
<file path=[Content_Types].xml><?xml version="1.0" encoding="utf-8"?>
<Types xmlns="http://schemas.openxmlformats.org/package/2006/content-types">
  <Default Extension="jpeg" ContentType="image/jpeg"/>
  <Default Extension="jpg" ContentType="image/jpeg"/>
  <Default Extension="png" ContentType="image/png"/>
  <Default Extension="rels" ContentType="application/vnd.openxmlformats-package.relationships+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2.xml" ContentType="application/vnd.openxmlformats-officedocument.theme+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heme/theme3.xml" ContentType="application/vnd.openxmlformats-officedocument.theme+xml"/>
  <Override PartName="/ppt/slideLayouts/slideLayout30.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2" r:id="rId2"/>
    <p:sldMasterId id="2147483674" r:id="rId3"/>
    <p:sldMasterId id="2147483686" r:id="rId4"/>
  </p:sldMasterIdLst>
  <p:notesMasterIdLst>
    <p:notesMasterId r:id="rId48"/>
  </p:notesMasterIdLst>
  <p:sldIdLst>
    <p:sldId id="258" r:id="rId5"/>
    <p:sldId id="260" r:id="rId6"/>
    <p:sldId id="257" r:id="rId7"/>
    <p:sldId id="286" r:id="rId8"/>
    <p:sldId id="287" r:id="rId9"/>
    <p:sldId id="259" r:id="rId10"/>
    <p:sldId id="262" r:id="rId11"/>
    <p:sldId id="263" r:id="rId12"/>
    <p:sldId id="264" r:id="rId13"/>
    <p:sldId id="265" r:id="rId14"/>
    <p:sldId id="266" r:id="rId15"/>
    <p:sldId id="267" r:id="rId16"/>
    <p:sldId id="268" r:id="rId17"/>
    <p:sldId id="269" r:id="rId18"/>
    <p:sldId id="270" r:id="rId19"/>
    <p:sldId id="271" r:id="rId20"/>
    <p:sldId id="272" r:id="rId21"/>
    <p:sldId id="273" r:id="rId22"/>
    <p:sldId id="274" r:id="rId23"/>
    <p:sldId id="275" r:id="rId24"/>
    <p:sldId id="276" r:id="rId25"/>
    <p:sldId id="277" r:id="rId26"/>
    <p:sldId id="284" r:id="rId27"/>
    <p:sldId id="278" r:id="rId28"/>
    <p:sldId id="279" r:id="rId29"/>
    <p:sldId id="280" r:id="rId30"/>
    <p:sldId id="281" r:id="rId31"/>
    <p:sldId id="282" r:id="rId32"/>
    <p:sldId id="283" r:id="rId33"/>
    <p:sldId id="285" r:id="rId34"/>
    <p:sldId id="314" r:id="rId35"/>
    <p:sldId id="315" r:id="rId36"/>
    <p:sldId id="316" r:id="rId37"/>
    <p:sldId id="317" r:id="rId38"/>
    <p:sldId id="318" r:id="rId39"/>
    <p:sldId id="319" r:id="rId40"/>
    <p:sldId id="320" r:id="rId41"/>
    <p:sldId id="321" r:id="rId42"/>
    <p:sldId id="322" r:id="rId43"/>
    <p:sldId id="323" r:id="rId44"/>
    <p:sldId id="324" r:id="rId45"/>
    <p:sldId id="325" r:id="rId46"/>
    <p:sldId id="326" r:id="rId47"/>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84" userDrawn="1">
          <p15:clr>
            <a:srgbClr val="A4A3A4"/>
          </p15:clr>
        </p15:guide>
        <p15:guide id="2" pos="384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AFABAB"/>
    <a:srgbClr val="E7E6E6"/>
    <a:srgbClr val="4CC7C4"/>
    <a:srgbClr val="E2583D"/>
    <a:srgbClr val="3B3939"/>
    <a:srgbClr val="78D2D2"/>
    <a:srgbClr val="252323"/>
    <a:srgbClr val="767171"/>
    <a:srgbClr val="D63E20"/>
    <a:srgbClr val="E8786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779" autoAdjust="0"/>
    <p:restoredTop sz="94660"/>
  </p:normalViewPr>
  <p:slideViewPr>
    <p:cSldViewPr snapToGrid="0" showGuides="1">
      <p:cViewPr varScale="1">
        <p:scale>
          <a:sx n="104" d="100"/>
          <a:sy n="104" d="100"/>
        </p:scale>
        <p:origin x="72" y="96"/>
      </p:cViewPr>
      <p:guideLst>
        <p:guide orient="horz" pos="2184"/>
        <p:guide pos="384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viewProps" Target="viewProps.xml"/><Relationship Id="rId7" Type="http://schemas.openxmlformats.org/officeDocument/2006/relationships/slide" Target="slides/slide3.xml"/><Relationship Id="rId2" Type="http://schemas.openxmlformats.org/officeDocument/2006/relationships/slideMaster" Target="slideMasters/slideMaster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presProps" Target="presProp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tableStyles" Target="tableStyles.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notesMaster" Target="notesMasters/notesMaster1.xml"/><Relationship Id="rId8" Type="http://schemas.openxmlformats.org/officeDocument/2006/relationships/slide" Target="slides/slide4.xml"/><Relationship Id="rId51" Type="http://schemas.openxmlformats.org/officeDocument/2006/relationships/theme" Target="theme/theme1.xml"/><Relationship Id="rId3" Type="http://schemas.openxmlformats.org/officeDocument/2006/relationships/slideMaster" Target="slideMasters/slideMaster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20" Type="http://schemas.openxmlformats.org/officeDocument/2006/relationships/slide" Target="slides/slide16.xml"/><Relationship Id="rId41" Type="http://schemas.openxmlformats.org/officeDocument/2006/relationships/slide" Target="slides/slide37.xml"/><Relationship Id="rId1" Type="http://schemas.openxmlformats.org/officeDocument/2006/relationships/slideMaster" Target="slideMasters/slideMaster1.xml"/><Relationship Id="rId6" Type="http://schemas.openxmlformats.org/officeDocument/2006/relationships/slide" Target="slides/slide2.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Series 1</c:v>
                </c:pt>
              </c:strCache>
            </c:strRef>
          </c:tx>
          <c:spPr>
            <a:solidFill>
              <a:schemeClr val="bg1">
                <a:lumMod val="75000"/>
              </a:schemeClr>
            </a:solidFill>
            <a:ln>
              <a:noFill/>
            </a:ln>
            <a:effectLst>
              <a:outerShdw blurRad="50800" dist="38100" dir="5400000" algn="t" rotWithShape="0">
                <a:prstClr val="black">
                  <a:alpha val="40000"/>
                </a:prstClr>
              </a:outerShdw>
            </a:effectLst>
          </c:spPr>
          <c:invertIfNegative val="0"/>
          <c:dPt>
            <c:idx val="0"/>
            <c:invertIfNegative val="0"/>
            <c:bubble3D val="0"/>
            <c:spPr>
              <a:solidFill>
                <a:srgbClr val="E2583D"/>
              </a:solidFill>
              <a:ln>
                <a:noFill/>
              </a:ln>
              <a:effectLst>
                <a:outerShdw blurRad="50800" dist="38100" dir="5400000" algn="t" rotWithShape="0">
                  <a:prstClr val="black">
                    <a:alpha val="40000"/>
                  </a:prstClr>
                </a:outerShdw>
              </a:effectLst>
            </c:spPr>
            <c:extLst>
              <c:ext xmlns:c16="http://schemas.microsoft.com/office/drawing/2014/chart" uri="{C3380CC4-5D6E-409C-BE32-E72D297353CC}">
                <c16:uniqueId val="{00000001-1F01-4A44-BF02-33B3830054D2}"/>
              </c:ext>
            </c:extLst>
          </c:dPt>
          <c:dPt>
            <c:idx val="1"/>
            <c:invertIfNegative val="0"/>
            <c:bubble3D val="0"/>
            <c:spPr>
              <a:solidFill>
                <a:srgbClr val="AFABAB"/>
              </a:solidFill>
              <a:ln>
                <a:noFill/>
              </a:ln>
              <a:effectLst>
                <a:outerShdw blurRad="50800" dist="38100" dir="5400000" algn="t" rotWithShape="0">
                  <a:prstClr val="black">
                    <a:alpha val="40000"/>
                  </a:prstClr>
                </a:outerShdw>
              </a:effectLst>
            </c:spPr>
            <c:extLst>
              <c:ext xmlns:c16="http://schemas.microsoft.com/office/drawing/2014/chart" uri="{C3380CC4-5D6E-409C-BE32-E72D297353CC}">
                <c16:uniqueId val="{00000003-1F01-4A44-BF02-33B3830054D2}"/>
              </c:ext>
            </c:extLst>
          </c:dPt>
          <c:dPt>
            <c:idx val="2"/>
            <c:invertIfNegative val="0"/>
            <c:bubble3D val="0"/>
            <c:spPr>
              <a:solidFill>
                <a:srgbClr val="78D2D2"/>
              </a:solidFill>
              <a:ln>
                <a:noFill/>
              </a:ln>
              <a:effectLst>
                <a:outerShdw blurRad="50800" dist="38100" dir="5400000" algn="t" rotWithShape="0">
                  <a:prstClr val="black">
                    <a:alpha val="40000"/>
                  </a:prstClr>
                </a:outerShdw>
              </a:effectLst>
            </c:spPr>
            <c:extLst>
              <c:ext xmlns:c16="http://schemas.microsoft.com/office/drawing/2014/chart" uri="{C3380CC4-5D6E-409C-BE32-E72D297353CC}">
                <c16:uniqueId val="{00000005-1F01-4A44-BF02-33B3830054D2}"/>
              </c:ext>
            </c:extLst>
          </c:dPt>
          <c:dPt>
            <c:idx val="3"/>
            <c:invertIfNegative val="0"/>
            <c:bubble3D val="0"/>
            <c:spPr>
              <a:solidFill>
                <a:srgbClr val="3B3939"/>
              </a:solidFill>
              <a:ln>
                <a:noFill/>
              </a:ln>
              <a:effectLst>
                <a:outerShdw blurRad="50800" dist="38100" dir="5400000" algn="t" rotWithShape="0">
                  <a:prstClr val="black">
                    <a:alpha val="40000"/>
                  </a:prstClr>
                </a:outerShdw>
              </a:effectLst>
            </c:spPr>
            <c:extLst>
              <c:ext xmlns:c16="http://schemas.microsoft.com/office/drawing/2014/chart" uri="{C3380CC4-5D6E-409C-BE32-E72D297353CC}">
                <c16:uniqueId val="{00000007-1F01-4A44-BF02-33B3830054D2}"/>
              </c:ext>
            </c:extLst>
          </c:dPt>
          <c:dPt>
            <c:idx val="4"/>
            <c:invertIfNegative val="0"/>
            <c:bubble3D val="0"/>
            <c:spPr>
              <a:solidFill>
                <a:srgbClr val="E2583D"/>
              </a:solidFill>
              <a:ln>
                <a:noFill/>
              </a:ln>
              <a:effectLst>
                <a:outerShdw blurRad="50800" dist="38100" dir="5400000" algn="t" rotWithShape="0">
                  <a:prstClr val="black">
                    <a:alpha val="40000"/>
                  </a:prstClr>
                </a:outerShdw>
              </a:effectLst>
            </c:spPr>
            <c:extLst>
              <c:ext xmlns:c16="http://schemas.microsoft.com/office/drawing/2014/chart" uri="{C3380CC4-5D6E-409C-BE32-E72D297353CC}">
                <c16:uniqueId val="{00000009-1F01-4A44-BF02-33B3830054D2}"/>
              </c:ext>
            </c:extLst>
          </c:dPt>
          <c:dPt>
            <c:idx val="5"/>
            <c:invertIfNegative val="0"/>
            <c:bubble3D val="0"/>
            <c:spPr>
              <a:solidFill>
                <a:srgbClr val="AFABAB"/>
              </a:solidFill>
              <a:ln>
                <a:noFill/>
              </a:ln>
              <a:effectLst>
                <a:outerShdw blurRad="50800" dist="38100" dir="5400000" algn="t" rotWithShape="0">
                  <a:prstClr val="black">
                    <a:alpha val="40000"/>
                  </a:prstClr>
                </a:outerShdw>
              </a:effectLst>
            </c:spPr>
            <c:extLst>
              <c:ext xmlns:c16="http://schemas.microsoft.com/office/drawing/2014/chart" uri="{C3380CC4-5D6E-409C-BE32-E72D297353CC}">
                <c16:uniqueId val="{0000000B-1F01-4A44-BF02-33B3830054D2}"/>
              </c:ext>
            </c:extLst>
          </c:dPt>
          <c:dPt>
            <c:idx val="6"/>
            <c:invertIfNegative val="0"/>
            <c:bubble3D val="0"/>
            <c:spPr>
              <a:solidFill>
                <a:srgbClr val="78D2D2"/>
              </a:solidFill>
              <a:ln>
                <a:noFill/>
              </a:ln>
              <a:effectLst>
                <a:outerShdw blurRad="50800" dist="38100" dir="5400000" algn="t" rotWithShape="0">
                  <a:prstClr val="black">
                    <a:alpha val="40000"/>
                  </a:prstClr>
                </a:outerShdw>
              </a:effectLst>
            </c:spPr>
            <c:extLst>
              <c:ext xmlns:c16="http://schemas.microsoft.com/office/drawing/2014/chart" uri="{C3380CC4-5D6E-409C-BE32-E72D297353CC}">
                <c16:uniqueId val="{0000000D-1F01-4A44-BF02-33B3830054D2}"/>
              </c:ext>
            </c:extLst>
          </c:dPt>
          <c:dPt>
            <c:idx val="7"/>
            <c:invertIfNegative val="0"/>
            <c:bubble3D val="0"/>
            <c:spPr>
              <a:solidFill>
                <a:srgbClr val="3B3939"/>
              </a:solidFill>
              <a:ln>
                <a:noFill/>
              </a:ln>
              <a:effectLst>
                <a:outerShdw blurRad="50800" dist="38100" dir="5400000" algn="t" rotWithShape="0">
                  <a:prstClr val="black">
                    <a:alpha val="40000"/>
                  </a:prstClr>
                </a:outerShdw>
              </a:effectLst>
            </c:spPr>
            <c:extLst>
              <c:ext xmlns:c16="http://schemas.microsoft.com/office/drawing/2014/chart" uri="{C3380CC4-5D6E-409C-BE32-E72D297353CC}">
                <c16:uniqueId val="{0000000F-1F01-4A44-BF02-33B3830054D2}"/>
              </c:ext>
            </c:extLst>
          </c:dPt>
          <c:dPt>
            <c:idx val="8"/>
            <c:invertIfNegative val="0"/>
            <c:bubble3D val="0"/>
            <c:spPr>
              <a:solidFill>
                <a:srgbClr val="E2583D"/>
              </a:solidFill>
              <a:ln>
                <a:noFill/>
              </a:ln>
              <a:effectLst>
                <a:outerShdw blurRad="50800" dist="38100" dir="5400000" algn="t" rotWithShape="0">
                  <a:prstClr val="black">
                    <a:alpha val="40000"/>
                  </a:prstClr>
                </a:outerShdw>
              </a:effectLst>
            </c:spPr>
            <c:extLst>
              <c:ext xmlns:c16="http://schemas.microsoft.com/office/drawing/2014/chart" uri="{C3380CC4-5D6E-409C-BE32-E72D297353CC}">
                <c16:uniqueId val="{00000011-1F01-4A44-BF02-33B3830054D2}"/>
              </c:ext>
            </c:extLst>
          </c:dPt>
          <c:cat>
            <c:numRef>
              <c:f>Sheet1!$A$2:$A$10</c:f>
              <c:numCache>
                <c:formatCode>h:mm\ AM/PM</c:formatCode>
                <c:ptCount val="9"/>
                <c:pt idx="0">
                  <c:v>0.375</c:v>
                </c:pt>
                <c:pt idx="1">
                  <c:v>0.41666666666666669</c:v>
                </c:pt>
                <c:pt idx="2">
                  <c:v>0.45833333333333331</c:v>
                </c:pt>
                <c:pt idx="3">
                  <c:v>0</c:v>
                </c:pt>
                <c:pt idx="4">
                  <c:v>0.54166666666666663</c:v>
                </c:pt>
                <c:pt idx="5">
                  <c:v>0.58333333333333337</c:v>
                </c:pt>
                <c:pt idx="6">
                  <c:v>0.625</c:v>
                </c:pt>
                <c:pt idx="7">
                  <c:v>0.66666666666666663</c:v>
                </c:pt>
                <c:pt idx="8">
                  <c:v>0.70833333333333337</c:v>
                </c:pt>
              </c:numCache>
            </c:numRef>
          </c:cat>
          <c:val>
            <c:numRef>
              <c:f>Sheet1!$B$2:$B$10</c:f>
              <c:numCache>
                <c:formatCode>General</c:formatCode>
                <c:ptCount val="9"/>
                <c:pt idx="0">
                  <c:v>20</c:v>
                </c:pt>
                <c:pt idx="1">
                  <c:v>30</c:v>
                </c:pt>
                <c:pt idx="2">
                  <c:v>40</c:v>
                </c:pt>
                <c:pt idx="3">
                  <c:v>15</c:v>
                </c:pt>
                <c:pt idx="4">
                  <c:v>20</c:v>
                </c:pt>
                <c:pt idx="5">
                  <c:v>40</c:v>
                </c:pt>
                <c:pt idx="6">
                  <c:v>50</c:v>
                </c:pt>
                <c:pt idx="7">
                  <c:v>45</c:v>
                </c:pt>
                <c:pt idx="8">
                  <c:v>30</c:v>
                </c:pt>
              </c:numCache>
            </c:numRef>
          </c:val>
          <c:extLst>
            <c:ext xmlns:c16="http://schemas.microsoft.com/office/drawing/2014/chart" uri="{C3380CC4-5D6E-409C-BE32-E72D297353CC}">
              <c16:uniqueId val="{00000012-1F01-4A44-BF02-33B3830054D2}"/>
            </c:ext>
          </c:extLst>
        </c:ser>
        <c:dLbls>
          <c:showLegendKey val="0"/>
          <c:showVal val="0"/>
          <c:showCatName val="0"/>
          <c:showSerName val="0"/>
          <c:showPercent val="0"/>
          <c:showBubbleSize val="0"/>
        </c:dLbls>
        <c:gapWidth val="95"/>
        <c:overlap val="-3"/>
        <c:axId val="302773736"/>
        <c:axId val="302779224"/>
      </c:barChart>
      <c:catAx>
        <c:axId val="302773736"/>
        <c:scaling>
          <c:orientation val="minMax"/>
        </c:scaling>
        <c:delete val="1"/>
        <c:axPos val="b"/>
        <c:numFmt formatCode="h:mm\ AM/PM" sourceLinked="1"/>
        <c:majorTickMark val="none"/>
        <c:minorTickMark val="none"/>
        <c:tickLblPos val="nextTo"/>
        <c:crossAx val="302779224"/>
        <c:crosses val="autoZero"/>
        <c:auto val="1"/>
        <c:lblAlgn val="ctr"/>
        <c:lblOffset val="100"/>
        <c:noMultiLvlLbl val="0"/>
      </c:catAx>
      <c:valAx>
        <c:axId val="302779224"/>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s-CL"/>
          </a:p>
        </c:txPr>
        <c:crossAx val="302773736"/>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s-CL"/>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Sheet1!$B$1</c:f>
              <c:strCache>
                <c:ptCount val="1"/>
                <c:pt idx="0">
                  <c:v>Series 1</c:v>
                </c:pt>
              </c:strCache>
            </c:strRef>
          </c:tx>
          <c:spPr>
            <a:ln w="28575" cap="rnd">
              <a:solidFill>
                <a:schemeClr val="tx1">
                  <a:lumMod val="50000"/>
                  <a:lumOff val="50000"/>
                  <a:alpha val="60000"/>
                </a:schemeClr>
              </a:solidFill>
              <a:round/>
            </a:ln>
            <a:effectLst/>
          </c:spPr>
          <c:marker>
            <c:symbol val="none"/>
          </c:marker>
          <c:dPt>
            <c:idx val="2"/>
            <c:marker>
              <c:symbol val="circle"/>
              <c:size val="10"/>
              <c:spPr>
                <a:solidFill>
                  <a:srgbClr val="E2583D"/>
                </a:solidFill>
                <a:ln w="9525">
                  <a:noFill/>
                </a:ln>
                <a:effectLst/>
              </c:spPr>
            </c:marker>
            <c:bubble3D val="0"/>
            <c:extLst>
              <c:ext xmlns:c16="http://schemas.microsoft.com/office/drawing/2014/chart" uri="{C3380CC4-5D6E-409C-BE32-E72D297353CC}">
                <c16:uniqueId val="{00000000-6A8A-4AAC-8FCB-73C53B7AFD98}"/>
              </c:ext>
            </c:extLst>
          </c:dPt>
          <c:dPt>
            <c:idx val="4"/>
            <c:marker>
              <c:symbol val="circle"/>
              <c:size val="10"/>
              <c:spPr>
                <a:solidFill>
                  <a:srgbClr val="AFABAB"/>
                </a:solidFill>
                <a:ln w="9525">
                  <a:noFill/>
                </a:ln>
                <a:effectLst/>
              </c:spPr>
            </c:marker>
            <c:bubble3D val="0"/>
            <c:extLst>
              <c:ext xmlns:c16="http://schemas.microsoft.com/office/drawing/2014/chart" uri="{C3380CC4-5D6E-409C-BE32-E72D297353CC}">
                <c16:uniqueId val="{00000001-6A8A-4AAC-8FCB-73C53B7AFD98}"/>
              </c:ext>
            </c:extLst>
          </c:dPt>
          <c:dPt>
            <c:idx val="6"/>
            <c:marker>
              <c:symbol val="none"/>
            </c:marker>
            <c:bubble3D val="0"/>
            <c:extLst>
              <c:ext xmlns:c16="http://schemas.microsoft.com/office/drawing/2014/chart" uri="{C3380CC4-5D6E-409C-BE32-E72D297353CC}">
                <c16:uniqueId val="{00000002-6A8A-4AAC-8FCB-73C53B7AFD98}"/>
              </c:ext>
            </c:extLst>
          </c:dPt>
          <c:dPt>
            <c:idx val="8"/>
            <c:marker>
              <c:symbol val="circle"/>
              <c:size val="10"/>
              <c:spPr>
                <a:solidFill>
                  <a:srgbClr val="78D2D2"/>
                </a:solidFill>
                <a:ln w="9525">
                  <a:noFill/>
                </a:ln>
                <a:effectLst/>
              </c:spPr>
            </c:marker>
            <c:bubble3D val="0"/>
            <c:extLst>
              <c:ext xmlns:c16="http://schemas.microsoft.com/office/drawing/2014/chart" uri="{C3380CC4-5D6E-409C-BE32-E72D297353CC}">
                <c16:uniqueId val="{00000003-6A8A-4AAC-8FCB-73C53B7AFD98}"/>
              </c:ext>
            </c:extLst>
          </c:dPt>
          <c:dPt>
            <c:idx val="9"/>
            <c:marker>
              <c:symbol val="circle"/>
              <c:size val="10"/>
              <c:spPr>
                <a:solidFill>
                  <a:srgbClr val="3B3939"/>
                </a:solidFill>
                <a:ln w="9525">
                  <a:noFill/>
                </a:ln>
                <a:effectLst/>
              </c:spPr>
            </c:marker>
            <c:bubble3D val="0"/>
            <c:extLst>
              <c:ext xmlns:c16="http://schemas.microsoft.com/office/drawing/2014/chart" uri="{C3380CC4-5D6E-409C-BE32-E72D297353CC}">
                <c16:uniqueId val="{00000004-6A8A-4AAC-8FCB-73C53B7AFD98}"/>
              </c:ext>
            </c:extLst>
          </c:dPt>
          <c:dLbls>
            <c:dLbl>
              <c:idx val="0"/>
              <c:delete val="1"/>
              <c:extLst>
                <c:ext xmlns:c15="http://schemas.microsoft.com/office/drawing/2012/chart" uri="{CE6537A1-D6FC-4f65-9D91-7224C49458BB}"/>
                <c:ext xmlns:c16="http://schemas.microsoft.com/office/drawing/2014/chart" uri="{C3380CC4-5D6E-409C-BE32-E72D297353CC}">
                  <c16:uniqueId val="{00000005-6A8A-4AAC-8FCB-73C53B7AFD98}"/>
                </c:ext>
              </c:extLst>
            </c:dLbl>
            <c:dLbl>
              <c:idx val="1"/>
              <c:delete val="1"/>
              <c:extLst>
                <c:ext xmlns:c15="http://schemas.microsoft.com/office/drawing/2012/chart" uri="{CE6537A1-D6FC-4f65-9D91-7224C49458BB}"/>
                <c:ext xmlns:c16="http://schemas.microsoft.com/office/drawing/2014/chart" uri="{C3380CC4-5D6E-409C-BE32-E72D297353CC}">
                  <c16:uniqueId val="{00000006-6A8A-4AAC-8FCB-73C53B7AFD98}"/>
                </c:ext>
              </c:extLst>
            </c:dLbl>
            <c:dLbl>
              <c:idx val="2"/>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s-CL"/>
                </a:p>
              </c:txPr>
              <c:dLblPos val="b"/>
              <c:showLegendKey val="0"/>
              <c:showVal val="1"/>
              <c:showCatName val="0"/>
              <c:showSerName val="0"/>
              <c:showPercent val="0"/>
              <c:showBubbleSize val="0"/>
              <c:extLst>
                <c:ext xmlns:c16="http://schemas.microsoft.com/office/drawing/2014/chart" uri="{C3380CC4-5D6E-409C-BE32-E72D297353CC}">
                  <c16:uniqueId val="{00000000-6A8A-4AAC-8FCB-73C53B7AFD98}"/>
                </c:ext>
              </c:extLst>
            </c:dLbl>
            <c:dLbl>
              <c:idx val="3"/>
              <c:delete val="1"/>
              <c:extLst>
                <c:ext xmlns:c15="http://schemas.microsoft.com/office/drawing/2012/chart" uri="{CE6537A1-D6FC-4f65-9D91-7224C49458BB}"/>
                <c:ext xmlns:c16="http://schemas.microsoft.com/office/drawing/2014/chart" uri="{C3380CC4-5D6E-409C-BE32-E72D297353CC}">
                  <c16:uniqueId val="{00000007-6A8A-4AAC-8FCB-73C53B7AFD98}"/>
                </c:ext>
              </c:extLst>
            </c:dLbl>
            <c:dLbl>
              <c:idx val="4"/>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s-CL"/>
                </a:p>
              </c:txPr>
              <c:dLblPos val="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6A8A-4AAC-8FCB-73C53B7AFD98}"/>
                </c:ext>
              </c:extLst>
            </c:dLbl>
            <c:dLbl>
              <c:idx val="5"/>
              <c:delete val="1"/>
              <c:extLst>
                <c:ext xmlns:c15="http://schemas.microsoft.com/office/drawing/2012/chart" uri="{CE6537A1-D6FC-4f65-9D91-7224C49458BB}"/>
                <c:ext xmlns:c16="http://schemas.microsoft.com/office/drawing/2014/chart" uri="{C3380CC4-5D6E-409C-BE32-E72D297353CC}">
                  <c16:uniqueId val="{00000008-6A8A-4AAC-8FCB-73C53B7AFD98}"/>
                </c:ext>
              </c:extLst>
            </c:dLbl>
            <c:dLbl>
              <c:idx val="6"/>
              <c:delete val="1"/>
              <c:extLst>
                <c:ext xmlns:c15="http://schemas.microsoft.com/office/drawing/2012/chart" uri="{CE6537A1-D6FC-4f65-9D91-7224C49458BB}"/>
                <c:ext xmlns:c16="http://schemas.microsoft.com/office/drawing/2014/chart" uri="{C3380CC4-5D6E-409C-BE32-E72D297353CC}">
                  <c16:uniqueId val="{00000002-6A8A-4AAC-8FCB-73C53B7AFD98}"/>
                </c:ext>
              </c:extLst>
            </c:dLbl>
            <c:dLbl>
              <c:idx val="7"/>
              <c:delete val="1"/>
              <c:extLst>
                <c:ext xmlns:c15="http://schemas.microsoft.com/office/drawing/2012/chart" uri="{CE6537A1-D6FC-4f65-9D91-7224C49458BB}"/>
                <c:ext xmlns:c16="http://schemas.microsoft.com/office/drawing/2014/chart" uri="{C3380CC4-5D6E-409C-BE32-E72D297353CC}">
                  <c16:uniqueId val="{00000009-6A8A-4AAC-8FCB-73C53B7AFD98}"/>
                </c:ext>
              </c:extLst>
            </c:dLbl>
            <c:dLbl>
              <c:idx val="8"/>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s-CL"/>
                </a:p>
              </c:txPr>
              <c:dLblPos val="b"/>
              <c:showLegendKey val="0"/>
              <c:showVal val="1"/>
              <c:showCatName val="0"/>
              <c:showSerName val="0"/>
              <c:showPercent val="0"/>
              <c:showBubbleSize val="0"/>
              <c:extLst>
                <c:ext xmlns:c16="http://schemas.microsoft.com/office/drawing/2014/chart" uri="{C3380CC4-5D6E-409C-BE32-E72D297353CC}">
                  <c16:uniqueId val="{00000003-6A8A-4AAC-8FCB-73C53B7AFD98}"/>
                </c:ext>
              </c:extLst>
            </c:dLbl>
            <c:dLbl>
              <c:idx val="9"/>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s-CL"/>
                </a:p>
              </c:txPr>
              <c:dLblPos val="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6A8A-4AAC-8FCB-73C53B7AFD98}"/>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es-CL"/>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11</c:f>
              <c:numCache>
                <c:formatCode>General</c:formatCode>
                <c:ptCount val="10"/>
                <c:pt idx="0">
                  <c:v>2007</c:v>
                </c:pt>
                <c:pt idx="1">
                  <c:v>2008</c:v>
                </c:pt>
                <c:pt idx="2">
                  <c:v>2009</c:v>
                </c:pt>
                <c:pt idx="3">
                  <c:v>2010</c:v>
                </c:pt>
                <c:pt idx="4">
                  <c:v>2011</c:v>
                </c:pt>
                <c:pt idx="5">
                  <c:v>2012</c:v>
                </c:pt>
                <c:pt idx="6">
                  <c:v>2013</c:v>
                </c:pt>
                <c:pt idx="7">
                  <c:v>2014</c:v>
                </c:pt>
                <c:pt idx="8">
                  <c:v>2015</c:v>
                </c:pt>
                <c:pt idx="9">
                  <c:v>2016</c:v>
                </c:pt>
              </c:numCache>
            </c:numRef>
          </c:cat>
          <c:val>
            <c:numRef>
              <c:f>Sheet1!$B$2:$B$11</c:f>
              <c:numCache>
                <c:formatCode>General</c:formatCode>
                <c:ptCount val="10"/>
                <c:pt idx="0">
                  <c:v>0</c:v>
                </c:pt>
                <c:pt idx="1">
                  <c:v>5</c:v>
                </c:pt>
                <c:pt idx="2">
                  <c:v>20</c:v>
                </c:pt>
                <c:pt idx="3">
                  <c:v>12</c:v>
                </c:pt>
                <c:pt idx="4">
                  <c:v>15</c:v>
                </c:pt>
                <c:pt idx="5">
                  <c:v>7.6</c:v>
                </c:pt>
                <c:pt idx="6">
                  <c:v>8</c:v>
                </c:pt>
                <c:pt idx="7">
                  <c:v>7</c:v>
                </c:pt>
                <c:pt idx="8">
                  <c:v>17</c:v>
                </c:pt>
                <c:pt idx="9">
                  <c:v>15</c:v>
                </c:pt>
              </c:numCache>
            </c:numRef>
          </c:val>
          <c:smooth val="1"/>
          <c:extLst>
            <c:ext xmlns:c16="http://schemas.microsoft.com/office/drawing/2014/chart" uri="{C3380CC4-5D6E-409C-BE32-E72D297353CC}">
              <c16:uniqueId val="{0000000A-6A8A-4AAC-8FCB-73C53B7AFD98}"/>
            </c:ext>
          </c:extLst>
        </c:ser>
        <c:dLbls>
          <c:showLegendKey val="0"/>
          <c:showVal val="0"/>
          <c:showCatName val="0"/>
          <c:showSerName val="0"/>
          <c:showPercent val="0"/>
          <c:showBubbleSize val="0"/>
        </c:dLbls>
        <c:smooth val="0"/>
        <c:axId val="388198120"/>
        <c:axId val="388200472"/>
      </c:lineChart>
      <c:catAx>
        <c:axId val="3881981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es-CL"/>
          </a:p>
        </c:txPr>
        <c:crossAx val="388200472"/>
        <c:crosses val="autoZero"/>
        <c:auto val="1"/>
        <c:lblAlgn val="ctr"/>
        <c:lblOffset val="100"/>
        <c:noMultiLvlLbl val="0"/>
      </c:catAx>
      <c:valAx>
        <c:axId val="388200472"/>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es-CL"/>
          </a:p>
        </c:txPr>
        <c:crossAx val="388198120"/>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s-CL"/>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Sales</c:v>
                </c:pt>
              </c:strCache>
            </c:strRef>
          </c:tx>
          <c:spPr>
            <a:ln>
              <a:noFill/>
            </a:ln>
          </c:spPr>
          <c:dPt>
            <c:idx val="0"/>
            <c:bubble3D val="0"/>
            <c:spPr>
              <a:solidFill>
                <a:srgbClr val="78D2D2"/>
              </a:solidFill>
              <a:ln w="19050">
                <a:noFill/>
              </a:ln>
              <a:effectLst/>
            </c:spPr>
            <c:extLst>
              <c:ext xmlns:c16="http://schemas.microsoft.com/office/drawing/2014/chart" uri="{C3380CC4-5D6E-409C-BE32-E72D297353CC}">
                <c16:uniqueId val="{00000001-31D8-4978-A219-A5B8698F3EA0}"/>
              </c:ext>
            </c:extLst>
          </c:dPt>
          <c:dPt>
            <c:idx val="1"/>
            <c:bubble3D val="0"/>
            <c:spPr>
              <a:solidFill>
                <a:srgbClr val="3B3939"/>
              </a:solidFill>
              <a:ln w="19050">
                <a:noFill/>
              </a:ln>
              <a:effectLst/>
            </c:spPr>
            <c:extLst>
              <c:ext xmlns:c16="http://schemas.microsoft.com/office/drawing/2014/chart" uri="{C3380CC4-5D6E-409C-BE32-E72D297353CC}">
                <c16:uniqueId val="{00000003-31D8-4978-A219-A5B8698F3EA0}"/>
              </c:ext>
            </c:extLst>
          </c:dPt>
          <c:dPt>
            <c:idx val="2"/>
            <c:bubble3D val="0"/>
            <c:spPr>
              <a:solidFill>
                <a:srgbClr val="E2583D"/>
              </a:solidFill>
              <a:ln w="19050">
                <a:noFill/>
              </a:ln>
              <a:effectLst/>
            </c:spPr>
            <c:extLst>
              <c:ext xmlns:c16="http://schemas.microsoft.com/office/drawing/2014/chart" uri="{C3380CC4-5D6E-409C-BE32-E72D297353CC}">
                <c16:uniqueId val="{00000005-31D8-4978-A219-A5B8698F3EA0}"/>
              </c:ext>
            </c:extLst>
          </c:dPt>
          <c:dPt>
            <c:idx val="3"/>
            <c:bubble3D val="0"/>
            <c:spPr>
              <a:solidFill>
                <a:srgbClr val="AFABAB"/>
              </a:solidFill>
              <a:ln w="19050">
                <a:noFill/>
              </a:ln>
              <a:effectLst/>
            </c:spPr>
            <c:extLst>
              <c:ext xmlns:c16="http://schemas.microsoft.com/office/drawing/2014/chart" uri="{C3380CC4-5D6E-409C-BE32-E72D297353CC}">
                <c16:uniqueId val="{00000007-31D8-4978-A219-A5B8698F3EA0}"/>
              </c:ext>
            </c:extLst>
          </c:dPt>
          <c:cat>
            <c:strRef>
              <c:f>Sheet1!$A$2:$A$5</c:f>
              <c:strCache>
                <c:ptCount val="4"/>
                <c:pt idx="0">
                  <c:v>Lorem</c:v>
                </c:pt>
                <c:pt idx="1">
                  <c:v>Ipsum</c:v>
                </c:pt>
                <c:pt idx="2">
                  <c:v>Lorem</c:v>
                </c:pt>
                <c:pt idx="3">
                  <c:v>4th Qtr</c:v>
                </c:pt>
              </c:strCache>
            </c:strRef>
          </c:cat>
          <c:val>
            <c:numRef>
              <c:f>Sheet1!$B$2:$B$5</c:f>
              <c:numCache>
                <c:formatCode>0%</c:formatCode>
                <c:ptCount val="4"/>
                <c:pt idx="0">
                  <c:v>0.5</c:v>
                </c:pt>
                <c:pt idx="1">
                  <c:v>0.25</c:v>
                </c:pt>
                <c:pt idx="2">
                  <c:v>0.2</c:v>
                </c:pt>
                <c:pt idx="3">
                  <c:v>0.05</c:v>
                </c:pt>
              </c:numCache>
            </c:numRef>
          </c:val>
          <c:extLst>
            <c:ext xmlns:c16="http://schemas.microsoft.com/office/drawing/2014/chart" uri="{C3380CC4-5D6E-409C-BE32-E72D297353CC}">
              <c16:uniqueId val="{00000008-31D8-4978-A219-A5B8698F3EA0}"/>
            </c:ext>
          </c:extLst>
        </c:ser>
        <c:dLbls>
          <c:showLegendKey val="0"/>
          <c:showVal val="0"/>
          <c:showCatName val="0"/>
          <c:showSerName val="0"/>
          <c:showPercent val="0"/>
          <c:showBubbleSize val="0"/>
          <c:showLeaderLines val="1"/>
        </c:dLbls>
        <c:firstSliceAng val="0"/>
      </c:pieChart>
      <c:spPr>
        <a:noFill/>
        <a:ln>
          <a:noFill/>
        </a:ln>
        <a:effectLst/>
      </c:spPr>
    </c:plotArea>
    <c:legend>
      <c:legendPos val="r"/>
      <c:layout>
        <c:manualLayout>
          <c:xMode val="edge"/>
          <c:yMode val="edge"/>
          <c:x val="0.7852120571657516"/>
          <c:y val="0.32976544069893227"/>
          <c:w val="0.15101085913474083"/>
          <c:h val="0.34046879109225525"/>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s-CL"/>
        </a:p>
      </c:txPr>
    </c:legend>
    <c:plotVisOnly val="1"/>
    <c:dispBlanksAs val="gap"/>
    <c:showDLblsOverMax val="0"/>
  </c:chart>
  <c:spPr>
    <a:noFill/>
    <a:ln>
      <a:noFill/>
    </a:ln>
    <a:effectLst/>
  </c:spPr>
  <c:txPr>
    <a:bodyPr/>
    <a:lstStyle/>
    <a:p>
      <a:pPr>
        <a:defRPr/>
      </a:pPr>
      <a:endParaRPr lang="es-CL"/>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7F448435-AB90-403D-BA16-051B234E3934}" type="datetimeFigureOut">
              <a:rPr lang="en-US" smtClean="0"/>
              <a:t>10/28/2022</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D86CDBC-8E74-4D41-8FD1-7E7D44F4E0DA}" type="slidenum">
              <a:rPr lang="en-US" smtClean="0"/>
              <a:t>‹#›</a:t>
            </a:fld>
            <a:endParaRPr lang="en-US"/>
          </a:p>
        </p:txBody>
      </p:sp>
    </p:spTree>
    <p:extLst>
      <p:ext uri="{BB962C8B-B14F-4D97-AF65-F5344CB8AC3E}">
        <p14:creationId xmlns:p14="http://schemas.microsoft.com/office/powerpoint/2010/main" val="302973273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56"/>
        <p:cNvGrpSpPr/>
        <p:nvPr/>
      </p:nvGrpSpPr>
      <p:grpSpPr>
        <a:xfrm>
          <a:off x="0" y="0"/>
          <a:ext cx="0" cy="0"/>
          <a:chOff x="0" y="0"/>
          <a:chExt cx="0" cy="0"/>
        </a:xfrm>
      </p:grpSpPr>
      <p:sp>
        <p:nvSpPr>
          <p:cNvPr id="457" name="Google Shape;457;g1258411abd8_2_208: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458" name="Google Shape;458;g1258411abd8_2_208:notes"/>
          <p:cNvSpPr>
            <a:spLocks noGrp="1" noRot="1" noChangeAspect="1"/>
          </p:cNvSpPr>
          <p:nvPr>
            <p:ph type="sldImg" idx="2"/>
          </p:nvPr>
        </p:nvSpPr>
        <p:spPr>
          <a:xfrm>
            <a:off x="1143225" y="685800"/>
            <a:ext cx="4572225"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9D86CDBC-8E74-4D41-8FD1-7E7D44F4E0DA}" type="slidenum">
              <a:rPr lang="en-US" smtClean="0"/>
              <a:t>18</a:t>
            </a:fld>
            <a:endParaRPr lang="en-US"/>
          </a:p>
        </p:txBody>
      </p:sp>
    </p:spTree>
    <p:extLst>
      <p:ext uri="{BB962C8B-B14F-4D97-AF65-F5344CB8AC3E}">
        <p14:creationId xmlns:p14="http://schemas.microsoft.com/office/powerpoint/2010/main" val="420819894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9D86CDBC-8E74-4D41-8FD1-7E7D44F4E0DA}" type="slidenum">
              <a:rPr lang="en-US" smtClean="0"/>
              <a:t>19</a:t>
            </a:fld>
            <a:endParaRPr lang="en-US"/>
          </a:p>
        </p:txBody>
      </p:sp>
    </p:spTree>
    <p:extLst>
      <p:ext uri="{BB962C8B-B14F-4D97-AF65-F5344CB8AC3E}">
        <p14:creationId xmlns:p14="http://schemas.microsoft.com/office/powerpoint/2010/main" val="237114490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9D86CDBC-8E74-4D41-8FD1-7E7D44F4E0DA}" type="slidenum">
              <a:rPr lang="en-US" smtClean="0"/>
              <a:t>25</a:t>
            </a:fld>
            <a:endParaRPr lang="en-US"/>
          </a:p>
        </p:txBody>
      </p:sp>
    </p:spTree>
    <p:extLst>
      <p:ext uri="{BB962C8B-B14F-4D97-AF65-F5344CB8AC3E}">
        <p14:creationId xmlns:p14="http://schemas.microsoft.com/office/powerpoint/2010/main" val="418343651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9D86CDBC-8E74-4D41-8FD1-7E7D44F4E0DA}" type="slidenum">
              <a:rPr lang="en-US" smtClean="0"/>
              <a:t>26</a:t>
            </a:fld>
            <a:endParaRPr lang="en-US"/>
          </a:p>
        </p:txBody>
      </p:sp>
    </p:spTree>
    <p:extLst>
      <p:ext uri="{BB962C8B-B14F-4D97-AF65-F5344CB8AC3E}">
        <p14:creationId xmlns:p14="http://schemas.microsoft.com/office/powerpoint/2010/main" val="58753159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9D86CDBC-8E74-4D41-8FD1-7E7D44F4E0DA}" type="slidenum">
              <a:rPr lang="en-US" smtClean="0"/>
              <a:t>27</a:t>
            </a:fld>
            <a:endParaRPr lang="en-US"/>
          </a:p>
        </p:txBody>
      </p:sp>
    </p:spTree>
    <p:extLst>
      <p:ext uri="{BB962C8B-B14F-4D97-AF65-F5344CB8AC3E}">
        <p14:creationId xmlns:p14="http://schemas.microsoft.com/office/powerpoint/2010/main" val="333107995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9D86CDBC-8E74-4D41-8FD1-7E7D44F4E0DA}" type="slidenum">
              <a:rPr lang="en-US" smtClean="0"/>
              <a:t>28</a:t>
            </a:fld>
            <a:endParaRPr lang="en-US"/>
          </a:p>
        </p:txBody>
      </p:sp>
    </p:spTree>
    <p:extLst>
      <p:ext uri="{BB962C8B-B14F-4D97-AF65-F5344CB8AC3E}">
        <p14:creationId xmlns:p14="http://schemas.microsoft.com/office/powerpoint/2010/main" val="321460221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9D86CDBC-8E74-4D41-8FD1-7E7D44F4E0DA}" type="slidenum">
              <a:rPr lang="en-US" smtClean="0"/>
              <a:t>29</a:t>
            </a:fld>
            <a:endParaRPr lang="en-US"/>
          </a:p>
        </p:txBody>
      </p:sp>
    </p:spTree>
    <p:extLst>
      <p:ext uri="{BB962C8B-B14F-4D97-AF65-F5344CB8AC3E}">
        <p14:creationId xmlns:p14="http://schemas.microsoft.com/office/powerpoint/2010/main" val="371425185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9D86CDBC-8E74-4D41-8FD1-7E7D44F4E0DA}" type="slidenum">
              <a:rPr lang="en-US" smtClean="0"/>
              <a:t>30</a:t>
            </a:fld>
            <a:endParaRPr lang="en-US"/>
          </a:p>
        </p:txBody>
      </p:sp>
    </p:spTree>
    <p:extLst>
      <p:ext uri="{BB962C8B-B14F-4D97-AF65-F5344CB8AC3E}">
        <p14:creationId xmlns:p14="http://schemas.microsoft.com/office/powerpoint/2010/main" val="154051564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93"/>
        <p:cNvGrpSpPr/>
        <p:nvPr/>
      </p:nvGrpSpPr>
      <p:grpSpPr>
        <a:xfrm>
          <a:off x="0" y="0"/>
          <a:ext cx="0" cy="0"/>
          <a:chOff x="0" y="0"/>
          <a:chExt cx="0" cy="0"/>
        </a:xfrm>
      </p:grpSpPr>
      <p:sp>
        <p:nvSpPr>
          <p:cNvPr id="1094" name="Google Shape;1094;gabde0c4512_0_15:notes"/>
          <p:cNvSpPr>
            <a:spLocks noGrp="1" noRot="1" noChangeAspect="1"/>
          </p:cNvSpPr>
          <p:nvPr>
            <p:ph type="sldImg" idx="2"/>
          </p:nvPr>
        </p:nvSpPr>
        <p:spPr>
          <a:xfrm>
            <a:off x="3813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095" name="Google Shape;1095;gabde0c4512_0_15: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430"/>
        <p:cNvGrpSpPr/>
        <p:nvPr/>
      </p:nvGrpSpPr>
      <p:grpSpPr>
        <a:xfrm>
          <a:off x="0" y="0"/>
          <a:ext cx="0" cy="0"/>
          <a:chOff x="0" y="0"/>
          <a:chExt cx="0" cy="0"/>
        </a:xfrm>
      </p:grpSpPr>
      <p:sp>
        <p:nvSpPr>
          <p:cNvPr id="1431" name="Google Shape;1431;gabde0c4512_0_351:notes"/>
          <p:cNvSpPr>
            <a:spLocks noGrp="1" noRot="1" noChangeAspect="1"/>
          </p:cNvSpPr>
          <p:nvPr>
            <p:ph type="sldImg" idx="2"/>
          </p:nvPr>
        </p:nvSpPr>
        <p:spPr>
          <a:xfrm>
            <a:off x="3813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432" name="Google Shape;1432;gabde0c4512_0_351: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81"/>
        <p:cNvGrpSpPr/>
        <p:nvPr/>
      </p:nvGrpSpPr>
      <p:grpSpPr>
        <a:xfrm>
          <a:off x="0" y="0"/>
          <a:ext cx="0" cy="0"/>
          <a:chOff x="0" y="0"/>
          <a:chExt cx="0" cy="0"/>
        </a:xfrm>
      </p:grpSpPr>
      <p:sp>
        <p:nvSpPr>
          <p:cNvPr id="482" name="Google Shape;482;g1258411abd8_2_245: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483" name="Google Shape;483;g1258411abd8_2_24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930"/>
        <p:cNvGrpSpPr/>
        <p:nvPr/>
      </p:nvGrpSpPr>
      <p:grpSpPr>
        <a:xfrm>
          <a:off x="0" y="0"/>
          <a:ext cx="0" cy="0"/>
          <a:chOff x="0" y="0"/>
          <a:chExt cx="0" cy="0"/>
        </a:xfrm>
      </p:grpSpPr>
      <p:sp>
        <p:nvSpPr>
          <p:cNvPr id="7931" name="Google Shape;7931;gabde0c4512_0_6850:notes"/>
          <p:cNvSpPr>
            <a:spLocks noGrp="1" noRot="1" noChangeAspect="1"/>
          </p:cNvSpPr>
          <p:nvPr>
            <p:ph type="sldImg" idx="2"/>
          </p:nvPr>
        </p:nvSpPr>
        <p:spPr>
          <a:xfrm>
            <a:off x="3813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7932" name="Google Shape;7932;gabde0c4512_0_685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357"/>
        <p:cNvGrpSpPr/>
        <p:nvPr/>
      </p:nvGrpSpPr>
      <p:grpSpPr>
        <a:xfrm>
          <a:off x="0" y="0"/>
          <a:ext cx="0" cy="0"/>
          <a:chOff x="0" y="0"/>
          <a:chExt cx="0" cy="0"/>
        </a:xfrm>
      </p:grpSpPr>
      <p:sp>
        <p:nvSpPr>
          <p:cNvPr id="8358" name="Google Shape;8358;gabde0c4512_0_7276:notes"/>
          <p:cNvSpPr>
            <a:spLocks noGrp="1" noRot="1" noChangeAspect="1"/>
          </p:cNvSpPr>
          <p:nvPr>
            <p:ph type="sldImg" idx="2"/>
          </p:nvPr>
        </p:nvSpPr>
        <p:spPr>
          <a:xfrm>
            <a:off x="3813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8359" name="Google Shape;8359;gabde0c4512_0_7276: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520"/>
        <p:cNvGrpSpPr/>
        <p:nvPr/>
      </p:nvGrpSpPr>
      <p:grpSpPr>
        <a:xfrm>
          <a:off x="0" y="0"/>
          <a:ext cx="0" cy="0"/>
          <a:chOff x="0" y="0"/>
          <a:chExt cx="0" cy="0"/>
        </a:xfrm>
      </p:grpSpPr>
      <p:sp>
        <p:nvSpPr>
          <p:cNvPr id="8521" name="Google Shape;8521;gabde0c4512_0_7438:notes"/>
          <p:cNvSpPr>
            <a:spLocks noGrp="1" noRot="1" noChangeAspect="1"/>
          </p:cNvSpPr>
          <p:nvPr>
            <p:ph type="sldImg" idx="2"/>
          </p:nvPr>
        </p:nvSpPr>
        <p:spPr>
          <a:xfrm>
            <a:off x="3813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8522" name="Google Shape;8522;gabde0c4512_0_7438: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922"/>
        <p:cNvGrpSpPr/>
        <p:nvPr/>
      </p:nvGrpSpPr>
      <p:grpSpPr>
        <a:xfrm>
          <a:off x="0" y="0"/>
          <a:ext cx="0" cy="0"/>
          <a:chOff x="0" y="0"/>
          <a:chExt cx="0" cy="0"/>
        </a:xfrm>
      </p:grpSpPr>
      <p:sp>
        <p:nvSpPr>
          <p:cNvPr id="8923" name="Google Shape;8923;gabde0c4512_0_7839:notes"/>
          <p:cNvSpPr>
            <a:spLocks noGrp="1" noRot="1" noChangeAspect="1"/>
          </p:cNvSpPr>
          <p:nvPr>
            <p:ph type="sldImg" idx="2"/>
          </p:nvPr>
        </p:nvSpPr>
        <p:spPr>
          <a:xfrm>
            <a:off x="3813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8924" name="Google Shape;8924;gabde0c4512_0_7839: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293"/>
        <p:cNvGrpSpPr/>
        <p:nvPr/>
      </p:nvGrpSpPr>
      <p:grpSpPr>
        <a:xfrm>
          <a:off x="0" y="0"/>
          <a:ext cx="0" cy="0"/>
          <a:chOff x="0" y="0"/>
          <a:chExt cx="0" cy="0"/>
        </a:xfrm>
      </p:grpSpPr>
      <p:sp>
        <p:nvSpPr>
          <p:cNvPr id="9294" name="Google Shape;9294;gabde0c4512_0_8209:notes"/>
          <p:cNvSpPr>
            <a:spLocks noGrp="1" noRot="1" noChangeAspect="1"/>
          </p:cNvSpPr>
          <p:nvPr>
            <p:ph type="sldImg" idx="2"/>
          </p:nvPr>
        </p:nvSpPr>
        <p:spPr>
          <a:xfrm>
            <a:off x="3813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9295" name="Google Shape;9295;gabde0c4512_0_8209: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595"/>
        <p:cNvGrpSpPr/>
        <p:nvPr/>
      </p:nvGrpSpPr>
      <p:grpSpPr>
        <a:xfrm>
          <a:off x="0" y="0"/>
          <a:ext cx="0" cy="0"/>
          <a:chOff x="0" y="0"/>
          <a:chExt cx="0" cy="0"/>
        </a:xfrm>
      </p:grpSpPr>
      <p:sp>
        <p:nvSpPr>
          <p:cNvPr id="9596" name="Google Shape;9596;gabde0c4512_0_8510:notes"/>
          <p:cNvSpPr>
            <a:spLocks noGrp="1" noRot="1" noChangeAspect="1"/>
          </p:cNvSpPr>
          <p:nvPr>
            <p:ph type="sldImg" idx="2"/>
          </p:nvPr>
        </p:nvSpPr>
        <p:spPr>
          <a:xfrm>
            <a:off x="3813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9597" name="Google Shape;9597;gabde0c4512_0_851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887"/>
        <p:cNvGrpSpPr/>
        <p:nvPr/>
      </p:nvGrpSpPr>
      <p:grpSpPr>
        <a:xfrm>
          <a:off x="0" y="0"/>
          <a:ext cx="0" cy="0"/>
          <a:chOff x="0" y="0"/>
          <a:chExt cx="0" cy="0"/>
        </a:xfrm>
      </p:grpSpPr>
      <p:sp>
        <p:nvSpPr>
          <p:cNvPr id="9888" name="Google Shape;9888;gabde0c4512_0_8801:notes"/>
          <p:cNvSpPr>
            <a:spLocks noGrp="1" noRot="1" noChangeAspect="1"/>
          </p:cNvSpPr>
          <p:nvPr>
            <p:ph type="sldImg" idx="2"/>
          </p:nvPr>
        </p:nvSpPr>
        <p:spPr>
          <a:xfrm>
            <a:off x="3813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9889" name="Google Shape;9889;gabde0c4512_0_8801: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246"/>
        <p:cNvGrpSpPr/>
        <p:nvPr/>
      </p:nvGrpSpPr>
      <p:grpSpPr>
        <a:xfrm>
          <a:off x="0" y="0"/>
          <a:ext cx="0" cy="0"/>
          <a:chOff x="0" y="0"/>
          <a:chExt cx="0" cy="0"/>
        </a:xfrm>
      </p:grpSpPr>
      <p:sp>
        <p:nvSpPr>
          <p:cNvPr id="10247" name="Google Shape;10247;gabde0c4512_0_9159:notes"/>
          <p:cNvSpPr>
            <a:spLocks noGrp="1" noRot="1" noChangeAspect="1"/>
          </p:cNvSpPr>
          <p:nvPr>
            <p:ph type="sldImg" idx="2"/>
          </p:nvPr>
        </p:nvSpPr>
        <p:spPr>
          <a:xfrm>
            <a:off x="3813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0248" name="Google Shape;10248;gabde0c4512_0_9159: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663"/>
        <p:cNvGrpSpPr/>
        <p:nvPr/>
      </p:nvGrpSpPr>
      <p:grpSpPr>
        <a:xfrm>
          <a:off x="0" y="0"/>
          <a:ext cx="0" cy="0"/>
          <a:chOff x="0" y="0"/>
          <a:chExt cx="0" cy="0"/>
        </a:xfrm>
      </p:grpSpPr>
      <p:sp>
        <p:nvSpPr>
          <p:cNvPr id="10664" name="Google Shape;10664;gabde0c4512_0_9575:notes"/>
          <p:cNvSpPr>
            <a:spLocks noGrp="1" noRot="1" noChangeAspect="1"/>
          </p:cNvSpPr>
          <p:nvPr>
            <p:ph type="sldImg" idx="2"/>
          </p:nvPr>
        </p:nvSpPr>
        <p:spPr>
          <a:xfrm>
            <a:off x="3813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0665" name="Google Shape;10665;gabde0c4512_0_9575: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002"/>
        <p:cNvGrpSpPr/>
        <p:nvPr/>
      </p:nvGrpSpPr>
      <p:grpSpPr>
        <a:xfrm>
          <a:off x="0" y="0"/>
          <a:ext cx="0" cy="0"/>
          <a:chOff x="0" y="0"/>
          <a:chExt cx="0" cy="0"/>
        </a:xfrm>
      </p:grpSpPr>
      <p:sp>
        <p:nvSpPr>
          <p:cNvPr id="11003" name="Google Shape;11003;gabde0c4512_0_9913:notes"/>
          <p:cNvSpPr>
            <a:spLocks noGrp="1" noRot="1" noChangeAspect="1"/>
          </p:cNvSpPr>
          <p:nvPr>
            <p:ph type="sldImg" idx="2"/>
          </p:nvPr>
        </p:nvSpPr>
        <p:spPr>
          <a:xfrm>
            <a:off x="3813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1004" name="Google Shape;11004;gabde0c4512_0_9913: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95"/>
        <p:cNvGrpSpPr/>
        <p:nvPr/>
      </p:nvGrpSpPr>
      <p:grpSpPr>
        <a:xfrm>
          <a:off x="0" y="0"/>
          <a:ext cx="0" cy="0"/>
          <a:chOff x="0" y="0"/>
          <a:chExt cx="0" cy="0"/>
        </a:xfrm>
      </p:grpSpPr>
      <p:sp>
        <p:nvSpPr>
          <p:cNvPr id="496" name="Google Shape;496;g1258411abd8_2_258: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497" name="Google Shape;497;g1258411abd8_2_258: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190"/>
        <p:cNvGrpSpPr/>
        <p:nvPr/>
      </p:nvGrpSpPr>
      <p:grpSpPr>
        <a:xfrm>
          <a:off x="0" y="0"/>
          <a:ext cx="0" cy="0"/>
          <a:chOff x="0" y="0"/>
          <a:chExt cx="0" cy="0"/>
        </a:xfrm>
      </p:grpSpPr>
      <p:sp>
        <p:nvSpPr>
          <p:cNvPr id="11191" name="Google Shape;11191;gabde0c4512_0_10100:notes"/>
          <p:cNvSpPr>
            <a:spLocks noGrp="1" noRot="1" noChangeAspect="1"/>
          </p:cNvSpPr>
          <p:nvPr>
            <p:ph type="sldImg" idx="2"/>
          </p:nvPr>
        </p:nvSpPr>
        <p:spPr>
          <a:xfrm>
            <a:off x="3813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1192" name="Google Shape;11192;gabde0c4512_0_1010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9D86CDBC-8E74-4D41-8FD1-7E7D44F4E0DA}" type="slidenum">
              <a:rPr lang="en-US" smtClean="0"/>
              <a:t>6</a:t>
            </a:fld>
            <a:endParaRPr lang="en-US"/>
          </a:p>
        </p:txBody>
      </p:sp>
    </p:spTree>
    <p:extLst>
      <p:ext uri="{BB962C8B-B14F-4D97-AF65-F5344CB8AC3E}">
        <p14:creationId xmlns:p14="http://schemas.microsoft.com/office/powerpoint/2010/main" val="170774758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9D86CDBC-8E74-4D41-8FD1-7E7D44F4E0DA}" type="slidenum">
              <a:rPr lang="en-US" smtClean="0"/>
              <a:t>7</a:t>
            </a:fld>
            <a:endParaRPr lang="en-US"/>
          </a:p>
        </p:txBody>
      </p:sp>
    </p:spTree>
    <p:extLst>
      <p:ext uri="{BB962C8B-B14F-4D97-AF65-F5344CB8AC3E}">
        <p14:creationId xmlns:p14="http://schemas.microsoft.com/office/powerpoint/2010/main" val="406721810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9D86CDBC-8E74-4D41-8FD1-7E7D44F4E0DA}" type="slidenum">
              <a:rPr lang="en-US" smtClean="0"/>
              <a:t>8</a:t>
            </a:fld>
            <a:endParaRPr lang="en-US"/>
          </a:p>
        </p:txBody>
      </p:sp>
    </p:spTree>
    <p:extLst>
      <p:ext uri="{BB962C8B-B14F-4D97-AF65-F5344CB8AC3E}">
        <p14:creationId xmlns:p14="http://schemas.microsoft.com/office/powerpoint/2010/main" val="143570416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9D86CDBC-8E74-4D41-8FD1-7E7D44F4E0DA}" type="slidenum">
              <a:rPr lang="en-US" smtClean="0"/>
              <a:t>9</a:t>
            </a:fld>
            <a:endParaRPr lang="en-US"/>
          </a:p>
        </p:txBody>
      </p:sp>
    </p:spTree>
    <p:extLst>
      <p:ext uri="{BB962C8B-B14F-4D97-AF65-F5344CB8AC3E}">
        <p14:creationId xmlns:p14="http://schemas.microsoft.com/office/powerpoint/2010/main" val="409503478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9D86CDBC-8E74-4D41-8FD1-7E7D44F4E0DA}" type="slidenum">
              <a:rPr lang="en-US" smtClean="0"/>
              <a:t>10</a:t>
            </a:fld>
            <a:endParaRPr lang="en-US"/>
          </a:p>
        </p:txBody>
      </p:sp>
    </p:spTree>
    <p:extLst>
      <p:ext uri="{BB962C8B-B14F-4D97-AF65-F5344CB8AC3E}">
        <p14:creationId xmlns:p14="http://schemas.microsoft.com/office/powerpoint/2010/main" val="231441613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9D86CDBC-8E74-4D41-8FD1-7E7D44F4E0DA}" type="slidenum">
              <a:rPr lang="en-US" smtClean="0"/>
              <a:t>11</a:t>
            </a:fld>
            <a:endParaRPr lang="en-US"/>
          </a:p>
        </p:txBody>
      </p:sp>
    </p:spTree>
    <p:extLst>
      <p:ext uri="{BB962C8B-B14F-4D97-AF65-F5344CB8AC3E}">
        <p14:creationId xmlns:p14="http://schemas.microsoft.com/office/powerpoint/2010/main" val="167809557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5" name="Freeform 4"/>
          <p:cNvSpPr>
            <a:spLocks/>
          </p:cNvSpPr>
          <p:nvPr userDrawn="1"/>
        </p:nvSpPr>
        <p:spPr bwMode="auto">
          <a:xfrm>
            <a:off x="0" y="-639708"/>
            <a:ext cx="12192001" cy="8099370"/>
          </a:xfrm>
          <a:custGeom>
            <a:avLst/>
            <a:gdLst>
              <a:gd name="T0" fmla="*/ 471 w 542"/>
              <a:gd name="T1" fmla="*/ 110 h 359"/>
              <a:gd name="T2" fmla="*/ 494 w 542"/>
              <a:gd name="T3" fmla="*/ 124 h 359"/>
              <a:gd name="T4" fmla="*/ 473 w 542"/>
              <a:gd name="T5" fmla="*/ 118 h 359"/>
              <a:gd name="T6" fmla="*/ 352 w 542"/>
              <a:gd name="T7" fmla="*/ 60 h 359"/>
              <a:gd name="T8" fmla="*/ 361 w 542"/>
              <a:gd name="T9" fmla="*/ 68 h 359"/>
              <a:gd name="T10" fmla="*/ 315 w 542"/>
              <a:gd name="T11" fmla="*/ 52 h 359"/>
              <a:gd name="T12" fmla="*/ 341 w 542"/>
              <a:gd name="T13" fmla="*/ 68 h 359"/>
              <a:gd name="T14" fmla="*/ 369 w 542"/>
              <a:gd name="T15" fmla="*/ 86 h 359"/>
              <a:gd name="T16" fmla="*/ 325 w 542"/>
              <a:gd name="T17" fmla="*/ 66 h 359"/>
              <a:gd name="T18" fmla="*/ 304 w 542"/>
              <a:gd name="T19" fmla="*/ 63 h 359"/>
              <a:gd name="T20" fmla="*/ 254 w 542"/>
              <a:gd name="T21" fmla="*/ 49 h 359"/>
              <a:gd name="T22" fmla="*/ 302 w 542"/>
              <a:gd name="T23" fmla="*/ 75 h 359"/>
              <a:gd name="T24" fmla="*/ 245 w 542"/>
              <a:gd name="T25" fmla="*/ 49 h 359"/>
              <a:gd name="T26" fmla="*/ 240 w 542"/>
              <a:gd name="T27" fmla="*/ 54 h 359"/>
              <a:gd name="T28" fmla="*/ 217 w 542"/>
              <a:gd name="T29" fmla="*/ 54 h 359"/>
              <a:gd name="T30" fmla="*/ 215 w 542"/>
              <a:gd name="T31" fmla="*/ 65 h 359"/>
              <a:gd name="T32" fmla="*/ 211 w 542"/>
              <a:gd name="T33" fmla="*/ 69 h 359"/>
              <a:gd name="T34" fmla="*/ 270 w 542"/>
              <a:gd name="T35" fmla="*/ 101 h 359"/>
              <a:gd name="T36" fmla="*/ 242 w 542"/>
              <a:gd name="T37" fmla="*/ 92 h 359"/>
              <a:gd name="T38" fmla="*/ 149 w 542"/>
              <a:gd name="T39" fmla="*/ 52 h 359"/>
              <a:gd name="T40" fmla="*/ 101 w 542"/>
              <a:gd name="T41" fmla="*/ 27 h 359"/>
              <a:gd name="T42" fmla="*/ 123 w 542"/>
              <a:gd name="T43" fmla="*/ 42 h 359"/>
              <a:gd name="T44" fmla="*/ 159 w 542"/>
              <a:gd name="T45" fmla="*/ 62 h 359"/>
              <a:gd name="T46" fmla="*/ 118 w 542"/>
              <a:gd name="T47" fmla="*/ 46 h 359"/>
              <a:gd name="T48" fmla="*/ 108 w 542"/>
              <a:gd name="T49" fmla="*/ 52 h 359"/>
              <a:gd name="T50" fmla="*/ 14 w 542"/>
              <a:gd name="T51" fmla="*/ 2 h 359"/>
              <a:gd name="T52" fmla="*/ 36 w 542"/>
              <a:gd name="T53" fmla="*/ 19 h 359"/>
              <a:gd name="T54" fmla="*/ 35 w 542"/>
              <a:gd name="T55" fmla="*/ 27 h 359"/>
              <a:gd name="T56" fmla="*/ 21 w 542"/>
              <a:gd name="T57" fmla="*/ 35 h 359"/>
              <a:gd name="T58" fmla="*/ 0 w 542"/>
              <a:gd name="T59" fmla="*/ 108 h 359"/>
              <a:gd name="T60" fmla="*/ 3 w 542"/>
              <a:gd name="T61" fmla="*/ 221 h 359"/>
              <a:gd name="T62" fmla="*/ 75 w 542"/>
              <a:gd name="T63" fmla="*/ 257 h 359"/>
              <a:gd name="T64" fmla="*/ 99 w 542"/>
              <a:gd name="T65" fmla="*/ 264 h 359"/>
              <a:gd name="T66" fmla="*/ 28 w 542"/>
              <a:gd name="T67" fmla="*/ 229 h 359"/>
              <a:gd name="T68" fmla="*/ 169 w 542"/>
              <a:gd name="T69" fmla="*/ 290 h 359"/>
              <a:gd name="T70" fmla="*/ 204 w 542"/>
              <a:gd name="T71" fmla="*/ 306 h 359"/>
              <a:gd name="T72" fmla="*/ 218 w 542"/>
              <a:gd name="T73" fmla="*/ 308 h 359"/>
              <a:gd name="T74" fmla="*/ 208 w 542"/>
              <a:gd name="T75" fmla="*/ 294 h 359"/>
              <a:gd name="T76" fmla="*/ 150 w 542"/>
              <a:gd name="T77" fmla="*/ 267 h 359"/>
              <a:gd name="T78" fmla="*/ 226 w 542"/>
              <a:gd name="T79" fmla="*/ 299 h 359"/>
              <a:gd name="T80" fmla="*/ 250 w 542"/>
              <a:gd name="T81" fmla="*/ 305 h 359"/>
              <a:gd name="T82" fmla="*/ 275 w 542"/>
              <a:gd name="T83" fmla="*/ 305 h 359"/>
              <a:gd name="T84" fmla="*/ 242 w 542"/>
              <a:gd name="T85" fmla="*/ 287 h 359"/>
              <a:gd name="T86" fmla="*/ 263 w 542"/>
              <a:gd name="T87" fmla="*/ 294 h 359"/>
              <a:gd name="T88" fmla="*/ 307 w 542"/>
              <a:gd name="T89" fmla="*/ 304 h 359"/>
              <a:gd name="T90" fmla="*/ 317 w 542"/>
              <a:gd name="T91" fmla="*/ 302 h 359"/>
              <a:gd name="T92" fmla="*/ 328 w 542"/>
              <a:gd name="T93" fmla="*/ 298 h 359"/>
              <a:gd name="T94" fmla="*/ 344 w 542"/>
              <a:gd name="T95" fmla="*/ 299 h 359"/>
              <a:gd name="T96" fmla="*/ 277 w 542"/>
              <a:gd name="T97" fmla="*/ 263 h 359"/>
              <a:gd name="T98" fmla="*/ 293 w 542"/>
              <a:gd name="T99" fmla="*/ 267 h 359"/>
              <a:gd name="T100" fmla="*/ 380 w 542"/>
              <a:gd name="T101" fmla="*/ 302 h 359"/>
              <a:gd name="T102" fmla="*/ 448 w 542"/>
              <a:gd name="T103" fmla="*/ 334 h 359"/>
              <a:gd name="T104" fmla="*/ 414 w 542"/>
              <a:gd name="T105" fmla="*/ 314 h 359"/>
              <a:gd name="T106" fmla="*/ 385 w 542"/>
              <a:gd name="T107" fmla="*/ 303 h 359"/>
              <a:gd name="T108" fmla="*/ 396 w 542"/>
              <a:gd name="T109" fmla="*/ 300 h 359"/>
              <a:gd name="T110" fmla="*/ 460 w 542"/>
              <a:gd name="T111" fmla="*/ 320 h 359"/>
              <a:gd name="T112" fmla="*/ 519 w 542"/>
              <a:gd name="T113" fmla="*/ 351 h 359"/>
              <a:gd name="T114" fmla="*/ 509 w 542"/>
              <a:gd name="T115" fmla="*/ 341 h 359"/>
              <a:gd name="T116" fmla="*/ 503 w 542"/>
              <a:gd name="T117" fmla="*/ 328 h 359"/>
              <a:gd name="T118" fmla="*/ 504 w 542"/>
              <a:gd name="T119" fmla="*/ 317 h 359"/>
              <a:gd name="T120" fmla="*/ 541 w 542"/>
              <a:gd name="T121" fmla="*/ 254 h 359"/>
              <a:gd name="T122" fmla="*/ 542 w 542"/>
              <a:gd name="T123" fmla="*/ 147 h 3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42" h="359">
                <a:moveTo>
                  <a:pt x="542" y="144"/>
                </a:moveTo>
                <a:cubicBezTo>
                  <a:pt x="542" y="139"/>
                  <a:pt x="542" y="139"/>
                  <a:pt x="542" y="139"/>
                </a:cubicBezTo>
                <a:cubicBezTo>
                  <a:pt x="537" y="139"/>
                  <a:pt x="537" y="139"/>
                  <a:pt x="537" y="139"/>
                </a:cubicBezTo>
                <a:cubicBezTo>
                  <a:pt x="529" y="135"/>
                  <a:pt x="522" y="131"/>
                  <a:pt x="514" y="127"/>
                </a:cubicBezTo>
                <a:cubicBezTo>
                  <a:pt x="500" y="120"/>
                  <a:pt x="485" y="114"/>
                  <a:pt x="472" y="106"/>
                </a:cubicBezTo>
                <a:cubicBezTo>
                  <a:pt x="472" y="106"/>
                  <a:pt x="472" y="106"/>
                  <a:pt x="472" y="106"/>
                </a:cubicBezTo>
                <a:cubicBezTo>
                  <a:pt x="470" y="105"/>
                  <a:pt x="469" y="104"/>
                  <a:pt x="466" y="104"/>
                </a:cubicBezTo>
                <a:cubicBezTo>
                  <a:pt x="464" y="103"/>
                  <a:pt x="463" y="102"/>
                  <a:pt x="461" y="101"/>
                </a:cubicBezTo>
                <a:cubicBezTo>
                  <a:pt x="462" y="102"/>
                  <a:pt x="465" y="104"/>
                  <a:pt x="465" y="104"/>
                </a:cubicBezTo>
                <a:cubicBezTo>
                  <a:pt x="466" y="105"/>
                  <a:pt x="467" y="105"/>
                  <a:pt x="467" y="105"/>
                </a:cubicBezTo>
                <a:cubicBezTo>
                  <a:pt x="468" y="106"/>
                  <a:pt x="470" y="107"/>
                  <a:pt x="470" y="107"/>
                </a:cubicBezTo>
                <a:cubicBezTo>
                  <a:pt x="468" y="107"/>
                  <a:pt x="472" y="108"/>
                  <a:pt x="471" y="109"/>
                </a:cubicBezTo>
                <a:cubicBezTo>
                  <a:pt x="470" y="109"/>
                  <a:pt x="469" y="108"/>
                  <a:pt x="469" y="108"/>
                </a:cubicBezTo>
                <a:cubicBezTo>
                  <a:pt x="469" y="109"/>
                  <a:pt x="471" y="109"/>
                  <a:pt x="472" y="110"/>
                </a:cubicBezTo>
                <a:cubicBezTo>
                  <a:pt x="473" y="110"/>
                  <a:pt x="475" y="111"/>
                  <a:pt x="475" y="112"/>
                </a:cubicBezTo>
                <a:cubicBezTo>
                  <a:pt x="474" y="111"/>
                  <a:pt x="472" y="110"/>
                  <a:pt x="471" y="110"/>
                </a:cubicBezTo>
                <a:cubicBezTo>
                  <a:pt x="471" y="110"/>
                  <a:pt x="470" y="110"/>
                  <a:pt x="470" y="110"/>
                </a:cubicBezTo>
                <a:cubicBezTo>
                  <a:pt x="472" y="111"/>
                  <a:pt x="473" y="111"/>
                  <a:pt x="475" y="112"/>
                </a:cubicBezTo>
                <a:cubicBezTo>
                  <a:pt x="476" y="113"/>
                  <a:pt x="477" y="113"/>
                  <a:pt x="479" y="114"/>
                </a:cubicBezTo>
                <a:cubicBezTo>
                  <a:pt x="479" y="114"/>
                  <a:pt x="479" y="115"/>
                  <a:pt x="478" y="115"/>
                </a:cubicBezTo>
                <a:cubicBezTo>
                  <a:pt x="476" y="114"/>
                  <a:pt x="474" y="112"/>
                  <a:pt x="472" y="111"/>
                </a:cubicBezTo>
                <a:cubicBezTo>
                  <a:pt x="468" y="109"/>
                  <a:pt x="463" y="107"/>
                  <a:pt x="458" y="105"/>
                </a:cubicBezTo>
                <a:cubicBezTo>
                  <a:pt x="458" y="105"/>
                  <a:pt x="457" y="105"/>
                  <a:pt x="457" y="104"/>
                </a:cubicBezTo>
                <a:cubicBezTo>
                  <a:pt x="456" y="104"/>
                  <a:pt x="454" y="103"/>
                  <a:pt x="453" y="102"/>
                </a:cubicBezTo>
                <a:cubicBezTo>
                  <a:pt x="452" y="102"/>
                  <a:pt x="451" y="101"/>
                  <a:pt x="449" y="101"/>
                </a:cubicBezTo>
                <a:cubicBezTo>
                  <a:pt x="447" y="100"/>
                  <a:pt x="446" y="99"/>
                  <a:pt x="443" y="98"/>
                </a:cubicBezTo>
                <a:cubicBezTo>
                  <a:pt x="443" y="99"/>
                  <a:pt x="445" y="100"/>
                  <a:pt x="448" y="101"/>
                </a:cubicBezTo>
                <a:cubicBezTo>
                  <a:pt x="452" y="104"/>
                  <a:pt x="456" y="106"/>
                  <a:pt x="460" y="106"/>
                </a:cubicBezTo>
                <a:cubicBezTo>
                  <a:pt x="465" y="109"/>
                  <a:pt x="469" y="111"/>
                  <a:pt x="474" y="113"/>
                </a:cubicBezTo>
                <a:cubicBezTo>
                  <a:pt x="477" y="115"/>
                  <a:pt x="481" y="116"/>
                  <a:pt x="484" y="118"/>
                </a:cubicBezTo>
                <a:cubicBezTo>
                  <a:pt x="486" y="119"/>
                  <a:pt x="488" y="120"/>
                  <a:pt x="490" y="121"/>
                </a:cubicBezTo>
                <a:cubicBezTo>
                  <a:pt x="491" y="122"/>
                  <a:pt x="493" y="123"/>
                  <a:pt x="494" y="124"/>
                </a:cubicBezTo>
                <a:cubicBezTo>
                  <a:pt x="492" y="123"/>
                  <a:pt x="491" y="122"/>
                  <a:pt x="489" y="121"/>
                </a:cubicBezTo>
                <a:cubicBezTo>
                  <a:pt x="489" y="121"/>
                  <a:pt x="488" y="121"/>
                  <a:pt x="487" y="121"/>
                </a:cubicBezTo>
                <a:cubicBezTo>
                  <a:pt x="487" y="121"/>
                  <a:pt x="487" y="121"/>
                  <a:pt x="487" y="121"/>
                </a:cubicBezTo>
                <a:cubicBezTo>
                  <a:pt x="487" y="121"/>
                  <a:pt x="489" y="122"/>
                  <a:pt x="491" y="123"/>
                </a:cubicBezTo>
                <a:cubicBezTo>
                  <a:pt x="491" y="123"/>
                  <a:pt x="492" y="124"/>
                  <a:pt x="492" y="124"/>
                </a:cubicBezTo>
                <a:cubicBezTo>
                  <a:pt x="494" y="125"/>
                  <a:pt x="495" y="125"/>
                  <a:pt x="496" y="126"/>
                </a:cubicBezTo>
                <a:cubicBezTo>
                  <a:pt x="498" y="126"/>
                  <a:pt x="499" y="127"/>
                  <a:pt x="501" y="127"/>
                </a:cubicBezTo>
                <a:cubicBezTo>
                  <a:pt x="501" y="127"/>
                  <a:pt x="501" y="128"/>
                  <a:pt x="501" y="128"/>
                </a:cubicBezTo>
                <a:cubicBezTo>
                  <a:pt x="503" y="130"/>
                  <a:pt x="504" y="131"/>
                  <a:pt x="507" y="131"/>
                </a:cubicBezTo>
                <a:cubicBezTo>
                  <a:pt x="510" y="132"/>
                  <a:pt x="511" y="133"/>
                  <a:pt x="514" y="134"/>
                </a:cubicBezTo>
                <a:cubicBezTo>
                  <a:pt x="514" y="135"/>
                  <a:pt x="513" y="135"/>
                  <a:pt x="510" y="135"/>
                </a:cubicBezTo>
                <a:cubicBezTo>
                  <a:pt x="512" y="136"/>
                  <a:pt x="514" y="136"/>
                  <a:pt x="515" y="137"/>
                </a:cubicBezTo>
                <a:cubicBezTo>
                  <a:pt x="515" y="137"/>
                  <a:pt x="515" y="137"/>
                  <a:pt x="515" y="137"/>
                </a:cubicBezTo>
                <a:cubicBezTo>
                  <a:pt x="505" y="133"/>
                  <a:pt x="494" y="128"/>
                  <a:pt x="485" y="123"/>
                </a:cubicBezTo>
                <a:cubicBezTo>
                  <a:pt x="484" y="123"/>
                  <a:pt x="483" y="123"/>
                  <a:pt x="482" y="122"/>
                </a:cubicBezTo>
                <a:cubicBezTo>
                  <a:pt x="479" y="121"/>
                  <a:pt x="476" y="119"/>
                  <a:pt x="473" y="118"/>
                </a:cubicBezTo>
                <a:cubicBezTo>
                  <a:pt x="472" y="117"/>
                  <a:pt x="471" y="117"/>
                  <a:pt x="471" y="117"/>
                </a:cubicBezTo>
                <a:cubicBezTo>
                  <a:pt x="470" y="117"/>
                  <a:pt x="469" y="117"/>
                  <a:pt x="468" y="117"/>
                </a:cubicBezTo>
                <a:cubicBezTo>
                  <a:pt x="455" y="110"/>
                  <a:pt x="444" y="104"/>
                  <a:pt x="430" y="97"/>
                </a:cubicBezTo>
                <a:cubicBezTo>
                  <a:pt x="430" y="96"/>
                  <a:pt x="428" y="95"/>
                  <a:pt x="426" y="94"/>
                </a:cubicBezTo>
                <a:cubicBezTo>
                  <a:pt x="425" y="94"/>
                  <a:pt x="425" y="93"/>
                  <a:pt x="421" y="92"/>
                </a:cubicBezTo>
                <a:cubicBezTo>
                  <a:pt x="421" y="92"/>
                  <a:pt x="418" y="92"/>
                  <a:pt x="417" y="91"/>
                </a:cubicBezTo>
                <a:cubicBezTo>
                  <a:pt x="412" y="89"/>
                  <a:pt x="409" y="87"/>
                  <a:pt x="403" y="84"/>
                </a:cubicBezTo>
                <a:cubicBezTo>
                  <a:pt x="405" y="86"/>
                  <a:pt x="409" y="87"/>
                  <a:pt x="409" y="89"/>
                </a:cubicBezTo>
                <a:cubicBezTo>
                  <a:pt x="399" y="84"/>
                  <a:pt x="390" y="80"/>
                  <a:pt x="382" y="76"/>
                </a:cubicBezTo>
                <a:cubicBezTo>
                  <a:pt x="380" y="74"/>
                  <a:pt x="378" y="73"/>
                  <a:pt x="374" y="72"/>
                </a:cubicBezTo>
                <a:cubicBezTo>
                  <a:pt x="374" y="72"/>
                  <a:pt x="373" y="71"/>
                  <a:pt x="373" y="71"/>
                </a:cubicBezTo>
                <a:cubicBezTo>
                  <a:pt x="371" y="69"/>
                  <a:pt x="366" y="68"/>
                  <a:pt x="364" y="66"/>
                </a:cubicBezTo>
                <a:cubicBezTo>
                  <a:pt x="363" y="66"/>
                  <a:pt x="363" y="66"/>
                  <a:pt x="363" y="66"/>
                </a:cubicBezTo>
                <a:cubicBezTo>
                  <a:pt x="363" y="66"/>
                  <a:pt x="363" y="66"/>
                  <a:pt x="363" y="66"/>
                </a:cubicBezTo>
                <a:cubicBezTo>
                  <a:pt x="363" y="66"/>
                  <a:pt x="363" y="66"/>
                  <a:pt x="364" y="66"/>
                </a:cubicBezTo>
                <a:cubicBezTo>
                  <a:pt x="361" y="64"/>
                  <a:pt x="356" y="62"/>
                  <a:pt x="352" y="60"/>
                </a:cubicBezTo>
                <a:cubicBezTo>
                  <a:pt x="347" y="57"/>
                  <a:pt x="342" y="54"/>
                  <a:pt x="340" y="52"/>
                </a:cubicBezTo>
                <a:cubicBezTo>
                  <a:pt x="339" y="52"/>
                  <a:pt x="338" y="51"/>
                  <a:pt x="338" y="51"/>
                </a:cubicBezTo>
                <a:cubicBezTo>
                  <a:pt x="334" y="49"/>
                  <a:pt x="328" y="46"/>
                  <a:pt x="324" y="44"/>
                </a:cubicBezTo>
                <a:cubicBezTo>
                  <a:pt x="323" y="43"/>
                  <a:pt x="321" y="42"/>
                  <a:pt x="318" y="42"/>
                </a:cubicBezTo>
                <a:cubicBezTo>
                  <a:pt x="317" y="41"/>
                  <a:pt x="316" y="41"/>
                  <a:pt x="314" y="40"/>
                </a:cubicBezTo>
                <a:cubicBezTo>
                  <a:pt x="314" y="40"/>
                  <a:pt x="313" y="40"/>
                  <a:pt x="313" y="40"/>
                </a:cubicBezTo>
                <a:cubicBezTo>
                  <a:pt x="313" y="40"/>
                  <a:pt x="313" y="40"/>
                  <a:pt x="313" y="40"/>
                </a:cubicBezTo>
                <a:cubicBezTo>
                  <a:pt x="316" y="42"/>
                  <a:pt x="321" y="45"/>
                  <a:pt x="326" y="47"/>
                </a:cubicBezTo>
                <a:cubicBezTo>
                  <a:pt x="328" y="48"/>
                  <a:pt x="331" y="49"/>
                  <a:pt x="331" y="50"/>
                </a:cubicBezTo>
                <a:cubicBezTo>
                  <a:pt x="338" y="52"/>
                  <a:pt x="333" y="53"/>
                  <a:pt x="338" y="54"/>
                </a:cubicBezTo>
                <a:cubicBezTo>
                  <a:pt x="338" y="54"/>
                  <a:pt x="338" y="54"/>
                  <a:pt x="338" y="54"/>
                </a:cubicBezTo>
                <a:cubicBezTo>
                  <a:pt x="339" y="55"/>
                  <a:pt x="339" y="56"/>
                  <a:pt x="342" y="57"/>
                </a:cubicBezTo>
                <a:cubicBezTo>
                  <a:pt x="345" y="59"/>
                  <a:pt x="349" y="60"/>
                  <a:pt x="351" y="62"/>
                </a:cubicBezTo>
                <a:cubicBezTo>
                  <a:pt x="353" y="63"/>
                  <a:pt x="354" y="63"/>
                  <a:pt x="356" y="63"/>
                </a:cubicBezTo>
                <a:cubicBezTo>
                  <a:pt x="356" y="64"/>
                  <a:pt x="354" y="64"/>
                  <a:pt x="357" y="65"/>
                </a:cubicBezTo>
                <a:cubicBezTo>
                  <a:pt x="357" y="66"/>
                  <a:pt x="361" y="67"/>
                  <a:pt x="361" y="68"/>
                </a:cubicBezTo>
                <a:cubicBezTo>
                  <a:pt x="361" y="68"/>
                  <a:pt x="360" y="68"/>
                  <a:pt x="360" y="68"/>
                </a:cubicBezTo>
                <a:cubicBezTo>
                  <a:pt x="358" y="67"/>
                  <a:pt x="359" y="68"/>
                  <a:pt x="359" y="69"/>
                </a:cubicBezTo>
                <a:cubicBezTo>
                  <a:pt x="355" y="68"/>
                  <a:pt x="352" y="66"/>
                  <a:pt x="352" y="66"/>
                </a:cubicBezTo>
                <a:cubicBezTo>
                  <a:pt x="352" y="64"/>
                  <a:pt x="350" y="63"/>
                  <a:pt x="346" y="62"/>
                </a:cubicBezTo>
                <a:cubicBezTo>
                  <a:pt x="344" y="62"/>
                  <a:pt x="342" y="61"/>
                  <a:pt x="341" y="60"/>
                </a:cubicBezTo>
                <a:cubicBezTo>
                  <a:pt x="340" y="59"/>
                  <a:pt x="338" y="58"/>
                  <a:pt x="336" y="58"/>
                </a:cubicBezTo>
                <a:cubicBezTo>
                  <a:pt x="336" y="58"/>
                  <a:pt x="336" y="58"/>
                  <a:pt x="335" y="58"/>
                </a:cubicBezTo>
                <a:cubicBezTo>
                  <a:pt x="332" y="56"/>
                  <a:pt x="328" y="54"/>
                  <a:pt x="324" y="53"/>
                </a:cubicBezTo>
                <a:cubicBezTo>
                  <a:pt x="324" y="53"/>
                  <a:pt x="324" y="53"/>
                  <a:pt x="324" y="53"/>
                </a:cubicBezTo>
                <a:cubicBezTo>
                  <a:pt x="324" y="53"/>
                  <a:pt x="324" y="53"/>
                  <a:pt x="324" y="53"/>
                </a:cubicBezTo>
                <a:cubicBezTo>
                  <a:pt x="324" y="53"/>
                  <a:pt x="324" y="53"/>
                  <a:pt x="324" y="53"/>
                </a:cubicBezTo>
                <a:cubicBezTo>
                  <a:pt x="322" y="51"/>
                  <a:pt x="319" y="50"/>
                  <a:pt x="317" y="49"/>
                </a:cubicBezTo>
                <a:cubicBezTo>
                  <a:pt x="313" y="48"/>
                  <a:pt x="310" y="46"/>
                  <a:pt x="306" y="44"/>
                </a:cubicBezTo>
                <a:cubicBezTo>
                  <a:pt x="307" y="46"/>
                  <a:pt x="317" y="49"/>
                  <a:pt x="315" y="51"/>
                </a:cubicBezTo>
                <a:cubicBezTo>
                  <a:pt x="314" y="50"/>
                  <a:pt x="314" y="51"/>
                  <a:pt x="314" y="52"/>
                </a:cubicBezTo>
                <a:cubicBezTo>
                  <a:pt x="314" y="52"/>
                  <a:pt x="314" y="52"/>
                  <a:pt x="315" y="52"/>
                </a:cubicBezTo>
                <a:cubicBezTo>
                  <a:pt x="317" y="53"/>
                  <a:pt x="319" y="53"/>
                  <a:pt x="322" y="54"/>
                </a:cubicBezTo>
                <a:cubicBezTo>
                  <a:pt x="322" y="55"/>
                  <a:pt x="323" y="55"/>
                  <a:pt x="324" y="55"/>
                </a:cubicBezTo>
                <a:cubicBezTo>
                  <a:pt x="325" y="56"/>
                  <a:pt x="326" y="56"/>
                  <a:pt x="326" y="57"/>
                </a:cubicBezTo>
                <a:cubicBezTo>
                  <a:pt x="332" y="59"/>
                  <a:pt x="336" y="62"/>
                  <a:pt x="340" y="65"/>
                </a:cubicBezTo>
                <a:cubicBezTo>
                  <a:pt x="338" y="65"/>
                  <a:pt x="336" y="63"/>
                  <a:pt x="334" y="63"/>
                </a:cubicBezTo>
                <a:cubicBezTo>
                  <a:pt x="334" y="64"/>
                  <a:pt x="338" y="65"/>
                  <a:pt x="339" y="66"/>
                </a:cubicBezTo>
                <a:cubicBezTo>
                  <a:pt x="339" y="66"/>
                  <a:pt x="339" y="66"/>
                  <a:pt x="338" y="66"/>
                </a:cubicBezTo>
                <a:cubicBezTo>
                  <a:pt x="338" y="66"/>
                  <a:pt x="338" y="66"/>
                  <a:pt x="338" y="66"/>
                </a:cubicBezTo>
                <a:cubicBezTo>
                  <a:pt x="338" y="66"/>
                  <a:pt x="338" y="67"/>
                  <a:pt x="337" y="66"/>
                </a:cubicBezTo>
                <a:cubicBezTo>
                  <a:pt x="334" y="65"/>
                  <a:pt x="333" y="65"/>
                  <a:pt x="332" y="65"/>
                </a:cubicBezTo>
                <a:cubicBezTo>
                  <a:pt x="331" y="65"/>
                  <a:pt x="333" y="66"/>
                  <a:pt x="334" y="67"/>
                </a:cubicBezTo>
                <a:cubicBezTo>
                  <a:pt x="337" y="68"/>
                  <a:pt x="340" y="69"/>
                  <a:pt x="341" y="70"/>
                </a:cubicBezTo>
                <a:cubicBezTo>
                  <a:pt x="343" y="72"/>
                  <a:pt x="345" y="72"/>
                  <a:pt x="347" y="72"/>
                </a:cubicBezTo>
                <a:cubicBezTo>
                  <a:pt x="349" y="73"/>
                  <a:pt x="351" y="74"/>
                  <a:pt x="355" y="76"/>
                </a:cubicBezTo>
                <a:cubicBezTo>
                  <a:pt x="353" y="74"/>
                  <a:pt x="351" y="73"/>
                  <a:pt x="347" y="72"/>
                </a:cubicBezTo>
                <a:cubicBezTo>
                  <a:pt x="345" y="71"/>
                  <a:pt x="343" y="70"/>
                  <a:pt x="341" y="68"/>
                </a:cubicBezTo>
                <a:cubicBezTo>
                  <a:pt x="339" y="68"/>
                  <a:pt x="339" y="67"/>
                  <a:pt x="341" y="67"/>
                </a:cubicBezTo>
                <a:cubicBezTo>
                  <a:pt x="343" y="68"/>
                  <a:pt x="346" y="69"/>
                  <a:pt x="347" y="68"/>
                </a:cubicBezTo>
                <a:cubicBezTo>
                  <a:pt x="347" y="69"/>
                  <a:pt x="348" y="69"/>
                  <a:pt x="349" y="69"/>
                </a:cubicBezTo>
                <a:cubicBezTo>
                  <a:pt x="349" y="70"/>
                  <a:pt x="351" y="71"/>
                  <a:pt x="353" y="72"/>
                </a:cubicBezTo>
                <a:cubicBezTo>
                  <a:pt x="359" y="75"/>
                  <a:pt x="364" y="78"/>
                  <a:pt x="370" y="81"/>
                </a:cubicBezTo>
                <a:cubicBezTo>
                  <a:pt x="373" y="83"/>
                  <a:pt x="375" y="84"/>
                  <a:pt x="380" y="86"/>
                </a:cubicBezTo>
                <a:cubicBezTo>
                  <a:pt x="382" y="88"/>
                  <a:pt x="388" y="90"/>
                  <a:pt x="390" y="92"/>
                </a:cubicBezTo>
                <a:cubicBezTo>
                  <a:pt x="391" y="93"/>
                  <a:pt x="393" y="94"/>
                  <a:pt x="394" y="95"/>
                </a:cubicBezTo>
                <a:cubicBezTo>
                  <a:pt x="395" y="96"/>
                  <a:pt x="396" y="96"/>
                  <a:pt x="396" y="97"/>
                </a:cubicBezTo>
                <a:cubicBezTo>
                  <a:pt x="397" y="97"/>
                  <a:pt x="397" y="98"/>
                  <a:pt x="398" y="98"/>
                </a:cubicBezTo>
                <a:cubicBezTo>
                  <a:pt x="396" y="97"/>
                  <a:pt x="394" y="96"/>
                  <a:pt x="392" y="95"/>
                </a:cubicBezTo>
                <a:cubicBezTo>
                  <a:pt x="390" y="95"/>
                  <a:pt x="390" y="94"/>
                  <a:pt x="388" y="94"/>
                </a:cubicBezTo>
                <a:cubicBezTo>
                  <a:pt x="387" y="93"/>
                  <a:pt x="385" y="92"/>
                  <a:pt x="384" y="92"/>
                </a:cubicBezTo>
                <a:cubicBezTo>
                  <a:pt x="384" y="92"/>
                  <a:pt x="384" y="93"/>
                  <a:pt x="383" y="93"/>
                </a:cubicBezTo>
                <a:cubicBezTo>
                  <a:pt x="380" y="91"/>
                  <a:pt x="378" y="90"/>
                  <a:pt x="374" y="88"/>
                </a:cubicBezTo>
                <a:cubicBezTo>
                  <a:pt x="372" y="87"/>
                  <a:pt x="370" y="87"/>
                  <a:pt x="369" y="86"/>
                </a:cubicBezTo>
                <a:cubicBezTo>
                  <a:pt x="369" y="86"/>
                  <a:pt x="370" y="85"/>
                  <a:pt x="369" y="85"/>
                </a:cubicBezTo>
                <a:cubicBezTo>
                  <a:pt x="367" y="84"/>
                  <a:pt x="367" y="85"/>
                  <a:pt x="367" y="85"/>
                </a:cubicBezTo>
                <a:cubicBezTo>
                  <a:pt x="365" y="84"/>
                  <a:pt x="364" y="83"/>
                  <a:pt x="362" y="83"/>
                </a:cubicBezTo>
                <a:cubicBezTo>
                  <a:pt x="362" y="83"/>
                  <a:pt x="362" y="83"/>
                  <a:pt x="362" y="83"/>
                </a:cubicBezTo>
                <a:cubicBezTo>
                  <a:pt x="356" y="78"/>
                  <a:pt x="346" y="74"/>
                  <a:pt x="338" y="70"/>
                </a:cubicBezTo>
                <a:cubicBezTo>
                  <a:pt x="334" y="67"/>
                  <a:pt x="330" y="65"/>
                  <a:pt x="326" y="63"/>
                </a:cubicBezTo>
                <a:cubicBezTo>
                  <a:pt x="324" y="61"/>
                  <a:pt x="321" y="60"/>
                  <a:pt x="318" y="59"/>
                </a:cubicBezTo>
                <a:cubicBezTo>
                  <a:pt x="317" y="58"/>
                  <a:pt x="317" y="57"/>
                  <a:pt x="314" y="57"/>
                </a:cubicBezTo>
                <a:cubicBezTo>
                  <a:pt x="309" y="56"/>
                  <a:pt x="312" y="57"/>
                  <a:pt x="312" y="58"/>
                </a:cubicBezTo>
                <a:cubicBezTo>
                  <a:pt x="311" y="57"/>
                  <a:pt x="310" y="57"/>
                  <a:pt x="308" y="56"/>
                </a:cubicBezTo>
                <a:cubicBezTo>
                  <a:pt x="310" y="58"/>
                  <a:pt x="313" y="60"/>
                  <a:pt x="316" y="61"/>
                </a:cubicBezTo>
                <a:cubicBezTo>
                  <a:pt x="315" y="61"/>
                  <a:pt x="314" y="62"/>
                  <a:pt x="316" y="62"/>
                </a:cubicBezTo>
                <a:cubicBezTo>
                  <a:pt x="319" y="64"/>
                  <a:pt x="321" y="65"/>
                  <a:pt x="325" y="66"/>
                </a:cubicBezTo>
                <a:cubicBezTo>
                  <a:pt x="325" y="66"/>
                  <a:pt x="325" y="66"/>
                  <a:pt x="325" y="67"/>
                </a:cubicBezTo>
                <a:cubicBezTo>
                  <a:pt x="325" y="67"/>
                  <a:pt x="325" y="67"/>
                  <a:pt x="325" y="67"/>
                </a:cubicBezTo>
                <a:cubicBezTo>
                  <a:pt x="325" y="67"/>
                  <a:pt x="325" y="66"/>
                  <a:pt x="325" y="66"/>
                </a:cubicBezTo>
                <a:cubicBezTo>
                  <a:pt x="325" y="67"/>
                  <a:pt x="322" y="67"/>
                  <a:pt x="327" y="68"/>
                </a:cubicBezTo>
                <a:cubicBezTo>
                  <a:pt x="328" y="69"/>
                  <a:pt x="330" y="70"/>
                  <a:pt x="328" y="70"/>
                </a:cubicBezTo>
                <a:cubicBezTo>
                  <a:pt x="328" y="70"/>
                  <a:pt x="328" y="70"/>
                  <a:pt x="328" y="70"/>
                </a:cubicBezTo>
                <a:cubicBezTo>
                  <a:pt x="328" y="70"/>
                  <a:pt x="328" y="70"/>
                  <a:pt x="328" y="70"/>
                </a:cubicBezTo>
                <a:cubicBezTo>
                  <a:pt x="328" y="70"/>
                  <a:pt x="328" y="70"/>
                  <a:pt x="328" y="70"/>
                </a:cubicBezTo>
                <a:cubicBezTo>
                  <a:pt x="323" y="67"/>
                  <a:pt x="319" y="65"/>
                  <a:pt x="312" y="62"/>
                </a:cubicBezTo>
                <a:cubicBezTo>
                  <a:pt x="311" y="62"/>
                  <a:pt x="310" y="61"/>
                  <a:pt x="309" y="60"/>
                </a:cubicBezTo>
                <a:cubicBezTo>
                  <a:pt x="306" y="60"/>
                  <a:pt x="310" y="62"/>
                  <a:pt x="310" y="62"/>
                </a:cubicBezTo>
                <a:cubicBezTo>
                  <a:pt x="309" y="62"/>
                  <a:pt x="308" y="62"/>
                  <a:pt x="307" y="62"/>
                </a:cubicBezTo>
                <a:cubicBezTo>
                  <a:pt x="303" y="61"/>
                  <a:pt x="301" y="59"/>
                  <a:pt x="298" y="58"/>
                </a:cubicBezTo>
                <a:cubicBezTo>
                  <a:pt x="296" y="57"/>
                  <a:pt x="294" y="55"/>
                  <a:pt x="292" y="55"/>
                </a:cubicBezTo>
                <a:cubicBezTo>
                  <a:pt x="289" y="55"/>
                  <a:pt x="295" y="57"/>
                  <a:pt x="296" y="58"/>
                </a:cubicBezTo>
                <a:cubicBezTo>
                  <a:pt x="296" y="58"/>
                  <a:pt x="296" y="58"/>
                  <a:pt x="296" y="58"/>
                </a:cubicBezTo>
                <a:cubicBezTo>
                  <a:pt x="296" y="58"/>
                  <a:pt x="296" y="58"/>
                  <a:pt x="296" y="58"/>
                </a:cubicBezTo>
                <a:cubicBezTo>
                  <a:pt x="295" y="58"/>
                  <a:pt x="295" y="58"/>
                  <a:pt x="294" y="58"/>
                </a:cubicBezTo>
                <a:cubicBezTo>
                  <a:pt x="297" y="60"/>
                  <a:pt x="302" y="61"/>
                  <a:pt x="304" y="63"/>
                </a:cubicBezTo>
                <a:cubicBezTo>
                  <a:pt x="305" y="63"/>
                  <a:pt x="305" y="64"/>
                  <a:pt x="306" y="64"/>
                </a:cubicBezTo>
                <a:cubicBezTo>
                  <a:pt x="306" y="64"/>
                  <a:pt x="305" y="64"/>
                  <a:pt x="304" y="64"/>
                </a:cubicBezTo>
                <a:cubicBezTo>
                  <a:pt x="304" y="65"/>
                  <a:pt x="304" y="65"/>
                  <a:pt x="305" y="66"/>
                </a:cubicBezTo>
                <a:cubicBezTo>
                  <a:pt x="311" y="69"/>
                  <a:pt x="311" y="69"/>
                  <a:pt x="305" y="69"/>
                </a:cubicBezTo>
                <a:cubicBezTo>
                  <a:pt x="305" y="69"/>
                  <a:pt x="305" y="69"/>
                  <a:pt x="305" y="69"/>
                </a:cubicBezTo>
                <a:cubicBezTo>
                  <a:pt x="305" y="69"/>
                  <a:pt x="305" y="69"/>
                  <a:pt x="305" y="69"/>
                </a:cubicBezTo>
                <a:cubicBezTo>
                  <a:pt x="305" y="69"/>
                  <a:pt x="305" y="69"/>
                  <a:pt x="305" y="69"/>
                </a:cubicBezTo>
                <a:cubicBezTo>
                  <a:pt x="303" y="69"/>
                  <a:pt x="303" y="67"/>
                  <a:pt x="300" y="67"/>
                </a:cubicBezTo>
                <a:cubicBezTo>
                  <a:pt x="298" y="68"/>
                  <a:pt x="301" y="69"/>
                  <a:pt x="302" y="69"/>
                </a:cubicBezTo>
                <a:cubicBezTo>
                  <a:pt x="303" y="70"/>
                  <a:pt x="303" y="71"/>
                  <a:pt x="301" y="70"/>
                </a:cubicBezTo>
                <a:cubicBezTo>
                  <a:pt x="295" y="68"/>
                  <a:pt x="289" y="67"/>
                  <a:pt x="284" y="64"/>
                </a:cubicBezTo>
                <a:cubicBezTo>
                  <a:pt x="284" y="64"/>
                  <a:pt x="283" y="63"/>
                  <a:pt x="284" y="63"/>
                </a:cubicBezTo>
                <a:cubicBezTo>
                  <a:pt x="284" y="63"/>
                  <a:pt x="286" y="64"/>
                  <a:pt x="287" y="64"/>
                </a:cubicBezTo>
                <a:cubicBezTo>
                  <a:pt x="282" y="61"/>
                  <a:pt x="272" y="58"/>
                  <a:pt x="267" y="55"/>
                </a:cubicBezTo>
                <a:cubicBezTo>
                  <a:pt x="265" y="54"/>
                  <a:pt x="262" y="52"/>
                  <a:pt x="258" y="50"/>
                </a:cubicBezTo>
                <a:cubicBezTo>
                  <a:pt x="257" y="50"/>
                  <a:pt x="256" y="49"/>
                  <a:pt x="254" y="49"/>
                </a:cubicBezTo>
                <a:cubicBezTo>
                  <a:pt x="252" y="49"/>
                  <a:pt x="253" y="50"/>
                  <a:pt x="255" y="50"/>
                </a:cubicBezTo>
                <a:cubicBezTo>
                  <a:pt x="259" y="52"/>
                  <a:pt x="255" y="52"/>
                  <a:pt x="255" y="52"/>
                </a:cubicBezTo>
                <a:cubicBezTo>
                  <a:pt x="254" y="52"/>
                  <a:pt x="253" y="52"/>
                  <a:pt x="253" y="52"/>
                </a:cubicBezTo>
                <a:cubicBezTo>
                  <a:pt x="255" y="53"/>
                  <a:pt x="255" y="54"/>
                  <a:pt x="260" y="55"/>
                </a:cubicBezTo>
                <a:cubicBezTo>
                  <a:pt x="261" y="54"/>
                  <a:pt x="259" y="53"/>
                  <a:pt x="259" y="53"/>
                </a:cubicBezTo>
                <a:cubicBezTo>
                  <a:pt x="262" y="54"/>
                  <a:pt x="262" y="55"/>
                  <a:pt x="264" y="55"/>
                </a:cubicBezTo>
                <a:cubicBezTo>
                  <a:pt x="269" y="57"/>
                  <a:pt x="269" y="59"/>
                  <a:pt x="274" y="61"/>
                </a:cubicBezTo>
                <a:cubicBezTo>
                  <a:pt x="276" y="62"/>
                  <a:pt x="278" y="63"/>
                  <a:pt x="280" y="64"/>
                </a:cubicBezTo>
                <a:cubicBezTo>
                  <a:pt x="280" y="64"/>
                  <a:pt x="279" y="65"/>
                  <a:pt x="280" y="66"/>
                </a:cubicBezTo>
                <a:cubicBezTo>
                  <a:pt x="282" y="67"/>
                  <a:pt x="284" y="68"/>
                  <a:pt x="286" y="69"/>
                </a:cubicBezTo>
                <a:cubicBezTo>
                  <a:pt x="286" y="69"/>
                  <a:pt x="287" y="69"/>
                  <a:pt x="287" y="69"/>
                </a:cubicBezTo>
                <a:cubicBezTo>
                  <a:pt x="285" y="68"/>
                  <a:pt x="283" y="67"/>
                  <a:pt x="281" y="66"/>
                </a:cubicBezTo>
                <a:cubicBezTo>
                  <a:pt x="286" y="66"/>
                  <a:pt x="287" y="68"/>
                  <a:pt x="290" y="69"/>
                </a:cubicBezTo>
                <a:cubicBezTo>
                  <a:pt x="291" y="71"/>
                  <a:pt x="297" y="73"/>
                  <a:pt x="300" y="74"/>
                </a:cubicBezTo>
                <a:cubicBezTo>
                  <a:pt x="300" y="75"/>
                  <a:pt x="301" y="75"/>
                  <a:pt x="302" y="75"/>
                </a:cubicBezTo>
                <a:cubicBezTo>
                  <a:pt x="302" y="75"/>
                  <a:pt x="302" y="75"/>
                  <a:pt x="302" y="75"/>
                </a:cubicBezTo>
                <a:cubicBezTo>
                  <a:pt x="302" y="75"/>
                  <a:pt x="302" y="75"/>
                  <a:pt x="302" y="75"/>
                </a:cubicBezTo>
                <a:cubicBezTo>
                  <a:pt x="302" y="75"/>
                  <a:pt x="302" y="75"/>
                  <a:pt x="302" y="75"/>
                </a:cubicBezTo>
                <a:cubicBezTo>
                  <a:pt x="306" y="77"/>
                  <a:pt x="308" y="79"/>
                  <a:pt x="313" y="80"/>
                </a:cubicBezTo>
                <a:cubicBezTo>
                  <a:pt x="313" y="80"/>
                  <a:pt x="313" y="80"/>
                  <a:pt x="313" y="80"/>
                </a:cubicBezTo>
                <a:cubicBezTo>
                  <a:pt x="313" y="80"/>
                  <a:pt x="313" y="80"/>
                  <a:pt x="313" y="80"/>
                </a:cubicBezTo>
                <a:cubicBezTo>
                  <a:pt x="314" y="81"/>
                  <a:pt x="316" y="82"/>
                  <a:pt x="318" y="83"/>
                </a:cubicBezTo>
                <a:cubicBezTo>
                  <a:pt x="319" y="84"/>
                  <a:pt x="322" y="85"/>
                  <a:pt x="325" y="86"/>
                </a:cubicBezTo>
                <a:cubicBezTo>
                  <a:pt x="327" y="87"/>
                  <a:pt x="328" y="88"/>
                  <a:pt x="330" y="89"/>
                </a:cubicBezTo>
                <a:cubicBezTo>
                  <a:pt x="330" y="89"/>
                  <a:pt x="330" y="90"/>
                  <a:pt x="330" y="90"/>
                </a:cubicBezTo>
                <a:cubicBezTo>
                  <a:pt x="332" y="91"/>
                  <a:pt x="335" y="92"/>
                  <a:pt x="334" y="93"/>
                </a:cubicBezTo>
                <a:cubicBezTo>
                  <a:pt x="328" y="90"/>
                  <a:pt x="324" y="88"/>
                  <a:pt x="317" y="85"/>
                </a:cubicBezTo>
                <a:cubicBezTo>
                  <a:pt x="306" y="80"/>
                  <a:pt x="296" y="74"/>
                  <a:pt x="285" y="69"/>
                </a:cubicBezTo>
                <a:cubicBezTo>
                  <a:pt x="284" y="68"/>
                  <a:pt x="282" y="68"/>
                  <a:pt x="281" y="67"/>
                </a:cubicBezTo>
                <a:cubicBezTo>
                  <a:pt x="280" y="67"/>
                  <a:pt x="280" y="67"/>
                  <a:pt x="279" y="66"/>
                </a:cubicBezTo>
                <a:cubicBezTo>
                  <a:pt x="273" y="64"/>
                  <a:pt x="268" y="61"/>
                  <a:pt x="262" y="58"/>
                </a:cubicBezTo>
                <a:cubicBezTo>
                  <a:pt x="256" y="55"/>
                  <a:pt x="249" y="52"/>
                  <a:pt x="245" y="49"/>
                </a:cubicBezTo>
                <a:cubicBezTo>
                  <a:pt x="244" y="48"/>
                  <a:pt x="241" y="47"/>
                  <a:pt x="239" y="45"/>
                </a:cubicBezTo>
                <a:cubicBezTo>
                  <a:pt x="240" y="46"/>
                  <a:pt x="241" y="46"/>
                  <a:pt x="242" y="46"/>
                </a:cubicBezTo>
                <a:cubicBezTo>
                  <a:pt x="242" y="45"/>
                  <a:pt x="240" y="45"/>
                  <a:pt x="238" y="44"/>
                </a:cubicBezTo>
                <a:cubicBezTo>
                  <a:pt x="237" y="44"/>
                  <a:pt x="238" y="45"/>
                  <a:pt x="238" y="45"/>
                </a:cubicBezTo>
                <a:cubicBezTo>
                  <a:pt x="237" y="45"/>
                  <a:pt x="236" y="44"/>
                  <a:pt x="233" y="44"/>
                </a:cubicBezTo>
                <a:cubicBezTo>
                  <a:pt x="238" y="46"/>
                  <a:pt x="239" y="47"/>
                  <a:pt x="243" y="49"/>
                </a:cubicBezTo>
                <a:cubicBezTo>
                  <a:pt x="245" y="50"/>
                  <a:pt x="246" y="51"/>
                  <a:pt x="248" y="52"/>
                </a:cubicBezTo>
                <a:cubicBezTo>
                  <a:pt x="252" y="55"/>
                  <a:pt x="258" y="58"/>
                  <a:pt x="262" y="60"/>
                </a:cubicBezTo>
                <a:cubicBezTo>
                  <a:pt x="261" y="60"/>
                  <a:pt x="262" y="61"/>
                  <a:pt x="262" y="61"/>
                </a:cubicBezTo>
                <a:cubicBezTo>
                  <a:pt x="263" y="62"/>
                  <a:pt x="263" y="63"/>
                  <a:pt x="262" y="63"/>
                </a:cubicBezTo>
                <a:cubicBezTo>
                  <a:pt x="260" y="63"/>
                  <a:pt x="258" y="62"/>
                  <a:pt x="257" y="61"/>
                </a:cubicBezTo>
                <a:cubicBezTo>
                  <a:pt x="254" y="60"/>
                  <a:pt x="250" y="59"/>
                  <a:pt x="246" y="57"/>
                </a:cubicBezTo>
                <a:cubicBezTo>
                  <a:pt x="242" y="56"/>
                  <a:pt x="240" y="56"/>
                  <a:pt x="238" y="57"/>
                </a:cubicBezTo>
                <a:cubicBezTo>
                  <a:pt x="238" y="57"/>
                  <a:pt x="236" y="57"/>
                  <a:pt x="235" y="56"/>
                </a:cubicBezTo>
                <a:cubicBezTo>
                  <a:pt x="234" y="55"/>
                  <a:pt x="234" y="55"/>
                  <a:pt x="236" y="55"/>
                </a:cubicBezTo>
                <a:cubicBezTo>
                  <a:pt x="239" y="56"/>
                  <a:pt x="238" y="54"/>
                  <a:pt x="240" y="54"/>
                </a:cubicBezTo>
                <a:cubicBezTo>
                  <a:pt x="236" y="53"/>
                  <a:pt x="232" y="52"/>
                  <a:pt x="228" y="50"/>
                </a:cubicBezTo>
                <a:cubicBezTo>
                  <a:pt x="229" y="52"/>
                  <a:pt x="230" y="52"/>
                  <a:pt x="230" y="53"/>
                </a:cubicBezTo>
                <a:cubicBezTo>
                  <a:pt x="228" y="53"/>
                  <a:pt x="223" y="51"/>
                  <a:pt x="224" y="53"/>
                </a:cubicBezTo>
                <a:cubicBezTo>
                  <a:pt x="225" y="55"/>
                  <a:pt x="225" y="55"/>
                  <a:pt x="221" y="55"/>
                </a:cubicBezTo>
                <a:cubicBezTo>
                  <a:pt x="225" y="57"/>
                  <a:pt x="228" y="58"/>
                  <a:pt x="232" y="59"/>
                </a:cubicBezTo>
                <a:cubicBezTo>
                  <a:pt x="232" y="59"/>
                  <a:pt x="233" y="59"/>
                  <a:pt x="233" y="59"/>
                </a:cubicBezTo>
                <a:cubicBezTo>
                  <a:pt x="233" y="59"/>
                  <a:pt x="233" y="60"/>
                  <a:pt x="232" y="60"/>
                </a:cubicBezTo>
                <a:cubicBezTo>
                  <a:pt x="230" y="60"/>
                  <a:pt x="232" y="60"/>
                  <a:pt x="233" y="61"/>
                </a:cubicBezTo>
                <a:cubicBezTo>
                  <a:pt x="234" y="61"/>
                  <a:pt x="234" y="61"/>
                  <a:pt x="234" y="61"/>
                </a:cubicBezTo>
                <a:cubicBezTo>
                  <a:pt x="234" y="61"/>
                  <a:pt x="234" y="62"/>
                  <a:pt x="236" y="62"/>
                </a:cubicBezTo>
                <a:cubicBezTo>
                  <a:pt x="238" y="63"/>
                  <a:pt x="238" y="64"/>
                  <a:pt x="236" y="64"/>
                </a:cubicBezTo>
                <a:cubicBezTo>
                  <a:pt x="235" y="64"/>
                  <a:pt x="238" y="65"/>
                  <a:pt x="238" y="65"/>
                </a:cubicBezTo>
                <a:cubicBezTo>
                  <a:pt x="236" y="65"/>
                  <a:pt x="235" y="64"/>
                  <a:pt x="234" y="63"/>
                </a:cubicBezTo>
                <a:cubicBezTo>
                  <a:pt x="232" y="62"/>
                  <a:pt x="228" y="60"/>
                  <a:pt x="225" y="58"/>
                </a:cubicBezTo>
                <a:cubicBezTo>
                  <a:pt x="224" y="58"/>
                  <a:pt x="222" y="57"/>
                  <a:pt x="220" y="56"/>
                </a:cubicBezTo>
                <a:cubicBezTo>
                  <a:pt x="219" y="55"/>
                  <a:pt x="218" y="55"/>
                  <a:pt x="217" y="54"/>
                </a:cubicBezTo>
                <a:cubicBezTo>
                  <a:pt x="216" y="54"/>
                  <a:pt x="215" y="53"/>
                  <a:pt x="215" y="53"/>
                </a:cubicBezTo>
                <a:cubicBezTo>
                  <a:pt x="215" y="53"/>
                  <a:pt x="214" y="52"/>
                  <a:pt x="213" y="52"/>
                </a:cubicBezTo>
                <a:cubicBezTo>
                  <a:pt x="212" y="53"/>
                  <a:pt x="211" y="52"/>
                  <a:pt x="210" y="52"/>
                </a:cubicBezTo>
                <a:cubicBezTo>
                  <a:pt x="210" y="52"/>
                  <a:pt x="211" y="52"/>
                  <a:pt x="212" y="53"/>
                </a:cubicBezTo>
                <a:cubicBezTo>
                  <a:pt x="213" y="53"/>
                  <a:pt x="214" y="54"/>
                  <a:pt x="216" y="54"/>
                </a:cubicBezTo>
                <a:cubicBezTo>
                  <a:pt x="221" y="57"/>
                  <a:pt x="225" y="60"/>
                  <a:pt x="233" y="63"/>
                </a:cubicBezTo>
                <a:cubicBezTo>
                  <a:pt x="237" y="67"/>
                  <a:pt x="244" y="70"/>
                  <a:pt x="250" y="73"/>
                </a:cubicBezTo>
                <a:cubicBezTo>
                  <a:pt x="253" y="74"/>
                  <a:pt x="255" y="76"/>
                  <a:pt x="258" y="77"/>
                </a:cubicBezTo>
                <a:cubicBezTo>
                  <a:pt x="259" y="79"/>
                  <a:pt x="263" y="80"/>
                  <a:pt x="266" y="82"/>
                </a:cubicBezTo>
                <a:cubicBezTo>
                  <a:pt x="262" y="81"/>
                  <a:pt x="258" y="81"/>
                  <a:pt x="253" y="79"/>
                </a:cubicBezTo>
                <a:cubicBezTo>
                  <a:pt x="248" y="77"/>
                  <a:pt x="243" y="75"/>
                  <a:pt x="239" y="73"/>
                </a:cubicBezTo>
                <a:cubicBezTo>
                  <a:pt x="233" y="69"/>
                  <a:pt x="228" y="66"/>
                  <a:pt x="220" y="63"/>
                </a:cubicBezTo>
                <a:cubicBezTo>
                  <a:pt x="217" y="61"/>
                  <a:pt x="212" y="60"/>
                  <a:pt x="208" y="59"/>
                </a:cubicBezTo>
                <a:cubicBezTo>
                  <a:pt x="207" y="60"/>
                  <a:pt x="211" y="62"/>
                  <a:pt x="214" y="63"/>
                </a:cubicBezTo>
                <a:cubicBezTo>
                  <a:pt x="216" y="63"/>
                  <a:pt x="219" y="64"/>
                  <a:pt x="219" y="65"/>
                </a:cubicBezTo>
                <a:cubicBezTo>
                  <a:pt x="219" y="65"/>
                  <a:pt x="217" y="65"/>
                  <a:pt x="215" y="65"/>
                </a:cubicBezTo>
                <a:cubicBezTo>
                  <a:pt x="214" y="65"/>
                  <a:pt x="212" y="64"/>
                  <a:pt x="211" y="65"/>
                </a:cubicBezTo>
                <a:cubicBezTo>
                  <a:pt x="211" y="64"/>
                  <a:pt x="210" y="64"/>
                  <a:pt x="209" y="63"/>
                </a:cubicBezTo>
                <a:cubicBezTo>
                  <a:pt x="209" y="63"/>
                  <a:pt x="209" y="63"/>
                  <a:pt x="209" y="62"/>
                </a:cubicBezTo>
                <a:cubicBezTo>
                  <a:pt x="209" y="62"/>
                  <a:pt x="209" y="62"/>
                  <a:pt x="209" y="62"/>
                </a:cubicBezTo>
                <a:cubicBezTo>
                  <a:pt x="210" y="63"/>
                  <a:pt x="212" y="64"/>
                  <a:pt x="212" y="63"/>
                </a:cubicBezTo>
                <a:cubicBezTo>
                  <a:pt x="212" y="63"/>
                  <a:pt x="212" y="62"/>
                  <a:pt x="208" y="61"/>
                </a:cubicBezTo>
                <a:cubicBezTo>
                  <a:pt x="208" y="61"/>
                  <a:pt x="207" y="61"/>
                  <a:pt x="207" y="61"/>
                </a:cubicBezTo>
                <a:cubicBezTo>
                  <a:pt x="205" y="60"/>
                  <a:pt x="203" y="59"/>
                  <a:pt x="201" y="58"/>
                </a:cubicBezTo>
                <a:cubicBezTo>
                  <a:pt x="201" y="58"/>
                  <a:pt x="200" y="58"/>
                  <a:pt x="200" y="58"/>
                </a:cubicBezTo>
                <a:cubicBezTo>
                  <a:pt x="202" y="59"/>
                  <a:pt x="204" y="60"/>
                  <a:pt x="206" y="61"/>
                </a:cubicBezTo>
                <a:cubicBezTo>
                  <a:pt x="207" y="62"/>
                  <a:pt x="207" y="62"/>
                  <a:pt x="205" y="62"/>
                </a:cubicBezTo>
                <a:cubicBezTo>
                  <a:pt x="203" y="62"/>
                  <a:pt x="202" y="62"/>
                  <a:pt x="201" y="62"/>
                </a:cubicBezTo>
                <a:cubicBezTo>
                  <a:pt x="200" y="61"/>
                  <a:pt x="199" y="60"/>
                  <a:pt x="195" y="59"/>
                </a:cubicBezTo>
                <a:cubicBezTo>
                  <a:pt x="196" y="60"/>
                  <a:pt x="197" y="61"/>
                  <a:pt x="198" y="62"/>
                </a:cubicBezTo>
                <a:cubicBezTo>
                  <a:pt x="199" y="64"/>
                  <a:pt x="203" y="65"/>
                  <a:pt x="207" y="67"/>
                </a:cubicBezTo>
                <a:cubicBezTo>
                  <a:pt x="208" y="68"/>
                  <a:pt x="209" y="68"/>
                  <a:pt x="211" y="69"/>
                </a:cubicBezTo>
                <a:cubicBezTo>
                  <a:pt x="211" y="69"/>
                  <a:pt x="211" y="69"/>
                  <a:pt x="212" y="70"/>
                </a:cubicBezTo>
                <a:cubicBezTo>
                  <a:pt x="212" y="70"/>
                  <a:pt x="213" y="71"/>
                  <a:pt x="215" y="71"/>
                </a:cubicBezTo>
                <a:cubicBezTo>
                  <a:pt x="216" y="72"/>
                  <a:pt x="217" y="72"/>
                  <a:pt x="217" y="72"/>
                </a:cubicBezTo>
                <a:cubicBezTo>
                  <a:pt x="215" y="73"/>
                  <a:pt x="219" y="74"/>
                  <a:pt x="218" y="75"/>
                </a:cubicBezTo>
                <a:cubicBezTo>
                  <a:pt x="217" y="74"/>
                  <a:pt x="213" y="73"/>
                  <a:pt x="213" y="74"/>
                </a:cubicBezTo>
                <a:cubicBezTo>
                  <a:pt x="212" y="74"/>
                  <a:pt x="214" y="75"/>
                  <a:pt x="216" y="76"/>
                </a:cubicBezTo>
                <a:cubicBezTo>
                  <a:pt x="218" y="77"/>
                  <a:pt x="219" y="77"/>
                  <a:pt x="220" y="78"/>
                </a:cubicBezTo>
                <a:cubicBezTo>
                  <a:pt x="221" y="80"/>
                  <a:pt x="224" y="82"/>
                  <a:pt x="231" y="83"/>
                </a:cubicBezTo>
                <a:cubicBezTo>
                  <a:pt x="232" y="85"/>
                  <a:pt x="238" y="87"/>
                  <a:pt x="241" y="88"/>
                </a:cubicBezTo>
                <a:cubicBezTo>
                  <a:pt x="246" y="91"/>
                  <a:pt x="252" y="94"/>
                  <a:pt x="258" y="97"/>
                </a:cubicBezTo>
                <a:cubicBezTo>
                  <a:pt x="259" y="98"/>
                  <a:pt x="261" y="99"/>
                  <a:pt x="266" y="101"/>
                </a:cubicBezTo>
                <a:cubicBezTo>
                  <a:pt x="264" y="99"/>
                  <a:pt x="261" y="98"/>
                  <a:pt x="259" y="97"/>
                </a:cubicBezTo>
                <a:cubicBezTo>
                  <a:pt x="257" y="96"/>
                  <a:pt x="256" y="95"/>
                  <a:pt x="254" y="94"/>
                </a:cubicBezTo>
                <a:cubicBezTo>
                  <a:pt x="260" y="96"/>
                  <a:pt x="261" y="98"/>
                  <a:pt x="265" y="99"/>
                </a:cubicBezTo>
                <a:cubicBezTo>
                  <a:pt x="267" y="100"/>
                  <a:pt x="269" y="101"/>
                  <a:pt x="270" y="101"/>
                </a:cubicBezTo>
                <a:cubicBezTo>
                  <a:pt x="270" y="101"/>
                  <a:pt x="270" y="101"/>
                  <a:pt x="270" y="101"/>
                </a:cubicBezTo>
                <a:cubicBezTo>
                  <a:pt x="270" y="102"/>
                  <a:pt x="270" y="102"/>
                  <a:pt x="272" y="103"/>
                </a:cubicBezTo>
                <a:cubicBezTo>
                  <a:pt x="274" y="104"/>
                  <a:pt x="274" y="103"/>
                  <a:pt x="274" y="103"/>
                </a:cubicBezTo>
                <a:cubicBezTo>
                  <a:pt x="277" y="104"/>
                  <a:pt x="280" y="105"/>
                  <a:pt x="282" y="107"/>
                </a:cubicBezTo>
                <a:cubicBezTo>
                  <a:pt x="282" y="107"/>
                  <a:pt x="281" y="107"/>
                  <a:pt x="280" y="106"/>
                </a:cubicBezTo>
                <a:cubicBezTo>
                  <a:pt x="279" y="106"/>
                  <a:pt x="278" y="105"/>
                  <a:pt x="277" y="106"/>
                </a:cubicBezTo>
                <a:cubicBezTo>
                  <a:pt x="273" y="105"/>
                  <a:pt x="270" y="104"/>
                  <a:pt x="269" y="102"/>
                </a:cubicBezTo>
                <a:cubicBezTo>
                  <a:pt x="268" y="102"/>
                  <a:pt x="267" y="101"/>
                  <a:pt x="266" y="101"/>
                </a:cubicBezTo>
                <a:cubicBezTo>
                  <a:pt x="265" y="101"/>
                  <a:pt x="266" y="102"/>
                  <a:pt x="267" y="102"/>
                </a:cubicBezTo>
                <a:cubicBezTo>
                  <a:pt x="266" y="102"/>
                  <a:pt x="265" y="102"/>
                  <a:pt x="265" y="102"/>
                </a:cubicBezTo>
                <a:cubicBezTo>
                  <a:pt x="264" y="102"/>
                  <a:pt x="263" y="101"/>
                  <a:pt x="262" y="101"/>
                </a:cubicBezTo>
                <a:cubicBezTo>
                  <a:pt x="257" y="99"/>
                  <a:pt x="253" y="96"/>
                  <a:pt x="248" y="94"/>
                </a:cubicBezTo>
                <a:cubicBezTo>
                  <a:pt x="248" y="94"/>
                  <a:pt x="248" y="94"/>
                  <a:pt x="248" y="95"/>
                </a:cubicBezTo>
                <a:cubicBezTo>
                  <a:pt x="248" y="95"/>
                  <a:pt x="249" y="95"/>
                  <a:pt x="249" y="95"/>
                </a:cubicBezTo>
                <a:cubicBezTo>
                  <a:pt x="249" y="95"/>
                  <a:pt x="249" y="95"/>
                  <a:pt x="249" y="95"/>
                </a:cubicBezTo>
                <a:cubicBezTo>
                  <a:pt x="249" y="95"/>
                  <a:pt x="249" y="95"/>
                  <a:pt x="249" y="95"/>
                </a:cubicBezTo>
                <a:cubicBezTo>
                  <a:pt x="246" y="95"/>
                  <a:pt x="243" y="94"/>
                  <a:pt x="242" y="92"/>
                </a:cubicBezTo>
                <a:cubicBezTo>
                  <a:pt x="241" y="92"/>
                  <a:pt x="239" y="90"/>
                  <a:pt x="236" y="90"/>
                </a:cubicBezTo>
                <a:cubicBezTo>
                  <a:pt x="235" y="90"/>
                  <a:pt x="234" y="90"/>
                  <a:pt x="234" y="90"/>
                </a:cubicBezTo>
                <a:cubicBezTo>
                  <a:pt x="232" y="91"/>
                  <a:pt x="235" y="92"/>
                  <a:pt x="237" y="92"/>
                </a:cubicBezTo>
                <a:cubicBezTo>
                  <a:pt x="244" y="96"/>
                  <a:pt x="253" y="100"/>
                  <a:pt x="260" y="103"/>
                </a:cubicBezTo>
                <a:cubicBezTo>
                  <a:pt x="260" y="103"/>
                  <a:pt x="260" y="103"/>
                  <a:pt x="260" y="103"/>
                </a:cubicBezTo>
                <a:cubicBezTo>
                  <a:pt x="263" y="105"/>
                  <a:pt x="270" y="107"/>
                  <a:pt x="271" y="109"/>
                </a:cubicBezTo>
                <a:cubicBezTo>
                  <a:pt x="261" y="105"/>
                  <a:pt x="252" y="101"/>
                  <a:pt x="243" y="96"/>
                </a:cubicBezTo>
                <a:cubicBezTo>
                  <a:pt x="234" y="91"/>
                  <a:pt x="224" y="87"/>
                  <a:pt x="212" y="82"/>
                </a:cubicBezTo>
                <a:cubicBezTo>
                  <a:pt x="210" y="81"/>
                  <a:pt x="208" y="80"/>
                  <a:pt x="206" y="79"/>
                </a:cubicBezTo>
                <a:cubicBezTo>
                  <a:pt x="202" y="76"/>
                  <a:pt x="195" y="73"/>
                  <a:pt x="190" y="70"/>
                </a:cubicBezTo>
                <a:cubicBezTo>
                  <a:pt x="189" y="70"/>
                  <a:pt x="193" y="71"/>
                  <a:pt x="193" y="72"/>
                </a:cubicBezTo>
                <a:cubicBezTo>
                  <a:pt x="188" y="71"/>
                  <a:pt x="184" y="69"/>
                  <a:pt x="181" y="67"/>
                </a:cubicBezTo>
                <a:cubicBezTo>
                  <a:pt x="179" y="65"/>
                  <a:pt x="177" y="64"/>
                  <a:pt x="171" y="63"/>
                </a:cubicBezTo>
                <a:cubicBezTo>
                  <a:pt x="166" y="62"/>
                  <a:pt x="165" y="60"/>
                  <a:pt x="162" y="59"/>
                </a:cubicBezTo>
                <a:cubicBezTo>
                  <a:pt x="162" y="59"/>
                  <a:pt x="162" y="59"/>
                  <a:pt x="162" y="59"/>
                </a:cubicBezTo>
                <a:cubicBezTo>
                  <a:pt x="157" y="57"/>
                  <a:pt x="153" y="54"/>
                  <a:pt x="149" y="52"/>
                </a:cubicBezTo>
                <a:cubicBezTo>
                  <a:pt x="152" y="53"/>
                  <a:pt x="153" y="54"/>
                  <a:pt x="155" y="55"/>
                </a:cubicBezTo>
                <a:cubicBezTo>
                  <a:pt x="156" y="55"/>
                  <a:pt x="158" y="56"/>
                  <a:pt x="161" y="57"/>
                </a:cubicBezTo>
                <a:cubicBezTo>
                  <a:pt x="160" y="56"/>
                  <a:pt x="159" y="55"/>
                  <a:pt x="156" y="55"/>
                </a:cubicBezTo>
                <a:cubicBezTo>
                  <a:pt x="153" y="53"/>
                  <a:pt x="151" y="52"/>
                  <a:pt x="148" y="50"/>
                </a:cubicBezTo>
                <a:cubicBezTo>
                  <a:pt x="146" y="49"/>
                  <a:pt x="145" y="49"/>
                  <a:pt x="143" y="48"/>
                </a:cubicBezTo>
                <a:cubicBezTo>
                  <a:pt x="143" y="48"/>
                  <a:pt x="142" y="48"/>
                  <a:pt x="142" y="48"/>
                </a:cubicBezTo>
                <a:cubicBezTo>
                  <a:pt x="144" y="49"/>
                  <a:pt x="145" y="49"/>
                  <a:pt x="146" y="50"/>
                </a:cubicBezTo>
                <a:cubicBezTo>
                  <a:pt x="146" y="50"/>
                  <a:pt x="145" y="50"/>
                  <a:pt x="145" y="50"/>
                </a:cubicBezTo>
                <a:cubicBezTo>
                  <a:pt x="140" y="47"/>
                  <a:pt x="132" y="44"/>
                  <a:pt x="129" y="41"/>
                </a:cubicBezTo>
                <a:cubicBezTo>
                  <a:pt x="126" y="40"/>
                  <a:pt x="124" y="39"/>
                  <a:pt x="121" y="38"/>
                </a:cubicBezTo>
                <a:cubicBezTo>
                  <a:pt x="121" y="37"/>
                  <a:pt x="120" y="36"/>
                  <a:pt x="116" y="34"/>
                </a:cubicBezTo>
                <a:cubicBezTo>
                  <a:pt x="113" y="32"/>
                  <a:pt x="106" y="30"/>
                  <a:pt x="100" y="28"/>
                </a:cubicBezTo>
                <a:cubicBezTo>
                  <a:pt x="100" y="28"/>
                  <a:pt x="100" y="28"/>
                  <a:pt x="99" y="28"/>
                </a:cubicBezTo>
                <a:cubicBezTo>
                  <a:pt x="98" y="27"/>
                  <a:pt x="96" y="26"/>
                  <a:pt x="94" y="25"/>
                </a:cubicBezTo>
                <a:cubicBezTo>
                  <a:pt x="92" y="24"/>
                  <a:pt x="94" y="24"/>
                  <a:pt x="96" y="25"/>
                </a:cubicBezTo>
                <a:cubicBezTo>
                  <a:pt x="97" y="25"/>
                  <a:pt x="98" y="26"/>
                  <a:pt x="101" y="27"/>
                </a:cubicBezTo>
                <a:cubicBezTo>
                  <a:pt x="100" y="26"/>
                  <a:pt x="98" y="25"/>
                  <a:pt x="97" y="25"/>
                </a:cubicBezTo>
                <a:cubicBezTo>
                  <a:pt x="96" y="24"/>
                  <a:pt x="95" y="24"/>
                  <a:pt x="94" y="24"/>
                </a:cubicBezTo>
                <a:cubicBezTo>
                  <a:pt x="90" y="21"/>
                  <a:pt x="83" y="17"/>
                  <a:pt x="77" y="14"/>
                </a:cubicBezTo>
                <a:cubicBezTo>
                  <a:pt x="75" y="13"/>
                  <a:pt x="74" y="12"/>
                  <a:pt x="69" y="11"/>
                </a:cubicBezTo>
                <a:cubicBezTo>
                  <a:pt x="70" y="12"/>
                  <a:pt x="73" y="13"/>
                  <a:pt x="76" y="14"/>
                </a:cubicBezTo>
                <a:cubicBezTo>
                  <a:pt x="79" y="16"/>
                  <a:pt x="83" y="18"/>
                  <a:pt x="87" y="20"/>
                </a:cubicBezTo>
                <a:cubicBezTo>
                  <a:pt x="85" y="21"/>
                  <a:pt x="90" y="24"/>
                  <a:pt x="92" y="25"/>
                </a:cubicBezTo>
                <a:cubicBezTo>
                  <a:pt x="93" y="27"/>
                  <a:pt x="96" y="28"/>
                  <a:pt x="98" y="29"/>
                </a:cubicBezTo>
                <a:cubicBezTo>
                  <a:pt x="98" y="30"/>
                  <a:pt x="101" y="31"/>
                  <a:pt x="103" y="31"/>
                </a:cubicBezTo>
                <a:cubicBezTo>
                  <a:pt x="108" y="33"/>
                  <a:pt x="113" y="35"/>
                  <a:pt x="110" y="36"/>
                </a:cubicBezTo>
                <a:cubicBezTo>
                  <a:pt x="109" y="37"/>
                  <a:pt x="111" y="38"/>
                  <a:pt x="115" y="39"/>
                </a:cubicBezTo>
                <a:cubicBezTo>
                  <a:pt x="117" y="40"/>
                  <a:pt x="119" y="41"/>
                  <a:pt x="121" y="42"/>
                </a:cubicBezTo>
                <a:cubicBezTo>
                  <a:pt x="122" y="42"/>
                  <a:pt x="124" y="43"/>
                  <a:pt x="125" y="44"/>
                </a:cubicBezTo>
                <a:cubicBezTo>
                  <a:pt x="125" y="44"/>
                  <a:pt x="126" y="45"/>
                  <a:pt x="128" y="46"/>
                </a:cubicBezTo>
                <a:cubicBezTo>
                  <a:pt x="129" y="46"/>
                  <a:pt x="128" y="45"/>
                  <a:pt x="127" y="44"/>
                </a:cubicBezTo>
                <a:cubicBezTo>
                  <a:pt x="126" y="43"/>
                  <a:pt x="125" y="42"/>
                  <a:pt x="123" y="42"/>
                </a:cubicBezTo>
                <a:cubicBezTo>
                  <a:pt x="121" y="40"/>
                  <a:pt x="121" y="40"/>
                  <a:pt x="123" y="40"/>
                </a:cubicBezTo>
                <a:cubicBezTo>
                  <a:pt x="125" y="40"/>
                  <a:pt x="125" y="41"/>
                  <a:pt x="126" y="41"/>
                </a:cubicBezTo>
                <a:cubicBezTo>
                  <a:pt x="134" y="46"/>
                  <a:pt x="143" y="50"/>
                  <a:pt x="151" y="55"/>
                </a:cubicBezTo>
                <a:cubicBezTo>
                  <a:pt x="149" y="54"/>
                  <a:pt x="146" y="53"/>
                  <a:pt x="145" y="53"/>
                </a:cubicBezTo>
                <a:cubicBezTo>
                  <a:pt x="140" y="50"/>
                  <a:pt x="135" y="49"/>
                  <a:pt x="129" y="49"/>
                </a:cubicBezTo>
                <a:cubicBezTo>
                  <a:pt x="129" y="49"/>
                  <a:pt x="130" y="48"/>
                  <a:pt x="129" y="48"/>
                </a:cubicBezTo>
                <a:cubicBezTo>
                  <a:pt x="129" y="48"/>
                  <a:pt x="128" y="47"/>
                  <a:pt x="127" y="47"/>
                </a:cubicBezTo>
                <a:cubicBezTo>
                  <a:pt x="127" y="48"/>
                  <a:pt x="126" y="48"/>
                  <a:pt x="128" y="49"/>
                </a:cubicBezTo>
                <a:cubicBezTo>
                  <a:pt x="129" y="50"/>
                  <a:pt x="122" y="48"/>
                  <a:pt x="126" y="50"/>
                </a:cubicBezTo>
                <a:cubicBezTo>
                  <a:pt x="128" y="51"/>
                  <a:pt x="132" y="52"/>
                  <a:pt x="132" y="51"/>
                </a:cubicBezTo>
                <a:cubicBezTo>
                  <a:pt x="136" y="49"/>
                  <a:pt x="139" y="52"/>
                  <a:pt x="143" y="53"/>
                </a:cubicBezTo>
                <a:cubicBezTo>
                  <a:pt x="144" y="54"/>
                  <a:pt x="146" y="55"/>
                  <a:pt x="147" y="56"/>
                </a:cubicBezTo>
                <a:cubicBezTo>
                  <a:pt x="151" y="58"/>
                  <a:pt x="154" y="57"/>
                  <a:pt x="157" y="58"/>
                </a:cubicBezTo>
                <a:cubicBezTo>
                  <a:pt x="157" y="58"/>
                  <a:pt x="157" y="58"/>
                  <a:pt x="157" y="58"/>
                </a:cubicBezTo>
                <a:cubicBezTo>
                  <a:pt x="158" y="58"/>
                  <a:pt x="158" y="58"/>
                  <a:pt x="158" y="58"/>
                </a:cubicBezTo>
                <a:cubicBezTo>
                  <a:pt x="161" y="60"/>
                  <a:pt x="157" y="60"/>
                  <a:pt x="159" y="62"/>
                </a:cubicBezTo>
                <a:cubicBezTo>
                  <a:pt x="162" y="64"/>
                  <a:pt x="169" y="67"/>
                  <a:pt x="173" y="70"/>
                </a:cubicBezTo>
                <a:cubicBezTo>
                  <a:pt x="175" y="70"/>
                  <a:pt x="176" y="71"/>
                  <a:pt x="177" y="72"/>
                </a:cubicBezTo>
                <a:cubicBezTo>
                  <a:pt x="183" y="74"/>
                  <a:pt x="185" y="76"/>
                  <a:pt x="188" y="78"/>
                </a:cubicBezTo>
                <a:cubicBezTo>
                  <a:pt x="194" y="80"/>
                  <a:pt x="196" y="82"/>
                  <a:pt x="202" y="85"/>
                </a:cubicBezTo>
                <a:cubicBezTo>
                  <a:pt x="204" y="86"/>
                  <a:pt x="207" y="87"/>
                  <a:pt x="209" y="89"/>
                </a:cubicBezTo>
                <a:cubicBezTo>
                  <a:pt x="215" y="92"/>
                  <a:pt x="222" y="95"/>
                  <a:pt x="228" y="98"/>
                </a:cubicBezTo>
                <a:cubicBezTo>
                  <a:pt x="229" y="99"/>
                  <a:pt x="231" y="100"/>
                  <a:pt x="232" y="100"/>
                </a:cubicBezTo>
                <a:cubicBezTo>
                  <a:pt x="231" y="100"/>
                  <a:pt x="230" y="100"/>
                  <a:pt x="229" y="100"/>
                </a:cubicBezTo>
                <a:cubicBezTo>
                  <a:pt x="224" y="97"/>
                  <a:pt x="219" y="95"/>
                  <a:pt x="213" y="93"/>
                </a:cubicBezTo>
                <a:cubicBezTo>
                  <a:pt x="214" y="93"/>
                  <a:pt x="214" y="93"/>
                  <a:pt x="214" y="94"/>
                </a:cubicBezTo>
                <a:cubicBezTo>
                  <a:pt x="214" y="93"/>
                  <a:pt x="213" y="93"/>
                  <a:pt x="213" y="93"/>
                </a:cubicBezTo>
                <a:cubicBezTo>
                  <a:pt x="207" y="89"/>
                  <a:pt x="200" y="86"/>
                  <a:pt x="194" y="83"/>
                </a:cubicBezTo>
                <a:cubicBezTo>
                  <a:pt x="188" y="80"/>
                  <a:pt x="181" y="77"/>
                  <a:pt x="175" y="74"/>
                </a:cubicBezTo>
                <a:cubicBezTo>
                  <a:pt x="165" y="70"/>
                  <a:pt x="155" y="65"/>
                  <a:pt x="146" y="60"/>
                </a:cubicBezTo>
                <a:cubicBezTo>
                  <a:pt x="144" y="59"/>
                  <a:pt x="141" y="58"/>
                  <a:pt x="138" y="57"/>
                </a:cubicBezTo>
                <a:cubicBezTo>
                  <a:pt x="133" y="53"/>
                  <a:pt x="124" y="50"/>
                  <a:pt x="118" y="46"/>
                </a:cubicBezTo>
                <a:cubicBezTo>
                  <a:pt x="118" y="45"/>
                  <a:pt x="113" y="44"/>
                  <a:pt x="110" y="42"/>
                </a:cubicBezTo>
                <a:cubicBezTo>
                  <a:pt x="109" y="43"/>
                  <a:pt x="114" y="45"/>
                  <a:pt x="116" y="46"/>
                </a:cubicBezTo>
                <a:cubicBezTo>
                  <a:pt x="116" y="46"/>
                  <a:pt x="116" y="46"/>
                  <a:pt x="116" y="46"/>
                </a:cubicBezTo>
                <a:cubicBezTo>
                  <a:pt x="115" y="47"/>
                  <a:pt x="113" y="47"/>
                  <a:pt x="106" y="45"/>
                </a:cubicBezTo>
                <a:cubicBezTo>
                  <a:pt x="108" y="46"/>
                  <a:pt x="108" y="48"/>
                  <a:pt x="112" y="49"/>
                </a:cubicBezTo>
                <a:cubicBezTo>
                  <a:pt x="114" y="49"/>
                  <a:pt x="111" y="47"/>
                  <a:pt x="116" y="49"/>
                </a:cubicBezTo>
                <a:cubicBezTo>
                  <a:pt x="120" y="50"/>
                  <a:pt x="119" y="51"/>
                  <a:pt x="122" y="52"/>
                </a:cubicBezTo>
                <a:cubicBezTo>
                  <a:pt x="122" y="54"/>
                  <a:pt x="117" y="53"/>
                  <a:pt x="117" y="53"/>
                </a:cubicBezTo>
                <a:cubicBezTo>
                  <a:pt x="108" y="51"/>
                  <a:pt x="117" y="54"/>
                  <a:pt x="116" y="54"/>
                </a:cubicBezTo>
                <a:cubicBezTo>
                  <a:pt x="117" y="54"/>
                  <a:pt x="116" y="54"/>
                  <a:pt x="115" y="55"/>
                </a:cubicBezTo>
                <a:cubicBezTo>
                  <a:pt x="115" y="55"/>
                  <a:pt x="114" y="55"/>
                  <a:pt x="113" y="55"/>
                </a:cubicBezTo>
                <a:cubicBezTo>
                  <a:pt x="112" y="54"/>
                  <a:pt x="110" y="53"/>
                  <a:pt x="108" y="52"/>
                </a:cubicBezTo>
                <a:cubicBezTo>
                  <a:pt x="106" y="51"/>
                  <a:pt x="104" y="50"/>
                  <a:pt x="102" y="49"/>
                </a:cubicBezTo>
                <a:cubicBezTo>
                  <a:pt x="98" y="46"/>
                  <a:pt x="90" y="43"/>
                  <a:pt x="82" y="39"/>
                </a:cubicBezTo>
                <a:cubicBezTo>
                  <a:pt x="89" y="43"/>
                  <a:pt x="93" y="46"/>
                  <a:pt x="101" y="49"/>
                </a:cubicBezTo>
                <a:cubicBezTo>
                  <a:pt x="103" y="50"/>
                  <a:pt x="105" y="51"/>
                  <a:pt x="108" y="52"/>
                </a:cubicBezTo>
                <a:cubicBezTo>
                  <a:pt x="109" y="54"/>
                  <a:pt x="111" y="55"/>
                  <a:pt x="113" y="56"/>
                </a:cubicBezTo>
                <a:cubicBezTo>
                  <a:pt x="111" y="56"/>
                  <a:pt x="113" y="57"/>
                  <a:pt x="112" y="57"/>
                </a:cubicBezTo>
                <a:cubicBezTo>
                  <a:pt x="108" y="57"/>
                  <a:pt x="106" y="56"/>
                  <a:pt x="104" y="55"/>
                </a:cubicBezTo>
                <a:cubicBezTo>
                  <a:pt x="93" y="49"/>
                  <a:pt x="82" y="42"/>
                  <a:pt x="71" y="36"/>
                </a:cubicBezTo>
                <a:cubicBezTo>
                  <a:pt x="70" y="36"/>
                  <a:pt x="69" y="35"/>
                  <a:pt x="67" y="35"/>
                </a:cubicBezTo>
                <a:cubicBezTo>
                  <a:pt x="66" y="33"/>
                  <a:pt x="63" y="32"/>
                  <a:pt x="60" y="31"/>
                </a:cubicBezTo>
                <a:cubicBezTo>
                  <a:pt x="60" y="30"/>
                  <a:pt x="60" y="30"/>
                  <a:pt x="60" y="30"/>
                </a:cubicBezTo>
                <a:cubicBezTo>
                  <a:pt x="60" y="30"/>
                  <a:pt x="59" y="30"/>
                  <a:pt x="59" y="29"/>
                </a:cubicBezTo>
                <a:cubicBezTo>
                  <a:pt x="57" y="28"/>
                  <a:pt x="55" y="27"/>
                  <a:pt x="52" y="25"/>
                </a:cubicBezTo>
                <a:cubicBezTo>
                  <a:pt x="51" y="24"/>
                  <a:pt x="51" y="23"/>
                  <a:pt x="44" y="20"/>
                </a:cubicBezTo>
                <a:cubicBezTo>
                  <a:pt x="37" y="18"/>
                  <a:pt x="34" y="15"/>
                  <a:pt x="35" y="13"/>
                </a:cubicBezTo>
                <a:cubicBezTo>
                  <a:pt x="35" y="12"/>
                  <a:pt x="37" y="12"/>
                  <a:pt x="36" y="11"/>
                </a:cubicBezTo>
                <a:cubicBezTo>
                  <a:pt x="33" y="11"/>
                  <a:pt x="30" y="10"/>
                  <a:pt x="27" y="10"/>
                </a:cubicBezTo>
                <a:cubicBezTo>
                  <a:pt x="25" y="9"/>
                  <a:pt x="24" y="8"/>
                  <a:pt x="23" y="8"/>
                </a:cubicBezTo>
                <a:cubicBezTo>
                  <a:pt x="23" y="7"/>
                  <a:pt x="22" y="7"/>
                  <a:pt x="22" y="7"/>
                </a:cubicBezTo>
                <a:cubicBezTo>
                  <a:pt x="19" y="5"/>
                  <a:pt x="17" y="4"/>
                  <a:pt x="14" y="2"/>
                </a:cubicBezTo>
                <a:cubicBezTo>
                  <a:pt x="13" y="2"/>
                  <a:pt x="12" y="1"/>
                  <a:pt x="9" y="0"/>
                </a:cubicBezTo>
                <a:cubicBezTo>
                  <a:pt x="9" y="1"/>
                  <a:pt x="11" y="2"/>
                  <a:pt x="13" y="2"/>
                </a:cubicBezTo>
                <a:cubicBezTo>
                  <a:pt x="13" y="3"/>
                  <a:pt x="13" y="3"/>
                  <a:pt x="13" y="3"/>
                </a:cubicBezTo>
                <a:cubicBezTo>
                  <a:pt x="13" y="3"/>
                  <a:pt x="12" y="3"/>
                  <a:pt x="12" y="3"/>
                </a:cubicBezTo>
                <a:cubicBezTo>
                  <a:pt x="11" y="3"/>
                  <a:pt x="11" y="3"/>
                  <a:pt x="11" y="3"/>
                </a:cubicBezTo>
                <a:cubicBezTo>
                  <a:pt x="9" y="2"/>
                  <a:pt x="9" y="1"/>
                  <a:pt x="5" y="0"/>
                </a:cubicBezTo>
                <a:cubicBezTo>
                  <a:pt x="5" y="0"/>
                  <a:pt x="7" y="1"/>
                  <a:pt x="10" y="3"/>
                </a:cubicBezTo>
                <a:cubicBezTo>
                  <a:pt x="11" y="3"/>
                  <a:pt x="12" y="4"/>
                  <a:pt x="14" y="5"/>
                </a:cubicBezTo>
                <a:cubicBezTo>
                  <a:pt x="13" y="5"/>
                  <a:pt x="16" y="6"/>
                  <a:pt x="17" y="7"/>
                </a:cubicBezTo>
                <a:cubicBezTo>
                  <a:pt x="17" y="7"/>
                  <a:pt x="17" y="8"/>
                  <a:pt x="18" y="8"/>
                </a:cubicBezTo>
                <a:cubicBezTo>
                  <a:pt x="21" y="9"/>
                  <a:pt x="22" y="11"/>
                  <a:pt x="25" y="12"/>
                </a:cubicBezTo>
                <a:cubicBezTo>
                  <a:pt x="25" y="13"/>
                  <a:pt x="28" y="14"/>
                  <a:pt x="30" y="15"/>
                </a:cubicBezTo>
                <a:cubicBezTo>
                  <a:pt x="31" y="16"/>
                  <a:pt x="33" y="17"/>
                  <a:pt x="33" y="18"/>
                </a:cubicBezTo>
                <a:cubicBezTo>
                  <a:pt x="33" y="18"/>
                  <a:pt x="33" y="18"/>
                  <a:pt x="33" y="18"/>
                </a:cubicBezTo>
                <a:cubicBezTo>
                  <a:pt x="32" y="18"/>
                  <a:pt x="31" y="18"/>
                  <a:pt x="32" y="18"/>
                </a:cubicBezTo>
                <a:cubicBezTo>
                  <a:pt x="33" y="19"/>
                  <a:pt x="35" y="19"/>
                  <a:pt x="36" y="19"/>
                </a:cubicBezTo>
                <a:cubicBezTo>
                  <a:pt x="42" y="22"/>
                  <a:pt x="41" y="23"/>
                  <a:pt x="46" y="26"/>
                </a:cubicBezTo>
                <a:cubicBezTo>
                  <a:pt x="47" y="27"/>
                  <a:pt x="51" y="28"/>
                  <a:pt x="51" y="29"/>
                </a:cubicBezTo>
                <a:cubicBezTo>
                  <a:pt x="42" y="25"/>
                  <a:pt x="34" y="21"/>
                  <a:pt x="28" y="18"/>
                </a:cubicBezTo>
                <a:cubicBezTo>
                  <a:pt x="28" y="17"/>
                  <a:pt x="28" y="17"/>
                  <a:pt x="26" y="16"/>
                </a:cubicBezTo>
                <a:cubicBezTo>
                  <a:pt x="24" y="15"/>
                  <a:pt x="22" y="14"/>
                  <a:pt x="19" y="13"/>
                </a:cubicBezTo>
                <a:cubicBezTo>
                  <a:pt x="20" y="14"/>
                  <a:pt x="21" y="15"/>
                  <a:pt x="23" y="16"/>
                </a:cubicBezTo>
                <a:cubicBezTo>
                  <a:pt x="24" y="16"/>
                  <a:pt x="25" y="17"/>
                  <a:pt x="26" y="17"/>
                </a:cubicBezTo>
                <a:cubicBezTo>
                  <a:pt x="26" y="18"/>
                  <a:pt x="29" y="19"/>
                  <a:pt x="29" y="20"/>
                </a:cubicBezTo>
                <a:cubicBezTo>
                  <a:pt x="28" y="19"/>
                  <a:pt x="27" y="19"/>
                  <a:pt x="25" y="18"/>
                </a:cubicBezTo>
                <a:cubicBezTo>
                  <a:pt x="23" y="18"/>
                  <a:pt x="25" y="19"/>
                  <a:pt x="26" y="20"/>
                </a:cubicBezTo>
                <a:cubicBezTo>
                  <a:pt x="28" y="21"/>
                  <a:pt x="31" y="22"/>
                  <a:pt x="35" y="23"/>
                </a:cubicBezTo>
                <a:cubicBezTo>
                  <a:pt x="37" y="25"/>
                  <a:pt x="41" y="28"/>
                  <a:pt x="46" y="30"/>
                </a:cubicBezTo>
                <a:cubicBezTo>
                  <a:pt x="50" y="32"/>
                  <a:pt x="43" y="31"/>
                  <a:pt x="43" y="33"/>
                </a:cubicBezTo>
                <a:cubicBezTo>
                  <a:pt x="42" y="33"/>
                  <a:pt x="41" y="33"/>
                  <a:pt x="39" y="32"/>
                </a:cubicBezTo>
                <a:cubicBezTo>
                  <a:pt x="35" y="30"/>
                  <a:pt x="31" y="28"/>
                  <a:pt x="29" y="26"/>
                </a:cubicBezTo>
                <a:cubicBezTo>
                  <a:pt x="31" y="25"/>
                  <a:pt x="33" y="27"/>
                  <a:pt x="35" y="27"/>
                </a:cubicBezTo>
                <a:cubicBezTo>
                  <a:pt x="33" y="26"/>
                  <a:pt x="32" y="24"/>
                  <a:pt x="28" y="24"/>
                </a:cubicBezTo>
                <a:cubicBezTo>
                  <a:pt x="25" y="23"/>
                  <a:pt x="28" y="25"/>
                  <a:pt x="27" y="25"/>
                </a:cubicBezTo>
                <a:cubicBezTo>
                  <a:pt x="22" y="24"/>
                  <a:pt x="22" y="25"/>
                  <a:pt x="24" y="26"/>
                </a:cubicBezTo>
                <a:cubicBezTo>
                  <a:pt x="28" y="28"/>
                  <a:pt x="32" y="30"/>
                  <a:pt x="36" y="32"/>
                </a:cubicBezTo>
                <a:cubicBezTo>
                  <a:pt x="37" y="33"/>
                  <a:pt x="41" y="34"/>
                  <a:pt x="40" y="35"/>
                </a:cubicBezTo>
                <a:cubicBezTo>
                  <a:pt x="36" y="34"/>
                  <a:pt x="40" y="36"/>
                  <a:pt x="39" y="36"/>
                </a:cubicBezTo>
                <a:cubicBezTo>
                  <a:pt x="36" y="36"/>
                  <a:pt x="35" y="35"/>
                  <a:pt x="33" y="35"/>
                </a:cubicBezTo>
                <a:cubicBezTo>
                  <a:pt x="27" y="33"/>
                  <a:pt x="26" y="31"/>
                  <a:pt x="19" y="29"/>
                </a:cubicBezTo>
                <a:cubicBezTo>
                  <a:pt x="20" y="30"/>
                  <a:pt x="25" y="31"/>
                  <a:pt x="25" y="32"/>
                </a:cubicBezTo>
                <a:cubicBezTo>
                  <a:pt x="25" y="34"/>
                  <a:pt x="35" y="37"/>
                  <a:pt x="32" y="38"/>
                </a:cubicBezTo>
                <a:cubicBezTo>
                  <a:pt x="31" y="38"/>
                  <a:pt x="30" y="37"/>
                  <a:pt x="29" y="37"/>
                </a:cubicBezTo>
                <a:cubicBezTo>
                  <a:pt x="29" y="35"/>
                  <a:pt x="21" y="33"/>
                  <a:pt x="18" y="31"/>
                </a:cubicBezTo>
                <a:cubicBezTo>
                  <a:pt x="19" y="33"/>
                  <a:pt x="21" y="34"/>
                  <a:pt x="25" y="36"/>
                </a:cubicBezTo>
                <a:cubicBezTo>
                  <a:pt x="29" y="38"/>
                  <a:pt x="34" y="40"/>
                  <a:pt x="38" y="43"/>
                </a:cubicBezTo>
                <a:cubicBezTo>
                  <a:pt x="33" y="41"/>
                  <a:pt x="29" y="40"/>
                  <a:pt x="24" y="38"/>
                </a:cubicBezTo>
                <a:cubicBezTo>
                  <a:pt x="24" y="37"/>
                  <a:pt x="23" y="36"/>
                  <a:pt x="21" y="35"/>
                </a:cubicBezTo>
                <a:cubicBezTo>
                  <a:pt x="19" y="35"/>
                  <a:pt x="19" y="36"/>
                  <a:pt x="21" y="37"/>
                </a:cubicBezTo>
                <a:cubicBezTo>
                  <a:pt x="22" y="38"/>
                  <a:pt x="22" y="38"/>
                  <a:pt x="22" y="38"/>
                </a:cubicBezTo>
                <a:cubicBezTo>
                  <a:pt x="28" y="44"/>
                  <a:pt x="35" y="49"/>
                  <a:pt x="44" y="55"/>
                </a:cubicBezTo>
                <a:cubicBezTo>
                  <a:pt x="43" y="55"/>
                  <a:pt x="43" y="55"/>
                  <a:pt x="42" y="54"/>
                </a:cubicBezTo>
                <a:cubicBezTo>
                  <a:pt x="34" y="50"/>
                  <a:pt x="25" y="45"/>
                  <a:pt x="17" y="40"/>
                </a:cubicBezTo>
                <a:cubicBezTo>
                  <a:pt x="12" y="37"/>
                  <a:pt x="6" y="34"/>
                  <a:pt x="0" y="31"/>
                </a:cubicBezTo>
                <a:cubicBezTo>
                  <a:pt x="0" y="84"/>
                  <a:pt x="0" y="84"/>
                  <a:pt x="0" y="84"/>
                </a:cubicBezTo>
                <a:cubicBezTo>
                  <a:pt x="0" y="84"/>
                  <a:pt x="1" y="85"/>
                  <a:pt x="1" y="85"/>
                </a:cubicBezTo>
                <a:cubicBezTo>
                  <a:pt x="2" y="86"/>
                  <a:pt x="3" y="86"/>
                  <a:pt x="4" y="87"/>
                </a:cubicBezTo>
                <a:cubicBezTo>
                  <a:pt x="4" y="87"/>
                  <a:pt x="5" y="88"/>
                  <a:pt x="6" y="88"/>
                </a:cubicBezTo>
                <a:cubicBezTo>
                  <a:pt x="4" y="88"/>
                  <a:pt x="2" y="88"/>
                  <a:pt x="0" y="88"/>
                </a:cubicBezTo>
                <a:cubicBezTo>
                  <a:pt x="0" y="107"/>
                  <a:pt x="0" y="107"/>
                  <a:pt x="0" y="107"/>
                </a:cubicBezTo>
                <a:cubicBezTo>
                  <a:pt x="0" y="107"/>
                  <a:pt x="0" y="107"/>
                  <a:pt x="1" y="107"/>
                </a:cubicBezTo>
                <a:cubicBezTo>
                  <a:pt x="1" y="108"/>
                  <a:pt x="1" y="108"/>
                  <a:pt x="2" y="109"/>
                </a:cubicBezTo>
                <a:cubicBezTo>
                  <a:pt x="1" y="109"/>
                  <a:pt x="1" y="109"/>
                  <a:pt x="0" y="109"/>
                </a:cubicBezTo>
                <a:cubicBezTo>
                  <a:pt x="0" y="109"/>
                  <a:pt x="0" y="109"/>
                  <a:pt x="0" y="108"/>
                </a:cubicBezTo>
                <a:cubicBezTo>
                  <a:pt x="0" y="126"/>
                  <a:pt x="0" y="126"/>
                  <a:pt x="0" y="126"/>
                </a:cubicBezTo>
                <a:cubicBezTo>
                  <a:pt x="0" y="127"/>
                  <a:pt x="0" y="127"/>
                  <a:pt x="0" y="127"/>
                </a:cubicBezTo>
                <a:cubicBezTo>
                  <a:pt x="0" y="127"/>
                  <a:pt x="0" y="127"/>
                  <a:pt x="0" y="127"/>
                </a:cubicBezTo>
                <a:cubicBezTo>
                  <a:pt x="0" y="158"/>
                  <a:pt x="0" y="158"/>
                  <a:pt x="0" y="158"/>
                </a:cubicBezTo>
                <a:cubicBezTo>
                  <a:pt x="0" y="158"/>
                  <a:pt x="0" y="158"/>
                  <a:pt x="0" y="158"/>
                </a:cubicBezTo>
                <a:cubicBezTo>
                  <a:pt x="0" y="159"/>
                  <a:pt x="0" y="159"/>
                  <a:pt x="0" y="159"/>
                </a:cubicBezTo>
                <a:cubicBezTo>
                  <a:pt x="0" y="159"/>
                  <a:pt x="0" y="159"/>
                  <a:pt x="0" y="159"/>
                </a:cubicBezTo>
                <a:cubicBezTo>
                  <a:pt x="0" y="173"/>
                  <a:pt x="0" y="173"/>
                  <a:pt x="0" y="173"/>
                </a:cubicBezTo>
                <a:cubicBezTo>
                  <a:pt x="0" y="173"/>
                  <a:pt x="0" y="173"/>
                  <a:pt x="0" y="173"/>
                </a:cubicBezTo>
                <a:cubicBezTo>
                  <a:pt x="0" y="173"/>
                  <a:pt x="0" y="173"/>
                  <a:pt x="0" y="173"/>
                </a:cubicBezTo>
                <a:cubicBezTo>
                  <a:pt x="0" y="173"/>
                  <a:pt x="0" y="173"/>
                  <a:pt x="0" y="173"/>
                </a:cubicBezTo>
                <a:cubicBezTo>
                  <a:pt x="0" y="220"/>
                  <a:pt x="0" y="220"/>
                  <a:pt x="0" y="220"/>
                </a:cubicBezTo>
                <a:cubicBezTo>
                  <a:pt x="1" y="220"/>
                  <a:pt x="2" y="220"/>
                  <a:pt x="3" y="221"/>
                </a:cubicBezTo>
                <a:cubicBezTo>
                  <a:pt x="3" y="221"/>
                  <a:pt x="3" y="221"/>
                  <a:pt x="3" y="221"/>
                </a:cubicBezTo>
                <a:cubicBezTo>
                  <a:pt x="3" y="221"/>
                  <a:pt x="3" y="221"/>
                  <a:pt x="3" y="221"/>
                </a:cubicBezTo>
                <a:cubicBezTo>
                  <a:pt x="3" y="221"/>
                  <a:pt x="3" y="221"/>
                  <a:pt x="3" y="221"/>
                </a:cubicBezTo>
                <a:cubicBezTo>
                  <a:pt x="2" y="221"/>
                  <a:pt x="1" y="220"/>
                  <a:pt x="0" y="220"/>
                </a:cubicBezTo>
                <a:cubicBezTo>
                  <a:pt x="0" y="220"/>
                  <a:pt x="0" y="220"/>
                  <a:pt x="0" y="220"/>
                </a:cubicBezTo>
                <a:cubicBezTo>
                  <a:pt x="0" y="220"/>
                  <a:pt x="0" y="220"/>
                  <a:pt x="0" y="220"/>
                </a:cubicBezTo>
                <a:cubicBezTo>
                  <a:pt x="0" y="223"/>
                  <a:pt x="0" y="223"/>
                  <a:pt x="0" y="223"/>
                </a:cubicBezTo>
                <a:cubicBezTo>
                  <a:pt x="0" y="223"/>
                  <a:pt x="0" y="223"/>
                  <a:pt x="0" y="223"/>
                </a:cubicBezTo>
                <a:cubicBezTo>
                  <a:pt x="0" y="223"/>
                  <a:pt x="0" y="223"/>
                  <a:pt x="0" y="223"/>
                </a:cubicBezTo>
                <a:cubicBezTo>
                  <a:pt x="0" y="223"/>
                  <a:pt x="0" y="223"/>
                  <a:pt x="0" y="223"/>
                </a:cubicBezTo>
                <a:cubicBezTo>
                  <a:pt x="0" y="229"/>
                  <a:pt x="0" y="229"/>
                  <a:pt x="0" y="229"/>
                </a:cubicBezTo>
                <a:cubicBezTo>
                  <a:pt x="13" y="229"/>
                  <a:pt x="13" y="229"/>
                  <a:pt x="13" y="229"/>
                </a:cubicBezTo>
                <a:cubicBezTo>
                  <a:pt x="18" y="231"/>
                  <a:pt x="23" y="234"/>
                  <a:pt x="28" y="236"/>
                </a:cubicBezTo>
                <a:cubicBezTo>
                  <a:pt x="42" y="243"/>
                  <a:pt x="57" y="249"/>
                  <a:pt x="70" y="256"/>
                </a:cubicBezTo>
                <a:cubicBezTo>
                  <a:pt x="70" y="256"/>
                  <a:pt x="70" y="256"/>
                  <a:pt x="70" y="256"/>
                </a:cubicBezTo>
                <a:cubicBezTo>
                  <a:pt x="72" y="257"/>
                  <a:pt x="73" y="258"/>
                  <a:pt x="76" y="258"/>
                </a:cubicBezTo>
                <a:cubicBezTo>
                  <a:pt x="78" y="259"/>
                  <a:pt x="79" y="260"/>
                  <a:pt x="81" y="261"/>
                </a:cubicBezTo>
                <a:cubicBezTo>
                  <a:pt x="80" y="260"/>
                  <a:pt x="77" y="259"/>
                  <a:pt x="77" y="258"/>
                </a:cubicBezTo>
                <a:cubicBezTo>
                  <a:pt x="76" y="258"/>
                  <a:pt x="75" y="257"/>
                  <a:pt x="75" y="257"/>
                </a:cubicBezTo>
                <a:cubicBezTo>
                  <a:pt x="74" y="256"/>
                  <a:pt x="72" y="256"/>
                  <a:pt x="72" y="255"/>
                </a:cubicBezTo>
                <a:cubicBezTo>
                  <a:pt x="74" y="255"/>
                  <a:pt x="70" y="254"/>
                  <a:pt x="71" y="254"/>
                </a:cubicBezTo>
                <a:cubicBezTo>
                  <a:pt x="72" y="254"/>
                  <a:pt x="73" y="254"/>
                  <a:pt x="73" y="254"/>
                </a:cubicBezTo>
                <a:cubicBezTo>
                  <a:pt x="73" y="254"/>
                  <a:pt x="71" y="253"/>
                  <a:pt x="70" y="253"/>
                </a:cubicBezTo>
                <a:cubicBezTo>
                  <a:pt x="69" y="252"/>
                  <a:pt x="67" y="252"/>
                  <a:pt x="67" y="251"/>
                </a:cubicBezTo>
                <a:cubicBezTo>
                  <a:pt x="68" y="252"/>
                  <a:pt x="70" y="252"/>
                  <a:pt x="71" y="253"/>
                </a:cubicBezTo>
                <a:cubicBezTo>
                  <a:pt x="72" y="253"/>
                  <a:pt x="72" y="253"/>
                  <a:pt x="72" y="253"/>
                </a:cubicBezTo>
                <a:cubicBezTo>
                  <a:pt x="70" y="252"/>
                  <a:pt x="69" y="251"/>
                  <a:pt x="67" y="251"/>
                </a:cubicBezTo>
                <a:cubicBezTo>
                  <a:pt x="66" y="250"/>
                  <a:pt x="65" y="249"/>
                  <a:pt x="63" y="249"/>
                </a:cubicBezTo>
                <a:cubicBezTo>
                  <a:pt x="63" y="248"/>
                  <a:pt x="64" y="248"/>
                  <a:pt x="64" y="248"/>
                </a:cubicBezTo>
                <a:cubicBezTo>
                  <a:pt x="66" y="249"/>
                  <a:pt x="68" y="250"/>
                  <a:pt x="70" y="251"/>
                </a:cubicBezTo>
                <a:cubicBezTo>
                  <a:pt x="74" y="253"/>
                  <a:pt x="79" y="255"/>
                  <a:pt x="84" y="258"/>
                </a:cubicBezTo>
                <a:cubicBezTo>
                  <a:pt x="84" y="258"/>
                  <a:pt x="85" y="258"/>
                  <a:pt x="85" y="258"/>
                </a:cubicBezTo>
                <a:cubicBezTo>
                  <a:pt x="86" y="259"/>
                  <a:pt x="88" y="259"/>
                  <a:pt x="89" y="260"/>
                </a:cubicBezTo>
                <a:cubicBezTo>
                  <a:pt x="90" y="260"/>
                  <a:pt x="91" y="261"/>
                  <a:pt x="93" y="261"/>
                </a:cubicBezTo>
                <a:cubicBezTo>
                  <a:pt x="95" y="262"/>
                  <a:pt x="96" y="263"/>
                  <a:pt x="99" y="264"/>
                </a:cubicBezTo>
                <a:cubicBezTo>
                  <a:pt x="99" y="263"/>
                  <a:pt x="97" y="262"/>
                  <a:pt x="94" y="261"/>
                </a:cubicBezTo>
                <a:cubicBezTo>
                  <a:pt x="90" y="258"/>
                  <a:pt x="86" y="257"/>
                  <a:pt x="82" y="256"/>
                </a:cubicBezTo>
                <a:cubicBezTo>
                  <a:pt x="77" y="254"/>
                  <a:pt x="73" y="252"/>
                  <a:pt x="68" y="250"/>
                </a:cubicBezTo>
                <a:cubicBezTo>
                  <a:pt x="65" y="248"/>
                  <a:pt x="61" y="247"/>
                  <a:pt x="58" y="245"/>
                </a:cubicBezTo>
                <a:cubicBezTo>
                  <a:pt x="56" y="244"/>
                  <a:pt x="54" y="243"/>
                  <a:pt x="52" y="242"/>
                </a:cubicBezTo>
                <a:cubicBezTo>
                  <a:pt x="51" y="241"/>
                  <a:pt x="49" y="240"/>
                  <a:pt x="48" y="240"/>
                </a:cubicBezTo>
                <a:cubicBezTo>
                  <a:pt x="50" y="240"/>
                  <a:pt x="51" y="241"/>
                  <a:pt x="53" y="242"/>
                </a:cubicBezTo>
                <a:cubicBezTo>
                  <a:pt x="53" y="242"/>
                  <a:pt x="54" y="242"/>
                  <a:pt x="55" y="242"/>
                </a:cubicBezTo>
                <a:cubicBezTo>
                  <a:pt x="55" y="242"/>
                  <a:pt x="55" y="242"/>
                  <a:pt x="55" y="242"/>
                </a:cubicBezTo>
                <a:cubicBezTo>
                  <a:pt x="55" y="242"/>
                  <a:pt x="53" y="241"/>
                  <a:pt x="51" y="240"/>
                </a:cubicBezTo>
                <a:cubicBezTo>
                  <a:pt x="51" y="240"/>
                  <a:pt x="50" y="240"/>
                  <a:pt x="50" y="239"/>
                </a:cubicBezTo>
                <a:cubicBezTo>
                  <a:pt x="48" y="239"/>
                  <a:pt x="47" y="238"/>
                  <a:pt x="46" y="237"/>
                </a:cubicBezTo>
                <a:cubicBezTo>
                  <a:pt x="44" y="237"/>
                  <a:pt x="43" y="237"/>
                  <a:pt x="41" y="236"/>
                </a:cubicBezTo>
                <a:cubicBezTo>
                  <a:pt x="41" y="236"/>
                  <a:pt x="41" y="235"/>
                  <a:pt x="41" y="235"/>
                </a:cubicBezTo>
                <a:cubicBezTo>
                  <a:pt x="39" y="234"/>
                  <a:pt x="38" y="233"/>
                  <a:pt x="35" y="233"/>
                </a:cubicBezTo>
                <a:cubicBezTo>
                  <a:pt x="33" y="232"/>
                  <a:pt x="31" y="230"/>
                  <a:pt x="28" y="229"/>
                </a:cubicBezTo>
                <a:cubicBezTo>
                  <a:pt x="28" y="229"/>
                  <a:pt x="28" y="229"/>
                  <a:pt x="28" y="229"/>
                </a:cubicBezTo>
                <a:cubicBezTo>
                  <a:pt x="33" y="229"/>
                  <a:pt x="33" y="229"/>
                  <a:pt x="33" y="229"/>
                </a:cubicBezTo>
                <a:cubicBezTo>
                  <a:pt x="41" y="233"/>
                  <a:pt x="49" y="236"/>
                  <a:pt x="57" y="240"/>
                </a:cubicBezTo>
                <a:cubicBezTo>
                  <a:pt x="58" y="240"/>
                  <a:pt x="59" y="240"/>
                  <a:pt x="60" y="241"/>
                </a:cubicBezTo>
                <a:cubicBezTo>
                  <a:pt x="63" y="242"/>
                  <a:pt x="66" y="244"/>
                  <a:pt x="69" y="245"/>
                </a:cubicBezTo>
                <a:cubicBezTo>
                  <a:pt x="70" y="246"/>
                  <a:pt x="71" y="246"/>
                  <a:pt x="71" y="246"/>
                </a:cubicBezTo>
                <a:cubicBezTo>
                  <a:pt x="72" y="246"/>
                  <a:pt x="73" y="246"/>
                  <a:pt x="74" y="246"/>
                </a:cubicBezTo>
                <a:cubicBezTo>
                  <a:pt x="87" y="252"/>
                  <a:pt x="98" y="259"/>
                  <a:pt x="112" y="265"/>
                </a:cubicBezTo>
                <a:cubicBezTo>
                  <a:pt x="112" y="266"/>
                  <a:pt x="114" y="267"/>
                  <a:pt x="116" y="268"/>
                </a:cubicBezTo>
                <a:cubicBezTo>
                  <a:pt x="117" y="268"/>
                  <a:pt x="117" y="269"/>
                  <a:pt x="121" y="269"/>
                </a:cubicBezTo>
                <a:cubicBezTo>
                  <a:pt x="122" y="269"/>
                  <a:pt x="124" y="270"/>
                  <a:pt x="125" y="271"/>
                </a:cubicBezTo>
                <a:cubicBezTo>
                  <a:pt x="130" y="273"/>
                  <a:pt x="133" y="275"/>
                  <a:pt x="139" y="277"/>
                </a:cubicBezTo>
                <a:cubicBezTo>
                  <a:pt x="137" y="276"/>
                  <a:pt x="133" y="274"/>
                  <a:pt x="133" y="273"/>
                </a:cubicBezTo>
                <a:cubicBezTo>
                  <a:pt x="143" y="277"/>
                  <a:pt x="152" y="281"/>
                  <a:pt x="160" y="286"/>
                </a:cubicBezTo>
                <a:cubicBezTo>
                  <a:pt x="162" y="287"/>
                  <a:pt x="164" y="288"/>
                  <a:pt x="168" y="289"/>
                </a:cubicBezTo>
                <a:cubicBezTo>
                  <a:pt x="168" y="289"/>
                  <a:pt x="169" y="290"/>
                  <a:pt x="169" y="290"/>
                </a:cubicBezTo>
                <a:cubicBezTo>
                  <a:pt x="171" y="291"/>
                  <a:pt x="176" y="293"/>
                  <a:pt x="178" y="295"/>
                </a:cubicBezTo>
                <a:cubicBezTo>
                  <a:pt x="179" y="295"/>
                  <a:pt x="179" y="295"/>
                  <a:pt x="179" y="295"/>
                </a:cubicBezTo>
                <a:cubicBezTo>
                  <a:pt x="179" y="295"/>
                  <a:pt x="179" y="295"/>
                  <a:pt x="179" y="295"/>
                </a:cubicBezTo>
                <a:cubicBezTo>
                  <a:pt x="179" y="295"/>
                  <a:pt x="179" y="295"/>
                  <a:pt x="178" y="295"/>
                </a:cubicBezTo>
                <a:cubicBezTo>
                  <a:pt x="181" y="297"/>
                  <a:pt x="186" y="299"/>
                  <a:pt x="190" y="301"/>
                </a:cubicBezTo>
                <a:cubicBezTo>
                  <a:pt x="195" y="303"/>
                  <a:pt x="200" y="306"/>
                  <a:pt x="202" y="308"/>
                </a:cubicBezTo>
                <a:cubicBezTo>
                  <a:pt x="203" y="309"/>
                  <a:pt x="204" y="309"/>
                  <a:pt x="204" y="309"/>
                </a:cubicBezTo>
                <a:cubicBezTo>
                  <a:pt x="208" y="311"/>
                  <a:pt x="214" y="314"/>
                  <a:pt x="218" y="316"/>
                </a:cubicBezTo>
                <a:cubicBezTo>
                  <a:pt x="219" y="317"/>
                  <a:pt x="221" y="318"/>
                  <a:pt x="224" y="318"/>
                </a:cubicBezTo>
                <a:cubicBezTo>
                  <a:pt x="225" y="318"/>
                  <a:pt x="226" y="319"/>
                  <a:pt x="228" y="320"/>
                </a:cubicBezTo>
                <a:cubicBezTo>
                  <a:pt x="228" y="320"/>
                  <a:pt x="229" y="320"/>
                  <a:pt x="229" y="320"/>
                </a:cubicBezTo>
                <a:cubicBezTo>
                  <a:pt x="229" y="320"/>
                  <a:pt x="229" y="320"/>
                  <a:pt x="229" y="320"/>
                </a:cubicBezTo>
                <a:cubicBezTo>
                  <a:pt x="226" y="317"/>
                  <a:pt x="221" y="315"/>
                  <a:pt x="216" y="313"/>
                </a:cubicBezTo>
                <a:cubicBezTo>
                  <a:pt x="214" y="312"/>
                  <a:pt x="211" y="311"/>
                  <a:pt x="211" y="310"/>
                </a:cubicBezTo>
                <a:cubicBezTo>
                  <a:pt x="204" y="309"/>
                  <a:pt x="209" y="308"/>
                  <a:pt x="204" y="306"/>
                </a:cubicBezTo>
                <a:cubicBezTo>
                  <a:pt x="204" y="306"/>
                  <a:pt x="204" y="306"/>
                  <a:pt x="204" y="306"/>
                </a:cubicBezTo>
                <a:cubicBezTo>
                  <a:pt x="203" y="305"/>
                  <a:pt x="203" y="304"/>
                  <a:pt x="200" y="303"/>
                </a:cubicBezTo>
                <a:cubicBezTo>
                  <a:pt x="197" y="302"/>
                  <a:pt x="193" y="300"/>
                  <a:pt x="191" y="299"/>
                </a:cubicBezTo>
                <a:cubicBezTo>
                  <a:pt x="189" y="297"/>
                  <a:pt x="188" y="298"/>
                  <a:pt x="186" y="298"/>
                </a:cubicBezTo>
                <a:cubicBezTo>
                  <a:pt x="186" y="297"/>
                  <a:pt x="188" y="297"/>
                  <a:pt x="185" y="296"/>
                </a:cubicBezTo>
                <a:cubicBezTo>
                  <a:pt x="185" y="295"/>
                  <a:pt x="181" y="294"/>
                  <a:pt x="181" y="293"/>
                </a:cubicBezTo>
                <a:cubicBezTo>
                  <a:pt x="181" y="293"/>
                  <a:pt x="182" y="293"/>
                  <a:pt x="182" y="293"/>
                </a:cubicBezTo>
                <a:cubicBezTo>
                  <a:pt x="184" y="293"/>
                  <a:pt x="183" y="293"/>
                  <a:pt x="183" y="292"/>
                </a:cubicBezTo>
                <a:cubicBezTo>
                  <a:pt x="187" y="293"/>
                  <a:pt x="190" y="295"/>
                  <a:pt x="190" y="295"/>
                </a:cubicBezTo>
                <a:cubicBezTo>
                  <a:pt x="190" y="297"/>
                  <a:pt x="192" y="297"/>
                  <a:pt x="196" y="298"/>
                </a:cubicBezTo>
                <a:cubicBezTo>
                  <a:pt x="198" y="299"/>
                  <a:pt x="200" y="300"/>
                  <a:pt x="201" y="301"/>
                </a:cubicBezTo>
                <a:cubicBezTo>
                  <a:pt x="202" y="301"/>
                  <a:pt x="204" y="302"/>
                  <a:pt x="206" y="302"/>
                </a:cubicBezTo>
                <a:cubicBezTo>
                  <a:pt x="206" y="303"/>
                  <a:pt x="206" y="303"/>
                  <a:pt x="207" y="303"/>
                </a:cubicBezTo>
                <a:cubicBezTo>
                  <a:pt x="210" y="304"/>
                  <a:pt x="214" y="306"/>
                  <a:pt x="218" y="308"/>
                </a:cubicBezTo>
                <a:cubicBezTo>
                  <a:pt x="218" y="308"/>
                  <a:pt x="218" y="308"/>
                  <a:pt x="218" y="308"/>
                </a:cubicBezTo>
                <a:cubicBezTo>
                  <a:pt x="218" y="308"/>
                  <a:pt x="218" y="308"/>
                  <a:pt x="218" y="308"/>
                </a:cubicBezTo>
                <a:cubicBezTo>
                  <a:pt x="218" y="308"/>
                  <a:pt x="218" y="308"/>
                  <a:pt x="218" y="308"/>
                </a:cubicBezTo>
                <a:cubicBezTo>
                  <a:pt x="220" y="309"/>
                  <a:pt x="223" y="310"/>
                  <a:pt x="225" y="311"/>
                </a:cubicBezTo>
                <a:cubicBezTo>
                  <a:pt x="229" y="312"/>
                  <a:pt x="232" y="314"/>
                  <a:pt x="236" y="316"/>
                </a:cubicBezTo>
                <a:cubicBezTo>
                  <a:pt x="235" y="314"/>
                  <a:pt x="225" y="311"/>
                  <a:pt x="227" y="310"/>
                </a:cubicBezTo>
                <a:cubicBezTo>
                  <a:pt x="228" y="310"/>
                  <a:pt x="228" y="309"/>
                  <a:pt x="228" y="309"/>
                </a:cubicBezTo>
                <a:cubicBezTo>
                  <a:pt x="228" y="309"/>
                  <a:pt x="228" y="308"/>
                  <a:pt x="227" y="308"/>
                </a:cubicBezTo>
                <a:cubicBezTo>
                  <a:pt x="225" y="308"/>
                  <a:pt x="223" y="307"/>
                  <a:pt x="220" y="306"/>
                </a:cubicBezTo>
                <a:cubicBezTo>
                  <a:pt x="220" y="306"/>
                  <a:pt x="219" y="305"/>
                  <a:pt x="218" y="305"/>
                </a:cubicBezTo>
                <a:cubicBezTo>
                  <a:pt x="217" y="305"/>
                  <a:pt x="216" y="304"/>
                  <a:pt x="216" y="304"/>
                </a:cubicBezTo>
                <a:cubicBezTo>
                  <a:pt x="210" y="301"/>
                  <a:pt x="206" y="298"/>
                  <a:pt x="202" y="296"/>
                </a:cubicBezTo>
                <a:cubicBezTo>
                  <a:pt x="204" y="296"/>
                  <a:pt x="206" y="297"/>
                  <a:pt x="208" y="298"/>
                </a:cubicBezTo>
                <a:cubicBezTo>
                  <a:pt x="208" y="297"/>
                  <a:pt x="204" y="296"/>
                  <a:pt x="203" y="295"/>
                </a:cubicBezTo>
                <a:cubicBezTo>
                  <a:pt x="203" y="295"/>
                  <a:pt x="203" y="295"/>
                  <a:pt x="204" y="295"/>
                </a:cubicBezTo>
                <a:cubicBezTo>
                  <a:pt x="204" y="295"/>
                  <a:pt x="204" y="295"/>
                  <a:pt x="204" y="295"/>
                </a:cubicBezTo>
                <a:cubicBezTo>
                  <a:pt x="204" y="295"/>
                  <a:pt x="204" y="294"/>
                  <a:pt x="205" y="295"/>
                </a:cubicBezTo>
                <a:cubicBezTo>
                  <a:pt x="208" y="296"/>
                  <a:pt x="209" y="296"/>
                  <a:pt x="210" y="296"/>
                </a:cubicBezTo>
                <a:cubicBezTo>
                  <a:pt x="211" y="295"/>
                  <a:pt x="209" y="295"/>
                  <a:pt x="208" y="294"/>
                </a:cubicBezTo>
                <a:cubicBezTo>
                  <a:pt x="205" y="293"/>
                  <a:pt x="202" y="292"/>
                  <a:pt x="201" y="291"/>
                </a:cubicBezTo>
                <a:cubicBezTo>
                  <a:pt x="199" y="289"/>
                  <a:pt x="197" y="289"/>
                  <a:pt x="195" y="289"/>
                </a:cubicBezTo>
                <a:cubicBezTo>
                  <a:pt x="193" y="288"/>
                  <a:pt x="191" y="287"/>
                  <a:pt x="187" y="285"/>
                </a:cubicBezTo>
                <a:cubicBezTo>
                  <a:pt x="189" y="287"/>
                  <a:pt x="191" y="288"/>
                  <a:pt x="195" y="289"/>
                </a:cubicBezTo>
                <a:cubicBezTo>
                  <a:pt x="197" y="290"/>
                  <a:pt x="199" y="291"/>
                  <a:pt x="201" y="292"/>
                </a:cubicBezTo>
                <a:cubicBezTo>
                  <a:pt x="203" y="293"/>
                  <a:pt x="203" y="294"/>
                  <a:pt x="201" y="294"/>
                </a:cubicBezTo>
                <a:cubicBezTo>
                  <a:pt x="199" y="293"/>
                  <a:pt x="196" y="291"/>
                  <a:pt x="195" y="293"/>
                </a:cubicBezTo>
                <a:cubicBezTo>
                  <a:pt x="195" y="292"/>
                  <a:pt x="194" y="292"/>
                  <a:pt x="193" y="292"/>
                </a:cubicBezTo>
                <a:cubicBezTo>
                  <a:pt x="193" y="291"/>
                  <a:pt x="191" y="290"/>
                  <a:pt x="189" y="290"/>
                </a:cubicBezTo>
                <a:cubicBezTo>
                  <a:pt x="184" y="287"/>
                  <a:pt x="178" y="284"/>
                  <a:pt x="172" y="281"/>
                </a:cubicBezTo>
                <a:cubicBezTo>
                  <a:pt x="169" y="279"/>
                  <a:pt x="167" y="277"/>
                  <a:pt x="162" y="275"/>
                </a:cubicBezTo>
                <a:cubicBezTo>
                  <a:pt x="160" y="273"/>
                  <a:pt x="154" y="271"/>
                  <a:pt x="152" y="269"/>
                </a:cubicBezTo>
                <a:cubicBezTo>
                  <a:pt x="151" y="269"/>
                  <a:pt x="149" y="268"/>
                  <a:pt x="148" y="267"/>
                </a:cubicBezTo>
                <a:cubicBezTo>
                  <a:pt x="147" y="266"/>
                  <a:pt x="146" y="266"/>
                  <a:pt x="146" y="265"/>
                </a:cubicBezTo>
                <a:cubicBezTo>
                  <a:pt x="145" y="265"/>
                  <a:pt x="145" y="264"/>
                  <a:pt x="144" y="264"/>
                </a:cubicBezTo>
                <a:cubicBezTo>
                  <a:pt x="146" y="265"/>
                  <a:pt x="148" y="266"/>
                  <a:pt x="150" y="267"/>
                </a:cubicBezTo>
                <a:cubicBezTo>
                  <a:pt x="152" y="267"/>
                  <a:pt x="152" y="268"/>
                  <a:pt x="154" y="268"/>
                </a:cubicBezTo>
                <a:cubicBezTo>
                  <a:pt x="155" y="269"/>
                  <a:pt x="157" y="269"/>
                  <a:pt x="158" y="270"/>
                </a:cubicBezTo>
                <a:cubicBezTo>
                  <a:pt x="158" y="269"/>
                  <a:pt x="158" y="269"/>
                  <a:pt x="159" y="269"/>
                </a:cubicBezTo>
                <a:cubicBezTo>
                  <a:pt x="162" y="270"/>
                  <a:pt x="164" y="272"/>
                  <a:pt x="168" y="273"/>
                </a:cubicBezTo>
                <a:cubicBezTo>
                  <a:pt x="170" y="274"/>
                  <a:pt x="172" y="275"/>
                  <a:pt x="173" y="276"/>
                </a:cubicBezTo>
                <a:cubicBezTo>
                  <a:pt x="173" y="276"/>
                  <a:pt x="172" y="276"/>
                  <a:pt x="173" y="277"/>
                </a:cubicBezTo>
                <a:cubicBezTo>
                  <a:pt x="175" y="277"/>
                  <a:pt x="175" y="277"/>
                  <a:pt x="176" y="277"/>
                </a:cubicBezTo>
                <a:cubicBezTo>
                  <a:pt x="177" y="277"/>
                  <a:pt x="178" y="278"/>
                  <a:pt x="180" y="279"/>
                </a:cubicBezTo>
                <a:cubicBezTo>
                  <a:pt x="180" y="279"/>
                  <a:pt x="180" y="279"/>
                  <a:pt x="180" y="279"/>
                </a:cubicBezTo>
                <a:cubicBezTo>
                  <a:pt x="186" y="283"/>
                  <a:pt x="196" y="287"/>
                  <a:pt x="204" y="291"/>
                </a:cubicBezTo>
                <a:cubicBezTo>
                  <a:pt x="208" y="293"/>
                  <a:pt x="212" y="296"/>
                  <a:pt x="216" y="298"/>
                </a:cubicBezTo>
                <a:cubicBezTo>
                  <a:pt x="218" y="299"/>
                  <a:pt x="221" y="301"/>
                  <a:pt x="224" y="302"/>
                </a:cubicBezTo>
                <a:cubicBezTo>
                  <a:pt x="225" y="303"/>
                  <a:pt x="225" y="304"/>
                  <a:pt x="228" y="304"/>
                </a:cubicBezTo>
                <a:cubicBezTo>
                  <a:pt x="233" y="305"/>
                  <a:pt x="230" y="303"/>
                  <a:pt x="230" y="303"/>
                </a:cubicBezTo>
                <a:cubicBezTo>
                  <a:pt x="231" y="303"/>
                  <a:pt x="232" y="304"/>
                  <a:pt x="234" y="304"/>
                </a:cubicBezTo>
                <a:cubicBezTo>
                  <a:pt x="232" y="303"/>
                  <a:pt x="229" y="301"/>
                  <a:pt x="226" y="299"/>
                </a:cubicBezTo>
                <a:cubicBezTo>
                  <a:pt x="227" y="299"/>
                  <a:pt x="228" y="299"/>
                  <a:pt x="226" y="298"/>
                </a:cubicBezTo>
                <a:cubicBezTo>
                  <a:pt x="223" y="297"/>
                  <a:pt x="221" y="296"/>
                  <a:pt x="217" y="294"/>
                </a:cubicBezTo>
                <a:cubicBezTo>
                  <a:pt x="217" y="294"/>
                  <a:pt x="217" y="294"/>
                  <a:pt x="217" y="294"/>
                </a:cubicBezTo>
                <a:cubicBezTo>
                  <a:pt x="217" y="294"/>
                  <a:pt x="217" y="294"/>
                  <a:pt x="217" y="294"/>
                </a:cubicBezTo>
                <a:cubicBezTo>
                  <a:pt x="217" y="294"/>
                  <a:pt x="217" y="294"/>
                  <a:pt x="217" y="294"/>
                </a:cubicBezTo>
                <a:cubicBezTo>
                  <a:pt x="217" y="294"/>
                  <a:pt x="220" y="294"/>
                  <a:pt x="215" y="293"/>
                </a:cubicBezTo>
                <a:cubicBezTo>
                  <a:pt x="214" y="292"/>
                  <a:pt x="212" y="291"/>
                  <a:pt x="214" y="291"/>
                </a:cubicBezTo>
                <a:cubicBezTo>
                  <a:pt x="214" y="291"/>
                  <a:pt x="214" y="291"/>
                  <a:pt x="214" y="291"/>
                </a:cubicBezTo>
                <a:cubicBezTo>
                  <a:pt x="214" y="291"/>
                  <a:pt x="214" y="291"/>
                  <a:pt x="214" y="291"/>
                </a:cubicBezTo>
                <a:cubicBezTo>
                  <a:pt x="214" y="291"/>
                  <a:pt x="214" y="291"/>
                  <a:pt x="214" y="291"/>
                </a:cubicBezTo>
                <a:cubicBezTo>
                  <a:pt x="219" y="293"/>
                  <a:pt x="223" y="296"/>
                  <a:pt x="230" y="298"/>
                </a:cubicBezTo>
                <a:cubicBezTo>
                  <a:pt x="231" y="299"/>
                  <a:pt x="232" y="299"/>
                  <a:pt x="233" y="300"/>
                </a:cubicBezTo>
                <a:cubicBezTo>
                  <a:pt x="236" y="300"/>
                  <a:pt x="232" y="299"/>
                  <a:pt x="232" y="299"/>
                </a:cubicBezTo>
                <a:cubicBezTo>
                  <a:pt x="233" y="299"/>
                  <a:pt x="234" y="298"/>
                  <a:pt x="235" y="298"/>
                </a:cubicBezTo>
                <a:cubicBezTo>
                  <a:pt x="239" y="300"/>
                  <a:pt x="241" y="301"/>
                  <a:pt x="244" y="303"/>
                </a:cubicBezTo>
                <a:cubicBezTo>
                  <a:pt x="246" y="304"/>
                  <a:pt x="248" y="305"/>
                  <a:pt x="250" y="305"/>
                </a:cubicBezTo>
                <a:cubicBezTo>
                  <a:pt x="253" y="306"/>
                  <a:pt x="247" y="304"/>
                  <a:pt x="246" y="303"/>
                </a:cubicBezTo>
                <a:cubicBezTo>
                  <a:pt x="246" y="303"/>
                  <a:pt x="246" y="303"/>
                  <a:pt x="246" y="302"/>
                </a:cubicBezTo>
                <a:cubicBezTo>
                  <a:pt x="246" y="302"/>
                  <a:pt x="246" y="302"/>
                  <a:pt x="246" y="302"/>
                </a:cubicBezTo>
                <a:cubicBezTo>
                  <a:pt x="247" y="302"/>
                  <a:pt x="247" y="302"/>
                  <a:pt x="248" y="302"/>
                </a:cubicBezTo>
                <a:cubicBezTo>
                  <a:pt x="245" y="301"/>
                  <a:pt x="240" y="299"/>
                  <a:pt x="238" y="298"/>
                </a:cubicBezTo>
                <a:cubicBezTo>
                  <a:pt x="237" y="297"/>
                  <a:pt x="237" y="297"/>
                  <a:pt x="236" y="296"/>
                </a:cubicBezTo>
                <a:cubicBezTo>
                  <a:pt x="236" y="296"/>
                  <a:pt x="237" y="296"/>
                  <a:pt x="238" y="296"/>
                </a:cubicBezTo>
                <a:cubicBezTo>
                  <a:pt x="238" y="296"/>
                  <a:pt x="238" y="296"/>
                  <a:pt x="237" y="295"/>
                </a:cubicBezTo>
                <a:cubicBezTo>
                  <a:pt x="231" y="292"/>
                  <a:pt x="231" y="292"/>
                  <a:pt x="237" y="292"/>
                </a:cubicBezTo>
                <a:cubicBezTo>
                  <a:pt x="239" y="292"/>
                  <a:pt x="239" y="293"/>
                  <a:pt x="242" y="293"/>
                </a:cubicBezTo>
                <a:cubicBezTo>
                  <a:pt x="244" y="293"/>
                  <a:pt x="241" y="292"/>
                  <a:pt x="240" y="292"/>
                </a:cubicBezTo>
                <a:cubicBezTo>
                  <a:pt x="239" y="291"/>
                  <a:pt x="239" y="290"/>
                  <a:pt x="241" y="291"/>
                </a:cubicBezTo>
                <a:cubicBezTo>
                  <a:pt x="247" y="293"/>
                  <a:pt x="253" y="294"/>
                  <a:pt x="258" y="297"/>
                </a:cubicBezTo>
                <a:cubicBezTo>
                  <a:pt x="258" y="297"/>
                  <a:pt x="259" y="297"/>
                  <a:pt x="258" y="297"/>
                </a:cubicBezTo>
                <a:cubicBezTo>
                  <a:pt x="258" y="297"/>
                  <a:pt x="256" y="296"/>
                  <a:pt x="255" y="297"/>
                </a:cubicBezTo>
                <a:cubicBezTo>
                  <a:pt x="260" y="300"/>
                  <a:pt x="270" y="302"/>
                  <a:pt x="275" y="305"/>
                </a:cubicBezTo>
                <a:cubicBezTo>
                  <a:pt x="277" y="307"/>
                  <a:pt x="280" y="308"/>
                  <a:pt x="284" y="310"/>
                </a:cubicBezTo>
                <a:cubicBezTo>
                  <a:pt x="285" y="311"/>
                  <a:pt x="286" y="311"/>
                  <a:pt x="288" y="311"/>
                </a:cubicBezTo>
                <a:cubicBezTo>
                  <a:pt x="290" y="311"/>
                  <a:pt x="289" y="310"/>
                  <a:pt x="287" y="310"/>
                </a:cubicBezTo>
                <a:cubicBezTo>
                  <a:pt x="283" y="308"/>
                  <a:pt x="287" y="309"/>
                  <a:pt x="287" y="308"/>
                </a:cubicBezTo>
                <a:cubicBezTo>
                  <a:pt x="288" y="308"/>
                  <a:pt x="289" y="308"/>
                  <a:pt x="289" y="309"/>
                </a:cubicBezTo>
                <a:cubicBezTo>
                  <a:pt x="287" y="308"/>
                  <a:pt x="287" y="306"/>
                  <a:pt x="282" y="306"/>
                </a:cubicBezTo>
                <a:cubicBezTo>
                  <a:pt x="281" y="306"/>
                  <a:pt x="283" y="307"/>
                  <a:pt x="283" y="307"/>
                </a:cubicBezTo>
                <a:cubicBezTo>
                  <a:pt x="280" y="307"/>
                  <a:pt x="280" y="306"/>
                  <a:pt x="278" y="305"/>
                </a:cubicBezTo>
                <a:cubicBezTo>
                  <a:pt x="273" y="303"/>
                  <a:pt x="273" y="302"/>
                  <a:pt x="268" y="300"/>
                </a:cubicBezTo>
                <a:cubicBezTo>
                  <a:pt x="266" y="299"/>
                  <a:pt x="264" y="298"/>
                  <a:pt x="262" y="297"/>
                </a:cubicBezTo>
                <a:cubicBezTo>
                  <a:pt x="262" y="296"/>
                  <a:pt x="263" y="296"/>
                  <a:pt x="262" y="295"/>
                </a:cubicBezTo>
                <a:cubicBezTo>
                  <a:pt x="260" y="294"/>
                  <a:pt x="258" y="293"/>
                  <a:pt x="256" y="292"/>
                </a:cubicBezTo>
                <a:cubicBezTo>
                  <a:pt x="256" y="292"/>
                  <a:pt x="255" y="292"/>
                  <a:pt x="255" y="292"/>
                </a:cubicBezTo>
                <a:cubicBezTo>
                  <a:pt x="257" y="293"/>
                  <a:pt x="259" y="294"/>
                  <a:pt x="261" y="295"/>
                </a:cubicBezTo>
                <a:cubicBezTo>
                  <a:pt x="256" y="294"/>
                  <a:pt x="255" y="293"/>
                  <a:pt x="252" y="292"/>
                </a:cubicBezTo>
                <a:cubicBezTo>
                  <a:pt x="251" y="290"/>
                  <a:pt x="245" y="288"/>
                  <a:pt x="242" y="287"/>
                </a:cubicBezTo>
                <a:cubicBezTo>
                  <a:pt x="242" y="286"/>
                  <a:pt x="241" y="286"/>
                  <a:pt x="240" y="286"/>
                </a:cubicBezTo>
                <a:cubicBezTo>
                  <a:pt x="240" y="286"/>
                  <a:pt x="240" y="286"/>
                  <a:pt x="240" y="286"/>
                </a:cubicBezTo>
                <a:cubicBezTo>
                  <a:pt x="240" y="286"/>
                  <a:pt x="240" y="286"/>
                  <a:pt x="240" y="286"/>
                </a:cubicBezTo>
                <a:cubicBezTo>
                  <a:pt x="240" y="286"/>
                  <a:pt x="240" y="286"/>
                  <a:pt x="240" y="286"/>
                </a:cubicBezTo>
                <a:cubicBezTo>
                  <a:pt x="236" y="285"/>
                  <a:pt x="234" y="283"/>
                  <a:pt x="229" y="281"/>
                </a:cubicBezTo>
                <a:cubicBezTo>
                  <a:pt x="229" y="281"/>
                  <a:pt x="229" y="281"/>
                  <a:pt x="229" y="281"/>
                </a:cubicBezTo>
                <a:cubicBezTo>
                  <a:pt x="229" y="281"/>
                  <a:pt x="229" y="281"/>
                  <a:pt x="229" y="281"/>
                </a:cubicBezTo>
                <a:cubicBezTo>
                  <a:pt x="228" y="280"/>
                  <a:pt x="226" y="279"/>
                  <a:pt x="224" y="279"/>
                </a:cubicBezTo>
                <a:cubicBezTo>
                  <a:pt x="223" y="277"/>
                  <a:pt x="220" y="276"/>
                  <a:pt x="217" y="275"/>
                </a:cubicBezTo>
                <a:cubicBezTo>
                  <a:pt x="215" y="274"/>
                  <a:pt x="214" y="273"/>
                  <a:pt x="212" y="273"/>
                </a:cubicBezTo>
                <a:cubicBezTo>
                  <a:pt x="212" y="272"/>
                  <a:pt x="212" y="272"/>
                  <a:pt x="212" y="272"/>
                </a:cubicBezTo>
                <a:cubicBezTo>
                  <a:pt x="210" y="271"/>
                  <a:pt x="207" y="270"/>
                  <a:pt x="208" y="269"/>
                </a:cubicBezTo>
                <a:cubicBezTo>
                  <a:pt x="214" y="271"/>
                  <a:pt x="218" y="274"/>
                  <a:pt x="225" y="276"/>
                </a:cubicBezTo>
                <a:cubicBezTo>
                  <a:pt x="236" y="282"/>
                  <a:pt x="246" y="287"/>
                  <a:pt x="257" y="292"/>
                </a:cubicBezTo>
                <a:cubicBezTo>
                  <a:pt x="258" y="292"/>
                  <a:pt x="260" y="293"/>
                  <a:pt x="261" y="293"/>
                </a:cubicBezTo>
                <a:cubicBezTo>
                  <a:pt x="262" y="294"/>
                  <a:pt x="262" y="294"/>
                  <a:pt x="263" y="294"/>
                </a:cubicBezTo>
                <a:cubicBezTo>
                  <a:pt x="269" y="297"/>
                  <a:pt x="274" y="300"/>
                  <a:pt x="280" y="302"/>
                </a:cubicBezTo>
                <a:cubicBezTo>
                  <a:pt x="286" y="305"/>
                  <a:pt x="293" y="308"/>
                  <a:pt x="297" y="311"/>
                </a:cubicBezTo>
                <a:cubicBezTo>
                  <a:pt x="298" y="312"/>
                  <a:pt x="301" y="313"/>
                  <a:pt x="303" y="315"/>
                </a:cubicBezTo>
                <a:cubicBezTo>
                  <a:pt x="302" y="314"/>
                  <a:pt x="301" y="314"/>
                  <a:pt x="300" y="314"/>
                </a:cubicBezTo>
                <a:cubicBezTo>
                  <a:pt x="301" y="315"/>
                  <a:pt x="302" y="315"/>
                  <a:pt x="304" y="316"/>
                </a:cubicBezTo>
                <a:cubicBezTo>
                  <a:pt x="305" y="316"/>
                  <a:pt x="304" y="315"/>
                  <a:pt x="304" y="315"/>
                </a:cubicBezTo>
                <a:cubicBezTo>
                  <a:pt x="305" y="315"/>
                  <a:pt x="306" y="316"/>
                  <a:pt x="309" y="316"/>
                </a:cubicBezTo>
                <a:cubicBezTo>
                  <a:pt x="304" y="314"/>
                  <a:pt x="303" y="313"/>
                  <a:pt x="299" y="311"/>
                </a:cubicBezTo>
                <a:cubicBezTo>
                  <a:pt x="297" y="310"/>
                  <a:pt x="296" y="309"/>
                  <a:pt x="294" y="308"/>
                </a:cubicBezTo>
                <a:cubicBezTo>
                  <a:pt x="290" y="306"/>
                  <a:pt x="284" y="303"/>
                  <a:pt x="280" y="300"/>
                </a:cubicBezTo>
                <a:cubicBezTo>
                  <a:pt x="281" y="300"/>
                  <a:pt x="280" y="300"/>
                  <a:pt x="280" y="299"/>
                </a:cubicBezTo>
                <a:cubicBezTo>
                  <a:pt x="279" y="299"/>
                  <a:pt x="279" y="298"/>
                  <a:pt x="280" y="298"/>
                </a:cubicBezTo>
                <a:cubicBezTo>
                  <a:pt x="282" y="298"/>
                  <a:pt x="284" y="299"/>
                  <a:pt x="285" y="300"/>
                </a:cubicBezTo>
                <a:cubicBezTo>
                  <a:pt x="288" y="301"/>
                  <a:pt x="292" y="302"/>
                  <a:pt x="296" y="303"/>
                </a:cubicBezTo>
                <a:cubicBezTo>
                  <a:pt x="300" y="305"/>
                  <a:pt x="302" y="304"/>
                  <a:pt x="304" y="304"/>
                </a:cubicBezTo>
                <a:cubicBezTo>
                  <a:pt x="304" y="304"/>
                  <a:pt x="306" y="304"/>
                  <a:pt x="307" y="304"/>
                </a:cubicBezTo>
                <a:cubicBezTo>
                  <a:pt x="308" y="305"/>
                  <a:pt x="308" y="305"/>
                  <a:pt x="306" y="305"/>
                </a:cubicBezTo>
                <a:cubicBezTo>
                  <a:pt x="303" y="305"/>
                  <a:pt x="304" y="306"/>
                  <a:pt x="302" y="306"/>
                </a:cubicBezTo>
                <a:cubicBezTo>
                  <a:pt x="306" y="307"/>
                  <a:pt x="310" y="308"/>
                  <a:pt x="314" y="310"/>
                </a:cubicBezTo>
                <a:cubicBezTo>
                  <a:pt x="313" y="309"/>
                  <a:pt x="312" y="308"/>
                  <a:pt x="312" y="307"/>
                </a:cubicBezTo>
                <a:cubicBezTo>
                  <a:pt x="314" y="308"/>
                  <a:pt x="319" y="309"/>
                  <a:pt x="318" y="307"/>
                </a:cubicBezTo>
                <a:cubicBezTo>
                  <a:pt x="317" y="305"/>
                  <a:pt x="317" y="305"/>
                  <a:pt x="321" y="305"/>
                </a:cubicBezTo>
                <a:cubicBezTo>
                  <a:pt x="317" y="304"/>
                  <a:pt x="314" y="302"/>
                  <a:pt x="310" y="302"/>
                </a:cubicBezTo>
                <a:cubicBezTo>
                  <a:pt x="310" y="302"/>
                  <a:pt x="309" y="302"/>
                  <a:pt x="309" y="302"/>
                </a:cubicBezTo>
                <a:cubicBezTo>
                  <a:pt x="309" y="301"/>
                  <a:pt x="309" y="301"/>
                  <a:pt x="310" y="301"/>
                </a:cubicBezTo>
                <a:cubicBezTo>
                  <a:pt x="312" y="301"/>
                  <a:pt x="310" y="300"/>
                  <a:pt x="309" y="300"/>
                </a:cubicBezTo>
                <a:cubicBezTo>
                  <a:pt x="308" y="300"/>
                  <a:pt x="308" y="300"/>
                  <a:pt x="308" y="299"/>
                </a:cubicBezTo>
                <a:cubicBezTo>
                  <a:pt x="308" y="299"/>
                  <a:pt x="308" y="299"/>
                  <a:pt x="306" y="298"/>
                </a:cubicBezTo>
                <a:cubicBezTo>
                  <a:pt x="304" y="297"/>
                  <a:pt x="304" y="297"/>
                  <a:pt x="306" y="297"/>
                </a:cubicBezTo>
                <a:cubicBezTo>
                  <a:pt x="307" y="297"/>
                  <a:pt x="304" y="296"/>
                  <a:pt x="305" y="295"/>
                </a:cubicBezTo>
                <a:cubicBezTo>
                  <a:pt x="306" y="296"/>
                  <a:pt x="307" y="297"/>
                  <a:pt x="308" y="297"/>
                </a:cubicBezTo>
                <a:cubicBezTo>
                  <a:pt x="310" y="299"/>
                  <a:pt x="314" y="300"/>
                  <a:pt x="317" y="302"/>
                </a:cubicBezTo>
                <a:cubicBezTo>
                  <a:pt x="318" y="303"/>
                  <a:pt x="320" y="304"/>
                  <a:pt x="322" y="305"/>
                </a:cubicBezTo>
                <a:cubicBezTo>
                  <a:pt x="323" y="305"/>
                  <a:pt x="324" y="306"/>
                  <a:pt x="325" y="306"/>
                </a:cubicBezTo>
                <a:cubicBezTo>
                  <a:pt x="326" y="306"/>
                  <a:pt x="327" y="307"/>
                  <a:pt x="327" y="307"/>
                </a:cubicBezTo>
                <a:cubicBezTo>
                  <a:pt x="327" y="307"/>
                  <a:pt x="328" y="308"/>
                  <a:pt x="329" y="308"/>
                </a:cubicBezTo>
                <a:cubicBezTo>
                  <a:pt x="330" y="308"/>
                  <a:pt x="331" y="309"/>
                  <a:pt x="332" y="309"/>
                </a:cubicBezTo>
                <a:cubicBezTo>
                  <a:pt x="332" y="308"/>
                  <a:pt x="331" y="308"/>
                  <a:pt x="330" y="308"/>
                </a:cubicBezTo>
                <a:cubicBezTo>
                  <a:pt x="329" y="307"/>
                  <a:pt x="328" y="306"/>
                  <a:pt x="326" y="306"/>
                </a:cubicBezTo>
                <a:cubicBezTo>
                  <a:pt x="321" y="303"/>
                  <a:pt x="317" y="300"/>
                  <a:pt x="309" y="297"/>
                </a:cubicBezTo>
                <a:cubicBezTo>
                  <a:pt x="305" y="294"/>
                  <a:pt x="298" y="291"/>
                  <a:pt x="292" y="288"/>
                </a:cubicBezTo>
                <a:cubicBezTo>
                  <a:pt x="289" y="287"/>
                  <a:pt x="287" y="285"/>
                  <a:pt x="284" y="284"/>
                </a:cubicBezTo>
                <a:cubicBezTo>
                  <a:pt x="283" y="283"/>
                  <a:pt x="279" y="281"/>
                  <a:pt x="276" y="280"/>
                </a:cubicBezTo>
                <a:cubicBezTo>
                  <a:pt x="280" y="281"/>
                  <a:pt x="284" y="280"/>
                  <a:pt x="289" y="282"/>
                </a:cubicBezTo>
                <a:cubicBezTo>
                  <a:pt x="294" y="284"/>
                  <a:pt x="299" y="286"/>
                  <a:pt x="303" y="288"/>
                </a:cubicBezTo>
                <a:cubicBezTo>
                  <a:pt x="309" y="291"/>
                  <a:pt x="314" y="295"/>
                  <a:pt x="322" y="298"/>
                </a:cubicBezTo>
                <a:cubicBezTo>
                  <a:pt x="325" y="299"/>
                  <a:pt x="330" y="300"/>
                  <a:pt x="334" y="302"/>
                </a:cubicBezTo>
                <a:cubicBezTo>
                  <a:pt x="335" y="300"/>
                  <a:pt x="331" y="299"/>
                  <a:pt x="328" y="298"/>
                </a:cubicBezTo>
                <a:cubicBezTo>
                  <a:pt x="326" y="297"/>
                  <a:pt x="323" y="297"/>
                  <a:pt x="323" y="296"/>
                </a:cubicBezTo>
                <a:cubicBezTo>
                  <a:pt x="323" y="295"/>
                  <a:pt x="325" y="296"/>
                  <a:pt x="327" y="296"/>
                </a:cubicBezTo>
                <a:cubicBezTo>
                  <a:pt x="328" y="296"/>
                  <a:pt x="330" y="296"/>
                  <a:pt x="331" y="296"/>
                </a:cubicBezTo>
                <a:cubicBezTo>
                  <a:pt x="331" y="297"/>
                  <a:pt x="332" y="297"/>
                  <a:pt x="333" y="298"/>
                </a:cubicBezTo>
                <a:cubicBezTo>
                  <a:pt x="333" y="298"/>
                  <a:pt x="333" y="298"/>
                  <a:pt x="333" y="298"/>
                </a:cubicBezTo>
                <a:cubicBezTo>
                  <a:pt x="333" y="298"/>
                  <a:pt x="333" y="298"/>
                  <a:pt x="333" y="298"/>
                </a:cubicBezTo>
                <a:cubicBezTo>
                  <a:pt x="332" y="298"/>
                  <a:pt x="330" y="297"/>
                  <a:pt x="330" y="297"/>
                </a:cubicBezTo>
                <a:cubicBezTo>
                  <a:pt x="330" y="298"/>
                  <a:pt x="331" y="299"/>
                  <a:pt x="334" y="299"/>
                </a:cubicBezTo>
                <a:cubicBezTo>
                  <a:pt x="334" y="299"/>
                  <a:pt x="335" y="300"/>
                  <a:pt x="335" y="300"/>
                </a:cubicBezTo>
                <a:cubicBezTo>
                  <a:pt x="337" y="301"/>
                  <a:pt x="339" y="302"/>
                  <a:pt x="341" y="303"/>
                </a:cubicBezTo>
                <a:cubicBezTo>
                  <a:pt x="341" y="303"/>
                  <a:pt x="342" y="303"/>
                  <a:pt x="342" y="303"/>
                </a:cubicBezTo>
                <a:cubicBezTo>
                  <a:pt x="340" y="302"/>
                  <a:pt x="338" y="301"/>
                  <a:pt x="336" y="300"/>
                </a:cubicBezTo>
                <a:cubicBezTo>
                  <a:pt x="335" y="299"/>
                  <a:pt x="335" y="299"/>
                  <a:pt x="337" y="298"/>
                </a:cubicBezTo>
                <a:cubicBezTo>
                  <a:pt x="339" y="299"/>
                  <a:pt x="340" y="299"/>
                  <a:pt x="341" y="299"/>
                </a:cubicBezTo>
                <a:cubicBezTo>
                  <a:pt x="342" y="300"/>
                  <a:pt x="344" y="301"/>
                  <a:pt x="347" y="301"/>
                </a:cubicBezTo>
                <a:cubicBezTo>
                  <a:pt x="346" y="300"/>
                  <a:pt x="345" y="299"/>
                  <a:pt x="344" y="299"/>
                </a:cubicBezTo>
                <a:cubicBezTo>
                  <a:pt x="343" y="297"/>
                  <a:pt x="339" y="295"/>
                  <a:pt x="335" y="294"/>
                </a:cubicBezTo>
                <a:cubicBezTo>
                  <a:pt x="334" y="293"/>
                  <a:pt x="333" y="293"/>
                  <a:pt x="331" y="292"/>
                </a:cubicBezTo>
                <a:cubicBezTo>
                  <a:pt x="331" y="292"/>
                  <a:pt x="331" y="292"/>
                  <a:pt x="330" y="291"/>
                </a:cubicBezTo>
                <a:cubicBezTo>
                  <a:pt x="330" y="291"/>
                  <a:pt x="329" y="290"/>
                  <a:pt x="327" y="290"/>
                </a:cubicBezTo>
                <a:cubicBezTo>
                  <a:pt x="326" y="289"/>
                  <a:pt x="325" y="289"/>
                  <a:pt x="325" y="289"/>
                </a:cubicBezTo>
                <a:cubicBezTo>
                  <a:pt x="327" y="288"/>
                  <a:pt x="323" y="287"/>
                  <a:pt x="324" y="287"/>
                </a:cubicBezTo>
                <a:cubicBezTo>
                  <a:pt x="325" y="287"/>
                  <a:pt x="329" y="288"/>
                  <a:pt x="329" y="287"/>
                </a:cubicBezTo>
                <a:cubicBezTo>
                  <a:pt x="330" y="287"/>
                  <a:pt x="328" y="286"/>
                  <a:pt x="326" y="285"/>
                </a:cubicBezTo>
                <a:cubicBezTo>
                  <a:pt x="324" y="284"/>
                  <a:pt x="323" y="284"/>
                  <a:pt x="322" y="283"/>
                </a:cubicBezTo>
                <a:cubicBezTo>
                  <a:pt x="320" y="281"/>
                  <a:pt x="318" y="280"/>
                  <a:pt x="311" y="278"/>
                </a:cubicBezTo>
                <a:cubicBezTo>
                  <a:pt x="310" y="277"/>
                  <a:pt x="304" y="275"/>
                  <a:pt x="301" y="273"/>
                </a:cubicBezTo>
                <a:cubicBezTo>
                  <a:pt x="296" y="271"/>
                  <a:pt x="290" y="268"/>
                  <a:pt x="284" y="265"/>
                </a:cubicBezTo>
                <a:cubicBezTo>
                  <a:pt x="283" y="264"/>
                  <a:pt x="281" y="263"/>
                  <a:pt x="276" y="262"/>
                </a:cubicBezTo>
                <a:cubicBezTo>
                  <a:pt x="278" y="263"/>
                  <a:pt x="281" y="264"/>
                  <a:pt x="283" y="265"/>
                </a:cubicBezTo>
                <a:cubicBezTo>
                  <a:pt x="285" y="266"/>
                  <a:pt x="286" y="267"/>
                  <a:pt x="288" y="268"/>
                </a:cubicBezTo>
                <a:cubicBezTo>
                  <a:pt x="282" y="266"/>
                  <a:pt x="281" y="264"/>
                  <a:pt x="277" y="263"/>
                </a:cubicBezTo>
                <a:cubicBezTo>
                  <a:pt x="275" y="262"/>
                  <a:pt x="273" y="262"/>
                  <a:pt x="272" y="261"/>
                </a:cubicBezTo>
                <a:cubicBezTo>
                  <a:pt x="272" y="261"/>
                  <a:pt x="272" y="261"/>
                  <a:pt x="272" y="261"/>
                </a:cubicBezTo>
                <a:cubicBezTo>
                  <a:pt x="272" y="261"/>
                  <a:pt x="272" y="260"/>
                  <a:pt x="270" y="259"/>
                </a:cubicBezTo>
                <a:cubicBezTo>
                  <a:pt x="268" y="259"/>
                  <a:pt x="268" y="259"/>
                  <a:pt x="268" y="260"/>
                </a:cubicBezTo>
                <a:cubicBezTo>
                  <a:pt x="265" y="258"/>
                  <a:pt x="262" y="257"/>
                  <a:pt x="260" y="256"/>
                </a:cubicBezTo>
                <a:cubicBezTo>
                  <a:pt x="260" y="256"/>
                  <a:pt x="261" y="256"/>
                  <a:pt x="262" y="256"/>
                </a:cubicBezTo>
                <a:cubicBezTo>
                  <a:pt x="263" y="256"/>
                  <a:pt x="264" y="257"/>
                  <a:pt x="265" y="257"/>
                </a:cubicBezTo>
                <a:cubicBezTo>
                  <a:pt x="269" y="258"/>
                  <a:pt x="272" y="259"/>
                  <a:pt x="273" y="260"/>
                </a:cubicBezTo>
                <a:cubicBezTo>
                  <a:pt x="274" y="260"/>
                  <a:pt x="275" y="261"/>
                  <a:pt x="276" y="261"/>
                </a:cubicBezTo>
                <a:cubicBezTo>
                  <a:pt x="277" y="261"/>
                  <a:pt x="276" y="260"/>
                  <a:pt x="275" y="260"/>
                </a:cubicBezTo>
                <a:cubicBezTo>
                  <a:pt x="276" y="260"/>
                  <a:pt x="277" y="260"/>
                  <a:pt x="277" y="260"/>
                </a:cubicBezTo>
                <a:cubicBezTo>
                  <a:pt x="278" y="260"/>
                  <a:pt x="279" y="261"/>
                  <a:pt x="280" y="261"/>
                </a:cubicBezTo>
                <a:cubicBezTo>
                  <a:pt x="285" y="263"/>
                  <a:pt x="289" y="266"/>
                  <a:pt x="294" y="268"/>
                </a:cubicBezTo>
                <a:cubicBezTo>
                  <a:pt x="294" y="268"/>
                  <a:pt x="294" y="268"/>
                  <a:pt x="294" y="267"/>
                </a:cubicBezTo>
                <a:cubicBezTo>
                  <a:pt x="294" y="267"/>
                  <a:pt x="293" y="267"/>
                  <a:pt x="293" y="267"/>
                </a:cubicBezTo>
                <a:cubicBezTo>
                  <a:pt x="293" y="267"/>
                  <a:pt x="293" y="267"/>
                  <a:pt x="293" y="267"/>
                </a:cubicBezTo>
                <a:cubicBezTo>
                  <a:pt x="293" y="267"/>
                  <a:pt x="293" y="267"/>
                  <a:pt x="293" y="267"/>
                </a:cubicBezTo>
                <a:cubicBezTo>
                  <a:pt x="296" y="267"/>
                  <a:pt x="299" y="268"/>
                  <a:pt x="300" y="270"/>
                </a:cubicBezTo>
                <a:cubicBezTo>
                  <a:pt x="301" y="270"/>
                  <a:pt x="303" y="271"/>
                  <a:pt x="306" y="272"/>
                </a:cubicBezTo>
                <a:cubicBezTo>
                  <a:pt x="307" y="272"/>
                  <a:pt x="308" y="272"/>
                  <a:pt x="308" y="272"/>
                </a:cubicBezTo>
                <a:cubicBezTo>
                  <a:pt x="310" y="271"/>
                  <a:pt x="307" y="270"/>
                  <a:pt x="305" y="270"/>
                </a:cubicBezTo>
                <a:cubicBezTo>
                  <a:pt x="298" y="266"/>
                  <a:pt x="289" y="262"/>
                  <a:pt x="282" y="259"/>
                </a:cubicBezTo>
                <a:cubicBezTo>
                  <a:pt x="282" y="259"/>
                  <a:pt x="282" y="259"/>
                  <a:pt x="282" y="259"/>
                </a:cubicBezTo>
                <a:cubicBezTo>
                  <a:pt x="279" y="257"/>
                  <a:pt x="272" y="255"/>
                  <a:pt x="271" y="253"/>
                </a:cubicBezTo>
                <a:cubicBezTo>
                  <a:pt x="281" y="257"/>
                  <a:pt x="290" y="262"/>
                  <a:pt x="299" y="266"/>
                </a:cubicBezTo>
                <a:cubicBezTo>
                  <a:pt x="308" y="270"/>
                  <a:pt x="318" y="275"/>
                  <a:pt x="330" y="280"/>
                </a:cubicBezTo>
                <a:cubicBezTo>
                  <a:pt x="332" y="281"/>
                  <a:pt x="334" y="281"/>
                  <a:pt x="336" y="282"/>
                </a:cubicBezTo>
                <a:cubicBezTo>
                  <a:pt x="340" y="285"/>
                  <a:pt x="347" y="288"/>
                  <a:pt x="352" y="291"/>
                </a:cubicBezTo>
                <a:cubicBezTo>
                  <a:pt x="353" y="291"/>
                  <a:pt x="349" y="290"/>
                  <a:pt x="349" y="289"/>
                </a:cubicBezTo>
                <a:cubicBezTo>
                  <a:pt x="355" y="290"/>
                  <a:pt x="358" y="292"/>
                  <a:pt x="361" y="294"/>
                </a:cubicBezTo>
                <a:cubicBezTo>
                  <a:pt x="363" y="295"/>
                  <a:pt x="365" y="297"/>
                  <a:pt x="371" y="298"/>
                </a:cubicBezTo>
                <a:cubicBezTo>
                  <a:pt x="376" y="299"/>
                  <a:pt x="377" y="300"/>
                  <a:pt x="380" y="302"/>
                </a:cubicBezTo>
                <a:cubicBezTo>
                  <a:pt x="380" y="302"/>
                  <a:pt x="380" y="302"/>
                  <a:pt x="380" y="302"/>
                </a:cubicBezTo>
                <a:cubicBezTo>
                  <a:pt x="385" y="304"/>
                  <a:pt x="389" y="306"/>
                  <a:pt x="393" y="308"/>
                </a:cubicBezTo>
                <a:cubicBezTo>
                  <a:pt x="390" y="307"/>
                  <a:pt x="389" y="306"/>
                  <a:pt x="387" y="306"/>
                </a:cubicBezTo>
                <a:cubicBezTo>
                  <a:pt x="386" y="305"/>
                  <a:pt x="385" y="304"/>
                  <a:pt x="381" y="303"/>
                </a:cubicBezTo>
                <a:cubicBezTo>
                  <a:pt x="382" y="304"/>
                  <a:pt x="383" y="305"/>
                  <a:pt x="386" y="306"/>
                </a:cubicBezTo>
                <a:cubicBezTo>
                  <a:pt x="389" y="307"/>
                  <a:pt x="391" y="308"/>
                  <a:pt x="394" y="310"/>
                </a:cubicBezTo>
                <a:cubicBezTo>
                  <a:pt x="396" y="311"/>
                  <a:pt x="398" y="311"/>
                  <a:pt x="399" y="312"/>
                </a:cubicBezTo>
                <a:cubicBezTo>
                  <a:pt x="399" y="312"/>
                  <a:pt x="400" y="312"/>
                  <a:pt x="400" y="312"/>
                </a:cubicBezTo>
                <a:cubicBezTo>
                  <a:pt x="398" y="311"/>
                  <a:pt x="397" y="311"/>
                  <a:pt x="396" y="310"/>
                </a:cubicBezTo>
                <a:cubicBezTo>
                  <a:pt x="396" y="310"/>
                  <a:pt x="397" y="310"/>
                  <a:pt x="397" y="310"/>
                </a:cubicBezTo>
                <a:cubicBezTo>
                  <a:pt x="402" y="313"/>
                  <a:pt x="410" y="316"/>
                  <a:pt x="413" y="319"/>
                </a:cubicBezTo>
                <a:cubicBezTo>
                  <a:pt x="416" y="320"/>
                  <a:pt x="418" y="321"/>
                  <a:pt x="421" y="322"/>
                </a:cubicBezTo>
                <a:cubicBezTo>
                  <a:pt x="421" y="323"/>
                  <a:pt x="422" y="324"/>
                  <a:pt x="426" y="325"/>
                </a:cubicBezTo>
                <a:cubicBezTo>
                  <a:pt x="429" y="328"/>
                  <a:pt x="436" y="329"/>
                  <a:pt x="442" y="331"/>
                </a:cubicBezTo>
                <a:cubicBezTo>
                  <a:pt x="442" y="331"/>
                  <a:pt x="442" y="331"/>
                  <a:pt x="443" y="331"/>
                </a:cubicBezTo>
                <a:cubicBezTo>
                  <a:pt x="444" y="332"/>
                  <a:pt x="446" y="333"/>
                  <a:pt x="448" y="334"/>
                </a:cubicBezTo>
                <a:cubicBezTo>
                  <a:pt x="450" y="335"/>
                  <a:pt x="448" y="335"/>
                  <a:pt x="446" y="334"/>
                </a:cubicBezTo>
                <a:cubicBezTo>
                  <a:pt x="445" y="334"/>
                  <a:pt x="444" y="333"/>
                  <a:pt x="441" y="333"/>
                </a:cubicBezTo>
                <a:cubicBezTo>
                  <a:pt x="442" y="333"/>
                  <a:pt x="444" y="334"/>
                  <a:pt x="445" y="334"/>
                </a:cubicBezTo>
                <a:cubicBezTo>
                  <a:pt x="446" y="335"/>
                  <a:pt x="447" y="335"/>
                  <a:pt x="448" y="336"/>
                </a:cubicBezTo>
                <a:cubicBezTo>
                  <a:pt x="452" y="338"/>
                  <a:pt x="459" y="341"/>
                  <a:pt x="465" y="344"/>
                </a:cubicBezTo>
                <a:cubicBezTo>
                  <a:pt x="467" y="345"/>
                  <a:pt x="468" y="347"/>
                  <a:pt x="473" y="348"/>
                </a:cubicBezTo>
                <a:cubicBezTo>
                  <a:pt x="472" y="347"/>
                  <a:pt x="469" y="345"/>
                  <a:pt x="466" y="344"/>
                </a:cubicBezTo>
                <a:cubicBezTo>
                  <a:pt x="463" y="342"/>
                  <a:pt x="459" y="340"/>
                  <a:pt x="455" y="339"/>
                </a:cubicBezTo>
                <a:cubicBezTo>
                  <a:pt x="457" y="338"/>
                  <a:pt x="452" y="335"/>
                  <a:pt x="450" y="334"/>
                </a:cubicBezTo>
                <a:cubicBezTo>
                  <a:pt x="449" y="333"/>
                  <a:pt x="446" y="331"/>
                  <a:pt x="444" y="330"/>
                </a:cubicBezTo>
                <a:cubicBezTo>
                  <a:pt x="444" y="329"/>
                  <a:pt x="441" y="329"/>
                  <a:pt x="439" y="328"/>
                </a:cubicBezTo>
                <a:cubicBezTo>
                  <a:pt x="435" y="326"/>
                  <a:pt x="429" y="324"/>
                  <a:pt x="432" y="323"/>
                </a:cubicBezTo>
                <a:cubicBezTo>
                  <a:pt x="433" y="323"/>
                  <a:pt x="431" y="321"/>
                  <a:pt x="427" y="321"/>
                </a:cubicBezTo>
                <a:cubicBezTo>
                  <a:pt x="425" y="320"/>
                  <a:pt x="423" y="319"/>
                  <a:pt x="421" y="318"/>
                </a:cubicBezTo>
                <a:cubicBezTo>
                  <a:pt x="420" y="317"/>
                  <a:pt x="418" y="317"/>
                  <a:pt x="417" y="316"/>
                </a:cubicBezTo>
                <a:cubicBezTo>
                  <a:pt x="417" y="315"/>
                  <a:pt x="416" y="315"/>
                  <a:pt x="414" y="314"/>
                </a:cubicBezTo>
                <a:cubicBezTo>
                  <a:pt x="413" y="314"/>
                  <a:pt x="414" y="315"/>
                  <a:pt x="415" y="316"/>
                </a:cubicBezTo>
                <a:cubicBezTo>
                  <a:pt x="416" y="317"/>
                  <a:pt x="417" y="317"/>
                  <a:pt x="419" y="318"/>
                </a:cubicBezTo>
                <a:cubicBezTo>
                  <a:pt x="421" y="319"/>
                  <a:pt x="421" y="320"/>
                  <a:pt x="419" y="320"/>
                </a:cubicBezTo>
                <a:cubicBezTo>
                  <a:pt x="417" y="320"/>
                  <a:pt x="417" y="319"/>
                  <a:pt x="416" y="319"/>
                </a:cubicBezTo>
                <a:cubicBezTo>
                  <a:pt x="408" y="314"/>
                  <a:pt x="399" y="310"/>
                  <a:pt x="391" y="306"/>
                </a:cubicBezTo>
                <a:cubicBezTo>
                  <a:pt x="393" y="306"/>
                  <a:pt x="396" y="307"/>
                  <a:pt x="397" y="308"/>
                </a:cubicBezTo>
                <a:cubicBezTo>
                  <a:pt x="402" y="311"/>
                  <a:pt x="407" y="311"/>
                  <a:pt x="413" y="311"/>
                </a:cubicBezTo>
                <a:cubicBezTo>
                  <a:pt x="413" y="312"/>
                  <a:pt x="412" y="312"/>
                  <a:pt x="413" y="312"/>
                </a:cubicBezTo>
                <a:cubicBezTo>
                  <a:pt x="413" y="313"/>
                  <a:pt x="414" y="313"/>
                  <a:pt x="415" y="313"/>
                </a:cubicBezTo>
                <a:cubicBezTo>
                  <a:pt x="415" y="312"/>
                  <a:pt x="416" y="312"/>
                  <a:pt x="414" y="311"/>
                </a:cubicBezTo>
                <a:cubicBezTo>
                  <a:pt x="413" y="311"/>
                  <a:pt x="420" y="312"/>
                  <a:pt x="416" y="310"/>
                </a:cubicBezTo>
                <a:cubicBezTo>
                  <a:pt x="414" y="309"/>
                  <a:pt x="410" y="309"/>
                  <a:pt x="410" y="309"/>
                </a:cubicBezTo>
                <a:cubicBezTo>
                  <a:pt x="406" y="311"/>
                  <a:pt x="403" y="308"/>
                  <a:pt x="399" y="307"/>
                </a:cubicBezTo>
                <a:cubicBezTo>
                  <a:pt x="398" y="306"/>
                  <a:pt x="396" y="305"/>
                  <a:pt x="395" y="305"/>
                </a:cubicBezTo>
                <a:cubicBezTo>
                  <a:pt x="391" y="302"/>
                  <a:pt x="388" y="303"/>
                  <a:pt x="385" y="303"/>
                </a:cubicBezTo>
                <a:cubicBezTo>
                  <a:pt x="385" y="303"/>
                  <a:pt x="385" y="303"/>
                  <a:pt x="385" y="303"/>
                </a:cubicBezTo>
                <a:cubicBezTo>
                  <a:pt x="384" y="302"/>
                  <a:pt x="384" y="302"/>
                  <a:pt x="384" y="302"/>
                </a:cubicBezTo>
                <a:cubicBezTo>
                  <a:pt x="382" y="301"/>
                  <a:pt x="385" y="301"/>
                  <a:pt x="384" y="299"/>
                </a:cubicBezTo>
                <a:cubicBezTo>
                  <a:pt x="380" y="296"/>
                  <a:pt x="373" y="294"/>
                  <a:pt x="369" y="291"/>
                </a:cubicBezTo>
                <a:cubicBezTo>
                  <a:pt x="367" y="291"/>
                  <a:pt x="366" y="290"/>
                  <a:pt x="365" y="289"/>
                </a:cubicBezTo>
                <a:cubicBezTo>
                  <a:pt x="359" y="288"/>
                  <a:pt x="358" y="286"/>
                  <a:pt x="354" y="284"/>
                </a:cubicBezTo>
                <a:cubicBezTo>
                  <a:pt x="348" y="282"/>
                  <a:pt x="346" y="279"/>
                  <a:pt x="341" y="277"/>
                </a:cubicBezTo>
                <a:cubicBezTo>
                  <a:pt x="338" y="276"/>
                  <a:pt x="335" y="274"/>
                  <a:pt x="333" y="273"/>
                </a:cubicBezTo>
                <a:cubicBezTo>
                  <a:pt x="327" y="270"/>
                  <a:pt x="320" y="267"/>
                  <a:pt x="314" y="264"/>
                </a:cubicBezTo>
                <a:cubicBezTo>
                  <a:pt x="313" y="263"/>
                  <a:pt x="311" y="263"/>
                  <a:pt x="310" y="262"/>
                </a:cubicBezTo>
                <a:cubicBezTo>
                  <a:pt x="311" y="262"/>
                  <a:pt x="312" y="262"/>
                  <a:pt x="313" y="262"/>
                </a:cubicBezTo>
                <a:cubicBezTo>
                  <a:pt x="318" y="265"/>
                  <a:pt x="323" y="267"/>
                  <a:pt x="329" y="269"/>
                </a:cubicBezTo>
                <a:cubicBezTo>
                  <a:pt x="328" y="269"/>
                  <a:pt x="328" y="269"/>
                  <a:pt x="328" y="268"/>
                </a:cubicBezTo>
                <a:cubicBezTo>
                  <a:pt x="328" y="269"/>
                  <a:pt x="329" y="269"/>
                  <a:pt x="329" y="269"/>
                </a:cubicBezTo>
                <a:cubicBezTo>
                  <a:pt x="335" y="272"/>
                  <a:pt x="342" y="275"/>
                  <a:pt x="348" y="279"/>
                </a:cubicBezTo>
                <a:cubicBezTo>
                  <a:pt x="354" y="281"/>
                  <a:pt x="361" y="284"/>
                  <a:pt x="367" y="287"/>
                </a:cubicBezTo>
                <a:cubicBezTo>
                  <a:pt x="377" y="291"/>
                  <a:pt x="387" y="296"/>
                  <a:pt x="396" y="300"/>
                </a:cubicBezTo>
                <a:cubicBezTo>
                  <a:pt x="398" y="301"/>
                  <a:pt x="401" y="303"/>
                  <a:pt x="404" y="304"/>
                </a:cubicBezTo>
                <a:cubicBezTo>
                  <a:pt x="409" y="307"/>
                  <a:pt x="418" y="310"/>
                  <a:pt x="424" y="314"/>
                </a:cubicBezTo>
                <a:cubicBezTo>
                  <a:pt x="425" y="315"/>
                  <a:pt x="429" y="316"/>
                  <a:pt x="432" y="318"/>
                </a:cubicBezTo>
                <a:cubicBezTo>
                  <a:pt x="433" y="317"/>
                  <a:pt x="428" y="315"/>
                  <a:pt x="426" y="314"/>
                </a:cubicBezTo>
                <a:cubicBezTo>
                  <a:pt x="426" y="314"/>
                  <a:pt x="426" y="314"/>
                  <a:pt x="426" y="314"/>
                </a:cubicBezTo>
                <a:cubicBezTo>
                  <a:pt x="428" y="313"/>
                  <a:pt x="429" y="313"/>
                  <a:pt x="436" y="315"/>
                </a:cubicBezTo>
                <a:cubicBezTo>
                  <a:pt x="434" y="314"/>
                  <a:pt x="434" y="312"/>
                  <a:pt x="430" y="311"/>
                </a:cubicBezTo>
                <a:cubicBezTo>
                  <a:pt x="428" y="311"/>
                  <a:pt x="431" y="313"/>
                  <a:pt x="426" y="311"/>
                </a:cubicBezTo>
                <a:cubicBezTo>
                  <a:pt x="422" y="310"/>
                  <a:pt x="423" y="309"/>
                  <a:pt x="420" y="308"/>
                </a:cubicBezTo>
                <a:cubicBezTo>
                  <a:pt x="420" y="307"/>
                  <a:pt x="425" y="307"/>
                  <a:pt x="425" y="307"/>
                </a:cubicBezTo>
                <a:cubicBezTo>
                  <a:pt x="434" y="309"/>
                  <a:pt x="425" y="307"/>
                  <a:pt x="426" y="306"/>
                </a:cubicBezTo>
                <a:cubicBezTo>
                  <a:pt x="425" y="306"/>
                  <a:pt x="426" y="306"/>
                  <a:pt x="427" y="306"/>
                </a:cubicBezTo>
                <a:cubicBezTo>
                  <a:pt x="427" y="306"/>
                  <a:pt x="428" y="306"/>
                  <a:pt x="429" y="306"/>
                </a:cubicBezTo>
                <a:cubicBezTo>
                  <a:pt x="430" y="306"/>
                  <a:pt x="432" y="307"/>
                  <a:pt x="434" y="308"/>
                </a:cubicBezTo>
                <a:cubicBezTo>
                  <a:pt x="436" y="309"/>
                  <a:pt x="438" y="310"/>
                  <a:pt x="440" y="311"/>
                </a:cubicBezTo>
                <a:cubicBezTo>
                  <a:pt x="444" y="314"/>
                  <a:pt x="452" y="317"/>
                  <a:pt x="460" y="320"/>
                </a:cubicBezTo>
                <a:cubicBezTo>
                  <a:pt x="453" y="317"/>
                  <a:pt x="449" y="314"/>
                  <a:pt x="441" y="311"/>
                </a:cubicBezTo>
                <a:cubicBezTo>
                  <a:pt x="439" y="310"/>
                  <a:pt x="437" y="309"/>
                  <a:pt x="434" y="308"/>
                </a:cubicBezTo>
                <a:cubicBezTo>
                  <a:pt x="433" y="307"/>
                  <a:pt x="431" y="306"/>
                  <a:pt x="429" y="305"/>
                </a:cubicBezTo>
                <a:cubicBezTo>
                  <a:pt x="431" y="305"/>
                  <a:pt x="429" y="304"/>
                  <a:pt x="430" y="303"/>
                </a:cubicBezTo>
                <a:cubicBezTo>
                  <a:pt x="434" y="303"/>
                  <a:pt x="436" y="305"/>
                  <a:pt x="438" y="306"/>
                </a:cubicBezTo>
                <a:cubicBezTo>
                  <a:pt x="449" y="312"/>
                  <a:pt x="460" y="317"/>
                  <a:pt x="471" y="323"/>
                </a:cubicBezTo>
                <a:cubicBezTo>
                  <a:pt x="472" y="324"/>
                  <a:pt x="473" y="325"/>
                  <a:pt x="475" y="325"/>
                </a:cubicBezTo>
                <a:cubicBezTo>
                  <a:pt x="476" y="326"/>
                  <a:pt x="479" y="328"/>
                  <a:pt x="482" y="329"/>
                </a:cubicBezTo>
                <a:cubicBezTo>
                  <a:pt x="482" y="329"/>
                  <a:pt x="482" y="329"/>
                  <a:pt x="482" y="329"/>
                </a:cubicBezTo>
                <a:cubicBezTo>
                  <a:pt x="482" y="329"/>
                  <a:pt x="483" y="329"/>
                  <a:pt x="483" y="330"/>
                </a:cubicBezTo>
                <a:cubicBezTo>
                  <a:pt x="485" y="331"/>
                  <a:pt x="487" y="332"/>
                  <a:pt x="490" y="334"/>
                </a:cubicBezTo>
                <a:cubicBezTo>
                  <a:pt x="491" y="335"/>
                  <a:pt x="491" y="336"/>
                  <a:pt x="498" y="339"/>
                </a:cubicBezTo>
                <a:cubicBezTo>
                  <a:pt x="505" y="341"/>
                  <a:pt x="509" y="344"/>
                  <a:pt x="507" y="346"/>
                </a:cubicBezTo>
                <a:cubicBezTo>
                  <a:pt x="507" y="346"/>
                  <a:pt x="505" y="346"/>
                  <a:pt x="506" y="347"/>
                </a:cubicBezTo>
                <a:cubicBezTo>
                  <a:pt x="509" y="348"/>
                  <a:pt x="512" y="348"/>
                  <a:pt x="515" y="349"/>
                </a:cubicBezTo>
                <a:cubicBezTo>
                  <a:pt x="517" y="349"/>
                  <a:pt x="518" y="350"/>
                  <a:pt x="519" y="351"/>
                </a:cubicBezTo>
                <a:cubicBezTo>
                  <a:pt x="519" y="351"/>
                  <a:pt x="520" y="351"/>
                  <a:pt x="520" y="351"/>
                </a:cubicBezTo>
                <a:cubicBezTo>
                  <a:pt x="523" y="353"/>
                  <a:pt x="525" y="354"/>
                  <a:pt x="528" y="356"/>
                </a:cubicBezTo>
                <a:cubicBezTo>
                  <a:pt x="529" y="357"/>
                  <a:pt x="530" y="357"/>
                  <a:pt x="533" y="358"/>
                </a:cubicBezTo>
                <a:cubicBezTo>
                  <a:pt x="533" y="357"/>
                  <a:pt x="531" y="357"/>
                  <a:pt x="529" y="356"/>
                </a:cubicBezTo>
                <a:cubicBezTo>
                  <a:pt x="529" y="356"/>
                  <a:pt x="529" y="355"/>
                  <a:pt x="529" y="355"/>
                </a:cubicBezTo>
                <a:cubicBezTo>
                  <a:pt x="529" y="355"/>
                  <a:pt x="530" y="355"/>
                  <a:pt x="530" y="355"/>
                </a:cubicBezTo>
                <a:cubicBezTo>
                  <a:pt x="531" y="355"/>
                  <a:pt x="531" y="355"/>
                  <a:pt x="531" y="356"/>
                </a:cubicBezTo>
                <a:cubicBezTo>
                  <a:pt x="533" y="357"/>
                  <a:pt x="533" y="357"/>
                  <a:pt x="537" y="359"/>
                </a:cubicBezTo>
                <a:cubicBezTo>
                  <a:pt x="537" y="358"/>
                  <a:pt x="535" y="357"/>
                  <a:pt x="532" y="356"/>
                </a:cubicBezTo>
                <a:cubicBezTo>
                  <a:pt x="531" y="355"/>
                  <a:pt x="530" y="354"/>
                  <a:pt x="528" y="354"/>
                </a:cubicBezTo>
                <a:cubicBezTo>
                  <a:pt x="529" y="353"/>
                  <a:pt x="526" y="352"/>
                  <a:pt x="525" y="351"/>
                </a:cubicBezTo>
                <a:cubicBezTo>
                  <a:pt x="525" y="351"/>
                  <a:pt x="525" y="351"/>
                  <a:pt x="524" y="350"/>
                </a:cubicBezTo>
                <a:cubicBezTo>
                  <a:pt x="521" y="349"/>
                  <a:pt x="520" y="348"/>
                  <a:pt x="517" y="347"/>
                </a:cubicBezTo>
                <a:cubicBezTo>
                  <a:pt x="517" y="346"/>
                  <a:pt x="514" y="345"/>
                  <a:pt x="512" y="344"/>
                </a:cubicBezTo>
                <a:cubicBezTo>
                  <a:pt x="511" y="343"/>
                  <a:pt x="509" y="342"/>
                  <a:pt x="509" y="341"/>
                </a:cubicBezTo>
                <a:cubicBezTo>
                  <a:pt x="509" y="341"/>
                  <a:pt x="509" y="341"/>
                  <a:pt x="509" y="341"/>
                </a:cubicBezTo>
                <a:cubicBezTo>
                  <a:pt x="510" y="341"/>
                  <a:pt x="511" y="341"/>
                  <a:pt x="510" y="341"/>
                </a:cubicBezTo>
                <a:cubicBezTo>
                  <a:pt x="509" y="340"/>
                  <a:pt x="507" y="340"/>
                  <a:pt x="506" y="340"/>
                </a:cubicBezTo>
                <a:cubicBezTo>
                  <a:pt x="500" y="337"/>
                  <a:pt x="501" y="336"/>
                  <a:pt x="496" y="334"/>
                </a:cubicBezTo>
                <a:cubicBezTo>
                  <a:pt x="495" y="333"/>
                  <a:pt x="491" y="331"/>
                  <a:pt x="491" y="330"/>
                </a:cubicBezTo>
                <a:cubicBezTo>
                  <a:pt x="500" y="334"/>
                  <a:pt x="508" y="338"/>
                  <a:pt x="514" y="341"/>
                </a:cubicBezTo>
                <a:cubicBezTo>
                  <a:pt x="514" y="342"/>
                  <a:pt x="514" y="342"/>
                  <a:pt x="516" y="343"/>
                </a:cubicBezTo>
                <a:cubicBezTo>
                  <a:pt x="518" y="344"/>
                  <a:pt x="520" y="345"/>
                  <a:pt x="523" y="346"/>
                </a:cubicBezTo>
                <a:cubicBezTo>
                  <a:pt x="522" y="345"/>
                  <a:pt x="521" y="344"/>
                  <a:pt x="519" y="343"/>
                </a:cubicBezTo>
                <a:cubicBezTo>
                  <a:pt x="518" y="342"/>
                  <a:pt x="517" y="342"/>
                  <a:pt x="516" y="342"/>
                </a:cubicBezTo>
                <a:cubicBezTo>
                  <a:pt x="516" y="341"/>
                  <a:pt x="513" y="340"/>
                  <a:pt x="513" y="339"/>
                </a:cubicBezTo>
                <a:cubicBezTo>
                  <a:pt x="514" y="339"/>
                  <a:pt x="515" y="340"/>
                  <a:pt x="517" y="340"/>
                </a:cubicBezTo>
                <a:cubicBezTo>
                  <a:pt x="519" y="341"/>
                  <a:pt x="517" y="340"/>
                  <a:pt x="517" y="339"/>
                </a:cubicBezTo>
                <a:cubicBezTo>
                  <a:pt x="514" y="338"/>
                  <a:pt x="511" y="337"/>
                  <a:pt x="507" y="336"/>
                </a:cubicBezTo>
                <a:cubicBezTo>
                  <a:pt x="505" y="334"/>
                  <a:pt x="501" y="332"/>
                  <a:pt x="496" y="330"/>
                </a:cubicBezTo>
                <a:cubicBezTo>
                  <a:pt x="492" y="328"/>
                  <a:pt x="499" y="328"/>
                  <a:pt x="499" y="327"/>
                </a:cubicBezTo>
                <a:cubicBezTo>
                  <a:pt x="500" y="327"/>
                  <a:pt x="501" y="327"/>
                  <a:pt x="503" y="328"/>
                </a:cubicBezTo>
                <a:cubicBezTo>
                  <a:pt x="507" y="330"/>
                  <a:pt x="511" y="332"/>
                  <a:pt x="513" y="333"/>
                </a:cubicBezTo>
                <a:cubicBezTo>
                  <a:pt x="511" y="334"/>
                  <a:pt x="509" y="333"/>
                  <a:pt x="507" y="332"/>
                </a:cubicBezTo>
                <a:cubicBezTo>
                  <a:pt x="509" y="333"/>
                  <a:pt x="510" y="335"/>
                  <a:pt x="514" y="335"/>
                </a:cubicBezTo>
                <a:cubicBezTo>
                  <a:pt x="517" y="336"/>
                  <a:pt x="514" y="334"/>
                  <a:pt x="515" y="334"/>
                </a:cubicBezTo>
                <a:cubicBezTo>
                  <a:pt x="520" y="335"/>
                  <a:pt x="520" y="335"/>
                  <a:pt x="518" y="333"/>
                </a:cubicBezTo>
                <a:cubicBezTo>
                  <a:pt x="514" y="331"/>
                  <a:pt x="510" y="329"/>
                  <a:pt x="506" y="327"/>
                </a:cubicBezTo>
                <a:cubicBezTo>
                  <a:pt x="505" y="326"/>
                  <a:pt x="501" y="325"/>
                  <a:pt x="502" y="325"/>
                </a:cubicBezTo>
                <a:cubicBezTo>
                  <a:pt x="506" y="325"/>
                  <a:pt x="502" y="324"/>
                  <a:pt x="503" y="323"/>
                </a:cubicBezTo>
                <a:cubicBezTo>
                  <a:pt x="506" y="324"/>
                  <a:pt x="507" y="325"/>
                  <a:pt x="509" y="325"/>
                </a:cubicBezTo>
                <a:cubicBezTo>
                  <a:pt x="515" y="326"/>
                  <a:pt x="516" y="328"/>
                  <a:pt x="523" y="330"/>
                </a:cubicBezTo>
                <a:cubicBezTo>
                  <a:pt x="522" y="329"/>
                  <a:pt x="517" y="328"/>
                  <a:pt x="517" y="327"/>
                </a:cubicBezTo>
                <a:cubicBezTo>
                  <a:pt x="517" y="325"/>
                  <a:pt x="507" y="323"/>
                  <a:pt x="510" y="321"/>
                </a:cubicBezTo>
                <a:cubicBezTo>
                  <a:pt x="511" y="322"/>
                  <a:pt x="512" y="322"/>
                  <a:pt x="513" y="323"/>
                </a:cubicBezTo>
                <a:cubicBezTo>
                  <a:pt x="513" y="324"/>
                  <a:pt x="521" y="326"/>
                  <a:pt x="524" y="328"/>
                </a:cubicBezTo>
                <a:cubicBezTo>
                  <a:pt x="523" y="327"/>
                  <a:pt x="521" y="325"/>
                  <a:pt x="517" y="324"/>
                </a:cubicBezTo>
                <a:cubicBezTo>
                  <a:pt x="513" y="322"/>
                  <a:pt x="509" y="319"/>
                  <a:pt x="504" y="317"/>
                </a:cubicBezTo>
                <a:cubicBezTo>
                  <a:pt x="509" y="319"/>
                  <a:pt x="513" y="320"/>
                  <a:pt x="518" y="322"/>
                </a:cubicBezTo>
                <a:cubicBezTo>
                  <a:pt x="518" y="323"/>
                  <a:pt x="519" y="323"/>
                  <a:pt x="521" y="325"/>
                </a:cubicBezTo>
                <a:cubicBezTo>
                  <a:pt x="523" y="324"/>
                  <a:pt x="523" y="324"/>
                  <a:pt x="521" y="322"/>
                </a:cubicBezTo>
                <a:cubicBezTo>
                  <a:pt x="521" y="322"/>
                  <a:pt x="520" y="322"/>
                  <a:pt x="520" y="321"/>
                </a:cubicBezTo>
                <a:cubicBezTo>
                  <a:pt x="514" y="316"/>
                  <a:pt x="507" y="311"/>
                  <a:pt x="498" y="305"/>
                </a:cubicBezTo>
                <a:cubicBezTo>
                  <a:pt x="499" y="306"/>
                  <a:pt x="500" y="306"/>
                  <a:pt x="500" y="306"/>
                </a:cubicBezTo>
                <a:cubicBezTo>
                  <a:pt x="508" y="311"/>
                  <a:pt x="517" y="315"/>
                  <a:pt x="525" y="320"/>
                </a:cubicBezTo>
                <a:cubicBezTo>
                  <a:pt x="530" y="323"/>
                  <a:pt x="536" y="326"/>
                  <a:pt x="542" y="329"/>
                </a:cubicBezTo>
                <a:cubicBezTo>
                  <a:pt x="542" y="278"/>
                  <a:pt x="542" y="278"/>
                  <a:pt x="542" y="278"/>
                </a:cubicBezTo>
                <a:cubicBezTo>
                  <a:pt x="542" y="277"/>
                  <a:pt x="541" y="277"/>
                  <a:pt x="541" y="277"/>
                </a:cubicBezTo>
                <a:cubicBezTo>
                  <a:pt x="540" y="276"/>
                  <a:pt x="539" y="275"/>
                  <a:pt x="538" y="275"/>
                </a:cubicBezTo>
                <a:cubicBezTo>
                  <a:pt x="538" y="274"/>
                  <a:pt x="537" y="274"/>
                  <a:pt x="536" y="274"/>
                </a:cubicBezTo>
                <a:cubicBezTo>
                  <a:pt x="538" y="273"/>
                  <a:pt x="540" y="273"/>
                  <a:pt x="542" y="274"/>
                </a:cubicBezTo>
                <a:cubicBezTo>
                  <a:pt x="542" y="256"/>
                  <a:pt x="542" y="256"/>
                  <a:pt x="542" y="256"/>
                </a:cubicBezTo>
                <a:cubicBezTo>
                  <a:pt x="542" y="256"/>
                  <a:pt x="542" y="256"/>
                  <a:pt x="542" y="255"/>
                </a:cubicBezTo>
                <a:cubicBezTo>
                  <a:pt x="541" y="255"/>
                  <a:pt x="541" y="254"/>
                  <a:pt x="541" y="254"/>
                </a:cubicBezTo>
                <a:cubicBezTo>
                  <a:pt x="541" y="254"/>
                  <a:pt x="541" y="254"/>
                  <a:pt x="542" y="254"/>
                </a:cubicBezTo>
                <a:cubicBezTo>
                  <a:pt x="542" y="254"/>
                  <a:pt x="542" y="254"/>
                  <a:pt x="542" y="254"/>
                </a:cubicBezTo>
                <a:cubicBezTo>
                  <a:pt x="542" y="237"/>
                  <a:pt x="542" y="237"/>
                  <a:pt x="542" y="237"/>
                </a:cubicBezTo>
                <a:cubicBezTo>
                  <a:pt x="542" y="237"/>
                  <a:pt x="542" y="237"/>
                  <a:pt x="542" y="236"/>
                </a:cubicBezTo>
                <a:cubicBezTo>
                  <a:pt x="542" y="236"/>
                  <a:pt x="542" y="236"/>
                  <a:pt x="542" y="236"/>
                </a:cubicBezTo>
                <a:cubicBezTo>
                  <a:pt x="542" y="207"/>
                  <a:pt x="542" y="207"/>
                  <a:pt x="542" y="207"/>
                </a:cubicBezTo>
                <a:cubicBezTo>
                  <a:pt x="542" y="207"/>
                  <a:pt x="542" y="207"/>
                  <a:pt x="542" y="207"/>
                </a:cubicBezTo>
                <a:cubicBezTo>
                  <a:pt x="542" y="206"/>
                  <a:pt x="542" y="206"/>
                  <a:pt x="542" y="206"/>
                </a:cubicBezTo>
                <a:cubicBezTo>
                  <a:pt x="542" y="206"/>
                  <a:pt x="542" y="206"/>
                  <a:pt x="542" y="206"/>
                </a:cubicBezTo>
                <a:cubicBezTo>
                  <a:pt x="542" y="193"/>
                  <a:pt x="542" y="193"/>
                  <a:pt x="542" y="193"/>
                </a:cubicBezTo>
                <a:cubicBezTo>
                  <a:pt x="542" y="193"/>
                  <a:pt x="542" y="193"/>
                  <a:pt x="542" y="193"/>
                </a:cubicBezTo>
                <a:cubicBezTo>
                  <a:pt x="542" y="192"/>
                  <a:pt x="542" y="192"/>
                  <a:pt x="542" y="192"/>
                </a:cubicBezTo>
                <a:cubicBezTo>
                  <a:pt x="542" y="192"/>
                  <a:pt x="542" y="192"/>
                  <a:pt x="542" y="192"/>
                </a:cubicBezTo>
                <a:cubicBezTo>
                  <a:pt x="542" y="148"/>
                  <a:pt x="542" y="148"/>
                  <a:pt x="542" y="148"/>
                </a:cubicBezTo>
                <a:cubicBezTo>
                  <a:pt x="540" y="147"/>
                  <a:pt x="538" y="146"/>
                  <a:pt x="537" y="145"/>
                </a:cubicBezTo>
                <a:cubicBezTo>
                  <a:pt x="539" y="146"/>
                  <a:pt x="541" y="146"/>
                  <a:pt x="542" y="147"/>
                </a:cubicBezTo>
                <a:cubicBezTo>
                  <a:pt x="542" y="144"/>
                  <a:pt x="542" y="144"/>
                  <a:pt x="542" y="144"/>
                </a:cubicBezTo>
                <a:cubicBezTo>
                  <a:pt x="542" y="144"/>
                  <a:pt x="542" y="144"/>
                  <a:pt x="542" y="144"/>
                </a:cubicBezTo>
                <a:cubicBezTo>
                  <a:pt x="542" y="144"/>
                  <a:pt x="542" y="144"/>
                  <a:pt x="542" y="144"/>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14" name="Text Placeholder 13"/>
          <p:cNvSpPr>
            <a:spLocks noGrp="1"/>
          </p:cNvSpPr>
          <p:nvPr>
            <p:ph type="body" sz="quarter" idx="14" hasCustomPrompt="1"/>
          </p:nvPr>
        </p:nvSpPr>
        <p:spPr>
          <a:xfrm>
            <a:off x="1857375" y="1014880"/>
            <a:ext cx="8380505" cy="400110"/>
          </a:xfrm>
        </p:spPr>
        <p:txBody>
          <a:bodyPr>
            <a:spAutoFit/>
          </a:bodyPr>
          <a:lstStyle>
            <a:lvl1pPr marL="0" marR="0" indent="0" algn="ctr" defTabSz="914400" rtl="0" eaLnBrk="1" fontAlgn="auto" latinLnBrk="0" hangingPunct="1">
              <a:lnSpc>
                <a:spcPct val="100000"/>
              </a:lnSpc>
              <a:spcBef>
                <a:spcPts val="0"/>
              </a:spcBef>
              <a:spcAft>
                <a:spcPts val="0"/>
              </a:spcAft>
              <a:buClrTx/>
              <a:buSzTx/>
              <a:buFontTx/>
              <a:buNone/>
              <a:tabLst/>
              <a:defRPr kumimoji="0" lang="en-US" sz="1000" b="0" i="0" u="none" strike="noStrike" kern="1200" cap="none" spc="0" normalizeH="0" baseline="0">
                <a:ln>
                  <a:noFill/>
                </a:ln>
                <a:solidFill>
                  <a:schemeClr val="tx1"/>
                </a:solidFill>
                <a:effectLst/>
                <a:uLnTx/>
                <a:uFillTx/>
                <a:latin typeface="+mn-lt"/>
                <a:ea typeface="+mn-ea"/>
                <a:cs typeface="+mn-cs"/>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dirty="0"/>
              <a:t>Lorem </a:t>
            </a:r>
            <a:r>
              <a:rPr lang="en-US" dirty="0" err="1"/>
              <a:t>Ipsum</a:t>
            </a:r>
            <a:r>
              <a:rPr lang="en-US" dirty="0"/>
              <a:t> is simply dummy text of the printing and typesetting industry. Lorem </a:t>
            </a:r>
            <a:r>
              <a:rPr lang="en-US" dirty="0" err="1"/>
              <a:t>Ipsum</a:t>
            </a:r>
            <a:r>
              <a:rPr lang="en-US" dirty="0"/>
              <a:t> has been the industry's standard dummy text ever since the 1500s, when an unknown printer took a galley of type and scrambled it to make a type specimen book. </a:t>
            </a:r>
          </a:p>
        </p:txBody>
      </p:sp>
      <p:sp>
        <p:nvSpPr>
          <p:cNvPr id="12" name="Text Placeholder 11"/>
          <p:cNvSpPr>
            <a:spLocks noGrp="1"/>
          </p:cNvSpPr>
          <p:nvPr>
            <p:ph type="body" sz="quarter" idx="13" hasCustomPrompt="1"/>
          </p:nvPr>
        </p:nvSpPr>
        <p:spPr>
          <a:xfrm>
            <a:off x="2794000" y="360971"/>
            <a:ext cx="6604000" cy="535531"/>
          </a:xfrm>
        </p:spPr>
        <p:txBody>
          <a:bodyPr wrap="square" anchor="t">
            <a:spAutoFit/>
          </a:bodyPr>
          <a:lstStyle>
            <a:lvl1pPr marL="0" indent="0" algn="ctr">
              <a:buNone/>
              <a:defRPr sz="3200" normalizeH="0" baseline="0">
                <a:solidFill>
                  <a:schemeClr val="tx1"/>
                </a:solidFill>
                <a:latin typeface="+mj-lt"/>
              </a:defRPr>
            </a:lvl1pPr>
            <a:lvl2pPr>
              <a:defRPr>
                <a:solidFill>
                  <a:schemeClr val="tx1"/>
                </a:solidFill>
                <a:latin typeface="+mj-lt"/>
              </a:defRPr>
            </a:lvl2pPr>
            <a:lvl3pPr>
              <a:defRPr>
                <a:solidFill>
                  <a:schemeClr val="tx1"/>
                </a:solidFill>
                <a:latin typeface="+mj-lt"/>
              </a:defRPr>
            </a:lvl3pPr>
            <a:lvl4pPr>
              <a:defRPr>
                <a:solidFill>
                  <a:schemeClr val="tx1"/>
                </a:solidFill>
                <a:latin typeface="+mj-lt"/>
              </a:defRPr>
            </a:lvl4pPr>
            <a:lvl5pPr>
              <a:defRPr>
                <a:solidFill>
                  <a:schemeClr val="tx1"/>
                </a:solidFill>
                <a:latin typeface="+mj-lt"/>
              </a:defRPr>
            </a:lvl5pPr>
          </a:lstStyle>
          <a:p>
            <a:pPr lvl="0"/>
            <a:r>
              <a:rPr lang="en-US" dirty="0"/>
              <a:t>- Click to edit Master text styles -</a:t>
            </a:r>
          </a:p>
        </p:txBody>
      </p:sp>
      <p:sp>
        <p:nvSpPr>
          <p:cNvPr id="2" name="Date Placeholder 1"/>
          <p:cNvSpPr>
            <a:spLocks noGrp="1"/>
          </p:cNvSpPr>
          <p:nvPr>
            <p:ph type="dt" sz="half" idx="10"/>
          </p:nvPr>
        </p:nvSpPr>
        <p:spPr/>
        <p:txBody>
          <a:bodyPr/>
          <a:lstStyle>
            <a:lvl1pPr>
              <a:defRPr>
                <a:solidFill>
                  <a:schemeClr val="tx1"/>
                </a:solidFill>
              </a:defRPr>
            </a:lvl1pPr>
          </a:lstStyle>
          <a:p>
            <a:fld id="{C9852138-FCC6-44DD-9FFC-1C789392E7AA}" type="datetime1">
              <a:rPr lang="en-US" smtClean="0"/>
              <a:t>10/28/2022</a:t>
            </a:fld>
            <a:endParaRPr lang="en-US"/>
          </a:p>
        </p:txBody>
      </p:sp>
      <p:sp>
        <p:nvSpPr>
          <p:cNvPr id="4" name="Slide Number Placeholder 3"/>
          <p:cNvSpPr>
            <a:spLocks noGrp="1"/>
          </p:cNvSpPr>
          <p:nvPr>
            <p:ph type="sldNum" sz="quarter" idx="12"/>
          </p:nvPr>
        </p:nvSpPr>
        <p:spPr/>
        <p:txBody>
          <a:bodyPr/>
          <a:lstStyle>
            <a:lvl1pPr>
              <a:defRPr>
                <a:solidFill>
                  <a:schemeClr val="tx1"/>
                </a:solidFill>
              </a:defRPr>
            </a:lvl1pPr>
          </a:lstStyle>
          <a:p>
            <a:fld id="{03206E70-9524-410D-AE9B-78D656EAA14D}" type="slidenum">
              <a:rPr lang="en-US" smtClean="0"/>
              <a:pPr/>
              <a:t>‹#›</a:t>
            </a:fld>
            <a:endParaRPr lang="en-US"/>
          </a:p>
        </p:txBody>
      </p:sp>
      <p:sp>
        <p:nvSpPr>
          <p:cNvPr id="8" name="Rectangle 7"/>
          <p:cNvSpPr/>
          <p:nvPr userDrawn="1"/>
        </p:nvSpPr>
        <p:spPr>
          <a:xfrm>
            <a:off x="10237880" y="0"/>
            <a:ext cx="571500" cy="55562"/>
          </a:xfrm>
          <a:prstGeom prst="rect">
            <a:avLst/>
          </a:prstGeom>
          <a:solidFill>
            <a:srgbClr val="E258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userDrawn="1"/>
        </p:nvSpPr>
        <p:spPr>
          <a:xfrm>
            <a:off x="10880817" y="0"/>
            <a:ext cx="571500" cy="55562"/>
          </a:xfrm>
          <a:prstGeom prst="rect">
            <a:avLst/>
          </a:prstGeom>
          <a:solidFill>
            <a:srgbClr val="78D2D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userDrawn="1"/>
        </p:nvSpPr>
        <p:spPr>
          <a:xfrm>
            <a:off x="11523754" y="0"/>
            <a:ext cx="571500" cy="55562"/>
          </a:xfrm>
          <a:prstGeom prst="rect">
            <a:avLst/>
          </a:prstGeom>
          <a:solidFill>
            <a:srgbClr val="3B393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86403830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435DA5C-4DDA-4D18-8CC3-193AF6E6BD68}"/>
              </a:ext>
            </a:extLst>
          </p:cNvPr>
          <p:cNvSpPr>
            <a:spLocks noGrp="1"/>
          </p:cNvSpPr>
          <p:nvPr>
            <p:ph type="title"/>
          </p:nvPr>
        </p:nvSpPr>
        <p:spPr>
          <a:xfrm>
            <a:off x="831851" y="1709740"/>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412F7A66-368B-4EAA-99C9-AF7C0F89D403}"/>
              </a:ext>
            </a:extLst>
          </p:cNvPr>
          <p:cNvSpPr>
            <a:spLocks noGrp="1"/>
          </p:cNvSpPr>
          <p:nvPr>
            <p:ph type="body" idx="1"/>
          </p:nvPr>
        </p:nvSpPr>
        <p:spPr>
          <a:xfrm>
            <a:off x="831851" y="4589464"/>
            <a:ext cx="10515600" cy="1500187"/>
          </a:xfrm>
        </p:spPr>
        <p:txBody>
          <a:bodyPr/>
          <a:lstStyle>
            <a:lvl1pPr marL="0" indent="0">
              <a:buNone/>
              <a:defRPr sz="2400">
                <a:solidFill>
                  <a:schemeClr val="tx1">
                    <a:tint val="75000"/>
                  </a:schemeClr>
                </a:solidFill>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29658303-CD9A-4259-83F6-5969EBC21D64}"/>
              </a:ext>
            </a:extLst>
          </p:cNvPr>
          <p:cNvSpPr>
            <a:spLocks noGrp="1"/>
          </p:cNvSpPr>
          <p:nvPr>
            <p:ph type="dt" sz="half" idx="10"/>
          </p:nvPr>
        </p:nvSpPr>
        <p:spPr/>
        <p:txBody>
          <a:bodyPr/>
          <a:lstStyle/>
          <a:p>
            <a:fld id="{9F9E6A59-C2D5-4D4A-8562-8BA3560A0371}" type="datetimeFigureOut">
              <a:rPr lang="en-US" smtClean="0"/>
              <a:t>10/28/2022</a:t>
            </a:fld>
            <a:endParaRPr lang="en-US"/>
          </a:p>
        </p:txBody>
      </p:sp>
      <p:sp>
        <p:nvSpPr>
          <p:cNvPr id="5" name="Footer Placeholder 4">
            <a:extLst>
              <a:ext uri="{FF2B5EF4-FFF2-40B4-BE49-F238E27FC236}">
                <a16:creationId xmlns:a16="http://schemas.microsoft.com/office/drawing/2014/main" id="{7EA013A0-4CDC-4784-8F07-041C83BCEBD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A8D958F-6789-40AB-9237-012F76D44C70}"/>
              </a:ext>
            </a:extLst>
          </p:cNvPr>
          <p:cNvSpPr>
            <a:spLocks noGrp="1"/>
          </p:cNvSpPr>
          <p:nvPr>
            <p:ph type="sldNum" sz="quarter" idx="12"/>
          </p:nvPr>
        </p:nvSpPr>
        <p:spPr/>
        <p:txBody>
          <a:bodyPr/>
          <a:lstStyle/>
          <a:p>
            <a:fld id="{380A717A-B595-4236-B1A6-555AD250C289}" type="slidenum">
              <a:rPr lang="en-US" smtClean="0"/>
              <a:t>‹#›</a:t>
            </a:fld>
            <a:endParaRPr lang="en-US"/>
          </a:p>
        </p:txBody>
      </p:sp>
    </p:spTree>
    <p:extLst>
      <p:ext uri="{BB962C8B-B14F-4D97-AF65-F5344CB8AC3E}">
        <p14:creationId xmlns:p14="http://schemas.microsoft.com/office/powerpoint/2010/main" val="251860236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194168F-1A94-41BF-83F0-C84ED1104A42}"/>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E6D28A86-2AA9-4087-AF26-DF2F2D03318F}"/>
              </a:ext>
            </a:extLst>
          </p:cNvPr>
          <p:cNvSpPr>
            <a:spLocks noGrp="1"/>
          </p:cNvSpPr>
          <p:nvPr>
            <p:ph sz="half" idx="1"/>
          </p:nvPr>
        </p:nvSpPr>
        <p:spPr>
          <a:xfrm>
            <a:off x="838200" y="1825625"/>
            <a:ext cx="5181600" cy="43513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8069240C-28CC-470B-9C2D-AB74DB179011}"/>
              </a:ext>
            </a:extLst>
          </p:cNvPr>
          <p:cNvSpPr>
            <a:spLocks noGrp="1"/>
          </p:cNvSpPr>
          <p:nvPr>
            <p:ph sz="half" idx="2"/>
          </p:nvPr>
        </p:nvSpPr>
        <p:spPr>
          <a:xfrm>
            <a:off x="6172200" y="1825625"/>
            <a:ext cx="5181600" cy="43513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0286BFF6-1113-4541-B6C0-00B341F11F07}"/>
              </a:ext>
            </a:extLst>
          </p:cNvPr>
          <p:cNvSpPr>
            <a:spLocks noGrp="1"/>
          </p:cNvSpPr>
          <p:nvPr>
            <p:ph type="dt" sz="half" idx="10"/>
          </p:nvPr>
        </p:nvSpPr>
        <p:spPr/>
        <p:txBody>
          <a:bodyPr/>
          <a:lstStyle/>
          <a:p>
            <a:fld id="{9F9E6A59-C2D5-4D4A-8562-8BA3560A0371}" type="datetimeFigureOut">
              <a:rPr lang="en-US" smtClean="0"/>
              <a:t>10/28/2022</a:t>
            </a:fld>
            <a:endParaRPr lang="en-US"/>
          </a:p>
        </p:txBody>
      </p:sp>
      <p:sp>
        <p:nvSpPr>
          <p:cNvPr id="6" name="Footer Placeholder 5">
            <a:extLst>
              <a:ext uri="{FF2B5EF4-FFF2-40B4-BE49-F238E27FC236}">
                <a16:creationId xmlns:a16="http://schemas.microsoft.com/office/drawing/2014/main" id="{0FB49917-C36B-4BFD-9E52-F6833DCF9032}"/>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225BA43C-CAAE-4B59-9646-3DC5904029E6}"/>
              </a:ext>
            </a:extLst>
          </p:cNvPr>
          <p:cNvSpPr>
            <a:spLocks noGrp="1"/>
          </p:cNvSpPr>
          <p:nvPr>
            <p:ph type="sldNum" sz="quarter" idx="12"/>
          </p:nvPr>
        </p:nvSpPr>
        <p:spPr/>
        <p:txBody>
          <a:bodyPr/>
          <a:lstStyle/>
          <a:p>
            <a:fld id="{380A717A-B595-4236-B1A6-555AD250C289}" type="slidenum">
              <a:rPr lang="en-US" smtClean="0"/>
              <a:t>‹#›</a:t>
            </a:fld>
            <a:endParaRPr lang="en-US"/>
          </a:p>
        </p:txBody>
      </p:sp>
    </p:spTree>
    <p:extLst>
      <p:ext uri="{BB962C8B-B14F-4D97-AF65-F5344CB8AC3E}">
        <p14:creationId xmlns:p14="http://schemas.microsoft.com/office/powerpoint/2010/main" val="113429632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70C02E-8837-4694-9AEA-CF0413F287CD}"/>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E2221D08-14C7-45E4-8CDB-76B609BAB02F}"/>
              </a:ext>
            </a:extLst>
          </p:cNvPr>
          <p:cNvSpPr>
            <a:spLocks noGrp="1"/>
          </p:cNvSpPr>
          <p:nvPr>
            <p:ph type="body" idx="1"/>
          </p:nvPr>
        </p:nvSpPr>
        <p:spPr>
          <a:xfrm>
            <a:off x="839789" y="1681163"/>
            <a:ext cx="5157787" cy="823912"/>
          </a:xfrm>
        </p:spPr>
        <p:txBody>
          <a:bodyPr anchor="b"/>
          <a:lstStyle>
            <a:lvl1pPr marL="0" indent="0">
              <a:buNone/>
              <a:defRPr sz="2400" b="1"/>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D69A41DA-8798-4D53-A518-FF3F403FA615}"/>
              </a:ext>
            </a:extLst>
          </p:cNvPr>
          <p:cNvSpPr>
            <a:spLocks noGrp="1"/>
          </p:cNvSpPr>
          <p:nvPr>
            <p:ph sz="half" idx="2"/>
          </p:nvPr>
        </p:nvSpPr>
        <p:spPr>
          <a:xfrm>
            <a:off x="839789"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76E1E2AB-A9E2-419E-8A21-4E7F5BE56344}"/>
              </a:ext>
            </a:extLst>
          </p:cNvPr>
          <p:cNvSpPr>
            <a:spLocks noGrp="1"/>
          </p:cNvSpPr>
          <p:nvPr>
            <p:ph type="body" sz="quarter" idx="3"/>
          </p:nvPr>
        </p:nvSpPr>
        <p:spPr>
          <a:xfrm>
            <a:off x="6172201" y="1681163"/>
            <a:ext cx="5183188" cy="823912"/>
          </a:xfrm>
        </p:spPr>
        <p:txBody>
          <a:bodyPr anchor="b"/>
          <a:lstStyle>
            <a:lvl1pPr marL="0" indent="0">
              <a:buNone/>
              <a:defRPr sz="2400" b="1"/>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79036862-8C3E-43BB-9A00-74325525F50F}"/>
              </a:ext>
            </a:extLst>
          </p:cNvPr>
          <p:cNvSpPr>
            <a:spLocks noGrp="1"/>
          </p:cNvSpPr>
          <p:nvPr>
            <p:ph sz="quarter" idx="4"/>
          </p:nvPr>
        </p:nvSpPr>
        <p:spPr>
          <a:xfrm>
            <a:off x="6172201"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65F04CB3-0EC7-4CCF-BF9F-34052E76AA06}"/>
              </a:ext>
            </a:extLst>
          </p:cNvPr>
          <p:cNvSpPr>
            <a:spLocks noGrp="1"/>
          </p:cNvSpPr>
          <p:nvPr>
            <p:ph type="dt" sz="half" idx="10"/>
          </p:nvPr>
        </p:nvSpPr>
        <p:spPr/>
        <p:txBody>
          <a:bodyPr/>
          <a:lstStyle/>
          <a:p>
            <a:fld id="{9F9E6A59-C2D5-4D4A-8562-8BA3560A0371}" type="datetimeFigureOut">
              <a:rPr lang="en-US" smtClean="0"/>
              <a:t>10/28/2022</a:t>
            </a:fld>
            <a:endParaRPr lang="en-US"/>
          </a:p>
        </p:txBody>
      </p:sp>
      <p:sp>
        <p:nvSpPr>
          <p:cNvPr id="8" name="Footer Placeholder 7">
            <a:extLst>
              <a:ext uri="{FF2B5EF4-FFF2-40B4-BE49-F238E27FC236}">
                <a16:creationId xmlns:a16="http://schemas.microsoft.com/office/drawing/2014/main" id="{60970D1F-772D-4F13-8296-93E03DFA549B}"/>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A862D81D-2F2B-4F8E-A52E-59BF9549C3F0}"/>
              </a:ext>
            </a:extLst>
          </p:cNvPr>
          <p:cNvSpPr>
            <a:spLocks noGrp="1"/>
          </p:cNvSpPr>
          <p:nvPr>
            <p:ph type="sldNum" sz="quarter" idx="12"/>
          </p:nvPr>
        </p:nvSpPr>
        <p:spPr/>
        <p:txBody>
          <a:bodyPr/>
          <a:lstStyle/>
          <a:p>
            <a:fld id="{380A717A-B595-4236-B1A6-555AD250C289}" type="slidenum">
              <a:rPr lang="en-US" smtClean="0"/>
              <a:t>‹#›</a:t>
            </a:fld>
            <a:endParaRPr lang="en-US"/>
          </a:p>
        </p:txBody>
      </p:sp>
    </p:spTree>
    <p:extLst>
      <p:ext uri="{BB962C8B-B14F-4D97-AF65-F5344CB8AC3E}">
        <p14:creationId xmlns:p14="http://schemas.microsoft.com/office/powerpoint/2010/main" val="300720265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CF6602A-9B69-41D5-B984-F9D95488E78A}"/>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BD852687-7282-40BB-9196-03250BD28DA7}"/>
              </a:ext>
            </a:extLst>
          </p:cNvPr>
          <p:cNvSpPr>
            <a:spLocks noGrp="1"/>
          </p:cNvSpPr>
          <p:nvPr>
            <p:ph type="dt" sz="half" idx="10"/>
          </p:nvPr>
        </p:nvSpPr>
        <p:spPr/>
        <p:txBody>
          <a:bodyPr/>
          <a:lstStyle/>
          <a:p>
            <a:fld id="{9F9E6A59-C2D5-4D4A-8562-8BA3560A0371}" type="datetimeFigureOut">
              <a:rPr lang="en-US" smtClean="0"/>
              <a:t>10/28/2022</a:t>
            </a:fld>
            <a:endParaRPr lang="en-US"/>
          </a:p>
        </p:txBody>
      </p:sp>
      <p:sp>
        <p:nvSpPr>
          <p:cNvPr id="4" name="Footer Placeholder 3">
            <a:extLst>
              <a:ext uri="{FF2B5EF4-FFF2-40B4-BE49-F238E27FC236}">
                <a16:creationId xmlns:a16="http://schemas.microsoft.com/office/drawing/2014/main" id="{47219D82-849D-41DB-8B3D-ECF7E09EB3B5}"/>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A61E912C-B3B1-435F-BFD2-815BD1A8777B}"/>
              </a:ext>
            </a:extLst>
          </p:cNvPr>
          <p:cNvSpPr>
            <a:spLocks noGrp="1"/>
          </p:cNvSpPr>
          <p:nvPr>
            <p:ph type="sldNum" sz="quarter" idx="12"/>
          </p:nvPr>
        </p:nvSpPr>
        <p:spPr/>
        <p:txBody>
          <a:bodyPr/>
          <a:lstStyle/>
          <a:p>
            <a:fld id="{380A717A-B595-4236-B1A6-555AD250C289}" type="slidenum">
              <a:rPr lang="en-US" smtClean="0"/>
              <a:t>‹#›</a:t>
            </a:fld>
            <a:endParaRPr lang="en-US"/>
          </a:p>
        </p:txBody>
      </p:sp>
    </p:spTree>
    <p:extLst>
      <p:ext uri="{BB962C8B-B14F-4D97-AF65-F5344CB8AC3E}">
        <p14:creationId xmlns:p14="http://schemas.microsoft.com/office/powerpoint/2010/main" val="214112688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11C5198D-AC8B-4D2D-B960-FD2DB6F6C5DB}"/>
              </a:ext>
            </a:extLst>
          </p:cNvPr>
          <p:cNvSpPr>
            <a:spLocks noGrp="1"/>
          </p:cNvSpPr>
          <p:nvPr>
            <p:ph type="dt" sz="half" idx="10"/>
          </p:nvPr>
        </p:nvSpPr>
        <p:spPr/>
        <p:txBody>
          <a:bodyPr/>
          <a:lstStyle/>
          <a:p>
            <a:fld id="{9F9E6A59-C2D5-4D4A-8562-8BA3560A0371}" type="datetimeFigureOut">
              <a:rPr lang="en-US" smtClean="0"/>
              <a:t>10/28/2022</a:t>
            </a:fld>
            <a:endParaRPr lang="en-US"/>
          </a:p>
        </p:txBody>
      </p:sp>
      <p:sp>
        <p:nvSpPr>
          <p:cNvPr id="3" name="Footer Placeholder 2">
            <a:extLst>
              <a:ext uri="{FF2B5EF4-FFF2-40B4-BE49-F238E27FC236}">
                <a16:creationId xmlns:a16="http://schemas.microsoft.com/office/drawing/2014/main" id="{EE3D3E08-6504-43F3-AEFE-B1B769993F3B}"/>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1A792345-C2F2-48CD-AAE6-747B1B1EBABF}"/>
              </a:ext>
            </a:extLst>
          </p:cNvPr>
          <p:cNvSpPr>
            <a:spLocks noGrp="1"/>
          </p:cNvSpPr>
          <p:nvPr>
            <p:ph type="sldNum" sz="quarter" idx="12"/>
          </p:nvPr>
        </p:nvSpPr>
        <p:spPr/>
        <p:txBody>
          <a:bodyPr/>
          <a:lstStyle/>
          <a:p>
            <a:fld id="{380A717A-B595-4236-B1A6-555AD250C289}" type="slidenum">
              <a:rPr lang="en-US" smtClean="0"/>
              <a:t>‹#›</a:t>
            </a:fld>
            <a:endParaRPr lang="en-US"/>
          </a:p>
        </p:txBody>
      </p:sp>
    </p:spTree>
    <p:extLst>
      <p:ext uri="{BB962C8B-B14F-4D97-AF65-F5344CB8AC3E}">
        <p14:creationId xmlns:p14="http://schemas.microsoft.com/office/powerpoint/2010/main" val="403660010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AB97C39-9246-41AF-97E1-27CCCAEAAE32}"/>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1A39D3F6-6B4E-47A1-AA5D-D84D3BAD6009}"/>
              </a:ext>
            </a:extLst>
          </p:cNvPr>
          <p:cNvSpPr>
            <a:spLocks noGrp="1"/>
          </p:cNvSpPr>
          <p:nvPr>
            <p:ph idx="1"/>
          </p:nvPr>
        </p:nvSpPr>
        <p:spPr>
          <a:xfrm>
            <a:off x="5183188" y="987426"/>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903C2E8A-C039-4D3C-BB7D-FEA02B251D52}"/>
              </a:ext>
            </a:extLst>
          </p:cNvPr>
          <p:cNvSpPr>
            <a:spLocks noGrp="1"/>
          </p:cNvSpPr>
          <p:nvPr>
            <p:ph type="body" sz="half" idx="2"/>
          </p:nvPr>
        </p:nvSpPr>
        <p:spPr>
          <a:xfrm>
            <a:off x="839788" y="2057401"/>
            <a:ext cx="3932237" cy="3811588"/>
          </a:xfrm>
        </p:spPr>
        <p:txBody>
          <a:bodyPr/>
          <a:lstStyle>
            <a:lvl1pPr marL="0" indent="0">
              <a:buNone/>
              <a:defRPr sz="1600"/>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2FEFB599-FA20-4ED7-BEB9-24924837C046}"/>
              </a:ext>
            </a:extLst>
          </p:cNvPr>
          <p:cNvSpPr>
            <a:spLocks noGrp="1"/>
          </p:cNvSpPr>
          <p:nvPr>
            <p:ph type="dt" sz="half" idx="10"/>
          </p:nvPr>
        </p:nvSpPr>
        <p:spPr/>
        <p:txBody>
          <a:bodyPr/>
          <a:lstStyle/>
          <a:p>
            <a:fld id="{9F9E6A59-C2D5-4D4A-8562-8BA3560A0371}" type="datetimeFigureOut">
              <a:rPr lang="en-US" smtClean="0"/>
              <a:t>10/28/2022</a:t>
            </a:fld>
            <a:endParaRPr lang="en-US"/>
          </a:p>
        </p:txBody>
      </p:sp>
      <p:sp>
        <p:nvSpPr>
          <p:cNvPr id="6" name="Footer Placeholder 5">
            <a:extLst>
              <a:ext uri="{FF2B5EF4-FFF2-40B4-BE49-F238E27FC236}">
                <a16:creationId xmlns:a16="http://schemas.microsoft.com/office/drawing/2014/main" id="{2956C5F1-4F36-4C22-AC95-D2A623028533}"/>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F15294E4-AEDB-4B2B-AFB6-4A59209E768A}"/>
              </a:ext>
            </a:extLst>
          </p:cNvPr>
          <p:cNvSpPr>
            <a:spLocks noGrp="1"/>
          </p:cNvSpPr>
          <p:nvPr>
            <p:ph type="sldNum" sz="quarter" idx="12"/>
          </p:nvPr>
        </p:nvSpPr>
        <p:spPr/>
        <p:txBody>
          <a:bodyPr/>
          <a:lstStyle/>
          <a:p>
            <a:fld id="{380A717A-B595-4236-B1A6-555AD250C289}" type="slidenum">
              <a:rPr lang="en-US" smtClean="0"/>
              <a:t>‹#›</a:t>
            </a:fld>
            <a:endParaRPr lang="en-US"/>
          </a:p>
        </p:txBody>
      </p:sp>
    </p:spTree>
    <p:extLst>
      <p:ext uri="{BB962C8B-B14F-4D97-AF65-F5344CB8AC3E}">
        <p14:creationId xmlns:p14="http://schemas.microsoft.com/office/powerpoint/2010/main" val="294553829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6F546C-8ADF-4F6D-9FC5-E7D7FFDE84D6}"/>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E1B0CBE1-5D1E-4FB3-8FD0-F62C59D94C74}"/>
              </a:ext>
            </a:extLst>
          </p:cNvPr>
          <p:cNvSpPr>
            <a:spLocks noGrp="1"/>
          </p:cNvSpPr>
          <p:nvPr>
            <p:ph type="pic" idx="1"/>
          </p:nvPr>
        </p:nvSpPr>
        <p:spPr>
          <a:xfrm>
            <a:off x="5183188" y="987426"/>
            <a:ext cx="6172200" cy="4873625"/>
          </a:xfrm>
        </p:spPr>
        <p:txBody>
          <a:bodyPr/>
          <a:lstStyle>
            <a:lvl1pPr marL="0" indent="0">
              <a:buNone/>
              <a:defRPr sz="3200"/>
            </a:lvl1pPr>
            <a:lvl2pPr marL="457189" indent="0">
              <a:buNone/>
              <a:defRPr sz="2800"/>
            </a:lvl2pPr>
            <a:lvl3pPr marL="914377" indent="0">
              <a:buNone/>
              <a:defRPr sz="2400"/>
            </a:lvl3pPr>
            <a:lvl4pPr marL="1371566" indent="0">
              <a:buNone/>
              <a:defRPr sz="2000"/>
            </a:lvl4pPr>
            <a:lvl5pPr marL="1828754" indent="0">
              <a:buNone/>
              <a:defRPr sz="2000"/>
            </a:lvl5pPr>
            <a:lvl6pPr marL="2285943" indent="0">
              <a:buNone/>
              <a:defRPr sz="2000"/>
            </a:lvl6pPr>
            <a:lvl7pPr marL="2743131" indent="0">
              <a:buNone/>
              <a:defRPr sz="2000"/>
            </a:lvl7pPr>
            <a:lvl8pPr marL="3200320" indent="0">
              <a:buNone/>
              <a:defRPr sz="2000"/>
            </a:lvl8pPr>
            <a:lvl9pPr marL="3657509" indent="0">
              <a:buNone/>
              <a:defRPr sz="2000"/>
            </a:lvl9pPr>
          </a:lstStyle>
          <a:p>
            <a:endParaRPr lang="en-US"/>
          </a:p>
        </p:txBody>
      </p:sp>
      <p:sp>
        <p:nvSpPr>
          <p:cNvPr id="4" name="Text Placeholder 3">
            <a:extLst>
              <a:ext uri="{FF2B5EF4-FFF2-40B4-BE49-F238E27FC236}">
                <a16:creationId xmlns:a16="http://schemas.microsoft.com/office/drawing/2014/main" id="{EDDC6B75-8140-42E0-8D0E-443AE63B77E1}"/>
              </a:ext>
            </a:extLst>
          </p:cNvPr>
          <p:cNvSpPr>
            <a:spLocks noGrp="1"/>
          </p:cNvSpPr>
          <p:nvPr>
            <p:ph type="body" sz="half" idx="2"/>
          </p:nvPr>
        </p:nvSpPr>
        <p:spPr>
          <a:xfrm>
            <a:off x="839788" y="2057401"/>
            <a:ext cx="3932237" cy="3811588"/>
          </a:xfrm>
        </p:spPr>
        <p:txBody>
          <a:bodyPr/>
          <a:lstStyle>
            <a:lvl1pPr marL="0" indent="0">
              <a:buNone/>
              <a:defRPr sz="1600"/>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ED308C16-BBF3-4538-8E6D-9A0948AC9F31}"/>
              </a:ext>
            </a:extLst>
          </p:cNvPr>
          <p:cNvSpPr>
            <a:spLocks noGrp="1"/>
          </p:cNvSpPr>
          <p:nvPr>
            <p:ph type="dt" sz="half" idx="10"/>
          </p:nvPr>
        </p:nvSpPr>
        <p:spPr/>
        <p:txBody>
          <a:bodyPr/>
          <a:lstStyle/>
          <a:p>
            <a:fld id="{9F9E6A59-C2D5-4D4A-8562-8BA3560A0371}" type="datetimeFigureOut">
              <a:rPr lang="en-US" smtClean="0"/>
              <a:t>10/28/2022</a:t>
            </a:fld>
            <a:endParaRPr lang="en-US"/>
          </a:p>
        </p:txBody>
      </p:sp>
      <p:sp>
        <p:nvSpPr>
          <p:cNvPr id="6" name="Footer Placeholder 5">
            <a:extLst>
              <a:ext uri="{FF2B5EF4-FFF2-40B4-BE49-F238E27FC236}">
                <a16:creationId xmlns:a16="http://schemas.microsoft.com/office/drawing/2014/main" id="{B46EA2B4-EF76-47D3-B32C-AF9011CD87B3}"/>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FB695627-5FC0-4A82-9C47-674D75F9B1A1}"/>
              </a:ext>
            </a:extLst>
          </p:cNvPr>
          <p:cNvSpPr>
            <a:spLocks noGrp="1"/>
          </p:cNvSpPr>
          <p:nvPr>
            <p:ph type="sldNum" sz="quarter" idx="12"/>
          </p:nvPr>
        </p:nvSpPr>
        <p:spPr/>
        <p:txBody>
          <a:bodyPr/>
          <a:lstStyle/>
          <a:p>
            <a:fld id="{380A717A-B595-4236-B1A6-555AD250C289}" type="slidenum">
              <a:rPr lang="en-US" smtClean="0"/>
              <a:t>‹#›</a:t>
            </a:fld>
            <a:endParaRPr lang="en-US"/>
          </a:p>
        </p:txBody>
      </p:sp>
    </p:spTree>
    <p:extLst>
      <p:ext uri="{BB962C8B-B14F-4D97-AF65-F5344CB8AC3E}">
        <p14:creationId xmlns:p14="http://schemas.microsoft.com/office/powerpoint/2010/main" val="79959469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24DC89F-7719-456D-954F-E637A33A5B56}"/>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7BED9A4C-17E0-496A-B611-ACB107B0B0A2}"/>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8D74746-3FE8-4107-8381-B1D4F4D2E7BA}"/>
              </a:ext>
            </a:extLst>
          </p:cNvPr>
          <p:cNvSpPr>
            <a:spLocks noGrp="1"/>
          </p:cNvSpPr>
          <p:nvPr>
            <p:ph type="dt" sz="half" idx="10"/>
          </p:nvPr>
        </p:nvSpPr>
        <p:spPr/>
        <p:txBody>
          <a:bodyPr/>
          <a:lstStyle/>
          <a:p>
            <a:fld id="{9F9E6A59-C2D5-4D4A-8562-8BA3560A0371}" type="datetimeFigureOut">
              <a:rPr lang="en-US" smtClean="0"/>
              <a:t>10/28/2022</a:t>
            </a:fld>
            <a:endParaRPr lang="en-US"/>
          </a:p>
        </p:txBody>
      </p:sp>
      <p:sp>
        <p:nvSpPr>
          <p:cNvPr id="5" name="Footer Placeholder 4">
            <a:extLst>
              <a:ext uri="{FF2B5EF4-FFF2-40B4-BE49-F238E27FC236}">
                <a16:creationId xmlns:a16="http://schemas.microsoft.com/office/drawing/2014/main" id="{CFB3E8E2-99F6-4A06-B8CB-E60E8CDB4C3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215E891-13CC-485A-BC14-920C41916DA5}"/>
              </a:ext>
            </a:extLst>
          </p:cNvPr>
          <p:cNvSpPr>
            <a:spLocks noGrp="1"/>
          </p:cNvSpPr>
          <p:nvPr>
            <p:ph type="sldNum" sz="quarter" idx="12"/>
          </p:nvPr>
        </p:nvSpPr>
        <p:spPr/>
        <p:txBody>
          <a:bodyPr/>
          <a:lstStyle/>
          <a:p>
            <a:fld id="{380A717A-B595-4236-B1A6-555AD250C289}" type="slidenum">
              <a:rPr lang="en-US" smtClean="0"/>
              <a:t>‹#›</a:t>
            </a:fld>
            <a:endParaRPr lang="en-US"/>
          </a:p>
        </p:txBody>
      </p:sp>
    </p:spTree>
    <p:extLst>
      <p:ext uri="{BB962C8B-B14F-4D97-AF65-F5344CB8AC3E}">
        <p14:creationId xmlns:p14="http://schemas.microsoft.com/office/powerpoint/2010/main" val="202627376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49C4CCE1-7840-483C-B57F-AA9C48C9A68B}"/>
              </a:ext>
            </a:extLst>
          </p:cNvPr>
          <p:cNvSpPr>
            <a:spLocks noGrp="1"/>
          </p:cNvSpPr>
          <p:nvPr>
            <p:ph type="title" orient="vert"/>
          </p:nvPr>
        </p:nvSpPr>
        <p:spPr>
          <a:xfrm>
            <a:off x="8724901" y="365126"/>
            <a:ext cx="2628900" cy="5811839"/>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D44FDDCD-CB23-456A-B2E1-D072425A8958}"/>
              </a:ext>
            </a:extLst>
          </p:cNvPr>
          <p:cNvSpPr>
            <a:spLocks noGrp="1"/>
          </p:cNvSpPr>
          <p:nvPr>
            <p:ph type="body" orient="vert" idx="1"/>
          </p:nvPr>
        </p:nvSpPr>
        <p:spPr>
          <a:xfrm>
            <a:off x="838201" y="365126"/>
            <a:ext cx="7734300" cy="5811839"/>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C99DC81-7831-4045-8CE2-CF537D9A01C3}"/>
              </a:ext>
            </a:extLst>
          </p:cNvPr>
          <p:cNvSpPr>
            <a:spLocks noGrp="1"/>
          </p:cNvSpPr>
          <p:nvPr>
            <p:ph type="dt" sz="half" idx="10"/>
          </p:nvPr>
        </p:nvSpPr>
        <p:spPr/>
        <p:txBody>
          <a:bodyPr/>
          <a:lstStyle/>
          <a:p>
            <a:fld id="{9F9E6A59-C2D5-4D4A-8562-8BA3560A0371}" type="datetimeFigureOut">
              <a:rPr lang="en-US" smtClean="0"/>
              <a:t>10/28/2022</a:t>
            </a:fld>
            <a:endParaRPr lang="en-US"/>
          </a:p>
        </p:txBody>
      </p:sp>
      <p:sp>
        <p:nvSpPr>
          <p:cNvPr id="5" name="Footer Placeholder 4">
            <a:extLst>
              <a:ext uri="{FF2B5EF4-FFF2-40B4-BE49-F238E27FC236}">
                <a16:creationId xmlns:a16="http://schemas.microsoft.com/office/drawing/2014/main" id="{F7D1E275-C67A-476C-BFF0-8DA797913C6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EF57A36-FBF4-4E74-9195-9E79660E85FB}"/>
              </a:ext>
            </a:extLst>
          </p:cNvPr>
          <p:cNvSpPr>
            <a:spLocks noGrp="1"/>
          </p:cNvSpPr>
          <p:nvPr>
            <p:ph type="sldNum" sz="quarter" idx="12"/>
          </p:nvPr>
        </p:nvSpPr>
        <p:spPr/>
        <p:txBody>
          <a:bodyPr/>
          <a:lstStyle/>
          <a:p>
            <a:fld id="{380A717A-B595-4236-B1A6-555AD250C289}" type="slidenum">
              <a:rPr lang="en-US" smtClean="0"/>
              <a:t>‹#›</a:t>
            </a:fld>
            <a:endParaRPr lang="en-US"/>
          </a:p>
        </p:txBody>
      </p:sp>
    </p:spTree>
    <p:extLst>
      <p:ext uri="{BB962C8B-B14F-4D97-AF65-F5344CB8AC3E}">
        <p14:creationId xmlns:p14="http://schemas.microsoft.com/office/powerpoint/2010/main" val="307561016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matchingName="Blank" type="blank">
  <p:cSld name="Blank">
    <p:spTree>
      <p:nvGrpSpPr>
        <p:cNvPr id="1" name="Shape 356"/>
        <p:cNvGrpSpPr/>
        <p:nvPr/>
      </p:nvGrpSpPr>
      <p:grpSpPr>
        <a:xfrm>
          <a:off x="0" y="0"/>
          <a:ext cx="0" cy="0"/>
          <a:chOff x="0" y="0"/>
          <a:chExt cx="0" cy="0"/>
        </a:xfrm>
      </p:grpSpPr>
      <p:sp>
        <p:nvSpPr>
          <p:cNvPr id="357" name="Google Shape;357;p62"/>
          <p:cNvSpPr txBox="1">
            <a:spLocks noGrp="1"/>
          </p:cNvSpPr>
          <p:nvPr>
            <p:ph type="dt" idx="10"/>
          </p:nvPr>
        </p:nvSpPr>
        <p:spPr>
          <a:xfrm>
            <a:off x="838200" y="6356351"/>
            <a:ext cx="2743200" cy="365125"/>
          </a:xfrm>
          <a:prstGeom prst="rect">
            <a:avLst/>
          </a:prstGeom>
          <a:noFill/>
          <a:ln>
            <a:noFill/>
          </a:ln>
        </p:spPr>
        <p:txBody>
          <a:bodyPr spcFirstLastPara="1" wrap="square" lIns="68575" tIns="34275" rIns="68575" bIns="34275" anchor="ctr" anchorCtr="0">
            <a:noAutofit/>
          </a:bodyPr>
          <a:lstStyle>
            <a:lvl1pPr lvl="0" algn="l">
              <a:spcBef>
                <a:spcPts val="0"/>
              </a:spcBef>
              <a:spcAft>
                <a:spcPts val="0"/>
              </a:spcAft>
              <a:buSzPts val="1100"/>
              <a:buNone/>
              <a:defRPr/>
            </a:lvl1pPr>
            <a:lvl2pPr lvl="1" algn="l">
              <a:spcBef>
                <a:spcPts val="0"/>
              </a:spcBef>
              <a:spcAft>
                <a:spcPts val="0"/>
              </a:spcAft>
              <a:buSzPts val="1100"/>
              <a:buNone/>
              <a:defRPr/>
            </a:lvl2pPr>
            <a:lvl3pPr lvl="2" algn="l">
              <a:spcBef>
                <a:spcPts val="0"/>
              </a:spcBef>
              <a:spcAft>
                <a:spcPts val="0"/>
              </a:spcAft>
              <a:buSzPts val="1100"/>
              <a:buNone/>
              <a:defRPr/>
            </a:lvl3pPr>
            <a:lvl4pPr lvl="3" algn="l">
              <a:spcBef>
                <a:spcPts val="0"/>
              </a:spcBef>
              <a:spcAft>
                <a:spcPts val="0"/>
              </a:spcAft>
              <a:buSzPts val="1100"/>
              <a:buNone/>
              <a:defRPr/>
            </a:lvl4pPr>
            <a:lvl5pPr lvl="4" algn="l">
              <a:spcBef>
                <a:spcPts val="0"/>
              </a:spcBef>
              <a:spcAft>
                <a:spcPts val="0"/>
              </a:spcAft>
              <a:buSzPts val="1100"/>
              <a:buNone/>
              <a:defRPr/>
            </a:lvl5pPr>
            <a:lvl6pPr lvl="5" algn="l">
              <a:spcBef>
                <a:spcPts val="0"/>
              </a:spcBef>
              <a:spcAft>
                <a:spcPts val="0"/>
              </a:spcAft>
              <a:buSzPts val="1100"/>
              <a:buNone/>
              <a:defRPr/>
            </a:lvl6pPr>
            <a:lvl7pPr lvl="6" algn="l">
              <a:spcBef>
                <a:spcPts val="0"/>
              </a:spcBef>
              <a:spcAft>
                <a:spcPts val="0"/>
              </a:spcAft>
              <a:buSzPts val="1100"/>
              <a:buNone/>
              <a:defRPr/>
            </a:lvl7pPr>
            <a:lvl8pPr lvl="7" algn="l">
              <a:spcBef>
                <a:spcPts val="0"/>
              </a:spcBef>
              <a:spcAft>
                <a:spcPts val="0"/>
              </a:spcAft>
              <a:buSzPts val="1100"/>
              <a:buNone/>
              <a:defRPr/>
            </a:lvl8pPr>
            <a:lvl9pPr lvl="8" algn="l">
              <a:spcBef>
                <a:spcPts val="0"/>
              </a:spcBef>
              <a:spcAft>
                <a:spcPts val="0"/>
              </a:spcAft>
              <a:buSzPts val="1100"/>
              <a:buNone/>
              <a:defRPr/>
            </a:lvl9pPr>
          </a:lstStyle>
          <a:p>
            <a:endParaRPr/>
          </a:p>
        </p:txBody>
      </p:sp>
      <p:sp>
        <p:nvSpPr>
          <p:cNvPr id="358" name="Google Shape;358;p62"/>
          <p:cNvSpPr txBox="1">
            <a:spLocks noGrp="1"/>
          </p:cNvSpPr>
          <p:nvPr>
            <p:ph type="ftr" idx="11"/>
          </p:nvPr>
        </p:nvSpPr>
        <p:spPr>
          <a:xfrm>
            <a:off x="4038600" y="6356351"/>
            <a:ext cx="4114800" cy="365125"/>
          </a:xfrm>
          <a:prstGeom prst="rect">
            <a:avLst/>
          </a:prstGeom>
          <a:noFill/>
          <a:ln>
            <a:noFill/>
          </a:ln>
        </p:spPr>
        <p:txBody>
          <a:bodyPr spcFirstLastPara="1" wrap="square" lIns="68575" tIns="34275" rIns="68575" bIns="34275" anchor="ctr" anchorCtr="0">
            <a:noAutofit/>
          </a:bodyPr>
          <a:lstStyle>
            <a:lvl1pPr lvl="0" algn="ctr">
              <a:spcBef>
                <a:spcPts val="0"/>
              </a:spcBef>
              <a:spcAft>
                <a:spcPts val="0"/>
              </a:spcAft>
              <a:buSzPts val="1100"/>
              <a:buNone/>
              <a:defRPr/>
            </a:lvl1pPr>
            <a:lvl2pPr lvl="1" algn="l">
              <a:spcBef>
                <a:spcPts val="0"/>
              </a:spcBef>
              <a:spcAft>
                <a:spcPts val="0"/>
              </a:spcAft>
              <a:buSzPts val="1100"/>
              <a:buNone/>
              <a:defRPr/>
            </a:lvl2pPr>
            <a:lvl3pPr lvl="2" algn="l">
              <a:spcBef>
                <a:spcPts val="0"/>
              </a:spcBef>
              <a:spcAft>
                <a:spcPts val="0"/>
              </a:spcAft>
              <a:buSzPts val="1100"/>
              <a:buNone/>
              <a:defRPr/>
            </a:lvl3pPr>
            <a:lvl4pPr lvl="3" algn="l">
              <a:spcBef>
                <a:spcPts val="0"/>
              </a:spcBef>
              <a:spcAft>
                <a:spcPts val="0"/>
              </a:spcAft>
              <a:buSzPts val="1100"/>
              <a:buNone/>
              <a:defRPr/>
            </a:lvl4pPr>
            <a:lvl5pPr lvl="4" algn="l">
              <a:spcBef>
                <a:spcPts val="0"/>
              </a:spcBef>
              <a:spcAft>
                <a:spcPts val="0"/>
              </a:spcAft>
              <a:buSzPts val="1100"/>
              <a:buNone/>
              <a:defRPr/>
            </a:lvl5pPr>
            <a:lvl6pPr lvl="5" algn="l">
              <a:spcBef>
                <a:spcPts val="0"/>
              </a:spcBef>
              <a:spcAft>
                <a:spcPts val="0"/>
              </a:spcAft>
              <a:buSzPts val="1100"/>
              <a:buNone/>
              <a:defRPr/>
            </a:lvl6pPr>
            <a:lvl7pPr lvl="6" algn="l">
              <a:spcBef>
                <a:spcPts val="0"/>
              </a:spcBef>
              <a:spcAft>
                <a:spcPts val="0"/>
              </a:spcAft>
              <a:buSzPts val="1100"/>
              <a:buNone/>
              <a:defRPr/>
            </a:lvl7pPr>
            <a:lvl8pPr lvl="7" algn="l">
              <a:spcBef>
                <a:spcPts val="0"/>
              </a:spcBef>
              <a:spcAft>
                <a:spcPts val="0"/>
              </a:spcAft>
              <a:buSzPts val="1100"/>
              <a:buNone/>
              <a:defRPr/>
            </a:lvl8pPr>
            <a:lvl9pPr lvl="8" algn="l">
              <a:spcBef>
                <a:spcPts val="0"/>
              </a:spcBef>
              <a:spcAft>
                <a:spcPts val="0"/>
              </a:spcAft>
              <a:buSzPts val="1100"/>
              <a:buNone/>
              <a:defRPr/>
            </a:lvl9pPr>
          </a:lstStyle>
          <a:p>
            <a:endParaRPr/>
          </a:p>
        </p:txBody>
      </p:sp>
      <p:sp>
        <p:nvSpPr>
          <p:cNvPr id="359" name="Google Shape;359;p62"/>
          <p:cNvSpPr txBox="1">
            <a:spLocks noGrp="1"/>
          </p:cNvSpPr>
          <p:nvPr>
            <p:ph type="sldNum" idx="12"/>
          </p:nvPr>
        </p:nvSpPr>
        <p:spPr>
          <a:xfrm>
            <a:off x="8610600" y="6356351"/>
            <a:ext cx="2743200" cy="365125"/>
          </a:xfrm>
          <a:prstGeom prst="rect">
            <a:avLst/>
          </a:prstGeom>
          <a:noFill/>
          <a:ln>
            <a:noFill/>
          </a:ln>
        </p:spPr>
        <p:txBody>
          <a:bodyPr spcFirstLastPara="1" wrap="square" lIns="68575" tIns="34275" rIns="68575" bIns="34275"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7171744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6_Blank">
    <p:spTree>
      <p:nvGrpSpPr>
        <p:cNvPr id="1" name=""/>
        <p:cNvGrpSpPr/>
        <p:nvPr/>
      </p:nvGrpSpPr>
      <p:grpSpPr>
        <a:xfrm>
          <a:off x="0" y="0"/>
          <a:ext cx="0" cy="0"/>
          <a:chOff x="0" y="0"/>
          <a:chExt cx="0" cy="0"/>
        </a:xfrm>
      </p:grpSpPr>
      <p:sp>
        <p:nvSpPr>
          <p:cNvPr id="5" name="Freeform 4"/>
          <p:cNvSpPr>
            <a:spLocks/>
          </p:cNvSpPr>
          <p:nvPr userDrawn="1"/>
        </p:nvSpPr>
        <p:spPr bwMode="auto">
          <a:xfrm>
            <a:off x="0" y="-639708"/>
            <a:ext cx="12192001" cy="8099370"/>
          </a:xfrm>
          <a:custGeom>
            <a:avLst/>
            <a:gdLst>
              <a:gd name="T0" fmla="*/ 471 w 542"/>
              <a:gd name="T1" fmla="*/ 110 h 359"/>
              <a:gd name="T2" fmla="*/ 494 w 542"/>
              <a:gd name="T3" fmla="*/ 124 h 359"/>
              <a:gd name="T4" fmla="*/ 473 w 542"/>
              <a:gd name="T5" fmla="*/ 118 h 359"/>
              <a:gd name="T6" fmla="*/ 352 w 542"/>
              <a:gd name="T7" fmla="*/ 60 h 359"/>
              <a:gd name="T8" fmla="*/ 361 w 542"/>
              <a:gd name="T9" fmla="*/ 68 h 359"/>
              <a:gd name="T10" fmla="*/ 315 w 542"/>
              <a:gd name="T11" fmla="*/ 52 h 359"/>
              <a:gd name="T12" fmla="*/ 341 w 542"/>
              <a:gd name="T13" fmla="*/ 68 h 359"/>
              <a:gd name="T14" fmla="*/ 369 w 542"/>
              <a:gd name="T15" fmla="*/ 86 h 359"/>
              <a:gd name="T16" fmla="*/ 325 w 542"/>
              <a:gd name="T17" fmla="*/ 66 h 359"/>
              <a:gd name="T18" fmla="*/ 304 w 542"/>
              <a:gd name="T19" fmla="*/ 63 h 359"/>
              <a:gd name="T20" fmla="*/ 254 w 542"/>
              <a:gd name="T21" fmla="*/ 49 h 359"/>
              <a:gd name="T22" fmla="*/ 302 w 542"/>
              <a:gd name="T23" fmla="*/ 75 h 359"/>
              <a:gd name="T24" fmla="*/ 245 w 542"/>
              <a:gd name="T25" fmla="*/ 49 h 359"/>
              <a:gd name="T26" fmla="*/ 240 w 542"/>
              <a:gd name="T27" fmla="*/ 54 h 359"/>
              <a:gd name="T28" fmla="*/ 217 w 542"/>
              <a:gd name="T29" fmla="*/ 54 h 359"/>
              <a:gd name="T30" fmla="*/ 215 w 542"/>
              <a:gd name="T31" fmla="*/ 65 h 359"/>
              <a:gd name="T32" fmla="*/ 211 w 542"/>
              <a:gd name="T33" fmla="*/ 69 h 359"/>
              <a:gd name="T34" fmla="*/ 270 w 542"/>
              <a:gd name="T35" fmla="*/ 101 h 359"/>
              <a:gd name="T36" fmla="*/ 242 w 542"/>
              <a:gd name="T37" fmla="*/ 92 h 359"/>
              <a:gd name="T38" fmla="*/ 149 w 542"/>
              <a:gd name="T39" fmla="*/ 52 h 359"/>
              <a:gd name="T40" fmla="*/ 101 w 542"/>
              <a:gd name="T41" fmla="*/ 27 h 359"/>
              <a:gd name="T42" fmla="*/ 123 w 542"/>
              <a:gd name="T43" fmla="*/ 42 h 359"/>
              <a:gd name="T44" fmla="*/ 159 w 542"/>
              <a:gd name="T45" fmla="*/ 62 h 359"/>
              <a:gd name="T46" fmla="*/ 118 w 542"/>
              <a:gd name="T47" fmla="*/ 46 h 359"/>
              <a:gd name="T48" fmla="*/ 108 w 542"/>
              <a:gd name="T49" fmla="*/ 52 h 359"/>
              <a:gd name="T50" fmla="*/ 14 w 542"/>
              <a:gd name="T51" fmla="*/ 2 h 359"/>
              <a:gd name="T52" fmla="*/ 36 w 542"/>
              <a:gd name="T53" fmla="*/ 19 h 359"/>
              <a:gd name="T54" fmla="*/ 35 w 542"/>
              <a:gd name="T55" fmla="*/ 27 h 359"/>
              <a:gd name="T56" fmla="*/ 21 w 542"/>
              <a:gd name="T57" fmla="*/ 35 h 359"/>
              <a:gd name="T58" fmla="*/ 0 w 542"/>
              <a:gd name="T59" fmla="*/ 108 h 359"/>
              <a:gd name="T60" fmla="*/ 3 w 542"/>
              <a:gd name="T61" fmla="*/ 221 h 359"/>
              <a:gd name="T62" fmla="*/ 75 w 542"/>
              <a:gd name="T63" fmla="*/ 257 h 359"/>
              <a:gd name="T64" fmla="*/ 99 w 542"/>
              <a:gd name="T65" fmla="*/ 264 h 359"/>
              <a:gd name="T66" fmla="*/ 28 w 542"/>
              <a:gd name="T67" fmla="*/ 229 h 359"/>
              <a:gd name="T68" fmla="*/ 169 w 542"/>
              <a:gd name="T69" fmla="*/ 290 h 359"/>
              <a:gd name="T70" fmla="*/ 204 w 542"/>
              <a:gd name="T71" fmla="*/ 306 h 359"/>
              <a:gd name="T72" fmla="*/ 218 w 542"/>
              <a:gd name="T73" fmla="*/ 308 h 359"/>
              <a:gd name="T74" fmla="*/ 208 w 542"/>
              <a:gd name="T75" fmla="*/ 294 h 359"/>
              <a:gd name="T76" fmla="*/ 150 w 542"/>
              <a:gd name="T77" fmla="*/ 267 h 359"/>
              <a:gd name="T78" fmla="*/ 226 w 542"/>
              <a:gd name="T79" fmla="*/ 299 h 359"/>
              <a:gd name="T80" fmla="*/ 250 w 542"/>
              <a:gd name="T81" fmla="*/ 305 h 359"/>
              <a:gd name="T82" fmla="*/ 275 w 542"/>
              <a:gd name="T83" fmla="*/ 305 h 359"/>
              <a:gd name="T84" fmla="*/ 242 w 542"/>
              <a:gd name="T85" fmla="*/ 287 h 359"/>
              <a:gd name="T86" fmla="*/ 263 w 542"/>
              <a:gd name="T87" fmla="*/ 294 h 359"/>
              <a:gd name="T88" fmla="*/ 307 w 542"/>
              <a:gd name="T89" fmla="*/ 304 h 359"/>
              <a:gd name="T90" fmla="*/ 317 w 542"/>
              <a:gd name="T91" fmla="*/ 302 h 359"/>
              <a:gd name="T92" fmla="*/ 328 w 542"/>
              <a:gd name="T93" fmla="*/ 298 h 359"/>
              <a:gd name="T94" fmla="*/ 344 w 542"/>
              <a:gd name="T95" fmla="*/ 299 h 359"/>
              <a:gd name="T96" fmla="*/ 277 w 542"/>
              <a:gd name="T97" fmla="*/ 263 h 359"/>
              <a:gd name="T98" fmla="*/ 293 w 542"/>
              <a:gd name="T99" fmla="*/ 267 h 359"/>
              <a:gd name="T100" fmla="*/ 380 w 542"/>
              <a:gd name="T101" fmla="*/ 302 h 359"/>
              <a:gd name="T102" fmla="*/ 448 w 542"/>
              <a:gd name="T103" fmla="*/ 334 h 359"/>
              <a:gd name="T104" fmla="*/ 414 w 542"/>
              <a:gd name="T105" fmla="*/ 314 h 359"/>
              <a:gd name="T106" fmla="*/ 385 w 542"/>
              <a:gd name="T107" fmla="*/ 303 h 359"/>
              <a:gd name="T108" fmla="*/ 396 w 542"/>
              <a:gd name="T109" fmla="*/ 300 h 359"/>
              <a:gd name="T110" fmla="*/ 460 w 542"/>
              <a:gd name="T111" fmla="*/ 320 h 359"/>
              <a:gd name="T112" fmla="*/ 519 w 542"/>
              <a:gd name="T113" fmla="*/ 351 h 359"/>
              <a:gd name="T114" fmla="*/ 509 w 542"/>
              <a:gd name="T115" fmla="*/ 341 h 359"/>
              <a:gd name="T116" fmla="*/ 503 w 542"/>
              <a:gd name="T117" fmla="*/ 328 h 359"/>
              <a:gd name="T118" fmla="*/ 504 w 542"/>
              <a:gd name="T119" fmla="*/ 317 h 359"/>
              <a:gd name="T120" fmla="*/ 541 w 542"/>
              <a:gd name="T121" fmla="*/ 254 h 359"/>
              <a:gd name="T122" fmla="*/ 542 w 542"/>
              <a:gd name="T123" fmla="*/ 147 h 3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42" h="359">
                <a:moveTo>
                  <a:pt x="542" y="144"/>
                </a:moveTo>
                <a:cubicBezTo>
                  <a:pt x="542" y="139"/>
                  <a:pt x="542" y="139"/>
                  <a:pt x="542" y="139"/>
                </a:cubicBezTo>
                <a:cubicBezTo>
                  <a:pt x="537" y="139"/>
                  <a:pt x="537" y="139"/>
                  <a:pt x="537" y="139"/>
                </a:cubicBezTo>
                <a:cubicBezTo>
                  <a:pt x="529" y="135"/>
                  <a:pt x="522" y="131"/>
                  <a:pt x="514" y="127"/>
                </a:cubicBezTo>
                <a:cubicBezTo>
                  <a:pt x="500" y="120"/>
                  <a:pt x="485" y="114"/>
                  <a:pt x="472" y="106"/>
                </a:cubicBezTo>
                <a:cubicBezTo>
                  <a:pt x="472" y="106"/>
                  <a:pt x="472" y="106"/>
                  <a:pt x="472" y="106"/>
                </a:cubicBezTo>
                <a:cubicBezTo>
                  <a:pt x="470" y="105"/>
                  <a:pt x="469" y="104"/>
                  <a:pt x="466" y="104"/>
                </a:cubicBezTo>
                <a:cubicBezTo>
                  <a:pt x="464" y="103"/>
                  <a:pt x="463" y="102"/>
                  <a:pt x="461" y="101"/>
                </a:cubicBezTo>
                <a:cubicBezTo>
                  <a:pt x="462" y="102"/>
                  <a:pt x="465" y="104"/>
                  <a:pt x="465" y="104"/>
                </a:cubicBezTo>
                <a:cubicBezTo>
                  <a:pt x="466" y="105"/>
                  <a:pt x="467" y="105"/>
                  <a:pt x="467" y="105"/>
                </a:cubicBezTo>
                <a:cubicBezTo>
                  <a:pt x="468" y="106"/>
                  <a:pt x="470" y="107"/>
                  <a:pt x="470" y="107"/>
                </a:cubicBezTo>
                <a:cubicBezTo>
                  <a:pt x="468" y="107"/>
                  <a:pt x="472" y="108"/>
                  <a:pt x="471" y="109"/>
                </a:cubicBezTo>
                <a:cubicBezTo>
                  <a:pt x="470" y="109"/>
                  <a:pt x="469" y="108"/>
                  <a:pt x="469" y="108"/>
                </a:cubicBezTo>
                <a:cubicBezTo>
                  <a:pt x="469" y="109"/>
                  <a:pt x="471" y="109"/>
                  <a:pt x="472" y="110"/>
                </a:cubicBezTo>
                <a:cubicBezTo>
                  <a:pt x="473" y="110"/>
                  <a:pt x="475" y="111"/>
                  <a:pt x="475" y="112"/>
                </a:cubicBezTo>
                <a:cubicBezTo>
                  <a:pt x="474" y="111"/>
                  <a:pt x="472" y="110"/>
                  <a:pt x="471" y="110"/>
                </a:cubicBezTo>
                <a:cubicBezTo>
                  <a:pt x="471" y="110"/>
                  <a:pt x="470" y="110"/>
                  <a:pt x="470" y="110"/>
                </a:cubicBezTo>
                <a:cubicBezTo>
                  <a:pt x="472" y="111"/>
                  <a:pt x="473" y="111"/>
                  <a:pt x="475" y="112"/>
                </a:cubicBezTo>
                <a:cubicBezTo>
                  <a:pt x="476" y="113"/>
                  <a:pt x="477" y="113"/>
                  <a:pt x="479" y="114"/>
                </a:cubicBezTo>
                <a:cubicBezTo>
                  <a:pt x="479" y="114"/>
                  <a:pt x="479" y="115"/>
                  <a:pt x="478" y="115"/>
                </a:cubicBezTo>
                <a:cubicBezTo>
                  <a:pt x="476" y="114"/>
                  <a:pt x="474" y="112"/>
                  <a:pt x="472" y="111"/>
                </a:cubicBezTo>
                <a:cubicBezTo>
                  <a:pt x="468" y="109"/>
                  <a:pt x="463" y="107"/>
                  <a:pt x="458" y="105"/>
                </a:cubicBezTo>
                <a:cubicBezTo>
                  <a:pt x="458" y="105"/>
                  <a:pt x="457" y="105"/>
                  <a:pt x="457" y="104"/>
                </a:cubicBezTo>
                <a:cubicBezTo>
                  <a:pt x="456" y="104"/>
                  <a:pt x="454" y="103"/>
                  <a:pt x="453" y="102"/>
                </a:cubicBezTo>
                <a:cubicBezTo>
                  <a:pt x="452" y="102"/>
                  <a:pt x="451" y="101"/>
                  <a:pt x="449" y="101"/>
                </a:cubicBezTo>
                <a:cubicBezTo>
                  <a:pt x="447" y="100"/>
                  <a:pt x="446" y="99"/>
                  <a:pt x="443" y="98"/>
                </a:cubicBezTo>
                <a:cubicBezTo>
                  <a:pt x="443" y="99"/>
                  <a:pt x="445" y="100"/>
                  <a:pt x="448" y="101"/>
                </a:cubicBezTo>
                <a:cubicBezTo>
                  <a:pt x="452" y="104"/>
                  <a:pt x="456" y="106"/>
                  <a:pt x="460" y="106"/>
                </a:cubicBezTo>
                <a:cubicBezTo>
                  <a:pt x="465" y="109"/>
                  <a:pt x="469" y="111"/>
                  <a:pt x="474" y="113"/>
                </a:cubicBezTo>
                <a:cubicBezTo>
                  <a:pt x="477" y="115"/>
                  <a:pt x="481" y="116"/>
                  <a:pt x="484" y="118"/>
                </a:cubicBezTo>
                <a:cubicBezTo>
                  <a:pt x="486" y="119"/>
                  <a:pt x="488" y="120"/>
                  <a:pt x="490" y="121"/>
                </a:cubicBezTo>
                <a:cubicBezTo>
                  <a:pt x="491" y="122"/>
                  <a:pt x="493" y="123"/>
                  <a:pt x="494" y="124"/>
                </a:cubicBezTo>
                <a:cubicBezTo>
                  <a:pt x="492" y="123"/>
                  <a:pt x="491" y="122"/>
                  <a:pt x="489" y="121"/>
                </a:cubicBezTo>
                <a:cubicBezTo>
                  <a:pt x="489" y="121"/>
                  <a:pt x="488" y="121"/>
                  <a:pt x="487" y="121"/>
                </a:cubicBezTo>
                <a:cubicBezTo>
                  <a:pt x="487" y="121"/>
                  <a:pt x="487" y="121"/>
                  <a:pt x="487" y="121"/>
                </a:cubicBezTo>
                <a:cubicBezTo>
                  <a:pt x="487" y="121"/>
                  <a:pt x="489" y="122"/>
                  <a:pt x="491" y="123"/>
                </a:cubicBezTo>
                <a:cubicBezTo>
                  <a:pt x="491" y="123"/>
                  <a:pt x="492" y="124"/>
                  <a:pt x="492" y="124"/>
                </a:cubicBezTo>
                <a:cubicBezTo>
                  <a:pt x="494" y="125"/>
                  <a:pt x="495" y="125"/>
                  <a:pt x="496" y="126"/>
                </a:cubicBezTo>
                <a:cubicBezTo>
                  <a:pt x="498" y="126"/>
                  <a:pt x="499" y="127"/>
                  <a:pt x="501" y="127"/>
                </a:cubicBezTo>
                <a:cubicBezTo>
                  <a:pt x="501" y="127"/>
                  <a:pt x="501" y="128"/>
                  <a:pt x="501" y="128"/>
                </a:cubicBezTo>
                <a:cubicBezTo>
                  <a:pt x="503" y="130"/>
                  <a:pt x="504" y="131"/>
                  <a:pt x="507" y="131"/>
                </a:cubicBezTo>
                <a:cubicBezTo>
                  <a:pt x="510" y="132"/>
                  <a:pt x="511" y="133"/>
                  <a:pt x="514" y="134"/>
                </a:cubicBezTo>
                <a:cubicBezTo>
                  <a:pt x="514" y="135"/>
                  <a:pt x="513" y="135"/>
                  <a:pt x="510" y="135"/>
                </a:cubicBezTo>
                <a:cubicBezTo>
                  <a:pt x="512" y="136"/>
                  <a:pt x="514" y="136"/>
                  <a:pt x="515" y="137"/>
                </a:cubicBezTo>
                <a:cubicBezTo>
                  <a:pt x="515" y="137"/>
                  <a:pt x="515" y="137"/>
                  <a:pt x="515" y="137"/>
                </a:cubicBezTo>
                <a:cubicBezTo>
                  <a:pt x="505" y="133"/>
                  <a:pt x="494" y="128"/>
                  <a:pt x="485" y="123"/>
                </a:cubicBezTo>
                <a:cubicBezTo>
                  <a:pt x="484" y="123"/>
                  <a:pt x="483" y="123"/>
                  <a:pt x="482" y="122"/>
                </a:cubicBezTo>
                <a:cubicBezTo>
                  <a:pt x="479" y="121"/>
                  <a:pt x="476" y="119"/>
                  <a:pt x="473" y="118"/>
                </a:cubicBezTo>
                <a:cubicBezTo>
                  <a:pt x="472" y="117"/>
                  <a:pt x="471" y="117"/>
                  <a:pt x="471" y="117"/>
                </a:cubicBezTo>
                <a:cubicBezTo>
                  <a:pt x="470" y="117"/>
                  <a:pt x="469" y="117"/>
                  <a:pt x="468" y="117"/>
                </a:cubicBezTo>
                <a:cubicBezTo>
                  <a:pt x="455" y="110"/>
                  <a:pt x="444" y="104"/>
                  <a:pt x="430" y="97"/>
                </a:cubicBezTo>
                <a:cubicBezTo>
                  <a:pt x="430" y="96"/>
                  <a:pt x="428" y="95"/>
                  <a:pt x="426" y="94"/>
                </a:cubicBezTo>
                <a:cubicBezTo>
                  <a:pt x="425" y="94"/>
                  <a:pt x="425" y="93"/>
                  <a:pt x="421" y="92"/>
                </a:cubicBezTo>
                <a:cubicBezTo>
                  <a:pt x="421" y="92"/>
                  <a:pt x="418" y="92"/>
                  <a:pt x="417" y="91"/>
                </a:cubicBezTo>
                <a:cubicBezTo>
                  <a:pt x="412" y="89"/>
                  <a:pt x="409" y="87"/>
                  <a:pt x="403" y="84"/>
                </a:cubicBezTo>
                <a:cubicBezTo>
                  <a:pt x="405" y="86"/>
                  <a:pt x="409" y="87"/>
                  <a:pt x="409" y="89"/>
                </a:cubicBezTo>
                <a:cubicBezTo>
                  <a:pt x="399" y="84"/>
                  <a:pt x="390" y="80"/>
                  <a:pt x="382" y="76"/>
                </a:cubicBezTo>
                <a:cubicBezTo>
                  <a:pt x="380" y="74"/>
                  <a:pt x="378" y="73"/>
                  <a:pt x="374" y="72"/>
                </a:cubicBezTo>
                <a:cubicBezTo>
                  <a:pt x="374" y="72"/>
                  <a:pt x="373" y="71"/>
                  <a:pt x="373" y="71"/>
                </a:cubicBezTo>
                <a:cubicBezTo>
                  <a:pt x="371" y="69"/>
                  <a:pt x="366" y="68"/>
                  <a:pt x="364" y="66"/>
                </a:cubicBezTo>
                <a:cubicBezTo>
                  <a:pt x="363" y="66"/>
                  <a:pt x="363" y="66"/>
                  <a:pt x="363" y="66"/>
                </a:cubicBezTo>
                <a:cubicBezTo>
                  <a:pt x="363" y="66"/>
                  <a:pt x="363" y="66"/>
                  <a:pt x="363" y="66"/>
                </a:cubicBezTo>
                <a:cubicBezTo>
                  <a:pt x="363" y="66"/>
                  <a:pt x="363" y="66"/>
                  <a:pt x="364" y="66"/>
                </a:cubicBezTo>
                <a:cubicBezTo>
                  <a:pt x="361" y="64"/>
                  <a:pt x="356" y="62"/>
                  <a:pt x="352" y="60"/>
                </a:cubicBezTo>
                <a:cubicBezTo>
                  <a:pt x="347" y="57"/>
                  <a:pt x="342" y="54"/>
                  <a:pt x="340" y="52"/>
                </a:cubicBezTo>
                <a:cubicBezTo>
                  <a:pt x="339" y="52"/>
                  <a:pt x="338" y="51"/>
                  <a:pt x="338" y="51"/>
                </a:cubicBezTo>
                <a:cubicBezTo>
                  <a:pt x="334" y="49"/>
                  <a:pt x="328" y="46"/>
                  <a:pt x="324" y="44"/>
                </a:cubicBezTo>
                <a:cubicBezTo>
                  <a:pt x="323" y="43"/>
                  <a:pt x="321" y="42"/>
                  <a:pt x="318" y="42"/>
                </a:cubicBezTo>
                <a:cubicBezTo>
                  <a:pt x="317" y="41"/>
                  <a:pt x="316" y="41"/>
                  <a:pt x="314" y="40"/>
                </a:cubicBezTo>
                <a:cubicBezTo>
                  <a:pt x="314" y="40"/>
                  <a:pt x="313" y="40"/>
                  <a:pt x="313" y="40"/>
                </a:cubicBezTo>
                <a:cubicBezTo>
                  <a:pt x="313" y="40"/>
                  <a:pt x="313" y="40"/>
                  <a:pt x="313" y="40"/>
                </a:cubicBezTo>
                <a:cubicBezTo>
                  <a:pt x="316" y="42"/>
                  <a:pt x="321" y="45"/>
                  <a:pt x="326" y="47"/>
                </a:cubicBezTo>
                <a:cubicBezTo>
                  <a:pt x="328" y="48"/>
                  <a:pt x="331" y="49"/>
                  <a:pt x="331" y="50"/>
                </a:cubicBezTo>
                <a:cubicBezTo>
                  <a:pt x="338" y="52"/>
                  <a:pt x="333" y="53"/>
                  <a:pt x="338" y="54"/>
                </a:cubicBezTo>
                <a:cubicBezTo>
                  <a:pt x="338" y="54"/>
                  <a:pt x="338" y="54"/>
                  <a:pt x="338" y="54"/>
                </a:cubicBezTo>
                <a:cubicBezTo>
                  <a:pt x="339" y="55"/>
                  <a:pt x="339" y="56"/>
                  <a:pt x="342" y="57"/>
                </a:cubicBezTo>
                <a:cubicBezTo>
                  <a:pt x="345" y="59"/>
                  <a:pt x="349" y="60"/>
                  <a:pt x="351" y="62"/>
                </a:cubicBezTo>
                <a:cubicBezTo>
                  <a:pt x="353" y="63"/>
                  <a:pt x="354" y="63"/>
                  <a:pt x="356" y="63"/>
                </a:cubicBezTo>
                <a:cubicBezTo>
                  <a:pt x="356" y="64"/>
                  <a:pt x="354" y="64"/>
                  <a:pt x="357" y="65"/>
                </a:cubicBezTo>
                <a:cubicBezTo>
                  <a:pt x="357" y="66"/>
                  <a:pt x="361" y="67"/>
                  <a:pt x="361" y="68"/>
                </a:cubicBezTo>
                <a:cubicBezTo>
                  <a:pt x="361" y="68"/>
                  <a:pt x="360" y="68"/>
                  <a:pt x="360" y="68"/>
                </a:cubicBezTo>
                <a:cubicBezTo>
                  <a:pt x="358" y="67"/>
                  <a:pt x="359" y="68"/>
                  <a:pt x="359" y="69"/>
                </a:cubicBezTo>
                <a:cubicBezTo>
                  <a:pt x="355" y="68"/>
                  <a:pt x="352" y="66"/>
                  <a:pt x="352" y="66"/>
                </a:cubicBezTo>
                <a:cubicBezTo>
                  <a:pt x="352" y="64"/>
                  <a:pt x="350" y="63"/>
                  <a:pt x="346" y="62"/>
                </a:cubicBezTo>
                <a:cubicBezTo>
                  <a:pt x="344" y="62"/>
                  <a:pt x="342" y="61"/>
                  <a:pt x="341" y="60"/>
                </a:cubicBezTo>
                <a:cubicBezTo>
                  <a:pt x="340" y="59"/>
                  <a:pt x="338" y="58"/>
                  <a:pt x="336" y="58"/>
                </a:cubicBezTo>
                <a:cubicBezTo>
                  <a:pt x="336" y="58"/>
                  <a:pt x="336" y="58"/>
                  <a:pt x="335" y="58"/>
                </a:cubicBezTo>
                <a:cubicBezTo>
                  <a:pt x="332" y="56"/>
                  <a:pt x="328" y="54"/>
                  <a:pt x="324" y="53"/>
                </a:cubicBezTo>
                <a:cubicBezTo>
                  <a:pt x="324" y="53"/>
                  <a:pt x="324" y="53"/>
                  <a:pt x="324" y="53"/>
                </a:cubicBezTo>
                <a:cubicBezTo>
                  <a:pt x="324" y="53"/>
                  <a:pt x="324" y="53"/>
                  <a:pt x="324" y="53"/>
                </a:cubicBezTo>
                <a:cubicBezTo>
                  <a:pt x="324" y="53"/>
                  <a:pt x="324" y="53"/>
                  <a:pt x="324" y="53"/>
                </a:cubicBezTo>
                <a:cubicBezTo>
                  <a:pt x="322" y="51"/>
                  <a:pt x="319" y="50"/>
                  <a:pt x="317" y="49"/>
                </a:cubicBezTo>
                <a:cubicBezTo>
                  <a:pt x="313" y="48"/>
                  <a:pt x="310" y="46"/>
                  <a:pt x="306" y="44"/>
                </a:cubicBezTo>
                <a:cubicBezTo>
                  <a:pt x="307" y="46"/>
                  <a:pt x="317" y="49"/>
                  <a:pt x="315" y="51"/>
                </a:cubicBezTo>
                <a:cubicBezTo>
                  <a:pt x="314" y="50"/>
                  <a:pt x="314" y="51"/>
                  <a:pt x="314" y="52"/>
                </a:cubicBezTo>
                <a:cubicBezTo>
                  <a:pt x="314" y="52"/>
                  <a:pt x="314" y="52"/>
                  <a:pt x="315" y="52"/>
                </a:cubicBezTo>
                <a:cubicBezTo>
                  <a:pt x="317" y="53"/>
                  <a:pt x="319" y="53"/>
                  <a:pt x="322" y="54"/>
                </a:cubicBezTo>
                <a:cubicBezTo>
                  <a:pt x="322" y="55"/>
                  <a:pt x="323" y="55"/>
                  <a:pt x="324" y="55"/>
                </a:cubicBezTo>
                <a:cubicBezTo>
                  <a:pt x="325" y="56"/>
                  <a:pt x="326" y="56"/>
                  <a:pt x="326" y="57"/>
                </a:cubicBezTo>
                <a:cubicBezTo>
                  <a:pt x="332" y="59"/>
                  <a:pt x="336" y="62"/>
                  <a:pt x="340" y="65"/>
                </a:cubicBezTo>
                <a:cubicBezTo>
                  <a:pt x="338" y="65"/>
                  <a:pt x="336" y="63"/>
                  <a:pt x="334" y="63"/>
                </a:cubicBezTo>
                <a:cubicBezTo>
                  <a:pt x="334" y="64"/>
                  <a:pt x="338" y="65"/>
                  <a:pt x="339" y="66"/>
                </a:cubicBezTo>
                <a:cubicBezTo>
                  <a:pt x="339" y="66"/>
                  <a:pt x="339" y="66"/>
                  <a:pt x="338" y="66"/>
                </a:cubicBezTo>
                <a:cubicBezTo>
                  <a:pt x="338" y="66"/>
                  <a:pt x="338" y="66"/>
                  <a:pt x="338" y="66"/>
                </a:cubicBezTo>
                <a:cubicBezTo>
                  <a:pt x="338" y="66"/>
                  <a:pt x="338" y="67"/>
                  <a:pt x="337" y="66"/>
                </a:cubicBezTo>
                <a:cubicBezTo>
                  <a:pt x="334" y="65"/>
                  <a:pt x="333" y="65"/>
                  <a:pt x="332" y="65"/>
                </a:cubicBezTo>
                <a:cubicBezTo>
                  <a:pt x="331" y="65"/>
                  <a:pt x="333" y="66"/>
                  <a:pt x="334" y="67"/>
                </a:cubicBezTo>
                <a:cubicBezTo>
                  <a:pt x="337" y="68"/>
                  <a:pt x="340" y="69"/>
                  <a:pt x="341" y="70"/>
                </a:cubicBezTo>
                <a:cubicBezTo>
                  <a:pt x="343" y="72"/>
                  <a:pt x="345" y="72"/>
                  <a:pt x="347" y="72"/>
                </a:cubicBezTo>
                <a:cubicBezTo>
                  <a:pt x="349" y="73"/>
                  <a:pt x="351" y="74"/>
                  <a:pt x="355" y="76"/>
                </a:cubicBezTo>
                <a:cubicBezTo>
                  <a:pt x="353" y="74"/>
                  <a:pt x="351" y="73"/>
                  <a:pt x="347" y="72"/>
                </a:cubicBezTo>
                <a:cubicBezTo>
                  <a:pt x="345" y="71"/>
                  <a:pt x="343" y="70"/>
                  <a:pt x="341" y="68"/>
                </a:cubicBezTo>
                <a:cubicBezTo>
                  <a:pt x="339" y="68"/>
                  <a:pt x="339" y="67"/>
                  <a:pt x="341" y="67"/>
                </a:cubicBezTo>
                <a:cubicBezTo>
                  <a:pt x="343" y="68"/>
                  <a:pt x="346" y="69"/>
                  <a:pt x="347" y="68"/>
                </a:cubicBezTo>
                <a:cubicBezTo>
                  <a:pt x="347" y="69"/>
                  <a:pt x="348" y="69"/>
                  <a:pt x="349" y="69"/>
                </a:cubicBezTo>
                <a:cubicBezTo>
                  <a:pt x="349" y="70"/>
                  <a:pt x="351" y="71"/>
                  <a:pt x="353" y="72"/>
                </a:cubicBezTo>
                <a:cubicBezTo>
                  <a:pt x="359" y="75"/>
                  <a:pt x="364" y="78"/>
                  <a:pt x="370" y="81"/>
                </a:cubicBezTo>
                <a:cubicBezTo>
                  <a:pt x="373" y="83"/>
                  <a:pt x="375" y="84"/>
                  <a:pt x="380" y="86"/>
                </a:cubicBezTo>
                <a:cubicBezTo>
                  <a:pt x="382" y="88"/>
                  <a:pt x="388" y="90"/>
                  <a:pt x="390" y="92"/>
                </a:cubicBezTo>
                <a:cubicBezTo>
                  <a:pt x="391" y="93"/>
                  <a:pt x="393" y="94"/>
                  <a:pt x="394" y="95"/>
                </a:cubicBezTo>
                <a:cubicBezTo>
                  <a:pt x="395" y="96"/>
                  <a:pt x="396" y="96"/>
                  <a:pt x="396" y="97"/>
                </a:cubicBezTo>
                <a:cubicBezTo>
                  <a:pt x="397" y="97"/>
                  <a:pt x="397" y="98"/>
                  <a:pt x="398" y="98"/>
                </a:cubicBezTo>
                <a:cubicBezTo>
                  <a:pt x="396" y="97"/>
                  <a:pt x="394" y="96"/>
                  <a:pt x="392" y="95"/>
                </a:cubicBezTo>
                <a:cubicBezTo>
                  <a:pt x="390" y="95"/>
                  <a:pt x="390" y="94"/>
                  <a:pt x="388" y="94"/>
                </a:cubicBezTo>
                <a:cubicBezTo>
                  <a:pt x="387" y="93"/>
                  <a:pt x="385" y="92"/>
                  <a:pt x="384" y="92"/>
                </a:cubicBezTo>
                <a:cubicBezTo>
                  <a:pt x="384" y="92"/>
                  <a:pt x="384" y="93"/>
                  <a:pt x="383" y="93"/>
                </a:cubicBezTo>
                <a:cubicBezTo>
                  <a:pt x="380" y="91"/>
                  <a:pt x="378" y="90"/>
                  <a:pt x="374" y="88"/>
                </a:cubicBezTo>
                <a:cubicBezTo>
                  <a:pt x="372" y="87"/>
                  <a:pt x="370" y="87"/>
                  <a:pt x="369" y="86"/>
                </a:cubicBezTo>
                <a:cubicBezTo>
                  <a:pt x="369" y="86"/>
                  <a:pt x="370" y="85"/>
                  <a:pt x="369" y="85"/>
                </a:cubicBezTo>
                <a:cubicBezTo>
                  <a:pt x="367" y="84"/>
                  <a:pt x="367" y="85"/>
                  <a:pt x="367" y="85"/>
                </a:cubicBezTo>
                <a:cubicBezTo>
                  <a:pt x="365" y="84"/>
                  <a:pt x="364" y="83"/>
                  <a:pt x="362" y="83"/>
                </a:cubicBezTo>
                <a:cubicBezTo>
                  <a:pt x="362" y="83"/>
                  <a:pt x="362" y="83"/>
                  <a:pt x="362" y="83"/>
                </a:cubicBezTo>
                <a:cubicBezTo>
                  <a:pt x="356" y="78"/>
                  <a:pt x="346" y="74"/>
                  <a:pt x="338" y="70"/>
                </a:cubicBezTo>
                <a:cubicBezTo>
                  <a:pt x="334" y="67"/>
                  <a:pt x="330" y="65"/>
                  <a:pt x="326" y="63"/>
                </a:cubicBezTo>
                <a:cubicBezTo>
                  <a:pt x="324" y="61"/>
                  <a:pt x="321" y="60"/>
                  <a:pt x="318" y="59"/>
                </a:cubicBezTo>
                <a:cubicBezTo>
                  <a:pt x="317" y="58"/>
                  <a:pt x="317" y="57"/>
                  <a:pt x="314" y="57"/>
                </a:cubicBezTo>
                <a:cubicBezTo>
                  <a:pt x="309" y="56"/>
                  <a:pt x="312" y="57"/>
                  <a:pt x="312" y="58"/>
                </a:cubicBezTo>
                <a:cubicBezTo>
                  <a:pt x="311" y="57"/>
                  <a:pt x="310" y="57"/>
                  <a:pt x="308" y="56"/>
                </a:cubicBezTo>
                <a:cubicBezTo>
                  <a:pt x="310" y="58"/>
                  <a:pt x="313" y="60"/>
                  <a:pt x="316" y="61"/>
                </a:cubicBezTo>
                <a:cubicBezTo>
                  <a:pt x="315" y="61"/>
                  <a:pt x="314" y="62"/>
                  <a:pt x="316" y="62"/>
                </a:cubicBezTo>
                <a:cubicBezTo>
                  <a:pt x="319" y="64"/>
                  <a:pt x="321" y="65"/>
                  <a:pt x="325" y="66"/>
                </a:cubicBezTo>
                <a:cubicBezTo>
                  <a:pt x="325" y="66"/>
                  <a:pt x="325" y="66"/>
                  <a:pt x="325" y="67"/>
                </a:cubicBezTo>
                <a:cubicBezTo>
                  <a:pt x="325" y="67"/>
                  <a:pt x="325" y="67"/>
                  <a:pt x="325" y="67"/>
                </a:cubicBezTo>
                <a:cubicBezTo>
                  <a:pt x="325" y="67"/>
                  <a:pt x="325" y="66"/>
                  <a:pt x="325" y="66"/>
                </a:cubicBezTo>
                <a:cubicBezTo>
                  <a:pt x="325" y="67"/>
                  <a:pt x="322" y="67"/>
                  <a:pt x="327" y="68"/>
                </a:cubicBezTo>
                <a:cubicBezTo>
                  <a:pt x="328" y="69"/>
                  <a:pt x="330" y="70"/>
                  <a:pt x="328" y="70"/>
                </a:cubicBezTo>
                <a:cubicBezTo>
                  <a:pt x="328" y="70"/>
                  <a:pt x="328" y="70"/>
                  <a:pt x="328" y="70"/>
                </a:cubicBezTo>
                <a:cubicBezTo>
                  <a:pt x="328" y="70"/>
                  <a:pt x="328" y="70"/>
                  <a:pt x="328" y="70"/>
                </a:cubicBezTo>
                <a:cubicBezTo>
                  <a:pt x="328" y="70"/>
                  <a:pt x="328" y="70"/>
                  <a:pt x="328" y="70"/>
                </a:cubicBezTo>
                <a:cubicBezTo>
                  <a:pt x="323" y="67"/>
                  <a:pt x="319" y="65"/>
                  <a:pt x="312" y="62"/>
                </a:cubicBezTo>
                <a:cubicBezTo>
                  <a:pt x="311" y="62"/>
                  <a:pt x="310" y="61"/>
                  <a:pt x="309" y="60"/>
                </a:cubicBezTo>
                <a:cubicBezTo>
                  <a:pt x="306" y="60"/>
                  <a:pt x="310" y="62"/>
                  <a:pt x="310" y="62"/>
                </a:cubicBezTo>
                <a:cubicBezTo>
                  <a:pt x="309" y="62"/>
                  <a:pt x="308" y="62"/>
                  <a:pt x="307" y="62"/>
                </a:cubicBezTo>
                <a:cubicBezTo>
                  <a:pt x="303" y="61"/>
                  <a:pt x="301" y="59"/>
                  <a:pt x="298" y="58"/>
                </a:cubicBezTo>
                <a:cubicBezTo>
                  <a:pt x="296" y="57"/>
                  <a:pt x="294" y="55"/>
                  <a:pt x="292" y="55"/>
                </a:cubicBezTo>
                <a:cubicBezTo>
                  <a:pt x="289" y="55"/>
                  <a:pt x="295" y="57"/>
                  <a:pt x="296" y="58"/>
                </a:cubicBezTo>
                <a:cubicBezTo>
                  <a:pt x="296" y="58"/>
                  <a:pt x="296" y="58"/>
                  <a:pt x="296" y="58"/>
                </a:cubicBezTo>
                <a:cubicBezTo>
                  <a:pt x="296" y="58"/>
                  <a:pt x="296" y="58"/>
                  <a:pt x="296" y="58"/>
                </a:cubicBezTo>
                <a:cubicBezTo>
                  <a:pt x="295" y="58"/>
                  <a:pt x="295" y="58"/>
                  <a:pt x="294" y="58"/>
                </a:cubicBezTo>
                <a:cubicBezTo>
                  <a:pt x="297" y="60"/>
                  <a:pt x="302" y="61"/>
                  <a:pt x="304" y="63"/>
                </a:cubicBezTo>
                <a:cubicBezTo>
                  <a:pt x="305" y="63"/>
                  <a:pt x="305" y="64"/>
                  <a:pt x="306" y="64"/>
                </a:cubicBezTo>
                <a:cubicBezTo>
                  <a:pt x="306" y="64"/>
                  <a:pt x="305" y="64"/>
                  <a:pt x="304" y="64"/>
                </a:cubicBezTo>
                <a:cubicBezTo>
                  <a:pt x="304" y="65"/>
                  <a:pt x="304" y="65"/>
                  <a:pt x="305" y="66"/>
                </a:cubicBezTo>
                <a:cubicBezTo>
                  <a:pt x="311" y="69"/>
                  <a:pt x="311" y="69"/>
                  <a:pt x="305" y="69"/>
                </a:cubicBezTo>
                <a:cubicBezTo>
                  <a:pt x="305" y="69"/>
                  <a:pt x="305" y="69"/>
                  <a:pt x="305" y="69"/>
                </a:cubicBezTo>
                <a:cubicBezTo>
                  <a:pt x="305" y="69"/>
                  <a:pt x="305" y="69"/>
                  <a:pt x="305" y="69"/>
                </a:cubicBezTo>
                <a:cubicBezTo>
                  <a:pt x="305" y="69"/>
                  <a:pt x="305" y="69"/>
                  <a:pt x="305" y="69"/>
                </a:cubicBezTo>
                <a:cubicBezTo>
                  <a:pt x="303" y="69"/>
                  <a:pt x="303" y="67"/>
                  <a:pt x="300" y="67"/>
                </a:cubicBezTo>
                <a:cubicBezTo>
                  <a:pt x="298" y="68"/>
                  <a:pt x="301" y="69"/>
                  <a:pt x="302" y="69"/>
                </a:cubicBezTo>
                <a:cubicBezTo>
                  <a:pt x="303" y="70"/>
                  <a:pt x="303" y="71"/>
                  <a:pt x="301" y="70"/>
                </a:cubicBezTo>
                <a:cubicBezTo>
                  <a:pt x="295" y="68"/>
                  <a:pt x="289" y="67"/>
                  <a:pt x="284" y="64"/>
                </a:cubicBezTo>
                <a:cubicBezTo>
                  <a:pt x="284" y="64"/>
                  <a:pt x="283" y="63"/>
                  <a:pt x="284" y="63"/>
                </a:cubicBezTo>
                <a:cubicBezTo>
                  <a:pt x="284" y="63"/>
                  <a:pt x="286" y="64"/>
                  <a:pt x="287" y="64"/>
                </a:cubicBezTo>
                <a:cubicBezTo>
                  <a:pt x="282" y="61"/>
                  <a:pt x="272" y="58"/>
                  <a:pt x="267" y="55"/>
                </a:cubicBezTo>
                <a:cubicBezTo>
                  <a:pt x="265" y="54"/>
                  <a:pt x="262" y="52"/>
                  <a:pt x="258" y="50"/>
                </a:cubicBezTo>
                <a:cubicBezTo>
                  <a:pt x="257" y="50"/>
                  <a:pt x="256" y="49"/>
                  <a:pt x="254" y="49"/>
                </a:cubicBezTo>
                <a:cubicBezTo>
                  <a:pt x="252" y="49"/>
                  <a:pt x="253" y="50"/>
                  <a:pt x="255" y="50"/>
                </a:cubicBezTo>
                <a:cubicBezTo>
                  <a:pt x="259" y="52"/>
                  <a:pt x="255" y="52"/>
                  <a:pt x="255" y="52"/>
                </a:cubicBezTo>
                <a:cubicBezTo>
                  <a:pt x="254" y="52"/>
                  <a:pt x="253" y="52"/>
                  <a:pt x="253" y="52"/>
                </a:cubicBezTo>
                <a:cubicBezTo>
                  <a:pt x="255" y="53"/>
                  <a:pt x="255" y="54"/>
                  <a:pt x="260" y="55"/>
                </a:cubicBezTo>
                <a:cubicBezTo>
                  <a:pt x="261" y="54"/>
                  <a:pt x="259" y="53"/>
                  <a:pt x="259" y="53"/>
                </a:cubicBezTo>
                <a:cubicBezTo>
                  <a:pt x="262" y="54"/>
                  <a:pt x="262" y="55"/>
                  <a:pt x="264" y="55"/>
                </a:cubicBezTo>
                <a:cubicBezTo>
                  <a:pt x="269" y="57"/>
                  <a:pt x="269" y="59"/>
                  <a:pt x="274" y="61"/>
                </a:cubicBezTo>
                <a:cubicBezTo>
                  <a:pt x="276" y="62"/>
                  <a:pt x="278" y="63"/>
                  <a:pt x="280" y="64"/>
                </a:cubicBezTo>
                <a:cubicBezTo>
                  <a:pt x="280" y="64"/>
                  <a:pt x="279" y="65"/>
                  <a:pt x="280" y="66"/>
                </a:cubicBezTo>
                <a:cubicBezTo>
                  <a:pt x="282" y="67"/>
                  <a:pt x="284" y="68"/>
                  <a:pt x="286" y="69"/>
                </a:cubicBezTo>
                <a:cubicBezTo>
                  <a:pt x="286" y="69"/>
                  <a:pt x="287" y="69"/>
                  <a:pt x="287" y="69"/>
                </a:cubicBezTo>
                <a:cubicBezTo>
                  <a:pt x="285" y="68"/>
                  <a:pt x="283" y="67"/>
                  <a:pt x="281" y="66"/>
                </a:cubicBezTo>
                <a:cubicBezTo>
                  <a:pt x="286" y="66"/>
                  <a:pt x="287" y="68"/>
                  <a:pt x="290" y="69"/>
                </a:cubicBezTo>
                <a:cubicBezTo>
                  <a:pt x="291" y="71"/>
                  <a:pt x="297" y="73"/>
                  <a:pt x="300" y="74"/>
                </a:cubicBezTo>
                <a:cubicBezTo>
                  <a:pt x="300" y="75"/>
                  <a:pt x="301" y="75"/>
                  <a:pt x="302" y="75"/>
                </a:cubicBezTo>
                <a:cubicBezTo>
                  <a:pt x="302" y="75"/>
                  <a:pt x="302" y="75"/>
                  <a:pt x="302" y="75"/>
                </a:cubicBezTo>
                <a:cubicBezTo>
                  <a:pt x="302" y="75"/>
                  <a:pt x="302" y="75"/>
                  <a:pt x="302" y="75"/>
                </a:cubicBezTo>
                <a:cubicBezTo>
                  <a:pt x="302" y="75"/>
                  <a:pt x="302" y="75"/>
                  <a:pt x="302" y="75"/>
                </a:cubicBezTo>
                <a:cubicBezTo>
                  <a:pt x="306" y="77"/>
                  <a:pt x="308" y="79"/>
                  <a:pt x="313" y="80"/>
                </a:cubicBezTo>
                <a:cubicBezTo>
                  <a:pt x="313" y="80"/>
                  <a:pt x="313" y="80"/>
                  <a:pt x="313" y="80"/>
                </a:cubicBezTo>
                <a:cubicBezTo>
                  <a:pt x="313" y="80"/>
                  <a:pt x="313" y="80"/>
                  <a:pt x="313" y="80"/>
                </a:cubicBezTo>
                <a:cubicBezTo>
                  <a:pt x="314" y="81"/>
                  <a:pt x="316" y="82"/>
                  <a:pt x="318" y="83"/>
                </a:cubicBezTo>
                <a:cubicBezTo>
                  <a:pt x="319" y="84"/>
                  <a:pt x="322" y="85"/>
                  <a:pt x="325" y="86"/>
                </a:cubicBezTo>
                <a:cubicBezTo>
                  <a:pt x="327" y="87"/>
                  <a:pt x="328" y="88"/>
                  <a:pt x="330" y="89"/>
                </a:cubicBezTo>
                <a:cubicBezTo>
                  <a:pt x="330" y="89"/>
                  <a:pt x="330" y="90"/>
                  <a:pt x="330" y="90"/>
                </a:cubicBezTo>
                <a:cubicBezTo>
                  <a:pt x="332" y="91"/>
                  <a:pt x="335" y="92"/>
                  <a:pt x="334" y="93"/>
                </a:cubicBezTo>
                <a:cubicBezTo>
                  <a:pt x="328" y="90"/>
                  <a:pt x="324" y="88"/>
                  <a:pt x="317" y="85"/>
                </a:cubicBezTo>
                <a:cubicBezTo>
                  <a:pt x="306" y="80"/>
                  <a:pt x="296" y="74"/>
                  <a:pt x="285" y="69"/>
                </a:cubicBezTo>
                <a:cubicBezTo>
                  <a:pt x="284" y="68"/>
                  <a:pt x="282" y="68"/>
                  <a:pt x="281" y="67"/>
                </a:cubicBezTo>
                <a:cubicBezTo>
                  <a:pt x="280" y="67"/>
                  <a:pt x="280" y="67"/>
                  <a:pt x="279" y="66"/>
                </a:cubicBezTo>
                <a:cubicBezTo>
                  <a:pt x="273" y="64"/>
                  <a:pt x="268" y="61"/>
                  <a:pt x="262" y="58"/>
                </a:cubicBezTo>
                <a:cubicBezTo>
                  <a:pt x="256" y="55"/>
                  <a:pt x="249" y="52"/>
                  <a:pt x="245" y="49"/>
                </a:cubicBezTo>
                <a:cubicBezTo>
                  <a:pt x="244" y="48"/>
                  <a:pt x="241" y="47"/>
                  <a:pt x="239" y="45"/>
                </a:cubicBezTo>
                <a:cubicBezTo>
                  <a:pt x="240" y="46"/>
                  <a:pt x="241" y="46"/>
                  <a:pt x="242" y="46"/>
                </a:cubicBezTo>
                <a:cubicBezTo>
                  <a:pt x="242" y="45"/>
                  <a:pt x="240" y="45"/>
                  <a:pt x="238" y="44"/>
                </a:cubicBezTo>
                <a:cubicBezTo>
                  <a:pt x="237" y="44"/>
                  <a:pt x="238" y="45"/>
                  <a:pt x="238" y="45"/>
                </a:cubicBezTo>
                <a:cubicBezTo>
                  <a:pt x="237" y="45"/>
                  <a:pt x="236" y="44"/>
                  <a:pt x="233" y="44"/>
                </a:cubicBezTo>
                <a:cubicBezTo>
                  <a:pt x="238" y="46"/>
                  <a:pt x="239" y="47"/>
                  <a:pt x="243" y="49"/>
                </a:cubicBezTo>
                <a:cubicBezTo>
                  <a:pt x="245" y="50"/>
                  <a:pt x="246" y="51"/>
                  <a:pt x="248" y="52"/>
                </a:cubicBezTo>
                <a:cubicBezTo>
                  <a:pt x="252" y="55"/>
                  <a:pt x="258" y="58"/>
                  <a:pt x="262" y="60"/>
                </a:cubicBezTo>
                <a:cubicBezTo>
                  <a:pt x="261" y="60"/>
                  <a:pt x="262" y="61"/>
                  <a:pt x="262" y="61"/>
                </a:cubicBezTo>
                <a:cubicBezTo>
                  <a:pt x="263" y="62"/>
                  <a:pt x="263" y="63"/>
                  <a:pt x="262" y="63"/>
                </a:cubicBezTo>
                <a:cubicBezTo>
                  <a:pt x="260" y="63"/>
                  <a:pt x="258" y="62"/>
                  <a:pt x="257" y="61"/>
                </a:cubicBezTo>
                <a:cubicBezTo>
                  <a:pt x="254" y="60"/>
                  <a:pt x="250" y="59"/>
                  <a:pt x="246" y="57"/>
                </a:cubicBezTo>
                <a:cubicBezTo>
                  <a:pt x="242" y="56"/>
                  <a:pt x="240" y="56"/>
                  <a:pt x="238" y="57"/>
                </a:cubicBezTo>
                <a:cubicBezTo>
                  <a:pt x="238" y="57"/>
                  <a:pt x="236" y="57"/>
                  <a:pt x="235" y="56"/>
                </a:cubicBezTo>
                <a:cubicBezTo>
                  <a:pt x="234" y="55"/>
                  <a:pt x="234" y="55"/>
                  <a:pt x="236" y="55"/>
                </a:cubicBezTo>
                <a:cubicBezTo>
                  <a:pt x="239" y="56"/>
                  <a:pt x="238" y="54"/>
                  <a:pt x="240" y="54"/>
                </a:cubicBezTo>
                <a:cubicBezTo>
                  <a:pt x="236" y="53"/>
                  <a:pt x="232" y="52"/>
                  <a:pt x="228" y="50"/>
                </a:cubicBezTo>
                <a:cubicBezTo>
                  <a:pt x="229" y="52"/>
                  <a:pt x="230" y="52"/>
                  <a:pt x="230" y="53"/>
                </a:cubicBezTo>
                <a:cubicBezTo>
                  <a:pt x="228" y="53"/>
                  <a:pt x="223" y="51"/>
                  <a:pt x="224" y="53"/>
                </a:cubicBezTo>
                <a:cubicBezTo>
                  <a:pt x="225" y="55"/>
                  <a:pt x="225" y="55"/>
                  <a:pt x="221" y="55"/>
                </a:cubicBezTo>
                <a:cubicBezTo>
                  <a:pt x="225" y="57"/>
                  <a:pt x="228" y="58"/>
                  <a:pt x="232" y="59"/>
                </a:cubicBezTo>
                <a:cubicBezTo>
                  <a:pt x="232" y="59"/>
                  <a:pt x="233" y="59"/>
                  <a:pt x="233" y="59"/>
                </a:cubicBezTo>
                <a:cubicBezTo>
                  <a:pt x="233" y="59"/>
                  <a:pt x="233" y="60"/>
                  <a:pt x="232" y="60"/>
                </a:cubicBezTo>
                <a:cubicBezTo>
                  <a:pt x="230" y="60"/>
                  <a:pt x="232" y="60"/>
                  <a:pt x="233" y="61"/>
                </a:cubicBezTo>
                <a:cubicBezTo>
                  <a:pt x="234" y="61"/>
                  <a:pt x="234" y="61"/>
                  <a:pt x="234" y="61"/>
                </a:cubicBezTo>
                <a:cubicBezTo>
                  <a:pt x="234" y="61"/>
                  <a:pt x="234" y="62"/>
                  <a:pt x="236" y="62"/>
                </a:cubicBezTo>
                <a:cubicBezTo>
                  <a:pt x="238" y="63"/>
                  <a:pt x="238" y="64"/>
                  <a:pt x="236" y="64"/>
                </a:cubicBezTo>
                <a:cubicBezTo>
                  <a:pt x="235" y="64"/>
                  <a:pt x="238" y="65"/>
                  <a:pt x="238" y="65"/>
                </a:cubicBezTo>
                <a:cubicBezTo>
                  <a:pt x="236" y="65"/>
                  <a:pt x="235" y="64"/>
                  <a:pt x="234" y="63"/>
                </a:cubicBezTo>
                <a:cubicBezTo>
                  <a:pt x="232" y="62"/>
                  <a:pt x="228" y="60"/>
                  <a:pt x="225" y="58"/>
                </a:cubicBezTo>
                <a:cubicBezTo>
                  <a:pt x="224" y="58"/>
                  <a:pt x="222" y="57"/>
                  <a:pt x="220" y="56"/>
                </a:cubicBezTo>
                <a:cubicBezTo>
                  <a:pt x="219" y="55"/>
                  <a:pt x="218" y="55"/>
                  <a:pt x="217" y="54"/>
                </a:cubicBezTo>
                <a:cubicBezTo>
                  <a:pt x="216" y="54"/>
                  <a:pt x="215" y="53"/>
                  <a:pt x="215" y="53"/>
                </a:cubicBezTo>
                <a:cubicBezTo>
                  <a:pt x="215" y="53"/>
                  <a:pt x="214" y="52"/>
                  <a:pt x="213" y="52"/>
                </a:cubicBezTo>
                <a:cubicBezTo>
                  <a:pt x="212" y="53"/>
                  <a:pt x="211" y="52"/>
                  <a:pt x="210" y="52"/>
                </a:cubicBezTo>
                <a:cubicBezTo>
                  <a:pt x="210" y="52"/>
                  <a:pt x="211" y="52"/>
                  <a:pt x="212" y="53"/>
                </a:cubicBezTo>
                <a:cubicBezTo>
                  <a:pt x="213" y="53"/>
                  <a:pt x="214" y="54"/>
                  <a:pt x="216" y="54"/>
                </a:cubicBezTo>
                <a:cubicBezTo>
                  <a:pt x="221" y="57"/>
                  <a:pt x="225" y="60"/>
                  <a:pt x="233" y="63"/>
                </a:cubicBezTo>
                <a:cubicBezTo>
                  <a:pt x="237" y="67"/>
                  <a:pt x="244" y="70"/>
                  <a:pt x="250" y="73"/>
                </a:cubicBezTo>
                <a:cubicBezTo>
                  <a:pt x="253" y="74"/>
                  <a:pt x="255" y="76"/>
                  <a:pt x="258" y="77"/>
                </a:cubicBezTo>
                <a:cubicBezTo>
                  <a:pt x="259" y="79"/>
                  <a:pt x="263" y="80"/>
                  <a:pt x="266" y="82"/>
                </a:cubicBezTo>
                <a:cubicBezTo>
                  <a:pt x="262" y="81"/>
                  <a:pt x="258" y="81"/>
                  <a:pt x="253" y="79"/>
                </a:cubicBezTo>
                <a:cubicBezTo>
                  <a:pt x="248" y="77"/>
                  <a:pt x="243" y="75"/>
                  <a:pt x="239" y="73"/>
                </a:cubicBezTo>
                <a:cubicBezTo>
                  <a:pt x="233" y="69"/>
                  <a:pt x="228" y="66"/>
                  <a:pt x="220" y="63"/>
                </a:cubicBezTo>
                <a:cubicBezTo>
                  <a:pt x="217" y="61"/>
                  <a:pt x="212" y="60"/>
                  <a:pt x="208" y="59"/>
                </a:cubicBezTo>
                <a:cubicBezTo>
                  <a:pt x="207" y="60"/>
                  <a:pt x="211" y="62"/>
                  <a:pt x="214" y="63"/>
                </a:cubicBezTo>
                <a:cubicBezTo>
                  <a:pt x="216" y="63"/>
                  <a:pt x="219" y="64"/>
                  <a:pt x="219" y="65"/>
                </a:cubicBezTo>
                <a:cubicBezTo>
                  <a:pt x="219" y="65"/>
                  <a:pt x="217" y="65"/>
                  <a:pt x="215" y="65"/>
                </a:cubicBezTo>
                <a:cubicBezTo>
                  <a:pt x="214" y="65"/>
                  <a:pt x="212" y="64"/>
                  <a:pt x="211" y="65"/>
                </a:cubicBezTo>
                <a:cubicBezTo>
                  <a:pt x="211" y="64"/>
                  <a:pt x="210" y="64"/>
                  <a:pt x="209" y="63"/>
                </a:cubicBezTo>
                <a:cubicBezTo>
                  <a:pt x="209" y="63"/>
                  <a:pt x="209" y="63"/>
                  <a:pt x="209" y="62"/>
                </a:cubicBezTo>
                <a:cubicBezTo>
                  <a:pt x="209" y="62"/>
                  <a:pt x="209" y="62"/>
                  <a:pt x="209" y="62"/>
                </a:cubicBezTo>
                <a:cubicBezTo>
                  <a:pt x="210" y="63"/>
                  <a:pt x="212" y="64"/>
                  <a:pt x="212" y="63"/>
                </a:cubicBezTo>
                <a:cubicBezTo>
                  <a:pt x="212" y="63"/>
                  <a:pt x="212" y="62"/>
                  <a:pt x="208" y="61"/>
                </a:cubicBezTo>
                <a:cubicBezTo>
                  <a:pt x="208" y="61"/>
                  <a:pt x="207" y="61"/>
                  <a:pt x="207" y="61"/>
                </a:cubicBezTo>
                <a:cubicBezTo>
                  <a:pt x="205" y="60"/>
                  <a:pt x="203" y="59"/>
                  <a:pt x="201" y="58"/>
                </a:cubicBezTo>
                <a:cubicBezTo>
                  <a:pt x="201" y="58"/>
                  <a:pt x="200" y="58"/>
                  <a:pt x="200" y="58"/>
                </a:cubicBezTo>
                <a:cubicBezTo>
                  <a:pt x="202" y="59"/>
                  <a:pt x="204" y="60"/>
                  <a:pt x="206" y="61"/>
                </a:cubicBezTo>
                <a:cubicBezTo>
                  <a:pt x="207" y="62"/>
                  <a:pt x="207" y="62"/>
                  <a:pt x="205" y="62"/>
                </a:cubicBezTo>
                <a:cubicBezTo>
                  <a:pt x="203" y="62"/>
                  <a:pt x="202" y="62"/>
                  <a:pt x="201" y="62"/>
                </a:cubicBezTo>
                <a:cubicBezTo>
                  <a:pt x="200" y="61"/>
                  <a:pt x="199" y="60"/>
                  <a:pt x="195" y="59"/>
                </a:cubicBezTo>
                <a:cubicBezTo>
                  <a:pt x="196" y="60"/>
                  <a:pt x="197" y="61"/>
                  <a:pt x="198" y="62"/>
                </a:cubicBezTo>
                <a:cubicBezTo>
                  <a:pt x="199" y="64"/>
                  <a:pt x="203" y="65"/>
                  <a:pt x="207" y="67"/>
                </a:cubicBezTo>
                <a:cubicBezTo>
                  <a:pt x="208" y="68"/>
                  <a:pt x="209" y="68"/>
                  <a:pt x="211" y="69"/>
                </a:cubicBezTo>
                <a:cubicBezTo>
                  <a:pt x="211" y="69"/>
                  <a:pt x="211" y="69"/>
                  <a:pt x="212" y="70"/>
                </a:cubicBezTo>
                <a:cubicBezTo>
                  <a:pt x="212" y="70"/>
                  <a:pt x="213" y="71"/>
                  <a:pt x="215" y="71"/>
                </a:cubicBezTo>
                <a:cubicBezTo>
                  <a:pt x="216" y="72"/>
                  <a:pt x="217" y="72"/>
                  <a:pt x="217" y="72"/>
                </a:cubicBezTo>
                <a:cubicBezTo>
                  <a:pt x="215" y="73"/>
                  <a:pt x="219" y="74"/>
                  <a:pt x="218" y="75"/>
                </a:cubicBezTo>
                <a:cubicBezTo>
                  <a:pt x="217" y="74"/>
                  <a:pt x="213" y="73"/>
                  <a:pt x="213" y="74"/>
                </a:cubicBezTo>
                <a:cubicBezTo>
                  <a:pt x="212" y="74"/>
                  <a:pt x="214" y="75"/>
                  <a:pt x="216" y="76"/>
                </a:cubicBezTo>
                <a:cubicBezTo>
                  <a:pt x="218" y="77"/>
                  <a:pt x="219" y="77"/>
                  <a:pt x="220" y="78"/>
                </a:cubicBezTo>
                <a:cubicBezTo>
                  <a:pt x="221" y="80"/>
                  <a:pt x="224" y="82"/>
                  <a:pt x="231" y="83"/>
                </a:cubicBezTo>
                <a:cubicBezTo>
                  <a:pt x="232" y="85"/>
                  <a:pt x="238" y="87"/>
                  <a:pt x="241" y="88"/>
                </a:cubicBezTo>
                <a:cubicBezTo>
                  <a:pt x="246" y="91"/>
                  <a:pt x="252" y="94"/>
                  <a:pt x="258" y="97"/>
                </a:cubicBezTo>
                <a:cubicBezTo>
                  <a:pt x="259" y="98"/>
                  <a:pt x="261" y="99"/>
                  <a:pt x="266" y="101"/>
                </a:cubicBezTo>
                <a:cubicBezTo>
                  <a:pt x="264" y="99"/>
                  <a:pt x="261" y="98"/>
                  <a:pt x="259" y="97"/>
                </a:cubicBezTo>
                <a:cubicBezTo>
                  <a:pt x="257" y="96"/>
                  <a:pt x="256" y="95"/>
                  <a:pt x="254" y="94"/>
                </a:cubicBezTo>
                <a:cubicBezTo>
                  <a:pt x="260" y="96"/>
                  <a:pt x="261" y="98"/>
                  <a:pt x="265" y="99"/>
                </a:cubicBezTo>
                <a:cubicBezTo>
                  <a:pt x="267" y="100"/>
                  <a:pt x="269" y="101"/>
                  <a:pt x="270" y="101"/>
                </a:cubicBezTo>
                <a:cubicBezTo>
                  <a:pt x="270" y="101"/>
                  <a:pt x="270" y="101"/>
                  <a:pt x="270" y="101"/>
                </a:cubicBezTo>
                <a:cubicBezTo>
                  <a:pt x="270" y="102"/>
                  <a:pt x="270" y="102"/>
                  <a:pt x="272" y="103"/>
                </a:cubicBezTo>
                <a:cubicBezTo>
                  <a:pt x="274" y="104"/>
                  <a:pt x="274" y="103"/>
                  <a:pt x="274" y="103"/>
                </a:cubicBezTo>
                <a:cubicBezTo>
                  <a:pt x="277" y="104"/>
                  <a:pt x="280" y="105"/>
                  <a:pt x="282" y="107"/>
                </a:cubicBezTo>
                <a:cubicBezTo>
                  <a:pt x="282" y="107"/>
                  <a:pt x="281" y="107"/>
                  <a:pt x="280" y="106"/>
                </a:cubicBezTo>
                <a:cubicBezTo>
                  <a:pt x="279" y="106"/>
                  <a:pt x="278" y="105"/>
                  <a:pt x="277" y="106"/>
                </a:cubicBezTo>
                <a:cubicBezTo>
                  <a:pt x="273" y="105"/>
                  <a:pt x="270" y="104"/>
                  <a:pt x="269" y="102"/>
                </a:cubicBezTo>
                <a:cubicBezTo>
                  <a:pt x="268" y="102"/>
                  <a:pt x="267" y="101"/>
                  <a:pt x="266" y="101"/>
                </a:cubicBezTo>
                <a:cubicBezTo>
                  <a:pt x="265" y="101"/>
                  <a:pt x="266" y="102"/>
                  <a:pt x="267" y="102"/>
                </a:cubicBezTo>
                <a:cubicBezTo>
                  <a:pt x="266" y="102"/>
                  <a:pt x="265" y="102"/>
                  <a:pt x="265" y="102"/>
                </a:cubicBezTo>
                <a:cubicBezTo>
                  <a:pt x="264" y="102"/>
                  <a:pt x="263" y="101"/>
                  <a:pt x="262" y="101"/>
                </a:cubicBezTo>
                <a:cubicBezTo>
                  <a:pt x="257" y="99"/>
                  <a:pt x="253" y="96"/>
                  <a:pt x="248" y="94"/>
                </a:cubicBezTo>
                <a:cubicBezTo>
                  <a:pt x="248" y="94"/>
                  <a:pt x="248" y="94"/>
                  <a:pt x="248" y="95"/>
                </a:cubicBezTo>
                <a:cubicBezTo>
                  <a:pt x="248" y="95"/>
                  <a:pt x="249" y="95"/>
                  <a:pt x="249" y="95"/>
                </a:cubicBezTo>
                <a:cubicBezTo>
                  <a:pt x="249" y="95"/>
                  <a:pt x="249" y="95"/>
                  <a:pt x="249" y="95"/>
                </a:cubicBezTo>
                <a:cubicBezTo>
                  <a:pt x="249" y="95"/>
                  <a:pt x="249" y="95"/>
                  <a:pt x="249" y="95"/>
                </a:cubicBezTo>
                <a:cubicBezTo>
                  <a:pt x="246" y="95"/>
                  <a:pt x="243" y="94"/>
                  <a:pt x="242" y="92"/>
                </a:cubicBezTo>
                <a:cubicBezTo>
                  <a:pt x="241" y="92"/>
                  <a:pt x="239" y="90"/>
                  <a:pt x="236" y="90"/>
                </a:cubicBezTo>
                <a:cubicBezTo>
                  <a:pt x="235" y="90"/>
                  <a:pt x="234" y="90"/>
                  <a:pt x="234" y="90"/>
                </a:cubicBezTo>
                <a:cubicBezTo>
                  <a:pt x="232" y="91"/>
                  <a:pt x="235" y="92"/>
                  <a:pt x="237" y="92"/>
                </a:cubicBezTo>
                <a:cubicBezTo>
                  <a:pt x="244" y="96"/>
                  <a:pt x="253" y="100"/>
                  <a:pt x="260" y="103"/>
                </a:cubicBezTo>
                <a:cubicBezTo>
                  <a:pt x="260" y="103"/>
                  <a:pt x="260" y="103"/>
                  <a:pt x="260" y="103"/>
                </a:cubicBezTo>
                <a:cubicBezTo>
                  <a:pt x="263" y="105"/>
                  <a:pt x="270" y="107"/>
                  <a:pt x="271" y="109"/>
                </a:cubicBezTo>
                <a:cubicBezTo>
                  <a:pt x="261" y="105"/>
                  <a:pt x="252" y="101"/>
                  <a:pt x="243" y="96"/>
                </a:cubicBezTo>
                <a:cubicBezTo>
                  <a:pt x="234" y="91"/>
                  <a:pt x="224" y="87"/>
                  <a:pt x="212" y="82"/>
                </a:cubicBezTo>
                <a:cubicBezTo>
                  <a:pt x="210" y="81"/>
                  <a:pt x="208" y="80"/>
                  <a:pt x="206" y="79"/>
                </a:cubicBezTo>
                <a:cubicBezTo>
                  <a:pt x="202" y="76"/>
                  <a:pt x="195" y="73"/>
                  <a:pt x="190" y="70"/>
                </a:cubicBezTo>
                <a:cubicBezTo>
                  <a:pt x="189" y="70"/>
                  <a:pt x="193" y="71"/>
                  <a:pt x="193" y="72"/>
                </a:cubicBezTo>
                <a:cubicBezTo>
                  <a:pt x="188" y="71"/>
                  <a:pt x="184" y="69"/>
                  <a:pt x="181" y="67"/>
                </a:cubicBezTo>
                <a:cubicBezTo>
                  <a:pt x="179" y="65"/>
                  <a:pt x="177" y="64"/>
                  <a:pt x="171" y="63"/>
                </a:cubicBezTo>
                <a:cubicBezTo>
                  <a:pt x="166" y="62"/>
                  <a:pt x="165" y="60"/>
                  <a:pt x="162" y="59"/>
                </a:cubicBezTo>
                <a:cubicBezTo>
                  <a:pt x="162" y="59"/>
                  <a:pt x="162" y="59"/>
                  <a:pt x="162" y="59"/>
                </a:cubicBezTo>
                <a:cubicBezTo>
                  <a:pt x="157" y="57"/>
                  <a:pt x="153" y="54"/>
                  <a:pt x="149" y="52"/>
                </a:cubicBezTo>
                <a:cubicBezTo>
                  <a:pt x="152" y="53"/>
                  <a:pt x="153" y="54"/>
                  <a:pt x="155" y="55"/>
                </a:cubicBezTo>
                <a:cubicBezTo>
                  <a:pt x="156" y="55"/>
                  <a:pt x="158" y="56"/>
                  <a:pt x="161" y="57"/>
                </a:cubicBezTo>
                <a:cubicBezTo>
                  <a:pt x="160" y="56"/>
                  <a:pt x="159" y="55"/>
                  <a:pt x="156" y="55"/>
                </a:cubicBezTo>
                <a:cubicBezTo>
                  <a:pt x="153" y="53"/>
                  <a:pt x="151" y="52"/>
                  <a:pt x="148" y="50"/>
                </a:cubicBezTo>
                <a:cubicBezTo>
                  <a:pt x="146" y="49"/>
                  <a:pt x="145" y="49"/>
                  <a:pt x="143" y="48"/>
                </a:cubicBezTo>
                <a:cubicBezTo>
                  <a:pt x="143" y="48"/>
                  <a:pt x="142" y="48"/>
                  <a:pt x="142" y="48"/>
                </a:cubicBezTo>
                <a:cubicBezTo>
                  <a:pt x="144" y="49"/>
                  <a:pt x="145" y="49"/>
                  <a:pt x="146" y="50"/>
                </a:cubicBezTo>
                <a:cubicBezTo>
                  <a:pt x="146" y="50"/>
                  <a:pt x="145" y="50"/>
                  <a:pt x="145" y="50"/>
                </a:cubicBezTo>
                <a:cubicBezTo>
                  <a:pt x="140" y="47"/>
                  <a:pt x="132" y="44"/>
                  <a:pt x="129" y="41"/>
                </a:cubicBezTo>
                <a:cubicBezTo>
                  <a:pt x="126" y="40"/>
                  <a:pt x="124" y="39"/>
                  <a:pt x="121" y="38"/>
                </a:cubicBezTo>
                <a:cubicBezTo>
                  <a:pt x="121" y="37"/>
                  <a:pt x="120" y="36"/>
                  <a:pt x="116" y="34"/>
                </a:cubicBezTo>
                <a:cubicBezTo>
                  <a:pt x="113" y="32"/>
                  <a:pt x="106" y="30"/>
                  <a:pt x="100" y="28"/>
                </a:cubicBezTo>
                <a:cubicBezTo>
                  <a:pt x="100" y="28"/>
                  <a:pt x="100" y="28"/>
                  <a:pt x="99" y="28"/>
                </a:cubicBezTo>
                <a:cubicBezTo>
                  <a:pt x="98" y="27"/>
                  <a:pt x="96" y="26"/>
                  <a:pt x="94" y="25"/>
                </a:cubicBezTo>
                <a:cubicBezTo>
                  <a:pt x="92" y="24"/>
                  <a:pt x="94" y="24"/>
                  <a:pt x="96" y="25"/>
                </a:cubicBezTo>
                <a:cubicBezTo>
                  <a:pt x="97" y="25"/>
                  <a:pt x="98" y="26"/>
                  <a:pt x="101" y="27"/>
                </a:cubicBezTo>
                <a:cubicBezTo>
                  <a:pt x="100" y="26"/>
                  <a:pt x="98" y="25"/>
                  <a:pt x="97" y="25"/>
                </a:cubicBezTo>
                <a:cubicBezTo>
                  <a:pt x="96" y="24"/>
                  <a:pt x="95" y="24"/>
                  <a:pt x="94" y="24"/>
                </a:cubicBezTo>
                <a:cubicBezTo>
                  <a:pt x="90" y="21"/>
                  <a:pt x="83" y="17"/>
                  <a:pt x="77" y="14"/>
                </a:cubicBezTo>
                <a:cubicBezTo>
                  <a:pt x="75" y="13"/>
                  <a:pt x="74" y="12"/>
                  <a:pt x="69" y="11"/>
                </a:cubicBezTo>
                <a:cubicBezTo>
                  <a:pt x="70" y="12"/>
                  <a:pt x="73" y="13"/>
                  <a:pt x="76" y="14"/>
                </a:cubicBezTo>
                <a:cubicBezTo>
                  <a:pt x="79" y="16"/>
                  <a:pt x="83" y="18"/>
                  <a:pt x="87" y="20"/>
                </a:cubicBezTo>
                <a:cubicBezTo>
                  <a:pt x="85" y="21"/>
                  <a:pt x="90" y="24"/>
                  <a:pt x="92" y="25"/>
                </a:cubicBezTo>
                <a:cubicBezTo>
                  <a:pt x="93" y="27"/>
                  <a:pt x="96" y="28"/>
                  <a:pt x="98" y="29"/>
                </a:cubicBezTo>
                <a:cubicBezTo>
                  <a:pt x="98" y="30"/>
                  <a:pt x="101" y="31"/>
                  <a:pt x="103" y="31"/>
                </a:cubicBezTo>
                <a:cubicBezTo>
                  <a:pt x="108" y="33"/>
                  <a:pt x="113" y="35"/>
                  <a:pt x="110" y="36"/>
                </a:cubicBezTo>
                <a:cubicBezTo>
                  <a:pt x="109" y="37"/>
                  <a:pt x="111" y="38"/>
                  <a:pt x="115" y="39"/>
                </a:cubicBezTo>
                <a:cubicBezTo>
                  <a:pt x="117" y="40"/>
                  <a:pt x="119" y="41"/>
                  <a:pt x="121" y="42"/>
                </a:cubicBezTo>
                <a:cubicBezTo>
                  <a:pt x="122" y="42"/>
                  <a:pt x="124" y="43"/>
                  <a:pt x="125" y="44"/>
                </a:cubicBezTo>
                <a:cubicBezTo>
                  <a:pt x="125" y="44"/>
                  <a:pt x="126" y="45"/>
                  <a:pt x="128" y="46"/>
                </a:cubicBezTo>
                <a:cubicBezTo>
                  <a:pt x="129" y="46"/>
                  <a:pt x="128" y="45"/>
                  <a:pt x="127" y="44"/>
                </a:cubicBezTo>
                <a:cubicBezTo>
                  <a:pt x="126" y="43"/>
                  <a:pt x="125" y="42"/>
                  <a:pt x="123" y="42"/>
                </a:cubicBezTo>
                <a:cubicBezTo>
                  <a:pt x="121" y="40"/>
                  <a:pt x="121" y="40"/>
                  <a:pt x="123" y="40"/>
                </a:cubicBezTo>
                <a:cubicBezTo>
                  <a:pt x="125" y="40"/>
                  <a:pt x="125" y="41"/>
                  <a:pt x="126" y="41"/>
                </a:cubicBezTo>
                <a:cubicBezTo>
                  <a:pt x="134" y="46"/>
                  <a:pt x="143" y="50"/>
                  <a:pt x="151" y="55"/>
                </a:cubicBezTo>
                <a:cubicBezTo>
                  <a:pt x="149" y="54"/>
                  <a:pt x="146" y="53"/>
                  <a:pt x="145" y="53"/>
                </a:cubicBezTo>
                <a:cubicBezTo>
                  <a:pt x="140" y="50"/>
                  <a:pt x="135" y="49"/>
                  <a:pt x="129" y="49"/>
                </a:cubicBezTo>
                <a:cubicBezTo>
                  <a:pt x="129" y="49"/>
                  <a:pt x="130" y="48"/>
                  <a:pt x="129" y="48"/>
                </a:cubicBezTo>
                <a:cubicBezTo>
                  <a:pt x="129" y="48"/>
                  <a:pt x="128" y="47"/>
                  <a:pt x="127" y="47"/>
                </a:cubicBezTo>
                <a:cubicBezTo>
                  <a:pt x="127" y="48"/>
                  <a:pt x="126" y="48"/>
                  <a:pt x="128" y="49"/>
                </a:cubicBezTo>
                <a:cubicBezTo>
                  <a:pt x="129" y="50"/>
                  <a:pt x="122" y="48"/>
                  <a:pt x="126" y="50"/>
                </a:cubicBezTo>
                <a:cubicBezTo>
                  <a:pt x="128" y="51"/>
                  <a:pt x="132" y="52"/>
                  <a:pt x="132" y="51"/>
                </a:cubicBezTo>
                <a:cubicBezTo>
                  <a:pt x="136" y="49"/>
                  <a:pt x="139" y="52"/>
                  <a:pt x="143" y="53"/>
                </a:cubicBezTo>
                <a:cubicBezTo>
                  <a:pt x="144" y="54"/>
                  <a:pt x="146" y="55"/>
                  <a:pt x="147" y="56"/>
                </a:cubicBezTo>
                <a:cubicBezTo>
                  <a:pt x="151" y="58"/>
                  <a:pt x="154" y="57"/>
                  <a:pt x="157" y="58"/>
                </a:cubicBezTo>
                <a:cubicBezTo>
                  <a:pt x="157" y="58"/>
                  <a:pt x="157" y="58"/>
                  <a:pt x="157" y="58"/>
                </a:cubicBezTo>
                <a:cubicBezTo>
                  <a:pt x="158" y="58"/>
                  <a:pt x="158" y="58"/>
                  <a:pt x="158" y="58"/>
                </a:cubicBezTo>
                <a:cubicBezTo>
                  <a:pt x="161" y="60"/>
                  <a:pt x="157" y="60"/>
                  <a:pt x="159" y="62"/>
                </a:cubicBezTo>
                <a:cubicBezTo>
                  <a:pt x="162" y="64"/>
                  <a:pt x="169" y="67"/>
                  <a:pt x="173" y="70"/>
                </a:cubicBezTo>
                <a:cubicBezTo>
                  <a:pt x="175" y="70"/>
                  <a:pt x="176" y="71"/>
                  <a:pt x="177" y="72"/>
                </a:cubicBezTo>
                <a:cubicBezTo>
                  <a:pt x="183" y="74"/>
                  <a:pt x="185" y="76"/>
                  <a:pt x="188" y="78"/>
                </a:cubicBezTo>
                <a:cubicBezTo>
                  <a:pt x="194" y="80"/>
                  <a:pt x="196" y="82"/>
                  <a:pt x="202" y="85"/>
                </a:cubicBezTo>
                <a:cubicBezTo>
                  <a:pt x="204" y="86"/>
                  <a:pt x="207" y="87"/>
                  <a:pt x="209" y="89"/>
                </a:cubicBezTo>
                <a:cubicBezTo>
                  <a:pt x="215" y="92"/>
                  <a:pt x="222" y="95"/>
                  <a:pt x="228" y="98"/>
                </a:cubicBezTo>
                <a:cubicBezTo>
                  <a:pt x="229" y="99"/>
                  <a:pt x="231" y="100"/>
                  <a:pt x="232" y="100"/>
                </a:cubicBezTo>
                <a:cubicBezTo>
                  <a:pt x="231" y="100"/>
                  <a:pt x="230" y="100"/>
                  <a:pt x="229" y="100"/>
                </a:cubicBezTo>
                <a:cubicBezTo>
                  <a:pt x="224" y="97"/>
                  <a:pt x="219" y="95"/>
                  <a:pt x="213" y="93"/>
                </a:cubicBezTo>
                <a:cubicBezTo>
                  <a:pt x="214" y="93"/>
                  <a:pt x="214" y="93"/>
                  <a:pt x="214" y="94"/>
                </a:cubicBezTo>
                <a:cubicBezTo>
                  <a:pt x="214" y="93"/>
                  <a:pt x="213" y="93"/>
                  <a:pt x="213" y="93"/>
                </a:cubicBezTo>
                <a:cubicBezTo>
                  <a:pt x="207" y="89"/>
                  <a:pt x="200" y="86"/>
                  <a:pt x="194" y="83"/>
                </a:cubicBezTo>
                <a:cubicBezTo>
                  <a:pt x="188" y="80"/>
                  <a:pt x="181" y="77"/>
                  <a:pt x="175" y="74"/>
                </a:cubicBezTo>
                <a:cubicBezTo>
                  <a:pt x="165" y="70"/>
                  <a:pt x="155" y="65"/>
                  <a:pt x="146" y="60"/>
                </a:cubicBezTo>
                <a:cubicBezTo>
                  <a:pt x="144" y="59"/>
                  <a:pt x="141" y="58"/>
                  <a:pt x="138" y="57"/>
                </a:cubicBezTo>
                <a:cubicBezTo>
                  <a:pt x="133" y="53"/>
                  <a:pt x="124" y="50"/>
                  <a:pt x="118" y="46"/>
                </a:cubicBezTo>
                <a:cubicBezTo>
                  <a:pt x="118" y="45"/>
                  <a:pt x="113" y="44"/>
                  <a:pt x="110" y="42"/>
                </a:cubicBezTo>
                <a:cubicBezTo>
                  <a:pt x="109" y="43"/>
                  <a:pt x="114" y="45"/>
                  <a:pt x="116" y="46"/>
                </a:cubicBezTo>
                <a:cubicBezTo>
                  <a:pt x="116" y="46"/>
                  <a:pt x="116" y="46"/>
                  <a:pt x="116" y="46"/>
                </a:cubicBezTo>
                <a:cubicBezTo>
                  <a:pt x="115" y="47"/>
                  <a:pt x="113" y="47"/>
                  <a:pt x="106" y="45"/>
                </a:cubicBezTo>
                <a:cubicBezTo>
                  <a:pt x="108" y="46"/>
                  <a:pt x="108" y="48"/>
                  <a:pt x="112" y="49"/>
                </a:cubicBezTo>
                <a:cubicBezTo>
                  <a:pt x="114" y="49"/>
                  <a:pt x="111" y="47"/>
                  <a:pt x="116" y="49"/>
                </a:cubicBezTo>
                <a:cubicBezTo>
                  <a:pt x="120" y="50"/>
                  <a:pt x="119" y="51"/>
                  <a:pt x="122" y="52"/>
                </a:cubicBezTo>
                <a:cubicBezTo>
                  <a:pt x="122" y="54"/>
                  <a:pt x="117" y="53"/>
                  <a:pt x="117" y="53"/>
                </a:cubicBezTo>
                <a:cubicBezTo>
                  <a:pt x="108" y="51"/>
                  <a:pt x="117" y="54"/>
                  <a:pt x="116" y="54"/>
                </a:cubicBezTo>
                <a:cubicBezTo>
                  <a:pt x="117" y="54"/>
                  <a:pt x="116" y="54"/>
                  <a:pt x="115" y="55"/>
                </a:cubicBezTo>
                <a:cubicBezTo>
                  <a:pt x="115" y="55"/>
                  <a:pt x="114" y="55"/>
                  <a:pt x="113" y="55"/>
                </a:cubicBezTo>
                <a:cubicBezTo>
                  <a:pt x="112" y="54"/>
                  <a:pt x="110" y="53"/>
                  <a:pt x="108" y="52"/>
                </a:cubicBezTo>
                <a:cubicBezTo>
                  <a:pt x="106" y="51"/>
                  <a:pt x="104" y="50"/>
                  <a:pt x="102" y="49"/>
                </a:cubicBezTo>
                <a:cubicBezTo>
                  <a:pt x="98" y="46"/>
                  <a:pt x="90" y="43"/>
                  <a:pt x="82" y="39"/>
                </a:cubicBezTo>
                <a:cubicBezTo>
                  <a:pt x="89" y="43"/>
                  <a:pt x="93" y="46"/>
                  <a:pt x="101" y="49"/>
                </a:cubicBezTo>
                <a:cubicBezTo>
                  <a:pt x="103" y="50"/>
                  <a:pt x="105" y="51"/>
                  <a:pt x="108" y="52"/>
                </a:cubicBezTo>
                <a:cubicBezTo>
                  <a:pt x="109" y="54"/>
                  <a:pt x="111" y="55"/>
                  <a:pt x="113" y="56"/>
                </a:cubicBezTo>
                <a:cubicBezTo>
                  <a:pt x="111" y="56"/>
                  <a:pt x="113" y="57"/>
                  <a:pt x="112" y="57"/>
                </a:cubicBezTo>
                <a:cubicBezTo>
                  <a:pt x="108" y="57"/>
                  <a:pt x="106" y="56"/>
                  <a:pt x="104" y="55"/>
                </a:cubicBezTo>
                <a:cubicBezTo>
                  <a:pt x="93" y="49"/>
                  <a:pt x="82" y="42"/>
                  <a:pt x="71" y="36"/>
                </a:cubicBezTo>
                <a:cubicBezTo>
                  <a:pt x="70" y="36"/>
                  <a:pt x="69" y="35"/>
                  <a:pt x="67" y="35"/>
                </a:cubicBezTo>
                <a:cubicBezTo>
                  <a:pt x="66" y="33"/>
                  <a:pt x="63" y="32"/>
                  <a:pt x="60" y="31"/>
                </a:cubicBezTo>
                <a:cubicBezTo>
                  <a:pt x="60" y="30"/>
                  <a:pt x="60" y="30"/>
                  <a:pt x="60" y="30"/>
                </a:cubicBezTo>
                <a:cubicBezTo>
                  <a:pt x="60" y="30"/>
                  <a:pt x="59" y="30"/>
                  <a:pt x="59" y="29"/>
                </a:cubicBezTo>
                <a:cubicBezTo>
                  <a:pt x="57" y="28"/>
                  <a:pt x="55" y="27"/>
                  <a:pt x="52" y="25"/>
                </a:cubicBezTo>
                <a:cubicBezTo>
                  <a:pt x="51" y="24"/>
                  <a:pt x="51" y="23"/>
                  <a:pt x="44" y="20"/>
                </a:cubicBezTo>
                <a:cubicBezTo>
                  <a:pt x="37" y="18"/>
                  <a:pt x="34" y="15"/>
                  <a:pt x="35" y="13"/>
                </a:cubicBezTo>
                <a:cubicBezTo>
                  <a:pt x="35" y="12"/>
                  <a:pt x="37" y="12"/>
                  <a:pt x="36" y="11"/>
                </a:cubicBezTo>
                <a:cubicBezTo>
                  <a:pt x="33" y="11"/>
                  <a:pt x="30" y="10"/>
                  <a:pt x="27" y="10"/>
                </a:cubicBezTo>
                <a:cubicBezTo>
                  <a:pt x="25" y="9"/>
                  <a:pt x="24" y="8"/>
                  <a:pt x="23" y="8"/>
                </a:cubicBezTo>
                <a:cubicBezTo>
                  <a:pt x="23" y="7"/>
                  <a:pt x="22" y="7"/>
                  <a:pt x="22" y="7"/>
                </a:cubicBezTo>
                <a:cubicBezTo>
                  <a:pt x="19" y="5"/>
                  <a:pt x="17" y="4"/>
                  <a:pt x="14" y="2"/>
                </a:cubicBezTo>
                <a:cubicBezTo>
                  <a:pt x="13" y="2"/>
                  <a:pt x="12" y="1"/>
                  <a:pt x="9" y="0"/>
                </a:cubicBezTo>
                <a:cubicBezTo>
                  <a:pt x="9" y="1"/>
                  <a:pt x="11" y="2"/>
                  <a:pt x="13" y="2"/>
                </a:cubicBezTo>
                <a:cubicBezTo>
                  <a:pt x="13" y="3"/>
                  <a:pt x="13" y="3"/>
                  <a:pt x="13" y="3"/>
                </a:cubicBezTo>
                <a:cubicBezTo>
                  <a:pt x="13" y="3"/>
                  <a:pt x="12" y="3"/>
                  <a:pt x="12" y="3"/>
                </a:cubicBezTo>
                <a:cubicBezTo>
                  <a:pt x="11" y="3"/>
                  <a:pt x="11" y="3"/>
                  <a:pt x="11" y="3"/>
                </a:cubicBezTo>
                <a:cubicBezTo>
                  <a:pt x="9" y="2"/>
                  <a:pt x="9" y="1"/>
                  <a:pt x="5" y="0"/>
                </a:cubicBezTo>
                <a:cubicBezTo>
                  <a:pt x="5" y="0"/>
                  <a:pt x="7" y="1"/>
                  <a:pt x="10" y="3"/>
                </a:cubicBezTo>
                <a:cubicBezTo>
                  <a:pt x="11" y="3"/>
                  <a:pt x="12" y="4"/>
                  <a:pt x="14" y="5"/>
                </a:cubicBezTo>
                <a:cubicBezTo>
                  <a:pt x="13" y="5"/>
                  <a:pt x="16" y="6"/>
                  <a:pt x="17" y="7"/>
                </a:cubicBezTo>
                <a:cubicBezTo>
                  <a:pt x="17" y="7"/>
                  <a:pt x="17" y="8"/>
                  <a:pt x="18" y="8"/>
                </a:cubicBezTo>
                <a:cubicBezTo>
                  <a:pt x="21" y="9"/>
                  <a:pt x="22" y="11"/>
                  <a:pt x="25" y="12"/>
                </a:cubicBezTo>
                <a:cubicBezTo>
                  <a:pt x="25" y="13"/>
                  <a:pt x="28" y="14"/>
                  <a:pt x="30" y="15"/>
                </a:cubicBezTo>
                <a:cubicBezTo>
                  <a:pt x="31" y="16"/>
                  <a:pt x="33" y="17"/>
                  <a:pt x="33" y="18"/>
                </a:cubicBezTo>
                <a:cubicBezTo>
                  <a:pt x="33" y="18"/>
                  <a:pt x="33" y="18"/>
                  <a:pt x="33" y="18"/>
                </a:cubicBezTo>
                <a:cubicBezTo>
                  <a:pt x="32" y="18"/>
                  <a:pt x="31" y="18"/>
                  <a:pt x="32" y="18"/>
                </a:cubicBezTo>
                <a:cubicBezTo>
                  <a:pt x="33" y="19"/>
                  <a:pt x="35" y="19"/>
                  <a:pt x="36" y="19"/>
                </a:cubicBezTo>
                <a:cubicBezTo>
                  <a:pt x="42" y="22"/>
                  <a:pt x="41" y="23"/>
                  <a:pt x="46" y="26"/>
                </a:cubicBezTo>
                <a:cubicBezTo>
                  <a:pt x="47" y="27"/>
                  <a:pt x="51" y="28"/>
                  <a:pt x="51" y="29"/>
                </a:cubicBezTo>
                <a:cubicBezTo>
                  <a:pt x="42" y="25"/>
                  <a:pt x="34" y="21"/>
                  <a:pt x="28" y="18"/>
                </a:cubicBezTo>
                <a:cubicBezTo>
                  <a:pt x="28" y="17"/>
                  <a:pt x="28" y="17"/>
                  <a:pt x="26" y="16"/>
                </a:cubicBezTo>
                <a:cubicBezTo>
                  <a:pt x="24" y="15"/>
                  <a:pt x="22" y="14"/>
                  <a:pt x="19" y="13"/>
                </a:cubicBezTo>
                <a:cubicBezTo>
                  <a:pt x="20" y="14"/>
                  <a:pt x="21" y="15"/>
                  <a:pt x="23" y="16"/>
                </a:cubicBezTo>
                <a:cubicBezTo>
                  <a:pt x="24" y="16"/>
                  <a:pt x="25" y="17"/>
                  <a:pt x="26" y="17"/>
                </a:cubicBezTo>
                <a:cubicBezTo>
                  <a:pt x="26" y="18"/>
                  <a:pt x="29" y="19"/>
                  <a:pt x="29" y="20"/>
                </a:cubicBezTo>
                <a:cubicBezTo>
                  <a:pt x="28" y="19"/>
                  <a:pt x="27" y="19"/>
                  <a:pt x="25" y="18"/>
                </a:cubicBezTo>
                <a:cubicBezTo>
                  <a:pt x="23" y="18"/>
                  <a:pt x="25" y="19"/>
                  <a:pt x="26" y="20"/>
                </a:cubicBezTo>
                <a:cubicBezTo>
                  <a:pt x="28" y="21"/>
                  <a:pt x="31" y="22"/>
                  <a:pt x="35" y="23"/>
                </a:cubicBezTo>
                <a:cubicBezTo>
                  <a:pt x="37" y="25"/>
                  <a:pt x="41" y="28"/>
                  <a:pt x="46" y="30"/>
                </a:cubicBezTo>
                <a:cubicBezTo>
                  <a:pt x="50" y="32"/>
                  <a:pt x="43" y="31"/>
                  <a:pt x="43" y="33"/>
                </a:cubicBezTo>
                <a:cubicBezTo>
                  <a:pt x="42" y="33"/>
                  <a:pt x="41" y="33"/>
                  <a:pt x="39" y="32"/>
                </a:cubicBezTo>
                <a:cubicBezTo>
                  <a:pt x="35" y="30"/>
                  <a:pt x="31" y="28"/>
                  <a:pt x="29" y="26"/>
                </a:cubicBezTo>
                <a:cubicBezTo>
                  <a:pt x="31" y="25"/>
                  <a:pt x="33" y="27"/>
                  <a:pt x="35" y="27"/>
                </a:cubicBezTo>
                <a:cubicBezTo>
                  <a:pt x="33" y="26"/>
                  <a:pt x="32" y="24"/>
                  <a:pt x="28" y="24"/>
                </a:cubicBezTo>
                <a:cubicBezTo>
                  <a:pt x="25" y="23"/>
                  <a:pt x="28" y="25"/>
                  <a:pt x="27" y="25"/>
                </a:cubicBezTo>
                <a:cubicBezTo>
                  <a:pt x="22" y="24"/>
                  <a:pt x="22" y="25"/>
                  <a:pt x="24" y="26"/>
                </a:cubicBezTo>
                <a:cubicBezTo>
                  <a:pt x="28" y="28"/>
                  <a:pt x="32" y="30"/>
                  <a:pt x="36" y="32"/>
                </a:cubicBezTo>
                <a:cubicBezTo>
                  <a:pt x="37" y="33"/>
                  <a:pt x="41" y="34"/>
                  <a:pt x="40" y="35"/>
                </a:cubicBezTo>
                <a:cubicBezTo>
                  <a:pt x="36" y="34"/>
                  <a:pt x="40" y="36"/>
                  <a:pt x="39" y="36"/>
                </a:cubicBezTo>
                <a:cubicBezTo>
                  <a:pt x="36" y="36"/>
                  <a:pt x="35" y="35"/>
                  <a:pt x="33" y="35"/>
                </a:cubicBezTo>
                <a:cubicBezTo>
                  <a:pt x="27" y="33"/>
                  <a:pt x="26" y="31"/>
                  <a:pt x="19" y="29"/>
                </a:cubicBezTo>
                <a:cubicBezTo>
                  <a:pt x="20" y="30"/>
                  <a:pt x="25" y="31"/>
                  <a:pt x="25" y="32"/>
                </a:cubicBezTo>
                <a:cubicBezTo>
                  <a:pt x="25" y="34"/>
                  <a:pt x="35" y="37"/>
                  <a:pt x="32" y="38"/>
                </a:cubicBezTo>
                <a:cubicBezTo>
                  <a:pt x="31" y="38"/>
                  <a:pt x="30" y="37"/>
                  <a:pt x="29" y="37"/>
                </a:cubicBezTo>
                <a:cubicBezTo>
                  <a:pt x="29" y="35"/>
                  <a:pt x="21" y="33"/>
                  <a:pt x="18" y="31"/>
                </a:cubicBezTo>
                <a:cubicBezTo>
                  <a:pt x="19" y="33"/>
                  <a:pt x="21" y="34"/>
                  <a:pt x="25" y="36"/>
                </a:cubicBezTo>
                <a:cubicBezTo>
                  <a:pt x="29" y="38"/>
                  <a:pt x="34" y="40"/>
                  <a:pt x="38" y="43"/>
                </a:cubicBezTo>
                <a:cubicBezTo>
                  <a:pt x="33" y="41"/>
                  <a:pt x="29" y="40"/>
                  <a:pt x="24" y="38"/>
                </a:cubicBezTo>
                <a:cubicBezTo>
                  <a:pt x="24" y="37"/>
                  <a:pt x="23" y="36"/>
                  <a:pt x="21" y="35"/>
                </a:cubicBezTo>
                <a:cubicBezTo>
                  <a:pt x="19" y="35"/>
                  <a:pt x="19" y="36"/>
                  <a:pt x="21" y="37"/>
                </a:cubicBezTo>
                <a:cubicBezTo>
                  <a:pt x="22" y="38"/>
                  <a:pt x="22" y="38"/>
                  <a:pt x="22" y="38"/>
                </a:cubicBezTo>
                <a:cubicBezTo>
                  <a:pt x="28" y="44"/>
                  <a:pt x="35" y="49"/>
                  <a:pt x="44" y="55"/>
                </a:cubicBezTo>
                <a:cubicBezTo>
                  <a:pt x="43" y="55"/>
                  <a:pt x="43" y="55"/>
                  <a:pt x="42" y="54"/>
                </a:cubicBezTo>
                <a:cubicBezTo>
                  <a:pt x="34" y="50"/>
                  <a:pt x="25" y="45"/>
                  <a:pt x="17" y="40"/>
                </a:cubicBezTo>
                <a:cubicBezTo>
                  <a:pt x="12" y="37"/>
                  <a:pt x="6" y="34"/>
                  <a:pt x="0" y="31"/>
                </a:cubicBezTo>
                <a:cubicBezTo>
                  <a:pt x="0" y="84"/>
                  <a:pt x="0" y="84"/>
                  <a:pt x="0" y="84"/>
                </a:cubicBezTo>
                <a:cubicBezTo>
                  <a:pt x="0" y="84"/>
                  <a:pt x="1" y="85"/>
                  <a:pt x="1" y="85"/>
                </a:cubicBezTo>
                <a:cubicBezTo>
                  <a:pt x="2" y="86"/>
                  <a:pt x="3" y="86"/>
                  <a:pt x="4" y="87"/>
                </a:cubicBezTo>
                <a:cubicBezTo>
                  <a:pt x="4" y="87"/>
                  <a:pt x="5" y="88"/>
                  <a:pt x="6" y="88"/>
                </a:cubicBezTo>
                <a:cubicBezTo>
                  <a:pt x="4" y="88"/>
                  <a:pt x="2" y="88"/>
                  <a:pt x="0" y="88"/>
                </a:cubicBezTo>
                <a:cubicBezTo>
                  <a:pt x="0" y="107"/>
                  <a:pt x="0" y="107"/>
                  <a:pt x="0" y="107"/>
                </a:cubicBezTo>
                <a:cubicBezTo>
                  <a:pt x="0" y="107"/>
                  <a:pt x="0" y="107"/>
                  <a:pt x="1" y="107"/>
                </a:cubicBezTo>
                <a:cubicBezTo>
                  <a:pt x="1" y="108"/>
                  <a:pt x="1" y="108"/>
                  <a:pt x="2" y="109"/>
                </a:cubicBezTo>
                <a:cubicBezTo>
                  <a:pt x="1" y="109"/>
                  <a:pt x="1" y="109"/>
                  <a:pt x="0" y="109"/>
                </a:cubicBezTo>
                <a:cubicBezTo>
                  <a:pt x="0" y="109"/>
                  <a:pt x="0" y="109"/>
                  <a:pt x="0" y="108"/>
                </a:cubicBezTo>
                <a:cubicBezTo>
                  <a:pt x="0" y="126"/>
                  <a:pt x="0" y="126"/>
                  <a:pt x="0" y="126"/>
                </a:cubicBezTo>
                <a:cubicBezTo>
                  <a:pt x="0" y="127"/>
                  <a:pt x="0" y="127"/>
                  <a:pt x="0" y="127"/>
                </a:cubicBezTo>
                <a:cubicBezTo>
                  <a:pt x="0" y="127"/>
                  <a:pt x="0" y="127"/>
                  <a:pt x="0" y="127"/>
                </a:cubicBezTo>
                <a:cubicBezTo>
                  <a:pt x="0" y="158"/>
                  <a:pt x="0" y="158"/>
                  <a:pt x="0" y="158"/>
                </a:cubicBezTo>
                <a:cubicBezTo>
                  <a:pt x="0" y="158"/>
                  <a:pt x="0" y="158"/>
                  <a:pt x="0" y="158"/>
                </a:cubicBezTo>
                <a:cubicBezTo>
                  <a:pt x="0" y="159"/>
                  <a:pt x="0" y="159"/>
                  <a:pt x="0" y="159"/>
                </a:cubicBezTo>
                <a:cubicBezTo>
                  <a:pt x="0" y="159"/>
                  <a:pt x="0" y="159"/>
                  <a:pt x="0" y="159"/>
                </a:cubicBezTo>
                <a:cubicBezTo>
                  <a:pt x="0" y="173"/>
                  <a:pt x="0" y="173"/>
                  <a:pt x="0" y="173"/>
                </a:cubicBezTo>
                <a:cubicBezTo>
                  <a:pt x="0" y="173"/>
                  <a:pt x="0" y="173"/>
                  <a:pt x="0" y="173"/>
                </a:cubicBezTo>
                <a:cubicBezTo>
                  <a:pt x="0" y="173"/>
                  <a:pt x="0" y="173"/>
                  <a:pt x="0" y="173"/>
                </a:cubicBezTo>
                <a:cubicBezTo>
                  <a:pt x="0" y="173"/>
                  <a:pt x="0" y="173"/>
                  <a:pt x="0" y="173"/>
                </a:cubicBezTo>
                <a:cubicBezTo>
                  <a:pt x="0" y="220"/>
                  <a:pt x="0" y="220"/>
                  <a:pt x="0" y="220"/>
                </a:cubicBezTo>
                <a:cubicBezTo>
                  <a:pt x="1" y="220"/>
                  <a:pt x="2" y="220"/>
                  <a:pt x="3" y="221"/>
                </a:cubicBezTo>
                <a:cubicBezTo>
                  <a:pt x="3" y="221"/>
                  <a:pt x="3" y="221"/>
                  <a:pt x="3" y="221"/>
                </a:cubicBezTo>
                <a:cubicBezTo>
                  <a:pt x="3" y="221"/>
                  <a:pt x="3" y="221"/>
                  <a:pt x="3" y="221"/>
                </a:cubicBezTo>
                <a:cubicBezTo>
                  <a:pt x="3" y="221"/>
                  <a:pt x="3" y="221"/>
                  <a:pt x="3" y="221"/>
                </a:cubicBezTo>
                <a:cubicBezTo>
                  <a:pt x="2" y="221"/>
                  <a:pt x="1" y="220"/>
                  <a:pt x="0" y="220"/>
                </a:cubicBezTo>
                <a:cubicBezTo>
                  <a:pt x="0" y="220"/>
                  <a:pt x="0" y="220"/>
                  <a:pt x="0" y="220"/>
                </a:cubicBezTo>
                <a:cubicBezTo>
                  <a:pt x="0" y="220"/>
                  <a:pt x="0" y="220"/>
                  <a:pt x="0" y="220"/>
                </a:cubicBezTo>
                <a:cubicBezTo>
                  <a:pt x="0" y="223"/>
                  <a:pt x="0" y="223"/>
                  <a:pt x="0" y="223"/>
                </a:cubicBezTo>
                <a:cubicBezTo>
                  <a:pt x="0" y="223"/>
                  <a:pt x="0" y="223"/>
                  <a:pt x="0" y="223"/>
                </a:cubicBezTo>
                <a:cubicBezTo>
                  <a:pt x="0" y="223"/>
                  <a:pt x="0" y="223"/>
                  <a:pt x="0" y="223"/>
                </a:cubicBezTo>
                <a:cubicBezTo>
                  <a:pt x="0" y="223"/>
                  <a:pt x="0" y="223"/>
                  <a:pt x="0" y="223"/>
                </a:cubicBezTo>
                <a:cubicBezTo>
                  <a:pt x="0" y="229"/>
                  <a:pt x="0" y="229"/>
                  <a:pt x="0" y="229"/>
                </a:cubicBezTo>
                <a:cubicBezTo>
                  <a:pt x="13" y="229"/>
                  <a:pt x="13" y="229"/>
                  <a:pt x="13" y="229"/>
                </a:cubicBezTo>
                <a:cubicBezTo>
                  <a:pt x="18" y="231"/>
                  <a:pt x="23" y="234"/>
                  <a:pt x="28" y="236"/>
                </a:cubicBezTo>
                <a:cubicBezTo>
                  <a:pt x="42" y="243"/>
                  <a:pt x="57" y="249"/>
                  <a:pt x="70" y="256"/>
                </a:cubicBezTo>
                <a:cubicBezTo>
                  <a:pt x="70" y="256"/>
                  <a:pt x="70" y="256"/>
                  <a:pt x="70" y="256"/>
                </a:cubicBezTo>
                <a:cubicBezTo>
                  <a:pt x="72" y="257"/>
                  <a:pt x="73" y="258"/>
                  <a:pt x="76" y="258"/>
                </a:cubicBezTo>
                <a:cubicBezTo>
                  <a:pt x="78" y="259"/>
                  <a:pt x="79" y="260"/>
                  <a:pt x="81" y="261"/>
                </a:cubicBezTo>
                <a:cubicBezTo>
                  <a:pt x="80" y="260"/>
                  <a:pt x="77" y="259"/>
                  <a:pt x="77" y="258"/>
                </a:cubicBezTo>
                <a:cubicBezTo>
                  <a:pt x="76" y="258"/>
                  <a:pt x="75" y="257"/>
                  <a:pt x="75" y="257"/>
                </a:cubicBezTo>
                <a:cubicBezTo>
                  <a:pt x="74" y="256"/>
                  <a:pt x="72" y="256"/>
                  <a:pt x="72" y="255"/>
                </a:cubicBezTo>
                <a:cubicBezTo>
                  <a:pt x="74" y="255"/>
                  <a:pt x="70" y="254"/>
                  <a:pt x="71" y="254"/>
                </a:cubicBezTo>
                <a:cubicBezTo>
                  <a:pt x="72" y="254"/>
                  <a:pt x="73" y="254"/>
                  <a:pt x="73" y="254"/>
                </a:cubicBezTo>
                <a:cubicBezTo>
                  <a:pt x="73" y="254"/>
                  <a:pt x="71" y="253"/>
                  <a:pt x="70" y="253"/>
                </a:cubicBezTo>
                <a:cubicBezTo>
                  <a:pt x="69" y="252"/>
                  <a:pt x="67" y="252"/>
                  <a:pt x="67" y="251"/>
                </a:cubicBezTo>
                <a:cubicBezTo>
                  <a:pt x="68" y="252"/>
                  <a:pt x="70" y="252"/>
                  <a:pt x="71" y="253"/>
                </a:cubicBezTo>
                <a:cubicBezTo>
                  <a:pt x="72" y="253"/>
                  <a:pt x="72" y="253"/>
                  <a:pt x="72" y="253"/>
                </a:cubicBezTo>
                <a:cubicBezTo>
                  <a:pt x="70" y="252"/>
                  <a:pt x="69" y="251"/>
                  <a:pt x="67" y="251"/>
                </a:cubicBezTo>
                <a:cubicBezTo>
                  <a:pt x="66" y="250"/>
                  <a:pt x="65" y="249"/>
                  <a:pt x="63" y="249"/>
                </a:cubicBezTo>
                <a:cubicBezTo>
                  <a:pt x="63" y="248"/>
                  <a:pt x="64" y="248"/>
                  <a:pt x="64" y="248"/>
                </a:cubicBezTo>
                <a:cubicBezTo>
                  <a:pt x="66" y="249"/>
                  <a:pt x="68" y="250"/>
                  <a:pt x="70" y="251"/>
                </a:cubicBezTo>
                <a:cubicBezTo>
                  <a:pt x="74" y="253"/>
                  <a:pt x="79" y="255"/>
                  <a:pt x="84" y="258"/>
                </a:cubicBezTo>
                <a:cubicBezTo>
                  <a:pt x="84" y="258"/>
                  <a:pt x="85" y="258"/>
                  <a:pt x="85" y="258"/>
                </a:cubicBezTo>
                <a:cubicBezTo>
                  <a:pt x="86" y="259"/>
                  <a:pt x="88" y="259"/>
                  <a:pt x="89" y="260"/>
                </a:cubicBezTo>
                <a:cubicBezTo>
                  <a:pt x="90" y="260"/>
                  <a:pt x="91" y="261"/>
                  <a:pt x="93" y="261"/>
                </a:cubicBezTo>
                <a:cubicBezTo>
                  <a:pt x="95" y="262"/>
                  <a:pt x="96" y="263"/>
                  <a:pt x="99" y="264"/>
                </a:cubicBezTo>
                <a:cubicBezTo>
                  <a:pt x="99" y="263"/>
                  <a:pt x="97" y="262"/>
                  <a:pt x="94" y="261"/>
                </a:cubicBezTo>
                <a:cubicBezTo>
                  <a:pt x="90" y="258"/>
                  <a:pt x="86" y="257"/>
                  <a:pt x="82" y="256"/>
                </a:cubicBezTo>
                <a:cubicBezTo>
                  <a:pt x="77" y="254"/>
                  <a:pt x="73" y="252"/>
                  <a:pt x="68" y="250"/>
                </a:cubicBezTo>
                <a:cubicBezTo>
                  <a:pt x="65" y="248"/>
                  <a:pt x="61" y="247"/>
                  <a:pt x="58" y="245"/>
                </a:cubicBezTo>
                <a:cubicBezTo>
                  <a:pt x="56" y="244"/>
                  <a:pt x="54" y="243"/>
                  <a:pt x="52" y="242"/>
                </a:cubicBezTo>
                <a:cubicBezTo>
                  <a:pt x="51" y="241"/>
                  <a:pt x="49" y="240"/>
                  <a:pt x="48" y="240"/>
                </a:cubicBezTo>
                <a:cubicBezTo>
                  <a:pt x="50" y="240"/>
                  <a:pt x="51" y="241"/>
                  <a:pt x="53" y="242"/>
                </a:cubicBezTo>
                <a:cubicBezTo>
                  <a:pt x="53" y="242"/>
                  <a:pt x="54" y="242"/>
                  <a:pt x="55" y="242"/>
                </a:cubicBezTo>
                <a:cubicBezTo>
                  <a:pt x="55" y="242"/>
                  <a:pt x="55" y="242"/>
                  <a:pt x="55" y="242"/>
                </a:cubicBezTo>
                <a:cubicBezTo>
                  <a:pt x="55" y="242"/>
                  <a:pt x="53" y="241"/>
                  <a:pt x="51" y="240"/>
                </a:cubicBezTo>
                <a:cubicBezTo>
                  <a:pt x="51" y="240"/>
                  <a:pt x="50" y="240"/>
                  <a:pt x="50" y="239"/>
                </a:cubicBezTo>
                <a:cubicBezTo>
                  <a:pt x="48" y="239"/>
                  <a:pt x="47" y="238"/>
                  <a:pt x="46" y="237"/>
                </a:cubicBezTo>
                <a:cubicBezTo>
                  <a:pt x="44" y="237"/>
                  <a:pt x="43" y="237"/>
                  <a:pt x="41" y="236"/>
                </a:cubicBezTo>
                <a:cubicBezTo>
                  <a:pt x="41" y="236"/>
                  <a:pt x="41" y="235"/>
                  <a:pt x="41" y="235"/>
                </a:cubicBezTo>
                <a:cubicBezTo>
                  <a:pt x="39" y="234"/>
                  <a:pt x="38" y="233"/>
                  <a:pt x="35" y="233"/>
                </a:cubicBezTo>
                <a:cubicBezTo>
                  <a:pt x="33" y="232"/>
                  <a:pt x="31" y="230"/>
                  <a:pt x="28" y="229"/>
                </a:cubicBezTo>
                <a:cubicBezTo>
                  <a:pt x="28" y="229"/>
                  <a:pt x="28" y="229"/>
                  <a:pt x="28" y="229"/>
                </a:cubicBezTo>
                <a:cubicBezTo>
                  <a:pt x="33" y="229"/>
                  <a:pt x="33" y="229"/>
                  <a:pt x="33" y="229"/>
                </a:cubicBezTo>
                <a:cubicBezTo>
                  <a:pt x="41" y="233"/>
                  <a:pt x="49" y="236"/>
                  <a:pt x="57" y="240"/>
                </a:cubicBezTo>
                <a:cubicBezTo>
                  <a:pt x="58" y="240"/>
                  <a:pt x="59" y="240"/>
                  <a:pt x="60" y="241"/>
                </a:cubicBezTo>
                <a:cubicBezTo>
                  <a:pt x="63" y="242"/>
                  <a:pt x="66" y="244"/>
                  <a:pt x="69" y="245"/>
                </a:cubicBezTo>
                <a:cubicBezTo>
                  <a:pt x="70" y="246"/>
                  <a:pt x="71" y="246"/>
                  <a:pt x="71" y="246"/>
                </a:cubicBezTo>
                <a:cubicBezTo>
                  <a:pt x="72" y="246"/>
                  <a:pt x="73" y="246"/>
                  <a:pt x="74" y="246"/>
                </a:cubicBezTo>
                <a:cubicBezTo>
                  <a:pt x="87" y="252"/>
                  <a:pt x="98" y="259"/>
                  <a:pt x="112" y="265"/>
                </a:cubicBezTo>
                <a:cubicBezTo>
                  <a:pt x="112" y="266"/>
                  <a:pt x="114" y="267"/>
                  <a:pt x="116" y="268"/>
                </a:cubicBezTo>
                <a:cubicBezTo>
                  <a:pt x="117" y="268"/>
                  <a:pt x="117" y="269"/>
                  <a:pt x="121" y="269"/>
                </a:cubicBezTo>
                <a:cubicBezTo>
                  <a:pt x="122" y="269"/>
                  <a:pt x="124" y="270"/>
                  <a:pt x="125" y="271"/>
                </a:cubicBezTo>
                <a:cubicBezTo>
                  <a:pt x="130" y="273"/>
                  <a:pt x="133" y="275"/>
                  <a:pt x="139" y="277"/>
                </a:cubicBezTo>
                <a:cubicBezTo>
                  <a:pt x="137" y="276"/>
                  <a:pt x="133" y="274"/>
                  <a:pt x="133" y="273"/>
                </a:cubicBezTo>
                <a:cubicBezTo>
                  <a:pt x="143" y="277"/>
                  <a:pt x="152" y="281"/>
                  <a:pt x="160" y="286"/>
                </a:cubicBezTo>
                <a:cubicBezTo>
                  <a:pt x="162" y="287"/>
                  <a:pt x="164" y="288"/>
                  <a:pt x="168" y="289"/>
                </a:cubicBezTo>
                <a:cubicBezTo>
                  <a:pt x="168" y="289"/>
                  <a:pt x="169" y="290"/>
                  <a:pt x="169" y="290"/>
                </a:cubicBezTo>
                <a:cubicBezTo>
                  <a:pt x="171" y="291"/>
                  <a:pt x="176" y="293"/>
                  <a:pt x="178" y="295"/>
                </a:cubicBezTo>
                <a:cubicBezTo>
                  <a:pt x="179" y="295"/>
                  <a:pt x="179" y="295"/>
                  <a:pt x="179" y="295"/>
                </a:cubicBezTo>
                <a:cubicBezTo>
                  <a:pt x="179" y="295"/>
                  <a:pt x="179" y="295"/>
                  <a:pt x="179" y="295"/>
                </a:cubicBezTo>
                <a:cubicBezTo>
                  <a:pt x="179" y="295"/>
                  <a:pt x="179" y="295"/>
                  <a:pt x="178" y="295"/>
                </a:cubicBezTo>
                <a:cubicBezTo>
                  <a:pt x="181" y="297"/>
                  <a:pt x="186" y="299"/>
                  <a:pt x="190" y="301"/>
                </a:cubicBezTo>
                <a:cubicBezTo>
                  <a:pt x="195" y="303"/>
                  <a:pt x="200" y="306"/>
                  <a:pt x="202" y="308"/>
                </a:cubicBezTo>
                <a:cubicBezTo>
                  <a:pt x="203" y="309"/>
                  <a:pt x="204" y="309"/>
                  <a:pt x="204" y="309"/>
                </a:cubicBezTo>
                <a:cubicBezTo>
                  <a:pt x="208" y="311"/>
                  <a:pt x="214" y="314"/>
                  <a:pt x="218" y="316"/>
                </a:cubicBezTo>
                <a:cubicBezTo>
                  <a:pt x="219" y="317"/>
                  <a:pt x="221" y="318"/>
                  <a:pt x="224" y="318"/>
                </a:cubicBezTo>
                <a:cubicBezTo>
                  <a:pt x="225" y="318"/>
                  <a:pt x="226" y="319"/>
                  <a:pt x="228" y="320"/>
                </a:cubicBezTo>
                <a:cubicBezTo>
                  <a:pt x="228" y="320"/>
                  <a:pt x="229" y="320"/>
                  <a:pt x="229" y="320"/>
                </a:cubicBezTo>
                <a:cubicBezTo>
                  <a:pt x="229" y="320"/>
                  <a:pt x="229" y="320"/>
                  <a:pt x="229" y="320"/>
                </a:cubicBezTo>
                <a:cubicBezTo>
                  <a:pt x="226" y="317"/>
                  <a:pt x="221" y="315"/>
                  <a:pt x="216" y="313"/>
                </a:cubicBezTo>
                <a:cubicBezTo>
                  <a:pt x="214" y="312"/>
                  <a:pt x="211" y="311"/>
                  <a:pt x="211" y="310"/>
                </a:cubicBezTo>
                <a:cubicBezTo>
                  <a:pt x="204" y="309"/>
                  <a:pt x="209" y="308"/>
                  <a:pt x="204" y="306"/>
                </a:cubicBezTo>
                <a:cubicBezTo>
                  <a:pt x="204" y="306"/>
                  <a:pt x="204" y="306"/>
                  <a:pt x="204" y="306"/>
                </a:cubicBezTo>
                <a:cubicBezTo>
                  <a:pt x="203" y="305"/>
                  <a:pt x="203" y="304"/>
                  <a:pt x="200" y="303"/>
                </a:cubicBezTo>
                <a:cubicBezTo>
                  <a:pt x="197" y="302"/>
                  <a:pt x="193" y="300"/>
                  <a:pt x="191" y="299"/>
                </a:cubicBezTo>
                <a:cubicBezTo>
                  <a:pt x="189" y="297"/>
                  <a:pt x="188" y="298"/>
                  <a:pt x="186" y="298"/>
                </a:cubicBezTo>
                <a:cubicBezTo>
                  <a:pt x="186" y="297"/>
                  <a:pt x="188" y="297"/>
                  <a:pt x="185" y="296"/>
                </a:cubicBezTo>
                <a:cubicBezTo>
                  <a:pt x="185" y="295"/>
                  <a:pt x="181" y="294"/>
                  <a:pt x="181" y="293"/>
                </a:cubicBezTo>
                <a:cubicBezTo>
                  <a:pt x="181" y="293"/>
                  <a:pt x="182" y="293"/>
                  <a:pt x="182" y="293"/>
                </a:cubicBezTo>
                <a:cubicBezTo>
                  <a:pt x="184" y="293"/>
                  <a:pt x="183" y="293"/>
                  <a:pt x="183" y="292"/>
                </a:cubicBezTo>
                <a:cubicBezTo>
                  <a:pt x="187" y="293"/>
                  <a:pt x="190" y="295"/>
                  <a:pt x="190" y="295"/>
                </a:cubicBezTo>
                <a:cubicBezTo>
                  <a:pt x="190" y="297"/>
                  <a:pt x="192" y="297"/>
                  <a:pt x="196" y="298"/>
                </a:cubicBezTo>
                <a:cubicBezTo>
                  <a:pt x="198" y="299"/>
                  <a:pt x="200" y="300"/>
                  <a:pt x="201" y="301"/>
                </a:cubicBezTo>
                <a:cubicBezTo>
                  <a:pt x="202" y="301"/>
                  <a:pt x="204" y="302"/>
                  <a:pt x="206" y="302"/>
                </a:cubicBezTo>
                <a:cubicBezTo>
                  <a:pt x="206" y="303"/>
                  <a:pt x="206" y="303"/>
                  <a:pt x="207" y="303"/>
                </a:cubicBezTo>
                <a:cubicBezTo>
                  <a:pt x="210" y="304"/>
                  <a:pt x="214" y="306"/>
                  <a:pt x="218" y="308"/>
                </a:cubicBezTo>
                <a:cubicBezTo>
                  <a:pt x="218" y="308"/>
                  <a:pt x="218" y="308"/>
                  <a:pt x="218" y="308"/>
                </a:cubicBezTo>
                <a:cubicBezTo>
                  <a:pt x="218" y="308"/>
                  <a:pt x="218" y="308"/>
                  <a:pt x="218" y="308"/>
                </a:cubicBezTo>
                <a:cubicBezTo>
                  <a:pt x="218" y="308"/>
                  <a:pt x="218" y="308"/>
                  <a:pt x="218" y="308"/>
                </a:cubicBezTo>
                <a:cubicBezTo>
                  <a:pt x="220" y="309"/>
                  <a:pt x="223" y="310"/>
                  <a:pt x="225" y="311"/>
                </a:cubicBezTo>
                <a:cubicBezTo>
                  <a:pt x="229" y="312"/>
                  <a:pt x="232" y="314"/>
                  <a:pt x="236" y="316"/>
                </a:cubicBezTo>
                <a:cubicBezTo>
                  <a:pt x="235" y="314"/>
                  <a:pt x="225" y="311"/>
                  <a:pt x="227" y="310"/>
                </a:cubicBezTo>
                <a:cubicBezTo>
                  <a:pt x="228" y="310"/>
                  <a:pt x="228" y="309"/>
                  <a:pt x="228" y="309"/>
                </a:cubicBezTo>
                <a:cubicBezTo>
                  <a:pt x="228" y="309"/>
                  <a:pt x="228" y="308"/>
                  <a:pt x="227" y="308"/>
                </a:cubicBezTo>
                <a:cubicBezTo>
                  <a:pt x="225" y="308"/>
                  <a:pt x="223" y="307"/>
                  <a:pt x="220" y="306"/>
                </a:cubicBezTo>
                <a:cubicBezTo>
                  <a:pt x="220" y="306"/>
                  <a:pt x="219" y="305"/>
                  <a:pt x="218" y="305"/>
                </a:cubicBezTo>
                <a:cubicBezTo>
                  <a:pt x="217" y="305"/>
                  <a:pt x="216" y="304"/>
                  <a:pt x="216" y="304"/>
                </a:cubicBezTo>
                <a:cubicBezTo>
                  <a:pt x="210" y="301"/>
                  <a:pt x="206" y="298"/>
                  <a:pt x="202" y="296"/>
                </a:cubicBezTo>
                <a:cubicBezTo>
                  <a:pt x="204" y="296"/>
                  <a:pt x="206" y="297"/>
                  <a:pt x="208" y="298"/>
                </a:cubicBezTo>
                <a:cubicBezTo>
                  <a:pt x="208" y="297"/>
                  <a:pt x="204" y="296"/>
                  <a:pt x="203" y="295"/>
                </a:cubicBezTo>
                <a:cubicBezTo>
                  <a:pt x="203" y="295"/>
                  <a:pt x="203" y="295"/>
                  <a:pt x="204" y="295"/>
                </a:cubicBezTo>
                <a:cubicBezTo>
                  <a:pt x="204" y="295"/>
                  <a:pt x="204" y="295"/>
                  <a:pt x="204" y="295"/>
                </a:cubicBezTo>
                <a:cubicBezTo>
                  <a:pt x="204" y="295"/>
                  <a:pt x="204" y="294"/>
                  <a:pt x="205" y="295"/>
                </a:cubicBezTo>
                <a:cubicBezTo>
                  <a:pt x="208" y="296"/>
                  <a:pt x="209" y="296"/>
                  <a:pt x="210" y="296"/>
                </a:cubicBezTo>
                <a:cubicBezTo>
                  <a:pt x="211" y="295"/>
                  <a:pt x="209" y="295"/>
                  <a:pt x="208" y="294"/>
                </a:cubicBezTo>
                <a:cubicBezTo>
                  <a:pt x="205" y="293"/>
                  <a:pt x="202" y="292"/>
                  <a:pt x="201" y="291"/>
                </a:cubicBezTo>
                <a:cubicBezTo>
                  <a:pt x="199" y="289"/>
                  <a:pt x="197" y="289"/>
                  <a:pt x="195" y="289"/>
                </a:cubicBezTo>
                <a:cubicBezTo>
                  <a:pt x="193" y="288"/>
                  <a:pt x="191" y="287"/>
                  <a:pt x="187" y="285"/>
                </a:cubicBezTo>
                <a:cubicBezTo>
                  <a:pt x="189" y="287"/>
                  <a:pt x="191" y="288"/>
                  <a:pt x="195" y="289"/>
                </a:cubicBezTo>
                <a:cubicBezTo>
                  <a:pt x="197" y="290"/>
                  <a:pt x="199" y="291"/>
                  <a:pt x="201" y="292"/>
                </a:cubicBezTo>
                <a:cubicBezTo>
                  <a:pt x="203" y="293"/>
                  <a:pt x="203" y="294"/>
                  <a:pt x="201" y="294"/>
                </a:cubicBezTo>
                <a:cubicBezTo>
                  <a:pt x="199" y="293"/>
                  <a:pt x="196" y="291"/>
                  <a:pt x="195" y="293"/>
                </a:cubicBezTo>
                <a:cubicBezTo>
                  <a:pt x="195" y="292"/>
                  <a:pt x="194" y="292"/>
                  <a:pt x="193" y="292"/>
                </a:cubicBezTo>
                <a:cubicBezTo>
                  <a:pt x="193" y="291"/>
                  <a:pt x="191" y="290"/>
                  <a:pt x="189" y="290"/>
                </a:cubicBezTo>
                <a:cubicBezTo>
                  <a:pt x="184" y="287"/>
                  <a:pt x="178" y="284"/>
                  <a:pt x="172" y="281"/>
                </a:cubicBezTo>
                <a:cubicBezTo>
                  <a:pt x="169" y="279"/>
                  <a:pt x="167" y="277"/>
                  <a:pt x="162" y="275"/>
                </a:cubicBezTo>
                <a:cubicBezTo>
                  <a:pt x="160" y="273"/>
                  <a:pt x="154" y="271"/>
                  <a:pt x="152" y="269"/>
                </a:cubicBezTo>
                <a:cubicBezTo>
                  <a:pt x="151" y="269"/>
                  <a:pt x="149" y="268"/>
                  <a:pt x="148" y="267"/>
                </a:cubicBezTo>
                <a:cubicBezTo>
                  <a:pt x="147" y="266"/>
                  <a:pt x="146" y="266"/>
                  <a:pt x="146" y="265"/>
                </a:cubicBezTo>
                <a:cubicBezTo>
                  <a:pt x="145" y="265"/>
                  <a:pt x="145" y="264"/>
                  <a:pt x="144" y="264"/>
                </a:cubicBezTo>
                <a:cubicBezTo>
                  <a:pt x="146" y="265"/>
                  <a:pt x="148" y="266"/>
                  <a:pt x="150" y="267"/>
                </a:cubicBezTo>
                <a:cubicBezTo>
                  <a:pt x="152" y="267"/>
                  <a:pt x="152" y="268"/>
                  <a:pt x="154" y="268"/>
                </a:cubicBezTo>
                <a:cubicBezTo>
                  <a:pt x="155" y="269"/>
                  <a:pt x="157" y="269"/>
                  <a:pt x="158" y="270"/>
                </a:cubicBezTo>
                <a:cubicBezTo>
                  <a:pt x="158" y="269"/>
                  <a:pt x="158" y="269"/>
                  <a:pt x="159" y="269"/>
                </a:cubicBezTo>
                <a:cubicBezTo>
                  <a:pt x="162" y="270"/>
                  <a:pt x="164" y="272"/>
                  <a:pt x="168" y="273"/>
                </a:cubicBezTo>
                <a:cubicBezTo>
                  <a:pt x="170" y="274"/>
                  <a:pt x="172" y="275"/>
                  <a:pt x="173" y="276"/>
                </a:cubicBezTo>
                <a:cubicBezTo>
                  <a:pt x="173" y="276"/>
                  <a:pt x="172" y="276"/>
                  <a:pt x="173" y="277"/>
                </a:cubicBezTo>
                <a:cubicBezTo>
                  <a:pt x="175" y="277"/>
                  <a:pt x="175" y="277"/>
                  <a:pt x="176" y="277"/>
                </a:cubicBezTo>
                <a:cubicBezTo>
                  <a:pt x="177" y="277"/>
                  <a:pt x="178" y="278"/>
                  <a:pt x="180" y="279"/>
                </a:cubicBezTo>
                <a:cubicBezTo>
                  <a:pt x="180" y="279"/>
                  <a:pt x="180" y="279"/>
                  <a:pt x="180" y="279"/>
                </a:cubicBezTo>
                <a:cubicBezTo>
                  <a:pt x="186" y="283"/>
                  <a:pt x="196" y="287"/>
                  <a:pt x="204" y="291"/>
                </a:cubicBezTo>
                <a:cubicBezTo>
                  <a:pt x="208" y="293"/>
                  <a:pt x="212" y="296"/>
                  <a:pt x="216" y="298"/>
                </a:cubicBezTo>
                <a:cubicBezTo>
                  <a:pt x="218" y="299"/>
                  <a:pt x="221" y="301"/>
                  <a:pt x="224" y="302"/>
                </a:cubicBezTo>
                <a:cubicBezTo>
                  <a:pt x="225" y="303"/>
                  <a:pt x="225" y="304"/>
                  <a:pt x="228" y="304"/>
                </a:cubicBezTo>
                <a:cubicBezTo>
                  <a:pt x="233" y="305"/>
                  <a:pt x="230" y="303"/>
                  <a:pt x="230" y="303"/>
                </a:cubicBezTo>
                <a:cubicBezTo>
                  <a:pt x="231" y="303"/>
                  <a:pt x="232" y="304"/>
                  <a:pt x="234" y="304"/>
                </a:cubicBezTo>
                <a:cubicBezTo>
                  <a:pt x="232" y="303"/>
                  <a:pt x="229" y="301"/>
                  <a:pt x="226" y="299"/>
                </a:cubicBezTo>
                <a:cubicBezTo>
                  <a:pt x="227" y="299"/>
                  <a:pt x="228" y="299"/>
                  <a:pt x="226" y="298"/>
                </a:cubicBezTo>
                <a:cubicBezTo>
                  <a:pt x="223" y="297"/>
                  <a:pt x="221" y="296"/>
                  <a:pt x="217" y="294"/>
                </a:cubicBezTo>
                <a:cubicBezTo>
                  <a:pt x="217" y="294"/>
                  <a:pt x="217" y="294"/>
                  <a:pt x="217" y="294"/>
                </a:cubicBezTo>
                <a:cubicBezTo>
                  <a:pt x="217" y="294"/>
                  <a:pt x="217" y="294"/>
                  <a:pt x="217" y="294"/>
                </a:cubicBezTo>
                <a:cubicBezTo>
                  <a:pt x="217" y="294"/>
                  <a:pt x="217" y="294"/>
                  <a:pt x="217" y="294"/>
                </a:cubicBezTo>
                <a:cubicBezTo>
                  <a:pt x="217" y="294"/>
                  <a:pt x="220" y="294"/>
                  <a:pt x="215" y="293"/>
                </a:cubicBezTo>
                <a:cubicBezTo>
                  <a:pt x="214" y="292"/>
                  <a:pt x="212" y="291"/>
                  <a:pt x="214" y="291"/>
                </a:cubicBezTo>
                <a:cubicBezTo>
                  <a:pt x="214" y="291"/>
                  <a:pt x="214" y="291"/>
                  <a:pt x="214" y="291"/>
                </a:cubicBezTo>
                <a:cubicBezTo>
                  <a:pt x="214" y="291"/>
                  <a:pt x="214" y="291"/>
                  <a:pt x="214" y="291"/>
                </a:cubicBezTo>
                <a:cubicBezTo>
                  <a:pt x="214" y="291"/>
                  <a:pt x="214" y="291"/>
                  <a:pt x="214" y="291"/>
                </a:cubicBezTo>
                <a:cubicBezTo>
                  <a:pt x="219" y="293"/>
                  <a:pt x="223" y="296"/>
                  <a:pt x="230" y="298"/>
                </a:cubicBezTo>
                <a:cubicBezTo>
                  <a:pt x="231" y="299"/>
                  <a:pt x="232" y="299"/>
                  <a:pt x="233" y="300"/>
                </a:cubicBezTo>
                <a:cubicBezTo>
                  <a:pt x="236" y="300"/>
                  <a:pt x="232" y="299"/>
                  <a:pt x="232" y="299"/>
                </a:cubicBezTo>
                <a:cubicBezTo>
                  <a:pt x="233" y="299"/>
                  <a:pt x="234" y="298"/>
                  <a:pt x="235" y="298"/>
                </a:cubicBezTo>
                <a:cubicBezTo>
                  <a:pt x="239" y="300"/>
                  <a:pt x="241" y="301"/>
                  <a:pt x="244" y="303"/>
                </a:cubicBezTo>
                <a:cubicBezTo>
                  <a:pt x="246" y="304"/>
                  <a:pt x="248" y="305"/>
                  <a:pt x="250" y="305"/>
                </a:cubicBezTo>
                <a:cubicBezTo>
                  <a:pt x="253" y="306"/>
                  <a:pt x="247" y="304"/>
                  <a:pt x="246" y="303"/>
                </a:cubicBezTo>
                <a:cubicBezTo>
                  <a:pt x="246" y="303"/>
                  <a:pt x="246" y="303"/>
                  <a:pt x="246" y="302"/>
                </a:cubicBezTo>
                <a:cubicBezTo>
                  <a:pt x="246" y="302"/>
                  <a:pt x="246" y="302"/>
                  <a:pt x="246" y="302"/>
                </a:cubicBezTo>
                <a:cubicBezTo>
                  <a:pt x="247" y="302"/>
                  <a:pt x="247" y="302"/>
                  <a:pt x="248" y="302"/>
                </a:cubicBezTo>
                <a:cubicBezTo>
                  <a:pt x="245" y="301"/>
                  <a:pt x="240" y="299"/>
                  <a:pt x="238" y="298"/>
                </a:cubicBezTo>
                <a:cubicBezTo>
                  <a:pt x="237" y="297"/>
                  <a:pt x="237" y="297"/>
                  <a:pt x="236" y="296"/>
                </a:cubicBezTo>
                <a:cubicBezTo>
                  <a:pt x="236" y="296"/>
                  <a:pt x="237" y="296"/>
                  <a:pt x="238" y="296"/>
                </a:cubicBezTo>
                <a:cubicBezTo>
                  <a:pt x="238" y="296"/>
                  <a:pt x="238" y="296"/>
                  <a:pt x="237" y="295"/>
                </a:cubicBezTo>
                <a:cubicBezTo>
                  <a:pt x="231" y="292"/>
                  <a:pt x="231" y="292"/>
                  <a:pt x="237" y="292"/>
                </a:cubicBezTo>
                <a:cubicBezTo>
                  <a:pt x="239" y="292"/>
                  <a:pt x="239" y="293"/>
                  <a:pt x="242" y="293"/>
                </a:cubicBezTo>
                <a:cubicBezTo>
                  <a:pt x="244" y="293"/>
                  <a:pt x="241" y="292"/>
                  <a:pt x="240" y="292"/>
                </a:cubicBezTo>
                <a:cubicBezTo>
                  <a:pt x="239" y="291"/>
                  <a:pt x="239" y="290"/>
                  <a:pt x="241" y="291"/>
                </a:cubicBezTo>
                <a:cubicBezTo>
                  <a:pt x="247" y="293"/>
                  <a:pt x="253" y="294"/>
                  <a:pt x="258" y="297"/>
                </a:cubicBezTo>
                <a:cubicBezTo>
                  <a:pt x="258" y="297"/>
                  <a:pt x="259" y="297"/>
                  <a:pt x="258" y="297"/>
                </a:cubicBezTo>
                <a:cubicBezTo>
                  <a:pt x="258" y="297"/>
                  <a:pt x="256" y="296"/>
                  <a:pt x="255" y="297"/>
                </a:cubicBezTo>
                <a:cubicBezTo>
                  <a:pt x="260" y="300"/>
                  <a:pt x="270" y="302"/>
                  <a:pt x="275" y="305"/>
                </a:cubicBezTo>
                <a:cubicBezTo>
                  <a:pt x="277" y="307"/>
                  <a:pt x="280" y="308"/>
                  <a:pt x="284" y="310"/>
                </a:cubicBezTo>
                <a:cubicBezTo>
                  <a:pt x="285" y="311"/>
                  <a:pt x="286" y="311"/>
                  <a:pt x="288" y="311"/>
                </a:cubicBezTo>
                <a:cubicBezTo>
                  <a:pt x="290" y="311"/>
                  <a:pt x="289" y="310"/>
                  <a:pt x="287" y="310"/>
                </a:cubicBezTo>
                <a:cubicBezTo>
                  <a:pt x="283" y="308"/>
                  <a:pt x="287" y="309"/>
                  <a:pt x="287" y="308"/>
                </a:cubicBezTo>
                <a:cubicBezTo>
                  <a:pt x="288" y="308"/>
                  <a:pt x="289" y="308"/>
                  <a:pt x="289" y="309"/>
                </a:cubicBezTo>
                <a:cubicBezTo>
                  <a:pt x="287" y="308"/>
                  <a:pt x="287" y="306"/>
                  <a:pt x="282" y="306"/>
                </a:cubicBezTo>
                <a:cubicBezTo>
                  <a:pt x="281" y="306"/>
                  <a:pt x="283" y="307"/>
                  <a:pt x="283" y="307"/>
                </a:cubicBezTo>
                <a:cubicBezTo>
                  <a:pt x="280" y="307"/>
                  <a:pt x="280" y="306"/>
                  <a:pt x="278" y="305"/>
                </a:cubicBezTo>
                <a:cubicBezTo>
                  <a:pt x="273" y="303"/>
                  <a:pt x="273" y="302"/>
                  <a:pt x="268" y="300"/>
                </a:cubicBezTo>
                <a:cubicBezTo>
                  <a:pt x="266" y="299"/>
                  <a:pt x="264" y="298"/>
                  <a:pt x="262" y="297"/>
                </a:cubicBezTo>
                <a:cubicBezTo>
                  <a:pt x="262" y="296"/>
                  <a:pt x="263" y="296"/>
                  <a:pt x="262" y="295"/>
                </a:cubicBezTo>
                <a:cubicBezTo>
                  <a:pt x="260" y="294"/>
                  <a:pt x="258" y="293"/>
                  <a:pt x="256" y="292"/>
                </a:cubicBezTo>
                <a:cubicBezTo>
                  <a:pt x="256" y="292"/>
                  <a:pt x="255" y="292"/>
                  <a:pt x="255" y="292"/>
                </a:cubicBezTo>
                <a:cubicBezTo>
                  <a:pt x="257" y="293"/>
                  <a:pt x="259" y="294"/>
                  <a:pt x="261" y="295"/>
                </a:cubicBezTo>
                <a:cubicBezTo>
                  <a:pt x="256" y="294"/>
                  <a:pt x="255" y="293"/>
                  <a:pt x="252" y="292"/>
                </a:cubicBezTo>
                <a:cubicBezTo>
                  <a:pt x="251" y="290"/>
                  <a:pt x="245" y="288"/>
                  <a:pt x="242" y="287"/>
                </a:cubicBezTo>
                <a:cubicBezTo>
                  <a:pt x="242" y="286"/>
                  <a:pt x="241" y="286"/>
                  <a:pt x="240" y="286"/>
                </a:cubicBezTo>
                <a:cubicBezTo>
                  <a:pt x="240" y="286"/>
                  <a:pt x="240" y="286"/>
                  <a:pt x="240" y="286"/>
                </a:cubicBezTo>
                <a:cubicBezTo>
                  <a:pt x="240" y="286"/>
                  <a:pt x="240" y="286"/>
                  <a:pt x="240" y="286"/>
                </a:cubicBezTo>
                <a:cubicBezTo>
                  <a:pt x="240" y="286"/>
                  <a:pt x="240" y="286"/>
                  <a:pt x="240" y="286"/>
                </a:cubicBezTo>
                <a:cubicBezTo>
                  <a:pt x="236" y="285"/>
                  <a:pt x="234" y="283"/>
                  <a:pt x="229" y="281"/>
                </a:cubicBezTo>
                <a:cubicBezTo>
                  <a:pt x="229" y="281"/>
                  <a:pt x="229" y="281"/>
                  <a:pt x="229" y="281"/>
                </a:cubicBezTo>
                <a:cubicBezTo>
                  <a:pt x="229" y="281"/>
                  <a:pt x="229" y="281"/>
                  <a:pt x="229" y="281"/>
                </a:cubicBezTo>
                <a:cubicBezTo>
                  <a:pt x="228" y="280"/>
                  <a:pt x="226" y="279"/>
                  <a:pt x="224" y="279"/>
                </a:cubicBezTo>
                <a:cubicBezTo>
                  <a:pt x="223" y="277"/>
                  <a:pt x="220" y="276"/>
                  <a:pt x="217" y="275"/>
                </a:cubicBezTo>
                <a:cubicBezTo>
                  <a:pt x="215" y="274"/>
                  <a:pt x="214" y="273"/>
                  <a:pt x="212" y="273"/>
                </a:cubicBezTo>
                <a:cubicBezTo>
                  <a:pt x="212" y="272"/>
                  <a:pt x="212" y="272"/>
                  <a:pt x="212" y="272"/>
                </a:cubicBezTo>
                <a:cubicBezTo>
                  <a:pt x="210" y="271"/>
                  <a:pt x="207" y="270"/>
                  <a:pt x="208" y="269"/>
                </a:cubicBezTo>
                <a:cubicBezTo>
                  <a:pt x="214" y="271"/>
                  <a:pt x="218" y="274"/>
                  <a:pt x="225" y="276"/>
                </a:cubicBezTo>
                <a:cubicBezTo>
                  <a:pt x="236" y="282"/>
                  <a:pt x="246" y="287"/>
                  <a:pt x="257" y="292"/>
                </a:cubicBezTo>
                <a:cubicBezTo>
                  <a:pt x="258" y="292"/>
                  <a:pt x="260" y="293"/>
                  <a:pt x="261" y="293"/>
                </a:cubicBezTo>
                <a:cubicBezTo>
                  <a:pt x="262" y="294"/>
                  <a:pt x="262" y="294"/>
                  <a:pt x="263" y="294"/>
                </a:cubicBezTo>
                <a:cubicBezTo>
                  <a:pt x="269" y="297"/>
                  <a:pt x="274" y="300"/>
                  <a:pt x="280" y="302"/>
                </a:cubicBezTo>
                <a:cubicBezTo>
                  <a:pt x="286" y="305"/>
                  <a:pt x="293" y="308"/>
                  <a:pt x="297" y="311"/>
                </a:cubicBezTo>
                <a:cubicBezTo>
                  <a:pt x="298" y="312"/>
                  <a:pt x="301" y="313"/>
                  <a:pt x="303" y="315"/>
                </a:cubicBezTo>
                <a:cubicBezTo>
                  <a:pt x="302" y="314"/>
                  <a:pt x="301" y="314"/>
                  <a:pt x="300" y="314"/>
                </a:cubicBezTo>
                <a:cubicBezTo>
                  <a:pt x="301" y="315"/>
                  <a:pt x="302" y="315"/>
                  <a:pt x="304" y="316"/>
                </a:cubicBezTo>
                <a:cubicBezTo>
                  <a:pt x="305" y="316"/>
                  <a:pt x="304" y="315"/>
                  <a:pt x="304" y="315"/>
                </a:cubicBezTo>
                <a:cubicBezTo>
                  <a:pt x="305" y="315"/>
                  <a:pt x="306" y="316"/>
                  <a:pt x="309" y="316"/>
                </a:cubicBezTo>
                <a:cubicBezTo>
                  <a:pt x="304" y="314"/>
                  <a:pt x="303" y="313"/>
                  <a:pt x="299" y="311"/>
                </a:cubicBezTo>
                <a:cubicBezTo>
                  <a:pt x="297" y="310"/>
                  <a:pt x="296" y="309"/>
                  <a:pt x="294" y="308"/>
                </a:cubicBezTo>
                <a:cubicBezTo>
                  <a:pt x="290" y="306"/>
                  <a:pt x="284" y="303"/>
                  <a:pt x="280" y="300"/>
                </a:cubicBezTo>
                <a:cubicBezTo>
                  <a:pt x="281" y="300"/>
                  <a:pt x="280" y="300"/>
                  <a:pt x="280" y="299"/>
                </a:cubicBezTo>
                <a:cubicBezTo>
                  <a:pt x="279" y="299"/>
                  <a:pt x="279" y="298"/>
                  <a:pt x="280" y="298"/>
                </a:cubicBezTo>
                <a:cubicBezTo>
                  <a:pt x="282" y="298"/>
                  <a:pt x="284" y="299"/>
                  <a:pt x="285" y="300"/>
                </a:cubicBezTo>
                <a:cubicBezTo>
                  <a:pt x="288" y="301"/>
                  <a:pt x="292" y="302"/>
                  <a:pt x="296" y="303"/>
                </a:cubicBezTo>
                <a:cubicBezTo>
                  <a:pt x="300" y="305"/>
                  <a:pt x="302" y="304"/>
                  <a:pt x="304" y="304"/>
                </a:cubicBezTo>
                <a:cubicBezTo>
                  <a:pt x="304" y="304"/>
                  <a:pt x="306" y="304"/>
                  <a:pt x="307" y="304"/>
                </a:cubicBezTo>
                <a:cubicBezTo>
                  <a:pt x="308" y="305"/>
                  <a:pt x="308" y="305"/>
                  <a:pt x="306" y="305"/>
                </a:cubicBezTo>
                <a:cubicBezTo>
                  <a:pt x="303" y="305"/>
                  <a:pt x="304" y="306"/>
                  <a:pt x="302" y="306"/>
                </a:cubicBezTo>
                <a:cubicBezTo>
                  <a:pt x="306" y="307"/>
                  <a:pt x="310" y="308"/>
                  <a:pt x="314" y="310"/>
                </a:cubicBezTo>
                <a:cubicBezTo>
                  <a:pt x="313" y="309"/>
                  <a:pt x="312" y="308"/>
                  <a:pt x="312" y="307"/>
                </a:cubicBezTo>
                <a:cubicBezTo>
                  <a:pt x="314" y="308"/>
                  <a:pt x="319" y="309"/>
                  <a:pt x="318" y="307"/>
                </a:cubicBezTo>
                <a:cubicBezTo>
                  <a:pt x="317" y="305"/>
                  <a:pt x="317" y="305"/>
                  <a:pt x="321" y="305"/>
                </a:cubicBezTo>
                <a:cubicBezTo>
                  <a:pt x="317" y="304"/>
                  <a:pt x="314" y="302"/>
                  <a:pt x="310" y="302"/>
                </a:cubicBezTo>
                <a:cubicBezTo>
                  <a:pt x="310" y="302"/>
                  <a:pt x="309" y="302"/>
                  <a:pt x="309" y="302"/>
                </a:cubicBezTo>
                <a:cubicBezTo>
                  <a:pt x="309" y="301"/>
                  <a:pt x="309" y="301"/>
                  <a:pt x="310" y="301"/>
                </a:cubicBezTo>
                <a:cubicBezTo>
                  <a:pt x="312" y="301"/>
                  <a:pt x="310" y="300"/>
                  <a:pt x="309" y="300"/>
                </a:cubicBezTo>
                <a:cubicBezTo>
                  <a:pt x="308" y="300"/>
                  <a:pt x="308" y="300"/>
                  <a:pt x="308" y="299"/>
                </a:cubicBezTo>
                <a:cubicBezTo>
                  <a:pt x="308" y="299"/>
                  <a:pt x="308" y="299"/>
                  <a:pt x="306" y="298"/>
                </a:cubicBezTo>
                <a:cubicBezTo>
                  <a:pt x="304" y="297"/>
                  <a:pt x="304" y="297"/>
                  <a:pt x="306" y="297"/>
                </a:cubicBezTo>
                <a:cubicBezTo>
                  <a:pt x="307" y="297"/>
                  <a:pt x="304" y="296"/>
                  <a:pt x="305" y="295"/>
                </a:cubicBezTo>
                <a:cubicBezTo>
                  <a:pt x="306" y="296"/>
                  <a:pt x="307" y="297"/>
                  <a:pt x="308" y="297"/>
                </a:cubicBezTo>
                <a:cubicBezTo>
                  <a:pt x="310" y="299"/>
                  <a:pt x="314" y="300"/>
                  <a:pt x="317" y="302"/>
                </a:cubicBezTo>
                <a:cubicBezTo>
                  <a:pt x="318" y="303"/>
                  <a:pt x="320" y="304"/>
                  <a:pt x="322" y="305"/>
                </a:cubicBezTo>
                <a:cubicBezTo>
                  <a:pt x="323" y="305"/>
                  <a:pt x="324" y="306"/>
                  <a:pt x="325" y="306"/>
                </a:cubicBezTo>
                <a:cubicBezTo>
                  <a:pt x="326" y="306"/>
                  <a:pt x="327" y="307"/>
                  <a:pt x="327" y="307"/>
                </a:cubicBezTo>
                <a:cubicBezTo>
                  <a:pt x="327" y="307"/>
                  <a:pt x="328" y="308"/>
                  <a:pt x="329" y="308"/>
                </a:cubicBezTo>
                <a:cubicBezTo>
                  <a:pt x="330" y="308"/>
                  <a:pt x="331" y="309"/>
                  <a:pt x="332" y="309"/>
                </a:cubicBezTo>
                <a:cubicBezTo>
                  <a:pt x="332" y="308"/>
                  <a:pt x="331" y="308"/>
                  <a:pt x="330" y="308"/>
                </a:cubicBezTo>
                <a:cubicBezTo>
                  <a:pt x="329" y="307"/>
                  <a:pt x="328" y="306"/>
                  <a:pt x="326" y="306"/>
                </a:cubicBezTo>
                <a:cubicBezTo>
                  <a:pt x="321" y="303"/>
                  <a:pt x="317" y="300"/>
                  <a:pt x="309" y="297"/>
                </a:cubicBezTo>
                <a:cubicBezTo>
                  <a:pt x="305" y="294"/>
                  <a:pt x="298" y="291"/>
                  <a:pt x="292" y="288"/>
                </a:cubicBezTo>
                <a:cubicBezTo>
                  <a:pt x="289" y="287"/>
                  <a:pt x="287" y="285"/>
                  <a:pt x="284" y="284"/>
                </a:cubicBezTo>
                <a:cubicBezTo>
                  <a:pt x="283" y="283"/>
                  <a:pt x="279" y="281"/>
                  <a:pt x="276" y="280"/>
                </a:cubicBezTo>
                <a:cubicBezTo>
                  <a:pt x="280" y="281"/>
                  <a:pt x="284" y="280"/>
                  <a:pt x="289" y="282"/>
                </a:cubicBezTo>
                <a:cubicBezTo>
                  <a:pt x="294" y="284"/>
                  <a:pt x="299" y="286"/>
                  <a:pt x="303" y="288"/>
                </a:cubicBezTo>
                <a:cubicBezTo>
                  <a:pt x="309" y="291"/>
                  <a:pt x="314" y="295"/>
                  <a:pt x="322" y="298"/>
                </a:cubicBezTo>
                <a:cubicBezTo>
                  <a:pt x="325" y="299"/>
                  <a:pt x="330" y="300"/>
                  <a:pt x="334" y="302"/>
                </a:cubicBezTo>
                <a:cubicBezTo>
                  <a:pt x="335" y="300"/>
                  <a:pt x="331" y="299"/>
                  <a:pt x="328" y="298"/>
                </a:cubicBezTo>
                <a:cubicBezTo>
                  <a:pt x="326" y="297"/>
                  <a:pt x="323" y="297"/>
                  <a:pt x="323" y="296"/>
                </a:cubicBezTo>
                <a:cubicBezTo>
                  <a:pt x="323" y="295"/>
                  <a:pt x="325" y="296"/>
                  <a:pt x="327" y="296"/>
                </a:cubicBezTo>
                <a:cubicBezTo>
                  <a:pt x="328" y="296"/>
                  <a:pt x="330" y="296"/>
                  <a:pt x="331" y="296"/>
                </a:cubicBezTo>
                <a:cubicBezTo>
                  <a:pt x="331" y="297"/>
                  <a:pt x="332" y="297"/>
                  <a:pt x="333" y="298"/>
                </a:cubicBezTo>
                <a:cubicBezTo>
                  <a:pt x="333" y="298"/>
                  <a:pt x="333" y="298"/>
                  <a:pt x="333" y="298"/>
                </a:cubicBezTo>
                <a:cubicBezTo>
                  <a:pt x="333" y="298"/>
                  <a:pt x="333" y="298"/>
                  <a:pt x="333" y="298"/>
                </a:cubicBezTo>
                <a:cubicBezTo>
                  <a:pt x="332" y="298"/>
                  <a:pt x="330" y="297"/>
                  <a:pt x="330" y="297"/>
                </a:cubicBezTo>
                <a:cubicBezTo>
                  <a:pt x="330" y="298"/>
                  <a:pt x="331" y="299"/>
                  <a:pt x="334" y="299"/>
                </a:cubicBezTo>
                <a:cubicBezTo>
                  <a:pt x="334" y="299"/>
                  <a:pt x="335" y="300"/>
                  <a:pt x="335" y="300"/>
                </a:cubicBezTo>
                <a:cubicBezTo>
                  <a:pt x="337" y="301"/>
                  <a:pt x="339" y="302"/>
                  <a:pt x="341" y="303"/>
                </a:cubicBezTo>
                <a:cubicBezTo>
                  <a:pt x="341" y="303"/>
                  <a:pt x="342" y="303"/>
                  <a:pt x="342" y="303"/>
                </a:cubicBezTo>
                <a:cubicBezTo>
                  <a:pt x="340" y="302"/>
                  <a:pt x="338" y="301"/>
                  <a:pt x="336" y="300"/>
                </a:cubicBezTo>
                <a:cubicBezTo>
                  <a:pt x="335" y="299"/>
                  <a:pt x="335" y="299"/>
                  <a:pt x="337" y="298"/>
                </a:cubicBezTo>
                <a:cubicBezTo>
                  <a:pt x="339" y="299"/>
                  <a:pt x="340" y="299"/>
                  <a:pt x="341" y="299"/>
                </a:cubicBezTo>
                <a:cubicBezTo>
                  <a:pt x="342" y="300"/>
                  <a:pt x="344" y="301"/>
                  <a:pt x="347" y="301"/>
                </a:cubicBezTo>
                <a:cubicBezTo>
                  <a:pt x="346" y="300"/>
                  <a:pt x="345" y="299"/>
                  <a:pt x="344" y="299"/>
                </a:cubicBezTo>
                <a:cubicBezTo>
                  <a:pt x="343" y="297"/>
                  <a:pt x="339" y="295"/>
                  <a:pt x="335" y="294"/>
                </a:cubicBezTo>
                <a:cubicBezTo>
                  <a:pt x="334" y="293"/>
                  <a:pt x="333" y="293"/>
                  <a:pt x="331" y="292"/>
                </a:cubicBezTo>
                <a:cubicBezTo>
                  <a:pt x="331" y="292"/>
                  <a:pt x="331" y="292"/>
                  <a:pt x="330" y="291"/>
                </a:cubicBezTo>
                <a:cubicBezTo>
                  <a:pt x="330" y="291"/>
                  <a:pt x="329" y="290"/>
                  <a:pt x="327" y="290"/>
                </a:cubicBezTo>
                <a:cubicBezTo>
                  <a:pt x="326" y="289"/>
                  <a:pt x="325" y="289"/>
                  <a:pt x="325" y="289"/>
                </a:cubicBezTo>
                <a:cubicBezTo>
                  <a:pt x="327" y="288"/>
                  <a:pt x="323" y="287"/>
                  <a:pt x="324" y="287"/>
                </a:cubicBezTo>
                <a:cubicBezTo>
                  <a:pt x="325" y="287"/>
                  <a:pt x="329" y="288"/>
                  <a:pt x="329" y="287"/>
                </a:cubicBezTo>
                <a:cubicBezTo>
                  <a:pt x="330" y="287"/>
                  <a:pt x="328" y="286"/>
                  <a:pt x="326" y="285"/>
                </a:cubicBezTo>
                <a:cubicBezTo>
                  <a:pt x="324" y="284"/>
                  <a:pt x="323" y="284"/>
                  <a:pt x="322" y="283"/>
                </a:cubicBezTo>
                <a:cubicBezTo>
                  <a:pt x="320" y="281"/>
                  <a:pt x="318" y="280"/>
                  <a:pt x="311" y="278"/>
                </a:cubicBezTo>
                <a:cubicBezTo>
                  <a:pt x="310" y="277"/>
                  <a:pt x="304" y="275"/>
                  <a:pt x="301" y="273"/>
                </a:cubicBezTo>
                <a:cubicBezTo>
                  <a:pt x="296" y="271"/>
                  <a:pt x="290" y="268"/>
                  <a:pt x="284" y="265"/>
                </a:cubicBezTo>
                <a:cubicBezTo>
                  <a:pt x="283" y="264"/>
                  <a:pt x="281" y="263"/>
                  <a:pt x="276" y="262"/>
                </a:cubicBezTo>
                <a:cubicBezTo>
                  <a:pt x="278" y="263"/>
                  <a:pt x="281" y="264"/>
                  <a:pt x="283" y="265"/>
                </a:cubicBezTo>
                <a:cubicBezTo>
                  <a:pt x="285" y="266"/>
                  <a:pt x="286" y="267"/>
                  <a:pt x="288" y="268"/>
                </a:cubicBezTo>
                <a:cubicBezTo>
                  <a:pt x="282" y="266"/>
                  <a:pt x="281" y="264"/>
                  <a:pt x="277" y="263"/>
                </a:cubicBezTo>
                <a:cubicBezTo>
                  <a:pt x="275" y="262"/>
                  <a:pt x="273" y="262"/>
                  <a:pt x="272" y="261"/>
                </a:cubicBezTo>
                <a:cubicBezTo>
                  <a:pt x="272" y="261"/>
                  <a:pt x="272" y="261"/>
                  <a:pt x="272" y="261"/>
                </a:cubicBezTo>
                <a:cubicBezTo>
                  <a:pt x="272" y="261"/>
                  <a:pt x="272" y="260"/>
                  <a:pt x="270" y="259"/>
                </a:cubicBezTo>
                <a:cubicBezTo>
                  <a:pt x="268" y="259"/>
                  <a:pt x="268" y="259"/>
                  <a:pt x="268" y="260"/>
                </a:cubicBezTo>
                <a:cubicBezTo>
                  <a:pt x="265" y="258"/>
                  <a:pt x="262" y="257"/>
                  <a:pt x="260" y="256"/>
                </a:cubicBezTo>
                <a:cubicBezTo>
                  <a:pt x="260" y="256"/>
                  <a:pt x="261" y="256"/>
                  <a:pt x="262" y="256"/>
                </a:cubicBezTo>
                <a:cubicBezTo>
                  <a:pt x="263" y="256"/>
                  <a:pt x="264" y="257"/>
                  <a:pt x="265" y="257"/>
                </a:cubicBezTo>
                <a:cubicBezTo>
                  <a:pt x="269" y="258"/>
                  <a:pt x="272" y="259"/>
                  <a:pt x="273" y="260"/>
                </a:cubicBezTo>
                <a:cubicBezTo>
                  <a:pt x="274" y="260"/>
                  <a:pt x="275" y="261"/>
                  <a:pt x="276" y="261"/>
                </a:cubicBezTo>
                <a:cubicBezTo>
                  <a:pt x="277" y="261"/>
                  <a:pt x="276" y="260"/>
                  <a:pt x="275" y="260"/>
                </a:cubicBezTo>
                <a:cubicBezTo>
                  <a:pt x="276" y="260"/>
                  <a:pt x="277" y="260"/>
                  <a:pt x="277" y="260"/>
                </a:cubicBezTo>
                <a:cubicBezTo>
                  <a:pt x="278" y="260"/>
                  <a:pt x="279" y="261"/>
                  <a:pt x="280" y="261"/>
                </a:cubicBezTo>
                <a:cubicBezTo>
                  <a:pt x="285" y="263"/>
                  <a:pt x="289" y="266"/>
                  <a:pt x="294" y="268"/>
                </a:cubicBezTo>
                <a:cubicBezTo>
                  <a:pt x="294" y="268"/>
                  <a:pt x="294" y="268"/>
                  <a:pt x="294" y="267"/>
                </a:cubicBezTo>
                <a:cubicBezTo>
                  <a:pt x="294" y="267"/>
                  <a:pt x="293" y="267"/>
                  <a:pt x="293" y="267"/>
                </a:cubicBezTo>
                <a:cubicBezTo>
                  <a:pt x="293" y="267"/>
                  <a:pt x="293" y="267"/>
                  <a:pt x="293" y="267"/>
                </a:cubicBezTo>
                <a:cubicBezTo>
                  <a:pt x="293" y="267"/>
                  <a:pt x="293" y="267"/>
                  <a:pt x="293" y="267"/>
                </a:cubicBezTo>
                <a:cubicBezTo>
                  <a:pt x="296" y="267"/>
                  <a:pt x="299" y="268"/>
                  <a:pt x="300" y="270"/>
                </a:cubicBezTo>
                <a:cubicBezTo>
                  <a:pt x="301" y="270"/>
                  <a:pt x="303" y="271"/>
                  <a:pt x="306" y="272"/>
                </a:cubicBezTo>
                <a:cubicBezTo>
                  <a:pt x="307" y="272"/>
                  <a:pt x="308" y="272"/>
                  <a:pt x="308" y="272"/>
                </a:cubicBezTo>
                <a:cubicBezTo>
                  <a:pt x="310" y="271"/>
                  <a:pt x="307" y="270"/>
                  <a:pt x="305" y="270"/>
                </a:cubicBezTo>
                <a:cubicBezTo>
                  <a:pt x="298" y="266"/>
                  <a:pt x="289" y="262"/>
                  <a:pt x="282" y="259"/>
                </a:cubicBezTo>
                <a:cubicBezTo>
                  <a:pt x="282" y="259"/>
                  <a:pt x="282" y="259"/>
                  <a:pt x="282" y="259"/>
                </a:cubicBezTo>
                <a:cubicBezTo>
                  <a:pt x="279" y="257"/>
                  <a:pt x="272" y="255"/>
                  <a:pt x="271" y="253"/>
                </a:cubicBezTo>
                <a:cubicBezTo>
                  <a:pt x="281" y="257"/>
                  <a:pt x="290" y="262"/>
                  <a:pt x="299" y="266"/>
                </a:cubicBezTo>
                <a:cubicBezTo>
                  <a:pt x="308" y="270"/>
                  <a:pt x="318" y="275"/>
                  <a:pt x="330" y="280"/>
                </a:cubicBezTo>
                <a:cubicBezTo>
                  <a:pt x="332" y="281"/>
                  <a:pt x="334" y="281"/>
                  <a:pt x="336" y="282"/>
                </a:cubicBezTo>
                <a:cubicBezTo>
                  <a:pt x="340" y="285"/>
                  <a:pt x="347" y="288"/>
                  <a:pt x="352" y="291"/>
                </a:cubicBezTo>
                <a:cubicBezTo>
                  <a:pt x="353" y="291"/>
                  <a:pt x="349" y="290"/>
                  <a:pt x="349" y="289"/>
                </a:cubicBezTo>
                <a:cubicBezTo>
                  <a:pt x="355" y="290"/>
                  <a:pt x="358" y="292"/>
                  <a:pt x="361" y="294"/>
                </a:cubicBezTo>
                <a:cubicBezTo>
                  <a:pt x="363" y="295"/>
                  <a:pt x="365" y="297"/>
                  <a:pt x="371" y="298"/>
                </a:cubicBezTo>
                <a:cubicBezTo>
                  <a:pt x="376" y="299"/>
                  <a:pt x="377" y="300"/>
                  <a:pt x="380" y="302"/>
                </a:cubicBezTo>
                <a:cubicBezTo>
                  <a:pt x="380" y="302"/>
                  <a:pt x="380" y="302"/>
                  <a:pt x="380" y="302"/>
                </a:cubicBezTo>
                <a:cubicBezTo>
                  <a:pt x="385" y="304"/>
                  <a:pt x="389" y="306"/>
                  <a:pt x="393" y="308"/>
                </a:cubicBezTo>
                <a:cubicBezTo>
                  <a:pt x="390" y="307"/>
                  <a:pt x="389" y="306"/>
                  <a:pt x="387" y="306"/>
                </a:cubicBezTo>
                <a:cubicBezTo>
                  <a:pt x="386" y="305"/>
                  <a:pt x="385" y="304"/>
                  <a:pt x="381" y="303"/>
                </a:cubicBezTo>
                <a:cubicBezTo>
                  <a:pt x="382" y="304"/>
                  <a:pt x="383" y="305"/>
                  <a:pt x="386" y="306"/>
                </a:cubicBezTo>
                <a:cubicBezTo>
                  <a:pt x="389" y="307"/>
                  <a:pt x="391" y="308"/>
                  <a:pt x="394" y="310"/>
                </a:cubicBezTo>
                <a:cubicBezTo>
                  <a:pt x="396" y="311"/>
                  <a:pt x="398" y="311"/>
                  <a:pt x="399" y="312"/>
                </a:cubicBezTo>
                <a:cubicBezTo>
                  <a:pt x="399" y="312"/>
                  <a:pt x="400" y="312"/>
                  <a:pt x="400" y="312"/>
                </a:cubicBezTo>
                <a:cubicBezTo>
                  <a:pt x="398" y="311"/>
                  <a:pt x="397" y="311"/>
                  <a:pt x="396" y="310"/>
                </a:cubicBezTo>
                <a:cubicBezTo>
                  <a:pt x="396" y="310"/>
                  <a:pt x="397" y="310"/>
                  <a:pt x="397" y="310"/>
                </a:cubicBezTo>
                <a:cubicBezTo>
                  <a:pt x="402" y="313"/>
                  <a:pt x="410" y="316"/>
                  <a:pt x="413" y="319"/>
                </a:cubicBezTo>
                <a:cubicBezTo>
                  <a:pt x="416" y="320"/>
                  <a:pt x="418" y="321"/>
                  <a:pt x="421" y="322"/>
                </a:cubicBezTo>
                <a:cubicBezTo>
                  <a:pt x="421" y="323"/>
                  <a:pt x="422" y="324"/>
                  <a:pt x="426" y="325"/>
                </a:cubicBezTo>
                <a:cubicBezTo>
                  <a:pt x="429" y="328"/>
                  <a:pt x="436" y="329"/>
                  <a:pt x="442" y="331"/>
                </a:cubicBezTo>
                <a:cubicBezTo>
                  <a:pt x="442" y="331"/>
                  <a:pt x="442" y="331"/>
                  <a:pt x="443" y="331"/>
                </a:cubicBezTo>
                <a:cubicBezTo>
                  <a:pt x="444" y="332"/>
                  <a:pt x="446" y="333"/>
                  <a:pt x="448" y="334"/>
                </a:cubicBezTo>
                <a:cubicBezTo>
                  <a:pt x="450" y="335"/>
                  <a:pt x="448" y="335"/>
                  <a:pt x="446" y="334"/>
                </a:cubicBezTo>
                <a:cubicBezTo>
                  <a:pt x="445" y="334"/>
                  <a:pt x="444" y="333"/>
                  <a:pt x="441" y="333"/>
                </a:cubicBezTo>
                <a:cubicBezTo>
                  <a:pt x="442" y="333"/>
                  <a:pt x="444" y="334"/>
                  <a:pt x="445" y="334"/>
                </a:cubicBezTo>
                <a:cubicBezTo>
                  <a:pt x="446" y="335"/>
                  <a:pt x="447" y="335"/>
                  <a:pt x="448" y="336"/>
                </a:cubicBezTo>
                <a:cubicBezTo>
                  <a:pt x="452" y="338"/>
                  <a:pt x="459" y="341"/>
                  <a:pt x="465" y="344"/>
                </a:cubicBezTo>
                <a:cubicBezTo>
                  <a:pt x="467" y="345"/>
                  <a:pt x="468" y="347"/>
                  <a:pt x="473" y="348"/>
                </a:cubicBezTo>
                <a:cubicBezTo>
                  <a:pt x="472" y="347"/>
                  <a:pt x="469" y="345"/>
                  <a:pt x="466" y="344"/>
                </a:cubicBezTo>
                <a:cubicBezTo>
                  <a:pt x="463" y="342"/>
                  <a:pt x="459" y="340"/>
                  <a:pt x="455" y="339"/>
                </a:cubicBezTo>
                <a:cubicBezTo>
                  <a:pt x="457" y="338"/>
                  <a:pt x="452" y="335"/>
                  <a:pt x="450" y="334"/>
                </a:cubicBezTo>
                <a:cubicBezTo>
                  <a:pt x="449" y="333"/>
                  <a:pt x="446" y="331"/>
                  <a:pt x="444" y="330"/>
                </a:cubicBezTo>
                <a:cubicBezTo>
                  <a:pt x="444" y="329"/>
                  <a:pt x="441" y="329"/>
                  <a:pt x="439" y="328"/>
                </a:cubicBezTo>
                <a:cubicBezTo>
                  <a:pt x="435" y="326"/>
                  <a:pt x="429" y="324"/>
                  <a:pt x="432" y="323"/>
                </a:cubicBezTo>
                <a:cubicBezTo>
                  <a:pt x="433" y="323"/>
                  <a:pt x="431" y="321"/>
                  <a:pt x="427" y="321"/>
                </a:cubicBezTo>
                <a:cubicBezTo>
                  <a:pt x="425" y="320"/>
                  <a:pt x="423" y="319"/>
                  <a:pt x="421" y="318"/>
                </a:cubicBezTo>
                <a:cubicBezTo>
                  <a:pt x="420" y="317"/>
                  <a:pt x="418" y="317"/>
                  <a:pt x="417" y="316"/>
                </a:cubicBezTo>
                <a:cubicBezTo>
                  <a:pt x="417" y="315"/>
                  <a:pt x="416" y="315"/>
                  <a:pt x="414" y="314"/>
                </a:cubicBezTo>
                <a:cubicBezTo>
                  <a:pt x="413" y="314"/>
                  <a:pt x="414" y="315"/>
                  <a:pt x="415" y="316"/>
                </a:cubicBezTo>
                <a:cubicBezTo>
                  <a:pt x="416" y="317"/>
                  <a:pt x="417" y="317"/>
                  <a:pt x="419" y="318"/>
                </a:cubicBezTo>
                <a:cubicBezTo>
                  <a:pt x="421" y="319"/>
                  <a:pt x="421" y="320"/>
                  <a:pt x="419" y="320"/>
                </a:cubicBezTo>
                <a:cubicBezTo>
                  <a:pt x="417" y="320"/>
                  <a:pt x="417" y="319"/>
                  <a:pt x="416" y="319"/>
                </a:cubicBezTo>
                <a:cubicBezTo>
                  <a:pt x="408" y="314"/>
                  <a:pt x="399" y="310"/>
                  <a:pt x="391" y="306"/>
                </a:cubicBezTo>
                <a:cubicBezTo>
                  <a:pt x="393" y="306"/>
                  <a:pt x="396" y="307"/>
                  <a:pt x="397" y="308"/>
                </a:cubicBezTo>
                <a:cubicBezTo>
                  <a:pt x="402" y="311"/>
                  <a:pt x="407" y="311"/>
                  <a:pt x="413" y="311"/>
                </a:cubicBezTo>
                <a:cubicBezTo>
                  <a:pt x="413" y="312"/>
                  <a:pt x="412" y="312"/>
                  <a:pt x="413" y="312"/>
                </a:cubicBezTo>
                <a:cubicBezTo>
                  <a:pt x="413" y="313"/>
                  <a:pt x="414" y="313"/>
                  <a:pt x="415" y="313"/>
                </a:cubicBezTo>
                <a:cubicBezTo>
                  <a:pt x="415" y="312"/>
                  <a:pt x="416" y="312"/>
                  <a:pt x="414" y="311"/>
                </a:cubicBezTo>
                <a:cubicBezTo>
                  <a:pt x="413" y="311"/>
                  <a:pt x="420" y="312"/>
                  <a:pt x="416" y="310"/>
                </a:cubicBezTo>
                <a:cubicBezTo>
                  <a:pt x="414" y="309"/>
                  <a:pt x="410" y="309"/>
                  <a:pt x="410" y="309"/>
                </a:cubicBezTo>
                <a:cubicBezTo>
                  <a:pt x="406" y="311"/>
                  <a:pt x="403" y="308"/>
                  <a:pt x="399" y="307"/>
                </a:cubicBezTo>
                <a:cubicBezTo>
                  <a:pt x="398" y="306"/>
                  <a:pt x="396" y="305"/>
                  <a:pt x="395" y="305"/>
                </a:cubicBezTo>
                <a:cubicBezTo>
                  <a:pt x="391" y="302"/>
                  <a:pt x="388" y="303"/>
                  <a:pt x="385" y="303"/>
                </a:cubicBezTo>
                <a:cubicBezTo>
                  <a:pt x="385" y="303"/>
                  <a:pt x="385" y="303"/>
                  <a:pt x="385" y="303"/>
                </a:cubicBezTo>
                <a:cubicBezTo>
                  <a:pt x="384" y="302"/>
                  <a:pt x="384" y="302"/>
                  <a:pt x="384" y="302"/>
                </a:cubicBezTo>
                <a:cubicBezTo>
                  <a:pt x="382" y="301"/>
                  <a:pt x="385" y="301"/>
                  <a:pt x="384" y="299"/>
                </a:cubicBezTo>
                <a:cubicBezTo>
                  <a:pt x="380" y="296"/>
                  <a:pt x="373" y="294"/>
                  <a:pt x="369" y="291"/>
                </a:cubicBezTo>
                <a:cubicBezTo>
                  <a:pt x="367" y="291"/>
                  <a:pt x="366" y="290"/>
                  <a:pt x="365" y="289"/>
                </a:cubicBezTo>
                <a:cubicBezTo>
                  <a:pt x="359" y="288"/>
                  <a:pt x="358" y="286"/>
                  <a:pt x="354" y="284"/>
                </a:cubicBezTo>
                <a:cubicBezTo>
                  <a:pt x="348" y="282"/>
                  <a:pt x="346" y="279"/>
                  <a:pt x="341" y="277"/>
                </a:cubicBezTo>
                <a:cubicBezTo>
                  <a:pt x="338" y="276"/>
                  <a:pt x="335" y="274"/>
                  <a:pt x="333" y="273"/>
                </a:cubicBezTo>
                <a:cubicBezTo>
                  <a:pt x="327" y="270"/>
                  <a:pt x="320" y="267"/>
                  <a:pt x="314" y="264"/>
                </a:cubicBezTo>
                <a:cubicBezTo>
                  <a:pt x="313" y="263"/>
                  <a:pt x="311" y="263"/>
                  <a:pt x="310" y="262"/>
                </a:cubicBezTo>
                <a:cubicBezTo>
                  <a:pt x="311" y="262"/>
                  <a:pt x="312" y="262"/>
                  <a:pt x="313" y="262"/>
                </a:cubicBezTo>
                <a:cubicBezTo>
                  <a:pt x="318" y="265"/>
                  <a:pt x="323" y="267"/>
                  <a:pt x="329" y="269"/>
                </a:cubicBezTo>
                <a:cubicBezTo>
                  <a:pt x="328" y="269"/>
                  <a:pt x="328" y="269"/>
                  <a:pt x="328" y="268"/>
                </a:cubicBezTo>
                <a:cubicBezTo>
                  <a:pt x="328" y="269"/>
                  <a:pt x="329" y="269"/>
                  <a:pt x="329" y="269"/>
                </a:cubicBezTo>
                <a:cubicBezTo>
                  <a:pt x="335" y="272"/>
                  <a:pt x="342" y="275"/>
                  <a:pt x="348" y="279"/>
                </a:cubicBezTo>
                <a:cubicBezTo>
                  <a:pt x="354" y="281"/>
                  <a:pt x="361" y="284"/>
                  <a:pt x="367" y="287"/>
                </a:cubicBezTo>
                <a:cubicBezTo>
                  <a:pt x="377" y="291"/>
                  <a:pt x="387" y="296"/>
                  <a:pt x="396" y="300"/>
                </a:cubicBezTo>
                <a:cubicBezTo>
                  <a:pt x="398" y="301"/>
                  <a:pt x="401" y="303"/>
                  <a:pt x="404" y="304"/>
                </a:cubicBezTo>
                <a:cubicBezTo>
                  <a:pt x="409" y="307"/>
                  <a:pt x="418" y="310"/>
                  <a:pt x="424" y="314"/>
                </a:cubicBezTo>
                <a:cubicBezTo>
                  <a:pt x="425" y="315"/>
                  <a:pt x="429" y="316"/>
                  <a:pt x="432" y="318"/>
                </a:cubicBezTo>
                <a:cubicBezTo>
                  <a:pt x="433" y="317"/>
                  <a:pt x="428" y="315"/>
                  <a:pt x="426" y="314"/>
                </a:cubicBezTo>
                <a:cubicBezTo>
                  <a:pt x="426" y="314"/>
                  <a:pt x="426" y="314"/>
                  <a:pt x="426" y="314"/>
                </a:cubicBezTo>
                <a:cubicBezTo>
                  <a:pt x="428" y="313"/>
                  <a:pt x="429" y="313"/>
                  <a:pt x="436" y="315"/>
                </a:cubicBezTo>
                <a:cubicBezTo>
                  <a:pt x="434" y="314"/>
                  <a:pt x="434" y="312"/>
                  <a:pt x="430" y="311"/>
                </a:cubicBezTo>
                <a:cubicBezTo>
                  <a:pt x="428" y="311"/>
                  <a:pt x="431" y="313"/>
                  <a:pt x="426" y="311"/>
                </a:cubicBezTo>
                <a:cubicBezTo>
                  <a:pt x="422" y="310"/>
                  <a:pt x="423" y="309"/>
                  <a:pt x="420" y="308"/>
                </a:cubicBezTo>
                <a:cubicBezTo>
                  <a:pt x="420" y="307"/>
                  <a:pt x="425" y="307"/>
                  <a:pt x="425" y="307"/>
                </a:cubicBezTo>
                <a:cubicBezTo>
                  <a:pt x="434" y="309"/>
                  <a:pt x="425" y="307"/>
                  <a:pt x="426" y="306"/>
                </a:cubicBezTo>
                <a:cubicBezTo>
                  <a:pt x="425" y="306"/>
                  <a:pt x="426" y="306"/>
                  <a:pt x="427" y="306"/>
                </a:cubicBezTo>
                <a:cubicBezTo>
                  <a:pt x="427" y="306"/>
                  <a:pt x="428" y="306"/>
                  <a:pt x="429" y="306"/>
                </a:cubicBezTo>
                <a:cubicBezTo>
                  <a:pt x="430" y="306"/>
                  <a:pt x="432" y="307"/>
                  <a:pt x="434" y="308"/>
                </a:cubicBezTo>
                <a:cubicBezTo>
                  <a:pt x="436" y="309"/>
                  <a:pt x="438" y="310"/>
                  <a:pt x="440" y="311"/>
                </a:cubicBezTo>
                <a:cubicBezTo>
                  <a:pt x="444" y="314"/>
                  <a:pt x="452" y="317"/>
                  <a:pt x="460" y="320"/>
                </a:cubicBezTo>
                <a:cubicBezTo>
                  <a:pt x="453" y="317"/>
                  <a:pt x="449" y="314"/>
                  <a:pt x="441" y="311"/>
                </a:cubicBezTo>
                <a:cubicBezTo>
                  <a:pt x="439" y="310"/>
                  <a:pt x="437" y="309"/>
                  <a:pt x="434" y="308"/>
                </a:cubicBezTo>
                <a:cubicBezTo>
                  <a:pt x="433" y="307"/>
                  <a:pt x="431" y="306"/>
                  <a:pt x="429" y="305"/>
                </a:cubicBezTo>
                <a:cubicBezTo>
                  <a:pt x="431" y="305"/>
                  <a:pt x="429" y="304"/>
                  <a:pt x="430" y="303"/>
                </a:cubicBezTo>
                <a:cubicBezTo>
                  <a:pt x="434" y="303"/>
                  <a:pt x="436" y="305"/>
                  <a:pt x="438" y="306"/>
                </a:cubicBezTo>
                <a:cubicBezTo>
                  <a:pt x="449" y="312"/>
                  <a:pt x="460" y="317"/>
                  <a:pt x="471" y="323"/>
                </a:cubicBezTo>
                <a:cubicBezTo>
                  <a:pt x="472" y="324"/>
                  <a:pt x="473" y="325"/>
                  <a:pt x="475" y="325"/>
                </a:cubicBezTo>
                <a:cubicBezTo>
                  <a:pt x="476" y="326"/>
                  <a:pt x="479" y="328"/>
                  <a:pt x="482" y="329"/>
                </a:cubicBezTo>
                <a:cubicBezTo>
                  <a:pt x="482" y="329"/>
                  <a:pt x="482" y="329"/>
                  <a:pt x="482" y="329"/>
                </a:cubicBezTo>
                <a:cubicBezTo>
                  <a:pt x="482" y="329"/>
                  <a:pt x="483" y="329"/>
                  <a:pt x="483" y="330"/>
                </a:cubicBezTo>
                <a:cubicBezTo>
                  <a:pt x="485" y="331"/>
                  <a:pt x="487" y="332"/>
                  <a:pt x="490" y="334"/>
                </a:cubicBezTo>
                <a:cubicBezTo>
                  <a:pt x="491" y="335"/>
                  <a:pt x="491" y="336"/>
                  <a:pt x="498" y="339"/>
                </a:cubicBezTo>
                <a:cubicBezTo>
                  <a:pt x="505" y="341"/>
                  <a:pt x="509" y="344"/>
                  <a:pt x="507" y="346"/>
                </a:cubicBezTo>
                <a:cubicBezTo>
                  <a:pt x="507" y="346"/>
                  <a:pt x="505" y="346"/>
                  <a:pt x="506" y="347"/>
                </a:cubicBezTo>
                <a:cubicBezTo>
                  <a:pt x="509" y="348"/>
                  <a:pt x="512" y="348"/>
                  <a:pt x="515" y="349"/>
                </a:cubicBezTo>
                <a:cubicBezTo>
                  <a:pt x="517" y="349"/>
                  <a:pt x="518" y="350"/>
                  <a:pt x="519" y="351"/>
                </a:cubicBezTo>
                <a:cubicBezTo>
                  <a:pt x="519" y="351"/>
                  <a:pt x="520" y="351"/>
                  <a:pt x="520" y="351"/>
                </a:cubicBezTo>
                <a:cubicBezTo>
                  <a:pt x="523" y="353"/>
                  <a:pt x="525" y="354"/>
                  <a:pt x="528" y="356"/>
                </a:cubicBezTo>
                <a:cubicBezTo>
                  <a:pt x="529" y="357"/>
                  <a:pt x="530" y="357"/>
                  <a:pt x="533" y="358"/>
                </a:cubicBezTo>
                <a:cubicBezTo>
                  <a:pt x="533" y="357"/>
                  <a:pt x="531" y="357"/>
                  <a:pt x="529" y="356"/>
                </a:cubicBezTo>
                <a:cubicBezTo>
                  <a:pt x="529" y="356"/>
                  <a:pt x="529" y="355"/>
                  <a:pt x="529" y="355"/>
                </a:cubicBezTo>
                <a:cubicBezTo>
                  <a:pt x="529" y="355"/>
                  <a:pt x="530" y="355"/>
                  <a:pt x="530" y="355"/>
                </a:cubicBezTo>
                <a:cubicBezTo>
                  <a:pt x="531" y="355"/>
                  <a:pt x="531" y="355"/>
                  <a:pt x="531" y="356"/>
                </a:cubicBezTo>
                <a:cubicBezTo>
                  <a:pt x="533" y="357"/>
                  <a:pt x="533" y="357"/>
                  <a:pt x="537" y="359"/>
                </a:cubicBezTo>
                <a:cubicBezTo>
                  <a:pt x="537" y="358"/>
                  <a:pt x="535" y="357"/>
                  <a:pt x="532" y="356"/>
                </a:cubicBezTo>
                <a:cubicBezTo>
                  <a:pt x="531" y="355"/>
                  <a:pt x="530" y="354"/>
                  <a:pt x="528" y="354"/>
                </a:cubicBezTo>
                <a:cubicBezTo>
                  <a:pt x="529" y="353"/>
                  <a:pt x="526" y="352"/>
                  <a:pt x="525" y="351"/>
                </a:cubicBezTo>
                <a:cubicBezTo>
                  <a:pt x="525" y="351"/>
                  <a:pt x="525" y="351"/>
                  <a:pt x="524" y="350"/>
                </a:cubicBezTo>
                <a:cubicBezTo>
                  <a:pt x="521" y="349"/>
                  <a:pt x="520" y="348"/>
                  <a:pt x="517" y="347"/>
                </a:cubicBezTo>
                <a:cubicBezTo>
                  <a:pt x="517" y="346"/>
                  <a:pt x="514" y="345"/>
                  <a:pt x="512" y="344"/>
                </a:cubicBezTo>
                <a:cubicBezTo>
                  <a:pt x="511" y="343"/>
                  <a:pt x="509" y="342"/>
                  <a:pt x="509" y="341"/>
                </a:cubicBezTo>
                <a:cubicBezTo>
                  <a:pt x="509" y="341"/>
                  <a:pt x="509" y="341"/>
                  <a:pt x="509" y="341"/>
                </a:cubicBezTo>
                <a:cubicBezTo>
                  <a:pt x="510" y="341"/>
                  <a:pt x="511" y="341"/>
                  <a:pt x="510" y="341"/>
                </a:cubicBezTo>
                <a:cubicBezTo>
                  <a:pt x="509" y="340"/>
                  <a:pt x="507" y="340"/>
                  <a:pt x="506" y="340"/>
                </a:cubicBezTo>
                <a:cubicBezTo>
                  <a:pt x="500" y="337"/>
                  <a:pt x="501" y="336"/>
                  <a:pt x="496" y="334"/>
                </a:cubicBezTo>
                <a:cubicBezTo>
                  <a:pt x="495" y="333"/>
                  <a:pt x="491" y="331"/>
                  <a:pt x="491" y="330"/>
                </a:cubicBezTo>
                <a:cubicBezTo>
                  <a:pt x="500" y="334"/>
                  <a:pt x="508" y="338"/>
                  <a:pt x="514" y="341"/>
                </a:cubicBezTo>
                <a:cubicBezTo>
                  <a:pt x="514" y="342"/>
                  <a:pt x="514" y="342"/>
                  <a:pt x="516" y="343"/>
                </a:cubicBezTo>
                <a:cubicBezTo>
                  <a:pt x="518" y="344"/>
                  <a:pt x="520" y="345"/>
                  <a:pt x="523" y="346"/>
                </a:cubicBezTo>
                <a:cubicBezTo>
                  <a:pt x="522" y="345"/>
                  <a:pt x="521" y="344"/>
                  <a:pt x="519" y="343"/>
                </a:cubicBezTo>
                <a:cubicBezTo>
                  <a:pt x="518" y="342"/>
                  <a:pt x="517" y="342"/>
                  <a:pt x="516" y="342"/>
                </a:cubicBezTo>
                <a:cubicBezTo>
                  <a:pt x="516" y="341"/>
                  <a:pt x="513" y="340"/>
                  <a:pt x="513" y="339"/>
                </a:cubicBezTo>
                <a:cubicBezTo>
                  <a:pt x="514" y="339"/>
                  <a:pt x="515" y="340"/>
                  <a:pt x="517" y="340"/>
                </a:cubicBezTo>
                <a:cubicBezTo>
                  <a:pt x="519" y="341"/>
                  <a:pt x="517" y="340"/>
                  <a:pt x="517" y="339"/>
                </a:cubicBezTo>
                <a:cubicBezTo>
                  <a:pt x="514" y="338"/>
                  <a:pt x="511" y="337"/>
                  <a:pt x="507" y="336"/>
                </a:cubicBezTo>
                <a:cubicBezTo>
                  <a:pt x="505" y="334"/>
                  <a:pt x="501" y="332"/>
                  <a:pt x="496" y="330"/>
                </a:cubicBezTo>
                <a:cubicBezTo>
                  <a:pt x="492" y="328"/>
                  <a:pt x="499" y="328"/>
                  <a:pt x="499" y="327"/>
                </a:cubicBezTo>
                <a:cubicBezTo>
                  <a:pt x="500" y="327"/>
                  <a:pt x="501" y="327"/>
                  <a:pt x="503" y="328"/>
                </a:cubicBezTo>
                <a:cubicBezTo>
                  <a:pt x="507" y="330"/>
                  <a:pt x="511" y="332"/>
                  <a:pt x="513" y="333"/>
                </a:cubicBezTo>
                <a:cubicBezTo>
                  <a:pt x="511" y="334"/>
                  <a:pt x="509" y="333"/>
                  <a:pt x="507" y="332"/>
                </a:cubicBezTo>
                <a:cubicBezTo>
                  <a:pt x="509" y="333"/>
                  <a:pt x="510" y="335"/>
                  <a:pt x="514" y="335"/>
                </a:cubicBezTo>
                <a:cubicBezTo>
                  <a:pt x="517" y="336"/>
                  <a:pt x="514" y="334"/>
                  <a:pt x="515" y="334"/>
                </a:cubicBezTo>
                <a:cubicBezTo>
                  <a:pt x="520" y="335"/>
                  <a:pt x="520" y="335"/>
                  <a:pt x="518" y="333"/>
                </a:cubicBezTo>
                <a:cubicBezTo>
                  <a:pt x="514" y="331"/>
                  <a:pt x="510" y="329"/>
                  <a:pt x="506" y="327"/>
                </a:cubicBezTo>
                <a:cubicBezTo>
                  <a:pt x="505" y="326"/>
                  <a:pt x="501" y="325"/>
                  <a:pt x="502" y="325"/>
                </a:cubicBezTo>
                <a:cubicBezTo>
                  <a:pt x="506" y="325"/>
                  <a:pt x="502" y="324"/>
                  <a:pt x="503" y="323"/>
                </a:cubicBezTo>
                <a:cubicBezTo>
                  <a:pt x="506" y="324"/>
                  <a:pt x="507" y="325"/>
                  <a:pt x="509" y="325"/>
                </a:cubicBezTo>
                <a:cubicBezTo>
                  <a:pt x="515" y="326"/>
                  <a:pt x="516" y="328"/>
                  <a:pt x="523" y="330"/>
                </a:cubicBezTo>
                <a:cubicBezTo>
                  <a:pt x="522" y="329"/>
                  <a:pt x="517" y="328"/>
                  <a:pt x="517" y="327"/>
                </a:cubicBezTo>
                <a:cubicBezTo>
                  <a:pt x="517" y="325"/>
                  <a:pt x="507" y="323"/>
                  <a:pt x="510" y="321"/>
                </a:cubicBezTo>
                <a:cubicBezTo>
                  <a:pt x="511" y="322"/>
                  <a:pt x="512" y="322"/>
                  <a:pt x="513" y="323"/>
                </a:cubicBezTo>
                <a:cubicBezTo>
                  <a:pt x="513" y="324"/>
                  <a:pt x="521" y="326"/>
                  <a:pt x="524" y="328"/>
                </a:cubicBezTo>
                <a:cubicBezTo>
                  <a:pt x="523" y="327"/>
                  <a:pt x="521" y="325"/>
                  <a:pt x="517" y="324"/>
                </a:cubicBezTo>
                <a:cubicBezTo>
                  <a:pt x="513" y="322"/>
                  <a:pt x="509" y="319"/>
                  <a:pt x="504" y="317"/>
                </a:cubicBezTo>
                <a:cubicBezTo>
                  <a:pt x="509" y="319"/>
                  <a:pt x="513" y="320"/>
                  <a:pt x="518" y="322"/>
                </a:cubicBezTo>
                <a:cubicBezTo>
                  <a:pt x="518" y="323"/>
                  <a:pt x="519" y="323"/>
                  <a:pt x="521" y="325"/>
                </a:cubicBezTo>
                <a:cubicBezTo>
                  <a:pt x="523" y="324"/>
                  <a:pt x="523" y="324"/>
                  <a:pt x="521" y="322"/>
                </a:cubicBezTo>
                <a:cubicBezTo>
                  <a:pt x="521" y="322"/>
                  <a:pt x="520" y="322"/>
                  <a:pt x="520" y="321"/>
                </a:cubicBezTo>
                <a:cubicBezTo>
                  <a:pt x="514" y="316"/>
                  <a:pt x="507" y="311"/>
                  <a:pt x="498" y="305"/>
                </a:cubicBezTo>
                <a:cubicBezTo>
                  <a:pt x="499" y="306"/>
                  <a:pt x="500" y="306"/>
                  <a:pt x="500" y="306"/>
                </a:cubicBezTo>
                <a:cubicBezTo>
                  <a:pt x="508" y="311"/>
                  <a:pt x="517" y="315"/>
                  <a:pt x="525" y="320"/>
                </a:cubicBezTo>
                <a:cubicBezTo>
                  <a:pt x="530" y="323"/>
                  <a:pt x="536" y="326"/>
                  <a:pt x="542" y="329"/>
                </a:cubicBezTo>
                <a:cubicBezTo>
                  <a:pt x="542" y="278"/>
                  <a:pt x="542" y="278"/>
                  <a:pt x="542" y="278"/>
                </a:cubicBezTo>
                <a:cubicBezTo>
                  <a:pt x="542" y="277"/>
                  <a:pt x="541" y="277"/>
                  <a:pt x="541" y="277"/>
                </a:cubicBezTo>
                <a:cubicBezTo>
                  <a:pt x="540" y="276"/>
                  <a:pt x="539" y="275"/>
                  <a:pt x="538" y="275"/>
                </a:cubicBezTo>
                <a:cubicBezTo>
                  <a:pt x="538" y="274"/>
                  <a:pt x="537" y="274"/>
                  <a:pt x="536" y="274"/>
                </a:cubicBezTo>
                <a:cubicBezTo>
                  <a:pt x="538" y="273"/>
                  <a:pt x="540" y="273"/>
                  <a:pt x="542" y="274"/>
                </a:cubicBezTo>
                <a:cubicBezTo>
                  <a:pt x="542" y="256"/>
                  <a:pt x="542" y="256"/>
                  <a:pt x="542" y="256"/>
                </a:cubicBezTo>
                <a:cubicBezTo>
                  <a:pt x="542" y="256"/>
                  <a:pt x="542" y="256"/>
                  <a:pt x="542" y="255"/>
                </a:cubicBezTo>
                <a:cubicBezTo>
                  <a:pt x="541" y="255"/>
                  <a:pt x="541" y="254"/>
                  <a:pt x="541" y="254"/>
                </a:cubicBezTo>
                <a:cubicBezTo>
                  <a:pt x="541" y="254"/>
                  <a:pt x="541" y="254"/>
                  <a:pt x="542" y="254"/>
                </a:cubicBezTo>
                <a:cubicBezTo>
                  <a:pt x="542" y="254"/>
                  <a:pt x="542" y="254"/>
                  <a:pt x="542" y="254"/>
                </a:cubicBezTo>
                <a:cubicBezTo>
                  <a:pt x="542" y="237"/>
                  <a:pt x="542" y="237"/>
                  <a:pt x="542" y="237"/>
                </a:cubicBezTo>
                <a:cubicBezTo>
                  <a:pt x="542" y="237"/>
                  <a:pt x="542" y="237"/>
                  <a:pt x="542" y="236"/>
                </a:cubicBezTo>
                <a:cubicBezTo>
                  <a:pt x="542" y="236"/>
                  <a:pt x="542" y="236"/>
                  <a:pt x="542" y="236"/>
                </a:cubicBezTo>
                <a:cubicBezTo>
                  <a:pt x="542" y="207"/>
                  <a:pt x="542" y="207"/>
                  <a:pt x="542" y="207"/>
                </a:cubicBezTo>
                <a:cubicBezTo>
                  <a:pt x="542" y="207"/>
                  <a:pt x="542" y="207"/>
                  <a:pt x="542" y="207"/>
                </a:cubicBezTo>
                <a:cubicBezTo>
                  <a:pt x="542" y="206"/>
                  <a:pt x="542" y="206"/>
                  <a:pt x="542" y="206"/>
                </a:cubicBezTo>
                <a:cubicBezTo>
                  <a:pt x="542" y="206"/>
                  <a:pt x="542" y="206"/>
                  <a:pt x="542" y="206"/>
                </a:cubicBezTo>
                <a:cubicBezTo>
                  <a:pt x="542" y="193"/>
                  <a:pt x="542" y="193"/>
                  <a:pt x="542" y="193"/>
                </a:cubicBezTo>
                <a:cubicBezTo>
                  <a:pt x="542" y="193"/>
                  <a:pt x="542" y="193"/>
                  <a:pt x="542" y="193"/>
                </a:cubicBezTo>
                <a:cubicBezTo>
                  <a:pt x="542" y="192"/>
                  <a:pt x="542" y="192"/>
                  <a:pt x="542" y="192"/>
                </a:cubicBezTo>
                <a:cubicBezTo>
                  <a:pt x="542" y="192"/>
                  <a:pt x="542" y="192"/>
                  <a:pt x="542" y="192"/>
                </a:cubicBezTo>
                <a:cubicBezTo>
                  <a:pt x="542" y="148"/>
                  <a:pt x="542" y="148"/>
                  <a:pt x="542" y="148"/>
                </a:cubicBezTo>
                <a:cubicBezTo>
                  <a:pt x="540" y="147"/>
                  <a:pt x="538" y="146"/>
                  <a:pt x="537" y="145"/>
                </a:cubicBezTo>
                <a:cubicBezTo>
                  <a:pt x="539" y="146"/>
                  <a:pt x="541" y="146"/>
                  <a:pt x="542" y="147"/>
                </a:cubicBezTo>
                <a:cubicBezTo>
                  <a:pt x="542" y="144"/>
                  <a:pt x="542" y="144"/>
                  <a:pt x="542" y="144"/>
                </a:cubicBezTo>
                <a:cubicBezTo>
                  <a:pt x="542" y="144"/>
                  <a:pt x="542" y="144"/>
                  <a:pt x="542" y="144"/>
                </a:cubicBezTo>
                <a:cubicBezTo>
                  <a:pt x="542" y="144"/>
                  <a:pt x="542" y="144"/>
                  <a:pt x="542" y="144"/>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18" name="Freeform 17"/>
          <p:cNvSpPr>
            <a:spLocks noGrp="1"/>
          </p:cNvSpPr>
          <p:nvPr>
            <p:ph type="pic" sz="quarter" idx="16"/>
          </p:nvPr>
        </p:nvSpPr>
        <p:spPr>
          <a:xfrm>
            <a:off x="3789544" y="1808163"/>
            <a:ext cx="2237315" cy="2782495"/>
          </a:xfrm>
          <a:custGeom>
            <a:avLst/>
            <a:gdLst>
              <a:gd name="connsiteX0" fmla="*/ 386048 w 2237315"/>
              <a:gd name="connsiteY0" fmla="*/ 0 h 2782495"/>
              <a:gd name="connsiteX1" fmla="*/ 2237315 w 2237315"/>
              <a:gd name="connsiteY1" fmla="*/ 0 h 2782495"/>
              <a:gd name="connsiteX2" fmla="*/ 1851266 w 2237315"/>
              <a:gd name="connsiteY2" fmla="*/ 2782495 h 2782495"/>
              <a:gd name="connsiteX3" fmla="*/ 0 w 2237315"/>
              <a:gd name="connsiteY3" fmla="*/ 2782495 h 2782495"/>
              <a:gd name="connsiteX4" fmla="*/ 0 w 2237315"/>
              <a:gd name="connsiteY4" fmla="*/ 2782488 h 27824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37315" h="2782495">
                <a:moveTo>
                  <a:pt x="386048" y="0"/>
                </a:moveTo>
                <a:lnTo>
                  <a:pt x="2237315" y="0"/>
                </a:lnTo>
                <a:lnTo>
                  <a:pt x="1851266" y="2782495"/>
                </a:lnTo>
                <a:lnTo>
                  <a:pt x="0" y="2782495"/>
                </a:lnTo>
                <a:lnTo>
                  <a:pt x="0" y="2782488"/>
                </a:lnTo>
                <a:close/>
              </a:path>
            </a:pathLst>
          </a:custGeom>
        </p:spPr>
        <p:txBody>
          <a:bodyPr wrap="square" anchor="ctr">
            <a:noAutofit/>
          </a:bodyPr>
          <a:lstStyle>
            <a:lvl1pPr marL="0" indent="0" algn="ctr">
              <a:buNone/>
              <a:defRPr sz="1200"/>
            </a:lvl1pPr>
          </a:lstStyle>
          <a:p>
            <a:endParaRPr lang="en-US"/>
          </a:p>
        </p:txBody>
      </p:sp>
      <p:sp>
        <p:nvSpPr>
          <p:cNvPr id="19" name="Freeform 18"/>
          <p:cNvSpPr>
            <a:spLocks noGrp="1"/>
          </p:cNvSpPr>
          <p:nvPr>
            <p:ph type="pic" sz="quarter" idx="17"/>
          </p:nvPr>
        </p:nvSpPr>
        <p:spPr>
          <a:xfrm>
            <a:off x="6165143" y="1808163"/>
            <a:ext cx="2237315" cy="2782495"/>
          </a:xfrm>
          <a:custGeom>
            <a:avLst/>
            <a:gdLst>
              <a:gd name="connsiteX0" fmla="*/ 386048 w 2237315"/>
              <a:gd name="connsiteY0" fmla="*/ 0 h 2782495"/>
              <a:gd name="connsiteX1" fmla="*/ 2237315 w 2237315"/>
              <a:gd name="connsiteY1" fmla="*/ 0 h 2782495"/>
              <a:gd name="connsiteX2" fmla="*/ 1851266 w 2237315"/>
              <a:gd name="connsiteY2" fmla="*/ 2782495 h 2782495"/>
              <a:gd name="connsiteX3" fmla="*/ 0 w 2237315"/>
              <a:gd name="connsiteY3" fmla="*/ 2782495 h 2782495"/>
              <a:gd name="connsiteX4" fmla="*/ 0 w 2237315"/>
              <a:gd name="connsiteY4" fmla="*/ 2782488 h 27824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37315" h="2782495">
                <a:moveTo>
                  <a:pt x="386048" y="0"/>
                </a:moveTo>
                <a:lnTo>
                  <a:pt x="2237315" y="0"/>
                </a:lnTo>
                <a:lnTo>
                  <a:pt x="1851266" y="2782495"/>
                </a:lnTo>
                <a:lnTo>
                  <a:pt x="0" y="2782495"/>
                </a:lnTo>
                <a:lnTo>
                  <a:pt x="0" y="2782488"/>
                </a:lnTo>
                <a:close/>
              </a:path>
            </a:pathLst>
          </a:custGeom>
        </p:spPr>
        <p:txBody>
          <a:bodyPr wrap="square" anchor="ctr">
            <a:noAutofit/>
          </a:bodyPr>
          <a:lstStyle>
            <a:lvl1pPr marL="0" indent="0" algn="ctr">
              <a:buNone/>
              <a:defRPr sz="1200"/>
            </a:lvl1pPr>
          </a:lstStyle>
          <a:p>
            <a:endParaRPr lang="en-US"/>
          </a:p>
        </p:txBody>
      </p:sp>
      <p:sp>
        <p:nvSpPr>
          <p:cNvPr id="20" name="Freeform 19"/>
          <p:cNvSpPr>
            <a:spLocks noGrp="1"/>
          </p:cNvSpPr>
          <p:nvPr>
            <p:ph type="pic" sz="quarter" idx="18"/>
          </p:nvPr>
        </p:nvSpPr>
        <p:spPr>
          <a:xfrm>
            <a:off x="8540741" y="1808163"/>
            <a:ext cx="2237315" cy="2782495"/>
          </a:xfrm>
          <a:custGeom>
            <a:avLst/>
            <a:gdLst>
              <a:gd name="connsiteX0" fmla="*/ 386048 w 2237315"/>
              <a:gd name="connsiteY0" fmla="*/ 0 h 2782495"/>
              <a:gd name="connsiteX1" fmla="*/ 2237315 w 2237315"/>
              <a:gd name="connsiteY1" fmla="*/ 0 h 2782495"/>
              <a:gd name="connsiteX2" fmla="*/ 1851266 w 2237315"/>
              <a:gd name="connsiteY2" fmla="*/ 2782495 h 2782495"/>
              <a:gd name="connsiteX3" fmla="*/ 0 w 2237315"/>
              <a:gd name="connsiteY3" fmla="*/ 2782495 h 2782495"/>
              <a:gd name="connsiteX4" fmla="*/ 0 w 2237315"/>
              <a:gd name="connsiteY4" fmla="*/ 2782488 h 27824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37315" h="2782495">
                <a:moveTo>
                  <a:pt x="386048" y="0"/>
                </a:moveTo>
                <a:lnTo>
                  <a:pt x="2237315" y="0"/>
                </a:lnTo>
                <a:lnTo>
                  <a:pt x="1851266" y="2782495"/>
                </a:lnTo>
                <a:lnTo>
                  <a:pt x="0" y="2782495"/>
                </a:lnTo>
                <a:lnTo>
                  <a:pt x="0" y="2782488"/>
                </a:lnTo>
                <a:close/>
              </a:path>
            </a:pathLst>
          </a:custGeom>
        </p:spPr>
        <p:txBody>
          <a:bodyPr wrap="square" anchor="ctr">
            <a:noAutofit/>
          </a:bodyPr>
          <a:lstStyle>
            <a:lvl1pPr marL="0" indent="0" algn="ctr">
              <a:buNone/>
              <a:defRPr sz="1200"/>
            </a:lvl1pPr>
          </a:lstStyle>
          <a:p>
            <a:endParaRPr lang="en-US" dirty="0"/>
          </a:p>
        </p:txBody>
      </p:sp>
      <p:sp>
        <p:nvSpPr>
          <p:cNvPr id="14" name="Text Placeholder 13"/>
          <p:cNvSpPr>
            <a:spLocks noGrp="1"/>
          </p:cNvSpPr>
          <p:nvPr>
            <p:ph type="body" sz="quarter" idx="14" hasCustomPrompt="1"/>
          </p:nvPr>
        </p:nvSpPr>
        <p:spPr>
          <a:xfrm>
            <a:off x="1857375" y="1014880"/>
            <a:ext cx="8380505" cy="400110"/>
          </a:xfrm>
        </p:spPr>
        <p:txBody>
          <a:bodyPr>
            <a:spAutoFit/>
          </a:bodyPr>
          <a:lstStyle>
            <a:lvl1pPr marL="0" marR="0" indent="0" algn="ctr" defTabSz="914400" rtl="0" eaLnBrk="1" fontAlgn="auto" latinLnBrk="0" hangingPunct="1">
              <a:lnSpc>
                <a:spcPct val="100000"/>
              </a:lnSpc>
              <a:spcBef>
                <a:spcPts val="0"/>
              </a:spcBef>
              <a:spcAft>
                <a:spcPts val="0"/>
              </a:spcAft>
              <a:buClrTx/>
              <a:buSzTx/>
              <a:buFontTx/>
              <a:buNone/>
              <a:tabLst/>
              <a:defRPr kumimoji="0" lang="en-US" sz="1000" b="0" i="0" u="none" strike="noStrike" kern="1200" cap="none" spc="0" normalizeH="0" baseline="0">
                <a:ln>
                  <a:noFill/>
                </a:ln>
                <a:solidFill>
                  <a:schemeClr val="tx1"/>
                </a:solidFill>
                <a:effectLst/>
                <a:uLnTx/>
                <a:uFillTx/>
                <a:latin typeface="+mn-lt"/>
                <a:ea typeface="+mn-ea"/>
                <a:cs typeface="+mn-cs"/>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dirty="0"/>
              <a:t>Lorem </a:t>
            </a:r>
            <a:r>
              <a:rPr lang="en-US" dirty="0" err="1"/>
              <a:t>Ipsum</a:t>
            </a:r>
            <a:r>
              <a:rPr lang="en-US" dirty="0"/>
              <a:t> is simply dummy text of the printing and typesetting industry. Lorem </a:t>
            </a:r>
            <a:r>
              <a:rPr lang="en-US" dirty="0" err="1"/>
              <a:t>Ipsum</a:t>
            </a:r>
            <a:r>
              <a:rPr lang="en-US" dirty="0"/>
              <a:t> has been the industry's standard dummy text ever since the 1500s, when an unknown printer took a galley of type and scrambled it to make a type specimen book. </a:t>
            </a:r>
          </a:p>
        </p:txBody>
      </p:sp>
      <p:sp>
        <p:nvSpPr>
          <p:cNvPr id="12" name="Text Placeholder 11"/>
          <p:cNvSpPr>
            <a:spLocks noGrp="1"/>
          </p:cNvSpPr>
          <p:nvPr>
            <p:ph type="body" sz="quarter" idx="13" hasCustomPrompt="1"/>
          </p:nvPr>
        </p:nvSpPr>
        <p:spPr>
          <a:xfrm>
            <a:off x="2794000" y="360971"/>
            <a:ext cx="6604000" cy="535531"/>
          </a:xfrm>
        </p:spPr>
        <p:txBody>
          <a:bodyPr wrap="square" anchor="t">
            <a:spAutoFit/>
          </a:bodyPr>
          <a:lstStyle>
            <a:lvl1pPr marL="0" indent="0" algn="ctr">
              <a:buNone/>
              <a:defRPr sz="3200" normalizeH="0" baseline="0">
                <a:solidFill>
                  <a:schemeClr val="tx1"/>
                </a:solidFill>
                <a:latin typeface="+mj-lt"/>
              </a:defRPr>
            </a:lvl1pPr>
            <a:lvl2pPr>
              <a:defRPr>
                <a:solidFill>
                  <a:schemeClr val="tx1"/>
                </a:solidFill>
                <a:latin typeface="+mj-lt"/>
              </a:defRPr>
            </a:lvl2pPr>
            <a:lvl3pPr>
              <a:defRPr>
                <a:solidFill>
                  <a:schemeClr val="tx1"/>
                </a:solidFill>
                <a:latin typeface="+mj-lt"/>
              </a:defRPr>
            </a:lvl3pPr>
            <a:lvl4pPr>
              <a:defRPr>
                <a:solidFill>
                  <a:schemeClr val="tx1"/>
                </a:solidFill>
                <a:latin typeface="+mj-lt"/>
              </a:defRPr>
            </a:lvl4pPr>
            <a:lvl5pPr>
              <a:defRPr>
                <a:solidFill>
                  <a:schemeClr val="tx1"/>
                </a:solidFill>
                <a:latin typeface="+mj-lt"/>
              </a:defRPr>
            </a:lvl5pPr>
          </a:lstStyle>
          <a:p>
            <a:pPr lvl="0"/>
            <a:r>
              <a:rPr lang="en-US" dirty="0"/>
              <a:t>- Click to edit Master text styles -</a:t>
            </a:r>
          </a:p>
        </p:txBody>
      </p:sp>
      <p:sp>
        <p:nvSpPr>
          <p:cNvPr id="2" name="Date Placeholder 1"/>
          <p:cNvSpPr>
            <a:spLocks noGrp="1"/>
          </p:cNvSpPr>
          <p:nvPr>
            <p:ph type="dt" sz="half" idx="10"/>
          </p:nvPr>
        </p:nvSpPr>
        <p:spPr/>
        <p:txBody>
          <a:bodyPr/>
          <a:lstStyle>
            <a:lvl1pPr>
              <a:defRPr>
                <a:solidFill>
                  <a:schemeClr val="tx1"/>
                </a:solidFill>
              </a:defRPr>
            </a:lvl1pPr>
          </a:lstStyle>
          <a:p>
            <a:fld id="{C9852138-FCC6-44DD-9FFC-1C789392E7AA}" type="datetime1">
              <a:rPr lang="en-US" smtClean="0"/>
              <a:t>10/28/2022</a:t>
            </a:fld>
            <a:endParaRPr lang="en-US"/>
          </a:p>
        </p:txBody>
      </p:sp>
      <p:sp>
        <p:nvSpPr>
          <p:cNvPr id="4" name="Slide Number Placeholder 3"/>
          <p:cNvSpPr>
            <a:spLocks noGrp="1"/>
          </p:cNvSpPr>
          <p:nvPr>
            <p:ph type="sldNum" sz="quarter" idx="12"/>
          </p:nvPr>
        </p:nvSpPr>
        <p:spPr/>
        <p:txBody>
          <a:bodyPr/>
          <a:lstStyle>
            <a:lvl1pPr>
              <a:defRPr>
                <a:solidFill>
                  <a:schemeClr val="tx1"/>
                </a:solidFill>
              </a:defRPr>
            </a:lvl1pPr>
          </a:lstStyle>
          <a:p>
            <a:fld id="{03206E70-9524-410D-AE9B-78D656EAA14D}" type="slidenum">
              <a:rPr lang="en-US" smtClean="0"/>
              <a:pPr/>
              <a:t>‹#›</a:t>
            </a:fld>
            <a:endParaRPr lang="en-US"/>
          </a:p>
        </p:txBody>
      </p:sp>
      <p:sp>
        <p:nvSpPr>
          <p:cNvPr id="8" name="Rectangle 7"/>
          <p:cNvSpPr/>
          <p:nvPr userDrawn="1"/>
        </p:nvSpPr>
        <p:spPr>
          <a:xfrm>
            <a:off x="10237880" y="0"/>
            <a:ext cx="571500" cy="55562"/>
          </a:xfrm>
          <a:prstGeom prst="rect">
            <a:avLst/>
          </a:prstGeom>
          <a:solidFill>
            <a:srgbClr val="E258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userDrawn="1"/>
        </p:nvSpPr>
        <p:spPr>
          <a:xfrm>
            <a:off x="10880817" y="0"/>
            <a:ext cx="571500" cy="55562"/>
          </a:xfrm>
          <a:prstGeom prst="rect">
            <a:avLst/>
          </a:prstGeom>
          <a:solidFill>
            <a:srgbClr val="78D2D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userDrawn="1"/>
        </p:nvSpPr>
        <p:spPr>
          <a:xfrm>
            <a:off x="11523754" y="0"/>
            <a:ext cx="571500" cy="55562"/>
          </a:xfrm>
          <a:prstGeom prst="rect">
            <a:avLst/>
          </a:prstGeom>
          <a:solidFill>
            <a:srgbClr val="3B393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Freeform 16"/>
          <p:cNvSpPr>
            <a:spLocks noGrp="1"/>
          </p:cNvSpPr>
          <p:nvPr>
            <p:ph type="pic" sz="quarter" idx="15"/>
          </p:nvPr>
        </p:nvSpPr>
        <p:spPr>
          <a:xfrm>
            <a:off x="1413946" y="1808163"/>
            <a:ext cx="2237315" cy="2782495"/>
          </a:xfrm>
          <a:custGeom>
            <a:avLst/>
            <a:gdLst>
              <a:gd name="connsiteX0" fmla="*/ 386048 w 2237315"/>
              <a:gd name="connsiteY0" fmla="*/ 0 h 2782495"/>
              <a:gd name="connsiteX1" fmla="*/ 2237315 w 2237315"/>
              <a:gd name="connsiteY1" fmla="*/ 0 h 2782495"/>
              <a:gd name="connsiteX2" fmla="*/ 1851266 w 2237315"/>
              <a:gd name="connsiteY2" fmla="*/ 2782495 h 2782495"/>
              <a:gd name="connsiteX3" fmla="*/ 0 w 2237315"/>
              <a:gd name="connsiteY3" fmla="*/ 2782495 h 2782495"/>
              <a:gd name="connsiteX4" fmla="*/ 0 w 2237315"/>
              <a:gd name="connsiteY4" fmla="*/ 2782488 h 27824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37315" h="2782495">
                <a:moveTo>
                  <a:pt x="386048" y="0"/>
                </a:moveTo>
                <a:lnTo>
                  <a:pt x="2237315" y="0"/>
                </a:lnTo>
                <a:lnTo>
                  <a:pt x="1851266" y="2782495"/>
                </a:lnTo>
                <a:lnTo>
                  <a:pt x="0" y="2782495"/>
                </a:lnTo>
                <a:lnTo>
                  <a:pt x="0" y="2782488"/>
                </a:lnTo>
                <a:close/>
              </a:path>
            </a:pathLst>
          </a:custGeom>
        </p:spPr>
        <p:txBody>
          <a:bodyPr wrap="square" anchor="ctr">
            <a:noAutofit/>
          </a:bodyPr>
          <a:lstStyle>
            <a:lvl1pPr marL="0" indent="0" algn="ctr">
              <a:buNone/>
              <a:defRPr sz="1200"/>
            </a:lvl1pPr>
          </a:lstStyle>
          <a:p>
            <a:endParaRPr lang="en-US"/>
          </a:p>
        </p:txBody>
      </p:sp>
    </p:spTree>
    <p:extLst>
      <p:ext uri="{BB962C8B-B14F-4D97-AF65-F5344CB8AC3E}">
        <p14:creationId xmlns:p14="http://schemas.microsoft.com/office/powerpoint/2010/main" val="71072725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matchingName="Title Slide" type="title">
  <p:cSld name="Title Slide">
    <p:spTree>
      <p:nvGrpSpPr>
        <p:cNvPr id="1" name="Shape 360"/>
        <p:cNvGrpSpPr/>
        <p:nvPr/>
      </p:nvGrpSpPr>
      <p:grpSpPr>
        <a:xfrm>
          <a:off x="0" y="0"/>
          <a:ext cx="0" cy="0"/>
          <a:chOff x="0" y="0"/>
          <a:chExt cx="0" cy="0"/>
        </a:xfrm>
      </p:grpSpPr>
      <p:sp>
        <p:nvSpPr>
          <p:cNvPr id="361" name="Google Shape;361;p63"/>
          <p:cNvSpPr txBox="1">
            <a:spLocks noGrp="1"/>
          </p:cNvSpPr>
          <p:nvPr>
            <p:ph type="ctrTitle"/>
          </p:nvPr>
        </p:nvSpPr>
        <p:spPr>
          <a:xfrm>
            <a:off x="1524000" y="1122363"/>
            <a:ext cx="9144000" cy="2387600"/>
          </a:xfrm>
          <a:prstGeom prst="rect">
            <a:avLst/>
          </a:prstGeom>
          <a:noFill/>
          <a:ln>
            <a:noFill/>
          </a:ln>
        </p:spPr>
        <p:txBody>
          <a:bodyPr spcFirstLastPara="1" wrap="square" lIns="68575" tIns="34275" rIns="68575" bIns="34275" anchor="b" anchorCtr="0">
            <a:normAutofit/>
          </a:bodyPr>
          <a:lstStyle>
            <a:lvl1pPr lvl="0" algn="ctr">
              <a:lnSpc>
                <a:spcPct val="90000"/>
              </a:lnSpc>
              <a:spcBef>
                <a:spcPts val="0"/>
              </a:spcBef>
              <a:spcAft>
                <a:spcPts val="0"/>
              </a:spcAft>
              <a:buClr>
                <a:schemeClr val="dk1"/>
              </a:buClr>
              <a:buSzPts val="4500"/>
              <a:buFont typeface="Calibri"/>
              <a:buNone/>
              <a:defRPr sz="6000"/>
            </a:lvl1pPr>
            <a:lvl2pPr lvl="1">
              <a:spcBef>
                <a:spcPts val="0"/>
              </a:spcBef>
              <a:spcAft>
                <a:spcPts val="0"/>
              </a:spcAft>
              <a:buSzPts val="1100"/>
              <a:buNone/>
              <a:defRPr/>
            </a:lvl2pPr>
            <a:lvl3pPr lvl="2">
              <a:spcBef>
                <a:spcPts val="0"/>
              </a:spcBef>
              <a:spcAft>
                <a:spcPts val="0"/>
              </a:spcAft>
              <a:buSzPts val="1100"/>
              <a:buNone/>
              <a:defRPr/>
            </a:lvl3pPr>
            <a:lvl4pPr lvl="3">
              <a:spcBef>
                <a:spcPts val="0"/>
              </a:spcBef>
              <a:spcAft>
                <a:spcPts val="0"/>
              </a:spcAft>
              <a:buSzPts val="1100"/>
              <a:buNone/>
              <a:defRPr/>
            </a:lvl4pPr>
            <a:lvl5pPr lvl="4">
              <a:spcBef>
                <a:spcPts val="0"/>
              </a:spcBef>
              <a:spcAft>
                <a:spcPts val="0"/>
              </a:spcAft>
              <a:buSzPts val="1100"/>
              <a:buNone/>
              <a:defRPr/>
            </a:lvl5pPr>
            <a:lvl6pPr lvl="5">
              <a:spcBef>
                <a:spcPts val="0"/>
              </a:spcBef>
              <a:spcAft>
                <a:spcPts val="0"/>
              </a:spcAft>
              <a:buSzPts val="1100"/>
              <a:buNone/>
              <a:defRPr/>
            </a:lvl6pPr>
            <a:lvl7pPr lvl="6">
              <a:spcBef>
                <a:spcPts val="0"/>
              </a:spcBef>
              <a:spcAft>
                <a:spcPts val="0"/>
              </a:spcAft>
              <a:buSzPts val="1100"/>
              <a:buNone/>
              <a:defRPr/>
            </a:lvl7pPr>
            <a:lvl8pPr lvl="7">
              <a:spcBef>
                <a:spcPts val="0"/>
              </a:spcBef>
              <a:spcAft>
                <a:spcPts val="0"/>
              </a:spcAft>
              <a:buSzPts val="1100"/>
              <a:buNone/>
              <a:defRPr/>
            </a:lvl8pPr>
            <a:lvl9pPr lvl="8">
              <a:spcBef>
                <a:spcPts val="0"/>
              </a:spcBef>
              <a:spcAft>
                <a:spcPts val="0"/>
              </a:spcAft>
              <a:buSzPts val="1100"/>
              <a:buNone/>
              <a:defRPr/>
            </a:lvl9pPr>
          </a:lstStyle>
          <a:p>
            <a:endParaRPr/>
          </a:p>
        </p:txBody>
      </p:sp>
      <p:sp>
        <p:nvSpPr>
          <p:cNvPr id="362" name="Google Shape;362;p63"/>
          <p:cNvSpPr txBox="1">
            <a:spLocks noGrp="1"/>
          </p:cNvSpPr>
          <p:nvPr>
            <p:ph type="subTitle" idx="1"/>
          </p:nvPr>
        </p:nvSpPr>
        <p:spPr>
          <a:xfrm>
            <a:off x="1524000" y="3602038"/>
            <a:ext cx="9144000" cy="1655761"/>
          </a:xfrm>
          <a:prstGeom prst="rect">
            <a:avLst/>
          </a:prstGeom>
          <a:noFill/>
          <a:ln>
            <a:noFill/>
          </a:ln>
        </p:spPr>
        <p:txBody>
          <a:bodyPr spcFirstLastPara="1" wrap="square" lIns="68575" tIns="34275" rIns="68575" bIns="34275" anchor="t" anchorCtr="0">
            <a:normAutofit/>
          </a:bodyPr>
          <a:lstStyle>
            <a:lvl1pPr lvl="0" algn="ctr">
              <a:lnSpc>
                <a:spcPct val="90000"/>
              </a:lnSpc>
              <a:spcBef>
                <a:spcPts val="1067"/>
              </a:spcBef>
              <a:spcAft>
                <a:spcPts val="0"/>
              </a:spcAft>
              <a:buClr>
                <a:schemeClr val="dk1"/>
              </a:buClr>
              <a:buSzPts val="1800"/>
              <a:buNone/>
              <a:defRPr sz="2400"/>
            </a:lvl1pPr>
            <a:lvl2pPr lvl="1" algn="ctr">
              <a:lnSpc>
                <a:spcPct val="90000"/>
              </a:lnSpc>
              <a:spcBef>
                <a:spcPts val="533"/>
              </a:spcBef>
              <a:spcAft>
                <a:spcPts val="0"/>
              </a:spcAft>
              <a:buClr>
                <a:schemeClr val="dk1"/>
              </a:buClr>
              <a:buSzPts val="1500"/>
              <a:buNone/>
              <a:defRPr sz="2000"/>
            </a:lvl2pPr>
            <a:lvl3pPr lvl="2" algn="ctr">
              <a:lnSpc>
                <a:spcPct val="90000"/>
              </a:lnSpc>
              <a:spcBef>
                <a:spcPts val="533"/>
              </a:spcBef>
              <a:spcAft>
                <a:spcPts val="0"/>
              </a:spcAft>
              <a:buClr>
                <a:schemeClr val="dk1"/>
              </a:buClr>
              <a:buSzPts val="1400"/>
              <a:buNone/>
              <a:defRPr sz="1867"/>
            </a:lvl3pPr>
            <a:lvl4pPr lvl="3" algn="ctr">
              <a:lnSpc>
                <a:spcPct val="90000"/>
              </a:lnSpc>
              <a:spcBef>
                <a:spcPts val="533"/>
              </a:spcBef>
              <a:spcAft>
                <a:spcPts val="0"/>
              </a:spcAft>
              <a:buClr>
                <a:schemeClr val="dk1"/>
              </a:buClr>
              <a:buSzPts val="1200"/>
              <a:buNone/>
              <a:defRPr sz="1600"/>
            </a:lvl4pPr>
            <a:lvl5pPr lvl="4" algn="ctr">
              <a:lnSpc>
                <a:spcPct val="90000"/>
              </a:lnSpc>
              <a:spcBef>
                <a:spcPts val="533"/>
              </a:spcBef>
              <a:spcAft>
                <a:spcPts val="0"/>
              </a:spcAft>
              <a:buClr>
                <a:schemeClr val="dk1"/>
              </a:buClr>
              <a:buSzPts val="1200"/>
              <a:buNone/>
              <a:defRPr sz="1600"/>
            </a:lvl5pPr>
            <a:lvl6pPr lvl="5" algn="ctr">
              <a:lnSpc>
                <a:spcPct val="90000"/>
              </a:lnSpc>
              <a:spcBef>
                <a:spcPts val="533"/>
              </a:spcBef>
              <a:spcAft>
                <a:spcPts val="0"/>
              </a:spcAft>
              <a:buClr>
                <a:schemeClr val="dk1"/>
              </a:buClr>
              <a:buSzPts val="1200"/>
              <a:buNone/>
              <a:defRPr sz="1600"/>
            </a:lvl6pPr>
            <a:lvl7pPr lvl="6" algn="ctr">
              <a:lnSpc>
                <a:spcPct val="90000"/>
              </a:lnSpc>
              <a:spcBef>
                <a:spcPts val="533"/>
              </a:spcBef>
              <a:spcAft>
                <a:spcPts val="0"/>
              </a:spcAft>
              <a:buClr>
                <a:schemeClr val="dk1"/>
              </a:buClr>
              <a:buSzPts val="1200"/>
              <a:buNone/>
              <a:defRPr sz="1600"/>
            </a:lvl7pPr>
            <a:lvl8pPr lvl="7" algn="ctr">
              <a:lnSpc>
                <a:spcPct val="90000"/>
              </a:lnSpc>
              <a:spcBef>
                <a:spcPts val="533"/>
              </a:spcBef>
              <a:spcAft>
                <a:spcPts val="0"/>
              </a:spcAft>
              <a:buClr>
                <a:schemeClr val="dk1"/>
              </a:buClr>
              <a:buSzPts val="1200"/>
              <a:buNone/>
              <a:defRPr sz="1600"/>
            </a:lvl8pPr>
            <a:lvl9pPr lvl="8" algn="ctr">
              <a:lnSpc>
                <a:spcPct val="90000"/>
              </a:lnSpc>
              <a:spcBef>
                <a:spcPts val="533"/>
              </a:spcBef>
              <a:spcAft>
                <a:spcPts val="0"/>
              </a:spcAft>
              <a:buClr>
                <a:schemeClr val="dk1"/>
              </a:buClr>
              <a:buSzPts val="1200"/>
              <a:buNone/>
              <a:defRPr sz="1600"/>
            </a:lvl9pPr>
          </a:lstStyle>
          <a:p>
            <a:endParaRPr/>
          </a:p>
        </p:txBody>
      </p:sp>
      <p:sp>
        <p:nvSpPr>
          <p:cNvPr id="363" name="Google Shape;363;p63"/>
          <p:cNvSpPr txBox="1">
            <a:spLocks noGrp="1"/>
          </p:cNvSpPr>
          <p:nvPr>
            <p:ph type="dt" idx="10"/>
          </p:nvPr>
        </p:nvSpPr>
        <p:spPr>
          <a:xfrm>
            <a:off x="838200" y="6356351"/>
            <a:ext cx="2743200" cy="365125"/>
          </a:xfrm>
          <a:prstGeom prst="rect">
            <a:avLst/>
          </a:prstGeom>
          <a:noFill/>
          <a:ln>
            <a:noFill/>
          </a:ln>
        </p:spPr>
        <p:txBody>
          <a:bodyPr spcFirstLastPara="1" wrap="square" lIns="68575" tIns="34275" rIns="68575" bIns="34275" anchor="ctr" anchorCtr="0">
            <a:noAutofit/>
          </a:bodyPr>
          <a:lstStyle>
            <a:lvl1pPr lvl="0" algn="l">
              <a:spcBef>
                <a:spcPts val="0"/>
              </a:spcBef>
              <a:spcAft>
                <a:spcPts val="0"/>
              </a:spcAft>
              <a:buSzPts val="1100"/>
              <a:buNone/>
              <a:defRPr/>
            </a:lvl1pPr>
            <a:lvl2pPr lvl="1" algn="l">
              <a:spcBef>
                <a:spcPts val="0"/>
              </a:spcBef>
              <a:spcAft>
                <a:spcPts val="0"/>
              </a:spcAft>
              <a:buSzPts val="1100"/>
              <a:buNone/>
              <a:defRPr/>
            </a:lvl2pPr>
            <a:lvl3pPr lvl="2" algn="l">
              <a:spcBef>
                <a:spcPts val="0"/>
              </a:spcBef>
              <a:spcAft>
                <a:spcPts val="0"/>
              </a:spcAft>
              <a:buSzPts val="1100"/>
              <a:buNone/>
              <a:defRPr/>
            </a:lvl3pPr>
            <a:lvl4pPr lvl="3" algn="l">
              <a:spcBef>
                <a:spcPts val="0"/>
              </a:spcBef>
              <a:spcAft>
                <a:spcPts val="0"/>
              </a:spcAft>
              <a:buSzPts val="1100"/>
              <a:buNone/>
              <a:defRPr/>
            </a:lvl4pPr>
            <a:lvl5pPr lvl="4" algn="l">
              <a:spcBef>
                <a:spcPts val="0"/>
              </a:spcBef>
              <a:spcAft>
                <a:spcPts val="0"/>
              </a:spcAft>
              <a:buSzPts val="1100"/>
              <a:buNone/>
              <a:defRPr/>
            </a:lvl5pPr>
            <a:lvl6pPr lvl="5" algn="l">
              <a:spcBef>
                <a:spcPts val="0"/>
              </a:spcBef>
              <a:spcAft>
                <a:spcPts val="0"/>
              </a:spcAft>
              <a:buSzPts val="1100"/>
              <a:buNone/>
              <a:defRPr/>
            </a:lvl6pPr>
            <a:lvl7pPr lvl="6" algn="l">
              <a:spcBef>
                <a:spcPts val="0"/>
              </a:spcBef>
              <a:spcAft>
                <a:spcPts val="0"/>
              </a:spcAft>
              <a:buSzPts val="1100"/>
              <a:buNone/>
              <a:defRPr/>
            </a:lvl7pPr>
            <a:lvl8pPr lvl="7" algn="l">
              <a:spcBef>
                <a:spcPts val="0"/>
              </a:spcBef>
              <a:spcAft>
                <a:spcPts val="0"/>
              </a:spcAft>
              <a:buSzPts val="1100"/>
              <a:buNone/>
              <a:defRPr/>
            </a:lvl8pPr>
            <a:lvl9pPr lvl="8" algn="l">
              <a:spcBef>
                <a:spcPts val="0"/>
              </a:spcBef>
              <a:spcAft>
                <a:spcPts val="0"/>
              </a:spcAft>
              <a:buSzPts val="1100"/>
              <a:buNone/>
              <a:defRPr/>
            </a:lvl9pPr>
          </a:lstStyle>
          <a:p>
            <a:endParaRPr/>
          </a:p>
        </p:txBody>
      </p:sp>
      <p:sp>
        <p:nvSpPr>
          <p:cNvPr id="364" name="Google Shape;364;p63"/>
          <p:cNvSpPr txBox="1">
            <a:spLocks noGrp="1"/>
          </p:cNvSpPr>
          <p:nvPr>
            <p:ph type="ftr" idx="11"/>
          </p:nvPr>
        </p:nvSpPr>
        <p:spPr>
          <a:xfrm>
            <a:off x="4038600" y="6356351"/>
            <a:ext cx="4114800" cy="365125"/>
          </a:xfrm>
          <a:prstGeom prst="rect">
            <a:avLst/>
          </a:prstGeom>
          <a:noFill/>
          <a:ln>
            <a:noFill/>
          </a:ln>
        </p:spPr>
        <p:txBody>
          <a:bodyPr spcFirstLastPara="1" wrap="square" lIns="68575" tIns="34275" rIns="68575" bIns="34275" anchor="ctr" anchorCtr="0">
            <a:noAutofit/>
          </a:bodyPr>
          <a:lstStyle>
            <a:lvl1pPr lvl="0" algn="ctr">
              <a:spcBef>
                <a:spcPts val="0"/>
              </a:spcBef>
              <a:spcAft>
                <a:spcPts val="0"/>
              </a:spcAft>
              <a:buSzPts val="1100"/>
              <a:buNone/>
              <a:defRPr/>
            </a:lvl1pPr>
            <a:lvl2pPr lvl="1" algn="l">
              <a:spcBef>
                <a:spcPts val="0"/>
              </a:spcBef>
              <a:spcAft>
                <a:spcPts val="0"/>
              </a:spcAft>
              <a:buSzPts val="1100"/>
              <a:buNone/>
              <a:defRPr/>
            </a:lvl2pPr>
            <a:lvl3pPr lvl="2" algn="l">
              <a:spcBef>
                <a:spcPts val="0"/>
              </a:spcBef>
              <a:spcAft>
                <a:spcPts val="0"/>
              </a:spcAft>
              <a:buSzPts val="1100"/>
              <a:buNone/>
              <a:defRPr/>
            </a:lvl3pPr>
            <a:lvl4pPr lvl="3" algn="l">
              <a:spcBef>
                <a:spcPts val="0"/>
              </a:spcBef>
              <a:spcAft>
                <a:spcPts val="0"/>
              </a:spcAft>
              <a:buSzPts val="1100"/>
              <a:buNone/>
              <a:defRPr/>
            </a:lvl4pPr>
            <a:lvl5pPr lvl="4" algn="l">
              <a:spcBef>
                <a:spcPts val="0"/>
              </a:spcBef>
              <a:spcAft>
                <a:spcPts val="0"/>
              </a:spcAft>
              <a:buSzPts val="1100"/>
              <a:buNone/>
              <a:defRPr/>
            </a:lvl5pPr>
            <a:lvl6pPr lvl="5" algn="l">
              <a:spcBef>
                <a:spcPts val="0"/>
              </a:spcBef>
              <a:spcAft>
                <a:spcPts val="0"/>
              </a:spcAft>
              <a:buSzPts val="1100"/>
              <a:buNone/>
              <a:defRPr/>
            </a:lvl6pPr>
            <a:lvl7pPr lvl="6" algn="l">
              <a:spcBef>
                <a:spcPts val="0"/>
              </a:spcBef>
              <a:spcAft>
                <a:spcPts val="0"/>
              </a:spcAft>
              <a:buSzPts val="1100"/>
              <a:buNone/>
              <a:defRPr/>
            </a:lvl7pPr>
            <a:lvl8pPr lvl="7" algn="l">
              <a:spcBef>
                <a:spcPts val="0"/>
              </a:spcBef>
              <a:spcAft>
                <a:spcPts val="0"/>
              </a:spcAft>
              <a:buSzPts val="1100"/>
              <a:buNone/>
              <a:defRPr/>
            </a:lvl8pPr>
            <a:lvl9pPr lvl="8" algn="l">
              <a:spcBef>
                <a:spcPts val="0"/>
              </a:spcBef>
              <a:spcAft>
                <a:spcPts val="0"/>
              </a:spcAft>
              <a:buSzPts val="1100"/>
              <a:buNone/>
              <a:defRPr/>
            </a:lvl9pPr>
          </a:lstStyle>
          <a:p>
            <a:endParaRPr/>
          </a:p>
        </p:txBody>
      </p:sp>
      <p:sp>
        <p:nvSpPr>
          <p:cNvPr id="365" name="Google Shape;365;p63"/>
          <p:cNvSpPr txBox="1">
            <a:spLocks noGrp="1"/>
          </p:cNvSpPr>
          <p:nvPr>
            <p:ph type="sldNum" idx="12"/>
          </p:nvPr>
        </p:nvSpPr>
        <p:spPr>
          <a:xfrm>
            <a:off x="8610600" y="6356351"/>
            <a:ext cx="2743200" cy="365125"/>
          </a:xfrm>
          <a:prstGeom prst="rect">
            <a:avLst/>
          </a:prstGeom>
          <a:noFill/>
          <a:ln>
            <a:noFill/>
          </a:ln>
        </p:spPr>
        <p:txBody>
          <a:bodyPr spcFirstLastPara="1" wrap="square" lIns="68575" tIns="34275" rIns="68575" bIns="34275"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383800288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matchingName="Title and Content" type="obj">
  <p:cSld name="Title and Content">
    <p:spTree>
      <p:nvGrpSpPr>
        <p:cNvPr id="1" name="Shape 366"/>
        <p:cNvGrpSpPr/>
        <p:nvPr/>
      </p:nvGrpSpPr>
      <p:grpSpPr>
        <a:xfrm>
          <a:off x="0" y="0"/>
          <a:ext cx="0" cy="0"/>
          <a:chOff x="0" y="0"/>
          <a:chExt cx="0" cy="0"/>
        </a:xfrm>
      </p:grpSpPr>
      <p:sp>
        <p:nvSpPr>
          <p:cNvPr id="367" name="Google Shape;367;p64"/>
          <p:cNvSpPr txBox="1">
            <a:spLocks noGrp="1"/>
          </p:cNvSpPr>
          <p:nvPr>
            <p:ph type="title"/>
          </p:nvPr>
        </p:nvSpPr>
        <p:spPr>
          <a:xfrm>
            <a:off x="838200" y="365125"/>
            <a:ext cx="10515600" cy="1325563"/>
          </a:xfrm>
          <a:prstGeom prst="rect">
            <a:avLst/>
          </a:prstGeom>
          <a:noFill/>
          <a:ln>
            <a:noFill/>
          </a:ln>
        </p:spPr>
        <p:txBody>
          <a:bodyPr spcFirstLastPara="1" wrap="square" lIns="68575" tIns="34275" rIns="68575" bIns="34275" anchor="ctr" anchorCtr="0">
            <a:normAutofit/>
          </a:bodyPr>
          <a:lstStyle>
            <a:lvl1pPr lvl="0" algn="l">
              <a:lnSpc>
                <a:spcPct val="90000"/>
              </a:lnSpc>
              <a:spcBef>
                <a:spcPts val="0"/>
              </a:spcBef>
              <a:spcAft>
                <a:spcPts val="0"/>
              </a:spcAft>
              <a:buClr>
                <a:schemeClr val="dk1"/>
              </a:buClr>
              <a:buSzPts val="1400"/>
              <a:buNone/>
              <a:defRPr/>
            </a:lvl1pPr>
            <a:lvl2pPr lvl="1">
              <a:spcBef>
                <a:spcPts val="0"/>
              </a:spcBef>
              <a:spcAft>
                <a:spcPts val="0"/>
              </a:spcAft>
              <a:buSzPts val="1100"/>
              <a:buNone/>
              <a:defRPr/>
            </a:lvl2pPr>
            <a:lvl3pPr lvl="2">
              <a:spcBef>
                <a:spcPts val="0"/>
              </a:spcBef>
              <a:spcAft>
                <a:spcPts val="0"/>
              </a:spcAft>
              <a:buSzPts val="1100"/>
              <a:buNone/>
              <a:defRPr/>
            </a:lvl3pPr>
            <a:lvl4pPr lvl="3">
              <a:spcBef>
                <a:spcPts val="0"/>
              </a:spcBef>
              <a:spcAft>
                <a:spcPts val="0"/>
              </a:spcAft>
              <a:buSzPts val="1100"/>
              <a:buNone/>
              <a:defRPr/>
            </a:lvl4pPr>
            <a:lvl5pPr lvl="4">
              <a:spcBef>
                <a:spcPts val="0"/>
              </a:spcBef>
              <a:spcAft>
                <a:spcPts val="0"/>
              </a:spcAft>
              <a:buSzPts val="1100"/>
              <a:buNone/>
              <a:defRPr/>
            </a:lvl5pPr>
            <a:lvl6pPr lvl="5">
              <a:spcBef>
                <a:spcPts val="0"/>
              </a:spcBef>
              <a:spcAft>
                <a:spcPts val="0"/>
              </a:spcAft>
              <a:buSzPts val="1100"/>
              <a:buNone/>
              <a:defRPr/>
            </a:lvl6pPr>
            <a:lvl7pPr lvl="6">
              <a:spcBef>
                <a:spcPts val="0"/>
              </a:spcBef>
              <a:spcAft>
                <a:spcPts val="0"/>
              </a:spcAft>
              <a:buSzPts val="1100"/>
              <a:buNone/>
              <a:defRPr/>
            </a:lvl7pPr>
            <a:lvl8pPr lvl="7">
              <a:spcBef>
                <a:spcPts val="0"/>
              </a:spcBef>
              <a:spcAft>
                <a:spcPts val="0"/>
              </a:spcAft>
              <a:buSzPts val="1100"/>
              <a:buNone/>
              <a:defRPr/>
            </a:lvl8pPr>
            <a:lvl9pPr lvl="8">
              <a:spcBef>
                <a:spcPts val="0"/>
              </a:spcBef>
              <a:spcAft>
                <a:spcPts val="0"/>
              </a:spcAft>
              <a:buSzPts val="1100"/>
              <a:buNone/>
              <a:defRPr/>
            </a:lvl9pPr>
          </a:lstStyle>
          <a:p>
            <a:endParaRPr/>
          </a:p>
        </p:txBody>
      </p:sp>
      <p:sp>
        <p:nvSpPr>
          <p:cNvPr id="368" name="Google Shape;368;p64"/>
          <p:cNvSpPr txBox="1">
            <a:spLocks noGrp="1"/>
          </p:cNvSpPr>
          <p:nvPr>
            <p:ph type="body" idx="1"/>
          </p:nvPr>
        </p:nvSpPr>
        <p:spPr>
          <a:xfrm>
            <a:off x="838200" y="1825625"/>
            <a:ext cx="10515600" cy="4351339"/>
          </a:xfrm>
          <a:prstGeom prst="rect">
            <a:avLst/>
          </a:prstGeom>
          <a:noFill/>
          <a:ln>
            <a:noFill/>
          </a:ln>
        </p:spPr>
        <p:txBody>
          <a:bodyPr spcFirstLastPara="1" wrap="square" lIns="68575" tIns="34275" rIns="68575" bIns="34275" anchor="t" anchorCtr="0">
            <a:normAutofit/>
          </a:bodyPr>
          <a:lstStyle>
            <a:lvl1pPr marL="609585" lvl="0" indent="-423323" algn="l">
              <a:lnSpc>
                <a:spcPct val="90000"/>
              </a:lnSpc>
              <a:spcBef>
                <a:spcPts val="1067"/>
              </a:spcBef>
              <a:spcAft>
                <a:spcPts val="0"/>
              </a:spcAft>
              <a:buClr>
                <a:schemeClr val="dk1"/>
              </a:buClr>
              <a:buSzPts val="1400"/>
              <a:buChar char="•"/>
              <a:defRPr/>
            </a:lvl1pPr>
            <a:lvl2pPr marL="1219170" lvl="1" indent="-423323" algn="l">
              <a:lnSpc>
                <a:spcPct val="90000"/>
              </a:lnSpc>
              <a:spcBef>
                <a:spcPts val="533"/>
              </a:spcBef>
              <a:spcAft>
                <a:spcPts val="0"/>
              </a:spcAft>
              <a:buClr>
                <a:schemeClr val="dk1"/>
              </a:buClr>
              <a:buSzPts val="1400"/>
              <a:buChar char="•"/>
              <a:defRPr/>
            </a:lvl2pPr>
            <a:lvl3pPr marL="1828754" lvl="2" indent="-423323" algn="l">
              <a:lnSpc>
                <a:spcPct val="90000"/>
              </a:lnSpc>
              <a:spcBef>
                <a:spcPts val="533"/>
              </a:spcBef>
              <a:spcAft>
                <a:spcPts val="0"/>
              </a:spcAft>
              <a:buClr>
                <a:schemeClr val="dk1"/>
              </a:buClr>
              <a:buSzPts val="1400"/>
              <a:buChar char="•"/>
              <a:defRPr/>
            </a:lvl3pPr>
            <a:lvl4pPr marL="2438339" lvl="3" indent="-423323" algn="l">
              <a:lnSpc>
                <a:spcPct val="90000"/>
              </a:lnSpc>
              <a:spcBef>
                <a:spcPts val="533"/>
              </a:spcBef>
              <a:spcAft>
                <a:spcPts val="0"/>
              </a:spcAft>
              <a:buClr>
                <a:schemeClr val="dk1"/>
              </a:buClr>
              <a:buSzPts val="1400"/>
              <a:buChar char="•"/>
              <a:defRPr/>
            </a:lvl4pPr>
            <a:lvl5pPr marL="3047924" lvl="4" indent="-423323" algn="l">
              <a:lnSpc>
                <a:spcPct val="90000"/>
              </a:lnSpc>
              <a:spcBef>
                <a:spcPts val="533"/>
              </a:spcBef>
              <a:spcAft>
                <a:spcPts val="0"/>
              </a:spcAft>
              <a:buClr>
                <a:schemeClr val="dk1"/>
              </a:buClr>
              <a:buSzPts val="1400"/>
              <a:buChar char="•"/>
              <a:defRPr/>
            </a:lvl5pPr>
            <a:lvl6pPr marL="3657509" lvl="5" indent="-423323" algn="l">
              <a:lnSpc>
                <a:spcPct val="90000"/>
              </a:lnSpc>
              <a:spcBef>
                <a:spcPts val="533"/>
              </a:spcBef>
              <a:spcAft>
                <a:spcPts val="0"/>
              </a:spcAft>
              <a:buClr>
                <a:schemeClr val="dk1"/>
              </a:buClr>
              <a:buSzPts val="1400"/>
              <a:buChar char="•"/>
              <a:defRPr/>
            </a:lvl6pPr>
            <a:lvl7pPr marL="4267093" lvl="6" indent="-423323" algn="l">
              <a:lnSpc>
                <a:spcPct val="90000"/>
              </a:lnSpc>
              <a:spcBef>
                <a:spcPts val="533"/>
              </a:spcBef>
              <a:spcAft>
                <a:spcPts val="0"/>
              </a:spcAft>
              <a:buClr>
                <a:schemeClr val="dk1"/>
              </a:buClr>
              <a:buSzPts val="1400"/>
              <a:buChar char="•"/>
              <a:defRPr/>
            </a:lvl7pPr>
            <a:lvl8pPr marL="4876678" lvl="7" indent="-423323" algn="l">
              <a:lnSpc>
                <a:spcPct val="90000"/>
              </a:lnSpc>
              <a:spcBef>
                <a:spcPts val="533"/>
              </a:spcBef>
              <a:spcAft>
                <a:spcPts val="0"/>
              </a:spcAft>
              <a:buClr>
                <a:schemeClr val="dk1"/>
              </a:buClr>
              <a:buSzPts val="1400"/>
              <a:buChar char="•"/>
              <a:defRPr/>
            </a:lvl8pPr>
            <a:lvl9pPr marL="5486263" lvl="8" indent="-423323" algn="l">
              <a:lnSpc>
                <a:spcPct val="90000"/>
              </a:lnSpc>
              <a:spcBef>
                <a:spcPts val="533"/>
              </a:spcBef>
              <a:spcAft>
                <a:spcPts val="0"/>
              </a:spcAft>
              <a:buClr>
                <a:schemeClr val="dk1"/>
              </a:buClr>
              <a:buSzPts val="1400"/>
              <a:buChar char="•"/>
              <a:defRPr/>
            </a:lvl9pPr>
          </a:lstStyle>
          <a:p>
            <a:endParaRPr/>
          </a:p>
        </p:txBody>
      </p:sp>
      <p:sp>
        <p:nvSpPr>
          <p:cNvPr id="369" name="Google Shape;369;p64"/>
          <p:cNvSpPr txBox="1">
            <a:spLocks noGrp="1"/>
          </p:cNvSpPr>
          <p:nvPr>
            <p:ph type="dt" idx="10"/>
          </p:nvPr>
        </p:nvSpPr>
        <p:spPr>
          <a:xfrm>
            <a:off x="838200" y="6356351"/>
            <a:ext cx="2743200" cy="365125"/>
          </a:xfrm>
          <a:prstGeom prst="rect">
            <a:avLst/>
          </a:prstGeom>
          <a:noFill/>
          <a:ln>
            <a:noFill/>
          </a:ln>
        </p:spPr>
        <p:txBody>
          <a:bodyPr spcFirstLastPara="1" wrap="square" lIns="68575" tIns="34275" rIns="68575" bIns="34275" anchor="ctr" anchorCtr="0">
            <a:noAutofit/>
          </a:bodyPr>
          <a:lstStyle>
            <a:lvl1pPr lvl="0" algn="l">
              <a:spcBef>
                <a:spcPts val="0"/>
              </a:spcBef>
              <a:spcAft>
                <a:spcPts val="0"/>
              </a:spcAft>
              <a:buSzPts val="1100"/>
              <a:buNone/>
              <a:defRPr/>
            </a:lvl1pPr>
            <a:lvl2pPr lvl="1" algn="l">
              <a:spcBef>
                <a:spcPts val="0"/>
              </a:spcBef>
              <a:spcAft>
                <a:spcPts val="0"/>
              </a:spcAft>
              <a:buSzPts val="1100"/>
              <a:buNone/>
              <a:defRPr/>
            </a:lvl2pPr>
            <a:lvl3pPr lvl="2" algn="l">
              <a:spcBef>
                <a:spcPts val="0"/>
              </a:spcBef>
              <a:spcAft>
                <a:spcPts val="0"/>
              </a:spcAft>
              <a:buSzPts val="1100"/>
              <a:buNone/>
              <a:defRPr/>
            </a:lvl3pPr>
            <a:lvl4pPr lvl="3" algn="l">
              <a:spcBef>
                <a:spcPts val="0"/>
              </a:spcBef>
              <a:spcAft>
                <a:spcPts val="0"/>
              </a:spcAft>
              <a:buSzPts val="1100"/>
              <a:buNone/>
              <a:defRPr/>
            </a:lvl4pPr>
            <a:lvl5pPr lvl="4" algn="l">
              <a:spcBef>
                <a:spcPts val="0"/>
              </a:spcBef>
              <a:spcAft>
                <a:spcPts val="0"/>
              </a:spcAft>
              <a:buSzPts val="1100"/>
              <a:buNone/>
              <a:defRPr/>
            </a:lvl5pPr>
            <a:lvl6pPr lvl="5" algn="l">
              <a:spcBef>
                <a:spcPts val="0"/>
              </a:spcBef>
              <a:spcAft>
                <a:spcPts val="0"/>
              </a:spcAft>
              <a:buSzPts val="1100"/>
              <a:buNone/>
              <a:defRPr/>
            </a:lvl6pPr>
            <a:lvl7pPr lvl="6" algn="l">
              <a:spcBef>
                <a:spcPts val="0"/>
              </a:spcBef>
              <a:spcAft>
                <a:spcPts val="0"/>
              </a:spcAft>
              <a:buSzPts val="1100"/>
              <a:buNone/>
              <a:defRPr/>
            </a:lvl7pPr>
            <a:lvl8pPr lvl="7" algn="l">
              <a:spcBef>
                <a:spcPts val="0"/>
              </a:spcBef>
              <a:spcAft>
                <a:spcPts val="0"/>
              </a:spcAft>
              <a:buSzPts val="1100"/>
              <a:buNone/>
              <a:defRPr/>
            </a:lvl8pPr>
            <a:lvl9pPr lvl="8" algn="l">
              <a:spcBef>
                <a:spcPts val="0"/>
              </a:spcBef>
              <a:spcAft>
                <a:spcPts val="0"/>
              </a:spcAft>
              <a:buSzPts val="1100"/>
              <a:buNone/>
              <a:defRPr/>
            </a:lvl9pPr>
          </a:lstStyle>
          <a:p>
            <a:endParaRPr/>
          </a:p>
        </p:txBody>
      </p:sp>
      <p:sp>
        <p:nvSpPr>
          <p:cNvPr id="370" name="Google Shape;370;p64"/>
          <p:cNvSpPr txBox="1">
            <a:spLocks noGrp="1"/>
          </p:cNvSpPr>
          <p:nvPr>
            <p:ph type="ftr" idx="11"/>
          </p:nvPr>
        </p:nvSpPr>
        <p:spPr>
          <a:xfrm>
            <a:off x="4038600" y="6356351"/>
            <a:ext cx="4114800" cy="365125"/>
          </a:xfrm>
          <a:prstGeom prst="rect">
            <a:avLst/>
          </a:prstGeom>
          <a:noFill/>
          <a:ln>
            <a:noFill/>
          </a:ln>
        </p:spPr>
        <p:txBody>
          <a:bodyPr spcFirstLastPara="1" wrap="square" lIns="68575" tIns="34275" rIns="68575" bIns="34275" anchor="ctr" anchorCtr="0">
            <a:noAutofit/>
          </a:bodyPr>
          <a:lstStyle>
            <a:lvl1pPr lvl="0" algn="ctr">
              <a:spcBef>
                <a:spcPts val="0"/>
              </a:spcBef>
              <a:spcAft>
                <a:spcPts val="0"/>
              </a:spcAft>
              <a:buSzPts val="1100"/>
              <a:buNone/>
              <a:defRPr/>
            </a:lvl1pPr>
            <a:lvl2pPr lvl="1" algn="l">
              <a:spcBef>
                <a:spcPts val="0"/>
              </a:spcBef>
              <a:spcAft>
                <a:spcPts val="0"/>
              </a:spcAft>
              <a:buSzPts val="1100"/>
              <a:buNone/>
              <a:defRPr/>
            </a:lvl2pPr>
            <a:lvl3pPr lvl="2" algn="l">
              <a:spcBef>
                <a:spcPts val="0"/>
              </a:spcBef>
              <a:spcAft>
                <a:spcPts val="0"/>
              </a:spcAft>
              <a:buSzPts val="1100"/>
              <a:buNone/>
              <a:defRPr/>
            </a:lvl3pPr>
            <a:lvl4pPr lvl="3" algn="l">
              <a:spcBef>
                <a:spcPts val="0"/>
              </a:spcBef>
              <a:spcAft>
                <a:spcPts val="0"/>
              </a:spcAft>
              <a:buSzPts val="1100"/>
              <a:buNone/>
              <a:defRPr/>
            </a:lvl4pPr>
            <a:lvl5pPr lvl="4" algn="l">
              <a:spcBef>
                <a:spcPts val="0"/>
              </a:spcBef>
              <a:spcAft>
                <a:spcPts val="0"/>
              </a:spcAft>
              <a:buSzPts val="1100"/>
              <a:buNone/>
              <a:defRPr/>
            </a:lvl5pPr>
            <a:lvl6pPr lvl="5" algn="l">
              <a:spcBef>
                <a:spcPts val="0"/>
              </a:spcBef>
              <a:spcAft>
                <a:spcPts val="0"/>
              </a:spcAft>
              <a:buSzPts val="1100"/>
              <a:buNone/>
              <a:defRPr/>
            </a:lvl6pPr>
            <a:lvl7pPr lvl="6" algn="l">
              <a:spcBef>
                <a:spcPts val="0"/>
              </a:spcBef>
              <a:spcAft>
                <a:spcPts val="0"/>
              </a:spcAft>
              <a:buSzPts val="1100"/>
              <a:buNone/>
              <a:defRPr/>
            </a:lvl7pPr>
            <a:lvl8pPr lvl="7" algn="l">
              <a:spcBef>
                <a:spcPts val="0"/>
              </a:spcBef>
              <a:spcAft>
                <a:spcPts val="0"/>
              </a:spcAft>
              <a:buSzPts val="1100"/>
              <a:buNone/>
              <a:defRPr/>
            </a:lvl8pPr>
            <a:lvl9pPr lvl="8" algn="l">
              <a:spcBef>
                <a:spcPts val="0"/>
              </a:spcBef>
              <a:spcAft>
                <a:spcPts val="0"/>
              </a:spcAft>
              <a:buSzPts val="1100"/>
              <a:buNone/>
              <a:defRPr/>
            </a:lvl9pPr>
          </a:lstStyle>
          <a:p>
            <a:endParaRPr/>
          </a:p>
        </p:txBody>
      </p:sp>
      <p:sp>
        <p:nvSpPr>
          <p:cNvPr id="371" name="Google Shape;371;p64"/>
          <p:cNvSpPr txBox="1">
            <a:spLocks noGrp="1"/>
          </p:cNvSpPr>
          <p:nvPr>
            <p:ph type="sldNum" idx="12"/>
          </p:nvPr>
        </p:nvSpPr>
        <p:spPr>
          <a:xfrm>
            <a:off x="8610600" y="6356351"/>
            <a:ext cx="2743200" cy="365125"/>
          </a:xfrm>
          <a:prstGeom prst="rect">
            <a:avLst/>
          </a:prstGeom>
          <a:noFill/>
          <a:ln>
            <a:noFill/>
          </a:ln>
        </p:spPr>
        <p:txBody>
          <a:bodyPr spcFirstLastPara="1" wrap="square" lIns="68575" tIns="34275" rIns="68575" bIns="34275"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134961751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matchingName="Section Header" type="secHead">
  <p:cSld name="Section Header">
    <p:spTree>
      <p:nvGrpSpPr>
        <p:cNvPr id="1" name="Shape 372"/>
        <p:cNvGrpSpPr/>
        <p:nvPr/>
      </p:nvGrpSpPr>
      <p:grpSpPr>
        <a:xfrm>
          <a:off x="0" y="0"/>
          <a:ext cx="0" cy="0"/>
          <a:chOff x="0" y="0"/>
          <a:chExt cx="0" cy="0"/>
        </a:xfrm>
      </p:grpSpPr>
      <p:sp>
        <p:nvSpPr>
          <p:cNvPr id="373" name="Google Shape;373;p65"/>
          <p:cNvSpPr txBox="1">
            <a:spLocks noGrp="1"/>
          </p:cNvSpPr>
          <p:nvPr>
            <p:ph type="title"/>
          </p:nvPr>
        </p:nvSpPr>
        <p:spPr>
          <a:xfrm>
            <a:off x="831851" y="1709740"/>
            <a:ext cx="10515600" cy="2852737"/>
          </a:xfrm>
          <a:prstGeom prst="rect">
            <a:avLst/>
          </a:prstGeom>
          <a:noFill/>
          <a:ln>
            <a:noFill/>
          </a:ln>
        </p:spPr>
        <p:txBody>
          <a:bodyPr spcFirstLastPara="1" wrap="square" lIns="68575" tIns="34275" rIns="68575" bIns="34275" anchor="b" anchorCtr="0">
            <a:normAutofit/>
          </a:bodyPr>
          <a:lstStyle>
            <a:lvl1pPr lvl="0" algn="l">
              <a:lnSpc>
                <a:spcPct val="90000"/>
              </a:lnSpc>
              <a:spcBef>
                <a:spcPts val="0"/>
              </a:spcBef>
              <a:spcAft>
                <a:spcPts val="0"/>
              </a:spcAft>
              <a:buClr>
                <a:schemeClr val="dk1"/>
              </a:buClr>
              <a:buSzPts val="4500"/>
              <a:buFont typeface="Calibri"/>
              <a:buNone/>
              <a:defRPr sz="6000"/>
            </a:lvl1pPr>
            <a:lvl2pPr lvl="1">
              <a:spcBef>
                <a:spcPts val="0"/>
              </a:spcBef>
              <a:spcAft>
                <a:spcPts val="0"/>
              </a:spcAft>
              <a:buSzPts val="1100"/>
              <a:buNone/>
              <a:defRPr/>
            </a:lvl2pPr>
            <a:lvl3pPr lvl="2">
              <a:spcBef>
                <a:spcPts val="0"/>
              </a:spcBef>
              <a:spcAft>
                <a:spcPts val="0"/>
              </a:spcAft>
              <a:buSzPts val="1100"/>
              <a:buNone/>
              <a:defRPr/>
            </a:lvl3pPr>
            <a:lvl4pPr lvl="3">
              <a:spcBef>
                <a:spcPts val="0"/>
              </a:spcBef>
              <a:spcAft>
                <a:spcPts val="0"/>
              </a:spcAft>
              <a:buSzPts val="1100"/>
              <a:buNone/>
              <a:defRPr/>
            </a:lvl4pPr>
            <a:lvl5pPr lvl="4">
              <a:spcBef>
                <a:spcPts val="0"/>
              </a:spcBef>
              <a:spcAft>
                <a:spcPts val="0"/>
              </a:spcAft>
              <a:buSzPts val="1100"/>
              <a:buNone/>
              <a:defRPr/>
            </a:lvl5pPr>
            <a:lvl6pPr lvl="5">
              <a:spcBef>
                <a:spcPts val="0"/>
              </a:spcBef>
              <a:spcAft>
                <a:spcPts val="0"/>
              </a:spcAft>
              <a:buSzPts val="1100"/>
              <a:buNone/>
              <a:defRPr/>
            </a:lvl6pPr>
            <a:lvl7pPr lvl="6">
              <a:spcBef>
                <a:spcPts val="0"/>
              </a:spcBef>
              <a:spcAft>
                <a:spcPts val="0"/>
              </a:spcAft>
              <a:buSzPts val="1100"/>
              <a:buNone/>
              <a:defRPr/>
            </a:lvl7pPr>
            <a:lvl8pPr lvl="7">
              <a:spcBef>
                <a:spcPts val="0"/>
              </a:spcBef>
              <a:spcAft>
                <a:spcPts val="0"/>
              </a:spcAft>
              <a:buSzPts val="1100"/>
              <a:buNone/>
              <a:defRPr/>
            </a:lvl8pPr>
            <a:lvl9pPr lvl="8">
              <a:spcBef>
                <a:spcPts val="0"/>
              </a:spcBef>
              <a:spcAft>
                <a:spcPts val="0"/>
              </a:spcAft>
              <a:buSzPts val="1100"/>
              <a:buNone/>
              <a:defRPr/>
            </a:lvl9pPr>
          </a:lstStyle>
          <a:p>
            <a:endParaRPr/>
          </a:p>
        </p:txBody>
      </p:sp>
      <p:sp>
        <p:nvSpPr>
          <p:cNvPr id="374" name="Google Shape;374;p65"/>
          <p:cNvSpPr txBox="1">
            <a:spLocks noGrp="1"/>
          </p:cNvSpPr>
          <p:nvPr>
            <p:ph type="body" idx="1"/>
          </p:nvPr>
        </p:nvSpPr>
        <p:spPr>
          <a:xfrm>
            <a:off x="831851" y="4589463"/>
            <a:ext cx="10515600" cy="1500187"/>
          </a:xfrm>
          <a:prstGeom prst="rect">
            <a:avLst/>
          </a:prstGeom>
          <a:noFill/>
          <a:ln>
            <a:noFill/>
          </a:ln>
        </p:spPr>
        <p:txBody>
          <a:bodyPr spcFirstLastPara="1" wrap="square" lIns="68575" tIns="34275" rIns="68575" bIns="34275" anchor="t" anchorCtr="0">
            <a:normAutofit/>
          </a:bodyPr>
          <a:lstStyle>
            <a:lvl1pPr marL="609585" lvl="0" indent="-304792" algn="l">
              <a:lnSpc>
                <a:spcPct val="90000"/>
              </a:lnSpc>
              <a:spcBef>
                <a:spcPts val="1067"/>
              </a:spcBef>
              <a:spcAft>
                <a:spcPts val="0"/>
              </a:spcAft>
              <a:buClr>
                <a:srgbClr val="888888"/>
              </a:buClr>
              <a:buSzPts val="1800"/>
              <a:buNone/>
              <a:defRPr sz="2400">
                <a:solidFill>
                  <a:srgbClr val="888888"/>
                </a:solidFill>
              </a:defRPr>
            </a:lvl1pPr>
            <a:lvl2pPr marL="1219170" lvl="1" indent="-304792" algn="l">
              <a:lnSpc>
                <a:spcPct val="90000"/>
              </a:lnSpc>
              <a:spcBef>
                <a:spcPts val="533"/>
              </a:spcBef>
              <a:spcAft>
                <a:spcPts val="0"/>
              </a:spcAft>
              <a:buClr>
                <a:srgbClr val="888888"/>
              </a:buClr>
              <a:buSzPts val="1500"/>
              <a:buNone/>
              <a:defRPr sz="2000">
                <a:solidFill>
                  <a:srgbClr val="888888"/>
                </a:solidFill>
              </a:defRPr>
            </a:lvl2pPr>
            <a:lvl3pPr marL="1828754" lvl="2" indent="-304792" algn="l">
              <a:lnSpc>
                <a:spcPct val="90000"/>
              </a:lnSpc>
              <a:spcBef>
                <a:spcPts val="533"/>
              </a:spcBef>
              <a:spcAft>
                <a:spcPts val="0"/>
              </a:spcAft>
              <a:buClr>
                <a:srgbClr val="888888"/>
              </a:buClr>
              <a:buSzPts val="1400"/>
              <a:buNone/>
              <a:defRPr sz="1867">
                <a:solidFill>
                  <a:srgbClr val="888888"/>
                </a:solidFill>
              </a:defRPr>
            </a:lvl3pPr>
            <a:lvl4pPr marL="2438339" lvl="3" indent="-304792" algn="l">
              <a:lnSpc>
                <a:spcPct val="90000"/>
              </a:lnSpc>
              <a:spcBef>
                <a:spcPts val="533"/>
              </a:spcBef>
              <a:spcAft>
                <a:spcPts val="0"/>
              </a:spcAft>
              <a:buClr>
                <a:srgbClr val="888888"/>
              </a:buClr>
              <a:buSzPts val="1200"/>
              <a:buNone/>
              <a:defRPr sz="1600">
                <a:solidFill>
                  <a:srgbClr val="888888"/>
                </a:solidFill>
              </a:defRPr>
            </a:lvl4pPr>
            <a:lvl5pPr marL="3047924" lvl="4" indent="-304792" algn="l">
              <a:lnSpc>
                <a:spcPct val="90000"/>
              </a:lnSpc>
              <a:spcBef>
                <a:spcPts val="533"/>
              </a:spcBef>
              <a:spcAft>
                <a:spcPts val="0"/>
              </a:spcAft>
              <a:buClr>
                <a:srgbClr val="888888"/>
              </a:buClr>
              <a:buSzPts val="1200"/>
              <a:buNone/>
              <a:defRPr sz="1600">
                <a:solidFill>
                  <a:srgbClr val="888888"/>
                </a:solidFill>
              </a:defRPr>
            </a:lvl5pPr>
            <a:lvl6pPr marL="3657509" lvl="5" indent="-304792" algn="l">
              <a:lnSpc>
                <a:spcPct val="90000"/>
              </a:lnSpc>
              <a:spcBef>
                <a:spcPts val="533"/>
              </a:spcBef>
              <a:spcAft>
                <a:spcPts val="0"/>
              </a:spcAft>
              <a:buClr>
                <a:srgbClr val="888888"/>
              </a:buClr>
              <a:buSzPts val="1200"/>
              <a:buNone/>
              <a:defRPr sz="1600">
                <a:solidFill>
                  <a:srgbClr val="888888"/>
                </a:solidFill>
              </a:defRPr>
            </a:lvl6pPr>
            <a:lvl7pPr marL="4267093" lvl="6" indent="-304792" algn="l">
              <a:lnSpc>
                <a:spcPct val="90000"/>
              </a:lnSpc>
              <a:spcBef>
                <a:spcPts val="533"/>
              </a:spcBef>
              <a:spcAft>
                <a:spcPts val="0"/>
              </a:spcAft>
              <a:buClr>
                <a:srgbClr val="888888"/>
              </a:buClr>
              <a:buSzPts val="1200"/>
              <a:buNone/>
              <a:defRPr sz="1600">
                <a:solidFill>
                  <a:srgbClr val="888888"/>
                </a:solidFill>
              </a:defRPr>
            </a:lvl7pPr>
            <a:lvl8pPr marL="4876678" lvl="7" indent="-304792" algn="l">
              <a:lnSpc>
                <a:spcPct val="90000"/>
              </a:lnSpc>
              <a:spcBef>
                <a:spcPts val="533"/>
              </a:spcBef>
              <a:spcAft>
                <a:spcPts val="0"/>
              </a:spcAft>
              <a:buClr>
                <a:srgbClr val="888888"/>
              </a:buClr>
              <a:buSzPts val="1200"/>
              <a:buNone/>
              <a:defRPr sz="1600">
                <a:solidFill>
                  <a:srgbClr val="888888"/>
                </a:solidFill>
              </a:defRPr>
            </a:lvl8pPr>
            <a:lvl9pPr marL="5486263" lvl="8" indent="-304792" algn="l">
              <a:lnSpc>
                <a:spcPct val="90000"/>
              </a:lnSpc>
              <a:spcBef>
                <a:spcPts val="533"/>
              </a:spcBef>
              <a:spcAft>
                <a:spcPts val="0"/>
              </a:spcAft>
              <a:buClr>
                <a:srgbClr val="888888"/>
              </a:buClr>
              <a:buSzPts val="1200"/>
              <a:buNone/>
              <a:defRPr sz="1600">
                <a:solidFill>
                  <a:srgbClr val="888888"/>
                </a:solidFill>
              </a:defRPr>
            </a:lvl9pPr>
          </a:lstStyle>
          <a:p>
            <a:endParaRPr/>
          </a:p>
        </p:txBody>
      </p:sp>
      <p:sp>
        <p:nvSpPr>
          <p:cNvPr id="375" name="Google Shape;375;p65"/>
          <p:cNvSpPr txBox="1">
            <a:spLocks noGrp="1"/>
          </p:cNvSpPr>
          <p:nvPr>
            <p:ph type="dt" idx="10"/>
          </p:nvPr>
        </p:nvSpPr>
        <p:spPr>
          <a:xfrm>
            <a:off x="838200" y="6356351"/>
            <a:ext cx="2743200" cy="365125"/>
          </a:xfrm>
          <a:prstGeom prst="rect">
            <a:avLst/>
          </a:prstGeom>
          <a:noFill/>
          <a:ln>
            <a:noFill/>
          </a:ln>
        </p:spPr>
        <p:txBody>
          <a:bodyPr spcFirstLastPara="1" wrap="square" lIns="68575" tIns="34275" rIns="68575" bIns="34275" anchor="ctr" anchorCtr="0">
            <a:noAutofit/>
          </a:bodyPr>
          <a:lstStyle>
            <a:lvl1pPr lvl="0" algn="l">
              <a:spcBef>
                <a:spcPts val="0"/>
              </a:spcBef>
              <a:spcAft>
                <a:spcPts val="0"/>
              </a:spcAft>
              <a:buSzPts val="1100"/>
              <a:buNone/>
              <a:defRPr/>
            </a:lvl1pPr>
            <a:lvl2pPr lvl="1" algn="l">
              <a:spcBef>
                <a:spcPts val="0"/>
              </a:spcBef>
              <a:spcAft>
                <a:spcPts val="0"/>
              </a:spcAft>
              <a:buSzPts val="1100"/>
              <a:buNone/>
              <a:defRPr/>
            </a:lvl2pPr>
            <a:lvl3pPr lvl="2" algn="l">
              <a:spcBef>
                <a:spcPts val="0"/>
              </a:spcBef>
              <a:spcAft>
                <a:spcPts val="0"/>
              </a:spcAft>
              <a:buSzPts val="1100"/>
              <a:buNone/>
              <a:defRPr/>
            </a:lvl3pPr>
            <a:lvl4pPr lvl="3" algn="l">
              <a:spcBef>
                <a:spcPts val="0"/>
              </a:spcBef>
              <a:spcAft>
                <a:spcPts val="0"/>
              </a:spcAft>
              <a:buSzPts val="1100"/>
              <a:buNone/>
              <a:defRPr/>
            </a:lvl4pPr>
            <a:lvl5pPr lvl="4" algn="l">
              <a:spcBef>
                <a:spcPts val="0"/>
              </a:spcBef>
              <a:spcAft>
                <a:spcPts val="0"/>
              </a:spcAft>
              <a:buSzPts val="1100"/>
              <a:buNone/>
              <a:defRPr/>
            </a:lvl5pPr>
            <a:lvl6pPr lvl="5" algn="l">
              <a:spcBef>
                <a:spcPts val="0"/>
              </a:spcBef>
              <a:spcAft>
                <a:spcPts val="0"/>
              </a:spcAft>
              <a:buSzPts val="1100"/>
              <a:buNone/>
              <a:defRPr/>
            </a:lvl6pPr>
            <a:lvl7pPr lvl="6" algn="l">
              <a:spcBef>
                <a:spcPts val="0"/>
              </a:spcBef>
              <a:spcAft>
                <a:spcPts val="0"/>
              </a:spcAft>
              <a:buSzPts val="1100"/>
              <a:buNone/>
              <a:defRPr/>
            </a:lvl7pPr>
            <a:lvl8pPr lvl="7" algn="l">
              <a:spcBef>
                <a:spcPts val="0"/>
              </a:spcBef>
              <a:spcAft>
                <a:spcPts val="0"/>
              </a:spcAft>
              <a:buSzPts val="1100"/>
              <a:buNone/>
              <a:defRPr/>
            </a:lvl8pPr>
            <a:lvl9pPr lvl="8" algn="l">
              <a:spcBef>
                <a:spcPts val="0"/>
              </a:spcBef>
              <a:spcAft>
                <a:spcPts val="0"/>
              </a:spcAft>
              <a:buSzPts val="1100"/>
              <a:buNone/>
              <a:defRPr/>
            </a:lvl9pPr>
          </a:lstStyle>
          <a:p>
            <a:endParaRPr/>
          </a:p>
        </p:txBody>
      </p:sp>
      <p:sp>
        <p:nvSpPr>
          <p:cNvPr id="376" name="Google Shape;376;p65"/>
          <p:cNvSpPr txBox="1">
            <a:spLocks noGrp="1"/>
          </p:cNvSpPr>
          <p:nvPr>
            <p:ph type="ftr" idx="11"/>
          </p:nvPr>
        </p:nvSpPr>
        <p:spPr>
          <a:xfrm>
            <a:off x="4038600" y="6356351"/>
            <a:ext cx="4114800" cy="365125"/>
          </a:xfrm>
          <a:prstGeom prst="rect">
            <a:avLst/>
          </a:prstGeom>
          <a:noFill/>
          <a:ln>
            <a:noFill/>
          </a:ln>
        </p:spPr>
        <p:txBody>
          <a:bodyPr spcFirstLastPara="1" wrap="square" lIns="68575" tIns="34275" rIns="68575" bIns="34275" anchor="ctr" anchorCtr="0">
            <a:noAutofit/>
          </a:bodyPr>
          <a:lstStyle>
            <a:lvl1pPr lvl="0" algn="ctr">
              <a:spcBef>
                <a:spcPts val="0"/>
              </a:spcBef>
              <a:spcAft>
                <a:spcPts val="0"/>
              </a:spcAft>
              <a:buSzPts val="1100"/>
              <a:buNone/>
              <a:defRPr/>
            </a:lvl1pPr>
            <a:lvl2pPr lvl="1" algn="l">
              <a:spcBef>
                <a:spcPts val="0"/>
              </a:spcBef>
              <a:spcAft>
                <a:spcPts val="0"/>
              </a:spcAft>
              <a:buSzPts val="1100"/>
              <a:buNone/>
              <a:defRPr/>
            </a:lvl2pPr>
            <a:lvl3pPr lvl="2" algn="l">
              <a:spcBef>
                <a:spcPts val="0"/>
              </a:spcBef>
              <a:spcAft>
                <a:spcPts val="0"/>
              </a:spcAft>
              <a:buSzPts val="1100"/>
              <a:buNone/>
              <a:defRPr/>
            </a:lvl3pPr>
            <a:lvl4pPr lvl="3" algn="l">
              <a:spcBef>
                <a:spcPts val="0"/>
              </a:spcBef>
              <a:spcAft>
                <a:spcPts val="0"/>
              </a:spcAft>
              <a:buSzPts val="1100"/>
              <a:buNone/>
              <a:defRPr/>
            </a:lvl4pPr>
            <a:lvl5pPr lvl="4" algn="l">
              <a:spcBef>
                <a:spcPts val="0"/>
              </a:spcBef>
              <a:spcAft>
                <a:spcPts val="0"/>
              </a:spcAft>
              <a:buSzPts val="1100"/>
              <a:buNone/>
              <a:defRPr/>
            </a:lvl5pPr>
            <a:lvl6pPr lvl="5" algn="l">
              <a:spcBef>
                <a:spcPts val="0"/>
              </a:spcBef>
              <a:spcAft>
                <a:spcPts val="0"/>
              </a:spcAft>
              <a:buSzPts val="1100"/>
              <a:buNone/>
              <a:defRPr/>
            </a:lvl6pPr>
            <a:lvl7pPr lvl="6" algn="l">
              <a:spcBef>
                <a:spcPts val="0"/>
              </a:spcBef>
              <a:spcAft>
                <a:spcPts val="0"/>
              </a:spcAft>
              <a:buSzPts val="1100"/>
              <a:buNone/>
              <a:defRPr/>
            </a:lvl7pPr>
            <a:lvl8pPr lvl="7" algn="l">
              <a:spcBef>
                <a:spcPts val="0"/>
              </a:spcBef>
              <a:spcAft>
                <a:spcPts val="0"/>
              </a:spcAft>
              <a:buSzPts val="1100"/>
              <a:buNone/>
              <a:defRPr/>
            </a:lvl8pPr>
            <a:lvl9pPr lvl="8" algn="l">
              <a:spcBef>
                <a:spcPts val="0"/>
              </a:spcBef>
              <a:spcAft>
                <a:spcPts val="0"/>
              </a:spcAft>
              <a:buSzPts val="1100"/>
              <a:buNone/>
              <a:defRPr/>
            </a:lvl9pPr>
          </a:lstStyle>
          <a:p>
            <a:endParaRPr/>
          </a:p>
        </p:txBody>
      </p:sp>
      <p:sp>
        <p:nvSpPr>
          <p:cNvPr id="377" name="Google Shape;377;p65"/>
          <p:cNvSpPr txBox="1">
            <a:spLocks noGrp="1"/>
          </p:cNvSpPr>
          <p:nvPr>
            <p:ph type="sldNum" idx="12"/>
          </p:nvPr>
        </p:nvSpPr>
        <p:spPr>
          <a:xfrm>
            <a:off x="8610600" y="6356351"/>
            <a:ext cx="2743200" cy="365125"/>
          </a:xfrm>
          <a:prstGeom prst="rect">
            <a:avLst/>
          </a:prstGeom>
          <a:noFill/>
          <a:ln>
            <a:noFill/>
          </a:ln>
        </p:spPr>
        <p:txBody>
          <a:bodyPr spcFirstLastPara="1" wrap="square" lIns="68575" tIns="34275" rIns="68575" bIns="34275"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23968513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matchingName="Two Content" type="twoObj">
  <p:cSld name="Two Content">
    <p:spTree>
      <p:nvGrpSpPr>
        <p:cNvPr id="1" name="Shape 378"/>
        <p:cNvGrpSpPr/>
        <p:nvPr/>
      </p:nvGrpSpPr>
      <p:grpSpPr>
        <a:xfrm>
          <a:off x="0" y="0"/>
          <a:ext cx="0" cy="0"/>
          <a:chOff x="0" y="0"/>
          <a:chExt cx="0" cy="0"/>
        </a:xfrm>
      </p:grpSpPr>
      <p:sp>
        <p:nvSpPr>
          <p:cNvPr id="379" name="Google Shape;379;p66"/>
          <p:cNvSpPr txBox="1">
            <a:spLocks noGrp="1"/>
          </p:cNvSpPr>
          <p:nvPr>
            <p:ph type="title"/>
          </p:nvPr>
        </p:nvSpPr>
        <p:spPr>
          <a:xfrm>
            <a:off x="838200" y="365125"/>
            <a:ext cx="10515600" cy="1325563"/>
          </a:xfrm>
          <a:prstGeom prst="rect">
            <a:avLst/>
          </a:prstGeom>
          <a:noFill/>
          <a:ln>
            <a:noFill/>
          </a:ln>
        </p:spPr>
        <p:txBody>
          <a:bodyPr spcFirstLastPara="1" wrap="square" lIns="68575" tIns="34275" rIns="68575" bIns="34275" anchor="ctr" anchorCtr="0">
            <a:normAutofit/>
          </a:bodyPr>
          <a:lstStyle>
            <a:lvl1pPr lvl="0" algn="l">
              <a:lnSpc>
                <a:spcPct val="90000"/>
              </a:lnSpc>
              <a:spcBef>
                <a:spcPts val="0"/>
              </a:spcBef>
              <a:spcAft>
                <a:spcPts val="0"/>
              </a:spcAft>
              <a:buClr>
                <a:schemeClr val="dk1"/>
              </a:buClr>
              <a:buSzPts val="1400"/>
              <a:buNone/>
              <a:defRPr/>
            </a:lvl1pPr>
            <a:lvl2pPr lvl="1">
              <a:spcBef>
                <a:spcPts val="0"/>
              </a:spcBef>
              <a:spcAft>
                <a:spcPts val="0"/>
              </a:spcAft>
              <a:buSzPts val="1100"/>
              <a:buNone/>
              <a:defRPr/>
            </a:lvl2pPr>
            <a:lvl3pPr lvl="2">
              <a:spcBef>
                <a:spcPts val="0"/>
              </a:spcBef>
              <a:spcAft>
                <a:spcPts val="0"/>
              </a:spcAft>
              <a:buSzPts val="1100"/>
              <a:buNone/>
              <a:defRPr/>
            </a:lvl3pPr>
            <a:lvl4pPr lvl="3">
              <a:spcBef>
                <a:spcPts val="0"/>
              </a:spcBef>
              <a:spcAft>
                <a:spcPts val="0"/>
              </a:spcAft>
              <a:buSzPts val="1100"/>
              <a:buNone/>
              <a:defRPr/>
            </a:lvl4pPr>
            <a:lvl5pPr lvl="4">
              <a:spcBef>
                <a:spcPts val="0"/>
              </a:spcBef>
              <a:spcAft>
                <a:spcPts val="0"/>
              </a:spcAft>
              <a:buSzPts val="1100"/>
              <a:buNone/>
              <a:defRPr/>
            </a:lvl5pPr>
            <a:lvl6pPr lvl="5">
              <a:spcBef>
                <a:spcPts val="0"/>
              </a:spcBef>
              <a:spcAft>
                <a:spcPts val="0"/>
              </a:spcAft>
              <a:buSzPts val="1100"/>
              <a:buNone/>
              <a:defRPr/>
            </a:lvl6pPr>
            <a:lvl7pPr lvl="6">
              <a:spcBef>
                <a:spcPts val="0"/>
              </a:spcBef>
              <a:spcAft>
                <a:spcPts val="0"/>
              </a:spcAft>
              <a:buSzPts val="1100"/>
              <a:buNone/>
              <a:defRPr/>
            </a:lvl7pPr>
            <a:lvl8pPr lvl="7">
              <a:spcBef>
                <a:spcPts val="0"/>
              </a:spcBef>
              <a:spcAft>
                <a:spcPts val="0"/>
              </a:spcAft>
              <a:buSzPts val="1100"/>
              <a:buNone/>
              <a:defRPr/>
            </a:lvl8pPr>
            <a:lvl9pPr lvl="8">
              <a:spcBef>
                <a:spcPts val="0"/>
              </a:spcBef>
              <a:spcAft>
                <a:spcPts val="0"/>
              </a:spcAft>
              <a:buSzPts val="1100"/>
              <a:buNone/>
              <a:defRPr/>
            </a:lvl9pPr>
          </a:lstStyle>
          <a:p>
            <a:endParaRPr/>
          </a:p>
        </p:txBody>
      </p:sp>
      <p:sp>
        <p:nvSpPr>
          <p:cNvPr id="380" name="Google Shape;380;p66"/>
          <p:cNvSpPr txBox="1">
            <a:spLocks noGrp="1"/>
          </p:cNvSpPr>
          <p:nvPr>
            <p:ph type="body" idx="1"/>
          </p:nvPr>
        </p:nvSpPr>
        <p:spPr>
          <a:xfrm>
            <a:off x="838200" y="1825625"/>
            <a:ext cx="5181600" cy="4351339"/>
          </a:xfrm>
          <a:prstGeom prst="rect">
            <a:avLst/>
          </a:prstGeom>
          <a:noFill/>
          <a:ln>
            <a:noFill/>
          </a:ln>
        </p:spPr>
        <p:txBody>
          <a:bodyPr spcFirstLastPara="1" wrap="square" lIns="68575" tIns="34275" rIns="68575" bIns="34275" anchor="t" anchorCtr="0">
            <a:normAutofit/>
          </a:bodyPr>
          <a:lstStyle>
            <a:lvl1pPr marL="609585" lvl="0" indent="-423323" algn="l">
              <a:lnSpc>
                <a:spcPct val="90000"/>
              </a:lnSpc>
              <a:spcBef>
                <a:spcPts val="1067"/>
              </a:spcBef>
              <a:spcAft>
                <a:spcPts val="0"/>
              </a:spcAft>
              <a:buClr>
                <a:schemeClr val="dk1"/>
              </a:buClr>
              <a:buSzPts val="1400"/>
              <a:buChar char="•"/>
              <a:defRPr/>
            </a:lvl1pPr>
            <a:lvl2pPr marL="1219170" lvl="1" indent="-423323" algn="l">
              <a:lnSpc>
                <a:spcPct val="90000"/>
              </a:lnSpc>
              <a:spcBef>
                <a:spcPts val="533"/>
              </a:spcBef>
              <a:spcAft>
                <a:spcPts val="0"/>
              </a:spcAft>
              <a:buClr>
                <a:schemeClr val="dk1"/>
              </a:buClr>
              <a:buSzPts val="1400"/>
              <a:buChar char="•"/>
              <a:defRPr/>
            </a:lvl2pPr>
            <a:lvl3pPr marL="1828754" lvl="2" indent="-423323" algn="l">
              <a:lnSpc>
                <a:spcPct val="90000"/>
              </a:lnSpc>
              <a:spcBef>
                <a:spcPts val="533"/>
              </a:spcBef>
              <a:spcAft>
                <a:spcPts val="0"/>
              </a:spcAft>
              <a:buClr>
                <a:schemeClr val="dk1"/>
              </a:buClr>
              <a:buSzPts val="1400"/>
              <a:buChar char="•"/>
              <a:defRPr/>
            </a:lvl3pPr>
            <a:lvl4pPr marL="2438339" lvl="3" indent="-423323" algn="l">
              <a:lnSpc>
                <a:spcPct val="90000"/>
              </a:lnSpc>
              <a:spcBef>
                <a:spcPts val="533"/>
              </a:spcBef>
              <a:spcAft>
                <a:spcPts val="0"/>
              </a:spcAft>
              <a:buClr>
                <a:schemeClr val="dk1"/>
              </a:buClr>
              <a:buSzPts val="1400"/>
              <a:buChar char="•"/>
              <a:defRPr/>
            </a:lvl4pPr>
            <a:lvl5pPr marL="3047924" lvl="4" indent="-423323" algn="l">
              <a:lnSpc>
                <a:spcPct val="90000"/>
              </a:lnSpc>
              <a:spcBef>
                <a:spcPts val="533"/>
              </a:spcBef>
              <a:spcAft>
                <a:spcPts val="0"/>
              </a:spcAft>
              <a:buClr>
                <a:schemeClr val="dk1"/>
              </a:buClr>
              <a:buSzPts val="1400"/>
              <a:buChar char="•"/>
              <a:defRPr/>
            </a:lvl5pPr>
            <a:lvl6pPr marL="3657509" lvl="5" indent="-423323" algn="l">
              <a:lnSpc>
                <a:spcPct val="90000"/>
              </a:lnSpc>
              <a:spcBef>
                <a:spcPts val="533"/>
              </a:spcBef>
              <a:spcAft>
                <a:spcPts val="0"/>
              </a:spcAft>
              <a:buClr>
                <a:schemeClr val="dk1"/>
              </a:buClr>
              <a:buSzPts val="1400"/>
              <a:buChar char="•"/>
              <a:defRPr/>
            </a:lvl6pPr>
            <a:lvl7pPr marL="4267093" lvl="6" indent="-423323" algn="l">
              <a:lnSpc>
                <a:spcPct val="90000"/>
              </a:lnSpc>
              <a:spcBef>
                <a:spcPts val="533"/>
              </a:spcBef>
              <a:spcAft>
                <a:spcPts val="0"/>
              </a:spcAft>
              <a:buClr>
                <a:schemeClr val="dk1"/>
              </a:buClr>
              <a:buSzPts val="1400"/>
              <a:buChar char="•"/>
              <a:defRPr/>
            </a:lvl7pPr>
            <a:lvl8pPr marL="4876678" lvl="7" indent="-423323" algn="l">
              <a:lnSpc>
                <a:spcPct val="90000"/>
              </a:lnSpc>
              <a:spcBef>
                <a:spcPts val="533"/>
              </a:spcBef>
              <a:spcAft>
                <a:spcPts val="0"/>
              </a:spcAft>
              <a:buClr>
                <a:schemeClr val="dk1"/>
              </a:buClr>
              <a:buSzPts val="1400"/>
              <a:buChar char="•"/>
              <a:defRPr/>
            </a:lvl8pPr>
            <a:lvl9pPr marL="5486263" lvl="8" indent="-423323" algn="l">
              <a:lnSpc>
                <a:spcPct val="90000"/>
              </a:lnSpc>
              <a:spcBef>
                <a:spcPts val="533"/>
              </a:spcBef>
              <a:spcAft>
                <a:spcPts val="0"/>
              </a:spcAft>
              <a:buClr>
                <a:schemeClr val="dk1"/>
              </a:buClr>
              <a:buSzPts val="1400"/>
              <a:buChar char="•"/>
              <a:defRPr/>
            </a:lvl9pPr>
          </a:lstStyle>
          <a:p>
            <a:endParaRPr/>
          </a:p>
        </p:txBody>
      </p:sp>
      <p:sp>
        <p:nvSpPr>
          <p:cNvPr id="381" name="Google Shape;381;p66"/>
          <p:cNvSpPr txBox="1">
            <a:spLocks noGrp="1"/>
          </p:cNvSpPr>
          <p:nvPr>
            <p:ph type="body" idx="2"/>
          </p:nvPr>
        </p:nvSpPr>
        <p:spPr>
          <a:xfrm>
            <a:off x="6172200" y="1825625"/>
            <a:ext cx="5181600" cy="4351339"/>
          </a:xfrm>
          <a:prstGeom prst="rect">
            <a:avLst/>
          </a:prstGeom>
          <a:noFill/>
          <a:ln>
            <a:noFill/>
          </a:ln>
        </p:spPr>
        <p:txBody>
          <a:bodyPr spcFirstLastPara="1" wrap="square" lIns="68575" tIns="34275" rIns="68575" bIns="34275" anchor="t" anchorCtr="0">
            <a:normAutofit/>
          </a:bodyPr>
          <a:lstStyle>
            <a:lvl1pPr marL="609585" lvl="0" indent="-423323" algn="l">
              <a:lnSpc>
                <a:spcPct val="90000"/>
              </a:lnSpc>
              <a:spcBef>
                <a:spcPts val="1067"/>
              </a:spcBef>
              <a:spcAft>
                <a:spcPts val="0"/>
              </a:spcAft>
              <a:buClr>
                <a:schemeClr val="dk1"/>
              </a:buClr>
              <a:buSzPts val="1400"/>
              <a:buChar char="•"/>
              <a:defRPr/>
            </a:lvl1pPr>
            <a:lvl2pPr marL="1219170" lvl="1" indent="-423323" algn="l">
              <a:lnSpc>
                <a:spcPct val="90000"/>
              </a:lnSpc>
              <a:spcBef>
                <a:spcPts val="533"/>
              </a:spcBef>
              <a:spcAft>
                <a:spcPts val="0"/>
              </a:spcAft>
              <a:buClr>
                <a:schemeClr val="dk1"/>
              </a:buClr>
              <a:buSzPts val="1400"/>
              <a:buChar char="•"/>
              <a:defRPr/>
            </a:lvl2pPr>
            <a:lvl3pPr marL="1828754" lvl="2" indent="-423323" algn="l">
              <a:lnSpc>
                <a:spcPct val="90000"/>
              </a:lnSpc>
              <a:spcBef>
                <a:spcPts val="533"/>
              </a:spcBef>
              <a:spcAft>
                <a:spcPts val="0"/>
              </a:spcAft>
              <a:buClr>
                <a:schemeClr val="dk1"/>
              </a:buClr>
              <a:buSzPts val="1400"/>
              <a:buChar char="•"/>
              <a:defRPr/>
            </a:lvl3pPr>
            <a:lvl4pPr marL="2438339" lvl="3" indent="-423323" algn="l">
              <a:lnSpc>
                <a:spcPct val="90000"/>
              </a:lnSpc>
              <a:spcBef>
                <a:spcPts val="533"/>
              </a:spcBef>
              <a:spcAft>
                <a:spcPts val="0"/>
              </a:spcAft>
              <a:buClr>
                <a:schemeClr val="dk1"/>
              </a:buClr>
              <a:buSzPts val="1400"/>
              <a:buChar char="•"/>
              <a:defRPr/>
            </a:lvl4pPr>
            <a:lvl5pPr marL="3047924" lvl="4" indent="-423323" algn="l">
              <a:lnSpc>
                <a:spcPct val="90000"/>
              </a:lnSpc>
              <a:spcBef>
                <a:spcPts val="533"/>
              </a:spcBef>
              <a:spcAft>
                <a:spcPts val="0"/>
              </a:spcAft>
              <a:buClr>
                <a:schemeClr val="dk1"/>
              </a:buClr>
              <a:buSzPts val="1400"/>
              <a:buChar char="•"/>
              <a:defRPr/>
            </a:lvl5pPr>
            <a:lvl6pPr marL="3657509" lvl="5" indent="-423323" algn="l">
              <a:lnSpc>
                <a:spcPct val="90000"/>
              </a:lnSpc>
              <a:spcBef>
                <a:spcPts val="533"/>
              </a:spcBef>
              <a:spcAft>
                <a:spcPts val="0"/>
              </a:spcAft>
              <a:buClr>
                <a:schemeClr val="dk1"/>
              </a:buClr>
              <a:buSzPts val="1400"/>
              <a:buChar char="•"/>
              <a:defRPr/>
            </a:lvl6pPr>
            <a:lvl7pPr marL="4267093" lvl="6" indent="-423323" algn="l">
              <a:lnSpc>
                <a:spcPct val="90000"/>
              </a:lnSpc>
              <a:spcBef>
                <a:spcPts val="533"/>
              </a:spcBef>
              <a:spcAft>
                <a:spcPts val="0"/>
              </a:spcAft>
              <a:buClr>
                <a:schemeClr val="dk1"/>
              </a:buClr>
              <a:buSzPts val="1400"/>
              <a:buChar char="•"/>
              <a:defRPr/>
            </a:lvl7pPr>
            <a:lvl8pPr marL="4876678" lvl="7" indent="-423323" algn="l">
              <a:lnSpc>
                <a:spcPct val="90000"/>
              </a:lnSpc>
              <a:spcBef>
                <a:spcPts val="533"/>
              </a:spcBef>
              <a:spcAft>
                <a:spcPts val="0"/>
              </a:spcAft>
              <a:buClr>
                <a:schemeClr val="dk1"/>
              </a:buClr>
              <a:buSzPts val="1400"/>
              <a:buChar char="•"/>
              <a:defRPr/>
            </a:lvl8pPr>
            <a:lvl9pPr marL="5486263" lvl="8" indent="-423323" algn="l">
              <a:lnSpc>
                <a:spcPct val="90000"/>
              </a:lnSpc>
              <a:spcBef>
                <a:spcPts val="533"/>
              </a:spcBef>
              <a:spcAft>
                <a:spcPts val="0"/>
              </a:spcAft>
              <a:buClr>
                <a:schemeClr val="dk1"/>
              </a:buClr>
              <a:buSzPts val="1400"/>
              <a:buChar char="•"/>
              <a:defRPr/>
            </a:lvl9pPr>
          </a:lstStyle>
          <a:p>
            <a:endParaRPr/>
          </a:p>
        </p:txBody>
      </p:sp>
      <p:sp>
        <p:nvSpPr>
          <p:cNvPr id="382" name="Google Shape;382;p66"/>
          <p:cNvSpPr txBox="1">
            <a:spLocks noGrp="1"/>
          </p:cNvSpPr>
          <p:nvPr>
            <p:ph type="dt" idx="10"/>
          </p:nvPr>
        </p:nvSpPr>
        <p:spPr>
          <a:xfrm>
            <a:off x="838200" y="6356351"/>
            <a:ext cx="2743200" cy="365125"/>
          </a:xfrm>
          <a:prstGeom prst="rect">
            <a:avLst/>
          </a:prstGeom>
          <a:noFill/>
          <a:ln>
            <a:noFill/>
          </a:ln>
        </p:spPr>
        <p:txBody>
          <a:bodyPr spcFirstLastPara="1" wrap="square" lIns="68575" tIns="34275" rIns="68575" bIns="34275" anchor="ctr" anchorCtr="0">
            <a:noAutofit/>
          </a:bodyPr>
          <a:lstStyle>
            <a:lvl1pPr lvl="0" algn="l">
              <a:spcBef>
                <a:spcPts val="0"/>
              </a:spcBef>
              <a:spcAft>
                <a:spcPts val="0"/>
              </a:spcAft>
              <a:buSzPts val="1100"/>
              <a:buNone/>
              <a:defRPr/>
            </a:lvl1pPr>
            <a:lvl2pPr lvl="1" algn="l">
              <a:spcBef>
                <a:spcPts val="0"/>
              </a:spcBef>
              <a:spcAft>
                <a:spcPts val="0"/>
              </a:spcAft>
              <a:buSzPts val="1100"/>
              <a:buNone/>
              <a:defRPr/>
            </a:lvl2pPr>
            <a:lvl3pPr lvl="2" algn="l">
              <a:spcBef>
                <a:spcPts val="0"/>
              </a:spcBef>
              <a:spcAft>
                <a:spcPts val="0"/>
              </a:spcAft>
              <a:buSzPts val="1100"/>
              <a:buNone/>
              <a:defRPr/>
            </a:lvl3pPr>
            <a:lvl4pPr lvl="3" algn="l">
              <a:spcBef>
                <a:spcPts val="0"/>
              </a:spcBef>
              <a:spcAft>
                <a:spcPts val="0"/>
              </a:spcAft>
              <a:buSzPts val="1100"/>
              <a:buNone/>
              <a:defRPr/>
            </a:lvl4pPr>
            <a:lvl5pPr lvl="4" algn="l">
              <a:spcBef>
                <a:spcPts val="0"/>
              </a:spcBef>
              <a:spcAft>
                <a:spcPts val="0"/>
              </a:spcAft>
              <a:buSzPts val="1100"/>
              <a:buNone/>
              <a:defRPr/>
            </a:lvl5pPr>
            <a:lvl6pPr lvl="5" algn="l">
              <a:spcBef>
                <a:spcPts val="0"/>
              </a:spcBef>
              <a:spcAft>
                <a:spcPts val="0"/>
              </a:spcAft>
              <a:buSzPts val="1100"/>
              <a:buNone/>
              <a:defRPr/>
            </a:lvl6pPr>
            <a:lvl7pPr lvl="6" algn="l">
              <a:spcBef>
                <a:spcPts val="0"/>
              </a:spcBef>
              <a:spcAft>
                <a:spcPts val="0"/>
              </a:spcAft>
              <a:buSzPts val="1100"/>
              <a:buNone/>
              <a:defRPr/>
            </a:lvl7pPr>
            <a:lvl8pPr lvl="7" algn="l">
              <a:spcBef>
                <a:spcPts val="0"/>
              </a:spcBef>
              <a:spcAft>
                <a:spcPts val="0"/>
              </a:spcAft>
              <a:buSzPts val="1100"/>
              <a:buNone/>
              <a:defRPr/>
            </a:lvl8pPr>
            <a:lvl9pPr lvl="8" algn="l">
              <a:spcBef>
                <a:spcPts val="0"/>
              </a:spcBef>
              <a:spcAft>
                <a:spcPts val="0"/>
              </a:spcAft>
              <a:buSzPts val="1100"/>
              <a:buNone/>
              <a:defRPr/>
            </a:lvl9pPr>
          </a:lstStyle>
          <a:p>
            <a:endParaRPr/>
          </a:p>
        </p:txBody>
      </p:sp>
      <p:sp>
        <p:nvSpPr>
          <p:cNvPr id="383" name="Google Shape;383;p66"/>
          <p:cNvSpPr txBox="1">
            <a:spLocks noGrp="1"/>
          </p:cNvSpPr>
          <p:nvPr>
            <p:ph type="ftr" idx="11"/>
          </p:nvPr>
        </p:nvSpPr>
        <p:spPr>
          <a:xfrm>
            <a:off x="4038600" y="6356351"/>
            <a:ext cx="4114800" cy="365125"/>
          </a:xfrm>
          <a:prstGeom prst="rect">
            <a:avLst/>
          </a:prstGeom>
          <a:noFill/>
          <a:ln>
            <a:noFill/>
          </a:ln>
        </p:spPr>
        <p:txBody>
          <a:bodyPr spcFirstLastPara="1" wrap="square" lIns="68575" tIns="34275" rIns="68575" bIns="34275" anchor="ctr" anchorCtr="0">
            <a:noAutofit/>
          </a:bodyPr>
          <a:lstStyle>
            <a:lvl1pPr lvl="0" algn="ctr">
              <a:spcBef>
                <a:spcPts val="0"/>
              </a:spcBef>
              <a:spcAft>
                <a:spcPts val="0"/>
              </a:spcAft>
              <a:buSzPts val="1100"/>
              <a:buNone/>
              <a:defRPr/>
            </a:lvl1pPr>
            <a:lvl2pPr lvl="1" algn="l">
              <a:spcBef>
                <a:spcPts val="0"/>
              </a:spcBef>
              <a:spcAft>
                <a:spcPts val="0"/>
              </a:spcAft>
              <a:buSzPts val="1100"/>
              <a:buNone/>
              <a:defRPr/>
            </a:lvl2pPr>
            <a:lvl3pPr lvl="2" algn="l">
              <a:spcBef>
                <a:spcPts val="0"/>
              </a:spcBef>
              <a:spcAft>
                <a:spcPts val="0"/>
              </a:spcAft>
              <a:buSzPts val="1100"/>
              <a:buNone/>
              <a:defRPr/>
            </a:lvl3pPr>
            <a:lvl4pPr lvl="3" algn="l">
              <a:spcBef>
                <a:spcPts val="0"/>
              </a:spcBef>
              <a:spcAft>
                <a:spcPts val="0"/>
              </a:spcAft>
              <a:buSzPts val="1100"/>
              <a:buNone/>
              <a:defRPr/>
            </a:lvl4pPr>
            <a:lvl5pPr lvl="4" algn="l">
              <a:spcBef>
                <a:spcPts val="0"/>
              </a:spcBef>
              <a:spcAft>
                <a:spcPts val="0"/>
              </a:spcAft>
              <a:buSzPts val="1100"/>
              <a:buNone/>
              <a:defRPr/>
            </a:lvl5pPr>
            <a:lvl6pPr lvl="5" algn="l">
              <a:spcBef>
                <a:spcPts val="0"/>
              </a:spcBef>
              <a:spcAft>
                <a:spcPts val="0"/>
              </a:spcAft>
              <a:buSzPts val="1100"/>
              <a:buNone/>
              <a:defRPr/>
            </a:lvl6pPr>
            <a:lvl7pPr lvl="6" algn="l">
              <a:spcBef>
                <a:spcPts val="0"/>
              </a:spcBef>
              <a:spcAft>
                <a:spcPts val="0"/>
              </a:spcAft>
              <a:buSzPts val="1100"/>
              <a:buNone/>
              <a:defRPr/>
            </a:lvl7pPr>
            <a:lvl8pPr lvl="7" algn="l">
              <a:spcBef>
                <a:spcPts val="0"/>
              </a:spcBef>
              <a:spcAft>
                <a:spcPts val="0"/>
              </a:spcAft>
              <a:buSzPts val="1100"/>
              <a:buNone/>
              <a:defRPr/>
            </a:lvl8pPr>
            <a:lvl9pPr lvl="8" algn="l">
              <a:spcBef>
                <a:spcPts val="0"/>
              </a:spcBef>
              <a:spcAft>
                <a:spcPts val="0"/>
              </a:spcAft>
              <a:buSzPts val="1100"/>
              <a:buNone/>
              <a:defRPr/>
            </a:lvl9pPr>
          </a:lstStyle>
          <a:p>
            <a:endParaRPr/>
          </a:p>
        </p:txBody>
      </p:sp>
      <p:sp>
        <p:nvSpPr>
          <p:cNvPr id="384" name="Google Shape;384;p66"/>
          <p:cNvSpPr txBox="1">
            <a:spLocks noGrp="1"/>
          </p:cNvSpPr>
          <p:nvPr>
            <p:ph type="sldNum" idx="12"/>
          </p:nvPr>
        </p:nvSpPr>
        <p:spPr>
          <a:xfrm>
            <a:off x="8610600" y="6356351"/>
            <a:ext cx="2743200" cy="365125"/>
          </a:xfrm>
          <a:prstGeom prst="rect">
            <a:avLst/>
          </a:prstGeom>
          <a:noFill/>
          <a:ln>
            <a:noFill/>
          </a:ln>
        </p:spPr>
        <p:txBody>
          <a:bodyPr spcFirstLastPara="1" wrap="square" lIns="68575" tIns="34275" rIns="68575" bIns="34275"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223224045"/>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matchingName="Comparison" type="twoTxTwoObj">
  <p:cSld name="Comparison">
    <p:spTree>
      <p:nvGrpSpPr>
        <p:cNvPr id="1" name="Shape 385"/>
        <p:cNvGrpSpPr/>
        <p:nvPr/>
      </p:nvGrpSpPr>
      <p:grpSpPr>
        <a:xfrm>
          <a:off x="0" y="0"/>
          <a:ext cx="0" cy="0"/>
          <a:chOff x="0" y="0"/>
          <a:chExt cx="0" cy="0"/>
        </a:xfrm>
      </p:grpSpPr>
      <p:sp>
        <p:nvSpPr>
          <p:cNvPr id="386" name="Google Shape;386;p67"/>
          <p:cNvSpPr txBox="1">
            <a:spLocks noGrp="1"/>
          </p:cNvSpPr>
          <p:nvPr>
            <p:ph type="title"/>
          </p:nvPr>
        </p:nvSpPr>
        <p:spPr>
          <a:xfrm>
            <a:off x="839788" y="365125"/>
            <a:ext cx="10515600" cy="1325563"/>
          </a:xfrm>
          <a:prstGeom prst="rect">
            <a:avLst/>
          </a:prstGeom>
          <a:noFill/>
          <a:ln>
            <a:noFill/>
          </a:ln>
        </p:spPr>
        <p:txBody>
          <a:bodyPr spcFirstLastPara="1" wrap="square" lIns="68575" tIns="34275" rIns="68575" bIns="34275" anchor="ctr" anchorCtr="0">
            <a:normAutofit/>
          </a:bodyPr>
          <a:lstStyle>
            <a:lvl1pPr lvl="0" algn="l">
              <a:lnSpc>
                <a:spcPct val="90000"/>
              </a:lnSpc>
              <a:spcBef>
                <a:spcPts val="0"/>
              </a:spcBef>
              <a:spcAft>
                <a:spcPts val="0"/>
              </a:spcAft>
              <a:buClr>
                <a:schemeClr val="dk1"/>
              </a:buClr>
              <a:buSzPts val="1400"/>
              <a:buNone/>
              <a:defRPr/>
            </a:lvl1pPr>
            <a:lvl2pPr lvl="1">
              <a:spcBef>
                <a:spcPts val="0"/>
              </a:spcBef>
              <a:spcAft>
                <a:spcPts val="0"/>
              </a:spcAft>
              <a:buSzPts val="1100"/>
              <a:buNone/>
              <a:defRPr/>
            </a:lvl2pPr>
            <a:lvl3pPr lvl="2">
              <a:spcBef>
                <a:spcPts val="0"/>
              </a:spcBef>
              <a:spcAft>
                <a:spcPts val="0"/>
              </a:spcAft>
              <a:buSzPts val="1100"/>
              <a:buNone/>
              <a:defRPr/>
            </a:lvl3pPr>
            <a:lvl4pPr lvl="3">
              <a:spcBef>
                <a:spcPts val="0"/>
              </a:spcBef>
              <a:spcAft>
                <a:spcPts val="0"/>
              </a:spcAft>
              <a:buSzPts val="1100"/>
              <a:buNone/>
              <a:defRPr/>
            </a:lvl4pPr>
            <a:lvl5pPr lvl="4">
              <a:spcBef>
                <a:spcPts val="0"/>
              </a:spcBef>
              <a:spcAft>
                <a:spcPts val="0"/>
              </a:spcAft>
              <a:buSzPts val="1100"/>
              <a:buNone/>
              <a:defRPr/>
            </a:lvl5pPr>
            <a:lvl6pPr lvl="5">
              <a:spcBef>
                <a:spcPts val="0"/>
              </a:spcBef>
              <a:spcAft>
                <a:spcPts val="0"/>
              </a:spcAft>
              <a:buSzPts val="1100"/>
              <a:buNone/>
              <a:defRPr/>
            </a:lvl6pPr>
            <a:lvl7pPr lvl="6">
              <a:spcBef>
                <a:spcPts val="0"/>
              </a:spcBef>
              <a:spcAft>
                <a:spcPts val="0"/>
              </a:spcAft>
              <a:buSzPts val="1100"/>
              <a:buNone/>
              <a:defRPr/>
            </a:lvl7pPr>
            <a:lvl8pPr lvl="7">
              <a:spcBef>
                <a:spcPts val="0"/>
              </a:spcBef>
              <a:spcAft>
                <a:spcPts val="0"/>
              </a:spcAft>
              <a:buSzPts val="1100"/>
              <a:buNone/>
              <a:defRPr/>
            </a:lvl8pPr>
            <a:lvl9pPr lvl="8">
              <a:spcBef>
                <a:spcPts val="0"/>
              </a:spcBef>
              <a:spcAft>
                <a:spcPts val="0"/>
              </a:spcAft>
              <a:buSzPts val="1100"/>
              <a:buNone/>
              <a:defRPr/>
            </a:lvl9pPr>
          </a:lstStyle>
          <a:p>
            <a:endParaRPr/>
          </a:p>
        </p:txBody>
      </p:sp>
      <p:sp>
        <p:nvSpPr>
          <p:cNvPr id="387" name="Google Shape;387;p67"/>
          <p:cNvSpPr txBox="1">
            <a:spLocks noGrp="1"/>
          </p:cNvSpPr>
          <p:nvPr>
            <p:ph type="body" idx="1"/>
          </p:nvPr>
        </p:nvSpPr>
        <p:spPr>
          <a:xfrm>
            <a:off x="839788" y="1681163"/>
            <a:ext cx="5157787" cy="823912"/>
          </a:xfrm>
          <a:prstGeom prst="rect">
            <a:avLst/>
          </a:prstGeom>
          <a:noFill/>
          <a:ln>
            <a:noFill/>
          </a:ln>
        </p:spPr>
        <p:txBody>
          <a:bodyPr spcFirstLastPara="1" wrap="square" lIns="68575" tIns="34275" rIns="68575" bIns="34275" anchor="b" anchorCtr="0">
            <a:normAutofit/>
          </a:bodyPr>
          <a:lstStyle>
            <a:lvl1pPr marL="609585" lvl="0" indent="-304792" algn="l">
              <a:lnSpc>
                <a:spcPct val="90000"/>
              </a:lnSpc>
              <a:spcBef>
                <a:spcPts val="1067"/>
              </a:spcBef>
              <a:spcAft>
                <a:spcPts val="0"/>
              </a:spcAft>
              <a:buClr>
                <a:schemeClr val="dk1"/>
              </a:buClr>
              <a:buSzPts val="1800"/>
              <a:buNone/>
              <a:defRPr sz="2400" b="1"/>
            </a:lvl1pPr>
            <a:lvl2pPr marL="1219170" lvl="1" indent="-304792" algn="l">
              <a:lnSpc>
                <a:spcPct val="90000"/>
              </a:lnSpc>
              <a:spcBef>
                <a:spcPts val="533"/>
              </a:spcBef>
              <a:spcAft>
                <a:spcPts val="0"/>
              </a:spcAft>
              <a:buClr>
                <a:schemeClr val="dk1"/>
              </a:buClr>
              <a:buSzPts val="1500"/>
              <a:buNone/>
              <a:defRPr sz="2000" b="1"/>
            </a:lvl2pPr>
            <a:lvl3pPr marL="1828754" lvl="2" indent="-304792" algn="l">
              <a:lnSpc>
                <a:spcPct val="90000"/>
              </a:lnSpc>
              <a:spcBef>
                <a:spcPts val="533"/>
              </a:spcBef>
              <a:spcAft>
                <a:spcPts val="0"/>
              </a:spcAft>
              <a:buClr>
                <a:schemeClr val="dk1"/>
              </a:buClr>
              <a:buSzPts val="1400"/>
              <a:buNone/>
              <a:defRPr sz="1867" b="1"/>
            </a:lvl3pPr>
            <a:lvl4pPr marL="2438339" lvl="3" indent="-304792" algn="l">
              <a:lnSpc>
                <a:spcPct val="90000"/>
              </a:lnSpc>
              <a:spcBef>
                <a:spcPts val="533"/>
              </a:spcBef>
              <a:spcAft>
                <a:spcPts val="0"/>
              </a:spcAft>
              <a:buClr>
                <a:schemeClr val="dk1"/>
              </a:buClr>
              <a:buSzPts val="1200"/>
              <a:buNone/>
              <a:defRPr sz="1600" b="1"/>
            </a:lvl4pPr>
            <a:lvl5pPr marL="3047924" lvl="4" indent="-304792" algn="l">
              <a:lnSpc>
                <a:spcPct val="90000"/>
              </a:lnSpc>
              <a:spcBef>
                <a:spcPts val="533"/>
              </a:spcBef>
              <a:spcAft>
                <a:spcPts val="0"/>
              </a:spcAft>
              <a:buClr>
                <a:schemeClr val="dk1"/>
              </a:buClr>
              <a:buSzPts val="1200"/>
              <a:buNone/>
              <a:defRPr sz="1600" b="1"/>
            </a:lvl5pPr>
            <a:lvl6pPr marL="3657509" lvl="5" indent="-304792" algn="l">
              <a:lnSpc>
                <a:spcPct val="90000"/>
              </a:lnSpc>
              <a:spcBef>
                <a:spcPts val="533"/>
              </a:spcBef>
              <a:spcAft>
                <a:spcPts val="0"/>
              </a:spcAft>
              <a:buClr>
                <a:schemeClr val="dk1"/>
              </a:buClr>
              <a:buSzPts val="1200"/>
              <a:buNone/>
              <a:defRPr sz="1600" b="1"/>
            </a:lvl6pPr>
            <a:lvl7pPr marL="4267093" lvl="6" indent="-304792" algn="l">
              <a:lnSpc>
                <a:spcPct val="90000"/>
              </a:lnSpc>
              <a:spcBef>
                <a:spcPts val="533"/>
              </a:spcBef>
              <a:spcAft>
                <a:spcPts val="0"/>
              </a:spcAft>
              <a:buClr>
                <a:schemeClr val="dk1"/>
              </a:buClr>
              <a:buSzPts val="1200"/>
              <a:buNone/>
              <a:defRPr sz="1600" b="1"/>
            </a:lvl7pPr>
            <a:lvl8pPr marL="4876678" lvl="7" indent="-304792" algn="l">
              <a:lnSpc>
                <a:spcPct val="90000"/>
              </a:lnSpc>
              <a:spcBef>
                <a:spcPts val="533"/>
              </a:spcBef>
              <a:spcAft>
                <a:spcPts val="0"/>
              </a:spcAft>
              <a:buClr>
                <a:schemeClr val="dk1"/>
              </a:buClr>
              <a:buSzPts val="1200"/>
              <a:buNone/>
              <a:defRPr sz="1600" b="1"/>
            </a:lvl8pPr>
            <a:lvl9pPr marL="5486263" lvl="8" indent="-304792" algn="l">
              <a:lnSpc>
                <a:spcPct val="90000"/>
              </a:lnSpc>
              <a:spcBef>
                <a:spcPts val="533"/>
              </a:spcBef>
              <a:spcAft>
                <a:spcPts val="0"/>
              </a:spcAft>
              <a:buClr>
                <a:schemeClr val="dk1"/>
              </a:buClr>
              <a:buSzPts val="1200"/>
              <a:buNone/>
              <a:defRPr sz="1600" b="1"/>
            </a:lvl9pPr>
          </a:lstStyle>
          <a:p>
            <a:endParaRPr/>
          </a:p>
        </p:txBody>
      </p:sp>
      <p:sp>
        <p:nvSpPr>
          <p:cNvPr id="388" name="Google Shape;388;p67"/>
          <p:cNvSpPr txBox="1">
            <a:spLocks noGrp="1"/>
          </p:cNvSpPr>
          <p:nvPr>
            <p:ph type="body" idx="2"/>
          </p:nvPr>
        </p:nvSpPr>
        <p:spPr>
          <a:xfrm>
            <a:off x="839788" y="2505075"/>
            <a:ext cx="5157787" cy="3684588"/>
          </a:xfrm>
          <a:prstGeom prst="rect">
            <a:avLst/>
          </a:prstGeom>
          <a:noFill/>
          <a:ln>
            <a:noFill/>
          </a:ln>
        </p:spPr>
        <p:txBody>
          <a:bodyPr spcFirstLastPara="1" wrap="square" lIns="68575" tIns="34275" rIns="68575" bIns="34275" anchor="t" anchorCtr="0">
            <a:normAutofit/>
          </a:bodyPr>
          <a:lstStyle>
            <a:lvl1pPr marL="609585" lvl="0" indent="-423323" algn="l">
              <a:lnSpc>
                <a:spcPct val="90000"/>
              </a:lnSpc>
              <a:spcBef>
                <a:spcPts val="1067"/>
              </a:spcBef>
              <a:spcAft>
                <a:spcPts val="0"/>
              </a:spcAft>
              <a:buClr>
                <a:schemeClr val="dk1"/>
              </a:buClr>
              <a:buSzPts val="1400"/>
              <a:buChar char="•"/>
              <a:defRPr/>
            </a:lvl1pPr>
            <a:lvl2pPr marL="1219170" lvl="1" indent="-423323" algn="l">
              <a:lnSpc>
                <a:spcPct val="90000"/>
              </a:lnSpc>
              <a:spcBef>
                <a:spcPts val="533"/>
              </a:spcBef>
              <a:spcAft>
                <a:spcPts val="0"/>
              </a:spcAft>
              <a:buClr>
                <a:schemeClr val="dk1"/>
              </a:buClr>
              <a:buSzPts val="1400"/>
              <a:buChar char="•"/>
              <a:defRPr/>
            </a:lvl2pPr>
            <a:lvl3pPr marL="1828754" lvl="2" indent="-423323" algn="l">
              <a:lnSpc>
                <a:spcPct val="90000"/>
              </a:lnSpc>
              <a:spcBef>
                <a:spcPts val="533"/>
              </a:spcBef>
              <a:spcAft>
                <a:spcPts val="0"/>
              </a:spcAft>
              <a:buClr>
                <a:schemeClr val="dk1"/>
              </a:buClr>
              <a:buSzPts val="1400"/>
              <a:buChar char="•"/>
              <a:defRPr/>
            </a:lvl3pPr>
            <a:lvl4pPr marL="2438339" lvl="3" indent="-423323" algn="l">
              <a:lnSpc>
                <a:spcPct val="90000"/>
              </a:lnSpc>
              <a:spcBef>
                <a:spcPts val="533"/>
              </a:spcBef>
              <a:spcAft>
                <a:spcPts val="0"/>
              </a:spcAft>
              <a:buClr>
                <a:schemeClr val="dk1"/>
              </a:buClr>
              <a:buSzPts val="1400"/>
              <a:buChar char="•"/>
              <a:defRPr/>
            </a:lvl4pPr>
            <a:lvl5pPr marL="3047924" lvl="4" indent="-423323" algn="l">
              <a:lnSpc>
                <a:spcPct val="90000"/>
              </a:lnSpc>
              <a:spcBef>
                <a:spcPts val="533"/>
              </a:spcBef>
              <a:spcAft>
                <a:spcPts val="0"/>
              </a:spcAft>
              <a:buClr>
                <a:schemeClr val="dk1"/>
              </a:buClr>
              <a:buSzPts val="1400"/>
              <a:buChar char="•"/>
              <a:defRPr/>
            </a:lvl5pPr>
            <a:lvl6pPr marL="3657509" lvl="5" indent="-423323" algn="l">
              <a:lnSpc>
                <a:spcPct val="90000"/>
              </a:lnSpc>
              <a:spcBef>
                <a:spcPts val="533"/>
              </a:spcBef>
              <a:spcAft>
                <a:spcPts val="0"/>
              </a:spcAft>
              <a:buClr>
                <a:schemeClr val="dk1"/>
              </a:buClr>
              <a:buSzPts val="1400"/>
              <a:buChar char="•"/>
              <a:defRPr/>
            </a:lvl6pPr>
            <a:lvl7pPr marL="4267093" lvl="6" indent="-423323" algn="l">
              <a:lnSpc>
                <a:spcPct val="90000"/>
              </a:lnSpc>
              <a:spcBef>
                <a:spcPts val="533"/>
              </a:spcBef>
              <a:spcAft>
                <a:spcPts val="0"/>
              </a:spcAft>
              <a:buClr>
                <a:schemeClr val="dk1"/>
              </a:buClr>
              <a:buSzPts val="1400"/>
              <a:buChar char="•"/>
              <a:defRPr/>
            </a:lvl7pPr>
            <a:lvl8pPr marL="4876678" lvl="7" indent="-423323" algn="l">
              <a:lnSpc>
                <a:spcPct val="90000"/>
              </a:lnSpc>
              <a:spcBef>
                <a:spcPts val="533"/>
              </a:spcBef>
              <a:spcAft>
                <a:spcPts val="0"/>
              </a:spcAft>
              <a:buClr>
                <a:schemeClr val="dk1"/>
              </a:buClr>
              <a:buSzPts val="1400"/>
              <a:buChar char="•"/>
              <a:defRPr/>
            </a:lvl8pPr>
            <a:lvl9pPr marL="5486263" lvl="8" indent="-423323" algn="l">
              <a:lnSpc>
                <a:spcPct val="90000"/>
              </a:lnSpc>
              <a:spcBef>
                <a:spcPts val="533"/>
              </a:spcBef>
              <a:spcAft>
                <a:spcPts val="0"/>
              </a:spcAft>
              <a:buClr>
                <a:schemeClr val="dk1"/>
              </a:buClr>
              <a:buSzPts val="1400"/>
              <a:buChar char="•"/>
              <a:defRPr/>
            </a:lvl9pPr>
          </a:lstStyle>
          <a:p>
            <a:endParaRPr/>
          </a:p>
        </p:txBody>
      </p:sp>
      <p:sp>
        <p:nvSpPr>
          <p:cNvPr id="389" name="Google Shape;389;p67"/>
          <p:cNvSpPr txBox="1">
            <a:spLocks noGrp="1"/>
          </p:cNvSpPr>
          <p:nvPr>
            <p:ph type="body" idx="3"/>
          </p:nvPr>
        </p:nvSpPr>
        <p:spPr>
          <a:xfrm>
            <a:off x="6172201" y="1681163"/>
            <a:ext cx="5183188" cy="823912"/>
          </a:xfrm>
          <a:prstGeom prst="rect">
            <a:avLst/>
          </a:prstGeom>
          <a:noFill/>
          <a:ln>
            <a:noFill/>
          </a:ln>
        </p:spPr>
        <p:txBody>
          <a:bodyPr spcFirstLastPara="1" wrap="square" lIns="68575" tIns="34275" rIns="68575" bIns="34275" anchor="b" anchorCtr="0">
            <a:normAutofit/>
          </a:bodyPr>
          <a:lstStyle>
            <a:lvl1pPr marL="609585" lvl="0" indent="-304792" algn="l">
              <a:lnSpc>
                <a:spcPct val="90000"/>
              </a:lnSpc>
              <a:spcBef>
                <a:spcPts val="1067"/>
              </a:spcBef>
              <a:spcAft>
                <a:spcPts val="0"/>
              </a:spcAft>
              <a:buClr>
                <a:schemeClr val="dk1"/>
              </a:buClr>
              <a:buSzPts val="1800"/>
              <a:buNone/>
              <a:defRPr sz="2400" b="1"/>
            </a:lvl1pPr>
            <a:lvl2pPr marL="1219170" lvl="1" indent="-304792" algn="l">
              <a:lnSpc>
                <a:spcPct val="90000"/>
              </a:lnSpc>
              <a:spcBef>
                <a:spcPts val="533"/>
              </a:spcBef>
              <a:spcAft>
                <a:spcPts val="0"/>
              </a:spcAft>
              <a:buClr>
                <a:schemeClr val="dk1"/>
              </a:buClr>
              <a:buSzPts val="1500"/>
              <a:buNone/>
              <a:defRPr sz="2000" b="1"/>
            </a:lvl2pPr>
            <a:lvl3pPr marL="1828754" lvl="2" indent="-304792" algn="l">
              <a:lnSpc>
                <a:spcPct val="90000"/>
              </a:lnSpc>
              <a:spcBef>
                <a:spcPts val="533"/>
              </a:spcBef>
              <a:spcAft>
                <a:spcPts val="0"/>
              </a:spcAft>
              <a:buClr>
                <a:schemeClr val="dk1"/>
              </a:buClr>
              <a:buSzPts val="1400"/>
              <a:buNone/>
              <a:defRPr sz="1867" b="1"/>
            </a:lvl3pPr>
            <a:lvl4pPr marL="2438339" lvl="3" indent="-304792" algn="l">
              <a:lnSpc>
                <a:spcPct val="90000"/>
              </a:lnSpc>
              <a:spcBef>
                <a:spcPts val="533"/>
              </a:spcBef>
              <a:spcAft>
                <a:spcPts val="0"/>
              </a:spcAft>
              <a:buClr>
                <a:schemeClr val="dk1"/>
              </a:buClr>
              <a:buSzPts val="1200"/>
              <a:buNone/>
              <a:defRPr sz="1600" b="1"/>
            </a:lvl4pPr>
            <a:lvl5pPr marL="3047924" lvl="4" indent="-304792" algn="l">
              <a:lnSpc>
                <a:spcPct val="90000"/>
              </a:lnSpc>
              <a:spcBef>
                <a:spcPts val="533"/>
              </a:spcBef>
              <a:spcAft>
                <a:spcPts val="0"/>
              </a:spcAft>
              <a:buClr>
                <a:schemeClr val="dk1"/>
              </a:buClr>
              <a:buSzPts val="1200"/>
              <a:buNone/>
              <a:defRPr sz="1600" b="1"/>
            </a:lvl5pPr>
            <a:lvl6pPr marL="3657509" lvl="5" indent="-304792" algn="l">
              <a:lnSpc>
                <a:spcPct val="90000"/>
              </a:lnSpc>
              <a:spcBef>
                <a:spcPts val="533"/>
              </a:spcBef>
              <a:spcAft>
                <a:spcPts val="0"/>
              </a:spcAft>
              <a:buClr>
                <a:schemeClr val="dk1"/>
              </a:buClr>
              <a:buSzPts val="1200"/>
              <a:buNone/>
              <a:defRPr sz="1600" b="1"/>
            </a:lvl6pPr>
            <a:lvl7pPr marL="4267093" lvl="6" indent="-304792" algn="l">
              <a:lnSpc>
                <a:spcPct val="90000"/>
              </a:lnSpc>
              <a:spcBef>
                <a:spcPts val="533"/>
              </a:spcBef>
              <a:spcAft>
                <a:spcPts val="0"/>
              </a:spcAft>
              <a:buClr>
                <a:schemeClr val="dk1"/>
              </a:buClr>
              <a:buSzPts val="1200"/>
              <a:buNone/>
              <a:defRPr sz="1600" b="1"/>
            </a:lvl7pPr>
            <a:lvl8pPr marL="4876678" lvl="7" indent="-304792" algn="l">
              <a:lnSpc>
                <a:spcPct val="90000"/>
              </a:lnSpc>
              <a:spcBef>
                <a:spcPts val="533"/>
              </a:spcBef>
              <a:spcAft>
                <a:spcPts val="0"/>
              </a:spcAft>
              <a:buClr>
                <a:schemeClr val="dk1"/>
              </a:buClr>
              <a:buSzPts val="1200"/>
              <a:buNone/>
              <a:defRPr sz="1600" b="1"/>
            </a:lvl8pPr>
            <a:lvl9pPr marL="5486263" lvl="8" indent="-304792" algn="l">
              <a:lnSpc>
                <a:spcPct val="90000"/>
              </a:lnSpc>
              <a:spcBef>
                <a:spcPts val="533"/>
              </a:spcBef>
              <a:spcAft>
                <a:spcPts val="0"/>
              </a:spcAft>
              <a:buClr>
                <a:schemeClr val="dk1"/>
              </a:buClr>
              <a:buSzPts val="1200"/>
              <a:buNone/>
              <a:defRPr sz="1600" b="1"/>
            </a:lvl9pPr>
          </a:lstStyle>
          <a:p>
            <a:endParaRPr/>
          </a:p>
        </p:txBody>
      </p:sp>
      <p:sp>
        <p:nvSpPr>
          <p:cNvPr id="390" name="Google Shape;390;p67"/>
          <p:cNvSpPr txBox="1">
            <a:spLocks noGrp="1"/>
          </p:cNvSpPr>
          <p:nvPr>
            <p:ph type="body" idx="4"/>
          </p:nvPr>
        </p:nvSpPr>
        <p:spPr>
          <a:xfrm>
            <a:off x="6172201" y="2505075"/>
            <a:ext cx="5183188" cy="3684588"/>
          </a:xfrm>
          <a:prstGeom prst="rect">
            <a:avLst/>
          </a:prstGeom>
          <a:noFill/>
          <a:ln>
            <a:noFill/>
          </a:ln>
        </p:spPr>
        <p:txBody>
          <a:bodyPr spcFirstLastPara="1" wrap="square" lIns="68575" tIns="34275" rIns="68575" bIns="34275" anchor="t" anchorCtr="0">
            <a:normAutofit/>
          </a:bodyPr>
          <a:lstStyle>
            <a:lvl1pPr marL="609585" lvl="0" indent="-423323" algn="l">
              <a:lnSpc>
                <a:spcPct val="90000"/>
              </a:lnSpc>
              <a:spcBef>
                <a:spcPts val="1067"/>
              </a:spcBef>
              <a:spcAft>
                <a:spcPts val="0"/>
              </a:spcAft>
              <a:buClr>
                <a:schemeClr val="dk1"/>
              </a:buClr>
              <a:buSzPts val="1400"/>
              <a:buChar char="•"/>
              <a:defRPr/>
            </a:lvl1pPr>
            <a:lvl2pPr marL="1219170" lvl="1" indent="-423323" algn="l">
              <a:lnSpc>
                <a:spcPct val="90000"/>
              </a:lnSpc>
              <a:spcBef>
                <a:spcPts val="533"/>
              </a:spcBef>
              <a:spcAft>
                <a:spcPts val="0"/>
              </a:spcAft>
              <a:buClr>
                <a:schemeClr val="dk1"/>
              </a:buClr>
              <a:buSzPts val="1400"/>
              <a:buChar char="•"/>
              <a:defRPr/>
            </a:lvl2pPr>
            <a:lvl3pPr marL="1828754" lvl="2" indent="-423323" algn="l">
              <a:lnSpc>
                <a:spcPct val="90000"/>
              </a:lnSpc>
              <a:spcBef>
                <a:spcPts val="533"/>
              </a:spcBef>
              <a:spcAft>
                <a:spcPts val="0"/>
              </a:spcAft>
              <a:buClr>
                <a:schemeClr val="dk1"/>
              </a:buClr>
              <a:buSzPts val="1400"/>
              <a:buChar char="•"/>
              <a:defRPr/>
            </a:lvl3pPr>
            <a:lvl4pPr marL="2438339" lvl="3" indent="-423323" algn="l">
              <a:lnSpc>
                <a:spcPct val="90000"/>
              </a:lnSpc>
              <a:spcBef>
                <a:spcPts val="533"/>
              </a:spcBef>
              <a:spcAft>
                <a:spcPts val="0"/>
              </a:spcAft>
              <a:buClr>
                <a:schemeClr val="dk1"/>
              </a:buClr>
              <a:buSzPts val="1400"/>
              <a:buChar char="•"/>
              <a:defRPr/>
            </a:lvl4pPr>
            <a:lvl5pPr marL="3047924" lvl="4" indent="-423323" algn="l">
              <a:lnSpc>
                <a:spcPct val="90000"/>
              </a:lnSpc>
              <a:spcBef>
                <a:spcPts val="533"/>
              </a:spcBef>
              <a:spcAft>
                <a:spcPts val="0"/>
              </a:spcAft>
              <a:buClr>
                <a:schemeClr val="dk1"/>
              </a:buClr>
              <a:buSzPts val="1400"/>
              <a:buChar char="•"/>
              <a:defRPr/>
            </a:lvl5pPr>
            <a:lvl6pPr marL="3657509" lvl="5" indent="-423323" algn="l">
              <a:lnSpc>
                <a:spcPct val="90000"/>
              </a:lnSpc>
              <a:spcBef>
                <a:spcPts val="533"/>
              </a:spcBef>
              <a:spcAft>
                <a:spcPts val="0"/>
              </a:spcAft>
              <a:buClr>
                <a:schemeClr val="dk1"/>
              </a:buClr>
              <a:buSzPts val="1400"/>
              <a:buChar char="•"/>
              <a:defRPr/>
            </a:lvl6pPr>
            <a:lvl7pPr marL="4267093" lvl="6" indent="-423323" algn="l">
              <a:lnSpc>
                <a:spcPct val="90000"/>
              </a:lnSpc>
              <a:spcBef>
                <a:spcPts val="533"/>
              </a:spcBef>
              <a:spcAft>
                <a:spcPts val="0"/>
              </a:spcAft>
              <a:buClr>
                <a:schemeClr val="dk1"/>
              </a:buClr>
              <a:buSzPts val="1400"/>
              <a:buChar char="•"/>
              <a:defRPr/>
            </a:lvl7pPr>
            <a:lvl8pPr marL="4876678" lvl="7" indent="-423323" algn="l">
              <a:lnSpc>
                <a:spcPct val="90000"/>
              </a:lnSpc>
              <a:spcBef>
                <a:spcPts val="533"/>
              </a:spcBef>
              <a:spcAft>
                <a:spcPts val="0"/>
              </a:spcAft>
              <a:buClr>
                <a:schemeClr val="dk1"/>
              </a:buClr>
              <a:buSzPts val="1400"/>
              <a:buChar char="•"/>
              <a:defRPr/>
            </a:lvl8pPr>
            <a:lvl9pPr marL="5486263" lvl="8" indent="-423323" algn="l">
              <a:lnSpc>
                <a:spcPct val="90000"/>
              </a:lnSpc>
              <a:spcBef>
                <a:spcPts val="533"/>
              </a:spcBef>
              <a:spcAft>
                <a:spcPts val="0"/>
              </a:spcAft>
              <a:buClr>
                <a:schemeClr val="dk1"/>
              </a:buClr>
              <a:buSzPts val="1400"/>
              <a:buChar char="•"/>
              <a:defRPr/>
            </a:lvl9pPr>
          </a:lstStyle>
          <a:p>
            <a:endParaRPr/>
          </a:p>
        </p:txBody>
      </p:sp>
      <p:sp>
        <p:nvSpPr>
          <p:cNvPr id="391" name="Google Shape;391;p67"/>
          <p:cNvSpPr txBox="1">
            <a:spLocks noGrp="1"/>
          </p:cNvSpPr>
          <p:nvPr>
            <p:ph type="dt" idx="10"/>
          </p:nvPr>
        </p:nvSpPr>
        <p:spPr>
          <a:xfrm>
            <a:off x="838200" y="6356351"/>
            <a:ext cx="2743200" cy="365125"/>
          </a:xfrm>
          <a:prstGeom prst="rect">
            <a:avLst/>
          </a:prstGeom>
          <a:noFill/>
          <a:ln>
            <a:noFill/>
          </a:ln>
        </p:spPr>
        <p:txBody>
          <a:bodyPr spcFirstLastPara="1" wrap="square" lIns="68575" tIns="34275" rIns="68575" bIns="34275" anchor="ctr" anchorCtr="0">
            <a:noAutofit/>
          </a:bodyPr>
          <a:lstStyle>
            <a:lvl1pPr lvl="0" algn="l">
              <a:spcBef>
                <a:spcPts val="0"/>
              </a:spcBef>
              <a:spcAft>
                <a:spcPts val="0"/>
              </a:spcAft>
              <a:buSzPts val="1100"/>
              <a:buNone/>
              <a:defRPr/>
            </a:lvl1pPr>
            <a:lvl2pPr lvl="1" algn="l">
              <a:spcBef>
                <a:spcPts val="0"/>
              </a:spcBef>
              <a:spcAft>
                <a:spcPts val="0"/>
              </a:spcAft>
              <a:buSzPts val="1100"/>
              <a:buNone/>
              <a:defRPr/>
            </a:lvl2pPr>
            <a:lvl3pPr lvl="2" algn="l">
              <a:spcBef>
                <a:spcPts val="0"/>
              </a:spcBef>
              <a:spcAft>
                <a:spcPts val="0"/>
              </a:spcAft>
              <a:buSzPts val="1100"/>
              <a:buNone/>
              <a:defRPr/>
            </a:lvl3pPr>
            <a:lvl4pPr lvl="3" algn="l">
              <a:spcBef>
                <a:spcPts val="0"/>
              </a:spcBef>
              <a:spcAft>
                <a:spcPts val="0"/>
              </a:spcAft>
              <a:buSzPts val="1100"/>
              <a:buNone/>
              <a:defRPr/>
            </a:lvl4pPr>
            <a:lvl5pPr lvl="4" algn="l">
              <a:spcBef>
                <a:spcPts val="0"/>
              </a:spcBef>
              <a:spcAft>
                <a:spcPts val="0"/>
              </a:spcAft>
              <a:buSzPts val="1100"/>
              <a:buNone/>
              <a:defRPr/>
            </a:lvl5pPr>
            <a:lvl6pPr lvl="5" algn="l">
              <a:spcBef>
                <a:spcPts val="0"/>
              </a:spcBef>
              <a:spcAft>
                <a:spcPts val="0"/>
              </a:spcAft>
              <a:buSzPts val="1100"/>
              <a:buNone/>
              <a:defRPr/>
            </a:lvl6pPr>
            <a:lvl7pPr lvl="6" algn="l">
              <a:spcBef>
                <a:spcPts val="0"/>
              </a:spcBef>
              <a:spcAft>
                <a:spcPts val="0"/>
              </a:spcAft>
              <a:buSzPts val="1100"/>
              <a:buNone/>
              <a:defRPr/>
            </a:lvl7pPr>
            <a:lvl8pPr lvl="7" algn="l">
              <a:spcBef>
                <a:spcPts val="0"/>
              </a:spcBef>
              <a:spcAft>
                <a:spcPts val="0"/>
              </a:spcAft>
              <a:buSzPts val="1100"/>
              <a:buNone/>
              <a:defRPr/>
            </a:lvl8pPr>
            <a:lvl9pPr lvl="8" algn="l">
              <a:spcBef>
                <a:spcPts val="0"/>
              </a:spcBef>
              <a:spcAft>
                <a:spcPts val="0"/>
              </a:spcAft>
              <a:buSzPts val="1100"/>
              <a:buNone/>
              <a:defRPr/>
            </a:lvl9pPr>
          </a:lstStyle>
          <a:p>
            <a:endParaRPr/>
          </a:p>
        </p:txBody>
      </p:sp>
      <p:sp>
        <p:nvSpPr>
          <p:cNvPr id="392" name="Google Shape;392;p67"/>
          <p:cNvSpPr txBox="1">
            <a:spLocks noGrp="1"/>
          </p:cNvSpPr>
          <p:nvPr>
            <p:ph type="ftr" idx="11"/>
          </p:nvPr>
        </p:nvSpPr>
        <p:spPr>
          <a:xfrm>
            <a:off x="4038600" y="6356351"/>
            <a:ext cx="4114800" cy="365125"/>
          </a:xfrm>
          <a:prstGeom prst="rect">
            <a:avLst/>
          </a:prstGeom>
          <a:noFill/>
          <a:ln>
            <a:noFill/>
          </a:ln>
        </p:spPr>
        <p:txBody>
          <a:bodyPr spcFirstLastPara="1" wrap="square" lIns="68575" tIns="34275" rIns="68575" bIns="34275" anchor="ctr" anchorCtr="0">
            <a:noAutofit/>
          </a:bodyPr>
          <a:lstStyle>
            <a:lvl1pPr lvl="0" algn="ctr">
              <a:spcBef>
                <a:spcPts val="0"/>
              </a:spcBef>
              <a:spcAft>
                <a:spcPts val="0"/>
              </a:spcAft>
              <a:buSzPts val="1100"/>
              <a:buNone/>
              <a:defRPr/>
            </a:lvl1pPr>
            <a:lvl2pPr lvl="1" algn="l">
              <a:spcBef>
                <a:spcPts val="0"/>
              </a:spcBef>
              <a:spcAft>
                <a:spcPts val="0"/>
              </a:spcAft>
              <a:buSzPts val="1100"/>
              <a:buNone/>
              <a:defRPr/>
            </a:lvl2pPr>
            <a:lvl3pPr lvl="2" algn="l">
              <a:spcBef>
                <a:spcPts val="0"/>
              </a:spcBef>
              <a:spcAft>
                <a:spcPts val="0"/>
              </a:spcAft>
              <a:buSzPts val="1100"/>
              <a:buNone/>
              <a:defRPr/>
            </a:lvl3pPr>
            <a:lvl4pPr lvl="3" algn="l">
              <a:spcBef>
                <a:spcPts val="0"/>
              </a:spcBef>
              <a:spcAft>
                <a:spcPts val="0"/>
              </a:spcAft>
              <a:buSzPts val="1100"/>
              <a:buNone/>
              <a:defRPr/>
            </a:lvl4pPr>
            <a:lvl5pPr lvl="4" algn="l">
              <a:spcBef>
                <a:spcPts val="0"/>
              </a:spcBef>
              <a:spcAft>
                <a:spcPts val="0"/>
              </a:spcAft>
              <a:buSzPts val="1100"/>
              <a:buNone/>
              <a:defRPr/>
            </a:lvl5pPr>
            <a:lvl6pPr lvl="5" algn="l">
              <a:spcBef>
                <a:spcPts val="0"/>
              </a:spcBef>
              <a:spcAft>
                <a:spcPts val="0"/>
              </a:spcAft>
              <a:buSzPts val="1100"/>
              <a:buNone/>
              <a:defRPr/>
            </a:lvl6pPr>
            <a:lvl7pPr lvl="6" algn="l">
              <a:spcBef>
                <a:spcPts val="0"/>
              </a:spcBef>
              <a:spcAft>
                <a:spcPts val="0"/>
              </a:spcAft>
              <a:buSzPts val="1100"/>
              <a:buNone/>
              <a:defRPr/>
            </a:lvl7pPr>
            <a:lvl8pPr lvl="7" algn="l">
              <a:spcBef>
                <a:spcPts val="0"/>
              </a:spcBef>
              <a:spcAft>
                <a:spcPts val="0"/>
              </a:spcAft>
              <a:buSzPts val="1100"/>
              <a:buNone/>
              <a:defRPr/>
            </a:lvl8pPr>
            <a:lvl9pPr lvl="8" algn="l">
              <a:spcBef>
                <a:spcPts val="0"/>
              </a:spcBef>
              <a:spcAft>
                <a:spcPts val="0"/>
              </a:spcAft>
              <a:buSzPts val="1100"/>
              <a:buNone/>
              <a:defRPr/>
            </a:lvl9pPr>
          </a:lstStyle>
          <a:p>
            <a:endParaRPr/>
          </a:p>
        </p:txBody>
      </p:sp>
      <p:sp>
        <p:nvSpPr>
          <p:cNvPr id="393" name="Google Shape;393;p67"/>
          <p:cNvSpPr txBox="1">
            <a:spLocks noGrp="1"/>
          </p:cNvSpPr>
          <p:nvPr>
            <p:ph type="sldNum" idx="12"/>
          </p:nvPr>
        </p:nvSpPr>
        <p:spPr>
          <a:xfrm>
            <a:off x="8610600" y="6356351"/>
            <a:ext cx="2743200" cy="365125"/>
          </a:xfrm>
          <a:prstGeom prst="rect">
            <a:avLst/>
          </a:prstGeom>
          <a:noFill/>
          <a:ln>
            <a:noFill/>
          </a:ln>
        </p:spPr>
        <p:txBody>
          <a:bodyPr spcFirstLastPara="1" wrap="square" lIns="68575" tIns="34275" rIns="68575" bIns="34275"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103334346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matchingName="Title Only" type="titleOnly">
  <p:cSld name="Title Only">
    <p:spTree>
      <p:nvGrpSpPr>
        <p:cNvPr id="1" name="Shape 394"/>
        <p:cNvGrpSpPr/>
        <p:nvPr/>
      </p:nvGrpSpPr>
      <p:grpSpPr>
        <a:xfrm>
          <a:off x="0" y="0"/>
          <a:ext cx="0" cy="0"/>
          <a:chOff x="0" y="0"/>
          <a:chExt cx="0" cy="0"/>
        </a:xfrm>
      </p:grpSpPr>
      <p:sp>
        <p:nvSpPr>
          <p:cNvPr id="395" name="Google Shape;395;p68"/>
          <p:cNvSpPr txBox="1">
            <a:spLocks noGrp="1"/>
          </p:cNvSpPr>
          <p:nvPr>
            <p:ph type="title"/>
          </p:nvPr>
        </p:nvSpPr>
        <p:spPr>
          <a:xfrm>
            <a:off x="838200" y="365125"/>
            <a:ext cx="10515600" cy="1325563"/>
          </a:xfrm>
          <a:prstGeom prst="rect">
            <a:avLst/>
          </a:prstGeom>
          <a:noFill/>
          <a:ln>
            <a:noFill/>
          </a:ln>
        </p:spPr>
        <p:txBody>
          <a:bodyPr spcFirstLastPara="1" wrap="square" lIns="68575" tIns="34275" rIns="68575" bIns="34275" anchor="ctr" anchorCtr="0">
            <a:normAutofit/>
          </a:bodyPr>
          <a:lstStyle>
            <a:lvl1pPr lvl="0" algn="l">
              <a:lnSpc>
                <a:spcPct val="90000"/>
              </a:lnSpc>
              <a:spcBef>
                <a:spcPts val="0"/>
              </a:spcBef>
              <a:spcAft>
                <a:spcPts val="0"/>
              </a:spcAft>
              <a:buClr>
                <a:schemeClr val="dk1"/>
              </a:buClr>
              <a:buSzPts val="1400"/>
              <a:buNone/>
              <a:defRPr/>
            </a:lvl1pPr>
            <a:lvl2pPr lvl="1">
              <a:spcBef>
                <a:spcPts val="0"/>
              </a:spcBef>
              <a:spcAft>
                <a:spcPts val="0"/>
              </a:spcAft>
              <a:buSzPts val="1100"/>
              <a:buNone/>
              <a:defRPr/>
            </a:lvl2pPr>
            <a:lvl3pPr lvl="2">
              <a:spcBef>
                <a:spcPts val="0"/>
              </a:spcBef>
              <a:spcAft>
                <a:spcPts val="0"/>
              </a:spcAft>
              <a:buSzPts val="1100"/>
              <a:buNone/>
              <a:defRPr/>
            </a:lvl3pPr>
            <a:lvl4pPr lvl="3">
              <a:spcBef>
                <a:spcPts val="0"/>
              </a:spcBef>
              <a:spcAft>
                <a:spcPts val="0"/>
              </a:spcAft>
              <a:buSzPts val="1100"/>
              <a:buNone/>
              <a:defRPr/>
            </a:lvl4pPr>
            <a:lvl5pPr lvl="4">
              <a:spcBef>
                <a:spcPts val="0"/>
              </a:spcBef>
              <a:spcAft>
                <a:spcPts val="0"/>
              </a:spcAft>
              <a:buSzPts val="1100"/>
              <a:buNone/>
              <a:defRPr/>
            </a:lvl5pPr>
            <a:lvl6pPr lvl="5">
              <a:spcBef>
                <a:spcPts val="0"/>
              </a:spcBef>
              <a:spcAft>
                <a:spcPts val="0"/>
              </a:spcAft>
              <a:buSzPts val="1100"/>
              <a:buNone/>
              <a:defRPr/>
            </a:lvl6pPr>
            <a:lvl7pPr lvl="6">
              <a:spcBef>
                <a:spcPts val="0"/>
              </a:spcBef>
              <a:spcAft>
                <a:spcPts val="0"/>
              </a:spcAft>
              <a:buSzPts val="1100"/>
              <a:buNone/>
              <a:defRPr/>
            </a:lvl7pPr>
            <a:lvl8pPr lvl="7">
              <a:spcBef>
                <a:spcPts val="0"/>
              </a:spcBef>
              <a:spcAft>
                <a:spcPts val="0"/>
              </a:spcAft>
              <a:buSzPts val="1100"/>
              <a:buNone/>
              <a:defRPr/>
            </a:lvl8pPr>
            <a:lvl9pPr lvl="8">
              <a:spcBef>
                <a:spcPts val="0"/>
              </a:spcBef>
              <a:spcAft>
                <a:spcPts val="0"/>
              </a:spcAft>
              <a:buSzPts val="1100"/>
              <a:buNone/>
              <a:defRPr/>
            </a:lvl9pPr>
          </a:lstStyle>
          <a:p>
            <a:endParaRPr/>
          </a:p>
        </p:txBody>
      </p:sp>
      <p:sp>
        <p:nvSpPr>
          <p:cNvPr id="396" name="Google Shape;396;p68"/>
          <p:cNvSpPr txBox="1">
            <a:spLocks noGrp="1"/>
          </p:cNvSpPr>
          <p:nvPr>
            <p:ph type="dt" idx="10"/>
          </p:nvPr>
        </p:nvSpPr>
        <p:spPr>
          <a:xfrm>
            <a:off x="838200" y="6356351"/>
            <a:ext cx="2743200" cy="365125"/>
          </a:xfrm>
          <a:prstGeom prst="rect">
            <a:avLst/>
          </a:prstGeom>
          <a:noFill/>
          <a:ln>
            <a:noFill/>
          </a:ln>
        </p:spPr>
        <p:txBody>
          <a:bodyPr spcFirstLastPara="1" wrap="square" lIns="68575" tIns="34275" rIns="68575" bIns="34275" anchor="ctr" anchorCtr="0">
            <a:noAutofit/>
          </a:bodyPr>
          <a:lstStyle>
            <a:lvl1pPr lvl="0" algn="l">
              <a:spcBef>
                <a:spcPts val="0"/>
              </a:spcBef>
              <a:spcAft>
                <a:spcPts val="0"/>
              </a:spcAft>
              <a:buSzPts val="1100"/>
              <a:buNone/>
              <a:defRPr/>
            </a:lvl1pPr>
            <a:lvl2pPr lvl="1" algn="l">
              <a:spcBef>
                <a:spcPts val="0"/>
              </a:spcBef>
              <a:spcAft>
                <a:spcPts val="0"/>
              </a:spcAft>
              <a:buSzPts val="1100"/>
              <a:buNone/>
              <a:defRPr/>
            </a:lvl2pPr>
            <a:lvl3pPr lvl="2" algn="l">
              <a:spcBef>
                <a:spcPts val="0"/>
              </a:spcBef>
              <a:spcAft>
                <a:spcPts val="0"/>
              </a:spcAft>
              <a:buSzPts val="1100"/>
              <a:buNone/>
              <a:defRPr/>
            </a:lvl3pPr>
            <a:lvl4pPr lvl="3" algn="l">
              <a:spcBef>
                <a:spcPts val="0"/>
              </a:spcBef>
              <a:spcAft>
                <a:spcPts val="0"/>
              </a:spcAft>
              <a:buSzPts val="1100"/>
              <a:buNone/>
              <a:defRPr/>
            </a:lvl4pPr>
            <a:lvl5pPr lvl="4" algn="l">
              <a:spcBef>
                <a:spcPts val="0"/>
              </a:spcBef>
              <a:spcAft>
                <a:spcPts val="0"/>
              </a:spcAft>
              <a:buSzPts val="1100"/>
              <a:buNone/>
              <a:defRPr/>
            </a:lvl5pPr>
            <a:lvl6pPr lvl="5" algn="l">
              <a:spcBef>
                <a:spcPts val="0"/>
              </a:spcBef>
              <a:spcAft>
                <a:spcPts val="0"/>
              </a:spcAft>
              <a:buSzPts val="1100"/>
              <a:buNone/>
              <a:defRPr/>
            </a:lvl6pPr>
            <a:lvl7pPr lvl="6" algn="l">
              <a:spcBef>
                <a:spcPts val="0"/>
              </a:spcBef>
              <a:spcAft>
                <a:spcPts val="0"/>
              </a:spcAft>
              <a:buSzPts val="1100"/>
              <a:buNone/>
              <a:defRPr/>
            </a:lvl7pPr>
            <a:lvl8pPr lvl="7" algn="l">
              <a:spcBef>
                <a:spcPts val="0"/>
              </a:spcBef>
              <a:spcAft>
                <a:spcPts val="0"/>
              </a:spcAft>
              <a:buSzPts val="1100"/>
              <a:buNone/>
              <a:defRPr/>
            </a:lvl8pPr>
            <a:lvl9pPr lvl="8" algn="l">
              <a:spcBef>
                <a:spcPts val="0"/>
              </a:spcBef>
              <a:spcAft>
                <a:spcPts val="0"/>
              </a:spcAft>
              <a:buSzPts val="1100"/>
              <a:buNone/>
              <a:defRPr/>
            </a:lvl9pPr>
          </a:lstStyle>
          <a:p>
            <a:endParaRPr/>
          </a:p>
        </p:txBody>
      </p:sp>
      <p:sp>
        <p:nvSpPr>
          <p:cNvPr id="397" name="Google Shape;397;p68"/>
          <p:cNvSpPr txBox="1">
            <a:spLocks noGrp="1"/>
          </p:cNvSpPr>
          <p:nvPr>
            <p:ph type="ftr" idx="11"/>
          </p:nvPr>
        </p:nvSpPr>
        <p:spPr>
          <a:xfrm>
            <a:off x="4038600" y="6356351"/>
            <a:ext cx="4114800" cy="365125"/>
          </a:xfrm>
          <a:prstGeom prst="rect">
            <a:avLst/>
          </a:prstGeom>
          <a:noFill/>
          <a:ln>
            <a:noFill/>
          </a:ln>
        </p:spPr>
        <p:txBody>
          <a:bodyPr spcFirstLastPara="1" wrap="square" lIns="68575" tIns="34275" rIns="68575" bIns="34275" anchor="ctr" anchorCtr="0">
            <a:noAutofit/>
          </a:bodyPr>
          <a:lstStyle>
            <a:lvl1pPr lvl="0" algn="ctr">
              <a:spcBef>
                <a:spcPts val="0"/>
              </a:spcBef>
              <a:spcAft>
                <a:spcPts val="0"/>
              </a:spcAft>
              <a:buSzPts val="1100"/>
              <a:buNone/>
              <a:defRPr/>
            </a:lvl1pPr>
            <a:lvl2pPr lvl="1" algn="l">
              <a:spcBef>
                <a:spcPts val="0"/>
              </a:spcBef>
              <a:spcAft>
                <a:spcPts val="0"/>
              </a:spcAft>
              <a:buSzPts val="1100"/>
              <a:buNone/>
              <a:defRPr/>
            </a:lvl2pPr>
            <a:lvl3pPr lvl="2" algn="l">
              <a:spcBef>
                <a:spcPts val="0"/>
              </a:spcBef>
              <a:spcAft>
                <a:spcPts val="0"/>
              </a:spcAft>
              <a:buSzPts val="1100"/>
              <a:buNone/>
              <a:defRPr/>
            </a:lvl3pPr>
            <a:lvl4pPr lvl="3" algn="l">
              <a:spcBef>
                <a:spcPts val="0"/>
              </a:spcBef>
              <a:spcAft>
                <a:spcPts val="0"/>
              </a:spcAft>
              <a:buSzPts val="1100"/>
              <a:buNone/>
              <a:defRPr/>
            </a:lvl4pPr>
            <a:lvl5pPr lvl="4" algn="l">
              <a:spcBef>
                <a:spcPts val="0"/>
              </a:spcBef>
              <a:spcAft>
                <a:spcPts val="0"/>
              </a:spcAft>
              <a:buSzPts val="1100"/>
              <a:buNone/>
              <a:defRPr/>
            </a:lvl5pPr>
            <a:lvl6pPr lvl="5" algn="l">
              <a:spcBef>
                <a:spcPts val="0"/>
              </a:spcBef>
              <a:spcAft>
                <a:spcPts val="0"/>
              </a:spcAft>
              <a:buSzPts val="1100"/>
              <a:buNone/>
              <a:defRPr/>
            </a:lvl6pPr>
            <a:lvl7pPr lvl="6" algn="l">
              <a:spcBef>
                <a:spcPts val="0"/>
              </a:spcBef>
              <a:spcAft>
                <a:spcPts val="0"/>
              </a:spcAft>
              <a:buSzPts val="1100"/>
              <a:buNone/>
              <a:defRPr/>
            </a:lvl7pPr>
            <a:lvl8pPr lvl="7" algn="l">
              <a:spcBef>
                <a:spcPts val="0"/>
              </a:spcBef>
              <a:spcAft>
                <a:spcPts val="0"/>
              </a:spcAft>
              <a:buSzPts val="1100"/>
              <a:buNone/>
              <a:defRPr/>
            </a:lvl8pPr>
            <a:lvl9pPr lvl="8" algn="l">
              <a:spcBef>
                <a:spcPts val="0"/>
              </a:spcBef>
              <a:spcAft>
                <a:spcPts val="0"/>
              </a:spcAft>
              <a:buSzPts val="1100"/>
              <a:buNone/>
              <a:defRPr/>
            </a:lvl9pPr>
          </a:lstStyle>
          <a:p>
            <a:endParaRPr/>
          </a:p>
        </p:txBody>
      </p:sp>
      <p:sp>
        <p:nvSpPr>
          <p:cNvPr id="398" name="Google Shape;398;p68"/>
          <p:cNvSpPr txBox="1">
            <a:spLocks noGrp="1"/>
          </p:cNvSpPr>
          <p:nvPr>
            <p:ph type="sldNum" idx="12"/>
          </p:nvPr>
        </p:nvSpPr>
        <p:spPr>
          <a:xfrm>
            <a:off x="8610600" y="6356351"/>
            <a:ext cx="2743200" cy="365125"/>
          </a:xfrm>
          <a:prstGeom prst="rect">
            <a:avLst/>
          </a:prstGeom>
          <a:noFill/>
          <a:ln>
            <a:noFill/>
          </a:ln>
        </p:spPr>
        <p:txBody>
          <a:bodyPr spcFirstLastPara="1" wrap="square" lIns="68575" tIns="34275" rIns="68575" bIns="34275"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2193063537"/>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matchingName="Content with Caption" type="objTx">
  <p:cSld name="Content with Caption">
    <p:spTree>
      <p:nvGrpSpPr>
        <p:cNvPr id="1" name="Shape 399"/>
        <p:cNvGrpSpPr/>
        <p:nvPr/>
      </p:nvGrpSpPr>
      <p:grpSpPr>
        <a:xfrm>
          <a:off x="0" y="0"/>
          <a:ext cx="0" cy="0"/>
          <a:chOff x="0" y="0"/>
          <a:chExt cx="0" cy="0"/>
        </a:xfrm>
      </p:grpSpPr>
      <p:sp>
        <p:nvSpPr>
          <p:cNvPr id="400" name="Google Shape;400;p69"/>
          <p:cNvSpPr txBox="1">
            <a:spLocks noGrp="1"/>
          </p:cNvSpPr>
          <p:nvPr>
            <p:ph type="title"/>
          </p:nvPr>
        </p:nvSpPr>
        <p:spPr>
          <a:xfrm>
            <a:off x="839788" y="457200"/>
            <a:ext cx="3932237" cy="1600200"/>
          </a:xfrm>
          <a:prstGeom prst="rect">
            <a:avLst/>
          </a:prstGeom>
          <a:noFill/>
          <a:ln>
            <a:noFill/>
          </a:ln>
        </p:spPr>
        <p:txBody>
          <a:bodyPr spcFirstLastPara="1" wrap="square" lIns="68575" tIns="34275" rIns="68575" bIns="34275" anchor="b" anchorCtr="0">
            <a:normAutofit/>
          </a:bodyPr>
          <a:lstStyle>
            <a:lvl1pPr lvl="0" algn="l">
              <a:lnSpc>
                <a:spcPct val="90000"/>
              </a:lnSpc>
              <a:spcBef>
                <a:spcPts val="0"/>
              </a:spcBef>
              <a:spcAft>
                <a:spcPts val="0"/>
              </a:spcAft>
              <a:buClr>
                <a:schemeClr val="dk1"/>
              </a:buClr>
              <a:buSzPts val="2400"/>
              <a:buFont typeface="Calibri"/>
              <a:buNone/>
              <a:defRPr sz="3200"/>
            </a:lvl1pPr>
            <a:lvl2pPr lvl="1">
              <a:spcBef>
                <a:spcPts val="0"/>
              </a:spcBef>
              <a:spcAft>
                <a:spcPts val="0"/>
              </a:spcAft>
              <a:buSzPts val="1100"/>
              <a:buNone/>
              <a:defRPr/>
            </a:lvl2pPr>
            <a:lvl3pPr lvl="2">
              <a:spcBef>
                <a:spcPts val="0"/>
              </a:spcBef>
              <a:spcAft>
                <a:spcPts val="0"/>
              </a:spcAft>
              <a:buSzPts val="1100"/>
              <a:buNone/>
              <a:defRPr/>
            </a:lvl3pPr>
            <a:lvl4pPr lvl="3">
              <a:spcBef>
                <a:spcPts val="0"/>
              </a:spcBef>
              <a:spcAft>
                <a:spcPts val="0"/>
              </a:spcAft>
              <a:buSzPts val="1100"/>
              <a:buNone/>
              <a:defRPr/>
            </a:lvl4pPr>
            <a:lvl5pPr lvl="4">
              <a:spcBef>
                <a:spcPts val="0"/>
              </a:spcBef>
              <a:spcAft>
                <a:spcPts val="0"/>
              </a:spcAft>
              <a:buSzPts val="1100"/>
              <a:buNone/>
              <a:defRPr/>
            </a:lvl5pPr>
            <a:lvl6pPr lvl="5">
              <a:spcBef>
                <a:spcPts val="0"/>
              </a:spcBef>
              <a:spcAft>
                <a:spcPts val="0"/>
              </a:spcAft>
              <a:buSzPts val="1100"/>
              <a:buNone/>
              <a:defRPr/>
            </a:lvl6pPr>
            <a:lvl7pPr lvl="6">
              <a:spcBef>
                <a:spcPts val="0"/>
              </a:spcBef>
              <a:spcAft>
                <a:spcPts val="0"/>
              </a:spcAft>
              <a:buSzPts val="1100"/>
              <a:buNone/>
              <a:defRPr/>
            </a:lvl7pPr>
            <a:lvl8pPr lvl="7">
              <a:spcBef>
                <a:spcPts val="0"/>
              </a:spcBef>
              <a:spcAft>
                <a:spcPts val="0"/>
              </a:spcAft>
              <a:buSzPts val="1100"/>
              <a:buNone/>
              <a:defRPr/>
            </a:lvl8pPr>
            <a:lvl9pPr lvl="8">
              <a:spcBef>
                <a:spcPts val="0"/>
              </a:spcBef>
              <a:spcAft>
                <a:spcPts val="0"/>
              </a:spcAft>
              <a:buSzPts val="1100"/>
              <a:buNone/>
              <a:defRPr/>
            </a:lvl9pPr>
          </a:lstStyle>
          <a:p>
            <a:endParaRPr/>
          </a:p>
        </p:txBody>
      </p:sp>
      <p:sp>
        <p:nvSpPr>
          <p:cNvPr id="401" name="Google Shape;401;p69"/>
          <p:cNvSpPr txBox="1">
            <a:spLocks noGrp="1"/>
          </p:cNvSpPr>
          <p:nvPr>
            <p:ph type="body" idx="1"/>
          </p:nvPr>
        </p:nvSpPr>
        <p:spPr>
          <a:xfrm>
            <a:off x="5183188" y="987426"/>
            <a:ext cx="6172200" cy="4873625"/>
          </a:xfrm>
          <a:prstGeom prst="rect">
            <a:avLst/>
          </a:prstGeom>
          <a:noFill/>
          <a:ln>
            <a:noFill/>
          </a:ln>
        </p:spPr>
        <p:txBody>
          <a:bodyPr spcFirstLastPara="1" wrap="square" lIns="68575" tIns="34275" rIns="68575" bIns="34275" anchor="t" anchorCtr="0">
            <a:normAutofit/>
          </a:bodyPr>
          <a:lstStyle>
            <a:lvl1pPr marL="609585" lvl="0" indent="-507987" algn="l">
              <a:lnSpc>
                <a:spcPct val="90000"/>
              </a:lnSpc>
              <a:spcBef>
                <a:spcPts val="1067"/>
              </a:spcBef>
              <a:spcAft>
                <a:spcPts val="0"/>
              </a:spcAft>
              <a:buClr>
                <a:schemeClr val="dk1"/>
              </a:buClr>
              <a:buSzPts val="2400"/>
              <a:buChar char="•"/>
              <a:defRPr sz="3200"/>
            </a:lvl1pPr>
            <a:lvl2pPr marL="1219170" lvl="1" indent="-482588" algn="l">
              <a:lnSpc>
                <a:spcPct val="90000"/>
              </a:lnSpc>
              <a:spcBef>
                <a:spcPts val="533"/>
              </a:spcBef>
              <a:spcAft>
                <a:spcPts val="0"/>
              </a:spcAft>
              <a:buClr>
                <a:schemeClr val="dk1"/>
              </a:buClr>
              <a:buSzPts val="2100"/>
              <a:buChar char="•"/>
              <a:defRPr sz="2800"/>
            </a:lvl2pPr>
            <a:lvl3pPr marL="1828754" lvl="2" indent="-457189" algn="l">
              <a:lnSpc>
                <a:spcPct val="90000"/>
              </a:lnSpc>
              <a:spcBef>
                <a:spcPts val="533"/>
              </a:spcBef>
              <a:spcAft>
                <a:spcPts val="0"/>
              </a:spcAft>
              <a:buClr>
                <a:schemeClr val="dk1"/>
              </a:buClr>
              <a:buSzPts val="1800"/>
              <a:buChar char="•"/>
              <a:defRPr sz="2400"/>
            </a:lvl3pPr>
            <a:lvl4pPr marL="2438339" lvl="3" indent="-431789" algn="l">
              <a:lnSpc>
                <a:spcPct val="90000"/>
              </a:lnSpc>
              <a:spcBef>
                <a:spcPts val="533"/>
              </a:spcBef>
              <a:spcAft>
                <a:spcPts val="0"/>
              </a:spcAft>
              <a:buClr>
                <a:schemeClr val="dk1"/>
              </a:buClr>
              <a:buSzPts val="1500"/>
              <a:buChar char="•"/>
              <a:defRPr sz="2000"/>
            </a:lvl4pPr>
            <a:lvl5pPr marL="3047924" lvl="4" indent="-431789" algn="l">
              <a:lnSpc>
                <a:spcPct val="90000"/>
              </a:lnSpc>
              <a:spcBef>
                <a:spcPts val="533"/>
              </a:spcBef>
              <a:spcAft>
                <a:spcPts val="0"/>
              </a:spcAft>
              <a:buClr>
                <a:schemeClr val="dk1"/>
              </a:buClr>
              <a:buSzPts val="1500"/>
              <a:buChar char="•"/>
              <a:defRPr sz="2000"/>
            </a:lvl5pPr>
            <a:lvl6pPr marL="3657509" lvl="5" indent="-431789" algn="l">
              <a:lnSpc>
                <a:spcPct val="90000"/>
              </a:lnSpc>
              <a:spcBef>
                <a:spcPts val="533"/>
              </a:spcBef>
              <a:spcAft>
                <a:spcPts val="0"/>
              </a:spcAft>
              <a:buClr>
                <a:schemeClr val="dk1"/>
              </a:buClr>
              <a:buSzPts val="1500"/>
              <a:buChar char="•"/>
              <a:defRPr sz="2000"/>
            </a:lvl6pPr>
            <a:lvl7pPr marL="4267093" lvl="6" indent="-431789" algn="l">
              <a:lnSpc>
                <a:spcPct val="90000"/>
              </a:lnSpc>
              <a:spcBef>
                <a:spcPts val="533"/>
              </a:spcBef>
              <a:spcAft>
                <a:spcPts val="0"/>
              </a:spcAft>
              <a:buClr>
                <a:schemeClr val="dk1"/>
              </a:buClr>
              <a:buSzPts val="1500"/>
              <a:buChar char="•"/>
              <a:defRPr sz="2000"/>
            </a:lvl7pPr>
            <a:lvl8pPr marL="4876678" lvl="7" indent="-431789" algn="l">
              <a:lnSpc>
                <a:spcPct val="90000"/>
              </a:lnSpc>
              <a:spcBef>
                <a:spcPts val="533"/>
              </a:spcBef>
              <a:spcAft>
                <a:spcPts val="0"/>
              </a:spcAft>
              <a:buClr>
                <a:schemeClr val="dk1"/>
              </a:buClr>
              <a:buSzPts val="1500"/>
              <a:buChar char="•"/>
              <a:defRPr sz="2000"/>
            </a:lvl8pPr>
            <a:lvl9pPr marL="5486263" lvl="8" indent="-431789" algn="l">
              <a:lnSpc>
                <a:spcPct val="90000"/>
              </a:lnSpc>
              <a:spcBef>
                <a:spcPts val="533"/>
              </a:spcBef>
              <a:spcAft>
                <a:spcPts val="0"/>
              </a:spcAft>
              <a:buClr>
                <a:schemeClr val="dk1"/>
              </a:buClr>
              <a:buSzPts val="1500"/>
              <a:buChar char="•"/>
              <a:defRPr sz="2000"/>
            </a:lvl9pPr>
          </a:lstStyle>
          <a:p>
            <a:endParaRPr/>
          </a:p>
        </p:txBody>
      </p:sp>
      <p:sp>
        <p:nvSpPr>
          <p:cNvPr id="402" name="Google Shape;402;p69"/>
          <p:cNvSpPr txBox="1">
            <a:spLocks noGrp="1"/>
          </p:cNvSpPr>
          <p:nvPr>
            <p:ph type="body" idx="2"/>
          </p:nvPr>
        </p:nvSpPr>
        <p:spPr>
          <a:xfrm>
            <a:off x="839788" y="2057401"/>
            <a:ext cx="3932237" cy="3811588"/>
          </a:xfrm>
          <a:prstGeom prst="rect">
            <a:avLst/>
          </a:prstGeom>
          <a:noFill/>
          <a:ln>
            <a:noFill/>
          </a:ln>
        </p:spPr>
        <p:txBody>
          <a:bodyPr spcFirstLastPara="1" wrap="square" lIns="68575" tIns="34275" rIns="68575" bIns="34275" anchor="t" anchorCtr="0">
            <a:normAutofit/>
          </a:bodyPr>
          <a:lstStyle>
            <a:lvl1pPr marL="609585" lvl="0" indent="-304792" algn="l">
              <a:lnSpc>
                <a:spcPct val="90000"/>
              </a:lnSpc>
              <a:spcBef>
                <a:spcPts val="1067"/>
              </a:spcBef>
              <a:spcAft>
                <a:spcPts val="0"/>
              </a:spcAft>
              <a:buClr>
                <a:schemeClr val="dk1"/>
              </a:buClr>
              <a:buSzPts val="1200"/>
              <a:buNone/>
              <a:defRPr sz="1600"/>
            </a:lvl1pPr>
            <a:lvl2pPr marL="1219170" lvl="1" indent="-304792" algn="l">
              <a:lnSpc>
                <a:spcPct val="90000"/>
              </a:lnSpc>
              <a:spcBef>
                <a:spcPts val="533"/>
              </a:spcBef>
              <a:spcAft>
                <a:spcPts val="0"/>
              </a:spcAft>
              <a:buClr>
                <a:schemeClr val="dk1"/>
              </a:buClr>
              <a:buSzPts val="1100"/>
              <a:buNone/>
              <a:defRPr sz="1467"/>
            </a:lvl2pPr>
            <a:lvl3pPr marL="1828754" lvl="2" indent="-304792" algn="l">
              <a:lnSpc>
                <a:spcPct val="90000"/>
              </a:lnSpc>
              <a:spcBef>
                <a:spcPts val="533"/>
              </a:spcBef>
              <a:spcAft>
                <a:spcPts val="0"/>
              </a:spcAft>
              <a:buClr>
                <a:schemeClr val="dk1"/>
              </a:buClr>
              <a:buSzPts val="900"/>
              <a:buNone/>
              <a:defRPr sz="1200"/>
            </a:lvl3pPr>
            <a:lvl4pPr marL="2438339" lvl="3" indent="-304792" algn="l">
              <a:lnSpc>
                <a:spcPct val="90000"/>
              </a:lnSpc>
              <a:spcBef>
                <a:spcPts val="533"/>
              </a:spcBef>
              <a:spcAft>
                <a:spcPts val="0"/>
              </a:spcAft>
              <a:buClr>
                <a:schemeClr val="dk1"/>
              </a:buClr>
              <a:buSzPts val="800"/>
              <a:buNone/>
              <a:defRPr sz="1067"/>
            </a:lvl4pPr>
            <a:lvl5pPr marL="3047924" lvl="4" indent="-304792" algn="l">
              <a:lnSpc>
                <a:spcPct val="90000"/>
              </a:lnSpc>
              <a:spcBef>
                <a:spcPts val="533"/>
              </a:spcBef>
              <a:spcAft>
                <a:spcPts val="0"/>
              </a:spcAft>
              <a:buClr>
                <a:schemeClr val="dk1"/>
              </a:buClr>
              <a:buSzPts val="800"/>
              <a:buNone/>
              <a:defRPr sz="1067"/>
            </a:lvl5pPr>
            <a:lvl6pPr marL="3657509" lvl="5" indent="-304792" algn="l">
              <a:lnSpc>
                <a:spcPct val="90000"/>
              </a:lnSpc>
              <a:spcBef>
                <a:spcPts val="533"/>
              </a:spcBef>
              <a:spcAft>
                <a:spcPts val="0"/>
              </a:spcAft>
              <a:buClr>
                <a:schemeClr val="dk1"/>
              </a:buClr>
              <a:buSzPts val="800"/>
              <a:buNone/>
              <a:defRPr sz="1067"/>
            </a:lvl6pPr>
            <a:lvl7pPr marL="4267093" lvl="6" indent="-304792" algn="l">
              <a:lnSpc>
                <a:spcPct val="90000"/>
              </a:lnSpc>
              <a:spcBef>
                <a:spcPts val="533"/>
              </a:spcBef>
              <a:spcAft>
                <a:spcPts val="0"/>
              </a:spcAft>
              <a:buClr>
                <a:schemeClr val="dk1"/>
              </a:buClr>
              <a:buSzPts val="800"/>
              <a:buNone/>
              <a:defRPr sz="1067"/>
            </a:lvl7pPr>
            <a:lvl8pPr marL="4876678" lvl="7" indent="-304792" algn="l">
              <a:lnSpc>
                <a:spcPct val="90000"/>
              </a:lnSpc>
              <a:spcBef>
                <a:spcPts val="533"/>
              </a:spcBef>
              <a:spcAft>
                <a:spcPts val="0"/>
              </a:spcAft>
              <a:buClr>
                <a:schemeClr val="dk1"/>
              </a:buClr>
              <a:buSzPts val="800"/>
              <a:buNone/>
              <a:defRPr sz="1067"/>
            </a:lvl8pPr>
            <a:lvl9pPr marL="5486263" lvl="8" indent="-304792" algn="l">
              <a:lnSpc>
                <a:spcPct val="90000"/>
              </a:lnSpc>
              <a:spcBef>
                <a:spcPts val="533"/>
              </a:spcBef>
              <a:spcAft>
                <a:spcPts val="0"/>
              </a:spcAft>
              <a:buClr>
                <a:schemeClr val="dk1"/>
              </a:buClr>
              <a:buSzPts val="800"/>
              <a:buNone/>
              <a:defRPr sz="1067"/>
            </a:lvl9pPr>
          </a:lstStyle>
          <a:p>
            <a:endParaRPr/>
          </a:p>
        </p:txBody>
      </p:sp>
      <p:sp>
        <p:nvSpPr>
          <p:cNvPr id="403" name="Google Shape;403;p69"/>
          <p:cNvSpPr txBox="1">
            <a:spLocks noGrp="1"/>
          </p:cNvSpPr>
          <p:nvPr>
            <p:ph type="dt" idx="10"/>
          </p:nvPr>
        </p:nvSpPr>
        <p:spPr>
          <a:xfrm>
            <a:off x="838200" y="6356351"/>
            <a:ext cx="2743200" cy="365125"/>
          </a:xfrm>
          <a:prstGeom prst="rect">
            <a:avLst/>
          </a:prstGeom>
          <a:noFill/>
          <a:ln>
            <a:noFill/>
          </a:ln>
        </p:spPr>
        <p:txBody>
          <a:bodyPr spcFirstLastPara="1" wrap="square" lIns="68575" tIns="34275" rIns="68575" bIns="34275" anchor="ctr" anchorCtr="0">
            <a:noAutofit/>
          </a:bodyPr>
          <a:lstStyle>
            <a:lvl1pPr lvl="0" algn="l">
              <a:spcBef>
                <a:spcPts val="0"/>
              </a:spcBef>
              <a:spcAft>
                <a:spcPts val="0"/>
              </a:spcAft>
              <a:buSzPts val="1100"/>
              <a:buNone/>
              <a:defRPr/>
            </a:lvl1pPr>
            <a:lvl2pPr lvl="1" algn="l">
              <a:spcBef>
                <a:spcPts val="0"/>
              </a:spcBef>
              <a:spcAft>
                <a:spcPts val="0"/>
              </a:spcAft>
              <a:buSzPts val="1100"/>
              <a:buNone/>
              <a:defRPr/>
            </a:lvl2pPr>
            <a:lvl3pPr lvl="2" algn="l">
              <a:spcBef>
                <a:spcPts val="0"/>
              </a:spcBef>
              <a:spcAft>
                <a:spcPts val="0"/>
              </a:spcAft>
              <a:buSzPts val="1100"/>
              <a:buNone/>
              <a:defRPr/>
            </a:lvl3pPr>
            <a:lvl4pPr lvl="3" algn="l">
              <a:spcBef>
                <a:spcPts val="0"/>
              </a:spcBef>
              <a:spcAft>
                <a:spcPts val="0"/>
              </a:spcAft>
              <a:buSzPts val="1100"/>
              <a:buNone/>
              <a:defRPr/>
            </a:lvl4pPr>
            <a:lvl5pPr lvl="4" algn="l">
              <a:spcBef>
                <a:spcPts val="0"/>
              </a:spcBef>
              <a:spcAft>
                <a:spcPts val="0"/>
              </a:spcAft>
              <a:buSzPts val="1100"/>
              <a:buNone/>
              <a:defRPr/>
            </a:lvl5pPr>
            <a:lvl6pPr lvl="5" algn="l">
              <a:spcBef>
                <a:spcPts val="0"/>
              </a:spcBef>
              <a:spcAft>
                <a:spcPts val="0"/>
              </a:spcAft>
              <a:buSzPts val="1100"/>
              <a:buNone/>
              <a:defRPr/>
            </a:lvl6pPr>
            <a:lvl7pPr lvl="6" algn="l">
              <a:spcBef>
                <a:spcPts val="0"/>
              </a:spcBef>
              <a:spcAft>
                <a:spcPts val="0"/>
              </a:spcAft>
              <a:buSzPts val="1100"/>
              <a:buNone/>
              <a:defRPr/>
            </a:lvl7pPr>
            <a:lvl8pPr lvl="7" algn="l">
              <a:spcBef>
                <a:spcPts val="0"/>
              </a:spcBef>
              <a:spcAft>
                <a:spcPts val="0"/>
              </a:spcAft>
              <a:buSzPts val="1100"/>
              <a:buNone/>
              <a:defRPr/>
            </a:lvl8pPr>
            <a:lvl9pPr lvl="8" algn="l">
              <a:spcBef>
                <a:spcPts val="0"/>
              </a:spcBef>
              <a:spcAft>
                <a:spcPts val="0"/>
              </a:spcAft>
              <a:buSzPts val="1100"/>
              <a:buNone/>
              <a:defRPr/>
            </a:lvl9pPr>
          </a:lstStyle>
          <a:p>
            <a:endParaRPr/>
          </a:p>
        </p:txBody>
      </p:sp>
      <p:sp>
        <p:nvSpPr>
          <p:cNvPr id="404" name="Google Shape;404;p69"/>
          <p:cNvSpPr txBox="1">
            <a:spLocks noGrp="1"/>
          </p:cNvSpPr>
          <p:nvPr>
            <p:ph type="ftr" idx="11"/>
          </p:nvPr>
        </p:nvSpPr>
        <p:spPr>
          <a:xfrm>
            <a:off x="4038600" y="6356351"/>
            <a:ext cx="4114800" cy="365125"/>
          </a:xfrm>
          <a:prstGeom prst="rect">
            <a:avLst/>
          </a:prstGeom>
          <a:noFill/>
          <a:ln>
            <a:noFill/>
          </a:ln>
        </p:spPr>
        <p:txBody>
          <a:bodyPr spcFirstLastPara="1" wrap="square" lIns="68575" tIns="34275" rIns="68575" bIns="34275" anchor="ctr" anchorCtr="0">
            <a:noAutofit/>
          </a:bodyPr>
          <a:lstStyle>
            <a:lvl1pPr lvl="0" algn="ctr">
              <a:spcBef>
                <a:spcPts val="0"/>
              </a:spcBef>
              <a:spcAft>
                <a:spcPts val="0"/>
              </a:spcAft>
              <a:buSzPts val="1100"/>
              <a:buNone/>
              <a:defRPr/>
            </a:lvl1pPr>
            <a:lvl2pPr lvl="1" algn="l">
              <a:spcBef>
                <a:spcPts val="0"/>
              </a:spcBef>
              <a:spcAft>
                <a:spcPts val="0"/>
              </a:spcAft>
              <a:buSzPts val="1100"/>
              <a:buNone/>
              <a:defRPr/>
            </a:lvl2pPr>
            <a:lvl3pPr lvl="2" algn="l">
              <a:spcBef>
                <a:spcPts val="0"/>
              </a:spcBef>
              <a:spcAft>
                <a:spcPts val="0"/>
              </a:spcAft>
              <a:buSzPts val="1100"/>
              <a:buNone/>
              <a:defRPr/>
            </a:lvl3pPr>
            <a:lvl4pPr lvl="3" algn="l">
              <a:spcBef>
                <a:spcPts val="0"/>
              </a:spcBef>
              <a:spcAft>
                <a:spcPts val="0"/>
              </a:spcAft>
              <a:buSzPts val="1100"/>
              <a:buNone/>
              <a:defRPr/>
            </a:lvl4pPr>
            <a:lvl5pPr lvl="4" algn="l">
              <a:spcBef>
                <a:spcPts val="0"/>
              </a:spcBef>
              <a:spcAft>
                <a:spcPts val="0"/>
              </a:spcAft>
              <a:buSzPts val="1100"/>
              <a:buNone/>
              <a:defRPr/>
            </a:lvl5pPr>
            <a:lvl6pPr lvl="5" algn="l">
              <a:spcBef>
                <a:spcPts val="0"/>
              </a:spcBef>
              <a:spcAft>
                <a:spcPts val="0"/>
              </a:spcAft>
              <a:buSzPts val="1100"/>
              <a:buNone/>
              <a:defRPr/>
            </a:lvl6pPr>
            <a:lvl7pPr lvl="6" algn="l">
              <a:spcBef>
                <a:spcPts val="0"/>
              </a:spcBef>
              <a:spcAft>
                <a:spcPts val="0"/>
              </a:spcAft>
              <a:buSzPts val="1100"/>
              <a:buNone/>
              <a:defRPr/>
            </a:lvl7pPr>
            <a:lvl8pPr lvl="7" algn="l">
              <a:spcBef>
                <a:spcPts val="0"/>
              </a:spcBef>
              <a:spcAft>
                <a:spcPts val="0"/>
              </a:spcAft>
              <a:buSzPts val="1100"/>
              <a:buNone/>
              <a:defRPr/>
            </a:lvl8pPr>
            <a:lvl9pPr lvl="8" algn="l">
              <a:spcBef>
                <a:spcPts val="0"/>
              </a:spcBef>
              <a:spcAft>
                <a:spcPts val="0"/>
              </a:spcAft>
              <a:buSzPts val="1100"/>
              <a:buNone/>
              <a:defRPr/>
            </a:lvl9pPr>
          </a:lstStyle>
          <a:p>
            <a:endParaRPr/>
          </a:p>
        </p:txBody>
      </p:sp>
      <p:sp>
        <p:nvSpPr>
          <p:cNvPr id="405" name="Google Shape;405;p69"/>
          <p:cNvSpPr txBox="1">
            <a:spLocks noGrp="1"/>
          </p:cNvSpPr>
          <p:nvPr>
            <p:ph type="sldNum" idx="12"/>
          </p:nvPr>
        </p:nvSpPr>
        <p:spPr>
          <a:xfrm>
            <a:off x="8610600" y="6356351"/>
            <a:ext cx="2743200" cy="365125"/>
          </a:xfrm>
          <a:prstGeom prst="rect">
            <a:avLst/>
          </a:prstGeom>
          <a:noFill/>
          <a:ln>
            <a:noFill/>
          </a:ln>
        </p:spPr>
        <p:txBody>
          <a:bodyPr spcFirstLastPara="1" wrap="square" lIns="68575" tIns="34275" rIns="68575" bIns="34275"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367761348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matchingName="Picture with Caption" type="picTx">
  <p:cSld name="Picture with Caption">
    <p:spTree>
      <p:nvGrpSpPr>
        <p:cNvPr id="1" name="Shape 406"/>
        <p:cNvGrpSpPr/>
        <p:nvPr/>
      </p:nvGrpSpPr>
      <p:grpSpPr>
        <a:xfrm>
          <a:off x="0" y="0"/>
          <a:ext cx="0" cy="0"/>
          <a:chOff x="0" y="0"/>
          <a:chExt cx="0" cy="0"/>
        </a:xfrm>
      </p:grpSpPr>
      <p:sp>
        <p:nvSpPr>
          <p:cNvPr id="407" name="Google Shape;407;p70"/>
          <p:cNvSpPr txBox="1">
            <a:spLocks noGrp="1"/>
          </p:cNvSpPr>
          <p:nvPr>
            <p:ph type="title"/>
          </p:nvPr>
        </p:nvSpPr>
        <p:spPr>
          <a:xfrm>
            <a:off x="839788" y="457200"/>
            <a:ext cx="3932237" cy="1600200"/>
          </a:xfrm>
          <a:prstGeom prst="rect">
            <a:avLst/>
          </a:prstGeom>
          <a:noFill/>
          <a:ln>
            <a:noFill/>
          </a:ln>
        </p:spPr>
        <p:txBody>
          <a:bodyPr spcFirstLastPara="1" wrap="square" lIns="68575" tIns="34275" rIns="68575" bIns="34275" anchor="b" anchorCtr="0">
            <a:normAutofit/>
          </a:bodyPr>
          <a:lstStyle>
            <a:lvl1pPr lvl="0" algn="l">
              <a:lnSpc>
                <a:spcPct val="90000"/>
              </a:lnSpc>
              <a:spcBef>
                <a:spcPts val="0"/>
              </a:spcBef>
              <a:spcAft>
                <a:spcPts val="0"/>
              </a:spcAft>
              <a:buClr>
                <a:schemeClr val="dk1"/>
              </a:buClr>
              <a:buSzPts val="2400"/>
              <a:buFont typeface="Calibri"/>
              <a:buNone/>
              <a:defRPr sz="3200"/>
            </a:lvl1pPr>
            <a:lvl2pPr lvl="1">
              <a:spcBef>
                <a:spcPts val="0"/>
              </a:spcBef>
              <a:spcAft>
                <a:spcPts val="0"/>
              </a:spcAft>
              <a:buSzPts val="1100"/>
              <a:buNone/>
              <a:defRPr/>
            </a:lvl2pPr>
            <a:lvl3pPr lvl="2">
              <a:spcBef>
                <a:spcPts val="0"/>
              </a:spcBef>
              <a:spcAft>
                <a:spcPts val="0"/>
              </a:spcAft>
              <a:buSzPts val="1100"/>
              <a:buNone/>
              <a:defRPr/>
            </a:lvl3pPr>
            <a:lvl4pPr lvl="3">
              <a:spcBef>
                <a:spcPts val="0"/>
              </a:spcBef>
              <a:spcAft>
                <a:spcPts val="0"/>
              </a:spcAft>
              <a:buSzPts val="1100"/>
              <a:buNone/>
              <a:defRPr/>
            </a:lvl4pPr>
            <a:lvl5pPr lvl="4">
              <a:spcBef>
                <a:spcPts val="0"/>
              </a:spcBef>
              <a:spcAft>
                <a:spcPts val="0"/>
              </a:spcAft>
              <a:buSzPts val="1100"/>
              <a:buNone/>
              <a:defRPr/>
            </a:lvl5pPr>
            <a:lvl6pPr lvl="5">
              <a:spcBef>
                <a:spcPts val="0"/>
              </a:spcBef>
              <a:spcAft>
                <a:spcPts val="0"/>
              </a:spcAft>
              <a:buSzPts val="1100"/>
              <a:buNone/>
              <a:defRPr/>
            </a:lvl6pPr>
            <a:lvl7pPr lvl="6">
              <a:spcBef>
                <a:spcPts val="0"/>
              </a:spcBef>
              <a:spcAft>
                <a:spcPts val="0"/>
              </a:spcAft>
              <a:buSzPts val="1100"/>
              <a:buNone/>
              <a:defRPr/>
            </a:lvl7pPr>
            <a:lvl8pPr lvl="7">
              <a:spcBef>
                <a:spcPts val="0"/>
              </a:spcBef>
              <a:spcAft>
                <a:spcPts val="0"/>
              </a:spcAft>
              <a:buSzPts val="1100"/>
              <a:buNone/>
              <a:defRPr/>
            </a:lvl8pPr>
            <a:lvl9pPr lvl="8">
              <a:spcBef>
                <a:spcPts val="0"/>
              </a:spcBef>
              <a:spcAft>
                <a:spcPts val="0"/>
              </a:spcAft>
              <a:buSzPts val="1100"/>
              <a:buNone/>
              <a:defRPr/>
            </a:lvl9pPr>
          </a:lstStyle>
          <a:p>
            <a:endParaRPr/>
          </a:p>
        </p:txBody>
      </p:sp>
      <p:sp>
        <p:nvSpPr>
          <p:cNvPr id="408" name="Google Shape;408;p70"/>
          <p:cNvSpPr>
            <a:spLocks noGrp="1"/>
          </p:cNvSpPr>
          <p:nvPr>
            <p:ph type="pic" idx="2"/>
          </p:nvPr>
        </p:nvSpPr>
        <p:spPr>
          <a:xfrm>
            <a:off x="5183188" y="987426"/>
            <a:ext cx="6172200" cy="4873625"/>
          </a:xfrm>
          <a:prstGeom prst="rect">
            <a:avLst/>
          </a:prstGeom>
          <a:noFill/>
          <a:ln>
            <a:noFill/>
          </a:ln>
        </p:spPr>
      </p:sp>
      <p:sp>
        <p:nvSpPr>
          <p:cNvPr id="409" name="Google Shape;409;p70"/>
          <p:cNvSpPr txBox="1">
            <a:spLocks noGrp="1"/>
          </p:cNvSpPr>
          <p:nvPr>
            <p:ph type="body" idx="1"/>
          </p:nvPr>
        </p:nvSpPr>
        <p:spPr>
          <a:xfrm>
            <a:off x="839788" y="2057401"/>
            <a:ext cx="3932237" cy="3811588"/>
          </a:xfrm>
          <a:prstGeom prst="rect">
            <a:avLst/>
          </a:prstGeom>
          <a:noFill/>
          <a:ln>
            <a:noFill/>
          </a:ln>
        </p:spPr>
        <p:txBody>
          <a:bodyPr spcFirstLastPara="1" wrap="square" lIns="68575" tIns="34275" rIns="68575" bIns="34275" anchor="t" anchorCtr="0">
            <a:normAutofit/>
          </a:bodyPr>
          <a:lstStyle>
            <a:lvl1pPr marL="609585" lvl="0" indent="-304792" algn="l">
              <a:lnSpc>
                <a:spcPct val="90000"/>
              </a:lnSpc>
              <a:spcBef>
                <a:spcPts val="1067"/>
              </a:spcBef>
              <a:spcAft>
                <a:spcPts val="0"/>
              </a:spcAft>
              <a:buClr>
                <a:schemeClr val="dk1"/>
              </a:buClr>
              <a:buSzPts val="1200"/>
              <a:buNone/>
              <a:defRPr sz="1600"/>
            </a:lvl1pPr>
            <a:lvl2pPr marL="1219170" lvl="1" indent="-304792" algn="l">
              <a:lnSpc>
                <a:spcPct val="90000"/>
              </a:lnSpc>
              <a:spcBef>
                <a:spcPts val="533"/>
              </a:spcBef>
              <a:spcAft>
                <a:spcPts val="0"/>
              </a:spcAft>
              <a:buClr>
                <a:schemeClr val="dk1"/>
              </a:buClr>
              <a:buSzPts val="1100"/>
              <a:buNone/>
              <a:defRPr sz="1467"/>
            </a:lvl2pPr>
            <a:lvl3pPr marL="1828754" lvl="2" indent="-304792" algn="l">
              <a:lnSpc>
                <a:spcPct val="90000"/>
              </a:lnSpc>
              <a:spcBef>
                <a:spcPts val="533"/>
              </a:spcBef>
              <a:spcAft>
                <a:spcPts val="0"/>
              </a:spcAft>
              <a:buClr>
                <a:schemeClr val="dk1"/>
              </a:buClr>
              <a:buSzPts val="900"/>
              <a:buNone/>
              <a:defRPr sz="1200"/>
            </a:lvl3pPr>
            <a:lvl4pPr marL="2438339" lvl="3" indent="-304792" algn="l">
              <a:lnSpc>
                <a:spcPct val="90000"/>
              </a:lnSpc>
              <a:spcBef>
                <a:spcPts val="533"/>
              </a:spcBef>
              <a:spcAft>
                <a:spcPts val="0"/>
              </a:spcAft>
              <a:buClr>
                <a:schemeClr val="dk1"/>
              </a:buClr>
              <a:buSzPts val="800"/>
              <a:buNone/>
              <a:defRPr sz="1067"/>
            </a:lvl4pPr>
            <a:lvl5pPr marL="3047924" lvl="4" indent="-304792" algn="l">
              <a:lnSpc>
                <a:spcPct val="90000"/>
              </a:lnSpc>
              <a:spcBef>
                <a:spcPts val="533"/>
              </a:spcBef>
              <a:spcAft>
                <a:spcPts val="0"/>
              </a:spcAft>
              <a:buClr>
                <a:schemeClr val="dk1"/>
              </a:buClr>
              <a:buSzPts val="800"/>
              <a:buNone/>
              <a:defRPr sz="1067"/>
            </a:lvl5pPr>
            <a:lvl6pPr marL="3657509" lvl="5" indent="-304792" algn="l">
              <a:lnSpc>
                <a:spcPct val="90000"/>
              </a:lnSpc>
              <a:spcBef>
                <a:spcPts val="533"/>
              </a:spcBef>
              <a:spcAft>
                <a:spcPts val="0"/>
              </a:spcAft>
              <a:buClr>
                <a:schemeClr val="dk1"/>
              </a:buClr>
              <a:buSzPts val="800"/>
              <a:buNone/>
              <a:defRPr sz="1067"/>
            </a:lvl6pPr>
            <a:lvl7pPr marL="4267093" lvl="6" indent="-304792" algn="l">
              <a:lnSpc>
                <a:spcPct val="90000"/>
              </a:lnSpc>
              <a:spcBef>
                <a:spcPts val="533"/>
              </a:spcBef>
              <a:spcAft>
                <a:spcPts val="0"/>
              </a:spcAft>
              <a:buClr>
                <a:schemeClr val="dk1"/>
              </a:buClr>
              <a:buSzPts val="800"/>
              <a:buNone/>
              <a:defRPr sz="1067"/>
            </a:lvl7pPr>
            <a:lvl8pPr marL="4876678" lvl="7" indent="-304792" algn="l">
              <a:lnSpc>
                <a:spcPct val="90000"/>
              </a:lnSpc>
              <a:spcBef>
                <a:spcPts val="533"/>
              </a:spcBef>
              <a:spcAft>
                <a:spcPts val="0"/>
              </a:spcAft>
              <a:buClr>
                <a:schemeClr val="dk1"/>
              </a:buClr>
              <a:buSzPts val="800"/>
              <a:buNone/>
              <a:defRPr sz="1067"/>
            </a:lvl8pPr>
            <a:lvl9pPr marL="5486263" lvl="8" indent="-304792" algn="l">
              <a:lnSpc>
                <a:spcPct val="90000"/>
              </a:lnSpc>
              <a:spcBef>
                <a:spcPts val="533"/>
              </a:spcBef>
              <a:spcAft>
                <a:spcPts val="0"/>
              </a:spcAft>
              <a:buClr>
                <a:schemeClr val="dk1"/>
              </a:buClr>
              <a:buSzPts val="800"/>
              <a:buNone/>
              <a:defRPr sz="1067"/>
            </a:lvl9pPr>
          </a:lstStyle>
          <a:p>
            <a:endParaRPr/>
          </a:p>
        </p:txBody>
      </p:sp>
      <p:sp>
        <p:nvSpPr>
          <p:cNvPr id="410" name="Google Shape;410;p70"/>
          <p:cNvSpPr txBox="1">
            <a:spLocks noGrp="1"/>
          </p:cNvSpPr>
          <p:nvPr>
            <p:ph type="dt" idx="10"/>
          </p:nvPr>
        </p:nvSpPr>
        <p:spPr>
          <a:xfrm>
            <a:off x="838200" y="6356351"/>
            <a:ext cx="2743200" cy="365125"/>
          </a:xfrm>
          <a:prstGeom prst="rect">
            <a:avLst/>
          </a:prstGeom>
          <a:noFill/>
          <a:ln>
            <a:noFill/>
          </a:ln>
        </p:spPr>
        <p:txBody>
          <a:bodyPr spcFirstLastPara="1" wrap="square" lIns="68575" tIns="34275" rIns="68575" bIns="34275" anchor="ctr" anchorCtr="0">
            <a:noAutofit/>
          </a:bodyPr>
          <a:lstStyle>
            <a:lvl1pPr lvl="0" algn="l">
              <a:spcBef>
                <a:spcPts val="0"/>
              </a:spcBef>
              <a:spcAft>
                <a:spcPts val="0"/>
              </a:spcAft>
              <a:buSzPts val="1100"/>
              <a:buNone/>
              <a:defRPr/>
            </a:lvl1pPr>
            <a:lvl2pPr lvl="1" algn="l">
              <a:spcBef>
                <a:spcPts val="0"/>
              </a:spcBef>
              <a:spcAft>
                <a:spcPts val="0"/>
              </a:spcAft>
              <a:buSzPts val="1100"/>
              <a:buNone/>
              <a:defRPr/>
            </a:lvl2pPr>
            <a:lvl3pPr lvl="2" algn="l">
              <a:spcBef>
                <a:spcPts val="0"/>
              </a:spcBef>
              <a:spcAft>
                <a:spcPts val="0"/>
              </a:spcAft>
              <a:buSzPts val="1100"/>
              <a:buNone/>
              <a:defRPr/>
            </a:lvl3pPr>
            <a:lvl4pPr lvl="3" algn="l">
              <a:spcBef>
                <a:spcPts val="0"/>
              </a:spcBef>
              <a:spcAft>
                <a:spcPts val="0"/>
              </a:spcAft>
              <a:buSzPts val="1100"/>
              <a:buNone/>
              <a:defRPr/>
            </a:lvl4pPr>
            <a:lvl5pPr lvl="4" algn="l">
              <a:spcBef>
                <a:spcPts val="0"/>
              </a:spcBef>
              <a:spcAft>
                <a:spcPts val="0"/>
              </a:spcAft>
              <a:buSzPts val="1100"/>
              <a:buNone/>
              <a:defRPr/>
            </a:lvl5pPr>
            <a:lvl6pPr lvl="5" algn="l">
              <a:spcBef>
                <a:spcPts val="0"/>
              </a:spcBef>
              <a:spcAft>
                <a:spcPts val="0"/>
              </a:spcAft>
              <a:buSzPts val="1100"/>
              <a:buNone/>
              <a:defRPr/>
            </a:lvl6pPr>
            <a:lvl7pPr lvl="6" algn="l">
              <a:spcBef>
                <a:spcPts val="0"/>
              </a:spcBef>
              <a:spcAft>
                <a:spcPts val="0"/>
              </a:spcAft>
              <a:buSzPts val="1100"/>
              <a:buNone/>
              <a:defRPr/>
            </a:lvl7pPr>
            <a:lvl8pPr lvl="7" algn="l">
              <a:spcBef>
                <a:spcPts val="0"/>
              </a:spcBef>
              <a:spcAft>
                <a:spcPts val="0"/>
              </a:spcAft>
              <a:buSzPts val="1100"/>
              <a:buNone/>
              <a:defRPr/>
            </a:lvl8pPr>
            <a:lvl9pPr lvl="8" algn="l">
              <a:spcBef>
                <a:spcPts val="0"/>
              </a:spcBef>
              <a:spcAft>
                <a:spcPts val="0"/>
              </a:spcAft>
              <a:buSzPts val="1100"/>
              <a:buNone/>
              <a:defRPr/>
            </a:lvl9pPr>
          </a:lstStyle>
          <a:p>
            <a:endParaRPr/>
          </a:p>
        </p:txBody>
      </p:sp>
      <p:sp>
        <p:nvSpPr>
          <p:cNvPr id="411" name="Google Shape;411;p70"/>
          <p:cNvSpPr txBox="1">
            <a:spLocks noGrp="1"/>
          </p:cNvSpPr>
          <p:nvPr>
            <p:ph type="ftr" idx="11"/>
          </p:nvPr>
        </p:nvSpPr>
        <p:spPr>
          <a:xfrm>
            <a:off x="4038600" y="6356351"/>
            <a:ext cx="4114800" cy="365125"/>
          </a:xfrm>
          <a:prstGeom prst="rect">
            <a:avLst/>
          </a:prstGeom>
          <a:noFill/>
          <a:ln>
            <a:noFill/>
          </a:ln>
        </p:spPr>
        <p:txBody>
          <a:bodyPr spcFirstLastPara="1" wrap="square" lIns="68575" tIns="34275" rIns="68575" bIns="34275" anchor="ctr" anchorCtr="0">
            <a:noAutofit/>
          </a:bodyPr>
          <a:lstStyle>
            <a:lvl1pPr lvl="0" algn="ctr">
              <a:spcBef>
                <a:spcPts val="0"/>
              </a:spcBef>
              <a:spcAft>
                <a:spcPts val="0"/>
              </a:spcAft>
              <a:buSzPts val="1100"/>
              <a:buNone/>
              <a:defRPr/>
            </a:lvl1pPr>
            <a:lvl2pPr lvl="1" algn="l">
              <a:spcBef>
                <a:spcPts val="0"/>
              </a:spcBef>
              <a:spcAft>
                <a:spcPts val="0"/>
              </a:spcAft>
              <a:buSzPts val="1100"/>
              <a:buNone/>
              <a:defRPr/>
            </a:lvl2pPr>
            <a:lvl3pPr lvl="2" algn="l">
              <a:spcBef>
                <a:spcPts val="0"/>
              </a:spcBef>
              <a:spcAft>
                <a:spcPts val="0"/>
              </a:spcAft>
              <a:buSzPts val="1100"/>
              <a:buNone/>
              <a:defRPr/>
            </a:lvl3pPr>
            <a:lvl4pPr lvl="3" algn="l">
              <a:spcBef>
                <a:spcPts val="0"/>
              </a:spcBef>
              <a:spcAft>
                <a:spcPts val="0"/>
              </a:spcAft>
              <a:buSzPts val="1100"/>
              <a:buNone/>
              <a:defRPr/>
            </a:lvl4pPr>
            <a:lvl5pPr lvl="4" algn="l">
              <a:spcBef>
                <a:spcPts val="0"/>
              </a:spcBef>
              <a:spcAft>
                <a:spcPts val="0"/>
              </a:spcAft>
              <a:buSzPts val="1100"/>
              <a:buNone/>
              <a:defRPr/>
            </a:lvl5pPr>
            <a:lvl6pPr lvl="5" algn="l">
              <a:spcBef>
                <a:spcPts val="0"/>
              </a:spcBef>
              <a:spcAft>
                <a:spcPts val="0"/>
              </a:spcAft>
              <a:buSzPts val="1100"/>
              <a:buNone/>
              <a:defRPr/>
            </a:lvl6pPr>
            <a:lvl7pPr lvl="6" algn="l">
              <a:spcBef>
                <a:spcPts val="0"/>
              </a:spcBef>
              <a:spcAft>
                <a:spcPts val="0"/>
              </a:spcAft>
              <a:buSzPts val="1100"/>
              <a:buNone/>
              <a:defRPr/>
            </a:lvl7pPr>
            <a:lvl8pPr lvl="7" algn="l">
              <a:spcBef>
                <a:spcPts val="0"/>
              </a:spcBef>
              <a:spcAft>
                <a:spcPts val="0"/>
              </a:spcAft>
              <a:buSzPts val="1100"/>
              <a:buNone/>
              <a:defRPr/>
            </a:lvl8pPr>
            <a:lvl9pPr lvl="8" algn="l">
              <a:spcBef>
                <a:spcPts val="0"/>
              </a:spcBef>
              <a:spcAft>
                <a:spcPts val="0"/>
              </a:spcAft>
              <a:buSzPts val="1100"/>
              <a:buNone/>
              <a:defRPr/>
            </a:lvl9pPr>
          </a:lstStyle>
          <a:p>
            <a:endParaRPr/>
          </a:p>
        </p:txBody>
      </p:sp>
      <p:sp>
        <p:nvSpPr>
          <p:cNvPr id="412" name="Google Shape;412;p70"/>
          <p:cNvSpPr txBox="1">
            <a:spLocks noGrp="1"/>
          </p:cNvSpPr>
          <p:nvPr>
            <p:ph type="sldNum" idx="12"/>
          </p:nvPr>
        </p:nvSpPr>
        <p:spPr>
          <a:xfrm>
            <a:off x="8610600" y="6356351"/>
            <a:ext cx="2743200" cy="365125"/>
          </a:xfrm>
          <a:prstGeom prst="rect">
            <a:avLst/>
          </a:prstGeom>
          <a:noFill/>
          <a:ln>
            <a:noFill/>
          </a:ln>
        </p:spPr>
        <p:txBody>
          <a:bodyPr spcFirstLastPara="1" wrap="square" lIns="68575" tIns="34275" rIns="68575" bIns="34275"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209560561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matchingName="Title and Vertical Text" type="vertTx">
  <p:cSld name="Title and Vertical Text">
    <p:spTree>
      <p:nvGrpSpPr>
        <p:cNvPr id="1" name="Shape 413"/>
        <p:cNvGrpSpPr/>
        <p:nvPr/>
      </p:nvGrpSpPr>
      <p:grpSpPr>
        <a:xfrm>
          <a:off x="0" y="0"/>
          <a:ext cx="0" cy="0"/>
          <a:chOff x="0" y="0"/>
          <a:chExt cx="0" cy="0"/>
        </a:xfrm>
      </p:grpSpPr>
      <p:sp>
        <p:nvSpPr>
          <p:cNvPr id="414" name="Google Shape;414;p71"/>
          <p:cNvSpPr txBox="1">
            <a:spLocks noGrp="1"/>
          </p:cNvSpPr>
          <p:nvPr>
            <p:ph type="title"/>
          </p:nvPr>
        </p:nvSpPr>
        <p:spPr>
          <a:xfrm>
            <a:off x="838200" y="365125"/>
            <a:ext cx="10515600" cy="1325563"/>
          </a:xfrm>
          <a:prstGeom prst="rect">
            <a:avLst/>
          </a:prstGeom>
          <a:noFill/>
          <a:ln>
            <a:noFill/>
          </a:ln>
        </p:spPr>
        <p:txBody>
          <a:bodyPr spcFirstLastPara="1" wrap="square" lIns="68575" tIns="34275" rIns="68575" bIns="34275" anchor="ctr" anchorCtr="0">
            <a:normAutofit/>
          </a:bodyPr>
          <a:lstStyle>
            <a:lvl1pPr lvl="0" algn="l">
              <a:lnSpc>
                <a:spcPct val="90000"/>
              </a:lnSpc>
              <a:spcBef>
                <a:spcPts val="0"/>
              </a:spcBef>
              <a:spcAft>
                <a:spcPts val="0"/>
              </a:spcAft>
              <a:buClr>
                <a:schemeClr val="dk1"/>
              </a:buClr>
              <a:buSzPts val="1400"/>
              <a:buNone/>
              <a:defRPr/>
            </a:lvl1pPr>
            <a:lvl2pPr lvl="1">
              <a:spcBef>
                <a:spcPts val="0"/>
              </a:spcBef>
              <a:spcAft>
                <a:spcPts val="0"/>
              </a:spcAft>
              <a:buSzPts val="1100"/>
              <a:buNone/>
              <a:defRPr/>
            </a:lvl2pPr>
            <a:lvl3pPr lvl="2">
              <a:spcBef>
                <a:spcPts val="0"/>
              </a:spcBef>
              <a:spcAft>
                <a:spcPts val="0"/>
              </a:spcAft>
              <a:buSzPts val="1100"/>
              <a:buNone/>
              <a:defRPr/>
            </a:lvl3pPr>
            <a:lvl4pPr lvl="3">
              <a:spcBef>
                <a:spcPts val="0"/>
              </a:spcBef>
              <a:spcAft>
                <a:spcPts val="0"/>
              </a:spcAft>
              <a:buSzPts val="1100"/>
              <a:buNone/>
              <a:defRPr/>
            </a:lvl4pPr>
            <a:lvl5pPr lvl="4">
              <a:spcBef>
                <a:spcPts val="0"/>
              </a:spcBef>
              <a:spcAft>
                <a:spcPts val="0"/>
              </a:spcAft>
              <a:buSzPts val="1100"/>
              <a:buNone/>
              <a:defRPr/>
            </a:lvl5pPr>
            <a:lvl6pPr lvl="5">
              <a:spcBef>
                <a:spcPts val="0"/>
              </a:spcBef>
              <a:spcAft>
                <a:spcPts val="0"/>
              </a:spcAft>
              <a:buSzPts val="1100"/>
              <a:buNone/>
              <a:defRPr/>
            </a:lvl6pPr>
            <a:lvl7pPr lvl="6">
              <a:spcBef>
                <a:spcPts val="0"/>
              </a:spcBef>
              <a:spcAft>
                <a:spcPts val="0"/>
              </a:spcAft>
              <a:buSzPts val="1100"/>
              <a:buNone/>
              <a:defRPr/>
            </a:lvl7pPr>
            <a:lvl8pPr lvl="7">
              <a:spcBef>
                <a:spcPts val="0"/>
              </a:spcBef>
              <a:spcAft>
                <a:spcPts val="0"/>
              </a:spcAft>
              <a:buSzPts val="1100"/>
              <a:buNone/>
              <a:defRPr/>
            </a:lvl8pPr>
            <a:lvl9pPr lvl="8">
              <a:spcBef>
                <a:spcPts val="0"/>
              </a:spcBef>
              <a:spcAft>
                <a:spcPts val="0"/>
              </a:spcAft>
              <a:buSzPts val="1100"/>
              <a:buNone/>
              <a:defRPr/>
            </a:lvl9pPr>
          </a:lstStyle>
          <a:p>
            <a:endParaRPr/>
          </a:p>
        </p:txBody>
      </p:sp>
      <p:sp>
        <p:nvSpPr>
          <p:cNvPr id="415" name="Google Shape;415;p71"/>
          <p:cNvSpPr txBox="1">
            <a:spLocks noGrp="1"/>
          </p:cNvSpPr>
          <p:nvPr>
            <p:ph type="body" idx="1"/>
          </p:nvPr>
        </p:nvSpPr>
        <p:spPr>
          <a:xfrm rot="5400000">
            <a:off x="3920331" y="-1256505"/>
            <a:ext cx="4351339" cy="10515600"/>
          </a:xfrm>
          <a:prstGeom prst="rect">
            <a:avLst/>
          </a:prstGeom>
          <a:noFill/>
          <a:ln>
            <a:noFill/>
          </a:ln>
        </p:spPr>
        <p:txBody>
          <a:bodyPr spcFirstLastPara="1" wrap="square" lIns="68575" tIns="34275" rIns="68575" bIns="34275" anchor="t" anchorCtr="0">
            <a:normAutofit/>
          </a:bodyPr>
          <a:lstStyle>
            <a:lvl1pPr marL="609585" lvl="0" indent="-423323" algn="l">
              <a:lnSpc>
                <a:spcPct val="90000"/>
              </a:lnSpc>
              <a:spcBef>
                <a:spcPts val="1067"/>
              </a:spcBef>
              <a:spcAft>
                <a:spcPts val="0"/>
              </a:spcAft>
              <a:buClr>
                <a:schemeClr val="dk1"/>
              </a:buClr>
              <a:buSzPts val="1400"/>
              <a:buChar char="•"/>
              <a:defRPr/>
            </a:lvl1pPr>
            <a:lvl2pPr marL="1219170" lvl="1" indent="-423323" algn="l">
              <a:lnSpc>
                <a:spcPct val="90000"/>
              </a:lnSpc>
              <a:spcBef>
                <a:spcPts val="533"/>
              </a:spcBef>
              <a:spcAft>
                <a:spcPts val="0"/>
              </a:spcAft>
              <a:buClr>
                <a:schemeClr val="dk1"/>
              </a:buClr>
              <a:buSzPts val="1400"/>
              <a:buChar char="•"/>
              <a:defRPr/>
            </a:lvl2pPr>
            <a:lvl3pPr marL="1828754" lvl="2" indent="-423323" algn="l">
              <a:lnSpc>
                <a:spcPct val="90000"/>
              </a:lnSpc>
              <a:spcBef>
                <a:spcPts val="533"/>
              </a:spcBef>
              <a:spcAft>
                <a:spcPts val="0"/>
              </a:spcAft>
              <a:buClr>
                <a:schemeClr val="dk1"/>
              </a:buClr>
              <a:buSzPts val="1400"/>
              <a:buChar char="•"/>
              <a:defRPr/>
            </a:lvl3pPr>
            <a:lvl4pPr marL="2438339" lvl="3" indent="-423323" algn="l">
              <a:lnSpc>
                <a:spcPct val="90000"/>
              </a:lnSpc>
              <a:spcBef>
                <a:spcPts val="533"/>
              </a:spcBef>
              <a:spcAft>
                <a:spcPts val="0"/>
              </a:spcAft>
              <a:buClr>
                <a:schemeClr val="dk1"/>
              </a:buClr>
              <a:buSzPts val="1400"/>
              <a:buChar char="•"/>
              <a:defRPr/>
            </a:lvl4pPr>
            <a:lvl5pPr marL="3047924" lvl="4" indent="-423323" algn="l">
              <a:lnSpc>
                <a:spcPct val="90000"/>
              </a:lnSpc>
              <a:spcBef>
                <a:spcPts val="533"/>
              </a:spcBef>
              <a:spcAft>
                <a:spcPts val="0"/>
              </a:spcAft>
              <a:buClr>
                <a:schemeClr val="dk1"/>
              </a:buClr>
              <a:buSzPts val="1400"/>
              <a:buChar char="•"/>
              <a:defRPr/>
            </a:lvl5pPr>
            <a:lvl6pPr marL="3657509" lvl="5" indent="-423323" algn="l">
              <a:lnSpc>
                <a:spcPct val="90000"/>
              </a:lnSpc>
              <a:spcBef>
                <a:spcPts val="533"/>
              </a:spcBef>
              <a:spcAft>
                <a:spcPts val="0"/>
              </a:spcAft>
              <a:buClr>
                <a:schemeClr val="dk1"/>
              </a:buClr>
              <a:buSzPts val="1400"/>
              <a:buChar char="•"/>
              <a:defRPr/>
            </a:lvl6pPr>
            <a:lvl7pPr marL="4267093" lvl="6" indent="-423323" algn="l">
              <a:lnSpc>
                <a:spcPct val="90000"/>
              </a:lnSpc>
              <a:spcBef>
                <a:spcPts val="533"/>
              </a:spcBef>
              <a:spcAft>
                <a:spcPts val="0"/>
              </a:spcAft>
              <a:buClr>
                <a:schemeClr val="dk1"/>
              </a:buClr>
              <a:buSzPts val="1400"/>
              <a:buChar char="•"/>
              <a:defRPr/>
            </a:lvl7pPr>
            <a:lvl8pPr marL="4876678" lvl="7" indent="-423323" algn="l">
              <a:lnSpc>
                <a:spcPct val="90000"/>
              </a:lnSpc>
              <a:spcBef>
                <a:spcPts val="533"/>
              </a:spcBef>
              <a:spcAft>
                <a:spcPts val="0"/>
              </a:spcAft>
              <a:buClr>
                <a:schemeClr val="dk1"/>
              </a:buClr>
              <a:buSzPts val="1400"/>
              <a:buChar char="•"/>
              <a:defRPr/>
            </a:lvl8pPr>
            <a:lvl9pPr marL="5486263" lvl="8" indent="-423323" algn="l">
              <a:lnSpc>
                <a:spcPct val="90000"/>
              </a:lnSpc>
              <a:spcBef>
                <a:spcPts val="533"/>
              </a:spcBef>
              <a:spcAft>
                <a:spcPts val="0"/>
              </a:spcAft>
              <a:buClr>
                <a:schemeClr val="dk1"/>
              </a:buClr>
              <a:buSzPts val="1400"/>
              <a:buChar char="•"/>
              <a:defRPr/>
            </a:lvl9pPr>
          </a:lstStyle>
          <a:p>
            <a:endParaRPr/>
          </a:p>
        </p:txBody>
      </p:sp>
      <p:sp>
        <p:nvSpPr>
          <p:cNvPr id="416" name="Google Shape;416;p71"/>
          <p:cNvSpPr txBox="1">
            <a:spLocks noGrp="1"/>
          </p:cNvSpPr>
          <p:nvPr>
            <p:ph type="dt" idx="10"/>
          </p:nvPr>
        </p:nvSpPr>
        <p:spPr>
          <a:xfrm>
            <a:off x="838200" y="6356351"/>
            <a:ext cx="2743200" cy="365125"/>
          </a:xfrm>
          <a:prstGeom prst="rect">
            <a:avLst/>
          </a:prstGeom>
          <a:noFill/>
          <a:ln>
            <a:noFill/>
          </a:ln>
        </p:spPr>
        <p:txBody>
          <a:bodyPr spcFirstLastPara="1" wrap="square" lIns="68575" tIns="34275" rIns="68575" bIns="34275" anchor="ctr" anchorCtr="0">
            <a:noAutofit/>
          </a:bodyPr>
          <a:lstStyle>
            <a:lvl1pPr lvl="0" algn="l">
              <a:spcBef>
                <a:spcPts val="0"/>
              </a:spcBef>
              <a:spcAft>
                <a:spcPts val="0"/>
              </a:spcAft>
              <a:buSzPts val="1100"/>
              <a:buNone/>
              <a:defRPr/>
            </a:lvl1pPr>
            <a:lvl2pPr lvl="1" algn="l">
              <a:spcBef>
                <a:spcPts val="0"/>
              </a:spcBef>
              <a:spcAft>
                <a:spcPts val="0"/>
              </a:spcAft>
              <a:buSzPts val="1100"/>
              <a:buNone/>
              <a:defRPr/>
            </a:lvl2pPr>
            <a:lvl3pPr lvl="2" algn="l">
              <a:spcBef>
                <a:spcPts val="0"/>
              </a:spcBef>
              <a:spcAft>
                <a:spcPts val="0"/>
              </a:spcAft>
              <a:buSzPts val="1100"/>
              <a:buNone/>
              <a:defRPr/>
            </a:lvl3pPr>
            <a:lvl4pPr lvl="3" algn="l">
              <a:spcBef>
                <a:spcPts val="0"/>
              </a:spcBef>
              <a:spcAft>
                <a:spcPts val="0"/>
              </a:spcAft>
              <a:buSzPts val="1100"/>
              <a:buNone/>
              <a:defRPr/>
            </a:lvl4pPr>
            <a:lvl5pPr lvl="4" algn="l">
              <a:spcBef>
                <a:spcPts val="0"/>
              </a:spcBef>
              <a:spcAft>
                <a:spcPts val="0"/>
              </a:spcAft>
              <a:buSzPts val="1100"/>
              <a:buNone/>
              <a:defRPr/>
            </a:lvl5pPr>
            <a:lvl6pPr lvl="5" algn="l">
              <a:spcBef>
                <a:spcPts val="0"/>
              </a:spcBef>
              <a:spcAft>
                <a:spcPts val="0"/>
              </a:spcAft>
              <a:buSzPts val="1100"/>
              <a:buNone/>
              <a:defRPr/>
            </a:lvl6pPr>
            <a:lvl7pPr lvl="6" algn="l">
              <a:spcBef>
                <a:spcPts val="0"/>
              </a:spcBef>
              <a:spcAft>
                <a:spcPts val="0"/>
              </a:spcAft>
              <a:buSzPts val="1100"/>
              <a:buNone/>
              <a:defRPr/>
            </a:lvl7pPr>
            <a:lvl8pPr lvl="7" algn="l">
              <a:spcBef>
                <a:spcPts val="0"/>
              </a:spcBef>
              <a:spcAft>
                <a:spcPts val="0"/>
              </a:spcAft>
              <a:buSzPts val="1100"/>
              <a:buNone/>
              <a:defRPr/>
            </a:lvl8pPr>
            <a:lvl9pPr lvl="8" algn="l">
              <a:spcBef>
                <a:spcPts val="0"/>
              </a:spcBef>
              <a:spcAft>
                <a:spcPts val="0"/>
              </a:spcAft>
              <a:buSzPts val="1100"/>
              <a:buNone/>
              <a:defRPr/>
            </a:lvl9pPr>
          </a:lstStyle>
          <a:p>
            <a:endParaRPr/>
          </a:p>
        </p:txBody>
      </p:sp>
      <p:sp>
        <p:nvSpPr>
          <p:cNvPr id="417" name="Google Shape;417;p71"/>
          <p:cNvSpPr txBox="1">
            <a:spLocks noGrp="1"/>
          </p:cNvSpPr>
          <p:nvPr>
            <p:ph type="ftr" idx="11"/>
          </p:nvPr>
        </p:nvSpPr>
        <p:spPr>
          <a:xfrm>
            <a:off x="4038600" y="6356351"/>
            <a:ext cx="4114800" cy="365125"/>
          </a:xfrm>
          <a:prstGeom prst="rect">
            <a:avLst/>
          </a:prstGeom>
          <a:noFill/>
          <a:ln>
            <a:noFill/>
          </a:ln>
        </p:spPr>
        <p:txBody>
          <a:bodyPr spcFirstLastPara="1" wrap="square" lIns="68575" tIns="34275" rIns="68575" bIns="34275" anchor="ctr" anchorCtr="0">
            <a:noAutofit/>
          </a:bodyPr>
          <a:lstStyle>
            <a:lvl1pPr lvl="0" algn="ctr">
              <a:spcBef>
                <a:spcPts val="0"/>
              </a:spcBef>
              <a:spcAft>
                <a:spcPts val="0"/>
              </a:spcAft>
              <a:buSzPts val="1100"/>
              <a:buNone/>
              <a:defRPr/>
            </a:lvl1pPr>
            <a:lvl2pPr lvl="1" algn="l">
              <a:spcBef>
                <a:spcPts val="0"/>
              </a:spcBef>
              <a:spcAft>
                <a:spcPts val="0"/>
              </a:spcAft>
              <a:buSzPts val="1100"/>
              <a:buNone/>
              <a:defRPr/>
            </a:lvl2pPr>
            <a:lvl3pPr lvl="2" algn="l">
              <a:spcBef>
                <a:spcPts val="0"/>
              </a:spcBef>
              <a:spcAft>
                <a:spcPts val="0"/>
              </a:spcAft>
              <a:buSzPts val="1100"/>
              <a:buNone/>
              <a:defRPr/>
            </a:lvl3pPr>
            <a:lvl4pPr lvl="3" algn="l">
              <a:spcBef>
                <a:spcPts val="0"/>
              </a:spcBef>
              <a:spcAft>
                <a:spcPts val="0"/>
              </a:spcAft>
              <a:buSzPts val="1100"/>
              <a:buNone/>
              <a:defRPr/>
            </a:lvl4pPr>
            <a:lvl5pPr lvl="4" algn="l">
              <a:spcBef>
                <a:spcPts val="0"/>
              </a:spcBef>
              <a:spcAft>
                <a:spcPts val="0"/>
              </a:spcAft>
              <a:buSzPts val="1100"/>
              <a:buNone/>
              <a:defRPr/>
            </a:lvl5pPr>
            <a:lvl6pPr lvl="5" algn="l">
              <a:spcBef>
                <a:spcPts val="0"/>
              </a:spcBef>
              <a:spcAft>
                <a:spcPts val="0"/>
              </a:spcAft>
              <a:buSzPts val="1100"/>
              <a:buNone/>
              <a:defRPr/>
            </a:lvl6pPr>
            <a:lvl7pPr lvl="6" algn="l">
              <a:spcBef>
                <a:spcPts val="0"/>
              </a:spcBef>
              <a:spcAft>
                <a:spcPts val="0"/>
              </a:spcAft>
              <a:buSzPts val="1100"/>
              <a:buNone/>
              <a:defRPr/>
            </a:lvl7pPr>
            <a:lvl8pPr lvl="7" algn="l">
              <a:spcBef>
                <a:spcPts val="0"/>
              </a:spcBef>
              <a:spcAft>
                <a:spcPts val="0"/>
              </a:spcAft>
              <a:buSzPts val="1100"/>
              <a:buNone/>
              <a:defRPr/>
            </a:lvl8pPr>
            <a:lvl9pPr lvl="8" algn="l">
              <a:spcBef>
                <a:spcPts val="0"/>
              </a:spcBef>
              <a:spcAft>
                <a:spcPts val="0"/>
              </a:spcAft>
              <a:buSzPts val="1100"/>
              <a:buNone/>
              <a:defRPr/>
            </a:lvl9pPr>
          </a:lstStyle>
          <a:p>
            <a:endParaRPr/>
          </a:p>
        </p:txBody>
      </p:sp>
      <p:sp>
        <p:nvSpPr>
          <p:cNvPr id="418" name="Google Shape;418;p71"/>
          <p:cNvSpPr txBox="1">
            <a:spLocks noGrp="1"/>
          </p:cNvSpPr>
          <p:nvPr>
            <p:ph type="sldNum" idx="12"/>
          </p:nvPr>
        </p:nvSpPr>
        <p:spPr>
          <a:xfrm>
            <a:off x="8610600" y="6356351"/>
            <a:ext cx="2743200" cy="365125"/>
          </a:xfrm>
          <a:prstGeom prst="rect">
            <a:avLst/>
          </a:prstGeom>
          <a:noFill/>
          <a:ln>
            <a:noFill/>
          </a:ln>
        </p:spPr>
        <p:txBody>
          <a:bodyPr spcFirstLastPara="1" wrap="square" lIns="68575" tIns="34275" rIns="68575" bIns="34275"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3835259268"/>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matchingName="Vertical Title and Text" type="vertTitleAndTx">
  <p:cSld name="Vertical Title and Text">
    <p:spTree>
      <p:nvGrpSpPr>
        <p:cNvPr id="1" name="Shape 419"/>
        <p:cNvGrpSpPr/>
        <p:nvPr/>
      </p:nvGrpSpPr>
      <p:grpSpPr>
        <a:xfrm>
          <a:off x="0" y="0"/>
          <a:ext cx="0" cy="0"/>
          <a:chOff x="0" y="0"/>
          <a:chExt cx="0" cy="0"/>
        </a:xfrm>
      </p:grpSpPr>
      <p:sp>
        <p:nvSpPr>
          <p:cNvPr id="420" name="Google Shape;420;p72"/>
          <p:cNvSpPr txBox="1">
            <a:spLocks noGrp="1"/>
          </p:cNvSpPr>
          <p:nvPr>
            <p:ph type="title"/>
          </p:nvPr>
        </p:nvSpPr>
        <p:spPr>
          <a:xfrm rot="5400000">
            <a:off x="7133431" y="1956594"/>
            <a:ext cx="5811839" cy="2628900"/>
          </a:xfrm>
          <a:prstGeom prst="rect">
            <a:avLst/>
          </a:prstGeom>
          <a:noFill/>
          <a:ln>
            <a:noFill/>
          </a:ln>
        </p:spPr>
        <p:txBody>
          <a:bodyPr spcFirstLastPara="1" wrap="square" lIns="68575" tIns="34275" rIns="68575" bIns="34275" anchor="ctr" anchorCtr="0">
            <a:normAutofit/>
          </a:bodyPr>
          <a:lstStyle>
            <a:lvl1pPr lvl="0" algn="l">
              <a:lnSpc>
                <a:spcPct val="90000"/>
              </a:lnSpc>
              <a:spcBef>
                <a:spcPts val="0"/>
              </a:spcBef>
              <a:spcAft>
                <a:spcPts val="0"/>
              </a:spcAft>
              <a:buClr>
                <a:schemeClr val="dk1"/>
              </a:buClr>
              <a:buSzPts val="1400"/>
              <a:buNone/>
              <a:defRPr/>
            </a:lvl1pPr>
            <a:lvl2pPr lvl="1">
              <a:spcBef>
                <a:spcPts val="0"/>
              </a:spcBef>
              <a:spcAft>
                <a:spcPts val="0"/>
              </a:spcAft>
              <a:buSzPts val="1100"/>
              <a:buNone/>
              <a:defRPr/>
            </a:lvl2pPr>
            <a:lvl3pPr lvl="2">
              <a:spcBef>
                <a:spcPts val="0"/>
              </a:spcBef>
              <a:spcAft>
                <a:spcPts val="0"/>
              </a:spcAft>
              <a:buSzPts val="1100"/>
              <a:buNone/>
              <a:defRPr/>
            </a:lvl3pPr>
            <a:lvl4pPr lvl="3">
              <a:spcBef>
                <a:spcPts val="0"/>
              </a:spcBef>
              <a:spcAft>
                <a:spcPts val="0"/>
              </a:spcAft>
              <a:buSzPts val="1100"/>
              <a:buNone/>
              <a:defRPr/>
            </a:lvl4pPr>
            <a:lvl5pPr lvl="4">
              <a:spcBef>
                <a:spcPts val="0"/>
              </a:spcBef>
              <a:spcAft>
                <a:spcPts val="0"/>
              </a:spcAft>
              <a:buSzPts val="1100"/>
              <a:buNone/>
              <a:defRPr/>
            </a:lvl5pPr>
            <a:lvl6pPr lvl="5">
              <a:spcBef>
                <a:spcPts val="0"/>
              </a:spcBef>
              <a:spcAft>
                <a:spcPts val="0"/>
              </a:spcAft>
              <a:buSzPts val="1100"/>
              <a:buNone/>
              <a:defRPr/>
            </a:lvl6pPr>
            <a:lvl7pPr lvl="6">
              <a:spcBef>
                <a:spcPts val="0"/>
              </a:spcBef>
              <a:spcAft>
                <a:spcPts val="0"/>
              </a:spcAft>
              <a:buSzPts val="1100"/>
              <a:buNone/>
              <a:defRPr/>
            </a:lvl7pPr>
            <a:lvl8pPr lvl="7">
              <a:spcBef>
                <a:spcPts val="0"/>
              </a:spcBef>
              <a:spcAft>
                <a:spcPts val="0"/>
              </a:spcAft>
              <a:buSzPts val="1100"/>
              <a:buNone/>
              <a:defRPr/>
            </a:lvl8pPr>
            <a:lvl9pPr lvl="8">
              <a:spcBef>
                <a:spcPts val="0"/>
              </a:spcBef>
              <a:spcAft>
                <a:spcPts val="0"/>
              </a:spcAft>
              <a:buSzPts val="1100"/>
              <a:buNone/>
              <a:defRPr/>
            </a:lvl9pPr>
          </a:lstStyle>
          <a:p>
            <a:endParaRPr/>
          </a:p>
        </p:txBody>
      </p:sp>
      <p:sp>
        <p:nvSpPr>
          <p:cNvPr id="421" name="Google Shape;421;p72"/>
          <p:cNvSpPr txBox="1">
            <a:spLocks noGrp="1"/>
          </p:cNvSpPr>
          <p:nvPr>
            <p:ph type="body" idx="1"/>
          </p:nvPr>
        </p:nvSpPr>
        <p:spPr>
          <a:xfrm rot="5400000">
            <a:off x="1799431" y="-596106"/>
            <a:ext cx="5811839" cy="7734300"/>
          </a:xfrm>
          <a:prstGeom prst="rect">
            <a:avLst/>
          </a:prstGeom>
          <a:noFill/>
          <a:ln>
            <a:noFill/>
          </a:ln>
        </p:spPr>
        <p:txBody>
          <a:bodyPr spcFirstLastPara="1" wrap="square" lIns="68575" tIns="34275" rIns="68575" bIns="34275" anchor="t" anchorCtr="0">
            <a:normAutofit/>
          </a:bodyPr>
          <a:lstStyle>
            <a:lvl1pPr marL="609585" lvl="0" indent="-423323" algn="l">
              <a:lnSpc>
                <a:spcPct val="90000"/>
              </a:lnSpc>
              <a:spcBef>
                <a:spcPts val="1067"/>
              </a:spcBef>
              <a:spcAft>
                <a:spcPts val="0"/>
              </a:spcAft>
              <a:buClr>
                <a:schemeClr val="dk1"/>
              </a:buClr>
              <a:buSzPts val="1400"/>
              <a:buChar char="•"/>
              <a:defRPr/>
            </a:lvl1pPr>
            <a:lvl2pPr marL="1219170" lvl="1" indent="-423323" algn="l">
              <a:lnSpc>
                <a:spcPct val="90000"/>
              </a:lnSpc>
              <a:spcBef>
                <a:spcPts val="533"/>
              </a:spcBef>
              <a:spcAft>
                <a:spcPts val="0"/>
              </a:spcAft>
              <a:buClr>
                <a:schemeClr val="dk1"/>
              </a:buClr>
              <a:buSzPts val="1400"/>
              <a:buChar char="•"/>
              <a:defRPr/>
            </a:lvl2pPr>
            <a:lvl3pPr marL="1828754" lvl="2" indent="-423323" algn="l">
              <a:lnSpc>
                <a:spcPct val="90000"/>
              </a:lnSpc>
              <a:spcBef>
                <a:spcPts val="533"/>
              </a:spcBef>
              <a:spcAft>
                <a:spcPts val="0"/>
              </a:spcAft>
              <a:buClr>
                <a:schemeClr val="dk1"/>
              </a:buClr>
              <a:buSzPts val="1400"/>
              <a:buChar char="•"/>
              <a:defRPr/>
            </a:lvl3pPr>
            <a:lvl4pPr marL="2438339" lvl="3" indent="-423323" algn="l">
              <a:lnSpc>
                <a:spcPct val="90000"/>
              </a:lnSpc>
              <a:spcBef>
                <a:spcPts val="533"/>
              </a:spcBef>
              <a:spcAft>
                <a:spcPts val="0"/>
              </a:spcAft>
              <a:buClr>
                <a:schemeClr val="dk1"/>
              </a:buClr>
              <a:buSzPts val="1400"/>
              <a:buChar char="•"/>
              <a:defRPr/>
            </a:lvl4pPr>
            <a:lvl5pPr marL="3047924" lvl="4" indent="-423323" algn="l">
              <a:lnSpc>
                <a:spcPct val="90000"/>
              </a:lnSpc>
              <a:spcBef>
                <a:spcPts val="533"/>
              </a:spcBef>
              <a:spcAft>
                <a:spcPts val="0"/>
              </a:spcAft>
              <a:buClr>
                <a:schemeClr val="dk1"/>
              </a:buClr>
              <a:buSzPts val="1400"/>
              <a:buChar char="•"/>
              <a:defRPr/>
            </a:lvl5pPr>
            <a:lvl6pPr marL="3657509" lvl="5" indent="-423323" algn="l">
              <a:lnSpc>
                <a:spcPct val="90000"/>
              </a:lnSpc>
              <a:spcBef>
                <a:spcPts val="533"/>
              </a:spcBef>
              <a:spcAft>
                <a:spcPts val="0"/>
              </a:spcAft>
              <a:buClr>
                <a:schemeClr val="dk1"/>
              </a:buClr>
              <a:buSzPts val="1400"/>
              <a:buChar char="•"/>
              <a:defRPr/>
            </a:lvl6pPr>
            <a:lvl7pPr marL="4267093" lvl="6" indent="-423323" algn="l">
              <a:lnSpc>
                <a:spcPct val="90000"/>
              </a:lnSpc>
              <a:spcBef>
                <a:spcPts val="533"/>
              </a:spcBef>
              <a:spcAft>
                <a:spcPts val="0"/>
              </a:spcAft>
              <a:buClr>
                <a:schemeClr val="dk1"/>
              </a:buClr>
              <a:buSzPts val="1400"/>
              <a:buChar char="•"/>
              <a:defRPr/>
            </a:lvl7pPr>
            <a:lvl8pPr marL="4876678" lvl="7" indent="-423323" algn="l">
              <a:lnSpc>
                <a:spcPct val="90000"/>
              </a:lnSpc>
              <a:spcBef>
                <a:spcPts val="533"/>
              </a:spcBef>
              <a:spcAft>
                <a:spcPts val="0"/>
              </a:spcAft>
              <a:buClr>
                <a:schemeClr val="dk1"/>
              </a:buClr>
              <a:buSzPts val="1400"/>
              <a:buChar char="•"/>
              <a:defRPr/>
            </a:lvl8pPr>
            <a:lvl9pPr marL="5486263" lvl="8" indent="-423323" algn="l">
              <a:lnSpc>
                <a:spcPct val="90000"/>
              </a:lnSpc>
              <a:spcBef>
                <a:spcPts val="533"/>
              </a:spcBef>
              <a:spcAft>
                <a:spcPts val="0"/>
              </a:spcAft>
              <a:buClr>
                <a:schemeClr val="dk1"/>
              </a:buClr>
              <a:buSzPts val="1400"/>
              <a:buChar char="•"/>
              <a:defRPr/>
            </a:lvl9pPr>
          </a:lstStyle>
          <a:p>
            <a:endParaRPr/>
          </a:p>
        </p:txBody>
      </p:sp>
      <p:sp>
        <p:nvSpPr>
          <p:cNvPr id="422" name="Google Shape;422;p72"/>
          <p:cNvSpPr txBox="1">
            <a:spLocks noGrp="1"/>
          </p:cNvSpPr>
          <p:nvPr>
            <p:ph type="dt" idx="10"/>
          </p:nvPr>
        </p:nvSpPr>
        <p:spPr>
          <a:xfrm>
            <a:off x="838200" y="6356351"/>
            <a:ext cx="2743200" cy="365125"/>
          </a:xfrm>
          <a:prstGeom prst="rect">
            <a:avLst/>
          </a:prstGeom>
          <a:noFill/>
          <a:ln>
            <a:noFill/>
          </a:ln>
        </p:spPr>
        <p:txBody>
          <a:bodyPr spcFirstLastPara="1" wrap="square" lIns="68575" tIns="34275" rIns="68575" bIns="34275" anchor="ctr" anchorCtr="0">
            <a:noAutofit/>
          </a:bodyPr>
          <a:lstStyle>
            <a:lvl1pPr lvl="0" algn="l">
              <a:spcBef>
                <a:spcPts val="0"/>
              </a:spcBef>
              <a:spcAft>
                <a:spcPts val="0"/>
              </a:spcAft>
              <a:buSzPts val="1100"/>
              <a:buNone/>
              <a:defRPr/>
            </a:lvl1pPr>
            <a:lvl2pPr lvl="1" algn="l">
              <a:spcBef>
                <a:spcPts val="0"/>
              </a:spcBef>
              <a:spcAft>
                <a:spcPts val="0"/>
              </a:spcAft>
              <a:buSzPts val="1100"/>
              <a:buNone/>
              <a:defRPr/>
            </a:lvl2pPr>
            <a:lvl3pPr lvl="2" algn="l">
              <a:spcBef>
                <a:spcPts val="0"/>
              </a:spcBef>
              <a:spcAft>
                <a:spcPts val="0"/>
              </a:spcAft>
              <a:buSzPts val="1100"/>
              <a:buNone/>
              <a:defRPr/>
            </a:lvl3pPr>
            <a:lvl4pPr lvl="3" algn="l">
              <a:spcBef>
                <a:spcPts val="0"/>
              </a:spcBef>
              <a:spcAft>
                <a:spcPts val="0"/>
              </a:spcAft>
              <a:buSzPts val="1100"/>
              <a:buNone/>
              <a:defRPr/>
            </a:lvl4pPr>
            <a:lvl5pPr lvl="4" algn="l">
              <a:spcBef>
                <a:spcPts val="0"/>
              </a:spcBef>
              <a:spcAft>
                <a:spcPts val="0"/>
              </a:spcAft>
              <a:buSzPts val="1100"/>
              <a:buNone/>
              <a:defRPr/>
            </a:lvl5pPr>
            <a:lvl6pPr lvl="5" algn="l">
              <a:spcBef>
                <a:spcPts val="0"/>
              </a:spcBef>
              <a:spcAft>
                <a:spcPts val="0"/>
              </a:spcAft>
              <a:buSzPts val="1100"/>
              <a:buNone/>
              <a:defRPr/>
            </a:lvl6pPr>
            <a:lvl7pPr lvl="6" algn="l">
              <a:spcBef>
                <a:spcPts val="0"/>
              </a:spcBef>
              <a:spcAft>
                <a:spcPts val="0"/>
              </a:spcAft>
              <a:buSzPts val="1100"/>
              <a:buNone/>
              <a:defRPr/>
            </a:lvl7pPr>
            <a:lvl8pPr lvl="7" algn="l">
              <a:spcBef>
                <a:spcPts val="0"/>
              </a:spcBef>
              <a:spcAft>
                <a:spcPts val="0"/>
              </a:spcAft>
              <a:buSzPts val="1100"/>
              <a:buNone/>
              <a:defRPr/>
            </a:lvl8pPr>
            <a:lvl9pPr lvl="8" algn="l">
              <a:spcBef>
                <a:spcPts val="0"/>
              </a:spcBef>
              <a:spcAft>
                <a:spcPts val="0"/>
              </a:spcAft>
              <a:buSzPts val="1100"/>
              <a:buNone/>
              <a:defRPr/>
            </a:lvl9pPr>
          </a:lstStyle>
          <a:p>
            <a:endParaRPr/>
          </a:p>
        </p:txBody>
      </p:sp>
      <p:sp>
        <p:nvSpPr>
          <p:cNvPr id="423" name="Google Shape;423;p72"/>
          <p:cNvSpPr txBox="1">
            <a:spLocks noGrp="1"/>
          </p:cNvSpPr>
          <p:nvPr>
            <p:ph type="ftr" idx="11"/>
          </p:nvPr>
        </p:nvSpPr>
        <p:spPr>
          <a:xfrm>
            <a:off x="4038600" y="6356351"/>
            <a:ext cx="4114800" cy="365125"/>
          </a:xfrm>
          <a:prstGeom prst="rect">
            <a:avLst/>
          </a:prstGeom>
          <a:noFill/>
          <a:ln>
            <a:noFill/>
          </a:ln>
        </p:spPr>
        <p:txBody>
          <a:bodyPr spcFirstLastPara="1" wrap="square" lIns="68575" tIns="34275" rIns="68575" bIns="34275" anchor="ctr" anchorCtr="0">
            <a:noAutofit/>
          </a:bodyPr>
          <a:lstStyle>
            <a:lvl1pPr lvl="0" algn="ctr">
              <a:spcBef>
                <a:spcPts val="0"/>
              </a:spcBef>
              <a:spcAft>
                <a:spcPts val="0"/>
              </a:spcAft>
              <a:buSzPts val="1100"/>
              <a:buNone/>
              <a:defRPr/>
            </a:lvl1pPr>
            <a:lvl2pPr lvl="1" algn="l">
              <a:spcBef>
                <a:spcPts val="0"/>
              </a:spcBef>
              <a:spcAft>
                <a:spcPts val="0"/>
              </a:spcAft>
              <a:buSzPts val="1100"/>
              <a:buNone/>
              <a:defRPr/>
            </a:lvl2pPr>
            <a:lvl3pPr lvl="2" algn="l">
              <a:spcBef>
                <a:spcPts val="0"/>
              </a:spcBef>
              <a:spcAft>
                <a:spcPts val="0"/>
              </a:spcAft>
              <a:buSzPts val="1100"/>
              <a:buNone/>
              <a:defRPr/>
            </a:lvl3pPr>
            <a:lvl4pPr lvl="3" algn="l">
              <a:spcBef>
                <a:spcPts val="0"/>
              </a:spcBef>
              <a:spcAft>
                <a:spcPts val="0"/>
              </a:spcAft>
              <a:buSzPts val="1100"/>
              <a:buNone/>
              <a:defRPr/>
            </a:lvl4pPr>
            <a:lvl5pPr lvl="4" algn="l">
              <a:spcBef>
                <a:spcPts val="0"/>
              </a:spcBef>
              <a:spcAft>
                <a:spcPts val="0"/>
              </a:spcAft>
              <a:buSzPts val="1100"/>
              <a:buNone/>
              <a:defRPr/>
            </a:lvl5pPr>
            <a:lvl6pPr lvl="5" algn="l">
              <a:spcBef>
                <a:spcPts val="0"/>
              </a:spcBef>
              <a:spcAft>
                <a:spcPts val="0"/>
              </a:spcAft>
              <a:buSzPts val="1100"/>
              <a:buNone/>
              <a:defRPr/>
            </a:lvl6pPr>
            <a:lvl7pPr lvl="6" algn="l">
              <a:spcBef>
                <a:spcPts val="0"/>
              </a:spcBef>
              <a:spcAft>
                <a:spcPts val="0"/>
              </a:spcAft>
              <a:buSzPts val="1100"/>
              <a:buNone/>
              <a:defRPr/>
            </a:lvl7pPr>
            <a:lvl8pPr lvl="7" algn="l">
              <a:spcBef>
                <a:spcPts val="0"/>
              </a:spcBef>
              <a:spcAft>
                <a:spcPts val="0"/>
              </a:spcAft>
              <a:buSzPts val="1100"/>
              <a:buNone/>
              <a:defRPr/>
            </a:lvl8pPr>
            <a:lvl9pPr lvl="8" algn="l">
              <a:spcBef>
                <a:spcPts val="0"/>
              </a:spcBef>
              <a:spcAft>
                <a:spcPts val="0"/>
              </a:spcAft>
              <a:buSzPts val="1100"/>
              <a:buNone/>
              <a:defRPr/>
            </a:lvl9pPr>
          </a:lstStyle>
          <a:p>
            <a:endParaRPr/>
          </a:p>
        </p:txBody>
      </p:sp>
      <p:sp>
        <p:nvSpPr>
          <p:cNvPr id="424" name="Google Shape;424;p72"/>
          <p:cNvSpPr txBox="1">
            <a:spLocks noGrp="1"/>
          </p:cNvSpPr>
          <p:nvPr>
            <p:ph type="sldNum" idx="12"/>
          </p:nvPr>
        </p:nvSpPr>
        <p:spPr>
          <a:xfrm>
            <a:off x="8610600" y="6356351"/>
            <a:ext cx="2743200" cy="365125"/>
          </a:xfrm>
          <a:prstGeom prst="rect">
            <a:avLst/>
          </a:prstGeom>
          <a:noFill/>
          <a:ln>
            <a:noFill/>
          </a:ln>
        </p:spPr>
        <p:txBody>
          <a:bodyPr spcFirstLastPara="1" wrap="square" lIns="68575" tIns="34275" rIns="68575" bIns="34275"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152187208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2_Blank">
    <p:spTree>
      <p:nvGrpSpPr>
        <p:cNvPr id="1" name=""/>
        <p:cNvGrpSpPr/>
        <p:nvPr/>
      </p:nvGrpSpPr>
      <p:grpSpPr>
        <a:xfrm>
          <a:off x="0" y="0"/>
          <a:ext cx="0" cy="0"/>
          <a:chOff x="0" y="0"/>
          <a:chExt cx="0" cy="0"/>
        </a:xfrm>
      </p:grpSpPr>
      <p:sp>
        <p:nvSpPr>
          <p:cNvPr id="5" name="Freeform 4"/>
          <p:cNvSpPr>
            <a:spLocks/>
          </p:cNvSpPr>
          <p:nvPr userDrawn="1"/>
        </p:nvSpPr>
        <p:spPr bwMode="auto">
          <a:xfrm>
            <a:off x="0" y="-639708"/>
            <a:ext cx="12192001" cy="8099370"/>
          </a:xfrm>
          <a:custGeom>
            <a:avLst/>
            <a:gdLst>
              <a:gd name="T0" fmla="*/ 471 w 542"/>
              <a:gd name="T1" fmla="*/ 110 h 359"/>
              <a:gd name="T2" fmla="*/ 494 w 542"/>
              <a:gd name="T3" fmla="*/ 124 h 359"/>
              <a:gd name="T4" fmla="*/ 473 w 542"/>
              <a:gd name="T5" fmla="*/ 118 h 359"/>
              <a:gd name="T6" fmla="*/ 352 w 542"/>
              <a:gd name="T7" fmla="*/ 60 h 359"/>
              <a:gd name="T8" fmla="*/ 361 w 542"/>
              <a:gd name="T9" fmla="*/ 68 h 359"/>
              <a:gd name="T10" fmla="*/ 315 w 542"/>
              <a:gd name="T11" fmla="*/ 52 h 359"/>
              <a:gd name="T12" fmla="*/ 341 w 542"/>
              <a:gd name="T13" fmla="*/ 68 h 359"/>
              <a:gd name="T14" fmla="*/ 369 w 542"/>
              <a:gd name="T15" fmla="*/ 86 h 359"/>
              <a:gd name="T16" fmla="*/ 325 w 542"/>
              <a:gd name="T17" fmla="*/ 66 h 359"/>
              <a:gd name="T18" fmla="*/ 304 w 542"/>
              <a:gd name="T19" fmla="*/ 63 h 359"/>
              <a:gd name="T20" fmla="*/ 254 w 542"/>
              <a:gd name="T21" fmla="*/ 49 h 359"/>
              <a:gd name="T22" fmla="*/ 302 w 542"/>
              <a:gd name="T23" fmla="*/ 75 h 359"/>
              <a:gd name="T24" fmla="*/ 245 w 542"/>
              <a:gd name="T25" fmla="*/ 49 h 359"/>
              <a:gd name="T26" fmla="*/ 240 w 542"/>
              <a:gd name="T27" fmla="*/ 54 h 359"/>
              <a:gd name="T28" fmla="*/ 217 w 542"/>
              <a:gd name="T29" fmla="*/ 54 h 359"/>
              <a:gd name="T30" fmla="*/ 215 w 542"/>
              <a:gd name="T31" fmla="*/ 65 h 359"/>
              <a:gd name="T32" fmla="*/ 211 w 542"/>
              <a:gd name="T33" fmla="*/ 69 h 359"/>
              <a:gd name="T34" fmla="*/ 270 w 542"/>
              <a:gd name="T35" fmla="*/ 101 h 359"/>
              <a:gd name="T36" fmla="*/ 242 w 542"/>
              <a:gd name="T37" fmla="*/ 92 h 359"/>
              <a:gd name="T38" fmla="*/ 149 w 542"/>
              <a:gd name="T39" fmla="*/ 52 h 359"/>
              <a:gd name="T40" fmla="*/ 101 w 542"/>
              <a:gd name="T41" fmla="*/ 27 h 359"/>
              <a:gd name="T42" fmla="*/ 123 w 542"/>
              <a:gd name="T43" fmla="*/ 42 h 359"/>
              <a:gd name="T44" fmla="*/ 159 w 542"/>
              <a:gd name="T45" fmla="*/ 62 h 359"/>
              <a:gd name="T46" fmla="*/ 118 w 542"/>
              <a:gd name="T47" fmla="*/ 46 h 359"/>
              <a:gd name="T48" fmla="*/ 108 w 542"/>
              <a:gd name="T49" fmla="*/ 52 h 359"/>
              <a:gd name="T50" fmla="*/ 14 w 542"/>
              <a:gd name="T51" fmla="*/ 2 h 359"/>
              <a:gd name="T52" fmla="*/ 36 w 542"/>
              <a:gd name="T53" fmla="*/ 19 h 359"/>
              <a:gd name="T54" fmla="*/ 35 w 542"/>
              <a:gd name="T55" fmla="*/ 27 h 359"/>
              <a:gd name="T56" fmla="*/ 21 w 542"/>
              <a:gd name="T57" fmla="*/ 35 h 359"/>
              <a:gd name="T58" fmla="*/ 0 w 542"/>
              <a:gd name="T59" fmla="*/ 108 h 359"/>
              <a:gd name="T60" fmla="*/ 3 w 542"/>
              <a:gd name="T61" fmla="*/ 221 h 359"/>
              <a:gd name="T62" fmla="*/ 75 w 542"/>
              <a:gd name="T63" fmla="*/ 257 h 359"/>
              <a:gd name="T64" fmla="*/ 99 w 542"/>
              <a:gd name="T65" fmla="*/ 264 h 359"/>
              <a:gd name="T66" fmla="*/ 28 w 542"/>
              <a:gd name="T67" fmla="*/ 229 h 359"/>
              <a:gd name="T68" fmla="*/ 169 w 542"/>
              <a:gd name="T69" fmla="*/ 290 h 359"/>
              <a:gd name="T70" fmla="*/ 204 w 542"/>
              <a:gd name="T71" fmla="*/ 306 h 359"/>
              <a:gd name="T72" fmla="*/ 218 w 542"/>
              <a:gd name="T73" fmla="*/ 308 h 359"/>
              <a:gd name="T74" fmla="*/ 208 w 542"/>
              <a:gd name="T75" fmla="*/ 294 h 359"/>
              <a:gd name="T76" fmla="*/ 150 w 542"/>
              <a:gd name="T77" fmla="*/ 267 h 359"/>
              <a:gd name="T78" fmla="*/ 226 w 542"/>
              <a:gd name="T79" fmla="*/ 299 h 359"/>
              <a:gd name="T80" fmla="*/ 250 w 542"/>
              <a:gd name="T81" fmla="*/ 305 h 359"/>
              <a:gd name="T82" fmla="*/ 275 w 542"/>
              <a:gd name="T83" fmla="*/ 305 h 359"/>
              <a:gd name="T84" fmla="*/ 242 w 542"/>
              <a:gd name="T85" fmla="*/ 287 h 359"/>
              <a:gd name="T86" fmla="*/ 263 w 542"/>
              <a:gd name="T87" fmla="*/ 294 h 359"/>
              <a:gd name="T88" fmla="*/ 307 w 542"/>
              <a:gd name="T89" fmla="*/ 304 h 359"/>
              <a:gd name="T90" fmla="*/ 317 w 542"/>
              <a:gd name="T91" fmla="*/ 302 h 359"/>
              <a:gd name="T92" fmla="*/ 328 w 542"/>
              <a:gd name="T93" fmla="*/ 298 h 359"/>
              <a:gd name="T94" fmla="*/ 344 w 542"/>
              <a:gd name="T95" fmla="*/ 299 h 359"/>
              <a:gd name="T96" fmla="*/ 277 w 542"/>
              <a:gd name="T97" fmla="*/ 263 h 359"/>
              <a:gd name="T98" fmla="*/ 293 w 542"/>
              <a:gd name="T99" fmla="*/ 267 h 359"/>
              <a:gd name="T100" fmla="*/ 380 w 542"/>
              <a:gd name="T101" fmla="*/ 302 h 359"/>
              <a:gd name="T102" fmla="*/ 448 w 542"/>
              <a:gd name="T103" fmla="*/ 334 h 359"/>
              <a:gd name="T104" fmla="*/ 414 w 542"/>
              <a:gd name="T105" fmla="*/ 314 h 359"/>
              <a:gd name="T106" fmla="*/ 385 w 542"/>
              <a:gd name="T107" fmla="*/ 303 h 359"/>
              <a:gd name="T108" fmla="*/ 396 w 542"/>
              <a:gd name="T109" fmla="*/ 300 h 359"/>
              <a:gd name="T110" fmla="*/ 460 w 542"/>
              <a:gd name="T111" fmla="*/ 320 h 359"/>
              <a:gd name="T112" fmla="*/ 519 w 542"/>
              <a:gd name="T113" fmla="*/ 351 h 359"/>
              <a:gd name="T114" fmla="*/ 509 w 542"/>
              <a:gd name="T115" fmla="*/ 341 h 359"/>
              <a:gd name="T116" fmla="*/ 503 w 542"/>
              <a:gd name="T117" fmla="*/ 328 h 359"/>
              <a:gd name="T118" fmla="*/ 504 w 542"/>
              <a:gd name="T119" fmla="*/ 317 h 359"/>
              <a:gd name="T120" fmla="*/ 541 w 542"/>
              <a:gd name="T121" fmla="*/ 254 h 359"/>
              <a:gd name="T122" fmla="*/ 542 w 542"/>
              <a:gd name="T123" fmla="*/ 147 h 3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42" h="359">
                <a:moveTo>
                  <a:pt x="542" y="144"/>
                </a:moveTo>
                <a:cubicBezTo>
                  <a:pt x="542" y="139"/>
                  <a:pt x="542" y="139"/>
                  <a:pt x="542" y="139"/>
                </a:cubicBezTo>
                <a:cubicBezTo>
                  <a:pt x="537" y="139"/>
                  <a:pt x="537" y="139"/>
                  <a:pt x="537" y="139"/>
                </a:cubicBezTo>
                <a:cubicBezTo>
                  <a:pt x="529" y="135"/>
                  <a:pt x="522" y="131"/>
                  <a:pt x="514" y="127"/>
                </a:cubicBezTo>
                <a:cubicBezTo>
                  <a:pt x="500" y="120"/>
                  <a:pt x="485" y="114"/>
                  <a:pt x="472" y="106"/>
                </a:cubicBezTo>
                <a:cubicBezTo>
                  <a:pt x="472" y="106"/>
                  <a:pt x="472" y="106"/>
                  <a:pt x="472" y="106"/>
                </a:cubicBezTo>
                <a:cubicBezTo>
                  <a:pt x="470" y="105"/>
                  <a:pt x="469" y="104"/>
                  <a:pt x="466" y="104"/>
                </a:cubicBezTo>
                <a:cubicBezTo>
                  <a:pt x="464" y="103"/>
                  <a:pt x="463" y="102"/>
                  <a:pt x="461" y="101"/>
                </a:cubicBezTo>
                <a:cubicBezTo>
                  <a:pt x="462" y="102"/>
                  <a:pt x="465" y="104"/>
                  <a:pt x="465" y="104"/>
                </a:cubicBezTo>
                <a:cubicBezTo>
                  <a:pt x="466" y="105"/>
                  <a:pt x="467" y="105"/>
                  <a:pt x="467" y="105"/>
                </a:cubicBezTo>
                <a:cubicBezTo>
                  <a:pt x="468" y="106"/>
                  <a:pt x="470" y="107"/>
                  <a:pt x="470" y="107"/>
                </a:cubicBezTo>
                <a:cubicBezTo>
                  <a:pt x="468" y="107"/>
                  <a:pt x="472" y="108"/>
                  <a:pt x="471" y="109"/>
                </a:cubicBezTo>
                <a:cubicBezTo>
                  <a:pt x="470" y="109"/>
                  <a:pt x="469" y="108"/>
                  <a:pt x="469" y="108"/>
                </a:cubicBezTo>
                <a:cubicBezTo>
                  <a:pt x="469" y="109"/>
                  <a:pt x="471" y="109"/>
                  <a:pt x="472" y="110"/>
                </a:cubicBezTo>
                <a:cubicBezTo>
                  <a:pt x="473" y="110"/>
                  <a:pt x="475" y="111"/>
                  <a:pt x="475" y="112"/>
                </a:cubicBezTo>
                <a:cubicBezTo>
                  <a:pt x="474" y="111"/>
                  <a:pt x="472" y="110"/>
                  <a:pt x="471" y="110"/>
                </a:cubicBezTo>
                <a:cubicBezTo>
                  <a:pt x="471" y="110"/>
                  <a:pt x="470" y="110"/>
                  <a:pt x="470" y="110"/>
                </a:cubicBezTo>
                <a:cubicBezTo>
                  <a:pt x="472" y="111"/>
                  <a:pt x="473" y="111"/>
                  <a:pt x="475" y="112"/>
                </a:cubicBezTo>
                <a:cubicBezTo>
                  <a:pt x="476" y="113"/>
                  <a:pt x="477" y="113"/>
                  <a:pt x="479" y="114"/>
                </a:cubicBezTo>
                <a:cubicBezTo>
                  <a:pt x="479" y="114"/>
                  <a:pt x="479" y="115"/>
                  <a:pt x="478" y="115"/>
                </a:cubicBezTo>
                <a:cubicBezTo>
                  <a:pt x="476" y="114"/>
                  <a:pt x="474" y="112"/>
                  <a:pt x="472" y="111"/>
                </a:cubicBezTo>
                <a:cubicBezTo>
                  <a:pt x="468" y="109"/>
                  <a:pt x="463" y="107"/>
                  <a:pt x="458" y="105"/>
                </a:cubicBezTo>
                <a:cubicBezTo>
                  <a:pt x="458" y="105"/>
                  <a:pt x="457" y="105"/>
                  <a:pt x="457" y="104"/>
                </a:cubicBezTo>
                <a:cubicBezTo>
                  <a:pt x="456" y="104"/>
                  <a:pt x="454" y="103"/>
                  <a:pt x="453" y="102"/>
                </a:cubicBezTo>
                <a:cubicBezTo>
                  <a:pt x="452" y="102"/>
                  <a:pt x="451" y="101"/>
                  <a:pt x="449" y="101"/>
                </a:cubicBezTo>
                <a:cubicBezTo>
                  <a:pt x="447" y="100"/>
                  <a:pt x="446" y="99"/>
                  <a:pt x="443" y="98"/>
                </a:cubicBezTo>
                <a:cubicBezTo>
                  <a:pt x="443" y="99"/>
                  <a:pt x="445" y="100"/>
                  <a:pt x="448" y="101"/>
                </a:cubicBezTo>
                <a:cubicBezTo>
                  <a:pt x="452" y="104"/>
                  <a:pt x="456" y="106"/>
                  <a:pt x="460" y="106"/>
                </a:cubicBezTo>
                <a:cubicBezTo>
                  <a:pt x="465" y="109"/>
                  <a:pt x="469" y="111"/>
                  <a:pt x="474" y="113"/>
                </a:cubicBezTo>
                <a:cubicBezTo>
                  <a:pt x="477" y="115"/>
                  <a:pt x="481" y="116"/>
                  <a:pt x="484" y="118"/>
                </a:cubicBezTo>
                <a:cubicBezTo>
                  <a:pt x="486" y="119"/>
                  <a:pt x="488" y="120"/>
                  <a:pt x="490" y="121"/>
                </a:cubicBezTo>
                <a:cubicBezTo>
                  <a:pt x="491" y="122"/>
                  <a:pt x="493" y="123"/>
                  <a:pt x="494" y="124"/>
                </a:cubicBezTo>
                <a:cubicBezTo>
                  <a:pt x="492" y="123"/>
                  <a:pt x="491" y="122"/>
                  <a:pt x="489" y="121"/>
                </a:cubicBezTo>
                <a:cubicBezTo>
                  <a:pt x="489" y="121"/>
                  <a:pt x="488" y="121"/>
                  <a:pt x="487" y="121"/>
                </a:cubicBezTo>
                <a:cubicBezTo>
                  <a:pt x="487" y="121"/>
                  <a:pt x="487" y="121"/>
                  <a:pt x="487" y="121"/>
                </a:cubicBezTo>
                <a:cubicBezTo>
                  <a:pt x="487" y="121"/>
                  <a:pt x="489" y="122"/>
                  <a:pt x="491" y="123"/>
                </a:cubicBezTo>
                <a:cubicBezTo>
                  <a:pt x="491" y="123"/>
                  <a:pt x="492" y="124"/>
                  <a:pt x="492" y="124"/>
                </a:cubicBezTo>
                <a:cubicBezTo>
                  <a:pt x="494" y="125"/>
                  <a:pt x="495" y="125"/>
                  <a:pt x="496" y="126"/>
                </a:cubicBezTo>
                <a:cubicBezTo>
                  <a:pt x="498" y="126"/>
                  <a:pt x="499" y="127"/>
                  <a:pt x="501" y="127"/>
                </a:cubicBezTo>
                <a:cubicBezTo>
                  <a:pt x="501" y="127"/>
                  <a:pt x="501" y="128"/>
                  <a:pt x="501" y="128"/>
                </a:cubicBezTo>
                <a:cubicBezTo>
                  <a:pt x="503" y="130"/>
                  <a:pt x="504" y="131"/>
                  <a:pt x="507" y="131"/>
                </a:cubicBezTo>
                <a:cubicBezTo>
                  <a:pt x="510" y="132"/>
                  <a:pt x="511" y="133"/>
                  <a:pt x="514" y="134"/>
                </a:cubicBezTo>
                <a:cubicBezTo>
                  <a:pt x="514" y="135"/>
                  <a:pt x="513" y="135"/>
                  <a:pt x="510" y="135"/>
                </a:cubicBezTo>
                <a:cubicBezTo>
                  <a:pt x="512" y="136"/>
                  <a:pt x="514" y="136"/>
                  <a:pt x="515" y="137"/>
                </a:cubicBezTo>
                <a:cubicBezTo>
                  <a:pt x="515" y="137"/>
                  <a:pt x="515" y="137"/>
                  <a:pt x="515" y="137"/>
                </a:cubicBezTo>
                <a:cubicBezTo>
                  <a:pt x="505" y="133"/>
                  <a:pt x="494" y="128"/>
                  <a:pt x="485" y="123"/>
                </a:cubicBezTo>
                <a:cubicBezTo>
                  <a:pt x="484" y="123"/>
                  <a:pt x="483" y="123"/>
                  <a:pt x="482" y="122"/>
                </a:cubicBezTo>
                <a:cubicBezTo>
                  <a:pt x="479" y="121"/>
                  <a:pt x="476" y="119"/>
                  <a:pt x="473" y="118"/>
                </a:cubicBezTo>
                <a:cubicBezTo>
                  <a:pt x="472" y="117"/>
                  <a:pt x="471" y="117"/>
                  <a:pt x="471" y="117"/>
                </a:cubicBezTo>
                <a:cubicBezTo>
                  <a:pt x="470" y="117"/>
                  <a:pt x="469" y="117"/>
                  <a:pt x="468" y="117"/>
                </a:cubicBezTo>
                <a:cubicBezTo>
                  <a:pt x="455" y="110"/>
                  <a:pt x="444" y="104"/>
                  <a:pt x="430" y="97"/>
                </a:cubicBezTo>
                <a:cubicBezTo>
                  <a:pt x="430" y="96"/>
                  <a:pt x="428" y="95"/>
                  <a:pt x="426" y="94"/>
                </a:cubicBezTo>
                <a:cubicBezTo>
                  <a:pt x="425" y="94"/>
                  <a:pt x="425" y="93"/>
                  <a:pt x="421" y="92"/>
                </a:cubicBezTo>
                <a:cubicBezTo>
                  <a:pt x="421" y="92"/>
                  <a:pt x="418" y="92"/>
                  <a:pt x="417" y="91"/>
                </a:cubicBezTo>
                <a:cubicBezTo>
                  <a:pt x="412" y="89"/>
                  <a:pt x="409" y="87"/>
                  <a:pt x="403" y="84"/>
                </a:cubicBezTo>
                <a:cubicBezTo>
                  <a:pt x="405" y="86"/>
                  <a:pt x="409" y="87"/>
                  <a:pt x="409" y="89"/>
                </a:cubicBezTo>
                <a:cubicBezTo>
                  <a:pt x="399" y="84"/>
                  <a:pt x="390" y="80"/>
                  <a:pt x="382" y="76"/>
                </a:cubicBezTo>
                <a:cubicBezTo>
                  <a:pt x="380" y="74"/>
                  <a:pt x="378" y="73"/>
                  <a:pt x="374" y="72"/>
                </a:cubicBezTo>
                <a:cubicBezTo>
                  <a:pt x="374" y="72"/>
                  <a:pt x="373" y="71"/>
                  <a:pt x="373" y="71"/>
                </a:cubicBezTo>
                <a:cubicBezTo>
                  <a:pt x="371" y="69"/>
                  <a:pt x="366" y="68"/>
                  <a:pt x="364" y="66"/>
                </a:cubicBezTo>
                <a:cubicBezTo>
                  <a:pt x="363" y="66"/>
                  <a:pt x="363" y="66"/>
                  <a:pt x="363" y="66"/>
                </a:cubicBezTo>
                <a:cubicBezTo>
                  <a:pt x="363" y="66"/>
                  <a:pt x="363" y="66"/>
                  <a:pt x="363" y="66"/>
                </a:cubicBezTo>
                <a:cubicBezTo>
                  <a:pt x="363" y="66"/>
                  <a:pt x="363" y="66"/>
                  <a:pt x="364" y="66"/>
                </a:cubicBezTo>
                <a:cubicBezTo>
                  <a:pt x="361" y="64"/>
                  <a:pt x="356" y="62"/>
                  <a:pt x="352" y="60"/>
                </a:cubicBezTo>
                <a:cubicBezTo>
                  <a:pt x="347" y="57"/>
                  <a:pt x="342" y="54"/>
                  <a:pt x="340" y="52"/>
                </a:cubicBezTo>
                <a:cubicBezTo>
                  <a:pt x="339" y="52"/>
                  <a:pt x="338" y="51"/>
                  <a:pt x="338" y="51"/>
                </a:cubicBezTo>
                <a:cubicBezTo>
                  <a:pt x="334" y="49"/>
                  <a:pt x="328" y="46"/>
                  <a:pt x="324" y="44"/>
                </a:cubicBezTo>
                <a:cubicBezTo>
                  <a:pt x="323" y="43"/>
                  <a:pt x="321" y="42"/>
                  <a:pt x="318" y="42"/>
                </a:cubicBezTo>
                <a:cubicBezTo>
                  <a:pt x="317" y="41"/>
                  <a:pt x="316" y="41"/>
                  <a:pt x="314" y="40"/>
                </a:cubicBezTo>
                <a:cubicBezTo>
                  <a:pt x="314" y="40"/>
                  <a:pt x="313" y="40"/>
                  <a:pt x="313" y="40"/>
                </a:cubicBezTo>
                <a:cubicBezTo>
                  <a:pt x="313" y="40"/>
                  <a:pt x="313" y="40"/>
                  <a:pt x="313" y="40"/>
                </a:cubicBezTo>
                <a:cubicBezTo>
                  <a:pt x="316" y="42"/>
                  <a:pt x="321" y="45"/>
                  <a:pt x="326" y="47"/>
                </a:cubicBezTo>
                <a:cubicBezTo>
                  <a:pt x="328" y="48"/>
                  <a:pt x="331" y="49"/>
                  <a:pt x="331" y="50"/>
                </a:cubicBezTo>
                <a:cubicBezTo>
                  <a:pt x="338" y="52"/>
                  <a:pt x="333" y="53"/>
                  <a:pt x="338" y="54"/>
                </a:cubicBezTo>
                <a:cubicBezTo>
                  <a:pt x="338" y="54"/>
                  <a:pt x="338" y="54"/>
                  <a:pt x="338" y="54"/>
                </a:cubicBezTo>
                <a:cubicBezTo>
                  <a:pt x="339" y="55"/>
                  <a:pt x="339" y="56"/>
                  <a:pt x="342" y="57"/>
                </a:cubicBezTo>
                <a:cubicBezTo>
                  <a:pt x="345" y="59"/>
                  <a:pt x="349" y="60"/>
                  <a:pt x="351" y="62"/>
                </a:cubicBezTo>
                <a:cubicBezTo>
                  <a:pt x="353" y="63"/>
                  <a:pt x="354" y="63"/>
                  <a:pt x="356" y="63"/>
                </a:cubicBezTo>
                <a:cubicBezTo>
                  <a:pt x="356" y="64"/>
                  <a:pt x="354" y="64"/>
                  <a:pt x="357" y="65"/>
                </a:cubicBezTo>
                <a:cubicBezTo>
                  <a:pt x="357" y="66"/>
                  <a:pt x="361" y="67"/>
                  <a:pt x="361" y="68"/>
                </a:cubicBezTo>
                <a:cubicBezTo>
                  <a:pt x="361" y="68"/>
                  <a:pt x="360" y="68"/>
                  <a:pt x="360" y="68"/>
                </a:cubicBezTo>
                <a:cubicBezTo>
                  <a:pt x="358" y="67"/>
                  <a:pt x="359" y="68"/>
                  <a:pt x="359" y="69"/>
                </a:cubicBezTo>
                <a:cubicBezTo>
                  <a:pt x="355" y="68"/>
                  <a:pt x="352" y="66"/>
                  <a:pt x="352" y="66"/>
                </a:cubicBezTo>
                <a:cubicBezTo>
                  <a:pt x="352" y="64"/>
                  <a:pt x="350" y="63"/>
                  <a:pt x="346" y="62"/>
                </a:cubicBezTo>
                <a:cubicBezTo>
                  <a:pt x="344" y="62"/>
                  <a:pt x="342" y="61"/>
                  <a:pt x="341" y="60"/>
                </a:cubicBezTo>
                <a:cubicBezTo>
                  <a:pt x="340" y="59"/>
                  <a:pt x="338" y="58"/>
                  <a:pt x="336" y="58"/>
                </a:cubicBezTo>
                <a:cubicBezTo>
                  <a:pt x="336" y="58"/>
                  <a:pt x="336" y="58"/>
                  <a:pt x="335" y="58"/>
                </a:cubicBezTo>
                <a:cubicBezTo>
                  <a:pt x="332" y="56"/>
                  <a:pt x="328" y="54"/>
                  <a:pt x="324" y="53"/>
                </a:cubicBezTo>
                <a:cubicBezTo>
                  <a:pt x="324" y="53"/>
                  <a:pt x="324" y="53"/>
                  <a:pt x="324" y="53"/>
                </a:cubicBezTo>
                <a:cubicBezTo>
                  <a:pt x="324" y="53"/>
                  <a:pt x="324" y="53"/>
                  <a:pt x="324" y="53"/>
                </a:cubicBezTo>
                <a:cubicBezTo>
                  <a:pt x="324" y="53"/>
                  <a:pt x="324" y="53"/>
                  <a:pt x="324" y="53"/>
                </a:cubicBezTo>
                <a:cubicBezTo>
                  <a:pt x="322" y="51"/>
                  <a:pt x="319" y="50"/>
                  <a:pt x="317" y="49"/>
                </a:cubicBezTo>
                <a:cubicBezTo>
                  <a:pt x="313" y="48"/>
                  <a:pt x="310" y="46"/>
                  <a:pt x="306" y="44"/>
                </a:cubicBezTo>
                <a:cubicBezTo>
                  <a:pt x="307" y="46"/>
                  <a:pt x="317" y="49"/>
                  <a:pt x="315" y="51"/>
                </a:cubicBezTo>
                <a:cubicBezTo>
                  <a:pt x="314" y="50"/>
                  <a:pt x="314" y="51"/>
                  <a:pt x="314" y="52"/>
                </a:cubicBezTo>
                <a:cubicBezTo>
                  <a:pt x="314" y="52"/>
                  <a:pt x="314" y="52"/>
                  <a:pt x="315" y="52"/>
                </a:cubicBezTo>
                <a:cubicBezTo>
                  <a:pt x="317" y="53"/>
                  <a:pt x="319" y="53"/>
                  <a:pt x="322" y="54"/>
                </a:cubicBezTo>
                <a:cubicBezTo>
                  <a:pt x="322" y="55"/>
                  <a:pt x="323" y="55"/>
                  <a:pt x="324" y="55"/>
                </a:cubicBezTo>
                <a:cubicBezTo>
                  <a:pt x="325" y="56"/>
                  <a:pt x="326" y="56"/>
                  <a:pt x="326" y="57"/>
                </a:cubicBezTo>
                <a:cubicBezTo>
                  <a:pt x="332" y="59"/>
                  <a:pt x="336" y="62"/>
                  <a:pt x="340" y="65"/>
                </a:cubicBezTo>
                <a:cubicBezTo>
                  <a:pt x="338" y="65"/>
                  <a:pt x="336" y="63"/>
                  <a:pt x="334" y="63"/>
                </a:cubicBezTo>
                <a:cubicBezTo>
                  <a:pt x="334" y="64"/>
                  <a:pt x="338" y="65"/>
                  <a:pt x="339" y="66"/>
                </a:cubicBezTo>
                <a:cubicBezTo>
                  <a:pt x="339" y="66"/>
                  <a:pt x="339" y="66"/>
                  <a:pt x="338" y="66"/>
                </a:cubicBezTo>
                <a:cubicBezTo>
                  <a:pt x="338" y="66"/>
                  <a:pt x="338" y="66"/>
                  <a:pt x="338" y="66"/>
                </a:cubicBezTo>
                <a:cubicBezTo>
                  <a:pt x="338" y="66"/>
                  <a:pt x="338" y="67"/>
                  <a:pt x="337" y="66"/>
                </a:cubicBezTo>
                <a:cubicBezTo>
                  <a:pt x="334" y="65"/>
                  <a:pt x="333" y="65"/>
                  <a:pt x="332" y="65"/>
                </a:cubicBezTo>
                <a:cubicBezTo>
                  <a:pt x="331" y="65"/>
                  <a:pt x="333" y="66"/>
                  <a:pt x="334" y="67"/>
                </a:cubicBezTo>
                <a:cubicBezTo>
                  <a:pt x="337" y="68"/>
                  <a:pt x="340" y="69"/>
                  <a:pt x="341" y="70"/>
                </a:cubicBezTo>
                <a:cubicBezTo>
                  <a:pt x="343" y="72"/>
                  <a:pt x="345" y="72"/>
                  <a:pt x="347" y="72"/>
                </a:cubicBezTo>
                <a:cubicBezTo>
                  <a:pt x="349" y="73"/>
                  <a:pt x="351" y="74"/>
                  <a:pt x="355" y="76"/>
                </a:cubicBezTo>
                <a:cubicBezTo>
                  <a:pt x="353" y="74"/>
                  <a:pt x="351" y="73"/>
                  <a:pt x="347" y="72"/>
                </a:cubicBezTo>
                <a:cubicBezTo>
                  <a:pt x="345" y="71"/>
                  <a:pt x="343" y="70"/>
                  <a:pt x="341" y="68"/>
                </a:cubicBezTo>
                <a:cubicBezTo>
                  <a:pt x="339" y="68"/>
                  <a:pt x="339" y="67"/>
                  <a:pt x="341" y="67"/>
                </a:cubicBezTo>
                <a:cubicBezTo>
                  <a:pt x="343" y="68"/>
                  <a:pt x="346" y="69"/>
                  <a:pt x="347" y="68"/>
                </a:cubicBezTo>
                <a:cubicBezTo>
                  <a:pt x="347" y="69"/>
                  <a:pt x="348" y="69"/>
                  <a:pt x="349" y="69"/>
                </a:cubicBezTo>
                <a:cubicBezTo>
                  <a:pt x="349" y="70"/>
                  <a:pt x="351" y="71"/>
                  <a:pt x="353" y="72"/>
                </a:cubicBezTo>
                <a:cubicBezTo>
                  <a:pt x="359" y="75"/>
                  <a:pt x="364" y="78"/>
                  <a:pt x="370" y="81"/>
                </a:cubicBezTo>
                <a:cubicBezTo>
                  <a:pt x="373" y="83"/>
                  <a:pt x="375" y="84"/>
                  <a:pt x="380" y="86"/>
                </a:cubicBezTo>
                <a:cubicBezTo>
                  <a:pt x="382" y="88"/>
                  <a:pt x="388" y="90"/>
                  <a:pt x="390" y="92"/>
                </a:cubicBezTo>
                <a:cubicBezTo>
                  <a:pt x="391" y="93"/>
                  <a:pt x="393" y="94"/>
                  <a:pt x="394" y="95"/>
                </a:cubicBezTo>
                <a:cubicBezTo>
                  <a:pt x="395" y="96"/>
                  <a:pt x="396" y="96"/>
                  <a:pt x="396" y="97"/>
                </a:cubicBezTo>
                <a:cubicBezTo>
                  <a:pt x="397" y="97"/>
                  <a:pt x="397" y="98"/>
                  <a:pt x="398" y="98"/>
                </a:cubicBezTo>
                <a:cubicBezTo>
                  <a:pt x="396" y="97"/>
                  <a:pt x="394" y="96"/>
                  <a:pt x="392" y="95"/>
                </a:cubicBezTo>
                <a:cubicBezTo>
                  <a:pt x="390" y="95"/>
                  <a:pt x="390" y="94"/>
                  <a:pt x="388" y="94"/>
                </a:cubicBezTo>
                <a:cubicBezTo>
                  <a:pt x="387" y="93"/>
                  <a:pt x="385" y="92"/>
                  <a:pt x="384" y="92"/>
                </a:cubicBezTo>
                <a:cubicBezTo>
                  <a:pt x="384" y="92"/>
                  <a:pt x="384" y="93"/>
                  <a:pt x="383" y="93"/>
                </a:cubicBezTo>
                <a:cubicBezTo>
                  <a:pt x="380" y="91"/>
                  <a:pt x="378" y="90"/>
                  <a:pt x="374" y="88"/>
                </a:cubicBezTo>
                <a:cubicBezTo>
                  <a:pt x="372" y="87"/>
                  <a:pt x="370" y="87"/>
                  <a:pt x="369" y="86"/>
                </a:cubicBezTo>
                <a:cubicBezTo>
                  <a:pt x="369" y="86"/>
                  <a:pt x="370" y="85"/>
                  <a:pt x="369" y="85"/>
                </a:cubicBezTo>
                <a:cubicBezTo>
                  <a:pt x="367" y="84"/>
                  <a:pt x="367" y="85"/>
                  <a:pt x="367" y="85"/>
                </a:cubicBezTo>
                <a:cubicBezTo>
                  <a:pt x="365" y="84"/>
                  <a:pt x="364" y="83"/>
                  <a:pt x="362" y="83"/>
                </a:cubicBezTo>
                <a:cubicBezTo>
                  <a:pt x="362" y="83"/>
                  <a:pt x="362" y="83"/>
                  <a:pt x="362" y="83"/>
                </a:cubicBezTo>
                <a:cubicBezTo>
                  <a:pt x="356" y="78"/>
                  <a:pt x="346" y="74"/>
                  <a:pt x="338" y="70"/>
                </a:cubicBezTo>
                <a:cubicBezTo>
                  <a:pt x="334" y="67"/>
                  <a:pt x="330" y="65"/>
                  <a:pt x="326" y="63"/>
                </a:cubicBezTo>
                <a:cubicBezTo>
                  <a:pt x="324" y="61"/>
                  <a:pt x="321" y="60"/>
                  <a:pt x="318" y="59"/>
                </a:cubicBezTo>
                <a:cubicBezTo>
                  <a:pt x="317" y="58"/>
                  <a:pt x="317" y="57"/>
                  <a:pt x="314" y="57"/>
                </a:cubicBezTo>
                <a:cubicBezTo>
                  <a:pt x="309" y="56"/>
                  <a:pt x="312" y="57"/>
                  <a:pt x="312" y="58"/>
                </a:cubicBezTo>
                <a:cubicBezTo>
                  <a:pt x="311" y="57"/>
                  <a:pt x="310" y="57"/>
                  <a:pt x="308" y="56"/>
                </a:cubicBezTo>
                <a:cubicBezTo>
                  <a:pt x="310" y="58"/>
                  <a:pt x="313" y="60"/>
                  <a:pt x="316" y="61"/>
                </a:cubicBezTo>
                <a:cubicBezTo>
                  <a:pt x="315" y="61"/>
                  <a:pt x="314" y="62"/>
                  <a:pt x="316" y="62"/>
                </a:cubicBezTo>
                <a:cubicBezTo>
                  <a:pt x="319" y="64"/>
                  <a:pt x="321" y="65"/>
                  <a:pt x="325" y="66"/>
                </a:cubicBezTo>
                <a:cubicBezTo>
                  <a:pt x="325" y="66"/>
                  <a:pt x="325" y="66"/>
                  <a:pt x="325" y="67"/>
                </a:cubicBezTo>
                <a:cubicBezTo>
                  <a:pt x="325" y="67"/>
                  <a:pt x="325" y="67"/>
                  <a:pt x="325" y="67"/>
                </a:cubicBezTo>
                <a:cubicBezTo>
                  <a:pt x="325" y="67"/>
                  <a:pt x="325" y="66"/>
                  <a:pt x="325" y="66"/>
                </a:cubicBezTo>
                <a:cubicBezTo>
                  <a:pt x="325" y="67"/>
                  <a:pt x="322" y="67"/>
                  <a:pt x="327" y="68"/>
                </a:cubicBezTo>
                <a:cubicBezTo>
                  <a:pt x="328" y="69"/>
                  <a:pt x="330" y="70"/>
                  <a:pt x="328" y="70"/>
                </a:cubicBezTo>
                <a:cubicBezTo>
                  <a:pt x="328" y="70"/>
                  <a:pt x="328" y="70"/>
                  <a:pt x="328" y="70"/>
                </a:cubicBezTo>
                <a:cubicBezTo>
                  <a:pt x="328" y="70"/>
                  <a:pt x="328" y="70"/>
                  <a:pt x="328" y="70"/>
                </a:cubicBezTo>
                <a:cubicBezTo>
                  <a:pt x="328" y="70"/>
                  <a:pt x="328" y="70"/>
                  <a:pt x="328" y="70"/>
                </a:cubicBezTo>
                <a:cubicBezTo>
                  <a:pt x="323" y="67"/>
                  <a:pt x="319" y="65"/>
                  <a:pt x="312" y="62"/>
                </a:cubicBezTo>
                <a:cubicBezTo>
                  <a:pt x="311" y="62"/>
                  <a:pt x="310" y="61"/>
                  <a:pt x="309" y="60"/>
                </a:cubicBezTo>
                <a:cubicBezTo>
                  <a:pt x="306" y="60"/>
                  <a:pt x="310" y="62"/>
                  <a:pt x="310" y="62"/>
                </a:cubicBezTo>
                <a:cubicBezTo>
                  <a:pt x="309" y="62"/>
                  <a:pt x="308" y="62"/>
                  <a:pt x="307" y="62"/>
                </a:cubicBezTo>
                <a:cubicBezTo>
                  <a:pt x="303" y="61"/>
                  <a:pt x="301" y="59"/>
                  <a:pt x="298" y="58"/>
                </a:cubicBezTo>
                <a:cubicBezTo>
                  <a:pt x="296" y="57"/>
                  <a:pt x="294" y="55"/>
                  <a:pt x="292" y="55"/>
                </a:cubicBezTo>
                <a:cubicBezTo>
                  <a:pt x="289" y="55"/>
                  <a:pt x="295" y="57"/>
                  <a:pt x="296" y="58"/>
                </a:cubicBezTo>
                <a:cubicBezTo>
                  <a:pt x="296" y="58"/>
                  <a:pt x="296" y="58"/>
                  <a:pt x="296" y="58"/>
                </a:cubicBezTo>
                <a:cubicBezTo>
                  <a:pt x="296" y="58"/>
                  <a:pt x="296" y="58"/>
                  <a:pt x="296" y="58"/>
                </a:cubicBezTo>
                <a:cubicBezTo>
                  <a:pt x="295" y="58"/>
                  <a:pt x="295" y="58"/>
                  <a:pt x="294" y="58"/>
                </a:cubicBezTo>
                <a:cubicBezTo>
                  <a:pt x="297" y="60"/>
                  <a:pt x="302" y="61"/>
                  <a:pt x="304" y="63"/>
                </a:cubicBezTo>
                <a:cubicBezTo>
                  <a:pt x="305" y="63"/>
                  <a:pt x="305" y="64"/>
                  <a:pt x="306" y="64"/>
                </a:cubicBezTo>
                <a:cubicBezTo>
                  <a:pt x="306" y="64"/>
                  <a:pt x="305" y="64"/>
                  <a:pt x="304" y="64"/>
                </a:cubicBezTo>
                <a:cubicBezTo>
                  <a:pt x="304" y="65"/>
                  <a:pt x="304" y="65"/>
                  <a:pt x="305" y="66"/>
                </a:cubicBezTo>
                <a:cubicBezTo>
                  <a:pt x="311" y="69"/>
                  <a:pt x="311" y="69"/>
                  <a:pt x="305" y="69"/>
                </a:cubicBezTo>
                <a:cubicBezTo>
                  <a:pt x="305" y="69"/>
                  <a:pt x="305" y="69"/>
                  <a:pt x="305" y="69"/>
                </a:cubicBezTo>
                <a:cubicBezTo>
                  <a:pt x="305" y="69"/>
                  <a:pt x="305" y="69"/>
                  <a:pt x="305" y="69"/>
                </a:cubicBezTo>
                <a:cubicBezTo>
                  <a:pt x="305" y="69"/>
                  <a:pt x="305" y="69"/>
                  <a:pt x="305" y="69"/>
                </a:cubicBezTo>
                <a:cubicBezTo>
                  <a:pt x="303" y="69"/>
                  <a:pt x="303" y="67"/>
                  <a:pt x="300" y="67"/>
                </a:cubicBezTo>
                <a:cubicBezTo>
                  <a:pt x="298" y="68"/>
                  <a:pt x="301" y="69"/>
                  <a:pt x="302" y="69"/>
                </a:cubicBezTo>
                <a:cubicBezTo>
                  <a:pt x="303" y="70"/>
                  <a:pt x="303" y="71"/>
                  <a:pt x="301" y="70"/>
                </a:cubicBezTo>
                <a:cubicBezTo>
                  <a:pt x="295" y="68"/>
                  <a:pt x="289" y="67"/>
                  <a:pt x="284" y="64"/>
                </a:cubicBezTo>
                <a:cubicBezTo>
                  <a:pt x="284" y="64"/>
                  <a:pt x="283" y="63"/>
                  <a:pt x="284" y="63"/>
                </a:cubicBezTo>
                <a:cubicBezTo>
                  <a:pt x="284" y="63"/>
                  <a:pt x="286" y="64"/>
                  <a:pt x="287" y="64"/>
                </a:cubicBezTo>
                <a:cubicBezTo>
                  <a:pt x="282" y="61"/>
                  <a:pt x="272" y="58"/>
                  <a:pt x="267" y="55"/>
                </a:cubicBezTo>
                <a:cubicBezTo>
                  <a:pt x="265" y="54"/>
                  <a:pt x="262" y="52"/>
                  <a:pt x="258" y="50"/>
                </a:cubicBezTo>
                <a:cubicBezTo>
                  <a:pt x="257" y="50"/>
                  <a:pt x="256" y="49"/>
                  <a:pt x="254" y="49"/>
                </a:cubicBezTo>
                <a:cubicBezTo>
                  <a:pt x="252" y="49"/>
                  <a:pt x="253" y="50"/>
                  <a:pt x="255" y="50"/>
                </a:cubicBezTo>
                <a:cubicBezTo>
                  <a:pt x="259" y="52"/>
                  <a:pt x="255" y="52"/>
                  <a:pt x="255" y="52"/>
                </a:cubicBezTo>
                <a:cubicBezTo>
                  <a:pt x="254" y="52"/>
                  <a:pt x="253" y="52"/>
                  <a:pt x="253" y="52"/>
                </a:cubicBezTo>
                <a:cubicBezTo>
                  <a:pt x="255" y="53"/>
                  <a:pt x="255" y="54"/>
                  <a:pt x="260" y="55"/>
                </a:cubicBezTo>
                <a:cubicBezTo>
                  <a:pt x="261" y="54"/>
                  <a:pt x="259" y="53"/>
                  <a:pt x="259" y="53"/>
                </a:cubicBezTo>
                <a:cubicBezTo>
                  <a:pt x="262" y="54"/>
                  <a:pt x="262" y="55"/>
                  <a:pt x="264" y="55"/>
                </a:cubicBezTo>
                <a:cubicBezTo>
                  <a:pt x="269" y="57"/>
                  <a:pt x="269" y="59"/>
                  <a:pt x="274" y="61"/>
                </a:cubicBezTo>
                <a:cubicBezTo>
                  <a:pt x="276" y="62"/>
                  <a:pt x="278" y="63"/>
                  <a:pt x="280" y="64"/>
                </a:cubicBezTo>
                <a:cubicBezTo>
                  <a:pt x="280" y="64"/>
                  <a:pt x="279" y="65"/>
                  <a:pt x="280" y="66"/>
                </a:cubicBezTo>
                <a:cubicBezTo>
                  <a:pt x="282" y="67"/>
                  <a:pt x="284" y="68"/>
                  <a:pt x="286" y="69"/>
                </a:cubicBezTo>
                <a:cubicBezTo>
                  <a:pt x="286" y="69"/>
                  <a:pt x="287" y="69"/>
                  <a:pt x="287" y="69"/>
                </a:cubicBezTo>
                <a:cubicBezTo>
                  <a:pt x="285" y="68"/>
                  <a:pt x="283" y="67"/>
                  <a:pt x="281" y="66"/>
                </a:cubicBezTo>
                <a:cubicBezTo>
                  <a:pt x="286" y="66"/>
                  <a:pt x="287" y="68"/>
                  <a:pt x="290" y="69"/>
                </a:cubicBezTo>
                <a:cubicBezTo>
                  <a:pt x="291" y="71"/>
                  <a:pt x="297" y="73"/>
                  <a:pt x="300" y="74"/>
                </a:cubicBezTo>
                <a:cubicBezTo>
                  <a:pt x="300" y="75"/>
                  <a:pt x="301" y="75"/>
                  <a:pt x="302" y="75"/>
                </a:cubicBezTo>
                <a:cubicBezTo>
                  <a:pt x="302" y="75"/>
                  <a:pt x="302" y="75"/>
                  <a:pt x="302" y="75"/>
                </a:cubicBezTo>
                <a:cubicBezTo>
                  <a:pt x="302" y="75"/>
                  <a:pt x="302" y="75"/>
                  <a:pt x="302" y="75"/>
                </a:cubicBezTo>
                <a:cubicBezTo>
                  <a:pt x="302" y="75"/>
                  <a:pt x="302" y="75"/>
                  <a:pt x="302" y="75"/>
                </a:cubicBezTo>
                <a:cubicBezTo>
                  <a:pt x="306" y="77"/>
                  <a:pt x="308" y="79"/>
                  <a:pt x="313" y="80"/>
                </a:cubicBezTo>
                <a:cubicBezTo>
                  <a:pt x="313" y="80"/>
                  <a:pt x="313" y="80"/>
                  <a:pt x="313" y="80"/>
                </a:cubicBezTo>
                <a:cubicBezTo>
                  <a:pt x="313" y="80"/>
                  <a:pt x="313" y="80"/>
                  <a:pt x="313" y="80"/>
                </a:cubicBezTo>
                <a:cubicBezTo>
                  <a:pt x="314" y="81"/>
                  <a:pt x="316" y="82"/>
                  <a:pt x="318" y="83"/>
                </a:cubicBezTo>
                <a:cubicBezTo>
                  <a:pt x="319" y="84"/>
                  <a:pt x="322" y="85"/>
                  <a:pt x="325" y="86"/>
                </a:cubicBezTo>
                <a:cubicBezTo>
                  <a:pt x="327" y="87"/>
                  <a:pt x="328" y="88"/>
                  <a:pt x="330" y="89"/>
                </a:cubicBezTo>
                <a:cubicBezTo>
                  <a:pt x="330" y="89"/>
                  <a:pt x="330" y="90"/>
                  <a:pt x="330" y="90"/>
                </a:cubicBezTo>
                <a:cubicBezTo>
                  <a:pt x="332" y="91"/>
                  <a:pt x="335" y="92"/>
                  <a:pt x="334" y="93"/>
                </a:cubicBezTo>
                <a:cubicBezTo>
                  <a:pt x="328" y="90"/>
                  <a:pt x="324" y="88"/>
                  <a:pt x="317" y="85"/>
                </a:cubicBezTo>
                <a:cubicBezTo>
                  <a:pt x="306" y="80"/>
                  <a:pt x="296" y="74"/>
                  <a:pt x="285" y="69"/>
                </a:cubicBezTo>
                <a:cubicBezTo>
                  <a:pt x="284" y="68"/>
                  <a:pt x="282" y="68"/>
                  <a:pt x="281" y="67"/>
                </a:cubicBezTo>
                <a:cubicBezTo>
                  <a:pt x="280" y="67"/>
                  <a:pt x="280" y="67"/>
                  <a:pt x="279" y="66"/>
                </a:cubicBezTo>
                <a:cubicBezTo>
                  <a:pt x="273" y="64"/>
                  <a:pt x="268" y="61"/>
                  <a:pt x="262" y="58"/>
                </a:cubicBezTo>
                <a:cubicBezTo>
                  <a:pt x="256" y="55"/>
                  <a:pt x="249" y="52"/>
                  <a:pt x="245" y="49"/>
                </a:cubicBezTo>
                <a:cubicBezTo>
                  <a:pt x="244" y="48"/>
                  <a:pt x="241" y="47"/>
                  <a:pt x="239" y="45"/>
                </a:cubicBezTo>
                <a:cubicBezTo>
                  <a:pt x="240" y="46"/>
                  <a:pt x="241" y="46"/>
                  <a:pt x="242" y="46"/>
                </a:cubicBezTo>
                <a:cubicBezTo>
                  <a:pt x="242" y="45"/>
                  <a:pt x="240" y="45"/>
                  <a:pt x="238" y="44"/>
                </a:cubicBezTo>
                <a:cubicBezTo>
                  <a:pt x="237" y="44"/>
                  <a:pt x="238" y="45"/>
                  <a:pt x="238" y="45"/>
                </a:cubicBezTo>
                <a:cubicBezTo>
                  <a:pt x="237" y="45"/>
                  <a:pt x="236" y="44"/>
                  <a:pt x="233" y="44"/>
                </a:cubicBezTo>
                <a:cubicBezTo>
                  <a:pt x="238" y="46"/>
                  <a:pt x="239" y="47"/>
                  <a:pt x="243" y="49"/>
                </a:cubicBezTo>
                <a:cubicBezTo>
                  <a:pt x="245" y="50"/>
                  <a:pt x="246" y="51"/>
                  <a:pt x="248" y="52"/>
                </a:cubicBezTo>
                <a:cubicBezTo>
                  <a:pt x="252" y="55"/>
                  <a:pt x="258" y="58"/>
                  <a:pt x="262" y="60"/>
                </a:cubicBezTo>
                <a:cubicBezTo>
                  <a:pt x="261" y="60"/>
                  <a:pt x="262" y="61"/>
                  <a:pt x="262" y="61"/>
                </a:cubicBezTo>
                <a:cubicBezTo>
                  <a:pt x="263" y="62"/>
                  <a:pt x="263" y="63"/>
                  <a:pt x="262" y="63"/>
                </a:cubicBezTo>
                <a:cubicBezTo>
                  <a:pt x="260" y="63"/>
                  <a:pt x="258" y="62"/>
                  <a:pt x="257" y="61"/>
                </a:cubicBezTo>
                <a:cubicBezTo>
                  <a:pt x="254" y="60"/>
                  <a:pt x="250" y="59"/>
                  <a:pt x="246" y="57"/>
                </a:cubicBezTo>
                <a:cubicBezTo>
                  <a:pt x="242" y="56"/>
                  <a:pt x="240" y="56"/>
                  <a:pt x="238" y="57"/>
                </a:cubicBezTo>
                <a:cubicBezTo>
                  <a:pt x="238" y="57"/>
                  <a:pt x="236" y="57"/>
                  <a:pt x="235" y="56"/>
                </a:cubicBezTo>
                <a:cubicBezTo>
                  <a:pt x="234" y="55"/>
                  <a:pt x="234" y="55"/>
                  <a:pt x="236" y="55"/>
                </a:cubicBezTo>
                <a:cubicBezTo>
                  <a:pt x="239" y="56"/>
                  <a:pt x="238" y="54"/>
                  <a:pt x="240" y="54"/>
                </a:cubicBezTo>
                <a:cubicBezTo>
                  <a:pt x="236" y="53"/>
                  <a:pt x="232" y="52"/>
                  <a:pt x="228" y="50"/>
                </a:cubicBezTo>
                <a:cubicBezTo>
                  <a:pt x="229" y="52"/>
                  <a:pt x="230" y="52"/>
                  <a:pt x="230" y="53"/>
                </a:cubicBezTo>
                <a:cubicBezTo>
                  <a:pt x="228" y="53"/>
                  <a:pt x="223" y="51"/>
                  <a:pt x="224" y="53"/>
                </a:cubicBezTo>
                <a:cubicBezTo>
                  <a:pt x="225" y="55"/>
                  <a:pt x="225" y="55"/>
                  <a:pt x="221" y="55"/>
                </a:cubicBezTo>
                <a:cubicBezTo>
                  <a:pt x="225" y="57"/>
                  <a:pt x="228" y="58"/>
                  <a:pt x="232" y="59"/>
                </a:cubicBezTo>
                <a:cubicBezTo>
                  <a:pt x="232" y="59"/>
                  <a:pt x="233" y="59"/>
                  <a:pt x="233" y="59"/>
                </a:cubicBezTo>
                <a:cubicBezTo>
                  <a:pt x="233" y="59"/>
                  <a:pt x="233" y="60"/>
                  <a:pt x="232" y="60"/>
                </a:cubicBezTo>
                <a:cubicBezTo>
                  <a:pt x="230" y="60"/>
                  <a:pt x="232" y="60"/>
                  <a:pt x="233" y="61"/>
                </a:cubicBezTo>
                <a:cubicBezTo>
                  <a:pt x="234" y="61"/>
                  <a:pt x="234" y="61"/>
                  <a:pt x="234" y="61"/>
                </a:cubicBezTo>
                <a:cubicBezTo>
                  <a:pt x="234" y="61"/>
                  <a:pt x="234" y="62"/>
                  <a:pt x="236" y="62"/>
                </a:cubicBezTo>
                <a:cubicBezTo>
                  <a:pt x="238" y="63"/>
                  <a:pt x="238" y="64"/>
                  <a:pt x="236" y="64"/>
                </a:cubicBezTo>
                <a:cubicBezTo>
                  <a:pt x="235" y="64"/>
                  <a:pt x="238" y="65"/>
                  <a:pt x="238" y="65"/>
                </a:cubicBezTo>
                <a:cubicBezTo>
                  <a:pt x="236" y="65"/>
                  <a:pt x="235" y="64"/>
                  <a:pt x="234" y="63"/>
                </a:cubicBezTo>
                <a:cubicBezTo>
                  <a:pt x="232" y="62"/>
                  <a:pt x="228" y="60"/>
                  <a:pt x="225" y="58"/>
                </a:cubicBezTo>
                <a:cubicBezTo>
                  <a:pt x="224" y="58"/>
                  <a:pt x="222" y="57"/>
                  <a:pt x="220" y="56"/>
                </a:cubicBezTo>
                <a:cubicBezTo>
                  <a:pt x="219" y="55"/>
                  <a:pt x="218" y="55"/>
                  <a:pt x="217" y="54"/>
                </a:cubicBezTo>
                <a:cubicBezTo>
                  <a:pt x="216" y="54"/>
                  <a:pt x="215" y="53"/>
                  <a:pt x="215" y="53"/>
                </a:cubicBezTo>
                <a:cubicBezTo>
                  <a:pt x="215" y="53"/>
                  <a:pt x="214" y="52"/>
                  <a:pt x="213" y="52"/>
                </a:cubicBezTo>
                <a:cubicBezTo>
                  <a:pt x="212" y="53"/>
                  <a:pt x="211" y="52"/>
                  <a:pt x="210" y="52"/>
                </a:cubicBezTo>
                <a:cubicBezTo>
                  <a:pt x="210" y="52"/>
                  <a:pt x="211" y="52"/>
                  <a:pt x="212" y="53"/>
                </a:cubicBezTo>
                <a:cubicBezTo>
                  <a:pt x="213" y="53"/>
                  <a:pt x="214" y="54"/>
                  <a:pt x="216" y="54"/>
                </a:cubicBezTo>
                <a:cubicBezTo>
                  <a:pt x="221" y="57"/>
                  <a:pt x="225" y="60"/>
                  <a:pt x="233" y="63"/>
                </a:cubicBezTo>
                <a:cubicBezTo>
                  <a:pt x="237" y="67"/>
                  <a:pt x="244" y="70"/>
                  <a:pt x="250" y="73"/>
                </a:cubicBezTo>
                <a:cubicBezTo>
                  <a:pt x="253" y="74"/>
                  <a:pt x="255" y="76"/>
                  <a:pt x="258" y="77"/>
                </a:cubicBezTo>
                <a:cubicBezTo>
                  <a:pt x="259" y="79"/>
                  <a:pt x="263" y="80"/>
                  <a:pt x="266" y="82"/>
                </a:cubicBezTo>
                <a:cubicBezTo>
                  <a:pt x="262" y="81"/>
                  <a:pt x="258" y="81"/>
                  <a:pt x="253" y="79"/>
                </a:cubicBezTo>
                <a:cubicBezTo>
                  <a:pt x="248" y="77"/>
                  <a:pt x="243" y="75"/>
                  <a:pt x="239" y="73"/>
                </a:cubicBezTo>
                <a:cubicBezTo>
                  <a:pt x="233" y="69"/>
                  <a:pt x="228" y="66"/>
                  <a:pt x="220" y="63"/>
                </a:cubicBezTo>
                <a:cubicBezTo>
                  <a:pt x="217" y="61"/>
                  <a:pt x="212" y="60"/>
                  <a:pt x="208" y="59"/>
                </a:cubicBezTo>
                <a:cubicBezTo>
                  <a:pt x="207" y="60"/>
                  <a:pt x="211" y="62"/>
                  <a:pt x="214" y="63"/>
                </a:cubicBezTo>
                <a:cubicBezTo>
                  <a:pt x="216" y="63"/>
                  <a:pt x="219" y="64"/>
                  <a:pt x="219" y="65"/>
                </a:cubicBezTo>
                <a:cubicBezTo>
                  <a:pt x="219" y="65"/>
                  <a:pt x="217" y="65"/>
                  <a:pt x="215" y="65"/>
                </a:cubicBezTo>
                <a:cubicBezTo>
                  <a:pt x="214" y="65"/>
                  <a:pt x="212" y="64"/>
                  <a:pt x="211" y="65"/>
                </a:cubicBezTo>
                <a:cubicBezTo>
                  <a:pt x="211" y="64"/>
                  <a:pt x="210" y="64"/>
                  <a:pt x="209" y="63"/>
                </a:cubicBezTo>
                <a:cubicBezTo>
                  <a:pt x="209" y="63"/>
                  <a:pt x="209" y="63"/>
                  <a:pt x="209" y="62"/>
                </a:cubicBezTo>
                <a:cubicBezTo>
                  <a:pt x="209" y="62"/>
                  <a:pt x="209" y="62"/>
                  <a:pt x="209" y="62"/>
                </a:cubicBezTo>
                <a:cubicBezTo>
                  <a:pt x="210" y="63"/>
                  <a:pt x="212" y="64"/>
                  <a:pt x="212" y="63"/>
                </a:cubicBezTo>
                <a:cubicBezTo>
                  <a:pt x="212" y="63"/>
                  <a:pt x="212" y="62"/>
                  <a:pt x="208" y="61"/>
                </a:cubicBezTo>
                <a:cubicBezTo>
                  <a:pt x="208" y="61"/>
                  <a:pt x="207" y="61"/>
                  <a:pt x="207" y="61"/>
                </a:cubicBezTo>
                <a:cubicBezTo>
                  <a:pt x="205" y="60"/>
                  <a:pt x="203" y="59"/>
                  <a:pt x="201" y="58"/>
                </a:cubicBezTo>
                <a:cubicBezTo>
                  <a:pt x="201" y="58"/>
                  <a:pt x="200" y="58"/>
                  <a:pt x="200" y="58"/>
                </a:cubicBezTo>
                <a:cubicBezTo>
                  <a:pt x="202" y="59"/>
                  <a:pt x="204" y="60"/>
                  <a:pt x="206" y="61"/>
                </a:cubicBezTo>
                <a:cubicBezTo>
                  <a:pt x="207" y="62"/>
                  <a:pt x="207" y="62"/>
                  <a:pt x="205" y="62"/>
                </a:cubicBezTo>
                <a:cubicBezTo>
                  <a:pt x="203" y="62"/>
                  <a:pt x="202" y="62"/>
                  <a:pt x="201" y="62"/>
                </a:cubicBezTo>
                <a:cubicBezTo>
                  <a:pt x="200" y="61"/>
                  <a:pt x="199" y="60"/>
                  <a:pt x="195" y="59"/>
                </a:cubicBezTo>
                <a:cubicBezTo>
                  <a:pt x="196" y="60"/>
                  <a:pt x="197" y="61"/>
                  <a:pt x="198" y="62"/>
                </a:cubicBezTo>
                <a:cubicBezTo>
                  <a:pt x="199" y="64"/>
                  <a:pt x="203" y="65"/>
                  <a:pt x="207" y="67"/>
                </a:cubicBezTo>
                <a:cubicBezTo>
                  <a:pt x="208" y="68"/>
                  <a:pt x="209" y="68"/>
                  <a:pt x="211" y="69"/>
                </a:cubicBezTo>
                <a:cubicBezTo>
                  <a:pt x="211" y="69"/>
                  <a:pt x="211" y="69"/>
                  <a:pt x="212" y="70"/>
                </a:cubicBezTo>
                <a:cubicBezTo>
                  <a:pt x="212" y="70"/>
                  <a:pt x="213" y="71"/>
                  <a:pt x="215" y="71"/>
                </a:cubicBezTo>
                <a:cubicBezTo>
                  <a:pt x="216" y="72"/>
                  <a:pt x="217" y="72"/>
                  <a:pt x="217" y="72"/>
                </a:cubicBezTo>
                <a:cubicBezTo>
                  <a:pt x="215" y="73"/>
                  <a:pt x="219" y="74"/>
                  <a:pt x="218" y="75"/>
                </a:cubicBezTo>
                <a:cubicBezTo>
                  <a:pt x="217" y="74"/>
                  <a:pt x="213" y="73"/>
                  <a:pt x="213" y="74"/>
                </a:cubicBezTo>
                <a:cubicBezTo>
                  <a:pt x="212" y="74"/>
                  <a:pt x="214" y="75"/>
                  <a:pt x="216" y="76"/>
                </a:cubicBezTo>
                <a:cubicBezTo>
                  <a:pt x="218" y="77"/>
                  <a:pt x="219" y="77"/>
                  <a:pt x="220" y="78"/>
                </a:cubicBezTo>
                <a:cubicBezTo>
                  <a:pt x="221" y="80"/>
                  <a:pt x="224" y="82"/>
                  <a:pt x="231" y="83"/>
                </a:cubicBezTo>
                <a:cubicBezTo>
                  <a:pt x="232" y="85"/>
                  <a:pt x="238" y="87"/>
                  <a:pt x="241" y="88"/>
                </a:cubicBezTo>
                <a:cubicBezTo>
                  <a:pt x="246" y="91"/>
                  <a:pt x="252" y="94"/>
                  <a:pt x="258" y="97"/>
                </a:cubicBezTo>
                <a:cubicBezTo>
                  <a:pt x="259" y="98"/>
                  <a:pt x="261" y="99"/>
                  <a:pt x="266" y="101"/>
                </a:cubicBezTo>
                <a:cubicBezTo>
                  <a:pt x="264" y="99"/>
                  <a:pt x="261" y="98"/>
                  <a:pt x="259" y="97"/>
                </a:cubicBezTo>
                <a:cubicBezTo>
                  <a:pt x="257" y="96"/>
                  <a:pt x="256" y="95"/>
                  <a:pt x="254" y="94"/>
                </a:cubicBezTo>
                <a:cubicBezTo>
                  <a:pt x="260" y="96"/>
                  <a:pt x="261" y="98"/>
                  <a:pt x="265" y="99"/>
                </a:cubicBezTo>
                <a:cubicBezTo>
                  <a:pt x="267" y="100"/>
                  <a:pt x="269" y="101"/>
                  <a:pt x="270" y="101"/>
                </a:cubicBezTo>
                <a:cubicBezTo>
                  <a:pt x="270" y="101"/>
                  <a:pt x="270" y="101"/>
                  <a:pt x="270" y="101"/>
                </a:cubicBezTo>
                <a:cubicBezTo>
                  <a:pt x="270" y="102"/>
                  <a:pt x="270" y="102"/>
                  <a:pt x="272" y="103"/>
                </a:cubicBezTo>
                <a:cubicBezTo>
                  <a:pt x="274" y="104"/>
                  <a:pt x="274" y="103"/>
                  <a:pt x="274" y="103"/>
                </a:cubicBezTo>
                <a:cubicBezTo>
                  <a:pt x="277" y="104"/>
                  <a:pt x="280" y="105"/>
                  <a:pt x="282" y="107"/>
                </a:cubicBezTo>
                <a:cubicBezTo>
                  <a:pt x="282" y="107"/>
                  <a:pt x="281" y="107"/>
                  <a:pt x="280" y="106"/>
                </a:cubicBezTo>
                <a:cubicBezTo>
                  <a:pt x="279" y="106"/>
                  <a:pt x="278" y="105"/>
                  <a:pt x="277" y="106"/>
                </a:cubicBezTo>
                <a:cubicBezTo>
                  <a:pt x="273" y="105"/>
                  <a:pt x="270" y="104"/>
                  <a:pt x="269" y="102"/>
                </a:cubicBezTo>
                <a:cubicBezTo>
                  <a:pt x="268" y="102"/>
                  <a:pt x="267" y="101"/>
                  <a:pt x="266" y="101"/>
                </a:cubicBezTo>
                <a:cubicBezTo>
                  <a:pt x="265" y="101"/>
                  <a:pt x="266" y="102"/>
                  <a:pt x="267" y="102"/>
                </a:cubicBezTo>
                <a:cubicBezTo>
                  <a:pt x="266" y="102"/>
                  <a:pt x="265" y="102"/>
                  <a:pt x="265" y="102"/>
                </a:cubicBezTo>
                <a:cubicBezTo>
                  <a:pt x="264" y="102"/>
                  <a:pt x="263" y="101"/>
                  <a:pt x="262" y="101"/>
                </a:cubicBezTo>
                <a:cubicBezTo>
                  <a:pt x="257" y="99"/>
                  <a:pt x="253" y="96"/>
                  <a:pt x="248" y="94"/>
                </a:cubicBezTo>
                <a:cubicBezTo>
                  <a:pt x="248" y="94"/>
                  <a:pt x="248" y="94"/>
                  <a:pt x="248" y="95"/>
                </a:cubicBezTo>
                <a:cubicBezTo>
                  <a:pt x="248" y="95"/>
                  <a:pt x="249" y="95"/>
                  <a:pt x="249" y="95"/>
                </a:cubicBezTo>
                <a:cubicBezTo>
                  <a:pt x="249" y="95"/>
                  <a:pt x="249" y="95"/>
                  <a:pt x="249" y="95"/>
                </a:cubicBezTo>
                <a:cubicBezTo>
                  <a:pt x="249" y="95"/>
                  <a:pt x="249" y="95"/>
                  <a:pt x="249" y="95"/>
                </a:cubicBezTo>
                <a:cubicBezTo>
                  <a:pt x="246" y="95"/>
                  <a:pt x="243" y="94"/>
                  <a:pt x="242" y="92"/>
                </a:cubicBezTo>
                <a:cubicBezTo>
                  <a:pt x="241" y="92"/>
                  <a:pt x="239" y="90"/>
                  <a:pt x="236" y="90"/>
                </a:cubicBezTo>
                <a:cubicBezTo>
                  <a:pt x="235" y="90"/>
                  <a:pt x="234" y="90"/>
                  <a:pt x="234" y="90"/>
                </a:cubicBezTo>
                <a:cubicBezTo>
                  <a:pt x="232" y="91"/>
                  <a:pt x="235" y="92"/>
                  <a:pt x="237" y="92"/>
                </a:cubicBezTo>
                <a:cubicBezTo>
                  <a:pt x="244" y="96"/>
                  <a:pt x="253" y="100"/>
                  <a:pt x="260" y="103"/>
                </a:cubicBezTo>
                <a:cubicBezTo>
                  <a:pt x="260" y="103"/>
                  <a:pt x="260" y="103"/>
                  <a:pt x="260" y="103"/>
                </a:cubicBezTo>
                <a:cubicBezTo>
                  <a:pt x="263" y="105"/>
                  <a:pt x="270" y="107"/>
                  <a:pt x="271" y="109"/>
                </a:cubicBezTo>
                <a:cubicBezTo>
                  <a:pt x="261" y="105"/>
                  <a:pt x="252" y="101"/>
                  <a:pt x="243" y="96"/>
                </a:cubicBezTo>
                <a:cubicBezTo>
                  <a:pt x="234" y="91"/>
                  <a:pt x="224" y="87"/>
                  <a:pt x="212" y="82"/>
                </a:cubicBezTo>
                <a:cubicBezTo>
                  <a:pt x="210" y="81"/>
                  <a:pt x="208" y="80"/>
                  <a:pt x="206" y="79"/>
                </a:cubicBezTo>
                <a:cubicBezTo>
                  <a:pt x="202" y="76"/>
                  <a:pt x="195" y="73"/>
                  <a:pt x="190" y="70"/>
                </a:cubicBezTo>
                <a:cubicBezTo>
                  <a:pt x="189" y="70"/>
                  <a:pt x="193" y="71"/>
                  <a:pt x="193" y="72"/>
                </a:cubicBezTo>
                <a:cubicBezTo>
                  <a:pt x="188" y="71"/>
                  <a:pt x="184" y="69"/>
                  <a:pt x="181" y="67"/>
                </a:cubicBezTo>
                <a:cubicBezTo>
                  <a:pt x="179" y="65"/>
                  <a:pt x="177" y="64"/>
                  <a:pt x="171" y="63"/>
                </a:cubicBezTo>
                <a:cubicBezTo>
                  <a:pt x="166" y="62"/>
                  <a:pt x="165" y="60"/>
                  <a:pt x="162" y="59"/>
                </a:cubicBezTo>
                <a:cubicBezTo>
                  <a:pt x="162" y="59"/>
                  <a:pt x="162" y="59"/>
                  <a:pt x="162" y="59"/>
                </a:cubicBezTo>
                <a:cubicBezTo>
                  <a:pt x="157" y="57"/>
                  <a:pt x="153" y="54"/>
                  <a:pt x="149" y="52"/>
                </a:cubicBezTo>
                <a:cubicBezTo>
                  <a:pt x="152" y="53"/>
                  <a:pt x="153" y="54"/>
                  <a:pt x="155" y="55"/>
                </a:cubicBezTo>
                <a:cubicBezTo>
                  <a:pt x="156" y="55"/>
                  <a:pt x="158" y="56"/>
                  <a:pt x="161" y="57"/>
                </a:cubicBezTo>
                <a:cubicBezTo>
                  <a:pt x="160" y="56"/>
                  <a:pt x="159" y="55"/>
                  <a:pt x="156" y="55"/>
                </a:cubicBezTo>
                <a:cubicBezTo>
                  <a:pt x="153" y="53"/>
                  <a:pt x="151" y="52"/>
                  <a:pt x="148" y="50"/>
                </a:cubicBezTo>
                <a:cubicBezTo>
                  <a:pt x="146" y="49"/>
                  <a:pt x="145" y="49"/>
                  <a:pt x="143" y="48"/>
                </a:cubicBezTo>
                <a:cubicBezTo>
                  <a:pt x="143" y="48"/>
                  <a:pt x="142" y="48"/>
                  <a:pt x="142" y="48"/>
                </a:cubicBezTo>
                <a:cubicBezTo>
                  <a:pt x="144" y="49"/>
                  <a:pt x="145" y="49"/>
                  <a:pt x="146" y="50"/>
                </a:cubicBezTo>
                <a:cubicBezTo>
                  <a:pt x="146" y="50"/>
                  <a:pt x="145" y="50"/>
                  <a:pt x="145" y="50"/>
                </a:cubicBezTo>
                <a:cubicBezTo>
                  <a:pt x="140" y="47"/>
                  <a:pt x="132" y="44"/>
                  <a:pt x="129" y="41"/>
                </a:cubicBezTo>
                <a:cubicBezTo>
                  <a:pt x="126" y="40"/>
                  <a:pt x="124" y="39"/>
                  <a:pt x="121" y="38"/>
                </a:cubicBezTo>
                <a:cubicBezTo>
                  <a:pt x="121" y="37"/>
                  <a:pt x="120" y="36"/>
                  <a:pt x="116" y="34"/>
                </a:cubicBezTo>
                <a:cubicBezTo>
                  <a:pt x="113" y="32"/>
                  <a:pt x="106" y="30"/>
                  <a:pt x="100" y="28"/>
                </a:cubicBezTo>
                <a:cubicBezTo>
                  <a:pt x="100" y="28"/>
                  <a:pt x="100" y="28"/>
                  <a:pt x="99" y="28"/>
                </a:cubicBezTo>
                <a:cubicBezTo>
                  <a:pt x="98" y="27"/>
                  <a:pt x="96" y="26"/>
                  <a:pt x="94" y="25"/>
                </a:cubicBezTo>
                <a:cubicBezTo>
                  <a:pt x="92" y="24"/>
                  <a:pt x="94" y="24"/>
                  <a:pt x="96" y="25"/>
                </a:cubicBezTo>
                <a:cubicBezTo>
                  <a:pt x="97" y="25"/>
                  <a:pt x="98" y="26"/>
                  <a:pt x="101" y="27"/>
                </a:cubicBezTo>
                <a:cubicBezTo>
                  <a:pt x="100" y="26"/>
                  <a:pt x="98" y="25"/>
                  <a:pt x="97" y="25"/>
                </a:cubicBezTo>
                <a:cubicBezTo>
                  <a:pt x="96" y="24"/>
                  <a:pt x="95" y="24"/>
                  <a:pt x="94" y="24"/>
                </a:cubicBezTo>
                <a:cubicBezTo>
                  <a:pt x="90" y="21"/>
                  <a:pt x="83" y="17"/>
                  <a:pt x="77" y="14"/>
                </a:cubicBezTo>
                <a:cubicBezTo>
                  <a:pt x="75" y="13"/>
                  <a:pt x="74" y="12"/>
                  <a:pt x="69" y="11"/>
                </a:cubicBezTo>
                <a:cubicBezTo>
                  <a:pt x="70" y="12"/>
                  <a:pt x="73" y="13"/>
                  <a:pt x="76" y="14"/>
                </a:cubicBezTo>
                <a:cubicBezTo>
                  <a:pt x="79" y="16"/>
                  <a:pt x="83" y="18"/>
                  <a:pt x="87" y="20"/>
                </a:cubicBezTo>
                <a:cubicBezTo>
                  <a:pt x="85" y="21"/>
                  <a:pt x="90" y="24"/>
                  <a:pt x="92" y="25"/>
                </a:cubicBezTo>
                <a:cubicBezTo>
                  <a:pt x="93" y="27"/>
                  <a:pt x="96" y="28"/>
                  <a:pt x="98" y="29"/>
                </a:cubicBezTo>
                <a:cubicBezTo>
                  <a:pt x="98" y="30"/>
                  <a:pt x="101" y="31"/>
                  <a:pt x="103" y="31"/>
                </a:cubicBezTo>
                <a:cubicBezTo>
                  <a:pt x="108" y="33"/>
                  <a:pt x="113" y="35"/>
                  <a:pt x="110" y="36"/>
                </a:cubicBezTo>
                <a:cubicBezTo>
                  <a:pt x="109" y="37"/>
                  <a:pt x="111" y="38"/>
                  <a:pt x="115" y="39"/>
                </a:cubicBezTo>
                <a:cubicBezTo>
                  <a:pt x="117" y="40"/>
                  <a:pt x="119" y="41"/>
                  <a:pt x="121" y="42"/>
                </a:cubicBezTo>
                <a:cubicBezTo>
                  <a:pt x="122" y="42"/>
                  <a:pt x="124" y="43"/>
                  <a:pt x="125" y="44"/>
                </a:cubicBezTo>
                <a:cubicBezTo>
                  <a:pt x="125" y="44"/>
                  <a:pt x="126" y="45"/>
                  <a:pt x="128" y="46"/>
                </a:cubicBezTo>
                <a:cubicBezTo>
                  <a:pt x="129" y="46"/>
                  <a:pt x="128" y="45"/>
                  <a:pt x="127" y="44"/>
                </a:cubicBezTo>
                <a:cubicBezTo>
                  <a:pt x="126" y="43"/>
                  <a:pt x="125" y="42"/>
                  <a:pt x="123" y="42"/>
                </a:cubicBezTo>
                <a:cubicBezTo>
                  <a:pt x="121" y="40"/>
                  <a:pt x="121" y="40"/>
                  <a:pt x="123" y="40"/>
                </a:cubicBezTo>
                <a:cubicBezTo>
                  <a:pt x="125" y="40"/>
                  <a:pt x="125" y="41"/>
                  <a:pt x="126" y="41"/>
                </a:cubicBezTo>
                <a:cubicBezTo>
                  <a:pt x="134" y="46"/>
                  <a:pt x="143" y="50"/>
                  <a:pt x="151" y="55"/>
                </a:cubicBezTo>
                <a:cubicBezTo>
                  <a:pt x="149" y="54"/>
                  <a:pt x="146" y="53"/>
                  <a:pt x="145" y="53"/>
                </a:cubicBezTo>
                <a:cubicBezTo>
                  <a:pt x="140" y="50"/>
                  <a:pt x="135" y="49"/>
                  <a:pt x="129" y="49"/>
                </a:cubicBezTo>
                <a:cubicBezTo>
                  <a:pt x="129" y="49"/>
                  <a:pt x="130" y="48"/>
                  <a:pt x="129" y="48"/>
                </a:cubicBezTo>
                <a:cubicBezTo>
                  <a:pt x="129" y="48"/>
                  <a:pt x="128" y="47"/>
                  <a:pt x="127" y="47"/>
                </a:cubicBezTo>
                <a:cubicBezTo>
                  <a:pt x="127" y="48"/>
                  <a:pt x="126" y="48"/>
                  <a:pt x="128" y="49"/>
                </a:cubicBezTo>
                <a:cubicBezTo>
                  <a:pt x="129" y="50"/>
                  <a:pt x="122" y="48"/>
                  <a:pt x="126" y="50"/>
                </a:cubicBezTo>
                <a:cubicBezTo>
                  <a:pt x="128" y="51"/>
                  <a:pt x="132" y="52"/>
                  <a:pt x="132" y="51"/>
                </a:cubicBezTo>
                <a:cubicBezTo>
                  <a:pt x="136" y="49"/>
                  <a:pt x="139" y="52"/>
                  <a:pt x="143" y="53"/>
                </a:cubicBezTo>
                <a:cubicBezTo>
                  <a:pt x="144" y="54"/>
                  <a:pt x="146" y="55"/>
                  <a:pt x="147" y="56"/>
                </a:cubicBezTo>
                <a:cubicBezTo>
                  <a:pt x="151" y="58"/>
                  <a:pt x="154" y="57"/>
                  <a:pt x="157" y="58"/>
                </a:cubicBezTo>
                <a:cubicBezTo>
                  <a:pt x="157" y="58"/>
                  <a:pt x="157" y="58"/>
                  <a:pt x="157" y="58"/>
                </a:cubicBezTo>
                <a:cubicBezTo>
                  <a:pt x="158" y="58"/>
                  <a:pt x="158" y="58"/>
                  <a:pt x="158" y="58"/>
                </a:cubicBezTo>
                <a:cubicBezTo>
                  <a:pt x="161" y="60"/>
                  <a:pt x="157" y="60"/>
                  <a:pt x="159" y="62"/>
                </a:cubicBezTo>
                <a:cubicBezTo>
                  <a:pt x="162" y="64"/>
                  <a:pt x="169" y="67"/>
                  <a:pt x="173" y="70"/>
                </a:cubicBezTo>
                <a:cubicBezTo>
                  <a:pt x="175" y="70"/>
                  <a:pt x="176" y="71"/>
                  <a:pt x="177" y="72"/>
                </a:cubicBezTo>
                <a:cubicBezTo>
                  <a:pt x="183" y="74"/>
                  <a:pt x="185" y="76"/>
                  <a:pt x="188" y="78"/>
                </a:cubicBezTo>
                <a:cubicBezTo>
                  <a:pt x="194" y="80"/>
                  <a:pt x="196" y="82"/>
                  <a:pt x="202" y="85"/>
                </a:cubicBezTo>
                <a:cubicBezTo>
                  <a:pt x="204" y="86"/>
                  <a:pt x="207" y="87"/>
                  <a:pt x="209" y="89"/>
                </a:cubicBezTo>
                <a:cubicBezTo>
                  <a:pt x="215" y="92"/>
                  <a:pt x="222" y="95"/>
                  <a:pt x="228" y="98"/>
                </a:cubicBezTo>
                <a:cubicBezTo>
                  <a:pt x="229" y="99"/>
                  <a:pt x="231" y="100"/>
                  <a:pt x="232" y="100"/>
                </a:cubicBezTo>
                <a:cubicBezTo>
                  <a:pt x="231" y="100"/>
                  <a:pt x="230" y="100"/>
                  <a:pt x="229" y="100"/>
                </a:cubicBezTo>
                <a:cubicBezTo>
                  <a:pt x="224" y="97"/>
                  <a:pt x="219" y="95"/>
                  <a:pt x="213" y="93"/>
                </a:cubicBezTo>
                <a:cubicBezTo>
                  <a:pt x="214" y="93"/>
                  <a:pt x="214" y="93"/>
                  <a:pt x="214" y="94"/>
                </a:cubicBezTo>
                <a:cubicBezTo>
                  <a:pt x="214" y="93"/>
                  <a:pt x="213" y="93"/>
                  <a:pt x="213" y="93"/>
                </a:cubicBezTo>
                <a:cubicBezTo>
                  <a:pt x="207" y="89"/>
                  <a:pt x="200" y="86"/>
                  <a:pt x="194" y="83"/>
                </a:cubicBezTo>
                <a:cubicBezTo>
                  <a:pt x="188" y="80"/>
                  <a:pt x="181" y="77"/>
                  <a:pt x="175" y="74"/>
                </a:cubicBezTo>
                <a:cubicBezTo>
                  <a:pt x="165" y="70"/>
                  <a:pt x="155" y="65"/>
                  <a:pt x="146" y="60"/>
                </a:cubicBezTo>
                <a:cubicBezTo>
                  <a:pt x="144" y="59"/>
                  <a:pt x="141" y="58"/>
                  <a:pt x="138" y="57"/>
                </a:cubicBezTo>
                <a:cubicBezTo>
                  <a:pt x="133" y="53"/>
                  <a:pt x="124" y="50"/>
                  <a:pt x="118" y="46"/>
                </a:cubicBezTo>
                <a:cubicBezTo>
                  <a:pt x="118" y="45"/>
                  <a:pt x="113" y="44"/>
                  <a:pt x="110" y="42"/>
                </a:cubicBezTo>
                <a:cubicBezTo>
                  <a:pt x="109" y="43"/>
                  <a:pt x="114" y="45"/>
                  <a:pt x="116" y="46"/>
                </a:cubicBezTo>
                <a:cubicBezTo>
                  <a:pt x="116" y="46"/>
                  <a:pt x="116" y="46"/>
                  <a:pt x="116" y="46"/>
                </a:cubicBezTo>
                <a:cubicBezTo>
                  <a:pt x="115" y="47"/>
                  <a:pt x="113" y="47"/>
                  <a:pt x="106" y="45"/>
                </a:cubicBezTo>
                <a:cubicBezTo>
                  <a:pt x="108" y="46"/>
                  <a:pt x="108" y="48"/>
                  <a:pt x="112" y="49"/>
                </a:cubicBezTo>
                <a:cubicBezTo>
                  <a:pt x="114" y="49"/>
                  <a:pt x="111" y="47"/>
                  <a:pt x="116" y="49"/>
                </a:cubicBezTo>
                <a:cubicBezTo>
                  <a:pt x="120" y="50"/>
                  <a:pt x="119" y="51"/>
                  <a:pt x="122" y="52"/>
                </a:cubicBezTo>
                <a:cubicBezTo>
                  <a:pt x="122" y="54"/>
                  <a:pt x="117" y="53"/>
                  <a:pt x="117" y="53"/>
                </a:cubicBezTo>
                <a:cubicBezTo>
                  <a:pt x="108" y="51"/>
                  <a:pt x="117" y="54"/>
                  <a:pt x="116" y="54"/>
                </a:cubicBezTo>
                <a:cubicBezTo>
                  <a:pt x="117" y="54"/>
                  <a:pt x="116" y="54"/>
                  <a:pt x="115" y="55"/>
                </a:cubicBezTo>
                <a:cubicBezTo>
                  <a:pt x="115" y="55"/>
                  <a:pt x="114" y="55"/>
                  <a:pt x="113" y="55"/>
                </a:cubicBezTo>
                <a:cubicBezTo>
                  <a:pt x="112" y="54"/>
                  <a:pt x="110" y="53"/>
                  <a:pt x="108" y="52"/>
                </a:cubicBezTo>
                <a:cubicBezTo>
                  <a:pt x="106" y="51"/>
                  <a:pt x="104" y="50"/>
                  <a:pt x="102" y="49"/>
                </a:cubicBezTo>
                <a:cubicBezTo>
                  <a:pt x="98" y="46"/>
                  <a:pt x="90" y="43"/>
                  <a:pt x="82" y="39"/>
                </a:cubicBezTo>
                <a:cubicBezTo>
                  <a:pt x="89" y="43"/>
                  <a:pt x="93" y="46"/>
                  <a:pt x="101" y="49"/>
                </a:cubicBezTo>
                <a:cubicBezTo>
                  <a:pt x="103" y="50"/>
                  <a:pt x="105" y="51"/>
                  <a:pt x="108" y="52"/>
                </a:cubicBezTo>
                <a:cubicBezTo>
                  <a:pt x="109" y="54"/>
                  <a:pt x="111" y="55"/>
                  <a:pt x="113" y="56"/>
                </a:cubicBezTo>
                <a:cubicBezTo>
                  <a:pt x="111" y="56"/>
                  <a:pt x="113" y="57"/>
                  <a:pt x="112" y="57"/>
                </a:cubicBezTo>
                <a:cubicBezTo>
                  <a:pt x="108" y="57"/>
                  <a:pt x="106" y="56"/>
                  <a:pt x="104" y="55"/>
                </a:cubicBezTo>
                <a:cubicBezTo>
                  <a:pt x="93" y="49"/>
                  <a:pt x="82" y="42"/>
                  <a:pt x="71" y="36"/>
                </a:cubicBezTo>
                <a:cubicBezTo>
                  <a:pt x="70" y="36"/>
                  <a:pt x="69" y="35"/>
                  <a:pt x="67" y="35"/>
                </a:cubicBezTo>
                <a:cubicBezTo>
                  <a:pt x="66" y="33"/>
                  <a:pt x="63" y="32"/>
                  <a:pt x="60" y="31"/>
                </a:cubicBezTo>
                <a:cubicBezTo>
                  <a:pt x="60" y="30"/>
                  <a:pt x="60" y="30"/>
                  <a:pt x="60" y="30"/>
                </a:cubicBezTo>
                <a:cubicBezTo>
                  <a:pt x="60" y="30"/>
                  <a:pt x="59" y="30"/>
                  <a:pt x="59" y="29"/>
                </a:cubicBezTo>
                <a:cubicBezTo>
                  <a:pt x="57" y="28"/>
                  <a:pt x="55" y="27"/>
                  <a:pt x="52" y="25"/>
                </a:cubicBezTo>
                <a:cubicBezTo>
                  <a:pt x="51" y="24"/>
                  <a:pt x="51" y="23"/>
                  <a:pt x="44" y="20"/>
                </a:cubicBezTo>
                <a:cubicBezTo>
                  <a:pt x="37" y="18"/>
                  <a:pt x="34" y="15"/>
                  <a:pt x="35" y="13"/>
                </a:cubicBezTo>
                <a:cubicBezTo>
                  <a:pt x="35" y="12"/>
                  <a:pt x="37" y="12"/>
                  <a:pt x="36" y="11"/>
                </a:cubicBezTo>
                <a:cubicBezTo>
                  <a:pt x="33" y="11"/>
                  <a:pt x="30" y="10"/>
                  <a:pt x="27" y="10"/>
                </a:cubicBezTo>
                <a:cubicBezTo>
                  <a:pt x="25" y="9"/>
                  <a:pt x="24" y="8"/>
                  <a:pt x="23" y="8"/>
                </a:cubicBezTo>
                <a:cubicBezTo>
                  <a:pt x="23" y="7"/>
                  <a:pt x="22" y="7"/>
                  <a:pt x="22" y="7"/>
                </a:cubicBezTo>
                <a:cubicBezTo>
                  <a:pt x="19" y="5"/>
                  <a:pt x="17" y="4"/>
                  <a:pt x="14" y="2"/>
                </a:cubicBezTo>
                <a:cubicBezTo>
                  <a:pt x="13" y="2"/>
                  <a:pt x="12" y="1"/>
                  <a:pt x="9" y="0"/>
                </a:cubicBezTo>
                <a:cubicBezTo>
                  <a:pt x="9" y="1"/>
                  <a:pt x="11" y="2"/>
                  <a:pt x="13" y="2"/>
                </a:cubicBezTo>
                <a:cubicBezTo>
                  <a:pt x="13" y="3"/>
                  <a:pt x="13" y="3"/>
                  <a:pt x="13" y="3"/>
                </a:cubicBezTo>
                <a:cubicBezTo>
                  <a:pt x="13" y="3"/>
                  <a:pt x="12" y="3"/>
                  <a:pt x="12" y="3"/>
                </a:cubicBezTo>
                <a:cubicBezTo>
                  <a:pt x="11" y="3"/>
                  <a:pt x="11" y="3"/>
                  <a:pt x="11" y="3"/>
                </a:cubicBezTo>
                <a:cubicBezTo>
                  <a:pt x="9" y="2"/>
                  <a:pt x="9" y="1"/>
                  <a:pt x="5" y="0"/>
                </a:cubicBezTo>
                <a:cubicBezTo>
                  <a:pt x="5" y="0"/>
                  <a:pt x="7" y="1"/>
                  <a:pt x="10" y="3"/>
                </a:cubicBezTo>
                <a:cubicBezTo>
                  <a:pt x="11" y="3"/>
                  <a:pt x="12" y="4"/>
                  <a:pt x="14" y="5"/>
                </a:cubicBezTo>
                <a:cubicBezTo>
                  <a:pt x="13" y="5"/>
                  <a:pt x="16" y="6"/>
                  <a:pt x="17" y="7"/>
                </a:cubicBezTo>
                <a:cubicBezTo>
                  <a:pt x="17" y="7"/>
                  <a:pt x="17" y="8"/>
                  <a:pt x="18" y="8"/>
                </a:cubicBezTo>
                <a:cubicBezTo>
                  <a:pt x="21" y="9"/>
                  <a:pt x="22" y="11"/>
                  <a:pt x="25" y="12"/>
                </a:cubicBezTo>
                <a:cubicBezTo>
                  <a:pt x="25" y="13"/>
                  <a:pt x="28" y="14"/>
                  <a:pt x="30" y="15"/>
                </a:cubicBezTo>
                <a:cubicBezTo>
                  <a:pt x="31" y="16"/>
                  <a:pt x="33" y="17"/>
                  <a:pt x="33" y="18"/>
                </a:cubicBezTo>
                <a:cubicBezTo>
                  <a:pt x="33" y="18"/>
                  <a:pt x="33" y="18"/>
                  <a:pt x="33" y="18"/>
                </a:cubicBezTo>
                <a:cubicBezTo>
                  <a:pt x="32" y="18"/>
                  <a:pt x="31" y="18"/>
                  <a:pt x="32" y="18"/>
                </a:cubicBezTo>
                <a:cubicBezTo>
                  <a:pt x="33" y="19"/>
                  <a:pt x="35" y="19"/>
                  <a:pt x="36" y="19"/>
                </a:cubicBezTo>
                <a:cubicBezTo>
                  <a:pt x="42" y="22"/>
                  <a:pt x="41" y="23"/>
                  <a:pt x="46" y="26"/>
                </a:cubicBezTo>
                <a:cubicBezTo>
                  <a:pt x="47" y="27"/>
                  <a:pt x="51" y="28"/>
                  <a:pt x="51" y="29"/>
                </a:cubicBezTo>
                <a:cubicBezTo>
                  <a:pt x="42" y="25"/>
                  <a:pt x="34" y="21"/>
                  <a:pt x="28" y="18"/>
                </a:cubicBezTo>
                <a:cubicBezTo>
                  <a:pt x="28" y="17"/>
                  <a:pt x="28" y="17"/>
                  <a:pt x="26" y="16"/>
                </a:cubicBezTo>
                <a:cubicBezTo>
                  <a:pt x="24" y="15"/>
                  <a:pt x="22" y="14"/>
                  <a:pt x="19" y="13"/>
                </a:cubicBezTo>
                <a:cubicBezTo>
                  <a:pt x="20" y="14"/>
                  <a:pt x="21" y="15"/>
                  <a:pt x="23" y="16"/>
                </a:cubicBezTo>
                <a:cubicBezTo>
                  <a:pt x="24" y="16"/>
                  <a:pt x="25" y="17"/>
                  <a:pt x="26" y="17"/>
                </a:cubicBezTo>
                <a:cubicBezTo>
                  <a:pt x="26" y="18"/>
                  <a:pt x="29" y="19"/>
                  <a:pt x="29" y="20"/>
                </a:cubicBezTo>
                <a:cubicBezTo>
                  <a:pt x="28" y="19"/>
                  <a:pt x="27" y="19"/>
                  <a:pt x="25" y="18"/>
                </a:cubicBezTo>
                <a:cubicBezTo>
                  <a:pt x="23" y="18"/>
                  <a:pt x="25" y="19"/>
                  <a:pt x="26" y="20"/>
                </a:cubicBezTo>
                <a:cubicBezTo>
                  <a:pt x="28" y="21"/>
                  <a:pt x="31" y="22"/>
                  <a:pt x="35" y="23"/>
                </a:cubicBezTo>
                <a:cubicBezTo>
                  <a:pt x="37" y="25"/>
                  <a:pt x="41" y="28"/>
                  <a:pt x="46" y="30"/>
                </a:cubicBezTo>
                <a:cubicBezTo>
                  <a:pt x="50" y="32"/>
                  <a:pt x="43" y="31"/>
                  <a:pt x="43" y="33"/>
                </a:cubicBezTo>
                <a:cubicBezTo>
                  <a:pt x="42" y="33"/>
                  <a:pt x="41" y="33"/>
                  <a:pt x="39" y="32"/>
                </a:cubicBezTo>
                <a:cubicBezTo>
                  <a:pt x="35" y="30"/>
                  <a:pt x="31" y="28"/>
                  <a:pt x="29" y="26"/>
                </a:cubicBezTo>
                <a:cubicBezTo>
                  <a:pt x="31" y="25"/>
                  <a:pt x="33" y="27"/>
                  <a:pt x="35" y="27"/>
                </a:cubicBezTo>
                <a:cubicBezTo>
                  <a:pt x="33" y="26"/>
                  <a:pt x="32" y="24"/>
                  <a:pt x="28" y="24"/>
                </a:cubicBezTo>
                <a:cubicBezTo>
                  <a:pt x="25" y="23"/>
                  <a:pt x="28" y="25"/>
                  <a:pt x="27" y="25"/>
                </a:cubicBezTo>
                <a:cubicBezTo>
                  <a:pt x="22" y="24"/>
                  <a:pt x="22" y="25"/>
                  <a:pt x="24" y="26"/>
                </a:cubicBezTo>
                <a:cubicBezTo>
                  <a:pt x="28" y="28"/>
                  <a:pt x="32" y="30"/>
                  <a:pt x="36" y="32"/>
                </a:cubicBezTo>
                <a:cubicBezTo>
                  <a:pt x="37" y="33"/>
                  <a:pt x="41" y="34"/>
                  <a:pt x="40" y="35"/>
                </a:cubicBezTo>
                <a:cubicBezTo>
                  <a:pt x="36" y="34"/>
                  <a:pt x="40" y="36"/>
                  <a:pt x="39" y="36"/>
                </a:cubicBezTo>
                <a:cubicBezTo>
                  <a:pt x="36" y="36"/>
                  <a:pt x="35" y="35"/>
                  <a:pt x="33" y="35"/>
                </a:cubicBezTo>
                <a:cubicBezTo>
                  <a:pt x="27" y="33"/>
                  <a:pt x="26" y="31"/>
                  <a:pt x="19" y="29"/>
                </a:cubicBezTo>
                <a:cubicBezTo>
                  <a:pt x="20" y="30"/>
                  <a:pt x="25" y="31"/>
                  <a:pt x="25" y="32"/>
                </a:cubicBezTo>
                <a:cubicBezTo>
                  <a:pt x="25" y="34"/>
                  <a:pt x="35" y="37"/>
                  <a:pt x="32" y="38"/>
                </a:cubicBezTo>
                <a:cubicBezTo>
                  <a:pt x="31" y="38"/>
                  <a:pt x="30" y="37"/>
                  <a:pt x="29" y="37"/>
                </a:cubicBezTo>
                <a:cubicBezTo>
                  <a:pt x="29" y="35"/>
                  <a:pt x="21" y="33"/>
                  <a:pt x="18" y="31"/>
                </a:cubicBezTo>
                <a:cubicBezTo>
                  <a:pt x="19" y="33"/>
                  <a:pt x="21" y="34"/>
                  <a:pt x="25" y="36"/>
                </a:cubicBezTo>
                <a:cubicBezTo>
                  <a:pt x="29" y="38"/>
                  <a:pt x="34" y="40"/>
                  <a:pt x="38" y="43"/>
                </a:cubicBezTo>
                <a:cubicBezTo>
                  <a:pt x="33" y="41"/>
                  <a:pt x="29" y="40"/>
                  <a:pt x="24" y="38"/>
                </a:cubicBezTo>
                <a:cubicBezTo>
                  <a:pt x="24" y="37"/>
                  <a:pt x="23" y="36"/>
                  <a:pt x="21" y="35"/>
                </a:cubicBezTo>
                <a:cubicBezTo>
                  <a:pt x="19" y="35"/>
                  <a:pt x="19" y="36"/>
                  <a:pt x="21" y="37"/>
                </a:cubicBezTo>
                <a:cubicBezTo>
                  <a:pt x="22" y="38"/>
                  <a:pt x="22" y="38"/>
                  <a:pt x="22" y="38"/>
                </a:cubicBezTo>
                <a:cubicBezTo>
                  <a:pt x="28" y="44"/>
                  <a:pt x="35" y="49"/>
                  <a:pt x="44" y="55"/>
                </a:cubicBezTo>
                <a:cubicBezTo>
                  <a:pt x="43" y="55"/>
                  <a:pt x="43" y="55"/>
                  <a:pt x="42" y="54"/>
                </a:cubicBezTo>
                <a:cubicBezTo>
                  <a:pt x="34" y="50"/>
                  <a:pt x="25" y="45"/>
                  <a:pt x="17" y="40"/>
                </a:cubicBezTo>
                <a:cubicBezTo>
                  <a:pt x="12" y="37"/>
                  <a:pt x="6" y="34"/>
                  <a:pt x="0" y="31"/>
                </a:cubicBezTo>
                <a:cubicBezTo>
                  <a:pt x="0" y="84"/>
                  <a:pt x="0" y="84"/>
                  <a:pt x="0" y="84"/>
                </a:cubicBezTo>
                <a:cubicBezTo>
                  <a:pt x="0" y="84"/>
                  <a:pt x="1" y="85"/>
                  <a:pt x="1" y="85"/>
                </a:cubicBezTo>
                <a:cubicBezTo>
                  <a:pt x="2" y="86"/>
                  <a:pt x="3" y="86"/>
                  <a:pt x="4" y="87"/>
                </a:cubicBezTo>
                <a:cubicBezTo>
                  <a:pt x="4" y="87"/>
                  <a:pt x="5" y="88"/>
                  <a:pt x="6" y="88"/>
                </a:cubicBezTo>
                <a:cubicBezTo>
                  <a:pt x="4" y="88"/>
                  <a:pt x="2" y="88"/>
                  <a:pt x="0" y="88"/>
                </a:cubicBezTo>
                <a:cubicBezTo>
                  <a:pt x="0" y="107"/>
                  <a:pt x="0" y="107"/>
                  <a:pt x="0" y="107"/>
                </a:cubicBezTo>
                <a:cubicBezTo>
                  <a:pt x="0" y="107"/>
                  <a:pt x="0" y="107"/>
                  <a:pt x="1" y="107"/>
                </a:cubicBezTo>
                <a:cubicBezTo>
                  <a:pt x="1" y="108"/>
                  <a:pt x="1" y="108"/>
                  <a:pt x="2" y="109"/>
                </a:cubicBezTo>
                <a:cubicBezTo>
                  <a:pt x="1" y="109"/>
                  <a:pt x="1" y="109"/>
                  <a:pt x="0" y="109"/>
                </a:cubicBezTo>
                <a:cubicBezTo>
                  <a:pt x="0" y="109"/>
                  <a:pt x="0" y="109"/>
                  <a:pt x="0" y="108"/>
                </a:cubicBezTo>
                <a:cubicBezTo>
                  <a:pt x="0" y="126"/>
                  <a:pt x="0" y="126"/>
                  <a:pt x="0" y="126"/>
                </a:cubicBezTo>
                <a:cubicBezTo>
                  <a:pt x="0" y="127"/>
                  <a:pt x="0" y="127"/>
                  <a:pt x="0" y="127"/>
                </a:cubicBezTo>
                <a:cubicBezTo>
                  <a:pt x="0" y="127"/>
                  <a:pt x="0" y="127"/>
                  <a:pt x="0" y="127"/>
                </a:cubicBezTo>
                <a:cubicBezTo>
                  <a:pt x="0" y="158"/>
                  <a:pt x="0" y="158"/>
                  <a:pt x="0" y="158"/>
                </a:cubicBezTo>
                <a:cubicBezTo>
                  <a:pt x="0" y="158"/>
                  <a:pt x="0" y="158"/>
                  <a:pt x="0" y="158"/>
                </a:cubicBezTo>
                <a:cubicBezTo>
                  <a:pt x="0" y="159"/>
                  <a:pt x="0" y="159"/>
                  <a:pt x="0" y="159"/>
                </a:cubicBezTo>
                <a:cubicBezTo>
                  <a:pt x="0" y="159"/>
                  <a:pt x="0" y="159"/>
                  <a:pt x="0" y="159"/>
                </a:cubicBezTo>
                <a:cubicBezTo>
                  <a:pt x="0" y="173"/>
                  <a:pt x="0" y="173"/>
                  <a:pt x="0" y="173"/>
                </a:cubicBezTo>
                <a:cubicBezTo>
                  <a:pt x="0" y="173"/>
                  <a:pt x="0" y="173"/>
                  <a:pt x="0" y="173"/>
                </a:cubicBezTo>
                <a:cubicBezTo>
                  <a:pt x="0" y="173"/>
                  <a:pt x="0" y="173"/>
                  <a:pt x="0" y="173"/>
                </a:cubicBezTo>
                <a:cubicBezTo>
                  <a:pt x="0" y="173"/>
                  <a:pt x="0" y="173"/>
                  <a:pt x="0" y="173"/>
                </a:cubicBezTo>
                <a:cubicBezTo>
                  <a:pt x="0" y="220"/>
                  <a:pt x="0" y="220"/>
                  <a:pt x="0" y="220"/>
                </a:cubicBezTo>
                <a:cubicBezTo>
                  <a:pt x="1" y="220"/>
                  <a:pt x="2" y="220"/>
                  <a:pt x="3" y="221"/>
                </a:cubicBezTo>
                <a:cubicBezTo>
                  <a:pt x="3" y="221"/>
                  <a:pt x="3" y="221"/>
                  <a:pt x="3" y="221"/>
                </a:cubicBezTo>
                <a:cubicBezTo>
                  <a:pt x="3" y="221"/>
                  <a:pt x="3" y="221"/>
                  <a:pt x="3" y="221"/>
                </a:cubicBezTo>
                <a:cubicBezTo>
                  <a:pt x="3" y="221"/>
                  <a:pt x="3" y="221"/>
                  <a:pt x="3" y="221"/>
                </a:cubicBezTo>
                <a:cubicBezTo>
                  <a:pt x="2" y="221"/>
                  <a:pt x="1" y="220"/>
                  <a:pt x="0" y="220"/>
                </a:cubicBezTo>
                <a:cubicBezTo>
                  <a:pt x="0" y="220"/>
                  <a:pt x="0" y="220"/>
                  <a:pt x="0" y="220"/>
                </a:cubicBezTo>
                <a:cubicBezTo>
                  <a:pt x="0" y="220"/>
                  <a:pt x="0" y="220"/>
                  <a:pt x="0" y="220"/>
                </a:cubicBezTo>
                <a:cubicBezTo>
                  <a:pt x="0" y="223"/>
                  <a:pt x="0" y="223"/>
                  <a:pt x="0" y="223"/>
                </a:cubicBezTo>
                <a:cubicBezTo>
                  <a:pt x="0" y="223"/>
                  <a:pt x="0" y="223"/>
                  <a:pt x="0" y="223"/>
                </a:cubicBezTo>
                <a:cubicBezTo>
                  <a:pt x="0" y="223"/>
                  <a:pt x="0" y="223"/>
                  <a:pt x="0" y="223"/>
                </a:cubicBezTo>
                <a:cubicBezTo>
                  <a:pt x="0" y="223"/>
                  <a:pt x="0" y="223"/>
                  <a:pt x="0" y="223"/>
                </a:cubicBezTo>
                <a:cubicBezTo>
                  <a:pt x="0" y="229"/>
                  <a:pt x="0" y="229"/>
                  <a:pt x="0" y="229"/>
                </a:cubicBezTo>
                <a:cubicBezTo>
                  <a:pt x="13" y="229"/>
                  <a:pt x="13" y="229"/>
                  <a:pt x="13" y="229"/>
                </a:cubicBezTo>
                <a:cubicBezTo>
                  <a:pt x="18" y="231"/>
                  <a:pt x="23" y="234"/>
                  <a:pt x="28" y="236"/>
                </a:cubicBezTo>
                <a:cubicBezTo>
                  <a:pt x="42" y="243"/>
                  <a:pt x="57" y="249"/>
                  <a:pt x="70" y="256"/>
                </a:cubicBezTo>
                <a:cubicBezTo>
                  <a:pt x="70" y="256"/>
                  <a:pt x="70" y="256"/>
                  <a:pt x="70" y="256"/>
                </a:cubicBezTo>
                <a:cubicBezTo>
                  <a:pt x="72" y="257"/>
                  <a:pt x="73" y="258"/>
                  <a:pt x="76" y="258"/>
                </a:cubicBezTo>
                <a:cubicBezTo>
                  <a:pt x="78" y="259"/>
                  <a:pt x="79" y="260"/>
                  <a:pt x="81" y="261"/>
                </a:cubicBezTo>
                <a:cubicBezTo>
                  <a:pt x="80" y="260"/>
                  <a:pt x="77" y="259"/>
                  <a:pt x="77" y="258"/>
                </a:cubicBezTo>
                <a:cubicBezTo>
                  <a:pt x="76" y="258"/>
                  <a:pt x="75" y="257"/>
                  <a:pt x="75" y="257"/>
                </a:cubicBezTo>
                <a:cubicBezTo>
                  <a:pt x="74" y="256"/>
                  <a:pt x="72" y="256"/>
                  <a:pt x="72" y="255"/>
                </a:cubicBezTo>
                <a:cubicBezTo>
                  <a:pt x="74" y="255"/>
                  <a:pt x="70" y="254"/>
                  <a:pt x="71" y="254"/>
                </a:cubicBezTo>
                <a:cubicBezTo>
                  <a:pt x="72" y="254"/>
                  <a:pt x="73" y="254"/>
                  <a:pt x="73" y="254"/>
                </a:cubicBezTo>
                <a:cubicBezTo>
                  <a:pt x="73" y="254"/>
                  <a:pt x="71" y="253"/>
                  <a:pt x="70" y="253"/>
                </a:cubicBezTo>
                <a:cubicBezTo>
                  <a:pt x="69" y="252"/>
                  <a:pt x="67" y="252"/>
                  <a:pt x="67" y="251"/>
                </a:cubicBezTo>
                <a:cubicBezTo>
                  <a:pt x="68" y="252"/>
                  <a:pt x="70" y="252"/>
                  <a:pt x="71" y="253"/>
                </a:cubicBezTo>
                <a:cubicBezTo>
                  <a:pt x="72" y="253"/>
                  <a:pt x="72" y="253"/>
                  <a:pt x="72" y="253"/>
                </a:cubicBezTo>
                <a:cubicBezTo>
                  <a:pt x="70" y="252"/>
                  <a:pt x="69" y="251"/>
                  <a:pt x="67" y="251"/>
                </a:cubicBezTo>
                <a:cubicBezTo>
                  <a:pt x="66" y="250"/>
                  <a:pt x="65" y="249"/>
                  <a:pt x="63" y="249"/>
                </a:cubicBezTo>
                <a:cubicBezTo>
                  <a:pt x="63" y="248"/>
                  <a:pt x="64" y="248"/>
                  <a:pt x="64" y="248"/>
                </a:cubicBezTo>
                <a:cubicBezTo>
                  <a:pt x="66" y="249"/>
                  <a:pt x="68" y="250"/>
                  <a:pt x="70" y="251"/>
                </a:cubicBezTo>
                <a:cubicBezTo>
                  <a:pt x="74" y="253"/>
                  <a:pt x="79" y="255"/>
                  <a:pt x="84" y="258"/>
                </a:cubicBezTo>
                <a:cubicBezTo>
                  <a:pt x="84" y="258"/>
                  <a:pt x="85" y="258"/>
                  <a:pt x="85" y="258"/>
                </a:cubicBezTo>
                <a:cubicBezTo>
                  <a:pt x="86" y="259"/>
                  <a:pt x="88" y="259"/>
                  <a:pt x="89" y="260"/>
                </a:cubicBezTo>
                <a:cubicBezTo>
                  <a:pt x="90" y="260"/>
                  <a:pt x="91" y="261"/>
                  <a:pt x="93" y="261"/>
                </a:cubicBezTo>
                <a:cubicBezTo>
                  <a:pt x="95" y="262"/>
                  <a:pt x="96" y="263"/>
                  <a:pt x="99" y="264"/>
                </a:cubicBezTo>
                <a:cubicBezTo>
                  <a:pt x="99" y="263"/>
                  <a:pt x="97" y="262"/>
                  <a:pt x="94" y="261"/>
                </a:cubicBezTo>
                <a:cubicBezTo>
                  <a:pt x="90" y="258"/>
                  <a:pt x="86" y="257"/>
                  <a:pt x="82" y="256"/>
                </a:cubicBezTo>
                <a:cubicBezTo>
                  <a:pt x="77" y="254"/>
                  <a:pt x="73" y="252"/>
                  <a:pt x="68" y="250"/>
                </a:cubicBezTo>
                <a:cubicBezTo>
                  <a:pt x="65" y="248"/>
                  <a:pt x="61" y="247"/>
                  <a:pt x="58" y="245"/>
                </a:cubicBezTo>
                <a:cubicBezTo>
                  <a:pt x="56" y="244"/>
                  <a:pt x="54" y="243"/>
                  <a:pt x="52" y="242"/>
                </a:cubicBezTo>
                <a:cubicBezTo>
                  <a:pt x="51" y="241"/>
                  <a:pt x="49" y="240"/>
                  <a:pt x="48" y="240"/>
                </a:cubicBezTo>
                <a:cubicBezTo>
                  <a:pt x="50" y="240"/>
                  <a:pt x="51" y="241"/>
                  <a:pt x="53" y="242"/>
                </a:cubicBezTo>
                <a:cubicBezTo>
                  <a:pt x="53" y="242"/>
                  <a:pt x="54" y="242"/>
                  <a:pt x="55" y="242"/>
                </a:cubicBezTo>
                <a:cubicBezTo>
                  <a:pt x="55" y="242"/>
                  <a:pt x="55" y="242"/>
                  <a:pt x="55" y="242"/>
                </a:cubicBezTo>
                <a:cubicBezTo>
                  <a:pt x="55" y="242"/>
                  <a:pt x="53" y="241"/>
                  <a:pt x="51" y="240"/>
                </a:cubicBezTo>
                <a:cubicBezTo>
                  <a:pt x="51" y="240"/>
                  <a:pt x="50" y="240"/>
                  <a:pt x="50" y="239"/>
                </a:cubicBezTo>
                <a:cubicBezTo>
                  <a:pt x="48" y="239"/>
                  <a:pt x="47" y="238"/>
                  <a:pt x="46" y="237"/>
                </a:cubicBezTo>
                <a:cubicBezTo>
                  <a:pt x="44" y="237"/>
                  <a:pt x="43" y="237"/>
                  <a:pt x="41" y="236"/>
                </a:cubicBezTo>
                <a:cubicBezTo>
                  <a:pt x="41" y="236"/>
                  <a:pt x="41" y="235"/>
                  <a:pt x="41" y="235"/>
                </a:cubicBezTo>
                <a:cubicBezTo>
                  <a:pt x="39" y="234"/>
                  <a:pt x="38" y="233"/>
                  <a:pt x="35" y="233"/>
                </a:cubicBezTo>
                <a:cubicBezTo>
                  <a:pt x="33" y="232"/>
                  <a:pt x="31" y="230"/>
                  <a:pt x="28" y="229"/>
                </a:cubicBezTo>
                <a:cubicBezTo>
                  <a:pt x="28" y="229"/>
                  <a:pt x="28" y="229"/>
                  <a:pt x="28" y="229"/>
                </a:cubicBezTo>
                <a:cubicBezTo>
                  <a:pt x="33" y="229"/>
                  <a:pt x="33" y="229"/>
                  <a:pt x="33" y="229"/>
                </a:cubicBezTo>
                <a:cubicBezTo>
                  <a:pt x="41" y="233"/>
                  <a:pt x="49" y="236"/>
                  <a:pt x="57" y="240"/>
                </a:cubicBezTo>
                <a:cubicBezTo>
                  <a:pt x="58" y="240"/>
                  <a:pt x="59" y="240"/>
                  <a:pt x="60" y="241"/>
                </a:cubicBezTo>
                <a:cubicBezTo>
                  <a:pt x="63" y="242"/>
                  <a:pt x="66" y="244"/>
                  <a:pt x="69" y="245"/>
                </a:cubicBezTo>
                <a:cubicBezTo>
                  <a:pt x="70" y="246"/>
                  <a:pt x="71" y="246"/>
                  <a:pt x="71" y="246"/>
                </a:cubicBezTo>
                <a:cubicBezTo>
                  <a:pt x="72" y="246"/>
                  <a:pt x="73" y="246"/>
                  <a:pt x="74" y="246"/>
                </a:cubicBezTo>
                <a:cubicBezTo>
                  <a:pt x="87" y="252"/>
                  <a:pt x="98" y="259"/>
                  <a:pt x="112" y="265"/>
                </a:cubicBezTo>
                <a:cubicBezTo>
                  <a:pt x="112" y="266"/>
                  <a:pt x="114" y="267"/>
                  <a:pt x="116" y="268"/>
                </a:cubicBezTo>
                <a:cubicBezTo>
                  <a:pt x="117" y="268"/>
                  <a:pt x="117" y="269"/>
                  <a:pt x="121" y="269"/>
                </a:cubicBezTo>
                <a:cubicBezTo>
                  <a:pt x="122" y="269"/>
                  <a:pt x="124" y="270"/>
                  <a:pt x="125" y="271"/>
                </a:cubicBezTo>
                <a:cubicBezTo>
                  <a:pt x="130" y="273"/>
                  <a:pt x="133" y="275"/>
                  <a:pt x="139" y="277"/>
                </a:cubicBezTo>
                <a:cubicBezTo>
                  <a:pt x="137" y="276"/>
                  <a:pt x="133" y="274"/>
                  <a:pt x="133" y="273"/>
                </a:cubicBezTo>
                <a:cubicBezTo>
                  <a:pt x="143" y="277"/>
                  <a:pt x="152" y="281"/>
                  <a:pt x="160" y="286"/>
                </a:cubicBezTo>
                <a:cubicBezTo>
                  <a:pt x="162" y="287"/>
                  <a:pt x="164" y="288"/>
                  <a:pt x="168" y="289"/>
                </a:cubicBezTo>
                <a:cubicBezTo>
                  <a:pt x="168" y="289"/>
                  <a:pt x="169" y="290"/>
                  <a:pt x="169" y="290"/>
                </a:cubicBezTo>
                <a:cubicBezTo>
                  <a:pt x="171" y="291"/>
                  <a:pt x="176" y="293"/>
                  <a:pt x="178" y="295"/>
                </a:cubicBezTo>
                <a:cubicBezTo>
                  <a:pt x="179" y="295"/>
                  <a:pt x="179" y="295"/>
                  <a:pt x="179" y="295"/>
                </a:cubicBezTo>
                <a:cubicBezTo>
                  <a:pt x="179" y="295"/>
                  <a:pt x="179" y="295"/>
                  <a:pt x="179" y="295"/>
                </a:cubicBezTo>
                <a:cubicBezTo>
                  <a:pt x="179" y="295"/>
                  <a:pt x="179" y="295"/>
                  <a:pt x="178" y="295"/>
                </a:cubicBezTo>
                <a:cubicBezTo>
                  <a:pt x="181" y="297"/>
                  <a:pt x="186" y="299"/>
                  <a:pt x="190" y="301"/>
                </a:cubicBezTo>
                <a:cubicBezTo>
                  <a:pt x="195" y="303"/>
                  <a:pt x="200" y="306"/>
                  <a:pt x="202" y="308"/>
                </a:cubicBezTo>
                <a:cubicBezTo>
                  <a:pt x="203" y="309"/>
                  <a:pt x="204" y="309"/>
                  <a:pt x="204" y="309"/>
                </a:cubicBezTo>
                <a:cubicBezTo>
                  <a:pt x="208" y="311"/>
                  <a:pt x="214" y="314"/>
                  <a:pt x="218" y="316"/>
                </a:cubicBezTo>
                <a:cubicBezTo>
                  <a:pt x="219" y="317"/>
                  <a:pt x="221" y="318"/>
                  <a:pt x="224" y="318"/>
                </a:cubicBezTo>
                <a:cubicBezTo>
                  <a:pt x="225" y="318"/>
                  <a:pt x="226" y="319"/>
                  <a:pt x="228" y="320"/>
                </a:cubicBezTo>
                <a:cubicBezTo>
                  <a:pt x="228" y="320"/>
                  <a:pt x="229" y="320"/>
                  <a:pt x="229" y="320"/>
                </a:cubicBezTo>
                <a:cubicBezTo>
                  <a:pt x="229" y="320"/>
                  <a:pt x="229" y="320"/>
                  <a:pt x="229" y="320"/>
                </a:cubicBezTo>
                <a:cubicBezTo>
                  <a:pt x="226" y="317"/>
                  <a:pt x="221" y="315"/>
                  <a:pt x="216" y="313"/>
                </a:cubicBezTo>
                <a:cubicBezTo>
                  <a:pt x="214" y="312"/>
                  <a:pt x="211" y="311"/>
                  <a:pt x="211" y="310"/>
                </a:cubicBezTo>
                <a:cubicBezTo>
                  <a:pt x="204" y="309"/>
                  <a:pt x="209" y="308"/>
                  <a:pt x="204" y="306"/>
                </a:cubicBezTo>
                <a:cubicBezTo>
                  <a:pt x="204" y="306"/>
                  <a:pt x="204" y="306"/>
                  <a:pt x="204" y="306"/>
                </a:cubicBezTo>
                <a:cubicBezTo>
                  <a:pt x="203" y="305"/>
                  <a:pt x="203" y="304"/>
                  <a:pt x="200" y="303"/>
                </a:cubicBezTo>
                <a:cubicBezTo>
                  <a:pt x="197" y="302"/>
                  <a:pt x="193" y="300"/>
                  <a:pt x="191" y="299"/>
                </a:cubicBezTo>
                <a:cubicBezTo>
                  <a:pt x="189" y="297"/>
                  <a:pt x="188" y="298"/>
                  <a:pt x="186" y="298"/>
                </a:cubicBezTo>
                <a:cubicBezTo>
                  <a:pt x="186" y="297"/>
                  <a:pt x="188" y="297"/>
                  <a:pt x="185" y="296"/>
                </a:cubicBezTo>
                <a:cubicBezTo>
                  <a:pt x="185" y="295"/>
                  <a:pt x="181" y="294"/>
                  <a:pt x="181" y="293"/>
                </a:cubicBezTo>
                <a:cubicBezTo>
                  <a:pt x="181" y="293"/>
                  <a:pt x="182" y="293"/>
                  <a:pt x="182" y="293"/>
                </a:cubicBezTo>
                <a:cubicBezTo>
                  <a:pt x="184" y="293"/>
                  <a:pt x="183" y="293"/>
                  <a:pt x="183" y="292"/>
                </a:cubicBezTo>
                <a:cubicBezTo>
                  <a:pt x="187" y="293"/>
                  <a:pt x="190" y="295"/>
                  <a:pt x="190" y="295"/>
                </a:cubicBezTo>
                <a:cubicBezTo>
                  <a:pt x="190" y="297"/>
                  <a:pt x="192" y="297"/>
                  <a:pt x="196" y="298"/>
                </a:cubicBezTo>
                <a:cubicBezTo>
                  <a:pt x="198" y="299"/>
                  <a:pt x="200" y="300"/>
                  <a:pt x="201" y="301"/>
                </a:cubicBezTo>
                <a:cubicBezTo>
                  <a:pt x="202" y="301"/>
                  <a:pt x="204" y="302"/>
                  <a:pt x="206" y="302"/>
                </a:cubicBezTo>
                <a:cubicBezTo>
                  <a:pt x="206" y="303"/>
                  <a:pt x="206" y="303"/>
                  <a:pt x="207" y="303"/>
                </a:cubicBezTo>
                <a:cubicBezTo>
                  <a:pt x="210" y="304"/>
                  <a:pt x="214" y="306"/>
                  <a:pt x="218" y="308"/>
                </a:cubicBezTo>
                <a:cubicBezTo>
                  <a:pt x="218" y="308"/>
                  <a:pt x="218" y="308"/>
                  <a:pt x="218" y="308"/>
                </a:cubicBezTo>
                <a:cubicBezTo>
                  <a:pt x="218" y="308"/>
                  <a:pt x="218" y="308"/>
                  <a:pt x="218" y="308"/>
                </a:cubicBezTo>
                <a:cubicBezTo>
                  <a:pt x="218" y="308"/>
                  <a:pt x="218" y="308"/>
                  <a:pt x="218" y="308"/>
                </a:cubicBezTo>
                <a:cubicBezTo>
                  <a:pt x="220" y="309"/>
                  <a:pt x="223" y="310"/>
                  <a:pt x="225" y="311"/>
                </a:cubicBezTo>
                <a:cubicBezTo>
                  <a:pt x="229" y="312"/>
                  <a:pt x="232" y="314"/>
                  <a:pt x="236" y="316"/>
                </a:cubicBezTo>
                <a:cubicBezTo>
                  <a:pt x="235" y="314"/>
                  <a:pt x="225" y="311"/>
                  <a:pt x="227" y="310"/>
                </a:cubicBezTo>
                <a:cubicBezTo>
                  <a:pt x="228" y="310"/>
                  <a:pt x="228" y="309"/>
                  <a:pt x="228" y="309"/>
                </a:cubicBezTo>
                <a:cubicBezTo>
                  <a:pt x="228" y="309"/>
                  <a:pt x="228" y="308"/>
                  <a:pt x="227" y="308"/>
                </a:cubicBezTo>
                <a:cubicBezTo>
                  <a:pt x="225" y="308"/>
                  <a:pt x="223" y="307"/>
                  <a:pt x="220" y="306"/>
                </a:cubicBezTo>
                <a:cubicBezTo>
                  <a:pt x="220" y="306"/>
                  <a:pt x="219" y="305"/>
                  <a:pt x="218" y="305"/>
                </a:cubicBezTo>
                <a:cubicBezTo>
                  <a:pt x="217" y="305"/>
                  <a:pt x="216" y="304"/>
                  <a:pt x="216" y="304"/>
                </a:cubicBezTo>
                <a:cubicBezTo>
                  <a:pt x="210" y="301"/>
                  <a:pt x="206" y="298"/>
                  <a:pt x="202" y="296"/>
                </a:cubicBezTo>
                <a:cubicBezTo>
                  <a:pt x="204" y="296"/>
                  <a:pt x="206" y="297"/>
                  <a:pt x="208" y="298"/>
                </a:cubicBezTo>
                <a:cubicBezTo>
                  <a:pt x="208" y="297"/>
                  <a:pt x="204" y="296"/>
                  <a:pt x="203" y="295"/>
                </a:cubicBezTo>
                <a:cubicBezTo>
                  <a:pt x="203" y="295"/>
                  <a:pt x="203" y="295"/>
                  <a:pt x="204" y="295"/>
                </a:cubicBezTo>
                <a:cubicBezTo>
                  <a:pt x="204" y="295"/>
                  <a:pt x="204" y="295"/>
                  <a:pt x="204" y="295"/>
                </a:cubicBezTo>
                <a:cubicBezTo>
                  <a:pt x="204" y="295"/>
                  <a:pt x="204" y="294"/>
                  <a:pt x="205" y="295"/>
                </a:cubicBezTo>
                <a:cubicBezTo>
                  <a:pt x="208" y="296"/>
                  <a:pt x="209" y="296"/>
                  <a:pt x="210" y="296"/>
                </a:cubicBezTo>
                <a:cubicBezTo>
                  <a:pt x="211" y="295"/>
                  <a:pt x="209" y="295"/>
                  <a:pt x="208" y="294"/>
                </a:cubicBezTo>
                <a:cubicBezTo>
                  <a:pt x="205" y="293"/>
                  <a:pt x="202" y="292"/>
                  <a:pt x="201" y="291"/>
                </a:cubicBezTo>
                <a:cubicBezTo>
                  <a:pt x="199" y="289"/>
                  <a:pt x="197" y="289"/>
                  <a:pt x="195" y="289"/>
                </a:cubicBezTo>
                <a:cubicBezTo>
                  <a:pt x="193" y="288"/>
                  <a:pt x="191" y="287"/>
                  <a:pt x="187" y="285"/>
                </a:cubicBezTo>
                <a:cubicBezTo>
                  <a:pt x="189" y="287"/>
                  <a:pt x="191" y="288"/>
                  <a:pt x="195" y="289"/>
                </a:cubicBezTo>
                <a:cubicBezTo>
                  <a:pt x="197" y="290"/>
                  <a:pt x="199" y="291"/>
                  <a:pt x="201" y="292"/>
                </a:cubicBezTo>
                <a:cubicBezTo>
                  <a:pt x="203" y="293"/>
                  <a:pt x="203" y="294"/>
                  <a:pt x="201" y="294"/>
                </a:cubicBezTo>
                <a:cubicBezTo>
                  <a:pt x="199" y="293"/>
                  <a:pt x="196" y="291"/>
                  <a:pt x="195" y="293"/>
                </a:cubicBezTo>
                <a:cubicBezTo>
                  <a:pt x="195" y="292"/>
                  <a:pt x="194" y="292"/>
                  <a:pt x="193" y="292"/>
                </a:cubicBezTo>
                <a:cubicBezTo>
                  <a:pt x="193" y="291"/>
                  <a:pt x="191" y="290"/>
                  <a:pt x="189" y="290"/>
                </a:cubicBezTo>
                <a:cubicBezTo>
                  <a:pt x="184" y="287"/>
                  <a:pt x="178" y="284"/>
                  <a:pt x="172" y="281"/>
                </a:cubicBezTo>
                <a:cubicBezTo>
                  <a:pt x="169" y="279"/>
                  <a:pt x="167" y="277"/>
                  <a:pt x="162" y="275"/>
                </a:cubicBezTo>
                <a:cubicBezTo>
                  <a:pt x="160" y="273"/>
                  <a:pt x="154" y="271"/>
                  <a:pt x="152" y="269"/>
                </a:cubicBezTo>
                <a:cubicBezTo>
                  <a:pt x="151" y="269"/>
                  <a:pt x="149" y="268"/>
                  <a:pt x="148" y="267"/>
                </a:cubicBezTo>
                <a:cubicBezTo>
                  <a:pt x="147" y="266"/>
                  <a:pt x="146" y="266"/>
                  <a:pt x="146" y="265"/>
                </a:cubicBezTo>
                <a:cubicBezTo>
                  <a:pt x="145" y="265"/>
                  <a:pt x="145" y="264"/>
                  <a:pt x="144" y="264"/>
                </a:cubicBezTo>
                <a:cubicBezTo>
                  <a:pt x="146" y="265"/>
                  <a:pt x="148" y="266"/>
                  <a:pt x="150" y="267"/>
                </a:cubicBezTo>
                <a:cubicBezTo>
                  <a:pt x="152" y="267"/>
                  <a:pt x="152" y="268"/>
                  <a:pt x="154" y="268"/>
                </a:cubicBezTo>
                <a:cubicBezTo>
                  <a:pt x="155" y="269"/>
                  <a:pt x="157" y="269"/>
                  <a:pt x="158" y="270"/>
                </a:cubicBezTo>
                <a:cubicBezTo>
                  <a:pt x="158" y="269"/>
                  <a:pt x="158" y="269"/>
                  <a:pt x="159" y="269"/>
                </a:cubicBezTo>
                <a:cubicBezTo>
                  <a:pt x="162" y="270"/>
                  <a:pt x="164" y="272"/>
                  <a:pt x="168" y="273"/>
                </a:cubicBezTo>
                <a:cubicBezTo>
                  <a:pt x="170" y="274"/>
                  <a:pt x="172" y="275"/>
                  <a:pt x="173" y="276"/>
                </a:cubicBezTo>
                <a:cubicBezTo>
                  <a:pt x="173" y="276"/>
                  <a:pt x="172" y="276"/>
                  <a:pt x="173" y="277"/>
                </a:cubicBezTo>
                <a:cubicBezTo>
                  <a:pt x="175" y="277"/>
                  <a:pt x="175" y="277"/>
                  <a:pt x="176" y="277"/>
                </a:cubicBezTo>
                <a:cubicBezTo>
                  <a:pt x="177" y="277"/>
                  <a:pt x="178" y="278"/>
                  <a:pt x="180" y="279"/>
                </a:cubicBezTo>
                <a:cubicBezTo>
                  <a:pt x="180" y="279"/>
                  <a:pt x="180" y="279"/>
                  <a:pt x="180" y="279"/>
                </a:cubicBezTo>
                <a:cubicBezTo>
                  <a:pt x="186" y="283"/>
                  <a:pt x="196" y="287"/>
                  <a:pt x="204" y="291"/>
                </a:cubicBezTo>
                <a:cubicBezTo>
                  <a:pt x="208" y="293"/>
                  <a:pt x="212" y="296"/>
                  <a:pt x="216" y="298"/>
                </a:cubicBezTo>
                <a:cubicBezTo>
                  <a:pt x="218" y="299"/>
                  <a:pt x="221" y="301"/>
                  <a:pt x="224" y="302"/>
                </a:cubicBezTo>
                <a:cubicBezTo>
                  <a:pt x="225" y="303"/>
                  <a:pt x="225" y="304"/>
                  <a:pt x="228" y="304"/>
                </a:cubicBezTo>
                <a:cubicBezTo>
                  <a:pt x="233" y="305"/>
                  <a:pt x="230" y="303"/>
                  <a:pt x="230" y="303"/>
                </a:cubicBezTo>
                <a:cubicBezTo>
                  <a:pt x="231" y="303"/>
                  <a:pt x="232" y="304"/>
                  <a:pt x="234" y="304"/>
                </a:cubicBezTo>
                <a:cubicBezTo>
                  <a:pt x="232" y="303"/>
                  <a:pt x="229" y="301"/>
                  <a:pt x="226" y="299"/>
                </a:cubicBezTo>
                <a:cubicBezTo>
                  <a:pt x="227" y="299"/>
                  <a:pt x="228" y="299"/>
                  <a:pt x="226" y="298"/>
                </a:cubicBezTo>
                <a:cubicBezTo>
                  <a:pt x="223" y="297"/>
                  <a:pt x="221" y="296"/>
                  <a:pt x="217" y="294"/>
                </a:cubicBezTo>
                <a:cubicBezTo>
                  <a:pt x="217" y="294"/>
                  <a:pt x="217" y="294"/>
                  <a:pt x="217" y="294"/>
                </a:cubicBezTo>
                <a:cubicBezTo>
                  <a:pt x="217" y="294"/>
                  <a:pt x="217" y="294"/>
                  <a:pt x="217" y="294"/>
                </a:cubicBezTo>
                <a:cubicBezTo>
                  <a:pt x="217" y="294"/>
                  <a:pt x="217" y="294"/>
                  <a:pt x="217" y="294"/>
                </a:cubicBezTo>
                <a:cubicBezTo>
                  <a:pt x="217" y="294"/>
                  <a:pt x="220" y="294"/>
                  <a:pt x="215" y="293"/>
                </a:cubicBezTo>
                <a:cubicBezTo>
                  <a:pt x="214" y="292"/>
                  <a:pt x="212" y="291"/>
                  <a:pt x="214" y="291"/>
                </a:cubicBezTo>
                <a:cubicBezTo>
                  <a:pt x="214" y="291"/>
                  <a:pt x="214" y="291"/>
                  <a:pt x="214" y="291"/>
                </a:cubicBezTo>
                <a:cubicBezTo>
                  <a:pt x="214" y="291"/>
                  <a:pt x="214" y="291"/>
                  <a:pt x="214" y="291"/>
                </a:cubicBezTo>
                <a:cubicBezTo>
                  <a:pt x="214" y="291"/>
                  <a:pt x="214" y="291"/>
                  <a:pt x="214" y="291"/>
                </a:cubicBezTo>
                <a:cubicBezTo>
                  <a:pt x="219" y="293"/>
                  <a:pt x="223" y="296"/>
                  <a:pt x="230" y="298"/>
                </a:cubicBezTo>
                <a:cubicBezTo>
                  <a:pt x="231" y="299"/>
                  <a:pt x="232" y="299"/>
                  <a:pt x="233" y="300"/>
                </a:cubicBezTo>
                <a:cubicBezTo>
                  <a:pt x="236" y="300"/>
                  <a:pt x="232" y="299"/>
                  <a:pt x="232" y="299"/>
                </a:cubicBezTo>
                <a:cubicBezTo>
                  <a:pt x="233" y="299"/>
                  <a:pt x="234" y="298"/>
                  <a:pt x="235" y="298"/>
                </a:cubicBezTo>
                <a:cubicBezTo>
                  <a:pt x="239" y="300"/>
                  <a:pt x="241" y="301"/>
                  <a:pt x="244" y="303"/>
                </a:cubicBezTo>
                <a:cubicBezTo>
                  <a:pt x="246" y="304"/>
                  <a:pt x="248" y="305"/>
                  <a:pt x="250" y="305"/>
                </a:cubicBezTo>
                <a:cubicBezTo>
                  <a:pt x="253" y="306"/>
                  <a:pt x="247" y="304"/>
                  <a:pt x="246" y="303"/>
                </a:cubicBezTo>
                <a:cubicBezTo>
                  <a:pt x="246" y="303"/>
                  <a:pt x="246" y="303"/>
                  <a:pt x="246" y="302"/>
                </a:cubicBezTo>
                <a:cubicBezTo>
                  <a:pt x="246" y="302"/>
                  <a:pt x="246" y="302"/>
                  <a:pt x="246" y="302"/>
                </a:cubicBezTo>
                <a:cubicBezTo>
                  <a:pt x="247" y="302"/>
                  <a:pt x="247" y="302"/>
                  <a:pt x="248" y="302"/>
                </a:cubicBezTo>
                <a:cubicBezTo>
                  <a:pt x="245" y="301"/>
                  <a:pt x="240" y="299"/>
                  <a:pt x="238" y="298"/>
                </a:cubicBezTo>
                <a:cubicBezTo>
                  <a:pt x="237" y="297"/>
                  <a:pt x="237" y="297"/>
                  <a:pt x="236" y="296"/>
                </a:cubicBezTo>
                <a:cubicBezTo>
                  <a:pt x="236" y="296"/>
                  <a:pt x="237" y="296"/>
                  <a:pt x="238" y="296"/>
                </a:cubicBezTo>
                <a:cubicBezTo>
                  <a:pt x="238" y="296"/>
                  <a:pt x="238" y="296"/>
                  <a:pt x="237" y="295"/>
                </a:cubicBezTo>
                <a:cubicBezTo>
                  <a:pt x="231" y="292"/>
                  <a:pt x="231" y="292"/>
                  <a:pt x="237" y="292"/>
                </a:cubicBezTo>
                <a:cubicBezTo>
                  <a:pt x="239" y="292"/>
                  <a:pt x="239" y="293"/>
                  <a:pt x="242" y="293"/>
                </a:cubicBezTo>
                <a:cubicBezTo>
                  <a:pt x="244" y="293"/>
                  <a:pt x="241" y="292"/>
                  <a:pt x="240" y="292"/>
                </a:cubicBezTo>
                <a:cubicBezTo>
                  <a:pt x="239" y="291"/>
                  <a:pt x="239" y="290"/>
                  <a:pt x="241" y="291"/>
                </a:cubicBezTo>
                <a:cubicBezTo>
                  <a:pt x="247" y="293"/>
                  <a:pt x="253" y="294"/>
                  <a:pt x="258" y="297"/>
                </a:cubicBezTo>
                <a:cubicBezTo>
                  <a:pt x="258" y="297"/>
                  <a:pt x="259" y="297"/>
                  <a:pt x="258" y="297"/>
                </a:cubicBezTo>
                <a:cubicBezTo>
                  <a:pt x="258" y="297"/>
                  <a:pt x="256" y="296"/>
                  <a:pt x="255" y="297"/>
                </a:cubicBezTo>
                <a:cubicBezTo>
                  <a:pt x="260" y="300"/>
                  <a:pt x="270" y="302"/>
                  <a:pt x="275" y="305"/>
                </a:cubicBezTo>
                <a:cubicBezTo>
                  <a:pt x="277" y="307"/>
                  <a:pt x="280" y="308"/>
                  <a:pt x="284" y="310"/>
                </a:cubicBezTo>
                <a:cubicBezTo>
                  <a:pt x="285" y="311"/>
                  <a:pt x="286" y="311"/>
                  <a:pt x="288" y="311"/>
                </a:cubicBezTo>
                <a:cubicBezTo>
                  <a:pt x="290" y="311"/>
                  <a:pt x="289" y="310"/>
                  <a:pt x="287" y="310"/>
                </a:cubicBezTo>
                <a:cubicBezTo>
                  <a:pt x="283" y="308"/>
                  <a:pt x="287" y="309"/>
                  <a:pt x="287" y="308"/>
                </a:cubicBezTo>
                <a:cubicBezTo>
                  <a:pt x="288" y="308"/>
                  <a:pt x="289" y="308"/>
                  <a:pt x="289" y="309"/>
                </a:cubicBezTo>
                <a:cubicBezTo>
                  <a:pt x="287" y="308"/>
                  <a:pt x="287" y="306"/>
                  <a:pt x="282" y="306"/>
                </a:cubicBezTo>
                <a:cubicBezTo>
                  <a:pt x="281" y="306"/>
                  <a:pt x="283" y="307"/>
                  <a:pt x="283" y="307"/>
                </a:cubicBezTo>
                <a:cubicBezTo>
                  <a:pt x="280" y="307"/>
                  <a:pt x="280" y="306"/>
                  <a:pt x="278" y="305"/>
                </a:cubicBezTo>
                <a:cubicBezTo>
                  <a:pt x="273" y="303"/>
                  <a:pt x="273" y="302"/>
                  <a:pt x="268" y="300"/>
                </a:cubicBezTo>
                <a:cubicBezTo>
                  <a:pt x="266" y="299"/>
                  <a:pt x="264" y="298"/>
                  <a:pt x="262" y="297"/>
                </a:cubicBezTo>
                <a:cubicBezTo>
                  <a:pt x="262" y="296"/>
                  <a:pt x="263" y="296"/>
                  <a:pt x="262" y="295"/>
                </a:cubicBezTo>
                <a:cubicBezTo>
                  <a:pt x="260" y="294"/>
                  <a:pt x="258" y="293"/>
                  <a:pt x="256" y="292"/>
                </a:cubicBezTo>
                <a:cubicBezTo>
                  <a:pt x="256" y="292"/>
                  <a:pt x="255" y="292"/>
                  <a:pt x="255" y="292"/>
                </a:cubicBezTo>
                <a:cubicBezTo>
                  <a:pt x="257" y="293"/>
                  <a:pt x="259" y="294"/>
                  <a:pt x="261" y="295"/>
                </a:cubicBezTo>
                <a:cubicBezTo>
                  <a:pt x="256" y="294"/>
                  <a:pt x="255" y="293"/>
                  <a:pt x="252" y="292"/>
                </a:cubicBezTo>
                <a:cubicBezTo>
                  <a:pt x="251" y="290"/>
                  <a:pt x="245" y="288"/>
                  <a:pt x="242" y="287"/>
                </a:cubicBezTo>
                <a:cubicBezTo>
                  <a:pt x="242" y="286"/>
                  <a:pt x="241" y="286"/>
                  <a:pt x="240" y="286"/>
                </a:cubicBezTo>
                <a:cubicBezTo>
                  <a:pt x="240" y="286"/>
                  <a:pt x="240" y="286"/>
                  <a:pt x="240" y="286"/>
                </a:cubicBezTo>
                <a:cubicBezTo>
                  <a:pt x="240" y="286"/>
                  <a:pt x="240" y="286"/>
                  <a:pt x="240" y="286"/>
                </a:cubicBezTo>
                <a:cubicBezTo>
                  <a:pt x="240" y="286"/>
                  <a:pt x="240" y="286"/>
                  <a:pt x="240" y="286"/>
                </a:cubicBezTo>
                <a:cubicBezTo>
                  <a:pt x="236" y="285"/>
                  <a:pt x="234" y="283"/>
                  <a:pt x="229" y="281"/>
                </a:cubicBezTo>
                <a:cubicBezTo>
                  <a:pt x="229" y="281"/>
                  <a:pt x="229" y="281"/>
                  <a:pt x="229" y="281"/>
                </a:cubicBezTo>
                <a:cubicBezTo>
                  <a:pt x="229" y="281"/>
                  <a:pt x="229" y="281"/>
                  <a:pt x="229" y="281"/>
                </a:cubicBezTo>
                <a:cubicBezTo>
                  <a:pt x="228" y="280"/>
                  <a:pt x="226" y="279"/>
                  <a:pt x="224" y="279"/>
                </a:cubicBezTo>
                <a:cubicBezTo>
                  <a:pt x="223" y="277"/>
                  <a:pt x="220" y="276"/>
                  <a:pt x="217" y="275"/>
                </a:cubicBezTo>
                <a:cubicBezTo>
                  <a:pt x="215" y="274"/>
                  <a:pt x="214" y="273"/>
                  <a:pt x="212" y="273"/>
                </a:cubicBezTo>
                <a:cubicBezTo>
                  <a:pt x="212" y="272"/>
                  <a:pt x="212" y="272"/>
                  <a:pt x="212" y="272"/>
                </a:cubicBezTo>
                <a:cubicBezTo>
                  <a:pt x="210" y="271"/>
                  <a:pt x="207" y="270"/>
                  <a:pt x="208" y="269"/>
                </a:cubicBezTo>
                <a:cubicBezTo>
                  <a:pt x="214" y="271"/>
                  <a:pt x="218" y="274"/>
                  <a:pt x="225" y="276"/>
                </a:cubicBezTo>
                <a:cubicBezTo>
                  <a:pt x="236" y="282"/>
                  <a:pt x="246" y="287"/>
                  <a:pt x="257" y="292"/>
                </a:cubicBezTo>
                <a:cubicBezTo>
                  <a:pt x="258" y="292"/>
                  <a:pt x="260" y="293"/>
                  <a:pt x="261" y="293"/>
                </a:cubicBezTo>
                <a:cubicBezTo>
                  <a:pt x="262" y="294"/>
                  <a:pt x="262" y="294"/>
                  <a:pt x="263" y="294"/>
                </a:cubicBezTo>
                <a:cubicBezTo>
                  <a:pt x="269" y="297"/>
                  <a:pt x="274" y="300"/>
                  <a:pt x="280" y="302"/>
                </a:cubicBezTo>
                <a:cubicBezTo>
                  <a:pt x="286" y="305"/>
                  <a:pt x="293" y="308"/>
                  <a:pt x="297" y="311"/>
                </a:cubicBezTo>
                <a:cubicBezTo>
                  <a:pt x="298" y="312"/>
                  <a:pt x="301" y="313"/>
                  <a:pt x="303" y="315"/>
                </a:cubicBezTo>
                <a:cubicBezTo>
                  <a:pt x="302" y="314"/>
                  <a:pt x="301" y="314"/>
                  <a:pt x="300" y="314"/>
                </a:cubicBezTo>
                <a:cubicBezTo>
                  <a:pt x="301" y="315"/>
                  <a:pt x="302" y="315"/>
                  <a:pt x="304" y="316"/>
                </a:cubicBezTo>
                <a:cubicBezTo>
                  <a:pt x="305" y="316"/>
                  <a:pt x="304" y="315"/>
                  <a:pt x="304" y="315"/>
                </a:cubicBezTo>
                <a:cubicBezTo>
                  <a:pt x="305" y="315"/>
                  <a:pt x="306" y="316"/>
                  <a:pt x="309" y="316"/>
                </a:cubicBezTo>
                <a:cubicBezTo>
                  <a:pt x="304" y="314"/>
                  <a:pt x="303" y="313"/>
                  <a:pt x="299" y="311"/>
                </a:cubicBezTo>
                <a:cubicBezTo>
                  <a:pt x="297" y="310"/>
                  <a:pt x="296" y="309"/>
                  <a:pt x="294" y="308"/>
                </a:cubicBezTo>
                <a:cubicBezTo>
                  <a:pt x="290" y="306"/>
                  <a:pt x="284" y="303"/>
                  <a:pt x="280" y="300"/>
                </a:cubicBezTo>
                <a:cubicBezTo>
                  <a:pt x="281" y="300"/>
                  <a:pt x="280" y="300"/>
                  <a:pt x="280" y="299"/>
                </a:cubicBezTo>
                <a:cubicBezTo>
                  <a:pt x="279" y="299"/>
                  <a:pt x="279" y="298"/>
                  <a:pt x="280" y="298"/>
                </a:cubicBezTo>
                <a:cubicBezTo>
                  <a:pt x="282" y="298"/>
                  <a:pt x="284" y="299"/>
                  <a:pt x="285" y="300"/>
                </a:cubicBezTo>
                <a:cubicBezTo>
                  <a:pt x="288" y="301"/>
                  <a:pt x="292" y="302"/>
                  <a:pt x="296" y="303"/>
                </a:cubicBezTo>
                <a:cubicBezTo>
                  <a:pt x="300" y="305"/>
                  <a:pt x="302" y="304"/>
                  <a:pt x="304" y="304"/>
                </a:cubicBezTo>
                <a:cubicBezTo>
                  <a:pt x="304" y="304"/>
                  <a:pt x="306" y="304"/>
                  <a:pt x="307" y="304"/>
                </a:cubicBezTo>
                <a:cubicBezTo>
                  <a:pt x="308" y="305"/>
                  <a:pt x="308" y="305"/>
                  <a:pt x="306" y="305"/>
                </a:cubicBezTo>
                <a:cubicBezTo>
                  <a:pt x="303" y="305"/>
                  <a:pt x="304" y="306"/>
                  <a:pt x="302" y="306"/>
                </a:cubicBezTo>
                <a:cubicBezTo>
                  <a:pt x="306" y="307"/>
                  <a:pt x="310" y="308"/>
                  <a:pt x="314" y="310"/>
                </a:cubicBezTo>
                <a:cubicBezTo>
                  <a:pt x="313" y="309"/>
                  <a:pt x="312" y="308"/>
                  <a:pt x="312" y="307"/>
                </a:cubicBezTo>
                <a:cubicBezTo>
                  <a:pt x="314" y="308"/>
                  <a:pt x="319" y="309"/>
                  <a:pt x="318" y="307"/>
                </a:cubicBezTo>
                <a:cubicBezTo>
                  <a:pt x="317" y="305"/>
                  <a:pt x="317" y="305"/>
                  <a:pt x="321" y="305"/>
                </a:cubicBezTo>
                <a:cubicBezTo>
                  <a:pt x="317" y="304"/>
                  <a:pt x="314" y="302"/>
                  <a:pt x="310" y="302"/>
                </a:cubicBezTo>
                <a:cubicBezTo>
                  <a:pt x="310" y="302"/>
                  <a:pt x="309" y="302"/>
                  <a:pt x="309" y="302"/>
                </a:cubicBezTo>
                <a:cubicBezTo>
                  <a:pt x="309" y="301"/>
                  <a:pt x="309" y="301"/>
                  <a:pt x="310" y="301"/>
                </a:cubicBezTo>
                <a:cubicBezTo>
                  <a:pt x="312" y="301"/>
                  <a:pt x="310" y="300"/>
                  <a:pt x="309" y="300"/>
                </a:cubicBezTo>
                <a:cubicBezTo>
                  <a:pt x="308" y="300"/>
                  <a:pt x="308" y="300"/>
                  <a:pt x="308" y="299"/>
                </a:cubicBezTo>
                <a:cubicBezTo>
                  <a:pt x="308" y="299"/>
                  <a:pt x="308" y="299"/>
                  <a:pt x="306" y="298"/>
                </a:cubicBezTo>
                <a:cubicBezTo>
                  <a:pt x="304" y="297"/>
                  <a:pt x="304" y="297"/>
                  <a:pt x="306" y="297"/>
                </a:cubicBezTo>
                <a:cubicBezTo>
                  <a:pt x="307" y="297"/>
                  <a:pt x="304" y="296"/>
                  <a:pt x="305" y="295"/>
                </a:cubicBezTo>
                <a:cubicBezTo>
                  <a:pt x="306" y="296"/>
                  <a:pt x="307" y="297"/>
                  <a:pt x="308" y="297"/>
                </a:cubicBezTo>
                <a:cubicBezTo>
                  <a:pt x="310" y="299"/>
                  <a:pt x="314" y="300"/>
                  <a:pt x="317" y="302"/>
                </a:cubicBezTo>
                <a:cubicBezTo>
                  <a:pt x="318" y="303"/>
                  <a:pt x="320" y="304"/>
                  <a:pt x="322" y="305"/>
                </a:cubicBezTo>
                <a:cubicBezTo>
                  <a:pt x="323" y="305"/>
                  <a:pt x="324" y="306"/>
                  <a:pt x="325" y="306"/>
                </a:cubicBezTo>
                <a:cubicBezTo>
                  <a:pt x="326" y="306"/>
                  <a:pt x="327" y="307"/>
                  <a:pt x="327" y="307"/>
                </a:cubicBezTo>
                <a:cubicBezTo>
                  <a:pt x="327" y="307"/>
                  <a:pt x="328" y="308"/>
                  <a:pt x="329" y="308"/>
                </a:cubicBezTo>
                <a:cubicBezTo>
                  <a:pt x="330" y="308"/>
                  <a:pt x="331" y="309"/>
                  <a:pt x="332" y="309"/>
                </a:cubicBezTo>
                <a:cubicBezTo>
                  <a:pt x="332" y="308"/>
                  <a:pt x="331" y="308"/>
                  <a:pt x="330" y="308"/>
                </a:cubicBezTo>
                <a:cubicBezTo>
                  <a:pt x="329" y="307"/>
                  <a:pt x="328" y="306"/>
                  <a:pt x="326" y="306"/>
                </a:cubicBezTo>
                <a:cubicBezTo>
                  <a:pt x="321" y="303"/>
                  <a:pt x="317" y="300"/>
                  <a:pt x="309" y="297"/>
                </a:cubicBezTo>
                <a:cubicBezTo>
                  <a:pt x="305" y="294"/>
                  <a:pt x="298" y="291"/>
                  <a:pt x="292" y="288"/>
                </a:cubicBezTo>
                <a:cubicBezTo>
                  <a:pt x="289" y="287"/>
                  <a:pt x="287" y="285"/>
                  <a:pt x="284" y="284"/>
                </a:cubicBezTo>
                <a:cubicBezTo>
                  <a:pt x="283" y="283"/>
                  <a:pt x="279" y="281"/>
                  <a:pt x="276" y="280"/>
                </a:cubicBezTo>
                <a:cubicBezTo>
                  <a:pt x="280" y="281"/>
                  <a:pt x="284" y="280"/>
                  <a:pt x="289" y="282"/>
                </a:cubicBezTo>
                <a:cubicBezTo>
                  <a:pt x="294" y="284"/>
                  <a:pt x="299" y="286"/>
                  <a:pt x="303" y="288"/>
                </a:cubicBezTo>
                <a:cubicBezTo>
                  <a:pt x="309" y="291"/>
                  <a:pt x="314" y="295"/>
                  <a:pt x="322" y="298"/>
                </a:cubicBezTo>
                <a:cubicBezTo>
                  <a:pt x="325" y="299"/>
                  <a:pt x="330" y="300"/>
                  <a:pt x="334" y="302"/>
                </a:cubicBezTo>
                <a:cubicBezTo>
                  <a:pt x="335" y="300"/>
                  <a:pt x="331" y="299"/>
                  <a:pt x="328" y="298"/>
                </a:cubicBezTo>
                <a:cubicBezTo>
                  <a:pt x="326" y="297"/>
                  <a:pt x="323" y="297"/>
                  <a:pt x="323" y="296"/>
                </a:cubicBezTo>
                <a:cubicBezTo>
                  <a:pt x="323" y="295"/>
                  <a:pt x="325" y="296"/>
                  <a:pt x="327" y="296"/>
                </a:cubicBezTo>
                <a:cubicBezTo>
                  <a:pt x="328" y="296"/>
                  <a:pt x="330" y="296"/>
                  <a:pt x="331" y="296"/>
                </a:cubicBezTo>
                <a:cubicBezTo>
                  <a:pt x="331" y="297"/>
                  <a:pt x="332" y="297"/>
                  <a:pt x="333" y="298"/>
                </a:cubicBezTo>
                <a:cubicBezTo>
                  <a:pt x="333" y="298"/>
                  <a:pt x="333" y="298"/>
                  <a:pt x="333" y="298"/>
                </a:cubicBezTo>
                <a:cubicBezTo>
                  <a:pt x="333" y="298"/>
                  <a:pt x="333" y="298"/>
                  <a:pt x="333" y="298"/>
                </a:cubicBezTo>
                <a:cubicBezTo>
                  <a:pt x="332" y="298"/>
                  <a:pt x="330" y="297"/>
                  <a:pt x="330" y="297"/>
                </a:cubicBezTo>
                <a:cubicBezTo>
                  <a:pt x="330" y="298"/>
                  <a:pt x="331" y="299"/>
                  <a:pt x="334" y="299"/>
                </a:cubicBezTo>
                <a:cubicBezTo>
                  <a:pt x="334" y="299"/>
                  <a:pt x="335" y="300"/>
                  <a:pt x="335" y="300"/>
                </a:cubicBezTo>
                <a:cubicBezTo>
                  <a:pt x="337" y="301"/>
                  <a:pt x="339" y="302"/>
                  <a:pt x="341" y="303"/>
                </a:cubicBezTo>
                <a:cubicBezTo>
                  <a:pt x="341" y="303"/>
                  <a:pt x="342" y="303"/>
                  <a:pt x="342" y="303"/>
                </a:cubicBezTo>
                <a:cubicBezTo>
                  <a:pt x="340" y="302"/>
                  <a:pt x="338" y="301"/>
                  <a:pt x="336" y="300"/>
                </a:cubicBezTo>
                <a:cubicBezTo>
                  <a:pt x="335" y="299"/>
                  <a:pt x="335" y="299"/>
                  <a:pt x="337" y="298"/>
                </a:cubicBezTo>
                <a:cubicBezTo>
                  <a:pt x="339" y="299"/>
                  <a:pt x="340" y="299"/>
                  <a:pt x="341" y="299"/>
                </a:cubicBezTo>
                <a:cubicBezTo>
                  <a:pt x="342" y="300"/>
                  <a:pt x="344" y="301"/>
                  <a:pt x="347" y="301"/>
                </a:cubicBezTo>
                <a:cubicBezTo>
                  <a:pt x="346" y="300"/>
                  <a:pt x="345" y="299"/>
                  <a:pt x="344" y="299"/>
                </a:cubicBezTo>
                <a:cubicBezTo>
                  <a:pt x="343" y="297"/>
                  <a:pt x="339" y="295"/>
                  <a:pt x="335" y="294"/>
                </a:cubicBezTo>
                <a:cubicBezTo>
                  <a:pt x="334" y="293"/>
                  <a:pt x="333" y="293"/>
                  <a:pt x="331" y="292"/>
                </a:cubicBezTo>
                <a:cubicBezTo>
                  <a:pt x="331" y="292"/>
                  <a:pt x="331" y="292"/>
                  <a:pt x="330" y="291"/>
                </a:cubicBezTo>
                <a:cubicBezTo>
                  <a:pt x="330" y="291"/>
                  <a:pt x="329" y="290"/>
                  <a:pt x="327" y="290"/>
                </a:cubicBezTo>
                <a:cubicBezTo>
                  <a:pt x="326" y="289"/>
                  <a:pt x="325" y="289"/>
                  <a:pt x="325" y="289"/>
                </a:cubicBezTo>
                <a:cubicBezTo>
                  <a:pt x="327" y="288"/>
                  <a:pt x="323" y="287"/>
                  <a:pt x="324" y="287"/>
                </a:cubicBezTo>
                <a:cubicBezTo>
                  <a:pt x="325" y="287"/>
                  <a:pt x="329" y="288"/>
                  <a:pt x="329" y="287"/>
                </a:cubicBezTo>
                <a:cubicBezTo>
                  <a:pt x="330" y="287"/>
                  <a:pt x="328" y="286"/>
                  <a:pt x="326" y="285"/>
                </a:cubicBezTo>
                <a:cubicBezTo>
                  <a:pt x="324" y="284"/>
                  <a:pt x="323" y="284"/>
                  <a:pt x="322" y="283"/>
                </a:cubicBezTo>
                <a:cubicBezTo>
                  <a:pt x="320" y="281"/>
                  <a:pt x="318" y="280"/>
                  <a:pt x="311" y="278"/>
                </a:cubicBezTo>
                <a:cubicBezTo>
                  <a:pt x="310" y="277"/>
                  <a:pt x="304" y="275"/>
                  <a:pt x="301" y="273"/>
                </a:cubicBezTo>
                <a:cubicBezTo>
                  <a:pt x="296" y="271"/>
                  <a:pt x="290" y="268"/>
                  <a:pt x="284" y="265"/>
                </a:cubicBezTo>
                <a:cubicBezTo>
                  <a:pt x="283" y="264"/>
                  <a:pt x="281" y="263"/>
                  <a:pt x="276" y="262"/>
                </a:cubicBezTo>
                <a:cubicBezTo>
                  <a:pt x="278" y="263"/>
                  <a:pt x="281" y="264"/>
                  <a:pt x="283" y="265"/>
                </a:cubicBezTo>
                <a:cubicBezTo>
                  <a:pt x="285" y="266"/>
                  <a:pt x="286" y="267"/>
                  <a:pt x="288" y="268"/>
                </a:cubicBezTo>
                <a:cubicBezTo>
                  <a:pt x="282" y="266"/>
                  <a:pt x="281" y="264"/>
                  <a:pt x="277" y="263"/>
                </a:cubicBezTo>
                <a:cubicBezTo>
                  <a:pt x="275" y="262"/>
                  <a:pt x="273" y="262"/>
                  <a:pt x="272" y="261"/>
                </a:cubicBezTo>
                <a:cubicBezTo>
                  <a:pt x="272" y="261"/>
                  <a:pt x="272" y="261"/>
                  <a:pt x="272" y="261"/>
                </a:cubicBezTo>
                <a:cubicBezTo>
                  <a:pt x="272" y="261"/>
                  <a:pt x="272" y="260"/>
                  <a:pt x="270" y="259"/>
                </a:cubicBezTo>
                <a:cubicBezTo>
                  <a:pt x="268" y="259"/>
                  <a:pt x="268" y="259"/>
                  <a:pt x="268" y="260"/>
                </a:cubicBezTo>
                <a:cubicBezTo>
                  <a:pt x="265" y="258"/>
                  <a:pt x="262" y="257"/>
                  <a:pt x="260" y="256"/>
                </a:cubicBezTo>
                <a:cubicBezTo>
                  <a:pt x="260" y="256"/>
                  <a:pt x="261" y="256"/>
                  <a:pt x="262" y="256"/>
                </a:cubicBezTo>
                <a:cubicBezTo>
                  <a:pt x="263" y="256"/>
                  <a:pt x="264" y="257"/>
                  <a:pt x="265" y="257"/>
                </a:cubicBezTo>
                <a:cubicBezTo>
                  <a:pt x="269" y="258"/>
                  <a:pt x="272" y="259"/>
                  <a:pt x="273" y="260"/>
                </a:cubicBezTo>
                <a:cubicBezTo>
                  <a:pt x="274" y="260"/>
                  <a:pt x="275" y="261"/>
                  <a:pt x="276" y="261"/>
                </a:cubicBezTo>
                <a:cubicBezTo>
                  <a:pt x="277" y="261"/>
                  <a:pt x="276" y="260"/>
                  <a:pt x="275" y="260"/>
                </a:cubicBezTo>
                <a:cubicBezTo>
                  <a:pt x="276" y="260"/>
                  <a:pt x="277" y="260"/>
                  <a:pt x="277" y="260"/>
                </a:cubicBezTo>
                <a:cubicBezTo>
                  <a:pt x="278" y="260"/>
                  <a:pt x="279" y="261"/>
                  <a:pt x="280" y="261"/>
                </a:cubicBezTo>
                <a:cubicBezTo>
                  <a:pt x="285" y="263"/>
                  <a:pt x="289" y="266"/>
                  <a:pt x="294" y="268"/>
                </a:cubicBezTo>
                <a:cubicBezTo>
                  <a:pt x="294" y="268"/>
                  <a:pt x="294" y="268"/>
                  <a:pt x="294" y="267"/>
                </a:cubicBezTo>
                <a:cubicBezTo>
                  <a:pt x="294" y="267"/>
                  <a:pt x="293" y="267"/>
                  <a:pt x="293" y="267"/>
                </a:cubicBezTo>
                <a:cubicBezTo>
                  <a:pt x="293" y="267"/>
                  <a:pt x="293" y="267"/>
                  <a:pt x="293" y="267"/>
                </a:cubicBezTo>
                <a:cubicBezTo>
                  <a:pt x="293" y="267"/>
                  <a:pt x="293" y="267"/>
                  <a:pt x="293" y="267"/>
                </a:cubicBezTo>
                <a:cubicBezTo>
                  <a:pt x="296" y="267"/>
                  <a:pt x="299" y="268"/>
                  <a:pt x="300" y="270"/>
                </a:cubicBezTo>
                <a:cubicBezTo>
                  <a:pt x="301" y="270"/>
                  <a:pt x="303" y="271"/>
                  <a:pt x="306" y="272"/>
                </a:cubicBezTo>
                <a:cubicBezTo>
                  <a:pt x="307" y="272"/>
                  <a:pt x="308" y="272"/>
                  <a:pt x="308" y="272"/>
                </a:cubicBezTo>
                <a:cubicBezTo>
                  <a:pt x="310" y="271"/>
                  <a:pt x="307" y="270"/>
                  <a:pt x="305" y="270"/>
                </a:cubicBezTo>
                <a:cubicBezTo>
                  <a:pt x="298" y="266"/>
                  <a:pt x="289" y="262"/>
                  <a:pt x="282" y="259"/>
                </a:cubicBezTo>
                <a:cubicBezTo>
                  <a:pt x="282" y="259"/>
                  <a:pt x="282" y="259"/>
                  <a:pt x="282" y="259"/>
                </a:cubicBezTo>
                <a:cubicBezTo>
                  <a:pt x="279" y="257"/>
                  <a:pt x="272" y="255"/>
                  <a:pt x="271" y="253"/>
                </a:cubicBezTo>
                <a:cubicBezTo>
                  <a:pt x="281" y="257"/>
                  <a:pt x="290" y="262"/>
                  <a:pt x="299" y="266"/>
                </a:cubicBezTo>
                <a:cubicBezTo>
                  <a:pt x="308" y="270"/>
                  <a:pt x="318" y="275"/>
                  <a:pt x="330" y="280"/>
                </a:cubicBezTo>
                <a:cubicBezTo>
                  <a:pt x="332" y="281"/>
                  <a:pt x="334" y="281"/>
                  <a:pt x="336" y="282"/>
                </a:cubicBezTo>
                <a:cubicBezTo>
                  <a:pt x="340" y="285"/>
                  <a:pt x="347" y="288"/>
                  <a:pt x="352" y="291"/>
                </a:cubicBezTo>
                <a:cubicBezTo>
                  <a:pt x="353" y="291"/>
                  <a:pt x="349" y="290"/>
                  <a:pt x="349" y="289"/>
                </a:cubicBezTo>
                <a:cubicBezTo>
                  <a:pt x="355" y="290"/>
                  <a:pt x="358" y="292"/>
                  <a:pt x="361" y="294"/>
                </a:cubicBezTo>
                <a:cubicBezTo>
                  <a:pt x="363" y="295"/>
                  <a:pt x="365" y="297"/>
                  <a:pt x="371" y="298"/>
                </a:cubicBezTo>
                <a:cubicBezTo>
                  <a:pt x="376" y="299"/>
                  <a:pt x="377" y="300"/>
                  <a:pt x="380" y="302"/>
                </a:cubicBezTo>
                <a:cubicBezTo>
                  <a:pt x="380" y="302"/>
                  <a:pt x="380" y="302"/>
                  <a:pt x="380" y="302"/>
                </a:cubicBezTo>
                <a:cubicBezTo>
                  <a:pt x="385" y="304"/>
                  <a:pt x="389" y="306"/>
                  <a:pt x="393" y="308"/>
                </a:cubicBezTo>
                <a:cubicBezTo>
                  <a:pt x="390" y="307"/>
                  <a:pt x="389" y="306"/>
                  <a:pt x="387" y="306"/>
                </a:cubicBezTo>
                <a:cubicBezTo>
                  <a:pt x="386" y="305"/>
                  <a:pt x="385" y="304"/>
                  <a:pt x="381" y="303"/>
                </a:cubicBezTo>
                <a:cubicBezTo>
                  <a:pt x="382" y="304"/>
                  <a:pt x="383" y="305"/>
                  <a:pt x="386" y="306"/>
                </a:cubicBezTo>
                <a:cubicBezTo>
                  <a:pt x="389" y="307"/>
                  <a:pt x="391" y="308"/>
                  <a:pt x="394" y="310"/>
                </a:cubicBezTo>
                <a:cubicBezTo>
                  <a:pt x="396" y="311"/>
                  <a:pt x="398" y="311"/>
                  <a:pt x="399" y="312"/>
                </a:cubicBezTo>
                <a:cubicBezTo>
                  <a:pt x="399" y="312"/>
                  <a:pt x="400" y="312"/>
                  <a:pt x="400" y="312"/>
                </a:cubicBezTo>
                <a:cubicBezTo>
                  <a:pt x="398" y="311"/>
                  <a:pt x="397" y="311"/>
                  <a:pt x="396" y="310"/>
                </a:cubicBezTo>
                <a:cubicBezTo>
                  <a:pt x="396" y="310"/>
                  <a:pt x="397" y="310"/>
                  <a:pt x="397" y="310"/>
                </a:cubicBezTo>
                <a:cubicBezTo>
                  <a:pt x="402" y="313"/>
                  <a:pt x="410" y="316"/>
                  <a:pt x="413" y="319"/>
                </a:cubicBezTo>
                <a:cubicBezTo>
                  <a:pt x="416" y="320"/>
                  <a:pt x="418" y="321"/>
                  <a:pt x="421" y="322"/>
                </a:cubicBezTo>
                <a:cubicBezTo>
                  <a:pt x="421" y="323"/>
                  <a:pt x="422" y="324"/>
                  <a:pt x="426" y="325"/>
                </a:cubicBezTo>
                <a:cubicBezTo>
                  <a:pt x="429" y="328"/>
                  <a:pt x="436" y="329"/>
                  <a:pt x="442" y="331"/>
                </a:cubicBezTo>
                <a:cubicBezTo>
                  <a:pt x="442" y="331"/>
                  <a:pt x="442" y="331"/>
                  <a:pt x="443" y="331"/>
                </a:cubicBezTo>
                <a:cubicBezTo>
                  <a:pt x="444" y="332"/>
                  <a:pt x="446" y="333"/>
                  <a:pt x="448" y="334"/>
                </a:cubicBezTo>
                <a:cubicBezTo>
                  <a:pt x="450" y="335"/>
                  <a:pt x="448" y="335"/>
                  <a:pt x="446" y="334"/>
                </a:cubicBezTo>
                <a:cubicBezTo>
                  <a:pt x="445" y="334"/>
                  <a:pt x="444" y="333"/>
                  <a:pt x="441" y="333"/>
                </a:cubicBezTo>
                <a:cubicBezTo>
                  <a:pt x="442" y="333"/>
                  <a:pt x="444" y="334"/>
                  <a:pt x="445" y="334"/>
                </a:cubicBezTo>
                <a:cubicBezTo>
                  <a:pt x="446" y="335"/>
                  <a:pt x="447" y="335"/>
                  <a:pt x="448" y="336"/>
                </a:cubicBezTo>
                <a:cubicBezTo>
                  <a:pt x="452" y="338"/>
                  <a:pt x="459" y="341"/>
                  <a:pt x="465" y="344"/>
                </a:cubicBezTo>
                <a:cubicBezTo>
                  <a:pt x="467" y="345"/>
                  <a:pt x="468" y="347"/>
                  <a:pt x="473" y="348"/>
                </a:cubicBezTo>
                <a:cubicBezTo>
                  <a:pt x="472" y="347"/>
                  <a:pt x="469" y="345"/>
                  <a:pt x="466" y="344"/>
                </a:cubicBezTo>
                <a:cubicBezTo>
                  <a:pt x="463" y="342"/>
                  <a:pt x="459" y="340"/>
                  <a:pt x="455" y="339"/>
                </a:cubicBezTo>
                <a:cubicBezTo>
                  <a:pt x="457" y="338"/>
                  <a:pt x="452" y="335"/>
                  <a:pt x="450" y="334"/>
                </a:cubicBezTo>
                <a:cubicBezTo>
                  <a:pt x="449" y="333"/>
                  <a:pt x="446" y="331"/>
                  <a:pt x="444" y="330"/>
                </a:cubicBezTo>
                <a:cubicBezTo>
                  <a:pt x="444" y="329"/>
                  <a:pt x="441" y="329"/>
                  <a:pt x="439" y="328"/>
                </a:cubicBezTo>
                <a:cubicBezTo>
                  <a:pt x="435" y="326"/>
                  <a:pt x="429" y="324"/>
                  <a:pt x="432" y="323"/>
                </a:cubicBezTo>
                <a:cubicBezTo>
                  <a:pt x="433" y="323"/>
                  <a:pt x="431" y="321"/>
                  <a:pt x="427" y="321"/>
                </a:cubicBezTo>
                <a:cubicBezTo>
                  <a:pt x="425" y="320"/>
                  <a:pt x="423" y="319"/>
                  <a:pt x="421" y="318"/>
                </a:cubicBezTo>
                <a:cubicBezTo>
                  <a:pt x="420" y="317"/>
                  <a:pt x="418" y="317"/>
                  <a:pt x="417" y="316"/>
                </a:cubicBezTo>
                <a:cubicBezTo>
                  <a:pt x="417" y="315"/>
                  <a:pt x="416" y="315"/>
                  <a:pt x="414" y="314"/>
                </a:cubicBezTo>
                <a:cubicBezTo>
                  <a:pt x="413" y="314"/>
                  <a:pt x="414" y="315"/>
                  <a:pt x="415" y="316"/>
                </a:cubicBezTo>
                <a:cubicBezTo>
                  <a:pt x="416" y="317"/>
                  <a:pt x="417" y="317"/>
                  <a:pt x="419" y="318"/>
                </a:cubicBezTo>
                <a:cubicBezTo>
                  <a:pt x="421" y="319"/>
                  <a:pt x="421" y="320"/>
                  <a:pt x="419" y="320"/>
                </a:cubicBezTo>
                <a:cubicBezTo>
                  <a:pt x="417" y="320"/>
                  <a:pt x="417" y="319"/>
                  <a:pt x="416" y="319"/>
                </a:cubicBezTo>
                <a:cubicBezTo>
                  <a:pt x="408" y="314"/>
                  <a:pt x="399" y="310"/>
                  <a:pt x="391" y="306"/>
                </a:cubicBezTo>
                <a:cubicBezTo>
                  <a:pt x="393" y="306"/>
                  <a:pt x="396" y="307"/>
                  <a:pt x="397" y="308"/>
                </a:cubicBezTo>
                <a:cubicBezTo>
                  <a:pt x="402" y="311"/>
                  <a:pt x="407" y="311"/>
                  <a:pt x="413" y="311"/>
                </a:cubicBezTo>
                <a:cubicBezTo>
                  <a:pt x="413" y="312"/>
                  <a:pt x="412" y="312"/>
                  <a:pt x="413" y="312"/>
                </a:cubicBezTo>
                <a:cubicBezTo>
                  <a:pt x="413" y="313"/>
                  <a:pt x="414" y="313"/>
                  <a:pt x="415" y="313"/>
                </a:cubicBezTo>
                <a:cubicBezTo>
                  <a:pt x="415" y="312"/>
                  <a:pt x="416" y="312"/>
                  <a:pt x="414" y="311"/>
                </a:cubicBezTo>
                <a:cubicBezTo>
                  <a:pt x="413" y="311"/>
                  <a:pt x="420" y="312"/>
                  <a:pt x="416" y="310"/>
                </a:cubicBezTo>
                <a:cubicBezTo>
                  <a:pt x="414" y="309"/>
                  <a:pt x="410" y="309"/>
                  <a:pt x="410" y="309"/>
                </a:cubicBezTo>
                <a:cubicBezTo>
                  <a:pt x="406" y="311"/>
                  <a:pt x="403" y="308"/>
                  <a:pt x="399" y="307"/>
                </a:cubicBezTo>
                <a:cubicBezTo>
                  <a:pt x="398" y="306"/>
                  <a:pt x="396" y="305"/>
                  <a:pt x="395" y="305"/>
                </a:cubicBezTo>
                <a:cubicBezTo>
                  <a:pt x="391" y="302"/>
                  <a:pt x="388" y="303"/>
                  <a:pt x="385" y="303"/>
                </a:cubicBezTo>
                <a:cubicBezTo>
                  <a:pt x="385" y="303"/>
                  <a:pt x="385" y="303"/>
                  <a:pt x="385" y="303"/>
                </a:cubicBezTo>
                <a:cubicBezTo>
                  <a:pt x="384" y="302"/>
                  <a:pt x="384" y="302"/>
                  <a:pt x="384" y="302"/>
                </a:cubicBezTo>
                <a:cubicBezTo>
                  <a:pt x="382" y="301"/>
                  <a:pt x="385" y="301"/>
                  <a:pt x="384" y="299"/>
                </a:cubicBezTo>
                <a:cubicBezTo>
                  <a:pt x="380" y="296"/>
                  <a:pt x="373" y="294"/>
                  <a:pt x="369" y="291"/>
                </a:cubicBezTo>
                <a:cubicBezTo>
                  <a:pt x="367" y="291"/>
                  <a:pt x="366" y="290"/>
                  <a:pt x="365" y="289"/>
                </a:cubicBezTo>
                <a:cubicBezTo>
                  <a:pt x="359" y="288"/>
                  <a:pt x="358" y="286"/>
                  <a:pt x="354" y="284"/>
                </a:cubicBezTo>
                <a:cubicBezTo>
                  <a:pt x="348" y="282"/>
                  <a:pt x="346" y="279"/>
                  <a:pt x="341" y="277"/>
                </a:cubicBezTo>
                <a:cubicBezTo>
                  <a:pt x="338" y="276"/>
                  <a:pt x="335" y="274"/>
                  <a:pt x="333" y="273"/>
                </a:cubicBezTo>
                <a:cubicBezTo>
                  <a:pt x="327" y="270"/>
                  <a:pt x="320" y="267"/>
                  <a:pt x="314" y="264"/>
                </a:cubicBezTo>
                <a:cubicBezTo>
                  <a:pt x="313" y="263"/>
                  <a:pt x="311" y="263"/>
                  <a:pt x="310" y="262"/>
                </a:cubicBezTo>
                <a:cubicBezTo>
                  <a:pt x="311" y="262"/>
                  <a:pt x="312" y="262"/>
                  <a:pt x="313" y="262"/>
                </a:cubicBezTo>
                <a:cubicBezTo>
                  <a:pt x="318" y="265"/>
                  <a:pt x="323" y="267"/>
                  <a:pt x="329" y="269"/>
                </a:cubicBezTo>
                <a:cubicBezTo>
                  <a:pt x="328" y="269"/>
                  <a:pt x="328" y="269"/>
                  <a:pt x="328" y="268"/>
                </a:cubicBezTo>
                <a:cubicBezTo>
                  <a:pt x="328" y="269"/>
                  <a:pt x="329" y="269"/>
                  <a:pt x="329" y="269"/>
                </a:cubicBezTo>
                <a:cubicBezTo>
                  <a:pt x="335" y="272"/>
                  <a:pt x="342" y="275"/>
                  <a:pt x="348" y="279"/>
                </a:cubicBezTo>
                <a:cubicBezTo>
                  <a:pt x="354" y="281"/>
                  <a:pt x="361" y="284"/>
                  <a:pt x="367" y="287"/>
                </a:cubicBezTo>
                <a:cubicBezTo>
                  <a:pt x="377" y="291"/>
                  <a:pt x="387" y="296"/>
                  <a:pt x="396" y="300"/>
                </a:cubicBezTo>
                <a:cubicBezTo>
                  <a:pt x="398" y="301"/>
                  <a:pt x="401" y="303"/>
                  <a:pt x="404" y="304"/>
                </a:cubicBezTo>
                <a:cubicBezTo>
                  <a:pt x="409" y="307"/>
                  <a:pt x="418" y="310"/>
                  <a:pt x="424" y="314"/>
                </a:cubicBezTo>
                <a:cubicBezTo>
                  <a:pt x="425" y="315"/>
                  <a:pt x="429" y="316"/>
                  <a:pt x="432" y="318"/>
                </a:cubicBezTo>
                <a:cubicBezTo>
                  <a:pt x="433" y="317"/>
                  <a:pt x="428" y="315"/>
                  <a:pt x="426" y="314"/>
                </a:cubicBezTo>
                <a:cubicBezTo>
                  <a:pt x="426" y="314"/>
                  <a:pt x="426" y="314"/>
                  <a:pt x="426" y="314"/>
                </a:cubicBezTo>
                <a:cubicBezTo>
                  <a:pt x="428" y="313"/>
                  <a:pt x="429" y="313"/>
                  <a:pt x="436" y="315"/>
                </a:cubicBezTo>
                <a:cubicBezTo>
                  <a:pt x="434" y="314"/>
                  <a:pt x="434" y="312"/>
                  <a:pt x="430" y="311"/>
                </a:cubicBezTo>
                <a:cubicBezTo>
                  <a:pt x="428" y="311"/>
                  <a:pt x="431" y="313"/>
                  <a:pt x="426" y="311"/>
                </a:cubicBezTo>
                <a:cubicBezTo>
                  <a:pt x="422" y="310"/>
                  <a:pt x="423" y="309"/>
                  <a:pt x="420" y="308"/>
                </a:cubicBezTo>
                <a:cubicBezTo>
                  <a:pt x="420" y="307"/>
                  <a:pt x="425" y="307"/>
                  <a:pt x="425" y="307"/>
                </a:cubicBezTo>
                <a:cubicBezTo>
                  <a:pt x="434" y="309"/>
                  <a:pt x="425" y="307"/>
                  <a:pt x="426" y="306"/>
                </a:cubicBezTo>
                <a:cubicBezTo>
                  <a:pt x="425" y="306"/>
                  <a:pt x="426" y="306"/>
                  <a:pt x="427" y="306"/>
                </a:cubicBezTo>
                <a:cubicBezTo>
                  <a:pt x="427" y="306"/>
                  <a:pt x="428" y="306"/>
                  <a:pt x="429" y="306"/>
                </a:cubicBezTo>
                <a:cubicBezTo>
                  <a:pt x="430" y="306"/>
                  <a:pt x="432" y="307"/>
                  <a:pt x="434" y="308"/>
                </a:cubicBezTo>
                <a:cubicBezTo>
                  <a:pt x="436" y="309"/>
                  <a:pt x="438" y="310"/>
                  <a:pt x="440" y="311"/>
                </a:cubicBezTo>
                <a:cubicBezTo>
                  <a:pt x="444" y="314"/>
                  <a:pt x="452" y="317"/>
                  <a:pt x="460" y="320"/>
                </a:cubicBezTo>
                <a:cubicBezTo>
                  <a:pt x="453" y="317"/>
                  <a:pt x="449" y="314"/>
                  <a:pt x="441" y="311"/>
                </a:cubicBezTo>
                <a:cubicBezTo>
                  <a:pt x="439" y="310"/>
                  <a:pt x="437" y="309"/>
                  <a:pt x="434" y="308"/>
                </a:cubicBezTo>
                <a:cubicBezTo>
                  <a:pt x="433" y="307"/>
                  <a:pt x="431" y="306"/>
                  <a:pt x="429" y="305"/>
                </a:cubicBezTo>
                <a:cubicBezTo>
                  <a:pt x="431" y="305"/>
                  <a:pt x="429" y="304"/>
                  <a:pt x="430" y="303"/>
                </a:cubicBezTo>
                <a:cubicBezTo>
                  <a:pt x="434" y="303"/>
                  <a:pt x="436" y="305"/>
                  <a:pt x="438" y="306"/>
                </a:cubicBezTo>
                <a:cubicBezTo>
                  <a:pt x="449" y="312"/>
                  <a:pt x="460" y="317"/>
                  <a:pt x="471" y="323"/>
                </a:cubicBezTo>
                <a:cubicBezTo>
                  <a:pt x="472" y="324"/>
                  <a:pt x="473" y="325"/>
                  <a:pt x="475" y="325"/>
                </a:cubicBezTo>
                <a:cubicBezTo>
                  <a:pt x="476" y="326"/>
                  <a:pt x="479" y="328"/>
                  <a:pt x="482" y="329"/>
                </a:cubicBezTo>
                <a:cubicBezTo>
                  <a:pt x="482" y="329"/>
                  <a:pt x="482" y="329"/>
                  <a:pt x="482" y="329"/>
                </a:cubicBezTo>
                <a:cubicBezTo>
                  <a:pt x="482" y="329"/>
                  <a:pt x="483" y="329"/>
                  <a:pt x="483" y="330"/>
                </a:cubicBezTo>
                <a:cubicBezTo>
                  <a:pt x="485" y="331"/>
                  <a:pt x="487" y="332"/>
                  <a:pt x="490" y="334"/>
                </a:cubicBezTo>
                <a:cubicBezTo>
                  <a:pt x="491" y="335"/>
                  <a:pt x="491" y="336"/>
                  <a:pt x="498" y="339"/>
                </a:cubicBezTo>
                <a:cubicBezTo>
                  <a:pt x="505" y="341"/>
                  <a:pt x="509" y="344"/>
                  <a:pt x="507" y="346"/>
                </a:cubicBezTo>
                <a:cubicBezTo>
                  <a:pt x="507" y="346"/>
                  <a:pt x="505" y="346"/>
                  <a:pt x="506" y="347"/>
                </a:cubicBezTo>
                <a:cubicBezTo>
                  <a:pt x="509" y="348"/>
                  <a:pt x="512" y="348"/>
                  <a:pt x="515" y="349"/>
                </a:cubicBezTo>
                <a:cubicBezTo>
                  <a:pt x="517" y="349"/>
                  <a:pt x="518" y="350"/>
                  <a:pt x="519" y="351"/>
                </a:cubicBezTo>
                <a:cubicBezTo>
                  <a:pt x="519" y="351"/>
                  <a:pt x="520" y="351"/>
                  <a:pt x="520" y="351"/>
                </a:cubicBezTo>
                <a:cubicBezTo>
                  <a:pt x="523" y="353"/>
                  <a:pt x="525" y="354"/>
                  <a:pt x="528" y="356"/>
                </a:cubicBezTo>
                <a:cubicBezTo>
                  <a:pt x="529" y="357"/>
                  <a:pt x="530" y="357"/>
                  <a:pt x="533" y="358"/>
                </a:cubicBezTo>
                <a:cubicBezTo>
                  <a:pt x="533" y="357"/>
                  <a:pt x="531" y="357"/>
                  <a:pt x="529" y="356"/>
                </a:cubicBezTo>
                <a:cubicBezTo>
                  <a:pt x="529" y="356"/>
                  <a:pt x="529" y="355"/>
                  <a:pt x="529" y="355"/>
                </a:cubicBezTo>
                <a:cubicBezTo>
                  <a:pt x="529" y="355"/>
                  <a:pt x="530" y="355"/>
                  <a:pt x="530" y="355"/>
                </a:cubicBezTo>
                <a:cubicBezTo>
                  <a:pt x="531" y="355"/>
                  <a:pt x="531" y="355"/>
                  <a:pt x="531" y="356"/>
                </a:cubicBezTo>
                <a:cubicBezTo>
                  <a:pt x="533" y="357"/>
                  <a:pt x="533" y="357"/>
                  <a:pt x="537" y="359"/>
                </a:cubicBezTo>
                <a:cubicBezTo>
                  <a:pt x="537" y="358"/>
                  <a:pt x="535" y="357"/>
                  <a:pt x="532" y="356"/>
                </a:cubicBezTo>
                <a:cubicBezTo>
                  <a:pt x="531" y="355"/>
                  <a:pt x="530" y="354"/>
                  <a:pt x="528" y="354"/>
                </a:cubicBezTo>
                <a:cubicBezTo>
                  <a:pt x="529" y="353"/>
                  <a:pt x="526" y="352"/>
                  <a:pt x="525" y="351"/>
                </a:cubicBezTo>
                <a:cubicBezTo>
                  <a:pt x="525" y="351"/>
                  <a:pt x="525" y="351"/>
                  <a:pt x="524" y="350"/>
                </a:cubicBezTo>
                <a:cubicBezTo>
                  <a:pt x="521" y="349"/>
                  <a:pt x="520" y="348"/>
                  <a:pt x="517" y="347"/>
                </a:cubicBezTo>
                <a:cubicBezTo>
                  <a:pt x="517" y="346"/>
                  <a:pt x="514" y="345"/>
                  <a:pt x="512" y="344"/>
                </a:cubicBezTo>
                <a:cubicBezTo>
                  <a:pt x="511" y="343"/>
                  <a:pt x="509" y="342"/>
                  <a:pt x="509" y="341"/>
                </a:cubicBezTo>
                <a:cubicBezTo>
                  <a:pt x="509" y="341"/>
                  <a:pt x="509" y="341"/>
                  <a:pt x="509" y="341"/>
                </a:cubicBezTo>
                <a:cubicBezTo>
                  <a:pt x="510" y="341"/>
                  <a:pt x="511" y="341"/>
                  <a:pt x="510" y="341"/>
                </a:cubicBezTo>
                <a:cubicBezTo>
                  <a:pt x="509" y="340"/>
                  <a:pt x="507" y="340"/>
                  <a:pt x="506" y="340"/>
                </a:cubicBezTo>
                <a:cubicBezTo>
                  <a:pt x="500" y="337"/>
                  <a:pt x="501" y="336"/>
                  <a:pt x="496" y="334"/>
                </a:cubicBezTo>
                <a:cubicBezTo>
                  <a:pt x="495" y="333"/>
                  <a:pt x="491" y="331"/>
                  <a:pt x="491" y="330"/>
                </a:cubicBezTo>
                <a:cubicBezTo>
                  <a:pt x="500" y="334"/>
                  <a:pt x="508" y="338"/>
                  <a:pt x="514" y="341"/>
                </a:cubicBezTo>
                <a:cubicBezTo>
                  <a:pt x="514" y="342"/>
                  <a:pt x="514" y="342"/>
                  <a:pt x="516" y="343"/>
                </a:cubicBezTo>
                <a:cubicBezTo>
                  <a:pt x="518" y="344"/>
                  <a:pt x="520" y="345"/>
                  <a:pt x="523" y="346"/>
                </a:cubicBezTo>
                <a:cubicBezTo>
                  <a:pt x="522" y="345"/>
                  <a:pt x="521" y="344"/>
                  <a:pt x="519" y="343"/>
                </a:cubicBezTo>
                <a:cubicBezTo>
                  <a:pt x="518" y="342"/>
                  <a:pt x="517" y="342"/>
                  <a:pt x="516" y="342"/>
                </a:cubicBezTo>
                <a:cubicBezTo>
                  <a:pt x="516" y="341"/>
                  <a:pt x="513" y="340"/>
                  <a:pt x="513" y="339"/>
                </a:cubicBezTo>
                <a:cubicBezTo>
                  <a:pt x="514" y="339"/>
                  <a:pt x="515" y="340"/>
                  <a:pt x="517" y="340"/>
                </a:cubicBezTo>
                <a:cubicBezTo>
                  <a:pt x="519" y="341"/>
                  <a:pt x="517" y="340"/>
                  <a:pt x="517" y="339"/>
                </a:cubicBezTo>
                <a:cubicBezTo>
                  <a:pt x="514" y="338"/>
                  <a:pt x="511" y="337"/>
                  <a:pt x="507" y="336"/>
                </a:cubicBezTo>
                <a:cubicBezTo>
                  <a:pt x="505" y="334"/>
                  <a:pt x="501" y="332"/>
                  <a:pt x="496" y="330"/>
                </a:cubicBezTo>
                <a:cubicBezTo>
                  <a:pt x="492" y="328"/>
                  <a:pt x="499" y="328"/>
                  <a:pt x="499" y="327"/>
                </a:cubicBezTo>
                <a:cubicBezTo>
                  <a:pt x="500" y="327"/>
                  <a:pt x="501" y="327"/>
                  <a:pt x="503" y="328"/>
                </a:cubicBezTo>
                <a:cubicBezTo>
                  <a:pt x="507" y="330"/>
                  <a:pt x="511" y="332"/>
                  <a:pt x="513" y="333"/>
                </a:cubicBezTo>
                <a:cubicBezTo>
                  <a:pt x="511" y="334"/>
                  <a:pt x="509" y="333"/>
                  <a:pt x="507" y="332"/>
                </a:cubicBezTo>
                <a:cubicBezTo>
                  <a:pt x="509" y="333"/>
                  <a:pt x="510" y="335"/>
                  <a:pt x="514" y="335"/>
                </a:cubicBezTo>
                <a:cubicBezTo>
                  <a:pt x="517" y="336"/>
                  <a:pt x="514" y="334"/>
                  <a:pt x="515" y="334"/>
                </a:cubicBezTo>
                <a:cubicBezTo>
                  <a:pt x="520" y="335"/>
                  <a:pt x="520" y="335"/>
                  <a:pt x="518" y="333"/>
                </a:cubicBezTo>
                <a:cubicBezTo>
                  <a:pt x="514" y="331"/>
                  <a:pt x="510" y="329"/>
                  <a:pt x="506" y="327"/>
                </a:cubicBezTo>
                <a:cubicBezTo>
                  <a:pt x="505" y="326"/>
                  <a:pt x="501" y="325"/>
                  <a:pt x="502" y="325"/>
                </a:cubicBezTo>
                <a:cubicBezTo>
                  <a:pt x="506" y="325"/>
                  <a:pt x="502" y="324"/>
                  <a:pt x="503" y="323"/>
                </a:cubicBezTo>
                <a:cubicBezTo>
                  <a:pt x="506" y="324"/>
                  <a:pt x="507" y="325"/>
                  <a:pt x="509" y="325"/>
                </a:cubicBezTo>
                <a:cubicBezTo>
                  <a:pt x="515" y="326"/>
                  <a:pt x="516" y="328"/>
                  <a:pt x="523" y="330"/>
                </a:cubicBezTo>
                <a:cubicBezTo>
                  <a:pt x="522" y="329"/>
                  <a:pt x="517" y="328"/>
                  <a:pt x="517" y="327"/>
                </a:cubicBezTo>
                <a:cubicBezTo>
                  <a:pt x="517" y="325"/>
                  <a:pt x="507" y="323"/>
                  <a:pt x="510" y="321"/>
                </a:cubicBezTo>
                <a:cubicBezTo>
                  <a:pt x="511" y="322"/>
                  <a:pt x="512" y="322"/>
                  <a:pt x="513" y="323"/>
                </a:cubicBezTo>
                <a:cubicBezTo>
                  <a:pt x="513" y="324"/>
                  <a:pt x="521" y="326"/>
                  <a:pt x="524" y="328"/>
                </a:cubicBezTo>
                <a:cubicBezTo>
                  <a:pt x="523" y="327"/>
                  <a:pt x="521" y="325"/>
                  <a:pt x="517" y="324"/>
                </a:cubicBezTo>
                <a:cubicBezTo>
                  <a:pt x="513" y="322"/>
                  <a:pt x="509" y="319"/>
                  <a:pt x="504" y="317"/>
                </a:cubicBezTo>
                <a:cubicBezTo>
                  <a:pt x="509" y="319"/>
                  <a:pt x="513" y="320"/>
                  <a:pt x="518" y="322"/>
                </a:cubicBezTo>
                <a:cubicBezTo>
                  <a:pt x="518" y="323"/>
                  <a:pt x="519" y="323"/>
                  <a:pt x="521" y="325"/>
                </a:cubicBezTo>
                <a:cubicBezTo>
                  <a:pt x="523" y="324"/>
                  <a:pt x="523" y="324"/>
                  <a:pt x="521" y="322"/>
                </a:cubicBezTo>
                <a:cubicBezTo>
                  <a:pt x="521" y="322"/>
                  <a:pt x="520" y="322"/>
                  <a:pt x="520" y="321"/>
                </a:cubicBezTo>
                <a:cubicBezTo>
                  <a:pt x="514" y="316"/>
                  <a:pt x="507" y="311"/>
                  <a:pt x="498" y="305"/>
                </a:cubicBezTo>
                <a:cubicBezTo>
                  <a:pt x="499" y="306"/>
                  <a:pt x="500" y="306"/>
                  <a:pt x="500" y="306"/>
                </a:cubicBezTo>
                <a:cubicBezTo>
                  <a:pt x="508" y="311"/>
                  <a:pt x="517" y="315"/>
                  <a:pt x="525" y="320"/>
                </a:cubicBezTo>
                <a:cubicBezTo>
                  <a:pt x="530" y="323"/>
                  <a:pt x="536" y="326"/>
                  <a:pt x="542" y="329"/>
                </a:cubicBezTo>
                <a:cubicBezTo>
                  <a:pt x="542" y="278"/>
                  <a:pt x="542" y="278"/>
                  <a:pt x="542" y="278"/>
                </a:cubicBezTo>
                <a:cubicBezTo>
                  <a:pt x="542" y="277"/>
                  <a:pt x="541" y="277"/>
                  <a:pt x="541" y="277"/>
                </a:cubicBezTo>
                <a:cubicBezTo>
                  <a:pt x="540" y="276"/>
                  <a:pt x="539" y="275"/>
                  <a:pt x="538" y="275"/>
                </a:cubicBezTo>
                <a:cubicBezTo>
                  <a:pt x="538" y="274"/>
                  <a:pt x="537" y="274"/>
                  <a:pt x="536" y="274"/>
                </a:cubicBezTo>
                <a:cubicBezTo>
                  <a:pt x="538" y="273"/>
                  <a:pt x="540" y="273"/>
                  <a:pt x="542" y="274"/>
                </a:cubicBezTo>
                <a:cubicBezTo>
                  <a:pt x="542" y="256"/>
                  <a:pt x="542" y="256"/>
                  <a:pt x="542" y="256"/>
                </a:cubicBezTo>
                <a:cubicBezTo>
                  <a:pt x="542" y="256"/>
                  <a:pt x="542" y="256"/>
                  <a:pt x="542" y="255"/>
                </a:cubicBezTo>
                <a:cubicBezTo>
                  <a:pt x="541" y="255"/>
                  <a:pt x="541" y="254"/>
                  <a:pt x="541" y="254"/>
                </a:cubicBezTo>
                <a:cubicBezTo>
                  <a:pt x="541" y="254"/>
                  <a:pt x="541" y="254"/>
                  <a:pt x="542" y="254"/>
                </a:cubicBezTo>
                <a:cubicBezTo>
                  <a:pt x="542" y="254"/>
                  <a:pt x="542" y="254"/>
                  <a:pt x="542" y="254"/>
                </a:cubicBezTo>
                <a:cubicBezTo>
                  <a:pt x="542" y="237"/>
                  <a:pt x="542" y="237"/>
                  <a:pt x="542" y="237"/>
                </a:cubicBezTo>
                <a:cubicBezTo>
                  <a:pt x="542" y="237"/>
                  <a:pt x="542" y="237"/>
                  <a:pt x="542" y="236"/>
                </a:cubicBezTo>
                <a:cubicBezTo>
                  <a:pt x="542" y="236"/>
                  <a:pt x="542" y="236"/>
                  <a:pt x="542" y="236"/>
                </a:cubicBezTo>
                <a:cubicBezTo>
                  <a:pt x="542" y="207"/>
                  <a:pt x="542" y="207"/>
                  <a:pt x="542" y="207"/>
                </a:cubicBezTo>
                <a:cubicBezTo>
                  <a:pt x="542" y="207"/>
                  <a:pt x="542" y="207"/>
                  <a:pt x="542" y="207"/>
                </a:cubicBezTo>
                <a:cubicBezTo>
                  <a:pt x="542" y="206"/>
                  <a:pt x="542" y="206"/>
                  <a:pt x="542" y="206"/>
                </a:cubicBezTo>
                <a:cubicBezTo>
                  <a:pt x="542" y="206"/>
                  <a:pt x="542" y="206"/>
                  <a:pt x="542" y="206"/>
                </a:cubicBezTo>
                <a:cubicBezTo>
                  <a:pt x="542" y="193"/>
                  <a:pt x="542" y="193"/>
                  <a:pt x="542" y="193"/>
                </a:cubicBezTo>
                <a:cubicBezTo>
                  <a:pt x="542" y="193"/>
                  <a:pt x="542" y="193"/>
                  <a:pt x="542" y="193"/>
                </a:cubicBezTo>
                <a:cubicBezTo>
                  <a:pt x="542" y="192"/>
                  <a:pt x="542" y="192"/>
                  <a:pt x="542" y="192"/>
                </a:cubicBezTo>
                <a:cubicBezTo>
                  <a:pt x="542" y="192"/>
                  <a:pt x="542" y="192"/>
                  <a:pt x="542" y="192"/>
                </a:cubicBezTo>
                <a:cubicBezTo>
                  <a:pt x="542" y="148"/>
                  <a:pt x="542" y="148"/>
                  <a:pt x="542" y="148"/>
                </a:cubicBezTo>
                <a:cubicBezTo>
                  <a:pt x="540" y="147"/>
                  <a:pt x="538" y="146"/>
                  <a:pt x="537" y="145"/>
                </a:cubicBezTo>
                <a:cubicBezTo>
                  <a:pt x="539" y="146"/>
                  <a:pt x="541" y="146"/>
                  <a:pt x="542" y="147"/>
                </a:cubicBezTo>
                <a:cubicBezTo>
                  <a:pt x="542" y="144"/>
                  <a:pt x="542" y="144"/>
                  <a:pt x="542" y="144"/>
                </a:cubicBezTo>
                <a:cubicBezTo>
                  <a:pt x="542" y="144"/>
                  <a:pt x="542" y="144"/>
                  <a:pt x="542" y="144"/>
                </a:cubicBezTo>
                <a:cubicBezTo>
                  <a:pt x="542" y="144"/>
                  <a:pt x="542" y="144"/>
                  <a:pt x="542" y="144"/>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12" name="Text Placeholder 11"/>
          <p:cNvSpPr>
            <a:spLocks noGrp="1"/>
          </p:cNvSpPr>
          <p:nvPr>
            <p:ph type="body" sz="quarter" idx="13" hasCustomPrompt="1"/>
          </p:nvPr>
        </p:nvSpPr>
        <p:spPr>
          <a:xfrm>
            <a:off x="2794000" y="360971"/>
            <a:ext cx="6604000" cy="535531"/>
          </a:xfrm>
        </p:spPr>
        <p:txBody>
          <a:bodyPr wrap="square" anchor="t">
            <a:spAutoFit/>
          </a:bodyPr>
          <a:lstStyle>
            <a:lvl1pPr marL="0" indent="0" algn="ctr">
              <a:buNone/>
              <a:defRPr sz="3200" normalizeH="0" baseline="0">
                <a:solidFill>
                  <a:schemeClr val="tx1"/>
                </a:solidFill>
                <a:latin typeface="+mj-lt"/>
              </a:defRPr>
            </a:lvl1pPr>
            <a:lvl2pPr>
              <a:defRPr>
                <a:solidFill>
                  <a:schemeClr val="tx1"/>
                </a:solidFill>
                <a:latin typeface="+mj-lt"/>
              </a:defRPr>
            </a:lvl2pPr>
            <a:lvl3pPr>
              <a:defRPr>
                <a:solidFill>
                  <a:schemeClr val="tx1"/>
                </a:solidFill>
                <a:latin typeface="+mj-lt"/>
              </a:defRPr>
            </a:lvl3pPr>
            <a:lvl4pPr>
              <a:defRPr>
                <a:solidFill>
                  <a:schemeClr val="tx1"/>
                </a:solidFill>
                <a:latin typeface="+mj-lt"/>
              </a:defRPr>
            </a:lvl4pPr>
            <a:lvl5pPr>
              <a:defRPr>
                <a:solidFill>
                  <a:schemeClr val="tx1"/>
                </a:solidFill>
                <a:latin typeface="+mj-lt"/>
              </a:defRPr>
            </a:lvl5pPr>
          </a:lstStyle>
          <a:p>
            <a:pPr lvl="0"/>
            <a:r>
              <a:rPr lang="en-US" dirty="0"/>
              <a:t>- Click to edit Master text styles -</a:t>
            </a:r>
          </a:p>
        </p:txBody>
      </p:sp>
      <p:sp>
        <p:nvSpPr>
          <p:cNvPr id="2" name="Date Placeholder 1"/>
          <p:cNvSpPr>
            <a:spLocks noGrp="1"/>
          </p:cNvSpPr>
          <p:nvPr>
            <p:ph type="dt" sz="half" idx="10"/>
          </p:nvPr>
        </p:nvSpPr>
        <p:spPr/>
        <p:txBody>
          <a:bodyPr/>
          <a:lstStyle>
            <a:lvl1pPr>
              <a:defRPr>
                <a:solidFill>
                  <a:schemeClr val="tx1"/>
                </a:solidFill>
              </a:defRPr>
            </a:lvl1pPr>
          </a:lstStyle>
          <a:p>
            <a:fld id="{C9852138-FCC6-44DD-9FFC-1C789392E7AA}" type="datetime1">
              <a:rPr lang="en-US" smtClean="0"/>
              <a:t>10/28/2022</a:t>
            </a:fld>
            <a:endParaRPr lang="en-US"/>
          </a:p>
        </p:txBody>
      </p:sp>
      <p:sp>
        <p:nvSpPr>
          <p:cNvPr id="4" name="Slide Number Placeholder 3"/>
          <p:cNvSpPr>
            <a:spLocks noGrp="1"/>
          </p:cNvSpPr>
          <p:nvPr>
            <p:ph type="sldNum" sz="quarter" idx="12"/>
          </p:nvPr>
        </p:nvSpPr>
        <p:spPr/>
        <p:txBody>
          <a:bodyPr/>
          <a:lstStyle>
            <a:lvl1pPr>
              <a:defRPr>
                <a:solidFill>
                  <a:schemeClr val="tx1"/>
                </a:solidFill>
              </a:defRPr>
            </a:lvl1pPr>
          </a:lstStyle>
          <a:p>
            <a:fld id="{03206E70-9524-410D-AE9B-78D656EAA14D}" type="slidenum">
              <a:rPr lang="en-US" smtClean="0"/>
              <a:pPr/>
              <a:t>‹#›</a:t>
            </a:fld>
            <a:endParaRPr lang="en-US"/>
          </a:p>
        </p:txBody>
      </p:sp>
      <p:sp>
        <p:nvSpPr>
          <p:cNvPr id="8" name="Rectangle 7"/>
          <p:cNvSpPr/>
          <p:nvPr userDrawn="1"/>
        </p:nvSpPr>
        <p:spPr>
          <a:xfrm>
            <a:off x="10237880" y="0"/>
            <a:ext cx="571500" cy="55562"/>
          </a:xfrm>
          <a:prstGeom prst="rect">
            <a:avLst/>
          </a:prstGeom>
          <a:solidFill>
            <a:srgbClr val="E258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userDrawn="1"/>
        </p:nvSpPr>
        <p:spPr>
          <a:xfrm>
            <a:off x="10880817" y="0"/>
            <a:ext cx="571500" cy="55562"/>
          </a:xfrm>
          <a:prstGeom prst="rect">
            <a:avLst/>
          </a:prstGeom>
          <a:solidFill>
            <a:srgbClr val="78D2D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userDrawn="1"/>
        </p:nvSpPr>
        <p:spPr>
          <a:xfrm>
            <a:off x="11523754" y="0"/>
            <a:ext cx="571500" cy="55562"/>
          </a:xfrm>
          <a:prstGeom prst="rect">
            <a:avLst/>
          </a:prstGeom>
          <a:solidFill>
            <a:srgbClr val="3B393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767486087"/>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matchingName="Blank slide" type="blank">
  <p:cSld name="Blank slide">
    <p:spTree>
      <p:nvGrpSpPr>
        <p:cNvPr id="1" name="Shape 418"/>
        <p:cNvGrpSpPr/>
        <p:nvPr/>
      </p:nvGrpSpPr>
      <p:grpSpPr>
        <a:xfrm>
          <a:off x="0" y="0"/>
          <a:ext cx="0" cy="0"/>
          <a:chOff x="0" y="0"/>
          <a:chExt cx="0" cy="0"/>
        </a:xfrm>
      </p:grpSpPr>
    </p:spTree>
    <p:extLst>
      <p:ext uri="{BB962C8B-B14F-4D97-AF65-F5344CB8AC3E}">
        <p14:creationId xmlns:p14="http://schemas.microsoft.com/office/powerpoint/2010/main" val="252995209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4_Blank">
    <p:spTree>
      <p:nvGrpSpPr>
        <p:cNvPr id="1" name=""/>
        <p:cNvGrpSpPr/>
        <p:nvPr/>
      </p:nvGrpSpPr>
      <p:grpSpPr>
        <a:xfrm>
          <a:off x="0" y="0"/>
          <a:ext cx="0" cy="0"/>
          <a:chOff x="0" y="0"/>
          <a:chExt cx="0" cy="0"/>
        </a:xfrm>
      </p:grpSpPr>
      <p:sp>
        <p:nvSpPr>
          <p:cNvPr id="5" name="Freeform 4"/>
          <p:cNvSpPr>
            <a:spLocks/>
          </p:cNvSpPr>
          <p:nvPr userDrawn="1"/>
        </p:nvSpPr>
        <p:spPr bwMode="auto">
          <a:xfrm>
            <a:off x="0" y="-639708"/>
            <a:ext cx="12192001" cy="8099370"/>
          </a:xfrm>
          <a:custGeom>
            <a:avLst/>
            <a:gdLst>
              <a:gd name="T0" fmla="*/ 471 w 542"/>
              <a:gd name="T1" fmla="*/ 110 h 359"/>
              <a:gd name="T2" fmla="*/ 494 w 542"/>
              <a:gd name="T3" fmla="*/ 124 h 359"/>
              <a:gd name="T4" fmla="*/ 473 w 542"/>
              <a:gd name="T5" fmla="*/ 118 h 359"/>
              <a:gd name="T6" fmla="*/ 352 w 542"/>
              <a:gd name="T7" fmla="*/ 60 h 359"/>
              <a:gd name="T8" fmla="*/ 361 w 542"/>
              <a:gd name="T9" fmla="*/ 68 h 359"/>
              <a:gd name="T10" fmla="*/ 315 w 542"/>
              <a:gd name="T11" fmla="*/ 52 h 359"/>
              <a:gd name="T12" fmla="*/ 341 w 542"/>
              <a:gd name="T13" fmla="*/ 68 h 359"/>
              <a:gd name="T14" fmla="*/ 369 w 542"/>
              <a:gd name="T15" fmla="*/ 86 h 359"/>
              <a:gd name="T16" fmla="*/ 325 w 542"/>
              <a:gd name="T17" fmla="*/ 66 h 359"/>
              <a:gd name="T18" fmla="*/ 304 w 542"/>
              <a:gd name="T19" fmla="*/ 63 h 359"/>
              <a:gd name="T20" fmla="*/ 254 w 542"/>
              <a:gd name="T21" fmla="*/ 49 h 359"/>
              <a:gd name="T22" fmla="*/ 302 w 542"/>
              <a:gd name="T23" fmla="*/ 75 h 359"/>
              <a:gd name="T24" fmla="*/ 245 w 542"/>
              <a:gd name="T25" fmla="*/ 49 h 359"/>
              <a:gd name="T26" fmla="*/ 240 w 542"/>
              <a:gd name="T27" fmla="*/ 54 h 359"/>
              <a:gd name="T28" fmla="*/ 217 w 542"/>
              <a:gd name="T29" fmla="*/ 54 h 359"/>
              <a:gd name="T30" fmla="*/ 215 w 542"/>
              <a:gd name="T31" fmla="*/ 65 h 359"/>
              <a:gd name="T32" fmla="*/ 211 w 542"/>
              <a:gd name="T33" fmla="*/ 69 h 359"/>
              <a:gd name="T34" fmla="*/ 270 w 542"/>
              <a:gd name="T35" fmla="*/ 101 h 359"/>
              <a:gd name="T36" fmla="*/ 242 w 542"/>
              <a:gd name="T37" fmla="*/ 92 h 359"/>
              <a:gd name="T38" fmla="*/ 149 w 542"/>
              <a:gd name="T39" fmla="*/ 52 h 359"/>
              <a:gd name="T40" fmla="*/ 101 w 542"/>
              <a:gd name="T41" fmla="*/ 27 h 359"/>
              <a:gd name="T42" fmla="*/ 123 w 542"/>
              <a:gd name="T43" fmla="*/ 42 h 359"/>
              <a:gd name="T44" fmla="*/ 159 w 542"/>
              <a:gd name="T45" fmla="*/ 62 h 359"/>
              <a:gd name="T46" fmla="*/ 118 w 542"/>
              <a:gd name="T47" fmla="*/ 46 h 359"/>
              <a:gd name="T48" fmla="*/ 108 w 542"/>
              <a:gd name="T49" fmla="*/ 52 h 359"/>
              <a:gd name="T50" fmla="*/ 14 w 542"/>
              <a:gd name="T51" fmla="*/ 2 h 359"/>
              <a:gd name="T52" fmla="*/ 36 w 542"/>
              <a:gd name="T53" fmla="*/ 19 h 359"/>
              <a:gd name="T54" fmla="*/ 35 w 542"/>
              <a:gd name="T55" fmla="*/ 27 h 359"/>
              <a:gd name="T56" fmla="*/ 21 w 542"/>
              <a:gd name="T57" fmla="*/ 35 h 359"/>
              <a:gd name="T58" fmla="*/ 0 w 542"/>
              <a:gd name="T59" fmla="*/ 108 h 359"/>
              <a:gd name="T60" fmla="*/ 3 w 542"/>
              <a:gd name="T61" fmla="*/ 221 h 359"/>
              <a:gd name="T62" fmla="*/ 75 w 542"/>
              <a:gd name="T63" fmla="*/ 257 h 359"/>
              <a:gd name="T64" fmla="*/ 99 w 542"/>
              <a:gd name="T65" fmla="*/ 264 h 359"/>
              <a:gd name="T66" fmla="*/ 28 w 542"/>
              <a:gd name="T67" fmla="*/ 229 h 359"/>
              <a:gd name="T68" fmla="*/ 169 w 542"/>
              <a:gd name="T69" fmla="*/ 290 h 359"/>
              <a:gd name="T70" fmla="*/ 204 w 542"/>
              <a:gd name="T71" fmla="*/ 306 h 359"/>
              <a:gd name="T72" fmla="*/ 218 w 542"/>
              <a:gd name="T73" fmla="*/ 308 h 359"/>
              <a:gd name="T74" fmla="*/ 208 w 542"/>
              <a:gd name="T75" fmla="*/ 294 h 359"/>
              <a:gd name="T76" fmla="*/ 150 w 542"/>
              <a:gd name="T77" fmla="*/ 267 h 359"/>
              <a:gd name="T78" fmla="*/ 226 w 542"/>
              <a:gd name="T79" fmla="*/ 299 h 359"/>
              <a:gd name="T80" fmla="*/ 250 w 542"/>
              <a:gd name="T81" fmla="*/ 305 h 359"/>
              <a:gd name="T82" fmla="*/ 275 w 542"/>
              <a:gd name="T83" fmla="*/ 305 h 359"/>
              <a:gd name="T84" fmla="*/ 242 w 542"/>
              <a:gd name="T85" fmla="*/ 287 h 359"/>
              <a:gd name="T86" fmla="*/ 263 w 542"/>
              <a:gd name="T87" fmla="*/ 294 h 359"/>
              <a:gd name="T88" fmla="*/ 307 w 542"/>
              <a:gd name="T89" fmla="*/ 304 h 359"/>
              <a:gd name="T90" fmla="*/ 317 w 542"/>
              <a:gd name="T91" fmla="*/ 302 h 359"/>
              <a:gd name="T92" fmla="*/ 328 w 542"/>
              <a:gd name="T93" fmla="*/ 298 h 359"/>
              <a:gd name="T94" fmla="*/ 344 w 542"/>
              <a:gd name="T95" fmla="*/ 299 h 359"/>
              <a:gd name="T96" fmla="*/ 277 w 542"/>
              <a:gd name="T97" fmla="*/ 263 h 359"/>
              <a:gd name="T98" fmla="*/ 293 w 542"/>
              <a:gd name="T99" fmla="*/ 267 h 359"/>
              <a:gd name="T100" fmla="*/ 380 w 542"/>
              <a:gd name="T101" fmla="*/ 302 h 359"/>
              <a:gd name="T102" fmla="*/ 448 w 542"/>
              <a:gd name="T103" fmla="*/ 334 h 359"/>
              <a:gd name="T104" fmla="*/ 414 w 542"/>
              <a:gd name="T105" fmla="*/ 314 h 359"/>
              <a:gd name="T106" fmla="*/ 385 w 542"/>
              <a:gd name="T107" fmla="*/ 303 h 359"/>
              <a:gd name="T108" fmla="*/ 396 w 542"/>
              <a:gd name="T109" fmla="*/ 300 h 359"/>
              <a:gd name="T110" fmla="*/ 460 w 542"/>
              <a:gd name="T111" fmla="*/ 320 h 359"/>
              <a:gd name="T112" fmla="*/ 519 w 542"/>
              <a:gd name="T113" fmla="*/ 351 h 359"/>
              <a:gd name="T114" fmla="*/ 509 w 542"/>
              <a:gd name="T115" fmla="*/ 341 h 359"/>
              <a:gd name="T116" fmla="*/ 503 w 542"/>
              <a:gd name="T117" fmla="*/ 328 h 359"/>
              <a:gd name="T118" fmla="*/ 504 w 542"/>
              <a:gd name="T119" fmla="*/ 317 h 359"/>
              <a:gd name="T120" fmla="*/ 541 w 542"/>
              <a:gd name="T121" fmla="*/ 254 h 359"/>
              <a:gd name="T122" fmla="*/ 542 w 542"/>
              <a:gd name="T123" fmla="*/ 147 h 3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42" h="359">
                <a:moveTo>
                  <a:pt x="542" y="144"/>
                </a:moveTo>
                <a:cubicBezTo>
                  <a:pt x="542" y="139"/>
                  <a:pt x="542" y="139"/>
                  <a:pt x="542" y="139"/>
                </a:cubicBezTo>
                <a:cubicBezTo>
                  <a:pt x="537" y="139"/>
                  <a:pt x="537" y="139"/>
                  <a:pt x="537" y="139"/>
                </a:cubicBezTo>
                <a:cubicBezTo>
                  <a:pt x="529" y="135"/>
                  <a:pt x="522" y="131"/>
                  <a:pt x="514" y="127"/>
                </a:cubicBezTo>
                <a:cubicBezTo>
                  <a:pt x="500" y="120"/>
                  <a:pt x="485" y="114"/>
                  <a:pt x="472" y="106"/>
                </a:cubicBezTo>
                <a:cubicBezTo>
                  <a:pt x="472" y="106"/>
                  <a:pt x="472" y="106"/>
                  <a:pt x="472" y="106"/>
                </a:cubicBezTo>
                <a:cubicBezTo>
                  <a:pt x="470" y="105"/>
                  <a:pt x="469" y="104"/>
                  <a:pt x="466" y="104"/>
                </a:cubicBezTo>
                <a:cubicBezTo>
                  <a:pt x="464" y="103"/>
                  <a:pt x="463" y="102"/>
                  <a:pt x="461" y="101"/>
                </a:cubicBezTo>
                <a:cubicBezTo>
                  <a:pt x="462" y="102"/>
                  <a:pt x="465" y="104"/>
                  <a:pt x="465" y="104"/>
                </a:cubicBezTo>
                <a:cubicBezTo>
                  <a:pt x="466" y="105"/>
                  <a:pt x="467" y="105"/>
                  <a:pt x="467" y="105"/>
                </a:cubicBezTo>
                <a:cubicBezTo>
                  <a:pt x="468" y="106"/>
                  <a:pt x="470" y="107"/>
                  <a:pt x="470" y="107"/>
                </a:cubicBezTo>
                <a:cubicBezTo>
                  <a:pt x="468" y="107"/>
                  <a:pt x="472" y="108"/>
                  <a:pt x="471" y="109"/>
                </a:cubicBezTo>
                <a:cubicBezTo>
                  <a:pt x="470" y="109"/>
                  <a:pt x="469" y="108"/>
                  <a:pt x="469" y="108"/>
                </a:cubicBezTo>
                <a:cubicBezTo>
                  <a:pt x="469" y="109"/>
                  <a:pt x="471" y="109"/>
                  <a:pt x="472" y="110"/>
                </a:cubicBezTo>
                <a:cubicBezTo>
                  <a:pt x="473" y="110"/>
                  <a:pt x="475" y="111"/>
                  <a:pt x="475" y="112"/>
                </a:cubicBezTo>
                <a:cubicBezTo>
                  <a:pt x="474" y="111"/>
                  <a:pt x="472" y="110"/>
                  <a:pt x="471" y="110"/>
                </a:cubicBezTo>
                <a:cubicBezTo>
                  <a:pt x="471" y="110"/>
                  <a:pt x="470" y="110"/>
                  <a:pt x="470" y="110"/>
                </a:cubicBezTo>
                <a:cubicBezTo>
                  <a:pt x="472" y="111"/>
                  <a:pt x="473" y="111"/>
                  <a:pt x="475" y="112"/>
                </a:cubicBezTo>
                <a:cubicBezTo>
                  <a:pt x="476" y="113"/>
                  <a:pt x="477" y="113"/>
                  <a:pt x="479" y="114"/>
                </a:cubicBezTo>
                <a:cubicBezTo>
                  <a:pt x="479" y="114"/>
                  <a:pt x="479" y="115"/>
                  <a:pt x="478" y="115"/>
                </a:cubicBezTo>
                <a:cubicBezTo>
                  <a:pt x="476" y="114"/>
                  <a:pt x="474" y="112"/>
                  <a:pt x="472" y="111"/>
                </a:cubicBezTo>
                <a:cubicBezTo>
                  <a:pt x="468" y="109"/>
                  <a:pt x="463" y="107"/>
                  <a:pt x="458" y="105"/>
                </a:cubicBezTo>
                <a:cubicBezTo>
                  <a:pt x="458" y="105"/>
                  <a:pt x="457" y="105"/>
                  <a:pt x="457" y="104"/>
                </a:cubicBezTo>
                <a:cubicBezTo>
                  <a:pt x="456" y="104"/>
                  <a:pt x="454" y="103"/>
                  <a:pt x="453" y="102"/>
                </a:cubicBezTo>
                <a:cubicBezTo>
                  <a:pt x="452" y="102"/>
                  <a:pt x="451" y="101"/>
                  <a:pt x="449" y="101"/>
                </a:cubicBezTo>
                <a:cubicBezTo>
                  <a:pt x="447" y="100"/>
                  <a:pt x="446" y="99"/>
                  <a:pt x="443" y="98"/>
                </a:cubicBezTo>
                <a:cubicBezTo>
                  <a:pt x="443" y="99"/>
                  <a:pt x="445" y="100"/>
                  <a:pt x="448" y="101"/>
                </a:cubicBezTo>
                <a:cubicBezTo>
                  <a:pt x="452" y="104"/>
                  <a:pt x="456" y="106"/>
                  <a:pt x="460" y="106"/>
                </a:cubicBezTo>
                <a:cubicBezTo>
                  <a:pt x="465" y="109"/>
                  <a:pt x="469" y="111"/>
                  <a:pt x="474" y="113"/>
                </a:cubicBezTo>
                <a:cubicBezTo>
                  <a:pt x="477" y="115"/>
                  <a:pt x="481" y="116"/>
                  <a:pt x="484" y="118"/>
                </a:cubicBezTo>
                <a:cubicBezTo>
                  <a:pt x="486" y="119"/>
                  <a:pt x="488" y="120"/>
                  <a:pt x="490" y="121"/>
                </a:cubicBezTo>
                <a:cubicBezTo>
                  <a:pt x="491" y="122"/>
                  <a:pt x="493" y="123"/>
                  <a:pt x="494" y="124"/>
                </a:cubicBezTo>
                <a:cubicBezTo>
                  <a:pt x="492" y="123"/>
                  <a:pt x="491" y="122"/>
                  <a:pt x="489" y="121"/>
                </a:cubicBezTo>
                <a:cubicBezTo>
                  <a:pt x="489" y="121"/>
                  <a:pt x="488" y="121"/>
                  <a:pt x="487" y="121"/>
                </a:cubicBezTo>
                <a:cubicBezTo>
                  <a:pt x="487" y="121"/>
                  <a:pt x="487" y="121"/>
                  <a:pt x="487" y="121"/>
                </a:cubicBezTo>
                <a:cubicBezTo>
                  <a:pt x="487" y="121"/>
                  <a:pt x="489" y="122"/>
                  <a:pt x="491" y="123"/>
                </a:cubicBezTo>
                <a:cubicBezTo>
                  <a:pt x="491" y="123"/>
                  <a:pt x="492" y="124"/>
                  <a:pt x="492" y="124"/>
                </a:cubicBezTo>
                <a:cubicBezTo>
                  <a:pt x="494" y="125"/>
                  <a:pt x="495" y="125"/>
                  <a:pt x="496" y="126"/>
                </a:cubicBezTo>
                <a:cubicBezTo>
                  <a:pt x="498" y="126"/>
                  <a:pt x="499" y="127"/>
                  <a:pt x="501" y="127"/>
                </a:cubicBezTo>
                <a:cubicBezTo>
                  <a:pt x="501" y="127"/>
                  <a:pt x="501" y="128"/>
                  <a:pt x="501" y="128"/>
                </a:cubicBezTo>
                <a:cubicBezTo>
                  <a:pt x="503" y="130"/>
                  <a:pt x="504" y="131"/>
                  <a:pt x="507" y="131"/>
                </a:cubicBezTo>
                <a:cubicBezTo>
                  <a:pt x="510" y="132"/>
                  <a:pt x="511" y="133"/>
                  <a:pt x="514" y="134"/>
                </a:cubicBezTo>
                <a:cubicBezTo>
                  <a:pt x="514" y="135"/>
                  <a:pt x="513" y="135"/>
                  <a:pt x="510" y="135"/>
                </a:cubicBezTo>
                <a:cubicBezTo>
                  <a:pt x="512" y="136"/>
                  <a:pt x="514" y="136"/>
                  <a:pt x="515" y="137"/>
                </a:cubicBezTo>
                <a:cubicBezTo>
                  <a:pt x="515" y="137"/>
                  <a:pt x="515" y="137"/>
                  <a:pt x="515" y="137"/>
                </a:cubicBezTo>
                <a:cubicBezTo>
                  <a:pt x="505" y="133"/>
                  <a:pt x="494" y="128"/>
                  <a:pt x="485" y="123"/>
                </a:cubicBezTo>
                <a:cubicBezTo>
                  <a:pt x="484" y="123"/>
                  <a:pt x="483" y="123"/>
                  <a:pt x="482" y="122"/>
                </a:cubicBezTo>
                <a:cubicBezTo>
                  <a:pt x="479" y="121"/>
                  <a:pt x="476" y="119"/>
                  <a:pt x="473" y="118"/>
                </a:cubicBezTo>
                <a:cubicBezTo>
                  <a:pt x="472" y="117"/>
                  <a:pt x="471" y="117"/>
                  <a:pt x="471" y="117"/>
                </a:cubicBezTo>
                <a:cubicBezTo>
                  <a:pt x="470" y="117"/>
                  <a:pt x="469" y="117"/>
                  <a:pt x="468" y="117"/>
                </a:cubicBezTo>
                <a:cubicBezTo>
                  <a:pt x="455" y="110"/>
                  <a:pt x="444" y="104"/>
                  <a:pt x="430" y="97"/>
                </a:cubicBezTo>
                <a:cubicBezTo>
                  <a:pt x="430" y="96"/>
                  <a:pt x="428" y="95"/>
                  <a:pt x="426" y="94"/>
                </a:cubicBezTo>
                <a:cubicBezTo>
                  <a:pt x="425" y="94"/>
                  <a:pt x="425" y="93"/>
                  <a:pt x="421" y="92"/>
                </a:cubicBezTo>
                <a:cubicBezTo>
                  <a:pt x="421" y="92"/>
                  <a:pt x="418" y="92"/>
                  <a:pt x="417" y="91"/>
                </a:cubicBezTo>
                <a:cubicBezTo>
                  <a:pt x="412" y="89"/>
                  <a:pt x="409" y="87"/>
                  <a:pt x="403" y="84"/>
                </a:cubicBezTo>
                <a:cubicBezTo>
                  <a:pt x="405" y="86"/>
                  <a:pt x="409" y="87"/>
                  <a:pt x="409" y="89"/>
                </a:cubicBezTo>
                <a:cubicBezTo>
                  <a:pt x="399" y="84"/>
                  <a:pt x="390" y="80"/>
                  <a:pt x="382" y="76"/>
                </a:cubicBezTo>
                <a:cubicBezTo>
                  <a:pt x="380" y="74"/>
                  <a:pt x="378" y="73"/>
                  <a:pt x="374" y="72"/>
                </a:cubicBezTo>
                <a:cubicBezTo>
                  <a:pt x="374" y="72"/>
                  <a:pt x="373" y="71"/>
                  <a:pt x="373" y="71"/>
                </a:cubicBezTo>
                <a:cubicBezTo>
                  <a:pt x="371" y="69"/>
                  <a:pt x="366" y="68"/>
                  <a:pt x="364" y="66"/>
                </a:cubicBezTo>
                <a:cubicBezTo>
                  <a:pt x="363" y="66"/>
                  <a:pt x="363" y="66"/>
                  <a:pt x="363" y="66"/>
                </a:cubicBezTo>
                <a:cubicBezTo>
                  <a:pt x="363" y="66"/>
                  <a:pt x="363" y="66"/>
                  <a:pt x="363" y="66"/>
                </a:cubicBezTo>
                <a:cubicBezTo>
                  <a:pt x="363" y="66"/>
                  <a:pt x="363" y="66"/>
                  <a:pt x="364" y="66"/>
                </a:cubicBezTo>
                <a:cubicBezTo>
                  <a:pt x="361" y="64"/>
                  <a:pt x="356" y="62"/>
                  <a:pt x="352" y="60"/>
                </a:cubicBezTo>
                <a:cubicBezTo>
                  <a:pt x="347" y="57"/>
                  <a:pt x="342" y="54"/>
                  <a:pt x="340" y="52"/>
                </a:cubicBezTo>
                <a:cubicBezTo>
                  <a:pt x="339" y="52"/>
                  <a:pt x="338" y="51"/>
                  <a:pt x="338" y="51"/>
                </a:cubicBezTo>
                <a:cubicBezTo>
                  <a:pt x="334" y="49"/>
                  <a:pt x="328" y="46"/>
                  <a:pt x="324" y="44"/>
                </a:cubicBezTo>
                <a:cubicBezTo>
                  <a:pt x="323" y="43"/>
                  <a:pt x="321" y="42"/>
                  <a:pt x="318" y="42"/>
                </a:cubicBezTo>
                <a:cubicBezTo>
                  <a:pt x="317" y="41"/>
                  <a:pt x="316" y="41"/>
                  <a:pt x="314" y="40"/>
                </a:cubicBezTo>
                <a:cubicBezTo>
                  <a:pt x="314" y="40"/>
                  <a:pt x="313" y="40"/>
                  <a:pt x="313" y="40"/>
                </a:cubicBezTo>
                <a:cubicBezTo>
                  <a:pt x="313" y="40"/>
                  <a:pt x="313" y="40"/>
                  <a:pt x="313" y="40"/>
                </a:cubicBezTo>
                <a:cubicBezTo>
                  <a:pt x="316" y="42"/>
                  <a:pt x="321" y="45"/>
                  <a:pt x="326" y="47"/>
                </a:cubicBezTo>
                <a:cubicBezTo>
                  <a:pt x="328" y="48"/>
                  <a:pt x="331" y="49"/>
                  <a:pt x="331" y="50"/>
                </a:cubicBezTo>
                <a:cubicBezTo>
                  <a:pt x="338" y="52"/>
                  <a:pt x="333" y="53"/>
                  <a:pt x="338" y="54"/>
                </a:cubicBezTo>
                <a:cubicBezTo>
                  <a:pt x="338" y="54"/>
                  <a:pt x="338" y="54"/>
                  <a:pt x="338" y="54"/>
                </a:cubicBezTo>
                <a:cubicBezTo>
                  <a:pt x="339" y="55"/>
                  <a:pt x="339" y="56"/>
                  <a:pt x="342" y="57"/>
                </a:cubicBezTo>
                <a:cubicBezTo>
                  <a:pt x="345" y="59"/>
                  <a:pt x="349" y="60"/>
                  <a:pt x="351" y="62"/>
                </a:cubicBezTo>
                <a:cubicBezTo>
                  <a:pt x="353" y="63"/>
                  <a:pt x="354" y="63"/>
                  <a:pt x="356" y="63"/>
                </a:cubicBezTo>
                <a:cubicBezTo>
                  <a:pt x="356" y="64"/>
                  <a:pt x="354" y="64"/>
                  <a:pt x="357" y="65"/>
                </a:cubicBezTo>
                <a:cubicBezTo>
                  <a:pt x="357" y="66"/>
                  <a:pt x="361" y="67"/>
                  <a:pt x="361" y="68"/>
                </a:cubicBezTo>
                <a:cubicBezTo>
                  <a:pt x="361" y="68"/>
                  <a:pt x="360" y="68"/>
                  <a:pt x="360" y="68"/>
                </a:cubicBezTo>
                <a:cubicBezTo>
                  <a:pt x="358" y="67"/>
                  <a:pt x="359" y="68"/>
                  <a:pt x="359" y="69"/>
                </a:cubicBezTo>
                <a:cubicBezTo>
                  <a:pt x="355" y="68"/>
                  <a:pt x="352" y="66"/>
                  <a:pt x="352" y="66"/>
                </a:cubicBezTo>
                <a:cubicBezTo>
                  <a:pt x="352" y="64"/>
                  <a:pt x="350" y="63"/>
                  <a:pt x="346" y="62"/>
                </a:cubicBezTo>
                <a:cubicBezTo>
                  <a:pt x="344" y="62"/>
                  <a:pt x="342" y="61"/>
                  <a:pt x="341" y="60"/>
                </a:cubicBezTo>
                <a:cubicBezTo>
                  <a:pt x="340" y="59"/>
                  <a:pt x="338" y="58"/>
                  <a:pt x="336" y="58"/>
                </a:cubicBezTo>
                <a:cubicBezTo>
                  <a:pt x="336" y="58"/>
                  <a:pt x="336" y="58"/>
                  <a:pt x="335" y="58"/>
                </a:cubicBezTo>
                <a:cubicBezTo>
                  <a:pt x="332" y="56"/>
                  <a:pt x="328" y="54"/>
                  <a:pt x="324" y="53"/>
                </a:cubicBezTo>
                <a:cubicBezTo>
                  <a:pt x="324" y="53"/>
                  <a:pt x="324" y="53"/>
                  <a:pt x="324" y="53"/>
                </a:cubicBezTo>
                <a:cubicBezTo>
                  <a:pt x="324" y="53"/>
                  <a:pt x="324" y="53"/>
                  <a:pt x="324" y="53"/>
                </a:cubicBezTo>
                <a:cubicBezTo>
                  <a:pt x="324" y="53"/>
                  <a:pt x="324" y="53"/>
                  <a:pt x="324" y="53"/>
                </a:cubicBezTo>
                <a:cubicBezTo>
                  <a:pt x="322" y="51"/>
                  <a:pt x="319" y="50"/>
                  <a:pt x="317" y="49"/>
                </a:cubicBezTo>
                <a:cubicBezTo>
                  <a:pt x="313" y="48"/>
                  <a:pt x="310" y="46"/>
                  <a:pt x="306" y="44"/>
                </a:cubicBezTo>
                <a:cubicBezTo>
                  <a:pt x="307" y="46"/>
                  <a:pt x="317" y="49"/>
                  <a:pt x="315" y="51"/>
                </a:cubicBezTo>
                <a:cubicBezTo>
                  <a:pt x="314" y="50"/>
                  <a:pt x="314" y="51"/>
                  <a:pt x="314" y="52"/>
                </a:cubicBezTo>
                <a:cubicBezTo>
                  <a:pt x="314" y="52"/>
                  <a:pt x="314" y="52"/>
                  <a:pt x="315" y="52"/>
                </a:cubicBezTo>
                <a:cubicBezTo>
                  <a:pt x="317" y="53"/>
                  <a:pt x="319" y="53"/>
                  <a:pt x="322" y="54"/>
                </a:cubicBezTo>
                <a:cubicBezTo>
                  <a:pt x="322" y="55"/>
                  <a:pt x="323" y="55"/>
                  <a:pt x="324" y="55"/>
                </a:cubicBezTo>
                <a:cubicBezTo>
                  <a:pt x="325" y="56"/>
                  <a:pt x="326" y="56"/>
                  <a:pt x="326" y="57"/>
                </a:cubicBezTo>
                <a:cubicBezTo>
                  <a:pt x="332" y="59"/>
                  <a:pt x="336" y="62"/>
                  <a:pt x="340" y="65"/>
                </a:cubicBezTo>
                <a:cubicBezTo>
                  <a:pt x="338" y="65"/>
                  <a:pt x="336" y="63"/>
                  <a:pt x="334" y="63"/>
                </a:cubicBezTo>
                <a:cubicBezTo>
                  <a:pt x="334" y="64"/>
                  <a:pt x="338" y="65"/>
                  <a:pt x="339" y="66"/>
                </a:cubicBezTo>
                <a:cubicBezTo>
                  <a:pt x="339" y="66"/>
                  <a:pt x="339" y="66"/>
                  <a:pt x="338" y="66"/>
                </a:cubicBezTo>
                <a:cubicBezTo>
                  <a:pt x="338" y="66"/>
                  <a:pt x="338" y="66"/>
                  <a:pt x="338" y="66"/>
                </a:cubicBezTo>
                <a:cubicBezTo>
                  <a:pt x="338" y="66"/>
                  <a:pt x="338" y="67"/>
                  <a:pt x="337" y="66"/>
                </a:cubicBezTo>
                <a:cubicBezTo>
                  <a:pt x="334" y="65"/>
                  <a:pt x="333" y="65"/>
                  <a:pt x="332" y="65"/>
                </a:cubicBezTo>
                <a:cubicBezTo>
                  <a:pt x="331" y="65"/>
                  <a:pt x="333" y="66"/>
                  <a:pt x="334" y="67"/>
                </a:cubicBezTo>
                <a:cubicBezTo>
                  <a:pt x="337" y="68"/>
                  <a:pt x="340" y="69"/>
                  <a:pt x="341" y="70"/>
                </a:cubicBezTo>
                <a:cubicBezTo>
                  <a:pt x="343" y="72"/>
                  <a:pt x="345" y="72"/>
                  <a:pt x="347" y="72"/>
                </a:cubicBezTo>
                <a:cubicBezTo>
                  <a:pt x="349" y="73"/>
                  <a:pt x="351" y="74"/>
                  <a:pt x="355" y="76"/>
                </a:cubicBezTo>
                <a:cubicBezTo>
                  <a:pt x="353" y="74"/>
                  <a:pt x="351" y="73"/>
                  <a:pt x="347" y="72"/>
                </a:cubicBezTo>
                <a:cubicBezTo>
                  <a:pt x="345" y="71"/>
                  <a:pt x="343" y="70"/>
                  <a:pt x="341" y="68"/>
                </a:cubicBezTo>
                <a:cubicBezTo>
                  <a:pt x="339" y="68"/>
                  <a:pt x="339" y="67"/>
                  <a:pt x="341" y="67"/>
                </a:cubicBezTo>
                <a:cubicBezTo>
                  <a:pt x="343" y="68"/>
                  <a:pt x="346" y="69"/>
                  <a:pt x="347" y="68"/>
                </a:cubicBezTo>
                <a:cubicBezTo>
                  <a:pt x="347" y="69"/>
                  <a:pt x="348" y="69"/>
                  <a:pt x="349" y="69"/>
                </a:cubicBezTo>
                <a:cubicBezTo>
                  <a:pt x="349" y="70"/>
                  <a:pt x="351" y="71"/>
                  <a:pt x="353" y="72"/>
                </a:cubicBezTo>
                <a:cubicBezTo>
                  <a:pt x="359" y="75"/>
                  <a:pt x="364" y="78"/>
                  <a:pt x="370" y="81"/>
                </a:cubicBezTo>
                <a:cubicBezTo>
                  <a:pt x="373" y="83"/>
                  <a:pt x="375" y="84"/>
                  <a:pt x="380" y="86"/>
                </a:cubicBezTo>
                <a:cubicBezTo>
                  <a:pt x="382" y="88"/>
                  <a:pt x="388" y="90"/>
                  <a:pt x="390" y="92"/>
                </a:cubicBezTo>
                <a:cubicBezTo>
                  <a:pt x="391" y="93"/>
                  <a:pt x="393" y="94"/>
                  <a:pt x="394" y="95"/>
                </a:cubicBezTo>
                <a:cubicBezTo>
                  <a:pt x="395" y="96"/>
                  <a:pt x="396" y="96"/>
                  <a:pt x="396" y="97"/>
                </a:cubicBezTo>
                <a:cubicBezTo>
                  <a:pt x="397" y="97"/>
                  <a:pt x="397" y="98"/>
                  <a:pt x="398" y="98"/>
                </a:cubicBezTo>
                <a:cubicBezTo>
                  <a:pt x="396" y="97"/>
                  <a:pt x="394" y="96"/>
                  <a:pt x="392" y="95"/>
                </a:cubicBezTo>
                <a:cubicBezTo>
                  <a:pt x="390" y="95"/>
                  <a:pt x="390" y="94"/>
                  <a:pt x="388" y="94"/>
                </a:cubicBezTo>
                <a:cubicBezTo>
                  <a:pt x="387" y="93"/>
                  <a:pt x="385" y="92"/>
                  <a:pt x="384" y="92"/>
                </a:cubicBezTo>
                <a:cubicBezTo>
                  <a:pt x="384" y="92"/>
                  <a:pt x="384" y="93"/>
                  <a:pt x="383" y="93"/>
                </a:cubicBezTo>
                <a:cubicBezTo>
                  <a:pt x="380" y="91"/>
                  <a:pt x="378" y="90"/>
                  <a:pt x="374" y="88"/>
                </a:cubicBezTo>
                <a:cubicBezTo>
                  <a:pt x="372" y="87"/>
                  <a:pt x="370" y="87"/>
                  <a:pt x="369" y="86"/>
                </a:cubicBezTo>
                <a:cubicBezTo>
                  <a:pt x="369" y="86"/>
                  <a:pt x="370" y="85"/>
                  <a:pt x="369" y="85"/>
                </a:cubicBezTo>
                <a:cubicBezTo>
                  <a:pt x="367" y="84"/>
                  <a:pt x="367" y="85"/>
                  <a:pt x="367" y="85"/>
                </a:cubicBezTo>
                <a:cubicBezTo>
                  <a:pt x="365" y="84"/>
                  <a:pt x="364" y="83"/>
                  <a:pt x="362" y="83"/>
                </a:cubicBezTo>
                <a:cubicBezTo>
                  <a:pt x="362" y="83"/>
                  <a:pt x="362" y="83"/>
                  <a:pt x="362" y="83"/>
                </a:cubicBezTo>
                <a:cubicBezTo>
                  <a:pt x="356" y="78"/>
                  <a:pt x="346" y="74"/>
                  <a:pt x="338" y="70"/>
                </a:cubicBezTo>
                <a:cubicBezTo>
                  <a:pt x="334" y="67"/>
                  <a:pt x="330" y="65"/>
                  <a:pt x="326" y="63"/>
                </a:cubicBezTo>
                <a:cubicBezTo>
                  <a:pt x="324" y="61"/>
                  <a:pt x="321" y="60"/>
                  <a:pt x="318" y="59"/>
                </a:cubicBezTo>
                <a:cubicBezTo>
                  <a:pt x="317" y="58"/>
                  <a:pt x="317" y="57"/>
                  <a:pt x="314" y="57"/>
                </a:cubicBezTo>
                <a:cubicBezTo>
                  <a:pt x="309" y="56"/>
                  <a:pt x="312" y="57"/>
                  <a:pt x="312" y="58"/>
                </a:cubicBezTo>
                <a:cubicBezTo>
                  <a:pt x="311" y="57"/>
                  <a:pt x="310" y="57"/>
                  <a:pt x="308" y="56"/>
                </a:cubicBezTo>
                <a:cubicBezTo>
                  <a:pt x="310" y="58"/>
                  <a:pt x="313" y="60"/>
                  <a:pt x="316" y="61"/>
                </a:cubicBezTo>
                <a:cubicBezTo>
                  <a:pt x="315" y="61"/>
                  <a:pt x="314" y="62"/>
                  <a:pt x="316" y="62"/>
                </a:cubicBezTo>
                <a:cubicBezTo>
                  <a:pt x="319" y="64"/>
                  <a:pt x="321" y="65"/>
                  <a:pt x="325" y="66"/>
                </a:cubicBezTo>
                <a:cubicBezTo>
                  <a:pt x="325" y="66"/>
                  <a:pt x="325" y="66"/>
                  <a:pt x="325" y="67"/>
                </a:cubicBezTo>
                <a:cubicBezTo>
                  <a:pt x="325" y="67"/>
                  <a:pt x="325" y="67"/>
                  <a:pt x="325" y="67"/>
                </a:cubicBezTo>
                <a:cubicBezTo>
                  <a:pt x="325" y="67"/>
                  <a:pt x="325" y="66"/>
                  <a:pt x="325" y="66"/>
                </a:cubicBezTo>
                <a:cubicBezTo>
                  <a:pt x="325" y="67"/>
                  <a:pt x="322" y="67"/>
                  <a:pt x="327" y="68"/>
                </a:cubicBezTo>
                <a:cubicBezTo>
                  <a:pt x="328" y="69"/>
                  <a:pt x="330" y="70"/>
                  <a:pt x="328" y="70"/>
                </a:cubicBezTo>
                <a:cubicBezTo>
                  <a:pt x="328" y="70"/>
                  <a:pt x="328" y="70"/>
                  <a:pt x="328" y="70"/>
                </a:cubicBezTo>
                <a:cubicBezTo>
                  <a:pt x="328" y="70"/>
                  <a:pt x="328" y="70"/>
                  <a:pt x="328" y="70"/>
                </a:cubicBezTo>
                <a:cubicBezTo>
                  <a:pt x="328" y="70"/>
                  <a:pt x="328" y="70"/>
                  <a:pt x="328" y="70"/>
                </a:cubicBezTo>
                <a:cubicBezTo>
                  <a:pt x="323" y="67"/>
                  <a:pt x="319" y="65"/>
                  <a:pt x="312" y="62"/>
                </a:cubicBezTo>
                <a:cubicBezTo>
                  <a:pt x="311" y="62"/>
                  <a:pt x="310" y="61"/>
                  <a:pt x="309" y="60"/>
                </a:cubicBezTo>
                <a:cubicBezTo>
                  <a:pt x="306" y="60"/>
                  <a:pt x="310" y="62"/>
                  <a:pt x="310" y="62"/>
                </a:cubicBezTo>
                <a:cubicBezTo>
                  <a:pt x="309" y="62"/>
                  <a:pt x="308" y="62"/>
                  <a:pt x="307" y="62"/>
                </a:cubicBezTo>
                <a:cubicBezTo>
                  <a:pt x="303" y="61"/>
                  <a:pt x="301" y="59"/>
                  <a:pt x="298" y="58"/>
                </a:cubicBezTo>
                <a:cubicBezTo>
                  <a:pt x="296" y="57"/>
                  <a:pt x="294" y="55"/>
                  <a:pt x="292" y="55"/>
                </a:cubicBezTo>
                <a:cubicBezTo>
                  <a:pt x="289" y="55"/>
                  <a:pt x="295" y="57"/>
                  <a:pt x="296" y="58"/>
                </a:cubicBezTo>
                <a:cubicBezTo>
                  <a:pt x="296" y="58"/>
                  <a:pt x="296" y="58"/>
                  <a:pt x="296" y="58"/>
                </a:cubicBezTo>
                <a:cubicBezTo>
                  <a:pt x="296" y="58"/>
                  <a:pt x="296" y="58"/>
                  <a:pt x="296" y="58"/>
                </a:cubicBezTo>
                <a:cubicBezTo>
                  <a:pt x="295" y="58"/>
                  <a:pt x="295" y="58"/>
                  <a:pt x="294" y="58"/>
                </a:cubicBezTo>
                <a:cubicBezTo>
                  <a:pt x="297" y="60"/>
                  <a:pt x="302" y="61"/>
                  <a:pt x="304" y="63"/>
                </a:cubicBezTo>
                <a:cubicBezTo>
                  <a:pt x="305" y="63"/>
                  <a:pt x="305" y="64"/>
                  <a:pt x="306" y="64"/>
                </a:cubicBezTo>
                <a:cubicBezTo>
                  <a:pt x="306" y="64"/>
                  <a:pt x="305" y="64"/>
                  <a:pt x="304" y="64"/>
                </a:cubicBezTo>
                <a:cubicBezTo>
                  <a:pt x="304" y="65"/>
                  <a:pt x="304" y="65"/>
                  <a:pt x="305" y="66"/>
                </a:cubicBezTo>
                <a:cubicBezTo>
                  <a:pt x="311" y="69"/>
                  <a:pt x="311" y="69"/>
                  <a:pt x="305" y="69"/>
                </a:cubicBezTo>
                <a:cubicBezTo>
                  <a:pt x="305" y="69"/>
                  <a:pt x="305" y="69"/>
                  <a:pt x="305" y="69"/>
                </a:cubicBezTo>
                <a:cubicBezTo>
                  <a:pt x="305" y="69"/>
                  <a:pt x="305" y="69"/>
                  <a:pt x="305" y="69"/>
                </a:cubicBezTo>
                <a:cubicBezTo>
                  <a:pt x="305" y="69"/>
                  <a:pt x="305" y="69"/>
                  <a:pt x="305" y="69"/>
                </a:cubicBezTo>
                <a:cubicBezTo>
                  <a:pt x="303" y="69"/>
                  <a:pt x="303" y="67"/>
                  <a:pt x="300" y="67"/>
                </a:cubicBezTo>
                <a:cubicBezTo>
                  <a:pt x="298" y="68"/>
                  <a:pt x="301" y="69"/>
                  <a:pt x="302" y="69"/>
                </a:cubicBezTo>
                <a:cubicBezTo>
                  <a:pt x="303" y="70"/>
                  <a:pt x="303" y="71"/>
                  <a:pt x="301" y="70"/>
                </a:cubicBezTo>
                <a:cubicBezTo>
                  <a:pt x="295" y="68"/>
                  <a:pt x="289" y="67"/>
                  <a:pt x="284" y="64"/>
                </a:cubicBezTo>
                <a:cubicBezTo>
                  <a:pt x="284" y="64"/>
                  <a:pt x="283" y="63"/>
                  <a:pt x="284" y="63"/>
                </a:cubicBezTo>
                <a:cubicBezTo>
                  <a:pt x="284" y="63"/>
                  <a:pt x="286" y="64"/>
                  <a:pt x="287" y="64"/>
                </a:cubicBezTo>
                <a:cubicBezTo>
                  <a:pt x="282" y="61"/>
                  <a:pt x="272" y="58"/>
                  <a:pt x="267" y="55"/>
                </a:cubicBezTo>
                <a:cubicBezTo>
                  <a:pt x="265" y="54"/>
                  <a:pt x="262" y="52"/>
                  <a:pt x="258" y="50"/>
                </a:cubicBezTo>
                <a:cubicBezTo>
                  <a:pt x="257" y="50"/>
                  <a:pt x="256" y="49"/>
                  <a:pt x="254" y="49"/>
                </a:cubicBezTo>
                <a:cubicBezTo>
                  <a:pt x="252" y="49"/>
                  <a:pt x="253" y="50"/>
                  <a:pt x="255" y="50"/>
                </a:cubicBezTo>
                <a:cubicBezTo>
                  <a:pt x="259" y="52"/>
                  <a:pt x="255" y="52"/>
                  <a:pt x="255" y="52"/>
                </a:cubicBezTo>
                <a:cubicBezTo>
                  <a:pt x="254" y="52"/>
                  <a:pt x="253" y="52"/>
                  <a:pt x="253" y="52"/>
                </a:cubicBezTo>
                <a:cubicBezTo>
                  <a:pt x="255" y="53"/>
                  <a:pt x="255" y="54"/>
                  <a:pt x="260" y="55"/>
                </a:cubicBezTo>
                <a:cubicBezTo>
                  <a:pt x="261" y="54"/>
                  <a:pt x="259" y="53"/>
                  <a:pt x="259" y="53"/>
                </a:cubicBezTo>
                <a:cubicBezTo>
                  <a:pt x="262" y="54"/>
                  <a:pt x="262" y="55"/>
                  <a:pt x="264" y="55"/>
                </a:cubicBezTo>
                <a:cubicBezTo>
                  <a:pt x="269" y="57"/>
                  <a:pt x="269" y="59"/>
                  <a:pt x="274" y="61"/>
                </a:cubicBezTo>
                <a:cubicBezTo>
                  <a:pt x="276" y="62"/>
                  <a:pt x="278" y="63"/>
                  <a:pt x="280" y="64"/>
                </a:cubicBezTo>
                <a:cubicBezTo>
                  <a:pt x="280" y="64"/>
                  <a:pt x="279" y="65"/>
                  <a:pt x="280" y="66"/>
                </a:cubicBezTo>
                <a:cubicBezTo>
                  <a:pt x="282" y="67"/>
                  <a:pt x="284" y="68"/>
                  <a:pt x="286" y="69"/>
                </a:cubicBezTo>
                <a:cubicBezTo>
                  <a:pt x="286" y="69"/>
                  <a:pt x="287" y="69"/>
                  <a:pt x="287" y="69"/>
                </a:cubicBezTo>
                <a:cubicBezTo>
                  <a:pt x="285" y="68"/>
                  <a:pt x="283" y="67"/>
                  <a:pt x="281" y="66"/>
                </a:cubicBezTo>
                <a:cubicBezTo>
                  <a:pt x="286" y="66"/>
                  <a:pt x="287" y="68"/>
                  <a:pt x="290" y="69"/>
                </a:cubicBezTo>
                <a:cubicBezTo>
                  <a:pt x="291" y="71"/>
                  <a:pt x="297" y="73"/>
                  <a:pt x="300" y="74"/>
                </a:cubicBezTo>
                <a:cubicBezTo>
                  <a:pt x="300" y="75"/>
                  <a:pt x="301" y="75"/>
                  <a:pt x="302" y="75"/>
                </a:cubicBezTo>
                <a:cubicBezTo>
                  <a:pt x="302" y="75"/>
                  <a:pt x="302" y="75"/>
                  <a:pt x="302" y="75"/>
                </a:cubicBezTo>
                <a:cubicBezTo>
                  <a:pt x="302" y="75"/>
                  <a:pt x="302" y="75"/>
                  <a:pt x="302" y="75"/>
                </a:cubicBezTo>
                <a:cubicBezTo>
                  <a:pt x="302" y="75"/>
                  <a:pt x="302" y="75"/>
                  <a:pt x="302" y="75"/>
                </a:cubicBezTo>
                <a:cubicBezTo>
                  <a:pt x="306" y="77"/>
                  <a:pt x="308" y="79"/>
                  <a:pt x="313" y="80"/>
                </a:cubicBezTo>
                <a:cubicBezTo>
                  <a:pt x="313" y="80"/>
                  <a:pt x="313" y="80"/>
                  <a:pt x="313" y="80"/>
                </a:cubicBezTo>
                <a:cubicBezTo>
                  <a:pt x="313" y="80"/>
                  <a:pt x="313" y="80"/>
                  <a:pt x="313" y="80"/>
                </a:cubicBezTo>
                <a:cubicBezTo>
                  <a:pt x="314" y="81"/>
                  <a:pt x="316" y="82"/>
                  <a:pt x="318" y="83"/>
                </a:cubicBezTo>
                <a:cubicBezTo>
                  <a:pt x="319" y="84"/>
                  <a:pt x="322" y="85"/>
                  <a:pt x="325" y="86"/>
                </a:cubicBezTo>
                <a:cubicBezTo>
                  <a:pt x="327" y="87"/>
                  <a:pt x="328" y="88"/>
                  <a:pt x="330" y="89"/>
                </a:cubicBezTo>
                <a:cubicBezTo>
                  <a:pt x="330" y="89"/>
                  <a:pt x="330" y="90"/>
                  <a:pt x="330" y="90"/>
                </a:cubicBezTo>
                <a:cubicBezTo>
                  <a:pt x="332" y="91"/>
                  <a:pt x="335" y="92"/>
                  <a:pt x="334" y="93"/>
                </a:cubicBezTo>
                <a:cubicBezTo>
                  <a:pt x="328" y="90"/>
                  <a:pt x="324" y="88"/>
                  <a:pt x="317" y="85"/>
                </a:cubicBezTo>
                <a:cubicBezTo>
                  <a:pt x="306" y="80"/>
                  <a:pt x="296" y="74"/>
                  <a:pt x="285" y="69"/>
                </a:cubicBezTo>
                <a:cubicBezTo>
                  <a:pt x="284" y="68"/>
                  <a:pt x="282" y="68"/>
                  <a:pt x="281" y="67"/>
                </a:cubicBezTo>
                <a:cubicBezTo>
                  <a:pt x="280" y="67"/>
                  <a:pt x="280" y="67"/>
                  <a:pt x="279" y="66"/>
                </a:cubicBezTo>
                <a:cubicBezTo>
                  <a:pt x="273" y="64"/>
                  <a:pt x="268" y="61"/>
                  <a:pt x="262" y="58"/>
                </a:cubicBezTo>
                <a:cubicBezTo>
                  <a:pt x="256" y="55"/>
                  <a:pt x="249" y="52"/>
                  <a:pt x="245" y="49"/>
                </a:cubicBezTo>
                <a:cubicBezTo>
                  <a:pt x="244" y="48"/>
                  <a:pt x="241" y="47"/>
                  <a:pt x="239" y="45"/>
                </a:cubicBezTo>
                <a:cubicBezTo>
                  <a:pt x="240" y="46"/>
                  <a:pt x="241" y="46"/>
                  <a:pt x="242" y="46"/>
                </a:cubicBezTo>
                <a:cubicBezTo>
                  <a:pt x="242" y="45"/>
                  <a:pt x="240" y="45"/>
                  <a:pt x="238" y="44"/>
                </a:cubicBezTo>
                <a:cubicBezTo>
                  <a:pt x="237" y="44"/>
                  <a:pt x="238" y="45"/>
                  <a:pt x="238" y="45"/>
                </a:cubicBezTo>
                <a:cubicBezTo>
                  <a:pt x="237" y="45"/>
                  <a:pt x="236" y="44"/>
                  <a:pt x="233" y="44"/>
                </a:cubicBezTo>
                <a:cubicBezTo>
                  <a:pt x="238" y="46"/>
                  <a:pt x="239" y="47"/>
                  <a:pt x="243" y="49"/>
                </a:cubicBezTo>
                <a:cubicBezTo>
                  <a:pt x="245" y="50"/>
                  <a:pt x="246" y="51"/>
                  <a:pt x="248" y="52"/>
                </a:cubicBezTo>
                <a:cubicBezTo>
                  <a:pt x="252" y="55"/>
                  <a:pt x="258" y="58"/>
                  <a:pt x="262" y="60"/>
                </a:cubicBezTo>
                <a:cubicBezTo>
                  <a:pt x="261" y="60"/>
                  <a:pt x="262" y="61"/>
                  <a:pt x="262" y="61"/>
                </a:cubicBezTo>
                <a:cubicBezTo>
                  <a:pt x="263" y="62"/>
                  <a:pt x="263" y="63"/>
                  <a:pt x="262" y="63"/>
                </a:cubicBezTo>
                <a:cubicBezTo>
                  <a:pt x="260" y="63"/>
                  <a:pt x="258" y="62"/>
                  <a:pt x="257" y="61"/>
                </a:cubicBezTo>
                <a:cubicBezTo>
                  <a:pt x="254" y="60"/>
                  <a:pt x="250" y="59"/>
                  <a:pt x="246" y="57"/>
                </a:cubicBezTo>
                <a:cubicBezTo>
                  <a:pt x="242" y="56"/>
                  <a:pt x="240" y="56"/>
                  <a:pt x="238" y="57"/>
                </a:cubicBezTo>
                <a:cubicBezTo>
                  <a:pt x="238" y="57"/>
                  <a:pt x="236" y="57"/>
                  <a:pt x="235" y="56"/>
                </a:cubicBezTo>
                <a:cubicBezTo>
                  <a:pt x="234" y="55"/>
                  <a:pt x="234" y="55"/>
                  <a:pt x="236" y="55"/>
                </a:cubicBezTo>
                <a:cubicBezTo>
                  <a:pt x="239" y="56"/>
                  <a:pt x="238" y="54"/>
                  <a:pt x="240" y="54"/>
                </a:cubicBezTo>
                <a:cubicBezTo>
                  <a:pt x="236" y="53"/>
                  <a:pt x="232" y="52"/>
                  <a:pt x="228" y="50"/>
                </a:cubicBezTo>
                <a:cubicBezTo>
                  <a:pt x="229" y="52"/>
                  <a:pt x="230" y="52"/>
                  <a:pt x="230" y="53"/>
                </a:cubicBezTo>
                <a:cubicBezTo>
                  <a:pt x="228" y="53"/>
                  <a:pt x="223" y="51"/>
                  <a:pt x="224" y="53"/>
                </a:cubicBezTo>
                <a:cubicBezTo>
                  <a:pt x="225" y="55"/>
                  <a:pt x="225" y="55"/>
                  <a:pt x="221" y="55"/>
                </a:cubicBezTo>
                <a:cubicBezTo>
                  <a:pt x="225" y="57"/>
                  <a:pt x="228" y="58"/>
                  <a:pt x="232" y="59"/>
                </a:cubicBezTo>
                <a:cubicBezTo>
                  <a:pt x="232" y="59"/>
                  <a:pt x="233" y="59"/>
                  <a:pt x="233" y="59"/>
                </a:cubicBezTo>
                <a:cubicBezTo>
                  <a:pt x="233" y="59"/>
                  <a:pt x="233" y="60"/>
                  <a:pt x="232" y="60"/>
                </a:cubicBezTo>
                <a:cubicBezTo>
                  <a:pt x="230" y="60"/>
                  <a:pt x="232" y="60"/>
                  <a:pt x="233" y="61"/>
                </a:cubicBezTo>
                <a:cubicBezTo>
                  <a:pt x="234" y="61"/>
                  <a:pt x="234" y="61"/>
                  <a:pt x="234" y="61"/>
                </a:cubicBezTo>
                <a:cubicBezTo>
                  <a:pt x="234" y="61"/>
                  <a:pt x="234" y="62"/>
                  <a:pt x="236" y="62"/>
                </a:cubicBezTo>
                <a:cubicBezTo>
                  <a:pt x="238" y="63"/>
                  <a:pt x="238" y="64"/>
                  <a:pt x="236" y="64"/>
                </a:cubicBezTo>
                <a:cubicBezTo>
                  <a:pt x="235" y="64"/>
                  <a:pt x="238" y="65"/>
                  <a:pt x="238" y="65"/>
                </a:cubicBezTo>
                <a:cubicBezTo>
                  <a:pt x="236" y="65"/>
                  <a:pt x="235" y="64"/>
                  <a:pt x="234" y="63"/>
                </a:cubicBezTo>
                <a:cubicBezTo>
                  <a:pt x="232" y="62"/>
                  <a:pt x="228" y="60"/>
                  <a:pt x="225" y="58"/>
                </a:cubicBezTo>
                <a:cubicBezTo>
                  <a:pt x="224" y="58"/>
                  <a:pt x="222" y="57"/>
                  <a:pt x="220" y="56"/>
                </a:cubicBezTo>
                <a:cubicBezTo>
                  <a:pt x="219" y="55"/>
                  <a:pt x="218" y="55"/>
                  <a:pt x="217" y="54"/>
                </a:cubicBezTo>
                <a:cubicBezTo>
                  <a:pt x="216" y="54"/>
                  <a:pt x="215" y="53"/>
                  <a:pt x="215" y="53"/>
                </a:cubicBezTo>
                <a:cubicBezTo>
                  <a:pt x="215" y="53"/>
                  <a:pt x="214" y="52"/>
                  <a:pt x="213" y="52"/>
                </a:cubicBezTo>
                <a:cubicBezTo>
                  <a:pt x="212" y="53"/>
                  <a:pt x="211" y="52"/>
                  <a:pt x="210" y="52"/>
                </a:cubicBezTo>
                <a:cubicBezTo>
                  <a:pt x="210" y="52"/>
                  <a:pt x="211" y="52"/>
                  <a:pt x="212" y="53"/>
                </a:cubicBezTo>
                <a:cubicBezTo>
                  <a:pt x="213" y="53"/>
                  <a:pt x="214" y="54"/>
                  <a:pt x="216" y="54"/>
                </a:cubicBezTo>
                <a:cubicBezTo>
                  <a:pt x="221" y="57"/>
                  <a:pt x="225" y="60"/>
                  <a:pt x="233" y="63"/>
                </a:cubicBezTo>
                <a:cubicBezTo>
                  <a:pt x="237" y="67"/>
                  <a:pt x="244" y="70"/>
                  <a:pt x="250" y="73"/>
                </a:cubicBezTo>
                <a:cubicBezTo>
                  <a:pt x="253" y="74"/>
                  <a:pt x="255" y="76"/>
                  <a:pt x="258" y="77"/>
                </a:cubicBezTo>
                <a:cubicBezTo>
                  <a:pt x="259" y="79"/>
                  <a:pt x="263" y="80"/>
                  <a:pt x="266" y="82"/>
                </a:cubicBezTo>
                <a:cubicBezTo>
                  <a:pt x="262" y="81"/>
                  <a:pt x="258" y="81"/>
                  <a:pt x="253" y="79"/>
                </a:cubicBezTo>
                <a:cubicBezTo>
                  <a:pt x="248" y="77"/>
                  <a:pt x="243" y="75"/>
                  <a:pt x="239" y="73"/>
                </a:cubicBezTo>
                <a:cubicBezTo>
                  <a:pt x="233" y="69"/>
                  <a:pt x="228" y="66"/>
                  <a:pt x="220" y="63"/>
                </a:cubicBezTo>
                <a:cubicBezTo>
                  <a:pt x="217" y="61"/>
                  <a:pt x="212" y="60"/>
                  <a:pt x="208" y="59"/>
                </a:cubicBezTo>
                <a:cubicBezTo>
                  <a:pt x="207" y="60"/>
                  <a:pt x="211" y="62"/>
                  <a:pt x="214" y="63"/>
                </a:cubicBezTo>
                <a:cubicBezTo>
                  <a:pt x="216" y="63"/>
                  <a:pt x="219" y="64"/>
                  <a:pt x="219" y="65"/>
                </a:cubicBezTo>
                <a:cubicBezTo>
                  <a:pt x="219" y="65"/>
                  <a:pt x="217" y="65"/>
                  <a:pt x="215" y="65"/>
                </a:cubicBezTo>
                <a:cubicBezTo>
                  <a:pt x="214" y="65"/>
                  <a:pt x="212" y="64"/>
                  <a:pt x="211" y="65"/>
                </a:cubicBezTo>
                <a:cubicBezTo>
                  <a:pt x="211" y="64"/>
                  <a:pt x="210" y="64"/>
                  <a:pt x="209" y="63"/>
                </a:cubicBezTo>
                <a:cubicBezTo>
                  <a:pt x="209" y="63"/>
                  <a:pt x="209" y="63"/>
                  <a:pt x="209" y="62"/>
                </a:cubicBezTo>
                <a:cubicBezTo>
                  <a:pt x="209" y="62"/>
                  <a:pt x="209" y="62"/>
                  <a:pt x="209" y="62"/>
                </a:cubicBezTo>
                <a:cubicBezTo>
                  <a:pt x="210" y="63"/>
                  <a:pt x="212" y="64"/>
                  <a:pt x="212" y="63"/>
                </a:cubicBezTo>
                <a:cubicBezTo>
                  <a:pt x="212" y="63"/>
                  <a:pt x="212" y="62"/>
                  <a:pt x="208" y="61"/>
                </a:cubicBezTo>
                <a:cubicBezTo>
                  <a:pt x="208" y="61"/>
                  <a:pt x="207" y="61"/>
                  <a:pt x="207" y="61"/>
                </a:cubicBezTo>
                <a:cubicBezTo>
                  <a:pt x="205" y="60"/>
                  <a:pt x="203" y="59"/>
                  <a:pt x="201" y="58"/>
                </a:cubicBezTo>
                <a:cubicBezTo>
                  <a:pt x="201" y="58"/>
                  <a:pt x="200" y="58"/>
                  <a:pt x="200" y="58"/>
                </a:cubicBezTo>
                <a:cubicBezTo>
                  <a:pt x="202" y="59"/>
                  <a:pt x="204" y="60"/>
                  <a:pt x="206" y="61"/>
                </a:cubicBezTo>
                <a:cubicBezTo>
                  <a:pt x="207" y="62"/>
                  <a:pt x="207" y="62"/>
                  <a:pt x="205" y="62"/>
                </a:cubicBezTo>
                <a:cubicBezTo>
                  <a:pt x="203" y="62"/>
                  <a:pt x="202" y="62"/>
                  <a:pt x="201" y="62"/>
                </a:cubicBezTo>
                <a:cubicBezTo>
                  <a:pt x="200" y="61"/>
                  <a:pt x="199" y="60"/>
                  <a:pt x="195" y="59"/>
                </a:cubicBezTo>
                <a:cubicBezTo>
                  <a:pt x="196" y="60"/>
                  <a:pt x="197" y="61"/>
                  <a:pt x="198" y="62"/>
                </a:cubicBezTo>
                <a:cubicBezTo>
                  <a:pt x="199" y="64"/>
                  <a:pt x="203" y="65"/>
                  <a:pt x="207" y="67"/>
                </a:cubicBezTo>
                <a:cubicBezTo>
                  <a:pt x="208" y="68"/>
                  <a:pt x="209" y="68"/>
                  <a:pt x="211" y="69"/>
                </a:cubicBezTo>
                <a:cubicBezTo>
                  <a:pt x="211" y="69"/>
                  <a:pt x="211" y="69"/>
                  <a:pt x="212" y="70"/>
                </a:cubicBezTo>
                <a:cubicBezTo>
                  <a:pt x="212" y="70"/>
                  <a:pt x="213" y="71"/>
                  <a:pt x="215" y="71"/>
                </a:cubicBezTo>
                <a:cubicBezTo>
                  <a:pt x="216" y="72"/>
                  <a:pt x="217" y="72"/>
                  <a:pt x="217" y="72"/>
                </a:cubicBezTo>
                <a:cubicBezTo>
                  <a:pt x="215" y="73"/>
                  <a:pt x="219" y="74"/>
                  <a:pt x="218" y="75"/>
                </a:cubicBezTo>
                <a:cubicBezTo>
                  <a:pt x="217" y="74"/>
                  <a:pt x="213" y="73"/>
                  <a:pt x="213" y="74"/>
                </a:cubicBezTo>
                <a:cubicBezTo>
                  <a:pt x="212" y="74"/>
                  <a:pt x="214" y="75"/>
                  <a:pt x="216" y="76"/>
                </a:cubicBezTo>
                <a:cubicBezTo>
                  <a:pt x="218" y="77"/>
                  <a:pt x="219" y="77"/>
                  <a:pt x="220" y="78"/>
                </a:cubicBezTo>
                <a:cubicBezTo>
                  <a:pt x="221" y="80"/>
                  <a:pt x="224" y="82"/>
                  <a:pt x="231" y="83"/>
                </a:cubicBezTo>
                <a:cubicBezTo>
                  <a:pt x="232" y="85"/>
                  <a:pt x="238" y="87"/>
                  <a:pt x="241" y="88"/>
                </a:cubicBezTo>
                <a:cubicBezTo>
                  <a:pt x="246" y="91"/>
                  <a:pt x="252" y="94"/>
                  <a:pt x="258" y="97"/>
                </a:cubicBezTo>
                <a:cubicBezTo>
                  <a:pt x="259" y="98"/>
                  <a:pt x="261" y="99"/>
                  <a:pt x="266" y="101"/>
                </a:cubicBezTo>
                <a:cubicBezTo>
                  <a:pt x="264" y="99"/>
                  <a:pt x="261" y="98"/>
                  <a:pt x="259" y="97"/>
                </a:cubicBezTo>
                <a:cubicBezTo>
                  <a:pt x="257" y="96"/>
                  <a:pt x="256" y="95"/>
                  <a:pt x="254" y="94"/>
                </a:cubicBezTo>
                <a:cubicBezTo>
                  <a:pt x="260" y="96"/>
                  <a:pt x="261" y="98"/>
                  <a:pt x="265" y="99"/>
                </a:cubicBezTo>
                <a:cubicBezTo>
                  <a:pt x="267" y="100"/>
                  <a:pt x="269" y="101"/>
                  <a:pt x="270" y="101"/>
                </a:cubicBezTo>
                <a:cubicBezTo>
                  <a:pt x="270" y="101"/>
                  <a:pt x="270" y="101"/>
                  <a:pt x="270" y="101"/>
                </a:cubicBezTo>
                <a:cubicBezTo>
                  <a:pt x="270" y="102"/>
                  <a:pt x="270" y="102"/>
                  <a:pt x="272" y="103"/>
                </a:cubicBezTo>
                <a:cubicBezTo>
                  <a:pt x="274" y="104"/>
                  <a:pt x="274" y="103"/>
                  <a:pt x="274" y="103"/>
                </a:cubicBezTo>
                <a:cubicBezTo>
                  <a:pt x="277" y="104"/>
                  <a:pt x="280" y="105"/>
                  <a:pt x="282" y="107"/>
                </a:cubicBezTo>
                <a:cubicBezTo>
                  <a:pt x="282" y="107"/>
                  <a:pt x="281" y="107"/>
                  <a:pt x="280" y="106"/>
                </a:cubicBezTo>
                <a:cubicBezTo>
                  <a:pt x="279" y="106"/>
                  <a:pt x="278" y="105"/>
                  <a:pt x="277" y="106"/>
                </a:cubicBezTo>
                <a:cubicBezTo>
                  <a:pt x="273" y="105"/>
                  <a:pt x="270" y="104"/>
                  <a:pt x="269" y="102"/>
                </a:cubicBezTo>
                <a:cubicBezTo>
                  <a:pt x="268" y="102"/>
                  <a:pt x="267" y="101"/>
                  <a:pt x="266" y="101"/>
                </a:cubicBezTo>
                <a:cubicBezTo>
                  <a:pt x="265" y="101"/>
                  <a:pt x="266" y="102"/>
                  <a:pt x="267" y="102"/>
                </a:cubicBezTo>
                <a:cubicBezTo>
                  <a:pt x="266" y="102"/>
                  <a:pt x="265" y="102"/>
                  <a:pt x="265" y="102"/>
                </a:cubicBezTo>
                <a:cubicBezTo>
                  <a:pt x="264" y="102"/>
                  <a:pt x="263" y="101"/>
                  <a:pt x="262" y="101"/>
                </a:cubicBezTo>
                <a:cubicBezTo>
                  <a:pt x="257" y="99"/>
                  <a:pt x="253" y="96"/>
                  <a:pt x="248" y="94"/>
                </a:cubicBezTo>
                <a:cubicBezTo>
                  <a:pt x="248" y="94"/>
                  <a:pt x="248" y="94"/>
                  <a:pt x="248" y="95"/>
                </a:cubicBezTo>
                <a:cubicBezTo>
                  <a:pt x="248" y="95"/>
                  <a:pt x="249" y="95"/>
                  <a:pt x="249" y="95"/>
                </a:cubicBezTo>
                <a:cubicBezTo>
                  <a:pt x="249" y="95"/>
                  <a:pt x="249" y="95"/>
                  <a:pt x="249" y="95"/>
                </a:cubicBezTo>
                <a:cubicBezTo>
                  <a:pt x="249" y="95"/>
                  <a:pt x="249" y="95"/>
                  <a:pt x="249" y="95"/>
                </a:cubicBezTo>
                <a:cubicBezTo>
                  <a:pt x="246" y="95"/>
                  <a:pt x="243" y="94"/>
                  <a:pt x="242" y="92"/>
                </a:cubicBezTo>
                <a:cubicBezTo>
                  <a:pt x="241" y="92"/>
                  <a:pt x="239" y="90"/>
                  <a:pt x="236" y="90"/>
                </a:cubicBezTo>
                <a:cubicBezTo>
                  <a:pt x="235" y="90"/>
                  <a:pt x="234" y="90"/>
                  <a:pt x="234" y="90"/>
                </a:cubicBezTo>
                <a:cubicBezTo>
                  <a:pt x="232" y="91"/>
                  <a:pt x="235" y="92"/>
                  <a:pt x="237" y="92"/>
                </a:cubicBezTo>
                <a:cubicBezTo>
                  <a:pt x="244" y="96"/>
                  <a:pt x="253" y="100"/>
                  <a:pt x="260" y="103"/>
                </a:cubicBezTo>
                <a:cubicBezTo>
                  <a:pt x="260" y="103"/>
                  <a:pt x="260" y="103"/>
                  <a:pt x="260" y="103"/>
                </a:cubicBezTo>
                <a:cubicBezTo>
                  <a:pt x="263" y="105"/>
                  <a:pt x="270" y="107"/>
                  <a:pt x="271" y="109"/>
                </a:cubicBezTo>
                <a:cubicBezTo>
                  <a:pt x="261" y="105"/>
                  <a:pt x="252" y="101"/>
                  <a:pt x="243" y="96"/>
                </a:cubicBezTo>
                <a:cubicBezTo>
                  <a:pt x="234" y="91"/>
                  <a:pt x="224" y="87"/>
                  <a:pt x="212" y="82"/>
                </a:cubicBezTo>
                <a:cubicBezTo>
                  <a:pt x="210" y="81"/>
                  <a:pt x="208" y="80"/>
                  <a:pt x="206" y="79"/>
                </a:cubicBezTo>
                <a:cubicBezTo>
                  <a:pt x="202" y="76"/>
                  <a:pt x="195" y="73"/>
                  <a:pt x="190" y="70"/>
                </a:cubicBezTo>
                <a:cubicBezTo>
                  <a:pt x="189" y="70"/>
                  <a:pt x="193" y="71"/>
                  <a:pt x="193" y="72"/>
                </a:cubicBezTo>
                <a:cubicBezTo>
                  <a:pt x="188" y="71"/>
                  <a:pt x="184" y="69"/>
                  <a:pt x="181" y="67"/>
                </a:cubicBezTo>
                <a:cubicBezTo>
                  <a:pt x="179" y="65"/>
                  <a:pt x="177" y="64"/>
                  <a:pt x="171" y="63"/>
                </a:cubicBezTo>
                <a:cubicBezTo>
                  <a:pt x="166" y="62"/>
                  <a:pt x="165" y="60"/>
                  <a:pt x="162" y="59"/>
                </a:cubicBezTo>
                <a:cubicBezTo>
                  <a:pt x="162" y="59"/>
                  <a:pt x="162" y="59"/>
                  <a:pt x="162" y="59"/>
                </a:cubicBezTo>
                <a:cubicBezTo>
                  <a:pt x="157" y="57"/>
                  <a:pt x="153" y="54"/>
                  <a:pt x="149" y="52"/>
                </a:cubicBezTo>
                <a:cubicBezTo>
                  <a:pt x="152" y="53"/>
                  <a:pt x="153" y="54"/>
                  <a:pt x="155" y="55"/>
                </a:cubicBezTo>
                <a:cubicBezTo>
                  <a:pt x="156" y="55"/>
                  <a:pt x="158" y="56"/>
                  <a:pt x="161" y="57"/>
                </a:cubicBezTo>
                <a:cubicBezTo>
                  <a:pt x="160" y="56"/>
                  <a:pt x="159" y="55"/>
                  <a:pt x="156" y="55"/>
                </a:cubicBezTo>
                <a:cubicBezTo>
                  <a:pt x="153" y="53"/>
                  <a:pt x="151" y="52"/>
                  <a:pt x="148" y="50"/>
                </a:cubicBezTo>
                <a:cubicBezTo>
                  <a:pt x="146" y="49"/>
                  <a:pt x="145" y="49"/>
                  <a:pt x="143" y="48"/>
                </a:cubicBezTo>
                <a:cubicBezTo>
                  <a:pt x="143" y="48"/>
                  <a:pt x="142" y="48"/>
                  <a:pt x="142" y="48"/>
                </a:cubicBezTo>
                <a:cubicBezTo>
                  <a:pt x="144" y="49"/>
                  <a:pt x="145" y="49"/>
                  <a:pt x="146" y="50"/>
                </a:cubicBezTo>
                <a:cubicBezTo>
                  <a:pt x="146" y="50"/>
                  <a:pt x="145" y="50"/>
                  <a:pt x="145" y="50"/>
                </a:cubicBezTo>
                <a:cubicBezTo>
                  <a:pt x="140" y="47"/>
                  <a:pt x="132" y="44"/>
                  <a:pt x="129" y="41"/>
                </a:cubicBezTo>
                <a:cubicBezTo>
                  <a:pt x="126" y="40"/>
                  <a:pt x="124" y="39"/>
                  <a:pt x="121" y="38"/>
                </a:cubicBezTo>
                <a:cubicBezTo>
                  <a:pt x="121" y="37"/>
                  <a:pt x="120" y="36"/>
                  <a:pt x="116" y="34"/>
                </a:cubicBezTo>
                <a:cubicBezTo>
                  <a:pt x="113" y="32"/>
                  <a:pt x="106" y="30"/>
                  <a:pt x="100" y="28"/>
                </a:cubicBezTo>
                <a:cubicBezTo>
                  <a:pt x="100" y="28"/>
                  <a:pt x="100" y="28"/>
                  <a:pt x="99" y="28"/>
                </a:cubicBezTo>
                <a:cubicBezTo>
                  <a:pt x="98" y="27"/>
                  <a:pt x="96" y="26"/>
                  <a:pt x="94" y="25"/>
                </a:cubicBezTo>
                <a:cubicBezTo>
                  <a:pt x="92" y="24"/>
                  <a:pt x="94" y="24"/>
                  <a:pt x="96" y="25"/>
                </a:cubicBezTo>
                <a:cubicBezTo>
                  <a:pt x="97" y="25"/>
                  <a:pt x="98" y="26"/>
                  <a:pt x="101" y="27"/>
                </a:cubicBezTo>
                <a:cubicBezTo>
                  <a:pt x="100" y="26"/>
                  <a:pt x="98" y="25"/>
                  <a:pt x="97" y="25"/>
                </a:cubicBezTo>
                <a:cubicBezTo>
                  <a:pt x="96" y="24"/>
                  <a:pt x="95" y="24"/>
                  <a:pt x="94" y="24"/>
                </a:cubicBezTo>
                <a:cubicBezTo>
                  <a:pt x="90" y="21"/>
                  <a:pt x="83" y="17"/>
                  <a:pt x="77" y="14"/>
                </a:cubicBezTo>
                <a:cubicBezTo>
                  <a:pt x="75" y="13"/>
                  <a:pt x="74" y="12"/>
                  <a:pt x="69" y="11"/>
                </a:cubicBezTo>
                <a:cubicBezTo>
                  <a:pt x="70" y="12"/>
                  <a:pt x="73" y="13"/>
                  <a:pt x="76" y="14"/>
                </a:cubicBezTo>
                <a:cubicBezTo>
                  <a:pt x="79" y="16"/>
                  <a:pt x="83" y="18"/>
                  <a:pt x="87" y="20"/>
                </a:cubicBezTo>
                <a:cubicBezTo>
                  <a:pt x="85" y="21"/>
                  <a:pt x="90" y="24"/>
                  <a:pt x="92" y="25"/>
                </a:cubicBezTo>
                <a:cubicBezTo>
                  <a:pt x="93" y="27"/>
                  <a:pt x="96" y="28"/>
                  <a:pt x="98" y="29"/>
                </a:cubicBezTo>
                <a:cubicBezTo>
                  <a:pt x="98" y="30"/>
                  <a:pt x="101" y="31"/>
                  <a:pt x="103" y="31"/>
                </a:cubicBezTo>
                <a:cubicBezTo>
                  <a:pt x="108" y="33"/>
                  <a:pt x="113" y="35"/>
                  <a:pt x="110" y="36"/>
                </a:cubicBezTo>
                <a:cubicBezTo>
                  <a:pt x="109" y="37"/>
                  <a:pt x="111" y="38"/>
                  <a:pt x="115" y="39"/>
                </a:cubicBezTo>
                <a:cubicBezTo>
                  <a:pt x="117" y="40"/>
                  <a:pt x="119" y="41"/>
                  <a:pt x="121" y="42"/>
                </a:cubicBezTo>
                <a:cubicBezTo>
                  <a:pt x="122" y="42"/>
                  <a:pt x="124" y="43"/>
                  <a:pt x="125" y="44"/>
                </a:cubicBezTo>
                <a:cubicBezTo>
                  <a:pt x="125" y="44"/>
                  <a:pt x="126" y="45"/>
                  <a:pt x="128" y="46"/>
                </a:cubicBezTo>
                <a:cubicBezTo>
                  <a:pt x="129" y="46"/>
                  <a:pt x="128" y="45"/>
                  <a:pt x="127" y="44"/>
                </a:cubicBezTo>
                <a:cubicBezTo>
                  <a:pt x="126" y="43"/>
                  <a:pt x="125" y="42"/>
                  <a:pt x="123" y="42"/>
                </a:cubicBezTo>
                <a:cubicBezTo>
                  <a:pt x="121" y="40"/>
                  <a:pt x="121" y="40"/>
                  <a:pt x="123" y="40"/>
                </a:cubicBezTo>
                <a:cubicBezTo>
                  <a:pt x="125" y="40"/>
                  <a:pt x="125" y="41"/>
                  <a:pt x="126" y="41"/>
                </a:cubicBezTo>
                <a:cubicBezTo>
                  <a:pt x="134" y="46"/>
                  <a:pt x="143" y="50"/>
                  <a:pt x="151" y="55"/>
                </a:cubicBezTo>
                <a:cubicBezTo>
                  <a:pt x="149" y="54"/>
                  <a:pt x="146" y="53"/>
                  <a:pt x="145" y="53"/>
                </a:cubicBezTo>
                <a:cubicBezTo>
                  <a:pt x="140" y="50"/>
                  <a:pt x="135" y="49"/>
                  <a:pt x="129" y="49"/>
                </a:cubicBezTo>
                <a:cubicBezTo>
                  <a:pt x="129" y="49"/>
                  <a:pt x="130" y="48"/>
                  <a:pt x="129" y="48"/>
                </a:cubicBezTo>
                <a:cubicBezTo>
                  <a:pt x="129" y="48"/>
                  <a:pt x="128" y="47"/>
                  <a:pt x="127" y="47"/>
                </a:cubicBezTo>
                <a:cubicBezTo>
                  <a:pt x="127" y="48"/>
                  <a:pt x="126" y="48"/>
                  <a:pt x="128" y="49"/>
                </a:cubicBezTo>
                <a:cubicBezTo>
                  <a:pt x="129" y="50"/>
                  <a:pt x="122" y="48"/>
                  <a:pt x="126" y="50"/>
                </a:cubicBezTo>
                <a:cubicBezTo>
                  <a:pt x="128" y="51"/>
                  <a:pt x="132" y="52"/>
                  <a:pt x="132" y="51"/>
                </a:cubicBezTo>
                <a:cubicBezTo>
                  <a:pt x="136" y="49"/>
                  <a:pt x="139" y="52"/>
                  <a:pt x="143" y="53"/>
                </a:cubicBezTo>
                <a:cubicBezTo>
                  <a:pt x="144" y="54"/>
                  <a:pt x="146" y="55"/>
                  <a:pt x="147" y="56"/>
                </a:cubicBezTo>
                <a:cubicBezTo>
                  <a:pt x="151" y="58"/>
                  <a:pt x="154" y="57"/>
                  <a:pt x="157" y="58"/>
                </a:cubicBezTo>
                <a:cubicBezTo>
                  <a:pt x="157" y="58"/>
                  <a:pt x="157" y="58"/>
                  <a:pt x="157" y="58"/>
                </a:cubicBezTo>
                <a:cubicBezTo>
                  <a:pt x="158" y="58"/>
                  <a:pt x="158" y="58"/>
                  <a:pt x="158" y="58"/>
                </a:cubicBezTo>
                <a:cubicBezTo>
                  <a:pt x="161" y="60"/>
                  <a:pt x="157" y="60"/>
                  <a:pt x="159" y="62"/>
                </a:cubicBezTo>
                <a:cubicBezTo>
                  <a:pt x="162" y="64"/>
                  <a:pt x="169" y="67"/>
                  <a:pt x="173" y="70"/>
                </a:cubicBezTo>
                <a:cubicBezTo>
                  <a:pt x="175" y="70"/>
                  <a:pt x="176" y="71"/>
                  <a:pt x="177" y="72"/>
                </a:cubicBezTo>
                <a:cubicBezTo>
                  <a:pt x="183" y="74"/>
                  <a:pt x="185" y="76"/>
                  <a:pt x="188" y="78"/>
                </a:cubicBezTo>
                <a:cubicBezTo>
                  <a:pt x="194" y="80"/>
                  <a:pt x="196" y="82"/>
                  <a:pt x="202" y="85"/>
                </a:cubicBezTo>
                <a:cubicBezTo>
                  <a:pt x="204" y="86"/>
                  <a:pt x="207" y="87"/>
                  <a:pt x="209" y="89"/>
                </a:cubicBezTo>
                <a:cubicBezTo>
                  <a:pt x="215" y="92"/>
                  <a:pt x="222" y="95"/>
                  <a:pt x="228" y="98"/>
                </a:cubicBezTo>
                <a:cubicBezTo>
                  <a:pt x="229" y="99"/>
                  <a:pt x="231" y="100"/>
                  <a:pt x="232" y="100"/>
                </a:cubicBezTo>
                <a:cubicBezTo>
                  <a:pt x="231" y="100"/>
                  <a:pt x="230" y="100"/>
                  <a:pt x="229" y="100"/>
                </a:cubicBezTo>
                <a:cubicBezTo>
                  <a:pt x="224" y="97"/>
                  <a:pt x="219" y="95"/>
                  <a:pt x="213" y="93"/>
                </a:cubicBezTo>
                <a:cubicBezTo>
                  <a:pt x="214" y="93"/>
                  <a:pt x="214" y="93"/>
                  <a:pt x="214" y="94"/>
                </a:cubicBezTo>
                <a:cubicBezTo>
                  <a:pt x="214" y="93"/>
                  <a:pt x="213" y="93"/>
                  <a:pt x="213" y="93"/>
                </a:cubicBezTo>
                <a:cubicBezTo>
                  <a:pt x="207" y="89"/>
                  <a:pt x="200" y="86"/>
                  <a:pt x="194" y="83"/>
                </a:cubicBezTo>
                <a:cubicBezTo>
                  <a:pt x="188" y="80"/>
                  <a:pt x="181" y="77"/>
                  <a:pt x="175" y="74"/>
                </a:cubicBezTo>
                <a:cubicBezTo>
                  <a:pt x="165" y="70"/>
                  <a:pt x="155" y="65"/>
                  <a:pt x="146" y="60"/>
                </a:cubicBezTo>
                <a:cubicBezTo>
                  <a:pt x="144" y="59"/>
                  <a:pt x="141" y="58"/>
                  <a:pt x="138" y="57"/>
                </a:cubicBezTo>
                <a:cubicBezTo>
                  <a:pt x="133" y="53"/>
                  <a:pt x="124" y="50"/>
                  <a:pt x="118" y="46"/>
                </a:cubicBezTo>
                <a:cubicBezTo>
                  <a:pt x="118" y="45"/>
                  <a:pt x="113" y="44"/>
                  <a:pt x="110" y="42"/>
                </a:cubicBezTo>
                <a:cubicBezTo>
                  <a:pt x="109" y="43"/>
                  <a:pt x="114" y="45"/>
                  <a:pt x="116" y="46"/>
                </a:cubicBezTo>
                <a:cubicBezTo>
                  <a:pt x="116" y="46"/>
                  <a:pt x="116" y="46"/>
                  <a:pt x="116" y="46"/>
                </a:cubicBezTo>
                <a:cubicBezTo>
                  <a:pt x="115" y="47"/>
                  <a:pt x="113" y="47"/>
                  <a:pt x="106" y="45"/>
                </a:cubicBezTo>
                <a:cubicBezTo>
                  <a:pt x="108" y="46"/>
                  <a:pt x="108" y="48"/>
                  <a:pt x="112" y="49"/>
                </a:cubicBezTo>
                <a:cubicBezTo>
                  <a:pt x="114" y="49"/>
                  <a:pt x="111" y="47"/>
                  <a:pt x="116" y="49"/>
                </a:cubicBezTo>
                <a:cubicBezTo>
                  <a:pt x="120" y="50"/>
                  <a:pt x="119" y="51"/>
                  <a:pt x="122" y="52"/>
                </a:cubicBezTo>
                <a:cubicBezTo>
                  <a:pt x="122" y="54"/>
                  <a:pt x="117" y="53"/>
                  <a:pt x="117" y="53"/>
                </a:cubicBezTo>
                <a:cubicBezTo>
                  <a:pt x="108" y="51"/>
                  <a:pt x="117" y="54"/>
                  <a:pt x="116" y="54"/>
                </a:cubicBezTo>
                <a:cubicBezTo>
                  <a:pt x="117" y="54"/>
                  <a:pt x="116" y="54"/>
                  <a:pt x="115" y="55"/>
                </a:cubicBezTo>
                <a:cubicBezTo>
                  <a:pt x="115" y="55"/>
                  <a:pt x="114" y="55"/>
                  <a:pt x="113" y="55"/>
                </a:cubicBezTo>
                <a:cubicBezTo>
                  <a:pt x="112" y="54"/>
                  <a:pt x="110" y="53"/>
                  <a:pt x="108" y="52"/>
                </a:cubicBezTo>
                <a:cubicBezTo>
                  <a:pt x="106" y="51"/>
                  <a:pt x="104" y="50"/>
                  <a:pt x="102" y="49"/>
                </a:cubicBezTo>
                <a:cubicBezTo>
                  <a:pt x="98" y="46"/>
                  <a:pt x="90" y="43"/>
                  <a:pt x="82" y="39"/>
                </a:cubicBezTo>
                <a:cubicBezTo>
                  <a:pt x="89" y="43"/>
                  <a:pt x="93" y="46"/>
                  <a:pt x="101" y="49"/>
                </a:cubicBezTo>
                <a:cubicBezTo>
                  <a:pt x="103" y="50"/>
                  <a:pt x="105" y="51"/>
                  <a:pt x="108" y="52"/>
                </a:cubicBezTo>
                <a:cubicBezTo>
                  <a:pt x="109" y="54"/>
                  <a:pt x="111" y="55"/>
                  <a:pt x="113" y="56"/>
                </a:cubicBezTo>
                <a:cubicBezTo>
                  <a:pt x="111" y="56"/>
                  <a:pt x="113" y="57"/>
                  <a:pt x="112" y="57"/>
                </a:cubicBezTo>
                <a:cubicBezTo>
                  <a:pt x="108" y="57"/>
                  <a:pt x="106" y="56"/>
                  <a:pt x="104" y="55"/>
                </a:cubicBezTo>
                <a:cubicBezTo>
                  <a:pt x="93" y="49"/>
                  <a:pt x="82" y="42"/>
                  <a:pt x="71" y="36"/>
                </a:cubicBezTo>
                <a:cubicBezTo>
                  <a:pt x="70" y="36"/>
                  <a:pt x="69" y="35"/>
                  <a:pt x="67" y="35"/>
                </a:cubicBezTo>
                <a:cubicBezTo>
                  <a:pt x="66" y="33"/>
                  <a:pt x="63" y="32"/>
                  <a:pt x="60" y="31"/>
                </a:cubicBezTo>
                <a:cubicBezTo>
                  <a:pt x="60" y="30"/>
                  <a:pt x="60" y="30"/>
                  <a:pt x="60" y="30"/>
                </a:cubicBezTo>
                <a:cubicBezTo>
                  <a:pt x="60" y="30"/>
                  <a:pt x="59" y="30"/>
                  <a:pt x="59" y="29"/>
                </a:cubicBezTo>
                <a:cubicBezTo>
                  <a:pt x="57" y="28"/>
                  <a:pt x="55" y="27"/>
                  <a:pt x="52" y="25"/>
                </a:cubicBezTo>
                <a:cubicBezTo>
                  <a:pt x="51" y="24"/>
                  <a:pt x="51" y="23"/>
                  <a:pt x="44" y="20"/>
                </a:cubicBezTo>
                <a:cubicBezTo>
                  <a:pt x="37" y="18"/>
                  <a:pt x="34" y="15"/>
                  <a:pt x="35" y="13"/>
                </a:cubicBezTo>
                <a:cubicBezTo>
                  <a:pt x="35" y="12"/>
                  <a:pt x="37" y="12"/>
                  <a:pt x="36" y="11"/>
                </a:cubicBezTo>
                <a:cubicBezTo>
                  <a:pt x="33" y="11"/>
                  <a:pt x="30" y="10"/>
                  <a:pt x="27" y="10"/>
                </a:cubicBezTo>
                <a:cubicBezTo>
                  <a:pt x="25" y="9"/>
                  <a:pt x="24" y="8"/>
                  <a:pt x="23" y="8"/>
                </a:cubicBezTo>
                <a:cubicBezTo>
                  <a:pt x="23" y="7"/>
                  <a:pt x="22" y="7"/>
                  <a:pt x="22" y="7"/>
                </a:cubicBezTo>
                <a:cubicBezTo>
                  <a:pt x="19" y="5"/>
                  <a:pt x="17" y="4"/>
                  <a:pt x="14" y="2"/>
                </a:cubicBezTo>
                <a:cubicBezTo>
                  <a:pt x="13" y="2"/>
                  <a:pt x="12" y="1"/>
                  <a:pt x="9" y="0"/>
                </a:cubicBezTo>
                <a:cubicBezTo>
                  <a:pt x="9" y="1"/>
                  <a:pt x="11" y="2"/>
                  <a:pt x="13" y="2"/>
                </a:cubicBezTo>
                <a:cubicBezTo>
                  <a:pt x="13" y="3"/>
                  <a:pt x="13" y="3"/>
                  <a:pt x="13" y="3"/>
                </a:cubicBezTo>
                <a:cubicBezTo>
                  <a:pt x="13" y="3"/>
                  <a:pt x="12" y="3"/>
                  <a:pt x="12" y="3"/>
                </a:cubicBezTo>
                <a:cubicBezTo>
                  <a:pt x="11" y="3"/>
                  <a:pt x="11" y="3"/>
                  <a:pt x="11" y="3"/>
                </a:cubicBezTo>
                <a:cubicBezTo>
                  <a:pt x="9" y="2"/>
                  <a:pt x="9" y="1"/>
                  <a:pt x="5" y="0"/>
                </a:cubicBezTo>
                <a:cubicBezTo>
                  <a:pt x="5" y="0"/>
                  <a:pt x="7" y="1"/>
                  <a:pt x="10" y="3"/>
                </a:cubicBezTo>
                <a:cubicBezTo>
                  <a:pt x="11" y="3"/>
                  <a:pt x="12" y="4"/>
                  <a:pt x="14" y="5"/>
                </a:cubicBezTo>
                <a:cubicBezTo>
                  <a:pt x="13" y="5"/>
                  <a:pt x="16" y="6"/>
                  <a:pt x="17" y="7"/>
                </a:cubicBezTo>
                <a:cubicBezTo>
                  <a:pt x="17" y="7"/>
                  <a:pt x="17" y="8"/>
                  <a:pt x="18" y="8"/>
                </a:cubicBezTo>
                <a:cubicBezTo>
                  <a:pt x="21" y="9"/>
                  <a:pt x="22" y="11"/>
                  <a:pt x="25" y="12"/>
                </a:cubicBezTo>
                <a:cubicBezTo>
                  <a:pt x="25" y="13"/>
                  <a:pt x="28" y="14"/>
                  <a:pt x="30" y="15"/>
                </a:cubicBezTo>
                <a:cubicBezTo>
                  <a:pt x="31" y="16"/>
                  <a:pt x="33" y="17"/>
                  <a:pt x="33" y="18"/>
                </a:cubicBezTo>
                <a:cubicBezTo>
                  <a:pt x="33" y="18"/>
                  <a:pt x="33" y="18"/>
                  <a:pt x="33" y="18"/>
                </a:cubicBezTo>
                <a:cubicBezTo>
                  <a:pt x="32" y="18"/>
                  <a:pt x="31" y="18"/>
                  <a:pt x="32" y="18"/>
                </a:cubicBezTo>
                <a:cubicBezTo>
                  <a:pt x="33" y="19"/>
                  <a:pt x="35" y="19"/>
                  <a:pt x="36" y="19"/>
                </a:cubicBezTo>
                <a:cubicBezTo>
                  <a:pt x="42" y="22"/>
                  <a:pt x="41" y="23"/>
                  <a:pt x="46" y="26"/>
                </a:cubicBezTo>
                <a:cubicBezTo>
                  <a:pt x="47" y="27"/>
                  <a:pt x="51" y="28"/>
                  <a:pt x="51" y="29"/>
                </a:cubicBezTo>
                <a:cubicBezTo>
                  <a:pt x="42" y="25"/>
                  <a:pt x="34" y="21"/>
                  <a:pt x="28" y="18"/>
                </a:cubicBezTo>
                <a:cubicBezTo>
                  <a:pt x="28" y="17"/>
                  <a:pt x="28" y="17"/>
                  <a:pt x="26" y="16"/>
                </a:cubicBezTo>
                <a:cubicBezTo>
                  <a:pt x="24" y="15"/>
                  <a:pt x="22" y="14"/>
                  <a:pt x="19" y="13"/>
                </a:cubicBezTo>
                <a:cubicBezTo>
                  <a:pt x="20" y="14"/>
                  <a:pt x="21" y="15"/>
                  <a:pt x="23" y="16"/>
                </a:cubicBezTo>
                <a:cubicBezTo>
                  <a:pt x="24" y="16"/>
                  <a:pt x="25" y="17"/>
                  <a:pt x="26" y="17"/>
                </a:cubicBezTo>
                <a:cubicBezTo>
                  <a:pt x="26" y="18"/>
                  <a:pt x="29" y="19"/>
                  <a:pt x="29" y="20"/>
                </a:cubicBezTo>
                <a:cubicBezTo>
                  <a:pt x="28" y="19"/>
                  <a:pt x="27" y="19"/>
                  <a:pt x="25" y="18"/>
                </a:cubicBezTo>
                <a:cubicBezTo>
                  <a:pt x="23" y="18"/>
                  <a:pt x="25" y="19"/>
                  <a:pt x="26" y="20"/>
                </a:cubicBezTo>
                <a:cubicBezTo>
                  <a:pt x="28" y="21"/>
                  <a:pt x="31" y="22"/>
                  <a:pt x="35" y="23"/>
                </a:cubicBezTo>
                <a:cubicBezTo>
                  <a:pt x="37" y="25"/>
                  <a:pt x="41" y="28"/>
                  <a:pt x="46" y="30"/>
                </a:cubicBezTo>
                <a:cubicBezTo>
                  <a:pt x="50" y="32"/>
                  <a:pt x="43" y="31"/>
                  <a:pt x="43" y="33"/>
                </a:cubicBezTo>
                <a:cubicBezTo>
                  <a:pt x="42" y="33"/>
                  <a:pt x="41" y="33"/>
                  <a:pt x="39" y="32"/>
                </a:cubicBezTo>
                <a:cubicBezTo>
                  <a:pt x="35" y="30"/>
                  <a:pt x="31" y="28"/>
                  <a:pt x="29" y="26"/>
                </a:cubicBezTo>
                <a:cubicBezTo>
                  <a:pt x="31" y="25"/>
                  <a:pt x="33" y="27"/>
                  <a:pt x="35" y="27"/>
                </a:cubicBezTo>
                <a:cubicBezTo>
                  <a:pt x="33" y="26"/>
                  <a:pt x="32" y="24"/>
                  <a:pt x="28" y="24"/>
                </a:cubicBezTo>
                <a:cubicBezTo>
                  <a:pt x="25" y="23"/>
                  <a:pt x="28" y="25"/>
                  <a:pt x="27" y="25"/>
                </a:cubicBezTo>
                <a:cubicBezTo>
                  <a:pt x="22" y="24"/>
                  <a:pt x="22" y="25"/>
                  <a:pt x="24" y="26"/>
                </a:cubicBezTo>
                <a:cubicBezTo>
                  <a:pt x="28" y="28"/>
                  <a:pt x="32" y="30"/>
                  <a:pt x="36" y="32"/>
                </a:cubicBezTo>
                <a:cubicBezTo>
                  <a:pt x="37" y="33"/>
                  <a:pt x="41" y="34"/>
                  <a:pt x="40" y="35"/>
                </a:cubicBezTo>
                <a:cubicBezTo>
                  <a:pt x="36" y="34"/>
                  <a:pt x="40" y="36"/>
                  <a:pt x="39" y="36"/>
                </a:cubicBezTo>
                <a:cubicBezTo>
                  <a:pt x="36" y="36"/>
                  <a:pt x="35" y="35"/>
                  <a:pt x="33" y="35"/>
                </a:cubicBezTo>
                <a:cubicBezTo>
                  <a:pt x="27" y="33"/>
                  <a:pt x="26" y="31"/>
                  <a:pt x="19" y="29"/>
                </a:cubicBezTo>
                <a:cubicBezTo>
                  <a:pt x="20" y="30"/>
                  <a:pt x="25" y="31"/>
                  <a:pt x="25" y="32"/>
                </a:cubicBezTo>
                <a:cubicBezTo>
                  <a:pt x="25" y="34"/>
                  <a:pt x="35" y="37"/>
                  <a:pt x="32" y="38"/>
                </a:cubicBezTo>
                <a:cubicBezTo>
                  <a:pt x="31" y="38"/>
                  <a:pt x="30" y="37"/>
                  <a:pt x="29" y="37"/>
                </a:cubicBezTo>
                <a:cubicBezTo>
                  <a:pt x="29" y="35"/>
                  <a:pt x="21" y="33"/>
                  <a:pt x="18" y="31"/>
                </a:cubicBezTo>
                <a:cubicBezTo>
                  <a:pt x="19" y="33"/>
                  <a:pt x="21" y="34"/>
                  <a:pt x="25" y="36"/>
                </a:cubicBezTo>
                <a:cubicBezTo>
                  <a:pt x="29" y="38"/>
                  <a:pt x="34" y="40"/>
                  <a:pt x="38" y="43"/>
                </a:cubicBezTo>
                <a:cubicBezTo>
                  <a:pt x="33" y="41"/>
                  <a:pt x="29" y="40"/>
                  <a:pt x="24" y="38"/>
                </a:cubicBezTo>
                <a:cubicBezTo>
                  <a:pt x="24" y="37"/>
                  <a:pt x="23" y="36"/>
                  <a:pt x="21" y="35"/>
                </a:cubicBezTo>
                <a:cubicBezTo>
                  <a:pt x="19" y="35"/>
                  <a:pt x="19" y="36"/>
                  <a:pt x="21" y="37"/>
                </a:cubicBezTo>
                <a:cubicBezTo>
                  <a:pt x="22" y="38"/>
                  <a:pt x="22" y="38"/>
                  <a:pt x="22" y="38"/>
                </a:cubicBezTo>
                <a:cubicBezTo>
                  <a:pt x="28" y="44"/>
                  <a:pt x="35" y="49"/>
                  <a:pt x="44" y="55"/>
                </a:cubicBezTo>
                <a:cubicBezTo>
                  <a:pt x="43" y="55"/>
                  <a:pt x="43" y="55"/>
                  <a:pt x="42" y="54"/>
                </a:cubicBezTo>
                <a:cubicBezTo>
                  <a:pt x="34" y="50"/>
                  <a:pt x="25" y="45"/>
                  <a:pt x="17" y="40"/>
                </a:cubicBezTo>
                <a:cubicBezTo>
                  <a:pt x="12" y="37"/>
                  <a:pt x="6" y="34"/>
                  <a:pt x="0" y="31"/>
                </a:cubicBezTo>
                <a:cubicBezTo>
                  <a:pt x="0" y="84"/>
                  <a:pt x="0" y="84"/>
                  <a:pt x="0" y="84"/>
                </a:cubicBezTo>
                <a:cubicBezTo>
                  <a:pt x="0" y="84"/>
                  <a:pt x="1" y="85"/>
                  <a:pt x="1" y="85"/>
                </a:cubicBezTo>
                <a:cubicBezTo>
                  <a:pt x="2" y="86"/>
                  <a:pt x="3" y="86"/>
                  <a:pt x="4" y="87"/>
                </a:cubicBezTo>
                <a:cubicBezTo>
                  <a:pt x="4" y="87"/>
                  <a:pt x="5" y="88"/>
                  <a:pt x="6" y="88"/>
                </a:cubicBezTo>
                <a:cubicBezTo>
                  <a:pt x="4" y="88"/>
                  <a:pt x="2" y="88"/>
                  <a:pt x="0" y="88"/>
                </a:cubicBezTo>
                <a:cubicBezTo>
                  <a:pt x="0" y="107"/>
                  <a:pt x="0" y="107"/>
                  <a:pt x="0" y="107"/>
                </a:cubicBezTo>
                <a:cubicBezTo>
                  <a:pt x="0" y="107"/>
                  <a:pt x="0" y="107"/>
                  <a:pt x="1" y="107"/>
                </a:cubicBezTo>
                <a:cubicBezTo>
                  <a:pt x="1" y="108"/>
                  <a:pt x="1" y="108"/>
                  <a:pt x="2" y="109"/>
                </a:cubicBezTo>
                <a:cubicBezTo>
                  <a:pt x="1" y="109"/>
                  <a:pt x="1" y="109"/>
                  <a:pt x="0" y="109"/>
                </a:cubicBezTo>
                <a:cubicBezTo>
                  <a:pt x="0" y="109"/>
                  <a:pt x="0" y="109"/>
                  <a:pt x="0" y="108"/>
                </a:cubicBezTo>
                <a:cubicBezTo>
                  <a:pt x="0" y="126"/>
                  <a:pt x="0" y="126"/>
                  <a:pt x="0" y="126"/>
                </a:cubicBezTo>
                <a:cubicBezTo>
                  <a:pt x="0" y="127"/>
                  <a:pt x="0" y="127"/>
                  <a:pt x="0" y="127"/>
                </a:cubicBezTo>
                <a:cubicBezTo>
                  <a:pt x="0" y="127"/>
                  <a:pt x="0" y="127"/>
                  <a:pt x="0" y="127"/>
                </a:cubicBezTo>
                <a:cubicBezTo>
                  <a:pt x="0" y="158"/>
                  <a:pt x="0" y="158"/>
                  <a:pt x="0" y="158"/>
                </a:cubicBezTo>
                <a:cubicBezTo>
                  <a:pt x="0" y="158"/>
                  <a:pt x="0" y="158"/>
                  <a:pt x="0" y="158"/>
                </a:cubicBezTo>
                <a:cubicBezTo>
                  <a:pt x="0" y="159"/>
                  <a:pt x="0" y="159"/>
                  <a:pt x="0" y="159"/>
                </a:cubicBezTo>
                <a:cubicBezTo>
                  <a:pt x="0" y="159"/>
                  <a:pt x="0" y="159"/>
                  <a:pt x="0" y="159"/>
                </a:cubicBezTo>
                <a:cubicBezTo>
                  <a:pt x="0" y="173"/>
                  <a:pt x="0" y="173"/>
                  <a:pt x="0" y="173"/>
                </a:cubicBezTo>
                <a:cubicBezTo>
                  <a:pt x="0" y="173"/>
                  <a:pt x="0" y="173"/>
                  <a:pt x="0" y="173"/>
                </a:cubicBezTo>
                <a:cubicBezTo>
                  <a:pt x="0" y="173"/>
                  <a:pt x="0" y="173"/>
                  <a:pt x="0" y="173"/>
                </a:cubicBezTo>
                <a:cubicBezTo>
                  <a:pt x="0" y="173"/>
                  <a:pt x="0" y="173"/>
                  <a:pt x="0" y="173"/>
                </a:cubicBezTo>
                <a:cubicBezTo>
                  <a:pt x="0" y="220"/>
                  <a:pt x="0" y="220"/>
                  <a:pt x="0" y="220"/>
                </a:cubicBezTo>
                <a:cubicBezTo>
                  <a:pt x="1" y="220"/>
                  <a:pt x="2" y="220"/>
                  <a:pt x="3" y="221"/>
                </a:cubicBezTo>
                <a:cubicBezTo>
                  <a:pt x="3" y="221"/>
                  <a:pt x="3" y="221"/>
                  <a:pt x="3" y="221"/>
                </a:cubicBezTo>
                <a:cubicBezTo>
                  <a:pt x="3" y="221"/>
                  <a:pt x="3" y="221"/>
                  <a:pt x="3" y="221"/>
                </a:cubicBezTo>
                <a:cubicBezTo>
                  <a:pt x="3" y="221"/>
                  <a:pt x="3" y="221"/>
                  <a:pt x="3" y="221"/>
                </a:cubicBezTo>
                <a:cubicBezTo>
                  <a:pt x="2" y="221"/>
                  <a:pt x="1" y="220"/>
                  <a:pt x="0" y="220"/>
                </a:cubicBezTo>
                <a:cubicBezTo>
                  <a:pt x="0" y="220"/>
                  <a:pt x="0" y="220"/>
                  <a:pt x="0" y="220"/>
                </a:cubicBezTo>
                <a:cubicBezTo>
                  <a:pt x="0" y="220"/>
                  <a:pt x="0" y="220"/>
                  <a:pt x="0" y="220"/>
                </a:cubicBezTo>
                <a:cubicBezTo>
                  <a:pt x="0" y="223"/>
                  <a:pt x="0" y="223"/>
                  <a:pt x="0" y="223"/>
                </a:cubicBezTo>
                <a:cubicBezTo>
                  <a:pt x="0" y="223"/>
                  <a:pt x="0" y="223"/>
                  <a:pt x="0" y="223"/>
                </a:cubicBezTo>
                <a:cubicBezTo>
                  <a:pt x="0" y="223"/>
                  <a:pt x="0" y="223"/>
                  <a:pt x="0" y="223"/>
                </a:cubicBezTo>
                <a:cubicBezTo>
                  <a:pt x="0" y="223"/>
                  <a:pt x="0" y="223"/>
                  <a:pt x="0" y="223"/>
                </a:cubicBezTo>
                <a:cubicBezTo>
                  <a:pt x="0" y="229"/>
                  <a:pt x="0" y="229"/>
                  <a:pt x="0" y="229"/>
                </a:cubicBezTo>
                <a:cubicBezTo>
                  <a:pt x="13" y="229"/>
                  <a:pt x="13" y="229"/>
                  <a:pt x="13" y="229"/>
                </a:cubicBezTo>
                <a:cubicBezTo>
                  <a:pt x="18" y="231"/>
                  <a:pt x="23" y="234"/>
                  <a:pt x="28" y="236"/>
                </a:cubicBezTo>
                <a:cubicBezTo>
                  <a:pt x="42" y="243"/>
                  <a:pt x="57" y="249"/>
                  <a:pt x="70" y="256"/>
                </a:cubicBezTo>
                <a:cubicBezTo>
                  <a:pt x="70" y="256"/>
                  <a:pt x="70" y="256"/>
                  <a:pt x="70" y="256"/>
                </a:cubicBezTo>
                <a:cubicBezTo>
                  <a:pt x="72" y="257"/>
                  <a:pt x="73" y="258"/>
                  <a:pt x="76" y="258"/>
                </a:cubicBezTo>
                <a:cubicBezTo>
                  <a:pt x="78" y="259"/>
                  <a:pt x="79" y="260"/>
                  <a:pt x="81" y="261"/>
                </a:cubicBezTo>
                <a:cubicBezTo>
                  <a:pt x="80" y="260"/>
                  <a:pt x="77" y="259"/>
                  <a:pt x="77" y="258"/>
                </a:cubicBezTo>
                <a:cubicBezTo>
                  <a:pt x="76" y="258"/>
                  <a:pt x="75" y="257"/>
                  <a:pt x="75" y="257"/>
                </a:cubicBezTo>
                <a:cubicBezTo>
                  <a:pt x="74" y="256"/>
                  <a:pt x="72" y="256"/>
                  <a:pt x="72" y="255"/>
                </a:cubicBezTo>
                <a:cubicBezTo>
                  <a:pt x="74" y="255"/>
                  <a:pt x="70" y="254"/>
                  <a:pt x="71" y="254"/>
                </a:cubicBezTo>
                <a:cubicBezTo>
                  <a:pt x="72" y="254"/>
                  <a:pt x="73" y="254"/>
                  <a:pt x="73" y="254"/>
                </a:cubicBezTo>
                <a:cubicBezTo>
                  <a:pt x="73" y="254"/>
                  <a:pt x="71" y="253"/>
                  <a:pt x="70" y="253"/>
                </a:cubicBezTo>
                <a:cubicBezTo>
                  <a:pt x="69" y="252"/>
                  <a:pt x="67" y="252"/>
                  <a:pt x="67" y="251"/>
                </a:cubicBezTo>
                <a:cubicBezTo>
                  <a:pt x="68" y="252"/>
                  <a:pt x="70" y="252"/>
                  <a:pt x="71" y="253"/>
                </a:cubicBezTo>
                <a:cubicBezTo>
                  <a:pt x="72" y="253"/>
                  <a:pt x="72" y="253"/>
                  <a:pt x="72" y="253"/>
                </a:cubicBezTo>
                <a:cubicBezTo>
                  <a:pt x="70" y="252"/>
                  <a:pt x="69" y="251"/>
                  <a:pt x="67" y="251"/>
                </a:cubicBezTo>
                <a:cubicBezTo>
                  <a:pt x="66" y="250"/>
                  <a:pt x="65" y="249"/>
                  <a:pt x="63" y="249"/>
                </a:cubicBezTo>
                <a:cubicBezTo>
                  <a:pt x="63" y="248"/>
                  <a:pt x="64" y="248"/>
                  <a:pt x="64" y="248"/>
                </a:cubicBezTo>
                <a:cubicBezTo>
                  <a:pt x="66" y="249"/>
                  <a:pt x="68" y="250"/>
                  <a:pt x="70" y="251"/>
                </a:cubicBezTo>
                <a:cubicBezTo>
                  <a:pt x="74" y="253"/>
                  <a:pt x="79" y="255"/>
                  <a:pt x="84" y="258"/>
                </a:cubicBezTo>
                <a:cubicBezTo>
                  <a:pt x="84" y="258"/>
                  <a:pt x="85" y="258"/>
                  <a:pt x="85" y="258"/>
                </a:cubicBezTo>
                <a:cubicBezTo>
                  <a:pt x="86" y="259"/>
                  <a:pt x="88" y="259"/>
                  <a:pt x="89" y="260"/>
                </a:cubicBezTo>
                <a:cubicBezTo>
                  <a:pt x="90" y="260"/>
                  <a:pt x="91" y="261"/>
                  <a:pt x="93" y="261"/>
                </a:cubicBezTo>
                <a:cubicBezTo>
                  <a:pt x="95" y="262"/>
                  <a:pt x="96" y="263"/>
                  <a:pt x="99" y="264"/>
                </a:cubicBezTo>
                <a:cubicBezTo>
                  <a:pt x="99" y="263"/>
                  <a:pt x="97" y="262"/>
                  <a:pt x="94" y="261"/>
                </a:cubicBezTo>
                <a:cubicBezTo>
                  <a:pt x="90" y="258"/>
                  <a:pt x="86" y="257"/>
                  <a:pt x="82" y="256"/>
                </a:cubicBezTo>
                <a:cubicBezTo>
                  <a:pt x="77" y="254"/>
                  <a:pt x="73" y="252"/>
                  <a:pt x="68" y="250"/>
                </a:cubicBezTo>
                <a:cubicBezTo>
                  <a:pt x="65" y="248"/>
                  <a:pt x="61" y="247"/>
                  <a:pt x="58" y="245"/>
                </a:cubicBezTo>
                <a:cubicBezTo>
                  <a:pt x="56" y="244"/>
                  <a:pt x="54" y="243"/>
                  <a:pt x="52" y="242"/>
                </a:cubicBezTo>
                <a:cubicBezTo>
                  <a:pt x="51" y="241"/>
                  <a:pt x="49" y="240"/>
                  <a:pt x="48" y="240"/>
                </a:cubicBezTo>
                <a:cubicBezTo>
                  <a:pt x="50" y="240"/>
                  <a:pt x="51" y="241"/>
                  <a:pt x="53" y="242"/>
                </a:cubicBezTo>
                <a:cubicBezTo>
                  <a:pt x="53" y="242"/>
                  <a:pt x="54" y="242"/>
                  <a:pt x="55" y="242"/>
                </a:cubicBezTo>
                <a:cubicBezTo>
                  <a:pt x="55" y="242"/>
                  <a:pt x="55" y="242"/>
                  <a:pt x="55" y="242"/>
                </a:cubicBezTo>
                <a:cubicBezTo>
                  <a:pt x="55" y="242"/>
                  <a:pt x="53" y="241"/>
                  <a:pt x="51" y="240"/>
                </a:cubicBezTo>
                <a:cubicBezTo>
                  <a:pt x="51" y="240"/>
                  <a:pt x="50" y="240"/>
                  <a:pt x="50" y="239"/>
                </a:cubicBezTo>
                <a:cubicBezTo>
                  <a:pt x="48" y="239"/>
                  <a:pt x="47" y="238"/>
                  <a:pt x="46" y="237"/>
                </a:cubicBezTo>
                <a:cubicBezTo>
                  <a:pt x="44" y="237"/>
                  <a:pt x="43" y="237"/>
                  <a:pt x="41" y="236"/>
                </a:cubicBezTo>
                <a:cubicBezTo>
                  <a:pt x="41" y="236"/>
                  <a:pt x="41" y="235"/>
                  <a:pt x="41" y="235"/>
                </a:cubicBezTo>
                <a:cubicBezTo>
                  <a:pt x="39" y="234"/>
                  <a:pt x="38" y="233"/>
                  <a:pt x="35" y="233"/>
                </a:cubicBezTo>
                <a:cubicBezTo>
                  <a:pt x="33" y="232"/>
                  <a:pt x="31" y="230"/>
                  <a:pt x="28" y="229"/>
                </a:cubicBezTo>
                <a:cubicBezTo>
                  <a:pt x="28" y="229"/>
                  <a:pt x="28" y="229"/>
                  <a:pt x="28" y="229"/>
                </a:cubicBezTo>
                <a:cubicBezTo>
                  <a:pt x="33" y="229"/>
                  <a:pt x="33" y="229"/>
                  <a:pt x="33" y="229"/>
                </a:cubicBezTo>
                <a:cubicBezTo>
                  <a:pt x="41" y="233"/>
                  <a:pt x="49" y="236"/>
                  <a:pt x="57" y="240"/>
                </a:cubicBezTo>
                <a:cubicBezTo>
                  <a:pt x="58" y="240"/>
                  <a:pt x="59" y="240"/>
                  <a:pt x="60" y="241"/>
                </a:cubicBezTo>
                <a:cubicBezTo>
                  <a:pt x="63" y="242"/>
                  <a:pt x="66" y="244"/>
                  <a:pt x="69" y="245"/>
                </a:cubicBezTo>
                <a:cubicBezTo>
                  <a:pt x="70" y="246"/>
                  <a:pt x="71" y="246"/>
                  <a:pt x="71" y="246"/>
                </a:cubicBezTo>
                <a:cubicBezTo>
                  <a:pt x="72" y="246"/>
                  <a:pt x="73" y="246"/>
                  <a:pt x="74" y="246"/>
                </a:cubicBezTo>
                <a:cubicBezTo>
                  <a:pt x="87" y="252"/>
                  <a:pt x="98" y="259"/>
                  <a:pt x="112" y="265"/>
                </a:cubicBezTo>
                <a:cubicBezTo>
                  <a:pt x="112" y="266"/>
                  <a:pt x="114" y="267"/>
                  <a:pt x="116" y="268"/>
                </a:cubicBezTo>
                <a:cubicBezTo>
                  <a:pt x="117" y="268"/>
                  <a:pt x="117" y="269"/>
                  <a:pt x="121" y="269"/>
                </a:cubicBezTo>
                <a:cubicBezTo>
                  <a:pt x="122" y="269"/>
                  <a:pt x="124" y="270"/>
                  <a:pt x="125" y="271"/>
                </a:cubicBezTo>
                <a:cubicBezTo>
                  <a:pt x="130" y="273"/>
                  <a:pt x="133" y="275"/>
                  <a:pt x="139" y="277"/>
                </a:cubicBezTo>
                <a:cubicBezTo>
                  <a:pt x="137" y="276"/>
                  <a:pt x="133" y="274"/>
                  <a:pt x="133" y="273"/>
                </a:cubicBezTo>
                <a:cubicBezTo>
                  <a:pt x="143" y="277"/>
                  <a:pt x="152" y="281"/>
                  <a:pt x="160" y="286"/>
                </a:cubicBezTo>
                <a:cubicBezTo>
                  <a:pt x="162" y="287"/>
                  <a:pt x="164" y="288"/>
                  <a:pt x="168" y="289"/>
                </a:cubicBezTo>
                <a:cubicBezTo>
                  <a:pt x="168" y="289"/>
                  <a:pt x="169" y="290"/>
                  <a:pt x="169" y="290"/>
                </a:cubicBezTo>
                <a:cubicBezTo>
                  <a:pt x="171" y="291"/>
                  <a:pt x="176" y="293"/>
                  <a:pt x="178" y="295"/>
                </a:cubicBezTo>
                <a:cubicBezTo>
                  <a:pt x="179" y="295"/>
                  <a:pt x="179" y="295"/>
                  <a:pt x="179" y="295"/>
                </a:cubicBezTo>
                <a:cubicBezTo>
                  <a:pt x="179" y="295"/>
                  <a:pt x="179" y="295"/>
                  <a:pt x="179" y="295"/>
                </a:cubicBezTo>
                <a:cubicBezTo>
                  <a:pt x="179" y="295"/>
                  <a:pt x="179" y="295"/>
                  <a:pt x="178" y="295"/>
                </a:cubicBezTo>
                <a:cubicBezTo>
                  <a:pt x="181" y="297"/>
                  <a:pt x="186" y="299"/>
                  <a:pt x="190" y="301"/>
                </a:cubicBezTo>
                <a:cubicBezTo>
                  <a:pt x="195" y="303"/>
                  <a:pt x="200" y="306"/>
                  <a:pt x="202" y="308"/>
                </a:cubicBezTo>
                <a:cubicBezTo>
                  <a:pt x="203" y="309"/>
                  <a:pt x="204" y="309"/>
                  <a:pt x="204" y="309"/>
                </a:cubicBezTo>
                <a:cubicBezTo>
                  <a:pt x="208" y="311"/>
                  <a:pt x="214" y="314"/>
                  <a:pt x="218" y="316"/>
                </a:cubicBezTo>
                <a:cubicBezTo>
                  <a:pt x="219" y="317"/>
                  <a:pt x="221" y="318"/>
                  <a:pt x="224" y="318"/>
                </a:cubicBezTo>
                <a:cubicBezTo>
                  <a:pt x="225" y="318"/>
                  <a:pt x="226" y="319"/>
                  <a:pt x="228" y="320"/>
                </a:cubicBezTo>
                <a:cubicBezTo>
                  <a:pt x="228" y="320"/>
                  <a:pt x="229" y="320"/>
                  <a:pt x="229" y="320"/>
                </a:cubicBezTo>
                <a:cubicBezTo>
                  <a:pt x="229" y="320"/>
                  <a:pt x="229" y="320"/>
                  <a:pt x="229" y="320"/>
                </a:cubicBezTo>
                <a:cubicBezTo>
                  <a:pt x="226" y="317"/>
                  <a:pt x="221" y="315"/>
                  <a:pt x="216" y="313"/>
                </a:cubicBezTo>
                <a:cubicBezTo>
                  <a:pt x="214" y="312"/>
                  <a:pt x="211" y="311"/>
                  <a:pt x="211" y="310"/>
                </a:cubicBezTo>
                <a:cubicBezTo>
                  <a:pt x="204" y="309"/>
                  <a:pt x="209" y="308"/>
                  <a:pt x="204" y="306"/>
                </a:cubicBezTo>
                <a:cubicBezTo>
                  <a:pt x="204" y="306"/>
                  <a:pt x="204" y="306"/>
                  <a:pt x="204" y="306"/>
                </a:cubicBezTo>
                <a:cubicBezTo>
                  <a:pt x="203" y="305"/>
                  <a:pt x="203" y="304"/>
                  <a:pt x="200" y="303"/>
                </a:cubicBezTo>
                <a:cubicBezTo>
                  <a:pt x="197" y="302"/>
                  <a:pt x="193" y="300"/>
                  <a:pt x="191" y="299"/>
                </a:cubicBezTo>
                <a:cubicBezTo>
                  <a:pt x="189" y="297"/>
                  <a:pt x="188" y="298"/>
                  <a:pt x="186" y="298"/>
                </a:cubicBezTo>
                <a:cubicBezTo>
                  <a:pt x="186" y="297"/>
                  <a:pt x="188" y="297"/>
                  <a:pt x="185" y="296"/>
                </a:cubicBezTo>
                <a:cubicBezTo>
                  <a:pt x="185" y="295"/>
                  <a:pt x="181" y="294"/>
                  <a:pt x="181" y="293"/>
                </a:cubicBezTo>
                <a:cubicBezTo>
                  <a:pt x="181" y="293"/>
                  <a:pt x="182" y="293"/>
                  <a:pt x="182" y="293"/>
                </a:cubicBezTo>
                <a:cubicBezTo>
                  <a:pt x="184" y="293"/>
                  <a:pt x="183" y="293"/>
                  <a:pt x="183" y="292"/>
                </a:cubicBezTo>
                <a:cubicBezTo>
                  <a:pt x="187" y="293"/>
                  <a:pt x="190" y="295"/>
                  <a:pt x="190" y="295"/>
                </a:cubicBezTo>
                <a:cubicBezTo>
                  <a:pt x="190" y="297"/>
                  <a:pt x="192" y="297"/>
                  <a:pt x="196" y="298"/>
                </a:cubicBezTo>
                <a:cubicBezTo>
                  <a:pt x="198" y="299"/>
                  <a:pt x="200" y="300"/>
                  <a:pt x="201" y="301"/>
                </a:cubicBezTo>
                <a:cubicBezTo>
                  <a:pt x="202" y="301"/>
                  <a:pt x="204" y="302"/>
                  <a:pt x="206" y="302"/>
                </a:cubicBezTo>
                <a:cubicBezTo>
                  <a:pt x="206" y="303"/>
                  <a:pt x="206" y="303"/>
                  <a:pt x="207" y="303"/>
                </a:cubicBezTo>
                <a:cubicBezTo>
                  <a:pt x="210" y="304"/>
                  <a:pt x="214" y="306"/>
                  <a:pt x="218" y="308"/>
                </a:cubicBezTo>
                <a:cubicBezTo>
                  <a:pt x="218" y="308"/>
                  <a:pt x="218" y="308"/>
                  <a:pt x="218" y="308"/>
                </a:cubicBezTo>
                <a:cubicBezTo>
                  <a:pt x="218" y="308"/>
                  <a:pt x="218" y="308"/>
                  <a:pt x="218" y="308"/>
                </a:cubicBezTo>
                <a:cubicBezTo>
                  <a:pt x="218" y="308"/>
                  <a:pt x="218" y="308"/>
                  <a:pt x="218" y="308"/>
                </a:cubicBezTo>
                <a:cubicBezTo>
                  <a:pt x="220" y="309"/>
                  <a:pt x="223" y="310"/>
                  <a:pt x="225" y="311"/>
                </a:cubicBezTo>
                <a:cubicBezTo>
                  <a:pt x="229" y="312"/>
                  <a:pt x="232" y="314"/>
                  <a:pt x="236" y="316"/>
                </a:cubicBezTo>
                <a:cubicBezTo>
                  <a:pt x="235" y="314"/>
                  <a:pt x="225" y="311"/>
                  <a:pt x="227" y="310"/>
                </a:cubicBezTo>
                <a:cubicBezTo>
                  <a:pt x="228" y="310"/>
                  <a:pt x="228" y="309"/>
                  <a:pt x="228" y="309"/>
                </a:cubicBezTo>
                <a:cubicBezTo>
                  <a:pt x="228" y="309"/>
                  <a:pt x="228" y="308"/>
                  <a:pt x="227" y="308"/>
                </a:cubicBezTo>
                <a:cubicBezTo>
                  <a:pt x="225" y="308"/>
                  <a:pt x="223" y="307"/>
                  <a:pt x="220" y="306"/>
                </a:cubicBezTo>
                <a:cubicBezTo>
                  <a:pt x="220" y="306"/>
                  <a:pt x="219" y="305"/>
                  <a:pt x="218" y="305"/>
                </a:cubicBezTo>
                <a:cubicBezTo>
                  <a:pt x="217" y="305"/>
                  <a:pt x="216" y="304"/>
                  <a:pt x="216" y="304"/>
                </a:cubicBezTo>
                <a:cubicBezTo>
                  <a:pt x="210" y="301"/>
                  <a:pt x="206" y="298"/>
                  <a:pt x="202" y="296"/>
                </a:cubicBezTo>
                <a:cubicBezTo>
                  <a:pt x="204" y="296"/>
                  <a:pt x="206" y="297"/>
                  <a:pt x="208" y="298"/>
                </a:cubicBezTo>
                <a:cubicBezTo>
                  <a:pt x="208" y="297"/>
                  <a:pt x="204" y="296"/>
                  <a:pt x="203" y="295"/>
                </a:cubicBezTo>
                <a:cubicBezTo>
                  <a:pt x="203" y="295"/>
                  <a:pt x="203" y="295"/>
                  <a:pt x="204" y="295"/>
                </a:cubicBezTo>
                <a:cubicBezTo>
                  <a:pt x="204" y="295"/>
                  <a:pt x="204" y="295"/>
                  <a:pt x="204" y="295"/>
                </a:cubicBezTo>
                <a:cubicBezTo>
                  <a:pt x="204" y="295"/>
                  <a:pt x="204" y="294"/>
                  <a:pt x="205" y="295"/>
                </a:cubicBezTo>
                <a:cubicBezTo>
                  <a:pt x="208" y="296"/>
                  <a:pt x="209" y="296"/>
                  <a:pt x="210" y="296"/>
                </a:cubicBezTo>
                <a:cubicBezTo>
                  <a:pt x="211" y="295"/>
                  <a:pt x="209" y="295"/>
                  <a:pt x="208" y="294"/>
                </a:cubicBezTo>
                <a:cubicBezTo>
                  <a:pt x="205" y="293"/>
                  <a:pt x="202" y="292"/>
                  <a:pt x="201" y="291"/>
                </a:cubicBezTo>
                <a:cubicBezTo>
                  <a:pt x="199" y="289"/>
                  <a:pt x="197" y="289"/>
                  <a:pt x="195" y="289"/>
                </a:cubicBezTo>
                <a:cubicBezTo>
                  <a:pt x="193" y="288"/>
                  <a:pt x="191" y="287"/>
                  <a:pt x="187" y="285"/>
                </a:cubicBezTo>
                <a:cubicBezTo>
                  <a:pt x="189" y="287"/>
                  <a:pt x="191" y="288"/>
                  <a:pt x="195" y="289"/>
                </a:cubicBezTo>
                <a:cubicBezTo>
                  <a:pt x="197" y="290"/>
                  <a:pt x="199" y="291"/>
                  <a:pt x="201" y="292"/>
                </a:cubicBezTo>
                <a:cubicBezTo>
                  <a:pt x="203" y="293"/>
                  <a:pt x="203" y="294"/>
                  <a:pt x="201" y="294"/>
                </a:cubicBezTo>
                <a:cubicBezTo>
                  <a:pt x="199" y="293"/>
                  <a:pt x="196" y="291"/>
                  <a:pt x="195" y="293"/>
                </a:cubicBezTo>
                <a:cubicBezTo>
                  <a:pt x="195" y="292"/>
                  <a:pt x="194" y="292"/>
                  <a:pt x="193" y="292"/>
                </a:cubicBezTo>
                <a:cubicBezTo>
                  <a:pt x="193" y="291"/>
                  <a:pt x="191" y="290"/>
                  <a:pt x="189" y="290"/>
                </a:cubicBezTo>
                <a:cubicBezTo>
                  <a:pt x="184" y="287"/>
                  <a:pt x="178" y="284"/>
                  <a:pt x="172" y="281"/>
                </a:cubicBezTo>
                <a:cubicBezTo>
                  <a:pt x="169" y="279"/>
                  <a:pt x="167" y="277"/>
                  <a:pt x="162" y="275"/>
                </a:cubicBezTo>
                <a:cubicBezTo>
                  <a:pt x="160" y="273"/>
                  <a:pt x="154" y="271"/>
                  <a:pt x="152" y="269"/>
                </a:cubicBezTo>
                <a:cubicBezTo>
                  <a:pt x="151" y="269"/>
                  <a:pt x="149" y="268"/>
                  <a:pt x="148" y="267"/>
                </a:cubicBezTo>
                <a:cubicBezTo>
                  <a:pt x="147" y="266"/>
                  <a:pt x="146" y="266"/>
                  <a:pt x="146" y="265"/>
                </a:cubicBezTo>
                <a:cubicBezTo>
                  <a:pt x="145" y="265"/>
                  <a:pt x="145" y="264"/>
                  <a:pt x="144" y="264"/>
                </a:cubicBezTo>
                <a:cubicBezTo>
                  <a:pt x="146" y="265"/>
                  <a:pt x="148" y="266"/>
                  <a:pt x="150" y="267"/>
                </a:cubicBezTo>
                <a:cubicBezTo>
                  <a:pt x="152" y="267"/>
                  <a:pt x="152" y="268"/>
                  <a:pt x="154" y="268"/>
                </a:cubicBezTo>
                <a:cubicBezTo>
                  <a:pt x="155" y="269"/>
                  <a:pt x="157" y="269"/>
                  <a:pt x="158" y="270"/>
                </a:cubicBezTo>
                <a:cubicBezTo>
                  <a:pt x="158" y="269"/>
                  <a:pt x="158" y="269"/>
                  <a:pt x="159" y="269"/>
                </a:cubicBezTo>
                <a:cubicBezTo>
                  <a:pt x="162" y="270"/>
                  <a:pt x="164" y="272"/>
                  <a:pt x="168" y="273"/>
                </a:cubicBezTo>
                <a:cubicBezTo>
                  <a:pt x="170" y="274"/>
                  <a:pt x="172" y="275"/>
                  <a:pt x="173" y="276"/>
                </a:cubicBezTo>
                <a:cubicBezTo>
                  <a:pt x="173" y="276"/>
                  <a:pt x="172" y="276"/>
                  <a:pt x="173" y="277"/>
                </a:cubicBezTo>
                <a:cubicBezTo>
                  <a:pt x="175" y="277"/>
                  <a:pt x="175" y="277"/>
                  <a:pt x="176" y="277"/>
                </a:cubicBezTo>
                <a:cubicBezTo>
                  <a:pt x="177" y="277"/>
                  <a:pt x="178" y="278"/>
                  <a:pt x="180" y="279"/>
                </a:cubicBezTo>
                <a:cubicBezTo>
                  <a:pt x="180" y="279"/>
                  <a:pt x="180" y="279"/>
                  <a:pt x="180" y="279"/>
                </a:cubicBezTo>
                <a:cubicBezTo>
                  <a:pt x="186" y="283"/>
                  <a:pt x="196" y="287"/>
                  <a:pt x="204" y="291"/>
                </a:cubicBezTo>
                <a:cubicBezTo>
                  <a:pt x="208" y="293"/>
                  <a:pt x="212" y="296"/>
                  <a:pt x="216" y="298"/>
                </a:cubicBezTo>
                <a:cubicBezTo>
                  <a:pt x="218" y="299"/>
                  <a:pt x="221" y="301"/>
                  <a:pt x="224" y="302"/>
                </a:cubicBezTo>
                <a:cubicBezTo>
                  <a:pt x="225" y="303"/>
                  <a:pt x="225" y="304"/>
                  <a:pt x="228" y="304"/>
                </a:cubicBezTo>
                <a:cubicBezTo>
                  <a:pt x="233" y="305"/>
                  <a:pt x="230" y="303"/>
                  <a:pt x="230" y="303"/>
                </a:cubicBezTo>
                <a:cubicBezTo>
                  <a:pt x="231" y="303"/>
                  <a:pt x="232" y="304"/>
                  <a:pt x="234" y="304"/>
                </a:cubicBezTo>
                <a:cubicBezTo>
                  <a:pt x="232" y="303"/>
                  <a:pt x="229" y="301"/>
                  <a:pt x="226" y="299"/>
                </a:cubicBezTo>
                <a:cubicBezTo>
                  <a:pt x="227" y="299"/>
                  <a:pt x="228" y="299"/>
                  <a:pt x="226" y="298"/>
                </a:cubicBezTo>
                <a:cubicBezTo>
                  <a:pt x="223" y="297"/>
                  <a:pt x="221" y="296"/>
                  <a:pt x="217" y="294"/>
                </a:cubicBezTo>
                <a:cubicBezTo>
                  <a:pt x="217" y="294"/>
                  <a:pt x="217" y="294"/>
                  <a:pt x="217" y="294"/>
                </a:cubicBezTo>
                <a:cubicBezTo>
                  <a:pt x="217" y="294"/>
                  <a:pt x="217" y="294"/>
                  <a:pt x="217" y="294"/>
                </a:cubicBezTo>
                <a:cubicBezTo>
                  <a:pt x="217" y="294"/>
                  <a:pt x="217" y="294"/>
                  <a:pt x="217" y="294"/>
                </a:cubicBezTo>
                <a:cubicBezTo>
                  <a:pt x="217" y="294"/>
                  <a:pt x="220" y="294"/>
                  <a:pt x="215" y="293"/>
                </a:cubicBezTo>
                <a:cubicBezTo>
                  <a:pt x="214" y="292"/>
                  <a:pt x="212" y="291"/>
                  <a:pt x="214" y="291"/>
                </a:cubicBezTo>
                <a:cubicBezTo>
                  <a:pt x="214" y="291"/>
                  <a:pt x="214" y="291"/>
                  <a:pt x="214" y="291"/>
                </a:cubicBezTo>
                <a:cubicBezTo>
                  <a:pt x="214" y="291"/>
                  <a:pt x="214" y="291"/>
                  <a:pt x="214" y="291"/>
                </a:cubicBezTo>
                <a:cubicBezTo>
                  <a:pt x="214" y="291"/>
                  <a:pt x="214" y="291"/>
                  <a:pt x="214" y="291"/>
                </a:cubicBezTo>
                <a:cubicBezTo>
                  <a:pt x="219" y="293"/>
                  <a:pt x="223" y="296"/>
                  <a:pt x="230" y="298"/>
                </a:cubicBezTo>
                <a:cubicBezTo>
                  <a:pt x="231" y="299"/>
                  <a:pt x="232" y="299"/>
                  <a:pt x="233" y="300"/>
                </a:cubicBezTo>
                <a:cubicBezTo>
                  <a:pt x="236" y="300"/>
                  <a:pt x="232" y="299"/>
                  <a:pt x="232" y="299"/>
                </a:cubicBezTo>
                <a:cubicBezTo>
                  <a:pt x="233" y="299"/>
                  <a:pt x="234" y="298"/>
                  <a:pt x="235" y="298"/>
                </a:cubicBezTo>
                <a:cubicBezTo>
                  <a:pt x="239" y="300"/>
                  <a:pt x="241" y="301"/>
                  <a:pt x="244" y="303"/>
                </a:cubicBezTo>
                <a:cubicBezTo>
                  <a:pt x="246" y="304"/>
                  <a:pt x="248" y="305"/>
                  <a:pt x="250" y="305"/>
                </a:cubicBezTo>
                <a:cubicBezTo>
                  <a:pt x="253" y="306"/>
                  <a:pt x="247" y="304"/>
                  <a:pt x="246" y="303"/>
                </a:cubicBezTo>
                <a:cubicBezTo>
                  <a:pt x="246" y="303"/>
                  <a:pt x="246" y="303"/>
                  <a:pt x="246" y="302"/>
                </a:cubicBezTo>
                <a:cubicBezTo>
                  <a:pt x="246" y="302"/>
                  <a:pt x="246" y="302"/>
                  <a:pt x="246" y="302"/>
                </a:cubicBezTo>
                <a:cubicBezTo>
                  <a:pt x="247" y="302"/>
                  <a:pt x="247" y="302"/>
                  <a:pt x="248" y="302"/>
                </a:cubicBezTo>
                <a:cubicBezTo>
                  <a:pt x="245" y="301"/>
                  <a:pt x="240" y="299"/>
                  <a:pt x="238" y="298"/>
                </a:cubicBezTo>
                <a:cubicBezTo>
                  <a:pt x="237" y="297"/>
                  <a:pt x="237" y="297"/>
                  <a:pt x="236" y="296"/>
                </a:cubicBezTo>
                <a:cubicBezTo>
                  <a:pt x="236" y="296"/>
                  <a:pt x="237" y="296"/>
                  <a:pt x="238" y="296"/>
                </a:cubicBezTo>
                <a:cubicBezTo>
                  <a:pt x="238" y="296"/>
                  <a:pt x="238" y="296"/>
                  <a:pt x="237" y="295"/>
                </a:cubicBezTo>
                <a:cubicBezTo>
                  <a:pt x="231" y="292"/>
                  <a:pt x="231" y="292"/>
                  <a:pt x="237" y="292"/>
                </a:cubicBezTo>
                <a:cubicBezTo>
                  <a:pt x="239" y="292"/>
                  <a:pt x="239" y="293"/>
                  <a:pt x="242" y="293"/>
                </a:cubicBezTo>
                <a:cubicBezTo>
                  <a:pt x="244" y="293"/>
                  <a:pt x="241" y="292"/>
                  <a:pt x="240" y="292"/>
                </a:cubicBezTo>
                <a:cubicBezTo>
                  <a:pt x="239" y="291"/>
                  <a:pt x="239" y="290"/>
                  <a:pt x="241" y="291"/>
                </a:cubicBezTo>
                <a:cubicBezTo>
                  <a:pt x="247" y="293"/>
                  <a:pt x="253" y="294"/>
                  <a:pt x="258" y="297"/>
                </a:cubicBezTo>
                <a:cubicBezTo>
                  <a:pt x="258" y="297"/>
                  <a:pt x="259" y="297"/>
                  <a:pt x="258" y="297"/>
                </a:cubicBezTo>
                <a:cubicBezTo>
                  <a:pt x="258" y="297"/>
                  <a:pt x="256" y="296"/>
                  <a:pt x="255" y="297"/>
                </a:cubicBezTo>
                <a:cubicBezTo>
                  <a:pt x="260" y="300"/>
                  <a:pt x="270" y="302"/>
                  <a:pt x="275" y="305"/>
                </a:cubicBezTo>
                <a:cubicBezTo>
                  <a:pt x="277" y="307"/>
                  <a:pt x="280" y="308"/>
                  <a:pt x="284" y="310"/>
                </a:cubicBezTo>
                <a:cubicBezTo>
                  <a:pt x="285" y="311"/>
                  <a:pt x="286" y="311"/>
                  <a:pt x="288" y="311"/>
                </a:cubicBezTo>
                <a:cubicBezTo>
                  <a:pt x="290" y="311"/>
                  <a:pt x="289" y="310"/>
                  <a:pt x="287" y="310"/>
                </a:cubicBezTo>
                <a:cubicBezTo>
                  <a:pt x="283" y="308"/>
                  <a:pt x="287" y="309"/>
                  <a:pt x="287" y="308"/>
                </a:cubicBezTo>
                <a:cubicBezTo>
                  <a:pt x="288" y="308"/>
                  <a:pt x="289" y="308"/>
                  <a:pt x="289" y="309"/>
                </a:cubicBezTo>
                <a:cubicBezTo>
                  <a:pt x="287" y="308"/>
                  <a:pt x="287" y="306"/>
                  <a:pt x="282" y="306"/>
                </a:cubicBezTo>
                <a:cubicBezTo>
                  <a:pt x="281" y="306"/>
                  <a:pt x="283" y="307"/>
                  <a:pt x="283" y="307"/>
                </a:cubicBezTo>
                <a:cubicBezTo>
                  <a:pt x="280" y="307"/>
                  <a:pt x="280" y="306"/>
                  <a:pt x="278" y="305"/>
                </a:cubicBezTo>
                <a:cubicBezTo>
                  <a:pt x="273" y="303"/>
                  <a:pt x="273" y="302"/>
                  <a:pt x="268" y="300"/>
                </a:cubicBezTo>
                <a:cubicBezTo>
                  <a:pt x="266" y="299"/>
                  <a:pt x="264" y="298"/>
                  <a:pt x="262" y="297"/>
                </a:cubicBezTo>
                <a:cubicBezTo>
                  <a:pt x="262" y="296"/>
                  <a:pt x="263" y="296"/>
                  <a:pt x="262" y="295"/>
                </a:cubicBezTo>
                <a:cubicBezTo>
                  <a:pt x="260" y="294"/>
                  <a:pt x="258" y="293"/>
                  <a:pt x="256" y="292"/>
                </a:cubicBezTo>
                <a:cubicBezTo>
                  <a:pt x="256" y="292"/>
                  <a:pt x="255" y="292"/>
                  <a:pt x="255" y="292"/>
                </a:cubicBezTo>
                <a:cubicBezTo>
                  <a:pt x="257" y="293"/>
                  <a:pt x="259" y="294"/>
                  <a:pt x="261" y="295"/>
                </a:cubicBezTo>
                <a:cubicBezTo>
                  <a:pt x="256" y="294"/>
                  <a:pt x="255" y="293"/>
                  <a:pt x="252" y="292"/>
                </a:cubicBezTo>
                <a:cubicBezTo>
                  <a:pt x="251" y="290"/>
                  <a:pt x="245" y="288"/>
                  <a:pt x="242" y="287"/>
                </a:cubicBezTo>
                <a:cubicBezTo>
                  <a:pt x="242" y="286"/>
                  <a:pt x="241" y="286"/>
                  <a:pt x="240" y="286"/>
                </a:cubicBezTo>
                <a:cubicBezTo>
                  <a:pt x="240" y="286"/>
                  <a:pt x="240" y="286"/>
                  <a:pt x="240" y="286"/>
                </a:cubicBezTo>
                <a:cubicBezTo>
                  <a:pt x="240" y="286"/>
                  <a:pt x="240" y="286"/>
                  <a:pt x="240" y="286"/>
                </a:cubicBezTo>
                <a:cubicBezTo>
                  <a:pt x="240" y="286"/>
                  <a:pt x="240" y="286"/>
                  <a:pt x="240" y="286"/>
                </a:cubicBezTo>
                <a:cubicBezTo>
                  <a:pt x="236" y="285"/>
                  <a:pt x="234" y="283"/>
                  <a:pt x="229" y="281"/>
                </a:cubicBezTo>
                <a:cubicBezTo>
                  <a:pt x="229" y="281"/>
                  <a:pt x="229" y="281"/>
                  <a:pt x="229" y="281"/>
                </a:cubicBezTo>
                <a:cubicBezTo>
                  <a:pt x="229" y="281"/>
                  <a:pt x="229" y="281"/>
                  <a:pt x="229" y="281"/>
                </a:cubicBezTo>
                <a:cubicBezTo>
                  <a:pt x="228" y="280"/>
                  <a:pt x="226" y="279"/>
                  <a:pt x="224" y="279"/>
                </a:cubicBezTo>
                <a:cubicBezTo>
                  <a:pt x="223" y="277"/>
                  <a:pt x="220" y="276"/>
                  <a:pt x="217" y="275"/>
                </a:cubicBezTo>
                <a:cubicBezTo>
                  <a:pt x="215" y="274"/>
                  <a:pt x="214" y="273"/>
                  <a:pt x="212" y="273"/>
                </a:cubicBezTo>
                <a:cubicBezTo>
                  <a:pt x="212" y="272"/>
                  <a:pt x="212" y="272"/>
                  <a:pt x="212" y="272"/>
                </a:cubicBezTo>
                <a:cubicBezTo>
                  <a:pt x="210" y="271"/>
                  <a:pt x="207" y="270"/>
                  <a:pt x="208" y="269"/>
                </a:cubicBezTo>
                <a:cubicBezTo>
                  <a:pt x="214" y="271"/>
                  <a:pt x="218" y="274"/>
                  <a:pt x="225" y="276"/>
                </a:cubicBezTo>
                <a:cubicBezTo>
                  <a:pt x="236" y="282"/>
                  <a:pt x="246" y="287"/>
                  <a:pt x="257" y="292"/>
                </a:cubicBezTo>
                <a:cubicBezTo>
                  <a:pt x="258" y="292"/>
                  <a:pt x="260" y="293"/>
                  <a:pt x="261" y="293"/>
                </a:cubicBezTo>
                <a:cubicBezTo>
                  <a:pt x="262" y="294"/>
                  <a:pt x="262" y="294"/>
                  <a:pt x="263" y="294"/>
                </a:cubicBezTo>
                <a:cubicBezTo>
                  <a:pt x="269" y="297"/>
                  <a:pt x="274" y="300"/>
                  <a:pt x="280" y="302"/>
                </a:cubicBezTo>
                <a:cubicBezTo>
                  <a:pt x="286" y="305"/>
                  <a:pt x="293" y="308"/>
                  <a:pt x="297" y="311"/>
                </a:cubicBezTo>
                <a:cubicBezTo>
                  <a:pt x="298" y="312"/>
                  <a:pt x="301" y="313"/>
                  <a:pt x="303" y="315"/>
                </a:cubicBezTo>
                <a:cubicBezTo>
                  <a:pt x="302" y="314"/>
                  <a:pt x="301" y="314"/>
                  <a:pt x="300" y="314"/>
                </a:cubicBezTo>
                <a:cubicBezTo>
                  <a:pt x="301" y="315"/>
                  <a:pt x="302" y="315"/>
                  <a:pt x="304" y="316"/>
                </a:cubicBezTo>
                <a:cubicBezTo>
                  <a:pt x="305" y="316"/>
                  <a:pt x="304" y="315"/>
                  <a:pt x="304" y="315"/>
                </a:cubicBezTo>
                <a:cubicBezTo>
                  <a:pt x="305" y="315"/>
                  <a:pt x="306" y="316"/>
                  <a:pt x="309" y="316"/>
                </a:cubicBezTo>
                <a:cubicBezTo>
                  <a:pt x="304" y="314"/>
                  <a:pt x="303" y="313"/>
                  <a:pt x="299" y="311"/>
                </a:cubicBezTo>
                <a:cubicBezTo>
                  <a:pt x="297" y="310"/>
                  <a:pt x="296" y="309"/>
                  <a:pt x="294" y="308"/>
                </a:cubicBezTo>
                <a:cubicBezTo>
                  <a:pt x="290" y="306"/>
                  <a:pt x="284" y="303"/>
                  <a:pt x="280" y="300"/>
                </a:cubicBezTo>
                <a:cubicBezTo>
                  <a:pt x="281" y="300"/>
                  <a:pt x="280" y="300"/>
                  <a:pt x="280" y="299"/>
                </a:cubicBezTo>
                <a:cubicBezTo>
                  <a:pt x="279" y="299"/>
                  <a:pt x="279" y="298"/>
                  <a:pt x="280" y="298"/>
                </a:cubicBezTo>
                <a:cubicBezTo>
                  <a:pt x="282" y="298"/>
                  <a:pt x="284" y="299"/>
                  <a:pt x="285" y="300"/>
                </a:cubicBezTo>
                <a:cubicBezTo>
                  <a:pt x="288" y="301"/>
                  <a:pt x="292" y="302"/>
                  <a:pt x="296" y="303"/>
                </a:cubicBezTo>
                <a:cubicBezTo>
                  <a:pt x="300" y="305"/>
                  <a:pt x="302" y="304"/>
                  <a:pt x="304" y="304"/>
                </a:cubicBezTo>
                <a:cubicBezTo>
                  <a:pt x="304" y="304"/>
                  <a:pt x="306" y="304"/>
                  <a:pt x="307" y="304"/>
                </a:cubicBezTo>
                <a:cubicBezTo>
                  <a:pt x="308" y="305"/>
                  <a:pt x="308" y="305"/>
                  <a:pt x="306" y="305"/>
                </a:cubicBezTo>
                <a:cubicBezTo>
                  <a:pt x="303" y="305"/>
                  <a:pt x="304" y="306"/>
                  <a:pt x="302" y="306"/>
                </a:cubicBezTo>
                <a:cubicBezTo>
                  <a:pt x="306" y="307"/>
                  <a:pt x="310" y="308"/>
                  <a:pt x="314" y="310"/>
                </a:cubicBezTo>
                <a:cubicBezTo>
                  <a:pt x="313" y="309"/>
                  <a:pt x="312" y="308"/>
                  <a:pt x="312" y="307"/>
                </a:cubicBezTo>
                <a:cubicBezTo>
                  <a:pt x="314" y="308"/>
                  <a:pt x="319" y="309"/>
                  <a:pt x="318" y="307"/>
                </a:cubicBezTo>
                <a:cubicBezTo>
                  <a:pt x="317" y="305"/>
                  <a:pt x="317" y="305"/>
                  <a:pt x="321" y="305"/>
                </a:cubicBezTo>
                <a:cubicBezTo>
                  <a:pt x="317" y="304"/>
                  <a:pt x="314" y="302"/>
                  <a:pt x="310" y="302"/>
                </a:cubicBezTo>
                <a:cubicBezTo>
                  <a:pt x="310" y="302"/>
                  <a:pt x="309" y="302"/>
                  <a:pt x="309" y="302"/>
                </a:cubicBezTo>
                <a:cubicBezTo>
                  <a:pt x="309" y="301"/>
                  <a:pt x="309" y="301"/>
                  <a:pt x="310" y="301"/>
                </a:cubicBezTo>
                <a:cubicBezTo>
                  <a:pt x="312" y="301"/>
                  <a:pt x="310" y="300"/>
                  <a:pt x="309" y="300"/>
                </a:cubicBezTo>
                <a:cubicBezTo>
                  <a:pt x="308" y="300"/>
                  <a:pt x="308" y="300"/>
                  <a:pt x="308" y="299"/>
                </a:cubicBezTo>
                <a:cubicBezTo>
                  <a:pt x="308" y="299"/>
                  <a:pt x="308" y="299"/>
                  <a:pt x="306" y="298"/>
                </a:cubicBezTo>
                <a:cubicBezTo>
                  <a:pt x="304" y="297"/>
                  <a:pt x="304" y="297"/>
                  <a:pt x="306" y="297"/>
                </a:cubicBezTo>
                <a:cubicBezTo>
                  <a:pt x="307" y="297"/>
                  <a:pt x="304" y="296"/>
                  <a:pt x="305" y="295"/>
                </a:cubicBezTo>
                <a:cubicBezTo>
                  <a:pt x="306" y="296"/>
                  <a:pt x="307" y="297"/>
                  <a:pt x="308" y="297"/>
                </a:cubicBezTo>
                <a:cubicBezTo>
                  <a:pt x="310" y="299"/>
                  <a:pt x="314" y="300"/>
                  <a:pt x="317" y="302"/>
                </a:cubicBezTo>
                <a:cubicBezTo>
                  <a:pt x="318" y="303"/>
                  <a:pt x="320" y="304"/>
                  <a:pt x="322" y="305"/>
                </a:cubicBezTo>
                <a:cubicBezTo>
                  <a:pt x="323" y="305"/>
                  <a:pt x="324" y="306"/>
                  <a:pt x="325" y="306"/>
                </a:cubicBezTo>
                <a:cubicBezTo>
                  <a:pt x="326" y="306"/>
                  <a:pt x="327" y="307"/>
                  <a:pt x="327" y="307"/>
                </a:cubicBezTo>
                <a:cubicBezTo>
                  <a:pt x="327" y="307"/>
                  <a:pt x="328" y="308"/>
                  <a:pt x="329" y="308"/>
                </a:cubicBezTo>
                <a:cubicBezTo>
                  <a:pt x="330" y="308"/>
                  <a:pt x="331" y="309"/>
                  <a:pt x="332" y="309"/>
                </a:cubicBezTo>
                <a:cubicBezTo>
                  <a:pt x="332" y="308"/>
                  <a:pt x="331" y="308"/>
                  <a:pt x="330" y="308"/>
                </a:cubicBezTo>
                <a:cubicBezTo>
                  <a:pt x="329" y="307"/>
                  <a:pt x="328" y="306"/>
                  <a:pt x="326" y="306"/>
                </a:cubicBezTo>
                <a:cubicBezTo>
                  <a:pt x="321" y="303"/>
                  <a:pt x="317" y="300"/>
                  <a:pt x="309" y="297"/>
                </a:cubicBezTo>
                <a:cubicBezTo>
                  <a:pt x="305" y="294"/>
                  <a:pt x="298" y="291"/>
                  <a:pt x="292" y="288"/>
                </a:cubicBezTo>
                <a:cubicBezTo>
                  <a:pt x="289" y="287"/>
                  <a:pt x="287" y="285"/>
                  <a:pt x="284" y="284"/>
                </a:cubicBezTo>
                <a:cubicBezTo>
                  <a:pt x="283" y="283"/>
                  <a:pt x="279" y="281"/>
                  <a:pt x="276" y="280"/>
                </a:cubicBezTo>
                <a:cubicBezTo>
                  <a:pt x="280" y="281"/>
                  <a:pt x="284" y="280"/>
                  <a:pt x="289" y="282"/>
                </a:cubicBezTo>
                <a:cubicBezTo>
                  <a:pt x="294" y="284"/>
                  <a:pt x="299" y="286"/>
                  <a:pt x="303" y="288"/>
                </a:cubicBezTo>
                <a:cubicBezTo>
                  <a:pt x="309" y="291"/>
                  <a:pt x="314" y="295"/>
                  <a:pt x="322" y="298"/>
                </a:cubicBezTo>
                <a:cubicBezTo>
                  <a:pt x="325" y="299"/>
                  <a:pt x="330" y="300"/>
                  <a:pt x="334" y="302"/>
                </a:cubicBezTo>
                <a:cubicBezTo>
                  <a:pt x="335" y="300"/>
                  <a:pt x="331" y="299"/>
                  <a:pt x="328" y="298"/>
                </a:cubicBezTo>
                <a:cubicBezTo>
                  <a:pt x="326" y="297"/>
                  <a:pt x="323" y="297"/>
                  <a:pt x="323" y="296"/>
                </a:cubicBezTo>
                <a:cubicBezTo>
                  <a:pt x="323" y="295"/>
                  <a:pt x="325" y="296"/>
                  <a:pt x="327" y="296"/>
                </a:cubicBezTo>
                <a:cubicBezTo>
                  <a:pt x="328" y="296"/>
                  <a:pt x="330" y="296"/>
                  <a:pt x="331" y="296"/>
                </a:cubicBezTo>
                <a:cubicBezTo>
                  <a:pt x="331" y="297"/>
                  <a:pt x="332" y="297"/>
                  <a:pt x="333" y="298"/>
                </a:cubicBezTo>
                <a:cubicBezTo>
                  <a:pt x="333" y="298"/>
                  <a:pt x="333" y="298"/>
                  <a:pt x="333" y="298"/>
                </a:cubicBezTo>
                <a:cubicBezTo>
                  <a:pt x="333" y="298"/>
                  <a:pt x="333" y="298"/>
                  <a:pt x="333" y="298"/>
                </a:cubicBezTo>
                <a:cubicBezTo>
                  <a:pt x="332" y="298"/>
                  <a:pt x="330" y="297"/>
                  <a:pt x="330" y="297"/>
                </a:cubicBezTo>
                <a:cubicBezTo>
                  <a:pt x="330" y="298"/>
                  <a:pt x="331" y="299"/>
                  <a:pt x="334" y="299"/>
                </a:cubicBezTo>
                <a:cubicBezTo>
                  <a:pt x="334" y="299"/>
                  <a:pt x="335" y="300"/>
                  <a:pt x="335" y="300"/>
                </a:cubicBezTo>
                <a:cubicBezTo>
                  <a:pt x="337" y="301"/>
                  <a:pt x="339" y="302"/>
                  <a:pt x="341" y="303"/>
                </a:cubicBezTo>
                <a:cubicBezTo>
                  <a:pt x="341" y="303"/>
                  <a:pt x="342" y="303"/>
                  <a:pt x="342" y="303"/>
                </a:cubicBezTo>
                <a:cubicBezTo>
                  <a:pt x="340" y="302"/>
                  <a:pt x="338" y="301"/>
                  <a:pt x="336" y="300"/>
                </a:cubicBezTo>
                <a:cubicBezTo>
                  <a:pt x="335" y="299"/>
                  <a:pt x="335" y="299"/>
                  <a:pt x="337" y="298"/>
                </a:cubicBezTo>
                <a:cubicBezTo>
                  <a:pt x="339" y="299"/>
                  <a:pt x="340" y="299"/>
                  <a:pt x="341" y="299"/>
                </a:cubicBezTo>
                <a:cubicBezTo>
                  <a:pt x="342" y="300"/>
                  <a:pt x="344" y="301"/>
                  <a:pt x="347" y="301"/>
                </a:cubicBezTo>
                <a:cubicBezTo>
                  <a:pt x="346" y="300"/>
                  <a:pt x="345" y="299"/>
                  <a:pt x="344" y="299"/>
                </a:cubicBezTo>
                <a:cubicBezTo>
                  <a:pt x="343" y="297"/>
                  <a:pt x="339" y="295"/>
                  <a:pt x="335" y="294"/>
                </a:cubicBezTo>
                <a:cubicBezTo>
                  <a:pt x="334" y="293"/>
                  <a:pt x="333" y="293"/>
                  <a:pt x="331" y="292"/>
                </a:cubicBezTo>
                <a:cubicBezTo>
                  <a:pt x="331" y="292"/>
                  <a:pt x="331" y="292"/>
                  <a:pt x="330" y="291"/>
                </a:cubicBezTo>
                <a:cubicBezTo>
                  <a:pt x="330" y="291"/>
                  <a:pt x="329" y="290"/>
                  <a:pt x="327" y="290"/>
                </a:cubicBezTo>
                <a:cubicBezTo>
                  <a:pt x="326" y="289"/>
                  <a:pt x="325" y="289"/>
                  <a:pt x="325" y="289"/>
                </a:cubicBezTo>
                <a:cubicBezTo>
                  <a:pt x="327" y="288"/>
                  <a:pt x="323" y="287"/>
                  <a:pt x="324" y="287"/>
                </a:cubicBezTo>
                <a:cubicBezTo>
                  <a:pt x="325" y="287"/>
                  <a:pt x="329" y="288"/>
                  <a:pt x="329" y="287"/>
                </a:cubicBezTo>
                <a:cubicBezTo>
                  <a:pt x="330" y="287"/>
                  <a:pt x="328" y="286"/>
                  <a:pt x="326" y="285"/>
                </a:cubicBezTo>
                <a:cubicBezTo>
                  <a:pt x="324" y="284"/>
                  <a:pt x="323" y="284"/>
                  <a:pt x="322" y="283"/>
                </a:cubicBezTo>
                <a:cubicBezTo>
                  <a:pt x="320" y="281"/>
                  <a:pt x="318" y="280"/>
                  <a:pt x="311" y="278"/>
                </a:cubicBezTo>
                <a:cubicBezTo>
                  <a:pt x="310" y="277"/>
                  <a:pt x="304" y="275"/>
                  <a:pt x="301" y="273"/>
                </a:cubicBezTo>
                <a:cubicBezTo>
                  <a:pt x="296" y="271"/>
                  <a:pt x="290" y="268"/>
                  <a:pt x="284" y="265"/>
                </a:cubicBezTo>
                <a:cubicBezTo>
                  <a:pt x="283" y="264"/>
                  <a:pt x="281" y="263"/>
                  <a:pt x="276" y="262"/>
                </a:cubicBezTo>
                <a:cubicBezTo>
                  <a:pt x="278" y="263"/>
                  <a:pt x="281" y="264"/>
                  <a:pt x="283" y="265"/>
                </a:cubicBezTo>
                <a:cubicBezTo>
                  <a:pt x="285" y="266"/>
                  <a:pt x="286" y="267"/>
                  <a:pt x="288" y="268"/>
                </a:cubicBezTo>
                <a:cubicBezTo>
                  <a:pt x="282" y="266"/>
                  <a:pt x="281" y="264"/>
                  <a:pt x="277" y="263"/>
                </a:cubicBezTo>
                <a:cubicBezTo>
                  <a:pt x="275" y="262"/>
                  <a:pt x="273" y="262"/>
                  <a:pt x="272" y="261"/>
                </a:cubicBezTo>
                <a:cubicBezTo>
                  <a:pt x="272" y="261"/>
                  <a:pt x="272" y="261"/>
                  <a:pt x="272" y="261"/>
                </a:cubicBezTo>
                <a:cubicBezTo>
                  <a:pt x="272" y="261"/>
                  <a:pt x="272" y="260"/>
                  <a:pt x="270" y="259"/>
                </a:cubicBezTo>
                <a:cubicBezTo>
                  <a:pt x="268" y="259"/>
                  <a:pt x="268" y="259"/>
                  <a:pt x="268" y="260"/>
                </a:cubicBezTo>
                <a:cubicBezTo>
                  <a:pt x="265" y="258"/>
                  <a:pt x="262" y="257"/>
                  <a:pt x="260" y="256"/>
                </a:cubicBezTo>
                <a:cubicBezTo>
                  <a:pt x="260" y="256"/>
                  <a:pt x="261" y="256"/>
                  <a:pt x="262" y="256"/>
                </a:cubicBezTo>
                <a:cubicBezTo>
                  <a:pt x="263" y="256"/>
                  <a:pt x="264" y="257"/>
                  <a:pt x="265" y="257"/>
                </a:cubicBezTo>
                <a:cubicBezTo>
                  <a:pt x="269" y="258"/>
                  <a:pt x="272" y="259"/>
                  <a:pt x="273" y="260"/>
                </a:cubicBezTo>
                <a:cubicBezTo>
                  <a:pt x="274" y="260"/>
                  <a:pt x="275" y="261"/>
                  <a:pt x="276" y="261"/>
                </a:cubicBezTo>
                <a:cubicBezTo>
                  <a:pt x="277" y="261"/>
                  <a:pt x="276" y="260"/>
                  <a:pt x="275" y="260"/>
                </a:cubicBezTo>
                <a:cubicBezTo>
                  <a:pt x="276" y="260"/>
                  <a:pt x="277" y="260"/>
                  <a:pt x="277" y="260"/>
                </a:cubicBezTo>
                <a:cubicBezTo>
                  <a:pt x="278" y="260"/>
                  <a:pt x="279" y="261"/>
                  <a:pt x="280" y="261"/>
                </a:cubicBezTo>
                <a:cubicBezTo>
                  <a:pt x="285" y="263"/>
                  <a:pt x="289" y="266"/>
                  <a:pt x="294" y="268"/>
                </a:cubicBezTo>
                <a:cubicBezTo>
                  <a:pt x="294" y="268"/>
                  <a:pt x="294" y="268"/>
                  <a:pt x="294" y="267"/>
                </a:cubicBezTo>
                <a:cubicBezTo>
                  <a:pt x="294" y="267"/>
                  <a:pt x="293" y="267"/>
                  <a:pt x="293" y="267"/>
                </a:cubicBezTo>
                <a:cubicBezTo>
                  <a:pt x="293" y="267"/>
                  <a:pt x="293" y="267"/>
                  <a:pt x="293" y="267"/>
                </a:cubicBezTo>
                <a:cubicBezTo>
                  <a:pt x="293" y="267"/>
                  <a:pt x="293" y="267"/>
                  <a:pt x="293" y="267"/>
                </a:cubicBezTo>
                <a:cubicBezTo>
                  <a:pt x="296" y="267"/>
                  <a:pt x="299" y="268"/>
                  <a:pt x="300" y="270"/>
                </a:cubicBezTo>
                <a:cubicBezTo>
                  <a:pt x="301" y="270"/>
                  <a:pt x="303" y="271"/>
                  <a:pt x="306" y="272"/>
                </a:cubicBezTo>
                <a:cubicBezTo>
                  <a:pt x="307" y="272"/>
                  <a:pt x="308" y="272"/>
                  <a:pt x="308" y="272"/>
                </a:cubicBezTo>
                <a:cubicBezTo>
                  <a:pt x="310" y="271"/>
                  <a:pt x="307" y="270"/>
                  <a:pt x="305" y="270"/>
                </a:cubicBezTo>
                <a:cubicBezTo>
                  <a:pt x="298" y="266"/>
                  <a:pt x="289" y="262"/>
                  <a:pt x="282" y="259"/>
                </a:cubicBezTo>
                <a:cubicBezTo>
                  <a:pt x="282" y="259"/>
                  <a:pt x="282" y="259"/>
                  <a:pt x="282" y="259"/>
                </a:cubicBezTo>
                <a:cubicBezTo>
                  <a:pt x="279" y="257"/>
                  <a:pt x="272" y="255"/>
                  <a:pt x="271" y="253"/>
                </a:cubicBezTo>
                <a:cubicBezTo>
                  <a:pt x="281" y="257"/>
                  <a:pt x="290" y="262"/>
                  <a:pt x="299" y="266"/>
                </a:cubicBezTo>
                <a:cubicBezTo>
                  <a:pt x="308" y="270"/>
                  <a:pt x="318" y="275"/>
                  <a:pt x="330" y="280"/>
                </a:cubicBezTo>
                <a:cubicBezTo>
                  <a:pt x="332" y="281"/>
                  <a:pt x="334" y="281"/>
                  <a:pt x="336" y="282"/>
                </a:cubicBezTo>
                <a:cubicBezTo>
                  <a:pt x="340" y="285"/>
                  <a:pt x="347" y="288"/>
                  <a:pt x="352" y="291"/>
                </a:cubicBezTo>
                <a:cubicBezTo>
                  <a:pt x="353" y="291"/>
                  <a:pt x="349" y="290"/>
                  <a:pt x="349" y="289"/>
                </a:cubicBezTo>
                <a:cubicBezTo>
                  <a:pt x="355" y="290"/>
                  <a:pt x="358" y="292"/>
                  <a:pt x="361" y="294"/>
                </a:cubicBezTo>
                <a:cubicBezTo>
                  <a:pt x="363" y="295"/>
                  <a:pt x="365" y="297"/>
                  <a:pt x="371" y="298"/>
                </a:cubicBezTo>
                <a:cubicBezTo>
                  <a:pt x="376" y="299"/>
                  <a:pt x="377" y="300"/>
                  <a:pt x="380" y="302"/>
                </a:cubicBezTo>
                <a:cubicBezTo>
                  <a:pt x="380" y="302"/>
                  <a:pt x="380" y="302"/>
                  <a:pt x="380" y="302"/>
                </a:cubicBezTo>
                <a:cubicBezTo>
                  <a:pt x="385" y="304"/>
                  <a:pt x="389" y="306"/>
                  <a:pt x="393" y="308"/>
                </a:cubicBezTo>
                <a:cubicBezTo>
                  <a:pt x="390" y="307"/>
                  <a:pt x="389" y="306"/>
                  <a:pt x="387" y="306"/>
                </a:cubicBezTo>
                <a:cubicBezTo>
                  <a:pt x="386" y="305"/>
                  <a:pt x="385" y="304"/>
                  <a:pt x="381" y="303"/>
                </a:cubicBezTo>
                <a:cubicBezTo>
                  <a:pt x="382" y="304"/>
                  <a:pt x="383" y="305"/>
                  <a:pt x="386" y="306"/>
                </a:cubicBezTo>
                <a:cubicBezTo>
                  <a:pt x="389" y="307"/>
                  <a:pt x="391" y="308"/>
                  <a:pt x="394" y="310"/>
                </a:cubicBezTo>
                <a:cubicBezTo>
                  <a:pt x="396" y="311"/>
                  <a:pt x="398" y="311"/>
                  <a:pt x="399" y="312"/>
                </a:cubicBezTo>
                <a:cubicBezTo>
                  <a:pt x="399" y="312"/>
                  <a:pt x="400" y="312"/>
                  <a:pt x="400" y="312"/>
                </a:cubicBezTo>
                <a:cubicBezTo>
                  <a:pt x="398" y="311"/>
                  <a:pt x="397" y="311"/>
                  <a:pt x="396" y="310"/>
                </a:cubicBezTo>
                <a:cubicBezTo>
                  <a:pt x="396" y="310"/>
                  <a:pt x="397" y="310"/>
                  <a:pt x="397" y="310"/>
                </a:cubicBezTo>
                <a:cubicBezTo>
                  <a:pt x="402" y="313"/>
                  <a:pt x="410" y="316"/>
                  <a:pt x="413" y="319"/>
                </a:cubicBezTo>
                <a:cubicBezTo>
                  <a:pt x="416" y="320"/>
                  <a:pt x="418" y="321"/>
                  <a:pt x="421" y="322"/>
                </a:cubicBezTo>
                <a:cubicBezTo>
                  <a:pt x="421" y="323"/>
                  <a:pt x="422" y="324"/>
                  <a:pt x="426" y="325"/>
                </a:cubicBezTo>
                <a:cubicBezTo>
                  <a:pt x="429" y="328"/>
                  <a:pt x="436" y="329"/>
                  <a:pt x="442" y="331"/>
                </a:cubicBezTo>
                <a:cubicBezTo>
                  <a:pt x="442" y="331"/>
                  <a:pt x="442" y="331"/>
                  <a:pt x="443" y="331"/>
                </a:cubicBezTo>
                <a:cubicBezTo>
                  <a:pt x="444" y="332"/>
                  <a:pt x="446" y="333"/>
                  <a:pt x="448" y="334"/>
                </a:cubicBezTo>
                <a:cubicBezTo>
                  <a:pt x="450" y="335"/>
                  <a:pt x="448" y="335"/>
                  <a:pt x="446" y="334"/>
                </a:cubicBezTo>
                <a:cubicBezTo>
                  <a:pt x="445" y="334"/>
                  <a:pt x="444" y="333"/>
                  <a:pt x="441" y="333"/>
                </a:cubicBezTo>
                <a:cubicBezTo>
                  <a:pt x="442" y="333"/>
                  <a:pt x="444" y="334"/>
                  <a:pt x="445" y="334"/>
                </a:cubicBezTo>
                <a:cubicBezTo>
                  <a:pt x="446" y="335"/>
                  <a:pt x="447" y="335"/>
                  <a:pt x="448" y="336"/>
                </a:cubicBezTo>
                <a:cubicBezTo>
                  <a:pt x="452" y="338"/>
                  <a:pt x="459" y="341"/>
                  <a:pt x="465" y="344"/>
                </a:cubicBezTo>
                <a:cubicBezTo>
                  <a:pt x="467" y="345"/>
                  <a:pt x="468" y="347"/>
                  <a:pt x="473" y="348"/>
                </a:cubicBezTo>
                <a:cubicBezTo>
                  <a:pt x="472" y="347"/>
                  <a:pt x="469" y="345"/>
                  <a:pt x="466" y="344"/>
                </a:cubicBezTo>
                <a:cubicBezTo>
                  <a:pt x="463" y="342"/>
                  <a:pt x="459" y="340"/>
                  <a:pt x="455" y="339"/>
                </a:cubicBezTo>
                <a:cubicBezTo>
                  <a:pt x="457" y="338"/>
                  <a:pt x="452" y="335"/>
                  <a:pt x="450" y="334"/>
                </a:cubicBezTo>
                <a:cubicBezTo>
                  <a:pt x="449" y="333"/>
                  <a:pt x="446" y="331"/>
                  <a:pt x="444" y="330"/>
                </a:cubicBezTo>
                <a:cubicBezTo>
                  <a:pt x="444" y="329"/>
                  <a:pt x="441" y="329"/>
                  <a:pt x="439" y="328"/>
                </a:cubicBezTo>
                <a:cubicBezTo>
                  <a:pt x="435" y="326"/>
                  <a:pt x="429" y="324"/>
                  <a:pt x="432" y="323"/>
                </a:cubicBezTo>
                <a:cubicBezTo>
                  <a:pt x="433" y="323"/>
                  <a:pt x="431" y="321"/>
                  <a:pt x="427" y="321"/>
                </a:cubicBezTo>
                <a:cubicBezTo>
                  <a:pt x="425" y="320"/>
                  <a:pt x="423" y="319"/>
                  <a:pt x="421" y="318"/>
                </a:cubicBezTo>
                <a:cubicBezTo>
                  <a:pt x="420" y="317"/>
                  <a:pt x="418" y="317"/>
                  <a:pt x="417" y="316"/>
                </a:cubicBezTo>
                <a:cubicBezTo>
                  <a:pt x="417" y="315"/>
                  <a:pt x="416" y="315"/>
                  <a:pt x="414" y="314"/>
                </a:cubicBezTo>
                <a:cubicBezTo>
                  <a:pt x="413" y="314"/>
                  <a:pt x="414" y="315"/>
                  <a:pt x="415" y="316"/>
                </a:cubicBezTo>
                <a:cubicBezTo>
                  <a:pt x="416" y="317"/>
                  <a:pt x="417" y="317"/>
                  <a:pt x="419" y="318"/>
                </a:cubicBezTo>
                <a:cubicBezTo>
                  <a:pt x="421" y="319"/>
                  <a:pt x="421" y="320"/>
                  <a:pt x="419" y="320"/>
                </a:cubicBezTo>
                <a:cubicBezTo>
                  <a:pt x="417" y="320"/>
                  <a:pt x="417" y="319"/>
                  <a:pt x="416" y="319"/>
                </a:cubicBezTo>
                <a:cubicBezTo>
                  <a:pt x="408" y="314"/>
                  <a:pt x="399" y="310"/>
                  <a:pt x="391" y="306"/>
                </a:cubicBezTo>
                <a:cubicBezTo>
                  <a:pt x="393" y="306"/>
                  <a:pt x="396" y="307"/>
                  <a:pt x="397" y="308"/>
                </a:cubicBezTo>
                <a:cubicBezTo>
                  <a:pt x="402" y="311"/>
                  <a:pt x="407" y="311"/>
                  <a:pt x="413" y="311"/>
                </a:cubicBezTo>
                <a:cubicBezTo>
                  <a:pt x="413" y="312"/>
                  <a:pt x="412" y="312"/>
                  <a:pt x="413" y="312"/>
                </a:cubicBezTo>
                <a:cubicBezTo>
                  <a:pt x="413" y="313"/>
                  <a:pt x="414" y="313"/>
                  <a:pt x="415" y="313"/>
                </a:cubicBezTo>
                <a:cubicBezTo>
                  <a:pt x="415" y="312"/>
                  <a:pt x="416" y="312"/>
                  <a:pt x="414" y="311"/>
                </a:cubicBezTo>
                <a:cubicBezTo>
                  <a:pt x="413" y="311"/>
                  <a:pt x="420" y="312"/>
                  <a:pt x="416" y="310"/>
                </a:cubicBezTo>
                <a:cubicBezTo>
                  <a:pt x="414" y="309"/>
                  <a:pt x="410" y="309"/>
                  <a:pt x="410" y="309"/>
                </a:cubicBezTo>
                <a:cubicBezTo>
                  <a:pt x="406" y="311"/>
                  <a:pt x="403" y="308"/>
                  <a:pt x="399" y="307"/>
                </a:cubicBezTo>
                <a:cubicBezTo>
                  <a:pt x="398" y="306"/>
                  <a:pt x="396" y="305"/>
                  <a:pt x="395" y="305"/>
                </a:cubicBezTo>
                <a:cubicBezTo>
                  <a:pt x="391" y="302"/>
                  <a:pt x="388" y="303"/>
                  <a:pt x="385" y="303"/>
                </a:cubicBezTo>
                <a:cubicBezTo>
                  <a:pt x="385" y="303"/>
                  <a:pt x="385" y="303"/>
                  <a:pt x="385" y="303"/>
                </a:cubicBezTo>
                <a:cubicBezTo>
                  <a:pt x="384" y="302"/>
                  <a:pt x="384" y="302"/>
                  <a:pt x="384" y="302"/>
                </a:cubicBezTo>
                <a:cubicBezTo>
                  <a:pt x="382" y="301"/>
                  <a:pt x="385" y="301"/>
                  <a:pt x="384" y="299"/>
                </a:cubicBezTo>
                <a:cubicBezTo>
                  <a:pt x="380" y="296"/>
                  <a:pt x="373" y="294"/>
                  <a:pt x="369" y="291"/>
                </a:cubicBezTo>
                <a:cubicBezTo>
                  <a:pt x="367" y="291"/>
                  <a:pt x="366" y="290"/>
                  <a:pt x="365" y="289"/>
                </a:cubicBezTo>
                <a:cubicBezTo>
                  <a:pt x="359" y="288"/>
                  <a:pt x="358" y="286"/>
                  <a:pt x="354" y="284"/>
                </a:cubicBezTo>
                <a:cubicBezTo>
                  <a:pt x="348" y="282"/>
                  <a:pt x="346" y="279"/>
                  <a:pt x="341" y="277"/>
                </a:cubicBezTo>
                <a:cubicBezTo>
                  <a:pt x="338" y="276"/>
                  <a:pt x="335" y="274"/>
                  <a:pt x="333" y="273"/>
                </a:cubicBezTo>
                <a:cubicBezTo>
                  <a:pt x="327" y="270"/>
                  <a:pt x="320" y="267"/>
                  <a:pt x="314" y="264"/>
                </a:cubicBezTo>
                <a:cubicBezTo>
                  <a:pt x="313" y="263"/>
                  <a:pt x="311" y="263"/>
                  <a:pt x="310" y="262"/>
                </a:cubicBezTo>
                <a:cubicBezTo>
                  <a:pt x="311" y="262"/>
                  <a:pt x="312" y="262"/>
                  <a:pt x="313" y="262"/>
                </a:cubicBezTo>
                <a:cubicBezTo>
                  <a:pt x="318" y="265"/>
                  <a:pt x="323" y="267"/>
                  <a:pt x="329" y="269"/>
                </a:cubicBezTo>
                <a:cubicBezTo>
                  <a:pt x="328" y="269"/>
                  <a:pt x="328" y="269"/>
                  <a:pt x="328" y="268"/>
                </a:cubicBezTo>
                <a:cubicBezTo>
                  <a:pt x="328" y="269"/>
                  <a:pt x="329" y="269"/>
                  <a:pt x="329" y="269"/>
                </a:cubicBezTo>
                <a:cubicBezTo>
                  <a:pt x="335" y="272"/>
                  <a:pt x="342" y="275"/>
                  <a:pt x="348" y="279"/>
                </a:cubicBezTo>
                <a:cubicBezTo>
                  <a:pt x="354" y="281"/>
                  <a:pt x="361" y="284"/>
                  <a:pt x="367" y="287"/>
                </a:cubicBezTo>
                <a:cubicBezTo>
                  <a:pt x="377" y="291"/>
                  <a:pt x="387" y="296"/>
                  <a:pt x="396" y="300"/>
                </a:cubicBezTo>
                <a:cubicBezTo>
                  <a:pt x="398" y="301"/>
                  <a:pt x="401" y="303"/>
                  <a:pt x="404" y="304"/>
                </a:cubicBezTo>
                <a:cubicBezTo>
                  <a:pt x="409" y="307"/>
                  <a:pt x="418" y="310"/>
                  <a:pt x="424" y="314"/>
                </a:cubicBezTo>
                <a:cubicBezTo>
                  <a:pt x="425" y="315"/>
                  <a:pt x="429" y="316"/>
                  <a:pt x="432" y="318"/>
                </a:cubicBezTo>
                <a:cubicBezTo>
                  <a:pt x="433" y="317"/>
                  <a:pt x="428" y="315"/>
                  <a:pt x="426" y="314"/>
                </a:cubicBezTo>
                <a:cubicBezTo>
                  <a:pt x="426" y="314"/>
                  <a:pt x="426" y="314"/>
                  <a:pt x="426" y="314"/>
                </a:cubicBezTo>
                <a:cubicBezTo>
                  <a:pt x="428" y="313"/>
                  <a:pt x="429" y="313"/>
                  <a:pt x="436" y="315"/>
                </a:cubicBezTo>
                <a:cubicBezTo>
                  <a:pt x="434" y="314"/>
                  <a:pt x="434" y="312"/>
                  <a:pt x="430" y="311"/>
                </a:cubicBezTo>
                <a:cubicBezTo>
                  <a:pt x="428" y="311"/>
                  <a:pt x="431" y="313"/>
                  <a:pt x="426" y="311"/>
                </a:cubicBezTo>
                <a:cubicBezTo>
                  <a:pt x="422" y="310"/>
                  <a:pt x="423" y="309"/>
                  <a:pt x="420" y="308"/>
                </a:cubicBezTo>
                <a:cubicBezTo>
                  <a:pt x="420" y="307"/>
                  <a:pt x="425" y="307"/>
                  <a:pt x="425" y="307"/>
                </a:cubicBezTo>
                <a:cubicBezTo>
                  <a:pt x="434" y="309"/>
                  <a:pt x="425" y="307"/>
                  <a:pt x="426" y="306"/>
                </a:cubicBezTo>
                <a:cubicBezTo>
                  <a:pt x="425" y="306"/>
                  <a:pt x="426" y="306"/>
                  <a:pt x="427" y="306"/>
                </a:cubicBezTo>
                <a:cubicBezTo>
                  <a:pt x="427" y="306"/>
                  <a:pt x="428" y="306"/>
                  <a:pt x="429" y="306"/>
                </a:cubicBezTo>
                <a:cubicBezTo>
                  <a:pt x="430" y="306"/>
                  <a:pt x="432" y="307"/>
                  <a:pt x="434" y="308"/>
                </a:cubicBezTo>
                <a:cubicBezTo>
                  <a:pt x="436" y="309"/>
                  <a:pt x="438" y="310"/>
                  <a:pt x="440" y="311"/>
                </a:cubicBezTo>
                <a:cubicBezTo>
                  <a:pt x="444" y="314"/>
                  <a:pt x="452" y="317"/>
                  <a:pt x="460" y="320"/>
                </a:cubicBezTo>
                <a:cubicBezTo>
                  <a:pt x="453" y="317"/>
                  <a:pt x="449" y="314"/>
                  <a:pt x="441" y="311"/>
                </a:cubicBezTo>
                <a:cubicBezTo>
                  <a:pt x="439" y="310"/>
                  <a:pt x="437" y="309"/>
                  <a:pt x="434" y="308"/>
                </a:cubicBezTo>
                <a:cubicBezTo>
                  <a:pt x="433" y="307"/>
                  <a:pt x="431" y="306"/>
                  <a:pt x="429" y="305"/>
                </a:cubicBezTo>
                <a:cubicBezTo>
                  <a:pt x="431" y="305"/>
                  <a:pt x="429" y="304"/>
                  <a:pt x="430" y="303"/>
                </a:cubicBezTo>
                <a:cubicBezTo>
                  <a:pt x="434" y="303"/>
                  <a:pt x="436" y="305"/>
                  <a:pt x="438" y="306"/>
                </a:cubicBezTo>
                <a:cubicBezTo>
                  <a:pt x="449" y="312"/>
                  <a:pt x="460" y="317"/>
                  <a:pt x="471" y="323"/>
                </a:cubicBezTo>
                <a:cubicBezTo>
                  <a:pt x="472" y="324"/>
                  <a:pt x="473" y="325"/>
                  <a:pt x="475" y="325"/>
                </a:cubicBezTo>
                <a:cubicBezTo>
                  <a:pt x="476" y="326"/>
                  <a:pt x="479" y="328"/>
                  <a:pt x="482" y="329"/>
                </a:cubicBezTo>
                <a:cubicBezTo>
                  <a:pt x="482" y="329"/>
                  <a:pt x="482" y="329"/>
                  <a:pt x="482" y="329"/>
                </a:cubicBezTo>
                <a:cubicBezTo>
                  <a:pt x="482" y="329"/>
                  <a:pt x="483" y="329"/>
                  <a:pt x="483" y="330"/>
                </a:cubicBezTo>
                <a:cubicBezTo>
                  <a:pt x="485" y="331"/>
                  <a:pt x="487" y="332"/>
                  <a:pt x="490" y="334"/>
                </a:cubicBezTo>
                <a:cubicBezTo>
                  <a:pt x="491" y="335"/>
                  <a:pt x="491" y="336"/>
                  <a:pt x="498" y="339"/>
                </a:cubicBezTo>
                <a:cubicBezTo>
                  <a:pt x="505" y="341"/>
                  <a:pt x="509" y="344"/>
                  <a:pt x="507" y="346"/>
                </a:cubicBezTo>
                <a:cubicBezTo>
                  <a:pt x="507" y="346"/>
                  <a:pt x="505" y="346"/>
                  <a:pt x="506" y="347"/>
                </a:cubicBezTo>
                <a:cubicBezTo>
                  <a:pt x="509" y="348"/>
                  <a:pt x="512" y="348"/>
                  <a:pt x="515" y="349"/>
                </a:cubicBezTo>
                <a:cubicBezTo>
                  <a:pt x="517" y="349"/>
                  <a:pt x="518" y="350"/>
                  <a:pt x="519" y="351"/>
                </a:cubicBezTo>
                <a:cubicBezTo>
                  <a:pt x="519" y="351"/>
                  <a:pt x="520" y="351"/>
                  <a:pt x="520" y="351"/>
                </a:cubicBezTo>
                <a:cubicBezTo>
                  <a:pt x="523" y="353"/>
                  <a:pt x="525" y="354"/>
                  <a:pt x="528" y="356"/>
                </a:cubicBezTo>
                <a:cubicBezTo>
                  <a:pt x="529" y="357"/>
                  <a:pt x="530" y="357"/>
                  <a:pt x="533" y="358"/>
                </a:cubicBezTo>
                <a:cubicBezTo>
                  <a:pt x="533" y="357"/>
                  <a:pt x="531" y="357"/>
                  <a:pt x="529" y="356"/>
                </a:cubicBezTo>
                <a:cubicBezTo>
                  <a:pt x="529" y="356"/>
                  <a:pt x="529" y="355"/>
                  <a:pt x="529" y="355"/>
                </a:cubicBezTo>
                <a:cubicBezTo>
                  <a:pt x="529" y="355"/>
                  <a:pt x="530" y="355"/>
                  <a:pt x="530" y="355"/>
                </a:cubicBezTo>
                <a:cubicBezTo>
                  <a:pt x="531" y="355"/>
                  <a:pt x="531" y="355"/>
                  <a:pt x="531" y="356"/>
                </a:cubicBezTo>
                <a:cubicBezTo>
                  <a:pt x="533" y="357"/>
                  <a:pt x="533" y="357"/>
                  <a:pt x="537" y="359"/>
                </a:cubicBezTo>
                <a:cubicBezTo>
                  <a:pt x="537" y="358"/>
                  <a:pt x="535" y="357"/>
                  <a:pt x="532" y="356"/>
                </a:cubicBezTo>
                <a:cubicBezTo>
                  <a:pt x="531" y="355"/>
                  <a:pt x="530" y="354"/>
                  <a:pt x="528" y="354"/>
                </a:cubicBezTo>
                <a:cubicBezTo>
                  <a:pt x="529" y="353"/>
                  <a:pt x="526" y="352"/>
                  <a:pt x="525" y="351"/>
                </a:cubicBezTo>
                <a:cubicBezTo>
                  <a:pt x="525" y="351"/>
                  <a:pt x="525" y="351"/>
                  <a:pt x="524" y="350"/>
                </a:cubicBezTo>
                <a:cubicBezTo>
                  <a:pt x="521" y="349"/>
                  <a:pt x="520" y="348"/>
                  <a:pt x="517" y="347"/>
                </a:cubicBezTo>
                <a:cubicBezTo>
                  <a:pt x="517" y="346"/>
                  <a:pt x="514" y="345"/>
                  <a:pt x="512" y="344"/>
                </a:cubicBezTo>
                <a:cubicBezTo>
                  <a:pt x="511" y="343"/>
                  <a:pt x="509" y="342"/>
                  <a:pt x="509" y="341"/>
                </a:cubicBezTo>
                <a:cubicBezTo>
                  <a:pt x="509" y="341"/>
                  <a:pt x="509" y="341"/>
                  <a:pt x="509" y="341"/>
                </a:cubicBezTo>
                <a:cubicBezTo>
                  <a:pt x="510" y="341"/>
                  <a:pt x="511" y="341"/>
                  <a:pt x="510" y="341"/>
                </a:cubicBezTo>
                <a:cubicBezTo>
                  <a:pt x="509" y="340"/>
                  <a:pt x="507" y="340"/>
                  <a:pt x="506" y="340"/>
                </a:cubicBezTo>
                <a:cubicBezTo>
                  <a:pt x="500" y="337"/>
                  <a:pt x="501" y="336"/>
                  <a:pt x="496" y="334"/>
                </a:cubicBezTo>
                <a:cubicBezTo>
                  <a:pt x="495" y="333"/>
                  <a:pt x="491" y="331"/>
                  <a:pt x="491" y="330"/>
                </a:cubicBezTo>
                <a:cubicBezTo>
                  <a:pt x="500" y="334"/>
                  <a:pt x="508" y="338"/>
                  <a:pt x="514" y="341"/>
                </a:cubicBezTo>
                <a:cubicBezTo>
                  <a:pt x="514" y="342"/>
                  <a:pt x="514" y="342"/>
                  <a:pt x="516" y="343"/>
                </a:cubicBezTo>
                <a:cubicBezTo>
                  <a:pt x="518" y="344"/>
                  <a:pt x="520" y="345"/>
                  <a:pt x="523" y="346"/>
                </a:cubicBezTo>
                <a:cubicBezTo>
                  <a:pt x="522" y="345"/>
                  <a:pt x="521" y="344"/>
                  <a:pt x="519" y="343"/>
                </a:cubicBezTo>
                <a:cubicBezTo>
                  <a:pt x="518" y="342"/>
                  <a:pt x="517" y="342"/>
                  <a:pt x="516" y="342"/>
                </a:cubicBezTo>
                <a:cubicBezTo>
                  <a:pt x="516" y="341"/>
                  <a:pt x="513" y="340"/>
                  <a:pt x="513" y="339"/>
                </a:cubicBezTo>
                <a:cubicBezTo>
                  <a:pt x="514" y="339"/>
                  <a:pt x="515" y="340"/>
                  <a:pt x="517" y="340"/>
                </a:cubicBezTo>
                <a:cubicBezTo>
                  <a:pt x="519" y="341"/>
                  <a:pt x="517" y="340"/>
                  <a:pt x="517" y="339"/>
                </a:cubicBezTo>
                <a:cubicBezTo>
                  <a:pt x="514" y="338"/>
                  <a:pt x="511" y="337"/>
                  <a:pt x="507" y="336"/>
                </a:cubicBezTo>
                <a:cubicBezTo>
                  <a:pt x="505" y="334"/>
                  <a:pt x="501" y="332"/>
                  <a:pt x="496" y="330"/>
                </a:cubicBezTo>
                <a:cubicBezTo>
                  <a:pt x="492" y="328"/>
                  <a:pt x="499" y="328"/>
                  <a:pt x="499" y="327"/>
                </a:cubicBezTo>
                <a:cubicBezTo>
                  <a:pt x="500" y="327"/>
                  <a:pt x="501" y="327"/>
                  <a:pt x="503" y="328"/>
                </a:cubicBezTo>
                <a:cubicBezTo>
                  <a:pt x="507" y="330"/>
                  <a:pt x="511" y="332"/>
                  <a:pt x="513" y="333"/>
                </a:cubicBezTo>
                <a:cubicBezTo>
                  <a:pt x="511" y="334"/>
                  <a:pt x="509" y="333"/>
                  <a:pt x="507" y="332"/>
                </a:cubicBezTo>
                <a:cubicBezTo>
                  <a:pt x="509" y="333"/>
                  <a:pt x="510" y="335"/>
                  <a:pt x="514" y="335"/>
                </a:cubicBezTo>
                <a:cubicBezTo>
                  <a:pt x="517" y="336"/>
                  <a:pt x="514" y="334"/>
                  <a:pt x="515" y="334"/>
                </a:cubicBezTo>
                <a:cubicBezTo>
                  <a:pt x="520" y="335"/>
                  <a:pt x="520" y="335"/>
                  <a:pt x="518" y="333"/>
                </a:cubicBezTo>
                <a:cubicBezTo>
                  <a:pt x="514" y="331"/>
                  <a:pt x="510" y="329"/>
                  <a:pt x="506" y="327"/>
                </a:cubicBezTo>
                <a:cubicBezTo>
                  <a:pt x="505" y="326"/>
                  <a:pt x="501" y="325"/>
                  <a:pt x="502" y="325"/>
                </a:cubicBezTo>
                <a:cubicBezTo>
                  <a:pt x="506" y="325"/>
                  <a:pt x="502" y="324"/>
                  <a:pt x="503" y="323"/>
                </a:cubicBezTo>
                <a:cubicBezTo>
                  <a:pt x="506" y="324"/>
                  <a:pt x="507" y="325"/>
                  <a:pt x="509" y="325"/>
                </a:cubicBezTo>
                <a:cubicBezTo>
                  <a:pt x="515" y="326"/>
                  <a:pt x="516" y="328"/>
                  <a:pt x="523" y="330"/>
                </a:cubicBezTo>
                <a:cubicBezTo>
                  <a:pt x="522" y="329"/>
                  <a:pt x="517" y="328"/>
                  <a:pt x="517" y="327"/>
                </a:cubicBezTo>
                <a:cubicBezTo>
                  <a:pt x="517" y="325"/>
                  <a:pt x="507" y="323"/>
                  <a:pt x="510" y="321"/>
                </a:cubicBezTo>
                <a:cubicBezTo>
                  <a:pt x="511" y="322"/>
                  <a:pt x="512" y="322"/>
                  <a:pt x="513" y="323"/>
                </a:cubicBezTo>
                <a:cubicBezTo>
                  <a:pt x="513" y="324"/>
                  <a:pt x="521" y="326"/>
                  <a:pt x="524" y="328"/>
                </a:cubicBezTo>
                <a:cubicBezTo>
                  <a:pt x="523" y="327"/>
                  <a:pt x="521" y="325"/>
                  <a:pt x="517" y="324"/>
                </a:cubicBezTo>
                <a:cubicBezTo>
                  <a:pt x="513" y="322"/>
                  <a:pt x="509" y="319"/>
                  <a:pt x="504" y="317"/>
                </a:cubicBezTo>
                <a:cubicBezTo>
                  <a:pt x="509" y="319"/>
                  <a:pt x="513" y="320"/>
                  <a:pt x="518" y="322"/>
                </a:cubicBezTo>
                <a:cubicBezTo>
                  <a:pt x="518" y="323"/>
                  <a:pt x="519" y="323"/>
                  <a:pt x="521" y="325"/>
                </a:cubicBezTo>
                <a:cubicBezTo>
                  <a:pt x="523" y="324"/>
                  <a:pt x="523" y="324"/>
                  <a:pt x="521" y="322"/>
                </a:cubicBezTo>
                <a:cubicBezTo>
                  <a:pt x="521" y="322"/>
                  <a:pt x="520" y="322"/>
                  <a:pt x="520" y="321"/>
                </a:cubicBezTo>
                <a:cubicBezTo>
                  <a:pt x="514" y="316"/>
                  <a:pt x="507" y="311"/>
                  <a:pt x="498" y="305"/>
                </a:cubicBezTo>
                <a:cubicBezTo>
                  <a:pt x="499" y="306"/>
                  <a:pt x="500" y="306"/>
                  <a:pt x="500" y="306"/>
                </a:cubicBezTo>
                <a:cubicBezTo>
                  <a:pt x="508" y="311"/>
                  <a:pt x="517" y="315"/>
                  <a:pt x="525" y="320"/>
                </a:cubicBezTo>
                <a:cubicBezTo>
                  <a:pt x="530" y="323"/>
                  <a:pt x="536" y="326"/>
                  <a:pt x="542" y="329"/>
                </a:cubicBezTo>
                <a:cubicBezTo>
                  <a:pt x="542" y="278"/>
                  <a:pt x="542" y="278"/>
                  <a:pt x="542" y="278"/>
                </a:cubicBezTo>
                <a:cubicBezTo>
                  <a:pt x="542" y="277"/>
                  <a:pt x="541" y="277"/>
                  <a:pt x="541" y="277"/>
                </a:cubicBezTo>
                <a:cubicBezTo>
                  <a:pt x="540" y="276"/>
                  <a:pt x="539" y="275"/>
                  <a:pt x="538" y="275"/>
                </a:cubicBezTo>
                <a:cubicBezTo>
                  <a:pt x="538" y="274"/>
                  <a:pt x="537" y="274"/>
                  <a:pt x="536" y="274"/>
                </a:cubicBezTo>
                <a:cubicBezTo>
                  <a:pt x="538" y="273"/>
                  <a:pt x="540" y="273"/>
                  <a:pt x="542" y="274"/>
                </a:cubicBezTo>
                <a:cubicBezTo>
                  <a:pt x="542" y="256"/>
                  <a:pt x="542" y="256"/>
                  <a:pt x="542" y="256"/>
                </a:cubicBezTo>
                <a:cubicBezTo>
                  <a:pt x="542" y="256"/>
                  <a:pt x="542" y="256"/>
                  <a:pt x="542" y="255"/>
                </a:cubicBezTo>
                <a:cubicBezTo>
                  <a:pt x="541" y="255"/>
                  <a:pt x="541" y="254"/>
                  <a:pt x="541" y="254"/>
                </a:cubicBezTo>
                <a:cubicBezTo>
                  <a:pt x="541" y="254"/>
                  <a:pt x="541" y="254"/>
                  <a:pt x="542" y="254"/>
                </a:cubicBezTo>
                <a:cubicBezTo>
                  <a:pt x="542" y="254"/>
                  <a:pt x="542" y="254"/>
                  <a:pt x="542" y="254"/>
                </a:cubicBezTo>
                <a:cubicBezTo>
                  <a:pt x="542" y="237"/>
                  <a:pt x="542" y="237"/>
                  <a:pt x="542" y="237"/>
                </a:cubicBezTo>
                <a:cubicBezTo>
                  <a:pt x="542" y="237"/>
                  <a:pt x="542" y="237"/>
                  <a:pt x="542" y="236"/>
                </a:cubicBezTo>
                <a:cubicBezTo>
                  <a:pt x="542" y="236"/>
                  <a:pt x="542" y="236"/>
                  <a:pt x="542" y="236"/>
                </a:cubicBezTo>
                <a:cubicBezTo>
                  <a:pt x="542" y="207"/>
                  <a:pt x="542" y="207"/>
                  <a:pt x="542" y="207"/>
                </a:cubicBezTo>
                <a:cubicBezTo>
                  <a:pt x="542" y="207"/>
                  <a:pt x="542" y="207"/>
                  <a:pt x="542" y="207"/>
                </a:cubicBezTo>
                <a:cubicBezTo>
                  <a:pt x="542" y="206"/>
                  <a:pt x="542" y="206"/>
                  <a:pt x="542" y="206"/>
                </a:cubicBezTo>
                <a:cubicBezTo>
                  <a:pt x="542" y="206"/>
                  <a:pt x="542" y="206"/>
                  <a:pt x="542" y="206"/>
                </a:cubicBezTo>
                <a:cubicBezTo>
                  <a:pt x="542" y="193"/>
                  <a:pt x="542" y="193"/>
                  <a:pt x="542" y="193"/>
                </a:cubicBezTo>
                <a:cubicBezTo>
                  <a:pt x="542" y="193"/>
                  <a:pt x="542" y="193"/>
                  <a:pt x="542" y="193"/>
                </a:cubicBezTo>
                <a:cubicBezTo>
                  <a:pt x="542" y="192"/>
                  <a:pt x="542" y="192"/>
                  <a:pt x="542" y="192"/>
                </a:cubicBezTo>
                <a:cubicBezTo>
                  <a:pt x="542" y="192"/>
                  <a:pt x="542" y="192"/>
                  <a:pt x="542" y="192"/>
                </a:cubicBezTo>
                <a:cubicBezTo>
                  <a:pt x="542" y="148"/>
                  <a:pt x="542" y="148"/>
                  <a:pt x="542" y="148"/>
                </a:cubicBezTo>
                <a:cubicBezTo>
                  <a:pt x="540" y="147"/>
                  <a:pt x="538" y="146"/>
                  <a:pt x="537" y="145"/>
                </a:cubicBezTo>
                <a:cubicBezTo>
                  <a:pt x="539" y="146"/>
                  <a:pt x="541" y="146"/>
                  <a:pt x="542" y="147"/>
                </a:cubicBezTo>
                <a:cubicBezTo>
                  <a:pt x="542" y="144"/>
                  <a:pt x="542" y="144"/>
                  <a:pt x="542" y="144"/>
                </a:cubicBezTo>
                <a:cubicBezTo>
                  <a:pt x="542" y="144"/>
                  <a:pt x="542" y="144"/>
                  <a:pt x="542" y="144"/>
                </a:cubicBezTo>
                <a:cubicBezTo>
                  <a:pt x="542" y="144"/>
                  <a:pt x="542" y="144"/>
                  <a:pt x="542" y="144"/>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6" name="Picture Placeholder 5"/>
          <p:cNvSpPr>
            <a:spLocks noGrp="1"/>
          </p:cNvSpPr>
          <p:nvPr>
            <p:ph type="pic" sz="quarter" idx="11"/>
          </p:nvPr>
        </p:nvSpPr>
        <p:spPr>
          <a:xfrm>
            <a:off x="5050970" y="0"/>
            <a:ext cx="7141030" cy="6858000"/>
          </a:xfrm>
        </p:spPr>
        <p:txBody>
          <a:bodyPr anchor="ctr">
            <a:normAutofit/>
          </a:bodyPr>
          <a:lstStyle>
            <a:lvl1pPr marL="0" indent="0" algn="ctr">
              <a:buNone/>
              <a:defRPr sz="1800"/>
            </a:lvl1pPr>
          </a:lstStyle>
          <a:p>
            <a:endParaRPr lang="en-US"/>
          </a:p>
        </p:txBody>
      </p:sp>
      <p:sp>
        <p:nvSpPr>
          <p:cNvPr id="2" name="Date Placeholder 1"/>
          <p:cNvSpPr>
            <a:spLocks noGrp="1"/>
          </p:cNvSpPr>
          <p:nvPr>
            <p:ph type="dt" sz="half" idx="10"/>
          </p:nvPr>
        </p:nvSpPr>
        <p:spPr/>
        <p:txBody>
          <a:bodyPr/>
          <a:lstStyle>
            <a:lvl1pPr>
              <a:defRPr>
                <a:solidFill>
                  <a:schemeClr val="tx1"/>
                </a:solidFill>
              </a:defRPr>
            </a:lvl1pPr>
          </a:lstStyle>
          <a:p>
            <a:fld id="{C9852138-FCC6-44DD-9FFC-1C789392E7AA}" type="datetime1">
              <a:rPr lang="en-US" smtClean="0"/>
              <a:t>10/28/2022</a:t>
            </a:fld>
            <a:endParaRPr lang="en-US"/>
          </a:p>
        </p:txBody>
      </p:sp>
      <p:sp>
        <p:nvSpPr>
          <p:cNvPr id="13" name="Rectangle 12"/>
          <p:cNvSpPr/>
          <p:nvPr userDrawn="1"/>
        </p:nvSpPr>
        <p:spPr>
          <a:xfrm>
            <a:off x="119063" y="0"/>
            <a:ext cx="571500" cy="55562"/>
          </a:xfrm>
          <a:prstGeom prst="rect">
            <a:avLst/>
          </a:prstGeom>
          <a:solidFill>
            <a:srgbClr val="E258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p:cNvSpPr/>
          <p:nvPr userDrawn="1"/>
        </p:nvSpPr>
        <p:spPr>
          <a:xfrm>
            <a:off x="762000" y="0"/>
            <a:ext cx="571500" cy="55562"/>
          </a:xfrm>
          <a:prstGeom prst="rect">
            <a:avLst/>
          </a:prstGeom>
          <a:solidFill>
            <a:srgbClr val="78D2D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p:cNvSpPr/>
          <p:nvPr userDrawn="1"/>
        </p:nvSpPr>
        <p:spPr>
          <a:xfrm>
            <a:off x="1404937" y="0"/>
            <a:ext cx="571500" cy="55562"/>
          </a:xfrm>
          <a:prstGeom prst="rect">
            <a:avLst/>
          </a:prstGeom>
          <a:solidFill>
            <a:srgbClr val="3B393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60442799"/>
      </p:ext>
    </p:extLst>
  </p:cSld>
  <p:clrMapOvr>
    <a:masterClrMapping/>
  </p:clrMapOvr>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3_Blank">
    <p:spTree>
      <p:nvGrpSpPr>
        <p:cNvPr id="1" name=""/>
        <p:cNvGrpSpPr/>
        <p:nvPr/>
      </p:nvGrpSpPr>
      <p:grpSpPr>
        <a:xfrm>
          <a:off x="0" y="0"/>
          <a:ext cx="0" cy="0"/>
          <a:chOff x="0" y="0"/>
          <a:chExt cx="0" cy="0"/>
        </a:xfrm>
      </p:grpSpPr>
      <p:sp>
        <p:nvSpPr>
          <p:cNvPr id="5" name="Freeform 4"/>
          <p:cNvSpPr>
            <a:spLocks/>
          </p:cNvSpPr>
          <p:nvPr userDrawn="1"/>
        </p:nvSpPr>
        <p:spPr bwMode="auto">
          <a:xfrm>
            <a:off x="0" y="-639708"/>
            <a:ext cx="12192001" cy="8099370"/>
          </a:xfrm>
          <a:custGeom>
            <a:avLst/>
            <a:gdLst>
              <a:gd name="T0" fmla="*/ 471 w 542"/>
              <a:gd name="T1" fmla="*/ 110 h 359"/>
              <a:gd name="T2" fmla="*/ 494 w 542"/>
              <a:gd name="T3" fmla="*/ 124 h 359"/>
              <a:gd name="T4" fmla="*/ 473 w 542"/>
              <a:gd name="T5" fmla="*/ 118 h 359"/>
              <a:gd name="T6" fmla="*/ 352 w 542"/>
              <a:gd name="T7" fmla="*/ 60 h 359"/>
              <a:gd name="T8" fmla="*/ 361 w 542"/>
              <a:gd name="T9" fmla="*/ 68 h 359"/>
              <a:gd name="T10" fmla="*/ 315 w 542"/>
              <a:gd name="T11" fmla="*/ 52 h 359"/>
              <a:gd name="T12" fmla="*/ 341 w 542"/>
              <a:gd name="T13" fmla="*/ 68 h 359"/>
              <a:gd name="T14" fmla="*/ 369 w 542"/>
              <a:gd name="T15" fmla="*/ 86 h 359"/>
              <a:gd name="T16" fmla="*/ 325 w 542"/>
              <a:gd name="T17" fmla="*/ 66 h 359"/>
              <a:gd name="T18" fmla="*/ 304 w 542"/>
              <a:gd name="T19" fmla="*/ 63 h 359"/>
              <a:gd name="T20" fmla="*/ 254 w 542"/>
              <a:gd name="T21" fmla="*/ 49 h 359"/>
              <a:gd name="T22" fmla="*/ 302 w 542"/>
              <a:gd name="T23" fmla="*/ 75 h 359"/>
              <a:gd name="T24" fmla="*/ 245 w 542"/>
              <a:gd name="T25" fmla="*/ 49 h 359"/>
              <a:gd name="T26" fmla="*/ 240 w 542"/>
              <a:gd name="T27" fmla="*/ 54 h 359"/>
              <a:gd name="T28" fmla="*/ 217 w 542"/>
              <a:gd name="T29" fmla="*/ 54 h 359"/>
              <a:gd name="T30" fmla="*/ 215 w 542"/>
              <a:gd name="T31" fmla="*/ 65 h 359"/>
              <a:gd name="T32" fmla="*/ 211 w 542"/>
              <a:gd name="T33" fmla="*/ 69 h 359"/>
              <a:gd name="T34" fmla="*/ 270 w 542"/>
              <a:gd name="T35" fmla="*/ 101 h 359"/>
              <a:gd name="T36" fmla="*/ 242 w 542"/>
              <a:gd name="T37" fmla="*/ 92 h 359"/>
              <a:gd name="T38" fmla="*/ 149 w 542"/>
              <a:gd name="T39" fmla="*/ 52 h 359"/>
              <a:gd name="T40" fmla="*/ 101 w 542"/>
              <a:gd name="T41" fmla="*/ 27 h 359"/>
              <a:gd name="T42" fmla="*/ 123 w 542"/>
              <a:gd name="T43" fmla="*/ 42 h 359"/>
              <a:gd name="T44" fmla="*/ 159 w 542"/>
              <a:gd name="T45" fmla="*/ 62 h 359"/>
              <a:gd name="T46" fmla="*/ 118 w 542"/>
              <a:gd name="T47" fmla="*/ 46 h 359"/>
              <a:gd name="T48" fmla="*/ 108 w 542"/>
              <a:gd name="T49" fmla="*/ 52 h 359"/>
              <a:gd name="T50" fmla="*/ 14 w 542"/>
              <a:gd name="T51" fmla="*/ 2 h 359"/>
              <a:gd name="T52" fmla="*/ 36 w 542"/>
              <a:gd name="T53" fmla="*/ 19 h 359"/>
              <a:gd name="T54" fmla="*/ 35 w 542"/>
              <a:gd name="T55" fmla="*/ 27 h 359"/>
              <a:gd name="T56" fmla="*/ 21 w 542"/>
              <a:gd name="T57" fmla="*/ 35 h 359"/>
              <a:gd name="T58" fmla="*/ 0 w 542"/>
              <a:gd name="T59" fmla="*/ 108 h 359"/>
              <a:gd name="T60" fmla="*/ 3 w 542"/>
              <a:gd name="T61" fmla="*/ 221 h 359"/>
              <a:gd name="T62" fmla="*/ 75 w 542"/>
              <a:gd name="T63" fmla="*/ 257 h 359"/>
              <a:gd name="T64" fmla="*/ 99 w 542"/>
              <a:gd name="T65" fmla="*/ 264 h 359"/>
              <a:gd name="T66" fmla="*/ 28 w 542"/>
              <a:gd name="T67" fmla="*/ 229 h 359"/>
              <a:gd name="T68" fmla="*/ 169 w 542"/>
              <a:gd name="T69" fmla="*/ 290 h 359"/>
              <a:gd name="T70" fmla="*/ 204 w 542"/>
              <a:gd name="T71" fmla="*/ 306 h 359"/>
              <a:gd name="T72" fmla="*/ 218 w 542"/>
              <a:gd name="T73" fmla="*/ 308 h 359"/>
              <a:gd name="T74" fmla="*/ 208 w 542"/>
              <a:gd name="T75" fmla="*/ 294 h 359"/>
              <a:gd name="T76" fmla="*/ 150 w 542"/>
              <a:gd name="T77" fmla="*/ 267 h 359"/>
              <a:gd name="T78" fmla="*/ 226 w 542"/>
              <a:gd name="T79" fmla="*/ 299 h 359"/>
              <a:gd name="T80" fmla="*/ 250 w 542"/>
              <a:gd name="T81" fmla="*/ 305 h 359"/>
              <a:gd name="T82" fmla="*/ 275 w 542"/>
              <a:gd name="T83" fmla="*/ 305 h 359"/>
              <a:gd name="T84" fmla="*/ 242 w 542"/>
              <a:gd name="T85" fmla="*/ 287 h 359"/>
              <a:gd name="T86" fmla="*/ 263 w 542"/>
              <a:gd name="T87" fmla="*/ 294 h 359"/>
              <a:gd name="T88" fmla="*/ 307 w 542"/>
              <a:gd name="T89" fmla="*/ 304 h 359"/>
              <a:gd name="T90" fmla="*/ 317 w 542"/>
              <a:gd name="T91" fmla="*/ 302 h 359"/>
              <a:gd name="T92" fmla="*/ 328 w 542"/>
              <a:gd name="T93" fmla="*/ 298 h 359"/>
              <a:gd name="T94" fmla="*/ 344 w 542"/>
              <a:gd name="T95" fmla="*/ 299 h 359"/>
              <a:gd name="T96" fmla="*/ 277 w 542"/>
              <a:gd name="T97" fmla="*/ 263 h 359"/>
              <a:gd name="T98" fmla="*/ 293 w 542"/>
              <a:gd name="T99" fmla="*/ 267 h 359"/>
              <a:gd name="T100" fmla="*/ 380 w 542"/>
              <a:gd name="T101" fmla="*/ 302 h 359"/>
              <a:gd name="T102" fmla="*/ 448 w 542"/>
              <a:gd name="T103" fmla="*/ 334 h 359"/>
              <a:gd name="T104" fmla="*/ 414 w 542"/>
              <a:gd name="T105" fmla="*/ 314 h 359"/>
              <a:gd name="T106" fmla="*/ 385 w 542"/>
              <a:gd name="T107" fmla="*/ 303 h 359"/>
              <a:gd name="T108" fmla="*/ 396 w 542"/>
              <a:gd name="T109" fmla="*/ 300 h 359"/>
              <a:gd name="T110" fmla="*/ 460 w 542"/>
              <a:gd name="T111" fmla="*/ 320 h 359"/>
              <a:gd name="T112" fmla="*/ 519 w 542"/>
              <a:gd name="T113" fmla="*/ 351 h 359"/>
              <a:gd name="T114" fmla="*/ 509 w 542"/>
              <a:gd name="T115" fmla="*/ 341 h 359"/>
              <a:gd name="T116" fmla="*/ 503 w 542"/>
              <a:gd name="T117" fmla="*/ 328 h 359"/>
              <a:gd name="T118" fmla="*/ 504 w 542"/>
              <a:gd name="T119" fmla="*/ 317 h 359"/>
              <a:gd name="T120" fmla="*/ 541 w 542"/>
              <a:gd name="T121" fmla="*/ 254 h 359"/>
              <a:gd name="T122" fmla="*/ 542 w 542"/>
              <a:gd name="T123" fmla="*/ 147 h 3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42" h="359">
                <a:moveTo>
                  <a:pt x="542" y="144"/>
                </a:moveTo>
                <a:cubicBezTo>
                  <a:pt x="542" y="139"/>
                  <a:pt x="542" y="139"/>
                  <a:pt x="542" y="139"/>
                </a:cubicBezTo>
                <a:cubicBezTo>
                  <a:pt x="537" y="139"/>
                  <a:pt x="537" y="139"/>
                  <a:pt x="537" y="139"/>
                </a:cubicBezTo>
                <a:cubicBezTo>
                  <a:pt x="529" y="135"/>
                  <a:pt x="522" y="131"/>
                  <a:pt x="514" y="127"/>
                </a:cubicBezTo>
                <a:cubicBezTo>
                  <a:pt x="500" y="120"/>
                  <a:pt x="485" y="114"/>
                  <a:pt x="472" y="106"/>
                </a:cubicBezTo>
                <a:cubicBezTo>
                  <a:pt x="472" y="106"/>
                  <a:pt x="472" y="106"/>
                  <a:pt x="472" y="106"/>
                </a:cubicBezTo>
                <a:cubicBezTo>
                  <a:pt x="470" y="105"/>
                  <a:pt x="469" y="104"/>
                  <a:pt x="466" y="104"/>
                </a:cubicBezTo>
                <a:cubicBezTo>
                  <a:pt x="464" y="103"/>
                  <a:pt x="463" y="102"/>
                  <a:pt x="461" y="101"/>
                </a:cubicBezTo>
                <a:cubicBezTo>
                  <a:pt x="462" y="102"/>
                  <a:pt x="465" y="104"/>
                  <a:pt x="465" y="104"/>
                </a:cubicBezTo>
                <a:cubicBezTo>
                  <a:pt x="466" y="105"/>
                  <a:pt x="467" y="105"/>
                  <a:pt x="467" y="105"/>
                </a:cubicBezTo>
                <a:cubicBezTo>
                  <a:pt x="468" y="106"/>
                  <a:pt x="470" y="107"/>
                  <a:pt x="470" y="107"/>
                </a:cubicBezTo>
                <a:cubicBezTo>
                  <a:pt x="468" y="107"/>
                  <a:pt x="472" y="108"/>
                  <a:pt x="471" y="109"/>
                </a:cubicBezTo>
                <a:cubicBezTo>
                  <a:pt x="470" y="109"/>
                  <a:pt x="469" y="108"/>
                  <a:pt x="469" y="108"/>
                </a:cubicBezTo>
                <a:cubicBezTo>
                  <a:pt x="469" y="109"/>
                  <a:pt x="471" y="109"/>
                  <a:pt x="472" y="110"/>
                </a:cubicBezTo>
                <a:cubicBezTo>
                  <a:pt x="473" y="110"/>
                  <a:pt x="475" y="111"/>
                  <a:pt x="475" y="112"/>
                </a:cubicBezTo>
                <a:cubicBezTo>
                  <a:pt x="474" y="111"/>
                  <a:pt x="472" y="110"/>
                  <a:pt x="471" y="110"/>
                </a:cubicBezTo>
                <a:cubicBezTo>
                  <a:pt x="471" y="110"/>
                  <a:pt x="470" y="110"/>
                  <a:pt x="470" y="110"/>
                </a:cubicBezTo>
                <a:cubicBezTo>
                  <a:pt x="472" y="111"/>
                  <a:pt x="473" y="111"/>
                  <a:pt x="475" y="112"/>
                </a:cubicBezTo>
                <a:cubicBezTo>
                  <a:pt x="476" y="113"/>
                  <a:pt x="477" y="113"/>
                  <a:pt x="479" y="114"/>
                </a:cubicBezTo>
                <a:cubicBezTo>
                  <a:pt x="479" y="114"/>
                  <a:pt x="479" y="115"/>
                  <a:pt x="478" y="115"/>
                </a:cubicBezTo>
                <a:cubicBezTo>
                  <a:pt x="476" y="114"/>
                  <a:pt x="474" y="112"/>
                  <a:pt x="472" y="111"/>
                </a:cubicBezTo>
                <a:cubicBezTo>
                  <a:pt x="468" y="109"/>
                  <a:pt x="463" y="107"/>
                  <a:pt x="458" y="105"/>
                </a:cubicBezTo>
                <a:cubicBezTo>
                  <a:pt x="458" y="105"/>
                  <a:pt x="457" y="105"/>
                  <a:pt x="457" y="104"/>
                </a:cubicBezTo>
                <a:cubicBezTo>
                  <a:pt x="456" y="104"/>
                  <a:pt x="454" y="103"/>
                  <a:pt x="453" y="102"/>
                </a:cubicBezTo>
                <a:cubicBezTo>
                  <a:pt x="452" y="102"/>
                  <a:pt x="451" y="101"/>
                  <a:pt x="449" y="101"/>
                </a:cubicBezTo>
                <a:cubicBezTo>
                  <a:pt x="447" y="100"/>
                  <a:pt x="446" y="99"/>
                  <a:pt x="443" y="98"/>
                </a:cubicBezTo>
                <a:cubicBezTo>
                  <a:pt x="443" y="99"/>
                  <a:pt x="445" y="100"/>
                  <a:pt x="448" y="101"/>
                </a:cubicBezTo>
                <a:cubicBezTo>
                  <a:pt x="452" y="104"/>
                  <a:pt x="456" y="106"/>
                  <a:pt x="460" y="106"/>
                </a:cubicBezTo>
                <a:cubicBezTo>
                  <a:pt x="465" y="109"/>
                  <a:pt x="469" y="111"/>
                  <a:pt x="474" y="113"/>
                </a:cubicBezTo>
                <a:cubicBezTo>
                  <a:pt x="477" y="115"/>
                  <a:pt x="481" y="116"/>
                  <a:pt x="484" y="118"/>
                </a:cubicBezTo>
                <a:cubicBezTo>
                  <a:pt x="486" y="119"/>
                  <a:pt x="488" y="120"/>
                  <a:pt x="490" y="121"/>
                </a:cubicBezTo>
                <a:cubicBezTo>
                  <a:pt x="491" y="122"/>
                  <a:pt x="493" y="123"/>
                  <a:pt x="494" y="124"/>
                </a:cubicBezTo>
                <a:cubicBezTo>
                  <a:pt x="492" y="123"/>
                  <a:pt x="491" y="122"/>
                  <a:pt x="489" y="121"/>
                </a:cubicBezTo>
                <a:cubicBezTo>
                  <a:pt x="489" y="121"/>
                  <a:pt x="488" y="121"/>
                  <a:pt x="487" y="121"/>
                </a:cubicBezTo>
                <a:cubicBezTo>
                  <a:pt x="487" y="121"/>
                  <a:pt x="487" y="121"/>
                  <a:pt x="487" y="121"/>
                </a:cubicBezTo>
                <a:cubicBezTo>
                  <a:pt x="487" y="121"/>
                  <a:pt x="489" y="122"/>
                  <a:pt x="491" y="123"/>
                </a:cubicBezTo>
                <a:cubicBezTo>
                  <a:pt x="491" y="123"/>
                  <a:pt x="492" y="124"/>
                  <a:pt x="492" y="124"/>
                </a:cubicBezTo>
                <a:cubicBezTo>
                  <a:pt x="494" y="125"/>
                  <a:pt x="495" y="125"/>
                  <a:pt x="496" y="126"/>
                </a:cubicBezTo>
                <a:cubicBezTo>
                  <a:pt x="498" y="126"/>
                  <a:pt x="499" y="127"/>
                  <a:pt x="501" y="127"/>
                </a:cubicBezTo>
                <a:cubicBezTo>
                  <a:pt x="501" y="127"/>
                  <a:pt x="501" y="128"/>
                  <a:pt x="501" y="128"/>
                </a:cubicBezTo>
                <a:cubicBezTo>
                  <a:pt x="503" y="130"/>
                  <a:pt x="504" y="131"/>
                  <a:pt x="507" y="131"/>
                </a:cubicBezTo>
                <a:cubicBezTo>
                  <a:pt x="510" y="132"/>
                  <a:pt x="511" y="133"/>
                  <a:pt x="514" y="134"/>
                </a:cubicBezTo>
                <a:cubicBezTo>
                  <a:pt x="514" y="135"/>
                  <a:pt x="513" y="135"/>
                  <a:pt x="510" y="135"/>
                </a:cubicBezTo>
                <a:cubicBezTo>
                  <a:pt x="512" y="136"/>
                  <a:pt x="514" y="136"/>
                  <a:pt x="515" y="137"/>
                </a:cubicBezTo>
                <a:cubicBezTo>
                  <a:pt x="515" y="137"/>
                  <a:pt x="515" y="137"/>
                  <a:pt x="515" y="137"/>
                </a:cubicBezTo>
                <a:cubicBezTo>
                  <a:pt x="505" y="133"/>
                  <a:pt x="494" y="128"/>
                  <a:pt x="485" y="123"/>
                </a:cubicBezTo>
                <a:cubicBezTo>
                  <a:pt x="484" y="123"/>
                  <a:pt x="483" y="123"/>
                  <a:pt x="482" y="122"/>
                </a:cubicBezTo>
                <a:cubicBezTo>
                  <a:pt x="479" y="121"/>
                  <a:pt x="476" y="119"/>
                  <a:pt x="473" y="118"/>
                </a:cubicBezTo>
                <a:cubicBezTo>
                  <a:pt x="472" y="117"/>
                  <a:pt x="471" y="117"/>
                  <a:pt x="471" y="117"/>
                </a:cubicBezTo>
                <a:cubicBezTo>
                  <a:pt x="470" y="117"/>
                  <a:pt x="469" y="117"/>
                  <a:pt x="468" y="117"/>
                </a:cubicBezTo>
                <a:cubicBezTo>
                  <a:pt x="455" y="110"/>
                  <a:pt x="444" y="104"/>
                  <a:pt x="430" y="97"/>
                </a:cubicBezTo>
                <a:cubicBezTo>
                  <a:pt x="430" y="96"/>
                  <a:pt x="428" y="95"/>
                  <a:pt x="426" y="94"/>
                </a:cubicBezTo>
                <a:cubicBezTo>
                  <a:pt x="425" y="94"/>
                  <a:pt x="425" y="93"/>
                  <a:pt x="421" y="92"/>
                </a:cubicBezTo>
                <a:cubicBezTo>
                  <a:pt x="421" y="92"/>
                  <a:pt x="418" y="92"/>
                  <a:pt x="417" y="91"/>
                </a:cubicBezTo>
                <a:cubicBezTo>
                  <a:pt x="412" y="89"/>
                  <a:pt x="409" y="87"/>
                  <a:pt x="403" y="84"/>
                </a:cubicBezTo>
                <a:cubicBezTo>
                  <a:pt x="405" y="86"/>
                  <a:pt x="409" y="87"/>
                  <a:pt x="409" y="89"/>
                </a:cubicBezTo>
                <a:cubicBezTo>
                  <a:pt x="399" y="84"/>
                  <a:pt x="390" y="80"/>
                  <a:pt x="382" y="76"/>
                </a:cubicBezTo>
                <a:cubicBezTo>
                  <a:pt x="380" y="74"/>
                  <a:pt x="378" y="73"/>
                  <a:pt x="374" y="72"/>
                </a:cubicBezTo>
                <a:cubicBezTo>
                  <a:pt x="374" y="72"/>
                  <a:pt x="373" y="71"/>
                  <a:pt x="373" y="71"/>
                </a:cubicBezTo>
                <a:cubicBezTo>
                  <a:pt x="371" y="69"/>
                  <a:pt x="366" y="68"/>
                  <a:pt x="364" y="66"/>
                </a:cubicBezTo>
                <a:cubicBezTo>
                  <a:pt x="363" y="66"/>
                  <a:pt x="363" y="66"/>
                  <a:pt x="363" y="66"/>
                </a:cubicBezTo>
                <a:cubicBezTo>
                  <a:pt x="363" y="66"/>
                  <a:pt x="363" y="66"/>
                  <a:pt x="363" y="66"/>
                </a:cubicBezTo>
                <a:cubicBezTo>
                  <a:pt x="363" y="66"/>
                  <a:pt x="363" y="66"/>
                  <a:pt x="364" y="66"/>
                </a:cubicBezTo>
                <a:cubicBezTo>
                  <a:pt x="361" y="64"/>
                  <a:pt x="356" y="62"/>
                  <a:pt x="352" y="60"/>
                </a:cubicBezTo>
                <a:cubicBezTo>
                  <a:pt x="347" y="57"/>
                  <a:pt x="342" y="54"/>
                  <a:pt x="340" y="52"/>
                </a:cubicBezTo>
                <a:cubicBezTo>
                  <a:pt x="339" y="52"/>
                  <a:pt x="338" y="51"/>
                  <a:pt x="338" y="51"/>
                </a:cubicBezTo>
                <a:cubicBezTo>
                  <a:pt x="334" y="49"/>
                  <a:pt x="328" y="46"/>
                  <a:pt x="324" y="44"/>
                </a:cubicBezTo>
                <a:cubicBezTo>
                  <a:pt x="323" y="43"/>
                  <a:pt x="321" y="42"/>
                  <a:pt x="318" y="42"/>
                </a:cubicBezTo>
                <a:cubicBezTo>
                  <a:pt x="317" y="41"/>
                  <a:pt x="316" y="41"/>
                  <a:pt x="314" y="40"/>
                </a:cubicBezTo>
                <a:cubicBezTo>
                  <a:pt x="314" y="40"/>
                  <a:pt x="313" y="40"/>
                  <a:pt x="313" y="40"/>
                </a:cubicBezTo>
                <a:cubicBezTo>
                  <a:pt x="313" y="40"/>
                  <a:pt x="313" y="40"/>
                  <a:pt x="313" y="40"/>
                </a:cubicBezTo>
                <a:cubicBezTo>
                  <a:pt x="316" y="42"/>
                  <a:pt x="321" y="45"/>
                  <a:pt x="326" y="47"/>
                </a:cubicBezTo>
                <a:cubicBezTo>
                  <a:pt x="328" y="48"/>
                  <a:pt x="331" y="49"/>
                  <a:pt x="331" y="50"/>
                </a:cubicBezTo>
                <a:cubicBezTo>
                  <a:pt x="338" y="52"/>
                  <a:pt x="333" y="53"/>
                  <a:pt x="338" y="54"/>
                </a:cubicBezTo>
                <a:cubicBezTo>
                  <a:pt x="338" y="54"/>
                  <a:pt x="338" y="54"/>
                  <a:pt x="338" y="54"/>
                </a:cubicBezTo>
                <a:cubicBezTo>
                  <a:pt x="339" y="55"/>
                  <a:pt x="339" y="56"/>
                  <a:pt x="342" y="57"/>
                </a:cubicBezTo>
                <a:cubicBezTo>
                  <a:pt x="345" y="59"/>
                  <a:pt x="349" y="60"/>
                  <a:pt x="351" y="62"/>
                </a:cubicBezTo>
                <a:cubicBezTo>
                  <a:pt x="353" y="63"/>
                  <a:pt x="354" y="63"/>
                  <a:pt x="356" y="63"/>
                </a:cubicBezTo>
                <a:cubicBezTo>
                  <a:pt x="356" y="64"/>
                  <a:pt x="354" y="64"/>
                  <a:pt x="357" y="65"/>
                </a:cubicBezTo>
                <a:cubicBezTo>
                  <a:pt x="357" y="66"/>
                  <a:pt x="361" y="67"/>
                  <a:pt x="361" y="68"/>
                </a:cubicBezTo>
                <a:cubicBezTo>
                  <a:pt x="361" y="68"/>
                  <a:pt x="360" y="68"/>
                  <a:pt x="360" y="68"/>
                </a:cubicBezTo>
                <a:cubicBezTo>
                  <a:pt x="358" y="67"/>
                  <a:pt x="359" y="68"/>
                  <a:pt x="359" y="69"/>
                </a:cubicBezTo>
                <a:cubicBezTo>
                  <a:pt x="355" y="68"/>
                  <a:pt x="352" y="66"/>
                  <a:pt x="352" y="66"/>
                </a:cubicBezTo>
                <a:cubicBezTo>
                  <a:pt x="352" y="64"/>
                  <a:pt x="350" y="63"/>
                  <a:pt x="346" y="62"/>
                </a:cubicBezTo>
                <a:cubicBezTo>
                  <a:pt x="344" y="62"/>
                  <a:pt x="342" y="61"/>
                  <a:pt x="341" y="60"/>
                </a:cubicBezTo>
                <a:cubicBezTo>
                  <a:pt x="340" y="59"/>
                  <a:pt x="338" y="58"/>
                  <a:pt x="336" y="58"/>
                </a:cubicBezTo>
                <a:cubicBezTo>
                  <a:pt x="336" y="58"/>
                  <a:pt x="336" y="58"/>
                  <a:pt x="335" y="58"/>
                </a:cubicBezTo>
                <a:cubicBezTo>
                  <a:pt x="332" y="56"/>
                  <a:pt x="328" y="54"/>
                  <a:pt x="324" y="53"/>
                </a:cubicBezTo>
                <a:cubicBezTo>
                  <a:pt x="324" y="53"/>
                  <a:pt x="324" y="53"/>
                  <a:pt x="324" y="53"/>
                </a:cubicBezTo>
                <a:cubicBezTo>
                  <a:pt x="324" y="53"/>
                  <a:pt x="324" y="53"/>
                  <a:pt x="324" y="53"/>
                </a:cubicBezTo>
                <a:cubicBezTo>
                  <a:pt x="324" y="53"/>
                  <a:pt x="324" y="53"/>
                  <a:pt x="324" y="53"/>
                </a:cubicBezTo>
                <a:cubicBezTo>
                  <a:pt x="322" y="51"/>
                  <a:pt x="319" y="50"/>
                  <a:pt x="317" y="49"/>
                </a:cubicBezTo>
                <a:cubicBezTo>
                  <a:pt x="313" y="48"/>
                  <a:pt x="310" y="46"/>
                  <a:pt x="306" y="44"/>
                </a:cubicBezTo>
                <a:cubicBezTo>
                  <a:pt x="307" y="46"/>
                  <a:pt x="317" y="49"/>
                  <a:pt x="315" y="51"/>
                </a:cubicBezTo>
                <a:cubicBezTo>
                  <a:pt x="314" y="50"/>
                  <a:pt x="314" y="51"/>
                  <a:pt x="314" y="52"/>
                </a:cubicBezTo>
                <a:cubicBezTo>
                  <a:pt x="314" y="52"/>
                  <a:pt x="314" y="52"/>
                  <a:pt x="315" y="52"/>
                </a:cubicBezTo>
                <a:cubicBezTo>
                  <a:pt x="317" y="53"/>
                  <a:pt x="319" y="53"/>
                  <a:pt x="322" y="54"/>
                </a:cubicBezTo>
                <a:cubicBezTo>
                  <a:pt x="322" y="55"/>
                  <a:pt x="323" y="55"/>
                  <a:pt x="324" y="55"/>
                </a:cubicBezTo>
                <a:cubicBezTo>
                  <a:pt x="325" y="56"/>
                  <a:pt x="326" y="56"/>
                  <a:pt x="326" y="57"/>
                </a:cubicBezTo>
                <a:cubicBezTo>
                  <a:pt x="332" y="59"/>
                  <a:pt x="336" y="62"/>
                  <a:pt x="340" y="65"/>
                </a:cubicBezTo>
                <a:cubicBezTo>
                  <a:pt x="338" y="65"/>
                  <a:pt x="336" y="63"/>
                  <a:pt x="334" y="63"/>
                </a:cubicBezTo>
                <a:cubicBezTo>
                  <a:pt x="334" y="64"/>
                  <a:pt x="338" y="65"/>
                  <a:pt x="339" y="66"/>
                </a:cubicBezTo>
                <a:cubicBezTo>
                  <a:pt x="339" y="66"/>
                  <a:pt x="339" y="66"/>
                  <a:pt x="338" y="66"/>
                </a:cubicBezTo>
                <a:cubicBezTo>
                  <a:pt x="338" y="66"/>
                  <a:pt x="338" y="66"/>
                  <a:pt x="338" y="66"/>
                </a:cubicBezTo>
                <a:cubicBezTo>
                  <a:pt x="338" y="66"/>
                  <a:pt x="338" y="67"/>
                  <a:pt x="337" y="66"/>
                </a:cubicBezTo>
                <a:cubicBezTo>
                  <a:pt x="334" y="65"/>
                  <a:pt x="333" y="65"/>
                  <a:pt x="332" y="65"/>
                </a:cubicBezTo>
                <a:cubicBezTo>
                  <a:pt x="331" y="65"/>
                  <a:pt x="333" y="66"/>
                  <a:pt x="334" y="67"/>
                </a:cubicBezTo>
                <a:cubicBezTo>
                  <a:pt x="337" y="68"/>
                  <a:pt x="340" y="69"/>
                  <a:pt x="341" y="70"/>
                </a:cubicBezTo>
                <a:cubicBezTo>
                  <a:pt x="343" y="72"/>
                  <a:pt x="345" y="72"/>
                  <a:pt x="347" y="72"/>
                </a:cubicBezTo>
                <a:cubicBezTo>
                  <a:pt x="349" y="73"/>
                  <a:pt x="351" y="74"/>
                  <a:pt x="355" y="76"/>
                </a:cubicBezTo>
                <a:cubicBezTo>
                  <a:pt x="353" y="74"/>
                  <a:pt x="351" y="73"/>
                  <a:pt x="347" y="72"/>
                </a:cubicBezTo>
                <a:cubicBezTo>
                  <a:pt x="345" y="71"/>
                  <a:pt x="343" y="70"/>
                  <a:pt x="341" y="68"/>
                </a:cubicBezTo>
                <a:cubicBezTo>
                  <a:pt x="339" y="68"/>
                  <a:pt x="339" y="67"/>
                  <a:pt x="341" y="67"/>
                </a:cubicBezTo>
                <a:cubicBezTo>
                  <a:pt x="343" y="68"/>
                  <a:pt x="346" y="69"/>
                  <a:pt x="347" y="68"/>
                </a:cubicBezTo>
                <a:cubicBezTo>
                  <a:pt x="347" y="69"/>
                  <a:pt x="348" y="69"/>
                  <a:pt x="349" y="69"/>
                </a:cubicBezTo>
                <a:cubicBezTo>
                  <a:pt x="349" y="70"/>
                  <a:pt x="351" y="71"/>
                  <a:pt x="353" y="72"/>
                </a:cubicBezTo>
                <a:cubicBezTo>
                  <a:pt x="359" y="75"/>
                  <a:pt x="364" y="78"/>
                  <a:pt x="370" y="81"/>
                </a:cubicBezTo>
                <a:cubicBezTo>
                  <a:pt x="373" y="83"/>
                  <a:pt x="375" y="84"/>
                  <a:pt x="380" y="86"/>
                </a:cubicBezTo>
                <a:cubicBezTo>
                  <a:pt x="382" y="88"/>
                  <a:pt x="388" y="90"/>
                  <a:pt x="390" y="92"/>
                </a:cubicBezTo>
                <a:cubicBezTo>
                  <a:pt x="391" y="93"/>
                  <a:pt x="393" y="94"/>
                  <a:pt x="394" y="95"/>
                </a:cubicBezTo>
                <a:cubicBezTo>
                  <a:pt x="395" y="96"/>
                  <a:pt x="396" y="96"/>
                  <a:pt x="396" y="97"/>
                </a:cubicBezTo>
                <a:cubicBezTo>
                  <a:pt x="397" y="97"/>
                  <a:pt x="397" y="98"/>
                  <a:pt x="398" y="98"/>
                </a:cubicBezTo>
                <a:cubicBezTo>
                  <a:pt x="396" y="97"/>
                  <a:pt x="394" y="96"/>
                  <a:pt x="392" y="95"/>
                </a:cubicBezTo>
                <a:cubicBezTo>
                  <a:pt x="390" y="95"/>
                  <a:pt x="390" y="94"/>
                  <a:pt x="388" y="94"/>
                </a:cubicBezTo>
                <a:cubicBezTo>
                  <a:pt x="387" y="93"/>
                  <a:pt x="385" y="92"/>
                  <a:pt x="384" y="92"/>
                </a:cubicBezTo>
                <a:cubicBezTo>
                  <a:pt x="384" y="92"/>
                  <a:pt x="384" y="93"/>
                  <a:pt x="383" y="93"/>
                </a:cubicBezTo>
                <a:cubicBezTo>
                  <a:pt x="380" y="91"/>
                  <a:pt x="378" y="90"/>
                  <a:pt x="374" y="88"/>
                </a:cubicBezTo>
                <a:cubicBezTo>
                  <a:pt x="372" y="87"/>
                  <a:pt x="370" y="87"/>
                  <a:pt x="369" y="86"/>
                </a:cubicBezTo>
                <a:cubicBezTo>
                  <a:pt x="369" y="86"/>
                  <a:pt x="370" y="85"/>
                  <a:pt x="369" y="85"/>
                </a:cubicBezTo>
                <a:cubicBezTo>
                  <a:pt x="367" y="84"/>
                  <a:pt x="367" y="85"/>
                  <a:pt x="367" y="85"/>
                </a:cubicBezTo>
                <a:cubicBezTo>
                  <a:pt x="365" y="84"/>
                  <a:pt x="364" y="83"/>
                  <a:pt x="362" y="83"/>
                </a:cubicBezTo>
                <a:cubicBezTo>
                  <a:pt x="362" y="83"/>
                  <a:pt x="362" y="83"/>
                  <a:pt x="362" y="83"/>
                </a:cubicBezTo>
                <a:cubicBezTo>
                  <a:pt x="356" y="78"/>
                  <a:pt x="346" y="74"/>
                  <a:pt x="338" y="70"/>
                </a:cubicBezTo>
                <a:cubicBezTo>
                  <a:pt x="334" y="67"/>
                  <a:pt x="330" y="65"/>
                  <a:pt x="326" y="63"/>
                </a:cubicBezTo>
                <a:cubicBezTo>
                  <a:pt x="324" y="61"/>
                  <a:pt x="321" y="60"/>
                  <a:pt x="318" y="59"/>
                </a:cubicBezTo>
                <a:cubicBezTo>
                  <a:pt x="317" y="58"/>
                  <a:pt x="317" y="57"/>
                  <a:pt x="314" y="57"/>
                </a:cubicBezTo>
                <a:cubicBezTo>
                  <a:pt x="309" y="56"/>
                  <a:pt x="312" y="57"/>
                  <a:pt x="312" y="58"/>
                </a:cubicBezTo>
                <a:cubicBezTo>
                  <a:pt x="311" y="57"/>
                  <a:pt x="310" y="57"/>
                  <a:pt x="308" y="56"/>
                </a:cubicBezTo>
                <a:cubicBezTo>
                  <a:pt x="310" y="58"/>
                  <a:pt x="313" y="60"/>
                  <a:pt x="316" y="61"/>
                </a:cubicBezTo>
                <a:cubicBezTo>
                  <a:pt x="315" y="61"/>
                  <a:pt x="314" y="62"/>
                  <a:pt x="316" y="62"/>
                </a:cubicBezTo>
                <a:cubicBezTo>
                  <a:pt x="319" y="64"/>
                  <a:pt x="321" y="65"/>
                  <a:pt x="325" y="66"/>
                </a:cubicBezTo>
                <a:cubicBezTo>
                  <a:pt x="325" y="66"/>
                  <a:pt x="325" y="66"/>
                  <a:pt x="325" y="67"/>
                </a:cubicBezTo>
                <a:cubicBezTo>
                  <a:pt x="325" y="67"/>
                  <a:pt x="325" y="67"/>
                  <a:pt x="325" y="67"/>
                </a:cubicBezTo>
                <a:cubicBezTo>
                  <a:pt x="325" y="67"/>
                  <a:pt x="325" y="66"/>
                  <a:pt x="325" y="66"/>
                </a:cubicBezTo>
                <a:cubicBezTo>
                  <a:pt x="325" y="67"/>
                  <a:pt x="322" y="67"/>
                  <a:pt x="327" y="68"/>
                </a:cubicBezTo>
                <a:cubicBezTo>
                  <a:pt x="328" y="69"/>
                  <a:pt x="330" y="70"/>
                  <a:pt x="328" y="70"/>
                </a:cubicBezTo>
                <a:cubicBezTo>
                  <a:pt x="328" y="70"/>
                  <a:pt x="328" y="70"/>
                  <a:pt x="328" y="70"/>
                </a:cubicBezTo>
                <a:cubicBezTo>
                  <a:pt x="328" y="70"/>
                  <a:pt x="328" y="70"/>
                  <a:pt x="328" y="70"/>
                </a:cubicBezTo>
                <a:cubicBezTo>
                  <a:pt x="328" y="70"/>
                  <a:pt x="328" y="70"/>
                  <a:pt x="328" y="70"/>
                </a:cubicBezTo>
                <a:cubicBezTo>
                  <a:pt x="323" y="67"/>
                  <a:pt x="319" y="65"/>
                  <a:pt x="312" y="62"/>
                </a:cubicBezTo>
                <a:cubicBezTo>
                  <a:pt x="311" y="62"/>
                  <a:pt x="310" y="61"/>
                  <a:pt x="309" y="60"/>
                </a:cubicBezTo>
                <a:cubicBezTo>
                  <a:pt x="306" y="60"/>
                  <a:pt x="310" y="62"/>
                  <a:pt x="310" y="62"/>
                </a:cubicBezTo>
                <a:cubicBezTo>
                  <a:pt x="309" y="62"/>
                  <a:pt x="308" y="62"/>
                  <a:pt x="307" y="62"/>
                </a:cubicBezTo>
                <a:cubicBezTo>
                  <a:pt x="303" y="61"/>
                  <a:pt x="301" y="59"/>
                  <a:pt x="298" y="58"/>
                </a:cubicBezTo>
                <a:cubicBezTo>
                  <a:pt x="296" y="57"/>
                  <a:pt x="294" y="55"/>
                  <a:pt x="292" y="55"/>
                </a:cubicBezTo>
                <a:cubicBezTo>
                  <a:pt x="289" y="55"/>
                  <a:pt x="295" y="57"/>
                  <a:pt x="296" y="58"/>
                </a:cubicBezTo>
                <a:cubicBezTo>
                  <a:pt x="296" y="58"/>
                  <a:pt x="296" y="58"/>
                  <a:pt x="296" y="58"/>
                </a:cubicBezTo>
                <a:cubicBezTo>
                  <a:pt x="296" y="58"/>
                  <a:pt x="296" y="58"/>
                  <a:pt x="296" y="58"/>
                </a:cubicBezTo>
                <a:cubicBezTo>
                  <a:pt x="295" y="58"/>
                  <a:pt x="295" y="58"/>
                  <a:pt x="294" y="58"/>
                </a:cubicBezTo>
                <a:cubicBezTo>
                  <a:pt x="297" y="60"/>
                  <a:pt x="302" y="61"/>
                  <a:pt x="304" y="63"/>
                </a:cubicBezTo>
                <a:cubicBezTo>
                  <a:pt x="305" y="63"/>
                  <a:pt x="305" y="64"/>
                  <a:pt x="306" y="64"/>
                </a:cubicBezTo>
                <a:cubicBezTo>
                  <a:pt x="306" y="64"/>
                  <a:pt x="305" y="64"/>
                  <a:pt x="304" y="64"/>
                </a:cubicBezTo>
                <a:cubicBezTo>
                  <a:pt x="304" y="65"/>
                  <a:pt x="304" y="65"/>
                  <a:pt x="305" y="66"/>
                </a:cubicBezTo>
                <a:cubicBezTo>
                  <a:pt x="311" y="69"/>
                  <a:pt x="311" y="69"/>
                  <a:pt x="305" y="69"/>
                </a:cubicBezTo>
                <a:cubicBezTo>
                  <a:pt x="305" y="69"/>
                  <a:pt x="305" y="69"/>
                  <a:pt x="305" y="69"/>
                </a:cubicBezTo>
                <a:cubicBezTo>
                  <a:pt x="305" y="69"/>
                  <a:pt x="305" y="69"/>
                  <a:pt x="305" y="69"/>
                </a:cubicBezTo>
                <a:cubicBezTo>
                  <a:pt x="305" y="69"/>
                  <a:pt x="305" y="69"/>
                  <a:pt x="305" y="69"/>
                </a:cubicBezTo>
                <a:cubicBezTo>
                  <a:pt x="303" y="69"/>
                  <a:pt x="303" y="67"/>
                  <a:pt x="300" y="67"/>
                </a:cubicBezTo>
                <a:cubicBezTo>
                  <a:pt x="298" y="68"/>
                  <a:pt x="301" y="69"/>
                  <a:pt x="302" y="69"/>
                </a:cubicBezTo>
                <a:cubicBezTo>
                  <a:pt x="303" y="70"/>
                  <a:pt x="303" y="71"/>
                  <a:pt x="301" y="70"/>
                </a:cubicBezTo>
                <a:cubicBezTo>
                  <a:pt x="295" y="68"/>
                  <a:pt x="289" y="67"/>
                  <a:pt x="284" y="64"/>
                </a:cubicBezTo>
                <a:cubicBezTo>
                  <a:pt x="284" y="64"/>
                  <a:pt x="283" y="63"/>
                  <a:pt x="284" y="63"/>
                </a:cubicBezTo>
                <a:cubicBezTo>
                  <a:pt x="284" y="63"/>
                  <a:pt x="286" y="64"/>
                  <a:pt x="287" y="64"/>
                </a:cubicBezTo>
                <a:cubicBezTo>
                  <a:pt x="282" y="61"/>
                  <a:pt x="272" y="58"/>
                  <a:pt x="267" y="55"/>
                </a:cubicBezTo>
                <a:cubicBezTo>
                  <a:pt x="265" y="54"/>
                  <a:pt x="262" y="52"/>
                  <a:pt x="258" y="50"/>
                </a:cubicBezTo>
                <a:cubicBezTo>
                  <a:pt x="257" y="50"/>
                  <a:pt x="256" y="49"/>
                  <a:pt x="254" y="49"/>
                </a:cubicBezTo>
                <a:cubicBezTo>
                  <a:pt x="252" y="49"/>
                  <a:pt x="253" y="50"/>
                  <a:pt x="255" y="50"/>
                </a:cubicBezTo>
                <a:cubicBezTo>
                  <a:pt x="259" y="52"/>
                  <a:pt x="255" y="52"/>
                  <a:pt x="255" y="52"/>
                </a:cubicBezTo>
                <a:cubicBezTo>
                  <a:pt x="254" y="52"/>
                  <a:pt x="253" y="52"/>
                  <a:pt x="253" y="52"/>
                </a:cubicBezTo>
                <a:cubicBezTo>
                  <a:pt x="255" y="53"/>
                  <a:pt x="255" y="54"/>
                  <a:pt x="260" y="55"/>
                </a:cubicBezTo>
                <a:cubicBezTo>
                  <a:pt x="261" y="54"/>
                  <a:pt x="259" y="53"/>
                  <a:pt x="259" y="53"/>
                </a:cubicBezTo>
                <a:cubicBezTo>
                  <a:pt x="262" y="54"/>
                  <a:pt x="262" y="55"/>
                  <a:pt x="264" y="55"/>
                </a:cubicBezTo>
                <a:cubicBezTo>
                  <a:pt x="269" y="57"/>
                  <a:pt x="269" y="59"/>
                  <a:pt x="274" y="61"/>
                </a:cubicBezTo>
                <a:cubicBezTo>
                  <a:pt x="276" y="62"/>
                  <a:pt x="278" y="63"/>
                  <a:pt x="280" y="64"/>
                </a:cubicBezTo>
                <a:cubicBezTo>
                  <a:pt x="280" y="64"/>
                  <a:pt x="279" y="65"/>
                  <a:pt x="280" y="66"/>
                </a:cubicBezTo>
                <a:cubicBezTo>
                  <a:pt x="282" y="67"/>
                  <a:pt x="284" y="68"/>
                  <a:pt x="286" y="69"/>
                </a:cubicBezTo>
                <a:cubicBezTo>
                  <a:pt x="286" y="69"/>
                  <a:pt x="287" y="69"/>
                  <a:pt x="287" y="69"/>
                </a:cubicBezTo>
                <a:cubicBezTo>
                  <a:pt x="285" y="68"/>
                  <a:pt x="283" y="67"/>
                  <a:pt x="281" y="66"/>
                </a:cubicBezTo>
                <a:cubicBezTo>
                  <a:pt x="286" y="66"/>
                  <a:pt x="287" y="68"/>
                  <a:pt x="290" y="69"/>
                </a:cubicBezTo>
                <a:cubicBezTo>
                  <a:pt x="291" y="71"/>
                  <a:pt x="297" y="73"/>
                  <a:pt x="300" y="74"/>
                </a:cubicBezTo>
                <a:cubicBezTo>
                  <a:pt x="300" y="75"/>
                  <a:pt x="301" y="75"/>
                  <a:pt x="302" y="75"/>
                </a:cubicBezTo>
                <a:cubicBezTo>
                  <a:pt x="302" y="75"/>
                  <a:pt x="302" y="75"/>
                  <a:pt x="302" y="75"/>
                </a:cubicBezTo>
                <a:cubicBezTo>
                  <a:pt x="302" y="75"/>
                  <a:pt x="302" y="75"/>
                  <a:pt x="302" y="75"/>
                </a:cubicBezTo>
                <a:cubicBezTo>
                  <a:pt x="302" y="75"/>
                  <a:pt x="302" y="75"/>
                  <a:pt x="302" y="75"/>
                </a:cubicBezTo>
                <a:cubicBezTo>
                  <a:pt x="306" y="77"/>
                  <a:pt x="308" y="79"/>
                  <a:pt x="313" y="80"/>
                </a:cubicBezTo>
                <a:cubicBezTo>
                  <a:pt x="313" y="80"/>
                  <a:pt x="313" y="80"/>
                  <a:pt x="313" y="80"/>
                </a:cubicBezTo>
                <a:cubicBezTo>
                  <a:pt x="313" y="80"/>
                  <a:pt x="313" y="80"/>
                  <a:pt x="313" y="80"/>
                </a:cubicBezTo>
                <a:cubicBezTo>
                  <a:pt x="314" y="81"/>
                  <a:pt x="316" y="82"/>
                  <a:pt x="318" y="83"/>
                </a:cubicBezTo>
                <a:cubicBezTo>
                  <a:pt x="319" y="84"/>
                  <a:pt x="322" y="85"/>
                  <a:pt x="325" y="86"/>
                </a:cubicBezTo>
                <a:cubicBezTo>
                  <a:pt x="327" y="87"/>
                  <a:pt x="328" y="88"/>
                  <a:pt x="330" y="89"/>
                </a:cubicBezTo>
                <a:cubicBezTo>
                  <a:pt x="330" y="89"/>
                  <a:pt x="330" y="90"/>
                  <a:pt x="330" y="90"/>
                </a:cubicBezTo>
                <a:cubicBezTo>
                  <a:pt x="332" y="91"/>
                  <a:pt x="335" y="92"/>
                  <a:pt x="334" y="93"/>
                </a:cubicBezTo>
                <a:cubicBezTo>
                  <a:pt x="328" y="90"/>
                  <a:pt x="324" y="88"/>
                  <a:pt x="317" y="85"/>
                </a:cubicBezTo>
                <a:cubicBezTo>
                  <a:pt x="306" y="80"/>
                  <a:pt x="296" y="74"/>
                  <a:pt x="285" y="69"/>
                </a:cubicBezTo>
                <a:cubicBezTo>
                  <a:pt x="284" y="68"/>
                  <a:pt x="282" y="68"/>
                  <a:pt x="281" y="67"/>
                </a:cubicBezTo>
                <a:cubicBezTo>
                  <a:pt x="280" y="67"/>
                  <a:pt x="280" y="67"/>
                  <a:pt x="279" y="66"/>
                </a:cubicBezTo>
                <a:cubicBezTo>
                  <a:pt x="273" y="64"/>
                  <a:pt x="268" y="61"/>
                  <a:pt x="262" y="58"/>
                </a:cubicBezTo>
                <a:cubicBezTo>
                  <a:pt x="256" y="55"/>
                  <a:pt x="249" y="52"/>
                  <a:pt x="245" y="49"/>
                </a:cubicBezTo>
                <a:cubicBezTo>
                  <a:pt x="244" y="48"/>
                  <a:pt x="241" y="47"/>
                  <a:pt x="239" y="45"/>
                </a:cubicBezTo>
                <a:cubicBezTo>
                  <a:pt x="240" y="46"/>
                  <a:pt x="241" y="46"/>
                  <a:pt x="242" y="46"/>
                </a:cubicBezTo>
                <a:cubicBezTo>
                  <a:pt x="242" y="45"/>
                  <a:pt x="240" y="45"/>
                  <a:pt x="238" y="44"/>
                </a:cubicBezTo>
                <a:cubicBezTo>
                  <a:pt x="237" y="44"/>
                  <a:pt x="238" y="45"/>
                  <a:pt x="238" y="45"/>
                </a:cubicBezTo>
                <a:cubicBezTo>
                  <a:pt x="237" y="45"/>
                  <a:pt x="236" y="44"/>
                  <a:pt x="233" y="44"/>
                </a:cubicBezTo>
                <a:cubicBezTo>
                  <a:pt x="238" y="46"/>
                  <a:pt x="239" y="47"/>
                  <a:pt x="243" y="49"/>
                </a:cubicBezTo>
                <a:cubicBezTo>
                  <a:pt x="245" y="50"/>
                  <a:pt x="246" y="51"/>
                  <a:pt x="248" y="52"/>
                </a:cubicBezTo>
                <a:cubicBezTo>
                  <a:pt x="252" y="55"/>
                  <a:pt x="258" y="58"/>
                  <a:pt x="262" y="60"/>
                </a:cubicBezTo>
                <a:cubicBezTo>
                  <a:pt x="261" y="60"/>
                  <a:pt x="262" y="61"/>
                  <a:pt x="262" y="61"/>
                </a:cubicBezTo>
                <a:cubicBezTo>
                  <a:pt x="263" y="62"/>
                  <a:pt x="263" y="63"/>
                  <a:pt x="262" y="63"/>
                </a:cubicBezTo>
                <a:cubicBezTo>
                  <a:pt x="260" y="63"/>
                  <a:pt x="258" y="62"/>
                  <a:pt x="257" y="61"/>
                </a:cubicBezTo>
                <a:cubicBezTo>
                  <a:pt x="254" y="60"/>
                  <a:pt x="250" y="59"/>
                  <a:pt x="246" y="57"/>
                </a:cubicBezTo>
                <a:cubicBezTo>
                  <a:pt x="242" y="56"/>
                  <a:pt x="240" y="56"/>
                  <a:pt x="238" y="57"/>
                </a:cubicBezTo>
                <a:cubicBezTo>
                  <a:pt x="238" y="57"/>
                  <a:pt x="236" y="57"/>
                  <a:pt x="235" y="56"/>
                </a:cubicBezTo>
                <a:cubicBezTo>
                  <a:pt x="234" y="55"/>
                  <a:pt x="234" y="55"/>
                  <a:pt x="236" y="55"/>
                </a:cubicBezTo>
                <a:cubicBezTo>
                  <a:pt x="239" y="56"/>
                  <a:pt x="238" y="54"/>
                  <a:pt x="240" y="54"/>
                </a:cubicBezTo>
                <a:cubicBezTo>
                  <a:pt x="236" y="53"/>
                  <a:pt x="232" y="52"/>
                  <a:pt x="228" y="50"/>
                </a:cubicBezTo>
                <a:cubicBezTo>
                  <a:pt x="229" y="52"/>
                  <a:pt x="230" y="52"/>
                  <a:pt x="230" y="53"/>
                </a:cubicBezTo>
                <a:cubicBezTo>
                  <a:pt x="228" y="53"/>
                  <a:pt x="223" y="51"/>
                  <a:pt x="224" y="53"/>
                </a:cubicBezTo>
                <a:cubicBezTo>
                  <a:pt x="225" y="55"/>
                  <a:pt x="225" y="55"/>
                  <a:pt x="221" y="55"/>
                </a:cubicBezTo>
                <a:cubicBezTo>
                  <a:pt x="225" y="57"/>
                  <a:pt x="228" y="58"/>
                  <a:pt x="232" y="59"/>
                </a:cubicBezTo>
                <a:cubicBezTo>
                  <a:pt x="232" y="59"/>
                  <a:pt x="233" y="59"/>
                  <a:pt x="233" y="59"/>
                </a:cubicBezTo>
                <a:cubicBezTo>
                  <a:pt x="233" y="59"/>
                  <a:pt x="233" y="60"/>
                  <a:pt x="232" y="60"/>
                </a:cubicBezTo>
                <a:cubicBezTo>
                  <a:pt x="230" y="60"/>
                  <a:pt x="232" y="60"/>
                  <a:pt x="233" y="61"/>
                </a:cubicBezTo>
                <a:cubicBezTo>
                  <a:pt x="234" y="61"/>
                  <a:pt x="234" y="61"/>
                  <a:pt x="234" y="61"/>
                </a:cubicBezTo>
                <a:cubicBezTo>
                  <a:pt x="234" y="61"/>
                  <a:pt x="234" y="62"/>
                  <a:pt x="236" y="62"/>
                </a:cubicBezTo>
                <a:cubicBezTo>
                  <a:pt x="238" y="63"/>
                  <a:pt x="238" y="64"/>
                  <a:pt x="236" y="64"/>
                </a:cubicBezTo>
                <a:cubicBezTo>
                  <a:pt x="235" y="64"/>
                  <a:pt x="238" y="65"/>
                  <a:pt x="238" y="65"/>
                </a:cubicBezTo>
                <a:cubicBezTo>
                  <a:pt x="236" y="65"/>
                  <a:pt x="235" y="64"/>
                  <a:pt x="234" y="63"/>
                </a:cubicBezTo>
                <a:cubicBezTo>
                  <a:pt x="232" y="62"/>
                  <a:pt x="228" y="60"/>
                  <a:pt x="225" y="58"/>
                </a:cubicBezTo>
                <a:cubicBezTo>
                  <a:pt x="224" y="58"/>
                  <a:pt x="222" y="57"/>
                  <a:pt x="220" y="56"/>
                </a:cubicBezTo>
                <a:cubicBezTo>
                  <a:pt x="219" y="55"/>
                  <a:pt x="218" y="55"/>
                  <a:pt x="217" y="54"/>
                </a:cubicBezTo>
                <a:cubicBezTo>
                  <a:pt x="216" y="54"/>
                  <a:pt x="215" y="53"/>
                  <a:pt x="215" y="53"/>
                </a:cubicBezTo>
                <a:cubicBezTo>
                  <a:pt x="215" y="53"/>
                  <a:pt x="214" y="52"/>
                  <a:pt x="213" y="52"/>
                </a:cubicBezTo>
                <a:cubicBezTo>
                  <a:pt x="212" y="53"/>
                  <a:pt x="211" y="52"/>
                  <a:pt x="210" y="52"/>
                </a:cubicBezTo>
                <a:cubicBezTo>
                  <a:pt x="210" y="52"/>
                  <a:pt x="211" y="52"/>
                  <a:pt x="212" y="53"/>
                </a:cubicBezTo>
                <a:cubicBezTo>
                  <a:pt x="213" y="53"/>
                  <a:pt x="214" y="54"/>
                  <a:pt x="216" y="54"/>
                </a:cubicBezTo>
                <a:cubicBezTo>
                  <a:pt x="221" y="57"/>
                  <a:pt x="225" y="60"/>
                  <a:pt x="233" y="63"/>
                </a:cubicBezTo>
                <a:cubicBezTo>
                  <a:pt x="237" y="67"/>
                  <a:pt x="244" y="70"/>
                  <a:pt x="250" y="73"/>
                </a:cubicBezTo>
                <a:cubicBezTo>
                  <a:pt x="253" y="74"/>
                  <a:pt x="255" y="76"/>
                  <a:pt x="258" y="77"/>
                </a:cubicBezTo>
                <a:cubicBezTo>
                  <a:pt x="259" y="79"/>
                  <a:pt x="263" y="80"/>
                  <a:pt x="266" y="82"/>
                </a:cubicBezTo>
                <a:cubicBezTo>
                  <a:pt x="262" y="81"/>
                  <a:pt x="258" y="81"/>
                  <a:pt x="253" y="79"/>
                </a:cubicBezTo>
                <a:cubicBezTo>
                  <a:pt x="248" y="77"/>
                  <a:pt x="243" y="75"/>
                  <a:pt x="239" y="73"/>
                </a:cubicBezTo>
                <a:cubicBezTo>
                  <a:pt x="233" y="69"/>
                  <a:pt x="228" y="66"/>
                  <a:pt x="220" y="63"/>
                </a:cubicBezTo>
                <a:cubicBezTo>
                  <a:pt x="217" y="61"/>
                  <a:pt x="212" y="60"/>
                  <a:pt x="208" y="59"/>
                </a:cubicBezTo>
                <a:cubicBezTo>
                  <a:pt x="207" y="60"/>
                  <a:pt x="211" y="62"/>
                  <a:pt x="214" y="63"/>
                </a:cubicBezTo>
                <a:cubicBezTo>
                  <a:pt x="216" y="63"/>
                  <a:pt x="219" y="64"/>
                  <a:pt x="219" y="65"/>
                </a:cubicBezTo>
                <a:cubicBezTo>
                  <a:pt x="219" y="65"/>
                  <a:pt x="217" y="65"/>
                  <a:pt x="215" y="65"/>
                </a:cubicBezTo>
                <a:cubicBezTo>
                  <a:pt x="214" y="65"/>
                  <a:pt x="212" y="64"/>
                  <a:pt x="211" y="65"/>
                </a:cubicBezTo>
                <a:cubicBezTo>
                  <a:pt x="211" y="64"/>
                  <a:pt x="210" y="64"/>
                  <a:pt x="209" y="63"/>
                </a:cubicBezTo>
                <a:cubicBezTo>
                  <a:pt x="209" y="63"/>
                  <a:pt x="209" y="63"/>
                  <a:pt x="209" y="62"/>
                </a:cubicBezTo>
                <a:cubicBezTo>
                  <a:pt x="209" y="62"/>
                  <a:pt x="209" y="62"/>
                  <a:pt x="209" y="62"/>
                </a:cubicBezTo>
                <a:cubicBezTo>
                  <a:pt x="210" y="63"/>
                  <a:pt x="212" y="64"/>
                  <a:pt x="212" y="63"/>
                </a:cubicBezTo>
                <a:cubicBezTo>
                  <a:pt x="212" y="63"/>
                  <a:pt x="212" y="62"/>
                  <a:pt x="208" y="61"/>
                </a:cubicBezTo>
                <a:cubicBezTo>
                  <a:pt x="208" y="61"/>
                  <a:pt x="207" y="61"/>
                  <a:pt x="207" y="61"/>
                </a:cubicBezTo>
                <a:cubicBezTo>
                  <a:pt x="205" y="60"/>
                  <a:pt x="203" y="59"/>
                  <a:pt x="201" y="58"/>
                </a:cubicBezTo>
                <a:cubicBezTo>
                  <a:pt x="201" y="58"/>
                  <a:pt x="200" y="58"/>
                  <a:pt x="200" y="58"/>
                </a:cubicBezTo>
                <a:cubicBezTo>
                  <a:pt x="202" y="59"/>
                  <a:pt x="204" y="60"/>
                  <a:pt x="206" y="61"/>
                </a:cubicBezTo>
                <a:cubicBezTo>
                  <a:pt x="207" y="62"/>
                  <a:pt x="207" y="62"/>
                  <a:pt x="205" y="62"/>
                </a:cubicBezTo>
                <a:cubicBezTo>
                  <a:pt x="203" y="62"/>
                  <a:pt x="202" y="62"/>
                  <a:pt x="201" y="62"/>
                </a:cubicBezTo>
                <a:cubicBezTo>
                  <a:pt x="200" y="61"/>
                  <a:pt x="199" y="60"/>
                  <a:pt x="195" y="59"/>
                </a:cubicBezTo>
                <a:cubicBezTo>
                  <a:pt x="196" y="60"/>
                  <a:pt x="197" y="61"/>
                  <a:pt x="198" y="62"/>
                </a:cubicBezTo>
                <a:cubicBezTo>
                  <a:pt x="199" y="64"/>
                  <a:pt x="203" y="65"/>
                  <a:pt x="207" y="67"/>
                </a:cubicBezTo>
                <a:cubicBezTo>
                  <a:pt x="208" y="68"/>
                  <a:pt x="209" y="68"/>
                  <a:pt x="211" y="69"/>
                </a:cubicBezTo>
                <a:cubicBezTo>
                  <a:pt x="211" y="69"/>
                  <a:pt x="211" y="69"/>
                  <a:pt x="212" y="70"/>
                </a:cubicBezTo>
                <a:cubicBezTo>
                  <a:pt x="212" y="70"/>
                  <a:pt x="213" y="71"/>
                  <a:pt x="215" y="71"/>
                </a:cubicBezTo>
                <a:cubicBezTo>
                  <a:pt x="216" y="72"/>
                  <a:pt x="217" y="72"/>
                  <a:pt x="217" y="72"/>
                </a:cubicBezTo>
                <a:cubicBezTo>
                  <a:pt x="215" y="73"/>
                  <a:pt x="219" y="74"/>
                  <a:pt x="218" y="75"/>
                </a:cubicBezTo>
                <a:cubicBezTo>
                  <a:pt x="217" y="74"/>
                  <a:pt x="213" y="73"/>
                  <a:pt x="213" y="74"/>
                </a:cubicBezTo>
                <a:cubicBezTo>
                  <a:pt x="212" y="74"/>
                  <a:pt x="214" y="75"/>
                  <a:pt x="216" y="76"/>
                </a:cubicBezTo>
                <a:cubicBezTo>
                  <a:pt x="218" y="77"/>
                  <a:pt x="219" y="77"/>
                  <a:pt x="220" y="78"/>
                </a:cubicBezTo>
                <a:cubicBezTo>
                  <a:pt x="221" y="80"/>
                  <a:pt x="224" y="82"/>
                  <a:pt x="231" y="83"/>
                </a:cubicBezTo>
                <a:cubicBezTo>
                  <a:pt x="232" y="85"/>
                  <a:pt x="238" y="87"/>
                  <a:pt x="241" y="88"/>
                </a:cubicBezTo>
                <a:cubicBezTo>
                  <a:pt x="246" y="91"/>
                  <a:pt x="252" y="94"/>
                  <a:pt x="258" y="97"/>
                </a:cubicBezTo>
                <a:cubicBezTo>
                  <a:pt x="259" y="98"/>
                  <a:pt x="261" y="99"/>
                  <a:pt x="266" y="101"/>
                </a:cubicBezTo>
                <a:cubicBezTo>
                  <a:pt x="264" y="99"/>
                  <a:pt x="261" y="98"/>
                  <a:pt x="259" y="97"/>
                </a:cubicBezTo>
                <a:cubicBezTo>
                  <a:pt x="257" y="96"/>
                  <a:pt x="256" y="95"/>
                  <a:pt x="254" y="94"/>
                </a:cubicBezTo>
                <a:cubicBezTo>
                  <a:pt x="260" y="96"/>
                  <a:pt x="261" y="98"/>
                  <a:pt x="265" y="99"/>
                </a:cubicBezTo>
                <a:cubicBezTo>
                  <a:pt x="267" y="100"/>
                  <a:pt x="269" y="101"/>
                  <a:pt x="270" y="101"/>
                </a:cubicBezTo>
                <a:cubicBezTo>
                  <a:pt x="270" y="101"/>
                  <a:pt x="270" y="101"/>
                  <a:pt x="270" y="101"/>
                </a:cubicBezTo>
                <a:cubicBezTo>
                  <a:pt x="270" y="102"/>
                  <a:pt x="270" y="102"/>
                  <a:pt x="272" y="103"/>
                </a:cubicBezTo>
                <a:cubicBezTo>
                  <a:pt x="274" y="104"/>
                  <a:pt x="274" y="103"/>
                  <a:pt x="274" y="103"/>
                </a:cubicBezTo>
                <a:cubicBezTo>
                  <a:pt x="277" y="104"/>
                  <a:pt x="280" y="105"/>
                  <a:pt x="282" y="107"/>
                </a:cubicBezTo>
                <a:cubicBezTo>
                  <a:pt x="282" y="107"/>
                  <a:pt x="281" y="107"/>
                  <a:pt x="280" y="106"/>
                </a:cubicBezTo>
                <a:cubicBezTo>
                  <a:pt x="279" y="106"/>
                  <a:pt x="278" y="105"/>
                  <a:pt x="277" y="106"/>
                </a:cubicBezTo>
                <a:cubicBezTo>
                  <a:pt x="273" y="105"/>
                  <a:pt x="270" y="104"/>
                  <a:pt x="269" y="102"/>
                </a:cubicBezTo>
                <a:cubicBezTo>
                  <a:pt x="268" y="102"/>
                  <a:pt x="267" y="101"/>
                  <a:pt x="266" y="101"/>
                </a:cubicBezTo>
                <a:cubicBezTo>
                  <a:pt x="265" y="101"/>
                  <a:pt x="266" y="102"/>
                  <a:pt x="267" y="102"/>
                </a:cubicBezTo>
                <a:cubicBezTo>
                  <a:pt x="266" y="102"/>
                  <a:pt x="265" y="102"/>
                  <a:pt x="265" y="102"/>
                </a:cubicBezTo>
                <a:cubicBezTo>
                  <a:pt x="264" y="102"/>
                  <a:pt x="263" y="101"/>
                  <a:pt x="262" y="101"/>
                </a:cubicBezTo>
                <a:cubicBezTo>
                  <a:pt x="257" y="99"/>
                  <a:pt x="253" y="96"/>
                  <a:pt x="248" y="94"/>
                </a:cubicBezTo>
                <a:cubicBezTo>
                  <a:pt x="248" y="94"/>
                  <a:pt x="248" y="94"/>
                  <a:pt x="248" y="95"/>
                </a:cubicBezTo>
                <a:cubicBezTo>
                  <a:pt x="248" y="95"/>
                  <a:pt x="249" y="95"/>
                  <a:pt x="249" y="95"/>
                </a:cubicBezTo>
                <a:cubicBezTo>
                  <a:pt x="249" y="95"/>
                  <a:pt x="249" y="95"/>
                  <a:pt x="249" y="95"/>
                </a:cubicBezTo>
                <a:cubicBezTo>
                  <a:pt x="249" y="95"/>
                  <a:pt x="249" y="95"/>
                  <a:pt x="249" y="95"/>
                </a:cubicBezTo>
                <a:cubicBezTo>
                  <a:pt x="246" y="95"/>
                  <a:pt x="243" y="94"/>
                  <a:pt x="242" y="92"/>
                </a:cubicBezTo>
                <a:cubicBezTo>
                  <a:pt x="241" y="92"/>
                  <a:pt x="239" y="90"/>
                  <a:pt x="236" y="90"/>
                </a:cubicBezTo>
                <a:cubicBezTo>
                  <a:pt x="235" y="90"/>
                  <a:pt x="234" y="90"/>
                  <a:pt x="234" y="90"/>
                </a:cubicBezTo>
                <a:cubicBezTo>
                  <a:pt x="232" y="91"/>
                  <a:pt x="235" y="92"/>
                  <a:pt x="237" y="92"/>
                </a:cubicBezTo>
                <a:cubicBezTo>
                  <a:pt x="244" y="96"/>
                  <a:pt x="253" y="100"/>
                  <a:pt x="260" y="103"/>
                </a:cubicBezTo>
                <a:cubicBezTo>
                  <a:pt x="260" y="103"/>
                  <a:pt x="260" y="103"/>
                  <a:pt x="260" y="103"/>
                </a:cubicBezTo>
                <a:cubicBezTo>
                  <a:pt x="263" y="105"/>
                  <a:pt x="270" y="107"/>
                  <a:pt x="271" y="109"/>
                </a:cubicBezTo>
                <a:cubicBezTo>
                  <a:pt x="261" y="105"/>
                  <a:pt x="252" y="101"/>
                  <a:pt x="243" y="96"/>
                </a:cubicBezTo>
                <a:cubicBezTo>
                  <a:pt x="234" y="91"/>
                  <a:pt x="224" y="87"/>
                  <a:pt x="212" y="82"/>
                </a:cubicBezTo>
                <a:cubicBezTo>
                  <a:pt x="210" y="81"/>
                  <a:pt x="208" y="80"/>
                  <a:pt x="206" y="79"/>
                </a:cubicBezTo>
                <a:cubicBezTo>
                  <a:pt x="202" y="76"/>
                  <a:pt x="195" y="73"/>
                  <a:pt x="190" y="70"/>
                </a:cubicBezTo>
                <a:cubicBezTo>
                  <a:pt x="189" y="70"/>
                  <a:pt x="193" y="71"/>
                  <a:pt x="193" y="72"/>
                </a:cubicBezTo>
                <a:cubicBezTo>
                  <a:pt x="188" y="71"/>
                  <a:pt x="184" y="69"/>
                  <a:pt x="181" y="67"/>
                </a:cubicBezTo>
                <a:cubicBezTo>
                  <a:pt x="179" y="65"/>
                  <a:pt x="177" y="64"/>
                  <a:pt x="171" y="63"/>
                </a:cubicBezTo>
                <a:cubicBezTo>
                  <a:pt x="166" y="62"/>
                  <a:pt x="165" y="60"/>
                  <a:pt x="162" y="59"/>
                </a:cubicBezTo>
                <a:cubicBezTo>
                  <a:pt x="162" y="59"/>
                  <a:pt x="162" y="59"/>
                  <a:pt x="162" y="59"/>
                </a:cubicBezTo>
                <a:cubicBezTo>
                  <a:pt x="157" y="57"/>
                  <a:pt x="153" y="54"/>
                  <a:pt x="149" y="52"/>
                </a:cubicBezTo>
                <a:cubicBezTo>
                  <a:pt x="152" y="53"/>
                  <a:pt x="153" y="54"/>
                  <a:pt x="155" y="55"/>
                </a:cubicBezTo>
                <a:cubicBezTo>
                  <a:pt x="156" y="55"/>
                  <a:pt x="158" y="56"/>
                  <a:pt x="161" y="57"/>
                </a:cubicBezTo>
                <a:cubicBezTo>
                  <a:pt x="160" y="56"/>
                  <a:pt x="159" y="55"/>
                  <a:pt x="156" y="55"/>
                </a:cubicBezTo>
                <a:cubicBezTo>
                  <a:pt x="153" y="53"/>
                  <a:pt x="151" y="52"/>
                  <a:pt x="148" y="50"/>
                </a:cubicBezTo>
                <a:cubicBezTo>
                  <a:pt x="146" y="49"/>
                  <a:pt x="145" y="49"/>
                  <a:pt x="143" y="48"/>
                </a:cubicBezTo>
                <a:cubicBezTo>
                  <a:pt x="143" y="48"/>
                  <a:pt x="142" y="48"/>
                  <a:pt x="142" y="48"/>
                </a:cubicBezTo>
                <a:cubicBezTo>
                  <a:pt x="144" y="49"/>
                  <a:pt x="145" y="49"/>
                  <a:pt x="146" y="50"/>
                </a:cubicBezTo>
                <a:cubicBezTo>
                  <a:pt x="146" y="50"/>
                  <a:pt x="145" y="50"/>
                  <a:pt x="145" y="50"/>
                </a:cubicBezTo>
                <a:cubicBezTo>
                  <a:pt x="140" y="47"/>
                  <a:pt x="132" y="44"/>
                  <a:pt x="129" y="41"/>
                </a:cubicBezTo>
                <a:cubicBezTo>
                  <a:pt x="126" y="40"/>
                  <a:pt x="124" y="39"/>
                  <a:pt x="121" y="38"/>
                </a:cubicBezTo>
                <a:cubicBezTo>
                  <a:pt x="121" y="37"/>
                  <a:pt x="120" y="36"/>
                  <a:pt x="116" y="34"/>
                </a:cubicBezTo>
                <a:cubicBezTo>
                  <a:pt x="113" y="32"/>
                  <a:pt x="106" y="30"/>
                  <a:pt x="100" y="28"/>
                </a:cubicBezTo>
                <a:cubicBezTo>
                  <a:pt x="100" y="28"/>
                  <a:pt x="100" y="28"/>
                  <a:pt x="99" y="28"/>
                </a:cubicBezTo>
                <a:cubicBezTo>
                  <a:pt x="98" y="27"/>
                  <a:pt x="96" y="26"/>
                  <a:pt x="94" y="25"/>
                </a:cubicBezTo>
                <a:cubicBezTo>
                  <a:pt x="92" y="24"/>
                  <a:pt x="94" y="24"/>
                  <a:pt x="96" y="25"/>
                </a:cubicBezTo>
                <a:cubicBezTo>
                  <a:pt x="97" y="25"/>
                  <a:pt x="98" y="26"/>
                  <a:pt x="101" y="27"/>
                </a:cubicBezTo>
                <a:cubicBezTo>
                  <a:pt x="100" y="26"/>
                  <a:pt x="98" y="25"/>
                  <a:pt x="97" y="25"/>
                </a:cubicBezTo>
                <a:cubicBezTo>
                  <a:pt x="96" y="24"/>
                  <a:pt x="95" y="24"/>
                  <a:pt x="94" y="24"/>
                </a:cubicBezTo>
                <a:cubicBezTo>
                  <a:pt x="90" y="21"/>
                  <a:pt x="83" y="17"/>
                  <a:pt x="77" y="14"/>
                </a:cubicBezTo>
                <a:cubicBezTo>
                  <a:pt x="75" y="13"/>
                  <a:pt x="74" y="12"/>
                  <a:pt x="69" y="11"/>
                </a:cubicBezTo>
                <a:cubicBezTo>
                  <a:pt x="70" y="12"/>
                  <a:pt x="73" y="13"/>
                  <a:pt x="76" y="14"/>
                </a:cubicBezTo>
                <a:cubicBezTo>
                  <a:pt x="79" y="16"/>
                  <a:pt x="83" y="18"/>
                  <a:pt x="87" y="20"/>
                </a:cubicBezTo>
                <a:cubicBezTo>
                  <a:pt x="85" y="21"/>
                  <a:pt x="90" y="24"/>
                  <a:pt x="92" y="25"/>
                </a:cubicBezTo>
                <a:cubicBezTo>
                  <a:pt x="93" y="27"/>
                  <a:pt x="96" y="28"/>
                  <a:pt x="98" y="29"/>
                </a:cubicBezTo>
                <a:cubicBezTo>
                  <a:pt x="98" y="30"/>
                  <a:pt x="101" y="31"/>
                  <a:pt x="103" y="31"/>
                </a:cubicBezTo>
                <a:cubicBezTo>
                  <a:pt x="108" y="33"/>
                  <a:pt x="113" y="35"/>
                  <a:pt x="110" y="36"/>
                </a:cubicBezTo>
                <a:cubicBezTo>
                  <a:pt x="109" y="37"/>
                  <a:pt x="111" y="38"/>
                  <a:pt x="115" y="39"/>
                </a:cubicBezTo>
                <a:cubicBezTo>
                  <a:pt x="117" y="40"/>
                  <a:pt x="119" y="41"/>
                  <a:pt x="121" y="42"/>
                </a:cubicBezTo>
                <a:cubicBezTo>
                  <a:pt x="122" y="42"/>
                  <a:pt x="124" y="43"/>
                  <a:pt x="125" y="44"/>
                </a:cubicBezTo>
                <a:cubicBezTo>
                  <a:pt x="125" y="44"/>
                  <a:pt x="126" y="45"/>
                  <a:pt x="128" y="46"/>
                </a:cubicBezTo>
                <a:cubicBezTo>
                  <a:pt x="129" y="46"/>
                  <a:pt x="128" y="45"/>
                  <a:pt x="127" y="44"/>
                </a:cubicBezTo>
                <a:cubicBezTo>
                  <a:pt x="126" y="43"/>
                  <a:pt x="125" y="42"/>
                  <a:pt x="123" y="42"/>
                </a:cubicBezTo>
                <a:cubicBezTo>
                  <a:pt x="121" y="40"/>
                  <a:pt x="121" y="40"/>
                  <a:pt x="123" y="40"/>
                </a:cubicBezTo>
                <a:cubicBezTo>
                  <a:pt x="125" y="40"/>
                  <a:pt x="125" y="41"/>
                  <a:pt x="126" y="41"/>
                </a:cubicBezTo>
                <a:cubicBezTo>
                  <a:pt x="134" y="46"/>
                  <a:pt x="143" y="50"/>
                  <a:pt x="151" y="55"/>
                </a:cubicBezTo>
                <a:cubicBezTo>
                  <a:pt x="149" y="54"/>
                  <a:pt x="146" y="53"/>
                  <a:pt x="145" y="53"/>
                </a:cubicBezTo>
                <a:cubicBezTo>
                  <a:pt x="140" y="50"/>
                  <a:pt x="135" y="49"/>
                  <a:pt x="129" y="49"/>
                </a:cubicBezTo>
                <a:cubicBezTo>
                  <a:pt x="129" y="49"/>
                  <a:pt x="130" y="48"/>
                  <a:pt x="129" y="48"/>
                </a:cubicBezTo>
                <a:cubicBezTo>
                  <a:pt x="129" y="48"/>
                  <a:pt x="128" y="47"/>
                  <a:pt x="127" y="47"/>
                </a:cubicBezTo>
                <a:cubicBezTo>
                  <a:pt x="127" y="48"/>
                  <a:pt x="126" y="48"/>
                  <a:pt x="128" y="49"/>
                </a:cubicBezTo>
                <a:cubicBezTo>
                  <a:pt x="129" y="50"/>
                  <a:pt x="122" y="48"/>
                  <a:pt x="126" y="50"/>
                </a:cubicBezTo>
                <a:cubicBezTo>
                  <a:pt x="128" y="51"/>
                  <a:pt x="132" y="52"/>
                  <a:pt x="132" y="51"/>
                </a:cubicBezTo>
                <a:cubicBezTo>
                  <a:pt x="136" y="49"/>
                  <a:pt x="139" y="52"/>
                  <a:pt x="143" y="53"/>
                </a:cubicBezTo>
                <a:cubicBezTo>
                  <a:pt x="144" y="54"/>
                  <a:pt x="146" y="55"/>
                  <a:pt x="147" y="56"/>
                </a:cubicBezTo>
                <a:cubicBezTo>
                  <a:pt x="151" y="58"/>
                  <a:pt x="154" y="57"/>
                  <a:pt x="157" y="58"/>
                </a:cubicBezTo>
                <a:cubicBezTo>
                  <a:pt x="157" y="58"/>
                  <a:pt x="157" y="58"/>
                  <a:pt x="157" y="58"/>
                </a:cubicBezTo>
                <a:cubicBezTo>
                  <a:pt x="158" y="58"/>
                  <a:pt x="158" y="58"/>
                  <a:pt x="158" y="58"/>
                </a:cubicBezTo>
                <a:cubicBezTo>
                  <a:pt x="161" y="60"/>
                  <a:pt x="157" y="60"/>
                  <a:pt x="159" y="62"/>
                </a:cubicBezTo>
                <a:cubicBezTo>
                  <a:pt x="162" y="64"/>
                  <a:pt x="169" y="67"/>
                  <a:pt x="173" y="70"/>
                </a:cubicBezTo>
                <a:cubicBezTo>
                  <a:pt x="175" y="70"/>
                  <a:pt x="176" y="71"/>
                  <a:pt x="177" y="72"/>
                </a:cubicBezTo>
                <a:cubicBezTo>
                  <a:pt x="183" y="74"/>
                  <a:pt x="185" y="76"/>
                  <a:pt x="188" y="78"/>
                </a:cubicBezTo>
                <a:cubicBezTo>
                  <a:pt x="194" y="80"/>
                  <a:pt x="196" y="82"/>
                  <a:pt x="202" y="85"/>
                </a:cubicBezTo>
                <a:cubicBezTo>
                  <a:pt x="204" y="86"/>
                  <a:pt x="207" y="87"/>
                  <a:pt x="209" y="89"/>
                </a:cubicBezTo>
                <a:cubicBezTo>
                  <a:pt x="215" y="92"/>
                  <a:pt x="222" y="95"/>
                  <a:pt x="228" y="98"/>
                </a:cubicBezTo>
                <a:cubicBezTo>
                  <a:pt x="229" y="99"/>
                  <a:pt x="231" y="100"/>
                  <a:pt x="232" y="100"/>
                </a:cubicBezTo>
                <a:cubicBezTo>
                  <a:pt x="231" y="100"/>
                  <a:pt x="230" y="100"/>
                  <a:pt x="229" y="100"/>
                </a:cubicBezTo>
                <a:cubicBezTo>
                  <a:pt x="224" y="97"/>
                  <a:pt x="219" y="95"/>
                  <a:pt x="213" y="93"/>
                </a:cubicBezTo>
                <a:cubicBezTo>
                  <a:pt x="214" y="93"/>
                  <a:pt x="214" y="93"/>
                  <a:pt x="214" y="94"/>
                </a:cubicBezTo>
                <a:cubicBezTo>
                  <a:pt x="214" y="93"/>
                  <a:pt x="213" y="93"/>
                  <a:pt x="213" y="93"/>
                </a:cubicBezTo>
                <a:cubicBezTo>
                  <a:pt x="207" y="89"/>
                  <a:pt x="200" y="86"/>
                  <a:pt x="194" y="83"/>
                </a:cubicBezTo>
                <a:cubicBezTo>
                  <a:pt x="188" y="80"/>
                  <a:pt x="181" y="77"/>
                  <a:pt x="175" y="74"/>
                </a:cubicBezTo>
                <a:cubicBezTo>
                  <a:pt x="165" y="70"/>
                  <a:pt x="155" y="65"/>
                  <a:pt x="146" y="60"/>
                </a:cubicBezTo>
                <a:cubicBezTo>
                  <a:pt x="144" y="59"/>
                  <a:pt x="141" y="58"/>
                  <a:pt x="138" y="57"/>
                </a:cubicBezTo>
                <a:cubicBezTo>
                  <a:pt x="133" y="53"/>
                  <a:pt x="124" y="50"/>
                  <a:pt x="118" y="46"/>
                </a:cubicBezTo>
                <a:cubicBezTo>
                  <a:pt x="118" y="45"/>
                  <a:pt x="113" y="44"/>
                  <a:pt x="110" y="42"/>
                </a:cubicBezTo>
                <a:cubicBezTo>
                  <a:pt x="109" y="43"/>
                  <a:pt x="114" y="45"/>
                  <a:pt x="116" y="46"/>
                </a:cubicBezTo>
                <a:cubicBezTo>
                  <a:pt x="116" y="46"/>
                  <a:pt x="116" y="46"/>
                  <a:pt x="116" y="46"/>
                </a:cubicBezTo>
                <a:cubicBezTo>
                  <a:pt x="115" y="47"/>
                  <a:pt x="113" y="47"/>
                  <a:pt x="106" y="45"/>
                </a:cubicBezTo>
                <a:cubicBezTo>
                  <a:pt x="108" y="46"/>
                  <a:pt x="108" y="48"/>
                  <a:pt x="112" y="49"/>
                </a:cubicBezTo>
                <a:cubicBezTo>
                  <a:pt x="114" y="49"/>
                  <a:pt x="111" y="47"/>
                  <a:pt x="116" y="49"/>
                </a:cubicBezTo>
                <a:cubicBezTo>
                  <a:pt x="120" y="50"/>
                  <a:pt x="119" y="51"/>
                  <a:pt x="122" y="52"/>
                </a:cubicBezTo>
                <a:cubicBezTo>
                  <a:pt x="122" y="54"/>
                  <a:pt x="117" y="53"/>
                  <a:pt x="117" y="53"/>
                </a:cubicBezTo>
                <a:cubicBezTo>
                  <a:pt x="108" y="51"/>
                  <a:pt x="117" y="54"/>
                  <a:pt x="116" y="54"/>
                </a:cubicBezTo>
                <a:cubicBezTo>
                  <a:pt x="117" y="54"/>
                  <a:pt x="116" y="54"/>
                  <a:pt x="115" y="55"/>
                </a:cubicBezTo>
                <a:cubicBezTo>
                  <a:pt x="115" y="55"/>
                  <a:pt x="114" y="55"/>
                  <a:pt x="113" y="55"/>
                </a:cubicBezTo>
                <a:cubicBezTo>
                  <a:pt x="112" y="54"/>
                  <a:pt x="110" y="53"/>
                  <a:pt x="108" y="52"/>
                </a:cubicBezTo>
                <a:cubicBezTo>
                  <a:pt x="106" y="51"/>
                  <a:pt x="104" y="50"/>
                  <a:pt x="102" y="49"/>
                </a:cubicBezTo>
                <a:cubicBezTo>
                  <a:pt x="98" y="46"/>
                  <a:pt x="90" y="43"/>
                  <a:pt x="82" y="39"/>
                </a:cubicBezTo>
                <a:cubicBezTo>
                  <a:pt x="89" y="43"/>
                  <a:pt x="93" y="46"/>
                  <a:pt x="101" y="49"/>
                </a:cubicBezTo>
                <a:cubicBezTo>
                  <a:pt x="103" y="50"/>
                  <a:pt x="105" y="51"/>
                  <a:pt x="108" y="52"/>
                </a:cubicBezTo>
                <a:cubicBezTo>
                  <a:pt x="109" y="54"/>
                  <a:pt x="111" y="55"/>
                  <a:pt x="113" y="56"/>
                </a:cubicBezTo>
                <a:cubicBezTo>
                  <a:pt x="111" y="56"/>
                  <a:pt x="113" y="57"/>
                  <a:pt x="112" y="57"/>
                </a:cubicBezTo>
                <a:cubicBezTo>
                  <a:pt x="108" y="57"/>
                  <a:pt x="106" y="56"/>
                  <a:pt x="104" y="55"/>
                </a:cubicBezTo>
                <a:cubicBezTo>
                  <a:pt x="93" y="49"/>
                  <a:pt x="82" y="42"/>
                  <a:pt x="71" y="36"/>
                </a:cubicBezTo>
                <a:cubicBezTo>
                  <a:pt x="70" y="36"/>
                  <a:pt x="69" y="35"/>
                  <a:pt x="67" y="35"/>
                </a:cubicBezTo>
                <a:cubicBezTo>
                  <a:pt x="66" y="33"/>
                  <a:pt x="63" y="32"/>
                  <a:pt x="60" y="31"/>
                </a:cubicBezTo>
                <a:cubicBezTo>
                  <a:pt x="60" y="30"/>
                  <a:pt x="60" y="30"/>
                  <a:pt x="60" y="30"/>
                </a:cubicBezTo>
                <a:cubicBezTo>
                  <a:pt x="60" y="30"/>
                  <a:pt x="59" y="30"/>
                  <a:pt x="59" y="29"/>
                </a:cubicBezTo>
                <a:cubicBezTo>
                  <a:pt x="57" y="28"/>
                  <a:pt x="55" y="27"/>
                  <a:pt x="52" y="25"/>
                </a:cubicBezTo>
                <a:cubicBezTo>
                  <a:pt x="51" y="24"/>
                  <a:pt x="51" y="23"/>
                  <a:pt x="44" y="20"/>
                </a:cubicBezTo>
                <a:cubicBezTo>
                  <a:pt x="37" y="18"/>
                  <a:pt x="34" y="15"/>
                  <a:pt x="35" y="13"/>
                </a:cubicBezTo>
                <a:cubicBezTo>
                  <a:pt x="35" y="12"/>
                  <a:pt x="37" y="12"/>
                  <a:pt x="36" y="11"/>
                </a:cubicBezTo>
                <a:cubicBezTo>
                  <a:pt x="33" y="11"/>
                  <a:pt x="30" y="10"/>
                  <a:pt x="27" y="10"/>
                </a:cubicBezTo>
                <a:cubicBezTo>
                  <a:pt x="25" y="9"/>
                  <a:pt x="24" y="8"/>
                  <a:pt x="23" y="8"/>
                </a:cubicBezTo>
                <a:cubicBezTo>
                  <a:pt x="23" y="7"/>
                  <a:pt x="22" y="7"/>
                  <a:pt x="22" y="7"/>
                </a:cubicBezTo>
                <a:cubicBezTo>
                  <a:pt x="19" y="5"/>
                  <a:pt x="17" y="4"/>
                  <a:pt x="14" y="2"/>
                </a:cubicBezTo>
                <a:cubicBezTo>
                  <a:pt x="13" y="2"/>
                  <a:pt x="12" y="1"/>
                  <a:pt x="9" y="0"/>
                </a:cubicBezTo>
                <a:cubicBezTo>
                  <a:pt x="9" y="1"/>
                  <a:pt x="11" y="2"/>
                  <a:pt x="13" y="2"/>
                </a:cubicBezTo>
                <a:cubicBezTo>
                  <a:pt x="13" y="3"/>
                  <a:pt x="13" y="3"/>
                  <a:pt x="13" y="3"/>
                </a:cubicBezTo>
                <a:cubicBezTo>
                  <a:pt x="13" y="3"/>
                  <a:pt x="12" y="3"/>
                  <a:pt x="12" y="3"/>
                </a:cubicBezTo>
                <a:cubicBezTo>
                  <a:pt x="11" y="3"/>
                  <a:pt x="11" y="3"/>
                  <a:pt x="11" y="3"/>
                </a:cubicBezTo>
                <a:cubicBezTo>
                  <a:pt x="9" y="2"/>
                  <a:pt x="9" y="1"/>
                  <a:pt x="5" y="0"/>
                </a:cubicBezTo>
                <a:cubicBezTo>
                  <a:pt x="5" y="0"/>
                  <a:pt x="7" y="1"/>
                  <a:pt x="10" y="3"/>
                </a:cubicBezTo>
                <a:cubicBezTo>
                  <a:pt x="11" y="3"/>
                  <a:pt x="12" y="4"/>
                  <a:pt x="14" y="5"/>
                </a:cubicBezTo>
                <a:cubicBezTo>
                  <a:pt x="13" y="5"/>
                  <a:pt x="16" y="6"/>
                  <a:pt x="17" y="7"/>
                </a:cubicBezTo>
                <a:cubicBezTo>
                  <a:pt x="17" y="7"/>
                  <a:pt x="17" y="8"/>
                  <a:pt x="18" y="8"/>
                </a:cubicBezTo>
                <a:cubicBezTo>
                  <a:pt x="21" y="9"/>
                  <a:pt x="22" y="11"/>
                  <a:pt x="25" y="12"/>
                </a:cubicBezTo>
                <a:cubicBezTo>
                  <a:pt x="25" y="13"/>
                  <a:pt x="28" y="14"/>
                  <a:pt x="30" y="15"/>
                </a:cubicBezTo>
                <a:cubicBezTo>
                  <a:pt x="31" y="16"/>
                  <a:pt x="33" y="17"/>
                  <a:pt x="33" y="18"/>
                </a:cubicBezTo>
                <a:cubicBezTo>
                  <a:pt x="33" y="18"/>
                  <a:pt x="33" y="18"/>
                  <a:pt x="33" y="18"/>
                </a:cubicBezTo>
                <a:cubicBezTo>
                  <a:pt x="32" y="18"/>
                  <a:pt x="31" y="18"/>
                  <a:pt x="32" y="18"/>
                </a:cubicBezTo>
                <a:cubicBezTo>
                  <a:pt x="33" y="19"/>
                  <a:pt x="35" y="19"/>
                  <a:pt x="36" y="19"/>
                </a:cubicBezTo>
                <a:cubicBezTo>
                  <a:pt x="42" y="22"/>
                  <a:pt x="41" y="23"/>
                  <a:pt x="46" y="26"/>
                </a:cubicBezTo>
                <a:cubicBezTo>
                  <a:pt x="47" y="27"/>
                  <a:pt x="51" y="28"/>
                  <a:pt x="51" y="29"/>
                </a:cubicBezTo>
                <a:cubicBezTo>
                  <a:pt x="42" y="25"/>
                  <a:pt x="34" y="21"/>
                  <a:pt x="28" y="18"/>
                </a:cubicBezTo>
                <a:cubicBezTo>
                  <a:pt x="28" y="17"/>
                  <a:pt x="28" y="17"/>
                  <a:pt x="26" y="16"/>
                </a:cubicBezTo>
                <a:cubicBezTo>
                  <a:pt x="24" y="15"/>
                  <a:pt x="22" y="14"/>
                  <a:pt x="19" y="13"/>
                </a:cubicBezTo>
                <a:cubicBezTo>
                  <a:pt x="20" y="14"/>
                  <a:pt x="21" y="15"/>
                  <a:pt x="23" y="16"/>
                </a:cubicBezTo>
                <a:cubicBezTo>
                  <a:pt x="24" y="16"/>
                  <a:pt x="25" y="17"/>
                  <a:pt x="26" y="17"/>
                </a:cubicBezTo>
                <a:cubicBezTo>
                  <a:pt x="26" y="18"/>
                  <a:pt x="29" y="19"/>
                  <a:pt x="29" y="20"/>
                </a:cubicBezTo>
                <a:cubicBezTo>
                  <a:pt x="28" y="19"/>
                  <a:pt x="27" y="19"/>
                  <a:pt x="25" y="18"/>
                </a:cubicBezTo>
                <a:cubicBezTo>
                  <a:pt x="23" y="18"/>
                  <a:pt x="25" y="19"/>
                  <a:pt x="26" y="20"/>
                </a:cubicBezTo>
                <a:cubicBezTo>
                  <a:pt x="28" y="21"/>
                  <a:pt x="31" y="22"/>
                  <a:pt x="35" y="23"/>
                </a:cubicBezTo>
                <a:cubicBezTo>
                  <a:pt x="37" y="25"/>
                  <a:pt x="41" y="28"/>
                  <a:pt x="46" y="30"/>
                </a:cubicBezTo>
                <a:cubicBezTo>
                  <a:pt x="50" y="32"/>
                  <a:pt x="43" y="31"/>
                  <a:pt x="43" y="33"/>
                </a:cubicBezTo>
                <a:cubicBezTo>
                  <a:pt x="42" y="33"/>
                  <a:pt x="41" y="33"/>
                  <a:pt x="39" y="32"/>
                </a:cubicBezTo>
                <a:cubicBezTo>
                  <a:pt x="35" y="30"/>
                  <a:pt x="31" y="28"/>
                  <a:pt x="29" y="26"/>
                </a:cubicBezTo>
                <a:cubicBezTo>
                  <a:pt x="31" y="25"/>
                  <a:pt x="33" y="27"/>
                  <a:pt x="35" y="27"/>
                </a:cubicBezTo>
                <a:cubicBezTo>
                  <a:pt x="33" y="26"/>
                  <a:pt x="32" y="24"/>
                  <a:pt x="28" y="24"/>
                </a:cubicBezTo>
                <a:cubicBezTo>
                  <a:pt x="25" y="23"/>
                  <a:pt x="28" y="25"/>
                  <a:pt x="27" y="25"/>
                </a:cubicBezTo>
                <a:cubicBezTo>
                  <a:pt x="22" y="24"/>
                  <a:pt x="22" y="25"/>
                  <a:pt x="24" y="26"/>
                </a:cubicBezTo>
                <a:cubicBezTo>
                  <a:pt x="28" y="28"/>
                  <a:pt x="32" y="30"/>
                  <a:pt x="36" y="32"/>
                </a:cubicBezTo>
                <a:cubicBezTo>
                  <a:pt x="37" y="33"/>
                  <a:pt x="41" y="34"/>
                  <a:pt x="40" y="35"/>
                </a:cubicBezTo>
                <a:cubicBezTo>
                  <a:pt x="36" y="34"/>
                  <a:pt x="40" y="36"/>
                  <a:pt x="39" y="36"/>
                </a:cubicBezTo>
                <a:cubicBezTo>
                  <a:pt x="36" y="36"/>
                  <a:pt x="35" y="35"/>
                  <a:pt x="33" y="35"/>
                </a:cubicBezTo>
                <a:cubicBezTo>
                  <a:pt x="27" y="33"/>
                  <a:pt x="26" y="31"/>
                  <a:pt x="19" y="29"/>
                </a:cubicBezTo>
                <a:cubicBezTo>
                  <a:pt x="20" y="30"/>
                  <a:pt x="25" y="31"/>
                  <a:pt x="25" y="32"/>
                </a:cubicBezTo>
                <a:cubicBezTo>
                  <a:pt x="25" y="34"/>
                  <a:pt x="35" y="37"/>
                  <a:pt x="32" y="38"/>
                </a:cubicBezTo>
                <a:cubicBezTo>
                  <a:pt x="31" y="38"/>
                  <a:pt x="30" y="37"/>
                  <a:pt x="29" y="37"/>
                </a:cubicBezTo>
                <a:cubicBezTo>
                  <a:pt x="29" y="35"/>
                  <a:pt x="21" y="33"/>
                  <a:pt x="18" y="31"/>
                </a:cubicBezTo>
                <a:cubicBezTo>
                  <a:pt x="19" y="33"/>
                  <a:pt x="21" y="34"/>
                  <a:pt x="25" y="36"/>
                </a:cubicBezTo>
                <a:cubicBezTo>
                  <a:pt x="29" y="38"/>
                  <a:pt x="34" y="40"/>
                  <a:pt x="38" y="43"/>
                </a:cubicBezTo>
                <a:cubicBezTo>
                  <a:pt x="33" y="41"/>
                  <a:pt x="29" y="40"/>
                  <a:pt x="24" y="38"/>
                </a:cubicBezTo>
                <a:cubicBezTo>
                  <a:pt x="24" y="37"/>
                  <a:pt x="23" y="36"/>
                  <a:pt x="21" y="35"/>
                </a:cubicBezTo>
                <a:cubicBezTo>
                  <a:pt x="19" y="35"/>
                  <a:pt x="19" y="36"/>
                  <a:pt x="21" y="37"/>
                </a:cubicBezTo>
                <a:cubicBezTo>
                  <a:pt x="22" y="38"/>
                  <a:pt x="22" y="38"/>
                  <a:pt x="22" y="38"/>
                </a:cubicBezTo>
                <a:cubicBezTo>
                  <a:pt x="28" y="44"/>
                  <a:pt x="35" y="49"/>
                  <a:pt x="44" y="55"/>
                </a:cubicBezTo>
                <a:cubicBezTo>
                  <a:pt x="43" y="55"/>
                  <a:pt x="43" y="55"/>
                  <a:pt x="42" y="54"/>
                </a:cubicBezTo>
                <a:cubicBezTo>
                  <a:pt x="34" y="50"/>
                  <a:pt x="25" y="45"/>
                  <a:pt x="17" y="40"/>
                </a:cubicBezTo>
                <a:cubicBezTo>
                  <a:pt x="12" y="37"/>
                  <a:pt x="6" y="34"/>
                  <a:pt x="0" y="31"/>
                </a:cubicBezTo>
                <a:cubicBezTo>
                  <a:pt x="0" y="84"/>
                  <a:pt x="0" y="84"/>
                  <a:pt x="0" y="84"/>
                </a:cubicBezTo>
                <a:cubicBezTo>
                  <a:pt x="0" y="84"/>
                  <a:pt x="1" y="85"/>
                  <a:pt x="1" y="85"/>
                </a:cubicBezTo>
                <a:cubicBezTo>
                  <a:pt x="2" y="86"/>
                  <a:pt x="3" y="86"/>
                  <a:pt x="4" y="87"/>
                </a:cubicBezTo>
                <a:cubicBezTo>
                  <a:pt x="4" y="87"/>
                  <a:pt x="5" y="88"/>
                  <a:pt x="6" y="88"/>
                </a:cubicBezTo>
                <a:cubicBezTo>
                  <a:pt x="4" y="88"/>
                  <a:pt x="2" y="88"/>
                  <a:pt x="0" y="88"/>
                </a:cubicBezTo>
                <a:cubicBezTo>
                  <a:pt x="0" y="107"/>
                  <a:pt x="0" y="107"/>
                  <a:pt x="0" y="107"/>
                </a:cubicBezTo>
                <a:cubicBezTo>
                  <a:pt x="0" y="107"/>
                  <a:pt x="0" y="107"/>
                  <a:pt x="1" y="107"/>
                </a:cubicBezTo>
                <a:cubicBezTo>
                  <a:pt x="1" y="108"/>
                  <a:pt x="1" y="108"/>
                  <a:pt x="2" y="109"/>
                </a:cubicBezTo>
                <a:cubicBezTo>
                  <a:pt x="1" y="109"/>
                  <a:pt x="1" y="109"/>
                  <a:pt x="0" y="109"/>
                </a:cubicBezTo>
                <a:cubicBezTo>
                  <a:pt x="0" y="109"/>
                  <a:pt x="0" y="109"/>
                  <a:pt x="0" y="108"/>
                </a:cubicBezTo>
                <a:cubicBezTo>
                  <a:pt x="0" y="126"/>
                  <a:pt x="0" y="126"/>
                  <a:pt x="0" y="126"/>
                </a:cubicBezTo>
                <a:cubicBezTo>
                  <a:pt x="0" y="127"/>
                  <a:pt x="0" y="127"/>
                  <a:pt x="0" y="127"/>
                </a:cubicBezTo>
                <a:cubicBezTo>
                  <a:pt x="0" y="127"/>
                  <a:pt x="0" y="127"/>
                  <a:pt x="0" y="127"/>
                </a:cubicBezTo>
                <a:cubicBezTo>
                  <a:pt x="0" y="158"/>
                  <a:pt x="0" y="158"/>
                  <a:pt x="0" y="158"/>
                </a:cubicBezTo>
                <a:cubicBezTo>
                  <a:pt x="0" y="158"/>
                  <a:pt x="0" y="158"/>
                  <a:pt x="0" y="158"/>
                </a:cubicBezTo>
                <a:cubicBezTo>
                  <a:pt x="0" y="159"/>
                  <a:pt x="0" y="159"/>
                  <a:pt x="0" y="159"/>
                </a:cubicBezTo>
                <a:cubicBezTo>
                  <a:pt x="0" y="159"/>
                  <a:pt x="0" y="159"/>
                  <a:pt x="0" y="159"/>
                </a:cubicBezTo>
                <a:cubicBezTo>
                  <a:pt x="0" y="173"/>
                  <a:pt x="0" y="173"/>
                  <a:pt x="0" y="173"/>
                </a:cubicBezTo>
                <a:cubicBezTo>
                  <a:pt x="0" y="173"/>
                  <a:pt x="0" y="173"/>
                  <a:pt x="0" y="173"/>
                </a:cubicBezTo>
                <a:cubicBezTo>
                  <a:pt x="0" y="173"/>
                  <a:pt x="0" y="173"/>
                  <a:pt x="0" y="173"/>
                </a:cubicBezTo>
                <a:cubicBezTo>
                  <a:pt x="0" y="173"/>
                  <a:pt x="0" y="173"/>
                  <a:pt x="0" y="173"/>
                </a:cubicBezTo>
                <a:cubicBezTo>
                  <a:pt x="0" y="220"/>
                  <a:pt x="0" y="220"/>
                  <a:pt x="0" y="220"/>
                </a:cubicBezTo>
                <a:cubicBezTo>
                  <a:pt x="1" y="220"/>
                  <a:pt x="2" y="220"/>
                  <a:pt x="3" y="221"/>
                </a:cubicBezTo>
                <a:cubicBezTo>
                  <a:pt x="3" y="221"/>
                  <a:pt x="3" y="221"/>
                  <a:pt x="3" y="221"/>
                </a:cubicBezTo>
                <a:cubicBezTo>
                  <a:pt x="3" y="221"/>
                  <a:pt x="3" y="221"/>
                  <a:pt x="3" y="221"/>
                </a:cubicBezTo>
                <a:cubicBezTo>
                  <a:pt x="3" y="221"/>
                  <a:pt x="3" y="221"/>
                  <a:pt x="3" y="221"/>
                </a:cubicBezTo>
                <a:cubicBezTo>
                  <a:pt x="2" y="221"/>
                  <a:pt x="1" y="220"/>
                  <a:pt x="0" y="220"/>
                </a:cubicBezTo>
                <a:cubicBezTo>
                  <a:pt x="0" y="220"/>
                  <a:pt x="0" y="220"/>
                  <a:pt x="0" y="220"/>
                </a:cubicBezTo>
                <a:cubicBezTo>
                  <a:pt x="0" y="220"/>
                  <a:pt x="0" y="220"/>
                  <a:pt x="0" y="220"/>
                </a:cubicBezTo>
                <a:cubicBezTo>
                  <a:pt x="0" y="223"/>
                  <a:pt x="0" y="223"/>
                  <a:pt x="0" y="223"/>
                </a:cubicBezTo>
                <a:cubicBezTo>
                  <a:pt x="0" y="223"/>
                  <a:pt x="0" y="223"/>
                  <a:pt x="0" y="223"/>
                </a:cubicBezTo>
                <a:cubicBezTo>
                  <a:pt x="0" y="223"/>
                  <a:pt x="0" y="223"/>
                  <a:pt x="0" y="223"/>
                </a:cubicBezTo>
                <a:cubicBezTo>
                  <a:pt x="0" y="223"/>
                  <a:pt x="0" y="223"/>
                  <a:pt x="0" y="223"/>
                </a:cubicBezTo>
                <a:cubicBezTo>
                  <a:pt x="0" y="229"/>
                  <a:pt x="0" y="229"/>
                  <a:pt x="0" y="229"/>
                </a:cubicBezTo>
                <a:cubicBezTo>
                  <a:pt x="13" y="229"/>
                  <a:pt x="13" y="229"/>
                  <a:pt x="13" y="229"/>
                </a:cubicBezTo>
                <a:cubicBezTo>
                  <a:pt x="18" y="231"/>
                  <a:pt x="23" y="234"/>
                  <a:pt x="28" y="236"/>
                </a:cubicBezTo>
                <a:cubicBezTo>
                  <a:pt x="42" y="243"/>
                  <a:pt x="57" y="249"/>
                  <a:pt x="70" y="256"/>
                </a:cubicBezTo>
                <a:cubicBezTo>
                  <a:pt x="70" y="256"/>
                  <a:pt x="70" y="256"/>
                  <a:pt x="70" y="256"/>
                </a:cubicBezTo>
                <a:cubicBezTo>
                  <a:pt x="72" y="257"/>
                  <a:pt x="73" y="258"/>
                  <a:pt x="76" y="258"/>
                </a:cubicBezTo>
                <a:cubicBezTo>
                  <a:pt x="78" y="259"/>
                  <a:pt x="79" y="260"/>
                  <a:pt x="81" y="261"/>
                </a:cubicBezTo>
                <a:cubicBezTo>
                  <a:pt x="80" y="260"/>
                  <a:pt x="77" y="259"/>
                  <a:pt x="77" y="258"/>
                </a:cubicBezTo>
                <a:cubicBezTo>
                  <a:pt x="76" y="258"/>
                  <a:pt x="75" y="257"/>
                  <a:pt x="75" y="257"/>
                </a:cubicBezTo>
                <a:cubicBezTo>
                  <a:pt x="74" y="256"/>
                  <a:pt x="72" y="256"/>
                  <a:pt x="72" y="255"/>
                </a:cubicBezTo>
                <a:cubicBezTo>
                  <a:pt x="74" y="255"/>
                  <a:pt x="70" y="254"/>
                  <a:pt x="71" y="254"/>
                </a:cubicBezTo>
                <a:cubicBezTo>
                  <a:pt x="72" y="254"/>
                  <a:pt x="73" y="254"/>
                  <a:pt x="73" y="254"/>
                </a:cubicBezTo>
                <a:cubicBezTo>
                  <a:pt x="73" y="254"/>
                  <a:pt x="71" y="253"/>
                  <a:pt x="70" y="253"/>
                </a:cubicBezTo>
                <a:cubicBezTo>
                  <a:pt x="69" y="252"/>
                  <a:pt x="67" y="252"/>
                  <a:pt x="67" y="251"/>
                </a:cubicBezTo>
                <a:cubicBezTo>
                  <a:pt x="68" y="252"/>
                  <a:pt x="70" y="252"/>
                  <a:pt x="71" y="253"/>
                </a:cubicBezTo>
                <a:cubicBezTo>
                  <a:pt x="72" y="253"/>
                  <a:pt x="72" y="253"/>
                  <a:pt x="72" y="253"/>
                </a:cubicBezTo>
                <a:cubicBezTo>
                  <a:pt x="70" y="252"/>
                  <a:pt x="69" y="251"/>
                  <a:pt x="67" y="251"/>
                </a:cubicBezTo>
                <a:cubicBezTo>
                  <a:pt x="66" y="250"/>
                  <a:pt x="65" y="249"/>
                  <a:pt x="63" y="249"/>
                </a:cubicBezTo>
                <a:cubicBezTo>
                  <a:pt x="63" y="248"/>
                  <a:pt x="64" y="248"/>
                  <a:pt x="64" y="248"/>
                </a:cubicBezTo>
                <a:cubicBezTo>
                  <a:pt x="66" y="249"/>
                  <a:pt x="68" y="250"/>
                  <a:pt x="70" y="251"/>
                </a:cubicBezTo>
                <a:cubicBezTo>
                  <a:pt x="74" y="253"/>
                  <a:pt x="79" y="255"/>
                  <a:pt x="84" y="258"/>
                </a:cubicBezTo>
                <a:cubicBezTo>
                  <a:pt x="84" y="258"/>
                  <a:pt x="85" y="258"/>
                  <a:pt x="85" y="258"/>
                </a:cubicBezTo>
                <a:cubicBezTo>
                  <a:pt x="86" y="259"/>
                  <a:pt x="88" y="259"/>
                  <a:pt x="89" y="260"/>
                </a:cubicBezTo>
                <a:cubicBezTo>
                  <a:pt x="90" y="260"/>
                  <a:pt x="91" y="261"/>
                  <a:pt x="93" y="261"/>
                </a:cubicBezTo>
                <a:cubicBezTo>
                  <a:pt x="95" y="262"/>
                  <a:pt x="96" y="263"/>
                  <a:pt x="99" y="264"/>
                </a:cubicBezTo>
                <a:cubicBezTo>
                  <a:pt x="99" y="263"/>
                  <a:pt x="97" y="262"/>
                  <a:pt x="94" y="261"/>
                </a:cubicBezTo>
                <a:cubicBezTo>
                  <a:pt x="90" y="258"/>
                  <a:pt x="86" y="257"/>
                  <a:pt x="82" y="256"/>
                </a:cubicBezTo>
                <a:cubicBezTo>
                  <a:pt x="77" y="254"/>
                  <a:pt x="73" y="252"/>
                  <a:pt x="68" y="250"/>
                </a:cubicBezTo>
                <a:cubicBezTo>
                  <a:pt x="65" y="248"/>
                  <a:pt x="61" y="247"/>
                  <a:pt x="58" y="245"/>
                </a:cubicBezTo>
                <a:cubicBezTo>
                  <a:pt x="56" y="244"/>
                  <a:pt x="54" y="243"/>
                  <a:pt x="52" y="242"/>
                </a:cubicBezTo>
                <a:cubicBezTo>
                  <a:pt x="51" y="241"/>
                  <a:pt x="49" y="240"/>
                  <a:pt x="48" y="240"/>
                </a:cubicBezTo>
                <a:cubicBezTo>
                  <a:pt x="50" y="240"/>
                  <a:pt x="51" y="241"/>
                  <a:pt x="53" y="242"/>
                </a:cubicBezTo>
                <a:cubicBezTo>
                  <a:pt x="53" y="242"/>
                  <a:pt x="54" y="242"/>
                  <a:pt x="55" y="242"/>
                </a:cubicBezTo>
                <a:cubicBezTo>
                  <a:pt x="55" y="242"/>
                  <a:pt x="55" y="242"/>
                  <a:pt x="55" y="242"/>
                </a:cubicBezTo>
                <a:cubicBezTo>
                  <a:pt x="55" y="242"/>
                  <a:pt x="53" y="241"/>
                  <a:pt x="51" y="240"/>
                </a:cubicBezTo>
                <a:cubicBezTo>
                  <a:pt x="51" y="240"/>
                  <a:pt x="50" y="240"/>
                  <a:pt x="50" y="239"/>
                </a:cubicBezTo>
                <a:cubicBezTo>
                  <a:pt x="48" y="239"/>
                  <a:pt x="47" y="238"/>
                  <a:pt x="46" y="237"/>
                </a:cubicBezTo>
                <a:cubicBezTo>
                  <a:pt x="44" y="237"/>
                  <a:pt x="43" y="237"/>
                  <a:pt x="41" y="236"/>
                </a:cubicBezTo>
                <a:cubicBezTo>
                  <a:pt x="41" y="236"/>
                  <a:pt x="41" y="235"/>
                  <a:pt x="41" y="235"/>
                </a:cubicBezTo>
                <a:cubicBezTo>
                  <a:pt x="39" y="234"/>
                  <a:pt x="38" y="233"/>
                  <a:pt x="35" y="233"/>
                </a:cubicBezTo>
                <a:cubicBezTo>
                  <a:pt x="33" y="232"/>
                  <a:pt x="31" y="230"/>
                  <a:pt x="28" y="229"/>
                </a:cubicBezTo>
                <a:cubicBezTo>
                  <a:pt x="28" y="229"/>
                  <a:pt x="28" y="229"/>
                  <a:pt x="28" y="229"/>
                </a:cubicBezTo>
                <a:cubicBezTo>
                  <a:pt x="33" y="229"/>
                  <a:pt x="33" y="229"/>
                  <a:pt x="33" y="229"/>
                </a:cubicBezTo>
                <a:cubicBezTo>
                  <a:pt x="41" y="233"/>
                  <a:pt x="49" y="236"/>
                  <a:pt x="57" y="240"/>
                </a:cubicBezTo>
                <a:cubicBezTo>
                  <a:pt x="58" y="240"/>
                  <a:pt x="59" y="240"/>
                  <a:pt x="60" y="241"/>
                </a:cubicBezTo>
                <a:cubicBezTo>
                  <a:pt x="63" y="242"/>
                  <a:pt x="66" y="244"/>
                  <a:pt x="69" y="245"/>
                </a:cubicBezTo>
                <a:cubicBezTo>
                  <a:pt x="70" y="246"/>
                  <a:pt x="71" y="246"/>
                  <a:pt x="71" y="246"/>
                </a:cubicBezTo>
                <a:cubicBezTo>
                  <a:pt x="72" y="246"/>
                  <a:pt x="73" y="246"/>
                  <a:pt x="74" y="246"/>
                </a:cubicBezTo>
                <a:cubicBezTo>
                  <a:pt x="87" y="252"/>
                  <a:pt x="98" y="259"/>
                  <a:pt x="112" y="265"/>
                </a:cubicBezTo>
                <a:cubicBezTo>
                  <a:pt x="112" y="266"/>
                  <a:pt x="114" y="267"/>
                  <a:pt x="116" y="268"/>
                </a:cubicBezTo>
                <a:cubicBezTo>
                  <a:pt x="117" y="268"/>
                  <a:pt x="117" y="269"/>
                  <a:pt x="121" y="269"/>
                </a:cubicBezTo>
                <a:cubicBezTo>
                  <a:pt x="122" y="269"/>
                  <a:pt x="124" y="270"/>
                  <a:pt x="125" y="271"/>
                </a:cubicBezTo>
                <a:cubicBezTo>
                  <a:pt x="130" y="273"/>
                  <a:pt x="133" y="275"/>
                  <a:pt x="139" y="277"/>
                </a:cubicBezTo>
                <a:cubicBezTo>
                  <a:pt x="137" y="276"/>
                  <a:pt x="133" y="274"/>
                  <a:pt x="133" y="273"/>
                </a:cubicBezTo>
                <a:cubicBezTo>
                  <a:pt x="143" y="277"/>
                  <a:pt x="152" y="281"/>
                  <a:pt x="160" y="286"/>
                </a:cubicBezTo>
                <a:cubicBezTo>
                  <a:pt x="162" y="287"/>
                  <a:pt x="164" y="288"/>
                  <a:pt x="168" y="289"/>
                </a:cubicBezTo>
                <a:cubicBezTo>
                  <a:pt x="168" y="289"/>
                  <a:pt x="169" y="290"/>
                  <a:pt x="169" y="290"/>
                </a:cubicBezTo>
                <a:cubicBezTo>
                  <a:pt x="171" y="291"/>
                  <a:pt x="176" y="293"/>
                  <a:pt x="178" y="295"/>
                </a:cubicBezTo>
                <a:cubicBezTo>
                  <a:pt x="179" y="295"/>
                  <a:pt x="179" y="295"/>
                  <a:pt x="179" y="295"/>
                </a:cubicBezTo>
                <a:cubicBezTo>
                  <a:pt x="179" y="295"/>
                  <a:pt x="179" y="295"/>
                  <a:pt x="179" y="295"/>
                </a:cubicBezTo>
                <a:cubicBezTo>
                  <a:pt x="179" y="295"/>
                  <a:pt x="179" y="295"/>
                  <a:pt x="178" y="295"/>
                </a:cubicBezTo>
                <a:cubicBezTo>
                  <a:pt x="181" y="297"/>
                  <a:pt x="186" y="299"/>
                  <a:pt x="190" y="301"/>
                </a:cubicBezTo>
                <a:cubicBezTo>
                  <a:pt x="195" y="303"/>
                  <a:pt x="200" y="306"/>
                  <a:pt x="202" y="308"/>
                </a:cubicBezTo>
                <a:cubicBezTo>
                  <a:pt x="203" y="309"/>
                  <a:pt x="204" y="309"/>
                  <a:pt x="204" y="309"/>
                </a:cubicBezTo>
                <a:cubicBezTo>
                  <a:pt x="208" y="311"/>
                  <a:pt x="214" y="314"/>
                  <a:pt x="218" y="316"/>
                </a:cubicBezTo>
                <a:cubicBezTo>
                  <a:pt x="219" y="317"/>
                  <a:pt x="221" y="318"/>
                  <a:pt x="224" y="318"/>
                </a:cubicBezTo>
                <a:cubicBezTo>
                  <a:pt x="225" y="318"/>
                  <a:pt x="226" y="319"/>
                  <a:pt x="228" y="320"/>
                </a:cubicBezTo>
                <a:cubicBezTo>
                  <a:pt x="228" y="320"/>
                  <a:pt x="229" y="320"/>
                  <a:pt x="229" y="320"/>
                </a:cubicBezTo>
                <a:cubicBezTo>
                  <a:pt x="229" y="320"/>
                  <a:pt x="229" y="320"/>
                  <a:pt x="229" y="320"/>
                </a:cubicBezTo>
                <a:cubicBezTo>
                  <a:pt x="226" y="317"/>
                  <a:pt x="221" y="315"/>
                  <a:pt x="216" y="313"/>
                </a:cubicBezTo>
                <a:cubicBezTo>
                  <a:pt x="214" y="312"/>
                  <a:pt x="211" y="311"/>
                  <a:pt x="211" y="310"/>
                </a:cubicBezTo>
                <a:cubicBezTo>
                  <a:pt x="204" y="309"/>
                  <a:pt x="209" y="308"/>
                  <a:pt x="204" y="306"/>
                </a:cubicBezTo>
                <a:cubicBezTo>
                  <a:pt x="204" y="306"/>
                  <a:pt x="204" y="306"/>
                  <a:pt x="204" y="306"/>
                </a:cubicBezTo>
                <a:cubicBezTo>
                  <a:pt x="203" y="305"/>
                  <a:pt x="203" y="304"/>
                  <a:pt x="200" y="303"/>
                </a:cubicBezTo>
                <a:cubicBezTo>
                  <a:pt x="197" y="302"/>
                  <a:pt x="193" y="300"/>
                  <a:pt x="191" y="299"/>
                </a:cubicBezTo>
                <a:cubicBezTo>
                  <a:pt x="189" y="297"/>
                  <a:pt x="188" y="298"/>
                  <a:pt x="186" y="298"/>
                </a:cubicBezTo>
                <a:cubicBezTo>
                  <a:pt x="186" y="297"/>
                  <a:pt x="188" y="297"/>
                  <a:pt x="185" y="296"/>
                </a:cubicBezTo>
                <a:cubicBezTo>
                  <a:pt x="185" y="295"/>
                  <a:pt x="181" y="294"/>
                  <a:pt x="181" y="293"/>
                </a:cubicBezTo>
                <a:cubicBezTo>
                  <a:pt x="181" y="293"/>
                  <a:pt x="182" y="293"/>
                  <a:pt x="182" y="293"/>
                </a:cubicBezTo>
                <a:cubicBezTo>
                  <a:pt x="184" y="293"/>
                  <a:pt x="183" y="293"/>
                  <a:pt x="183" y="292"/>
                </a:cubicBezTo>
                <a:cubicBezTo>
                  <a:pt x="187" y="293"/>
                  <a:pt x="190" y="295"/>
                  <a:pt x="190" y="295"/>
                </a:cubicBezTo>
                <a:cubicBezTo>
                  <a:pt x="190" y="297"/>
                  <a:pt x="192" y="297"/>
                  <a:pt x="196" y="298"/>
                </a:cubicBezTo>
                <a:cubicBezTo>
                  <a:pt x="198" y="299"/>
                  <a:pt x="200" y="300"/>
                  <a:pt x="201" y="301"/>
                </a:cubicBezTo>
                <a:cubicBezTo>
                  <a:pt x="202" y="301"/>
                  <a:pt x="204" y="302"/>
                  <a:pt x="206" y="302"/>
                </a:cubicBezTo>
                <a:cubicBezTo>
                  <a:pt x="206" y="303"/>
                  <a:pt x="206" y="303"/>
                  <a:pt x="207" y="303"/>
                </a:cubicBezTo>
                <a:cubicBezTo>
                  <a:pt x="210" y="304"/>
                  <a:pt x="214" y="306"/>
                  <a:pt x="218" y="308"/>
                </a:cubicBezTo>
                <a:cubicBezTo>
                  <a:pt x="218" y="308"/>
                  <a:pt x="218" y="308"/>
                  <a:pt x="218" y="308"/>
                </a:cubicBezTo>
                <a:cubicBezTo>
                  <a:pt x="218" y="308"/>
                  <a:pt x="218" y="308"/>
                  <a:pt x="218" y="308"/>
                </a:cubicBezTo>
                <a:cubicBezTo>
                  <a:pt x="218" y="308"/>
                  <a:pt x="218" y="308"/>
                  <a:pt x="218" y="308"/>
                </a:cubicBezTo>
                <a:cubicBezTo>
                  <a:pt x="220" y="309"/>
                  <a:pt x="223" y="310"/>
                  <a:pt x="225" y="311"/>
                </a:cubicBezTo>
                <a:cubicBezTo>
                  <a:pt x="229" y="312"/>
                  <a:pt x="232" y="314"/>
                  <a:pt x="236" y="316"/>
                </a:cubicBezTo>
                <a:cubicBezTo>
                  <a:pt x="235" y="314"/>
                  <a:pt x="225" y="311"/>
                  <a:pt x="227" y="310"/>
                </a:cubicBezTo>
                <a:cubicBezTo>
                  <a:pt x="228" y="310"/>
                  <a:pt x="228" y="309"/>
                  <a:pt x="228" y="309"/>
                </a:cubicBezTo>
                <a:cubicBezTo>
                  <a:pt x="228" y="309"/>
                  <a:pt x="228" y="308"/>
                  <a:pt x="227" y="308"/>
                </a:cubicBezTo>
                <a:cubicBezTo>
                  <a:pt x="225" y="308"/>
                  <a:pt x="223" y="307"/>
                  <a:pt x="220" y="306"/>
                </a:cubicBezTo>
                <a:cubicBezTo>
                  <a:pt x="220" y="306"/>
                  <a:pt x="219" y="305"/>
                  <a:pt x="218" y="305"/>
                </a:cubicBezTo>
                <a:cubicBezTo>
                  <a:pt x="217" y="305"/>
                  <a:pt x="216" y="304"/>
                  <a:pt x="216" y="304"/>
                </a:cubicBezTo>
                <a:cubicBezTo>
                  <a:pt x="210" y="301"/>
                  <a:pt x="206" y="298"/>
                  <a:pt x="202" y="296"/>
                </a:cubicBezTo>
                <a:cubicBezTo>
                  <a:pt x="204" y="296"/>
                  <a:pt x="206" y="297"/>
                  <a:pt x="208" y="298"/>
                </a:cubicBezTo>
                <a:cubicBezTo>
                  <a:pt x="208" y="297"/>
                  <a:pt x="204" y="296"/>
                  <a:pt x="203" y="295"/>
                </a:cubicBezTo>
                <a:cubicBezTo>
                  <a:pt x="203" y="295"/>
                  <a:pt x="203" y="295"/>
                  <a:pt x="204" y="295"/>
                </a:cubicBezTo>
                <a:cubicBezTo>
                  <a:pt x="204" y="295"/>
                  <a:pt x="204" y="295"/>
                  <a:pt x="204" y="295"/>
                </a:cubicBezTo>
                <a:cubicBezTo>
                  <a:pt x="204" y="295"/>
                  <a:pt x="204" y="294"/>
                  <a:pt x="205" y="295"/>
                </a:cubicBezTo>
                <a:cubicBezTo>
                  <a:pt x="208" y="296"/>
                  <a:pt x="209" y="296"/>
                  <a:pt x="210" y="296"/>
                </a:cubicBezTo>
                <a:cubicBezTo>
                  <a:pt x="211" y="295"/>
                  <a:pt x="209" y="295"/>
                  <a:pt x="208" y="294"/>
                </a:cubicBezTo>
                <a:cubicBezTo>
                  <a:pt x="205" y="293"/>
                  <a:pt x="202" y="292"/>
                  <a:pt x="201" y="291"/>
                </a:cubicBezTo>
                <a:cubicBezTo>
                  <a:pt x="199" y="289"/>
                  <a:pt x="197" y="289"/>
                  <a:pt x="195" y="289"/>
                </a:cubicBezTo>
                <a:cubicBezTo>
                  <a:pt x="193" y="288"/>
                  <a:pt x="191" y="287"/>
                  <a:pt x="187" y="285"/>
                </a:cubicBezTo>
                <a:cubicBezTo>
                  <a:pt x="189" y="287"/>
                  <a:pt x="191" y="288"/>
                  <a:pt x="195" y="289"/>
                </a:cubicBezTo>
                <a:cubicBezTo>
                  <a:pt x="197" y="290"/>
                  <a:pt x="199" y="291"/>
                  <a:pt x="201" y="292"/>
                </a:cubicBezTo>
                <a:cubicBezTo>
                  <a:pt x="203" y="293"/>
                  <a:pt x="203" y="294"/>
                  <a:pt x="201" y="294"/>
                </a:cubicBezTo>
                <a:cubicBezTo>
                  <a:pt x="199" y="293"/>
                  <a:pt x="196" y="291"/>
                  <a:pt x="195" y="293"/>
                </a:cubicBezTo>
                <a:cubicBezTo>
                  <a:pt x="195" y="292"/>
                  <a:pt x="194" y="292"/>
                  <a:pt x="193" y="292"/>
                </a:cubicBezTo>
                <a:cubicBezTo>
                  <a:pt x="193" y="291"/>
                  <a:pt x="191" y="290"/>
                  <a:pt x="189" y="290"/>
                </a:cubicBezTo>
                <a:cubicBezTo>
                  <a:pt x="184" y="287"/>
                  <a:pt x="178" y="284"/>
                  <a:pt x="172" y="281"/>
                </a:cubicBezTo>
                <a:cubicBezTo>
                  <a:pt x="169" y="279"/>
                  <a:pt x="167" y="277"/>
                  <a:pt x="162" y="275"/>
                </a:cubicBezTo>
                <a:cubicBezTo>
                  <a:pt x="160" y="273"/>
                  <a:pt x="154" y="271"/>
                  <a:pt x="152" y="269"/>
                </a:cubicBezTo>
                <a:cubicBezTo>
                  <a:pt x="151" y="269"/>
                  <a:pt x="149" y="268"/>
                  <a:pt x="148" y="267"/>
                </a:cubicBezTo>
                <a:cubicBezTo>
                  <a:pt x="147" y="266"/>
                  <a:pt x="146" y="266"/>
                  <a:pt x="146" y="265"/>
                </a:cubicBezTo>
                <a:cubicBezTo>
                  <a:pt x="145" y="265"/>
                  <a:pt x="145" y="264"/>
                  <a:pt x="144" y="264"/>
                </a:cubicBezTo>
                <a:cubicBezTo>
                  <a:pt x="146" y="265"/>
                  <a:pt x="148" y="266"/>
                  <a:pt x="150" y="267"/>
                </a:cubicBezTo>
                <a:cubicBezTo>
                  <a:pt x="152" y="267"/>
                  <a:pt x="152" y="268"/>
                  <a:pt x="154" y="268"/>
                </a:cubicBezTo>
                <a:cubicBezTo>
                  <a:pt x="155" y="269"/>
                  <a:pt x="157" y="269"/>
                  <a:pt x="158" y="270"/>
                </a:cubicBezTo>
                <a:cubicBezTo>
                  <a:pt x="158" y="269"/>
                  <a:pt x="158" y="269"/>
                  <a:pt x="159" y="269"/>
                </a:cubicBezTo>
                <a:cubicBezTo>
                  <a:pt x="162" y="270"/>
                  <a:pt x="164" y="272"/>
                  <a:pt x="168" y="273"/>
                </a:cubicBezTo>
                <a:cubicBezTo>
                  <a:pt x="170" y="274"/>
                  <a:pt x="172" y="275"/>
                  <a:pt x="173" y="276"/>
                </a:cubicBezTo>
                <a:cubicBezTo>
                  <a:pt x="173" y="276"/>
                  <a:pt x="172" y="276"/>
                  <a:pt x="173" y="277"/>
                </a:cubicBezTo>
                <a:cubicBezTo>
                  <a:pt x="175" y="277"/>
                  <a:pt x="175" y="277"/>
                  <a:pt x="176" y="277"/>
                </a:cubicBezTo>
                <a:cubicBezTo>
                  <a:pt x="177" y="277"/>
                  <a:pt x="178" y="278"/>
                  <a:pt x="180" y="279"/>
                </a:cubicBezTo>
                <a:cubicBezTo>
                  <a:pt x="180" y="279"/>
                  <a:pt x="180" y="279"/>
                  <a:pt x="180" y="279"/>
                </a:cubicBezTo>
                <a:cubicBezTo>
                  <a:pt x="186" y="283"/>
                  <a:pt x="196" y="287"/>
                  <a:pt x="204" y="291"/>
                </a:cubicBezTo>
                <a:cubicBezTo>
                  <a:pt x="208" y="293"/>
                  <a:pt x="212" y="296"/>
                  <a:pt x="216" y="298"/>
                </a:cubicBezTo>
                <a:cubicBezTo>
                  <a:pt x="218" y="299"/>
                  <a:pt x="221" y="301"/>
                  <a:pt x="224" y="302"/>
                </a:cubicBezTo>
                <a:cubicBezTo>
                  <a:pt x="225" y="303"/>
                  <a:pt x="225" y="304"/>
                  <a:pt x="228" y="304"/>
                </a:cubicBezTo>
                <a:cubicBezTo>
                  <a:pt x="233" y="305"/>
                  <a:pt x="230" y="303"/>
                  <a:pt x="230" y="303"/>
                </a:cubicBezTo>
                <a:cubicBezTo>
                  <a:pt x="231" y="303"/>
                  <a:pt x="232" y="304"/>
                  <a:pt x="234" y="304"/>
                </a:cubicBezTo>
                <a:cubicBezTo>
                  <a:pt x="232" y="303"/>
                  <a:pt x="229" y="301"/>
                  <a:pt x="226" y="299"/>
                </a:cubicBezTo>
                <a:cubicBezTo>
                  <a:pt x="227" y="299"/>
                  <a:pt x="228" y="299"/>
                  <a:pt x="226" y="298"/>
                </a:cubicBezTo>
                <a:cubicBezTo>
                  <a:pt x="223" y="297"/>
                  <a:pt x="221" y="296"/>
                  <a:pt x="217" y="294"/>
                </a:cubicBezTo>
                <a:cubicBezTo>
                  <a:pt x="217" y="294"/>
                  <a:pt x="217" y="294"/>
                  <a:pt x="217" y="294"/>
                </a:cubicBezTo>
                <a:cubicBezTo>
                  <a:pt x="217" y="294"/>
                  <a:pt x="217" y="294"/>
                  <a:pt x="217" y="294"/>
                </a:cubicBezTo>
                <a:cubicBezTo>
                  <a:pt x="217" y="294"/>
                  <a:pt x="217" y="294"/>
                  <a:pt x="217" y="294"/>
                </a:cubicBezTo>
                <a:cubicBezTo>
                  <a:pt x="217" y="294"/>
                  <a:pt x="220" y="294"/>
                  <a:pt x="215" y="293"/>
                </a:cubicBezTo>
                <a:cubicBezTo>
                  <a:pt x="214" y="292"/>
                  <a:pt x="212" y="291"/>
                  <a:pt x="214" y="291"/>
                </a:cubicBezTo>
                <a:cubicBezTo>
                  <a:pt x="214" y="291"/>
                  <a:pt x="214" y="291"/>
                  <a:pt x="214" y="291"/>
                </a:cubicBezTo>
                <a:cubicBezTo>
                  <a:pt x="214" y="291"/>
                  <a:pt x="214" y="291"/>
                  <a:pt x="214" y="291"/>
                </a:cubicBezTo>
                <a:cubicBezTo>
                  <a:pt x="214" y="291"/>
                  <a:pt x="214" y="291"/>
                  <a:pt x="214" y="291"/>
                </a:cubicBezTo>
                <a:cubicBezTo>
                  <a:pt x="219" y="293"/>
                  <a:pt x="223" y="296"/>
                  <a:pt x="230" y="298"/>
                </a:cubicBezTo>
                <a:cubicBezTo>
                  <a:pt x="231" y="299"/>
                  <a:pt x="232" y="299"/>
                  <a:pt x="233" y="300"/>
                </a:cubicBezTo>
                <a:cubicBezTo>
                  <a:pt x="236" y="300"/>
                  <a:pt x="232" y="299"/>
                  <a:pt x="232" y="299"/>
                </a:cubicBezTo>
                <a:cubicBezTo>
                  <a:pt x="233" y="299"/>
                  <a:pt x="234" y="298"/>
                  <a:pt x="235" y="298"/>
                </a:cubicBezTo>
                <a:cubicBezTo>
                  <a:pt x="239" y="300"/>
                  <a:pt x="241" y="301"/>
                  <a:pt x="244" y="303"/>
                </a:cubicBezTo>
                <a:cubicBezTo>
                  <a:pt x="246" y="304"/>
                  <a:pt x="248" y="305"/>
                  <a:pt x="250" y="305"/>
                </a:cubicBezTo>
                <a:cubicBezTo>
                  <a:pt x="253" y="306"/>
                  <a:pt x="247" y="304"/>
                  <a:pt x="246" y="303"/>
                </a:cubicBezTo>
                <a:cubicBezTo>
                  <a:pt x="246" y="303"/>
                  <a:pt x="246" y="303"/>
                  <a:pt x="246" y="302"/>
                </a:cubicBezTo>
                <a:cubicBezTo>
                  <a:pt x="246" y="302"/>
                  <a:pt x="246" y="302"/>
                  <a:pt x="246" y="302"/>
                </a:cubicBezTo>
                <a:cubicBezTo>
                  <a:pt x="247" y="302"/>
                  <a:pt x="247" y="302"/>
                  <a:pt x="248" y="302"/>
                </a:cubicBezTo>
                <a:cubicBezTo>
                  <a:pt x="245" y="301"/>
                  <a:pt x="240" y="299"/>
                  <a:pt x="238" y="298"/>
                </a:cubicBezTo>
                <a:cubicBezTo>
                  <a:pt x="237" y="297"/>
                  <a:pt x="237" y="297"/>
                  <a:pt x="236" y="296"/>
                </a:cubicBezTo>
                <a:cubicBezTo>
                  <a:pt x="236" y="296"/>
                  <a:pt x="237" y="296"/>
                  <a:pt x="238" y="296"/>
                </a:cubicBezTo>
                <a:cubicBezTo>
                  <a:pt x="238" y="296"/>
                  <a:pt x="238" y="296"/>
                  <a:pt x="237" y="295"/>
                </a:cubicBezTo>
                <a:cubicBezTo>
                  <a:pt x="231" y="292"/>
                  <a:pt x="231" y="292"/>
                  <a:pt x="237" y="292"/>
                </a:cubicBezTo>
                <a:cubicBezTo>
                  <a:pt x="239" y="292"/>
                  <a:pt x="239" y="293"/>
                  <a:pt x="242" y="293"/>
                </a:cubicBezTo>
                <a:cubicBezTo>
                  <a:pt x="244" y="293"/>
                  <a:pt x="241" y="292"/>
                  <a:pt x="240" y="292"/>
                </a:cubicBezTo>
                <a:cubicBezTo>
                  <a:pt x="239" y="291"/>
                  <a:pt x="239" y="290"/>
                  <a:pt x="241" y="291"/>
                </a:cubicBezTo>
                <a:cubicBezTo>
                  <a:pt x="247" y="293"/>
                  <a:pt x="253" y="294"/>
                  <a:pt x="258" y="297"/>
                </a:cubicBezTo>
                <a:cubicBezTo>
                  <a:pt x="258" y="297"/>
                  <a:pt x="259" y="297"/>
                  <a:pt x="258" y="297"/>
                </a:cubicBezTo>
                <a:cubicBezTo>
                  <a:pt x="258" y="297"/>
                  <a:pt x="256" y="296"/>
                  <a:pt x="255" y="297"/>
                </a:cubicBezTo>
                <a:cubicBezTo>
                  <a:pt x="260" y="300"/>
                  <a:pt x="270" y="302"/>
                  <a:pt x="275" y="305"/>
                </a:cubicBezTo>
                <a:cubicBezTo>
                  <a:pt x="277" y="307"/>
                  <a:pt x="280" y="308"/>
                  <a:pt x="284" y="310"/>
                </a:cubicBezTo>
                <a:cubicBezTo>
                  <a:pt x="285" y="311"/>
                  <a:pt x="286" y="311"/>
                  <a:pt x="288" y="311"/>
                </a:cubicBezTo>
                <a:cubicBezTo>
                  <a:pt x="290" y="311"/>
                  <a:pt x="289" y="310"/>
                  <a:pt x="287" y="310"/>
                </a:cubicBezTo>
                <a:cubicBezTo>
                  <a:pt x="283" y="308"/>
                  <a:pt x="287" y="309"/>
                  <a:pt x="287" y="308"/>
                </a:cubicBezTo>
                <a:cubicBezTo>
                  <a:pt x="288" y="308"/>
                  <a:pt x="289" y="308"/>
                  <a:pt x="289" y="309"/>
                </a:cubicBezTo>
                <a:cubicBezTo>
                  <a:pt x="287" y="308"/>
                  <a:pt x="287" y="306"/>
                  <a:pt x="282" y="306"/>
                </a:cubicBezTo>
                <a:cubicBezTo>
                  <a:pt x="281" y="306"/>
                  <a:pt x="283" y="307"/>
                  <a:pt x="283" y="307"/>
                </a:cubicBezTo>
                <a:cubicBezTo>
                  <a:pt x="280" y="307"/>
                  <a:pt x="280" y="306"/>
                  <a:pt x="278" y="305"/>
                </a:cubicBezTo>
                <a:cubicBezTo>
                  <a:pt x="273" y="303"/>
                  <a:pt x="273" y="302"/>
                  <a:pt x="268" y="300"/>
                </a:cubicBezTo>
                <a:cubicBezTo>
                  <a:pt x="266" y="299"/>
                  <a:pt x="264" y="298"/>
                  <a:pt x="262" y="297"/>
                </a:cubicBezTo>
                <a:cubicBezTo>
                  <a:pt x="262" y="296"/>
                  <a:pt x="263" y="296"/>
                  <a:pt x="262" y="295"/>
                </a:cubicBezTo>
                <a:cubicBezTo>
                  <a:pt x="260" y="294"/>
                  <a:pt x="258" y="293"/>
                  <a:pt x="256" y="292"/>
                </a:cubicBezTo>
                <a:cubicBezTo>
                  <a:pt x="256" y="292"/>
                  <a:pt x="255" y="292"/>
                  <a:pt x="255" y="292"/>
                </a:cubicBezTo>
                <a:cubicBezTo>
                  <a:pt x="257" y="293"/>
                  <a:pt x="259" y="294"/>
                  <a:pt x="261" y="295"/>
                </a:cubicBezTo>
                <a:cubicBezTo>
                  <a:pt x="256" y="294"/>
                  <a:pt x="255" y="293"/>
                  <a:pt x="252" y="292"/>
                </a:cubicBezTo>
                <a:cubicBezTo>
                  <a:pt x="251" y="290"/>
                  <a:pt x="245" y="288"/>
                  <a:pt x="242" y="287"/>
                </a:cubicBezTo>
                <a:cubicBezTo>
                  <a:pt x="242" y="286"/>
                  <a:pt x="241" y="286"/>
                  <a:pt x="240" y="286"/>
                </a:cubicBezTo>
                <a:cubicBezTo>
                  <a:pt x="240" y="286"/>
                  <a:pt x="240" y="286"/>
                  <a:pt x="240" y="286"/>
                </a:cubicBezTo>
                <a:cubicBezTo>
                  <a:pt x="240" y="286"/>
                  <a:pt x="240" y="286"/>
                  <a:pt x="240" y="286"/>
                </a:cubicBezTo>
                <a:cubicBezTo>
                  <a:pt x="240" y="286"/>
                  <a:pt x="240" y="286"/>
                  <a:pt x="240" y="286"/>
                </a:cubicBezTo>
                <a:cubicBezTo>
                  <a:pt x="236" y="285"/>
                  <a:pt x="234" y="283"/>
                  <a:pt x="229" y="281"/>
                </a:cubicBezTo>
                <a:cubicBezTo>
                  <a:pt x="229" y="281"/>
                  <a:pt x="229" y="281"/>
                  <a:pt x="229" y="281"/>
                </a:cubicBezTo>
                <a:cubicBezTo>
                  <a:pt x="229" y="281"/>
                  <a:pt x="229" y="281"/>
                  <a:pt x="229" y="281"/>
                </a:cubicBezTo>
                <a:cubicBezTo>
                  <a:pt x="228" y="280"/>
                  <a:pt x="226" y="279"/>
                  <a:pt x="224" y="279"/>
                </a:cubicBezTo>
                <a:cubicBezTo>
                  <a:pt x="223" y="277"/>
                  <a:pt x="220" y="276"/>
                  <a:pt x="217" y="275"/>
                </a:cubicBezTo>
                <a:cubicBezTo>
                  <a:pt x="215" y="274"/>
                  <a:pt x="214" y="273"/>
                  <a:pt x="212" y="273"/>
                </a:cubicBezTo>
                <a:cubicBezTo>
                  <a:pt x="212" y="272"/>
                  <a:pt x="212" y="272"/>
                  <a:pt x="212" y="272"/>
                </a:cubicBezTo>
                <a:cubicBezTo>
                  <a:pt x="210" y="271"/>
                  <a:pt x="207" y="270"/>
                  <a:pt x="208" y="269"/>
                </a:cubicBezTo>
                <a:cubicBezTo>
                  <a:pt x="214" y="271"/>
                  <a:pt x="218" y="274"/>
                  <a:pt x="225" y="276"/>
                </a:cubicBezTo>
                <a:cubicBezTo>
                  <a:pt x="236" y="282"/>
                  <a:pt x="246" y="287"/>
                  <a:pt x="257" y="292"/>
                </a:cubicBezTo>
                <a:cubicBezTo>
                  <a:pt x="258" y="292"/>
                  <a:pt x="260" y="293"/>
                  <a:pt x="261" y="293"/>
                </a:cubicBezTo>
                <a:cubicBezTo>
                  <a:pt x="262" y="294"/>
                  <a:pt x="262" y="294"/>
                  <a:pt x="263" y="294"/>
                </a:cubicBezTo>
                <a:cubicBezTo>
                  <a:pt x="269" y="297"/>
                  <a:pt x="274" y="300"/>
                  <a:pt x="280" y="302"/>
                </a:cubicBezTo>
                <a:cubicBezTo>
                  <a:pt x="286" y="305"/>
                  <a:pt x="293" y="308"/>
                  <a:pt x="297" y="311"/>
                </a:cubicBezTo>
                <a:cubicBezTo>
                  <a:pt x="298" y="312"/>
                  <a:pt x="301" y="313"/>
                  <a:pt x="303" y="315"/>
                </a:cubicBezTo>
                <a:cubicBezTo>
                  <a:pt x="302" y="314"/>
                  <a:pt x="301" y="314"/>
                  <a:pt x="300" y="314"/>
                </a:cubicBezTo>
                <a:cubicBezTo>
                  <a:pt x="301" y="315"/>
                  <a:pt x="302" y="315"/>
                  <a:pt x="304" y="316"/>
                </a:cubicBezTo>
                <a:cubicBezTo>
                  <a:pt x="305" y="316"/>
                  <a:pt x="304" y="315"/>
                  <a:pt x="304" y="315"/>
                </a:cubicBezTo>
                <a:cubicBezTo>
                  <a:pt x="305" y="315"/>
                  <a:pt x="306" y="316"/>
                  <a:pt x="309" y="316"/>
                </a:cubicBezTo>
                <a:cubicBezTo>
                  <a:pt x="304" y="314"/>
                  <a:pt x="303" y="313"/>
                  <a:pt x="299" y="311"/>
                </a:cubicBezTo>
                <a:cubicBezTo>
                  <a:pt x="297" y="310"/>
                  <a:pt x="296" y="309"/>
                  <a:pt x="294" y="308"/>
                </a:cubicBezTo>
                <a:cubicBezTo>
                  <a:pt x="290" y="306"/>
                  <a:pt x="284" y="303"/>
                  <a:pt x="280" y="300"/>
                </a:cubicBezTo>
                <a:cubicBezTo>
                  <a:pt x="281" y="300"/>
                  <a:pt x="280" y="300"/>
                  <a:pt x="280" y="299"/>
                </a:cubicBezTo>
                <a:cubicBezTo>
                  <a:pt x="279" y="299"/>
                  <a:pt x="279" y="298"/>
                  <a:pt x="280" y="298"/>
                </a:cubicBezTo>
                <a:cubicBezTo>
                  <a:pt x="282" y="298"/>
                  <a:pt x="284" y="299"/>
                  <a:pt x="285" y="300"/>
                </a:cubicBezTo>
                <a:cubicBezTo>
                  <a:pt x="288" y="301"/>
                  <a:pt x="292" y="302"/>
                  <a:pt x="296" y="303"/>
                </a:cubicBezTo>
                <a:cubicBezTo>
                  <a:pt x="300" y="305"/>
                  <a:pt x="302" y="304"/>
                  <a:pt x="304" y="304"/>
                </a:cubicBezTo>
                <a:cubicBezTo>
                  <a:pt x="304" y="304"/>
                  <a:pt x="306" y="304"/>
                  <a:pt x="307" y="304"/>
                </a:cubicBezTo>
                <a:cubicBezTo>
                  <a:pt x="308" y="305"/>
                  <a:pt x="308" y="305"/>
                  <a:pt x="306" y="305"/>
                </a:cubicBezTo>
                <a:cubicBezTo>
                  <a:pt x="303" y="305"/>
                  <a:pt x="304" y="306"/>
                  <a:pt x="302" y="306"/>
                </a:cubicBezTo>
                <a:cubicBezTo>
                  <a:pt x="306" y="307"/>
                  <a:pt x="310" y="308"/>
                  <a:pt x="314" y="310"/>
                </a:cubicBezTo>
                <a:cubicBezTo>
                  <a:pt x="313" y="309"/>
                  <a:pt x="312" y="308"/>
                  <a:pt x="312" y="307"/>
                </a:cubicBezTo>
                <a:cubicBezTo>
                  <a:pt x="314" y="308"/>
                  <a:pt x="319" y="309"/>
                  <a:pt x="318" y="307"/>
                </a:cubicBezTo>
                <a:cubicBezTo>
                  <a:pt x="317" y="305"/>
                  <a:pt x="317" y="305"/>
                  <a:pt x="321" y="305"/>
                </a:cubicBezTo>
                <a:cubicBezTo>
                  <a:pt x="317" y="304"/>
                  <a:pt x="314" y="302"/>
                  <a:pt x="310" y="302"/>
                </a:cubicBezTo>
                <a:cubicBezTo>
                  <a:pt x="310" y="302"/>
                  <a:pt x="309" y="302"/>
                  <a:pt x="309" y="302"/>
                </a:cubicBezTo>
                <a:cubicBezTo>
                  <a:pt x="309" y="301"/>
                  <a:pt x="309" y="301"/>
                  <a:pt x="310" y="301"/>
                </a:cubicBezTo>
                <a:cubicBezTo>
                  <a:pt x="312" y="301"/>
                  <a:pt x="310" y="300"/>
                  <a:pt x="309" y="300"/>
                </a:cubicBezTo>
                <a:cubicBezTo>
                  <a:pt x="308" y="300"/>
                  <a:pt x="308" y="300"/>
                  <a:pt x="308" y="299"/>
                </a:cubicBezTo>
                <a:cubicBezTo>
                  <a:pt x="308" y="299"/>
                  <a:pt x="308" y="299"/>
                  <a:pt x="306" y="298"/>
                </a:cubicBezTo>
                <a:cubicBezTo>
                  <a:pt x="304" y="297"/>
                  <a:pt x="304" y="297"/>
                  <a:pt x="306" y="297"/>
                </a:cubicBezTo>
                <a:cubicBezTo>
                  <a:pt x="307" y="297"/>
                  <a:pt x="304" y="296"/>
                  <a:pt x="305" y="295"/>
                </a:cubicBezTo>
                <a:cubicBezTo>
                  <a:pt x="306" y="296"/>
                  <a:pt x="307" y="297"/>
                  <a:pt x="308" y="297"/>
                </a:cubicBezTo>
                <a:cubicBezTo>
                  <a:pt x="310" y="299"/>
                  <a:pt x="314" y="300"/>
                  <a:pt x="317" y="302"/>
                </a:cubicBezTo>
                <a:cubicBezTo>
                  <a:pt x="318" y="303"/>
                  <a:pt x="320" y="304"/>
                  <a:pt x="322" y="305"/>
                </a:cubicBezTo>
                <a:cubicBezTo>
                  <a:pt x="323" y="305"/>
                  <a:pt x="324" y="306"/>
                  <a:pt x="325" y="306"/>
                </a:cubicBezTo>
                <a:cubicBezTo>
                  <a:pt x="326" y="306"/>
                  <a:pt x="327" y="307"/>
                  <a:pt x="327" y="307"/>
                </a:cubicBezTo>
                <a:cubicBezTo>
                  <a:pt x="327" y="307"/>
                  <a:pt x="328" y="308"/>
                  <a:pt x="329" y="308"/>
                </a:cubicBezTo>
                <a:cubicBezTo>
                  <a:pt x="330" y="308"/>
                  <a:pt x="331" y="309"/>
                  <a:pt x="332" y="309"/>
                </a:cubicBezTo>
                <a:cubicBezTo>
                  <a:pt x="332" y="308"/>
                  <a:pt x="331" y="308"/>
                  <a:pt x="330" y="308"/>
                </a:cubicBezTo>
                <a:cubicBezTo>
                  <a:pt x="329" y="307"/>
                  <a:pt x="328" y="306"/>
                  <a:pt x="326" y="306"/>
                </a:cubicBezTo>
                <a:cubicBezTo>
                  <a:pt x="321" y="303"/>
                  <a:pt x="317" y="300"/>
                  <a:pt x="309" y="297"/>
                </a:cubicBezTo>
                <a:cubicBezTo>
                  <a:pt x="305" y="294"/>
                  <a:pt x="298" y="291"/>
                  <a:pt x="292" y="288"/>
                </a:cubicBezTo>
                <a:cubicBezTo>
                  <a:pt x="289" y="287"/>
                  <a:pt x="287" y="285"/>
                  <a:pt x="284" y="284"/>
                </a:cubicBezTo>
                <a:cubicBezTo>
                  <a:pt x="283" y="283"/>
                  <a:pt x="279" y="281"/>
                  <a:pt x="276" y="280"/>
                </a:cubicBezTo>
                <a:cubicBezTo>
                  <a:pt x="280" y="281"/>
                  <a:pt x="284" y="280"/>
                  <a:pt x="289" y="282"/>
                </a:cubicBezTo>
                <a:cubicBezTo>
                  <a:pt x="294" y="284"/>
                  <a:pt x="299" y="286"/>
                  <a:pt x="303" y="288"/>
                </a:cubicBezTo>
                <a:cubicBezTo>
                  <a:pt x="309" y="291"/>
                  <a:pt x="314" y="295"/>
                  <a:pt x="322" y="298"/>
                </a:cubicBezTo>
                <a:cubicBezTo>
                  <a:pt x="325" y="299"/>
                  <a:pt x="330" y="300"/>
                  <a:pt x="334" y="302"/>
                </a:cubicBezTo>
                <a:cubicBezTo>
                  <a:pt x="335" y="300"/>
                  <a:pt x="331" y="299"/>
                  <a:pt x="328" y="298"/>
                </a:cubicBezTo>
                <a:cubicBezTo>
                  <a:pt x="326" y="297"/>
                  <a:pt x="323" y="297"/>
                  <a:pt x="323" y="296"/>
                </a:cubicBezTo>
                <a:cubicBezTo>
                  <a:pt x="323" y="295"/>
                  <a:pt x="325" y="296"/>
                  <a:pt x="327" y="296"/>
                </a:cubicBezTo>
                <a:cubicBezTo>
                  <a:pt x="328" y="296"/>
                  <a:pt x="330" y="296"/>
                  <a:pt x="331" y="296"/>
                </a:cubicBezTo>
                <a:cubicBezTo>
                  <a:pt x="331" y="297"/>
                  <a:pt x="332" y="297"/>
                  <a:pt x="333" y="298"/>
                </a:cubicBezTo>
                <a:cubicBezTo>
                  <a:pt x="333" y="298"/>
                  <a:pt x="333" y="298"/>
                  <a:pt x="333" y="298"/>
                </a:cubicBezTo>
                <a:cubicBezTo>
                  <a:pt x="333" y="298"/>
                  <a:pt x="333" y="298"/>
                  <a:pt x="333" y="298"/>
                </a:cubicBezTo>
                <a:cubicBezTo>
                  <a:pt x="332" y="298"/>
                  <a:pt x="330" y="297"/>
                  <a:pt x="330" y="297"/>
                </a:cubicBezTo>
                <a:cubicBezTo>
                  <a:pt x="330" y="298"/>
                  <a:pt x="331" y="299"/>
                  <a:pt x="334" y="299"/>
                </a:cubicBezTo>
                <a:cubicBezTo>
                  <a:pt x="334" y="299"/>
                  <a:pt x="335" y="300"/>
                  <a:pt x="335" y="300"/>
                </a:cubicBezTo>
                <a:cubicBezTo>
                  <a:pt x="337" y="301"/>
                  <a:pt x="339" y="302"/>
                  <a:pt x="341" y="303"/>
                </a:cubicBezTo>
                <a:cubicBezTo>
                  <a:pt x="341" y="303"/>
                  <a:pt x="342" y="303"/>
                  <a:pt x="342" y="303"/>
                </a:cubicBezTo>
                <a:cubicBezTo>
                  <a:pt x="340" y="302"/>
                  <a:pt x="338" y="301"/>
                  <a:pt x="336" y="300"/>
                </a:cubicBezTo>
                <a:cubicBezTo>
                  <a:pt x="335" y="299"/>
                  <a:pt x="335" y="299"/>
                  <a:pt x="337" y="298"/>
                </a:cubicBezTo>
                <a:cubicBezTo>
                  <a:pt x="339" y="299"/>
                  <a:pt x="340" y="299"/>
                  <a:pt x="341" y="299"/>
                </a:cubicBezTo>
                <a:cubicBezTo>
                  <a:pt x="342" y="300"/>
                  <a:pt x="344" y="301"/>
                  <a:pt x="347" y="301"/>
                </a:cubicBezTo>
                <a:cubicBezTo>
                  <a:pt x="346" y="300"/>
                  <a:pt x="345" y="299"/>
                  <a:pt x="344" y="299"/>
                </a:cubicBezTo>
                <a:cubicBezTo>
                  <a:pt x="343" y="297"/>
                  <a:pt x="339" y="295"/>
                  <a:pt x="335" y="294"/>
                </a:cubicBezTo>
                <a:cubicBezTo>
                  <a:pt x="334" y="293"/>
                  <a:pt x="333" y="293"/>
                  <a:pt x="331" y="292"/>
                </a:cubicBezTo>
                <a:cubicBezTo>
                  <a:pt x="331" y="292"/>
                  <a:pt x="331" y="292"/>
                  <a:pt x="330" y="291"/>
                </a:cubicBezTo>
                <a:cubicBezTo>
                  <a:pt x="330" y="291"/>
                  <a:pt x="329" y="290"/>
                  <a:pt x="327" y="290"/>
                </a:cubicBezTo>
                <a:cubicBezTo>
                  <a:pt x="326" y="289"/>
                  <a:pt x="325" y="289"/>
                  <a:pt x="325" y="289"/>
                </a:cubicBezTo>
                <a:cubicBezTo>
                  <a:pt x="327" y="288"/>
                  <a:pt x="323" y="287"/>
                  <a:pt x="324" y="287"/>
                </a:cubicBezTo>
                <a:cubicBezTo>
                  <a:pt x="325" y="287"/>
                  <a:pt x="329" y="288"/>
                  <a:pt x="329" y="287"/>
                </a:cubicBezTo>
                <a:cubicBezTo>
                  <a:pt x="330" y="287"/>
                  <a:pt x="328" y="286"/>
                  <a:pt x="326" y="285"/>
                </a:cubicBezTo>
                <a:cubicBezTo>
                  <a:pt x="324" y="284"/>
                  <a:pt x="323" y="284"/>
                  <a:pt x="322" y="283"/>
                </a:cubicBezTo>
                <a:cubicBezTo>
                  <a:pt x="320" y="281"/>
                  <a:pt x="318" y="280"/>
                  <a:pt x="311" y="278"/>
                </a:cubicBezTo>
                <a:cubicBezTo>
                  <a:pt x="310" y="277"/>
                  <a:pt x="304" y="275"/>
                  <a:pt x="301" y="273"/>
                </a:cubicBezTo>
                <a:cubicBezTo>
                  <a:pt x="296" y="271"/>
                  <a:pt x="290" y="268"/>
                  <a:pt x="284" y="265"/>
                </a:cubicBezTo>
                <a:cubicBezTo>
                  <a:pt x="283" y="264"/>
                  <a:pt x="281" y="263"/>
                  <a:pt x="276" y="262"/>
                </a:cubicBezTo>
                <a:cubicBezTo>
                  <a:pt x="278" y="263"/>
                  <a:pt x="281" y="264"/>
                  <a:pt x="283" y="265"/>
                </a:cubicBezTo>
                <a:cubicBezTo>
                  <a:pt x="285" y="266"/>
                  <a:pt x="286" y="267"/>
                  <a:pt x="288" y="268"/>
                </a:cubicBezTo>
                <a:cubicBezTo>
                  <a:pt x="282" y="266"/>
                  <a:pt x="281" y="264"/>
                  <a:pt x="277" y="263"/>
                </a:cubicBezTo>
                <a:cubicBezTo>
                  <a:pt x="275" y="262"/>
                  <a:pt x="273" y="262"/>
                  <a:pt x="272" y="261"/>
                </a:cubicBezTo>
                <a:cubicBezTo>
                  <a:pt x="272" y="261"/>
                  <a:pt x="272" y="261"/>
                  <a:pt x="272" y="261"/>
                </a:cubicBezTo>
                <a:cubicBezTo>
                  <a:pt x="272" y="261"/>
                  <a:pt x="272" y="260"/>
                  <a:pt x="270" y="259"/>
                </a:cubicBezTo>
                <a:cubicBezTo>
                  <a:pt x="268" y="259"/>
                  <a:pt x="268" y="259"/>
                  <a:pt x="268" y="260"/>
                </a:cubicBezTo>
                <a:cubicBezTo>
                  <a:pt x="265" y="258"/>
                  <a:pt x="262" y="257"/>
                  <a:pt x="260" y="256"/>
                </a:cubicBezTo>
                <a:cubicBezTo>
                  <a:pt x="260" y="256"/>
                  <a:pt x="261" y="256"/>
                  <a:pt x="262" y="256"/>
                </a:cubicBezTo>
                <a:cubicBezTo>
                  <a:pt x="263" y="256"/>
                  <a:pt x="264" y="257"/>
                  <a:pt x="265" y="257"/>
                </a:cubicBezTo>
                <a:cubicBezTo>
                  <a:pt x="269" y="258"/>
                  <a:pt x="272" y="259"/>
                  <a:pt x="273" y="260"/>
                </a:cubicBezTo>
                <a:cubicBezTo>
                  <a:pt x="274" y="260"/>
                  <a:pt x="275" y="261"/>
                  <a:pt x="276" y="261"/>
                </a:cubicBezTo>
                <a:cubicBezTo>
                  <a:pt x="277" y="261"/>
                  <a:pt x="276" y="260"/>
                  <a:pt x="275" y="260"/>
                </a:cubicBezTo>
                <a:cubicBezTo>
                  <a:pt x="276" y="260"/>
                  <a:pt x="277" y="260"/>
                  <a:pt x="277" y="260"/>
                </a:cubicBezTo>
                <a:cubicBezTo>
                  <a:pt x="278" y="260"/>
                  <a:pt x="279" y="261"/>
                  <a:pt x="280" y="261"/>
                </a:cubicBezTo>
                <a:cubicBezTo>
                  <a:pt x="285" y="263"/>
                  <a:pt x="289" y="266"/>
                  <a:pt x="294" y="268"/>
                </a:cubicBezTo>
                <a:cubicBezTo>
                  <a:pt x="294" y="268"/>
                  <a:pt x="294" y="268"/>
                  <a:pt x="294" y="267"/>
                </a:cubicBezTo>
                <a:cubicBezTo>
                  <a:pt x="294" y="267"/>
                  <a:pt x="293" y="267"/>
                  <a:pt x="293" y="267"/>
                </a:cubicBezTo>
                <a:cubicBezTo>
                  <a:pt x="293" y="267"/>
                  <a:pt x="293" y="267"/>
                  <a:pt x="293" y="267"/>
                </a:cubicBezTo>
                <a:cubicBezTo>
                  <a:pt x="293" y="267"/>
                  <a:pt x="293" y="267"/>
                  <a:pt x="293" y="267"/>
                </a:cubicBezTo>
                <a:cubicBezTo>
                  <a:pt x="296" y="267"/>
                  <a:pt x="299" y="268"/>
                  <a:pt x="300" y="270"/>
                </a:cubicBezTo>
                <a:cubicBezTo>
                  <a:pt x="301" y="270"/>
                  <a:pt x="303" y="271"/>
                  <a:pt x="306" y="272"/>
                </a:cubicBezTo>
                <a:cubicBezTo>
                  <a:pt x="307" y="272"/>
                  <a:pt x="308" y="272"/>
                  <a:pt x="308" y="272"/>
                </a:cubicBezTo>
                <a:cubicBezTo>
                  <a:pt x="310" y="271"/>
                  <a:pt x="307" y="270"/>
                  <a:pt x="305" y="270"/>
                </a:cubicBezTo>
                <a:cubicBezTo>
                  <a:pt x="298" y="266"/>
                  <a:pt x="289" y="262"/>
                  <a:pt x="282" y="259"/>
                </a:cubicBezTo>
                <a:cubicBezTo>
                  <a:pt x="282" y="259"/>
                  <a:pt x="282" y="259"/>
                  <a:pt x="282" y="259"/>
                </a:cubicBezTo>
                <a:cubicBezTo>
                  <a:pt x="279" y="257"/>
                  <a:pt x="272" y="255"/>
                  <a:pt x="271" y="253"/>
                </a:cubicBezTo>
                <a:cubicBezTo>
                  <a:pt x="281" y="257"/>
                  <a:pt x="290" y="262"/>
                  <a:pt x="299" y="266"/>
                </a:cubicBezTo>
                <a:cubicBezTo>
                  <a:pt x="308" y="270"/>
                  <a:pt x="318" y="275"/>
                  <a:pt x="330" y="280"/>
                </a:cubicBezTo>
                <a:cubicBezTo>
                  <a:pt x="332" y="281"/>
                  <a:pt x="334" y="281"/>
                  <a:pt x="336" y="282"/>
                </a:cubicBezTo>
                <a:cubicBezTo>
                  <a:pt x="340" y="285"/>
                  <a:pt x="347" y="288"/>
                  <a:pt x="352" y="291"/>
                </a:cubicBezTo>
                <a:cubicBezTo>
                  <a:pt x="353" y="291"/>
                  <a:pt x="349" y="290"/>
                  <a:pt x="349" y="289"/>
                </a:cubicBezTo>
                <a:cubicBezTo>
                  <a:pt x="355" y="290"/>
                  <a:pt x="358" y="292"/>
                  <a:pt x="361" y="294"/>
                </a:cubicBezTo>
                <a:cubicBezTo>
                  <a:pt x="363" y="295"/>
                  <a:pt x="365" y="297"/>
                  <a:pt x="371" y="298"/>
                </a:cubicBezTo>
                <a:cubicBezTo>
                  <a:pt x="376" y="299"/>
                  <a:pt x="377" y="300"/>
                  <a:pt x="380" y="302"/>
                </a:cubicBezTo>
                <a:cubicBezTo>
                  <a:pt x="380" y="302"/>
                  <a:pt x="380" y="302"/>
                  <a:pt x="380" y="302"/>
                </a:cubicBezTo>
                <a:cubicBezTo>
                  <a:pt x="385" y="304"/>
                  <a:pt x="389" y="306"/>
                  <a:pt x="393" y="308"/>
                </a:cubicBezTo>
                <a:cubicBezTo>
                  <a:pt x="390" y="307"/>
                  <a:pt x="389" y="306"/>
                  <a:pt x="387" y="306"/>
                </a:cubicBezTo>
                <a:cubicBezTo>
                  <a:pt x="386" y="305"/>
                  <a:pt x="385" y="304"/>
                  <a:pt x="381" y="303"/>
                </a:cubicBezTo>
                <a:cubicBezTo>
                  <a:pt x="382" y="304"/>
                  <a:pt x="383" y="305"/>
                  <a:pt x="386" y="306"/>
                </a:cubicBezTo>
                <a:cubicBezTo>
                  <a:pt x="389" y="307"/>
                  <a:pt x="391" y="308"/>
                  <a:pt x="394" y="310"/>
                </a:cubicBezTo>
                <a:cubicBezTo>
                  <a:pt x="396" y="311"/>
                  <a:pt x="398" y="311"/>
                  <a:pt x="399" y="312"/>
                </a:cubicBezTo>
                <a:cubicBezTo>
                  <a:pt x="399" y="312"/>
                  <a:pt x="400" y="312"/>
                  <a:pt x="400" y="312"/>
                </a:cubicBezTo>
                <a:cubicBezTo>
                  <a:pt x="398" y="311"/>
                  <a:pt x="397" y="311"/>
                  <a:pt x="396" y="310"/>
                </a:cubicBezTo>
                <a:cubicBezTo>
                  <a:pt x="396" y="310"/>
                  <a:pt x="397" y="310"/>
                  <a:pt x="397" y="310"/>
                </a:cubicBezTo>
                <a:cubicBezTo>
                  <a:pt x="402" y="313"/>
                  <a:pt x="410" y="316"/>
                  <a:pt x="413" y="319"/>
                </a:cubicBezTo>
                <a:cubicBezTo>
                  <a:pt x="416" y="320"/>
                  <a:pt x="418" y="321"/>
                  <a:pt x="421" y="322"/>
                </a:cubicBezTo>
                <a:cubicBezTo>
                  <a:pt x="421" y="323"/>
                  <a:pt x="422" y="324"/>
                  <a:pt x="426" y="325"/>
                </a:cubicBezTo>
                <a:cubicBezTo>
                  <a:pt x="429" y="328"/>
                  <a:pt x="436" y="329"/>
                  <a:pt x="442" y="331"/>
                </a:cubicBezTo>
                <a:cubicBezTo>
                  <a:pt x="442" y="331"/>
                  <a:pt x="442" y="331"/>
                  <a:pt x="443" y="331"/>
                </a:cubicBezTo>
                <a:cubicBezTo>
                  <a:pt x="444" y="332"/>
                  <a:pt x="446" y="333"/>
                  <a:pt x="448" y="334"/>
                </a:cubicBezTo>
                <a:cubicBezTo>
                  <a:pt x="450" y="335"/>
                  <a:pt x="448" y="335"/>
                  <a:pt x="446" y="334"/>
                </a:cubicBezTo>
                <a:cubicBezTo>
                  <a:pt x="445" y="334"/>
                  <a:pt x="444" y="333"/>
                  <a:pt x="441" y="333"/>
                </a:cubicBezTo>
                <a:cubicBezTo>
                  <a:pt x="442" y="333"/>
                  <a:pt x="444" y="334"/>
                  <a:pt x="445" y="334"/>
                </a:cubicBezTo>
                <a:cubicBezTo>
                  <a:pt x="446" y="335"/>
                  <a:pt x="447" y="335"/>
                  <a:pt x="448" y="336"/>
                </a:cubicBezTo>
                <a:cubicBezTo>
                  <a:pt x="452" y="338"/>
                  <a:pt x="459" y="341"/>
                  <a:pt x="465" y="344"/>
                </a:cubicBezTo>
                <a:cubicBezTo>
                  <a:pt x="467" y="345"/>
                  <a:pt x="468" y="347"/>
                  <a:pt x="473" y="348"/>
                </a:cubicBezTo>
                <a:cubicBezTo>
                  <a:pt x="472" y="347"/>
                  <a:pt x="469" y="345"/>
                  <a:pt x="466" y="344"/>
                </a:cubicBezTo>
                <a:cubicBezTo>
                  <a:pt x="463" y="342"/>
                  <a:pt x="459" y="340"/>
                  <a:pt x="455" y="339"/>
                </a:cubicBezTo>
                <a:cubicBezTo>
                  <a:pt x="457" y="338"/>
                  <a:pt x="452" y="335"/>
                  <a:pt x="450" y="334"/>
                </a:cubicBezTo>
                <a:cubicBezTo>
                  <a:pt x="449" y="333"/>
                  <a:pt x="446" y="331"/>
                  <a:pt x="444" y="330"/>
                </a:cubicBezTo>
                <a:cubicBezTo>
                  <a:pt x="444" y="329"/>
                  <a:pt x="441" y="329"/>
                  <a:pt x="439" y="328"/>
                </a:cubicBezTo>
                <a:cubicBezTo>
                  <a:pt x="435" y="326"/>
                  <a:pt x="429" y="324"/>
                  <a:pt x="432" y="323"/>
                </a:cubicBezTo>
                <a:cubicBezTo>
                  <a:pt x="433" y="323"/>
                  <a:pt x="431" y="321"/>
                  <a:pt x="427" y="321"/>
                </a:cubicBezTo>
                <a:cubicBezTo>
                  <a:pt x="425" y="320"/>
                  <a:pt x="423" y="319"/>
                  <a:pt x="421" y="318"/>
                </a:cubicBezTo>
                <a:cubicBezTo>
                  <a:pt x="420" y="317"/>
                  <a:pt x="418" y="317"/>
                  <a:pt x="417" y="316"/>
                </a:cubicBezTo>
                <a:cubicBezTo>
                  <a:pt x="417" y="315"/>
                  <a:pt x="416" y="315"/>
                  <a:pt x="414" y="314"/>
                </a:cubicBezTo>
                <a:cubicBezTo>
                  <a:pt x="413" y="314"/>
                  <a:pt x="414" y="315"/>
                  <a:pt x="415" y="316"/>
                </a:cubicBezTo>
                <a:cubicBezTo>
                  <a:pt x="416" y="317"/>
                  <a:pt x="417" y="317"/>
                  <a:pt x="419" y="318"/>
                </a:cubicBezTo>
                <a:cubicBezTo>
                  <a:pt x="421" y="319"/>
                  <a:pt x="421" y="320"/>
                  <a:pt x="419" y="320"/>
                </a:cubicBezTo>
                <a:cubicBezTo>
                  <a:pt x="417" y="320"/>
                  <a:pt x="417" y="319"/>
                  <a:pt x="416" y="319"/>
                </a:cubicBezTo>
                <a:cubicBezTo>
                  <a:pt x="408" y="314"/>
                  <a:pt x="399" y="310"/>
                  <a:pt x="391" y="306"/>
                </a:cubicBezTo>
                <a:cubicBezTo>
                  <a:pt x="393" y="306"/>
                  <a:pt x="396" y="307"/>
                  <a:pt x="397" y="308"/>
                </a:cubicBezTo>
                <a:cubicBezTo>
                  <a:pt x="402" y="311"/>
                  <a:pt x="407" y="311"/>
                  <a:pt x="413" y="311"/>
                </a:cubicBezTo>
                <a:cubicBezTo>
                  <a:pt x="413" y="312"/>
                  <a:pt x="412" y="312"/>
                  <a:pt x="413" y="312"/>
                </a:cubicBezTo>
                <a:cubicBezTo>
                  <a:pt x="413" y="313"/>
                  <a:pt x="414" y="313"/>
                  <a:pt x="415" y="313"/>
                </a:cubicBezTo>
                <a:cubicBezTo>
                  <a:pt x="415" y="312"/>
                  <a:pt x="416" y="312"/>
                  <a:pt x="414" y="311"/>
                </a:cubicBezTo>
                <a:cubicBezTo>
                  <a:pt x="413" y="311"/>
                  <a:pt x="420" y="312"/>
                  <a:pt x="416" y="310"/>
                </a:cubicBezTo>
                <a:cubicBezTo>
                  <a:pt x="414" y="309"/>
                  <a:pt x="410" y="309"/>
                  <a:pt x="410" y="309"/>
                </a:cubicBezTo>
                <a:cubicBezTo>
                  <a:pt x="406" y="311"/>
                  <a:pt x="403" y="308"/>
                  <a:pt x="399" y="307"/>
                </a:cubicBezTo>
                <a:cubicBezTo>
                  <a:pt x="398" y="306"/>
                  <a:pt x="396" y="305"/>
                  <a:pt x="395" y="305"/>
                </a:cubicBezTo>
                <a:cubicBezTo>
                  <a:pt x="391" y="302"/>
                  <a:pt x="388" y="303"/>
                  <a:pt x="385" y="303"/>
                </a:cubicBezTo>
                <a:cubicBezTo>
                  <a:pt x="385" y="303"/>
                  <a:pt x="385" y="303"/>
                  <a:pt x="385" y="303"/>
                </a:cubicBezTo>
                <a:cubicBezTo>
                  <a:pt x="384" y="302"/>
                  <a:pt x="384" y="302"/>
                  <a:pt x="384" y="302"/>
                </a:cubicBezTo>
                <a:cubicBezTo>
                  <a:pt x="382" y="301"/>
                  <a:pt x="385" y="301"/>
                  <a:pt x="384" y="299"/>
                </a:cubicBezTo>
                <a:cubicBezTo>
                  <a:pt x="380" y="296"/>
                  <a:pt x="373" y="294"/>
                  <a:pt x="369" y="291"/>
                </a:cubicBezTo>
                <a:cubicBezTo>
                  <a:pt x="367" y="291"/>
                  <a:pt x="366" y="290"/>
                  <a:pt x="365" y="289"/>
                </a:cubicBezTo>
                <a:cubicBezTo>
                  <a:pt x="359" y="288"/>
                  <a:pt x="358" y="286"/>
                  <a:pt x="354" y="284"/>
                </a:cubicBezTo>
                <a:cubicBezTo>
                  <a:pt x="348" y="282"/>
                  <a:pt x="346" y="279"/>
                  <a:pt x="341" y="277"/>
                </a:cubicBezTo>
                <a:cubicBezTo>
                  <a:pt x="338" y="276"/>
                  <a:pt x="335" y="274"/>
                  <a:pt x="333" y="273"/>
                </a:cubicBezTo>
                <a:cubicBezTo>
                  <a:pt x="327" y="270"/>
                  <a:pt x="320" y="267"/>
                  <a:pt x="314" y="264"/>
                </a:cubicBezTo>
                <a:cubicBezTo>
                  <a:pt x="313" y="263"/>
                  <a:pt x="311" y="263"/>
                  <a:pt x="310" y="262"/>
                </a:cubicBezTo>
                <a:cubicBezTo>
                  <a:pt x="311" y="262"/>
                  <a:pt x="312" y="262"/>
                  <a:pt x="313" y="262"/>
                </a:cubicBezTo>
                <a:cubicBezTo>
                  <a:pt x="318" y="265"/>
                  <a:pt x="323" y="267"/>
                  <a:pt x="329" y="269"/>
                </a:cubicBezTo>
                <a:cubicBezTo>
                  <a:pt x="328" y="269"/>
                  <a:pt x="328" y="269"/>
                  <a:pt x="328" y="268"/>
                </a:cubicBezTo>
                <a:cubicBezTo>
                  <a:pt x="328" y="269"/>
                  <a:pt x="329" y="269"/>
                  <a:pt x="329" y="269"/>
                </a:cubicBezTo>
                <a:cubicBezTo>
                  <a:pt x="335" y="272"/>
                  <a:pt x="342" y="275"/>
                  <a:pt x="348" y="279"/>
                </a:cubicBezTo>
                <a:cubicBezTo>
                  <a:pt x="354" y="281"/>
                  <a:pt x="361" y="284"/>
                  <a:pt x="367" y="287"/>
                </a:cubicBezTo>
                <a:cubicBezTo>
                  <a:pt x="377" y="291"/>
                  <a:pt x="387" y="296"/>
                  <a:pt x="396" y="300"/>
                </a:cubicBezTo>
                <a:cubicBezTo>
                  <a:pt x="398" y="301"/>
                  <a:pt x="401" y="303"/>
                  <a:pt x="404" y="304"/>
                </a:cubicBezTo>
                <a:cubicBezTo>
                  <a:pt x="409" y="307"/>
                  <a:pt x="418" y="310"/>
                  <a:pt x="424" y="314"/>
                </a:cubicBezTo>
                <a:cubicBezTo>
                  <a:pt x="425" y="315"/>
                  <a:pt x="429" y="316"/>
                  <a:pt x="432" y="318"/>
                </a:cubicBezTo>
                <a:cubicBezTo>
                  <a:pt x="433" y="317"/>
                  <a:pt x="428" y="315"/>
                  <a:pt x="426" y="314"/>
                </a:cubicBezTo>
                <a:cubicBezTo>
                  <a:pt x="426" y="314"/>
                  <a:pt x="426" y="314"/>
                  <a:pt x="426" y="314"/>
                </a:cubicBezTo>
                <a:cubicBezTo>
                  <a:pt x="428" y="313"/>
                  <a:pt x="429" y="313"/>
                  <a:pt x="436" y="315"/>
                </a:cubicBezTo>
                <a:cubicBezTo>
                  <a:pt x="434" y="314"/>
                  <a:pt x="434" y="312"/>
                  <a:pt x="430" y="311"/>
                </a:cubicBezTo>
                <a:cubicBezTo>
                  <a:pt x="428" y="311"/>
                  <a:pt x="431" y="313"/>
                  <a:pt x="426" y="311"/>
                </a:cubicBezTo>
                <a:cubicBezTo>
                  <a:pt x="422" y="310"/>
                  <a:pt x="423" y="309"/>
                  <a:pt x="420" y="308"/>
                </a:cubicBezTo>
                <a:cubicBezTo>
                  <a:pt x="420" y="307"/>
                  <a:pt x="425" y="307"/>
                  <a:pt x="425" y="307"/>
                </a:cubicBezTo>
                <a:cubicBezTo>
                  <a:pt x="434" y="309"/>
                  <a:pt x="425" y="307"/>
                  <a:pt x="426" y="306"/>
                </a:cubicBezTo>
                <a:cubicBezTo>
                  <a:pt x="425" y="306"/>
                  <a:pt x="426" y="306"/>
                  <a:pt x="427" y="306"/>
                </a:cubicBezTo>
                <a:cubicBezTo>
                  <a:pt x="427" y="306"/>
                  <a:pt x="428" y="306"/>
                  <a:pt x="429" y="306"/>
                </a:cubicBezTo>
                <a:cubicBezTo>
                  <a:pt x="430" y="306"/>
                  <a:pt x="432" y="307"/>
                  <a:pt x="434" y="308"/>
                </a:cubicBezTo>
                <a:cubicBezTo>
                  <a:pt x="436" y="309"/>
                  <a:pt x="438" y="310"/>
                  <a:pt x="440" y="311"/>
                </a:cubicBezTo>
                <a:cubicBezTo>
                  <a:pt x="444" y="314"/>
                  <a:pt x="452" y="317"/>
                  <a:pt x="460" y="320"/>
                </a:cubicBezTo>
                <a:cubicBezTo>
                  <a:pt x="453" y="317"/>
                  <a:pt x="449" y="314"/>
                  <a:pt x="441" y="311"/>
                </a:cubicBezTo>
                <a:cubicBezTo>
                  <a:pt x="439" y="310"/>
                  <a:pt x="437" y="309"/>
                  <a:pt x="434" y="308"/>
                </a:cubicBezTo>
                <a:cubicBezTo>
                  <a:pt x="433" y="307"/>
                  <a:pt x="431" y="306"/>
                  <a:pt x="429" y="305"/>
                </a:cubicBezTo>
                <a:cubicBezTo>
                  <a:pt x="431" y="305"/>
                  <a:pt x="429" y="304"/>
                  <a:pt x="430" y="303"/>
                </a:cubicBezTo>
                <a:cubicBezTo>
                  <a:pt x="434" y="303"/>
                  <a:pt x="436" y="305"/>
                  <a:pt x="438" y="306"/>
                </a:cubicBezTo>
                <a:cubicBezTo>
                  <a:pt x="449" y="312"/>
                  <a:pt x="460" y="317"/>
                  <a:pt x="471" y="323"/>
                </a:cubicBezTo>
                <a:cubicBezTo>
                  <a:pt x="472" y="324"/>
                  <a:pt x="473" y="325"/>
                  <a:pt x="475" y="325"/>
                </a:cubicBezTo>
                <a:cubicBezTo>
                  <a:pt x="476" y="326"/>
                  <a:pt x="479" y="328"/>
                  <a:pt x="482" y="329"/>
                </a:cubicBezTo>
                <a:cubicBezTo>
                  <a:pt x="482" y="329"/>
                  <a:pt x="482" y="329"/>
                  <a:pt x="482" y="329"/>
                </a:cubicBezTo>
                <a:cubicBezTo>
                  <a:pt x="482" y="329"/>
                  <a:pt x="483" y="329"/>
                  <a:pt x="483" y="330"/>
                </a:cubicBezTo>
                <a:cubicBezTo>
                  <a:pt x="485" y="331"/>
                  <a:pt x="487" y="332"/>
                  <a:pt x="490" y="334"/>
                </a:cubicBezTo>
                <a:cubicBezTo>
                  <a:pt x="491" y="335"/>
                  <a:pt x="491" y="336"/>
                  <a:pt x="498" y="339"/>
                </a:cubicBezTo>
                <a:cubicBezTo>
                  <a:pt x="505" y="341"/>
                  <a:pt x="509" y="344"/>
                  <a:pt x="507" y="346"/>
                </a:cubicBezTo>
                <a:cubicBezTo>
                  <a:pt x="507" y="346"/>
                  <a:pt x="505" y="346"/>
                  <a:pt x="506" y="347"/>
                </a:cubicBezTo>
                <a:cubicBezTo>
                  <a:pt x="509" y="348"/>
                  <a:pt x="512" y="348"/>
                  <a:pt x="515" y="349"/>
                </a:cubicBezTo>
                <a:cubicBezTo>
                  <a:pt x="517" y="349"/>
                  <a:pt x="518" y="350"/>
                  <a:pt x="519" y="351"/>
                </a:cubicBezTo>
                <a:cubicBezTo>
                  <a:pt x="519" y="351"/>
                  <a:pt x="520" y="351"/>
                  <a:pt x="520" y="351"/>
                </a:cubicBezTo>
                <a:cubicBezTo>
                  <a:pt x="523" y="353"/>
                  <a:pt x="525" y="354"/>
                  <a:pt x="528" y="356"/>
                </a:cubicBezTo>
                <a:cubicBezTo>
                  <a:pt x="529" y="357"/>
                  <a:pt x="530" y="357"/>
                  <a:pt x="533" y="358"/>
                </a:cubicBezTo>
                <a:cubicBezTo>
                  <a:pt x="533" y="357"/>
                  <a:pt x="531" y="357"/>
                  <a:pt x="529" y="356"/>
                </a:cubicBezTo>
                <a:cubicBezTo>
                  <a:pt x="529" y="356"/>
                  <a:pt x="529" y="355"/>
                  <a:pt x="529" y="355"/>
                </a:cubicBezTo>
                <a:cubicBezTo>
                  <a:pt x="529" y="355"/>
                  <a:pt x="530" y="355"/>
                  <a:pt x="530" y="355"/>
                </a:cubicBezTo>
                <a:cubicBezTo>
                  <a:pt x="531" y="355"/>
                  <a:pt x="531" y="355"/>
                  <a:pt x="531" y="356"/>
                </a:cubicBezTo>
                <a:cubicBezTo>
                  <a:pt x="533" y="357"/>
                  <a:pt x="533" y="357"/>
                  <a:pt x="537" y="359"/>
                </a:cubicBezTo>
                <a:cubicBezTo>
                  <a:pt x="537" y="358"/>
                  <a:pt x="535" y="357"/>
                  <a:pt x="532" y="356"/>
                </a:cubicBezTo>
                <a:cubicBezTo>
                  <a:pt x="531" y="355"/>
                  <a:pt x="530" y="354"/>
                  <a:pt x="528" y="354"/>
                </a:cubicBezTo>
                <a:cubicBezTo>
                  <a:pt x="529" y="353"/>
                  <a:pt x="526" y="352"/>
                  <a:pt x="525" y="351"/>
                </a:cubicBezTo>
                <a:cubicBezTo>
                  <a:pt x="525" y="351"/>
                  <a:pt x="525" y="351"/>
                  <a:pt x="524" y="350"/>
                </a:cubicBezTo>
                <a:cubicBezTo>
                  <a:pt x="521" y="349"/>
                  <a:pt x="520" y="348"/>
                  <a:pt x="517" y="347"/>
                </a:cubicBezTo>
                <a:cubicBezTo>
                  <a:pt x="517" y="346"/>
                  <a:pt x="514" y="345"/>
                  <a:pt x="512" y="344"/>
                </a:cubicBezTo>
                <a:cubicBezTo>
                  <a:pt x="511" y="343"/>
                  <a:pt x="509" y="342"/>
                  <a:pt x="509" y="341"/>
                </a:cubicBezTo>
                <a:cubicBezTo>
                  <a:pt x="509" y="341"/>
                  <a:pt x="509" y="341"/>
                  <a:pt x="509" y="341"/>
                </a:cubicBezTo>
                <a:cubicBezTo>
                  <a:pt x="510" y="341"/>
                  <a:pt x="511" y="341"/>
                  <a:pt x="510" y="341"/>
                </a:cubicBezTo>
                <a:cubicBezTo>
                  <a:pt x="509" y="340"/>
                  <a:pt x="507" y="340"/>
                  <a:pt x="506" y="340"/>
                </a:cubicBezTo>
                <a:cubicBezTo>
                  <a:pt x="500" y="337"/>
                  <a:pt x="501" y="336"/>
                  <a:pt x="496" y="334"/>
                </a:cubicBezTo>
                <a:cubicBezTo>
                  <a:pt x="495" y="333"/>
                  <a:pt x="491" y="331"/>
                  <a:pt x="491" y="330"/>
                </a:cubicBezTo>
                <a:cubicBezTo>
                  <a:pt x="500" y="334"/>
                  <a:pt x="508" y="338"/>
                  <a:pt x="514" y="341"/>
                </a:cubicBezTo>
                <a:cubicBezTo>
                  <a:pt x="514" y="342"/>
                  <a:pt x="514" y="342"/>
                  <a:pt x="516" y="343"/>
                </a:cubicBezTo>
                <a:cubicBezTo>
                  <a:pt x="518" y="344"/>
                  <a:pt x="520" y="345"/>
                  <a:pt x="523" y="346"/>
                </a:cubicBezTo>
                <a:cubicBezTo>
                  <a:pt x="522" y="345"/>
                  <a:pt x="521" y="344"/>
                  <a:pt x="519" y="343"/>
                </a:cubicBezTo>
                <a:cubicBezTo>
                  <a:pt x="518" y="342"/>
                  <a:pt x="517" y="342"/>
                  <a:pt x="516" y="342"/>
                </a:cubicBezTo>
                <a:cubicBezTo>
                  <a:pt x="516" y="341"/>
                  <a:pt x="513" y="340"/>
                  <a:pt x="513" y="339"/>
                </a:cubicBezTo>
                <a:cubicBezTo>
                  <a:pt x="514" y="339"/>
                  <a:pt x="515" y="340"/>
                  <a:pt x="517" y="340"/>
                </a:cubicBezTo>
                <a:cubicBezTo>
                  <a:pt x="519" y="341"/>
                  <a:pt x="517" y="340"/>
                  <a:pt x="517" y="339"/>
                </a:cubicBezTo>
                <a:cubicBezTo>
                  <a:pt x="514" y="338"/>
                  <a:pt x="511" y="337"/>
                  <a:pt x="507" y="336"/>
                </a:cubicBezTo>
                <a:cubicBezTo>
                  <a:pt x="505" y="334"/>
                  <a:pt x="501" y="332"/>
                  <a:pt x="496" y="330"/>
                </a:cubicBezTo>
                <a:cubicBezTo>
                  <a:pt x="492" y="328"/>
                  <a:pt x="499" y="328"/>
                  <a:pt x="499" y="327"/>
                </a:cubicBezTo>
                <a:cubicBezTo>
                  <a:pt x="500" y="327"/>
                  <a:pt x="501" y="327"/>
                  <a:pt x="503" y="328"/>
                </a:cubicBezTo>
                <a:cubicBezTo>
                  <a:pt x="507" y="330"/>
                  <a:pt x="511" y="332"/>
                  <a:pt x="513" y="333"/>
                </a:cubicBezTo>
                <a:cubicBezTo>
                  <a:pt x="511" y="334"/>
                  <a:pt x="509" y="333"/>
                  <a:pt x="507" y="332"/>
                </a:cubicBezTo>
                <a:cubicBezTo>
                  <a:pt x="509" y="333"/>
                  <a:pt x="510" y="335"/>
                  <a:pt x="514" y="335"/>
                </a:cubicBezTo>
                <a:cubicBezTo>
                  <a:pt x="517" y="336"/>
                  <a:pt x="514" y="334"/>
                  <a:pt x="515" y="334"/>
                </a:cubicBezTo>
                <a:cubicBezTo>
                  <a:pt x="520" y="335"/>
                  <a:pt x="520" y="335"/>
                  <a:pt x="518" y="333"/>
                </a:cubicBezTo>
                <a:cubicBezTo>
                  <a:pt x="514" y="331"/>
                  <a:pt x="510" y="329"/>
                  <a:pt x="506" y="327"/>
                </a:cubicBezTo>
                <a:cubicBezTo>
                  <a:pt x="505" y="326"/>
                  <a:pt x="501" y="325"/>
                  <a:pt x="502" y="325"/>
                </a:cubicBezTo>
                <a:cubicBezTo>
                  <a:pt x="506" y="325"/>
                  <a:pt x="502" y="324"/>
                  <a:pt x="503" y="323"/>
                </a:cubicBezTo>
                <a:cubicBezTo>
                  <a:pt x="506" y="324"/>
                  <a:pt x="507" y="325"/>
                  <a:pt x="509" y="325"/>
                </a:cubicBezTo>
                <a:cubicBezTo>
                  <a:pt x="515" y="326"/>
                  <a:pt x="516" y="328"/>
                  <a:pt x="523" y="330"/>
                </a:cubicBezTo>
                <a:cubicBezTo>
                  <a:pt x="522" y="329"/>
                  <a:pt x="517" y="328"/>
                  <a:pt x="517" y="327"/>
                </a:cubicBezTo>
                <a:cubicBezTo>
                  <a:pt x="517" y="325"/>
                  <a:pt x="507" y="323"/>
                  <a:pt x="510" y="321"/>
                </a:cubicBezTo>
                <a:cubicBezTo>
                  <a:pt x="511" y="322"/>
                  <a:pt x="512" y="322"/>
                  <a:pt x="513" y="323"/>
                </a:cubicBezTo>
                <a:cubicBezTo>
                  <a:pt x="513" y="324"/>
                  <a:pt x="521" y="326"/>
                  <a:pt x="524" y="328"/>
                </a:cubicBezTo>
                <a:cubicBezTo>
                  <a:pt x="523" y="327"/>
                  <a:pt x="521" y="325"/>
                  <a:pt x="517" y="324"/>
                </a:cubicBezTo>
                <a:cubicBezTo>
                  <a:pt x="513" y="322"/>
                  <a:pt x="509" y="319"/>
                  <a:pt x="504" y="317"/>
                </a:cubicBezTo>
                <a:cubicBezTo>
                  <a:pt x="509" y="319"/>
                  <a:pt x="513" y="320"/>
                  <a:pt x="518" y="322"/>
                </a:cubicBezTo>
                <a:cubicBezTo>
                  <a:pt x="518" y="323"/>
                  <a:pt x="519" y="323"/>
                  <a:pt x="521" y="325"/>
                </a:cubicBezTo>
                <a:cubicBezTo>
                  <a:pt x="523" y="324"/>
                  <a:pt x="523" y="324"/>
                  <a:pt x="521" y="322"/>
                </a:cubicBezTo>
                <a:cubicBezTo>
                  <a:pt x="521" y="322"/>
                  <a:pt x="520" y="322"/>
                  <a:pt x="520" y="321"/>
                </a:cubicBezTo>
                <a:cubicBezTo>
                  <a:pt x="514" y="316"/>
                  <a:pt x="507" y="311"/>
                  <a:pt x="498" y="305"/>
                </a:cubicBezTo>
                <a:cubicBezTo>
                  <a:pt x="499" y="306"/>
                  <a:pt x="500" y="306"/>
                  <a:pt x="500" y="306"/>
                </a:cubicBezTo>
                <a:cubicBezTo>
                  <a:pt x="508" y="311"/>
                  <a:pt x="517" y="315"/>
                  <a:pt x="525" y="320"/>
                </a:cubicBezTo>
                <a:cubicBezTo>
                  <a:pt x="530" y="323"/>
                  <a:pt x="536" y="326"/>
                  <a:pt x="542" y="329"/>
                </a:cubicBezTo>
                <a:cubicBezTo>
                  <a:pt x="542" y="278"/>
                  <a:pt x="542" y="278"/>
                  <a:pt x="542" y="278"/>
                </a:cubicBezTo>
                <a:cubicBezTo>
                  <a:pt x="542" y="277"/>
                  <a:pt x="541" y="277"/>
                  <a:pt x="541" y="277"/>
                </a:cubicBezTo>
                <a:cubicBezTo>
                  <a:pt x="540" y="276"/>
                  <a:pt x="539" y="275"/>
                  <a:pt x="538" y="275"/>
                </a:cubicBezTo>
                <a:cubicBezTo>
                  <a:pt x="538" y="274"/>
                  <a:pt x="537" y="274"/>
                  <a:pt x="536" y="274"/>
                </a:cubicBezTo>
                <a:cubicBezTo>
                  <a:pt x="538" y="273"/>
                  <a:pt x="540" y="273"/>
                  <a:pt x="542" y="274"/>
                </a:cubicBezTo>
                <a:cubicBezTo>
                  <a:pt x="542" y="256"/>
                  <a:pt x="542" y="256"/>
                  <a:pt x="542" y="256"/>
                </a:cubicBezTo>
                <a:cubicBezTo>
                  <a:pt x="542" y="256"/>
                  <a:pt x="542" y="256"/>
                  <a:pt x="542" y="255"/>
                </a:cubicBezTo>
                <a:cubicBezTo>
                  <a:pt x="541" y="255"/>
                  <a:pt x="541" y="254"/>
                  <a:pt x="541" y="254"/>
                </a:cubicBezTo>
                <a:cubicBezTo>
                  <a:pt x="541" y="254"/>
                  <a:pt x="541" y="254"/>
                  <a:pt x="542" y="254"/>
                </a:cubicBezTo>
                <a:cubicBezTo>
                  <a:pt x="542" y="254"/>
                  <a:pt x="542" y="254"/>
                  <a:pt x="542" y="254"/>
                </a:cubicBezTo>
                <a:cubicBezTo>
                  <a:pt x="542" y="237"/>
                  <a:pt x="542" y="237"/>
                  <a:pt x="542" y="237"/>
                </a:cubicBezTo>
                <a:cubicBezTo>
                  <a:pt x="542" y="237"/>
                  <a:pt x="542" y="237"/>
                  <a:pt x="542" y="236"/>
                </a:cubicBezTo>
                <a:cubicBezTo>
                  <a:pt x="542" y="236"/>
                  <a:pt x="542" y="236"/>
                  <a:pt x="542" y="236"/>
                </a:cubicBezTo>
                <a:cubicBezTo>
                  <a:pt x="542" y="207"/>
                  <a:pt x="542" y="207"/>
                  <a:pt x="542" y="207"/>
                </a:cubicBezTo>
                <a:cubicBezTo>
                  <a:pt x="542" y="207"/>
                  <a:pt x="542" y="207"/>
                  <a:pt x="542" y="207"/>
                </a:cubicBezTo>
                <a:cubicBezTo>
                  <a:pt x="542" y="206"/>
                  <a:pt x="542" y="206"/>
                  <a:pt x="542" y="206"/>
                </a:cubicBezTo>
                <a:cubicBezTo>
                  <a:pt x="542" y="206"/>
                  <a:pt x="542" y="206"/>
                  <a:pt x="542" y="206"/>
                </a:cubicBezTo>
                <a:cubicBezTo>
                  <a:pt x="542" y="193"/>
                  <a:pt x="542" y="193"/>
                  <a:pt x="542" y="193"/>
                </a:cubicBezTo>
                <a:cubicBezTo>
                  <a:pt x="542" y="193"/>
                  <a:pt x="542" y="193"/>
                  <a:pt x="542" y="193"/>
                </a:cubicBezTo>
                <a:cubicBezTo>
                  <a:pt x="542" y="192"/>
                  <a:pt x="542" y="192"/>
                  <a:pt x="542" y="192"/>
                </a:cubicBezTo>
                <a:cubicBezTo>
                  <a:pt x="542" y="192"/>
                  <a:pt x="542" y="192"/>
                  <a:pt x="542" y="192"/>
                </a:cubicBezTo>
                <a:cubicBezTo>
                  <a:pt x="542" y="148"/>
                  <a:pt x="542" y="148"/>
                  <a:pt x="542" y="148"/>
                </a:cubicBezTo>
                <a:cubicBezTo>
                  <a:pt x="540" y="147"/>
                  <a:pt x="538" y="146"/>
                  <a:pt x="537" y="145"/>
                </a:cubicBezTo>
                <a:cubicBezTo>
                  <a:pt x="539" y="146"/>
                  <a:pt x="541" y="146"/>
                  <a:pt x="542" y="147"/>
                </a:cubicBezTo>
                <a:cubicBezTo>
                  <a:pt x="542" y="144"/>
                  <a:pt x="542" y="144"/>
                  <a:pt x="542" y="144"/>
                </a:cubicBezTo>
                <a:cubicBezTo>
                  <a:pt x="542" y="144"/>
                  <a:pt x="542" y="144"/>
                  <a:pt x="542" y="144"/>
                </a:cubicBezTo>
                <a:cubicBezTo>
                  <a:pt x="542" y="144"/>
                  <a:pt x="542" y="144"/>
                  <a:pt x="542" y="144"/>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12" name="Text Placeholder 11"/>
          <p:cNvSpPr>
            <a:spLocks noGrp="1"/>
          </p:cNvSpPr>
          <p:nvPr>
            <p:ph type="body" sz="quarter" idx="13"/>
          </p:nvPr>
        </p:nvSpPr>
        <p:spPr>
          <a:xfrm>
            <a:off x="1192485" y="1561579"/>
            <a:ext cx="6604000" cy="535531"/>
          </a:xfrm>
        </p:spPr>
        <p:txBody>
          <a:bodyPr wrap="square" anchor="t">
            <a:spAutoFit/>
          </a:bodyPr>
          <a:lstStyle>
            <a:lvl1pPr marL="0" indent="0" algn="l">
              <a:buNone/>
              <a:defRPr sz="3200" normalizeH="0" baseline="0">
                <a:solidFill>
                  <a:schemeClr val="tx1"/>
                </a:solidFill>
                <a:latin typeface="+mj-lt"/>
              </a:defRPr>
            </a:lvl1pPr>
            <a:lvl2pPr>
              <a:defRPr>
                <a:solidFill>
                  <a:schemeClr val="tx1"/>
                </a:solidFill>
                <a:latin typeface="+mj-lt"/>
              </a:defRPr>
            </a:lvl2pPr>
            <a:lvl3pPr>
              <a:defRPr>
                <a:solidFill>
                  <a:schemeClr val="tx1"/>
                </a:solidFill>
                <a:latin typeface="+mj-lt"/>
              </a:defRPr>
            </a:lvl3pPr>
            <a:lvl4pPr>
              <a:defRPr>
                <a:solidFill>
                  <a:schemeClr val="tx1"/>
                </a:solidFill>
                <a:latin typeface="+mj-lt"/>
              </a:defRPr>
            </a:lvl4pPr>
            <a:lvl5pPr>
              <a:defRPr>
                <a:solidFill>
                  <a:schemeClr val="tx1"/>
                </a:solidFill>
                <a:latin typeface="+mj-lt"/>
              </a:defRPr>
            </a:lvl5pPr>
          </a:lstStyle>
          <a:p>
            <a:pPr lvl="0"/>
            <a:r>
              <a:rPr lang="en-US" dirty="0"/>
              <a:t>Click to edit Master text styles</a:t>
            </a:r>
          </a:p>
        </p:txBody>
      </p:sp>
      <p:sp>
        <p:nvSpPr>
          <p:cNvPr id="2" name="Date Placeholder 1"/>
          <p:cNvSpPr>
            <a:spLocks noGrp="1"/>
          </p:cNvSpPr>
          <p:nvPr>
            <p:ph type="dt" sz="half" idx="10"/>
          </p:nvPr>
        </p:nvSpPr>
        <p:spPr/>
        <p:txBody>
          <a:bodyPr/>
          <a:lstStyle>
            <a:lvl1pPr>
              <a:defRPr>
                <a:solidFill>
                  <a:schemeClr val="tx1"/>
                </a:solidFill>
              </a:defRPr>
            </a:lvl1pPr>
          </a:lstStyle>
          <a:p>
            <a:fld id="{C9852138-FCC6-44DD-9FFC-1C789392E7AA}" type="datetime1">
              <a:rPr lang="en-US" smtClean="0"/>
              <a:t>10/28/2022</a:t>
            </a:fld>
            <a:endParaRPr lang="en-US"/>
          </a:p>
        </p:txBody>
      </p:sp>
      <p:sp>
        <p:nvSpPr>
          <p:cNvPr id="4" name="Slide Number Placeholder 3"/>
          <p:cNvSpPr>
            <a:spLocks noGrp="1"/>
          </p:cNvSpPr>
          <p:nvPr>
            <p:ph type="sldNum" sz="quarter" idx="12"/>
          </p:nvPr>
        </p:nvSpPr>
        <p:spPr/>
        <p:txBody>
          <a:bodyPr/>
          <a:lstStyle>
            <a:lvl1pPr>
              <a:defRPr>
                <a:solidFill>
                  <a:schemeClr val="tx1"/>
                </a:solidFill>
              </a:defRPr>
            </a:lvl1pPr>
          </a:lstStyle>
          <a:p>
            <a:fld id="{03206E70-9524-410D-AE9B-78D656EAA14D}" type="slidenum">
              <a:rPr lang="en-US" smtClean="0"/>
              <a:pPr/>
              <a:t>‹#›</a:t>
            </a:fld>
            <a:endParaRPr lang="en-US"/>
          </a:p>
        </p:txBody>
      </p:sp>
      <p:sp>
        <p:nvSpPr>
          <p:cNvPr id="8" name="Rectangle 7"/>
          <p:cNvSpPr/>
          <p:nvPr userDrawn="1"/>
        </p:nvSpPr>
        <p:spPr>
          <a:xfrm>
            <a:off x="10237880" y="0"/>
            <a:ext cx="571500" cy="55562"/>
          </a:xfrm>
          <a:prstGeom prst="rect">
            <a:avLst/>
          </a:prstGeom>
          <a:solidFill>
            <a:srgbClr val="E258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userDrawn="1"/>
        </p:nvSpPr>
        <p:spPr>
          <a:xfrm>
            <a:off x="10880817" y="0"/>
            <a:ext cx="571500" cy="55562"/>
          </a:xfrm>
          <a:prstGeom prst="rect">
            <a:avLst/>
          </a:prstGeom>
          <a:solidFill>
            <a:srgbClr val="78D2D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userDrawn="1"/>
        </p:nvSpPr>
        <p:spPr>
          <a:xfrm>
            <a:off x="11523754" y="0"/>
            <a:ext cx="571500" cy="55562"/>
          </a:xfrm>
          <a:prstGeom prst="rect">
            <a:avLst/>
          </a:prstGeom>
          <a:solidFill>
            <a:srgbClr val="3B393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91811486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9" name="Picture Placeholder 8"/>
          <p:cNvSpPr>
            <a:spLocks noGrp="1"/>
          </p:cNvSpPr>
          <p:nvPr>
            <p:ph type="pic" sz="quarter" idx="10"/>
          </p:nvPr>
        </p:nvSpPr>
        <p:spPr>
          <a:xfrm>
            <a:off x="0" y="-639706"/>
            <a:ext cx="12192000" cy="8099368"/>
          </a:xfrm>
          <a:custGeom>
            <a:avLst/>
            <a:gdLst>
              <a:gd name="connsiteX0" fmla="*/ 6471976 w 12192000"/>
              <a:gd name="connsiteY0" fmla="*/ 6950228 h 8099368"/>
              <a:gd name="connsiteX1" fmla="*/ 6486842 w 12192000"/>
              <a:gd name="connsiteY1" fmla="*/ 6951583 h 8099368"/>
              <a:gd name="connsiteX2" fmla="*/ 6500901 w 12192000"/>
              <a:gd name="connsiteY2" fmla="*/ 6971324 h 8099368"/>
              <a:gd name="connsiteX3" fmla="*/ 6473135 w 12192000"/>
              <a:gd name="connsiteY3" fmla="*/ 6951231 h 8099368"/>
              <a:gd name="connsiteX4" fmla="*/ 9762599 w 12192000"/>
              <a:gd name="connsiteY4" fmla="*/ 6948763 h 8099368"/>
              <a:gd name="connsiteX5" fmla="*/ 9920060 w 12192000"/>
              <a:gd name="connsiteY5" fmla="*/ 7016446 h 8099368"/>
              <a:gd name="connsiteX6" fmla="*/ 10347455 w 12192000"/>
              <a:gd name="connsiteY6" fmla="*/ 7219494 h 8099368"/>
              <a:gd name="connsiteX7" fmla="*/ 9897565 w 12192000"/>
              <a:gd name="connsiteY7" fmla="*/ 7016446 h 8099368"/>
              <a:gd name="connsiteX8" fmla="*/ 9762599 w 12192000"/>
              <a:gd name="connsiteY8" fmla="*/ 6948763 h 8099368"/>
              <a:gd name="connsiteX9" fmla="*/ 7892826 w 12192000"/>
              <a:gd name="connsiteY9" fmla="*/ 6551161 h 8099368"/>
              <a:gd name="connsiteX10" fmla="*/ 7916998 w 12192000"/>
              <a:gd name="connsiteY10" fmla="*/ 6561350 h 8099368"/>
              <a:gd name="connsiteX11" fmla="*/ 7918053 w 12192000"/>
              <a:gd name="connsiteY11" fmla="*/ 6565228 h 8099368"/>
              <a:gd name="connsiteX12" fmla="*/ 7862076 w 12192000"/>
              <a:gd name="connsiteY12" fmla="*/ 6534013 h 8099368"/>
              <a:gd name="connsiteX13" fmla="*/ 7892826 w 12192000"/>
              <a:gd name="connsiteY13" fmla="*/ 6551161 h 8099368"/>
              <a:gd name="connsiteX14" fmla="*/ 7892746 w 12192000"/>
              <a:gd name="connsiteY14" fmla="*/ 6551127 h 8099368"/>
              <a:gd name="connsiteX15" fmla="*/ 7864277 w 12192000"/>
              <a:gd name="connsiteY15" fmla="*/ 6536674 h 8099368"/>
              <a:gd name="connsiteX16" fmla="*/ 4206466 w 12192000"/>
              <a:gd name="connsiteY16" fmla="*/ 6429862 h 8099368"/>
              <a:gd name="connsiteX17" fmla="*/ 4386421 w 12192000"/>
              <a:gd name="connsiteY17" fmla="*/ 6520106 h 8099368"/>
              <a:gd name="connsiteX18" fmla="*/ 4206466 w 12192000"/>
              <a:gd name="connsiteY18" fmla="*/ 6429862 h 8099368"/>
              <a:gd name="connsiteX19" fmla="*/ 7379061 w 12192000"/>
              <a:gd name="connsiteY19" fmla="*/ 6060797 h 8099368"/>
              <a:gd name="connsiteX20" fmla="*/ 7386609 w 12192000"/>
              <a:gd name="connsiteY20" fmla="*/ 6063622 h 8099368"/>
              <a:gd name="connsiteX21" fmla="*/ 7389432 w 12192000"/>
              <a:gd name="connsiteY21" fmla="*/ 6066068 h 8099368"/>
              <a:gd name="connsiteX22" fmla="*/ 7400680 w 12192000"/>
              <a:gd name="connsiteY22" fmla="*/ 6068888 h 8099368"/>
              <a:gd name="connsiteX23" fmla="*/ 7380997 w 12192000"/>
              <a:gd name="connsiteY23" fmla="*/ 6066068 h 8099368"/>
              <a:gd name="connsiteX24" fmla="*/ 1507129 w 12192000"/>
              <a:gd name="connsiteY24" fmla="*/ 5662791 h 8099368"/>
              <a:gd name="connsiteX25" fmla="*/ 1619602 w 12192000"/>
              <a:gd name="connsiteY25" fmla="*/ 5707913 h 8099368"/>
              <a:gd name="connsiteX26" fmla="*/ 1597107 w 12192000"/>
              <a:gd name="connsiteY26" fmla="*/ 5707913 h 8099368"/>
              <a:gd name="connsiteX27" fmla="*/ 1507129 w 12192000"/>
              <a:gd name="connsiteY27" fmla="*/ 5662791 h 8099368"/>
              <a:gd name="connsiteX28" fmla="*/ 1529627 w 12192000"/>
              <a:gd name="connsiteY28" fmla="*/ 5640232 h 8099368"/>
              <a:gd name="connsiteX29" fmla="*/ 1687085 w 12192000"/>
              <a:gd name="connsiteY29" fmla="*/ 5707913 h 8099368"/>
              <a:gd name="connsiteX30" fmla="*/ 1844546 w 12192000"/>
              <a:gd name="connsiteY30" fmla="*/ 5775596 h 8099368"/>
              <a:gd name="connsiteX31" fmla="*/ 2114480 w 12192000"/>
              <a:gd name="connsiteY31" fmla="*/ 5888400 h 8099368"/>
              <a:gd name="connsiteX32" fmla="*/ 2226952 w 12192000"/>
              <a:gd name="connsiteY32" fmla="*/ 5956083 h 8099368"/>
              <a:gd name="connsiteX33" fmla="*/ 2091986 w 12192000"/>
              <a:gd name="connsiteY33" fmla="*/ 5888400 h 8099368"/>
              <a:gd name="connsiteX34" fmla="*/ 2002008 w 12192000"/>
              <a:gd name="connsiteY34" fmla="*/ 5865839 h 8099368"/>
              <a:gd name="connsiteX35" fmla="*/ 1912030 w 12192000"/>
              <a:gd name="connsiteY35" fmla="*/ 5820717 h 8099368"/>
              <a:gd name="connsiteX36" fmla="*/ 1889536 w 12192000"/>
              <a:gd name="connsiteY36" fmla="*/ 5820717 h 8099368"/>
              <a:gd name="connsiteX37" fmla="*/ 1574613 w 12192000"/>
              <a:gd name="connsiteY37" fmla="*/ 5662791 h 8099368"/>
              <a:gd name="connsiteX38" fmla="*/ 1529620 w 12192000"/>
              <a:gd name="connsiteY38" fmla="*/ 5640228 h 8099368"/>
              <a:gd name="connsiteX39" fmla="*/ 1529627 w 12192000"/>
              <a:gd name="connsiteY39" fmla="*/ 5640232 h 8099368"/>
              <a:gd name="connsiteX40" fmla="*/ 1529624 w 12192000"/>
              <a:gd name="connsiteY40" fmla="*/ 5640230 h 8099368"/>
              <a:gd name="connsiteX41" fmla="*/ 10572399 w 12192000"/>
              <a:gd name="connsiteY41" fmla="*/ 2481701 h 8099368"/>
              <a:gd name="connsiteX42" fmla="*/ 10594894 w 12192000"/>
              <a:gd name="connsiteY42" fmla="*/ 2481701 h 8099368"/>
              <a:gd name="connsiteX43" fmla="*/ 10684872 w 12192000"/>
              <a:gd name="connsiteY43" fmla="*/ 2526823 h 8099368"/>
              <a:gd name="connsiteX44" fmla="*/ 10572399 w 12192000"/>
              <a:gd name="connsiteY44" fmla="*/ 2481701 h 8099368"/>
              <a:gd name="connsiteX45" fmla="*/ 4791322 w 12192000"/>
              <a:gd name="connsiteY45" fmla="*/ 2098166 h 8099368"/>
              <a:gd name="connsiteX46" fmla="*/ 4811005 w 12192000"/>
              <a:gd name="connsiteY46" fmla="*/ 2100986 h 8099368"/>
              <a:gd name="connsiteX47" fmla="*/ 4812941 w 12192000"/>
              <a:gd name="connsiteY47" fmla="*/ 2106256 h 8099368"/>
              <a:gd name="connsiteX48" fmla="*/ 4805393 w 12192000"/>
              <a:gd name="connsiteY48" fmla="*/ 2103432 h 8099368"/>
              <a:gd name="connsiteX49" fmla="*/ 4802569 w 12192000"/>
              <a:gd name="connsiteY49" fmla="*/ 2100986 h 8099368"/>
              <a:gd name="connsiteX50" fmla="*/ 4791322 w 12192000"/>
              <a:gd name="connsiteY50" fmla="*/ 2098166 h 8099368"/>
              <a:gd name="connsiteX51" fmla="*/ 7805580 w 12192000"/>
              <a:gd name="connsiteY51" fmla="*/ 1624386 h 8099368"/>
              <a:gd name="connsiteX52" fmla="*/ 7985536 w 12192000"/>
              <a:gd name="connsiteY52" fmla="*/ 1714630 h 8099368"/>
              <a:gd name="connsiteX53" fmla="*/ 7805580 w 12192000"/>
              <a:gd name="connsiteY53" fmla="*/ 1624386 h 8099368"/>
              <a:gd name="connsiteX54" fmla="*/ 4299175 w 12192000"/>
              <a:gd name="connsiteY54" fmla="*/ 1593331 h 8099368"/>
              <a:gd name="connsiteX55" fmla="*/ 4299255 w 12192000"/>
              <a:gd name="connsiteY55" fmla="*/ 1593365 h 8099368"/>
              <a:gd name="connsiteX56" fmla="*/ 4327725 w 12192000"/>
              <a:gd name="connsiteY56" fmla="*/ 1607818 h 8099368"/>
              <a:gd name="connsiteX57" fmla="*/ 4329926 w 12192000"/>
              <a:gd name="connsiteY57" fmla="*/ 1610479 h 8099368"/>
              <a:gd name="connsiteX58" fmla="*/ 4273949 w 12192000"/>
              <a:gd name="connsiteY58" fmla="*/ 1579265 h 8099368"/>
              <a:gd name="connsiteX59" fmla="*/ 4299175 w 12192000"/>
              <a:gd name="connsiteY59" fmla="*/ 1593331 h 8099368"/>
              <a:gd name="connsiteX60" fmla="*/ 4275003 w 12192000"/>
              <a:gd name="connsiteY60" fmla="*/ 1583142 h 8099368"/>
              <a:gd name="connsiteX61" fmla="*/ 4273949 w 12192000"/>
              <a:gd name="connsiteY61" fmla="*/ 1579265 h 8099368"/>
              <a:gd name="connsiteX62" fmla="*/ 1844546 w 12192000"/>
              <a:gd name="connsiteY62" fmla="*/ 879876 h 8099368"/>
              <a:gd name="connsiteX63" fmla="*/ 2294436 w 12192000"/>
              <a:gd name="connsiteY63" fmla="*/ 1105485 h 8099368"/>
              <a:gd name="connsiteX64" fmla="*/ 2429403 w 12192000"/>
              <a:gd name="connsiteY64" fmla="*/ 1173168 h 8099368"/>
              <a:gd name="connsiteX65" fmla="*/ 2271942 w 12192000"/>
              <a:gd name="connsiteY65" fmla="*/ 1105485 h 8099368"/>
              <a:gd name="connsiteX66" fmla="*/ 1844546 w 12192000"/>
              <a:gd name="connsiteY66" fmla="*/ 879876 h 8099368"/>
              <a:gd name="connsiteX67" fmla="*/ 112472 w 12192000"/>
              <a:gd name="connsiteY67" fmla="*/ 0 h 8099368"/>
              <a:gd name="connsiteX68" fmla="*/ 247439 w 12192000"/>
              <a:gd name="connsiteY68" fmla="*/ 67683 h 8099368"/>
              <a:gd name="connsiteX69" fmla="*/ 269934 w 12192000"/>
              <a:gd name="connsiteY69" fmla="*/ 67683 h 8099368"/>
              <a:gd name="connsiteX70" fmla="*/ 292428 w 12192000"/>
              <a:gd name="connsiteY70" fmla="*/ 67683 h 8099368"/>
              <a:gd name="connsiteX71" fmla="*/ 292428 w 12192000"/>
              <a:gd name="connsiteY71" fmla="*/ 45122 h 8099368"/>
              <a:gd name="connsiteX72" fmla="*/ 202450 w 12192000"/>
              <a:gd name="connsiteY72" fmla="*/ 0 h 8099368"/>
              <a:gd name="connsiteX73" fmla="*/ 314923 w 12192000"/>
              <a:gd name="connsiteY73" fmla="*/ 45122 h 8099368"/>
              <a:gd name="connsiteX74" fmla="*/ 494878 w 12192000"/>
              <a:gd name="connsiteY74" fmla="*/ 157927 h 8099368"/>
              <a:gd name="connsiteX75" fmla="*/ 517373 w 12192000"/>
              <a:gd name="connsiteY75" fmla="*/ 180488 h 8099368"/>
              <a:gd name="connsiteX76" fmla="*/ 607351 w 12192000"/>
              <a:gd name="connsiteY76" fmla="*/ 225609 h 8099368"/>
              <a:gd name="connsiteX77" fmla="*/ 809801 w 12192000"/>
              <a:gd name="connsiteY77" fmla="*/ 248170 h 8099368"/>
              <a:gd name="connsiteX78" fmla="*/ 787307 w 12192000"/>
              <a:gd name="connsiteY78" fmla="*/ 293292 h 8099368"/>
              <a:gd name="connsiteX79" fmla="*/ 989757 w 12192000"/>
              <a:gd name="connsiteY79" fmla="*/ 451218 h 8099368"/>
              <a:gd name="connsiteX80" fmla="*/ 1169713 w 12192000"/>
              <a:gd name="connsiteY80" fmla="*/ 564023 h 8099368"/>
              <a:gd name="connsiteX81" fmla="*/ 1327174 w 12192000"/>
              <a:gd name="connsiteY81" fmla="*/ 654267 h 8099368"/>
              <a:gd name="connsiteX82" fmla="*/ 1349668 w 12192000"/>
              <a:gd name="connsiteY82" fmla="*/ 676828 h 8099368"/>
              <a:gd name="connsiteX83" fmla="*/ 1349668 w 12192000"/>
              <a:gd name="connsiteY83" fmla="*/ 699389 h 8099368"/>
              <a:gd name="connsiteX84" fmla="*/ 1507129 w 12192000"/>
              <a:gd name="connsiteY84" fmla="*/ 789632 h 8099368"/>
              <a:gd name="connsiteX85" fmla="*/ 1597107 w 12192000"/>
              <a:gd name="connsiteY85" fmla="*/ 812193 h 8099368"/>
              <a:gd name="connsiteX86" fmla="*/ 2339425 w 12192000"/>
              <a:gd name="connsiteY86" fmla="*/ 1240851 h 8099368"/>
              <a:gd name="connsiteX87" fmla="*/ 2519381 w 12192000"/>
              <a:gd name="connsiteY87" fmla="*/ 1285973 h 8099368"/>
              <a:gd name="connsiteX88" fmla="*/ 2541875 w 12192000"/>
              <a:gd name="connsiteY88" fmla="*/ 1263412 h 8099368"/>
              <a:gd name="connsiteX89" fmla="*/ 2429403 w 12192000"/>
              <a:gd name="connsiteY89" fmla="*/ 1173168 h 8099368"/>
              <a:gd name="connsiteX90" fmla="*/ 2541875 w 12192000"/>
              <a:gd name="connsiteY90" fmla="*/ 1240851 h 8099368"/>
              <a:gd name="connsiteX91" fmla="*/ 2586864 w 12192000"/>
              <a:gd name="connsiteY91" fmla="*/ 1240851 h 8099368"/>
              <a:gd name="connsiteX92" fmla="*/ 2609359 w 12192000"/>
              <a:gd name="connsiteY92" fmla="*/ 1218290 h 8099368"/>
              <a:gd name="connsiteX93" fmla="*/ 2631853 w 12192000"/>
              <a:gd name="connsiteY93" fmla="*/ 1195729 h 8099368"/>
              <a:gd name="connsiteX94" fmla="*/ 2744325 w 12192000"/>
              <a:gd name="connsiteY94" fmla="*/ 1173168 h 8099368"/>
              <a:gd name="connsiteX95" fmla="*/ 2609359 w 12192000"/>
              <a:gd name="connsiteY95" fmla="*/ 1105485 h 8099368"/>
              <a:gd name="connsiteX96" fmla="*/ 2519381 w 12192000"/>
              <a:gd name="connsiteY96" fmla="*/ 1105485 h 8099368"/>
              <a:gd name="connsiteX97" fmla="*/ 2384414 w 12192000"/>
              <a:gd name="connsiteY97" fmla="*/ 1015242 h 8099368"/>
              <a:gd name="connsiteX98" fmla="*/ 2609359 w 12192000"/>
              <a:gd name="connsiteY98" fmla="*/ 1037802 h 8099368"/>
              <a:gd name="connsiteX99" fmla="*/ 2474392 w 12192000"/>
              <a:gd name="connsiteY99" fmla="*/ 947559 h 8099368"/>
              <a:gd name="connsiteX100" fmla="*/ 2654347 w 12192000"/>
              <a:gd name="connsiteY100" fmla="*/ 1037802 h 8099368"/>
              <a:gd name="connsiteX101" fmla="*/ 3104237 w 12192000"/>
              <a:gd name="connsiteY101" fmla="*/ 1285973 h 8099368"/>
              <a:gd name="connsiteX102" fmla="*/ 3284193 w 12192000"/>
              <a:gd name="connsiteY102" fmla="*/ 1353655 h 8099368"/>
              <a:gd name="connsiteX103" fmla="*/ 3936532 w 12192000"/>
              <a:gd name="connsiteY103" fmla="*/ 1669508 h 8099368"/>
              <a:gd name="connsiteX104" fmla="*/ 4363927 w 12192000"/>
              <a:gd name="connsiteY104" fmla="*/ 1872556 h 8099368"/>
              <a:gd name="connsiteX105" fmla="*/ 4791322 w 12192000"/>
              <a:gd name="connsiteY105" fmla="*/ 2098166 h 8099368"/>
              <a:gd name="connsiteX106" fmla="*/ 4805393 w 12192000"/>
              <a:gd name="connsiteY106" fmla="*/ 2103432 h 8099368"/>
              <a:gd name="connsiteX107" fmla="*/ 4810302 w 12192000"/>
              <a:gd name="connsiteY107" fmla="*/ 2107684 h 8099368"/>
              <a:gd name="connsiteX108" fmla="*/ 4813816 w 12192000"/>
              <a:gd name="connsiteY108" fmla="*/ 2120727 h 8099368"/>
              <a:gd name="connsiteX109" fmla="*/ 4813465 w 12192000"/>
              <a:gd name="connsiteY109" fmla="*/ 2107684 h 8099368"/>
              <a:gd name="connsiteX110" fmla="*/ 4812941 w 12192000"/>
              <a:gd name="connsiteY110" fmla="*/ 2106256 h 8099368"/>
              <a:gd name="connsiteX111" fmla="*/ 4979713 w 12192000"/>
              <a:gd name="connsiteY111" fmla="*/ 2168669 h 8099368"/>
              <a:gd name="connsiteX112" fmla="*/ 5151233 w 12192000"/>
              <a:gd name="connsiteY112" fmla="*/ 2256092 h 8099368"/>
              <a:gd name="connsiteX113" fmla="*/ 5218717 w 12192000"/>
              <a:gd name="connsiteY113" fmla="*/ 2256092 h 8099368"/>
              <a:gd name="connsiteX114" fmla="*/ 5128739 w 12192000"/>
              <a:gd name="connsiteY114" fmla="*/ 2210970 h 8099368"/>
              <a:gd name="connsiteX115" fmla="*/ 4701344 w 12192000"/>
              <a:gd name="connsiteY115" fmla="*/ 2007922 h 8099368"/>
              <a:gd name="connsiteX116" fmla="*/ 4543883 w 12192000"/>
              <a:gd name="connsiteY116" fmla="*/ 1917678 h 8099368"/>
              <a:gd name="connsiteX117" fmla="*/ 4228960 w 12192000"/>
              <a:gd name="connsiteY117" fmla="*/ 1759752 h 8099368"/>
              <a:gd name="connsiteX118" fmla="*/ 3981521 w 12192000"/>
              <a:gd name="connsiteY118" fmla="*/ 1624386 h 8099368"/>
              <a:gd name="connsiteX119" fmla="*/ 3891543 w 12192000"/>
              <a:gd name="connsiteY119" fmla="*/ 1579265 h 8099368"/>
              <a:gd name="connsiteX120" fmla="*/ 3576621 w 12192000"/>
              <a:gd name="connsiteY120" fmla="*/ 1398777 h 8099368"/>
              <a:gd name="connsiteX121" fmla="*/ 3554126 w 12192000"/>
              <a:gd name="connsiteY121" fmla="*/ 1308534 h 8099368"/>
              <a:gd name="connsiteX122" fmla="*/ 3531632 w 12192000"/>
              <a:gd name="connsiteY122" fmla="*/ 1308534 h 8099368"/>
              <a:gd name="connsiteX123" fmla="*/ 3306687 w 12192000"/>
              <a:gd name="connsiteY123" fmla="*/ 1263412 h 8099368"/>
              <a:gd name="connsiteX124" fmla="*/ 3216709 w 12192000"/>
              <a:gd name="connsiteY124" fmla="*/ 1195729 h 8099368"/>
              <a:gd name="connsiteX125" fmla="*/ 2969270 w 12192000"/>
              <a:gd name="connsiteY125" fmla="*/ 1150607 h 8099368"/>
              <a:gd name="connsiteX126" fmla="*/ 2834303 w 12192000"/>
              <a:gd name="connsiteY126" fmla="*/ 1128046 h 8099368"/>
              <a:gd name="connsiteX127" fmla="*/ 2879292 w 12192000"/>
              <a:gd name="connsiteY127" fmla="*/ 1105485 h 8099368"/>
              <a:gd name="connsiteX128" fmla="*/ 2856798 w 12192000"/>
              <a:gd name="connsiteY128" fmla="*/ 1060363 h 8099368"/>
              <a:gd name="connsiteX129" fmla="*/ 2901787 w 12192000"/>
              <a:gd name="connsiteY129" fmla="*/ 1082924 h 8099368"/>
              <a:gd name="connsiteX130" fmla="*/ 2901787 w 12192000"/>
              <a:gd name="connsiteY130" fmla="*/ 1105485 h 8099368"/>
              <a:gd name="connsiteX131" fmla="*/ 3261698 w 12192000"/>
              <a:gd name="connsiteY131" fmla="*/ 1195729 h 8099368"/>
              <a:gd name="connsiteX132" fmla="*/ 3396665 w 12192000"/>
              <a:gd name="connsiteY132" fmla="*/ 1240851 h 8099368"/>
              <a:gd name="connsiteX133" fmla="*/ 2834303 w 12192000"/>
              <a:gd name="connsiteY133" fmla="*/ 924998 h 8099368"/>
              <a:gd name="connsiteX134" fmla="*/ 2766820 w 12192000"/>
              <a:gd name="connsiteY134" fmla="*/ 902437 h 8099368"/>
              <a:gd name="connsiteX135" fmla="*/ 2766820 w 12192000"/>
              <a:gd name="connsiteY135" fmla="*/ 947559 h 8099368"/>
              <a:gd name="connsiteX136" fmla="*/ 2856798 w 12192000"/>
              <a:gd name="connsiteY136" fmla="*/ 992681 h 8099368"/>
              <a:gd name="connsiteX137" fmla="*/ 2879292 w 12192000"/>
              <a:gd name="connsiteY137" fmla="*/ 1037802 h 8099368"/>
              <a:gd name="connsiteX138" fmla="*/ 2811809 w 12192000"/>
              <a:gd name="connsiteY138" fmla="*/ 992681 h 8099368"/>
              <a:gd name="connsiteX139" fmla="*/ 2721831 w 12192000"/>
              <a:gd name="connsiteY139" fmla="*/ 947559 h 8099368"/>
              <a:gd name="connsiteX140" fmla="*/ 2586864 w 12192000"/>
              <a:gd name="connsiteY140" fmla="*/ 879876 h 8099368"/>
              <a:gd name="connsiteX141" fmla="*/ 2474392 w 12192000"/>
              <a:gd name="connsiteY141" fmla="*/ 812193 h 8099368"/>
              <a:gd name="connsiteX142" fmla="*/ 2316930 w 12192000"/>
              <a:gd name="connsiteY142" fmla="*/ 699389 h 8099368"/>
              <a:gd name="connsiteX143" fmla="*/ 2204458 w 12192000"/>
              <a:gd name="connsiteY143" fmla="*/ 654267 h 8099368"/>
              <a:gd name="connsiteX144" fmla="*/ 2069491 w 12192000"/>
              <a:gd name="connsiteY144" fmla="*/ 564023 h 8099368"/>
              <a:gd name="connsiteX145" fmla="*/ 1957019 w 12192000"/>
              <a:gd name="connsiteY145" fmla="*/ 451218 h 8099368"/>
              <a:gd name="connsiteX146" fmla="*/ 1709580 w 12192000"/>
              <a:gd name="connsiteY146" fmla="*/ 315853 h 8099368"/>
              <a:gd name="connsiteX147" fmla="*/ 1552119 w 12192000"/>
              <a:gd name="connsiteY147" fmla="*/ 248170 h 8099368"/>
              <a:gd name="connsiteX148" fmla="*/ 1732074 w 12192000"/>
              <a:gd name="connsiteY148" fmla="*/ 315853 h 8099368"/>
              <a:gd name="connsiteX149" fmla="*/ 2114480 w 12192000"/>
              <a:gd name="connsiteY149" fmla="*/ 541462 h 8099368"/>
              <a:gd name="connsiteX150" fmla="*/ 2181964 w 12192000"/>
              <a:gd name="connsiteY150" fmla="*/ 564023 h 8099368"/>
              <a:gd name="connsiteX151" fmla="*/ 2271942 w 12192000"/>
              <a:gd name="connsiteY151" fmla="*/ 609145 h 8099368"/>
              <a:gd name="connsiteX152" fmla="*/ 2159469 w 12192000"/>
              <a:gd name="connsiteY152" fmla="*/ 564023 h 8099368"/>
              <a:gd name="connsiteX153" fmla="*/ 2114480 w 12192000"/>
              <a:gd name="connsiteY153" fmla="*/ 564023 h 8099368"/>
              <a:gd name="connsiteX154" fmla="*/ 2226952 w 12192000"/>
              <a:gd name="connsiteY154" fmla="*/ 631706 h 8099368"/>
              <a:gd name="connsiteX155" fmla="*/ 2249447 w 12192000"/>
              <a:gd name="connsiteY155" fmla="*/ 631706 h 8099368"/>
              <a:gd name="connsiteX156" fmla="*/ 2609359 w 12192000"/>
              <a:gd name="connsiteY156" fmla="*/ 767071 h 8099368"/>
              <a:gd name="connsiteX157" fmla="*/ 2721831 w 12192000"/>
              <a:gd name="connsiteY157" fmla="*/ 857315 h 8099368"/>
              <a:gd name="connsiteX158" fmla="*/ 2901787 w 12192000"/>
              <a:gd name="connsiteY158" fmla="*/ 924998 h 8099368"/>
              <a:gd name="connsiteX159" fmla="*/ 3261698 w 12192000"/>
              <a:gd name="connsiteY159" fmla="*/ 1128046 h 8099368"/>
              <a:gd name="connsiteX160" fmla="*/ 3284193 w 12192000"/>
              <a:gd name="connsiteY160" fmla="*/ 1128046 h 8099368"/>
              <a:gd name="connsiteX161" fmla="*/ 3194215 w 12192000"/>
              <a:gd name="connsiteY161" fmla="*/ 1082924 h 8099368"/>
              <a:gd name="connsiteX162" fmla="*/ 3216709 w 12192000"/>
              <a:gd name="connsiteY162" fmla="*/ 1082924 h 8099368"/>
              <a:gd name="connsiteX163" fmla="*/ 3329181 w 12192000"/>
              <a:gd name="connsiteY163" fmla="*/ 1128046 h 8099368"/>
              <a:gd name="connsiteX164" fmla="*/ 3509137 w 12192000"/>
              <a:gd name="connsiteY164" fmla="*/ 1240851 h 8099368"/>
              <a:gd name="connsiteX165" fmla="*/ 3621609 w 12192000"/>
              <a:gd name="connsiteY165" fmla="*/ 1285973 h 8099368"/>
              <a:gd name="connsiteX166" fmla="*/ 3486643 w 12192000"/>
              <a:gd name="connsiteY166" fmla="*/ 1240851 h 8099368"/>
              <a:gd name="connsiteX167" fmla="*/ 3351676 w 12192000"/>
              <a:gd name="connsiteY167" fmla="*/ 1173168 h 8099368"/>
              <a:gd name="connsiteX168" fmla="*/ 3644104 w 12192000"/>
              <a:gd name="connsiteY168" fmla="*/ 1331095 h 8099368"/>
              <a:gd name="connsiteX169" fmla="*/ 3846554 w 12192000"/>
              <a:gd name="connsiteY169" fmla="*/ 1421338 h 8099368"/>
              <a:gd name="connsiteX170" fmla="*/ 4071499 w 12192000"/>
              <a:gd name="connsiteY170" fmla="*/ 1511582 h 8099368"/>
              <a:gd name="connsiteX171" fmla="*/ 4341432 w 12192000"/>
              <a:gd name="connsiteY171" fmla="*/ 1624386 h 8099368"/>
              <a:gd name="connsiteX172" fmla="*/ 4329926 w 12192000"/>
              <a:gd name="connsiteY172" fmla="*/ 1610479 h 8099368"/>
              <a:gd name="connsiteX173" fmla="*/ 4364981 w 12192000"/>
              <a:gd name="connsiteY173" fmla="*/ 1630027 h 8099368"/>
              <a:gd name="connsiteX174" fmla="*/ 4633860 w 12192000"/>
              <a:gd name="connsiteY174" fmla="*/ 1782313 h 8099368"/>
              <a:gd name="connsiteX175" fmla="*/ 4768827 w 12192000"/>
              <a:gd name="connsiteY175" fmla="*/ 1849996 h 8099368"/>
              <a:gd name="connsiteX176" fmla="*/ 5466156 w 12192000"/>
              <a:gd name="connsiteY176" fmla="*/ 2165849 h 8099368"/>
              <a:gd name="connsiteX177" fmla="*/ 6096001 w 12192000"/>
              <a:gd name="connsiteY177" fmla="*/ 2459141 h 8099368"/>
              <a:gd name="connsiteX178" fmla="*/ 5848562 w 12192000"/>
              <a:gd name="connsiteY178" fmla="*/ 2323775 h 8099368"/>
              <a:gd name="connsiteX179" fmla="*/ 5331189 w 12192000"/>
              <a:gd name="connsiteY179" fmla="*/ 2075605 h 8099368"/>
              <a:gd name="connsiteX180" fmla="*/ 5263705 w 12192000"/>
              <a:gd name="connsiteY180" fmla="*/ 2030483 h 8099368"/>
              <a:gd name="connsiteX181" fmla="*/ 5308694 w 12192000"/>
              <a:gd name="connsiteY181" fmla="*/ 2030483 h 8099368"/>
              <a:gd name="connsiteX182" fmla="*/ 5443662 w 12192000"/>
              <a:gd name="connsiteY182" fmla="*/ 2075605 h 8099368"/>
              <a:gd name="connsiteX183" fmla="*/ 5551213 w 12192000"/>
              <a:gd name="connsiteY183" fmla="*/ 2139057 h 8099368"/>
              <a:gd name="connsiteX184" fmla="*/ 5578628 w 12192000"/>
              <a:gd name="connsiteY184" fmla="*/ 2141381 h 8099368"/>
              <a:gd name="connsiteX185" fmla="*/ 5578628 w 12192000"/>
              <a:gd name="connsiteY185" fmla="*/ 2143288 h 8099368"/>
              <a:gd name="connsiteX186" fmla="*/ 5601122 w 12192000"/>
              <a:gd name="connsiteY186" fmla="*/ 2143288 h 8099368"/>
              <a:gd name="connsiteX187" fmla="*/ 5578628 w 12192000"/>
              <a:gd name="connsiteY187" fmla="*/ 2141381 h 8099368"/>
              <a:gd name="connsiteX188" fmla="*/ 5578628 w 12192000"/>
              <a:gd name="connsiteY188" fmla="*/ 2130245 h 8099368"/>
              <a:gd name="connsiteX189" fmla="*/ 5578628 w 12192000"/>
              <a:gd name="connsiteY189" fmla="*/ 2120727 h 8099368"/>
              <a:gd name="connsiteX190" fmla="*/ 5893551 w 12192000"/>
              <a:gd name="connsiteY190" fmla="*/ 2278653 h 8099368"/>
              <a:gd name="connsiteX191" fmla="*/ 5961034 w 12192000"/>
              <a:gd name="connsiteY191" fmla="*/ 2301214 h 8099368"/>
              <a:gd name="connsiteX192" fmla="*/ 6006023 w 12192000"/>
              <a:gd name="connsiteY192" fmla="*/ 2301214 h 8099368"/>
              <a:gd name="connsiteX193" fmla="*/ 5983528 w 12192000"/>
              <a:gd name="connsiteY193" fmla="*/ 2278653 h 8099368"/>
              <a:gd name="connsiteX194" fmla="*/ 6051012 w 12192000"/>
              <a:gd name="connsiteY194" fmla="*/ 2301214 h 8099368"/>
              <a:gd name="connsiteX195" fmla="*/ 6230968 w 12192000"/>
              <a:gd name="connsiteY195" fmla="*/ 2391458 h 8099368"/>
              <a:gd name="connsiteX196" fmla="*/ 6298451 w 12192000"/>
              <a:gd name="connsiteY196" fmla="*/ 2391458 h 8099368"/>
              <a:gd name="connsiteX197" fmla="*/ 6343440 w 12192000"/>
              <a:gd name="connsiteY197" fmla="*/ 2414019 h 8099368"/>
              <a:gd name="connsiteX198" fmla="*/ 6163484 w 12192000"/>
              <a:gd name="connsiteY198" fmla="*/ 2323775 h 8099368"/>
              <a:gd name="connsiteX199" fmla="*/ 6118495 w 12192000"/>
              <a:gd name="connsiteY199" fmla="*/ 2323775 h 8099368"/>
              <a:gd name="connsiteX200" fmla="*/ 6073506 w 12192000"/>
              <a:gd name="connsiteY200" fmla="*/ 2278653 h 8099368"/>
              <a:gd name="connsiteX201" fmla="*/ 5961034 w 12192000"/>
              <a:gd name="connsiteY201" fmla="*/ 2233531 h 8099368"/>
              <a:gd name="connsiteX202" fmla="*/ 5713595 w 12192000"/>
              <a:gd name="connsiteY202" fmla="*/ 2120727 h 8099368"/>
              <a:gd name="connsiteX203" fmla="*/ 5826067 w 12192000"/>
              <a:gd name="connsiteY203" fmla="*/ 2188409 h 8099368"/>
              <a:gd name="connsiteX204" fmla="*/ 5983528 w 12192000"/>
              <a:gd name="connsiteY204" fmla="*/ 2278653 h 8099368"/>
              <a:gd name="connsiteX205" fmla="*/ 5803573 w 12192000"/>
              <a:gd name="connsiteY205" fmla="*/ 2188409 h 8099368"/>
              <a:gd name="connsiteX206" fmla="*/ 5421167 w 12192000"/>
              <a:gd name="connsiteY206" fmla="*/ 1985361 h 8099368"/>
              <a:gd name="connsiteX207" fmla="*/ 5196222 w 12192000"/>
              <a:gd name="connsiteY207" fmla="*/ 1872556 h 8099368"/>
              <a:gd name="connsiteX208" fmla="*/ 4948783 w 12192000"/>
              <a:gd name="connsiteY208" fmla="*/ 1759752 h 8099368"/>
              <a:gd name="connsiteX209" fmla="*/ 4858805 w 12192000"/>
              <a:gd name="connsiteY209" fmla="*/ 1714630 h 8099368"/>
              <a:gd name="connsiteX210" fmla="*/ 4791322 w 12192000"/>
              <a:gd name="connsiteY210" fmla="*/ 1669508 h 8099368"/>
              <a:gd name="connsiteX211" fmla="*/ 4903794 w 12192000"/>
              <a:gd name="connsiteY211" fmla="*/ 1692069 h 8099368"/>
              <a:gd name="connsiteX212" fmla="*/ 4881300 w 12192000"/>
              <a:gd name="connsiteY212" fmla="*/ 1624386 h 8099368"/>
              <a:gd name="connsiteX213" fmla="*/ 4836311 w 12192000"/>
              <a:gd name="connsiteY213" fmla="*/ 1601825 h 8099368"/>
              <a:gd name="connsiteX214" fmla="*/ 4768827 w 12192000"/>
              <a:gd name="connsiteY214" fmla="*/ 1579265 h 8099368"/>
              <a:gd name="connsiteX215" fmla="*/ 4746333 w 12192000"/>
              <a:gd name="connsiteY215" fmla="*/ 1556704 h 8099368"/>
              <a:gd name="connsiteX216" fmla="*/ 4656355 w 12192000"/>
              <a:gd name="connsiteY216" fmla="*/ 1511582 h 8099368"/>
              <a:gd name="connsiteX217" fmla="*/ 4453905 w 12192000"/>
              <a:gd name="connsiteY217" fmla="*/ 1398777 h 8099368"/>
              <a:gd name="connsiteX218" fmla="*/ 4386421 w 12192000"/>
              <a:gd name="connsiteY218" fmla="*/ 1331095 h 8099368"/>
              <a:gd name="connsiteX219" fmla="*/ 4521389 w 12192000"/>
              <a:gd name="connsiteY219" fmla="*/ 1398777 h 8099368"/>
              <a:gd name="connsiteX220" fmla="*/ 4611366 w 12192000"/>
              <a:gd name="connsiteY220" fmla="*/ 1398777 h 8099368"/>
              <a:gd name="connsiteX221" fmla="*/ 4633860 w 12192000"/>
              <a:gd name="connsiteY221" fmla="*/ 1376216 h 8099368"/>
              <a:gd name="connsiteX222" fmla="*/ 4498894 w 12192000"/>
              <a:gd name="connsiteY222" fmla="*/ 1308534 h 8099368"/>
              <a:gd name="connsiteX223" fmla="*/ 4521389 w 12192000"/>
              <a:gd name="connsiteY223" fmla="*/ 1308534 h 8099368"/>
              <a:gd name="connsiteX224" fmla="*/ 4656355 w 12192000"/>
              <a:gd name="connsiteY224" fmla="*/ 1376216 h 8099368"/>
              <a:gd name="connsiteX225" fmla="*/ 4678849 w 12192000"/>
              <a:gd name="connsiteY225" fmla="*/ 1376216 h 8099368"/>
              <a:gd name="connsiteX226" fmla="*/ 4768827 w 12192000"/>
              <a:gd name="connsiteY226" fmla="*/ 1421338 h 8099368"/>
              <a:gd name="connsiteX227" fmla="*/ 4701344 w 12192000"/>
              <a:gd name="connsiteY227" fmla="*/ 1398777 h 8099368"/>
              <a:gd name="connsiteX228" fmla="*/ 4701344 w 12192000"/>
              <a:gd name="connsiteY228" fmla="*/ 1421338 h 8099368"/>
              <a:gd name="connsiteX229" fmla="*/ 4746333 w 12192000"/>
              <a:gd name="connsiteY229" fmla="*/ 1466460 h 8099368"/>
              <a:gd name="connsiteX230" fmla="*/ 4836311 w 12192000"/>
              <a:gd name="connsiteY230" fmla="*/ 1466460 h 8099368"/>
              <a:gd name="connsiteX231" fmla="*/ 4926288 w 12192000"/>
              <a:gd name="connsiteY231" fmla="*/ 1466460 h 8099368"/>
              <a:gd name="connsiteX232" fmla="*/ 4813816 w 12192000"/>
              <a:gd name="connsiteY232" fmla="*/ 1421338 h 8099368"/>
              <a:gd name="connsiteX233" fmla="*/ 4678849 w 12192000"/>
              <a:gd name="connsiteY233" fmla="*/ 1331095 h 8099368"/>
              <a:gd name="connsiteX234" fmla="*/ 4948783 w 12192000"/>
              <a:gd name="connsiteY234" fmla="*/ 1421338 h 8099368"/>
              <a:gd name="connsiteX235" fmla="*/ 5376178 w 12192000"/>
              <a:gd name="connsiteY235" fmla="*/ 1646947 h 8099368"/>
              <a:gd name="connsiteX236" fmla="*/ 5691100 w 12192000"/>
              <a:gd name="connsiteY236" fmla="*/ 1782313 h 8099368"/>
              <a:gd name="connsiteX237" fmla="*/ 5983528 w 12192000"/>
              <a:gd name="connsiteY237" fmla="*/ 1849996 h 8099368"/>
              <a:gd name="connsiteX238" fmla="*/ 5803573 w 12192000"/>
              <a:gd name="connsiteY238" fmla="*/ 1737191 h 8099368"/>
              <a:gd name="connsiteX239" fmla="*/ 5623617 w 12192000"/>
              <a:gd name="connsiteY239" fmla="*/ 1646947 h 8099368"/>
              <a:gd name="connsiteX240" fmla="*/ 5241211 w 12192000"/>
              <a:gd name="connsiteY240" fmla="*/ 1421338 h 8099368"/>
              <a:gd name="connsiteX241" fmla="*/ 4858805 w 12192000"/>
              <a:gd name="connsiteY241" fmla="*/ 1218290 h 8099368"/>
              <a:gd name="connsiteX242" fmla="*/ 4768827 w 12192000"/>
              <a:gd name="connsiteY242" fmla="*/ 1195729 h 8099368"/>
              <a:gd name="connsiteX243" fmla="*/ 4723838 w 12192000"/>
              <a:gd name="connsiteY243" fmla="*/ 1173168 h 8099368"/>
              <a:gd name="connsiteX244" fmla="*/ 4791322 w 12192000"/>
              <a:gd name="connsiteY244" fmla="*/ 1173168 h 8099368"/>
              <a:gd name="connsiteX245" fmla="*/ 4836311 w 12192000"/>
              <a:gd name="connsiteY245" fmla="*/ 1195729 h 8099368"/>
              <a:gd name="connsiteX246" fmla="*/ 4881300 w 12192000"/>
              <a:gd name="connsiteY246" fmla="*/ 1218290 h 8099368"/>
              <a:gd name="connsiteX247" fmla="*/ 4948783 w 12192000"/>
              <a:gd name="connsiteY247" fmla="*/ 1263412 h 8099368"/>
              <a:gd name="connsiteX248" fmla="*/ 5061256 w 12192000"/>
              <a:gd name="connsiteY248" fmla="*/ 1308534 h 8099368"/>
              <a:gd name="connsiteX249" fmla="*/ 5263705 w 12192000"/>
              <a:gd name="connsiteY249" fmla="*/ 1421338 h 8099368"/>
              <a:gd name="connsiteX250" fmla="*/ 5353683 w 12192000"/>
              <a:gd name="connsiteY250" fmla="*/ 1466460 h 8099368"/>
              <a:gd name="connsiteX251" fmla="*/ 5308694 w 12192000"/>
              <a:gd name="connsiteY251" fmla="*/ 1443899 h 8099368"/>
              <a:gd name="connsiteX252" fmla="*/ 5308694 w 12192000"/>
              <a:gd name="connsiteY252" fmla="*/ 1398777 h 8099368"/>
              <a:gd name="connsiteX253" fmla="*/ 5263705 w 12192000"/>
              <a:gd name="connsiteY253" fmla="*/ 1376216 h 8099368"/>
              <a:gd name="connsiteX254" fmla="*/ 5241211 w 12192000"/>
              <a:gd name="connsiteY254" fmla="*/ 1376216 h 8099368"/>
              <a:gd name="connsiteX255" fmla="*/ 5218717 w 12192000"/>
              <a:gd name="connsiteY255" fmla="*/ 1353655 h 8099368"/>
              <a:gd name="connsiteX256" fmla="*/ 5241211 w 12192000"/>
              <a:gd name="connsiteY256" fmla="*/ 1331095 h 8099368"/>
              <a:gd name="connsiteX257" fmla="*/ 5218717 w 12192000"/>
              <a:gd name="connsiteY257" fmla="*/ 1331095 h 8099368"/>
              <a:gd name="connsiteX258" fmla="*/ 4971278 w 12192000"/>
              <a:gd name="connsiteY258" fmla="*/ 1240851 h 8099368"/>
              <a:gd name="connsiteX259" fmla="*/ 5038761 w 12192000"/>
              <a:gd name="connsiteY259" fmla="*/ 1195729 h 8099368"/>
              <a:gd name="connsiteX260" fmla="*/ 5173728 w 12192000"/>
              <a:gd name="connsiteY260" fmla="*/ 1195729 h 8099368"/>
              <a:gd name="connsiteX261" fmla="*/ 5128739 w 12192000"/>
              <a:gd name="connsiteY261" fmla="*/ 1128046 h 8099368"/>
              <a:gd name="connsiteX262" fmla="*/ 5398672 w 12192000"/>
              <a:gd name="connsiteY262" fmla="*/ 1218290 h 8099368"/>
              <a:gd name="connsiteX263" fmla="*/ 5308694 w 12192000"/>
              <a:gd name="connsiteY263" fmla="*/ 1240851 h 8099368"/>
              <a:gd name="connsiteX264" fmla="*/ 5286200 w 12192000"/>
              <a:gd name="connsiteY264" fmla="*/ 1263412 h 8099368"/>
              <a:gd name="connsiteX265" fmla="*/ 5353683 w 12192000"/>
              <a:gd name="connsiteY265" fmla="*/ 1285973 h 8099368"/>
              <a:gd name="connsiteX266" fmla="*/ 5533639 w 12192000"/>
              <a:gd name="connsiteY266" fmla="*/ 1285973 h 8099368"/>
              <a:gd name="connsiteX267" fmla="*/ 5781078 w 12192000"/>
              <a:gd name="connsiteY267" fmla="*/ 1376216 h 8099368"/>
              <a:gd name="connsiteX268" fmla="*/ 5893551 w 12192000"/>
              <a:gd name="connsiteY268" fmla="*/ 1421338 h 8099368"/>
              <a:gd name="connsiteX269" fmla="*/ 5893551 w 12192000"/>
              <a:gd name="connsiteY269" fmla="*/ 1376216 h 8099368"/>
              <a:gd name="connsiteX270" fmla="*/ 5893551 w 12192000"/>
              <a:gd name="connsiteY270" fmla="*/ 1353655 h 8099368"/>
              <a:gd name="connsiteX271" fmla="*/ 5578628 w 12192000"/>
              <a:gd name="connsiteY271" fmla="*/ 1173168 h 8099368"/>
              <a:gd name="connsiteX272" fmla="*/ 5466156 w 12192000"/>
              <a:gd name="connsiteY272" fmla="*/ 1105485 h 8099368"/>
              <a:gd name="connsiteX273" fmla="*/ 5241211 w 12192000"/>
              <a:gd name="connsiteY273" fmla="*/ 992681 h 8099368"/>
              <a:gd name="connsiteX274" fmla="*/ 5353683 w 12192000"/>
              <a:gd name="connsiteY274" fmla="*/ 1015242 h 8099368"/>
              <a:gd name="connsiteX275" fmla="*/ 5353683 w 12192000"/>
              <a:gd name="connsiteY275" fmla="*/ 992681 h 8099368"/>
              <a:gd name="connsiteX276" fmla="*/ 5443662 w 12192000"/>
              <a:gd name="connsiteY276" fmla="*/ 1037802 h 8099368"/>
              <a:gd name="connsiteX277" fmla="*/ 5376178 w 12192000"/>
              <a:gd name="connsiteY277" fmla="*/ 1015242 h 8099368"/>
              <a:gd name="connsiteX278" fmla="*/ 5511145 w 12192000"/>
              <a:gd name="connsiteY278" fmla="*/ 1105485 h 8099368"/>
              <a:gd name="connsiteX279" fmla="*/ 5893551 w 12192000"/>
              <a:gd name="connsiteY279" fmla="*/ 1308534 h 8099368"/>
              <a:gd name="connsiteX280" fmla="*/ 6275956 w 12192000"/>
              <a:gd name="connsiteY280" fmla="*/ 1489021 h 8099368"/>
              <a:gd name="connsiteX281" fmla="*/ 6320945 w 12192000"/>
              <a:gd name="connsiteY281" fmla="*/ 1511582 h 8099368"/>
              <a:gd name="connsiteX282" fmla="*/ 6410923 w 12192000"/>
              <a:gd name="connsiteY282" fmla="*/ 1556704 h 8099368"/>
              <a:gd name="connsiteX283" fmla="*/ 7130746 w 12192000"/>
              <a:gd name="connsiteY283" fmla="*/ 1917678 h 8099368"/>
              <a:gd name="connsiteX284" fmla="*/ 7513152 w 12192000"/>
              <a:gd name="connsiteY284" fmla="*/ 2098166 h 8099368"/>
              <a:gd name="connsiteX285" fmla="*/ 7423174 w 12192000"/>
              <a:gd name="connsiteY285" fmla="*/ 2030483 h 8099368"/>
              <a:gd name="connsiteX286" fmla="*/ 7423174 w 12192000"/>
              <a:gd name="connsiteY286" fmla="*/ 2007922 h 8099368"/>
              <a:gd name="connsiteX287" fmla="*/ 7310702 w 12192000"/>
              <a:gd name="connsiteY287" fmla="*/ 1940239 h 8099368"/>
              <a:gd name="connsiteX288" fmla="*/ 7153241 w 12192000"/>
              <a:gd name="connsiteY288" fmla="*/ 1872556 h 8099368"/>
              <a:gd name="connsiteX289" fmla="*/ 7040768 w 12192000"/>
              <a:gd name="connsiteY289" fmla="*/ 1804874 h 8099368"/>
              <a:gd name="connsiteX290" fmla="*/ 6793329 w 12192000"/>
              <a:gd name="connsiteY290" fmla="*/ 1692069 h 8099368"/>
              <a:gd name="connsiteX291" fmla="*/ 6748340 w 12192000"/>
              <a:gd name="connsiteY291" fmla="*/ 1669508 h 8099368"/>
              <a:gd name="connsiteX292" fmla="*/ 6523396 w 12192000"/>
              <a:gd name="connsiteY292" fmla="*/ 1556704 h 8099368"/>
              <a:gd name="connsiteX293" fmla="*/ 6320945 w 12192000"/>
              <a:gd name="connsiteY293" fmla="*/ 1489021 h 8099368"/>
              <a:gd name="connsiteX294" fmla="*/ 6455912 w 12192000"/>
              <a:gd name="connsiteY294" fmla="*/ 1556704 h 8099368"/>
              <a:gd name="connsiteX295" fmla="*/ 6433418 w 12192000"/>
              <a:gd name="connsiteY295" fmla="*/ 1556704 h 8099368"/>
              <a:gd name="connsiteX296" fmla="*/ 6298451 w 12192000"/>
              <a:gd name="connsiteY296" fmla="*/ 1489021 h 8099368"/>
              <a:gd name="connsiteX297" fmla="*/ 6298451 w 12192000"/>
              <a:gd name="connsiteY297" fmla="*/ 1443899 h 8099368"/>
              <a:gd name="connsiteX298" fmla="*/ 6163484 w 12192000"/>
              <a:gd name="connsiteY298" fmla="*/ 1376216 h 8099368"/>
              <a:gd name="connsiteX299" fmla="*/ 5938539 w 12192000"/>
              <a:gd name="connsiteY299" fmla="*/ 1240851 h 8099368"/>
              <a:gd name="connsiteX300" fmla="*/ 5826067 w 12192000"/>
              <a:gd name="connsiteY300" fmla="*/ 1195729 h 8099368"/>
              <a:gd name="connsiteX301" fmla="*/ 5848562 w 12192000"/>
              <a:gd name="connsiteY301" fmla="*/ 1240851 h 8099368"/>
              <a:gd name="connsiteX302" fmla="*/ 5691100 w 12192000"/>
              <a:gd name="connsiteY302" fmla="*/ 1173168 h 8099368"/>
              <a:gd name="connsiteX303" fmla="*/ 5736089 w 12192000"/>
              <a:gd name="connsiteY303" fmla="*/ 1173168 h 8099368"/>
              <a:gd name="connsiteX304" fmla="*/ 5736089 w 12192000"/>
              <a:gd name="connsiteY304" fmla="*/ 1128046 h 8099368"/>
              <a:gd name="connsiteX305" fmla="*/ 5713595 w 12192000"/>
              <a:gd name="connsiteY305" fmla="*/ 1105485 h 8099368"/>
              <a:gd name="connsiteX306" fmla="*/ 5803573 w 12192000"/>
              <a:gd name="connsiteY306" fmla="*/ 1128046 h 8099368"/>
              <a:gd name="connsiteX307" fmla="*/ 6006023 w 12192000"/>
              <a:gd name="connsiteY307" fmla="*/ 1240851 h 8099368"/>
              <a:gd name="connsiteX308" fmla="*/ 6455912 w 12192000"/>
              <a:gd name="connsiteY308" fmla="*/ 1443899 h 8099368"/>
              <a:gd name="connsiteX309" fmla="*/ 6388429 w 12192000"/>
              <a:gd name="connsiteY309" fmla="*/ 1421338 h 8099368"/>
              <a:gd name="connsiteX310" fmla="*/ 6388429 w 12192000"/>
              <a:gd name="connsiteY310" fmla="*/ 1443899 h 8099368"/>
              <a:gd name="connsiteX311" fmla="*/ 6770835 w 12192000"/>
              <a:gd name="connsiteY311" fmla="*/ 1579265 h 8099368"/>
              <a:gd name="connsiteX312" fmla="*/ 6793329 w 12192000"/>
              <a:gd name="connsiteY312" fmla="*/ 1556704 h 8099368"/>
              <a:gd name="connsiteX313" fmla="*/ 6748340 w 12192000"/>
              <a:gd name="connsiteY313" fmla="*/ 1511582 h 8099368"/>
              <a:gd name="connsiteX314" fmla="*/ 6860813 w 12192000"/>
              <a:gd name="connsiteY314" fmla="*/ 1556704 h 8099368"/>
              <a:gd name="connsiteX315" fmla="*/ 6860813 w 12192000"/>
              <a:gd name="connsiteY315" fmla="*/ 1489021 h 8099368"/>
              <a:gd name="connsiteX316" fmla="*/ 6838318 w 12192000"/>
              <a:gd name="connsiteY316" fmla="*/ 1443899 h 8099368"/>
              <a:gd name="connsiteX317" fmla="*/ 6883307 w 12192000"/>
              <a:gd name="connsiteY317" fmla="*/ 1443899 h 8099368"/>
              <a:gd name="connsiteX318" fmla="*/ 6838318 w 12192000"/>
              <a:gd name="connsiteY318" fmla="*/ 1421338 h 8099368"/>
              <a:gd name="connsiteX319" fmla="*/ 6613373 w 12192000"/>
              <a:gd name="connsiteY319" fmla="*/ 1308534 h 8099368"/>
              <a:gd name="connsiteX320" fmla="*/ 6658362 w 12192000"/>
              <a:gd name="connsiteY320" fmla="*/ 1308534 h 8099368"/>
              <a:gd name="connsiteX321" fmla="*/ 6568385 w 12192000"/>
              <a:gd name="connsiteY321" fmla="*/ 1240851 h 8099368"/>
              <a:gd name="connsiteX322" fmla="*/ 6703351 w 12192000"/>
              <a:gd name="connsiteY322" fmla="*/ 1308534 h 8099368"/>
              <a:gd name="connsiteX323" fmla="*/ 6905802 w 12192000"/>
              <a:gd name="connsiteY323" fmla="*/ 1398777 h 8099368"/>
              <a:gd name="connsiteX324" fmla="*/ 6973285 w 12192000"/>
              <a:gd name="connsiteY324" fmla="*/ 1398777 h 8099368"/>
              <a:gd name="connsiteX325" fmla="*/ 6950790 w 12192000"/>
              <a:gd name="connsiteY325" fmla="*/ 1353655 h 8099368"/>
              <a:gd name="connsiteX326" fmla="*/ 7018274 w 12192000"/>
              <a:gd name="connsiteY326" fmla="*/ 1398777 h 8099368"/>
              <a:gd name="connsiteX327" fmla="*/ 7378185 w 12192000"/>
              <a:gd name="connsiteY327" fmla="*/ 1579265 h 8099368"/>
              <a:gd name="connsiteX328" fmla="*/ 7355691 w 12192000"/>
              <a:gd name="connsiteY328" fmla="*/ 1534143 h 8099368"/>
              <a:gd name="connsiteX329" fmla="*/ 7310702 w 12192000"/>
              <a:gd name="connsiteY329" fmla="*/ 1489021 h 8099368"/>
              <a:gd name="connsiteX330" fmla="*/ 7108252 w 12192000"/>
              <a:gd name="connsiteY330" fmla="*/ 1398777 h 8099368"/>
              <a:gd name="connsiteX331" fmla="*/ 7108252 w 12192000"/>
              <a:gd name="connsiteY331" fmla="*/ 1376216 h 8099368"/>
              <a:gd name="connsiteX332" fmla="*/ 6928296 w 12192000"/>
              <a:gd name="connsiteY332" fmla="*/ 1263412 h 8099368"/>
              <a:gd name="connsiteX333" fmla="*/ 7018274 w 12192000"/>
              <a:gd name="connsiteY333" fmla="*/ 1308534 h 8099368"/>
              <a:gd name="connsiteX334" fmla="*/ 7063263 w 12192000"/>
              <a:gd name="connsiteY334" fmla="*/ 1285973 h 8099368"/>
              <a:gd name="connsiteX335" fmla="*/ 7153241 w 12192000"/>
              <a:gd name="connsiteY335" fmla="*/ 1331095 h 8099368"/>
              <a:gd name="connsiteX336" fmla="*/ 7333196 w 12192000"/>
              <a:gd name="connsiteY336" fmla="*/ 1421338 h 8099368"/>
              <a:gd name="connsiteX337" fmla="*/ 7603130 w 12192000"/>
              <a:gd name="connsiteY337" fmla="*/ 1579265 h 8099368"/>
              <a:gd name="connsiteX338" fmla="*/ 8142997 w 12192000"/>
              <a:gd name="connsiteY338" fmla="*/ 1872556 h 8099368"/>
              <a:gd name="connsiteX339" fmla="*/ 8255470 w 12192000"/>
              <a:gd name="connsiteY339" fmla="*/ 1917678 h 8099368"/>
              <a:gd name="connsiteX340" fmla="*/ 8300458 w 12192000"/>
              <a:gd name="connsiteY340" fmla="*/ 1917678 h 8099368"/>
              <a:gd name="connsiteX341" fmla="*/ 8300458 w 12192000"/>
              <a:gd name="connsiteY341" fmla="*/ 1940239 h 8099368"/>
              <a:gd name="connsiteX342" fmla="*/ 8412931 w 12192000"/>
              <a:gd name="connsiteY342" fmla="*/ 1985361 h 8099368"/>
              <a:gd name="connsiteX343" fmla="*/ 8615381 w 12192000"/>
              <a:gd name="connsiteY343" fmla="*/ 2098166 h 8099368"/>
              <a:gd name="connsiteX344" fmla="*/ 8637875 w 12192000"/>
              <a:gd name="connsiteY344" fmla="*/ 2075605 h 8099368"/>
              <a:gd name="connsiteX345" fmla="*/ 8727853 w 12192000"/>
              <a:gd name="connsiteY345" fmla="*/ 2120727 h 8099368"/>
              <a:gd name="connsiteX346" fmla="*/ 8817831 w 12192000"/>
              <a:gd name="connsiteY346" fmla="*/ 2143288 h 8099368"/>
              <a:gd name="connsiteX347" fmla="*/ 8907809 w 12192000"/>
              <a:gd name="connsiteY347" fmla="*/ 2188409 h 8099368"/>
              <a:gd name="connsiteX348" fmla="*/ 8907809 w 12192000"/>
              <a:gd name="connsiteY348" fmla="*/ 2188409 h 8099368"/>
              <a:gd name="connsiteX349" fmla="*/ 8907809 w 12192000"/>
              <a:gd name="connsiteY349" fmla="*/ 2188410 h 8099368"/>
              <a:gd name="connsiteX350" fmla="*/ 8930303 w 12192000"/>
              <a:gd name="connsiteY350" fmla="*/ 2199689 h 8099368"/>
              <a:gd name="connsiteX351" fmla="*/ 8930303 w 12192000"/>
              <a:gd name="connsiteY351" fmla="*/ 2199690 h 8099368"/>
              <a:gd name="connsiteX352" fmla="*/ 8952798 w 12192000"/>
              <a:gd name="connsiteY352" fmla="*/ 2210970 h 8099368"/>
              <a:gd name="connsiteX353" fmla="*/ 8930303 w 12192000"/>
              <a:gd name="connsiteY353" fmla="*/ 2199689 h 8099368"/>
              <a:gd name="connsiteX354" fmla="*/ 8921165 w 12192000"/>
              <a:gd name="connsiteY354" fmla="*/ 2191935 h 8099368"/>
              <a:gd name="connsiteX355" fmla="*/ 8907809 w 12192000"/>
              <a:gd name="connsiteY355" fmla="*/ 2188410 h 8099368"/>
              <a:gd name="connsiteX356" fmla="*/ 8907809 w 12192000"/>
              <a:gd name="connsiteY356" fmla="*/ 2188409 h 8099368"/>
              <a:gd name="connsiteX357" fmla="*/ 8903943 w 12192000"/>
              <a:gd name="connsiteY357" fmla="*/ 2175014 h 8099368"/>
              <a:gd name="connsiteX358" fmla="*/ 8862820 w 12192000"/>
              <a:gd name="connsiteY358" fmla="*/ 2143288 h 8099368"/>
              <a:gd name="connsiteX359" fmla="*/ 8772842 w 12192000"/>
              <a:gd name="connsiteY359" fmla="*/ 2075605 h 8099368"/>
              <a:gd name="connsiteX360" fmla="*/ 8547897 w 12192000"/>
              <a:gd name="connsiteY360" fmla="*/ 1940239 h 8099368"/>
              <a:gd name="connsiteX361" fmla="*/ 8322953 w 12192000"/>
              <a:gd name="connsiteY361" fmla="*/ 1827435 h 8099368"/>
              <a:gd name="connsiteX362" fmla="*/ 7940547 w 12192000"/>
              <a:gd name="connsiteY362" fmla="*/ 1624386 h 8099368"/>
              <a:gd name="connsiteX363" fmla="*/ 7850569 w 12192000"/>
              <a:gd name="connsiteY363" fmla="*/ 1556704 h 8099368"/>
              <a:gd name="connsiteX364" fmla="*/ 7805580 w 12192000"/>
              <a:gd name="connsiteY364" fmla="*/ 1534143 h 8099368"/>
              <a:gd name="connsiteX365" fmla="*/ 7670613 w 12192000"/>
              <a:gd name="connsiteY365" fmla="*/ 1511582 h 8099368"/>
              <a:gd name="connsiteX366" fmla="*/ 7670613 w 12192000"/>
              <a:gd name="connsiteY366" fmla="*/ 1534143 h 8099368"/>
              <a:gd name="connsiteX367" fmla="*/ 7805580 w 12192000"/>
              <a:gd name="connsiteY367" fmla="*/ 1624386 h 8099368"/>
              <a:gd name="connsiteX368" fmla="*/ 7670613 w 12192000"/>
              <a:gd name="connsiteY368" fmla="*/ 1579265 h 8099368"/>
              <a:gd name="connsiteX369" fmla="*/ 7513152 w 12192000"/>
              <a:gd name="connsiteY369" fmla="*/ 1511582 h 8099368"/>
              <a:gd name="connsiteX370" fmla="*/ 7468163 w 12192000"/>
              <a:gd name="connsiteY370" fmla="*/ 1466460 h 8099368"/>
              <a:gd name="connsiteX371" fmla="*/ 7580636 w 12192000"/>
              <a:gd name="connsiteY371" fmla="*/ 1489021 h 8099368"/>
              <a:gd name="connsiteX372" fmla="*/ 7603130 w 12192000"/>
              <a:gd name="connsiteY372" fmla="*/ 1489021 h 8099368"/>
              <a:gd name="connsiteX373" fmla="*/ 7625624 w 12192000"/>
              <a:gd name="connsiteY373" fmla="*/ 1489021 h 8099368"/>
              <a:gd name="connsiteX374" fmla="*/ 7513152 w 12192000"/>
              <a:gd name="connsiteY374" fmla="*/ 1421338 h 8099368"/>
              <a:gd name="connsiteX375" fmla="*/ 7648119 w 12192000"/>
              <a:gd name="connsiteY375" fmla="*/ 1466460 h 8099368"/>
              <a:gd name="connsiteX376" fmla="*/ 7333196 w 12192000"/>
              <a:gd name="connsiteY376" fmla="*/ 1285973 h 8099368"/>
              <a:gd name="connsiteX377" fmla="*/ 7288207 w 12192000"/>
              <a:gd name="connsiteY377" fmla="*/ 1240851 h 8099368"/>
              <a:gd name="connsiteX378" fmla="*/ 7243219 w 12192000"/>
              <a:gd name="connsiteY378" fmla="*/ 1218290 h 8099368"/>
              <a:gd name="connsiteX379" fmla="*/ 7085757 w 12192000"/>
              <a:gd name="connsiteY379" fmla="*/ 1173168 h 8099368"/>
              <a:gd name="connsiteX380" fmla="*/ 7063263 w 12192000"/>
              <a:gd name="connsiteY380" fmla="*/ 1173168 h 8099368"/>
              <a:gd name="connsiteX381" fmla="*/ 7085757 w 12192000"/>
              <a:gd name="connsiteY381" fmla="*/ 1150607 h 8099368"/>
              <a:gd name="connsiteX382" fmla="*/ 6883307 w 12192000"/>
              <a:gd name="connsiteY382" fmla="*/ 992681 h 8099368"/>
              <a:gd name="connsiteX383" fmla="*/ 7130746 w 12192000"/>
              <a:gd name="connsiteY383" fmla="*/ 1105485 h 8099368"/>
              <a:gd name="connsiteX384" fmla="*/ 7288207 w 12192000"/>
              <a:gd name="connsiteY384" fmla="*/ 1195729 h 8099368"/>
              <a:gd name="connsiteX385" fmla="*/ 7535647 w 12192000"/>
              <a:gd name="connsiteY385" fmla="*/ 1308534 h 8099368"/>
              <a:gd name="connsiteX386" fmla="*/ 7558141 w 12192000"/>
              <a:gd name="connsiteY386" fmla="*/ 1308534 h 8099368"/>
              <a:gd name="connsiteX387" fmla="*/ 7670613 w 12192000"/>
              <a:gd name="connsiteY387" fmla="*/ 1353655 h 8099368"/>
              <a:gd name="connsiteX388" fmla="*/ 7783086 w 12192000"/>
              <a:gd name="connsiteY388" fmla="*/ 1398777 h 8099368"/>
              <a:gd name="connsiteX389" fmla="*/ 7918053 w 12192000"/>
              <a:gd name="connsiteY389" fmla="*/ 1489021 h 8099368"/>
              <a:gd name="connsiteX390" fmla="*/ 8075514 w 12192000"/>
              <a:gd name="connsiteY390" fmla="*/ 1556704 h 8099368"/>
              <a:gd name="connsiteX391" fmla="*/ 8098008 w 12192000"/>
              <a:gd name="connsiteY391" fmla="*/ 1534143 h 8099368"/>
              <a:gd name="connsiteX392" fmla="*/ 8120503 w 12192000"/>
              <a:gd name="connsiteY392" fmla="*/ 1534143 h 8099368"/>
              <a:gd name="connsiteX393" fmla="*/ 8030525 w 12192000"/>
              <a:gd name="connsiteY393" fmla="*/ 1466460 h 8099368"/>
              <a:gd name="connsiteX394" fmla="*/ 8008030 w 12192000"/>
              <a:gd name="connsiteY394" fmla="*/ 1421338 h 8099368"/>
              <a:gd name="connsiteX395" fmla="*/ 7895558 w 12192000"/>
              <a:gd name="connsiteY395" fmla="*/ 1398777 h 8099368"/>
              <a:gd name="connsiteX396" fmla="*/ 7693108 w 12192000"/>
              <a:gd name="connsiteY396" fmla="*/ 1285973 h 8099368"/>
              <a:gd name="connsiteX397" fmla="*/ 7603130 w 12192000"/>
              <a:gd name="connsiteY397" fmla="*/ 1218290 h 8099368"/>
              <a:gd name="connsiteX398" fmla="*/ 7445669 w 12192000"/>
              <a:gd name="connsiteY398" fmla="*/ 1128046 h 8099368"/>
              <a:gd name="connsiteX399" fmla="*/ 7333196 w 12192000"/>
              <a:gd name="connsiteY399" fmla="*/ 1060363 h 8099368"/>
              <a:gd name="connsiteX400" fmla="*/ 7040768 w 12192000"/>
              <a:gd name="connsiteY400" fmla="*/ 902437 h 8099368"/>
              <a:gd name="connsiteX401" fmla="*/ 7063263 w 12192000"/>
              <a:gd name="connsiteY401" fmla="*/ 902437 h 8099368"/>
              <a:gd name="connsiteX402" fmla="*/ 7153241 w 12192000"/>
              <a:gd name="connsiteY402" fmla="*/ 947559 h 8099368"/>
              <a:gd name="connsiteX403" fmla="*/ 7288207 w 12192000"/>
              <a:gd name="connsiteY403" fmla="*/ 992681 h 8099368"/>
              <a:gd name="connsiteX404" fmla="*/ 7603130 w 12192000"/>
              <a:gd name="connsiteY404" fmla="*/ 1150607 h 8099368"/>
              <a:gd name="connsiteX405" fmla="*/ 7648119 w 12192000"/>
              <a:gd name="connsiteY405" fmla="*/ 1173168 h 8099368"/>
              <a:gd name="connsiteX406" fmla="*/ 7918053 w 12192000"/>
              <a:gd name="connsiteY406" fmla="*/ 1353655 h 8099368"/>
              <a:gd name="connsiteX407" fmla="*/ 8187986 w 12192000"/>
              <a:gd name="connsiteY407" fmla="*/ 1489021 h 8099368"/>
              <a:gd name="connsiteX408" fmla="*/ 8390436 w 12192000"/>
              <a:gd name="connsiteY408" fmla="*/ 1601825 h 8099368"/>
              <a:gd name="connsiteX409" fmla="*/ 8412931 w 12192000"/>
              <a:gd name="connsiteY409" fmla="*/ 1624386 h 8099368"/>
              <a:gd name="connsiteX410" fmla="*/ 8592886 w 12192000"/>
              <a:gd name="connsiteY410" fmla="*/ 1714630 h 8099368"/>
              <a:gd name="connsiteX411" fmla="*/ 9200237 w 12192000"/>
              <a:gd name="connsiteY411" fmla="*/ 2007922 h 8099368"/>
              <a:gd name="connsiteX412" fmla="*/ 9065270 w 12192000"/>
              <a:gd name="connsiteY412" fmla="*/ 1895117 h 8099368"/>
              <a:gd name="connsiteX413" fmla="*/ 9380193 w 12192000"/>
              <a:gd name="connsiteY413" fmla="*/ 2053044 h 8099368"/>
              <a:gd name="connsiteX414" fmla="*/ 9470171 w 12192000"/>
              <a:gd name="connsiteY414" fmla="*/ 2075605 h 8099368"/>
              <a:gd name="connsiteX415" fmla="*/ 9582643 w 12192000"/>
              <a:gd name="connsiteY415" fmla="*/ 2120727 h 8099368"/>
              <a:gd name="connsiteX416" fmla="*/ 9672621 w 12192000"/>
              <a:gd name="connsiteY416" fmla="*/ 2188409 h 8099368"/>
              <a:gd name="connsiteX417" fmla="*/ 10527410 w 12192000"/>
              <a:gd name="connsiteY417" fmla="*/ 2639628 h 8099368"/>
              <a:gd name="connsiteX418" fmla="*/ 10594894 w 12192000"/>
              <a:gd name="connsiteY418" fmla="*/ 2639628 h 8099368"/>
              <a:gd name="connsiteX419" fmla="*/ 10639883 w 12192000"/>
              <a:gd name="connsiteY419" fmla="*/ 2662189 h 8099368"/>
              <a:gd name="connsiteX420" fmla="*/ 10842333 w 12192000"/>
              <a:gd name="connsiteY420" fmla="*/ 2752432 h 8099368"/>
              <a:gd name="connsiteX421" fmla="*/ 10909816 w 12192000"/>
              <a:gd name="connsiteY421" fmla="*/ 2774993 h 8099368"/>
              <a:gd name="connsiteX422" fmla="*/ 11412779 w 12192000"/>
              <a:gd name="connsiteY422" fmla="*/ 3019286 h 8099368"/>
              <a:gd name="connsiteX423" fmla="*/ 11476197 w 12192000"/>
              <a:gd name="connsiteY423" fmla="*/ 3045691 h 8099368"/>
              <a:gd name="connsiteX424" fmla="*/ 11472178 w 12192000"/>
              <a:gd name="connsiteY424" fmla="*/ 3045724 h 8099368"/>
              <a:gd name="connsiteX425" fmla="*/ 11505568 w 12192000"/>
              <a:gd name="connsiteY425" fmla="*/ 3059120 h 8099368"/>
              <a:gd name="connsiteX426" fmla="*/ 11515296 w 12192000"/>
              <a:gd name="connsiteY426" fmla="*/ 3061970 h 8099368"/>
              <a:gd name="connsiteX427" fmla="*/ 11584650 w 12192000"/>
              <a:gd name="connsiteY427" fmla="*/ 3090846 h 8099368"/>
              <a:gd name="connsiteX428" fmla="*/ 11536850 w 12192000"/>
              <a:gd name="connsiteY428" fmla="*/ 3068285 h 8099368"/>
              <a:gd name="connsiteX429" fmla="*/ 11515296 w 12192000"/>
              <a:gd name="connsiteY429" fmla="*/ 3061970 h 8099368"/>
              <a:gd name="connsiteX430" fmla="*/ 11476197 w 12192000"/>
              <a:gd name="connsiteY430" fmla="*/ 3045691 h 8099368"/>
              <a:gd name="connsiteX431" fmla="*/ 11514707 w 12192000"/>
              <a:gd name="connsiteY431" fmla="*/ 3045372 h 8099368"/>
              <a:gd name="connsiteX432" fmla="*/ 11562156 w 12192000"/>
              <a:gd name="connsiteY432" fmla="*/ 3023163 h 8099368"/>
              <a:gd name="connsiteX433" fmla="*/ 11404695 w 12192000"/>
              <a:gd name="connsiteY433" fmla="*/ 2955481 h 8099368"/>
              <a:gd name="connsiteX434" fmla="*/ 11269728 w 12192000"/>
              <a:gd name="connsiteY434" fmla="*/ 2887798 h 8099368"/>
              <a:gd name="connsiteX435" fmla="*/ 11269728 w 12192000"/>
              <a:gd name="connsiteY435" fmla="*/ 2865237 h 8099368"/>
              <a:gd name="connsiteX436" fmla="*/ 11157256 w 12192000"/>
              <a:gd name="connsiteY436" fmla="*/ 2842676 h 8099368"/>
              <a:gd name="connsiteX437" fmla="*/ 11067278 w 12192000"/>
              <a:gd name="connsiteY437" fmla="*/ 2797554 h 8099368"/>
              <a:gd name="connsiteX438" fmla="*/ 11044783 w 12192000"/>
              <a:gd name="connsiteY438" fmla="*/ 2774993 h 8099368"/>
              <a:gd name="connsiteX439" fmla="*/ 10954805 w 12192000"/>
              <a:gd name="connsiteY439" fmla="*/ 2729872 h 8099368"/>
              <a:gd name="connsiteX440" fmla="*/ 10999794 w 12192000"/>
              <a:gd name="connsiteY440" fmla="*/ 2729872 h 8099368"/>
              <a:gd name="connsiteX441" fmla="*/ 11112267 w 12192000"/>
              <a:gd name="connsiteY441" fmla="*/ 2797554 h 8099368"/>
              <a:gd name="connsiteX442" fmla="*/ 11022289 w 12192000"/>
              <a:gd name="connsiteY442" fmla="*/ 2729872 h 8099368"/>
              <a:gd name="connsiteX443" fmla="*/ 10887322 w 12192000"/>
              <a:gd name="connsiteY443" fmla="*/ 2662189 h 8099368"/>
              <a:gd name="connsiteX444" fmla="*/ 10662377 w 12192000"/>
              <a:gd name="connsiteY444" fmla="*/ 2549384 h 8099368"/>
              <a:gd name="connsiteX445" fmla="*/ 10347455 w 12192000"/>
              <a:gd name="connsiteY445" fmla="*/ 2391458 h 8099368"/>
              <a:gd name="connsiteX446" fmla="*/ 10077521 w 12192000"/>
              <a:gd name="connsiteY446" fmla="*/ 2278653 h 8099368"/>
              <a:gd name="connsiteX447" fmla="*/ 9965049 w 12192000"/>
              <a:gd name="connsiteY447" fmla="*/ 2210970 h 8099368"/>
              <a:gd name="connsiteX448" fmla="*/ 10100016 w 12192000"/>
              <a:gd name="connsiteY448" fmla="*/ 2278653 h 8099368"/>
              <a:gd name="connsiteX449" fmla="*/ 10189993 w 12192000"/>
              <a:gd name="connsiteY449" fmla="*/ 2301214 h 8099368"/>
              <a:gd name="connsiteX450" fmla="*/ 10279971 w 12192000"/>
              <a:gd name="connsiteY450" fmla="*/ 2346336 h 8099368"/>
              <a:gd name="connsiteX451" fmla="*/ 10302466 w 12192000"/>
              <a:gd name="connsiteY451" fmla="*/ 2368897 h 8099368"/>
              <a:gd name="connsiteX452" fmla="*/ 10617388 w 12192000"/>
              <a:gd name="connsiteY452" fmla="*/ 2504262 h 8099368"/>
              <a:gd name="connsiteX453" fmla="*/ 10752355 w 12192000"/>
              <a:gd name="connsiteY453" fmla="*/ 2594506 h 8099368"/>
              <a:gd name="connsiteX454" fmla="*/ 10774850 w 12192000"/>
              <a:gd name="connsiteY454" fmla="*/ 2571945 h 8099368"/>
              <a:gd name="connsiteX455" fmla="*/ 10684872 w 12192000"/>
              <a:gd name="connsiteY455" fmla="*/ 2526823 h 8099368"/>
              <a:gd name="connsiteX456" fmla="*/ 10617388 w 12192000"/>
              <a:gd name="connsiteY456" fmla="*/ 2481701 h 8099368"/>
              <a:gd name="connsiteX457" fmla="*/ 10549905 w 12192000"/>
              <a:gd name="connsiteY457" fmla="*/ 2436580 h 8099368"/>
              <a:gd name="connsiteX458" fmla="*/ 10594894 w 12192000"/>
              <a:gd name="connsiteY458" fmla="*/ 2459141 h 8099368"/>
              <a:gd name="connsiteX459" fmla="*/ 10572399 w 12192000"/>
              <a:gd name="connsiteY459" fmla="*/ 2414019 h 8099368"/>
              <a:gd name="connsiteX460" fmla="*/ 10504916 w 12192000"/>
              <a:gd name="connsiteY460" fmla="*/ 2368897 h 8099368"/>
              <a:gd name="connsiteX461" fmla="*/ 10459927 w 12192000"/>
              <a:gd name="connsiteY461" fmla="*/ 2346336 h 8099368"/>
              <a:gd name="connsiteX462" fmla="*/ 10369949 w 12192000"/>
              <a:gd name="connsiteY462" fmla="*/ 2278653 h 8099368"/>
              <a:gd name="connsiteX463" fmla="*/ 10482422 w 12192000"/>
              <a:gd name="connsiteY463" fmla="*/ 2346336 h 8099368"/>
              <a:gd name="connsiteX464" fmla="*/ 10617388 w 12192000"/>
              <a:gd name="connsiteY464" fmla="*/ 2391458 h 8099368"/>
              <a:gd name="connsiteX465" fmla="*/ 11562156 w 12192000"/>
              <a:gd name="connsiteY465" fmla="*/ 2865237 h 8099368"/>
              <a:gd name="connsiteX466" fmla="*/ 12079529 w 12192000"/>
              <a:gd name="connsiteY466" fmla="*/ 3135968 h 8099368"/>
              <a:gd name="connsiteX467" fmla="*/ 12126978 w 12192000"/>
              <a:gd name="connsiteY467" fmla="*/ 3135968 h 8099368"/>
              <a:gd name="connsiteX468" fmla="*/ 12192000 w 12192000"/>
              <a:gd name="connsiteY468" fmla="*/ 3135968 h 8099368"/>
              <a:gd name="connsiteX469" fmla="*/ 12192000 w 12192000"/>
              <a:gd name="connsiteY469" fmla="*/ 3316455 h 8099368"/>
              <a:gd name="connsiteX470" fmla="*/ 12171264 w 12192000"/>
              <a:gd name="connsiteY470" fmla="*/ 3303060 h 8099368"/>
              <a:gd name="connsiteX471" fmla="*/ 12079529 w 12192000"/>
              <a:gd name="connsiteY471" fmla="*/ 3271333 h 8099368"/>
              <a:gd name="connsiteX472" fmla="*/ 12127329 w 12192000"/>
              <a:gd name="connsiteY472" fmla="*/ 3305175 h 8099368"/>
              <a:gd name="connsiteX473" fmla="*/ 12192000 w 12192000"/>
              <a:gd name="connsiteY473" fmla="*/ 3339016 h 8099368"/>
              <a:gd name="connsiteX474" fmla="*/ 12192000 w 12192000"/>
              <a:gd name="connsiteY474" fmla="*/ 5730474 h 8099368"/>
              <a:gd name="connsiteX475" fmla="*/ 12172319 w 12192000"/>
              <a:gd name="connsiteY475" fmla="*/ 5730474 h 8099368"/>
              <a:gd name="connsiteX476" fmla="*/ 12169507 w 12192000"/>
              <a:gd name="connsiteY476" fmla="*/ 5730474 h 8099368"/>
              <a:gd name="connsiteX477" fmla="*/ 12178997 w 12192000"/>
              <a:gd name="connsiteY477" fmla="*/ 5749510 h 8099368"/>
              <a:gd name="connsiteX478" fmla="*/ 12192000 w 12192000"/>
              <a:gd name="connsiteY478" fmla="*/ 5753034 h 8099368"/>
              <a:gd name="connsiteX479" fmla="*/ 12192000 w 12192000"/>
              <a:gd name="connsiteY479" fmla="*/ 6181692 h 8099368"/>
              <a:gd name="connsiteX480" fmla="*/ 12158259 w 12192000"/>
              <a:gd name="connsiteY480" fmla="*/ 6169002 h 8099368"/>
              <a:gd name="connsiteX481" fmla="*/ 12057034 w 12192000"/>
              <a:gd name="connsiteY481" fmla="*/ 6181692 h 8099368"/>
              <a:gd name="connsiteX482" fmla="*/ 12102023 w 12192000"/>
              <a:gd name="connsiteY482" fmla="*/ 6204253 h 8099368"/>
              <a:gd name="connsiteX483" fmla="*/ 12169507 w 12192000"/>
              <a:gd name="connsiteY483" fmla="*/ 6249375 h 8099368"/>
              <a:gd name="connsiteX484" fmla="*/ 12188486 w 12192000"/>
              <a:gd name="connsiteY484" fmla="*/ 6258893 h 8099368"/>
              <a:gd name="connsiteX485" fmla="*/ 12192000 w 12192000"/>
              <a:gd name="connsiteY485" fmla="*/ 6271932 h 8099368"/>
              <a:gd name="connsiteX486" fmla="*/ 12192000 w 12192000"/>
              <a:gd name="connsiteY486" fmla="*/ 7422542 h 8099368"/>
              <a:gd name="connsiteX487" fmla="*/ 11992362 w 12192000"/>
              <a:gd name="connsiteY487" fmla="*/ 7321018 h 8099368"/>
              <a:gd name="connsiteX488" fmla="*/ 11809595 w 12192000"/>
              <a:gd name="connsiteY488" fmla="*/ 7219494 h 8099368"/>
              <a:gd name="connsiteX489" fmla="*/ 11247233 w 12192000"/>
              <a:gd name="connsiteY489" fmla="*/ 6903642 h 8099368"/>
              <a:gd name="connsiteX490" fmla="*/ 11233174 w 12192000"/>
              <a:gd name="connsiteY490" fmla="*/ 6900822 h 8099368"/>
              <a:gd name="connsiteX491" fmla="*/ 11227258 w 12192000"/>
              <a:gd name="connsiteY491" fmla="*/ 6898072 h 8099368"/>
              <a:gd name="connsiteX492" fmla="*/ 11202244 w 12192000"/>
              <a:gd name="connsiteY492" fmla="*/ 6881081 h 8099368"/>
              <a:gd name="connsiteX493" fmla="*/ 11218764 w 12192000"/>
              <a:gd name="connsiteY493" fmla="*/ 6894124 h 8099368"/>
              <a:gd name="connsiteX494" fmla="*/ 11227258 w 12192000"/>
              <a:gd name="connsiteY494" fmla="*/ 6898072 h 8099368"/>
              <a:gd name="connsiteX495" fmla="*/ 11345998 w 12192000"/>
              <a:gd name="connsiteY495" fmla="*/ 6978727 h 8099368"/>
              <a:gd name="connsiteX496" fmla="*/ 11697123 w 12192000"/>
              <a:gd name="connsiteY496" fmla="*/ 7242055 h 8099368"/>
              <a:gd name="connsiteX497" fmla="*/ 11719617 w 12192000"/>
              <a:gd name="connsiteY497" fmla="*/ 7264616 h 8099368"/>
              <a:gd name="connsiteX498" fmla="*/ 11719617 w 12192000"/>
              <a:gd name="connsiteY498" fmla="*/ 7332299 h 8099368"/>
              <a:gd name="connsiteX499" fmla="*/ 11652134 w 12192000"/>
              <a:gd name="connsiteY499" fmla="*/ 7264616 h 8099368"/>
              <a:gd name="connsiteX500" fmla="*/ 11337211 w 12192000"/>
              <a:gd name="connsiteY500" fmla="*/ 7151812 h 8099368"/>
              <a:gd name="connsiteX501" fmla="*/ 11629639 w 12192000"/>
              <a:gd name="connsiteY501" fmla="*/ 7309738 h 8099368"/>
              <a:gd name="connsiteX502" fmla="*/ 11787101 w 12192000"/>
              <a:gd name="connsiteY502" fmla="*/ 7399982 h 8099368"/>
              <a:gd name="connsiteX503" fmla="*/ 11539661 w 12192000"/>
              <a:gd name="connsiteY503" fmla="*/ 7287177 h 8099368"/>
              <a:gd name="connsiteX504" fmla="*/ 11472178 w 12192000"/>
              <a:gd name="connsiteY504" fmla="*/ 7242055 h 8099368"/>
              <a:gd name="connsiteX505" fmla="*/ 11629639 w 12192000"/>
              <a:gd name="connsiteY505" fmla="*/ 7377421 h 8099368"/>
              <a:gd name="connsiteX506" fmla="*/ 11764606 w 12192000"/>
              <a:gd name="connsiteY506" fmla="*/ 7445104 h 8099368"/>
              <a:gd name="connsiteX507" fmla="*/ 11449684 w 12192000"/>
              <a:gd name="connsiteY507" fmla="*/ 7332299 h 8099368"/>
              <a:gd name="connsiteX508" fmla="*/ 11314717 w 12192000"/>
              <a:gd name="connsiteY508" fmla="*/ 7287177 h 8099368"/>
              <a:gd name="connsiteX509" fmla="*/ 11292222 w 12192000"/>
              <a:gd name="connsiteY509" fmla="*/ 7332299 h 8099368"/>
              <a:gd name="connsiteX510" fmla="*/ 11382200 w 12192000"/>
              <a:gd name="connsiteY510" fmla="*/ 7377421 h 8099368"/>
              <a:gd name="connsiteX511" fmla="*/ 11652134 w 12192000"/>
              <a:gd name="connsiteY511" fmla="*/ 7512786 h 8099368"/>
              <a:gd name="connsiteX512" fmla="*/ 11584650 w 12192000"/>
              <a:gd name="connsiteY512" fmla="*/ 7535347 h 8099368"/>
              <a:gd name="connsiteX513" fmla="*/ 11562156 w 12192000"/>
              <a:gd name="connsiteY513" fmla="*/ 7557908 h 8099368"/>
              <a:gd name="connsiteX514" fmla="*/ 11404695 w 12192000"/>
              <a:gd name="connsiteY514" fmla="*/ 7490225 h 8099368"/>
              <a:gd name="connsiteX515" fmla="*/ 11539661 w 12192000"/>
              <a:gd name="connsiteY515" fmla="*/ 7512786 h 8099368"/>
              <a:gd name="connsiteX516" fmla="*/ 11314717 w 12192000"/>
              <a:gd name="connsiteY516" fmla="*/ 7399982 h 8099368"/>
              <a:gd name="connsiteX517" fmla="*/ 11224739 w 12192000"/>
              <a:gd name="connsiteY517" fmla="*/ 7377421 h 8099368"/>
              <a:gd name="connsiteX518" fmla="*/ 11157256 w 12192000"/>
              <a:gd name="connsiteY518" fmla="*/ 7445104 h 8099368"/>
              <a:gd name="connsiteX519" fmla="*/ 11404695 w 12192000"/>
              <a:gd name="connsiteY519" fmla="*/ 7580469 h 8099368"/>
              <a:gd name="connsiteX520" fmla="*/ 11629639 w 12192000"/>
              <a:gd name="connsiteY520" fmla="*/ 7648152 h 8099368"/>
              <a:gd name="connsiteX521" fmla="*/ 11629639 w 12192000"/>
              <a:gd name="connsiteY521" fmla="*/ 7670713 h 8099368"/>
              <a:gd name="connsiteX522" fmla="*/ 11539661 w 12192000"/>
              <a:gd name="connsiteY522" fmla="*/ 7648152 h 8099368"/>
              <a:gd name="connsiteX523" fmla="*/ 11607145 w 12192000"/>
              <a:gd name="connsiteY523" fmla="*/ 7715835 h 8099368"/>
              <a:gd name="connsiteX524" fmla="*/ 11674628 w 12192000"/>
              <a:gd name="connsiteY524" fmla="*/ 7738396 h 8099368"/>
              <a:gd name="connsiteX525" fmla="*/ 11764606 w 12192000"/>
              <a:gd name="connsiteY525" fmla="*/ 7806078 h 8099368"/>
              <a:gd name="connsiteX526" fmla="*/ 11607145 w 12192000"/>
              <a:gd name="connsiteY526" fmla="*/ 7738396 h 8099368"/>
              <a:gd name="connsiteX527" fmla="*/ 11562156 w 12192000"/>
              <a:gd name="connsiteY527" fmla="*/ 7693274 h 8099368"/>
              <a:gd name="connsiteX528" fmla="*/ 11044783 w 12192000"/>
              <a:gd name="connsiteY528" fmla="*/ 7445104 h 8099368"/>
              <a:gd name="connsiteX529" fmla="*/ 11157256 w 12192000"/>
              <a:gd name="connsiteY529" fmla="*/ 7535347 h 8099368"/>
              <a:gd name="connsiteX530" fmla="*/ 11382200 w 12192000"/>
              <a:gd name="connsiteY530" fmla="*/ 7670713 h 8099368"/>
              <a:gd name="connsiteX531" fmla="*/ 11472178 w 12192000"/>
              <a:gd name="connsiteY531" fmla="*/ 7693274 h 8099368"/>
              <a:gd name="connsiteX532" fmla="*/ 11449684 w 12192000"/>
              <a:gd name="connsiteY532" fmla="*/ 7693274 h 8099368"/>
              <a:gd name="connsiteX533" fmla="*/ 11517167 w 12192000"/>
              <a:gd name="connsiteY533" fmla="*/ 7760956 h 8099368"/>
              <a:gd name="connsiteX534" fmla="*/ 11629639 w 12192000"/>
              <a:gd name="connsiteY534" fmla="*/ 7828639 h 8099368"/>
              <a:gd name="connsiteX535" fmla="*/ 11787101 w 12192000"/>
              <a:gd name="connsiteY535" fmla="*/ 7896322 h 8099368"/>
              <a:gd name="connsiteX536" fmla="*/ 11809595 w 12192000"/>
              <a:gd name="connsiteY536" fmla="*/ 7918883 h 8099368"/>
              <a:gd name="connsiteX537" fmla="*/ 11877078 w 12192000"/>
              <a:gd name="connsiteY537" fmla="*/ 7986566 h 8099368"/>
              <a:gd name="connsiteX538" fmla="*/ 11967056 w 12192000"/>
              <a:gd name="connsiteY538" fmla="*/ 8031687 h 8099368"/>
              <a:gd name="connsiteX539" fmla="*/ 12071445 w 12192000"/>
              <a:gd name="connsiteY539" fmla="*/ 8082449 h 8099368"/>
              <a:gd name="connsiteX540" fmla="*/ 12079528 w 12192000"/>
              <a:gd name="connsiteY540" fmla="*/ 8099368 h 8099368"/>
              <a:gd name="connsiteX541" fmla="*/ 12079525 w 12192000"/>
              <a:gd name="connsiteY541" fmla="*/ 8099368 h 8099368"/>
              <a:gd name="connsiteX542" fmla="*/ 12026807 w 12192000"/>
              <a:gd name="connsiteY542" fmla="*/ 8072932 h 8099368"/>
              <a:gd name="connsiteX543" fmla="*/ 11944562 w 12192000"/>
              <a:gd name="connsiteY543" fmla="*/ 8031687 h 8099368"/>
              <a:gd name="connsiteX544" fmla="*/ 11922067 w 12192000"/>
              <a:gd name="connsiteY544" fmla="*/ 8009127 h 8099368"/>
              <a:gd name="connsiteX545" fmla="*/ 11899573 w 12192000"/>
              <a:gd name="connsiteY545" fmla="*/ 8009127 h 8099368"/>
              <a:gd name="connsiteX546" fmla="*/ 11899573 w 12192000"/>
              <a:gd name="connsiteY546" fmla="*/ 8031687 h 8099368"/>
              <a:gd name="connsiteX547" fmla="*/ 11989551 w 12192000"/>
              <a:gd name="connsiteY547" fmla="*/ 8076809 h 8099368"/>
              <a:gd name="connsiteX548" fmla="*/ 11877078 w 12192000"/>
              <a:gd name="connsiteY548" fmla="*/ 8031687 h 8099368"/>
              <a:gd name="connsiteX549" fmla="*/ 11697123 w 12192000"/>
              <a:gd name="connsiteY549" fmla="*/ 7918883 h 8099368"/>
              <a:gd name="connsiteX550" fmla="*/ 11674628 w 12192000"/>
              <a:gd name="connsiteY550" fmla="*/ 7918883 h 8099368"/>
              <a:gd name="connsiteX551" fmla="*/ 11584650 w 12192000"/>
              <a:gd name="connsiteY551" fmla="*/ 7873761 h 8099368"/>
              <a:gd name="connsiteX552" fmla="*/ 11382200 w 12192000"/>
              <a:gd name="connsiteY552" fmla="*/ 7828639 h 8099368"/>
              <a:gd name="connsiteX553" fmla="*/ 11404695 w 12192000"/>
              <a:gd name="connsiteY553" fmla="*/ 7806078 h 8099368"/>
              <a:gd name="connsiteX554" fmla="*/ 11202244 w 12192000"/>
              <a:gd name="connsiteY554" fmla="*/ 7648152 h 8099368"/>
              <a:gd name="connsiteX555" fmla="*/ 11022289 w 12192000"/>
              <a:gd name="connsiteY555" fmla="*/ 7535347 h 8099368"/>
              <a:gd name="connsiteX556" fmla="*/ 10864827 w 12192000"/>
              <a:gd name="connsiteY556" fmla="*/ 7445104 h 8099368"/>
              <a:gd name="connsiteX557" fmla="*/ 10842333 w 12192000"/>
              <a:gd name="connsiteY557" fmla="*/ 7422543 h 8099368"/>
              <a:gd name="connsiteX558" fmla="*/ 10684872 w 12192000"/>
              <a:gd name="connsiteY558" fmla="*/ 7332299 h 8099368"/>
              <a:gd name="connsiteX559" fmla="*/ 10594894 w 12192000"/>
              <a:gd name="connsiteY559" fmla="*/ 7287177 h 8099368"/>
              <a:gd name="connsiteX560" fmla="*/ 9852576 w 12192000"/>
              <a:gd name="connsiteY560" fmla="*/ 6903642 h 8099368"/>
              <a:gd name="connsiteX561" fmla="*/ 9672621 w 12192000"/>
              <a:gd name="connsiteY561" fmla="*/ 6835959 h 8099368"/>
              <a:gd name="connsiteX562" fmla="*/ 9650126 w 12192000"/>
              <a:gd name="connsiteY562" fmla="*/ 6881081 h 8099368"/>
              <a:gd name="connsiteX563" fmla="*/ 9762599 w 12192000"/>
              <a:gd name="connsiteY563" fmla="*/ 6948763 h 8099368"/>
              <a:gd name="connsiteX564" fmla="*/ 9650126 w 12192000"/>
              <a:gd name="connsiteY564" fmla="*/ 6903642 h 8099368"/>
              <a:gd name="connsiteX565" fmla="*/ 9605137 w 12192000"/>
              <a:gd name="connsiteY565" fmla="*/ 6903642 h 8099368"/>
              <a:gd name="connsiteX566" fmla="*/ 9582643 w 12192000"/>
              <a:gd name="connsiteY566" fmla="*/ 6903642 h 8099368"/>
              <a:gd name="connsiteX567" fmla="*/ 9560148 w 12192000"/>
              <a:gd name="connsiteY567" fmla="*/ 6926202 h 8099368"/>
              <a:gd name="connsiteX568" fmla="*/ 9447676 w 12192000"/>
              <a:gd name="connsiteY568" fmla="*/ 6948763 h 8099368"/>
              <a:gd name="connsiteX569" fmla="*/ 9582643 w 12192000"/>
              <a:gd name="connsiteY569" fmla="*/ 7016446 h 8099368"/>
              <a:gd name="connsiteX570" fmla="*/ 9672621 w 12192000"/>
              <a:gd name="connsiteY570" fmla="*/ 7016446 h 8099368"/>
              <a:gd name="connsiteX571" fmla="*/ 9807588 w 12192000"/>
              <a:gd name="connsiteY571" fmla="*/ 7106690 h 8099368"/>
              <a:gd name="connsiteX572" fmla="*/ 9582643 w 12192000"/>
              <a:gd name="connsiteY572" fmla="*/ 7084129 h 8099368"/>
              <a:gd name="connsiteX573" fmla="*/ 9717610 w 12192000"/>
              <a:gd name="connsiteY573" fmla="*/ 7174373 h 8099368"/>
              <a:gd name="connsiteX574" fmla="*/ 9537654 w 12192000"/>
              <a:gd name="connsiteY574" fmla="*/ 7084129 h 8099368"/>
              <a:gd name="connsiteX575" fmla="*/ 9087765 w 12192000"/>
              <a:gd name="connsiteY575" fmla="*/ 6858520 h 8099368"/>
              <a:gd name="connsiteX576" fmla="*/ 8907809 w 12192000"/>
              <a:gd name="connsiteY576" fmla="*/ 6768276 h 8099368"/>
              <a:gd name="connsiteX577" fmla="*/ 8255470 w 12192000"/>
              <a:gd name="connsiteY577" fmla="*/ 6474984 h 8099368"/>
              <a:gd name="connsiteX578" fmla="*/ 7828075 w 12192000"/>
              <a:gd name="connsiteY578" fmla="*/ 6294497 h 8099368"/>
              <a:gd name="connsiteX579" fmla="*/ 7400680 w 12192000"/>
              <a:gd name="connsiteY579" fmla="*/ 6068888 h 8099368"/>
              <a:gd name="connsiteX580" fmla="*/ 7386609 w 12192000"/>
              <a:gd name="connsiteY580" fmla="*/ 6063622 h 8099368"/>
              <a:gd name="connsiteX581" fmla="*/ 7381700 w 12192000"/>
              <a:gd name="connsiteY581" fmla="*/ 6059370 h 8099368"/>
              <a:gd name="connsiteX582" fmla="*/ 7378185 w 12192000"/>
              <a:gd name="connsiteY582" fmla="*/ 6046327 h 8099368"/>
              <a:gd name="connsiteX583" fmla="*/ 7378537 w 12192000"/>
              <a:gd name="connsiteY583" fmla="*/ 6059370 h 8099368"/>
              <a:gd name="connsiteX584" fmla="*/ 7379061 w 12192000"/>
              <a:gd name="connsiteY584" fmla="*/ 6060797 h 8099368"/>
              <a:gd name="connsiteX585" fmla="*/ 7212289 w 12192000"/>
              <a:gd name="connsiteY585" fmla="*/ 5998385 h 8099368"/>
              <a:gd name="connsiteX586" fmla="*/ 7040768 w 12192000"/>
              <a:gd name="connsiteY586" fmla="*/ 5910961 h 8099368"/>
              <a:gd name="connsiteX587" fmla="*/ 6973285 w 12192000"/>
              <a:gd name="connsiteY587" fmla="*/ 5910961 h 8099368"/>
              <a:gd name="connsiteX588" fmla="*/ 7063263 w 12192000"/>
              <a:gd name="connsiteY588" fmla="*/ 5956083 h 8099368"/>
              <a:gd name="connsiteX589" fmla="*/ 7490658 w 12192000"/>
              <a:gd name="connsiteY589" fmla="*/ 6159131 h 8099368"/>
              <a:gd name="connsiteX590" fmla="*/ 7670613 w 12192000"/>
              <a:gd name="connsiteY590" fmla="*/ 6249375 h 8099368"/>
              <a:gd name="connsiteX591" fmla="*/ 7963041 w 12192000"/>
              <a:gd name="connsiteY591" fmla="*/ 6407301 h 8099368"/>
              <a:gd name="connsiteX592" fmla="*/ 8210481 w 12192000"/>
              <a:gd name="connsiteY592" fmla="*/ 6520106 h 8099368"/>
              <a:gd name="connsiteX593" fmla="*/ 8300458 w 12192000"/>
              <a:gd name="connsiteY593" fmla="*/ 6565228 h 8099368"/>
              <a:gd name="connsiteX594" fmla="*/ 8637875 w 12192000"/>
              <a:gd name="connsiteY594" fmla="*/ 6745715 h 8099368"/>
              <a:gd name="connsiteX595" fmla="*/ 8637875 w 12192000"/>
              <a:gd name="connsiteY595" fmla="*/ 6813398 h 8099368"/>
              <a:gd name="connsiteX596" fmla="*/ 8660370 w 12192000"/>
              <a:gd name="connsiteY596" fmla="*/ 6835959 h 8099368"/>
              <a:gd name="connsiteX597" fmla="*/ 8885314 w 12192000"/>
              <a:gd name="connsiteY597" fmla="*/ 6881081 h 8099368"/>
              <a:gd name="connsiteX598" fmla="*/ 8975292 w 12192000"/>
              <a:gd name="connsiteY598" fmla="*/ 6926202 h 8099368"/>
              <a:gd name="connsiteX599" fmla="*/ 9222731 w 12192000"/>
              <a:gd name="connsiteY599" fmla="*/ 6971324 h 8099368"/>
              <a:gd name="connsiteX600" fmla="*/ 9357698 w 12192000"/>
              <a:gd name="connsiteY600" fmla="*/ 6993885 h 8099368"/>
              <a:gd name="connsiteX601" fmla="*/ 9322902 w 12192000"/>
              <a:gd name="connsiteY601" fmla="*/ 7019266 h 8099368"/>
              <a:gd name="connsiteX602" fmla="*/ 9315159 w 12192000"/>
              <a:gd name="connsiteY602" fmla="*/ 7017905 h 8099368"/>
              <a:gd name="connsiteX603" fmla="*/ 9312709 w 12192000"/>
              <a:gd name="connsiteY603" fmla="*/ 7016446 h 8099368"/>
              <a:gd name="connsiteX604" fmla="*/ 9311874 w 12192000"/>
              <a:gd name="connsiteY604" fmla="*/ 7017327 h 8099368"/>
              <a:gd name="connsiteX605" fmla="*/ 9315159 w 12192000"/>
              <a:gd name="connsiteY605" fmla="*/ 7017905 h 8099368"/>
              <a:gd name="connsiteX606" fmla="*/ 9335203 w 12192000"/>
              <a:gd name="connsiteY606" fmla="*/ 7029842 h 8099368"/>
              <a:gd name="connsiteX607" fmla="*/ 9335204 w 12192000"/>
              <a:gd name="connsiteY607" fmla="*/ 7061568 h 8099368"/>
              <a:gd name="connsiteX608" fmla="*/ 9290215 w 12192000"/>
              <a:gd name="connsiteY608" fmla="*/ 7039007 h 8099368"/>
              <a:gd name="connsiteX609" fmla="*/ 9290215 w 12192000"/>
              <a:gd name="connsiteY609" fmla="*/ 7016446 h 8099368"/>
              <a:gd name="connsiteX610" fmla="*/ 8930303 w 12192000"/>
              <a:gd name="connsiteY610" fmla="*/ 6948763 h 8099368"/>
              <a:gd name="connsiteX611" fmla="*/ 8795337 w 12192000"/>
              <a:gd name="connsiteY611" fmla="*/ 6903642 h 8099368"/>
              <a:gd name="connsiteX612" fmla="*/ 9357698 w 12192000"/>
              <a:gd name="connsiteY612" fmla="*/ 7196933 h 8099368"/>
              <a:gd name="connsiteX613" fmla="*/ 9425182 w 12192000"/>
              <a:gd name="connsiteY613" fmla="*/ 7219494 h 8099368"/>
              <a:gd name="connsiteX614" fmla="*/ 9425182 w 12192000"/>
              <a:gd name="connsiteY614" fmla="*/ 7174373 h 8099368"/>
              <a:gd name="connsiteX615" fmla="*/ 9335204 w 12192000"/>
              <a:gd name="connsiteY615" fmla="*/ 7129251 h 8099368"/>
              <a:gd name="connsiteX616" fmla="*/ 9312709 w 12192000"/>
              <a:gd name="connsiteY616" fmla="*/ 7084129 h 8099368"/>
              <a:gd name="connsiteX617" fmla="*/ 9380193 w 12192000"/>
              <a:gd name="connsiteY617" fmla="*/ 7129251 h 8099368"/>
              <a:gd name="connsiteX618" fmla="*/ 9470171 w 12192000"/>
              <a:gd name="connsiteY618" fmla="*/ 7174373 h 8099368"/>
              <a:gd name="connsiteX619" fmla="*/ 9605137 w 12192000"/>
              <a:gd name="connsiteY619" fmla="*/ 7242055 h 8099368"/>
              <a:gd name="connsiteX620" fmla="*/ 9717610 w 12192000"/>
              <a:gd name="connsiteY620" fmla="*/ 7287177 h 8099368"/>
              <a:gd name="connsiteX621" fmla="*/ 9875071 w 12192000"/>
              <a:gd name="connsiteY621" fmla="*/ 7399982 h 8099368"/>
              <a:gd name="connsiteX622" fmla="*/ 9987543 w 12192000"/>
              <a:gd name="connsiteY622" fmla="*/ 7445104 h 8099368"/>
              <a:gd name="connsiteX623" fmla="*/ 10122510 w 12192000"/>
              <a:gd name="connsiteY623" fmla="*/ 7535347 h 8099368"/>
              <a:gd name="connsiteX624" fmla="*/ 10234982 w 12192000"/>
              <a:gd name="connsiteY624" fmla="*/ 7648152 h 8099368"/>
              <a:gd name="connsiteX625" fmla="*/ 10482422 w 12192000"/>
              <a:gd name="connsiteY625" fmla="*/ 7760956 h 8099368"/>
              <a:gd name="connsiteX626" fmla="*/ 10639883 w 12192000"/>
              <a:gd name="connsiteY626" fmla="*/ 7851200 h 8099368"/>
              <a:gd name="connsiteX627" fmla="*/ 10459927 w 12192000"/>
              <a:gd name="connsiteY627" fmla="*/ 7760956 h 8099368"/>
              <a:gd name="connsiteX628" fmla="*/ 10077521 w 12192000"/>
              <a:gd name="connsiteY628" fmla="*/ 7580469 h 8099368"/>
              <a:gd name="connsiteX629" fmla="*/ 10010038 w 12192000"/>
              <a:gd name="connsiteY629" fmla="*/ 7535347 h 8099368"/>
              <a:gd name="connsiteX630" fmla="*/ 9920060 w 12192000"/>
              <a:gd name="connsiteY630" fmla="*/ 7512786 h 8099368"/>
              <a:gd name="connsiteX631" fmla="*/ 10032532 w 12192000"/>
              <a:gd name="connsiteY631" fmla="*/ 7535347 h 8099368"/>
              <a:gd name="connsiteX632" fmla="*/ 10077521 w 12192000"/>
              <a:gd name="connsiteY632" fmla="*/ 7535347 h 8099368"/>
              <a:gd name="connsiteX633" fmla="*/ 9965049 w 12192000"/>
              <a:gd name="connsiteY633" fmla="*/ 7467665 h 8099368"/>
              <a:gd name="connsiteX634" fmla="*/ 9942554 w 12192000"/>
              <a:gd name="connsiteY634" fmla="*/ 7467665 h 8099368"/>
              <a:gd name="connsiteX635" fmla="*/ 9582643 w 12192000"/>
              <a:gd name="connsiteY635" fmla="*/ 7332299 h 8099368"/>
              <a:gd name="connsiteX636" fmla="*/ 9470171 w 12192000"/>
              <a:gd name="connsiteY636" fmla="*/ 7264616 h 8099368"/>
              <a:gd name="connsiteX637" fmla="*/ 9290215 w 12192000"/>
              <a:gd name="connsiteY637" fmla="*/ 7196933 h 8099368"/>
              <a:gd name="connsiteX638" fmla="*/ 8930303 w 12192000"/>
              <a:gd name="connsiteY638" fmla="*/ 6993885 h 8099368"/>
              <a:gd name="connsiteX639" fmla="*/ 8907809 w 12192000"/>
              <a:gd name="connsiteY639" fmla="*/ 6993885 h 8099368"/>
              <a:gd name="connsiteX640" fmla="*/ 8997787 w 12192000"/>
              <a:gd name="connsiteY640" fmla="*/ 7039007 h 8099368"/>
              <a:gd name="connsiteX641" fmla="*/ 8975292 w 12192000"/>
              <a:gd name="connsiteY641" fmla="*/ 7039007 h 8099368"/>
              <a:gd name="connsiteX642" fmla="*/ 8862820 w 12192000"/>
              <a:gd name="connsiteY642" fmla="*/ 6993885 h 8099368"/>
              <a:gd name="connsiteX643" fmla="*/ 8682864 w 12192000"/>
              <a:gd name="connsiteY643" fmla="*/ 6903642 h 8099368"/>
              <a:gd name="connsiteX644" fmla="*/ 8570392 w 12192000"/>
              <a:gd name="connsiteY644" fmla="*/ 6835959 h 8099368"/>
              <a:gd name="connsiteX645" fmla="*/ 8705359 w 12192000"/>
              <a:gd name="connsiteY645" fmla="*/ 6903642 h 8099368"/>
              <a:gd name="connsiteX646" fmla="*/ 8840325 w 12192000"/>
              <a:gd name="connsiteY646" fmla="*/ 6948763 h 8099368"/>
              <a:gd name="connsiteX647" fmla="*/ 8547897 w 12192000"/>
              <a:gd name="connsiteY647" fmla="*/ 6813398 h 8099368"/>
              <a:gd name="connsiteX648" fmla="*/ 8345447 w 12192000"/>
              <a:gd name="connsiteY648" fmla="*/ 6723154 h 8099368"/>
              <a:gd name="connsiteX649" fmla="*/ 8120503 w 12192000"/>
              <a:gd name="connsiteY649" fmla="*/ 6632911 h 8099368"/>
              <a:gd name="connsiteX650" fmla="*/ 7850569 w 12192000"/>
              <a:gd name="connsiteY650" fmla="*/ 6520106 h 8099368"/>
              <a:gd name="connsiteX651" fmla="*/ 7862076 w 12192000"/>
              <a:gd name="connsiteY651" fmla="*/ 6534013 h 8099368"/>
              <a:gd name="connsiteX652" fmla="*/ 7827020 w 12192000"/>
              <a:gd name="connsiteY652" fmla="*/ 6514466 h 8099368"/>
              <a:gd name="connsiteX653" fmla="*/ 7558141 w 12192000"/>
              <a:gd name="connsiteY653" fmla="*/ 6362179 h 8099368"/>
              <a:gd name="connsiteX654" fmla="*/ 7423174 w 12192000"/>
              <a:gd name="connsiteY654" fmla="*/ 6317058 h 8099368"/>
              <a:gd name="connsiteX655" fmla="*/ 6725846 w 12192000"/>
              <a:gd name="connsiteY655" fmla="*/ 6001205 h 8099368"/>
              <a:gd name="connsiteX656" fmla="*/ 6096001 w 12192000"/>
              <a:gd name="connsiteY656" fmla="*/ 5707913 h 8099368"/>
              <a:gd name="connsiteX657" fmla="*/ 6343440 w 12192000"/>
              <a:gd name="connsiteY657" fmla="*/ 5843278 h 8099368"/>
              <a:gd name="connsiteX658" fmla="*/ 6860813 w 12192000"/>
              <a:gd name="connsiteY658" fmla="*/ 6091448 h 8099368"/>
              <a:gd name="connsiteX659" fmla="*/ 6928296 w 12192000"/>
              <a:gd name="connsiteY659" fmla="*/ 6136570 h 8099368"/>
              <a:gd name="connsiteX660" fmla="*/ 6883307 w 12192000"/>
              <a:gd name="connsiteY660" fmla="*/ 6136570 h 8099368"/>
              <a:gd name="connsiteX661" fmla="*/ 6748340 w 12192000"/>
              <a:gd name="connsiteY661" fmla="*/ 6091448 h 8099368"/>
              <a:gd name="connsiteX662" fmla="*/ 6640789 w 12192000"/>
              <a:gd name="connsiteY662" fmla="*/ 6027996 h 8099368"/>
              <a:gd name="connsiteX663" fmla="*/ 6613373 w 12192000"/>
              <a:gd name="connsiteY663" fmla="*/ 6025672 h 8099368"/>
              <a:gd name="connsiteX664" fmla="*/ 6613373 w 12192000"/>
              <a:gd name="connsiteY664" fmla="*/ 6023766 h 8099368"/>
              <a:gd name="connsiteX665" fmla="*/ 6590879 w 12192000"/>
              <a:gd name="connsiteY665" fmla="*/ 6023766 h 8099368"/>
              <a:gd name="connsiteX666" fmla="*/ 6613373 w 12192000"/>
              <a:gd name="connsiteY666" fmla="*/ 6025672 h 8099368"/>
              <a:gd name="connsiteX667" fmla="*/ 6613373 w 12192000"/>
              <a:gd name="connsiteY667" fmla="*/ 6036809 h 8099368"/>
              <a:gd name="connsiteX668" fmla="*/ 6613373 w 12192000"/>
              <a:gd name="connsiteY668" fmla="*/ 6046327 h 8099368"/>
              <a:gd name="connsiteX669" fmla="*/ 6298451 w 12192000"/>
              <a:gd name="connsiteY669" fmla="*/ 5888400 h 8099368"/>
              <a:gd name="connsiteX670" fmla="*/ 6230968 w 12192000"/>
              <a:gd name="connsiteY670" fmla="*/ 5865839 h 8099368"/>
              <a:gd name="connsiteX671" fmla="*/ 6185979 w 12192000"/>
              <a:gd name="connsiteY671" fmla="*/ 5865839 h 8099368"/>
              <a:gd name="connsiteX672" fmla="*/ 6208473 w 12192000"/>
              <a:gd name="connsiteY672" fmla="*/ 5888400 h 8099368"/>
              <a:gd name="connsiteX673" fmla="*/ 6140990 w 12192000"/>
              <a:gd name="connsiteY673" fmla="*/ 5865839 h 8099368"/>
              <a:gd name="connsiteX674" fmla="*/ 5961034 w 12192000"/>
              <a:gd name="connsiteY674" fmla="*/ 5798156 h 8099368"/>
              <a:gd name="connsiteX675" fmla="*/ 5893551 w 12192000"/>
              <a:gd name="connsiteY675" fmla="*/ 5775596 h 8099368"/>
              <a:gd name="connsiteX676" fmla="*/ 5848562 w 12192000"/>
              <a:gd name="connsiteY676" fmla="*/ 5775596 h 8099368"/>
              <a:gd name="connsiteX677" fmla="*/ 6028517 w 12192000"/>
              <a:gd name="connsiteY677" fmla="*/ 5865839 h 8099368"/>
              <a:gd name="connsiteX678" fmla="*/ 6073506 w 12192000"/>
              <a:gd name="connsiteY678" fmla="*/ 5843278 h 8099368"/>
              <a:gd name="connsiteX679" fmla="*/ 6118495 w 12192000"/>
              <a:gd name="connsiteY679" fmla="*/ 5888400 h 8099368"/>
              <a:gd name="connsiteX680" fmla="*/ 6230968 w 12192000"/>
              <a:gd name="connsiteY680" fmla="*/ 5933522 h 8099368"/>
              <a:gd name="connsiteX681" fmla="*/ 6478407 w 12192000"/>
              <a:gd name="connsiteY681" fmla="*/ 6046327 h 8099368"/>
              <a:gd name="connsiteX682" fmla="*/ 6365934 w 12192000"/>
              <a:gd name="connsiteY682" fmla="*/ 5978644 h 8099368"/>
              <a:gd name="connsiteX683" fmla="*/ 6208473 w 12192000"/>
              <a:gd name="connsiteY683" fmla="*/ 5910961 h 8099368"/>
              <a:gd name="connsiteX684" fmla="*/ 6388429 w 12192000"/>
              <a:gd name="connsiteY684" fmla="*/ 5978644 h 8099368"/>
              <a:gd name="connsiteX685" fmla="*/ 6770835 w 12192000"/>
              <a:gd name="connsiteY685" fmla="*/ 6159131 h 8099368"/>
              <a:gd name="connsiteX686" fmla="*/ 6995779 w 12192000"/>
              <a:gd name="connsiteY686" fmla="*/ 6271936 h 8099368"/>
              <a:gd name="connsiteX687" fmla="*/ 7243219 w 12192000"/>
              <a:gd name="connsiteY687" fmla="*/ 6384740 h 8099368"/>
              <a:gd name="connsiteX688" fmla="*/ 7333196 w 12192000"/>
              <a:gd name="connsiteY688" fmla="*/ 6429862 h 8099368"/>
              <a:gd name="connsiteX689" fmla="*/ 7400680 w 12192000"/>
              <a:gd name="connsiteY689" fmla="*/ 6474984 h 8099368"/>
              <a:gd name="connsiteX690" fmla="*/ 7288207 w 12192000"/>
              <a:gd name="connsiteY690" fmla="*/ 6474984 h 8099368"/>
              <a:gd name="connsiteX691" fmla="*/ 7310702 w 12192000"/>
              <a:gd name="connsiteY691" fmla="*/ 6520106 h 8099368"/>
              <a:gd name="connsiteX692" fmla="*/ 7355691 w 12192000"/>
              <a:gd name="connsiteY692" fmla="*/ 6542667 h 8099368"/>
              <a:gd name="connsiteX693" fmla="*/ 7423174 w 12192000"/>
              <a:gd name="connsiteY693" fmla="*/ 6565228 h 8099368"/>
              <a:gd name="connsiteX694" fmla="*/ 7445669 w 12192000"/>
              <a:gd name="connsiteY694" fmla="*/ 6587789 h 8099368"/>
              <a:gd name="connsiteX695" fmla="*/ 7535647 w 12192000"/>
              <a:gd name="connsiteY695" fmla="*/ 6632911 h 8099368"/>
              <a:gd name="connsiteX696" fmla="*/ 7738097 w 12192000"/>
              <a:gd name="connsiteY696" fmla="*/ 6745715 h 8099368"/>
              <a:gd name="connsiteX697" fmla="*/ 7805580 w 12192000"/>
              <a:gd name="connsiteY697" fmla="*/ 6790837 h 8099368"/>
              <a:gd name="connsiteX698" fmla="*/ 7670613 w 12192000"/>
              <a:gd name="connsiteY698" fmla="*/ 6745715 h 8099368"/>
              <a:gd name="connsiteX699" fmla="*/ 7580636 w 12192000"/>
              <a:gd name="connsiteY699" fmla="*/ 6723154 h 8099368"/>
              <a:gd name="connsiteX700" fmla="*/ 7558141 w 12192000"/>
              <a:gd name="connsiteY700" fmla="*/ 6768276 h 8099368"/>
              <a:gd name="connsiteX701" fmla="*/ 7693108 w 12192000"/>
              <a:gd name="connsiteY701" fmla="*/ 6835959 h 8099368"/>
              <a:gd name="connsiteX702" fmla="*/ 7670613 w 12192000"/>
              <a:gd name="connsiteY702" fmla="*/ 6835959 h 8099368"/>
              <a:gd name="connsiteX703" fmla="*/ 7535647 w 12192000"/>
              <a:gd name="connsiteY703" fmla="*/ 6768276 h 8099368"/>
              <a:gd name="connsiteX704" fmla="*/ 7513152 w 12192000"/>
              <a:gd name="connsiteY704" fmla="*/ 6745715 h 8099368"/>
              <a:gd name="connsiteX705" fmla="*/ 7423174 w 12192000"/>
              <a:gd name="connsiteY705" fmla="*/ 6700593 h 8099368"/>
              <a:gd name="connsiteX706" fmla="*/ 7490658 w 12192000"/>
              <a:gd name="connsiteY706" fmla="*/ 6723154 h 8099368"/>
              <a:gd name="connsiteX707" fmla="*/ 7445669 w 12192000"/>
              <a:gd name="connsiteY707" fmla="*/ 6678032 h 8099368"/>
              <a:gd name="connsiteX708" fmla="*/ 7355691 w 12192000"/>
              <a:gd name="connsiteY708" fmla="*/ 6678032 h 8099368"/>
              <a:gd name="connsiteX709" fmla="*/ 7265713 w 12192000"/>
              <a:gd name="connsiteY709" fmla="*/ 6678032 h 8099368"/>
              <a:gd name="connsiteX710" fmla="*/ 7378185 w 12192000"/>
              <a:gd name="connsiteY710" fmla="*/ 6723154 h 8099368"/>
              <a:gd name="connsiteX711" fmla="*/ 7513152 w 12192000"/>
              <a:gd name="connsiteY711" fmla="*/ 6813398 h 8099368"/>
              <a:gd name="connsiteX712" fmla="*/ 7243219 w 12192000"/>
              <a:gd name="connsiteY712" fmla="*/ 6723154 h 8099368"/>
              <a:gd name="connsiteX713" fmla="*/ 6815824 w 12192000"/>
              <a:gd name="connsiteY713" fmla="*/ 6497545 h 8099368"/>
              <a:gd name="connsiteX714" fmla="*/ 6500901 w 12192000"/>
              <a:gd name="connsiteY714" fmla="*/ 6362179 h 8099368"/>
              <a:gd name="connsiteX715" fmla="*/ 6208473 w 12192000"/>
              <a:gd name="connsiteY715" fmla="*/ 6317058 h 8099368"/>
              <a:gd name="connsiteX716" fmla="*/ 6388429 w 12192000"/>
              <a:gd name="connsiteY716" fmla="*/ 6407301 h 8099368"/>
              <a:gd name="connsiteX717" fmla="*/ 6568385 w 12192000"/>
              <a:gd name="connsiteY717" fmla="*/ 6497545 h 8099368"/>
              <a:gd name="connsiteX718" fmla="*/ 6950790 w 12192000"/>
              <a:gd name="connsiteY718" fmla="*/ 6700593 h 8099368"/>
              <a:gd name="connsiteX719" fmla="*/ 7333196 w 12192000"/>
              <a:gd name="connsiteY719" fmla="*/ 6903642 h 8099368"/>
              <a:gd name="connsiteX720" fmla="*/ 7423174 w 12192000"/>
              <a:gd name="connsiteY720" fmla="*/ 6948763 h 8099368"/>
              <a:gd name="connsiteX721" fmla="*/ 7468163 w 12192000"/>
              <a:gd name="connsiteY721" fmla="*/ 6971324 h 8099368"/>
              <a:gd name="connsiteX722" fmla="*/ 7400680 w 12192000"/>
              <a:gd name="connsiteY722" fmla="*/ 6948763 h 8099368"/>
              <a:gd name="connsiteX723" fmla="*/ 7355691 w 12192000"/>
              <a:gd name="connsiteY723" fmla="*/ 6926202 h 8099368"/>
              <a:gd name="connsiteX724" fmla="*/ 7310702 w 12192000"/>
              <a:gd name="connsiteY724" fmla="*/ 6903642 h 8099368"/>
              <a:gd name="connsiteX725" fmla="*/ 7243219 w 12192000"/>
              <a:gd name="connsiteY725" fmla="*/ 6881081 h 8099368"/>
              <a:gd name="connsiteX726" fmla="*/ 7130746 w 12192000"/>
              <a:gd name="connsiteY726" fmla="*/ 6813398 h 8099368"/>
              <a:gd name="connsiteX727" fmla="*/ 6928296 w 12192000"/>
              <a:gd name="connsiteY727" fmla="*/ 6700593 h 8099368"/>
              <a:gd name="connsiteX728" fmla="*/ 6860813 w 12192000"/>
              <a:gd name="connsiteY728" fmla="*/ 6655471 h 8099368"/>
              <a:gd name="connsiteX729" fmla="*/ 6883307 w 12192000"/>
              <a:gd name="connsiteY729" fmla="*/ 6700593 h 8099368"/>
              <a:gd name="connsiteX730" fmla="*/ 6883307 w 12192000"/>
              <a:gd name="connsiteY730" fmla="*/ 6723154 h 8099368"/>
              <a:gd name="connsiteX731" fmla="*/ 6928296 w 12192000"/>
              <a:gd name="connsiteY731" fmla="*/ 6745715 h 8099368"/>
              <a:gd name="connsiteX732" fmla="*/ 6950790 w 12192000"/>
              <a:gd name="connsiteY732" fmla="*/ 6768276 h 8099368"/>
              <a:gd name="connsiteX733" fmla="*/ 6973285 w 12192000"/>
              <a:gd name="connsiteY733" fmla="*/ 6790837 h 8099368"/>
              <a:gd name="connsiteX734" fmla="*/ 6950790 w 12192000"/>
              <a:gd name="connsiteY734" fmla="*/ 6813398 h 8099368"/>
              <a:gd name="connsiteX735" fmla="*/ 6973285 w 12192000"/>
              <a:gd name="connsiteY735" fmla="*/ 6813398 h 8099368"/>
              <a:gd name="connsiteX736" fmla="*/ 7220724 w 12192000"/>
              <a:gd name="connsiteY736" fmla="*/ 6881081 h 8099368"/>
              <a:gd name="connsiteX737" fmla="*/ 7153241 w 12192000"/>
              <a:gd name="connsiteY737" fmla="*/ 6926202 h 8099368"/>
              <a:gd name="connsiteX738" fmla="*/ 7018274 w 12192000"/>
              <a:gd name="connsiteY738" fmla="*/ 6926202 h 8099368"/>
              <a:gd name="connsiteX739" fmla="*/ 7063263 w 12192000"/>
              <a:gd name="connsiteY739" fmla="*/ 6993885 h 8099368"/>
              <a:gd name="connsiteX740" fmla="*/ 6793329 w 12192000"/>
              <a:gd name="connsiteY740" fmla="*/ 6903642 h 8099368"/>
              <a:gd name="connsiteX741" fmla="*/ 6883307 w 12192000"/>
              <a:gd name="connsiteY741" fmla="*/ 6881081 h 8099368"/>
              <a:gd name="connsiteX742" fmla="*/ 6905802 w 12192000"/>
              <a:gd name="connsiteY742" fmla="*/ 6858520 h 8099368"/>
              <a:gd name="connsiteX743" fmla="*/ 6838318 w 12192000"/>
              <a:gd name="connsiteY743" fmla="*/ 6858520 h 8099368"/>
              <a:gd name="connsiteX744" fmla="*/ 6658362 w 12192000"/>
              <a:gd name="connsiteY744" fmla="*/ 6835959 h 8099368"/>
              <a:gd name="connsiteX745" fmla="*/ 6410923 w 12192000"/>
              <a:gd name="connsiteY745" fmla="*/ 6768276 h 8099368"/>
              <a:gd name="connsiteX746" fmla="*/ 6298451 w 12192000"/>
              <a:gd name="connsiteY746" fmla="*/ 6723154 h 8099368"/>
              <a:gd name="connsiteX747" fmla="*/ 6298451 w 12192000"/>
              <a:gd name="connsiteY747" fmla="*/ 6745715 h 8099368"/>
              <a:gd name="connsiteX748" fmla="*/ 6298451 w 12192000"/>
              <a:gd name="connsiteY748" fmla="*/ 6768276 h 8099368"/>
              <a:gd name="connsiteX749" fmla="*/ 6613373 w 12192000"/>
              <a:gd name="connsiteY749" fmla="*/ 6948763 h 8099368"/>
              <a:gd name="connsiteX750" fmla="*/ 6725846 w 12192000"/>
              <a:gd name="connsiteY750" fmla="*/ 7016446 h 8099368"/>
              <a:gd name="connsiteX751" fmla="*/ 6950790 w 12192000"/>
              <a:gd name="connsiteY751" fmla="*/ 7129251 h 8099368"/>
              <a:gd name="connsiteX752" fmla="*/ 6838318 w 12192000"/>
              <a:gd name="connsiteY752" fmla="*/ 7106690 h 8099368"/>
              <a:gd name="connsiteX753" fmla="*/ 6838318 w 12192000"/>
              <a:gd name="connsiteY753" fmla="*/ 7129251 h 8099368"/>
              <a:gd name="connsiteX754" fmla="*/ 6748340 w 12192000"/>
              <a:gd name="connsiteY754" fmla="*/ 7084129 h 8099368"/>
              <a:gd name="connsiteX755" fmla="*/ 6815824 w 12192000"/>
              <a:gd name="connsiteY755" fmla="*/ 7106690 h 8099368"/>
              <a:gd name="connsiteX756" fmla="*/ 6680857 w 12192000"/>
              <a:gd name="connsiteY756" fmla="*/ 7016446 h 8099368"/>
              <a:gd name="connsiteX757" fmla="*/ 6298451 w 12192000"/>
              <a:gd name="connsiteY757" fmla="*/ 6813398 h 8099368"/>
              <a:gd name="connsiteX758" fmla="*/ 5916046 w 12192000"/>
              <a:gd name="connsiteY758" fmla="*/ 6632911 h 8099368"/>
              <a:gd name="connsiteX759" fmla="*/ 5871056 w 12192000"/>
              <a:gd name="connsiteY759" fmla="*/ 6610350 h 8099368"/>
              <a:gd name="connsiteX760" fmla="*/ 5781078 w 12192000"/>
              <a:gd name="connsiteY760" fmla="*/ 6587789 h 8099368"/>
              <a:gd name="connsiteX761" fmla="*/ 5061256 w 12192000"/>
              <a:gd name="connsiteY761" fmla="*/ 6226814 h 8099368"/>
              <a:gd name="connsiteX762" fmla="*/ 4678849 w 12192000"/>
              <a:gd name="connsiteY762" fmla="*/ 6068888 h 8099368"/>
              <a:gd name="connsiteX763" fmla="*/ 4768827 w 12192000"/>
              <a:gd name="connsiteY763" fmla="*/ 6136570 h 8099368"/>
              <a:gd name="connsiteX764" fmla="*/ 4768827 w 12192000"/>
              <a:gd name="connsiteY764" fmla="*/ 6159131 h 8099368"/>
              <a:gd name="connsiteX765" fmla="*/ 4881300 w 12192000"/>
              <a:gd name="connsiteY765" fmla="*/ 6204253 h 8099368"/>
              <a:gd name="connsiteX766" fmla="*/ 5038761 w 12192000"/>
              <a:gd name="connsiteY766" fmla="*/ 6294497 h 8099368"/>
              <a:gd name="connsiteX767" fmla="*/ 5151233 w 12192000"/>
              <a:gd name="connsiteY767" fmla="*/ 6339619 h 8099368"/>
              <a:gd name="connsiteX768" fmla="*/ 5398672 w 12192000"/>
              <a:gd name="connsiteY768" fmla="*/ 6452423 h 8099368"/>
              <a:gd name="connsiteX769" fmla="*/ 5443662 w 12192000"/>
              <a:gd name="connsiteY769" fmla="*/ 6474984 h 8099368"/>
              <a:gd name="connsiteX770" fmla="*/ 5668606 w 12192000"/>
              <a:gd name="connsiteY770" fmla="*/ 6587789 h 8099368"/>
              <a:gd name="connsiteX771" fmla="*/ 5871056 w 12192000"/>
              <a:gd name="connsiteY771" fmla="*/ 6655471 h 8099368"/>
              <a:gd name="connsiteX772" fmla="*/ 5736089 w 12192000"/>
              <a:gd name="connsiteY772" fmla="*/ 6587789 h 8099368"/>
              <a:gd name="connsiteX773" fmla="*/ 5758584 w 12192000"/>
              <a:gd name="connsiteY773" fmla="*/ 6587789 h 8099368"/>
              <a:gd name="connsiteX774" fmla="*/ 5893551 w 12192000"/>
              <a:gd name="connsiteY774" fmla="*/ 6655471 h 8099368"/>
              <a:gd name="connsiteX775" fmla="*/ 5893551 w 12192000"/>
              <a:gd name="connsiteY775" fmla="*/ 6700593 h 8099368"/>
              <a:gd name="connsiteX776" fmla="*/ 6028517 w 12192000"/>
              <a:gd name="connsiteY776" fmla="*/ 6768276 h 8099368"/>
              <a:gd name="connsiteX777" fmla="*/ 6253462 w 12192000"/>
              <a:gd name="connsiteY777" fmla="*/ 6881081 h 8099368"/>
              <a:gd name="connsiteX778" fmla="*/ 6365934 w 12192000"/>
              <a:gd name="connsiteY778" fmla="*/ 6926202 h 8099368"/>
              <a:gd name="connsiteX779" fmla="*/ 6343440 w 12192000"/>
              <a:gd name="connsiteY779" fmla="*/ 6903642 h 8099368"/>
              <a:gd name="connsiteX780" fmla="*/ 6447477 w 12192000"/>
              <a:gd name="connsiteY780" fmla="*/ 6929023 h 8099368"/>
              <a:gd name="connsiteX781" fmla="*/ 6471976 w 12192000"/>
              <a:gd name="connsiteY781" fmla="*/ 6950228 h 8099368"/>
              <a:gd name="connsiteX782" fmla="*/ 6455912 w 12192000"/>
              <a:gd name="connsiteY782" fmla="*/ 6948763 h 8099368"/>
              <a:gd name="connsiteX783" fmla="*/ 6455912 w 12192000"/>
              <a:gd name="connsiteY783" fmla="*/ 6993885 h 8099368"/>
              <a:gd name="connsiteX784" fmla="*/ 6478407 w 12192000"/>
              <a:gd name="connsiteY784" fmla="*/ 7016446 h 8099368"/>
              <a:gd name="connsiteX785" fmla="*/ 6388429 w 12192000"/>
              <a:gd name="connsiteY785" fmla="*/ 6993885 h 8099368"/>
              <a:gd name="connsiteX786" fmla="*/ 6185979 w 12192000"/>
              <a:gd name="connsiteY786" fmla="*/ 6881081 h 8099368"/>
              <a:gd name="connsiteX787" fmla="*/ 5736089 w 12192000"/>
              <a:gd name="connsiteY787" fmla="*/ 6700593 h 8099368"/>
              <a:gd name="connsiteX788" fmla="*/ 5803573 w 12192000"/>
              <a:gd name="connsiteY788" fmla="*/ 6700593 h 8099368"/>
              <a:gd name="connsiteX789" fmla="*/ 5421167 w 12192000"/>
              <a:gd name="connsiteY789" fmla="*/ 6565228 h 8099368"/>
              <a:gd name="connsiteX790" fmla="*/ 5398672 w 12192000"/>
              <a:gd name="connsiteY790" fmla="*/ 6587789 h 8099368"/>
              <a:gd name="connsiteX791" fmla="*/ 5443662 w 12192000"/>
              <a:gd name="connsiteY791" fmla="*/ 6610350 h 8099368"/>
              <a:gd name="connsiteX792" fmla="*/ 5331189 w 12192000"/>
              <a:gd name="connsiteY792" fmla="*/ 6587789 h 8099368"/>
              <a:gd name="connsiteX793" fmla="*/ 5331189 w 12192000"/>
              <a:gd name="connsiteY793" fmla="*/ 6655471 h 8099368"/>
              <a:gd name="connsiteX794" fmla="*/ 5353683 w 12192000"/>
              <a:gd name="connsiteY794" fmla="*/ 6678032 h 8099368"/>
              <a:gd name="connsiteX795" fmla="*/ 5308694 w 12192000"/>
              <a:gd name="connsiteY795" fmla="*/ 6678032 h 8099368"/>
              <a:gd name="connsiteX796" fmla="*/ 5353683 w 12192000"/>
              <a:gd name="connsiteY796" fmla="*/ 6723154 h 8099368"/>
              <a:gd name="connsiteX797" fmla="*/ 5578628 w 12192000"/>
              <a:gd name="connsiteY797" fmla="*/ 6813398 h 8099368"/>
              <a:gd name="connsiteX798" fmla="*/ 5533639 w 12192000"/>
              <a:gd name="connsiteY798" fmla="*/ 6813398 h 8099368"/>
              <a:gd name="connsiteX799" fmla="*/ 5533639 w 12192000"/>
              <a:gd name="connsiteY799" fmla="*/ 6835959 h 8099368"/>
              <a:gd name="connsiteX800" fmla="*/ 5623617 w 12192000"/>
              <a:gd name="connsiteY800" fmla="*/ 6881081 h 8099368"/>
              <a:gd name="connsiteX801" fmla="*/ 5488650 w 12192000"/>
              <a:gd name="connsiteY801" fmla="*/ 6835959 h 8099368"/>
              <a:gd name="connsiteX802" fmla="*/ 5286200 w 12192000"/>
              <a:gd name="connsiteY802" fmla="*/ 6723154 h 8099368"/>
              <a:gd name="connsiteX803" fmla="*/ 5218717 w 12192000"/>
              <a:gd name="connsiteY803" fmla="*/ 6745715 h 8099368"/>
              <a:gd name="connsiteX804" fmla="*/ 5241211 w 12192000"/>
              <a:gd name="connsiteY804" fmla="*/ 6768276 h 8099368"/>
              <a:gd name="connsiteX805" fmla="*/ 5173728 w 12192000"/>
              <a:gd name="connsiteY805" fmla="*/ 6723154 h 8099368"/>
              <a:gd name="connsiteX806" fmla="*/ 4813816 w 12192000"/>
              <a:gd name="connsiteY806" fmla="*/ 6565228 h 8099368"/>
              <a:gd name="connsiteX807" fmla="*/ 4836311 w 12192000"/>
              <a:gd name="connsiteY807" fmla="*/ 6610350 h 8099368"/>
              <a:gd name="connsiteX808" fmla="*/ 4881300 w 12192000"/>
              <a:gd name="connsiteY808" fmla="*/ 6632911 h 8099368"/>
              <a:gd name="connsiteX809" fmla="*/ 5083750 w 12192000"/>
              <a:gd name="connsiteY809" fmla="*/ 6723154 h 8099368"/>
              <a:gd name="connsiteX810" fmla="*/ 5083750 w 12192000"/>
              <a:gd name="connsiteY810" fmla="*/ 6745715 h 8099368"/>
              <a:gd name="connsiteX811" fmla="*/ 5263705 w 12192000"/>
              <a:gd name="connsiteY811" fmla="*/ 6858520 h 8099368"/>
              <a:gd name="connsiteX812" fmla="*/ 5173728 w 12192000"/>
              <a:gd name="connsiteY812" fmla="*/ 6835959 h 8099368"/>
              <a:gd name="connsiteX813" fmla="*/ 5128739 w 12192000"/>
              <a:gd name="connsiteY813" fmla="*/ 6858520 h 8099368"/>
              <a:gd name="connsiteX814" fmla="*/ 5038761 w 12192000"/>
              <a:gd name="connsiteY814" fmla="*/ 6813398 h 8099368"/>
              <a:gd name="connsiteX815" fmla="*/ 4858805 w 12192000"/>
              <a:gd name="connsiteY815" fmla="*/ 6723154 h 8099368"/>
              <a:gd name="connsiteX816" fmla="*/ 4588872 w 12192000"/>
              <a:gd name="connsiteY816" fmla="*/ 6565228 h 8099368"/>
              <a:gd name="connsiteX817" fmla="*/ 4049004 w 12192000"/>
              <a:gd name="connsiteY817" fmla="*/ 6294497 h 8099368"/>
              <a:gd name="connsiteX818" fmla="*/ 3959027 w 12192000"/>
              <a:gd name="connsiteY818" fmla="*/ 6249375 h 8099368"/>
              <a:gd name="connsiteX819" fmla="*/ 3891543 w 12192000"/>
              <a:gd name="connsiteY819" fmla="*/ 6249375 h 8099368"/>
              <a:gd name="connsiteX820" fmla="*/ 3891543 w 12192000"/>
              <a:gd name="connsiteY820" fmla="*/ 6226814 h 8099368"/>
              <a:gd name="connsiteX821" fmla="*/ 3779071 w 12192000"/>
              <a:gd name="connsiteY821" fmla="*/ 6159131 h 8099368"/>
              <a:gd name="connsiteX822" fmla="*/ 3576621 w 12192000"/>
              <a:gd name="connsiteY822" fmla="*/ 6068888 h 8099368"/>
              <a:gd name="connsiteX823" fmla="*/ 3554126 w 12192000"/>
              <a:gd name="connsiteY823" fmla="*/ 6091448 h 8099368"/>
              <a:gd name="connsiteX824" fmla="*/ 3464148 w 12192000"/>
              <a:gd name="connsiteY824" fmla="*/ 6046327 h 8099368"/>
              <a:gd name="connsiteX825" fmla="*/ 3374170 w 12192000"/>
              <a:gd name="connsiteY825" fmla="*/ 6023766 h 8099368"/>
              <a:gd name="connsiteX826" fmla="*/ 3284193 w 12192000"/>
              <a:gd name="connsiteY826" fmla="*/ 5978644 h 8099368"/>
              <a:gd name="connsiteX827" fmla="*/ 3284193 w 12192000"/>
              <a:gd name="connsiteY827" fmla="*/ 5978644 h 8099368"/>
              <a:gd name="connsiteX828" fmla="*/ 3284192 w 12192000"/>
              <a:gd name="connsiteY828" fmla="*/ 5978644 h 8099368"/>
              <a:gd name="connsiteX829" fmla="*/ 3261699 w 12192000"/>
              <a:gd name="connsiteY829" fmla="*/ 5967364 h 8099368"/>
              <a:gd name="connsiteX830" fmla="*/ 3261698 w 12192000"/>
              <a:gd name="connsiteY830" fmla="*/ 5967363 h 8099368"/>
              <a:gd name="connsiteX831" fmla="*/ 3239203 w 12192000"/>
              <a:gd name="connsiteY831" fmla="*/ 5956083 h 8099368"/>
              <a:gd name="connsiteX832" fmla="*/ 3261699 w 12192000"/>
              <a:gd name="connsiteY832" fmla="*/ 5967364 h 8099368"/>
              <a:gd name="connsiteX833" fmla="*/ 3270837 w 12192000"/>
              <a:gd name="connsiteY833" fmla="*/ 5975119 h 8099368"/>
              <a:gd name="connsiteX834" fmla="*/ 3284192 w 12192000"/>
              <a:gd name="connsiteY834" fmla="*/ 5978644 h 8099368"/>
              <a:gd name="connsiteX835" fmla="*/ 3284193 w 12192000"/>
              <a:gd name="connsiteY835" fmla="*/ 5978644 h 8099368"/>
              <a:gd name="connsiteX836" fmla="*/ 3288059 w 12192000"/>
              <a:gd name="connsiteY836" fmla="*/ 5992039 h 8099368"/>
              <a:gd name="connsiteX837" fmla="*/ 3329181 w 12192000"/>
              <a:gd name="connsiteY837" fmla="*/ 6023766 h 8099368"/>
              <a:gd name="connsiteX838" fmla="*/ 3419159 w 12192000"/>
              <a:gd name="connsiteY838" fmla="*/ 6068888 h 8099368"/>
              <a:gd name="connsiteX839" fmla="*/ 3644104 w 12192000"/>
              <a:gd name="connsiteY839" fmla="*/ 6204253 h 8099368"/>
              <a:gd name="connsiteX840" fmla="*/ 3869049 w 12192000"/>
              <a:gd name="connsiteY840" fmla="*/ 6339619 h 8099368"/>
              <a:gd name="connsiteX841" fmla="*/ 4251454 w 12192000"/>
              <a:gd name="connsiteY841" fmla="*/ 6542667 h 8099368"/>
              <a:gd name="connsiteX842" fmla="*/ 4341432 w 12192000"/>
              <a:gd name="connsiteY842" fmla="*/ 6587789 h 8099368"/>
              <a:gd name="connsiteX843" fmla="*/ 4386421 w 12192000"/>
              <a:gd name="connsiteY843" fmla="*/ 6610350 h 8099368"/>
              <a:gd name="connsiteX844" fmla="*/ 4521389 w 12192000"/>
              <a:gd name="connsiteY844" fmla="*/ 6632911 h 8099368"/>
              <a:gd name="connsiteX845" fmla="*/ 4521389 w 12192000"/>
              <a:gd name="connsiteY845" fmla="*/ 6587789 h 8099368"/>
              <a:gd name="connsiteX846" fmla="*/ 4386421 w 12192000"/>
              <a:gd name="connsiteY846" fmla="*/ 6520106 h 8099368"/>
              <a:gd name="connsiteX847" fmla="*/ 4521389 w 12192000"/>
              <a:gd name="connsiteY847" fmla="*/ 6565228 h 8099368"/>
              <a:gd name="connsiteX848" fmla="*/ 4678849 w 12192000"/>
              <a:gd name="connsiteY848" fmla="*/ 6632911 h 8099368"/>
              <a:gd name="connsiteX849" fmla="*/ 4723838 w 12192000"/>
              <a:gd name="connsiteY849" fmla="*/ 6678032 h 8099368"/>
              <a:gd name="connsiteX850" fmla="*/ 4611366 w 12192000"/>
              <a:gd name="connsiteY850" fmla="*/ 6655471 h 8099368"/>
              <a:gd name="connsiteX851" fmla="*/ 4588872 w 12192000"/>
              <a:gd name="connsiteY851" fmla="*/ 6655471 h 8099368"/>
              <a:gd name="connsiteX852" fmla="*/ 4566377 w 12192000"/>
              <a:gd name="connsiteY852" fmla="*/ 6655471 h 8099368"/>
              <a:gd name="connsiteX853" fmla="*/ 4678849 w 12192000"/>
              <a:gd name="connsiteY853" fmla="*/ 6723154 h 8099368"/>
              <a:gd name="connsiteX854" fmla="*/ 4543883 w 12192000"/>
              <a:gd name="connsiteY854" fmla="*/ 6678032 h 8099368"/>
              <a:gd name="connsiteX855" fmla="*/ 4858805 w 12192000"/>
              <a:gd name="connsiteY855" fmla="*/ 6858520 h 8099368"/>
              <a:gd name="connsiteX856" fmla="*/ 4903794 w 12192000"/>
              <a:gd name="connsiteY856" fmla="*/ 6881081 h 8099368"/>
              <a:gd name="connsiteX857" fmla="*/ 4948783 w 12192000"/>
              <a:gd name="connsiteY857" fmla="*/ 6903642 h 8099368"/>
              <a:gd name="connsiteX858" fmla="*/ 5106244 w 12192000"/>
              <a:gd name="connsiteY858" fmla="*/ 6948763 h 8099368"/>
              <a:gd name="connsiteX859" fmla="*/ 5128739 w 12192000"/>
              <a:gd name="connsiteY859" fmla="*/ 6971324 h 8099368"/>
              <a:gd name="connsiteX860" fmla="*/ 5106244 w 12192000"/>
              <a:gd name="connsiteY860" fmla="*/ 6993885 h 8099368"/>
              <a:gd name="connsiteX861" fmla="*/ 5308694 w 12192000"/>
              <a:gd name="connsiteY861" fmla="*/ 7129251 h 8099368"/>
              <a:gd name="connsiteX862" fmla="*/ 5061256 w 12192000"/>
              <a:gd name="connsiteY862" fmla="*/ 7016446 h 8099368"/>
              <a:gd name="connsiteX863" fmla="*/ 4903794 w 12192000"/>
              <a:gd name="connsiteY863" fmla="*/ 6948763 h 8099368"/>
              <a:gd name="connsiteX864" fmla="*/ 4656355 w 12192000"/>
              <a:gd name="connsiteY864" fmla="*/ 6835959 h 8099368"/>
              <a:gd name="connsiteX865" fmla="*/ 4633860 w 12192000"/>
              <a:gd name="connsiteY865" fmla="*/ 6813398 h 8099368"/>
              <a:gd name="connsiteX866" fmla="*/ 4521389 w 12192000"/>
              <a:gd name="connsiteY866" fmla="*/ 6790837 h 8099368"/>
              <a:gd name="connsiteX867" fmla="*/ 4408916 w 12192000"/>
              <a:gd name="connsiteY867" fmla="*/ 6723154 h 8099368"/>
              <a:gd name="connsiteX868" fmla="*/ 4273949 w 12192000"/>
              <a:gd name="connsiteY868" fmla="*/ 6655471 h 8099368"/>
              <a:gd name="connsiteX869" fmla="*/ 4116488 w 12192000"/>
              <a:gd name="connsiteY869" fmla="*/ 6587789 h 8099368"/>
              <a:gd name="connsiteX870" fmla="*/ 4093993 w 12192000"/>
              <a:gd name="connsiteY870" fmla="*/ 6610350 h 8099368"/>
              <a:gd name="connsiteX871" fmla="*/ 4071499 w 12192000"/>
              <a:gd name="connsiteY871" fmla="*/ 6610350 h 8099368"/>
              <a:gd name="connsiteX872" fmla="*/ 4161476 w 12192000"/>
              <a:gd name="connsiteY872" fmla="*/ 6678032 h 8099368"/>
              <a:gd name="connsiteX873" fmla="*/ 4183971 w 12192000"/>
              <a:gd name="connsiteY873" fmla="*/ 6723154 h 8099368"/>
              <a:gd name="connsiteX874" fmla="*/ 4296443 w 12192000"/>
              <a:gd name="connsiteY874" fmla="*/ 6745715 h 8099368"/>
              <a:gd name="connsiteX875" fmla="*/ 4498894 w 12192000"/>
              <a:gd name="connsiteY875" fmla="*/ 6835959 h 8099368"/>
              <a:gd name="connsiteX876" fmla="*/ 4588872 w 12192000"/>
              <a:gd name="connsiteY876" fmla="*/ 6903642 h 8099368"/>
              <a:gd name="connsiteX877" fmla="*/ 4746333 w 12192000"/>
              <a:gd name="connsiteY877" fmla="*/ 6993885 h 8099368"/>
              <a:gd name="connsiteX878" fmla="*/ 4858805 w 12192000"/>
              <a:gd name="connsiteY878" fmla="*/ 7061568 h 8099368"/>
              <a:gd name="connsiteX879" fmla="*/ 5151233 w 12192000"/>
              <a:gd name="connsiteY879" fmla="*/ 7219494 h 8099368"/>
              <a:gd name="connsiteX880" fmla="*/ 5128739 w 12192000"/>
              <a:gd name="connsiteY880" fmla="*/ 7219494 h 8099368"/>
              <a:gd name="connsiteX881" fmla="*/ 5038761 w 12192000"/>
              <a:gd name="connsiteY881" fmla="*/ 7174373 h 8099368"/>
              <a:gd name="connsiteX882" fmla="*/ 4903794 w 12192000"/>
              <a:gd name="connsiteY882" fmla="*/ 7129251 h 8099368"/>
              <a:gd name="connsiteX883" fmla="*/ 4588872 w 12192000"/>
              <a:gd name="connsiteY883" fmla="*/ 6971324 h 8099368"/>
              <a:gd name="connsiteX884" fmla="*/ 4543883 w 12192000"/>
              <a:gd name="connsiteY884" fmla="*/ 6948763 h 8099368"/>
              <a:gd name="connsiteX885" fmla="*/ 4273949 w 12192000"/>
              <a:gd name="connsiteY885" fmla="*/ 6790837 h 8099368"/>
              <a:gd name="connsiteX886" fmla="*/ 4004015 w 12192000"/>
              <a:gd name="connsiteY886" fmla="*/ 6655471 h 8099368"/>
              <a:gd name="connsiteX887" fmla="*/ 3801565 w 12192000"/>
              <a:gd name="connsiteY887" fmla="*/ 6542667 h 8099368"/>
              <a:gd name="connsiteX888" fmla="*/ 3779071 w 12192000"/>
              <a:gd name="connsiteY888" fmla="*/ 6520106 h 8099368"/>
              <a:gd name="connsiteX889" fmla="*/ 3599115 w 12192000"/>
              <a:gd name="connsiteY889" fmla="*/ 6452423 h 8099368"/>
              <a:gd name="connsiteX890" fmla="*/ 2991764 w 12192000"/>
              <a:gd name="connsiteY890" fmla="*/ 6159131 h 8099368"/>
              <a:gd name="connsiteX891" fmla="*/ 3126731 w 12192000"/>
              <a:gd name="connsiteY891" fmla="*/ 6249375 h 8099368"/>
              <a:gd name="connsiteX892" fmla="*/ 2811809 w 12192000"/>
              <a:gd name="connsiteY892" fmla="*/ 6114009 h 8099368"/>
              <a:gd name="connsiteX893" fmla="*/ 2721831 w 12192000"/>
              <a:gd name="connsiteY893" fmla="*/ 6068888 h 8099368"/>
              <a:gd name="connsiteX894" fmla="*/ 2609359 w 12192000"/>
              <a:gd name="connsiteY894" fmla="*/ 6046327 h 8099368"/>
              <a:gd name="connsiteX895" fmla="*/ 2519381 w 12192000"/>
              <a:gd name="connsiteY895" fmla="*/ 5978644 h 8099368"/>
              <a:gd name="connsiteX896" fmla="*/ 1664591 w 12192000"/>
              <a:gd name="connsiteY896" fmla="*/ 5549986 h 8099368"/>
              <a:gd name="connsiteX897" fmla="*/ 1597107 w 12192000"/>
              <a:gd name="connsiteY897" fmla="*/ 5549986 h 8099368"/>
              <a:gd name="connsiteX898" fmla="*/ 1552119 w 12192000"/>
              <a:gd name="connsiteY898" fmla="*/ 5527425 h 8099368"/>
              <a:gd name="connsiteX899" fmla="*/ 1349668 w 12192000"/>
              <a:gd name="connsiteY899" fmla="*/ 5437182 h 8099368"/>
              <a:gd name="connsiteX900" fmla="*/ 1282185 w 12192000"/>
              <a:gd name="connsiteY900" fmla="*/ 5414621 h 8099368"/>
              <a:gd name="connsiteX901" fmla="*/ 742318 w 12192000"/>
              <a:gd name="connsiteY901" fmla="*/ 5166451 h 8099368"/>
              <a:gd name="connsiteX902" fmla="*/ 629845 w 12192000"/>
              <a:gd name="connsiteY902" fmla="*/ 5166451 h 8099368"/>
              <a:gd name="connsiteX903" fmla="*/ 787307 w 12192000"/>
              <a:gd name="connsiteY903" fmla="*/ 5256694 h 8099368"/>
              <a:gd name="connsiteX904" fmla="*/ 922273 w 12192000"/>
              <a:gd name="connsiteY904" fmla="*/ 5301816 h 8099368"/>
              <a:gd name="connsiteX905" fmla="*/ 922273 w 12192000"/>
              <a:gd name="connsiteY905" fmla="*/ 5324377 h 8099368"/>
              <a:gd name="connsiteX906" fmla="*/ 1034746 w 12192000"/>
              <a:gd name="connsiteY906" fmla="*/ 5346938 h 8099368"/>
              <a:gd name="connsiteX907" fmla="*/ 1124724 w 12192000"/>
              <a:gd name="connsiteY907" fmla="*/ 5392060 h 8099368"/>
              <a:gd name="connsiteX908" fmla="*/ 1147218 w 12192000"/>
              <a:gd name="connsiteY908" fmla="*/ 5414621 h 8099368"/>
              <a:gd name="connsiteX909" fmla="*/ 1237196 w 12192000"/>
              <a:gd name="connsiteY909" fmla="*/ 5459743 h 8099368"/>
              <a:gd name="connsiteX910" fmla="*/ 1192207 w 12192000"/>
              <a:gd name="connsiteY910" fmla="*/ 5459743 h 8099368"/>
              <a:gd name="connsiteX911" fmla="*/ 1079735 w 12192000"/>
              <a:gd name="connsiteY911" fmla="*/ 5414621 h 8099368"/>
              <a:gd name="connsiteX912" fmla="*/ 1169713 w 12192000"/>
              <a:gd name="connsiteY912" fmla="*/ 5459743 h 8099368"/>
              <a:gd name="connsiteX913" fmla="*/ 1304679 w 12192000"/>
              <a:gd name="connsiteY913" fmla="*/ 5527425 h 8099368"/>
              <a:gd name="connsiteX914" fmla="*/ 1475497 w 12192000"/>
              <a:gd name="connsiteY914" fmla="*/ 5609914 h 8099368"/>
              <a:gd name="connsiteX915" fmla="*/ 1529620 w 12192000"/>
              <a:gd name="connsiteY915" fmla="*/ 5640228 h 8099368"/>
              <a:gd name="connsiteX916" fmla="*/ 1439646 w 12192000"/>
              <a:gd name="connsiteY916" fmla="*/ 5595108 h 8099368"/>
              <a:gd name="connsiteX917" fmla="*/ 1417152 w 12192000"/>
              <a:gd name="connsiteY917" fmla="*/ 5617669 h 8099368"/>
              <a:gd name="connsiteX918" fmla="*/ 1507129 w 12192000"/>
              <a:gd name="connsiteY918" fmla="*/ 5662791 h 8099368"/>
              <a:gd name="connsiteX919" fmla="*/ 1574613 w 12192000"/>
              <a:gd name="connsiteY919" fmla="*/ 5707913 h 8099368"/>
              <a:gd name="connsiteX920" fmla="*/ 1642096 w 12192000"/>
              <a:gd name="connsiteY920" fmla="*/ 5730474 h 8099368"/>
              <a:gd name="connsiteX921" fmla="*/ 1597107 w 12192000"/>
              <a:gd name="connsiteY921" fmla="*/ 5730474 h 8099368"/>
              <a:gd name="connsiteX922" fmla="*/ 1619602 w 12192000"/>
              <a:gd name="connsiteY922" fmla="*/ 5753035 h 8099368"/>
              <a:gd name="connsiteX923" fmla="*/ 1687085 w 12192000"/>
              <a:gd name="connsiteY923" fmla="*/ 5798156 h 8099368"/>
              <a:gd name="connsiteX924" fmla="*/ 1732074 w 12192000"/>
              <a:gd name="connsiteY924" fmla="*/ 5820717 h 8099368"/>
              <a:gd name="connsiteX925" fmla="*/ 1822052 w 12192000"/>
              <a:gd name="connsiteY925" fmla="*/ 5888400 h 8099368"/>
              <a:gd name="connsiteX926" fmla="*/ 1709580 w 12192000"/>
              <a:gd name="connsiteY926" fmla="*/ 5820717 h 8099368"/>
              <a:gd name="connsiteX927" fmla="*/ 1574613 w 12192000"/>
              <a:gd name="connsiteY927" fmla="*/ 5775596 h 8099368"/>
              <a:gd name="connsiteX928" fmla="*/ 629845 w 12192000"/>
              <a:gd name="connsiteY928" fmla="*/ 5324377 h 8099368"/>
              <a:gd name="connsiteX929" fmla="*/ 292428 w 12192000"/>
              <a:gd name="connsiteY929" fmla="*/ 5166451 h 8099368"/>
              <a:gd name="connsiteX930" fmla="*/ 0 w 12192000"/>
              <a:gd name="connsiteY930" fmla="*/ 5166451 h 8099368"/>
              <a:gd name="connsiteX931" fmla="*/ 0 w 12192000"/>
              <a:gd name="connsiteY931" fmla="*/ 5164336 h 8099368"/>
              <a:gd name="connsiteX932" fmla="*/ 0 w 12192000"/>
              <a:gd name="connsiteY932" fmla="*/ 5149530 h 8099368"/>
              <a:gd name="connsiteX933" fmla="*/ 0 w 12192000"/>
              <a:gd name="connsiteY933" fmla="*/ 5133403 h 8099368"/>
              <a:gd name="connsiteX934" fmla="*/ 0 w 12192000"/>
              <a:gd name="connsiteY934" fmla="*/ 5109343 h 8099368"/>
              <a:gd name="connsiteX935" fmla="*/ 0 w 12192000"/>
              <a:gd name="connsiteY935" fmla="*/ 5075766 h 8099368"/>
              <a:gd name="connsiteX936" fmla="*/ 0 w 12192000"/>
              <a:gd name="connsiteY936" fmla="*/ 5031085 h 8099368"/>
              <a:gd name="connsiteX937" fmla="*/ 0 w 12192000"/>
              <a:gd name="connsiteY937" fmla="*/ 5030028 h 8099368"/>
              <a:gd name="connsiteX938" fmla="*/ 0 w 12192000"/>
              <a:gd name="connsiteY938" fmla="*/ 5022625 h 8099368"/>
              <a:gd name="connsiteX939" fmla="*/ 0 w 12192000"/>
              <a:gd name="connsiteY939" fmla="*/ 5002532 h 8099368"/>
              <a:gd name="connsiteX940" fmla="*/ 0 w 12192000"/>
              <a:gd name="connsiteY940" fmla="*/ 4963402 h 8099368"/>
              <a:gd name="connsiteX941" fmla="*/ 67484 w 12192000"/>
              <a:gd name="connsiteY941" fmla="*/ 4985963 h 8099368"/>
              <a:gd name="connsiteX942" fmla="*/ 0 w 12192000"/>
              <a:gd name="connsiteY942" fmla="*/ 4963402 h 8099368"/>
              <a:gd name="connsiteX943" fmla="*/ 0 w 12192000"/>
              <a:gd name="connsiteY943" fmla="*/ 4961331 h 8099368"/>
              <a:gd name="connsiteX944" fmla="*/ 0 w 12192000"/>
              <a:gd name="connsiteY944" fmla="*/ 4946834 h 8099368"/>
              <a:gd name="connsiteX945" fmla="*/ 0 w 12192000"/>
              <a:gd name="connsiteY945" fmla="*/ 4931043 h 8099368"/>
              <a:gd name="connsiteX946" fmla="*/ 0 w 12192000"/>
              <a:gd name="connsiteY946" fmla="*/ 4907485 h 8099368"/>
              <a:gd name="connsiteX947" fmla="*/ 0 w 12192000"/>
              <a:gd name="connsiteY947" fmla="*/ 4874607 h 8099368"/>
              <a:gd name="connsiteX948" fmla="*/ 0 w 12192000"/>
              <a:gd name="connsiteY948" fmla="*/ 4830857 h 8099368"/>
              <a:gd name="connsiteX949" fmla="*/ 0 w 12192000"/>
              <a:gd name="connsiteY949" fmla="*/ 4774680 h 8099368"/>
              <a:gd name="connsiteX950" fmla="*/ 0 w 12192000"/>
              <a:gd name="connsiteY950" fmla="*/ 4704524 h 8099368"/>
              <a:gd name="connsiteX951" fmla="*/ 0 w 12192000"/>
              <a:gd name="connsiteY951" fmla="*/ 4618836 h 8099368"/>
              <a:gd name="connsiteX952" fmla="*/ 0 w 12192000"/>
              <a:gd name="connsiteY952" fmla="*/ 4516062 h 8099368"/>
              <a:gd name="connsiteX953" fmla="*/ 0 w 12192000"/>
              <a:gd name="connsiteY953" fmla="*/ 4394648 h 8099368"/>
              <a:gd name="connsiteX954" fmla="*/ 0 w 12192000"/>
              <a:gd name="connsiteY954" fmla="*/ 4253042 h 8099368"/>
              <a:gd name="connsiteX955" fmla="*/ 0 w 12192000"/>
              <a:gd name="connsiteY955" fmla="*/ 4089690 h 8099368"/>
              <a:gd name="connsiteX956" fmla="*/ 0 w 12192000"/>
              <a:gd name="connsiteY956" fmla="*/ 3903039 h 8099368"/>
              <a:gd name="connsiteX957" fmla="*/ 0 w 12192000"/>
              <a:gd name="connsiteY957" fmla="*/ 3898104 h 8099368"/>
              <a:gd name="connsiteX958" fmla="*/ 0 w 12192000"/>
              <a:gd name="connsiteY958" fmla="*/ 3886383 h 8099368"/>
              <a:gd name="connsiteX959" fmla="*/ 0 w 12192000"/>
              <a:gd name="connsiteY959" fmla="*/ 3863558 h 8099368"/>
              <a:gd name="connsiteX960" fmla="*/ 0 w 12192000"/>
              <a:gd name="connsiteY960" fmla="*/ 3825927 h 8099368"/>
              <a:gd name="connsiteX961" fmla="*/ 0 w 12192000"/>
              <a:gd name="connsiteY961" fmla="*/ 3769789 h 8099368"/>
              <a:gd name="connsiteX962" fmla="*/ 0 w 12192000"/>
              <a:gd name="connsiteY962" fmla="*/ 3691443 h 8099368"/>
              <a:gd name="connsiteX963" fmla="*/ 0 w 12192000"/>
              <a:gd name="connsiteY963" fmla="*/ 3587187 h 8099368"/>
              <a:gd name="connsiteX964" fmla="*/ 0 w 12192000"/>
              <a:gd name="connsiteY964" fmla="*/ 3584366 h 8099368"/>
              <a:gd name="connsiteX965" fmla="*/ 0 w 12192000"/>
              <a:gd name="connsiteY965" fmla="*/ 3577669 h 8099368"/>
              <a:gd name="connsiteX966" fmla="*/ 0 w 12192000"/>
              <a:gd name="connsiteY966" fmla="*/ 3564625 h 8099368"/>
              <a:gd name="connsiteX967" fmla="*/ 0 w 12192000"/>
              <a:gd name="connsiteY967" fmla="*/ 3563259 h 8099368"/>
              <a:gd name="connsiteX968" fmla="*/ 0 w 12192000"/>
              <a:gd name="connsiteY968" fmla="*/ 3553697 h 8099368"/>
              <a:gd name="connsiteX969" fmla="*/ 0 w 12192000"/>
              <a:gd name="connsiteY969" fmla="*/ 3527744 h 8099368"/>
              <a:gd name="connsiteX970" fmla="*/ 0 w 12192000"/>
              <a:gd name="connsiteY970" fmla="*/ 3506058 h 8099368"/>
              <a:gd name="connsiteX971" fmla="*/ 0 w 12192000"/>
              <a:gd name="connsiteY971" fmla="*/ 3477202 h 8099368"/>
              <a:gd name="connsiteX972" fmla="*/ 0 w 12192000"/>
              <a:gd name="connsiteY972" fmla="*/ 3440149 h 8099368"/>
              <a:gd name="connsiteX973" fmla="*/ 0 w 12192000"/>
              <a:gd name="connsiteY973" fmla="*/ 3393876 h 8099368"/>
              <a:gd name="connsiteX974" fmla="*/ 0 w 12192000"/>
              <a:gd name="connsiteY974" fmla="*/ 3337358 h 8099368"/>
              <a:gd name="connsiteX975" fmla="*/ 0 w 12192000"/>
              <a:gd name="connsiteY975" fmla="*/ 3269571 h 8099368"/>
              <a:gd name="connsiteX976" fmla="*/ 0 w 12192000"/>
              <a:gd name="connsiteY976" fmla="*/ 3189490 h 8099368"/>
              <a:gd name="connsiteX977" fmla="*/ 0 w 12192000"/>
              <a:gd name="connsiteY977" fmla="*/ 3096090 h 8099368"/>
              <a:gd name="connsiteX978" fmla="*/ 0 w 12192000"/>
              <a:gd name="connsiteY978" fmla="*/ 2988347 h 8099368"/>
              <a:gd name="connsiteX979" fmla="*/ 0 w 12192000"/>
              <a:gd name="connsiteY979" fmla="*/ 2865237 h 8099368"/>
              <a:gd name="connsiteX980" fmla="*/ 0 w 12192000"/>
              <a:gd name="connsiteY980" fmla="*/ 2862417 h 8099368"/>
              <a:gd name="connsiteX981" fmla="*/ 0 w 12192000"/>
              <a:gd name="connsiteY981" fmla="*/ 2855719 h 8099368"/>
              <a:gd name="connsiteX982" fmla="*/ 0 w 12192000"/>
              <a:gd name="connsiteY982" fmla="*/ 2842676 h 8099368"/>
              <a:gd name="connsiteX983" fmla="*/ 0 w 12192000"/>
              <a:gd name="connsiteY983" fmla="*/ 2841883 h 8099368"/>
              <a:gd name="connsiteX984" fmla="*/ 0 w 12192000"/>
              <a:gd name="connsiteY984" fmla="*/ 2836331 h 8099368"/>
              <a:gd name="connsiteX985" fmla="*/ 0 w 12192000"/>
              <a:gd name="connsiteY985" fmla="*/ 2821261 h 8099368"/>
              <a:gd name="connsiteX986" fmla="*/ 0 w 12192000"/>
              <a:gd name="connsiteY986" fmla="*/ 2791914 h 8099368"/>
              <a:gd name="connsiteX987" fmla="*/ 0 w 12192000"/>
              <a:gd name="connsiteY987" fmla="*/ 2743531 h 8099368"/>
              <a:gd name="connsiteX988" fmla="*/ 0 w 12192000"/>
              <a:gd name="connsiteY988" fmla="*/ 2671354 h 8099368"/>
              <a:gd name="connsiteX989" fmla="*/ 0 w 12192000"/>
              <a:gd name="connsiteY989" fmla="*/ 2624855 h 8099368"/>
              <a:gd name="connsiteX990" fmla="*/ 0 w 12192000"/>
              <a:gd name="connsiteY990" fmla="*/ 2570623 h 8099368"/>
              <a:gd name="connsiteX991" fmla="*/ 0 w 12192000"/>
              <a:gd name="connsiteY991" fmla="*/ 2508063 h 8099368"/>
              <a:gd name="connsiteX992" fmla="*/ 0 w 12192000"/>
              <a:gd name="connsiteY992" fmla="*/ 2459141 h 8099368"/>
              <a:gd name="connsiteX993" fmla="*/ 44989 w 12192000"/>
              <a:gd name="connsiteY993" fmla="*/ 2459141 h 8099368"/>
              <a:gd name="connsiteX994" fmla="*/ 22495 w 12192000"/>
              <a:gd name="connsiteY994" fmla="*/ 2414019 h 8099368"/>
              <a:gd name="connsiteX995" fmla="*/ 0 w 12192000"/>
              <a:gd name="connsiteY995" fmla="*/ 2414019 h 8099368"/>
              <a:gd name="connsiteX996" fmla="*/ 0 w 12192000"/>
              <a:gd name="connsiteY996" fmla="*/ 2413181 h 8099368"/>
              <a:gd name="connsiteX997" fmla="*/ 0 w 12192000"/>
              <a:gd name="connsiteY997" fmla="*/ 2407321 h 8099368"/>
              <a:gd name="connsiteX998" fmla="*/ 0 w 12192000"/>
              <a:gd name="connsiteY998" fmla="*/ 2391414 h 8099368"/>
              <a:gd name="connsiteX999" fmla="*/ 0 w 12192000"/>
              <a:gd name="connsiteY999" fmla="*/ 2360436 h 8099368"/>
              <a:gd name="connsiteX1000" fmla="*/ 0 w 12192000"/>
              <a:gd name="connsiteY1000" fmla="*/ 2309366 h 8099368"/>
              <a:gd name="connsiteX1001" fmla="*/ 0 w 12192000"/>
              <a:gd name="connsiteY1001" fmla="*/ 2274726 h 8099368"/>
              <a:gd name="connsiteX1002" fmla="*/ 0 w 12192000"/>
              <a:gd name="connsiteY1002" fmla="*/ 2233179 h 8099368"/>
              <a:gd name="connsiteX1003" fmla="*/ 0 w 12192000"/>
              <a:gd name="connsiteY1003" fmla="*/ 2184097 h 8099368"/>
              <a:gd name="connsiteX1004" fmla="*/ 0 w 12192000"/>
              <a:gd name="connsiteY1004" fmla="*/ 2126852 h 8099368"/>
              <a:gd name="connsiteX1005" fmla="*/ 0 w 12192000"/>
              <a:gd name="connsiteY1005" fmla="*/ 2060816 h 8099368"/>
              <a:gd name="connsiteX1006" fmla="*/ 0 w 12192000"/>
              <a:gd name="connsiteY1006" fmla="*/ 1985361 h 8099368"/>
              <a:gd name="connsiteX1007" fmla="*/ 134967 w 12192000"/>
              <a:gd name="connsiteY1007" fmla="*/ 1985361 h 8099368"/>
              <a:gd name="connsiteX1008" fmla="*/ 89978 w 12192000"/>
              <a:gd name="connsiteY1008" fmla="*/ 1962800 h 8099368"/>
              <a:gd name="connsiteX1009" fmla="*/ 22495 w 12192000"/>
              <a:gd name="connsiteY1009" fmla="*/ 1917678 h 8099368"/>
              <a:gd name="connsiteX1010" fmla="*/ 0 w 12192000"/>
              <a:gd name="connsiteY1010" fmla="*/ 1895117 h 8099368"/>
              <a:gd name="connsiteX1011" fmla="*/ 0 w 12192000"/>
              <a:gd name="connsiteY1011" fmla="*/ 1892782 h 8099368"/>
              <a:gd name="connsiteX1012" fmla="*/ 0 w 12192000"/>
              <a:gd name="connsiteY1012" fmla="*/ 1876434 h 8099368"/>
              <a:gd name="connsiteX1013" fmla="*/ 0 w 12192000"/>
              <a:gd name="connsiteY1013" fmla="*/ 1858627 h 8099368"/>
              <a:gd name="connsiteX1014" fmla="*/ 0 w 12192000"/>
              <a:gd name="connsiteY1014" fmla="*/ 1832061 h 8099368"/>
              <a:gd name="connsiteX1015" fmla="*/ 0 w 12192000"/>
              <a:gd name="connsiteY1015" fmla="*/ 1794987 h 8099368"/>
              <a:gd name="connsiteX1016" fmla="*/ 0 w 12192000"/>
              <a:gd name="connsiteY1016" fmla="*/ 1745651 h 8099368"/>
              <a:gd name="connsiteX1017" fmla="*/ 0 w 12192000"/>
              <a:gd name="connsiteY1017" fmla="*/ 1682303 h 8099368"/>
              <a:gd name="connsiteX1018" fmla="*/ 0 w 12192000"/>
              <a:gd name="connsiteY1018" fmla="*/ 1603192 h 8099368"/>
              <a:gd name="connsiteX1019" fmla="*/ 0 w 12192000"/>
              <a:gd name="connsiteY1019" fmla="*/ 1506564 h 8099368"/>
              <a:gd name="connsiteX1020" fmla="*/ 0 w 12192000"/>
              <a:gd name="connsiteY1020" fmla="*/ 1390669 h 8099368"/>
              <a:gd name="connsiteX1021" fmla="*/ 0 w 12192000"/>
              <a:gd name="connsiteY1021" fmla="*/ 1253756 h 8099368"/>
              <a:gd name="connsiteX1022" fmla="*/ 0 w 12192000"/>
              <a:gd name="connsiteY1022" fmla="*/ 1094073 h 8099368"/>
              <a:gd name="connsiteX1023" fmla="*/ 0 w 12192000"/>
              <a:gd name="connsiteY1023" fmla="*/ 909867 h 8099368"/>
              <a:gd name="connsiteX1024" fmla="*/ 0 w 12192000"/>
              <a:gd name="connsiteY1024" fmla="*/ 699389 h 8099368"/>
              <a:gd name="connsiteX1025" fmla="*/ 382406 w 12192000"/>
              <a:gd name="connsiteY1025" fmla="*/ 902437 h 8099368"/>
              <a:gd name="connsiteX1026" fmla="*/ 944768 w 12192000"/>
              <a:gd name="connsiteY1026" fmla="*/ 1218290 h 8099368"/>
              <a:gd name="connsiteX1027" fmla="*/ 989757 w 12192000"/>
              <a:gd name="connsiteY1027" fmla="*/ 1240851 h 8099368"/>
              <a:gd name="connsiteX1028" fmla="*/ 494878 w 12192000"/>
              <a:gd name="connsiteY1028" fmla="*/ 857315 h 8099368"/>
              <a:gd name="connsiteX1029" fmla="*/ 472384 w 12192000"/>
              <a:gd name="connsiteY1029" fmla="*/ 834754 h 8099368"/>
              <a:gd name="connsiteX1030" fmla="*/ 472384 w 12192000"/>
              <a:gd name="connsiteY1030" fmla="*/ 789632 h 8099368"/>
              <a:gd name="connsiteX1031" fmla="*/ 539867 w 12192000"/>
              <a:gd name="connsiteY1031" fmla="*/ 857315 h 8099368"/>
              <a:gd name="connsiteX1032" fmla="*/ 854790 w 12192000"/>
              <a:gd name="connsiteY1032" fmla="*/ 970120 h 8099368"/>
              <a:gd name="connsiteX1033" fmla="*/ 562362 w 12192000"/>
              <a:gd name="connsiteY1033" fmla="*/ 812193 h 8099368"/>
              <a:gd name="connsiteX1034" fmla="*/ 404901 w 12192000"/>
              <a:gd name="connsiteY1034" fmla="*/ 699389 h 8099368"/>
              <a:gd name="connsiteX1035" fmla="*/ 652340 w 12192000"/>
              <a:gd name="connsiteY1035" fmla="*/ 834754 h 8099368"/>
              <a:gd name="connsiteX1036" fmla="*/ 719823 w 12192000"/>
              <a:gd name="connsiteY1036" fmla="*/ 857315 h 8099368"/>
              <a:gd name="connsiteX1037" fmla="*/ 562362 w 12192000"/>
              <a:gd name="connsiteY1037" fmla="*/ 721950 h 8099368"/>
              <a:gd name="connsiteX1038" fmla="*/ 427395 w 12192000"/>
              <a:gd name="connsiteY1038" fmla="*/ 654267 h 8099368"/>
              <a:gd name="connsiteX1039" fmla="*/ 742318 w 12192000"/>
              <a:gd name="connsiteY1039" fmla="*/ 789632 h 8099368"/>
              <a:gd name="connsiteX1040" fmla="*/ 877284 w 12192000"/>
              <a:gd name="connsiteY1040" fmla="*/ 812193 h 8099368"/>
              <a:gd name="connsiteX1041" fmla="*/ 899779 w 12192000"/>
              <a:gd name="connsiteY1041" fmla="*/ 789632 h 8099368"/>
              <a:gd name="connsiteX1042" fmla="*/ 809801 w 12192000"/>
              <a:gd name="connsiteY1042" fmla="*/ 721950 h 8099368"/>
              <a:gd name="connsiteX1043" fmla="*/ 539867 w 12192000"/>
              <a:gd name="connsiteY1043" fmla="*/ 586584 h 8099368"/>
              <a:gd name="connsiteX1044" fmla="*/ 607351 w 12192000"/>
              <a:gd name="connsiteY1044" fmla="*/ 564023 h 8099368"/>
              <a:gd name="connsiteX1045" fmla="*/ 629845 w 12192000"/>
              <a:gd name="connsiteY1045" fmla="*/ 541462 h 8099368"/>
              <a:gd name="connsiteX1046" fmla="*/ 787307 w 12192000"/>
              <a:gd name="connsiteY1046" fmla="*/ 609145 h 8099368"/>
              <a:gd name="connsiteX1047" fmla="*/ 652340 w 12192000"/>
              <a:gd name="connsiteY1047" fmla="*/ 586584 h 8099368"/>
              <a:gd name="connsiteX1048" fmla="*/ 877284 w 12192000"/>
              <a:gd name="connsiteY1048" fmla="*/ 721950 h 8099368"/>
              <a:gd name="connsiteX1049" fmla="*/ 967262 w 12192000"/>
              <a:gd name="connsiteY1049" fmla="*/ 744510 h 8099368"/>
              <a:gd name="connsiteX1050" fmla="*/ 1034746 w 12192000"/>
              <a:gd name="connsiteY1050" fmla="*/ 676828 h 8099368"/>
              <a:gd name="connsiteX1051" fmla="*/ 787307 w 12192000"/>
              <a:gd name="connsiteY1051" fmla="*/ 518901 h 8099368"/>
              <a:gd name="connsiteX1052" fmla="*/ 584856 w 12192000"/>
              <a:gd name="connsiteY1052" fmla="*/ 451218 h 8099368"/>
              <a:gd name="connsiteX1053" fmla="*/ 562362 w 12192000"/>
              <a:gd name="connsiteY1053" fmla="*/ 406097 h 8099368"/>
              <a:gd name="connsiteX1054" fmla="*/ 652340 w 12192000"/>
              <a:gd name="connsiteY1054" fmla="*/ 451218 h 8099368"/>
              <a:gd name="connsiteX1055" fmla="*/ 584856 w 12192000"/>
              <a:gd name="connsiteY1055" fmla="*/ 383536 h 8099368"/>
              <a:gd name="connsiteX1056" fmla="*/ 517373 w 12192000"/>
              <a:gd name="connsiteY1056" fmla="*/ 360975 h 8099368"/>
              <a:gd name="connsiteX1057" fmla="*/ 427395 w 12192000"/>
              <a:gd name="connsiteY1057" fmla="*/ 293292 h 8099368"/>
              <a:gd name="connsiteX1058" fmla="*/ 584856 w 12192000"/>
              <a:gd name="connsiteY1058" fmla="*/ 360975 h 8099368"/>
              <a:gd name="connsiteX1059" fmla="*/ 629845 w 12192000"/>
              <a:gd name="connsiteY1059" fmla="*/ 406097 h 8099368"/>
              <a:gd name="connsiteX1060" fmla="*/ 1147218 w 12192000"/>
              <a:gd name="connsiteY1060" fmla="*/ 654267 h 8099368"/>
              <a:gd name="connsiteX1061" fmla="*/ 1034746 w 12192000"/>
              <a:gd name="connsiteY1061" fmla="*/ 586584 h 8099368"/>
              <a:gd name="connsiteX1062" fmla="*/ 809801 w 12192000"/>
              <a:gd name="connsiteY1062" fmla="*/ 428658 h 8099368"/>
              <a:gd name="connsiteX1063" fmla="*/ 719823 w 12192000"/>
              <a:gd name="connsiteY1063" fmla="*/ 406097 h 8099368"/>
              <a:gd name="connsiteX1064" fmla="*/ 742318 w 12192000"/>
              <a:gd name="connsiteY1064" fmla="*/ 406097 h 8099368"/>
              <a:gd name="connsiteX1065" fmla="*/ 674834 w 12192000"/>
              <a:gd name="connsiteY1065" fmla="*/ 338414 h 8099368"/>
              <a:gd name="connsiteX1066" fmla="*/ 562362 w 12192000"/>
              <a:gd name="connsiteY1066" fmla="*/ 270731 h 8099368"/>
              <a:gd name="connsiteX1067" fmla="*/ 404901 w 12192000"/>
              <a:gd name="connsiteY1067" fmla="*/ 180488 h 8099368"/>
              <a:gd name="connsiteX1068" fmla="*/ 382406 w 12192000"/>
              <a:gd name="connsiteY1068" fmla="*/ 157927 h 8099368"/>
              <a:gd name="connsiteX1069" fmla="*/ 314923 w 12192000"/>
              <a:gd name="connsiteY1069" fmla="*/ 112805 h 8099368"/>
              <a:gd name="connsiteX1070" fmla="*/ 224945 w 12192000"/>
              <a:gd name="connsiteY1070" fmla="*/ 67683 h 8099368"/>
              <a:gd name="connsiteX1071" fmla="*/ 112472 w 12192000"/>
              <a:gd name="connsiteY1071" fmla="*/ 0 h 8099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Lst>
            <a:rect l="l" t="t" r="r" b="b"/>
            <a:pathLst>
              <a:path w="12192000" h="8099368">
                <a:moveTo>
                  <a:pt x="6471976" y="6950228"/>
                </a:moveTo>
                <a:lnTo>
                  <a:pt x="6486842" y="6951583"/>
                </a:lnTo>
                <a:cubicBezTo>
                  <a:pt x="6495278" y="6954404"/>
                  <a:pt x="6500901" y="6960044"/>
                  <a:pt x="6500901" y="6971324"/>
                </a:cubicBezTo>
                <a:cubicBezTo>
                  <a:pt x="6489654" y="6965684"/>
                  <a:pt x="6481219" y="6958634"/>
                  <a:pt x="6473135" y="6951231"/>
                </a:cubicBezTo>
                <a:close/>
                <a:moveTo>
                  <a:pt x="9762599" y="6948763"/>
                </a:moveTo>
                <a:cubicBezTo>
                  <a:pt x="9830082" y="6971324"/>
                  <a:pt x="9875071" y="6993885"/>
                  <a:pt x="9920060" y="7016446"/>
                </a:cubicBezTo>
                <a:cubicBezTo>
                  <a:pt x="10100016" y="7084129"/>
                  <a:pt x="10189993" y="7151812"/>
                  <a:pt x="10347455" y="7219494"/>
                </a:cubicBezTo>
                <a:cubicBezTo>
                  <a:pt x="10167499" y="7151812"/>
                  <a:pt x="9987543" y="7084129"/>
                  <a:pt x="9897565" y="7016446"/>
                </a:cubicBezTo>
                <a:cubicBezTo>
                  <a:pt x="9852576" y="6993885"/>
                  <a:pt x="9807588" y="6971324"/>
                  <a:pt x="9762599" y="6948763"/>
                </a:cubicBezTo>
                <a:close/>
                <a:moveTo>
                  <a:pt x="7892826" y="6551161"/>
                </a:moveTo>
                <a:lnTo>
                  <a:pt x="7916998" y="6561350"/>
                </a:lnTo>
                <a:cubicBezTo>
                  <a:pt x="7922271" y="6563818"/>
                  <a:pt x="7923676" y="6565228"/>
                  <a:pt x="7918053" y="6565228"/>
                </a:cubicBezTo>
                <a:close/>
                <a:moveTo>
                  <a:pt x="7862076" y="6534013"/>
                </a:moveTo>
                <a:lnTo>
                  <a:pt x="7892826" y="6551161"/>
                </a:lnTo>
                <a:lnTo>
                  <a:pt x="7892746" y="6551127"/>
                </a:lnTo>
                <a:cubicBezTo>
                  <a:pt x="7882905" y="6546897"/>
                  <a:pt x="7872361" y="6541962"/>
                  <a:pt x="7864277" y="6536674"/>
                </a:cubicBezTo>
                <a:close/>
                <a:moveTo>
                  <a:pt x="4206466" y="6429862"/>
                </a:moveTo>
                <a:cubicBezTo>
                  <a:pt x="4296443" y="6474984"/>
                  <a:pt x="4341432" y="6497545"/>
                  <a:pt x="4386421" y="6520106"/>
                </a:cubicBezTo>
                <a:cubicBezTo>
                  <a:pt x="4296443" y="6497545"/>
                  <a:pt x="4251454" y="6474984"/>
                  <a:pt x="4206466" y="6429862"/>
                </a:cubicBezTo>
                <a:close/>
                <a:moveTo>
                  <a:pt x="7379061" y="6060797"/>
                </a:moveTo>
                <a:lnTo>
                  <a:pt x="7386609" y="6063622"/>
                </a:lnTo>
                <a:lnTo>
                  <a:pt x="7389432" y="6066068"/>
                </a:lnTo>
                <a:cubicBezTo>
                  <a:pt x="7395056" y="6068888"/>
                  <a:pt x="7400680" y="6068888"/>
                  <a:pt x="7400680" y="6068888"/>
                </a:cubicBezTo>
                <a:cubicBezTo>
                  <a:pt x="7389433" y="6068888"/>
                  <a:pt x="7383809" y="6068888"/>
                  <a:pt x="7380997" y="6066068"/>
                </a:cubicBezTo>
                <a:close/>
                <a:moveTo>
                  <a:pt x="1507129" y="5662791"/>
                </a:moveTo>
                <a:cubicBezTo>
                  <a:pt x="1552119" y="5662791"/>
                  <a:pt x="1574613" y="5685352"/>
                  <a:pt x="1619602" y="5707913"/>
                </a:cubicBezTo>
                <a:cubicBezTo>
                  <a:pt x="1619602" y="5707913"/>
                  <a:pt x="1619602" y="5707913"/>
                  <a:pt x="1597107" y="5707913"/>
                </a:cubicBezTo>
                <a:cubicBezTo>
                  <a:pt x="1574613" y="5685352"/>
                  <a:pt x="1529624" y="5685352"/>
                  <a:pt x="1507129" y="5662791"/>
                </a:cubicBezTo>
                <a:close/>
                <a:moveTo>
                  <a:pt x="1529627" y="5640232"/>
                </a:moveTo>
                <a:lnTo>
                  <a:pt x="1687085" y="5707913"/>
                </a:lnTo>
                <a:cubicBezTo>
                  <a:pt x="1737698" y="5730474"/>
                  <a:pt x="1788310" y="5753035"/>
                  <a:pt x="1844546" y="5775596"/>
                </a:cubicBezTo>
                <a:cubicBezTo>
                  <a:pt x="1934524" y="5798156"/>
                  <a:pt x="2024502" y="5820717"/>
                  <a:pt x="2114480" y="5888400"/>
                </a:cubicBezTo>
                <a:cubicBezTo>
                  <a:pt x="2181964" y="5910961"/>
                  <a:pt x="2226952" y="5933522"/>
                  <a:pt x="2226952" y="5956083"/>
                </a:cubicBezTo>
                <a:cubicBezTo>
                  <a:pt x="2159469" y="5933522"/>
                  <a:pt x="2136975" y="5910961"/>
                  <a:pt x="2091986" y="5888400"/>
                </a:cubicBezTo>
                <a:cubicBezTo>
                  <a:pt x="2046997" y="5888400"/>
                  <a:pt x="2024502" y="5865839"/>
                  <a:pt x="2002008" y="5865839"/>
                </a:cubicBezTo>
                <a:cubicBezTo>
                  <a:pt x="1979513" y="5843278"/>
                  <a:pt x="1934524" y="5843278"/>
                  <a:pt x="1912030" y="5820717"/>
                </a:cubicBezTo>
                <a:cubicBezTo>
                  <a:pt x="1912030" y="5820717"/>
                  <a:pt x="1889536" y="5820717"/>
                  <a:pt x="1889536" y="5820717"/>
                </a:cubicBezTo>
                <a:cubicBezTo>
                  <a:pt x="1777063" y="5753035"/>
                  <a:pt x="1664591" y="5707913"/>
                  <a:pt x="1574613" y="5662791"/>
                </a:cubicBezTo>
                <a:close/>
                <a:moveTo>
                  <a:pt x="1529620" y="5640228"/>
                </a:moveTo>
                <a:lnTo>
                  <a:pt x="1529627" y="5640232"/>
                </a:lnTo>
                <a:lnTo>
                  <a:pt x="1529624" y="5640230"/>
                </a:lnTo>
                <a:close/>
                <a:moveTo>
                  <a:pt x="10572399" y="2481701"/>
                </a:moveTo>
                <a:cubicBezTo>
                  <a:pt x="10572399" y="2481701"/>
                  <a:pt x="10594894" y="2481701"/>
                  <a:pt x="10594894" y="2481701"/>
                </a:cubicBezTo>
                <a:cubicBezTo>
                  <a:pt x="10617388" y="2481701"/>
                  <a:pt x="10662377" y="2504262"/>
                  <a:pt x="10684872" y="2526823"/>
                </a:cubicBezTo>
                <a:cubicBezTo>
                  <a:pt x="10639883" y="2504262"/>
                  <a:pt x="10617388" y="2504262"/>
                  <a:pt x="10572399" y="2481701"/>
                </a:cubicBezTo>
                <a:close/>
                <a:moveTo>
                  <a:pt x="4791322" y="2098166"/>
                </a:moveTo>
                <a:cubicBezTo>
                  <a:pt x="4802569" y="2098166"/>
                  <a:pt x="4808193" y="2098166"/>
                  <a:pt x="4811005" y="2100986"/>
                </a:cubicBezTo>
                <a:lnTo>
                  <a:pt x="4812941" y="2106256"/>
                </a:lnTo>
                <a:lnTo>
                  <a:pt x="4805393" y="2103432"/>
                </a:lnTo>
                <a:lnTo>
                  <a:pt x="4802569" y="2100986"/>
                </a:lnTo>
                <a:cubicBezTo>
                  <a:pt x="4796946" y="2098166"/>
                  <a:pt x="4791322" y="2098166"/>
                  <a:pt x="4791322" y="2098166"/>
                </a:cubicBezTo>
                <a:close/>
                <a:moveTo>
                  <a:pt x="7805580" y="1624386"/>
                </a:moveTo>
                <a:cubicBezTo>
                  <a:pt x="7895558" y="1646947"/>
                  <a:pt x="7940547" y="1669508"/>
                  <a:pt x="7985536" y="1714630"/>
                </a:cubicBezTo>
                <a:cubicBezTo>
                  <a:pt x="7895558" y="1669508"/>
                  <a:pt x="7850569" y="1646947"/>
                  <a:pt x="7805580" y="1624386"/>
                </a:cubicBezTo>
                <a:close/>
                <a:moveTo>
                  <a:pt x="4299175" y="1593331"/>
                </a:moveTo>
                <a:lnTo>
                  <a:pt x="4299255" y="1593365"/>
                </a:lnTo>
                <a:cubicBezTo>
                  <a:pt x="4309097" y="1597595"/>
                  <a:pt x="4319641" y="1602530"/>
                  <a:pt x="4327725" y="1607818"/>
                </a:cubicBezTo>
                <a:lnTo>
                  <a:pt x="4329926" y="1610479"/>
                </a:lnTo>
                <a:close/>
                <a:moveTo>
                  <a:pt x="4273949" y="1579265"/>
                </a:moveTo>
                <a:lnTo>
                  <a:pt x="4299175" y="1593331"/>
                </a:lnTo>
                <a:lnTo>
                  <a:pt x="4275003" y="1583142"/>
                </a:lnTo>
                <a:cubicBezTo>
                  <a:pt x="4269731" y="1580675"/>
                  <a:pt x="4268325" y="1579265"/>
                  <a:pt x="4273949" y="1579265"/>
                </a:cubicBezTo>
                <a:close/>
                <a:moveTo>
                  <a:pt x="1844546" y="879876"/>
                </a:moveTo>
                <a:cubicBezTo>
                  <a:pt x="2024502" y="970120"/>
                  <a:pt x="2204458" y="1037802"/>
                  <a:pt x="2294436" y="1105485"/>
                </a:cubicBezTo>
                <a:cubicBezTo>
                  <a:pt x="2339425" y="1128046"/>
                  <a:pt x="2384414" y="1150607"/>
                  <a:pt x="2429403" y="1173168"/>
                </a:cubicBezTo>
                <a:cubicBezTo>
                  <a:pt x="2361919" y="1150607"/>
                  <a:pt x="2316930" y="1128046"/>
                  <a:pt x="2271942" y="1105485"/>
                </a:cubicBezTo>
                <a:cubicBezTo>
                  <a:pt x="2091986" y="1037802"/>
                  <a:pt x="2002008" y="970120"/>
                  <a:pt x="1844546" y="879876"/>
                </a:cubicBezTo>
                <a:close/>
                <a:moveTo>
                  <a:pt x="112472" y="0"/>
                </a:moveTo>
                <a:cubicBezTo>
                  <a:pt x="202450" y="22561"/>
                  <a:pt x="202450" y="45122"/>
                  <a:pt x="247439" y="67683"/>
                </a:cubicBezTo>
                <a:cubicBezTo>
                  <a:pt x="247439" y="67683"/>
                  <a:pt x="247439" y="67683"/>
                  <a:pt x="269934" y="67683"/>
                </a:cubicBezTo>
                <a:cubicBezTo>
                  <a:pt x="269934" y="67683"/>
                  <a:pt x="292428" y="67683"/>
                  <a:pt x="292428" y="67683"/>
                </a:cubicBezTo>
                <a:cubicBezTo>
                  <a:pt x="292428" y="67683"/>
                  <a:pt x="292428" y="67683"/>
                  <a:pt x="292428" y="45122"/>
                </a:cubicBezTo>
                <a:cubicBezTo>
                  <a:pt x="247439" y="45122"/>
                  <a:pt x="202450" y="22561"/>
                  <a:pt x="202450" y="0"/>
                </a:cubicBezTo>
                <a:cubicBezTo>
                  <a:pt x="269934" y="22561"/>
                  <a:pt x="292428" y="45122"/>
                  <a:pt x="314923" y="45122"/>
                </a:cubicBezTo>
                <a:cubicBezTo>
                  <a:pt x="382406" y="90244"/>
                  <a:pt x="427395" y="112805"/>
                  <a:pt x="494878" y="157927"/>
                </a:cubicBezTo>
                <a:cubicBezTo>
                  <a:pt x="494878" y="157927"/>
                  <a:pt x="517373" y="157927"/>
                  <a:pt x="517373" y="180488"/>
                </a:cubicBezTo>
                <a:cubicBezTo>
                  <a:pt x="539867" y="180488"/>
                  <a:pt x="562362" y="203048"/>
                  <a:pt x="607351" y="225609"/>
                </a:cubicBezTo>
                <a:cubicBezTo>
                  <a:pt x="674834" y="225609"/>
                  <a:pt x="742318" y="248170"/>
                  <a:pt x="809801" y="248170"/>
                </a:cubicBezTo>
                <a:cubicBezTo>
                  <a:pt x="832295" y="270731"/>
                  <a:pt x="787307" y="270731"/>
                  <a:pt x="787307" y="293292"/>
                </a:cubicBezTo>
                <a:cubicBezTo>
                  <a:pt x="764812" y="338414"/>
                  <a:pt x="832295" y="406097"/>
                  <a:pt x="989757" y="451218"/>
                </a:cubicBezTo>
                <a:cubicBezTo>
                  <a:pt x="1147218" y="518901"/>
                  <a:pt x="1147218" y="541462"/>
                  <a:pt x="1169713" y="564023"/>
                </a:cubicBezTo>
                <a:cubicBezTo>
                  <a:pt x="1237196" y="609145"/>
                  <a:pt x="1282185" y="631706"/>
                  <a:pt x="1327174" y="654267"/>
                </a:cubicBezTo>
                <a:cubicBezTo>
                  <a:pt x="1327174" y="676828"/>
                  <a:pt x="1349668" y="676828"/>
                  <a:pt x="1349668" y="676828"/>
                </a:cubicBezTo>
                <a:cubicBezTo>
                  <a:pt x="1349668" y="676828"/>
                  <a:pt x="1349668" y="676828"/>
                  <a:pt x="1349668" y="699389"/>
                </a:cubicBezTo>
                <a:cubicBezTo>
                  <a:pt x="1417152" y="721950"/>
                  <a:pt x="1484635" y="744510"/>
                  <a:pt x="1507129" y="789632"/>
                </a:cubicBezTo>
                <a:cubicBezTo>
                  <a:pt x="1552119" y="789632"/>
                  <a:pt x="1574613" y="812193"/>
                  <a:pt x="1597107" y="812193"/>
                </a:cubicBezTo>
                <a:cubicBezTo>
                  <a:pt x="1844546" y="947559"/>
                  <a:pt x="2091986" y="1105485"/>
                  <a:pt x="2339425" y="1240851"/>
                </a:cubicBezTo>
                <a:cubicBezTo>
                  <a:pt x="2384414" y="1263412"/>
                  <a:pt x="2429403" y="1285973"/>
                  <a:pt x="2519381" y="1285973"/>
                </a:cubicBezTo>
                <a:cubicBezTo>
                  <a:pt x="2541875" y="1285973"/>
                  <a:pt x="2496886" y="1263412"/>
                  <a:pt x="2541875" y="1263412"/>
                </a:cubicBezTo>
                <a:cubicBezTo>
                  <a:pt x="2496886" y="1240851"/>
                  <a:pt x="2451897" y="1218290"/>
                  <a:pt x="2429403" y="1173168"/>
                </a:cubicBezTo>
                <a:cubicBezTo>
                  <a:pt x="2474392" y="1195729"/>
                  <a:pt x="2519381" y="1218290"/>
                  <a:pt x="2541875" y="1240851"/>
                </a:cubicBezTo>
                <a:cubicBezTo>
                  <a:pt x="2564370" y="1240851"/>
                  <a:pt x="2586864" y="1240851"/>
                  <a:pt x="2586864" y="1240851"/>
                </a:cubicBezTo>
                <a:cubicBezTo>
                  <a:pt x="2609359" y="1218290"/>
                  <a:pt x="2631853" y="1218290"/>
                  <a:pt x="2609359" y="1218290"/>
                </a:cubicBezTo>
                <a:cubicBezTo>
                  <a:pt x="2631853" y="1218290"/>
                  <a:pt x="2429403" y="1150607"/>
                  <a:pt x="2631853" y="1195729"/>
                </a:cubicBezTo>
                <a:cubicBezTo>
                  <a:pt x="2631853" y="1195729"/>
                  <a:pt x="2744325" y="1218290"/>
                  <a:pt x="2744325" y="1173168"/>
                </a:cubicBezTo>
                <a:cubicBezTo>
                  <a:pt x="2676842" y="1150607"/>
                  <a:pt x="2699336" y="1128046"/>
                  <a:pt x="2609359" y="1105485"/>
                </a:cubicBezTo>
                <a:cubicBezTo>
                  <a:pt x="2496886" y="1060363"/>
                  <a:pt x="2564370" y="1105485"/>
                  <a:pt x="2519381" y="1105485"/>
                </a:cubicBezTo>
                <a:cubicBezTo>
                  <a:pt x="2429403" y="1082924"/>
                  <a:pt x="2429403" y="1037802"/>
                  <a:pt x="2384414" y="1015242"/>
                </a:cubicBezTo>
                <a:cubicBezTo>
                  <a:pt x="2541875" y="1060363"/>
                  <a:pt x="2586864" y="1060363"/>
                  <a:pt x="2609359" y="1037802"/>
                </a:cubicBezTo>
                <a:cubicBezTo>
                  <a:pt x="2564370" y="1015242"/>
                  <a:pt x="2451897" y="970120"/>
                  <a:pt x="2474392" y="947559"/>
                </a:cubicBezTo>
                <a:cubicBezTo>
                  <a:pt x="2541875" y="992681"/>
                  <a:pt x="2654347" y="1015242"/>
                  <a:pt x="2654347" y="1037802"/>
                </a:cubicBezTo>
                <a:cubicBezTo>
                  <a:pt x="2789314" y="1128046"/>
                  <a:pt x="2991764" y="1195729"/>
                  <a:pt x="3104237" y="1285973"/>
                </a:cubicBezTo>
                <a:cubicBezTo>
                  <a:pt x="3171720" y="1308534"/>
                  <a:pt x="3239203" y="1331095"/>
                  <a:pt x="3284193" y="1353655"/>
                </a:cubicBezTo>
                <a:cubicBezTo>
                  <a:pt x="3486643" y="1466460"/>
                  <a:pt x="3711587" y="1579265"/>
                  <a:pt x="3936532" y="1669508"/>
                </a:cubicBezTo>
                <a:cubicBezTo>
                  <a:pt x="4071499" y="1737191"/>
                  <a:pt x="4228960" y="1804874"/>
                  <a:pt x="4363927" y="1872556"/>
                </a:cubicBezTo>
                <a:cubicBezTo>
                  <a:pt x="4498894" y="1940239"/>
                  <a:pt x="4656355" y="2007922"/>
                  <a:pt x="4791322" y="2098166"/>
                </a:cubicBezTo>
                <a:lnTo>
                  <a:pt x="4805393" y="2103432"/>
                </a:lnTo>
                <a:lnTo>
                  <a:pt x="4810302" y="2107684"/>
                </a:lnTo>
                <a:cubicBezTo>
                  <a:pt x="4812410" y="2110856"/>
                  <a:pt x="4813816" y="2115087"/>
                  <a:pt x="4813816" y="2120727"/>
                </a:cubicBezTo>
                <a:cubicBezTo>
                  <a:pt x="4813816" y="2115087"/>
                  <a:pt x="4813816" y="2110856"/>
                  <a:pt x="4813465" y="2107684"/>
                </a:cubicBezTo>
                <a:lnTo>
                  <a:pt x="4812941" y="2106256"/>
                </a:lnTo>
                <a:lnTo>
                  <a:pt x="4979713" y="2168669"/>
                </a:lnTo>
                <a:cubicBezTo>
                  <a:pt x="5038761" y="2194050"/>
                  <a:pt x="5094997" y="2222251"/>
                  <a:pt x="5151233" y="2256092"/>
                </a:cubicBezTo>
                <a:cubicBezTo>
                  <a:pt x="5173728" y="2256092"/>
                  <a:pt x="5196222" y="2256092"/>
                  <a:pt x="5218717" y="2256092"/>
                </a:cubicBezTo>
                <a:cubicBezTo>
                  <a:pt x="5196222" y="2256092"/>
                  <a:pt x="5151233" y="2233531"/>
                  <a:pt x="5128739" y="2210970"/>
                </a:cubicBezTo>
                <a:cubicBezTo>
                  <a:pt x="4993772" y="2143288"/>
                  <a:pt x="4836311" y="2075605"/>
                  <a:pt x="4701344" y="2007922"/>
                </a:cubicBezTo>
                <a:cubicBezTo>
                  <a:pt x="4656355" y="1962800"/>
                  <a:pt x="4588872" y="1940239"/>
                  <a:pt x="4543883" y="1917678"/>
                </a:cubicBezTo>
                <a:cubicBezTo>
                  <a:pt x="4408916" y="1849996"/>
                  <a:pt x="4363927" y="1804874"/>
                  <a:pt x="4228960" y="1759752"/>
                </a:cubicBezTo>
                <a:cubicBezTo>
                  <a:pt x="4161476" y="1714630"/>
                  <a:pt x="4116488" y="1669508"/>
                  <a:pt x="3981521" y="1624386"/>
                </a:cubicBezTo>
                <a:cubicBezTo>
                  <a:pt x="3959027" y="1601825"/>
                  <a:pt x="3936532" y="1579265"/>
                  <a:pt x="3891543" y="1579265"/>
                </a:cubicBezTo>
                <a:cubicBezTo>
                  <a:pt x="3801565" y="1511582"/>
                  <a:pt x="3644104" y="1443899"/>
                  <a:pt x="3576621" y="1398777"/>
                </a:cubicBezTo>
                <a:cubicBezTo>
                  <a:pt x="3531632" y="1353655"/>
                  <a:pt x="3621609" y="1353655"/>
                  <a:pt x="3554126" y="1308534"/>
                </a:cubicBezTo>
                <a:cubicBezTo>
                  <a:pt x="3554126" y="1308534"/>
                  <a:pt x="3554126" y="1308534"/>
                  <a:pt x="3531632" y="1308534"/>
                </a:cubicBezTo>
                <a:cubicBezTo>
                  <a:pt x="3464148" y="1285973"/>
                  <a:pt x="3396665" y="1308534"/>
                  <a:pt x="3306687" y="1263412"/>
                </a:cubicBezTo>
                <a:cubicBezTo>
                  <a:pt x="3284193" y="1240851"/>
                  <a:pt x="3239203" y="1218290"/>
                  <a:pt x="3216709" y="1195729"/>
                </a:cubicBezTo>
                <a:cubicBezTo>
                  <a:pt x="3126731" y="1173168"/>
                  <a:pt x="3059248" y="1105485"/>
                  <a:pt x="2969270" y="1150607"/>
                </a:cubicBezTo>
                <a:cubicBezTo>
                  <a:pt x="2969270" y="1173168"/>
                  <a:pt x="2879292" y="1150607"/>
                  <a:pt x="2834303" y="1128046"/>
                </a:cubicBezTo>
                <a:cubicBezTo>
                  <a:pt x="2744325" y="1082924"/>
                  <a:pt x="2901787" y="1128046"/>
                  <a:pt x="2879292" y="1105485"/>
                </a:cubicBezTo>
                <a:cubicBezTo>
                  <a:pt x="2834303" y="1082924"/>
                  <a:pt x="2856798" y="1082924"/>
                  <a:pt x="2856798" y="1060363"/>
                </a:cubicBezTo>
                <a:cubicBezTo>
                  <a:pt x="2879292" y="1060363"/>
                  <a:pt x="2901787" y="1082924"/>
                  <a:pt x="2901787" y="1082924"/>
                </a:cubicBezTo>
                <a:cubicBezTo>
                  <a:pt x="2924281" y="1082924"/>
                  <a:pt x="2901787" y="1105485"/>
                  <a:pt x="2901787" y="1105485"/>
                </a:cubicBezTo>
                <a:cubicBezTo>
                  <a:pt x="3036753" y="1105485"/>
                  <a:pt x="3149225" y="1128046"/>
                  <a:pt x="3261698" y="1195729"/>
                </a:cubicBezTo>
                <a:cubicBezTo>
                  <a:pt x="3284193" y="1195729"/>
                  <a:pt x="3351676" y="1218290"/>
                  <a:pt x="3396665" y="1240851"/>
                </a:cubicBezTo>
                <a:cubicBezTo>
                  <a:pt x="3216709" y="1128046"/>
                  <a:pt x="3014259" y="1037802"/>
                  <a:pt x="2834303" y="924998"/>
                </a:cubicBezTo>
                <a:cubicBezTo>
                  <a:pt x="2811809" y="924998"/>
                  <a:pt x="2811809" y="902437"/>
                  <a:pt x="2766820" y="902437"/>
                </a:cubicBezTo>
                <a:cubicBezTo>
                  <a:pt x="2721831" y="902437"/>
                  <a:pt x="2721831" y="902437"/>
                  <a:pt x="2766820" y="947559"/>
                </a:cubicBezTo>
                <a:cubicBezTo>
                  <a:pt x="2811809" y="947559"/>
                  <a:pt x="2834303" y="970120"/>
                  <a:pt x="2856798" y="992681"/>
                </a:cubicBezTo>
                <a:cubicBezTo>
                  <a:pt x="2879292" y="1015242"/>
                  <a:pt x="2901787" y="1037802"/>
                  <a:pt x="2879292" y="1037802"/>
                </a:cubicBezTo>
                <a:cubicBezTo>
                  <a:pt x="2834303" y="1015242"/>
                  <a:pt x="2811809" y="992681"/>
                  <a:pt x="2811809" y="992681"/>
                </a:cubicBezTo>
                <a:cubicBezTo>
                  <a:pt x="2789314" y="970120"/>
                  <a:pt x="2744325" y="947559"/>
                  <a:pt x="2721831" y="947559"/>
                </a:cubicBezTo>
                <a:cubicBezTo>
                  <a:pt x="2676842" y="924998"/>
                  <a:pt x="2631853" y="902437"/>
                  <a:pt x="2586864" y="879876"/>
                </a:cubicBezTo>
                <a:cubicBezTo>
                  <a:pt x="2496886" y="857315"/>
                  <a:pt x="2451897" y="834754"/>
                  <a:pt x="2474392" y="812193"/>
                </a:cubicBezTo>
                <a:cubicBezTo>
                  <a:pt x="2541875" y="789632"/>
                  <a:pt x="2429403" y="744510"/>
                  <a:pt x="2316930" y="699389"/>
                </a:cubicBezTo>
                <a:cubicBezTo>
                  <a:pt x="2271942" y="699389"/>
                  <a:pt x="2204458" y="676828"/>
                  <a:pt x="2204458" y="654267"/>
                </a:cubicBezTo>
                <a:cubicBezTo>
                  <a:pt x="2159469" y="631706"/>
                  <a:pt x="2091986" y="609145"/>
                  <a:pt x="2069491" y="564023"/>
                </a:cubicBezTo>
                <a:cubicBezTo>
                  <a:pt x="2024502" y="541462"/>
                  <a:pt x="1912030" y="473779"/>
                  <a:pt x="1957019" y="451218"/>
                </a:cubicBezTo>
                <a:cubicBezTo>
                  <a:pt x="1867041" y="406097"/>
                  <a:pt x="1777063" y="360975"/>
                  <a:pt x="1709580" y="315853"/>
                </a:cubicBezTo>
                <a:cubicBezTo>
                  <a:pt x="1642096" y="293292"/>
                  <a:pt x="1574613" y="270731"/>
                  <a:pt x="1552119" y="248170"/>
                </a:cubicBezTo>
                <a:cubicBezTo>
                  <a:pt x="1664591" y="270731"/>
                  <a:pt x="1687085" y="293292"/>
                  <a:pt x="1732074" y="315853"/>
                </a:cubicBezTo>
                <a:cubicBezTo>
                  <a:pt x="1867041" y="383536"/>
                  <a:pt x="2024502" y="473779"/>
                  <a:pt x="2114480" y="541462"/>
                </a:cubicBezTo>
                <a:cubicBezTo>
                  <a:pt x="2136975" y="541462"/>
                  <a:pt x="2159469" y="541462"/>
                  <a:pt x="2181964" y="564023"/>
                </a:cubicBezTo>
                <a:cubicBezTo>
                  <a:pt x="2204458" y="564023"/>
                  <a:pt x="2249447" y="586584"/>
                  <a:pt x="2271942" y="609145"/>
                </a:cubicBezTo>
                <a:cubicBezTo>
                  <a:pt x="2204458" y="586584"/>
                  <a:pt x="2181964" y="564023"/>
                  <a:pt x="2159469" y="564023"/>
                </a:cubicBezTo>
                <a:cubicBezTo>
                  <a:pt x="2114480" y="541462"/>
                  <a:pt x="2069491" y="541462"/>
                  <a:pt x="2114480" y="564023"/>
                </a:cubicBezTo>
                <a:cubicBezTo>
                  <a:pt x="2159469" y="586584"/>
                  <a:pt x="2204458" y="609145"/>
                  <a:pt x="2226952" y="631706"/>
                </a:cubicBezTo>
                <a:cubicBezTo>
                  <a:pt x="2249447" y="631706"/>
                  <a:pt x="2249447" y="631706"/>
                  <a:pt x="2249447" y="631706"/>
                </a:cubicBezTo>
                <a:cubicBezTo>
                  <a:pt x="2384414" y="676828"/>
                  <a:pt x="2541875" y="721950"/>
                  <a:pt x="2609359" y="767071"/>
                </a:cubicBezTo>
                <a:cubicBezTo>
                  <a:pt x="2699336" y="812193"/>
                  <a:pt x="2721831" y="834754"/>
                  <a:pt x="2721831" y="857315"/>
                </a:cubicBezTo>
                <a:cubicBezTo>
                  <a:pt x="2789314" y="879876"/>
                  <a:pt x="2834303" y="902437"/>
                  <a:pt x="2901787" y="924998"/>
                </a:cubicBezTo>
                <a:cubicBezTo>
                  <a:pt x="2969270" y="992681"/>
                  <a:pt x="3149225" y="1060363"/>
                  <a:pt x="3261698" y="1128046"/>
                </a:cubicBezTo>
                <a:cubicBezTo>
                  <a:pt x="3261698" y="1128046"/>
                  <a:pt x="3284193" y="1128046"/>
                  <a:pt x="3284193" y="1128046"/>
                </a:cubicBezTo>
                <a:cubicBezTo>
                  <a:pt x="3261698" y="1105485"/>
                  <a:pt x="3239203" y="1105485"/>
                  <a:pt x="3194215" y="1082924"/>
                </a:cubicBezTo>
                <a:cubicBezTo>
                  <a:pt x="3194215" y="1082924"/>
                  <a:pt x="3216709" y="1082924"/>
                  <a:pt x="3216709" y="1082924"/>
                </a:cubicBezTo>
                <a:cubicBezTo>
                  <a:pt x="3261698" y="1105485"/>
                  <a:pt x="3284193" y="1105485"/>
                  <a:pt x="3329181" y="1128046"/>
                </a:cubicBezTo>
                <a:cubicBezTo>
                  <a:pt x="3396665" y="1173168"/>
                  <a:pt x="3441654" y="1195729"/>
                  <a:pt x="3509137" y="1240851"/>
                </a:cubicBezTo>
                <a:cubicBezTo>
                  <a:pt x="3576621" y="1240851"/>
                  <a:pt x="3599115" y="1263412"/>
                  <a:pt x="3621609" y="1285973"/>
                </a:cubicBezTo>
                <a:cubicBezTo>
                  <a:pt x="3554126" y="1263412"/>
                  <a:pt x="3509137" y="1240851"/>
                  <a:pt x="3486643" y="1240851"/>
                </a:cubicBezTo>
                <a:cubicBezTo>
                  <a:pt x="3441654" y="1218290"/>
                  <a:pt x="3419159" y="1195729"/>
                  <a:pt x="3351676" y="1173168"/>
                </a:cubicBezTo>
                <a:cubicBezTo>
                  <a:pt x="3441654" y="1218290"/>
                  <a:pt x="3531632" y="1285973"/>
                  <a:pt x="3644104" y="1331095"/>
                </a:cubicBezTo>
                <a:cubicBezTo>
                  <a:pt x="3711587" y="1353655"/>
                  <a:pt x="3734082" y="1398777"/>
                  <a:pt x="3846554" y="1421338"/>
                </a:cubicBezTo>
                <a:cubicBezTo>
                  <a:pt x="3981521" y="1443899"/>
                  <a:pt x="4026510" y="1466460"/>
                  <a:pt x="4071499" y="1511582"/>
                </a:cubicBezTo>
                <a:cubicBezTo>
                  <a:pt x="4138982" y="1556704"/>
                  <a:pt x="4228960" y="1601825"/>
                  <a:pt x="4341432" y="1624386"/>
                </a:cubicBezTo>
                <a:lnTo>
                  <a:pt x="4329926" y="1610479"/>
                </a:lnTo>
                <a:lnTo>
                  <a:pt x="4364981" y="1630027"/>
                </a:lnTo>
                <a:cubicBezTo>
                  <a:pt x="4460934" y="1680789"/>
                  <a:pt x="4566377" y="1731551"/>
                  <a:pt x="4633860" y="1782313"/>
                </a:cubicBezTo>
                <a:cubicBezTo>
                  <a:pt x="4678849" y="1804874"/>
                  <a:pt x="4723838" y="1827435"/>
                  <a:pt x="4768827" y="1849996"/>
                </a:cubicBezTo>
                <a:cubicBezTo>
                  <a:pt x="5038761" y="1962800"/>
                  <a:pt x="5263705" y="2053044"/>
                  <a:pt x="5466156" y="2165849"/>
                </a:cubicBezTo>
                <a:cubicBezTo>
                  <a:pt x="5668606" y="2278653"/>
                  <a:pt x="5871056" y="2368897"/>
                  <a:pt x="6096001" y="2459141"/>
                </a:cubicBezTo>
                <a:cubicBezTo>
                  <a:pt x="6073506" y="2414019"/>
                  <a:pt x="5916046" y="2368897"/>
                  <a:pt x="5848562" y="2323775"/>
                </a:cubicBezTo>
                <a:cubicBezTo>
                  <a:pt x="5691100" y="2256092"/>
                  <a:pt x="5488650" y="2165849"/>
                  <a:pt x="5331189" y="2075605"/>
                </a:cubicBezTo>
                <a:cubicBezTo>
                  <a:pt x="5286200" y="2075605"/>
                  <a:pt x="5218717" y="2053044"/>
                  <a:pt x="5263705" y="2030483"/>
                </a:cubicBezTo>
                <a:cubicBezTo>
                  <a:pt x="5263705" y="2030483"/>
                  <a:pt x="5286200" y="2030483"/>
                  <a:pt x="5308694" y="2030483"/>
                </a:cubicBezTo>
                <a:cubicBezTo>
                  <a:pt x="5376178" y="2030483"/>
                  <a:pt x="5421167" y="2075605"/>
                  <a:pt x="5443662" y="2075605"/>
                </a:cubicBezTo>
                <a:cubicBezTo>
                  <a:pt x="5460532" y="2109446"/>
                  <a:pt x="5502710" y="2130597"/>
                  <a:pt x="5551213" y="2139057"/>
                </a:cubicBezTo>
                <a:lnTo>
                  <a:pt x="5578628" y="2141381"/>
                </a:lnTo>
                <a:lnTo>
                  <a:pt x="5578628" y="2143288"/>
                </a:lnTo>
                <a:cubicBezTo>
                  <a:pt x="5578628" y="2143288"/>
                  <a:pt x="5601122" y="2143288"/>
                  <a:pt x="5601122" y="2143288"/>
                </a:cubicBezTo>
                <a:lnTo>
                  <a:pt x="5578628" y="2141381"/>
                </a:lnTo>
                <a:lnTo>
                  <a:pt x="5578628" y="2130245"/>
                </a:lnTo>
                <a:cubicBezTo>
                  <a:pt x="5578628" y="2120727"/>
                  <a:pt x="5578628" y="2120727"/>
                  <a:pt x="5578628" y="2120727"/>
                </a:cubicBezTo>
                <a:cubicBezTo>
                  <a:pt x="5691100" y="2165849"/>
                  <a:pt x="5781078" y="2233531"/>
                  <a:pt x="5893551" y="2278653"/>
                </a:cubicBezTo>
                <a:cubicBezTo>
                  <a:pt x="5916046" y="2278653"/>
                  <a:pt x="5938539" y="2301214"/>
                  <a:pt x="5961034" y="2301214"/>
                </a:cubicBezTo>
                <a:cubicBezTo>
                  <a:pt x="5961034" y="2301214"/>
                  <a:pt x="5983528" y="2301214"/>
                  <a:pt x="6006023" y="2301214"/>
                </a:cubicBezTo>
                <a:cubicBezTo>
                  <a:pt x="5983528" y="2301214"/>
                  <a:pt x="5961034" y="2278653"/>
                  <a:pt x="5983528" y="2278653"/>
                </a:cubicBezTo>
                <a:cubicBezTo>
                  <a:pt x="6006023" y="2278653"/>
                  <a:pt x="6028517" y="2301214"/>
                  <a:pt x="6051012" y="2301214"/>
                </a:cubicBezTo>
                <a:cubicBezTo>
                  <a:pt x="6073506" y="2346336"/>
                  <a:pt x="6140990" y="2368897"/>
                  <a:pt x="6230968" y="2391458"/>
                </a:cubicBezTo>
                <a:cubicBezTo>
                  <a:pt x="6253462" y="2368897"/>
                  <a:pt x="6275956" y="2391458"/>
                  <a:pt x="6298451" y="2391458"/>
                </a:cubicBezTo>
                <a:cubicBezTo>
                  <a:pt x="6320945" y="2414019"/>
                  <a:pt x="6343440" y="2414019"/>
                  <a:pt x="6343440" y="2414019"/>
                </a:cubicBezTo>
                <a:cubicBezTo>
                  <a:pt x="6298451" y="2368897"/>
                  <a:pt x="6230968" y="2346336"/>
                  <a:pt x="6163484" y="2323775"/>
                </a:cubicBezTo>
                <a:cubicBezTo>
                  <a:pt x="6163484" y="2323775"/>
                  <a:pt x="6163484" y="2346336"/>
                  <a:pt x="6118495" y="2323775"/>
                </a:cubicBezTo>
                <a:cubicBezTo>
                  <a:pt x="6073506" y="2301214"/>
                  <a:pt x="6073506" y="2301214"/>
                  <a:pt x="6073506" y="2278653"/>
                </a:cubicBezTo>
                <a:cubicBezTo>
                  <a:pt x="6051012" y="2278653"/>
                  <a:pt x="6006023" y="2256092"/>
                  <a:pt x="5961034" y="2233531"/>
                </a:cubicBezTo>
                <a:cubicBezTo>
                  <a:pt x="5871056" y="2210970"/>
                  <a:pt x="5848562" y="2165849"/>
                  <a:pt x="5713595" y="2120727"/>
                </a:cubicBezTo>
                <a:cubicBezTo>
                  <a:pt x="5758584" y="2143288"/>
                  <a:pt x="5781078" y="2165849"/>
                  <a:pt x="5826067" y="2188409"/>
                </a:cubicBezTo>
                <a:cubicBezTo>
                  <a:pt x="5871056" y="2210970"/>
                  <a:pt x="5938539" y="2233531"/>
                  <a:pt x="5983528" y="2278653"/>
                </a:cubicBezTo>
                <a:cubicBezTo>
                  <a:pt x="5871056" y="2233531"/>
                  <a:pt x="5826067" y="2210970"/>
                  <a:pt x="5803573" y="2188409"/>
                </a:cubicBezTo>
                <a:cubicBezTo>
                  <a:pt x="5668606" y="2120727"/>
                  <a:pt x="5533639" y="2053044"/>
                  <a:pt x="5421167" y="1985361"/>
                </a:cubicBezTo>
                <a:cubicBezTo>
                  <a:pt x="5353683" y="1962800"/>
                  <a:pt x="5218717" y="1917678"/>
                  <a:pt x="5196222" y="1872556"/>
                </a:cubicBezTo>
                <a:cubicBezTo>
                  <a:pt x="5038761" y="1849996"/>
                  <a:pt x="4971278" y="1804874"/>
                  <a:pt x="4948783" y="1759752"/>
                </a:cubicBezTo>
                <a:cubicBezTo>
                  <a:pt x="4926288" y="1737191"/>
                  <a:pt x="4903794" y="1737191"/>
                  <a:pt x="4858805" y="1714630"/>
                </a:cubicBezTo>
                <a:cubicBezTo>
                  <a:pt x="4813816" y="1692069"/>
                  <a:pt x="4768827" y="1669508"/>
                  <a:pt x="4791322" y="1669508"/>
                </a:cubicBezTo>
                <a:cubicBezTo>
                  <a:pt x="4791322" y="1646947"/>
                  <a:pt x="4881300" y="1669508"/>
                  <a:pt x="4903794" y="1692069"/>
                </a:cubicBezTo>
                <a:cubicBezTo>
                  <a:pt x="4926288" y="1669508"/>
                  <a:pt x="4836311" y="1646947"/>
                  <a:pt x="4881300" y="1624386"/>
                </a:cubicBezTo>
                <a:cubicBezTo>
                  <a:pt x="4881300" y="1624386"/>
                  <a:pt x="4858805" y="1624386"/>
                  <a:pt x="4836311" y="1601825"/>
                </a:cubicBezTo>
                <a:cubicBezTo>
                  <a:pt x="4791322" y="1601825"/>
                  <a:pt x="4768827" y="1579265"/>
                  <a:pt x="4768827" y="1579265"/>
                </a:cubicBezTo>
                <a:cubicBezTo>
                  <a:pt x="4746333" y="1556704"/>
                  <a:pt x="4746333" y="1556704"/>
                  <a:pt x="4746333" y="1556704"/>
                </a:cubicBezTo>
                <a:cubicBezTo>
                  <a:pt x="4701344" y="1534143"/>
                  <a:pt x="4678849" y="1534143"/>
                  <a:pt x="4656355" y="1511582"/>
                </a:cubicBezTo>
                <a:cubicBezTo>
                  <a:pt x="4566377" y="1466460"/>
                  <a:pt x="4476399" y="1443899"/>
                  <a:pt x="4453905" y="1398777"/>
                </a:cubicBezTo>
                <a:cubicBezTo>
                  <a:pt x="4431410" y="1376216"/>
                  <a:pt x="4408916" y="1353655"/>
                  <a:pt x="4386421" y="1331095"/>
                </a:cubicBezTo>
                <a:cubicBezTo>
                  <a:pt x="4476399" y="1353655"/>
                  <a:pt x="4498894" y="1376216"/>
                  <a:pt x="4521389" y="1398777"/>
                </a:cubicBezTo>
                <a:cubicBezTo>
                  <a:pt x="4543883" y="1398777"/>
                  <a:pt x="4566377" y="1398777"/>
                  <a:pt x="4611366" y="1398777"/>
                </a:cubicBezTo>
                <a:cubicBezTo>
                  <a:pt x="4656355" y="1398777"/>
                  <a:pt x="4656355" y="1398777"/>
                  <a:pt x="4633860" y="1376216"/>
                </a:cubicBezTo>
                <a:cubicBezTo>
                  <a:pt x="4588872" y="1353655"/>
                  <a:pt x="4543883" y="1331095"/>
                  <a:pt x="4498894" y="1308534"/>
                </a:cubicBezTo>
                <a:cubicBezTo>
                  <a:pt x="4498894" y="1308534"/>
                  <a:pt x="4521389" y="1308534"/>
                  <a:pt x="4521389" y="1308534"/>
                </a:cubicBezTo>
                <a:cubicBezTo>
                  <a:pt x="4566377" y="1331095"/>
                  <a:pt x="4611366" y="1353655"/>
                  <a:pt x="4656355" y="1376216"/>
                </a:cubicBezTo>
                <a:cubicBezTo>
                  <a:pt x="4656355" y="1376216"/>
                  <a:pt x="4678849" y="1376216"/>
                  <a:pt x="4678849" y="1376216"/>
                </a:cubicBezTo>
                <a:cubicBezTo>
                  <a:pt x="4768827" y="1398777"/>
                  <a:pt x="4768827" y="1421338"/>
                  <a:pt x="4768827" y="1421338"/>
                </a:cubicBezTo>
                <a:cubicBezTo>
                  <a:pt x="4768827" y="1443899"/>
                  <a:pt x="4723838" y="1421338"/>
                  <a:pt x="4701344" y="1398777"/>
                </a:cubicBezTo>
                <a:cubicBezTo>
                  <a:pt x="4701344" y="1421338"/>
                  <a:pt x="4701344" y="1421338"/>
                  <a:pt x="4701344" y="1421338"/>
                </a:cubicBezTo>
                <a:cubicBezTo>
                  <a:pt x="4723838" y="1443899"/>
                  <a:pt x="4746333" y="1443899"/>
                  <a:pt x="4746333" y="1466460"/>
                </a:cubicBezTo>
                <a:cubicBezTo>
                  <a:pt x="4768827" y="1443899"/>
                  <a:pt x="4813816" y="1466460"/>
                  <a:pt x="4836311" y="1466460"/>
                </a:cubicBezTo>
                <a:cubicBezTo>
                  <a:pt x="4881300" y="1466460"/>
                  <a:pt x="4926288" y="1466460"/>
                  <a:pt x="4926288" y="1466460"/>
                </a:cubicBezTo>
                <a:cubicBezTo>
                  <a:pt x="4926288" y="1443899"/>
                  <a:pt x="4858805" y="1421338"/>
                  <a:pt x="4813816" y="1421338"/>
                </a:cubicBezTo>
                <a:cubicBezTo>
                  <a:pt x="4746333" y="1398777"/>
                  <a:pt x="4656355" y="1353655"/>
                  <a:pt x="4678849" y="1331095"/>
                </a:cubicBezTo>
                <a:cubicBezTo>
                  <a:pt x="4768827" y="1353655"/>
                  <a:pt x="4881300" y="1376216"/>
                  <a:pt x="4948783" y="1421338"/>
                </a:cubicBezTo>
                <a:cubicBezTo>
                  <a:pt x="5128739" y="1489021"/>
                  <a:pt x="5241211" y="1556704"/>
                  <a:pt x="5376178" y="1646947"/>
                </a:cubicBezTo>
                <a:cubicBezTo>
                  <a:pt x="5466156" y="1692069"/>
                  <a:pt x="5578628" y="1737191"/>
                  <a:pt x="5691100" y="1782313"/>
                </a:cubicBezTo>
                <a:cubicBezTo>
                  <a:pt x="5803573" y="1827435"/>
                  <a:pt x="5893551" y="1827435"/>
                  <a:pt x="5983528" y="1849996"/>
                </a:cubicBezTo>
                <a:cubicBezTo>
                  <a:pt x="5916046" y="1804874"/>
                  <a:pt x="5826067" y="1782313"/>
                  <a:pt x="5803573" y="1737191"/>
                </a:cubicBezTo>
                <a:cubicBezTo>
                  <a:pt x="5736089" y="1714630"/>
                  <a:pt x="5691100" y="1669508"/>
                  <a:pt x="5623617" y="1646947"/>
                </a:cubicBezTo>
                <a:cubicBezTo>
                  <a:pt x="5488650" y="1579265"/>
                  <a:pt x="5331189" y="1511582"/>
                  <a:pt x="5241211" y="1421338"/>
                </a:cubicBezTo>
                <a:cubicBezTo>
                  <a:pt x="5061256" y="1353655"/>
                  <a:pt x="4971278" y="1285973"/>
                  <a:pt x="4858805" y="1218290"/>
                </a:cubicBezTo>
                <a:cubicBezTo>
                  <a:pt x="4813816" y="1218290"/>
                  <a:pt x="4791322" y="1195729"/>
                  <a:pt x="4768827" y="1195729"/>
                </a:cubicBezTo>
                <a:cubicBezTo>
                  <a:pt x="4746333" y="1173168"/>
                  <a:pt x="4723838" y="1173168"/>
                  <a:pt x="4723838" y="1173168"/>
                </a:cubicBezTo>
                <a:cubicBezTo>
                  <a:pt x="4746333" y="1173168"/>
                  <a:pt x="4768827" y="1195729"/>
                  <a:pt x="4791322" y="1173168"/>
                </a:cubicBezTo>
                <a:cubicBezTo>
                  <a:pt x="4813816" y="1173168"/>
                  <a:pt x="4836311" y="1195729"/>
                  <a:pt x="4836311" y="1195729"/>
                </a:cubicBezTo>
                <a:cubicBezTo>
                  <a:pt x="4836311" y="1195729"/>
                  <a:pt x="4858805" y="1218290"/>
                  <a:pt x="4881300" y="1218290"/>
                </a:cubicBezTo>
                <a:cubicBezTo>
                  <a:pt x="4903794" y="1240851"/>
                  <a:pt x="4926288" y="1240851"/>
                  <a:pt x="4948783" y="1263412"/>
                </a:cubicBezTo>
                <a:cubicBezTo>
                  <a:pt x="4993772" y="1285973"/>
                  <a:pt x="5038761" y="1308534"/>
                  <a:pt x="5061256" y="1308534"/>
                </a:cubicBezTo>
                <a:cubicBezTo>
                  <a:pt x="5128739" y="1353655"/>
                  <a:pt x="5218717" y="1398777"/>
                  <a:pt x="5263705" y="1421338"/>
                </a:cubicBezTo>
                <a:cubicBezTo>
                  <a:pt x="5286200" y="1443899"/>
                  <a:pt x="5308694" y="1466460"/>
                  <a:pt x="5353683" y="1466460"/>
                </a:cubicBezTo>
                <a:cubicBezTo>
                  <a:pt x="5353683" y="1466460"/>
                  <a:pt x="5286200" y="1443899"/>
                  <a:pt x="5308694" y="1443899"/>
                </a:cubicBezTo>
                <a:cubicBezTo>
                  <a:pt x="5353683" y="1443899"/>
                  <a:pt x="5353683" y="1421338"/>
                  <a:pt x="5308694" y="1398777"/>
                </a:cubicBezTo>
                <a:cubicBezTo>
                  <a:pt x="5263705" y="1398777"/>
                  <a:pt x="5263705" y="1376216"/>
                  <a:pt x="5263705" y="1376216"/>
                </a:cubicBezTo>
                <a:cubicBezTo>
                  <a:pt x="5263705" y="1376216"/>
                  <a:pt x="5263705" y="1376216"/>
                  <a:pt x="5241211" y="1376216"/>
                </a:cubicBezTo>
                <a:cubicBezTo>
                  <a:pt x="5218717" y="1353655"/>
                  <a:pt x="5173728" y="1353655"/>
                  <a:pt x="5218717" y="1353655"/>
                </a:cubicBezTo>
                <a:cubicBezTo>
                  <a:pt x="5241211" y="1353655"/>
                  <a:pt x="5241211" y="1331095"/>
                  <a:pt x="5241211" y="1331095"/>
                </a:cubicBezTo>
                <a:cubicBezTo>
                  <a:pt x="5241211" y="1331095"/>
                  <a:pt x="5218717" y="1331095"/>
                  <a:pt x="5218717" y="1331095"/>
                </a:cubicBezTo>
                <a:cubicBezTo>
                  <a:pt x="5128739" y="1308534"/>
                  <a:pt x="5061256" y="1285973"/>
                  <a:pt x="4971278" y="1240851"/>
                </a:cubicBezTo>
                <a:cubicBezTo>
                  <a:pt x="5061256" y="1240851"/>
                  <a:pt x="5061256" y="1240851"/>
                  <a:pt x="5038761" y="1195729"/>
                </a:cubicBezTo>
                <a:cubicBezTo>
                  <a:pt x="5016266" y="1150607"/>
                  <a:pt x="5128739" y="1195729"/>
                  <a:pt x="5173728" y="1195729"/>
                </a:cubicBezTo>
                <a:cubicBezTo>
                  <a:pt x="5173728" y="1173168"/>
                  <a:pt x="5151233" y="1173168"/>
                  <a:pt x="5128739" y="1128046"/>
                </a:cubicBezTo>
                <a:cubicBezTo>
                  <a:pt x="5218717" y="1173168"/>
                  <a:pt x="5308694" y="1195729"/>
                  <a:pt x="5398672" y="1218290"/>
                </a:cubicBezTo>
                <a:cubicBezTo>
                  <a:pt x="5353683" y="1218290"/>
                  <a:pt x="5376178" y="1263412"/>
                  <a:pt x="5308694" y="1240851"/>
                </a:cubicBezTo>
                <a:cubicBezTo>
                  <a:pt x="5263705" y="1240851"/>
                  <a:pt x="5263705" y="1240851"/>
                  <a:pt x="5286200" y="1263412"/>
                </a:cubicBezTo>
                <a:cubicBezTo>
                  <a:pt x="5308694" y="1285973"/>
                  <a:pt x="5353683" y="1285973"/>
                  <a:pt x="5353683" y="1285973"/>
                </a:cubicBezTo>
                <a:cubicBezTo>
                  <a:pt x="5398672" y="1263412"/>
                  <a:pt x="5443662" y="1263412"/>
                  <a:pt x="5533639" y="1285973"/>
                </a:cubicBezTo>
                <a:cubicBezTo>
                  <a:pt x="5623617" y="1331095"/>
                  <a:pt x="5713595" y="1353655"/>
                  <a:pt x="5781078" y="1376216"/>
                </a:cubicBezTo>
                <a:cubicBezTo>
                  <a:pt x="5803573" y="1398777"/>
                  <a:pt x="5848562" y="1421338"/>
                  <a:pt x="5893551" y="1421338"/>
                </a:cubicBezTo>
                <a:cubicBezTo>
                  <a:pt x="5916046" y="1421338"/>
                  <a:pt x="5916046" y="1398777"/>
                  <a:pt x="5893551" y="1376216"/>
                </a:cubicBezTo>
                <a:cubicBezTo>
                  <a:pt x="5893551" y="1376216"/>
                  <a:pt x="5871056" y="1353655"/>
                  <a:pt x="5893551" y="1353655"/>
                </a:cubicBezTo>
                <a:cubicBezTo>
                  <a:pt x="5803573" y="1308534"/>
                  <a:pt x="5668606" y="1240851"/>
                  <a:pt x="5578628" y="1173168"/>
                </a:cubicBezTo>
                <a:cubicBezTo>
                  <a:pt x="5533639" y="1150607"/>
                  <a:pt x="5511145" y="1128046"/>
                  <a:pt x="5466156" y="1105485"/>
                </a:cubicBezTo>
                <a:cubicBezTo>
                  <a:pt x="5376178" y="1060363"/>
                  <a:pt x="5353683" y="1037802"/>
                  <a:pt x="5241211" y="992681"/>
                </a:cubicBezTo>
                <a:cubicBezTo>
                  <a:pt x="5308694" y="992681"/>
                  <a:pt x="5331189" y="1015242"/>
                  <a:pt x="5353683" y="1015242"/>
                </a:cubicBezTo>
                <a:cubicBezTo>
                  <a:pt x="5353683" y="1015242"/>
                  <a:pt x="5331189" y="992681"/>
                  <a:pt x="5353683" y="992681"/>
                </a:cubicBezTo>
                <a:cubicBezTo>
                  <a:pt x="5398672" y="1015242"/>
                  <a:pt x="5443662" y="1015242"/>
                  <a:pt x="5443662" y="1037802"/>
                </a:cubicBezTo>
                <a:cubicBezTo>
                  <a:pt x="5421167" y="1037802"/>
                  <a:pt x="5398672" y="1037802"/>
                  <a:pt x="5376178" y="1015242"/>
                </a:cubicBezTo>
                <a:cubicBezTo>
                  <a:pt x="5421167" y="1060363"/>
                  <a:pt x="5488650" y="1082924"/>
                  <a:pt x="5511145" y="1105485"/>
                </a:cubicBezTo>
                <a:cubicBezTo>
                  <a:pt x="5601122" y="1173168"/>
                  <a:pt x="5758584" y="1240851"/>
                  <a:pt x="5893551" y="1308534"/>
                </a:cubicBezTo>
                <a:cubicBezTo>
                  <a:pt x="6028517" y="1376216"/>
                  <a:pt x="6140990" y="1443899"/>
                  <a:pt x="6275956" y="1489021"/>
                </a:cubicBezTo>
                <a:cubicBezTo>
                  <a:pt x="6298451" y="1511582"/>
                  <a:pt x="6298451" y="1511582"/>
                  <a:pt x="6320945" y="1511582"/>
                </a:cubicBezTo>
                <a:cubicBezTo>
                  <a:pt x="6343440" y="1534143"/>
                  <a:pt x="6388429" y="1534143"/>
                  <a:pt x="6410923" y="1556704"/>
                </a:cubicBezTo>
                <a:cubicBezTo>
                  <a:pt x="6658362" y="1669508"/>
                  <a:pt x="6883307" y="1804874"/>
                  <a:pt x="7130746" y="1917678"/>
                </a:cubicBezTo>
                <a:cubicBezTo>
                  <a:pt x="7288207" y="1985361"/>
                  <a:pt x="7378185" y="2030483"/>
                  <a:pt x="7513152" y="2098166"/>
                </a:cubicBezTo>
                <a:cubicBezTo>
                  <a:pt x="7535647" y="2075605"/>
                  <a:pt x="7468163" y="2053044"/>
                  <a:pt x="7423174" y="2030483"/>
                </a:cubicBezTo>
                <a:cubicBezTo>
                  <a:pt x="7423174" y="2030483"/>
                  <a:pt x="7423174" y="2007922"/>
                  <a:pt x="7423174" y="2007922"/>
                </a:cubicBezTo>
                <a:cubicBezTo>
                  <a:pt x="7378185" y="1985361"/>
                  <a:pt x="7355691" y="1962800"/>
                  <a:pt x="7310702" y="1940239"/>
                </a:cubicBezTo>
                <a:cubicBezTo>
                  <a:pt x="7243219" y="1917678"/>
                  <a:pt x="7175735" y="1895117"/>
                  <a:pt x="7153241" y="1872556"/>
                </a:cubicBezTo>
                <a:cubicBezTo>
                  <a:pt x="7108252" y="1849996"/>
                  <a:pt x="7063263" y="1827435"/>
                  <a:pt x="7040768" y="1804874"/>
                </a:cubicBezTo>
                <a:cubicBezTo>
                  <a:pt x="6928296" y="1782313"/>
                  <a:pt x="6883307" y="1737191"/>
                  <a:pt x="6793329" y="1692069"/>
                </a:cubicBezTo>
                <a:cubicBezTo>
                  <a:pt x="6770835" y="1692069"/>
                  <a:pt x="6748340" y="1692069"/>
                  <a:pt x="6748340" y="1669508"/>
                </a:cubicBezTo>
                <a:cubicBezTo>
                  <a:pt x="6680857" y="1646947"/>
                  <a:pt x="6545890" y="1601825"/>
                  <a:pt x="6523396" y="1556704"/>
                </a:cubicBezTo>
                <a:cubicBezTo>
                  <a:pt x="6455912" y="1534143"/>
                  <a:pt x="6433418" y="1489021"/>
                  <a:pt x="6320945" y="1489021"/>
                </a:cubicBezTo>
                <a:cubicBezTo>
                  <a:pt x="6365934" y="1511582"/>
                  <a:pt x="6410923" y="1534143"/>
                  <a:pt x="6455912" y="1556704"/>
                </a:cubicBezTo>
                <a:cubicBezTo>
                  <a:pt x="6455912" y="1556704"/>
                  <a:pt x="6433418" y="1556704"/>
                  <a:pt x="6433418" y="1556704"/>
                </a:cubicBezTo>
                <a:cubicBezTo>
                  <a:pt x="6388429" y="1534143"/>
                  <a:pt x="6343440" y="1511582"/>
                  <a:pt x="6298451" y="1489021"/>
                </a:cubicBezTo>
                <a:cubicBezTo>
                  <a:pt x="6275956" y="1466460"/>
                  <a:pt x="6298451" y="1443899"/>
                  <a:pt x="6298451" y="1443899"/>
                </a:cubicBezTo>
                <a:cubicBezTo>
                  <a:pt x="6253462" y="1421338"/>
                  <a:pt x="6208473" y="1398777"/>
                  <a:pt x="6163484" y="1376216"/>
                </a:cubicBezTo>
                <a:cubicBezTo>
                  <a:pt x="6051012" y="1331095"/>
                  <a:pt x="6051012" y="1285973"/>
                  <a:pt x="5938539" y="1240851"/>
                </a:cubicBezTo>
                <a:cubicBezTo>
                  <a:pt x="5893551" y="1240851"/>
                  <a:pt x="5893551" y="1218290"/>
                  <a:pt x="5826067" y="1195729"/>
                </a:cubicBezTo>
                <a:cubicBezTo>
                  <a:pt x="5826067" y="1195729"/>
                  <a:pt x="5871056" y="1218290"/>
                  <a:pt x="5848562" y="1240851"/>
                </a:cubicBezTo>
                <a:cubicBezTo>
                  <a:pt x="5736089" y="1218290"/>
                  <a:pt x="5736089" y="1195729"/>
                  <a:pt x="5691100" y="1173168"/>
                </a:cubicBezTo>
                <a:cubicBezTo>
                  <a:pt x="5691100" y="1173168"/>
                  <a:pt x="5713595" y="1173168"/>
                  <a:pt x="5736089" y="1173168"/>
                </a:cubicBezTo>
                <a:cubicBezTo>
                  <a:pt x="5736089" y="1173168"/>
                  <a:pt x="5826067" y="1173168"/>
                  <a:pt x="5736089" y="1128046"/>
                </a:cubicBezTo>
                <a:cubicBezTo>
                  <a:pt x="5691100" y="1128046"/>
                  <a:pt x="5668606" y="1105485"/>
                  <a:pt x="5713595" y="1105485"/>
                </a:cubicBezTo>
                <a:cubicBezTo>
                  <a:pt x="5758584" y="1105485"/>
                  <a:pt x="5781078" y="1128046"/>
                  <a:pt x="5803573" y="1128046"/>
                </a:cubicBezTo>
                <a:cubicBezTo>
                  <a:pt x="5893551" y="1173168"/>
                  <a:pt x="5961034" y="1218290"/>
                  <a:pt x="6006023" y="1240851"/>
                </a:cubicBezTo>
                <a:cubicBezTo>
                  <a:pt x="6118495" y="1308534"/>
                  <a:pt x="6343440" y="1376216"/>
                  <a:pt x="6455912" y="1443899"/>
                </a:cubicBezTo>
                <a:cubicBezTo>
                  <a:pt x="6433418" y="1443899"/>
                  <a:pt x="6388429" y="1421338"/>
                  <a:pt x="6388429" y="1421338"/>
                </a:cubicBezTo>
                <a:cubicBezTo>
                  <a:pt x="6365934" y="1421338"/>
                  <a:pt x="6388429" y="1443899"/>
                  <a:pt x="6388429" y="1443899"/>
                </a:cubicBezTo>
                <a:cubicBezTo>
                  <a:pt x="6500901" y="1511582"/>
                  <a:pt x="6635868" y="1534143"/>
                  <a:pt x="6770835" y="1579265"/>
                </a:cubicBezTo>
                <a:cubicBezTo>
                  <a:pt x="6815824" y="1601825"/>
                  <a:pt x="6815824" y="1579265"/>
                  <a:pt x="6793329" y="1556704"/>
                </a:cubicBezTo>
                <a:cubicBezTo>
                  <a:pt x="6770835" y="1556704"/>
                  <a:pt x="6703351" y="1534143"/>
                  <a:pt x="6748340" y="1511582"/>
                </a:cubicBezTo>
                <a:cubicBezTo>
                  <a:pt x="6815824" y="1511582"/>
                  <a:pt x="6815824" y="1556704"/>
                  <a:pt x="6860813" y="1556704"/>
                </a:cubicBezTo>
                <a:cubicBezTo>
                  <a:pt x="6995779" y="1556704"/>
                  <a:pt x="6995779" y="1556704"/>
                  <a:pt x="6860813" y="1489021"/>
                </a:cubicBezTo>
                <a:cubicBezTo>
                  <a:pt x="6838318" y="1466460"/>
                  <a:pt x="6838318" y="1466460"/>
                  <a:pt x="6838318" y="1443899"/>
                </a:cubicBezTo>
                <a:cubicBezTo>
                  <a:pt x="6860813" y="1443899"/>
                  <a:pt x="6883307" y="1443899"/>
                  <a:pt x="6883307" y="1443899"/>
                </a:cubicBezTo>
                <a:cubicBezTo>
                  <a:pt x="6860813" y="1443899"/>
                  <a:pt x="6860813" y="1421338"/>
                  <a:pt x="6838318" y="1421338"/>
                </a:cubicBezTo>
                <a:cubicBezTo>
                  <a:pt x="6793329" y="1376216"/>
                  <a:pt x="6680857" y="1353655"/>
                  <a:pt x="6613373" y="1308534"/>
                </a:cubicBezTo>
                <a:cubicBezTo>
                  <a:pt x="6635868" y="1308534"/>
                  <a:pt x="6635868" y="1308534"/>
                  <a:pt x="6658362" y="1308534"/>
                </a:cubicBezTo>
                <a:cubicBezTo>
                  <a:pt x="6635868" y="1285973"/>
                  <a:pt x="6500901" y="1240851"/>
                  <a:pt x="6568385" y="1240851"/>
                </a:cubicBezTo>
                <a:cubicBezTo>
                  <a:pt x="6613373" y="1240851"/>
                  <a:pt x="6658362" y="1285973"/>
                  <a:pt x="6703351" y="1308534"/>
                </a:cubicBezTo>
                <a:cubicBezTo>
                  <a:pt x="6770835" y="1331095"/>
                  <a:pt x="6815824" y="1376216"/>
                  <a:pt x="6905802" y="1398777"/>
                </a:cubicBezTo>
                <a:cubicBezTo>
                  <a:pt x="6928296" y="1398777"/>
                  <a:pt x="6950790" y="1398777"/>
                  <a:pt x="6973285" y="1398777"/>
                </a:cubicBezTo>
                <a:cubicBezTo>
                  <a:pt x="6973285" y="1398777"/>
                  <a:pt x="6883307" y="1353655"/>
                  <a:pt x="6950790" y="1353655"/>
                </a:cubicBezTo>
                <a:cubicBezTo>
                  <a:pt x="6973285" y="1376216"/>
                  <a:pt x="6995779" y="1398777"/>
                  <a:pt x="7018274" y="1398777"/>
                </a:cubicBezTo>
                <a:cubicBezTo>
                  <a:pt x="7175735" y="1466460"/>
                  <a:pt x="7265713" y="1511582"/>
                  <a:pt x="7378185" y="1579265"/>
                </a:cubicBezTo>
                <a:cubicBezTo>
                  <a:pt x="7423174" y="1579265"/>
                  <a:pt x="7378185" y="1556704"/>
                  <a:pt x="7355691" y="1534143"/>
                </a:cubicBezTo>
                <a:cubicBezTo>
                  <a:pt x="7243219" y="1511582"/>
                  <a:pt x="7310702" y="1511582"/>
                  <a:pt x="7310702" y="1489021"/>
                </a:cubicBezTo>
                <a:cubicBezTo>
                  <a:pt x="7220724" y="1466460"/>
                  <a:pt x="7175735" y="1443899"/>
                  <a:pt x="7108252" y="1398777"/>
                </a:cubicBezTo>
                <a:cubicBezTo>
                  <a:pt x="7063263" y="1398777"/>
                  <a:pt x="7085757" y="1376216"/>
                  <a:pt x="7108252" y="1376216"/>
                </a:cubicBezTo>
                <a:cubicBezTo>
                  <a:pt x="7040768" y="1353655"/>
                  <a:pt x="6973285" y="1308534"/>
                  <a:pt x="6928296" y="1263412"/>
                </a:cubicBezTo>
                <a:cubicBezTo>
                  <a:pt x="6973285" y="1285973"/>
                  <a:pt x="6995779" y="1285973"/>
                  <a:pt x="7018274" y="1308534"/>
                </a:cubicBezTo>
                <a:cubicBezTo>
                  <a:pt x="7018274" y="1285973"/>
                  <a:pt x="6950790" y="1263412"/>
                  <a:pt x="7063263" y="1285973"/>
                </a:cubicBezTo>
                <a:cubicBezTo>
                  <a:pt x="7130746" y="1285973"/>
                  <a:pt x="7130746" y="1308534"/>
                  <a:pt x="7153241" y="1331095"/>
                </a:cubicBezTo>
                <a:cubicBezTo>
                  <a:pt x="7220724" y="1353655"/>
                  <a:pt x="7288207" y="1376216"/>
                  <a:pt x="7333196" y="1421338"/>
                </a:cubicBezTo>
                <a:cubicBezTo>
                  <a:pt x="7423174" y="1466460"/>
                  <a:pt x="7513152" y="1511582"/>
                  <a:pt x="7603130" y="1579265"/>
                </a:cubicBezTo>
                <a:cubicBezTo>
                  <a:pt x="7783086" y="1669508"/>
                  <a:pt x="8008030" y="1759752"/>
                  <a:pt x="8142997" y="1872556"/>
                </a:cubicBezTo>
                <a:cubicBezTo>
                  <a:pt x="8187986" y="1872556"/>
                  <a:pt x="8210481" y="1895117"/>
                  <a:pt x="8255470" y="1917678"/>
                </a:cubicBezTo>
                <a:cubicBezTo>
                  <a:pt x="8255470" y="1917678"/>
                  <a:pt x="8255470" y="1895117"/>
                  <a:pt x="8300458" y="1917678"/>
                </a:cubicBezTo>
                <a:cubicBezTo>
                  <a:pt x="8322953" y="1917678"/>
                  <a:pt x="8300458" y="1940239"/>
                  <a:pt x="8300458" y="1940239"/>
                </a:cubicBezTo>
                <a:cubicBezTo>
                  <a:pt x="8322953" y="1962800"/>
                  <a:pt x="8367942" y="1962800"/>
                  <a:pt x="8412931" y="1985361"/>
                </a:cubicBezTo>
                <a:cubicBezTo>
                  <a:pt x="8502908" y="2030483"/>
                  <a:pt x="8547897" y="2053044"/>
                  <a:pt x="8615381" y="2098166"/>
                </a:cubicBezTo>
                <a:cubicBezTo>
                  <a:pt x="8637875" y="2098166"/>
                  <a:pt x="8637875" y="2075605"/>
                  <a:pt x="8637875" y="2075605"/>
                </a:cubicBezTo>
                <a:cubicBezTo>
                  <a:pt x="8660370" y="2075605"/>
                  <a:pt x="8705359" y="2098166"/>
                  <a:pt x="8727853" y="2120727"/>
                </a:cubicBezTo>
                <a:cubicBezTo>
                  <a:pt x="8772842" y="2120727"/>
                  <a:pt x="8772842" y="2143288"/>
                  <a:pt x="8817831" y="2143288"/>
                </a:cubicBezTo>
                <a:lnTo>
                  <a:pt x="8907809" y="2188409"/>
                </a:lnTo>
                <a:lnTo>
                  <a:pt x="8907809" y="2188409"/>
                </a:lnTo>
                <a:lnTo>
                  <a:pt x="8907809" y="2188410"/>
                </a:lnTo>
                <a:lnTo>
                  <a:pt x="8930303" y="2199689"/>
                </a:lnTo>
                <a:lnTo>
                  <a:pt x="8930303" y="2199690"/>
                </a:lnTo>
                <a:cubicBezTo>
                  <a:pt x="8935927" y="2205330"/>
                  <a:pt x="8941551" y="2210970"/>
                  <a:pt x="8952798" y="2210970"/>
                </a:cubicBezTo>
                <a:lnTo>
                  <a:pt x="8930303" y="2199689"/>
                </a:lnTo>
                <a:lnTo>
                  <a:pt x="8921165" y="2191935"/>
                </a:lnTo>
                <a:lnTo>
                  <a:pt x="8907809" y="2188410"/>
                </a:lnTo>
                <a:lnTo>
                  <a:pt x="8907809" y="2188409"/>
                </a:lnTo>
                <a:lnTo>
                  <a:pt x="8903943" y="2175014"/>
                </a:lnTo>
                <a:cubicBezTo>
                  <a:pt x="8896562" y="2164438"/>
                  <a:pt x="8879690" y="2160208"/>
                  <a:pt x="8862820" y="2143288"/>
                </a:cubicBezTo>
                <a:cubicBezTo>
                  <a:pt x="8840325" y="2120727"/>
                  <a:pt x="8795337" y="2098166"/>
                  <a:pt x="8772842" y="2075605"/>
                </a:cubicBezTo>
                <a:cubicBezTo>
                  <a:pt x="8727853" y="2030483"/>
                  <a:pt x="8592886" y="1985361"/>
                  <a:pt x="8547897" y="1940239"/>
                </a:cubicBezTo>
                <a:cubicBezTo>
                  <a:pt x="8435425" y="1895117"/>
                  <a:pt x="8390436" y="1872556"/>
                  <a:pt x="8322953" y="1827435"/>
                </a:cubicBezTo>
                <a:cubicBezTo>
                  <a:pt x="8187986" y="1759752"/>
                  <a:pt x="8075514" y="1692069"/>
                  <a:pt x="7940547" y="1624386"/>
                </a:cubicBezTo>
                <a:cubicBezTo>
                  <a:pt x="7895558" y="1601825"/>
                  <a:pt x="7850569" y="1579265"/>
                  <a:pt x="7850569" y="1556704"/>
                </a:cubicBezTo>
                <a:cubicBezTo>
                  <a:pt x="7828075" y="1556704"/>
                  <a:pt x="7805580" y="1556704"/>
                  <a:pt x="7805580" y="1534143"/>
                </a:cubicBezTo>
                <a:cubicBezTo>
                  <a:pt x="7783086" y="1556704"/>
                  <a:pt x="7715602" y="1534143"/>
                  <a:pt x="7670613" y="1511582"/>
                </a:cubicBezTo>
                <a:cubicBezTo>
                  <a:pt x="7625624" y="1511582"/>
                  <a:pt x="7625624" y="1534143"/>
                  <a:pt x="7670613" y="1534143"/>
                </a:cubicBezTo>
                <a:cubicBezTo>
                  <a:pt x="7715602" y="1579265"/>
                  <a:pt x="7760591" y="1601825"/>
                  <a:pt x="7805580" y="1624386"/>
                </a:cubicBezTo>
                <a:cubicBezTo>
                  <a:pt x="7760591" y="1624386"/>
                  <a:pt x="7715602" y="1624386"/>
                  <a:pt x="7670613" y="1579265"/>
                </a:cubicBezTo>
                <a:cubicBezTo>
                  <a:pt x="7648119" y="1556704"/>
                  <a:pt x="7580636" y="1534143"/>
                  <a:pt x="7513152" y="1511582"/>
                </a:cubicBezTo>
                <a:cubicBezTo>
                  <a:pt x="7490658" y="1489021"/>
                  <a:pt x="7445669" y="1466460"/>
                  <a:pt x="7468163" y="1466460"/>
                </a:cubicBezTo>
                <a:cubicBezTo>
                  <a:pt x="7490658" y="1466460"/>
                  <a:pt x="7513152" y="1466460"/>
                  <a:pt x="7580636" y="1489021"/>
                </a:cubicBezTo>
                <a:cubicBezTo>
                  <a:pt x="7603130" y="1511582"/>
                  <a:pt x="7603130" y="1489021"/>
                  <a:pt x="7603130" y="1489021"/>
                </a:cubicBezTo>
                <a:cubicBezTo>
                  <a:pt x="7625624" y="1489021"/>
                  <a:pt x="7625624" y="1489021"/>
                  <a:pt x="7625624" y="1489021"/>
                </a:cubicBezTo>
                <a:cubicBezTo>
                  <a:pt x="7603130" y="1466460"/>
                  <a:pt x="7513152" y="1443899"/>
                  <a:pt x="7513152" y="1421338"/>
                </a:cubicBezTo>
                <a:cubicBezTo>
                  <a:pt x="7558141" y="1421338"/>
                  <a:pt x="7603130" y="1466460"/>
                  <a:pt x="7648119" y="1466460"/>
                </a:cubicBezTo>
                <a:cubicBezTo>
                  <a:pt x="7558141" y="1398777"/>
                  <a:pt x="7468163" y="1331095"/>
                  <a:pt x="7333196" y="1285973"/>
                </a:cubicBezTo>
                <a:cubicBezTo>
                  <a:pt x="7333196" y="1263412"/>
                  <a:pt x="7310702" y="1263412"/>
                  <a:pt x="7288207" y="1240851"/>
                </a:cubicBezTo>
                <a:cubicBezTo>
                  <a:pt x="7265713" y="1240851"/>
                  <a:pt x="7243219" y="1240851"/>
                  <a:pt x="7243219" y="1218290"/>
                </a:cubicBezTo>
                <a:cubicBezTo>
                  <a:pt x="7175735" y="1195729"/>
                  <a:pt x="7130746" y="1195729"/>
                  <a:pt x="7085757" y="1173168"/>
                </a:cubicBezTo>
                <a:cubicBezTo>
                  <a:pt x="7063263" y="1173168"/>
                  <a:pt x="7063263" y="1173168"/>
                  <a:pt x="7063263" y="1173168"/>
                </a:cubicBezTo>
                <a:cubicBezTo>
                  <a:pt x="7063263" y="1150607"/>
                  <a:pt x="7063263" y="1128046"/>
                  <a:pt x="7085757" y="1150607"/>
                </a:cubicBezTo>
                <a:cubicBezTo>
                  <a:pt x="7130746" y="1105485"/>
                  <a:pt x="6905802" y="1037802"/>
                  <a:pt x="6883307" y="992681"/>
                </a:cubicBezTo>
                <a:cubicBezTo>
                  <a:pt x="6973285" y="1037802"/>
                  <a:pt x="7040768" y="1082924"/>
                  <a:pt x="7130746" y="1105485"/>
                </a:cubicBezTo>
                <a:cubicBezTo>
                  <a:pt x="7175735" y="1128046"/>
                  <a:pt x="7243219" y="1150607"/>
                  <a:pt x="7288207" y="1195729"/>
                </a:cubicBezTo>
                <a:cubicBezTo>
                  <a:pt x="7378185" y="1218290"/>
                  <a:pt x="7468163" y="1263412"/>
                  <a:pt x="7535647" y="1308534"/>
                </a:cubicBezTo>
                <a:cubicBezTo>
                  <a:pt x="7558141" y="1308534"/>
                  <a:pt x="7558141" y="1308534"/>
                  <a:pt x="7558141" y="1308534"/>
                </a:cubicBezTo>
                <a:cubicBezTo>
                  <a:pt x="7603130" y="1308534"/>
                  <a:pt x="7648119" y="1331095"/>
                  <a:pt x="7670613" y="1353655"/>
                </a:cubicBezTo>
                <a:cubicBezTo>
                  <a:pt x="7693108" y="1376216"/>
                  <a:pt x="7738097" y="1398777"/>
                  <a:pt x="7783086" y="1398777"/>
                </a:cubicBezTo>
                <a:cubicBezTo>
                  <a:pt x="7873064" y="1421338"/>
                  <a:pt x="7918053" y="1443899"/>
                  <a:pt x="7918053" y="1489021"/>
                </a:cubicBezTo>
                <a:cubicBezTo>
                  <a:pt x="7918053" y="1489021"/>
                  <a:pt x="7985536" y="1534143"/>
                  <a:pt x="8075514" y="1556704"/>
                </a:cubicBezTo>
                <a:cubicBezTo>
                  <a:pt x="8075514" y="1534143"/>
                  <a:pt x="8053019" y="1511582"/>
                  <a:pt x="8098008" y="1534143"/>
                </a:cubicBezTo>
                <a:cubicBezTo>
                  <a:pt x="8098008" y="1534143"/>
                  <a:pt x="8120503" y="1534143"/>
                  <a:pt x="8120503" y="1534143"/>
                </a:cubicBezTo>
                <a:cubicBezTo>
                  <a:pt x="8120503" y="1511582"/>
                  <a:pt x="8030525" y="1489021"/>
                  <a:pt x="8030525" y="1466460"/>
                </a:cubicBezTo>
                <a:cubicBezTo>
                  <a:pt x="7963041" y="1443899"/>
                  <a:pt x="8008030" y="1443899"/>
                  <a:pt x="8008030" y="1421338"/>
                </a:cubicBezTo>
                <a:cubicBezTo>
                  <a:pt x="7963041" y="1421338"/>
                  <a:pt x="7940547" y="1421338"/>
                  <a:pt x="7895558" y="1398777"/>
                </a:cubicBezTo>
                <a:cubicBezTo>
                  <a:pt x="7850569" y="1353655"/>
                  <a:pt x="7760591" y="1331095"/>
                  <a:pt x="7693108" y="1285973"/>
                </a:cubicBezTo>
                <a:cubicBezTo>
                  <a:pt x="7625624" y="1263412"/>
                  <a:pt x="7625624" y="1240851"/>
                  <a:pt x="7603130" y="1218290"/>
                </a:cubicBezTo>
                <a:cubicBezTo>
                  <a:pt x="7490658" y="1195729"/>
                  <a:pt x="7603130" y="1173168"/>
                  <a:pt x="7445669" y="1128046"/>
                </a:cubicBezTo>
                <a:cubicBezTo>
                  <a:pt x="7445669" y="1105485"/>
                  <a:pt x="7378185" y="1082924"/>
                  <a:pt x="7333196" y="1060363"/>
                </a:cubicBezTo>
                <a:cubicBezTo>
                  <a:pt x="7220724" y="1015242"/>
                  <a:pt x="7108252" y="947559"/>
                  <a:pt x="7040768" y="902437"/>
                </a:cubicBezTo>
                <a:cubicBezTo>
                  <a:pt x="7040768" y="902437"/>
                  <a:pt x="7063263" y="902437"/>
                  <a:pt x="7063263" y="902437"/>
                </a:cubicBezTo>
                <a:cubicBezTo>
                  <a:pt x="7108252" y="924998"/>
                  <a:pt x="7130746" y="924998"/>
                  <a:pt x="7153241" y="947559"/>
                </a:cubicBezTo>
                <a:cubicBezTo>
                  <a:pt x="7220724" y="947559"/>
                  <a:pt x="7265713" y="970120"/>
                  <a:pt x="7288207" y="992681"/>
                </a:cubicBezTo>
                <a:cubicBezTo>
                  <a:pt x="7378185" y="1037802"/>
                  <a:pt x="7513152" y="1105485"/>
                  <a:pt x="7603130" y="1150607"/>
                </a:cubicBezTo>
                <a:cubicBezTo>
                  <a:pt x="7603130" y="1150607"/>
                  <a:pt x="7625624" y="1173168"/>
                  <a:pt x="7648119" y="1173168"/>
                </a:cubicBezTo>
                <a:cubicBezTo>
                  <a:pt x="7693108" y="1218290"/>
                  <a:pt x="7805580" y="1285973"/>
                  <a:pt x="7918053" y="1353655"/>
                </a:cubicBezTo>
                <a:cubicBezTo>
                  <a:pt x="8008030" y="1398777"/>
                  <a:pt x="8120503" y="1443899"/>
                  <a:pt x="8187986" y="1489021"/>
                </a:cubicBezTo>
                <a:cubicBezTo>
                  <a:pt x="8232975" y="1534143"/>
                  <a:pt x="8345447" y="1556704"/>
                  <a:pt x="8390436" y="1601825"/>
                </a:cubicBezTo>
                <a:cubicBezTo>
                  <a:pt x="8390436" y="1601825"/>
                  <a:pt x="8412931" y="1624386"/>
                  <a:pt x="8412931" y="1624386"/>
                </a:cubicBezTo>
                <a:cubicBezTo>
                  <a:pt x="8502908" y="1646947"/>
                  <a:pt x="8547897" y="1669508"/>
                  <a:pt x="8592886" y="1714630"/>
                </a:cubicBezTo>
                <a:cubicBezTo>
                  <a:pt x="8772842" y="1804874"/>
                  <a:pt x="8975292" y="1895117"/>
                  <a:pt x="9200237" y="2007922"/>
                </a:cubicBezTo>
                <a:cubicBezTo>
                  <a:pt x="9200237" y="1962800"/>
                  <a:pt x="9110259" y="1940239"/>
                  <a:pt x="9065270" y="1895117"/>
                </a:cubicBezTo>
                <a:cubicBezTo>
                  <a:pt x="9200237" y="1962800"/>
                  <a:pt x="9267720" y="2007922"/>
                  <a:pt x="9380193" y="2053044"/>
                </a:cubicBezTo>
                <a:cubicBezTo>
                  <a:pt x="9402687" y="2075605"/>
                  <a:pt x="9470171" y="2075605"/>
                  <a:pt x="9470171" y="2075605"/>
                </a:cubicBezTo>
                <a:cubicBezTo>
                  <a:pt x="9560148" y="2098166"/>
                  <a:pt x="9560148" y="2120727"/>
                  <a:pt x="9582643" y="2120727"/>
                </a:cubicBezTo>
                <a:cubicBezTo>
                  <a:pt x="9627632" y="2143288"/>
                  <a:pt x="9672621" y="2165849"/>
                  <a:pt x="9672621" y="2188409"/>
                </a:cubicBezTo>
                <a:cubicBezTo>
                  <a:pt x="9987543" y="2346336"/>
                  <a:pt x="10234982" y="2481701"/>
                  <a:pt x="10527410" y="2639628"/>
                </a:cubicBezTo>
                <a:cubicBezTo>
                  <a:pt x="10549905" y="2639628"/>
                  <a:pt x="10572399" y="2639628"/>
                  <a:pt x="10594894" y="2639628"/>
                </a:cubicBezTo>
                <a:cubicBezTo>
                  <a:pt x="10594894" y="2639628"/>
                  <a:pt x="10617388" y="2639628"/>
                  <a:pt x="10639883" y="2662189"/>
                </a:cubicBezTo>
                <a:cubicBezTo>
                  <a:pt x="10707366" y="2684750"/>
                  <a:pt x="10774850" y="2729872"/>
                  <a:pt x="10842333" y="2752432"/>
                </a:cubicBezTo>
                <a:cubicBezTo>
                  <a:pt x="10864827" y="2774993"/>
                  <a:pt x="10887322" y="2774993"/>
                  <a:pt x="10909816" y="2774993"/>
                </a:cubicBezTo>
                <a:cubicBezTo>
                  <a:pt x="11061654" y="2859597"/>
                  <a:pt x="11238798" y="2944200"/>
                  <a:pt x="11412779" y="3019286"/>
                </a:cubicBezTo>
                <a:lnTo>
                  <a:pt x="11476197" y="3045691"/>
                </a:lnTo>
                <a:lnTo>
                  <a:pt x="11472178" y="3045724"/>
                </a:lnTo>
                <a:cubicBezTo>
                  <a:pt x="11483425" y="3051364"/>
                  <a:pt x="11494673" y="3055595"/>
                  <a:pt x="11505568" y="3059120"/>
                </a:cubicBezTo>
                <a:lnTo>
                  <a:pt x="11515296" y="3061970"/>
                </a:lnTo>
                <a:lnTo>
                  <a:pt x="11584650" y="3090846"/>
                </a:lnTo>
                <a:cubicBezTo>
                  <a:pt x="11573403" y="3079566"/>
                  <a:pt x="11556532" y="3073926"/>
                  <a:pt x="11536850" y="3068285"/>
                </a:cubicBezTo>
                <a:lnTo>
                  <a:pt x="11515296" y="3061970"/>
                </a:lnTo>
                <a:lnTo>
                  <a:pt x="11476197" y="3045691"/>
                </a:lnTo>
                <a:lnTo>
                  <a:pt x="11514707" y="3045372"/>
                </a:lnTo>
                <a:cubicBezTo>
                  <a:pt x="11549503" y="3044314"/>
                  <a:pt x="11562156" y="3040084"/>
                  <a:pt x="11562156" y="3023163"/>
                </a:cubicBezTo>
                <a:cubicBezTo>
                  <a:pt x="11494673" y="3000603"/>
                  <a:pt x="11472178" y="2978041"/>
                  <a:pt x="11404695" y="2955481"/>
                </a:cubicBezTo>
                <a:cubicBezTo>
                  <a:pt x="11337211" y="2955481"/>
                  <a:pt x="11314717" y="2932920"/>
                  <a:pt x="11269728" y="2887798"/>
                </a:cubicBezTo>
                <a:cubicBezTo>
                  <a:pt x="11269728" y="2887798"/>
                  <a:pt x="11269728" y="2865237"/>
                  <a:pt x="11269728" y="2865237"/>
                </a:cubicBezTo>
                <a:cubicBezTo>
                  <a:pt x="11224739" y="2865237"/>
                  <a:pt x="11202244" y="2842676"/>
                  <a:pt x="11157256" y="2842676"/>
                </a:cubicBezTo>
                <a:cubicBezTo>
                  <a:pt x="11134761" y="2820115"/>
                  <a:pt x="11112267" y="2820115"/>
                  <a:pt x="11067278" y="2797554"/>
                </a:cubicBezTo>
                <a:cubicBezTo>
                  <a:pt x="11067278" y="2797554"/>
                  <a:pt x="11044783" y="2774993"/>
                  <a:pt x="11044783" y="2774993"/>
                </a:cubicBezTo>
                <a:cubicBezTo>
                  <a:pt x="10999794" y="2752432"/>
                  <a:pt x="10954805" y="2729872"/>
                  <a:pt x="10954805" y="2729872"/>
                </a:cubicBezTo>
                <a:cubicBezTo>
                  <a:pt x="10977300" y="2729872"/>
                  <a:pt x="10999794" y="2729872"/>
                  <a:pt x="10999794" y="2729872"/>
                </a:cubicBezTo>
                <a:cubicBezTo>
                  <a:pt x="11044783" y="2752432"/>
                  <a:pt x="11067278" y="2774993"/>
                  <a:pt x="11112267" y="2797554"/>
                </a:cubicBezTo>
                <a:cubicBezTo>
                  <a:pt x="11089772" y="2774993"/>
                  <a:pt x="11044783" y="2752432"/>
                  <a:pt x="11022289" y="2729872"/>
                </a:cubicBezTo>
                <a:cubicBezTo>
                  <a:pt x="10977300" y="2707311"/>
                  <a:pt x="10932311" y="2684750"/>
                  <a:pt x="10887322" y="2662189"/>
                </a:cubicBezTo>
                <a:cubicBezTo>
                  <a:pt x="10819839" y="2617067"/>
                  <a:pt x="10729861" y="2594506"/>
                  <a:pt x="10662377" y="2549384"/>
                </a:cubicBezTo>
                <a:cubicBezTo>
                  <a:pt x="10549905" y="2504262"/>
                  <a:pt x="10459927" y="2459141"/>
                  <a:pt x="10347455" y="2391458"/>
                </a:cubicBezTo>
                <a:cubicBezTo>
                  <a:pt x="10257477" y="2391458"/>
                  <a:pt x="10167499" y="2346336"/>
                  <a:pt x="10077521" y="2278653"/>
                </a:cubicBezTo>
                <a:cubicBezTo>
                  <a:pt x="10010038" y="2256092"/>
                  <a:pt x="9965049" y="2233531"/>
                  <a:pt x="9965049" y="2210970"/>
                </a:cubicBezTo>
                <a:cubicBezTo>
                  <a:pt x="10032532" y="2233531"/>
                  <a:pt x="10055027" y="2256092"/>
                  <a:pt x="10100016" y="2278653"/>
                </a:cubicBezTo>
                <a:cubicBezTo>
                  <a:pt x="10145005" y="2278653"/>
                  <a:pt x="10167499" y="2301214"/>
                  <a:pt x="10189993" y="2301214"/>
                </a:cubicBezTo>
                <a:cubicBezTo>
                  <a:pt x="10212488" y="2323775"/>
                  <a:pt x="10257477" y="2346336"/>
                  <a:pt x="10279971" y="2346336"/>
                </a:cubicBezTo>
                <a:cubicBezTo>
                  <a:pt x="10279971" y="2368897"/>
                  <a:pt x="10302466" y="2368897"/>
                  <a:pt x="10302466" y="2368897"/>
                </a:cubicBezTo>
                <a:cubicBezTo>
                  <a:pt x="10414938" y="2414019"/>
                  <a:pt x="10527410" y="2459141"/>
                  <a:pt x="10617388" y="2504262"/>
                </a:cubicBezTo>
                <a:cubicBezTo>
                  <a:pt x="10662377" y="2526823"/>
                  <a:pt x="10707366" y="2571945"/>
                  <a:pt x="10752355" y="2594506"/>
                </a:cubicBezTo>
                <a:cubicBezTo>
                  <a:pt x="10774850" y="2594506"/>
                  <a:pt x="10774850" y="2571945"/>
                  <a:pt x="10774850" y="2571945"/>
                </a:cubicBezTo>
                <a:cubicBezTo>
                  <a:pt x="10729861" y="2549384"/>
                  <a:pt x="10707366" y="2549384"/>
                  <a:pt x="10684872" y="2526823"/>
                </a:cubicBezTo>
                <a:cubicBezTo>
                  <a:pt x="10684872" y="2504262"/>
                  <a:pt x="10639883" y="2481701"/>
                  <a:pt x="10617388" y="2481701"/>
                </a:cubicBezTo>
                <a:cubicBezTo>
                  <a:pt x="10594894" y="2459141"/>
                  <a:pt x="10549905" y="2459141"/>
                  <a:pt x="10549905" y="2436580"/>
                </a:cubicBezTo>
                <a:cubicBezTo>
                  <a:pt x="10549905" y="2436580"/>
                  <a:pt x="10572399" y="2459141"/>
                  <a:pt x="10594894" y="2459141"/>
                </a:cubicBezTo>
                <a:cubicBezTo>
                  <a:pt x="10617388" y="2436580"/>
                  <a:pt x="10527410" y="2414019"/>
                  <a:pt x="10572399" y="2414019"/>
                </a:cubicBezTo>
                <a:cubicBezTo>
                  <a:pt x="10572399" y="2414019"/>
                  <a:pt x="10527410" y="2391458"/>
                  <a:pt x="10504916" y="2368897"/>
                </a:cubicBezTo>
                <a:cubicBezTo>
                  <a:pt x="10504916" y="2368897"/>
                  <a:pt x="10482422" y="2368897"/>
                  <a:pt x="10459927" y="2346336"/>
                </a:cubicBezTo>
                <a:cubicBezTo>
                  <a:pt x="10459927" y="2346336"/>
                  <a:pt x="10392444" y="2301214"/>
                  <a:pt x="10369949" y="2278653"/>
                </a:cubicBezTo>
                <a:cubicBezTo>
                  <a:pt x="10414938" y="2301214"/>
                  <a:pt x="10437433" y="2323775"/>
                  <a:pt x="10482422" y="2346336"/>
                </a:cubicBezTo>
                <a:cubicBezTo>
                  <a:pt x="10549905" y="2346336"/>
                  <a:pt x="10572399" y="2368897"/>
                  <a:pt x="10617388" y="2391458"/>
                </a:cubicBezTo>
                <a:cubicBezTo>
                  <a:pt x="10909816" y="2571945"/>
                  <a:pt x="11247233" y="2707311"/>
                  <a:pt x="11562156" y="2865237"/>
                </a:cubicBezTo>
                <a:cubicBezTo>
                  <a:pt x="11742112" y="2955481"/>
                  <a:pt x="11899573" y="3045724"/>
                  <a:pt x="12079529" y="3135968"/>
                </a:cubicBezTo>
                <a:cubicBezTo>
                  <a:pt x="12079529" y="3135968"/>
                  <a:pt x="12079529" y="3135968"/>
                  <a:pt x="12126978" y="3135968"/>
                </a:cubicBezTo>
                <a:lnTo>
                  <a:pt x="12192000" y="3135968"/>
                </a:lnTo>
                <a:lnTo>
                  <a:pt x="12192000" y="3316455"/>
                </a:lnTo>
                <a:lnTo>
                  <a:pt x="12171264" y="3303060"/>
                </a:lnTo>
                <a:cubicBezTo>
                  <a:pt x="12147012" y="3292484"/>
                  <a:pt x="12113271" y="3288254"/>
                  <a:pt x="12079529" y="3271333"/>
                </a:cubicBezTo>
                <a:cubicBezTo>
                  <a:pt x="12090776" y="3282614"/>
                  <a:pt x="12107647" y="3293895"/>
                  <a:pt x="12127329" y="3305175"/>
                </a:cubicBezTo>
                <a:lnTo>
                  <a:pt x="12192000" y="3339016"/>
                </a:lnTo>
                <a:lnTo>
                  <a:pt x="12192000" y="5730474"/>
                </a:lnTo>
                <a:lnTo>
                  <a:pt x="12172319" y="5730474"/>
                </a:lnTo>
                <a:cubicBezTo>
                  <a:pt x="12169507" y="5730474"/>
                  <a:pt x="12169507" y="5730474"/>
                  <a:pt x="12169507" y="5730474"/>
                </a:cubicBezTo>
                <a:cubicBezTo>
                  <a:pt x="12169507" y="5730474"/>
                  <a:pt x="12169507" y="5743164"/>
                  <a:pt x="12178997" y="5749510"/>
                </a:cubicBezTo>
                <a:lnTo>
                  <a:pt x="12192000" y="5753034"/>
                </a:lnTo>
                <a:lnTo>
                  <a:pt x="12192000" y="6181692"/>
                </a:lnTo>
                <a:lnTo>
                  <a:pt x="12158259" y="6169002"/>
                </a:lnTo>
                <a:cubicBezTo>
                  <a:pt x="12124517" y="6160541"/>
                  <a:pt x="12090776" y="6164771"/>
                  <a:pt x="12057034" y="6181692"/>
                </a:cubicBezTo>
                <a:cubicBezTo>
                  <a:pt x="12079529" y="6181692"/>
                  <a:pt x="12102023" y="6181692"/>
                  <a:pt x="12102023" y="6204253"/>
                </a:cubicBezTo>
                <a:cubicBezTo>
                  <a:pt x="12124518" y="6204253"/>
                  <a:pt x="12147012" y="6226814"/>
                  <a:pt x="12169507" y="6249375"/>
                </a:cubicBezTo>
                <a:cubicBezTo>
                  <a:pt x="12169507" y="6249375"/>
                  <a:pt x="12182160" y="6249375"/>
                  <a:pt x="12188486" y="6258893"/>
                </a:cubicBezTo>
                <a:lnTo>
                  <a:pt x="12192000" y="6271932"/>
                </a:lnTo>
                <a:lnTo>
                  <a:pt x="12192000" y="7422542"/>
                </a:lnTo>
                <a:lnTo>
                  <a:pt x="11992362" y="7321018"/>
                </a:lnTo>
                <a:cubicBezTo>
                  <a:pt x="11927691" y="7287177"/>
                  <a:pt x="11865831" y="7253336"/>
                  <a:pt x="11809595" y="7219494"/>
                </a:cubicBezTo>
                <a:cubicBezTo>
                  <a:pt x="11629639" y="7106690"/>
                  <a:pt x="11427189" y="7016446"/>
                  <a:pt x="11247233" y="6903642"/>
                </a:cubicBezTo>
                <a:cubicBezTo>
                  <a:pt x="11247233" y="6903642"/>
                  <a:pt x="11241609" y="6903642"/>
                  <a:pt x="11233174" y="6900822"/>
                </a:cubicBezTo>
                <a:lnTo>
                  <a:pt x="11227258" y="6898072"/>
                </a:lnTo>
                <a:lnTo>
                  <a:pt x="11202244" y="6881081"/>
                </a:lnTo>
                <a:cubicBezTo>
                  <a:pt x="11207868" y="6886721"/>
                  <a:pt x="11213491" y="6890951"/>
                  <a:pt x="11218764" y="6894124"/>
                </a:cubicBezTo>
                <a:lnTo>
                  <a:pt x="11227258" y="6898072"/>
                </a:lnTo>
                <a:lnTo>
                  <a:pt x="11345998" y="6978727"/>
                </a:lnTo>
                <a:cubicBezTo>
                  <a:pt x="11482020" y="7072848"/>
                  <a:pt x="11595898" y="7157452"/>
                  <a:pt x="11697123" y="7242055"/>
                </a:cubicBezTo>
                <a:cubicBezTo>
                  <a:pt x="11697123" y="7264616"/>
                  <a:pt x="11719617" y="7264616"/>
                  <a:pt x="11719617" y="7264616"/>
                </a:cubicBezTo>
                <a:cubicBezTo>
                  <a:pt x="11764606" y="7309738"/>
                  <a:pt x="11764606" y="7309738"/>
                  <a:pt x="11719617" y="7332299"/>
                </a:cubicBezTo>
                <a:cubicBezTo>
                  <a:pt x="11674628" y="7287177"/>
                  <a:pt x="11652134" y="7287177"/>
                  <a:pt x="11652134" y="7264616"/>
                </a:cubicBezTo>
                <a:cubicBezTo>
                  <a:pt x="11539661" y="7219494"/>
                  <a:pt x="11449684" y="7196933"/>
                  <a:pt x="11337211" y="7151812"/>
                </a:cubicBezTo>
                <a:cubicBezTo>
                  <a:pt x="11449684" y="7196933"/>
                  <a:pt x="11539661" y="7264616"/>
                  <a:pt x="11629639" y="7309738"/>
                </a:cubicBezTo>
                <a:cubicBezTo>
                  <a:pt x="11719617" y="7332299"/>
                  <a:pt x="11764606" y="7377421"/>
                  <a:pt x="11787101" y="7399982"/>
                </a:cubicBezTo>
                <a:cubicBezTo>
                  <a:pt x="11719617" y="7354860"/>
                  <a:pt x="11539661" y="7309738"/>
                  <a:pt x="11539661" y="7287177"/>
                </a:cubicBezTo>
                <a:cubicBezTo>
                  <a:pt x="11517167" y="7264616"/>
                  <a:pt x="11494673" y="7264616"/>
                  <a:pt x="11472178" y="7242055"/>
                </a:cubicBezTo>
                <a:cubicBezTo>
                  <a:pt x="11404695" y="7287177"/>
                  <a:pt x="11629639" y="7332299"/>
                  <a:pt x="11629639" y="7377421"/>
                </a:cubicBezTo>
                <a:cubicBezTo>
                  <a:pt x="11629639" y="7399982"/>
                  <a:pt x="11742112" y="7422543"/>
                  <a:pt x="11764606" y="7445104"/>
                </a:cubicBezTo>
                <a:cubicBezTo>
                  <a:pt x="11607145" y="7399982"/>
                  <a:pt x="11584650" y="7354860"/>
                  <a:pt x="11449684" y="7332299"/>
                </a:cubicBezTo>
                <a:cubicBezTo>
                  <a:pt x="11404695" y="7332299"/>
                  <a:pt x="11382200" y="7309738"/>
                  <a:pt x="11314717" y="7287177"/>
                </a:cubicBezTo>
                <a:cubicBezTo>
                  <a:pt x="11292222" y="7309738"/>
                  <a:pt x="11382200" y="7332299"/>
                  <a:pt x="11292222" y="7332299"/>
                </a:cubicBezTo>
                <a:cubicBezTo>
                  <a:pt x="11269728" y="7332299"/>
                  <a:pt x="11359706" y="7354860"/>
                  <a:pt x="11382200" y="7377421"/>
                </a:cubicBezTo>
                <a:cubicBezTo>
                  <a:pt x="11472178" y="7422543"/>
                  <a:pt x="11562156" y="7467665"/>
                  <a:pt x="11652134" y="7512786"/>
                </a:cubicBezTo>
                <a:cubicBezTo>
                  <a:pt x="11697123" y="7557908"/>
                  <a:pt x="11697123" y="7557908"/>
                  <a:pt x="11584650" y="7535347"/>
                </a:cubicBezTo>
                <a:cubicBezTo>
                  <a:pt x="11562156" y="7535347"/>
                  <a:pt x="11629639" y="7580469"/>
                  <a:pt x="11562156" y="7557908"/>
                </a:cubicBezTo>
                <a:cubicBezTo>
                  <a:pt x="11472178" y="7557908"/>
                  <a:pt x="11449684" y="7512786"/>
                  <a:pt x="11404695" y="7490225"/>
                </a:cubicBezTo>
                <a:cubicBezTo>
                  <a:pt x="11449684" y="7512786"/>
                  <a:pt x="11494673" y="7535347"/>
                  <a:pt x="11539661" y="7512786"/>
                </a:cubicBezTo>
                <a:cubicBezTo>
                  <a:pt x="11494673" y="7490225"/>
                  <a:pt x="11404695" y="7445104"/>
                  <a:pt x="11314717" y="7399982"/>
                </a:cubicBezTo>
                <a:cubicBezTo>
                  <a:pt x="11269728" y="7377421"/>
                  <a:pt x="11247233" y="7377421"/>
                  <a:pt x="11224739" y="7377421"/>
                </a:cubicBezTo>
                <a:cubicBezTo>
                  <a:pt x="11224739" y="7399982"/>
                  <a:pt x="11067278" y="7399982"/>
                  <a:pt x="11157256" y="7445104"/>
                </a:cubicBezTo>
                <a:cubicBezTo>
                  <a:pt x="11269728" y="7490225"/>
                  <a:pt x="11359706" y="7535347"/>
                  <a:pt x="11404695" y="7580469"/>
                </a:cubicBezTo>
                <a:cubicBezTo>
                  <a:pt x="11494673" y="7603030"/>
                  <a:pt x="11562156" y="7625591"/>
                  <a:pt x="11629639" y="7648152"/>
                </a:cubicBezTo>
                <a:cubicBezTo>
                  <a:pt x="11629639" y="7670713"/>
                  <a:pt x="11674628" y="7693274"/>
                  <a:pt x="11629639" y="7670713"/>
                </a:cubicBezTo>
                <a:cubicBezTo>
                  <a:pt x="11584650" y="7670713"/>
                  <a:pt x="11562156" y="7648152"/>
                  <a:pt x="11539661" y="7648152"/>
                </a:cubicBezTo>
                <a:cubicBezTo>
                  <a:pt x="11539661" y="7670713"/>
                  <a:pt x="11607145" y="7693274"/>
                  <a:pt x="11607145" y="7715835"/>
                </a:cubicBezTo>
                <a:cubicBezTo>
                  <a:pt x="11629639" y="7715835"/>
                  <a:pt x="11652134" y="7715835"/>
                  <a:pt x="11674628" y="7738396"/>
                </a:cubicBezTo>
                <a:cubicBezTo>
                  <a:pt x="11719617" y="7760956"/>
                  <a:pt x="11742112" y="7783517"/>
                  <a:pt x="11764606" y="7806078"/>
                </a:cubicBezTo>
                <a:cubicBezTo>
                  <a:pt x="11697123" y="7783517"/>
                  <a:pt x="11652134" y="7760956"/>
                  <a:pt x="11607145" y="7738396"/>
                </a:cubicBezTo>
                <a:cubicBezTo>
                  <a:pt x="11562156" y="7715835"/>
                  <a:pt x="11562156" y="7715835"/>
                  <a:pt x="11562156" y="7693274"/>
                </a:cubicBezTo>
                <a:cubicBezTo>
                  <a:pt x="11427189" y="7625591"/>
                  <a:pt x="11247233" y="7535347"/>
                  <a:pt x="11044783" y="7445104"/>
                </a:cubicBezTo>
                <a:cubicBezTo>
                  <a:pt x="11044783" y="7467665"/>
                  <a:pt x="11134761" y="7512786"/>
                  <a:pt x="11157256" y="7535347"/>
                </a:cubicBezTo>
                <a:cubicBezTo>
                  <a:pt x="11269728" y="7580469"/>
                  <a:pt x="11247233" y="7603030"/>
                  <a:pt x="11382200" y="7670713"/>
                </a:cubicBezTo>
                <a:cubicBezTo>
                  <a:pt x="11404695" y="7670713"/>
                  <a:pt x="11449684" y="7670713"/>
                  <a:pt x="11472178" y="7693274"/>
                </a:cubicBezTo>
                <a:lnTo>
                  <a:pt x="11449684" y="7693274"/>
                </a:lnTo>
                <a:cubicBezTo>
                  <a:pt x="11449684" y="7715835"/>
                  <a:pt x="11494673" y="7738396"/>
                  <a:pt x="11517167" y="7760956"/>
                </a:cubicBezTo>
                <a:cubicBezTo>
                  <a:pt x="11562156" y="7783517"/>
                  <a:pt x="11629639" y="7806078"/>
                  <a:pt x="11629639" y="7828639"/>
                </a:cubicBezTo>
                <a:cubicBezTo>
                  <a:pt x="11697123" y="7851200"/>
                  <a:pt x="11719617" y="7873761"/>
                  <a:pt x="11787101" y="7896322"/>
                </a:cubicBezTo>
                <a:cubicBezTo>
                  <a:pt x="11809595" y="7918883"/>
                  <a:pt x="11809595" y="7918883"/>
                  <a:pt x="11809595" y="7918883"/>
                </a:cubicBezTo>
                <a:cubicBezTo>
                  <a:pt x="11832090" y="7941444"/>
                  <a:pt x="11899573" y="7964005"/>
                  <a:pt x="11877078" y="7986566"/>
                </a:cubicBezTo>
                <a:cubicBezTo>
                  <a:pt x="11922067" y="7986566"/>
                  <a:pt x="11944562" y="8009127"/>
                  <a:pt x="11967056" y="8031687"/>
                </a:cubicBezTo>
                <a:cubicBezTo>
                  <a:pt x="12017669" y="8048608"/>
                  <a:pt x="12055629" y="8065529"/>
                  <a:pt x="12071445" y="8082449"/>
                </a:cubicBezTo>
                <a:lnTo>
                  <a:pt x="12079528" y="8099368"/>
                </a:lnTo>
                <a:lnTo>
                  <a:pt x="12079525" y="8099368"/>
                </a:lnTo>
                <a:lnTo>
                  <a:pt x="12026807" y="8072932"/>
                </a:lnTo>
                <a:cubicBezTo>
                  <a:pt x="11986739" y="8052838"/>
                  <a:pt x="11978304" y="8048608"/>
                  <a:pt x="11944562" y="8031687"/>
                </a:cubicBezTo>
                <a:cubicBezTo>
                  <a:pt x="11944562" y="8009127"/>
                  <a:pt x="11944562" y="8009127"/>
                  <a:pt x="11922067" y="8009127"/>
                </a:cubicBezTo>
                <a:cubicBezTo>
                  <a:pt x="11922067" y="8009127"/>
                  <a:pt x="11899573" y="8009127"/>
                  <a:pt x="11899573" y="8009127"/>
                </a:cubicBezTo>
                <a:cubicBezTo>
                  <a:pt x="11899573" y="8009127"/>
                  <a:pt x="11899573" y="8031687"/>
                  <a:pt x="11899573" y="8031687"/>
                </a:cubicBezTo>
                <a:cubicBezTo>
                  <a:pt x="11944562" y="8054248"/>
                  <a:pt x="11989551" y="8054248"/>
                  <a:pt x="11989551" y="8076809"/>
                </a:cubicBezTo>
                <a:cubicBezTo>
                  <a:pt x="11922067" y="8054248"/>
                  <a:pt x="11899573" y="8054248"/>
                  <a:pt x="11877078" y="8031687"/>
                </a:cubicBezTo>
                <a:cubicBezTo>
                  <a:pt x="11809595" y="7986566"/>
                  <a:pt x="11764606" y="7964005"/>
                  <a:pt x="11697123" y="7918883"/>
                </a:cubicBezTo>
                <a:cubicBezTo>
                  <a:pt x="11697123" y="7918883"/>
                  <a:pt x="11674628" y="7918883"/>
                  <a:pt x="11674628" y="7918883"/>
                </a:cubicBezTo>
                <a:cubicBezTo>
                  <a:pt x="11652134" y="7896322"/>
                  <a:pt x="11629639" y="7873761"/>
                  <a:pt x="11584650" y="7873761"/>
                </a:cubicBezTo>
                <a:cubicBezTo>
                  <a:pt x="11517167" y="7851200"/>
                  <a:pt x="11449684" y="7851200"/>
                  <a:pt x="11382200" y="7828639"/>
                </a:cubicBezTo>
                <a:cubicBezTo>
                  <a:pt x="11359706" y="7806078"/>
                  <a:pt x="11404695" y="7806078"/>
                  <a:pt x="11404695" y="7806078"/>
                </a:cubicBezTo>
                <a:cubicBezTo>
                  <a:pt x="11449684" y="7760956"/>
                  <a:pt x="11359706" y="7693274"/>
                  <a:pt x="11202244" y="7648152"/>
                </a:cubicBezTo>
                <a:cubicBezTo>
                  <a:pt x="11044783" y="7580469"/>
                  <a:pt x="11044783" y="7557908"/>
                  <a:pt x="11022289" y="7535347"/>
                </a:cubicBezTo>
                <a:cubicBezTo>
                  <a:pt x="10954805" y="7490225"/>
                  <a:pt x="10909816" y="7467665"/>
                  <a:pt x="10864827" y="7445104"/>
                </a:cubicBezTo>
                <a:cubicBezTo>
                  <a:pt x="10864827" y="7422543"/>
                  <a:pt x="10842333" y="7422543"/>
                  <a:pt x="10842333" y="7422543"/>
                </a:cubicBezTo>
                <a:cubicBezTo>
                  <a:pt x="10774850" y="7399982"/>
                  <a:pt x="10707366" y="7354860"/>
                  <a:pt x="10684872" y="7332299"/>
                </a:cubicBezTo>
                <a:cubicBezTo>
                  <a:pt x="10639883" y="7332299"/>
                  <a:pt x="10617388" y="7309738"/>
                  <a:pt x="10594894" y="7287177"/>
                </a:cubicBezTo>
                <a:cubicBezTo>
                  <a:pt x="10347455" y="7151812"/>
                  <a:pt x="10100016" y="7039007"/>
                  <a:pt x="9852576" y="6903642"/>
                </a:cubicBezTo>
                <a:cubicBezTo>
                  <a:pt x="9807588" y="6881081"/>
                  <a:pt x="9762599" y="6835959"/>
                  <a:pt x="9672621" y="6835959"/>
                </a:cubicBezTo>
                <a:cubicBezTo>
                  <a:pt x="9650126" y="6858520"/>
                  <a:pt x="9695115" y="6881081"/>
                  <a:pt x="9650126" y="6881081"/>
                </a:cubicBezTo>
                <a:cubicBezTo>
                  <a:pt x="9695115" y="6903642"/>
                  <a:pt x="9740104" y="6926202"/>
                  <a:pt x="9762599" y="6948763"/>
                </a:cubicBezTo>
                <a:cubicBezTo>
                  <a:pt x="9717610" y="6926202"/>
                  <a:pt x="9672621" y="6903642"/>
                  <a:pt x="9650126" y="6903642"/>
                </a:cubicBezTo>
                <a:cubicBezTo>
                  <a:pt x="9627632" y="6903642"/>
                  <a:pt x="9605137" y="6903642"/>
                  <a:pt x="9605137" y="6903642"/>
                </a:cubicBezTo>
                <a:lnTo>
                  <a:pt x="9582643" y="6903642"/>
                </a:lnTo>
                <a:cubicBezTo>
                  <a:pt x="9560148" y="6926202"/>
                  <a:pt x="9762599" y="6971324"/>
                  <a:pt x="9560148" y="6926202"/>
                </a:cubicBezTo>
                <a:cubicBezTo>
                  <a:pt x="9560148" y="6926202"/>
                  <a:pt x="9447676" y="6926202"/>
                  <a:pt x="9447676" y="6948763"/>
                </a:cubicBezTo>
                <a:cubicBezTo>
                  <a:pt x="9515159" y="6971324"/>
                  <a:pt x="9492665" y="6993885"/>
                  <a:pt x="9582643" y="7016446"/>
                </a:cubicBezTo>
                <a:cubicBezTo>
                  <a:pt x="9695115" y="7061568"/>
                  <a:pt x="9627632" y="7016446"/>
                  <a:pt x="9672621" y="7016446"/>
                </a:cubicBezTo>
                <a:cubicBezTo>
                  <a:pt x="9762599" y="7039007"/>
                  <a:pt x="9762599" y="7084129"/>
                  <a:pt x="9807588" y="7106690"/>
                </a:cubicBezTo>
                <a:cubicBezTo>
                  <a:pt x="9650126" y="7061568"/>
                  <a:pt x="9627632" y="7061568"/>
                  <a:pt x="9582643" y="7084129"/>
                </a:cubicBezTo>
                <a:cubicBezTo>
                  <a:pt x="9627632" y="7106690"/>
                  <a:pt x="9740104" y="7151812"/>
                  <a:pt x="9717610" y="7174373"/>
                </a:cubicBezTo>
                <a:cubicBezTo>
                  <a:pt x="9650126" y="7129251"/>
                  <a:pt x="9560148" y="7106690"/>
                  <a:pt x="9537654" y="7084129"/>
                </a:cubicBezTo>
                <a:cubicBezTo>
                  <a:pt x="9402687" y="6993885"/>
                  <a:pt x="9200237" y="6926202"/>
                  <a:pt x="9087765" y="6858520"/>
                </a:cubicBezTo>
                <a:cubicBezTo>
                  <a:pt x="9020281" y="6835959"/>
                  <a:pt x="8952798" y="6790837"/>
                  <a:pt x="8907809" y="6768276"/>
                </a:cubicBezTo>
                <a:cubicBezTo>
                  <a:pt x="8705359" y="6678032"/>
                  <a:pt x="8480414" y="6565228"/>
                  <a:pt x="8255470" y="6474984"/>
                </a:cubicBezTo>
                <a:cubicBezTo>
                  <a:pt x="8120503" y="6407301"/>
                  <a:pt x="7963041" y="6339619"/>
                  <a:pt x="7828075" y="6294497"/>
                </a:cubicBezTo>
                <a:cubicBezTo>
                  <a:pt x="7693108" y="6204253"/>
                  <a:pt x="7535647" y="6136570"/>
                  <a:pt x="7400680" y="6068888"/>
                </a:cubicBezTo>
                <a:lnTo>
                  <a:pt x="7386609" y="6063622"/>
                </a:lnTo>
                <a:lnTo>
                  <a:pt x="7381700" y="6059370"/>
                </a:lnTo>
                <a:cubicBezTo>
                  <a:pt x="7379591" y="6056197"/>
                  <a:pt x="7378185" y="6051967"/>
                  <a:pt x="7378185" y="6046327"/>
                </a:cubicBezTo>
                <a:cubicBezTo>
                  <a:pt x="7378185" y="6051967"/>
                  <a:pt x="7378185" y="6056197"/>
                  <a:pt x="7378537" y="6059370"/>
                </a:cubicBezTo>
                <a:lnTo>
                  <a:pt x="7379061" y="6060797"/>
                </a:lnTo>
                <a:lnTo>
                  <a:pt x="7212289" y="5998385"/>
                </a:lnTo>
                <a:cubicBezTo>
                  <a:pt x="7153241" y="5973004"/>
                  <a:pt x="7097005" y="5944802"/>
                  <a:pt x="7040768" y="5910961"/>
                </a:cubicBezTo>
                <a:cubicBezTo>
                  <a:pt x="7018274" y="5910961"/>
                  <a:pt x="6995779" y="5910961"/>
                  <a:pt x="6973285" y="5910961"/>
                </a:cubicBezTo>
                <a:cubicBezTo>
                  <a:pt x="6995779" y="5933522"/>
                  <a:pt x="7040768" y="5933522"/>
                  <a:pt x="7063263" y="5956083"/>
                </a:cubicBezTo>
                <a:cubicBezTo>
                  <a:pt x="7198230" y="6023766"/>
                  <a:pt x="7355691" y="6091448"/>
                  <a:pt x="7490658" y="6159131"/>
                </a:cubicBezTo>
                <a:cubicBezTo>
                  <a:pt x="7535647" y="6181692"/>
                  <a:pt x="7603130" y="6226814"/>
                  <a:pt x="7670613" y="6249375"/>
                </a:cubicBezTo>
                <a:cubicBezTo>
                  <a:pt x="7783086" y="6294497"/>
                  <a:pt x="7828075" y="6362179"/>
                  <a:pt x="7963041" y="6407301"/>
                </a:cubicBezTo>
                <a:cubicBezTo>
                  <a:pt x="8053019" y="6452423"/>
                  <a:pt x="8075514" y="6497545"/>
                  <a:pt x="8210481" y="6520106"/>
                </a:cubicBezTo>
                <a:cubicBezTo>
                  <a:pt x="8232975" y="6542667"/>
                  <a:pt x="8255470" y="6565228"/>
                  <a:pt x="8300458" y="6565228"/>
                </a:cubicBezTo>
                <a:cubicBezTo>
                  <a:pt x="8390436" y="6632911"/>
                  <a:pt x="8547897" y="6678032"/>
                  <a:pt x="8637875" y="6745715"/>
                </a:cubicBezTo>
                <a:cubicBezTo>
                  <a:pt x="8660370" y="6790837"/>
                  <a:pt x="8592886" y="6790837"/>
                  <a:pt x="8637875" y="6813398"/>
                </a:cubicBezTo>
                <a:cubicBezTo>
                  <a:pt x="8637875" y="6813398"/>
                  <a:pt x="8637875" y="6813398"/>
                  <a:pt x="8660370" y="6835959"/>
                </a:cubicBezTo>
                <a:cubicBezTo>
                  <a:pt x="8727853" y="6835959"/>
                  <a:pt x="8795337" y="6813398"/>
                  <a:pt x="8885314" y="6881081"/>
                </a:cubicBezTo>
                <a:cubicBezTo>
                  <a:pt x="8907809" y="6881081"/>
                  <a:pt x="8952798" y="6903642"/>
                  <a:pt x="8975292" y="6926202"/>
                </a:cubicBezTo>
                <a:cubicBezTo>
                  <a:pt x="9065270" y="6948763"/>
                  <a:pt x="9132754" y="7016446"/>
                  <a:pt x="9222731" y="6971324"/>
                </a:cubicBezTo>
                <a:cubicBezTo>
                  <a:pt x="9222731" y="6971324"/>
                  <a:pt x="9312709" y="6971324"/>
                  <a:pt x="9357698" y="6993885"/>
                </a:cubicBezTo>
                <a:cubicBezTo>
                  <a:pt x="9425181" y="7027727"/>
                  <a:pt x="9353480" y="7023497"/>
                  <a:pt x="9322902" y="7019266"/>
                </a:cubicBezTo>
                <a:lnTo>
                  <a:pt x="9315159" y="7017905"/>
                </a:lnTo>
                <a:lnTo>
                  <a:pt x="9312709" y="7016446"/>
                </a:lnTo>
                <a:cubicBezTo>
                  <a:pt x="9309897" y="7016446"/>
                  <a:pt x="9309897" y="7016799"/>
                  <a:pt x="9311874" y="7017327"/>
                </a:cubicBezTo>
                <a:lnTo>
                  <a:pt x="9315159" y="7017905"/>
                </a:lnTo>
                <a:lnTo>
                  <a:pt x="9335203" y="7029842"/>
                </a:lnTo>
                <a:cubicBezTo>
                  <a:pt x="9347857" y="7040417"/>
                  <a:pt x="9335204" y="7044647"/>
                  <a:pt x="9335204" y="7061568"/>
                </a:cubicBezTo>
                <a:cubicBezTo>
                  <a:pt x="9312709" y="7061568"/>
                  <a:pt x="9290215" y="7061568"/>
                  <a:pt x="9290215" y="7039007"/>
                </a:cubicBezTo>
                <a:cubicBezTo>
                  <a:pt x="9267720" y="7039007"/>
                  <a:pt x="9290215" y="7039007"/>
                  <a:pt x="9290215" y="7016446"/>
                </a:cubicBezTo>
                <a:cubicBezTo>
                  <a:pt x="9155248" y="7016446"/>
                  <a:pt x="9042776" y="7016446"/>
                  <a:pt x="8930303" y="6948763"/>
                </a:cubicBezTo>
                <a:cubicBezTo>
                  <a:pt x="8907809" y="6926202"/>
                  <a:pt x="8840325" y="6903642"/>
                  <a:pt x="8795337" y="6903642"/>
                </a:cubicBezTo>
                <a:cubicBezTo>
                  <a:pt x="8975292" y="6993885"/>
                  <a:pt x="9177742" y="7084129"/>
                  <a:pt x="9357698" y="7196933"/>
                </a:cubicBezTo>
                <a:cubicBezTo>
                  <a:pt x="9380193" y="7196933"/>
                  <a:pt x="9380193" y="7219494"/>
                  <a:pt x="9425182" y="7219494"/>
                </a:cubicBezTo>
                <a:cubicBezTo>
                  <a:pt x="9470171" y="7219494"/>
                  <a:pt x="9470171" y="7196933"/>
                  <a:pt x="9425182" y="7174373"/>
                </a:cubicBezTo>
                <a:cubicBezTo>
                  <a:pt x="9380193" y="7151812"/>
                  <a:pt x="9357698" y="7151812"/>
                  <a:pt x="9335204" y="7129251"/>
                </a:cubicBezTo>
                <a:cubicBezTo>
                  <a:pt x="9312709" y="7106690"/>
                  <a:pt x="9290215" y="7084129"/>
                  <a:pt x="9312709" y="7084129"/>
                </a:cubicBezTo>
                <a:cubicBezTo>
                  <a:pt x="9357698" y="7106690"/>
                  <a:pt x="9380193" y="7106690"/>
                  <a:pt x="9380193" y="7129251"/>
                </a:cubicBezTo>
                <a:cubicBezTo>
                  <a:pt x="9402687" y="7151812"/>
                  <a:pt x="9447676" y="7151812"/>
                  <a:pt x="9470171" y="7174373"/>
                </a:cubicBezTo>
                <a:cubicBezTo>
                  <a:pt x="9515159" y="7196933"/>
                  <a:pt x="9560148" y="7219494"/>
                  <a:pt x="9605137" y="7242055"/>
                </a:cubicBezTo>
                <a:cubicBezTo>
                  <a:pt x="9695115" y="7242055"/>
                  <a:pt x="9740104" y="7287177"/>
                  <a:pt x="9717610" y="7287177"/>
                </a:cubicBezTo>
                <a:cubicBezTo>
                  <a:pt x="9650126" y="7309738"/>
                  <a:pt x="9785093" y="7354860"/>
                  <a:pt x="9875071" y="7399982"/>
                </a:cubicBezTo>
                <a:cubicBezTo>
                  <a:pt x="9920060" y="7422543"/>
                  <a:pt x="9987543" y="7422543"/>
                  <a:pt x="9987543" y="7445104"/>
                </a:cubicBezTo>
                <a:cubicBezTo>
                  <a:pt x="10032532" y="7467665"/>
                  <a:pt x="10100016" y="7512786"/>
                  <a:pt x="10122510" y="7535347"/>
                </a:cubicBezTo>
                <a:cubicBezTo>
                  <a:pt x="10167499" y="7557908"/>
                  <a:pt x="10279971" y="7625591"/>
                  <a:pt x="10234982" y="7648152"/>
                </a:cubicBezTo>
                <a:cubicBezTo>
                  <a:pt x="10324960" y="7670713"/>
                  <a:pt x="10414938" y="7715835"/>
                  <a:pt x="10482422" y="7760956"/>
                </a:cubicBezTo>
                <a:cubicBezTo>
                  <a:pt x="10549905" y="7783517"/>
                  <a:pt x="10617388" y="7828639"/>
                  <a:pt x="10639883" y="7851200"/>
                </a:cubicBezTo>
                <a:cubicBezTo>
                  <a:pt x="10527410" y="7828639"/>
                  <a:pt x="10504916" y="7783517"/>
                  <a:pt x="10459927" y="7760956"/>
                </a:cubicBezTo>
                <a:cubicBezTo>
                  <a:pt x="10324960" y="7693274"/>
                  <a:pt x="10167499" y="7625591"/>
                  <a:pt x="10077521" y="7580469"/>
                </a:cubicBezTo>
                <a:cubicBezTo>
                  <a:pt x="10055027" y="7557908"/>
                  <a:pt x="10032532" y="7557908"/>
                  <a:pt x="10010038" y="7535347"/>
                </a:cubicBezTo>
                <a:cubicBezTo>
                  <a:pt x="9987543" y="7535347"/>
                  <a:pt x="9942554" y="7512786"/>
                  <a:pt x="9920060" y="7512786"/>
                </a:cubicBezTo>
                <a:cubicBezTo>
                  <a:pt x="9987543" y="7512786"/>
                  <a:pt x="10010038" y="7535347"/>
                  <a:pt x="10032532" y="7535347"/>
                </a:cubicBezTo>
                <a:cubicBezTo>
                  <a:pt x="10077521" y="7557908"/>
                  <a:pt x="10122510" y="7557908"/>
                  <a:pt x="10077521" y="7535347"/>
                </a:cubicBezTo>
                <a:cubicBezTo>
                  <a:pt x="10032532" y="7512786"/>
                  <a:pt x="9987543" y="7490225"/>
                  <a:pt x="9965049" y="7467665"/>
                </a:cubicBezTo>
                <a:cubicBezTo>
                  <a:pt x="9942554" y="7467665"/>
                  <a:pt x="9942554" y="7467665"/>
                  <a:pt x="9942554" y="7467665"/>
                </a:cubicBezTo>
                <a:cubicBezTo>
                  <a:pt x="9807588" y="7422543"/>
                  <a:pt x="9650126" y="7399982"/>
                  <a:pt x="9582643" y="7332299"/>
                </a:cubicBezTo>
                <a:cubicBezTo>
                  <a:pt x="9492665" y="7309738"/>
                  <a:pt x="9470171" y="7287177"/>
                  <a:pt x="9470171" y="7264616"/>
                </a:cubicBezTo>
                <a:cubicBezTo>
                  <a:pt x="9402687" y="7242055"/>
                  <a:pt x="9357698" y="7219494"/>
                  <a:pt x="9290215" y="7196933"/>
                </a:cubicBezTo>
                <a:cubicBezTo>
                  <a:pt x="9222731" y="7129251"/>
                  <a:pt x="9042776" y="7061568"/>
                  <a:pt x="8930303" y="6993885"/>
                </a:cubicBezTo>
                <a:cubicBezTo>
                  <a:pt x="8930303" y="6993885"/>
                  <a:pt x="8907809" y="6993885"/>
                  <a:pt x="8907809" y="6993885"/>
                </a:cubicBezTo>
                <a:cubicBezTo>
                  <a:pt x="8930303" y="7016446"/>
                  <a:pt x="8952798" y="7016446"/>
                  <a:pt x="8997787" y="7039007"/>
                </a:cubicBezTo>
                <a:cubicBezTo>
                  <a:pt x="8997787" y="7039007"/>
                  <a:pt x="8975292" y="7039007"/>
                  <a:pt x="8975292" y="7039007"/>
                </a:cubicBezTo>
                <a:cubicBezTo>
                  <a:pt x="8952798" y="7016446"/>
                  <a:pt x="8907809" y="7016446"/>
                  <a:pt x="8862820" y="6993885"/>
                </a:cubicBezTo>
                <a:cubicBezTo>
                  <a:pt x="8795337" y="6948763"/>
                  <a:pt x="8750348" y="6926202"/>
                  <a:pt x="8682864" y="6903642"/>
                </a:cubicBezTo>
                <a:cubicBezTo>
                  <a:pt x="8615381" y="6881081"/>
                  <a:pt x="8592886" y="6858520"/>
                  <a:pt x="8570392" y="6835959"/>
                </a:cubicBezTo>
                <a:cubicBezTo>
                  <a:pt x="8660370" y="6858520"/>
                  <a:pt x="8682864" y="6881081"/>
                  <a:pt x="8705359" y="6903642"/>
                </a:cubicBezTo>
                <a:cubicBezTo>
                  <a:pt x="8750348" y="6903642"/>
                  <a:pt x="8772842" y="6926202"/>
                  <a:pt x="8840325" y="6948763"/>
                </a:cubicBezTo>
                <a:cubicBezTo>
                  <a:pt x="8750348" y="6903642"/>
                  <a:pt x="8660370" y="6858520"/>
                  <a:pt x="8547897" y="6813398"/>
                </a:cubicBezTo>
                <a:cubicBezTo>
                  <a:pt x="8480414" y="6768276"/>
                  <a:pt x="8457920" y="6745715"/>
                  <a:pt x="8345447" y="6723154"/>
                </a:cubicBezTo>
                <a:cubicBezTo>
                  <a:pt x="8210481" y="6700593"/>
                  <a:pt x="8165492" y="6655471"/>
                  <a:pt x="8120503" y="6632911"/>
                </a:cubicBezTo>
                <a:cubicBezTo>
                  <a:pt x="8053019" y="6587789"/>
                  <a:pt x="7985536" y="6542667"/>
                  <a:pt x="7850569" y="6520106"/>
                </a:cubicBezTo>
                <a:lnTo>
                  <a:pt x="7862076" y="6534013"/>
                </a:lnTo>
                <a:lnTo>
                  <a:pt x="7827020" y="6514466"/>
                </a:lnTo>
                <a:cubicBezTo>
                  <a:pt x="7731067" y="6463703"/>
                  <a:pt x="7625624" y="6412941"/>
                  <a:pt x="7558141" y="6362179"/>
                </a:cubicBezTo>
                <a:cubicBezTo>
                  <a:pt x="7513152" y="6339619"/>
                  <a:pt x="7468163" y="6339619"/>
                  <a:pt x="7423174" y="6317058"/>
                </a:cubicBezTo>
                <a:cubicBezTo>
                  <a:pt x="7153241" y="6204253"/>
                  <a:pt x="6928296" y="6091448"/>
                  <a:pt x="6725846" y="6001205"/>
                </a:cubicBezTo>
                <a:cubicBezTo>
                  <a:pt x="6523396" y="5910961"/>
                  <a:pt x="6320945" y="5798156"/>
                  <a:pt x="6096001" y="5707913"/>
                </a:cubicBezTo>
                <a:cubicBezTo>
                  <a:pt x="6118495" y="5753035"/>
                  <a:pt x="6275956" y="5798156"/>
                  <a:pt x="6343440" y="5843278"/>
                </a:cubicBezTo>
                <a:cubicBezTo>
                  <a:pt x="6500901" y="5910961"/>
                  <a:pt x="6703351" y="6001205"/>
                  <a:pt x="6860813" y="6091448"/>
                </a:cubicBezTo>
                <a:cubicBezTo>
                  <a:pt x="6905802" y="6091448"/>
                  <a:pt x="6973285" y="6114009"/>
                  <a:pt x="6928296" y="6136570"/>
                </a:cubicBezTo>
                <a:cubicBezTo>
                  <a:pt x="6928296" y="6136570"/>
                  <a:pt x="6905802" y="6136570"/>
                  <a:pt x="6883307" y="6136570"/>
                </a:cubicBezTo>
                <a:cubicBezTo>
                  <a:pt x="6815824" y="6114009"/>
                  <a:pt x="6770835" y="6091448"/>
                  <a:pt x="6748340" y="6091448"/>
                </a:cubicBezTo>
                <a:cubicBezTo>
                  <a:pt x="6731469" y="6057607"/>
                  <a:pt x="6689292" y="6036456"/>
                  <a:pt x="6640789" y="6027996"/>
                </a:cubicBezTo>
                <a:lnTo>
                  <a:pt x="6613373" y="6025672"/>
                </a:lnTo>
                <a:lnTo>
                  <a:pt x="6613373" y="6023766"/>
                </a:lnTo>
                <a:cubicBezTo>
                  <a:pt x="6613373" y="6023766"/>
                  <a:pt x="6590879" y="6023766"/>
                  <a:pt x="6590879" y="6023766"/>
                </a:cubicBezTo>
                <a:lnTo>
                  <a:pt x="6613373" y="6025672"/>
                </a:lnTo>
                <a:lnTo>
                  <a:pt x="6613373" y="6036809"/>
                </a:lnTo>
                <a:cubicBezTo>
                  <a:pt x="6613373" y="6046327"/>
                  <a:pt x="6613373" y="6046327"/>
                  <a:pt x="6613373" y="6046327"/>
                </a:cubicBezTo>
                <a:cubicBezTo>
                  <a:pt x="6500901" y="6001205"/>
                  <a:pt x="6410923" y="5933522"/>
                  <a:pt x="6298451" y="5888400"/>
                </a:cubicBezTo>
                <a:cubicBezTo>
                  <a:pt x="6275956" y="5888400"/>
                  <a:pt x="6253462" y="5865839"/>
                  <a:pt x="6230968" y="5865839"/>
                </a:cubicBezTo>
                <a:cubicBezTo>
                  <a:pt x="6230968" y="5865839"/>
                  <a:pt x="6208473" y="5865839"/>
                  <a:pt x="6185979" y="5865839"/>
                </a:cubicBezTo>
                <a:cubicBezTo>
                  <a:pt x="6208473" y="5865839"/>
                  <a:pt x="6230968" y="5888400"/>
                  <a:pt x="6208473" y="5888400"/>
                </a:cubicBezTo>
                <a:cubicBezTo>
                  <a:pt x="6185979" y="5888400"/>
                  <a:pt x="6163484" y="5865839"/>
                  <a:pt x="6140990" y="5865839"/>
                </a:cubicBezTo>
                <a:cubicBezTo>
                  <a:pt x="6118495" y="5843278"/>
                  <a:pt x="6051012" y="5820717"/>
                  <a:pt x="5961034" y="5798156"/>
                </a:cubicBezTo>
                <a:cubicBezTo>
                  <a:pt x="5938539" y="5798156"/>
                  <a:pt x="5916046" y="5775596"/>
                  <a:pt x="5893551" y="5775596"/>
                </a:cubicBezTo>
                <a:cubicBezTo>
                  <a:pt x="5871056" y="5775596"/>
                  <a:pt x="5848562" y="5775596"/>
                  <a:pt x="5848562" y="5775596"/>
                </a:cubicBezTo>
                <a:cubicBezTo>
                  <a:pt x="5893551" y="5798156"/>
                  <a:pt x="5961034" y="5820717"/>
                  <a:pt x="6028517" y="5865839"/>
                </a:cubicBezTo>
                <a:cubicBezTo>
                  <a:pt x="6028517" y="5843278"/>
                  <a:pt x="6028517" y="5843278"/>
                  <a:pt x="6073506" y="5843278"/>
                </a:cubicBezTo>
                <a:cubicBezTo>
                  <a:pt x="6118495" y="5865839"/>
                  <a:pt x="6118495" y="5888400"/>
                  <a:pt x="6118495" y="5888400"/>
                </a:cubicBezTo>
                <a:cubicBezTo>
                  <a:pt x="6140990" y="5910961"/>
                  <a:pt x="6185979" y="5910961"/>
                  <a:pt x="6230968" y="5933522"/>
                </a:cubicBezTo>
                <a:cubicBezTo>
                  <a:pt x="6320945" y="5956083"/>
                  <a:pt x="6343440" y="6001205"/>
                  <a:pt x="6478407" y="6046327"/>
                </a:cubicBezTo>
                <a:cubicBezTo>
                  <a:pt x="6433418" y="6023766"/>
                  <a:pt x="6410923" y="6001205"/>
                  <a:pt x="6365934" y="5978644"/>
                </a:cubicBezTo>
                <a:cubicBezTo>
                  <a:pt x="6320945" y="5956083"/>
                  <a:pt x="6253462" y="5933522"/>
                  <a:pt x="6208473" y="5910961"/>
                </a:cubicBezTo>
                <a:cubicBezTo>
                  <a:pt x="6320945" y="5933522"/>
                  <a:pt x="6365934" y="5956083"/>
                  <a:pt x="6388429" y="5978644"/>
                </a:cubicBezTo>
                <a:cubicBezTo>
                  <a:pt x="6523396" y="6046327"/>
                  <a:pt x="6658362" y="6114009"/>
                  <a:pt x="6770835" y="6159131"/>
                </a:cubicBezTo>
                <a:cubicBezTo>
                  <a:pt x="6838318" y="6204253"/>
                  <a:pt x="6973285" y="6249375"/>
                  <a:pt x="6995779" y="6271936"/>
                </a:cubicBezTo>
                <a:cubicBezTo>
                  <a:pt x="7153241" y="6317058"/>
                  <a:pt x="7198230" y="6339619"/>
                  <a:pt x="7243219" y="6384740"/>
                </a:cubicBezTo>
                <a:cubicBezTo>
                  <a:pt x="7265713" y="6407301"/>
                  <a:pt x="7288207" y="6407301"/>
                  <a:pt x="7333196" y="6429862"/>
                </a:cubicBezTo>
                <a:cubicBezTo>
                  <a:pt x="7378185" y="6452423"/>
                  <a:pt x="7423174" y="6474984"/>
                  <a:pt x="7400680" y="6474984"/>
                </a:cubicBezTo>
                <a:cubicBezTo>
                  <a:pt x="7400680" y="6497545"/>
                  <a:pt x="7310702" y="6474984"/>
                  <a:pt x="7288207" y="6474984"/>
                </a:cubicBezTo>
                <a:cubicBezTo>
                  <a:pt x="7265713" y="6474984"/>
                  <a:pt x="7355691" y="6497545"/>
                  <a:pt x="7310702" y="6520106"/>
                </a:cubicBezTo>
                <a:cubicBezTo>
                  <a:pt x="7310702" y="6520106"/>
                  <a:pt x="7333196" y="6520106"/>
                  <a:pt x="7355691" y="6542667"/>
                </a:cubicBezTo>
                <a:cubicBezTo>
                  <a:pt x="7400680" y="6542667"/>
                  <a:pt x="7423174" y="6565228"/>
                  <a:pt x="7423174" y="6565228"/>
                </a:cubicBezTo>
                <a:cubicBezTo>
                  <a:pt x="7445669" y="6587789"/>
                  <a:pt x="7445669" y="6587789"/>
                  <a:pt x="7445669" y="6587789"/>
                </a:cubicBezTo>
                <a:cubicBezTo>
                  <a:pt x="7490658" y="6610350"/>
                  <a:pt x="7513152" y="6610350"/>
                  <a:pt x="7535647" y="6632911"/>
                </a:cubicBezTo>
                <a:cubicBezTo>
                  <a:pt x="7625624" y="6655471"/>
                  <a:pt x="7715602" y="6700593"/>
                  <a:pt x="7738097" y="6745715"/>
                </a:cubicBezTo>
                <a:cubicBezTo>
                  <a:pt x="7760591" y="6745715"/>
                  <a:pt x="7783086" y="6768276"/>
                  <a:pt x="7805580" y="6790837"/>
                </a:cubicBezTo>
                <a:cubicBezTo>
                  <a:pt x="7738097" y="6790837"/>
                  <a:pt x="7693108" y="6768276"/>
                  <a:pt x="7670613" y="6745715"/>
                </a:cubicBezTo>
                <a:cubicBezTo>
                  <a:pt x="7648119" y="6745715"/>
                  <a:pt x="7625624" y="6745715"/>
                  <a:pt x="7580636" y="6723154"/>
                </a:cubicBezTo>
                <a:cubicBezTo>
                  <a:pt x="7535647" y="6745715"/>
                  <a:pt x="7535647" y="6745715"/>
                  <a:pt x="7558141" y="6768276"/>
                </a:cubicBezTo>
                <a:cubicBezTo>
                  <a:pt x="7603130" y="6790837"/>
                  <a:pt x="7648119" y="6813398"/>
                  <a:pt x="7693108" y="6835959"/>
                </a:cubicBezTo>
                <a:cubicBezTo>
                  <a:pt x="7693108" y="6835959"/>
                  <a:pt x="7670613" y="6835959"/>
                  <a:pt x="7670613" y="6835959"/>
                </a:cubicBezTo>
                <a:cubicBezTo>
                  <a:pt x="7625624" y="6813398"/>
                  <a:pt x="7580636" y="6790837"/>
                  <a:pt x="7535647" y="6768276"/>
                </a:cubicBezTo>
                <a:cubicBezTo>
                  <a:pt x="7535647" y="6768276"/>
                  <a:pt x="7513152" y="6745715"/>
                  <a:pt x="7513152" y="6745715"/>
                </a:cubicBezTo>
                <a:cubicBezTo>
                  <a:pt x="7445669" y="6745715"/>
                  <a:pt x="7423174" y="6723154"/>
                  <a:pt x="7423174" y="6700593"/>
                </a:cubicBezTo>
                <a:cubicBezTo>
                  <a:pt x="7423174" y="6700593"/>
                  <a:pt x="7468163" y="6723154"/>
                  <a:pt x="7490658" y="6723154"/>
                </a:cubicBezTo>
                <a:cubicBezTo>
                  <a:pt x="7468163" y="6700593"/>
                  <a:pt x="7445669" y="6700593"/>
                  <a:pt x="7445669" y="6678032"/>
                </a:cubicBezTo>
                <a:cubicBezTo>
                  <a:pt x="7423174" y="6678032"/>
                  <a:pt x="7378185" y="6678032"/>
                  <a:pt x="7355691" y="6678032"/>
                </a:cubicBezTo>
                <a:cubicBezTo>
                  <a:pt x="7310702" y="6678032"/>
                  <a:pt x="7265713" y="6655471"/>
                  <a:pt x="7265713" y="6678032"/>
                </a:cubicBezTo>
                <a:cubicBezTo>
                  <a:pt x="7265713" y="6700593"/>
                  <a:pt x="7333196" y="6700593"/>
                  <a:pt x="7378185" y="6723154"/>
                </a:cubicBezTo>
                <a:cubicBezTo>
                  <a:pt x="7445669" y="6745715"/>
                  <a:pt x="7535647" y="6768276"/>
                  <a:pt x="7513152" y="6813398"/>
                </a:cubicBezTo>
                <a:cubicBezTo>
                  <a:pt x="7423174" y="6768276"/>
                  <a:pt x="7310702" y="6745715"/>
                  <a:pt x="7243219" y="6723154"/>
                </a:cubicBezTo>
                <a:cubicBezTo>
                  <a:pt x="7063263" y="6655471"/>
                  <a:pt x="6950790" y="6565228"/>
                  <a:pt x="6815824" y="6497545"/>
                </a:cubicBezTo>
                <a:cubicBezTo>
                  <a:pt x="6725846" y="6452423"/>
                  <a:pt x="6613373" y="6407301"/>
                  <a:pt x="6500901" y="6362179"/>
                </a:cubicBezTo>
                <a:cubicBezTo>
                  <a:pt x="6388429" y="6317058"/>
                  <a:pt x="6298451" y="6339619"/>
                  <a:pt x="6208473" y="6317058"/>
                </a:cubicBezTo>
                <a:cubicBezTo>
                  <a:pt x="6275956" y="6339619"/>
                  <a:pt x="6365934" y="6384740"/>
                  <a:pt x="6388429" y="6407301"/>
                </a:cubicBezTo>
                <a:cubicBezTo>
                  <a:pt x="6455912" y="6429862"/>
                  <a:pt x="6500901" y="6474984"/>
                  <a:pt x="6568385" y="6497545"/>
                </a:cubicBezTo>
                <a:cubicBezTo>
                  <a:pt x="6703351" y="6565228"/>
                  <a:pt x="6860813" y="6632911"/>
                  <a:pt x="6950790" y="6700593"/>
                </a:cubicBezTo>
                <a:cubicBezTo>
                  <a:pt x="7130746" y="6768276"/>
                  <a:pt x="7220724" y="6835959"/>
                  <a:pt x="7333196" y="6903642"/>
                </a:cubicBezTo>
                <a:cubicBezTo>
                  <a:pt x="7378185" y="6903642"/>
                  <a:pt x="7400680" y="6926202"/>
                  <a:pt x="7423174" y="6948763"/>
                </a:cubicBezTo>
                <a:cubicBezTo>
                  <a:pt x="7445669" y="6948763"/>
                  <a:pt x="7468163" y="6948763"/>
                  <a:pt x="7468163" y="6971324"/>
                </a:cubicBezTo>
                <a:cubicBezTo>
                  <a:pt x="7445669" y="6971324"/>
                  <a:pt x="7423174" y="6948763"/>
                  <a:pt x="7400680" y="6948763"/>
                </a:cubicBezTo>
                <a:cubicBezTo>
                  <a:pt x="7378185" y="6948763"/>
                  <a:pt x="7355691" y="6926202"/>
                  <a:pt x="7355691" y="6926202"/>
                </a:cubicBezTo>
                <a:cubicBezTo>
                  <a:pt x="7355691" y="6926202"/>
                  <a:pt x="7333196" y="6903642"/>
                  <a:pt x="7310702" y="6903642"/>
                </a:cubicBezTo>
                <a:cubicBezTo>
                  <a:pt x="7288207" y="6903642"/>
                  <a:pt x="7265713" y="6881081"/>
                  <a:pt x="7243219" y="6881081"/>
                </a:cubicBezTo>
                <a:cubicBezTo>
                  <a:pt x="7198230" y="6858520"/>
                  <a:pt x="7153241" y="6835959"/>
                  <a:pt x="7130746" y="6813398"/>
                </a:cubicBezTo>
                <a:cubicBezTo>
                  <a:pt x="7063263" y="6768276"/>
                  <a:pt x="6973285" y="6745715"/>
                  <a:pt x="6928296" y="6700593"/>
                </a:cubicBezTo>
                <a:cubicBezTo>
                  <a:pt x="6905802" y="6700593"/>
                  <a:pt x="6883307" y="6678032"/>
                  <a:pt x="6860813" y="6655471"/>
                </a:cubicBezTo>
                <a:cubicBezTo>
                  <a:pt x="6838318" y="6678032"/>
                  <a:pt x="6905802" y="6700593"/>
                  <a:pt x="6883307" y="6700593"/>
                </a:cubicBezTo>
                <a:cubicBezTo>
                  <a:pt x="6838318" y="6700593"/>
                  <a:pt x="6838318" y="6700593"/>
                  <a:pt x="6883307" y="6723154"/>
                </a:cubicBezTo>
                <a:cubicBezTo>
                  <a:pt x="6928296" y="6745715"/>
                  <a:pt x="6928296" y="6745715"/>
                  <a:pt x="6928296" y="6745715"/>
                </a:cubicBezTo>
                <a:cubicBezTo>
                  <a:pt x="6928296" y="6768276"/>
                  <a:pt x="6928296" y="6768276"/>
                  <a:pt x="6950790" y="6768276"/>
                </a:cubicBezTo>
                <a:cubicBezTo>
                  <a:pt x="6973285" y="6768276"/>
                  <a:pt x="7018274" y="6790837"/>
                  <a:pt x="6973285" y="6790837"/>
                </a:cubicBezTo>
                <a:cubicBezTo>
                  <a:pt x="6950790" y="6790837"/>
                  <a:pt x="6950790" y="6790837"/>
                  <a:pt x="6950790" y="6813398"/>
                </a:cubicBezTo>
                <a:cubicBezTo>
                  <a:pt x="6950790" y="6813398"/>
                  <a:pt x="6973285" y="6813398"/>
                  <a:pt x="6973285" y="6813398"/>
                </a:cubicBezTo>
                <a:cubicBezTo>
                  <a:pt x="7063263" y="6813398"/>
                  <a:pt x="7130746" y="6858520"/>
                  <a:pt x="7220724" y="6881081"/>
                </a:cubicBezTo>
                <a:cubicBezTo>
                  <a:pt x="7130746" y="6881081"/>
                  <a:pt x="7130746" y="6881081"/>
                  <a:pt x="7153241" y="6926202"/>
                </a:cubicBezTo>
                <a:cubicBezTo>
                  <a:pt x="7175735" y="6971324"/>
                  <a:pt x="7063263" y="6948763"/>
                  <a:pt x="7018274" y="6926202"/>
                </a:cubicBezTo>
                <a:cubicBezTo>
                  <a:pt x="7018274" y="6948763"/>
                  <a:pt x="7040768" y="6971324"/>
                  <a:pt x="7063263" y="6993885"/>
                </a:cubicBezTo>
                <a:cubicBezTo>
                  <a:pt x="6973285" y="6948763"/>
                  <a:pt x="6883307" y="6926202"/>
                  <a:pt x="6793329" y="6903642"/>
                </a:cubicBezTo>
                <a:cubicBezTo>
                  <a:pt x="6838318" y="6903642"/>
                  <a:pt x="6815824" y="6881081"/>
                  <a:pt x="6883307" y="6881081"/>
                </a:cubicBezTo>
                <a:cubicBezTo>
                  <a:pt x="6928296" y="6881081"/>
                  <a:pt x="6928296" y="6881081"/>
                  <a:pt x="6905802" y="6858520"/>
                </a:cubicBezTo>
                <a:cubicBezTo>
                  <a:pt x="6883307" y="6858520"/>
                  <a:pt x="6838318" y="6858520"/>
                  <a:pt x="6838318" y="6858520"/>
                </a:cubicBezTo>
                <a:cubicBezTo>
                  <a:pt x="6793329" y="6858520"/>
                  <a:pt x="6748340" y="6881081"/>
                  <a:pt x="6658362" y="6835959"/>
                </a:cubicBezTo>
                <a:cubicBezTo>
                  <a:pt x="6568385" y="6813398"/>
                  <a:pt x="6478407" y="6790837"/>
                  <a:pt x="6410923" y="6768276"/>
                </a:cubicBezTo>
                <a:cubicBezTo>
                  <a:pt x="6388429" y="6745715"/>
                  <a:pt x="6343440" y="6723154"/>
                  <a:pt x="6298451" y="6723154"/>
                </a:cubicBezTo>
                <a:cubicBezTo>
                  <a:pt x="6275956" y="6723154"/>
                  <a:pt x="6275956" y="6745715"/>
                  <a:pt x="6298451" y="6745715"/>
                </a:cubicBezTo>
                <a:cubicBezTo>
                  <a:pt x="6298451" y="6768276"/>
                  <a:pt x="6320945" y="6768276"/>
                  <a:pt x="6298451" y="6768276"/>
                </a:cubicBezTo>
                <a:cubicBezTo>
                  <a:pt x="6388429" y="6835959"/>
                  <a:pt x="6523396" y="6903642"/>
                  <a:pt x="6613373" y="6948763"/>
                </a:cubicBezTo>
                <a:cubicBezTo>
                  <a:pt x="6658362" y="6971324"/>
                  <a:pt x="6680857" y="6993885"/>
                  <a:pt x="6725846" y="7016446"/>
                </a:cubicBezTo>
                <a:cubicBezTo>
                  <a:pt x="6815824" y="7061568"/>
                  <a:pt x="6838318" y="7084129"/>
                  <a:pt x="6950790" y="7129251"/>
                </a:cubicBezTo>
                <a:cubicBezTo>
                  <a:pt x="6883307" y="7129251"/>
                  <a:pt x="6860813" y="7106690"/>
                  <a:pt x="6838318" y="7106690"/>
                </a:cubicBezTo>
                <a:cubicBezTo>
                  <a:pt x="6838318" y="7106690"/>
                  <a:pt x="6860813" y="7129251"/>
                  <a:pt x="6838318" y="7129251"/>
                </a:cubicBezTo>
                <a:cubicBezTo>
                  <a:pt x="6793329" y="7106690"/>
                  <a:pt x="6770835" y="7106690"/>
                  <a:pt x="6748340" y="7084129"/>
                </a:cubicBezTo>
                <a:cubicBezTo>
                  <a:pt x="6770835" y="7084129"/>
                  <a:pt x="6793329" y="7084129"/>
                  <a:pt x="6815824" y="7106690"/>
                </a:cubicBezTo>
                <a:cubicBezTo>
                  <a:pt x="6770835" y="7061568"/>
                  <a:pt x="6703351" y="7039007"/>
                  <a:pt x="6680857" y="7016446"/>
                </a:cubicBezTo>
                <a:cubicBezTo>
                  <a:pt x="6590879" y="6948763"/>
                  <a:pt x="6433418" y="6881081"/>
                  <a:pt x="6298451" y="6813398"/>
                </a:cubicBezTo>
                <a:cubicBezTo>
                  <a:pt x="6163484" y="6768276"/>
                  <a:pt x="6051012" y="6700593"/>
                  <a:pt x="5916046" y="6632911"/>
                </a:cubicBezTo>
                <a:cubicBezTo>
                  <a:pt x="5893551" y="6632911"/>
                  <a:pt x="5893551" y="6632911"/>
                  <a:pt x="5871056" y="6610350"/>
                </a:cubicBezTo>
                <a:cubicBezTo>
                  <a:pt x="5848562" y="6610350"/>
                  <a:pt x="5803573" y="6587789"/>
                  <a:pt x="5781078" y="6587789"/>
                </a:cubicBezTo>
                <a:cubicBezTo>
                  <a:pt x="5533639" y="6474984"/>
                  <a:pt x="5308694" y="6362179"/>
                  <a:pt x="5061256" y="6226814"/>
                </a:cubicBezTo>
                <a:cubicBezTo>
                  <a:pt x="4903794" y="6181692"/>
                  <a:pt x="4813816" y="6114009"/>
                  <a:pt x="4678849" y="6068888"/>
                </a:cubicBezTo>
                <a:cubicBezTo>
                  <a:pt x="4656355" y="6091448"/>
                  <a:pt x="4723838" y="6114009"/>
                  <a:pt x="4768827" y="6136570"/>
                </a:cubicBezTo>
                <a:cubicBezTo>
                  <a:pt x="4768827" y="6136570"/>
                  <a:pt x="4768827" y="6136570"/>
                  <a:pt x="4768827" y="6159131"/>
                </a:cubicBezTo>
                <a:cubicBezTo>
                  <a:pt x="4813816" y="6159131"/>
                  <a:pt x="4836311" y="6181692"/>
                  <a:pt x="4881300" y="6204253"/>
                </a:cubicBezTo>
                <a:cubicBezTo>
                  <a:pt x="4948783" y="6226814"/>
                  <a:pt x="5016266" y="6249375"/>
                  <a:pt x="5038761" y="6294497"/>
                </a:cubicBezTo>
                <a:cubicBezTo>
                  <a:pt x="5083750" y="6294497"/>
                  <a:pt x="5128739" y="6317058"/>
                  <a:pt x="5151233" y="6339619"/>
                </a:cubicBezTo>
                <a:cubicBezTo>
                  <a:pt x="5263705" y="6384740"/>
                  <a:pt x="5308694" y="6429862"/>
                  <a:pt x="5398672" y="6452423"/>
                </a:cubicBezTo>
                <a:cubicBezTo>
                  <a:pt x="5421167" y="6452423"/>
                  <a:pt x="5443662" y="6452423"/>
                  <a:pt x="5443662" y="6474984"/>
                </a:cubicBezTo>
                <a:cubicBezTo>
                  <a:pt x="5511145" y="6497545"/>
                  <a:pt x="5646111" y="6542667"/>
                  <a:pt x="5668606" y="6587789"/>
                </a:cubicBezTo>
                <a:cubicBezTo>
                  <a:pt x="5736089" y="6610350"/>
                  <a:pt x="5758584" y="6632911"/>
                  <a:pt x="5871056" y="6655471"/>
                </a:cubicBezTo>
                <a:cubicBezTo>
                  <a:pt x="5826067" y="6632911"/>
                  <a:pt x="5781078" y="6610350"/>
                  <a:pt x="5736089" y="6587789"/>
                </a:cubicBezTo>
                <a:cubicBezTo>
                  <a:pt x="5736089" y="6587789"/>
                  <a:pt x="5758584" y="6587789"/>
                  <a:pt x="5758584" y="6587789"/>
                </a:cubicBezTo>
                <a:cubicBezTo>
                  <a:pt x="5803573" y="6610350"/>
                  <a:pt x="5848562" y="6632911"/>
                  <a:pt x="5893551" y="6655471"/>
                </a:cubicBezTo>
                <a:cubicBezTo>
                  <a:pt x="5916046" y="6678032"/>
                  <a:pt x="5893551" y="6678032"/>
                  <a:pt x="5893551" y="6700593"/>
                </a:cubicBezTo>
                <a:cubicBezTo>
                  <a:pt x="5938539" y="6723154"/>
                  <a:pt x="5983528" y="6745715"/>
                  <a:pt x="6028517" y="6768276"/>
                </a:cubicBezTo>
                <a:cubicBezTo>
                  <a:pt x="6140990" y="6813398"/>
                  <a:pt x="6140990" y="6835959"/>
                  <a:pt x="6253462" y="6881081"/>
                </a:cubicBezTo>
                <a:cubicBezTo>
                  <a:pt x="6298451" y="6903642"/>
                  <a:pt x="6298451" y="6926202"/>
                  <a:pt x="6365934" y="6926202"/>
                </a:cubicBezTo>
                <a:cubicBezTo>
                  <a:pt x="6365934" y="6926202"/>
                  <a:pt x="6320945" y="6903642"/>
                  <a:pt x="6343440" y="6903642"/>
                </a:cubicBezTo>
                <a:cubicBezTo>
                  <a:pt x="6399676" y="6903642"/>
                  <a:pt x="6427794" y="6914922"/>
                  <a:pt x="6447477" y="6929023"/>
                </a:cubicBezTo>
                <a:lnTo>
                  <a:pt x="6471976" y="6950228"/>
                </a:lnTo>
                <a:lnTo>
                  <a:pt x="6455912" y="6948763"/>
                </a:lnTo>
                <a:cubicBezTo>
                  <a:pt x="6455912" y="6971324"/>
                  <a:pt x="6365934" y="6948763"/>
                  <a:pt x="6455912" y="6993885"/>
                </a:cubicBezTo>
                <a:cubicBezTo>
                  <a:pt x="6500901" y="6993885"/>
                  <a:pt x="6523396" y="7016446"/>
                  <a:pt x="6478407" y="7016446"/>
                </a:cubicBezTo>
                <a:cubicBezTo>
                  <a:pt x="6433418" y="7016446"/>
                  <a:pt x="6410923" y="7016446"/>
                  <a:pt x="6388429" y="6993885"/>
                </a:cubicBezTo>
                <a:cubicBezTo>
                  <a:pt x="6298451" y="6948763"/>
                  <a:pt x="6230968" y="6926202"/>
                  <a:pt x="6185979" y="6881081"/>
                </a:cubicBezTo>
                <a:cubicBezTo>
                  <a:pt x="6073506" y="6813398"/>
                  <a:pt x="5848562" y="6768276"/>
                  <a:pt x="5736089" y="6700593"/>
                </a:cubicBezTo>
                <a:cubicBezTo>
                  <a:pt x="5758584" y="6678032"/>
                  <a:pt x="5803573" y="6700593"/>
                  <a:pt x="5803573" y="6700593"/>
                </a:cubicBezTo>
                <a:cubicBezTo>
                  <a:pt x="5691100" y="6632911"/>
                  <a:pt x="5556134" y="6610350"/>
                  <a:pt x="5421167" y="6565228"/>
                </a:cubicBezTo>
                <a:cubicBezTo>
                  <a:pt x="5376178" y="6542667"/>
                  <a:pt x="5376178" y="6565228"/>
                  <a:pt x="5398672" y="6587789"/>
                </a:cubicBezTo>
                <a:cubicBezTo>
                  <a:pt x="5421167" y="6587789"/>
                  <a:pt x="5488650" y="6610350"/>
                  <a:pt x="5443662" y="6610350"/>
                </a:cubicBezTo>
                <a:cubicBezTo>
                  <a:pt x="5376178" y="6610350"/>
                  <a:pt x="5376178" y="6587789"/>
                  <a:pt x="5331189" y="6587789"/>
                </a:cubicBezTo>
                <a:cubicBezTo>
                  <a:pt x="5196222" y="6587789"/>
                  <a:pt x="5196222" y="6587789"/>
                  <a:pt x="5331189" y="6655471"/>
                </a:cubicBezTo>
                <a:cubicBezTo>
                  <a:pt x="5353683" y="6678032"/>
                  <a:pt x="5353683" y="6678032"/>
                  <a:pt x="5353683" y="6678032"/>
                </a:cubicBezTo>
                <a:cubicBezTo>
                  <a:pt x="5331189" y="6678032"/>
                  <a:pt x="5308694" y="6678032"/>
                  <a:pt x="5308694" y="6678032"/>
                </a:cubicBezTo>
                <a:cubicBezTo>
                  <a:pt x="5331189" y="6700593"/>
                  <a:pt x="5331189" y="6700593"/>
                  <a:pt x="5353683" y="6723154"/>
                </a:cubicBezTo>
                <a:cubicBezTo>
                  <a:pt x="5398672" y="6745715"/>
                  <a:pt x="5511145" y="6790837"/>
                  <a:pt x="5578628" y="6813398"/>
                </a:cubicBezTo>
                <a:cubicBezTo>
                  <a:pt x="5556134" y="6813398"/>
                  <a:pt x="5556134" y="6813398"/>
                  <a:pt x="5533639" y="6813398"/>
                </a:cubicBezTo>
                <a:cubicBezTo>
                  <a:pt x="5533639" y="6835959"/>
                  <a:pt x="5533639" y="6835959"/>
                  <a:pt x="5533639" y="6835959"/>
                </a:cubicBezTo>
                <a:cubicBezTo>
                  <a:pt x="5556134" y="6858520"/>
                  <a:pt x="5691100" y="6903642"/>
                  <a:pt x="5623617" y="6881081"/>
                </a:cubicBezTo>
                <a:cubicBezTo>
                  <a:pt x="5578628" y="6881081"/>
                  <a:pt x="5533639" y="6858520"/>
                  <a:pt x="5488650" y="6835959"/>
                </a:cubicBezTo>
                <a:cubicBezTo>
                  <a:pt x="5421167" y="6790837"/>
                  <a:pt x="5376178" y="6768276"/>
                  <a:pt x="5286200" y="6723154"/>
                </a:cubicBezTo>
                <a:cubicBezTo>
                  <a:pt x="5263705" y="6723154"/>
                  <a:pt x="5241211" y="6745715"/>
                  <a:pt x="5218717" y="6745715"/>
                </a:cubicBezTo>
                <a:cubicBezTo>
                  <a:pt x="5218717" y="6745715"/>
                  <a:pt x="5308694" y="6768276"/>
                  <a:pt x="5241211" y="6768276"/>
                </a:cubicBezTo>
                <a:cubicBezTo>
                  <a:pt x="5218717" y="6745715"/>
                  <a:pt x="5196222" y="6745715"/>
                  <a:pt x="5173728" y="6723154"/>
                </a:cubicBezTo>
                <a:cubicBezTo>
                  <a:pt x="5016266" y="6678032"/>
                  <a:pt x="4926288" y="6610350"/>
                  <a:pt x="4813816" y="6565228"/>
                </a:cubicBezTo>
                <a:cubicBezTo>
                  <a:pt x="4768827" y="6565228"/>
                  <a:pt x="4813816" y="6587789"/>
                  <a:pt x="4836311" y="6610350"/>
                </a:cubicBezTo>
                <a:cubicBezTo>
                  <a:pt x="4948783" y="6632911"/>
                  <a:pt x="4881300" y="6632911"/>
                  <a:pt x="4881300" y="6632911"/>
                </a:cubicBezTo>
                <a:cubicBezTo>
                  <a:pt x="4971278" y="6678032"/>
                  <a:pt x="5016266" y="6700593"/>
                  <a:pt x="5083750" y="6723154"/>
                </a:cubicBezTo>
                <a:cubicBezTo>
                  <a:pt x="5128739" y="6745715"/>
                  <a:pt x="5106244" y="6745715"/>
                  <a:pt x="5083750" y="6745715"/>
                </a:cubicBezTo>
                <a:cubicBezTo>
                  <a:pt x="5151233" y="6790837"/>
                  <a:pt x="5218717" y="6835959"/>
                  <a:pt x="5263705" y="6858520"/>
                </a:cubicBezTo>
                <a:cubicBezTo>
                  <a:pt x="5218717" y="6858520"/>
                  <a:pt x="5196222" y="6835959"/>
                  <a:pt x="5173728" y="6835959"/>
                </a:cubicBezTo>
                <a:cubicBezTo>
                  <a:pt x="5173728" y="6835959"/>
                  <a:pt x="5241211" y="6881081"/>
                  <a:pt x="5128739" y="6858520"/>
                </a:cubicBezTo>
                <a:cubicBezTo>
                  <a:pt x="5061256" y="6858520"/>
                  <a:pt x="5061256" y="6835959"/>
                  <a:pt x="5038761" y="6813398"/>
                </a:cubicBezTo>
                <a:cubicBezTo>
                  <a:pt x="4971278" y="6790837"/>
                  <a:pt x="4903794" y="6745715"/>
                  <a:pt x="4858805" y="6723154"/>
                </a:cubicBezTo>
                <a:cubicBezTo>
                  <a:pt x="4768827" y="6678032"/>
                  <a:pt x="4678849" y="6610350"/>
                  <a:pt x="4588872" y="6565228"/>
                </a:cubicBezTo>
                <a:cubicBezTo>
                  <a:pt x="4408916" y="6474984"/>
                  <a:pt x="4183971" y="6384740"/>
                  <a:pt x="4049004" y="6294497"/>
                </a:cubicBezTo>
                <a:cubicBezTo>
                  <a:pt x="4004015" y="6271936"/>
                  <a:pt x="3981521" y="6249375"/>
                  <a:pt x="3959027" y="6249375"/>
                </a:cubicBezTo>
                <a:cubicBezTo>
                  <a:pt x="3936532" y="6249375"/>
                  <a:pt x="3936532" y="6249375"/>
                  <a:pt x="3891543" y="6249375"/>
                </a:cubicBezTo>
                <a:cubicBezTo>
                  <a:pt x="3869049" y="6226814"/>
                  <a:pt x="3891543" y="6226814"/>
                  <a:pt x="3891543" y="6226814"/>
                </a:cubicBezTo>
                <a:cubicBezTo>
                  <a:pt x="3869049" y="6204253"/>
                  <a:pt x="3824060" y="6181692"/>
                  <a:pt x="3779071" y="6159131"/>
                </a:cubicBezTo>
                <a:cubicBezTo>
                  <a:pt x="3689093" y="6136570"/>
                  <a:pt x="3644104" y="6091448"/>
                  <a:pt x="3576621" y="6068888"/>
                </a:cubicBezTo>
                <a:cubicBezTo>
                  <a:pt x="3554126" y="6068888"/>
                  <a:pt x="3554126" y="6068888"/>
                  <a:pt x="3554126" y="6091448"/>
                </a:cubicBezTo>
                <a:cubicBezTo>
                  <a:pt x="3531632" y="6068888"/>
                  <a:pt x="3486643" y="6068888"/>
                  <a:pt x="3464148" y="6046327"/>
                </a:cubicBezTo>
                <a:cubicBezTo>
                  <a:pt x="3419159" y="6046327"/>
                  <a:pt x="3419159" y="6023766"/>
                  <a:pt x="3374170" y="6023766"/>
                </a:cubicBezTo>
                <a:lnTo>
                  <a:pt x="3284193" y="5978644"/>
                </a:lnTo>
                <a:lnTo>
                  <a:pt x="3284193" y="5978644"/>
                </a:lnTo>
                <a:lnTo>
                  <a:pt x="3284192" y="5978644"/>
                </a:lnTo>
                <a:lnTo>
                  <a:pt x="3261699" y="5967364"/>
                </a:lnTo>
                <a:lnTo>
                  <a:pt x="3261698" y="5967363"/>
                </a:lnTo>
                <a:cubicBezTo>
                  <a:pt x="3256074" y="5961723"/>
                  <a:pt x="3250451" y="5956083"/>
                  <a:pt x="3239203" y="5956083"/>
                </a:cubicBezTo>
                <a:lnTo>
                  <a:pt x="3261699" y="5967364"/>
                </a:lnTo>
                <a:lnTo>
                  <a:pt x="3270837" y="5975119"/>
                </a:lnTo>
                <a:lnTo>
                  <a:pt x="3284192" y="5978644"/>
                </a:lnTo>
                <a:lnTo>
                  <a:pt x="3284193" y="5978644"/>
                </a:lnTo>
                <a:lnTo>
                  <a:pt x="3288059" y="5992039"/>
                </a:lnTo>
                <a:cubicBezTo>
                  <a:pt x="3295440" y="6002615"/>
                  <a:pt x="3312310" y="6006845"/>
                  <a:pt x="3329181" y="6023766"/>
                </a:cubicBezTo>
                <a:cubicBezTo>
                  <a:pt x="3351676" y="6046327"/>
                  <a:pt x="3396665" y="6068888"/>
                  <a:pt x="3419159" y="6068888"/>
                </a:cubicBezTo>
                <a:cubicBezTo>
                  <a:pt x="3464148" y="6114009"/>
                  <a:pt x="3599115" y="6159131"/>
                  <a:pt x="3644104" y="6204253"/>
                </a:cubicBezTo>
                <a:cubicBezTo>
                  <a:pt x="3756576" y="6249375"/>
                  <a:pt x="3801565" y="6294497"/>
                  <a:pt x="3869049" y="6339619"/>
                </a:cubicBezTo>
                <a:cubicBezTo>
                  <a:pt x="4004015" y="6407301"/>
                  <a:pt x="4138982" y="6474984"/>
                  <a:pt x="4251454" y="6542667"/>
                </a:cubicBezTo>
                <a:cubicBezTo>
                  <a:pt x="4296443" y="6542667"/>
                  <a:pt x="4341432" y="6565228"/>
                  <a:pt x="4341432" y="6587789"/>
                </a:cubicBezTo>
                <a:cubicBezTo>
                  <a:pt x="4363927" y="6587789"/>
                  <a:pt x="4386421" y="6587789"/>
                  <a:pt x="4386421" y="6610350"/>
                </a:cubicBezTo>
                <a:cubicBezTo>
                  <a:pt x="4408916" y="6565228"/>
                  <a:pt x="4476399" y="6610350"/>
                  <a:pt x="4521389" y="6632911"/>
                </a:cubicBezTo>
                <a:cubicBezTo>
                  <a:pt x="4566377" y="6632911"/>
                  <a:pt x="4566377" y="6610350"/>
                  <a:pt x="4521389" y="6587789"/>
                </a:cubicBezTo>
                <a:cubicBezTo>
                  <a:pt x="4476399" y="6565228"/>
                  <a:pt x="4431410" y="6542667"/>
                  <a:pt x="4386421" y="6520106"/>
                </a:cubicBezTo>
                <a:cubicBezTo>
                  <a:pt x="4431410" y="6520106"/>
                  <a:pt x="4476399" y="6520106"/>
                  <a:pt x="4521389" y="6565228"/>
                </a:cubicBezTo>
                <a:cubicBezTo>
                  <a:pt x="4543883" y="6587789"/>
                  <a:pt x="4611366" y="6610350"/>
                  <a:pt x="4678849" y="6632911"/>
                </a:cubicBezTo>
                <a:cubicBezTo>
                  <a:pt x="4701344" y="6655471"/>
                  <a:pt x="4746333" y="6655471"/>
                  <a:pt x="4723838" y="6678032"/>
                </a:cubicBezTo>
                <a:cubicBezTo>
                  <a:pt x="4701344" y="6678032"/>
                  <a:pt x="4678849" y="6678032"/>
                  <a:pt x="4611366" y="6655471"/>
                </a:cubicBezTo>
                <a:cubicBezTo>
                  <a:pt x="4588872" y="6632911"/>
                  <a:pt x="4588872" y="6655471"/>
                  <a:pt x="4588872" y="6655471"/>
                </a:cubicBezTo>
                <a:cubicBezTo>
                  <a:pt x="4566377" y="6655471"/>
                  <a:pt x="4566377" y="6655471"/>
                  <a:pt x="4566377" y="6655471"/>
                </a:cubicBezTo>
                <a:cubicBezTo>
                  <a:pt x="4588872" y="6678032"/>
                  <a:pt x="4678849" y="6700593"/>
                  <a:pt x="4678849" y="6723154"/>
                </a:cubicBezTo>
                <a:cubicBezTo>
                  <a:pt x="4633860" y="6700593"/>
                  <a:pt x="4588872" y="6678032"/>
                  <a:pt x="4543883" y="6678032"/>
                </a:cubicBezTo>
                <a:cubicBezTo>
                  <a:pt x="4633860" y="6723154"/>
                  <a:pt x="4723838" y="6790837"/>
                  <a:pt x="4858805" y="6858520"/>
                </a:cubicBezTo>
                <a:cubicBezTo>
                  <a:pt x="4858805" y="6858520"/>
                  <a:pt x="4881300" y="6881081"/>
                  <a:pt x="4903794" y="6881081"/>
                </a:cubicBezTo>
                <a:cubicBezTo>
                  <a:pt x="4926288" y="6881081"/>
                  <a:pt x="4948783" y="6903642"/>
                  <a:pt x="4948783" y="6903642"/>
                </a:cubicBezTo>
                <a:cubicBezTo>
                  <a:pt x="5016266" y="6926202"/>
                  <a:pt x="5061256" y="6948763"/>
                  <a:pt x="5106244" y="6948763"/>
                </a:cubicBezTo>
                <a:cubicBezTo>
                  <a:pt x="5128739" y="6948763"/>
                  <a:pt x="5128739" y="6971324"/>
                  <a:pt x="5128739" y="6971324"/>
                </a:cubicBezTo>
                <a:cubicBezTo>
                  <a:pt x="5128739" y="6971324"/>
                  <a:pt x="5128739" y="6993885"/>
                  <a:pt x="5106244" y="6993885"/>
                </a:cubicBezTo>
                <a:cubicBezTo>
                  <a:pt x="5061256" y="7016446"/>
                  <a:pt x="5286200" y="7084129"/>
                  <a:pt x="5308694" y="7129251"/>
                </a:cubicBezTo>
                <a:cubicBezTo>
                  <a:pt x="5218717" y="7084129"/>
                  <a:pt x="5151233" y="7039007"/>
                  <a:pt x="5061256" y="7016446"/>
                </a:cubicBezTo>
                <a:cubicBezTo>
                  <a:pt x="5016266" y="6993885"/>
                  <a:pt x="4948783" y="6971324"/>
                  <a:pt x="4903794" y="6948763"/>
                </a:cubicBezTo>
                <a:cubicBezTo>
                  <a:pt x="4813816" y="6903642"/>
                  <a:pt x="4723838" y="6858520"/>
                  <a:pt x="4656355" y="6835959"/>
                </a:cubicBezTo>
                <a:cubicBezTo>
                  <a:pt x="4633860" y="6835959"/>
                  <a:pt x="4633860" y="6835959"/>
                  <a:pt x="4633860" y="6813398"/>
                </a:cubicBezTo>
                <a:cubicBezTo>
                  <a:pt x="4588872" y="6813398"/>
                  <a:pt x="4543883" y="6790837"/>
                  <a:pt x="4521389" y="6790837"/>
                </a:cubicBezTo>
                <a:cubicBezTo>
                  <a:pt x="4498894" y="6768276"/>
                  <a:pt x="4453905" y="6745715"/>
                  <a:pt x="4408916" y="6723154"/>
                </a:cubicBezTo>
                <a:cubicBezTo>
                  <a:pt x="4318938" y="6700593"/>
                  <a:pt x="4273949" y="6700593"/>
                  <a:pt x="4273949" y="6655471"/>
                </a:cubicBezTo>
                <a:cubicBezTo>
                  <a:pt x="4273949" y="6655471"/>
                  <a:pt x="4206466" y="6610350"/>
                  <a:pt x="4116488" y="6587789"/>
                </a:cubicBezTo>
                <a:cubicBezTo>
                  <a:pt x="4116488" y="6610350"/>
                  <a:pt x="4138982" y="6610350"/>
                  <a:pt x="4093993" y="6610350"/>
                </a:cubicBezTo>
                <a:cubicBezTo>
                  <a:pt x="4093993" y="6610350"/>
                  <a:pt x="4071499" y="6610350"/>
                  <a:pt x="4071499" y="6610350"/>
                </a:cubicBezTo>
                <a:cubicBezTo>
                  <a:pt x="4071499" y="6632911"/>
                  <a:pt x="4161476" y="6655471"/>
                  <a:pt x="4161476" y="6678032"/>
                </a:cubicBezTo>
                <a:cubicBezTo>
                  <a:pt x="4228960" y="6700593"/>
                  <a:pt x="4183971" y="6700593"/>
                  <a:pt x="4183971" y="6723154"/>
                </a:cubicBezTo>
                <a:cubicBezTo>
                  <a:pt x="4228960" y="6723154"/>
                  <a:pt x="4251454" y="6700593"/>
                  <a:pt x="4296443" y="6745715"/>
                </a:cubicBezTo>
                <a:cubicBezTo>
                  <a:pt x="4341432" y="6768276"/>
                  <a:pt x="4431410" y="6813398"/>
                  <a:pt x="4498894" y="6835959"/>
                </a:cubicBezTo>
                <a:cubicBezTo>
                  <a:pt x="4566377" y="6858520"/>
                  <a:pt x="4566377" y="6881081"/>
                  <a:pt x="4588872" y="6903642"/>
                </a:cubicBezTo>
                <a:cubicBezTo>
                  <a:pt x="4701344" y="6948763"/>
                  <a:pt x="4588872" y="6971324"/>
                  <a:pt x="4746333" y="6993885"/>
                </a:cubicBezTo>
                <a:cubicBezTo>
                  <a:pt x="4746333" y="7016446"/>
                  <a:pt x="4813816" y="7039007"/>
                  <a:pt x="4858805" y="7061568"/>
                </a:cubicBezTo>
                <a:cubicBezTo>
                  <a:pt x="4971278" y="7106690"/>
                  <a:pt x="5083750" y="7151812"/>
                  <a:pt x="5151233" y="7219494"/>
                </a:cubicBezTo>
                <a:cubicBezTo>
                  <a:pt x="5151233" y="7219494"/>
                  <a:pt x="5128739" y="7219494"/>
                  <a:pt x="5128739" y="7219494"/>
                </a:cubicBezTo>
                <a:cubicBezTo>
                  <a:pt x="5083750" y="7196933"/>
                  <a:pt x="5061256" y="7174373"/>
                  <a:pt x="5038761" y="7174373"/>
                </a:cubicBezTo>
                <a:cubicBezTo>
                  <a:pt x="4971278" y="7174373"/>
                  <a:pt x="4926288" y="7151812"/>
                  <a:pt x="4903794" y="7129251"/>
                </a:cubicBezTo>
                <a:cubicBezTo>
                  <a:pt x="4813816" y="7084129"/>
                  <a:pt x="4678849" y="7016446"/>
                  <a:pt x="4588872" y="6971324"/>
                </a:cubicBezTo>
                <a:cubicBezTo>
                  <a:pt x="4588872" y="6971324"/>
                  <a:pt x="4566377" y="6971324"/>
                  <a:pt x="4543883" y="6948763"/>
                </a:cubicBezTo>
                <a:cubicBezTo>
                  <a:pt x="4498894" y="6903642"/>
                  <a:pt x="4386421" y="6835959"/>
                  <a:pt x="4273949" y="6790837"/>
                </a:cubicBezTo>
                <a:cubicBezTo>
                  <a:pt x="4183971" y="6745715"/>
                  <a:pt x="4071499" y="6700593"/>
                  <a:pt x="4004015" y="6655471"/>
                </a:cubicBezTo>
                <a:cubicBezTo>
                  <a:pt x="3959027" y="6610350"/>
                  <a:pt x="3846554" y="6565228"/>
                  <a:pt x="3801565" y="6542667"/>
                </a:cubicBezTo>
                <a:cubicBezTo>
                  <a:pt x="3801565" y="6542667"/>
                  <a:pt x="3779071" y="6520106"/>
                  <a:pt x="3779071" y="6520106"/>
                </a:cubicBezTo>
                <a:cubicBezTo>
                  <a:pt x="3689093" y="6497545"/>
                  <a:pt x="3644104" y="6474984"/>
                  <a:pt x="3599115" y="6452423"/>
                </a:cubicBezTo>
                <a:cubicBezTo>
                  <a:pt x="3419159" y="6339619"/>
                  <a:pt x="3216709" y="6249375"/>
                  <a:pt x="2991764" y="6159131"/>
                </a:cubicBezTo>
                <a:cubicBezTo>
                  <a:pt x="2991764" y="6181692"/>
                  <a:pt x="3081742" y="6226814"/>
                  <a:pt x="3126731" y="6249375"/>
                </a:cubicBezTo>
                <a:cubicBezTo>
                  <a:pt x="2991764" y="6204253"/>
                  <a:pt x="2924281" y="6159131"/>
                  <a:pt x="2811809" y="6114009"/>
                </a:cubicBezTo>
                <a:cubicBezTo>
                  <a:pt x="2789314" y="6091448"/>
                  <a:pt x="2744325" y="6068888"/>
                  <a:pt x="2721831" y="6068888"/>
                </a:cubicBezTo>
                <a:cubicBezTo>
                  <a:pt x="2631853" y="6068888"/>
                  <a:pt x="2631853" y="6046327"/>
                  <a:pt x="2609359" y="6046327"/>
                </a:cubicBezTo>
                <a:cubicBezTo>
                  <a:pt x="2564370" y="6023766"/>
                  <a:pt x="2519381" y="6001205"/>
                  <a:pt x="2519381" y="5978644"/>
                </a:cubicBezTo>
                <a:cubicBezTo>
                  <a:pt x="2204458" y="5843278"/>
                  <a:pt x="1957019" y="5685352"/>
                  <a:pt x="1664591" y="5549986"/>
                </a:cubicBezTo>
                <a:cubicBezTo>
                  <a:pt x="1642096" y="5549986"/>
                  <a:pt x="1619602" y="5549986"/>
                  <a:pt x="1597107" y="5549986"/>
                </a:cubicBezTo>
                <a:cubicBezTo>
                  <a:pt x="1597107" y="5549986"/>
                  <a:pt x="1574613" y="5549986"/>
                  <a:pt x="1552119" y="5527425"/>
                </a:cubicBezTo>
                <a:cubicBezTo>
                  <a:pt x="1484635" y="5504865"/>
                  <a:pt x="1417152" y="5459743"/>
                  <a:pt x="1349668" y="5437182"/>
                </a:cubicBezTo>
                <a:cubicBezTo>
                  <a:pt x="1327174" y="5414621"/>
                  <a:pt x="1304679" y="5414621"/>
                  <a:pt x="1282185" y="5414621"/>
                </a:cubicBezTo>
                <a:cubicBezTo>
                  <a:pt x="1102229" y="5324377"/>
                  <a:pt x="922273" y="5256694"/>
                  <a:pt x="742318" y="5166451"/>
                </a:cubicBezTo>
                <a:cubicBezTo>
                  <a:pt x="742318" y="5166451"/>
                  <a:pt x="742318" y="5166451"/>
                  <a:pt x="629845" y="5166451"/>
                </a:cubicBezTo>
                <a:cubicBezTo>
                  <a:pt x="697329" y="5189012"/>
                  <a:pt x="742318" y="5234134"/>
                  <a:pt x="787307" y="5256694"/>
                </a:cubicBezTo>
                <a:cubicBezTo>
                  <a:pt x="854790" y="5256694"/>
                  <a:pt x="877284" y="5279255"/>
                  <a:pt x="922273" y="5301816"/>
                </a:cubicBezTo>
                <a:cubicBezTo>
                  <a:pt x="922273" y="5301816"/>
                  <a:pt x="922273" y="5324377"/>
                  <a:pt x="922273" y="5324377"/>
                </a:cubicBezTo>
                <a:cubicBezTo>
                  <a:pt x="967262" y="5346938"/>
                  <a:pt x="989757" y="5346938"/>
                  <a:pt x="1034746" y="5346938"/>
                </a:cubicBezTo>
                <a:cubicBezTo>
                  <a:pt x="1057240" y="5369499"/>
                  <a:pt x="1079735" y="5392060"/>
                  <a:pt x="1124724" y="5392060"/>
                </a:cubicBezTo>
                <a:cubicBezTo>
                  <a:pt x="1124724" y="5414621"/>
                  <a:pt x="1147218" y="5414621"/>
                  <a:pt x="1147218" y="5414621"/>
                </a:cubicBezTo>
                <a:cubicBezTo>
                  <a:pt x="1192207" y="5437182"/>
                  <a:pt x="1237196" y="5459743"/>
                  <a:pt x="1237196" y="5459743"/>
                </a:cubicBezTo>
                <a:cubicBezTo>
                  <a:pt x="1214701" y="5459743"/>
                  <a:pt x="1192207" y="5459743"/>
                  <a:pt x="1192207" y="5459743"/>
                </a:cubicBezTo>
                <a:cubicBezTo>
                  <a:pt x="1147218" y="5437182"/>
                  <a:pt x="1124724" y="5414621"/>
                  <a:pt x="1079735" y="5414621"/>
                </a:cubicBezTo>
                <a:cubicBezTo>
                  <a:pt x="1102229" y="5414621"/>
                  <a:pt x="1147218" y="5437182"/>
                  <a:pt x="1169713" y="5459743"/>
                </a:cubicBezTo>
                <a:cubicBezTo>
                  <a:pt x="1214701" y="5482304"/>
                  <a:pt x="1259690" y="5504865"/>
                  <a:pt x="1304679" y="5527425"/>
                </a:cubicBezTo>
                <a:cubicBezTo>
                  <a:pt x="1355292" y="5561267"/>
                  <a:pt x="1418558" y="5582418"/>
                  <a:pt x="1475497" y="5609914"/>
                </a:cubicBezTo>
                <a:lnTo>
                  <a:pt x="1529620" y="5640228"/>
                </a:lnTo>
                <a:lnTo>
                  <a:pt x="1439646" y="5595108"/>
                </a:lnTo>
                <a:cubicBezTo>
                  <a:pt x="1439646" y="5595108"/>
                  <a:pt x="1417152" y="5595108"/>
                  <a:pt x="1417152" y="5617669"/>
                </a:cubicBezTo>
                <a:cubicBezTo>
                  <a:pt x="1462141" y="5617669"/>
                  <a:pt x="1484635" y="5640230"/>
                  <a:pt x="1507129" y="5662791"/>
                </a:cubicBezTo>
                <a:cubicBezTo>
                  <a:pt x="1507129" y="5685352"/>
                  <a:pt x="1552119" y="5685352"/>
                  <a:pt x="1574613" y="5707913"/>
                </a:cubicBezTo>
                <a:cubicBezTo>
                  <a:pt x="1597107" y="5707913"/>
                  <a:pt x="1642096" y="5730474"/>
                  <a:pt x="1642096" y="5730474"/>
                </a:cubicBezTo>
                <a:cubicBezTo>
                  <a:pt x="1642096" y="5730474"/>
                  <a:pt x="1619602" y="5730474"/>
                  <a:pt x="1597107" y="5730474"/>
                </a:cubicBezTo>
                <a:cubicBezTo>
                  <a:pt x="1574613" y="5730474"/>
                  <a:pt x="1664591" y="5753035"/>
                  <a:pt x="1619602" y="5753035"/>
                </a:cubicBezTo>
                <a:cubicBezTo>
                  <a:pt x="1619602" y="5775596"/>
                  <a:pt x="1664591" y="5775596"/>
                  <a:pt x="1687085" y="5798156"/>
                </a:cubicBezTo>
                <a:cubicBezTo>
                  <a:pt x="1687085" y="5798156"/>
                  <a:pt x="1709580" y="5820717"/>
                  <a:pt x="1732074" y="5820717"/>
                </a:cubicBezTo>
                <a:cubicBezTo>
                  <a:pt x="1732074" y="5843278"/>
                  <a:pt x="1799558" y="5865839"/>
                  <a:pt x="1822052" y="5888400"/>
                </a:cubicBezTo>
                <a:cubicBezTo>
                  <a:pt x="1777063" y="5865839"/>
                  <a:pt x="1754569" y="5843278"/>
                  <a:pt x="1709580" y="5820717"/>
                </a:cubicBezTo>
                <a:cubicBezTo>
                  <a:pt x="1642096" y="5820717"/>
                  <a:pt x="1619602" y="5798156"/>
                  <a:pt x="1574613" y="5775596"/>
                </a:cubicBezTo>
                <a:cubicBezTo>
                  <a:pt x="1282185" y="5617669"/>
                  <a:pt x="944768" y="5482304"/>
                  <a:pt x="629845" y="5324377"/>
                </a:cubicBezTo>
                <a:cubicBezTo>
                  <a:pt x="517373" y="5279255"/>
                  <a:pt x="404901" y="5211573"/>
                  <a:pt x="292428" y="5166451"/>
                </a:cubicBezTo>
                <a:cubicBezTo>
                  <a:pt x="292428" y="5166451"/>
                  <a:pt x="292428" y="5166451"/>
                  <a:pt x="0" y="5166451"/>
                </a:cubicBezTo>
                <a:lnTo>
                  <a:pt x="0" y="5164336"/>
                </a:lnTo>
                <a:lnTo>
                  <a:pt x="0" y="5149530"/>
                </a:lnTo>
                <a:lnTo>
                  <a:pt x="0" y="5133403"/>
                </a:lnTo>
                <a:lnTo>
                  <a:pt x="0" y="5109343"/>
                </a:lnTo>
                <a:lnTo>
                  <a:pt x="0" y="5075766"/>
                </a:lnTo>
                <a:lnTo>
                  <a:pt x="0" y="5031085"/>
                </a:lnTo>
                <a:lnTo>
                  <a:pt x="0" y="5030028"/>
                </a:lnTo>
                <a:lnTo>
                  <a:pt x="0" y="5022625"/>
                </a:lnTo>
                <a:lnTo>
                  <a:pt x="0" y="5002532"/>
                </a:lnTo>
                <a:lnTo>
                  <a:pt x="0" y="4963402"/>
                </a:lnTo>
                <a:cubicBezTo>
                  <a:pt x="22495" y="4963402"/>
                  <a:pt x="44989" y="4985963"/>
                  <a:pt x="67484" y="4985963"/>
                </a:cubicBezTo>
                <a:cubicBezTo>
                  <a:pt x="44989" y="4963402"/>
                  <a:pt x="22495" y="4963402"/>
                  <a:pt x="0" y="4963402"/>
                </a:cubicBezTo>
                <a:lnTo>
                  <a:pt x="0" y="4961331"/>
                </a:lnTo>
                <a:lnTo>
                  <a:pt x="0" y="4946834"/>
                </a:lnTo>
                <a:lnTo>
                  <a:pt x="0" y="4931043"/>
                </a:lnTo>
                <a:lnTo>
                  <a:pt x="0" y="4907485"/>
                </a:lnTo>
                <a:lnTo>
                  <a:pt x="0" y="4874607"/>
                </a:lnTo>
                <a:lnTo>
                  <a:pt x="0" y="4830857"/>
                </a:lnTo>
                <a:lnTo>
                  <a:pt x="0" y="4774680"/>
                </a:lnTo>
                <a:lnTo>
                  <a:pt x="0" y="4704524"/>
                </a:lnTo>
                <a:lnTo>
                  <a:pt x="0" y="4618836"/>
                </a:lnTo>
                <a:lnTo>
                  <a:pt x="0" y="4516062"/>
                </a:lnTo>
                <a:lnTo>
                  <a:pt x="0" y="4394648"/>
                </a:lnTo>
                <a:lnTo>
                  <a:pt x="0" y="4253042"/>
                </a:lnTo>
                <a:lnTo>
                  <a:pt x="0" y="4089690"/>
                </a:lnTo>
                <a:lnTo>
                  <a:pt x="0" y="3903039"/>
                </a:lnTo>
                <a:lnTo>
                  <a:pt x="0" y="3898104"/>
                </a:lnTo>
                <a:lnTo>
                  <a:pt x="0" y="3886383"/>
                </a:lnTo>
                <a:lnTo>
                  <a:pt x="0" y="3863558"/>
                </a:lnTo>
                <a:lnTo>
                  <a:pt x="0" y="3825927"/>
                </a:lnTo>
                <a:lnTo>
                  <a:pt x="0" y="3769789"/>
                </a:lnTo>
                <a:lnTo>
                  <a:pt x="0" y="3691443"/>
                </a:lnTo>
                <a:lnTo>
                  <a:pt x="0" y="3587187"/>
                </a:lnTo>
                <a:lnTo>
                  <a:pt x="0" y="3584366"/>
                </a:lnTo>
                <a:lnTo>
                  <a:pt x="0" y="3577669"/>
                </a:lnTo>
                <a:lnTo>
                  <a:pt x="0" y="3564625"/>
                </a:lnTo>
                <a:lnTo>
                  <a:pt x="0" y="3563259"/>
                </a:lnTo>
                <a:lnTo>
                  <a:pt x="0" y="3553697"/>
                </a:lnTo>
                <a:lnTo>
                  <a:pt x="0" y="3527744"/>
                </a:lnTo>
                <a:lnTo>
                  <a:pt x="0" y="3506058"/>
                </a:lnTo>
                <a:lnTo>
                  <a:pt x="0" y="3477202"/>
                </a:lnTo>
                <a:lnTo>
                  <a:pt x="0" y="3440149"/>
                </a:lnTo>
                <a:lnTo>
                  <a:pt x="0" y="3393876"/>
                </a:lnTo>
                <a:lnTo>
                  <a:pt x="0" y="3337358"/>
                </a:lnTo>
                <a:lnTo>
                  <a:pt x="0" y="3269571"/>
                </a:lnTo>
                <a:lnTo>
                  <a:pt x="0" y="3189490"/>
                </a:lnTo>
                <a:lnTo>
                  <a:pt x="0" y="3096090"/>
                </a:lnTo>
                <a:lnTo>
                  <a:pt x="0" y="2988347"/>
                </a:lnTo>
                <a:lnTo>
                  <a:pt x="0" y="2865237"/>
                </a:lnTo>
                <a:lnTo>
                  <a:pt x="0" y="2862417"/>
                </a:lnTo>
                <a:lnTo>
                  <a:pt x="0" y="2855719"/>
                </a:lnTo>
                <a:lnTo>
                  <a:pt x="0" y="2842676"/>
                </a:lnTo>
                <a:lnTo>
                  <a:pt x="0" y="2841883"/>
                </a:lnTo>
                <a:lnTo>
                  <a:pt x="0" y="2836331"/>
                </a:lnTo>
                <a:lnTo>
                  <a:pt x="0" y="2821261"/>
                </a:lnTo>
                <a:lnTo>
                  <a:pt x="0" y="2791914"/>
                </a:lnTo>
                <a:lnTo>
                  <a:pt x="0" y="2743531"/>
                </a:lnTo>
                <a:lnTo>
                  <a:pt x="0" y="2671354"/>
                </a:lnTo>
                <a:lnTo>
                  <a:pt x="0" y="2624855"/>
                </a:lnTo>
                <a:lnTo>
                  <a:pt x="0" y="2570623"/>
                </a:lnTo>
                <a:lnTo>
                  <a:pt x="0" y="2508063"/>
                </a:lnTo>
                <a:lnTo>
                  <a:pt x="0" y="2459141"/>
                </a:lnTo>
                <a:cubicBezTo>
                  <a:pt x="22495" y="2459141"/>
                  <a:pt x="22495" y="2459141"/>
                  <a:pt x="44989" y="2459141"/>
                </a:cubicBezTo>
                <a:cubicBezTo>
                  <a:pt x="22495" y="2436580"/>
                  <a:pt x="22495" y="2436580"/>
                  <a:pt x="22495" y="2414019"/>
                </a:cubicBezTo>
                <a:cubicBezTo>
                  <a:pt x="0" y="2414019"/>
                  <a:pt x="0" y="2414019"/>
                  <a:pt x="0" y="2414019"/>
                </a:cubicBezTo>
                <a:lnTo>
                  <a:pt x="0" y="2413181"/>
                </a:lnTo>
                <a:lnTo>
                  <a:pt x="0" y="2407321"/>
                </a:lnTo>
                <a:lnTo>
                  <a:pt x="0" y="2391414"/>
                </a:lnTo>
                <a:lnTo>
                  <a:pt x="0" y="2360436"/>
                </a:lnTo>
                <a:lnTo>
                  <a:pt x="0" y="2309366"/>
                </a:lnTo>
                <a:lnTo>
                  <a:pt x="0" y="2274726"/>
                </a:lnTo>
                <a:lnTo>
                  <a:pt x="0" y="2233179"/>
                </a:lnTo>
                <a:lnTo>
                  <a:pt x="0" y="2184097"/>
                </a:lnTo>
                <a:lnTo>
                  <a:pt x="0" y="2126852"/>
                </a:lnTo>
                <a:lnTo>
                  <a:pt x="0" y="2060816"/>
                </a:lnTo>
                <a:lnTo>
                  <a:pt x="0" y="1985361"/>
                </a:lnTo>
                <a:cubicBezTo>
                  <a:pt x="44989" y="1985361"/>
                  <a:pt x="89978" y="1985361"/>
                  <a:pt x="134967" y="1985361"/>
                </a:cubicBezTo>
                <a:cubicBezTo>
                  <a:pt x="112472" y="1985361"/>
                  <a:pt x="89978" y="1962800"/>
                  <a:pt x="89978" y="1962800"/>
                </a:cubicBezTo>
                <a:cubicBezTo>
                  <a:pt x="67484" y="1940239"/>
                  <a:pt x="44989" y="1940239"/>
                  <a:pt x="22495" y="1917678"/>
                </a:cubicBezTo>
                <a:cubicBezTo>
                  <a:pt x="22495" y="1917678"/>
                  <a:pt x="0" y="1895117"/>
                  <a:pt x="0" y="1895117"/>
                </a:cubicBezTo>
                <a:lnTo>
                  <a:pt x="0" y="1892782"/>
                </a:lnTo>
                <a:lnTo>
                  <a:pt x="0" y="1876434"/>
                </a:lnTo>
                <a:lnTo>
                  <a:pt x="0" y="1858627"/>
                </a:lnTo>
                <a:lnTo>
                  <a:pt x="0" y="1832061"/>
                </a:lnTo>
                <a:lnTo>
                  <a:pt x="0" y="1794987"/>
                </a:lnTo>
                <a:lnTo>
                  <a:pt x="0" y="1745651"/>
                </a:lnTo>
                <a:lnTo>
                  <a:pt x="0" y="1682303"/>
                </a:lnTo>
                <a:lnTo>
                  <a:pt x="0" y="1603192"/>
                </a:lnTo>
                <a:lnTo>
                  <a:pt x="0" y="1506564"/>
                </a:lnTo>
                <a:lnTo>
                  <a:pt x="0" y="1390669"/>
                </a:lnTo>
                <a:lnTo>
                  <a:pt x="0" y="1253756"/>
                </a:lnTo>
                <a:lnTo>
                  <a:pt x="0" y="1094073"/>
                </a:lnTo>
                <a:lnTo>
                  <a:pt x="0" y="909867"/>
                </a:lnTo>
                <a:lnTo>
                  <a:pt x="0" y="699389"/>
                </a:lnTo>
                <a:cubicBezTo>
                  <a:pt x="134967" y="767071"/>
                  <a:pt x="269934" y="834754"/>
                  <a:pt x="382406" y="902437"/>
                </a:cubicBezTo>
                <a:cubicBezTo>
                  <a:pt x="562362" y="1015242"/>
                  <a:pt x="764812" y="1128046"/>
                  <a:pt x="944768" y="1218290"/>
                </a:cubicBezTo>
                <a:cubicBezTo>
                  <a:pt x="967262" y="1240851"/>
                  <a:pt x="967262" y="1240851"/>
                  <a:pt x="989757" y="1240851"/>
                </a:cubicBezTo>
                <a:cubicBezTo>
                  <a:pt x="787307" y="1105485"/>
                  <a:pt x="629845" y="992681"/>
                  <a:pt x="494878" y="857315"/>
                </a:cubicBezTo>
                <a:cubicBezTo>
                  <a:pt x="494878" y="857315"/>
                  <a:pt x="494878" y="857315"/>
                  <a:pt x="472384" y="834754"/>
                </a:cubicBezTo>
                <a:cubicBezTo>
                  <a:pt x="427395" y="812193"/>
                  <a:pt x="427395" y="789632"/>
                  <a:pt x="472384" y="789632"/>
                </a:cubicBezTo>
                <a:cubicBezTo>
                  <a:pt x="517373" y="812193"/>
                  <a:pt x="539867" y="834754"/>
                  <a:pt x="539867" y="857315"/>
                </a:cubicBezTo>
                <a:cubicBezTo>
                  <a:pt x="652340" y="902437"/>
                  <a:pt x="742318" y="924998"/>
                  <a:pt x="854790" y="970120"/>
                </a:cubicBezTo>
                <a:cubicBezTo>
                  <a:pt x="764812" y="902437"/>
                  <a:pt x="652340" y="857315"/>
                  <a:pt x="562362" y="812193"/>
                </a:cubicBezTo>
                <a:cubicBezTo>
                  <a:pt x="472384" y="767071"/>
                  <a:pt x="427395" y="744510"/>
                  <a:pt x="404901" y="699389"/>
                </a:cubicBezTo>
                <a:cubicBezTo>
                  <a:pt x="472384" y="744510"/>
                  <a:pt x="652340" y="789632"/>
                  <a:pt x="652340" y="834754"/>
                </a:cubicBezTo>
                <a:cubicBezTo>
                  <a:pt x="674834" y="834754"/>
                  <a:pt x="697329" y="857315"/>
                  <a:pt x="719823" y="857315"/>
                </a:cubicBezTo>
                <a:cubicBezTo>
                  <a:pt x="787307" y="834754"/>
                  <a:pt x="562362" y="767071"/>
                  <a:pt x="562362" y="721950"/>
                </a:cubicBezTo>
                <a:cubicBezTo>
                  <a:pt x="562362" y="699389"/>
                  <a:pt x="449890" y="676828"/>
                  <a:pt x="427395" y="654267"/>
                </a:cubicBezTo>
                <a:cubicBezTo>
                  <a:pt x="584856" y="699389"/>
                  <a:pt x="607351" y="744510"/>
                  <a:pt x="742318" y="789632"/>
                </a:cubicBezTo>
                <a:cubicBezTo>
                  <a:pt x="787307" y="789632"/>
                  <a:pt x="809801" y="812193"/>
                  <a:pt x="877284" y="812193"/>
                </a:cubicBezTo>
                <a:cubicBezTo>
                  <a:pt x="899779" y="812193"/>
                  <a:pt x="809801" y="767071"/>
                  <a:pt x="899779" y="789632"/>
                </a:cubicBezTo>
                <a:cubicBezTo>
                  <a:pt x="922273" y="767071"/>
                  <a:pt x="832295" y="744510"/>
                  <a:pt x="809801" y="721950"/>
                </a:cubicBezTo>
                <a:cubicBezTo>
                  <a:pt x="719823" y="676828"/>
                  <a:pt x="629845" y="631706"/>
                  <a:pt x="539867" y="586584"/>
                </a:cubicBezTo>
                <a:cubicBezTo>
                  <a:pt x="494878" y="564023"/>
                  <a:pt x="494878" y="541462"/>
                  <a:pt x="607351" y="564023"/>
                </a:cubicBezTo>
                <a:cubicBezTo>
                  <a:pt x="629845" y="564023"/>
                  <a:pt x="562362" y="518901"/>
                  <a:pt x="629845" y="541462"/>
                </a:cubicBezTo>
                <a:cubicBezTo>
                  <a:pt x="719823" y="541462"/>
                  <a:pt x="742318" y="586584"/>
                  <a:pt x="787307" y="609145"/>
                </a:cubicBezTo>
                <a:cubicBezTo>
                  <a:pt x="742318" y="609145"/>
                  <a:pt x="697329" y="564023"/>
                  <a:pt x="652340" y="586584"/>
                </a:cubicBezTo>
                <a:cubicBezTo>
                  <a:pt x="697329" y="631706"/>
                  <a:pt x="787307" y="676828"/>
                  <a:pt x="877284" y="721950"/>
                </a:cubicBezTo>
                <a:cubicBezTo>
                  <a:pt x="922273" y="744510"/>
                  <a:pt x="944768" y="744510"/>
                  <a:pt x="967262" y="744510"/>
                </a:cubicBezTo>
                <a:cubicBezTo>
                  <a:pt x="967262" y="699389"/>
                  <a:pt x="1124724" y="721950"/>
                  <a:pt x="1034746" y="676828"/>
                </a:cubicBezTo>
                <a:cubicBezTo>
                  <a:pt x="922273" y="631706"/>
                  <a:pt x="832295" y="564023"/>
                  <a:pt x="787307" y="518901"/>
                </a:cubicBezTo>
                <a:cubicBezTo>
                  <a:pt x="697329" y="496340"/>
                  <a:pt x="629845" y="473779"/>
                  <a:pt x="584856" y="451218"/>
                </a:cubicBezTo>
                <a:cubicBezTo>
                  <a:pt x="562362" y="428658"/>
                  <a:pt x="517373" y="406097"/>
                  <a:pt x="562362" y="406097"/>
                </a:cubicBezTo>
                <a:cubicBezTo>
                  <a:pt x="607351" y="428658"/>
                  <a:pt x="629845" y="428658"/>
                  <a:pt x="652340" y="451218"/>
                </a:cubicBezTo>
                <a:cubicBezTo>
                  <a:pt x="652340" y="428658"/>
                  <a:pt x="584856" y="406097"/>
                  <a:pt x="584856" y="383536"/>
                </a:cubicBezTo>
                <a:cubicBezTo>
                  <a:pt x="562362" y="383536"/>
                  <a:pt x="539867" y="360975"/>
                  <a:pt x="517373" y="360975"/>
                </a:cubicBezTo>
                <a:cubicBezTo>
                  <a:pt x="472384" y="338414"/>
                  <a:pt x="449890" y="315853"/>
                  <a:pt x="427395" y="293292"/>
                </a:cubicBezTo>
                <a:cubicBezTo>
                  <a:pt x="494878" y="315853"/>
                  <a:pt x="539867" y="338414"/>
                  <a:pt x="584856" y="360975"/>
                </a:cubicBezTo>
                <a:cubicBezTo>
                  <a:pt x="629845" y="383536"/>
                  <a:pt x="629845" y="383536"/>
                  <a:pt x="629845" y="406097"/>
                </a:cubicBezTo>
                <a:cubicBezTo>
                  <a:pt x="764812" y="473779"/>
                  <a:pt x="944768" y="564023"/>
                  <a:pt x="1147218" y="654267"/>
                </a:cubicBezTo>
                <a:cubicBezTo>
                  <a:pt x="1147218" y="631706"/>
                  <a:pt x="1057240" y="609145"/>
                  <a:pt x="1034746" y="586584"/>
                </a:cubicBezTo>
                <a:cubicBezTo>
                  <a:pt x="922273" y="518901"/>
                  <a:pt x="944768" y="496340"/>
                  <a:pt x="809801" y="428658"/>
                </a:cubicBezTo>
                <a:cubicBezTo>
                  <a:pt x="787307" y="428658"/>
                  <a:pt x="742318" y="428658"/>
                  <a:pt x="719823" y="406097"/>
                </a:cubicBezTo>
                <a:lnTo>
                  <a:pt x="742318" y="406097"/>
                </a:lnTo>
                <a:cubicBezTo>
                  <a:pt x="742318" y="383536"/>
                  <a:pt x="697329" y="360975"/>
                  <a:pt x="674834" y="338414"/>
                </a:cubicBezTo>
                <a:cubicBezTo>
                  <a:pt x="629845" y="315853"/>
                  <a:pt x="562362" y="293292"/>
                  <a:pt x="562362" y="270731"/>
                </a:cubicBezTo>
                <a:cubicBezTo>
                  <a:pt x="494878" y="248170"/>
                  <a:pt x="472384" y="203048"/>
                  <a:pt x="404901" y="180488"/>
                </a:cubicBezTo>
                <a:cubicBezTo>
                  <a:pt x="382406" y="180488"/>
                  <a:pt x="382406" y="157927"/>
                  <a:pt x="382406" y="157927"/>
                </a:cubicBezTo>
                <a:cubicBezTo>
                  <a:pt x="359912" y="135366"/>
                  <a:pt x="292428" y="112805"/>
                  <a:pt x="314923" y="112805"/>
                </a:cubicBezTo>
                <a:cubicBezTo>
                  <a:pt x="269934" y="90244"/>
                  <a:pt x="247439" y="67683"/>
                  <a:pt x="224945" y="67683"/>
                </a:cubicBezTo>
                <a:cubicBezTo>
                  <a:pt x="157462" y="22561"/>
                  <a:pt x="112472" y="0"/>
                  <a:pt x="112472" y="0"/>
                </a:cubicBezTo>
                <a:close/>
              </a:path>
            </a:pathLst>
          </a:custGeom>
        </p:spPr>
        <p:txBody>
          <a:bodyPr wrap="square" anchor="ctr">
            <a:noAutofit/>
          </a:bodyPr>
          <a:lstStyle>
            <a:lvl1pPr marL="0" indent="0" algn="ctr">
              <a:buNone/>
              <a:defRPr sz="1600"/>
            </a:lvl1pPr>
          </a:lstStyle>
          <a:p>
            <a:endParaRPr lang="en-US"/>
          </a:p>
        </p:txBody>
      </p:sp>
    </p:spTree>
    <p:extLst>
      <p:ext uri="{BB962C8B-B14F-4D97-AF65-F5344CB8AC3E}">
        <p14:creationId xmlns:p14="http://schemas.microsoft.com/office/powerpoint/2010/main" val="266431026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5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7443203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6A8800-3641-4B6F-B1F4-D1DB77B8D43E}"/>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564F0EA1-6B57-4ABD-869F-9BC4BDB689A0}"/>
              </a:ext>
            </a:extLst>
          </p:cNvPr>
          <p:cNvSpPr>
            <a:spLocks noGrp="1"/>
          </p:cNvSpPr>
          <p:nvPr>
            <p:ph type="subTitle" idx="1"/>
          </p:nvPr>
        </p:nvSpPr>
        <p:spPr>
          <a:xfrm>
            <a:off x="1524000" y="3602037"/>
            <a:ext cx="9144000" cy="1655763"/>
          </a:xfrm>
        </p:spPr>
        <p:txBody>
          <a:bodyPr/>
          <a:lstStyle>
            <a:lvl1pPr marL="0" indent="0" algn="ctr">
              <a:buNone/>
              <a:defRPr sz="2400"/>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78D0ADF5-2BD1-46ED-A3F9-ABAF6E36DE3A}"/>
              </a:ext>
            </a:extLst>
          </p:cNvPr>
          <p:cNvSpPr>
            <a:spLocks noGrp="1"/>
          </p:cNvSpPr>
          <p:nvPr>
            <p:ph type="dt" sz="half" idx="10"/>
          </p:nvPr>
        </p:nvSpPr>
        <p:spPr/>
        <p:txBody>
          <a:bodyPr/>
          <a:lstStyle/>
          <a:p>
            <a:fld id="{9F9E6A59-C2D5-4D4A-8562-8BA3560A0371}" type="datetimeFigureOut">
              <a:rPr lang="en-US" smtClean="0"/>
              <a:t>10/28/2022</a:t>
            </a:fld>
            <a:endParaRPr lang="en-US"/>
          </a:p>
        </p:txBody>
      </p:sp>
      <p:sp>
        <p:nvSpPr>
          <p:cNvPr id="5" name="Footer Placeholder 4">
            <a:extLst>
              <a:ext uri="{FF2B5EF4-FFF2-40B4-BE49-F238E27FC236}">
                <a16:creationId xmlns:a16="http://schemas.microsoft.com/office/drawing/2014/main" id="{8CE88009-1214-4557-A14A-79A029F4A4F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C18A919-DF3F-4E9E-B21B-DA5CB6A44327}"/>
              </a:ext>
            </a:extLst>
          </p:cNvPr>
          <p:cNvSpPr>
            <a:spLocks noGrp="1"/>
          </p:cNvSpPr>
          <p:nvPr>
            <p:ph type="sldNum" sz="quarter" idx="12"/>
          </p:nvPr>
        </p:nvSpPr>
        <p:spPr/>
        <p:txBody>
          <a:bodyPr/>
          <a:lstStyle/>
          <a:p>
            <a:fld id="{380A717A-B595-4236-B1A6-555AD250C289}" type="slidenum">
              <a:rPr lang="en-US" smtClean="0"/>
              <a:t>‹#›</a:t>
            </a:fld>
            <a:endParaRPr lang="en-US"/>
          </a:p>
        </p:txBody>
      </p:sp>
    </p:spTree>
    <p:extLst>
      <p:ext uri="{BB962C8B-B14F-4D97-AF65-F5344CB8AC3E}">
        <p14:creationId xmlns:p14="http://schemas.microsoft.com/office/powerpoint/2010/main" val="8865075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29DD354-89FE-4E19-A721-FECBD200F3DA}"/>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E8D1C89C-A491-4B7F-A226-14826E30EC1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6C48BC5-7A59-47CE-AF0A-D88777CB5200}"/>
              </a:ext>
            </a:extLst>
          </p:cNvPr>
          <p:cNvSpPr>
            <a:spLocks noGrp="1"/>
          </p:cNvSpPr>
          <p:nvPr>
            <p:ph type="dt" sz="half" idx="10"/>
          </p:nvPr>
        </p:nvSpPr>
        <p:spPr/>
        <p:txBody>
          <a:bodyPr/>
          <a:lstStyle/>
          <a:p>
            <a:fld id="{9F9E6A59-C2D5-4D4A-8562-8BA3560A0371}" type="datetimeFigureOut">
              <a:rPr lang="en-US" smtClean="0"/>
              <a:t>10/28/2022</a:t>
            </a:fld>
            <a:endParaRPr lang="en-US"/>
          </a:p>
        </p:txBody>
      </p:sp>
      <p:sp>
        <p:nvSpPr>
          <p:cNvPr id="5" name="Footer Placeholder 4">
            <a:extLst>
              <a:ext uri="{FF2B5EF4-FFF2-40B4-BE49-F238E27FC236}">
                <a16:creationId xmlns:a16="http://schemas.microsoft.com/office/drawing/2014/main" id="{AFB3167A-7FB9-453B-B94B-779ADE3470A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7279220-9FD8-40DE-83DA-2575EB770A3A}"/>
              </a:ext>
            </a:extLst>
          </p:cNvPr>
          <p:cNvSpPr>
            <a:spLocks noGrp="1"/>
          </p:cNvSpPr>
          <p:nvPr>
            <p:ph type="sldNum" sz="quarter" idx="12"/>
          </p:nvPr>
        </p:nvSpPr>
        <p:spPr/>
        <p:txBody>
          <a:bodyPr/>
          <a:lstStyle/>
          <a:p>
            <a:fld id="{380A717A-B595-4236-B1A6-555AD250C289}" type="slidenum">
              <a:rPr lang="en-US" smtClean="0"/>
              <a:t>‹#›</a:t>
            </a:fld>
            <a:endParaRPr lang="en-US"/>
          </a:p>
        </p:txBody>
      </p:sp>
    </p:spTree>
    <p:extLst>
      <p:ext uri="{BB962C8B-B14F-4D97-AF65-F5344CB8AC3E}">
        <p14:creationId xmlns:p14="http://schemas.microsoft.com/office/powerpoint/2010/main" val="113429370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5.xml"/><Relationship Id="rId3" Type="http://schemas.openxmlformats.org/officeDocument/2006/relationships/slideLayout" Target="../slideLayouts/slideLayout10.xml"/><Relationship Id="rId7" Type="http://schemas.openxmlformats.org/officeDocument/2006/relationships/slideLayout" Target="../slideLayouts/slideLayout14.xml"/><Relationship Id="rId12" Type="http://schemas.openxmlformats.org/officeDocument/2006/relationships/theme" Target="../theme/theme2.xml"/><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slideLayout" Target="../slideLayouts/slideLayout13.xml"/><Relationship Id="rId11" Type="http://schemas.openxmlformats.org/officeDocument/2006/relationships/slideLayout" Target="../slideLayouts/slideLayout18.xml"/><Relationship Id="rId5" Type="http://schemas.openxmlformats.org/officeDocument/2006/relationships/slideLayout" Target="../slideLayouts/slideLayout12.xml"/><Relationship Id="rId10" Type="http://schemas.openxmlformats.org/officeDocument/2006/relationships/slideLayout" Target="../slideLayouts/slideLayout17.xml"/><Relationship Id="rId4" Type="http://schemas.openxmlformats.org/officeDocument/2006/relationships/slideLayout" Target="../slideLayouts/slideLayout11.xml"/><Relationship Id="rId9" Type="http://schemas.openxmlformats.org/officeDocument/2006/relationships/slideLayout" Target="../slideLayouts/slideLayout16.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6.xml"/><Relationship Id="rId3" Type="http://schemas.openxmlformats.org/officeDocument/2006/relationships/slideLayout" Target="../slideLayouts/slideLayout21.xml"/><Relationship Id="rId7" Type="http://schemas.openxmlformats.org/officeDocument/2006/relationships/slideLayout" Target="../slideLayouts/slideLayout25.xml"/><Relationship Id="rId12" Type="http://schemas.openxmlformats.org/officeDocument/2006/relationships/theme" Target="../theme/theme3.xml"/><Relationship Id="rId2" Type="http://schemas.openxmlformats.org/officeDocument/2006/relationships/slideLayout" Target="../slideLayouts/slideLayout20.xml"/><Relationship Id="rId1" Type="http://schemas.openxmlformats.org/officeDocument/2006/relationships/slideLayout" Target="../slideLayouts/slideLayout19.xml"/><Relationship Id="rId6" Type="http://schemas.openxmlformats.org/officeDocument/2006/relationships/slideLayout" Target="../slideLayouts/slideLayout24.xml"/><Relationship Id="rId11" Type="http://schemas.openxmlformats.org/officeDocument/2006/relationships/slideLayout" Target="../slideLayouts/slideLayout29.xml"/><Relationship Id="rId5" Type="http://schemas.openxmlformats.org/officeDocument/2006/relationships/slideLayout" Target="../slideLayouts/slideLayout23.xml"/><Relationship Id="rId10" Type="http://schemas.openxmlformats.org/officeDocument/2006/relationships/slideLayout" Target="../slideLayouts/slideLayout28.xml"/><Relationship Id="rId4" Type="http://schemas.openxmlformats.org/officeDocument/2006/relationships/slideLayout" Target="../slideLayouts/slideLayout22.xml"/><Relationship Id="rId9" Type="http://schemas.openxmlformats.org/officeDocument/2006/relationships/slideLayout" Target="../slideLayouts/slideLayout27.xml"/></Relationships>
</file>

<file path=ppt/slideMasters/_rels/slideMaster4.xml.rels><?xml version="1.0" encoding="UTF-8" standalone="yes"?>
<Relationships xmlns="http://schemas.openxmlformats.org/package/2006/relationships"><Relationship Id="rId2" Type="http://schemas.openxmlformats.org/officeDocument/2006/relationships/theme" Target="../theme/theme4.xml"/><Relationship Id="rId1" Type="http://schemas.openxmlformats.org/officeDocument/2006/relationships/slideLayout" Target="../slideLayouts/slideLayout3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184B51A6-CF08-477F-B9A7-C4302E1DC0A3}" type="datetime1">
              <a:rPr lang="en-US" smtClean="0"/>
              <a:t>10/28/2022</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3206E70-9524-410D-AE9B-78D656EAA14D}" type="slidenum">
              <a:rPr lang="en-US" smtClean="0"/>
              <a:t>‹#›</a:t>
            </a:fld>
            <a:endParaRPr lang="en-US"/>
          </a:p>
        </p:txBody>
      </p:sp>
    </p:spTree>
    <p:extLst>
      <p:ext uri="{BB962C8B-B14F-4D97-AF65-F5344CB8AC3E}">
        <p14:creationId xmlns:p14="http://schemas.microsoft.com/office/powerpoint/2010/main" val="65443353"/>
      </p:ext>
    </p:extLst>
  </p:cSld>
  <p:clrMap bg1="lt1" tx1="dk1" bg2="lt2" tx2="dk2" accent1="accent1" accent2="accent2" accent3="accent3" accent4="accent4" accent5="accent5" accent6="accent6" hlink="hlink" folHlink="folHlink"/>
  <p:sldLayoutIdLst>
    <p:sldLayoutId id="2147483655" r:id="rId1"/>
    <p:sldLayoutId id="2147483661" r:id="rId2"/>
    <p:sldLayoutId id="2147483657" r:id="rId3"/>
    <p:sldLayoutId id="2147483659" r:id="rId4"/>
    <p:sldLayoutId id="2147483658" r:id="rId5"/>
    <p:sldLayoutId id="2147483656" r:id="rId6"/>
    <p:sldLayoutId id="2147483660" r:id="rId7"/>
  </p:sldLayoutIdLst>
  <p:hf hdr="0" ftr="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75D8A3F3-6197-41B5-960B-74D60D3074BD}"/>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69342CCD-3F4D-4D51-B482-3F2F8A2C60C3}"/>
              </a:ext>
            </a:extLst>
          </p:cNvPr>
          <p:cNvSpPr>
            <a:spLocks noGrp="1"/>
          </p:cNvSpPr>
          <p:nvPr>
            <p:ph type="body" idx="1"/>
          </p:nvPr>
        </p:nvSpPr>
        <p:spPr>
          <a:xfrm>
            <a:off x="838200" y="1825625"/>
            <a:ext cx="10515600" cy="4351339"/>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DE05EE3-D3D6-4CB6-A9BD-C36746738401}"/>
              </a:ext>
            </a:extLst>
          </p:cNvPr>
          <p:cNvSpPr>
            <a:spLocks noGrp="1"/>
          </p:cNvSpPr>
          <p:nvPr>
            <p:ph type="dt" sz="half" idx="2"/>
          </p:nvPr>
        </p:nvSpPr>
        <p:spPr>
          <a:xfrm>
            <a:off x="838200" y="6356351"/>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9F9E6A59-C2D5-4D4A-8562-8BA3560A0371}" type="datetimeFigureOut">
              <a:rPr lang="en-US" smtClean="0"/>
              <a:t>10/28/2022</a:t>
            </a:fld>
            <a:endParaRPr lang="en-US"/>
          </a:p>
        </p:txBody>
      </p:sp>
      <p:sp>
        <p:nvSpPr>
          <p:cNvPr id="5" name="Footer Placeholder 4">
            <a:extLst>
              <a:ext uri="{FF2B5EF4-FFF2-40B4-BE49-F238E27FC236}">
                <a16:creationId xmlns:a16="http://schemas.microsoft.com/office/drawing/2014/main" id="{F4D35682-BD93-4CFC-9DCF-C16A14FF22F0}"/>
              </a:ext>
            </a:extLst>
          </p:cNvPr>
          <p:cNvSpPr>
            <a:spLocks noGrp="1"/>
          </p:cNvSpPr>
          <p:nvPr>
            <p:ph type="ftr" sz="quarter" idx="3"/>
          </p:nvPr>
        </p:nvSpPr>
        <p:spPr>
          <a:xfrm>
            <a:off x="4038600" y="6356351"/>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8D92822B-C0CF-44B5-BF64-BC7EEA363D7E}"/>
              </a:ext>
            </a:extLst>
          </p:cNvPr>
          <p:cNvSpPr>
            <a:spLocks noGrp="1"/>
          </p:cNvSpPr>
          <p:nvPr>
            <p:ph type="sldNum" sz="quarter" idx="4"/>
          </p:nvPr>
        </p:nvSpPr>
        <p:spPr>
          <a:xfrm>
            <a:off x="8610600" y="6356351"/>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80A717A-B595-4236-B1A6-555AD250C289}" type="slidenum">
              <a:rPr lang="en-US" smtClean="0"/>
              <a:t>‹#›</a:t>
            </a:fld>
            <a:endParaRPr lang="en-US"/>
          </a:p>
        </p:txBody>
      </p:sp>
    </p:spTree>
    <p:extLst>
      <p:ext uri="{BB962C8B-B14F-4D97-AF65-F5344CB8AC3E}">
        <p14:creationId xmlns:p14="http://schemas.microsoft.com/office/powerpoint/2010/main" val="2508779735"/>
      </p:ext>
    </p:extLst>
  </p:cSld>
  <p:clrMap bg1="lt1" tx1="dk1" bg2="lt2" tx2="dk2" accent1="accent1" accent2="accent2" accent3="accent3" accent4="accent4" accent5="accent5" accent6="accent6" hlink="hlink" folHlink="folHlink"/>
  <p:sldLayoutIdLst>
    <p:sldLayoutId id="2147483663" r:id="rId1"/>
    <p:sldLayoutId id="2147483664" r:id="rId2"/>
    <p:sldLayoutId id="2147483665" r:id="rId3"/>
    <p:sldLayoutId id="2147483666" r:id="rId4"/>
    <p:sldLayoutId id="2147483667" r:id="rId5"/>
    <p:sldLayoutId id="2147483668" r:id="rId6"/>
    <p:sldLayoutId id="2147483669" r:id="rId7"/>
    <p:sldLayoutId id="2147483670" r:id="rId8"/>
    <p:sldLayoutId id="2147483671" r:id="rId9"/>
    <p:sldLayoutId id="2147483672" r:id="rId10"/>
    <p:sldLayoutId id="2147483673" r:id="rId11"/>
  </p:sldLayoutIdLst>
  <p:txStyles>
    <p:titleStyle>
      <a:lvl1pPr algn="l" defTabSz="914377"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94" indent="-228594" algn="l" defTabSz="914377"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350"/>
        <p:cNvGrpSpPr/>
        <p:nvPr/>
      </p:nvGrpSpPr>
      <p:grpSpPr>
        <a:xfrm>
          <a:off x="0" y="0"/>
          <a:ext cx="0" cy="0"/>
          <a:chOff x="0" y="0"/>
          <a:chExt cx="0" cy="0"/>
        </a:xfrm>
      </p:grpSpPr>
      <p:sp>
        <p:nvSpPr>
          <p:cNvPr id="351" name="Google Shape;351;p61"/>
          <p:cNvSpPr txBox="1">
            <a:spLocks noGrp="1"/>
          </p:cNvSpPr>
          <p:nvPr>
            <p:ph type="title"/>
          </p:nvPr>
        </p:nvSpPr>
        <p:spPr>
          <a:xfrm>
            <a:off x="838200" y="365125"/>
            <a:ext cx="10515600" cy="1325563"/>
          </a:xfrm>
          <a:prstGeom prst="rect">
            <a:avLst/>
          </a:prstGeom>
          <a:noFill/>
          <a:ln>
            <a:noFill/>
          </a:ln>
        </p:spPr>
        <p:txBody>
          <a:bodyPr spcFirstLastPara="1" wrap="square" lIns="68575" tIns="34275" rIns="68575" bIns="34275" anchor="ctr" anchorCtr="0">
            <a:normAutofit/>
          </a:bodyPr>
          <a:lstStyle>
            <a:lvl1pPr marR="0" lvl="0" algn="l" rtl="0">
              <a:lnSpc>
                <a:spcPct val="90000"/>
              </a:lnSpc>
              <a:spcBef>
                <a:spcPts val="0"/>
              </a:spcBef>
              <a:spcAft>
                <a:spcPts val="0"/>
              </a:spcAft>
              <a:buClr>
                <a:schemeClr val="dk1"/>
              </a:buClr>
              <a:buSzPts val="3300"/>
              <a:buFont typeface="Calibri"/>
              <a:buNone/>
              <a:defRPr sz="3300" b="0" i="0" u="none" strike="noStrike" cap="none">
                <a:solidFill>
                  <a:schemeClr val="dk1"/>
                </a:solidFill>
                <a:latin typeface="Calibri"/>
                <a:ea typeface="Calibri"/>
                <a:cs typeface="Calibri"/>
                <a:sym typeface="Calibri"/>
              </a:defRPr>
            </a:lvl1pPr>
            <a:lvl2pPr lvl="1">
              <a:spcBef>
                <a:spcPts val="0"/>
              </a:spcBef>
              <a:spcAft>
                <a:spcPts val="0"/>
              </a:spcAft>
              <a:buSzPts val="1100"/>
              <a:buNone/>
              <a:defRPr sz="1400"/>
            </a:lvl2pPr>
            <a:lvl3pPr lvl="2">
              <a:spcBef>
                <a:spcPts val="0"/>
              </a:spcBef>
              <a:spcAft>
                <a:spcPts val="0"/>
              </a:spcAft>
              <a:buSzPts val="1100"/>
              <a:buNone/>
              <a:defRPr sz="1400"/>
            </a:lvl3pPr>
            <a:lvl4pPr lvl="3">
              <a:spcBef>
                <a:spcPts val="0"/>
              </a:spcBef>
              <a:spcAft>
                <a:spcPts val="0"/>
              </a:spcAft>
              <a:buSzPts val="1100"/>
              <a:buNone/>
              <a:defRPr sz="1400"/>
            </a:lvl4pPr>
            <a:lvl5pPr lvl="4">
              <a:spcBef>
                <a:spcPts val="0"/>
              </a:spcBef>
              <a:spcAft>
                <a:spcPts val="0"/>
              </a:spcAft>
              <a:buSzPts val="1100"/>
              <a:buNone/>
              <a:defRPr sz="1400"/>
            </a:lvl5pPr>
            <a:lvl6pPr lvl="5">
              <a:spcBef>
                <a:spcPts val="0"/>
              </a:spcBef>
              <a:spcAft>
                <a:spcPts val="0"/>
              </a:spcAft>
              <a:buSzPts val="1100"/>
              <a:buNone/>
              <a:defRPr sz="1400"/>
            </a:lvl6pPr>
            <a:lvl7pPr lvl="6">
              <a:spcBef>
                <a:spcPts val="0"/>
              </a:spcBef>
              <a:spcAft>
                <a:spcPts val="0"/>
              </a:spcAft>
              <a:buSzPts val="1100"/>
              <a:buNone/>
              <a:defRPr sz="1400"/>
            </a:lvl7pPr>
            <a:lvl8pPr lvl="7">
              <a:spcBef>
                <a:spcPts val="0"/>
              </a:spcBef>
              <a:spcAft>
                <a:spcPts val="0"/>
              </a:spcAft>
              <a:buSzPts val="1100"/>
              <a:buNone/>
              <a:defRPr sz="1400"/>
            </a:lvl8pPr>
            <a:lvl9pPr lvl="8">
              <a:spcBef>
                <a:spcPts val="0"/>
              </a:spcBef>
              <a:spcAft>
                <a:spcPts val="0"/>
              </a:spcAft>
              <a:buSzPts val="1100"/>
              <a:buNone/>
              <a:defRPr sz="1400"/>
            </a:lvl9pPr>
          </a:lstStyle>
          <a:p>
            <a:endParaRPr/>
          </a:p>
        </p:txBody>
      </p:sp>
      <p:sp>
        <p:nvSpPr>
          <p:cNvPr id="352" name="Google Shape;352;p61"/>
          <p:cNvSpPr txBox="1">
            <a:spLocks noGrp="1"/>
          </p:cNvSpPr>
          <p:nvPr>
            <p:ph type="body" idx="1"/>
          </p:nvPr>
        </p:nvSpPr>
        <p:spPr>
          <a:xfrm>
            <a:off x="838200" y="1825625"/>
            <a:ext cx="10515600" cy="4351339"/>
          </a:xfrm>
          <a:prstGeom prst="rect">
            <a:avLst/>
          </a:prstGeom>
          <a:noFill/>
          <a:ln>
            <a:noFill/>
          </a:ln>
        </p:spPr>
        <p:txBody>
          <a:bodyPr spcFirstLastPara="1" wrap="square" lIns="68575" tIns="34275" rIns="68575" bIns="34275" anchor="t" anchorCtr="0">
            <a:normAutofit/>
          </a:bodyPr>
          <a:lstStyle>
            <a:lvl1pPr marL="457200" marR="0" lvl="0" indent="-361950" algn="l" rtl="0">
              <a:lnSpc>
                <a:spcPct val="90000"/>
              </a:lnSpc>
              <a:spcBef>
                <a:spcPts val="800"/>
              </a:spcBef>
              <a:spcAft>
                <a:spcPts val="0"/>
              </a:spcAft>
              <a:buClr>
                <a:schemeClr val="dk1"/>
              </a:buClr>
              <a:buSzPts val="2100"/>
              <a:buFont typeface="Arial"/>
              <a:buChar char="•"/>
              <a:defRPr sz="2100" b="0" i="0" u="none" strike="noStrike" cap="none">
                <a:solidFill>
                  <a:schemeClr val="dk1"/>
                </a:solidFill>
                <a:latin typeface="Calibri"/>
                <a:ea typeface="Calibri"/>
                <a:cs typeface="Calibri"/>
                <a:sym typeface="Calibri"/>
              </a:defRPr>
            </a:lvl1pPr>
            <a:lvl2pPr marL="914400" marR="0" lvl="1" indent="-342900" algn="l" rtl="0">
              <a:lnSpc>
                <a:spcPct val="90000"/>
              </a:lnSpc>
              <a:spcBef>
                <a:spcPts val="4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2pPr>
            <a:lvl3pPr marL="1371600" marR="0" lvl="2" indent="-323850" algn="l" rtl="0">
              <a:lnSpc>
                <a:spcPct val="90000"/>
              </a:lnSpc>
              <a:spcBef>
                <a:spcPts val="400"/>
              </a:spcBef>
              <a:spcAft>
                <a:spcPts val="0"/>
              </a:spcAft>
              <a:buClr>
                <a:schemeClr val="dk1"/>
              </a:buClr>
              <a:buSzPts val="1500"/>
              <a:buFont typeface="Arial"/>
              <a:buChar char="•"/>
              <a:defRPr sz="1500" b="0" i="0" u="none" strike="noStrike" cap="none">
                <a:solidFill>
                  <a:schemeClr val="dk1"/>
                </a:solidFill>
                <a:latin typeface="Calibri"/>
                <a:ea typeface="Calibri"/>
                <a:cs typeface="Calibri"/>
                <a:sym typeface="Calibri"/>
              </a:defRPr>
            </a:lvl3pPr>
            <a:lvl4pPr marL="1828800" marR="0" lvl="3"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Calibri"/>
                <a:ea typeface="Calibri"/>
                <a:cs typeface="Calibri"/>
                <a:sym typeface="Calibri"/>
              </a:defRPr>
            </a:lvl4pPr>
            <a:lvl5pPr marL="2286000" marR="0" lvl="4"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Calibri"/>
                <a:ea typeface="Calibri"/>
                <a:cs typeface="Calibri"/>
                <a:sym typeface="Calibri"/>
              </a:defRPr>
            </a:lvl5pPr>
            <a:lvl6pPr marL="2743200" marR="0" lvl="5"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Calibri"/>
                <a:ea typeface="Calibri"/>
                <a:cs typeface="Calibri"/>
                <a:sym typeface="Calibri"/>
              </a:defRPr>
            </a:lvl6pPr>
            <a:lvl7pPr marL="3200400" marR="0" lvl="6"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Calibri"/>
                <a:ea typeface="Calibri"/>
                <a:cs typeface="Calibri"/>
                <a:sym typeface="Calibri"/>
              </a:defRPr>
            </a:lvl7pPr>
            <a:lvl8pPr marL="3657600" marR="0" lvl="7"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Calibri"/>
                <a:ea typeface="Calibri"/>
                <a:cs typeface="Calibri"/>
                <a:sym typeface="Calibri"/>
              </a:defRPr>
            </a:lvl8pPr>
            <a:lvl9pPr marL="4114800" marR="0" lvl="8"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Calibri"/>
                <a:ea typeface="Calibri"/>
                <a:cs typeface="Calibri"/>
                <a:sym typeface="Calibri"/>
              </a:defRPr>
            </a:lvl9pPr>
          </a:lstStyle>
          <a:p>
            <a:endParaRPr/>
          </a:p>
        </p:txBody>
      </p:sp>
      <p:sp>
        <p:nvSpPr>
          <p:cNvPr id="353" name="Google Shape;353;p61"/>
          <p:cNvSpPr txBox="1">
            <a:spLocks noGrp="1"/>
          </p:cNvSpPr>
          <p:nvPr>
            <p:ph type="dt" idx="10"/>
          </p:nvPr>
        </p:nvSpPr>
        <p:spPr>
          <a:xfrm>
            <a:off x="838200" y="6356351"/>
            <a:ext cx="2743200" cy="365125"/>
          </a:xfrm>
          <a:prstGeom prst="rect">
            <a:avLst/>
          </a:prstGeom>
          <a:noFill/>
          <a:ln>
            <a:noFill/>
          </a:ln>
        </p:spPr>
        <p:txBody>
          <a:bodyPr spcFirstLastPara="1" wrap="square" lIns="68575" tIns="34275" rIns="68575" bIns="34275" anchor="ctr" anchorCtr="0">
            <a:noAutofit/>
          </a:bodyPr>
          <a:lstStyle>
            <a:lvl1pPr marR="0" lvl="0" algn="l" rtl="0">
              <a:spcBef>
                <a:spcPts val="0"/>
              </a:spcBef>
              <a:spcAft>
                <a:spcPts val="0"/>
              </a:spcAft>
              <a:buSzPts val="1100"/>
              <a:buNone/>
              <a:defRPr sz="1200" b="0" i="0" u="none" strike="noStrike" cap="none">
                <a:solidFill>
                  <a:srgbClr val="888888"/>
                </a:solidFill>
                <a:latin typeface="Calibri"/>
                <a:ea typeface="Calibri"/>
                <a:cs typeface="Calibri"/>
                <a:sym typeface="Calibri"/>
              </a:defRPr>
            </a:lvl1pPr>
            <a:lvl2pPr marR="0" lvl="1" algn="l" rtl="0">
              <a:spcBef>
                <a:spcPts val="0"/>
              </a:spcBef>
              <a:spcAft>
                <a:spcPts val="0"/>
              </a:spcAft>
              <a:buSzPts val="1100"/>
              <a:buNone/>
              <a:defRPr sz="1867" b="0" i="0" u="none" strike="noStrike" cap="none">
                <a:solidFill>
                  <a:schemeClr val="dk1"/>
                </a:solidFill>
                <a:latin typeface="Calibri"/>
                <a:ea typeface="Calibri"/>
                <a:cs typeface="Calibri"/>
                <a:sym typeface="Calibri"/>
              </a:defRPr>
            </a:lvl2pPr>
            <a:lvl3pPr marR="0" lvl="2" algn="l" rtl="0">
              <a:spcBef>
                <a:spcPts val="0"/>
              </a:spcBef>
              <a:spcAft>
                <a:spcPts val="0"/>
              </a:spcAft>
              <a:buSzPts val="1100"/>
              <a:buNone/>
              <a:defRPr sz="1867" b="0" i="0" u="none" strike="noStrike" cap="none">
                <a:solidFill>
                  <a:schemeClr val="dk1"/>
                </a:solidFill>
                <a:latin typeface="Calibri"/>
                <a:ea typeface="Calibri"/>
                <a:cs typeface="Calibri"/>
                <a:sym typeface="Calibri"/>
              </a:defRPr>
            </a:lvl3pPr>
            <a:lvl4pPr marR="0" lvl="3" algn="l" rtl="0">
              <a:spcBef>
                <a:spcPts val="0"/>
              </a:spcBef>
              <a:spcAft>
                <a:spcPts val="0"/>
              </a:spcAft>
              <a:buSzPts val="1100"/>
              <a:buNone/>
              <a:defRPr sz="1867" b="0" i="0" u="none" strike="noStrike" cap="none">
                <a:solidFill>
                  <a:schemeClr val="dk1"/>
                </a:solidFill>
                <a:latin typeface="Calibri"/>
                <a:ea typeface="Calibri"/>
                <a:cs typeface="Calibri"/>
                <a:sym typeface="Calibri"/>
              </a:defRPr>
            </a:lvl4pPr>
            <a:lvl5pPr marR="0" lvl="4" algn="l" rtl="0">
              <a:spcBef>
                <a:spcPts val="0"/>
              </a:spcBef>
              <a:spcAft>
                <a:spcPts val="0"/>
              </a:spcAft>
              <a:buSzPts val="1100"/>
              <a:buNone/>
              <a:defRPr sz="1867" b="0" i="0" u="none" strike="noStrike" cap="none">
                <a:solidFill>
                  <a:schemeClr val="dk1"/>
                </a:solidFill>
                <a:latin typeface="Calibri"/>
                <a:ea typeface="Calibri"/>
                <a:cs typeface="Calibri"/>
                <a:sym typeface="Calibri"/>
              </a:defRPr>
            </a:lvl5pPr>
            <a:lvl6pPr marR="0" lvl="5" algn="l" rtl="0">
              <a:spcBef>
                <a:spcPts val="0"/>
              </a:spcBef>
              <a:spcAft>
                <a:spcPts val="0"/>
              </a:spcAft>
              <a:buSzPts val="1100"/>
              <a:buNone/>
              <a:defRPr sz="1867" b="0" i="0" u="none" strike="noStrike" cap="none">
                <a:solidFill>
                  <a:schemeClr val="dk1"/>
                </a:solidFill>
                <a:latin typeface="Calibri"/>
                <a:ea typeface="Calibri"/>
                <a:cs typeface="Calibri"/>
                <a:sym typeface="Calibri"/>
              </a:defRPr>
            </a:lvl6pPr>
            <a:lvl7pPr marR="0" lvl="6" algn="l" rtl="0">
              <a:spcBef>
                <a:spcPts val="0"/>
              </a:spcBef>
              <a:spcAft>
                <a:spcPts val="0"/>
              </a:spcAft>
              <a:buSzPts val="1100"/>
              <a:buNone/>
              <a:defRPr sz="1867" b="0" i="0" u="none" strike="noStrike" cap="none">
                <a:solidFill>
                  <a:schemeClr val="dk1"/>
                </a:solidFill>
                <a:latin typeface="Calibri"/>
                <a:ea typeface="Calibri"/>
                <a:cs typeface="Calibri"/>
                <a:sym typeface="Calibri"/>
              </a:defRPr>
            </a:lvl7pPr>
            <a:lvl8pPr marR="0" lvl="7" algn="l" rtl="0">
              <a:spcBef>
                <a:spcPts val="0"/>
              </a:spcBef>
              <a:spcAft>
                <a:spcPts val="0"/>
              </a:spcAft>
              <a:buSzPts val="1100"/>
              <a:buNone/>
              <a:defRPr sz="1867" b="0" i="0" u="none" strike="noStrike" cap="none">
                <a:solidFill>
                  <a:schemeClr val="dk1"/>
                </a:solidFill>
                <a:latin typeface="Calibri"/>
                <a:ea typeface="Calibri"/>
                <a:cs typeface="Calibri"/>
                <a:sym typeface="Calibri"/>
              </a:defRPr>
            </a:lvl8pPr>
            <a:lvl9pPr marR="0" lvl="8" algn="l" rtl="0">
              <a:spcBef>
                <a:spcPts val="0"/>
              </a:spcBef>
              <a:spcAft>
                <a:spcPts val="0"/>
              </a:spcAft>
              <a:buSzPts val="1100"/>
              <a:buNone/>
              <a:defRPr sz="1867" b="0" i="0" u="none" strike="noStrike" cap="none">
                <a:solidFill>
                  <a:schemeClr val="dk1"/>
                </a:solidFill>
                <a:latin typeface="Calibri"/>
                <a:ea typeface="Calibri"/>
                <a:cs typeface="Calibri"/>
                <a:sym typeface="Calibri"/>
              </a:defRPr>
            </a:lvl9pPr>
          </a:lstStyle>
          <a:p>
            <a:endParaRPr/>
          </a:p>
        </p:txBody>
      </p:sp>
      <p:sp>
        <p:nvSpPr>
          <p:cNvPr id="354" name="Google Shape;354;p61"/>
          <p:cNvSpPr txBox="1">
            <a:spLocks noGrp="1"/>
          </p:cNvSpPr>
          <p:nvPr>
            <p:ph type="ftr" idx="11"/>
          </p:nvPr>
        </p:nvSpPr>
        <p:spPr>
          <a:xfrm>
            <a:off x="4038600" y="6356351"/>
            <a:ext cx="4114800" cy="365125"/>
          </a:xfrm>
          <a:prstGeom prst="rect">
            <a:avLst/>
          </a:prstGeom>
          <a:noFill/>
          <a:ln>
            <a:noFill/>
          </a:ln>
        </p:spPr>
        <p:txBody>
          <a:bodyPr spcFirstLastPara="1" wrap="square" lIns="68575" tIns="34275" rIns="68575" bIns="34275" anchor="ctr" anchorCtr="0">
            <a:noAutofit/>
          </a:bodyPr>
          <a:lstStyle>
            <a:lvl1pPr marR="0" lvl="0" algn="ctr" rtl="0">
              <a:spcBef>
                <a:spcPts val="0"/>
              </a:spcBef>
              <a:spcAft>
                <a:spcPts val="0"/>
              </a:spcAft>
              <a:buSzPts val="1100"/>
              <a:buNone/>
              <a:defRPr sz="1200" b="0" i="0" u="none" strike="noStrike" cap="none">
                <a:solidFill>
                  <a:srgbClr val="888888"/>
                </a:solidFill>
                <a:latin typeface="Calibri"/>
                <a:ea typeface="Calibri"/>
                <a:cs typeface="Calibri"/>
                <a:sym typeface="Calibri"/>
              </a:defRPr>
            </a:lvl1pPr>
            <a:lvl2pPr marR="0" lvl="1" algn="l" rtl="0">
              <a:spcBef>
                <a:spcPts val="0"/>
              </a:spcBef>
              <a:spcAft>
                <a:spcPts val="0"/>
              </a:spcAft>
              <a:buSzPts val="1100"/>
              <a:buNone/>
              <a:defRPr sz="1867" b="0" i="0" u="none" strike="noStrike" cap="none">
                <a:solidFill>
                  <a:schemeClr val="dk1"/>
                </a:solidFill>
                <a:latin typeface="Calibri"/>
                <a:ea typeface="Calibri"/>
                <a:cs typeface="Calibri"/>
                <a:sym typeface="Calibri"/>
              </a:defRPr>
            </a:lvl2pPr>
            <a:lvl3pPr marR="0" lvl="2" algn="l" rtl="0">
              <a:spcBef>
                <a:spcPts val="0"/>
              </a:spcBef>
              <a:spcAft>
                <a:spcPts val="0"/>
              </a:spcAft>
              <a:buSzPts val="1100"/>
              <a:buNone/>
              <a:defRPr sz="1867" b="0" i="0" u="none" strike="noStrike" cap="none">
                <a:solidFill>
                  <a:schemeClr val="dk1"/>
                </a:solidFill>
                <a:latin typeface="Calibri"/>
                <a:ea typeface="Calibri"/>
                <a:cs typeface="Calibri"/>
                <a:sym typeface="Calibri"/>
              </a:defRPr>
            </a:lvl3pPr>
            <a:lvl4pPr marR="0" lvl="3" algn="l" rtl="0">
              <a:spcBef>
                <a:spcPts val="0"/>
              </a:spcBef>
              <a:spcAft>
                <a:spcPts val="0"/>
              </a:spcAft>
              <a:buSzPts val="1100"/>
              <a:buNone/>
              <a:defRPr sz="1867" b="0" i="0" u="none" strike="noStrike" cap="none">
                <a:solidFill>
                  <a:schemeClr val="dk1"/>
                </a:solidFill>
                <a:latin typeface="Calibri"/>
                <a:ea typeface="Calibri"/>
                <a:cs typeface="Calibri"/>
                <a:sym typeface="Calibri"/>
              </a:defRPr>
            </a:lvl4pPr>
            <a:lvl5pPr marR="0" lvl="4" algn="l" rtl="0">
              <a:spcBef>
                <a:spcPts val="0"/>
              </a:spcBef>
              <a:spcAft>
                <a:spcPts val="0"/>
              </a:spcAft>
              <a:buSzPts val="1100"/>
              <a:buNone/>
              <a:defRPr sz="1867" b="0" i="0" u="none" strike="noStrike" cap="none">
                <a:solidFill>
                  <a:schemeClr val="dk1"/>
                </a:solidFill>
                <a:latin typeface="Calibri"/>
                <a:ea typeface="Calibri"/>
                <a:cs typeface="Calibri"/>
                <a:sym typeface="Calibri"/>
              </a:defRPr>
            </a:lvl5pPr>
            <a:lvl6pPr marR="0" lvl="5" algn="l" rtl="0">
              <a:spcBef>
                <a:spcPts val="0"/>
              </a:spcBef>
              <a:spcAft>
                <a:spcPts val="0"/>
              </a:spcAft>
              <a:buSzPts val="1100"/>
              <a:buNone/>
              <a:defRPr sz="1867" b="0" i="0" u="none" strike="noStrike" cap="none">
                <a:solidFill>
                  <a:schemeClr val="dk1"/>
                </a:solidFill>
                <a:latin typeface="Calibri"/>
                <a:ea typeface="Calibri"/>
                <a:cs typeface="Calibri"/>
                <a:sym typeface="Calibri"/>
              </a:defRPr>
            </a:lvl6pPr>
            <a:lvl7pPr marR="0" lvl="6" algn="l" rtl="0">
              <a:spcBef>
                <a:spcPts val="0"/>
              </a:spcBef>
              <a:spcAft>
                <a:spcPts val="0"/>
              </a:spcAft>
              <a:buSzPts val="1100"/>
              <a:buNone/>
              <a:defRPr sz="1867" b="0" i="0" u="none" strike="noStrike" cap="none">
                <a:solidFill>
                  <a:schemeClr val="dk1"/>
                </a:solidFill>
                <a:latin typeface="Calibri"/>
                <a:ea typeface="Calibri"/>
                <a:cs typeface="Calibri"/>
                <a:sym typeface="Calibri"/>
              </a:defRPr>
            </a:lvl7pPr>
            <a:lvl8pPr marR="0" lvl="7" algn="l" rtl="0">
              <a:spcBef>
                <a:spcPts val="0"/>
              </a:spcBef>
              <a:spcAft>
                <a:spcPts val="0"/>
              </a:spcAft>
              <a:buSzPts val="1100"/>
              <a:buNone/>
              <a:defRPr sz="1867" b="0" i="0" u="none" strike="noStrike" cap="none">
                <a:solidFill>
                  <a:schemeClr val="dk1"/>
                </a:solidFill>
                <a:latin typeface="Calibri"/>
                <a:ea typeface="Calibri"/>
                <a:cs typeface="Calibri"/>
                <a:sym typeface="Calibri"/>
              </a:defRPr>
            </a:lvl8pPr>
            <a:lvl9pPr marR="0" lvl="8" algn="l" rtl="0">
              <a:spcBef>
                <a:spcPts val="0"/>
              </a:spcBef>
              <a:spcAft>
                <a:spcPts val="0"/>
              </a:spcAft>
              <a:buSzPts val="1100"/>
              <a:buNone/>
              <a:defRPr sz="1867" b="0" i="0" u="none" strike="noStrike" cap="none">
                <a:solidFill>
                  <a:schemeClr val="dk1"/>
                </a:solidFill>
                <a:latin typeface="Calibri"/>
                <a:ea typeface="Calibri"/>
                <a:cs typeface="Calibri"/>
                <a:sym typeface="Calibri"/>
              </a:defRPr>
            </a:lvl9pPr>
          </a:lstStyle>
          <a:p>
            <a:endParaRPr/>
          </a:p>
        </p:txBody>
      </p:sp>
      <p:sp>
        <p:nvSpPr>
          <p:cNvPr id="355" name="Google Shape;355;p61"/>
          <p:cNvSpPr txBox="1">
            <a:spLocks noGrp="1"/>
          </p:cNvSpPr>
          <p:nvPr>
            <p:ph type="sldNum" idx="12"/>
          </p:nvPr>
        </p:nvSpPr>
        <p:spPr>
          <a:xfrm>
            <a:off x="8610600" y="6356351"/>
            <a:ext cx="2743200" cy="365125"/>
          </a:xfrm>
          <a:prstGeom prst="rect">
            <a:avLst/>
          </a:prstGeom>
          <a:noFill/>
          <a:ln>
            <a:noFill/>
          </a:ln>
        </p:spPr>
        <p:txBody>
          <a:bodyPr spcFirstLastPara="1" wrap="square" lIns="68575" tIns="34275" rIns="68575" bIns="34275" anchor="ctr" anchorCtr="0">
            <a:noAutofit/>
          </a:bodyPr>
          <a:lstStyle>
            <a:lvl1pPr marL="0" marR="0" lvl="0" indent="0" algn="r" rtl="0">
              <a:spcBef>
                <a:spcPts val="0"/>
              </a:spcBef>
              <a:buNone/>
              <a:defRPr sz="1200" b="0" i="0" u="none" strike="noStrike" cap="none">
                <a:solidFill>
                  <a:srgbClr val="888888"/>
                </a:solidFill>
                <a:latin typeface="Calibri"/>
                <a:ea typeface="Calibri"/>
                <a:cs typeface="Calibri"/>
                <a:sym typeface="Calibri"/>
              </a:defRPr>
            </a:lvl1pPr>
            <a:lvl2pPr marL="0" marR="0" lvl="1" indent="0" algn="r" rtl="0">
              <a:spcBef>
                <a:spcPts val="0"/>
              </a:spcBef>
              <a:buNone/>
              <a:defRPr sz="1200" b="0" i="0" u="none" strike="noStrike" cap="none">
                <a:solidFill>
                  <a:srgbClr val="888888"/>
                </a:solidFill>
                <a:latin typeface="Calibri"/>
                <a:ea typeface="Calibri"/>
                <a:cs typeface="Calibri"/>
                <a:sym typeface="Calibri"/>
              </a:defRPr>
            </a:lvl2pPr>
            <a:lvl3pPr marL="0" marR="0" lvl="2" indent="0" algn="r" rtl="0">
              <a:spcBef>
                <a:spcPts val="0"/>
              </a:spcBef>
              <a:buNone/>
              <a:defRPr sz="1200" b="0" i="0" u="none" strike="noStrike" cap="none">
                <a:solidFill>
                  <a:srgbClr val="888888"/>
                </a:solidFill>
                <a:latin typeface="Calibri"/>
                <a:ea typeface="Calibri"/>
                <a:cs typeface="Calibri"/>
                <a:sym typeface="Calibri"/>
              </a:defRPr>
            </a:lvl3pPr>
            <a:lvl4pPr marL="0" marR="0" lvl="3" indent="0" algn="r" rtl="0">
              <a:spcBef>
                <a:spcPts val="0"/>
              </a:spcBef>
              <a:buNone/>
              <a:defRPr sz="1200" b="0" i="0" u="none" strike="noStrike" cap="none">
                <a:solidFill>
                  <a:srgbClr val="888888"/>
                </a:solidFill>
                <a:latin typeface="Calibri"/>
                <a:ea typeface="Calibri"/>
                <a:cs typeface="Calibri"/>
                <a:sym typeface="Calibri"/>
              </a:defRPr>
            </a:lvl4pPr>
            <a:lvl5pPr marL="0" marR="0" lvl="4" indent="0" algn="r" rtl="0">
              <a:spcBef>
                <a:spcPts val="0"/>
              </a:spcBef>
              <a:buNone/>
              <a:defRPr sz="1200" b="0" i="0" u="none" strike="noStrike" cap="none">
                <a:solidFill>
                  <a:srgbClr val="888888"/>
                </a:solidFill>
                <a:latin typeface="Calibri"/>
                <a:ea typeface="Calibri"/>
                <a:cs typeface="Calibri"/>
                <a:sym typeface="Calibri"/>
              </a:defRPr>
            </a:lvl5pPr>
            <a:lvl6pPr marL="0" marR="0" lvl="5" indent="0" algn="r" rtl="0">
              <a:spcBef>
                <a:spcPts val="0"/>
              </a:spcBef>
              <a:buNone/>
              <a:defRPr sz="1200" b="0" i="0" u="none" strike="noStrike" cap="none">
                <a:solidFill>
                  <a:srgbClr val="888888"/>
                </a:solidFill>
                <a:latin typeface="Calibri"/>
                <a:ea typeface="Calibri"/>
                <a:cs typeface="Calibri"/>
                <a:sym typeface="Calibri"/>
              </a:defRPr>
            </a:lvl6pPr>
            <a:lvl7pPr marL="0" marR="0" lvl="6" indent="0" algn="r" rtl="0">
              <a:spcBef>
                <a:spcPts val="0"/>
              </a:spcBef>
              <a:buNone/>
              <a:defRPr sz="1200" b="0" i="0" u="none" strike="noStrike" cap="none">
                <a:solidFill>
                  <a:srgbClr val="888888"/>
                </a:solidFill>
                <a:latin typeface="Calibri"/>
                <a:ea typeface="Calibri"/>
                <a:cs typeface="Calibri"/>
                <a:sym typeface="Calibri"/>
              </a:defRPr>
            </a:lvl7pPr>
            <a:lvl8pPr marL="0" marR="0" lvl="7" indent="0" algn="r" rtl="0">
              <a:spcBef>
                <a:spcPts val="0"/>
              </a:spcBef>
              <a:buNone/>
              <a:defRPr sz="1200" b="0" i="0" u="none" strike="noStrike" cap="none">
                <a:solidFill>
                  <a:srgbClr val="888888"/>
                </a:solidFill>
                <a:latin typeface="Calibri"/>
                <a:ea typeface="Calibri"/>
                <a:cs typeface="Calibri"/>
                <a:sym typeface="Calibri"/>
              </a:defRPr>
            </a:lvl8pPr>
            <a:lvl9pPr marL="0" marR="0" lvl="8" indent="0" algn="r" rtl="0">
              <a:spcBef>
                <a:spcPts val="0"/>
              </a:spcBef>
              <a:buNone/>
              <a:defRPr sz="1200" b="0" i="0" u="none" strike="noStrike" cap="none">
                <a:solidFill>
                  <a:srgbClr val="888888"/>
                </a:solidFill>
                <a:latin typeface="Calibri"/>
                <a:ea typeface="Calibri"/>
                <a:cs typeface="Calibri"/>
                <a:sym typeface="Calibri"/>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3071259557"/>
      </p:ext>
    </p:extLst>
  </p:cSld>
  <p:clrMap bg1="lt1" tx1="dk1" bg2="dk2" tx2="lt2" accent1="accent1" accent2="accent2" accent3="accent3" accent4="accent4" accent5="accent5" accent6="accent6" hlink="hlink" folHlink="folHlink"/>
  <p:sldLayoutIdLst>
    <p:sldLayoutId id="2147483675" r:id="rId1"/>
    <p:sldLayoutId id="2147483676" r:id="rId2"/>
    <p:sldLayoutId id="2147483677" r:id="rId3"/>
    <p:sldLayoutId id="2147483678" r:id="rId4"/>
    <p:sldLayoutId id="2147483679" r:id="rId5"/>
    <p:sldLayoutId id="2147483680" r:id="rId6"/>
    <p:sldLayoutId id="2147483681" r:id="rId7"/>
    <p:sldLayoutId id="2147483682" r:id="rId8"/>
    <p:sldLayoutId id="2147483683" r:id="rId9"/>
    <p:sldLayoutId id="2147483684" r:id="rId10"/>
    <p:sldLayoutId id="2147483685" r:id="rId11"/>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solidFill>
          <a:srgbClr val="0E2A47"/>
        </a:solidFill>
        <a:effectLst/>
      </p:bgPr>
    </p:bg>
    <p:spTree>
      <p:nvGrpSpPr>
        <p:cNvPr id="1" name="Shape 415"/>
        <p:cNvGrpSpPr/>
        <p:nvPr/>
      </p:nvGrpSpPr>
      <p:grpSpPr>
        <a:xfrm>
          <a:off x="0" y="0"/>
          <a:ext cx="0" cy="0"/>
          <a:chOff x="0" y="0"/>
          <a:chExt cx="0" cy="0"/>
        </a:xfrm>
      </p:grpSpPr>
      <p:sp>
        <p:nvSpPr>
          <p:cNvPr id="416" name="Google Shape;416;p43"/>
          <p:cNvSpPr txBox="1">
            <a:spLocks noGrp="1"/>
          </p:cNvSpPr>
          <p:nvPr>
            <p:ph type="title"/>
          </p:nvPr>
        </p:nvSpPr>
        <p:spPr>
          <a:xfrm>
            <a:off x="1424133" y="1244600"/>
            <a:ext cx="9396400" cy="643200"/>
          </a:xfrm>
          <a:prstGeom prst="rect">
            <a:avLst/>
          </a:prstGeom>
          <a:noFill/>
          <a:ln>
            <a:noFill/>
          </a:ln>
        </p:spPr>
        <p:txBody>
          <a:bodyPr spcFirstLastPara="1" wrap="square" lIns="91425" tIns="91425" rIns="91425" bIns="91425" anchor="t" anchorCtr="0">
            <a:noAutofit/>
          </a:bodyPr>
          <a:lstStyle>
            <a:lvl1pPr lvl="0" algn="ctr" rtl="0">
              <a:spcBef>
                <a:spcPts val="0"/>
              </a:spcBef>
              <a:spcAft>
                <a:spcPts val="0"/>
              </a:spcAft>
              <a:buClr>
                <a:srgbClr val="FFFFFF"/>
              </a:buClr>
              <a:buSzPts val="2400"/>
              <a:buFont typeface="Proxima Nova Semibold"/>
              <a:buNone/>
              <a:defRPr sz="2400">
                <a:solidFill>
                  <a:srgbClr val="FFFFFF"/>
                </a:solidFill>
                <a:latin typeface="Proxima Nova Semibold"/>
                <a:ea typeface="Proxima Nova Semibold"/>
                <a:cs typeface="Proxima Nova Semibold"/>
                <a:sym typeface="Proxima Nova Semibold"/>
              </a:defRPr>
            </a:lvl1pPr>
            <a:lvl2pPr lvl="1" algn="ctr" rtl="0">
              <a:spcBef>
                <a:spcPts val="0"/>
              </a:spcBef>
              <a:spcAft>
                <a:spcPts val="0"/>
              </a:spcAft>
              <a:buClr>
                <a:srgbClr val="FFFFFF"/>
              </a:buClr>
              <a:buSzPts val="2400"/>
              <a:buFont typeface="Proxima Nova Semibold"/>
              <a:buNone/>
              <a:defRPr sz="2400">
                <a:solidFill>
                  <a:srgbClr val="FFFFFF"/>
                </a:solidFill>
                <a:latin typeface="Proxima Nova Semibold"/>
                <a:ea typeface="Proxima Nova Semibold"/>
                <a:cs typeface="Proxima Nova Semibold"/>
                <a:sym typeface="Proxima Nova Semibold"/>
              </a:defRPr>
            </a:lvl2pPr>
            <a:lvl3pPr lvl="2" algn="ctr" rtl="0">
              <a:spcBef>
                <a:spcPts val="0"/>
              </a:spcBef>
              <a:spcAft>
                <a:spcPts val="0"/>
              </a:spcAft>
              <a:buClr>
                <a:srgbClr val="FFFFFF"/>
              </a:buClr>
              <a:buSzPts val="2400"/>
              <a:buFont typeface="Proxima Nova Semibold"/>
              <a:buNone/>
              <a:defRPr sz="2400">
                <a:solidFill>
                  <a:srgbClr val="FFFFFF"/>
                </a:solidFill>
                <a:latin typeface="Proxima Nova Semibold"/>
                <a:ea typeface="Proxima Nova Semibold"/>
                <a:cs typeface="Proxima Nova Semibold"/>
                <a:sym typeface="Proxima Nova Semibold"/>
              </a:defRPr>
            </a:lvl3pPr>
            <a:lvl4pPr lvl="3" algn="ctr" rtl="0">
              <a:spcBef>
                <a:spcPts val="0"/>
              </a:spcBef>
              <a:spcAft>
                <a:spcPts val="0"/>
              </a:spcAft>
              <a:buClr>
                <a:srgbClr val="FFFFFF"/>
              </a:buClr>
              <a:buSzPts val="2400"/>
              <a:buFont typeface="Proxima Nova Semibold"/>
              <a:buNone/>
              <a:defRPr sz="2400">
                <a:solidFill>
                  <a:srgbClr val="FFFFFF"/>
                </a:solidFill>
                <a:latin typeface="Proxima Nova Semibold"/>
                <a:ea typeface="Proxima Nova Semibold"/>
                <a:cs typeface="Proxima Nova Semibold"/>
                <a:sym typeface="Proxima Nova Semibold"/>
              </a:defRPr>
            </a:lvl4pPr>
            <a:lvl5pPr lvl="4" algn="ctr" rtl="0">
              <a:spcBef>
                <a:spcPts val="0"/>
              </a:spcBef>
              <a:spcAft>
                <a:spcPts val="0"/>
              </a:spcAft>
              <a:buClr>
                <a:srgbClr val="FFFFFF"/>
              </a:buClr>
              <a:buSzPts val="2400"/>
              <a:buFont typeface="Proxima Nova Semibold"/>
              <a:buNone/>
              <a:defRPr sz="2400">
                <a:solidFill>
                  <a:srgbClr val="FFFFFF"/>
                </a:solidFill>
                <a:latin typeface="Proxima Nova Semibold"/>
                <a:ea typeface="Proxima Nova Semibold"/>
                <a:cs typeface="Proxima Nova Semibold"/>
                <a:sym typeface="Proxima Nova Semibold"/>
              </a:defRPr>
            </a:lvl5pPr>
            <a:lvl6pPr lvl="5" algn="ctr" rtl="0">
              <a:spcBef>
                <a:spcPts val="0"/>
              </a:spcBef>
              <a:spcAft>
                <a:spcPts val="0"/>
              </a:spcAft>
              <a:buClr>
                <a:srgbClr val="FFFFFF"/>
              </a:buClr>
              <a:buSzPts val="2400"/>
              <a:buFont typeface="Proxima Nova Semibold"/>
              <a:buNone/>
              <a:defRPr sz="2400">
                <a:solidFill>
                  <a:srgbClr val="FFFFFF"/>
                </a:solidFill>
                <a:latin typeface="Proxima Nova Semibold"/>
                <a:ea typeface="Proxima Nova Semibold"/>
                <a:cs typeface="Proxima Nova Semibold"/>
                <a:sym typeface="Proxima Nova Semibold"/>
              </a:defRPr>
            </a:lvl6pPr>
            <a:lvl7pPr lvl="6" algn="ctr" rtl="0">
              <a:spcBef>
                <a:spcPts val="0"/>
              </a:spcBef>
              <a:spcAft>
                <a:spcPts val="0"/>
              </a:spcAft>
              <a:buClr>
                <a:srgbClr val="FFFFFF"/>
              </a:buClr>
              <a:buSzPts val="2400"/>
              <a:buFont typeface="Proxima Nova Semibold"/>
              <a:buNone/>
              <a:defRPr sz="2400">
                <a:solidFill>
                  <a:srgbClr val="FFFFFF"/>
                </a:solidFill>
                <a:latin typeface="Proxima Nova Semibold"/>
                <a:ea typeface="Proxima Nova Semibold"/>
                <a:cs typeface="Proxima Nova Semibold"/>
                <a:sym typeface="Proxima Nova Semibold"/>
              </a:defRPr>
            </a:lvl7pPr>
            <a:lvl8pPr lvl="7" algn="ctr" rtl="0">
              <a:spcBef>
                <a:spcPts val="0"/>
              </a:spcBef>
              <a:spcAft>
                <a:spcPts val="0"/>
              </a:spcAft>
              <a:buClr>
                <a:srgbClr val="FFFFFF"/>
              </a:buClr>
              <a:buSzPts val="2400"/>
              <a:buFont typeface="Proxima Nova Semibold"/>
              <a:buNone/>
              <a:defRPr sz="2400">
                <a:solidFill>
                  <a:srgbClr val="FFFFFF"/>
                </a:solidFill>
                <a:latin typeface="Proxima Nova Semibold"/>
                <a:ea typeface="Proxima Nova Semibold"/>
                <a:cs typeface="Proxima Nova Semibold"/>
                <a:sym typeface="Proxima Nova Semibold"/>
              </a:defRPr>
            </a:lvl8pPr>
            <a:lvl9pPr lvl="8" algn="ctr" rtl="0">
              <a:spcBef>
                <a:spcPts val="0"/>
              </a:spcBef>
              <a:spcAft>
                <a:spcPts val="0"/>
              </a:spcAft>
              <a:buClr>
                <a:srgbClr val="FFFFFF"/>
              </a:buClr>
              <a:buSzPts val="2400"/>
              <a:buFont typeface="Proxima Nova Semibold"/>
              <a:buNone/>
              <a:defRPr sz="2400">
                <a:solidFill>
                  <a:srgbClr val="FFFFFF"/>
                </a:solidFill>
                <a:latin typeface="Proxima Nova Semibold"/>
                <a:ea typeface="Proxima Nova Semibold"/>
                <a:cs typeface="Proxima Nova Semibold"/>
                <a:sym typeface="Proxima Nova Semibold"/>
              </a:defRPr>
            </a:lvl9pPr>
          </a:lstStyle>
          <a:p>
            <a:endParaRPr/>
          </a:p>
        </p:txBody>
      </p:sp>
      <p:sp>
        <p:nvSpPr>
          <p:cNvPr id="417" name="Google Shape;417;p43"/>
          <p:cNvSpPr txBox="1">
            <a:spLocks noGrp="1"/>
          </p:cNvSpPr>
          <p:nvPr>
            <p:ph type="body" idx="1"/>
          </p:nvPr>
        </p:nvSpPr>
        <p:spPr>
          <a:xfrm>
            <a:off x="1424133" y="2260600"/>
            <a:ext cx="9396400" cy="3336000"/>
          </a:xfrm>
          <a:prstGeom prst="rect">
            <a:avLst/>
          </a:prstGeom>
          <a:noFill/>
          <a:ln>
            <a:noFill/>
          </a:ln>
        </p:spPr>
        <p:txBody>
          <a:bodyPr spcFirstLastPara="1" wrap="square" lIns="91425" tIns="91425" rIns="91425" bIns="91425" anchor="t" anchorCtr="0">
            <a:noAutofit/>
          </a:bodyPr>
          <a:lstStyle>
            <a:lvl1pPr marL="457200" lvl="0" indent="-298450" rtl="0">
              <a:lnSpc>
                <a:spcPct val="115000"/>
              </a:lnSpc>
              <a:spcBef>
                <a:spcPts val="0"/>
              </a:spcBef>
              <a:spcAft>
                <a:spcPts val="0"/>
              </a:spcAft>
              <a:buClr>
                <a:srgbClr val="435D74"/>
              </a:buClr>
              <a:buSzPts val="1100"/>
              <a:buFont typeface="Proxima Nova"/>
              <a:buChar char="●"/>
              <a:defRPr sz="1100">
                <a:solidFill>
                  <a:srgbClr val="435D74"/>
                </a:solidFill>
                <a:latin typeface="Proxima Nova"/>
                <a:ea typeface="Proxima Nova"/>
                <a:cs typeface="Proxima Nova"/>
                <a:sym typeface="Proxima Nova"/>
              </a:defRPr>
            </a:lvl1pPr>
            <a:lvl2pPr marL="914400" lvl="1" indent="-298450" rtl="0">
              <a:lnSpc>
                <a:spcPct val="115000"/>
              </a:lnSpc>
              <a:spcBef>
                <a:spcPts val="0"/>
              </a:spcBef>
              <a:spcAft>
                <a:spcPts val="0"/>
              </a:spcAft>
              <a:buClr>
                <a:srgbClr val="435D74"/>
              </a:buClr>
              <a:buSzPts val="1100"/>
              <a:buFont typeface="Proxima Nova"/>
              <a:buChar char="○"/>
              <a:defRPr sz="1100">
                <a:solidFill>
                  <a:srgbClr val="435D74"/>
                </a:solidFill>
                <a:latin typeface="Proxima Nova"/>
                <a:ea typeface="Proxima Nova"/>
                <a:cs typeface="Proxima Nova"/>
                <a:sym typeface="Proxima Nova"/>
              </a:defRPr>
            </a:lvl2pPr>
            <a:lvl3pPr marL="1371600" lvl="2" indent="-298450" rtl="0">
              <a:lnSpc>
                <a:spcPct val="115000"/>
              </a:lnSpc>
              <a:spcBef>
                <a:spcPts val="0"/>
              </a:spcBef>
              <a:spcAft>
                <a:spcPts val="0"/>
              </a:spcAft>
              <a:buClr>
                <a:srgbClr val="435D74"/>
              </a:buClr>
              <a:buSzPts val="1100"/>
              <a:buFont typeface="Proxima Nova"/>
              <a:buChar char="■"/>
              <a:defRPr sz="1100">
                <a:solidFill>
                  <a:srgbClr val="435D74"/>
                </a:solidFill>
                <a:latin typeface="Proxima Nova"/>
                <a:ea typeface="Proxima Nova"/>
                <a:cs typeface="Proxima Nova"/>
                <a:sym typeface="Proxima Nova"/>
              </a:defRPr>
            </a:lvl3pPr>
            <a:lvl4pPr marL="1828800" lvl="3" indent="-298450" rtl="0">
              <a:lnSpc>
                <a:spcPct val="115000"/>
              </a:lnSpc>
              <a:spcBef>
                <a:spcPts val="0"/>
              </a:spcBef>
              <a:spcAft>
                <a:spcPts val="0"/>
              </a:spcAft>
              <a:buClr>
                <a:srgbClr val="435D74"/>
              </a:buClr>
              <a:buSzPts val="1100"/>
              <a:buFont typeface="Proxima Nova"/>
              <a:buChar char="●"/>
              <a:defRPr sz="1100">
                <a:solidFill>
                  <a:srgbClr val="435D74"/>
                </a:solidFill>
                <a:latin typeface="Proxima Nova"/>
                <a:ea typeface="Proxima Nova"/>
                <a:cs typeface="Proxima Nova"/>
                <a:sym typeface="Proxima Nova"/>
              </a:defRPr>
            </a:lvl4pPr>
            <a:lvl5pPr marL="2286000" lvl="4" indent="-298450" rtl="0">
              <a:lnSpc>
                <a:spcPct val="115000"/>
              </a:lnSpc>
              <a:spcBef>
                <a:spcPts val="0"/>
              </a:spcBef>
              <a:spcAft>
                <a:spcPts val="0"/>
              </a:spcAft>
              <a:buClr>
                <a:srgbClr val="435D74"/>
              </a:buClr>
              <a:buSzPts val="1100"/>
              <a:buFont typeface="Proxima Nova"/>
              <a:buChar char="○"/>
              <a:defRPr sz="1100">
                <a:solidFill>
                  <a:srgbClr val="435D74"/>
                </a:solidFill>
                <a:latin typeface="Proxima Nova"/>
                <a:ea typeface="Proxima Nova"/>
                <a:cs typeface="Proxima Nova"/>
                <a:sym typeface="Proxima Nova"/>
              </a:defRPr>
            </a:lvl5pPr>
            <a:lvl6pPr marL="2743200" lvl="5" indent="-298450" rtl="0">
              <a:lnSpc>
                <a:spcPct val="115000"/>
              </a:lnSpc>
              <a:spcBef>
                <a:spcPts val="0"/>
              </a:spcBef>
              <a:spcAft>
                <a:spcPts val="0"/>
              </a:spcAft>
              <a:buClr>
                <a:srgbClr val="435D74"/>
              </a:buClr>
              <a:buSzPts val="1100"/>
              <a:buFont typeface="Proxima Nova"/>
              <a:buChar char="■"/>
              <a:defRPr sz="1100">
                <a:solidFill>
                  <a:srgbClr val="435D74"/>
                </a:solidFill>
                <a:latin typeface="Proxima Nova"/>
                <a:ea typeface="Proxima Nova"/>
                <a:cs typeface="Proxima Nova"/>
                <a:sym typeface="Proxima Nova"/>
              </a:defRPr>
            </a:lvl6pPr>
            <a:lvl7pPr marL="3200400" lvl="6" indent="-298450" rtl="0">
              <a:lnSpc>
                <a:spcPct val="115000"/>
              </a:lnSpc>
              <a:spcBef>
                <a:spcPts val="0"/>
              </a:spcBef>
              <a:spcAft>
                <a:spcPts val="0"/>
              </a:spcAft>
              <a:buClr>
                <a:srgbClr val="435D74"/>
              </a:buClr>
              <a:buSzPts val="1100"/>
              <a:buFont typeface="Proxima Nova"/>
              <a:buChar char="●"/>
              <a:defRPr sz="1100">
                <a:solidFill>
                  <a:srgbClr val="435D74"/>
                </a:solidFill>
                <a:latin typeface="Proxima Nova"/>
                <a:ea typeface="Proxima Nova"/>
                <a:cs typeface="Proxima Nova"/>
                <a:sym typeface="Proxima Nova"/>
              </a:defRPr>
            </a:lvl7pPr>
            <a:lvl8pPr marL="3657600" lvl="7" indent="-298450" rtl="0">
              <a:lnSpc>
                <a:spcPct val="115000"/>
              </a:lnSpc>
              <a:spcBef>
                <a:spcPts val="0"/>
              </a:spcBef>
              <a:spcAft>
                <a:spcPts val="0"/>
              </a:spcAft>
              <a:buClr>
                <a:srgbClr val="435D74"/>
              </a:buClr>
              <a:buSzPts val="1100"/>
              <a:buFont typeface="Proxima Nova"/>
              <a:buChar char="○"/>
              <a:defRPr sz="1100">
                <a:solidFill>
                  <a:srgbClr val="435D74"/>
                </a:solidFill>
                <a:latin typeface="Proxima Nova"/>
                <a:ea typeface="Proxima Nova"/>
                <a:cs typeface="Proxima Nova"/>
                <a:sym typeface="Proxima Nova"/>
              </a:defRPr>
            </a:lvl8pPr>
            <a:lvl9pPr marL="4114800" lvl="8" indent="-298450" rtl="0">
              <a:lnSpc>
                <a:spcPct val="115000"/>
              </a:lnSpc>
              <a:spcBef>
                <a:spcPts val="0"/>
              </a:spcBef>
              <a:spcAft>
                <a:spcPts val="0"/>
              </a:spcAft>
              <a:buClr>
                <a:srgbClr val="435D74"/>
              </a:buClr>
              <a:buSzPts val="1100"/>
              <a:buFont typeface="Proxima Nova"/>
              <a:buChar char="■"/>
              <a:defRPr sz="1100">
                <a:solidFill>
                  <a:srgbClr val="435D74"/>
                </a:solidFill>
                <a:latin typeface="Proxima Nova"/>
                <a:ea typeface="Proxima Nova"/>
                <a:cs typeface="Proxima Nova"/>
                <a:sym typeface="Proxima Nova"/>
              </a:defRPr>
            </a:lvl9pPr>
          </a:lstStyle>
          <a:p>
            <a:endParaRPr/>
          </a:p>
        </p:txBody>
      </p:sp>
    </p:spTree>
    <p:extLst>
      <p:ext uri="{BB962C8B-B14F-4D97-AF65-F5344CB8AC3E}">
        <p14:creationId xmlns:p14="http://schemas.microsoft.com/office/powerpoint/2010/main" val="1922240630"/>
      </p:ext>
    </p:extLst>
  </p:cSld>
  <p:clrMap bg1="lt1" tx1="dk1" bg2="dk2" tx2="lt2" accent1="accent1" accent2="accent2" accent3="accent3" accent4="accent4" accent5="accent5" accent6="accent6" hlink="hlink" folHlink="folHlink"/>
  <p:sldLayoutIdLst>
    <p:sldLayoutId id="2147483687" r:id="rId1"/>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otherStyle>
  </p:txStyles>
</p:sldMaster>
</file>

<file path=ppt/slides/_rels/slide1.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png"/><Relationship Id="rId1" Type="http://schemas.openxmlformats.org/officeDocument/2006/relationships/slideLayout" Target="../slideLayouts/slideLayout6.xml"/><Relationship Id="rId4" Type="http://schemas.openxmlformats.org/officeDocument/2006/relationships/image" Target="../media/image2.png"/></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5.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2" Type="http://schemas.openxmlformats.org/officeDocument/2006/relationships/chart" Target="../charts/chart2.xml"/><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2" Type="http://schemas.openxmlformats.org/officeDocument/2006/relationships/chart" Target="../charts/chart3.xml"/><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2" Type="http://schemas.openxmlformats.org/officeDocument/2006/relationships/image" Target="../media/image26.jpg"/><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xml"/></Relationships>
</file>

<file path=ppt/slides/_rels/slide19.xml.rels><?xml version="1.0" encoding="UTF-8" standalone="yes"?>
<Relationships xmlns="http://schemas.openxmlformats.org/package/2006/relationships"><Relationship Id="rId3" Type="http://schemas.openxmlformats.org/officeDocument/2006/relationships/image" Target="../media/image27.jpeg"/><Relationship Id="rId2" Type="http://schemas.openxmlformats.org/officeDocument/2006/relationships/notesSlide" Target="../notesSlides/notesSlide11.xml"/><Relationship Id="rId1" Type="http://schemas.openxmlformats.org/officeDocument/2006/relationships/slideLayout" Target="../slideLayouts/slideLayout3.xml"/><Relationship Id="rId5" Type="http://schemas.openxmlformats.org/officeDocument/2006/relationships/image" Target="../media/image29.jpeg"/><Relationship Id="rId4" Type="http://schemas.openxmlformats.org/officeDocument/2006/relationships/image" Target="../media/image28.jpeg"/></Relationships>
</file>

<file path=ppt/slides/_rels/slide2.xml.rels><?xml version="1.0" encoding="UTF-8" standalone="yes"?>
<Relationships xmlns="http://schemas.openxmlformats.org/package/2006/relationships"><Relationship Id="rId8" Type="http://schemas.openxmlformats.org/officeDocument/2006/relationships/image" Target="../media/image6.png"/><Relationship Id="rId13" Type="http://schemas.openxmlformats.org/officeDocument/2006/relationships/image" Target="../media/image10.png"/><Relationship Id="rId18" Type="http://schemas.openxmlformats.org/officeDocument/2006/relationships/image" Target="../media/image13.png"/><Relationship Id="rId3" Type="http://schemas.microsoft.com/office/2007/relationships/hdphoto" Target="../media/hdphoto2.wdp"/><Relationship Id="rId21" Type="http://schemas.openxmlformats.org/officeDocument/2006/relationships/image" Target="../media/image16.png"/><Relationship Id="rId7" Type="http://schemas.microsoft.com/office/2007/relationships/hdphoto" Target="../media/hdphoto4.wdp"/><Relationship Id="rId12" Type="http://schemas.openxmlformats.org/officeDocument/2006/relationships/image" Target="../media/image9.png"/><Relationship Id="rId17" Type="http://schemas.microsoft.com/office/2007/relationships/hdphoto" Target="../media/hdphoto7.wdp"/><Relationship Id="rId2" Type="http://schemas.openxmlformats.org/officeDocument/2006/relationships/image" Target="../media/image3.png"/><Relationship Id="rId16" Type="http://schemas.openxmlformats.org/officeDocument/2006/relationships/image" Target="../media/image12.png"/><Relationship Id="rId20" Type="http://schemas.openxmlformats.org/officeDocument/2006/relationships/image" Target="../media/image15.png"/><Relationship Id="rId1" Type="http://schemas.openxmlformats.org/officeDocument/2006/relationships/slideLayout" Target="../slideLayouts/slideLayout14.xml"/><Relationship Id="rId6" Type="http://schemas.openxmlformats.org/officeDocument/2006/relationships/image" Target="../media/image5.png"/><Relationship Id="rId11" Type="http://schemas.microsoft.com/office/2007/relationships/hdphoto" Target="../media/hdphoto5.wdp"/><Relationship Id="rId5" Type="http://schemas.microsoft.com/office/2007/relationships/hdphoto" Target="../media/hdphoto3.wdp"/><Relationship Id="rId15" Type="http://schemas.microsoft.com/office/2007/relationships/hdphoto" Target="../media/hdphoto6.wdp"/><Relationship Id="rId23" Type="http://schemas.openxmlformats.org/officeDocument/2006/relationships/image" Target="../media/image17.png"/><Relationship Id="rId10" Type="http://schemas.openxmlformats.org/officeDocument/2006/relationships/image" Target="../media/image8.png"/><Relationship Id="rId19" Type="http://schemas.openxmlformats.org/officeDocument/2006/relationships/image" Target="../media/image14.png"/><Relationship Id="rId4" Type="http://schemas.openxmlformats.org/officeDocument/2006/relationships/image" Target="../media/image4.png"/><Relationship Id="rId9" Type="http://schemas.openxmlformats.org/officeDocument/2006/relationships/image" Target="../media/image7.png"/><Relationship Id="rId14" Type="http://schemas.openxmlformats.org/officeDocument/2006/relationships/image" Target="../media/image11.png"/><Relationship Id="rId22" Type="http://schemas.openxmlformats.org/officeDocument/2006/relationships/hyperlink" Target="https://24slides.com/?utm_source=templates&amp;utm_medium=new-sales-slides&amp;utm_campaign=24slides&amp;utm_content=&amp;utm_term=" TargetMode="Externa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3.xml.rels><?xml version="1.0" encoding="UTF-8" standalone="yes"?>
<Relationships xmlns="http://schemas.openxmlformats.org/package/2006/relationships"><Relationship Id="rId3" Type="http://schemas.openxmlformats.org/officeDocument/2006/relationships/tags" Target="../tags/tag3.xml"/><Relationship Id="rId2" Type="http://schemas.openxmlformats.org/officeDocument/2006/relationships/tags" Target="../tags/tag2.xml"/><Relationship Id="rId1" Type="http://schemas.openxmlformats.org/officeDocument/2006/relationships/tags" Target="../tags/tag1.xml"/><Relationship Id="rId5" Type="http://schemas.openxmlformats.org/officeDocument/2006/relationships/slideLayout" Target="../slideLayouts/slideLayout3.xml"/><Relationship Id="rId4" Type="http://schemas.openxmlformats.org/officeDocument/2006/relationships/tags" Target="../tags/tag4.xml"/></Relationships>
</file>

<file path=ppt/slides/_rels/slide24.xml.rels><?xml version="1.0" encoding="UTF-8" standalone="yes"?>
<Relationships xmlns="http://schemas.openxmlformats.org/package/2006/relationships"><Relationship Id="rId2" Type="http://schemas.openxmlformats.org/officeDocument/2006/relationships/image" Target="../media/image30.jpeg"/><Relationship Id="rId1" Type="http://schemas.openxmlformats.org/officeDocument/2006/relationships/slideLayout" Target="../slideLayouts/slideLayout7.xml"/></Relationships>
</file>

<file path=ppt/slides/_rels/slide25.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notesSlide" Target="../notesSlides/notesSlide12.xml"/><Relationship Id="rId1" Type="http://schemas.openxmlformats.org/officeDocument/2006/relationships/slideLayout" Target="../slideLayouts/slideLayout2.xml"/><Relationship Id="rId6" Type="http://schemas.openxmlformats.org/officeDocument/2006/relationships/image" Target="../media/image34.jpeg"/><Relationship Id="rId5" Type="http://schemas.openxmlformats.org/officeDocument/2006/relationships/image" Target="../media/image33.jpg"/><Relationship Id="rId4" Type="http://schemas.openxmlformats.org/officeDocument/2006/relationships/image" Target="../media/image32.jpg"/></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1.xml"/><Relationship Id="rId1" Type="http://schemas.openxmlformats.org/officeDocument/2006/relationships/slideLayout" Target="../slideLayouts/slideLayout19.xml"/><Relationship Id="rId5" Type="http://schemas.openxmlformats.org/officeDocument/2006/relationships/image" Target="../media/image20.png"/><Relationship Id="rId4" Type="http://schemas.openxmlformats.org/officeDocument/2006/relationships/image" Target="../media/image19.png"/></Relationships>
</file>

<file path=ppt/slides/_rels/slide30.xml.rels><?xml version="1.0" encoding="UTF-8" standalone="yes"?>
<Relationships xmlns="http://schemas.openxmlformats.org/package/2006/relationships"><Relationship Id="rId3" Type="http://schemas.openxmlformats.org/officeDocument/2006/relationships/tags" Target="../tags/tag7.xml"/><Relationship Id="rId7" Type="http://schemas.openxmlformats.org/officeDocument/2006/relationships/notesSlide" Target="../notesSlides/notesSlide17.xml"/><Relationship Id="rId2" Type="http://schemas.openxmlformats.org/officeDocument/2006/relationships/tags" Target="../tags/tag6.xml"/><Relationship Id="rId1" Type="http://schemas.openxmlformats.org/officeDocument/2006/relationships/tags" Target="../tags/tag5.xml"/><Relationship Id="rId6" Type="http://schemas.openxmlformats.org/officeDocument/2006/relationships/slideLayout" Target="../slideLayouts/slideLayout3.xml"/><Relationship Id="rId5" Type="http://schemas.openxmlformats.org/officeDocument/2006/relationships/tags" Target="../tags/tag9.xml"/><Relationship Id="rId4" Type="http://schemas.openxmlformats.org/officeDocument/2006/relationships/tags" Target="../tags/tag8.xml"/></Relationships>
</file>

<file path=ppt/slides/_rels/slide31.xml.rels><?xml version="1.0" encoding="UTF-8" standalone="yes"?>
<Relationships xmlns="http://schemas.openxmlformats.org/package/2006/relationships"><Relationship Id="rId3" Type="http://schemas.openxmlformats.org/officeDocument/2006/relationships/hyperlink" Target="https://bit.ly/2ZjL1pd" TargetMode="External"/><Relationship Id="rId2" Type="http://schemas.openxmlformats.org/officeDocument/2006/relationships/notesSlide" Target="../notesSlides/notesSlide18.xml"/><Relationship Id="rId1" Type="http://schemas.openxmlformats.org/officeDocument/2006/relationships/slideLayout" Target="../slideLayouts/slideLayout30.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30.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30.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30.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30.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30.xml"/></Relationships>
</file>

<file path=ppt/slides/_rels/slide37.xml.rels><?xml version="1.0" encoding="UTF-8" standalone="yes"?>
<Relationships xmlns="http://schemas.openxmlformats.org/package/2006/relationships"><Relationship Id="rId3" Type="http://schemas.openxmlformats.org/officeDocument/2006/relationships/hyperlink" Target="https://chrome.google.com/webstore/detail/flaticon-for-gsuit-gslide/haekgjfnhhdkgfgmldhfokhmfkgmciba" TargetMode="External"/><Relationship Id="rId2" Type="http://schemas.openxmlformats.org/officeDocument/2006/relationships/notesSlide" Target="../notesSlides/notesSlide24.xml"/><Relationship Id="rId1" Type="http://schemas.openxmlformats.org/officeDocument/2006/relationships/slideLayout" Target="../slideLayouts/slideLayout30.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30.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30.xml"/></Relationships>
</file>

<file path=ppt/slides/_rels/slide4.xml.rels><?xml version="1.0" encoding="UTF-8" standalone="yes"?>
<Relationships xmlns="http://schemas.openxmlformats.org/package/2006/relationships"><Relationship Id="rId3" Type="http://schemas.openxmlformats.org/officeDocument/2006/relationships/image" Target="../media/image21.jpg"/><Relationship Id="rId2" Type="http://schemas.openxmlformats.org/officeDocument/2006/relationships/notesSlide" Target="../notesSlides/notesSlide2.xml"/><Relationship Id="rId1" Type="http://schemas.openxmlformats.org/officeDocument/2006/relationships/slideLayout" Target="../slideLayouts/slideLayout19.xml"/><Relationship Id="rId6" Type="http://schemas.openxmlformats.org/officeDocument/2006/relationships/hyperlink" Target="https://24slides.com/more-examples" TargetMode="External"/><Relationship Id="rId5" Type="http://schemas.openxmlformats.org/officeDocument/2006/relationships/image" Target="../media/image23.png"/><Relationship Id="rId4" Type="http://schemas.openxmlformats.org/officeDocument/2006/relationships/image" Target="../media/image22.jpg"/></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30.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30.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30.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30.xml"/></Relationships>
</file>

<file path=ppt/slides/_rels/slide5.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3.xml"/><Relationship Id="rId1" Type="http://schemas.openxmlformats.org/officeDocument/2006/relationships/slideLayout" Target="../slideLayouts/slideLayout19.xml"/><Relationship Id="rId6" Type="http://schemas.openxmlformats.org/officeDocument/2006/relationships/hyperlink" Target="https://24slides.com/prices" TargetMode="External"/><Relationship Id="rId5" Type="http://schemas.openxmlformats.org/officeDocument/2006/relationships/image" Target="../media/image25.png"/><Relationship Id="rId4" Type="http://schemas.openxmlformats.org/officeDocument/2006/relationships/image" Target="../media/image24.png"/></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tx1">
            <a:lumMod val="50000"/>
            <a:lumOff val="50000"/>
          </a:schemeClr>
        </a:solidFill>
        <a:effectLst/>
      </p:bgPr>
    </p:bg>
    <p:spTree>
      <p:nvGrpSpPr>
        <p:cNvPr id="1" name=""/>
        <p:cNvGrpSpPr/>
        <p:nvPr/>
      </p:nvGrpSpPr>
      <p:grpSpPr>
        <a:xfrm>
          <a:off x="0" y="0"/>
          <a:ext cx="0" cy="0"/>
          <a:chOff x="0" y="0"/>
          <a:chExt cx="0" cy="0"/>
        </a:xfrm>
      </p:grpSpPr>
      <p:pic>
        <p:nvPicPr>
          <p:cNvPr id="10" name="Picture Placeholder 9"/>
          <p:cNvPicPr>
            <a:picLocks noGrp="1" noChangeAspect="1"/>
          </p:cNvPicPr>
          <p:nvPr>
            <p:ph type="pic" sz="quarter" idx="10"/>
          </p:nvPr>
        </p:nvPicPr>
        <p:blipFill>
          <a:blip r:embed="rId2">
            <a:extLst>
              <a:ext uri="{BEBA8EAE-BF5A-486C-A8C5-ECC9F3942E4B}">
                <a14:imgProps xmlns:a14="http://schemas.microsoft.com/office/drawing/2010/main">
                  <a14:imgLayer r:embed="rId3">
                    <a14:imgEffect>
                      <a14:saturation sat="66000"/>
                    </a14:imgEffect>
                  </a14:imgLayer>
                </a14:imgProps>
              </a:ext>
              <a:ext uri="{28A0092B-C50C-407E-A947-70E740481C1C}">
                <a14:useLocalDpi xmlns:a14="http://schemas.microsoft.com/office/drawing/2010/main" val="0"/>
              </a:ext>
            </a:extLst>
          </a:blip>
          <a:srcRect t="176" b="176"/>
          <a:stretch>
            <a:fillRect/>
          </a:stretch>
        </p:blipFill>
        <p:spPr/>
      </p:pic>
      <p:sp>
        <p:nvSpPr>
          <p:cNvPr id="11" name="Freeform 10"/>
          <p:cNvSpPr>
            <a:spLocks/>
          </p:cNvSpPr>
          <p:nvPr/>
        </p:nvSpPr>
        <p:spPr bwMode="auto">
          <a:xfrm>
            <a:off x="0" y="-639708"/>
            <a:ext cx="12192001" cy="8099370"/>
          </a:xfrm>
          <a:custGeom>
            <a:avLst/>
            <a:gdLst>
              <a:gd name="T0" fmla="*/ 471 w 542"/>
              <a:gd name="T1" fmla="*/ 110 h 359"/>
              <a:gd name="T2" fmla="*/ 494 w 542"/>
              <a:gd name="T3" fmla="*/ 124 h 359"/>
              <a:gd name="T4" fmla="*/ 473 w 542"/>
              <a:gd name="T5" fmla="*/ 118 h 359"/>
              <a:gd name="T6" fmla="*/ 352 w 542"/>
              <a:gd name="T7" fmla="*/ 60 h 359"/>
              <a:gd name="T8" fmla="*/ 361 w 542"/>
              <a:gd name="T9" fmla="*/ 68 h 359"/>
              <a:gd name="T10" fmla="*/ 315 w 542"/>
              <a:gd name="T11" fmla="*/ 52 h 359"/>
              <a:gd name="T12" fmla="*/ 341 w 542"/>
              <a:gd name="T13" fmla="*/ 68 h 359"/>
              <a:gd name="T14" fmla="*/ 369 w 542"/>
              <a:gd name="T15" fmla="*/ 86 h 359"/>
              <a:gd name="T16" fmla="*/ 325 w 542"/>
              <a:gd name="T17" fmla="*/ 66 h 359"/>
              <a:gd name="T18" fmla="*/ 304 w 542"/>
              <a:gd name="T19" fmla="*/ 63 h 359"/>
              <a:gd name="T20" fmla="*/ 254 w 542"/>
              <a:gd name="T21" fmla="*/ 49 h 359"/>
              <a:gd name="T22" fmla="*/ 302 w 542"/>
              <a:gd name="T23" fmla="*/ 75 h 359"/>
              <a:gd name="T24" fmla="*/ 245 w 542"/>
              <a:gd name="T25" fmla="*/ 49 h 359"/>
              <a:gd name="T26" fmla="*/ 240 w 542"/>
              <a:gd name="T27" fmla="*/ 54 h 359"/>
              <a:gd name="T28" fmla="*/ 217 w 542"/>
              <a:gd name="T29" fmla="*/ 54 h 359"/>
              <a:gd name="T30" fmla="*/ 215 w 542"/>
              <a:gd name="T31" fmla="*/ 65 h 359"/>
              <a:gd name="T32" fmla="*/ 211 w 542"/>
              <a:gd name="T33" fmla="*/ 69 h 359"/>
              <a:gd name="T34" fmla="*/ 270 w 542"/>
              <a:gd name="T35" fmla="*/ 101 h 359"/>
              <a:gd name="T36" fmla="*/ 242 w 542"/>
              <a:gd name="T37" fmla="*/ 92 h 359"/>
              <a:gd name="T38" fmla="*/ 149 w 542"/>
              <a:gd name="T39" fmla="*/ 52 h 359"/>
              <a:gd name="T40" fmla="*/ 101 w 542"/>
              <a:gd name="T41" fmla="*/ 27 h 359"/>
              <a:gd name="T42" fmla="*/ 123 w 542"/>
              <a:gd name="T43" fmla="*/ 42 h 359"/>
              <a:gd name="T44" fmla="*/ 159 w 542"/>
              <a:gd name="T45" fmla="*/ 62 h 359"/>
              <a:gd name="T46" fmla="*/ 118 w 542"/>
              <a:gd name="T47" fmla="*/ 46 h 359"/>
              <a:gd name="T48" fmla="*/ 108 w 542"/>
              <a:gd name="T49" fmla="*/ 52 h 359"/>
              <a:gd name="T50" fmla="*/ 14 w 542"/>
              <a:gd name="T51" fmla="*/ 2 h 359"/>
              <a:gd name="T52" fmla="*/ 36 w 542"/>
              <a:gd name="T53" fmla="*/ 19 h 359"/>
              <a:gd name="T54" fmla="*/ 35 w 542"/>
              <a:gd name="T55" fmla="*/ 27 h 359"/>
              <a:gd name="T56" fmla="*/ 21 w 542"/>
              <a:gd name="T57" fmla="*/ 35 h 359"/>
              <a:gd name="T58" fmla="*/ 0 w 542"/>
              <a:gd name="T59" fmla="*/ 108 h 359"/>
              <a:gd name="T60" fmla="*/ 3 w 542"/>
              <a:gd name="T61" fmla="*/ 221 h 359"/>
              <a:gd name="T62" fmla="*/ 75 w 542"/>
              <a:gd name="T63" fmla="*/ 257 h 359"/>
              <a:gd name="T64" fmla="*/ 99 w 542"/>
              <a:gd name="T65" fmla="*/ 264 h 359"/>
              <a:gd name="T66" fmla="*/ 28 w 542"/>
              <a:gd name="T67" fmla="*/ 229 h 359"/>
              <a:gd name="T68" fmla="*/ 169 w 542"/>
              <a:gd name="T69" fmla="*/ 290 h 359"/>
              <a:gd name="T70" fmla="*/ 204 w 542"/>
              <a:gd name="T71" fmla="*/ 306 h 359"/>
              <a:gd name="T72" fmla="*/ 218 w 542"/>
              <a:gd name="T73" fmla="*/ 308 h 359"/>
              <a:gd name="T74" fmla="*/ 208 w 542"/>
              <a:gd name="T75" fmla="*/ 294 h 359"/>
              <a:gd name="T76" fmla="*/ 150 w 542"/>
              <a:gd name="T77" fmla="*/ 267 h 359"/>
              <a:gd name="T78" fmla="*/ 226 w 542"/>
              <a:gd name="T79" fmla="*/ 299 h 359"/>
              <a:gd name="T80" fmla="*/ 250 w 542"/>
              <a:gd name="T81" fmla="*/ 305 h 359"/>
              <a:gd name="T82" fmla="*/ 275 w 542"/>
              <a:gd name="T83" fmla="*/ 305 h 359"/>
              <a:gd name="T84" fmla="*/ 242 w 542"/>
              <a:gd name="T85" fmla="*/ 287 h 359"/>
              <a:gd name="T86" fmla="*/ 263 w 542"/>
              <a:gd name="T87" fmla="*/ 294 h 359"/>
              <a:gd name="T88" fmla="*/ 307 w 542"/>
              <a:gd name="T89" fmla="*/ 304 h 359"/>
              <a:gd name="T90" fmla="*/ 317 w 542"/>
              <a:gd name="T91" fmla="*/ 302 h 359"/>
              <a:gd name="T92" fmla="*/ 328 w 542"/>
              <a:gd name="T93" fmla="*/ 298 h 359"/>
              <a:gd name="T94" fmla="*/ 344 w 542"/>
              <a:gd name="T95" fmla="*/ 299 h 359"/>
              <a:gd name="T96" fmla="*/ 277 w 542"/>
              <a:gd name="T97" fmla="*/ 263 h 359"/>
              <a:gd name="T98" fmla="*/ 293 w 542"/>
              <a:gd name="T99" fmla="*/ 267 h 359"/>
              <a:gd name="T100" fmla="*/ 380 w 542"/>
              <a:gd name="T101" fmla="*/ 302 h 359"/>
              <a:gd name="T102" fmla="*/ 448 w 542"/>
              <a:gd name="T103" fmla="*/ 334 h 359"/>
              <a:gd name="T104" fmla="*/ 414 w 542"/>
              <a:gd name="T105" fmla="*/ 314 h 359"/>
              <a:gd name="T106" fmla="*/ 385 w 542"/>
              <a:gd name="T107" fmla="*/ 303 h 359"/>
              <a:gd name="T108" fmla="*/ 396 w 542"/>
              <a:gd name="T109" fmla="*/ 300 h 359"/>
              <a:gd name="T110" fmla="*/ 460 w 542"/>
              <a:gd name="T111" fmla="*/ 320 h 359"/>
              <a:gd name="T112" fmla="*/ 519 w 542"/>
              <a:gd name="T113" fmla="*/ 351 h 359"/>
              <a:gd name="T114" fmla="*/ 509 w 542"/>
              <a:gd name="T115" fmla="*/ 341 h 359"/>
              <a:gd name="T116" fmla="*/ 503 w 542"/>
              <a:gd name="T117" fmla="*/ 328 h 359"/>
              <a:gd name="T118" fmla="*/ 504 w 542"/>
              <a:gd name="T119" fmla="*/ 317 h 359"/>
              <a:gd name="T120" fmla="*/ 541 w 542"/>
              <a:gd name="T121" fmla="*/ 254 h 359"/>
              <a:gd name="T122" fmla="*/ 542 w 542"/>
              <a:gd name="T123" fmla="*/ 147 h 3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42" h="359">
                <a:moveTo>
                  <a:pt x="542" y="144"/>
                </a:moveTo>
                <a:cubicBezTo>
                  <a:pt x="542" y="139"/>
                  <a:pt x="542" y="139"/>
                  <a:pt x="542" y="139"/>
                </a:cubicBezTo>
                <a:cubicBezTo>
                  <a:pt x="537" y="139"/>
                  <a:pt x="537" y="139"/>
                  <a:pt x="537" y="139"/>
                </a:cubicBezTo>
                <a:cubicBezTo>
                  <a:pt x="529" y="135"/>
                  <a:pt x="522" y="131"/>
                  <a:pt x="514" y="127"/>
                </a:cubicBezTo>
                <a:cubicBezTo>
                  <a:pt x="500" y="120"/>
                  <a:pt x="485" y="114"/>
                  <a:pt x="472" y="106"/>
                </a:cubicBezTo>
                <a:cubicBezTo>
                  <a:pt x="472" y="106"/>
                  <a:pt x="472" y="106"/>
                  <a:pt x="472" y="106"/>
                </a:cubicBezTo>
                <a:cubicBezTo>
                  <a:pt x="470" y="105"/>
                  <a:pt x="469" y="104"/>
                  <a:pt x="466" y="104"/>
                </a:cubicBezTo>
                <a:cubicBezTo>
                  <a:pt x="464" y="103"/>
                  <a:pt x="463" y="102"/>
                  <a:pt x="461" y="101"/>
                </a:cubicBezTo>
                <a:cubicBezTo>
                  <a:pt x="462" y="102"/>
                  <a:pt x="465" y="104"/>
                  <a:pt x="465" y="104"/>
                </a:cubicBezTo>
                <a:cubicBezTo>
                  <a:pt x="466" y="105"/>
                  <a:pt x="467" y="105"/>
                  <a:pt x="467" y="105"/>
                </a:cubicBezTo>
                <a:cubicBezTo>
                  <a:pt x="468" y="106"/>
                  <a:pt x="470" y="107"/>
                  <a:pt x="470" y="107"/>
                </a:cubicBezTo>
                <a:cubicBezTo>
                  <a:pt x="468" y="107"/>
                  <a:pt x="472" y="108"/>
                  <a:pt x="471" y="109"/>
                </a:cubicBezTo>
                <a:cubicBezTo>
                  <a:pt x="470" y="109"/>
                  <a:pt x="469" y="108"/>
                  <a:pt x="469" y="108"/>
                </a:cubicBezTo>
                <a:cubicBezTo>
                  <a:pt x="469" y="109"/>
                  <a:pt x="471" y="109"/>
                  <a:pt x="472" y="110"/>
                </a:cubicBezTo>
                <a:cubicBezTo>
                  <a:pt x="473" y="110"/>
                  <a:pt x="475" y="111"/>
                  <a:pt x="475" y="112"/>
                </a:cubicBezTo>
                <a:cubicBezTo>
                  <a:pt x="474" y="111"/>
                  <a:pt x="472" y="110"/>
                  <a:pt x="471" y="110"/>
                </a:cubicBezTo>
                <a:cubicBezTo>
                  <a:pt x="471" y="110"/>
                  <a:pt x="470" y="110"/>
                  <a:pt x="470" y="110"/>
                </a:cubicBezTo>
                <a:cubicBezTo>
                  <a:pt x="472" y="111"/>
                  <a:pt x="473" y="111"/>
                  <a:pt x="475" y="112"/>
                </a:cubicBezTo>
                <a:cubicBezTo>
                  <a:pt x="476" y="113"/>
                  <a:pt x="477" y="113"/>
                  <a:pt x="479" y="114"/>
                </a:cubicBezTo>
                <a:cubicBezTo>
                  <a:pt x="479" y="114"/>
                  <a:pt x="479" y="115"/>
                  <a:pt x="478" y="115"/>
                </a:cubicBezTo>
                <a:cubicBezTo>
                  <a:pt x="476" y="114"/>
                  <a:pt x="474" y="112"/>
                  <a:pt x="472" y="111"/>
                </a:cubicBezTo>
                <a:cubicBezTo>
                  <a:pt x="468" y="109"/>
                  <a:pt x="463" y="107"/>
                  <a:pt x="458" y="105"/>
                </a:cubicBezTo>
                <a:cubicBezTo>
                  <a:pt x="458" y="105"/>
                  <a:pt x="457" y="105"/>
                  <a:pt x="457" y="104"/>
                </a:cubicBezTo>
                <a:cubicBezTo>
                  <a:pt x="456" y="104"/>
                  <a:pt x="454" y="103"/>
                  <a:pt x="453" y="102"/>
                </a:cubicBezTo>
                <a:cubicBezTo>
                  <a:pt x="452" y="102"/>
                  <a:pt x="451" y="101"/>
                  <a:pt x="449" y="101"/>
                </a:cubicBezTo>
                <a:cubicBezTo>
                  <a:pt x="447" y="100"/>
                  <a:pt x="446" y="99"/>
                  <a:pt x="443" y="98"/>
                </a:cubicBezTo>
                <a:cubicBezTo>
                  <a:pt x="443" y="99"/>
                  <a:pt x="445" y="100"/>
                  <a:pt x="448" y="101"/>
                </a:cubicBezTo>
                <a:cubicBezTo>
                  <a:pt x="452" y="104"/>
                  <a:pt x="456" y="106"/>
                  <a:pt x="460" y="106"/>
                </a:cubicBezTo>
                <a:cubicBezTo>
                  <a:pt x="465" y="109"/>
                  <a:pt x="469" y="111"/>
                  <a:pt x="474" y="113"/>
                </a:cubicBezTo>
                <a:cubicBezTo>
                  <a:pt x="477" y="115"/>
                  <a:pt x="481" y="116"/>
                  <a:pt x="484" y="118"/>
                </a:cubicBezTo>
                <a:cubicBezTo>
                  <a:pt x="486" y="119"/>
                  <a:pt x="488" y="120"/>
                  <a:pt x="490" y="121"/>
                </a:cubicBezTo>
                <a:cubicBezTo>
                  <a:pt x="491" y="122"/>
                  <a:pt x="493" y="123"/>
                  <a:pt x="494" y="124"/>
                </a:cubicBezTo>
                <a:cubicBezTo>
                  <a:pt x="492" y="123"/>
                  <a:pt x="491" y="122"/>
                  <a:pt x="489" y="121"/>
                </a:cubicBezTo>
                <a:cubicBezTo>
                  <a:pt x="489" y="121"/>
                  <a:pt x="488" y="121"/>
                  <a:pt x="487" y="121"/>
                </a:cubicBezTo>
                <a:cubicBezTo>
                  <a:pt x="487" y="121"/>
                  <a:pt x="487" y="121"/>
                  <a:pt x="487" y="121"/>
                </a:cubicBezTo>
                <a:cubicBezTo>
                  <a:pt x="487" y="121"/>
                  <a:pt x="489" y="122"/>
                  <a:pt x="491" y="123"/>
                </a:cubicBezTo>
                <a:cubicBezTo>
                  <a:pt x="491" y="123"/>
                  <a:pt x="492" y="124"/>
                  <a:pt x="492" y="124"/>
                </a:cubicBezTo>
                <a:cubicBezTo>
                  <a:pt x="494" y="125"/>
                  <a:pt x="495" y="125"/>
                  <a:pt x="496" y="126"/>
                </a:cubicBezTo>
                <a:cubicBezTo>
                  <a:pt x="498" y="126"/>
                  <a:pt x="499" y="127"/>
                  <a:pt x="501" y="127"/>
                </a:cubicBezTo>
                <a:cubicBezTo>
                  <a:pt x="501" y="127"/>
                  <a:pt x="501" y="128"/>
                  <a:pt x="501" y="128"/>
                </a:cubicBezTo>
                <a:cubicBezTo>
                  <a:pt x="503" y="130"/>
                  <a:pt x="504" y="131"/>
                  <a:pt x="507" y="131"/>
                </a:cubicBezTo>
                <a:cubicBezTo>
                  <a:pt x="510" y="132"/>
                  <a:pt x="511" y="133"/>
                  <a:pt x="514" y="134"/>
                </a:cubicBezTo>
                <a:cubicBezTo>
                  <a:pt x="514" y="135"/>
                  <a:pt x="513" y="135"/>
                  <a:pt x="510" y="135"/>
                </a:cubicBezTo>
                <a:cubicBezTo>
                  <a:pt x="512" y="136"/>
                  <a:pt x="514" y="136"/>
                  <a:pt x="515" y="137"/>
                </a:cubicBezTo>
                <a:cubicBezTo>
                  <a:pt x="515" y="137"/>
                  <a:pt x="515" y="137"/>
                  <a:pt x="515" y="137"/>
                </a:cubicBezTo>
                <a:cubicBezTo>
                  <a:pt x="505" y="133"/>
                  <a:pt x="494" y="128"/>
                  <a:pt x="485" y="123"/>
                </a:cubicBezTo>
                <a:cubicBezTo>
                  <a:pt x="484" y="123"/>
                  <a:pt x="483" y="123"/>
                  <a:pt x="482" y="122"/>
                </a:cubicBezTo>
                <a:cubicBezTo>
                  <a:pt x="479" y="121"/>
                  <a:pt x="476" y="119"/>
                  <a:pt x="473" y="118"/>
                </a:cubicBezTo>
                <a:cubicBezTo>
                  <a:pt x="472" y="117"/>
                  <a:pt x="471" y="117"/>
                  <a:pt x="471" y="117"/>
                </a:cubicBezTo>
                <a:cubicBezTo>
                  <a:pt x="470" y="117"/>
                  <a:pt x="469" y="117"/>
                  <a:pt x="468" y="117"/>
                </a:cubicBezTo>
                <a:cubicBezTo>
                  <a:pt x="455" y="110"/>
                  <a:pt x="444" y="104"/>
                  <a:pt x="430" y="97"/>
                </a:cubicBezTo>
                <a:cubicBezTo>
                  <a:pt x="430" y="96"/>
                  <a:pt x="428" y="95"/>
                  <a:pt x="426" y="94"/>
                </a:cubicBezTo>
                <a:cubicBezTo>
                  <a:pt x="425" y="94"/>
                  <a:pt x="425" y="93"/>
                  <a:pt x="421" y="92"/>
                </a:cubicBezTo>
                <a:cubicBezTo>
                  <a:pt x="421" y="92"/>
                  <a:pt x="418" y="92"/>
                  <a:pt x="417" y="91"/>
                </a:cubicBezTo>
                <a:cubicBezTo>
                  <a:pt x="412" y="89"/>
                  <a:pt x="409" y="87"/>
                  <a:pt x="403" y="84"/>
                </a:cubicBezTo>
                <a:cubicBezTo>
                  <a:pt x="405" y="86"/>
                  <a:pt x="409" y="87"/>
                  <a:pt x="409" y="89"/>
                </a:cubicBezTo>
                <a:cubicBezTo>
                  <a:pt x="399" y="84"/>
                  <a:pt x="390" y="80"/>
                  <a:pt x="382" y="76"/>
                </a:cubicBezTo>
                <a:cubicBezTo>
                  <a:pt x="380" y="74"/>
                  <a:pt x="378" y="73"/>
                  <a:pt x="374" y="72"/>
                </a:cubicBezTo>
                <a:cubicBezTo>
                  <a:pt x="374" y="72"/>
                  <a:pt x="373" y="71"/>
                  <a:pt x="373" y="71"/>
                </a:cubicBezTo>
                <a:cubicBezTo>
                  <a:pt x="371" y="69"/>
                  <a:pt x="366" y="68"/>
                  <a:pt x="364" y="66"/>
                </a:cubicBezTo>
                <a:cubicBezTo>
                  <a:pt x="363" y="66"/>
                  <a:pt x="363" y="66"/>
                  <a:pt x="363" y="66"/>
                </a:cubicBezTo>
                <a:cubicBezTo>
                  <a:pt x="363" y="66"/>
                  <a:pt x="363" y="66"/>
                  <a:pt x="363" y="66"/>
                </a:cubicBezTo>
                <a:cubicBezTo>
                  <a:pt x="363" y="66"/>
                  <a:pt x="363" y="66"/>
                  <a:pt x="364" y="66"/>
                </a:cubicBezTo>
                <a:cubicBezTo>
                  <a:pt x="361" y="64"/>
                  <a:pt x="356" y="62"/>
                  <a:pt x="352" y="60"/>
                </a:cubicBezTo>
                <a:cubicBezTo>
                  <a:pt x="347" y="57"/>
                  <a:pt x="342" y="54"/>
                  <a:pt x="340" y="52"/>
                </a:cubicBezTo>
                <a:cubicBezTo>
                  <a:pt x="339" y="52"/>
                  <a:pt x="338" y="51"/>
                  <a:pt x="338" y="51"/>
                </a:cubicBezTo>
                <a:cubicBezTo>
                  <a:pt x="334" y="49"/>
                  <a:pt x="328" y="46"/>
                  <a:pt x="324" y="44"/>
                </a:cubicBezTo>
                <a:cubicBezTo>
                  <a:pt x="323" y="43"/>
                  <a:pt x="321" y="42"/>
                  <a:pt x="318" y="42"/>
                </a:cubicBezTo>
                <a:cubicBezTo>
                  <a:pt x="317" y="41"/>
                  <a:pt x="316" y="41"/>
                  <a:pt x="314" y="40"/>
                </a:cubicBezTo>
                <a:cubicBezTo>
                  <a:pt x="314" y="40"/>
                  <a:pt x="313" y="40"/>
                  <a:pt x="313" y="40"/>
                </a:cubicBezTo>
                <a:cubicBezTo>
                  <a:pt x="313" y="40"/>
                  <a:pt x="313" y="40"/>
                  <a:pt x="313" y="40"/>
                </a:cubicBezTo>
                <a:cubicBezTo>
                  <a:pt x="316" y="42"/>
                  <a:pt x="321" y="45"/>
                  <a:pt x="326" y="47"/>
                </a:cubicBezTo>
                <a:cubicBezTo>
                  <a:pt x="328" y="48"/>
                  <a:pt x="331" y="49"/>
                  <a:pt x="331" y="50"/>
                </a:cubicBezTo>
                <a:cubicBezTo>
                  <a:pt x="338" y="52"/>
                  <a:pt x="333" y="53"/>
                  <a:pt x="338" y="54"/>
                </a:cubicBezTo>
                <a:cubicBezTo>
                  <a:pt x="338" y="54"/>
                  <a:pt x="338" y="54"/>
                  <a:pt x="338" y="54"/>
                </a:cubicBezTo>
                <a:cubicBezTo>
                  <a:pt x="339" y="55"/>
                  <a:pt x="339" y="56"/>
                  <a:pt x="342" y="57"/>
                </a:cubicBezTo>
                <a:cubicBezTo>
                  <a:pt x="345" y="59"/>
                  <a:pt x="349" y="60"/>
                  <a:pt x="351" y="62"/>
                </a:cubicBezTo>
                <a:cubicBezTo>
                  <a:pt x="353" y="63"/>
                  <a:pt x="354" y="63"/>
                  <a:pt x="356" y="63"/>
                </a:cubicBezTo>
                <a:cubicBezTo>
                  <a:pt x="356" y="64"/>
                  <a:pt x="354" y="64"/>
                  <a:pt x="357" y="65"/>
                </a:cubicBezTo>
                <a:cubicBezTo>
                  <a:pt x="357" y="66"/>
                  <a:pt x="361" y="67"/>
                  <a:pt x="361" y="68"/>
                </a:cubicBezTo>
                <a:cubicBezTo>
                  <a:pt x="361" y="68"/>
                  <a:pt x="360" y="68"/>
                  <a:pt x="360" y="68"/>
                </a:cubicBezTo>
                <a:cubicBezTo>
                  <a:pt x="358" y="67"/>
                  <a:pt x="359" y="68"/>
                  <a:pt x="359" y="69"/>
                </a:cubicBezTo>
                <a:cubicBezTo>
                  <a:pt x="355" y="68"/>
                  <a:pt x="352" y="66"/>
                  <a:pt x="352" y="66"/>
                </a:cubicBezTo>
                <a:cubicBezTo>
                  <a:pt x="352" y="64"/>
                  <a:pt x="350" y="63"/>
                  <a:pt x="346" y="62"/>
                </a:cubicBezTo>
                <a:cubicBezTo>
                  <a:pt x="344" y="62"/>
                  <a:pt x="342" y="61"/>
                  <a:pt x="341" y="60"/>
                </a:cubicBezTo>
                <a:cubicBezTo>
                  <a:pt x="340" y="59"/>
                  <a:pt x="338" y="58"/>
                  <a:pt x="336" y="58"/>
                </a:cubicBezTo>
                <a:cubicBezTo>
                  <a:pt x="336" y="58"/>
                  <a:pt x="336" y="58"/>
                  <a:pt x="335" y="58"/>
                </a:cubicBezTo>
                <a:cubicBezTo>
                  <a:pt x="332" y="56"/>
                  <a:pt x="328" y="54"/>
                  <a:pt x="324" y="53"/>
                </a:cubicBezTo>
                <a:cubicBezTo>
                  <a:pt x="324" y="53"/>
                  <a:pt x="324" y="53"/>
                  <a:pt x="324" y="53"/>
                </a:cubicBezTo>
                <a:cubicBezTo>
                  <a:pt x="324" y="53"/>
                  <a:pt x="324" y="53"/>
                  <a:pt x="324" y="53"/>
                </a:cubicBezTo>
                <a:cubicBezTo>
                  <a:pt x="324" y="53"/>
                  <a:pt x="324" y="53"/>
                  <a:pt x="324" y="53"/>
                </a:cubicBezTo>
                <a:cubicBezTo>
                  <a:pt x="322" y="51"/>
                  <a:pt x="319" y="50"/>
                  <a:pt x="317" y="49"/>
                </a:cubicBezTo>
                <a:cubicBezTo>
                  <a:pt x="313" y="48"/>
                  <a:pt x="310" y="46"/>
                  <a:pt x="306" y="44"/>
                </a:cubicBezTo>
                <a:cubicBezTo>
                  <a:pt x="307" y="46"/>
                  <a:pt x="317" y="49"/>
                  <a:pt x="315" y="51"/>
                </a:cubicBezTo>
                <a:cubicBezTo>
                  <a:pt x="314" y="50"/>
                  <a:pt x="314" y="51"/>
                  <a:pt x="314" y="52"/>
                </a:cubicBezTo>
                <a:cubicBezTo>
                  <a:pt x="314" y="52"/>
                  <a:pt x="314" y="52"/>
                  <a:pt x="315" y="52"/>
                </a:cubicBezTo>
                <a:cubicBezTo>
                  <a:pt x="317" y="53"/>
                  <a:pt x="319" y="53"/>
                  <a:pt x="322" y="54"/>
                </a:cubicBezTo>
                <a:cubicBezTo>
                  <a:pt x="322" y="55"/>
                  <a:pt x="323" y="55"/>
                  <a:pt x="324" y="55"/>
                </a:cubicBezTo>
                <a:cubicBezTo>
                  <a:pt x="325" y="56"/>
                  <a:pt x="326" y="56"/>
                  <a:pt x="326" y="57"/>
                </a:cubicBezTo>
                <a:cubicBezTo>
                  <a:pt x="332" y="59"/>
                  <a:pt x="336" y="62"/>
                  <a:pt x="340" y="65"/>
                </a:cubicBezTo>
                <a:cubicBezTo>
                  <a:pt x="338" y="65"/>
                  <a:pt x="336" y="63"/>
                  <a:pt x="334" y="63"/>
                </a:cubicBezTo>
                <a:cubicBezTo>
                  <a:pt x="334" y="64"/>
                  <a:pt x="338" y="65"/>
                  <a:pt x="339" y="66"/>
                </a:cubicBezTo>
                <a:cubicBezTo>
                  <a:pt x="339" y="66"/>
                  <a:pt x="339" y="66"/>
                  <a:pt x="338" y="66"/>
                </a:cubicBezTo>
                <a:cubicBezTo>
                  <a:pt x="338" y="66"/>
                  <a:pt x="338" y="66"/>
                  <a:pt x="338" y="66"/>
                </a:cubicBezTo>
                <a:cubicBezTo>
                  <a:pt x="338" y="66"/>
                  <a:pt x="338" y="67"/>
                  <a:pt x="337" y="66"/>
                </a:cubicBezTo>
                <a:cubicBezTo>
                  <a:pt x="334" y="65"/>
                  <a:pt x="333" y="65"/>
                  <a:pt x="332" y="65"/>
                </a:cubicBezTo>
                <a:cubicBezTo>
                  <a:pt x="331" y="65"/>
                  <a:pt x="333" y="66"/>
                  <a:pt x="334" y="67"/>
                </a:cubicBezTo>
                <a:cubicBezTo>
                  <a:pt x="337" y="68"/>
                  <a:pt x="340" y="69"/>
                  <a:pt x="341" y="70"/>
                </a:cubicBezTo>
                <a:cubicBezTo>
                  <a:pt x="343" y="72"/>
                  <a:pt x="345" y="72"/>
                  <a:pt x="347" y="72"/>
                </a:cubicBezTo>
                <a:cubicBezTo>
                  <a:pt x="349" y="73"/>
                  <a:pt x="351" y="74"/>
                  <a:pt x="355" y="76"/>
                </a:cubicBezTo>
                <a:cubicBezTo>
                  <a:pt x="353" y="74"/>
                  <a:pt x="351" y="73"/>
                  <a:pt x="347" y="72"/>
                </a:cubicBezTo>
                <a:cubicBezTo>
                  <a:pt x="345" y="71"/>
                  <a:pt x="343" y="70"/>
                  <a:pt x="341" y="68"/>
                </a:cubicBezTo>
                <a:cubicBezTo>
                  <a:pt x="339" y="68"/>
                  <a:pt x="339" y="67"/>
                  <a:pt x="341" y="67"/>
                </a:cubicBezTo>
                <a:cubicBezTo>
                  <a:pt x="343" y="68"/>
                  <a:pt x="346" y="69"/>
                  <a:pt x="347" y="68"/>
                </a:cubicBezTo>
                <a:cubicBezTo>
                  <a:pt x="347" y="69"/>
                  <a:pt x="348" y="69"/>
                  <a:pt x="349" y="69"/>
                </a:cubicBezTo>
                <a:cubicBezTo>
                  <a:pt x="349" y="70"/>
                  <a:pt x="351" y="71"/>
                  <a:pt x="353" y="72"/>
                </a:cubicBezTo>
                <a:cubicBezTo>
                  <a:pt x="359" y="75"/>
                  <a:pt x="364" y="78"/>
                  <a:pt x="370" y="81"/>
                </a:cubicBezTo>
                <a:cubicBezTo>
                  <a:pt x="373" y="83"/>
                  <a:pt x="375" y="84"/>
                  <a:pt x="380" y="86"/>
                </a:cubicBezTo>
                <a:cubicBezTo>
                  <a:pt x="382" y="88"/>
                  <a:pt x="388" y="90"/>
                  <a:pt x="390" y="92"/>
                </a:cubicBezTo>
                <a:cubicBezTo>
                  <a:pt x="391" y="93"/>
                  <a:pt x="393" y="94"/>
                  <a:pt x="394" y="95"/>
                </a:cubicBezTo>
                <a:cubicBezTo>
                  <a:pt x="395" y="96"/>
                  <a:pt x="396" y="96"/>
                  <a:pt x="396" y="97"/>
                </a:cubicBezTo>
                <a:cubicBezTo>
                  <a:pt x="397" y="97"/>
                  <a:pt x="397" y="98"/>
                  <a:pt x="398" y="98"/>
                </a:cubicBezTo>
                <a:cubicBezTo>
                  <a:pt x="396" y="97"/>
                  <a:pt x="394" y="96"/>
                  <a:pt x="392" y="95"/>
                </a:cubicBezTo>
                <a:cubicBezTo>
                  <a:pt x="390" y="95"/>
                  <a:pt x="390" y="94"/>
                  <a:pt x="388" y="94"/>
                </a:cubicBezTo>
                <a:cubicBezTo>
                  <a:pt x="387" y="93"/>
                  <a:pt x="385" y="92"/>
                  <a:pt x="384" y="92"/>
                </a:cubicBezTo>
                <a:cubicBezTo>
                  <a:pt x="384" y="92"/>
                  <a:pt x="384" y="93"/>
                  <a:pt x="383" y="93"/>
                </a:cubicBezTo>
                <a:cubicBezTo>
                  <a:pt x="380" y="91"/>
                  <a:pt x="378" y="90"/>
                  <a:pt x="374" y="88"/>
                </a:cubicBezTo>
                <a:cubicBezTo>
                  <a:pt x="372" y="87"/>
                  <a:pt x="370" y="87"/>
                  <a:pt x="369" y="86"/>
                </a:cubicBezTo>
                <a:cubicBezTo>
                  <a:pt x="369" y="86"/>
                  <a:pt x="370" y="85"/>
                  <a:pt x="369" y="85"/>
                </a:cubicBezTo>
                <a:cubicBezTo>
                  <a:pt x="367" y="84"/>
                  <a:pt x="367" y="85"/>
                  <a:pt x="367" y="85"/>
                </a:cubicBezTo>
                <a:cubicBezTo>
                  <a:pt x="365" y="84"/>
                  <a:pt x="364" y="83"/>
                  <a:pt x="362" y="83"/>
                </a:cubicBezTo>
                <a:cubicBezTo>
                  <a:pt x="362" y="83"/>
                  <a:pt x="362" y="83"/>
                  <a:pt x="362" y="83"/>
                </a:cubicBezTo>
                <a:cubicBezTo>
                  <a:pt x="356" y="78"/>
                  <a:pt x="346" y="74"/>
                  <a:pt x="338" y="70"/>
                </a:cubicBezTo>
                <a:cubicBezTo>
                  <a:pt x="334" y="67"/>
                  <a:pt x="330" y="65"/>
                  <a:pt x="326" y="63"/>
                </a:cubicBezTo>
                <a:cubicBezTo>
                  <a:pt x="324" y="61"/>
                  <a:pt x="321" y="60"/>
                  <a:pt x="318" y="59"/>
                </a:cubicBezTo>
                <a:cubicBezTo>
                  <a:pt x="317" y="58"/>
                  <a:pt x="317" y="57"/>
                  <a:pt x="314" y="57"/>
                </a:cubicBezTo>
                <a:cubicBezTo>
                  <a:pt x="309" y="56"/>
                  <a:pt x="312" y="57"/>
                  <a:pt x="312" y="58"/>
                </a:cubicBezTo>
                <a:cubicBezTo>
                  <a:pt x="311" y="57"/>
                  <a:pt x="310" y="57"/>
                  <a:pt x="308" y="56"/>
                </a:cubicBezTo>
                <a:cubicBezTo>
                  <a:pt x="310" y="58"/>
                  <a:pt x="313" y="60"/>
                  <a:pt x="316" y="61"/>
                </a:cubicBezTo>
                <a:cubicBezTo>
                  <a:pt x="315" y="61"/>
                  <a:pt x="314" y="62"/>
                  <a:pt x="316" y="62"/>
                </a:cubicBezTo>
                <a:cubicBezTo>
                  <a:pt x="319" y="64"/>
                  <a:pt x="321" y="65"/>
                  <a:pt x="325" y="66"/>
                </a:cubicBezTo>
                <a:cubicBezTo>
                  <a:pt x="325" y="66"/>
                  <a:pt x="325" y="66"/>
                  <a:pt x="325" y="67"/>
                </a:cubicBezTo>
                <a:cubicBezTo>
                  <a:pt x="325" y="67"/>
                  <a:pt x="325" y="67"/>
                  <a:pt x="325" y="67"/>
                </a:cubicBezTo>
                <a:cubicBezTo>
                  <a:pt x="325" y="67"/>
                  <a:pt x="325" y="66"/>
                  <a:pt x="325" y="66"/>
                </a:cubicBezTo>
                <a:cubicBezTo>
                  <a:pt x="325" y="67"/>
                  <a:pt x="322" y="67"/>
                  <a:pt x="327" y="68"/>
                </a:cubicBezTo>
                <a:cubicBezTo>
                  <a:pt x="328" y="69"/>
                  <a:pt x="330" y="70"/>
                  <a:pt x="328" y="70"/>
                </a:cubicBezTo>
                <a:cubicBezTo>
                  <a:pt x="328" y="70"/>
                  <a:pt x="328" y="70"/>
                  <a:pt x="328" y="70"/>
                </a:cubicBezTo>
                <a:cubicBezTo>
                  <a:pt x="328" y="70"/>
                  <a:pt x="328" y="70"/>
                  <a:pt x="328" y="70"/>
                </a:cubicBezTo>
                <a:cubicBezTo>
                  <a:pt x="328" y="70"/>
                  <a:pt x="328" y="70"/>
                  <a:pt x="328" y="70"/>
                </a:cubicBezTo>
                <a:cubicBezTo>
                  <a:pt x="323" y="67"/>
                  <a:pt x="319" y="65"/>
                  <a:pt x="312" y="62"/>
                </a:cubicBezTo>
                <a:cubicBezTo>
                  <a:pt x="311" y="62"/>
                  <a:pt x="310" y="61"/>
                  <a:pt x="309" y="60"/>
                </a:cubicBezTo>
                <a:cubicBezTo>
                  <a:pt x="306" y="60"/>
                  <a:pt x="310" y="62"/>
                  <a:pt x="310" y="62"/>
                </a:cubicBezTo>
                <a:cubicBezTo>
                  <a:pt x="309" y="62"/>
                  <a:pt x="308" y="62"/>
                  <a:pt x="307" y="62"/>
                </a:cubicBezTo>
                <a:cubicBezTo>
                  <a:pt x="303" y="61"/>
                  <a:pt x="301" y="59"/>
                  <a:pt x="298" y="58"/>
                </a:cubicBezTo>
                <a:cubicBezTo>
                  <a:pt x="296" y="57"/>
                  <a:pt x="294" y="55"/>
                  <a:pt x="292" y="55"/>
                </a:cubicBezTo>
                <a:cubicBezTo>
                  <a:pt x="289" y="55"/>
                  <a:pt x="295" y="57"/>
                  <a:pt x="296" y="58"/>
                </a:cubicBezTo>
                <a:cubicBezTo>
                  <a:pt x="296" y="58"/>
                  <a:pt x="296" y="58"/>
                  <a:pt x="296" y="58"/>
                </a:cubicBezTo>
                <a:cubicBezTo>
                  <a:pt x="296" y="58"/>
                  <a:pt x="296" y="58"/>
                  <a:pt x="296" y="58"/>
                </a:cubicBezTo>
                <a:cubicBezTo>
                  <a:pt x="295" y="58"/>
                  <a:pt x="295" y="58"/>
                  <a:pt x="294" y="58"/>
                </a:cubicBezTo>
                <a:cubicBezTo>
                  <a:pt x="297" y="60"/>
                  <a:pt x="302" y="61"/>
                  <a:pt x="304" y="63"/>
                </a:cubicBezTo>
                <a:cubicBezTo>
                  <a:pt x="305" y="63"/>
                  <a:pt x="305" y="64"/>
                  <a:pt x="306" y="64"/>
                </a:cubicBezTo>
                <a:cubicBezTo>
                  <a:pt x="306" y="64"/>
                  <a:pt x="305" y="64"/>
                  <a:pt x="304" y="64"/>
                </a:cubicBezTo>
                <a:cubicBezTo>
                  <a:pt x="304" y="65"/>
                  <a:pt x="304" y="65"/>
                  <a:pt x="305" y="66"/>
                </a:cubicBezTo>
                <a:cubicBezTo>
                  <a:pt x="311" y="69"/>
                  <a:pt x="311" y="69"/>
                  <a:pt x="305" y="69"/>
                </a:cubicBezTo>
                <a:cubicBezTo>
                  <a:pt x="305" y="69"/>
                  <a:pt x="305" y="69"/>
                  <a:pt x="305" y="69"/>
                </a:cubicBezTo>
                <a:cubicBezTo>
                  <a:pt x="305" y="69"/>
                  <a:pt x="305" y="69"/>
                  <a:pt x="305" y="69"/>
                </a:cubicBezTo>
                <a:cubicBezTo>
                  <a:pt x="305" y="69"/>
                  <a:pt x="305" y="69"/>
                  <a:pt x="305" y="69"/>
                </a:cubicBezTo>
                <a:cubicBezTo>
                  <a:pt x="303" y="69"/>
                  <a:pt x="303" y="67"/>
                  <a:pt x="300" y="67"/>
                </a:cubicBezTo>
                <a:cubicBezTo>
                  <a:pt x="298" y="68"/>
                  <a:pt x="301" y="69"/>
                  <a:pt x="302" y="69"/>
                </a:cubicBezTo>
                <a:cubicBezTo>
                  <a:pt x="303" y="70"/>
                  <a:pt x="303" y="71"/>
                  <a:pt x="301" y="70"/>
                </a:cubicBezTo>
                <a:cubicBezTo>
                  <a:pt x="295" y="68"/>
                  <a:pt x="289" y="67"/>
                  <a:pt x="284" y="64"/>
                </a:cubicBezTo>
                <a:cubicBezTo>
                  <a:pt x="284" y="64"/>
                  <a:pt x="283" y="63"/>
                  <a:pt x="284" y="63"/>
                </a:cubicBezTo>
                <a:cubicBezTo>
                  <a:pt x="284" y="63"/>
                  <a:pt x="286" y="64"/>
                  <a:pt x="287" y="64"/>
                </a:cubicBezTo>
                <a:cubicBezTo>
                  <a:pt x="282" y="61"/>
                  <a:pt x="272" y="58"/>
                  <a:pt x="267" y="55"/>
                </a:cubicBezTo>
                <a:cubicBezTo>
                  <a:pt x="265" y="54"/>
                  <a:pt x="262" y="52"/>
                  <a:pt x="258" y="50"/>
                </a:cubicBezTo>
                <a:cubicBezTo>
                  <a:pt x="257" y="50"/>
                  <a:pt x="256" y="49"/>
                  <a:pt x="254" y="49"/>
                </a:cubicBezTo>
                <a:cubicBezTo>
                  <a:pt x="252" y="49"/>
                  <a:pt x="253" y="50"/>
                  <a:pt x="255" y="50"/>
                </a:cubicBezTo>
                <a:cubicBezTo>
                  <a:pt x="259" y="52"/>
                  <a:pt x="255" y="52"/>
                  <a:pt x="255" y="52"/>
                </a:cubicBezTo>
                <a:cubicBezTo>
                  <a:pt x="254" y="52"/>
                  <a:pt x="253" y="52"/>
                  <a:pt x="253" y="52"/>
                </a:cubicBezTo>
                <a:cubicBezTo>
                  <a:pt x="255" y="53"/>
                  <a:pt x="255" y="54"/>
                  <a:pt x="260" y="55"/>
                </a:cubicBezTo>
                <a:cubicBezTo>
                  <a:pt x="261" y="54"/>
                  <a:pt x="259" y="53"/>
                  <a:pt x="259" y="53"/>
                </a:cubicBezTo>
                <a:cubicBezTo>
                  <a:pt x="262" y="54"/>
                  <a:pt x="262" y="55"/>
                  <a:pt x="264" y="55"/>
                </a:cubicBezTo>
                <a:cubicBezTo>
                  <a:pt x="269" y="57"/>
                  <a:pt x="269" y="59"/>
                  <a:pt x="274" y="61"/>
                </a:cubicBezTo>
                <a:cubicBezTo>
                  <a:pt x="276" y="62"/>
                  <a:pt x="278" y="63"/>
                  <a:pt x="280" y="64"/>
                </a:cubicBezTo>
                <a:cubicBezTo>
                  <a:pt x="280" y="64"/>
                  <a:pt x="279" y="65"/>
                  <a:pt x="280" y="66"/>
                </a:cubicBezTo>
                <a:cubicBezTo>
                  <a:pt x="282" y="67"/>
                  <a:pt x="284" y="68"/>
                  <a:pt x="286" y="69"/>
                </a:cubicBezTo>
                <a:cubicBezTo>
                  <a:pt x="286" y="69"/>
                  <a:pt x="287" y="69"/>
                  <a:pt x="287" y="69"/>
                </a:cubicBezTo>
                <a:cubicBezTo>
                  <a:pt x="285" y="68"/>
                  <a:pt x="283" y="67"/>
                  <a:pt x="281" y="66"/>
                </a:cubicBezTo>
                <a:cubicBezTo>
                  <a:pt x="286" y="66"/>
                  <a:pt x="287" y="68"/>
                  <a:pt x="290" y="69"/>
                </a:cubicBezTo>
                <a:cubicBezTo>
                  <a:pt x="291" y="71"/>
                  <a:pt x="297" y="73"/>
                  <a:pt x="300" y="74"/>
                </a:cubicBezTo>
                <a:cubicBezTo>
                  <a:pt x="300" y="75"/>
                  <a:pt x="301" y="75"/>
                  <a:pt x="302" y="75"/>
                </a:cubicBezTo>
                <a:cubicBezTo>
                  <a:pt x="302" y="75"/>
                  <a:pt x="302" y="75"/>
                  <a:pt x="302" y="75"/>
                </a:cubicBezTo>
                <a:cubicBezTo>
                  <a:pt x="302" y="75"/>
                  <a:pt x="302" y="75"/>
                  <a:pt x="302" y="75"/>
                </a:cubicBezTo>
                <a:cubicBezTo>
                  <a:pt x="302" y="75"/>
                  <a:pt x="302" y="75"/>
                  <a:pt x="302" y="75"/>
                </a:cubicBezTo>
                <a:cubicBezTo>
                  <a:pt x="306" y="77"/>
                  <a:pt x="308" y="79"/>
                  <a:pt x="313" y="80"/>
                </a:cubicBezTo>
                <a:cubicBezTo>
                  <a:pt x="313" y="80"/>
                  <a:pt x="313" y="80"/>
                  <a:pt x="313" y="80"/>
                </a:cubicBezTo>
                <a:cubicBezTo>
                  <a:pt x="313" y="80"/>
                  <a:pt x="313" y="80"/>
                  <a:pt x="313" y="80"/>
                </a:cubicBezTo>
                <a:cubicBezTo>
                  <a:pt x="314" y="81"/>
                  <a:pt x="316" y="82"/>
                  <a:pt x="318" y="83"/>
                </a:cubicBezTo>
                <a:cubicBezTo>
                  <a:pt x="319" y="84"/>
                  <a:pt x="322" y="85"/>
                  <a:pt x="325" y="86"/>
                </a:cubicBezTo>
                <a:cubicBezTo>
                  <a:pt x="327" y="87"/>
                  <a:pt x="328" y="88"/>
                  <a:pt x="330" y="89"/>
                </a:cubicBezTo>
                <a:cubicBezTo>
                  <a:pt x="330" y="89"/>
                  <a:pt x="330" y="90"/>
                  <a:pt x="330" y="90"/>
                </a:cubicBezTo>
                <a:cubicBezTo>
                  <a:pt x="332" y="91"/>
                  <a:pt x="335" y="92"/>
                  <a:pt x="334" y="93"/>
                </a:cubicBezTo>
                <a:cubicBezTo>
                  <a:pt x="328" y="90"/>
                  <a:pt x="324" y="88"/>
                  <a:pt x="317" y="85"/>
                </a:cubicBezTo>
                <a:cubicBezTo>
                  <a:pt x="306" y="80"/>
                  <a:pt x="296" y="74"/>
                  <a:pt x="285" y="69"/>
                </a:cubicBezTo>
                <a:cubicBezTo>
                  <a:pt x="284" y="68"/>
                  <a:pt x="282" y="68"/>
                  <a:pt x="281" y="67"/>
                </a:cubicBezTo>
                <a:cubicBezTo>
                  <a:pt x="280" y="67"/>
                  <a:pt x="280" y="67"/>
                  <a:pt x="279" y="66"/>
                </a:cubicBezTo>
                <a:cubicBezTo>
                  <a:pt x="273" y="64"/>
                  <a:pt x="268" y="61"/>
                  <a:pt x="262" y="58"/>
                </a:cubicBezTo>
                <a:cubicBezTo>
                  <a:pt x="256" y="55"/>
                  <a:pt x="249" y="52"/>
                  <a:pt x="245" y="49"/>
                </a:cubicBezTo>
                <a:cubicBezTo>
                  <a:pt x="244" y="48"/>
                  <a:pt x="241" y="47"/>
                  <a:pt x="239" y="45"/>
                </a:cubicBezTo>
                <a:cubicBezTo>
                  <a:pt x="240" y="46"/>
                  <a:pt x="241" y="46"/>
                  <a:pt x="242" y="46"/>
                </a:cubicBezTo>
                <a:cubicBezTo>
                  <a:pt x="242" y="45"/>
                  <a:pt x="240" y="45"/>
                  <a:pt x="238" y="44"/>
                </a:cubicBezTo>
                <a:cubicBezTo>
                  <a:pt x="237" y="44"/>
                  <a:pt x="238" y="45"/>
                  <a:pt x="238" y="45"/>
                </a:cubicBezTo>
                <a:cubicBezTo>
                  <a:pt x="237" y="45"/>
                  <a:pt x="236" y="44"/>
                  <a:pt x="233" y="44"/>
                </a:cubicBezTo>
                <a:cubicBezTo>
                  <a:pt x="238" y="46"/>
                  <a:pt x="239" y="47"/>
                  <a:pt x="243" y="49"/>
                </a:cubicBezTo>
                <a:cubicBezTo>
                  <a:pt x="245" y="50"/>
                  <a:pt x="246" y="51"/>
                  <a:pt x="248" y="52"/>
                </a:cubicBezTo>
                <a:cubicBezTo>
                  <a:pt x="252" y="55"/>
                  <a:pt x="258" y="58"/>
                  <a:pt x="262" y="60"/>
                </a:cubicBezTo>
                <a:cubicBezTo>
                  <a:pt x="261" y="60"/>
                  <a:pt x="262" y="61"/>
                  <a:pt x="262" y="61"/>
                </a:cubicBezTo>
                <a:cubicBezTo>
                  <a:pt x="263" y="62"/>
                  <a:pt x="263" y="63"/>
                  <a:pt x="262" y="63"/>
                </a:cubicBezTo>
                <a:cubicBezTo>
                  <a:pt x="260" y="63"/>
                  <a:pt x="258" y="62"/>
                  <a:pt x="257" y="61"/>
                </a:cubicBezTo>
                <a:cubicBezTo>
                  <a:pt x="254" y="60"/>
                  <a:pt x="250" y="59"/>
                  <a:pt x="246" y="57"/>
                </a:cubicBezTo>
                <a:cubicBezTo>
                  <a:pt x="242" y="56"/>
                  <a:pt x="240" y="56"/>
                  <a:pt x="238" y="57"/>
                </a:cubicBezTo>
                <a:cubicBezTo>
                  <a:pt x="238" y="57"/>
                  <a:pt x="236" y="57"/>
                  <a:pt x="235" y="56"/>
                </a:cubicBezTo>
                <a:cubicBezTo>
                  <a:pt x="234" y="55"/>
                  <a:pt x="234" y="55"/>
                  <a:pt x="236" y="55"/>
                </a:cubicBezTo>
                <a:cubicBezTo>
                  <a:pt x="239" y="56"/>
                  <a:pt x="238" y="54"/>
                  <a:pt x="240" y="54"/>
                </a:cubicBezTo>
                <a:cubicBezTo>
                  <a:pt x="236" y="53"/>
                  <a:pt x="232" y="52"/>
                  <a:pt x="228" y="50"/>
                </a:cubicBezTo>
                <a:cubicBezTo>
                  <a:pt x="229" y="52"/>
                  <a:pt x="230" y="52"/>
                  <a:pt x="230" y="53"/>
                </a:cubicBezTo>
                <a:cubicBezTo>
                  <a:pt x="228" y="53"/>
                  <a:pt x="223" y="51"/>
                  <a:pt x="224" y="53"/>
                </a:cubicBezTo>
                <a:cubicBezTo>
                  <a:pt x="225" y="55"/>
                  <a:pt x="225" y="55"/>
                  <a:pt x="221" y="55"/>
                </a:cubicBezTo>
                <a:cubicBezTo>
                  <a:pt x="225" y="57"/>
                  <a:pt x="228" y="58"/>
                  <a:pt x="232" y="59"/>
                </a:cubicBezTo>
                <a:cubicBezTo>
                  <a:pt x="232" y="59"/>
                  <a:pt x="233" y="59"/>
                  <a:pt x="233" y="59"/>
                </a:cubicBezTo>
                <a:cubicBezTo>
                  <a:pt x="233" y="59"/>
                  <a:pt x="233" y="60"/>
                  <a:pt x="232" y="60"/>
                </a:cubicBezTo>
                <a:cubicBezTo>
                  <a:pt x="230" y="60"/>
                  <a:pt x="232" y="60"/>
                  <a:pt x="233" y="61"/>
                </a:cubicBezTo>
                <a:cubicBezTo>
                  <a:pt x="234" y="61"/>
                  <a:pt x="234" y="61"/>
                  <a:pt x="234" y="61"/>
                </a:cubicBezTo>
                <a:cubicBezTo>
                  <a:pt x="234" y="61"/>
                  <a:pt x="234" y="62"/>
                  <a:pt x="236" y="62"/>
                </a:cubicBezTo>
                <a:cubicBezTo>
                  <a:pt x="238" y="63"/>
                  <a:pt x="238" y="64"/>
                  <a:pt x="236" y="64"/>
                </a:cubicBezTo>
                <a:cubicBezTo>
                  <a:pt x="235" y="64"/>
                  <a:pt x="238" y="65"/>
                  <a:pt x="238" y="65"/>
                </a:cubicBezTo>
                <a:cubicBezTo>
                  <a:pt x="236" y="65"/>
                  <a:pt x="235" y="64"/>
                  <a:pt x="234" y="63"/>
                </a:cubicBezTo>
                <a:cubicBezTo>
                  <a:pt x="232" y="62"/>
                  <a:pt x="228" y="60"/>
                  <a:pt x="225" y="58"/>
                </a:cubicBezTo>
                <a:cubicBezTo>
                  <a:pt x="224" y="58"/>
                  <a:pt x="222" y="57"/>
                  <a:pt x="220" y="56"/>
                </a:cubicBezTo>
                <a:cubicBezTo>
                  <a:pt x="219" y="55"/>
                  <a:pt x="218" y="55"/>
                  <a:pt x="217" y="54"/>
                </a:cubicBezTo>
                <a:cubicBezTo>
                  <a:pt x="216" y="54"/>
                  <a:pt x="215" y="53"/>
                  <a:pt x="215" y="53"/>
                </a:cubicBezTo>
                <a:cubicBezTo>
                  <a:pt x="215" y="53"/>
                  <a:pt x="214" y="52"/>
                  <a:pt x="213" y="52"/>
                </a:cubicBezTo>
                <a:cubicBezTo>
                  <a:pt x="212" y="53"/>
                  <a:pt x="211" y="52"/>
                  <a:pt x="210" y="52"/>
                </a:cubicBezTo>
                <a:cubicBezTo>
                  <a:pt x="210" y="52"/>
                  <a:pt x="211" y="52"/>
                  <a:pt x="212" y="53"/>
                </a:cubicBezTo>
                <a:cubicBezTo>
                  <a:pt x="213" y="53"/>
                  <a:pt x="214" y="54"/>
                  <a:pt x="216" y="54"/>
                </a:cubicBezTo>
                <a:cubicBezTo>
                  <a:pt x="221" y="57"/>
                  <a:pt x="225" y="60"/>
                  <a:pt x="233" y="63"/>
                </a:cubicBezTo>
                <a:cubicBezTo>
                  <a:pt x="237" y="67"/>
                  <a:pt x="244" y="70"/>
                  <a:pt x="250" y="73"/>
                </a:cubicBezTo>
                <a:cubicBezTo>
                  <a:pt x="253" y="74"/>
                  <a:pt x="255" y="76"/>
                  <a:pt x="258" y="77"/>
                </a:cubicBezTo>
                <a:cubicBezTo>
                  <a:pt x="259" y="79"/>
                  <a:pt x="263" y="80"/>
                  <a:pt x="266" y="82"/>
                </a:cubicBezTo>
                <a:cubicBezTo>
                  <a:pt x="262" y="81"/>
                  <a:pt x="258" y="81"/>
                  <a:pt x="253" y="79"/>
                </a:cubicBezTo>
                <a:cubicBezTo>
                  <a:pt x="248" y="77"/>
                  <a:pt x="243" y="75"/>
                  <a:pt x="239" y="73"/>
                </a:cubicBezTo>
                <a:cubicBezTo>
                  <a:pt x="233" y="69"/>
                  <a:pt x="228" y="66"/>
                  <a:pt x="220" y="63"/>
                </a:cubicBezTo>
                <a:cubicBezTo>
                  <a:pt x="217" y="61"/>
                  <a:pt x="212" y="60"/>
                  <a:pt x="208" y="59"/>
                </a:cubicBezTo>
                <a:cubicBezTo>
                  <a:pt x="207" y="60"/>
                  <a:pt x="211" y="62"/>
                  <a:pt x="214" y="63"/>
                </a:cubicBezTo>
                <a:cubicBezTo>
                  <a:pt x="216" y="63"/>
                  <a:pt x="219" y="64"/>
                  <a:pt x="219" y="65"/>
                </a:cubicBezTo>
                <a:cubicBezTo>
                  <a:pt x="219" y="65"/>
                  <a:pt x="217" y="65"/>
                  <a:pt x="215" y="65"/>
                </a:cubicBezTo>
                <a:cubicBezTo>
                  <a:pt x="214" y="65"/>
                  <a:pt x="212" y="64"/>
                  <a:pt x="211" y="65"/>
                </a:cubicBezTo>
                <a:cubicBezTo>
                  <a:pt x="211" y="64"/>
                  <a:pt x="210" y="64"/>
                  <a:pt x="209" y="63"/>
                </a:cubicBezTo>
                <a:cubicBezTo>
                  <a:pt x="209" y="63"/>
                  <a:pt x="209" y="63"/>
                  <a:pt x="209" y="62"/>
                </a:cubicBezTo>
                <a:cubicBezTo>
                  <a:pt x="209" y="62"/>
                  <a:pt x="209" y="62"/>
                  <a:pt x="209" y="62"/>
                </a:cubicBezTo>
                <a:cubicBezTo>
                  <a:pt x="210" y="63"/>
                  <a:pt x="212" y="64"/>
                  <a:pt x="212" y="63"/>
                </a:cubicBezTo>
                <a:cubicBezTo>
                  <a:pt x="212" y="63"/>
                  <a:pt x="212" y="62"/>
                  <a:pt x="208" y="61"/>
                </a:cubicBezTo>
                <a:cubicBezTo>
                  <a:pt x="208" y="61"/>
                  <a:pt x="207" y="61"/>
                  <a:pt x="207" y="61"/>
                </a:cubicBezTo>
                <a:cubicBezTo>
                  <a:pt x="205" y="60"/>
                  <a:pt x="203" y="59"/>
                  <a:pt x="201" y="58"/>
                </a:cubicBezTo>
                <a:cubicBezTo>
                  <a:pt x="201" y="58"/>
                  <a:pt x="200" y="58"/>
                  <a:pt x="200" y="58"/>
                </a:cubicBezTo>
                <a:cubicBezTo>
                  <a:pt x="202" y="59"/>
                  <a:pt x="204" y="60"/>
                  <a:pt x="206" y="61"/>
                </a:cubicBezTo>
                <a:cubicBezTo>
                  <a:pt x="207" y="62"/>
                  <a:pt x="207" y="62"/>
                  <a:pt x="205" y="62"/>
                </a:cubicBezTo>
                <a:cubicBezTo>
                  <a:pt x="203" y="62"/>
                  <a:pt x="202" y="62"/>
                  <a:pt x="201" y="62"/>
                </a:cubicBezTo>
                <a:cubicBezTo>
                  <a:pt x="200" y="61"/>
                  <a:pt x="199" y="60"/>
                  <a:pt x="195" y="59"/>
                </a:cubicBezTo>
                <a:cubicBezTo>
                  <a:pt x="196" y="60"/>
                  <a:pt x="197" y="61"/>
                  <a:pt x="198" y="62"/>
                </a:cubicBezTo>
                <a:cubicBezTo>
                  <a:pt x="199" y="64"/>
                  <a:pt x="203" y="65"/>
                  <a:pt x="207" y="67"/>
                </a:cubicBezTo>
                <a:cubicBezTo>
                  <a:pt x="208" y="68"/>
                  <a:pt x="209" y="68"/>
                  <a:pt x="211" y="69"/>
                </a:cubicBezTo>
                <a:cubicBezTo>
                  <a:pt x="211" y="69"/>
                  <a:pt x="211" y="69"/>
                  <a:pt x="212" y="70"/>
                </a:cubicBezTo>
                <a:cubicBezTo>
                  <a:pt x="212" y="70"/>
                  <a:pt x="213" y="71"/>
                  <a:pt x="215" y="71"/>
                </a:cubicBezTo>
                <a:cubicBezTo>
                  <a:pt x="216" y="72"/>
                  <a:pt x="217" y="72"/>
                  <a:pt x="217" y="72"/>
                </a:cubicBezTo>
                <a:cubicBezTo>
                  <a:pt x="215" y="73"/>
                  <a:pt x="219" y="74"/>
                  <a:pt x="218" y="75"/>
                </a:cubicBezTo>
                <a:cubicBezTo>
                  <a:pt x="217" y="74"/>
                  <a:pt x="213" y="73"/>
                  <a:pt x="213" y="74"/>
                </a:cubicBezTo>
                <a:cubicBezTo>
                  <a:pt x="212" y="74"/>
                  <a:pt x="214" y="75"/>
                  <a:pt x="216" y="76"/>
                </a:cubicBezTo>
                <a:cubicBezTo>
                  <a:pt x="218" y="77"/>
                  <a:pt x="219" y="77"/>
                  <a:pt x="220" y="78"/>
                </a:cubicBezTo>
                <a:cubicBezTo>
                  <a:pt x="221" y="80"/>
                  <a:pt x="224" y="82"/>
                  <a:pt x="231" y="83"/>
                </a:cubicBezTo>
                <a:cubicBezTo>
                  <a:pt x="232" y="85"/>
                  <a:pt x="238" y="87"/>
                  <a:pt x="241" y="88"/>
                </a:cubicBezTo>
                <a:cubicBezTo>
                  <a:pt x="246" y="91"/>
                  <a:pt x="252" y="94"/>
                  <a:pt x="258" y="97"/>
                </a:cubicBezTo>
                <a:cubicBezTo>
                  <a:pt x="259" y="98"/>
                  <a:pt x="261" y="99"/>
                  <a:pt x="266" y="101"/>
                </a:cubicBezTo>
                <a:cubicBezTo>
                  <a:pt x="264" y="99"/>
                  <a:pt x="261" y="98"/>
                  <a:pt x="259" y="97"/>
                </a:cubicBezTo>
                <a:cubicBezTo>
                  <a:pt x="257" y="96"/>
                  <a:pt x="256" y="95"/>
                  <a:pt x="254" y="94"/>
                </a:cubicBezTo>
                <a:cubicBezTo>
                  <a:pt x="260" y="96"/>
                  <a:pt x="261" y="98"/>
                  <a:pt x="265" y="99"/>
                </a:cubicBezTo>
                <a:cubicBezTo>
                  <a:pt x="267" y="100"/>
                  <a:pt x="269" y="101"/>
                  <a:pt x="270" y="101"/>
                </a:cubicBezTo>
                <a:cubicBezTo>
                  <a:pt x="270" y="101"/>
                  <a:pt x="270" y="101"/>
                  <a:pt x="270" y="101"/>
                </a:cubicBezTo>
                <a:cubicBezTo>
                  <a:pt x="270" y="102"/>
                  <a:pt x="270" y="102"/>
                  <a:pt x="272" y="103"/>
                </a:cubicBezTo>
                <a:cubicBezTo>
                  <a:pt x="274" y="104"/>
                  <a:pt x="274" y="103"/>
                  <a:pt x="274" y="103"/>
                </a:cubicBezTo>
                <a:cubicBezTo>
                  <a:pt x="277" y="104"/>
                  <a:pt x="280" y="105"/>
                  <a:pt x="282" y="107"/>
                </a:cubicBezTo>
                <a:cubicBezTo>
                  <a:pt x="282" y="107"/>
                  <a:pt x="281" y="107"/>
                  <a:pt x="280" y="106"/>
                </a:cubicBezTo>
                <a:cubicBezTo>
                  <a:pt x="279" y="106"/>
                  <a:pt x="278" y="105"/>
                  <a:pt x="277" y="106"/>
                </a:cubicBezTo>
                <a:cubicBezTo>
                  <a:pt x="273" y="105"/>
                  <a:pt x="270" y="104"/>
                  <a:pt x="269" y="102"/>
                </a:cubicBezTo>
                <a:cubicBezTo>
                  <a:pt x="268" y="102"/>
                  <a:pt x="267" y="101"/>
                  <a:pt x="266" y="101"/>
                </a:cubicBezTo>
                <a:cubicBezTo>
                  <a:pt x="265" y="101"/>
                  <a:pt x="266" y="102"/>
                  <a:pt x="267" y="102"/>
                </a:cubicBezTo>
                <a:cubicBezTo>
                  <a:pt x="266" y="102"/>
                  <a:pt x="265" y="102"/>
                  <a:pt x="265" y="102"/>
                </a:cubicBezTo>
                <a:cubicBezTo>
                  <a:pt x="264" y="102"/>
                  <a:pt x="263" y="101"/>
                  <a:pt x="262" y="101"/>
                </a:cubicBezTo>
                <a:cubicBezTo>
                  <a:pt x="257" y="99"/>
                  <a:pt x="253" y="96"/>
                  <a:pt x="248" y="94"/>
                </a:cubicBezTo>
                <a:cubicBezTo>
                  <a:pt x="248" y="94"/>
                  <a:pt x="248" y="94"/>
                  <a:pt x="248" y="95"/>
                </a:cubicBezTo>
                <a:cubicBezTo>
                  <a:pt x="248" y="95"/>
                  <a:pt x="249" y="95"/>
                  <a:pt x="249" y="95"/>
                </a:cubicBezTo>
                <a:cubicBezTo>
                  <a:pt x="249" y="95"/>
                  <a:pt x="249" y="95"/>
                  <a:pt x="249" y="95"/>
                </a:cubicBezTo>
                <a:cubicBezTo>
                  <a:pt x="249" y="95"/>
                  <a:pt x="249" y="95"/>
                  <a:pt x="249" y="95"/>
                </a:cubicBezTo>
                <a:cubicBezTo>
                  <a:pt x="246" y="95"/>
                  <a:pt x="243" y="94"/>
                  <a:pt x="242" y="92"/>
                </a:cubicBezTo>
                <a:cubicBezTo>
                  <a:pt x="241" y="92"/>
                  <a:pt x="239" y="90"/>
                  <a:pt x="236" y="90"/>
                </a:cubicBezTo>
                <a:cubicBezTo>
                  <a:pt x="235" y="90"/>
                  <a:pt x="234" y="90"/>
                  <a:pt x="234" y="90"/>
                </a:cubicBezTo>
                <a:cubicBezTo>
                  <a:pt x="232" y="91"/>
                  <a:pt x="235" y="92"/>
                  <a:pt x="237" y="92"/>
                </a:cubicBezTo>
                <a:cubicBezTo>
                  <a:pt x="244" y="96"/>
                  <a:pt x="253" y="100"/>
                  <a:pt x="260" y="103"/>
                </a:cubicBezTo>
                <a:cubicBezTo>
                  <a:pt x="260" y="103"/>
                  <a:pt x="260" y="103"/>
                  <a:pt x="260" y="103"/>
                </a:cubicBezTo>
                <a:cubicBezTo>
                  <a:pt x="263" y="105"/>
                  <a:pt x="270" y="107"/>
                  <a:pt x="271" y="109"/>
                </a:cubicBezTo>
                <a:cubicBezTo>
                  <a:pt x="261" y="105"/>
                  <a:pt x="252" y="101"/>
                  <a:pt x="243" y="96"/>
                </a:cubicBezTo>
                <a:cubicBezTo>
                  <a:pt x="234" y="91"/>
                  <a:pt x="224" y="87"/>
                  <a:pt x="212" y="82"/>
                </a:cubicBezTo>
                <a:cubicBezTo>
                  <a:pt x="210" y="81"/>
                  <a:pt x="208" y="80"/>
                  <a:pt x="206" y="79"/>
                </a:cubicBezTo>
                <a:cubicBezTo>
                  <a:pt x="202" y="76"/>
                  <a:pt x="195" y="73"/>
                  <a:pt x="190" y="70"/>
                </a:cubicBezTo>
                <a:cubicBezTo>
                  <a:pt x="189" y="70"/>
                  <a:pt x="193" y="71"/>
                  <a:pt x="193" y="72"/>
                </a:cubicBezTo>
                <a:cubicBezTo>
                  <a:pt x="188" y="71"/>
                  <a:pt x="184" y="69"/>
                  <a:pt x="181" y="67"/>
                </a:cubicBezTo>
                <a:cubicBezTo>
                  <a:pt x="179" y="65"/>
                  <a:pt x="177" y="64"/>
                  <a:pt x="171" y="63"/>
                </a:cubicBezTo>
                <a:cubicBezTo>
                  <a:pt x="166" y="62"/>
                  <a:pt x="165" y="60"/>
                  <a:pt x="162" y="59"/>
                </a:cubicBezTo>
                <a:cubicBezTo>
                  <a:pt x="162" y="59"/>
                  <a:pt x="162" y="59"/>
                  <a:pt x="162" y="59"/>
                </a:cubicBezTo>
                <a:cubicBezTo>
                  <a:pt x="157" y="57"/>
                  <a:pt x="153" y="54"/>
                  <a:pt x="149" y="52"/>
                </a:cubicBezTo>
                <a:cubicBezTo>
                  <a:pt x="152" y="53"/>
                  <a:pt x="153" y="54"/>
                  <a:pt x="155" y="55"/>
                </a:cubicBezTo>
                <a:cubicBezTo>
                  <a:pt x="156" y="55"/>
                  <a:pt x="158" y="56"/>
                  <a:pt x="161" y="57"/>
                </a:cubicBezTo>
                <a:cubicBezTo>
                  <a:pt x="160" y="56"/>
                  <a:pt x="159" y="55"/>
                  <a:pt x="156" y="55"/>
                </a:cubicBezTo>
                <a:cubicBezTo>
                  <a:pt x="153" y="53"/>
                  <a:pt x="151" y="52"/>
                  <a:pt x="148" y="50"/>
                </a:cubicBezTo>
                <a:cubicBezTo>
                  <a:pt x="146" y="49"/>
                  <a:pt x="145" y="49"/>
                  <a:pt x="143" y="48"/>
                </a:cubicBezTo>
                <a:cubicBezTo>
                  <a:pt x="143" y="48"/>
                  <a:pt x="142" y="48"/>
                  <a:pt x="142" y="48"/>
                </a:cubicBezTo>
                <a:cubicBezTo>
                  <a:pt x="144" y="49"/>
                  <a:pt x="145" y="49"/>
                  <a:pt x="146" y="50"/>
                </a:cubicBezTo>
                <a:cubicBezTo>
                  <a:pt x="146" y="50"/>
                  <a:pt x="145" y="50"/>
                  <a:pt x="145" y="50"/>
                </a:cubicBezTo>
                <a:cubicBezTo>
                  <a:pt x="140" y="47"/>
                  <a:pt x="132" y="44"/>
                  <a:pt x="129" y="41"/>
                </a:cubicBezTo>
                <a:cubicBezTo>
                  <a:pt x="126" y="40"/>
                  <a:pt x="124" y="39"/>
                  <a:pt x="121" y="38"/>
                </a:cubicBezTo>
                <a:cubicBezTo>
                  <a:pt x="121" y="37"/>
                  <a:pt x="120" y="36"/>
                  <a:pt x="116" y="34"/>
                </a:cubicBezTo>
                <a:cubicBezTo>
                  <a:pt x="113" y="32"/>
                  <a:pt x="106" y="30"/>
                  <a:pt x="100" y="28"/>
                </a:cubicBezTo>
                <a:cubicBezTo>
                  <a:pt x="100" y="28"/>
                  <a:pt x="100" y="28"/>
                  <a:pt x="99" y="28"/>
                </a:cubicBezTo>
                <a:cubicBezTo>
                  <a:pt x="98" y="27"/>
                  <a:pt x="96" y="26"/>
                  <a:pt x="94" y="25"/>
                </a:cubicBezTo>
                <a:cubicBezTo>
                  <a:pt x="92" y="24"/>
                  <a:pt x="94" y="24"/>
                  <a:pt x="96" y="25"/>
                </a:cubicBezTo>
                <a:cubicBezTo>
                  <a:pt x="97" y="25"/>
                  <a:pt x="98" y="26"/>
                  <a:pt x="101" y="27"/>
                </a:cubicBezTo>
                <a:cubicBezTo>
                  <a:pt x="100" y="26"/>
                  <a:pt x="98" y="25"/>
                  <a:pt x="97" y="25"/>
                </a:cubicBezTo>
                <a:cubicBezTo>
                  <a:pt x="96" y="24"/>
                  <a:pt x="95" y="24"/>
                  <a:pt x="94" y="24"/>
                </a:cubicBezTo>
                <a:cubicBezTo>
                  <a:pt x="90" y="21"/>
                  <a:pt x="83" y="17"/>
                  <a:pt x="77" y="14"/>
                </a:cubicBezTo>
                <a:cubicBezTo>
                  <a:pt x="75" y="13"/>
                  <a:pt x="74" y="12"/>
                  <a:pt x="69" y="11"/>
                </a:cubicBezTo>
                <a:cubicBezTo>
                  <a:pt x="70" y="12"/>
                  <a:pt x="73" y="13"/>
                  <a:pt x="76" y="14"/>
                </a:cubicBezTo>
                <a:cubicBezTo>
                  <a:pt x="79" y="16"/>
                  <a:pt x="83" y="18"/>
                  <a:pt x="87" y="20"/>
                </a:cubicBezTo>
                <a:cubicBezTo>
                  <a:pt x="85" y="21"/>
                  <a:pt x="90" y="24"/>
                  <a:pt x="92" y="25"/>
                </a:cubicBezTo>
                <a:cubicBezTo>
                  <a:pt x="93" y="27"/>
                  <a:pt x="96" y="28"/>
                  <a:pt x="98" y="29"/>
                </a:cubicBezTo>
                <a:cubicBezTo>
                  <a:pt x="98" y="30"/>
                  <a:pt x="101" y="31"/>
                  <a:pt x="103" y="31"/>
                </a:cubicBezTo>
                <a:cubicBezTo>
                  <a:pt x="108" y="33"/>
                  <a:pt x="113" y="35"/>
                  <a:pt x="110" y="36"/>
                </a:cubicBezTo>
                <a:cubicBezTo>
                  <a:pt x="109" y="37"/>
                  <a:pt x="111" y="38"/>
                  <a:pt x="115" y="39"/>
                </a:cubicBezTo>
                <a:cubicBezTo>
                  <a:pt x="117" y="40"/>
                  <a:pt x="119" y="41"/>
                  <a:pt x="121" y="42"/>
                </a:cubicBezTo>
                <a:cubicBezTo>
                  <a:pt x="122" y="42"/>
                  <a:pt x="124" y="43"/>
                  <a:pt x="125" y="44"/>
                </a:cubicBezTo>
                <a:cubicBezTo>
                  <a:pt x="125" y="44"/>
                  <a:pt x="126" y="45"/>
                  <a:pt x="128" y="46"/>
                </a:cubicBezTo>
                <a:cubicBezTo>
                  <a:pt x="129" y="46"/>
                  <a:pt x="128" y="45"/>
                  <a:pt x="127" y="44"/>
                </a:cubicBezTo>
                <a:cubicBezTo>
                  <a:pt x="126" y="43"/>
                  <a:pt x="125" y="42"/>
                  <a:pt x="123" y="42"/>
                </a:cubicBezTo>
                <a:cubicBezTo>
                  <a:pt x="121" y="40"/>
                  <a:pt x="121" y="40"/>
                  <a:pt x="123" y="40"/>
                </a:cubicBezTo>
                <a:cubicBezTo>
                  <a:pt x="125" y="40"/>
                  <a:pt x="125" y="41"/>
                  <a:pt x="126" y="41"/>
                </a:cubicBezTo>
                <a:cubicBezTo>
                  <a:pt x="134" y="46"/>
                  <a:pt x="143" y="50"/>
                  <a:pt x="151" y="55"/>
                </a:cubicBezTo>
                <a:cubicBezTo>
                  <a:pt x="149" y="54"/>
                  <a:pt x="146" y="53"/>
                  <a:pt x="145" y="53"/>
                </a:cubicBezTo>
                <a:cubicBezTo>
                  <a:pt x="140" y="50"/>
                  <a:pt x="135" y="49"/>
                  <a:pt x="129" y="49"/>
                </a:cubicBezTo>
                <a:cubicBezTo>
                  <a:pt x="129" y="49"/>
                  <a:pt x="130" y="48"/>
                  <a:pt x="129" y="48"/>
                </a:cubicBezTo>
                <a:cubicBezTo>
                  <a:pt x="129" y="48"/>
                  <a:pt x="128" y="47"/>
                  <a:pt x="127" y="47"/>
                </a:cubicBezTo>
                <a:cubicBezTo>
                  <a:pt x="127" y="48"/>
                  <a:pt x="126" y="48"/>
                  <a:pt x="128" y="49"/>
                </a:cubicBezTo>
                <a:cubicBezTo>
                  <a:pt x="129" y="50"/>
                  <a:pt x="122" y="48"/>
                  <a:pt x="126" y="50"/>
                </a:cubicBezTo>
                <a:cubicBezTo>
                  <a:pt x="128" y="51"/>
                  <a:pt x="132" y="52"/>
                  <a:pt x="132" y="51"/>
                </a:cubicBezTo>
                <a:cubicBezTo>
                  <a:pt x="136" y="49"/>
                  <a:pt x="139" y="52"/>
                  <a:pt x="143" y="53"/>
                </a:cubicBezTo>
                <a:cubicBezTo>
                  <a:pt x="144" y="54"/>
                  <a:pt x="146" y="55"/>
                  <a:pt x="147" y="56"/>
                </a:cubicBezTo>
                <a:cubicBezTo>
                  <a:pt x="151" y="58"/>
                  <a:pt x="154" y="57"/>
                  <a:pt x="157" y="58"/>
                </a:cubicBezTo>
                <a:cubicBezTo>
                  <a:pt x="157" y="58"/>
                  <a:pt x="157" y="58"/>
                  <a:pt x="157" y="58"/>
                </a:cubicBezTo>
                <a:cubicBezTo>
                  <a:pt x="158" y="58"/>
                  <a:pt x="158" y="58"/>
                  <a:pt x="158" y="58"/>
                </a:cubicBezTo>
                <a:cubicBezTo>
                  <a:pt x="161" y="60"/>
                  <a:pt x="157" y="60"/>
                  <a:pt x="159" y="62"/>
                </a:cubicBezTo>
                <a:cubicBezTo>
                  <a:pt x="162" y="64"/>
                  <a:pt x="169" y="67"/>
                  <a:pt x="173" y="70"/>
                </a:cubicBezTo>
                <a:cubicBezTo>
                  <a:pt x="175" y="70"/>
                  <a:pt x="176" y="71"/>
                  <a:pt x="177" y="72"/>
                </a:cubicBezTo>
                <a:cubicBezTo>
                  <a:pt x="183" y="74"/>
                  <a:pt x="185" y="76"/>
                  <a:pt x="188" y="78"/>
                </a:cubicBezTo>
                <a:cubicBezTo>
                  <a:pt x="194" y="80"/>
                  <a:pt x="196" y="82"/>
                  <a:pt x="202" y="85"/>
                </a:cubicBezTo>
                <a:cubicBezTo>
                  <a:pt x="204" y="86"/>
                  <a:pt x="207" y="87"/>
                  <a:pt x="209" y="89"/>
                </a:cubicBezTo>
                <a:cubicBezTo>
                  <a:pt x="215" y="92"/>
                  <a:pt x="222" y="95"/>
                  <a:pt x="228" y="98"/>
                </a:cubicBezTo>
                <a:cubicBezTo>
                  <a:pt x="229" y="99"/>
                  <a:pt x="231" y="100"/>
                  <a:pt x="232" y="100"/>
                </a:cubicBezTo>
                <a:cubicBezTo>
                  <a:pt x="231" y="100"/>
                  <a:pt x="230" y="100"/>
                  <a:pt x="229" y="100"/>
                </a:cubicBezTo>
                <a:cubicBezTo>
                  <a:pt x="224" y="97"/>
                  <a:pt x="219" y="95"/>
                  <a:pt x="213" y="93"/>
                </a:cubicBezTo>
                <a:cubicBezTo>
                  <a:pt x="214" y="93"/>
                  <a:pt x="214" y="93"/>
                  <a:pt x="214" y="94"/>
                </a:cubicBezTo>
                <a:cubicBezTo>
                  <a:pt x="214" y="93"/>
                  <a:pt x="213" y="93"/>
                  <a:pt x="213" y="93"/>
                </a:cubicBezTo>
                <a:cubicBezTo>
                  <a:pt x="207" y="89"/>
                  <a:pt x="200" y="86"/>
                  <a:pt x="194" y="83"/>
                </a:cubicBezTo>
                <a:cubicBezTo>
                  <a:pt x="188" y="80"/>
                  <a:pt x="181" y="77"/>
                  <a:pt x="175" y="74"/>
                </a:cubicBezTo>
                <a:cubicBezTo>
                  <a:pt x="165" y="70"/>
                  <a:pt x="155" y="65"/>
                  <a:pt x="146" y="60"/>
                </a:cubicBezTo>
                <a:cubicBezTo>
                  <a:pt x="144" y="59"/>
                  <a:pt x="141" y="58"/>
                  <a:pt x="138" y="57"/>
                </a:cubicBezTo>
                <a:cubicBezTo>
                  <a:pt x="133" y="53"/>
                  <a:pt x="124" y="50"/>
                  <a:pt x="118" y="46"/>
                </a:cubicBezTo>
                <a:cubicBezTo>
                  <a:pt x="118" y="45"/>
                  <a:pt x="113" y="44"/>
                  <a:pt x="110" y="42"/>
                </a:cubicBezTo>
                <a:cubicBezTo>
                  <a:pt x="109" y="43"/>
                  <a:pt x="114" y="45"/>
                  <a:pt x="116" y="46"/>
                </a:cubicBezTo>
                <a:cubicBezTo>
                  <a:pt x="116" y="46"/>
                  <a:pt x="116" y="46"/>
                  <a:pt x="116" y="46"/>
                </a:cubicBezTo>
                <a:cubicBezTo>
                  <a:pt x="115" y="47"/>
                  <a:pt x="113" y="47"/>
                  <a:pt x="106" y="45"/>
                </a:cubicBezTo>
                <a:cubicBezTo>
                  <a:pt x="108" y="46"/>
                  <a:pt x="108" y="48"/>
                  <a:pt x="112" y="49"/>
                </a:cubicBezTo>
                <a:cubicBezTo>
                  <a:pt x="114" y="49"/>
                  <a:pt x="111" y="47"/>
                  <a:pt x="116" y="49"/>
                </a:cubicBezTo>
                <a:cubicBezTo>
                  <a:pt x="120" y="50"/>
                  <a:pt x="119" y="51"/>
                  <a:pt x="122" y="52"/>
                </a:cubicBezTo>
                <a:cubicBezTo>
                  <a:pt x="122" y="54"/>
                  <a:pt x="117" y="53"/>
                  <a:pt x="117" y="53"/>
                </a:cubicBezTo>
                <a:cubicBezTo>
                  <a:pt x="108" y="51"/>
                  <a:pt x="117" y="54"/>
                  <a:pt x="116" y="54"/>
                </a:cubicBezTo>
                <a:cubicBezTo>
                  <a:pt x="117" y="54"/>
                  <a:pt x="116" y="54"/>
                  <a:pt x="115" y="55"/>
                </a:cubicBezTo>
                <a:cubicBezTo>
                  <a:pt x="115" y="55"/>
                  <a:pt x="114" y="55"/>
                  <a:pt x="113" y="55"/>
                </a:cubicBezTo>
                <a:cubicBezTo>
                  <a:pt x="112" y="54"/>
                  <a:pt x="110" y="53"/>
                  <a:pt x="108" y="52"/>
                </a:cubicBezTo>
                <a:cubicBezTo>
                  <a:pt x="106" y="51"/>
                  <a:pt x="104" y="50"/>
                  <a:pt x="102" y="49"/>
                </a:cubicBezTo>
                <a:cubicBezTo>
                  <a:pt x="98" y="46"/>
                  <a:pt x="90" y="43"/>
                  <a:pt x="82" y="39"/>
                </a:cubicBezTo>
                <a:cubicBezTo>
                  <a:pt x="89" y="43"/>
                  <a:pt x="93" y="46"/>
                  <a:pt x="101" y="49"/>
                </a:cubicBezTo>
                <a:cubicBezTo>
                  <a:pt x="103" y="50"/>
                  <a:pt x="105" y="51"/>
                  <a:pt x="108" y="52"/>
                </a:cubicBezTo>
                <a:cubicBezTo>
                  <a:pt x="109" y="54"/>
                  <a:pt x="111" y="55"/>
                  <a:pt x="113" y="56"/>
                </a:cubicBezTo>
                <a:cubicBezTo>
                  <a:pt x="111" y="56"/>
                  <a:pt x="113" y="57"/>
                  <a:pt x="112" y="57"/>
                </a:cubicBezTo>
                <a:cubicBezTo>
                  <a:pt x="108" y="57"/>
                  <a:pt x="106" y="56"/>
                  <a:pt x="104" y="55"/>
                </a:cubicBezTo>
                <a:cubicBezTo>
                  <a:pt x="93" y="49"/>
                  <a:pt x="82" y="42"/>
                  <a:pt x="71" y="36"/>
                </a:cubicBezTo>
                <a:cubicBezTo>
                  <a:pt x="70" y="36"/>
                  <a:pt x="69" y="35"/>
                  <a:pt x="67" y="35"/>
                </a:cubicBezTo>
                <a:cubicBezTo>
                  <a:pt x="66" y="33"/>
                  <a:pt x="63" y="32"/>
                  <a:pt x="60" y="31"/>
                </a:cubicBezTo>
                <a:cubicBezTo>
                  <a:pt x="60" y="30"/>
                  <a:pt x="60" y="30"/>
                  <a:pt x="60" y="30"/>
                </a:cubicBezTo>
                <a:cubicBezTo>
                  <a:pt x="60" y="30"/>
                  <a:pt x="59" y="30"/>
                  <a:pt x="59" y="29"/>
                </a:cubicBezTo>
                <a:cubicBezTo>
                  <a:pt x="57" y="28"/>
                  <a:pt x="55" y="27"/>
                  <a:pt x="52" y="25"/>
                </a:cubicBezTo>
                <a:cubicBezTo>
                  <a:pt x="51" y="24"/>
                  <a:pt x="51" y="23"/>
                  <a:pt x="44" y="20"/>
                </a:cubicBezTo>
                <a:cubicBezTo>
                  <a:pt x="37" y="18"/>
                  <a:pt x="34" y="15"/>
                  <a:pt x="35" y="13"/>
                </a:cubicBezTo>
                <a:cubicBezTo>
                  <a:pt x="35" y="12"/>
                  <a:pt x="37" y="12"/>
                  <a:pt x="36" y="11"/>
                </a:cubicBezTo>
                <a:cubicBezTo>
                  <a:pt x="33" y="11"/>
                  <a:pt x="30" y="10"/>
                  <a:pt x="27" y="10"/>
                </a:cubicBezTo>
                <a:cubicBezTo>
                  <a:pt x="25" y="9"/>
                  <a:pt x="24" y="8"/>
                  <a:pt x="23" y="8"/>
                </a:cubicBezTo>
                <a:cubicBezTo>
                  <a:pt x="23" y="7"/>
                  <a:pt x="22" y="7"/>
                  <a:pt x="22" y="7"/>
                </a:cubicBezTo>
                <a:cubicBezTo>
                  <a:pt x="19" y="5"/>
                  <a:pt x="17" y="4"/>
                  <a:pt x="14" y="2"/>
                </a:cubicBezTo>
                <a:cubicBezTo>
                  <a:pt x="13" y="2"/>
                  <a:pt x="12" y="1"/>
                  <a:pt x="9" y="0"/>
                </a:cubicBezTo>
                <a:cubicBezTo>
                  <a:pt x="9" y="1"/>
                  <a:pt x="11" y="2"/>
                  <a:pt x="13" y="2"/>
                </a:cubicBezTo>
                <a:cubicBezTo>
                  <a:pt x="13" y="3"/>
                  <a:pt x="13" y="3"/>
                  <a:pt x="13" y="3"/>
                </a:cubicBezTo>
                <a:cubicBezTo>
                  <a:pt x="13" y="3"/>
                  <a:pt x="12" y="3"/>
                  <a:pt x="12" y="3"/>
                </a:cubicBezTo>
                <a:cubicBezTo>
                  <a:pt x="11" y="3"/>
                  <a:pt x="11" y="3"/>
                  <a:pt x="11" y="3"/>
                </a:cubicBezTo>
                <a:cubicBezTo>
                  <a:pt x="9" y="2"/>
                  <a:pt x="9" y="1"/>
                  <a:pt x="5" y="0"/>
                </a:cubicBezTo>
                <a:cubicBezTo>
                  <a:pt x="5" y="0"/>
                  <a:pt x="7" y="1"/>
                  <a:pt x="10" y="3"/>
                </a:cubicBezTo>
                <a:cubicBezTo>
                  <a:pt x="11" y="3"/>
                  <a:pt x="12" y="4"/>
                  <a:pt x="14" y="5"/>
                </a:cubicBezTo>
                <a:cubicBezTo>
                  <a:pt x="13" y="5"/>
                  <a:pt x="16" y="6"/>
                  <a:pt x="17" y="7"/>
                </a:cubicBezTo>
                <a:cubicBezTo>
                  <a:pt x="17" y="7"/>
                  <a:pt x="17" y="8"/>
                  <a:pt x="18" y="8"/>
                </a:cubicBezTo>
                <a:cubicBezTo>
                  <a:pt x="21" y="9"/>
                  <a:pt x="22" y="11"/>
                  <a:pt x="25" y="12"/>
                </a:cubicBezTo>
                <a:cubicBezTo>
                  <a:pt x="25" y="13"/>
                  <a:pt x="28" y="14"/>
                  <a:pt x="30" y="15"/>
                </a:cubicBezTo>
                <a:cubicBezTo>
                  <a:pt x="31" y="16"/>
                  <a:pt x="33" y="17"/>
                  <a:pt x="33" y="18"/>
                </a:cubicBezTo>
                <a:cubicBezTo>
                  <a:pt x="33" y="18"/>
                  <a:pt x="33" y="18"/>
                  <a:pt x="33" y="18"/>
                </a:cubicBezTo>
                <a:cubicBezTo>
                  <a:pt x="32" y="18"/>
                  <a:pt x="31" y="18"/>
                  <a:pt x="32" y="18"/>
                </a:cubicBezTo>
                <a:cubicBezTo>
                  <a:pt x="33" y="19"/>
                  <a:pt x="35" y="19"/>
                  <a:pt x="36" y="19"/>
                </a:cubicBezTo>
                <a:cubicBezTo>
                  <a:pt x="42" y="22"/>
                  <a:pt x="41" y="23"/>
                  <a:pt x="46" y="26"/>
                </a:cubicBezTo>
                <a:cubicBezTo>
                  <a:pt x="47" y="27"/>
                  <a:pt x="51" y="28"/>
                  <a:pt x="51" y="29"/>
                </a:cubicBezTo>
                <a:cubicBezTo>
                  <a:pt x="42" y="25"/>
                  <a:pt x="34" y="21"/>
                  <a:pt x="28" y="18"/>
                </a:cubicBezTo>
                <a:cubicBezTo>
                  <a:pt x="28" y="17"/>
                  <a:pt x="28" y="17"/>
                  <a:pt x="26" y="16"/>
                </a:cubicBezTo>
                <a:cubicBezTo>
                  <a:pt x="24" y="15"/>
                  <a:pt x="22" y="14"/>
                  <a:pt x="19" y="13"/>
                </a:cubicBezTo>
                <a:cubicBezTo>
                  <a:pt x="20" y="14"/>
                  <a:pt x="21" y="15"/>
                  <a:pt x="23" y="16"/>
                </a:cubicBezTo>
                <a:cubicBezTo>
                  <a:pt x="24" y="16"/>
                  <a:pt x="25" y="17"/>
                  <a:pt x="26" y="17"/>
                </a:cubicBezTo>
                <a:cubicBezTo>
                  <a:pt x="26" y="18"/>
                  <a:pt x="29" y="19"/>
                  <a:pt x="29" y="20"/>
                </a:cubicBezTo>
                <a:cubicBezTo>
                  <a:pt x="28" y="19"/>
                  <a:pt x="27" y="19"/>
                  <a:pt x="25" y="18"/>
                </a:cubicBezTo>
                <a:cubicBezTo>
                  <a:pt x="23" y="18"/>
                  <a:pt x="25" y="19"/>
                  <a:pt x="26" y="20"/>
                </a:cubicBezTo>
                <a:cubicBezTo>
                  <a:pt x="28" y="21"/>
                  <a:pt x="31" y="22"/>
                  <a:pt x="35" y="23"/>
                </a:cubicBezTo>
                <a:cubicBezTo>
                  <a:pt x="37" y="25"/>
                  <a:pt x="41" y="28"/>
                  <a:pt x="46" y="30"/>
                </a:cubicBezTo>
                <a:cubicBezTo>
                  <a:pt x="50" y="32"/>
                  <a:pt x="43" y="31"/>
                  <a:pt x="43" y="33"/>
                </a:cubicBezTo>
                <a:cubicBezTo>
                  <a:pt x="42" y="33"/>
                  <a:pt x="41" y="33"/>
                  <a:pt x="39" y="32"/>
                </a:cubicBezTo>
                <a:cubicBezTo>
                  <a:pt x="35" y="30"/>
                  <a:pt x="31" y="28"/>
                  <a:pt x="29" y="26"/>
                </a:cubicBezTo>
                <a:cubicBezTo>
                  <a:pt x="31" y="25"/>
                  <a:pt x="33" y="27"/>
                  <a:pt x="35" y="27"/>
                </a:cubicBezTo>
                <a:cubicBezTo>
                  <a:pt x="33" y="26"/>
                  <a:pt x="32" y="24"/>
                  <a:pt x="28" y="24"/>
                </a:cubicBezTo>
                <a:cubicBezTo>
                  <a:pt x="25" y="23"/>
                  <a:pt x="28" y="25"/>
                  <a:pt x="27" y="25"/>
                </a:cubicBezTo>
                <a:cubicBezTo>
                  <a:pt x="22" y="24"/>
                  <a:pt x="22" y="25"/>
                  <a:pt x="24" y="26"/>
                </a:cubicBezTo>
                <a:cubicBezTo>
                  <a:pt x="28" y="28"/>
                  <a:pt x="32" y="30"/>
                  <a:pt x="36" y="32"/>
                </a:cubicBezTo>
                <a:cubicBezTo>
                  <a:pt x="37" y="33"/>
                  <a:pt x="41" y="34"/>
                  <a:pt x="40" y="35"/>
                </a:cubicBezTo>
                <a:cubicBezTo>
                  <a:pt x="36" y="34"/>
                  <a:pt x="40" y="36"/>
                  <a:pt x="39" y="36"/>
                </a:cubicBezTo>
                <a:cubicBezTo>
                  <a:pt x="36" y="36"/>
                  <a:pt x="35" y="35"/>
                  <a:pt x="33" y="35"/>
                </a:cubicBezTo>
                <a:cubicBezTo>
                  <a:pt x="27" y="33"/>
                  <a:pt x="26" y="31"/>
                  <a:pt x="19" y="29"/>
                </a:cubicBezTo>
                <a:cubicBezTo>
                  <a:pt x="20" y="30"/>
                  <a:pt x="25" y="31"/>
                  <a:pt x="25" y="32"/>
                </a:cubicBezTo>
                <a:cubicBezTo>
                  <a:pt x="25" y="34"/>
                  <a:pt x="35" y="37"/>
                  <a:pt x="32" y="38"/>
                </a:cubicBezTo>
                <a:cubicBezTo>
                  <a:pt x="31" y="38"/>
                  <a:pt x="30" y="37"/>
                  <a:pt x="29" y="37"/>
                </a:cubicBezTo>
                <a:cubicBezTo>
                  <a:pt x="29" y="35"/>
                  <a:pt x="21" y="33"/>
                  <a:pt x="18" y="31"/>
                </a:cubicBezTo>
                <a:cubicBezTo>
                  <a:pt x="19" y="33"/>
                  <a:pt x="21" y="34"/>
                  <a:pt x="25" y="36"/>
                </a:cubicBezTo>
                <a:cubicBezTo>
                  <a:pt x="29" y="38"/>
                  <a:pt x="34" y="40"/>
                  <a:pt x="38" y="43"/>
                </a:cubicBezTo>
                <a:cubicBezTo>
                  <a:pt x="33" y="41"/>
                  <a:pt x="29" y="40"/>
                  <a:pt x="24" y="38"/>
                </a:cubicBezTo>
                <a:cubicBezTo>
                  <a:pt x="24" y="37"/>
                  <a:pt x="23" y="36"/>
                  <a:pt x="21" y="35"/>
                </a:cubicBezTo>
                <a:cubicBezTo>
                  <a:pt x="19" y="35"/>
                  <a:pt x="19" y="36"/>
                  <a:pt x="21" y="37"/>
                </a:cubicBezTo>
                <a:cubicBezTo>
                  <a:pt x="22" y="38"/>
                  <a:pt x="22" y="38"/>
                  <a:pt x="22" y="38"/>
                </a:cubicBezTo>
                <a:cubicBezTo>
                  <a:pt x="28" y="44"/>
                  <a:pt x="35" y="49"/>
                  <a:pt x="44" y="55"/>
                </a:cubicBezTo>
                <a:cubicBezTo>
                  <a:pt x="43" y="55"/>
                  <a:pt x="43" y="55"/>
                  <a:pt x="42" y="54"/>
                </a:cubicBezTo>
                <a:cubicBezTo>
                  <a:pt x="34" y="50"/>
                  <a:pt x="25" y="45"/>
                  <a:pt x="17" y="40"/>
                </a:cubicBezTo>
                <a:cubicBezTo>
                  <a:pt x="12" y="37"/>
                  <a:pt x="6" y="34"/>
                  <a:pt x="0" y="31"/>
                </a:cubicBezTo>
                <a:cubicBezTo>
                  <a:pt x="0" y="84"/>
                  <a:pt x="0" y="84"/>
                  <a:pt x="0" y="84"/>
                </a:cubicBezTo>
                <a:cubicBezTo>
                  <a:pt x="0" y="84"/>
                  <a:pt x="1" y="85"/>
                  <a:pt x="1" y="85"/>
                </a:cubicBezTo>
                <a:cubicBezTo>
                  <a:pt x="2" y="86"/>
                  <a:pt x="3" y="86"/>
                  <a:pt x="4" y="87"/>
                </a:cubicBezTo>
                <a:cubicBezTo>
                  <a:pt x="4" y="87"/>
                  <a:pt x="5" y="88"/>
                  <a:pt x="6" y="88"/>
                </a:cubicBezTo>
                <a:cubicBezTo>
                  <a:pt x="4" y="88"/>
                  <a:pt x="2" y="88"/>
                  <a:pt x="0" y="88"/>
                </a:cubicBezTo>
                <a:cubicBezTo>
                  <a:pt x="0" y="107"/>
                  <a:pt x="0" y="107"/>
                  <a:pt x="0" y="107"/>
                </a:cubicBezTo>
                <a:cubicBezTo>
                  <a:pt x="0" y="107"/>
                  <a:pt x="0" y="107"/>
                  <a:pt x="1" y="107"/>
                </a:cubicBezTo>
                <a:cubicBezTo>
                  <a:pt x="1" y="108"/>
                  <a:pt x="1" y="108"/>
                  <a:pt x="2" y="109"/>
                </a:cubicBezTo>
                <a:cubicBezTo>
                  <a:pt x="1" y="109"/>
                  <a:pt x="1" y="109"/>
                  <a:pt x="0" y="109"/>
                </a:cubicBezTo>
                <a:cubicBezTo>
                  <a:pt x="0" y="109"/>
                  <a:pt x="0" y="109"/>
                  <a:pt x="0" y="108"/>
                </a:cubicBezTo>
                <a:cubicBezTo>
                  <a:pt x="0" y="126"/>
                  <a:pt x="0" y="126"/>
                  <a:pt x="0" y="126"/>
                </a:cubicBezTo>
                <a:cubicBezTo>
                  <a:pt x="0" y="127"/>
                  <a:pt x="0" y="127"/>
                  <a:pt x="0" y="127"/>
                </a:cubicBezTo>
                <a:cubicBezTo>
                  <a:pt x="0" y="127"/>
                  <a:pt x="0" y="127"/>
                  <a:pt x="0" y="127"/>
                </a:cubicBezTo>
                <a:cubicBezTo>
                  <a:pt x="0" y="158"/>
                  <a:pt x="0" y="158"/>
                  <a:pt x="0" y="158"/>
                </a:cubicBezTo>
                <a:cubicBezTo>
                  <a:pt x="0" y="158"/>
                  <a:pt x="0" y="158"/>
                  <a:pt x="0" y="158"/>
                </a:cubicBezTo>
                <a:cubicBezTo>
                  <a:pt x="0" y="159"/>
                  <a:pt x="0" y="159"/>
                  <a:pt x="0" y="159"/>
                </a:cubicBezTo>
                <a:cubicBezTo>
                  <a:pt x="0" y="159"/>
                  <a:pt x="0" y="159"/>
                  <a:pt x="0" y="159"/>
                </a:cubicBezTo>
                <a:cubicBezTo>
                  <a:pt x="0" y="173"/>
                  <a:pt x="0" y="173"/>
                  <a:pt x="0" y="173"/>
                </a:cubicBezTo>
                <a:cubicBezTo>
                  <a:pt x="0" y="173"/>
                  <a:pt x="0" y="173"/>
                  <a:pt x="0" y="173"/>
                </a:cubicBezTo>
                <a:cubicBezTo>
                  <a:pt x="0" y="173"/>
                  <a:pt x="0" y="173"/>
                  <a:pt x="0" y="173"/>
                </a:cubicBezTo>
                <a:cubicBezTo>
                  <a:pt x="0" y="173"/>
                  <a:pt x="0" y="173"/>
                  <a:pt x="0" y="173"/>
                </a:cubicBezTo>
                <a:cubicBezTo>
                  <a:pt x="0" y="220"/>
                  <a:pt x="0" y="220"/>
                  <a:pt x="0" y="220"/>
                </a:cubicBezTo>
                <a:cubicBezTo>
                  <a:pt x="1" y="220"/>
                  <a:pt x="2" y="220"/>
                  <a:pt x="3" y="221"/>
                </a:cubicBezTo>
                <a:cubicBezTo>
                  <a:pt x="3" y="221"/>
                  <a:pt x="3" y="221"/>
                  <a:pt x="3" y="221"/>
                </a:cubicBezTo>
                <a:cubicBezTo>
                  <a:pt x="3" y="221"/>
                  <a:pt x="3" y="221"/>
                  <a:pt x="3" y="221"/>
                </a:cubicBezTo>
                <a:cubicBezTo>
                  <a:pt x="3" y="221"/>
                  <a:pt x="3" y="221"/>
                  <a:pt x="3" y="221"/>
                </a:cubicBezTo>
                <a:cubicBezTo>
                  <a:pt x="2" y="221"/>
                  <a:pt x="1" y="220"/>
                  <a:pt x="0" y="220"/>
                </a:cubicBezTo>
                <a:cubicBezTo>
                  <a:pt x="0" y="220"/>
                  <a:pt x="0" y="220"/>
                  <a:pt x="0" y="220"/>
                </a:cubicBezTo>
                <a:cubicBezTo>
                  <a:pt x="0" y="220"/>
                  <a:pt x="0" y="220"/>
                  <a:pt x="0" y="220"/>
                </a:cubicBezTo>
                <a:cubicBezTo>
                  <a:pt x="0" y="223"/>
                  <a:pt x="0" y="223"/>
                  <a:pt x="0" y="223"/>
                </a:cubicBezTo>
                <a:cubicBezTo>
                  <a:pt x="0" y="223"/>
                  <a:pt x="0" y="223"/>
                  <a:pt x="0" y="223"/>
                </a:cubicBezTo>
                <a:cubicBezTo>
                  <a:pt x="0" y="223"/>
                  <a:pt x="0" y="223"/>
                  <a:pt x="0" y="223"/>
                </a:cubicBezTo>
                <a:cubicBezTo>
                  <a:pt x="0" y="223"/>
                  <a:pt x="0" y="223"/>
                  <a:pt x="0" y="223"/>
                </a:cubicBezTo>
                <a:cubicBezTo>
                  <a:pt x="0" y="229"/>
                  <a:pt x="0" y="229"/>
                  <a:pt x="0" y="229"/>
                </a:cubicBezTo>
                <a:cubicBezTo>
                  <a:pt x="13" y="229"/>
                  <a:pt x="13" y="229"/>
                  <a:pt x="13" y="229"/>
                </a:cubicBezTo>
                <a:cubicBezTo>
                  <a:pt x="18" y="231"/>
                  <a:pt x="23" y="234"/>
                  <a:pt x="28" y="236"/>
                </a:cubicBezTo>
                <a:cubicBezTo>
                  <a:pt x="42" y="243"/>
                  <a:pt x="57" y="249"/>
                  <a:pt x="70" y="256"/>
                </a:cubicBezTo>
                <a:cubicBezTo>
                  <a:pt x="70" y="256"/>
                  <a:pt x="70" y="256"/>
                  <a:pt x="70" y="256"/>
                </a:cubicBezTo>
                <a:cubicBezTo>
                  <a:pt x="72" y="257"/>
                  <a:pt x="73" y="258"/>
                  <a:pt x="76" y="258"/>
                </a:cubicBezTo>
                <a:cubicBezTo>
                  <a:pt x="78" y="259"/>
                  <a:pt x="79" y="260"/>
                  <a:pt x="81" y="261"/>
                </a:cubicBezTo>
                <a:cubicBezTo>
                  <a:pt x="80" y="260"/>
                  <a:pt x="77" y="259"/>
                  <a:pt x="77" y="258"/>
                </a:cubicBezTo>
                <a:cubicBezTo>
                  <a:pt x="76" y="258"/>
                  <a:pt x="75" y="257"/>
                  <a:pt x="75" y="257"/>
                </a:cubicBezTo>
                <a:cubicBezTo>
                  <a:pt x="74" y="256"/>
                  <a:pt x="72" y="256"/>
                  <a:pt x="72" y="255"/>
                </a:cubicBezTo>
                <a:cubicBezTo>
                  <a:pt x="74" y="255"/>
                  <a:pt x="70" y="254"/>
                  <a:pt x="71" y="254"/>
                </a:cubicBezTo>
                <a:cubicBezTo>
                  <a:pt x="72" y="254"/>
                  <a:pt x="73" y="254"/>
                  <a:pt x="73" y="254"/>
                </a:cubicBezTo>
                <a:cubicBezTo>
                  <a:pt x="73" y="254"/>
                  <a:pt x="71" y="253"/>
                  <a:pt x="70" y="253"/>
                </a:cubicBezTo>
                <a:cubicBezTo>
                  <a:pt x="69" y="252"/>
                  <a:pt x="67" y="252"/>
                  <a:pt x="67" y="251"/>
                </a:cubicBezTo>
                <a:cubicBezTo>
                  <a:pt x="68" y="252"/>
                  <a:pt x="70" y="252"/>
                  <a:pt x="71" y="253"/>
                </a:cubicBezTo>
                <a:cubicBezTo>
                  <a:pt x="72" y="253"/>
                  <a:pt x="72" y="253"/>
                  <a:pt x="72" y="253"/>
                </a:cubicBezTo>
                <a:cubicBezTo>
                  <a:pt x="70" y="252"/>
                  <a:pt x="69" y="251"/>
                  <a:pt x="67" y="251"/>
                </a:cubicBezTo>
                <a:cubicBezTo>
                  <a:pt x="66" y="250"/>
                  <a:pt x="65" y="249"/>
                  <a:pt x="63" y="249"/>
                </a:cubicBezTo>
                <a:cubicBezTo>
                  <a:pt x="63" y="248"/>
                  <a:pt x="64" y="248"/>
                  <a:pt x="64" y="248"/>
                </a:cubicBezTo>
                <a:cubicBezTo>
                  <a:pt x="66" y="249"/>
                  <a:pt x="68" y="250"/>
                  <a:pt x="70" y="251"/>
                </a:cubicBezTo>
                <a:cubicBezTo>
                  <a:pt x="74" y="253"/>
                  <a:pt x="79" y="255"/>
                  <a:pt x="84" y="258"/>
                </a:cubicBezTo>
                <a:cubicBezTo>
                  <a:pt x="84" y="258"/>
                  <a:pt x="85" y="258"/>
                  <a:pt x="85" y="258"/>
                </a:cubicBezTo>
                <a:cubicBezTo>
                  <a:pt x="86" y="259"/>
                  <a:pt x="88" y="259"/>
                  <a:pt x="89" y="260"/>
                </a:cubicBezTo>
                <a:cubicBezTo>
                  <a:pt x="90" y="260"/>
                  <a:pt x="91" y="261"/>
                  <a:pt x="93" y="261"/>
                </a:cubicBezTo>
                <a:cubicBezTo>
                  <a:pt x="95" y="262"/>
                  <a:pt x="96" y="263"/>
                  <a:pt x="99" y="264"/>
                </a:cubicBezTo>
                <a:cubicBezTo>
                  <a:pt x="99" y="263"/>
                  <a:pt x="97" y="262"/>
                  <a:pt x="94" y="261"/>
                </a:cubicBezTo>
                <a:cubicBezTo>
                  <a:pt x="90" y="258"/>
                  <a:pt x="86" y="257"/>
                  <a:pt x="82" y="256"/>
                </a:cubicBezTo>
                <a:cubicBezTo>
                  <a:pt x="77" y="254"/>
                  <a:pt x="73" y="252"/>
                  <a:pt x="68" y="250"/>
                </a:cubicBezTo>
                <a:cubicBezTo>
                  <a:pt x="65" y="248"/>
                  <a:pt x="61" y="247"/>
                  <a:pt x="58" y="245"/>
                </a:cubicBezTo>
                <a:cubicBezTo>
                  <a:pt x="56" y="244"/>
                  <a:pt x="54" y="243"/>
                  <a:pt x="52" y="242"/>
                </a:cubicBezTo>
                <a:cubicBezTo>
                  <a:pt x="51" y="241"/>
                  <a:pt x="49" y="240"/>
                  <a:pt x="48" y="240"/>
                </a:cubicBezTo>
                <a:cubicBezTo>
                  <a:pt x="50" y="240"/>
                  <a:pt x="51" y="241"/>
                  <a:pt x="53" y="242"/>
                </a:cubicBezTo>
                <a:cubicBezTo>
                  <a:pt x="53" y="242"/>
                  <a:pt x="54" y="242"/>
                  <a:pt x="55" y="242"/>
                </a:cubicBezTo>
                <a:cubicBezTo>
                  <a:pt x="55" y="242"/>
                  <a:pt x="55" y="242"/>
                  <a:pt x="55" y="242"/>
                </a:cubicBezTo>
                <a:cubicBezTo>
                  <a:pt x="55" y="242"/>
                  <a:pt x="53" y="241"/>
                  <a:pt x="51" y="240"/>
                </a:cubicBezTo>
                <a:cubicBezTo>
                  <a:pt x="51" y="240"/>
                  <a:pt x="50" y="240"/>
                  <a:pt x="50" y="239"/>
                </a:cubicBezTo>
                <a:cubicBezTo>
                  <a:pt x="48" y="239"/>
                  <a:pt x="47" y="238"/>
                  <a:pt x="46" y="237"/>
                </a:cubicBezTo>
                <a:cubicBezTo>
                  <a:pt x="44" y="237"/>
                  <a:pt x="43" y="237"/>
                  <a:pt x="41" y="236"/>
                </a:cubicBezTo>
                <a:cubicBezTo>
                  <a:pt x="41" y="236"/>
                  <a:pt x="41" y="235"/>
                  <a:pt x="41" y="235"/>
                </a:cubicBezTo>
                <a:cubicBezTo>
                  <a:pt x="39" y="234"/>
                  <a:pt x="38" y="233"/>
                  <a:pt x="35" y="233"/>
                </a:cubicBezTo>
                <a:cubicBezTo>
                  <a:pt x="33" y="232"/>
                  <a:pt x="31" y="230"/>
                  <a:pt x="28" y="229"/>
                </a:cubicBezTo>
                <a:cubicBezTo>
                  <a:pt x="28" y="229"/>
                  <a:pt x="28" y="229"/>
                  <a:pt x="28" y="229"/>
                </a:cubicBezTo>
                <a:cubicBezTo>
                  <a:pt x="33" y="229"/>
                  <a:pt x="33" y="229"/>
                  <a:pt x="33" y="229"/>
                </a:cubicBezTo>
                <a:cubicBezTo>
                  <a:pt x="41" y="233"/>
                  <a:pt x="49" y="236"/>
                  <a:pt x="57" y="240"/>
                </a:cubicBezTo>
                <a:cubicBezTo>
                  <a:pt x="58" y="240"/>
                  <a:pt x="59" y="240"/>
                  <a:pt x="60" y="241"/>
                </a:cubicBezTo>
                <a:cubicBezTo>
                  <a:pt x="63" y="242"/>
                  <a:pt x="66" y="244"/>
                  <a:pt x="69" y="245"/>
                </a:cubicBezTo>
                <a:cubicBezTo>
                  <a:pt x="70" y="246"/>
                  <a:pt x="71" y="246"/>
                  <a:pt x="71" y="246"/>
                </a:cubicBezTo>
                <a:cubicBezTo>
                  <a:pt x="72" y="246"/>
                  <a:pt x="73" y="246"/>
                  <a:pt x="74" y="246"/>
                </a:cubicBezTo>
                <a:cubicBezTo>
                  <a:pt x="87" y="252"/>
                  <a:pt x="98" y="259"/>
                  <a:pt x="112" y="265"/>
                </a:cubicBezTo>
                <a:cubicBezTo>
                  <a:pt x="112" y="266"/>
                  <a:pt x="114" y="267"/>
                  <a:pt x="116" y="268"/>
                </a:cubicBezTo>
                <a:cubicBezTo>
                  <a:pt x="117" y="268"/>
                  <a:pt x="117" y="269"/>
                  <a:pt x="121" y="269"/>
                </a:cubicBezTo>
                <a:cubicBezTo>
                  <a:pt x="122" y="269"/>
                  <a:pt x="124" y="270"/>
                  <a:pt x="125" y="271"/>
                </a:cubicBezTo>
                <a:cubicBezTo>
                  <a:pt x="130" y="273"/>
                  <a:pt x="133" y="275"/>
                  <a:pt x="139" y="277"/>
                </a:cubicBezTo>
                <a:cubicBezTo>
                  <a:pt x="137" y="276"/>
                  <a:pt x="133" y="274"/>
                  <a:pt x="133" y="273"/>
                </a:cubicBezTo>
                <a:cubicBezTo>
                  <a:pt x="143" y="277"/>
                  <a:pt x="152" y="281"/>
                  <a:pt x="160" y="286"/>
                </a:cubicBezTo>
                <a:cubicBezTo>
                  <a:pt x="162" y="287"/>
                  <a:pt x="164" y="288"/>
                  <a:pt x="168" y="289"/>
                </a:cubicBezTo>
                <a:cubicBezTo>
                  <a:pt x="168" y="289"/>
                  <a:pt x="169" y="290"/>
                  <a:pt x="169" y="290"/>
                </a:cubicBezTo>
                <a:cubicBezTo>
                  <a:pt x="171" y="291"/>
                  <a:pt x="176" y="293"/>
                  <a:pt x="178" y="295"/>
                </a:cubicBezTo>
                <a:cubicBezTo>
                  <a:pt x="179" y="295"/>
                  <a:pt x="179" y="295"/>
                  <a:pt x="179" y="295"/>
                </a:cubicBezTo>
                <a:cubicBezTo>
                  <a:pt x="179" y="295"/>
                  <a:pt x="179" y="295"/>
                  <a:pt x="179" y="295"/>
                </a:cubicBezTo>
                <a:cubicBezTo>
                  <a:pt x="179" y="295"/>
                  <a:pt x="179" y="295"/>
                  <a:pt x="178" y="295"/>
                </a:cubicBezTo>
                <a:cubicBezTo>
                  <a:pt x="181" y="297"/>
                  <a:pt x="186" y="299"/>
                  <a:pt x="190" y="301"/>
                </a:cubicBezTo>
                <a:cubicBezTo>
                  <a:pt x="195" y="303"/>
                  <a:pt x="200" y="306"/>
                  <a:pt x="202" y="308"/>
                </a:cubicBezTo>
                <a:cubicBezTo>
                  <a:pt x="203" y="309"/>
                  <a:pt x="204" y="309"/>
                  <a:pt x="204" y="309"/>
                </a:cubicBezTo>
                <a:cubicBezTo>
                  <a:pt x="208" y="311"/>
                  <a:pt x="214" y="314"/>
                  <a:pt x="218" y="316"/>
                </a:cubicBezTo>
                <a:cubicBezTo>
                  <a:pt x="219" y="317"/>
                  <a:pt x="221" y="318"/>
                  <a:pt x="224" y="318"/>
                </a:cubicBezTo>
                <a:cubicBezTo>
                  <a:pt x="225" y="318"/>
                  <a:pt x="226" y="319"/>
                  <a:pt x="228" y="320"/>
                </a:cubicBezTo>
                <a:cubicBezTo>
                  <a:pt x="228" y="320"/>
                  <a:pt x="229" y="320"/>
                  <a:pt x="229" y="320"/>
                </a:cubicBezTo>
                <a:cubicBezTo>
                  <a:pt x="229" y="320"/>
                  <a:pt x="229" y="320"/>
                  <a:pt x="229" y="320"/>
                </a:cubicBezTo>
                <a:cubicBezTo>
                  <a:pt x="226" y="317"/>
                  <a:pt x="221" y="315"/>
                  <a:pt x="216" y="313"/>
                </a:cubicBezTo>
                <a:cubicBezTo>
                  <a:pt x="214" y="312"/>
                  <a:pt x="211" y="311"/>
                  <a:pt x="211" y="310"/>
                </a:cubicBezTo>
                <a:cubicBezTo>
                  <a:pt x="204" y="309"/>
                  <a:pt x="209" y="308"/>
                  <a:pt x="204" y="306"/>
                </a:cubicBezTo>
                <a:cubicBezTo>
                  <a:pt x="204" y="306"/>
                  <a:pt x="204" y="306"/>
                  <a:pt x="204" y="306"/>
                </a:cubicBezTo>
                <a:cubicBezTo>
                  <a:pt x="203" y="305"/>
                  <a:pt x="203" y="304"/>
                  <a:pt x="200" y="303"/>
                </a:cubicBezTo>
                <a:cubicBezTo>
                  <a:pt x="197" y="302"/>
                  <a:pt x="193" y="300"/>
                  <a:pt x="191" y="299"/>
                </a:cubicBezTo>
                <a:cubicBezTo>
                  <a:pt x="189" y="297"/>
                  <a:pt x="188" y="298"/>
                  <a:pt x="186" y="298"/>
                </a:cubicBezTo>
                <a:cubicBezTo>
                  <a:pt x="186" y="297"/>
                  <a:pt x="188" y="297"/>
                  <a:pt x="185" y="296"/>
                </a:cubicBezTo>
                <a:cubicBezTo>
                  <a:pt x="185" y="295"/>
                  <a:pt x="181" y="294"/>
                  <a:pt x="181" y="293"/>
                </a:cubicBezTo>
                <a:cubicBezTo>
                  <a:pt x="181" y="293"/>
                  <a:pt x="182" y="293"/>
                  <a:pt x="182" y="293"/>
                </a:cubicBezTo>
                <a:cubicBezTo>
                  <a:pt x="184" y="293"/>
                  <a:pt x="183" y="293"/>
                  <a:pt x="183" y="292"/>
                </a:cubicBezTo>
                <a:cubicBezTo>
                  <a:pt x="187" y="293"/>
                  <a:pt x="190" y="295"/>
                  <a:pt x="190" y="295"/>
                </a:cubicBezTo>
                <a:cubicBezTo>
                  <a:pt x="190" y="297"/>
                  <a:pt x="192" y="297"/>
                  <a:pt x="196" y="298"/>
                </a:cubicBezTo>
                <a:cubicBezTo>
                  <a:pt x="198" y="299"/>
                  <a:pt x="200" y="300"/>
                  <a:pt x="201" y="301"/>
                </a:cubicBezTo>
                <a:cubicBezTo>
                  <a:pt x="202" y="301"/>
                  <a:pt x="204" y="302"/>
                  <a:pt x="206" y="302"/>
                </a:cubicBezTo>
                <a:cubicBezTo>
                  <a:pt x="206" y="303"/>
                  <a:pt x="206" y="303"/>
                  <a:pt x="207" y="303"/>
                </a:cubicBezTo>
                <a:cubicBezTo>
                  <a:pt x="210" y="304"/>
                  <a:pt x="214" y="306"/>
                  <a:pt x="218" y="308"/>
                </a:cubicBezTo>
                <a:cubicBezTo>
                  <a:pt x="218" y="308"/>
                  <a:pt x="218" y="308"/>
                  <a:pt x="218" y="308"/>
                </a:cubicBezTo>
                <a:cubicBezTo>
                  <a:pt x="218" y="308"/>
                  <a:pt x="218" y="308"/>
                  <a:pt x="218" y="308"/>
                </a:cubicBezTo>
                <a:cubicBezTo>
                  <a:pt x="218" y="308"/>
                  <a:pt x="218" y="308"/>
                  <a:pt x="218" y="308"/>
                </a:cubicBezTo>
                <a:cubicBezTo>
                  <a:pt x="220" y="309"/>
                  <a:pt x="223" y="310"/>
                  <a:pt x="225" y="311"/>
                </a:cubicBezTo>
                <a:cubicBezTo>
                  <a:pt x="229" y="312"/>
                  <a:pt x="232" y="314"/>
                  <a:pt x="236" y="316"/>
                </a:cubicBezTo>
                <a:cubicBezTo>
                  <a:pt x="235" y="314"/>
                  <a:pt x="225" y="311"/>
                  <a:pt x="227" y="310"/>
                </a:cubicBezTo>
                <a:cubicBezTo>
                  <a:pt x="228" y="310"/>
                  <a:pt x="228" y="309"/>
                  <a:pt x="228" y="309"/>
                </a:cubicBezTo>
                <a:cubicBezTo>
                  <a:pt x="228" y="309"/>
                  <a:pt x="228" y="308"/>
                  <a:pt x="227" y="308"/>
                </a:cubicBezTo>
                <a:cubicBezTo>
                  <a:pt x="225" y="308"/>
                  <a:pt x="223" y="307"/>
                  <a:pt x="220" y="306"/>
                </a:cubicBezTo>
                <a:cubicBezTo>
                  <a:pt x="220" y="306"/>
                  <a:pt x="219" y="305"/>
                  <a:pt x="218" y="305"/>
                </a:cubicBezTo>
                <a:cubicBezTo>
                  <a:pt x="217" y="305"/>
                  <a:pt x="216" y="304"/>
                  <a:pt x="216" y="304"/>
                </a:cubicBezTo>
                <a:cubicBezTo>
                  <a:pt x="210" y="301"/>
                  <a:pt x="206" y="298"/>
                  <a:pt x="202" y="296"/>
                </a:cubicBezTo>
                <a:cubicBezTo>
                  <a:pt x="204" y="296"/>
                  <a:pt x="206" y="297"/>
                  <a:pt x="208" y="298"/>
                </a:cubicBezTo>
                <a:cubicBezTo>
                  <a:pt x="208" y="297"/>
                  <a:pt x="204" y="296"/>
                  <a:pt x="203" y="295"/>
                </a:cubicBezTo>
                <a:cubicBezTo>
                  <a:pt x="203" y="295"/>
                  <a:pt x="203" y="295"/>
                  <a:pt x="204" y="295"/>
                </a:cubicBezTo>
                <a:cubicBezTo>
                  <a:pt x="204" y="295"/>
                  <a:pt x="204" y="295"/>
                  <a:pt x="204" y="295"/>
                </a:cubicBezTo>
                <a:cubicBezTo>
                  <a:pt x="204" y="295"/>
                  <a:pt x="204" y="294"/>
                  <a:pt x="205" y="295"/>
                </a:cubicBezTo>
                <a:cubicBezTo>
                  <a:pt x="208" y="296"/>
                  <a:pt x="209" y="296"/>
                  <a:pt x="210" y="296"/>
                </a:cubicBezTo>
                <a:cubicBezTo>
                  <a:pt x="211" y="295"/>
                  <a:pt x="209" y="295"/>
                  <a:pt x="208" y="294"/>
                </a:cubicBezTo>
                <a:cubicBezTo>
                  <a:pt x="205" y="293"/>
                  <a:pt x="202" y="292"/>
                  <a:pt x="201" y="291"/>
                </a:cubicBezTo>
                <a:cubicBezTo>
                  <a:pt x="199" y="289"/>
                  <a:pt x="197" y="289"/>
                  <a:pt x="195" y="289"/>
                </a:cubicBezTo>
                <a:cubicBezTo>
                  <a:pt x="193" y="288"/>
                  <a:pt x="191" y="287"/>
                  <a:pt x="187" y="285"/>
                </a:cubicBezTo>
                <a:cubicBezTo>
                  <a:pt x="189" y="287"/>
                  <a:pt x="191" y="288"/>
                  <a:pt x="195" y="289"/>
                </a:cubicBezTo>
                <a:cubicBezTo>
                  <a:pt x="197" y="290"/>
                  <a:pt x="199" y="291"/>
                  <a:pt x="201" y="292"/>
                </a:cubicBezTo>
                <a:cubicBezTo>
                  <a:pt x="203" y="293"/>
                  <a:pt x="203" y="294"/>
                  <a:pt x="201" y="294"/>
                </a:cubicBezTo>
                <a:cubicBezTo>
                  <a:pt x="199" y="293"/>
                  <a:pt x="196" y="291"/>
                  <a:pt x="195" y="293"/>
                </a:cubicBezTo>
                <a:cubicBezTo>
                  <a:pt x="195" y="292"/>
                  <a:pt x="194" y="292"/>
                  <a:pt x="193" y="292"/>
                </a:cubicBezTo>
                <a:cubicBezTo>
                  <a:pt x="193" y="291"/>
                  <a:pt x="191" y="290"/>
                  <a:pt x="189" y="290"/>
                </a:cubicBezTo>
                <a:cubicBezTo>
                  <a:pt x="184" y="287"/>
                  <a:pt x="178" y="284"/>
                  <a:pt x="172" y="281"/>
                </a:cubicBezTo>
                <a:cubicBezTo>
                  <a:pt x="169" y="279"/>
                  <a:pt x="167" y="277"/>
                  <a:pt x="162" y="275"/>
                </a:cubicBezTo>
                <a:cubicBezTo>
                  <a:pt x="160" y="273"/>
                  <a:pt x="154" y="271"/>
                  <a:pt x="152" y="269"/>
                </a:cubicBezTo>
                <a:cubicBezTo>
                  <a:pt x="151" y="269"/>
                  <a:pt x="149" y="268"/>
                  <a:pt x="148" y="267"/>
                </a:cubicBezTo>
                <a:cubicBezTo>
                  <a:pt x="147" y="266"/>
                  <a:pt x="146" y="266"/>
                  <a:pt x="146" y="265"/>
                </a:cubicBezTo>
                <a:cubicBezTo>
                  <a:pt x="145" y="265"/>
                  <a:pt x="145" y="264"/>
                  <a:pt x="144" y="264"/>
                </a:cubicBezTo>
                <a:cubicBezTo>
                  <a:pt x="146" y="265"/>
                  <a:pt x="148" y="266"/>
                  <a:pt x="150" y="267"/>
                </a:cubicBezTo>
                <a:cubicBezTo>
                  <a:pt x="152" y="267"/>
                  <a:pt x="152" y="268"/>
                  <a:pt x="154" y="268"/>
                </a:cubicBezTo>
                <a:cubicBezTo>
                  <a:pt x="155" y="269"/>
                  <a:pt x="157" y="269"/>
                  <a:pt x="158" y="270"/>
                </a:cubicBezTo>
                <a:cubicBezTo>
                  <a:pt x="158" y="269"/>
                  <a:pt x="158" y="269"/>
                  <a:pt x="159" y="269"/>
                </a:cubicBezTo>
                <a:cubicBezTo>
                  <a:pt x="162" y="270"/>
                  <a:pt x="164" y="272"/>
                  <a:pt x="168" y="273"/>
                </a:cubicBezTo>
                <a:cubicBezTo>
                  <a:pt x="170" y="274"/>
                  <a:pt x="172" y="275"/>
                  <a:pt x="173" y="276"/>
                </a:cubicBezTo>
                <a:cubicBezTo>
                  <a:pt x="173" y="276"/>
                  <a:pt x="172" y="276"/>
                  <a:pt x="173" y="277"/>
                </a:cubicBezTo>
                <a:cubicBezTo>
                  <a:pt x="175" y="277"/>
                  <a:pt x="175" y="277"/>
                  <a:pt x="176" y="277"/>
                </a:cubicBezTo>
                <a:cubicBezTo>
                  <a:pt x="177" y="277"/>
                  <a:pt x="178" y="278"/>
                  <a:pt x="180" y="279"/>
                </a:cubicBezTo>
                <a:cubicBezTo>
                  <a:pt x="180" y="279"/>
                  <a:pt x="180" y="279"/>
                  <a:pt x="180" y="279"/>
                </a:cubicBezTo>
                <a:cubicBezTo>
                  <a:pt x="186" y="283"/>
                  <a:pt x="196" y="287"/>
                  <a:pt x="204" y="291"/>
                </a:cubicBezTo>
                <a:cubicBezTo>
                  <a:pt x="208" y="293"/>
                  <a:pt x="212" y="296"/>
                  <a:pt x="216" y="298"/>
                </a:cubicBezTo>
                <a:cubicBezTo>
                  <a:pt x="218" y="299"/>
                  <a:pt x="221" y="301"/>
                  <a:pt x="224" y="302"/>
                </a:cubicBezTo>
                <a:cubicBezTo>
                  <a:pt x="225" y="303"/>
                  <a:pt x="225" y="304"/>
                  <a:pt x="228" y="304"/>
                </a:cubicBezTo>
                <a:cubicBezTo>
                  <a:pt x="233" y="305"/>
                  <a:pt x="230" y="303"/>
                  <a:pt x="230" y="303"/>
                </a:cubicBezTo>
                <a:cubicBezTo>
                  <a:pt x="231" y="303"/>
                  <a:pt x="232" y="304"/>
                  <a:pt x="234" y="304"/>
                </a:cubicBezTo>
                <a:cubicBezTo>
                  <a:pt x="232" y="303"/>
                  <a:pt x="229" y="301"/>
                  <a:pt x="226" y="299"/>
                </a:cubicBezTo>
                <a:cubicBezTo>
                  <a:pt x="227" y="299"/>
                  <a:pt x="228" y="299"/>
                  <a:pt x="226" y="298"/>
                </a:cubicBezTo>
                <a:cubicBezTo>
                  <a:pt x="223" y="297"/>
                  <a:pt x="221" y="296"/>
                  <a:pt x="217" y="294"/>
                </a:cubicBezTo>
                <a:cubicBezTo>
                  <a:pt x="217" y="294"/>
                  <a:pt x="217" y="294"/>
                  <a:pt x="217" y="294"/>
                </a:cubicBezTo>
                <a:cubicBezTo>
                  <a:pt x="217" y="294"/>
                  <a:pt x="217" y="294"/>
                  <a:pt x="217" y="294"/>
                </a:cubicBezTo>
                <a:cubicBezTo>
                  <a:pt x="217" y="294"/>
                  <a:pt x="217" y="294"/>
                  <a:pt x="217" y="294"/>
                </a:cubicBezTo>
                <a:cubicBezTo>
                  <a:pt x="217" y="294"/>
                  <a:pt x="220" y="294"/>
                  <a:pt x="215" y="293"/>
                </a:cubicBezTo>
                <a:cubicBezTo>
                  <a:pt x="214" y="292"/>
                  <a:pt x="212" y="291"/>
                  <a:pt x="214" y="291"/>
                </a:cubicBezTo>
                <a:cubicBezTo>
                  <a:pt x="214" y="291"/>
                  <a:pt x="214" y="291"/>
                  <a:pt x="214" y="291"/>
                </a:cubicBezTo>
                <a:cubicBezTo>
                  <a:pt x="214" y="291"/>
                  <a:pt x="214" y="291"/>
                  <a:pt x="214" y="291"/>
                </a:cubicBezTo>
                <a:cubicBezTo>
                  <a:pt x="214" y="291"/>
                  <a:pt x="214" y="291"/>
                  <a:pt x="214" y="291"/>
                </a:cubicBezTo>
                <a:cubicBezTo>
                  <a:pt x="219" y="293"/>
                  <a:pt x="223" y="296"/>
                  <a:pt x="230" y="298"/>
                </a:cubicBezTo>
                <a:cubicBezTo>
                  <a:pt x="231" y="299"/>
                  <a:pt x="232" y="299"/>
                  <a:pt x="233" y="300"/>
                </a:cubicBezTo>
                <a:cubicBezTo>
                  <a:pt x="236" y="300"/>
                  <a:pt x="232" y="299"/>
                  <a:pt x="232" y="299"/>
                </a:cubicBezTo>
                <a:cubicBezTo>
                  <a:pt x="233" y="299"/>
                  <a:pt x="234" y="298"/>
                  <a:pt x="235" y="298"/>
                </a:cubicBezTo>
                <a:cubicBezTo>
                  <a:pt x="239" y="300"/>
                  <a:pt x="241" y="301"/>
                  <a:pt x="244" y="303"/>
                </a:cubicBezTo>
                <a:cubicBezTo>
                  <a:pt x="246" y="304"/>
                  <a:pt x="248" y="305"/>
                  <a:pt x="250" y="305"/>
                </a:cubicBezTo>
                <a:cubicBezTo>
                  <a:pt x="253" y="306"/>
                  <a:pt x="247" y="304"/>
                  <a:pt x="246" y="303"/>
                </a:cubicBezTo>
                <a:cubicBezTo>
                  <a:pt x="246" y="303"/>
                  <a:pt x="246" y="303"/>
                  <a:pt x="246" y="302"/>
                </a:cubicBezTo>
                <a:cubicBezTo>
                  <a:pt x="246" y="302"/>
                  <a:pt x="246" y="302"/>
                  <a:pt x="246" y="302"/>
                </a:cubicBezTo>
                <a:cubicBezTo>
                  <a:pt x="247" y="302"/>
                  <a:pt x="247" y="302"/>
                  <a:pt x="248" y="302"/>
                </a:cubicBezTo>
                <a:cubicBezTo>
                  <a:pt x="245" y="301"/>
                  <a:pt x="240" y="299"/>
                  <a:pt x="238" y="298"/>
                </a:cubicBezTo>
                <a:cubicBezTo>
                  <a:pt x="237" y="297"/>
                  <a:pt x="237" y="297"/>
                  <a:pt x="236" y="296"/>
                </a:cubicBezTo>
                <a:cubicBezTo>
                  <a:pt x="236" y="296"/>
                  <a:pt x="237" y="296"/>
                  <a:pt x="238" y="296"/>
                </a:cubicBezTo>
                <a:cubicBezTo>
                  <a:pt x="238" y="296"/>
                  <a:pt x="238" y="296"/>
                  <a:pt x="237" y="295"/>
                </a:cubicBezTo>
                <a:cubicBezTo>
                  <a:pt x="231" y="292"/>
                  <a:pt x="231" y="292"/>
                  <a:pt x="237" y="292"/>
                </a:cubicBezTo>
                <a:cubicBezTo>
                  <a:pt x="239" y="292"/>
                  <a:pt x="239" y="293"/>
                  <a:pt x="242" y="293"/>
                </a:cubicBezTo>
                <a:cubicBezTo>
                  <a:pt x="244" y="293"/>
                  <a:pt x="241" y="292"/>
                  <a:pt x="240" y="292"/>
                </a:cubicBezTo>
                <a:cubicBezTo>
                  <a:pt x="239" y="291"/>
                  <a:pt x="239" y="290"/>
                  <a:pt x="241" y="291"/>
                </a:cubicBezTo>
                <a:cubicBezTo>
                  <a:pt x="247" y="293"/>
                  <a:pt x="253" y="294"/>
                  <a:pt x="258" y="297"/>
                </a:cubicBezTo>
                <a:cubicBezTo>
                  <a:pt x="258" y="297"/>
                  <a:pt x="259" y="297"/>
                  <a:pt x="258" y="297"/>
                </a:cubicBezTo>
                <a:cubicBezTo>
                  <a:pt x="258" y="297"/>
                  <a:pt x="256" y="296"/>
                  <a:pt x="255" y="297"/>
                </a:cubicBezTo>
                <a:cubicBezTo>
                  <a:pt x="260" y="300"/>
                  <a:pt x="270" y="302"/>
                  <a:pt x="275" y="305"/>
                </a:cubicBezTo>
                <a:cubicBezTo>
                  <a:pt x="277" y="307"/>
                  <a:pt x="280" y="308"/>
                  <a:pt x="284" y="310"/>
                </a:cubicBezTo>
                <a:cubicBezTo>
                  <a:pt x="285" y="311"/>
                  <a:pt x="286" y="311"/>
                  <a:pt x="288" y="311"/>
                </a:cubicBezTo>
                <a:cubicBezTo>
                  <a:pt x="290" y="311"/>
                  <a:pt x="289" y="310"/>
                  <a:pt x="287" y="310"/>
                </a:cubicBezTo>
                <a:cubicBezTo>
                  <a:pt x="283" y="308"/>
                  <a:pt x="287" y="309"/>
                  <a:pt x="287" y="308"/>
                </a:cubicBezTo>
                <a:cubicBezTo>
                  <a:pt x="288" y="308"/>
                  <a:pt x="289" y="308"/>
                  <a:pt x="289" y="309"/>
                </a:cubicBezTo>
                <a:cubicBezTo>
                  <a:pt x="287" y="308"/>
                  <a:pt x="287" y="306"/>
                  <a:pt x="282" y="306"/>
                </a:cubicBezTo>
                <a:cubicBezTo>
                  <a:pt x="281" y="306"/>
                  <a:pt x="283" y="307"/>
                  <a:pt x="283" y="307"/>
                </a:cubicBezTo>
                <a:cubicBezTo>
                  <a:pt x="280" y="307"/>
                  <a:pt x="280" y="306"/>
                  <a:pt x="278" y="305"/>
                </a:cubicBezTo>
                <a:cubicBezTo>
                  <a:pt x="273" y="303"/>
                  <a:pt x="273" y="302"/>
                  <a:pt x="268" y="300"/>
                </a:cubicBezTo>
                <a:cubicBezTo>
                  <a:pt x="266" y="299"/>
                  <a:pt x="264" y="298"/>
                  <a:pt x="262" y="297"/>
                </a:cubicBezTo>
                <a:cubicBezTo>
                  <a:pt x="262" y="296"/>
                  <a:pt x="263" y="296"/>
                  <a:pt x="262" y="295"/>
                </a:cubicBezTo>
                <a:cubicBezTo>
                  <a:pt x="260" y="294"/>
                  <a:pt x="258" y="293"/>
                  <a:pt x="256" y="292"/>
                </a:cubicBezTo>
                <a:cubicBezTo>
                  <a:pt x="256" y="292"/>
                  <a:pt x="255" y="292"/>
                  <a:pt x="255" y="292"/>
                </a:cubicBezTo>
                <a:cubicBezTo>
                  <a:pt x="257" y="293"/>
                  <a:pt x="259" y="294"/>
                  <a:pt x="261" y="295"/>
                </a:cubicBezTo>
                <a:cubicBezTo>
                  <a:pt x="256" y="294"/>
                  <a:pt x="255" y="293"/>
                  <a:pt x="252" y="292"/>
                </a:cubicBezTo>
                <a:cubicBezTo>
                  <a:pt x="251" y="290"/>
                  <a:pt x="245" y="288"/>
                  <a:pt x="242" y="287"/>
                </a:cubicBezTo>
                <a:cubicBezTo>
                  <a:pt x="242" y="286"/>
                  <a:pt x="241" y="286"/>
                  <a:pt x="240" y="286"/>
                </a:cubicBezTo>
                <a:cubicBezTo>
                  <a:pt x="240" y="286"/>
                  <a:pt x="240" y="286"/>
                  <a:pt x="240" y="286"/>
                </a:cubicBezTo>
                <a:cubicBezTo>
                  <a:pt x="240" y="286"/>
                  <a:pt x="240" y="286"/>
                  <a:pt x="240" y="286"/>
                </a:cubicBezTo>
                <a:cubicBezTo>
                  <a:pt x="240" y="286"/>
                  <a:pt x="240" y="286"/>
                  <a:pt x="240" y="286"/>
                </a:cubicBezTo>
                <a:cubicBezTo>
                  <a:pt x="236" y="285"/>
                  <a:pt x="234" y="283"/>
                  <a:pt x="229" y="281"/>
                </a:cubicBezTo>
                <a:cubicBezTo>
                  <a:pt x="229" y="281"/>
                  <a:pt x="229" y="281"/>
                  <a:pt x="229" y="281"/>
                </a:cubicBezTo>
                <a:cubicBezTo>
                  <a:pt x="229" y="281"/>
                  <a:pt x="229" y="281"/>
                  <a:pt x="229" y="281"/>
                </a:cubicBezTo>
                <a:cubicBezTo>
                  <a:pt x="228" y="280"/>
                  <a:pt x="226" y="279"/>
                  <a:pt x="224" y="279"/>
                </a:cubicBezTo>
                <a:cubicBezTo>
                  <a:pt x="223" y="277"/>
                  <a:pt x="220" y="276"/>
                  <a:pt x="217" y="275"/>
                </a:cubicBezTo>
                <a:cubicBezTo>
                  <a:pt x="215" y="274"/>
                  <a:pt x="214" y="273"/>
                  <a:pt x="212" y="273"/>
                </a:cubicBezTo>
                <a:cubicBezTo>
                  <a:pt x="212" y="272"/>
                  <a:pt x="212" y="272"/>
                  <a:pt x="212" y="272"/>
                </a:cubicBezTo>
                <a:cubicBezTo>
                  <a:pt x="210" y="271"/>
                  <a:pt x="207" y="270"/>
                  <a:pt x="208" y="269"/>
                </a:cubicBezTo>
                <a:cubicBezTo>
                  <a:pt x="214" y="271"/>
                  <a:pt x="218" y="274"/>
                  <a:pt x="225" y="276"/>
                </a:cubicBezTo>
                <a:cubicBezTo>
                  <a:pt x="236" y="282"/>
                  <a:pt x="246" y="287"/>
                  <a:pt x="257" y="292"/>
                </a:cubicBezTo>
                <a:cubicBezTo>
                  <a:pt x="258" y="292"/>
                  <a:pt x="260" y="293"/>
                  <a:pt x="261" y="293"/>
                </a:cubicBezTo>
                <a:cubicBezTo>
                  <a:pt x="262" y="294"/>
                  <a:pt x="262" y="294"/>
                  <a:pt x="263" y="294"/>
                </a:cubicBezTo>
                <a:cubicBezTo>
                  <a:pt x="269" y="297"/>
                  <a:pt x="274" y="300"/>
                  <a:pt x="280" y="302"/>
                </a:cubicBezTo>
                <a:cubicBezTo>
                  <a:pt x="286" y="305"/>
                  <a:pt x="293" y="308"/>
                  <a:pt x="297" y="311"/>
                </a:cubicBezTo>
                <a:cubicBezTo>
                  <a:pt x="298" y="312"/>
                  <a:pt x="301" y="313"/>
                  <a:pt x="303" y="315"/>
                </a:cubicBezTo>
                <a:cubicBezTo>
                  <a:pt x="302" y="314"/>
                  <a:pt x="301" y="314"/>
                  <a:pt x="300" y="314"/>
                </a:cubicBezTo>
                <a:cubicBezTo>
                  <a:pt x="301" y="315"/>
                  <a:pt x="302" y="315"/>
                  <a:pt x="304" y="316"/>
                </a:cubicBezTo>
                <a:cubicBezTo>
                  <a:pt x="305" y="316"/>
                  <a:pt x="304" y="315"/>
                  <a:pt x="304" y="315"/>
                </a:cubicBezTo>
                <a:cubicBezTo>
                  <a:pt x="305" y="315"/>
                  <a:pt x="306" y="316"/>
                  <a:pt x="309" y="316"/>
                </a:cubicBezTo>
                <a:cubicBezTo>
                  <a:pt x="304" y="314"/>
                  <a:pt x="303" y="313"/>
                  <a:pt x="299" y="311"/>
                </a:cubicBezTo>
                <a:cubicBezTo>
                  <a:pt x="297" y="310"/>
                  <a:pt x="296" y="309"/>
                  <a:pt x="294" y="308"/>
                </a:cubicBezTo>
                <a:cubicBezTo>
                  <a:pt x="290" y="306"/>
                  <a:pt x="284" y="303"/>
                  <a:pt x="280" y="300"/>
                </a:cubicBezTo>
                <a:cubicBezTo>
                  <a:pt x="281" y="300"/>
                  <a:pt x="280" y="300"/>
                  <a:pt x="280" y="299"/>
                </a:cubicBezTo>
                <a:cubicBezTo>
                  <a:pt x="279" y="299"/>
                  <a:pt x="279" y="298"/>
                  <a:pt x="280" y="298"/>
                </a:cubicBezTo>
                <a:cubicBezTo>
                  <a:pt x="282" y="298"/>
                  <a:pt x="284" y="299"/>
                  <a:pt x="285" y="300"/>
                </a:cubicBezTo>
                <a:cubicBezTo>
                  <a:pt x="288" y="301"/>
                  <a:pt x="292" y="302"/>
                  <a:pt x="296" y="303"/>
                </a:cubicBezTo>
                <a:cubicBezTo>
                  <a:pt x="300" y="305"/>
                  <a:pt x="302" y="304"/>
                  <a:pt x="304" y="304"/>
                </a:cubicBezTo>
                <a:cubicBezTo>
                  <a:pt x="304" y="304"/>
                  <a:pt x="306" y="304"/>
                  <a:pt x="307" y="304"/>
                </a:cubicBezTo>
                <a:cubicBezTo>
                  <a:pt x="308" y="305"/>
                  <a:pt x="308" y="305"/>
                  <a:pt x="306" y="305"/>
                </a:cubicBezTo>
                <a:cubicBezTo>
                  <a:pt x="303" y="305"/>
                  <a:pt x="304" y="306"/>
                  <a:pt x="302" y="306"/>
                </a:cubicBezTo>
                <a:cubicBezTo>
                  <a:pt x="306" y="307"/>
                  <a:pt x="310" y="308"/>
                  <a:pt x="314" y="310"/>
                </a:cubicBezTo>
                <a:cubicBezTo>
                  <a:pt x="313" y="309"/>
                  <a:pt x="312" y="308"/>
                  <a:pt x="312" y="307"/>
                </a:cubicBezTo>
                <a:cubicBezTo>
                  <a:pt x="314" y="308"/>
                  <a:pt x="319" y="309"/>
                  <a:pt x="318" y="307"/>
                </a:cubicBezTo>
                <a:cubicBezTo>
                  <a:pt x="317" y="305"/>
                  <a:pt x="317" y="305"/>
                  <a:pt x="321" y="305"/>
                </a:cubicBezTo>
                <a:cubicBezTo>
                  <a:pt x="317" y="304"/>
                  <a:pt x="314" y="302"/>
                  <a:pt x="310" y="302"/>
                </a:cubicBezTo>
                <a:cubicBezTo>
                  <a:pt x="310" y="302"/>
                  <a:pt x="309" y="302"/>
                  <a:pt x="309" y="302"/>
                </a:cubicBezTo>
                <a:cubicBezTo>
                  <a:pt x="309" y="301"/>
                  <a:pt x="309" y="301"/>
                  <a:pt x="310" y="301"/>
                </a:cubicBezTo>
                <a:cubicBezTo>
                  <a:pt x="312" y="301"/>
                  <a:pt x="310" y="300"/>
                  <a:pt x="309" y="300"/>
                </a:cubicBezTo>
                <a:cubicBezTo>
                  <a:pt x="308" y="300"/>
                  <a:pt x="308" y="300"/>
                  <a:pt x="308" y="299"/>
                </a:cubicBezTo>
                <a:cubicBezTo>
                  <a:pt x="308" y="299"/>
                  <a:pt x="308" y="299"/>
                  <a:pt x="306" y="298"/>
                </a:cubicBezTo>
                <a:cubicBezTo>
                  <a:pt x="304" y="297"/>
                  <a:pt x="304" y="297"/>
                  <a:pt x="306" y="297"/>
                </a:cubicBezTo>
                <a:cubicBezTo>
                  <a:pt x="307" y="297"/>
                  <a:pt x="304" y="296"/>
                  <a:pt x="305" y="295"/>
                </a:cubicBezTo>
                <a:cubicBezTo>
                  <a:pt x="306" y="296"/>
                  <a:pt x="307" y="297"/>
                  <a:pt x="308" y="297"/>
                </a:cubicBezTo>
                <a:cubicBezTo>
                  <a:pt x="310" y="299"/>
                  <a:pt x="314" y="300"/>
                  <a:pt x="317" y="302"/>
                </a:cubicBezTo>
                <a:cubicBezTo>
                  <a:pt x="318" y="303"/>
                  <a:pt x="320" y="304"/>
                  <a:pt x="322" y="305"/>
                </a:cubicBezTo>
                <a:cubicBezTo>
                  <a:pt x="323" y="305"/>
                  <a:pt x="324" y="306"/>
                  <a:pt x="325" y="306"/>
                </a:cubicBezTo>
                <a:cubicBezTo>
                  <a:pt x="326" y="306"/>
                  <a:pt x="327" y="307"/>
                  <a:pt x="327" y="307"/>
                </a:cubicBezTo>
                <a:cubicBezTo>
                  <a:pt x="327" y="307"/>
                  <a:pt x="328" y="308"/>
                  <a:pt x="329" y="308"/>
                </a:cubicBezTo>
                <a:cubicBezTo>
                  <a:pt x="330" y="308"/>
                  <a:pt x="331" y="309"/>
                  <a:pt x="332" y="309"/>
                </a:cubicBezTo>
                <a:cubicBezTo>
                  <a:pt x="332" y="308"/>
                  <a:pt x="331" y="308"/>
                  <a:pt x="330" y="308"/>
                </a:cubicBezTo>
                <a:cubicBezTo>
                  <a:pt x="329" y="307"/>
                  <a:pt x="328" y="306"/>
                  <a:pt x="326" y="306"/>
                </a:cubicBezTo>
                <a:cubicBezTo>
                  <a:pt x="321" y="303"/>
                  <a:pt x="317" y="300"/>
                  <a:pt x="309" y="297"/>
                </a:cubicBezTo>
                <a:cubicBezTo>
                  <a:pt x="305" y="294"/>
                  <a:pt x="298" y="291"/>
                  <a:pt x="292" y="288"/>
                </a:cubicBezTo>
                <a:cubicBezTo>
                  <a:pt x="289" y="287"/>
                  <a:pt x="287" y="285"/>
                  <a:pt x="284" y="284"/>
                </a:cubicBezTo>
                <a:cubicBezTo>
                  <a:pt x="283" y="283"/>
                  <a:pt x="279" y="281"/>
                  <a:pt x="276" y="280"/>
                </a:cubicBezTo>
                <a:cubicBezTo>
                  <a:pt x="280" y="281"/>
                  <a:pt x="284" y="280"/>
                  <a:pt x="289" y="282"/>
                </a:cubicBezTo>
                <a:cubicBezTo>
                  <a:pt x="294" y="284"/>
                  <a:pt x="299" y="286"/>
                  <a:pt x="303" y="288"/>
                </a:cubicBezTo>
                <a:cubicBezTo>
                  <a:pt x="309" y="291"/>
                  <a:pt x="314" y="295"/>
                  <a:pt x="322" y="298"/>
                </a:cubicBezTo>
                <a:cubicBezTo>
                  <a:pt x="325" y="299"/>
                  <a:pt x="330" y="300"/>
                  <a:pt x="334" y="302"/>
                </a:cubicBezTo>
                <a:cubicBezTo>
                  <a:pt x="335" y="300"/>
                  <a:pt x="331" y="299"/>
                  <a:pt x="328" y="298"/>
                </a:cubicBezTo>
                <a:cubicBezTo>
                  <a:pt x="326" y="297"/>
                  <a:pt x="323" y="297"/>
                  <a:pt x="323" y="296"/>
                </a:cubicBezTo>
                <a:cubicBezTo>
                  <a:pt x="323" y="295"/>
                  <a:pt x="325" y="296"/>
                  <a:pt x="327" y="296"/>
                </a:cubicBezTo>
                <a:cubicBezTo>
                  <a:pt x="328" y="296"/>
                  <a:pt x="330" y="296"/>
                  <a:pt x="331" y="296"/>
                </a:cubicBezTo>
                <a:cubicBezTo>
                  <a:pt x="331" y="297"/>
                  <a:pt x="332" y="297"/>
                  <a:pt x="333" y="298"/>
                </a:cubicBezTo>
                <a:cubicBezTo>
                  <a:pt x="333" y="298"/>
                  <a:pt x="333" y="298"/>
                  <a:pt x="333" y="298"/>
                </a:cubicBezTo>
                <a:cubicBezTo>
                  <a:pt x="333" y="298"/>
                  <a:pt x="333" y="298"/>
                  <a:pt x="333" y="298"/>
                </a:cubicBezTo>
                <a:cubicBezTo>
                  <a:pt x="332" y="298"/>
                  <a:pt x="330" y="297"/>
                  <a:pt x="330" y="297"/>
                </a:cubicBezTo>
                <a:cubicBezTo>
                  <a:pt x="330" y="298"/>
                  <a:pt x="331" y="299"/>
                  <a:pt x="334" y="299"/>
                </a:cubicBezTo>
                <a:cubicBezTo>
                  <a:pt x="334" y="299"/>
                  <a:pt x="335" y="300"/>
                  <a:pt x="335" y="300"/>
                </a:cubicBezTo>
                <a:cubicBezTo>
                  <a:pt x="337" y="301"/>
                  <a:pt x="339" y="302"/>
                  <a:pt x="341" y="303"/>
                </a:cubicBezTo>
                <a:cubicBezTo>
                  <a:pt x="341" y="303"/>
                  <a:pt x="342" y="303"/>
                  <a:pt x="342" y="303"/>
                </a:cubicBezTo>
                <a:cubicBezTo>
                  <a:pt x="340" y="302"/>
                  <a:pt x="338" y="301"/>
                  <a:pt x="336" y="300"/>
                </a:cubicBezTo>
                <a:cubicBezTo>
                  <a:pt x="335" y="299"/>
                  <a:pt x="335" y="299"/>
                  <a:pt x="337" y="298"/>
                </a:cubicBezTo>
                <a:cubicBezTo>
                  <a:pt x="339" y="299"/>
                  <a:pt x="340" y="299"/>
                  <a:pt x="341" y="299"/>
                </a:cubicBezTo>
                <a:cubicBezTo>
                  <a:pt x="342" y="300"/>
                  <a:pt x="344" y="301"/>
                  <a:pt x="347" y="301"/>
                </a:cubicBezTo>
                <a:cubicBezTo>
                  <a:pt x="346" y="300"/>
                  <a:pt x="345" y="299"/>
                  <a:pt x="344" y="299"/>
                </a:cubicBezTo>
                <a:cubicBezTo>
                  <a:pt x="343" y="297"/>
                  <a:pt x="339" y="295"/>
                  <a:pt x="335" y="294"/>
                </a:cubicBezTo>
                <a:cubicBezTo>
                  <a:pt x="334" y="293"/>
                  <a:pt x="333" y="293"/>
                  <a:pt x="331" y="292"/>
                </a:cubicBezTo>
                <a:cubicBezTo>
                  <a:pt x="331" y="292"/>
                  <a:pt x="331" y="292"/>
                  <a:pt x="330" y="291"/>
                </a:cubicBezTo>
                <a:cubicBezTo>
                  <a:pt x="330" y="291"/>
                  <a:pt x="329" y="290"/>
                  <a:pt x="327" y="290"/>
                </a:cubicBezTo>
                <a:cubicBezTo>
                  <a:pt x="326" y="289"/>
                  <a:pt x="325" y="289"/>
                  <a:pt x="325" y="289"/>
                </a:cubicBezTo>
                <a:cubicBezTo>
                  <a:pt x="327" y="288"/>
                  <a:pt x="323" y="287"/>
                  <a:pt x="324" y="287"/>
                </a:cubicBezTo>
                <a:cubicBezTo>
                  <a:pt x="325" y="287"/>
                  <a:pt x="329" y="288"/>
                  <a:pt x="329" y="287"/>
                </a:cubicBezTo>
                <a:cubicBezTo>
                  <a:pt x="330" y="287"/>
                  <a:pt x="328" y="286"/>
                  <a:pt x="326" y="285"/>
                </a:cubicBezTo>
                <a:cubicBezTo>
                  <a:pt x="324" y="284"/>
                  <a:pt x="323" y="284"/>
                  <a:pt x="322" y="283"/>
                </a:cubicBezTo>
                <a:cubicBezTo>
                  <a:pt x="320" y="281"/>
                  <a:pt x="318" y="280"/>
                  <a:pt x="311" y="278"/>
                </a:cubicBezTo>
                <a:cubicBezTo>
                  <a:pt x="310" y="277"/>
                  <a:pt x="304" y="275"/>
                  <a:pt x="301" y="273"/>
                </a:cubicBezTo>
                <a:cubicBezTo>
                  <a:pt x="296" y="271"/>
                  <a:pt x="290" y="268"/>
                  <a:pt x="284" y="265"/>
                </a:cubicBezTo>
                <a:cubicBezTo>
                  <a:pt x="283" y="264"/>
                  <a:pt x="281" y="263"/>
                  <a:pt x="276" y="262"/>
                </a:cubicBezTo>
                <a:cubicBezTo>
                  <a:pt x="278" y="263"/>
                  <a:pt x="281" y="264"/>
                  <a:pt x="283" y="265"/>
                </a:cubicBezTo>
                <a:cubicBezTo>
                  <a:pt x="285" y="266"/>
                  <a:pt x="286" y="267"/>
                  <a:pt x="288" y="268"/>
                </a:cubicBezTo>
                <a:cubicBezTo>
                  <a:pt x="282" y="266"/>
                  <a:pt x="281" y="264"/>
                  <a:pt x="277" y="263"/>
                </a:cubicBezTo>
                <a:cubicBezTo>
                  <a:pt x="275" y="262"/>
                  <a:pt x="273" y="262"/>
                  <a:pt x="272" y="261"/>
                </a:cubicBezTo>
                <a:cubicBezTo>
                  <a:pt x="272" y="261"/>
                  <a:pt x="272" y="261"/>
                  <a:pt x="272" y="261"/>
                </a:cubicBezTo>
                <a:cubicBezTo>
                  <a:pt x="272" y="261"/>
                  <a:pt x="272" y="260"/>
                  <a:pt x="270" y="259"/>
                </a:cubicBezTo>
                <a:cubicBezTo>
                  <a:pt x="268" y="259"/>
                  <a:pt x="268" y="259"/>
                  <a:pt x="268" y="260"/>
                </a:cubicBezTo>
                <a:cubicBezTo>
                  <a:pt x="265" y="258"/>
                  <a:pt x="262" y="257"/>
                  <a:pt x="260" y="256"/>
                </a:cubicBezTo>
                <a:cubicBezTo>
                  <a:pt x="260" y="256"/>
                  <a:pt x="261" y="256"/>
                  <a:pt x="262" y="256"/>
                </a:cubicBezTo>
                <a:cubicBezTo>
                  <a:pt x="263" y="256"/>
                  <a:pt x="264" y="257"/>
                  <a:pt x="265" y="257"/>
                </a:cubicBezTo>
                <a:cubicBezTo>
                  <a:pt x="269" y="258"/>
                  <a:pt x="272" y="259"/>
                  <a:pt x="273" y="260"/>
                </a:cubicBezTo>
                <a:cubicBezTo>
                  <a:pt x="274" y="260"/>
                  <a:pt x="275" y="261"/>
                  <a:pt x="276" y="261"/>
                </a:cubicBezTo>
                <a:cubicBezTo>
                  <a:pt x="277" y="261"/>
                  <a:pt x="276" y="260"/>
                  <a:pt x="275" y="260"/>
                </a:cubicBezTo>
                <a:cubicBezTo>
                  <a:pt x="276" y="260"/>
                  <a:pt x="277" y="260"/>
                  <a:pt x="277" y="260"/>
                </a:cubicBezTo>
                <a:cubicBezTo>
                  <a:pt x="278" y="260"/>
                  <a:pt x="279" y="261"/>
                  <a:pt x="280" y="261"/>
                </a:cubicBezTo>
                <a:cubicBezTo>
                  <a:pt x="285" y="263"/>
                  <a:pt x="289" y="266"/>
                  <a:pt x="294" y="268"/>
                </a:cubicBezTo>
                <a:cubicBezTo>
                  <a:pt x="294" y="268"/>
                  <a:pt x="294" y="268"/>
                  <a:pt x="294" y="267"/>
                </a:cubicBezTo>
                <a:cubicBezTo>
                  <a:pt x="294" y="267"/>
                  <a:pt x="293" y="267"/>
                  <a:pt x="293" y="267"/>
                </a:cubicBezTo>
                <a:cubicBezTo>
                  <a:pt x="293" y="267"/>
                  <a:pt x="293" y="267"/>
                  <a:pt x="293" y="267"/>
                </a:cubicBezTo>
                <a:cubicBezTo>
                  <a:pt x="293" y="267"/>
                  <a:pt x="293" y="267"/>
                  <a:pt x="293" y="267"/>
                </a:cubicBezTo>
                <a:cubicBezTo>
                  <a:pt x="296" y="267"/>
                  <a:pt x="299" y="268"/>
                  <a:pt x="300" y="270"/>
                </a:cubicBezTo>
                <a:cubicBezTo>
                  <a:pt x="301" y="270"/>
                  <a:pt x="303" y="271"/>
                  <a:pt x="306" y="272"/>
                </a:cubicBezTo>
                <a:cubicBezTo>
                  <a:pt x="307" y="272"/>
                  <a:pt x="308" y="272"/>
                  <a:pt x="308" y="272"/>
                </a:cubicBezTo>
                <a:cubicBezTo>
                  <a:pt x="310" y="271"/>
                  <a:pt x="307" y="270"/>
                  <a:pt x="305" y="270"/>
                </a:cubicBezTo>
                <a:cubicBezTo>
                  <a:pt x="298" y="266"/>
                  <a:pt x="289" y="262"/>
                  <a:pt x="282" y="259"/>
                </a:cubicBezTo>
                <a:cubicBezTo>
                  <a:pt x="282" y="259"/>
                  <a:pt x="282" y="259"/>
                  <a:pt x="282" y="259"/>
                </a:cubicBezTo>
                <a:cubicBezTo>
                  <a:pt x="279" y="257"/>
                  <a:pt x="272" y="255"/>
                  <a:pt x="271" y="253"/>
                </a:cubicBezTo>
                <a:cubicBezTo>
                  <a:pt x="281" y="257"/>
                  <a:pt x="290" y="262"/>
                  <a:pt x="299" y="266"/>
                </a:cubicBezTo>
                <a:cubicBezTo>
                  <a:pt x="308" y="270"/>
                  <a:pt x="318" y="275"/>
                  <a:pt x="330" y="280"/>
                </a:cubicBezTo>
                <a:cubicBezTo>
                  <a:pt x="332" y="281"/>
                  <a:pt x="334" y="281"/>
                  <a:pt x="336" y="282"/>
                </a:cubicBezTo>
                <a:cubicBezTo>
                  <a:pt x="340" y="285"/>
                  <a:pt x="347" y="288"/>
                  <a:pt x="352" y="291"/>
                </a:cubicBezTo>
                <a:cubicBezTo>
                  <a:pt x="353" y="291"/>
                  <a:pt x="349" y="290"/>
                  <a:pt x="349" y="289"/>
                </a:cubicBezTo>
                <a:cubicBezTo>
                  <a:pt x="355" y="290"/>
                  <a:pt x="358" y="292"/>
                  <a:pt x="361" y="294"/>
                </a:cubicBezTo>
                <a:cubicBezTo>
                  <a:pt x="363" y="295"/>
                  <a:pt x="365" y="297"/>
                  <a:pt x="371" y="298"/>
                </a:cubicBezTo>
                <a:cubicBezTo>
                  <a:pt x="376" y="299"/>
                  <a:pt x="377" y="300"/>
                  <a:pt x="380" y="302"/>
                </a:cubicBezTo>
                <a:cubicBezTo>
                  <a:pt x="380" y="302"/>
                  <a:pt x="380" y="302"/>
                  <a:pt x="380" y="302"/>
                </a:cubicBezTo>
                <a:cubicBezTo>
                  <a:pt x="385" y="304"/>
                  <a:pt x="389" y="306"/>
                  <a:pt x="393" y="308"/>
                </a:cubicBezTo>
                <a:cubicBezTo>
                  <a:pt x="390" y="307"/>
                  <a:pt x="389" y="306"/>
                  <a:pt x="387" y="306"/>
                </a:cubicBezTo>
                <a:cubicBezTo>
                  <a:pt x="386" y="305"/>
                  <a:pt x="385" y="304"/>
                  <a:pt x="381" y="303"/>
                </a:cubicBezTo>
                <a:cubicBezTo>
                  <a:pt x="382" y="304"/>
                  <a:pt x="383" y="305"/>
                  <a:pt x="386" y="306"/>
                </a:cubicBezTo>
                <a:cubicBezTo>
                  <a:pt x="389" y="307"/>
                  <a:pt x="391" y="308"/>
                  <a:pt x="394" y="310"/>
                </a:cubicBezTo>
                <a:cubicBezTo>
                  <a:pt x="396" y="311"/>
                  <a:pt x="398" y="311"/>
                  <a:pt x="399" y="312"/>
                </a:cubicBezTo>
                <a:cubicBezTo>
                  <a:pt x="399" y="312"/>
                  <a:pt x="400" y="312"/>
                  <a:pt x="400" y="312"/>
                </a:cubicBezTo>
                <a:cubicBezTo>
                  <a:pt x="398" y="311"/>
                  <a:pt x="397" y="311"/>
                  <a:pt x="396" y="310"/>
                </a:cubicBezTo>
                <a:cubicBezTo>
                  <a:pt x="396" y="310"/>
                  <a:pt x="397" y="310"/>
                  <a:pt x="397" y="310"/>
                </a:cubicBezTo>
                <a:cubicBezTo>
                  <a:pt x="402" y="313"/>
                  <a:pt x="410" y="316"/>
                  <a:pt x="413" y="319"/>
                </a:cubicBezTo>
                <a:cubicBezTo>
                  <a:pt x="416" y="320"/>
                  <a:pt x="418" y="321"/>
                  <a:pt x="421" y="322"/>
                </a:cubicBezTo>
                <a:cubicBezTo>
                  <a:pt x="421" y="323"/>
                  <a:pt x="422" y="324"/>
                  <a:pt x="426" y="325"/>
                </a:cubicBezTo>
                <a:cubicBezTo>
                  <a:pt x="429" y="328"/>
                  <a:pt x="436" y="329"/>
                  <a:pt x="442" y="331"/>
                </a:cubicBezTo>
                <a:cubicBezTo>
                  <a:pt x="442" y="331"/>
                  <a:pt x="442" y="331"/>
                  <a:pt x="443" y="331"/>
                </a:cubicBezTo>
                <a:cubicBezTo>
                  <a:pt x="444" y="332"/>
                  <a:pt x="446" y="333"/>
                  <a:pt x="448" y="334"/>
                </a:cubicBezTo>
                <a:cubicBezTo>
                  <a:pt x="450" y="335"/>
                  <a:pt x="448" y="335"/>
                  <a:pt x="446" y="334"/>
                </a:cubicBezTo>
                <a:cubicBezTo>
                  <a:pt x="445" y="334"/>
                  <a:pt x="444" y="333"/>
                  <a:pt x="441" y="333"/>
                </a:cubicBezTo>
                <a:cubicBezTo>
                  <a:pt x="442" y="333"/>
                  <a:pt x="444" y="334"/>
                  <a:pt x="445" y="334"/>
                </a:cubicBezTo>
                <a:cubicBezTo>
                  <a:pt x="446" y="335"/>
                  <a:pt x="447" y="335"/>
                  <a:pt x="448" y="336"/>
                </a:cubicBezTo>
                <a:cubicBezTo>
                  <a:pt x="452" y="338"/>
                  <a:pt x="459" y="341"/>
                  <a:pt x="465" y="344"/>
                </a:cubicBezTo>
                <a:cubicBezTo>
                  <a:pt x="467" y="345"/>
                  <a:pt x="468" y="347"/>
                  <a:pt x="473" y="348"/>
                </a:cubicBezTo>
                <a:cubicBezTo>
                  <a:pt x="472" y="347"/>
                  <a:pt x="469" y="345"/>
                  <a:pt x="466" y="344"/>
                </a:cubicBezTo>
                <a:cubicBezTo>
                  <a:pt x="463" y="342"/>
                  <a:pt x="459" y="340"/>
                  <a:pt x="455" y="339"/>
                </a:cubicBezTo>
                <a:cubicBezTo>
                  <a:pt x="457" y="338"/>
                  <a:pt x="452" y="335"/>
                  <a:pt x="450" y="334"/>
                </a:cubicBezTo>
                <a:cubicBezTo>
                  <a:pt x="449" y="333"/>
                  <a:pt x="446" y="331"/>
                  <a:pt x="444" y="330"/>
                </a:cubicBezTo>
                <a:cubicBezTo>
                  <a:pt x="444" y="329"/>
                  <a:pt x="441" y="329"/>
                  <a:pt x="439" y="328"/>
                </a:cubicBezTo>
                <a:cubicBezTo>
                  <a:pt x="435" y="326"/>
                  <a:pt x="429" y="324"/>
                  <a:pt x="432" y="323"/>
                </a:cubicBezTo>
                <a:cubicBezTo>
                  <a:pt x="433" y="323"/>
                  <a:pt x="431" y="321"/>
                  <a:pt x="427" y="321"/>
                </a:cubicBezTo>
                <a:cubicBezTo>
                  <a:pt x="425" y="320"/>
                  <a:pt x="423" y="319"/>
                  <a:pt x="421" y="318"/>
                </a:cubicBezTo>
                <a:cubicBezTo>
                  <a:pt x="420" y="317"/>
                  <a:pt x="418" y="317"/>
                  <a:pt x="417" y="316"/>
                </a:cubicBezTo>
                <a:cubicBezTo>
                  <a:pt x="417" y="315"/>
                  <a:pt x="416" y="315"/>
                  <a:pt x="414" y="314"/>
                </a:cubicBezTo>
                <a:cubicBezTo>
                  <a:pt x="413" y="314"/>
                  <a:pt x="414" y="315"/>
                  <a:pt x="415" y="316"/>
                </a:cubicBezTo>
                <a:cubicBezTo>
                  <a:pt x="416" y="317"/>
                  <a:pt x="417" y="317"/>
                  <a:pt x="419" y="318"/>
                </a:cubicBezTo>
                <a:cubicBezTo>
                  <a:pt x="421" y="319"/>
                  <a:pt x="421" y="320"/>
                  <a:pt x="419" y="320"/>
                </a:cubicBezTo>
                <a:cubicBezTo>
                  <a:pt x="417" y="320"/>
                  <a:pt x="417" y="319"/>
                  <a:pt x="416" y="319"/>
                </a:cubicBezTo>
                <a:cubicBezTo>
                  <a:pt x="408" y="314"/>
                  <a:pt x="399" y="310"/>
                  <a:pt x="391" y="306"/>
                </a:cubicBezTo>
                <a:cubicBezTo>
                  <a:pt x="393" y="306"/>
                  <a:pt x="396" y="307"/>
                  <a:pt x="397" y="308"/>
                </a:cubicBezTo>
                <a:cubicBezTo>
                  <a:pt x="402" y="311"/>
                  <a:pt x="407" y="311"/>
                  <a:pt x="413" y="311"/>
                </a:cubicBezTo>
                <a:cubicBezTo>
                  <a:pt x="413" y="312"/>
                  <a:pt x="412" y="312"/>
                  <a:pt x="413" y="312"/>
                </a:cubicBezTo>
                <a:cubicBezTo>
                  <a:pt x="413" y="313"/>
                  <a:pt x="414" y="313"/>
                  <a:pt x="415" y="313"/>
                </a:cubicBezTo>
                <a:cubicBezTo>
                  <a:pt x="415" y="312"/>
                  <a:pt x="416" y="312"/>
                  <a:pt x="414" y="311"/>
                </a:cubicBezTo>
                <a:cubicBezTo>
                  <a:pt x="413" y="311"/>
                  <a:pt x="420" y="312"/>
                  <a:pt x="416" y="310"/>
                </a:cubicBezTo>
                <a:cubicBezTo>
                  <a:pt x="414" y="309"/>
                  <a:pt x="410" y="309"/>
                  <a:pt x="410" y="309"/>
                </a:cubicBezTo>
                <a:cubicBezTo>
                  <a:pt x="406" y="311"/>
                  <a:pt x="403" y="308"/>
                  <a:pt x="399" y="307"/>
                </a:cubicBezTo>
                <a:cubicBezTo>
                  <a:pt x="398" y="306"/>
                  <a:pt x="396" y="305"/>
                  <a:pt x="395" y="305"/>
                </a:cubicBezTo>
                <a:cubicBezTo>
                  <a:pt x="391" y="302"/>
                  <a:pt x="388" y="303"/>
                  <a:pt x="385" y="303"/>
                </a:cubicBezTo>
                <a:cubicBezTo>
                  <a:pt x="385" y="303"/>
                  <a:pt x="385" y="303"/>
                  <a:pt x="385" y="303"/>
                </a:cubicBezTo>
                <a:cubicBezTo>
                  <a:pt x="384" y="302"/>
                  <a:pt x="384" y="302"/>
                  <a:pt x="384" y="302"/>
                </a:cubicBezTo>
                <a:cubicBezTo>
                  <a:pt x="382" y="301"/>
                  <a:pt x="385" y="301"/>
                  <a:pt x="384" y="299"/>
                </a:cubicBezTo>
                <a:cubicBezTo>
                  <a:pt x="380" y="296"/>
                  <a:pt x="373" y="294"/>
                  <a:pt x="369" y="291"/>
                </a:cubicBezTo>
                <a:cubicBezTo>
                  <a:pt x="367" y="291"/>
                  <a:pt x="366" y="290"/>
                  <a:pt x="365" y="289"/>
                </a:cubicBezTo>
                <a:cubicBezTo>
                  <a:pt x="359" y="288"/>
                  <a:pt x="358" y="286"/>
                  <a:pt x="354" y="284"/>
                </a:cubicBezTo>
                <a:cubicBezTo>
                  <a:pt x="348" y="282"/>
                  <a:pt x="346" y="279"/>
                  <a:pt x="341" y="277"/>
                </a:cubicBezTo>
                <a:cubicBezTo>
                  <a:pt x="338" y="276"/>
                  <a:pt x="335" y="274"/>
                  <a:pt x="333" y="273"/>
                </a:cubicBezTo>
                <a:cubicBezTo>
                  <a:pt x="327" y="270"/>
                  <a:pt x="320" y="267"/>
                  <a:pt x="314" y="264"/>
                </a:cubicBezTo>
                <a:cubicBezTo>
                  <a:pt x="313" y="263"/>
                  <a:pt x="311" y="263"/>
                  <a:pt x="310" y="262"/>
                </a:cubicBezTo>
                <a:cubicBezTo>
                  <a:pt x="311" y="262"/>
                  <a:pt x="312" y="262"/>
                  <a:pt x="313" y="262"/>
                </a:cubicBezTo>
                <a:cubicBezTo>
                  <a:pt x="318" y="265"/>
                  <a:pt x="323" y="267"/>
                  <a:pt x="329" y="269"/>
                </a:cubicBezTo>
                <a:cubicBezTo>
                  <a:pt x="328" y="269"/>
                  <a:pt x="328" y="269"/>
                  <a:pt x="328" y="268"/>
                </a:cubicBezTo>
                <a:cubicBezTo>
                  <a:pt x="328" y="269"/>
                  <a:pt x="329" y="269"/>
                  <a:pt x="329" y="269"/>
                </a:cubicBezTo>
                <a:cubicBezTo>
                  <a:pt x="335" y="272"/>
                  <a:pt x="342" y="275"/>
                  <a:pt x="348" y="279"/>
                </a:cubicBezTo>
                <a:cubicBezTo>
                  <a:pt x="354" y="281"/>
                  <a:pt x="361" y="284"/>
                  <a:pt x="367" y="287"/>
                </a:cubicBezTo>
                <a:cubicBezTo>
                  <a:pt x="377" y="291"/>
                  <a:pt x="387" y="296"/>
                  <a:pt x="396" y="300"/>
                </a:cubicBezTo>
                <a:cubicBezTo>
                  <a:pt x="398" y="301"/>
                  <a:pt x="401" y="303"/>
                  <a:pt x="404" y="304"/>
                </a:cubicBezTo>
                <a:cubicBezTo>
                  <a:pt x="409" y="307"/>
                  <a:pt x="418" y="310"/>
                  <a:pt x="424" y="314"/>
                </a:cubicBezTo>
                <a:cubicBezTo>
                  <a:pt x="425" y="315"/>
                  <a:pt x="429" y="316"/>
                  <a:pt x="432" y="318"/>
                </a:cubicBezTo>
                <a:cubicBezTo>
                  <a:pt x="433" y="317"/>
                  <a:pt x="428" y="315"/>
                  <a:pt x="426" y="314"/>
                </a:cubicBezTo>
                <a:cubicBezTo>
                  <a:pt x="426" y="314"/>
                  <a:pt x="426" y="314"/>
                  <a:pt x="426" y="314"/>
                </a:cubicBezTo>
                <a:cubicBezTo>
                  <a:pt x="428" y="313"/>
                  <a:pt x="429" y="313"/>
                  <a:pt x="436" y="315"/>
                </a:cubicBezTo>
                <a:cubicBezTo>
                  <a:pt x="434" y="314"/>
                  <a:pt x="434" y="312"/>
                  <a:pt x="430" y="311"/>
                </a:cubicBezTo>
                <a:cubicBezTo>
                  <a:pt x="428" y="311"/>
                  <a:pt x="431" y="313"/>
                  <a:pt x="426" y="311"/>
                </a:cubicBezTo>
                <a:cubicBezTo>
                  <a:pt x="422" y="310"/>
                  <a:pt x="423" y="309"/>
                  <a:pt x="420" y="308"/>
                </a:cubicBezTo>
                <a:cubicBezTo>
                  <a:pt x="420" y="307"/>
                  <a:pt x="425" y="307"/>
                  <a:pt x="425" y="307"/>
                </a:cubicBezTo>
                <a:cubicBezTo>
                  <a:pt x="434" y="309"/>
                  <a:pt x="425" y="307"/>
                  <a:pt x="426" y="306"/>
                </a:cubicBezTo>
                <a:cubicBezTo>
                  <a:pt x="425" y="306"/>
                  <a:pt x="426" y="306"/>
                  <a:pt x="427" y="306"/>
                </a:cubicBezTo>
                <a:cubicBezTo>
                  <a:pt x="427" y="306"/>
                  <a:pt x="428" y="306"/>
                  <a:pt x="429" y="306"/>
                </a:cubicBezTo>
                <a:cubicBezTo>
                  <a:pt x="430" y="306"/>
                  <a:pt x="432" y="307"/>
                  <a:pt x="434" y="308"/>
                </a:cubicBezTo>
                <a:cubicBezTo>
                  <a:pt x="436" y="309"/>
                  <a:pt x="438" y="310"/>
                  <a:pt x="440" y="311"/>
                </a:cubicBezTo>
                <a:cubicBezTo>
                  <a:pt x="444" y="314"/>
                  <a:pt x="452" y="317"/>
                  <a:pt x="460" y="320"/>
                </a:cubicBezTo>
                <a:cubicBezTo>
                  <a:pt x="453" y="317"/>
                  <a:pt x="449" y="314"/>
                  <a:pt x="441" y="311"/>
                </a:cubicBezTo>
                <a:cubicBezTo>
                  <a:pt x="439" y="310"/>
                  <a:pt x="437" y="309"/>
                  <a:pt x="434" y="308"/>
                </a:cubicBezTo>
                <a:cubicBezTo>
                  <a:pt x="433" y="307"/>
                  <a:pt x="431" y="306"/>
                  <a:pt x="429" y="305"/>
                </a:cubicBezTo>
                <a:cubicBezTo>
                  <a:pt x="431" y="305"/>
                  <a:pt x="429" y="304"/>
                  <a:pt x="430" y="303"/>
                </a:cubicBezTo>
                <a:cubicBezTo>
                  <a:pt x="434" y="303"/>
                  <a:pt x="436" y="305"/>
                  <a:pt x="438" y="306"/>
                </a:cubicBezTo>
                <a:cubicBezTo>
                  <a:pt x="449" y="312"/>
                  <a:pt x="460" y="317"/>
                  <a:pt x="471" y="323"/>
                </a:cubicBezTo>
                <a:cubicBezTo>
                  <a:pt x="472" y="324"/>
                  <a:pt x="473" y="325"/>
                  <a:pt x="475" y="325"/>
                </a:cubicBezTo>
                <a:cubicBezTo>
                  <a:pt x="476" y="326"/>
                  <a:pt x="479" y="328"/>
                  <a:pt x="482" y="329"/>
                </a:cubicBezTo>
                <a:cubicBezTo>
                  <a:pt x="482" y="329"/>
                  <a:pt x="482" y="329"/>
                  <a:pt x="482" y="329"/>
                </a:cubicBezTo>
                <a:cubicBezTo>
                  <a:pt x="482" y="329"/>
                  <a:pt x="483" y="329"/>
                  <a:pt x="483" y="330"/>
                </a:cubicBezTo>
                <a:cubicBezTo>
                  <a:pt x="485" y="331"/>
                  <a:pt x="487" y="332"/>
                  <a:pt x="490" y="334"/>
                </a:cubicBezTo>
                <a:cubicBezTo>
                  <a:pt x="491" y="335"/>
                  <a:pt x="491" y="336"/>
                  <a:pt x="498" y="339"/>
                </a:cubicBezTo>
                <a:cubicBezTo>
                  <a:pt x="505" y="341"/>
                  <a:pt x="509" y="344"/>
                  <a:pt x="507" y="346"/>
                </a:cubicBezTo>
                <a:cubicBezTo>
                  <a:pt x="507" y="346"/>
                  <a:pt x="505" y="346"/>
                  <a:pt x="506" y="347"/>
                </a:cubicBezTo>
                <a:cubicBezTo>
                  <a:pt x="509" y="348"/>
                  <a:pt x="512" y="348"/>
                  <a:pt x="515" y="349"/>
                </a:cubicBezTo>
                <a:cubicBezTo>
                  <a:pt x="517" y="349"/>
                  <a:pt x="518" y="350"/>
                  <a:pt x="519" y="351"/>
                </a:cubicBezTo>
                <a:cubicBezTo>
                  <a:pt x="519" y="351"/>
                  <a:pt x="520" y="351"/>
                  <a:pt x="520" y="351"/>
                </a:cubicBezTo>
                <a:cubicBezTo>
                  <a:pt x="523" y="353"/>
                  <a:pt x="525" y="354"/>
                  <a:pt x="528" y="356"/>
                </a:cubicBezTo>
                <a:cubicBezTo>
                  <a:pt x="529" y="357"/>
                  <a:pt x="530" y="357"/>
                  <a:pt x="533" y="358"/>
                </a:cubicBezTo>
                <a:cubicBezTo>
                  <a:pt x="533" y="357"/>
                  <a:pt x="531" y="357"/>
                  <a:pt x="529" y="356"/>
                </a:cubicBezTo>
                <a:cubicBezTo>
                  <a:pt x="529" y="356"/>
                  <a:pt x="529" y="355"/>
                  <a:pt x="529" y="355"/>
                </a:cubicBezTo>
                <a:cubicBezTo>
                  <a:pt x="529" y="355"/>
                  <a:pt x="530" y="355"/>
                  <a:pt x="530" y="355"/>
                </a:cubicBezTo>
                <a:cubicBezTo>
                  <a:pt x="531" y="355"/>
                  <a:pt x="531" y="355"/>
                  <a:pt x="531" y="356"/>
                </a:cubicBezTo>
                <a:cubicBezTo>
                  <a:pt x="533" y="357"/>
                  <a:pt x="533" y="357"/>
                  <a:pt x="537" y="359"/>
                </a:cubicBezTo>
                <a:cubicBezTo>
                  <a:pt x="537" y="358"/>
                  <a:pt x="535" y="357"/>
                  <a:pt x="532" y="356"/>
                </a:cubicBezTo>
                <a:cubicBezTo>
                  <a:pt x="531" y="355"/>
                  <a:pt x="530" y="354"/>
                  <a:pt x="528" y="354"/>
                </a:cubicBezTo>
                <a:cubicBezTo>
                  <a:pt x="529" y="353"/>
                  <a:pt x="526" y="352"/>
                  <a:pt x="525" y="351"/>
                </a:cubicBezTo>
                <a:cubicBezTo>
                  <a:pt x="525" y="351"/>
                  <a:pt x="525" y="351"/>
                  <a:pt x="524" y="350"/>
                </a:cubicBezTo>
                <a:cubicBezTo>
                  <a:pt x="521" y="349"/>
                  <a:pt x="520" y="348"/>
                  <a:pt x="517" y="347"/>
                </a:cubicBezTo>
                <a:cubicBezTo>
                  <a:pt x="517" y="346"/>
                  <a:pt x="514" y="345"/>
                  <a:pt x="512" y="344"/>
                </a:cubicBezTo>
                <a:cubicBezTo>
                  <a:pt x="511" y="343"/>
                  <a:pt x="509" y="342"/>
                  <a:pt x="509" y="341"/>
                </a:cubicBezTo>
                <a:cubicBezTo>
                  <a:pt x="509" y="341"/>
                  <a:pt x="509" y="341"/>
                  <a:pt x="509" y="341"/>
                </a:cubicBezTo>
                <a:cubicBezTo>
                  <a:pt x="510" y="341"/>
                  <a:pt x="511" y="341"/>
                  <a:pt x="510" y="341"/>
                </a:cubicBezTo>
                <a:cubicBezTo>
                  <a:pt x="509" y="340"/>
                  <a:pt x="507" y="340"/>
                  <a:pt x="506" y="340"/>
                </a:cubicBezTo>
                <a:cubicBezTo>
                  <a:pt x="500" y="337"/>
                  <a:pt x="501" y="336"/>
                  <a:pt x="496" y="334"/>
                </a:cubicBezTo>
                <a:cubicBezTo>
                  <a:pt x="495" y="333"/>
                  <a:pt x="491" y="331"/>
                  <a:pt x="491" y="330"/>
                </a:cubicBezTo>
                <a:cubicBezTo>
                  <a:pt x="500" y="334"/>
                  <a:pt x="508" y="338"/>
                  <a:pt x="514" y="341"/>
                </a:cubicBezTo>
                <a:cubicBezTo>
                  <a:pt x="514" y="342"/>
                  <a:pt x="514" y="342"/>
                  <a:pt x="516" y="343"/>
                </a:cubicBezTo>
                <a:cubicBezTo>
                  <a:pt x="518" y="344"/>
                  <a:pt x="520" y="345"/>
                  <a:pt x="523" y="346"/>
                </a:cubicBezTo>
                <a:cubicBezTo>
                  <a:pt x="522" y="345"/>
                  <a:pt x="521" y="344"/>
                  <a:pt x="519" y="343"/>
                </a:cubicBezTo>
                <a:cubicBezTo>
                  <a:pt x="518" y="342"/>
                  <a:pt x="517" y="342"/>
                  <a:pt x="516" y="342"/>
                </a:cubicBezTo>
                <a:cubicBezTo>
                  <a:pt x="516" y="341"/>
                  <a:pt x="513" y="340"/>
                  <a:pt x="513" y="339"/>
                </a:cubicBezTo>
                <a:cubicBezTo>
                  <a:pt x="514" y="339"/>
                  <a:pt x="515" y="340"/>
                  <a:pt x="517" y="340"/>
                </a:cubicBezTo>
                <a:cubicBezTo>
                  <a:pt x="519" y="341"/>
                  <a:pt x="517" y="340"/>
                  <a:pt x="517" y="339"/>
                </a:cubicBezTo>
                <a:cubicBezTo>
                  <a:pt x="514" y="338"/>
                  <a:pt x="511" y="337"/>
                  <a:pt x="507" y="336"/>
                </a:cubicBezTo>
                <a:cubicBezTo>
                  <a:pt x="505" y="334"/>
                  <a:pt x="501" y="332"/>
                  <a:pt x="496" y="330"/>
                </a:cubicBezTo>
                <a:cubicBezTo>
                  <a:pt x="492" y="328"/>
                  <a:pt x="499" y="328"/>
                  <a:pt x="499" y="327"/>
                </a:cubicBezTo>
                <a:cubicBezTo>
                  <a:pt x="500" y="327"/>
                  <a:pt x="501" y="327"/>
                  <a:pt x="503" y="328"/>
                </a:cubicBezTo>
                <a:cubicBezTo>
                  <a:pt x="507" y="330"/>
                  <a:pt x="511" y="332"/>
                  <a:pt x="513" y="333"/>
                </a:cubicBezTo>
                <a:cubicBezTo>
                  <a:pt x="511" y="334"/>
                  <a:pt x="509" y="333"/>
                  <a:pt x="507" y="332"/>
                </a:cubicBezTo>
                <a:cubicBezTo>
                  <a:pt x="509" y="333"/>
                  <a:pt x="510" y="335"/>
                  <a:pt x="514" y="335"/>
                </a:cubicBezTo>
                <a:cubicBezTo>
                  <a:pt x="517" y="336"/>
                  <a:pt x="514" y="334"/>
                  <a:pt x="515" y="334"/>
                </a:cubicBezTo>
                <a:cubicBezTo>
                  <a:pt x="520" y="335"/>
                  <a:pt x="520" y="335"/>
                  <a:pt x="518" y="333"/>
                </a:cubicBezTo>
                <a:cubicBezTo>
                  <a:pt x="514" y="331"/>
                  <a:pt x="510" y="329"/>
                  <a:pt x="506" y="327"/>
                </a:cubicBezTo>
                <a:cubicBezTo>
                  <a:pt x="505" y="326"/>
                  <a:pt x="501" y="325"/>
                  <a:pt x="502" y="325"/>
                </a:cubicBezTo>
                <a:cubicBezTo>
                  <a:pt x="506" y="325"/>
                  <a:pt x="502" y="324"/>
                  <a:pt x="503" y="323"/>
                </a:cubicBezTo>
                <a:cubicBezTo>
                  <a:pt x="506" y="324"/>
                  <a:pt x="507" y="325"/>
                  <a:pt x="509" y="325"/>
                </a:cubicBezTo>
                <a:cubicBezTo>
                  <a:pt x="515" y="326"/>
                  <a:pt x="516" y="328"/>
                  <a:pt x="523" y="330"/>
                </a:cubicBezTo>
                <a:cubicBezTo>
                  <a:pt x="522" y="329"/>
                  <a:pt x="517" y="328"/>
                  <a:pt x="517" y="327"/>
                </a:cubicBezTo>
                <a:cubicBezTo>
                  <a:pt x="517" y="325"/>
                  <a:pt x="507" y="323"/>
                  <a:pt x="510" y="321"/>
                </a:cubicBezTo>
                <a:cubicBezTo>
                  <a:pt x="511" y="322"/>
                  <a:pt x="512" y="322"/>
                  <a:pt x="513" y="323"/>
                </a:cubicBezTo>
                <a:cubicBezTo>
                  <a:pt x="513" y="324"/>
                  <a:pt x="521" y="326"/>
                  <a:pt x="524" y="328"/>
                </a:cubicBezTo>
                <a:cubicBezTo>
                  <a:pt x="523" y="327"/>
                  <a:pt x="521" y="325"/>
                  <a:pt x="517" y="324"/>
                </a:cubicBezTo>
                <a:cubicBezTo>
                  <a:pt x="513" y="322"/>
                  <a:pt x="509" y="319"/>
                  <a:pt x="504" y="317"/>
                </a:cubicBezTo>
                <a:cubicBezTo>
                  <a:pt x="509" y="319"/>
                  <a:pt x="513" y="320"/>
                  <a:pt x="518" y="322"/>
                </a:cubicBezTo>
                <a:cubicBezTo>
                  <a:pt x="518" y="323"/>
                  <a:pt x="519" y="323"/>
                  <a:pt x="521" y="325"/>
                </a:cubicBezTo>
                <a:cubicBezTo>
                  <a:pt x="523" y="324"/>
                  <a:pt x="523" y="324"/>
                  <a:pt x="521" y="322"/>
                </a:cubicBezTo>
                <a:cubicBezTo>
                  <a:pt x="521" y="322"/>
                  <a:pt x="520" y="322"/>
                  <a:pt x="520" y="321"/>
                </a:cubicBezTo>
                <a:cubicBezTo>
                  <a:pt x="514" y="316"/>
                  <a:pt x="507" y="311"/>
                  <a:pt x="498" y="305"/>
                </a:cubicBezTo>
                <a:cubicBezTo>
                  <a:pt x="499" y="306"/>
                  <a:pt x="500" y="306"/>
                  <a:pt x="500" y="306"/>
                </a:cubicBezTo>
                <a:cubicBezTo>
                  <a:pt x="508" y="311"/>
                  <a:pt x="517" y="315"/>
                  <a:pt x="525" y="320"/>
                </a:cubicBezTo>
                <a:cubicBezTo>
                  <a:pt x="530" y="323"/>
                  <a:pt x="536" y="326"/>
                  <a:pt x="542" y="329"/>
                </a:cubicBezTo>
                <a:cubicBezTo>
                  <a:pt x="542" y="278"/>
                  <a:pt x="542" y="278"/>
                  <a:pt x="542" y="278"/>
                </a:cubicBezTo>
                <a:cubicBezTo>
                  <a:pt x="542" y="277"/>
                  <a:pt x="541" y="277"/>
                  <a:pt x="541" y="277"/>
                </a:cubicBezTo>
                <a:cubicBezTo>
                  <a:pt x="540" y="276"/>
                  <a:pt x="539" y="275"/>
                  <a:pt x="538" y="275"/>
                </a:cubicBezTo>
                <a:cubicBezTo>
                  <a:pt x="538" y="274"/>
                  <a:pt x="537" y="274"/>
                  <a:pt x="536" y="274"/>
                </a:cubicBezTo>
                <a:cubicBezTo>
                  <a:pt x="538" y="273"/>
                  <a:pt x="540" y="273"/>
                  <a:pt x="542" y="274"/>
                </a:cubicBezTo>
                <a:cubicBezTo>
                  <a:pt x="542" y="256"/>
                  <a:pt x="542" y="256"/>
                  <a:pt x="542" y="256"/>
                </a:cubicBezTo>
                <a:cubicBezTo>
                  <a:pt x="542" y="256"/>
                  <a:pt x="542" y="256"/>
                  <a:pt x="542" y="255"/>
                </a:cubicBezTo>
                <a:cubicBezTo>
                  <a:pt x="541" y="255"/>
                  <a:pt x="541" y="254"/>
                  <a:pt x="541" y="254"/>
                </a:cubicBezTo>
                <a:cubicBezTo>
                  <a:pt x="541" y="254"/>
                  <a:pt x="541" y="254"/>
                  <a:pt x="542" y="254"/>
                </a:cubicBezTo>
                <a:cubicBezTo>
                  <a:pt x="542" y="254"/>
                  <a:pt x="542" y="254"/>
                  <a:pt x="542" y="254"/>
                </a:cubicBezTo>
                <a:cubicBezTo>
                  <a:pt x="542" y="237"/>
                  <a:pt x="542" y="237"/>
                  <a:pt x="542" y="237"/>
                </a:cubicBezTo>
                <a:cubicBezTo>
                  <a:pt x="542" y="237"/>
                  <a:pt x="542" y="237"/>
                  <a:pt x="542" y="236"/>
                </a:cubicBezTo>
                <a:cubicBezTo>
                  <a:pt x="542" y="236"/>
                  <a:pt x="542" y="236"/>
                  <a:pt x="542" y="236"/>
                </a:cubicBezTo>
                <a:cubicBezTo>
                  <a:pt x="542" y="207"/>
                  <a:pt x="542" y="207"/>
                  <a:pt x="542" y="207"/>
                </a:cubicBezTo>
                <a:cubicBezTo>
                  <a:pt x="542" y="207"/>
                  <a:pt x="542" y="207"/>
                  <a:pt x="542" y="207"/>
                </a:cubicBezTo>
                <a:cubicBezTo>
                  <a:pt x="542" y="206"/>
                  <a:pt x="542" y="206"/>
                  <a:pt x="542" y="206"/>
                </a:cubicBezTo>
                <a:cubicBezTo>
                  <a:pt x="542" y="206"/>
                  <a:pt x="542" y="206"/>
                  <a:pt x="542" y="206"/>
                </a:cubicBezTo>
                <a:cubicBezTo>
                  <a:pt x="542" y="193"/>
                  <a:pt x="542" y="193"/>
                  <a:pt x="542" y="193"/>
                </a:cubicBezTo>
                <a:cubicBezTo>
                  <a:pt x="542" y="193"/>
                  <a:pt x="542" y="193"/>
                  <a:pt x="542" y="193"/>
                </a:cubicBezTo>
                <a:cubicBezTo>
                  <a:pt x="542" y="192"/>
                  <a:pt x="542" y="192"/>
                  <a:pt x="542" y="192"/>
                </a:cubicBezTo>
                <a:cubicBezTo>
                  <a:pt x="542" y="192"/>
                  <a:pt x="542" y="192"/>
                  <a:pt x="542" y="192"/>
                </a:cubicBezTo>
                <a:cubicBezTo>
                  <a:pt x="542" y="148"/>
                  <a:pt x="542" y="148"/>
                  <a:pt x="542" y="148"/>
                </a:cubicBezTo>
                <a:cubicBezTo>
                  <a:pt x="540" y="147"/>
                  <a:pt x="538" y="146"/>
                  <a:pt x="537" y="145"/>
                </a:cubicBezTo>
                <a:cubicBezTo>
                  <a:pt x="539" y="146"/>
                  <a:pt x="541" y="146"/>
                  <a:pt x="542" y="147"/>
                </a:cubicBezTo>
                <a:cubicBezTo>
                  <a:pt x="542" y="144"/>
                  <a:pt x="542" y="144"/>
                  <a:pt x="542" y="144"/>
                </a:cubicBezTo>
                <a:cubicBezTo>
                  <a:pt x="542" y="144"/>
                  <a:pt x="542" y="144"/>
                  <a:pt x="542" y="144"/>
                </a:cubicBezTo>
                <a:cubicBezTo>
                  <a:pt x="542" y="144"/>
                  <a:pt x="542" y="144"/>
                  <a:pt x="542" y="144"/>
                </a:cubicBezTo>
                <a:close/>
              </a:path>
            </a:pathLst>
          </a:custGeom>
          <a:solidFill>
            <a:schemeClr val="tx1">
              <a:alpha val="70000"/>
            </a:schemeClr>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14" name="Group 13"/>
          <p:cNvGrpSpPr/>
          <p:nvPr/>
        </p:nvGrpSpPr>
        <p:grpSpPr>
          <a:xfrm>
            <a:off x="3807111" y="2897653"/>
            <a:ext cx="4577779" cy="1062695"/>
            <a:chOff x="576775" y="2897653"/>
            <a:chExt cx="4577779" cy="1062695"/>
          </a:xfrm>
        </p:grpSpPr>
        <p:pic>
          <p:nvPicPr>
            <p:cNvPr id="12" name="Picture 11"/>
            <p:cNvPicPr>
              <a:picLocks noChangeAspect="1"/>
            </p:cNvPicPr>
            <p:nvPr/>
          </p:nvPicPr>
          <p:blipFill rotWithShape="1">
            <a:blip r:embed="rId4">
              <a:extLst>
                <a:ext uri="{28A0092B-C50C-407E-A947-70E740481C1C}">
                  <a14:useLocalDpi xmlns:a14="http://schemas.microsoft.com/office/drawing/2010/main"/>
                </a:ext>
              </a:extLst>
            </a:blip>
            <a:srcRect l="35690" t="44951" r="29720" b="44305"/>
            <a:stretch/>
          </p:blipFill>
          <p:spPr>
            <a:xfrm>
              <a:off x="1702689" y="2897653"/>
              <a:ext cx="2325950" cy="736846"/>
            </a:xfrm>
            <a:prstGeom prst="rect">
              <a:avLst/>
            </a:prstGeom>
            <a:effectLst>
              <a:outerShdw blurRad="50800" dist="38100" dir="5400000" algn="t" rotWithShape="0">
                <a:prstClr val="black">
                  <a:alpha val="40000"/>
                </a:prstClr>
              </a:outerShdw>
            </a:effectLst>
          </p:spPr>
        </p:pic>
        <p:sp>
          <p:nvSpPr>
            <p:cNvPr id="13" name="Title 1"/>
            <p:cNvSpPr txBox="1">
              <a:spLocks/>
            </p:cNvSpPr>
            <p:nvPr/>
          </p:nvSpPr>
          <p:spPr>
            <a:xfrm>
              <a:off x="576775" y="3652571"/>
              <a:ext cx="4577779" cy="307777"/>
            </a:xfrm>
            <a:prstGeom prst="rect">
              <a:avLst/>
            </a:prstGeom>
          </p:spPr>
          <p:txBody>
            <a:bodyPr wrap="square" lIns="0" tIns="0" rIns="0" bIns="0" anchor="t">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lnSpc>
                  <a:spcPct val="100000"/>
                </a:lnSpc>
              </a:pPr>
              <a:r>
                <a:rPr lang="en-US" sz="2000" dirty="0">
                  <a:solidFill>
                    <a:schemeClr val="bg1"/>
                  </a:solidFill>
                  <a:ea typeface="Segoe UI" panose="020B0502040204020203" pitchFamily="34" charset="0"/>
                  <a:cs typeface="Segoe UI" panose="020B0502040204020203" pitchFamily="34" charset="0"/>
                </a:rPr>
                <a:t>- PowerPoint Presentation -</a:t>
              </a:r>
            </a:p>
          </p:txBody>
        </p:sp>
      </p:grpSp>
      <p:sp>
        <p:nvSpPr>
          <p:cNvPr id="15" name="Rectangle 14"/>
          <p:cNvSpPr/>
          <p:nvPr/>
        </p:nvSpPr>
        <p:spPr>
          <a:xfrm>
            <a:off x="5167313" y="4173539"/>
            <a:ext cx="571500" cy="55562"/>
          </a:xfrm>
          <a:prstGeom prst="rect">
            <a:avLst/>
          </a:prstGeom>
          <a:solidFill>
            <a:srgbClr val="E258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p:cNvSpPr/>
          <p:nvPr/>
        </p:nvSpPr>
        <p:spPr>
          <a:xfrm>
            <a:off x="5810250" y="4173539"/>
            <a:ext cx="571500" cy="55562"/>
          </a:xfrm>
          <a:prstGeom prst="rect">
            <a:avLst/>
          </a:prstGeom>
          <a:solidFill>
            <a:srgbClr val="78D2D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p:cNvSpPr/>
          <p:nvPr/>
        </p:nvSpPr>
        <p:spPr>
          <a:xfrm>
            <a:off x="6453187" y="4173539"/>
            <a:ext cx="571500" cy="55562"/>
          </a:xfrm>
          <a:prstGeom prst="rect">
            <a:avLst/>
          </a:prstGeom>
          <a:solidFill>
            <a:srgbClr val="3B393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83129893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3" name="Rectangle 102"/>
          <p:cNvSpPr/>
          <p:nvPr/>
        </p:nvSpPr>
        <p:spPr>
          <a:xfrm>
            <a:off x="12344400" y="0"/>
            <a:ext cx="469900" cy="469900"/>
          </a:xfrm>
          <a:prstGeom prst="rect">
            <a:avLst/>
          </a:prstGeom>
          <a:solidFill>
            <a:srgbClr val="E7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4" name="Rectangle 103"/>
          <p:cNvSpPr/>
          <p:nvPr/>
        </p:nvSpPr>
        <p:spPr>
          <a:xfrm>
            <a:off x="12344400" y="649557"/>
            <a:ext cx="469900" cy="469900"/>
          </a:xfrm>
          <a:prstGeom prst="rect">
            <a:avLst/>
          </a:prstGeom>
          <a:solidFill>
            <a:srgbClr val="AFABA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5" name="Rectangle 104"/>
          <p:cNvSpPr/>
          <p:nvPr/>
        </p:nvSpPr>
        <p:spPr>
          <a:xfrm>
            <a:off x="12344400" y="1299114"/>
            <a:ext cx="469900" cy="469900"/>
          </a:xfrm>
          <a:prstGeom prst="rect">
            <a:avLst/>
          </a:prstGeom>
          <a:solidFill>
            <a:srgbClr val="76717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7" name="Rectangle 106"/>
          <p:cNvSpPr/>
          <p:nvPr/>
        </p:nvSpPr>
        <p:spPr>
          <a:xfrm>
            <a:off x="12966699" y="0"/>
            <a:ext cx="469900" cy="469900"/>
          </a:xfrm>
          <a:prstGeom prst="rect">
            <a:avLst/>
          </a:prstGeom>
          <a:solidFill>
            <a:srgbClr val="E8786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8" name="Rectangle 107"/>
          <p:cNvSpPr/>
          <p:nvPr/>
        </p:nvSpPr>
        <p:spPr>
          <a:xfrm>
            <a:off x="12966699" y="649557"/>
            <a:ext cx="469900" cy="469900"/>
          </a:xfrm>
          <a:prstGeom prst="rect">
            <a:avLst/>
          </a:prstGeom>
          <a:solidFill>
            <a:srgbClr val="E258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9" name="Rectangle 108"/>
          <p:cNvSpPr/>
          <p:nvPr/>
        </p:nvSpPr>
        <p:spPr>
          <a:xfrm>
            <a:off x="12966699" y="1299114"/>
            <a:ext cx="469900" cy="469900"/>
          </a:xfrm>
          <a:prstGeom prst="rect">
            <a:avLst/>
          </a:prstGeom>
          <a:solidFill>
            <a:srgbClr val="D63E2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0" name="Rectangle 109"/>
          <p:cNvSpPr/>
          <p:nvPr/>
        </p:nvSpPr>
        <p:spPr>
          <a:xfrm>
            <a:off x="13588998" y="0"/>
            <a:ext cx="469900" cy="469900"/>
          </a:xfrm>
          <a:prstGeom prst="rect">
            <a:avLst/>
          </a:prstGeom>
          <a:solidFill>
            <a:srgbClr val="8EDCD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1" name="Rectangle 110"/>
          <p:cNvSpPr/>
          <p:nvPr/>
        </p:nvSpPr>
        <p:spPr>
          <a:xfrm>
            <a:off x="13588998" y="649557"/>
            <a:ext cx="469900" cy="469900"/>
          </a:xfrm>
          <a:prstGeom prst="rect">
            <a:avLst/>
          </a:prstGeom>
          <a:solidFill>
            <a:srgbClr val="78D2D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2" name="Rectangle 111"/>
          <p:cNvSpPr/>
          <p:nvPr/>
        </p:nvSpPr>
        <p:spPr>
          <a:xfrm>
            <a:off x="13588998" y="1299114"/>
            <a:ext cx="469900" cy="469900"/>
          </a:xfrm>
          <a:prstGeom prst="rect">
            <a:avLst/>
          </a:prstGeom>
          <a:solidFill>
            <a:srgbClr val="4CC7C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3" name="Rectangle 112"/>
          <p:cNvSpPr/>
          <p:nvPr/>
        </p:nvSpPr>
        <p:spPr>
          <a:xfrm>
            <a:off x="14211297" y="0"/>
            <a:ext cx="469900" cy="469900"/>
          </a:xfrm>
          <a:prstGeom prst="rect">
            <a:avLst/>
          </a:prstGeom>
          <a:solidFill>
            <a:srgbClr val="55535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4" name="Rectangle 113"/>
          <p:cNvSpPr/>
          <p:nvPr/>
        </p:nvSpPr>
        <p:spPr>
          <a:xfrm>
            <a:off x="14211297" y="649557"/>
            <a:ext cx="469900" cy="469900"/>
          </a:xfrm>
          <a:prstGeom prst="rect">
            <a:avLst/>
          </a:prstGeom>
          <a:solidFill>
            <a:srgbClr val="3B393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5" name="Rectangle 114"/>
          <p:cNvSpPr/>
          <p:nvPr/>
        </p:nvSpPr>
        <p:spPr>
          <a:xfrm>
            <a:off x="14211297" y="1299114"/>
            <a:ext cx="469900" cy="469900"/>
          </a:xfrm>
          <a:prstGeom prst="rect">
            <a:avLst/>
          </a:prstGeom>
          <a:solidFill>
            <a:srgbClr val="25232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0" name="Text Placeholder 119"/>
          <p:cNvSpPr>
            <a:spLocks noGrp="1"/>
          </p:cNvSpPr>
          <p:nvPr>
            <p:ph type="body" sz="quarter" idx="13"/>
          </p:nvPr>
        </p:nvSpPr>
        <p:spPr>
          <a:xfrm>
            <a:off x="3107788" y="360971"/>
            <a:ext cx="5976424" cy="535531"/>
          </a:xfrm>
        </p:spPr>
        <p:txBody>
          <a:bodyPr/>
          <a:lstStyle/>
          <a:p>
            <a:r>
              <a:rPr lang="en-US" sz="3200" dirty="0"/>
              <a:t>PowerPoint Presentation</a:t>
            </a:r>
          </a:p>
        </p:txBody>
      </p:sp>
      <p:sp>
        <p:nvSpPr>
          <p:cNvPr id="116" name="Date Placeholder 115"/>
          <p:cNvSpPr>
            <a:spLocks noGrp="1"/>
          </p:cNvSpPr>
          <p:nvPr>
            <p:ph type="dt" sz="half" idx="10"/>
          </p:nvPr>
        </p:nvSpPr>
        <p:spPr/>
        <p:txBody>
          <a:bodyPr/>
          <a:lstStyle/>
          <a:p>
            <a:fld id="{56E1B330-CB56-448E-9C70-830A2B9C05C8}" type="datetime1">
              <a:rPr lang="en-US" smtClean="0"/>
              <a:t>10/28/2022</a:t>
            </a:fld>
            <a:endParaRPr lang="en-US"/>
          </a:p>
        </p:txBody>
      </p:sp>
      <p:sp>
        <p:nvSpPr>
          <p:cNvPr id="117" name="Slide Number Placeholder 116"/>
          <p:cNvSpPr>
            <a:spLocks noGrp="1"/>
          </p:cNvSpPr>
          <p:nvPr>
            <p:ph type="sldNum" sz="quarter" idx="12"/>
          </p:nvPr>
        </p:nvSpPr>
        <p:spPr/>
        <p:txBody>
          <a:bodyPr/>
          <a:lstStyle/>
          <a:p>
            <a:fld id="{03206E70-9524-410D-AE9B-78D656EAA14D}" type="slidenum">
              <a:rPr lang="en-US" smtClean="0"/>
              <a:pPr/>
              <a:t>10</a:t>
            </a:fld>
            <a:endParaRPr lang="en-US"/>
          </a:p>
        </p:txBody>
      </p:sp>
      <p:sp>
        <p:nvSpPr>
          <p:cNvPr id="2" name="Text Placeholder 1"/>
          <p:cNvSpPr>
            <a:spLocks noGrp="1"/>
          </p:cNvSpPr>
          <p:nvPr>
            <p:ph type="body" sz="quarter" idx="14"/>
          </p:nvPr>
        </p:nvSpPr>
        <p:spPr>
          <a:xfrm>
            <a:off x="1857375" y="1014880"/>
            <a:ext cx="8380505" cy="400110"/>
          </a:xfrm>
        </p:spPr>
        <p:txBody>
          <a:bodyPr/>
          <a:lstStyle/>
          <a:p>
            <a:r>
              <a:rPr lang="en-US" dirty="0"/>
              <a:t>Lorem Ipsum is simply dummy text of the printing and typesetting industry. Lorem Ipsum has been the industry's standard dummy text ever since the 1500s, when an unknown printer took a galley of type and scrambled it to make a type specimen book. </a:t>
            </a:r>
          </a:p>
        </p:txBody>
      </p:sp>
      <p:grpSp>
        <p:nvGrpSpPr>
          <p:cNvPr id="121" name="Group 120"/>
          <p:cNvGrpSpPr/>
          <p:nvPr/>
        </p:nvGrpSpPr>
        <p:grpSpPr>
          <a:xfrm>
            <a:off x="2268632" y="1620410"/>
            <a:ext cx="7654736" cy="4835249"/>
            <a:chOff x="744632" y="1603158"/>
            <a:chExt cx="7654736" cy="4835249"/>
          </a:xfrm>
        </p:grpSpPr>
        <p:grpSp>
          <p:nvGrpSpPr>
            <p:cNvPr id="136" name="Group 135"/>
            <p:cNvGrpSpPr/>
            <p:nvPr/>
          </p:nvGrpSpPr>
          <p:grpSpPr>
            <a:xfrm>
              <a:off x="2965919" y="2839741"/>
              <a:ext cx="3115790" cy="3064314"/>
              <a:chOff x="2787370" y="2311543"/>
              <a:chExt cx="3427369" cy="3370745"/>
            </a:xfrm>
          </p:grpSpPr>
          <p:sp>
            <p:nvSpPr>
              <p:cNvPr id="239" name="Freeform 52"/>
              <p:cNvSpPr>
                <a:spLocks/>
              </p:cNvSpPr>
              <p:nvPr/>
            </p:nvSpPr>
            <p:spPr bwMode="auto">
              <a:xfrm>
                <a:off x="3276995" y="3360737"/>
                <a:ext cx="1247708" cy="2321551"/>
              </a:xfrm>
              <a:custGeom>
                <a:avLst/>
                <a:gdLst>
                  <a:gd name="T0" fmla="*/ 792 w 792"/>
                  <a:gd name="T1" fmla="*/ 1302 h 1474"/>
                  <a:gd name="T2" fmla="*/ 149 w 792"/>
                  <a:gd name="T3" fmla="*/ 1185 h 1474"/>
                  <a:gd name="T4" fmla="*/ 29 w 792"/>
                  <a:gd name="T5" fmla="*/ 717 h 1474"/>
                  <a:gd name="T6" fmla="*/ 179 w 792"/>
                  <a:gd name="T7" fmla="*/ 73 h 1474"/>
                  <a:gd name="T8" fmla="*/ 608 w 792"/>
                  <a:gd name="T9" fmla="*/ 33 h 1474"/>
                  <a:gd name="T10" fmla="*/ 239 w 792"/>
                  <a:gd name="T11" fmla="*/ 966 h 1474"/>
                  <a:gd name="T12" fmla="*/ 758 w 792"/>
                  <a:gd name="T13" fmla="*/ 1290 h 1474"/>
                  <a:gd name="T14" fmla="*/ 792 w 792"/>
                  <a:gd name="T15" fmla="*/ 1302 h 147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2" h="1474">
                    <a:moveTo>
                      <a:pt x="792" y="1302"/>
                    </a:moveTo>
                    <a:cubicBezTo>
                      <a:pt x="792" y="1302"/>
                      <a:pt x="365" y="1459"/>
                      <a:pt x="149" y="1185"/>
                    </a:cubicBezTo>
                    <a:cubicBezTo>
                      <a:pt x="52" y="1062"/>
                      <a:pt x="54" y="905"/>
                      <a:pt x="29" y="717"/>
                    </a:cubicBezTo>
                    <a:cubicBezTo>
                      <a:pt x="0" y="495"/>
                      <a:pt x="95" y="219"/>
                      <a:pt x="179" y="73"/>
                    </a:cubicBezTo>
                    <a:cubicBezTo>
                      <a:pt x="179" y="73"/>
                      <a:pt x="352" y="0"/>
                      <a:pt x="608" y="33"/>
                    </a:cubicBezTo>
                    <a:cubicBezTo>
                      <a:pt x="608" y="33"/>
                      <a:pt x="216" y="534"/>
                      <a:pt x="239" y="966"/>
                    </a:cubicBezTo>
                    <a:cubicBezTo>
                      <a:pt x="239" y="966"/>
                      <a:pt x="232" y="1474"/>
                      <a:pt x="758" y="1290"/>
                    </a:cubicBezTo>
                    <a:lnTo>
                      <a:pt x="792" y="1302"/>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grpSp>
            <p:nvGrpSpPr>
              <p:cNvPr id="240" name="Group 239"/>
              <p:cNvGrpSpPr/>
              <p:nvPr/>
            </p:nvGrpSpPr>
            <p:grpSpPr>
              <a:xfrm>
                <a:off x="2983887" y="2566680"/>
                <a:ext cx="2930416" cy="3007025"/>
                <a:chOff x="2983887" y="2297131"/>
                <a:chExt cx="2930416" cy="3007025"/>
              </a:xfrm>
            </p:grpSpPr>
            <p:sp>
              <p:nvSpPr>
                <p:cNvPr id="256" name="Freeform 45"/>
                <p:cNvSpPr>
                  <a:spLocks/>
                </p:cNvSpPr>
                <p:nvPr/>
              </p:nvSpPr>
              <p:spPr bwMode="auto">
                <a:xfrm>
                  <a:off x="2983887" y="3338331"/>
                  <a:ext cx="408354" cy="836025"/>
                </a:xfrm>
                <a:custGeom>
                  <a:avLst/>
                  <a:gdLst>
                    <a:gd name="T0" fmla="*/ 215 w 259"/>
                    <a:gd name="T1" fmla="*/ 0 h 531"/>
                    <a:gd name="T2" fmla="*/ 218 w 259"/>
                    <a:gd name="T3" fmla="*/ 531 h 531"/>
                    <a:gd name="T4" fmla="*/ 259 w 259"/>
                    <a:gd name="T5" fmla="*/ 199 h 531"/>
                    <a:gd name="T6" fmla="*/ 215 w 259"/>
                    <a:gd name="T7" fmla="*/ 0 h 531"/>
                  </a:gdLst>
                  <a:ahLst/>
                  <a:cxnLst>
                    <a:cxn ang="0">
                      <a:pos x="T0" y="T1"/>
                    </a:cxn>
                    <a:cxn ang="0">
                      <a:pos x="T2" y="T3"/>
                    </a:cxn>
                    <a:cxn ang="0">
                      <a:pos x="T4" y="T5"/>
                    </a:cxn>
                    <a:cxn ang="0">
                      <a:pos x="T6" y="T7"/>
                    </a:cxn>
                  </a:cxnLst>
                  <a:rect l="0" t="0" r="r" b="b"/>
                  <a:pathLst>
                    <a:path w="259" h="531">
                      <a:moveTo>
                        <a:pt x="215" y="0"/>
                      </a:moveTo>
                      <a:cubicBezTo>
                        <a:pt x="106" y="87"/>
                        <a:pt x="0" y="257"/>
                        <a:pt x="218" y="531"/>
                      </a:cubicBezTo>
                      <a:cubicBezTo>
                        <a:pt x="202" y="384"/>
                        <a:pt x="259" y="199"/>
                        <a:pt x="259" y="199"/>
                      </a:cubicBezTo>
                      <a:cubicBezTo>
                        <a:pt x="207" y="139"/>
                        <a:pt x="215" y="0"/>
                        <a:pt x="215" y="0"/>
                      </a:cubicBezTo>
                      <a:close/>
                    </a:path>
                  </a:pathLst>
                </a:custGeom>
                <a:solidFill>
                  <a:srgbClr val="AFABAB"/>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57" name="Freeform 46"/>
                <p:cNvSpPr>
                  <a:spLocks/>
                </p:cNvSpPr>
                <p:nvPr/>
              </p:nvSpPr>
              <p:spPr bwMode="auto">
                <a:xfrm>
                  <a:off x="3699337" y="4878482"/>
                  <a:ext cx="774739" cy="425674"/>
                </a:xfrm>
                <a:custGeom>
                  <a:avLst/>
                  <a:gdLst>
                    <a:gd name="T0" fmla="*/ 0 w 492"/>
                    <a:gd name="T1" fmla="*/ 0 h 270"/>
                    <a:gd name="T2" fmla="*/ 492 w 492"/>
                    <a:gd name="T3" fmla="*/ 155 h 270"/>
                    <a:gd name="T4" fmla="*/ 208 w 492"/>
                    <a:gd name="T5" fmla="*/ 11 h 270"/>
                    <a:gd name="T6" fmla="*/ 0 w 492"/>
                    <a:gd name="T7" fmla="*/ 0 h 270"/>
                  </a:gdLst>
                  <a:ahLst/>
                  <a:cxnLst>
                    <a:cxn ang="0">
                      <a:pos x="T0" y="T1"/>
                    </a:cxn>
                    <a:cxn ang="0">
                      <a:pos x="T2" y="T3"/>
                    </a:cxn>
                    <a:cxn ang="0">
                      <a:pos x="T4" y="T5"/>
                    </a:cxn>
                    <a:cxn ang="0">
                      <a:pos x="T6" y="T7"/>
                    </a:cxn>
                  </a:cxnLst>
                  <a:rect l="0" t="0" r="r" b="b"/>
                  <a:pathLst>
                    <a:path w="492" h="270">
                      <a:moveTo>
                        <a:pt x="0" y="0"/>
                      </a:moveTo>
                      <a:cubicBezTo>
                        <a:pt x="47" y="132"/>
                        <a:pt x="161" y="270"/>
                        <a:pt x="492" y="155"/>
                      </a:cubicBezTo>
                      <a:cubicBezTo>
                        <a:pt x="362" y="106"/>
                        <a:pt x="208" y="11"/>
                        <a:pt x="208" y="11"/>
                      </a:cubicBezTo>
                      <a:cubicBezTo>
                        <a:pt x="134" y="40"/>
                        <a:pt x="1" y="0"/>
                        <a:pt x="0" y="0"/>
                      </a:cubicBezTo>
                      <a:close/>
                    </a:path>
                  </a:pathLst>
                </a:custGeom>
                <a:solidFill>
                  <a:schemeClr val="accent3">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58" name="Freeform 47"/>
                <p:cNvSpPr>
                  <a:spLocks/>
                </p:cNvSpPr>
                <p:nvPr/>
              </p:nvSpPr>
              <p:spPr bwMode="auto">
                <a:xfrm>
                  <a:off x="3869206" y="2297131"/>
                  <a:ext cx="798720" cy="645505"/>
                </a:xfrm>
                <a:custGeom>
                  <a:avLst/>
                  <a:gdLst>
                    <a:gd name="T0" fmla="*/ 507 w 507"/>
                    <a:gd name="T1" fmla="*/ 133 h 410"/>
                    <a:gd name="T2" fmla="*/ 0 w 507"/>
                    <a:gd name="T3" fmla="*/ 304 h 410"/>
                    <a:gd name="T4" fmla="*/ 328 w 507"/>
                    <a:gd name="T5" fmla="*/ 239 h 410"/>
                    <a:gd name="T6" fmla="*/ 507 w 507"/>
                    <a:gd name="T7" fmla="*/ 133 h 410"/>
                  </a:gdLst>
                  <a:ahLst/>
                  <a:cxnLst>
                    <a:cxn ang="0">
                      <a:pos x="T0" y="T1"/>
                    </a:cxn>
                    <a:cxn ang="0">
                      <a:pos x="T2" y="T3"/>
                    </a:cxn>
                    <a:cxn ang="0">
                      <a:pos x="T4" y="T5"/>
                    </a:cxn>
                    <a:cxn ang="0">
                      <a:pos x="T6" y="T7"/>
                    </a:cxn>
                  </a:cxnLst>
                  <a:rect l="0" t="0" r="r" b="b"/>
                  <a:pathLst>
                    <a:path w="507" h="410">
                      <a:moveTo>
                        <a:pt x="507" y="133"/>
                      </a:moveTo>
                      <a:cubicBezTo>
                        <a:pt x="384" y="53"/>
                        <a:pt x="200" y="0"/>
                        <a:pt x="0" y="304"/>
                      </a:cubicBezTo>
                      <a:cubicBezTo>
                        <a:pt x="238" y="410"/>
                        <a:pt x="328" y="239"/>
                        <a:pt x="328" y="239"/>
                      </a:cubicBezTo>
                      <a:cubicBezTo>
                        <a:pt x="369" y="171"/>
                        <a:pt x="507" y="133"/>
                        <a:pt x="507" y="133"/>
                      </a:cubicBezTo>
                      <a:close/>
                    </a:path>
                  </a:pathLst>
                </a:custGeom>
                <a:solidFill>
                  <a:srgbClr val="252323"/>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59" name="Freeform 48"/>
                <p:cNvSpPr>
                  <a:spLocks/>
                </p:cNvSpPr>
                <p:nvPr/>
              </p:nvSpPr>
              <p:spPr bwMode="auto">
                <a:xfrm>
                  <a:off x="5374051" y="2868692"/>
                  <a:ext cx="540252" cy="648835"/>
                </a:xfrm>
                <a:custGeom>
                  <a:avLst/>
                  <a:gdLst>
                    <a:gd name="T0" fmla="*/ 309 w 343"/>
                    <a:gd name="T1" fmla="*/ 412 h 412"/>
                    <a:gd name="T2" fmla="*/ 0 w 343"/>
                    <a:gd name="T3" fmla="*/ 0 h 412"/>
                    <a:gd name="T4" fmla="*/ 159 w 343"/>
                    <a:gd name="T5" fmla="*/ 289 h 412"/>
                    <a:gd name="T6" fmla="*/ 309 w 343"/>
                    <a:gd name="T7" fmla="*/ 412 h 412"/>
                  </a:gdLst>
                  <a:ahLst/>
                  <a:cxnLst>
                    <a:cxn ang="0">
                      <a:pos x="T0" y="T1"/>
                    </a:cxn>
                    <a:cxn ang="0">
                      <a:pos x="T2" y="T3"/>
                    </a:cxn>
                    <a:cxn ang="0">
                      <a:pos x="T4" y="T5"/>
                    </a:cxn>
                    <a:cxn ang="0">
                      <a:pos x="T6" y="T7"/>
                    </a:cxn>
                  </a:cxnLst>
                  <a:rect l="0" t="0" r="r" b="b"/>
                  <a:pathLst>
                    <a:path w="343" h="412">
                      <a:moveTo>
                        <a:pt x="309" y="412"/>
                      </a:moveTo>
                      <a:cubicBezTo>
                        <a:pt x="343" y="306"/>
                        <a:pt x="336" y="98"/>
                        <a:pt x="0" y="0"/>
                      </a:cubicBezTo>
                      <a:cubicBezTo>
                        <a:pt x="46" y="153"/>
                        <a:pt x="56" y="215"/>
                        <a:pt x="159" y="289"/>
                      </a:cubicBezTo>
                      <a:cubicBezTo>
                        <a:pt x="237" y="308"/>
                        <a:pt x="309" y="411"/>
                        <a:pt x="309" y="412"/>
                      </a:cubicBezTo>
                      <a:close/>
                    </a:path>
                  </a:pathLst>
                </a:custGeom>
                <a:solidFill>
                  <a:srgbClr val="76717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60" name="Freeform 49"/>
                <p:cNvSpPr>
                  <a:spLocks/>
                </p:cNvSpPr>
                <p:nvPr/>
              </p:nvSpPr>
              <p:spPr bwMode="auto">
                <a:xfrm>
                  <a:off x="5271463" y="4355550"/>
                  <a:ext cx="482296" cy="634845"/>
                </a:xfrm>
                <a:custGeom>
                  <a:avLst/>
                  <a:gdLst>
                    <a:gd name="T0" fmla="*/ 0 w 306"/>
                    <a:gd name="T1" fmla="*/ 403 h 403"/>
                    <a:gd name="T2" fmla="*/ 294 w 306"/>
                    <a:gd name="T3" fmla="*/ 0 h 403"/>
                    <a:gd name="T4" fmla="*/ 78 w 306"/>
                    <a:gd name="T5" fmla="*/ 219 h 403"/>
                    <a:gd name="T6" fmla="*/ 0 w 306"/>
                    <a:gd name="T7" fmla="*/ 403 h 403"/>
                  </a:gdLst>
                  <a:ahLst/>
                  <a:cxnLst>
                    <a:cxn ang="0">
                      <a:pos x="T0" y="T1"/>
                    </a:cxn>
                    <a:cxn ang="0">
                      <a:pos x="T2" y="T3"/>
                    </a:cxn>
                    <a:cxn ang="0">
                      <a:pos x="T4" y="T5"/>
                    </a:cxn>
                    <a:cxn ang="0">
                      <a:pos x="T6" y="T7"/>
                    </a:cxn>
                  </a:cxnLst>
                  <a:rect l="0" t="0" r="r" b="b"/>
                  <a:pathLst>
                    <a:path w="306" h="403">
                      <a:moveTo>
                        <a:pt x="0" y="403"/>
                      </a:moveTo>
                      <a:cubicBezTo>
                        <a:pt x="140" y="398"/>
                        <a:pt x="306" y="350"/>
                        <a:pt x="294" y="0"/>
                      </a:cubicBezTo>
                      <a:cubicBezTo>
                        <a:pt x="228" y="64"/>
                        <a:pt x="78" y="219"/>
                        <a:pt x="78" y="219"/>
                      </a:cubicBezTo>
                      <a:cubicBezTo>
                        <a:pt x="84" y="298"/>
                        <a:pt x="0" y="403"/>
                        <a:pt x="0" y="403"/>
                      </a:cubicBezTo>
                      <a:close/>
                    </a:path>
                  </a:pathLst>
                </a:cu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grpSp>
          <p:sp>
            <p:nvSpPr>
              <p:cNvPr id="241" name="Freeform 51"/>
              <p:cNvSpPr>
                <a:spLocks/>
              </p:cNvSpPr>
              <p:nvPr/>
            </p:nvSpPr>
            <p:spPr bwMode="auto">
              <a:xfrm>
                <a:off x="2787370" y="2925737"/>
                <a:ext cx="2348863" cy="1576789"/>
              </a:xfrm>
              <a:custGeom>
                <a:avLst/>
                <a:gdLst>
                  <a:gd name="T0" fmla="*/ 341 w 1491"/>
                  <a:gd name="T1" fmla="*/ 1001 h 1001"/>
                  <a:gd name="T2" fmla="*/ 235 w 1491"/>
                  <a:gd name="T3" fmla="*/ 356 h 1001"/>
                  <a:gd name="T4" fmla="*/ 665 w 1491"/>
                  <a:gd name="T5" fmla="*/ 80 h 1001"/>
                  <a:gd name="T6" fmla="*/ 1324 w 1491"/>
                  <a:gd name="T7" fmla="*/ 30 h 1001"/>
                  <a:gd name="T8" fmla="*/ 1491 w 1491"/>
                  <a:gd name="T9" fmla="*/ 412 h 1001"/>
                  <a:gd name="T10" fmla="*/ 473 w 1491"/>
                  <a:gd name="T11" fmla="*/ 360 h 1001"/>
                  <a:gd name="T12" fmla="*/ 347 w 1491"/>
                  <a:gd name="T13" fmla="*/ 966 h 1001"/>
                  <a:gd name="T14" fmla="*/ 341 w 1491"/>
                  <a:gd name="T15" fmla="*/ 1001 h 100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91" h="1001">
                    <a:moveTo>
                      <a:pt x="341" y="1001"/>
                    </a:moveTo>
                    <a:cubicBezTo>
                      <a:pt x="341" y="1001"/>
                      <a:pt x="48" y="651"/>
                      <a:pt x="235" y="356"/>
                    </a:cubicBezTo>
                    <a:cubicBezTo>
                      <a:pt x="319" y="225"/>
                      <a:pt x="482" y="135"/>
                      <a:pt x="665" y="80"/>
                    </a:cubicBezTo>
                    <a:cubicBezTo>
                      <a:pt x="891" y="13"/>
                      <a:pt x="1158" y="0"/>
                      <a:pt x="1324" y="30"/>
                    </a:cubicBezTo>
                    <a:cubicBezTo>
                      <a:pt x="1324" y="30"/>
                      <a:pt x="1462" y="194"/>
                      <a:pt x="1491" y="412"/>
                    </a:cubicBezTo>
                    <a:cubicBezTo>
                      <a:pt x="1491" y="412"/>
                      <a:pt x="847" y="221"/>
                      <a:pt x="473" y="360"/>
                    </a:cubicBezTo>
                    <a:cubicBezTo>
                      <a:pt x="473" y="360"/>
                      <a:pt x="0" y="531"/>
                      <a:pt x="347" y="966"/>
                    </a:cubicBezTo>
                    <a:lnTo>
                      <a:pt x="341" y="1001"/>
                    </a:lnTo>
                    <a:close/>
                  </a:path>
                </a:pathLst>
              </a:custGeom>
              <a:solidFill>
                <a:srgbClr val="E7E6E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grpSp>
            <p:nvGrpSpPr>
              <p:cNvPr id="242" name="Group 241"/>
              <p:cNvGrpSpPr/>
              <p:nvPr/>
            </p:nvGrpSpPr>
            <p:grpSpPr>
              <a:xfrm>
                <a:off x="3636052" y="2311543"/>
                <a:ext cx="2578687" cy="3225522"/>
                <a:chOff x="3636052" y="2311543"/>
                <a:chExt cx="2578687" cy="3225522"/>
              </a:xfrm>
            </p:grpSpPr>
            <p:sp>
              <p:nvSpPr>
                <p:cNvPr id="243" name="Line 50"/>
                <p:cNvSpPr>
                  <a:spLocks noChangeShapeType="1"/>
                </p:cNvSpPr>
                <p:nvPr/>
              </p:nvSpPr>
              <p:spPr bwMode="auto">
                <a:xfrm>
                  <a:off x="5033645" y="4497863"/>
                  <a:ext cx="0" cy="0"/>
                </a:xfrm>
                <a:prstGeom prst="line">
                  <a:avLst/>
                </a:prstGeom>
                <a:noFill/>
                <a:ln w="14288" cap="flat">
                  <a:solidFill>
                    <a:srgbClr val="ED1C2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44" name="Line 54"/>
                <p:cNvSpPr>
                  <a:spLocks noChangeShapeType="1"/>
                </p:cNvSpPr>
                <p:nvPr/>
              </p:nvSpPr>
              <p:spPr bwMode="auto">
                <a:xfrm>
                  <a:off x="3953142" y="4113492"/>
                  <a:ext cx="0" cy="0"/>
                </a:xfrm>
                <a:prstGeom prst="line">
                  <a:avLst/>
                </a:prstGeom>
                <a:noFill/>
                <a:ln w="14288" cap="flat">
                  <a:solidFill>
                    <a:srgbClr val="ED1C2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45" name="Freeform 56"/>
                <p:cNvSpPr>
                  <a:spLocks/>
                </p:cNvSpPr>
                <p:nvPr/>
              </p:nvSpPr>
              <p:spPr bwMode="auto">
                <a:xfrm>
                  <a:off x="3636052" y="4208086"/>
                  <a:ext cx="2206972" cy="1328979"/>
                </a:xfrm>
                <a:custGeom>
                  <a:avLst/>
                  <a:gdLst>
                    <a:gd name="T0" fmla="*/ 1353 w 1401"/>
                    <a:gd name="T1" fmla="*/ 229 h 844"/>
                    <a:gd name="T2" fmla="*/ 1075 w 1401"/>
                    <a:gd name="T3" fmla="*/ 789 h 844"/>
                    <a:gd name="T4" fmla="*/ 551 w 1401"/>
                    <a:gd name="T5" fmla="*/ 761 h 844"/>
                    <a:gd name="T6" fmla="*/ 9 w 1401"/>
                    <a:gd name="T7" fmla="*/ 419 h 844"/>
                    <a:gd name="T8" fmla="*/ 88 w 1401"/>
                    <a:gd name="T9" fmla="*/ 0 h 844"/>
                    <a:gd name="T10" fmla="*/ 863 w 1401"/>
                    <a:gd name="T11" fmla="*/ 641 h 844"/>
                    <a:gd name="T12" fmla="*/ 1329 w 1401"/>
                    <a:gd name="T13" fmla="*/ 260 h 844"/>
                    <a:gd name="T14" fmla="*/ 1353 w 1401"/>
                    <a:gd name="T15" fmla="*/ 229 h 84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01" h="844">
                      <a:moveTo>
                        <a:pt x="1353" y="229"/>
                      </a:moveTo>
                      <a:cubicBezTo>
                        <a:pt x="1353" y="229"/>
                        <a:pt x="1401" y="664"/>
                        <a:pt x="1075" y="789"/>
                      </a:cubicBezTo>
                      <a:cubicBezTo>
                        <a:pt x="929" y="844"/>
                        <a:pt x="730" y="826"/>
                        <a:pt x="551" y="761"/>
                      </a:cubicBezTo>
                      <a:cubicBezTo>
                        <a:pt x="329" y="680"/>
                        <a:pt x="123" y="543"/>
                        <a:pt x="9" y="419"/>
                      </a:cubicBezTo>
                      <a:cubicBezTo>
                        <a:pt x="9" y="419"/>
                        <a:pt x="0" y="167"/>
                        <a:pt x="88" y="0"/>
                      </a:cubicBezTo>
                      <a:cubicBezTo>
                        <a:pt x="88" y="0"/>
                        <a:pt x="480" y="528"/>
                        <a:pt x="863" y="641"/>
                      </a:cubicBezTo>
                      <a:cubicBezTo>
                        <a:pt x="863" y="641"/>
                        <a:pt x="1347" y="817"/>
                        <a:pt x="1329" y="260"/>
                      </a:cubicBezTo>
                      <a:lnTo>
                        <a:pt x="1353" y="229"/>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46" name="Freeform 55"/>
                <p:cNvSpPr>
                  <a:spLocks/>
                </p:cNvSpPr>
                <p:nvPr/>
              </p:nvSpPr>
              <p:spPr bwMode="auto">
                <a:xfrm>
                  <a:off x="4425446" y="3078287"/>
                  <a:ext cx="1789293" cy="2142355"/>
                </a:xfrm>
                <a:custGeom>
                  <a:avLst/>
                  <a:gdLst>
                    <a:gd name="T0" fmla="*/ 575 w 1136"/>
                    <a:gd name="T1" fmla="*/ 0 h 1360"/>
                    <a:gd name="T2" fmla="*/ 1047 w 1136"/>
                    <a:gd name="T3" fmla="*/ 496 h 1360"/>
                    <a:gd name="T4" fmla="*/ 847 w 1136"/>
                    <a:gd name="T5" fmla="*/ 962 h 1360"/>
                    <a:gd name="T6" fmla="*/ 368 w 1136"/>
                    <a:gd name="T7" fmla="*/ 1360 h 1360"/>
                    <a:gd name="T8" fmla="*/ 0 w 1136"/>
                    <a:gd name="T9" fmla="*/ 1149 h 1360"/>
                    <a:gd name="T10" fmla="*/ 833 w 1136"/>
                    <a:gd name="T11" fmla="*/ 612 h 1360"/>
                    <a:gd name="T12" fmla="*/ 602 w 1136"/>
                    <a:gd name="T13" fmla="*/ 43 h 1360"/>
                    <a:gd name="T14" fmla="*/ 575 w 1136"/>
                    <a:gd name="T15" fmla="*/ 0 h 136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36" h="1360">
                      <a:moveTo>
                        <a:pt x="575" y="0"/>
                      </a:moveTo>
                      <a:cubicBezTo>
                        <a:pt x="575" y="0"/>
                        <a:pt x="1043" y="109"/>
                        <a:pt x="1047" y="496"/>
                      </a:cubicBezTo>
                      <a:cubicBezTo>
                        <a:pt x="1049" y="651"/>
                        <a:pt x="965" y="812"/>
                        <a:pt x="847" y="962"/>
                      </a:cubicBezTo>
                      <a:cubicBezTo>
                        <a:pt x="702" y="1147"/>
                        <a:pt x="521" y="1290"/>
                        <a:pt x="368" y="1360"/>
                      </a:cubicBezTo>
                      <a:cubicBezTo>
                        <a:pt x="368" y="1360"/>
                        <a:pt x="118" y="1311"/>
                        <a:pt x="0" y="1149"/>
                      </a:cubicBezTo>
                      <a:cubicBezTo>
                        <a:pt x="0" y="1149"/>
                        <a:pt x="614" y="959"/>
                        <a:pt x="833" y="612"/>
                      </a:cubicBezTo>
                      <a:cubicBezTo>
                        <a:pt x="833" y="612"/>
                        <a:pt x="1136" y="198"/>
                        <a:pt x="602" y="43"/>
                      </a:cubicBezTo>
                      <a:lnTo>
                        <a:pt x="575" y="0"/>
                      </a:lnTo>
                      <a:close/>
                    </a:path>
                  </a:pathLst>
                </a:custGeom>
                <a:solidFill>
                  <a:srgbClr val="AFABAB"/>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47" name="Freeform 53"/>
                <p:cNvSpPr>
                  <a:spLocks/>
                </p:cNvSpPr>
                <p:nvPr/>
              </p:nvSpPr>
              <p:spPr bwMode="auto">
                <a:xfrm>
                  <a:off x="3815914" y="2311543"/>
                  <a:ext cx="1925188" cy="2190985"/>
                </a:xfrm>
                <a:custGeom>
                  <a:avLst/>
                  <a:gdLst>
                    <a:gd name="T0" fmla="*/ 0 w 1222"/>
                    <a:gd name="T1" fmla="*/ 477 h 1391"/>
                    <a:gd name="T2" fmla="*/ 578 w 1222"/>
                    <a:gd name="T3" fmla="*/ 178 h 1391"/>
                    <a:gd name="T4" fmla="*/ 974 w 1222"/>
                    <a:gd name="T5" fmla="*/ 500 h 1391"/>
                    <a:gd name="T6" fmla="*/ 1222 w 1222"/>
                    <a:gd name="T7" fmla="*/ 1099 h 1391"/>
                    <a:gd name="T8" fmla="*/ 918 w 1222"/>
                    <a:gd name="T9" fmla="*/ 1391 h 1391"/>
                    <a:gd name="T10" fmla="*/ 648 w 1222"/>
                    <a:gd name="T11" fmla="*/ 405 h 1391"/>
                    <a:gd name="T12" fmla="*/ 37 w 1222"/>
                    <a:gd name="T13" fmla="*/ 466 h 1391"/>
                    <a:gd name="T14" fmla="*/ 0 w 1222"/>
                    <a:gd name="T15" fmla="*/ 477 h 139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22" h="1391">
                      <a:moveTo>
                        <a:pt x="0" y="477"/>
                      </a:moveTo>
                      <a:cubicBezTo>
                        <a:pt x="0" y="477"/>
                        <a:pt x="239" y="92"/>
                        <a:pt x="578" y="178"/>
                      </a:cubicBezTo>
                      <a:cubicBezTo>
                        <a:pt x="729" y="216"/>
                        <a:pt x="866" y="344"/>
                        <a:pt x="974" y="500"/>
                      </a:cubicBezTo>
                      <a:cubicBezTo>
                        <a:pt x="1109" y="694"/>
                        <a:pt x="1200" y="932"/>
                        <a:pt x="1222" y="1099"/>
                      </a:cubicBezTo>
                      <a:cubicBezTo>
                        <a:pt x="1222" y="1099"/>
                        <a:pt x="1133" y="1325"/>
                        <a:pt x="918" y="1391"/>
                      </a:cubicBezTo>
                      <a:cubicBezTo>
                        <a:pt x="918" y="1391"/>
                        <a:pt x="896" y="717"/>
                        <a:pt x="648" y="405"/>
                      </a:cubicBezTo>
                      <a:cubicBezTo>
                        <a:pt x="648" y="405"/>
                        <a:pt x="342" y="0"/>
                        <a:pt x="37" y="466"/>
                      </a:cubicBezTo>
                      <a:lnTo>
                        <a:pt x="0" y="477"/>
                      </a:lnTo>
                      <a:close/>
                    </a:path>
                  </a:pathLst>
                </a:custGeom>
                <a:solidFill>
                  <a:srgbClr val="3B3939"/>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grpSp>
              <p:nvGrpSpPr>
                <p:cNvPr id="248" name="Group 247"/>
                <p:cNvGrpSpPr/>
                <p:nvPr/>
              </p:nvGrpSpPr>
              <p:grpSpPr>
                <a:xfrm>
                  <a:off x="4025025" y="3788303"/>
                  <a:ext cx="1038598" cy="652674"/>
                  <a:chOff x="3984374" y="3463997"/>
                  <a:chExt cx="1038598" cy="652674"/>
                </a:xfrm>
              </p:grpSpPr>
              <p:sp>
                <p:nvSpPr>
                  <p:cNvPr id="249" name="TextBox 248"/>
                  <p:cNvSpPr txBox="1"/>
                  <p:nvPr/>
                </p:nvSpPr>
                <p:spPr>
                  <a:xfrm>
                    <a:off x="3984374" y="3778116"/>
                    <a:ext cx="1038598" cy="338555"/>
                  </a:xfrm>
                  <a:prstGeom prst="rect">
                    <a:avLst/>
                  </a:prstGeom>
                  <a:noFill/>
                  <a:ln w="6350">
                    <a:noFill/>
                    <a:prstDash val="dash"/>
                  </a:ln>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effectLst/>
                        <a:uLnTx/>
                        <a:uFillTx/>
                        <a:ea typeface="+mn-ea"/>
                        <a:cs typeface="+mn-cs"/>
                      </a:rPr>
                      <a:t>INDUSTRY BEST PRACTICE</a:t>
                    </a:r>
                  </a:p>
                </p:txBody>
              </p:sp>
              <p:grpSp>
                <p:nvGrpSpPr>
                  <p:cNvPr id="250" name="Group 249"/>
                  <p:cNvGrpSpPr>
                    <a:grpSpLocks noChangeAspect="1"/>
                  </p:cNvGrpSpPr>
                  <p:nvPr/>
                </p:nvGrpSpPr>
                <p:grpSpPr>
                  <a:xfrm>
                    <a:off x="4360903" y="3463997"/>
                    <a:ext cx="285538" cy="288000"/>
                    <a:chOff x="4386263" y="3243263"/>
                    <a:chExt cx="368301" cy="371476"/>
                  </a:xfrm>
                  <a:solidFill>
                    <a:schemeClr val="tx1">
                      <a:lumMod val="65000"/>
                      <a:lumOff val="35000"/>
                    </a:schemeClr>
                  </a:solidFill>
                </p:grpSpPr>
                <p:sp>
                  <p:nvSpPr>
                    <p:cNvPr id="251" name="Freeform 67"/>
                    <p:cNvSpPr>
                      <a:spLocks/>
                    </p:cNvSpPr>
                    <p:nvPr/>
                  </p:nvSpPr>
                  <p:spPr bwMode="auto">
                    <a:xfrm>
                      <a:off x="4386263" y="3455988"/>
                      <a:ext cx="147638" cy="158750"/>
                    </a:xfrm>
                    <a:custGeom>
                      <a:avLst/>
                      <a:gdLst>
                        <a:gd name="T0" fmla="*/ 23 w 38"/>
                        <a:gd name="T1" fmla="*/ 41 h 41"/>
                        <a:gd name="T2" fmla="*/ 23 w 38"/>
                        <a:gd name="T3" fmla="*/ 41 h 41"/>
                        <a:gd name="T4" fmla="*/ 21 w 38"/>
                        <a:gd name="T5" fmla="*/ 40 h 41"/>
                        <a:gd name="T6" fmla="*/ 16 w 38"/>
                        <a:gd name="T7" fmla="*/ 27 h 41"/>
                        <a:gd name="T8" fmla="*/ 2 w 38"/>
                        <a:gd name="T9" fmla="*/ 29 h 41"/>
                        <a:gd name="T10" fmla="*/ 0 w 38"/>
                        <a:gd name="T11" fmla="*/ 28 h 41"/>
                        <a:gd name="T12" fmla="*/ 0 w 38"/>
                        <a:gd name="T13" fmla="*/ 26 h 41"/>
                        <a:gd name="T14" fmla="*/ 15 w 38"/>
                        <a:gd name="T15" fmla="*/ 0 h 41"/>
                        <a:gd name="T16" fmla="*/ 19 w 38"/>
                        <a:gd name="T17" fmla="*/ 2 h 41"/>
                        <a:gd name="T18" fmla="*/ 6 w 38"/>
                        <a:gd name="T19" fmla="*/ 24 h 41"/>
                        <a:gd name="T20" fmla="*/ 17 w 38"/>
                        <a:gd name="T21" fmla="*/ 22 h 41"/>
                        <a:gd name="T22" fmla="*/ 19 w 38"/>
                        <a:gd name="T23" fmla="*/ 24 h 41"/>
                        <a:gd name="T24" fmla="*/ 23 w 38"/>
                        <a:gd name="T25" fmla="*/ 34 h 41"/>
                        <a:gd name="T26" fmla="*/ 34 w 38"/>
                        <a:gd name="T27" fmla="*/ 16 h 41"/>
                        <a:gd name="T28" fmla="*/ 38 w 38"/>
                        <a:gd name="T29" fmla="*/ 18 h 41"/>
                        <a:gd name="T30" fmla="*/ 24 w 38"/>
                        <a:gd name="T31" fmla="*/ 40 h 41"/>
                        <a:gd name="T32" fmla="*/ 23 w 38"/>
                        <a:gd name="T33"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8" h="41">
                          <a:moveTo>
                            <a:pt x="23" y="41"/>
                          </a:moveTo>
                          <a:cubicBezTo>
                            <a:pt x="23" y="41"/>
                            <a:pt x="23" y="41"/>
                            <a:pt x="23" y="41"/>
                          </a:cubicBezTo>
                          <a:cubicBezTo>
                            <a:pt x="22" y="41"/>
                            <a:pt x="21" y="40"/>
                            <a:pt x="21" y="40"/>
                          </a:cubicBezTo>
                          <a:cubicBezTo>
                            <a:pt x="16" y="27"/>
                            <a:pt x="16" y="27"/>
                            <a:pt x="16" y="27"/>
                          </a:cubicBezTo>
                          <a:cubicBezTo>
                            <a:pt x="2" y="29"/>
                            <a:pt x="2" y="29"/>
                            <a:pt x="2" y="29"/>
                          </a:cubicBezTo>
                          <a:cubicBezTo>
                            <a:pt x="2" y="29"/>
                            <a:pt x="1" y="29"/>
                            <a:pt x="0" y="28"/>
                          </a:cubicBezTo>
                          <a:cubicBezTo>
                            <a:pt x="0" y="27"/>
                            <a:pt x="0" y="27"/>
                            <a:pt x="0" y="26"/>
                          </a:cubicBezTo>
                          <a:cubicBezTo>
                            <a:pt x="15" y="0"/>
                            <a:pt x="15" y="0"/>
                            <a:pt x="15" y="0"/>
                          </a:cubicBezTo>
                          <a:cubicBezTo>
                            <a:pt x="19" y="2"/>
                            <a:pt x="19" y="2"/>
                            <a:pt x="19" y="2"/>
                          </a:cubicBezTo>
                          <a:cubicBezTo>
                            <a:pt x="6" y="24"/>
                            <a:pt x="6" y="24"/>
                            <a:pt x="6" y="24"/>
                          </a:cubicBezTo>
                          <a:cubicBezTo>
                            <a:pt x="17" y="22"/>
                            <a:pt x="17" y="22"/>
                            <a:pt x="17" y="22"/>
                          </a:cubicBezTo>
                          <a:cubicBezTo>
                            <a:pt x="18" y="22"/>
                            <a:pt x="19" y="23"/>
                            <a:pt x="19" y="24"/>
                          </a:cubicBezTo>
                          <a:cubicBezTo>
                            <a:pt x="23" y="34"/>
                            <a:pt x="23" y="34"/>
                            <a:pt x="23" y="34"/>
                          </a:cubicBezTo>
                          <a:cubicBezTo>
                            <a:pt x="34" y="16"/>
                            <a:pt x="34" y="16"/>
                            <a:pt x="34" y="16"/>
                          </a:cubicBezTo>
                          <a:cubicBezTo>
                            <a:pt x="38" y="18"/>
                            <a:pt x="38" y="18"/>
                            <a:pt x="38" y="18"/>
                          </a:cubicBezTo>
                          <a:cubicBezTo>
                            <a:pt x="24" y="40"/>
                            <a:pt x="24" y="40"/>
                            <a:pt x="24" y="40"/>
                          </a:cubicBezTo>
                          <a:cubicBezTo>
                            <a:pt x="24" y="41"/>
                            <a:pt x="23" y="41"/>
                            <a:pt x="23"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52" name="Freeform 68"/>
                    <p:cNvSpPr>
                      <a:spLocks/>
                    </p:cNvSpPr>
                    <p:nvPr/>
                  </p:nvSpPr>
                  <p:spPr bwMode="auto">
                    <a:xfrm>
                      <a:off x="4610101" y="3460751"/>
                      <a:ext cx="144463" cy="153988"/>
                    </a:xfrm>
                    <a:custGeom>
                      <a:avLst/>
                      <a:gdLst>
                        <a:gd name="T0" fmla="*/ 15 w 37"/>
                        <a:gd name="T1" fmla="*/ 40 h 40"/>
                        <a:gd name="T2" fmla="*/ 13 w 37"/>
                        <a:gd name="T3" fmla="*/ 39 h 40"/>
                        <a:gd name="T4" fmla="*/ 0 w 37"/>
                        <a:gd name="T5" fmla="*/ 17 h 40"/>
                        <a:gd name="T6" fmla="*/ 3 w 37"/>
                        <a:gd name="T7" fmla="*/ 15 h 40"/>
                        <a:gd name="T8" fmla="*/ 14 w 37"/>
                        <a:gd name="T9" fmla="*/ 33 h 40"/>
                        <a:gd name="T10" fmla="*/ 18 w 37"/>
                        <a:gd name="T11" fmla="*/ 23 h 40"/>
                        <a:gd name="T12" fmla="*/ 20 w 37"/>
                        <a:gd name="T13" fmla="*/ 21 h 40"/>
                        <a:gd name="T14" fmla="*/ 31 w 37"/>
                        <a:gd name="T15" fmla="*/ 23 h 40"/>
                        <a:gd name="T16" fmla="*/ 19 w 37"/>
                        <a:gd name="T17" fmla="*/ 2 h 40"/>
                        <a:gd name="T18" fmla="*/ 22 w 37"/>
                        <a:gd name="T19" fmla="*/ 0 h 40"/>
                        <a:gd name="T20" fmla="*/ 37 w 37"/>
                        <a:gd name="T21" fmla="*/ 25 h 40"/>
                        <a:gd name="T22" fmla="*/ 37 w 37"/>
                        <a:gd name="T23" fmla="*/ 27 h 40"/>
                        <a:gd name="T24" fmla="*/ 35 w 37"/>
                        <a:gd name="T25" fmla="*/ 28 h 40"/>
                        <a:gd name="T26" fmla="*/ 21 w 37"/>
                        <a:gd name="T27" fmla="*/ 26 h 40"/>
                        <a:gd name="T28" fmla="*/ 16 w 37"/>
                        <a:gd name="T29" fmla="*/ 39 h 40"/>
                        <a:gd name="T30" fmla="*/ 15 w 37"/>
                        <a:gd name="T31" fmla="*/ 40 h 40"/>
                        <a:gd name="T32" fmla="*/ 15 w 37"/>
                        <a:gd name="T33" fmla="*/ 4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7" h="40">
                          <a:moveTo>
                            <a:pt x="15" y="40"/>
                          </a:moveTo>
                          <a:cubicBezTo>
                            <a:pt x="14" y="40"/>
                            <a:pt x="13" y="40"/>
                            <a:pt x="13" y="39"/>
                          </a:cubicBezTo>
                          <a:cubicBezTo>
                            <a:pt x="0" y="17"/>
                            <a:pt x="0" y="17"/>
                            <a:pt x="0" y="17"/>
                          </a:cubicBezTo>
                          <a:cubicBezTo>
                            <a:pt x="3" y="15"/>
                            <a:pt x="3" y="15"/>
                            <a:pt x="3" y="15"/>
                          </a:cubicBezTo>
                          <a:cubicBezTo>
                            <a:pt x="14" y="33"/>
                            <a:pt x="14" y="33"/>
                            <a:pt x="14" y="33"/>
                          </a:cubicBezTo>
                          <a:cubicBezTo>
                            <a:pt x="18" y="23"/>
                            <a:pt x="18" y="23"/>
                            <a:pt x="18" y="23"/>
                          </a:cubicBezTo>
                          <a:cubicBezTo>
                            <a:pt x="18" y="22"/>
                            <a:pt x="19" y="21"/>
                            <a:pt x="20" y="21"/>
                          </a:cubicBezTo>
                          <a:cubicBezTo>
                            <a:pt x="31" y="23"/>
                            <a:pt x="31" y="23"/>
                            <a:pt x="31" y="23"/>
                          </a:cubicBezTo>
                          <a:cubicBezTo>
                            <a:pt x="19" y="2"/>
                            <a:pt x="19" y="2"/>
                            <a:pt x="19" y="2"/>
                          </a:cubicBezTo>
                          <a:cubicBezTo>
                            <a:pt x="22" y="0"/>
                            <a:pt x="22" y="0"/>
                            <a:pt x="22" y="0"/>
                          </a:cubicBezTo>
                          <a:cubicBezTo>
                            <a:pt x="37" y="25"/>
                            <a:pt x="37" y="25"/>
                            <a:pt x="37" y="25"/>
                          </a:cubicBezTo>
                          <a:cubicBezTo>
                            <a:pt x="37" y="26"/>
                            <a:pt x="37" y="26"/>
                            <a:pt x="37" y="27"/>
                          </a:cubicBezTo>
                          <a:cubicBezTo>
                            <a:pt x="37" y="28"/>
                            <a:pt x="36" y="28"/>
                            <a:pt x="35" y="28"/>
                          </a:cubicBezTo>
                          <a:cubicBezTo>
                            <a:pt x="21" y="26"/>
                            <a:pt x="21" y="26"/>
                            <a:pt x="21" y="26"/>
                          </a:cubicBezTo>
                          <a:cubicBezTo>
                            <a:pt x="16" y="39"/>
                            <a:pt x="16" y="39"/>
                            <a:pt x="16" y="39"/>
                          </a:cubicBezTo>
                          <a:cubicBezTo>
                            <a:pt x="16" y="39"/>
                            <a:pt x="16" y="40"/>
                            <a:pt x="15" y="40"/>
                          </a:cubicBezTo>
                          <a:cubicBezTo>
                            <a:pt x="15" y="40"/>
                            <a:pt x="15" y="40"/>
                            <a:pt x="15" y="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53" name="Freeform 69"/>
                    <p:cNvSpPr>
                      <a:spLocks noEditPoints="1"/>
                    </p:cNvSpPr>
                    <p:nvPr/>
                  </p:nvSpPr>
                  <p:spPr bwMode="auto">
                    <a:xfrm>
                      <a:off x="4424363" y="3243263"/>
                      <a:ext cx="295275" cy="293688"/>
                    </a:xfrm>
                    <a:custGeom>
                      <a:avLst/>
                      <a:gdLst>
                        <a:gd name="T0" fmla="*/ 38 w 76"/>
                        <a:gd name="T1" fmla="*/ 76 h 76"/>
                        <a:gd name="T2" fmla="*/ 0 w 76"/>
                        <a:gd name="T3" fmla="*/ 38 h 76"/>
                        <a:gd name="T4" fmla="*/ 38 w 76"/>
                        <a:gd name="T5" fmla="*/ 0 h 76"/>
                        <a:gd name="T6" fmla="*/ 76 w 76"/>
                        <a:gd name="T7" fmla="*/ 38 h 76"/>
                        <a:gd name="T8" fmla="*/ 38 w 76"/>
                        <a:gd name="T9" fmla="*/ 76 h 76"/>
                        <a:gd name="T10" fmla="*/ 38 w 76"/>
                        <a:gd name="T11" fmla="*/ 4 h 76"/>
                        <a:gd name="T12" fmla="*/ 4 w 76"/>
                        <a:gd name="T13" fmla="*/ 38 h 76"/>
                        <a:gd name="T14" fmla="*/ 38 w 76"/>
                        <a:gd name="T15" fmla="*/ 72 h 76"/>
                        <a:gd name="T16" fmla="*/ 72 w 76"/>
                        <a:gd name="T17" fmla="*/ 38 h 76"/>
                        <a:gd name="T18" fmla="*/ 38 w 76"/>
                        <a:gd name="T19" fmla="*/ 4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6" h="76">
                          <a:moveTo>
                            <a:pt x="38" y="76"/>
                          </a:moveTo>
                          <a:cubicBezTo>
                            <a:pt x="17" y="76"/>
                            <a:pt x="0" y="59"/>
                            <a:pt x="0" y="38"/>
                          </a:cubicBezTo>
                          <a:cubicBezTo>
                            <a:pt x="0" y="17"/>
                            <a:pt x="17" y="0"/>
                            <a:pt x="38" y="0"/>
                          </a:cubicBezTo>
                          <a:cubicBezTo>
                            <a:pt x="59" y="0"/>
                            <a:pt x="76" y="17"/>
                            <a:pt x="76" y="38"/>
                          </a:cubicBezTo>
                          <a:cubicBezTo>
                            <a:pt x="76" y="59"/>
                            <a:pt x="59" y="76"/>
                            <a:pt x="38" y="76"/>
                          </a:cubicBezTo>
                          <a:close/>
                          <a:moveTo>
                            <a:pt x="38" y="4"/>
                          </a:moveTo>
                          <a:cubicBezTo>
                            <a:pt x="19" y="4"/>
                            <a:pt x="4" y="19"/>
                            <a:pt x="4" y="38"/>
                          </a:cubicBezTo>
                          <a:cubicBezTo>
                            <a:pt x="4" y="57"/>
                            <a:pt x="19" y="72"/>
                            <a:pt x="38" y="72"/>
                          </a:cubicBezTo>
                          <a:cubicBezTo>
                            <a:pt x="57" y="72"/>
                            <a:pt x="72" y="57"/>
                            <a:pt x="72" y="38"/>
                          </a:cubicBezTo>
                          <a:cubicBezTo>
                            <a:pt x="72" y="19"/>
                            <a:pt x="57" y="4"/>
                            <a:pt x="38"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55" name="Freeform 70"/>
                    <p:cNvSpPr>
                      <a:spLocks noEditPoints="1"/>
                    </p:cNvSpPr>
                    <p:nvPr/>
                  </p:nvSpPr>
                  <p:spPr bwMode="auto">
                    <a:xfrm>
                      <a:off x="4494213" y="3305176"/>
                      <a:ext cx="155575" cy="155575"/>
                    </a:xfrm>
                    <a:custGeom>
                      <a:avLst/>
                      <a:gdLst>
                        <a:gd name="T0" fmla="*/ 32 w 40"/>
                        <a:gd name="T1" fmla="*/ 40 h 40"/>
                        <a:gd name="T2" fmla="*/ 31 w 40"/>
                        <a:gd name="T3" fmla="*/ 40 h 40"/>
                        <a:gd name="T4" fmla="*/ 20 w 40"/>
                        <a:gd name="T5" fmla="*/ 33 h 40"/>
                        <a:gd name="T6" fmla="*/ 9 w 40"/>
                        <a:gd name="T7" fmla="*/ 40 h 40"/>
                        <a:gd name="T8" fmla="*/ 7 w 40"/>
                        <a:gd name="T9" fmla="*/ 40 h 40"/>
                        <a:gd name="T10" fmla="*/ 6 w 40"/>
                        <a:gd name="T11" fmla="*/ 37 h 40"/>
                        <a:gd name="T12" fmla="*/ 10 w 40"/>
                        <a:gd name="T13" fmla="*/ 25 h 40"/>
                        <a:gd name="T14" fmla="*/ 1 w 40"/>
                        <a:gd name="T15" fmla="*/ 15 h 40"/>
                        <a:gd name="T16" fmla="*/ 0 w 40"/>
                        <a:gd name="T17" fmla="*/ 13 h 40"/>
                        <a:gd name="T18" fmla="*/ 2 w 40"/>
                        <a:gd name="T19" fmla="*/ 12 h 40"/>
                        <a:gd name="T20" fmla="*/ 13 w 40"/>
                        <a:gd name="T21" fmla="*/ 12 h 40"/>
                        <a:gd name="T22" fmla="*/ 18 w 40"/>
                        <a:gd name="T23" fmla="*/ 1 h 40"/>
                        <a:gd name="T24" fmla="*/ 22 w 40"/>
                        <a:gd name="T25" fmla="*/ 1 h 40"/>
                        <a:gd name="T26" fmla="*/ 27 w 40"/>
                        <a:gd name="T27" fmla="*/ 12 h 40"/>
                        <a:gd name="T28" fmla="*/ 38 w 40"/>
                        <a:gd name="T29" fmla="*/ 12 h 40"/>
                        <a:gd name="T30" fmla="*/ 40 w 40"/>
                        <a:gd name="T31" fmla="*/ 13 h 40"/>
                        <a:gd name="T32" fmla="*/ 39 w 40"/>
                        <a:gd name="T33" fmla="*/ 15 h 40"/>
                        <a:gd name="T34" fmla="*/ 30 w 40"/>
                        <a:gd name="T35" fmla="*/ 25 h 40"/>
                        <a:gd name="T36" fmla="*/ 34 w 40"/>
                        <a:gd name="T37" fmla="*/ 37 h 40"/>
                        <a:gd name="T38" fmla="*/ 33 w 40"/>
                        <a:gd name="T39" fmla="*/ 40 h 40"/>
                        <a:gd name="T40" fmla="*/ 32 w 40"/>
                        <a:gd name="T41" fmla="*/ 40 h 40"/>
                        <a:gd name="T42" fmla="*/ 20 w 40"/>
                        <a:gd name="T43" fmla="*/ 28 h 40"/>
                        <a:gd name="T44" fmla="*/ 21 w 40"/>
                        <a:gd name="T45" fmla="*/ 29 h 40"/>
                        <a:gd name="T46" fmla="*/ 29 w 40"/>
                        <a:gd name="T47" fmla="*/ 34 h 40"/>
                        <a:gd name="T48" fmla="*/ 26 w 40"/>
                        <a:gd name="T49" fmla="*/ 25 h 40"/>
                        <a:gd name="T50" fmla="*/ 27 w 40"/>
                        <a:gd name="T51" fmla="*/ 23 h 40"/>
                        <a:gd name="T52" fmla="*/ 33 w 40"/>
                        <a:gd name="T53" fmla="*/ 16 h 40"/>
                        <a:gd name="T54" fmla="*/ 26 w 40"/>
                        <a:gd name="T55" fmla="*/ 16 h 40"/>
                        <a:gd name="T56" fmla="*/ 24 w 40"/>
                        <a:gd name="T57" fmla="*/ 15 h 40"/>
                        <a:gd name="T58" fmla="*/ 20 w 40"/>
                        <a:gd name="T59" fmla="*/ 6 h 40"/>
                        <a:gd name="T60" fmla="*/ 16 w 40"/>
                        <a:gd name="T61" fmla="*/ 15 h 40"/>
                        <a:gd name="T62" fmla="*/ 14 w 40"/>
                        <a:gd name="T63" fmla="*/ 16 h 40"/>
                        <a:gd name="T64" fmla="*/ 7 w 40"/>
                        <a:gd name="T65" fmla="*/ 16 h 40"/>
                        <a:gd name="T66" fmla="*/ 13 w 40"/>
                        <a:gd name="T67" fmla="*/ 23 h 40"/>
                        <a:gd name="T68" fmla="*/ 14 w 40"/>
                        <a:gd name="T69" fmla="*/ 25 h 40"/>
                        <a:gd name="T70" fmla="*/ 11 w 40"/>
                        <a:gd name="T71" fmla="*/ 34 h 40"/>
                        <a:gd name="T72" fmla="*/ 19 w 40"/>
                        <a:gd name="T73" fmla="*/ 29 h 40"/>
                        <a:gd name="T74" fmla="*/ 20 w 40"/>
                        <a:gd name="T75" fmla="*/ 28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0" h="40">
                          <a:moveTo>
                            <a:pt x="32" y="40"/>
                          </a:moveTo>
                          <a:cubicBezTo>
                            <a:pt x="32" y="40"/>
                            <a:pt x="31" y="40"/>
                            <a:pt x="31" y="40"/>
                          </a:cubicBezTo>
                          <a:cubicBezTo>
                            <a:pt x="20" y="33"/>
                            <a:pt x="20" y="33"/>
                            <a:pt x="20" y="33"/>
                          </a:cubicBezTo>
                          <a:cubicBezTo>
                            <a:pt x="9" y="40"/>
                            <a:pt x="9" y="40"/>
                            <a:pt x="9" y="40"/>
                          </a:cubicBezTo>
                          <a:cubicBezTo>
                            <a:pt x="8" y="40"/>
                            <a:pt x="7" y="40"/>
                            <a:pt x="7" y="40"/>
                          </a:cubicBezTo>
                          <a:cubicBezTo>
                            <a:pt x="6" y="39"/>
                            <a:pt x="6" y="38"/>
                            <a:pt x="6" y="37"/>
                          </a:cubicBezTo>
                          <a:cubicBezTo>
                            <a:pt x="10" y="25"/>
                            <a:pt x="10" y="25"/>
                            <a:pt x="10" y="25"/>
                          </a:cubicBezTo>
                          <a:cubicBezTo>
                            <a:pt x="1" y="15"/>
                            <a:pt x="1" y="15"/>
                            <a:pt x="1" y="15"/>
                          </a:cubicBezTo>
                          <a:cubicBezTo>
                            <a:pt x="0" y="15"/>
                            <a:pt x="0" y="14"/>
                            <a:pt x="0" y="13"/>
                          </a:cubicBezTo>
                          <a:cubicBezTo>
                            <a:pt x="0" y="12"/>
                            <a:pt x="1" y="12"/>
                            <a:pt x="2" y="12"/>
                          </a:cubicBezTo>
                          <a:cubicBezTo>
                            <a:pt x="13" y="12"/>
                            <a:pt x="13" y="12"/>
                            <a:pt x="13" y="12"/>
                          </a:cubicBezTo>
                          <a:cubicBezTo>
                            <a:pt x="18" y="1"/>
                            <a:pt x="18" y="1"/>
                            <a:pt x="18" y="1"/>
                          </a:cubicBezTo>
                          <a:cubicBezTo>
                            <a:pt x="19" y="0"/>
                            <a:pt x="21" y="0"/>
                            <a:pt x="22" y="1"/>
                          </a:cubicBezTo>
                          <a:cubicBezTo>
                            <a:pt x="27" y="12"/>
                            <a:pt x="27" y="12"/>
                            <a:pt x="27" y="12"/>
                          </a:cubicBezTo>
                          <a:cubicBezTo>
                            <a:pt x="38" y="12"/>
                            <a:pt x="38" y="12"/>
                            <a:pt x="38" y="12"/>
                          </a:cubicBezTo>
                          <a:cubicBezTo>
                            <a:pt x="39" y="12"/>
                            <a:pt x="40" y="12"/>
                            <a:pt x="40" y="13"/>
                          </a:cubicBezTo>
                          <a:cubicBezTo>
                            <a:pt x="40" y="14"/>
                            <a:pt x="40" y="15"/>
                            <a:pt x="39" y="15"/>
                          </a:cubicBezTo>
                          <a:cubicBezTo>
                            <a:pt x="30" y="25"/>
                            <a:pt x="30" y="25"/>
                            <a:pt x="30" y="25"/>
                          </a:cubicBezTo>
                          <a:cubicBezTo>
                            <a:pt x="34" y="37"/>
                            <a:pt x="34" y="37"/>
                            <a:pt x="34" y="37"/>
                          </a:cubicBezTo>
                          <a:cubicBezTo>
                            <a:pt x="34" y="38"/>
                            <a:pt x="34" y="39"/>
                            <a:pt x="33" y="40"/>
                          </a:cubicBezTo>
                          <a:cubicBezTo>
                            <a:pt x="33" y="40"/>
                            <a:pt x="32" y="40"/>
                            <a:pt x="32" y="40"/>
                          </a:cubicBezTo>
                          <a:close/>
                          <a:moveTo>
                            <a:pt x="20" y="28"/>
                          </a:moveTo>
                          <a:cubicBezTo>
                            <a:pt x="20" y="28"/>
                            <a:pt x="21" y="29"/>
                            <a:pt x="21" y="29"/>
                          </a:cubicBezTo>
                          <a:cubicBezTo>
                            <a:pt x="29" y="34"/>
                            <a:pt x="29" y="34"/>
                            <a:pt x="29" y="34"/>
                          </a:cubicBezTo>
                          <a:cubicBezTo>
                            <a:pt x="26" y="25"/>
                            <a:pt x="26" y="25"/>
                            <a:pt x="26" y="25"/>
                          </a:cubicBezTo>
                          <a:cubicBezTo>
                            <a:pt x="26" y="24"/>
                            <a:pt x="26" y="23"/>
                            <a:pt x="27" y="23"/>
                          </a:cubicBezTo>
                          <a:cubicBezTo>
                            <a:pt x="33" y="16"/>
                            <a:pt x="33" y="16"/>
                            <a:pt x="33" y="16"/>
                          </a:cubicBezTo>
                          <a:cubicBezTo>
                            <a:pt x="26" y="16"/>
                            <a:pt x="26" y="16"/>
                            <a:pt x="26" y="16"/>
                          </a:cubicBezTo>
                          <a:cubicBezTo>
                            <a:pt x="25" y="16"/>
                            <a:pt x="25" y="16"/>
                            <a:pt x="24" y="15"/>
                          </a:cubicBezTo>
                          <a:cubicBezTo>
                            <a:pt x="20" y="6"/>
                            <a:pt x="20" y="6"/>
                            <a:pt x="20" y="6"/>
                          </a:cubicBezTo>
                          <a:cubicBezTo>
                            <a:pt x="16" y="15"/>
                            <a:pt x="16" y="15"/>
                            <a:pt x="16" y="15"/>
                          </a:cubicBezTo>
                          <a:cubicBezTo>
                            <a:pt x="15" y="16"/>
                            <a:pt x="15" y="16"/>
                            <a:pt x="14" y="16"/>
                          </a:cubicBezTo>
                          <a:cubicBezTo>
                            <a:pt x="7" y="16"/>
                            <a:pt x="7" y="16"/>
                            <a:pt x="7" y="16"/>
                          </a:cubicBezTo>
                          <a:cubicBezTo>
                            <a:pt x="13" y="23"/>
                            <a:pt x="13" y="23"/>
                            <a:pt x="13" y="23"/>
                          </a:cubicBezTo>
                          <a:cubicBezTo>
                            <a:pt x="14" y="23"/>
                            <a:pt x="14" y="24"/>
                            <a:pt x="14" y="25"/>
                          </a:cubicBezTo>
                          <a:cubicBezTo>
                            <a:pt x="11" y="34"/>
                            <a:pt x="11" y="34"/>
                            <a:pt x="11" y="34"/>
                          </a:cubicBezTo>
                          <a:cubicBezTo>
                            <a:pt x="19" y="29"/>
                            <a:pt x="19" y="29"/>
                            <a:pt x="19" y="29"/>
                          </a:cubicBezTo>
                          <a:cubicBezTo>
                            <a:pt x="19" y="29"/>
                            <a:pt x="20" y="28"/>
                            <a:pt x="20"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grpSp>
            </p:grpSp>
          </p:grpSp>
        </p:grpSp>
        <p:grpSp>
          <p:nvGrpSpPr>
            <p:cNvPr id="137" name="Group 136"/>
            <p:cNvGrpSpPr/>
            <p:nvPr/>
          </p:nvGrpSpPr>
          <p:grpSpPr>
            <a:xfrm>
              <a:off x="2505488" y="3490913"/>
              <a:ext cx="539768" cy="539768"/>
              <a:chOff x="2456649" y="2890030"/>
              <a:chExt cx="593745" cy="593745"/>
            </a:xfrm>
          </p:grpSpPr>
          <p:grpSp>
            <p:nvGrpSpPr>
              <p:cNvPr id="225" name="Group 224"/>
              <p:cNvGrpSpPr/>
              <p:nvPr/>
            </p:nvGrpSpPr>
            <p:grpSpPr>
              <a:xfrm>
                <a:off x="2456649" y="2890030"/>
                <a:ext cx="593745" cy="593745"/>
                <a:chOff x="2439588" y="2833628"/>
                <a:chExt cx="405535" cy="405535"/>
              </a:xfrm>
            </p:grpSpPr>
            <p:sp>
              <p:nvSpPr>
                <p:cNvPr id="237" name="Oval 236"/>
                <p:cNvSpPr/>
                <p:nvPr/>
              </p:nvSpPr>
              <p:spPr>
                <a:xfrm>
                  <a:off x="2439588" y="2833628"/>
                  <a:ext cx="405535" cy="405535"/>
                </a:xfrm>
                <a:prstGeom prst="ellipse">
                  <a:avLst/>
                </a:prstGeom>
                <a:solidFill>
                  <a:schemeClr val="bg1"/>
                </a:solidFill>
                <a:ln>
                  <a:noFill/>
                </a:ln>
                <a:effectLst>
                  <a:outerShdw blurRad="38100" dist="25400" dir="5400000" algn="t"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238" name="Oval 237"/>
                <p:cNvSpPr/>
                <p:nvPr/>
              </p:nvSpPr>
              <p:spPr>
                <a:xfrm>
                  <a:off x="2474779" y="2868816"/>
                  <a:ext cx="335153" cy="335152"/>
                </a:xfrm>
                <a:prstGeom prst="ellipse">
                  <a:avLst/>
                </a:prstGeom>
                <a:solidFill>
                  <a:srgbClr val="78D2D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grpSp>
          <p:grpSp>
            <p:nvGrpSpPr>
              <p:cNvPr id="226" name="Group 225"/>
              <p:cNvGrpSpPr>
                <a:grpSpLocks noChangeAspect="1"/>
              </p:cNvGrpSpPr>
              <p:nvPr/>
            </p:nvGrpSpPr>
            <p:grpSpPr>
              <a:xfrm>
                <a:off x="2590234" y="3043153"/>
                <a:ext cx="326574" cy="287496"/>
                <a:chOff x="1362075" y="1844675"/>
                <a:chExt cx="371475" cy="327025"/>
              </a:xfrm>
              <a:solidFill>
                <a:schemeClr val="bg1"/>
              </a:solidFill>
            </p:grpSpPr>
            <p:sp>
              <p:nvSpPr>
                <p:cNvPr id="227" name="Freeform 74"/>
                <p:cNvSpPr>
                  <a:spLocks noEditPoints="1"/>
                </p:cNvSpPr>
                <p:nvPr/>
              </p:nvSpPr>
              <p:spPr bwMode="auto">
                <a:xfrm>
                  <a:off x="1362075" y="1844675"/>
                  <a:ext cx="371475" cy="295275"/>
                </a:xfrm>
                <a:custGeom>
                  <a:avLst/>
                  <a:gdLst>
                    <a:gd name="T0" fmla="*/ 88 w 96"/>
                    <a:gd name="T1" fmla="*/ 76 h 76"/>
                    <a:gd name="T2" fmla="*/ 8 w 96"/>
                    <a:gd name="T3" fmla="*/ 76 h 76"/>
                    <a:gd name="T4" fmla="*/ 0 w 96"/>
                    <a:gd name="T5" fmla="*/ 68 h 76"/>
                    <a:gd name="T6" fmla="*/ 0 w 96"/>
                    <a:gd name="T7" fmla="*/ 8 h 76"/>
                    <a:gd name="T8" fmla="*/ 8 w 96"/>
                    <a:gd name="T9" fmla="*/ 0 h 76"/>
                    <a:gd name="T10" fmla="*/ 88 w 96"/>
                    <a:gd name="T11" fmla="*/ 0 h 76"/>
                    <a:gd name="T12" fmla="*/ 96 w 96"/>
                    <a:gd name="T13" fmla="*/ 8 h 76"/>
                    <a:gd name="T14" fmla="*/ 96 w 96"/>
                    <a:gd name="T15" fmla="*/ 68 h 76"/>
                    <a:gd name="T16" fmla="*/ 88 w 96"/>
                    <a:gd name="T17" fmla="*/ 76 h 76"/>
                    <a:gd name="T18" fmla="*/ 8 w 96"/>
                    <a:gd name="T19" fmla="*/ 4 h 76"/>
                    <a:gd name="T20" fmla="*/ 4 w 96"/>
                    <a:gd name="T21" fmla="*/ 8 h 76"/>
                    <a:gd name="T22" fmla="*/ 4 w 96"/>
                    <a:gd name="T23" fmla="*/ 68 h 76"/>
                    <a:gd name="T24" fmla="*/ 8 w 96"/>
                    <a:gd name="T25" fmla="*/ 72 h 76"/>
                    <a:gd name="T26" fmla="*/ 88 w 96"/>
                    <a:gd name="T27" fmla="*/ 72 h 76"/>
                    <a:gd name="T28" fmla="*/ 92 w 96"/>
                    <a:gd name="T29" fmla="*/ 68 h 76"/>
                    <a:gd name="T30" fmla="*/ 92 w 96"/>
                    <a:gd name="T31" fmla="*/ 8 h 76"/>
                    <a:gd name="T32" fmla="*/ 88 w 96"/>
                    <a:gd name="T33" fmla="*/ 4 h 76"/>
                    <a:gd name="T34" fmla="*/ 8 w 96"/>
                    <a:gd name="T35" fmla="*/ 4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6" h="76">
                      <a:moveTo>
                        <a:pt x="88" y="76"/>
                      </a:moveTo>
                      <a:cubicBezTo>
                        <a:pt x="8" y="76"/>
                        <a:pt x="8" y="76"/>
                        <a:pt x="8" y="76"/>
                      </a:cubicBezTo>
                      <a:cubicBezTo>
                        <a:pt x="4" y="76"/>
                        <a:pt x="0" y="72"/>
                        <a:pt x="0" y="68"/>
                      </a:cubicBezTo>
                      <a:cubicBezTo>
                        <a:pt x="0" y="8"/>
                        <a:pt x="0" y="8"/>
                        <a:pt x="0" y="8"/>
                      </a:cubicBezTo>
                      <a:cubicBezTo>
                        <a:pt x="0" y="4"/>
                        <a:pt x="4" y="0"/>
                        <a:pt x="8" y="0"/>
                      </a:cubicBezTo>
                      <a:cubicBezTo>
                        <a:pt x="88" y="0"/>
                        <a:pt x="88" y="0"/>
                        <a:pt x="88" y="0"/>
                      </a:cubicBezTo>
                      <a:cubicBezTo>
                        <a:pt x="92" y="0"/>
                        <a:pt x="96" y="4"/>
                        <a:pt x="96" y="8"/>
                      </a:cubicBezTo>
                      <a:cubicBezTo>
                        <a:pt x="96" y="68"/>
                        <a:pt x="96" y="68"/>
                        <a:pt x="96" y="68"/>
                      </a:cubicBezTo>
                      <a:cubicBezTo>
                        <a:pt x="96" y="72"/>
                        <a:pt x="92" y="76"/>
                        <a:pt x="88" y="76"/>
                      </a:cubicBezTo>
                      <a:close/>
                      <a:moveTo>
                        <a:pt x="8" y="4"/>
                      </a:moveTo>
                      <a:cubicBezTo>
                        <a:pt x="6" y="4"/>
                        <a:pt x="4" y="6"/>
                        <a:pt x="4" y="8"/>
                      </a:cubicBezTo>
                      <a:cubicBezTo>
                        <a:pt x="4" y="68"/>
                        <a:pt x="4" y="68"/>
                        <a:pt x="4" y="68"/>
                      </a:cubicBezTo>
                      <a:cubicBezTo>
                        <a:pt x="4" y="70"/>
                        <a:pt x="6" y="72"/>
                        <a:pt x="8" y="72"/>
                      </a:cubicBezTo>
                      <a:cubicBezTo>
                        <a:pt x="88" y="72"/>
                        <a:pt x="88" y="72"/>
                        <a:pt x="88" y="72"/>
                      </a:cubicBezTo>
                      <a:cubicBezTo>
                        <a:pt x="90" y="72"/>
                        <a:pt x="92" y="70"/>
                        <a:pt x="92" y="68"/>
                      </a:cubicBezTo>
                      <a:cubicBezTo>
                        <a:pt x="92" y="8"/>
                        <a:pt x="92" y="8"/>
                        <a:pt x="92" y="8"/>
                      </a:cubicBezTo>
                      <a:cubicBezTo>
                        <a:pt x="92" y="6"/>
                        <a:pt x="90" y="4"/>
                        <a:pt x="88" y="4"/>
                      </a:cubicBezTo>
                      <a:lnTo>
                        <a:pt x="8"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29" name="Freeform 75"/>
                <p:cNvSpPr>
                  <a:spLocks/>
                </p:cNvSpPr>
                <p:nvPr/>
              </p:nvSpPr>
              <p:spPr bwMode="auto">
                <a:xfrm>
                  <a:off x="1431925" y="2155825"/>
                  <a:ext cx="231775" cy="15875"/>
                </a:xfrm>
                <a:custGeom>
                  <a:avLst/>
                  <a:gdLst>
                    <a:gd name="T0" fmla="*/ 58 w 60"/>
                    <a:gd name="T1" fmla="*/ 4 h 4"/>
                    <a:gd name="T2" fmla="*/ 2 w 60"/>
                    <a:gd name="T3" fmla="*/ 4 h 4"/>
                    <a:gd name="T4" fmla="*/ 0 w 60"/>
                    <a:gd name="T5" fmla="*/ 2 h 4"/>
                    <a:gd name="T6" fmla="*/ 2 w 60"/>
                    <a:gd name="T7" fmla="*/ 0 h 4"/>
                    <a:gd name="T8" fmla="*/ 58 w 60"/>
                    <a:gd name="T9" fmla="*/ 0 h 4"/>
                    <a:gd name="T10" fmla="*/ 60 w 60"/>
                    <a:gd name="T11" fmla="*/ 2 h 4"/>
                    <a:gd name="T12" fmla="*/ 58 w 60"/>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60" h="4">
                      <a:moveTo>
                        <a:pt x="58" y="4"/>
                      </a:moveTo>
                      <a:cubicBezTo>
                        <a:pt x="2" y="4"/>
                        <a:pt x="2" y="4"/>
                        <a:pt x="2" y="4"/>
                      </a:cubicBezTo>
                      <a:cubicBezTo>
                        <a:pt x="1" y="4"/>
                        <a:pt x="0" y="3"/>
                        <a:pt x="0" y="2"/>
                      </a:cubicBezTo>
                      <a:cubicBezTo>
                        <a:pt x="0" y="1"/>
                        <a:pt x="1" y="0"/>
                        <a:pt x="2" y="0"/>
                      </a:cubicBezTo>
                      <a:cubicBezTo>
                        <a:pt x="58" y="0"/>
                        <a:pt x="58" y="0"/>
                        <a:pt x="58" y="0"/>
                      </a:cubicBezTo>
                      <a:cubicBezTo>
                        <a:pt x="59" y="0"/>
                        <a:pt x="60" y="1"/>
                        <a:pt x="60" y="2"/>
                      </a:cubicBezTo>
                      <a:cubicBezTo>
                        <a:pt x="60" y="3"/>
                        <a:pt x="59" y="4"/>
                        <a:pt x="58"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30" name="Freeform 76"/>
                <p:cNvSpPr>
                  <a:spLocks/>
                </p:cNvSpPr>
                <p:nvPr/>
              </p:nvSpPr>
              <p:spPr bwMode="auto">
                <a:xfrm>
                  <a:off x="1531938" y="2124075"/>
                  <a:ext cx="15875" cy="47625"/>
                </a:xfrm>
                <a:custGeom>
                  <a:avLst/>
                  <a:gdLst>
                    <a:gd name="T0" fmla="*/ 2 w 4"/>
                    <a:gd name="T1" fmla="*/ 12 h 12"/>
                    <a:gd name="T2" fmla="*/ 0 w 4"/>
                    <a:gd name="T3" fmla="*/ 10 h 12"/>
                    <a:gd name="T4" fmla="*/ 0 w 4"/>
                    <a:gd name="T5" fmla="*/ 2 h 12"/>
                    <a:gd name="T6" fmla="*/ 2 w 4"/>
                    <a:gd name="T7" fmla="*/ 0 h 12"/>
                    <a:gd name="T8" fmla="*/ 4 w 4"/>
                    <a:gd name="T9" fmla="*/ 2 h 12"/>
                    <a:gd name="T10" fmla="*/ 4 w 4"/>
                    <a:gd name="T11" fmla="*/ 10 h 12"/>
                    <a:gd name="T12" fmla="*/ 2 w 4"/>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4" h="12">
                      <a:moveTo>
                        <a:pt x="2" y="12"/>
                      </a:moveTo>
                      <a:cubicBezTo>
                        <a:pt x="1" y="12"/>
                        <a:pt x="0" y="11"/>
                        <a:pt x="0" y="10"/>
                      </a:cubicBezTo>
                      <a:cubicBezTo>
                        <a:pt x="0" y="2"/>
                        <a:pt x="0" y="2"/>
                        <a:pt x="0" y="2"/>
                      </a:cubicBezTo>
                      <a:cubicBezTo>
                        <a:pt x="0" y="1"/>
                        <a:pt x="1" y="0"/>
                        <a:pt x="2" y="0"/>
                      </a:cubicBezTo>
                      <a:cubicBezTo>
                        <a:pt x="3" y="0"/>
                        <a:pt x="4" y="1"/>
                        <a:pt x="4" y="2"/>
                      </a:cubicBezTo>
                      <a:cubicBezTo>
                        <a:pt x="4" y="10"/>
                        <a:pt x="4" y="10"/>
                        <a:pt x="4" y="10"/>
                      </a:cubicBezTo>
                      <a:cubicBezTo>
                        <a:pt x="4" y="11"/>
                        <a:pt x="3" y="12"/>
                        <a:pt x="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31" name="Oval 77"/>
                <p:cNvSpPr>
                  <a:spLocks noChangeArrowheads="1"/>
                </p:cNvSpPr>
                <p:nvPr/>
              </p:nvSpPr>
              <p:spPr bwMode="auto">
                <a:xfrm>
                  <a:off x="1531938" y="2085975"/>
                  <a:ext cx="31750" cy="3016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32" name="Rectangle 78"/>
                <p:cNvSpPr>
                  <a:spLocks noChangeArrowheads="1"/>
                </p:cNvSpPr>
                <p:nvPr/>
              </p:nvSpPr>
              <p:spPr bwMode="auto">
                <a:xfrm>
                  <a:off x="1370013" y="2062163"/>
                  <a:ext cx="355600" cy="158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33" name="Freeform 79"/>
                <p:cNvSpPr>
                  <a:spLocks noEditPoints="1"/>
                </p:cNvSpPr>
                <p:nvPr/>
              </p:nvSpPr>
              <p:spPr bwMode="auto">
                <a:xfrm>
                  <a:off x="1455738" y="1968500"/>
                  <a:ext cx="61913" cy="77788"/>
                </a:xfrm>
                <a:custGeom>
                  <a:avLst/>
                  <a:gdLst>
                    <a:gd name="T0" fmla="*/ 14 w 16"/>
                    <a:gd name="T1" fmla="*/ 20 h 20"/>
                    <a:gd name="T2" fmla="*/ 2 w 16"/>
                    <a:gd name="T3" fmla="*/ 20 h 20"/>
                    <a:gd name="T4" fmla="*/ 0 w 16"/>
                    <a:gd name="T5" fmla="*/ 18 h 20"/>
                    <a:gd name="T6" fmla="*/ 0 w 16"/>
                    <a:gd name="T7" fmla="*/ 2 h 20"/>
                    <a:gd name="T8" fmla="*/ 2 w 16"/>
                    <a:gd name="T9" fmla="*/ 0 h 20"/>
                    <a:gd name="T10" fmla="*/ 14 w 16"/>
                    <a:gd name="T11" fmla="*/ 0 h 20"/>
                    <a:gd name="T12" fmla="*/ 16 w 16"/>
                    <a:gd name="T13" fmla="*/ 2 h 20"/>
                    <a:gd name="T14" fmla="*/ 16 w 16"/>
                    <a:gd name="T15" fmla="*/ 18 h 20"/>
                    <a:gd name="T16" fmla="*/ 14 w 16"/>
                    <a:gd name="T17" fmla="*/ 20 h 20"/>
                    <a:gd name="T18" fmla="*/ 4 w 16"/>
                    <a:gd name="T19" fmla="*/ 16 h 20"/>
                    <a:gd name="T20" fmla="*/ 12 w 16"/>
                    <a:gd name="T21" fmla="*/ 16 h 20"/>
                    <a:gd name="T22" fmla="*/ 12 w 16"/>
                    <a:gd name="T23" fmla="*/ 4 h 20"/>
                    <a:gd name="T24" fmla="*/ 4 w 16"/>
                    <a:gd name="T25" fmla="*/ 4 h 20"/>
                    <a:gd name="T26" fmla="*/ 4 w 16"/>
                    <a:gd name="T27" fmla="*/ 16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 h="20">
                      <a:moveTo>
                        <a:pt x="14" y="20"/>
                      </a:moveTo>
                      <a:cubicBezTo>
                        <a:pt x="2" y="20"/>
                        <a:pt x="2" y="20"/>
                        <a:pt x="2" y="20"/>
                      </a:cubicBezTo>
                      <a:cubicBezTo>
                        <a:pt x="1" y="20"/>
                        <a:pt x="0" y="19"/>
                        <a:pt x="0" y="18"/>
                      </a:cubicBezTo>
                      <a:cubicBezTo>
                        <a:pt x="0" y="2"/>
                        <a:pt x="0" y="2"/>
                        <a:pt x="0" y="2"/>
                      </a:cubicBezTo>
                      <a:cubicBezTo>
                        <a:pt x="0" y="1"/>
                        <a:pt x="1" y="0"/>
                        <a:pt x="2" y="0"/>
                      </a:cubicBezTo>
                      <a:cubicBezTo>
                        <a:pt x="14" y="0"/>
                        <a:pt x="14" y="0"/>
                        <a:pt x="14" y="0"/>
                      </a:cubicBezTo>
                      <a:cubicBezTo>
                        <a:pt x="15" y="0"/>
                        <a:pt x="16" y="1"/>
                        <a:pt x="16" y="2"/>
                      </a:cubicBezTo>
                      <a:cubicBezTo>
                        <a:pt x="16" y="18"/>
                        <a:pt x="16" y="18"/>
                        <a:pt x="16" y="18"/>
                      </a:cubicBezTo>
                      <a:cubicBezTo>
                        <a:pt x="16" y="19"/>
                        <a:pt x="15" y="20"/>
                        <a:pt x="14" y="20"/>
                      </a:cubicBezTo>
                      <a:close/>
                      <a:moveTo>
                        <a:pt x="4" y="16"/>
                      </a:moveTo>
                      <a:cubicBezTo>
                        <a:pt x="12" y="16"/>
                        <a:pt x="12" y="16"/>
                        <a:pt x="12" y="16"/>
                      </a:cubicBezTo>
                      <a:cubicBezTo>
                        <a:pt x="12" y="4"/>
                        <a:pt x="12" y="4"/>
                        <a:pt x="12" y="4"/>
                      </a:cubicBezTo>
                      <a:cubicBezTo>
                        <a:pt x="4" y="4"/>
                        <a:pt x="4" y="4"/>
                        <a:pt x="4" y="4"/>
                      </a:cubicBezTo>
                      <a:lnTo>
                        <a:pt x="4"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34" name="Freeform 80"/>
                <p:cNvSpPr>
                  <a:spLocks noEditPoints="1"/>
                </p:cNvSpPr>
                <p:nvPr/>
              </p:nvSpPr>
              <p:spPr bwMode="auto">
                <a:xfrm>
                  <a:off x="1531938" y="1922463"/>
                  <a:ext cx="61913" cy="123825"/>
                </a:xfrm>
                <a:custGeom>
                  <a:avLst/>
                  <a:gdLst>
                    <a:gd name="T0" fmla="*/ 14 w 16"/>
                    <a:gd name="T1" fmla="*/ 32 h 32"/>
                    <a:gd name="T2" fmla="*/ 2 w 16"/>
                    <a:gd name="T3" fmla="*/ 32 h 32"/>
                    <a:gd name="T4" fmla="*/ 0 w 16"/>
                    <a:gd name="T5" fmla="*/ 30 h 32"/>
                    <a:gd name="T6" fmla="*/ 0 w 16"/>
                    <a:gd name="T7" fmla="*/ 2 h 32"/>
                    <a:gd name="T8" fmla="*/ 2 w 16"/>
                    <a:gd name="T9" fmla="*/ 0 h 32"/>
                    <a:gd name="T10" fmla="*/ 14 w 16"/>
                    <a:gd name="T11" fmla="*/ 0 h 32"/>
                    <a:gd name="T12" fmla="*/ 16 w 16"/>
                    <a:gd name="T13" fmla="*/ 2 h 32"/>
                    <a:gd name="T14" fmla="*/ 16 w 16"/>
                    <a:gd name="T15" fmla="*/ 30 h 32"/>
                    <a:gd name="T16" fmla="*/ 14 w 16"/>
                    <a:gd name="T17" fmla="*/ 32 h 32"/>
                    <a:gd name="T18" fmla="*/ 4 w 16"/>
                    <a:gd name="T19" fmla="*/ 28 h 32"/>
                    <a:gd name="T20" fmla="*/ 12 w 16"/>
                    <a:gd name="T21" fmla="*/ 28 h 32"/>
                    <a:gd name="T22" fmla="*/ 12 w 16"/>
                    <a:gd name="T23" fmla="*/ 4 h 32"/>
                    <a:gd name="T24" fmla="*/ 4 w 16"/>
                    <a:gd name="T25" fmla="*/ 4 h 32"/>
                    <a:gd name="T26" fmla="*/ 4 w 16"/>
                    <a:gd name="T27" fmla="*/ 2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 h="32">
                      <a:moveTo>
                        <a:pt x="14" y="32"/>
                      </a:moveTo>
                      <a:cubicBezTo>
                        <a:pt x="2" y="32"/>
                        <a:pt x="2" y="32"/>
                        <a:pt x="2" y="32"/>
                      </a:cubicBezTo>
                      <a:cubicBezTo>
                        <a:pt x="1" y="32"/>
                        <a:pt x="0" y="31"/>
                        <a:pt x="0" y="30"/>
                      </a:cubicBezTo>
                      <a:cubicBezTo>
                        <a:pt x="0" y="2"/>
                        <a:pt x="0" y="2"/>
                        <a:pt x="0" y="2"/>
                      </a:cubicBezTo>
                      <a:cubicBezTo>
                        <a:pt x="0" y="1"/>
                        <a:pt x="1" y="0"/>
                        <a:pt x="2" y="0"/>
                      </a:cubicBezTo>
                      <a:cubicBezTo>
                        <a:pt x="14" y="0"/>
                        <a:pt x="14" y="0"/>
                        <a:pt x="14" y="0"/>
                      </a:cubicBezTo>
                      <a:cubicBezTo>
                        <a:pt x="15" y="0"/>
                        <a:pt x="16" y="1"/>
                        <a:pt x="16" y="2"/>
                      </a:cubicBezTo>
                      <a:cubicBezTo>
                        <a:pt x="16" y="30"/>
                        <a:pt x="16" y="30"/>
                        <a:pt x="16" y="30"/>
                      </a:cubicBezTo>
                      <a:cubicBezTo>
                        <a:pt x="16" y="31"/>
                        <a:pt x="15" y="32"/>
                        <a:pt x="14" y="32"/>
                      </a:cubicBezTo>
                      <a:close/>
                      <a:moveTo>
                        <a:pt x="4" y="28"/>
                      </a:moveTo>
                      <a:cubicBezTo>
                        <a:pt x="12" y="28"/>
                        <a:pt x="12" y="28"/>
                        <a:pt x="12" y="28"/>
                      </a:cubicBezTo>
                      <a:cubicBezTo>
                        <a:pt x="12" y="4"/>
                        <a:pt x="12" y="4"/>
                        <a:pt x="12" y="4"/>
                      </a:cubicBezTo>
                      <a:cubicBezTo>
                        <a:pt x="4" y="4"/>
                        <a:pt x="4" y="4"/>
                        <a:pt x="4" y="4"/>
                      </a:cubicBezTo>
                      <a:lnTo>
                        <a:pt x="4"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35" name="Freeform 81"/>
                <p:cNvSpPr>
                  <a:spLocks noEditPoints="1"/>
                </p:cNvSpPr>
                <p:nvPr/>
              </p:nvSpPr>
              <p:spPr bwMode="auto">
                <a:xfrm>
                  <a:off x="1609725" y="1890713"/>
                  <a:ext cx="61913" cy="155575"/>
                </a:xfrm>
                <a:custGeom>
                  <a:avLst/>
                  <a:gdLst>
                    <a:gd name="T0" fmla="*/ 14 w 16"/>
                    <a:gd name="T1" fmla="*/ 40 h 40"/>
                    <a:gd name="T2" fmla="*/ 2 w 16"/>
                    <a:gd name="T3" fmla="*/ 40 h 40"/>
                    <a:gd name="T4" fmla="*/ 0 w 16"/>
                    <a:gd name="T5" fmla="*/ 38 h 40"/>
                    <a:gd name="T6" fmla="*/ 0 w 16"/>
                    <a:gd name="T7" fmla="*/ 2 h 40"/>
                    <a:gd name="T8" fmla="*/ 2 w 16"/>
                    <a:gd name="T9" fmla="*/ 0 h 40"/>
                    <a:gd name="T10" fmla="*/ 14 w 16"/>
                    <a:gd name="T11" fmla="*/ 0 h 40"/>
                    <a:gd name="T12" fmla="*/ 16 w 16"/>
                    <a:gd name="T13" fmla="*/ 2 h 40"/>
                    <a:gd name="T14" fmla="*/ 16 w 16"/>
                    <a:gd name="T15" fmla="*/ 38 h 40"/>
                    <a:gd name="T16" fmla="*/ 14 w 16"/>
                    <a:gd name="T17" fmla="*/ 40 h 40"/>
                    <a:gd name="T18" fmla="*/ 4 w 16"/>
                    <a:gd name="T19" fmla="*/ 36 h 40"/>
                    <a:gd name="T20" fmla="*/ 12 w 16"/>
                    <a:gd name="T21" fmla="*/ 36 h 40"/>
                    <a:gd name="T22" fmla="*/ 12 w 16"/>
                    <a:gd name="T23" fmla="*/ 4 h 40"/>
                    <a:gd name="T24" fmla="*/ 4 w 16"/>
                    <a:gd name="T25" fmla="*/ 4 h 40"/>
                    <a:gd name="T26" fmla="*/ 4 w 16"/>
                    <a:gd name="T27" fmla="*/ 3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 h="40">
                      <a:moveTo>
                        <a:pt x="14" y="40"/>
                      </a:moveTo>
                      <a:cubicBezTo>
                        <a:pt x="2" y="40"/>
                        <a:pt x="2" y="40"/>
                        <a:pt x="2" y="40"/>
                      </a:cubicBezTo>
                      <a:cubicBezTo>
                        <a:pt x="1" y="40"/>
                        <a:pt x="0" y="39"/>
                        <a:pt x="0" y="38"/>
                      </a:cubicBezTo>
                      <a:cubicBezTo>
                        <a:pt x="0" y="2"/>
                        <a:pt x="0" y="2"/>
                        <a:pt x="0" y="2"/>
                      </a:cubicBezTo>
                      <a:cubicBezTo>
                        <a:pt x="0" y="1"/>
                        <a:pt x="1" y="0"/>
                        <a:pt x="2" y="0"/>
                      </a:cubicBezTo>
                      <a:cubicBezTo>
                        <a:pt x="14" y="0"/>
                        <a:pt x="14" y="0"/>
                        <a:pt x="14" y="0"/>
                      </a:cubicBezTo>
                      <a:cubicBezTo>
                        <a:pt x="15" y="0"/>
                        <a:pt x="16" y="1"/>
                        <a:pt x="16" y="2"/>
                      </a:cubicBezTo>
                      <a:cubicBezTo>
                        <a:pt x="16" y="38"/>
                        <a:pt x="16" y="38"/>
                        <a:pt x="16" y="38"/>
                      </a:cubicBezTo>
                      <a:cubicBezTo>
                        <a:pt x="16" y="39"/>
                        <a:pt x="15" y="40"/>
                        <a:pt x="14" y="40"/>
                      </a:cubicBezTo>
                      <a:close/>
                      <a:moveTo>
                        <a:pt x="4" y="36"/>
                      </a:moveTo>
                      <a:cubicBezTo>
                        <a:pt x="12" y="36"/>
                        <a:pt x="12" y="36"/>
                        <a:pt x="12" y="36"/>
                      </a:cubicBezTo>
                      <a:cubicBezTo>
                        <a:pt x="12" y="4"/>
                        <a:pt x="12" y="4"/>
                        <a:pt x="12" y="4"/>
                      </a:cubicBezTo>
                      <a:cubicBezTo>
                        <a:pt x="4" y="4"/>
                        <a:pt x="4" y="4"/>
                        <a:pt x="4" y="4"/>
                      </a:cubicBezTo>
                      <a:lnTo>
                        <a:pt x="4" y="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36" name="Rectangle 82"/>
                <p:cNvSpPr>
                  <a:spLocks noChangeArrowheads="1"/>
                </p:cNvSpPr>
                <p:nvPr/>
              </p:nvSpPr>
              <p:spPr bwMode="auto">
                <a:xfrm>
                  <a:off x="1423988" y="1890713"/>
                  <a:ext cx="15875" cy="1555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grpSp>
        </p:grpSp>
        <p:sp>
          <p:nvSpPr>
            <p:cNvPr id="138" name="Freeform 86"/>
            <p:cNvSpPr>
              <a:spLocks/>
            </p:cNvSpPr>
            <p:nvPr/>
          </p:nvSpPr>
          <p:spPr bwMode="auto">
            <a:xfrm>
              <a:off x="2653652" y="4244641"/>
              <a:ext cx="413573" cy="1353347"/>
            </a:xfrm>
            <a:custGeom>
              <a:avLst/>
              <a:gdLst>
                <a:gd name="T0" fmla="*/ 289 w 289"/>
                <a:gd name="T1" fmla="*/ 945 h 945"/>
                <a:gd name="T2" fmla="*/ 0 w 289"/>
                <a:gd name="T3" fmla="*/ 127 h 945"/>
                <a:gd name="T4" fmla="*/ 6 w 289"/>
                <a:gd name="T5" fmla="*/ 0 h 945"/>
              </a:gdLst>
              <a:ahLst/>
              <a:cxnLst>
                <a:cxn ang="0">
                  <a:pos x="T0" y="T1"/>
                </a:cxn>
                <a:cxn ang="0">
                  <a:pos x="T2" y="T3"/>
                </a:cxn>
                <a:cxn ang="0">
                  <a:pos x="T4" y="T5"/>
                </a:cxn>
              </a:cxnLst>
              <a:rect l="0" t="0" r="r" b="b"/>
              <a:pathLst>
                <a:path w="289" h="945">
                  <a:moveTo>
                    <a:pt x="289" y="945"/>
                  </a:moveTo>
                  <a:cubicBezTo>
                    <a:pt x="108" y="721"/>
                    <a:pt x="0" y="437"/>
                    <a:pt x="0" y="127"/>
                  </a:cubicBezTo>
                  <a:cubicBezTo>
                    <a:pt x="0" y="84"/>
                    <a:pt x="2" y="42"/>
                    <a:pt x="6" y="0"/>
                  </a:cubicBezTo>
                </a:path>
              </a:pathLst>
            </a:custGeom>
            <a:noFill/>
            <a:ln w="12700" cap="flat">
              <a:solidFill>
                <a:schemeClr val="tx1">
                  <a:lumMod val="65000"/>
                  <a:lumOff val="35000"/>
                </a:schemeClr>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39" name="Freeform 87"/>
            <p:cNvSpPr>
              <a:spLocks/>
            </p:cNvSpPr>
            <p:nvPr/>
          </p:nvSpPr>
          <p:spPr bwMode="auto">
            <a:xfrm>
              <a:off x="3789010" y="6144776"/>
              <a:ext cx="1396339" cy="150775"/>
            </a:xfrm>
            <a:custGeom>
              <a:avLst/>
              <a:gdLst>
                <a:gd name="T0" fmla="*/ 975 w 975"/>
                <a:gd name="T1" fmla="*/ 21 h 105"/>
                <a:gd name="T2" fmla="*/ 513 w 975"/>
                <a:gd name="T3" fmla="*/ 105 h 105"/>
                <a:gd name="T4" fmla="*/ 0 w 975"/>
                <a:gd name="T5" fmla="*/ 0 h 105"/>
              </a:gdLst>
              <a:ahLst/>
              <a:cxnLst>
                <a:cxn ang="0">
                  <a:pos x="T0" y="T1"/>
                </a:cxn>
                <a:cxn ang="0">
                  <a:pos x="T2" y="T3"/>
                </a:cxn>
                <a:cxn ang="0">
                  <a:pos x="T4" y="T5"/>
                </a:cxn>
              </a:cxnLst>
              <a:rect l="0" t="0" r="r" b="b"/>
              <a:pathLst>
                <a:path w="975" h="105">
                  <a:moveTo>
                    <a:pt x="975" y="21"/>
                  </a:moveTo>
                  <a:cubicBezTo>
                    <a:pt x="831" y="76"/>
                    <a:pt x="676" y="105"/>
                    <a:pt x="513" y="105"/>
                  </a:cubicBezTo>
                  <a:cubicBezTo>
                    <a:pt x="331" y="105"/>
                    <a:pt x="157" y="68"/>
                    <a:pt x="0" y="0"/>
                  </a:cubicBezTo>
                </a:path>
              </a:pathLst>
            </a:custGeom>
            <a:noFill/>
            <a:ln w="12700" cap="flat">
              <a:solidFill>
                <a:schemeClr val="tx1">
                  <a:lumMod val="65000"/>
                  <a:lumOff val="35000"/>
                </a:schemeClr>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40" name="Freeform 88"/>
            <p:cNvSpPr>
              <a:spLocks/>
            </p:cNvSpPr>
            <p:nvPr/>
          </p:nvSpPr>
          <p:spPr bwMode="auto">
            <a:xfrm>
              <a:off x="5925906" y="4342131"/>
              <a:ext cx="468070" cy="1321860"/>
            </a:xfrm>
            <a:custGeom>
              <a:avLst/>
              <a:gdLst>
                <a:gd name="T0" fmla="*/ 326 w 327"/>
                <a:gd name="T1" fmla="*/ 0 h 923"/>
                <a:gd name="T2" fmla="*/ 327 w 327"/>
                <a:gd name="T3" fmla="*/ 59 h 923"/>
                <a:gd name="T4" fmla="*/ 0 w 327"/>
                <a:gd name="T5" fmla="*/ 923 h 923"/>
              </a:gdLst>
              <a:ahLst/>
              <a:cxnLst>
                <a:cxn ang="0">
                  <a:pos x="T0" y="T1"/>
                </a:cxn>
                <a:cxn ang="0">
                  <a:pos x="T2" y="T3"/>
                </a:cxn>
                <a:cxn ang="0">
                  <a:pos x="T4" y="T5"/>
                </a:cxn>
              </a:cxnLst>
              <a:rect l="0" t="0" r="r" b="b"/>
              <a:pathLst>
                <a:path w="327" h="923">
                  <a:moveTo>
                    <a:pt x="326" y="0"/>
                  </a:moveTo>
                  <a:cubicBezTo>
                    <a:pt x="327" y="19"/>
                    <a:pt x="327" y="39"/>
                    <a:pt x="327" y="59"/>
                  </a:cubicBezTo>
                  <a:cubicBezTo>
                    <a:pt x="327" y="390"/>
                    <a:pt x="204" y="693"/>
                    <a:pt x="0" y="923"/>
                  </a:cubicBezTo>
                </a:path>
              </a:pathLst>
            </a:custGeom>
            <a:noFill/>
            <a:ln w="12700" cap="flat">
              <a:solidFill>
                <a:schemeClr val="tx1">
                  <a:lumMod val="65000"/>
                  <a:lumOff val="35000"/>
                </a:schemeClr>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41" name="Freeform 89"/>
            <p:cNvSpPr>
              <a:spLocks/>
            </p:cNvSpPr>
            <p:nvPr/>
          </p:nvSpPr>
          <p:spPr bwMode="auto">
            <a:xfrm>
              <a:off x="5010958" y="2620624"/>
              <a:ext cx="1129908" cy="864689"/>
            </a:xfrm>
            <a:custGeom>
              <a:avLst/>
              <a:gdLst>
                <a:gd name="T0" fmla="*/ 0 w 789"/>
                <a:gd name="T1" fmla="*/ 0 h 604"/>
                <a:gd name="T2" fmla="*/ 789 w 789"/>
                <a:gd name="T3" fmla="*/ 604 h 604"/>
              </a:gdLst>
              <a:ahLst/>
              <a:cxnLst>
                <a:cxn ang="0">
                  <a:pos x="T0" y="T1"/>
                </a:cxn>
                <a:cxn ang="0">
                  <a:pos x="T2" y="T3"/>
                </a:cxn>
              </a:cxnLst>
              <a:rect l="0" t="0" r="r" b="b"/>
              <a:pathLst>
                <a:path w="789" h="604">
                  <a:moveTo>
                    <a:pt x="0" y="0"/>
                  </a:moveTo>
                  <a:cubicBezTo>
                    <a:pt x="335" y="90"/>
                    <a:pt x="618" y="311"/>
                    <a:pt x="789" y="604"/>
                  </a:cubicBezTo>
                </a:path>
              </a:pathLst>
            </a:custGeom>
            <a:noFill/>
            <a:ln w="12700" cap="flat">
              <a:solidFill>
                <a:schemeClr val="tx1">
                  <a:lumMod val="65000"/>
                  <a:lumOff val="35000"/>
                </a:schemeClr>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42" name="Freeform 90"/>
            <p:cNvSpPr>
              <a:spLocks/>
            </p:cNvSpPr>
            <p:nvPr/>
          </p:nvSpPr>
          <p:spPr bwMode="auto">
            <a:xfrm>
              <a:off x="2957020" y="2600643"/>
              <a:ext cx="1161395" cy="804742"/>
            </a:xfrm>
            <a:custGeom>
              <a:avLst/>
              <a:gdLst>
                <a:gd name="T0" fmla="*/ 0 w 811"/>
                <a:gd name="T1" fmla="*/ 562 h 562"/>
                <a:gd name="T2" fmla="*/ 811 w 811"/>
                <a:gd name="T3" fmla="*/ 0 h 562"/>
              </a:gdLst>
              <a:ahLst/>
              <a:cxnLst>
                <a:cxn ang="0">
                  <a:pos x="T0" y="T1"/>
                </a:cxn>
                <a:cxn ang="0">
                  <a:pos x="T2" y="T3"/>
                </a:cxn>
              </a:cxnLst>
              <a:rect l="0" t="0" r="r" b="b"/>
              <a:pathLst>
                <a:path w="811" h="562">
                  <a:moveTo>
                    <a:pt x="0" y="562"/>
                  </a:moveTo>
                  <a:cubicBezTo>
                    <a:pt x="184" y="281"/>
                    <a:pt x="473" y="75"/>
                    <a:pt x="811" y="0"/>
                  </a:cubicBezTo>
                </a:path>
              </a:pathLst>
            </a:custGeom>
            <a:noFill/>
            <a:ln w="12700" cap="flat">
              <a:solidFill>
                <a:schemeClr val="tx1">
                  <a:lumMod val="65000"/>
                  <a:lumOff val="35000"/>
                </a:schemeClr>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grpSp>
          <p:nvGrpSpPr>
            <p:cNvPr id="143" name="Group 142"/>
            <p:cNvGrpSpPr/>
            <p:nvPr/>
          </p:nvGrpSpPr>
          <p:grpSpPr>
            <a:xfrm>
              <a:off x="4291268" y="2218523"/>
              <a:ext cx="539768" cy="539768"/>
              <a:chOff x="2439588" y="2833628"/>
              <a:chExt cx="405535" cy="405535"/>
            </a:xfrm>
          </p:grpSpPr>
          <p:sp>
            <p:nvSpPr>
              <p:cNvPr id="223" name="Oval 222"/>
              <p:cNvSpPr/>
              <p:nvPr/>
            </p:nvSpPr>
            <p:spPr>
              <a:xfrm>
                <a:off x="2439588" y="2833628"/>
                <a:ext cx="405535" cy="405535"/>
              </a:xfrm>
              <a:prstGeom prst="ellipse">
                <a:avLst/>
              </a:prstGeom>
              <a:solidFill>
                <a:schemeClr val="bg1"/>
              </a:solidFill>
              <a:ln>
                <a:noFill/>
              </a:ln>
              <a:effectLst>
                <a:outerShdw blurRad="38100" dist="25400" dir="5400000" algn="t"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224" name="Oval 223"/>
              <p:cNvSpPr/>
              <p:nvPr/>
            </p:nvSpPr>
            <p:spPr>
              <a:xfrm>
                <a:off x="2474779" y="2868819"/>
                <a:ext cx="335153" cy="335153"/>
              </a:xfrm>
              <a:prstGeom prst="ellipse">
                <a:avLst/>
              </a:prstGeom>
              <a:solidFill>
                <a:srgbClr val="3B3939"/>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grpSp>
        <p:grpSp>
          <p:nvGrpSpPr>
            <p:cNvPr id="144" name="Group 143"/>
            <p:cNvGrpSpPr/>
            <p:nvPr/>
          </p:nvGrpSpPr>
          <p:grpSpPr>
            <a:xfrm>
              <a:off x="6028023" y="3635988"/>
              <a:ext cx="539768" cy="539768"/>
              <a:chOff x="2439588" y="2833628"/>
              <a:chExt cx="405535" cy="405535"/>
            </a:xfrm>
          </p:grpSpPr>
          <p:sp>
            <p:nvSpPr>
              <p:cNvPr id="221" name="Oval 220"/>
              <p:cNvSpPr/>
              <p:nvPr/>
            </p:nvSpPr>
            <p:spPr>
              <a:xfrm>
                <a:off x="2439588" y="2833628"/>
                <a:ext cx="405535" cy="405535"/>
              </a:xfrm>
              <a:prstGeom prst="ellipse">
                <a:avLst/>
              </a:prstGeom>
              <a:solidFill>
                <a:schemeClr val="bg1"/>
              </a:solidFill>
              <a:ln>
                <a:noFill/>
              </a:ln>
              <a:effectLst>
                <a:outerShdw blurRad="38100" dist="25400" dir="5400000" algn="t"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222" name="Oval 221"/>
              <p:cNvSpPr/>
              <p:nvPr/>
            </p:nvSpPr>
            <p:spPr>
              <a:xfrm>
                <a:off x="2474779" y="2868819"/>
                <a:ext cx="335153" cy="335153"/>
              </a:xfrm>
              <a:prstGeom prst="ellipse">
                <a:avLst/>
              </a:prstGeom>
              <a:solidFill>
                <a:srgbClr val="E2583D"/>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grpSp>
        <p:grpSp>
          <p:nvGrpSpPr>
            <p:cNvPr id="145" name="Group 144"/>
            <p:cNvGrpSpPr/>
            <p:nvPr/>
          </p:nvGrpSpPr>
          <p:grpSpPr>
            <a:xfrm>
              <a:off x="3099542" y="5643044"/>
              <a:ext cx="539768" cy="539768"/>
              <a:chOff x="2439588" y="2833628"/>
              <a:chExt cx="405535" cy="405535"/>
            </a:xfrm>
          </p:grpSpPr>
          <p:sp>
            <p:nvSpPr>
              <p:cNvPr id="219" name="Oval 218"/>
              <p:cNvSpPr/>
              <p:nvPr/>
            </p:nvSpPr>
            <p:spPr>
              <a:xfrm>
                <a:off x="2439588" y="2833628"/>
                <a:ext cx="405535" cy="405535"/>
              </a:xfrm>
              <a:prstGeom prst="ellipse">
                <a:avLst/>
              </a:prstGeom>
              <a:solidFill>
                <a:schemeClr val="bg1"/>
              </a:solidFill>
              <a:ln>
                <a:noFill/>
              </a:ln>
              <a:effectLst>
                <a:outerShdw blurRad="38100" dist="25400" dir="5400000" algn="t"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220" name="Oval 219"/>
              <p:cNvSpPr/>
              <p:nvPr/>
            </p:nvSpPr>
            <p:spPr>
              <a:xfrm>
                <a:off x="2474779" y="2868819"/>
                <a:ext cx="335153" cy="335153"/>
              </a:xfrm>
              <a:prstGeom prst="ellipse">
                <a:avLst/>
              </a:prstGeom>
              <a:solidFill>
                <a:srgbClr val="E2583D"/>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grpSp>
        <p:grpSp>
          <p:nvGrpSpPr>
            <p:cNvPr id="146" name="Group 145"/>
            <p:cNvGrpSpPr/>
            <p:nvPr/>
          </p:nvGrpSpPr>
          <p:grpSpPr>
            <a:xfrm>
              <a:off x="5298905" y="5773807"/>
              <a:ext cx="539768" cy="539768"/>
              <a:chOff x="2439588" y="2833628"/>
              <a:chExt cx="405535" cy="405535"/>
            </a:xfrm>
          </p:grpSpPr>
          <p:sp>
            <p:nvSpPr>
              <p:cNvPr id="217" name="Oval 216"/>
              <p:cNvSpPr/>
              <p:nvPr/>
            </p:nvSpPr>
            <p:spPr>
              <a:xfrm>
                <a:off x="2439588" y="2833628"/>
                <a:ext cx="405535" cy="405535"/>
              </a:xfrm>
              <a:prstGeom prst="ellipse">
                <a:avLst/>
              </a:prstGeom>
              <a:solidFill>
                <a:schemeClr val="bg1"/>
              </a:solidFill>
              <a:ln>
                <a:noFill/>
              </a:ln>
              <a:effectLst>
                <a:outerShdw blurRad="38100" dist="25400" dir="5400000" algn="t"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218" name="Oval 217"/>
              <p:cNvSpPr/>
              <p:nvPr/>
            </p:nvSpPr>
            <p:spPr>
              <a:xfrm>
                <a:off x="2474779" y="2868819"/>
                <a:ext cx="335153" cy="335153"/>
              </a:xfrm>
              <a:prstGeom prst="ellipse">
                <a:avLst/>
              </a:prstGeom>
              <a:solidFill>
                <a:srgbClr val="78D2D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grpSp>
        <p:grpSp>
          <p:nvGrpSpPr>
            <p:cNvPr id="147" name="Group 146"/>
            <p:cNvGrpSpPr/>
            <p:nvPr/>
          </p:nvGrpSpPr>
          <p:grpSpPr>
            <a:xfrm>
              <a:off x="3540827" y="1603158"/>
              <a:ext cx="2040650" cy="627923"/>
              <a:chOff x="3680594" y="1211495"/>
              <a:chExt cx="2040650" cy="627923"/>
            </a:xfrm>
          </p:grpSpPr>
          <p:sp>
            <p:nvSpPr>
              <p:cNvPr id="215" name="TextBox 214"/>
              <p:cNvSpPr txBox="1"/>
              <p:nvPr/>
            </p:nvSpPr>
            <p:spPr>
              <a:xfrm>
                <a:off x="3680594" y="1211495"/>
                <a:ext cx="2040650" cy="153888"/>
              </a:xfrm>
              <a:prstGeom prst="rect">
                <a:avLst/>
              </a:prstGeom>
              <a:noFill/>
              <a:ln w="6350">
                <a:noFill/>
                <a:prstDash val="dash"/>
              </a:ln>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effectLst/>
                    <a:uLnTx/>
                    <a:uFillTx/>
                    <a:ea typeface="+mn-ea"/>
                    <a:cs typeface="+mn-cs"/>
                  </a:rPr>
                  <a:t>PREPARE FOR RE ENGINEERING</a:t>
                </a:r>
              </a:p>
            </p:txBody>
          </p:sp>
          <p:sp>
            <p:nvSpPr>
              <p:cNvPr id="216" name="TextBox 215"/>
              <p:cNvSpPr txBox="1"/>
              <p:nvPr/>
            </p:nvSpPr>
            <p:spPr>
              <a:xfrm>
                <a:off x="3779557" y="1377753"/>
                <a:ext cx="1842724" cy="461665"/>
              </a:xfrm>
              <a:prstGeom prst="rect">
                <a:avLst/>
              </a:prstGeom>
              <a:noFill/>
              <a:ln w="6350">
                <a:noFill/>
                <a:prstDash val="dash"/>
              </a:ln>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effectLst/>
                    <a:uLnTx/>
                    <a:uFillTx/>
                    <a:ea typeface="+mn-ea"/>
                    <a:cs typeface="+mn-cs"/>
                  </a:rPr>
                  <a:t>Lorem </a:t>
                </a:r>
                <a:r>
                  <a:rPr kumimoji="0" lang="en-US" sz="1000" b="0" i="0" u="none" strike="noStrike" kern="1200" cap="none" spc="0" normalizeH="0" baseline="0" noProof="0" dirty="0" err="1">
                    <a:ln>
                      <a:noFill/>
                    </a:ln>
                    <a:effectLst/>
                    <a:uLnTx/>
                    <a:uFillTx/>
                    <a:ea typeface="+mn-ea"/>
                    <a:cs typeface="+mn-cs"/>
                  </a:rPr>
                  <a:t>Ipsum</a:t>
                </a:r>
                <a:r>
                  <a:rPr kumimoji="0" lang="en-US" sz="1000" b="0" i="0" u="none" strike="noStrike" kern="1200" cap="none" spc="0" normalizeH="0" baseline="0" noProof="0" dirty="0">
                    <a:ln>
                      <a:noFill/>
                    </a:ln>
                    <a:effectLst/>
                    <a:uLnTx/>
                    <a:uFillTx/>
                    <a:ea typeface="+mn-ea"/>
                    <a:cs typeface="+mn-cs"/>
                  </a:rPr>
                  <a:t> is simply dummy text of the printing and typesetting industry</a:t>
                </a:r>
              </a:p>
            </p:txBody>
          </p:sp>
        </p:grpSp>
        <p:grpSp>
          <p:nvGrpSpPr>
            <p:cNvPr id="148" name="Group 147"/>
            <p:cNvGrpSpPr/>
            <p:nvPr/>
          </p:nvGrpSpPr>
          <p:grpSpPr>
            <a:xfrm>
              <a:off x="744632" y="3519970"/>
              <a:ext cx="1643274" cy="635543"/>
              <a:chOff x="921999" y="2968954"/>
              <a:chExt cx="1643274" cy="635543"/>
            </a:xfrm>
          </p:grpSpPr>
          <p:sp>
            <p:nvSpPr>
              <p:cNvPr id="213" name="TextBox 212"/>
              <p:cNvSpPr txBox="1"/>
              <p:nvPr/>
            </p:nvSpPr>
            <p:spPr>
              <a:xfrm>
                <a:off x="1627441" y="2968954"/>
                <a:ext cx="937832" cy="153888"/>
              </a:xfrm>
              <a:prstGeom prst="rect">
                <a:avLst/>
              </a:prstGeom>
              <a:noFill/>
              <a:ln w="6350">
                <a:noFill/>
                <a:prstDash val="dash"/>
              </a:ln>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effectLst/>
                    <a:uLnTx/>
                    <a:uFillTx/>
                    <a:ea typeface="+mn-ea"/>
                    <a:cs typeface="+mn-cs"/>
                  </a:rPr>
                  <a:t>MONITORING</a:t>
                </a:r>
              </a:p>
            </p:txBody>
          </p:sp>
          <p:sp>
            <p:nvSpPr>
              <p:cNvPr id="214" name="TextBox 213"/>
              <p:cNvSpPr txBox="1"/>
              <p:nvPr/>
            </p:nvSpPr>
            <p:spPr>
              <a:xfrm>
                <a:off x="921999" y="3142832"/>
                <a:ext cx="1643274" cy="461665"/>
              </a:xfrm>
              <a:prstGeom prst="rect">
                <a:avLst/>
              </a:prstGeom>
              <a:noFill/>
              <a:ln w="6350">
                <a:noFill/>
                <a:prstDash val="dash"/>
              </a:ln>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effectLst/>
                    <a:uLnTx/>
                    <a:uFillTx/>
                    <a:ea typeface="+mn-ea"/>
                    <a:cs typeface="+mn-cs"/>
                  </a:rPr>
                  <a:t>Lorem </a:t>
                </a:r>
                <a:r>
                  <a:rPr kumimoji="0" lang="en-US" sz="1000" b="0" i="0" u="none" strike="noStrike" kern="1200" cap="none" spc="0" normalizeH="0" baseline="0" noProof="0" dirty="0" err="1">
                    <a:ln>
                      <a:noFill/>
                    </a:ln>
                    <a:effectLst/>
                    <a:uLnTx/>
                    <a:uFillTx/>
                    <a:ea typeface="+mn-ea"/>
                    <a:cs typeface="+mn-cs"/>
                  </a:rPr>
                  <a:t>Ipsum</a:t>
                </a:r>
                <a:r>
                  <a:rPr kumimoji="0" lang="en-US" sz="1000" b="0" i="0" u="none" strike="noStrike" kern="1200" cap="none" spc="0" normalizeH="0" baseline="0" noProof="0" dirty="0">
                    <a:ln>
                      <a:noFill/>
                    </a:ln>
                    <a:effectLst/>
                    <a:uLnTx/>
                    <a:uFillTx/>
                    <a:ea typeface="+mn-ea"/>
                    <a:cs typeface="+mn-cs"/>
                  </a:rPr>
                  <a:t> is simply dummy text of the printing and typesetting industry</a:t>
                </a:r>
              </a:p>
            </p:txBody>
          </p:sp>
        </p:grpSp>
        <p:grpSp>
          <p:nvGrpSpPr>
            <p:cNvPr id="149" name="Group 148"/>
            <p:cNvGrpSpPr/>
            <p:nvPr/>
          </p:nvGrpSpPr>
          <p:grpSpPr>
            <a:xfrm>
              <a:off x="1011843" y="5672101"/>
              <a:ext cx="1996197" cy="635543"/>
              <a:chOff x="569076" y="2968954"/>
              <a:chExt cx="1996197" cy="635543"/>
            </a:xfrm>
          </p:grpSpPr>
          <p:sp>
            <p:nvSpPr>
              <p:cNvPr id="180" name="TextBox 179"/>
              <p:cNvSpPr txBox="1"/>
              <p:nvPr/>
            </p:nvSpPr>
            <p:spPr>
              <a:xfrm>
                <a:off x="569076" y="2968954"/>
                <a:ext cx="1996197" cy="153888"/>
              </a:xfrm>
              <a:prstGeom prst="rect">
                <a:avLst/>
              </a:prstGeom>
              <a:noFill/>
              <a:ln w="6350">
                <a:noFill/>
                <a:prstDash val="dash"/>
              </a:ln>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effectLst/>
                    <a:uLnTx/>
                    <a:uFillTx/>
                    <a:ea typeface="+mn-ea"/>
                    <a:cs typeface="+mn-cs"/>
                  </a:rPr>
                  <a:t>IMPLEMENT RE ENGINEERING</a:t>
                </a:r>
              </a:p>
            </p:txBody>
          </p:sp>
          <p:sp>
            <p:nvSpPr>
              <p:cNvPr id="181" name="TextBox 180"/>
              <p:cNvSpPr txBox="1"/>
              <p:nvPr/>
            </p:nvSpPr>
            <p:spPr>
              <a:xfrm>
                <a:off x="916066" y="3142832"/>
                <a:ext cx="1649207" cy="461665"/>
              </a:xfrm>
              <a:prstGeom prst="rect">
                <a:avLst/>
              </a:prstGeom>
              <a:noFill/>
              <a:ln w="6350">
                <a:noFill/>
                <a:prstDash val="dash"/>
              </a:ln>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effectLst/>
                    <a:uLnTx/>
                    <a:uFillTx/>
                    <a:ea typeface="+mn-ea"/>
                    <a:cs typeface="+mn-cs"/>
                  </a:rPr>
                  <a:t>Lorem </a:t>
                </a:r>
                <a:r>
                  <a:rPr kumimoji="0" lang="en-US" sz="1000" b="0" i="0" u="none" strike="noStrike" kern="1200" cap="none" spc="0" normalizeH="0" baseline="0" noProof="0" dirty="0" err="1">
                    <a:ln>
                      <a:noFill/>
                    </a:ln>
                    <a:effectLst/>
                    <a:uLnTx/>
                    <a:uFillTx/>
                    <a:ea typeface="+mn-ea"/>
                    <a:cs typeface="+mn-cs"/>
                  </a:rPr>
                  <a:t>Ipsum</a:t>
                </a:r>
                <a:r>
                  <a:rPr kumimoji="0" lang="en-US" sz="1000" b="0" i="0" u="none" strike="noStrike" kern="1200" cap="none" spc="0" normalizeH="0" baseline="0" noProof="0" dirty="0">
                    <a:ln>
                      <a:noFill/>
                    </a:ln>
                    <a:effectLst/>
                    <a:uLnTx/>
                    <a:uFillTx/>
                    <a:ea typeface="+mn-ea"/>
                    <a:cs typeface="+mn-cs"/>
                  </a:rPr>
                  <a:t> is simply dummy text of the printing and typesetting industry</a:t>
                </a:r>
              </a:p>
            </p:txBody>
          </p:sp>
        </p:grpSp>
        <p:grpSp>
          <p:nvGrpSpPr>
            <p:cNvPr id="150" name="Group 149"/>
            <p:cNvGrpSpPr/>
            <p:nvPr/>
          </p:nvGrpSpPr>
          <p:grpSpPr>
            <a:xfrm>
              <a:off x="6671119" y="3665045"/>
              <a:ext cx="1728249" cy="635543"/>
              <a:chOff x="6811521" y="2995238"/>
              <a:chExt cx="1728249" cy="635543"/>
            </a:xfrm>
          </p:grpSpPr>
          <p:sp>
            <p:nvSpPr>
              <p:cNvPr id="178" name="TextBox 177"/>
              <p:cNvSpPr txBox="1"/>
              <p:nvPr/>
            </p:nvSpPr>
            <p:spPr>
              <a:xfrm>
                <a:off x="6811522" y="2995238"/>
                <a:ext cx="1413700" cy="153888"/>
              </a:xfrm>
              <a:prstGeom prst="rect">
                <a:avLst/>
              </a:prstGeom>
              <a:noFill/>
              <a:ln w="6350">
                <a:noFill/>
                <a:prstDash val="dash"/>
              </a:ln>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effectLst/>
                    <a:uLnTx/>
                    <a:uFillTx/>
                    <a:ea typeface="+mn-ea"/>
                    <a:cs typeface="+mn-cs"/>
                  </a:rPr>
                  <a:t>ANALYZE</a:t>
                </a:r>
              </a:p>
            </p:txBody>
          </p:sp>
          <p:sp>
            <p:nvSpPr>
              <p:cNvPr id="179" name="TextBox 178"/>
              <p:cNvSpPr txBox="1"/>
              <p:nvPr/>
            </p:nvSpPr>
            <p:spPr>
              <a:xfrm>
                <a:off x="6811521" y="3169116"/>
                <a:ext cx="1728249" cy="461665"/>
              </a:xfrm>
              <a:prstGeom prst="rect">
                <a:avLst/>
              </a:prstGeom>
              <a:noFill/>
              <a:ln w="6350">
                <a:noFill/>
                <a:prstDash val="dash"/>
              </a:ln>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effectLst/>
                    <a:uLnTx/>
                    <a:uFillTx/>
                    <a:ea typeface="+mn-ea"/>
                    <a:cs typeface="+mn-cs"/>
                  </a:rPr>
                  <a:t>Lorem </a:t>
                </a:r>
                <a:r>
                  <a:rPr kumimoji="0" lang="en-US" sz="1000" b="0" i="0" u="none" strike="noStrike" kern="1200" cap="none" spc="0" normalizeH="0" baseline="0" noProof="0" dirty="0" err="1">
                    <a:ln>
                      <a:noFill/>
                    </a:ln>
                    <a:effectLst/>
                    <a:uLnTx/>
                    <a:uFillTx/>
                    <a:ea typeface="+mn-ea"/>
                    <a:cs typeface="+mn-cs"/>
                  </a:rPr>
                  <a:t>Ipsum</a:t>
                </a:r>
                <a:r>
                  <a:rPr kumimoji="0" lang="en-US" sz="1000" b="0" i="0" u="none" strike="noStrike" kern="1200" cap="none" spc="0" normalizeH="0" baseline="0" noProof="0" dirty="0">
                    <a:ln>
                      <a:noFill/>
                    </a:ln>
                    <a:effectLst/>
                    <a:uLnTx/>
                    <a:uFillTx/>
                    <a:ea typeface="+mn-ea"/>
                    <a:cs typeface="+mn-cs"/>
                  </a:rPr>
                  <a:t> is simply dummy text of the printing and typesetting industry</a:t>
                </a:r>
              </a:p>
            </p:txBody>
          </p:sp>
        </p:grpSp>
        <p:grpSp>
          <p:nvGrpSpPr>
            <p:cNvPr id="151" name="Group 150"/>
            <p:cNvGrpSpPr/>
            <p:nvPr/>
          </p:nvGrpSpPr>
          <p:grpSpPr>
            <a:xfrm>
              <a:off x="5949124" y="5802864"/>
              <a:ext cx="1659828" cy="635543"/>
              <a:chOff x="6811522" y="2995238"/>
              <a:chExt cx="1659828" cy="635543"/>
            </a:xfrm>
          </p:grpSpPr>
          <p:sp>
            <p:nvSpPr>
              <p:cNvPr id="176" name="TextBox 175"/>
              <p:cNvSpPr txBox="1"/>
              <p:nvPr/>
            </p:nvSpPr>
            <p:spPr>
              <a:xfrm>
                <a:off x="6811522" y="2995238"/>
                <a:ext cx="937832" cy="153888"/>
              </a:xfrm>
              <a:prstGeom prst="rect">
                <a:avLst/>
              </a:prstGeom>
              <a:noFill/>
              <a:ln w="6350">
                <a:noFill/>
                <a:prstDash val="dash"/>
              </a:ln>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effectLst/>
                    <a:uLnTx/>
                    <a:uFillTx/>
                    <a:ea typeface="+mn-ea"/>
                    <a:cs typeface="+mn-cs"/>
                  </a:rPr>
                  <a:t>DESIGN To-Be</a:t>
                </a:r>
              </a:p>
            </p:txBody>
          </p:sp>
          <p:sp>
            <p:nvSpPr>
              <p:cNvPr id="177" name="TextBox 176"/>
              <p:cNvSpPr txBox="1"/>
              <p:nvPr/>
            </p:nvSpPr>
            <p:spPr>
              <a:xfrm>
                <a:off x="6811522" y="3169116"/>
                <a:ext cx="1659828" cy="461665"/>
              </a:xfrm>
              <a:prstGeom prst="rect">
                <a:avLst/>
              </a:prstGeom>
              <a:noFill/>
              <a:ln w="6350">
                <a:noFill/>
                <a:prstDash val="dash"/>
              </a:ln>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effectLst/>
                    <a:uLnTx/>
                    <a:uFillTx/>
                    <a:ea typeface="+mn-ea"/>
                    <a:cs typeface="+mn-cs"/>
                  </a:rPr>
                  <a:t>Lorem </a:t>
                </a:r>
                <a:r>
                  <a:rPr kumimoji="0" lang="en-US" sz="1000" b="0" i="0" u="none" strike="noStrike" kern="1200" cap="none" spc="0" normalizeH="0" baseline="0" noProof="0" dirty="0" err="1">
                    <a:ln>
                      <a:noFill/>
                    </a:ln>
                    <a:effectLst/>
                    <a:uLnTx/>
                    <a:uFillTx/>
                    <a:ea typeface="+mn-ea"/>
                    <a:cs typeface="+mn-cs"/>
                  </a:rPr>
                  <a:t>Ipsum</a:t>
                </a:r>
                <a:r>
                  <a:rPr kumimoji="0" lang="en-US" sz="1000" b="0" i="0" u="none" strike="noStrike" kern="1200" cap="none" spc="0" normalizeH="0" baseline="0" noProof="0" dirty="0">
                    <a:ln>
                      <a:noFill/>
                    </a:ln>
                    <a:effectLst/>
                    <a:uLnTx/>
                    <a:uFillTx/>
                    <a:ea typeface="+mn-ea"/>
                    <a:cs typeface="+mn-cs"/>
                  </a:rPr>
                  <a:t> is simply dummy text of the printing and typesetting industry</a:t>
                </a:r>
              </a:p>
            </p:txBody>
          </p:sp>
        </p:grpSp>
        <p:grpSp>
          <p:nvGrpSpPr>
            <p:cNvPr id="152" name="Group 151"/>
            <p:cNvGrpSpPr>
              <a:grpSpLocks noChangeAspect="1"/>
            </p:cNvGrpSpPr>
            <p:nvPr/>
          </p:nvGrpSpPr>
          <p:grpSpPr>
            <a:xfrm>
              <a:off x="4429752" y="2357007"/>
              <a:ext cx="262801" cy="262800"/>
              <a:chOff x="6445250" y="1803400"/>
              <a:chExt cx="371476" cy="371475"/>
            </a:xfrm>
            <a:solidFill>
              <a:schemeClr val="bg1"/>
            </a:solidFill>
          </p:grpSpPr>
          <p:sp>
            <p:nvSpPr>
              <p:cNvPr id="172" name="Freeform 94"/>
              <p:cNvSpPr>
                <a:spLocks noEditPoints="1"/>
              </p:cNvSpPr>
              <p:nvPr/>
            </p:nvSpPr>
            <p:spPr bwMode="auto">
              <a:xfrm>
                <a:off x="6523038" y="1989138"/>
                <a:ext cx="107950" cy="107950"/>
              </a:xfrm>
              <a:custGeom>
                <a:avLst/>
                <a:gdLst>
                  <a:gd name="T0" fmla="*/ 14 w 28"/>
                  <a:gd name="T1" fmla="*/ 28 h 28"/>
                  <a:gd name="T2" fmla="*/ 0 w 28"/>
                  <a:gd name="T3" fmla="*/ 14 h 28"/>
                  <a:gd name="T4" fmla="*/ 14 w 28"/>
                  <a:gd name="T5" fmla="*/ 0 h 28"/>
                  <a:gd name="T6" fmla="*/ 28 w 28"/>
                  <a:gd name="T7" fmla="*/ 14 h 28"/>
                  <a:gd name="T8" fmla="*/ 14 w 28"/>
                  <a:gd name="T9" fmla="*/ 28 h 28"/>
                  <a:gd name="T10" fmla="*/ 14 w 28"/>
                  <a:gd name="T11" fmla="*/ 4 h 28"/>
                  <a:gd name="T12" fmla="*/ 4 w 28"/>
                  <a:gd name="T13" fmla="*/ 14 h 28"/>
                  <a:gd name="T14" fmla="*/ 14 w 28"/>
                  <a:gd name="T15" fmla="*/ 24 h 28"/>
                  <a:gd name="T16" fmla="*/ 24 w 28"/>
                  <a:gd name="T17" fmla="*/ 14 h 28"/>
                  <a:gd name="T18" fmla="*/ 14 w 28"/>
                  <a:gd name="T19" fmla="*/ 4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 h="28">
                    <a:moveTo>
                      <a:pt x="14" y="28"/>
                    </a:moveTo>
                    <a:cubicBezTo>
                      <a:pt x="6" y="28"/>
                      <a:pt x="0" y="22"/>
                      <a:pt x="0" y="14"/>
                    </a:cubicBezTo>
                    <a:cubicBezTo>
                      <a:pt x="0" y="6"/>
                      <a:pt x="6" y="0"/>
                      <a:pt x="14" y="0"/>
                    </a:cubicBezTo>
                    <a:cubicBezTo>
                      <a:pt x="22" y="0"/>
                      <a:pt x="28" y="6"/>
                      <a:pt x="28" y="14"/>
                    </a:cubicBezTo>
                    <a:cubicBezTo>
                      <a:pt x="28" y="22"/>
                      <a:pt x="22" y="28"/>
                      <a:pt x="14" y="28"/>
                    </a:cubicBezTo>
                    <a:close/>
                    <a:moveTo>
                      <a:pt x="14" y="4"/>
                    </a:moveTo>
                    <a:cubicBezTo>
                      <a:pt x="8" y="4"/>
                      <a:pt x="4" y="8"/>
                      <a:pt x="4" y="14"/>
                    </a:cubicBezTo>
                    <a:cubicBezTo>
                      <a:pt x="4" y="20"/>
                      <a:pt x="8" y="24"/>
                      <a:pt x="14" y="24"/>
                    </a:cubicBezTo>
                    <a:cubicBezTo>
                      <a:pt x="20" y="24"/>
                      <a:pt x="24" y="20"/>
                      <a:pt x="24" y="14"/>
                    </a:cubicBezTo>
                    <a:cubicBezTo>
                      <a:pt x="24" y="8"/>
                      <a:pt x="20" y="4"/>
                      <a:pt x="1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73" name="Freeform 95"/>
              <p:cNvSpPr>
                <a:spLocks noEditPoints="1"/>
              </p:cNvSpPr>
              <p:nvPr/>
            </p:nvSpPr>
            <p:spPr bwMode="auto">
              <a:xfrm>
                <a:off x="6445250" y="1911350"/>
                <a:ext cx="263525" cy="263525"/>
              </a:xfrm>
              <a:custGeom>
                <a:avLst/>
                <a:gdLst>
                  <a:gd name="T0" fmla="*/ 26 w 68"/>
                  <a:gd name="T1" fmla="*/ 68 h 68"/>
                  <a:gd name="T2" fmla="*/ 24 w 68"/>
                  <a:gd name="T3" fmla="*/ 60 h 68"/>
                  <a:gd name="T4" fmla="*/ 11 w 68"/>
                  <a:gd name="T5" fmla="*/ 59 h 68"/>
                  <a:gd name="T6" fmla="*/ 1 w 68"/>
                  <a:gd name="T7" fmla="*/ 44 h 68"/>
                  <a:gd name="T8" fmla="*/ 1 w 68"/>
                  <a:gd name="T9" fmla="*/ 41 h 68"/>
                  <a:gd name="T10" fmla="*/ 6 w 68"/>
                  <a:gd name="T11" fmla="*/ 30 h 68"/>
                  <a:gd name="T12" fmla="*/ 1 w 68"/>
                  <a:gd name="T13" fmla="*/ 24 h 68"/>
                  <a:gd name="T14" fmla="*/ 10 w 68"/>
                  <a:gd name="T15" fmla="*/ 9 h 68"/>
                  <a:gd name="T16" fmla="*/ 16 w 68"/>
                  <a:gd name="T17" fmla="*/ 12 h 68"/>
                  <a:gd name="T18" fmla="*/ 24 w 68"/>
                  <a:gd name="T19" fmla="*/ 2 h 68"/>
                  <a:gd name="T20" fmla="*/ 42 w 68"/>
                  <a:gd name="T21" fmla="*/ 0 h 68"/>
                  <a:gd name="T22" fmla="*/ 44 w 68"/>
                  <a:gd name="T23" fmla="*/ 8 h 68"/>
                  <a:gd name="T24" fmla="*/ 57 w 68"/>
                  <a:gd name="T25" fmla="*/ 9 h 68"/>
                  <a:gd name="T26" fmla="*/ 67 w 68"/>
                  <a:gd name="T27" fmla="*/ 24 h 68"/>
                  <a:gd name="T28" fmla="*/ 62 w 68"/>
                  <a:gd name="T29" fmla="*/ 30 h 68"/>
                  <a:gd name="T30" fmla="*/ 67 w 68"/>
                  <a:gd name="T31" fmla="*/ 41 h 68"/>
                  <a:gd name="T32" fmla="*/ 67 w 68"/>
                  <a:gd name="T33" fmla="*/ 44 h 68"/>
                  <a:gd name="T34" fmla="*/ 58 w 68"/>
                  <a:gd name="T35" fmla="*/ 59 h 68"/>
                  <a:gd name="T36" fmla="*/ 52 w 68"/>
                  <a:gd name="T37" fmla="*/ 56 h 68"/>
                  <a:gd name="T38" fmla="*/ 44 w 68"/>
                  <a:gd name="T39" fmla="*/ 66 h 68"/>
                  <a:gd name="T40" fmla="*/ 28 w 68"/>
                  <a:gd name="T41" fmla="*/ 64 h 68"/>
                  <a:gd name="T42" fmla="*/ 40 w 68"/>
                  <a:gd name="T43" fmla="*/ 59 h 68"/>
                  <a:gd name="T44" fmla="*/ 50 w 68"/>
                  <a:gd name="T45" fmla="*/ 52 h 68"/>
                  <a:gd name="T46" fmla="*/ 57 w 68"/>
                  <a:gd name="T47" fmla="*/ 54 h 68"/>
                  <a:gd name="T48" fmla="*/ 58 w 68"/>
                  <a:gd name="T49" fmla="*/ 41 h 68"/>
                  <a:gd name="T50" fmla="*/ 57 w 68"/>
                  <a:gd name="T51" fmla="*/ 29 h 68"/>
                  <a:gd name="T52" fmla="*/ 63 w 68"/>
                  <a:gd name="T53" fmla="*/ 24 h 68"/>
                  <a:gd name="T54" fmla="*/ 52 w 68"/>
                  <a:gd name="T55" fmla="*/ 16 h 68"/>
                  <a:gd name="T56" fmla="*/ 41 w 68"/>
                  <a:gd name="T57" fmla="*/ 11 h 68"/>
                  <a:gd name="T58" fmla="*/ 40 w 68"/>
                  <a:gd name="T59" fmla="*/ 4 h 68"/>
                  <a:gd name="T60" fmla="*/ 28 w 68"/>
                  <a:gd name="T61" fmla="*/ 9 h 68"/>
                  <a:gd name="T62" fmla="*/ 18 w 68"/>
                  <a:gd name="T63" fmla="*/ 16 h 68"/>
                  <a:gd name="T64" fmla="*/ 11 w 68"/>
                  <a:gd name="T65" fmla="*/ 14 h 68"/>
                  <a:gd name="T66" fmla="*/ 10 w 68"/>
                  <a:gd name="T67" fmla="*/ 27 h 68"/>
                  <a:gd name="T68" fmla="*/ 11 w 68"/>
                  <a:gd name="T69" fmla="*/ 39 h 68"/>
                  <a:gd name="T70" fmla="*/ 5 w 68"/>
                  <a:gd name="T71" fmla="*/ 44 h 68"/>
                  <a:gd name="T72" fmla="*/ 16 w 68"/>
                  <a:gd name="T73" fmla="*/ 52 h 68"/>
                  <a:gd name="T74" fmla="*/ 27 w 68"/>
                  <a:gd name="T75" fmla="*/ 57 h 68"/>
                  <a:gd name="T76" fmla="*/ 28 w 68"/>
                  <a:gd name="T77" fmla="*/ 64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68" h="68">
                    <a:moveTo>
                      <a:pt x="42" y="68"/>
                    </a:moveTo>
                    <a:cubicBezTo>
                      <a:pt x="26" y="68"/>
                      <a:pt x="26" y="68"/>
                      <a:pt x="26" y="68"/>
                    </a:cubicBezTo>
                    <a:cubicBezTo>
                      <a:pt x="25" y="68"/>
                      <a:pt x="24" y="67"/>
                      <a:pt x="24" y="66"/>
                    </a:cubicBezTo>
                    <a:cubicBezTo>
                      <a:pt x="24" y="60"/>
                      <a:pt x="24" y="60"/>
                      <a:pt x="24" y="60"/>
                    </a:cubicBezTo>
                    <a:cubicBezTo>
                      <a:pt x="21" y="59"/>
                      <a:pt x="19" y="58"/>
                      <a:pt x="16" y="56"/>
                    </a:cubicBezTo>
                    <a:cubicBezTo>
                      <a:pt x="11" y="59"/>
                      <a:pt x="11" y="59"/>
                      <a:pt x="11" y="59"/>
                    </a:cubicBezTo>
                    <a:cubicBezTo>
                      <a:pt x="10" y="59"/>
                      <a:pt x="9" y="59"/>
                      <a:pt x="9" y="58"/>
                    </a:cubicBezTo>
                    <a:cubicBezTo>
                      <a:pt x="1" y="44"/>
                      <a:pt x="1" y="44"/>
                      <a:pt x="1" y="44"/>
                    </a:cubicBezTo>
                    <a:cubicBezTo>
                      <a:pt x="0" y="44"/>
                      <a:pt x="0" y="43"/>
                      <a:pt x="0" y="43"/>
                    </a:cubicBezTo>
                    <a:cubicBezTo>
                      <a:pt x="0" y="42"/>
                      <a:pt x="1" y="42"/>
                      <a:pt x="1" y="41"/>
                    </a:cubicBezTo>
                    <a:cubicBezTo>
                      <a:pt x="6" y="38"/>
                      <a:pt x="6" y="38"/>
                      <a:pt x="6" y="38"/>
                    </a:cubicBezTo>
                    <a:cubicBezTo>
                      <a:pt x="6" y="35"/>
                      <a:pt x="6" y="33"/>
                      <a:pt x="6" y="30"/>
                    </a:cubicBezTo>
                    <a:cubicBezTo>
                      <a:pt x="1" y="27"/>
                      <a:pt x="1" y="27"/>
                      <a:pt x="1" y="27"/>
                    </a:cubicBezTo>
                    <a:cubicBezTo>
                      <a:pt x="0" y="26"/>
                      <a:pt x="0" y="25"/>
                      <a:pt x="1" y="24"/>
                    </a:cubicBezTo>
                    <a:cubicBezTo>
                      <a:pt x="9" y="10"/>
                      <a:pt x="9" y="10"/>
                      <a:pt x="9" y="10"/>
                    </a:cubicBezTo>
                    <a:cubicBezTo>
                      <a:pt x="9" y="10"/>
                      <a:pt x="9" y="9"/>
                      <a:pt x="10" y="9"/>
                    </a:cubicBezTo>
                    <a:cubicBezTo>
                      <a:pt x="10" y="9"/>
                      <a:pt x="11" y="9"/>
                      <a:pt x="11" y="9"/>
                    </a:cubicBezTo>
                    <a:cubicBezTo>
                      <a:pt x="16" y="12"/>
                      <a:pt x="16" y="12"/>
                      <a:pt x="16" y="12"/>
                    </a:cubicBezTo>
                    <a:cubicBezTo>
                      <a:pt x="19" y="10"/>
                      <a:pt x="21" y="9"/>
                      <a:pt x="24" y="8"/>
                    </a:cubicBezTo>
                    <a:cubicBezTo>
                      <a:pt x="24" y="2"/>
                      <a:pt x="24" y="2"/>
                      <a:pt x="24" y="2"/>
                    </a:cubicBezTo>
                    <a:cubicBezTo>
                      <a:pt x="24" y="1"/>
                      <a:pt x="25" y="0"/>
                      <a:pt x="26" y="0"/>
                    </a:cubicBezTo>
                    <a:cubicBezTo>
                      <a:pt x="42" y="0"/>
                      <a:pt x="42" y="0"/>
                      <a:pt x="42" y="0"/>
                    </a:cubicBezTo>
                    <a:cubicBezTo>
                      <a:pt x="43" y="0"/>
                      <a:pt x="44" y="1"/>
                      <a:pt x="44" y="2"/>
                    </a:cubicBezTo>
                    <a:cubicBezTo>
                      <a:pt x="44" y="8"/>
                      <a:pt x="44" y="8"/>
                      <a:pt x="44" y="8"/>
                    </a:cubicBezTo>
                    <a:cubicBezTo>
                      <a:pt x="47" y="9"/>
                      <a:pt x="49" y="10"/>
                      <a:pt x="52" y="12"/>
                    </a:cubicBezTo>
                    <a:cubicBezTo>
                      <a:pt x="57" y="9"/>
                      <a:pt x="57" y="9"/>
                      <a:pt x="57" y="9"/>
                    </a:cubicBezTo>
                    <a:cubicBezTo>
                      <a:pt x="58" y="9"/>
                      <a:pt x="59" y="9"/>
                      <a:pt x="59" y="10"/>
                    </a:cubicBezTo>
                    <a:cubicBezTo>
                      <a:pt x="67" y="24"/>
                      <a:pt x="67" y="24"/>
                      <a:pt x="67" y="24"/>
                    </a:cubicBezTo>
                    <a:cubicBezTo>
                      <a:pt x="68" y="25"/>
                      <a:pt x="68" y="26"/>
                      <a:pt x="67" y="27"/>
                    </a:cubicBezTo>
                    <a:cubicBezTo>
                      <a:pt x="62" y="30"/>
                      <a:pt x="62" y="30"/>
                      <a:pt x="62" y="30"/>
                    </a:cubicBezTo>
                    <a:cubicBezTo>
                      <a:pt x="62" y="33"/>
                      <a:pt x="62" y="35"/>
                      <a:pt x="62" y="38"/>
                    </a:cubicBezTo>
                    <a:cubicBezTo>
                      <a:pt x="67" y="41"/>
                      <a:pt x="67" y="41"/>
                      <a:pt x="67" y="41"/>
                    </a:cubicBezTo>
                    <a:cubicBezTo>
                      <a:pt x="67" y="42"/>
                      <a:pt x="68" y="42"/>
                      <a:pt x="68" y="43"/>
                    </a:cubicBezTo>
                    <a:cubicBezTo>
                      <a:pt x="68" y="43"/>
                      <a:pt x="68" y="44"/>
                      <a:pt x="67" y="44"/>
                    </a:cubicBezTo>
                    <a:cubicBezTo>
                      <a:pt x="59" y="58"/>
                      <a:pt x="59" y="58"/>
                      <a:pt x="59" y="58"/>
                    </a:cubicBezTo>
                    <a:cubicBezTo>
                      <a:pt x="59" y="58"/>
                      <a:pt x="59" y="59"/>
                      <a:pt x="58" y="59"/>
                    </a:cubicBezTo>
                    <a:cubicBezTo>
                      <a:pt x="58" y="59"/>
                      <a:pt x="57" y="59"/>
                      <a:pt x="57" y="59"/>
                    </a:cubicBezTo>
                    <a:cubicBezTo>
                      <a:pt x="52" y="56"/>
                      <a:pt x="52" y="56"/>
                      <a:pt x="52" y="56"/>
                    </a:cubicBezTo>
                    <a:cubicBezTo>
                      <a:pt x="49" y="58"/>
                      <a:pt x="47" y="59"/>
                      <a:pt x="44" y="60"/>
                    </a:cubicBezTo>
                    <a:cubicBezTo>
                      <a:pt x="44" y="66"/>
                      <a:pt x="44" y="66"/>
                      <a:pt x="44" y="66"/>
                    </a:cubicBezTo>
                    <a:cubicBezTo>
                      <a:pt x="44" y="67"/>
                      <a:pt x="43" y="68"/>
                      <a:pt x="42" y="68"/>
                    </a:cubicBezTo>
                    <a:close/>
                    <a:moveTo>
                      <a:pt x="28" y="64"/>
                    </a:moveTo>
                    <a:cubicBezTo>
                      <a:pt x="40" y="64"/>
                      <a:pt x="40" y="64"/>
                      <a:pt x="40" y="64"/>
                    </a:cubicBezTo>
                    <a:cubicBezTo>
                      <a:pt x="40" y="59"/>
                      <a:pt x="40" y="59"/>
                      <a:pt x="40" y="59"/>
                    </a:cubicBezTo>
                    <a:cubicBezTo>
                      <a:pt x="40" y="58"/>
                      <a:pt x="41" y="57"/>
                      <a:pt x="41" y="57"/>
                    </a:cubicBezTo>
                    <a:cubicBezTo>
                      <a:pt x="45" y="56"/>
                      <a:pt x="48" y="54"/>
                      <a:pt x="50" y="52"/>
                    </a:cubicBezTo>
                    <a:cubicBezTo>
                      <a:pt x="51" y="51"/>
                      <a:pt x="52" y="51"/>
                      <a:pt x="52" y="52"/>
                    </a:cubicBezTo>
                    <a:cubicBezTo>
                      <a:pt x="57" y="54"/>
                      <a:pt x="57" y="54"/>
                      <a:pt x="57" y="54"/>
                    </a:cubicBezTo>
                    <a:cubicBezTo>
                      <a:pt x="63" y="44"/>
                      <a:pt x="63" y="44"/>
                      <a:pt x="63" y="44"/>
                    </a:cubicBezTo>
                    <a:cubicBezTo>
                      <a:pt x="58" y="41"/>
                      <a:pt x="58" y="41"/>
                      <a:pt x="58" y="41"/>
                    </a:cubicBezTo>
                    <a:cubicBezTo>
                      <a:pt x="58" y="41"/>
                      <a:pt x="57" y="40"/>
                      <a:pt x="57" y="39"/>
                    </a:cubicBezTo>
                    <a:cubicBezTo>
                      <a:pt x="58" y="36"/>
                      <a:pt x="58" y="32"/>
                      <a:pt x="57" y="29"/>
                    </a:cubicBezTo>
                    <a:cubicBezTo>
                      <a:pt x="57" y="28"/>
                      <a:pt x="58" y="27"/>
                      <a:pt x="58" y="27"/>
                    </a:cubicBezTo>
                    <a:cubicBezTo>
                      <a:pt x="63" y="24"/>
                      <a:pt x="63" y="24"/>
                      <a:pt x="63" y="24"/>
                    </a:cubicBezTo>
                    <a:cubicBezTo>
                      <a:pt x="57" y="14"/>
                      <a:pt x="57" y="14"/>
                      <a:pt x="57" y="14"/>
                    </a:cubicBezTo>
                    <a:cubicBezTo>
                      <a:pt x="52" y="16"/>
                      <a:pt x="52" y="16"/>
                      <a:pt x="52" y="16"/>
                    </a:cubicBezTo>
                    <a:cubicBezTo>
                      <a:pt x="52" y="17"/>
                      <a:pt x="51" y="17"/>
                      <a:pt x="50" y="16"/>
                    </a:cubicBezTo>
                    <a:cubicBezTo>
                      <a:pt x="48" y="14"/>
                      <a:pt x="45" y="12"/>
                      <a:pt x="41" y="11"/>
                    </a:cubicBezTo>
                    <a:cubicBezTo>
                      <a:pt x="41" y="11"/>
                      <a:pt x="40" y="10"/>
                      <a:pt x="40" y="9"/>
                    </a:cubicBezTo>
                    <a:cubicBezTo>
                      <a:pt x="40" y="4"/>
                      <a:pt x="40" y="4"/>
                      <a:pt x="40" y="4"/>
                    </a:cubicBezTo>
                    <a:cubicBezTo>
                      <a:pt x="28" y="4"/>
                      <a:pt x="28" y="4"/>
                      <a:pt x="28" y="4"/>
                    </a:cubicBezTo>
                    <a:cubicBezTo>
                      <a:pt x="28" y="9"/>
                      <a:pt x="28" y="9"/>
                      <a:pt x="28" y="9"/>
                    </a:cubicBezTo>
                    <a:cubicBezTo>
                      <a:pt x="28" y="10"/>
                      <a:pt x="27" y="11"/>
                      <a:pt x="27" y="11"/>
                    </a:cubicBezTo>
                    <a:cubicBezTo>
                      <a:pt x="23" y="12"/>
                      <a:pt x="20" y="14"/>
                      <a:pt x="18" y="16"/>
                    </a:cubicBezTo>
                    <a:cubicBezTo>
                      <a:pt x="17" y="17"/>
                      <a:pt x="16" y="17"/>
                      <a:pt x="16" y="16"/>
                    </a:cubicBezTo>
                    <a:cubicBezTo>
                      <a:pt x="11" y="14"/>
                      <a:pt x="11" y="14"/>
                      <a:pt x="11" y="14"/>
                    </a:cubicBezTo>
                    <a:cubicBezTo>
                      <a:pt x="5" y="24"/>
                      <a:pt x="5" y="24"/>
                      <a:pt x="5" y="24"/>
                    </a:cubicBezTo>
                    <a:cubicBezTo>
                      <a:pt x="10" y="27"/>
                      <a:pt x="10" y="27"/>
                      <a:pt x="10" y="27"/>
                    </a:cubicBezTo>
                    <a:cubicBezTo>
                      <a:pt x="10" y="27"/>
                      <a:pt x="11" y="28"/>
                      <a:pt x="11" y="29"/>
                    </a:cubicBezTo>
                    <a:cubicBezTo>
                      <a:pt x="10" y="32"/>
                      <a:pt x="10" y="36"/>
                      <a:pt x="11" y="39"/>
                    </a:cubicBezTo>
                    <a:cubicBezTo>
                      <a:pt x="11" y="40"/>
                      <a:pt x="10" y="41"/>
                      <a:pt x="10" y="41"/>
                    </a:cubicBezTo>
                    <a:cubicBezTo>
                      <a:pt x="5" y="44"/>
                      <a:pt x="5" y="44"/>
                      <a:pt x="5" y="44"/>
                    </a:cubicBezTo>
                    <a:cubicBezTo>
                      <a:pt x="11" y="54"/>
                      <a:pt x="11" y="54"/>
                      <a:pt x="11" y="54"/>
                    </a:cubicBezTo>
                    <a:cubicBezTo>
                      <a:pt x="16" y="52"/>
                      <a:pt x="16" y="52"/>
                      <a:pt x="16" y="52"/>
                    </a:cubicBezTo>
                    <a:cubicBezTo>
                      <a:pt x="16" y="51"/>
                      <a:pt x="17" y="51"/>
                      <a:pt x="18" y="52"/>
                    </a:cubicBezTo>
                    <a:cubicBezTo>
                      <a:pt x="20" y="54"/>
                      <a:pt x="23" y="56"/>
                      <a:pt x="27" y="57"/>
                    </a:cubicBezTo>
                    <a:cubicBezTo>
                      <a:pt x="27" y="57"/>
                      <a:pt x="28" y="58"/>
                      <a:pt x="28" y="59"/>
                    </a:cubicBezTo>
                    <a:lnTo>
                      <a:pt x="28" y="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74" name="Freeform 96"/>
              <p:cNvSpPr>
                <a:spLocks noEditPoints="1"/>
              </p:cNvSpPr>
              <p:nvPr/>
            </p:nvSpPr>
            <p:spPr bwMode="auto">
              <a:xfrm>
                <a:off x="6708775" y="1849438"/>
                <a:ext cx="61913" cy="61913"/>
              </a:xfrm>
              <a:custGeom>
                <a:avLst/>
                <a:gdLst>
                  <a:gd name="T0" fmla="*/ 8 w 16"/>
                  <a:gd name="T1" fmla="*/ 16 h 16"/>
                  <a:gd name="T2" fmla="*/ 0 w 16"/>
                  <a:gd name="T3" fmla="*/ 8 h 16"/>
                  <a:gd name="T4" fmla="*/ 8 w 16"/>
                  <a:gd name="T5" fmla="*/ 0 h 16"/>
                  <a:gd name="T6" fmla="*/ 16 w 16"/>
                  <a:gd name="T7" fmla="*/ 8 h 16"/>
                  <a:gd name="T8" fmla="*/ 8 w 16"/>
                  <a:gd name="T9" fmla="*/ 16 h 16"/>
                  <a:gd name="T10" fmla="*/ 8 w 16"/>
                  <a:gd name="T11" fmla="*/ 4 h 16"/>
                  <a:gd name="T12" fmla="*/ 4 w 16"/>
                  <a:gd name="T13" fmla="*/ 8 h 16"/>
                  <a:gd name="T14" fmla="*/ 8 w 16"/>
                  <a:gd name="T15" fmla="*/ 12 h 16"/>
                  <a:gd name="T16" fmla="*/ 12 w 16"/>
                  <a:gd name="T17" fmla="*/ 8 h 16"/>
                  <a:gd name="T18" fmla="*/ 8 w 16"/>
                  <a:gd name="T19" fmla="*/ 4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 h="16">
                    <a:moveTo>
                      <a:pt x="8" y="16"/>
                    </a:moveTo>
                    <a:cubicBezTo>
                      <a:pt x="4" y="16"/>
                      <a:pt x="0" y="12"/>
                      <a:pt x="0" y="8"/>
                    </a:cubicBezTo>
                    <a:cubicBezTo>
                      <a:pt x="0" y="4"/>
                      <a:pt x="4" y="0"/>
                      <a:pt x="8" y="0"/>
                    </a:cubicBezTo>
                    <a:cubicBezTo>
                      <a:pt x="12" y="0"/>
                      <a:pt x="16" y="4"/>
                      <a:pt x="16" y="8"/>
                    </a:cubicBezTo>
                    <a:cubicBezTo>
                      <a:pt x="16" y="12"/>
                      <a:pt x="12" y="16"/>
                      <a:pt x="8" y="16"/>
                    </a:cubicBezTo>
                    <a:close/>
                    <a:moveTo>
                      <a:pt x="8" y="4"/>
                    </a:moveTo>
                    <a:cubicBezTo>
                      <a:pt x="6" y="4"/>
                      <a:pt x="4" y="6"/>
                      <a:pt x="4" y="8"/>
                    </a:cubicBezTo>
                    <a:cubicBezTo>
                      <a:pt x="4" y="10"/>
                      <a:pt x="6" y="12"/>
                      <a:pt x="8" y="12"/>
                    </a:cubicBezTo>
                    <a:cubicBezTo>
                      <a:pt x="10" y="12"/>
                      <a:pt x="12" y="10"/>
                      <a:pt x="12" y="8"/>
                    </a:cubicBezTo>
                    <a:cubicBezTo>
                      <a:pt x="12" y="6"/>
                      <a:pt x="10" y="4"/>
                      <a:pt x="8"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75" name="Freeform 97"/>
              <p:cNvSpPr>
                <a:spLocks noEditPoints="1"/>
              </p:cNvSpPr>
              <p:nvPr/>
            </p:nvSpPr>
            <p:spPr bwMode="auto">
              <a:xfrm>
                <a:off x="6662738" y="1803400"/>
                <a:ext cx="153988" cy="155575"/>
              </a:xfrm>
              <a:custGeom>
                <a:avLst/>
                <a:gdLst>
                  <a:gd name="T0" fmla="*/ 16 w 40"/>
                  <a:gd name="T1" fmla="*/ 40 h 40"/>
                  <a:gd name="T2" fmla="*/ 14 w 40"/>
                  <a:gd name="T3" fmla="*/ 35 h 40"/>
                  <a:gd name="T4" fmla="*/ 7 w 40"/>
                  <a:gd name="T5" fmla="*/ 34 h 40"/>
                  <a:gd name="T6" fmla="*/ 5 w 40"/>
                  <a:gd name="T7" fmla="*/ 33 h 40"/>
                  <a:gd name="T8" fmla="*/ 1 w 40"/>
                  <a:gd name="T9" fmla="*/ 24 h 40"/>
                  <a:gd name="T10" fmla="*/ 4 w 40"/>
                  <a:gd name="T11" fmla="*/ 18 h 40"/>
                  <a:gd name="T12" fmla="*/ 0 w 40"/>
                  <a:gd name="T13" fmla="*/ 15 h 40"/>
                  <a:gd name="T14" fmla="*/ 5 w 40"/>
                  <a:gd name="T15" fmla="*/ 7 h 40"/>
                  <a:gd name="T16" fmla="*/ 7 w 40"/>
                  <a:gd name="T17" fmla="*/ 6 h 40"/>
                  <a:gd name="T18" fmla="*/ 14 w 40"/>
                  <a:gd name="T19" fmla="*/ 5 h 40"/>
                  <a:gd name="T20" fmla="*/ 16 w 40"/>
                  <a:gd name="T21" fmla="*/ 0 h 40"/>
                  <a:gd name="T22" fmla="*/ 26 w 40"/>
                  <a:gd name="T23" fmla="*/ 2 h 40"/>
                  <a:gd name="T24" fmla="*/ 30 w 40"/>
                  <a:gd name="T25" fmla="*/ 7 h 40"/>
                  <a:gd name="T26" fmla="*/ 34 w 40"/>
                  <a:gd name="T27" fmla="*/ 6 h 40"/>
                  <a:gd name="T28" fmla="*/ 39 w 40"/>
                  <a:gd name="T29" fmla="*/ 13 h 40"/>
                  <a:gd name="T30" fmla="*/ 36 w 40"/>
                  <a:gd name="T31" fmla="*/ 18 h 40"/>
                  <a:gd name="T32" fmla="*/ 39 w 40"/>
                  <a:gd name="T33" fmla="*/ 24 h 40"/>
                  <a:gd name="T34" fmla="*/ 35 w 40"/>
                  <a:gd name="T35" fmla="*/ 33 h 40"/>
                  <a:gd name="T36" fmla="*/ 33 w 40"/>
                  <a:gd name="T37" fmla="*/ 34 h 40"/>
                  <a:gd name="T38" fmla="*/ 26 w 40"/>
                  <a:gd name="T39" fmla="*/ 35 h 40"/>
                  <a:gd name="T40" fmla="*/ 24 w 40"/>
                  <a:gd name="T41" fmla="*/ 40 h 40"/>
                  <a:gd name="T42" fmla="*/ 22 w 40"/>
                  <a:gd name="T43" fmla="*/ 36 h 40"/>
                  <a:gd name="T44" fmla="*/ 23 w 40"/>
                  <a:gd name="T45" fmla="*/ 31 h 40"/>
                  <a:gd name="T46" fmla="*/ 31 w 40"/>
                  <a:gd name="T47" fmla="*/ 28 h 40"/>
                  <a:gd name="T48" fmla="*/ 35 w 40"/>
                  <a:gd name="T49" fmla="*/ 26 h 40"/>
                  <a:gd name="T50" fmla="*/ 32 w 40"/>
                  <a:gd name="T51" fmla="*/ 23 h 40"/>
                  <a:gd name="T52" fmla="*/ 33 w 40"/>
                  <a:gd name="T53" fmla="*/ 15 h 40"/>
                  <a:gd name="T54" fmla="*/ 33 w 40"/>
                  <a:gd name="T55" fmla="*/ 10 h 40"/>
                  <a:gd name="T56" fmla="*/ 28 w 40"/>
                  <a:gd name="T57" fmla="*/ 11 h 40"/>
                  <a:gd name="T58" fmla="*/ 22 w 40"/>
                  <a:gd name="T59" fmla="*/ 7 h 40"/>
                  <a:gd name="T60" fmla="*/ 18 w 40"/>
                  <a:gd name="T61" fmla="*/ 4 h 40"/>
                  <a:gd name="T62" fmla="*/ 17 w 40"/>
                  <a:gd name="T63" fmla="*/ 9 h 40"/>
                  <a:gd name="T64" fmla="*/ 9 w 40"/>
                  <a:gd name="T65" fmla="*/ 12 h 40"/>
                  <a:gd name="T66" fmla="*/ 5 w 40"/>
                  <a:gd name="T67" fmla="*/ 14 h 40"/>
                  <a:gd name="T68" fmla="*/ 8 w 40"/>
                  <a:gd name="T69" fmla="*/ 17 h 40"/>
                  <a:gd name="T70" fmla="*/ 7 w 40"/>
                  <a:gd name="T71" fmla="*/ 25 h 40"/>
                  <a:gd name="T72" fmla="*/ 7 w 40"/>
                  <a:gd name="T73" fmla="*/ 30 h 40"/>
                  <a:gd name="T74" fmla="*/ 12 w 40"/>
                  <a:gd name="T75" fmla="*/ 29 h 40"/>
                  <a:gd name="T76" fmla="*/ 18 w 40"/>
                  <a:gd name="T77" fmla="*/ 33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0" h="40">
                    <a:moveTo>
                      <a:pt x="24" y="40"/>
                    </a:moveTo>
                    <a:cubicBezTo>
                      <a:pt x="16" y="40"/>
                      <a:pt x="16" y="40"/>
                      <a:pt x="16" y="40"/>
                    </a:cubicBezTo>
                    <a:cubicBezTo>
                      <a:pt x="15" y="40"/>
                      <a:pt x="14" y="39"/>
                      <a:pt x="14" y="38"/>
                    </a:cubicBezTo>
                    <a:cubicBezTo>
                      <a:pt x="14" y="35"/>
                      <a:pt x="14" y="35"/>
                      <a:pt x="14" y="35"/>
                    </a:cubicBezTo>
                    <a:cubicBezTo>
                      <a:pt x="13" y="34"/>
                      <a:pt x="11" y="34"/>
                      <a:pt x="10" y="33"/>
                    </a:cubicBezTo>
                    <a:cubicBezTo>
                      <a:pt x="7" y="34"/>
                      <a:pt x="7" y="34"/>
                      <a:pt x="7" y="34"/>
                    </a:cubicBezTo>
                    <a:cubicBezTo>
                      <a:pt x="7" y="34"/>
                      <a:pt x="6" y="35"/>
                      <a:pt x="6" y="34"/>
                    </a:cubicBezTo>
                    <a:cubicBezTo>
                      <a:pt x="5" y="34"/>
                      <a:pt x="5" y="34"/>
                      <a:pt x="5" y="33"/>
                    </a:cubicBezTo>
                    <a:cubicBezTo>
                      <a:pt x="1" y="27"/>
                      <a:pt x="1" y="27"/>
                      <a:pt x="1" y="27"/>
                    </a:cubicBezTo>
                    <a:cubicBezTo>
                      <a:pt x="0" y="26"/>
                      <a:pt x="0" y="24"/>
                      <a:pt x="1" y="24"/>
                    </a:cubicBezTo>
                    <a:cubicBezTo>
                      <a:pt x="4" y="22"/>
                      <a:pt x="4" y="22"/>
                      <a:pt x="4" y="22"/>
                    </a:cubicBezTo>
                    <a:cubicBezTo>
                      <a:pt x="4" y="21"/>
                      <a:pt x="4" y="19"/>
                      <a:pt x="4" y="18"/>
                    </a:cubicBezTo>
                    <a:cubicBezTo>
                      <a:pt x="1" y="16"/>
                      <a:pt x="1" y="16"/>
                      <a:pt x="1" y="16"/>
                    </a:cubicBezTo>
                    <a:cubicBezTo>
                      <a:pt x="1" y="16"/>
                      <a:pt x="1" y="15"/>
                      <a:pt x="0" y="15"/>
                    </a:cubicBezTo>
                    <a:cubicBezTo>
                      <a:pt x="0" y="14"/>
                      <a:pt x="0" y="14"/>
                      <a:pt x="1" y="13"/>
                    </a:cubicBezTo>
                    <a:cubicBezTo>
                      <a:pt x="5" y="7"/>
                      <a:pt x="5" y="7"/>
                      <a:pt x="5" y="7"/>
                    </a:cubicBezTo>
                    <a:cubicBezTo>
                      <a:pt x="5" y="6"/>
                      <a:pt x="5" y="6"/>
                      <a:pt x="6" y="6"/>
                    </a:cubicBezTo>
                    <a:cubicBezTo>
                      <a:pt x="6" y="5"/>
                      <a:pt x="7" y="6"/>
                      <a:pt x="7" y="6"/>
                    </a:cubicBezTo>
                    <a:cubicBezTo>
                      <a:pt x="10" y="7"/>
                      <a:pt x="10" y="7"/>
                      <a:pt x="10" y="7"/>
                    </a:cubicBezTo>
                    <a:cubicBezTo>
                      <a:pt x="11" y="7"/>
                      <a:pt x="13" y="6"/>
                      <a:pt x="14" y="5"/>
                    </a:cubicBezTo>
                    <a:cubicBezTo>
                      <a:pt x="14" y="2"/>
                      <a:pt x="14" y="2"/>
                      <a:pt x="14" y="2"/>
                    </a:cubicBezTo>
                    <a:cubicBezTo>
                      <a:pt x="14" y="1"/>
                      <a:pt x="15" y="0"/>
                      <a:pt x="16" y="0"/>
                    </a:cubicBezTo>
                    <a:cubicBezTo>
                      <a:pt x="24" y="0"/>
                      <a:pt x="24" y="0"/>
                      <a:pt x="24" y="0"/>
                    </a:cubicBezTo>
                    <a:cubicBezTo>
                      <a:pt x="25" y="0"/>
                      <a:pt x="26" y="1"/>
                      <a:pt x="26" y="2"/>
                    </a:cubicBezTo>
                    <a:cubicBezTo>
                      <a:pt x="26" y="5"/>
                      <a:pt x="26" y="5"/>
                      <a:pt x="26" y="5"/>
                    </a:cubicBezTo>
                    <a:cubicBezTo>
                      <a:pt x="27" y="6"/>
                      <a:pt x="29" y="6"/>
                      <a:pt x="30" y="7"/>
                    </a:cubicBezTo>
                    <a:cubicBezTo>
                      <a:pt x="33" y="6"/>
                      <a:pt x="33" y="6"/>
                      <a:pt x="33" y="6"/>
                    </a:cubicBezTo>
                    <a:cubicBezTo>
                      <a:pt x="33" y="6"/>
                      <a:pt x="34" y="5"/>
                      <a:pt x="34" y="6"/>
                    </a:cubicBezTo>
                    <a:cubicBezTo>
                      <a:pt x="35" y="6"/>
                      <a:pt x="35" y="6"/>
                      <a:pt x="35" y="7"/>
                    </a:cubicBezTo>
                    <a:cubicBezTo>
                      <a:pt x="39" y="13"/>
                      <a:pt x="39" y="13"/>
                      <a:pt x="39" y="13"/>
                    </a:cubicBezTo>
                    <a:cubicBezTo>
                      <a:pt x="40" y="14"/>
                      <a:pt x="40" y="16"/>
                      <a:pt x="39" y="16"/>
                    </a:cubicBezTo>
                    <a:cubicBezTo>
                      <a:pt x="36" y="18"/>
                      <a:pt x="36" y="18"/>
                      <a:pt x="36" y="18"/>
                    </a:cubicBezTo>
                    <a:cubicBezTo>
                      <a:pt x="36" y="19"/>
                      <a:pt x="36" y="21"/>
                      <a:pt x="36" y="22"/>
                    </a:cubicBezTo>
                    <a:cubicBezTo>
                      <a:pt x="39" y="24"/>
                      <a:pt x="39" y="24"/>
                      <a:pt x="39" y="24"/>
                    </a:cubicBezTo>
                    <a:cubicBezTo>
                      <a:pt x="40" y="24"/>
                      <a:pt x="40" y="26"/>
                      <a:pt x="39" y="27"/>
                    </a:cubicBezTo>
                    <a:cubicBezTo>
                      <a:pt x="35" y="33"/>
                      <a:pt x="35" y="33"/>
                      <a:pt x="35" y="33"/>
                    </a:cubicBezTo>
                    <a:cubicBezTo>
                      <a:pt x="35" y="34"/>
                      <a:pt x="35" y="34"/>
                      <a:pt x="34" y="34"/>
                    </a:cubicBezTo>
                    <a:cubicBezTo>
                      <a:pt x="34" y="35"/>
                      <a:pt x="33" y="34"/>
                      <a:pt x="33" y="34"/>
                    </a:cubicBezTo>
                    <a:cubicBezTo>
                      <a:pt x="30" y="33"/>
                      <a:pt x="30" y="33"/>
                      <a:pt x="30" y="33"/>
                    </a:cubicBezTo>
                    <a:cubicBezTo>
                      <a:pt x="29" y="33"/>
                      <a:pt x="27" y="34"/>
                      <a:pt x="26" y="35"/>
                    </a:cubicBezTo>
                    <a:cubicBezTo>
                      <a:pt x="26" y="38"/>
                      <a:pt x="26" y="38"/>
                      <a:pt x="26" y="38"/>
                    </a:cubicBezTo>
                    <a:cubicBezTo>
                      <a:pt x="26" y="39"/>
                      <a:pt x="25" y="40"/>
                      <a:pt x="24" y="40"/>
                    </a:cubicBezTo>
                    <a:close/>
                    <a:moveTo>
                      <a:pt x="18" y="36"/>
                    </a:moveTo>
                    <a:cubicBezTo>
                      <a:pt x="22" y="36"/>
                      <a:pt x="22" y="36"/>
                      <a:pt x="22" y="36"/>
                    </a:cubicBezTo>
                    <a:cubicBezTo>
                      <a:pt x="22" y="33"/>
                      <a:pt x="22" y="33"/>
                      <a:pt x="22" y="33"/>
                    </a:cubicBezTo>
                    <a:cubicBezTo>
                      <a:pt x="22" y="32"/>
                      <a:pt x="23" y="32"/>
                      <a:pt x="23" y="31"/>
                    </a:cubicBezTo>
                    <a:cubicBezTo>
                      <a:pt x="25" y="31"/>
                      <a:pt x="27" y="30"/>
                      <a:pt x="28" y="29"/>
                    </a:cubicBezTo>
                    <a:cubicBezTo>
                      <a:pt x="29" y="28"/>
                      <a:pt x="30" y="28"/>
                      <a:pt x="31" y="28"/>
                    </a:cubicBezTo>
                    <a:cubicBezTo>
                      <a:pt x="33" y="30"/>
                      <a:pt x="33" y="30"/>
                      <a:pt x="33" y="30"/>
                    </a:cubicBezTo>
                    <a:cubicBezTo>
                      <a:pt x="35" y="26"/>
                      <a:pt x="35" y="26"/>
                      <a:pt x="35" y="26"/>
                    </a:cubicBezTo>
                    <a:cubicBezTo>
                      <a:pt x="33" y="25"/>
                      <a:pt x="33" y="25"/>
                      <a:pt x="33" y="25"/>
                    </a:cubicBezTo>
                    <a:cubicBezTo>
                      <a:pt x="32" y="25"/>
                      <a:pt x="31" y="24"/>
                      <a:pt x="32" y="23"/>
                    </a:cubicBezTo>
                    <a:cubicBezTo>
                      <a:pt x="32" y="21"/>
                      <a:pt x="32" y="19"/>
                      <a:pt x="32" y="17"/>
                    </a:cubicBezTo>
                    <a:cubicBezTo>
                      <a:pt x="31" y="16"/>
                      <a:pt x="32" y="15"/>
                      <a:pt x="33" y="15"/>
                    </a:cubicBezTo>
                    <a:cubicBezTo>
                      <a:pt x="35" y="14"/>
                      <a:pt x="35" y="14"/>
                      <a:pt x="35" y="14"/>
                    </a:cubicBezTo>
                    <a:cubicBezTo>
                      <a:pt x="33" y="10"/>
                      <a:pt x="33" y="10"/>
                      <a:pt x="33" y="10"/>
                    </a:cubicBezTo>
                    <a:cubicBezTo>
                      <a:pt x="31" y="12"/>
                      <a:pt x="31" y="12"/>
                      <a:pt x="31" y="12"/>
                    </a:cubicBezTo>
                    <a:cubicBezTo>
                      <a:pt x="30" y="12"/>
                      <a:pt x="29" y="12"/>
                      <a:pt x="28" y="11"/>
                    </a:cubicBezTo>
                    <a:cubicBezTo>
                      <a:pt x="27" y="10"/>
                      <a:pt x="25" y="9"/>
                      <a:pt x="23" y="9"/>
                    </a:cubicBezTo>
                    <a:cubicBezTo>
                      <a:pt x="23" y="8"/>
                      <a:pt x="22" y="8"/>
                      <a:pt x="22" y="7"/>
                    </a:cubicBezTo>
                    <a:cubicBezTo>
                      <a:pt x="22" y="4"/>
                      <a:pt x="22" y="4"/>
                      <a:pt x="22" y="4"/>
                    </a:cubicBezTo>
                    <a:cubicBezTo>
                      <a:pt x="18" y="4"/>
                      <a:pt x="18" y="4"/>
                      <a:pt x="18" y="4"/>
                    </a:cubicBezTo>
                    <a:cubicBezTo>
                      <a:pt x="18" y="7"/>
                      <a:pt x="18" y="7"/>
                      <a:pt x="18" y="7"/>
                    </a:cubicBezTo>
                    <a:cubicBezTo>
                      <a:pt x="18" y="8"/>
                      <a:pt x="17" y="8"/>
                      <a:pt x="17" y="9"/>
                    </a:cubicBezTo>
                    <a:cubicBezTo>
                      <a:pt x="15" y="9"/>
                      <a:pt x="13" y="10"/>
                      <a:pt x="12" y="11"/>
                    </a:cubicBezTo>
                    <a:cubicBezTo>
                      <a:pt x="11" y="12"/>
                      <a:pt x="10" y="12"/>
                      <a:pt x="9" y="12"/>
                    </a:cubicBezTo>
                    <a:cubicBezTo>
                      <a:pt x="7" y="10"/>
                      <a:pt x="7" y="10"/>
                      <a:pt x="7" y="10"/>
                    </a:cubicBezTo>
                    <a:cubicBezTo>
                      <a:pt x="5" y="14"/>
                      <a:pt x="5" y="14"/>
                      <a:pt x="5" y="14"/>
                    </a:cubicBezTo>
                    <a:cubicBezTo>
                      <a:pt x="7" y="15"/>
                      <a:pt x="7" y="15"/>
                      <a:pt x="7" y="15"/>
                    </a:cubicBezTo>
                    <a:cubicBezTo>
                      <a:pt x="8" y="15"/>
                      <a:pt x="9" y="16"/>
                      <a:pt x="8" y="17"/>
                    </a:cubicBezTo>
                    <a:cubicBezTo>
                      <a:pt x="8" y="19"/>
                      <a:pt x="8" y="21"/>
                      <a:pt x="8" y="23"/>
                    </a:cubicBezTo>
                    <a:cubicBezTo>
                      <a:pt x="9" y="24"/>
                      <a:pt x="8" y="24"/>
                      <a:pt x="7" y="25"/>
                    </a:cubicBezTo>
                    <a:cubicBezTo>
                      <a:pt x="5" y="26"/>
                      <a:pt x="5" y="26"/>
                      <a:pt x="5" y="26"/>
                    </a:cubicBezTo>
                    <a:cubicBezTo>
                      <a:pt x="7" y="30"/>
                      <a:pt x="7" y="30"/>
                      <a:pt x="7" y="30"/>
                    </a:cubicBezTo>
                    <a:cubicBezTo>
                      <a:pt x="9" y="28"/>
                      <a:pt x="9" y="28"/>
                      <a:pt x="9" y="28"/>
                    </a:cubicBezTo>
                    <a:cubicBezTo>
                      <a:pt x="10" y="28"/>
                      <a:pt x="11" y="28"/>
                      <a:pt x="12" y="29"/>
                    </a:cubicBezTo>
                    <a:cubicBezTo>
                      <a:pt x="13" y="30"/>
                      <a:pt x="15" y="31"/>
                      <a:pt x="17" y="31"/>
                    </a:cubicBezTo>
                    <a:cubicBezTo>
                      <a:pt x="17" y="32"/>
                      <a:pt x="18" y="33"/>
                      <a:pt x="18" y="33"/>
                    </a:cubicBezTo>
                    <a:lnTo>
                      <a:pt x="18" y="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grpSp>
        <p:grpSp>
          <p:nvGrpSpPr>
            <p:cNvPr id="153" name="Group 152"/>
            <p:cNvGrpSpPr>
              <a:grpSpLocks noChangeAspect="1"/>
            </p:cNvGrpSpPr>
            <p:nvPr/>
          </p:nvGrpSpPr>
          <p:grpSpPr>
            <a:xfrm>
              <a:off x="6166507" y="3774472"/>
              <a:ext cx="262800" cy="262800"/>
              <a:chOff x="3903073" y="3496769"/>
              <a:chExt cx="360000" cy="360000"/>
            </a:xfrm>
          </p:grpSpPr>
          <p:sp>
            <p:nvSpPr>
              <p:cNvPr id="170" name="Freeform 79"/>
              <p:cNvSpPr>
                <a:spLocks noEditPoints="1"/>
              </p:cNvSpPr>
              <p:nvPr/>
            </p:nvSpPr>
            <p:spPr bwMode="auto">
              <a:xfrm>
                <a:off x="3903073" y="3496769"/>
                <a:ext cx="255385" cy="255385"/>
              </a:xfrm>
              <a:custGeom>
                <a:avLst/>
                <a:gdLst>
                  <a:gd name="T0" fmla="*/ 34 w 68"/>
                  <a:gd name="T1" fmla="*/ 68 h 68"/>
                  <a:gd name="T2" fmla="*/ 0 w 68"/>
                  <a:gd name="T3" fmla="*/ 34 h 68"/>
                  <a:gd name="T4" fmla="*/ 34 w 68"/>
                  <a:gd name="T5" fmla="*/ 0 h 68"/>
                  <a:gd name="T6" fmla="*/ 68 w 68"/>
                  <a:gd name="T7" fmla="*/ 34 h 68"/>
                  <a:gd name="T8" fmla="*/ 34 w 68"/>
                  <a:gd name="T9" fmla="*/ 68 h 68"/>
                  <a:gd name="T10" fmla="*/ 34 w 68"/>
                  <a:gd name="T11" fmla="*/ 4 h 68"/>
                  <a:gd name="T12" fmla="*/ 4 w 68"/>
                  <a:gd name="T13" fmla="*/ 34 h 68"/>
                  <a:gd name="T14" fmla="*/ 34 w 68"/>
                  <a:gd name="T15" fmla="*/ 64 h 68"/>
                  <a:gd name="T16" fmla="*/ 64 w 68"/>
                  <a:gd name="T17" fmla="*/ 34 h 68"/>
                  <a:gd name="T18" fmla="*/ 34 w 68"/>
                  <a:gd name="T19" fmla="*/ 4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8" h="68">
                    <a:moveTo>
                      <a:pt x="34" y="68"/>
                    </a:moveTo>
                    <a:cubicBezTo>
                      <a:pt x="15" y="68"/>
                      <a:pt x="0" y="53"/>
                      <a:pt x="0" y="34"/>
                    </a:cubicBezTo>
                    <a:cubicBezTo>
                      <a:pt x="0" y="15"/>
                      <a:pt x="15" y="0"/>
                      <a:pt x="34" y="0"/>
                    </a:cubicBezTo>
                    <a:cubicBezTo>
                      <a:pt x="53" y="0"/>
                      <a:pt x="68" y="15"/>
                      <a:pt x="68" y="34"/>
                    </a:cubicBezTo>
                    <a:cubicBezTo>
                      <a:pt x="68" y="53"/>
                      <a:pt x="53" y="68"/>
                      <a:pt x="34" y="68"/>
                    </a:cubicBezTo>
                    <a:close/>
                    <a:moveTo>
                      <a:pt x="34" y="4"/>
                    </a:moveTo>
                    <a:cubicBezTo>
                      <a:pt x="17" y="4"/>
                      <a:pt x="4" y="17"/>
                      <a:pt x="4" y="34"/>
                    </a:cubicBezTo>
                    <a:cubicBezTo>
                      <a:pt x="4" y="51"/>
                      <a:pt x="17" y="64"/>
                      <a:pt x="34" y="64"/>
                    </a:cubicBezTo>
                    <a:cubicBezTo>
                      <a:pt x="51" y="64"/>
                      <a:pt x="64" y="51"/>
                      <a:pt x="64" y="34"/>
                    </a:cubicBezTo>
                    <a:cubicBezTo>
                      <a:pt x="64" y="17"/>
                      <a:pt x="51" y="4"/>
                      <a:pt x="34" y="4"/>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71" name="Freeform 80"/>
              <p:cNvSpPr>
                <a:spLocks/>
              </p:cNvSpPr>
              <p:nvPr/>
            </p:nvSpPr>
            <p:spPr bwMode="auto">
              <a:xfrm>
                <a:off x="4106150" y="3699846"/>
                <a:ext cx="156923" cy="156923"/>
              </a:xfrm>
              <a:custGeom>
                <a:avLst/>
                <a:gdLst>
                  <a:gd name="T0" fmla="*/ 40 w 42"/>
                  <a:gd name="T1" fmla="*/ 42 h 42"/>
                  <a:gd name="T2" fmla="*/ 39 w 42"/>
                  <a:gd name="T3" fmla="*/ 41 h 42"/>
                  <a:gd name="T4" fmla="*/ 1 w 42"/>
                  <a:gd name="T5" fmla="*/ 4 h 42"/>
                  <a:gd name="T6" fmla="*/ 1 w 42"/>
                  <a:gd name="T7" fmla="*/ 1 h 42"/>
                  <a:gd name="T8" fmla="*/ 4 w 42"/>
                  <a:gd name="T9" fmla="*/ 1 h 42"/>
                  <a:gd name="T10" fmla="*/ 41 w 42"/>
                  <a:gd name="T11" fmla="*/ 39 h 42"/>
                  <a:gd name="T12" fmla="*/ 41 w 42"/>
                  <a:gd name="T13" fmla="*/ 41 h 42"/>
                  <a:gd name="T14" fmla="*/ 40 w 42"/>
                  <a:gd name="T15" fmla="*/ 42 h 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2" h="42">
                    <a:moveTo>
                      <a:pt x="40" y="42"/>
                    </a:moveTo>
                    <a:cubicBezTo>
                      <a:pt x="39" y="42"/>
                      <a:pt x="39" y="42"/>
                      <a:pt x="39" y="41"/>
                    </a:cubicBezTo>
                    <a:cubicBezTo>
                      <a:pt x="1" y="4"/>
                      <a:pt x="1" y="4"/>
                      <a:pt x="1" y="4"/>
                    </a:cubicBezTo>
                    <a:cubicBezTo>
                      <a:pt x="0" y="3"/>
                      <a:pt x="0" y="2"/>
                      <a:pt x="1" y="1"/>
                    </a:cubicBezTo>
                    <a:cubicBezTo>
                      <a:pt x="2" y="0"/>
                      <a:pt x="3" y="0"/>
                      <a:pt x="4" y="1"/>
                    </a:cubicBezTo>
                    <a:cubicBezTo>
                      <a:pt x="41" y="39"/>
                      <a:pt x="41" y="39"/>
                      <a:pt x="41" y="39"/>
                    </a:cubicBezTo>
                    <a:cubicBezTo>
                      <a:pt x="42" y="39"/>
                      <a:pt x="42" y="41"/>
                      <a:pt x="41" y="41"/>
                    </a:cubicBezTo>
                    <a:cubicBezTo>
                      <a:pt x="41" y="42"/>
                      <a:pt x="41" y="42"/>
                      <a:pt x="40" y="42"/>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grpSp>
        <p:grpSp>
          <p:nvGrpSpPr>
            <p:cNvPr id="154" name="Group 153"/>
            <p:cNvGrpSpPr>
              <a:grpSpLocks noChangeAspect="1"/>
            </p:cNvGrpSpPr>
            <p:nvPr/>
          </p:nvGrpSpPr>
          <p:grpSpPr>
            <a:xfrm>
              <a:off x="5463220" y="5912291"/>
              <a:ext cx="211139" cy="262800"/>
              <a:chOff x="5653088" y="1797050"/>
              <a:chExt cx="298450" cy="371475"/>
            </a:xfrm>
            <a:solidFill>
              <a:schemeClr val="bg1"/>
            </a:solidFill>
          </p:grpSpPr>
          <p:sp>
            <p:nvSpPr>
              <p:cNvPr id="158" name="Freeform 84"/>
              <p:cNvSpPr>
                <a:spLocks/>
              </p:cNvSpPr>
              <p:nvPr/>
            </p:nvSpPr>
            <p:spPr bwMode="auto">
              <a:xfrm>
                <a:off x="5872163" y="1982788"/>
                <a:ext cx="79375" cy="107950"/>
              </a:xfrm>
              <a:custGeom>
                <a:avLst/>
                <a:gdLst>
                  <a:gd name="T0" fmla="*/ 6 w 20"/>
                  <a:gd name="T1" fmla="*/ 28 h 28"/>
                  <a:gd name="T2" fmla="*/ 2 w 20"/>
                  <a:gd name="T3" fmla="*/ 28 h 28"/>
                  <a:gd name="T4" fmla="*/ 0 w 20"/>
                  <a:gd name="T5" fmla="*/ 26 h 28"/>
                  <a:gd name="T6" fmla="*/ 2 w 20"/>
                  <a:gd name="T7" fmla="*/ 24 h 28"/>
                  <a:gd name="T8" fmla="*/ 6 w 20"/>
                  <a:gd name="T9" fmla="*/ 24 h 28"/>
                  <a:gd name="T10" fmla="*/ 16 w 20"/>
                  <a:gd name="T11" fmla="*/ 14 h 28"/>
                  <a:gd name="T12" fmla="*/ 6 w 20"/>
                  <a:gd name="T13" fmla="*/ 4 h 28"/>
                  <a:gd name="T14" fmla="*/ 2 w 20"/>
                  <a:gd name="T15" fmla="*/ 4 h 28"/>
                  <a:gd name="T16" fmla="*/ 0 w 20"/>
                  <a:gd name="T17" fmla="*/ 2 h 28"/>
                  <a:gd name="T18" fmla="*/ 2 w 20"/>
                  <a:gd name="T19" fmla="*/ 0 h 28"/>
                  <a:gd name="T20" fmla="*/ 6 w 20"/>
                  <a:gd name="T21" fmla="*/ 0 h 28"/>
                  <a:gd name="T22" fmla="*/ 20 w 20"/>
                  <a:gd name="T23" fmla="*/ 14 h 28"/>
                  <a:gd name="T24" fmla="*/ 6 w 20"/>
                  <a:gd name="T25"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28">
                    <a:moveTo>
                      <a:pt x="6" y="28"/>
                    </a:moveTo>
                    <a:cubicBezTo>
                      <a:pt x="2" y="28"/>
                      <a:pt x="2" y="28"/>
                      <a:pt x="2" y="28"/>
                    </a:cubicBezTo>
                    <a:cubicBezTo>
                      <a:pt x="1" y="28"/>
                      <a:pt x="0" y="27"/>
                      <a:pt x="0" y="26"/>
                    </a:cubicBezTo>
                    <a:cubicBezTo>
                      <a:pt x="0" y="25"/>
                      <a:pt x="1" y="24"/>
                      <a:pt x="2" y="24"/>
                    </a:cubicBezTo>
                    <a:cubicBezTo>
                      <a:pt x="6" y="24"/>
                      <a:pt x="6" y="24"/>
                      <a:pt x="6" y="24"/>
                    </a:cubicBezTo>
                    <a:cubicBezTo>
                      <a:pt x="12" y="24"/>
                      <a:pt x="16" y="20"/>
                      <a:pt x="16" y="14"/>
                    </a:cubicBezTo>
                    <a:cubicBezTo>
                      <a:pt x="16" y="8"/>
                      <a:pt x="12" y="4"/>
                      <a:pt x="6" y="4"/>
                    </a:cubicBezTo>
                    <a:cubicBezTo>
                      <a:pt x="2" y="4"/>
                      <a:pt x="2" y="4"/>
                      <a:pt x="2" y="4"/>
                    </a:cubicBezTo>
                    <a:cubicBezTo>
                      <a:pt x="1" y="4"/>
                      <a:pt x="0" y="3"/>
                      <a:pt x="0" y="2"/>
                    </a:cubicBezTo>
                    <a:cubicBezTo>
                      <a:pt x="0" y="1"/>
                      <a:pt x="1" y="0"/>
                      <a:pt x="2" y="0"/>
                    </a:cubicBezTo>
                    <a:cubicBezTo>
                      <a:pt x="6" y="0"/>
                      <a:pt x="6" y="0"/>
                      <a:pt x="6" y="0"/>
                    </a:cubicBezTo>
                    <a:cubicBezTo>
                      <a:pt x="14" y="0"/>
                      <a:pt x="20" y="6"/>
                      <a:pt x="20" y="14"/>
                    </a:cubicBezTo>
                    <a:cubicBezTo>
                      <a:pt x="20" y="22"/>
                      <a:pt x="14" y="28"/>
                      <a:pt x="6"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59" name="Freeform 85"/>
              <p:cNvSpPr>
                <a:spLocks noEditPoints="1"/>
              </p:cNvSpPr>
              <p:nvPr/>
            </p:nvSpPr>
            <p:spPr bwMode="auto">
              <a:xfrm>
                <a:off x="5668963" y="1952625"/>
                <a:ext cx="219075" cy="215900"/>
              </a:xfrm>
              <a:custGeom>
                <a:avLst/>
                <a:gdLst>
                  <a:gd name="T0" fmla="*/ 46 w 56"/>
                  <a:gd name="T1" fmla="*/ 56 h 56"/>
                  <a:gd name="T2" fmla="*/ 10 w 56"/>
                  <a:gd name="T3" fmla="*/ 56 h 56"/>
                  <a:gd name="T4" fmla="*/ 0 w 56"/>
                  <a:gd name="T5" fmla="*/ 46 h 56"/>
                  <a:gd name="T6" fmla="*/ 0 w 56"/>
                  <a:gd name="T7" fmla="*/ 2 h 56"/>
                  <a:gd name="T8" fmla="*/ 2 w 56"/>
                  <a:gd name="T9" fmla="*/ 0 h 56"/>
                  <a:gd name="T10" fmla="*/ 54 w 56"/>
                  <a:gd name="T11" fmla="*/ 0 h 56"/>
                  <a:gd name="T12" fmla="*/ 56 w 56"/>
                  <a:gd name="T13" fmla="*/ 2 h 56"/>
                  <a:gd name="T14" fmla="*/ 56 w 56"/>
                  <a:gd name="T15" fmla="*/ 46 h 56"/>
                  <a:gd name="T16" fmla="*/ 46 w 56"/>
                  <a:gd name="T17" fmla="*/ 56 h 56"/>
                  <a:gd name="T18" fmla="*/ 4 w 56"/>
                  <a:gd name="T19" fmla="*/ 4 h 56"/>
                  <a:gd name="T20" fmla="*/ 4 w 56"/>
                  <a:gd name="T21" fmla="*/ 46 h 56"/>
                  <a:gd name="T22" fmla="*/ 10 w 56"/>
                  <a:gd name="T23" fmla="*/ 52 h 56"/>
                  <a:gd name="T24" fmla="*/ 46 w 56"/>
                  <a:gd name="T25" fmla="*/ 52 h 56"/>
                  <a:gd name="T26" fmla="*/ 52 w 56"/>
                  <a:gd name="T27" fmla="*/ 46 h 56"/>
                  <a:gd name="T28" fmla="*/ 52 w 56"/>
                  <a:gd name="T29" fmla="*/ 4 h 56"/>
                  <a:gd name="T30" fmla="*/ 4 w 56"/>
                  <a:gd name="T31" fmla="*/ 4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6" h="56">
                    <a:moveTo>
                      <a:pt x="46" y="56"/>
                    </a:moveTo>
                    <a:cubicBezTo>
                      <a:pt x="10" y="56"/>
                      <a:pt x="10" y="56"/>
                      <a:pt x="10" y="56"/>
                    </a:cubicBezTo>
                    <a:cubicBezTo>
                      <a:pt x="4" y="56"/>
                      <a:pt x="0" y="52"/>
                      <a:pt x="0" y="46"/>
                    </a:cubicBezTo>
                    <a:cubicBezTo>
                      <a:pt x="0" y="2"/>
                      <a:pt x="0" y="2"/>
                      <a:pt x="0" y="2"/>
                    </a:cubicBezTo>
                    <a:cubicBezTo>
                      <a:pt x="0" y="1"/>
                      <a:pt x="1" y="0"/>
                      <a:pt x="2" y="0"/>
                    </a:cubicBezTo>
                    <a:cubicBezTo>
                      <a:pt x="54" y="0"/>
                      <a:pt x="54" y="0"/>
                      <a:pt x="54" y="0"/>
                    </a:cubicBezTo>
                    <a:cubicBezTo>
                      <a:pt x="55" y="0"/>
                      <a:pt x="56" y="1"/>
                      <a:pt x="56" y="2"/>
                    </a:cubicBezTo>
                    <a:cubicBezTo>
                      <a:pt x="56" y="46"/>
                      <a:pt x="56" y="46"/>
                      <a:pt x="56" y="46"/>
                    </a:cubicBezTo>
                    <a:cubicBezTo>
                      <a:pt x="56" y="52"/>
                      <a:pt x="52" y="56"/>
                      <a:pt x="46" y="56"/>
                    </a:cubicBezTo>
                    <a:close/>
                    <a:moveTo>
                      <a:pt x="4" y="4"/>
                    </a:moveTo>
                    <a:cubicBezTo>
                      <a:pt x="4" y="46"/>
                      <a:pt x="4" y="46"/>
                      <a:pt x="4" y="46"/>
                    </a:cubicBezTo>
                    <a:cubicBezTo>
                      <a:pt x="4" y="49"/>
                      <a:pt x="7" y="52"/>
                      <a:pt x="10" y="52"/>
                    </a:cubicBezTo>
                    <a:cubicBezTo>
                      <a:pt x="46" y="52"/>
                      <a:pt x="46" y="52"/>
                      <a:pt x="46" y="52"/>
                    </a:cubicBezTo>
                    <a:cubicBezTo>
                      <a:pt x="49" y="52"/>
                      <a:pt x="52" y="49"/>
                      <a:pt x="52" y="46"/>
                    </a:cubicBezTo>
                    <a:cubicBezTo>
                      <a:pt x="52" y="4"/>
                      <a:pt x="52" y="4"/>
                      <a:pt x="52" y="4"/>
                    </a:cubicBezTo>
                    <a:lnTo>
                      <a:pt x="4"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60" name="Freeform 86"/>
              <p:cNvSpPr>
                <a:spLocks noEditPoints="1"/>
              </p:cNvSpPr>
              <p:nvPr/>
            </p:nvSpPr>
            <p:spPr bwMode="auto">
              <a:xfrm>
                <a:off x="5853113" y="1797050"/>
                <a:ext cx="74612" cy="104775"/>
              </a:xfrm>
              <a:custGeom>
                <a:avLst/>
                <a:gdLst>
                  <a:gd name="T0" fmla="*/ 10 w 19"/>
                  <a:gd name="T1" fmla="*/ 27 h 27"/>
                  <a:gd name="T2" fmla="*/ 10 w 19"/>
                  <a:gd name="T3" fmla="*/ 27 h 27"/>
                  <a:gd name="T4" fmla="*/ 6 w 19"/>
                  <a:gd name="T5" fmla="*/ 26 h 27"/>
                  <a:gd name="T6" fmla="*/ 1 w 19"/>
                  <a:gd name="T7" fmla="*/ 21 h 27"/>
                  <a:gd name="T8" fmla="*/ 1 w 19"/>
                  <a:gd name="T9" fmla="*/ 15 h 27"/>
                  <a:gd name="T10" fmla="*/ 3 w 19"/>
                  <a:gd name="T11" fmla="*/ 11 h 27"/>
                  <a:gd name="T12" fmla="*/ 5 w 19"/>
                  <a:gd name="T13" fmla="*/ 3 h 27"/>
                  <a:gd name="T14" fmla="*/ 5 w 19"/>
                  <a:gd name="T15" fmla="*/ 1 h 27"/>
                  <a:gd name="T16" fmla="*/ 7 w 19"/>
                  <a:gd name="T17" fmla="*/ 0 h 27"/>
                  <a:gd name="T18" fmla="*/ 19 w 19"/>
                  <a:gd name="T19" fmla="*/ 17 h 27"/>
                  <a:gd name="T20" fmla="*/ 10 w 19"/>
                  <a:gd name="T21" fmla="*/ 27 h 27"/>
                  <a:gd name="T22" fmla="*/ 10 w 19"/>
                  <a:gd name="T23" fmla="*/ 6 h 27"/>
                  <a:gd name="T24" fmla="*/ 7 w 19"/>
                  <a:gd name="T25" fmla="*/ 14 h 27"/>
                  <a:gd name="T26" fmla="*/ 5 w 19"/>
                  <a:gd name="T27" fmla="*/ 16 h 27"/>
                  <a:gd name="T28" fmla="*/ 5 w 19"/>
                  <a:gd name="T29" fmla="*/ 20 h 27"/>
                  <a:gd name="T30" fmla="*/ 7 w 19"/>
                  <a:gd name="T31" fmla="*/ 22 h 27"/>
                  <a:gd name="T32" fmla="*/ 10 w 19"/>
                  <a:gd name="T33" fmla="*/ 23 h 27"/>
                  <a:gd name="T34" fmla="*/ 15 w 19"/>
                  <a:gd name="T35" fmla="*/ 17 h 27"/>
                  <a:gd name="T36" fmla="*/ 10 w 19"/>
                  <a:gd name="T37" fmla="*/ 6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9" h="27">
                    <a:moveTo>
                      <a:pt x="10" y="27"/>
                    </a:moveTo>
                    <a:cubicBezTo>
                      <a:pt x="10" y="27"/>
                      <a:pt x="10" y="27"/>
                      <a:pt x="10" y="27"/>
                    </a:cubicBezTo>
                    <a:cubicBezTo>
                      <a:pt x="9" y="27"/>
                      <a:pt x="7" y="26"/>
                      <a:pt x="6" y="26"/>
                    </a:cubicBezTo>
                    <a:cubicBezTo>
                      <a:pt x="4" y="25"/>
                      <a:pt x="2" y="23"/>
                      <a:pt x="1" y="21"/>
                    </a:cubicBezTo>
                    <a:cubicBezTo>
                      <a:pt x="0" y="19"/>
                      <a:pt x="0" y="17"/>
                      <a:pt x="1" y="15"/>
                    </a:cubicBezTo>
                    <a:cubicBezTo>
                      <a:pt x="2" y="13"/>
                      <a:pt x="3" y="12"/>
                      <a:pt x="3" y="11"/>
                    </a:cubicBezTo>
                    <a:cubicBezTo>
                      <a:pt x="6" y="8"/>
                      <a:pt x="7" y="7"/>
                      <a:pt x="5" y="3"/>
                    </a:cubicBezTo>
                    <a:cubicBezTo>
                      <a:pt x="4" y="3"/>
                      <a:pt x="4" y="2"/>
                      <a:pt x="5" y="1"/>
                    </a:cubicBezTo>
                    <a:cubicBezTo>
                      <a:pt x="5" y="0"/>
                      <a:pt x="6" y="0"/>
                      <a:pt x="7" y="0"/>
                    </a:cubicBezTo>
                    <a:cubicBezTo>
                      <a:pt x="16" y="3"/>
                      <a:pt x="19" y="11"/>
                      <a:pt x="19" y="17"/>
                    </a:cubicBezTo>
                    <a:cubicBezTo>
                      <a:pt x="18" y="23"/>
                      <a:pt x="14" y="27"/>
                      <a:pt x="10" y="27"/>
                    </a:cubicBezTo>
                    <a:close/>
                    <a:moveTo>
                      <a:pt x="10" y="6"/>
                    </a:moveTo>
                    <a:cubicBezTo>
                      <a:pt x="10" y="9"/>
                      <a:pt x="8" y="12"/>
                      <a:pt x="7" y="14"/>
                    </a:cubicBezTo>
                    <a:cubicBezTo>
                      <a:pt x="6" y="15"/>
                      <a:pt x="5" y="15"/>
                      <a:pt x="5" y="16"/>
                    </a:cubicBezTo>
                    <a:cubicBezTo>
                      <a:pt x="4" y="17"/>
                      <a:pt x="4" y="19"/>
                      <a:pt x="5" y="20"/>
                    </a:cubicBezTo>
                    <a:cubicBezTo>
                      <a:pt x="5" y="21"/>
                      <a:pt x="6" y="22"/>
                      <a:pt x="7" y="22"/>
                    </a:cubicBezTo>
                    <a:cubicBezTo>
                      <a:pt x="8" y="22"/>
                      <a:pt x="9" y="23"/>
                      <a:pt x="10" y="23"/>
                    </a:cubicBezTo>
                    <a:cubicBezTo>
                      <a:pt x="13" y="23"/>
                      <a:pt x="14" y="19"/>
                      <a:pt x="15" y="17"/>
                    </a:cubicBezTo>
                    <a:cubicBezTo>
                      <a:pt x="15" y="13"/>
                      <a:pt x="14" y="8"/>
                      <a:pt x="10"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61" name="Freeform 87"/>
              <p:cNvSpPr>
                <a:spLocks/>
              </p:cNvSpPr>
              <p:nvPr/>
            </p:nvSpPr>
            <p:spPr bwMode="auto">
              <a:xfrm>
                <a:off x="5826125" y="1878013"/>
                <a:ext cx="58737" cy="88900"/>
              </a:xfrm>
              <a:custGeom>
                <a:avLst/>
                <a:gdLst>
                  <a:gd name="T0" fmla="*/ 2 w 15"/>
                  <a:gd name="T1" fmla="*/ 23 h 23"/>
                  <a:gd name="T2" fmla="*/ 1 w 15"/>
                  <a:gd name="T3" fmla="*/ 23 h 23"/>
                  <a:gd name="T4" fmla="*/ 0 w 15"/>
                  <a:gd name="T5" fmla="*/ 20 h 23"/>
                  <a:gd name="T6" fmla="*/ 11 w 15"/>
                  <a:gd name="T7" fmla="*/ 1 h 23"/>
                  <a:gd name="T8" fmla="*/ 13 w 15"/>
                  <a:gd name="T9" fmla="*/ 1 h 23"/>
                  <a:gd name="T10" fmla="*/ 14 w 15"/>
                  <a:gd name="T11" fmla="*/ 3 h 23"/>
                  <a:gd name="T12" fmla="*/ 4 w 15"/>
                  <a:gd name="T13" fmla="*/ 22 h 23"/>
                  <a:gd name="T14" fmla="*/ 2 w 15"/>
                  <a:gd name="T15" fmla="*/ 23 h 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 h="23">
                    <a:moveTo>
                      <a:pt x="2" y="23"/>
                    </a:moveTo>
                    <a:cubicBezTo>
                      <a:pt x="2" y="23"/>
                      <a:pt x="1" y="23"/>
                      <a:pt x="1" y="23"/>
                    </a:cubicBezTo>
                    <a:cubicBezTo>
                      <a:pt x="0" y="22"/>
                      <a:pt x="0" y="21"/>
                      <a:pt x="0" y="20"/>
                    </a:cubicBezTo>
                    <a:cubicBezTo>
                      <a:pt x="11" y="1"/>
                      <a:pt x="11" y="1"/>
                      <a:pt x="11" y="1"/>
                    </a:cubicBezTo>
                    <a:cubicBezTo>
                      <a:pt x="11" y="0"/>
                      <a:pt x="12" y="0"/>
                      <a:pt x="13" y="1"/>
                    </a:cubicBezTo>
                    <a:cubicBezTo>
                      <a:pt x="14" y="1"/>
                      <a:pt x="15" y="2"/>
                      <a:pt x="14" y="3"/>
                    </a:cubicBezTo>
                    <a:cubicBezTo>
                      <a:pt x="4" y="22"/>
                      <a:pt x="4" y="22"/>
                      <a:pt x="4" y="22"/>
                    </a:cubicBezTo>
                    <a:cubicBezTo>
                      <a:pt x="3" y="23"/>
                      <a:pt x="3" y="23"/>
                      <a:pt x="2"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62" name="Freeform 88"/>
              <p:cNvSpPr>
                <a:spLocks/>
              </p:cNvSpPr>
              <p:nvPr/>
            </p:nvSpPr>
            <p:spPr bwMode="auto">
              <a:xfrm>
                <a:off x="5856288" y="1882775"/>
                <a:ext cx="44450" cy="84138"/>
              </a:xfrm>
              <a:custGeom>
                <a:avLst/>
                <a:gdLst>
                  <a:gd name="T0" fmla="*/ 2 w 11"/>
                  <a:gd name="T1" fmla="*/ 22 h 22"/>
                  <a:gd name="T2" fmla="*/ 1 w 11"/>
                  <a:gd name="T3" fmla="*/ 22 h 22"/>
                  <a:gd name="T4" fmla="*/ 0 w 11"/>
                  <a:gd name="T5" fmla="*/ 19 h 22"/>
                  <a:gd name="T6" fmla="*/ 7 w 11"/>
                  <a:gd name="T7" fmla="*/ 2 h 22"/>
                  <a:gd name="T8" fmla="*/ 9 w 11"/>
                  <a:gd name="T9" fmla="*/ 1 h 22"/>
                  <a:gd name="T10" fmla="*/ 10 w 11"/>
                  <a:gd name="T11" fmla="*/ 3 h 22"/>
                  <a:gd name="T12" fmla="*/ 4 w 11"/>
                  <a:gd name="T13" fmla="*/ 21 h 22"/>
                  <a:gd name="T14" fmla="*/ 2 w 11"/>
                  <a:gd name="T15" fmla="*/ 22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22">
                    <a:moveTo>
                      <a:pt x="2" y="22"/>
                    </a:moveTo>
                    <a:cubicBezTo>
                      <a:pt x="2" y="22"/>
                      <a:pt x="2" y="22"/>
                      <a:pt x="1" y="22"/>
                    </a:cubicBezTo>
                    <a:cubicBezTo>
                      <a:pt x="0" y="21"/>
                      <a:pt x="0" y="20"/>
                      <a:pt x="0" y="19"/>
                    </a:cubicBezTo>
                    <a:cubicBezTo>
                      <a:pt x="7" y="2"/>
                      <a:pt x="7" y="2"/>
                      <a:pt x="7" y="2"/>
                    </a:cubicBezTo>
                    <a:cubicBezTo>
                      <a:pt x="7" y="1"/>
                      <a:pt x="8" y="0"/>
                      <a:pt x="9" y="1"/>
                    </a:cubicBezTo>
                    <a:cubicBezTo>
                      <a:pt x="10" y="1"/>
                      <a:pt x="11" y="2"/>
                      <a:pt x="10" y="3"/>
                    </a:cubicBezTo>
                    <a:cubicBezTo>
                      <a:pt x="4" y="21"/>
                      <a:pt x="4" y="21"/>
                      <a:pt x="4" y="21"/>
                    </a:cubicBezTo>
                    <a:cubicBezTo>
                      <a:pt x="4" y="22"/>
                      <a:pt x="3" y="22"/>
                      <a:pt x="2" y="2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63" name="Freeform 89"/>
              <p:cNvSpPr>
                <a:spLocks noEditPoints="1"/>
              </p:cNvSpPr>
              <p:nvPr/>
            </p:nvSpPr>
            <p:spPr bwMode="auto">
              <a:xfrm>
                <a:off x="5653088" y="1858963"/>
                <a:ext cx="93662" cy="107950"/>
              </a:xfrm>
              <a:custGeom>
                <a:avLst/>
                <a:gdLst>
                  <a:gd name="T0" fmla="*/ 22 w 24"/>
                  <a:gd name="T1" fmla="*/ 28 h 28"/>
                  <a:gd name="T2" fmla="*/ 22 w 24"/>
                  <a:gd name="T3" fmla="*/ 28 h 28"/>
                  <a:gd name="T4" fmla="*/ 10 w 24"/>
                  <a:gd name="T5" fmla="*/ 28 h 28"/>
                  <a:gd name="T6" fmla="*/ 8 w 24"/>
                  <a:gd name="T7" fmla="*/ 27 h 28"/>
                  <a:gd name="T8" fmla="*/ 2 w 24"/>
                  <a:gd name="T9" fmla="*/ 15 h 28"/>
                  <a:gd name="T10" fmla="*/ 2 w 24"/>
                  <a:gd name="T11" fmla="*/ 14 h 28"/>
                  <a:gd name="T12" fmla="*/ 0 w 24"/>
                  <a:gd name="T13" fmla="*/ 2 h 28"/>
                  <a:gd name="T14" fmla="*/ 1 w 24"/>
                  <a:gd name="T15" fmla="*/ 0 h 28"/>
                  <a:gd name="T16" fmla="*/ 3 w 24"/>
                  <a:gd name="T17" fmla="*/ 0 h 28"/>
                  <a:gd name="T18" fmla="*/ 13 w 24"/>
                  <a:gd name="T19" fmla="*/ 6 h 28"/>
                  <a:gd name="T20" fmla="*/ 14 w 24"/>
                  <a:gd name="T21" fmla="*/ 7 h 28"/>
                  <a:gd name="T22" fmla="*/ 24 w 24"/>
                  <a:gd name="T23" fmla="*/ 25 h 28"/>
                  <a:gd name="T24" fmla="*/ 24 w 24"/>
                  <a:gd name="T25" fmla="*/ 26 h 28"/>
                  <a:gd name="T26" fmla="*/ 22 w 24"/>
                  <a:gd name="T27" fmla="*/ 28 h 28"/>
                  <a:gd name="T28" fmla="*/ 11 w 24"/>
                  <a:gd name="T29" fmla="*/ 24 h 28"/>
                  <a:gd name="T30" fmla="*/ 19 w 24"/>
                  <a:gd name="T31" fmla="*/ 24 h 28"/>
                  <a:gd name="T32" fmla="*/ 11 w 24"/>
                  <a:gd name="T33" fmla="*/ 9 h 28"/>
                  <a:gd name="T34" fmla="*/ 5 w 24"/>
                  <a:gd name="T35" fmla="*/ 6 h 28"/>
                  <a:gd name="T36" fmla="*/ 6 w 24"/>
                  <a:gd name="T37" fmla="*/ 13 h 28"/>
                  <a:gd name="T38" fmla="*/ 11 w 24"/>
                  <a:gd name="T39" fmla="*/ 24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4" h="28">
                    <a:moveTo>
                      <a:pt x="22" y="28"/>
                    </a:moveTo>
                    <a:cubicBezTo>
                      <a:pt x="22" y="28"/>
                      <a:pt x="22" y="28"/>
                      <a:pt x="22" y="28"/>
                    </a:cubicBezTo>
                    <a:cubicBezTo>
                      <a:pt x="10" y="28"/>
                      <a:pt x="10" y="28"/>
                      <a:pt x="10" y="28"/>
                    </a:cubicBezTo>
                    <a:cubicBezTo>
                      <a:pt x="9" y="28"/>
                      <a:pt x="9" y="28"/>
                      <a:pt x="8" y="27"/>
                    </a:cubicBezTo>
                    <a:cubicBezTo>
                      <a:pt x="2" y="15"/>
                      <a:pt x="2" y="15"/>
                      <a:pt x="2" y="15"/>
                    </a:cubicBezTo>
                    <a:cubicBezTo>
                      <a:pt x="2" y="15"/>
                      <a:pt x="2" y="15"/>
                      <a:pt x="2" y="14"/>
                    </a:cubicBezTo>
                    <a:cubicBezTo>
                      <a:pt x="0" y="2"/>
                      <a:pt x="0" y="2"/>
                      <a:pt x="0" y="2"/>
                    </a:cubicBezTo>
                    <a:cubicBezTo>
                      <a:pt x="0" y="2"/>
                      <a:pt x="0" y="1"/>
                      <a:pt x="1" y="0"/>
                    </a:cubicBezTo>
                    <a:cubicBezTo>
                      <a:pt x="2" y="0"/>
                      <a:pt x="2" y="0"/>
                      <a:pt x="3" y="0"/>
                    </a:cubicBezTo>
                    <a:cubicBezTo>
                      <a:pt x="13" y="6"/>
                      <a:pt x="13" y="6"/>
                      <a:pt x="13" y="6"/>
                    </a:cubicBezTo>
                    <a:cubicBezTo>
                      <a:pt x="13" y="6"/>
                      <a:pt x="14" y="7"/>
                      <a:pt x="14" y="7"/>
                    </a:cubicBezTo>
                    <a:cubicBezTo>
                      <a:pt x="24" y="25"/>
                      <a:pt x="24" y="25"/>
                      <a:pt x="24" y="25"/>
                    </a:cubicBezTo>
                    <a:cubicBezTo>
                      <a:pt x="24" y="25"/>
                      <a:pt x="24" y="25"/>
                      <a:pt x="24" y="26"/>
                    </a:cubicBezTo>
                    <a:cubicBezTo>
                      <a:pt x="24" y="27"/>
                      <a:pt x="23" y="28"/>
                      <a:pt x="22" y="28"/>
                    </a:cubicBezTo>
                    <a:close/>
                    <a:moveTo>
                      <a:pt x="11" y="24"/>
                    </a:moveTo>
                    <a:cubicBezTo>
                      <a:pt x="19" y="24"/>
                      <a:pt x="19" y="24"/>
                      <a:pt x="19" y="24"/>
                    </a:cubicBezTo>
                    <a:cubicBezTo>
                      <a:pt x="11" y="9"/>
                      <a:pt x="11" y="9"/>
                      <a:pt x="11" y="9"/>
                    </a:cubicBezTo>
                    <a:cubicBezTo>
                      <a:pt x="5" y="6"/>
                      <a:pt x="5" y="6"/>
                      <a:pt x="5" y="6"/>
                    </a:cubicBezTo>
                    <a:cubicBezTo>
                      <a:pt x="6" y="13"/>
                      <a:pt x="6" y="13"/>
                      <a:pt x="6" y="13"/>
                    </a:cubicBezTo>
                    <a:lnTo>
                      <a:pt x="11"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64" name="Freeform 90"/>
              <p:cNvSpPr>
                <a:spLocks/>
              </p:cNvSpPr>
              <p:nvPr/>
            </p:nvSpPr>
            <p:spPr bwMode="auto">
              <a:xfrm>
                <a:off x="5661025" y="1882775"/>
                <a:ext cx="47625" cy="38100"/>
              </a:xfrm>
              <a:custGeom>
                <a:avLst/>
                <a:gdLst>
                  <a:gd name="T0" fmla="*/ 2 w 12"/>
                  <a:gd name="T1" fmla="*/ 10 h 10"/>
                  <a:gd name="T2" fmla="*/ 0 w 12"/>
                  <a:gd name="T3" fmla="*/ 9 h 10"/>
                  <a:gd name="T4" fmla="*/ 1 w 12"/>
                  <a:gd name="T5" fmla="*/ 6 h 10"/>
                  <a:gd name="T6" fmla="*/ 9 w 12"/>
                  <a:gd name="T7" fmla="*/ 0 h 10"/>
                  <a:gd name="T8" fmla="*/ 12 w 12"/>
                  <a:gd name="T9" fmla="*/ 1 h 10"/>
                  <a:gd name="T10" fmla="*/ 11 w 12"/>
                  <a:gd name="T11" fmla="*/ 4 h 10"/>
                  <a:gd name="T12" fmla="*/ 3 w 12"/>
                  <a:gd name="T13" fmla="*/ 10 h 10"/>
                  <a:gd name="T14" fmla="*/ 2 w 12"/>
                  <a:gd name="T15" fmla="*/ 1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10">
                    <a:moveTo>
                      <a:pt x="2" y="10"/>
                    </a:moveTo>
                    <a:cubicBezTo>
                      <a:pt x="1" y="10"/>
                      <a:pt x="1" y="10"/>
                      <a:pt x="0" y="9"/>
                    </a:cubicBezTo>
                    <a:cubicBezTo>
                      <a:pt x="0" y="8"/>
                      <a:pt x="0" y="7"/>
                      <a:pt x="1" y="6"/>
                    </a:cubicBezTo>
                    <a:cubicBezTo>
                      <a:pt x="9" y="0"/>
                      <a:pt x="9" y="0"/>
                      <a:pt x="9" y="0"/>
                    </a:cubicBezTo>
                    <a:cubicBezTo>
                      <a:pt x="10" y="0"/>
                      <a:pt x="11" y="0"/>
                      <a:pt x="12" y="1"/>
                    </a:cubicBezTo>
                    <a:cubicBezTo>
                      <a:pt x="12" y="2"/>
                      <a:pt x="12" y="3"/>
                      <a:pt x="11" y="4"/>
                    </a:cubicBezTo>
                    <a:cubicBezTo>
                      <a:pt x="3" y="10"/>
                      <a:pt x="3" y="10"/>
                      <a:pt x="3" y="10"/>
                    </a:cubicBezTo>
                    <a:cubicBezTo>
                      <a:pt x="3" y="10"/>
                      <a:pt x="2" y="10"/>
                      <a:pt x="2"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65" name="Freeform 91"/>
              <p:cNvSpPr>
                <a:spLocks noEditPoints="1"/>
              </p:cNvSpPr>
              <p:nvPr/>
            </p:nvSpPr>
            <p:spPr bwMode="auto">
              <a:xfrm>
                <a:off x="5746750" y="1797050"/>
                <a:ext cx="79375" cy="169863"/>
              </a:xfrm>
              <a:custGeom>
                <a:avLst/>
                <a:gdLst>
                  <a:gd name="T0" fmla="*/ 18 w 20"/>
                  <a:gd name="T1" fmla="*/ 44 h 44"/>
                  <a:gd name="T2" fmla="*/ 2 w 20"/>
                  <a:gd name="T3" fmla="*/ 44 h 44"/>
                  <a:gd name="T4" fmla="*/ 0 w 20"/>
                  <a:gd name="T5" fmla="*/ 42 h 44"/>
                  <a:gd name="T6" fmla="*/ 0 w 20"/>
                  <a:gd name="T7" fmla="*/ 2 h 44"/>
                  <a:gd name="T8" fmla="*/ 2 w 20"/>
                  <a:gd name="T9" fmla="*/ 0 h 44"/>
                  <a:gd name="T10" fmla="*/ 18 w 20"/>
                  <a:gd name="T11" fmla="*/ 0 h 44"/>
                  <a:gd name="T12" fmla="*/ 20 w 20"/>
                  <a:gd name="T13" fmla="*/ 2 h 44"/>
                  <a:gd name="T14" fmla="*/ 20 w 20"/>
                  <a:gd name="T15" fmla="*/ 42 h 44"/>
                  <a:gd name="T16" fmla="*/ 18 w 20"/>
                  <a:gd name="T17" fmla="*/ 44 h 44"/>
                  <a:gd name="T18" fmla="*/ 4 w 20"/>
                  <a:gd name="T19" fmla="*/ 40 h 44"/>
                  <a:gd name="T20" fmla="*/ 16 w 20"/>
                  <a:gd name="T21" fmla="*/ 40 h 44"/>
                  <a:gd name="T22" fmla="*/ 16 w 20"/>
                  <a:gd name="T23" fmla="*/ 4 h 44"/>
                  <a:gd name="T24" fmla="*/ 4 w 20"/>
                  <a:gd name="T25" fmla="*/ 4 h 44"/>
                  <a:gd name="T26" fmla="*/ 4 w 20"/>
                  <a:gd name="T27" fmla="*/ 4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 h="44">
                    <a:moveTo>
                      <a:pt x="18" y="44"/>
                    </a:moveTo>
                    <a:cubicBezTo>
                      <a:pt x="2" y="44"/>
                      <a:pt x="2" y="44"/>
                      <a:pt x="2" y="44"/>
                    </a:cubicBezTo>
                    <a:cubicBezTo>
                      <a:pt x="1" y="44"/>
                      <a:pt x="0" y="43"/>
                      <a:pt x="0" y="42"/>
                    </a:cubicBezTo>
                    <a:cubicBezTo>
                      <a:pt x="0" y="2"/>
                      <a:pt x="0" y="2"/>
                      <a:pt x="0" y="2"/>
                    </a:cubicBezTo>
                    <a:cubicBezTo>
                      <a:pt x="0" y="1"/>
                      <a:pt x="1" y="0"/>
                      <a:pt x="2" y="0"/>
                    </a:cubicBezTo>
                    <a:cubicBezTo>
                      <a:pt x="18" y="0"/>
                      <a:pt x="18" y="0"/>
                      <a:pt x="18" y="0"/>
                    </a:cubicBezTo>
                    <a:cubicBezTo>
                      <a:pt x="19" y="0"/>
                      <a:pt x="20" y="1"/>
                      <a:pt x="20" y="2"/>
                    </a:cubicBezTo>
                    <a:cubicBezTo>
                      <a:pt x="20" y="42"/>
                      <a:pt x="20" y="42"/>
                      <a:pt x="20" y="42"/>
                    </a:cubicBezTo>
                    <a:cubicBezTo>
                      <a:pt x="20" y="43"/>
                      <a:pt x="19" y="44"/>
                      <a:pt x="18" y="44"/>
                    </a:cubicBezTo>
                    <a:close/>
                    <a:moveTo>
                      <a:pt x="4" y="40"/>
                    </a:moveTo>
                    <a:cubicBezTo>
                      <a:pt x="16" y="40"/>
                      <a:pt x="16" y="40"/>
                      <a:pt x="16" y="40"/>
                    </a:cubicBezTo>
                    <a:cubicBezTo>
                      <a:pt x="16" y="4"/>
                      <a:pt x="16" y="4"/>
                      <a:pt x="16" y="4"/>
                    </a:cubicBezTo>
                    <a:cubicBezTo>
                      <a:pt x="4" y="4"/>
                      <a:pt x="4" y="4"/>
                      <a:pt x="4" y="4"/>
                    </a:cubicBezTo>
                    <a:lnTo>
                      <a:pt x="4" y="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66" name="Freeform 92"/>
              <p:cNvSpPr>
                <a:spLocks/>
              </p:cNvSpPr>
              <p:nvPr/>
            </p:nvSpPr>
            <p:spPr bwMode="auto">
              <a:xfrm>
                <a:off x="5778500" y="1828800"/>
                <a:ext cx="47625" cy="14288"/>
              </a:xfrm>
              <a:custGeom>
                <a:avLst/>
                <a:gdLst>
                  <a:gd name="T0" fmla="*/ 10 w 12"/>
                  <a:gd name="T1" fmla="*/ 4 h 4"/>
                  <a:gd name="T2" fmla="*/ 2 w 12"/>
                  <a:gd name="T3" fmla="*/ 4 h 4"/>
                  <a:gd name="T4" fmla="*/ 0 w 12"/>
                  <a:gd name="T5" fmla="*/ 2 h 4"/>
                  <a:gd name="T6" fmla="*/ 2 w 12"/>
                  <a:gd name="T7" fmla="*/ 0 h 4"/>
                  <a:gd name="T8" fmla="*/ 10 w 12"/>
                  <a:gd name="T9" fmla="*/ 0 h 4"/>
                  <a:gd name="T10" fmla="*/ 12 w 12"/>
                  <a:gd name="T11" fmla="*/ 2 h 4"/>
                  <a:gd name="T12" fmla="*/ 10 w 12"/>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12" h="4">
                    <a:moveTo>
                      <a:pt x="10" y="4"/>
                    </a:moveTo>
                    <a:cubicBezTo>
                      <a:pt x="2" y="4"/>
                      <a:pt x="2" y="4"/>
                      <a:pt x="2" y="4"/>
                    </a:cubicBezTo>
                    <a:cubicBezTo>
                      <a:pt x="1" y="4"/>
                      <a:pt x="0" y="3"/>
                      <a:pt x="0" y="2"/>
                    </a:cubicBezTo>
                    <a:cubicBezTo>
                      <a:pt x="0" y="1"/>
                      <a:pt x="1" y="0"/>
                      <a:pt x="2" y="0"/>
                    </a:cubicBezTo>
                    <a:cubicBezTo>
                      <a:pt x="10" y="0"/>
                      <a:pt x="10" y="0"/>
                      <a:pt x="10" y="0"/>
                    </a:cubicBezTo>
                    <a:cubicBezTo>
                      <a:pt x="11" y="0"/>
                      <a:pt x="12" y="1"/>
                      <a:pt x="12" y="2"/>
                    </a:cubicBezTo>
                    <a:cubicBezTo>
                      <a:pt x="12" y="3"/>
                      <a:pt x="11" y="4"/>
                      <a:pt x="10"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67" name="Freeform 93"/>
              <p:cNvSpPr>
                <a:spLocks/>
              </p:cNvSpPr>
              <p:nvPr/>
            </p:nvSpPr>
            <p:spPr bwMode="auto">
              <a:xfrm>
                <a:off x="5794375" y="1858963"/>
                <a:ext cx="31750" cy="15875"/>
              </a:xfrm>
              <a:custGeom>
                <a:avLst/>
                <a:gdLst>
                  <a:gd name="T0" fmla="*/ 6 w 8"/>
                  <a:gd name="T1" fmla="*/ 4 h 4"/>
                  <a:gd name="T2" fmla="*/ 2 w 8"/>
                  <a:gd name="T3" fmla="*/ 4 h 4"/>
                  <a:gd name="T4" fmla="*/ 0 w 8"/>
                  <a:gd name="T5" fmla="*/ 2 h 4"/>
                  <a:gd name="T6" fmla="*/ 2 w 8"/>
                  <a:gd name="T7" fmla="*/ 0 h 4"/>
                  <a:gd name="T8" fmla="*/ 6 w 8"/>
                  <a:gd name="T9" fmla="*/ 0 h 4"/>
                  <a:gd name="T10" fmla="*/ 8 w 8"/>
                  <a:gd name="T11" fmla="*/ 2 h 4"/>
                  <a:gd name="T12" fmla="*/ 6 w 8"/>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8" h="4">
                    <a:moveTo>
                      <a:pt x="6" y="4"/>
                    </a:moveTo>
                    <a:cubicBezTo>
                      <a:pt x="2" y="4"/>
                      <a:pt x="2" y="4"/>
                      <a:pt x="2" y="4"/>
                    </a:cubicBezTo>
                    <a:cubicBezTo>
                      <a:pt x="1" y="4"/>
                      <a:pt x="0" y="3"/>
                      <a:pt x="0" y="2"/>
                    </a:cubicBezTo>
                    <a:cubicBezTo>
                      <a:pt x="0" y="1"/>
                      <a:pt x="1" y="0"/>
                      <a:pt x="2" y="0"/>
                    </a:cubicBezTo>
                    <a:cubicBezTo>
                      <a:pt x="6" y="0"/>
                      <a:pt x="6" y="0"/>
                      <a:pt x="6" y="0"/>
                    </a:cubicBezTo>
                    <a:cubicBezTo>
                      <a:pt x="7" y="0"/>
                      <a:pt x="8" y="1"/>
                      <a:pt x="8" y="2"/>
                    </a:cubicBezTo>
                    <a:cubicBezTo>
                      <a:pt x="8" y="3"/>
                      <a:pt x="7" y="4"/>
                      <a:pt x="6"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68" name="Freeform 94"/>
              <p:cNvSpPr>
                <a:spLocks/>
              </p:cNvSpPr>
              <p:nvPr/>
            </p:nvSpPr>
            <p:spPr bwMode="auto">
              <a:xfrm>
                <a:off x="5778500" y="1890713"/>
                <a:ext cx="47625" cy="14288"/>
              </a:xfrm>
              <a:custGeom>
                <a:avLst/>
                <a:gdLst>
                  <a:gd name="T0" fmla="*/ 10 w 12"/>
                  <a:gd name="T1" fmla="*/ 4 h 4"/>
                  <a:gd name="T2" fmla="*/ 2 w 12"/>
                  <a:gd name="T3" fmla="*/ 4 h 4"/>
                  <a:gd name="T4" fmla="*/ 0 w 12"/>
                  <a:gd name="T5" fmla="*/ 2 h 4"/>
                  <a:gd name="T6" fmla="*/ 2 w 12"/>
                  <a:gd name="T7" fmla="*/ 0 h 4"/>
                  <a:gd name="T8" fmla="*/ 10 w 12"/>
                  <a:gd name="T9" fmla="*/ 0 h 4"/>
                  <a:gd name="T10" fmla="*/ 12 w 12"/>
                  <a:gd name="T11" fmla="*/ 2 h 4"/>
                  <a:gd name="T12" fmla="*/ 10 w 12"/>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12" h="4">
                    <a:moveTo>
                      <a:pt x="10" y="4"/>
                    </a:moveTo>
                    <a:cubicBezTo>
                      <a:pt x="2" y="4"/>
                      <a:pt x="2" y="4"/>
                      <a:pt x="2" y="4"/>
                    </a:cubicBezTo>
                    <a:cubicBezTo>
                      <a:pt x="1" y="4"/>
                      <a:pt x="0" y="3"/>
                      <a:pt x="0" y="2"/>
                    </a:cubicBezTo>
                    <a:cubicBezTo>
                      <a:pt x="0" y="1"/>
                      <a:pt x="1" y="0"/>
                      <a:pt x="2" y="0"/>
                    </a:cubicBezTo>
                    <a:cubicBezTo>
                      <a:pt x="10" y="0"/>
                      <a:pt x="10" y="0"/>
                      <a:pt x="10" y="0"/>
                    </a:cubicBezTo>
                    <a:cubicBezTo>
                      <a:pt x="11" y="0"/>
                      <a:pt x="12" y="1"/>
                      <a:pt x="12" y="2"/>
                    </a:cubicBezTo>
                    <a:cubicBezTo>
                      <a:pt x="12" y="3"/>
                      <a:pt x="11" y="4"/>
                      <a:pt x="10"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69" name="Freeform 95"/>
              <p:cNvSpPr>
                <a:spLocks/>
              </p:cNvSpPr>
              <p:nvPr/>
            </p:nvSpPr>
            <p:spPr bwMode="auto">
              <a:xfrm>
                <a:off x="5794375" y="1920875"/>
                <a:ext cx="31750" cy="15875"/>
              </a:xfrm>
              <a:custGeom>
                <a:avLst/>
                <a:gdLst>
                  <a:gd name="T0" fmla="*/ 6 w 8"/>
                  <a:gd name="T1" fmla="*/ 4 h 4"/>
                  <a:gd name="T2" fmla="*/ 2 w 8"/>
                  <a:gd name="T3" fmla="*/ 4 h 4"/>
                  <a:gd name="T4" fmla="*/ 0 w 8"/>
                  <a:gd name="T5" fmla="*/ 2 h 4"/>
                  <a:gd name="T6" fmla="*/ 2 w 8"/>
                  <a:gd name="T7" fmla="*/ 0 h 4"/>
                  <a:gd name="T8" fmla="*/ 6 w 8"/>
                  <a:gd name="T9" fmla="*/ 0 h 4"/>
                  <a:gd name="T10" fmla="*/ 8 w 8"/>
                  <a:gd name="T11" fmla="*/ 2 h 4"/>
                  <a:gd name="T12" fmla="*/ 6 w 8"/>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8" h="4">
                    <a:moveTo>
                      <a:pt x="6" y="4"/>
                    </a:moveTo>
                    <a:cubicBezTo>
                      <a:pt x="2" y="4"/>
                      <a:pt x="2" y="4"/>
                      <a:pt x="2" y="4"/>
                    </a:cubicBezTo>
                    <a:cubicBezTo>
                      <a:pt x="1" y="4"/>
                      <a:pt x="0" y="3"/>
                      <a:pt x="0" y="2"/>
                    </a:cubicBezTo>
                    <a:cubicBezTo>
                      <a:pt x="0" y="1"/>
                      <a:pt x="1" y="0"/>
                      <a:pt x="2" y="0"/>
                    </a:cubicBezTo>
                    <a:cubicBezTo>
                      <a:pt x="6" y="0"/>
                      <a:pt x="6" y="0"/>
                      <a:pt x="6" y="0"/>
                    </a:cubicBezTo>
                    <a:cubicBezTo>
                      <a:pt x="7" y="0"/>
                      <a:pt x="8" y="1"/>
                      <a:pt x="8" y="2"/>
                    </a:cubicBezTo>
                    <a:cubicBezTo>
                      <a:pt x="8" y="3"/>
                      <a:pt x="7" y="4"/>
                      <a:pt x="6"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grpSp>
        <p:grpSp>
          <p:nvGrpSpPr>
            <p:cNvPr id="155" name="Group 154"/>
            <p:cNvGrpSpPr>
              <a:grpSpLocks noChangeAspect="1"/>
            </p:cNvGrpSpPr>
            <p:nvPr/>
          </p:nvGrpSpPr>
          <p:grpSpPr>
            <a:xfrm>
              <a:off x="3243426" y="5786928"/>
              <a:ext cx="252001" cy="252000"/>
              <a:chOff x="2182813" y="2376488"/>
              <a:chExt cx="371476" cy="371475"/>
            </a:xfrm>
            <a:solidFill>
              <a:schemeClr val="bg1"/>
            </a:solidFill>
          </p:grpSpPr>
          <p:sp>
            <p:nvSpPr>
              <p:cNvPr id="156" name="Freeform 101"/>
              <p:cNvSpPr>
                <a:spLocks/>
              </p:cNvSpPr>
              <p:nvPr/>
            </p:nvSpPr>
            <p:spPr bwMode="auto">
              <a:xfrm>
                <a:off x="2182813" y="2376488"/>
                <a:ext cx="371475" cy="371475"/>
              </a:xfrm>
              <a:custGeom>
                <a:avLst/>
                <a:gdLst>
                  <a:gd name="T0" fmla="*/ 42 w 96"/>
                  <a:gd name="T1" fmla="*/ 96 h 96"/>
                  <a:gd name="T2" fmla="*/ 40 w 96"/>
                  <a:gd name="T3" fmla="*/ 83 h 96"/>
                  <a:gd name="T4" fmla="*/ 23 w 96"/>
                  <a:gd name="T5" fmla="*/ 88 h 96"/>
                  <a:gd name="T6" fmla="*/ 8 w 96"/>
                  <a:gd name="T7" fmla="*/ 76 h 96"/>
                  <a:gd name="T8" fmla="*/ 8 w 96"/>
                  <a:gd name="T9" fmla="*/ 73 h 96"/>
                  <a:gd name="T10" fmla="*/ 13 w 96"/>
                  <a:gd name="T11" fmla="*/ 56 h 96"/>
                  <a:gd name="T12" fmla="*/ 0 w 96"/>
                  <a:gd name="T13" fmla="*/ 54 h 96"/>
                  <a:gd name="T14" fmla="*/ 2 w 96"/>
                  <a:gd name="T15" fmla="*/ 40 h 96"/>
                  <a:gd name="T16" fmla="*/ 17 w 96"/>
                  <a:gd name="T17" fmla="*/ 31 h 96"/>
                  <a:gd name="T18" fmla="*/ 8 w 96"/>
                  <a:gd name="T19" fmla="*/ 21 h 96"/>
                  <a:gd name="T20" fmla="*/ 20 w 96"/>
                  <a:gd name="T21" fmla="*/ 8 h 96"/>
                  <a:gd name="T22" fmla="*/ 31 w 96"/>
                  <a:gd name="T23" fmla="*/ 17 h 96"/>
                  <a:gd name="T24" fmla="*/ 40 w 96"/>
                  <a:gd name="T25" fmla="*/ 2 h 96"/>
                  <a:gd name="T26" fmla="*/ 54 w 96"/>
                  <a:gd name="T27" fmla="*/ 0 h 96"/>
                  <a:gd name="T28" fmla="*/ 56 w 96"/>
                  <a:gd name="T29" fmla="*/ 13 h 96"/>
                  <a:gd name="T30" fmla="*/ 67 w 96"/>
                  <a:gd name="T31" fmla="*/ 20 h 96"/>
                  <a:gd name="T32" fmla="*/ 54 w 96"/>
                  <a:gd name="T33" fmla="*/ 17 h 96"/>
                  <a:gd name="T34" fmla="*/ 52 w 96"/>
                  <a:gd name="T35" fmla="*/ 4 h 96"/>
                  <a:gd name="T36" fmla="*/ 44 w 96"/>
                  <a:gd name="T37" fmla="*/ 15 h 96"/>
                  <a:gd name="T38" fmla="*/ 31 w 96"/>
                  <a:gd name="T39" fmla="*/ 21 h 96"/>
                  <a:gd name="T40" fmla="*/ 21 w 96"/>
                  <a:gd name="T41" fmla="*/ 13 h 96"/>
                  <a:gd name="T42" fmla="*/ 20 w 96"/>
                  <a:gd name="T43" fmla="*/ 29 h 96"/>
                  <a:gd name="T44" fmla="*/ 17 w 96"/>
                  <a:gd name="T45" fmla="*/ 42 h 96"/>
                  <a:gd name="T46" fmla="*/ 4 w 96"/>
                  <a:gd name="T47" fmla="*/ 44 h 96"/>
                  <a:gd name="T48" fmla="*/ 15 w 96"/>
                  <a:gd name="T49" fmla="*/ 52 h 96"/>
                  <a:gd name="T50" fmla="*/ 21 w 96"/>
                  <a:gd name="T51" fmla="*/ 65 h 96"/>
                  <a:gd name="T52" fmla="*/ 13 w 96"/>
                  <a:gd name="T53" fmla="*/ 75 h 96"/>
                  <a:gd name="T54" fmla="*/ 29 w 96"/>
                  <a:gd name="T55" fmla="*/ 76 h 96"/>
                  <a:gd name="T56" fmla="*/ 42 w 96"/>
                  <a:gd name="T57" fmla="*/ 79 h 96"/>
                  <a:gd name="T58" fmla="*/ 44 w 96"/>
                  <a:gd name="T59" fmla="*/ 92 h 96"/>
                  <a:gd name="T60" fmla="*/ 52 w 96"/>
                  <a:gd name="T61" fmla="*/ 81 h 96"/>
                  <a:gd name="T62" fmla="*/ 65 w 96"/>
                  <a:gd name="T63" fmla="*/ 75 h 96"/>
                  <a:gd name="T64" fmla="*/ 75 w 96"/>
                  <a:gd name="T65" fmla="*/ 83 h 96"/>
                  <a:gd name="T66" fmla="*/ 76 w 96"/>
                  <a:gd name="T67" fmla="*/ 67 h 96"/>
                  <a:gd name="T68" fmla="*/ 79 w 96"/>
                  <a:gd name="T69" fmla="*/ 54 h 96"/>
                  <a:gd name="T70" fmla="*/ 92 w 96"/>
                  <a:gd name="T71" fmla="*/ 52 h 96"/>
                  <a:gd name="T72" fmla="*/ 81 w 96"/>
                  <a:gd name="T73" fmla="*/ 44 h 96"/>
                  <a:gd name="T74" fmla="*/ 77 w 96"/>
                  <a:gd name="T75" fmla="*/ 36 h 96"/>
                  <a:gd name="T76" fmla="*/ 81 w 96"/>
                  <a:gd name="T77" fmla="*/ 34 h 96"/>
                  <a:gd name="T78" fmla="*/ 94 w 96"/>
                  <a:gd name="T79" fmla="*/ 40 h 96"/>
                  <a:gd name="T80" fmla="*/ 96 w 96"/>
                  <a:gd name="T81" fmla="*/ 54 h 96"/>
                  <a:gd name="T82" fmla="*/ 83 w 96"/>
                  <a:gd name="T83" fmla="*/ 56 h 96"/>
                  <a:gd name="T84" fmla="*/ 88 w 96"/>
                  <a:gd name="T85" fmla="*/ 73 h 96"/>
                  <a:gd name="T86" fmla="*/ 76 w 96"/>
                  <a:gd name="T87" fmla="*/ 88 h 96"/>
                  <a:gd name="T88" fmla="*/ 65 w 96"/>
                  <a:gd name="T89" fmla="*/ 79 h 96"/>
                  <a:gd name="T90" fmla="*/ 56 w 96"/>
                  <a:gd name="T91" fmla="*/ 94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96" h="96">
                    <a:moveTo>
                      <a:pt x="54" y="96"/>
                    </a:moveTo>
                    <a:cubicBezTo>
                      <a:pt x="42" y="96"/>
                      <a:pt x="42" y="96"/>
                      <a:pt x="42" y="96"/>
                    </a:cubicBezTo>
                    <a:cubicBezTo>
                      <a:pt x="41" y="96"/>
                      <a:pt x="40" y="95"/>
                      <a:pt x="40" y="94"/>
                    </a:cubicBezTo>
                    <a:cubicBezTo>
                      <a:pt x="40" y="83"/>
                      <a:pt x="40" y="83"/>
                      <a:pt x="40" y="83"/>
                    </a:cubicBezTo>
                    <a:cubicBezTo>
                      <a:pt x="37" y="82"/>
                      <a:pt x="33" y="81"/>
                      <a:pt x="31" y="79"/>
                    </a:cubicBezTo>
                    <a:cubicBezTo>
                      <a:pt x="23" y="88"/>
                      <a:pt x="23" y="88"/>
                      <a:pt x="23" y="88"/>
                    </a:cubicBezTo>
                    <a:cubicBezTo>
                      <a:pt x="22" y="88"/>
                      <a:pt x="20" y="88"/>
                      <a:pt x="20" y="88"/>
                    </a:cubicBezTo>
                    <a:cubicBezTo>
                      <a:pt x="8" y="76"/>
                      <a:pt x="8" y="76"/>
                      <a:pt x="8" y="76"/>
                    </a:cubicBezTo>
                    <a:cubicBezTo>
                      <a:pt x="8" y="76"/>
                      <a:pt x="8" y="75"/>
                      <a:pt x="8" y="75"/>
                    </a:cubicBezTo>
                    <a:cubicBezTo>
                      <a:pt x="8" y="74"/>
                      <a:pt x="8" y="74"/>
                      <a:pt x="8" y="73"/>
                    </a:cubicBezTo>
                    <a:cubicBezTo>
                      <a:pt x="17" y="65"/>
                      <a:pt x="17" y="65"/>
                      <a:pt x="17" y="65"/>
                    </a:cubicBezTo>
                    <a:cubicBezTo>
                      <a:pt x="15" y="63"/>
                      <a:pt x="14" y="59"/>
                      <a:pt x="13" y="56"/>
                    </a:cubicBezTo>
                    <a:cubicBezTo>
                      <a:pt x="2" y="56"/>
                      <a:pt x="2" y="56"/>
                      <a:pt x="2" y="56"/>
                    </a:cubicBezTo>
                    <a:cubicBezTo>
                      <a:pt x="1" y="56"/>
                      <a:pt x="0" y="55"/>
                      <a:pt x="0" y="54"/>
                    </a:cubicBezTo>
                    <a:cubicBezTo>
                      <a:pt x="0" y="42"/>
                      <a:pt x="0" y="42"/>
                      <a:pt x="0" y="42"/>
                    </a:cubicBezTo>
                    <a:cubicBezTo>
                      <a:pt x="0" y="41"/>
                      <a:pt x="1" y="40"/>
                      <a:pt x="2" y="40"/>
                    </a:cubicBezTo>
                    <a:cubicBezTo>
                      <a:pt x="13" y="40"/>
                      <a:pt x="13" y="40"/>
                      <a:pt x="13" y="40"/>
                    </a:cubicBezTo>
                    <a:cubicBezTo>
                      <a:pt x="14" y="37"/>
                      <a:pt x="15" y="33"/>
                      <a:pt x="17" y="31"/>
                    </a:cubicBezTo>
                    <a:cubicBezTo>
                      <a:pt x="8" y="23"/>
                      <a:pt x="8" y="23"/>
                      <a:pt x="8" y="23"/>
                    </a:cubicBezTo>
                    <a:cubicBezTo>
                      <a:pt x="8" y="22"/>
                      <a:pt x="8" y="22"/>
                      <a:pt x="8" y="21"/>
                    </a:cubicBezTo>
                    <a:cubicBezTo>
                      <a:pt x="8" y="21"/>
                      <a:pt x="8" y="20"/>
                      <a:pt x="8" y="20"/>
                    </a:cubicBezTo>
                    <a:cubicBezTo>
                      <a:pt x="20" y="8"/>
                      <a:pt x="20" y="8"/>
                      <a:pt x="20" y="8"/>
                    </a:cubicBezTo>
                    <a:cubicBezTo>
                      <a:pt x="20" y="8"/>
                      <a:pt x="22" y="8"/>
                      <a:pt x="23" y="8"/>
                    </a:cubicBezTo>
                    <a:cubicBezTo>
                      <a:pt x="31" y="17"/>
                      <a:pt x="31" y="17"/>
                      <a:pt x="31" y="17"/>
                    </a:cubicBezTo>
                    <a:cubicBezTo>
                      <a:pt x="33" y="15"/>
                      <a:pt x="37" y="14"/>
                      <a:pt x="40" y="13"/>
                    </a:cubicBezTo>
                    <a:cubicBezTo>
                      <a:pt x="40" y="2"/>
                      <a:pt x="40" y="2"/>
                      <a:pt x="40" y="2"/>
                    </a:cubicBezTo>
                    <a:cubicBezTo>
                      <a:pt x="40" y="1"/>
                      <a:pt x="41" y="0"/>
                      <a:pt x="42" y="0"/>
                    </a:cubicBezTo>
                    <a:cubicBezTo>
                      <a:pt x="54" y="0"/>
                      <a:pt x="54" y="0"/>
                      <a:pt x="54" y="0"/>
                    </a:cubicBezTo>
                    <a:cubicBezTo>
                      <a:pt x="55" y="0"/>
                      <a:pt x="56" y="1"/>
                      <a:pt x="56" y="2"/>
                    </a:cubicBezTo>
                    <a:cubicBezTo>
                      <a:pt x="56" y="13"/>
                      <a:pt x="56" y="13"/>
                      <a:pt x="56" y="13"/>
                    </a:cubicBezTo>
                    <a:cubicBezTo>
                      <a:pt x="60" y="14"/>
                      <a:pt x="64" y="16"/>
                      <a:pt x="67" y="17"/>
                    </a:cubicBezTo>
                    <a:cubicBezTo>
                      <a:pt x="68" y="18"/>
                      <a:pt x="68" y="19"/>
                      <a:pt x="67" y="20"/>
                    </a:cubicBezTo>
                    <a:cubicBezTo>
                      <a:pt x="67" y="21"/>
                      <a:pt x="66" y="21"/>
                      <a:pt x="65" y="21"/>
                    </a:cubicBezTo>
                    <a:cubicBezTo>
                      <a:pt x="62" y="19"/>
                      <a:pt x="57" y="18"/>
                      <a:pt x="54" y="17"/>
                    </a:cubicBezTo>
                    <a:cubicBezTo>
                      <a:pt x="53" y="17"/>
                      <a:pt x="52" y="16"/>
                      <a:pt x="52" y="15"/>
                    </a:cubicBezTo>
                    <a:cubicBezTo>
                      <a:pt x="52" y="4"/>
                      <a:pt x="52" y="4"/>
                      <a:pt x="52" y="4"/>
                    </a:cubicBezTo>
                    <a:cubicBezTo>
                      <a:pt x="44" y="4"/>
                      <a:pt x="44" y="4"/>
                      <a:pt x="44" y="4"/>
                    </a:cubicBezTo>
                    <a:cubicBezTo>
                      <a:pt x="44" y="15"/>
                      <a:pt x="44" y="15"/>
                      <a:pt x="44" y="15"/>
                    </a:cubicBezTo>
                    <a:cubicBezTo>
                      <a:pt x="44" y="16"/>
                      <a:pt x="43" y="17"/>
                      <a:pt x="42" y="17"/>
                    </a:cubicBezTo>
                    <a:cubicBezTo>
                      <a:pt x="39" y="18"/>
                      <a:pt x="34" y="19"/>
                      <a:pt x="31" y="21"/>
                    </a:cubicBezTo>
                    <a:cubicBezTo>
                      <a:pt x="31" y="21"/>
                      <a:pt x="30" y="21"/>
                      <a:pt x="29" y="20"/>
                    </a:cubicBezTo>
                    <a:cubicBezTo>
                      <a:pt x="21" y="13"/>
                      <a:pt x="21" y="13"/>
                      <a:pt x="21" y="13"/>
                    </a:cubicBezTo>
                    <a:cubicBezTo>
                      <a:pt x="13" y="21"/>
                      <a:pt x="13" y="21"/>
                      <a:pt x="13" y="21"/>
                    </a:cubicBezTo>
                    <a:cubicBezTo>
                      <a:pt x="20" y="29"/>
                      <a:pt x="20" y="29"/>
                      <a:pt x="20" y="29"/>
                    </a:cubicBezTo>
                    <a:cubicBezTo>
                      <a:pt x="21" y="30"/>
                      <a:pt x="21" y="31"/>
                      <a:pt x="21" y="31"/>
                    </a:cubicBezTo>
                    <a:cubicBezTo>
                      <a:pt x="19" y="34"/>
                      <a:pt x="17" y="40"/>
                      <a:pt x="17" y="42"/>
                    </a:cubicBezTo>
                    <a:cubicBezTo>
                      <a:pt x="17" y="43"/>
                      <a:pt x="16" y="44"/>
                      <a:pt x="15" y="44"/>
                    </a:cubicBezTo>
                    <a:cubicBezTo>
                      <a:pt x="4" y="44"/>
                      <a:pt x="4" y="44"/>
                      <a:pt x="4" y="44"/>
                    </a:cubicBezTo>
                    <a:cubicBezTo>
                      <a:pt x="4" y="52"/>
                      <a:pt x="4" y="52"/>
                      <a:pt x="4" y="52"/>
                    </a:cubicBezTo>
                    <a:cubicBezTo>
                      <a:pt x="15" y="52"/>
                      <a:pt x="15" y="52"/>
                      <a:pt x="15" y="52"/>
                    </a:cubicBezTo>
                    <a:cubicBezTo>
                      <a:pt x="16" y="52"/>
                      <a:pt x="17" y="53"/>
                      <a:pt x="17" y="54"/>
                    </a:cubicBezTo>
                    <a:cubicBezTo>
                      <a:pt x="17" y="56"/>
                      <a:pt x="19" y="62"/>
                      <a:pt x="21" y="65"/>
                    </a:cubicBezTo>
                    <a:cubicBezTo>
                      <a:pt x="21" y="65"/>
                      <a:pt x="21" y="66"/>
                      <a:pt x="20" y="67"/>
                    </a:cubicBezTo>
                    <a:cubicBezTo>
                      <a:pt x="13" y="75"/>
                      <a:pt x="13" y="75"/>
                      <a:pt x="13" y="75"/>
                    </a:cubicBezTo>
                    <a:cubicBezTo>
                      <a:pt x="21" y="83"/>
                      <a:pt x="21" y="83"/>
                      <a:pt x="21" y="83"/>
                    </a:cubicBezTo>
                    <a:cubicBezTo>
                      <a:pt x="29" y="76"/>
                      <a:pt x="29" y="76"/>
                      <a:pt x="29" y="76"/>
                    </a:cubicBezTo>
                    <a:cubicBezTo>
                      <a:pt x="30" y="75"/>
                      <a:pt x="31" y="75"/>
                      <a:pt x="31" y="75"/>
                    </a:cubicBezTo>
                    <a:cubicBezTo>
                      <a:pt x="34" y="77"/>
                      <a:pt x="40" y="79"/>
                      <a:pt x="42" y="79"/>
                    </a:cubicBezTo>
                    <a:cubicBezTo>
                      <a:pt x="43" y="79"/>
                      <a:pt x="44" y="80"/>
                      <a:pt x="44" y="81"/>
                    </a:cubicBezTo>
                    <a:cubicBezTo>
                      <a:pt x="44" y="92"/>
                      <a:pt x="44" y="92"/>
                      <a:pt x="44" y="92"/>
                    </a:cubicBezTo>
                    <a:cubicBezTo>
                      <a:pt x="52" y="92"/>
                      <a:pt x="52" y="92"/>
                      <a:pt x="52" y="92"/>
                    </a:cubicBezTo>
                    <a:cubicBezTo>
                      <a:pt x="52" y="81"/>
                      <a:pt x="52" y="81"/>
                      <a:pt x="52" y="81"/>
                    </a:cubicBezTo>
                    <a:cubicBezTo>
                      <a:pt x="52" y="80"/>
                      <a:pt x="53" y="79"/>
                      <a:pt x="54" y="79"/>
                    </a:cubicBezTo>
                    <a:cubicBezTo>
                      <a:pt x="56" y="79"/>
                      <a:pt x="62" y="77"/>
                      <a:pt x="65" y="75"/>
                    </a:cubicBezTo>
                    <a:cubicBezTo>
                      <a:pt x="65" y="75"/>
                      <a:pt x="66" y="75"/>
                      <a:pt x="67" y="76"/>
                    </a:cubicBezTo>
                    <a:cubicBezTo>
                      <a:pt x="75" y="83"/>
                      <a:pt x="75" y="83"/>
                      <a:pt x="75" y="83"/>
                    </a:cubicBezTo>
                    <a:cubicBezTo>
                      <a:pt x="83" y="75"/>
                      <a:pt x="83" y="75"/>
                      <a:pt x="83" y="75"/>
                    </a:cubicBezTo>
                    <a:cubicBezTo>
                      <a:pt x="76" y="67"/>
                      <a:pt x="76" y="67"/>
                      <a:pt x="76" y="67"/>
                    </a:cubicBezTo>
                    <a:cubicBezTo>
                      <a:pt x="75" y="66"/>
                      <a:pt x="75" y="65"/>
                      <a:pt x="75" y="65"/>
                    </a:cubicBezTo>
                    <a:cubicBezTo>
                      <a:pt x="77" y="62"/>
                      <a:pt x="79" y="56"/>
                      <a:pt x="79" y="54"/>
                    </a:cubicBezTo>
                    <a:cubicBezTo>
                      <a:pt x="79" y="53"/>
                      <a:pt x="80" y="52"/>
                      <a:pt x="81" y="52"/>
                    </a:cubicBezTo>
                    <a:cubicBezTo>
                      <a:pt x="92" y="52"/>
                      <a:pt x="92" y="52"/>
                      <a:pt x="92" y="52"/>
                    </a:cubicBezTo>
                    <a:cubicBezTo>
                      <a:pt x="92" y="44"/>
                      <a:pt x="92" y="44"/>
                      <a:pt x="92" y="44"/>
                    </a:cubicBezTo>
                    <a:cubicBezTo>
                      <a:pt x="81" y="44"/>
                      <a:pt x="81" y="44"/>
                      <a:pt x="81" y="44"/>
                    </a:cubicBezTo>
                    <a:cubicBezTo>
                      <a:pt x="80" y="44"/>
                      <a:pt x="79" y="43"/>
                      <a:pt x="79" y="42"/>
                    </a:cubicBezTo>
                    <a:cubicBezTo>
                      <a:pt x="79" y="41"/>
                      <a:pt x="78" y="38"/>
                      <a:pt x="77" y="36"/>
                    </a:cubicBezTo>
                    <a:cubicBezTo>
                      <a:pt x="77" y="35"/>
                      <a:pt x="77" y="33"/>
                      <a:pt x="78" y="33"/>
                    </a:cubicBezTo>
                    <a:cubicBezTo>
                      <a:pt x="79" y="33"/>
                      <a:pt x="81" y="33"/>
                      <a:pt x="81" y="34"/>
                    </a:cubicBezTo>
                    <a:cubicBezTo>
                      <a:pt x="82" y="36"/>
                      <a:pt x="82" y="38"/>
                      <a:pt x="83" y="40"/>
                    </a:cubicBezTo>
                    <a:cubicBezTo>
                      <a:pt x="94" y="40"/>
                      <a:pt x="94" y="40"/>
                      <a:pt x="94" y="40"/>
                    </a:cubicBezTo>
                    <a:cubicBezTo>
                      <a:pt x="95" y="40"/>
                      <a:pt x="96" y="41"/>
                      <a:pt x="96" y="42"/>
                    </a:cubicBezTo>
                    <a:cubicBezTo>
                      <a:pt x="96" y="54"/>
                      <a:pt x="96" y="54"/>
                      <a:pt x="96" y="54"/>
                    </a:cubicBezTo>
                    <a:cubicBezTo>
                      <a:pt x="96" y="55"/>
                      <a:pt x="95" y="56"/>
                      <a:pt x="94" y="56"/>
                    </a:cubicBezTo>
                    <a:cubicBezTo>
                      <a:pt x="83" y="56"/>
                      <a:pt x="83" y="56"/>
                      <a:pt x="83" y="56"/>
                    </a:cubicBezTo>
                    <a:cubicBezTo>
                      <a:pt x="82" y="59"/>
                      <a:pt x="81" y="63"/>
                      <a:pt x="79" y="65"/>
                    </a:cubicBezTo>
                    <a:cubicBezTo>
                      <a:pt x="88" y="73"/>
                      <a:pt x="88" y="73"/>
                      <a:pt x="88" y="73"/>
                    </a:cubicBezTo>
                    <a:cubicBezTo>
                      <a:pt x="88" y="74"/>
                      <a:pt x="88" y="76"/>
                      <a:pt x="88" y="76"/>
                    </a:cubicBezTo>
                    <a:cubicBezTo>
                      <a:pt x="76" y="88"/>
                      <a:pt x="76" y="88"/>
                      <a:pt x="76" y="88"/>
                    </a:cubicBezTo>
                    <a:cubicBezTo>
                      <a:pt x="76" y="88"/>
                      <a:pt x="74" y="88"/>
                      <a:pt x="73" y="88"/>
                    </a:cubicBezTo>
                    <a:cubicBezTo>
                      <a:pt x="65" y="79"/>
                      <a:pt x="65" y="79"/>
                      <a:pt x="65" y="79"/>
                    </a:cubicBezTo>
                    <a:cubicBezTo>
                      <a:pt x="63" y="81"/>
                      <a:pt x="59" y="82"/>
                      <a:pt x="56" y="83"/>
                    </a:cubicBezTo>
                    <a:cubicBezTo>
                      <a:pt x="56" y="94"/>
                      <a:pt x="56" y="94"/>
                      <a:pt x="56" y="94"/>
                    </a:cubicBezTo>
                    <a:cubicBezTo>
                      <a:pt x="56" y="95"/>
                      <a:pt x="55" y="96"/>
                      <a:pt x="54" y="9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57" name="Freeform 102"/>
              <p:cNvSpPr>
                <a:spLocks/>
              </p:cNvSpPr>
              <p:nvPr/>
            </p:nvSpPr>
            <p:spPr bwMode="auto">
              <a:xfrm>
                <a:off x="2298701" y="2376488"/>
                <a:ext cx="255588" cy="231775"/>
              </a:xfrm>
              <a:custGeom>
                <a:avLst/>
                <a:gdLst>
                  <a:gd name="T0" fmla="*/ 18 w 66"/>
                  <a:gd name="T1" fmla="*/ 60 h 60"/>
                  <a:gd name="T2" fmla="*/ 17 w 66"/>
                  <a:gd name="T3" fmla="*/ 59 h 60"/>
                  <a:gd name="T4" fmla="*/ 1 w 66"/>
                  <a:gd name="T5" fmla="*/ 41 h 60"/>
                  <a:gd name="T6" fmla="*/ 1 w 66"/>
                  <a:gd name="T7" fmla="*/ 39 h 60"/>
                  <a:gd name="T8" fmla="*/ 3 w 66"/>
                  <a:gd name="T9" fmla="*/ 39 h 60"/>
                  <a:gd name="T10" fmla="*/ 18 w 66"/>
                  <a:gd name="T11" fmla="*/ 55 h 60"/>
                  <a:gd name="T12" fmla="*/ 62 w 66"/>
                  <a:gd name="T13" fmla="*/ 1 h 60"/>
                  <a:gd name="T14" fmla="*/ 65 w 66"/>
                  <a:gd name="T15" fmla="*/ 0 h 60"/>
                  <a:gd name="T16" fmla="*/ 66 w 66"/>
                  <a:gd name="T17" fmla="*/ 3 h 60"/>
                  <a:gd name="T18" fmla="*/ 20 w 66"/>
                  <a:gd name="T19" fmla="*/ 59 h 60"/>
                  <a:gd name="T20" fmla="*/ 18 w 66"/>
                  <a:gd name="T21" fmla="*/ 60 h 60"/>
                  <a:gd name="T22" fmla="*/ 18 w 66"/>
                  <a:gd name="T23"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6" h="60">
                    <a:moveTo>
                      <a:pt x="18" y="60"/>
                    </a:moveTo>
                    <a:cubicBezTo>
                      <a:pt x="17" y="60"/>
                      <a:pt x="17" y="60"/>
                      <a:pt x="17" y="59"/>
                    </a:cubicBezTo>
                    <a:cubicBezTo>
                      <a:pt x="1" y="41"/>
                      <a:pt x="1" y="41"/>
                      <a:pt x="1" y="41"/>
                    </a:cubicBezTo>
                    <a:cubicBezTo>
                      <a:pt x="0" y="41"/>
                      <a:pt x="0" y="39"/>
                      <a:pt x="1" y="39"/>
                    </a:cubicBezTo>
                    <a:cubicBezTo>
                      <a:pt x="1" y="38"/>
                      <a:pt x="3" y="38"/>
                      <a:pt x="3" y="39"/>
                    </a:cubicBezTo>
                    <a:cubicBezTo>
                      <a:pt x="18" y="55"/>
                      <a:pt x="18" y="55"/>
                      <a:pt x="18" y="55"/>
                    </a:cubicBezTo>
                    <a:cubicBezTo>
                      <a:pt x="62" y="1"/>
                      <a:pt x="62" y="1"/>
                      <a:pt x="62" y="1"/>
                    </a:cubicBezTo>
                    <a:cubicBezTo>
                      <a:pt x="63" y="0"/>
                      <a:pt x="64" y="0"/>
                      <a:pt x="65" y="0"/>
                    </a:cubicBezTo>
                    <a:cubicBezTo>
                      <a:pt x="66" y="1"/>
                      <a:pt x="66" y="2"/>
                      <a:pt x="66" y="3"/>
                    </a:cubicBezTo>
                    <a:cubicBezTo>
                      <a:pt x="20" y="59"/>
                      <a:pt x="20" y="59"/>
                      <a:pt x="20" y="59"/>
                    </a:cubicBezTo>
                    <a:cubicBezTo>
                      <a:pt x="19" y="60"/>
                      <a:pt x="19" y="60"/>
                      <a:pt x="18" y="60"/>
                    </a:cubicBezTo>
                    <a:cubicBezTo>
                      <a:pt x="18" y="60"/>
                      <a:pt x="18" y="60"/>
                      <a:pt x="18"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grpSp>
      </p:grpSp>
    </p:spTree>
    <p:extLst>
      <p:ext uri="{BB962C8B-B14F-4D97-AF65-F5344CB8AC3E}">
        <p14:creationId xmlns:p14="http://schemas.microsoft.com/office/powerpoint/2010/main" val="81175435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3" name="Rectangle 102"/>
          <p:cNvSpPr/>
          <p:nvPr/>
        </p:nvSpPr>
        <p:spPr>
          <a:xfrm>
            <a:off x="12344400" y="0"/>
            <a:ext cx="469900" cy="469900"/>
          </a:xfrm>
          <a:prstGeom prst="rect">
            <a:avLst/>
          </a:prstGeom>
          <a:solidFill>
            <a:srgbClr val="E7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4" name="Rectangle 103"/>
          <p:cNvSpPr/>
          <p:nvPr/>
        </p:nvSpPr>
        <p:spPr>
          <a:xfrm>
            <a:off x="12344400" y="649557"/>
            <a:ext cx="469900" cy="469900"/>
          </a:xfrm>
          <a:prstGeom prst="rect">
            <a:avLst/>
          </a:prstGeom>
          <a:solidFill>
            <a:srgbClr val="AFABA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5" name="Rectangle 104"/>
          <p:cNvSpPr/>
          <p:nvPr/>
        </p:nvSpPr>
        <p:spPr>
          <a:xfrm>
            <a:off x="12344400" y="1299114"/>
            <a:ext cx="469900" cy="469900"/>
          </a:xfrm>
          <a:prstGeom prst="rect">
            <a:avLst/>
          </a:prstGeom>
          <a:solidFill>
            <a:srgbClr val="76717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7" name="Rectangle 106"/>
          <p:cNvSpPr/>
          <p:nvPr/>
        </p:nvSpPr>
        <p:spPr>
          <a:xfrm>
            <a:off x="12966699" y="0"/>
            <a:ext cx="469900" cy="469900"/>
          </a:xfrm>
          <a:prstGeom prst="rect">
            <a:avLst/>
          </a:prstGeom>
          <a:solidFill>
            <a:srgbClr val="E8786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8" name="Rectangle 107"/>
          <p:cNvSpPr/>
          <p:nvPr/>
        </p:nvSpPr>
        <p:spPr>
          <a:xfrm>
            <a:off x="12966699" y="649557"/>
            <a:ext cx="469900" cy="469900"/>
          </a:xfrm>
          <a:prstGeom prst="rect">
            <a:avLst/>
          </a:prstGeom>
          <a:solidFill>
            <a:srgbClr val="E258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9" name="Rectangle 108"/>
          <p:cNvSpPr/>
          <p:nvPr/>
        </p:nvSpPr>
        <p:spPr>
          <a:xfrm>
            <a:off x="12966699" y="1299114"/>
            <a:ext cx="469900" cy="469900"/>
          </a:xfrm>
          <a:prstGeom prst="rect">
            <a:avLst/>
          </a:prstGeom>
          <a:solidFill>
            <a:srgbClr val="D63E2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0" name="Rectangle 109"/>
          <p:cNvSpPr/>
          <p:nvPr/>
        </p:nvSpPr>
        <p:spPr>
          <a:xfrm>
            <a:off x="13588998" y="0"/>
            <a:ext cx="469900" cy="469900"/>
          </a:xfrm>
          <a:prstGeom prst="rect">
            <a:avLst/>
          </a:prstGeom>
          <a:solidFill>
            <a:srgbClr val="8EDCD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1" name="Rectangle 110"/>
          <p:cNvSpPr/>
          <p:nvPr/>
        </p:nvSpPr>
        <p:spPr>
          <a:xfrm>
            <a:off x="13588998" y="649557"/>
            <a:ext cx="469900" cy="469900"/>
          </a:xfrm>
          <a:prstGeom prst="rect">
            <a:avLst/>
          </a:prstGeom>
          <a:solidFill>
            <a:srgbClr val="78D2D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2" name="Rectangle 111"/>
          <p:cNvSpPr/>
          <p:nvPr/>
        </p:nvSpPr>
        <p:spPr>
          <a:xfrm>
            <a:off x="13588998" y="1299114"/>
            <a:ext cx="469900" cy="469900"/>
          </a:xfrm>
          <a:prstGeom prst="rect">
            <a:avLst/>
          </a:prstGeom>
          <a:solidFill>
            <a:srgbClr val="4CC7C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3" name="Rectangle 112"/>
          <p:cNvSpPr/>
          <p:nvPr/>
        </p:nvSpPr>
        <p:spPr>
          <a:xfrm>
            <a:off x="14211297" y="0"/>
            <a:ext cx="469900" cy="469900"/>
          </a:xfrm>
          <a:prstGeom prst="rect">
            <a:avLst/>
          </a:prstGeom>
          <a:solidFill>
            <a:srgbClr val="55535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4" name="Rectangle 113"/>
          <p:cNvSpPr/>
          <p:nvPr/>
        </p:nvSpPr>
        <p:spPr>
          <a:xfrm>
            <a:off x="14211297" y="649557"/>
            <a:ext cx="469900" cy="469900"/>
          </a:xfrm>
          <a:prstGeom prst="rect">
            <a:avLst/>
          </a:prstGeom>
          <a:solidFill>
            <a:srgbClr val="3B393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5" name="Rectangle 114"/>
          <p:cNvSpPr/>
          <p:nvPr/>
        </p:nvSpPr>
        <p:spPr>
          <a:xfrm>
            <a:off x="14211297" y="1299114"/>
            <a:ext cx="469900" cy="469900"/>
          </a:xfrm>
          <a:prstGeom prst="rect">
            <a:avLst/>
          </a:prstGeom>
          <a:solidFill>
            <a:srgbClr val="25232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6" name="Date Placeholder 115"/>
          <p:cNvSpPr>
            <a:spLocks noGrp="1"/>
          </p:cNvSpPr>
          <p:nvPr>
            <p:ph type="dt" sz="half" idx="10"/>
          </p:nvPr>
        </p:nvSpPr>
        <p:spPr/>
        <p:txBody>
          <a:bodyPr/>
          <a:lstStyle/>
          <a:p>
            <a:fld id="{56E1B330-CB56-448E-9C70-830A2B9C05C8}" type="datetime1">
              <a:rPr lang="en-US" smtClean="0"/>
              <a:t>10/28/2022</a:t>
            </a:fld>
            <a:endParaRPr lang="en-US"/>
          </a:p>
        </p:txBody>
      </p:sp>
      <p:sp>
        <p:nvSpPr>
          <p:cNvPr id="117" name="Slide Number Placeholder 116"/>
          <p:cNvSpPr>
            <a:spLocks noGrp="1"/>
          </p:cNvSpPr>
          <p:nvPr>
            <p:ph type="sldNum" sz="quarter" idx="12"/>
          </p:nvPr>
        </p:nvSpPr>
        <p:spPr/>
        <p:txBody>
          <a:bodyPr/>
          <a:lstStyle/>
          <a:p>
            <a:fld id="{03206E70-9524-410D-AE9B-78D656EAA14D}" type="slidenum">
              <a:rPr lang="en-US" smtClean="0"/>
              <a:pPr/>
              <a:t>11</a:t>
            </a:fld>
            <a:endParaRPr lang="en-US"/>
          </a:p>
        </p:txBody>
      </p:sp>
      <p:sp>
        <p:nvSpPr>
          <p:cNvPr id="262" name="Oval 261"/>
          <p:cNvSpPr/>
          <p:nvPr/>
        </p:nvSpPr>
        <p:spPr>
          <a:xfrm>
            <a:off x="6432768" y="1893069"/>
            <a:ext cx="4141478" cy="4141478"/>
          </a:xfrm>
          <a:prstGeom prst="ellipse">
            <a:avLst/>
          </a:prstGeom>
          <a:solidFill>
            <a:schemeClr val="bg1"/>
          </a:solidFill>
          <a:ln w="57150">
            <a:solidFill>
              <a:schemeClr val="accent1">
                <a:alpha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263" name="Oval 262"/>
          <p:cNvSpPr/>
          <p:nvPr/>
        </p:nvSpPr>
        <p:spPr>
          <a:xfrm>
            <a:off x="6792152" y="2252453"/>
            <a:ext cx="3422709" cy="3422709"/>
          </a:xfrm>
          <a:prstGeom prst="ellipse">
            <a:avLst/>
          </a:prstGeom>
          <a:solidFill>
            <a:schemeClr val="bg1"/>
          </a:solidFill>
          <a:ln>
            <a:noFill/>
          </a:ln>
          <a:effectLst>
            <a:outerShdw blurRad="63500" sx="102000" sy="102000" algn="ctr"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268" name="Freeform 114"/>
          <p:cNvSpPr>
            <a:spLocks/>
          </p:cNvSpPr>
          <p:nvPr/>
        </p:nvSpPr>
        <p:spPr bwMode="auto">
          <a:xfrm>
            <a:off x="7002872" y="3307398"/>
            <a:ext cx="1625223" cy="2166344"/>
          </a:xfrm>
          <a:custGeom>
            <a:avLst/>
            <a:gdLst>
              <a:gd name="T0" fmla="*/ 358 w 369"/>
              <a:gd name="T1" fmla="*/ 321 h 492"/>
              <a:gd name="T2" fmla="*/ 358 w 369"/>
              <a:gd name="T3" fmla="*/ 321 h 492"/>
              <a:gd name="T4" fmla="*/ 344 w 369"/>
              <a:gd name="T5" fmla="*/ 322 h 492"/>
              <a:gd name="T6" fmla="*/ 171 w 369"/>
              <a:gd name="T7" fmla="*/ 150 h 492"/>
              <a:gd name="T8" fmla="*/ 189 w 369"/>
              <a:gd name="T9" fmla="*/ 73 h 492"/>
              <a:gd name="T10" fmla="*/ 189 w 369"/>
              <a:gd name="T11" fmla="*/ 73 h 492"/>
              <a:gd name="T12" fmla="*/ 126 w 369"/>
              <a:gd name="T13" fmla="*/ 7 h 492"/>
              <a:gd name="T14" fmla="*/ 35 w 369"/>
              <a:gd name="T15" fmla="*/ 0 h 492"/>
              <a:gd name="T16" fmla="*/ 0 w 369"/>
              <a:gd name="T17" fmla="*/ 150 h 492"/>
              <a:gd name="T18" fmla="*/ 344 w 369"/>
              <a:gd name="T19" fmla="*/ 492 h 492"/>
              <a:gd name="T20" fmla="*/ 369 w 369"/>
              <a:gd name="T21" fmla="*/ 491 h 492"/>
              <a:gd name="T22" fmla="*/ 331 w 369"/>
              <a:gd name="T23" fmla="*/ 410 h 492"/>
              <a:gd name="T24" fmla="*/ 358 w 369"/>
              <a:gd name="T25" fmla="*/ 321 h 4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69" h="492">
                <a:moveTo>
                  <a:pt x="358" y="321"/>
                </a:moveTo>
                <a:cubicBezTo>
                  <a:pt x="358" y="321"/>
                  <a:pt x="358" y="321"/>
                  <a:pt x="358" y="321"/>
                </a:cubicBezTo>
                <a:cubicBezTo>
                  <a:pt x="353" y="321"/>
                  <a:pt x="348" y="322"/>
                  <a:pt x="344" y="322"/>
                </a:cubicBezTo>
                <a:cubicBezTo>
                  <a:pt x="248" y="322"/>
                  <a:pt x="171" y="245"/>
                  <a:pt x="171" y="150"/>
                </a:cubicBezTo>
                <a:cubicBezTo>
                  <a:pt x="171" y="122"/>
                  <a:pt x="177" y="96"/>
                  <a:pt x="189" y="73"/>
                </a:cubicBezTo>
                <a:cubicBezTo>
                  <a:pt x="189" y="73"/>
                  <a:pt x="189" y="73"/>
                  <a:pt x="189" y="73"/>
                </a:cubicBezTo>
                <a:cubicBezTo>
                  <a:pt x="126" y="7"/>
                  <a:pt x="126" y="7"/>
                  <a:pt x="126" y="7"/>
                </a:cubicBezTo>
                <a:cubicBezTo>
                  <a:pt x="35" y="0"/>
                  <a:pt x="35" y="0"/>
                  <a:pt x="35" y="0"/>
                </a:cubicBezTo>
                <a:cubicBezTo>
                  <a:pt x="13" y="46"/>
                  <a:pt x="0" y="96"/>
                  <a:pt x="0" y="150"/>
                </a:cubicBezTo>
                <a:cubicBezTo>
                  <a:pt x="0" y="339"/>
                  <a:pt x="154" y="492"/>
                  <a:pt x="344" y="492"/>
                </a:cubicBezTo>
                <a:cubicBezTo>
                  <a:pt x="352" y="492"/>
                  <a:pt x="361" y="491"/>
                  <a:pt x="369" y="491"/>
                </a:cubicBezTo>
                <a:cubicBezTo>
                  <a:pt x="331" y="410"/>
                  <a:pt x="331" y="410"/>
                  <a:pt x="331" y="410"/>
                </a:cubicBezTo>
                <a:lnTo>
                  <a:pt x="358" y="321"/>
                </a:lnTo>
                <a:close/>
              </a:path>
            </a:pathLst>
          </a:custGeom>
          <a:solidFill>
            <a:srgbClr val="3B3939"/>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69" name="Freeform 115"/>
          <p:cNvSpPr>
            <a:spLocks/>
          </p:cNvSpPr>
          <p:nvPr/>
        </p:nvSpPr>
        <p:spPr bwMode="auto">
          <a:xfrm>
            <a:off x="8460738" y="3114008"/>
            <a:ext cx="1567577" cy="2356015"/>
          </a:xfrm>
          <a:custGeom>
            <a:avLst/>
            <a:gdLst>
              <a:gd name="T0" fmla="*/ 356 w 356"/>
              <a:gd name="T1" fmla="*/ 194 h 535"/>
              <a:gd name="T2" fmla="*/ 295 w 356"/>
              <a:gd name="T3" fmla="*/ 0 h 535"/>
              <a:gd name="T4" fmla="*/ 246 w 356"/>
              <a:gd name="T5" fmla="*/ 74 h 535"/>
              <a:gd name="T6" fmla="*/ 154 w 356"/>
              <a:gd name="T7" fmla="*/ 96 h 535"/>
              <a:gd name="T8" fmla="*/ 154 w 356"/>
              <a:gd name="T9" fmla="*/ 96 h 535"/>
              <a:gd name="T10" fmla="*/ 186 w 356"/>
              <a:gd name="T11" fmla="*/ 194 h 535"/>
              <a:gd name="T12" fmla="*/ 27 w 356"/>
              <a:gd name="T13" fmla="*/ 365 h 535"/>
              <a:gd name="T14" fmla="*/ 27 w 356"/>
              <a:gd name="T15" fmla="*/ 365 h 535"/>
              <a:gd name="T16" fmla="*/ 0 w 356"/>
              <a:gd name="T17" fmla="*/ 454 h 535"/>
              <a:gd name="T18" fmla="*/ 38 w 356"/>
              <a:gd name="T19" fmla="*/ 535 h 535"/>
              <a:gd name="T20" fmla="*/ 356 w 356"/>
              <a:gd name="T21" fmla="*/ 194 h 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56" h="535">
                <a:moveTo>
                  <a:pt x="356" y="194"/>
                </a:moveTo>
                <a:cubicBezTo>
                  <a:pt x="356" y="122"/>
                  <a:pt x="333" y="55"/>
                  <a:pt x="295" y="0"/>
                </a:cubicBezTo>
                <a:cubicBezTo>
                  <a:pt x="246" y="74"/>
                  <a:pt x="246" y="74"/>
                  <a:pt x="246" y="74"/>
                </a:cubicBezTo>
                <a:cubicBezTo>
                  <a:pt x="154" y="96"/>
                  <a:pt x="154" y="96"/>
                  <a:pt x="154" y="96"/>
                </a:cubicBezTo>
                <a:cubicBezTo>
                  <a:pt x="154" y="96"/>
                  <a:pt x="154" y="96"/>
                  <a:pt x="154" y="96"/>
                </a:cubicBezTo>
                <a:cubicBezTo>
                  <a:pt x="174" y="123"/>
                  <a:pt x="186" y="157"/>
                  <a:pt x="186" y="194"/>
                </a:cubicBezTo>
                <a:cubicBezTo>
                  <a:pt x="186" y="284"/>
                  <a:pt x="116" y="358"/>
                  <a:pt x="27" y="365"/>
                </a:cubicBezTo>
                <a:cubicBezTo>
                  <a:pt x="27" y="365"/>
                  <a:pt x="27" y="365"/>
                  <a:pt x="27" y="365"/>
                </a:cubicBezTo>
                <a:cubicBezTo>
                  <a:pt x="0" y="454"/>
                  <a:pt x="0" y="454"/>
                  <a:pt x="0" y="454"/>
                </a:cubicBezTo>
                <a:cubicBezTo>
                  <a:pt x="38" y="535"/>
                  <a:pt x="38" y="535"/>
                  <a:pt x="38" y="535"/>
                </a:cubicBezTo>
                <a:cubicBezTo>
                  <a:pt x="215" y="522"/>
                  <a:pt x="356" y="374"/>
                  <a:pt x="356" y="194"/>
                </a:cubicBezTo>
                <a:close/>
              </a:path>
            </a:pathLst>
          </a:custGeom>
          <a:solidFill>
            <a:srgbClr val="78D2D2"/>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grpSp>
        <p:nvGrpSpPr>
          <p:cNvPr id="270" name="Group 269"/>
          <p:cNvGrpSpPr/>
          <p:nvPr/>
        </p:nvGrpSpPr>
        <p:grpSpPr>
          <a:xfrm>
            <a:off x="9037190" y="3874552"/>
            <a:ext cx="1924605" cy="1911589"/>
            <a:chOff x="12573000" y="3162300"/>
            <a:chExt cx="1643062" cy="1631950"/>
          </a:xfrm>
        </p:grpSpPr>
        <p:sp>
          <p:nvSpPr>
            <p:cNvPr id="304" name="Oval 109"/>
            <p:cNvSpPr>
              <a:spLocks noChangeArrowheads="1"/>
            </p:cNvSpPr>
            <p:nvPr/>
          </p:nvSpPr>
          <p:spPr bwMode="auto">
            <a:xfrm>
              <a:off x="12573000" y="3162300"/>
              <a:ext cx="1643062" cy="1631950"/>
            </a:xfrm>
            <a:prstGeom prst="ellipse">
              <a:avLst/>
            </a:prstGeom>
            <a:solidFill>
              <a:srgbClr val="78D2D2"/>
            </a:solidFill>
            <a:ln w="14288" cap="flat">
              <a:noFill/>
              <a:prstDash val="solid"/>
              <a:miter lim="800000"/>
              <a:headEnd/>
              <a:tailEnd/>
            </a:ln>
            <a:effectLst>
              <a:outerShdw blurRad="50800" dist="38100" dir="13500000" algn="br" rotWithShape="0">
                <a:prstClr val="black">
                  <a:alpha val="40000"/>
                </a:prstClr>
              </a:outerShdw>
            </a:effec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305" name="Oval 110"/>
            <p:cNvSpPr>
              <a:spLocks noChangeArrowheads="1"/>
            </p:cNvSpPr>
            <p:nvPr/>
          </p:nvSpPr>
          <p:spPr bwMode="auto">
            <a:xfrm>
              <a:off x="12754553" y="3338946"/>
              <a:ext cx="1281545" cy="1278659"/>
            </a:xfrm>
            <a:prstGeom prst="ellipse">
              <a:avLst/>
            </a:prstGeom>
            <a:solidFill>
              <a:schemeClr val="bg1"/>
            </a:solidFill>
            <a:ln w="14288" cap="flat">
              <a:noFill/>
              <a:prstDash val="solid"/>
              <a:miter lim="800000"/>
              <a:headEnd/>
              <a:tailEnd/>
            </a:ln>
            <a:effectLst>
              <a:outerShdw blurRad="50800" dist="38100" dir="5400000" algn="t" rotWithShape="0">
                <a:prstClr val="black">
                  <a:alpha val="40000"/>
                </a:prstClr>
              </a:outerShdw>
            </a:effec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grpSp>
      <p:sp>
        <p:nvSpPr>
          <p:cNvPr id="271" name="Freeform 113"/>
          <p:cNvSpPr>
            <a:spLocks/>
          </p:cNvSpPr>
          <p:nvPr/>
        </p:nvSpPr>
        <p:spPr bwMode="auto">
          <a:xfrm>
            <a:off x="7157213" y="2465034"/>
            <a:ext cx="2603332" cy="1164061"/>
          </a:xfrm>
          <a:custGeom>
            <a:avLst/>
            <a:gdLst>
              <a:gd name="T0" fmla="*/ 154 w 591"/>
              <a:gd name="T1" fmla="*/ 264 h 264"/>
              <a:gd name="T2" fmla="*/ 154 w 591"/>
              <a:gd name="T3" fmla="*/ 264 h 264"/>
              <a:gd name="T4" fmla="*/ 309 w 591"/>
              <a:gd name="T5" fmla="*/ 170 h 264"/>
              <a:gd name="T6" fmla="*/ 450 w 591"/>
              <a:gd name="T7" fmla="*/ 243 h 264"/>
              <a:gd name="T8" fmla="*/ 450 w 591"/>
              <a:gd name="T9" fmla="*/ 243 h 264"/>
              <a:gd name="T10" fmla="*/ 542 w 591"/>
              <a:gd name="T11" fmla="*/ 221 h 264"/>
              <a:gd name="T12" fmla="*/ 591 w 591"/>
              <a:gd name="T13" fmla="*/ 147 h 264"/>
              <a:gd name="T14" fmla="*/ 309 w 591"/>
              <a:gd name="T15" fmla="*/ 0 h 264"/>
              <a:gd name="T16" fmla="*/ 0 w 591"/>
              <a:gd name="T17" fmla="*/ 191 h 264"/>
              <a:gd name="T18" fmla="*/ 91 w 591"/>
              <a:gd name="T19" fmla="*/ 198 h 264"/>
              <a:gd name="T20" fmla="*/ 154 w 591"/>
              <a:gd name="T21" fmla="*/ 264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91" h="264">
                <a:moveTo>
                  <a:pt x="154" y="264"/>
                </a:moveTo>
                <a:cubicBezTo>
                  <a:pt x="154" y="264"/>
                  <a:pt x="154" y="264"/>
                  <a:pt x="154" y="264"/>
                </a:cubicBezTo>
                <a:cubicBezTo>
                  <a:pt x="183" y="208"/>
                  <a:pt x="241" y="170"/>
                  <a:pt x="309" y="170"/>
                </a:cubicBezTo>
                <a:cubicBezTo>
                  <a:pt x="367" y="170"/>
                  <a:pt x="419" y="199"/>
                  <a:pt x="450" y="243"/>
                </a:cubicBezTo>
                <a:cubicBezTo>
                  <a:pt x="450" y="243"/>
                  <a:pt x="450" y="243"/>
                  <a:pt x="450" y="243"/>
                </a:cubicBezTo>
                <a:cubicBezTo>
                  <a:pt x="542" y="221"/>
                  <a:pt x="542" y="221"/>
                  <a:pt x="542" y="221"/>
                </a:cubicBezTo>
                <a:cubicBezTo>
                  <a:pt x="591" y="147"/>
                  <a:pt x="591" y="147"/>
                  <a:pt x="591" y="147"/>
                </a:cubicBezTo>
                <a:cubicBezTo>
                  <a:pt x="529" y="58"/>
                  <a:pt x="425" y="0"/>
                  <a:pt x="309" y="0"/>
                </a:cubicBezTo>
                <a:cubicBezTo>
                  <a:pt x="173" y="0"/>
                  <a:pt x="56" y="78"/>
                  <a:pt x="0" y="191"/>
                </a:cubicBezTo>
                <a:cubicBezTo>
                  <a:pt x="91" y="198"/>
                  <a:pt x="91" y="198"/>
                  <a:pt x="91" y="198"/>
                </a:cubicBezTo>
                <a:lnTo>
                  <a:pt x="154" y="264"/>
                </a:lnTo>
                <a:close/>
              </a:path>
            </a:pathLst>
          </a:custGeom>
          <a:solidFill>
            <a:srgbClr val="E2583D"/>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72" name="Oval 111"/>
          <p:cNvSpPr>
            <a:spLocks noChangeArrowheads="1"/>
          </p:cNvSpPr>
          <p:nvPr/>
        </p:nvSpPr>
        <p:spPr bwMode="auto">
          <a:xfrm>
            <a:off x="7557010" y="1299114"/>
            <a:ext cx="1911589" cy="1915308"/>
          </a:xfrm>
          <a:prstGeom prst="ellipse">
            <a:avLst/>
          </a:prstGeom>
          <a:solidFill>
            <a:srgbClr val="E2583D"/>
          </a:solidFill>
          <a:ln w="14288" cap="flat">
            <a:noFill/>
            <a:prstDash val="solid"/>
            <a:miter lim="800000"/>
            <a:headEnd/>
            <a:tailEnd/>
          </a:ln>
          <a:effectLst>
            <a:outerShdw blurRad="50800" dist="38100" dir="5400000" algn="t" rotWithShape="0">
              <a:prstClr val="black">
                <a:alpha val="40000"/>
              </a:prstClr>
            </a:outerShdw>
          </a:effec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73" name="Oval 107"/>
          <p:cNvSpPr>
            <a:spLocks noChangeArrowheads="1"/>
          </p:cNvSpPr>
          <p:nvPr/>
        </p:nvSpPr>
        <p:spPr bwMode="auto">
          <a:xfrm>
            <a:off x="6086128" y="3874552"/>
            <a:ext cx="1920886" cy="1911589"/>
          </a:xfrm>
          <a:prstGeom prst="ellipse">
            <a:avLst/>
          </a:prstGeom>
          <a:solidFill>
            <a:srgbClr val="3B3939"/>
          </a:solidFill>
          <a:ln w="14288" cap="flat">
            <a:noFill/>
            <a:prstDash val="solid"/>
            <a:miter lim="800000"/>
            <a:headEnd/>
            <a:tailEnd/>
          </a:ln>
          <a:effectLst>
            <a:outerShdw blurRad="50800" dist="38100" dir="18900000" algn="bl" rotWithShape="0">
              <a:prstClr val="black">
                <a:alpha val="40000"/>
              </a:prstClr>
            </a:outerShdw>
          </a:effec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74" name="Oval 108"/>
          <p:cNvSpPr>
            <a:spLocks noChangeArrowheads="1"/>
          </p:cNvSpPr>
          <p:nvPr/>
        </p:nvSpPr>
        <p:spPr bwMode="auto">
          <a:xfrm>
            <a:off x="6293464" y="4081467"/>
            <a:ext cx="1506213" cy="1497761"/>
          </a:xfrm>
          <a:prstGeom prst="ellipse">
            <a:avLst/>
          </a:prstGeom>
          <a:solidFill>
            <a:schemeClr val="bg1"/>
          </a:solidFill>
          <a:ln w="14288" cap="flat">
            <a:noFill/>
            <a:prstDash val="solid"/>
            <a:miter lim="800000"/>
            <a:headEnd/>
            <a:tailEnd/>
          </a:ln>
          <a:effectLst>
            <a:outerShdw blurRad="50800" dist="38100" dir="5400000" algn="t" rotWithShape="0">
              <a:prstClr val="black">
                <a:alpha val="40000"/>
              </a:prstClr>
            </a:outerShdw>
          </a:effec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95" name="TextBox 294"/>
          <p:cNvSpPr txBox="1"/>
          <p:nvPr/>
        </p:nvSpPr>
        <p:spPr>
          <a:xfrm>
            <a:off x="6635521" y="4970226"/>
            <a:ext cx="822100" cy="184666"/>
          </a:xfrm>
          <a:prstGeom prst="rect">
            <a:avLst/>
          </a:prstGeom>
          <a:noFill/>
          <a:ln w="6350">
            <a:noFill/>
            <a:prstDash val="dash"/>
          </a:ln>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3B3939"/>
                </a:solidFill>
                <a:effectLst/>
                <a:uLnTx/>
                <a:uFillTx/>
                <a:ea typeface="+mn-ea"/>
                <a:cs typeface="+mn-cs"/>
              </a:rPr>
              <a:t>SUPPLIER</a:t>
            </a:r>
          </a:p>
        </p:txBody>
      </p:sp>
      <p:grpSp>
        <p:nvGrpSpPr>
          <p:cNvPr id="296" name="Group 295"/>
          <p:cNvGrpSpPr>
            <a:grpSpLocks noChangeAspect="1"/>
          </p:cNvGrpSpPr>
          <p:nvPr/>
        </p:nvGrpSpPr>
        <p:grpSpPr>
          <a:xfrm>
            <a:off x="6885286" y="4474158"/>
            <a:ext cx="322571" cy="421687"/>
            <a:chOff x="3359150" y="3986213"/>
            <a:chExt cx="284162" cy="371476"/>
          </a:xfrm>
          <a:solidFill>
            <a:srgbClr val="3B3939"/>
          </a:solidFill>
        </p:grpSpPr>
        <p:sp>
          <p:nvSpPr>
            <p:cNvPr id="297" name="Freeform 121"/>
            <p:cNvSpPr>
              <a:spLocks noEditPoints="1"/>
            </p:cNvSpPr>
            <p:nvPr/>
          </p:nvSpPr>
          <p:spPr bwMode="auto">
            <a:xfrm>
              <a:off x="3359150" y="4249738"/>
              <a:ext cx="107950" cy="107950"/>
            </a:xfrm>
            <a:custGeom>
              <a:avLst/>
              <a:gdLst>
                <a:gd name="T0" fmla="*/ 14 w 28"/>
                <a:gd name="T1" fmla="*/ 28 h 28"/>
                <a:gd name="T2" fmla="*/ 0 w 28"/>
                <a:gd name="T3" fmla="*/ 14 h 28"/>
                <a:gd name="T4" fmla="*/ 14 w 28"/>
                <a:gd name="T5" fmla="*/ 0 h 28"/>
                <a:gd name="T6" fmla="*/ 28 w 28"/>
                <a:gd name="T7" fmla="*/ 14 h 28"/>
                <a:gd name="T8" fmla="*/ 14 w 28"/>
                <a:gd name="T9" fmla="*/ 28 h 28"/>
                <a:gd name="T10" fmla="*/ 14 w 28"/>
                <a:gd name="T11" fmla="*/ 4 h 28"/>
                <a:gd name="T12" fmla="*/ 4 w 28"/>
                <a:gd name="T13" fmla="*/ 14 h 28"/>
                <a:gd name="T14" fmla="*/ 14 w 28"/>
                <a:gd name="T15" fmla="*/ 24 h 28"/>
                <a:gd name="T16" fmla="*/ 24 w 28"/>
                <a:gd name="T17" fmla="*/ 14 h 28"/>
                <a:gd name="T18" fmla="*/ 14 w 28"/>
                <a:gd name="T19" fmla="*/ 4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 h="28">
                  <a:moveTo>
                    <a:pt x="14" y="28"/>
                  </a:moveTo>
                  <a:cubicBezTo>
                    <a:pt x="6" y="28"/>
                    <a:pt x="0" y="22"/>
                    <a:pt x="0" y="14"/>
                  </a:cubicBezTo>
                  <a:cubicBezTo>
                    <a:pt x="0" y="6"/>
                    <a:pt x="6" y="0"/>
                    <a:pt x="14" y="0"/>
                  </a:cubicBezTo>
                  <a:cubicBezTo>
                    <a:pt x="22" y="0"/>
                    <a:pt x="28" y="6"/>
                    <a:pt x="28" y="14"/>
                  </a:cubicBezTo>
                  <a:cubicBezTo>
                    <a:pt x="28" y="22"/>
                    <a:pt x="22" y="28"/>
                    <a:pt x="14" y="28"/>
                  </a:cubicBezTo>
                  <a:close/>
                  <a:moveTo>
                    <a:pt x="14" y="4"/>
                  </a:moveTo>
                  <a:cubicBezTo>
                    <a:pt x="8" y="4"/>
                    <a:pt x="4" y="8"/>
                    <a:pt x="4" y="14"/>
                  </a:cubicBezTo>
                  <a:cubicBezTo>
                    <a:pt x="4" y="20"/>
                    <a:pt x="8" y="24"/>
                    <a:pt x="14" y="24"/>
                  </a:cubicBezTo>
                  <a:cubicBezTo>
                    <a:pt x="20" y="24"/>
                    <a:pt x="24" y="20"/>
                    <a:pt x="24" y="14"/>
                  </a:cubicBezTo>
                  <a:cubicBezTo>
                    <a:pt x="24" y="8"/>
                    <a:pt x="20" y="4"/>
                    <a:pt x="1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98" name="Freeform 122"/>
            <p:cNvSpPr>
              <a:spLocks/>
            </p:cNvSpPr>
            <p:nvPr/>
          </p:nvSpPr>
          <p:spPr bwMode="auto">
            <a:xfrm>
              <a:off x="3373438" y="3986213"/>
              <a:ext cx="63500" cy="282575"/>
            </a:xfrm>
            <a:custGeom>
              <a:avLst/>
              <a:gdLst>
                <a:gd name="T0" fmla="*/ 14 w 16"/>
                <a:gd name="T1" fmla="*/ 73 h 73"/>
                <a:gd name="T2" fmla="*/ 12 w 16"/>
                <a:gd name="T3" fmla="*/ 71 h 73"/>
                <a:gd name="T4" fmla="*/ 12 w 16"/>
                <a:gd name="T5" fmla="*/ 4 h 73"/>
                <a:gd name="T6" fmla="*/ 2 w 16"/>
                <a:gd name="T7" fmla="*/ 4 h 73"/>
                <a:gd name="T8" fmla="*/ 0 w 16"/>
                <a:gd name="T9" fmla="*/ 2 h 73"/>
                <a:gd name="T10" fmla="*/ 2 w 16"/>
                <a:gd name="T11" fmla="*/ 0 h 73"/>
                <a:gd name="T12" fmla="*/ 14 w 16"/>
                <a:gd name="T13" fmla="*/ 0 h 73"/>
                <a:gd name="T14" fmla="*/ 16 w 16"/>
                <a:gd name="T15" fmla="*/ 2 h 73"/>
                <a:gd name="T16" fmla="*/ 16 w 16"/>
                <a:gd name="T17" fmla="*/ 71 h 73"/>
                <a:gd name="T18" fmla="*/ 14 w 16"/>
                <a:gd name="T19" fmla="*/ 73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 h="73">
                  <a:moveTo>
                    <a:pt x="14" y="73"/>
                  </a:moveTo>
                  <a:cubicBezTo>
                    <a:pt x="13" y="73"/>
                    <a:pt x="12" y="72"/>
                    <a:pt x="12" y="71"/>
                  </a:cubicBezTo>
                  <a:cubicBezTo>
                    <a:pt x="12" y="4"/>
                    <a:pt x="12" y="4"/>
                    <a:pt x="12" y="4"/>
                  </a:cubicBezTo>
                  <a:cubicBezTo>
                    <a:pt x="2" y="4"/>
                    <a:pt x="2" y="4"/>
                    <a:pt x="2" y="4"/>
                  </a:cubicBezTo>
                  <a:cubicBezTo>
                    <a:pt x="1" y="4"/>
                    <a:pt x="0" y="3"/>
                    <a:pt x="0" y="2"/>
                  </a:cubicBezTo>
                  <a:cubicBezTo>
                    <a:pt x="0" y="1"/>
                    <a:pt x="1" y="0"/>
                    <a:pt x="2" y="0"/>
                  </a:cubicBezTo>
                  <a:cubicBezTo>
                    <a:pt x="14" y="0"/>
                    <a:pt x="14" y="0"/>
                    <a:pt x="14" y="0"/>
                  </a:cubicBezTo>
                  <a:cubicBezTo>
                    <a:pt x="15" y="0"/>
                    <a:pt x="16" y="1"/>
                    <a:pt x="16" y="2"/>
                  </a:cubicBezTo>
                  <a:cubicBezTo>
                    <a:pt x="16" y="71"/>
                    <a:pt x="16" y="71"/>
                    <a:pt x="16" y="71"/>
                  </a:cubicBezTo>
                  <a:cubicBezTo>
                    <a:pt x="16" y="72"/>
                    <a:pt x="15" y="73"/>
                    <a:pt x="14" y="7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99" name="Freeform 123"/>
            <p:cNvSpPr>
              <a:spLocks/>
            </p:cNvSpPr>
            <p:nvPr/>
          </p:nvSpPr>
          <p:spPr bwMode="auto">
            <a:xfrm>
              <a:off x="3448050" y="4311651"/>
              <a:ext cx="195262" cy="46038"/>
            </a:xfrm>
            <a:custGeom>
              <a:avLst/>
              <a:gdLst>
                <a:gd name="T0" fmla="*/ 47 w 50"/>
                <a:gd name="T1" fmla="*/ 12 h 12"/>
                <a:gd name="T2" fmla="*/ 46 w 50"/>
                <a:gd name="T3" fmla="*/ 11 h 12"/>
                <a:gd name="T4" fmla="*/ 38 w 50"/>
                <a:gd name="T5" fmla="*/ 4 h 12"/>
                <a:gd name="T6" fmla="*/ 2 w 50"/>
                <a:gd name="T7" fmla="*/ 4 h 12"/>
                <a:gd name="T8" fmla="*/ 0 w 50"/>
                <a:gd name="T9" fmla="*/ 2 h 12"/>
                <a:gd name="T10" fmla="*/ 2 w 50"/>
                <a:gd name="T11" fmla="*/ 0 h 12"/>
                <a:gd name="T12" fmla="*/ 39 w 50"/>
                <a:gd name="T13" fmla="*/ 0 h 12"/>
                <a:gd name="T14" fmla="*/ 40 w 50"/>
                <a:gd name="T15" fmla="*/ 1 h 12"/>
                <a:gd name="T16" fmla="*/ 49 w 50"/>
                <a:gd name="T17" fmla="*/ 9 h 12"/>
                <a:gd name="T18" fmla="*/ 49 w 50"/>
                <a:gd name="T19" fmla="*/ 11 h 12"/>
                <a:gd name="T20" fmla="*/ 47 w 50"/>
                <a:gd name="T21"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0" h="12">
                  <a:moveTo>
                    <a:pt x="47" y="12"/>
                  </a:moveTo>
                  <a:cubicBezTo>
                    <a:pt x="47" y="12"/>
                    <a:pt x="46" y="12"/>
                    <a:pt x="46" y="11"/>
                  </a:cubicBezTo>
                  <a:cubicBezTo>
                    <a:pt x="38" y="4"/>
                    <a:pt x="38" y="4"/>
                    <a:pt x="38" y="4"/>
                  </a:cubicBezTo>
                  <a:cubicBezTo>
                    <a:pt x="2" y="4"/>
                    <a:pt x="2" y="4"/>
                    <a:pt x="2" y="4"/>
                  </a:cubicBezTo>
                  <a:cubicBezTo>
                    <a:pt x="1" y="4"/>
                    <a:pt x="0" y="3"/>
                    <a:pt x="0" y="2"/>
                  </a:cubicBezTo>
                  <a:cubicBezTo>
                    <a:pt x="0" y="1"/>
                    <a:pt x="1" y="0"/>
                    <a:pt x="2" y="0"/>
                  </a:cubicBezTo>
                  <a:cubicBezTo>
                    <a:pt x="39" y="0"/>
                    <a:pt x="39" y="0"/>
                    <a:pt x="39" y="0"/>
                  </a:cubicBezTo>
                  <a:cubicBezTo>
                    <a:pt x="40" y="0"/>
                    <a:pt x="40" y="0"/>
                    <a:pt x="40" y="1"/>
                  </a:cubicBezTo>
                  <a:cubicBezTo>
                    <a:pt x="49" y="9"/>
                    <a:pt x="49" y="9"/>
                    <a:pt x="49" y="9"/>
                  </a:cubicBezTo>
                  <a:cubicBezTo>
                    <a:pt x="50" y="9"/>
                    <a:pt x="50" y="11"/>
                    <a:pt x="49" y="11"/>
                  </a:cubicBezTo>
                  <a:cubicBezTo>
                    <a:pt x="48" y="12"/>
                    <a:pt x="48" y="12"/>
                    <a:pt x="47"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300" name="Freeform 124"/>
            <p:cNvSpPr>
              <a:spLocks noEditPoints="1"/>
            </p:cNvSpPr>
            <p:nvPr/>
          </p:nvSpPr>
          <p:spPr bwMode="auto">
            <a:xfrm>
              <a:off x="3452813" y="4141788"/>
              <a:ext cx="171450" cy="153988"/>
            </a:xfrm>
            <a:custGeom>
              <a:avLst/>
              <a:gdLst>
                <a:gd name="T0" fmla="*/ 42 w 44"/>
                <a:gd name="T1" fmla="*/ 40 h 40"/>
                <a:gd name="T2" fmla="*/ 2 w 44"/>
                <a:gd name="T3" fmla="*/ 40 h 40"/>
                <a:gd name="T4" fmla="*/ 0 w 44"/>
                <a:gd name="T5" fmla="*/ 38 h 40"/>
                <a:gd name="T6" fmla="*/ 0 w 44"/>
                <a:gd name="T7" fmla="*/ 2 h 40"/>
                <a:gd name="T8" fmla="*/ 2 w 44"/>
                <a:gd name="T9" fmla="*/ 0 h 40"/>
                <a:gd name="T10" fmla="*/ 42 w 44"/>
                <a:gd name="T11" fmla="*/ 0 h 40"/>
                <a:gd name="T12" fmla="*/ 44 w 44"/>
                <a:gd name="T13" fmla="*/ 2 h 40"/>
                <a:gd name="T14" fmla="*/ 44 w 44"/>
                <a:gd name="T15" fmla="*/ 38 h 40"/>
                <a:gd name="T16" fmla="*/ 42 w 44"/>
                <a:gd name="T17" fmla="*/ 40 h 40"/>
                <a:gd name="T18" fmla="*/ 4 w 44"/>
                <a:gd name="T19" fmla="*/ 36 h 40"/>
                <a:gd name="T20" fmla="*/ 40 w 44"/>
                <a:gd name="T21" fmla="*/ 36 h 40"/>
                <a:gd name="T22" fmla="*/ 40 w 44"/>
                <a:gd name="T23" fmla="*/ 4 h 40"/>
                <a:gd name="T24" fmla="*/ 4 w 44"/>
                <a:gd name="T25" fmla="*/ 4 h 40"/>
                <a:gd name="T26" fmla="*/ 4 w 44"/>
                <a:gd name="T27" fmla="*/ 3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40">
                  <a:moveTo>
                    <a:pt x="42" y="40"/>
                  </a:moveTo>
                  <a:cubicBezTo>
                    <a:pt x="2" y="40"/>
                    <a:pt x="2" y="40"/>
                    <a:pt x="2" y="40"/>
                  </a:cubicBezTo>
                  <a:cubicBezTo>
                    <a:pt x="1" y="40"/>
                    <a:pt x="0" y="39"/>
                    <a:pt x="0" y="38"/>
                  </a:cubicBezTo>
                  <a:cubicBezTo>
                    <a:pt x="0" y="2"/>
                    <a:pt x="0" y="2"/>
                    <a:pt x="0" y="2"/>
                  </a:cubicBezTo>
                  <a:cubicBezTo>
                    <a:pt x="0" y="1"/>
                    <a:pt x="1" y="0"/>
                    <a:pt x="2" y="0"/>
                  </a:cubicBezTo>
                  <a:cubicBezTo>
                    <a:pt x="42" y="0"/>
                    <a:pt x="42" y="0"/>
                    <a:pt x="42" y="0"/>
                  </a:cubicBezTo>
                  <a:cubicBezTo>
                    <a:pt x="43" y="0"/>
                    <a:pt x="44" y="1"/>
                    <a:pt x="44" y="2"/>
                  </a:cubicBezTo>
                  <a:cubicBezTo>
                    <a:pt x="44" y="38"/>
                    <a:pt x="44" y="38"/>
                    <a:pt x="44" y="38"/>
                  </a:cubicBezTo>
                  <a:cubicBezTo>
                    <a:pt x="44" y="39"/>
                    <a:pt x="43" y="40"/>
                    <a:pt x="42" y="40"/>
                  </a:cubicBezTo>
                  <a:close/>
                  <a:moveTo>
                    <a:pt x="4" y="36"/>
                  </a:moveTo>
                  <a:cubicBezTo>
                    <a:pt x="40" y="36"/>
                    <a:pt x="40" y="36"/>
                    <a:pt x="40" y="36"/>
                  </a:cubicBezTo>
                  <a:cubicBezTo>
                    <a:pt x="40" y="4"/>
                    <a:pt x="40" y="4"/>
                    <a:pt x="40" y="4"/>
                  </a:cubicBezTo>
                  <a:cubicBezTo>
                    <a:pt x="4" y="4"/>
                    <a:pt x="4" y="4"/>
                    <a:pt x="4" y="4"/>
                  </a:cubicBezTo>
                  <a:lnTo>
                    <a:pt x="4" y="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301" name="Freeform 125"/>
            <p:cNvSpPr>
              <a:spLocks noEditPoints="1"/>
            </p:cNvSpPr>
            <p:nvPr/>
          </p:nvSpPr>
          <p:spPr bwMode="auto">
            <a:xfrm>
              <a:off x="3452813" y="4064001"/>
              <a:ext cx="123825" cy="92075"/>
            </a:xfrm>
            <a:custGeom>
              <a:avLst/>
              <a:gdLst>
                <a:gd name="T0" fmla="*/ 30 w 32"/>
                <a:gd name="T1" fmla="*/ 24 h 24"/>
                <a:gd name="T2" fmla="*/ 2 w 32"/>
                <a:gd name="T3" fmla="*/ 24 h 24"/>
                <a:gd name="T4" fmla="*/ 0 w 32"/>
                <a:gd name="T5" fmla="*/ 22 h 24"/>
                <a:gd name="T6" fmla="*/ 0 w 32"/>
                <a:gd name="T7" fmla="*/ 2 h 24"/>
                <a:gd name="T8" fmla="*/ 2 w 32"/>
                <a:gd name="T9" fmla="*/ 0 h 24"/>
                <a:gd name="T10" fmla="*/ 30 w 32"/>
                <a:gd name="T11" fmla="*/ 0 h 24"/>
                <a:gd name="T12" fmla="*/ 32 w 32"/>
                <a:gd name="T13" fmla="*/ 2 h 24"/>
                <a:gd name="T14" fmla="*/ 32 w 32"/>
                <a:gd name="T15" fmla="*/ 22 h 24"/>
                <a:gd name="T16" fmla="*/ 30 w 32"/>
                <a:gd name="T17" fmla="*/ 24 h 24"/>
                <a:gd name="T18" fmla="*/ 4 w 32"/>
                <a:gd name="T19" fmla="*/ 20 h 24"/>
                <a:gd name="T20" fmla="*/ 28 w 32"/>
                <a:gd name="T21" fmla="*/ 20 h 24"/>
                <a:gd name="T22" fmla="*/ 28 w 32"/>
                <a:gd name="T23" fmla="*/ 4 h 24"/>
                <a:gd name="T24" fmla="*/ 4 w 32"/>
                <a:gd name="T25" fmla="*/ 4 h 24"/>
                <a:gd name="T26" fmla="*/ 4 w 32"/>
                <a:gd name="T27" fmla="*/ 2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2" h="24">
                  <a:moveTo>
                    <a:pt x="30" y="24"/>
                  </a:moveTo>
                  <a:cubicBezTo>
                    <a:pt x="2" y="24"/>
                    <a:pt x="2" y="24"/>
                    <a:pt x="2" y="24"/>
                  </a:cubicBezTo>
                  <a:cubicBezTo>
                    <a:pt x="1" y="24"/>
                    <a:pt x="0" y="23"/>
                    <a:pt x="0" y="22"/>
                  </a:cubicBezTo>
                  <a:cubicBezTo>
                    <a:pt x="0" y="2"/>
                    <a:pt x="0" y="2"/>
                    <a:pt x="0" y="2"/>
                  </a:cubicBezTo>
                  <a:cubicBezTo>
                    <a:pt x="0" y="1"/>
                    <a:pt x="1" y="0"/>
                    <a:pt x="2" y="0"/>
                  </a:cubicBezTo>
                  <a:cubicBezTo>
                    <a:pt x="30" y="0"/>
                    <a:pt x="30" y="0"/>
                    <a:pt x="30" y="0"/>
                  </a:cubicBezTo>
                  <a:cubicBezTo>
                    <a:pt x="31" y="0"/>
                    <a:pt x="32" y="1"/>
                    <a:pt x="32" y="2"/>
                  </a:cubicBezTo>
                  <a:cubicBezTo>
                    <a:pt x="32" y="22"/>
                    <a:pt x="32" y="22"/>
                    <a:pt x="32" y="22"/>
                  </a:cubicBezTo>
                  <a:cubicBezTo>
                    <a:pt x="32" y="23"/>
                    <a:pt x="31" y="24"/>
                    <a:pt x="30" y="24"/>
                  </a:cubicBezTo>
                  <a:close/>
                  <a:moveTo>
                    <a:pt x="4" y="20"/>
                  </a:moveTo>
                  <a:cubicBezTo>
                    <a:pt x="28" y="20"/>
                    <a:pt x="28" y="20"/>
                    <a:pt x="28" y="20"/>
                  </a:cubicBezTo>
                  <a:cubicBezTo>
                    <a:pt x="28" y="4"/>
                    <a:pt x="28" y="4"/>
                    <a:pt x="28" y="4"/>
                  </a:cubicBezTo>
                  <a:cubicBezTo>
                    <a:pt x="4" y="4"/>
                    <a:pt x="4" y="4"/>
                    <a:pt x="4" y="4"/>
                  </a:cubicBezTo>
                  <a:lnTo>
                    <a:pt x="4" y="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302" name="Freeform 126"/>
            <p:cNvSpPr>
              <a:spLocks/>
            </p:cNvSpPr>
            <p:nvPr/>
          </p:nvSpPr>
          <p:spPr bwMode="auto">
            <a:xfrm>
              <a:off x="3546475" y="4249738"/>
              <a:ext cx="46037" cy="15875"/>
            </a:xfrm>
            <a:custGeom>
              <a:avLst/>
              <a:gdLst>
                <a:gd name="T0" fmla="*/ 10 w 12"/>
                <a:gd name="T1" fmla="*/ 4 h 4"/>
                <a:gd name="T2" fmla="*/ 2 w 12"/>
                <a:gd name="T3" fmla="*/ 4 h 4"/>
                <a:gd name="T4" fmla="*/ 0 w 12"/>
                <a:gd name="T5" fmla="*/ 2 h 4"/>
                <a:gd name="T6" fmla="*/ 2 w 12"/>
                <a:gd name="T7" fmla="*/ 0 h 4"/>
                <a:gd name="T8" fmla="*/ 10 w 12"/>
                <a:gd name="T9" fmla="*/ 0 h 4"/>
                <a:gd name="T10" fmla="*/ 12 w 12"/>
                <a:gd name="T11" fmla="*/ 2 h 4"/>
                <a:gd name="T12" fmla="*/ 10 w 12"/>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12" h="4">
                  <a:moveTo>
                    <a:pt x="10" y="4"/>
                  </a:moveTo>
                  <a:cubicBezTo>
                    <a:pt x="2" y="4"/>
                    <a:pt x="2" y="4"/>
                    <a:pt x="2" y="4"/>
                  </a:cubicBezTo>
                  <a:cubicBezTo>
                    <a:pt x="1" y="4"/>
                    <a:pt x="0" y="3"/>
                    <a:pt x="0" y="2"/>
                  </a:cubicBezTo>
                  <a:cubicBezTo>
                    <a:pt x="0" y="1"/>
                    <a:pt x="1" y="0"/>
                    <a:pt x="2" y="0"/>
                  </a:cubicBezTo>
                  <a:cubicBezTo>
                    <a:pt x="10" y="0"/>
                    <a:pt x="10" y="0"/>
                    <a:pt x="10" y="0"/>
                  </a:cubicBezTo>
                  <a:cubicBezTo>
                    <a:pt x="11" y="0"/>
                    <a:pt x="12" y="1"/>
                    <a:pt x="12" y="2"/>
                  </a:cubicBezTo>
                  <a:cubicBezTo>
                    <a:pt x="12" y="3"/>
                    <a:pt x="11" y="4"/>
                    <a:pt x="10"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303" name="Freeform 127"/>
            <p:cNvSpPr>
              <a:spLocks/>
            </p:cNvSpPr>
            <p:nvPr/>
          </p:nvSpPr>
          <p:spPr bwMode="auto">
            <a:xfrm>
              <a:off x="3482975" y="4110038"/>
              <a:ext cx="31750" cy="15875"/>
            </a:xfrm>
            <a:custGeom>
              <a:avLst/>
              <a:gdLst>
                <a:gd name="T0" fmla="*/ 6 w 8"/>
                <a:gd name="T1" fmla="*/ 4 h 4"/>
                <a:gd name="T2" fmla="*/ 2 w 8"/>
                <a:gd name="T3" fmla="*/ 4 h 4"/>
                <a:gd name="T4" fmla="*/ 0 w 8"/>
                <a:gd name="T5" fmla="*/ 2 h 4"/>
                <a:gd name="T6" fmla="*/ 2 w 8"/>
                <a:gd name="T7" fmla="*/ 0 h 4"/>
                <a:gd name="T8" fmla="*/ 6 w 8"/>
                <a:gd name="T9" fmla="*/ 0 h 4"/>
                <a:gd name="T10" fmla="*/ 8 w 8"/>
                <a:gd name="T11" fmla="*/ 2 h 4"/>
                <a:gd name="T12" fmla="*/ 6 w 8"/>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8" h="4">
                  <a:moveTo>
                    <a:pt x="6" y="4"/>
                  </a:moveTo>
                  <a:cubicBezTo>
                    <a:pt x="2" y="4"/>
                    <a:pt x="2" y="4"/>
                    <a:pt x="2" y="4"/>
                  </a:cubicBezTo>
                  <a:cubicBezTo>
                    <a:pt x="1" y="4"/>
                    <a:pt x="0" y="3"/>
                    <a:pt x="0" y="2"/>
                  </a:cubicBezTo>
                  <a:cubicBezTo>
                    <a:pt x="0" y="1"/>
                    <a:pt x="1" y="0"/>
                    <a:pt x="2" y="0"/>
                  </a:cubicBezTo>
                  <a:cubicBezTo>
                    <a:pt x="6" y="0"/>
                    <a:pt x="6" y="0"/>
                    <a:pt x="6" y="0"/>
                  </a:cubicBezTo>
                  <a:cubicBezTo>
                    <a:pt x="7" y="0"/>
                    <a:pt x="8" y="1"/>
                    <a:pt x="8" y="2"/>
                  </a:cubicBezTo>
                  <a:cubicBezTo>
                    <a:pt x="8" y="3"/>
                    <a:pt x="7" y="4"/>
                    <a:pt x="6"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grpSp>
      <p:sp>
        <p:nvSpPr>
          <p:cNvPr id="286" name="Oval 112"/>
          <p:cNvSpPr>
            <a:spLocks noChangeArrowheads="1"/>
          </p:cNvSpPr>
          <p:nvPr/>
        </p:nvSpPr>
        <p:spPr bwMode="auto">
          <a:xfrm>
            <a:off x="7763925" y="1509578"/>
            <a:ext cx="1497761" cy="1494380"/>
          </a:xfrm>
          <a:prstGeom prst="ellipse">
            <a:avLst/>
          </a:prstGeom>
          <a:solidFill>
            <a:schemeClr val="bg1"/>
          </a:solidFill>
          <a:ln w="14288" cap="flat">
            <a:noFill/>
            <a:prstDash val="solid"/>
            <a:miter lim="800000"/>
            <a:headEnd/>
            <a:tailEnd/>
          </a:ln>
          <a:effectLst>
            <a:outerShdw blurRad="50800" dist="38100" dir="5400000" algn="t" rotWithShape="0">
              <a:prstClr val="black">
                <a:alpha val="40000"/>
              </a:prstClr>
            </a:outerShdw>
          </a:effec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88" name="TextBox 287"/>
          <p:cNvSpPr txBox="1"/>
          <p:nvPr/>
        </p:nvSpPr>
        <p:spPr>
          <a:xfrm>
            <a:off x="7887374" y="2370113"/>
            <a:ext cx="1250862" cy="184666"/>
          </a:xfrm>
          <a:prstGeom prst="rect">
            <a:avLst/>
          </a:prstGeom>
          <a:noFill/>
          <a:ln w="6350">
            <a:noFill/>
            <a:prstDash val="dash"/>
          </a:ln>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E2583D"/>
                </a:solidFill>
                <a:effectLst/>
                <a:uLnTx/>
                <a:uFillTx/>
                <a:ea typeface="+mn-ea"/>
                <a:cs typeface="+mn-cs"/>
              </a:rPr>
              <a:t>YOUR PROCESS</a:t>
            </a:r>
          </a:p>
        </p:txBody>
      </p:sp>
      <p:grpSp>
        <p:nvGrpSpPr>
          <p:cNvPr id="289" name="Group 288"/>
          <p:cNvGrpSpPr>
            <a:grpSpLocks noChangeAspect="1"/>
          </p:cNvGrpSpPr>
          <p:nvPr/>
        </p:nvGrpSpPr>
        <p:grpSpPr>
          <a:xfrm>
            <a:off x="8292599" y="1927114"/>
            <a:ext cx="440413" cy="348502"/>
            <a:chOff x="8045450" y="1020762"/>
            <a:chExt cx="365126" cy="288926"/>
          </a:xfrm>
          <a:solidFill>
            <a:srgbClr val="E2583D"/>
          </a:solidFill>
        </p:grpSpPr>
        <p:sp>
          <p:nvSpPr>
            <p:cNvPr id="290" name="Freeform 131"/>
            <p:cNvSpPr>
              <a:spLocks/>
            </p:cNvSpPr>
            <p:nvPr/>
          </p:nvSpPr>
          <p:spPr bwMode="auto">
            <a:xfrm>
              <a:off x="8045450" y="1133475"/>
              <a:ext cx="109538" cy="82550"/>
            </a:xfrm>
            <a:custGeom>
              <a:avLst/>
              <a:gdLst>
                <a:gd name="T0" fmla="*/ 13 w 28"/>
                <a:gd name="T1" fmla="*/ 21 h 21"/>
                <a:gd name="T2" fmla="*/ 13 w 28"/>
                <a:gd name="T3" fmla="*/ 21 h 21"/>
                <a:gd name="T4" fmla="*/ 11 w 28"/>
                <a:gd name="T5" fmla="*/ 20 h 21"/>
                <a:gd name="T6" fmla="*/ 0 w 28"/>
                <a:gd name="T7" fmla="*/ 4 h 21"/>
                <a:gd name="T8" fmla="*/ 1 w 28"/>
                <a:gd name="T9" fmla="*/ 1 h 21"/>
                <a:gd name="T10" fmla="*/ 4 w 28"/>
                <a:gd name="T11" fmla="*/ 1 h 21"/>
                <a:gd name="T12" fmla="*/ 13 w 28"/>
                <a:gd name="T13" fmla="*/ 16 h 21"/>
                <a:gd name="T14" fmla="*/ 24 w 28"/>
                <a:gd name="T15" fmla="*/ 2 h 21"/>
                <a:gd name="T16" fmla="*/ 27 w 28"/>
                <a:gd name="T17" fmla="*/ 2 h 21"/>
                <a:gd name="T18" fmla="*/ 27 w 28"/>
                <a:gd name="T19" fmla="*/ 5 h 21"/>
                <a:gd name="T20" fmla="*/ 15 w 28"/>
                <a:gd name="T21" fmla="*/ 20 h 21"/>
                <a:gd name="T22" fmla="*/ 13 w 28"/>
                <a:gd name="T23" fmla="*/ 21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 h="21">
                  <a:moveTo>
                    <a:pt x="13" y="21"/>
                  </a:moveTo>
                  <a:cubicBezTo>
                    <a:pt x="13" y="21"/>
                    <a:pt x="13" y="21"/>
                    <a:pt x="13" y="21"/>
                  </a:cubicBezTo>
                  <a:cubicBezTo>
                    <a:pt x="12" y="21"/>
                    <a:pt x="12" y="21"/>
                    <a:pt x="11" y="20"/>
                  </a:cubicBezTo>
                  <a:cubicBezTo>
                    <a:pt x="0" y="4"/>
                    <a:pt x="0" y="4"/>
                    <a:pt x="0" y="4"/>
                  </a:cubicBezTo>
                  <a:cubicBezTo>
                    <a:pt x="0" y="3"/>
                    <a:pt x="0" y="1"/>
                    <a:pt x="1" y="1"/>
                  </a:cubicBezTo>
                  <a:cubicBezTo>
                    <a:pt x="2" y="0"/>
                    <a:pt x="3" y="0"/>
                    <a:pt x="4" y="1"/>
                  </a:cubicBezTo>
                  <a:cubicBezTo>
                    <a:pt x="13" y="16"/>
                    <a:pt x="13" y="16"/>
                    <a:pt x="13" y="16"/>
                  </a:cubicBezTo>
                  <a:cubicBezTo>
                    <a:pt x="24" y="2"/>
                    <a:pt x="24" y="2"/>
                    <a:pt x="24" y="2"/>
                  </a:cubicBezTo>
                  <a:cubicBezTo>
                    <a:pt x="25" y="2"/>
                    <a:pt x="26" y="1"/>
                    <a:pt x="27" y="2"/>
                  </a:cubicBezTo>
                  <a:cubicBezTo>
                    <a:pt x="28" y="3"/>
                    <a:pt x="28" y="4"/>
                    <a:pt x="27" y="5"/>
                  </a:cubicBezTo>
                  <a:cubicBezTo>
                    <a:pt x="15" y="20"/>
                    <a:pt x="15" y="20"/>
                    <a:pt x="15" y="20"/>
                  </a:cubicBezTo>
                  <a:cubicBezTo>
                    <a:pt x="14" y="21"/>
                    <a:pt x="14" y="21"/>
                    <a:pt x="13"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91" name="Freeform 132"/>
            <p:cNvSpPr>
              <a:spLocks/>
            </p:cNvSpPr>
            <p:nvPr/>
          </p:nvSpPr>
          <p:spPr bwMode="auto">
            <a:xfrm>
              <a:off x="8080375" y="1020762"/>
              <a:ext cx="255588" cy="195263"/>
            </a:xfrm>
            <a:custGeom>
              <a:avLst/>
              <a:gdLst>
                <a:gd name="T0" fmla="*/ 4 w 66"/>
                <a:gd name="T1" fmla="*/ 50 h 50"/>
                <a:gd name="T2" fmla="*/ 2 w 66"/>
                <a:gd name="T3" fmla="*/ 48 h 50"/>
                <a:gd name="T4" fmla="*/ 7 w 66"/>
                <a:gd name="T5" fmla="*/ 20 h 50"/>
                <a:gd name="T6" fmla="*/ 30 w 66"/>
                <a:gd name="T7" fmla="*/ 3 h 50"/>
                <a:gd name="T8" fmla="*/ 65 w 66"/>
                <a:gd name="T9" fmla="*/ 14 h 50"/>
                <a:gd name="T10" fmla="*/ 65 w 66"/>
                <a:gd name="T11" fmla="*/ 17 h 50"/>
                <a:gd name="T12" fmla="*/ 62 w 66"/>
                <a:gd name="T13" fmla="*/ 17 h 50"/>
                <a:gd name="T14" fmla="*/ 31 w 66"/>
                <a:gd name="T15" fmla="*/ 7 h 50"/>
                <a:gd name="T16" fmla="*/ 10 w 66"/>
                <a:gd name="T17" fmla="*/ 22 h 50"/>
                <a:gd name="T18" fmla="*/ 6 w 66"/>
                <a:gd name="T19" fmla="*/ 47 h 50"/>
                <a:gd name="T20" fmla="*/ 4 w 66"/>
                <a:gd name="T21" fmla="*/ 50 h 50"/>
                <a:gd name="T22" fmla="*/ 4 w 66"/>
                <a:gd name="T23" fmla="*/ 5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6" h="50">
                  <a:moveTo>
                    <a:pt x="4" y="50"/>
                  </a:moveTo>
                  <a:cubicBezTo>
                    <a:pt x="3" y="50"/>
                    <a:pt x="2" y="49"/>
                    <a:pt x="2" y="48"/>
                  </a:cubicBezTo>
                  <a:cubicBezTo>
                    <a:pt x="0" y="39"/>
                    <a:pt x="1" y="28"/>
                    <a:pt x="7" y="20"/>
                  </a:cubicBezTo>
                  <a:cubicBezTo>
                    <a:pt x="12" y="11"/>
                    <a:pt x="20" y="5"/>
                    <a:pt x="30" y="3"/>
                  </a:cubicBezTo>
                  <a:cubicBezTo>
                    <a:pt x="43" y="0"/>
                    <a:pt x="56" y="4"/>
                    <a:pt x="65" y="14"/>
                  </a:cubicBezTo>
                  <a:cubicBezTo>
                    <a:pt x="66" y="15"/>
                    <a:pt x="66" y="16"/>
                    <a:pt x="65" y="17"/>
                  </a:cubicBezTo>
                  <a:cubicBezTo>
                    <a:pt x="64" y="18"/>
                    <a:pt x="63" y="18"/>
                    <a:pt x="62" y="17"/>
                  </a:cubicBezTo>
                  <a:cubicBezTo>
                    <a:pt x="54" y="8"/>
                    <a:pt x="42" y="4"/>
                    <a:pt x="31" y="7"/>
                  </a:cubicBezTo>
                  <a:cubicBezTo>
                    <a:pt x="22" y="9"/>
                    <a:pt x="15" y="14"/>
                    <a:pt x="10" y="22"/>
                  </a:cubicBezTo>
                  <a:cubicBezTo>
                    <a:pt x="5" y="30"/>
                    <a:pt x="4" y="39"/>
                    <a:pt x="6" y="47"/>
                  </a:cubicBezTo>
                  <a:cubicBezTo>
                    <a:pt x="6" y="48"/>
                    <a:pt x="5" y="49"/>
                    <a:pt x="4" y="50"/>
                  </a:cubicBezTo>
                  <a:cubicBezTo>
                    <a:pt x="4" y="50"/>
                    <a:pt x="4" y="50"/>
                    <a:pt x="4" y="5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92" name="Freeform 133"/>
            <p:cNvSpPr>
              <a:spLocks/>
            </p:cNvSpPr>
            <p:nvPr/>
          </p:nvSpPr>
          <p:spPr bwMode="auto">
            <a:xfrm>
              <a:off x="8301038" y="1122363"/>
              <a:ext cx="109538" cy="82550"/>
            </a:xfrm>
            <a:custGeom>
              <a:avLst/>
              <a:gdLst>
                <a:gd name="T0" fmla="*/ 26 w 28"/>
                <a:gd name="T1" fmla="*/ 21 h 21"/>
                <a:gd name="T2" fmla="*/ 24 w 28"/>
                <a:gd name="T3" fmla="*/ 20 h 21"/>
                <a:gd name="T4" fmla="*/ 15 w 28"/>
                <a:gd name="T5" fmla="*/ 5 h 21"/>
                <a:gd name="T6" fmla="*/ 4 w 28"/>
                <a:gd name="T7" fmla="*/ 19 h 21"/>
                <a:gd name="T8" fmla="*/ 1 w 28"/>
                <a:gd name="T9" fmla="*/ 19 h 21"/>
                <a:gd name="T10" fmla="*/ 1 w 28"/>
                <a:gd name="T11" fmla="*/ 16 h 21"/>
                <a:gd name="T12" fmla="*/ 13 w 28"/>
                <a:gd name="T13" fmla="*/ 1 h 21"/>
                <a:gd name="T14" fmla="*/ 15 w 28"/>
                <a:gd name="T15" fmla="*/ 0 h 21"/>
                <a:gd name="T16" fmla="*/ 17 w 28"/>
                <a:gd name="T17" fmla="*/ 1 h 21"/>
                <a:gd name="T18" fmla="*/ 28 w 28"/>
                <a:gd name="T19" fmla="*/ 17 h 21"/>
                <a:gd name="T20" fmla="*/ 27 w 28"/>
                <a:gd name="T21" fmla="*/ 20 h 21"/>
                <a:gd name="T22" fmla="*/ 26 w 28"/>
                <a:gd name="T23" fmla="*/ 21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 h="21">
                  <a:moveTo>
                    <a:pt x="26" y="21"/>
                  </a:moveTo>
                  <a:cubicBezTo>
                    <a:pt x="25" y="21"/>
                    <a:pt x="25" y="20"/>
                    <a:pt x="24" y="20"/>
                  </a:cubicBezTo>
                  <a:cubicBezTo>
                    <a:pt x="15" y="5"/>
                    <a:pt x="15" y="5"/>
                    <a:pt x="15" y="5"/>
                  </a:cubicBezTo>
                  <a:cubicBezTo>
                    <a:pt x="4" y="19"/>
                    <a:pt x="4" y="19"/>
                    <a:pt x="4" y="19"/>
                  </a:cubicBezTo>
                  <a:cubicBezTo>
                    <a:pt x="3" y="19"/>
                    <a:pt x="2" y="20"/>
                    <a:pt x="1" y="19"/>
                  </a:cubicBezTo>
                  <a:cubicBezTo>
                    <a:pt x="0" y="18"/>
                    <a:pt x="0" y="17"/>
                    <a:pt x="1" y="16"/>
                  </a:cubicBezTo>
                  <a:cubicBezTo>
                    <a:pt x="13" y="1"/>
                    <a:pt x="13" y="1"/>
                    <a:pt x="13" y="1"/>
                  </a:cubicBezTo>
                  <a:cubicBezTo>
                    <a:pt x="14" y="0"/>
                    <a:pt x="14" y="0"/>
                    <a:pt x="15" y="0"/>
                  </a:cubicBezTo>
                  <a:cubicBezTo>
                    <a:pt x="16" y="0"/>
                    <a:pt x="16" y="0"/>
                    <a:pt x="17" y="1"/>
                  </a:cubicBezTo>
                  <a:cubicBezTo>
                    <a:pt x="28" y="17"/>
                    <a:pt x="28" y="17"/>
                    <a:pt x="28" y="17"/>
                  </a:cubicBezTo>
                  <a:cubicBezTo>
                    <a:pt x="28" y="18"/>
                    <a:pt x="28" y="20"/>
                    <a:pt x="27" y="20"/>
                  </a:cubicBezTo>
                  <a:cubicBezTo>
                    <a:pt x="27" y="20"/>
                    <a:pt x="27" y="21"/>
                    <a:pt x="26"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93" name="Freeform 134"/>
            <p:cNvSpPr>
              <a:spLocks/>
            </p:cNvSpPr>
            <p:nvPr/>
          </p:nvSpPr>
          <p:spPr bwMode="auto">
            <a:xfrm>
              <a:off x="8120063" y="1122363"/>
              <a:ext cx="255588" cy="187325"/>
            </a:xfrm>
            <a:custGeom>
              <a:avLst/>
              <a:gdLst>
                <a:gd name="T0" fmla="*/ 28 w 66"/>
                <a:gd name="T1" fmla="*/ 48 h 48"/>
                <a:gd name="T2" fmla="*/ 1 w 66"/>
                <a:gd name="T3" fmla="*/ 36 h 48"/>
                <a:gd name="T4" fmla="*/ 1 w 66"/>
                <a:gd name="T5" fmla="*/ 33 h 48"/>
                <a:gd name="T6" fmla="*/ 4 w 66"/>
                <a:gd name="T7" fmla="*/ 33 h 48"/>
                <a:gd name="T8" fmla="*/ 35 w 66"/>
                <a:gd name="T9" fmla="*/ 43 h 48"/>
                <a:gd name="T10" fmla="*/ 56 w 66"/>
                <a:gd name="T11" fmla="*/ 28 h 48"/>
                <a:gd name="T12" fmla="*/ 60 w 66"/>
                <a:gd name="T13" fmla="*/ 3 h 48"/>
                <a:gd name="T14" fmla="*/ 62 w 66"/>
                <a:gd name="T15" fmla="*/ 0 h 48"/>
                <a:gd name="T16" fmla="*/ 64 w 66"/>
                <a:gd name="T17" fmla="*/ 2 h 48"/>
                <a:gd name="T18" fmla="*/ 59 w 66"/>
                <a:gd name="T19" fmla="*/ 30 h 48"/>
                <a:gd name="T20" fmla="*/ 36 w 66"/>
                <a:gd name="T21" fmla="*/ 47 h 48"/>
                <a:gd name="T22" fmla="*/ 28 w 66"/>
                <a:gd name="T23"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6" h="48">
                  <a:moveTo>
                    <a:pt x="28" y="48"/>
                  </a:moveTo>
                  <a:cubicBezTo>
                    <a:pt x="18" y="48"/>
                    <a:pt x="8" y="44"/>
                    <a:pt x="1" y="36"/>
                  </a:cubicBezTo>
                  <a:cubicBezTo>
                    <a:pt x="0" y="35"/>
                    <a:pt x="0" y="34"/>
                    <a:pt x="1" y="33"/>
                  </a:cubicBezTo>
                  <a:cubicBezTo>
                    <a:pt x="2" y="32"/>
                    <a:pt x="3" y="32"/>
                    <a:pt x="4" y="33"/>
                  </a:cubicBezTo>
                  <a:cubicBezTo>
                    <a:pt x="12" y="42"/>
                    <a:pt x="24" y="46"/>
                    <a:pt x="35" y="43"/>
                  </a:cubicBezTo>
                  <a:cubicBezTo>
                    <a:pt x="44" y="41"/>
                    <a:pt x="51" y="36"/>
                    <a:pt x="56" y="28"/>
                  </a:cubicBezTo>
                  <a:cubicBezTo>
                    <a:pt x="61" y="20"/>
                    <a:pt x="62" y="11"/>
                    <a:pt x="60" y="3"/>
                  </a:cubicBezTo>
                  <a:cubicBezTo>
                    <a:pt x="60" y="2"/>
                    <a:pt x="60" y="1"/>
                    <a:pt x="62" y="0"/>
                  </a:cubicBezTo>
                  <a:cubicBezTo>
                    <a:pt x="63" y="0"/>
                    <a:pt x="64" y="1"/>
                    <a:pt x="64" y="2"/>
                  </a:cubicBezTo>
                  <a:cubicBezTo>
                    <a:pt x="66" y="11"/>
                    <a:pt x="65" y="22"/>
                    <a:pt x="59" y="30"/>
                  </a:cubicBezTo>
                  <a:cubicBezTo>
                    <a:pt x="54" y="39"/>
                    <a:pt x="46" y="45"/>
                    <a:pt x="36" y="47"/>
                  </a:cubicBezTo>
                  <a:cubicBezTo>
                    <a:pt x="34" y="48"/>
                    <a:pt x="31" y="48"/>
                    <a:pt x="28" y="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94" name="Freeform 135"/>
            <p:cNvSpPr>
              <a:spLocks noEditPoints="1"/>
            </p:cNvSpPr>
            <p:nvPr/>
          </p:nvSpPr>
          <p:spPr bwMode="auto">
            <a:xfrm>
              <a:off x="8189913" y="1130300"/>
              <a:ext cx="76200" cy="77788"/>
            </a:xfrm>
            <a:custGeom>
              <a:avLst/>
              <a:gdLst>
                <a:gd name="T0" fmla="*/ 10 w 20"/>
                <a:gd name="T1" fmla="*/ 20 h 20"/>
                <a:gd name="T2" fmla="*/ 0 w 20"/>
                <a:gd name="T3" fmla="*/ 10 h 20"/>
                <a:gd name="T4" fmla="*/ 10 w 20"/>
                <a:gd name="T5" fmla="*/ 0 h 20"/>
                <a:gd name="T6" fmla="*/ 20 w 20"/>
                <a:gd name="T7" fmla="*/ 10 h 20"/>
                <a:gd name="T8" fmla="*/ 10 w 20"/>
                <a:gd name="T9" fmla="*/ 20 h 20"/>
                <a:gd name="T10" fmla="*/ 10 w 20"/>
                <a:gd name="T11" fmla="*/ 4 h 20"/>
                <a:gd name="T12" fmla="*/ 4 w 20"/>
                <a:gd name="T13" fmla="*/ 10 h 20"/>
                <a:gd name="T14" fmla="*/ 10 w 20"/>
                <a:gd name="T15" fmla="*/ 16 h 20"/>
                <a:gd name="T16" fmla="*/ 16 w 20"/>
                <a:gd name="T17" fmla="*/ 10 h 20"/>
                <a:gd name="T18" fmla="*/ 10 w 20"/>
                <a:gd name="T19" fmla="*/ 4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 h="20">
                  <a:moveTo>
                    <a:pt x="10" y="20"/>
                  </a:moveTo>
                  <a:cubicBezTo>
                    <a:pt x="4" y="20"/>
                    <a:pt x="0" y="16"/>
                    <a:pt x="0" y="10"/>
                  </a:cubicBezTo>
                  <a:cubicBezTo>
                    <a:pt x="0" y="4"/>
                    <a:pt x="4" y="0"/>
                    <a:pt x="10" y="0"/>
                  </a:cubicBezTo>
                  <a:cubicBezTo>
                    <a:pt x="16" y="0"/>
                    <a:pt x="20" y="4"/>
                    <a:pt x="20" y="10"/>
                  </a:cubicBezTo>
                  <a:cubicBezTo>
                    <a:pt x="20" y="16"/>
                    <a:pt x="16" y="20"/>
                    <a:pt x="10" y="20"/>
                  </a:cubicBezTo>
                  <a:close/>
                  <a:moveTo>
                    <a:pt x="10" y="4"/>
                  </a:moveTo>
                  <a:cubicBezTo>
                    <a:pt x="7" y="4"/>
                    <a:pt x="4" y="7"/>
                    <a:pt x="4" y="10"/>
                  </a:cubicBezTo>
                  <a:cubicBezTo>
                    <a:pt x="4" y="13"/>
                    <a:pt x="7" y="16"/>
                    <a:pt x="10" y="16"/>
                  </a:cubicBezTo>
                  <a:cubicBezTo>
                    <a:pt x="13" y="16"/>
                    <a:pt x="16" y="13"/>
                    <a:pt x="16" y="10"/>
                  </a:cubicBezTo>
                  <a:cubicBezTo>
                    <a:pt x="16" y="7"/>
                    <a:pt x="13" y="4"/>
                    <a:pt x="10"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grpSp>
      <p:sp>
        <p:nvSpPr>
          <p:cNvPr id="278" name="TextBox 277"/>
          <p:cNvSpPr txBox="1"/>
          <p:nvPr/>
        </p:nvSpPr>
        <p:spPr>
          <a:xfrm>
            <a:off x="9516947" y="4965319"/>
            <a:ext cx="965092" cy="184666"/>
          </a:xfrm>
          <a:prstGeom prst="rect">
            <a:avLst/>
          </a:prstGeom>
          <a:noFill/>
          <a:ln w="6350">
            <a:noFill/>
            <a:prstDash val="dash"/>
          </a:ln>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78D2D2"/>
                </a:solidFill>
                <a:effectLst/>
                <a:uLnTx/>
                <a:uFillTx/>
                <a:ea typeface="+mn-ea"/>
                <a:cs typeface="+mn-cs"/>
              </a:rPr>
              <a:t>CUSTOMER</a:t>
            </a:r>
          </a:p>
        </p:txBody>
      </p:sp>
      <p:grpSp>
        <p:nvGrpSpPr>
          <p:cNvPr id="279" name="Group 278"/>
          <p:cNvGrpSpPr>
            <a:grpSpLocks noChangeAspect="1"/>
          </p:cNvGrpSpPr>
          <p:nvPr/>
        </p:nvGrpSpPr>
        <p:grpSpPr>
          <a:xfrm>
            <a:off x="9758693" y="4479066"/>
            <a:ext cx="481600" cy="421687"/>
            <a:chOff x="7548563" y="349250"/>
            <a:chExt cx="3317876" cy="2905126"/>
          </a:xfrm>
          <a:solidFill>
            <a:srgbClr val="78D2D2"/>
          </a:solidFill>
        </p:grpSpPr>
        <p:sp>
          <p:nvSpPr>
            <p:cNvPr id="280" name="Freeform 139"/>
            <p:cNvSpPr>
              <a:spLocks noEditPoints="1"/>
            </p:cNvSpPr>
            <p:nvPr/>
          </p:nvSpPr>
          <p:spPr bwMode="auto">
            <a:xfrm>
              <a:off x="7548563" y="1316038"/>
              <a:ext cx="831850" cy="1384300"/>
            </a:xfrm>
            <a:custGeom>
              <a:avLst/>
              <a:gdLst>
                <a:gd name="T0" fmla="*/ 165 w 221"/>
                <a:gd name="T1" fmla="*/ 368 h 368"/>
                <a:gd name="T2" fmla="*/ 55 w 221"/>
                <a:gd name="T3" fmla="*/ 368 h 368"/>
                <a:gd name="T4" fmla="*/ 37 w 221"/>
                <a:gd name="T5" fmla="*/ 350 h 368"/>
                <a:gd name="T6" fmla="*/ 37 w 221"/>
                <a:gd name="T7" fmla="*/ 200 h 368"/>
                <a:gd name="T8" fmla="*/ 0 w 221"/>
                <a:gd name="T9" fmla="*/ 129 h 368"/>
                <a:gd name="T10" fmla="*/ 0 w 221"/>
                <a:gd name="T11" fmla="*/ 19 h 368"/>
                <a:gd name="T12" fmla="*/ 18 w 221"/>
                <a:gd name="T13" fmla="*/ 0 h 368"/>
                <a:gd name="T14" fmla="*/ 202 w 221"/>
                <a:gd name="T15" fmla="*/ 0 h 368"/>
                <a:gd name="T16" fmla="*/ 221 w 221"/>
                <a:gd name="T17" fmla="*/ 19 h 368"/>
                <a:gd name="T18" fmla="*/ 221 w 221"/>
                <a:gd name="T19" fmla="*/ 129 h 368"/>
                <a:gd name="T20" fmla="*/ 184 w 221"/>
                <a:gd name="T21" fmla="*/ 200 h 368"/>
                <a:gd name="T22" fmla="*/ 184 w 221"/>
                <a:gd name="T23" fmla="*/ 350 h 368"/>
                <a:gd name="T24" fmla="*/ 165 w 221"/>
                <a:gd name="T25" fmla="*/ 368 h 368"/>
                <a:gd name="T26" fmla="*/ 74 w 221"/>
                <a:gd name="T27" fmla="*/ 331 h 368"/>
                <a:gd name="T28" fmla="*/ 147 w 221"/>
                <a:gd name="T29" fmla="*/ 331 h 368"/>
                <a:gd name="T30" fmla="*/ 147 w 221"/>
                <a:gd name="T31" fmla="*/ 184 h 368"/>
                <a:gd name="T32" fmla="*/ 165 w 221"/>
                <a:gd name="T33" fmla="*/ 166 h 368"/>
                <a:gd name="T34" fmla="*/ 184 w 221"/>
                <a:gd name="T35" fmla="*/ 129 h 368"/>
                <a:gd name="T36" fmla="*/ 184 w 221"/>
                <a:gd name="T37" fmla="*/ 37 h 368"/>
                <a:gd name="T38" fmla="*/ 37 w 221"/>
                <a:gd name="T39" fmla="*/ 37 h 368"/>
                <a:gd name="T40" fmla="*/ 37 w 221"/>
                <a:gd name="T41" fmla="*/ 129 h 368"/>
                <a:gd name="T42" fmla="*/ 55 w 221"/>
                <a:gd name="T43" fmla="*/ 166 h 368"/>
                <a:gd name="T44" fmla="*/ 74 w 221"/>
                <a:gd name="T45" fmla="*/ 184 h 368"/>
                <a:gd name="T46" fmla="*/ 74 w 221"/>
                <a:gd name="T47" fmla="*/ 331 h 3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21" h="368">
                  <a:moveTo>
                    <a:pt x="165" y="368"/>
                  </a:moveTo>
                  <a:cubicBezTo>
                    <a:pt x="55" y="368"/>
                    <a:pt x="55" y="368"/>
                    <a:pt x="55" y="368"/>
                  </a:cubicBezTo>
                  <a:cubicBezTo>
                    <a:pt x="45" y="368"/>
                    <a:pt x="37" y="360"/>
                    <a:pt x="37" y="350"/>
                  </a:cubicBezTo>
                  <a:cubicBezTo>
                    <a:pt x="37" y="200"/>
                    <a:pt x="37" y="200"/>
                    <a:pt x="37" y="200"/>
                  </a:cubicBezTo>
                  <a:cubicBezTo>
                    <a:pt x="12" y="193"/>
                    <a:pt x="0" y="169"/>
                    <a:pt x="0" y="129"/>
                  </a:cubicBezTo>
                  <a:cubicBezTo>
                    <a:pt x="0" y="19"/>
                    <a:pt x="0" y="19"/>
                    <a:pt x="0" y="19"/>
                  </a:cubicBezTo>
                  <a:cubicBezTo>
                    <a:pt x="0" y="9"/>
                    <a:pt x="8" y="0"/>
                    <a:pt x="18" y="0"/>
                  </a:cubicBezTo>
                  <a:cubicBezTo>
                    <a:pt x="202" y="0"/>
                    <a:pt x="202" y="0"/>
                    <a:pt x="202" y="0"/>
                  </a:cubicBezTo>
                  <a:cubicBezTo>
                    <a:pt x="212" y="0"/>
                    <a:pt x="221" y="9"/>
                    <a:pt x="221" y="19"/>
                  </a:cubicBezTo>
                  <a:cubicBezTo>
                    <a:pt x="221" y="129"/>
                    <a:pt x="221" y="129"/>
                    <a:pt x="221" y="129"/>
                  </a:cubicBezTo>
                  <a:cubicBezTo>
                    <a:pt x="221" y="169"/>
                    <a:pt x="208" y="193"/>
                    <a:pt x="184" y="200"/>
                  </a:cubicBezTo>
                  <a:cubicBezTo>
                    <a:pt x="184" y="350"/>
                    <a:pt x="184" y="350"/>
                    <a:pt x="184" y="350"/>
                  </a:cubicBezTo>
                  <a:cubicBezTo>
                    <a:pt x="184" y="360"/>
                    <a:pt x="176" y="368"/>
                    <a:pt x="165" y="368"/>
                  </a:cubicBezTo>
                  <a:close/>
                  <a:moveTo>
                    <a:pt x="74" y="331"/>
                  </a:moveTo>
                  <a:cubicBezTo>
                    <a:pt x="147" y="331"/>
                    <a:pt x="147" y="331"/>
                    <a:pt x="147" y="331"/>
                  </a:cubicBezTo>
                  <a:cubicBezTo>
                    <a:pt x="147" y="184"/>
                    <a:pt x="147" y="184"/>
                    <a:pt x="147" y="184"/>
                  </a:cubicBezTo>
                  <a:cubicBezTo>
                    <a:pt x="147" y="174"/>
                    <a:pt x="155" y="166"/>
                    <a:pt x="165" y="166"/>
                  </a:cubicBezTo>
                  <a:cubicBezTo>
                    <a:pt x="174" y="166"/>
                    <a:pt x="184" y="166"/>
                    <a:pt x="184" y="129"/>
                  </a:cubicBezTo>
                  <a:cubicBezTo>
                    <a:pt x="184" y="37"/>
                    <a:pt x="184" y="37"/>
                    <a:pt x="184" y="37"/>
                  </a:cubicBezTo>
                  <a:cubicBezTo>
                    <a:pt x="37" y="37"/>
                    <a:pt x="37" y="37"/>
                    <a:pt x="37" y="37"/>
                  </a:cubicBezTo>
                  <a:cubicBezTo>
                    <a:pt x="37" y="129"/>
                    <a:pt x="37" y="129"/>
                    <a:pt x="37" y="129"/>
                  </a:cubicBezTo>
                  <a:cubicBezTo>
                    <a:pt x="37" y="166"/>
                    <a:pt x="47" y="166"/>
                    <a:pt x="55" y="166"/>
                  </a:cubicBezTo>
                  <a:cubicBezTo>
                    <a:pt x="65" y="166"/>
                    <a:pt x="74" y="174"/>
                    <a:pt x="74" y="184"/>
                  </a:cubicBezTo>
                  <a:lnTo>
                    <a:pt x="74" y="3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81" name="Freeform 140"/>
            <p:cNvSpPr>
              <a:spLocks noEditPoints="1"/>
            </p:cNvSpPr>
            <p:nvPr/>
          </p:nvSpPr>
          <p:spPr bwMode="auto">
            <a:xfrm>
              <a:off x="10039351" y="1316038"/>
              <a:ext cx="827088" cy="1384300"/>
            </a:xfrm>
            <a:custGeom>
              <a:avLst/>
              <a:gdLst>
                <a:gd name="T0" fmla="*/ 165 w 220"/>
                <a:gd name="T1" fmla="*/ 368 h 368"/>
                <a:gd name="T2" fmla="*/ 55 w 220"/>
                <a:gd name="T3" fmla="*/ 368 h 368"/>
                <a:gd name="T4" fmla="*/ 36 w 220"/>
                <a:gd name="T5" fmla="*/ 350 h 368"/>
                <a:gd name="T6" fmla="*/ 36 w 220"/>
                <a:gd name="T7" fmla="*/ 200 h 368"/>
                <a:gd name="T8" fmla="*/ 0 w 220"/>
                <a:gd name="T9" fmla="*/ 129 h 368"/>
                <a:gd name="T10" fmla="*/ 0 w 220"/>
                <a:gd name="T11" fmla="*/ 19 h 368"/>
                <a:gd name="T12" fmla="*/ 18 w 220"/>
                <a:gd name="T13" fmla="*/ 0 h 368"/>
                <a:gd name="T14" fmla="*/ 202 w 220"/>
                <a:gd name="T15" fmla="*/ 0 h 368"/>
                <a:gd name="T16" fmla="*/ 220 w 220"/>
                <a:gd name="T17" fmla="*/ 19 h 368"/>
                <a:gd name="T18" fmla="*/ 220 w 220"/>
                <a:gd name="T19" fmla="*/ 129 h 368"/>
                <a:gd name="T20" fmla="*/ 184 w 220"/>
                <a:gd name="T21" fmla="*/ 200 h 368"/>
                <a:gd name="T22" fmla="*/ 184 w 220"/>
                <a:gd name="T23" fmla="*/ 350 h 368"/>
                <a:gd name="T24" fmla="*/ 165 w 220"/>
                <a:gd name="T25" fmla="*/ 368 h 368"/>
                <a:gd name="T26" fmla="*/ 73 w 220"/>
                <a:gd name="T27" fmla="*/ 331 h 368"/>
                <a:gd name="T28" fmla="*/ 147 w 220"/>
                <a:gd name="T29" fmla="*/ 331 h 368"/>
                <a:gd name="T30" fmla="*/ 147 w 220"/>
                <a:gd name="T31" fmla="*/ 184 h 368"/>
                <a:gd name="T32" fmla="*/ 165 w 220"/>
                <a:gd name="T33" fmla="*/ 166 h 368"/>
                <a:gd name="T34" fmla="*/ 184 w 220"/>
                <a:gd name="T35" fmla="*/ 129 h 368"/>
                <a:gd name="T36" fmla="*/ 184 w 220"/>
                <a:gd name="T37" fmla="*/ 37 h 368"/>
                <a:gd name="T38" fmla="*/ 36 w 220"/>
                <a:gd name="T39" fmla="*/ 37 h 368"/>
                <a:gd name="T40" fmla="*/ 36 w 220"/>
                <a:gd name="T41" fmla="*/ 129 h 368"/>
                <a:gd name="T42" fmla="*/ 55 w 220"/>
                <a:gd name="T43" fmla="*/ 166 h 368"/>
                <a:gd name="T44" fmla="*/ 73 w 220"/>
                <a:gd name="T45" fmla="*/ 184 h 368"/>
                <a:gd name="T46" fmla="*/ 73 w 220"/>
                <a:gd name="T47" fmla="*/ 331 h 3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20" h="368">
                  <a:moveTo>
                    <a:pt x="165" y="368"/>
                  </a:moveTo>
                  <a:cubicBezTo>
                    <a:pt x="55" y="368"/>
                    <a:pt x="55" y="368"/>
                    <a:pt x="55" y="368"/>
                  </a:cubicBezTo>
                  <a:cubicBezTo>
                    <a:pt x="45" y="368"/>
                    <a:pt x="36" y="360"/>
                    <a:pt x="36" y="350"/>
                  </a:cubicBezTo>
                  <a:cubicBezTo>
                    <a:pt x="36" y="200"/>
                    <a:pt x="36" y="200"/>
                    <a:pt x="36" y="200"/>
                  </a:cubicBezTo>
                  <a:cubicBezTo>
                    <a:pt x="12" y="193"/>
                    <a:pt x="0" y="169"/>
                    <a:pt x="0" y="129"/>
                  </a:cubicBezTo>
                  <a:cubicBezTo>
                    <a:pt x="0" y="19"/>
                    <a:pt x="0" y="19"/>
                    <a:pt x="0" y="19"/>
                  </a:cubicBezTo>
                  <a:cubicBezTo>
                    <a:pt x="0" y="9"/>
                    <a:pt x="8" y="0"/>
                    <a:pt x="18" y="0"/>
                  </a:cubicBezTo>
                  <a:cubicBezTo>
                    <a:pt x="202" y="0"/>
                    <a:pt x="202" y="0"/>
                    <a:pt x="202" y="0"/>
                  </a:cubicBezTo>
                  <a:cubicBezTo>
                    <a:pt x="212" y="0"/>
                    <a:pt x="220" y="9"/>
                    <a:pt x="220" y="19"/>
                  </a:cubicBezTo>
                  <a:cubicBezTo>
                    <a:pt x="220" y="129"/>
                    <a:pt x="220" y="129"/>
                    <a:pt x="220" y="129"/>
                  </a:cubicBezTo>
                  <a:cubicBezTo>
                    <a:pt x="220" y="169"/>
                    <a:pt x="208" y="193"/>
                    <a:pt x="184" y="200"/>
                  </a:cubicBezTo>
                  <a:cubicBezTo>
                    <a:pt x="184" y="350"/>
                    <a:pt x="184" y="350"/>
                    <a:pt x="184" y="350"/>
                  </a:cubicBezTo>
                  <a:cubicBezTo>
                    <a:pt x="184" y="360"/>
                    <a:pt x="175" y="368"/>
                    <a:pt x="165" y="368"/>
                  </a:cubicBezTo>
                  <a:close/>
                  <a:moveTo>
                    <a:pt x="73" y="331"/>
                  </a:moveTo>
                  <a:cubicBezTo>
                    <a:pt x="147" y="331"/>
                    <a:pt x="147" y="331"/>
                    <a:pt x="147" y="331"/>
                  </a:cubicBezTo>
                  <a:cubicBezTo>
                    <a:pt x="147" y="184"/>
                    <a:pt x="147" y="184"/>
                    <a:pt x="147" y="184"/>
                  </a:cubicBezTo>
                  <a:cubicBezTo>
                    <a:pt x="147" y="174"/>
                    <a:pt x="155" y="166"/>
                    <a:pt x="165" y="166"/>
                  </a:cubicBezTo>
                  <a:cubicBezTo>
                    <a:pt x="173" y="166"/>
                    <a:pt x="183" y="166"/>
                    <a:pt x="184" y="129"/>
                  </a:cubicBezTo>
                  <a:cubicBezTo>
                    <a:pt x="184" y="37"/>
                    <a:pt x="184" y="37"/>
                    <a:pt x="184" y="37"/>
                  </a:cubicBezTo>
                  <a:cubicBezTo>
                    <a:pt x="36" y="37"/>
                    <a:pt x="36" y="37"/>
                    <a:pt x="36" y="37"/>
                  </a:cubicBezTo>
                  <a:cubicBezTo>
                    <a:pt x="36" y="129"/>
                    <a:pt x="36" y="129"/>
                    <a:pt x="36" y="129"/>
                  </a:cubicBezTo>
                  <a:cubicBezTo>
                    <a:pt x="36" y="166"/>
                    <a:pt x="47" y="166"/>
                    <a:pt x="55" y="166"/>
                  </a:cubicBezTo>
                  <a:cubicBezTo>
                    <a:pt x="65" y="166"/>
                    <a:pt x="73" y="174"/>
                    <a:pt x="73" y="184"/>
                  </a:cubicBezTo>
                  <a:lnTo>
                    <a:pt x="73" y="3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82" name="Freeform 141"/>
            <p:cNvSpPr>
              <a:spLocks noEditPoints="1"/>
            </p:cNvSpPr>
            <p:nvPr/>
          </p:nvSpPr>
          <p:spPr bwMode="auto">
            <a:xfrm>
              <a:off x="8655051" y="1316038"/>
              <a:ext cx="1104900" cy="1938338"/>
            </a:xfrm>
            <a:custGeom>
              <a:avLst/>
              <a:gdLst>
                <a:gd name="T0" fmla="*/ 202 w 294"/>
                <a:gd name="T1" fmla="*/ 515 h 515"/>
                <a:gd name="T2" fmla="*/ 92 w 294"/>
                <a:gd name="T3" fmla="*/ 515 h 515"/>
                <a:gd name="T4" fmla="*/ 74 w 294"/>
                <a:gd name="T5" fmla="*/ 497 h 515"/>
                <a:gd name="T6" fmla="*/ 74 w 294"/>
                <a:gd name="T7" fmla="*/ 293 h 515"/>
                <a:gd name="T8" fmla="*/ 0 w 294"/>
                <a:gd name="T9" fmla="*/ 203 h 515"/>
                <a:gd name="T10" fmla="*/ 0 w 294"/>
                <a:gd name="T11" fmla="*/ 19 h 515"/>
                <a:gd name="T12" fmla="*/ 18 w 294"/>
                <a:gd name="T13" fmla="*/ 0 h 515"/>
                <a:gd name="T14" fmla="*/ 276 w 294"/>
                <a:gd name="T15" fmla="*/ 0 h 515"/>
                <a:gd name="T16" fmla="*/ 294 w 294"/>
                <a:gd name="T17" fmla="*/ 19 h 515"/>
                <a:gd name="T18" fmla="*/ 294 w 294"/>
                <a:gd name="T19" fmla="*/ 203 h 515"/>
                <a:gd name="T20" fmla="*/ 221 w 294"/>
                <a:gd name="T21" fmla="*/ 293 h 515"/>
                <a:gd name="T22" fmla="*/ 221 w 294"/>
                <a:gd name="T23" fmla="*/ 497 h 515"/>
                <a:gd name="T24" fmla="*/ 202 w 294"/>
                <a:gd name="T25" fmla="*/ 515 h 515"/>
                <a:gd name="T26" fmla="*/ 110 w 294"/>
                <a:gd name="T27" fmla="*/ 478 h 515"/>
                <a:gd name="T28" fmla="*/ 184 w 294"/>
                <a:gd name="T29" fmla="*/ 478 h 515"/>
                <a:gd name="T30" fmla="*/ 184 w 294"/>
                <a:gd name="T31" fmla="*/ 276 h 515"/>
                <a:gd name="T32" fmla="*/ 202 w 294"/>
                <a:gd name="T33" fmla="*/ 258 h 515"/>
                <a:gd name="T34" fmla="*/ 257 w 294"/>
                <a:gd name="T35" fmla="*/ 203 h 515"/>
                <a:gd name="T36" fmla="*/ 257 w 294"/>
                <a:gd name="T37" fmla="*/ 37 h 515"/>
                <a:gd name="T38" fmla="*/ 37 w 294"/>
                <a:gd name="T39" fmla="*/ 37 h 515"/>
                <a:gd name="T40" fmla="*/ 37 w 294"/>
                <a:gd name="T41" fmla="*/ 203 h 515"/>
                <a:gd name="T42" fmla="*/ 92 w 294"/>
                <a:gd name="T43" fmla="*/ 258 h 515"/>
                <a:gd name="T44" fmla="*/ 110 w 294"/>
                <a:gd name="T45" fmla="*/ 276 h 515"/>
                <a:gd name="T46" fmla="*/ 110 w 294"/>
                <a:gd name="T47" fmla="*/ 478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94" h="515">
                  <a:moveTo>
                    <a:pt x="202" y="515"/>
                  </a:moveTo>
                  <a:cubicBezTo>
                    <a:pt x="92" y="515"/>
                    <a:pt x="92" y="515"/>
                    <a:pt x="92" y="515"/>
                  </a:cubicBezTo>
                  <a:cubicBezTo>
                    <a:pt x="82" y="515"/>
                    <a:pt x="74" y="507"/>
                    <a:pt x="74" y="497"/>
                  </a:cubicBezTo>
                  <a:cubicBezTo>
                    <a:pt x="74" y="293"/>
                    <a:pt x="74" y="293"/>
                    <a:pt x="74" y="293"/>
                  </a:cubicBezTo>
                  <a:cubicBezTo>
                    <a:pt x="32" y="284"/>
                    <a:pt x="0" y="247"/>
                    <a:pt x="0" y="203"/>
                  </a:cubicBezTo>
                  <a:cubicBezTo>
                    <a:pt x="0" y="19"/>
                    <a:pt x="0" y="19"/>
                    <a:pt x="0" y="19"/>
                  </a:cubicBezTo>
                  <a:cubicBezTo>
                    <a:pt x="0" y="9"/>
                    <a:pt x="8" y="0"/>
                    <a:pt x="18" y="0"/>
                  </a:cubicBezTo>
                  <a:cubicBezTo>
                    <a:pt x="276" y="0"/>
                    <a:pt x="276" y="0"/>
                    <a:pt x="276" y="0"/>
                  </a:cubicBezTo>
                  <a:cubicBezTo>
                    <a:pt x="286" y="0"/>
                    <a:pt x="294" y="9"/>
                    <a:pt x="294" y="19"/>
                  </a:cubicBezTo>
                  <a:cubicBezTo>
                    <a:pt x="294" y="203"/>
                    <a:pt x="294" y="203"/>
                    <a:pt x="294" y="203"/>
                  </a:cubicBezTo>
                  <a:cubicBezTo>
                    <a:pt x="294" y="247"/>
                    <a:pt x="263" y="284"/>
                    <a:pt x="221" y="293"/>
                  </a:cubicBezTo>
                  <a:cubicBezTo>
                    <a:pt x="221" y="497"/>
                    <a:pt x="221" y="497"/>
                    <a:pt x="221" y="497"/>
                  </a:cubicBezTo>
                  <a:cubicBezTo>
                    <a:pt x="221" y="507"/>
                    <a:pt x="212" y="515"/>
                    <a:pt x="202" y="515"/>
                  </a:cubicBezTo>
                  <a:close/>
                  <a:moveTo>
                    <a:pt x="110" y="478"/>
                  </a:moveTo>
                  <a:cubicBezTo>
                    <a:pt x="184" y="478"/>
                    <a:pt x="184" y="478"/>
                    <a:pt x="184" y="478"/>
                  </a:cubicBezTo>
                  <a:cubicBezTo>
                    <a:pt x="184" y="276"/>
                    <a:pt x="184" y="276"/>
                    <a:pt x="184" y="276"/>
                  </a:cubicBezTo>
                  <a:cubicBezTo>
                    <a:pt x="184" y="266"/>
                    <a:pt x="192" y="258"/>
                    <a:pt x="202" y="258"/>
                  </a:cubicBezTo>
                  <a:cubicBezTo>
                    <a:pt x="233" y="258"/>
                    <a:pt x="257" y="233"/>
                    <a:pt x="257" y="203"/>
                  </a:cubicBezTo>
                  <a:cubicBezTo>
                    <a:pt x="257" y="37"/>
                    <a:pt x="257" y="37"/>
                    <a:pt x="257" y="37"/>
                  </a:cubicBezTo>
                  <a:cubicBezTo>
                    <a:pt x="37" y="37"/>
                    <a:pt x="37" y="37"/>
                    <a:pt x="37" y="37"/>
                  </a:cubicBezTo>
                  <a:cubicBezTo>
                    <a:pt x="37" y="203"/>
                    <a:pt x="37" y="203"/>
                    <a:pt x="37" y="203"/>
                  </a:cubicBezTo>
                  <a:cubicBezTo>
                    <a:pt x="37" y="233"/>
                    <a:pt x="62" y="258"/>
                    <a:pt x="92" y="258"/>
                  </a:cubicBezTo>
                  <a:cubicBezTo>
                    <a:pt x="102" y="258"/>
                    <a:pt x="110" y="266"/>
                    <a:pt x="110" y="276"/>
                  </a:cubicBezTo>
                  <a:lnTo>
                    <a:pt x="110" y="47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83" name="Freeform 142"/>
            <p:cNvSpPr>
              <a:spLocks noEditPoints="1"/>
            </p:cNvSpPr>
            <p:nvPr/>
          </p:nvSpPr>
          <p:spPr bwMode="auto">
            <a:xfrm>
              <a:off x="7688263" y="627063"/>
              <a:ext cx="552450" cy="554038"/>
            </a:xfrm>
            <a:custGeom>
              <a:avLst/>
              <a:gdLst>
                <a:gd name="T0" fmla="*/ 73 w 147"/>
                <a:gd name="T1" fmla="*/ 147 h 147"/>
                <a:gd name="T2" fmla="*/ 0 w 147"/>
                <a:gd name="T3" fmla="*/ 73 h 147"/>
                <a:gd name="T4" fmla="*/ 73 w 147"/>
                <a:gd name="T5" fmla="*/ 0 h 147"/>
                <a:gd name="T6" fmla="*/ 147 w 147"/>
                <a:gd name="T7" fmla="*/ 73 h 147"/>
                <a:gd name="T8" fmla="*/ 73 w 147"/>
                <a:gd name="T9" fmla="*/ 147 h 147"/>
                <a:gd name="T10" fmla="*/ 73 w 147"/>
                <a:gd name="T11" fmla="*/ 36 h 147"/>
                <a:gd name="T12" fmla="*/ 37 w 147"/>
                <a:gd name="T13" fmla="*/ 73 h 147"/>
                <a:gd name="T14" fmla="*/ 73 w 147"/>
                <a:gd name="T15" fmla="*/ 110 h 147"/>
                <a:gd name="T16" fmla="*/ 110 w 147"/>
                <a:gd name="T17" fmla="*/ 73 h 147"/>
                <a:gd name="T18" fmla="*/ 73 w 147"/>
                <a:gd name="T19" fmla="*/ 36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7" h="147">
                  <a:moveTo>
                    <a:pt x="73" y="147"/>
                  </a:moveTo>
                  <a:cubicBezTo>
                    <a:pt x="33" y="147"/>
                    <a:pt x="0" y="114"/>
                    <a:pt x="0" y="73"/>
                  </a:cubicBezTo>
                  <a:cubicBezTo>
                    <a:pt x="0" y="32"/>
                    <a:pt x="33" y="0"/>
                    <a:pt x="73" y="0"/>
                  </a:cubicBezTo>
                  <a:cubicBezTo>
                    <a:pt x="114" y="0"/>
                    <a:pt x="147" y="32"/>
                    <a:pt x="147" y="73"/>
                  </a:cubicBezTo>
                  <a:cubicBezTo>
                    <a:pt x="147" y="114"/>
                    <a:pt x="114" y="147"/>
                    <a:pt x="73" y="147"/>
                  </a:cubicBezTo>
                  <a:close/>
                  <a:moveTo>
                    <a:pt x="73" y="36"/>
                  </a:moveTo>
                  <a:cubicBezTo>
                    <a:pt x="53" y="36"/>
                    <a:pt x="37" y="53"/>
                    <a:pt x="37" y="73"/>
                  </a:cubicBezTo>
                  <a:cubicBezTo>
                    <a:pt x="37" y="93"/>
                    <a:pt x="53" y="110"/>
                    <a:pt x="73" y="110"/>
                  </a:cubicBezTo>
                  <a:cubicBezTo>
                    <a:pt x="94" y="110"/>
                    <a:pt x="110" y="93"/>
                    <a:pt x="110" y="73"/>
                  </a:cubicBezTo>
                  <a:cubicBezTo>
                    <a:pt x="110" y="53"/>
                    <a:pt x="94" y="36"/>
                    <a:pt x="73"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84" name="Freeform 143"/>
            <p:cNvSpPr>
              <a:spLocks noEditPoints="1"/>
            </p:cNvSpPr>
            <p:nvPr/>
          </p:nvSpPr>
          <p:spPr bwMode="auto">
            <a:xfrm>
              <a:off x="10174288" y="627063"/>
              <a:ext cx="557213" cy="554038"/>
            </a:xfrm>
            <a:custGeom>
              <a:avLst/>
              <a:gdLst>
                <a:gd name="T0" fmla="*/ 74 w 148"/>
                <a:gd name="T1" fmla="*/ 147 h 147"/>
                <a:gd name="T2" fmla="*/ 0 w 148"/>
                <a:gd name="T3" fmla="*/ 73 h 147"/>
                <a:gd name="T4" fmla="*/ 74 w 148"/>
                <a:gd name="T5" fmla="*/ 0 h 147"/>
                <a:gd name="T6" fmla="*/ 148 w 148"/>
                <a:gd name="T7" fmla="*/ 73 h 147"/>
                <a:gd name="T8" fmla="*/ 74 w 148"/>
                <a:gd name="T9" fmla="*/ 147 h 147"/>
                <a:gd name="T10" fmla="*/ 74 w 148"/>
                <a:gd name="T11" fmla="*/ 36 h 147"/>
                <a:gd name="T12" fmla="*/ 37 w 148"/>
                <a:gd name="T13" fmla="*/ 73 h 147"/>
                <a:gd name="T14" fmla="*/ 74 w 148"/>
                <a:gd name="T15" fmla="*/ 110 h 147"/>
                <a:gd name="T16" fmla="*/ 111 w 148"/>
                <a:gd name="T17" fmla="*/ 73 h 147"/>
                <a:gd name="T18" fmla="*/ 74 w 148"/>
                <a:gd name="T19" fmla="*/ 36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8" h="147">
                  <a:moveTo>
                    <a:pt x="74" y="147"/>
                  </a:moveTo>
                  <a:cubicBezTo>
                    <a:pt x="33" y="147"/>
                    <a:pt x="0" y="114"/>
                    <a:pt x="0" y="73"/>
                  </a:cubicBezTo>
                  <a:cubicBezTo>
                    <a:pt x="0" y="32"/>
                    <a:pt x="33" y="0"/>
                    <a:pt x="74" y="0"/>
                  </a:cubicBezTo>
                  <a:cubicBezTo>
                    <a:pt x="115" y="0"/>
                    <a:pt x="148" y="32"/>
                    <a:pt x="148" y="73"/>
                  </a:cubicBezTo>
                  <a:cubicBezTo>
                    <a:pt x="148" y="114"/>
                    <a:pt x="115" y="147"/>
                    <a:pt x="74" y="147"/>
                  </a:cubicBezTo>
                  <a:close/>
                  <a:moveTo>
                    <a:pt x="74" y="36"/>
                  </a:moveTo>
                  <a:cubicBezTo>
                    <a:pt x="54" y="36"/>
                    <a:pt x="37" y="53"/>
                    <a:pt x="37" y="73"/>
                  </a:cubicBezTo>
                  <a:cubicBezTo>
                    <a:pt x="37" y="93"/>
                    <a:pt x="54" y="110"/>
                    <a:pt x="74" y="110"/>
                  </a:cubicBezTo>
                  <a:cubicBezTo>
                    <a:pt x="94" y="110"/>
                    <a:pt x="111" y="93"/>
                    <a:pt x="111" y="73"/>
                  </a:cubicBezTo>
                  <a:cubicBezTo>
                    <a:pt x="111" y="53"/>
                    <a:pt x="94" y="36"/>
                    <a:pt x="7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85" name="Freeform 144"/>
            <p:cNvSpPr>
              <a:spLocks noEditPoints="1"/>
            </p:cNvSpPr>
            <p:nvPr/>
          </p:nvSpPr>
          <p:spPr bwMode="auto">
            <a:xfrm>
              <a:off x="8793163" y="349250"/>
              <a:ext cx="828675" cy="831850"/>
            </a:xfrm>
            <a:custGeom>
              <a:avLst/>
              <a:gdLst>
                <a:gd name="T0" fmla="*/ 110 w 220"/>
                <a:gd name="T1" fmla="*/ 221 h 221"/>
                <a:gd name="T2" fmla="*/ 0 w 220"/>
                <a:gd name="T3" fmla="*/ 110 h 221"/>
                <a:gd name="T4" fmla="*/ 110 w 220"/>
                <a:gd name="T5" fmla="*/ 0 h 221"/>
                <a:gd name="T6" fmla="*/ 220 w 220"/>
                <a:gd name="T7" fmla="*/ 110 h 221"/>
                <a:gd name="T8" fmla="*/ 110 w 220"/>
                <a:gd name="T9" fmla="*/ 221 h 221"/>
                <a:gd name="T10" fmla="*/ 110 w 220"/>
                <a:gd name="T11" fmla="*/ 37 h 221"/>
                <a:gd name="T12" fmla="*/ 37 w 220"/>
                <a:gd name="T13" fmla="*/ 110 h 221"/>
                <a:gd name="T14" fmla="*/ 110 w 220"/>
                <a:gd name="T15" fmla="*/ 184 h 221"/>
                <a:gd name="T16" fmla="*/ 184 w 220"/>
                <a:gd name="T17" fmla="*/ 110 h 221"/>
                <a:gd name="T18" fmla="*/ 110 w 220"/>
                <a:gd name="T19" fmla="*/ 37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0" h="221">
                  <a:moveTo>
                    <a:pt x="110" y="221"/>
                  </a:moveTo>
                  <a:cubicBezTo>
                    <a:pt x="49" y="221"/>
                    <a:pt x="0" y="171"/>
                    <a:pt x="0" y="110"/>
                  </a:cubicBezTo>
                  <a:cubicBezTo>
                    <a:pt x="0" y="49"/>
                    <a:pt x="49" y="0"/>
                    <a:pt x="110" y="0"/>
                  </a:cubicBezTo>
                  <a:cubicBezTo>
                    <a:pt x="171" y="0"/>
                    <a:pt x="220" y="49"/>
                    <a:pt x="220" y="110"/>
                  </a:cubicBezTo>
                  <a:cubicBezTo>
                    <a:pt x="220" y="171"/>
                    <a:pt x="171" y="221"/>
                    <a:pt x="110" y="221"/>
                  </a:cubicBezTo>
                  <a:close/>
                  <a:moveTo>
                    <a:pt x="110" y="37"/>
                  </a:moveTo>
                  <a:cubicBezTo>
                    <a:pt x="70" y="37"/>
                    <a:pt x="37" y="70"/>
                    <a:pt x="37" y="110"/>
                  </a:cubicBezTo>
                  <a:cubicBezTo>
                    <a:pt x="37" y="151"/>
                    <a:pt x="70" y="184"/>
                    <a:pt x="110" y="184"/>
                  </a:cubicBezTo>
                  <a:cubicBezTo>
                    <a:pt x="151" y="184"/>
                    <a:pt x="184" y="151"/>
                    <a:pt x="184" y="110"/>
                  </a:cubicBezTo>
                  <a:cubicBezTo>
                    <a:pt x="184" y="70"/>
                    <a:pt x="151" y="37"/>
                    <a:pt x="110" y="3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grpSp>
      <p:sp>
        <p:nvSpPr>
          <p:cNvPr id="265" name="TextBox 264"/>
          <p:cNvSpPr txBox="1"/>
          <p:nvPr/>
        </p:nvSpPr>
        <p:spPr>
          <a:xfrm>
            <a:off x="6540415" y="2719131"/>
            <a:ext cx="468738" cy="243503"/>
          </a:xfrm>
          <a:prstGeom prst="rect">
            <a:avLst/>
          </a:prstGeom>
          <a:solidFill>
            <a:schemeClr val="bg1"/>
          </a:solidFill>
          <a:ln w="6350">
            <a:noFill/>
            <a:prstDash val="dash"/>
          </a:ln>
        </p:spPr>
        <p:txBody>
          <a:bodyPr wrap="square" lIns="0" tIns="36000" rIns="10800" bIns="3600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effectLst/>
                <a:uLnTx/>
                <a:uFillTx/>
                <a:ea typeface="+mn-ea"/>
                <a:cs typeface="+mn-cs"/>
              </a:rPr>
              <a:t>Inputs</a:t>
            </a:r>
          </a:p>
        </p:txBody>
      </p:sp>
      <p:sp>
        <p:nvSpPr>
          <p:cNvPr id="266" name="TextBox 265"/>
          <p:cNvSpPr txBox="1"/>
          <p:nvPr/>
        </p:nvSpPr>
        <p:spPr>
          <a:xfrm>
            <a:off x="10054613" y="2719131"/>
            <a:ext cx="537727" cy="243503"/>
          </a:xfrm>
          <a:prstGeom prst="rect">
            <a:avLst/>
          </a:prstGeom>
          <a:solidFill>
            <a:schemeClr val="bg1"/>
          </a:solidFill>
          <a:ln w="6350">
            <a:noFill/>
            <a:prstDash val="dash"/>
          </a:ln>
        </p:spPr>
        <p:txBody>
          <a:bodyPr wrap="square" lIns="0" tIns="36000" rIns="10800" bIns="3600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effectLst/>
                <a:uLnTx/>
                <a:uFillTx/>
                <a:ea typeface="+mn-ea"/>
                <a:cs typeface="+mn-cs"/>
              </a:rPr>
              <a:t>Outputs</a:t>
            </a:r>
          </a:p>
        </p:txBody>
      </p:sp>
      <p:sp>
        <p:nvSpPr>
          <p:cNvPr id="267" name="TextBox 266"/>
          <p:cNvSpPr txBox="1"/>
          <p:nvPr/>
        </p:nvSpPr>
        <p:spPr>
          <a:xfrm>
            <a:off x="8034255" y="5919426"/>
            <a:ext cx="838588" cy="243503"/>
          </a:xfrm>
          <a:prstGeom prst="rect">
            <a:avLst/>
          </a:prstGeom>
          <a:solidFill>
            <a:schemeClr val="bg1"/>
          </a:solidFill>
          <a:ln w="6350">
            <a:noFill/>
            <a:prstDash val="dash"/>
          </a:ln>
        </p:spPr>
        <p:txBody>
          <a:bodyPr wrap="square" lIns="36000" tIns="36000" rIns="36000" bIns="3600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effectLst/>
                <a:uLnTx/>
                <a:uFillTx/>
                <a:ea typeface="+mn-ea"/>
                <a:cs typeface="+mn-cs"/>
              </a:rPr>
              <a:t>Feedback</a:t>
            </a:r>
          </a:p>
        </p:txBody>
      </p:sp>
      <p:sp>
        <p:nvSpPr>
          <p:cNvPr id="207" name="TextBox 206"/>
          <p:cNvSpPr txBox="1"/>
          <p:nvPr/>
        </p:nvSpPr>
        <p:spPr>
          <a:xfrm>
            <a:off x="1296436" y="2450264"/>
            <a:ext cx="4424849" cy="661496"/>
          </a:xfrm>
          <a:prstGeom prst="rect">
            <a:avLst/>
          </a:prstGeom>
          <a:noFill/>
          <a:ln w="6350">
            <a:noFill/>
            <a:prstDash val="dash"/>
          </a:ln>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effectLst/>
                <a:uLnTx/>
                <a:uFillTx/>
                <a:ea typeface="+mn-ea"/>
                <a:cs typeface="+mn-cs"/>
              </a:rPr>
              <a:t>Lorem </a:t>
            </a:r>
            <a:r>
              <a:rPr kumimoji="0" lang="en-US" sz="1000" b="0" i="0" u="none" strike="noStrike" kern="1200" cap="none" spc="0" normalizeH="0" baseline="0" noProof="0" dirty="0" err="1">
                <a:ln>
                  <a:noFill/>
                </a:ln>
                <a:effectLst/>
                <a:uLnTx/>
                <a:uFillTx/>
                <a:ea typeface="+mn-ea"/>
                <a:cs typeface="+mn-cs"/>
              </a:rPr>
              <a:t>Ipsum</a:t>
            </a:r>
            <a:r>
              <a:rPr kumimoji="0" lang="en-US" sz="1000" b="0" i="0" u="none" strike="noStrike" kern="1200" cap="none" spc="0" normalizeH="0" baseline="0" noProof="0" dirty="0">
                <a:ln>
                  <a:noFill/>
                </a:ln>
                <a:effectLst/>
                <a:uLnTx/>
                <a:uFillTx/>
                <a:ea typeface="+mn-ea"/>
                <a:cs typeface="+mn-cs"/>
              </a:rPr>
              <a:t> is simply dummy text of the printing and typesetting industry. Lorem </a:t>
            </a:r>
            <a:r>
              <a:rPr kumimoji="0" lang="en-US" sz="1000" b="0" i="0" u="none" strike="noStrike" kern="1200" cap="none" spc="0" normalizeH="0" baseline="0" noProof="0" dirty="0" err="1">
                <a:ln>
                  <a:noFill/>
                </a:ln>
                <a:effectLst/>
                <a:uLnTx/>
                <a:uFillTx/>
                <a:ea typeface="+mn-ea"/>
                <a:cs typeface="+mn-cs"/>
              </a:rPr>
              <a:t>Ipsum</a:t>
            </a:r>
            <a:r>
              <a:rPr kumimoji="0" lang="en-US" sz="1000" b="0" i="0" u="none" strike="noStrike" kern="1200" cap="none" spc="0" normalizeH="0" baseline="0" noProof="0" dirty="0">
                <a:ln>
                  <a:noFill/>
                </a:ln>
                <a:effectLst/>
                <a:uLnTx/>
                <a:uFillTx/>
                <a:ea typeface="+mn-ea"/>
                <a:cs typeface="+mn-cs"/>
              </a:rPr>
              <a:t> has been the industry's standard dummy text ever since the 1500s, when an unknown printer took a galley of type and scrambled it to make a type specimen book. </a:t>
            </a:r>
          </a:p>
        </p:txBody>
      </p:sp>
      <p:sp>
        <p:nvSpPr>
          <p:cNvPr id="208" name="TextBox 207"/>
          <p:cNvSpPr txBox="1"/>
          <p:nvPr/>
        </p:nvSpPr>
        <p:spPr>
          <a:xfrm>
            <a:off x="1296436" y="2246318"/>
            <a:ext cx="3957064" cy="153888"/>
          </a:xfrm>
          <a:prstGeom prst="rect">
            <a:avLst/>
          </a:prstGeom>
          <a:noFill/>
          <a:ln w="6350">
            <a:noFill/>
            <a:prstDash val="dash"/>
          </a:ln>
        </p:spPr>
        <p:txBody>
          <a:bodyPr wrap="square" lIns="0" tIns="0" rIns="0" bIns="0" rtlCol="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effectLst/>
                <a:uLnTx/>
                <a:uFillTx/>
                <a:ea typeface="+mn-ea"/>
                <a:cs typeface="+mn-cs"/>
              </a:rPr>
              <a:t>CUSTOMER SUPPLIER MODEL</a:t>
            </a:r>
          </a:p>
        </p:txBody>
      </p:sp>
      <p:grpSp>
        <p:nvGrpSpPr>
          <p:cNvPr id="196" name="Group 195"/>
          <p:cNvGrpSpPr>
            <a:grpSpLocks noChangeAspect="1"/>
          </p:cNvGrpSpPr>
          <p:nvPr/>
        </p:nvGrpSpPr>
        <p:grpSpPr>
          <a:xfrm>
            <a:off x="1296436" y="3375257"/>
            <a:ext cx="322570" cy="421687"/>
            <a:chOff x="3359150" y="3986213"/>
            <a:chExt cx="284162" cy="371476"/>
          </a:xfrm>
          <a:solidFill>
            <a:srgbClr val="3B3939"/>
          </a:solidFill>
        </p:grpSpPr>
        <p:sp>
          <p:nvSpPr>
            <p:cNvPr id="200" name="Freeform 121"/>
            <p:cNvSpPr>
              <a:spLocks noEditPoints="1"/>
            </p:cNvSpPr>
            <p:nvPr/>
          </p:nvSpPr>
          <p:spPr bwMode="auto">
            <a:xfrm>
              <a:off x="3359150" y="4249738"/>
              <a:ext cx="107950" cy="107950"/>
            </a:xfrm>
            <a:custGeom>
              <a:avLst/>
              <a:gdLst>
                <a:gd name="T0" fmla="*/ 14 w 28"/>
                <a:gd name="T1" fmla="*/ 28 h 28"/>
                <a:gd name="T2" fmla="*/ 0 w 28"/>
                <a:gd name="T3" fmla="*/ 14 h 28"/>
                <a:gd name="T4" fmla="*/ 14 w 28"/>
                <a:gd name="T5" fmla="*/ 0 h 28"/>
                <a:gd name="T6" fmla="*/ 28 w 28"/>
                <a:gd name="T7" fmla="*/ 14 h 28"/>
                <a:gd name="T8" fmla="*/ 14 w 28"/>
                <a:gd name="T9" fmla="*/ 28 h 28"/>
                <a:gd name="T10" fmla="*/ 14 w 28"/>
                <a:gd name="T11" fmla="*/ 4 h 28"/>
                <a:gd name="T12" fmla="*/ 4 w 28"/>
                <a:gd name="T13" fmla="*/ 14 h 28"/>
                <a:gd name="T14" fmla="*/ 14 w 28"/>
                <a:gd name="T15" fmla="*/ 24 h 28"/>
                <a:gd name="T16" fmla="*/ 24 w 28"/>
                <a:gd name="T17" fmla="*/ 14 h 28"/>
                <a:gd name="T18" fmla="*/ 14 w 28"/>
                <a:gd name="T19" fmla="*/ 4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 h="28">
                  <a:moveTo>
                    <a:pt x="14" y="28"/>
                  </a:moveTo>
                  <a:cubicBezTo>
                    <a:pt x="6" y="28"/>
                    <a:pt x="0" y="22"/>
                    <a:pt x="0" y="14"/>
                  </a:cubicBezTo>
                  <a:cubicBezTo>
                    <a:pt x="0" y="6"/>
                    <a:pt x="6" y="0"/>
                    <a:pt x="14" y="0"/>
                  </a:cubicBezTo>
                  <a:cubicBezTo>
                    <a:pt x="22" y="0"/>
                    <a:pt x="28" y="6"/>
                    <a:pt x="28" y="14"/>
                  </a:cubicBezTo>
                  <a:cubicBezTo>
                    <a:pt x="28" y="22"/>
                    <a:pt x="22" y="28"/>
                    <a:pt x="14" y="28"/>
                  </a:cubicBezTo>
                  <a:close/>
                  <a:moveTo>
                    <a:pt x="14" y="4"/>
                  </a:moveTo>
                  <a:cubicBezTo>
                    <a:pt x="8" y="4"/>
                    <a:pt x="4" y="8"/>
                    <a:pt x="4" y="14"/>
                  </a:cubicBezTo>
                  <a:cubicBezTo>
                    <a:pt x="4" y="20"/>
                    <a:pt x="8" y="24"/>
                    <a:pt x="14" y="24"/>
                  </a:cubicBezTo>
                  <a:cubicBezTo>
                    <a:pt x="20" y="24"/>
                    <a:pt x="24" y="20"/>
                    <a:pt x="24" y="14"/>
                  </a:cubicBezTo>
                  <a:cubicBezTo>
                    <a:pt x="24" y="8"/>
                    <a:pt x="20" y="4"/>
                    <a:pt x="1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ea typeface="+mn-ea"/>
                <a:cs typeface="+mn-cs"/>
              </a:endParaRPr>
            </a:p>
          </p:txBody>
        </p:sp>
        <p:sp>
          <p:nvSpPr>
            <p:cNvPr id="201" name="Freeform 122"/>
            <p:cNvSpPr>
              <a:spLocks/>
            </p:cNvSpPr>
            <p:nvPr/>
          </p:nvSpPr>
          <p:spPr bwMode="auto">
            <a:xfrm>
              <a:off x="3373438" y="3986213"/>
              <a:ext cx="63500" cy="282575"/>
            </a:xfrm>
            <a:custGeom>
              <a:avLst/>
              <a:gdLst>
                <a:gd name="T0" fmla="*/ 14 w 16"/>
                <a:gd name="T1" fmla="*/ 73 h 73"/>
                <a:gd name="T2" fmla="*/ 12 w 16"/>
                <a:gd name="T3" fmla="*/ 71 h 73"/>
                <a:gd name="T4" fmla="*/ 12 w 16"/>
                <a:gd name="T5" fmla="*/ 4 h 73"/>
                <a:gd name="T6" fmla="*/ 2 w 16"/>
                <a:gd name="T7" fmla="*/ 4 h 73"/>
                <a:gd name="T8" fmla="*/ 0 w 16"/>
                <a:gd name="T9" fmla="*/ 2 h 73"/>
                <a:gd name="T10" fmla="*/ 2 w 16"/>
                <a:gd name="T11" fmla="*/ 0 h 73"/>
                <a:gd name="T12" fmla="*/ 14 w 16"/>
                <a:gd name="T13" fmla="*/ 0 h 73"/>
                <a:gd name="T14" fmla="*/ 16 w 16"/>
                <a:gd name="T15" fmla="*/ 2 h 73"/>
                <a:gd name="T16" fmla="*/ 16 w 16"/>
                <a:gd name="T17" fmla="*/ 71 h 73"/>
                <a:gd name="T18" fmla="*/ 14 w 16"/>
                <a:gd name="T19" fmla="*/ 73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 h="73">
                  <a:moveTo>
                    <a:pt x="14" y="73"/>
                  </a:moveTo>
                  <a:cubicBezTo>
                    <a:pt x="13" y="73"/>
                    <a:pt x="12" y="72"/>
                    <a:pt x="12" y="71"/>
                  </a:cubicBezTo>
                  <a:cubicBezTo>
                    <a:pt x="12" y="4"/>
                    <a:pt x="12" y="4"/>
                    <a:pt x="12" y="4"/>
                  </a:cubicBezTo>
                  <a:cubicBezTo>
                    <a:pt x="2" y="4"/>
                    <a:pt x="2" y="4"/>
                    <a:pt x="2" y="4"/>
                  </a:cubicBezTo>
                  <a:cubicBezTo>
                    <a:pt x="1" y="4"/>
                    <a:pt x="0" y="3"/>
                    <a:pt x="0" y="2"/>
                  </a:cubicBezTo>
                  <a:cubicBezTo>
                    <a:pt x="0" y="1"/>
                    <a:pt x="1" y="0"/>
                    <a:pt x="2" y="0"/>
                  </a:cubicBezTo>
                  <a:cubicBezTo>
                    <a:pt x="14" y="0"/>
                    <a:pt x="14" y="0"/>
                    <a:pt x="14" y="0"/>
                  </a:cubicBezTo>
                  <a:cubicBezTo>
                    <a:pt x="15" y="0"/>
                    <a:pt x="16" y="1"/>
                    <a:pt x="16" y="2"/>
                  </a:cubicBezTo>
                  <a:cubicBezTo>
                    <a:pt x="16" y="71"/>
                    <a:pt x="16" y="71"/>
                    <a:pt x="16" y="71"/>
                  </a:cubicBezTo>
                  <a:cubicBezTo>
                    <a:pt x="16" y="72"/>
                    <a:pt x="15" y="73"/>
                    <a:pt x="14" y="7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ea typeface="+mn-ea"/>
                <a:cs typeface="+mn-cs"/>
              </a:endParaRPr>
            </a:p>
          </p:txBody>
        </p:sp>
        <p:sp>
          <p:nvSpPr>
            <p:cNvPr id="202" name="Freeform 123"/>
            <p:cNvSpPr>
              <a:spLocks/>
            </p:cNvSpPr>
            <p:nvPr/>
          </p:nvSpPr>
          <p:spPr bwMode="auto">
            <a:xfrm>
              <a:off x="3448050" y="4311651"/>
              <a:ext cx="195262" cy="46038"/>
            </a:xfrm>
            <a:custGeom>
              <a:avLst/>
              <a:gdLst>
                <a:gd name="T0" fmla="*/ 47 w 50"/>
                <a:gd name="T1" fmla="*/ 12 h 12"/>
                <a:gd name="T2" fmla="*/ 46 w 50"/>
                <a:gd name="T3" fmla="*/ 11 h 12"/>
                <a:gd name="T4" fmla="*/ 38 w 50"/>
                <a:gd name="T5" fmla="*/ 4 h 12"/>
                <a:gd name="T6" fmla="*/ 2 w 50"/>
                <a:gd name="T7" fmla="*/ 4 h 12"/>
                <a:gd name="T8" fmla="*/ 0 w 50"/>
                <a:gd name="T9" fmla="*/ 2 h 12"/>
                <a:gd name="T10" fmla="*/ 2 w 50"/>
                <a:gd name="T11" fmla="*/ 0 h 12"/>
                <a:gd name="T12" fmla="*/ 39 w 50"/>
                <a:gd name="T13" fmla="*/ 0 h 12"/>
                <a:gd name="T14" fmla="*/ 40 w 50"/>
                <a:gd name="T15" fmla="*/ 1 h 12"/>
                <a:gd name="T16" fmla="*/ 49 w 50"/>
                <a:gd name="T17" fmla="*/ 9 h 12"/>
                <a:gd name="T18" fmla="*/ 49 w 50"/>
                <a:gd name="T19" fmla="*/ 11 h 12"/>
                <a:gd name="T20" fmla="*/ 47 w 50"/>
                <a:gd name="T21"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0" h="12">
                  <a:moveTo>
                    <a:pt x="47" y="12"/>
                  </a:moveTo>
                  <a:cubicBezTo>
                    <a:pt x="47" y="12"/>
                    <a:pt x="46" y="12"/>
                    <a:pt x="46" y="11"/>
                  </a:cubicBezTo>
                  <a:cubicBezTo>
                    <a:pt x="38" y="4"/>
                    <a:pt x="38" y="4"/>
                    <a:pt x="38" y="4"/>
                  </a:cubicBezTo>
                  <a:cubicBezTo>
                    <a:pt x="2" y="4"/>
                    <a:pt x="2" y="4"/>
                    <a:pt x="2" y="4"/>
                  </a:cubicBezTo>
                  <a:cubicBezTo>
                    <a:pt x="1" y="4"/>
                    <a:pt x="0" y="3"/>
                    <a:pt x="0" y="2"/>
                  </a:cubicBezTo>
                  <a:cubicBezTo>
                    <a:pt x="0" y="1"/>
                    <a:pt x="1" y="0"/>
                    <a:pt x="2" y="0"/>
                  </a:cubicBezTo>
                  <a:cubicBezTo>
                    <a:pt x="39" y="0"/>
                    <a:pt x="39" y="0"/>
                    <a:pt x="39" y="0"/>
                  </a:cubicBezTo>
                  <a:cubicBezTo>
                    <a:pt x="40" y="0"/>
                    <a:pt x="40" y="0"/>
                    <a:pt x="40" y="1"/>
                  </a:cubicBezTo>
                  <a:cubicBezTo>
                    <a:pt x="49" y="9"/>
                    <a:pt x="49" y="9"/>
                    <a:pt x="49" y="9"/>
                  </a:cubicBezTo>
                  <a:cubicBezTo>
                    <a:pt x="50" y="9"/>
                    <a:pt x="50" y="11"/>
                    <a:pt x="49" y="11"/>
                  </a:cubicBezTo>
                  <a:cubicBezTo>
                    <a:pt x="48" y="12"/>
                    <a:pt x="48" y="12"/>
                    <a:pt x="47"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ea typeface="+mn-ea"/>
                <a:cs typeface="+mn-cs"/>
              </a:endParaRPr>
            </a:p>
          </p:txBody>
        </p:sp>
        <p:sp>
          <p:nvSpPr>
            <p:cNvPr id="203" name="Freeform 124"/>
            <p:cNvSpPr>
              <a:spLocks noEditPoints="1"/>
            </p:cNvSpPr>
            <p:nvPr/>
          </p:nvSpPr>
          <p:spPr bwMode="auto">
            <a:xfrm>
              <a:off x="3452813" y="4141788"/>
              <a:ext cx="171450" cy="153988"/>
            </a:xfrm>
            <a:custGeom>
              <a:avLst/>
              <a:gdLst>
                <a:gd name="T0" fmla="*/ 42 w 44"/>
                <a:gd name="T1" fmla="*/ 40 h 40"/>
                <a:gd name="T2" fmla="*/ 2 w 44"/>
                <a:gd name="T3" fmla="*/ 40 h 40"/>
                <a:gd name="T4" fmla="*/ 0 w 44"/>
                <a:gd name="T5" fmla="*/ 38 h 40"/>
                <a:gd name="T6" fmla="*/ 0 w 44"/>
                <a:gd name="T7" fmla="*/ 2 h 40"/>
                <a:gd name="T8" fmla="*/ 2 w 44"/>
                <a:gd name="T9" fmla="*/ 0 h 40"/>
                <a:gd name="T10" fmla="*/ 42 w 44"/>
                <a:gd name="T11" fmla="*/ 0 h 40"/>
                <a:gd name="T12" fmla="*/ 44 w 44"/>
                <a:gd name="T13" fmla="*/ 2 h 40"/>
                <a:gd name="T14" fmla="*/ 44 w 44"/>
                <a:gd name="T15" fmla="*/ 38 h 40"/>
                <a:gd name="T16" fmla="*/ 42 w 44"/>
                <a:gd name="T17" fmla="*/ 40 h 40"/>
                <a:gd name="T18" fmla="*/ 4 w 44"/>
                <a:gd name="T19" fmla="*/ 36 h 40"/>
                <a:gd name="T20" fmla="*/ 40 w 44"/>
                <a:gd name="T21" fmla="*/ 36 h 40"/>
                <a:gd name="T22" fmla="*/ 40 w 44"/>
                <a:gd name="T23" fmla="*/ 4 h 40"/>
                <a:gd name="T24" fmla="*/ 4 w 44"/>
                <a:gd name="T25" fmla="*/ 4 h 40"/>
                <a:gd name="T26" fmla="*/ 4 w 44"/>
                <a:gd name="T27" fmla="*/ 3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40">
                  <a:moveTo>
                    <a:pt x="42" y="40"/>
                  </a:moveTo>
                  <a:cubicBezTo>
                    <a:pt x="2" y="40"/>
                    <a:pt x="2" y="40"/>
                    <a:pt x="2" y="40"/>
                  </a:cubicBezTo>
                  <a:cubicBezTo>
                    <a:pt x="1" y="40"/>
                    <a:pt x="0" y="39"/>
                    <a:pt x="0" y="38"/>
                  </a:cubicBezTo>
                  <a:cubicBezTo>
                    <a:pt x="0" y="2"/>
                    <a:pt x="0" y="2"/>
                    <a:pt x="0" y="2"/>
                  </a:cubicBezTo>
                  <a:cubicBezTo>
                    <a:pt x="0" y="1"/>
                    <a:pt x="1" y="0"/>
                    <a:pt x="2" y="0"/>
                  </a:cubicBezTo>
                  <a:cubicBezTo>
                    <a:pt x="42" y="0"/>
                    <a:pt x="42" y="0"/>
                    <a:pt x="42" y="0"/>
                  </a:cubicBezTo>
                  <a:cubicBezTo>
                    <a:pt x="43" y="0"/>
                    <a:pt x="44" y="1"/>
                    <a:pt x="44" y="2"/>
                  </a:cubicBezTo>
                  <a:cubicBezTo>
                    <a:pt x="44" y="38"/>
                    <a:pt x="44" y="38"/>
                    <a:pt x="44" y="38"/>
                  </a:cubicBezTo>
                  <a:cubicBezTo>
                    <a:pt x="44" y="39"/>
                    <a:pt x="43" y="40"/>
                    <a:pt x="42" y="40"/>
                  </a:cubicBezTo>
                  <a:close/>
                  <a:moveTo>
                    <a:pt x="4" y="36"/>
                  </a:moveTo>
                  <a:cubicBezTo>
                    <a:pt x="40" y="36"/>
                    <a:pt x="40" y="36"/>
                    <a:pt x="40" y="36"/>
                  </a:cubicBezTo>
                  <a:cubicBezTo>
                    <a:pt x="40" y="4"/>
                    <a:pt x="40" y="4"/>
                    <a:pt x="40" y="4"/>
                  </a:cubicBezTo>
                  <a:cubicBezTo>
                    <a:pt x="4" y="4"/>
                    <a:pt x="4" y="4"/>
                    <a:pt x="4" y="4"/>
                  </a:cubicBezTo>
                  <a:lnTo>
                    <a:pt x="4" y="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ea typeface="+mn-ea"/>
                <a:cs typeface="+mn-cs"/>
              </a:endParaRPr>
            </a:p>
          </p:txBody>
        </p:sp>
        <p:sp>
          <p:nvSpPr>
            <p:cNvPr id="204" name="Freeform 125"/>
            <p:cNvSpPr>
              <a:spLocks noEditPoints="1"/>
            </p:cNvSpPr>
            <p:nvPr/>
          </p:nvSpPr>
          <p:spPr bwMode="auto">
            <a:xfrm>
              <a:off x="3452813" y="4064001"/>
              <a:ext cx="123825" cy="92075"/>
            </a:xfrm>
            <a:custGeom>
              <a:avLst/>
              <a:gdLst>
                <a:gd name="T0" fmla="*/ 30 w 32"/>
                <a:gd name="T1" fmla="*/ 24 h 24"/>
                <a:gd name="T2" fmla="*/ 2 w 32"/>
                <a:gd name="T3" fmla="*/ 24 h 24"/>
                <a:gd name="T4" fmla="*/ 0 w 32"/>
                <a:gd name="T5" fmla="*/ 22 h 24"/>
                <a:gd name="T6" fmla="*/ 0 w 32"/>
                <a:gd name="T7" fmla="*/ 2 h 24"/>
                <a:gd name="T8" fmla="*/ 2 w 32"/>
                <a:gd name="T9" fmla="*/ 0 h 24"/>
                <a:gd name="T10" fmla="*/ 30 w 32"/>
                <a:gd name="T11" fmla="*/ 0 h 24"/>
                <a:gd name="T12" fmla="*/ 32 w 32"/>
                <a:gd name="T13" fmla="*/ 2 h 24"/>
                <a:gd name="T14" fmla="*/ 32 w 32"/>
                <a:gd name="T15" fmla="*/ 22 h 24"/>
                <a:gd name="T16" fmla="*/ 30 w 32"/>
                <a:gd name="T17" fmla="*/ 24 h 24"/>
                <a:gd name="T18" fmla="*/ 4 w 32"/>
                <a:gd name="T19" fmla="*/ 20 h 24"/>
                <a:gd name="T20" fmla="*/ 28 w 32"/>
                <a:gd name="T21" fmla="*/ 20 h 24"/>
                <a:gd name="T22" fmla="*/ 28 w 32"/>
                <a:gd name="T23" fmla="*/ 4 h 24"/>
                <a:gd name="T24" fmla="*/ 4 w 32"/>
                <a:gd name="T25" fmla="*/ 4 h 24"/>
                <a:gd name="T26" fmla="*/ 4 w 32"/>
                <a:gd name="T27" fmla="*/ 2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2" h="24">
                  <a:moveTo>
                    <a:pt x="30" y="24"/>
                  </a:moveTo>
                  <a:cubicBezTo>
                    <a:pt x="2" y="24"/>
                    <a:pt x="2" y="24"/>
                    <a:pt x="2" y="24"/>
                  </a:cubicBezTo>
                  <a:cubicBezTo>
                    <a:pt x="1" y="24"/>
                    <a:pt x="0" y="23"/>
                    <a:pt x="0" y="22"/>
                  </a:cubicBezTo>
                  <a:cubicBezTo>
                    <a:pt x="0" y="2"/>
                    <a:pt x="0" y="2"/>
                    <a:pt x="0" y="2"/>
                  </a:cubicBezTo>
                  <a:cubicBezTo>
                    <a:pt x="0" y="1"/>
                    <a:pt x="1" y="0"/>
                    <a:pt x="2" y="0"/>
                  </a:cubicBezTo>
                  <a:cubicBezTo>
                    <a:pt x="30" y="0"/>
                    <a:pt x="30" y="0"/>
                    <a:pt x="30" y="0"/>
                  </a:cubicBezTo>
                  <a:cubicBezTo>
                    <a:pt x="31" y="0"/>
                    <a:pt x="32" y="1"/>
                    <a:pt x="32" y="2"/>
                  </a:cubicBezTo>
                  <a:cubicBezTo>
                    <a:pt x="32" y="22"/>
                    <a:pt x="32" y="22"/>
                    <a:pt x="32" y="22"/>
                  </a:cubicBezTo>
                  <a:cubicBezTo>
                    <a:pt x="32" y="23"/>
                    <a:pt x="31" y="24"/>
                    <a:pt x="30" y="24"/>
                  </a:cubicBezTo>
                  <a:close/>
                  <a:moveTo>
                    <a:pt x="4" y="20"/>
                  </a:moveTo>
                  <a:cubicBezTo>
                    <a:pt x="28" y="20"/>
                    <a:pt x="28" y="20"/>
                    <a:pt x="28" y="20"/>
                  </a:cubicBezTo>
                  <a:cubicBezTo>
                    <a:pt x="28" y="4"/>
                    <a:pt x="28" y="4"/>
                    <a:pt x="28" y="4"/>
                  </a:cubicBezTo>
                  <a:cubicBezTo>
                    <a:pt x="4" y="4"/>
                    <a:pt x="4" y="4"/>
                    <a:pt x="4" y="4"/>
                  </a:cubicBezTo>
                  <a:lnTo>
                    <a:pt x="4" y="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ea typeface="+mn-ea"/>
                <a:cs typeface="+mn-cs"/>
              </a:endParaRPr>
            </a:p>
          </p:txBody>
        </p:sp>
        <p:sp>
          <p:nvSpPr>
            <p:cNvPr id="205" name="Freeform 126"/>
            <p:cNvSpPr>
              <a:spLocks/>
            </p:cNvSpPr>
            <p:nvPr/>
          </p:nvSpPr>
          <p:spPr bwMode="auto">
            <a:xfrm>
              <a:off x="3546475" y="4249738"/>
              <a:ext cx="46037" cy="15875"/>
            </a:xfrm>
            <a:custGeom>
              <a:avLst/>
              <a:gdLst>
                <a:gd name="T0" fmla="*/ 10 w 12"/>
                <a:gd name="T1" fmla="*/ 4 h 4"/>
                <a:gd name="T2" fmla="*/ 2 w 12"/>
                <a:gd name="T3" fmla="*/ 4 h 4"/>
                <a:gd name="T4" fmla="*/ 0 w 12"/>
                <a:gd name="T5" fmla="*/ 2 h 4"/>
                <a:gd name="T6" fmla="*/ 2 w 12"/>
                <a:gd name="T7" fmla="*/ 0 h 4"/>
                <a:gd name="T8" fmla="*/ 10 w 12"/>
                <a:gd name="T9" fmla="*/ 0 h 4"/>
                <a:gd name="T10" fmla="*/ 12 w 12"/>
                <a:gd name="T11" fmla="*/ 2 h 4"/>
                <a:gd name="T12" fmla="*/ 10 w 12"/>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12" h="4">
                  <a:moveTo>
                    <a:pt x="10" y="4"/>
                  </a:moveTo>
                  <a:cubicBezTo>
                    <a:pt x="2" y="4"/>
                    <a:pt x="2" y="4"/>
                    <a:pt x="2" y="4"/>
                  </a:cubicBezTo>
                  <a:cubicBezTo>
                    <a:pt x="1" y="4"/>
                    <a:pt x="0" y="3"/>
                    <a:pt x="0" y="2"/>
                  </a:cubicBezTo>
                  <a:cubicBezTo>
                    <a:pt x="0" y="1"/>
                    <a:pt x="1" y="0"/>
                    <a:pt x="2" y="0"/>
                  </a:cubicBezTo>
                  <a:cubicBezTo>
                    <a:pt x="10" y="0"/>
                    <a:pt x="10" y="0"/>
                    <a:pt x="10" y="0"/>
                  </a:cubicBezTo>
                  <a:cubicBezTo>
                    <a:pt x="11" y="0"/>
                    <a:pt x="12" y="1"/>
                    <a:pt x="12" y="2"/>
                  </a:cubicBezTo>
                  <a:cubicBezTo>
                    <a:pt x="12" y="3"/>
                    <a:pt x="11" y="4"/>
                    <a:pt x="10"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ea typeface="+mn-ea"/>
                <a:cs typeface="+mn-cs"/>
              </a:endParaRPr>
            </a:p>
          </p:txBody>
        </p:sp>
        <p:sp>
          <p:nvSpPr>
            <p:cNvPr id="206" name="Freeform 127"/>
            <p:cNvSpPr>
              <a:spLocks/>
            </p:cNvSpPr>
            <p:nvPr/>
          </p:nvSpPr>
          <p:spPr bwMode="auto">
            <a:xfrm>
              <a:off x="3482975" y="4110038"/>
              <a:ext cx="31750" cy="15875"/>
            </a:xfrm>
            <a:custGeom>
              <a:avLst/>
              <a:gdLst>
                <a:gd name="T0" fmla="*/ 6 w 8"/>
                <a:gd name="T1" fmla="*/ 4 h 4"/>
                <a:gd name="T2" fmla="*/ 2 w 8"/>
                <a:gd name="T3" fmla="*/ 4 h 4"/>
                <a:gd name="T4" fmla="*/ 0 w 8"/>
                <a:gd name="T5" fmla="*/ 2 h 4"/>
                <a:gd name="T6" fmla="*/ 2 w 8"/>
                <a:gd name="T7" fmla="*/ 0 h 4"/>
                <a:gd name="T8" fmla="*/ 6 w 8"/>
                <a:gd name="T9" fmla="*/ 0 h 4"/>
                <a:gd name="T10" fmla="*/ 8 w 8"/>
                <a:gd name="T11" fmla="*/ 2 h 4"/>
                <a:gd name="T12" fmla="*/ 6 w 8"/>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8" h="4">
                  <a:moveTo>
                    <a:pt x="6" y="4"/>
                  </a:moveTo>
                  <a:cubicBezTo>
                    <a:pt x="2" y="4"/>
                    <a:pt x="2" y="4"/>
                    <a:pt x="2" y="4"/>
                  </a:cubicBezTo>
                  <a:cubicBezTo>
                    <a:pt x="1" y="4"/>
                    <a:pt x="0" y="3"/>
                    <a:pt x="0" y="2"/>
                  </a:cubicBezTo>
                  <a:cubicBezTo>
                    <a:pt x="0" y="1"/>
                    <a:pt x="1" y="0"/>
                    <a:pt x="2" y="0"/>
                  </a:cubicBezTo>
                  <a:cubicBezTo>
                    <a:pt x="6" y="0"/>
                    <a:pt x="6" y="0"/>
                    <a:pt x="6" y="0"/>
                  </a:cubicBezTo>
                  <a:cubicBezTo>
                    <a:pt x="7" y="0"/>
                    <a:pt x="8" y="1"/>
                    <a:pt x="8" y="2"/>
                  </a:cubicBezTo>
                  <a:cubicBezTo>
                    <a:pt x="8" y="3"/>
                    <a:pt x="7" y="4"/>
                    <a:pt x="6"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ea typeface="+mn-ea"/>
                <a:cs typeface="+mn-cs"/>
              </a:endParaRPr>
            </a:p>
          </p:txBody>
        </p:sp>
      </p:grpSp>
      <p:grpSp>
        <p:nvGrpSpPr>
          <p:cNvPr id="197" name="Group 196"/>
          <p:cNvGrpSpPr/>
          <p:nvPr/>
        </p:nvGrpSpPr>
        <p:grpSpPr>
          <a:xfrm>
            <a:off x="1754186" y="3375257"/>
            <a:ext cx="3771387" cy="487263"/>
            <a:chOff x="949864" y="3145757"/>
            <a:chExt cx="3219685" cy="415983"/>
          </a:xfrm>
        </p:grpSpPr>
        <p:sp>
          <p:nvSpPr>
            <p:cNvPr id="198" name="TextBox 197"/>
            <p:cNvSpPr txBox="1"/>
            <p:nvPr/>
          </p:nvSpPr>
          <p:spPr>
            <a:xfrm>
              <a:off x="949864" y="3145757"/>
              <a:ext cx="701838" cy="141182"/>
            </a:xfrm>
            <a:prstGeom prst="rect">
              <a:avLst/>
            </a:prstGeom>
            <a:noFill/>
            <a:ln w="6350">
              <a:noFill/>
              <a:prstDash val="dash"/>
            </a:ln>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effectLst/>
                  <a:uLnTx/>
                  <a:uFillTx/>
                  <a:ea typeface="+mn-ea"/>
                  <a:cs typeface="+mn-cs"/>
                </a:rPr>
                <a:t>SUPPLIER</a:t>
              </a:r>
            </a:p>
          </p:txBody>
        </p:sp>
        <p:sp>
          <p:nvSpPr>
            <p:cNvPr id="199" name="TextBox 198"/>
            <p:cNvSpPr txBox="1"/>
            <p:nvPr/>
          </p:nvSpPr>
          <p:spPr>
            <a:xfrm>
              <a:off x="949864" y="3279375"/>
              <a:ext cx="3219685" cy="282365"/>
            </a:xfrm>
            <a:prstGeom prst="rect">
              <a:avLst/>
            </a:prstGeom>
            <a:noFill/>
            <a:ln w="6350">
              <a:noFill/>
              <a:prstDash val="dash"/>
            </a:ln>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effectLst/>
                  <a:uLnTx/>
                  <a:uFillTx/>
                  <a:ea typeface="+mn-ea"/>
                  <a:cs typeface="+mn-cs"/>
                </a:rPr>
                <a:t>Lorem </a:t>
              </a:r>
              <a:r>
                <a:rPr kumimoji="0" lang="en-US" sz="1000" b="0" i="0" u="none" strike="noStrike" kern="1200" cap="none" spc="0" normalizeH="0" baseline="0" noProof="0" dirty="0" err="1">
                  <a:ln>
                    <a:noFill/>
                  </a:ln>
                  <a:effectLst/>
                  <a:uLnTx/>
                  <a:uFillTx/>
                  <a:ea typeface="+mn-ea"/>
                  <a:cs typeface="+mn-cs"/>
                </a:rPr>
                <a:t>Ipsum</a:t>
              </a:r>
              <a:r>
                <a:rPr kumimoji="0" lang="en-US" sz="1000" b="0" i="0" u="none" strike="noStrike" kern="1200" cap="none" spc="0" normalizeH="0" baseline="0" noProof="0" dirty="0">
                  <a:ln>
                    <a:noFill/>
                  </a:ln>
                  <a:effectLst/>
                  <a:uLnTx/>
                  <a:uFillTx/>
                  <a:ea typeface="+mn-ea"/>
                  <a:cs typeface="+mn-cs"/>
                </a:rPr>
                <a:t> is simply dummy text of the printing and typesetting industry.</a:t>
              </a:r>
            </a:p>
          </p:txBody>
        </p:sp>
      </p:grpSp>
      <p:grpSp>
        <p:nvGrpSpPr>
          <p:cNvPr id="187" name="Group 186"/>
          <p:cNvGrpSpPr>
            <a:grpSpLocks noChangeAspect="1"/>
          </p:cNvGrpSpPr>
          <p:nvPr/>
        </p:nvGrpSpPr>
        <p:grpSpPr>
          <a:xfrm>
            <a:off x="1296436" y="4047934"/>
            <a:ext cx="363978" cy="288018"/>
            <a:chOff x="8045450" y="1020762"/>
            <a:chExt cx="365126" cy="288926"/>
          </a:xfrm>
          <a:solidFill>
            <a:srgbClr val="E2583D"/>
          </a:solidFill>
        </p:grpSpPr>
        <p:sp>
          <p:nvSpPr>
            <p:cNvPr id="191" name="Freeform 131"/>
            <p:cNvSpPr>
              <a:spLocks/>
            </p:cNvSpPr>
            <p:nvPr/>
          </p:nvSpPr>
          <p:spPr bwMode="auto">
            <a:xfrm>
              <a:off x="8045450" y="1133475"/>
              <a:ext cx="109538" cy="82550"/>
            </a:xfrm>
            <a:custGeom>
              <a:avLst/>
              <a:gdLst>
                <a:gd name="T0" fmla="*/ 13 w 28"/>
                <a:gd name="T1" fmla="*/ 21 h 21"/>
                <a:gd name="T2" fmla="*/ 13 w 28"/>
                <a:gd name="T3" fmla="*/ 21 h 21"/>
                <a:gd name="T4" fmla="*/ 11 w 28"/>
                <a:gd name="T5" fmla="*/ 20 h 21"/>
                <a:gd name="T6" fmla="*/ 0 w 28"/>
                <a:gd name="T7" fmla="*/ 4 h 21"/>
                <a:gd name="T8" fmla="*/ 1 w 28"/>
                <a:gd name="T9" fmla="*/ 1 h 21"/>
                <a:gd name="T10" fmla="*/ 4 w 28"/>
                <a:gd name="T11" fmla="*/ 1 h 21"/>
                <a:gd name="T12" fmla="*/ 13 w 28"/>
                <a:gd name="T13" fmla="*/ 16 h 21"/>
                <a:gd name="T14" fmla="*/ 24 w 28"/>
                <a:gd name="T15" fmla="*/ 2 h 21"/>
                <a:gd name="T16" fmla="*/ 27 w 28"/>
                <a:gd name="T17" fmla="*/ 2 h 21"/>
                <a:gd name="T18" fmla="*/ 27 w 28"/>
                <a:gd name="T19" fmla="*/ 5 h 21"/>
                <a:gd name="T20" fmla="*/ 15 w 28"/>
                <a:gd name="T21" fmla="*/ 20 h 21"/>
                <a:gd name="T22" fmla="*/ 13 w 28"/>
                <a:gd name="T23" fmla="*/ 21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 h="21">
                  <a:moveTo>
                    <a:pt x="13" y="21"/>
                  </a:moveTo>
                  <a:cubicBezTo>
                    <a:pt x="13" y="21"/>
                    <a:pt x="13" y="21"/>
                    <a:pt x="13" y="21"/>
                  </a:cubicBezTo>
                  <a:cubicBezTo>
                    <a:pt x="12" y="21"/>
                    <a:pt x="12" y="21"/>
                    <a:pt x="11" y="20"/>
                  </a:cubicBezTo>
                  <a:cubicBezTo>
                    <a:pt x="0" y="4"/>
                    <a:pt x="0" y="4"/>
                    <a:pt x="0" y="4"/>
                  </a:cubicBezTo>
                  <a:cubicBezTo>
                    <a:pt x="0" y="3"/>
                    <a:pt x="0" y="1"/>
                    <a:pt x="1" y="1"/>
                  </a:cubicBezTo>
                  <a:cubicBezTo>
                    <a:pt x="2" y="0"/>
                    <a:pt x="3" y="0"/>
                    <a:pt x="4" y="1"/>
                  </a:cubicBezTo>
                  <a:cubicBezTo>
                    <a:pt x="13" y="16"/>
                    <a:pt x="13" y="16"/>
                    <a:pt x="13" y="16"/>
                  </a:cubicBezTo>
                  <a:cubicBezTo>
                    <a:pt x="24" y="2"/>
                    <a:pt x="24" y="2"/>
                    <a:pt x="24" y="2"/>
                  </a:cubicBezTo>
                  <a:cubicBezTo>
                    <a:pt x="25" y="2"/>
                    <a:pt x="26" y="1"/>
                    <a:pt x="27" y="2"/>
                  </a:cubicBezTo>
                  <a:cubicBezTo>
                    <a:pt x="28" y="3"/>
                    <a:pt x="28" y="4"/>
                    <a:pt x="27" y="5"/>
                  </a:cubicBezTo>
                  <a:cubicBezTo>
                    <a:pt x="15" y="20"/>
                    <a:pt x="15" y="20"/>
                    <a:pt x="15" y="20"/>
                  </a:cubicBezTo>
                  <a:cubicBezTo>
                    <a:pt x="14" y="21"/>
                    <a:pt x="14" y="21"/>
                    <a:pt x="13"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ea typeface="+mn-ea"/>
                <a:cs typeface="+mn-cs"/>
              </a:endParaRPr>
            </a:p>
          </p:txBody>
        </p:sp>
        <p:sp>
          <p:nvSpPr>
            <p:cNvPr id="192" name="Freeform 132"/>
            <p:cNvSpPr>
              <a:spLocks/>
            </p:cNvSpPr>
            <p:nvPr/>
          </p:nvSpPr>
          <p:spPr bwMode="auto">
            <a:xfrm>
              <a:off x="8080375" y="1020762"/>
              <a:ext cx="255588" cy="195263"/>
            </a:xfrm>
            <a:custGeom>
              <a:avLst/>
              <a:gdLst>
                <a:gd name="T0" fmla="*/ 4 w 66"/>
                <a:gd name="T1" fmla="*/ 50 h 50"/>
                <a:gd name="T2" fmla="*/ 2 w 66"/>
                <a:gd name="T3" fmla="*/ 48 h 50"/>
                <a:gd name="T4" fmla="*/ 7 w 66"/>
                <a:gd name="T5" fmla="*/ 20 h 50"/>
                <a:gd name="T6" fmla="*/ 30 w 66"/>
                <a:gd name="T7" fmla="*/ 3 h 50"/>
                <a:gd name="T8" fmla="*/ 65 w 66"/>
                <a:gd name="T9" fmla="*/ 14 h 50"/>
                <a:gd name="T10" fmla="*/ 65 w 66"/>
                <a:gd name="T11" fmla="*/ 17 h 50"/>
                <a:gd name="T12" fmla="*/ 62 w 66"/>
                <a:gd name="T13" fmla="*/ 17 h 50"/>
                <a:gd name="T14" fmla="*/ 31 w 66"/>
                <a:gd name="T15" fmla="*/ 7 h 50"/>
                <a:gd name="T16" fmla="*/ 10 w 66"/>
                <a:gd name="T17" fmla="*/ 22 h 50"/>
                <a:gd name="T18" fmla="*/ 6 w 66"/>
                <a:gd name="T19" fmla="*/ 47 h 50"/>
                <a:gd name="T20" fmla="*/ 4 w 66"/>
                <a:gd name="T21" fmla="*/ 50 h 50"/>
                <a:gd name="T22" fmla="*/ 4 w 66"/>
                <a:gd name="T23" fmla="*/ 5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6" h="50">
                  <a:moveTo>
                    <a:pt x="4" y="50"/>
                  </a:moveTo>
                  <a:cubicBezTo>
                    <a:pt x="3" y="50"/>
                    <a:pt x="2" y="49"/>
                    <a:pt x="2" y="48"/>
                  </a:cubicBezTo>
                  <a:cubicBezTo>
                    <a:pt x="0" y="39"/>
                    <a:pt x="1" y="28"/>
                    <a:pt x="7" y="20"/>
                  </a:cubicBezTo>
                  <a:cubicBezTo>
                    <a:pt x="12" y="11"/>
                    <a:pt x="20" y="5"/>
                    <a:pt x="30" y="3"/>
                  </a:cubicBezTo>
                  <a:cubicBezTo>
                    <a:pt x="43" y="0"/>
                    <a:pt x="56" y="4"/>
                    <a:pt x="65" y="14"/>
                  </a:cubicBezTo>
                  <a:cubicBezTo>
                    <a:pt x="66" y="15"/>
                    <a:pt x="66" y="16"/>
                    <a:pt x="65" y="17"/>
                  </a:cubicBezTo>
                  <a:cubicBezTo>
                    <a:pt x="64" y="18"/>
                    <a:pt x="63" y="18"/>
                    <a:pt x="62" y="17"/>
                  </a:cubicBezTo>
                  <a:cubicBezTo>
                    <a:pt x="54" y="8"/>
                    <a:pt x="42" y="4"/>
                    <a:pt x="31" y="7"/>
                  </a:cubicBezTo>
                  <a:cubicBezTo>
                    <a:pt x="22" y="9"/>
                    <a:pt x="15" y="14"/>
                    <a:pt x="10" y="22"/>
                  </a:cubicBezTo>
                  <a:cubicBezTo>
                    <a:pt x="5" y="30"/>
                    <a:pt x="4" y="39"/>
                    <a:pt x="6" y="47"/>
                  </a:cubicBezTo>
                  <a:cubicBezTo>
                    <a:pt x="6" y="48"/>
                    <a:pt x="5" y="49"/>
                    <a:pt x="4" y="50"/>
                  </a:cubicBezTo>
                  <a:cubicBezTo>
                    <a:pt x="4" y="50"/>
                    <a:pt x="4" y="50"/>
                    <a:pt x="4" y="5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ea typeface="+mn-ea"/>
                <a:cs typeface="+mn-cs"/>
              </a:endParaRPr>
            </a:p>
          </p:txBody>
        </p:sp>
        <p:sp>
          <p:nvSpPr>
            <p:cNvPr id="193" name="Freeform 133"/>
            <p:cNvSpPr>
              <a:spLocks/>
            </p:cNvSpPr>
            <p:nvPr/>
          </p:nvSpPr>
          <p:spPr bwMode="auto">
            <a:xfrm>
              <a:off x="8301038" y="1122363"/>
              <a:ext cx="109538" cy="82550"/>
            </a:xfrm>
            <a:custGeom>
              <a:avLst/>
              <a:gdLst>
                <a:gd name="T0" fmla="*/ 26 w 28"/>
                <a:gd name="T1" fmla="*/ 21 h 21"/>
                <a:gd name="T2" fmla="*/ 24 w 28"/>
                <a:gd name="T3" fmla="*/ 20 h 21"/>
                <a:gd name="T4" fmla="*/ 15 w 28"/>
                <a:gd name="T5" fmla="*/ 5 h 21"/>
                <a:gd name="T6" fmla="*/ 4 w 28"/>
                <a:gd name="T7" fmla="*/ 19 h 21"/>
                <a:gd name="T8" fmla="*/ 1 w 28"/>
                <a:gd name="T9" fmla="*/ 19 h 21"/>
                <a:gd name="T10" fmla="*/ 1 w 28"/>
                <a:gd name="T11" fmla="*/ 16 h 21"/>
                <a:gd name="T12" fmla="*/ 13 w 28"/>
                <a:gd name="T13" fmla="*/ 1 h 21"/>
                <a:gd name="T14" fmla="*/ 15 w 28"/>
                <a:gd name="T15" fmla="*/ 0 h 21"/>
                <a:gd name="T16" fmla="*/ 17 w 28"/>
                <a:gd name="T17" fmla="*/ 1 h 21"/>
                <a:gd name="T18" fmla="*/ 28 w 28"/>
                <a:gd name="T19" fmla="*/ 17 h 21"/>
                <a:gd name="T20" fmla="*/ 27 w 28"/>
                <a:gd name="T21" fmla="*/ 20 h 21"/>
                <a:gd name="T22" fmla="*/ 26 w 28"/>
                <a:gd name="T23" fmla="*/ 21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 h="21">
                  <a:moveTo>
                    <a:pt x="26" y="21"/>
                  </a:moveTo>
                  <a:cubicBezTo>
                    <a:pt x="25" y="21"/>
                    <a:pt x="25" y="20"/>
                    <a:pt x="24" y="20"/>
                  </a:cubicBezTo>
                  <a:cubicBezTo>
                    <a:pt x="15" y="5"/>
                    <a:pt x="15" y="5"/>
                    <a:pt x="15" y="5"/>
                  </a:cubicBezTo>
                  <a:cubicBezTo>
                    <a:pt x="4" y="19"/>
                    <a:pt x="4" y="19"/>
                    <a:pt x="4" y="19"/>
                  </a:cubicBezTo>
                  <a:cubicBezTo>
                    <a:pt x="3" y="19"/>
                    <a:pt x="2" y="20"/>
                    <a:pt x="1" y="19"/>
                  </a:cubicBezTo>
                  <a:cubicBezTo>
                    <a:pt x="0" y="18"/>
                    <a:pt x="0" y="17"/>
                    <a:pt x="1" y="16"/>
                  </a:cubicBezTo>
                  <a:cubicBezTo>
                    <a:pt x="13" y="1"/>
                    <a:pt x="13" y="1"/>
                    <a:pt x="13" y="1"/>
                  </a:cubicBezTo>
                  <a:cubicBezTo>
                    <a:pt x="14" y="0"/>
                    <a:pt x="14" y="0"/>
                    <a:pt x="15" y="0"/>
                  </a:cubicBezTo>
                  <a:cubicBezTo>
                    <a:pt x="16" y="0"/>
                    <a:pt x="16" y="0"/>
                    <a:pt x="17" y="1"/>
                  </a:cubicBezTo>
                  <a:cubicBezTo>
                    <a:pt x="28" y="17"/>
                    <a:pt x="28" y="17"/>
                    <a:pt x="28" y="17"/>
                  </a:cubicBezTo>
                  <a:cubicBezTo>
                    <a:pt x="28" y="18"/>
                    <a:pt x="28" y="20"/>
                    <a:pt x="27" y="20"/>
                  </a:cubicBezTo>
                  <a:cubicBezTo>
                    <a:pt x="27" y="20"/>
                    <a:pt x="27" y="21"/>
                    <a:pt x="26"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ea typeface="+mn-ea"/>
                <a:cs typeface="+mn-cs"/>
              </a:endParaRPr>
            </a:p>
          </p:txBody>
        </p:sp>
        <p:sp>
          <p:nvSpPr>
            <p:cNvPr id="194" name="Freeform 134"/>
            <p:cNvSpPr>
              <a:spLocks/>
            </p:cNvSpPr>
            <p:nvPr/>
          </p:nvSpPr>
          <p:spPr bwMode="auto">
            <a:xfrm>
              <a:off x="8120063" y="1122363"/>
              <a:ext cx="255588" cy="187325"/>
            </a:xfrm>
            <a:custGeom>
              <a:avLst/>
              <a:gdLst>
                <a:gd name="T0" fmla="*/ 28 w 66"/>
                <a:gd name="T1" fmla="*/ 48 h 48"/>
                <a:gd name="T2" fmla="*/ 1 w 66"/>
                <a:gd name="T3" fmla="*/ 36 h 48"/>
                <a:gd name="T4" fmla="*/ 1 w 66"/>
                <a:gd name="T5" fmla="*/ 33 h 48"/>
                <a:gd name="T6" fmla="*/ 4 w 66"/>
                <a:gd name="T7" fmla="*/ 33 h 48"/>
                <a:gd name="T8" fmla="*/ 35 w 66"/>
                <a:gd name="T9" fmla="*/ 43 h 48"/>
                <a:gd name="T10" fmla="*/ 56 w 66"/>
                <a:gd name="T11" fmla="*/ 28 h 48"/>
                <a:gd name="T12" fmla="*/ 60 w 66"/>
                <a:gd name="T13" fmla="*/ 3 h 48"/>
                <a:gd name="T14" fmla="*/ 62 w 66"/>
                <a:gd name="T15" fmla="*/ 0 h 48"/>
                <a:gd name="T16" fmla="*/ 64 w 66"/>
                <a:gd name="T17" fmla="*/ 2 h 48"/>
                <a:gd name="T18" fmla="*/ 59 w 66"/>
                <a:gd name="T19" fmla="*/ 30 h 48"/>
                <a:gd name="T20" fmla="*/ 36 w 66"/>
                <a:gd name="T21" fmla="*/ 47 h 48"/>
                <a:gd name="T22" fmla="*/ 28 w 66"/>
                <a:gd name="T23"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6" h="48">
                  <a:moveTo>
                    <a:pt x="28" y="48"/>
                  </a:moveTo>
                  <a:cubicBezTo>
                    <a:pt x="18" y="48"/>
                    <a:pt x="8" y="44"/>
                    <a:pt x="1" y="36"/>
                  </a:cubicBezTo>
                  <a:cubicBezTo>
                    <a:pt x="0" y="35"/>
                    <a:pt x="0" y="34"/>
                    <a:pt x="1" y="33"/>
                  </a:cubicBezTo>
                  <a:cubicBezTo>
                    <a:pt x="2" y="32"/>
                    <a:pt x="3" y="32"/>
                    <a:pt x="4" y="33"/>
                  </a:cubicBezTo>
                  <a:cubicBezTo>
                    <a:pt x="12" y="42"/>
                    <a:pt x="24" y="46"/>
                    <a:pt x="35" y="43"/>
                  </a:cubicBezTo>
                  <a:cubicBezTo>
                    <a:pt x="44" y="41"/>
                    <a:pt x="51" y="36"/>
                    <a:pt x="56" y="28"/>
                  </a:cubicBezTo>
                  <a:cubicBezTo>
                    <a:pt x="61" y="20"/>
                    <a:pt x="62" y="11"/>
                    <a:pt x="60" y="3"/>
                  </a:cubicBezTo>
                  <a:cubicBezTo>
                    <a:pt x="60" y="2"/>
                    <a:pt x="60" y="1"/>
                    <a:pt x="62" y="0"/>
                  </a:cubicBezTo>
                  <a:cubicBezTo>
                    <a:pt x="63" y="0"/>
                    <a:pt x="64" y="1"/>
                    <a:pt x="64" y="2"/>
                  </a:cubicBezTo>
                  <a:cubicBezTo>
                    <a:pt x="66" y="11"/>
                    <a:pt x="65" y="22"/>
                    <a:pt x="59" y="30"/>
                  </a:cubicBezTo>
                  <a:cubicBezTo>
                    <a:pt x="54" y="39"/>
                    <a:pt x="46" y="45"/>
                    <a:pt x="36" y="47"/>
                  </a:cubicBezTo>
                  <a:cubicBezTo>
                    <a:pt x="34" y="48"/>
                    <a:pt x="31" y="48"/>
                    <a:pt x="28" y="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ea typeface="+mn-ea"/>
                <a:cs typeface="+mn-cs"/>
              </a:endParaRPr>
            </a:p>
          </p:txBody>
        </p:sp>
        <p:sp>
          <p:nvSpPr>
            <p:cNvPr id="195" name="Freeform 135"/>
            <p:cNvSpPr>
              <a:spLocks noEditPoints="1"/>
            </p:cNvSpPr>
            <p:nvPr/>
          </p:nvSpPr>
          <p:spPr bwMode="auto">
            <a:xfrm>
              <a:off x="8189913" y="1130300"/>
              <a:ext cx="76200" cy="77788"/>
            </a:xfrm>
            <a:custGeom>
              <a:avLst/>
              <a:gdLst>
                <a:gd name="T0" fmla="*/ 10 w 20"/>
                <a:gd name="T1" fmla="*/ 20 h 20"/>
                <a:gd name="T2" fmla="*/ 0 w 20"/>
                <a:gd name="T3" fmla="*/ 10 h 20"/>
                <a:gd name="T4" fmla="*/ 10 w 20"/>
                <a:gd name="T5" fmla="*/ 0 h 20"/>
                <a:gd name="T6" fmla="*/ 20 w 20"/>
                <a:gd name="T7" fmla="*/ 10 h 20"/>
                <a:gd name="T8" fmla="*/ 10 w 20"/>
                <a:gd name="T9" fmla="*/ 20 h 20"/>
                <a:gd name="T10" fmla="*/ 10 w 20"/>
                <a:gd name="T11" fmla="*/ 4 h 20"/>
                <a:gd name="T12" fmla="*/ 4 w 20"/>
                <a:gd name="T13" fmla="*/ 10 h 20"/>
                <a:gd name="T14" fmla="*/ 10 w 20"/>
                <a:gd name="T15" fmla="*/ 16 h 20"/>
                <a:gd name="T16" fmla="*/ 16 w 20"/>
                <a:gd name="T17" fmla="*/ 10 h 20"/>
                <a:gd name="T18" fmla="*/ 10 w 20"/>
                <a:gd name="T19" fmla="*/ 4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 h="20">
                  <a:moveTo>
                    <a:pt x="10" y="20"/>
                  </a:moveTo>
                  <a:cubicBezTo>
                    <a:pt x="4" y="20"/>
                    <a:pt x="0" y="16"/>
                    <a:pt x="0" y="10"/>
                  </a:cubicBezTo>
                  <a:cubicBezTo>
                    <a:pt x="0" y="4"/>
                    <a:pt x="4" y="0"/>
                    <a:pt x="10" y="0"/>
                  </a:cubicBezTo>
                  <a:cubicBezTo>
                    <a:pt x="16" y="0"/>
                    <a:pt x="20" y="4"/>
                    <a:pt x="20" y="10"/>
                  </a:cubicBezTo>
                  <a:cubicBezTo>
                    <a:pt x="20" y="16"/>
                    <a:pt x="16" y="20"/>
                    <a:pt x="10" y="20"/>
                  </a:cubicBezTo>
                  <a:close/>
                  <a:moveTo>
                    <a:pt x="10" y="4"/>
                  </a:moveTo>
                  <a:cubicBezTo>
                    <a:pt x="7" y="4"/>
                    <a:pt x="4" y="7"/>
                    <a:pt x="4" y="10"/>
                  </a:cubicBezTo>
                  <a:cubicBezTo>
                    <a:pt x="4" y="13"/>
                    <a:pt x="7" y="16"/>
                    <a:pt x="10" y="16"/>
                  </a:cubicBezTo>
                  <a:cubicBezTo>
                    <a:pt x="13" y="16"/>
                    <a:pt x="16" y="13"/>
                    <a:pt x="16" y="10"/>
                  </a:cubicBezTo>
                  <a:cubicBezTo>
                    <a:pt x="16" y="7"/>
                    <a:pt x="13" y="4"/>
                    <a:pt x="10"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ea typeface="+mn-ea"/>
                <a:cs typeface="+mn-cs"/>
              </a:endParaRPr>
            </a:p>
          </p:txBody>
        </p:sp>
      </p:grpSp>
      <p:grpSp>
        <p:nvGrpSpPr>
          <p:cNvPr id="188" name="Group 187"/>
          <p:cNvGrpSpPr/>
          <p:nvPr/>
        </p:nvGrpSpPr>
        <p:grpSpPr>
          <a:xfrm>
            <a:off x="1774889" y="4047934"/>
            <a:ext cx="3771388" cy="487263"/>
            <a:chOff x="949864" y="3145757"/>
            <a:chExt cx="3219685" cy="415983"/>
          </a:xfrm>
        </p:grpSpPr>
        <p:sp>
          <p:nvSpPr>
            <p:cNvPr id="189" name="TextBox 188"/>
            <p:cNvSpPr txBox="1"/>
            <p:nvPr/>
          </p:nvSpPr>
          <p:spPr>
            <a:xfrm>
              <a:off x="949864" y="3145757"/>
              <a:ext cx="1312030" cy="141182"/>
            </a:xfrm>
            <a:prstGeom prst="rect">
              <a:avLst/>
            </a:prstGeom>
            <a:noFill/>
            <a:ln w="6350">
              <a:noFill/>
              <a:prstDash val="dash"/>
            </a:ln>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effectLst/>
                  <a:uLnTx/>
                  <a:uFillTx/>
                  <a:ea typeface="+mn-ea"/>
                  <a:cs typeface="+mn-cs"/>
                </a:rPr>
                <a:t>YOUR PROCESS</a:t>
              </a:r>
            </a:p>
          </p:txBody>
        </p:sp>
        <p:sp>
          <p:nvSpPr>
            <p:cNvPr id="190" name="TextBox 189"/>
            <p:cNvSpPr txBox="1"/>
            <p:nvPr/>
          </p:nvSpPr>
          <p:spPr>
            <a:xfrm>
              <a:off x="949864" y="3279375"/>
              <a:ext cx="3219685" cy="282365"/>
            </a:xfrm>
            <a:prstGeom prst="rect">
              <a:avLst/>
            </a:prstGeom>
            <a:noFill/>
            <a:ln w="6350">
              <a:noFill/>
              <a:prstDash val="dash"/>
            </a:ln>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effectLst/>
                  <a:uLnTx/>
                  <a:uFillTx/>
                  <a:ea typeface="+mn-ea"/>
                  <a:cs typeface="+mn-cs"/>
                </a:rPr>
                <a:t>Lorem </a:t>
              </a:r>
              <a:r>
                <a:rPr kumimoji="0" lang="en-US" sz="1000" b="0" i="0" u="none" strike="noStrike" kern="1200" cap="none" spc="0" normalizeH="0" baseline="0" noProof="0" dirty="0" err="1">
                  <a:ln>
                    <a:noFill/>
                  </a:ln>
                  <a:effectLst/>
                  <a:uLnTx/>
                  <a:uFillTx/>
                  <a:ea typeface="+mn-ea"/>
                  <a:cs typeface="+mn-cs"/>
                </a:rPr>
                <a:t>Ipsum</a:t>
              </a:r>
              <a:r>
                <a:rPr kumimoji="0" lang="en-US" sz="1000" b="0" i="0" u="none" strike="noStrike" kern="1200" cap="none" spc="0" normalizeH="0" baseline="0" noProof="0" dirty="0">
                  <a:ln>
                    <a:noFill/>
                  </a:ln>
                  <a:effectLst/>
                  <a:uLnTx/>
                  <a:uFillTx/>
                  <a:ea typeface="+mn-ea"/>
                  <a:cs typeface="+mn-cs"/>
                </a:rPr>
                <a:t> is simply dummy text of the printing and typesetting industry.</a:t>
              </a:r>
            </a:p>
          </p:txBody>
        </p:sp>
      </p:grpSp>
      <p:grpSp>
        <p:nvGrpSpPr>
          <p:cNvPr id="131" name="Group 130"/>
          <p:cNvGrpSpPr/>
          <p:nvPr/>
        </p:nvGrpSpPr>
        <p:grpSpPr>
          <a:xfrm>
            <a:off x="1773817" y="4720612"/>
            <a:ext cx="3771387" cy="487263"/>
            <a:chOff x="949864" y="3145757"/>
            <a:chExt cx="3219685" cy="415983"/>
          </a:xfrm>
        </p:grpSpPr>
        <p:sp>
          <p:nvSpPr>
            <p:cNvPr id="185" name="TextBox 184"/>
            <p:cNvSpPr txBox="1"/>
            <p:nvPr/>
          </p:nvSpPr>
          <p:spPr>
            <a:xfrm>
              <a:off x="949864" y="3145757"/>
              <a:ext cx="701838" cy="141182"/>
            </a:xfrm>
            <a:prstGeom prst="rect">
              <a:avLst/>
            </a:prstGeom>
            <a:noFill/>
            <a:ln w="6350">
              <a:noFill/>
              <a:prstDash val="dash"/>
            </a:ln>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effectLst/>
                  <a:uLnTx/>
                  <a:uFillTx/>
                  <a:ea typeface="+mn-ea"/>
                  <a:cs typeface="+mn-cs"/>
                </a:rPr>
                <a:t>CUSTOMER</a:t>
              </a:r>
            </a:p>
          </p:txBody>
        </p:sp>
        <p:sp>
          <p:nvSpPr>
            <p:cNvPr id="186" name="TextBox 185"/>
            <p:cNvSpPr txBox="1"/>
            <p:nvPr/>
          </p:nvSpPr>
          <p:spPr>
            <a:xfrm>
              <a:off x="949864" y="3279375"/>
              <a:ext cx="3219685" cy="282365"/>
            </a:xfrm>
            <a:prstGeom prst="rect">
              <a:avLst/>
            </a:prstGeom>
            <a:noFill/>
            <a:ln w="6350">
              <a:noFill/>
              <a:prstDash val="dash"/>
            </a:ln>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effectLst/>
                  <a:uLnTx/>
                  <a:uFillTx/>
                  <a:ea typeface="+mn-ea"/>
                  <a:cs typeface="+mn-cs"/>
                </a:rPr>
                <a:t>Lorem </a:t>
              </a:r>
              <a:r>
                <a:rPr kumimoji="0" lang="en-US" sz="1000" b="0" i="0" u="none" strike="noStrike" kern="1200" cap="none" spc="0" normalizeH="0" baseline="0" noProof="0" dirty="0" err="1">
                  <a:ln>
                    <a:noFill/>
                  </a:ln>
                  <a:effectLst/>
                  <a:uLnTx/>
                  <a:uFillTx/>
                  <a:ea typeface="+mn-ea"/>
                  <a:cs typeface="+mn-cs"/>
                </a:rPr>
                <a:t>Ipsum</a:t>
              </a:r>
              <a:r>
                <a:rPr kumimoji="0" lang="en-US" sz="1000" b="0" i="0" u="none" strike="noStrike" kern="1200" cap="none" spc="0" normalizeH="0" baseline="0" noProof="0" dirty="0">
                  <a:ln>
                    <a:noFill/>
                  </a:ln>
                  <a:effectLst/>
                  <a:uLnTx/>
                  <a:uFillTx/>
                  <a:ea typeface="+mn-ea"/>
                  <a:cs typeface="+mn-cs"/>
                </a:rPr>
                <a:t> is simply dummy text of the printing and typesetting industry.</a:t>
              </a:r>
            </a:p>
          </p:txBody>
        </p:sp>
      </p:grpSp>
      <p:grpSp>
        <p:nvGrpSpPr>
          <p:cNvPr id="132" name="Group 131"/>
          <p:cNvGrpSpPr>
            <a:grpSpLocks noChangeAspect="1"/>
          </p:cNvGrpSpPr>
          <p:nvPr/>
        </p:nvGrpSpPr>
        <p:grpSpPr>
          <a:xfrm>
            <a:off x="1296436" y="4720612"/>
            <a:ext cx="361833" cy="316820"/>
            <a:chOff x="7548563" y="349250"/>
            <a:chExt cx="3317876" cy="2905126"/>
          </a:xfrm>
          <a:solidFill>
            <a:srgbClr val="78D2D2"/>
          </a:solidFill>
        </p:grpSpPr>
        <p:sp>
          <p:nvSpPr>
            <p:cNvPr id="133" name="Freeform 139"/>
            <p:cNvSpPr>
              <a:spLocks noEditPoints="1"/>
            </p:cNvSpPr>
            <p:nvPr/>
          </p:nvSpPr>
          <p:spPr bwMode="auto">
            <a:xfrm>
              <a:off x="7548563" y="1316038"/>
              <a:ext cx="831850" cy="1384300"/>
            </a:xfrm>
            <a:custGeom>
              <a:avLst/>
              <a:gdLst>
                <a:gd name="T0" fmla="*/ 165 w 221"/>
                <a:gd name="T1" fmla="*/ 368 h 368"/>
                <a:gd name="T2" fmla="*/ 55 w 221"/>
                <a:gd name="T3" fmla="*/ 368 h 368"/>
                <a:gd name="T4" fmla="*/ 37 w 221"/>
                <a:gd name="T5" fmla="*/ 350 h 368"/>
                <a:gd name="T6" fmla="*/ 37 w 221"/>
                <a:gd name="T7" fmla="*/ 200 h 368"/>
                <a:gd name="T8" fmla="*/ 0 w 221"/>
                <a:gd name="T9" fmla="*/ 129 h 368"/>
                <a:gd name="T10" fmla="*/ 0 w 221"/>
                <a:gd name="T11" fmla="*/ 19 h 368"/>
                <a:gd name="T12" fmla="*/ 18 w 221"/>
                <a:gd name="T13" fmla="*/ 0 h 368"/>
                <a:gd name="T14" fmla="*/ 202 w 221"/>
                <a:gd name="T15" fmla="*/ 0 h 368"/>
                <a:gd name="T16" fmla="*/ 221 w 221"/>
                <a:gd name="T17" fmla="*/ 19 h 368"/>
                <a:gd name="T18" fmla="*/ 221 w 221"/>
                <a:gd name="T19" fmla="*/ 129 h 368"/>
                <a:gd name="T20" fmla="*/ 184 w 221"/>
                <a:gd name="T21" fmla="*/ 200 h 368"/>
                <a:gd name="T22" fmla="*/ 184 w 221"/>
                <a:gd name="T23" fmla="*/ 350 h 368"/>
                <a:gd name="T24" fmla="*/ 165 w 221"/>
                <a:gd name="T25" fmla="*/ 368 h 368"/>
                <a:gd name="T26" fmla="*/ 74 w 221"/>
                <a:gd name="T27" fmla="*/ 331 h 368"/>
                <a:gd name="T28" fmla="*/ 147 w 221"/>
                <a:gd name="T29" fmla="*/ 331 h 368"/>
                <a:gd name="T30" fmla="*/ 147 w 221"/>
                <a:gd name="T31" fmla="*/ 184 h 368"/>
                <a:gd name="T32" fmla="*/ 165 w 221"/>
                <a:gd name="T33" fmla="*/ 166 h 368"/>
                <a:gd name="T34" fmla="*/ 184 w 221"/>
                <a:gd name="T35" fmla="*/ 129 h 368"/>
                <a:gd name="T36" fmla="*/ 184 w 221"/>
                <a:gd name="T37" fmla="*/ 37 h 368"/>
                <a:gd name="T38" fmla="*/ 37 w 221"/>
                <a:gd name="T39" fmla="*/ 37 h 368"/>
                <a:gd name="T40" fmla="*/ 37 w 221"/>
                <a:gd name="T41" fmla="*/ 129 h 368"/>
                <a:gd name="T42" fmla="*/ 55 w 221"/>
                <a:gd name="T43" fmla="*/ 166 h 368"/>
                <a:gd name="T44" fmla="*/ 74 w 221"/>
                <a:gd name="T45" fmla="*/ 184 h 368"/>
                <a:gd name="T46" fmla="*/ 74 w 221"/>
                <a:gd name="T47" fmla="*/ 331 h 3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21" h="368">
                  <a:moveTo>
                    <a:pt x="165" y="368"/>
                  </a:moveTo>
                  <a:cubicBezTo>
                    <a:pt x="55" y="368"/>
                    <a:pt x="55" y="368"/>
                    <a:pt x="55" y="368"/>
                  </a:cubicBezTo>
                  <a:cubicBezTo>
                    <a:pt x="45" y="368"/>
                    <a:pt x="37" y="360"/>
                    <a:pt x="37" y="350"/>
                  </a:cubicBezTo>
                  <a:cubicBezTo>
                    <a:pt x="37" y="200"/>
                    <a:pt x="37" y="200"/>
                    <a:pt x="37" y="200"/>
                  </a:cubicBezTo>
                  <a:cubicBezTo>
                    <a:pt x="12" y="193"/>
                    <a:pt x="0" y="169"/>
                    <a:pt x="0" y="129"/>
                  </a:cubicBezTo>
                  <a:cubicBezTo>
                    <a:pt x="0" y="19"/>
                    <a:pt x="0" y="19"/>
                    <a:pt x="0" y="19"/>
                  </a:cubicBezTo>
                  <a:cubicBezTo>
                    <a:pt x="0" y="9"/>
                    <a:pt x="8" y="0"/>
                    <a:pt x="18" y="0"/>
                  </a:cubicBezTo>
                  <a:cubicBezTo>
                    <a:pt x="202" y="0"/>
                    <a:pt x="202" y="0"/>
                    <a:pt x="202" y="0"/>
                  </a:cubicBezTo>
                  <a:cubicBezTo>
                    <a:pt x="212" y="0"/>
                    <a:pt x="221" y="9"/>
                    <a:pt x="221" y="19"/>
                  </a:cubicBezTo>
                  <a:cubicBezTo>
                    <a:pt x="221" y="129"/>
                    <a:pt x="221" y="129"/>
                    <a:pt x="221" y="129"/>
                  </a:cubicBezTo>
                  <a:cubicBezTo>
                    <a:pt x="221" y="169"/>
                    <a:pt x="208" y="193"/>
                    <a:pt x="184" y="200"/>
                  </a:cubicBezTo>
                  <a:cubicBezTo>
                    <a:pt x="184" y="350"/>
                    <a:pt x="184" y="350"/>
                    <a:pt x="184" y="350"/>
                  </a:cubicBezTo>
                  <a:cubicBezTo>
                    <a:pt x="184" y="360"/>
                    <a:pt x="176" y="368"/>
                    <a:pt x="165" y="368"/>
                  </a:cubicBezTo>
                  <a:close/>
                  <a:moveTo>
                    <a:pt x="74" y="331"/>
                  </a:moveTo>
                  <a:cubicBezTo>
                    <a:pt x="147" y="331"/>
                    <a:pt x="147" y="331"/>
                    <a:pt x="147" y="331"/>
                  </a:cubicBezTo>
                  <a:cubicBezTo>
                    <a:pt x="147" y="184"/>
                    <a:pt x="147" y="184"/>
                    <a:pt x="147" y="184"/>
                  </a:cubicBezTo>
                  <a:cubicBezTo>
                    <a:pt x="147" y="174"/>
                    <a:pt x="155" y="166"/>
                    <a:pt x="165" y="166"/>
                  </a:cubicBezTo>
                  <a:cubicBezTo>
                    <a:pt x="174" y="166"/>
                    <a:pt x="184" y="166"/>
                    <a:pt x="184" y="129"/>
                  </a:cubicBezTo>
                  <a:cubicBezTo>
                    <a:pt x="184" y="37"/>
                    <a:pt x="184" y="37"/>
                    <a:pt x="184" y="37"/>
                  </a:cubicBezTo>
                  <a:cubicBezTo>
                    <a:pt x="37" y="37"/>
                    <a:pt x="37" y="37"/>
                    <a:pt x="37" y="37"/>
                  </a:cubicBezTo>
                  <a:cubicBezTo>
                    <a:pt x="37" y="129"/>
                    <a:pt x="37" y="129"/>
                    <a:pt x="37" y="129"/>
                  </a:cubicBezTo>
                  <a:cubicBezTo>
                    <a:pt x="37" y="166"/>
                    <a:pt x="47" y="166"/>
                    <a:pt x="55" y="166"/>
                  </a:cubicBezTo>
                  <a:cubicBezTo>
                    <a:pt x="65" y="166"/>
                    <a:pt x="74" y="174"/>
                    <a:pt x="74" y="184"/>
                  </a:cubicBezTo>
                  <a:lnTo>
                    <a:pt x="74" y="3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ea typeface="+mn-ea"/>
                <a:cs typeface="+mn-cs"/>
              </a:endParaRPr>
            </a:p>
          </p:txBody>
        </p:sp>
        <p:sp>
          <p:nvSpPr>
            <p:cNvPr id="134" name="Freeform 140"/>
            <p:cNvSpPr>
              <a:spLocks noEditPoints="1"/>
            </p:cNvSpPr>
            <p:nvPr/>
          </p:nvSpPr>
          <p:spPr bwMode="auto">
            <a:xfrm>
              <a:off x="10039351" y="1316038"/>
              <a:ext cx="827088" cy="1384300"/>
            </a:xfrm>
            <a:custGeom>
              <a:avLst/>
              <a:gdLst>
                <a:gd name="T0" fmla="*/ 165 w 220"/>
                <a:gd name="T1" fmla="*/ 368 h 368"/>
                <a:gd name="T2" fmla="*/ 55 w 220"/>
                <a:gd name="T3" fmla="*/ 368 h 368"/>
                <a:gd name="T4" fmla="*/ 36 w 220"/>
                <a:gd name="T5" fmla="*/ 350 h 368"/>
                <a:gd name="T6" fmla="*/ 36 w 220"/>
                <a:gd name="T7" fmla="*/ 200 h 368"/>
                <a:gd name="T8" fmla="*/ 0 w 220"/>
                <a:gd name="T9" fmla="*/ 129 h 368"/>
                <a:gd name="T10" fmla="*/ 0 w 220"/>
                <a:gd name="T11" fmla="*/ 19 h 368"/>
                <a:gd name="T12" fmla="*/ 18 w 220"/>
                <a:gd name="T13" fmla="*/ 0 h 368"/>
                <a:gd name="T14" fmla="*/ 202 w 220"/>
                <a:gd name="T15" fmla="*/ 0 h 368"/>
                <a:gd name="T16" fmla="*/ 220 w 220"/>
                <a:gd name="T17" fmla="*/ 19 h 368"/>
                <a:gd name="T18" fmla="*/ 220 w 220"/>
                <a:gd name="T19" fmla="*/ 129 h 368"/>
                <a:gd name="T20" fmla="*/ 184 w 220"/>
                <a:gd name="T21" fmla="*/ 200 h 368"/>
                <a:gd name="T22" fmla="*/ 184 w 220"/>
                <a:gd name="T23" fmla="*/ 350 h 368"/>
                <a:gd name="T24" fmla="*/ 165 w 220"/>
                <a:gd name="T25" fmla="*/ 368 h 368"/>
                <a:gd name="T26" fmla="*/ 73 w 220"/>
                <a:gd name="T27" fmla="*/ 331 h 368"/>
                <a:gd name="T28" fmla="*/ 147 w 220"/>
                <a:gd name="T29" fmla="*/ 331 h 368"/>
                <a:gd name="T30" fmla="*/ 147 w 220"/>
                <a:gd name="T31" fmla="*/ 184 h 368"/>
                <a:gd name="T32" fmla="*/ 165 w 220"/>
                <a:gd name="T33" fmla="*/ 166 h 368"/>
                <a:gd name="T34" fmla="*/ 184 w 220"/>
                <a:gd name="T35" fmla="*/ 129 h 368"/>
                <a:gd name="T36" fmla="*/ 184 w 220"/>
                <a:gd name="T37" fmla="*/ 37 h 368"/>
                <a:gd name="T38" fmla="*/ 36 w 220"/>
                <a:gd name="T39" fmla="*/ 37 h 368"/>
                <a:gd name="T40" fmla="*/ 36 w 220"/>
                <a:gd name="T41" fmla="*/ 129 h 368"/>
                <a:gd name="T42" fmla="*/ 55 w 220"/>
                <a:gd name="T43" fmla="*/ 166 h 368"/>
                <a:gd name="T44" fmla="*/ 73 w 220"/>
                <a:gd name="T45" fmla="*/ 184 h 368"/>
                <a:gd name="T46" fmla="*/ 73 w 220"/>
                <a:gd name="T47" fmla="*/ 331 h 3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20" h="368">
                  <a:moveTo>
                    <a:pt x="165" y="368"/>
                  </a:moveTo>
                  <a:cubicBezTo>
                    <a:pt x="55" y="368"/>
                    <a:pt x="55" y="368"/>
                    <a:pt x="55" y="368"/>
                  </a:cubicBezTo>
                  <a:cubicBezTo>
                    <a:pt x="45" y="368"/>
                    <a:pt x="36" y="360"/>
                    <a:pt x="36" y="350"/>
                  </a:cubicBezTo>
                  <a:cubicBezTo>
                    <a:pt x="36" y="200"/>
                    <a:pt x="36" y="200"/>
                    <a:pt x="36" y="200"/>
                  </a:cubicBezTo>
                  <a:cubicBezTo>
                    <a:pt x="12" y="193"/>
                    <a:pt x="0" y="169"/>
                    <a:pt x="0" y="129"/>
                  </a:cubicBezTo>
                  <a:cubicBezTo>
                    <a:pt x="0" y="19"/>
                    <a:pt x="0" y="19"/>
                    <a:pt x="0" y="19"/>
                  </a:cubicBezTo>
                  <a:cubicBezTo>
                    <a:pt x="0" y="9"/>
                    <a:pt x="8" y="0"/>
                    <a:pt x="18" y="0"/>
                  </a:cubicBezTo>
                  <a:cubicBezTo>
                    <a:pt x="202" y="0"/>
                    <a:pt x="202" y="0"/>
                    <a:pt x="202" y="0"/>
                  </a:cubicBezTo>
                  <a:cubicBezTo>
                    <a:pt x="212" y="0"/>
                    <a:pt x="220" y="9"/>
                    <a:pt x="220" y="19"/>
                  </a:cubicBezTo>
                  <a:cubicBezTo>
                    <a:pt x="220" y="129"/>
                    <a:pt x="220" y="129"/>
                    <a:pt x="220" y="129"/>
                  </a:cubicBezTo>
                  <a:cubicBezTo>
                    <a:pt x="220" y="169"/>
                    <a:pt x="208" y="193"/>
                    <a:pt x="184" y="200"/>
                  </a:cubicBezTo>
                  <a:cubicBezTo>
                    <a:pt x="184" y="350"/>
                    <a:pt x="184" y="350"/>
                    <a:pt x="184" y="350"/>
                  </a:cubicBezTo>
                  <a:cubicBezTo>
                    <a:pt x="184" y="360"/>
                    <a:pt x="175" y="368"/>
                    <a:pt x="165" y="368"/>
                  </a:cubicBezTo>
                  <a:close/>
                  <a:moveTo>
                    <a:pt x="73" y="331"/>
                  </a:moveTo>
                  <a:cubicBezTo>
                    <a:pt x="147" y="331"/>
                    <a:pt x="147" y="331"/>
                    <a:pt x="147" y="331"/>
                  </a:cubicBezTo>
                  <a:cubicBezTo>
                    <a:pt x="147" y="184"/>
                    <a:pt x="147" y="184"/>
                    <a:pt x="147" y="184"/>
                  </a:cubicBezTo>
                  <a:cubicBezTo>
                    <a:pt x="147" y="174"/>
                    <a:pt x="155" y="166"/>
                    <a:pt x="165" y="166"/>
                  </a:cubicBezTo>
                  <a:cubicBezTo>
                    <a:pt x="173" y="166"/>
                    <a:pt x="183" y="166"/>
                    <a:pt x="184" y="129"/>
                  </a:cubicBezTo>
                  <a:cubicBezTo>
                    <a:pt x="184" y="37"/>
                    <a:pt x="184" y="37"/>
                    <a:pt x="184" y="37"/>
                  </a:cubicBezTo>
                  <a:cubicBezTo>
                    <a:pt x="36" y="37"/>
                    <a:pt x="36" y="37"/>
                    <a:pt x="36" y="37"/>
                  </a:cubicBezTo>
                  <a:cubicBezTo>
                    <a:pt x="36" y="129"/>
                    <a:pt x="36" y="129"/>
                    <a:pt x="36" y="129"/>
                  </a:cubicBezTo>
                  <a:cubicBezTo>
                    <a:pt x="36" y="166"/>
                    <a:pt x="47" y="166"/>
                    <a:pt x="55" y="166"/>
                  </a:cubicBezTo>
                  <a:cubicBezTo>
                    <a:pt x="65" y="166"/>
                    <a:pt x="73" y="174"/>
                    <a:pt x="73" y="184"/>
                  </a:cubicBezTo>
                  <a:lnTo>
                    <a:pt x="73" y="3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ea typeface="+mn-ea"/>
                <a:cs typeface="+mn-cs"/>
              </a:endParaRPr>
            </a:p>
          </p:txBody>
        </p:sp>
        <p:sp>
          <p:nvSpPr>
            <p:cNvPr id="135" name="Freeform 141"/>
            <p:cNvSpPr>
              <a:spLocks noEditPoints="1"/>
            </p:cNvSpPr>
            <p:nvPr/>
          </p:nvSpPr>
          <p:spPr bwMode="auto">
            <a:xfrm>
              <a:off x="8655051" y="1316038"/>
              <a:ext cx="1104900" cy="1938338"/>
            </a:xfrm>
            <a:custGeom>
              <a:avLst/>
              <a:gdLst>
                <a:gd name="T0" fmla="*/ 202 w 294"/>
                <a:gd name="T1" fmla="*/ 515 h 515"/>
                <a:gd name="T2" fmla="*/ 92 w 294"/>
                <a:gd name="T3" fmla="*/ 515 h 515"/>
                <a:gd name="T4" fmla="*/ 74 w 294"/>
                <a:gd name="T5" fmla="*/ 497 h 515"/>
                <a:gd name="T6" fmla="*/ 74 w 294"/>
                <a:gd name="T7" fmla="*/ 293 h 515"/>
                <a:gd name="T8" fmla="*/ 0 w 294"/>
                <a:gd name="T9" fmla="*/ 203 h 515"/>
                <a:gd name="T10" fmla="*/ 0 w 294"/>
                <a:gd name="T11" fmla="*/ 19 h 515"/>
                <a:gd name="T12" fmla="*/ 18 w 294"/>
                <a:gd name="T13" fmla="*/ 0 h 515"/>
                <a:gd name="T14" fmla="*/ 276 w 294"/>
                <a:gd name="T15" fmla="*/ 0 h 515"/>
                <a:gd name="T16" fmla="*/ 294 w 294"/>
                <a:gd name="T17" fmla="*/ 19 h 515"/>
                <a:gd name="T18" fmla="*/ 294 w 294"/>
                <a:gd name="T19" fmla="*/ 203 h 515"/>
                <a:gd name="T20" fmla="*/ 221 w 294"/>
                <a:gd name="T21" fmla="*/ 293 h 515"/>
                <a:gd name="T22" fmla="*/ 221 w 294"/>
                <a:gd name="T23" fmla="*/ 497 h 515"/>
                <a:gd name="T24" fmla="*/ 202 w 294"/>
                <a:gd name="T25" fmla="*/ 515 h 515"/>
                <a:gd name="T26" fmla="*/ 110 w 294"/>
                <a:gd name="T27" fmla="*/ 478 h 515"/>
                <a:gd name="T28" fmla="*/ 184 w 294"/>
                <a:gd name="T29" fmla="*/ 478 h 515"/>
                <a:gd name="T30" fmla="*/ 184 w 294"/>
                <a:gd name="T31" fmla="*/ 276 h 515"/>
                <a:gd name="T32" fmla="*/ 202 w 294"/>
                <a:gd name="T33" fmla="*/ 258 h 515"/>
                <a:gd name="T34" fmla="*/ 257 w 294"/>
                <a:gd name="T35" fmla="*/ 203 h 515"/>
                <a:gd name="T36" fmla="*/ 257 w 294"/>
                <a:gd name="T37" fmla="*/ 37 h 515"/>
                <a:gd name="T38" fmla="*/ 37 w 294"/>
                <a:gd name="T39" fmla="*/ 37 h 515"/>
                <a:gd name="T40" fmla="*/ 37 w 294"/>
                <a:gd name="T41" fmla="*/ 203 h 515"/>
                <a:gd name="T42" fmla="*/ 92 w 294"/>
                <a:gd name="T43" fmla="*/ 258 h 515"/>
                <a:gd name="T44" fmla="*/ 110 w 294"/>
                <a:gd name="T45" fmla="*/ 276 h 515"/>
                <a:gd name="T46" fmla="*/ 110 w 294"/>
                <a:gd name="T47" fmla="*/ 478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94" h="515">
                  <a:moveTo>
                    <a:pt x="202" y="515"/>
                  </a:moveTo>
                  <a:cubicBezTo>
                    <a:pt x="92" y="515"/>
                    <a:pt x="92" y="515"/>
                    <a:pt x="92" y="515"/>
                  </a:cubicBezTo>
                  <a:cubicBezTo>
                    <a:pt x="82" y="515"/>
                    <a:pt x="74" y="507"/>
                    <a:pt x="74" y="497"/>
                  </a:cubicBezTo>
                  <a:cubicBezTo>
                    <a:pt x="74" y="293"/>
                    <a:pt x="74" y="293"/>
                    <a:pt x="74" y="293"/>
                  </a:cubicBezTo>
                  <a:cubicBezTo>
                    <a:pt x="32" y="284"/>
                    <a:pt x="0" y="247"/>
                    <a:pt x="0" y="203"/>
                  </a:cubicBezTo>
                  <a:cubicBezTo>
                    <a:pt x="0" y="19"/>
                    <a:pt x="0" y="19"/>
                    <a:pt x="0" y="19"/>
                  </a:cubicBezTo>
                  <a:cubicBezTo>
                    <a:pt x="0" y="9"/>
                    <a:pt x="8" y="0"/>
                    <a:pt x="18" y="0"/>
                  </a:cubicBezTo>
                  <a:cubicBezTo>
                    <a:pt x="276" y="0"/>
                    <a:pt x="276" y="0"/>
                    <a:pt x="276" y="0"/>
                  </a:cubicBezTo>
                  <a:cubicBezTo>
                    <a:pt x="286" y="0"/>
                    <a:pt x="294" y="9"/>
                    <a:pt x="294" y="19"/>
                  </a:cubicBezTo>
                  <a:cubicBezTo>
                    <a:pt x="294" y="203"/>
                    <a:pt x="294" y="203"/>
                    <a:pt x="294" y="203"/>
                  </a:cubicBezTo>
                  <a:cubicBezTo>
                    <a:pt x="294" y="247"/>
                    <a:pt x="263" y="284"/>
                    <a:pt x="221" y="293"/>
                  </a:cubicBezTo>
                  <a:cubicBezTo>
                    <a:pt x="221" y="497"/>
                    <a:pt x="221" y="497"/>
                    <a:pt x="221" y="497"/>
                  </a:cubicBezTo>
                  <a:cubicBezTo>
                    <a:pt x="221" y="507"/>
                    <a:pt x="212" y="515"/>
                    <a:pt x="202" y="515"/>
                  </a:cubicBezTo>
                  <a:close/>
                  <a:moveTo>
                    <a:pt x="110" y="478"/>
                  </a:moveTo>
                  <a:cubicBezTo>
                    <a:pt x="184" y="478"/>
                    <a:pt x="184" y="478"/>
                    <a:pt x="184" y="478"/>
                  </a:cubicBezTo>
                  <a:cubicBezTo>
                    <a:pt x="184" y="276"/>
                    <a:pt x="184" y="276"/>
                    <a:pt x="184" y="276"/>
                  </a:cubicBezTo>
                  <a:cubicBezTo>
                    <a:pt x="184" y="266"/>
                    <a:pt x="192" y="258"/>
                    <a:pt x="202" y="258"/>
                  </a:cubicBezTo>
                  <a:cubicBezTo>
                    <a:pt x="233" y="258"/>
                    <a:pt x="257" y="233"/>
                    <a:pt x="257" y="203"/>
                  </a:cubicBezTo>
                  <a:cubicBezTo>
                    <a:pt x="257" y="37"/>
                    <a:pt x="257" y="37"/>
                    <a:pt x="257" y="37"/>
                  </a:cubicBezTo>
                  <a:cubicBezTo>
                    <a:pt x="37" y="37"/>
                    <a:pt x="37" y="37"/>
                    <a:pt x="37" y="37"/>
                  </a:cubicBezTo>
                  <a:cubicBezTo>
                    <a:pt x="37" y="203"/>
                    <a:pt x="37" y="203"/>
                    <a:pt x="37" y="203"/>
                  </a:cubicBezTo>
                  <a:cubicBezTo>
                    <a:pt x="37" y="233"/>
                    <a:pt x="62" y="258"/>
                    <a:pt x="92" y="258"/>
                  </a:cubicBezTo>
                  <a:cubicBezTo>
                    <a:pt x="102" y="258"/>
                    <a:pt x="110" y="266"/>
                    <a:pt x="110" y="276"/>
                  </a:cubicBezTo>
                  <a:lnTo>
                    <a:pt x="110" y="47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ea typeface="+mn-ea"/>
                <a:cs typeface="+mn-cs"/>
              </a:endParaRPr>
            </a:p>
          </p:txBody>
        </p:sp>
        <p:sp>
          <p:nvSpPr>
            <p:cNvPr id="182" name="Freeform 142"/>
            <p:cNvSpPr>
              <a:spLocks noEditPoints="1"/>
            </p:cNvSpPr>
            <p:nvPr/>
          </p:nvSpPr>
          <p:spPr bwMode="auto">
            <a:xfrm>
              <a:off x="7688263" y="627063"/>
              <a:ext cx="552450" cy="554038"/>
            </a:xfrm>
            <a:custGeom>
              <a:avLst/>
              <a:gdLst>
                <a:gd name="T0" fmla="*/ 73 w 147"/>
                <a:gd name="T1" fmla="*/ 147 h 147"/>
                <a:gd name="T2" fmla="*/ 0 w 147"/>
                <a:gd name="T3" fmla="*/ 73 h 147"/>
                <a:gd name="T4" fmla="*/ 73 w 147"/>
                <a:gd name="T5" fmla="*/ 0 h 147"/>
                <a:gd name="T6" fmla="*/ 147 w 147"/>
                <a:gd name="T7" fmla="*/ 73 h 147"/>
                <a:gd name="T8" fmla="*/ 73 w 147"/>
                <a:gd name="T9" fmla="*/ 147 h 147"/>
                <a:gd name="T10" fmla="*/ 73 w 147"/>
                <a:gd name="T11" fmla="*/ 36 h 147"/>
                <a:gd name="T12" fmla="*/ 37 w 147"/>
                <a:gd name="T13" fmla="*/ 73 h 147"/>
                <a:gd name="T14" fmla="*/ 73 w 147"/>
                <a:gd name="T15" fmla="*/ 110 h 147"/>
                <a:gd name="T16" fmla="*/ 110 w 147"/>
                <a:gd name="T17" fmla="*/ 73 h 147"/>
                <a:gd name="T18" fmla="*/ 73 w 147"/>
                <a:gd name="T19" fmla="*/ 36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7" h="147">
                  <a:moveTo>
                    <a:pt x="73" y="147"/>
                  </a:moveTo>
                  <a:cubicBezTo>
                    <a:pt x="33" y="147"/>
                    <a:pt x="0" y="114"/>
                    <a:pt x="0" y="73"/>
                  </a:cubicBezTo>
                  <a:cubicBezTo>
                    <a:pt x="0" y="32"/>
                    <a:pt x="33" y="0"/>
                    <a:pt x="73" y="0"/>
                  </a:cubicBezTo>
                  <a:cubicBezTo>
                    <a:pt x="114" y="0"/>
                    <a:pt x="147" y="32"/>
                    <a:pt x="147" y="73"/>
                  </a:cubicBezTo>
                  <a:cubicBezTo>
                    <a:pt x="147" y="114"/>
                    <a:pt x="114" y="147"/>
                    <a:pt x="73" y="147"/>
                  </a:cubicBezTo>
                  <a:close/>
                  <a:moveTo>
                    <a:pt x="73" y="36"/>
                  </a:moveTo>
                  <a:cubicBezTo>
                    <a:pt x="53" y="36"/>
                    <a:pt x="37" y="53"/>
                    <a:pt x="37" y="73"/>
                  </a:cubicBezTo>
                  <a:cubicBezTo>
                    <a:pt x="37" y="93"/>
                    <a:pt x="53" y="110"/>
                    <a:pt x="73" y="110"/>
                  </a:cubicBezTo>
                  <a:cubicBezTo>
                    <a:pt x="94" y="110"/>
                    <a:pt x="110" y="93"/>
                    <a:pt x="110" y="73"/>
                  </a:cubicBezTo>
                  <a:cubicBezTo>
                    <a:pt x="110" y="53"/>
                    <a:pt x="94" y="36"/>
                    <a:pt x="73"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ea typeface="+mn-ea"/>
                <a:cs typeface="+mn-cs"/>
              </a:endParaRPr>
            </a:p>
          </p:txBody>
        </p:sp>
        <p:sp>
          <p:nvSpPr>
            <p:cNvPr id="183" name="Freeform 143"/>
            <p:cNvSpPr>
              <a:spLocks noEditPoints="1"/>
            </p:cNvSpPr>
            <p:nvPr/>
          </p:nvSpPr>
          <p:spPr bwMode="auto">
            <a:xfrm>
              <a:off x="10174288" y="627063"/>
              <a:ext cx="557213" cy="554038"/>
            </a:xfrm>
            <a:custGeom>
              <a:avLst/>
              <a:gdLst>
                <a:gd name="T0" fmla="*/ 74 w 148"/>
                <a:gd name="T1" fmla="*/ 147 h 147"/>
                <a:gd name="T2" fmla="*/ 0 w 148"/>
                <a:gd name="T3" fmla="*/ 73 h 147"/>
                <a:gd name="T4" fmla="*/ 74 w 148"/>
                <a:gd name="T5" fmla="*/ 0 h 147"/>
                <a:gd name="T6" fmla="*/ 148 w 148"/>
                <a:gd name="T7" fmla="*/ 73 h 147"/>
                <a:gd name="T8" fmla="*/ 74 w 148"/>
                <a:gd name="T9" fmla="*/ 147 h 147"/>
                <a:gd name="T10" fmla="*/ 74 w 148"/>
                <a:gd name="T11" fmla="*/ 36 h 147"/>
                <a:gd name="T12" fmla="*/ 37 w 148"/>
                <a:gd name="T13" fmla="*/ 73 h 147"/>
                <a:gd name="T14" fmla="*/ 74 w 148"/>
                <a:gd name="T15" fmla="*/ 110 h 147"/>
                <a:gd name="T16" fmla="*/ 111 w 148"/>
                <a:gd name="T17" fmla="*/ 73 h 147"/>
                <a:gd name="T18" fmla="*/ 74 w 148"/>
                <a:gd name="T19" fmla="*/ 36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8" h="147">
                  <a:moveTo>
                    <a:pt x="74" y="147"/>
                  </a:moveTo>
                  <a:cubicBezTo>
                    <a:pt x="33" y="147"/>
                    <a:pt x="0" y="114"/>
                    <a:pt x="0" y="73"/>
                  </a:cubicBezTo>
                  <a:cubicBezTo>
                    <a:pt x="0" y="32"/>
                    <a:pt x="33" y="0"/>
                    <a:pt x="74" y="0"/>
                  </a:cubicBezTo>
                  <a:cubicBezTo>
                    <a:pt x="115" y="0"/>
                    <a:pt x="148" y="32"/>
                    <a:pt x="148" y="73"/>
                  </a:cubicBezTo>
                  <a:cubicBezTo>
                    <a:pt x="148" y="114"/>
                    <a:pt x="115" y="147"/>
                    <a:pt x="74" y="147"/>
                  </a:cubicBezTo>
                  <a:close/>
                  <a:moveTo>
                    <a:pt x="74" y="36"/>
                  </a:moveTo>
                  <a:cubicBezTo>
                    <a:pt x="54" y="36"/>
                    <a:pt x="37" y="53"/>
                    <a:pt x="37" y="73"/>
                  </a:cubicBezTo>
                  <a:cubicBezTo>
                    <a:pt x="37" y="93"/>
                    <a:pt x="54" y="110"/>
                    <a:pt x="74" y="110"/>
                  </a:cubicBezTo>
                  <a:cubicBezTo>
                    <a:pt x="94" y="110"/>
                    <a:pt x="111" y="93"/>
                    <a:pt x="111" y="73"/>
                  </a:cubicBezTo>
                  <a:cubicBezTo>
                    <a:pt x="111" y="53"/>
                    <a:pt x="94" y="36"/>
                    <a:pt x="7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ea typeface="+mn-ea"/>
                <a:cs typeface="+mn-cs"/>
              </a:endParaRPr>
            </a:p>
          </p:txBody>
        </p:sp>
        <p:sp>
          <p:nvSpPr>
            <p:cNvPr id="184" name="Freeform 144"/>
            <p:cNvSpPr>
              <a:spLocks noEditPoints="1"/>
            </p:cNvSpPr>
            <p:nvPr/>
          </p:nvSpPr>
          <p:spPr bwMode="auto">
            <a:xfrm>
              <a:off x="8793163" y="349250"/>
              <a:ext cx="828675" cy="831850"/>
            </a:xfrm>
            <a:custGeom>
              <a:avLst/>
              <a:gdLst>
                <a:gd name="T0" fmla="*/ 110 w 220"/>
                <a:gd name="T1" fmla="*/ 221 h 221"/>
                <a:gd name="T2" fmla="*/ 0 w 220"/>
                <a:gd name="T3" fmla="*/ 110 h 221"/>
                <a:gd name="T4" fmla="*/ 110 w 220"/>
                <a:gd name="T5" fmla="*/ 0 h 221"/>
                <a:gd name="T6" fmla="*/ 220 w 220"/>
                <a:gd name="T7" fmla="*/ 110 h 221"/>
                <a:gd name="T8" fmla="*/ 110 w 220"/>
                <a:gd name="T9" fmla="*/ 221 h 221"/>
                <a:gd name="T10" fmla="*/ 110 w 220"/>
                <a:gd name="T11" fmla="*/ 37 h 221"/>
                <a:gd name="T12" fmla="*/ 37 w 220"/>
                <a:gd name="T13" fmla="*/ 110 h 221"/>
                <a:gd name="T14" fmla="*/ 110 w 220"/>
                <a:gd name="T15" fmla="*/ 184 h 221"/>
                <a:gd name="T16" fmla="*/ 184 w 220"/>
                <a:gd name="T17" fmla="*/ 110 h 221"/>
                <a:gd name="T18" fmla="*/ 110 w 220"/>
                <a:gd name="T19" fmla="*/ 37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0" h="221">
                  <a:moveTo>
                    <a:pt x="110" y="221"/>
                  </a:moveTo>
                  <a:cubicBezTo>
                    <a:pt x="49" y="221"/>
                    <a:pt x="0" y="171"/>
                    <a:pt x="0" y="110"/>
                  </a:cubicBezTo>
                  <a:cubicBezTo>
                    <a:pt x="0" y="49"/>
                    <a:pt x="49" y="0"/>
                    <a:pt x="110" y="0"/>
                  </a:cubicBezTo>
                  <a:cubicBezTo>
                    <a:pt x="171" y="0"/>
                    <a:pt x="220" y="49"/>
                    <a:pt x="220" y="110"/>
                  </a:cubicBezTo>
                  <a:cubicBezTo>
                    <a:pt x="220" y="171"/>
                    <a:pt x="171" y="221"/>
                    <a:pt x="110" y="221"/>
                  </a:cubicBezTo>
                  <a:close/>
                  <a:moveTo>
                    <a:pt x="110" y="37"/>
                  </a:moveTo>
                  <a:cubicBezTo>
                    <a:pt x="70" y="37"/>
                    <a:pt x="37" y="70"/>
                    <a:pt x="37" y="110"/>
                  </a:cubicBezTo>
                  <a:cubicBezTo>
                    <a:pt x="37" y="151"/>
                    <a:pt x="70" y="184"/>
                    <a:pt x="110" y="184"/>
                  </a:cubicBezTo>
                  <a:cubicBezTo>
                    <a:pt x="151" y="184"/>
                    <a:pt x="184" y="151"/>
                    <a:pt x="184" y="110"/>
                  </a:cubicBezTo>
                  <a:cubicBezTo>
                    <a:pt x="184" y="70"/>
                    <a:pt x="151" y="37"/>
                    <a:pt x="110" y="3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ea typeface="+mn-ea"/>
                <a:cs typeface="+mn-cs"/>
              </a:endParaRPr>
            </a:p>
          </p:txBody>
        </p:sp>
      </p:grpSp>
      <p:cxnSp>
        <p:nvCxnSpPr>
          <p:cNvPr id="129" name="Straight Connector 128"/>
          <p:cNvCxnSpPr/>
          <p:nvPr/>
        </p:nvCxnSpPr>
        <p:spPr>
          <a:xfrm>
            <a:off x="1296436" y="3970111"/>
            <a:ext cx="4319110" cy="0"/>
          </a:xfrm>
          <a:prstGeom prst="line">
            <a:avLst/>
          </a:prstGeom>
          <a:ln w="6350">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cxnSp>
        <p:nvCxnSpPr>
          <p:cNvPr id="130" name="Straight Connector 129"/>
          <p:cNvCxnSpPr/>
          <p:nvPr/>
        </p:nvCxnSpPr>
        <p:spPr>
          <a:xfrm>
            <a:off x="1296436" y="4642787"/>
            <a:ext cx="4319110" cy="0"/>
          </a:xfrm>
          <a:prstGeom prst="line">
            <a:avLst/>
          </a:prstGeom>
          <a:ln w="6350">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5" name="Text Placeholder 4"/>
          <p:cNvSpPr>
            <a:spLocks noGrp="1"/>
          </p:cNvSpPr>
          <p:nvPr>
            <p:ph type="body" sz="quarter" idx="13"/>
          </p:nvPr>
        </p:nvSpPr>
        <p:spPr/>
        <p:txBody>
          <a:bodyPr/>
          <a:lstStyle/>
          <a:p>
            <a:r>
              <a:rPr lang="en-US" dirty="0"/>
              <a:t>PowerPoint Presentation</a:t>
            </a:r>
          </a:p>
        </p:txBody>
      </p:sp>
    </p:spTree>
    <p:extLst>
      <p:ext uri="{BB962C8B-B14F-4D97-AF65-F5344CB8AC3E}">
        <p14:creationId xmlns:p14="http://schemas.microsoft.com/office/powerpoint/2010/main" val="219031882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3"/>
          </p:nvPr>
        </p:nvSpPr>
        <p:spPr/>
        <p:txBody>
          <a:bodyPr/>
          <a:lstStyle/>
          <a:p>
            <a:r>
              <a:rPr lang="en-US" dirty="0"/>
              <a:t>PowerPoint Presentation</a:t>
            </a:r>
          </a:p>
        </p:txBody>
      </p:sp>
      <p:sp>
        <p:nvSpPr>
          <p:cNvPr id="3" name="Date Placeholder 2"/>
          <p:cNvSpPr>
            <a:spLocks noGrp="1"/>
          </p:cNvSpPr>
          <p:nvPr>
            <p:ph type="dt" sz="half" idx="10"/>
          </p:nvPr>
        </p:nvSpPr>
        <p:spPr/>
        <p:txBody>
          <a:bodyPr/>
          <a:lstStyle/>
          <a:p>
            <a:fld id="{C9852138-FCC6-44DD-9FFC-1C789392E7AA}" type="datetime1">
              <a:rPr lang="en-US" smtClean="0"/>
              <a:t>10/28/2022</a:t>
            </a:fld>
            <a:endParaRPr lang="en-US"/>
          </a:p>
        </p:txBody>
      </p:sp>
      <p:sp>
        <p:nvSpPr>
          <p:cNvPr id="4" name="Slide Number Placeholder 3"/>
          <p:cNvSpPr>
            <a:spLocks noGrp="1"/>
          </p:cNvSpPr>
          <p:nvPr>
            <p:ph type="sldNum" sz="quarter" idx="12"/>
          </p:nvPr>
        </p:nvSpPr>
        <p:spPr/>
        <p:txBody>
          <a:bodyPr/>
          <a:lstStyle/>
          <a:p>
            <a:fld id="{03206E70-9524-410D-AE9B-78D656EAA14D}" type="slidenum">
              <a:rPr lang="en-US" smtClean="0"/>
              <a:pPr/>
              <a:t>12</a:t>
            </a:fld>
            <a:endParaRPr lang="en-US"/>
          </a:p>
        </p:txBody>
      </p:sp>
      <p:sp>
        <p:nvSpPr>
          <p:cNvPr id="7" name="TextBox 6"/>
          <p:cNvSpPr txBox="1"/>
          <p:nvPr/>
        </p:nvSpPr>
        <p:spPr>
          <a:xfrm>
            <a:off x="2061330" y="2103881"/>
            <a:ext cx="534112" cy="493100"/>
          </a:xfrm>
          <a:prstGeom prst="rect">
            <a:avLst/>
          </a:prstGeom>
          <a:noFill/>
          <a:ln w="6350">
            <a:noFill/>
            <a:prstDash val="dash"/>
          </a:ln>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dirty="0">
                <a:ln>
                  <a:noFill/>
                </a:ln>
                <a:solidFill>
                  <a:srgbClr val="AFABAB"/>
                </a:solidFill>
                <a:effectLst/>
                <a:uLnTx/>
                <a:uFillTx/>
                <a:ea typeface="+mn-ea"/>
                <a:cs typeface="+mn-cs"/>
              </a:rPr>
              <a:t>02</a:t>
            </a:r>
          </a:p>
        </p:txBody>
      </p:sp>
      <p:sp>
        <p:nvSpPr>
          <p:cNvPr id="8" name="TextBox 7"/>
          <p:cNvSpPr txBox="1"/>
          <p:nvPr/>
        </p:nvSpPr>
        <p:spPr>
          <a:xfrm>
            <a:off x="2061330" y="1195451"/>
            <a:ext cx="534112" cy="493100"/>
          </a:xfrm>
          <a:prstGeom prst="rect">
            <a:avLst/>
          </a:prstGeom>
          <a:noFill/>
          <a:ln w="6350">
            <a:noFill/>
            <a:prstDash val="dash"/>
          </a:ln>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dirty="0">
                <a:ln>
                  <a:noFill/>
                </a:ln>
                <a:solidFill>
                  <a:srgbClr val="E2583D"/>
                </a:solidFill>
                <a:effectLst/>
                <a:uLnTx/>
                <a:uFillTx/>
                <a:ea typeface="+mn-ea"/>
                <a:cs typeface="+mn-cs"/>
              </a:rPr>
              <a:t>01</a:t>
            </a:r>
          </a:p>
        </p:txBody>
      </p:sp>
      <p:grpSp>
        <p:nvGrpSpPr>
          <p:cNvPr id="9" name="Group 8"/>
          <p:cNvGrpSpPr/>
          <p:nvPr/>
        </p:nvGrpSpPr>
        <p:grpSpPr>
          <a:xfrm>
            <a:off x="5574825" y="1303898"/>
            <a:ext cx="4555846" cy="4783639"/>
            <a:chOff x="2984501" y="1762125"/>
            <a:chExt cx="3175000" cy="3333751"/>
          </a:xfrm>
          <a:effectLst>
            <a:outerShdw blurRad="50800" dist="38100" dir="5400000" algn="t" rotWithShape="0">
              <a:prstClr val="black">
                <a:alpha val="40000"/>
              </a:prstClr>
            </a:outerShdw>
          </a:effectLst>
        </p:grpSpPr>
        <p:sp>
          <p:nvSpPr>
            <p:cNvPr id="10" name="Freeform 5"/>
            <p:cNvSpPr>
              <a:spLocks/>
            </p:cNvSpPr>
            <p:nvPr/>
          </p:nvSpPr>
          <p:spPr bwMode="auto">
            <a:xfrm>
              <a:off x="2984501" y="2657475"/>
              <a:ext cx="1006475" cy="1749425"/>
            </a:xfrm>
            <a:custGeom>
              <a:avLst/>
              <a:gdLst>
                <a:gd name="T0" fmla="*/ 167 w 267"/>
                <a:gd name="T1" fmla="*/ 465 h 465"/>
                <a:gd name="T2" fmla="*/ 20 w 267"/>
                <a:gd name="T3" fmla="*/ 289 h 465"/>
                <a:gd name="T4" fmla="*/ 267 w 267"/>
                <a:gd name="T5" fmla="*/ 0 h 465"/>
                <a:gd name="T6" fmla="*/ 143 w 267"/>
                <a:gd name="T7" fmla="*/ 250 h 465"/>
                <a:gd name="T8" fmla="*/ 167 w 267"/>
                <a:gd name="T9" fmla="*/ 465 h 465"/>
              </a:gdLst>
              <a:ahLst/>
              <a:cxnLst>
                <a:cxn ang="0">
                  <a:pos x="T0" y="T1"/>
                </a:cxn>
                <a:cxn ang="0">
                  <a:pos x="T2" y="T3"/>
                </a:cxn>
                <a:cxn ang="0">
                  <a:pos x="T4" y="T5"/>
                </a:cxn>
                <a:cxn ang="0">
                  <a:pos x="T6" y="T7"/>
                </a:cxn>
                <a:cxn ang="0">
                  <a:pos x="T8" y="T9"/>
                </a:cxn>
              </a:cxnLst>
              <a:rect l="0" t="0" r="r" b="b"/>
              <a:pathLst>
                <a:path w="267" h="465">
                  <a:moveTo>
                    <a:pt x="167" y="465"/>
                  </a:moveTo>
                  <a:cubicBezTo>
                    <a:pt x="167" y="465"/>
                    <a:pt x="37" y="424"/>
                    <a:pt x="20" y="289"/>
                  </a:cubicBezTo>
                  <a:cubicBezTo>
                    <a:pt x="0" y="123"/>
                    <a:pt x="267" y="0"/>
                    <a:pt x="267" y="0"/>
                  </a:cubicBezTo>
                  <a:cubicBezTo>
                    <a:pt x="267" y="0"/>
                    <a:pt x="158" y="136"/>
                    <a:pt x="143" y="250"/>
                  </a:cubicBezTo>
                  <a:cubicBezTo>
                    <a:pt x="126" y="376"/>
                    <a:pt x="167" y="465"/>
                    <a:pt x="167" y="465"/>
                  </a:cubicBezTo>
                  <a:close/>
                </a:path>
              </a:pathLst>
            </a:custGeom>
            <a:solidFill>
              <a:srgbClr val="3B3939"/>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Light"/>
                <a:ea typeface="+mn-ea"/>
                <a:cs typeface="+mn-cs"/>
              </a:endParaRPr>
            </a:p>
          </p:txBody>
        </p:sp>
        <p:sp>
          <p:nvSpPr>
            <p:cNvPr id="11" name="Freeform 6"/>
            <p:cNvSpPr>
              <a:spLocks/>
            </p:cNvSpPr>
            <p:nvPr/>
          </p:nvSpPr>
          <p:spPr bwMode="auto">
            <a:xfrm>
              <a:off x="3132138" y="1901825"/>
              <a:ext cx="1817688" cy="1189038"/>
            </a:xfrm>
            <a:custGeom>
              <a:avLst/>
              <a:gdLst>
                <a:gd name="T0" fmla="*/ 30 w 483"/>
                <a:gd name="T1" fmla="*/ 316 h 316"/>
                <a:gd name="T2" fmla="*/ 109 w 483"/>
                <a:gd name="T3" fmla="*/ 100 h 316"/>
                <a:gd name="T4" fmla="*/ 483 w 483"/>
                <a:gd name="T5" fmla="*/ 170 h 316"/>
                <a:gd name="T6" fmla="*/ 204 w 483"/>
                <a:gd name="T7" fmla="*/ 187 h 316"/>
                <a:gd name="T8" fmla="*/ 30 w 483"/>
                <a:gd name="T9" fmla="*/ 316 h 316"/>
              </a:gdLst>
              <a:ahLst/>
              <a:cxnLst>
                <a:cxn ang="0">
                  <a:pos x="T0" y="T1"/>
                </a:cxn>
                <a:cxn ang="0">
                  <a:pos x="T2" y="T3"/>
                </a:cxn>
                <a:cxn ang="0">
                  <a:pos x="T4" y="T5"/>
                </a:cxn>
                <a:cxn ang="0">
                  <a:pos x="T6" y="T7"/>
                </a:cxn>
                <a:cxn ang="0">
                  <a:pos x="T8" y="T9"/>
                </a:cxn>
              </a:cxnLst>
              <a:rect l="0" t="0" r="r" b="b"/>
              <a:pathLst>
                <a:path w="483" h="316">
                  <a:moveTo>
                    <a:pt x="30" y="316"/>
                  </a:moveTo>
                  <a:cubicBezTo>
                    <a:pt x="30" y="316"/>
                    <a:pt x="0" y="183"/>
                    <a:pt x="109" y="100"/>
                  </a:cubicBezTo>
                  <a:cubicBezTo>
                    <a:pt x="243" y="0"/>
                    <a:pt x="483" y="170"/>
                    <a:pt x="483" y="170"/>
                  </a:cubicBezTo>
                  <a:cubicBezTo>
                    <a:pt x="483" y="170"/>
                    <a:pt x="310" y="143"/>
                    <a:pt x="204" y="187"/>
                  </a:cubicBezTo>
                  <a:cubicBezTo>
                    <a:pt x="87" y="235"/>
                    <a:pt x="30" y="316"/>
                    <a:pt x="30" y="316"/>
                  </a:cubicBezTo>
                  <a:close/>
                </a:path>
              </a:pathLst>
            </a:custGeom>
            <a:solidFill>
              <a:srgbClr val="E2583D"/>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Light"/>
                <a:ea typeface="+mn-ea"/>
                <a:cs typeface="+mn-cs"/>
              </a:endParaRPr>
            </a:p>
          </p:txBody>
        </p:sp>
        <p:sp>
          <p:nvSpPr>
            <p:cNvPr id="12" name="Freeform 7"/>
            <p:cNvSpPr>
              <a:spLocks/>
            </p:cNvSpPr>
            <p:nvPr/>
          </p:nvSpPr>
          <p:spPr bwMode="auto">
            <a:xfrm>
              <a:off x="4200526" y="1762125"/>
              <a:ext cx="1431925" cy="1550988"/>
            </a:xfrm>
            <a:custGeom>
              <a:avLst/>
              <a:gdLst>
                <a:gd name="T0" fmla="*/ 0 w 380"/>
                <a:gd name="T1" fmla="*/ 92 h 412"/>
                <a:gd name="T2" fmla="*/ 227 w 380"/>
                <a:gd name="T3" fmla="*/ 53 h 412"/>
                <a:gd name="T4" fmla="*/ 354 w 380"/>
                <a:gd name="T5" fmla="*/ 412 h 412"/>
                <a:gd name="T6" fmla="*/ 199 w 380"/>
                <a:gd name="T7" fmla="*/ 179 h 412"/>
                <a:gd name="T8" fmla="*/ 0 w 380"/>
                <a:gd name="T9" fmla="*/ 92 h 412"/>
              </a:gdLst>
              <a:ahLst/>
              <a:cxnLst>
                <a:cxn ang="0">
                  <a:pos x="T0" y="T1"/>
                </a:cxn>
                <a:cxn ang="0">
                  <a:pos x="T2" y="T3"/>
                </a:cxn>
                <a:cxn ang="0">
                  <a:pos x="T4" y="T5"/>
                </a:cxn>
                <a:cxn ang="0">
                  <a:pos x="T6" y="T7"/>
                </a:cxn>
                <a:cxn ang="0">
                  <a:pos x="T8" y="T9"/>
                </a:cxn>
              </a:cxnLst>
              <a:rect l="0" t="0" r="r" b="b"/>
              <a:pathLst>
                <a:path w="380" h="412">
                  <a:moveTo>
                    <a:pt x="0" y="92"/>
                  </a:moveTo>
                  <a:cubicBezTo>
                    <a:pt x="0" y="92"/>
                    <a:pt x="101" y="0"/>
                    <a:pt x="227" y="53"/>
                  </a:cubicBezTo>
                  <a:cubicBezTo>
                    <a:pt x="380" y="119"/>
                    <a:pt x="354" y="412"/>
                    <a:pt x="354" y="412"/>
                  </a:cubicBezTo>
                  <a:cubicBezTo>
                    <a:pt x="354" y="412"/>
                    <a:pt x="290" y="249"/>
                    <a:pt x="199" y="179"/>
                  </a:cubicBezTo>
                  <a:cubicBezTo>
                    <a:pt x="99" y="102"/>
                    <a:pt x="0" y="92"/>
                    <a:pt x="0" y="92"/>
                  </a:cubicBezTo>
                  <a:close/>
                </a:path>
              </a:pathLst>
            </a:custGeom>
            <a:solidFill>
              <a:srgbClr val="78D2D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Light"/>
                <a:ea typeface="+mn-ea"/>
                <a:cs typeface="+mn-cs"/>
              </a:endParaRPr>
            </a:p>
          </p:txBody>
        </p:sp>
        <p:sp>
          <p:nvSpPr>
            <p:cNvPr id="13" name="Freeform 8"/>
            <p:cNvSpPr>
              <a:spLocks/>
            </p:cNvSpPr>
            <p:nvPr/>
          </p:nvSpPr>
          <p:spPr bwMode="auto">
            <a:xfrm>
              <a:off x="5153026" y="2451100"/>
              <a:ext cx="1006475" cy="1749425"/>
            </a:xfrm>
            <a:custGeom>
              <a:avLst/>
              <a:gdLst>
                <a:gd name="T0" fmla="*/ 100 w 267"/>
                <a:gd name="T1" fmla="*/ 0 h 465"/>
                <a:gd name="T2" fmla="*/ 247 w 267"/>
                <a:gd name="T3" fmla="*/ 176 h 465"/>
                <a:gd name="T4" fmla="*/ 0 w 267"/>
                <a:gd name="T5" fmla="*/ 465 h 465"/>
                <a:gd name="T6" fmla="*/ 124 w 267"/>
                <a:gd name="T7" fmla="*/ 215 h 465"/>
                <a:gd name="T8" fmla="*/ 100 w 267"/>
                <a:gd name="T9" fmla="*/ 0 h 465"/>
              </a:gdLst>
              <a:ahLst/>
              <a:cxnLst>
                <a:cxn ang="0">
                  <a:pos x="T0" y="T1"/>
                </a:cxn>
                <a:cxn ang="0">
                  <a:pos x="T2" y="T3"/>
                </a:cxn>
                <a:cxn ang="0">
                  <a:pos x="T4" y="T5"/>
                </a:cxn>
                <a:cxn ang="0">
                  <a:pos x="T6" y="T7"/>
                </a:cxn>
                <a:cxn ang="0">
                  <a:pos x="T8" y="T9"/>
                </a:cxn>
              </a:cxnLst>
              <a:rect l="0" t="0" r="r" b="b"/>
              <a:pathLst>
                <a:path w="267" h="465">
                  <a:moveTo>
                    <a:pt x="100" y="0"/>
                  </a:moveTo>
                  <a:cubicBezTo>
                    <a:pt x="100" y="0"/>
                    <a:pt x="230" y="41"/>
                    <a:pt x="247" y="176"/>
                  </a:cubicBezTo>
                  <a:cubicBezTo>
                    <a:pt x="267" y="342"/>
                    <a:pt x="0" y="465"/>
                    <a:pt x="0" y="465"/>
                  </a:cubicBezTo>
                  <a:cubicBezTo>
                    <a:pt x="0" y="465"/>
                    <a:pt x="109" y="329"/>
                    <a:pt x="124" y="215"/>
                  </a:cubicBezTo>
                  <a:cubicBezTo>
                    <a:pt x="141" y="89"/>
                    <a:pt x="100" y="0"/>
                    <a:pt x="100" y="0"/>
                  </a:cubicBezTo>
                  <a:close/>
                </a:path>
              </a:pathLst>
            </a:custGeom>
            <a:solidFill>
              <a:srgbClr val="3B3939"/>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Light"/>
                <a:ea typeface="+mn-ea"/>
                <a:cs typeface="+mn-cs"/>
              </a:endParaRPr>
            </a:p>
          </p:txBody>
        </p:sp>
        <p:sp>
          <p:nvSpPr>
            <p:cNvPr id="14" name="Freeform 9"/>
            <p:cNvSpPr>
              <a:spLocks/>
            </p:cNvSpPr>
            <p:nvPr/>
          </p:nvSpPr>
          <p:spPr bwMode="auto">
            <a:xfrm>
              <a:off x="4194176" y="3767138"/>
              <a:ext cx="1817688" cy="1189038"/>
            </a:xfrm>
            <a:custGeom>
              <a:avLst/>
              <a:gdLst>
                <a:gd name="T0" fmla="*/ 453 w 483"/>
                <a:gd name="T1" fmla="*/ 0 h 316"/>
                <a:gd name="T2" fmla="*/ 374 w 483"/>
                <a:gd name="T3" fmla="*/ 216 h 316"/>
                <a:gd name="T4" fmla="*/ 0 w 483"/>
                <a:gd name="T5" fmla="*/ 146 h 316"/>
                <a:gd name="T6" fmla="*/ 279 w 483"/>
                <a:gd name="T7" fmla="*/ 129 h 316"/>
                <a:gd name="T8" fmla="*/ 453 w 483"/>
                <a:gd name="T9" fmla="*/ 0 h 316"/>
              </a:gdLst>
              <a:ahLst/>
              <a:cxnLst>
                <a:cxn ang="0">
                  <a:pos x="T0" y="T1"/>
                </a:cxn>
                <a:cxn ang="0">
                  <a:pos x="T2" y="T3"/>
                </a:cxn>
                <a:cxn ang="0">
                  <a:pos x="T4" y="T5"/>
                </a:cxn>
                <a:cxn ang="0">
                  <a:pos x="T6" y="T7"/>
                </a:cxn>
                <a:cxn ang="0">
                  <a:pos x="T8" y="T9"/>
                </a:cxn>
              </a:cxnLst>
              <a:rect l="0" t="0" r="r" b="b"/>
              <a:pathLst>
                <a:path w="483" h="316">
                  <a:moveTo>
                    <a:pt x="453" y="0"/>
                  </a:moveTo>
                  <a:cubicBezTo>
                    <a:pt x="453" y="0"/>
                    <a:pt x="483" y="133"/>
                    <a:pt x="374" y="216"/>
                  </a:cubicBezTo>
                  <a:cubicBezTo>
                    <a:pt x="241" y="316"/>
                    <a:pt x="0" y="146"/>
                    <a:pt x="0" y="146"/>
                  </a:cubicBezTo>
                  <a:cubicBezTo>
                    <a:pt x="0" y="146"/>
                    <a:pt x="173" y="173"/>
                    <a:pt x="279" y="129"/>
                  </a:cubicBezTo>
                  <a:cubicBezTo>
                    <a:pt x="396" y="81"/>
                    <a:pt x="453" y="0"/>
                    <a:pt x="453" y="0"/>
                  </a:cubicBezTo>
                  <a:close/>
                </a:path>
              </a:pathLst>
            </a:custGeom>
            <a:solidFill>
              <a:srgbClr val="E2583D"/>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Light"/>
                <a:ea typeface="+mn-ea"/>
                <a:cs typeface="+mn-cs"/>
              </a:endParaRPr>
            </a:p>
          </p:txBody>
        </p:sp>
        <p:sp>
          <p:nvSpPr>
            <p:cNvPr id="15" name="Freeform 10"/>
            <p:cNvSpPr>
              <a:spLocks/>
            </p:cNvSpPr>
            <p:nvPr/>
          </p:nvSpPr>
          <p:spPr bwMode="auto">
            <a:xfrm>
              <a:off x="3511551" y="3544888"/>
              <a:ext cx="1431925" cy="1550988"/>
            </a:xfrm>
            <a:custGeom>
              <a:avLst/>
              <a:gdLst>
                <a:gd name="T0" fmla="*/ 380 w 380"/>
                <a:gd name="T1" fmla="*/ 320 h 412"/>
                <a:gd name="T2" fmla="*/ 153 w 380"/>
                <a:gd name="T3" fmla="*/ 359 h 412"/>
                <a:gd name="T4" fmla="*/ 27 w 380"/>
                <a:gd name="T5" fmla="*/ 0 h 412"/>
                <a:gd name="T6" fmla="*/ 181 w 380"/>
                <a:gd name="T7" fmla="*/ 233 h 412"/>
                <a:gd name="T8" fmla="*/ 380 w 380"/>
                <a:gd name="T9" fmla="*/ 320 h 412"/>
              </a:gdLst>
              <a:ahLst/>
              <a:cxnLst>
                <a:cxn ang="0">
                  <a:pos x="T0" y="T1"/>
                </a:cxn>
                <a:cxn ang="0">
                  <a:pos x="T2" y="T3"/>
                </a:cxn>
                <a:cxn ang="0">
                  <a:pos x="T4" y="T5"/>
                </a:cxn>
                <a:cxn ang="0">
                  <a:pos x="T6" y="T7"/>
                </a:cxn>
                <a:cxn ang="0">
                  <a:pos x="T8" y="T9"/>
                </a:cxn>
              </a:cxnLst>
              <a:rect l="0" t="0" r="r" b="b"/>
              <a:pathLst>
                <a:path w="380" h="412">
                  <a:moveTo>
                    <a:pt x="380" y="320"/>
                  </a:moveTo>
                  <a:cubicBezTo>
                    <a:pt x="380" y="320"/>
                    <a:pt x="279" y="412"/>
                    <a:pt x="153" y="359"/>
                  </a:cubicBezTo>
                  <a:cubicBezTo>
                    <a:pt x="0" y="293"/>
                    <a:pt x="27" y="0"/>
                    <a:pt x="27" y="0"/>
                  </a:cubicBezTo>
                  <a:cubicBezTo>
                    <a:pt x="27" y="0"/>
                    <a:pt x="90" y="163"/>
                    <a:pt x="181" y="233"/>
                  </a:cubicBezTo>
                  <a:cubicBezTo>
                    <a:pt x="282" y="310"/>
                    <a:pt x="380" y="320"/>
                    <a:pt x="380" y="320"/>
                  </a:cubicBezTo>
                  <a:close/>
                </a:path>
              </a:pathLst>
            </a:custGeom>
            <a:solidFill>
              <a:srgbClr val="78D2D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Light"/>
                <a:ea typeface="+mn-ea"/>
                <a:cs typeface="+mn-cs"/>
              </a:endParaRPr>
            </a:p>
          </p:txBody>
        </p:sp>
      </p:grpSp>
      <p:grpSp>
        <p:nvGrpSpPr>
          <p:cNvPr id="16" name="Group 15"/>
          <p:cNvGrpSpPr/>
          <p:nvPr/>
        </p:nvGrpSpPr>
        <p:grpSpPr>
          <a:xfrm>
            <a:off x="6420377" y="2134636"/>
            <a:ext cx="286131" cy="287721"/>
            <a:chOff x="9882188" y="1925638"/>
            <a:chExt cx="285750" cy="287338"/>
          </a:xfrm>
          <a:solidFill>
            <a:schemeClr val="bg1"/>
          </a:solidFill>
        </p:grpSpPr>
        <p:sp>
          <p:nvSpPr>
            <p:cNvPr id="17" name="Freeform 93"/>
            <p:cNvSpPr>
              <a:spLocks noEditPoints="1"/>
            </p:cNvSpPr>
            <p:nvPr/>
          </p:nvSpPr>
          <p:spPr bwMode="auto">
            <a:xfrm>
              <a:off x="9882188" y="1925638"/>
              <a:ext cx="285750" cy="287338"/>
            </a:xfrm>
            <a:custGeom>
              <a:avLst/>
              <a:gdLst>
                <a:gd name="T0" fmla="*/ 872 w 902"/>
                <a:gd name="T1" fmla="*/ 872 h 902"/>
                <a:gd name="T2" fmla="*/ 30 w 902"/>
                <a:gd name="T3" fmla="*/ 872 h 902"/>
                <a:gd name="T4" fmla="*/ 30 w 902"/>
                <a:gd name="T5" fmla="*/ 30 h 902"/>
                <a:gd name="T6" fmla="*/ 872 w 902"/>
                <a:gd name="T7" fmla="*/ 30 h 902"/>
                <a:gd name="T8" fmla="*/ 872 w 902"/>
                <a:gd name="T9" fmla="*/ 872 h 902"/>
                <a:gd name="T10" fmla="*/ 887 w 902"/>
                <a:gd name="T11" fmla="*/ 0 h 902"/>
                <a:gd name="T12" fmla="*/ 15 w 902"/>
                <a:gd name="T13" fmla="*/ 0 h 902"/>
                <a:gd name="T14" fmla="*/ 12 w 902"/>
                <a:gd name="T15" fmla="*/ 0 h 902"/>
                <a:gd name="T16" fmla="*/ 10 w 902"/>
                <a:gd name="T17" fmla="*/ 2 h 902"/>
                <a:gd name="T18" fmla="*/ 6 w 902"/>
                <a:gd name="T19" fmla="*/ 3 h 902"/>
                <a:gd name="T20" fmla="*/ 4 w 902"/>
                <a:gd name="T21" fmla="*/ 5 h 902"/>
                <a:gd name="T22" fmla="*/ 3 w 902"/>
                <a:gd name="T23" fmla="*/ 7 h 902"/>
                <a:gd name="T24" fmla="*/ 1 w 902"/>
                <a:gd name="T25" fmla="*/ 9 h 902"/>
                <a:gd name="T26" fmla="*/ 1 w 902"/>
                <a:gd name="T27" fmla="*/ 12 h 902"/>
                <a:gd name="T28" fmla="*/ 0 w 902"/>
                <a:gd name="T29" fmla="*/ 15 h 902"/>
                <a:gd name="T30" fmla="*/ 0 w 902"/>
                <a:gd name="T31" fmla="*/ 887 h 902"/>
                <a:gd name="T32" fmla="*/ 1 w 902"/>
                <a:gd name="T33" fmla="*/ 891 h 902"/>
                <a:gd name="T34" fmla="*/ 1 w 902"/>
                <a:gd name="T35" fmla="*/ 893 h 902"/>
                <a:gd name="T36" fmla="*/ 3 w 902"/>
                <a:gd name="T37" fmla="*/ 896 h 902"/>
                <a:gd name="T38" fmla="*/ 4 w 902"/>
                <a:gd name="T39" fmla="*/ 898 h 902"/>
                <a:gd name="T40" fmla="*/ 6 w 902"/>
                <a:gd name="T41" fmla="*/ 900 h 902"/>
                <a:gd name="T42" fmla="*/ 10 w 902"/>
                <a:gd name="T43" fmla="*/ 901 h 902"/>
                <a:gd name="T44" fmla="*/ 12 w 902"/>
                <a:gd name="T45" fmla="*/ 902 h 902"/>
                <a:gd name="T46" fmla="*/ 15 w 902"/>
                <a:gd name="T47" fmla="*/ 902 h 902"/>
                <a:gd name="T48" fmla="*/ 887 w 902"/>
                <a:gd name="T49" fmla="*/ 902 h 902"/>
                <a:gd name="T50" fmla="*/ 890 w 902"/>
                <a:gd name="T51" fmla="*/ 902 h 902"/>
                <a:gd name="T52" fmla="*/ 893 w 902"/>
                <a:gd name="T53" fmla="*/ 901 h 902"/>
                <a:gd name="T54" fmla="*/ 896 w 902"/>
                <a:gd name="T55" fmla="*/ 900 h 902"/>
                <a:gd name="T56" fmla="*/ 898 w 902"/>
                <a:gd name="T57" fmla="*/ 898 h 902"/>
                <a:gd name="T58" fmla="*/ 900 w 902"/>
                <a:gd name="T59" fmla="*/ 896 h 902"/>
                <a:gd name="T60" fmla="*/ 901 w 902"/>
                <a:gd name="T61" fmla="*/ 893 h 902"/>
                <a:gd name="T62" fmla="*/ 902 w 902"/>
                <a:gd name="T63" fmla="*/ 891 h 902"/>
                <a:gd name="T64" fmla="*/ 902 w 902"/>
                <a:gd name="T65" fmla="*/ 887 h 902"/>
                <a:gd name="T66" fmla="*/ 902 w 902"/>
                <a:gd name="T67" fmla="*/ 15 h 902"/>
                <a:gd name="T68" fmla="*/ 902 w 902"/>
                <a:gd name="T69" fmla="*/ 12 h 902"/>
                <a:gd name="T70" fmla="*/ 901 w 902"/>
                <a:gd name="T71" fmla="*/ 9 h 902"/>
                <a:gd name="T72" fmla="*/ 900 w 902"/>
                <a:gd name="T73" fmla="*/ 7 h 902"/>
                <a:gd name="T74" fmla="*/ 898 w 902"/>
                <a:gd name="T75" fmla="*/ 5 h 902"/>
                <a:gd name="T76" fmla="*/ 896 w 902"/>
                <a:gd name="T77" fmla="*/ 3 h 902"/>
                <a:gd name="T78" fmla="*/ 893 w 902"/>
                <a:gd name="T79" fmla="*/ 2 h 902"/>
                <a:gd name="T80" fmla="*/ 890 w 902"/>
                <a:gd name="T81" fmla="*/ 0 h 902"/>
                <a:gd name="T82" fmla="*/ 887 w 902"/>
                <a:gd name="T83" fmla="*/ 0 h 902"/>
                <a:gd name="T84" fmla="*/ 887 w 902"/>
                <a:gd name="T85" fmla="*/ 0 h 9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02" h="902">
                  <a:moveTo>
                    <a:pt x="872" y="872"/>
                  </a:moveTo>
                  <a:lnTo>
                    <a:pt x="30" y="872"/>
                  </a:lnTo>
                  <a:lnTo>
                    <a:pt x="30" y="30"/>
                  </a:lnTo>
                  <a:lnTo>
                    <a:pt x="872" y="30"/>
                  </a:lnTo>
                  <a:lnTo>
                    <a:pt x="872" y="872"/>
                  </a:lnTo>
                  <a:close/>
                  <a:moveTo>
                    <a:pt x="887" y="0"/>
                  </a:moveTo>
                  <a:lnTo>
                    <a:pt x="15" y="0"/>
                  </a:lnTo>
                  <a:lnTo>
                    <a:pt x="12" y="0"/>
                  </a:lnTo>
                  <a:lnTo>
                    <a:pt x="10" y="2"/>
                  </a:lnTo>
                  <a:lnTo>
                    <a:pt x="6" y="3"/>
                  </a:lnTo>
                  <a:lnTo>
                    <a:pt x="4" y="5"/>
                  </a:lnTo>
                  <a:lnTo>
                    <a:pt x="3" y="7"/>
                  </a:lnTo>
                  <a:lnTo>
                    <a:pt x="1" y="9"/>
                  </a:lnTo>
                  <a:lnTo>
                    <a:pt x="1" y="12"/>
                  </a:lnTo>
                  <a:lnTo>
                    <a:pt x="0" y="15"/>
                  </a:lnTo>
                  <a:lnTo>
                    <a:pt x="0" y="887"/>
                  </a:lnTo>
                  <a:lnTo>
                    <a:pt x="1" y="891"/>
                  </a:lnTo>
                  <a:lnTo>
                    <a:pt x="1" y="893"/>
                  </a:lnTo>
                  <a:lnTo>
                    <a:pt x="3" y="896"/>
                  </a:lnTo>
                  <a:lnTo>
                    <a:pt x="4" y="898"/>
                  </a:lnTo>
                  <a:lnTo>
                    <a:pt x="6" y="900"/>
                  </a:lnTo>
                  <a:lnTo>
                    <a:pt x="10" y="901"/>
                  </a:lnTo>
                  <a:lnTo>
                    <a:pt x="12" y="902"/>
                  </a:lnTo>
                  <a:lnTo>
                    <a:pt x="15" y="902"/>
                  </a:lnTo>
                  <a:lnTo>
                    <a:pt x="887" y="902"/>
                  </a:lnTo>
                  <a:lnTo>
                    <a:pt x="890" y="902"/>
                  </a:lnTo>
                  <a:lnTo>
                    <a:pt x="893" y="901"/>
                  </a:lnTo>
                  <a:lnTo>
                    <a:pt x="896" y="900"/>
                  </a:lnTo>
                  <a:lnTo>
                    <a:pt x="898" y="898"/>
                  </a:lnTo>
                  <a:lnTo>
                    <a:pt x="900" y="896"/>
                  </a:lnTo>
                  <a:lnTo>
                    <a:pt x="901" y="893"/>
                  </a:lnTo>
                  <a:lnTo>
                    <a:pt x="902" y="891"/>
                  </a:lnTo>
                  <a:lnTo>
                    <a:pt x="902" y="887"/>
                  </a:lnTo>
                  <a:lnTo>
                    <a:pt x="902" y="15"/>
                  </a:lnTo>
                  <a:lnTo>
                    <a:pt x="902" y="12"/>
                  </a:lnTo>
                  <a:lnTo>
                    <a:pt x="901" y="9"/>
                  </a:lnTo>
                  <a:lnTo>
                    <a:pt x="900" y="7"/>
                  </a:lnTo>
                  <a:lnTo>
                    <a:pt x="898" y="5"/>
                  </a:lnTo>
                  <a:lnTo>
                    <a:pt x="896" y="3"/>
                  </a:lnTo>
                  <a:lnTo>
                    <a:pt x="893" y="2"/>
                  </a:lnTo>
                  <a:lnTo>
                    <a:pt x="890" y="0"/>
                  </a:lnTo>
                  <a:lnTo>
                    <a:pt x="887" y="0"/>
                  </a:lnTo>
                  <a:lnTo>
                    <a:pt x="88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Light"/>
                <a:ea typeface="+mn-ea"/>
                <a:cs typeface="+mn-cs"/>
              </a:endParaRPr>
            </a:p>
          </p:txBody>
        </p:sp>
        <p:sp>
          <p:nvSpPr>
            <p:cNvPr id="18" name="Freeform 94"/>
            <p:cNvSpPr>
              <a:spLocks/>
            </p:cNvSpPr>
            <p:nvPr/>
          </p:nvSpPr>
          <p:spPr bwMode="auto">
            <a:xfrm>
              <a:off x="9920288" y="2165350"/>
              <a:ext cx="209550" cy="9525"/>
            </a:xfrm>
            <a:custGeom>
              <a:avLst/>
              <a:gdLst>
                <a:gd name="T0" fmla="*/ 15 w 661"/>
                <a:gd name="T1" fmla="*/ 30 h 30"/>
                <a:gd name="T2" fmla="*/ 646 w 661"/>
                <a:gd name="T3" fmla="*/ 30 h 30"/>
                <a:gd name="T4" fmla="*/ 649 w 661"/>
                <a:gd name="T5" fmla="*/ 29 h 30"/>
                <a:gd name="T6" fmla="*/ 652 w 661"/>
                <a:gd name="T7" fmla="*/ 29 h 30"/>
                <a:gd name="T8" fmla="*/ 655 w 661"/>
                <a:gd name="T9" fmla="*/ 27 h 30"/>
                <a:gd name="T10" fmla="*/ 657 w 661"/>
                <a:gd name="T11" fmla="*/ 26 h 30"/>
                <a:gd name="T12" fmla="*/ 659 w 661"/>
                <a:gd name="T13" fmla="*/ 23 h 30"/>
                <a:gd name="T14" fmla="*/ 660 w 661"/>
                <a:gd name="T15" fmla="*/ 21 h 30"/>
                <a:gd name="T16" fmla="*/ 661 w 661"/>
                <a:gd name="T17" fmla="*/ 18 h 30"/>
                <a:gd name="T18" fmla="*/ 661 w 661"/>
                <a:gd name="T19" fmla="*/ 15 h 30"/>
                <a:gd name="T20" fmla="*/ 661 w 661"/>
                <a:gd name="T21" fmla="*/ 12 h 30"/>
                <a:gd name="T22" fmla="*/ 660 w 661"/>
                <a:gd name="T23" fmla="*/ 9 h 30"/>
                <a:gd name="T24" fmla="*/ 659 w 661"/>
                <a:gd name="T25" fmla="*/ 7 h 30"/>
                <a:gd name="T26" fmla="*/ 657 w 661"/>
                <a:gd name="T27" fmla="*/ 5 h 30"/>
                <a:gd name="T28" fmla="*/ 655 w 661"/>
                <a:gd name="T29" fmla="*/ 3 h 30"/>
                <a:gd name="T30" fmla="*/ 652 w 661"/>
                <a:gd name="T31" fmla="*/ 2 h 30"/>
                <a:gd name="T32" fmla="*/ 649 w 661"/>
                <a:gd name="T33" fmla="*/ 0 h 30"/>
                <a:gd name="T34" fmla="*/ 646 w 661"/>
                <a:gd name="T35" fmla="*/ 0 h 30"/>
                <a:gd name="T36" fmla="*/ 15 w 661"/>
                <a:gd name="T37" fmla="*/ 0 h 30"/>
                <a:gd name="T38" fmla="*/ 12 w 661"/>
                <a:gd name="T39" fmla="*/ 0 h 30"/>
                <a:gd name="T40" fmla="*/ 9 w 661"/>
                <a:gd name="T41" fmla="*/ 2 h 30"/>
                <a:gd name="T42" fmla="*/ 6 w 661"/>
                <a:gd name="T43" fmla="*/ 3 h 30"/>
                <a:gd name="T44" fmla="*/ 4 w 661"/>
                <a:gd name="T45" fmla="*/ 5 h 30"/>
                <a:gd name="T46" fmla="*/ 2 w 661"/>
                <a:gd name="T47" fmla="*/ 7 h 30"/>
                <a:gd name="T48" fmla="*/ 1 w 661"/>
                <a:gd name="T49" fmla="*/ 9 h 30"/>
                <a:gd name="T50" fmla="*/ 0 w 661"/>
                <a:gd name="T51" fmla="*/ 12 h 30"/>
                <a:gd name="T52" fmla="*/ 0 w 661"/>
                <a:gd name="T53" fmla="*/ 15 h 30"/>
                <a:gd name="T54" fmla="*/ 0 w 661"/>
                <a:gd name="T55" fmla="*/ 18 h 30"/>
                <a:gd name="T56" fmla="*/ 1 w 661"/>
                <a:gd name="T57" fmla="*/ 21 h 30"/>
                <a:gd name="T58" fmla="*/ 2 w 661"/>
                <a:gd name="T59" fmla="*/ 23 h 30"/>
                <a:gd name="T60" fmla="*/ 4 w 661"/>
                <a:gd name="T61" fmla="*/ 26 h 30"/>
                <a:gd name="T62" fmla="*/ 6 w 661"/>
                <a:gd name="T63" fmla="*/ 27 h 30"/>
                <a:gd name="T64" fmla="*/ 9 w 661"/>
                <a:gd name="T65" fmla="*/ 29 h 30"/>
                <a:gd name="T66" fmla="*/ 12 w 661"/>
                <a:gd name="T67" fmla="*/ 29 h 30"/>
                <a:gd name="T68" fmla="*/ 15 w 661"/>
                <a:gd name="T69"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61" h="30">
                  <a:moveTo>
                    <a:pt x="15" y="30"/>
                  </a:moveTo>
                  <a:lnTo>
                    <a:pt x="646" y="30"/>
                  </a:lnTo>
                  <a:lnTo>
                    <a:pt x="649" y="29"/>
                  </a:lnTo>
                  <a:lnTo>
                    <a:pt x="652" y="29"/>
                  </a:lnTo>
                  <a:lnTo>
                    <a:pt x="655" y="27"/>
                  </a:lnTo>
                  <a:lnTo>
                    <a:pt x="657" y="26"/>
                  </a:lnTo>
                  <a:lnTo>
                    <a:pt x="659" y="23"/>
                  </a:lnTo>
                  <a:lnTo>
                    <a:pt x="660" y="21"/>
                  </a:lnTo>
                  <a:lnTo>
                    <a:pt x="661" y="18"/>
                  </a:lnTo>
                  <a:lnTo>
                    <a:pt x="661" y="15"/>
                  </a:lnTo>
                  <a:lnTo>
                    <a:pt x="661" y="12"/>
                  </a:lnTo>
                  <a:lnTo>
                    <a:pt x="660" y="9"/>
                  </a:lnTo>
                  <a:lnTo>
                    <a:pt x="659" y="7"/>
                  </a:lnTo>
                  <a:lnTo>
                    <a:pt x="657" y="5"/>
                  </a:lnTo>
                  <a:lnTo>
                    <a:pt x="655" y="3"/>
                  </a:lnTo>
                  <a:lnTo>
                    <a:pt x="652" y="2"/>
                  </a:lnTo>
                  <a:lnTo>
                    <a:pt x="649" y="0"/>
                  </a:lnTo>
                  <a:lnTo>
                    <a:pt x="646" y="0"/>
                  </a:lnTo>
                  <a:lnTo>
                    <a:pt x="15" y="0"/>
                  </a:lnTo>
                  <a:lnTo>
                    <a:pt x="12" y="0"/>
                  </a:lnTo>
                  <a:lnTo>
                    <a:pt x="9" y="2"/>
                  </a:lnTo>
                  <a:lnTo>
                    <a:pt x="6" y="3"/>
                  </a:lnTo>
                  <a:lnTo>
                    <a:pt x="4" y="5"/>
                  </a:lnTo>
                  <a:lnTo>
                    <a:pt x="2" y="7"/>
                  </a:lnTo>
                  <a:lnTo>
                    <a:pt x="1" y="9"/>
                  </a:lnTo>
                  <a:lnTo>
                    <a:pt x="0" y="12"/>
                  </a:lnTo>
                  <a:lnTo>
                    <a:pt x="0" y="15"/>
                  </a:lnTo>
                  <a:lnTo>
                    <a:pt x="0" y="18"/>
                  </a:lnTo>
                  <a:lnTo>
                    <a:pt x="1" y="21"/>
                  </a:lnTo>
                  <a:lnTo>
                    <a:pt x="2" y="23"/>
                  </a:lnTo>
                  <a:lnTo>
                    <a:pt x="4" y="26"/>
                  </a:lnTo>
                  <a:lnTo>
                    <a:pt x="6" y="27"/>
                  </a:lnTo>
                  <a:lnTo>
                    <a:pt x="9" y="29"/>
                  </a:lnTo>
                  <a:lnTo>
                    <a:pt x="12" y="29"/>
                  </a:lnTo>
                  <a:lnTo>
                    <a:pt x="15" y="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Light"/>
                <a:ea typeface="+mn-ea"/>
                <a:cs typeface="+mn-cs"/>
              </a:endParaRPr>
            </a:p>
          </p:txBody>
        </p:sp>
        <p:sp>
          <p:nvSpPr>
            <p:cNvPr id="19" name="Freeform 95"/>
            <p:cNvSpPr>
              <a:spLocks/>
            </p:cNvSpPr>
            <p:nvPr/>
          </p:nvSpPr>
          <p:spPr bwMode="auto">
            <a:xfrm>
              <a:off x="9929813" y="1973263"/>
              <a:ext cx="85725" cy="163513"/>
            </a:xfrm>
            <a:custGeom>
              <a:avLst/>
              <a:gdLst>
                <a:gd name="T0" fmla="*/ 120 w 270"/>
                <a:gd name="T1" fmla="*/ 52 h 511"/>
                <a:gd name="T2" fmla="*/ 120 w 270"/>
                <a:gd name="T3" fmla="*/ 500 h 511"/>
                <a:gd name="T4" fmla="*/ 122 w 270"/>
                <a:gd name="T5" fmla="*/ 505 h 511"/>
                <a:gd name="T6" fmla="*/ 126 w 270"/>
                <a:gd name="T7" fmla="*/ 509 h 511"/>
                <a:gd name="T8" fmla="*/ 132 w 270"/>
                <a:gd name="T9" fmla="*/ 511 h 511"/>
                <a:gd name="T10" fmla="*/ 138 w 270"/>
                <a:gd name="T11" fmla="*/ 511 h 511"/>
                <a:gd name="T12" fmla="*/ 144 w 270"/>
                <a:gd name="T13" fmla="*/ 509 h 511"/>
                <a:gd name="T14" fmla="*/ 148 w 270"/>
                <a:gd name="T15" fmla="*/ 505 h 511"/>
                <a:gd name="T16" fmla="*/ 150 w 270"/>
                <a:gd name="T17" fmla="*/ 500 h 511"/>
                <a:gd name="T18" fmla="*/ 150 w 270"/>
                <a:gd name="T19" fmla="*/ 52 h 511"/>
                <a:gd name="T20" fmla="*/ 246 w 270"/>
                <a:gd name="T21" fmla="*/ 148 h 511"/>
                <a:gd name="T22" fmla="*/ 253 w 270"/>
                <a:gd name="T23" fmla="*/ 150 h 511"/>
                <a:gd name="T24" fmla="*/ 258 w 270"/>
                <a:gd name="T25" fmla="*/ 150 h 511"/>
                <a:gd name="T26" fmla="*/ 264 w 270"/>
                <a:gd name="T27" fmla="*/ 148 h 511"/>
                <a:gd name="T28" fmla="*/ 268 w 270"/>
                <a:gd name="T29" fmla="*/ 144 h 511"/>
                <a:gd name="T30" fmla="*/ 270 w 270"/>
                <a:gd name="T31" fmla="*/ 139 h 511"/>
                <a:gd name="T32" fmla="*/ 270 w 270"/>
                <a:gd name="T33" fmla="*/ 133 h 511"/>
                <a:gd name="T34" fmla="*/ 268 w 270"/>
                <a:gd name="T35" fmla="*/ 128 h 511"/>
                <a:gd name="T36" fmla="*/ 146 w 270"/>
                <a:gd name="T37" fmla="*/ 5 h 511"/>
                <a:gd name="T38" fmla="*/ 140 w 270"/>
                <a:gd name="T39" fmla="*/ 2 h 511"/>
                <a:gd name="T40" fmla="*/ 135 w 270"/>
                <a:gd name="T41" fmla="*/ 0 h 511"/>
                <a:gd name="T42" fmla="*/ 135 w 270"/>
                <a:gd name="T43" fmla="*/ 0 h 511"/>
                <a:gd name="T44" fmla="*/ 135 w 270"/>
                <a:gd name="T45" fmla="*/ 0 h 511"/>
                <a:gd name="T46" fmla="*/ 130 w 270"/>
                <a:gd name="T47" fmla="*/ 2 h 511"/>
                <a:gd name="T48" fmla="*/ 124 w 270"/>
                <a:gd name="T49" fmla="*/ 5 h 511"/>
                <a:gd name="T50" fmla="*/ 2 w 270"/>
                <a:gd name="T51" fmla="*/ 128 h 511"/>
                <a:gd name="T52" fmla="*/ 0 w 270"/>
                <a:gd name="T53" fmla="*/ 133 h 511"/>
                <a:gd name="T54" fmla="*/ 0 w 270"/>
                <a:gd name="T55" fmla="*/ 139 h 511"/>
                <a:gd name="T56" fmla="*/ 2 w 270"/>
                <a:gd name="T57" fmla="*/ 144 h 511"/>
                <a:gd name="T58" fmla="*/ 6 w 270"/>
                <a:gd name="T59" fmla="*/ 148 h 511"/>
                <a:gd name="T60" fmla="*/ 12 w 270"/>
                <a:gd name="T61" fmla="*/ 150 h 511"/>
                <a:gd name="T62" fmla="*/ 17 w 270"/>
                <a:gd name="T63" fmla="*/ 150 h 511"/>
                <a:gd name="T64" fmla="*/ 23 w 270"/>
                <a:gd name="T65" fmla="*/ 148 h 5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70" h="511">
                  <a:moveTo>
                    <a:pt x="26" y="146"/>
                  </a:moveTo>
                  <a:lnTo>
                    <a:pt x="120" y="52"/>
                  </a:lnTo>
                  <a:lnTo>
                    <a:pt x="120" y="496"/>
                  </a:lnTo>
                  <a:lnTo>
                    <a:pt x="120" y="500"/>
                  </a:lnTo>
                  <a:lnTo>
                    <a:pt x="121" y="503"/>
                  </a:lnTo>
                  <a:lnTo>
                    <a:pt x="122" y="505"/>
                  </a:lnTo>
                  <a:lnTo>
                    <a:pt x="124" y="507"/>
                  </a:lnTo>
                  <a:lnTo>
                    <a:pt x="126" y="509"/>
                  </a:lnTo>
                  <a:lnTo>
                    <a:pt x="129" y="510"/>
                  </a:lnTo>
                  <a:lnTo>
                    <a:pt x="132" y="511"/>
                  </a:lnTo>
                  <a:lnTo>
                    <a:pt x="135" y="511"/>
                  </a:lnTo>
                  <a:lnTo>
                    <a:pt x="138" y="511"/>
                  </a:lnTo>
                  <a:lnTo>
                    <a:pt x="140" y="510"/>
                  </a:lnTo>
                  <a:lnTo>
                    <a:pt x="144" y="509"/>
                  </a:lnTo>
                  <a:lnTo>
                    <a:pt x="146" y="507"/>
                  </a:lnTo>
                  <a:lnTo>
                    <a:pt x="148" y="505"/>
                  </a:lnTo>
                  <a:lnTo>
                    <a:pt x="149" y="503"/>
                  </a:lnTo>
                  <a:lnTo>
                    <a:pt x="150" y="500"/>
                  </a:lnTo>
                  <a:lnTo>
                    <a:pt x="150" y="496"/>
                  </a:lnTo>
                  <a:lnTo>
                    <a:pt x="150" y="52"/>
                  </a:lnTo>
                  <a:lnTo>
                    <a:pt x="244" y="146"/>
                  </a:lnTo>
                  <a:lnTo>
                    <a:pt x="246" y="148"/>
                  </a:lnTo>
                  <a:lnTo>
                    <a:pt x="250" y="150"/>
                  </a:lnTo>
                  <a:lnTo>
                    <a:pt x="253" y="150"/>
                  </a:lnTo>
                  <a:lnTo>
                    <a:pt x="255" y="151"/>
                  </a:lnTo>
                  <a:lnTo>
                    <a:pt x="258" y="150"/>
                  </a:lnTo>
                  <a:lnTo>
                    <a:pt x="261" y="150"/>
                  </a:lnTo>
                  <a:lnTo>
                    <a:pt x="264" y="148"/>
                  </a:lnTo>
                  <a:lnTo>
                    <a:pt x="266" y="146"/>
                  </a:lnTo>
                  <a:lnTo>
                    <a:pt x="268" y="144"/>
                  </a:lnTo>
                  <a:lnTo>
                    <a:pt x="269" y="142"/>
                  </a:lnTo>
                  <a:lnTo>
                    <a:pt x="270" y="139"/>
                  </a:lnTo>
                  <a:lnTo>
                    <a:pt x="270" y="136"/>
                  </a:lnTo>
                  <a:lnTo>
                    <a:pt x="270" y="133"/>
                  </a:lnTo>
                  <a:lnTo>
                    <a:pt x="269" y="130"/>
                  </a:lnTo>
                  <a:lnTo>
                    <a:pt x="268" y="128"/>
                  </a:lnTo>
                  <a:lnTo>
                    <a:pt x="266" y="126"/>
                  </a:lnTo>
                  <a:lnTo>
                    <a:pt x="146" y="5"/>
                  </a:lnTo>
                  <a:lnTo>
                    <a:pt x="144" y="4"/>
                  </a:lnTo>
                  <a:lnTo>
                    <a:pt x="140" y="2"/>
                  </a:lnTo>
                  <a:lnTo>
                    <a:pt x="138" y="2"/>
                  </a:lnTo>
                  <a:lnTo>
                    <a:pt x="135" y="0"/>
                  </a:lnTo>
                  <a:lnTo>
                    <a:pt x="135" y="0"/>
                  </a:lnTo>
                  <a:lnTo>
                    <a:pt x="135" y="0"/>
                  </a:lnTo>
                  <a:lnTo>
                    <a:pt x="135" y="0"/>
                  </a:lnTo>
                  <a:lnTo>
                    <a:pt x="135" y="0"/>
                  </a:lnTo>
                  <a:lnTo>
                    <a:pt x="132" y="0"/>
                  </a:lnTo>
                  <a:lnTo>
                    <a:pt x="130" y="2"/>
                  </a:lnTo>
                  <a:lnTo>
                    <a:pt x="126" y="4"/>
                  </a:lnTo>
                  <a:lnTo>
                    <a:pt x="124" y="5"/>
                  </a:lnTo>
                  <a:lnTo>
                    <a:pt x="4" y="126"/>
                  </a:lnTo>
                  <a:lnTo>
                    <a:pt x="2" y="128"/>
                  </a:lnTo>
                  <a:lnTo>
                    <a:pt x="1" y="130"/>
                  </a:lnTo>
                  <a:lnTo>
                    <a:pt x="0" y="133"/>
                  </a:lnTo>
                  <a:lnTo>
                    <a:pt x="0" y="136"/>
                  </a:lnTo>
                  <a:lnTo>
                    <a:pt x="0" y="139"/>
                  </a:lnTo>
                  <a:lnTo>
                    <a:pt x="1" y="142"/>
                  </a:lnTo>
                  <a:lnTo>
                    <a:pt x="2" y="144"/>
                  </a:lnTo>
                  <a:lnTo>
                    <a:pt x="4" y="146"/>
                  </a:lnTo>
                  <a:lnTo>
                    <a:pt x="6" y="148"/>
                  </a:lnTo>
                  <a:lnTo>
                    <a:pt x="9" y="150"/>
                  </a:lnTo>
                  <a:lnTo>
                    <a:pt x="12" y="150"/>
                  </a:lnTo>
                  <a:lnTo>
                    <a:pt x="15" y="151"/>
                  </a:lnTo>
                  <a:lnTo>
                    <a:pt x="17" y="150"/>
                  </a:lnTo>
                  <a:lnTo>
                    <a:pt x="20" y="150"/>
                  </a:lnTo>
                  <a:lnTo>
                    <a:pt x="23" y="148"/>
                  </a:lnTo>
                  <a:lnTo>
                    <a:pt x="26" y="1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Light"/>
                <a:ea typeface="+mn-ea"/>
                <a:cs typeface="+mn-cs"/>
              </a:endParaRPr>
            </a:p>
          </p:txBody>
        </p:sp>
        <p:sp>
          <p:nvSpPr>
            <p:cNvPr id="20" name="Freeform 96"/>
            <p:cNvSpPr>
              <a:spLocks/>
            </p:cNvSpPr>
            <p:nvPr/>
          </p:nvSpPr>
          <p:spPr bwMode="auto">
            <a:xfrm>
              <a:off x="10034588" y="1973263"/>
              <a:ext cx="85725" cy="163513"/>
            </a:xfrm>
            <a:custGeom>
              <a:avLst/>
              <a:gdLst>
                <a:gd name="T0" fmla="*/ 121 w 271"/>
                <a:gd name="T1" fmla="*/ 52 h 511"/>
                <a:gd name="T2" fmla="*/ 121 w 271"/>
                <a:gd name="T3" fmla="*/ 500 h 511"/>
                <a:gd name="T4" fmla="*/ 123 w 271"/>
                <a:gd name="T5" fmla="*/ 505 h 511"/>
                <a:gd name="T6" fmla="*/ 127 w 271"/>
                <a:gd name="T7" fmla="*/ 509 h 511"/>
                <a:gd name="T8" fmla="*/ 133 w 271"/>
                <a:gd name="T9" fmla="*/ 511 h 511"/>
                <a:gd name="T10" fmla="*/ 139 w 271"/>
                <a:gd name="T11" fmla="*/ 511 h 511"/>
                <a:gd name="T12" fmla="*/ 145 w 271"/>
                <a:gd name="T13" fmla="*/ 509 h 511"/>
                <a:gd name="T14" fmla="*/ 148 w 271"/>
                <a:gd name="T15" fmla="*/ 505 h 511"/>
                <a:gd name="T16" fmla="*/ 150 w 271"/>
                <a:gd name="T17" fmla="*/ 500 h 511"/>
                <a:gd name="T18" fmla="*/ 151 w 271"/>
                <a:gd name="T19" fmla="*/ 52 h 511"/>
                <a:gd name="T20" fmla="*/ 247 w 271"/>
                <a:gd name="T21" fmla="*/ 148 h 511"/>
                <a:gd name="T22" fmla="*/ 253 w 271"/>
                <a:gd name="T23" fmla="*/ 150 h 511"/>
                <a:gd name="T24" fmla="*/ 259 w 271"/>
                <a:gd name="T25" fmla="*/ 150 h 511"/>
                <a:gd name="T26" fmla="*/ 265 w 271"/>
                <a:gd name="T27" fmla="*/ 148 h 511"/>
                <a:gd name="T28" fmla="*/ 269 w 271"/>
                <a:gd name="T29" fmla="*/ 144 h 511"/>
                <a:gd name="T30" fmla="*/ 271 w 271"/>
                <a:gd name="T31" fmla="*/ 139 h 511"/>
                <a:gd name="T32" fmla="*/ 271 w 271"/>
                <a:gd name="T33" fmla="*/ 133 h 511"/>
                <a:gd name="T34" fmla="*/ 269 w 271"/>
                <a:gd name="T35" fmla="*/ 128 h 511"/>
                <a:gd name="T36" fmla="*/ 147 w 271"/>
                <a:gd name="T37" fmla="*/ 5 h 511"/>
                <a:gd name="T38" fmla="*/ 141 w 271"/>
                <a:gd name="T39" fmla="*/ 2 h 511"/>
                <a:gd name="T40" fmla="*/ 136 w 271"/>
                <a:gd name="T41" fmla="*/ 0 h 511"/>
                <a:gd name="T42" fmla="*/ 136 w 271"/>
                <a:gd name="T43" fmla="*/ 0 h 511"/>
                <a:gd name="T44" fmla="*/ 136 w 271"/>
                <a:gd name="T45" fmla="*/ 0 h 511"/>
                <a:gd name="T46" fmla="*/ 130 w 271"/>
                <a:gd name="T47" fmla="*/ 2 h 511"/>
                <a:gd name="T48" fmla="*/ 125 w 271"/>
                <a:gd name="T49" fmla="*/ 5 h 511"/>
                <a:gd name="T50" fmla="*/ 3 w 271"/>
                <a:gd name="T51" fmla="*/ 128 h 511"/>
                <a:gd name="T52" fmla="*/ 1 w 271"/>
                <a:gd name="T53" fmla="*/ 133 h 511"/>
                <a:gd name="T54" fmla="*/ 1 w 271"/>
                <a:gd name="T55" fmla="*/ 139 h 511"/>
                <a:gd name="T56" fmla="*/ 3 w 271"/>
                <a:gd name="T57" fmla="*/ 144 h 511"/>
                <a:gd name="T58" fmla="*/ 7 w 271"/>
                <a:gd name="T59" fmla="*/ 148 h 511"/>
                <a:gd name="T60" fmla="*/ 13 w 271"/>
                <a:gd name="T61" fmla="*/ 150 h 511"/>
                <a:gd name="T62" fmla="*/ 18 w 271"/>
                <a:gd name="T63" fmla="*/ 150 h 511"/>
                <a:gd name="T64" fmla="*/ 24 w 271"/>
                <a:gd name="T65" fmla="*/ 148 h 5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71" h="511">
                  <a:moveTo>
                    <a:pt x="26" y="146"/>
                  </a:moveTo>
                  <a:lnTo>
                    <a:pt x="121" y="52"/>
                  </a:lnTo>
                  <a:lnTo>
                    <a:pt x="121" y="496"/>
                  </a:lnTo>
                  <a:lnTo>
                    <a:pt x="121" y="500"/>
                  </a:lnTo>
                  <a:lnTo>
                    <a:pt x="122" y="503"/>
                  </a:lnTo>
                  <a:lnTo>
                    <a:pt x="123" y="505"/>
                  </a:lnTo>
                  <a:lnTo>
                    <a:pt x="125" y="507"/>
                  </a:lnTo>
                  <a:lnTo>
                    <a:pt x="127" y="509"/>
                  </a:lnTo>
                  <a:lnTo>
                    <a:pt x="130" y="510"/>
                  </a:lnTo>
                  <a:lnTo>
                    <a:pt x="133" y="511"/>
                  </a:lnTo>
                  <a:lnTo>
                    <a:pt x="136" y="511"/>
                  </a:lnTo>
                  <a:lnTo>
                    <a:pt x="139" y="511"/>
                  </a:lnTo>
                  <a:lnTo>
                    <a:pt x="141" y="510"/>
                  </a:lnTo>
                  <a:lnTo>
                    <a:pt x="145" y="509"/>
                  </a:lnTo>
                  <a:lnTo>
                    <a:pt x="147" y="507"/>
                  </a:lnTo>
                  <a:lnTo>
                    <a:pt x="148" y="505"/>
                  </a:lnTo>
                  <a:lnTo>
                    <a:pt x="150" y="503"/>
                  </a:lnTo>
                  <a:lnTo>
                    <a:pt x="150" y="500"/>
                  </a:lnTo>
                  <a:lnTo>
                    <a:pt x="151" y="496"/>
                  </a:lnTo>
                  <a:lnTo>
                    <a:pt x="151" y="52"/>
                  </a:lnTo>
                  <a:lnTo>
                    <a:pt x="245" y="146"/>
                  </a:lnTo>
                  <a:lnTo>
                    <a:pt x="247" y="148"/>
                  </a:lnTo>
                  <a:lnTo>
                    <a:pt x="251" y="150"/>
                  </a:lnTo>
                  <a:lnTo>
                    <a:pt x="253" y="150"/>
                  </a:lnTo>
                  <a:lnTo>
                    <a:pt x="256" y="151"/>
                  </a:lnTo>
                  <a:lnTo>
                    <a:pt x="259" y="150"/>
                  </a:lnTo>
                  <a:lnTo>
                    <a:pt x="261" y="150"/>
                  </a:lnTo>
                  <a:lnTo>
                    <a:pt x="265" y="148"/>
                  </a:lnTo>
                  <a:lnTo>
                    <a:pt x="267" y="146"/>
                  </a:lnTo>
                  <a:lnTo>
                    <a:pt x="269" y="144"/>
                  </a:lnTo>
                  <a:lnTo>
                    <a:pt x="270" y="142"/>
                  </a:lnTo>
                  <a:lnTo>
                    <a:pt x="271" y="139"/>
                  </a:lnTo>
                  <a:lnTo>
                    <a:pt x="271" y="136"/>
                  </a:lnTo>
                  <a:lnTo>
                    <a:pt x="271" y="133"/>
                  </a:lnTo>
                  <a:lnTo>
                    <a:pt x="270" y="130"/>
                  </a:lnTo>
                  <a:lnTo>
                    <a:pt x="269" y="128"/>
                  </a:lnTo>
                  <a:lnTo>
                    <a:pt x="267" y="126"/>
                  </a:lnTo>
                  <a:lnTo>
                    <a:pt x="147" y="5"/>
                  </a:lnTo>
                  <a:lnTo>
                    <a:pt x="144" y="4"/>
                  </a:lnTo>
                  <a:lnTo>
                    <a:pt x="141" y="2"/>
                  </a:lnTo>
                  <a:lnTo>
                    <a:pt x="138" y="2"/>
                  </a:lnTo>
                  <a:lnTo>
                    <a:pt x="136" y="0"/>
                  </a:lnTo>
                  <a:lnTo>
                    <a:pt x="136" y="0"/>
                  </a:lnTo>
                  <a:lnTo>
                    <a:pt x="136" y="0"/>
                  </a:lnTo>
                  <a:lnTo>
                    <a:pt x="136" y="0"/>
                  </a:lnTo>
                  <a:lnTo>
                    <a:pt x="136" y="0"/>
                  </a:lnTo>
                  <a:lnTo>
                    <a:pt x="133" y="0"/>
                  </a:lnTo>
                  <a:lnTo>
                    <a:pt x="130" y="2"/>
                  </a:lnTo>
                  <a:lnTo>
                    <a:pt x="127" y="4"/>
                  </a:lnTo>
                  <a:lnTo>
                    <a:pt x="125" y="5"/>
                  </a:lnTo>
                  <a:lnTo>
                    <a:pt x="4" y="126"/>
                  </a:lnTo>
                  <a:lnTo>
                    <a:pt x="3" y="128"/>
                  </a:lnTo>
                  <a:lnTo>
                    <a:pt x="1" y="130"/>
                  </a:lnTo>
                  <a:lnTo>
                    <a:pt x="1" y="133"/>
                  </a:lnTo>
                  <a:lnTo>
                    <a:pt x="0" y="136"/>
                  </a:lnTo>
                  <a:lnTo>
                    <a:pt x="1" y="139"/>
                  </a:lnTo>
                  <a:lnTo>
                    <a:pt x="1" y="142"/>
                  </a:lnTo>
                  <a:lnTo>
                    <a:pt x="3" y="144"/>
                  </a:lnTo>
                  <a:lnTo>
                    <a:pt x="4" y="146"/>
                  </a:lnTo>
                  <a:lnTo>
                    <a:pt x="7" y="148"/>
                  </a:lnTo>
                  <a:lnTo>
                    <a:pt x="10" y="150"/>
                  </a:lnTo>
                  <a:lnTo>
                    <a:pt x="13" y="150"/>
                  </a:lnTo>
                  <a:lnTo>
                    <a:pt x="15" y="151"/>
                  </a:lnTo>
                  <a:lnTo>
                    <a:pt x="18" y="150"/>
                  </a:lnTo>
                  <a:lnTo>
                    <a:pt x="21" y="150"/>
                  </a:lnTo>
                  <a:lnTo>
                    <a:pt x="24" y="148"/>
                  </a:lnTo>
                  <a:lnTo>
                    <a:pt x="26" y="1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Light"/>
                <a:ea typeface="+mn-ea"/>
                <a:cs typeface="+mn-cs"/>
              </a:endParaRPr>
            </a:p>
          </p:txBody>
        </p:sp>
      </p:grpSp>
      <p:grpSp>
        <p:nvGrpSpPr>
          <p:cNvPr id="21" name="Group 20"/>
          <p:cNvGrpSpPr/>
          <p:nvPr/>
        </p:nvGrpSpPr>
        <p:grpSpPr>
          <a:xfrm>
            <a:off x="8127838" y="1693763"/>
            <a:ext cx="276594" cy="190754"/>
            <a:chOff x="10455275" y="1401763"/>
            <a:chExt cx="276225" cy="190500"/>
          </a:xfrm>
          <a:solidFill>
            <a:schemeClr val="bg1"/>
          </a:solidFill>
        </p:grpSpPr>
        <p:sp>
          <p:nvSpPr>
            <p:cNvPr id="22" name="Freeform 180"/>
            <p:cNvSpPr>
              <a:spLocks noEditPoints="1"/>
            </p:cNvSpPr>
            <p:nvPr/>
          </p:nvSpPr>
          <p:spPr bwMode="auto">
            <a:xfrm>
              <a:off x="10455275" y="1401763"/>
              <a:ext cx="238125" cy="152400"/>
            </a:xfrm>
            <a:custGeom>
              <a:avLst/>
              <a:gdLst>
                <a:gd name="T0" fmla="*/ 722 w 752"/>
                <a:gd name="T1" fmla="*/ 451 h 481"/>
                <a:gd name="T2" fmla="*/ 31 w 752"/>
                <a:gd name="T3" fmla="*/ 451 h 481"/>
                <a:gd name="T4" fmla="*/ 31 w 752"/>
                <a:gd name="T5" fmla="*/ 30 h 481"/>
                <a:gd name="T6" fmla="*/ 722 w 752"/>
                <a:gd name="T7" fmla="*/ 30 h 481"/>
                <a:gd name="T8" fmla="*/ 722 w 752"/>
                <a:gd name="T9" fmla="*/ 451 h 481"/>
                <a:gd name="T10" fmla="*/ 752 w 752"/>
                <a:gd name="T11" fmla="*/ 0 h 481"/>
                <a:gd name="T12" fmla="*/ 0 w 752"/>
                <a:gd name="T13" fmla="*/ 0 h 481"/>
                <a:gd name="T14" fmla="*/ 0 w 752"/>
                <a:gd name="T15" fmla="*/ 481 h 481"/>
                <a:gd name="T16" fmla="*/ 752 w 752"/>
                <a:gd name="T17" fmla="*/ 481 h 481"/>
                <a:gd name="T18" fmla="*/ 752 w 752"/>
                <a:gd name="T19" fmla="*/ 0 h 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52" h="481">
                  <a:moveTo>
                    <a:pt x="722" y="451"/>
                  </a:moveTo>
                  <a:lnTo>
                    <a:pt x="31" y="451"/>
                  </a:lnTo>
                  <a:lnTo>
                    <a:pt x="31" y="30"/>
                  </a:lnTo>
                  <a:lnTo>
                    <a:pt x="722" y="30"/>
                  </a:lnTo>
                  <a:lnTo>
                    <a:pt x="722" y="451"/>
                  </a:lnTo>
                  <a:close/>
                  <a:moveTo>
                    <a:pt x="752" y="0"/>
                  </a:moveTo>
                  <a:lnTo>
                    <a:pt x="0" y="0"/>
                  </a:lnTo>
                  <a:lnTo>
                    <a:pt x="0" y="481"/>
                  </a:lnTo>
                  <a:lnTo>
                    <a:pt x="752" y="481"/>
                  </a:lnTo>
                  <a:lnTo>
                    <a:pt x="75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Light"/>
                <a:ea typeface="+mn-ea"/>
                <a:cs typeface="+mn-cs"/>
              </a:endParaRPr>
            </a:p>
          </p:txBody>
        </p:sp>
        <p:sp>
          <p:nvSpPr>
            <p:cNvPr id="23" name="Freeform 181"/>
            <p:cNvSpPr>
              <a:spLocks/>
            </p:cNvSpPr>
            <p:nvPr/>
          </p:nvSpPr>
          <p:spPr bwMode="auto">
            <a:xfrm>
              <a:off x="10474325" y="1420813"/>
              <a:ext cx="238125" cy="152400"/>
            </a:xfrm>
            <a:custGeom>
              <a:avLst/>
              <a:gdLst>
                <a:gd name="T0" fmla="*/ 751 w 751"/>
                <a:gd name="T1" fmla="*/ 15 h 481"/>
                <a:gd name="T2" fmla="*/ 751 w 751"/>
                <a:gd name="T3" fmla="*/ 11 h 481"/>
                <a:gd name="T4" fmla="*/ 750 w 751"/>
                <a:gd name="T5" fmla="*/ 9 h 481"/>
                <a:gd name="T6" fmla="*/ 749 w 751"/>
                <a:gd name="T7" fmla="*/ 6 h 481"/>
                <a:gd name="T8" fmla="*/ 747 w 751"/>
                <a:gd name="T9" fmla="*/ 4 h 481"/>
                <a:gd name="T10" fmla="*/ 745 w 751"/>
                <a:gd name="T11" fmla="*/ 3 h 481"/>
                <a:gd name="T12" fmla="*/ 742 w 751"/>
                <a:gd name="T13" fmla="*/ 1 h 481"/>
                <a:gd name="T14" fmla="*/ 739 w 751"/>
                <a:gd name="T15" fmla="*/ 0 h 481"/>
                <a:gd name="T16" fmla="*/ 736 w 751"/>
                <a:gd name="T17" fmla="*/ 0 h 481"/>
                <a:gd name="T18" fmla="*/ 734 w 751"/>
                <a:gd name="T19" fmla="*/ 0 h 481"/>
                <a:gd name="T20" fmla="*/ 731 w 751"/>
                <a:gd name="T21" fmla="*/ 1 h 481"/>
                <a:gd name="T22" fmla="*/ 728 w 751"/>
                <a:gd name="T23" fmla="*/ 3 h 481"/>
                <a:gd name="T24" fmla="*/ 725 w 751"/>
                <a:gd name="T25" fmla="*/ 4 h 481"/>
                <a:gd name="T26" fmla="*/ 724 w 751"/>
                <a:gd name="T27" fmla="*/ 6 h 481"/>
                <a:gd name="T28" fmla="*/ 722 w 751"/>
                <a:gd name="T29" fmla="*/ 9 h 481"/>
                <a:gd name="T30" fmla="*/ 722 w 751"/>
                <a:gd name="T31" fmla="*/ 11 h 481"/>
                <a:gd name="T32" fmla="*/ 721 w 751"/>
                <a:gd name="T33" fmla="*/ 15 h 481"/>
                <a:gd name="T34" fmla="*/ 721 w 751"/>
                <a:gd name="T35" fmla="*/ 451 h 481"/>
                <a:gd name="T36" fmla="*/ 15 w 751"/>
                <a:gd name="T37" fmla="*/ 451 h 481"/>
                <a:gd name="T38" fmla="*/ 12 w 751"/>
                <a:gd name="T39" fmla="*/ 451 h 481"/>
                <a:gd name="T40" fmla="*/ 9 w 751"/>
                <a:gd name="T41" fmla="*/ 452 h 481"/>
                <a:gd name="T42" fmla="*/ 6 w 751"/>
                <a:gd name="T43" fmla="*/ 454 h 481"/>
                <a:gd name="T44" fmla="*/ 4 w 751"/>
                <a:gd name="T45" fmla="*/ 455 h 481"/>
                <a:gd name="T46" fmla="*/ 2 w 751"/>
                <a:gd name="T47" fmla="*/ 457 h 481"/>
                <a:gd name="T48" fmla="*/ 1 w 751"/>
                <a:gd name="T49" fmla="*/ 460 h 481"/>
                <a:gd name="T50" fmla="*/ 0 w 751"/>
                <a:gd name="T51" fmla="*/ 462 h 481"/>
                <a:gd name="T52" fmla="*/ 0 w 751"/>
                <a:gd name="T53" fmla="*/ 466 h 481"/>
                <a:gd name="T54" fmla="*/ 0 w 751"/>
                <a:gd name="T55" fmla="*/ 469 h 481"/>
                <a:gd name="T56" fmla="*/ 1 w 751"/>
                <a:gd name="T57" fmla="*/ 472 h 481"/>
                <a:gd name="T58" fmla="*/ 2 w 751"/>
                <a:gd name="T59" fmla="*/ 474 h 481"/>
                <a:gd name="T60" fmla="*/ 4 w 751"/>
                <a:gd name="T61" fmla="*/ 476 h 481"/>
                <a:gd name="T62" fmla="*/ 6 w 751"/>
                <a:gd name="T63" fmla="*/ 478 h 481"/>
                <a:gd name="T64" fmla="*/ 9 w 751"/>
                <a:gd name="T65" fmla="*/ 479 h 481"/>
                <a:gd name="T66" fmla="*/ 12 w 751"/>
                <a:gd name="T67" fmla="*/ 481 h 481"/>
                <a:gd name="T68" fmla="*/ 15 w 751"/>
                <a:gd name="T69" fmla="*/ 481 h 481"/>
                <a:gd name="T70" fmla="*/ 751 w 751"/>
                <a:gd name="T71" fmla="*/ 481 h 481"/>
                <a:gd name="T72" fmla="*/ 751 w 751"/>
                <a:gd name="T73" fmla="*/ 15 h 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51" h="481">
                  <a:moveTo>
                    <a:pt x="751" y="15"/>
                  </a:moveTo>
                  <a:lnTo>
                    <a:pt x="751" y="11"/>
                  </a:lnTo>
                  <a:lnTo>
                    <a:pt x="750" y="9"/>
                  </a:lnTo>
                  <a:lnTo>
                    <a:pt x="749" y="6"/>
                  </a:lnTo>
                  <a:lnTo>
                    <a:pt x="747" y="4"/>
                  </a:lnTo>
                  <a:lnTo>
                    <a:pt x="745" y="3"/>
                  </a:lnTo>
                  <a:lnTo>
                    <a:pt x="742" y="1"/>
                  </a:lnTo>
                  <a:lnTo>
                    <a:pt x="739" y="0"/>
                  </a:lnTo>
                  <a:lnTo>
                    <a:pt x="736" y="0"/>
                  </a:lnTo>
                  <a:lnTo>
                    <a:pt x="734" y="0"/>
                  </a:lnTo>
                  <a:lnTo>
                    <a:pt x="731" y="1"/>
                  </a:lnTo>
                  <a:lnTo>
                    <a:pt x="728" y="3"/>
                  </a:lnTo>
                  <a:lnTo>
                    <a:pt x="725" y="4"/>
                  </a:lnTo>
                  <a:lnTo>
                    <a:pt x="724" y="6"/>
                  </a:lnTo>
                  <a:lnTo>
                    <a:pt x="722" y="9"/>
                  </a:lnTo>
                  <a:lnTo>
                    <a:pt x="722" y="11"/>
                  </a:lnTo>
                  <a:lnTo>
                    <a:pt x="721" y="15"/>
                  </a:lnTo>
                  <a:lnTo>
                    <a:pt x="721" y="451"/>
                  </a:lnTo>
                  <a:lnTo>
                    <a:pt x="15" y="451"/>
                  </a:lnTo>
                  <a:lnTo>
                    <a:pt x="12" y="451"/>
                  </a:lnTo>
                  <a:lnTo>
                    <a:pt x="9" y="452"/>
                  </a:lnTo>
                  <a:lnTo>
                    <a:pt x="6" y="454"/>
                  </a:lnTo>
                  <a:lnTo>
                    <a:pt x="4" y="455"/>
                  </a:lnTo>
                  <a:lnTo>
                    <a:pt x="2" y="457"/>
                  </a:lnTo>
                  <a:lnTo>
                    <a:pt x="1" y="460"/>
                  </a:lnTo>
                  <a:lnTo>
                    <a:pt x="0" y="462"/>
                  </a:lnTo>
                  <a:lnTo>
                    <a:pt x="0" y="466"/>
                  </a:lnTo>
                  <a:lnTo>
                    <a:pt x="0" y="469"/>
                  </a:lnTo>
                  <a:lnTo>
                    <a:pt x="1" y="472"/>
                  </a:lnTo>
                  <a:lnTo>
                    <a:pt x="2" y="474"/>
                  </a:lnTo>
                  <a:lnTo>
                    <a:pt x="4" y="476"/>
                  </a:lnTo>
                  <a:lnTo>
                    <a:pt x="6" y="478"/>
                  </a:lnTo>
                  <a:lnTo>
                    <a:pt x="9" y="479"/>
                  </a:lnTo>
                  <a:lnTo>
                    <a:pt x="12" y="481"/>
                  </a:lnTo>
                  <a:lnTo>
                    <a:pt x="15" y="481"/>
                  </a:lnTo>
                  <a:lnTo>
                    <a:pt x="751" y="481"/>
                  </a:lnTo>
                  <a:lnTo>
                    <a:pt x="751"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Light"/>
                <a:ea typeface="+mn-ea"/>
                <a:cs typeface="+mn-cs"/>
              </a:endParaRPr>
            </a:p>
          </p:txBody>
        </p:sp>
        <p:sp>
          <p:nvSpPr>
            <p:cNvPr id="24" name="Freeform 182"/>
            <p:cNvSpPr>
              <a:spLocks/>
            </p:cNvSpPr>
            <p:nvPr/>
          </p:nvSpPr>
          <p:spPr bwMode="auto">
            <a:xfrm>
              <a:off x="10493375" y="1439863"/>
              <a:ext cx="238125" cy="152400"/>
            </a:xfrm>
            <a:custGeom>
              <a:avLst/>
              <a:gdLst>
                <a:gd name="T0" fmla="*/ 736 w 752"/>
                <a:gd name="T1" fmla="*/ 0 h 480"/>
                <a:gd name="T2" fmla="*/ 734 w 752"/>
                <a:gd name="T3" fmla="*/ 1 h 480"/>
                <a:gd name="T4" fmla="*/ 731 w 752"/>
                <a:gd name="T5" fmla="*/ 1 h 480"/>
                <a:gd name="T6" fmla="*/ 728 w 752"/>
                <a:gd name="T7" fmla="*/ 3 h 480"/>
                <a:gd name="T8" fmla="*/ 726 w 752"/>
                <a:gd name="T9" fmla="*/ 4 h 480"/>
                <a:gd name="T10" fmla="*/ 724 w 752"/>
                <a:gd name="T11" fmla="*/ 7 h 480"/>
                <a:gd name="T12" fmla="*/ 723 w 752"/>
                <a:gd name="T13" fmla="*/ 9 h 480"/>
                <a:gd name="T14" fmla="*/ 722 w 752"/>
                <a:gd name="T15" fmla="*/ 12 h 480"/>
                <a:gd name="T16" fmla="*/ 721 w 752"/>
                <a:gd name="T17" fmla="*/ 15 h 480"/>
                <a:gd name="T18" fmla="*/ 721 w 752"/>
                <a:gd name="T19" fmla="*/ 451 h 480"/>
                <a:gd name="T20" fmla="*/ 15 w 752"/>
                <a:gd name="T21" fmla="*/ 451 h 480"/>
                <a:gd name="T22" fmla="*/ 12 w 752"/>
                <a:gd name="T23" fmla="*/ 452 h 480"/>
                <a:gd name="T24" fmla="*/ 9 w 752"/>
                <a:gd name="T25" fmla="*/ 452 h 480"/>
                <a:gd name="T26" fmla="*/ 6 w 752"/>
                <a:gd name="T27" fmla="*/ 454 h 480"/>
                <a:gd name="T28" fmla="*/ 4 w 752"/>
                <a:gd name="T29" fmla="*/ 455 h 480"/>
                <a:gd name="T30" fmla="*/ 2 w 752"/>
                <a:gd name="T31" fmla="*/ 458 h 480"/>
                <a:gd name="T32" fmla="*/ 1 w 752"/>
                <a:gd name="T33" fmla="*/ 460 h 480"/>
                <a:gd name="T34" fmla="*/ 0 w 752"/>
                <a:gd name="T35" fmla="*/ 463 h 480"/>
                <a:gd name="T36" fmla="*/ 0 w 752"/>
                <a:gd name="T37" fmla="*/ 465 h 480"/>
                <a:gd name="T38" fmla="*/ 0 w 752"/>
                <a:gd name="T39" fmla="*/ 469 h 480"/>
                <a:gd name="T40" fmla="*/ 1 w 752"/>
                <a:gd name="T41" fmla="*/ 472 h 480"/>
                <a:gd name="T42" fmla="*/ 2 w 752"/>
                <a:gd name="T43" fmla="*/ 474 h 480"/>
                <a:gd name="T44" fmla="*/ 4 w 752"/>
                <a:gd name="T45" fmla="*/ 476 h 480"/>
                <a:gd name="T46" fmla="*/ 6 w 752"/>
                <a:gd name="T47" fmla="*/ 478 h 480"/>
                <a:gd name="T48" fmla="*/ 9 w 752"/>
                <a:gd name="T49" fmla="*/ 479 h 480"/>
                <a:gd name="T50" fmla="*/ 12 w 752"/>
                <a:gd name="T51" fmla="*/ 480 h 480"/>
                <a:gd name="T52" fmla="*/ 15 w 752"/>
                <a:gd name="T53" fmla="*/ 480 h 480"/>
                <a:gd name="T54" fmla="*/ 752 w 752"/>
                <a:gd name="T55" fmla="*/ 480 h 480"/>
                <a:gd name="T56" fmla="*/ 752 w 752"/>
                <a:gd name="T57" fmla="*/ 15 h 480"/>
                <a:gd name="T58" fmla="*/ 751 w 752"/>
                <a:gd name="T59" fmla="*/ 11 h 480"/>
                <a:gd name="T60" fmla="*/ 750 w 752"/>
                <a:gd name="T61" fmla="*/ 9 h 480"/>
                <a:gd name="T62" fmla="*/ 749 w 752"/>
                <a:gd name="T63" fmla="*/ 6 h 480"/>
                <a:gd name="T64" fmla="*/ 747 w 752"/>
                <a:gd name="T65" fmla="*/ 4 h 480"/>
                <a:gd name="T66" fmla="*/ 745 w 752"/>
                <a:gd name="T67" fmla="*/ 3 h 480"/>
                <a:gd name="T68" fmla="*/ 742 w 752"/>
                <a:gd name="T69" fmla="*/ 1 h 480"/>
                <a:gd name="T70" fmla="*/ 739 w 752"/>
                <a:gd name="T71" fmla="*/ 1 h 480"/>
                <a:gd name="T72" fmla="*/ 736 w 752"/>
                <a:gd name="T73" fmla="*/ 0 h 4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52" h="480">
                  <a:moveTo>
                    <a:pt x="736" y="0"/>
                  </a:moveTo>
                  <a:lnTo>
                    <a:pt x="734" y="1"/>
                  </a:lnTo>
                  <a:lnTo>
                    <a:pt x="731" y="1"/>
                  </a:lnTo>
                  <a:lnTo>
                    <a:pt x="728" y="3"/>
                  </a:lnTo>
                  <a:lnTo>
                    <a:pt x="726" y="4"/>
                  </a:lnTo>
                  <a:lnTo>
                    <a:pt x="724" y="7"/>
                  </a:lnTo>
                  <a:lnTo>
                    <a:pt x="723" y="9"/>
                  </a:lnTo>
                  <a:lnTo>
                    <a:pt x="722" y="12"/>
                  </a:lnTo>
                  <a:lnTo>
                    <a:pt x="721" y="15"/>
                  </a:lnTo>
                  <a:lnTo>
                    <a:pt x="721" y="451"/>
                  </a:lnTo>
                  <a:lnTo>
                    <a:pt x="15" y="451"/>
                  </a:lnTo>
                  <a:lnTo>
                    <a:pt x="12" y="452"/>
                  </a:lnTo>
                  <a:lnTo>
                    <a:pt x="9" y="452"/>
                  </a:lnTo>
                  <a:lnTo>
                    <a:pt x="6" y="454"/>
                  </a:lnTo>
                  <a:lnTo>
                    <a:pt x="4" y="455"/>
                  </a:lnTo>
                  <a:lnTo>
                    <a:pt x="2" y="458"/>
                  </a:lnTo>
                  <a:lnTo>
                    <a:pt x="1" y="460"/>
                  </a:lnTo>
                  <a:lnTo>
                    <a:pt x="0" y="463"/>
                  </a:lnTo>
                  <a:lnTo>
                    <a:pt x="0" y="465"/>
                  </a:lnTo>
                  <a:lnTo>
                    <a:pt x="0" y="469"/>
                  </a:lnTo>
                  <a:lnTo>
                    <a:pt x="1" y="472"/>
                  </a:lnTo>
                  <a:lnTo>
                    <a:pt x="2" y="474"/>
                  </a:lnTo>
                  <a:lnTo>
                    <a:pt x="4" y="476"/>
                  </a:lnTo>
                  <a:lnTo>
                    <a:pt x="6" y="478"/>
                  </a:lnTo>
                  <a:lnTo>
                    <a:pt x="9" y="479"/>
                  </a:lnTo>
                  <a:lnTo>
                    <a:pt x="12" y="480"/>
                  </a:lnTo>
                  <a:lnTo>
                    <a:pt x="15" y="480"/>
                  </a:lnTo>
                  <a:lnTo>
                    <a:pt x="752" y="480"/>
                  </a:lnTo>
                  <a:lnTo>
                    <a:pt x="752" y="15"/>
                  </a:lnTo>
                  <a:lnTo>
                    <a:pt x="751" y="11"/>
                  </a:lnTo>
                  <a:lnTo>
                    <a:pt x="750" y="9"/>
                  </a:lnTo>
                  <a:lnTo>
                    <a:pt x="749" y="6"/>
                  </a:lnTo>
                  <a:lnTo>
                    <a:pt x="747" y="4"/>
                  </a:lnTo>
                  <a:lnTo>
                    <a:pt x="745" y="3"/>
                  </a:lnTo>
                  <a:lnTo>
                    <a:pt x="742" y="1"/>
                  </a:lnTo>
                  <a:lnTo>
                    <a:pt x="739" y="1"/>
                  </a:lnTo>
                  <a:lnTo>
                    <a:pt x="73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Light"/>
                <a:ea typeface="+mn-ea"/>
                <a:cs typeface="+mn-cs"/>
              </a:endParaRPr>
            </a:p>
          </p:txBody>
        </p:sp>
        <p:sp>
          <p:nvSpPr>
            <p:cNvPr id="25" name="Freeform 183"/>
            <p:cNvSpPr>
              <a:spLocks/>
            </p:cNvSpPr>
            <p:nvPr/>
          </p:nvSpPr>
          <p:spPr bwMode="auto">
            <a:xfrm>
              <a:off x="10483850" y="1516063"/>
              <a:ext cx="38100" cy="9525"/>
            </a:xfrm>
            <a:custGeom>
              <a:avLst/>
              <a:gdLst>
                <a:gd name="T0" fmla="*/ 15 w 120"/>
                <a:gd name="T1" fmla="*/ 30 h 30"/>
                <a:gd name="T2" fmla="*/ 105 w 120"/>
                <a:gd name="T3" fmla="*/ 30 h 30"/>
                <a:gd name="T4" fmla="*/ 108 w 120"/>
                <a:gd name="T5" fmla="*/ 30 h 30"/>
                <a:gd name="T6" fmla="*/ 110 w 120"/>
                <a:gd name="T7" fmla="*/ 28 h 30"/>
                <a:gd name="T8" fmla="*/ 114 w 120"/>
                <a:gd name="T9" fmla="*/ 27 h 30"/>
                <a:gd name="T10" fmla="*/ 116 w 120"/>
                <a:gd name="T11" fmla="*/ 25 h 30"/>
                <a:gd name="T12" fmla="*/ 118 w 120"/>
                <a:gd name="T13" fmla="*/ 23 h 30"/>
                <a:gd name="T14" fmla="*/ 119 w 120"/>
                <a:gd name="T15" fmla="*/ 20 h 30"/>
                <a:gd name="T16" fmla="*/ 120 w 120"/>
                <a:gd name="T17" fmla="*/ 18 h 30"/>
                <a:gd name="T18" fmla="*/ 120 w 120"/>
                <a:gd name="T19" fmla="*/ 15 h 30"/>
                <a:gd name="T20" fmla="*/ 120 w 120"/>
                <a:gd name="T21" fmla="*/ 11 h 30"/>
                <a:gd name="T22" fmla="*/ 119 w 120"/>
                <a:gd name="T23" fmla="*/ 8 h 30"/>
                <a:gd name="T24" fmla="*/ 118 w 120"/>
                <a:gd name="T25" fmla="*/ 6 h 30"/>
                <a:gd name="T26" fmla="*/ 116 w 120"/>
                <a:gd name="T27" fmla="*/ 4 h 30"/>
                <a:gd name="T28" fmla="*/ 114 w 120"/>
                <a:gd name="T29" fmla="*/ 2 h 30"/>
                <a:gd name="T30" fmla="*/ 110 w 120"/>
                <a:gd name="T31" fmla="*/ 1 h 30"/>
                <a:gd name="T32" fmla="*/ 108 w 120"/>
                <a:gd name="T33" fmla="*/ 0 h 30"/>
                <a:gd name="T34" fmla="*/ 105 w 120"/>
                <a:gd name="T35" fmla="*/ 0 h 30"/>
                <a:gd name="T36" fmla="*/ 15 w 120"/>
                <a:gd name="T37" fmla="*/ 0 h 30"/>
                <a:gd name="T38" fmla="*/ 12 w 120"/>
                <a:gd name="T39" fmla="*/ 0 h 30"/>
                <a:gd name="T40" fmla="*/ 9 w 120"/>
                <a:gd name="T41" fmla="*/ 1 h 30"/>
                <a:gd name="T42" fmla="*/ 6 w 120"/>
                <a:gd name="T43" fmla="*/ 2 h 30"/>
                <a:gd name="T44" fmla="*/ 4 w 120"/>
                <a:gd name="T45" fmla="*/ 4 h 30"/>
                <a:gd name="T46" fmla="*/ 2 w 120"/>
                <a:gd name="T47" fmla="*/ 6 h 30"/>
                <a:gd name="T48" fmla="*/ 1 w 120"/>
                <a:gd name="T49" fmla="*/ 8 h 30"/>
                <a:gd name="T50" fmla="*/ 0 w 120"/>
                <a:gd name="T51" fmla="*/ 11 h 30"/>
                <a:gd name="T52" fmla="*/ 0 w 120"/>
                <a:gd name="T53" fmla="*/ 15 h 30"/>
                <a:gd name="T54" fmla="*/ 0 w 120"/>
                <a:gd name="T55" fmla="*/ 18 h 30"/>
                <a:gd name="T56" fmla="*/ 1 w 120"/>
                <a:gd name="T57" fmla="*/ 20 h 30"/>
                <a:gd name="T58" fmla="*/ 2 w 120"/>
                <a:gd name="T59" fmla="*/ 23 h 30"/>
                <a:gd name="T60" fmla="*/ 4 w 120"/>
                <a:gd name="T61" fmla="*/ 25 h 30"/>
                <a:gd name="T62" fmla="*/ 6 w 120"/>
                <a:gd name="T63" fmla="*/ 27 h 30"/>
                <a:gd name="T64" fmla="*/ 9 w 120"/>
                <a:gd name="T65" fmla="*/ 28 h 30"/>
                <a:gd name="T66" fmla="*/ 12 w 120"/>
                <a:gd name="T67" fmla="*/ 30 h 30"/>
                <a:gd name="T68" fmla="*/ 15 w 120"/>
                <a:gd name="T69"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20" h="30">
                  <a:moveTo>
                    <a:pt x="15" y="30"/>
                  </a:moveTo>
                  <a:lnTo>
                    <a:pt x="105" y="30"/>
                  </a:lnTo>
                  <a:lnTo>
                    <a:pt x="108" y="30"/>
                  </a:lnTo>
                  <a:lnTo>
                    <a:pt x="110" y="28"/>
                  </a:lnTo>
                  <a:lnTo>
                    <a:pt x="114" y="27"/>
                  </a:lnTo>
                  <a:lnTo>
                    <a:pt x="116" y="25"/>
                  </a:lnTo>
                  <a:lnTo>
                    <a:pt x="118" y="23"/>
                  </a:lnTo>
                  <a:lnTo>
                    <a:pt x="119" y="20"/>
                  </a:lnTo>
                  <a:lnTo>
                    <a:pt x="120" y="18"/>
                  </a:lnTo>
                  <a:lnTo>
                    <a:pt x="120" y="15"/>
                  </a:lnTo>
                  <a:lnTo>
                    <a:pt x="120" y="11"/>
                  </a:lnTo>
                  <a:lnTo>
                    <a:pt x="119" y="8"/>
                  </a:lnTo>
                  <a:lnTo>
                    <a:pt x="118" y="6"/>
                  </a:lnTo>
                  <a:lnTo>
                    <a:pt x="116" y="4"/>
                  </a:lnTo>
                  <a:lnTo>
                    <a:pt x="114" y="2"/>
                  </a:lnTo>
                  <a:lnTo>
                    <a:pt x="110" y="1"/>
                  </a:lnTo>
                  <a:lnTo>
                    <a:pt x="108" y="0"/>
                  </a:lnTo>
                  <a:lnTo>
                    <a:pt x="105" y="0"/>
                  </a:lnTo>
                  <a:lnTo>
                    <a:pt x="15" y="0"/>
                  </a:lnTo>
                  <a:lnTo>
                    <a:pt x="12" y="0"/>
                  </a:lnTo>
                  <a:lnTo>
                    <a:pt x="9" y="1"/>
                  </a:lnTo>
                  <a:lnTo>
                    <a:pt x="6" y="2"/>
                  </a:lnTo>
                  <a:lnTo>
                    <a:pt x="4" y="4"/>
                  </a:lnTo>
                  <a:lnTo>
                    <a:pt x="2" y="6"/>
                  </a:lnTo>
                  <a:lnTo>
                    <a:pt x="1" y="8"/>
                  </a:lnTo>
                  <a:lnTo>
                    <a:pt x="0" y="11"/>
                  </a:lnTo>
                  <a:lnTo>
                    <a:pt x="0" y="15"/>
                  </a:lnTo>
                  <a:lnTo>
                    <a:pt x="0" y="18"/>
                  </a:lnTo>
                  <a:lnTo>
                    <a:pt x="1" y="20"/>
                  </a:lnTo>
                  <a:lnTo>
                    <a:pt x="2" y="23"/>
                  </a:lnTo>
                  <a:lnTo>
                    <a:pt x="4" y="25"/>
                  </a:lnTo>
                  <a:lnTo>
                    <a:pt x="6" y="27"/>
                  </a:lnTo>
                  <a:lnTo>
                    <a:pt x="9" y="28"/>
                  </a:lnTo>
                  <a:lnTo>
                    <a:pt x="12" y="30"/>
                  </a:lnTo>
                  <a:lnTo>
                    <a:pt x="15" y="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Light"/>
                <a:ea typeface="+mn-ea"/>
                <a:cs typeface="+mn-cs"/>
              </a:endParaRPr>
            </a:p>
          </p:txBody>
        </p:sp>
        <p:sp>
          <p:nvSpPr>
            <p:cNvPr id="26" name="Freeform 184"/>
            <p:cNvSpPr>
              <a:spLocks/>
            </p:cNvSpPr>
            <p:nvPr/>
          </p:nvSpPr>
          <p:spPr bwMode="auto">
            <a:xfrm>
              <a:off x="10626725" y="1430338"/>
              <a:ext cx="38100" cy="9525"/>
            </a:xfrm>
            <a:custGeom>
              <a:avLst/>
              <a:gdLst>
                <a:gd name="T0" fmla="*/ 15 w 120"/>
                <a:gd name="T1" fmla="*/ 30 h 30"/>
                <a:gd name="T2" fmla="*/ 105 w 120"/>
                <a:gd name="T3" fmla="*/ 30 h 30"/>
                <a:gd name="T4" fmla="*/ 108 w 120"/>
                <a:gd name="T5" fmla="*/ 30 h 30"/>
                <a:gd name="T6" fmla="*/ 110 w 120"/>
                <a:gd name="T7" fmla="*/ 28 h 30"/>
                <a:gd name="T8" fmla="*/ 114 w 120"/>
                <a:gd name="T9" fmla="*/ 27 h 30"/>
                <a:gd name="T10" fmla="*/ 116 w 120"/>
                <a:gd name="T11" fmla="*/ 25 h 30"/>
                <a:gd name="T12" fmla="*/ 118 w 120"/>
                <a:gd name="T13" fmla="*/ 23 h 30"/>
                <a:gd name="T14" fmla="*/ 119 w 120"/>
                <a:gd name="T15" fmla="*/ 21 h 30"/>
                <a:gd name="T16" fmla="*/ 120 w 120"/>
                <a:gd name="T17" fmla="*/ 18 h 30"/>
                <a:gd name="T18" fmla="*/ 120 w 120"/>
                <a:gd name="T19" fmla="*/ 15 h 30"/>
                <a:gd name="T20" fmla="*/ 120 w 120"/>
                <a:gd name="T21" fmla="*/ 11 h 30"/>
                <a:gd name="T22" fmla="*/ 119 w 120"/>
                <a:gd name="T23" fmla="*/ 9 h 30"/>
                <a:gd name="T24" fmla="*/ 118 w 120"/>
                <a:gd name="T25" fmla="*/ 6 h 30"/>
                <a:gd name="T26" fmla="*/ 116 w 120"/>
                <a:gd name="T27" fmla="*/ 4 h 30"/>
                <a:gd name="T28" fmla="*/ 114 w 120"/>
                <a:gd name="T29" fmla="*/ 3 h 30"/>
                <a:gd name="T30" fmla="*/ 110 w 120"/>
                <a:gd name="T31" fmla="*/ 1 h 30"/>
                <a:gd name="T32" fmla="*/ 108 w 120"/>
                <a:gd name="T33" fmla="*/ 1 h 30"/>
                <a:gd name="T34" fmla="*/ 105 w 120"/>
                <a:gd name="T35" fmla="*/ 0 h 30"/>
                <a:gd name="T36" fmla="*/ 15 w 120"/>
                <a:gd name="T37" fmla="*/ 0 h 30"/>
                <a:gd name="T38" fmla="*/ 12 w 120"/>
                <a:gd name="T39" fmla="*/ 0 h 30"/>
                <a:gd name="T40" fmla="*/ 9 w 120"/>
                <a:gd name="T41" fmla="*/ 1 h 30"/>
                <a:gd name="T42" fmla="*/ 6 w 120"/>
                <a:gd name="T43" fmla="*/ 3 h 30"/>
                <a:gd name="T44" fmla="*/ 4 w 120"/>
                <a:gd name="T45" fmla="*/ 4 h 30"/>
                <a:gd name="T46" fmla="*/ 2 w 120"/>
                <a:gd name="T47" fmla="*/ 6 h 30"/>
                <a:gd name="T48" fmla="*/ 1 w 120"/>
                <a:gd name="T49" fmla="*/ 9 h 30"/>
                <a:gd name="T50" fmla="*/ 0 w 120"/>
                <a:gd name="T51" fmla="*/ 11 h 30"/>
                <a:gd name="T52" fmla="*/ 0 w 120"/>
                <a:gd name="T53" fmla="*/ 15 h 30"/>
                <a:gd name="T54" fmla="*/ 0 w 120"/>
                <a:gd name="T55" fmla="*/ 18 h 30"/>
                <a:gd name="T56" fmla="*/ 1 w 120"/>
                <a:gd name="T57" fmla="*/ 21 h 30"/>
                <a:gd name="T58" fmla="*/ 2 w 120"/>
                <a:gd name="T59" fmla="*/ 23 h 30"/>
                <a:gd name="T60" fmla="*/ 4 w 120"/>
                <a:gd name="T61" fmla="*/ 25 h 30"/>
                <a:gd name="T62" fmla="*/ 6 w 120"/>
                <a:gd name="T63" fmla="*/ 27 h 30"/>
                <a:gd name="T64" fmla="*/ 9 w 120"/>
                <a:gd name="T65" fmla="*/ 28 h 30"/>
                <a:gd name="T66" fmla="*/ 12 w 120"/>
                <a:gd name="T67" fmla="*/ 30 h 30"/>
                <a:gd name="T68" fmla="*/ 15 w 120"/>
                <a:gd name="T69"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20" h="30">
                  <a:moveTo>
                    <a:pt x="15" y="30"/>
                  </a:moveTo>
                  <a:lnTo>
                    <a:pt x="105" y="30"/>
                  </a:lnTo>
                  <a:lnTo>
                    <a:pt x="108" y="30"/>
                  </a:lnTo>
                  <a:lnTo>
                    <a:pt x="110" y="28"/>
                  </a:lnTo>
                  <a:lnTo>
                    <a:pt x="114" y="27"/>
                  </a:lnTo>
                  <a:lnTo>
                    <a:pt x="116" y="25"/>
                  </a:lnTo>
                  <a:lnTo>
                    <a:pt x="118" y="23"/>
                  </a:lnTo>
                  <a:lnTo>
                    <a:pt x="119" y="21"/>
                  </a:lnTo>
                  <a:lnTo>
                    <a:pt x="120" y="18"/>
                  </a:lnTo>
                  <a:lnTo>
                    <a:pt x="120" y="15"/>
                  </a:lnTo>
                  <a:lnTo>
                    <a:pt x="120" y="11"/>
                  </a:lnTo>
                  <a:lnTo>
                    <a:pt x="119" y="9"/>
                  </a:lnTo>
                  <a:lnTo>
                    <a:pt x="118" y="6"/>
                  </a:lnTo>
                  <a:lnTo>
                    <a:pt x="116" y="4"/>
                  </a:lnTo>
                  <a:lnTo>
                    <a:pt x="114" y="3"/>
                  </a:lnTo>
                  <a:lnTo>
                    <a:pt x="110" y="1"/>
                  </a:lnTo>
                  <a:lnTo>
                    <a:pt x="108" y="1"/>
                  </a:lnTo>
                  <a:lnTo>
                    <a:pt x="105" y="0"/>
                  </a:lnTo>
                  <a:lnTo>
                    <a:pt x="15" y="0"/>
                  </a:lnTo>
                  <a:lnTo>
                    <a:pt x="12" y="0"/>
                  </a:lnTo>
                  <a:lnTo>
                    <a:pt x="9" y="1"/>
                  </a:lnTo>
                  <a:lnTo>
                    <a:pt x="6" y="3"/>
                  </a:lnTo>
                  <a:lnTo>
                    <a:pt x="4" y="4"/>
                  </a:lnTo>
                  <a:lnTo>
                    <a:pt x="2" y="6"/>
                  </a:lnTo>
                  <a:lnTo>
                    <a:pt x="1" y="9"/>
                  </a:lnTo>
                  <a:lnTo>
                    <a:pt x="0" y="11"/>
                  </a:lnTo>
                  <a:lnTo>
                    <a:pt x="0" y="15"/>
                  </a:lnTo>
                  <a:lnTo>
                    <a:pt x="0" y="18"/>
                  </a:lnTo>
                  <a:lnTo>
                    <a:pt x="1" y="21"/>
                  </a:lnTo>
                  <a:lnTo>
                    <a:pt x="2" y="23"/>
                  </a:lnTo>
                  <a:lnTo>
                    <a:pt x="4" y="25"/>
                  </a:lnTo>
                  <a:lnTo>
                    <a:pt x="6" y="27"/>
                  </a:lnTo>
                  <a:lnTo>
                    <a:pt x="9" y="28"/>
                  </a:lnTo>
                  <a:lnTo>
                    <a:pt x="12" y="30"/>
                  </a:lnTo>
                  <a:lnTo>
                    <a:pt x="15" y="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Light"/>
                <a:ea typeface="+mn-ea"/>
                <a:cs typeface="+mn-cs"/>
              </a:endParaRPr>
            </a:p>
          </p:txBody>
        </p:sp>
        <p:sp>
          <p:nvSpPr>
            <p:cNvPr id="27" name="Freeform 185"/>
            <p:cNvSpPr>
              <a:spLocks noEditPoints="1"/>
            </p:cNvSpPr>
            <p:nvPr/>
          </p:nvSpPr>
          <p:spPr bwMode="auto">
            <a:xfrm>
              <a:off x="10531475" y="1435100"/>
              <a:ext cx="85725" cy="85725"/>
            </a:xfrm>
            <a:custGeom>
              <a:avLst/>
              <a:gdLst>
                <a:gd name="T0" fmla="*/ 156 w 271"/>
                <a:gd name="T1" fmla="*/ 32 h 271"/>
                <a:gd name="T2" fmla="*/ 185 w 271"/>
                <a:gd name="T3" fmla="*/ 42 h 271"/>
                <a:gd name="T4" fmla="*/ 210 w 271"/>
                <a:gd name="T5" fmla="*/ 61 h 271"/>
                <a:gd name="T6" fmla="*/ 228 w 271"/>
                <a:gd name="T7" fmla="*/ 85 h 271"/>
                <a:gd name="T8" fmla="*/ 239 w 271"/>
                <a:gd name="T9" fmla="*/ 114 h 271"/>
                <a:gd name="T10" fmla="*/ 240 w 271"/>
                <a:gd name="T11" fmla="*/ 146 h 271"/>
                <a:gd name="T12" fmla="*/ 232 w 271"/>
                <a:gd name="T13" fmla="*/ 176 h 271"/>
                <a:gd name="T14" fmla="*/ 216 w 271"/>
                <a:gd name="T15" fmla="*/ 202 h 271"/>
                <a:gd name="T16" fmla="*/ 194 w 271"/>
                <a:gd name="T17" fmla="*/ 222 h 271"/>
                <a:gd name="T18" fmla="*/ 167 w 271"/>
                <a:gd name="T19" fmla="*/ 235 h 271"/>
                <a:gd name="T20" fmla="*/ 135 w 271"/>
                <a:gd name="T21" fmla="*/ 241 h 271"/>
                <a:gd name="T22" fmla="*/ 104 w 271"/>
                <a:gd name="T23" fmla="*/ 235 h 271"/>
                <a:gd name="T24" fmla="*/ 76 w 271"/>
                <a:gd name="T25" fmla="*/ 222 h 271"/>
                <a:gd name="T26" fmla="*/ 55 w 271"/>
                <a:gd name="T27" fmla="*/ 202 h 271"/>
                <a:gd name="T28" fmla="*/ 39 w 271"/>
                <a:gd name="T29" fmla="*/ 176 h 271"/>
                <a:gd name="T30" fmla="*/ 31 w 271"/>
                <a:gd name="T31" fmla="*/ 146 h 271"/>
                <a:gd name="T32" fmla="*/ 32 w 271"/>
                <a:gd name="T33" fmla="*/ 114 h 271"/>
                <a:gd name="T34" fmla="*/ 43 w 271"/>
                <a:gd name="T35" fmla="*/ 85 h 271"/>
                <a:gd name="T36" fmla="*/ 61 w 271"/>
                <a:gd name="T37" fmla="*/ 61 h 271"/>
                <a:gd name="T38" fmla="*/ 86 w 271"/>
                <a:gd name="T39" fmla="*/ 42 h 271"/>
                <a:gd name="T40" fmla="*/ 115 w 271"/>
                <a:gd name="T41" fmla="*/ 32 h 271"/>
                <a:gd name="T42" fmla="*/ 135 w 271"/>
                <a:gd name="T43" fmla="*/ 271 h 271"/>
                <a:gd name="T44" fmla="*/ 176 w 271"/>
                <a:gd name="T45" fmla="*/ 264 h 271"/>
                <a:gd name="T46" fmla="*/ 211 w 271"/>
                <a:gd name="T47" fmla="*/ 247 h 271"/>
                <a:gd name="T48" fmla="*/ 240 w 271"/>
                <a:gd name="T49" fmla="*/ 221 h 271"/>
                <a:gd name="T50" fmla="*/ 260 w 271"/>
                <a:gd name="T51" fmla="*/ 188 h 271"/>
                <a:gd name="T52" fmla="*/ 270 w 271"/>
                <a:gd name="T53" fmla="*/ 148 h 271"/>
                <a:gd name="T54" fmla="*/ 268 w 271"/>
                <a:gd name="T55" fmla="*/ 108 h 271"/>
                <a:gd name="T56" fmla="*/ 254 w 271"/>
                <a:gd name="T57" fmla="*/ 70 h 271"/>
                <a:gd name="T58" fmla="*/ 231 w 271"/>
                <a:gd name="T59" fmla="*/ 39 h 271"/>
                <a:gd name="T60" fmla="*/ 199 w 271"/>
                <a:gd name="T61" fmla="*/ 17 h 271"/>
                <a:gd name="T62" fmla="*/ 163 w 271"/>
                <a:gd name="T63" fmla="*/ 3 h 271"/>
                <a:gd name="T64" fmla="*/ 121 w 271"/>
                <a:gd name="T65" fmla="*/ 1 h 271"/>
                <a:gd name="T66" fmla="*/ 82 w 271"/>
                <a:gd name="T67" fmla="*/ 10 h 271"/>
                <a:gd name="T68" fmla="*/ 49 w 271"/>
                <a:gd name="T69" fmla="*/ 31 h 271"/>
                <a:gd name="T70" fmla="*/ 24 w 271"/>
                <a:gd name="T71" fmla="*/ 60 h 271"/>
                <a:gd name="T72" fmla="*/ 6 w 271"/>
                <a:gd name="T73" fmla="*/ 95 h 271"/>
                <a:gd name="T74" fmla="*/ 0 w 271"/>
                <a:gd name="T75" fmla="*/ 136 h 271"/>
                <a:gd name="T76" fmla="*/ 6 w 271"/>
                <a:gd name="T77" fmla="*/ 175 h 271"/>
                <a:gd name="T78" fmla="*/ 24 w 271"/>
                <a:gd name="T79" fmla="*/ 211 h 271"/>
                <a:gd name="T80" fmla="*/ 49 w 271"/>
                <a:gd name="T81" fmla="*/ 239 h 271"/>
                <a:gd name="T82" fmla="*/ 82 w 271"/>
                <a:gd name="T83" fmla="*/ 260 h 271"/>
                <a:gd name="T84" fmla="*/ 121 w 271"/>
                <a:gd name="T85" fmla="*/ 269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71" h="271">
                  <a:moveTo>
                    <a:pt x="135" y="30"/>
                  </a:moveTo>
                  <a:lnTo>
                    <a:pt x="146" y="31"/>
                  </a:lnTo>
                  <a:lnTo>
                    <a:pt x="156" y="32"/>
                  </a:lnTo>
                  <a:lnTo>
                    <a:pt x="167" y="35"/>
                  </a:lnTo>
                  <a:lnTo>
                    <a:pt x="177" y="38"/>
                  </a:lnTo>
                  <a:lnTo>
                    <a:pt x="185" y="42"/>
                  </a:lnTo>
                  <a:lnTo>
                    <a:pt x="194" y="48"/>
                  </a:lnTo>
                  <a:lnTo>
                    <a:pt x="202" y="54"/>
                  </a:lnTo>
                  <a:lnTo>
                    <a:pt x="210" y="61"/>
                  </a:lnTo>
                  <a:lnTo>
                    <a:pt x="216" y="68"/>
                  </a:lnTo>
                  <a:lnTo>
                    <a:pt x="223" y="77"/>
                  </a:lnTo>
                  <a:lnTo>
                    <a:pt x="228" y="85"/>
                  </a:lnTo>
                  <a:lnTo>
                    <a:pt x="232" y="94"/>
                  </a:lnTo>
                  <a:lnTo>
                    <a:pt x="236" y="103"/>
                  </a:lnTo>
                  <a:lnTo>
                    <a:pt x="239" y="114"/>
                  </a:lnTo>
                  <a:lnTo>
                    <a:pt x="240" y="125"/>
                  </a:lnTo>
                  <a:lnTo>
                    <a:pt x="241" y="136"/>
                  </a:lnTo>
                  <a:lnTo>
                    <a:pt x="240" y="146"/>
                  </a:lnTo>
                  <a:lnTo>
                    <a:pt x="239" y="156"/>
                  </a:lnTo>
                  <a:lnTo>
                    <a:pt x="236" y="167"/>
                  </a:lnTo>
                  <a:lnTo>
                    <a:pt x="232" y="176"/>
                  </a:lnTo>
                  <a:lnTo>
                    <a:pt x="228" y="185"/>
                  </a:lnTo>
                  <a:lnTo>
                    <a:pt x="223" y="193"/>
                  </a:lnTo>
                  <a:lnTo>
                    <a:pt x="216" y="202"/>
                  </a:lnTo>
                  <a:lnTo>
                    <a:pt x="210" y="209"/>
                  </a:lnTo>
                  <a:lnTo>
                    <a:pt x="202" y="216"/>
                  </a:lnTo>
                  <a:lnTo>
                    <a:pt x="194" y="222"/>
                  </a:lnTo>
                  <a:lnTo>
                    <a:pt x="185" y="228"/>
                  </a:lnTo>
                  <a:lnTo>
                    <a:pt x="177" y="232"/>
                  </a:lnTo>
                  <a:lnTo>
                    <a:pt x="167" y="235"/>
                  </a:lnTo>
                  <a:lnTo>
                    <a:pt x="156" y="238"/>
                  </a:lnTo>
                  <a:lnTo>
                    <a:pt x="146" y="239"/>
                  </a:lnTo>
                  <a:lnTo>
                    <a:pt x="135" y="241"/>
                  </a:lnTo>
                  <a:lnTo>
                    <a:pt x="124" y="239"/>
                  </a:lnTo>
                  <a:lnTo>
                    <a:pt x="115" y="238"/>
                  </a:lnTo>
                  <a:lnTo>
                    <a:pt x="104" y="235"/>
                  </a:lnTo>
                  <a:lnTo>
                    <a:pt x="94" y="232"/>
                  </a:lnTo>
                  <a:lnTo>
                    <a:pt x="86" y="228"/>
                  </a:lnTo>
                  <a:lnTo>
                    <a:pt x="76" y="222"/>
                  </a:lnTo>
                  <a:lnTo>
                    <a:pt x="69" y="216"/>
                  </a:lnTo>
                  <a:lnTo>
                    <a:pt x="61" y="209"/>
                  </a:lnTo>
                  <a:lnTo>
                    <a:pt x="55" y="202"/>
                  </a:lnTo>
                  <a:lnTo>
                    <a:pt x="48" y="193"/>
                  </a:lnTo>
                  <a:lnTo>
                    <a:pt x="43" y="185"/>
                  </a:lnTo>
                  <a:lnTo>
                    <a:pt x="39" y="176"/>
                  </a:lnTo>
                  <a:lnTo>
                    <a:pt x="35" y="167"/>
                  </a:lnTo>
                  <a:lnTo>
                    <a:pt x="32" y="156"/>
                  </a:lnTo>
                  <a:lnTo>
                    <a:pt x="31" y="146"/>
                  </a:lnTo>
                  <a:lnTo>
                    <a:pt x="30" y="136"/>
                  </a:lnTo>
                  <a:lnTo>
                    <a:pt x="31" y="125"/>
                  </a:lnTo>
                  <a:lnTo>
                    <a:pt x="32" y="114"/>
                  </a:lnTo>
                  <a:lnTo>
                    <a:pt x="35" y="103"/>
                  </a:lnTo>
                  <a:lnTo>
                    <a:pt x="39" y="94"/>
                  </a:lnTo>
                  <a:lnTo>
                    <a:pt x="43" y="85"/>
                  </a:lnTo>
                  <a:lnTo>
                    <a:pt x="48" y="77"/>
                  </a:lnTo>
                  <a:lnTo>
                    <a:pt x="55" y="68"/>
                  </a:lnTo>
                  <a:lnTo>
                    <a:pt x="61" y="61"/>
                  </a:lnTo>
                  <a:lnTo>
                    <a:pt x="69" y="54"/>
                  </a:lnTo>
                  <a:lnTo>
                    <a:pt x="76" y="48"/>
                  </a:lnTo>
                  <a:lnTo>
                    <a:pt x="86" y="42"/>
                  </a:lnTo>
                  <a:lnTo>
                    <a:pt x="94" y="38"/>
                  </a:lnTo>
                  <a:lnTo>
                    <a:pt x="104" y="35"/>
                  </a:lnTo>
                  <a:lnTo>
                    <a:pt x="115" y="32"/>
                  </a:lnTo>
                  <a:lnTo>
                    <a:pt x="124" y="31"/>
                  </a:lnTo>
                  <a:lnTo>
                    <a:pt x="135" y="30"/>
                  </a:lnTo>
                  <a:close/>
                  <a:moveTo>
                    <a:pt x="135" y="271"/>
                  </a:moveTo>
                  <a:lnTo>
                    <a:pt x="149" y="269"/>
                  </a:lnTo>
                  <a:lnTo>
                    <a:pt x="163" y="267"/>
                  </a:lnTo>
                  <a:lnTo>
                    <a:pt x="176" y="264"/>
                  </a:lnTo>
                  <a:lnTo>
                    <a:pt x="187" y="260"/>
                  </a:lnTo>
                  <a:lnTo>
                    <a:pt x="200" y="254"/>
                  </a:lnTo>
                  <a:lnTo>
                    <a:pt x="211" y="247"/>
                  </a:lnTo>
                  <a:lnTo>
                    <a:pt x="222" y="239"/>
                  </a:lnTo>
                  <a:lnTo>
                    <a:pt x="231" y="231"/>
                  </a:lnTo>
                  <a:lnTo>
                    <a:pt x="240" y="221"/>
                  </a:lnTo>
                  <a:lnTo>
                    <a:pt x="247" y="211"/>
                  </a:lnTo>
                  <a:lnTo>
                    <a:pt x="254" y="200"/>
                  </a:lnTo>
                  <a:lnTo>
                    <a:pt x="260" y="188"/>
                  </a:lnTo>
                  <a:lnTo>
                    <a:pt x="265" y="175"/>
                  </a:lnTo>
                  <a:lnTo>
                    <a:pt x="268" y="162"/>
                  </a:lnTo>
                  <a:lnTo>
                    <a:pt x="270" y="148"/>
                  </a:lnTo>
                  <a:lnTo>
                    <a:pt x="271" y="136"/>
                  </a:lnTo>
                  <a:lnTo>
                    <a:pt x="270" y="122"/>
                  </a:lnTo>
                  <a:lnTo>
                    <a:pt x="268" y="108"/>
                  </a:lnTo>
                  <a:lnTo>
                    <a:pt x="265" y="95"/>
                  </a:lnTo>
                  <a:lnTo>
                    <a:pt x="260" y="82"/>
                  </a:lnTo>
                  <a:lnTo>
                    <a:pt x="254" y="70"/>
                  </a:lnTo>
                  <a:lnTo>
                    <a:pt x="247" y="60"/>
                  </a:lnTo>
                  <a:lnTo>
                    <a:pt x="240" y="49"/>
                  </a:lnTo>
                  <a:lnTo>
                    <a:pt x="231" y="39"/>
                  </a:lnTo>
                  <a:lnTo>
                    <a:pt x="222" y="31"/>
                  </a:lnTo>
                  <a:lnTo>
                    <a:pt x="211" y="23"/>
                  </a:lnTo>
                  <a:lnTo>
                    <a:pt x="199" y="17"/>
                  </a:lnTo>
                  <a:lnTo>
                    <a:pt x="187" y="10"/>
                  </a:lnTo>
                  <a:lnTo>
                    <a:pt x="176" y="6"/>
                  </a:lnTo>
                  <a:lnTo>
                    <a:pt x="163" y="3"/>
                  </a:lnTo>
                  <a:lnTo>
                    <a:pt x="149" y="1"/>
                  </a:lnTo>
                  <a:lnTo>
                    <a:pt x="135" y="0"/>
                  </a:lnTo>
                  <a:lnTo>
                    <a:pt x="121" y="1"/>
                  </a:lnTo>
                  <a:lnTo>
                    <a:pt x="108" y="3"/>
                  </a:lnTo>
                  <a:lnTo>
                    <a:pt x="95" y="6"/>
                  </a:lnTo>
                  <a:lnTo>
                    <a:pt x="82" y="10"/>
                  </a:lnTo>
                  <a:lnTo>
                    <a:pt x="71" y="16"/>
                  </a:lnTo>
                  <a:lnTo>
                    <a:pt x="60" y="23"/>
                  </a:lnTo>
                  <a:lnTo>
                    <a:pt x="49" y="31"/>
                  </a:lnTo>
                  <a:lnTo>
                    <a:pt x="40" y="39"/>
                  </a:lnTo>
                  <a:lnTo>
                    <a:pt x="31" y="49"/>
                  </a:lnTo>
                  <a:lnTo>
                    <a:pt x="24" y="60"/>
                  </a:lnTo>
                  <a:lnTo>
                    <a:pt x="16" y="70"/>
                  </a:lnTo>
                  <a:lnTo>
                    <a:pt x="11" y="82"/>
                  </a:lnTo>
                  <a:lnTo>
                    <a:pt x="6" y="95"/>
                  </a:lnTo>
                  <a:lnTo>
                    <a:pt x="3" y="108"/>
                  </a:lnTo>
                  <a:lnTo>
                    <a:pt x="1" y="122"/>
                  </a:lnTo>
                  <a:lnTo>
                    <a:pt x="0" y="136"/>
                  </a:lnTo>
                  <a:lnTo>
                    <a:pt x="1" y="148"/>
                  </a:lnTo>
                  <a:lnTo>
                    <a:pt x="3" y="162"/>
                  </a:lnTo>
                  <a:lnTo>
                    <a:pt x="6" y="175"/>
                  </a:lnTo>
                  <a:lnTo>
                    <a:pt x="11" y="188"/>
                  </a:lnTo>
                  <a:lnTo>
                    <a:pt x="16" y="200"/>
                  </a:lnTo>
                  <a:lnTo>
                    <a:pt x="24" y="211"/>
                  </a:lnTo>
                  <a:lnTo>
                    <a:pt x="31" y="221"/>
                  </a:lnTo>
                  <a:lnTo>
                    <a:pt x="40" y="231"/>
                  </a:lnTo>
                  <a:lnTo>
                    <a:pt x="49" y="239"/>
                  </a:lnTo>
                  <a:lnTo>
                    <a:pt x="60" y="247"/>
                  </a:lnTo>
                  <a:lnTo>
                    <a:pt x="71" y="254"/>
                  </a:lnTo>
                  <a:lnTo>
                    <a:pt x="82" y="260"/>
                  </a:lnTo>
                  <a:lnTo>
                    <a:pt x="95" y="264"/>
                  </a:lnTo>
                  <a:lnTo>
                    <a:pt x="108" y="267"/>
                  </a:lnTo>
                  <a:lnTo>
                    <a:pt x="121" y="269"/>
                  </a:lnTo>
                  <a:lnTo>
                    <a:pt x="135" y="271"/>
                  </a:lnTo>
                  <a:lnTo>
                    <a:pt x="135" y="2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Light"/>
                <a:ea typeface="+mn-ea"/>
                <a:cs typeface="+mn-cs"/>
              </a:endParaRPr>
            </a:p>
          </p:txBody>
        </p:sp>
      </p:grpSp>
      <p:grpSp>
        <p:nvGrpSpPr>
          <p:cNvPr id="28" name="Group 27"/>
          <p:cNvGrpSpPr/>
          <p:nvPr/>
        </p:nvGrpSpPr>
        <p:grpSpPr>
          <a:xfrm>
            <a:off x="5877730" y="4010857"/>
            <a:ext cx="286131" cy="287721"/>
            <a:chOff x="10455275" y="2498725"/>
            <a:chExt cx="285750" cy="287338"/>
          </a:xfrm>
          <a:solidFill>
            <a:schemeClr val="bg1"/>
          </a:solidFill>
        </p:grpSpPr>
        <p:sp>
          <p:nvSpPr>
            <p:cNvPr id="29" name="Freeform 214"/>
            <p:cNvSpPr>
              <a:spLocks noEditPoints="1"/>
            </p:cNvSpPr>
            <p:nvPr/>
          </p:nvSpPr>
          <p:spPr bwMode="auto">
            <a:xfrm>
              <a:off x="10455275" y="2593975"/>
              <a:ext cx="285750" cy="192088"/>
            </a:xfrm>
            <a:custGeom>
              <a:avLst/>
              <a:gdLst>
                <a:gd name="T0" fmla="*/ 812 w 903"/>
                <a:gd name="T1" fmla="*/ 30 h 601"/>
                <a:gd name="T2" fmla="*/ 512 w 903"/>
                <a:gd name="T3" fmla="*/ 571 h 601"/>
                <a:gd name="T4" fmla="*/ 602 w 903"/>
                <a:gd name="T5" fmla="*/ 571 h 601"/>
                <a:gd name="T6" fmla="*/ 301 w 903"/>
                <a:gd name="T7" fmla="*/ 210 h 601"/>
                <a:gd name="T8" fmla="*/ 301 w 903"/>
                <a:gd name="T9" fmla="*/ 571 h 601"/>
                <a:gd name="T10" fmla="*/ 181 w 903"/>
                <a:gd name="T11" fmla="*/ 421 h 601"/>
                <a:gd name="T12" fmla="*/ 888 w 903"/>
                <a:gd name="T13" fmla="*/ 571 h 601"/>
                <a:gd name="T14" fmla="*/ 842 w 903"/>
                <a:gd name="T15" fmla="*/ 12 h 601"/>
                <a:gd name="T16" fmla="*/ 838 w 903"/>
                <a:gd name="T17" fmla="*/ 5 h 601"/>
                <a:gd name="T18" fmla="*/ 830 w 903"/>
                <a:gd name="T19" fmla="*/ 0 h 601"/>
                <a:gd name="T20" fmla="*/ 704 w 903"/>
                <a:gd name="T21" fmla="*/ 0 h 601"/>
                <a:gd name="T22" fmla="*/ 696 w 903"/>
                <a:gd name="T23" fmla="*/ 5 h 601"/>
                <a:gd name="T24" fmla="*/ 692 w 903"/>
                <a:gd name="T25" fmla="*/ 12 h 601"/>
                <a:gd name="T26" fmla="*/ 632 w 903"/>
                <a:gd name="T27" fmla="*/ 571 h 601"/>
                <a:gd name="T28" fmla="*/ 631 w 903"/>
                <a:gd name="T29" fmla="*/ 280 h 601"/>
                <a:gd name="T30" fmla="*/ 626 w 903"/>
                <a:gd name="T31" fmla="*/ 274 h 601"/>
                <a:gd name="T32" fmla="*/ 617 w 903"/>
                <a:gd name="T33" fmla="*/ 270 h 601"/>
                <a:gd name="T34" fmla="*/ 491 w 903"/>
                <a:gd name="T35" fmla="*/ 271 h 601"/>
                <a:gd name="T36" fmla="*/ 484 w 903"/>
                <a:gd name="T37" fmla="*/ 278 h 601"/>
                <a:gd name="T38" fmla="*/ 482 w 903"/>
                <a:gd name="T39" fmla="*/ 285 h 601"/>
                <a:gd name="T40" fmla="*/ 421 w 903"/>
                <a:gd name="T41" fmla="*/ 195 h 601"/>
                <a:gd name="T42" fmla="*/ 419 w 903"/>
                <a:gd name="T43" fmla="*/ 187 h 601"/>
                <a:gd name="T44" fmla="*/ 412 w 903"/>
                <a:gd name="T45" fmla="*/ 181 h 601"/>
                <a:gd name="T46" fmla="*/ 286 w 903"/>
                <a:gd name="T47" fmla="*/ 180 h 601"/>
                <a:gd name="T48" fmla="*/ 277 w 903"/>
                <a:gd name="T49" fmla="*/ 184 h 601"/>
                <a:gd name="T50" fmla="*/ 272 w 903"/>
                <a:gd name="T51" fmla="*/ 190 h 601"/>
                <a:gd name="T52" fmla="*/ 271 w 903"/>
                <a:gd name="T53" fmla="*/ 571 h 601"/>
                <a:gd name="T54" fmla="*/ 211 w 903"/>
                <a:gd name="T55" fmla="*/ 403 h 601"/>
                <a:gd name="T56" fmla="*/ 207 w 903"/>
                <a:gd name="T57" fmla="*/ 396 h 601"/>
                <a:gd name="T58" fmla="*/ 199 w 903"/>
                <a:gd name="T59" fmla="*/ 391 h 601"/>
                <a:gd name="T60" fmla="*/ 73 w 903"/>
                <a:gd name="T61" fmla="*/ 391 h 601"/>
                <a:gd name="T62" fmla="*/ 65 w 903"/>
                <a:gd name="T63" fmla="*/ 396 h 601"/>
                <a:gd name="T64" fmla="*/ 61 w 903"/>
                <a:gd name="T65" fmla="*/ 403 h 601"/>
                <a:gd name="T66" fmla="*/ 16 w 903"/>
                <a:gd name="T67" fmla="*/ 571 h 601"/>
                <a:gd name="T68" fmla="*/ 7 w 903"/>
                <a:gd name="T69" fmla="*/ 573 h 601"/>
                <a:gd name="T70" fmla="*/ 2 w 903"/>
                <a:gd name="T71" fmla="*/ 581 h 601"/>
                <a:gd name="T72" fmla="*/ 1 w 903"/>
                <a:gd name="T73" fmla="*/ 590 h 601"/>
                <a:gd name="T74" fmla="*/ 5 w 903"/>
                <a:gd name="T75" fmla="*/ 597 h 601"/>
                <a:gd name="T76" fmla="*/ 13 w 903"/>
                <a:gd name="T77" fmla="*/ 601 h 601"/>
                <a:gd name="T78" fmla="*/ 196 w 903"/>
                <a:gd name="T79" fmla="*/ 601 h 601"/>
                <a:gd name="T80" fmla="*/ 497 w 903"/>
                <a:gd name="T81" fmla="*/ 601 h 601"/>
                <a:gd name="T82" fmla="*/ 827 w 903"/>
                <a:gd name="T83" fmla="*/ 601 h 601"/>
                <a:gd name="T84" fmla="*/ 893 w 903"/>
                <a:gd name="T85" fmla="*/ 600 h 601"/>
                <a:gd name="T86" fmla="*/ 900 w 903"/>
                <a:gd name="T87" fmla="*/ 595 h 601"/>
                <a:gd name="T88" fmla="*/ 903 w 903"/>
                <a:gd name="T89" fmla="*/ 586 h 601"/>
                <a:gd name="T90" fmla="*/ 900 w 903"/>
                <a:gd name="T91" fmla="*/ 578 h 601"/>
                <a:gd name="T92" fmla="*/ 893 w 903"/>
                <a:gd name="T93" fmla="*/ 572 h 6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903" h="601">
                  <a:moveTo>
                    <a:pt x="722" y="571"/>
                  </a:moveTo>
                  <a:lnTo>
                    <a:pt x="722" y="30"/>
                  </a:lnTo>
                  <a:lnTo>
                    <a:pt x="812" y="30"/>
                  </a:lnTo>
                  <a:lnTo>
                    <a:pt x="812" y="571"/>
                  </a:lnTo>
                  <a:lnTo>
                    <a:pt x="722" y="571"/>
                  </a:lnTo>
                  <a:close/>
                  <a:moveTo>
                    <a:pt x="512" y="571"/>
                  </a:moveTo>
                  <a:lnTo>
                    <a:pt x="512" y="300"/>
                  </a:lnTo>
                  <a:lnTo>
                    <a:pt x="602" y="300"/>
                  </a:lnTo>
                  <a:lnTo>
                    <a:pt x="602" y="571"/>
                  </a:lnTo>
                  <a:lnTo>
                    <a:pt x="512" y="571"/>
                  </a:lnTo>
                  <a:close/>
                  <a:moveTo>
                    <a:pt x="301" y="571"/>
                  </a:moveTo>
                  <a:lnTo>
                    <a:pt x="301" y="210"/>
                  </a:lnTo>
                  <a:lnTo>
                    <a:pt x="391" y="210"/>
                  </a:lnTo>
                  <a:lnTo>
                    <a:pt x="391" y="571"/>
                  </a:lnTo>
                  <a:lnTo>
                    <a:pt x="301" y="571"/>
                  </a:lnTo>
                  <a:close/>
                  <a:moveTo>
                    <a:pt x="91" y="571"/>
                  </a:moveTo>
                  <a:lnTo>
                    <a:pt x="91" y="421"/>
                  </a:lnTo>
                  <a:lnTo>
                    <a:pt x="181" y="421"/>
                  </a:lnTo>
                  <a:lnTo>
                    <a:pt x="181" y="571"/>
                  </a:lnTo>
                  <a:lnTo>
                    <a:pt x="91" y="571"/>
                  </a:lnTo>
                  <a:close/>
                  <a:moveTo>
                    <a:pt x="888" y="571"/>
                  </a:moveTo>
                  <a:lnTo>
                    <a:pt x="842" y="571"/>
                  </a:lnTo>
                  <a:lnTo>
                    <a:pt x="842" y="15"/>
                  </a:lnTo>
                  <a:lnTo>
                    <a:pt x="842" y="12"/>
                  </a:lnTo>
                  <a:lnTo>
                    <a:pt x="841" y="9"/>
                  </a:lnTo>
                  <a:lnTo>
                    <a:pt x="840" y="7"/>
                  </a:lnTo>
                  <a:lnTo>
                    <a:pt x="838" y="5"/>
                  </a:lnTo>
                  <a:lnTo>
                    <a:pt x="836" y="3"/>
                  </a:lnTo>
                  <a:lnTo>
                    <a:pt x="833" y="1"/>
                  </a:lnTo>
                  <a:lnTo>
                    <a:pt x="830" y="0"/>
                  </a:lnTo>
                  <a:lnTo>
                    <a:pt x="827" y="0"/>
                  </a:lnTo>
                  <a:lnTo>
                    <a:pt x="707" y="0"/>
                  </a:lnTo>
                  <a:lnTo>
                    <a:pt x="704" y="0"/>
                  </a:lnTo>
                  <a:lnTo>
                    <a:pt x="702" y="1"/>
                  </a:lnTo>
                  <a:lnTo>
                    <a:pt x="698" y="3"/>
                  </a:lnTo>
                  <a:lnTo>
                    <a:pt x="696" y="5"/>
                  </a:lnTo>
                  <a:lnTo>
                    <a:pt x="694" y="7"/>
                  </a:lnTo>
                  <a:lnTo>
                    <a:pt x="693" y="9"/>
                  </a:lnTo>
                  <a:lnTo>
                    <a:pt x="692" y="12"/>
                  </a:lnTo>
                  <a:lnTo>
                    <a:pt x="692" y="15"/>
                  </a:lnTo>
                  <a:lnTo>
                    <a:pt x="692" y="571"/>
                  </a:lnTo>
                  <a:lnTo>
                    <a:pt x="632" y="571"/>
                  </a:lnTo>
                  <a:lnTo>
                    <a:pt x="632" y="285"/>
                  </a:lnTo>
                  <a:lnTo>
                    <a:pt x="632" y="283"/>
                  </a:lnTo>
                  <a:lnTo>
                    <a:pt x="631" y="280"/>
                  </a:lnTo>
                  <a:lnTo>
                    <a:pt x="630" y="278"/>
                  </a:lnTo>
                  <a:lnTo>
                    <a:pt x="628" y="275"/>
                  </a:lnTo>
                  <a:lnTo>
                    <a:pt x="626" y="274"/>
                  </a:lnTo>
                  <a:lnTo>
                    <a:pt x="622" y="271"/>
                  </a:lnTo>
                  <a:lnTo>
                    <a:pt x="620" y="271"/>
                  </a:lnTo>
                  <a:lnTo>
                    <a:pt x="617" y="270"/>
                  </a:lnTo>
                  <a:lnTo>
                    <a:pt x="497" y="270"/>
                  </a:lnTo>
                  <a:lnTo>
                    <a:pt x="494" y="271"/>
                  </a:lnTo>
                  <a:lnTo>
                    <a:pt x="491" y="271"/>
                  </a:lnTo>
                  <a:lnTo>
                    <a:pt x="488" y="274"/>
                  </a:lnTo>
                  <a:lnTo>
                    <a:pt x="486" y="275"/>
                  </a:lnTo>
                  <a:lnTo>
                    <a:pt x="484" y="278"/>
                  </a:lnTo>
                  <a:lnTo>
                    <a:pt x="483" y="280"/>
                  </a:lnTo>
                  <a:lnTo>
                    <a:pt x="482" y="283"/>
                  </a:lnTo>
                  <a:lnTo>
                    <a:pt x="482" y="285"/>
                  </a:lnTo>
                  <a:lnTo>
                    <a:pt x="482" y="571"/>
                  </a:lnTo>
                  <a:lnTo>
                    <a:pt x="421" y="571"/>
                  </a:lnTo>
                  <a:lnTo>
                    <a:pt x="421" y="195"/>
                  </a:lnTo>
                  <a:lnTo>
                    <a:pt x="421" y="192"/>
                  </a:lnTo>
                  <a:lnTo>
                    <a:pt x="420" y="190"/>
                  </a:lnTo>
                  <a:lnTo>
                    <a:pt x="419" y="187"/>
                  </a:lnTo>
                  <a:lnTo>
                    <a:pt x="417" y="185"/>
                  </a:lnTo>
                  <a:lnTo>
                    <a:pt x="415" y="184"/>
                  </a:lnTo>
                  <a:lnTo>
                    <a:pt x="412" y="181"/>
                  </a:lnTo>
                  <a:lnTo>
                    <a:pt x="409" y="180"/>
                  </a:lnTo>
                  <a:lnTo>
                    <a:pt x="406" y="180"/>
                  </a:lnTo>
                  <a:lnTo>
                    <a:pt x="286" y="180"/>
                  </a:lnTo>
                  <a:lnTo>
                    <a:pt x="283" y="180"/>
                  </a:lnTo>
                  <a:lnTo>
                    <a:pt x="281" y="181"/>
                  </a:lnTo>
                  <a:lnTo>
                    <a:pt x="277" y="184"/>
                  </a:lnTo>
                  <a:lnTo>
                    <a:pt x="275" y="185"/>
                  </a:lnTo>
                  <a:lnTo>
                    <a:pt x="274" y="187"/>
                  </a:lnTo>
                  <a:lnTo>
                    <a:pt x="272" y="190"/>
                  </a:lnTo>
                  <a:lnTo>
                    <a:pt x="271" y="192"/>
                  </a:lnTo>
                  <a:lnTo>
                    <a:pt x="271" y="195"/>
                  </a:lnTo>
                  <a:lnTo>
                    <a:pt x="271" y="571"/>
                  </a:lnTo>
                  <a:lnTo>
                    <a:pt x="211" y="571"/>
                  </a:lnTo>
                  <a:lnTo>
                    <a:pt x="211" y="406"/>
                  </a:lnTo>
                  <a:lnTo>
                    <a:pt x="211" y="403"/>
                  </a:lnTo>
                  <a:lnTo>
                    <a:pt x="210" y="400"/>
                  </a:lnTo>
                  <a:lnTo>
                    <a:pt x="209" y="398"/>
                  </a:lnTo>
                  <a:lnTo>
                    <a:pt x="207" y="396"/>
                  </a:lnTo>
                  <a:lnTo>
                    <a:pt x="205" y="394"/>
                  </a:lnTo>
                  <a:lnTo>
                    <a:pt x="201" y="392"/>
                  </a:lnTo>
                  <a:lnTo>
                    <a:pt x="199" y="391"/>
                  </a:lnTo>
                  <a:lnTo>
                    <a:pt x="196" y="391"/>
                  </a:lnTo>
                  <a:lnTo>
                    <a:pt x="76" y="391"/>
                  </a:lnTo>
                  <a:lnTo>
                    <a:pt x="73" y="391"/>
                  </a:lnTo>
                  <a:lnTo>
                    <a:pt x="70" y="392"/>
                  </a:lnTo>
                  <a:lnTo>
                    <a:pt x="67" y="394"/>
                  </a:lnTo>
                  <a:lnTo>
                    <a:pt x="65" y="396"/>
                  </a:lnTo>
                  <a:lnTo>
                    <a:pt x="63" y="398"/>
                  </a:lnTo>
                  <a:lnTo>
                    <a:pt x="62" y="400"/>
                  </a:lnTo>
                  <a:lnTo>
                    <a:pt x="61" y="403"/>
                  </a:lnTo>
                  <a:lnTo>
                    <a:pt x="61" y="406"/>
                  </a:lnTo>
                  <a:lnTo>
                    <a:pt x="61" y="571"/>
                  </a:lnTo>
                  <a:lnTo>
                    <a:pt x="16" y="571"/>
                  </a:lnTo>
                  <a:lnTo>
                    <a:pt x="13" y="571"/>
                  </a:lnTo>
                  <a:lnTo>
                    <a:pt x="10" y="572"/>
                  </a:lnTo>
                  <a:lnTo>
                    <a:pt x="7" y="573"/>
                  </a:lnTo>
                  <a:lnTo>
                    <a:pt x="5" y="576"/>
                  </a:lnTo>
                  <a:lnTo>
                    <a:pt x="3" y="578"/>
                  </a:lnTo>
                  <a:lnTo>
                    <a:pt x="2" y="581"/>
                  </a:lnTo>
                  <a:lnTo>
                    <a:pt x="1" y="583"/>
                  </a:lnTo>
                  <a:lnTo>
                    <a:pt x="0" y="586"/>
                  </a:lnTo>
                  <a:lnTo>
                    <a:pt x="1" y="590"/>
                  </a:lnTo>
                  <a:lnTo>
                    <a:pt x="2" y="593"/>
                  </a:lnTo>
                  <a:lnTo>
                    <a:pt x="3" y="595"/>
                  </a:lnTo>
                  <a:lnTo>
                    <a:pt x="5" y="597"/>
                  </a:lnTo>
                  <a:lnTo>
                    <a:pt x="7" y="599"/>
                  </a:lnTo>
                  <a:lnTo>
                    <a:pt x="10" y="600"/>
                  </a:lnTo>
                  <a:lnTo>
                    <a:pt x="13" y="601"/>
                  </a:lnTo>
                  <a:lnTo>
                    <a:pt x="16" y="601"/>
                  </a:lnTo>
                  <a:lnTo>
                    <a:pt x="76" y="601"/>
                  </a:lnTo>
                  <a:lnTo>
                    <a:pt x="196" y="601"/>
                  </a:lnTo>
                  <a:lnTo>
                    <a:pt x="286" y="601"/>
                  </a:lnTo>
                  <a:lnTo>
                    <a:pt x="406" y="601"/>
                  </a:lnTo>
                  <a:lnTo>
                    <a:pt x="497" y="601"/>
                  </a:lnTo>
                  <a:lnTo>
                    <a:pt x="617" y="601"/>
                  </a:lnTo>
                  <a:lnTo>
                    <a:pt x="707" y="601"/>
                  </a:lnTo>
                  <a:lnTo>
                    <a:pt x="827" y="601"/>
                  </a:lnTo>
                  <a:lnTo>
                    <a:pt x="888" y="601"/>
                  </a:lnTo>
                  <a:lnTo>
                    <a:pt x="890" y="601"/>
                  </a:lnTo>
                  <a:lnTo>
                    <a:pt x="893" y="600"/>
                  </a:lnTo>
                  <a:lnTo>
                    <a:pt x="896" y="599"/>
                  </a:lnTo>
                  <a:lnTo>
                    <a:pt x="898" y="597"/>
                  </a:lnTo>
                  <a:lnTo>
                    <a:pt x="900" y="595"/>
                  </a:lnTo>
                  <a:lnTo>
                    <a:pt x="901" y="593"/>
                  </a:lnTo>
                  <a:lnTo>
                    <a:pt x="902" y="590"/>
                  </a:lnTo>
                  <a:lnTo>
                    <a:pt x="903" y="586"/>
                  </a:lnTo>
                  <a:lnTo>
                    <a:pt x="902" y="583"/>
                  </a:lnTo>
                  <a:lnTo>
                    <a:pt x="901" y="581"/>
                  </a:lnTo>
                  <a:lnTo>
                    <a:pt x="900" y="578"/>
                  </a:lnTo>
                  <a:lnTo>
                    <a:pt x="898" y="576"/>
                  </a:lnTo>
                  <a:lnTo>
                    <a:pt x="896" y="573"/>
                  </a:lnTo>
                  <a:lnTo>
                    <a:pt x="893" y="572"/>
                  </a:lnTo>
                  <a:lnTo>
                    <a:pt x="890" y="571"/>
                  </a:lnTo>
                  <a:lnTo>
                    <a:pt x="888" y="5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Light"/>
                <a:ea typeface="+mn-ea"/>
                <a:cs typeface="+mn-cs"/>
              </a:endParaRPr>
            </a:p>
          </p:txBody>
        </p:sp>
        <p:sp>
          <p:nvSpPr>
            <p:cNvPr id="30" name="Freeform 215"/>
            <p:cNvSpPr>
              <a:spLocks noEditPoints="1"/>
            </p:cNvSpPr>
            <p:nvPr/>
          </p:nvSpPr>
          <p:spPr bwMode="auto">
            <a:xfrm>
              <a:off x="10474325" y="2498725"/>
              <a:ext cx="252413" cy="157163"/>
            </a:xfrm>
            <a:custGeom>
              <a:avLst/>
              <a:gdLst>
                <a:gd name="T0" fmla="*/ 83 w 796"/>
                <a:gd name="T1" fmla="*/ 417 h 496"/>
                <a:gd name="T2" fmla="*/ 89 w 796"/>
                <a:gd name="T3" fmla="*/ 431 h 496"/>
                <a:gd name="T4" fmla="*/ 76 w 796"/>
                <a:gd name="T5" fmla="*/ 461 h 496"/>
                <a:gd name="T6" fmla="*/ 43 w 796"/>
                <a:gd name="T7" fmla="*/ 461 h 496"/>
                <a:gd name="T8" fmla="*/ 30 w 796"/>
                <a:gd name="T9" fmla="*/ 430 h 496"/>
                <a:gd name="T10" fmla="*/ 54 w 796"/>
                <a:gd name="T11" fmla="*/ 407 h 496"/>
                <a:gd name="T12" fmla="*/ 302 w 796"/>
                <a:gd name="T13" fmla="*/ 216 h 496"/>
                <a:gd name="T14" fmla="*/ 315 w 796"/>
                <a:gd name="T15" fmla="*/ 247 h 496"/>
                <a:gd name="T16" fmla="*/ 291 w 796"/>
                <a:gd name="T17" fmla="*/ 270 h 496"/>
                <a:gd name="T18" fmla="*/ 260 w 796"/>
                <a:gd name="T19" fmla="*/ 257 h 496"/>
                <a:gd name="T20" fmla="*/ 260 w 796"/>
                <a:gd name="T21" fmla="*/ 224 h 496"/>
                <a:gd name="T22" fmla="*/ 511 w 796"/>
                <a:gd name="T23" fmla="*/ 301 h 496"/>
                <a:gd name="T24" fmla="*/ 530 w 796"/>
                <a:gd name="T25" fmla="*/ 308 h 496"/>
                <a:gd name="T26" fmla="*/ 541 w 796"/>
                <a:gd name="T27" fmla="*/ 331 h 496"/>
                <a:gd name="T28" fmla="*/ 523 w 796"/>
                <a:gd name="T29" fmla="*/ 359 h 496"/>
                <a:gd name="T30" fmla="*/ 490 w 796"/>
                <a:gd name="T31" fmla="*/ 353 h 496"/>
                <a:gd name="T32" fmla="*/ 483 w 796"/>
                <a:gd name="T33" fmla="*/ 320 h 496"/>
                <a:gd name="T34" fmla="*/ 511 w 796"/>
                <a:gd name="T35" fmla="*/ 301 h 496"/>
                <a:gd name="T36" fmla="*/ 757 w 796"/>
                <a:gd name="T37" fmla="*/ 39 h 496"/>
                <a:gd name="T38" fmla="*/ 764 w 796"/>
                <a:gd name="T39" fmla="*/ 72 h 496"/>
                <a:gd name="T40" fmla="*/ 736 w 796"/>
                <a:gd name="T41" fmla="*/ 90 h 496"/>
                <a:gd name="T42" fmla="*/ 708 w 796"/>
                <a:gd name="T43" fmla="*/ 72 h 496"/>
                <a:gd name="T44" fmla="*/ 716 w 796"/>
                <a:gd name="T45" fmla="*/ 39 h 496"/>
                <a:gd name="T46" fmla="*/ 60 w 796"/>
                <a:gd name="T47" fmla="*/ 496 h 496"/>
                <a:gd name="T48" fmla="*/ 93 w 796"/>
                <a:gd name="T49" fmla="*/ 487 h 496"/>
                <a:gd name="T50" fmla="*/ 115 w 796"/>
                <a:gd name="T51" fmla="*/ 460 h 496"/>
                <a:gd name="T52" fmla="*/ 118 w 796"/>
                <a:gd name="T53" fmla="*/ 422 h 496"/>
                <a:gd name="T54" fmla="*/ 276 w 796"/>
                <a:gd name="T55" fmla="*/ 300 h 496"/>
                <a:gd name="T56" fmla="*/ 318 w 796"/>
                <a:gd name="T57" fmla="*/ 291 h 496"/>
                <a:gd name="T58" fmla="*/ 451 w 796"/>
                <a:gd name="T59" fmla="*/ 331 h 496"/>
                <a:gd name="T60" fmla="*/ 461 w 796"/>
                <a:gd name="T61" fmla="*/ 365 h 496"/>
                <a:gd name="T62" fmla="*/ 487 w 796"/>
                <a:gd name="T63" fmla="*/ 387 h 496"/>
                <a:gd name="T64" fmla="*/ 523 w 796"/>
                <a:gd name="T65" fmla="*/ 390 h 496"/>
                <a:gd name="T66" fmla="*/ 554 w 796"/>
                <a:gd name="T67" fmla="*/ 373 h 496"/>
                <a:gd name="T68" fmla="*/ 570 w 796"/>
                <a:gd name="T69" fmla="*/ 343 h 496"/>
                <a:gd name="T70" fmla="*/ 559 w 796"/>
                <a:gd name="T71" fmla="*/ 296 h 496"/>
                <a:gd name="T72" fmla="*/ 742 w 796"/>
                <a:gd name="T73" fmla="*/ 120 h 496"/>
                <a:gd name="T74" fmla="*/ 775 w 796"/>
                <a:gd name="T75" fmla="*/ 106 h 496"/>
                <a:gd name="T76" fmla="*/ 794 w 796"/>
                <a:gd name="T77" fmla="*/ 79 h 496"/>
                <a:gd name="T78" fmla="*/ 794 w 796"/>
                <a:gd name="T79" fmla="*/ 43 h 496"/>
                <a:gd name="T80" fmla="*/ 775 w 796"/>
                <a:gd name="T81" fmla="*/ 14 h 496"/>
                <a:gd name="T82" fmla="*/ 742 w 796"/>
                <a:gd name="T83" fmla="*/ 0 h 496"/>
                <a:gd name="T84" fmla="*/ 708 w 796"/>
                <a:gd name="T85" fmla="*/ 8 h 496"/>
                <a:gd name="T86" fmla="*/ 683 w 796"/>
                <a:gd name="T87" fmla="*/ 31 h 496"/>
                <a:gd name="T88" fmla="*/ 677 w 796"/>
                <a:gd name="T89" fmla="*/ 70 h 496"/>
                <a:gd name="T90" fmla="*/ 524 w 796"/>
                <a:gd name="T91" fmla="*/ 272 h 496"/>
                <a:gd name="T92" fmla="*/ 483 w 796"/>
                <a:gd name="T93" fmla="*/ 278 h 496"/>
                <a:gd name="T94" fmla="*/ 345 w 796"/>
                <a:gd name="T95" fmla="*/ 245 h 496"/>
                <a:gd name="T96" fmla="*/ 339 w 796"/>
                <a:gd name="T97" fmla="*/ 212 h 496"/>
                <a:gd name="T98" fmla="*/ 314 w 796"/>
                <a:gd name="T99" fmla="*/ 188 h 496"/>
                <a:gd name="T100" fmla="*/ 280 w 796"/>
                <a:gd name="T101" fmla="*/ 181 h 496"/>
                <a:gd name="T102" fmla="*/ 247 w 796"/>
                <a:gd name="T103" fmla="*/ 194 h 496"/>
                <a:gd name="T104" fmla="*/ 228 w 796"/>
                <a:gd name="T105" fmla="*/ 223 h 496"/>
                <a:gd name="T106" fmla="*/ 229 w 796"/>
                <a:gd name="T107" fmla="*/ 262 h 496"/>
                <a:gd name="T108" fmla="*/ 60 w 796"/>
                <a:gd name="T109" fmla="*/ 376 h 496"/>
                <a:gd name="T110" fmla="*/ 26 w 796"/>
                <a:gd name="T111" fmla="*/ 387 h 496"/>
                <a:gd name="T112" fmla="*/ 4 w 796"/>
                <a:gd name="T113" fmla="*/ 413 h 496"/>
                <a:gd name="T114" fmla="*/ 1 w 796"/>
                <a:gd name="T115" fmla="*/ 448 h 496"/>
                <a:gd name="T116" fmla="*/ 17 w 796"/>
                <a:gd name="T117" fmla="*/ 479 h 496"/>
                <a:gd name="T118" fmla="*/ 47 w 796"/>
                <a:gd name="T119" fmla="*/ 495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96" h="496">
                  <a:moveTo>
                    <a:pt x="60" y="406"/>
                  </a:moveTo>
                  <a:lnTo>
                    <a:pt x="66" y="407"/>
                  </a:lnTo>
                  <a:lnTo>
                    <a:pt x="73" y="410"/>
                  </a:lnTo>
                  <a:lnTo>
                    <a:pt x="78" y="413"/>
                  </a:lnTo>
                  <a:lnTo>
                    <a:pt x="83" y="417"/>
                  </a:lnTo>
                  <a:lnTo>
                    <a:pt x="83" y="417"/>
                  </a:lnTo>
                  <a:lnTo>
                    <a:pt x="83" y="417"/>
                  </a:lnTo>
                  <a:lnTo>
                    <a:pt x="83" y="417"/>
                  </a:lnTo>
                  <a:lnTo>
                    <a:pt x="83" y="417"/>
                  </a:lnTo>
                  <a:lnTo>
                    <a:pt x="86" y="421"/>
                  </a:lnTo>
                  <a:lnTo>
                    <a:pt x="88" y="426"/>
                  </a:lnTo>
                  <a:lnTo>
                    <a:pt x="89" y="431"/>
                  </a:lnTo>
                  <a:lnTo>
                    <a:pt x="90" y="436"/>
                  </a:lnTo>
                  <a:lnTo>
                    <a:pt x="89" y="443"/>
                  </a:lnTo>
                  <a:lnTo>
                    <a:pt x="88" y="448"/>
                  </a:lnTo>
                  <a:lnTo>
                    <a:pt x="85" y="453"/>
                  </a:lnTo>
                  <a:lnTo>
                    <a:pt x="81" y="458"/>
                  </a:lnTo>
                  <a:lnTo>
                    <a:pt x="76" y="461"/>
                  </a:lnTo>
                  <a:lnTo>
                    <a:pt x="72" y="464"/>
                  </a:lnTo>
                  <a:lnTo>
                    <a:pt x="65" y="466"/>
                  </a:lnTo>
                  <a:lnTo>
                    <a:pt x="60" y="466"/>
                  </a:lnTo>
                  <a:lnTo>
                    <a:pt x="54" y="466"/>
                  </a:lnTo>
                  <a:lnTo>
                    <a:pt x="48" y="464"/>
                  </a:lnTo>
                  <a:lnTo>
                    <a:pt x="43" y="461"/>
                  </a:lnTo>
                  <a:lnTo>
                    <a:pt x="39" y="458"/>
                  </a:lnTo>
                  <a:lnTo>
                    <a:pt x="34" y="453"/>
                  </a:lnTo>
                  <a:lnTo>
                    <a:pt x="32" y="448"/>
                  </a:lnTo>
                  <a:lnTo>
                    <a:pt x="30" y="443"/>
                  </a:lnTo>
                  <a:lnTo>
                    <a:pt x="30" y="436"/>
                  </a:lnTo>
                  <a:lnTo>
                    <a:pt x="30" y="430"/>
                  </a:lnTo>
                  <a:lnTo>
                    <a:pt x="32" y="425"/>
                  </a:lnTo>
                  <a:lnTo>
                    <a:pt x="34" y="419"/>
                  </a:lnTo>
                  <a:lnTo>
                    <a:pt x="39" y="415"/>
                  </a:lnTo>
                  <a:lnTo>
                    <a:pt x="43" y="412"/>
                  </a:lnTo>
                  <a:lnTo>
                    <a:pt x="48" y="409"/>
                  </a:lnTo>
                  <a:lnTo>
                    <a:pt x="54" y="407"/>
                  </a:lnTo>
                  <a:lnTo>
                    <a:pt x="60" y="406"/>
                  </a:lnTo>
                  <a:lnTo>
                    <a:pt x="60" y="406"/>
                  </a:lnTo>
                  <a:close/>
                  <a:moveTo>
                    <a:pt x="285" y="211"/>
                  </a:moveTo>
                  <a:lnTo>
                    <a:pt x="291" y="211"/>
                  </a:lnTo>
                  <a:lnTo>
                    <a:pt x="297" y="214"/>
                  </a:lnTo>
                  <a:lnTo>
                    <a:pt x="302" y="216"/>
                  </a:lnTo>
                  <a:lnTo>
                    <a:pt x="306" y="220"/>
                  </a:lnTo>
                  <a:lnTo>
                    <a:pt x="311" y="224"/>
                  </a:lnTo>
                  <a:lnTo>
                    <a:pt x="313" y="230"/>
                  </a:lnTo>
                  <a:lnTo>
                    <a:pt x="315" y="235"/>
                  </a:lnTo>
                  <a:lnTo>
                    <a:pt x="315" y="241"/>
                  </a:lnTo>
                  <a:lnTo>
                    <a:pt x="315" y="247"/>
                  </a:lnTo>
                  <a:lnTo>
                    <a:pt x="313" y="253"/>
                  </a:lnTo>
                  <a:lnTo>
                    <a:pt x="311" y="257"/>
                  </a:lnTo>
                  <a:lnTo>
                    <a:pt x="306" y="262"/>
                  </a:lnTo>
                  <a:lnTo>
                    <a:pt x="302" y="266"/>
                  </a:lnTo>
                  <a:lnTo>
                    <a:pt x="297" y="268"/>
                  </a:lnTo>
                  <a:lnTo>
                    <a:pt x="291" y="270"/>
                  </a:lnTo>
                  <a:lnTo>
                    <a:pt x="285" y="271"/>
                  </a:lnTo>
                  <a:lnTo>
                    <a:pt x="280" y="270"/>
                  </a:lnTo>
                  <a:lnTo>
                    <a:pt x="273" y="268"/>
                  </a:lnTo>
                  <a:lnTo>
                    <a:pt x="269" y="266"/>
                  </a:lnTo>
                  <a:lnTo>
                    <a:pt x="264" y="262"/>
                  </a:lnTo>
                  <a:lnTo>
                    <a:pt x="260" y="257"/>
                  </a:lnTo>
                  <a:lnTo>
                    <a:pt x="257" y="253"/>
                  </a:lnTo>
                  <a:lnTo>
                    <a:pt x="256" y="247"/>
                  </a:lnTo>
                  <a:lnTo>
                    <a:pt x="255" y="241"/>
                  </a:lnTo>
                  <a:lnTo>
                    <a:pt x="256" y="235"/>
                  </a:lnTo>
                  <a:lnTo>
                    <a:pt x="257" y="230"/>
                  </a:lnTo>
                  <a:lnTo>
                    <a:pt x="260" y="224"/>
                  </a:lnTo>
                  <a:lnTo>
                    <a:pt x="264" y="220"/>
                  </a:lnTo>
                  <a:lnTo>
                    <a:pt x="269" y="216"/>
                  </a:lnTo>
                  <a:lnTo>
                    <a:pt x="273" y="214"/>
                  </a:lnTo>
                  <a:lnTo>
                    <a:pt x="280" y="211"/>
                  </a:lnTo>
                  <a:lnTo>
                    <a:pt x="285" y="211"/>
                  </a:lnTo>
                  <a:close/>
                  <a:moveTo>
                    <a:pt x="511" y="301"/>
                  </a:moveTo>
                  <a:lnTo>
                    <a:pt x="516" y="301"/>
                  </a:lnTo>
                  <a:lnTo>
                    <a:pt x="521" y="302"/>
                  </a:lnTo>
                  <a:lnTo>
                    <a:pt x="526" y="306"/>
                  </a:lnTo>
                  <a:lnTo>
                    <a:pt x="530" y="308"/>
                  </a:lnTo>
                  <a:lnTo>
                    <a:pt x="530" y="308"/>
                  </a:lnTo>
                  <a:lnTo>
                    <a:pt x="530" y="308"/>
                  </a:lnTo>
                  <a:lnTo>
                    <a:pt x="530" y="308"/>
                  </a:lnTo>
                  <a:lnTo>
                    <a:pt x="530" y="308"/>
                  </a:lnTo>
                  <a:lnTo>
                    <a:pt x="535" y="313"/>
                  </a:lnTo>
                  <a:lnTo>
                    <a:pt x="538" y="319"/>
                  </a:lnTo>
                  <a:lnTo>
                    <a:pt x="540" y="325"/>
                  </a:lnTo>
                  <a:lnTo>
                    <a:pt x="541" y="331"/>
                  </a:lnTo>
                  <a:lnTo>
                    <a:pt x="540" y="337"/>
                  </a:lnTo>
                  <a:lnTo>
                    <a:pt x="539" y="343"/>
                  </a:lnTo>
                  <a:lnTo>
                    <a:pt x="536" y="347"/>
                  </a:lnTo>
                  <a:lnTo>
                    <a:pt x="532" y="353"/>
                  </a:lnTo>
                  <a:lnTo>
                    <a:pt x="527" y="356"/>
                  </a:lnTo>
                  <a:lnTo>
                    <a:pt x="523" y="359"/>
                  </a:lnTo>
                  <a:lnTo>
                    <a:pt x="516" y="360"/>
                  </a:lnTo>
                  <a:lnTo>
                    <a:pt x="511" y="361"/>
                  </a:lnTo>
                  <a:lnTo>
                    <a:pt x="505" y="360"/>
                  </a:lnTo>
                  <a:lnTo>
                    <a:pt x="499" y="359"/>
                  </a:lnTo>
                  <a:lnTo>
                    <a:pt x="494" y="356"/>
                  </a:lnTo>
                  <a:lnTo>
                    <a:pt x="490" y="353"/>
                  </a:lnTo>
                  <a:lnTo>
                    <a:pt x="486" y="349"/>
                  </a:lnTo>
                  <a:lnTo>
                    <a:pt x="483" y="343"/>
                  </a:lnTo>
                  <a:lnTo>
                    <a:pt x="481" y="337"/>
                  </a:lnTo>
                  <a:lnTo>
                    <a:pt x="481" y="331"/>
                  </a:lnTo>
                  <a:lnTo>
                    <a:pt x="481" y="325"/>
                  </a:lnTo>
                  <a:lnTo>
                    <a:pt x="483" y="320"/>
                  </a:lnTo>
                  <a:lnTo>
                    <a:pt x="486" y="314"/>
                  </a:lnTo>
                  <a:lnTo>
                    <a:pt x="490" y="310"/>
                  </a:lnTo>
                  <a:lnTo>
                    <a:pt x="494" y="307"/>
                  </a:lnTo>
                  <a:lnTo>
                    <a:pt x="499" y="304"/>
                  </a:lnTo>
                  <a:lnTo>
                    <a:pt x="505" y="301"/>
                  </a:lnTo>
                  <a:lnTo>
                    <a:pt x="511" y="301"/>
                  </a:lnTo>
                  <a:lnTo>
                    <a:pt x="511" y="301"/>
                  </a:lnTo>
                  <a:close/>
                  <a:moveTo>
                    <a:pt x="736" y="30"/>
                  </a:moveTo>
                  <a:lnTo>
                    <a:pt x="742" y="31"/>
                  </a:lnTo>
                  <a:lnTo>
                    <a:pt x="748" y="33"/>
                  </a:lnTo>
                  <a:lnTo>
                    <a:pt x="753" y="36"/>
                  </a:lnTo>
                  <a:lnTo>
                    <a:pt x="757" y="39"/>
                  </a:lnTo>
                  <a:lnTo>
                    <a:pt x="762" y="43"/>
                  </a:lnTo>
                  <a:lnTo>
                    <a:pt x="764" y="49"/>
                  </a:lnTo>
                  <a:lnTo>
                    <a:pt x="766" y="55"/>
                  </a:lnTo>
                  <a:lnTo>
                    <a:pt x="766" y="60"/>
                  </a:lnTo>
                  <a:lnTo>
                    <a:pt x="766" y="67"/>
                  </a:lnTo>
                  <a:lnTo>
                    <a:pt x="764" y="72"/>
                  </a:lnTo>
                  <a:lnTo>
                    <a:pt x="762" y="78"/>
                  </a:lnTo>
                  <a:lnTo>
                    <a:pt x="757" y="82"/>
                  </a:lnTo>
                  <a:lnTo>
                    <a:pt x="753" y="85"/>
                  </a:lnTo>
                  <a:lnTo>
                    <a:pt x="748" y="88"/>
                  </a:lnTo>
                  <a:lnTo>
                    <a:pt x="742" y="90"/>
                  </a:lnTo>
                  <a:lnTo>
                    <a:pt x="736" y="90"/>
                  </a:lnTo>
                  <a:lnTo>
                    <a:pt x="731" y="90"/>
                  </a:lnTo>
                  <a:lnTo>
                    <a:pt x="724" y="88"/>
                  </a:lnTo>
                  <a:lnTo>
                    <a:pt x="720" y="85"/>
                  </a:lnTo>
                  <a:lnTo>
                    <a:pt x="716" y="82"/>
                  </a:lnTo>
                  <a:lnTo>
                    <a:pt x="711" y="78"/>
                  </a:lnTo>
                  <a:lnTo>
                    <a:pt x="708" y="72"/>
                  </a:lnTo>
                  <a:lnTo>
                    <a:pt x="707" y="67"/>
                  </a:lnTo>
                  <a:lnTo>
                    <a:pt x="706" y="60"/>
                  </a:lnTo>
                  <a:lnTo>
                    <a:pt x="707" y="55"/>
                  </a:lnTo>
                  <a:lnTo>
                    <a:pt x="708" y="49"/>
                  </a:lnTo>
                  <a:lnTo>
                    <a:pt x="711" y="43"/>
                  </a:lnTo>
                  <a:lnTo>
                    <a:pt x="716" y="39"/>
                  </a:lnTo>
                  <a:lnTo>
                    <a:pt x="720" y="36"/>
                  </a:lnTo>
                  <a:lnTo>
                    <a:pt x="724" y="33"/>
                  </a:lnTo>
                  <a:lnTo>
                    <a:pt x="731" y="31"/>
                  </a:lnTo>
                  <a:lnTo>
                    <a:pt x="736" y="30"/>
                  </a:lnTo>
                  <a:lnTo>
                    <a:pt x="736" y="30"/>
                  </a:lnTo>
                  <a:close/>
                  <a:moveTo>
                    <a:pt x="60" y="496"/>
                  </a:moveTo>
                  <a:lnTo>
                    <a:pt x="66" y="496"/>
                  </a:lnTo>
                  <a:lnTo>
                    <a:pt x="72" y="495"/>
                  </a:lnTo>
                  <a:lnTo>
                    <a:pt x="77" y="494"/>
                  </a:lnTo>
                  <a:lnTo>
                    <a:pt x="84" y="492"/>
                  </a:lnTo>
                  <a:lnTo>
                    <a:pt x="89" y="489"/>
                  </a:lnTo>
                  <a:lnTo>
                    <a:pt x="93" y="487"/>
                  </a:lnTo>
                  <a:lnTo>
                    <a:pt x="98" y="482"/>
                  </a:lnTo>
                  <a:lnTo>
                    <a:pt x="102" y="479"/>
                  </a:lnTo>
                  <a:lnTo>
                    <a:pt x="106" y="475"/>
                  </a:lnTo>
                  <a:lnTo>
                    <a:pt x="109" y="470"/>
                  </a:lnTo>
                  <a:lnTo>
                    <a:pt x="113" y="465"/>
                  </a:lnTo>
                  <a:lnTo>
                    <a:pt x="115" y="460"/>
                  </a:lnTo>
                  <a:lnTo>
                    <a:pt x="117" y="455"/>
                  </a:lnTo>
                  <a:lnTo>
                    <a:pt x="119" y="448"/>
                  </a:lnTo>
                  <a:lnTo>
                    <a:pt x="120" y="443"/>
                  </a:lnTo>
                  <a:lnTo>
                    <a:pt x="120" y="436"/>
                  </a:lnTo>
                  <a:lnTo>
                    <a:pt x="119" y="429"/>
                  </a:lnTo>
                  <a:lnTo>
                    <a:pt x="118" y="422"/>
                  </a:lnTo>
                  <a:lnTo>
                    <a:pt x="116" y="416"/>
                  </a:lnTo>
                  <a:lnTo>
                    <a:pt x="114" y="410"/>
                  </a:lnTo>
                  <a:lnTo>
                    <a:pt x="251" y="291"/>
                  </a:lnTo>
                  <a:lnTo>
                    <a:pt x="259" y="295"/>
                  </a:lnTo>
                  <a:lnTo>
                    <a:pt x="267" y="298"/>
                  </a:lnTo>
                  <a:lnTo>
                    <a:pt x="276" y="300"/>
                  </a:lnTo>
                  <a:lnTo>
                    <a:pt x="285" y="301"/>
                  </a:lnTo>
                  <a:lnTo>
                    <a:pt x="292" y="300"/>
                  </a:lnTo>
                  <a:lnTo>
                    <a:pt x="300" y="299"/>
                  </a:lnTo>
                  <a:lnTo>
                    <a:pt x="306" y="297"/>
                  </a:lnTo>
                  <a:lnTo>
                    <a:pt x="313" y="294"/>
                  </a:lnTo>
                  <a:lnTo>
                    <a:pt x="318" y="291"/>
                  </a:lnTo>
                  <a:lnTo>
                    <a:pt x="325" y="286"/>
                  </a:lnTo>
                  <a:lnTo>
                    <a:pt x="329" y="282"/>
                  </a:lnTo>
                  <a:lnTo>
                    <a:pt x="333" y="277"/>
                  </a:lnTo>
                  <a:lnTo>
                    <a:pt x="451" y="324"/>
                  </a:lnTo>
                  <a:lnTo>
                    <a:pt x="451" y="327"/>
                  </a:lnTo>
                  <a:lnTo>
                    <a:pt x="451" y="331"/>
                  </a:lnTo>
                  <a:lnTo>
                    <a:pt x="451" y="338"/>
                  </a:lnTo>
                  <a:lnTo>
                    <a:pt x="452" y="343"/>
                  </a:lnTo>
                  <a:lnTo>
                    <a:pt x="453" y="350"/>
                  </a:lnTo>
                  <a:lnTo>
                    <a:pt x="455" y="355"/>
                  </a:lnTo>
                  <a:lnTo>
                    <a:pt x="457" y="360"/>
                  </a:lnTo>
                  <a:lnTo>
                    <a:pt x="461" y="365"/>
                  </a:lnTo>
                  <a:lnTo>
                    <a:pt x="464" y="370"/>
                  </a:lnTo>
                  <a:lnTo>
                    <a:pt x="468" y="374"/>
                  </a:lnTo>
                  <a:lnTo>
                    <a:pt x="472" y="377"/>
                  </a:lnTo>
                  <a:lnTo>
                    <a:pt x="477" y="381"/>
                  </a:lnTo>
                  <a:lnTo>
                    <a:pt x="482" y="384"/>
                  </a:lnTo>
                  <a:lnTo>
                    <a:pt x="487" y="387"/>
                  </a:lnTo>
                  <a:lnTo>
                    <a:pt x="493" y="388"/>
                  </a:lnTo>
                  <a:lnTo>
                    <a:pt x="498" y="390"/>
                  </a:lnTo>
                  <a:lnTo>
                    <a:pt x="505" y="391"/>
                  </a:lnTo>
                  <a:lnTo>
                    <a:pt x="511" y="391"/>
                  </a:lnTo>
                  <a:lnTo>
                    <a:pt x="517" y="391"/>
                  </a:lnTo>
                  <a:lnTo>
                    <a:pt x="523" y="390"/>
                  </a:lnTo>
                  <a:lnTo>
                    <a:pt x="529" y="388"/>
                  </a:lnTo>
                  <a:lnTo>
                    <a:pt x="535" y="387"/>
                  </a:lnTo>
                  <a:lnTo>
                    <a:pt x="540" y="384"/>
                  </a:lnTo>
                  <a:lnTo>
                    <a:pt x="544" y="381"/>
                  </a:lnTo>
                  <a:lnTo>
                    <a:pt x="550" y="377"/>
                  </a:lnTo>
                  <a:lnTo>
                    <a:pt x="554" y="373"/>
                  </a:lnTo>
                  <a:lnTo>
                    <a:pt x="557" y="370"/>
                  </a:lnTo>
                  <a:lnTo>
                    <a:pt x="560" y="365"/>
                  </a:lnTo>
                  <a:lnTo>
                    <a:pt x="564" y="360"/>
                  </a:lnTo>
                  <a:lnTo>
                    <a:pt x="567" y="355"/>
                  </a:lnTo>
                  <a:lnTo>
                    <a:pt x="568" y="350"/>
                  </a:lnTo>
                  <a:lnTo>
                    <a:pt x="570" y="343"/>
                  </a:lnTo>
                  <a:lnTo>
                    <a:pt x="571" y="338"/>
                  </a:lnTo>
                  <a:lnTo>
                    <a:pt x="571" y="331"/>
                  </a:lnTo>
                  <a:lnTo>
                    <a:pt x="570" y="322"/>
                  </a:lnTo>
                  <a:lnTo>
                    <a:pt x="568" y="312"/>
                  </a:lnTo>
                  <a:lnTo>
                    <a:pt x="565" y="304"/>
                  </a:lnTo>
                  <a:lnTo>
                    <a:pt x="559" y="296"/>
                  </a:lnTo>
                  <a:lnTo>
                    <a:pt x="710" y="115"/>
                  </a:lnTo>
                  <a:lnTo>
                    <a:pt x="717" y="117"/>
                  </a:lnTo>
                  <a:lnTo>
                    <a:pt x="723" y="119"/>
                  </a:lnTo>
                  <a:lnTo>
                    <a:pt x="730" y="120"/>
                  </a:lnTo>
                  <a:lnTo>
                    <a:pt x="736" y="120"/>
                  </a:lnTo>
                  <a:lnTo>
                    <a:pt x="742" y="120"/>
                  </a:lnTo>
                  <a:lnTo>
                    <a:pt x="749" y="119"/>
                  </a:lnTo>
                  <a:lnTo>
                    <a:pt x="754" y="118"/>
                  </a:lnTo>
                  <a:lnTo>
                    <a:pt x="760" y="116"/>
                  </a:lnTo>
                  <a:lnTo>
                    <a:pt x="765" y="114"/>
                  </a:lnTo>
                  <a:lnTo>
                    <a:pt x="770" y="111"/>
                  </a:lnTo>
                  <a:lnTo>
                    <a:pt x="775" y="106"/>
                  </a:lnTo>
                  <a:lnTo>
                    <a:pt x="779" y="103"/>
                  </a:lnTo>
                  <a:lnTo>
                    <a:pt x="783" y="99"/>
                  </a:lnTo>
                  <a:lnTo>
                    <a:pt x="786" y="95"/>
                  </a:lnTo>
                  <a:lnTo>
                    <a:pt x="790" y="89"/>
                  </a:lnTo>
                  <a:lnTo>
                    <a:pt x="792" y="84"/>
                  </a:lnTo>
                  <a:lnTo>
                    <a:pt x="794" y="79"/>
                  </a:lnTo>
                  <a:lnTo>
                    <a:pt x="795" y="73"/>
                  </a:lnTo>
                  <a:lnTo>
                    <a:pt x="796" y="67"/>
                  </a:lnTo>
                  <a:lnTo>
                    <a:pt x="796" y="60"/>
                  </a:lnTo>
                  <a:lnTo>
                    <a:pt x="796" y="54"/>
                  </a:lnTo>
                  <a:lnTo>
                    <a:pt x="795" y="49"/>
                  </a:lnTo>
                  <a:lnTo>
                    <a:pt x="794" y="43"/>
                  </a:lnTo>
                  <a:lnTo>
                    <a:pt x="792" y="37"/>
                  </a:lnTo>
                  <a:lnTo>
                    <a:pt x="790" y="31"/>
                  </a:lnTo>
                  <a:lnTo>
                    <a:pt x="786" y="27"/>
                  </a:lnTo>
                  <a:lnTo>
                    <a:pt x="783" y="23"/>
                  </a:lnTo>
                  <a:lnTo>
                    <a:pt x="779" y="19"/>
                  </a:lnTo>
                  <a:lnTo>
                    <a:pt x="775" y="14"/>
                  </a:lnTo>
                  <a:lnTo>
                    <a:pt x="770" y="11"/>
                  </a:lnTo>
                  <a:lnTo>
                    <a:pt x="765" y="8"/>
                  </a:lnTo>
                  <a:lnTo>
                    <a:pt x="760" y="5"/>
                  </a:lnTo>
                  <a:lnTo>
                    <a:pt x="754" y="4"/>
                  </a:lnTo>
                  <a:lnTo>
                    <a:pt x="749" y="1"/>
                  </a:lnTo>
                  <a:lnTo>
                    <a:pt x="742" y="0"/>
                  </a:lnTo>
                  <a:lnTo>
                    <a:pt x="736" y="0"/>
                  </a:lnTo>
                  <a:lnTo>
                    <a:pt x="731" y="0"/>
                  </a:lnTo>
                  <a:lnTo>
                    <a:pt x="724" y="1"/>
                  </a:lnTo>
                  <a:lnTo>
                    <a:pt x="719" y="4"/>
                  </a:lnTo>
                  <a:lnTo>
                    <a:pt x="712" y="5"/>
                  </a:lnTo>
                  <a:lnTo>
                    <a:pt x="708" y="8"/>
                  </a:lnTo>
                  <a:lnTo>
                    <a:pt x="703" y="11"/>
                  </a:lnTo>
                  <a:lnTo>
                    <a:pt x="698" y="14"/>
                  </a:lnTo>
                  <a:lnTo>
                    <a:pt x="694" y="19"/>
                  </a:lnTo>
                  <a:lnTo>
                    <a:pt x="690" y="22"/>
                  </a:lnTo>
                  <a:lnTo>
                    <a:pt x="687" y="27"/>
                  </a:lnTo>
                  <a:lnTo>
                    <a:pt x="683" y="31"/>
                  </a:lnTo>
                  <a:lnTo>
                    <a:pt x="681" y="37"/>
                  </a:lnTo>
                  <a:lnTo>
                    <a:pt x="679" y="43"/>
                  </a:lnTo>
                  <a:lnTo>
                    <a:pt x="677" y="49"/>
                  </a:lnTo>
                  <a:lnTo>
                    <a:pt x="676" y="54"/>
                  </a:lnTo>
                  <a:lnTo>
                    <a:pt x="676" y="60"/>
                  </a:lnTo>
                  <a:lnTo>
                    <a:pt x="677" y="70"/>
                  </a:lnTo>
                  <a:lnTo>
                    <a:pt x="679" y="80"/>
                  </a:lnTo>
                  <a:lnTo>
                    <a:pt x="682" y="88"/>
                  </a:lnTo>
                  <a:lnTo>
                    <a:pt x="688" y="96"/>
                  </a:lnTo>
                  <a:lnTo>
                    <a:pt x="537" y="277"/>
                  </a:lnTo>
                  <a:lnTo>
                    <a:pt x="530" y="275"/>
                  </a:lnTo>
                  <a:lnTo>
                    <a:pt x="524" y="272"/>
                  </a:lnTo>
                  <a:lnTo>
                    <a:pt x="517" y="271"/>
                  </a:lnTo>
                  <a:lnTo>
                    <a:pt x="511" y="271"/>
                  </a:lnTo>
                  <a:lnTo>
                    <a:pt x="504" y="271"/>
                  </a:lnTo>
                  <a:lnTo>
                    <a:pt x="496" y="272"/>
                  </a:lnTo>
                  <a:lnTo>
                    <a:pt x="490" y="275"/>
                  </a:lnTo>
                  <a:lnTo>
                    <a:pt x="483" y="278"/>
                  </a:lnTo>
                  <a:lnTo>
                    <a:pt x="478" y="281"/>
                  </a:lnTo>
                  <a:lnTo>
                    <a:pt x="472" y="285"/>
                  </a:lnTo>
                  <a:lnTo>
                    <a:pt x="467" y="291"/>
                  </a:lnTo>
                  <a:lnTo>
                    <a:pt x="463" y="296"/>
                  </a:lnTo>
                  <a:lnTo>
                    <a:pt x="345" y="249"/>
                  </a:lnTo>
                  <a:lnTo>
                    <a:pt x="345" y="245"/>
                  </a:lnTo>
                  <a:lnTo>
                    <a:pt x="345" y="241"/>
                  </a:lnTo>
                  <a:lnTo>
                    <a:pt x="345" y="235"/>
                  </a:lnTo>
                  <a:lnTo>
                    <a:pt x="344" y="229"/>
                  </a:lnTo>
                  <a:lnTo>
                    <a:pt x="343" y="223"/>
                  </a:lnTo>
                  <a:lnTo>
                    <a:pt x="341" y="218"/>
                  </a:lnTo>
                  <a:lnTo>
                    <a:pt x="339" y="212"/>
                  </a:lnTo>
                  <a:lnTo>
                    <a:pt x="335" y="207"/>
                  </a:lnTo>
                  <a:lnTo>
                    <a:pt x="332" y="203"/>
                  </a:lnTo>
                  <a:lnTo>
                    <a:pt x="328" y="199"/>
                  </a:lnTo>
                  <a:lnTo>
                    <a:pt x="324" y="194"/>
                  </a:lnTo>
                  <a:lnTo>
                    <a:pt x="319" y="191"/>
                  </a:lnTo>
                  <a:lnTo>
                    <a:pt x="314" y="188"/>
                  </a:lnTo>
                  <a:lnTo>
                    <a:pt x="309" y="186"/>
                  </a:lnTo>
                  <a:lnTo>
                    <a:pt x="303" y="184"/>
                  </a:lnTo>
                  <a:lnTo>
                    <a:pt x="298" y="182"/>
                  </a:lnTo>
                  <a:lnTo>
                    <a:pt x="291" y="181"/>
                  </a:lnTo>
                  <a:lnTo>
                    <a:pt x="285" y="180"/>
                  </a:lnTo>
                  <a:lnTo>
                    <a:pt x="280" y="181"/>
                  </a:lnTo>
                  <a:lnTo>
                    <a:pt x="273" y="182"/>
                  </a:lnTo>
                  <a:lnTo>
                    <a:pt x="268" y="184"/>
                  </a:lnTo>
                  <a:lnTo>
                    <a:pt x="261" y="186"/>
                  </a:lnTo>
                  <a:lnTo>
                    <a:pt x="257" y="188"/>
                  </a:lnTo>
                  <a:lnTo>
                    <a:pt x="252" y="191"/>
                  </a:lnTo>
                  <a:lnTo>
                    <a:pt x="247" y="194"/>
                  </a:lnTo>
                  <a:lnTo>
                    <a:pt x="243" y="199"/>
                  </a:lnTo>
                  <a:lnTo>
                    <a:pt x="239" y="203"/>
                  </a:lnTo>
                  <a:lnTo>
                    <a:pt x="236" y="207"/>
                  </a:lnTo>
                  <a:lnTo>
                    <a:pt x="232" y="212"/>
                  </a:lnTo>
                  <a:lnTo>
                    <a:pt x="230" y="218"/>
                  </a:lnTo>
                  <a:lnTo>
                    <a:pt x="228" y="223"/>
                  </a:lnTo>
                  <a:lnTo>
                    <a:pt x="226" y="229"/>
                  </a:lnTo>
                  <a:lnTo>
                    <a:pt x="225" y="235"/>
                  </a:lnTo>
                  <a:lnTo>
                    <a:pt x="225" y="241"/>
                  </a:lnTo>
                  <a:lnTo>
                    <a:pt x="226" y="248"/>
                  </a:lnTo>
                  <a:lnTo>
                    <a:pt x="227" y="255"/>
                  </a:lnTo>
                  <a:lnTo>
                    <a:pt x="229" y="262"/>
                  </a:lnTo>
                  <a:lnTo>
                    <a:pt x="231" y="267"/>
                  </a:lnTo>
                  <a:lnTo>
                    <a:pt x="94" y="387"/>
                  </a:lnTo>
                  <a:lnTo>
                    <a:pt x="86" y="383"/>
                  </a:lnTo>
                  <a:lnTo>
                    <a:pt x="78" y="380"/>
                  </a:lnTo>
                  <a:lnTo>
                    <a:pt x="69" y="377"/>
                  </a:lnTo>
                  <a:lnTo>
                    <a:pt x="60" y="376"/>
                  </a:lnTo>
                  <a:lnTo>
                    <a:pt x="54" y="376"/>
                  </a:lnTo>
                  <a:lnTo>
                    <a:pt x="47" y="377"/>
                  </a:lnTo>
                  <a:lnTo>
                    <a:pt x="42" y="379"/>
                  </a:lnTo>
                  <a:lnTo>
                    <a:pt x="36" y="381"/>
                  </a:lnTo>
                  <a:lnTo>
                    <a:pt x="31" y="384"/>
                  </a:lnTo>
                  <a:lnTo>
                    <a:pt x="26" y="387"/>
                  </a:lnTo>
                  <a:lnTo>
                    <a:pt x="21" y="390"/>
                  </a:lnTo>
                  <a:lnTo>
                    <a:pt x="17" y="394"/>
                  </a:lnTo>
                  <a:lnTo>
                    <a:pt x="13" y="398"/>
                  </a:lnTo>
                  <a:lnTo>
                    <a:pt x="10" y="403"/>
                  </a:lnTo>
                  <a:lnTo>
                    <a:pt x="6" y="407"/>
                  </a:lnTo>
                  <a:lnTo>
                    <a:pt x="4" y="413"/>
                  </a:lnTo>
                  <a:lnTo>
                    <a:pt x="2" y="418"/>
                  </a:lnTo>
                  <a:lnTo>
                    <a:pt x="1" y="425"/>
                  </a:lnTo>
                  <a:lnTo>
                    <a:pt x="0" y="430"/>
                  </a:lnTo>
                  <a:lnTo>
                    <a:pt x="0" y="436"/>
                  </a:lnTo>
                  <a:lnTo>
                    <a:pt x="0" y="443"/>
                  </a:lnTo>
                  <a:lnTo>
                    <a:pt x="1" y="448"/>
                  </a:lnTo>
                  <a:lnTo>
                    <a:pt x="2" y="455"/>
                  </a:lnTo>
                  <a:lnTo>
                    <a:pt x="4" y="460"/>
                  </a:lnTo>
                  <a:lnTo>
                    <a:pt x="6" y="465"/>
                  </a:lnTo>
                  <a:lnTo>
                    <a:pt x="10" y="470"/>
                  </a:lnTo>
                  <a:lnTo>
                    <a:pt x="13" y="475"/>
                  </a:lnTo>
                  <a:lnTo>
                    <a:pt x="17" y="479"/>
                  </a:lnTo>
                  <a:lnTo>
                    <a:pt x="21" y="482"/>
                  </a:lnTo>
                  <a:lnTo>
                    <a:pt x="26" y="487"/>
                  </a:lnTo>
                  <a:lnTo>
                    <a:pt x="31" y="489"/>
                  </a:lnTo>
                  <a:lnTo>
                    <a:pt x="36" y="492"/>
                  </a:lnTo>
                  <a:lnTo>
                    <a:pt x="42" y="494"/>
                  </a:lnTo>
                  <a:lnTo>
                    <a:pt x="47" y="495"/>
                  </a:lnTo>
                  <a:lnTo>
                    <a:pt x="54" y="496"/>
                  </a:lnTo>
                  <a:lnTo>
                    <a:pt x="60" y="49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Light"/>
                <a:ea typeface="+mn-ea"/>
                <a:cs typeface="+mn-cs"/>
              </a:endParaRPr>
            </a:p>
          </p:txBody>
        </p:sp>
      </p:grpSp>
      <p:grpSp>
        <p:nvGrpSpPr>
          <p:cNvPr id="31" name="Group 30"/>
          <p:cNvGrpSpPr/>
          <p:nvPr/>
        </p:nvGrpSpPr>
        <p:grpSpPr>
          <a:xfrm>
            <a:off x="7214577" y="5432396"/>
            <a:ext cx="287721" cy="249571"/>
            <a:chOff x="9309100" y="2536825"/>
            <a:chExt cx="287338" cy="249238"/>
          </a:xfrm>
          <a:solidFill>
            <a:schemeClr val="bg1"/>
          </a:solidFill>
        </p:grpSpPr>
        <p:sp>
          <p:nvSpPr>
            <p:cNvPr id="32" name="Freeform 216"/>
            <p:cNvSpPr>
              <a:spLocks noEditPoints="1"/>
            </p:cNvSpPr>
            <p:nvPr/>
          </p:nvSpPr>
          <p:spPr bwMode="auto">
            <a:xfrm>
              <a:off x="9356725" y="2670175"/>
              <a:ext cx="104775" cy="77788"/>
            </a:xfrm>
            <a:custGeom>
              <a:avLst/>
              <a:gdLst>
                <a:gd name="T0" fmla="*/ 301 w 331"/>
                <a:gd name="T1" fmla="*/ 211 h 241"/>
                <a:gd name="T2" fmla="*/ 30 w 331"/>
                <a:gd name="T3" fmla="*/ 211 h 241"/>
                <a:gd name="T4" fmla="*/ 30 w 331"/>
                <a:gd name="T5" fmla="*/ 30 h 241"/>
                <a:gd name="T6" fmla="*/ 301 w 331"/>
                <a:gd name="T7" fmla="*/ 30 h 241"/>
                <a:gd name="T8" fmla="*/ 301 w 331"/>
                <a:gd name="T9" fmla="*/ 211 h 241"/>
                <a:gd name="T10" fmla="*/ 316 w 331"/>
                <a:gd name="T11" fmla="*/ 0 h 241"/>
                <a:gd name="T12" fmla="*/ 15 w 331"/>
                <a:gd name="T13" fmla="*/ 0 h 241"/>
                <a:gd name="T14" fmla="*/ 13 w 331"/>
                <a:gd name="T15" fmla="*/ 1 h 241"/>
                <a:gd name="T16" fmla="*/ 10 w 331"/>
                <a:gd name="T17" fmla="*/ 1 h 241"/>
                <a:gd name="T18" fmla="*/ 7 w 331"/>
                <a:gd name="T19" fmla="*/ 4 h 241"/>
                <a:gd name="T20" fmla="*/ 5 w 331"/>
                <a:gd name="T21" fmla="*/ 5 h 241"/>
                <a:gd name="T22" fmla="*/ 3 w 331"/>
                <a:gd name="T23" fmla="*/ 7 h 241"/>
                <a:gd name="T24" fmla="*/ 2 w 331"/>
                <a:gd name="T25" fmla="*/ 10 h 241"/>
                <a:gd name="T26" fmla="*/ 1 w 331"/>
                <a:gd name="T27" fmla="*/ 13 h 241"/>
                <a:gd name="T28" fmla="*/ 0 w 331"/>
                <a:gd name="T29" fmla="*/ 15 h 241"/>
                <a:gd name="T30" fmla="*/ 0 w 331"/>
                <a:gd name="T31" fmla="*/ 226 h 241"/>
                <a:gd name="T32" fmla="*/ 1 w 331"/>
                <a:gd name="T33" fmla="*/ 230 h 241"/>
                <a:gd name="T34" fmla="*/ 2 w 331"/>
                <a:gd name="T35" fmla="*/ 232 h 241"/>
                <a:gd name="T36" fmla="*/ 3 w 331"/>
                <a:gd name="T37" fmla="*/ 235 h 241"/>
                <a:gd name="T38" fmla="*/ 5 w 331"/>
                <a:gd name="T39" fmla="*/ 237 h 241"/>
                <a:gd name="T40" fmla="*/ 7 w 331"/>
                <a:gd name="T41" fmla="*/ 238 h 241"/>
                <a:gd name="T42" fmla="*/ 10 w 331"/>
                <a:gd name="T43" fmla="*/ 240 h 241"/>
                <a:gd name="T44" fmla="*/ 13 w 331"/>
                <a:gd name="T45" fmla="*/ 241 h 241"/>
                <a:gd name="T46" fmla="*/ 15 w 331"/>
                <a:gd name="T47" fmla="*/ 241 h 241"/>
                <a:gd name="T48" fmla="*/ 316 w 331"/>
                <a:gd name="T49" fmla="*/ 241 h 241"/>
                <a:gd name="T50" fmla="*/ 319 w 331"/>
                <a:gd name="T51" fmla="*/ 241 h 241"/>
                <a:gd name="T52" fmla="*/ 322 w 331"/>
                <a:gd name="T53" fmla="*/ 240 h 241"/>
                <a:gd name="T54" fmla="*/ 325 w 331"/>
                <a:gd name="T55" fmla="*/ 238 h 241"/>
                <a:gd name="T56" fmla="*/ 327 w 331"/>
                <a:gd name="T57" fmla="*/ 237 h 241"/>
                <a:gd name="T58" fmla="*/ 329 w 331"/>
                <a:gd name="T59" fmla="*/ 235 h 241"/>
                <a:gd name="T60" fmla="*/ 330 w 331"/>
                <a:gd name="T61" fmla="*/ 232 h 241"/>
                <a:gd name="T62" fmla="*/ 331 w 331"/>
                <a:gd name="T63" fmla="*/ 230 h 241"/>
                <a:gd name="T64" fmla="*/ 331 w 331"/>
                <a:gd name="T65" fmla="*/ 226 h 241"/>
                <a:gd name="T66" fmla="*/ 331 w 331"/>
                <a:gd name="T67" fmla="*/ 15 h 241"/>
                <a:gd name="T68" fmla="*/ 331 w 331"/>
                <a:gd name="T69" fmla="*/ 12 h 241"/>
                <a:gd name="T70" fmla="*/ 330 w 331"/>
                <a:gd name="T71" fmla="*/ 10 h 241"/>
                <a:gd name="T72" fmla="*/ 329 w 331"/>
                <a:gd name="T73" fmla="*/ 7 h 241"/>
                <a:gd name="T74" fmla="*/ 327 w 331"/>
                <a:gd name="T75" fmla="*/ 5 h 241"/>
                <a:gd name="T76" fmla="*/ 325 w 331"/>
                <a:gd name="T77" fmla="*/ 4 h 241"/>
                <a:gd name="T78" fmla="*/ 322 w 331"/>
                <a:gd name="T79" fmla="*/ 1 h 241"/>
                <a:gd name="T80" fmla="*/ 319 w 331"/>
                <a:gd name="T81" fmla="*/ 1 h 241"/>
                <a:gd name="T82" fmla="*/ 316 w 331"/>
                <a:gd name="T83" fmla="*/ 0 h 241"/>
                <a:gd name="T84" fmla="*/ 316 w 331"/>
                <a:gd name="T85" fmla="*/ 0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31" h="241">
                  <a:moveTo>
                    <a:pt x="301" y="211"/>
                  </a:moveTo>
                  <a:lnTo>
                    <a:pt x="30" y="211"/>
                  </a:lnTo>
                  <a:lnTo>
                    <a:pt x="30" y="30"/>
                  </a:lnTo>
                  <a:lnTo>
                    <a:pt x="301" y="30"/>
                  </a:lnTo>
                  <a:lnTo>
                    <a:pt x="301" y="211"/>
                  </a:lnTo>
                  <a:close/>
                  <a:moveTo>
                    <a:pt x="316" y="0"/>
                  </a:moveTo>
                  <a:lnTo>
                    <a:pt x="15" y="0"/>
                  </a:lnTo>
                  <a:lnTo>
                    <a:pt x="13" y="1"/>
                  </a:lnTo>
                  <a:lnTo>
                    <a:pt x="10" y="1"/>
                  </a:lnTo>
                  <a:lnTo>
                    <a:pt x="7" y="4"/>
                  </a:lnTo>
                  <a:lnTo>
                    <a:pt x="5" y="5"/>
                  </a:lnTo>
                  <a:lnTo>
                    <a:pt x="3" y="7"/>
                  </a:lnTo>
                  <a:lnTo>
                    <a:pt x="2" y="10"/>
                  </a:lnTo>
                  <a:lnTo>
                    <a:pt x="1" y="13"/>
                  </a:lnTo>
                  <a:lnTo>
                    <a:pt x="0" y="15"/>
                  </a:lnTo>
                  <a:lnTo>
                    <a:pt x="0" y="226"/>
                  </a:lnTo>
                  <a:lnTo>
                    <a:pt x="1" y="230"/>
                  </a:lnTo>
                  <a:lnTo>
                    <a:pt x="2" y="232"/>
                  </a:lnTo>
                  <a:lnTo>
                    <a:pt x="3" y="235"/>
                  </a:lnTo>
                  <a:lnTo>
                    <a:pt x="5" y="237"/>
                  </a:lnTo>
                  <a:lnTo>
                    <a:pt x="7" y="238"/>
                  </a:lnTo>
                  <a:lnTo>
                    <a:pt x="10" y="240"/>
                  </a:lnTo>
                  <a:lnTo>
                    <a:pt x="13" y="241"/>
                  </a:lnTo>
                  <a:lnTo>
                    <a:pt x="15" y="241"/>
                  </a:lnTo>
                  <a:lnTo>
                    <a:pt x="316" y="241"/>
                  </a:lnTo>
                  <a:lnTo>
                    <a:pt x="319" y="241"/>
                  </a:lnTo>
                  <a:lnTo>
                    <a:pt x="322" y="240"/>
                  </a:lnTo>
                  <a:lnTo>
                    <a:pt x="325" y="238"/>
                  </a:lnTo>
                  <a:lnTo>
                    <a:pt x="327" y="237"/>
                  </a:lnTo>
                  <a:lnTo>
                    <a:pt x="329" y="235"/>
                  </a:lnTo>
                  <a:lnTo>
                    <a:pt x="330" y="232"/>
                  </a:lnTo>
                  <a:lnTo>
                    <a:pt x="331" y="230"/>
                  </a:lnTo>
                  <a:lnTo>
                    <a:pt x="331" y="226"/>
                  </a:lnTo>
                  <a:lnTo>
                    <a:pt x="331" y="15"/>
                  </a:lnTo>
                  <a:lnTo>
                    <a:pt x="331" y="12"/>
                  </a:lnTo>
                  <a:lnTo>
                    <a:pt x="330" y="10"/>
                  </a:lnTo>
                  <a:lnTo>
                    <a:pt x="329" y="7"/>
                  </a:lnTo>
                  <a:lnTo>
                    <a:pt x="327" y="5"/>
                  </a:lnTo>
                  <a:lnTo>
                    <a:pt x="325" y="4"/>
                  </a:lnTo>
                  <a:lnTo>
                    <a:pt x="322" y="1"/>
                  </a:lnTo>
                  <a:lnTo>
                    <a:pt x="319" y="1"/>
                  </a:lnTo>
                  <a:lnTo>
                    <a:pt x="316" y="0"/>
                  </a:lnTo>
                  <a:lnTo>
                    <a:pt x="31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Light"/>
                <a:ea typeface="+mn-ea"/>
                <a:cs typeface="+mn-cs"/>
              </a:endParaRPr>
            </a:p>
          </p:txBody>
        </p:sp>
        <p:sp>
          <p:nvSpPr>
            <p:cNvPr id="33" name="Freeform 217"/>
            <p:cNvSpPr>
              <a:spLocks noEditPoints="1"/>
            </p:cNvSpPr>
            <p:nvPr/>
          </p:nvSpPr>
          <p:spPr bwMode="auto">
            <a:xfrm>
              <a:off x="9309100" y="2536825"/>
              <a:ext cx="287338" cy="249238"/>
            </a:xfrm>
            <a:custGeom>
              <a:avLst/>
              <a:gdLst>
                <a:gd name="T0" fmla="*/ 863 w 902"/>
                <a:gd name="T1" fmla="*/ 235 h 782"/>
                <a:gd name="T2" fmla="*/ 832 w 902"/>
                <a:gd name="T3" fmla="*/ 276 h 782"/>
                <a:gd name="T4" fmla="*/ 787 w 902"/>
                <a:gd name="T5" fmla="*/ 299 h 782"/>
                <a:gd name="T6" fmla="*/ 737 w 902"/>
                <a:gd name="T7" fmla="*/ 298 h 782"/>
                <a:gd name="T8" fmla="*/ 692 w 902"/>
                <a:gd name="T9" fmla="*/ 280 h 782"/>
                <a:gd name="T10" fmla="*/ 752 w 902"/>
                <a:gd name="T11" fmla="*/ 752 h 782"/>
                <a:gd name="T12" fmla="*/ 748 w 902"/>
                <a:gd name="T13" fmla="*/ 426 h 782"/>
                <a:gd name="T14" fmla="*/ 556 w 902"/>
                <a:gd name="T15" fmla="*/ 421 h 782"/>
                <a:gd name="T16" fmla="*/ 544 w 902"/>
                <a:gd name="T17" fmla="*/ 428 h 782"/>
                <a:gd name="T18" fmla="*/ 120 w 902"/>
                <a:gd name="T19" fmla="*/ 752 h 782"/>
                <a:gd name="T20" fmla="*/ 170 w 902"/>
                <a:gd name="T21" fmla="*/ 326 h 782"/>
                <a:gd name="T22" fmla="*/ 231 w 902"/>
                <a:gd name="T23" fmla="*/ 320 h 782"/>
                <a:gd name="T24" fmla="*/ 279 w 902"/>
                <a:gd name="T25" fmla="*/ 354 h 782"/>
                <a:gd name="T26" fmla="*/ 347 w 902"/>
                <a:gd name="T27" fmla="*/ 361 h 782"/>
                <a:gd name="T28" fmla="*/ 415 w 902"/>
                <a:gd name="T29" fmla="*/ 340 h 782"/>
                <a:gd name="T30" fmla="*/ 475 w 902"/>
                <a:gd name="T31" fmla="*/ 346 h 782"/>
                <a:gd name="T32" fmla="*/ 556 w 902"/>
                <a:gd name="T33" fmla="*/ 361 h 782"/>
                <a:gd name="T34" fmla="*/ 643 w 902"/>
                <a:gd name="T35" fmla="*/ 341 h 782"/>
                <a:gd name="T36" fmla="*/ 701 w 902"/>
                <a:gd name="T37" fmla="*/ 319 h 782"/>
                <a:gd name="T38" fmla="*/ 756 w 902"/>
                <a:gd name="T39" fmla="*/ 331 h 782"/>
                <a:gd name="T40" fmla="*/ 571 w 902"/>
                <a:gd name="T41" fmla="*/ 752 h 782"/>
                <a:gd name="T42" fmla="*/ 30 w 902"/>
                <a:gd name="T43" fmla="*/ 196 h 782"/>
                <a:gd name="T44" fmla="*/ 193 w 902"/>
                <a:gd name="T45" fmla="*/ 289 h 782"/>
                <a:gd name="T46" fmla="*/ 132 w 902"/>
                <a:gd name="T47" fmla="*/ 301 h 782"/>
                <a:gd name="T48" fmla="*/ 82 w 902"/>
                <a:gd name="T49" fmla="*/ 292 h 782"/>
                <a:gd name="T50" fmla="*/ 48 w 902"/>
                <a:gd name="T51" fmla="*/ 261 h 782"/>
                <a:gd name="T52" fmla="*/ 32 w 902"/>
                <a:gd name="T53" fmla="*/ 216 h 782"/>
                <a:gd name="T54" fmla="*/ 214 w 902"/>
                <a:gd name="T55" fmla="*/ 151 h 782"/>
                <a:gd name="T56" fmla="*/ 451 w 902"/>
                <a:gd name="T57" fmla="*/ 151 h 782"/>
                <a:gd name="T58" fmla="*/ 245 w 902"/>
                <a:gd name="T59" fmla="*/ 151 h 782"/>
                <a:gd name="T60" fmla="*/ 421 w 902"/>
                <a:gd name="T61" fmla="*/ 295 h 782"/>
                <a:gd name="T62" fmla="*/ 371 w 902"/>
                <a:gd name="T63" fmla="*/ 327 h 782"/>
                <a:gd name="T64" fmla="*/ 301 w 902"/>
                <a:gd name="T65" fmla="*/ 329 h 782"/>
                <a:gd name="T66" fmla="*/ 250 w 902"/>
                <a:gd name="T67" fmla="*/ 295 h 782"/>
                <a:gd name="T68" fmla="*/ 643 w 902"/>
                <a:gd name="T69" fmla="*/ 304 h 782"/>
                <a:gd name="T70" fmla="*/ 574 w 902"/>
                <a:gd name="T71" fmla="*/ 330 h 782"/>
                <a:gd name="T72" fmla="*/ 496 w 902"/>
                <a:gd name="T73" fmla="*/ 322 h 782"/>
                <a:gd name="T74" fmla="*/ 451 w 902"/>
                <a:gd name="T75" fmla="*/ 181 h 782"/>
                <a:gd name="T76" fmla="*/ 651 w 902"/>
                <a:gd name="T77" fmla="*/ 30 h 782"/>
                <a:gd name="T78" fmla="*/ 901 w 902"/>
                <a:gd name="T79" fmla="*/ 160 h 782"/>
                <a:gd name="T80" fmla="*/ 805 w 902"/>
                <a:gd name="T81" fmla="*/ 2 h 782"/>
                <a:gd name="T82" fmla="*/ 97 w 902"/>
                <a:gd name="T83" fmla="*/ 2 h 782"/>
                <a:gd name="T84" fmla="*/ 2 w 902"/>
                <a:gd name="T85" fmla="*/ 160 h 782"/>
                <a:gd name="T86" fmla="*/ 0 w 902"/>
                <a:gd name="T87" fmla="*/ 166 h 782"/>
                <a:gd name="T88" fmla="*/ 4 w 902"/>
                <a:gd name="T89" fmla="*/ 231 h 782"/>
                <a:gd name="T90" fmla="*/ 26 w 902"/>
                <a:gd name="T91" fmla="*/ 280 h 782"/>
                <a:gd name="T92" fmla="*/ 62 w 902"/>
                <a:gd name="T93" fmla="*/ 315 h 782"/>
                <a:gd name="T94" fmla="*/ 91 w 902"/>
                <a:gd name="T95" fmla="*/ 771 h 782"/>
                <a:gd name="T96" fmla="*/ 100 w 902"/>
                <a:gd name="T97" fmla="*/ 781 h 782"/>
                <a:gd name="T98" fmla="*/ 797 w 902"/>
                <a:gd name="T99" fmla="*/ 782 h 782"/>
                <a:gd name="T100" fmla="*/ 810 w 902"/>
                <a:gd name="T101" fmla="*/ 776 h 782"/>
                <a:gd name="T102" fmla="*/ 822 w 902"/>
                <a:gd name="T103" fmla="*/ 319 h 782"/>
                <a:gd name="T104" fmla="*/ 862 w 902"/>
                <a:gd name="T105" fmla="*/ 289 h 782"/>
                <a:gd name="T106" fmla="*/ 891 w 902"/>
                <a:gd name="T107" fmla="*/ 246 h 782"/>
                <a:gd name="T108" fmla="*/ 902 w 902"/>
                <a:gd name="T109" fmla="*/ 196 h 782"/>
                <a:gd name="T110" fmla="*/ 901 w 902"/>
                <a:gd name="T111" fmla="*/ 161 h 7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902" h="782">
                  <a:moveTo>
                    <a:pt x="872" y="196"/>
                  </a:moveTo>
                  <a:lnTo>
                    <a:pt x="872" y="206"/>
                  </a:lnTo>
                  <a:lnTo>
                    <a:pt x="870" y="216"/>
                  </a:lnTo>
                  <a:lnTo>
                    <a:pt x="867" y="226"/>
                  </a:lnTo>
                  <a:lnTo>
                    <a:pt x="863" y="235"/>
                  </a:lnTo>
                  <a:lnTo>
                    <a:pt x="858" y="245"/>
                  </a:lnTo>
                  <a:lnTo>
                    <a:pt x="853" y="253"/>
                  </a:lnTo>
                  <a:lnTo>
                    <a:pt x="846" y="262"/>
                  </a:lnTo>
                  <a:lnTo>
                    <a:pt x="840" y="269"/>
                  </a:lnTo>
                  <a:lnTo>
                    <a:pt x="832" y="276"/>
                  </a:lnTo>
                  <a:lnTo>
                    <a:pt x="824" y="282"/>
                  </a:lnTo>
                  <a:lnTo>
                    <a:pt x="815" y="287"/>
                  </a:lnTo>
                  <a:lnTo>
                    <a:pt x="807" y="293"/>
                  </a:lnTo>
                  <a:lnTo>
                    <a:pt x="797" y="296"/>
                  </a:lnTo>
                  <a:lnTo>
                    <a:pt x="787" y="299"/>
                  </a:lnTo>
                  <a:lnTo>
                    <a:pt x="777" y="301"/>
                  </a:lnTo>
                  <a:lnTo>
                    <a:pt x="767" y="301"/>
                  </a:lnTo>
                  <a:lnTo>
                    <a:pt x="757" y="301"/>
                  </a:lnTo>
                  <a:lnTo>
                    <a:pt x="748" y="300"/>
                  </a:lnTo>
                  <a:lnTo>
                    <a:pt x="737" y="298"/>
                  </a:lnTo>
                  <a:lnTo>
                    <a:pt x="727" y="296"/>
                  </a:lnTo>
                  <a:lnTo>
                    <a:pt x="717" y="293"/>
                  </a:lnTo>
                  <a:lnTo>
                    <a:pt x="708" y="290"/>
                  </a:lnTo>
                  <a:lnTo>
                    <a:pt x="700" y="284"/>
                  </a:lnTo>
                  <a:lnTo>
                    <a:pt x="692" y="280"/>
                  </a:lnTo>
                  <a:lnTo>
                    <a:pt x="692" y="181"/>
                  </a:lnTo>
                  <a:lnTo>
                    <a:pt x="872" y="181"/>
                  </a:lnTo>
                  <a:lnTo>
                    <a:pt x="872" y="196"/>
                  </a:lnTo>
                  <a:close/>
                  <a:moveTo>
                    <a:pt x="782" y="752"/>
                  </a:moveTo>
                  <a:lnTo>
                    <a:pt x="752" y="752"/>
                  </a:lnTo>
                  <a:lnTo>
                    <a:pt x="752" y="436"/>
                  </a:lnTo>
                  <a:lnTo>
                    <a:pt x="752" y="433"/>
                  </a:lnTo>
                  <a:lnTo>
                    <a:pt x="751" y="431"/>
                  </a:lnTo>
                  <a:lnTo>
                    <a:pt x="749" y="428"/>
                  </a:lnTo>
                  <a:lnTo>
                    <a:pt x="748" y="426"/>
                  </a:lnTo>
                  <a:lnTo>
                    <a:pt x="746" y="425"/>
                  </a:lnTo>
                  <a:lnTo>
                    <a:pt x="742" y="422"/>
                  </a:lnTo>
                  <a:lnTo>
                    <a:pt x="740" y="422"/>
                  </a:lnTo>
                  <a:lnTo>
                    <a:pt x="737" y="421"/>
                  </a:lnTo>
                  <a:lnTo>
                    <a:pt x="556" y="421"/>
                  </a:lnTo>
                  <a:lnTo>
                    <a:pt x="554" y="422"/>
                  </a:lnTo>
                  <a:lnTo>
                    <a:pt x="551" y="422"/>
                  </a:lnTo>
                  <a:lnTo>
                    <a:pt x="548" y="425"/>
                  </a:lnTo>
                  <a:lnTo>
                    <a:pt x="545" y="426"/>
                  </a:lnTo>
                  <a:lnTo>
                    <a:pt x="544" y="428"/>
                  </a:lnTo>
                  <a:lnTo>
                    <a:pt x="542" y="431"/>
                  </a:lnTo>
                  <a:lnTo>
                    <a:pt x="542" y="434"/>
                  </a:lnTo>
                  <a:lnTo>
                    <a:pt x="541" y="436"/>
                  </a:lnTo>
                  <a:lnTo>
                    <a:pt x="541" y="752"/>
                  </a:lnTo>
                  <a:lnTo>
                    <a:pt x="120" y="752"/>
                  </a:lnTo>
                  <a:lnTo>
                    <a:pt x="120" y="331"/>
                  </a:lnTo>
                  <a:lnTo>
                    <a:pt x="131" y="331"/>
                  </a:lnTo>
                  <a:lnTo>
                    <a:pt x="144" y="330"/>
                  </a:lnTo>
                  <a:lnTo>
                    <a:pt x="156" y="328"/>
                  </a:lnTo>
                  <a:lnTo>
                    <a:pt x="170" y="326"/>
                  </a:lnTo>
                  <a:lnTo>
                    <a:pt x="184" y="323"/>
                  </a:lnTo>
                  <a:lnTo>
                    <a:pt x="197" y="319"/>
                  </a:lnTo>
                  <a:lnTo>
                    <a:pt x="210" y="314"/>
                  </a:lnTo>
                  <a:lnTo>
                    <a:pt x="222" y="308"/>
                  </a:lnTo>
                  <a:lnTo>
                    <a:pt x="231" y="320"/>
                  </a:lnTo>
                  <a:lnTo>
                    <a:pt x="241" y="330"/>
                  </a:lnTo>
                  <a:lnTo>
                    <a:pt x="252" y="340"/>
                  </a:lnTo>
                  <a:lnTo>
                    <a:pt x="265" y="347"/>
                  </a:lnTo>
                  <a:lnTo>
                    <a:pt x="271" y="351"/>
                  </a:lnTo>
                  <a:lnTo>
                    <a:pt x="279" y="354"/>
                  </a:lnTo>
                  <a:lnTo>
                    <a:pt x="285" y="356"/>
                  </a:lnTo>
                  <a:lnTo>
                    <a:pt x="294" y="358"/>
                  </a:lnTo>
                  <a:lnTo>
                    <a:pt x="311" y="360"/>
                  </a:lnTo>
                  <a:lnTo>
                    <a:pt x="331" y="361"/>
                  </a:lnTo>
                  <a:lnTo>
                    <a:pt x="347" y="361"/>
                  </a:lnTo>
                  <a:lnTo>
                    <a:pt x="362" y="359"/>
                  </a:lnTo>
                  <a:lnTo>
                    <a:pt x="376" y="356"/>
                  </a:lnTo>
                  <a:lnTo>
                    <a:pt x="390" y="352"/>
                  </a:lnTo>
                  <a:lnTo>
                    <a:pt x="403" y="346"/>
                  </a:lnTo>
                  <a:lnTo>
                    <a:pt x="415" y="340"/>
                  </a:lnTo>
                  <a:lnTo>
                    <a:pt x="425" y="332"/>
                  </a:lnTo>
                  <a:lnTo>
                    <a:pt x="436" y="323"/>
                  </a:lnTo>
                  <a:lnTo>
                    <a:pt x="448" y="331"/>
                  </a:lnTo>
                  <a:lnTo>
                    <a:pt x="461" y="339"/>
                  </a:lnTo>
                  <a:lnTo>
                    <a:pt x="475" y="346"/>
                  </a:lnTo>
                  <a:lnTo>
                    <a:pt x="488" y="352"/>
                  </a:lnTo>
                  <a:lnTo>
                    <a:pt x="505" y="356"/>
                  </a:lnTo>
                  <a:lnTo>
                    <a:pt x="522" y="359"/>
                  </a:lnTo>
                  <a:lnTo>
                    <a:pt x="539" y="361"/>
                  </a:lnTo>
                  <a:lnTo>
                    <a:pt x="556" y="361"/>
                  </a:lnTo>
                  <a:lnTo>
                    <a:pt x="576" y="360"/>
                  </a:lnTo>
                  <a:lnTo>
                    <a:pt x="595" y="358"/>
                  </a:lnTo>
                  <a:lnTo>
                    <a:pt x="612" y="354"/>
                  </a:lnTo>
                  <a:lnTo>
                    <a:pt x="628" y="348"/>
                  </a:lnTo>
                  <a:lnTo>
                    <a:pt x="643" y="341"/>
                  </a:lnTo>
                  <a:lnTo>
                    <a:pt x="656" y="331"/>
                  </a:lnTo>
                  <a:lnTo>
                    <a:pt x="668" y="321"/>
                  </a:lnTo>
                  <a:lnTo>
                    <a:pt x="679" y="308"/>
                  </a:lnTo>
                  <a:lnTo>
                    <a:pt x="690" y="314"/>
                  </a:lnTo>
                  <a:lnTo>
                    <a:pt x="701" y="319"/>
                  </a:lnTo>
                  <a:lnTo>
                    <a:pt x="712" y="323"/>
                  </a:lnTo>
                  <a:lnTo>
                    <a:pt x="723" y="326"/>
                  </a:lnTo>
                  <a:lnTo>
                    <a:pt x="735" y="328"/>
                  </a:lnTo>
                  <a:lnTo>
                    <a:pt x="746" y="330"/>
                  </a:lnTo>
                  <a:lnTo>
                    <a:pt x="756" y="331"/>
                  </a:lnTo>
                  <a:lnTo>
                    <a:pt x="767" y="331"/>
                  </a:lnTo>
                  <a:lnTo>
                    <a:pt x="775" y="331"/>
                  </a:lnTo>
                  <a:lnTo>
                    <a:pt x="782" y="330"/>
                  </a:lnTo>
                  <a:lnTo>
                    <a:pt x="782" y="752"/>
                  </a:lnTo>
                  <a:close/>
                  <a:moveTo>
                    <a:pt x="571" y="752"/>
                  </a:moveTo>
                  <a:lnTo>
                    <a:pt x="571" y="451"/>
                  </a:lnTo>
                  <a:lnTo>
                    <a:pt x="722" y="451"/>
                  </a:lnTo>
                  <a:lnTo>
                    <a:pt x="722" y="752"/>
                  </a:lnTo>
                  <a:lnTo>
                    <a:pt x="571" y="752"/>
                  </a:lnTo>
                  <a:close/>
                  <a:moveTo>
                    <a:pt x="30" y="196"/>
                  </a:moveTo>
                  <a:lnTo>
                    <a:pt x="30" y="181"/>
                  </a:lnTo>
                  <a:lnTo>
                    <a:pt x="211" y="181"/>
                  </a:lnTo>
                  <a:lnTo>
                    <a:pt x="211" y="279"/>
                  </a:lnTo>
                  <a:lnTo>
                    <a:pt x="202" y="284"/>
                  </a:lnTo>
                  <a:lnTo>
                    <a:pt x="193" y="289"/>
                  </a:lnTo>
                  <a:lnTo>
                    <a:pt x="182" y="292"/>
                  </a:lnTo>
                  <a:lnTo>
                    <a:pt x="170" y="295"/>
                  </a:lnTo>
                  <a:lnTo>
                    <a:pt x="157" y="298"/>
                  </a:lnTo>
                  <a:lnTo>
                    <a:pt x="145" y="300"/>
                  </a:lnTo>
                  <a:lnTo>
                    <a:pt x="132" y="301"/>
                  </a:lnTo>
                  <a:lnTo>
                    <a:pt x="120" y="301"/>
                  </a:lnTo>
                  <a:lnTo>
                    <a:pt x="110" y="300"/>
                  </a:lnTo>
                  <a:lnTo>
                    <a:pt x="101" y="299"/>
                  </a:lnTo>
                  <a:lnTo>
                    <a:pt x="91" y="296"/>
                  </a:lnTo>
                  <a:lnTo>
                    <a:pt x="82" y="292"/>
                  </a:lnTo>
                  <a:lnTo>
                    <a:pt x="74" y="287"/>
                  </a:lnTo>
                  <a:lnTo>
                    <a:pt x="67" y="282"/>
                  </a:lnTo>
                  <a:lnTo>
                    <a:pt x="60" y="276"/>
                  </a:lnTo>
                  <a:lnTo>
                    <a:pt x="54" y="268"/>
                  </a:lnTo>
                  <a:lnTo>
                    <a:pt x="48" y="261"/>
                  </a:lnTo>
                  <a:lnTo>
                    <a:pt x="44" y="252"/>
                  </a:lnTo>
                  <a:lnTo>
                    <a:pt x="40" y="244"/>
                  </a:lnTo>
                  <a:lnTo>
                    <a:pt x="36" y="235"/>
                  </a:lnTo>
                  <a:lnTo>
                    <a:pt x="33" y="225"/>
                  </a:lnTo>
                  <a:lnTo>
                    <a:pt x="32" y="216"/>
                  </a:lnTo>
                  <a:lnTo>
                    <a:pt x="31" y="206"/>
                  </a:lnTo>
                  <a:lnTo>
                    <a:pt x="30" y="196"/>
                  </a:lnTo>
                  <a:close/>
                  <a:moveTo>
                    <a:pt x="114" y="30"/>
                  </a:moveTo>
                  <a:lnTo>
                    <a:pt x="251" y="30"/>
                  </a:lnTo>
                  <a:lnTo>
                    <a:pt x="214" y="151"/>
                  </a:lnTo>
                  <a:lnTo>
                    <a:pt x="42" y="151"/>
                  </a:lnTo>
                  <a:lnTo>
                    <a:pt x="114" y="30"/>
                  </a:lnTo>
                  <a:close/>
                  <a:moveTo>
                    <a:pt x="620" y="30"/>
                  </a:moveTo>
                  <a:lnTo>
                    <a:pt x="657" y="151"/>
                  </a:lnTo>
                  <a:lnTo>
                    <a:pt x="451" y="151"/>
                  </a:lnTo>
                  <a:lnTo>
                    <a:pt x="451" y="30"/>
                  </a:lnTo>
                  <a:lnTo>
                    <a:pt x="620" y="30"/>
                  </a:lnTo>
                  <a:close/>
                  <a:moveTo>
                    <a:pt x="421" y="30"/>
                  </a:moveTo>
                  <a:lnTo>
                    <a:pt x="421" y="151"/>
                  </a:lnTo>
                  <a:lnTo>
                    <a:pt x="245" y="151"/>
                  </a:lnTo>
                  <a:lnTo>
                    <a:pt x="282" y="30"/>
                  </a:lnTo>
                  <a:lnTo>
                    <a:pt x="421" y="30"/>
                  </a:lnTo>
                  <a:close/>
                  <a:moveTo>
                    <a:pt x="241" y="181"/>
                  </a:moveTo>
                  <a:lnTo>
                    <a:pt x="421" y="181"/>
                  </a:lnTo>
                  <a:lnTo>
                    <a:pt x="421" y="295"/>
                  </a:lnTo>
                  <a:lnTo>
                    <a:pt x="412" y="305"/>
                  </a:lnTo>
                  <a:lnTo>
                    <a:pt x="403" y="312"/>
                  </a:lnTo>
                  <a:lnTo>
                    <a:pt x="392" y="317"/>
                  </a:lnTo>
                  <a:lnTo>
                    <a:pt x="381" y="323"/>
                  </a:lnTo>
                  <a:lnTo>
                    <a:pt x="371" y="327"/>
                  </a:lnTo>
                  <a:lnTo>
                    <a:pt x="358" y="329"/>
                  </a:lnTo>
                  <a:lnTo>
                    <a:pt x="345" y="331"/>
                  </a:lnTo>
                  <a:lnTo>
                    <a:pt x="331" y="331"/>
                  </a:lnTo>
                  <a:lnTo>
                    <a:pt x="315" y="331"/>
                  </a:lnTo>
                  <a:lnTo>
                    <a:pt x="301" y="329"/>
                  </a:lnTo>
                  <a:lnTo>
                    <a:pt x="289" y="326"/>
                  </a:lnTo>
                  <a:lnTo>
                    <a:pt x="279" y="321"/>
                  </a:lnTo>
                  <a:lnTo>
                    <a:pt x="268" y="314"/>
                  </a:lnTo>
                  <a:lnTo>
                    <a:pt x="259" y="306"/>
                  </a:lnTo>
                  <a:lnTo>
                    <a:pt x="250" y="295"/>
                  </a:lnTo>
                  <a:lnTo>
                    <a:pt x="241" y="282"/>
                  </a:lnTo>
                  <a:lnTo>
                    <a:pt x="241" y="181"/>
                  </a:lnTo>
                  <a:close/>
                  <a:moveTo>
                    <a:pt x="662" y="282"/>
                  </a:moveTo>
                  <a:lnTo>
                    <a:pt x="652" y="294"/>
                  </a:lnTo>
                  <a:lnTo>
                    <a:pt x="643" y="304"/>
                  </a:lnTo>
                  <a:lnTo>
                    <a:pt x="631" y="312"/>
                  </a:lnTo>
                  <a:lnTo>
                    <a:pt x="619" y="320"/>
                  </a:lnTo>
                  <a:lnTo>
                    <a:pt x="605" y="325"/>
                  </a:lnTo>
                  <a:lnTo>
                    <a:pt x="590" y="328"/>
                  </a:lnTo>
                  <a:lnTo>
                    <a:pt x="574" y="330"/>
                  </a:lnTo>
                  <a:lnTo>
                    <a:pt x="556" y="331"/>
                  </a:lnTo>
                  <a:lnTo>
                    <a:pt x="540" y="331"/>
                  </a:lnTo>
                  <a:lnTo>
                    <a:pt x="524" y="329"/>
                  </a:lnTo>
                  <a:lnTo>
                    <a:pt x="510" y="326"/>
                  </a:lnTo>
                  <a:lnTo>
                    <a:pt x="496" y="322"/>
                  </a:lnTo>
                  <a:lnTo>
                    <a:pt x="483" y="316"/>
                  </a:lnTo>
                  <a:lnTo>
                    <a:pt x="471" y="311"/>
                  </a:lnTo>
                  <a:lnTo>
                    <a:pt x="461" y="304"/>
                  </a:lnTo>
                  <a:lnTo>
                    <a:pt x="451" y="295"/>
                  </a:lnTo>
                  <a:lnTo>
                    <a:pt x="451" y="181"/>
                  </a:lnTo>
                  <a:lnTo>
                    <a:pt x="662" y="181"/>
                  </a:lnTo>
                  <a:lnTo>
                    <a:pt x="662" y="282"/>
                  </a:lnTo>
                  <a:close/>
                  <a:moveTo>
                    <a:pt x="860" y="151"/>
                  </a:moveTo>
                  <a:lnTo>
                    <a:pt x="688" y="151"/>
                  </a:lnTo>
                  <a:lnTo>
                    <a:pt x="651" y="30"/>
                  </a:lnTo>
                  <a:lnTo>
                    <a:pt x="788" y="30"/>
                  </a:lnTo>
                  <a:lnTo>
                    <a:pt x="860" y="151"/>
                  </a:lnTo>
                  <a:close/>
                  <a:moveTo>
                    <a:pt x="901" y="161"/>
                  </a:moveTo>
                  <a:lnTo>
                    <a:pt x="901" y="160"/>
                  </a:lnTo>
                  <a:lnTo>
                    <a:pt x="901" y="160"/>
                  </a:lnTo>
                  <a:lnTo>
                    <a:pt x="900" y="159"/>
                  </a:lnTo>
                  <a:lnTo>
                    <a:pt x="900" y="159"/>
                  </a:lnTo>
                  <a:lnTo>
                    <a:pt x="810" y="8"/>
                  </a:lnTo>
                  <a:lnTo>
                    <a:pt x="808" y="5"/>
                  </a:lnTo>
                  <a:lnTo>
                    <a:pt x="805" y="2"/>
                  </a:lnTo>
                  <a:lnTo>
                    <a:pt x="801" y="1"/>
                  </a:lnTo>
                  <a:lnTo>
                    <a:pt x="797" y="0"/>
                  </a:lnTo>
                  <a:lnTo>
                    <a:pt x="105" y="0"/>
                  </a:lnTo>
                  <a:lnTo>
                    <a:pt x="102" y="1"/>
                  </a:lnTo>
                  <a:lnTo>
                    <a:pt x="97" y="2"/>
                  </a:lnTo>
                  <a:lnTo>
                    <a:pt x="95" y="5"/>
                  </a:lnTo>
                  <a:lnTo>
                    <a:pt x="92" y="8"/>
                  </a:lnTo>
                  <a:lnTo>
                    <a:pt x="2" y="158"/>
                  </a:lnTo>
                  <a:lnTo>
                    <a:pt x="2" y="159"/>
                  </a:lnTo>
                  <a:lnTo>
                    <a:pt x="2" y="160"/>
                  </a:lnTo>
                  <a:lnTo>
                    <a:pt x="1" y="160"/>
                  </a:lnTo>
                  <a:lnTo>
                    <a:pt x="1" y="161"/>
                  </a:lnTo>
                  <a:lnTo>
                    <a:pt x="0" y="163"/>
                  </a:lnTo>
                  <a:lnTo>
                    <a:pt x="0" y="166"/>
                  </a:lnTo>
                  <a:lnTo>
                    <a:pt x="0" y="166"/>
                  </a:lnTo>
                  <a:lnTo>
                    <a:pt x="0" y="166"/>
                  </a:lnTo>
                  <a:lnTo>
                    <a:pt x="0" y="196"/>
                  </a:lnTo>
                  <a:lnTo>
                    <a:pt x="0" y="208"/>
                  </a:lnTo>
                  <a:lnTo>
                    <a:pt x="2" y="220"/>
                  </a:lnTo>
                  <a:lnTo>
                    <a:pt x="4" y="231"/>
                  </a:lnTo>
                  <a:lnTo>
                    <a:pt x="6" y="241"/>
                  </a:lnTo>
                  <a:lnTo>
                    <a:pt x="11" y="252"/>
                  </a:lnTo>
                  <a:lnTo>
                    <a:pt x="15" y="262"/>
                  </a:lnTo>
                  <a:lnTo>
                    <a:pt x="19" y="271"/>
                  </a:lnTo>
                  <a:lnTo>
                    <a:pt x="26" y="280"/>
                  </a:lnTo>
                  <a:lnTo>
                    <a:pt x="32" y="289"/>
                  </a:lnTo>
                  <a:lnTo>
                    <a:pt x="39" y="296"/>
                  </a:lnTo>
                  <a:lnTo>
                    <a:pt x="46" y="304"/>
                  </a:lnTo>
                  <a:lnTo>
                    <a:pt x="54" y="310"/>
                  </a:lnTo>
                  <a:lnTo>
                    <a:pt x="62" y="315"/>
                  </a:lnTo>
                  <a:lnTo>
                    <a:pt x="72" y="320"/>
                  </a:lnTo>
                  <a:lnTo>
                    <a:pt x="80" y="324"/>
                  </a:lnTo>
                  <a:lnTo>
                    <a:pt x="90" y="327"/>
                  </a:lnTo>
                  <a:lnTo>
                    <a:pt x="90" y="767"/>
                  </a:lnTo>
                  <a:lnTo>
                    <a:pt x="91" y="771"/>
                  </a:lnTo>
                  <a:lnTo>
                    <a:pt x="91" y="774"/>
                  </a:lnTo>
                  <a:lnTo>
                    <a:pt x="93" y="776"/>
                  </a:lnTo>
                  <a:lnTo>
                    <a:pt x="94" y="778"/>
                  </a:lnTo>
                  <a:lnTo>
                    <a:pt x="96" y="780"/>
                  </a:lnTo>
                  <a:lnTo>
                    <a:pt x="100" y="781"/>
                  </a:lnTo>
                  <a:lnTo>
                    <a:pt x="102" y="782"/>
                  </a:lnTo>
                  <a:lnTo>
                    <a:pt x="105" y="782"/>
                  </a:lnTo>
                  <a:lnTo>
                    <a:pt x="556" y="782"/>
                  </a:lnTo>
                  <a:lnTo>
                    <a:pt x="737" y="782"/>
                  </a:lnTo>
                  <a:lnTo>
                    <a:pt x="797" y="782"/>
                  </a:lnTo>
                  <a:lnTo>
                    <a:pt x="800" y="782"/>
                  </a:lnTo>
                  <a:lnTo>
                    <a:pt x="802" y="781"/>
                  </a:lnTo>
                  <a:lnTo>
                    <a:pt x="806" y="780"/>
                  </a:lnTo>
                  <a:lnTo>
                    <a:pt x="808" y="778"/>
                  </a:lnTo>
                  <a:lnTo>
                    <a:pt x="810" y="776"/>
                  </a:lnTo>
                  <a:lnTo>
                    <a:pt x="811" y="774"/>
                  </a:lnTo>
                  <a:lnTo>
                    <a:pt x="812" y="771"/>
                  </a:lnTo>
                  <a:lnTo>
                    <a:pt x="812" y="767"/>
                  </a:lnTo>
                  <a:lnTo>
                    <a:pt x="812" y="323"/>
                  </a:lnTo>
                  <a:lnTo>
                    <a:pt x="822" y="319"/>
                  </a:lnTo>
                  <a:lnTo>
                    <a:pt x="830" y="313"/>
                  </a:lnTo>
                  <a:lnTo>
                    <a:pt x="839" y="308"/>
                  </a:lnTo>
                  <a:lnTo>
                    <a:pt x="847" y="302"/>
                  </a:lnTo>
                  <a:lnTo>
                    <a:pt x="856" y="296"/>
                  </a:lnTo>
                  <a:lnTo>
                    <a:pt x="862" y="289"/>
                  </a:lnTo>
                  <a:lnTo>
                    <a:pt x="870" y="281"/>
                  </a:lnTo>
                  <a:lnTo>
                    <a:pt x="876" y="272"/>
                  </a:lnTo>
                  <a:lnTo>
                    <a:pt x="882" y="264"/>
                  </a:lnTo>
                  <a:lnTo>
                    <a:pt x="887" y="255"/>
                  </a:lnTo>
                  <a:lnTo>
                    <a:pt x="891" y="246"/>
                  </a:lnTo>
                  <a:lnTo>
                    <a:pt x="896" y="236"/>
                  </a:lnTo>
                  <a:lnTo>
                    <a:pt x="898" y="226"/>
                  </a:lnTo>
                  <a:lnTo>
                    <a:pt x="900" y="217"/>
                  </a:lnTo>
                  <a:lnTo>
                    <a:pt x="902" y="206"/>
                  </a:lnTo>
                  <a:lnTo>
                    <a:pt x="902" y="196"/>
                  </a:lnTo>
                  <a:lnTo>
                    <a:pt x="902" y="166"/>
                  </a:lnTo>
                  <a:lnTo>
                    <a:pt x="902" y="166"/>
                  </a:lnTo>
                  <a:lnTo>
                    <a:pt x="902" y="166"/>
                  </a:lnTo>
                  <a:lnTo>
                    <a:pt x="902" y="163"/>
                  </a:lnTo>
                  <a:lnTo>
                    <a:pt x="901" y="1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Light"/>
                <a:ea typeface="+mn-ea"/>
                <a:cs typeface="+mn-cs"/>
              </a:endParaRPr>
            </a:p>
          </p:txBody>
        </p:sp>
        <p:sp>
          <p:nvSpPr>
            <p:cNvPr id="34" name="Freeform 218"/>
            <p:cNvSpPr>
              <a:spLocks/>
            </p:cNvSpPr>
            <p:nvPr/>
          </p:nvSpPr>
          <p:spPr bwMode="auto">
            <a:xfrm>
              <a:off x="9520238" y="2728913"/>
              <a:ext cx="9525" cy="9525"/>
            </a:xfrm>
            <a:custGeom>
              <a:avLst/>
              <a:gdLst>
                <a:gd name="T0" fmla="*/ 15 w 30"/>
                <a:gd name="T1" fmla="*/ 0 h 30"/>
                <a:gd name="T2" fmla="*/ 12 w 30"/>
                <a:gd name="T3" fmla="*/ 0 h 30"/>
                <a:gd name="T4" fmla="*/ 9 w 30"/>
                <a:gd name="T5" fmla="*/ 1 h 30"/>
                <a:gd name="T6" fmla="*/ 6 w 30"/>
                <a:gd name="T7" fmla="*/ 3 h 30"/>
                <a:gd name="T8" fmla="*/ 4 w 30"/>
                <a:gd name="T9" fmla="*/ 5 h 30"/>
                <a:gd name="T10" fmla="*/ 2 w 30"/>
                <a:gd name="T11" fmla="*/ 7 h 30"/>
                <a:gd name="T12" fmla="*/ 1 w 30"/>
                <a:gd name="T13" fmla="*/ 9 h 30"/>
                <a:gd name="T14" fmla="*/ 0 w 30"/>
                <a:gd name="T15" fmla="*/ 12 h 30"/>
                <a:gd name="T16" fmla="*/ 0 w 30"/>
                <a:gd name="T17" fmla="*/ 15 h 30"/>
                <a:gd name="T18" fmla="*/ 0 w 30"/>
                <a:gd name="T19" fmla="*/ 19 h 30"/>
                <a:gd name="T20" fmla="*/ 1 w 30"/>
                <a:gd name="T21" fmla="*/ 21 h 30"/>
                <a:gd name="T22" fmla="*/ 2 w 30"/>
                <a:gd name="T23" fmla="*/ 24 h 30"/>
                <a:gd name="T24" fmla="*/ 4 w 30"/>
                <a:gd name="T25" fmla="*/ 26 h 30"/>
                <a:gd name="T26" fmla="*/ 6 w 30"/>
                <a:gd name="T27" fmla="*/ 27 h 30"/>
                <a:gd name="T28" fmla="*/ 9 w 30"/>
                <a:gd name="T29" fmla="*/ 29 h 30"/>
                <a:gd name="T30" fmla="*/ 12 w 30"/>
                <a:gd name="T31" fmla="*/ 30 h 30"/>
                <a:gd name="T32" fmla="*/ 15 w 30"/>
                <a:gd name="T33" fmla="*/ 30 h 30"/>
                <a:gd name="T34" fmla="*/ 17 w 30"/>
                <a:gd name="T35" fmla="*/ 30 h 30"/>
                <a:gd name="T36" fmla="*/ 20 w 30"/>
                <a:gd name="T37" fmla="*/ 29 h 30"/>
                <a:gd name="T38" fmla="*/ 23 w 30"/>
                <a:gd name="T39" fmla="*/ 27 h 30"/>
                <a:gd name="T40" fmla="*/ 26 w 30"/>
                <a:gd name="T41" fmla="*/ 26 h 30"/>
                <a:gd name="T42" fmla="*/ 27 w 30"/>
                <a:gd name="T43" fmla="*/ 24 h 30"/>
                <a:gd name="T44" fmla="*/ 29 w 30"/>
                <a:gd name="T45" fmla="*/ 21 h 30"/>
                <a:gd name="T46" fmla="*/ 29 w 30"/>
                <a:gd name="T47" fmla="*/ 19 h 30"/>
                <a:gd name="T48" fmla="*/ 30 w 30"/>
                <a:gd name="T49" fmla="*/ 15 h 30"/>
                <a:gd name="T50" fmla="*/ 29 w 30"/>
                <a:gd name="T51" fmla="*/ 12 h 30"/>
                <a:gd name="T52" fmla="*/ 29 w 30"/>
                <a:gd name="T53" fmla="*/ 9 h 30"/>
                <a:gd name="T54" fmla="*/ 27 w 30"/>
                <a:gd name="T55" fmla="*/ 7 h 30"/>
                <a:gd name="T56" fmla="*/ 26 w 30"/>
                <a:gd name="T57" fmla="*/ 5 h 30"/>
                <a:gd name="T58" fmla="*/ 23 w 30"/>
                <a:gd name="T59" fmla="*/ 3 h 30"/>
                <a:gd name="T60" fmla="*/ 20 w 30"/>
                <a:gd name="T61" fmla="*/ 1 h 30"/>
                <a:gd name="T62" fmla="*/ 17 w 30"/>
                <a:gd name="T63" fmla="*/ 0 h 30"/>
                <a:gd name="T64" fmla="*/ 15 w 30"/>
                <a:gd name="T65"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0" h="30">
                  <a:moveTo>
                    <a:pt x="15" y="0"/>
                  </a:moveTo>
                  <a:lnTo>
                    <a:pt x="12" y="0"/>
                  </a:lnTo>
                  <a:lnTo>
                    <a:pt x="9" y="1"/>
                  </a:lnTo>
                  <a:lnTo>
                    <a:pt x="6" y="3"/>
                  </a:lnTo>
                  <a:lnTo>
                    <a:pt x="4" y="5"/>
                  </a:lnTo>
                  <a:lnTo>
                    <a:pt x="2" y="7"/>
                  </a:lnTo>
                  <a:lnTo>
                    <a:pt x="1" y="9"/>
                  </a:lnTo>
                  <a:lnTo>
                    <a:pt x="0" y="12"/>
                  </a:lnTo>
                  <a:lnTo>
                    <a:pt x="0" y="15"/>
                  </a:lnTo>
                  <a:lnTo>
                    <a:pt x="0" y="19"/>
                  </a:lnTo>
                  <a:lnTo>
                    <a:pt x="1" y="21"/>
                  </a:lnTo>
                  <a:lnTo>
                    <a:pt x="2" y="24"/>
                  </a:lnTo>
                  <a:lnTo>
                    <a:pt x="4" y="26"/>
                  </a:lnTo>
                  <a:lnTo>
                    <a:pt x="6" y="27"/>
                  </a:lnTo>
                  <a:lnTo>
                    <a:pt x="9" y="29"/>
                  </a:lnTo>
                  <a:lnTo>
                    <a:pt x="12" y="30"/>
                  </a:lnTo>
                  <a:lnTo>
                    <a:pt x="15" y="30"/>
                  </a:lnTo>
                  <a:lnTo>
                    <a:pt x="17" y="30"/>
                  </a:lnTo>
                  <a:lnTo>
                    <a:pt x="20" y="29"/>
                  </a:lnTo>
                  <a:lnTo>
                    <a:pt x="23" y="27"/>
                  </a:lnTo>
                  <a:lnTo>
                    <a:pt x="26" y="26"/>
                  </a:lnTo>
                  <a:lnTo>
                    <a:pt x="27" y="24"/>
                  </a:lnTo>
                  <a:lnTo>
                    <a:pt x="29" y="21"/>
                  </a:lnTo>
                  <a:lnTo>
                    <a:pt x="29" y="19"/>
                  </a:lnTo>
                  <a:lnTo>
                    <a:pt x="30" y="15"/>
                  </a:lnTo>
                  <a:lnTo>
                    <a:pt x="29" y="12"/>
                  </a:lnTo>
                  <a:lnTo>
                    <a:pt x="29" y="9"/>
                  </a:lnTo>
                  <a:lnTo>
                    <a:pt x="27" y="7"/>
                  </a:lnTo>
                  <a:lnTo>
                    <a:pt x="26" y="5"/>
                  </a:lnTo>
                  <a:lnTo>
                    <a:pt x="23" y="3"/>
                  </a:lnTo>
                  <a:lnTo>
                    <a:pt x="20" y="1"/>
                  </a:lnTo>
                  <a:lnTo>
                    <a:pt x="17" y="0"/>
                  </a:lnTo>
                  <a:lnTo>
                    <a:pt x="1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Light"/>
                <a:ea typeface="+mn-ea"/>
                <a:cs typeface="+mn-cs"/>
              </a:endParaRPr>
            </a:p>
          </p:txBody>
        </p:sp>
      </p:grpSp>
      <p:grpSp>
        <p:nvGrpSpPr>
          <p:cNvPr id="35" name="Group 34"/>
          <p:cNvGrpSpPr/>
          <p:nvPr/>
        </p:nvGrpSpPr>
        <p:grpSpPr>
          <a:xfrm>
            <a:off x="9532020" y="2887689"/>
            <a:ext cx="286131" cy="286131"/>
            <a:chOff x="7591425" y="4217988"/>
            <a:chExt cx="285750" cy="285750"/>
          </a:xfrm>
          <a:solidFill>
            <a:schemeClr val="bg1"/>
          </a:solidFill>
        </p:grpSpPr>
        <p:sp>
          <p:nvSpPr>
            <p:cNvPr id="36" name="Freeform 275"/>
            <p:cNvSpPr>
              <a:spLocks noEditPoints="1"/>
            </p:cNvSpPr>
            <p:nvPr/>
          </p:nvSpPr>
          <p:spPr bwMode="auto">
            <a:xfrm>
              <a:off x="7591425" y="4217988"/>
              <a:ext cx="285750" cy="285750"/>
            </a:xfrm>
            <a:custGeom>
              <a:avLst/>
              <a:gdLst>
                <a:gd name="T0" fmla="*/ 366 w 903"/>
                <a:gd name="T1" fmla="*/ 864 h 902"/>
                <a:gd name="T2" fmla="*/ 269 w 903"/>
                <a:gd name="T3" fmla="*/ 830 h 902"/>
                <a:gd name="T4" fmla="*/ 184 w 903"/>
                <a:gd name="T5" fmla="*/ 776 h 902"/>
                <a:gd name="T6" fmla="*/ 115 w 903"/>
                <a:gd name="T7" fmla="*/ 703 h 902"/>
                <a:gd name="T8" fmla="*/ 63 w 903"/>
                <a:gd name="T9" fmla="*/ 615 h 902"/>
                <a:gd name="T10" fmla="*/ 35 w 903"/>
                <a:gd name="T11" fmla="*/ 515 h 902"/>
                <a:gd name="T12" fmla="*/ 33 w 903"/>
                <a:gd name="T13" fmla="*/ 408 h 902"/>
                <a:gd name="T14" fmla="*/ 56 w 903"/>
                <a:gd name="T15" fmla="*/ 307 h 902"/>
                <a:gd name="T16" fmla="*/ 103 w 903"/>
                <a:gd name="T17" fmla="*/ 215 h 902"/>
                <a:gd name="T18" fmla="*/ 168 w 903"/>
                <a:gd name="T19" fmla="*/ 139 h 902"/>
                <a:gd name="T20" fmla="*/ 251 w 903"/>
                <a:gd name="T21" fmla="*/ 80 h 902"/>
                <a:gd name="T22" fmla="*/ 346 w 903"/>
                <a:gd name="T23" fmla="*/ 43 h 902"/>
                <a:gd name="T24" fmla="*/ 451 w 903"/>
                <a:gd name="T25" fmla="*/ 30 h 902"/>
                <a:gd name="T26" fmla="*/ 557 w 903"/>
                <a:gd name="T27" fmla="*/ 43 h 902"/>
                <a:gd name="T28" fmla="*/ 652 w 903"/>
                <a:gd name="T29" fmla="*/ 80 h 902"/>
                <a:gd name="T30" fmla="*/ 735 w 903"/>
                <a:gd name="T31" fmla="*/ 139 h 902"/>
                <a:gd name="T32" fmla="*/ 800 w 903"/>
                <a:gd name="T33" fmla="*/ 215 h 902"/>
                <a:gd name="T34" fmla="*/ 847 w 903"/>
                <a:gd name="T35" fmla="*/ 307 h 902"/>
                <a:gd name="T36" fmla="*/ 870 w 903"/>
                <a:gd name="T37" fmla="*/ 408 h 902"/>
                <a:gd name="T38" fmla="*/ 868 w 903"/>
                <a:gd name="T39" fmla="*/ 514 h 902"/>
                <a:gd name="T40" fmla="*/ 840 w 903"/>
                <a:gd name="T41" fmla="*/ 615 h 902"/>
                <a:gd name="T42" fmla="*/ 788 w 903"/>
                <a:gd name="T43" fmla="*/ 703 h 902"/>
                <a:gd name="T44" fmla="*/ 719 w 903"/>
                <a:gd name="T45" fmla="*/ 776 h 902"/>
                <a:gd name="T46" fmla="*/ 634 w 903"/>
                <a:gd name="T47" fmla="*/ 830 h 902"/>
                <a:gd name="T48" fmla="*/ 537 w 903"/>
                <a:gd name="T49" fmla="*/ 864 h 902"/>
                <a:gd name="T50" fmla="*/ 452 w 903"/>
                <a:gd name="T51" fmla="*/ 0 h 902"/>
                <a:gd name="T52" fmla="*/ 338 w 903"/>
                <a:gd name="T53" fmla="*/ 14 h 902"/>
                <a:gd name="T54" fmla="*/ 237 w 903"/>
                <a:gd name="T55" fmla="*/ 54 h 902"/>
                <a:gd name="T56" fmla="*/ 149 w 903"/>
                <a:gd name="T57" fmla="*/ 117 h 902"/>
                <a:gd name="T58" fmla="*/ 77 w 903"/>
                <a:gd name="T59" fmla="*/ 198 h 902"/>
                <a:gd name="T60" fmla="*/ 28 w 903"/>
                <a:gd name="T61" fmla="*/ 296 h 902"/>
                <a:gd name="T62" fmla="*/ 3 w 903"/>
                <a:gd name="T63" fmla="*/ 405 h 902"/>
                <a:gd name="T64" fmla="*/ 5 w 903"/>
                <a:gd name="T65" fmla="*/ 520 h 902"/>
                <a:gd name="T66" fmla="*/ 36 w 903"/>
                <a:gd name="T67" fmla="*/ 626 h 902"/>
                <a:gd name="T68" fmla="*/ 90 w 903"/>
                <a:gd name="T69" fmla="*/ 720 h 902"/>
                <a:gd name="T70" fmla="*/ 165 w 903"/>
                <a:gd name="T71" fmla="*/ 798 h 902"/>
                <a:gd name="T72" fmla="*/ 256 w 903"/>
                <a:gd name="T73" fmla="*/ 857 h 902"/>
                <a:gd name="T74" fmla="*/ 361 w 903"/>
                <a:gd name="T75" fmla="*/ 892 h 902"/>
                <a:gd name="T76" fmla="*/ 475 w 903"/>
                <a:gd name="T77" fmla="*/ 901 h 902"/>
                <a:gd name="T78" fmla="*/ 586 w 903"/>
                <a:gd name="T79" fmla="*/ 882 h 902"/>
                <a:gd name="T80" fmla="*/ 686 w 903"/>
                <a:gd name="T81" fmla="*/ 837 h 902"/>
                <a:gd name="T82" fmla="*/ 770 w 903"/>
                <a:gd name="T83" fmla="*/ 769 h 902"/>
                <a:gd name="T84" fmla="*/ 837 w 903"/>
                <a:gd name="T85" fmla="*/ 685 h 902"/>
                <a:gd name="T86" fmla="*/ 883 w 903"/>
                <a:gd name="T87" fmla="*/ 585 h 902"/>
                <a:gd name="T88" fmla="*/ 902 w 903"/>
                <a:gd name="T89" fmla="*/ 474 h 902"/>
                <a:gd name="T90" fmla="*/ 893 w 903"/>
                <a:gd name="T91" fmla="*/ 360 h 902"/>
                <a:gd name="T92" fmla="*/ 858 w 903"/>
                <a:gd name="T93" fmla="*/ 255 h 902"/>
                <a:gd name="T94" fmla="*/ 799 w 903"/>
                <a:gd name="T95" fmla="*/ 164 h 902"/>
                <a:gd name="T96" fmla="*/ 721 w 903"/>
                <a:gd name="T97" fmla="*/ 89 h 902"/>
                <a:gd name="T98" fmla="*/ 627 w 903"/>
                <a:gd name="T99" fmla="*/ 36 h 902"/>
                <a:gd name="T100" fmla="*/ 521 w 903"/>
                <a:gd name="T101" fmla="*/ 6 h 9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903" h="902">
                  <a:moveTo>
                    <a:pt x="452" y="872"/>
                  </a:moveTo>
                  <a:lnTo>
                    <a:pt x="430" y="871"/>
                  </a:lnTo>
                  <a:lnTo>
                    <a:pt x="408" y="870"/>
                  </a:lnTo>
                  <a:lnTo>
                    <a:pt x="388" y="867"/>
                  </a:lnTo>
                  <a:lnTo>
                    <a:pt x="366" y="864"/>
                  </a:lnTo>
                  <a:lnTo>
                    <a:pt x="346" y="858"/>
                  </a:lnTo>
                  <a:lnTo>
                    <a:pt x="327" y="853"/>
                  </a:lnTo>
                  <a:lnTo>
                    <a:pt x="307" y="846"/>
                  </a:lnTo>
                  <a:lnTo>
                    <a:pt x="288" y="839"/>
                  </a:lnTo>
                  <a:lnTo>
                    <a:pt x="269" y="830"/>
                  </a:lnTo>
                  <a:lnTo>
                    <a:pt x="251" y="821"/>
                  </a:lnTo>
                  <a:lnTo>
                    <a:pt x="234" y="811"/>
                  </a:lnTo>
                  <a:lnTo>
                    <a:pt x="216" y="799"/>
                  </a:lnTo>
                  <a:lnTo>
                    <a:pt x="200" y="789"/>
                  </a:lnTo>
                  <a:lnTo>
                    <a:pt x="184" y="776"/>
                  </a:lnTo>
                  <a:lnTo>
                    <a:pt x="168" y="762"/>
                  </a:lnTo>
                  <a:lnTo>
                    <a:pt x="154" y="748"/>
                  </a:lnTo>
                  <a:lnTo>
                    <a:pt x="140" y="734"/>
                  </a:lnTo>
                  <a:lnTo>
                    <a:pt x="126" y="719"/>
                  </a:lnTo>
                  <a:lnTo>
                    <a:pt x="115" y="703"/>
                  </a:lnTo>
                  <a:lnTo>
                    <a:pt x="103" y="686"/>
                  </a:lnTo>
                  <a:lnTo>
                    <a:pt x="91" y="669"/>
                  </a:lnTo>
                  <a:lnTo>
                    <a:pt x="81" y="651"/>
                  </a:lnTo>
                  <a:lnTo>
                    <a:pt x="72" y="633"/>
                  </a:lnTo>
                  <a:lnTo>
                    <a:pt x="63" y="615"/>
                  </a:lnTo>
                  <a:lnTo>
                    <a:pt x="56" y="596"/>
                  </a:lnTo>
                  <a:lnTo>
                    <a:pt x="49" y="575"/>
                  </a:lnTo>
                  <a:lnTo>
                    <a:pt x="44" y="556"/>
                  </a:lnTo>
                  <a:lnTo>
                    <a:pt x="40" y="536"/>
                  </a:lnTo>
                  <a:lnTo>
                    <a:pt x="35" y="515"/>
                  </a:lnTo>
                  <a:lnTo>
                    <a:pt x="33" y="494"/>
                  </a:lnTo>
                  <a:lnTo>
                    <a:pt x="31" y="473"/>
                  </a:lnTo>
                  <a:lnTo>
                    <a:pt x="31" y="451"/>
                  </a:lnTo>
                  <a:lnTo>
                    <a:pt x="31" y="430"/>
                  </a:lnTo>
                  <a:lnTo>
                    <a:pt x="33" y="408"/>
                  </a:lnTo>
                  <a:lnTo>
                    <a:pt x="35" y="387"/>
                  </a:lnTo>
                  <a:lnTo>
                    <a:pt x="40" y="367"/>
                  </a:lnTo>
                  <a:lnTo>
                    <a:pt x="44" y="346"/>
                  </a:lnTo>
                  <a:lnTo>
                    <a:pt x="49" y="326"/>
                  </a:lnTo>
                  <a:lnTo>
                    <a:pt x="56" y="307"/>
                  </a:lnTo>
                  <a:lnTo>
                    <a:pt x="63" y="287"/>
                  </a:lnTo>
                  <a:lnTo>
                    <a:pt x="72" y="268"/>
                  </a:lnTo>
                  <a:lnTo>
                    <a:pt x="81" y="251"/>
                  </a:lnTo>
                  <a:lnTo>
                    <a:pt x="91" y="233"/>
                  </a:lnTo>
                  <a:lnTo>
                    <a:pt x="103" y="215"/>
                  </a:lnTo>
                  <a:lnTo>
                    <a:pt x="115" y="199"/>
                  </a:lnTo>
                  <a:lnTo>
                    <a:pt x="126" y="183"/>
                  </a:lnTo>
                  <a:lnTo>
                    <a:pt x="140" y="168"/>
                  </a:lnTo>
                  <a:lnTo>
                    <a:pt x="154" y="153"/>
                  </a:lnTo>
                  <a:lnTo>
                    <a:pt x="168" y="139"/>
                  </a:lnTo>
                  <a:lnTo>
                    <a:pt x="184" y="127"/>
                  </a:lnTo>
                  <a:lnTo>
                    <a:pt x="200" y="114"/>
                  </a:lnTo>
                  <a:lnTo>
                    <a:pt x="216" y="102"/>
                  </a:lnTo>
                  <a:lnTo>
                    <a:pt x="234" y="91"/>
                  </a:lnTo>
                  <a:lnTo>
                    <a:pt x="251" y="80"/>
                  </a:lnTo>
                  <a:lnTo>
                    <a:pt x="269" y="72"/>
                  </a:lnTo>
                  <a:lnTo>
                    <a:pt x="288" y="63"/>
                  </a:lnTo>
                  <a:lnTo>
                    <a:pt x="307" y="56"/>
                  </a:lnTo>
                  <a:lnTo>
                    <a:pt x="327" y="48"/>
                  </a:lnTo>
                  <a:lnTo>
                    <a:pt x="346" y="43"/>
                  </a:lnTo>
                  <a:lnTo>
                    <a:pt x="366" y="39"/>
                  </a:lnTo>
                  <a:lnTo>
                    <a:pt x="388" y="34"/>
                  </a:lnTo>
                  <a:lnTo>
                    <a:pt x="408" y="32"/>
                  </a:lnTo>
                  <a:lnTo>
                    <a:pt x="430" y="30"/>
                  </a:lnTo>
                  <a:lnTo>
                    <a:pt x="451" y="30"/>
                  </a:lnTo>
                  <a:lnTo>
                    <a:pt x="473" y="30"/>
                  </a:lnTo>
                  <a:lnTo>
                    <a:pt x="495" y="32"/>
                  </a:lnTo>
                  <a:lnTo>
                    <a:pt x="515" y="34"/>
                  </a:lnTo>
                  <a:lnTo>
                    <a:pt x="537" y="39"/>
                  </a:lnTo>
                  <a:lnTo>
                    <a:pt x="557" y="43"/>
                  </a:lnTo>
                  <a:lnTo>
                    <a:pt x="576" y="48"/>
                  </a:lnTo>
                  <a:lnTo>
                    <a:pt x="596" y="56"/>
                  </a:lnTo>
                  <a:lnTo>
                    <a:pt x="615" y="63"/>
                  </a:lnTo>
                  <a:lnTo>
                    <a:pt x="634" y="72"/>
                  </a:lnTo>
                  <a:lnTo>
                    <a:pt x="652" y="80"/>
                  </a:lnTo>
                  <a:lnTo>
                    <a:pt x="670" y="91"/>
                  </a:lnTo>
                  <a:lnTo>
                    <a:pt x="687" y="102"/>
                  </a:lnTo>
                  <a:lnTo>
                    <a:pt x="703" y="114"/>
                  </a:lnTo>
                  <a:lnTo>
                    <a:pt x="719" y="127"/>
                  </a:lnTo>
                  <a:lnTo>
                    <a:pt x="735" y="139"/>
                  </a:lnTo>
                  <a:lnTo>
                    <a:pt x="749" y="153"/>
                  </a:lnTo>
                  <a:lnTo>
                    <a:pt x="763" y="168"/>
                  </a:lnTo>
                  <a:lnTo>
                    <a:pt x="777" y="183"/>
                  </a:lnTo>
                  <a:lnTo>
                    <a:pt x="788" y="199"/>
                  </a:lnTo>
                  <a:lnTo>
                    <a:pt x="800" y="215"/>
                  </a:lnTo>
                  <a:lnTo>
                    <a:pt x="812" y="233"/>
                  </a:lnTo>
                  <a:lnTo>
                    <a:pt x="822" y="251"/>
                  </a:lnTo>
                  <a:lnTo>
                    <a:pt x="831" y="269"/>
                  </a:lnTo>
                  <a:lnTo>
                    <a:pt x="840" y="287"/>
                  </a:lnTo>
                  <a:lnTo>
                    <a:pt x="847" y="307"/>
                  </a:lnTo>
                  <a:lnTo>
                    <a:pt x="854" y="326"/>
                  </a:lnTo>
                  <a:lnTo>
                    <a:pt x="859" y="346"/>
                  </a:lnTo>
                  <a:lnTo>
                    <a:pt x="863" y="367"/>
                  </a:lnTo>
                  <a:lnTo>
                    <a:pt x="868" y="387"/>
                  </a:lnTo>
                  <a:lnTo>
                    <a:pt x="870" y="408"/>
                  </a:lnTo>
                  <a:lnTo>
                    <a:pt x="872" y="430"/>
                  </a:lnTo>
                  <a:lnTo>
                    <a:pt x="872" y="451"/>
                  </a:lnTo>
                  <a:lnTo>
                    <a:pt x="872" y="473"/>
                  </a:lnTo>
                  <a:lnTo>
                    <a:pt x="870" y="494"/>
                  </a:lnTo>
                  <a:lnTo>
                    <a:pt x="868" y="514"/>
                  </a:lnTo>
                  <a:lnTo>
                    <a:pt x="863" y="536"/>
                  </a:lnTo>
                  <a:lnTo>
                    <a:pt x="859" y="556"/>
                  </a:lnTo>
                  <a:lnTo>
                    <a:pt x="854" y="575"/>
                  </a:lnTo>
                  <a:lnTo>
                    <a:pt x="847" y="596"/>
                  </a:lnTo>
                  <a:lnTo>
                    <a:pt x="840" y="615"/>
                  </a:lnTo>
                  <a:lnTo>
                    <a:pt x="831" y="633"/>
                  </a:lnTo>
                  <a:lnTo>
                    <a:pt x="822" y="651"/>
                  </a:lnTo>
                  <a:lnTo>
                    <a:pt x="812" y="669"/>
                  </a:lnTo>
                  <a:lnTo>
                    <a:pt x="800" y="686"/>
                  </a:lnTo>
                  <a:lnTo>
                    <a:pt x="788" y="703"/>
                  </a:lnTo>
                  <a:lnTo>
                    <a:pt x="777" y="719"/>
                  </a:lnTo>
                  <a:lnTo>
                    <a:pt x="763" y="734"/>
                  </a:lnTo>
                  <a:lnTo>
                    <a:pt x="749" y="748"/>
                  </a:lnTo>
                  <a:lnTo>
                    <a:pt x="735" y="762"/>
                  </a:lnTo>
                  <a:lnTo>
                    <a:pt x="719" y="776"/>
                  </a:lnTo>
                  <a:lnTo>
                    <a:pt x="703" y="787"/>
                  </a:lnTo>
                  <a:lnTo>
                    <a:pt x="687" y="799"/>
                  </a:lnTo>
                  <a:lnTo>
                    <a:pt x="670" y="811"/>
                  </a:lnTo>
                  <a:lnTo>
                    <a:pt x="652" y="821"/>
                  </a:lnTo>
                  <a:lnTo>
                    <a:pt x="634" y="830"/>
                  </a:lnTo>
                  <a:lnTo>
                    <a:pt x="615" y="839"/>
                  </a:lnTo>
                  <a:lnTo>
                    <a:pt x="596" y="846"/>
                  </a:lnTo>
                  <a:lnTo>
                    <a:pt x="576" y="853"/>
                  </a:lnTo>
                  <a:lnTo>
                    <a:pt x="557" y="858"/>
                  </a:lnTo>
                  <a:lnTo>
                    <a:pt x="537" y="864"/>
                  </a:lnTo>
                  <a:lnTo>
                    <a:pt x="515" y="867"/>
                  </a:lnTo>
                  <a:lnTo>
                    <a:pt x="495" y="870"/>
                  </a:lnTo>
                  <a:lnTo>
                    <a:pt x="473" y="871"/>
                  </a:lnTo>
                  <a:lnTo>
                    <a:pt x="452" y="872"/>
                  </a:lnTo>
                  <a:close/>
                  <a:moveTo>
                    <a:pt x="452" y="0"/>
                  </a:moveTo>
                  <a:lnTo>
                    <a:pt x="428" y="0"/>
                  </a:lnTo>
                  <a:lnTo>
                    <a:pt x="406" y="2"/>
                  </a:lnTo>
                  <a:lnTo>
                    <a:pt x="382" y="4"/>
                  </a:lnTo>
                  <a:lnTo>
                    <a:pt x="361" y="9"/>
                  </a:lnTo>
                  <a:lnTo>
                    <a:pt x="338" y="14"/>
                  </a:lnTo>
                  <a:lnTo>
                    <a:pt x="317" y="21"/>
                  </a:lnTo>
                  <a:lnTo>
                    <a:pt x="297" y="27"/>
                  </a:lnTo>
                  <a:lnTo>
                    <a:pt x="276" y="36"/>
                  </a:lnTo>
                  <a:lnTo>
                    <a:pt x="256" y="44"/>
                  </a:lnTo>
                  <a:lnTo>
                    <a:pt x="237" y="54"/>
                  </a:lnTo>
                  <a:lnTo>
                    <a:pt x="217" y="65"/>
                  </a:lnTo>
                  <a:lnTo>
                    <a:pt x="199" y="77"/>
                  </a:lnTo>
                  <a:lnTo>
                    <a:pt x="182" y="89"/>
                  </a:lnTo>
                  <a:lnTo>
                    <a:pt x="165" y="103"/>
                  </a:lnTo>
                  <a:lnTo>
                    <a:pt x="149" y="117"/>
                  </a:lnTo>
                  <a:lnTo>
                    <a:pt x="133" y="132"/>
                  </a:lnTo>
                  <a:lnTo>
                    <a:pt x="118" y="148"/>
                  </a:lnTo>
                  <a:lnTo>
                    <a:pt x="104" y="164"/>
                  </a:lnTo>
                  <a:lnTo>
                    <a:pt x="90" y="181"/>
                  </a:lnTo>
                  <a:lnTo>
                    <a:pt x="77" y="198"/>
                  </a:lnTo>
                  <a:lnTo>
                    <a:pt x="65" y="218"/>
                  </a:lnTo>
                  <a:lnTo>
                    <a:pt x="55" y="236"/>
                  </a:lnTo>
                  <a:lnTo>
                    <a:pt x="45" y="255"/>
                  </a:lnTo>
                  <a:lnTo>
                    <a:pt x="36" y="275"/>
                  </a:lnTo>
                  <a:lnTo>
                    <a:pt x="28" y="296"/>
                  </a:lnTo>
                  <a:lnTo>
                    <a:pt x="20" y="317"/>
                  </a:lnTo>
                  <a:lnTo>
                    <a:pt x="15" y="339"/>
                  </a:lnTo>
                  <a:lnTo>
                    <a:pt x="10" y="360"/>
                  </a:lnTo>
                  <a:lnTo>
                    <a:pt x="5" y="383"/>
                  </a:lnTo>
                  <a:lnTo>
                    <a:pt x="3" y="405"/>
                  </a:lnTo>
                  <a:lnTo>
                    <a:pt x="1" y="428"/>
                  </a:lnTo>
                  <a:lnTo>
                    <a:pt x="0" y="451"/>
                  </a:lnTo>
                  <a:lnTo>
                    <a:pt x="1" y="474"/>
                  </a:lnTo>
                  <a:lnTo>
                    <a:pt x="3" y="497"/>
                  </a:lnTo>
                  <a:lnTo>
                    <a:pt x="5" y="520"/>
                  </a:lnTo>
                  <a:lnTo>
                    <a:pt x="10" y="541"/>
                  </a:lnTo>
                  <a:lnTo>
                    <a:pt x="15" y="564"/>
                  </a:lnTo>
                  <a:lnTo>
                    <a:pt x="20" y="585"/>
                  </a:lnTo>
                  <a:lnTo>
                    <a:pt x="28" y="605"/>
                  </a:lnTo>
                  <a:lnTo>
                    <a:pt x="36" y="626"/>
                  </a:lnTo>
                  <a:lnTo>
                    <a:pt x="45" y="646"/>
                  </a:lnTo>
                  <a:lnTo>
                    <a:pt x="55" y="665"/>
                  </a:lnTo>
                  <a:lnTo>
                    <a:pt x="66" y="685"/>
                  </a:lnTo>
                  <a:lnTo>
                    <a:pt x="77" y="703"/>
                  </a:lnTo>
                  <a:lnTo>
                    <a:pt x="90" y="720"/>
                  </a:lnTo>
                  <a:lnTo>
                    <a:pt x="104" y="737"/>
                  </a:lnTo>
                  <a:lnTo>
                    <a:pt x="118" y="754"/>
                  </a:lnTo>
                  <a:lnTo>
                    <a:pt x="133" y="769"/>
                  </a:lnTo>
                  <a:lnTo>
                    <a:pt x="149" y="784"/>
                  </a:lnTo>
                  <a:lnTo>
                    <a:pt x="165" y="798"/>
                  </a:lnTo>
                  <a:lnTo>
                    <a:pt x="182" y="812"/>
                  </a:lnTo>
                  <a:lnTo>
                    <a:pt x="199" y="825"/>
                  </a:lnTo>
                  <a:lnTo>
                    <a:pt x="217" y="837"/>
                  </a:lnTo>
                  <a:lnTo>
                    <a:pt x="237" y="847"/>
                  </a:lnTo>
                  <a:lnTo>
                    <a:pt x="256" y="857"/>
                  </a:lnTo>
                  <a:lnTo>
                    <a:pt x="276" y="867"/>
                  </a:lnTo>
                  <a:lnTo>
                    <a:pt x="297" y="874"/>
                  </a:lnTo>
                  <a:lnTo>
                    <a:pt x="317" y="882"/>
                  </a:lnTo>
                  <a:lnTo>
                    <a:pt x="338" y="887"/>
                  </a:lnTo>
                  <a:lnTo>
                    <a:pt x="361" y="892"/>
                  </a:lnTo>
                  <a:lnTo>
                    <a:pt x="382" y="897"/>
                  </a:lnTo>
                  <a:lnTo>
                    <a:pt x="406" y="900"/>
                  </a:lnTo>
                  <a:lnTo>
                    <a:pt x="428" y="901"/>
                  </a:lnTo>
                  <a:lnTo>
                    <a:pt x="451" y="902"/>
                  </a:lnTo>
                  <a:lnTo>
                    <a:pt x="475" y="901"/>
                  </a:lnTo>
                  <a:lnTo>
                    <a:pt x="497" y="900"/>
                  </a:lnTo>
                  <a:lnTo>
                    <a:pt x="521" y="897"/>
                  </a:lnTo>
                  <a:lnTo>
                    <a:pt x="542" y="892"/>
                  </a:lnTo>
                  <a:lnTo>
                    <a:pt x="565" y="887"/>
                  </a:lnTo>
                  <a:lnTo>
                    <a:pt x="586" y="882"/>
                  </a:lnTo>
                  <a:lnTo>
                    <a:pt x="606" y="874"/>
                  </a:lnTo>
                  <a:lnTo>
                    <a:pt x="627" y="867"/>
                  </a:lnTo>
                  <a:lnTo>
                    <a:pt x="647" y="857"/>
                  </a:lnTo>
                  <a:lnTo>
                    <a:pt x="666" y="847"/>
                  </a:lnTo>
                  <a:lnTo>
                    <a:pt x="686" y="837"/>
                  </a:lnTo>
                  <a:lnTo>
                    <a:pt x="704" y="825"/>
                  </a:lnTo>
                  <a:lnTo>
                    <a:pt x="721" y="812"/>
                  </a:lnTo>
                  <a:lnTo>
                    <a:pt x="738" y="798"/>
                  </a:lnTo>
                  <a:lnTo>
                    <a:pt x="754" y="784"/>
                  </a:lnTo>
                  <a:lnTo>
                    <a:pt x="770" y="769"/>
                  </a:lnTo>
                  <a:lnTo>
                    <a:pt x="785" y="754"/>
                  </a:lnTo>
                  <a:lnTo>
                    <a:pt x="799" y="737"/>
                  </a:lnTo>
                  <a:lnTo>
                    <a:pt x="813" y="720"/>
                  </a:lnTo>
                  <a:lnTo>
                    <a:pt x="826" y="703"/>
                  </a:lnTo>
                  <a:lnTo>
                    <a:pt x="837" y="685"/>
                  </a:lnTo>
                  <a:lnTo>
                    <a:pt x="848" y="665"/>
                  </a:lnTo>
                  <a:lnTo>
                    <a:pt x="858" y="646"/>
                  </a:lnTo>
                  <a:lnTo>
                    <a:pt x="867" y="626"/>
                  </a:lnTo>
                  <a:lnTo>
                    <a:pt x="875" y="605"/>
                  </a:lnTo>
                  <a:lnTo>
                    <a:pt x="883" y="585"/>
                  </a:lnTo>
                  <a:lnTo>
                    <a:pt x="888" y="564"/>
                  </a:lnTo>
                  <a:lnTo>
                    <a:pt x="893" y="541"/>
                  </a:lnTo>
                  <a:lnTo>
                    <a:pt x="898" y="520"/>
                  </a:lnTo>
                  <a:lnTo>
                    <a:pt x="900" y="497"/>
                  </a:lnTo>
                  <a:lnTo>
                    <a:pt x="902" y="474"/>
                  </a:lnTo>
                  <a:lnTo>
                    <a:pt x="903" y="451"/>
                  </a:lnTo>
                  <a:lnTo>
                    <a:pt x="902" y="428"/>
                  </a:lnTo>
                  <a:lnTo>
                    <a:pt x="900" y="405"/>
                  </a:lnTo>
                  <a:lnTo>
                    <a:pt x="898" y="383"/>
                  </a:lnTo>
                  <a:lnTo>
                    <a:pt x="893" y="360"/>
                  </a:lnTo>
                  <a:lnTo>
                    <a:pt x="888" y="339"/>
                  </a:lnTo>
                  <a:lnTo>
                    <a:pt x="883" y="317"/>
                  </a:lnTo>
                  <a:lnTo>
                    <a:pt x="875" y="296"/>
                  </a:lnTo>
                  <a:lnTo>
                    <a:pt x="867" y="275"/>
                  </a:lnTo>
                  <a:lnTo>
                    <a:pt x="858" y="255"/>
                  </a:lnTo>
                  <a:lnTo>
                    <a:pt x="848" y="236"/>
                  </a:lnTo>
                  <a:lnTo>
                    <a:pt x="837" y="218"/>
                  </a:lnTo>
                  <a:lnTo>
                    <a:pt x="826" y="198"/>
                  </a:lnTo>
                  <a:lnTo>
                    <a:pt x="813" y="181"/>
                  </a:lnTo>
                  <a:lnTo>
                    <a:pt x="799" y="164"/>
                  </a:lnTo>
                  <a:lnTo>
                    <a:pt x="785" y="148"/>
                  </a:lnTo>
                  <a:lnTo>
                    <a:pt x="770" y="132"/>
                  </a:lnTo>
                  <a:lnTo>
                    <a:pt x="754" y="117"/>
                  </a:lnTo>
                  <a:lnTo>
                    <a:pt x="738" y="103"/>
                  </a:lnTo>
                  <a:lnTo>
                    <a:pt x="721" y="89"/>
                  </a:lnTo>
                  <a:lnTo>
                    <a:pt x="704" y="77"/>
                  </a:lnTo>
                  <a:lnTo>
                    <a:pt x="686" y="65"/>
                  </a:lnTo>
                  <a:lnTo>
                    <a:pt x="666" y="55"/>
                  </a:lnTo>
                  <a:lnTo>
                    <a:pt x="647" y="44"/>
                  </a:lnTo>
                  <a:lnTo>
                    <a:pt x="627" y="36"/>
                  </a:lnTo>
                  <a:lnTo>
                    <a:pt x="606" y="27"/>
                  </a:lnTo>
                  <a:lnTo>
                    <a:pt x="586" y="21"/>
                  </a:lnTo>
                  <a:lnTo>
                    <a:pt x="565" y="14"/>
                  </a:lnTo>
                  <a:lnTo>
                    <a:pt x="542" y="9"/>
                  </a:lnTo>
                  <a:lnTo>
                    <a:pt x="521" y="6"/>
                  </a:lnTo>
                  <a:lnTo>
                    <a:pt x="497" y="2"/>
                  </a:lnTo>
                  <a:lnTo>
                    <a:pt x="475" y="0"/>
                  </a:lnTo>
                  <a:lnTo>
                    <a:pt x="451" y="0"/>
                  </a:lnTo>
                  <a:lnTo>
                    <a:pt x="45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Light"/>
                <a:ea typeface="+mn-ea"/>
                <a:cs typeface="+mn-cs"/>
              </a:endParaRPr>
            </a:p>
          </p:txBody>
        </p:sp>
        <p:sp>
          <p:nvSpPr>
            <p:cNvPr id="37" name="Freeform 276"/>
            <p:cNvSpPr>
              <a:spLocks/>
            </p:cNvSpPr>
            <p:nvPr/>
          </p:nvSpPr>
          <p:spPr bwMode="auto">
            <a:xfrm>
              <a:off x="7681913" y="4308475"/>
              <a:ext cx="104775" cy="104775"/>
            </a:xfrm>
            <a:custGeom>
              <a:avLst/>
              <a:gdLst>
                <a:gd name="T0" fmla="*/ 327 w 331"/>
                <a:gd name="T1" fmla="*/ 4 h 331"/>
                <a:gd name="T2" fmla="*/ 325 w 331"/>
                <a:gd name="T3" fmla="*/ 3 h 331"/>
                <a:gd name="T4" fmla="*/ 321 w 331"/>
                <a:gd name="T5" fmla="*/ 1 h 331"/>
                <a:gd name="T6" fmla="*/ 319 w 331"/>
                <a:gd name="T7" fmla="*/ 1 h 331"/>
                <a:gd name="T8" fmla="*/ 316 w 331"/>
                <a:gd name="T9" fmla="*/ 0 h 331"/>
                <a:gd name="T10" fmla="*/ 313 w 331"/>
                <a:gd name="T11" fmla="*/ 1 h 331"/>
                <a:gd name="T12" fmla="*/ 311 w 331"/>
                <a:gd name="T13" fmla="*/ 1 h 331"/>
                <a:gd name="T14" fmla="*/ 307 w 331"/>
                <a:gd name="T15" fmla="*/ 3 h 331"/>
                <a:gd name="T16" fmla="*/ 305 w 331"/>
                <a:gd name="T17" fmla="*/ 4 h 331"/>
                <a:gd name="T18" fmla="*/ 4 w 331"/>
                <a:gd name="T19" fmla="*/ 305 h 331"/>
                <a:gd name="T20" fmla="*/ 2 w 331"/>
                <a:gd name="T21" fmla="*/ 308 h 331"/>
                <a:gd name="T22" fmla="*/ 1 w 331"/>
                <a:gd name="T23" fmla="*/ 311 h 331"/>
                <a:gd name="T24" fmla="*/ 0 w 331"/>
                <a:gd name="T25" fmla="*/ 313 h 331"/>
                <a:gd name="T26" fmla="*/ 0 w 331"/>
                <a:gd name="T27" fmla="*/ 316 h 331"/>
                <a:gd name="T28" fmla="*/ 0 w 331"/>
                <a:gd name="T29" fmla="*/ 319 h 331"/>
                <a:gd name="T30" fmla="*/ 1 w 331"/>
                <a:gd name="T31" fmla="*/ 321 h 331"/>
                <a:gd name="T32" fmla="*/ 2 w 331"/>
                <a:gd name="T33" fmla="*/ 325 h 331"/>
                <a:gd name="T34" fmla="*/ 4 w 331"/>
                <a:gd name="T35" fmla="*/ 327 h 331"/>
                <a:gd name="T36" fmla="*/ 6 w 331"/>
                <a:gd name="T37" fmla="*/ 329 h 331"/>
                <a:gd name="T38" fmla="*/ 10 w 331"/>
                <a:gd name="T39" fmla="*/ 330 h 331"/>
                <a:gd name="T40" fmla="*/ 12 w 331"/>
                <a:gd name="T41" fmla="*/ 331 h 331"/>
                <a:gd name="T42" fmla="*/ 15 w 331"/>
                <a:gd name="T43" fmla="*/ 331 h 331"/>
                <a:gd name="T44" fmla="*/ 18 w 331"/>
                <a:gd name="T45" fmla="*/ 331 h 331"/>
                <a:gd name="T46" fmla="*/ 20 w 331"/>
                <a:gd name="T47" fmla="*/ 330 h 331"/>
                <a:gd name="T48" fmla="*/ 24 w 331"/>
                <a:gd name="T49" fmla="*/ 329 h 331"/>
                <a:gd name="T50" fmla="*/ 26 w 331"/>
                <a:gd name="T51" fmla="*/ 327 h 331"/>
                <a:gd name="T52" fmla="*/ 327 w 331"/>
                <a:gd name="T53" fmla="*/ 26 h 331"/>
                <a:gd name="T54" fmla="*/ 329 w 331"/>
                <a:gd name="T55" fmla="*/ 24 h 331"/>
                <a:gd name="T56" fmla="*/ 330 w 331"/>
                <a:gd name="T57" fmla="*/ 22 h 331"/>
                <a:gd name="T58" fmla="*/ 331 w 331"/>
                <a:gd name="T59" fmla="*/ 18 h 331"/>
                <a:gd name="T60" fmla="*/ 331 w 331"/>
                <a:gd name="T61" fmla="*/ 15 h 331"/>
                <a:gd name="T62" fmla="*/ 331 w 331"/>
                <a:gd name="T63" fmla="*/ 13 h 331"/>
                <a:gd name="T64" fmla="*/ 330 w 331"/>
                <a:gd name="T65" fmla="*/ 10 h 331"/>
                <a:gd name="T66" fmla="*/ 329 w 331"/>
                <a:gd name="T67" fmla="*/ 8 h 331"/>
                <a:gd name="T68" fmla="*/ 327 w 331"/>
                <a:gd name="T69" fmla="*/ 4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31" h="331">
                  <a:moveTo>
                    <a:pt x="327" y="4"/>
                  </a:moveTo>
                  <a:lnTo>
                    <a:pt x="325" y="3"/>
                  </a:lnTo>
                  <a:lnTo>
                    <a:pt x="321" y="1"/>
                  </a:lnTo>
                  <a:lnTo>
                    <a:pt x="319" y="1"/>
                  </a:lnTo>
                  <a:lnTo>
                    <a:pt x="316" y="0"/>
                  </a:lnTo>
                  <a:lnTo>
                    <a:pt x="313" y="1"/>
                  </a:lnTo>
                  <a:lnTo>
                    <a:pt x="311" y="1"/>
                  </a:lnTo>
                  <a:lnTo>
                    <a:pt x="307" y="3"/>
                  </a:lnTo>
                  <a:lnTo>
                    <a:pt x="305" y="4"/>
                  </a:lnTo>
                  <a:lnTo>
                    <a:pt x="4" y="305"/>
                  </a:lnTo>
                  <a:lnTo>
                    <a:pt x="2" y="308"/>
                  </a:lnTo>
                  <a:lnTo>
                    <a:pt x="1" y="311"/>
                  </a:lnTo>
                  <a:lnTo>
                    <a:pt x="0" y="313"/>
                  </a:lnTo>
                  <a:lnTo>
                    <a:pt x="0" y="316"/>
                  </a:lnTo>
                  <a:lnTo>
                    <a:pt x="0" y="319"/>
                  </a:lnTo>
                  <a:lnTo>
                    <a:pt x="1" y="321"/>
                  </a:lnTo>
                  <a:lnTo>
                    <a:pt x="2" y="325"/>
                  </a:lnTo>
                  <a:lnTo>
                    <a:pt x="4" y="327"/>
                  </a:lnTo>
                  <a:lnTo>
                    <a:pt x="6" y="329"/>
                  </a:lnTo>
                  <a:lnTo>
                    <a:pt x="10" y="330"/>
                  </a:lnTo>
                  <a:lnTo>
                    <a:pt x="12" y="331"/>
                  </a:lnTo>
                  <a:lnTo>
                    <a:pt x="15" y="331"/>
                  </a:lnTo>
                  <a:lnTo>
                    <a:pt x="18" y="331"/>
                  </a:lnTo>
                  <a:lnTo>
                    <a:pt x="20" y="330"/>
                  </a:lnTo>
                  <a:lnTo>
                    <a:pt x="24" y="329"/>
                  </a:lnTo>
                  <a:lnTo>
                    <a:pt x="26" y="327"/>
                  </a:lnTo>
                  <a:lnTo>
                    <a:pt x="327" y="26"/>
                  </a:lnTo>
                  <a:lnTo>
                    <a:pt x="329" y="24"/>
                  </a:lnTo>
                  <a:lnTo>
                    <a:pt x="330" y="22"/>
                  </a:lnTo>
                  <a:lnTo>
                    <a:pt x="331" y="18"/>
                  </a:lnTo>
                  <a:lnTo>
                    <a:pt x="331" y="15"/>
                  </a:lnTo>
                  <a:lnTo>
                    <a:pt x="331" y="13"/>
                  </a:lnTo>
                  <a:lnTo>
                    <a:pt x="330" y="10"/>
                  </a:lnTo>
                  <a:lnTo>
                    <a:pt x="329" y="8"/>
                  </a:lnTo>
                  <a:lnTo>
                    <a:pt x="327"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Light"/>
                <a:ea typeface="+mn-ea"/>
                <a:cs typeface="+mn-cs"/>
              </a:endParaRPr>
            </a:p>
          </p:txBody>
        </p:sp>
        <p:sp>
          <p:nvSpPr>
            <p:cNvPr id="38" name="Freeform 277"/>
            <p:cNvSpPr>
              <a:spLocks noEditPoints="1"/>
            </p:cNvSpPr>
            <p:nvPr/>
          </p:nvSpPr>
          <p:spPr bwMode="auto">
            <a:xfrm>
              <a:off x="7677150" y="4303713"/>
              <a:ext cx="47625" cy="47625"/>
            </a:xfrm>
            <a:custGeom>
              <a:avLst/>
              <a:gdLst>
                <a:gd name="T0" fmla="*/ 85 w 150"/>
                <a:gd name="T1" fmla="*/ 31 h 151"/>
                <a:gd name="T2" fmla="*/ 101 w 150"/>
                <a:gd name="T3" fmla="*/ 39 h 151"/>
                <a:gd name="T4" fmla="*/ 112 w 150"/>
                <a:gd name="T5" fmla="*/ 50 h 151"/>
                <a:gd name="T6" fmla="*/ 119 w 150"/>
                <a:gd name="T7" fmla="*/ 67 h 151"/>
                <a:gd name="T8" fmla="*/ 120 w 150"/>
                <a:gd name="T9" fmla="*/ 85 h 151"/>
                <a:gd name="T10" fmla="*/ 112 w 150"/>
                <a:gd name="T11" fmla="*/ 101 h 151"/>
                <a:gd name="T12" fmla="*/ 101 w 150"/>
                <a:gd name="T13" fmla="*/ 113 h 151"/>
                <a:gd name="T14" fmla="*/ 85 w 150"/>
                <a:gd name="T15" fmla="*/ 120 h 151"/>
                <a:gd name="T16" fmla="*/ 66 w 150"/>
                <a:gd name="T17" fmla="*/ 120 h 151"/>
                <a:gd name="T18" fmla="*/ 50 w 150"/>
                <a:gd name="T19" fmla="*/ 113 h 151"/>
                <a:gd name="T20" fmla="*/ 37 w 150"/>
                <a:gd name="T21" fmla="*/ 101 h 151"/>
                <a:gd name="T22" fmla="*/ 31 w 150"/>
                <a:gd name="T23" fmla="*/ 85 h 151"/>
                <a:gd name="T24" fmla="*/ 31 w 150"/>
                <a:gd name="T25" fmla="*/ 67 h 151"/>
                <a:gd name="T26" fmla="*/ 37 w 150"/>
                <a:gd name="T27" fmla="*/ 50 h 151"/>
                <a:gd name="T28" fmla="*/ 50 w 150"/>
                <a:gd name="T29" fmla="*/ 39 h 151"/>
                <a:gd name="T30" fmla="*/ 66 w 150"/>
                <a:gd name="T31" fmla="*/ 31 h 151"/>
                <a:gd name="T32" fmla="*/ 75 w 150"/>
                <a:gd name="T33" fmla="*/ 151 h 151"/>
                <a:gd name="T34" fmla="*/ 90 w 150"/>
                <a:gd name="T35" fmla="*/ 149 h 151"/>
                <a:gd name="T36" fmla="*/ 105 w 150"/>
                <a:gd name="T37" fmla="*/ 145 h 151"/>
                <a:gd name="T38" fmla="*/ 117 w 150"/>
                <a:gd name="T39" fmla="*/ 138 h 151"/>
                <a:gd name="T40" fmla="*/ 129 w 150"/>
                <a:gd name="T41" fmla="*/ 129 h 151"/>
                <a:gd name="T42" fmla="*/ 137 w 150"/>
                <a:gd name="T43" fmla="*/ 118 h 151"/>
                <a:gd name="T44" fmla="*/ 145 w 150"/>
                <a:gd name="T45" fmla="*/ 105 h 151"/>
                <a:gd name="T46" fmla="*/ 149 w 150"/>
                <a:gd name="T47" fmla="*/ 91 h 151"/>
                <a:gd name="T48" fmla="*/ 150 w 150"/>
                <a:gd name="T49" fmla="*/ 75 h 151"/>
                <a:gd name="T50" fmla="*/ 149 w 150"/>
                <a:gd name="T51" fmla="*/ 60 h 151"/>
                <a:gd name="T52" fmla="*/ 145 w 150"/>
                <a:gd name="T53" fmla="*/ 46 h 151"/>
                <a:gd name="T54" fmla="*/ 137 w 150"/>
                <a:gd name="T55" fmla="*/ 33 h 151"/>
                <a:gd name="T56" fmla="*/ 129 w 150"/>
                <a:gd name="T57" fmla="*/ 23 h 151"/>
                <a:gd name="T58" fmla="*/ 117 w 150"/>
                <a:gd name="T59" fmla="*/ 13 h 151"/>
                <a:gd name="T60" fmla="*/ 105 w 150"/>
                <a:gd name="T61" fmla="*/ 7 h 151"/>
                <a:gd name="T62" fmla="*/ 90 w 150"/>
                <a:gd name="T63" fmla="*/ 2 h 151"/>
                <a:gd name="T64" fmla="*/ 75 w 150"/>
                <a:gd name="T65" fmla="*/ 0 h 151"/>
                <a:gd name="T66" fmla="*/ 60 w 150"/>
                <a:gd name="T67" fmla="*/ 2 h 151"/>
                <a:gd name="T68" fmla="*/ 46 w 150"/>
                <a:gd name="T69" fmla="*/ 7 h 151"/>
                <a:gd name="T70" fmla="*/ 33 w 150"/>
                <a:gd name="T71" fmla="*/ 13 h 151"/>
                <a:gd name="T72" fmla="*/ 22 w 150"/>
                <a:gd name="T73" fmla="*/ 23 h 151"/>
                <a:gd name="T74" fmla="*/ 13 w 150"/>
                <a:gd name="T75" fmla="*/ 33 h 151"/>
                <a:gd name="T76" fmla="*/ 6 w 150"/>
                <a:gd name="T77" fmla="*/ 46 h 151"/>
                <a:gd name="T78" fmla="*/ 2 w 150"/>
                <a:gd name="T79" fmla="*/ 60 h 151"/>
                <a:gd name="T80" fmla="*/ 0 w 150"/>
                <a:gd name="T81" fmla="*/ 75 h 151"/>
                <a:gd name="T82" fmla="*/ 2 w 150"/>
                <a:gd name="T83" fmla="*/ 91 h 151"/>
                <a:gd name="T84" fmla="*/ 6 w 150"/>
                <a:gd name="T85" fmla="*/ 105 h 151"/>
                <a:gd name="T86" fmla="*/ 13 w 150"/>
                <a:gd name="T87" fmla="*/ 118 h 151"/>
                <a:gd name="T88" fmla="*/ 22 w 150"/>
                <a:gd name="T89" fmla="*/ 129 h 151"/>
                <a:gd name="T90" fmla="*/ 33 w 150"/>
                <a:gd name="T91" fmla="*/ 138 h 151"/>
                <a:gd name="T92" fmla="*/ 46 w 150"/>
                <a:gd name="T93" fmla="*/ 145 h 151"/>
                <a:gd name="T94" fmla="*/ 60 w 150"/>
                <a:gd name="T95" fmla="*/ 149 h 151"/>
                <a:gd name="T96" fmla="*/ 75 w 150"/>
                <a:gd name="T97" fmla="*/ 151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50" h="151">
                  <a:moveTo>
                    <a:pt x="75" y="30"/>
                  </a:moveTo>
                  <a:lnTo>
                    <a:pt x="85" y="31"/>
                  </a:lnTo>
                  <a:lnTo>
                    <a:pt x="93" y="34"/>
                  </a:lnTo>
                  <a:lnTo>
                    <a:pt x="101" y="39"/>
                  </a:lnTo>
                  <a:lnTo>
                    <a:pt x="107" y="44"/>
                  </a:lnTo>
                  <a:lnTo>
                    <a:pt x="112" y="50"/>
                  </a:lnTo>
                  <a:lnTo>
                    <a:pt x="117" y="58"/>
                  </a:lnTo>
                  <a:lnTo>
                    <a:pt x="119" y="67"/>
                  </a:lnTo>
                  <a:lnTo>
                    <a:pt x="120" y="75"/>
                  </a:lnTo>
                  <a:lnTo>
                    <a:pt x="120" y="85"/>
                  </a:lnTo>
                  <a:lnTo>
                    <a:pt x="117" y="93"/>
                  </a:lnTo>
                  <a:lnTo>
                    <a:pt x="112" y="101"/>
                  </a:lnTo>
                  <a:lnTo>
                    <a:pt x="107" y="107"/>
                  </a:lnTo>
                  <a:lnTo>
                    <a:pt x="101" y="113"/>
                  </a:lnTo>
                  <a:lnTo>
                    <a:pt x="93" y="117"/>
                  </a:lnTo>
                  <a:lnTo>
                    <a:pt x="85" y="120"/>
                  </a:lnTo>
                  <a:lnTo>
                    <a:pt x="75" y="121"/>
                  </a:lnTo>
                  <a:lnTo>
                    <a:pt x="66" y="120"/>
                  </a:lnTo>
                  <a:lnTo>
                    <a:pt x="58" y="117"/>
                  </a:lnTo>
                  <a:lnTo>
                    <a:pt x="50" y="113"/>
                  </a:lnTo>
                  <a:lnTo>
                    <a:pt x="44" y="107"/>
                  </a:lnTo>
                  <a:lnTo>
                    <a:pt x="37" y="101"/>
                  </a:lnTo>
                  <a:lnTo>
                    <a:pt x="33" y="93"/>
                  </a:lnTo>
                  <a:lnTo>
                    <a:pt x="31" y="85"/>
                  </a:lnTo>
                  <a:lnTo>
                    <a:pt x="30" y="75"/>
                  </a:lnTo>
                  <a:lnTo>
                    <a:pt x="31" y="67"/>
                  </a:lnTo>
                  <a:lnTo>
                    <a:pt x="33" y="58"/>
                  </a:lnTo>
                  <a:lnTo>
                    <a:pt x="37" y="50"/>
                  </a:lnTo>
                  <a:lnTo>
                    <a:pt x="44" y="44"/>
                  </a:lnTo>
                  <a:lnTo>
                    <a:pt x="50" y="39"/>
                  </a:lnTo>
                  <a:lnTo>
                    <a:pt x="58" y="34"/>
                  </a:lnTo>
                  <a:lnTo>
                    <a:pt x="66" y="31"/>
                  </a:lnTo>
                  <a:lnTo>
                    <a:pt x="75" y="30"/>
                  </a:lnTo>
                  <a:close/>
                  <a:moveTo>
                    <a:pt x="75" y="151"/>
                  </a:moveTo>
                  <a:lnTo>
                    <a:pt x="82" y="150"/>
                  </a:lnTo>
                  <a:lnTo>
                    <a:pt x="90" y="149"/>
                  </a:lnTo>
                  <a:lnTo>
                    <a:pt x="97" y="147"/>
                  </a:lnTo>
                  <a:lnTo>
                    <a:pt x="105" y="145"/>
                  </a:lnTo>
                  <a:lnTo>
                    <a:pt x="111" y="141"/>
                  </a:lnTo>
                  <a:lnTo>
                    <a:pt x="117" y="138"/>
                  </a:lnTo>
                  <a:lnTo>
                    <a:pt x="123" y="134"/>
                  </a:lnTo>
                  <a:lnTo>
                    <a:pt x="129" y="129"/>
                  </a:lnTo>
                  <a:lnTo>
                    <a:pt x="133" y="123"/>
                  </a:lnTo>
                  <a:lnTo>
                    <a:pt x="137" y="118"/>
                  </a:lnTo>
                  <a:lnTo>
                    <a:pt x="141" y="111"/>
                  </a:lnTo>
                  <a:lnTo>
                    <a:pt x="145" y="105"/>
                  </a:lnTo>
                  <a:lnTo>
                    <a:pt x="147" y="98"/>
                  </a:lnTo>
                  <a:lnTo>
                    <a:pt x="149" y="91"/>
                  </a:lnTo>
                  <a:lnTo>
                    <a:pt x="150" y="84"/>
                  </a:lnTo>
                  <a:lnTo>
                    <a:pt x="150" y="75"/>
                  </a:lnTo>
                  <a:lnTo>
                    <a:pt x="150" y="68"/>
                  </a:lnTo>
                  <a:lnTo>
                    <a:pt x="149" y="60"/>
                  </a:lnTo>
                  <a:lnTo>
                    <a:pt x="147" y="54"/>
                  </a:lnTo>
                  <a:lnTo>
                    <a:pt x="145" y="46"/>
                  </a:lnTo>
                  <a:lnTo>
                    <a:pt x="141" y="40"/>
                  </a:lnTo>
                  <a:lnTo>
                    <a:pt x="137" y="33"/>
                  </a:lnTo>
                  <a:lnTo>
                    <a:pt x="133" y="28"/>
                  </a:lnTo>
                  <a:lnTo>
                    <a:pt x="129" y="23"/>
                  </a:lnTo>
                  <a:lnTo>
                    <a:pt x="123" y="17"/>
                  </a:lnTo>
                  <a:lnTo>
                    <a:pt x="117" y="13"/>
                  </a:lnTo>
                  <a:lnTo>
                    <a:pt x="111" y="10"/>
                  </a:lnTo>
                  <a:lnTo>
                    <a:pt x="105" y="7"/>
                  </a:lnTo>
                  <a:lnTo>
                    <a:pt x="97" y="3"/>
                  </a:lnTo>
                  <a:lnTo>
                    <a:pt x="90" y="2"/>
                  </a:lnTo>
                  <a:lnTo>
                    <a:pt x="82" y="1"/>
                  </a:lnTo>
                  <a:lnTo>
                    <a:pt x="75" y="0"/>
                  </a:lnTo>
                  <a:lnTo>
                    <a:pt x="67" y="1"/>
                  </a:lnTo>
                  <a:lnTo>
                    <a:pt x="60" y="2"/>
                  </a:lnTo>
                  <a:lnTo>
                    <a:pt x="52" y="3"/>
                  </a:lnTo>
                  <a:lnTo>
                    <a:pt x="46" y="7"/>
                  </a:lnTo>
                  <a:lnTo>
                    <a:pt x="40" y="10"/>
                  </a:lnTo>
                  <a:lnTo>
                    <a:pt x="33" y="13"/>
                  </a:lnTo>
                  <a:lnTo>
                    <a:pt x="28" y="17"/>
                  </a:lnTo>
                  <a:lnTo>
                    <a:pt x="22" y="23"/>
                  </a:lnTo>
                  <a:lnTo>
                    <a:pt x="17" y="28"/>
                  </a:lnTo>
                  <a:lnTo>
                    <a:pt x="13" y="33"/>
                  </a:lnTo>
                  <a:lnTo>
                    <a:pt x="10" y="40"/>
                  </a:lnTo>
                  <a:lnTo>
                    <a:pt x="6" y="46"/>
                  </a:lnTo>
                  <a:lnTo>
                    <a:pt x="3" y="54"/>
                  </a:lnTo>
                  <a:lnTo>
                    <a:pt x="2" y="60"/>
                  </a:lnTo>
                  <a:lnTo>
                    <a:pt x="0" y="68"/>
                  </a:lnTo>
                  <a:lnTo>
                    <a:pt x="0" y="75"/>
                  </a:lnTo>
                  <a:lnTo>
                    <a:pt x="0" y="84"/>
                  </a:lnTo>
                  <a:lnTo>
                    <a:pt x="2" y="91"/>
                  </a:lnTo>
                  <a:lnTo>
                    <a:pt x="3" y="98"/>
                  </a:lnTo>
                  <a:lnTo>
                    <a:pt x="6" y="105"/>
                  </a:lnTo>
                  <a:lnTo>
                    <a:pt x="10" y="111"/>
                  </a:lnTo>
                  <a:lnTo>
                    <a:pt x="13" y="118"/>
                  </a:lnTo>
                  <a:lnTo>
                    <a:pt x="17" y="123"/>
                  </a:lnTo>
                  <a:lnTo>
                    <a:pt x="22" y="129"/>
                  </a:lnTo>
                  <a:lnTo>
                    <a:pt x="28" y="134"/>
                  </a:lnTo>
                  <a:lnTo>
                    <a:pt x="33" y="138"/>
                  </a:lnTo>
                  <a:lnTo>
                    <a:pt x="40" y="141"/>
                  </a:lnTo>
                  <a:lnTo>
                    <a:pt x="46" y="145"/>
                  </a:lnTo>
                  <a:lnTo>
                    <a:pt x="52" y="147"/>
                  </a:lnTo>
                  <a:lnTo>
                    <a:pt x="60" y="149"/>
                  </a:lnTo>
                  <a:lnTo>
                    <a:pt x="67" y="150"/>
                  </a:lnTo>
                  <a:lnTo>
                    <a:pt x="75" y="1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Light"/>
                <a:ea typeface="+mn-ea"/>
                <a:cs typeface="+mn-cs"/>
              </a:endParaRPr>
            </a:p>
          </p:txBody>
        </p:sp>
        <p:sp>
          <p:nvSpPr>
            <p:cNvPr id="39" name="Freeform 278"/>
            <p:cNvSpPr>
              <a:spLocks noEditPoints="1"/>
            </p:cNvSpPr>
            <p:nvPr/>
          </p:nvSpPr>
          <p:spPr bwMode="auto">
            <a:xfrm>
              <a:off x="7743825" y="4370388"/>
              <a:ext cx="47625" cy="47625"/>
            </a:xfrm>
            <a:custGeom>
              <a:avLst/>
              <a:gdLst>
                <a:gd name="T0" fmla="*/ 65 w 150"/>
                <a:gd name="T1" fmla="*/ 119 h 150"/>
                <a:gd name="T2" fmla="*/ 49 w 150"/>
                <a:gd name="T3" fmla="*/ 113 h 150"/>
                <a:gd name="T4" fmla="*/ 38 w 150"/>
                <a:gd name="T5" fmla="*/ 100 h 150"/>
                <a:gd name="T6" fmla="*/ 30 w 150"/>
                <a:gd name="T7" fmla="*/ 84 h 150"/>
                <a:gd name="T8" fmla="*/ 30 w 150"/>
                <a:gd name="T9" fmla="*/ 65 h 150"/>
                <a:gd name="T10" fmla="*/ 38 w 150"/>
                <a:gd name="T11" fmla="*/ 49 h 150"/>
                <a:gd name="T12" fmla="*/ 49 w 150"/>
                <a:gd name="T13" fmla="*/ 38 h 150"/>
                <a:gd name="T14" fmla="*/ 65 w 150"/>
                <a:gd name="T15" fmla="*/ 31 h 150"/>
                <a:gd name="T16" fmla="*/ 84 w 150"/>
                <a:gd name="T17" fmla="*/ 31 h 150"/>
                <a:gd name="T18" fmla="*/ 100 w 150"/>
                <a:gd name="T19" fmla="*/ 38 h 150"/>
                <a:gd name="T20" fmla="*/ 113 w 150"/>
                <a:gd name="T21" fmla="*/ 49 h 150"/>
                <a:gd name="T22" fmla="*/ 119 w 150"/>
                <a:gd name="T23" fmla="*/ 65 h 150"/>
                <a:gd name="T24" fmla="*/ 119 w 150"/>
                <a:gd name="T25" fmla="*/ 84 h 150"/>
                <a:gd name="T26" fmla="*/ 113 w 150"/>
                <a:gd name="T27" fmla="*/ 100 h 150"/>
                <a:gd name="T28" fmla="*/ 100 w 150"/>
                <a:gd name="T29" fmla="*/ 113 h 150"/>
                <a:gd name="T30" fmla="*/ 84 w 150"/>
                <a:gd name="T31" fmla="*/ 119 h 150"/>
                <a:gd name="T32" fmla="*/ 75 w 150"/>
                <a:gd name="T33" fmla="*/ 0 h 150"/>
                <a:gd name="T34" fmla="*/ 60 w 150"/>
                <a:gd name="T35" fmla="*/ 1 h 150"/>
                <a:gd name="T36" fmla="*/ 45 w 150"/>
                <a:gd name="T37" fmla="*/ 5 h 150"/>
                <a:gd name="T38" fmla="*/ 33 w 150"/>
                <a:gd name="T39" fmla="*/ 13 h 150"/>
                <a:gd name="T40" fmla="*/ 21 w 150"/>
                <a:gd name="T41" fmla="*/ 22 h 150"/>
                <a:gd name="T42" fmla="*/ 13 w 150"/>
                <a:gd name="T43" fmla="*/ 33 h 150"/>
                <a:gd name="T44" fmla="*/ 5 w 150"/>
                <a:gd name="T45" fmla="*/ 46 h 150"/>
                <a:gd name="T46" fmla="*/ 1 w 150"/>
                <a:gd name="T47" fmla="*/ 60 h 150"/>
                <a:gd name="T48" fmla="*/ 0 w 150"/>
                <a:gd name="T49" fmla="*/ 75 h 150"/>
                <a:gd name="T50" fmla="*/ 1 w 150"/>
                <a:gd name="T51" fmla="*/ 90 h 150"/>
                <a:gd name="T52" fmla="*/ 5 w 150"/>
                <a:gd name="T53" fmla="*/ 104 h 150"/>
                <a:gd name="T54" fmla="*/ 13 w 150"/>
                <a:gd name="T55" fmla="*/ 117 h 150"/>
                <a:gd name="T56" fmla="*/ 21 w 150"/>
                <a:gd name="T57" fmla="*/ 129 h 150"/>
                <a:gd name="T58" fmla="*/ 33 w 150"/>
                <a:gd name="T59" fmla="*/ 137 h 150"/>
                <a:gd name="T60" fmla="*/ 45 w 150"/>
                <a:gd name="T61" fmla="*/ 145 h 150"/>
                <a:gd name="T62" fmla="*/ 60 w 150"/>
                <a:gd name="T63" fmla="*/ 149 h 150"/>
                <a:gd name="T64" fmla="*/ 75 w 150"/>
                <a:gd name="T65" fmla="*/ 150 h 150"/>
                <a:gd name="T66" fmla="*/ 90 w 150"/>
                <a:gd name="T67" fmla="*/ 149 h 150"/>
                <a:gd name="T68" fmla="*/ 104 w 150"/>
                <a:gd name="T69" fmla="*/ 145 h 150"/>
                <a:gd name="T70" fmla="*/ 117 w 150"/>
                <a:gd name="T71" fmla="*/ 137 h 150"/>
                <a:gd name="T72" fmla="*/ 128 w 150"/>
                <a:gd name="T73" fmla="*/ 129 h 150"/>
                <a:gd name="T74" fmla="*/ 137 w 150"/>
                <a:gd name="T75" fmla="*/ 117 h 150"/>
                <a:gd name="T76" fmla="*/ 144 w 150"/>
                <a:gd name="T77" fmla="*/ 104 h 150"/>
                <a:gd name="T78" fmla="*/ 148 w 150"/>
                <a:gd name="T79" fmla="*/ 90 h 150"/>
                <a:gd name="T80" fmla="*/ 150 w 150"/>
                <a:gd name="T81" fmla="*/ 75 h 150"/>
                <a:gd name="T82" fmla="*/ 148 w 150"/>
                <a:gd name="T83" fmla="*/ 60 h 150"/>
                <a:gd name="T84" fmla="*/ 144 w 150"/>
                <a:gd name="T85" fmla="*/ 46 h 150"/>
                <a:gd name="T86" fmla="*/ 137 w 150"/>
                <a:gd name="T87" fmla="*/ 33 h 150"/>
                <a:gd name="T88" fmla="*/ 128 w 150"/>
                <a:gd name="T89" fmla="*/ 22 h 150"/>
                <a:gd name="T90" fmla="*/ 117 w 150"/>
                <a:gd name="T91" fmla="*/ 13 h 150"/>
                <a:gd name="T92" fmla="*/ 104 w 150"/>
                <a:gd name="T93" fmla="*/ 5 h 150"/>
                <a:gd name="T94" fmla="*/ 90 w 150"/>
                <a:gd name="T95" fmla="*/ 1 h 150"/>
                <a:gd name="T96" fmla="*/ 75 w 150"/>
                <a:gd name="T97" fmla="*/ 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50" h="150">
                  <a:moveTo>
                    <a:pt x="75" y="120"/>
                  </a:moveTo>
                  <a:lnTo>
                    <a:pt x="65" y="119"/>
                  </a:lnTo>
                  <a:lnTo>
                    <a:pt x="57" y="117"/>
                  </a:lnTo>
                  <a:lnTo>
                    <a:pt x="49" y="113"/>
                  </a:lnTo>
                  <a:lnTo>
                    <a:pt x="43" y="107"/>
                  </a:lnTo>
                  <a:lnTo>
                    <a:pt x="38" y="100"/>
                  </a:lnTo>
                  <a:lnTo>
                    <a:pt x="33" y="92"/>
                  </a:lnTo>
                  <a:lnTo>
                    <a:pt x="30" y="84"/>
                  </a:lnTo>
                  <a:lnTo>
                    <a:pt x="30" y="75"/>
                  </a:lnTo>
                  <a:lnTo>
                    <a:pt x="30" y="65"/>
                  </a:lnTo>
                  <a:lnTo>
                    <a:pt x="33" y="58"/>
                  </a:lnTo>
                  <a:lnTo>
                    <a:pt x="38" y="49"/>
                  </a:lnTo>
                  <a:lnTo>
                    <a:pt x="43" y="43"/>
                  </a:lnTo>
                  <a:lnTo>
                    <a:pt x="49" y="38"/>
                  </a:lnTo>
                  <a:lnTo>
                    <a:pt x="57" y="33"/>
                  </a:lnTo>
                  <a:lnTo>
                    <a:pt x="65" y="31"/>
                  </a:lnTo>
                  <a:lnTo>
                    <a:pt x="75" y="30"/>
                  </a:lnTo>
                  <a:lnTo>
                    <a:pt x="84" y="31"/>
                  </a:lnTo>
                  <a:lnTo>
                    <a:pt x="92" y="33"/>
                  </a:lnTo>
                  <a:lnTo>
                    <a:pt x="100" y="38"/>
                  </a:lnTo>
                  <a:lnTo>
                    <a:pt x="106" y="43"/>
                  </a:lnTo>
                  <a:lnTo>
                    <a:pt x="113" y="49"/>
                  </a:lnTo>
                  <a:lnTo>
                    <a:pt x="117" y="58"/>
                  </a:lnTo>
                  <a:lnTo>
                    <a:pt x="119" y="65"/>
                  </a:lnTo>
                  <a:lnTo>
                    <a:pt x="120" y="75"/>
                  </a:lnTo>
                  <a:lnTo>
                    <a:pt x="119" y="84"/>
                  </a:lnTo>
                  <a:lnTo>
                    <a:pt x="117" y="92"/>
                  </a:lnTo>
                  <a:lnTo>
                    <a:pt x="113" y="100"/>
                  </a:lnTo>
                  <a:lnTo>
                    <a:pt x="106" y="107"/>
                  </a:lnTo>
                  <a:lnTo>
                    <a:pt x="100" y="113"/>
                  </a:lnTo>
                  <a:lnTo>
                    <a:pt x="92" y="117"/>
                  </a:lnTo>
                  <a:lnTo>
                    <a:pt x="84" y="119"/>
                  </a:lnTo>
                  <a:lnTo>
                    <a:pt x="75" y="120"/>
                  </a:lnTo>
                  <a:close/>
                  <a:moveTo>
                    <a:pt x="75" y="0"/>
                  </a:moveTo>
                  <a:lnTo>
                    <a:pt x="68" y="0"/>
                  </a:lnTo>
                  <a:lnTo>
                    <a:pt x="60" y="1"/>
                  </a:lnTo>
                  <a:lnTo>
                    <a:pt x="53" y="3"/>
                  </a:lnTo>
                  <a:lnTo>
                    <a:pt x="45" y="5"/>
                  </a:lnTo>
                  <a:lnTo>
                    <a:pt x="39" y="9"/>
                  </a:lnTo>
                  <a:lnTo>
                    <a:pt x="33" y="13"/>
                  </a:lnTo>
                  <a:lnTo>
                    <a:pt x="27" y="17"/>
                  </a:lnTo>
                  <a:lnTo>
                    <a:pt x="21" y="22"/>
                  </a:lnTo>
                  <a:lnTo>
                    <a:pt x="17" y="27"/>
                  </a:lnTo>
                  <a:lnTo>
                    <a:pt x="13" y="33"/>
                  </a:lnTo>
                  <a:lnTo>
                    <a:pt x="9" y="40"/>
                  </a:lnTo>
                  <a:lnTo>
                    <a:pt x="5" y="46"/>
                  </a:lnTo>
                  <a:lnTo>
                    <a:pt x="3" y="53"/>
                  </a:lnTo>
                  <a:lnTo>
                    <a:pt x="1" y="60"/>
                  </a:lnTo>
                  <a:lnTo>
                    <a:pt x="0" y="68"/>
                  </a:lnTo>
                  <a:lnTo>
                    <a:pt x="0" y="75"/>
                  </a:lnTo>
                  <a:lnTo>
                    <a:pt x="0" y="83"/>
                  </a:lnTo>
                  <a:lnTo>
                    <a:pt x="1" y="90"/>
                  </a:lnTo>
                  <a:lnTo>
                    <a:pt x="3" y="98"/>
                  </a:lnTo>
                  <a:lnTo>
                    <a:pt x="5" y="104"/>
                  </a:lnTo>
                  <a:lnTo>
                    <a:pt x="9" y="110"/>
                  </a:lnTo>
                  <a:lnTo>
                    <a:pt x="13" y="117"/>
                  </a:lnTo>
                  <a:lnTo>
                    <a:pt x="17" y="123"/>
                  </a:lnTo>
                  <a:lnTo>
                    <a:pt x="21" y="129"/>
                  </a:lnTo>
                  <a:lnTo>
                    <a:pt x="27" y="133"/>
                  </a:lnTo>
                  <a:lnTo>
                    <a:pt x="33" y="137"/>
                  </a:lnTo>
                  <a:lnTo>
                    <a:pt x="39" y="142"/>
                  </a:lnTo>
                  <a:lnTo>
                    <a:pt x="45" y="145"/>
                  </a:lnTo>
                  <a:lnTo>
                    <a:pt x="53" y="147"/>
                  </a:lnTo>
                  <a:lnTo>
                    <a:pt x="60" y="149"/>
                  </a:lnTo>
                  <a:lnTo>
                    <a:pt x="68" y="150"/>
                  </a:lnTo>
                  <a:lnTo>
                    <a:pt x="75" y="150"/>
                  </a:lnTo>
                  <a:lnTo>
                    <a:pt x="83" y="150"/>
                  </a:lnTo>
                  <a:lnTo>
                    <a:pt x="90" y="149"/>
                  </a:lnTo>
                  <a:lnTo>
                    <a:pt x="98" y="147"/>
                  </a:lnTo>
                  <a:lnTo>
                    <a:pt x="104" y="145"/>
                  </a:lnTo>
                  <a:lnTo>
                    <a:pt x="110" y="142"/>
                  </a:lnTo>
                  <a:lnTo>
                    <a:pt x="117" y="137"/>
                  </a:lnTo>
                  <a:lnTo>
                    <a:pt x="122" y="133"/>
                  </a:lnTo>
                  <a:lnTo>
                    <a:pt x="128" y="129"/>
                  </a:lnTo>
                  <a:lnTo>
                    <a:pt x="133" y="123"/>
                  </a:lnTo>
                  <a:lnTo>
                    <a:pt x="137" y="117"/>
                  </a:lnTo>
                  <a:lnTo>
                    <a:pt x="140" y="110"/>
                  </a:lnTo>
                  <a:lnTo>
                    <a:pt x="144" y="104"/>
                  </a:lnTo>
                  <a:lnTo>
                    <a:pt x="147" y="98"/>
                  </a:lnTo>
                  <a:lnTo>
                    <a:pt x="148" y="90"/>
                  </a:lnTo>
                  <a:lnTo>
                    <a:pt x="150" y="83"/>
                  </a:lnTo>
                  <a:lnTo>
                    <a:pt x="150" y="75"/>
                  </a:lnTo>
                  <a:lnTo>
                    <a:pt x="150" y="68"/>
                  </a:lnTo>
                  <a:lnTo>
                    <a:pt x="148" y="60"/>
                  </a:lnTo>
                  <a:lnTo>
                    <a:pt x="147" y="53"/>
                  </a:lnTo>
                  <a:lnTo>
                    <a:pt x="144" y="46"/>
                  </a:lnTo>
                  <a:lnTo>
                    <a:pt x="140" y="40"/>
                  </a:lnTo>
                  <a:lnTo>
                    <a:pt x="137" y="33"/>
                  </a:lnTo>
                  <a:lnTo>
                    <a:pt x="133" y="27"/>
                  </a:lnTo>
                  <a:lnTo>
                    <a:pt x="128" y="22"/>
                  </a:lnTo>
                  <a:lnTo>
                    <a:pt x="122" y="17"/>
                  </a:lnTo>
                  <a:lnTo>
                    <a:pt x="117" y="13"/>
                  </a:lnTo>
                  <a:lnTo>
                    <a:pt x="110" y="9"/>
                  </a:lnTo>
                  <a:lnTo>
                    <a:pt x="104" y="5"/>
                  </a:lnTo>
                  <a:lnTo>
                    <a:pt x="98" y="3"/>
                  </a:lnTo>
                  <a:lnTo>
                    <a:pt x="90" y="1"/>
                  </a:lnTo>
                  <a:lnTo>
                    <a:pt x="83" y="0"/>
                  </a:lnTo>
                  <a:lnTo>
                    <a:pt x="75" y="0"/>
                  </a:lnTo>
                  <a:lnTo>
                    <a:pt x="7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Light"/>
                <a:ea typeface="+mn-ea"/>
                <a:cs typeface="+mn-cs"/>
              </a:endParaRPr>
            </a:p>
          </p:txBody>
        </p:sp>
      </p:grpSp>
      <p:grpSp>
        <p:nvGrpSpPr>
          <p:cNvPr id="40" name="Group 39"/>
          <p:cNvGrpSpPr/>
          <p:nvPr/>
        </p:nvGrpSpPr>
        <p:grpSpPr>
          <a:xfrm>
            <a:off x="9039441" y="4915736"/>
            <a:ext cx="286131" cy="286131"/>
            <a:chOff x="10455275" y="4217988"/>
            <a:chExt cx="285750" cy="285750"/>
          </a:xfrm>
          <a:solidFill>
            <a:schemeClr val="bg1"/>
          </a:solidFill>
        </p:grpSpPr>
        <p:sp>
          <p:nvSpPr>
            <p:cNvPr id="41" name="Freeform 311"/>
            <p:cNvSpPr>
              <a:spLocks noEditPoints="1"/>
            </p:cNvSpPr>
            <p:nvPr/>
          </p:nvSpPr>
          <p:spPr bwMode="auto">
            <a:xfrm>
              <a:off x="10607675" y="4217988"/>
              <a:ext cx="133350" cy="133350"/>
            </a:xfrm>
            <a:custGeom>
              <a:avLst/>
              <a:gdLst>
                <a:gd name="T0" fmla="*/ 48 w 421"/>
                <a:gd name="T1" fmla="*/ 31 h 421"/>
                <a:gd name="T2" fmla="*/ 84 w 421"/>
                <a:gd name="T3" fmla="*/ 37 h 421"/>
                <a:gd name="T4" fmla="*/ 118 w 421"/>
                <a:gd name="T5" fmla="*/ 44 h 421"/>
                <a:gd name="T6" fmla="*/ 151 w 421"/>
                <a:gd name="T7" fmla="*/ 56 h 421"/>
                <a:gd name="T8" fmla="*/ 183 w 421"/>
                <a:gd name="T9" fmla="*/ 70 h 421"/>
                <a:gd name="T10" fmla="*/ 213 w 421"/>
                <a:gd name="T11" fmla="*/ 87 h 421"/>
                <a:gd name="T12" fmla="*/ 241 w 421"/>
                <a:gd name="T13" fmla="*/ 106 h 421"/>
                <a:gd name="T14" fmla="*/ 268 w 421"/>
                <a:gd name="T15" fmla="*/ 129 h 421"/>
                <a:gd name="T16" fmla="*/ 292 w 421"/>
                <a:gd name="T17" fmla="*/ 152 h 421"/>
                <a:gd name="T18" fmla="*/ 314 w 421"/>
                <a:gd name="T19" fmla="*/ 179 h 421"/>
                <a:gd name="T20" fmla="*/ 333 w 421"/>
                <a:gd name="T21" fmla="*/ 207 h 421"/>
                <a:gd name="T22" fmla="*/ 350 w 421"/>
                <a:gd name="T23" fmla="*/ 237 h 421"/>
                <a:gd name="T24" fmla="*/ 365 w 421"/>
                <a:gd name="T25" fmla="*/ 269 h 421"/>
                <a:gd name="T26" fmla="*/ 376 w 421"/>
                <a:gd name="T27" fmla="*/ 302 h 421"/>
                <a:gd name="T28" fmla="*/ 385 w 421"/>
                <a:gd name="T29" fmla="*/ 337 h 421"/>
                <a:gd name="T30" fmla="*/ 389 w 421"/>
                <a:gd name="T31" fmla="*/ 373 h 421"/>
                <a:gd name="T32" fmla="*/ 30 w 421"/>
                <a:gd name="T33" fmla="*/ 390 h 421"/>
                <a:gd name="T34" fmla="*/ 15 w 421"/>
                <a:gd name="T35" fmla="*/ 421 h 421"/>
                <a:gd name="T36" fmla="*/ 408 w 421"/>
                <a:gd name="T37" fmla="*/ 420 h 421"/>
                <a:gd name="T38" fmla="*/ 414 w 421"/>
                <a:gd name="T39" fmla="*/ 418 h 421"/>
                <a:gd name="T40" fmla="*/ 418 w 421"/>
                <a:gd name="T41" fmla="*/ 414 h 421"/>
                <a:gd name="T42" fmla="*/ 420 w 421"/>
                <a:gd name="T43" fmla="*/ 408 h 421"/>
                <a:gd name="T44" fmla="*/ 420 w 421"/>
                <a:gd name="T45" fmla="*/ 385 h 421"/>
                <a:gd name="T46" fmla="*/ 416 w 421"/>
                <a:gd name="T47" fmla="*/ 344 h 421"/>
                <a:gd name="T48" fmla="*/ 408 w 421"/>
                <a:gd name="T49" fmla="*/ 304 h 421"/>
                <a:gd name="T50" fmla="*/ 396 w 421"/>
                <a:gd name="T51" fmla="*/ 266 h 421"/>
                <a:gd name="T52" fmla="*/ 380 w 421"/>
                <a:gd name="T53" fmla="*/ 229 h 421"/>
                <a:gd name="T54" fmla="*/ 362 w 421"/>
                <a:gd name="T55" fmla="*/ 195 h 421"/>
                <a:gd name="T56" fmla="*/ 340 w 421"/>
                <a:gd name="T57" fmla="*/ 163 h 421"/>
                <a:gd name="T58" fmla="*/ 315 w 421"/>
                <a:gd name="T59" fmla="*/ 133 h 421"/>
                <a:gd name="T60" fmla="*/ 287 w 421"/>
                <a:gd name="T61" fmla="*/ 105 h 421"/>
                <a:gd name="T62" fmla="*/ 257 w 421"/>
                <a:gd name="T63" fmla="*/ 80 h 421"/>
                <a:gd name="T64" fmla="*/ 225 w 421"/>
                <a:gd name="T65" fmla="*/ 59 h 421"/>
                <a:gd name="T66" fmla="*/ 191 w 421"/>
                <a:gd name="T67" fmla="*/ 40 h 421"/>
                <a:gd name="T68" fmla="*/ 154 w 421"/>
                <a:gd name="T69" fmla="*/ 25 h 421"/>
                <a:gd name="T70" fmla="*/ 116 w 421"/>
                <a:gd name="T71" fmla="*/ 13 h 421"/>
                <a:gd name="T72" fmla="*/ 76 w 421"/>
                <a:gd name="T73" fmla="*/ 4 h 421"/>
                <a:gd name="T74" fmla="*/ 35 w 421"/>
                <a:gd name="T75" fmla="*/ 0 h 421"/>
                <a:gd name="T76" fmla="*/ 12 w 421"/>
                <a:gd name="T77" fmla="*/ 0 h 421"/>
                <a:gd name="T78" fmla="*/ 6 w 421"/>
                <a:gd name="T79" fmla="*/ 2 h 421"/>
                <a:gd name="T80" fmla="*/ 2 w 421"/>
                <a:gd name="T81" fmla="*/ 7 h 421"/>
                <a:gd name="T82" fmla="*/ 0 w 421"/>
                <a:gd name="T83" fmla="*/ 12 h 421"/>
                <a:gd name="T84" fmla="*/ 0 w 421"/>
                <a:gd name="T85" fmla="*/ 406 h 421"/>
                <a:gd name="T86" fmla="*/ 1 w 421"/>
                <a:gd name="T87" fmla="*/ 411 h 421"/>
                <a:gd name="T88" fmla="*/ 4 w 421"/>
                <a:gd name="T89" fmla="*/ 417 h 421"/>
                <a:gd name="T90" fmla="*/ 9 w 421"/>
                <a:gd name="T91" fmla="*/ 420 h 421"/>
                <a:gd name="T92" fmla="*/ 15 w 421"/>
                <a:gd name="T93" fmla="*/ 421 h 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21" h="421">
                  <a:moveTo>
                    <a:pt x="30" y="30"/>
                  </a:moveTo>
                  <a:lnTo>
                    <a:pt x="48" y="31"/>
                  </a:lnTo>
                  <a:lnTo>
                    <a:pt x="65" y="33"/>
                  </a:lnTo>
                  <a:lnTo>
                    <a:pt x="84" y="37"/>
                  </a:lnTo>
                  <a:lnTo>
                    <a:pt x="101" y="40"/>
                  </a:lnTo>
                  <a:lnTo>
                    <a:pt x="118" y="44"/>
                  </a:lnTo>
                  <a:lnTo>
                    <a:pt x="135" y="49"/>
                  </a:lnTo>
                  <a:lnTo>
                    <a:pt x="151" y="56"/>
                  </a:lnTo>
                  <a:lnTo>
                    <a:pt x="167" y="62"/>
                  </a:lnTo>
                  <a:lnTo>
                    <a:pt x="183" y="70"/>
                  </a:lnTo>
                  <a:lnTo>
                    <a:pt x="198" y="78"/>
                  </a:lnTo>
                  <a:lnTo>
                    <a:pt x="213" y="87"/>
                  </a:lnTo>
                  <a:lnTo>
                    <a:pt x="227" y="97"/>
                  </a:lnTo>
                  <a:lnTo>
                    <a:pt x="241" y="106"/>
                  </a:lnTo>
                  <a:lnTo>
                    <a:pt x="255" y="117"/>
                  </a:lnTo>
                  <a:lnTo>
                    <a:pt x="268" y="129"/>
                  </a:lnTo>
                  <a:lnTo>
                    <a:pt x="281" y="140"/>
                  </a:lnTo>
                  <a:lnTo>
                    <a:pt x="292" y="152"/>
                  </a:lnTo>
                  <a:lnTo>
                    <a:pt x="303" y="165"/>
                  </a:lnTo>
                  <a:lnTo>
                    <a:pt x="314" y="179"/>
                  </a:lnTo>
                  <a:lnTo>
                    <a:pt x="325" y="193"/>
                  </a:lnTo>
                  <a:lnTo>
                    <a:pt x="333" y="207"/>
                  </a:lnTo>
                  <a:lnTo>
                    <a:pt x="343" y="222"/>
                  </a:lnTo>
                  <a:lnTo>
                    <a:pt x="350" y="237"/>
                  </a:lnTo>
                  <a:lnTo>
                    <a:pt x="358" y="253"/>
                  </a:lnTo>
                  <a:lnTo>
                    <a:pt x="365" y="269"/>
                  </a:lnTo>
                  <a:lnTo>
                    <a:pt x="371" y="285"/>
                  </a:lnTo>
                  <a:lnTo>
                    <a:pt x="376" y="302"/>
                  </a:lnTo>
                  <a:lnTo>
                    <a:pt x="380" y="319"/>
                  </a:lnTo>
                  <a:lnTo>
                    <a:pt x="385" y="337"/>
                  </a:lnTo>
                  <a:lnTo>
                    <a:pt x="387" y="355"/>
                  </a:lnTo>
                  <a:lnTo>
                    <a:pt x="389" y="373"/>
                  </a:lnTo>
                  <a:lnTo>
                    <a:pt x="390" y="391"/>
                  </a:lnTo>
                  <a:lnTo>
                    <a:pt x="30" y="390"/>
                  </a:lnTo>
                  <a:lnTo>
                    <a:pt x="30" y="30"/>
                  </a:lnTo>
                  <a:close/>
                  <a:moveTo>
                    <a:pt x="15" y="421"/>
                  </a:moveTo>
                  <a:lnTo>
                    <a:pt x="406" y="421"/>
                  </a:lnTo>
                  <a:lnTo>
                    <a:pt x="408" y="420"/>
                  </a:lnTo>
                  <a:lnTo>
                    <a:pt x="411" y="420"/>
                  </a:lnTo>
                  <a:lnTo>
                    <a:pt x="414" y="418"/>
                  </a:lnTo>
                  <a:lnTo>
                    <a:pt x="416" y="417"/>
                  </a:lnTo>
                  <a:lnTo>
                    <a:pt x="418" y="414"/>
                  </a:lnTo>
                  <a:lnTo>
                    <a:pt x="419" y="411"/>
                  </a:lnTo>
                  <a:lnTo>
                    <a:pt x="420" y="408"/>
                  </a:lnTo>
                  <a:lnTo>
                    <a:pt x="421" y="406"/>
                  </a:lnTo>
                  <a:lnTo>
                    <a:pt x="420" y="385"/>
                  </a:lnTo>
                  <a:lnTo>
                    <a:pt x="419" y="364"/>
                  </a:lnTo>
                  <a:lnTo>
                    <a:pt x="416" y="344"/>
                  </a:lnTo>
                  <a:lnTo>
                    <a:pt x="412" y="324"/>
                  </a:lnTo>
                  <a:lnTo>
                    <a:pt x="408" y="304"/>
                  </a:lnTo>
                  <a:lnTo>
                    <a:pt x="403" y="285"/>
                  </a:lnTo>
                  <a:lnTo>
                    <a:pt x="396" y="266"/>
                  </a:lnTo>
                  <a:lnTo>
                    <a:pt x="389" y="248"/>
                  </a:lnTo>
                  <a:lnTo>
                    <a:pt x="380" y="229"/>
                  </a:lnTo>
                  <a:lnTo>
                    <a:pt x="372" y="212"/>
                  </a:lnTo>
                  <a:lnTo>
                    <a:pt x="362" y="195"/>
                  </a:lnTo>
                  <a:lnTo>
                    <a:pt x="351" y="179"/>
                  </a:lnTo>
                  <a:lnTo>
                    <a:pt x="340" y="163"/>
                  </a:lnTo>
                  <a:lnTo>
                    <a:pt x="328" y="148"/>
                  </a:lnTo>
                  <a:lnTo>
                    <a:pt x="315" y="133"/>
                  </a:lnTo>
                  <a:lnTo>
                    <a:pt x="301" y="119"/>
                  </a:lnTo>
                  <a:lnTo>
                    <a:pt x="287" y="105"/>
                  </a:lnTo>
                  <a:lnTo>
                    <a:pt x="273" y="92"/>
                  </a:lnTo>
                  <a:lnTo>
                    <a:pt x="257" y="80"/>
                  </a:lnTo>
                  <a:lnTo>
                    <a:pt x="241" y="69"/>
                  </a:lnTo>
                  <a:lnTo>
                    <a:pt x="225" y="59"/>
                  </a:lnTo>
                  <a:lnTo>
                    <a:pt x="208" y="48"/>
                  </a:lnTo>
                  <a:lnTo>
                    <a:pt x="191" y="40"/>
                  </a:lnTo>
                  <a:lnTo>
                    <a:pt x="173" y="31"/>
                  </a:lnTo>
                  <a:lnTo>
                    <a:pt x="154" y="25"/>
                  </a:lnTo>
                  <a:lnTo>
                    <a:pt x="135" y="18"/>
                  </a:lnTo>
                  <a:lnTo>
                    <a:pt x="116" y="13"/>
                  </a:lnTo>
                  <a:lnTo>
                    <a:pt x="96" y="8"/>
                  </a:lnTo>
                  <a:lnTo>
                    <a:pt x="76" y="4"/>
                  </a:lnTo>
                  <a:lnTo>
                    <a:pt x="56" y="2"/>
                  </a:lnTo>
                  <a:lnTo>
                    <a:pt x="35" y="0"/>
                  </a:lnTo>
                  <a:lnTo>
                    <a:pt x="15" y="0"/>
                  </a:lnTo>
                  <a:lnTo>
                    <a:pt x="12" y="0"/>
                  </a:lnTo>
                  <a:lnTo>
                    <a:pt x="9" y="1"/>
                  </a:lnTo>
                  <a:lnTo>
                    <a:pt x="6" y="2"/>
                  </a:lnTo>
                  <a:lnTo>
                    <a:pt x="4" y="4"/>
                  </a:lnTo>
                  <a:lnTo>
                    <a:pt x="2" y="7"/>
                  </a:lnTo>
                  <a:lnTo>
                    <a:pt x="1" y="9"/>
                  </a:lnTo>
                  <a:lnTo>
                    <a:pt x="0" y="12"/>
                  </a:lnTo>
                  <a:lnTo>
                    <a:pt x="0" y="15"/>
                  </a:lnTo>
                  <a:lnTo>
                    <a:pt x="0" y="406"/>
                  </a:lnTo>
                  <a:lnTo>
                    <a:pt x="0" y="408"/>
                  </a:lnTo>
                  <a:lnTo>
                    <a:pt x="1" y="411"/>
                  </a:lnTo>
                  <a:lnTo>
                    <a:pt x="2" y="414"/>
                  </a:lnTo>
                  <a:lnTo>
                    <a:pt x="4" y="417"/>
                  </a:lnTo>
                  <a:lnTo>
                    <a:pt x="6" y="418"/>
                  </a:lnTo>
                  <a:lnTo>
                    <a:pt x="9" y="420"/>
                  </a:lnTo>
                  <a:lnTo>
                    <a:pt x="12" y="420"/>
                  </a:lnTo>
                  <a:lnTo>
                    <a:pt x="15" y="42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Light"/>
                <a:ea typeface="+mn-ea"/>
                <a:cs typeface="+mn-cs"/>
              </a:endParaRPr>
            </a:p>
          </p:txBody>
        </p:sp>
        <p:sp>
          <p:nvSpPr>
            <p:cNvPr id="42" name="Freeform 312"/>
            <p:cNvSpPr>
              <a:spLocks noEditPoints="1"/>
            </p:cNvSpPr>
            <p:nvPr/>
          </p:nvSpPr>
          <p:spPr bwMode="auto">
            <a:xfrm>
              <a:off x="10455275" y="4246563"/>
              <a:ext cx="220663" cy="257175"/>
            </a:xfrm>
            <a:custGeom>
              <a:avLst/>
              <a:gdLst>
                <a:gd name="T0" fmla="*/ 368 w 697"/>
                <a:gd name="T1" fmla="*/ 780 h 812"/>
                <a:gd name="T2" fmla="*/ 313 w 697"/>
                <a:gd name="T3" fmla="*/ 770 h 812"/>
                <a:gd name="T4" fmla="*/ 260 w 697"/>
                <a:gd name="T5" fmla="*/ 752 h 812"/>
                <a:gd name="T6" fmla="*/ 212 w 697"/>
                <a:gd name="T7" fmla="*/ 727 h 812"/>
                <a:gd name="T8" fmla="*/ 167 w 697"/>
                <a:gd name="T9" fmla="*/ 695 h 812"/>
                <a:gd name="T10" fmla="*/ 129 w 697"/>
                <a:gd name="T11" fmla="*/ 659 h 812"/>
                <a:gd name="T12" fmla="*/ 95 w 697"/>
                <a:gd name="T13" fmla="*/ 616 h 812"/>
                <a:gd name="T14" fmla="*/ 67 w 697"/>
                <a:gd name="T15" fmla="*/ 569 h 812"/>
                <a:gd name="T16" fmla="*/ 47 w 697"/>
                <a:gd name="T17" fmla="*/ 518 h 812"/>
                <a:gd name="T18" fmla="*/ 35 w 697"/>
                <a:gd name="T19" fmla="*/ 463 h 812"/>
                <a:gd name="T20" fmla="*/ 31 w 697"/>
                <a:gd name="T21" fmla="*/ 406 h 812"/>
                <a:gd name="T22" fmla="*/ 34 w 697"/>
                <a:gd name="T23" fmla="*/ 350 h 812"/>
                <a:gd name="T24" fmla="*/ 47 w 697"/>
                <a:gd name="T25" fmla="*/ 297 h 812"/>
                <a:gd name="T26" fmla="*/ 66 w 697"/>
                <a:gd name="T27" fmla="*/ 247 h 812"/>
                <a:gd name="T28" fmla="*/ 92 w 697"/>
                <a:gd name="T29" fmla="*/ 200 h 812"/>
                <a:gd name="T30" fmla="*/ 124 w 697"/>
                <a:gd name="T31" fmla="*/ 159 h 812"/>
                <a:gd name="T32" fmla="*/ 162 w 697"/>
                <a:gd name="T33" fmla="*/ 121 h 812"/>
                <a:gd name="T34" fmla="*/ 204 w 697"/>
                <a:gd name="T35" fmla="*/ 89 h 812"/>
                <a:gd name="T36" fmla="*/ 251 w 697"/>
                <a:gd name="T37" fmla="*/ 64 h 812"/>
                <a:gd name="T38" fmla="*/ 301 w 697"/>
                <a:gd name="T39" fmla="*/ 45 h 812"/>
                <a:gd name="T40" fmla="*/ 355 w 697"/>
                <a:gd name="T41" fmla="*/ 33 h 812"/>
                <a:gd name="T42" fmla="*/ 391 w 697"/>
                <a:gd name="T43" fmla="*/ 406 h 812"/>
                <a:gd name="T44" fmla="*/ 394 w 697"/>
                <a:gd name="T45" fmla="*/ 415 h 812"/>
                <a:gd name="T46" fmla="*/ 648 w 697"/>
                <a:gd name="T47" fmla="*/ 694 h 812"/>
                <a:gd name="T48" fmla="*/ 605 w 697"/>
                <a:gd name="T49" fmla="*/ 724 h 812"/>
                <a:gd name="T50" fmla="*/ 559 w 697"/>
                <a:gd name="T51" fmla="*/ 749 h 812"/>
                <a:gd name="T52" fmla="*/ 511 w 697"/>
                <a:gd name="T53" fmla="*/ 767 h 812"/>
                <a:gd name="T54" fmla="*/ 460 w 697"/>
                <a:gd name="T55" fmla="*/ 778 h 812"/>
                <a:gd name="T56" fmla="*/ 406 w 697"/>
                <a:gd name="T57" fmla="*/ 782 h 812"/>
                <a:gd name="T58" fmla="*/ 421 w 697"/>
                <a:gd name="T59" fmla="*/ 15 h 812"/>
                <a:gd name="T60" fmla="*/ 419 w 697"/>
                <a:gd name="T61" fmla="*/ 7 h 812"/>
                <a:gd name="T62" fmla="*/ 412 w 697"/>
                <a:gd name="T63" fmla="*/ 1 h 812"/>
                <a:gd name="T64" fmla="*/ 386 w 697"/>
                <a:gd name="T65" fmla="*/ 0 h 812"/>
                <a:gd name="T66" fmla="*/ 325 w 697"/>
                <a:gd name="T67" fmla="*/ 9 h 812"/>
                <a:gd name="T68" fmla="*/ 267 w 697"/>
                <a:gd name="T69" fmla="*/ 25 h 812"/>
                <a:gd name="T70" fmla="*/ 213 w 697"/>
                <a:gd name="T71" fmla="*/ 49 h 812"/>
                <a:gd name="T72" fmla="*/ 164 w 697"/>
                <a:gd name="T73" fmla="*/ 80 h 812"/>
                <a:gd name="T74" fmla="*/ 120 w 697"/>
                <a:gd name="T75" fmla="*/ 119 h 812"/>
                <a:gd name="T76" fmla="*/ 81 w 697"/>
                <a:gd name="T77" fmla="*/ 163 h 812"/>
                <a:gd name="T78" fmla="*/ 49 w 697"/>
                <a:gd name="T79" fmla="*/ 212 h 812"/>
                <a:gd name="T80" fmla="*/ 26 w 697"/>
                <a:gd name="T81" fmla="*/ 267 h 812"/>
                <a:gd name="T82" fmla="*/ 9 w 697"/>
                <a:gd name="T83" fmla="*/ 325 h 812"/>
                <a:gd name="T84" fmla="*/ 1 w 697"/>
                <a:gd name="T85" fmla="*/ 385 h 812"/>
                <a:gd name="T86" fmla="*/ 2 w 697"/>
                <a:gd name="T87" fmla="*/ 448 h 812"/>
                <a:gd name="T88" fmla="*/ 13 w 697"/>
                <a:gd name="T89" fmla="*/ 507 h 812"/>
                <a:gd name="T90" fmla="*/ 32 w 697"/>
                <a:gd name="T91" fmla="*/ 564 h 812"/>
                <a:gd name="T92" fmla="*/ 59 w 697"/>
                <a:gd name="T93" fmla="*/ 616 h 812"/>
                <a:gd name="T94" fmla="*/ 93 w 697"/>
                <a:gd name="T95" fmla="*/ 664 h 812"/>
                <a:gd name="T96" fmla="*/ 134 w 697"/>
                <a:gd name="T97" fmla="*/ 706 h 812"/>
                <a:gd name="T98" fmla="*/ 180 w 697"/>
                <a:gd name="T99" fmla="*/ 742 h 812"/>
                <a:gd name="T100" fmla="*/ 230 w 697"/>
                <a:gd name="T101" fmla="*/ 771 h 812"/>
                <a:gd name="T102" fmla="*/ 286 w 697"/>
                <a:gd name="T103" fmla="*/ 794 h 812"/>
                <a:gd name="T104" fmla="*/ 345 w 697"/>
                <a:gd name="T105" fmla="*/ 807 h 812"/>
                <a:gd name="T106" fmla="*/ 406 w 697"/>
                <a:gd name="T107" fmla="*/ 812 h 812"/>
                <a:gd name="T108" fmla="*/ 467 w 697"/>
                <a:gd name="T109" fmla="*/ 808 h 812"/>
                <a:gd name="T110" fmla="*/ 525 w 697"/>
                <a:gd name="T111" fmla="*/ 794 h 812"/>
                <a:gd name="T112" fmla="*/ 580 w 697"/>
                <a:gd name="T113" fmla="*/ 774 h 812"/>
                <a:gd name="T114" fmla="*/ 632 w 697"/>
                <a:gd name="T115" fmla="*/ 744 h 812"/>
                <a:gd name="T116" fmla="*/ 679 w 697"/>
                <a:gd name="T117" fmla="*/ 707 h 812"/>
                <a:gd name="T118" fmla="*/ 696 w 697"/>
                <a:gd name="T119" fmla="*/ 688 h 812"/>
                <a:gd name="T120" fmla="*/ 697 w 697"/>
                <a:gd name="T121" fmla="*/ 679 h 812"/>
                <a:gd name="T122" fmla="*/ 693 w 697"/>
                <a:gd name="T123" fmla="*/ 672 h 8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97" h="812">
                  <a:moveTo>
                    <a:pt x="406" y="782"/>
                  </a:moveTo>
                  <a:lnTo>
                    <a:pt x="387" y="781"/>
                  </a:lnTo>
                  <a:lnTo>
                    <a:pt x="368" y="780"/>
                  </a:lnTo>
                  <a:lnTo>
                    <a:pt x="349" y="778"/>
                  </a:lnTo>
                  <a:lnTo>
                    <a:pt x="331" y="775"/>
                  </a:lnTo>
                  <a:lnTo>
                    <a:pt x="313" y="770"/>
                  </a:lnTo>
                  <a:lnTo>
                    <a:pt x="295" y="765"/>
                  </a:lnTo>
                  <a:lnTo>
                    <a:pt x="277" y="759"/>
                  </a:lnTo>
                  <a:lnTo>
                    <a:pt x="260" y="752"/>
                  </a:lnTo>
                  <a:lnTo>
                    <a:pt x="243" y="745"/>
                  </a:lnTo>
                  <a:lnTo>
                    <a:pt x="227" y="736"/>
                  </a:lnTo>
                  <a:lnTo>
                    <a:pt x="212" y="727"/>
                  </a:lnTo>
                  <a:lnTo>
                    <a:pt x="196" y="718"/>
                  </a:lnTo>
                  <a:lnTo>
                    <a:pt x="182" y="707"/>
                  </a:lnTo>
                  <a:lnTo>
                    <a:pt x="167" y="695"/>
                  </a:lnTo>
                  <a:lnTo>
                    <a:pt x="154" y="684"/>
                  </a:lnTo>
                  <a:lnTo>
                    <a:pt x="140" y="672"/>
                  </a:lnTo>
                  <a:lnTo>
                    <a:pt x="129" y="659"/>
                  </a:lnTo>
                  <a:lnTo>
                    <a:pt x="117" y="645"/>
                  </a:lnTo>
                  <a:lnTo>
                    <a:pt x="105" y="631"/>
                  </a:lnTo>
                  <a:lnTo>
                    <a:pt x="95" y="616"/>
                  </a:lnTo>
                  <a:lnTo>
                    <a:pt x="85" y="601"/>
                  </a:lnTo>
                  <a:lnTo>
                    <a:pt x="76" y="585"/>
                  </a:lnTo>
                  <a:lnTo>
                    <a:pt x="67" y="569"/>
                  </a:lnTo>
                  <a:lnTo>
                    <a:pt x="60" y="552"/>
                  </a:lnTo>
                  <a:lnTo>
                    <a:pt x="54" y="535"/>
                  </a:lnTo>
                  <a:lnTo>
                    <a:pt x="47" y="518"/>
                  </a:lnTo>
                  <a:lnTo>
                    <a:pt x="43" y="499"/>
                  </a:lnTo>
                  <a:lnTo>
                    <a:pt x="39" y="481"/>
                  </a:lnTo>
                  <a:lnTo>
                    <a:pt x="35" y="463"/>
                  </a:lnTo>
                  <a:lnTo>
                    <a:pt x="32" y="445"/>
                  </a:lnTo>
                  <a:lnTo>
                    <a:pt x="31" y="425"/>
                  </a:lnTo>
                  <a:lnTo>
                    <a:pt x="31" y="406"/>
                  </a:lnTo>
                  <a:lnTo>
                    <a:pt x="31" y="387"/>
                  </a:lnTo>
                  <a:lnTo>
                    <a:pt x="32" y="369"/>
                  </a:lnTo>
                  <a:lnTo>
                    <a:pt x="34" y="350"/>
                  </a:lnTo>
                  <a:lnTo>
                    <a:pt x="37" y="332"/>
                  </a:lnTo>
                  <a:lnTo>
                    <a:pt x="42" y="314"/>
                  </a:lnTo>
                  <a:lnTo>
                    <a:pt x="47" y="297"/>
                  </a:lnTo>
                  <a:lnTo>
                    <a:pt x="52" y="280"/>
                  </a:lnTo>
                  <a:lnTo>
                    <a:pt x="59" y="263"/>
                  </a:lnTo>
                  <a:lnTo>
                    <a:pt x="66" y="247"/>
                  </a:lnTo>
                  <a:lnTo>
                    <a:pt x="74" y="230"/>
                  </a:lnTo>
                  <a:lnTo>
                    <a:pt x="82" y="215"/>
                  </a:lnTo>
                  <a:lnTo>
                    <a:pt x="92" y="200"/>
                  </a:lnTo>
                  <a:lnTo>
                    <a:pt x="102" y="185"/>
                  </a:lnTo>
                  <a:lnTo>
                    <a:pt x="112" y="172"/>
                  </a:lnTo>
                  <a:lnTo>
                    <a:pt x="124" y="159"/>
                  </a:lnTo>
                  <a:lnTo>
                    <a:pt x="136" y="145"/>
                  </a:lnTo>
                  <a:lnTo>
                    <a:pt x="149" y="133"/>
                  </a:lnTo>
                  <a:lnTo>
                    <a:pt x="162" y="121"/>
                  </a:lnTo>
                  <a:lnTo>
                    <a:pt x="175" y="109"/>
                  </a:lnTo>
                  <a:lnTo>
                    <a:pt x="190" y="100"/>
                  </a:lnTo>
                  <a:lnTo>
                    <a:pt x="204" y="89"/>
                  </a:lnTo>
                  <a:lnTo>
                    <a:pt x="219" y="80"/>
                  </a:lnTo>
                  <a:lnTo>
                    <a:pt x="235" y="72"/>
                  </a:lnTo>
                  <a:lnTo>
                    <a:pt x="251" y="64"/>
                  </a:lnTo>
                  <a:lnTo>
                    <a:pt x="267" y="57"/>
                  </a:lnTo>
                  <a:lnTo>
                    <a:pt x="284" y="50"/>
                  </a:lnTo>
                  <a:lnTo>
                    <a:pt x="301" y="45"/>
                  </a:lnTo>
                  <a:lnTo>
                    <a:pt x="318" y="41"/>
                  </a:lnTo>
                  <a:lnTo>
                    <a:pt x="336" y="37"/>
                  </a:lnTo>
                  <a:lnTo>
                    <a:pt x="355" y="33"/>
                  </a:lnTo>
                  <a:lnTo>
                    <a:pt x="373" y="31"/>
                  </a:lnTo>
                  <a:lnTo>
                    <a:pt x="391" y="30"/>
                  </a:lnTo>
                  <a:lnTo>
                    <a:pt x="391" y="406"/>
                  </a:lnTo>
                  <a:lnTo>
                    <a:pt x="392" y="409"/>
                  </a:lnTo>
                  <a:lnTo>
                    <a:pt x="392" y="411"/>
                  </a:lnTo>
                  <a:lnTo>
                    <a:pt x="394" y="415"/>
                  </a:lnTo>
                  <a:lnTo>
                    <a:pt x="395" y="417"/>
                  </a:lnTo>
                  <a:lnTo>
                    <a:pt x="661" y="682"/>
                  </a:lnTo>
                  <a:lnTo>
                    <a:pt x="648" y="694"/>
                  </a:lnTo>
                  <a:lnTo>
                    <a:pt x="634" y="705"/>
                  </a:lnTo>
                  <a:lnTo>
                    <a:pt x="620" y="715"/>
                  </a:lnTo>
                  <a:lnTo>
                    <a:pt x="605" y="724"/>
                  </a:lnTo>
                  <a:lnTo>
                    <a:pt x="590" y="734"/>
                  </a:lnTo>
                  <a:lnTo>
                    <a:pt x="575" y="741"/>
                  </a:lnTo>
                  <a:lnTo>
                    <a:pt x="559" y="749"/>
                  </a:lnTo>
                  <a:lnTo>
                    <a:pt x="543" y="756"/>
                  </a:lnTo>
                  <a:lnTo>
                    <a:pt x="527" y="762"/>
                  </a:lnTo>
                  <a:lnTo>
                    <a:pt x="511" y="767"/>
                  </a:lnTo>
                  <a:lnTo>
                    <a:pt x="494" y="771"/>
                  </a:lnTo>
                  <a:lnTo>
                    <a:pt x="477" y="776"/>
                  </a:lnTo>
                  <a:lnTo>
                    <a:pt x="460" y="778"/>
                  </a:lnTo>
                  <a:lnTo>
                    <a:pt x="442" y="780"/>
                  </a:lnTo>
                  <a:lnTo>
                    <a:pt x="424" y="781"/>
                  </a:lnTo>
                  <a:lnTo>
                    <a:pt x="406" y="782"/>
                  </a:lnTo>
                  <a:lnTo>
                    <a:pt x="406" y="782"/>
                  </a:lnTo>
                  <a:close/>
                  <a:moveTo>
                    <a:pt x="421" y="400"/>
                  </a:moveTo>
                  <a:lnTo>
                    <a:pt x="421" y="15"/>
                  </a:lnTo>
                  <a:lnTo>
                    <a:pt x="421" y="12"/>
                  </a:lnTo>
                  <a:lnTo>
                    <a:pt x="420" y="9"/>
                  </a:lnTo>
                  <a:lnTo>
                    <a:pt x="419" y="7"/>
                  </a:lnTo>
                  <a:lnTo>
                    <a:pt x="417" y="4"/>
                  </a:lnTo>
                  <a:lnTo>
                    <a:pt x="415" y="2"/>
                  </a:lnTo>
                  <a:lnTo>
                    <a:pt x="412" y="1"/>
                  </a:lnTo>
                  <a:lnTo>
                    <a:pt x="409" y="0"/>
                  </a:lnTo>
                  <a:lnTo>
                    <a:pt x="406" y="0"/>
                  </a:lnTo>
                  <a:lnTo>
                    <a:pt x="386" y="0"/>
                  </a:lnTo>
                  <a:lnTo>
                    <a:pt x="365" y="2"/>
                  </a:lnTo>
                  <a:lnTo>
                    <a:pt x="345" y="4"/>
                  </a:lnTo>
                  <a:lnTo>
                    <a:pt x="325" y="9"/>
                  </a:lnTo>
                  <a:lnTo>
                    <a:pt x="305" y="13"/>
                  </a:lnTo>
                  <a:lnTo>
                    <a:pt x="286" y="18"/>
                  </a:lnTo>
                  <a:lnTo>
                    <a:pt x="267" y="25"/>
                  </a:lnTo>
                  <a:lnTo>
                    <a:pt x="248" y="32"/>
                  </a:lnTo>
                  <a:lnTo>
                    <a:pt x="230" y="40"/>
                  </a:lnTo>
                  <a:lnTo>
                    <a:pt x="213" y="49"/>
                  </a:lnTo>
                  <a:lnTo>
                    <a:pt x="196" y="59"/>
                  </a:lnTo>
                  <a:lnTo>
                    <a:pt x="180" y="70"/>
                  </a:lnTo>
                  <a:lnTo>
                    <a:pt x="164" y="80"/>
                  </a:lnTo>
                  <a:lnTo>
                    <a:pt x="149" y="92"/>
                  </a:lnTo>
                  <a:lnTo>
                    <a:pt x="134" y="105"/>
                  </a:lnTo>
                  <a:lnTo>
                    <a:pt x="120" y="119"/>
                  </a:lnTo>
                  <a:lnTo>
                    <a:pt x="106" y="133"/>
                  </a:lnTo>
                  <a:lnTo>
                    <a:pt x="93" y="148"/>
                  </a:lnTo>
                  <a:lnTo>
                    <a:pt x="81" y="163"/>
                  </a:lnTo>
                  <a:lnTo>
                    <a:pt x="70" y="179"/>
                  </a:lnTo>
                  <a:lnTo>
                    <a:pt x="59" y="195"/>
                  </a:lnTo>
                  <a:lnTo>
                    <a:pt x="49" y="212"/>
                  </a:lnTo>
                  <a:lnTo>
                    <a:pt x="41" y="230"/>
                  </a:lnTo>
                  <a:lnTo>
                    <a:pt x="32" y="248"/>
                  </a:lnTo>
                  <a:lnTo>
                    <a:pt x="26" y="267"/>
                  </a:lnTo>
                  <a:lnTo>
                    <a:pt x="19" y="285"/>
                  </a:lnTo>
                  <a:lnTo>
                    <a:pt x="13" y="304"/>
                  </a:lnTo>
                  <a:lnTo>
                    <a:pt x="9" y="325"/>
                  </a:lnTo>
                  <a:lnTo>
                    <a:pt x="5" y="344"/>
                  </a:lnTo>
                  <a:lnTo>
                    <a:pt x="2" y="364"/>
                  </a:lnTo>
                  <a:lnTo>
                    <a:pt x="1" y="385"/>
                  </a:lnTo>
                  <a:lnTo>
                    <a:pt x="0" y="406"/>
                  </a:lnTo>
                  <a:lnTo>
                    <a:pt x="1" y="426"/>
                  </a:lnTo>
                  <a:lnTo>
                    <a:pt x="2" y="448"/>
                  </a:lnTo>
                  <a:lnTo>
                    <a:pt x="5" y="467"/>
                  </a:lnTo>
                  <a:lnTo>
                    <a:pt x="9" y="488"/>
                  </a:lnTo>
                  <a:lnTo>
                    <a:pt x="13" y="507"/>
                  </a:lnTo>
                  <a:lnTo>
                    <a:pt x="19" y="526"/>
                  </a:lnTo>
                  <a:lnTo>
                    <a:pt x="26" y="545"/>
                  </a:lnTo>
                  <a:lnTo>
                    <a:pt x="32" y="564"/>
                  </a:lnTo>
                  <a:lnTo>
                    <a:pt x="41" y="582"/>
                  </a:lnTo>
                  <a:lnTo>
                    <a:pt x="49" y="599"/>
                  </a:lnTo>
                  <a:lnTo>
                    <a:pt x="59" y="616"/>
                  </a:lnTo>
                  <a:lnTo>
                    <a:pt x="70" y="633"/>
                  </a:lnTo>
                  <a:lnTo>
                    <a:pt x="81" y="648"/>
                  </a:lnTo>
                  <a:lnTo>
                    <a:pt x="93" y="664"/>
                  </a:lnTo>
                  <a:lnTo>
                    <a:pt x="106" y="678"/>
                  </a:lnTo>
                  <a:lnTo>
                    <a:pt x="120" y="693"/>
                  </a:lnTo>
                  <a:lnTo>
                    <a:pt x="134" y="706"/>
                  </a:lnTo>
                  <a:lnTo>
                    <a:pt x="149" y="719"/>
                  </a:lnTo>
                  <a:lnTo>
                    <a:pt x="164" y="731"/>
                  </a:lnTo>
                  <a:lnTo>
                    <a:pt x="180" y="742"/>
                  </a:lnTo>
                  <a:lnTo>
                    <a:pt x="196" y="753"/>
                  </a:lnTo>
                  <a:lnTo>
                    <a:pt x="213" y="763"/>
                  </a:lnTo>
                  <a:lnTo>
                    <a:pt x="230" y="771"/>
                  </a:lnTo>
                  <a:lnTo>
                    <a:pt x="248" y="780"/>
                  </a:lnTo>
                  <a:lnTo>
                    <a:pt x="267" y="787"/>
                  </a:lnTo>
                  <a:lnTo>
                    <a:pt x="286" y="794"/>
                  </a:lnTo>
                  <a:lnTo>
                    <a:pt x="305" y="799"/>
                  </a:lnTo>
                  <a:lnTo>
                    <a:pt x="325" y="804"/>
                  </a:lnTo>
                  <a:lnTo>
                    <a:pt x="345" y="807"/>
                  </a:lnTo>
                  <a:lnTo>
                    <a:pt x="365" y="810"/>
                  </a:lnTo>
                  <a:lnTo>
                    <a:pt x="386" y="811"/>
                  </a:lnTo>
                  <a:lnTo>
                    <a:pt x="406" y="812"/>
                  </a:lnTo>
                  <a:lnTo>
                    <a:pt x="426" y="811"/>
                  </a:lnTo>
                  <a:lnTo>
                    <a:pt x="447" y="810"/>
                  </a:lnTo>
                  <a:lnTo>
                    <a:pt x="467" y="808"/>
                  </a:lnTo>
                  <a:lnTo>
                    <a:pt x="486" y="804"/>
                  </a:lnTo>
                  <a:lnTo>
                    <a:pt x="506" y="799"/>
                  </a:lnTo>
                  <a:lnTo>
                    <a:pt x="525" y="794"/>
                  </a:lnTo>
                  <a:lnTo>
                    <a:pt x="543" y="789"/>
                  </a:lnTo>
                  <a:lnTo>
                    <a:pt x="561" y="781"/>
                  </a:lnTo>
                  <a:lnTo>
                    <a:pt x="580" y="774"/>
                  </a:lnTo>
                  <a:lnTo>
                    <a:pt x="598" y="764"/>
                  </a:lnTo>
                  <a:lnTo>
                    <a:pt x="615" y="754"/>
                  </a:lnTo>
                  <a:lnTo>
                    <a:pt x="632" y="744"/>
                  </a:lnTo>
                  <a:lnTo>
                    <a:pt x="648" y="733"/>
                  </a:lnTo>
                  <a:lnTo>
                    <a:pt x="663" y="720"/>
                  </a:lnTo>
                  <a:lnTo>
                    <a:pt x="679" y="707"/>
                  </a:lnTo>
                  <a:lnTo>
                    <a:pt x="693" y="693"/>
                  </a:lnTo>
                  <a:lnTo>
                    <a:pt x="695" y="691"/>
                  </a:lnTo>
                  <a:lnTo>
                    <a:pt x="696" y="688"/>
                  </a:lnTo>
                  <a:lnTo>
                    <a:pt x="697" y="686"/>
                  </a:lnTo>
                  <a:lnTo>
                    <a:pt x="697" y="682"/>
                  </a:lnTo>
                  <a:lnTo>
                    <a:pt x="697" y="679"/>
                  </a:lnTo>
                  <a:lnTo>
                    <a:pt x="696" y="676"/>
                  </a:lnTo>
                  <a:lnTo>
                    <a:pt x="695" y="674"/>
                  </a:lnTo>
                  <a:lnTo>
                    <a:pt x="693" y="672"/>
                  </a:lnTo>
                  <a:lnTo>
                    <a:pt x="421" y="4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Light"/>
                <a:ea typeface="+mn-ea"/>
                <a:cs typeface="+mn-cs"/>
              </a:endParaRPr>
            </a:p>
          </p:txBody>
        </p:sp>
        <p:sp>
          <p:nvSpPr>
            <p:cNvPr id="43" name="Freeform 313"/>
            <p:cNvSpPr>
              <a:spLocks noEditPoints="1"/>
            </p:cNvSpPr>
            <p:nvPr/>
          </p:nvSpPr>
          <p:spPr bwMode="auto">
            <a:xfrm>
              <a:off x="10607675" y="4360863"/>
              <a:ext cx="133350" cy="96838"/>
            </a:xfrm>
            <a:custGeom>
              <a:avLst/>
              <a:gdLst>
                <a:gd name="T0" fmla="*/ 290 w 421"/>
                <a:gd name="T1" fmla="*/ 270 h 306"/>
                <a:gd name="T2" fmla="*/ 50 w 421"/>
                <a:gd name="T3" fmla="*/ 30 h 306"/>
                <a:gd name="T4" fmla="*/ 390 w 421"/>
                <a:gd name="T5" fmla="*/ 30 h 306"/>
                <a:gd name="T6" fmla="*/ 389 w 421"/>
                <a:gd name="T7" fmla="*/ 46 h 306"/>
                <a:gd name="T8" fmla="*/ 388 w 421"/>
                <a:gd name="T9" fmla="*/ 63 h 306"/>
                <a:gd name="T10" fmla="*/ 385 w 421"/>
                <a:gd name="T11" fmla="*/ 79 h 306"/>
                <a:gd name="T12" fmla="*/ 381 w 421"/>
                <a:gd name="T13" fmla="*/ 95 h 306"/>
                <a:gd name="T14" fmla="*/ 378 w 421"/>
                <a:gd name="T15" fmla="*/ 112 h 306"/>
                <a:gd name="T16" fmla="*/ 373 w 421"/>
                <a:gd name="T17" fmla="*/ 128 h 306"/>
                <a:gd name="T18" fmla="*/ 369 w 421"/>
                <a:gd name="T19" fmla="*/ 144 h 306"/>
                <a:gd name="T20" fmla="*/ 362 w 421"/>
                <a:gd name="T21" fmla="*/ 159 h 306"/>
                <a:gd name="T22" fmla="*/ 356 w 421"/>
                <a:gd name="T23" fmla="*/ 174 h 306"/>
                <a:gd name="T24" fmla="*/ 348 w 421"/>
                <a:gd name="T25" fmla="*/ 189 h 306"/>
                <a:gd name="T26" fmla="*/ 341 w 421"/>
                <a:gd name="T27" fmla="*/ 203 h 306"/>
                <a:gd name="T28" fmla="*/ 332 w 421"/>
                <a:gd name="T29" fmla="*/ 218 h 306"/>
                <a:gd name="T30" fmla="*/ 322 w 421"/>
                <a:gd name="T31" fmla="*/ 230 h 306"/>
                <a:gd name="T32" fmla="*/ 313 w 421"/>
                <a:gd name="T33" fmla="*/ 244 h 306"/>
                <a:gd name="T34" fmla="*/ 302 w 421"/>
                <a:gd name="T35" fmla="*/ 257 h 306"/>
                <a:gd name="T36" fmla="*/ 290 w 421"/>
                <a:gd name="T37" fmla="*/ 270 h 306"/>
                <a:gd name="T38" fmla="*/ 290 w 421"/>
                <a:gd name="T39" fmla="*/ 270 h 306"/>
                <a:gd name="T40" fmla="*/ 406 w 421"/>
                <a:gd name="T41" fmla="*/ 0 h 306"/>
                <a:gd name="T42" fmla="*/ 15 w 421"/>
                <a:gd name="T43" fmla="*/ 0 h 306"/>
                <a:gd name="T44" fmla="*/ 11 w 421"/>
                <a:gd name="T45" fmla="*/ 0 h 306"/>
                <a:gd name="T46" fmla="*/ 6 w 421"/>
                <a:gd name="T47" fmla="*/ 2 h 306"/>
                <a:gd name="T48" fmla="*/ 3 w 421"/>
                <a:gd name="T49" fmla="*/ 5 h 306"/>
                <a:gd name="T50" fmla="*/ 1 w 421"/>
                <a:gd name="T51" fmla="*/ 9 h 306"/>
                <a:gd name="T52" fmla="*/ 0 w 421"/>
                <a:gd name="T53" fmla="*/ 13 h 306"/>
                <a:gd name="T54" fmla="*/ 0 w 421"/>
                <a:gd name="T55" fmla="*/ 17 h 306"/>
                <a:gd name="T56" fmla="*/ 1 w 421"/>
                <a:gd name="T57" fmla="*/ 22 h 306"/>
                <a:gd name="T58" fmla="*/ 4 w 421"/>
                <a:gd name="T59" fmla="*/ 26 h 306"/>
                <a:gd name="T60" fmla="*/ 281 w 421"/>
                <a:gd name="T61" fmla="*/ 302 h 306"/>
                <a:gd name="T62" fmla="*/ 283 w 421"/>
                <a:gd name="T63" fmla="*/ 303 h 306"/>
                <a:gd name="T64" fmla="*/ 285 w 421"/>
                <a:gd name="T65" fmla="*/ 305 h 306"/>
                <a:gd name="T66" fmla="*/ 288 w 421"/>
                <a:gd name="T67" fmla="*/ 305 h 306"/>
                <a:gd name="T68" fmla="*/ 291 w 421"/>
                <a:gd name="T69" fmla="*/ 306 h 306"/>
                <a:gd name="T70" fmla="*/ 294 w 421"/>
                <a:gd name="T71" fmla="*/ 305 h 306"/>
                <a:gd name="T72" fmla="*/ 297 w 421"/>
                <a:gd name="T73" fmla="*/ 305 h 306"/>
                <a:gd name="T74" fmla="*/ 299 w 421"/>
                <a:gd name="T75" fmla="*/ 303 h 306"/>
                <a:gd name="T76" fmla="*/ 302 w 421"/>
                <a:gd name="T77" fmla="*/ 302 h 306"/>
                <a:gd name="T78" fmla="*/ 316 w 421"/>
                <a:gd name="T79" fmla="*/ 287 h 306"/>
                <a:gd name="T80" fmla="*/ 329 w 421"/>
                <a:gd name="T81" fmla="*/ 272 h 306"/>
                <a:gd name="T82" fmla="*/ 341 w 421"/>
                <a:gd name="T83" fmla="*/ 256 h 306"/>
                <a:gd name="T84" fmla="*/ 352 w 421"/>
                <a:gd name="T85" fmla="*/ 240 h 306"/>
                <a:gd name="T86" fmla="*/ 363 w 421"/>
                <a:gd name="T87" fmla="*/ 223 h 306"/>
                <a:gd name="T88" fmla="*/ 373 w 421"/>
                <a:gd name="T89" fmla="*/ 206 h 306"/>
                <a:gd name="T90" fmla="*/ 381 w 421"/>
                <a:gd name="T91" fmla="*/ 189 h 306"/>
                <a:gd name="T92" fmla="*/ 390 w 421"/>
                <a:gd name="T93" fmla="*/ 170 h 306"/>
                <a:gd name="T94" fmla="*/ 397 w 421"/>
                <a:gd name="T95" fmla="*/ 152 h 306"/>
                <a:gd name="T96" fmla="*/ 403 w 421"/>
                <a:gd name="T97" fmla="*/ 133 h 306"/>
                <a:gd name="T98" fmla="*/ 408 w 421"/>
                <a:gd name="T99" fmla="*/ 114 h 306"/>
                <a:gd name="T100" fmla="*/ 412 w 421"/>
                <a:gd name="T101" fmla="*/ 94 h 306"/>
                <a:gd name="T102" fmla="*/ 416 w 421"/>
                <a:gd name="T103" fmla="*/ 75 h 306"/>
                <a:gd name="T104" fmla="*/ 419 w 421"/>
                <a:gd name="T105" fmla="*/ 55 h 306"/>
                <a:gd name="T106" fmla="*/ 420 w 421"/>
                <a:gd name="T107" fmla="*/ 35 h 306"/>
                <a:gd name="T108" fmla="*/ 421 w 421"/>
                <a:gd name="T109" fmla="*/ 15 h 306"/>
                <a:gd name="T110" fmla="*/ 420 w 421"/>
                <a:gd name="T111" fmla="*/ 12 h 306"/>
                <a:gd name="T112" fmla="*/ 419 w 421"/>
                <a:gd name="T113" fmla="*/ 9 h 306"/>
                <a:gd name="T114" fmla="*/ 418 w 421"/>
                <a:gd name="T115" fmla="*/ 7 h 306"/>
                <a:gd name="T116" fmla="*/ 416 w 421"/>
                <a:gd name="T117" fmla="*/ 4 h 306"/>
                <a:gd name="T118" fmla="*/ 414 w 421"/>
                <a:gd name="T119" fmla="*/ 2 h 306"/>
                <a:gd name="T120" fmla="*/ 411 w 421"/>
                <a:gd name="T121" fmla="*/ 1 h 306"/>
                <a:gd name="T122" fmla="*/ 408 w 421"/>
                <a:gd name="T123" fmla="*/ 0 h 306"/>
                <a:gd name="T124" fmla="*/ 406 w 421"/>
                <a:gd name="T125" fmla="*/ 0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21" h="306">
                  <a:moveTo>
                    <a:pt x="290" y="270"/>
                  </a:moveTo>
                  <a:lnTo>
                    <a:pt x="50" y="30"/>
                  </a:lnTo>
                  <a:lnTo>
                    <a:pt x="390" y="30"/>
                  </a:lnTo>
                  <a:lnTo>
                    <a:pt x="389" y="46"/>
                  </a:lnTo>
                  <a:lnTo>
                    <a:pt x="388" y="63"/>
                  </a:lnTo>
                  <a:lnTo>
                    <a:pt x="385" y="79"/>
                  </a:lnTo>
                  <a:lnTo>
                    <a:pt x="381" y="95"/>
                  </a:lnTo>
                  <a:lnTo>
                    <a:pt x="378" y="112"/>
                  </a:lnTo>
                  <a:lnTo>
                    <a:pt x="373" y="128"/>
                  </a:lnTo>
                  <a:lnTo>
                    <a:pt x="369" y="144"/>
                  </a:lnTo>
                  <a:lnTo>
                    <a:pt x="362" y="159"/>
                  </a:lnTo>
                  <a:lnTo>
                    <a:pt x="356" y="174"/>
                  </a:lnTo>
                  <a:lnTo>
                    <a:pt x="348" y="189"/>
                  </a:lnTo>
                  <a:lnTo>
                    <a:pt x="341" y="203"/>
                  </a:lnTo>
                  <a:lnTo>
                    <a:pt x="332" y="218"/>
                  </a:lnTo>
                  <a:lnTo>
                    <a:pt x="322" y="230"/>
                  </a:lnTo>
                  <a:lnTo>
                    <a:pt x="313" y="244"/>
                  </a:lnTo>
                  <a:lnTo>
                    <a:pt x="302" y="257"/>
                  </a:lnTo>
                  <a:lnTo>
                    <a:pt x="290" y="270"/>
                  </a:lnTo>
                  <a:lnTo>
                    <a:pt x="290" y="270"/>
                  </a:lnTo>
                  <a:close/>
                  <a:moveTo>
                    <a:pt x="406" y="0"/>
                  </a:moveTo>
                  <a:lnTo>
                    <a:pt x="15" y="0"/>
                  </a:lnTo>
                  <a:lnTo>
                    <a:pt x="11" y="0"/>
                  </a:lnTo>
                  <a:lnTo>
                    <a:pt x="6" y="2"/>
                  </a:lnTo>
                  <a:lnTo>
                    <a:pt x="3" y="5"/>
                  </a:lnTo>
                  <a:lnTo>
                    <a:pt x="1" y="9"/>
                  </a:lnTo>
                  <a:lnTo>
                    <a:pt x="0" y="13"/>
                  </a:lnTo>
                  <a:lnTo>
                    <a:pt x="0" y="17"/>
                  </a:lnTo>
                  <a:lnTo>
                    <a:pt x="1" y="22"/>
                  </a:lnTo>
                  <a:lnTo>
                    <a:pt x="4" y="26"/>
                  </a:lnTo>
                  <a:lnTo>
                    <a:pt x="281" y="302"/>
                  </a:lnTo>
                  <a:lnTo>
                    <a:pt x="283" y="303"/>
                  </a:lnTo>
                  <a:lnTo>
                    <a:pt x="285" y="305"/>
                  </a:lnTo>
                  <a:lnTo>
                    <a:pt x="288" y="305"/>
                  </a:lnTo>
                  <a:lnTo>
                    <a:pt x="291" y="306"/>
                  </a:lnTo>
                  <a:lnTo>
                    <a:pt x="294" y="305"/>
                  </a:lnTo>
                  <a:lnTo>
                    <a:pt x="297" y="305"/>
                  </a:lnTo>
                  <a:lnTo>
                    <a:pt x="299" y="303"/>
                  </a:lnTo>
                  <a:lnTo>
                    <a:pt x="302" y="302"/>
                  </a:lnTo>
                  <a:lnTo>
                    <a:pt x="316" y="287"/>
                  </a:lnTo>
                  <a:lnTo>
                    <a:pt x="329" y="272"/>
                  </a:lnTo>
                  <a:lnTo>
                    <a:pt x="341" y="256"/>
                  </a:lnTo>
                  <a:lnTo>
                    <a:pt x="352" y="240"/>
                  </a:lnTo>
                  <a:lnTo>
                    <a:pt x="363" y="223"/>
                  </a:lnTo>
                  <a:lnTo>
                    <a:pt x="373" y="206"/>
                  </a:lnTo>
                  <a:lnTo>
                    <a:pt x="381" y="189"/>
                  </a:lnTo>
                  <a:lnTo>
                    <a:pt x="390" y="170"/>
                  </a:lnTo>
                  <a:lnTo>
                    <a:pt x="397" y="152"/>
                  </a:lnTo>
                  <a:lnTo>
                    <a:pt x="403" y="133"/>
                  </a:lnTo>
                  <a:lnTo>
                    <a:pt x="408" y="114"/>
                  </a:lnTo>
                  <a:lnTo>
                    <a:pt x="412" y="94"/>
                  </a:lnTo>
                  <a:lnTo>
                    <a:pt x="416" y="75"/>
                  </a:lnTo>
                  <a:lnTo>
                    <a:pt x="419" y="55"/>
                  </a:lnTo>
                  <a:lnTo>
                    <a:pt x="420" y="35"/>
                  </a:lnTo>
                  <a:lnTo>
                    <a:pt x="421" y="15"/>
                  </a:lnTo>
                  <a:lnTo>
                    <a:pt x="420" y="12"/>
                  </a:lnTo>
                  <a:lnTo>
                    <a:pt x="419" y="9"/>
                  </a:lnTo>
                  <a:lnTo>
                    <a:pt x="418" y="7"/>
                  </a:lnTo>
                  <a:lnTo>
                    <a:pt x="416" y="4"/>
                  </a:lnTo>
                  <a:lnTo>
                    <a:pt x="414" y="2"/>
                  </a:lnTo>
                  <a:lnTo>
                    <a:pt x="411" y="1"/>
                  </a:lnTo>
                  <a:lnTo>
                    <a:pt x="408" y="0"/>
                  </a:lnTo>
                  <a:lnTo>
                    <a:pt x="40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Light"/>
                <a:ea typeface="+mn-ea"/>
                <a:cs typeface="+mn-cs"/>
              </a:endParaRPr>
            </a:p>
          </p:txBody>
        </p:sp>
      </p:grpSp>
      <p:sp>
        <p:nvSpPr>
          <p:cNvPr id="44" name="TextBox 43"/>
          <p:cNvSpPr txBox="1"/>
          <p:nvPr/>
        </p:nvSpPr>
        <p:spPr>
          <a:xfrm>
            <a:off x="2061330" y="1394314"/>
            <a:ext cx="3052888" cy="461665"/>
          </a:xfrm>
          <a:prstGeom prst="rect">
            <a:avLst/>
          </a:prstGeom>
          <a:noFill/>
          <a:ln w="6350">
            <a:noFill/>
            <a:prstDash val="dash"/>
          </a:ln>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effectLst/>
                <a:uLnTx/>
                <a:uFillTx/>
                <a:ea typeface="+mn-ea"/>
                <a:cs typeface="+mn-cs"/>
              </a:rPr>
              <a:t>Lorem Ipsum is simply dummy text of the printing and typesetting industry. Lorem Ipsum has been the industry's standard dummy text ever since the 1500s.</a:t>
            </a:r>
          </a:p>
        </p:txBody>
      </p:sp>
      <p:sp>
        <p:nvSpPr>
          <p:cNvPr id="45" name="TextBox 44"/>
          <p:cNvSpPr txBox="1"/>
          <p:nvPr/>
        </p:nvSpPr>
        <p:spPr>
          <a:xfrm>
            <a:off x="2061330" y="2252250"/>
            <a:ext cx="3052888" cy="461665"/>
          </a:xfrm>
          <a:prstGeom prst="rect">
            <a:avLst/>
          </a:prstGeom>
          <a:noFill/>
          <a:ln w="6350">
            <a:noFill/>
            <a:prstDash val="dash"/>
          </a:ln>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effectLst/>
                <a:uLnTx/>
                <a:uFillTx/>
                <a:ea typeface="+mn-ea"/>
                <a:cs typeface="+mn-cs"/>
              </a:rPr>
              <a:t>Lorem Ipsum is simply dummy text of the printing and typesetting industry. Lorem Ipsum has been the industry's standard dummy text ever since the 1500s.</a:t>
            </a:r>
          </a:p>
        </p:txBody>
      </p:sp>
      <p:sp>
        <p:nvSpPr>
          <p:cNvPr id="46" name="TextBox 45"/>
          <p:cNvSpPr txBox="1"/>
          <p:nvPr/>
        </p:nvSpPr>
        <p:spPr>
          <a:xfrm>
            <a:off x="2061330" y="2961817"/>
            <a:ext cx="534112" cy="493100"/>
          </a:xfrm>
          <a:prstGeom prst="rect">
            <a:avLst/>
          </a:prstGeom>
          <a:noFill/>
          <a:ln w="6350">
            <a:noFill/>
            <a:prstDash val="dash"/>
          </a:ln>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dirty="0">
                <a:ln>
                  <a:noFill/>
                </a:ln>
                <a:solidFill>
                  <a:srgbClr val="3B3939"/>
                </a:solidFill>
                <a:effectLst/>
                <a:uLnTx/>
                <a:uFillTx/>
                <a:ea typeface="+mn-ea"/>
                <a:cs typeface="+mn-cs"/>
              </a:rPr>
              <a:t>03</a:t>
            </a:r>
          </a:p>
        </p:txBody>
      </p:sp>
      <p:sp>
        <p:nvSpPr>
          <p:cNvPr id="47" name="TextBox 46"/>
          <p:cNvSpPr txBox="1"/>
          <p:nvPr/>
        </p:nvSpPr>
        <p:spPr>
          <a:xfrm>
            <a:off x="2061330" y="3110187"/>
            <a:ext cx="3052888" cy="461665"/>
          </a:xfrm>
          <a:prstGeom prst="rect">
            <a:avLst/>
          </a:prstGeom>
          <a:noFill/>
          <a:ln w="6350">
            <a:noFill/>
            <a:prstDash val="dash"/>
          </a:ln>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effectLst/>
                <a:uLnTx/>
                <a:uFillTx/>
                <a:ea typeface="+mn-ea"/>
                <a:cs typeface="+mn-cs"/>
              </a:rPr>
              <a:t>Lorem Ipsum is simply dummy text of the printing and typesetting industry. Lorem Ipsum has been the industry's standard dummy text ever since the 1500s.</a:t>
            </a:r>
          </a:p>
        </p:txBody>
      </p:sp>
      <p:sp>
        <p:nvSpPr>
          <p:cNvPr id="48" name="TextBox 47"/>
          <p:cNvSpPr txBox="1"/>
          <p:nvPr/>
        </p:nvSpPr>
        <p:spPr>
          <a:xfrm>
            <a:off x="2061330" y="3819753"/>
            <a:ext cx="534112" cy="493100"/>
          </a:xfrm>
          <a:prstGeom prst="rect">
            <a:avLst/>
          </a:prstGeom>
          <a:noFill/>
          <a:ln w="6350">
            <a:noFill/>
            <a:prstDash val="dash"/>
          </a:ln>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dirty="0">
                <a:ln>
                  <a:noFill/>
                </a:ln>
                <a:solidFill>
                  <a:srgbClr val="26A6C1"/>
                </a:solidFill>
                <a:effectLst/>
                <a:uLnTx/>
                <a:uFillTx/>
                <a:ea typeface="+mn-ea"/>
                <a:cs typeface="+mn-cs"/>
              </a:rPr>
              <a:t>04</a:t>
            </a:r>
          </a:p>
        </p:txBody>
      </p:sp>
      <p:sp>
        <p:nvSpPr>
          <p:cNvPr id="49" name="TextBox 48"/>
          <p:cNvSpPr txBox="1"/>
          <p:nvPr/>
        </p:nvSpPr>
        <p:spPr>
          <a:xfrm>
            <a:off x="2061330" y="3968123"/>
            <a:ext cx="3052888" cy="461665"/>
          </a:xfrm>
          <a:prstGeom prst="rect">
            <a:avLst/>
          </a:prstGeom>
          <a:noFill/>
          <a:ln w="6350">
            <a:noFill/>
            <a:prstDash val="dash"/>
          </a:ln>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effectLst/>
                <a:uLnTx/>
                <a:uFillTx/>
                <a:ea typeface="+mn-ea"/>
                <a:cs typeface="+mn-cs"/>
              </a:rPr>
              <a:t>Lorem Ipsum is simply dummy text of the printing and typesetting industry. Lorem Ipsum has been the industry's standard dummy text ever since the 1500s.</a:t>
            </a:r>
          </a:p>
        </p:txBody>
      </p:sp>
      <p:sp>
        <p:nvSpPr>
          <p:cNvPr id="50" name="Rectangle 49"/>
          <p:cNvSpPr/>
          <p:nvPr/>
        </p:nvSpPr>
        <p:spPr>
          <a:xfrm>
            <a:off x="2061330" y="4802787"/>
            <a:ext cx="1544432" cy="1423773"/>
          </a:xfrm>
          <a:prstGeom prst="rect">
            <a:avLst/>
          </a:prstGeom>
          <a:solidFill>
            <a:srgbClr val="AFABA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Light"/>
              <a:ea typeface="+mn-ea"/>
              <a:cs typeface="+mn-cs"/>
            </a:endParaRPr>
          </a:p>
        </p:txBody>
      </p:sp>
      <p:sp>
        <p:nvSpPr>
          <p:cNvPr id="51" name="Rectangle 50"/>
          <p:cNvSpPr/>
          <p:nvPr/>
        </p:nvSpPr>
        <p:spPr>
          <a:xfrm>
            <a:off x="3658863" y="4802787"/>
            <a:ext cx="1544432" cy="1423773"/>
          </a:xfrm>
          <a:prstGeom prst="rect">
            <a:avLst/>
          </a:prstGeom>
          <a:solidFill>
            <a:srgbClr val="3B393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Light"/>
              <a:ea typeface="+mn-ea"/>
              <a:cs typeface="+mn-cs"/>
            </a:endParaRPr>
          </a:p>
        </p:txBody>
      </p:sp>
      <p:grpSp>
        <p:nvGrpSpPr>
          <p:cNvPr id="52" name="Group 51"/>
          <p:cNvGrpSpPr/>
          <p:nvPr/>
        </p:nvGrpSpPr>
        <p:grpSpPr>
          <a:xfrm>
            <a:off x="2601482" y="4970852"/>
            <a:ext cx="464129" cy="466708"/>
            <a:chOff x="10455275" y="2498725"/>
            <a:chExt cx="285750" cy="287338"/>
          </a:xfrm>
          <a:solidFill>
            <a:schemeClr val="bg1"/>
          </a:solidFill>
        </p:grpSpPr>
        <p:sp>
          <p:nvSpPr>
            <p:cNvPr id="53" name="Freeform 214"/>
            <p:cNvSpPr>
              <a:spLocks noEditPoints="1"/>
            </p:cNvSpPr>
            <p:nvPr/>
          </p:nvSpPr>
          <p:spPr bwMode="auto">
            <a:xfrm>
              <a:off x="10455275" y="2593975"/>
              <a:ext cx="285750" cy="192088"/>
            </a:xfrm>
            <a:custGeom>
              <a:avLst/>
              <a:gdLst>
                <a:gd name="T0" fmla="*/ 812 w 903"/>
                <a:gd name="T1" fmla="*/ 30 h 601"/>
                <a:gd name="T2" fmla="*/ 512 w 903"/>
                <a:gd name="T3" fmla="*/ 571 h 601"/>
                <a:gd name="T4" fmla="*/ 602 w 903"/>
                <a:gd name="T5" fmla="*/ 571 h 601"/>
                <a:gd name="T6" fmla="*/ 301 w 903"/>
                <a:gd name="T7" fmla="*/ 210 h 601"/>
                <a:gd name="T8" fmla="*/ 301 w 903"/>
                <a:gd name="T9" fmla="*/ 571 h 601"/>
                <a:gd name="T10" fmla="*/ 181 w 903"/>
                <a:gd name="T11" fmla="*/ 421 h 601"/>
                <a:gd name="T12" fmla="*/ 888 w 903"/>
                <a:gd name="T13" fmla="*/ 571 h 601"/>
                <a:gd name="T14" fmla="*/ 842 w 903"/>
                <a:gd name="T15" fmla="*/ 12 h 601"/>
                <a:gd name="T16" fmla="*/ 838 w 903"/>
                <a:gd name="T17" fmla="*/ 5 h 601"/>
                <a:gd name="T18" fmla="*/ 830 w 903"/>
                <a:gd name="T19" fmla="*/ 0 h 601"/>
                <a:gd name="T20" fmla="*/ 704 w 903"/>
                <a:gd name="T21" fmla="*/ 0 h 601"/>
                <a:gd name="T22" fmla="*/ 696 w 903"/>
                <a:gd name="T23" fmla="*/ 5 h 601"/>
                <a:gd name="T24" fmla="*/ 692 w 903"/>
                <a:gd name="T25" fmla="*/ 12 h 601"/>
                <a:gd name="T26" fmla="*/ 632 w 903"/>
                <a:gd name="T27" fmla="*/ 571 h 601"/>
                <a:gd name="T28" fmla="*/ 631 w 903"/>
                <a:gd name="T29" fmla="*/ 280 h 601"/>
                <a:gd name="T30" fmla="*/ 626 w 903"/>
                <a:gd name="T31" fmla="*/ 274 h 601"/>
                <a:gd name="T32" fmla="*/ 617 w 903"/>
                <a:gd name="T33" fmla="*/ 270 h 601"/>
                <a:gd name="T34" fmla="*/ 491 w 903"/>
                <a:gd name="T35" fmla="*/ 271 h 601"/>
                <a:gd name="T36" fmla="*/ 484 w 903"/>
                <a:gd name="T37" fmla="*/ 278 h 601"/>
                <a:gd name="T38" fmla="*/ 482 w 903"/>
                <a:gd name="T39" fmla="*/ 285 h 601"/>
                <a:gd name="T40" fmla="*/ 421 w 903"/>
                <a:gd name="T41" fmla="*/ 195 h 601"/>
                <a:gd name="T42" fmla="*/ 419 w 903"/>
                <a:gd name="T43" fmla="*/ 187 h 601"/>
                <a:gd name="T44" fmla="*/ 412 w 903"/>
                <a:gd name="T45" fmla="*/ 181 h 601"/>
                <a:gd name="T46" fmla="*/ 286 w 903"/>
                <a:gd name="T47" fmla="*/ 180 h 601"/>
                <a:gd name="T48" fmla="*/ 277 w 903"/>
                <a:gd name="T49" fmla="*/ 184 h 601"/>
                <a:gd name="T50" fmla="*/ 272 w 903"/>
                <a:gd name="T51" fmla="*/ 190 h 601"/>
                <a:gd name="T52" fmla="*/ 271 w 903"/>
                <a:gd name="T53" fmla="*/ 571 h 601"/>
                <a:gd name="T54" fmla="*/ 211 w 903"/>
                <a:gd name="T55" fmla="*/ 403 h 601"/>
                <a:gd name="T56" fmla="*/ 207 w 903"/>
                <a:gd name="T57" fmla="*/ 396 h 601"/>
                <a:gd name="T58" fmla="*/ 199 w 903"/>
                <a:gd name="T59" fmla="*/ 391 h 601"/>
                <a:gd name="T60" fmla="*/ 73 w 903"/>
                <a:gd name="T61" fmla="*/ 391 h 601"/>
                <a:gd name="T62" fmla="*/ 65 w 903"/>
                <a:gd name="T63" fmla="*/ 396 h 601"/>
                <a:gd name="T64" fmla="*/ 61 w 903"/>
                <a:gd name="T65" fmla="*/ 403 h 601"/>
                <a:gd name="T66" fmla="*/ 16 w 903"/>
                <a:gd name="T67" fmla="*/ 571 h 601"/>
                <a:gd name="T68" fmla="*/ 7 w 903"/>
                <a:gd name="T69" fmla="*/ 573 h 601"/>
                <a:gd name="T70" fmla="*/ 2 w 903"/>
                <a:gd name="T71" fmla="*/ 581 h 601"/>
                <a:gd name="T72" fmla="*/ 1 w 903"/>
                <a:gd name="T73" fmla="*/ 590 h 601"/>
                <a:gd name="T74" fmla="*/ 5 w 903"/>
                <a:gd name="T75" fmla="*/ 597 h 601"/>
                <a:gd name="T76" fmla="*/ 13 w 903"/>
                <a:gd name="T77" fmla="*/ 601 h 601"/>
                <a:gd name="T78" fmla="*/ 196 w 903"/>
                <a:gd name="T79" fmla="*/ 601 h 601"/>
                <a:gd name="T80" fmla="*/ 497 w 903"/>
                <a:gd name="T81" fmla="*/ 601 h 601"/>
                <a:gd name="T82" fmla="*/ 827 w 903"/>
                <a:gd name="T83" fmla="*/ 601 h 601"/>
                <a:gd name="T84" fmla="*/ 893 w 903"/>
                <a:gd name="T85" fmla="*/ 600 h 601"/>
                <a:gd name="T86" fmla="*/ 900 w 903"/>
                <a:gd name="T87" fmla="*/ 595 h 601"/>
                <a:gd name="T88" fmla="*/ 903 w 903"/>
                <a:gd name="T89" fmla="*/ 586 h 601"/>
                <a:gd name="T90" fmla="*/ 900 w 903"/>
                <a:gd name="T91" fmla="*/ 578 h 601"/>
                <a:gd name="T92" fmla="*/ 893 w 903"/>
                <a:gd name="T93" fmla="*/ 572 h 6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903" h="601">
                  <a:moveTo>
                    <a:pt x="722" y="571"/>
                  </a:moveTo>
                  <a:lnTo>
                    <a:pt x="722" y="30"/>
                  </a:lnTo>
                  <a:lnTo>
                    <a:pt x="812" y="30"/>
                  </a:lnTo>
                  <a:lnTo>
                    <a:pt x="812" y="571"/>
                  </a:lnTo>
                  <a:lnTo>
                    <a:pt x="722" y="571"/>
                  </a:lnTo>
                  <a:close/>
                  <a:moveTo>
                    <a:pt x="512" y="571"/>
                  </a:moveTo>
                  <a:lnTo>
                    <a:pt x="512" y="300"/>
                  </a:lnTo>
                  <a:lnTo>
                    <a:pt x="602" y="300"/>
                  </a:lnTo>
                  <a:lnTo>
                    <a:pt x="602" y="571"/>
                  </a:lnTo>
                  <a:lnTo>
                    <a:pt x="512" y="571"/>
                  </a:lnTo>
                  <a:close/>
                  <a:moveTo>
                    <a:pt x="301" y="571"/>
                  </a:moveTo>
                  <a:lnTo>
                    <a:pt x="301" y="210"/>
                  </a:lnTo>
                  <a:lnTo>
                    <a:pt x="391" y="210"/>
                  </a:lnTo>
                  <a:lnTo>
                    <a:pt x="391" y="571"/>
                  </a:lnTo>
                  <a:lnTo>
                    <a:pt x="301" y="571"/>
                  </a:lnTo>
                  <a:close/>
                  <a:moveTo>
                    <a:pt x="91" y="571"/>
                  </a:moveTo>
                  <a:lnTo>
                    <a:pt x="91" y="421"/>
                  </a:lnTo>
                  <a:lnTo>
                    <a:pt x="181" y="421"/>
                  </a:lnTo>
                  <a:lnTo>
                    <a:pt x="181" y="571"/>
                  </a:lnTo>
                  <a:lnTo>
                    <a:pt x="91" y="571"/>
                  </a:lnTo>
                  <a:close/>
                  <a:moveTo>
                    <a:pt x="888" y="571"/>
                  </a:moveTo>
                  <a:lnTo>
                    <a:pt x="842" y="571"/>
                  </a:lnTo>
                  <a:lnTo>
                    <a:pt x="842" y="15"/>
                  </a:lnTo>
                  <a:lnTo>
                    <a:pt x="842" y="12"/>
                  </a:lnTo>
                  <a:lnTo>
                    <a:pt x="841" y="9"/>
                  </a:lnTo>
                  <a:lnTo>
                    <a:pt x="840" y="7"/>
                  </a:lnTo>
                  <a:lnTo>
                    <a:pt x="838" y="5"/>
                  </a:lnTo>
                  <a:lnTo>
                    <a:pt x="836" y="3"/>
                  </a:lnTo>
                  <a:lnTo>
                    <a:pt x="833" y="1"/>
                  </a:lnTo>
                  <a:lnTo>
                    <a:pt x="830" y="0"/>
                  </a:lnTo>
                  <a:lnTo>
                    <a:pt x="827" y="0"/>
                  </a:lnTo>
                  <a:lnTo>
                    <a:pt x="707" y="0"/>
                  </a:lnTo>
                  <a:lnTo>
                    <a:pt x="704" y="0"/>
                  </a:lnTo>
                  <a:lnTo>
                    <a:pt x="702" y="1"/>
                  </a:lnTo>
                  <a:lnTo>
                    <a:pt x="698" y="3"/>
                  </a:lnTo>
                  <a:lnTo>
                    <a:pt x="696" y="5"/>
                  </a:lnTo>
                  <a:lnTo>
                    <a:pt x="694" y="7"/>
                  </a:lnTo>
                  <a:lnTo>
                    <a:pt x="693" y="9"/>
                  </a:lnTo>
                  <a:lnTo>
                    <a:pt x="692" y="12"/>
                  </a:lnTo>
                  <a:lnTo>
                    <a:pt x="692" y="15"/>
                  </a:lnTo>
                  <a:lnTo>
                    <a:pt x="692" y="571"/>
                  </a:lnTo>
                  <a:lnTo>
                    <a:pt x="632" y="571"/>
                  </a:lnTo>
                  <a:lnTo>
                    <a:pt x="632" y="285"/>
                  </a:lnTo>
                  <a:lnTo>
                    <a:pt x="632" y="283"/>
                  </a:lnTo>
                  <a:lnTo>
                    <a:pt x="631" y="280"/>
                  </a:lnTo>
                  <a:lnTo>
                    <a:pt x="630" y="278"/>
                  </a:lnTo>
                  <a:lnTo>
                    <a:pt x="628" y="275"/>
                  </a:lnTo>
                  <a:lnTo>
                    <a:pt x="626" y="274"/>
                  </a:lnTo>
                  <a:lnTo>
                    <a:pt x="622" y="271"/>
                  </a:lnTo>
                  <a:lnTo>
                    <a:pt x="620" y="271"/>
                  </a:lnTo>
                  <a:lnTo>
                    <a:pt x="617" y="270"/>
                  </a:lnTo>
                  <a:lnTo>
                    <a:pt x="497" y="270"/>
                  </a:lnTo>
                  <a:lnTo>
                    <a:pt x="494" y="271"/>
                  </a:lnTo>
                  <a:lnTo>
                    <a:pt x="491" y="271"/>
                  </a:lnTo>
                  <a:lnTo>
                    <a:pt x="488" y="274"/>
                  </a:lnTo>
                  <a:lnTo>
                    <a:pt x="486" y="275"/>
                  </a:lnTo>
                  <a:lnTo>
                    <a:pt x="484" y="278"/>
                  </a:lnTo>
                  <a:lnTo>
                    <a:pt x="483" y="280"/>
                  </a:lnTo>
                  <a:lnTo>
                    <a:pt x="482" y="283"/>
                  </a:lnTo>
                  <a:lnTo>
                    <a:pt x="482" y="285"/>
                  </a:lnTo>
                  <a:lnTo>
                    <a:pt x="482" y="571"/>
                  </a:lnTo>
                  <a:lnTo>
                    <a:pt x="421" y="571"/>
                  </a:lnTo>
                  <a:lnTo>
                    <a:pt x="421" y="195"/>
                  </a:lnTo>
                  <a:lnTo>
                    <a:pt x="421" y="192"/>
                  </a:lnTo>
                  <a:lnTo>
                    <a:pt x="420" y="190"/>
                  </a:lnTo>
                  <a:lnTo>
                    <a:pt x="419" y="187"/>
                  </a:lnTo>
                  <a:lnTo>
                    <a:pt x="417" y="185"/>
                  </a:lnTo>
                  <a:lnTo>
                    <a:pt x="415" y="184"/>
                  </a:lnTo>
                  <a:lnTo>
                    <a:pt x="412" y="181"/>
                  </a:lnTo>
                  <a:lnTo>
                    <a:pt x="409" y="180"/>
                  </a:lnTo>
                  <a:lnTo>
                    <a:pt x="406" y="180"/>
                  </a:lnTo>
                  <a:lnTo>
                    <a:pt x="286" y="180"/>
                  </a:lnTo>
                  <a:lnTo>
                    <a:pt x="283" y="180"/>
                  </a:lnTo>
                  <a:lnTo>
                    <a:pt x="281" y="181"/>
                  </a:lnTo>
                  <a:lnTo>
                    <a:pt x="277" y="184"/>
                  </a:lnTo>
                  <a:lnTo>
                    <a:pt x="275" y="185"/>
                  </a:lnTo>
                  <a:lnTo>
                    <a:pt x="274" y="187"/>
                  </a:lnTo>
                  <a:lnTo>
                    <a:pt x="272" y="190"/>
                  </a:lnTo>
                  <a:lnTo>
                    <a:pt x="271" y="192"/>
                  </a:lnTo>
                  <a:lnTo>
                    <a:pt x="271" y="195"/>
                  </a:lnTo>
                  <a:lnTo>
                    <a:pt x="271" y="571"/>
                  </a:lnTo>
                  <a:lnTo>
                    <a:pt x="211" y="571"/>
                  </a:lnTo>
                  <a:lnTo>
                    <a:pt x="211" y="406"/>
                  </a:lnTo>
                  <a:lnTo>
                    <a:pt x="211" y="403"/>
                  </a:lnTo>
                  <a:lnTo>
                    <a:pt x="210" y="400"/>
                  </a:lnTo>
                  <a:lnTo>
                    <a:pt x="209" y="398"/>
                  </a:lnTo>
                  <a:lnTo>
                    <a:pt x="207" y="396"/>
                  </a:lnTo>
                  <a:lnTo>
                    <a:pt x="205" y="394"/>
                  </a:lnTo>
                  <a:lnTo>
                    <a:pt x="201" y="392"/>
                  </a:lnTo>
                  <a:lnTo>
                    <a:pt x="199" y="391"/>
                  </a:lnTo>
                  <a:lnTo>
                    <a:pt x="196" y="391"/>
                  </a:lnTo>
                  <a:lnTo>
                    <a:pt x="76" y="391"/>
                  </a:lnTo>
                  <a:lnTo>
                    <a:pt x="73" y="391"/>
                  </a:lnTo>
                  <a:lnTo>
                    <a:pt x="70" y="392"/>
                  </a:lnTo>
                  <a:lnTo>
                    <a:pt x="67" y="394"/>
                  </a:lnTo>
                  <a:lnTo>
                    <a:pt x="65" y="396"/>
                  </a:lnTo>
                  <a:lnTo>
                    <a:pt x="63" y="398"/>
                  </a:lnTo>
                  <a:lnTo>
                    <a:pt x="62" y="400"/>
                  </a:lnTo>
                  <a:lnTo>
                    <a:pt x="61" y="403"/>
                  </a:lnTo>
                  <a:lnTo>
                    <a:pt x="61" y="406"/>
                  </a:lnTo>
                  <a:lnTo>
                    <a:pt x="61" y="571"/>
                  </a:lnTo>
                  <a:lnTo>
                    <a:pt x="16" y="571"/>
                  </a:lnTo>
                  <a:lnTo>
                    <a:pt x="13" y="571"/>
                  </a:lnTo>
                  <a:lnTo>
                    <a:pt x="10" y="572"/>
                  </a:lnTo>
                  <a:lnTo>
                    <a:pt x="7" y="573"/>
                  </a:lnTo>
                  <a:lnTo>
                    <a:pt x="5" y="576"/>
                  </a:lnTo>
                  <a:lnTo>
                    <a:pt x="3" y="578"/>
                  </a:lnTo>
                  <a:lnTo>
                    <a:pt x="2" y="581"/>
                  </a:lnTo>
                  <a:lnTo>
                    <a:pt x="1" y="583"/>
                  </a:lnTo>
                  <a:lnTo>
                    <a:pt x="0" y="586"/>
                  </a:lnTo>
                  <a:lnTo>
                    <a:pt x="1" y="590"/>
                  </a:lnTo>
                  <a:lnTo>
                    <a:pt x="2" y="593"/>
                  </a:lnTo>
                  <a:lnTo>
                    <a:pt x="3" y="595"/>
                  </a:lnTo>
                  <a:lnTo>
                    <a:pt x="5" y="597"/>
                  </a:lnTo>
                  <a:lnTo>
                    <a:pt x="7" y="599"/>
                  </a:lnTo>
                  <a:lnTo>
                    <a:pt x="10" y="600"/>
                  </a:lnTo>
                  <a:lnTo>
                    <a:pt x="13" y="601"/>
                  </a:lnTo>
                  <a:lnTo>
                    <a:pt x="16" y="601"/>
                  </a:lnTo>
                  <a:lnTo>
                    <a:pt x="76" y="601"/>
                  </a:lnTo>
                  <a:lnTo>
                    <a:pt x="196" y="601"/>
                  </a:lnTo>
                  <a:lnTo>
                    <a:pt x="286" y="601"/>
                  </a:lnTo>
                  <a:lnTo>
                    <a:pt x="406" y="601"/>
                  </a:lnTo>
                  <a:lnTo>
                    <a:pt x="497" y="601"/>
                  </a:lnTo>
                  <a:lnTo>
                    <a:pt x="617" y="601"/>
                  </a:lnTo>
                  <a:lnTo>
                    <a:pt x="707" y="601"/>
                  </a:lnTo>
                  <a:lnTo>
                    <a:pt x="827" y="601"/>
                  </a:lnTo>
                  <a:lnTo>
                    <a:pt x="888" y="601"/>
                  </a:lnTo>
                  <a:lnTo>
                    <a:pt x="890" y="601"/>
                  </a:lnTo>
                  <a:lnTo>
                    <a:pt x="893" y="600"/>
                  </a:lnTo>
                  <a:lnTo>
                    <a:pt x="896" y="599"/>
                  </a:lnTo>
                  <a:lnTo>
                    <a:pt x="898" y="597"/>
                  </a:lnTo>
                  <a:lnTo>
                    <a:pt x="900" y="595"/>
                  </a:lnTo>
                  <a:lnTo>
                    <a:pt x="901" y="593"/>
                  </a:lnTo>
                  <a:lnTo>
                    <a:pt x="902" y="590"/>
                  </a:lnTo>
                  <a:lnTo>
                    <a:pt x="903" y="586"/>
                  </a:lnTo>
                  <a:lnTo>
                    <a:pt x="902" y="583"/>
                  </a:lnTo>
                  <a:lnTo>
                    <a:pt x="901" y="581"/>
                  </a:lnTo>
                  <a:lnTo>
                    <a:pt x="900" y="578"/>
                  </a:lnTo>
                  <a:lnTo>
                    <a:pt x="898" y="576"/>
                  </a:lnTo>
                  <a:lnTo>
                    <a:pt x="896" y="573"/>
                  </a:lnTo>
                  <a:lnTo>
                    <a:pt x="893" y="572"/>
                  </a:lnTo>
                  <a:lnTo>
                    <a:pt x="890" y="571"/>
                  </a:lnTo>
                  <a:lnTo>
                    <a:pt x="888" y="5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Light"/>
                <a:ea typeface="+mn-ea"/>
                <a:cs typeface="+mn-cs"/>
              </a:endParaRPr>
            </a:p>
          </p:txBody>
        </p:sp>
        <p:sp>
          <p:nvSpPr>
            <p:cNvPr id="54" name="Freeform 215"/>
            <p:cNvSpPr>
              <a:spLocks noEditPoints="1"/>
            </p:cNvSpPr>
            <p:nvPr/>
          </p:nvSpPr>
          <p:spPr bwMode="auto">
            <a:xfrm>
              <a:off x="10474325" y="2498725"/>
              <a:ext cx="252413" cy="157163"/>
            </a:xfrm>
            <a:custGeom>
              <a:avLst/>
              <a:gdLst>
                <a:gd name="T0" fmla="*/ 83 w 796"/>
                <a:gd name="T1" fmla="*/ 417 h 496"/>
                <a:gd name="T2" fmla="*/ 89 w 796"/>
                <a:gd name="T3" fmla="*/ 431 h 496"/>
                <a:gd name="T4" fmla="*/ 76 w 796"/>
                <a:gd name="T5" fmla="*/ 461 h 496"/>
                <a:gd name="T6" fmla="*/ 43 w 796"/>
                <a:gd name="T7" fmla="*/ 461 h 496"/>
                <a:gd name="T8" fmla="*/ 30 w 796"/>
                <a:gd name="T9" fmla="*/ 430 h 496"/>
                <a:gd name="T10" fmla="*/ 54 w 796"/>
                <a:gd name="T11" fmla="*/ 407 h 496"/>
                <a:gd name="T12" fmla="*/ 302 w 796"/>
                <a:gd name="T13" fmla="*/ 216 h 496"/>
                <a:gd name="T14" fmla="*/ 315 w 796"/>
                <a:gd name="T15" fmla="*/ 247 h 496"/>
                <a:gd name="T16" fmla="*/ 291 w 796"/>
                <a:gd name="T17" fmla="*/ 270 h 496"/>
                <a:gd name="T18" fmla="*/ 260 w 796"/>
                <a:gd name="T19" fmla="*/ 257 h 496"/>
                <a:gd name="T20" fmla="*/ 260 w 796"/>
                <a:gd name="T21" fmla="*/ 224 h 496"/>
                <a:gd name="T22" fmla="*/ 511 w 796"/>
                <a:gd name="T23" fmla="*/ 301 h 496"/>
                <a:gd name="T24" fmla="*/ 530 w 796"/>
                <a:gd name="T25" fmla="*/ 308 h 496"/>
                <a:gd name="T26" fmla="*/ 541 w 796"/>
                <a:gd name="T27" fmla="*/ 331 h 496"/>
                <a:gd name="T28" fmla="*/ 523 w 796"/>
                <a:gd name="T29" fmla="*/ 359 h 496"/>
                <a:gd name="T30" fmla="*/ 490 w 796"/>
                <a:gd name="T31" fmla="*/ 353 h 496"/>
                <a:gd name="T32" fmla="*/ 483 w 796"/>
                <a:gd name="T33" fmla="*/ 320 h 496"/>
                <a:gd name="T34" fmla="*/ 511 w 796"/>
                <a:gd name="T35" fmla="*/ 301 h 496"/>
                <a:gd name="T36" fmla="*/ 757 w 796"/>
                <a:gd name="T37" fmla="*/ 39 h 496"/>
                <a:gd name="T38" fmla="*/ 764 w 796"/>
                <a:gd name="T39" fmla="*/ 72 h 496"/>
                <a:gd name="T40" fmla="*/ 736 w 796"/>
                <a:gd name="T41" fmla="*/ 90 h 496"/>
                <a:gd name="T42" fmla="*/ 708 w 796"/>
                <a:gd name="T43" fmla="*/ 72 h 496"/>
                <a:gd name="T44" fmla="*/ 716 w 796"/>
                <a:gd name="T45" fmla="*/ 39 h 496"/>
                <a:gd name="T46" fmla="*/ 60 w 796"/>
                <a:gd name="T47" fmla="*/ 496 h 496"/>
                <a:gd name="T48" fmla="*/ 93 w 796"/>
                <a:gd name="T49" fmla="*/ 487 h 496"/>
                <a:gd name="T50" fmla="*/ 115 w 796"/>
                <a:gd name="T51" fmla="*/ 460 h 496"/>
                <a:gd name="T52" fmla="*/ 118 w 796"/>
                <a:gd name="T53" fmla="*/ 422 h 496"/>
                <a:gd name="T54" fmla="*/ 276 w 796"/>
                <a:gd name="T55" fmla="*/ 300 h 496"/>
                <a:gd name="T56" fmla="*/ 318 w 796"/>
                <a:gd name="T57" fmla="*/ 291 h 496"/>
                <a:gd name="T58" fmla="*/ 451 w 796"/>
                <a:gd name="T59" fmla="*/ 331 h 496"/>
                <a:gd name="T60" fmla="*/ 461 w 796"/>
                <a:gd name="T61" fmla="*/ 365 h 496"/>
                <a:gd name="T62" fmla="*/ 487 w 796"/>
                <a:gd name="T63" fmla="*/ 387 h 496"/>
                <a:gd name="T64" fmla="*/ 523 w 796"/>
                <a:gd name="T65" fmla="*/ 390 h 496"/>
                <a:gd name="T66" fmla="*/ 554 w 796"/>
                <a:gd name="T67" fmla="*/ 373 h 496"/>
                <a:gd name="T68" fmla="*/ 570 w 796"/>
                <a:gd name="T69" fmla="*/ 343 h 496"/>
                <a:gd name="T70" fmla="*/ 559 w 796"/>
                <a:gd name="T71" fmla="*/ 296 h 496"/>
                <a:gd name="T72" fmla="*/ 742 w 796"/>
                <a:gd name="T73" fmla="*/ 120 h 496"/>
                <a:gd name="T74" fmla="*/ 775 w 796"/>
                <a:gd name="T75" fmla="*/ 106 h 496"/>
                <a:gd name="T76" fmla="*/ 794 w 796"/>
                <a:gd name="T77" fmla="*/ 79 h 496"/>
                <a:gd name="T78" fmla="*/ 794 w 796"/>
                <a:gd name="T79" fmla="*/ 43 h 496"/>
                <a:gd name="T80" fmla="*/ 775 w 796"/>
                <a:gd name="T81" fmla="*/ 14 h 496"/>
                <a:gd name="T82" fmla="*/ 742 w 796"/>
                <a:gd name="T83" fmla="*/ 0 h 496"/>
                <a:gd name="T84" fmla="*/ 708 w 796"/>
                <a:gd name="T85" fmla="*/ 8 h 496"/>
                <a:gd name="T86" fmla="*/ 683 w 796"/>
                <a:gd name="T87" fmla="*/ 31 h 496"/>
                <a:gd name="T88" fmla="*/ 677 w 796"/>
                <a:gd name="T89" fmla="*/ 70 h 496"/>
                <a:gd name="T90" fmla="*/ 524 w 796"/>
                <a:gd name="T91" fmla="*/ 272 h 496"/>
                <a:gd name="T92" fmla="*/ 483 w 796"/>
                <a:gd name="T93" fmla="*/ 278 h 496"/>
                <a:gd name="T94" fmla="*/ 345 w 796"/>
                <a:gd name="T95" fmla="*/ 245 h 496"/>
                <a:gd name="T96" fmla="*/ 339 w 796"/>
                <a:gd name="T97" fmla="*/ 212 h 496"/>
                <a:gd name="T98" fmla="*/ 314 w 796"/>
                <a:gd name="T99" fmla="*/ 188 h 496"/>
                <a:gd name="T100" fmla="*/ 280 w 796"/>
                <a:gd name="T101" fmla="*/ 181 h 496"/>
                <a:gd name="T102" fmla="*/ 247 w 796"/>
                <a:gd name="T103" fmla="*/ 194 h 496"/>
                <a:gd name="T104" fmla="*/ 228 w 796"/>
                <a:gd name="T105" fmla="*/ 223 h 496"/>
                <a:gd name="T106" fmla="*/ 229 w 796"/>
                <a:gd name="T107" fmla="*/ 262 h 496"/>
                <a:gd name="T108" fmla="*/ 60 w 796"/>
                <a:gd name="T109" fmla="*/ 376 h 496"/>
                <a:gd name="T110" fmla="*/ 26 w 796"/>
                <a:gd name="T111" fmla="*/ 387 h 496"/>
                <a:gd name="T112" fmla="*/ 4 w 796"/>
                <a:gd name="T113" fmla="*/ 413 h 496"/>
                <a:gd name="T114" fmla="*/ 1 w 796"/>
                <a:gd name="T115" fmla="*/ 448 h 496"/>
                <a:gd name="T116" fmla="*/ 17 w 796"/>
                <a:gd name="T117" fmla="*/ 479 h 496"/>
                <a:gd name="T118" fmla="*/ 47 w 796"/>
                <a:gd name="T119" fmla="*/ 495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96" h="496">
                  <a:moveTo>
                    <a:pt x="60" y="406"/>
                  </a:moveTo>
                  <a:lnTo>
                    <a:pt x="66" y="407"/>
                  </a:lnTo>
                  <a:lnTo>
                    <a:pt x="73" y="410"/>
                  </a:lnTo>
                  <a:lnTo>
                    <a:pt x="78" y="413"/>
                  </a:lnTo>
                  <a:lnTo>
                    <a:pt x="83" y="417"/>
                  </a:lnTo>
                  <a:lnTo>
                    <a:pt x="83" y="417"/>
                  </a:lnTo>
                  <a:lnTo>
                    <a:pt x="83" y="417"/>
                  </a:lnTo>
                  <a:lnTo>
                    <a:pt x="83" y="417"/>
                  </a:lnTo>
                  <a:lnTo>
                    <a:pt x="83" y="417"/>
                  </a:lnTo>
                  <a:lnTo>
                    <a:pt x="86" y="421"/>
                  </a:lnTo>
                  <a:lnTo>
                    <a:pt x="88" y="426"/>
                  </a:lnTo>
                  <a:lnTo>
                    <a:pt x="89" y="431"/>
                  </a:lnTo>
                  <a:lnTo>
                    <a:pt x="90" y="436"/>
                  </a:lnTo>
                  <a:lnTo>
                    <a:pt x="89" y="443"/>
                  </a:lnTo>
                  <a:lnTo>
                    <a:pt x="88" y="448"/>
                  </a:lnTo>
                  <a:lnTo>
                    <a:pt x="85" y="453"/>
                  </a:lnTo>
                  <a:lnTo>
                    <a:pt x="81" y="458"/>
                  </a:lnTo>
                  <a:lnTo>
                    <a:pt x="76" y="461"/>
                  </a:lnTo>
                  <a:lnTo>
                    <a:pt x="72" y="464"/>
                  </a:lnTo>
                  <a:lnTo>
                    <a:pt x="65" y="466"/>
                  </a:lnTo>
                  <a:lnTo>
                    <a:pt x="60" y="466"/>
                  </a:lnTo>
                  <a:lnTo>
                    <a:pt x="54" y="466"/>
                  </a:lnTo>
                  <a:lnTo>
                    <a:pt x="48" y="464"/>
                  </a:lnTo>
                  <a:lnTo>
                    <a:pt x="43" y="461"/>
                  </a:lnTo>
                  <a:lnTo>
                    <a:pt x="39" y="458"/>
                  </a:lnTo>
                  <a:lnTo>
                    <a:pt x="34" y="453"/>
                  </a:lnTo>
                  <a:lnTo>
                    <a:pt x="32" y="448"/>
                  </a:lnTo>
                  <a:lnTo>
                    <a:pt x="30" y="443"/>
                  </a:lnTo>
                  <a:lnTo>
                    <a:pt x="30" y="436"/>
                  </a:lnTo>
                  <a:lnTo>
                    <a:pt x="30" y="430"/>
                  </a:lnTo>
                  <a:lnTo>
                    <a:pt x="32" y="425"/>
                  </a:lnTo>
                  <a:lnTo>
                    <a:pt x="34" y="419"/>
                  </a:lnTo>
                  <a:lnTo>
                    <a:pt x="39" y="415"/>
                  </a:lnTo>
                  <a:lnTo>
                    <a:pt x="43" y="412"/>
                  </a:lnTo>
                  <a:lnTo>
                    <a:pt x="48" y="409"/>
                  </a:lnTo>
                  <a:lnTo>
                    <a:pt x="54" y="407"/>
                  </a:lnTo>
                  <a:lnTo>
                    <a:pt x="60" y="406"/>
                  </a:lnTo>
                  <a:lnTo>
                    <a:pt x="60" y="406"/>
                  </a:lnTo>
                  <a:close/>
                  <a:moveTo>
                    <a:pt x="285" y="211"/>
                  </a:moveTo>
                  <a:lnTo>
                    <a:pt x="291" y="211"/>
                  </a:lnTo>
                  <a:lnTo>
                    <a:pt x="297" y="214"/>
                  </a:lnTo>
                  <a:lnTo>
                    <a:pt x="302" y="216"/>
                  </a:lnTo>
                  <a:lnTo>
                    <a:pt x="306" y="220"/>
                  </a:lnTo>
                  <a:lnTo>
                    <a:pt x="311" y="224"/>
                  </a:lnTo>
                  <a:lnTo>
                    <a:pt x="313" y="230"/>
                  </a:lnTo>
                  <a:lnTo>
                    <a:pt x="315" y="235"/>
                  </a:lnTo>
                  <a:lnTo>
                    <a:pt x="315" y="241"/>
                  </a:lnTo>
                  <a:lnTo>
                    <a:pt x="315" y="247"/>
                  </a:lnTo>
                  <a:lnTo>
                    <a:pt x="313" y="253"/>
                  </a:lnTo>
                  <a:lnTo>
                    <a:pt x="311" y="257"/>
                  </a:lnTo>
                  <a:lnTo>
                    <a:pt x="306" y="262"/>
                  </a:lnTo>
                  <a:lnTo>
                    <a:pt x="302" y="266"/>
                  </a:lnTo>
                  <a:lnTo>
                    <a:pt x="297" y="268"/>
                  </a:lnTo>
                  <a:lnTo>
                    <a:pt x="291" y="270"/>
                  </a:lnTo>
                  <a:lnTo>
                    <a:pt x="285" y="271"/>
                  </a:lnTo>
                  <a:lnTo>
                    <a:pt x="280" y="270"/>
                  </a:lnTo>
                  <a:lnTo>
                    <a:pt x="273" y="268"/>
                  </a:lnTo>
                  <a:lnTo>
                    <a:pt x="269" y="266"/>
                  </a:lnTo>
                  <a:lnTo>
                    <a:pt x="264" y="262"/>
                  </a:lnTo>
                  <a:lnTo>
                    <a:pt x="260" y="257"/>
                  </a:lnTo>
                  <a:lnTo>
                    <a:pt x="257" y="253"/>
                  </a:lnTo>
                  <a:lnTo>
                    <a:pt x="256" y="247"/>
                  </a:lnTo>
                  <a:lnTo>
                    <a:pt x="255" y="241"/>
                  </a:lnTo>
                  <a:lnTo>
                    <a:pt x="256" y="235"/>
                  </a:lnTo>
                  <a:lnTo>
                    <a:pt x="257" y="230"/>
                  </a:lnTo>
                  <a:lnTo>
                    <a:pt x="260" y="224"/>
                  </a:lnTo>
                  <a:lnTo>
                    <a:pt x="264" y="220"/>
                  </a:lnTo>
                  <a:lnTo>
                    <a:pt x="269" y="216"/>
                  </a:lnTo>
                  <a:lnTo>
                    <a:pt x="273" y="214"/>
                  </a:lnTo>
                  <a:lnTo>
                    <a:pt x="280" y="211"/>
                  </a:lnTo>
                  <a:lnTo>
                    <a:pt x="285" y="211"/>
                  </a:lnTo>
                  <a:close/>
                  <a:moveTo>
                    <a:pt x="511" y="301"/>
                  </a:moveTo>
                  <a:lnTo>
                    <a:pt x="516" y="301"/>
                  </a:lnTo>
                  <a:lnTo>
                    <a:pt x="521" y="302"/>
                  </a:lnTo>
                  <a:lnTo>
                    <a:pt x="526" y="306"/>
                  </a:lnTo>
                  <a:lnTo>
                    <a:pt x="530" y="308"/>
                  </a:lnTo>
                  <a:lnTo>
                    <a:pt x="530" y="308"/>
                  </a:lnTo>
                  <a:lnTo>
                    <a:pt x="530" y="308"/>
                  </a:lnTo>
                  <a:lnTo>
                    <a:pt x="530" y="308"/>
                  </a:lnTo>
                  <a:lnTo>
                    <a:pt x="530" y="308"/>
                  </a:lnTo>
                  <a:lnTo>
                    <a:pt x="535" y="313"/>
                  </a:lnTo>
                  <a:lnTo>
                    <a:pt x="538" y="319"/>
                  </a:lnTo>
                  <a:lnTo>
                    <a:pt x="540" y="325"/>
                  </a:lnTo>
                  <a:lnTo>
                    <a:pt x="541" y="331"/>
                  </a:lnTo>
                  <a:lnTo>
                    <a:pt x="540" y="337"/>
                  </a:lnTo>
                  <a:lnTo>
                    <a:pt x="539" y="343"/>
                  </a:lnTo>
                  <a:lnTo>
                    <a:pt x="536" y="347"/>
                  </a:lnTo>
                  <a:lnTo>
                    <a:pt x="532" y="353"/>
                  </a:lnTo>
                  <a:lnTo>
                    <a:pt x="527" y="356"/>
                  </a:lnTo>
                  <a:lnTo>
                    <a:pt x="523" y="359"/>
                  </a:lnTo>
                  <a:lnTo>
                    <a:pt x="516" y="360"/>
                  </a:lnTo>
                  <a:lnTo>
                    <a:pt x="511" y="361"/>
                  </a:lnTo>
                  <a:lnTo>
                    <a:pt x="505" y="360"/>
                  </a:lnTo>
                  <a:lnTo>
                    <a:pt x="499" y="359"/>
                  </a:lnTo>
                  <a:lnTo>
                    <a:pt x="494" y="356"/>
                  </a:lnTo>
                  <a:lnTo>
                    <a:pt x="490" y="353"/>
                  </a:lnTo>
                  <a:lnTo>
                    <a:pt x="486" y="349"/>
                  </a:lnTo>
                  <a:lnTo>
                    <a:pt x="483" y="343"/>
                  </a:lnTo>
                  <a:lnTo>
                    <a:pt x="481" y="337"/>
                  </a:lnTo>
                  <a:lnTo>
                    <a:pt x="481" y="331"/>
                  </a:lnTo>
                  <a:lnTo>
                    <a:pt x="481" y="325"/>
                  </a:lnTo>
                  <a:lnTo>
                    <a:pt x="483" y="320"/>
                  </a:lnTo>
                  <a:lnTo>
                    <a:pt x="486" y="314"/>
                  </a:lnTo>
                  <a:lnTo>
                    <a:pt x="490" y="310"/>
                  </a:lnTo>
                  <a:lnTo>
                    <a:pt x="494" y="307"/>
                  </a:lnTo>
                  <a:lnTo>
                    <a:pt x="499" y="304"/>
                  </a:lnTo>
                  <a:lnTo>
                    <a:pt x="505" y="301"/>
                  </a:lnTo>
                  <a:lnTo>
                    <a:pt x="511" y="301"/>
                  </a:lnTo>
                  <a:lnTo>
                    <a:pt x="511" y="301"/>
                  </a:lnTo>
                  <a:close/>
                  <a:moveTo>
                    <a:pt x="736" y="30"/>
                  </a:moveTo>
                  <a:lnTo>
                    <a:pt x="742" y="31"/>
                  </a:lnTo>
                  <a:lnTo>
                    <a:pt x="748" y="33"/>
                  </a:lnTo>
                  <a:lnTo>
                    <a:pt x="753" y="36"/>
                  </a:lnTo>
                  <a:lnTo>
                    <a:pt x="757" y="39"/>
                  </a:lnTo>
                  <a:lnTo>
                    <a:pt x="762" y="43"/>
                  </a:lnTo>
                  <a:lnTo>
                    <a:pt x="764" y="49"/>
                  </a:lnTo>
                  <a:lnTo>
                    <a:pt x="766" y="55"/>
                  </a:lnTo>
                  <a:lnTo>
                    <a:pt x="766" y="60"/>
                  </a:lnTo>
                  <a:lnTo>
                    <a:pt x="766" y="67"/>
                  </a:lnTo>
                  <a:lnTo>
                    <a:pt x="764" y="72"/>
                  </a:lnTo>
                  <a:lnTo>
                    <a:pt x="762" y="78"/>
                  </a:lnTo>
                  <a:lnTo>
                    <a:pt x="757" y="82"/>
                  </a:lnTo>
                  <a:lnTo>
                    <a:pt x="753" y="85"/>
                  </a:lnTo>
                  <a:lnTo>
                    <a:pt x="748" y="88"/>
                  </a:lnTo>
                  <a:lnTo>
                    <a:pt x="742" y="90"/>
                  </a:lnTo>
                  <a:lnTo>
                    <a:pt x="736" y="90"/>
                  </a:lnTo>
                  <a:lnTo>
                    <a:pt x="731" y="90"/>
                  </a:lnTo>
                  <a:lnTo>
                    <a:pt x="724" y="88"/>
                  </a:lnTo>
                  <a:lnTo>
                    <a:pt x="720" y="85"/>
                  </a:lnTo>
                  <a:lnTo>
                    <a:pt x="716" y="82"/>
                  </a:lnTo>
                  <a:lnTo>
                    <a:pt x="711" y="78"/>
                  </a:lnTo>
                  <a:lnTo>
                    <a:pt x="708" y="72"/>
                  </a:lnTo>
                  <a:lnTo>
                    <a:pt x="707" y="67"/>
                  </a:lnTo>
                  <a:lnTo>
                    <a:pt x="706" y="60"/>
                  </a:lnTo>
                  <a:lnTo>
                    <a:pt x="707" y="55"/>
                  </a:lnTo>
                  <a:lnTo>
                    <a:pt x="708" y="49"/>
                  </a:lnTo>
                  <a:lnTo>
                    <a:pt x="711" y="43"/>
                  </a:lnTo>
                  <a:lnTo>
                    <a:pt x="716" y="39"/>
                  </a:lnTo>
                  <a:lnTo>
                    <a:pt x="720" y="36"/>
                  </a:lnTo>
                  <a:lnTo>
                    <a:pt x="724" y="33"/>
                  </a:lnTo>
                  <a:lnTo>
                    <a:pt x="731" y="31"/>
                  </a:lnTo>
                  <a:lnTo>
                    <a:pt x="736" y="30"/>
                  </a:lnTo>
                  <a:lnTo>
                    <a:pt x="736" y="30"/>
                  </a:lnTo>
                  <a:close/>
                  <a:moveTo>
                    <a:pt x="60" y="496"/>
                  </a:moveTo>
                  <a:lnTo>
                    <a:pt x="66" y="496"/>
                  </a:lnTo>
                  <a:lnTo>
                    <a:pt x="72" y="495"/>
                  </a:lnTo>
                  <a:lnTo>
                    <a:pt x="77" y="494"/>
                  </a:lnTo>
                  <a:lnTo>
                    <a:pt x="84" y="492"/>
                  </a:lnTo>
                  <a:lnTo>
                    <a:pt x="89" y="489"/>
                  </a:lnTo>
                  <a:lnTo>
                    <a:pt x="93" y="487"/>
                  </a:lnTo>
                  <a:lnTo>
                    <a:pt x="98" y="482"/>
                  </a:lnTo>
                  <a:lnTo>
                    <a:pt x="102" y="479"/>
                  </a:lnTo>
                  <a:lnTo>
                    <a:pt x="106" y="475"/>
                  </a:lnTo>
                  <a:lnTo>
                    <a:pt x="109" y="470"/>
                  </a:lnTo>
                  <a:lnTo>
                    <a:pt x="113" y="465"/>
                  </a:lnTo>
                  <a:lnTo>
                    <a:pt x="115" y="460"/>
                  </a:lnTo>
                  <a:lnTo>
                    <a:pt x="117" y="455"/>
                  </a:lnTo>
                  <a:lnTo>
                    <a:pt x="119" y="448"/>
                  </a:lnTo>
                  <a:lnTo>
                    <a:pt x="120" y="443"/>
                  </a:lnTo>
                  <a:lnTo>
                    <a:pt x="120" y="436"/>
                  </a:lnTo>
                  <a:lnTo>
                    <a:pt x="119" y="429"/>
                  </a:lnTo>
                  <a:lnTo>
                    <a:pt x="118" y="422"/>
                  </a:lnTo>
                  <a:lnTo>
                    <a:pt x="116" y="416"/>
                  </a:lnTo>
                  <a:lnTo>
                    <a:pt x="114" y="410"/>
                  </a:lnTo>
                  <a:lnTo>
                    <a:pt x="251" y="291"/>
                  </a:lnTo>
                  <a:lnTo>
                    <a:pt x="259" y="295"/>
                  </a:lnTo>
                  <a:lnTo>
                    <a:pt x="267" y="298"/>
                  </a:lnTo>
                  <a:lnTo>
                    <a:pt x="276" y="300"/>
                  </a:lnTo>
                  <a:lnTo>
                    <a:pt x="285" y="301"/>
                  </a:lnTo>
                  <a:lnTo>
                    <a:pt x="292" y="300"/>
                  </a:lnTo>
                  <a:lnTo>
                    <a:pt x="300" y="299"/>
                  </a:lnTo>
                  <a:lnTo>
                    <a:pt x="306" y="297"/>
                  </a:lnTo>
                  <a:lnTo>
                    <a:pt x="313" y="294"/>
                  </a:lnTo>
                  <a:lnTo>
                    <a:pt x="318" y="291"/>
                  </a:lnTo>
                  <a:lnTo>
                    <a:pt x="325" y="286"/>
                  </a:lnTo>
                  <a:lnTo>
                    <a:pt x="329" y="282"/>
                  </a:lnTo>
                  <a:lnTo>
                    <a:pt x="333" y="277"/>
                  </a:lnTo>
                  <a:lnTo>
                    <a:pt x="451" y="324"/>
                  </a:lnTo>
                  <a:lnTo>
                    <a:pt x="451" y="327"/>
                  </a:lnTo>
                  <a:lnTo>
                    <a:pt x="451" y="331"/>
                  </a:lnTo>
                  <a:lnTo>
                    <a:pt x="451" y="338"/>
                  </a:lnTo>
                  <a:lnTo>
                    <a:pt x="452" y="343"/>
                  </a:lnTo>
                  <a:lnTo>
                    <a:pt x="453" y="350"/>
                  </a:lnTo>
                  <a:lnTo>
                    <a:pt x="455" y="355"/>
                  </a:lnTo>
                  <a:lnTo>
                    <a:pt x="457" y="360"/>
                  </a:lnTo>
                  <a:lnTo>
                    <a:pt x="461" y="365"/>
                  </a:lnTo>
                  <a:lnTo>
                    <a:pt x="464" y="370"/>
                  </a:lnTo>
                  <a:lnTo>
                    <a:pt x="468" y="374"/>
                  </a:lnTo>
                  <a:lnTo>
                    <a:pt x="472" y="377"/>
                  </a:lnTo>
                  <a:lnTo>
                    <a:pt x="477" y="381"/>
                  </a:lnTo>
                  <a:lnTo>
                    <a:pt x="482" y="384"/>
                  </a:lnTo>
                  <a:lnTo>
                    <a:pt x="487" y="387"/>
                  </a:lnTo>
                  <a:lnTo>
                    <a:pt x="493" y="388"/>
                  </a:lnTo>
                  <a:lnTo>
                    <a:pt x="498" y="390"/>
                  </a:lnTo>
                  <a:lnTo>
                    <a:pt x="505" y="391"/>
                  </a:lnTo>
                  <a:lnTo>
                    <a:pt x="511" y="391"/>
                  </a:lnTo>
                  <a:lnTo>
                    <a:pt x="517" y="391"/>
                  </a:lnTo>
                  <a:lnTo>
                    <a:pt x="523" y="390"/>
                  </a:lnTo>
                  <a:lnTo>
                    <a:pt x="529" y="388"/>
                  </a:lnTo>
                  <a:lnTo>
                    <a:pt x="535" y="387"/>
                  </a:lnTo>
                  <a:lnTo>
                    <a:pt x="540" y="384"/>
                  </a:lnTo>
                  <a:lnTo>
                    <a:pt x="544" y="381"/>
                  </a:lnTo>
                  <a:lnTo>
                    <a:pt x="550" y="377"/>
                  </a:lnTo>
                  <a:lnTo>
                    <a:pt x="554" y="373"/>
                  </a:lnTo>
                  <a:lnTo>
                    <a:pt x="557" y="370"/>
                  </a:lnTo>
                  <a:lnTo>
                    <a:pt x="560" y="365"/>
                  </a:lnTo>
                  <a:lnTo>
                    <a:pt x="564" y="360"/>
                  </a:lnTo>
                  <a:lnTo>
                    <a:pt x="567" y="355"/>
                  </a:lnTo>
                  <a:lnTo>
                    <a:pt x="568" y="350"/>
                  </a:lnTo>
                  <a:lnTo>
                    <a:pt x="570" y="343"/>
                  </a:lnTo>
                  <a:lnTo>
                    <a:pt x="571" y="338"/>
                  </a:lnTo>
                  <a:lnTo>
                    <a:pt x="571" y="331"/>
                  </a:lnTo>
                  <a:lnTo>
                    <a:pt x="570" y="322"/>
                  </a:lnTo>
                  <a:lnTo>
                    <a:pt x="568" y="312"/>
                  </a:lnTo>
                  <a:lnTo>
                    <a:pt x="565" y="304"/>
                  </a:lnTo>
                  <a:lnTo>
                    <a:pt x="559" y="296"/>
                  </a:lnTo>
                  <a:lnTo>
                    <a:pt x="710" y="115"/>
                  </a:lnTo>
                  <a:lnTo>
                    <a:pt x="717" y="117"/>
                  </a:lnTo>
                  <a:lnTo>
                    <a:pt x="723" y="119"/>
                  </a:lnTo>
                  <a:lnTo>
                    <a:pt x="730" y="120"/>
                  </a:lnTo>
                  <a:lnTo>
                    <a:pt x="736" y="120"/>
                  </a:lnTo>
                  <a:lnTo>
                    <a:pt x="742" y="120"/>
                  </a:lnTo>
                  <a:lnTo>
                    <a:pt x="749" y="119"/>
                  </a:lnTo>
                  <a:lnTo>
                    <a:pt x="754" y="118"/>
                  </a:lnTo>
                  <a:lnTo>
                    <a:pt x="760" y="116"/>
                  </a:lnTo>
                  <a:lnTo>
                    <a:pt x="765" y="114"/>
                  </a:lnTo>
                  <a:lnTo>
                    <a:pt x="770" y="111"/>
                  </a:lnTo>
                  <a:lnTo>
                    <a:pt x="775" y="106"/>
                  </a:lnTo>
                  <a:lnTo>
                    <a:pt x="779" y="103"/>
                  </a:lnTo>
                  <a:lnTo>
                    <a:pt x="783" y="99"/>
                  </a:lnTo>
                  <a:lnTo>
                    <a:pt x="786" y="95"/>
                  </a:lnTo>
                  <a:lnTo>
                    <a:pt x="790" y="89"/>
                  </a:lnTo>
                  <a:lnTo>
                    <a:pt x="792" y="84"/>
                  </a:lnTo>
                  <a:lnTo>
                    <a:pt x="794" y="79"/>
                  </a:lnTo>
                  <a:lnTo>
                    <a:pt x="795" y="73"/>
                  </a:lnTo>
                  <a:lnTo>
                    <a:pt x="796" y="67"/>
                  </a:lnTo>
                  <a:lnTo>
                    <a:pt x="796" y="60"/>
                  </a:lnTo>
                  <a:lnTo>
                    <a:pt x="796" y="54"/>
                  </a:lnTo>
                  <a:lnTo>
                    <a:pt x="795" y="49"/>
                  </a:lnTo>
                  <a:lnTo>
                    <a:pt x="794" y="43"/>
                  </a:lnTo>
                  <a:lnTo>
                    <a:pt x="792" y="37"/>
                  </a:lnTo>
                  <a:lnTo>
                    <a:pt x="790" y="31"/>
                  </a:lnTo>
                  <a:lnTo>
                    <a:pt x="786" y="27"/>
                  </a:lnTo>
                  <a:lnTo>
                    <a:pt x="783" y="23"/>
                  </a:lnTo>
                  <a:lnTo>
                    <a:pt x="779" y="19"/>
                  </a:lnTo>
                  <a:lnTo>
                    <a:pt x="775" y="14"/>
                  </a:lnTo>
                  <a:lnTo>
                    <a:pt x="770" y="11"/>
                  </a:lnTo>
                  <a:lnTo>
                    <a:pt x="765" y="8"/>
                  </a:lnTo>
                  <a:lnTo>
                    <a:pt x="760" y="5"/>
                  </a:lnTo>
                  <a:lnTo>
                    <a:pt x="754" y="4"/>
                  </a:lnTo>
                  <a:lnTo>
                    <a:pt x="749" y="1"/>
                  </a:lnTo>
                  <a:lnTo>
                    <a:pt x="742" y="0"/>
                  </a:lnTo>
                  <a:lnTo>
                    <a:pt x="736" y="0"/>
                  </a:lnTo>
                  <a:lnTo>
                    <a:pt x="731" y="0"/>
                  </a:lnTo>
                  <a:lnTo>
                    <a:pt x="724" y="1"/>
                  </a:lnTo>
                  <a:lnTo>
                    <a:pt x="719" y="4"/>
                  </a:lnTo>
                  <a:lnTo>
                    <a:pt x="712" y="5"/>
                  </a:lnTo>
                  <a:lnTo>
                    <a:pt x="708" y="8"/>
                  </a:lnTo>
                  <a:lnTo>
                    <a:pt x="703" y="11"/>
                  </a:lnTo>
                  <a:lnTo>
                    <a:pt x="698" y="14"/>
                  </a:lnTo>
                  <a:lnTo>
                    <a:pt x="694" y="19"/>
                  </a:lnTo>
                  <a:lnTo>
                    <a:pt x="690" y="22"/>
                  </a:lnTo>
                  <a:lnTo>
                    <a:pt x="687" y="27"/>
                  </a:lnTo>
                  <a:lnTo>
                    <a:pt x="683" y="31"/>
                  </a:lnTo>
                  <a:lnTo>
                    <a:pt x="681" y="37"/>
                  </a:lnTo>
                  <a:lnTo>
                    <a:pt x="679" y="43"/>
                  </a:lnTo>
                  <a:lnTo>
                    <a:pt x="677" y="49"/>
                  </a:lnTo>
                  <a:lnTo>
                    <a:pt x="676" y="54"/>
                  </a:lnTo>
                  <a:lnTo>
                    <a:pt x="676" y="60"/>
                  </a:lnTo>
                  <a:lnTo>
                    <a:pt x="677" y="70"/>
                  </a:lnTo>
                  <a:lnTo>
                    <a:pt x="679" y="80"/>
                  </a:lnTo>
                  <a:lnTo>
                    <a:pt x="682" y="88"/>
                  </a:lnTo>
                  <a:lnTo>
                    <a:pt x="688" y="96"/>
                  </a:lnTo>
                  <a:lnTo>
                    <a:pt x="537" y="277"/>
                  </a:lnTo>
                  <a:lnTo>
                    <a:pt x="530" y="275"/>
                  </a:lnTo>
                  <a:lnTo>
                    <a:pt x="524" y="272"/>
                  </a:lnTo>
                  <a:lnTo>
                    <a:pt x="517" y="271"/>
                  </a:lnTo>
                  <a:lnTo>
                    <a:pt x="511" y="271"/>
                  </a:lnTo>
                  <a:lnTo>
                    <a:pt x="504" y="271"/>
                  </a:lnTo>
                  <a:lnTo>
                    <a:pt x="496" y="272"/>
                  </a:lnTo>
                  <a:lnTo>
                    <a:pt x="490" y="275"/>
                  </a:lnTo>
                  <a:lnTo>
                    <a:pt x="483" y="278"/>
                  </a:lnTo>
                  <a:lnTo>
                    <a:pt x="478" y="281"/>
                  </a:lnTo>
                  <a:lnTo>
                    <a:pt x="472" y="285"/>
                  </a:lnTo>
                  <a:lnTo>
                    <a:pt x="467" y="291"/>
                  </a:lnTo>
                  <a:lnTo>
                    <a:pt x="463" y="296"/>
                  </a:lnTo>
                  <a:lnTo>
                    <a:pt x="345" y="249"/>
                  </a:lnTo>
                  <a:lnTo>
                    <a:pt x="345" y="245"/>
                  </a:lnTo>
                  <a:lnTo>
                    <a:pt x="345" y="241"/>
                  </a:lnTo>
                  <a:lnTo>
                    <a:pt x="345" y="235"/>
                  </a:lnTo>
                  <a:lnTo>
                    <a:pt x="344" y="229"/>
                  </a:lnTo>
                  <a:lnTo>
                    <a:pt x="343" y="223"/>
                  </a:lnTo>
                  <a:lnTo>
                    <a:pt x="341" y="218"/>
                  </a:lnTo>
                  <a:lnTo>
                    <a:pt x="339" y="212"/>
                  </a:lnTo>
                  <a:lnTo>
                    <a:pt x="335" y="207"/>
                  </a:lnTo>
                  <a:lnTo>
                    <a:pt x="332" y="203"/>
                  </a:lnTo>
                  <a:lnTo>
                    <a:pt x="328" y="199"/>
                  </a:lnTo>
                  <a:lnTo>
                    <a:pt x="324" y="194"/>
                  </a:lnTo>
                  <a:lnTo>
                    <a:pt x="319" y="191"/>
                  </a:lnTo>
                  <a:lnTo>
                    <a:pt x="314" y="188"/>
                  </a:lnTo>
                  <a:lnTo>
                    <a:pt x="309" y="186"/>
                  </a:lnTo>
                  <a:lnTo>
                    <a:pt x="303" y="184"/>
                  </a:lnTo>
                  <a:lnTo>
                    <a:pt x="298" y="182"/>
                  </a:lnTo>
                  <a:lnTo>
                    <a:pt x="291" y="181"/>
                  </a:lnTo>
                  <a:lnTo>
                    <a:pt x="285" y="180"/>
                  </a:lnTo>
                  <a:lnTo>
                    <a:pt x="280" y="181"/>
                  </a:lnTo>
                  <a:lnTo>
                    <a:pt x="273" y="182"/>
                  </a:lnTo>
                  <a:lnTo>
                    <a:pt x="268" y="184"/>
                  </a:lnTo>
                  <a:lnTo>
                    <a:pt x="261" y="186"/>
                  </a:lnTo>
                  <a:lnTo>
                    <a:pt x="257" y="188"/>
                  </a:lnTo>
                  <a:lnTo>
                    <a:pt x="252" y="191"/>
                  </a:lnTo>
                  <a:lnTo>
                    <a:pt x="247" y="194"/>
                  </a:lnTo>
                  <a:lnTo>
                    <a:pt x="243" y="199"/>
                  </a:lnTo>
                  <a:lnTo>
                    <a:pt x="239" y="203"/>
                  </a:lnTo>
                  <a:lnTo>
                    <a:pt x="236" y="207"/>
                  </a:lnTo>
                  <a:lnTo>
                    <a:pt x="232" y="212"/>
                  </a:lnTo>
                  <a:lnTo>
                    <a:pt x="230" y="218"/>
                  </a:lnTo>
                  <a:lnTo>
                    <a:pt x="228" y="223"/>
                  </a:lnTo>
                  <a:lnTo>
                    <a:pt x="226" y="229"/>
                  </a:lnTo>
                  <a:lnTo>
                    <a:pt x="225" y="235"/>
                  </a:lnTo>
                  <a:lnTo>
                    <a:pt x="225" y="241"/>
                  </a:lnTo>
                  <a:lnTo>
                    <a:pt x="226" y="248"/>
                  </a:lnTo>
                  <a:lnTo>
                    <a:pt x="227" y="255"/>
                  </a:lnTo>
                  <a:lnTo>
                    <a:pt x="229" y="262"/>
                  </a:lnTo>
                  <a:lnTo>
                    <a:pt x="231" y="267"/>
                  </a:lnTo>
                  <a:lnTo>
                    <a:pt x="94" y="387"/>
                  </a:lnTo>
                  <a:lnTo>
                    <a:pt x="86" y="383"/>
                  </a:lnTo>
                  <a:lnTo>
                    <a:pt x="78" y="380"/>
                  </a:lnTo>
                  <a:lnTo>
                    <a:pt x="69" y="377"/>
                  </a:lnTo>
                  <a:lnTo>
                    <a:pt x="60" y="376"/>
                  </a:lnTo>
                  <a:lnTo>
                    <a:pt x="54" y="376"/>
                  </a:lnTo>
                  <a:lnTo>
                    <a:pt x="47" y="377"/>
                  </a:lnTo>
                  <a:lnTo>
                    <a:pt x="42" y="379"/>
                  </a:lnTo>
                  <a:lnTo>
                    <a:pt x="36" y="381"/>
                  </a:lnTo>
                  <a:lnTo>
                    <a:pt x="31" y="384"/>
                  </a:lnTo>
                  <a:lnTo>
                    <a:pt x="26" y="387"/>
                  </a:lnTo>
                  <a:lnTo>
                    <a:pt x="21" y="390"/>
                  </a:lnTo>
                  <a:lnTo>
                    <a:pt x="17" y="394"/>
                  </a:lnTo>
                  <a:lnTo>
                    <a:pt x="13" y="398"/>
                  </a:lnTo>
                  <a:lnTo>
                    <a:pt x="10" y="403"/>
                  </a:lnTo>
                  <a:lnTo>
                    <a:pt x="6" y="407"/>
                  </a:lnTo>
                  <a:lnTo>
                    <a:pt x="4" y="413"/>
                  </a:lnTo>
                  <a:lnTo>
                    <a:pt x="2" y="418"/>
                  </a:lnTo>
                  <a:lnTo>
                    <a:pt x="1" y="425"/>
                  </a:lnTo>
                  <a:lnTo>
                    <a:pt x="0" y="430"/>
                  </a:lnTo>
                  <a:lnTo>
                    <a:pt x="0" y="436"/>
                  </a:lnTo>
                  <a:lnTo>
                    <a:pt x="0" y="443"/>
                  </a:lnTo>
                  <a:lnTo>
                    <a:pt x="1" y="448"/>
                  </a:lnTo>
                  <a:lnTo>
                    <a:pt x="2" y="455"/>
                  </a:lnTo>
                  <a:lnTo>
                    <a:pt x="4" y="460"/>
                  </a:lnTo>
                  <a:lnTo>
                    <a:pt x="6" y="465"/>
                  </a:lnTo>
                  <a:lnTo>
                    <a:pt x="10" y="470"/>
                  </a:lnTo>
                  <a:lnTo>
                    <a:pt x="13" y="475"/>
                  </a:lnTo>
                  <a:lnTo>
                    <a:pt x="17" y="479"/>
                  </a:lnTo>
                  <a:lnTo>
                    <a:pt x="21" y="482"/>
                  </a:lnTo>
                  <a:lnTo>
                    <a:pt x="26" y="487"/>
                  </a:lnTo>
                  <a:lnTo>
                    <a:pt x="31" y="489"/>
                  </a:lnTo>
                  <a:lnTo>
                    <a:pt x="36" y="492"/>
                  </a:lnTo>
                  <a:lnTo>
                    <a:pt x="42" y="494"/>
                  </a:lnTo>
                  <a:lnTo>
                    <a:pt x="47" y="495"/>
                  </a:lnTo>
                  <a:lnTo>
                    <a:pt x="54" y="496"/>
                  </a:lnTo>
                  <a:lnTo>
                    <a:pt x="60" y="49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Light"/>
                <a:ea typeface="+mn-ea"/>
                <a:cs typeface="+mn-cs"/>
              </a:endParaRPr>
            </a:p>
          </p:txBody>
        </p:sp>
      </p:grpSp>
      <p:grpSp>
        <p:nvGrpSpPr>
          <p:cNvPr id="55" name="Group 54"/>
          <p:cNvGrpSpPr/>
          <p:nvPr/>
        </p:nvGrpSpPr>
        <p:grpSpPr>
          <a:xfrm>
            <a:off x="4204150" y="4976015"/>
            <a:ext cx="453859" cy="456380"/>
            <a:chOff x="9882188" y="1925638"/>
            <a:chExt cx="285750" cy="287338"/>
          </a:xfrm>
          <a:solidFill>
            <a:schemeClr val="bg1"/>
          </a:solidFill>
        </p:grpSpPr>
        <p:sp>
          <p:nvSpPr>
            <p:cNvPr id="56" name="Freeform 93"/>
            <p:cNvSpPr>
              <a:spLocks noEditPoints="1"/>
            </p:cNvSpPr>
            <p:nvPr/>
          </p:nvSpPr>
          <p:spPr bwMode="auto">
            <a:xfrm>
              <a:off x="9882188" y="1925638"/>
              <a:ext cx="285750" cy="287338"/>
            </a:xfrm>
            <a:custGeom>
              <a:avLst/>
              <a:gdLst>
                <a:gd name="T0" fmla="*/ 872 w 902"/>
                <a:gd name="T1" fmla="*/ 872 h 902"/>
                <a:gd name="T2" fmla="*/ 30 w 902"/>
                <a:gd name="T3" fmla="*/ 872 h 902"/>
                <a:gd name="T4" fmla="*/ 30 w 902"/>
                <a:gd name="T5" fmla="*/ 30 h 902"/>
                <a:gd name="T6" fmla="*/ 872 w 902"/>
                <a:gd name="T7" fmla="*/ 30 h 902"/>
                <a:gd name="T8" fmla="*/ 872 w 902"/>
                <a:gd name="T9" fmla="*/ 872 h 902"/>
                <a:gd name="T10" fmla="*/ 887 w 902"/>
                <a:gd name="T11" fmla="*/ 0 h 902"/>
                <a:gd name="T12" fmla="*/ 15 w 902"/>
                <a:gd name="T13" fmla="*/ 0 h 902"/>
                <a:gd name="T14" fmla="*/ 12 w 902"/>
                <a:gd name="T15" fmla="*/ 0 h 902"/>
                <a:gd name="T16" fmla="*/ 10 w 902"/>
                <a:gd name="T17" fmla="*/ 2 h 902"/>
                <a:gd name="T18" fmla="*/ 6 w 902"/>
                <a:gd name="T19" fmla="*/ 3 h 902"/>
                <a:gd name="T20" fmla="*/ 4 w 902"/>
                <a:gd name="T21" fmla="*/ 5 h 902"/>
                <a:gd name="T22" fmla="*/ 3 w 902"/>
                <a:gd name="T23" fmla="*/ 7 h 902"/>
                <a:gd name="T24" fmla="*/ 1 w 902"/>
                <a:gd name="T25" fmla="*/ 9 h 902"/>
                <a:gd name="T26" fmla="*/ 1 w 902"/>
                <a:gd name="T27" fmla="*/ 12 h 902"/>
                <a:gd name="T28" fmla="*/ 0 w 902"/>
                <a:gd name="T29" fmla="*/ 15 h 902"/>
                <a:gd name="T30" fmla="*/ 0 w 902"/>
                <a:gd name="T31" fmla="*/ 887 h 902"/>
                <a:gd name="T32" fmla="*/ 1 w 902"/>
                <a:gd name="T33" fmla="*/ 891 h 902"/>
                <a:gd name="T34" fmla="*/ 1 w 902"/>
                <a:gd name="T35" fmla="*/ 893 h 902"/>
                <a:gd name="T36" fmla="*/ 3 w 902"/>
                <a:gd name="T37" fmla="*/ 896 h 902"/>
                <a:gd name="T38" fmla="*/ 4 w 902"/>
                <a:gd name="T39" fmla="*/ 898 h 902"/>
                <a:gd name="T40" fmla="*/ 6 w 902"/>
                <a:gd name="T41" fmla="*/ 900 h 902"/>
                <a:gd name="T42" fmla="*/ 10 w 902"/>
                <a:gd name="T43" fmla="*/ 901 h 902"/>
                <a:gd name="T44" fmla="*/ 12 w 902"/>
                <a:gd name="T45" fmla="*/ 902 h 902"/>
                <a:gd name="T46" fmla="*/ 15 w 902"/>
                <a:gd name="T47" fmla="*/ 902 h 902"/>
                <a:gd name="T48" fmla="*/ 887 w 902"/>
                <a:gd name="T49" fmla="*/ 902 h 902"/>
                <a:gd name="T50" fmla="*/ 890 w 902"/>
                <a:gd name="T51" fmla="*/ 902 h 902"/>
                <a:gd name="T52" fmla="*/ 893 w 902"/>
                <a:gd name="T53" fmla="*/ 901 h 902"/>
                <a:gd name="T54" fmla="*/ 896 w 902"/>
                <a:gd name="T55" fmla="*/ 900 h 902"/>
                <a:gd name="T56" fmla="*/ 898 w 902"/>
                <a:gd name="T57" fmla="*/ 898 h 902"/>
                <a:gd name="T58" fmla="*/ 900 w 902"/>
                <a:gd name="T59" fmla="*/ 896 h 902"/>
                <a:gd name="T60" fmla="*/ 901 w 902"/>
                <a:gd name="T61" fmla="*/ 893 h 902"/>
                <a:gd name="T62" fmla="*/ 902 w 902"/>
                <a:gd name="T63" fmla="*/ 891 h 902"/>
                <a:gd name="T64" fmla="*/ 902 w 902"/>
                <a:gd name="T65" fmla="*/ 887 h 902"/>
                <a:gd name="T66" fmla="*/ 902 w 902"/>
                <a:gd name="T67" fmla="*/ 15 h 902"/>
                <a:gd name="T68" fmla="*/ 902 w 902"/>
                <a:gd name="T69" fmla="*/ 12 h 902"/>
                <a:gd name="T70" fmla="*/ 901 w 902"/>
                <a:gd name="T71" fmla="*/ 9 h 902"/>
                <a:gd name="T72" fmla="*/ 900 w 902"/>
                <a:gd name="T73" fmla="*/ 7 h 902"/>
                <a:gd name="T74" fmla="*/ 898 w 902"/>
                <a:gd name="T75" fmla="*/ 5 h 902"/>
                <a:gd name="T76" fmla="*/ 896 w 902"/>
                <a:gd name="T77" fmla="*/ 3 h 902"/>
                <a:gd name="T78" fmla="*/ 893 w 902"/>
                <a:gd name="T79" fmla="*/ 2 h 902"/>
                <a:gd name="T80" fmla="*/ 890 w 902"/>
                <a:gd name="T81" fmla="*/ 0 h 902"/>
                <a:gd name="T82" fmla="*/ 887 w 902"/>
                <a:gd name="T83" fmla="*/ 0 h 902"/>
                <a:gd name="T84" fmla="*/ 887 w 902"/>
                <a:gd name="T85" fmla="*/ 0 h 9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02" h="902">
                  <a:moveTo>
                    <a:pt x="872" y="872"/>
                  </a:moveTo>
                  <a:lnTo>
                    <a:pt x="30" y="872"/>
                  </a:lnTo>
                  <a:lnTo>
                    <a:pt x="30" y="30"/>
                  </a:lnTo>
                  <a:lnTo>
                    <a:pt x="872" y="30"/>
                  </a:lnTo>
                  <a:lnTo>
                    <a:pt x="872" y="872"/>
                  </a:lnTo>
                  <a:close/>
                  <a:moveTo>
                    <a:pt x="887" y="0"/>
                  </a:moveTo>
                  <a:lnTo>
                    <a:pt x="15" y="0"/>
                  </a:lnTo>
                  <a:lnTo>
                    <a:pt x="12" y="0"/>
                  </a:lnTo>
                  <a:lnTo>
                    <a:pt x="10" y="2"/>
                  </a:lnTo>
                  <a:lnTo>
                    <a:pt x="6" y="3"/>
                  </a:lnTo>
                  <a:lnTo>
                    <a:pt x="4" y="5"/>
                  </a:lnTo>
                  <a:lnTo>
                    <a:pt x="3" y="7"/>
                  </a:lnTo>
                  <a:lnTo>
                    <a:pt x="1" y="9"/>
                  </a:lnTo>
                  <a:lnTo>
                    <a:pt x="1" y="12"/>
                  </a:lnTo>
                  <a:lnTo>
                    <a:pt x="0" y="15"/>
                  </a:lnTo>
                  <a:lnTo>
                    <a:pt x="0" y="887"/>
                  </a:lnTo>
                  <a:lnTo>
                    <a:pt x="1" y="891"/>
                  </a:lnTo>
                  <a:lnTo>
                    <a:pt x="1" y="893"/>
                  </a:lnTo>
                  <a:lnTo>
                    <a:pt x="3" y="896"/>
                  </a:lnTo>
                  <a:lnTo>
                    <a:pt x="4" y="898"/>
                  </a:lnTo>
                  <a:lnTo>
                    <a:pt x="6" y="900"/>
                  </a:lnTo>
                  <a:lnTo>
                    <a:pt x="10" y="901"/>
                  </a:lnTo>
                  <a:lnTo>
                    <a:pt x="12" y="902"/>
                  </a:lnTo>
                  <a:lnTo>
                    <a:pt x="15" y="902"/>
                  </a:lnTo>
                  <a:lnTo>
                    <a:pt x="887" y="902"/>
                  </a:lnTo>
                  <a:lnTo>
                    <a:pt x="890" y="902"/>
                  </a:lnTo>
                  <a:lnTo>
                    <a:pt x="893" y="901"/>
                  </a:lnTo>
                  <a:lnTo>
                    <a:pt x="896" y="900"/>
                  </a:lnTo>
                  <a:lnTo>
                    <a:pt x="898" y="898"/>
                  </a:lnTo>
                  <a:lnTo>
                    <a:pt x="900" y="896"/>
                  </a:lnTo>
                  <a:lnTo>
                    <a:pt x="901" y="893"/>
                  </a:lnTo>
                  <a:lnTo>
                    <a:pt x="902" y="891"/>
                  </a:lnTo>
                  <a:lnTo>
                    <a:pt x="902" y="887"/>
                  </a:lnTo>
                  <a:lnTo>
                    <a:pt x="902" y="15"/>
                  </a:lnTo>
                  <a:lnTo>
                    <a:pt x="902" y="12"/>
                  </a:lnTo>
                  <a:lnTo>
                    <a:pt x="901" y="9"/>
                  </a:lnTo>
                  <a:lnTo>
                    <a:pt x="900" y="7"/>
                  </a:lnTo>
                  <a:lnTo>
                    <a:pt x="898" y="5"/>
                  </a:lnTo>
                  <a:lnTo>
                    <a:pt x="896" y="3"/>
                  </a:lnTo>
                  <a:lnTo>
                    <a:pt x="893" y="2"/>
                  </a:lnTo>
                  <a:lnTo>
                    <a:pt x="890" y="0"/>
                  </a:lnTo>
                  <a:lnTo>
                    <a:pt x="887" y="0"/>
                  </a:lnTo>
                  <a:lnTo>
                    <a:pt x="88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Light"/>
                <a:ea typeface="+mn-ea"/>
                <a:cs typeface="+mn-cs"/>
              </a:endParaRPr>
            </a:p>
          </p:txBody>
        </p:sp>
        <p:sp>
          <p:nvSpPr>
            <p:cNvPr id="57" name="Freeform 94"/>
            <p:cNvSpPr>
              <a:spLocks/>
            </p:cNvSpPr>
            <p:nvPr/>
          </p:nvSpPr>
          <p:spPr bwMode="auto">
            <a:xfrm>
              <a:off x="9920288" y="2165350"/>
              <a:ext cx="209550" cy="9525"/>
            </a:xfrm>
            <a:custGeom>
              <a:avLst/>
              <a:gdLst>
                <a:gd name="T0" fmla="*/ 15 w 661"/>
                <a:gd name="T1" fmla="*/ 30 h 30"/>
                <a:gd name="T2" fmla="*/ 646 w 661"/>
                <a:gd name="T3" fmla="*/ 30 h 30"/>
                <a:gd name="T4" fmla="*/ 649 w 661"/>
                <a:gd name="T5" fmla="*/ 29 h 30"/>
                <a:gd name="T6" fmla="*/ 652 w 661"/>
                <a:gd name="T7" fmla="*/ 29 h 30"/>
                <a:gd name="T8" fmla="*/ 655 w 661"/>
                <a:gd name="T9" fmla="*/ 27 h 30"/>
                <a:gd name="T10" fmla="*/ 657 w 661"/>
                <a:gd name="T11" fmla="*/ 26 h 30"/>
                <a:gd name="T12" fmla="*/ 659 w 661"/>
                <a:gd name="T13" fmla="*/ 23 h 30"/>
                <a:gd name="T14" fmla="*/ 660 w 661"/>
                <a:gd name="T15" fmla="*/ 21 h 30"/>
                <a:gd name="T16" fmla="*/ 661 w 661"/>
                <a:gd name="T17" fmla="*/ 18 h 30"/>
                <a:gd name="T18" fmla="*/ 661 w 661"/>
                <a:gd name="T19" fmla="*/ 15 h 30"/>
                <a:gd name="T20" fmla="*/ 661 w 661"/>
                <a:gd name="T21" fmla="*/ 12 h 30"/>
                <a:gd name="T22" fmla="*/ 660 w 661"/>
                <a:gd name="T23" fmla="*/ 9 h 30"/>
                <a:gd name="T24" fmla="*/ 659 w 661"/>
                <a:gd name="T25" fmla="*/ 7 h 30"/>
                <a:gd name="T26" fmla="*/ 657 w 661"/>
                <a:gd name="T27" fmla="*/ 5 h 30"/>
                <a:gd name="T28" fmla="*/ 655 w 661"/>
                <a:gd name="T29" fmla="*/ 3 h 30"/>
                <a:gd name="T30" fmla="*/ 652 w 661"/>
                <a:gd name="T31" fmla="*/ 2 h 30"/>
                <a:gd name="T32" fmla="*/ 649 w 661"/>
                <a:gd name="T33" fmla="*/ 0 h 30"/>
                <a:gd name="T34" fmla="*/ 646 w 661"/>
                <a:gd name="T35" fmla="*/ 0 h 30"/>
                <a:gd name="T36" fmla="*/ 15 w 661"/>
                <a:gd name="T37" fmla="*/ 0 h 30"/>
                <a:gd name="T38" fmla="*/ 12 w 661"/>
                <a:gd name="T39" fmla="*/ 0 h 30"/>
                <a:gd name="T40" fmla="*/ 9 w 661"/>
                <a:gd name="T41" fmla="*/ 2 h 30"/>
                <a:gd name="T42" fmla="*/ 6 w 661"/>
                <a:gd name="T43" fmla="*/ 3 h 30"/>
                <a:gd name="T44" fmla="*/ 4 w 661"/>
                <a:gd name="T45" fmla="*/ 5 h 30"/>
                <a:gd name="T46" fmla="*/ 2 w 661"/>
                <a:gd name="T47" fmla="*/ 7 h 30"/>
                <a:gd name="T48" fmla="*/ 1 w 661"/>
                <a:gd name="T49" fmla="*/ 9 h 30"/>
                <a:gd name="T50" fmla="*/ 0 w 661"/>
                <a:gd name="T51" fmla="*/ 12 h 30"/>
                <a:gd name="T52" fmla="*/ 0 w 661"/>
                <a:gd name="T53" fmla="*/ 15 h 30"/>
                <a:gd name="T54" fmla="*/ 0 w 661"/>
                <a:gd name="T55" fmla="*/ 18 h 30"/>
                <a:gd name="T56" fmla="*/ 1 w 661"/>
                <a:gd name="T57" fmla="*/ 21 h 30"/>
                <a:gd name="T58" fmla="*/ 2 w 661"/>
                <a:gd name="T59" fmla="*/ 23 h 30"/>
                <a:gd name="T60" fmla="*/ 4 w 661"/>
                <a:gd name="T61" fmla="*/ 26 h 30"/>
                <a:gd name="T62" fmla="*/ 6 w 661"/>
                <a:gd name="T63" fmla="*/ 27 h 30"/>
                <a:gd name="T64" fmla="*/ 9 w 661"/>
                <a:gd name="T65" fmla="*/ 29 h 30"/>
                <a:gd name="T66" fmla="*/ 12 w 661"/>
                <a:gd name="T67" fmla="*/ 29 h 30"/>
                <a:gd name="T68" fmla="*/ 15 w 661"/>
                <a:gd name="T69"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61" h="30">
                  <a:moveTo>
                    <a:pt x="15" y="30"/>
                  </a:moveTo>
                  <a:lnTo>
                    <a:pt x="646" y="30"/>
                  </a:lnTo>
                  <a:lnTo>
                    <a:pt x="649" y="29"/>
                  </a:lnTo>
                  <a:lnTo>
                    <a:pt x="652" y="29"/>
                  </a:lnTo>
                  <a:lnTo>
                    <a:pt x="655" y="27"/>
                  </a:lnTo>
                  <a:lnTo>
                    <a:pt x="657" y="26"/>
                  </a:lnTo>
                  <a:lnTo>
                    <a:pt x="659" y="23"/>
                  </a:lnTo>
                  <a:lnTo>
                    <a:pt x="660" y="21"/>
                  </a:lnTo>
                  <a:lnTo>
                    <a:pt x="661" y="18"/>
                  </a:lnTo>
                  <a:lnTo>
                    <a:pt x="661" y="15"/>
                  </a:lnTo>
                  <a:lnTo>
                    <a:pt x="661" y="12"/>
                  </a:lnTo>
                  <a:lnTo>
                    <a:pt x="660" y="9"/>
                  </a:lnTo>
                  <a:lnTo>
                    <a:pt x="659" y="7"/>
                  </a:lnTo>
                  <a:lnTo>
                    <a:pt x="657" y="5"/>
                  </a:lnTo>
                  <a:lnTo>
                    <a:pt x="655" y="3"/>
                  </a:lnTo>
                  <a:lnTo>
                    <a:pt x="652" y="2"/>
                  </a:lnTo>
                  <a:lnTo>
                    <a:pt x="649" y="0"/>
                  </a:lnTo>
                  <a:lnTo>
                    <a:pt x="646" y="0"/>
                  </a:lnTo>
                  <a:lnTo>
                    <a:pt x="15" y="0"/>
                  </a:lnTo>
                  <a:lnTo>
                    <a:pt x="12" y="0"/>
                  </a:lnTo>
                  <a:lnTo>
                    <a:pt x="9" y="2"/>
                  </a:lnTo>
                  <a:lnTo>
                    <a:pt x="6" y="3"/>
                  </a:lnTo>
                  <a:lnTo>
                    <a:pt x="4" y="5"/>
                  </a:lnTo>
                  <a:lnTo>
                    <a:pt x="2" y="7"/>
                  </a:lnTo>
                  <a:lnTo>
                    <a:pt x="1" y="9"/>
                  </a:lnTo>
                  <a:lnTo>
                    <a:pt x="0" y="12"/>
                  </a:lnTo>
                  <a:lnTo>
                    <a:pt x="0" y="15"/>
                  </a:lnTo>
                  <a:lnTo>
                    <a:pt x="0" y="18"/>
                  </a:lnTo>
                  <a:lnTo>
                    <a:pt x="1" y="21"/>
                  </a:lnTo>
                  <a:lnTo>
                    <a:pt x="2" y="23"/>
                  </a:lnTo>
                  <a:lnTo>
                    <a:pt x="4" y="26"/>
                  </a:lnTo>
                  <a:lnTo>
                    <a:pt x="6" y="27"/>
                  </a:lnTo>
                  <a:lnTo>
                    <a:pt x="9" y="29"/>
                  </a:lnTo>
                  <a:lnTo>
                    <a:pt x="12" y="29"/>
                  </a:lnTo>
                  <a:lnTo>
                    <a:pt x="15" y="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Light"/>
                <a:ea typeface="+mn-ea"/>
                <a:cs typeface="+mn-cs"/>
              </a:endParaRPr>
            </a:p>
          </p:txBody>
        </p:sp>
        <p:sp>
          <p:nvSpPr>
            <p:cNvPr id="58" name="Freeform 95"/>
            <p:cNvSpPr>
              <a:spLocks/>
            </p:cNvSpPr>
            <p:nvPr/>
          </p:nvSpPr>
          <p:spPr bwMode="auto">
            <a:xfrm>
              <a:off x="9929813" y="1973263"/>
              <a:ext cx="85725" cy="163513"/>
            </a:xfrm>
            <a:custGeom>
              <a:avLst/>
              <a:gdLst>
                <a:gd name="T0" fmla="*/ 120 w 270"/>
                <a:gd name="T1" fmla="*/ 52 h 511"/>
                <a:gd name="T2" fmla="*/ 120 w 270"/>
                <a:gd name="T3" fmla="*/ 500 h 511"/>
                <a:gd name="T4" fmla="*/ 122 w 270"/>
                <a:gd name="T5" fmla="*/ 505 h 511"/>
                <a:gd name="T6" fmla="*/ 126 w 270"/>
                <a:gd name="T7" fmla="*/ 509 h 511"/>
                <a:gd name="T8" fmla="*/ 132 w 270"/>
                <a:gd name="T9" fmla="*/ 511 h 511"/>
                <a:gd name="T10" fmla="*/ 138 w 270"/>
                <a:gd name="T11" fmla="*/ 511 h 511"/>
                <a:gd name="T12" fmla="*/ 144 w 270"/>
                <a:gd name="T13" fmla="*/ 509 h 511"/>
                <a:gd name="T14" fmla="*/ 148 w 270"/>
                <a:gd name="T15" fmla="*/ 505 h 511"/>
                <a:gd name="T16" fmla="*/ 150 w 270"/>
                <a:gd name="T17" fmla="*/ 500 h 511"/>
                <a:gd name="T18" fmla="*/ 150 w 270"/>
                <a:gd name="T19" fmla="*/ 52 h 511"/>
                <a:gd name="T20" fmla="*/ 246 w 270"/>
                <a:gd name="T21" fmla="*/ 148 h 511"/>
                <a:gd name="T22" fmla="*/ 253 w 270"/>
                <a:gd name="T23" fmla="*/ 150 h 511"/>
                <a:gd name="T24" fmla="*/ 258 w 270"/>
                <a:gd name="T25" fmla="*/ 150 h 511"/>
                <a:gd name="T26" fmla="*/ 264 w 270"/>
                <a:gd name="T27" fmla="*/ 148 h 511"/>
                <a:gd name="T28" fmla="*/ 268 w 270"/>
                <a:gd name="T29" fmla="*/ 144 h 511"/>
                <a:gd name="T30" fmla="*/ 270 w 270"/>
                <a:gd name="T31" fmla="*/ 139 h 511"/>
                <a:gd name="T32" fmla="*/ 270 w 270"/>
                <a:gd name="T33" fmla="*/ 133 h 511"/>
                <a:gd name="T34" fmla="*/ 268 w 270"/>
                <a:gd name="T35" fmla="*/ 128 h 511"/>
                <a:gd name="T36" fmla="*/ 146 w 270"/>
                <a:gd name="T37" fmla="*/ 5 h 511"/>
                <a:gd name="T38" fmla="*/ 140 w 270"/>
                <a:gd name="T39" fmla="*/ 2 h 511"/>
                <a:gd name="T40" fmla="*/ 135 w 270"/>
                <a:gd name="T41" fmla="*/ 0 h 511"/>
                <a:gd name="T42" fmla="*/ 135 w 270"/>
                <a:gd name="T43" fmla="*/ 0 h 511"/>
                <a:gd name="T44" fmla="*/ 135 w 270"/>
                <a:gd name="T45" fmla="*/ 0 h 511"/>
                <a:gd name="T46" fmla="*/ 130 w 270"/>
                <a:gd name="T47" fmla="*/ 2 h 511"/>
                <a:gd name="T48" fmla="*/ 124 w 270"/>
                <a:gd name="T49" fmla="*/ 5 h 511"/>
                <a:gd name="T50" fmla="*/ 2 w 270"/>
                <a:gd name="T51" fmla="*/ 128 h 511"/>
                <a:gd name="T52" fmla="*/ 0 w 270"/>
                <a:gd name="T53" fmla="*/ 133 h 511"/>
                <a:gd name="T54" fmla="*/ 0 w 270"/>
                <a:gd name="T55" fmla="*/ 139 h 511"/>
                <a:gd name="T56" fmla="*/ 2 w 270"/>
                <a:gd name="T57" fmla="*/ 144 h 511"/>
                <a:gd name="T58" fmla="*/ 6 w 270"/>
                <a:gd name="T59" fmla="*/ 148 h 511"/>
                <a:gd name="T60" fmla="*/ 12 w 270"/>
                <a:gd name="T61" fmla="*/ 150 h 511"/>
                <a:gd name="T62" fmla="*/ 17 w 270"/>
                <a:gd name="T63" fmla="*/ 150 h 511"/>
                <a:gd name="T64" fmla="*/ 23 w 270"/>
                <a:gd name="T65" fmla="*/ 148 h 5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70" h="511">
                  <a:moveTo>
                    <a:pt x="26" y="146"/>
                  </a:moveTo>
                  <a:lnTo>
                    <a:pt x="120" y="52"/>
                  </a:lnTo>
                  <a:lnTo>
                    <a:pt x="120" y="496"/>
                  </a:lnTo>
                  <a:lnTo>
                    <a:pt x="120" y="500"/>
                  </a:lnTo>
                  <a:lnTo>
                    <a:pt x="121" y="503"/>
                  </a:lnTo>
                  <a:lnTo>
                    <a:pt x="122" y="505"/>
                  </a:lnTo>
                  <a:lnTo>
                    <a:pt x="124" y="507"/>
                  </a:lnTo>
                  <a:lnTo>
                    <a:pt x="126" y="509"/>
                  </a:lnTo>
                  <a:lnTo>
                    <a:pt x="129" y="510"/>
                  </a:lnTo>
                  <a:lnTo>
                    <a:pt x="132" y="511"/>
                  </a:lnTo>
                  <a:lnTo>
                    <a:pt x="135" y="511"/>
                  </a:lnTo>
                  <a:lnTo>
                    <a:pt x="138" y="511"/>
                  </a:lnTo>
                  <a:lnTo>
                    <a:pt x="140" y="510"/>
                  </a:lnTo>
                  <a:lnTo>
                    <a:pt x="144" y="509"/>
                  </a:lnTo>
                  <a:lnTo>
                    <a:pt x="146" y="507"/>
                  </a:lnTo>
                  <a:lnTo>
                    <a:pt x="148" y="505"/>
                  </a:lnTo>
                  <a:lnTo>
                    <a:pt x="149" y="503"/>
                  </a:lnTo>
                  <a:lnTo>
                    <a:pt x="150" y="500"/>
                  </a:lnTo>
                  <a:lnTo>
                    <a:pt x="150" y="496"/>
                  </a:lnTo>
                  <a:lnTo>
                    <a:pt x="150" y="52"/>
                  </a:lnTo>
                  <a:lnTo>
                    <a:pt x="244" y="146"/>
                  </a:lnTo>
                  <a:lnTo>
                    <a:pt x="246" y="148"/>
                  </a:lnTo>
                  <a:lnTo>
                    <a:pt x="250" y="150"/>
                  </a:lnTo>
                  <a:lnTo>
                    <a:pt x="253" y="150"/>
                  </a:lnTo>
                  <a:lnTo>
                    <a:pt x="255" y="151"/>
                  </a:lnTo>
                  <a:lnTo>
                    <a:pt x="258" y="150"/>
                  </a:lnTo>
                  <a:lnTo>
                    <a:pt x="261" y="150"/>
                  </a:lnTo>
                  <a:lnTo>
                    <a:pt x="264" y="148"/>
                  </a:lnTo>
                  <a:lnTo>
                    <a:pt x="266" y="146"/>
                  </a:lnTo>
                  <a:lnTo>
                    <a:pt x="268" y="144"/>
                  </a:lnTo>
                  <a:lnTo>
                    <a:pt x="269" y="142"/>
                  </a:lnTo>
                  <a:lnTo>
                    <a:pt x="270" y="139"/>
                  </a:lnTo>
                  <a:lnTo>
                    <a:pt x="270" y="136"/>
                  </a:lnTo>
                  <a:lnTo>
                    <a:pt x="270" y="133"/>
                  </a:lnTo>
                  <a:lnTo>
                    <a:pt x="269" y="130"/>
                  </a:lnTo>
                  <a:lnTo>
                    <a:pt x="268" y="128"/>
                  </a:lnTo>
                  <a:lnTo>
                    <a:pt x="266" y="126"/>
                  </a:lnTo>
                  <a:lnTo>
                    <a:pt x="146" y="5"/>
                  </a:lnTo>
                  <a:lnTo>
                    <a:pt x="144" y="4"/>
                  </a:lnTo>
                  <a:lnTo>
                    <a:pt x="140" y="2"/>
                  </a:lnTo>
                  <a:lnTo>
                    <a:pt x="138" y="2"/>
                  </a:lnTo>
                  <a:lnTo>
                    <a:pt x="135" y="0"/>
                  </a:lnTo>
                  <a:lnTo>
                    <a:pt x="135" y="0"/>
                  </a:lnTo>
                  <a:lnTo>
                    <a:pt x="135" y="0"/>
                  </a:lnTo>
                  <a:lnTo>
                    <a:pt x="135" y="0"/>
                  </a:lnTo>
                  <a:lnTo>
                    <a:pt x="135" y="0"/>
                  </a:lnTo>
                  <a:lnTo>
                    <a:pt x="132" y="0"/>
                  </a:lnTo>
                  <a:lnTo>
                    <a:pt x="130" y="2"/>
                  </a:lnTo>
                  <a:lnTo>
                    <a:pt x="126" y="4"/>
                  </a:lnTo>
                  <a:lnTo>
                    <a:pt x="124" y="5"/>
                  </a:lnTo>
                  <a:lnTo>
                    <a:pt x="4" y="126"/>
                  </a:lnTo>
                  <a:lnTo>
                    <a:pt x="2" y="128"/>
                  </a:lnTo>
                  <a:lnTo>
                    <a:pt x="1" y="130"/>
                  </a:lnTo>
                  <a:lnTo>
                    <a:pt x="0" y="133"/>
                  </a:lnTo>
                  <a:lnTo>
                    <a:pt x="0" y="136"/>
                  </a:lnTo>
                  <a:lnTo>
                    <a:pt x="0" y="139"/>
                  </a:lnTo>
                  <a:lnTo>
                    <a:pt x="1" y="142"/>
                  </a:lnTo>
                  <a:lnTo>
                    <a:pt x="2" y="144"/>
                  </a:lnTo>
                  <a:lnTo>
                    <a:pt x="4" y="146"/>
                  </a:lnTo>
                  <a:lnTo>
                    <a:pt x="6" y="148"/>
                  </a:lnTo>
                  <a:lnTo>
                    <a:pt x="9" y="150"/>
                  </a:lnTo>
                  <a:lnTo>
                    <a:pt x="12" y="150"/>
                  </a:lnTo>
                  <a:lnTo>
                    <a:pt x="15" y="151"/>
                  </a:lnTo>
                  <a:lnTo>
                    <a:pt x="17" y="150"/>
                  </a:lnTo>
                  <a:lnTo>
                    <a:pt x="20" y="150"/>
                  </a:lnTo>
                  <a:lnTo>
                    <a:pt x="23" y="148"/>
                  </a:lnTo>
                  <a:lnTo>
                    <a:pt x="26" y="1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Light"/>
                <a:ea typeface="+mn-ea"/>
                <a:cs typeface="+mn-cs"/>
              </a:endParaRPr>
            </a:p>
          </p:txBody>
        </p:sp>
        <p:sp>
          <p:nvSpPr>
            <p:cNvPr id="59" name="Freeform 96"/>
            <p:cNvSpPr>
              <a:spLocks/>
            </p:cNvSpPr>
            <p:nvPr/>
          </p:nvSpPr>
          <p:spPr bwMode="auto">
            <a:xfrm>
              <a:off x="10034588" y="1973263"/>
              <a:ext cx="85725" cy="163513"/>
            </a:xfrm>
            <a:custGeom>
              <a:avLst/>
              <a:gdLst>
                <a:gd name="T0" fmla="*/ 121 w 271"/>
                <a:gd name="T1" fmla="*/ 52 h 511"/>
                <a:gd name="T2" fmla="*/ 121 w 271"/>
                <a:gd name="T3" fmla="*/ 500 h 511"/>
                <a:gd name="T4" fmla="*/ 123 w 271"/>
                <a:gd name="T5" fmla="*/ 505 h 511"/>
                <a:gd name="T6" fmla="*/ 127 w 271"/>
                <a:gd name="T7" fmla="*/ 509 h 511"/>
                <a:gd name="T8" fmla="*/ 133 w 271"/>
                <a:gd name="T9" fmla="*/ 511 h 511"/>
                <a:gd name="T10" fmla="*/ 139 w 271"/>
                <a:gd name="T11" fmla="*/ 511 h 511"/>
                <a:gd name="T12" fmla="*/ 145 w 271"/>
                <a:gd name="T13" fmla="*/ 509 h 511"/>
                <a:gd name="T14" fmla="*/ 148 w 271"/>
                <a:gd name="T15" fmla="*/ 505 h 511"/>
                <a:gd name="T16" fmla="*/ 150 w 271"/>
                <a:gd name="T17" fmla="*/ 500 h 511"/>
                <a:gd name="T18" fmla="*/ 151 w 271"/>
                <a:gd name="T19" fmla="*/ 52 h 511"/>
                <a:gd name="T20" fmla="*/ 247 w 271"/>
                <a:gd name="T21" fmla="*/ 148 h 511"/>
                <a:gd name="T22" fmla="*/ 253 w 271"/>
                <a:gd name="T23" fmla="*/ 150 h 511"/>
                <a:gd name="T24" fmla="*/ 259 w 271"/>
                <a:gd name="T25" fmla="*/ 150 h 511"/>
                <a:gd name="T26" fmla="*/ 265 w 271"/>
                <a:gd name="T27" fmla="*/ 148 h 511"/>
                <a:gd name="T28" fmla="*/ 269 w 271"/>
                <a:gd name="T29" fmla="*/ 144 h 511"/>
                <a:gd name="T30" fmla="*/ 271 w 271"/>
                <a:gd name="T31" fmla="*/ 139 h 511"/>
                <a:gd name="T32" fmla="*/ 271 w 271"/>
                <a:gd name="T33" fmla="*/ 133 h 511"/>
                <a:gd name="T34" fmla="*/ 269 w 271"/>
                <a:gd name="T35" fmla="*/ 128 h 511"/>
                <a:gd name="T36" fmla="*/ 147 w 271"/>
                <a:gd name="T37" fmla="*/ 5 h 511"/>
                <a:gd name="T38" fmla="*/ 141 w 271"/>
                <a:gd name="T39" fmla="*/ 2 h 511"/>
                <a:gd name="T40" fmla="*/ 136 w 271"/>
                <a:gd name="T41" fmla="*/ 0 h 511"/>
                <a:gd name="T42" fmla="*/ 136 w 271"/>
                <a:gd name="T43" fmla="*/ 0 h 511"/>
                <a:gd name="T44" fmla="*/ 136 w 271"/>
                <a:gd name="T45" fmla="*/ 0 h 511"/>
                <a:gd name="T46" fmla="*/ 130 w 271"/>
                <a:gd name="T47" fmla="*/ 2 h 511"/>
                <a:gd name="T48" fmla="*/ 125 w 271"/>
                <a:gd name="T49" fmla="*/ 5 h 511"/>
                <a:gd name="T50" fmla="*/ 3 w 271"/>
                <a:gd name="T51" fmla="*/ 128 h 511"/>
                <a:gd name="T52" fmla="*/ 1 w 271"/>
                <a:gd name="T53" fmla="*/ 133 h 511"/>
                <a:gd name="T54" fmla="*/ 1 w 271"/>
                <a:gd name="T55" fmla="*/ 139 h 511"/>
                <a:gd name="T56" fmla="*/ 3 w 271"/>
                <a:gd name="T57" fmla="*/ 144 h 511"/>
                <a:gd name="T58" fmla="*/ 7 w 271"/>
                <a:gd name="T59" fmla="*/ 148 h 511"/>
                <a:gd name="T60" fmla="*/ 13 w 271"/>
                <a:gd name="T61" fmla="*/ 150 h 511"/>
                <a:gd name="T62" fmla="*/ 18 w 271"/>
                <a:gd name="T63" fmla="*/ 150 h 511"/>
                <a:gd name="T64" fmla="*/ 24 w 271"/>
                <a:gd name="T65" fmla="*/ 148 h 5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71" h="511">
                  <a:moveTo>
                    <a:pt x="26" y="146"/>
                  </a:moveTo>
                  <a:lnTo>
                    <a:pt x="121" y="52"/>
                  </a:lnTo>
                  <a:lnTo>
                    <a:pt x="121" y="496"/>
                  </a:lnTo>
                  <a:lnTo>
                    <a:pt x="121" y="500"/>
                  </a:lnTo>
                  <a:lnTo>
                    <a:pt x="122" y="503"/>
                  </a:lnTo>
                  <a:lnTo>
                    <a:pt x="123" y="505"/>
                  </a:lnTo>
                  <a:lnTo>
                    <a:pt x="125" y="507"/>
                  </a:lnTo>
                  <a:lnTo>
                    <a:pt x="127" y="509"/>
                  </a:lnTo>
                  <a:lnTo>
                    <a:pt x="130" y="510"/>
                  </a:lnTo>
                  <a:lnTo>
                    <a:pt x="133" y="511"/>
                  </a:lnTo>
                  <a:lnTo>
                    <a:pt x="136" y="511"/>
                  </a:lnTo>
                  <a:lnTo>
                    <a:pt x="139" y="511"/>
                  </a:lnTo>
                  <a:lnTo>
                    <a:pt x="141" y="510"/>
                  </a:lnTo>
                  <a:lnTo>
                    <a:pt x="145" y="509"/>
                  </a:lnTo>
                  <a:lnTo>
                    <a:pt x="147" y="507"/>
                  </a:lnTo>
                  <a:lnTo>
                    <a:pt x="148" y="505"/>
                  </a:lnTo>
                  <a:lnTo>
                    <a:pt x="150" y="503"/>
                  </a:lnTo>
                  <a:lnTo>
                    <a:pt x="150" y="500"/>
                  </a:lnTo>
                  <a:lnTo>
                    <a:pt x="151" y="496"/>
                  </a:lnTo>
                  <a:lnTo>
                    <a:pt x="151" y="52"/>
                  </a:lnTo>
                  <a:lnTo>
                    <a:pt x="245" y="146"/>
                  </a:lnTo>
                  <a:lnTo>
                    <a:pt x="247" y="148"/>
                  </a:lnTo>
                  <a:lnTo>
                    <a:pt x="251" y="150"/>
                  </a:lnTo>
                  <a:lnTo>
                    <a:pt x="253" y="150"/>
                  </a:lnTo>
                  <a:lnTo>
                    <a:pt x="256" y="151"/>
                  </a:lnTo>
                  <a:lnTo>
                    <a:pt x="259" y="150"/>
                  </a:lnTo>
                  <a:lnTo>
                    <a:pt x="261" y="150"/>
                  </a:lnTo>
                  <a:lnTo>
                    <a:pt x="265" y="148"/>
                  </a:lnTo>
                  <a:lnTo>
                    <a:pt x="267" y="146"/>
                  </a:lnTo>
                  <a:lnTo>
                    <a:pt x="269" y="144"/>
                  </a:lnTo>
                  <a:lnTo>
                    <a:pt x="270" y="142"/>
                  </a:lnTo>
                  <a:lnTo>
                    <a:pt x="271" y="139"/>
                  </a:lnTo>
                  <a:lnTo>
                    <a:pt x="271" y="136"/>
                  </a:lnTo>
                  <a:lnTo>
                    <a:pt x="271" y="133"/>
                  </a:lnTo>
                  <a:lnTo>
                    <a:pt x="270" y="130"/>
                  </a:lnTo>
                  <a:lnTo>
                    <a:pt x="269" y="128"/>
                  </a:lnTo>
                  <a:lnTo>
                    <a:pt x="267" y="126"/>
                  </a:lnTo>
                  <a:lnTo>
                    <a:pt x="147" y="5"/>
                  </a:lnTo>
                  <a:lnTo>
                    <a:pt x="144" y="4"/>
                  </a:lnTo>
                  <a:lnTo>
                    <a:pt x="141" y="2"/>
                  </a:lnTo>
                  <a:lnTo>
                    <a:pt x="138" y="2"/>
                  </a:lnTo>
                  <a:lnTo>
                    <a:pt x="136" y="0"/>
                  </a:lnTo>
                  <a:lnTo>
                    <a:pt x="136" y="0"/>
                  </a:lnTo>
                  <a:lnTo>
                    <a:pt x="136" y="0"/>
                  </a:lnTo>
                  <a:lnTo>
                    <a:pt x="136" y="0"/>
                  </a:lnTo>
                  <a:lnTo>
                    <a:pt x="136" y="0"/>
                  </a:lnTo>
                  <a:lnTo>
                    <a:pt x="133" y="0"/>
                  </a:lnTo>
                  <a:lnTo>
                    <a:pt x="130" y="2"/>
                  </a:lnTo>
                  <a:lnTo>
                    <a:pt x="127" y="4"/>
                  </a:lnTo>
                  <a:lnTo>
                    <a:pt x="125" y="5"/>
                  </a:lnTo>
                  <a:lnTo>
                    <a:pt x="4" y="126"/>
                  </a:lnTo>
                  <a:lnTo>
                    <a:pt x="3" y="128"/>
                  </a:lnTo>
                  <a:lnTo>
                    <a:pt x="1" y="130"/>
                  </a:lnTo>
                  <a:lnTo>
                    <a:pt x="1" y="133"/>
                  </a:lnTo>
                  <a:lnTo>
                    <a:pt x="0" y="136"/>
                  </a:lnTo>
                  <a:lnTo>
                    <a:pt x="1" y="139"/>
                  </a:lnTo>
                  <a:lnTo>
                    <a:pt x="1" y="142"/>
                  </a:lnTo>
                  <a:lnTo>
                    <a:pt x="3" y="144"/>
                  </a:lnTo>
                  <a:lnTo>
                    <a:pt x="4" y="146"/>
                  </a:lnTo>
                  <a:lnTo>
                    <a:pt x="7" y="148"/>
                  </a:lnTo>
                  <a:lnTo>
                    <a:pt x="10" y="150"/>
                  </a:lnTo>
                  <a:lnTo>
                    <a:pt x="13" y="150"/>
                  </a:lnTo>
                  <a:lnTo>
                    <a:pt x="15" y="151"/>
                  </a:lnTo>
                  <a:lnTo>
                    <a:pt x="18" y="150"/>
                  </a:lnTo>
                  <a:lnTo>
                    <a:pt x="21" y="150"/>
                  </a:lnTo>
                  <a:lnTo>
                    <a:pt x="24" y="148"/>
                  </a:lnTo>
                  <a:lnTo>
                    <a:pt x="26" y="1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Light"/>
                <a:ea typeface="+mn-ea"/>
                <a:cs typeface="+mn-cs"/>
              </a:endParaRPr>
            </a:p>
          </p:txBody>
        </p:sp>
      </p:grpSp>
      <p:sp>
        <p:nvSpPr>
          <p:cNvPr id="60" name="TextBox 59"/>
          <p:cNvSpPr txBox="1"/>
          <p:nvPr/>
        </p:nvSpPr>
        <p:spPr>
          <a:xfrm>
            <a:off x="2081342" y="5504286"/>
            <a:ext cx="1513338" cy="6471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dirty="0">
                <a:ln>
                  <a:noFill/>
                </a:ln>
                <a:solidFill>
                  <a:prstClr val="white"/>
                </a:solidFill>
                <a:effectLst/>
                <a:uLnTx/>
                <a:uFillTx/>
                <a:latin typeface="Calibri Light"/>
                <a:ea typeface="+mn-ea"/>
                <a:cs typeface="+mn-cs"/>
              </a:rPr>
              <a:t>37%</a:t>
            </a:r>
          </a:p>
        </p:txBody>
      </p:sp>
      <p:sp>
        <p:nvSpPr>
          <p:cNvPr id="61" name="TextBox 60"/>
          <p:cNvSpPr txBox="1"/>
          <p:nvPr/>
        </p:nvSpPr>
        <p:spPr>
          <a:xfrm>
            <a:off x="3674410" y="5504286"/>
            <a:ext cx="1513338" cy="6471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dirty="0">
                <a:ln>
                  <a:noFill/>
                </a:ln>
                <a:solidFill>
                  <a:prstClr val="white"/>
                </a:solidFill>
                <a:effectLst/>
                <a:uLnTx/>
                <a:uFillTx/>
                <a:latin typeface="Calibri Light"/>
                <a:ea typeface="+mn-ea"/>
                <a:cs typeface="+mn-cs"/>
              </a:rPr>
              <a:t>63%</a:t>
            </a:r>
          </a:p>
        </p:txBody>
      </p:sp>
      <p:grpSp>
        <p:nvGrpSpPr>
          <p:cNvPr id="62" name="Group 61"/>
          <p:cNvGrpSpPr/>
          <p:nvPr/>
        </p:nvGrpSpPr>
        <p:grpSpPr>
          <a:xfrm>
            <a:off x="7502299" y="3371103"/>
            <a:ext cx="649229" cy="649229"/>
            <a:chOff x="7023101" y="1917700"/>
            <a:chExt cx="287338" cy="287337"/>
          </a:xfrm>
          <a:solidFill>
            <a:srgbClr val="3B3939"/>
          </a:solidFill>
        </p:grpSpPr>
        <p:sp>
          <p:nvSpPr>
            <p:cNvPr id="63" name="Freeform 274"/>
            <p:cNvSpPr>
              <a:spLocks noEditPoints="1"/>
            </p:cNvSpPr>
            <p:nvPr/>
          </p:nvSpPr>
          <p:spPr bwMode="auto">
            <a:xfrm>
              <a:off x="7023101" y="1917700"/>
              <a:ext cx="287338" cy="287337"/>
            </a:xfrm>
            <a:custGeom>
              <a:avLst/>
              <a:gdLst>
                <a:gd name="T0" fmla="*/ 813 w 903"/>
                <a:gd name="T1" fmla="*/ 795 h 903"/>
                <a:gd name="T2" fmla="*/ 807 w 903"/>
                <a:gd name="T3" fmla="*/ 785 h 903"/>
                <a:gd name="T4" fmla="*/ 738 w 903"/>
                <a:gd name="T5" fmla="*/ 782 h 903"/>
                <a:gd name="T6" fmla="*/ 727 w 903"/>
                <a:gd name="T7" fmla="*/ 787 h 903"/>
                <a:gd name="T8" fmla="*/ 723 w 903"/>
                <a:gd name="T9" fmla="*/ 798 h 903"/>
                <a:gd name="T10" fmla="*/ 678 w 903"/>
                <a:gd name="T11" fmla="*/ 391 h 903"/>
                <a:gd name="T12" fmla="*/ 753 w 903"/>
                <a:gd name="T13" fmla="*/ 873 h 903"/>
                <a:gd name="T14" fmla="*/ 753 w 903"/>
                <a:gd name="T15" fmla="*/ 873 h 903"/>
                <a:gd name="T16" fmla="*/ 181 w 903"/>
                <a:gd name="T17" fmla="*/ 873 h 903"/>
                <a:gd name="T18" fmla="*/ 286 w 903"/>
                <a:gd name="T19" fmla="*/ 300 h 903"/>
                <a:gd name="T20" fmla="*/ 211 w 903"/>
                <a:gd name="T21" fmla="*/ 797 h 903"/>
                <a:gd name="T22" fmla="*/ 207 w 903"/>
                <a:gd name="T23" fmla="*/ 787 h 903"/>
                <a:gd name="T24" fmla="*/ 196 w 903"/>
                <a:gd name="T25" fmla="*/ 783 h 903"/>
                <a:gd name="T26" fmla="*/ 128 w 903"/>
                <a:gd name="T27" fmla="*/ 785 h 903"/>
                <a:gd name="T28" fmla="*/ 121 w 903"/>
                <a:gd name="T29" fmla="*/ 795 h 903"/>
                <a:gd name="T30" fmla="*/ 30 w 903"/>
                <a:gd name="T31" fmla="*/ 300 h 903"/>
                <a:gd name="T32" fmla="*/ 90 w 903"/>
                <a:gd name="T33" fmla="*/ 270 h 903"/>
                <a:gd name="T34" fmla="*/ 362 w 903"/>
                <a:gd name="T35" fmla="*/ 873 h 903"/>
                <a:gd name="T36" fmla="*/ 813 w 903"/>
                <a:gd name="T37" fmla="*/ 300 h 903"/>
                <a:gd name="T38" fmla="*/ 888 w 903"/>
                <a:gd name="T39" fmla="*/ 361 h 903"/>
                <a:gd name="T40" fmla="*/ 842 w 903"/>
                <a:gd name="T41" fmla="*/ 280 h 903"/>
                <a:gd name="T42" fmla="*/ 834 w 903"/>
                <a:gd name="T43" fmla="*/ 271 h 903"/>
                <a:gd name="T44" fmla="*/ 675 w 903"/>
                <a:gd name="T45" fmla="*/ 271 h 903"/>
                <a:gd name="T46" fmla="*/ 665 w 903"/>
                <a:gd name="T47" fmla="*/ 278 h 903"/>
                <a:gd name="T48" fmla="*/ 663 w 903"/>
                <a:gd name="T49" fmla="*/ 361 h 903"/>
                <a:gd name="T50" fmla="*/ 609 w 903"/>
                <a:gd name="T51" fmla="*/ 364 h 903"/>
                <a:gd name="T52" fmla="*/ 603 w 903"/>
                <a:gd name="T53" fmla="*/ 373 h 903"/>
                <a:gd name="T54" fmla="*/ 362 w 903"/>
                <a:gd name="T55" fmla="*/ 285 h 903"/>
                <a:gd name="T56" fmla="*/ 357 w 903"/>
                <a:gd name="T57" fmla="*/ 274 h 903"/>
                <a:gd name="T58" fmla="*/ 347 w 903"/>
                <a:gd name="T59" fmla="*/ 270 h 903"/>
                <a:gd name="T60" fmla="*/ 300 w 903"/>
                <a:gd name="T61" fmla="*/ 160 h 903"/>
                <a:gd name="T62" fmla="*/ 292 w 903"/>
                <a:gd name="T63" fmla="*/ 151 h 903"/>
                <a:gd name="T64" fmla="*/ 181 w 903"/>
                <a:gd name="T65" fmla="*/ 15 h 903"/>
                <a:gd name="T66" fmla="*/ 177 w 903"/>
                <a:gd name="T67" fmla="*/ 4 h 903"/>
                <a:gd name="T68" fmla="*/ 166 w 903"/>
                <a:gd name="T69" fmla="*/ 0 h 903"/>
                <a:gd name="T70" fmla="*/ 156 w 903"/>
                <a:gd name="T71" fmla="*/ 4 h 903"/>
                <a:gd name="T72" fmla="*/ 151 w 903"/>
                <a:gd name="T73" fmla="*/ 15 h 903"/>
                <a:gd name="T74" fmla="*/ 70 w 903"/>
                <a:gd name="T75" fmla="*/ 151 h 903"/>
                <a:gd name="T76" fmla="*/ 61 w 903"/>
                <a:gd name="T77" fmla="*/ 160 h 903"/>
                <a:gd name="T78" fmla="*/ 15 w 903"/>
                <a:gd name="T79" fmla="*/ 270 h 903"/>
                <a:gd name="T80" fmla="*/ 4 w 903"/>
                <a:gd name="T81" fmla="*/ 274 h 903"/>
                <a:gd name="T82" fmla="*/ 0 w 903"/>
                <a:gd name="T83" fmla="*/ 285 h 903"/>
                <a:gd name="T84" fmla="*/ 3 w 903"/>
                <a:gd name="T85" fmla="*/ 897 h 903"/>
                <a:gd name="T86" fmla="*/ 12 w 903"/>
                <a:gd name="T87" fmla="*/ 903 h 903"/>
                <a:gd name="T88" fmla="*/ 347 w 903"/>
                <a:gd name="T89" fmla="*/ 903 h 903"/>
                <a:gd name="T90" fmla="*/ 888 w 903"/>
                <a:gd name="T91" fmla="*/ 903 h 903"/>
                <a:gd name="T92" fmla="*/ 899 w 903"/>
                <a:gd name="T93" fmla="*/ 899 h 903"/>
                <a:gd name="T94" fmla="*/ 903 w 903"/>
                <a:gd name="T95" fmla="*/ 888 h 903"/>
                <a:gd name="T96" fmla="*/ 901 w 903"/>
                <a:gd name="T97" fmla="*/ 368 h 903"/>
                <a:gd name="T98" fmla="*/ 891 w 903"/>
                <a:gd name="T99" fmla="*/ 361 h 9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903" h="903">
                  <a:moveTo>
                    <a:pt x="873" y="873"/>
                  </a:moveTo>
                  <a:lnTo>
                    <a:pt x="813" y="873"/>
                  </a:lnTo>
                  <a:lnTo>
                    <a:pt x="813" y="797"/>
                  </a:lnTo>
                  <a:lnTo>
                    <a:pt x="813" y="795"/>
                  </a:lnTo>
                  <a:lnTo>
                    <a:pt x="812" y="792"/>
                  </a:lnTo>
                  <a:lnTo>
                    <a:pt x="811" y="789"/>
                  </a:lnTo>
                  <a:lnTo>
                    <a:pt x="809" y="787"/>
                  </a:lnTo>
                  <a:lnTo>
                    <a:pt x="807" y="785"/>
                  </a:lnTo>
                  <a:lnTo>
                    <a:pt x="804" y="784"/>
                  </a:lnTo>
                  <a:lnTo>
                    <a:pt x="801" y="783"/>
                  </a:lnTo>
                  <a:lnTo>
                    <a:pt x="798" y="783"/>
                  </a:lnTo>
                  <a:lnTo>
                    <a:pt x="738" y="782"/>
                  </a:lnTo>
                  <a:lnTo>
                    <a:pt x="735" y="783"/>
                  </a:lnTo>
                  <a:lnTo>
                    <a:pt x="733" y="784"/>
                  </a:lnTo>
                  <a:lnTo>
                    <a:pt x="729" y="785"/>
                  </a:lnTo>
                  <a:lnTo>
                    <a:pt x="727" y="787"/>
                  </a:lnTo>
                  <a:lnTo>
                    <a:pt x="725" y="789"/>
                  </a:lnTo>
                  <a:lnTo>
                    <a:pt x="724" y="792"/>
                  </a:lnTo>
                  <a:lnTo>
                    <a:pt x="723" y="795"/>
                  </a:lnTo>
                  <a:lnTo>
                    <a:pt x="723" y="798"/>
                  </a:lnTo>
                  <a:lnTo>
                    <a:pt x="723" y="873"/>
                  </a:lnTo>
                  <a:lnTo>
                    <a:pt x="633" y="873"/>
                  </a:lnTo>
                  <a:lnTo>
                    <a:pt x="633" y="391"/>
                  </a:lnTo>
                  <a:lnTo>
                    <a:pt x="678" y="391"/>
                  </a:lnTo>
                  <a:lnTo>
                    <a:pt x="828" y="391"/>
                  </a:lnTo>
                  <a:lnTo>
                    <a:pt x="873" y="391"/>
                  </a:lnTo>
                  <a:lnTo>
                    <a:pt x="873" y="873"/>
                  </a:lnTo>
                  <a:close/>
                  <a:moveTo>
                    <a:pt x="753" y="873"/>
                  </a:moveTo>
                  <a:lnTo>
                    <a:pt x="753" y="813"/>
                  </a:lnTo>
                  <a:lnTo>
                    <a:pt x="783" y="813"/>
                  </a:lnTo>
                  <a:lnTo>
                    <a:pt x="783" y="873"/>
                  </a:lnTo>
                  <a:lnTo>
                    <a:pt x="753" y="873"/>
                  </a:lnTo>
                  <a:close/>
                  <a:moveTo>
                    <a:pt x="151" y="873"/>
                  </a:moveTo>
                  <a:lnTo>
                    <a:pt x="151" y="813"/>
                  </a:lnTo>
                  <a:lnTo>
                    <a:pt x="181" y="813"/>
                  </a:lnTo>
                  <a:lnTo>
                    <a:pt x="181" y="873"/>
                  </a:lnTo>
                  <a:lnTo>
                    <a:pt x="151" y="873"/>
                  </a:lnTo>
                  <a:close/>
                  <a:moveTo>
                    <a:pt x="30" y="300"/>
                  </a:moveTo>
                  <a:lnTo>
                    <a:pt x="75" y="300"/>
                  </a:lnTo>
                  <a:lnTo>
                    <a:pt x="286" y="300"/>
                  </a:lnTo>
                  <a:lnTo>
                    <a:pt x="331" y="300"/>
                  </a:lnTo>
                  <a:lnTo>
                    <a:pt x="331" y="873"/>
                  </a:lnTo>
                  <a:lnTo>
                    <a:pt x="211" y="873"/>
                  </a:lnTo>
                  <a:lnTo>
                    <a:pt x="211" y="797"/>
                  </a:lnTo>
                  <a:lnTo>
                    <a:pt x="210" y="795"/>
                  </a:lnTo>
                  <a:lnTo>
                    <a:pt x="210" y="792"/>
                  </a:lnTo>
                  <a:lnTo>
                    <a:pt x="208" y="789"/>
                  </a:lnTo>
                  <a:lnTo>
                    <a:pt x="207" y="787"/>
                  </a:lnTo>
                  <a:lnTo>
                    <a:pt x="205" y="785"/>
                  </a:lnTo>
                  <a:lnTo>
                    <a:pt x="202" y="784"/>
                  </a:lnTo>
                  <a:lnTo>
                    <a:pt x="200" y="783"/>
                  </a:lnTo>
                  <a:lnTo>
                    <a:pt x="196" y="783"/>
                  </a:lnTo>
                  <a:lnTo>
                    <a:pt x="136" y="782"/>
                  </a:lnTo>
                  <a:lnTo>
                    <a:pt x="133" y="783"/>
                  </a:lnTo>
                  <a:lnTo>
                    <a:pt x="130" y="784"/>
                  </a:lnTo>
                  <a:lnTo>
                    <a:pt x="128" y="785"/>
                  </a:lnTo>
                  <a:lnTo>
                    <a:pt x="126" y="787"/>
                  </a:lnTo>
                  <a:lnTo>
                    <a:pt x="123" y="789"/>
                  </a:lnTo>
                  <a:lnTo>
                    <a:pt x="122" y="792"/>
                  </a:lnTo>
                  <a:lnTo>
                    <a:pt x="121" y="795"/>
                  </a:lnTo>
                  <a:lnTo>
                    <a:pt x="121" y="798"/>
                  </a:lnTo>
                  <a:lnTo>
                    <a:pt x="121" y="873"/>
                  </a:lnTo>
                  <a:lnTo>
                    <a:pt x="30" y="873"/>
                  </a:lnTo>
                  <a:lnTo>
                    <a:pt x="30" y="300"/>
                  </a:lnTo>
                  <a:close/>
                  <a:moveTo>
                    <a:pt x="90" y="180"/>
                  </a:moveTo>
                  <a:lnTo>
                    <a:pt x="271" y="180"/>
                  </a:lnTo>
                  <a:lnTo>
                    <a:pt x="271" y="270"/>
                  </a:lnTo>
                  <a:lnTo>
                    <a:pt x="90" y="270"/>
                  </a:lnTo>
                  <a:lnTo>
                    <a:pt x="90" y="180"/>
                  </a:lnTo>
                  <a:close/>
                  <a:moveTo>
                    <a:pt x="603" y="542"/>
                  </a:moveTo>
                  <a:lnTo>
                    <a:pt x="603" y="873"/>
                  </a:lnTo>
                  <a:lnTo>
                    <a:pt x="362" y="873"/>
                  </a:lnTo>
                  <a:lnTo>
                    <a:pt x="362" y="542"/>
                  </a:lnTo>
                  <a:lnTo>
                    <a:pt x="603" y="542"/>
                  </a:lnTo>
                  <a:close/>
                  <a:moveTo>
                    <a:pt x="693" y="300"/>
                  </a:moveTo>
                  <a:lnTo>
                    <a:pt x="813" y="300"/>
                  </a:lnTo>
                  <a:lnTo>
                    <a:pt x="813" y="361"/>
                  </a:lnTo>
                  <a:lnTo>
                    <a:pt x="693" y="361"/>
                  </a:lnTo>
                  <a:lnTo>
                    <a:pt x="693" y="300"/>
                  </a:lnTo>
                  <a:close/>
                  <a:moveTo>
                    <a:pt x="888" y="361"/>
                  </a:moveTo>
                  <a:lnTo>
                    <a:pt x="843" y="361"/>
                  </a:lnTo>
                  <a:lnTo>
                    <a:pt x="843" y="285"/>
                  </a:lnTo>
                  <a:lnTo>
                    <a:pt x="843" y="282"/>
                  </a:lnTo>
                  <a:lnTo>
                    <a:pt x="842" y="280"/>
                  </a:lnTo>
                  <a:lnTo>
                    <a:pt x="841" y="277"/>
                  </a:lnTo>
                  <a:lnTo>
                    <a:pt x="839" y="274"/>
                  </a:lnTo>
                  <a:lnTo>
                    <a:pt x="837" y="273"/>
                  </a:lnTo>
                  <a:lnTo>
                    <a:pt x="834" y="271"/>
                  </a:lnTo>
                  <a:lnTo>
                    <a:pt x="831" y="271"/>
                  </a:lnTo>
                  <a:lnTo>
                    <a:pt x="828" y="270"/>
                  </a:lnTo>
                  <a:lnTo>
                    <a:pt x="678" y="270"/>
                  </a:lnTo>
                  <a:lnTo>
                    <a:pt x="675" y="271"/>
                  </a:lnTo>
                  <a:lnTo>
                    <a:pt x="671" y="271"/>
                  </a:lnTo>
                  <a:lnTo>
                    <a:pt x="669" y="273"/>
                  </a:lnTo>
                  <a:lnTo>
                    <a:pt x="667" y="274"/>
                  </a:lnTo>
                  <a:lnTo>
                    <a:pt x="665" y="278"/>
                  </a:lnTo>
                  <a:lnTo>
                    <a:pt x="664" y="280"/>
                  </a:lnTo>
                  <a:lnTo>
                    <a:pt x="663" y="283"/>
                  </a:lnTo>
                  <a:lnTo>
                    <a:pt x="663" y="285"/>
                  </a:lnTo>
                  <a:lnTo>
                    <a:pt x="663" y="361"/>
                  </a:lnTo>
                  <a:lnTo>
                    <a:pt x="618" y="361"/>
                  </a:lnTo>
                  <a:lnTo>
                    <a:pt x="615" y="361"/>
                  </a:lnTo>
                  <a:lnTo>
                    <a:pt x="611" y="362"/>
                  </a:lnTo>
                  <a:lnTo>
                    <a:pt x="609" y="364"/>
                  </a:lnTo>
                  <a:lnTo>
                    <a:pt x="607" y="366"/>
                  </a:lnTo>
                  <a:lnTo>
                    <a:pt x="605" y="368"/>
                  </a:lnTo>
                  <a:lnTo>
                    <a:pt x="604" y="370"/>
                  </a:lnTo>
                  <a:lnTo>
                    <a:pt x="603" y="373"/>
                  </a:lnTo>
                  <a:lnTo>
                    <a:pt x="603" y="376"/>
                  </a:lnTo>
                  <a:lnTo>
                    <a:pt x="603" y="512"/>
                  </a:lnTo>
                  <a:lnTo>
                    <a:pt x="362" y="512"/>
                  </a:lnTo>
                  <a:lnTo>
                    <a:pt x="362" y="285"/>
                  </a:lnTo>
                  <a:lnTo>
                    <a:pt x="362" y="282"/>
                  </a:lnTo>
                  <a:lnTo>
                    <a:pt x="360" y="280"/>
                  </a:lnTo>
                  <a:lnTo>
                    <a:pt x="359" y="277"/>
                  </a:lnTo>
                  <a:lnTo>
                    <a:pt x="357" y="274"/>
                  </a:lnTo>
                  <a:lnTo>
                    <a:pt x="355" y="273"/>
                  </a:lnTo>
                  <a:lnTo>
                    <a:pt x="352" y="271"/>
                  </a:lnTo>
                  <a:lnTo>
                    <a:pt x="350" y="271"/>
                  </a:lnTo>
                  <a:lnTo>
                    <a:pt x="347" y="270"/>
                  </a:lnTo>
                  <a:lnTo>
                    <a:pt x="301" y="270"/>
                  </a:lnTo>
                  <a:lnTo>
                    <a:pt x="301" y="165"/>
                  </a:lnTo>
                  <a:lnTo>
                    <a:pt x="301" y="162"/>
                  </a:lnTo>
                  <a:lnTo>
                    <a:pt x="300" y="160"/>
                  </a:lnTo>
                  <a:lnTo>
                    <a:pt x="299" y="156"/>
                  </a:lnTo>
                  <a:lnTo>
                    <a:pt x="297" y="154"/>
                  </a:lnTo>
                  <a:lnTo>
                    <a:pt x="295" y="152"/>
                  </a:lnTo>
                  <a:lnTo>
                    <a:pt x="292" y="151"/>
                  </a:lnTo>
                  <a:lnTo>
                    <a:pt x="290" y="150"/>
                  </a:lnTo>
                  <a:lnTo>
                    <a:pt x="286" y="150"/>
                  </a:lnTo>
                  <a:lnTo>
                    <a:pt x="181" y="150"/>
                  </a:lnTo>
                  <a:lnTo>
                    <a:pt x="181" y="15"/>
                  </a:lnTo>
                  <a:lnTo>
                    <a:pt x="180" y="12"/>
                  </a:lnTo>
                  <a:lnTo>
                    <a:pt x="180" y="8"/>
                  </a:lnTo>
                  <a:lnTo>
                    <a:pt x="178" y="6"/>
                  </a:lnTo>
                  <a:lnTo>
                    <a:pt x="177" y="4"/>
                  </a:lnTo>
                  <a:lnTo>
                    <a:pt x="174" y="2"/>
                  </a:lnTo>
                  <a:lnTo>
                    <a:pt x="172" y="1"/>
                  </a:lnTo>
                  <a:lnTo>
                    <a:pt x="168" y="0"/>
                  </a:lnTo>
                  <a:lnTo>
                    <a:pt x="166" y="0"/>
                  </a:lnTo>
                  <a:lnTo>
                    <a:pt x="163" y="0"/>
                  </a:lnTo>
                  <a:lnTo>
                    <a:pt x="160" y="1"/>
                  </a:lnTo>
                  <a:lnTo>
                    <a:pt x="158" y="2"/>
                  </a:lnTo>
                  <a:lnTo>
                    <a:pt x="156" y="4"/>
                  </a:lnTo>
                  <a:lnTo>
                    <a:pt x="153" y="6"/>
                  </a:lnTo>
                  <a:lnTo>
                    <a:pt x="152" y="8"/>
                  </a:lnTo>
                  <a:lnTo>
                    <a:pt x="151" y="12"/>
                  </a:lnTo>
                  <a:lnTo>
                    <a:pt x="151" y="15"/>
                  </a:lnTo>
                  <a:lnTo>
                    <a:pt x="151" y="150"/>
                  </a:lnTo>
                  <a:lnTo>
                    <a:pt x="75" y="150"/>
                  </a:lnTo>
                  <a:lnTo>
                    <a:pt x="73" y="150"/>
                  </a:lnTo>
                  <a:lnTo>
                    <a:pt x="70" y="151"/>
                  </a:lnTo>
                  <a:lnTo>
                    <a:pt x="68" y="152"/>
                  </a:lnTo>
                  <a:lnTo>
                    <a:pt x="64" y="154"/>
                  </a:lnTo>
                  <a:lnTo>
                    <a:pt x="63" y="156"/>
                  </a:lnTo>
                  <a:lnTo>
                    <a:pt x="61" y="160"/>
                  </a:lnTo>
                  <a:lnTo>
                    <a:pt x="61" y="162"/>
                  </a:lnTo>
                  <a:lnTo>
                    <a:pt x="60" y="165"/>
                  </a:lnTo>
                  <a:lnTo>
                    <a:pt x="60" y="270"/>
                  </a:lnTo>
                  <a:lnTo>
                    <a:pt x="15" y="270"/>
                  </a:lnTo>
                  <a:lnTo>
                    <a:pt x="12" y="271"/>
                  </a:lnTo>
                  <a:lnTo>
                    <a:pt x="10" y="271"/>
                  </a:lnTo>
                  <a:lnTo>
                    <a:pt x="7" y="273"/>
                  </a:lnTo>
                  <a:lnTo>
                    <a:pt x="4" y="274"/>
                  </a:lnTo>
                  <a:lnTo>
                    <a:pt x="3" y="278"/>
                  </a:lnTo>
                  <a:lnTo>
                    <a:pt x="1" y="280"/>
                  </a:lnTo>
                  <a:lnTo>
                    <a:pt x="1" y="283"/>
                  </a:lnTo>
                  <a:lnTo>
                    <a:pt x="0" y="285"/>
                  </a:lnTo>
                  <a:lnTo>
                    <a:pt x="0" y="888"/>
                  </a:lnTo>
                  <a:lnTo>
                    <a:pt x="1" y="891"/>
                  </a:lnTo>
                  <a:lnTo>
                    <a:pt x="1" y="894"/>
                  </a:lnTo>
                  <a:lnTo>
                    <a:pt x="3" y="897"/>
                  </a:lnTo>
                  <a:lnTo>
                    <a:pt x="4" y="899"/>
                  </a:lnTo>
                  <a:lnTo>
                    <a:pt x="7" y="900"/>
                  </a:lnTo>
                  <a:lnTo>
                    <a:pt x="10" y="902"/>
                  </a:lnTo>
                  <a:lnTo>
                    <a:pt x="12" y="903"/>
                  </a:lnTo>
                  <a:lnTo>
                    <a:pt x="15" y="903"/>
                  </a:lnTo>
                  <a:lnTo>
                    <a:pt x="136" y="903"/>
                  </a:lnTo>
                  <a:lnTo>
                    <a:pt x="196" y="903"/>
                  </a:lnTo>
                  <a:lnTo>
                    <a:pt x="347" y="903"/>
                  </a:lnTo>
                  <a:lnTo>
                    <a:pt x="618" y="903"/>
                  </a:lnTo>
                  <a:lnTo>
                    <a:pt x="738" y="903"/>
                  </a:lnTo>
                  <a:lnTo>
                    <a:pt x="798" y="903"/>
                  </a:lnTo>
                  <a:lnTo>
                    <a:pt x="888" y="903"/>
                  </a:lnTo>
                  <a:lnTo>
                    <a:pt x="891" y="902"/>
                  </a:lnTo>
                  <a:lnTo>
                    <a:pt x="895" y="902"/>
                  </a:lnTo>
                  <a:lnTo>
                    <a:pt x="897" y="900"/>
                  </a:lnTo>
                  <a:lnTo>
                    <a:pt x="899" y="899"/>
                  </a:lnTo>
                  <a:lnTo>
                    <a:pt x="901" y="897"/>
                  </a:lnTo>
                  <a:lnTo>
                    <a:pt x="902" y="894"/>
                  </a:lnTo>
                  <a:lnTo>
                    <a:pt x="903" y="891"/>
                  </a:lnTo>
                  <a:lnTo>
                    <a:pt x="903" y="888"/>
                  </a:lnTo>
                  <a:lnTo>
                    <a:pt x="903" y="376"/>
                  </a:lnTo>
                  <a:lnTo>
                    <a:pt x="903" y="373"/>
                  </a:lnTo>
                  <a:lnTo>
                    <a:pt x="902" y="370"/>
                  </a:lnTo>
                  <a:lnTo>
                    <a:pt x="901" y="368"/>
                  </a:lnTo>
                  <a:lnTo>
                    <a:pt x="899" y="366"/>
                  </a:lnTo>
                  <a:lnTo>
                    <a:pt x="897" y="364"/>
                  </a:lnTo>
                  <a:lnTo>
                    <a:pt x="895" y="362"/>
                  </a:lnTo>
                  <a:lnTo>
                    <a:pt x="891" y="361"/>
                  </a:lnTo>
                  <a:lnTo>
                    <a:pt x="888" y="3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Light"/>
                <a:ea typeface="+mn-ea"/>
                <a:cs typeface="+mn-cs"/>
              </a:endParaRPr>
            </a:p>
          </p:txBody>
        </p:sp>
        <p:sp>
          <p:nvSpPr>
            <p:cNvPr id="64" name="Freeform 275"/>
            <p:cNvSpPr>
              <a:spLocks/>
            </p:cNvSpPr>
            <p:nvPr/>
          </p:nvSpPr>
          <p:spPr bwMode="auto">
            <a:xfrm>
              <a:off x="7061201" y="1984375"/>
              <a:ext cx="38100" cy="9525"/>
            </a:xfrm>
            <a:custGeom>
              <a:avLst/>
              <a:gdLst>
                <a:gd name="T0" fmla="*/ 105 w 120"/>
                <a:gd name="T1" fmla="*/ 0 h 30"/>
                <a:gd name="T2" fmla="*/ 15 w 120"/>
                <a:gd name="T3" fmla="*/ 0 h 30"/>
                <a:gd name="T4" fmla="*/ 12 w 120"/>
                <a:gd name="T5" fmla="*/ 0 h 30"/>
                <a:gd name="T6" fmla="*/ 9 w 120"/>
                <a:gd name="T7" fmla="*/ 1 h 30"/>
                <a:gd name="T8" fmla="*/ 7 w 120"/>
                <a:gd name="T9" fmla="*/ 3 h 30"/>
                <a:gd name="T10" fmla="*/ 5 w 120"/>
                <a:gd name="T11" fmla="*/ 4 h 30"/>
                <a:gd name="T12" fmla="*/ 2 w 120"/>
                <a:gd name="T13" fmla="*/ 7 h 30"/>
                <a:gd name="T14" fmla="*/ 1 w 120"/>
                <a:gd name="T15" fmla="*/ 10 h 30"/>
                <a:gd name="T16" fmla="*/ 0 w 120"/>
                <a:gd name="T17" fmla="*/ 12 h 30"/>
                <a:gd name="T18" fmla="*/ 0 w 120"/>
                <a:gd name="T19" fmla="*/ 15 h 30"/>
                <a:gd name="T20" fmla="*/ 0 w 120"/>
                <a:gd name="T21" fmla="*/ 18 h 30"/>
                <a:gd name="T22" fmla="*/ 1 w 120"/>
                <a:gd name="T23" fmla="*/ 22 h 30"/>
                <a:gd name="T24" fmla="*/ 2 w 120"/>
                <a:gd name="T25" fmla="*/ 24 h 30"/>
                <a:gd name="T26" fmla="*/ 5 w 120"/>
                <a:gd name="T27" fmla="*/ 26 h 30"/>
                <a:gd name="T28" fmla="*/ 7 w 120"/>
                <a:gd name="T29" fmla="*/ 28 h 30"/>
                <a:gd name="T30" fmla="*/ 9 w 120"/>
                <a:gd name="T31" fmla="*/ 29 h 30"/>
                <a:gd name="T32" fmla="*/ 12 w 120"/>
                <a:gd name="T33" fmla="*/ 30 h 30"/>
                <a:gd name="T34" fmla="*/ 15 w 120"/>
                <a:gd name="T35" fmla="*/ 30 h 30"/>
                <a:gd name="T36" fmla="*/ 105 w 120"/>
                <a:gd name="T37" fmla="*/ 30 h 30"/>
                <a:gd name="T38" fmla="*/ 109 w 120"/>
                <a:gd name="T39" fmla="*/ 30 h 30"/>
                <a:gd name="T40" fmla="*/ 111 w 120"/>
                <a:gd name="T41" fmla="*/ 29 h 30"/>
                <a:gd name="T42" fmla="*/ 114 w 120"/>
                <a:gd name="T43" fmla="*/ 28 h 30"/>
                <a:gd name="T44" fmla="*/ 116 w 120"/>
                <a:gd name="T45" fmla="*/ 26 h 30"/>
                <a:gd name="T46" fmla="*/ 117 w 120"/>
                <a:gd name="T47" fmla="*/ 24 h 30"/>
                <a:gd name="T48" fmla="*/ 119 w 120"/>
                <a:gd name="T49" fmla="*/ 22 h 30"/>
                <a:gd name="T50" fmla="*/ 120 w 120"/>
                <a:gd name="T51" fmla="*/ 18 h 30"/>
                <a:gd name="T52" fmla="*/ 120 w 120"/>
                <a:gd name="T53" fmla="*/ 15 h 30"/>
                <a:gd name="T54" fmla="*/ 120 w 120"/>
                <a:gd name="T55" fmla="*/ 12 h 30"/>
                <a:gd name="T56" fmla="*/ 119 w 120"/>
                <a:gd name="T57" fmla="*/ 10 h 30"/>
                <a:gd name="T58" fmla="*/ 117 w 120"/>
                <a:gd name="T59" fmla="*/ 7 h 30"/>
                <a:gd name="T60" fmla="*/ 116 w 120"/>
                <a:gd name="T61" fmla="*/ 4 h 30"/>
                <a:gd name="T62" fmla="*/ 114 w 120"/>
                <a:gd name="T63" fmla="*/ 3 h 30"/>
                <a:gd name="T64" fmla="*/ 111 w 120"/>
                <a:gd name="T65" fmla="*/ 1 h 30"/>
                <a:gd name="T66" fmla="*/ 109 w 120"/>
                <a:gd name="T67" fmla="*/ 0 h 30"/>
                <a:gd name="T68" fmla="*/ 105 w 120"/>
                <a:gd name="T69"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20" h="30">
                  <a:moveTo>
                    <a:pt x="105" y="0"/>
                  </a:moveTo>
                  <a:lnTo>
                    <a:pt x="15" y="0"/>
                  </a:lnTo>
                  <a:lnTo>
                    <a:pt x="12" y="0"/>
                  </a:lnTo>
                  <a:lnTo>
                    <a:pt x="9" y="1"/>
                  </a:lnTo>
                  <a:lnTo>
                    <a:pt x="7" y="3"/>
                  </a:lnTo>
                  <a:lnTo>
                    <a:pt x="5" y="4"/>
                  </a:lnTo>
                  <a:lnTo>
                    <a:pt x="2" y="7"/>
                  </a:lnTo>
                  <a:lnTo>
                    <a:pt x="1" y="10"/>
                  </a:lnTo>
                  <a:lnTo>
                    <a:pt x="0" y="12"/>
                  </a:lnTo>
                  <a:lnTo>
                    <a:pt x="0" y="15"/>
                  </a:lnTo>
                  <a:lnTo>
                    <a:pt x="0" y="18"/>
                  </a:lnTo>
                  <a:lnTo>
                    <a:pt x="1" y="22"/>
                  </a:lnTo>
                  <a:lnTo>
                    <a:pt x="2" y="24"/>
                  </a:lnTo>
                  <a:lnTo>
                    <a:pt x="5" y="26"/>
                  </a:lnTo>
                  <a:lnTo>
                    <a:pt x="7" y="28"/>
                  </a:lnTo>
                  <a:lnTo>
                    <a:pt x="9" y="29"/>
                  </a:lnTo>
                  <a:lnTo>
                    <a:pt x="12" y="30"/>
                  </a:lnTo>
                  <a:lnTo>
                    <a:pt x="15" y="30"/>
                  </a:lnTo>
                  <a:lnTo>
                    <a:pt x="105" y="30"/>
                  </a:lnTo>
                  <a:lnTo>
                    <a:pt x="109" y="30"/>
                  </a:lnTo>
                  <a:lnTo>
                    <a:pt x="111" y="29"/>
                  </a:lnTo>
                  <a:lnTo>
                    <a:pt x="114" y="28"/>
                  </a:lnTo>
                  <a:lnTo>
                    <a:pt x="116" y="26"/>
                  </a:lnTo>
                  <a:lnTo>
                    <a:pt x="117" y="24"/>
                  </a:lnTo>
                  <a:lnTo>
                    <a:pt x="119" y="22"/>
                  </a:lnTo>
                  <a:lnTo>
                    <a:pt x="120" y="18"/>
                  </a:lnTo>
                  <a:lnTo>
                    <a:pt x="120" y="15"/>
                  </a:lnTo>
                  <a:lnTo>
                    <a:pt x="120" y="12"/>
                  </a:lnTo>
                  <a:lnTo>
                    <a:pt x="119" y="10"/>
                  </a:lnTo>
                  <a:lnTo>
                    <a:pt x="117" y="7"/>
                  </a:lnTo>
                  <a:lnTo>
                    <a:pt x="116" y="4"/>
                  </a:lnTo>
                  <a:lnTo>
                    <a:pt x="114" y="3"/>
                  </a:lnTo>
                  <a:lnTo>
                    <a:pt x="111" y="1"/>
                  </a:lnTo>
                  <a:lnTo>
                    <a:pt x="109" y="0"/>
                  </a:lnTo>
                  <a:lnTo>
                    <a:pt x="10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Light"/>
                <a:ea typeface="+mn-ea"/>
                <a:cs typeface="+mn-cs"/>
              </a:endParaRPr>
            </a:p>
          </p:txBody>
        </p:sp>
        <p:sp>
          <p:nvSpPr>
            <p:cNvPr id="65" name="Freeform 276"/>
            <p:cNvSpPr>
              <a:spLocks/>
            </p:cNvSpPr>
            <p:nvPr/>
          </p:nvSpPr>
          <p:spPr bwMode="auto">
            <a:xfrm>
              <a:off x="7042151" y="2041525"/>
              <a:ext cx="76200" cy="9525"/>
            </a:xfrm>
            <a:custGeom>
              <a:avLst/>
              <a:gdLst>
                <a:gd name="T0" fmla="*/ 15 w 241"/>
                <a:gd name="T1" fmla="*/ 30 h 30"/>
                <a:gd name="T2" fmla="*/ 226 w 241"/>
                <a:gd name="T3" fmla="*/ 30 h 30"/>
                <a:gd name="T4" fmla="*/ 230 w 241"/>
                <a:gd name="T5" fmla="*/ 29 h 30"/>
                <a:gd name="T6" fmla="*/ 232 w 241"/>
                <a:gd name="T7" fmla="*/ 29 h 30"/>
                <a:gd name="T8" fmla="*/ 235 w 241"/>
                <a:gd name="T9" fmla="*/ 27 h 30"/>
                <a:gd name="T10" fmla="*/ 237 w 241"/>
                <a:gd name="T11" fmla="*/ 26 h 30"/>
                <a:gd name="T12" fmla="*/ 239 w 241"/>
                <a:gd name="T13" fmla="*/ 23 h 30"/>
                <a:gd name="T14" fmla="*/ 240 w 241"/>
                <a:gd name="T15" fmla="*/ 21 h 30"/>
                <a:gd name="T16" fmla="*/ 241 w 241"/>
                <a:gd name="T17" fmla="*/ 18 h 30"/>
                <a:gd name="T18" fmla="*/ 241 w 241"/>
                <a:gd name="T19" fmla="*/ 15 h 30"/>
                <a:gd name="T20" fmla="*/ 241 w 241"/>
                <a:gd name="T21" fmla="*/ 12 h 30"/>
                <a:gd name="T22" fmla="*/ 240 w 241"/>
                <a:gd name="T23" fmla="*/ 9 h 30"/>
                <a:gd name="T24" fmla="*/ 239 w 241"/>
                <a:gd name="T25" fmla="*/ 7 h 30"/>
                <a:gd name="T26" fmla="*/ 237 w 241"/>
                <a:gd name="T27" fmla="*/ 5 h 30"/>
                <a:gd name="T28" fmla="*/ 235 w 241"/>
                <a:gd name="T29" fmla="*/ 3 h 30"/>
                <a:gd name="T30" fmla="*/ 232 w 241"/>
                <a:gd name="T31" fmla="*/ 1 h 30"/>
                <a:gd name="T32" fmla="*/ 230 w 241"/>
                <a:gd name="T33" fmla="*/ 0 h 30"/>
                <a:gd name="T34" fmla="*/ 226 w 241"/>
                <a:gd name="T35" fmla="*/ 0 h 30"/>
                <a:gd name="T36" fmla="*/ 15 w 241"/>
                <a:gd name="T37" fmla="*/ 0 h 30"/>
                <a:gd name="T38" fmla="*/ 13 w 241"/>
                <a:gd name="T39" fmla="*/ 0 h 30"/>
                <a:gd name="T40" fmla="*/ 10 w 241"/>
                <a:gd name="T41" fmla="*/ 1 h 30"/>
                <a:gd name="T42" fmla="*/ 8 w 241"/>
                <a:gd name="T43" fmla="*/ 3 h 30"/>
                <a:gd name="T44" fmla="*/ 4 w 241"/>
                <a:gd name="T45" fmla="*/ 5 h 30"/>
                <a:gd name="T46" fmla="*/ 3 w 241"/>
                <a:gd name="T47" fmla="*/ 7 h 30"/>
                <a:gd name="T48" fmla="*/ 1 w 241"/>
                <a:gd name="T49" fmla="*/ 9 h 30"/>
                <a:gd name="T50" fmla="*/ 1 w 241"/>
                <a:gd name="T51" fmla="*/ 12 h 30"/>
                <a:gd name="T52" fmla="*/ 0 w 241"/>
                <a:gd name="T53" fmla="*/ 15 h 30"/>
                <a:gd name="T54" fmla="*/ 1 w 241"/>
                <a:gd name="T55" fmla="*/ 18 h 30"/>
                <a:gd name="T56" fmla="*/ 1 w 241"/>
                <a:gd name="T57" fmla="*/ 21 h 30"/>
                <a:gd name="T58" fmla="*/ 3 w 241"/>
                <a:gd name="T59" fmla="*/ 23 h 30"/>
                <a:gd name="T60" fmla="*/ 4 w 241"/>
                <a:gd name="T61" fmla="*/ 26 h 30"/>
                <a:gd name="T62" fmla="*/ 8 w 241"/>
                <a:gd name="T63" fmla="*/ 27 h 30"/>
                <a:gd name="T64" fmla="*/ 10 w 241"/>
                <a:gd name="T65" fmla="*/ 29 h 30"/>
                <a:gd name="T66" fmla="*/ 13 w 241"/>
                <a:gd name="T67" fmla="*/ 29 h 30"/>
                <a:gd name="T68" fmla="*/ 15 w 241"/>
                <a:gd name="T69" fmla="*/ 30 h 30"/>
                <a:gd name="T70" fmla="*/ 15 w 241"/>
                <a:gd name="T71"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41" h="30">
                  <a:moveTo>
                    <a:pt x="15" y="30"/>
                  </a:moveTo>
                  <a:lnTo>
                    <a:pt x="226" y="30"/>
                  </a:lnTo>
                  <a:lnTo>
                    <a:pt x="230" y="29"/>
                  </a:lnTo>
                  <a:lnTo>
                    <a:pt x="232" y="29"/>
                  </a:lnTo>
                  <a:lnTo>
                    <a:pt x="235" y="27"/>
                  </a:lnTo>
                  <a:lnTo>
                    <a:pt x="237" y="26"/>
                  </a:lnTo>
                  <a:lnTo>
                    <a:pt x="239" y="23"/>
                  </a:lnTo>
                  <a:lnTo>
                    <a:pt x="240" y="21"/>
                  </a:lnTo>
                  <a:lnTo>
                    <a:pt x="241" y="18"/>
                  </a:lnTo>
                  <a:lnTo>
                    <a:pt x="241" y="15"/>
                  </a:lnTo>
                  <a:lnTo>
                    <a:pt x="241" y="12"/>
                  </a:lnTo>
                  <a:lnTo>
                    <a:pt x="240" y="9"/>
                  </a:lnTo>
                  <a:lnTo>
                    <a:pt x="239" y="7"/>
                  </a:lnTo>
                  <a:lnTo>
                    <a:pt x="237" y="5"/>
                  </a:lnTo>
                  <a:lnTo>
                    <a:pt x="235" y="3"/>
                  </a:lnTo>
                  <a:lnTo>
                    <a:pt x="232" y="1"/>
                  </a:lnTo>
                  <a:lnTo>
                    <a:pt x="230" y="0"/>
                  </a:lnTo>
                  <a:lnTo>
                    <a:pt x="226" y="0"/>
                  </a:lnTo>
                  <a:lnTo>
                    <a:pt x="15" y="0"/>
                  </a:lnTo>
                  <a:lnTo>
                    <a:pt x="13" y="0"/>
                  </a:lnTo>
                  <a:lnTo>
                    <a:pt x="10" y="1"/>
                  </a:lnTo>
                  <a:lnTo>
                    <a:pt x="8" y="3"/>
                  </a:lnTo>
                  <a:lnTo>
                    <a:pt x="4" y="5"/>
                  </a:lnTo>
                  <a:lnTo>
                    <a:pt x="3" y="7"/>
                  </a:lnTo>
                  <a:lnTo>
                    <a:pt x="1" y="9"/>
                  </a:lnTo>
                  <a:lnTo>
                    <a:pt x="1" y="12"/>
                  </a:lnTo>
                  <a:lnTo>
                    <a:pt x="0" y="15"/>
                  </a:lnTo>
                  <a:lnTo>
                    <a:pt x="1" y="18"/>
                  </a:lnTo>
                  <a:lnTo>
                    <a:pt x="1" y="21"/>
                  </a:lnTo>
                  <a:lnTo>
                    <a:pt x="3" y="23"/>
                  </a:lnTo>
                  <a:lnTo>
                    <a:pt x="4" y="26"/>
                  </a:lnTo>
                  <a:lnTo>
                    <a:pt x="8" y="27"/>
                  </a:lnTo>
                  <a:lnTo>
                    <a:pt x="10" y="29"/>
                  </a:lnTo>
                  <a:lnTo>
                    <a:pt x="13" y="29"/>
                  </a:lnTo>
                  <a:lnTo>
                    <a:pt x="15" y="30"/>
                  </a:lnTo>
                  <a:lnTo>
                    <a:pt x="15" y="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Light"/>
                <a:ea typeface="+mn-ea"/>
                <a:cs typeface="+mn-cs"/>
              </a:endParaRPr>
            </a:p>
          </p:txBody>
        </p:sp>
        <p:sp>
          <p:nvSpPr>
            <p:cNvPr id="66" name="Freeform 277"/>
            <p:cNvSpPr>
              <a:spLocks/>
            </p:cNvSpPr>
            <p:nvPr/>
          </p:nvSpPr>
          <p:spPr bwMode="auto">
            <a:xfrm>
              <a:off x="7042151" y="2022475"/>
              <a:ext cx="76200" cy="9525"/>
            </a:xfrm>
            <a:custGeom>
              <a:avLst/>
              <a:gdLst>
                <a:gd name="T0" fmla="*/ 15 w 241"/>
                <a:gd name="T1" fmla="*/ 31 h 31"/>
                <a:gd name="T2" fmla="*/ 226 w 241"/>
                <a:gd name="T3" fmla="*/ 31 h 31"/>
                <a:gd name="T4" fmla="*/ 230 w 241"/>
                <a:gd name="T5" fmla="*/ 30 h 31"/>
                <a:gd name="T6" fmla="*/ 232 w 241"/>
                <a:gd name="T7" fmla="*/ 29 h 31"/>
                <a:gd name="T8" fmla="*/ 235 w 241"/>
                <a:gd name="T9" fmla="*/ 28 h 31"/>
                <a:gd name="T10" fmla="*/ 237 w 241"/>
                <a:gd name="T11" fmla="*/ 26 h 31"/>
                <a:gd name="T12" fmla="*/ 239 w 241"/>
                <a:gd name="T13" fmla="*/ 24 h 31"/>
                <a:gd name="T14" fmla="*/ 240 w 241"/>
                <a:gd name="T15" fmla="*/ 22 h 31"/>
                <a:gd name="T16" fmla="*/ 241 w 241"/>
                <a:gd name="T17" fmla="*/ 18 h 31"/>
                <a:gd name="T18" fmla="*/ 241 w 241"/>
                <a:gd name="T19" fmla="*/ 16 h 31"/>
                <a:gd name="T20" fmla="*/ 241 w 241"/>
                <a:gd name="T21" fmla="*/ 13 h 31"/>
                <a:gd name="T22" fmla="*/ 240 w 241"/>
                <a:gd name="T23" fmla="*/ 10 h 31"/>
                <a:gd name="T24" fmla="*/ 239 w 241"/>
                <a:gd name="T25" fmla="*/ 8 h 31"/>
                <a:gd name="T26" fmla="*/ 237 w 241"/>
                <a:gd name="T27" fmla="*/ 6 h 31"/>
                <a:gd name="T28" fmla="*/ 235 w 241"/>
                <a:gd name="T29" fmla="*/ 3 h 31"/>
                <a:gd name="T30" fmla="*/ 232 w 241"/>
                <a:gd name="T31" fmla="*/ 2 h 31"/>
                <a:gd name="T32" fmla="*/ 230 w 241"/>
                <a:gd name="T33" fmla="*/ 1 h 31"/>
                <a:gd name="T34" fmla="*/ 226 w 241"/>
                <a:gd name="T35" fmla="*/ 0 h 31"/>
                <a:gd name="T36" fmla="*/ 15 w 241"/>
                <a:gd name="T37" fmla="*/ 0 h 31"/>
                <a:gd name="T38" fmla="*/ 13 w 241"/>
                <a:gd name="T39" fmla="*/ 1 h 31"/>
                <a:gd name="T40" fmla="*/ 10 w 241"/>
                <a:gd name="T41" fmla="*/ 2 h 31"/>
                <a:gd name="T42" fmla="*/ 8 w 241"/>
                <a:gd name="T43" fmla="*/ 3 h 31"/>
                <a:gd name="T44" fmla="*/ 4 w 241"/>
                <a:gd name="T45" fmla="*/ 6 h 31"/>
                <a:gd name="T46" fmla="*/ 3 w 241"/>
                <a:gd name="T47" fmla="*/ 8 h 31"/>
                <a:gd name="T48" fmla="*/ 1 w 241"/>
                <a:gd name="T49" fmla="*/ 10 h 31"/>
                <a:gd name="T50" fmla="*/ 1 w 241"/>
                <a:gd name="T51" fmla="*/ 13 h 31"/>
                <a:gd name="T52" fmla="*/ 0 w 241"/>
                <a:gd name="T53" fmla="*/ 16 h 31"/>
                <a:gd name="T54" fmla="*/ 1 w 241"/>
                <a:gd name="T55" fmla="*/ 18 h 31"/>
                <a:gd name="T56" fmla="*/ 1 w 241"/>
                <a:gd name="T57" fmla="*/ 22 h 31"/>
                <a:gd name="T58" fmla="*/ 3 w 241"/>
                <a:gd name="T59" fmla="*/ 24 h 31"/>
                <a:gd name="T60" fmla="*/ 4 w 241"/>
                <a:gd name="T61" fmla="*/ 26 h 31"/>
                <a:gd name="T62" fmla="*/ 8 w 241"/>
                <a:gd name="T63" fmla="*/ 28 h 31"/>
                <a:gd name="T64" fmla="*/ 10 w 241"/>
                <a:gd name="T65" fmla="*/ 29 h 31"/>
                <a:gd name="T66" fmla="*/ 13 w 241"/>
                <a:gd name="T67" fmla="*/ 30 h 31"/>
                <a:gd name="T68" fmla="*/ 15 w 241"/>
                <a:gd name="T69"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41" h="31">
                  <a:moveTo>
                    <a:pt x="15" y="31"/>
                  </a:moveTo>
                  <a:lnTo>
                    <a:pt x="226" y="31"/>
                  </a:lnTo>
                  <a:lnTo>
                    <a:pt x="230" y="30"/>
                  </a:lnTo>
                  <a:lnTo>
                    <a:pt x="232" y="29"/>
                  </a:lnTo>
                  <a:lnTo>
                    <a:pt x="235" y="28"/>
                  </a:lnTo>
                  <a:lnTo>
                    <a:pt x="237" y="26"/>
                  </a:lnTo>
                  <a:lnTo>
                    <a:pt x="239" y="24"/>
                  </a:lnTo>
                  <a:lnTo>
                    <a:pt x="240" y="22"/>
                  </a:lnTo>
                  <a:lnTo>
                    <a:pt x="241" y="18"/>
                  </a:lnTo>
                  <a:lnTo>
                    <a:pt x="241" y="16"/>
                  </a:lnTo>
                  <a:lnTo>
                    <a:pt x="241" y="13"/>
                  </a:lnTo>
                  <a:lnTo>
                    <a:pt x="240" y="10"/>
                  </a:lnTo>
                  <a:lnTo>
                    <a:pt x="239" y="8"/>
                  </a:lnTo>
                  <a:lnTo>
                    <a:pt x="237" y="6"/>
                  </a:lnTo>
                  <a:lnTo>
                    <a:pt x="235" y="3"/>
                  </a:lnTo>
                  <a:lnTo>
                    <a:pt x="232" y="2"/>
                  </a:lnTo>
                  <a:lnTo>
                    <a:pt x="230" y="1"/>
                  </a:lnTo>
                  <a:lnTo>
                    <a:pt x="226" y="0"/>
                  </a:lnTo>
                  <a:lnTo>
                    <a:pt x="15" y="0"/>
                  </a:lnTo>
                  <a:lnTo>
                    <a:pt x="13" y="1"/>
                  </a:lnTo>
                  <a:lnTo>
                    <a:pt x="10" y="2"/>
                  </a:lnTo>
                  <a:lnTo>
                    <a:pt x="8" y="3"/>
                  </a:lnTo>
                  <a:lnTo>
                    <a:pt x="4" y="6"/>
                  </a:lnTo>
                  <a:lnTo>
                    <a:pt x="3" y="8"/>
                  </a:lnTo>
                  <a:lnTo>
                    <a:pt x="1" y="10"/>
                  </a:lnTo>
                  <a:lnTo>
                    <a:pt x="1" y="13"/>
                  </a:lnTo>
                  <a:lnTo>
                    <a:pt x="0" y="16"/>
                  </a:lnTo>
                  <a:lnTo>
                    <a:pt x="1" y="18"/>
                  </a:lnTo>
                  <a:lnTo>
                    <a:pt x="1" y="22"/>
                  </a:lnTo>
                  <a:lnTo>
                    <a:pt x="3" y="24"/>
                  </a:lnTo>
                  <a:lnTo>
                    <a:pt x="4" y="26"/>
                  </a:lnTo>
                  <a:lnTo>
                    <a:pt x="8" y="28"/>
                  </a:lnTo>
                  <a:lnTo>
                    <a:pt x="10" y="29"/>
                  </a:lnTo>
                  <a:lnTo>
                    <a:pt x="13" y="30"/>
                  </a:lnTo>
                  <a:lnTo>
                    <a:pt x="15"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Light"/>
                <a:ea typeface="+mn-ea"/>
                <a:cs typeface="+mn-cs"/>
              </a:endParaRPr>
            </a:p>
          </p:txBody>
        </p:sp>
        <p:sp>
          <p:nvSpPr>
            <p:cNvPr id="67" name="Freeform 278"/>
            <p:cNvSpPr>
              <a:spLocks/>
            </p:cNvSpPr>
            <p:nvPr/>
          </p:nvSpPr>
          <p:spPr bwMode="auto">
            <a:xfrm>
              <a:off x="7042151" y="2060575"/>
              <a:ext cx="76200" cy="9525"/>
            </a:xfrm>
            <a:custGeom>
              <a:avLst/>
              <a:gdLst>
                <a:gd name="T0" fmla="*/ 15 w 241"/>
                <a:gd name="T1" fmla="*/ 31 h 31"/>
                <a:gd name="T2" fmla="*/ 226 w 241"/>
                <a:gd name="T3" fmla="*/ 31 h 31"/>
                <a:gd name="T4" fmla="*/ 230 w 241"/>
                <a:gd name="T5" fmla="*/ 31 h 31"/>
                <a:gd name="T6" fmla="*/ 232 w 241"/>
                <a:gd name="T7" fmla="*/ 29 h 31"/>
                <a:gd name="T8" fmla="*/ 235 w 241"/>
                <a:gd name="T9" fmla="*/ 27 h 31"/>
                <a:gd name="T10" fmla="*/ 237 w 241"/>
                <a:gd name="T11" fmla="*/ 26 h 31"/>
                <a:gd name="T12" fmla="*/ 239 w 241"/>
                <a:gd name="T13" fmla="*/ 24 h 31"/>
                <a:gd name="T14" fmla="*/ 240 w 241"/>
                <a:gd name="T15" fmla="*/ 21 h 31"/>
                <a:gd name="T16" fmla="*/ 241 w 241"/>
                <a:gd name="T17" fmla="*/ 19 h 31"/>
                <a:gd name="T18" fmla="*/ 241 w 241"/>
                <a:gd name="T19" fmla="*/ 16 h 31"/>
                <a:gd name="T20" fmla="*/ 241 w 241"/>
                <a:gd name="T21" fmla="*/ 12 h 31"/>
                <a:gd name="T22" fmla="*/ 240 w 241"/>
                <a:gd name="T23" fmla="*/ 9 h 31"/>
                <a:gd name="T24" fmla="*/ 239 w 241"/>
                <a:gd name="T25" fmla="*/ 7 h 31"/>
                <a:gd name="T26" fmla="*/ 237 w 241"/>
                <a:gd name="T27" fmla="*/ 5 h 31"/>
                <a:gd name="T28" fmla="*/ 235 w 241"/>
                <a:gd name="T29" fmla="*/ 3 h 31"/>
                <a:gd name="T30" fmla="*/ 232 w 241"/>
                <a:gd name="T31" fmla="*/ 2 h 31"/>
                <a:gd name="T32" fmla="*/ 230 w 241"/>
                <a:gd name="T33" fmla="*/ 0 h 31"/>
                <a:gd name="T34" fmla="*/ 226 w 241"/>
                <a:gd name="T35" fmla="*/ 0 h 31"/>
                <a:gd name="T36" fmla="*/ 15 w 241"/>
                <a:gd name="T37" fmla="*/ 0 h 31"/>
                <a:gd name="T38" fmla="*/ 13 w 241"/>
                <a:gd name="T39" fmla="*/ 0 h 31"/>
                <a:gd name="T40" fmla="*/ 10 w 241"/>
                <a:gd name="T41" fmla="*/ 2 h 31"/>
                <a:gd name="T42" fmla="*/ 8 w 241"/>
                <a:gd name="T43" fmla="*/ 3 h 31"/>
                <a:gd name="T44" fmla="*/ 4 w 241"/>
                <a:gd name="T45" fmla="*/ 5 h 31"/>
                <a:gd name="T46" fmla="*/ 3 w 241"/>
                <a:gd name="T47" fmla="*/ 7 h 31"/>
                <a:gd name="T48" fmla="*/ 1 w 241"/>
                <a:gd name="T49" fmla="*/ 9 h 31"/>
                <a:gd name="T50" fmla="*/ 1 w 241"/>
                <a:gd name="T51" fmla="*/ 12 h 31"/>
                <a:gd name="T52" fmla="*/ 0 w 241"/>
                <a:gd name="T53" fmla="*/ 16 h 31"/>
                <a:gd name="T54" fmla="*/ 1 w 241"/>
                <a:gd name="T55" fmla="*/ 19 h 31"/>
                <a:gd name="T56" fmla="*/ 1 w 241"/>
                <a:gd name="T57" fmla="*/ 21 h 31"/>
                <a:gd name="T58" fmla="*/ 3 w 241"/>
                <a:gd name="T59" fmla="*/ 24 h 31"/>
                <a:gd name="T60" fmla="*/ 4 w 241"/>
                <a:gd name="T61" fmla="*/ 26 h 31"/>
                <a:gd name="T62" fmla="*/ 8 w 241"/>
                <a:gd name="T63" fmla="*/ 27 h 31"/>
                <a:gd name="T64" fmla="*/ 10 w 241"/>
                <a:gd name="T65" fmla="*/ 29 h 31"/>
                <a:gd name="T66" fmla="*/ 13 w 241"/>
                <a:gd name="T67" fmla="*/ 31 h 31"/>
                <a:gd name="T68" fmla="*/ 15 w 241"/>
                <a:gd name="T69"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41" h="31">
                  <a:moveTo>
                    <a:pt x="15" y="31"/>
                  </a:moveTo>
                  <a:lnTo>
                    <a:pt x="226" y="31"/>
                  </a:lnTo>
                  <a:lnTo>
                    <a:pt x="230" y="31"/>
                  </a:lnTo>
                  <a:lnTo>
                    <a:pt x="232" y="29"/>
                  </a:lnTo>
                  <a:lnTo>
                    <a:pt x="235" y="27"/>
                  </a:lnTo>
                  <a:lnTo>
                    <a:pt x="237" y="26"/>
                  </a:lnTo>
                  <a:lnTo>
                    <a:pt x="239" y="24"/>
                  </a:lnTo>
                  <a:lnTo>
                    <a:pt x="240" y="21"/>
                  </a:lnTo>
                  <a:lnTo>
                    <a:pt x="241" y="19"/>
                  </a:lnTo>
                  <a:lnTo>
                    <a:pt x="241" y="16"/>
                  </a:lnTo>
                  <a:lnTo>
                    <a:pt x="241" y="12"/>
                  </a:lnTo>
                  <a:lnTo>
                    <a:pt x="240" y="9"/>
                  </a:lnTo>
                  <a:lnTo>
                    <a:pt x="239" y="7"/>
                  </a:lnTo>
                  <a:lnTo>
                    <a:pt x="237" y="5"/>
                  </a:lnTo>
                  <a:lnTo>
                    <a:pt x="235" y="3"/>
                  </a:lnTo>
                  <a:lnTo>
                    <a:pt x="232" y="2"/>
                  </a:lnTo>
                  <a:lnTo>
                    <a:pt x="230" y="0"/>
                  </a:lnTo>
                  <a:lnTo>
                    <a:pt x="226" y="0"/>
                  </a:lnTo>
                  <a:lnTo>
                    <a:pt x="15" y="0"/>
                  </a:lnTo>
                  <a:lnTo>
                    <a:pt x="13" y="0"/>
                  </a:lnTo>
                  <a:lnTo>
                    <a:pt x="10" y="2"/>
                  </a:lnTo>
                  <a:lnTo>
                    <a:pt x="8" y="3"/>
                  </a:lnTo>
                  <a:lnTo>
                    <a:pt x="4" y="5"/>
                  </a:lnTo>
                  <a:lnTo>
                    <a:pt x="3" y="7"/>
                  </a:lnTo>
                  <a:lnTo>
                    <a:pt x="1" y="9"/>
                  </a:lnTo>
                  <a:lnTo>
                    <a:pt x="1" y="12"/>
                  </a:lnTo>
                  <a:lnTo>
                    <a:pt x="0" y="16"/>
                  </a:lnTo>
                  <a:lnTo>
                    <a:pt x="1" y="19"/>
                  </a:lnTo>
                  <a:lnTo>
                    <a:pt x="1" y="21"/>
                  </a:lnTo>
                  <a:lnTo>
                    <a:pt x="3" y="24"/>
                  </a:lnTo>
                  <a:lnTo>
                    <a:pt x="4" y="26"/>
                  </a:lnTo>
                  <a:lnTo>
                    <a:pt x="8" y="27"/>
                  </a:lnTo>
                  <a:lnTo>
                    <a:pt x="10" y="29"/>
                  </a:lnTo>
                  <a:lnTo>
                    <a:pt x="13" y="31"/>
                  </a:lnTo>
                  <a:lnTo>
                    <a:pt x="15"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Light"/>
                <a:ea typeface="+mn-ea"/>
                <a:cs typeface="+mn-cs"/>
              </a:endParaRPr>
            </a:p>
          </p:txBody>
        </p:sp>
        <p:sp>
          <p:nvSpPr>
            <p:cNvPr id="68" name="Freeform 279"/>
            <p:cNvSpPr>
              <a:spLocks/>
            </p:cNvSpPr>
            <p:nvPr/>
          </p:nvSpPr>
          <p:spPr bwMode="auto">
            <a:xfrm>
              <a:off x="7042151" y="2079625"/>
              <a:ext cx="76200" cy="9525"/>
            </a:xfrm>
            <a:custGeom>
              <a:avLst/>
              <a:gdLst>
                <a:gd name="T0" fmla="*/ 15 w 241"/>
                <a:gd name="T1" fmla="*/ 30 h 30"/>
                <a:gd name="T2" fmla="*/ 226 w 241"/>
                <a:gd name="T3" fmla="*/ 30 h 30"/>
                <a:gd name="T4" fmla="*/ 230 w 241"/>
                <a:gd name="T5" fmla="*/ 30 h 30"/>
                <a:gd name="T6" fmla="*/ 232 w 241"/>
                <a:gd name="T7" fmla="*/ 29 h 30"/>
                <a:gd name="T8" fmla="*/ 235 w 241"/>
                <a:gd name="T9" fmla="*/ 27 h 30"/>
                <a:gd name="T10" fmla="*/ 237 w 241"/>
                <a:gd name="T11" fmla="*/ 25 h 30"/>
                <a:gd name="T12" fmla="*/ 239 w 241"/>
                <a:gd name="T13" fmla="*/ 23 h 30"/>
                <a:gd name="T14" fmla="*/ 240 w 241"/>
                <a:gd name="T15" fmla="*/ 20 h 30"/>
                <a:gd name="T16" fmla="*/ 241 w 241"/>
                <a:gd name="T17" fmla="*/ 18 h 30"/>
                <a:gd name="T18" fmla="*/ 241 w 241"/>
                <a:gd name="T19" fmla="*/ 15 h 30"/>
                <a:gd name="T20" fmla="*/ 241 w 241"/>
                <a:gd name="T21" fmla="*/ 11 h 30"/>
                <a:gd name="T22" fmla="*/ 240 w 241"/>
                <a:gd name="T23" fmla="*/ 8 h 30"/>
                <a:gd name="T24" fmla="*/ 239 w 241"/>
                <a:gd name="T25" fmla="*/ 6 h 30"/>
                <a:gd name="T26" fmla="*/ 237 w 241"/>
                <a:gd name="T27" fmla="*/ 4 h 30"/>
                <a:gd name="T28" fmla="*/ 235 w 241"/>
                <a:gd name="T29" fmla="*/ 2 h 30"/>
                <a:gd name="T30" fmla="*/ 232 w 241"/>
                <a:gd name="T31" fmla="*/ 1 h 30"/>
                <a:gd name="T32" fmla="*/ 230 w 241"/>
                <a:gd name="T33" fmla="*/ 0 h 30"/>
                <a:gd name="T34" fmla="*/ 226 w 241"/>
                <a:gd name="T35" fmla="*/ 0 h 30"/>
                <a:gd name="T36" fmla="*/ 15 w 241"/>
                <a:gd name="T37" fmla="*/ 0 h 30"/>
                <a:gd name="T38" fmla="*/ 13 w 241"/>
                <a:gd name="T39" fmla="*/ 0 h 30"/>
                <a:gd name="T40" fmla="*/ 10 w 241"/>
                <a:gd name="T41" fmla="*/ 1 h 30"/>
                <a:gd name="T42" fmla="*/ 8 w 241"/>
                <a:gd name="T43" fmla="*/ 2 h 30"/>
                <a:gd name="T44" fmla="*/ 4 w 241"/>
                <a:gd name="T45" fmla="*/ 4 h 30"/>
                <a:gd name="T46" fmla="*/ 3 w 241"/>
                <a:gd name="T47" fmla="*/ 6 h 30"/>
                <a:gd name="T48" fmla="*/ 1 w 241"/>
                <a:gd name="T49" fmla="*/ 8 h 30"/>
                <a:gd name="T50" fmla="*/ 1 w 241"/>
                <a:gd name="T51" fmla="*/ 11 h 30"/>
                <a:gd name="T52" fmla="*/ 0 w 241"/>
                <a:gd name="T53" fmla="*/ 15 h 30"/>
                <a:gd name="T54" fmla="*/ 1 w 241"/>
                <a:gd name="T55" fmla="*/ 18 h 30"/>
                <a:gd name="T56" fmla="*/ 1 w 241"/>
                <a:gd name="T57" fmla="*/ 20 h 30"/>
                <a:gd name="T58" fmla="*/ 3 w 241"/>
                <a:gd name="T59" fmla="*/ 23 h 30"/>
                <a:gd name="T60" fmla="*/ 4 w 241"/>
                <a:gd name="T61" fmla="*/ 25 h 30"/>
                <a:gd name="T62" fmla="*/ 8 w 241"/>
                <a:gd name="T63" fmla="*/ 27 h 30"/>
                <a:gd name="T64" fmla="*/ 10 w 241"/>
                <a:gd name="T65" fmla="*/ 29 h 30"/>
                <a:gd name="T66" fmla="*/ 13 w 241"/>
                <a:gd name="T67" fmla="*/ 30 h 30"/>
                <a:gd name="T68" fmla="*/ 15 w 241"/>
                <a:gd name="T69" fmla="*/ 30 h 30"/>
                <a:gd name="T70" fmla="*/ 15 w 241"/>
                <a:gd name="T71"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41" h="30">
                  <a:moveTo>
                    <a:pt x="15" y="30"/>
                  </a:moveTo>
                  <a:lnTo>
                    <a:pt x="226" y="30"/>
                  </a:lnTo>
                  <a:lnTo>
                    <a:pt x="230" y="30"/>
                  </a:lnTo>
                  <a:lnTo>
                    <a:pt x="232" y="29"/>
                  </a:lnTo>
                  <a:lnTo>
                    <a:pt x="235" y="27"/>
                  </a:lnTo>
                  <a:lnTo>
                    <a:pt x="237" y="25"/>
                  </a:lnTo>
                  <a:lnTo>
                    <a:pt x="239" y="23"/>
                  </a:lnTo>
                  <a:lnTo>
                    <a:pt x="240" y="20"/>
                  </a:lnTo>
                  <a:lnTo>
                    <a:pt x="241" y="18"/>
                  </a:lnTo>
                  <a:lnTo>
                    <a:pt x="241" y="15"/>
                  </a:lnTo>
                  <a:lnTo>
                    <a:pt x="241" y="11"/>
                  </a:lnTo>
                  <a:lnTo>
                    <a:pt x="240" y="8"/>
                  </a:lnTo>
                  <a:lnTo>
                    <a:pt x="239" y="6"/>
                  </a:lnTo>
                  <a:lnTo>
                    <a:pt x="237" y="4"/>
                  </a:lnTo>
                  <a:lnTo>
                    <a:pt x="235" y="2"/>
                  </a:lnTo>
                  <a:lnTo>
                    <a:pt x="232" y="1"/>
                  </a:lnTo>
                  <a:lnTo>
                    <a:pt x="230" y="0"/>
                  </a:lnTo>
                  <a:lnTo>
                    <a:pt x="226" y="0"/>
                  </a:lnTo>
                  <a:lnTo>
                    <a:pt x="15" y="0"/>
                  </a:lnTo>
                  <a:lnTo>
                    <a:pt x="13" y="0"/>
                  </a:lnTo>
                  <a:lnTo>
                    <a:pt x="10" y="1"/>
                  </a:lnTo>
                  <a:lnTo>
                    <a:pt x="8" y="2"/>
                  </a:lnTo>
                  <a:lnTo>
                    <a:pt x="4" y="4"/>
                  </a:lnTo>
                  <a:lnTo>
                    <a:pt x="3" y="6"/>
                  </a:lnTo>
                  <a:lnTo>
                    <a:pt x="1" y="8"/>
                  </a:lnTo>
                  <a:lnTo>
                    <a:pt x="1" y="11"/>
                  </a:lnTo>
                  <a:lnTo>
                    <a:pt x="0" y="15"/>
                  </a:lnTo>
                  <a:lnTo>
                    <a:pt x="1" y="18"/>
                  </a:lnTo>
                  <a:lnTo>
                    <a:pt x="1" y="20"/>
                  </a:lnTo>
                  <a:lnTo>
                    <a:pt x="3" y="23"/>
                  </a:lnTo>
                  <a:lnTo>
                    <a:pt x="4" y="25"/>
                  </a:lnTo>
                  <a:lnTo>
                    <a:pt x="8" y="27"/>
                  </a:lnTo>
                  <a:lnTo>
                    <a:pt x="10" y="29"/>
                  </a:lnTo>
                  <a:lnTo>
                    <a:pt x="13" y="30"/>
                  </a:lnTo>
                  <a:lnTo>
                    <a:pt x="15" y="30"/>
                  </a:lnTo>
                  <a:lnTo>
                    <a:pt x="15" y="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Light"/>
                <a:ea typeface="+mn-ea"/>
                <a:cs typeface="+mn-cs"/>
              </a:endParaRPr>
            </a:p>
          </p:txBody>
        </p:sp>
        <p:sp>
          <p:nvSpPr>
            <p:cNvPr id="69" name="Freeform 280"/>
            <p:cNvSpPr>
              <a:spLocks/>
            </p:cNvSpPr>
            <p:nvPr/>
          </p:nvSpPr>
          <p:spPr bwMode="auto">
            <a:xfrm>
              <a:off x="7042151" y="2098675"/>
              <a:ext cx="76200" cy="9525"/>
            </a:xfrm>
            <a:custGeom>
              <a:avLst/>
              <a:gdLst>
                <a:gd name="T0" fmla="*/ 15 w 241"/>
                <a:gd name="T1" fmla="*/ 30 h 30"/>
                <a:gd name="T2" fmla="*/ 226 w 241"/>
                <a:gd name="T3" fmla="*/ 30 h 30"/>
                <a:gd name="T4" fmla="*/ 230 w 241"/>
                <a:gd name="T5" fmla="*/ 30 h 30"/>
                <a:gd name="T6" fmla="*/ 232 w 241"/>
                <a:gd name="T7" fmla="*/ 29 h 30"/>
                <a:gd name="T8" fmla="*/ 235 w 241"/>
                <a:gd name="T9" fmla="*/ 28 h 30"/>
                <a:gd name="T10" fmla="*/ 237 w 241"/>
                <a:gd name="T11" fmla="*/ 25 h 30"/>
                <a:gd name="T12" fmla="*/ 239 w 241"/>
                <a:gd name="T13" fmla="*/ 23 h 30"/>
                <a:gd name="T14" fmla="*/ 240 w 241"/>
                <a:gd name="T15" fmla="*/ 21 h 30"/>
                <a:gd name="T16" fmla="*/ 241 w 241"/>
                <a:gd name="T17" fmla="*/ 18 h 30"/>
                <a:gd name="T18" fmla="*/ 241 w 241"/>
                <a:gd name="T19" fmla="*/ 15 h 30"/>
                <a:gd name="T20" fmla="*/ 241 w 241"/>
                <a:gd name="T21" fmla="*/ 11 h 30"/>
                <a:gd name="T22" fmla="*/ 240 w 241"/>
                <a:gd name="T23" fmla="*/ 9 h 30"/>
                <a:gd name="T24" fmla="*/ 239 w 241"/>
                <a:gd name="T25" fmla="*/ 6 h 30"/>
                <a:gd name="T26" fmla="*/ 237 w 241"/>
                <a:gd name="T27" fmla="*/ 4 h 30"/>
                <a:gd name="T28" fmla="*/ 235 w 241"/>
                <a:gd name="T29" fmla="*/ 2 h 30"/>
                <a:gd name="T30" fmla="*/ 232 w 241"/>
                <a:gd name="T31" fmla="*/ 1 h 30"/>
                <a:gd name="T32" fmla="*/ 230 w 241"/>
                <a:gd name="T33" fmla="*/ 0 h 30"/>
                <a:gd name="T34" fmla="*/ 226 w 241"/>
                <a:gd name="T35" fmla="*/ 0 h 30"/>
                <a:gd name="T36" fmla="*/ 15 w 241"/>
                <a:gd name="T37" fmla="*/ 0 h 30"/>
                <a:gd name="T38" fmla="*/ 13 w 241"/>
                <a:gd name="T39" fmla="*/ 0 h 30"/>
                <a:gd name="T40" fmla="*/ 10 w 241"/>
                <a:gd name="T41" fmla="*/ 1 h 30"/>
                <a:gd name="T42" fmla="*/ 8 w 241"/>
                <a:gd name="T43" fmla="*/ 2 h 30"/>
                <a:gd name="T44" fmla="*/ 4 w 241"/>
                <a:gd name="T45" fmla="*/ 4 h 30"/>
                <a:gd name="T46" fmla="*/ 3 w 241"/>
                <a:gd name="T47" fmla="*/ 6 h 30"/>
                <a:gd name="T48" fmla="*/ 1 w 241"/>
                <a:gd name="T49" fmla="*/ 9 h 30"/>
                <a:gd name="T50" fmla="*/ 1 w 241"/>
                <a:gd name="T51" fmla="*/ 11 h 30"/>
                <a:gd name="T52" fmla="*/ 0 w 241"/>
                <a:gd name="T53" fmla="*/ 15 h 30"/>
                <a:gd name="T54" fmla="*/ 1 w 241"/>
                <a:gd name="T55" fmla="*/ 18 h 30"/>
                <a:gd name="T56" fmla="*/ 1 w 241"/>
                <a:gd name="T57" fmla="*/ 21 h 30"/>
                <a:gd name="T58" fmla="*/ 3 w 241"/>
                <a:gd name="T59" fmla="*/ 23 h 30"/>
                <a:gd name="T60" fmla="*/ 4 w 241"/>
                <a:gd name="T61" fmla="*/ 25 h 30"/>
                <a:gd name="T62" fmla="*/ 8 w 241"/>
                <a:gd name="T63" fmla="*/ 28 h 30"/>
                <a:gd name="T64" fmla="*/ 10 w 241"/>
                <a:gd name="T65" fmla="*/ 29 h 30"/>
                <a:gd name="T66" fmla="*/ 13 w 241"/>
                <a:gd name="T67" fmla="*/ 30 h 30"/>
                <a:gd name="T68" fmla="*/ 15 w 241"/>
                <a:gd name="T69"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41" h="30">
                  <a:moveTo>
                    <a:pt x="15" y="30"/>
                  </a:moveTo>
                  <a:lnTo>
                    <a:pt x="226" y="30"/>
                  </a:lnTo>
                  <a:lnTo>
                    <a:pt x="230" y="30"/>
                  </a:lnTo>
                  <a:lnTo>
                    <a:pt x="232" y="29"/>
                  </a:lnTo>
                  <a:lnTo>
                    <a:pt x="235" y="28"/>
                  </a:lnTo>
                  <a:lnTo>
                    <a:pt x="237" y="25"/>
                  </a:lnTo>
                  <a:lnTo>
                    <a:pt x="239" y="23"/>
                  </a:lnTo>
                  <a:lnTo>
                    <a:pt x="240" y="21"/>
                  </a:lnTo>
                  <a:lnTo>
                    <a:pt x="241" y="18"/>
                  </a:lnTo>
                  <a:lnTo>
                    <a:pt x="241" y="15"/>
                  </a:lnTo>
                  <a:lnTo>
                    <a:pt x="241" y="11"/>
                  </a:lnTo>
                  <a:lnTo>
                    <a:pt x="240" y="9"/>
                  </a:lnTo>
                  <a:lnTo>
                    <a:pt x="239" y="6"/>
                  </a:lnTo>
                  <a:lnTo>
                    <a:pt x="237" y="4"/>
                  </a:lnTo>
                  <a:lnTo>
                    <a:pt x="235" y="2"/>
                  </a:lnTo>
                  <a:lnTo>
                    <a:pt x="232" y="1"/>
                  </a:lnTo>
                  <a:lnTo>
                    <a:pt x="230" y="0"/>
                  </a:lnTo>
                  <a:lnTo>
                    <a:pt x="226" y="0"/>
                  </a:lnTo>
                  <a:lnTo>
                    <a:pt x="15" y="0"/>
                  </a:lnTo>
                  <a:lnTo>
                    <a:pt x="13" y="0"/>
                  </a:lnTo>
                  <a:lnTo>
                    <a:pt x="10" y="1"/>
                  </a:lnTo>
                  <a:lnTo>
                    <a:pt x="8" y="2"/>
                  </a:lnTo>
                  <a:lnTo>
                    <a:pt x="4" y="4"/>
                  </a:lnTo>
                  <a:lnTo>
                    <a:pt x="3" y="6"/>
                  </a:lnTo>
                  <a:lnTo>
                    <a:pt x="1" y="9"/>
                  </a:lnTo>
                  <a:lnTo>
                    <a:pt x="1" y="11"/>
                  </a:lnTo>
                  <a:lnTo>
                    <a:pt x="0" y="15"/>
                  </a:lnTo>
                  <a:lnTo>
                    <a:pt x="1" y="18"/>
                  </a:lnTo>
                  <a:lnTo>
                    <a:pt x="1" y="21"/>
                  </a:lnTo>
                  <a:lnTo>
                    <a:pt x="3" y="23"/>
                  </a:lnTo>
                  <a:lnTo>
                    <a:pt x="4" y="25"/>
                  </a:lnTo>
                  <a:lnTo>
                    <a:pt x="8" y="28"/>
                  </a:lnTo>
                  <a:lnTo>
                    <a:pt x="10" y="29"/>
                  </a:lnTo>
                  <a:lnTo>
                    <a:pt x="13" y="30"/>
                  </a:lnTo>
                  <a:lnTo>
                    <a:pt x="15" y="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Light"/>
                <a:ea typeface="+mn-ea"/>
                <a:cs typeface="+mn-cs"/>
              </a:endParaRPr>
            </a:p>
          </p:txBody>
        </p:sp>
        <p:sp>
          <p:nvSpPr>
            <p:cNvPr id="70" name="Freeform 281"/>
            <p:cNvSpPr>
              <a:spLocks/>
            </p:cNvSpPr>
            <p:nvPr/>
          </p:nvSpPr>
          <p:spPr bwMode="auto">
            <a:xfrm>
              <a:off x="7042151" y="2117725"/>
              <a:ext cx="76200" cy="9525"/>
            </a:xfrm>
            <a:custGeom>
              <a:avLst/>
              <a:gdLst>
                <a:gd name="T0" fmla="*/ 15 w 241"/>
                <a:gd name="T1" fmla="*/ 30 h 30"/>
                <a:gd name="T2" fmla="*/ 226 w 241"/>
                <a:gd name="T3" fmla="*/ 30 h 30"/>
                <a:gd name="T4" fmla="*/ 230 w 241"/>
                <a:gd name="T5" fmla="*/ 30 h 30"/>
                <a:gd name="T6" fmla="*/ 232 w 241"/>
                <a:gd name="T7" fmla="*/ 29 h 30"/>
                <a:gd name="T8" fmla="*/ 235 w 241"/>
                <a:gd name="T9" fmla="*/ 28 h 30"/>
                <a:gd name="T10" fmla="*/ 237 w 241"/>
                <a:gd name="T11" fmla="*/ 25 h 30"/>
                <a:gd name="T12" fmla="*/ 239 w 241"/>
                <a:gd name="T13" fmla="*/ 23 h 30"/>
                <a:gd name="T14" fmla="*/ 240 w 241"/>
                <a:gd name="T15" fmla="*/ 21 h 30"/>
                <a:gd name="T16" fmla="*/ 241 w 241"/>
                <a:gd name="T17" fmla="*/ 18 h 30"/>
                <a:gd name="T18" fmla="*/ 241 w 241"/>
                <a:gd name="T19" fmla="*/ 15 h 30"/>
                <a:gd name="T20" fmla="*/ 241 w 241"/>
                <a:gd name="T21" fmla="*/ 12 h 30"/>
                <a:gd name="T22" fmla="*/ 240 w 241"/>
                <a:gd name="T23" fmla="*/ 9 h 30"/>
                <a:gd name="T24" fmla="*/ 239 w 241"/>
                <a:gd name="T25" fmla="*/ 6 h 30"/>
                <a:gd name="T26" fmla="*/ 237 w 241"/>
                <a:gd name="T27" fmla="*/ 4 h 30"/>
                <a:gd name="T28" fmla="*/ 235 w 241"/>
                <a:gd name="T29" fmla="*/ 3 h 30"/>
                <a:gd name="T30" fmla="*/ 232 w 241"/>
                <a:gd name="T31" fmla="*/ 1 h 30"/>
                <a:gd name="T32" fmla="*/ 230 w 241"/>
                <a:gd name="T33" fmla="*/ 0 h 30"/>
                <a:gd name="T34" fmla="*/ 226 w 241"/>
                <a:gd name="T35" fmla="*/ 0 h 30"/>
                <a:gd name="T36" fmla="*/ 15 w 241"/>
                <a:gd name="T37" fmla="*/ 0 h 30"/>
                <a:gd name="T38" fmla="*/ 13 w 241"/>
                <a:gd name="T39" fmla="*/ 0 h 30"/>
                <a:gd name="T40" fmla="*/ 10 w 241"/>
                <a:gd name="T41" fmla="*/ 1 h 30"/>
                <a:gd name="T42" fmla="*/ 8 w 241"/>
                <a:gd name="T43" fmla="*/ 3 h 30"/>
                <a:gd name="T44" fmla="*/ 4 w 241"/>
                <a:gd name="T45" fmla="*/ 4 h 30"/>
                <a:gd name="T46" fmla="*/ 3 w 241"/>
                <a:gd name="T47" fmla="*/ 6 h 30"/>
                <a:gd name="T48" fmla="*/ 1 w 241"/>
                <a:gd name="T49" fmla="*/ 9 h 30"/>
                <a:gd name="T50" fmla="*/ 1 w 241"/>
                <a:gd name="T51" fmla="*/ 12 h 30"/>
                <a:gd name="T52" fmla="*/ 0 w 241"/>
                <a:gd name="T53" fmla="*/ 15 h 30"/>
                <a:gd name="T54" fmla="*/ 1 w 241"/>
                <a:gd name="T55" fmla="*/ 18 h 30"/>
                <a:gd name="T56" fmla="*/ 1 w 241"/>
                <a:gd name="T57" fmla="*/ 21 h 30"/>
                <a:gd name="T58" fmla="*/ 3 w 241"/>
                <a:gd name="T59" fmla="*/ 23 h 30"/>
                <a:gd name="T60" fmla="*/ 4 w 241"/>
                <a:gd name="T61" fmla="*/ 25 h 30"/>
                <a:gd name="T62" fmla="*/ 8 w 241"/>
                <a:gd name="T63" fmla="*/ 28 h 30"/>
                <a:gd name="T64" fmla="*/ 10 w 241"/>
                <a:gd name="T65" fmla="*/ 29 h 30"/>
                <a:gd name="T66" fmla="*/ 13 w 241"/>
                <a:gd name="T67" fmla="*/ 30 h 30"/>
                <a:gd name="T68" fmla="*/ 15 w 241"/>
                <a:gd name="T69" fmla="*/ 30 h 30"/>
                <a:gd name="T70" fmla="*/ 15 w 241"/>
                <a:gd name="T71"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41" h="30">
                  <a:moveTo>
                    <a:pt x="15" y="30"/>
                  </a:moveTo>
                  <a:lnTo>
                    <a:pt x="226" y="30"/>
                  </a:lnTo>
                  <a:lnTo>
                    <a:pt x="230" y="30"/>
                  </a:lnTo>
                  <a:lnTo>
                    <a:pt x="232" y="29"/>
                  </a:lnTo>
                  <a:lnTo>
                    <a:pt x="235" y="28"/>
                  </a:lnTo>
                  <a:lnTo>
                    <a:pt x="237" y="25"/>
                  </a:lnTo>
                  <a:lnTo>
                    <a:pt x="239" y="23"/>
                  </a:lnTo>
                  <a:lnTo>
                    <a:pt x="240" y="21"/>
                  </a:lnTo>
                  <a:lnTo>
                    <a:pt x="241" y="18"/>
                  </a:lnTo>
                  <a:lnTo>
                    <a:pt x="241" y="15"/>
                  </a:lnTo>
                  <a:lnTo>
                    <a:pt x="241" y="12"/>
                  </a:lnTo>
                  <a:lnTo>
                    <a:pt x="240" y="9"/>
                  </a:lnTo>
                  <a:lnTo>
                    <a:pt x="239" y="6"/>
                  </a:lnTo>
                  <a:lnTo>
                    <a:pt x="237" y="4"/>
                  </a:lnTo>
                  <a:lnTo>
                    <a:pt x="235" y="3"/>
                  </a:lnTo>
                  <a:lnTo>
                    <a:pt x="232" y="1"/>
                  </a:lnTo>
                  <a:lnTo>
                    <a:pt x="230" y="0"/>
                  </a:lnTo>
                  <a:lnTo>
                    <a:pt x="226" y="0"/>
                  </a:lnTo>
                  <a:lnTo>
                    <a:pt x="15" y="0"/>
                  </a:lnTo>
                  <a:lnTo>
                    <a:pt x="13" y="0"/>
                  </a:lnTo>
                  <a:lnTo>
                    <a:pt x="10" y="1"/>
                  </a:lnTo>
                  <a:lnTo>
                    <a:pt x="8" y="3"/>
                  </a:lnTo>
                  <a:lnTo>
                    <a:pt x="4" y="4"/>
                  </a:lnTo>
                  <a:lnTo>
                    <a:pt x="3" y="6"/>
                  </a:lnTo>
                  <a:lnTo>
                    <a:pt x="1" y="9"/>
                  </a:lnTo>
                  <a:lnTo>
                    <a:pt x="1" y="12"/>
                  </a:lnTo>
                  <a:lnTo>
                    <a:pt x="0" y="15"/>
                  </a:lnTo>
                  <a:lnTo>
                    <a:pt x="1" y="18"/>
                  </a:lnTo>
                  <a:lnTo>
                    <a:pt x="1" y="21"/>
                  </a:lnTo>
                  <a:lnTo>
                    <a:pt x="3" y="23"/>
                  </a:lnTo>
                  <a:lnTo>
                    <a:pt x="4" y="25"/>
                  </a:lnTo>
                  <a:lnTo>
                    <a:pt x="8" y="28"/>
                  </a:lnTo>
                  <a:lnTo>
                    <a:pt x="10" y="29"/>
                  </a:lnTo>
                  <a:lnTo>
                    <a:pt x="13" y="30"/>
                  </a:lnTo>
                  <a:lnTo>
                    <a:pt x="15" y="30"/>
                  </a:lnTo>
                  <a:lnTo>
                    <a:pt x="15" y="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Light"/>
                <a:ea typeface="+mn-ea"/>
                <a:cs typeface="+mn-cs"/>
              </a:endParaRPr>
            </a:p>
          </p:txBody>
        </p:sp>
        <p:sp>
          <p:nvSpPr>
            <p:cNvPr id="71" name="Freeform 282"/>
            <p:cNvSpPr>
              <a:spLocks/>
            </p:cNvSpPr>
            <p:nvPr/>
          </p:nvSpPr>
          <p:spPr bwMode="auto">
            <a:xfrm>
              <a:off x="7042151" y="2136775"/>
              <a:ext cx="76200" cy="9525"/>
            </a:xfrm>
            <a:custGeom>
              <a:avLst/>
              <a:gdLst>
                <a:gd name="T0" fmla="*/ 226 w 241"/>
                <a:gd name="T1" fmla="*/ 30 h 30"/>
                <a:gd name="T2" fmla="*/ 230 w 241"/>
                <a:gd name="T3" fmla="*/ 30 h 30"/>
                <a:gd name="T4" fmla="*/ 232 w 241"/>
                <a:gd name="T5" fmla="*/ 29 h 30"/>
                <a:gd name="T6" fmla="*/ 235 w 241"/>
                <a:gd name="T7" fmla="*/ 28 h 30"/>
                <a:gd name="T8" fmla="*/ 237 w 241"/>
                <a:gd name="T9" fmla="*/ 26 h 30"/>
                <a:gd name="T10" fmla="*/ 239 w 241"/>
                <a:gd name="T11" fmla="*/ 23 h 30"/>
                <a:gd name="T12" fmla="*/ 240 w 241"/>
                <a:gd name="T13" fmla="*/ 21 h 30"/>
                <a:gd name="T14" fmla="*/ 241 w 241"/>
                <a:gd name="T15" fmla="*/ 18 h 30"/>
                <a:gd name="T16" fmla="*/ 241 w 241"/>
                <a:gd name="T17" fmla="*/ 15 h 30"/>
                <a:gd name="T18" fmla="*/ 241 w 241"/>
                <a:gd name="T19" fmla="*/ 13 h 30"/>
                <a:gd name="T20" fmla="*/ 240 w 241"/>
                <a:gd name="T21" fmla="*/ 9 h 30"/>
                <a:gd name="T22" fmla="*/ 239 w 241"/>
                <a:gd name="T23" fmla="*/ 6 h 30"/>
                <a:gd name="T24" fmla="*/ 237 w 241"/>
                <a:gd name="T25" fmla="*/ 4 h 30"/>
                <a:gd name="T26" fmla="*/ 235 w 241"/>
                <a:gd name="T27" fmla="*/ 3 h 30"/>
                <a:gd name="T28" fmla="*/ 232 w 241"/>
                <a:gd name="T29" fmla="*/ 1 h 30"/>
                <a:gd name="T30" fmla="*/ 230 w 241"/>
                <a:gd name="T31" fmla="*/ 1 h 30"/>
                <a:gd name="T32" fmla="*/ 226 w 241"/>
                <a:gd name="T33" fmla="*/ 0 h 30"/>
                <a:gd name="T34" fmla="*/ 15 w 241"/>
                <a:gd name="T35" fmla="*/ 0 h 30"/>
                <a:gd name="T36" fmla="*/ 13 w 241"/>
                <a:gd name="T37" fmla="*/ 1 h 30"/>
                <a:gd name="T38" fmla="*/ 10 w 241"/>
                <a:gd name="T39" fmla="*/ 1 h 30"/>
                <a:gd name="T40" fmla="*/ 8 w 241"/>
                <a:gd name="T41" fmla="*/ 3 h 30"/>
                <a:gd name="T42" fmla="*/ 4 w 241"/>
                <a:gd name="T43" fmla="*/ 4 h 30"/>
                <a:gd name="T44" fmla="*/ 3 w 241"/>
                <a:gd name="T45" fmla="*/ 6 h 30"/>
                <a:gd name="T46" fmla="*/ 1 w 241"/>
                <a:gd name="T47" fmla="*/ 9 h 30"/>
                <a:gd name="T48" fmla="*/ 1 w 241"/>
                <a:gd name="T49" fmla="*/ 13 h 30"/>
                <a:gd name="T50" fmla="*/ 0 w 241"/>
                <a:gd name="T51" fmla="*/ 15 h 30"/>
                <a:gd name="T52" fmla="*/ 1 w 241"/>
                <a:gd name="T53" fmla="*/ 18 h 30"/>
                <a:gd name="T54" fmla="*/ 1 w 241"/>
                <a:gd name="T55" fmla="*/ 21 h 30"/>
                <a:gd name="T56" fmla="*/ 3 w 241"/>
                <a:gd name="T57" fmla="*/ 23 h 30"/>
                <a:gd name="T58" fmla="*/ 4 w 241"/>
                <a:gd name="T59" fmla="*/ 26 h 30"/>
                <a:gd name="T60" fmla="*/ 8 w 241"/>
                <a:gd name="T61" fmla="*/ 28 h 30"/>
                <a:gd name="T62" fmla="*/ 10 w 241"/>
                <a:gd name="T63" fmla="*/ 29 h 30"/>
                <a:gd name="T64" fmla="*/ 13 w 241"/>
                <a:gd name="T65" fmla="*/ 30 h 30"/>
                <a:gd name="T66" fmla="*/ 15 w 241"/>
                <a:gd name="T67" fmla="*/ 30 h 30"/>
                <a:gd name="T68" fmla="*/ 226 w 241"/>
                <a:gd name="T69"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41" h="30">
                  <a:moveTo>
                    <a:pt x="226" y="30"/>
                  </a:moveTo>
                  <a:lnTo>
                    <a:pt x="230" y="30"/>
                  </a:lnTo>
                  <a:lnTo>
                    <a:pt x="232" y="29"/>
                  </a:lnTo>
                  <a:lnTo>
                    <a:pt x="235" y="28"/>
                  </a:lnTo>
                  <a:lnTo>
                    <a:pt x="237" y="26"/>
                  </a:lnTo>
                  <a:lnTo>
                    <a:pt x="239" y="23"/>
                  </a:lnTo>
                  <a:lnTo>
                    <a:pt x="240" y="21"/>
                  </a:lnTo>
                  <a:lnTo>
                    <a:pt x="241" y="18"/>
                  </a:lnTo>
                  <a:lnTo>
                    <a:pt x="241" y="15"/>
                  </a:lnTo>
                  <a:lnTo>
                    <a:pt x="241" y="13"/>
                  </a:lnTo>
                  <a:lnTo>
                    <a:pt x="240" y="9"/>
                  </a:lnTo>
                  <a:lnTo>
                    <a:pt x="239" y="6"/>
                  </a:lnTo>
                  <a:lnTo>
                    <a:pt x="237" y="4"/>
                  </a:lnTo>
                  <a:lnTo>
                    <a:pt x="235" y="3"/>
                  </a:lnTo>
                  <a:lnTo>
                    <a:pt x="232" y="1"/>
                  </a:lnTo>
                  <a:lnTo>
                    <a:pt x="230" y="1"/>
                  </a:lnTo>
                  <a:lnTo>
                    <a:pt x="226" y="0"/>
                  </a:lnTo>
                  <a:lnTo>
                    <a:pt x="15" y="0"/>
                  </a:lnTo>
                  <a:lnTo>
                    <a:pt x="13" y="1"/>
                  </a:lnTo>
                  <a:lnTo>
                    <a:pt x="10" y="1"/>
                  </a:lnTo>
                  <a:lnTo>
                    <a:pt x="8" y="3"/>
                  </a:lnTo>
                  <a:lnTo>
                    <a:pt x="4" y="4"/>
                  </a:lnTo>
                  <a:lnTo>
                    <a:pt x="3" y="6"/>
                  </a:lnTo>
                  <a:lnTo>
                    <a:pt x="1" y="9"/>
                  </a:lnTo>
                  <a:lnTo>
                    <a:pt x="1" y="13"/>
                  </a:lnTo>
                  <a:lnTo>
                    <a:pt x="0" y="15"/>
                  </a:lnTo>
                  <a:lnTo>
                    <a:pt x="1" y="18"/>
                  </a:lnTo>
                  <a:lnTo>
                    <a:pt x="1" y="21"/>
                  </a:lnTo>
                  <a:lnTo>
                    <a:pt x="3" y="23"/>
                  </a:lnTo>
                  <a:lnTo>
                    <a:pt x="4" y="26"/>
                  </a:lnTo>
                  <a:lnTo>
                    <a:pt x="8" y="28"/>
                  </a:lnTo>
                  <a:lnTo>
                    <a:pt x="10" y="29"/>
                  </a:lnTo>
                  <a:lnTo>
                    <a:pt x="13" y="30"/>
                  </a:lnTo>
                  <a:lnTo>
                    <a:pt x="15" y="30"/>
                  </a:lnTo>
                  <a:lnTo>
                    <a:pt x="226" y="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Light"/>
                <a:ea typeface="+mn-ea"/>
                <a:cs typeface="+mn-cs"/>
              </a:endParaRPr>
            </a:p>
          </p:txBody>
        </p:sp>
        <p:sp>
          <p:nvSpPr>
            <p:cNvPr id="72" name="Freeform 283"/>
            <p:cNvSpPr>
              <a:spLocks/>
            </p:cNvSpPr>
            <p:nvPr/>
          </p:nvSpPr>
          <p:spPr bwMode="auto">
            <a:xfrm>
              <a:off x="7234238" y="2051050"/>
              <a:ext cx="57150" cy="9525"/>
            </a:xfrm>
            <a:custGeom>
              <a:avLst/>
              <a:gdLst>
                <a:gd name="T0" fmla="*/ 15 w 180"/>
                <a:gd name="T1" fmla="*/ 0 h 30"/>
                <a:gd name="T2" fmla="*/ 12 w 180"/>
                <a:gd name="T3" fmla="*/ 0 h 30"/>
                <a:gd name="T4" fmla="*/ 8 w 180"/>
                <a:gd name="T5" fmla="*/ 2 h 30"/>
                <a:gd name="T6" fmla="*/ 6 w 180"/>
                <a:gd name="T7" fmla="*/ 3 h 30"/>
                <a:gd name="T8" fmla="*/ 4 w 180"/>
                <a:gd name="T9" fmla="*/ 5 h 30"/>
                <a:gd name="T10" fmla="*/ 2 w 180"/>
                <a:gd name="T11" fmla="*/ 7 h 30"/>
                <a:gd name="T12" fmla="*/ 1 w 180"/>
                <a:gd name="T13" fmla="*/ 9 h 30"/>
                <a:gd name="T14" fmla="*/ 0 w 180"/>
                <a:gd name="T15" fmla="*/ 12 h 30"/>
                <a:gd name="T16" fmla="*/ 0 w 180"/>
                <a:gd name="T17" fmla="*/ 15 h 30"/>
                <a:gd name="T18" fmla="*/ 0 w 180"/>
                <a:gd name="T19" fmla="*/ 19 h 30"/>
                <a:gd name="T20" fmla="*/ 1 w 180"/>
                <a:gd name="T21" fmla="*/ 21 h 30"/>
                <a:gd name="T22" fmla="*/ 2 w 180"/>
                <a:gd name="T23" fmla="*/ 24 h 30"/>
                <a:gd name="T24" fmla="*/ 4 w 180"/>
                <a:gd name="T25" fmla="*/ 26 h 30"/>
                <a:gd name="T26" fmla="*/ 6 w 180"/>
                <a:gd name="T27" fmla="*/ 27 h 30"/>
                <a:gd name="T28" fmla="*/ 8 w 180"/>
                <a:gd name="T29" fmla="*/ 29 h 30"/>
                <a:gd name="T30" fmla="*/ 12 w 180"/>
                <a:gd name="T31" fmla="*/ 29 h 30"/>
                <a:gd name="T32" fmla="*/ 15 w 180"/>
                <a:gd name="T33" fmla="*/ 30 h 30"/>
                <a:gd name="T34" fmla="*/ 165 w 180"/>
                <a:gd name="T35" fmla="*/ 30 h 30"/>
                <a:gd name="T36" fmla="*/ 168 w 180"/>
                <a:gd name="T37" fmla="*/ 29 h 30"/>
                <a:gd name="T38" fmla="*/ 171 w 180"/>
                <a:gd name="T39" fmla="*/ 29 h 30"/>
                <a:gd name="T40" fmla="*/ 174 w 180"/>
                <a:gd name="T41" fmla="*/ 27 h 30"/>
                <a:gd name="T42" fmla="*/ 176 w 180"/>
                <a:gd name="T43" fmla="*/ 26 h 30"/>
                <a:gd name="T44" fmla="*/ 178 w 180"/>
                <a:gd name="T45" fmla="*/ 24 h 30"/>
                <a:gd name="T46" fmla="*/ 179 w 180"/>
                <a:gd name="T47" fmla="*/ 21 h 30"/>
                <a:gd name="T48" fmla="*/ 180 w 180"/>
                <a:gd name="T49" fmla="*/ 19 h 30"/>
                <a:gd name="T50" fmla="*/ 180 w 180"/>
                <a:gd name="T51" fmla="*/ 15 h 30"/>
                <a:gd name="T52" fmla="*/ 180 w 180"/>
                <a:gd name="T53" fmla="*/ 12 h 30"/>
                <a:gd name="T54" fmla="*/ 179 w 180"/>
                <a:gd name="T55" fmla="*/ 9 h 30"/>
                <a:gd name="T56" fmla="*/ 178 w 180"/>
                <a:gd name="T57" fmla="*/ 7 h 30"/>
                <a:gd name="T58" fmla="*/ 176 w 180"/>
                <a:gd name="T59" fmla="*/ 5 h 30"/>
                <a:gd name="T60" fmla="*/ 174 w 180"/>
                <a:gd name="T61" fmla="*/ 3 h 30"/>
                <a:gd name="T62" fmla="*/ 171 w 180"/>
                <a:gd name="T63" fmla="*/ 2 h 30"/>
                <a:gd name="T64" fmla="*/ 168 w 180"/>
                <a:gd name="T65" fmla="*/ 0 h 30"/>
                <a:gd name="T66" fmla="*/ 165 w 180"/>
                <a:gd name="T67" fmla="*/ 0 h 30"/>
                <a:gd name="T68" fmla="*/ 15 w 180"/>
                <a:gd name="T69"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0" h="30">
                  <a:moveTo>
                    <a:pt x="15" y="0"/>
                  </a:moveTo>
                  <a:lnTo>
                    <a:pt x="12" y="0"/>
                  </a:lnTo>
                  <a:lnTo>
                    <a:pt x="8" y="2"/>
                  </a:lnTo>
                  <a:lnTo>
                    <a:pt x="6" y="3"/>
                  </a:lnTo>
                  <a:lnTo>
                    <a:pt x="4" y="5"/>
                  </a:lnTo>
                  <a:lnTo>
                    <a:pt x="2" y="7"/>
                  </a:lnTo>
                  <a:lnTo>
                    <a:pt x="1" y="9"/>
                  </a:lnTo>
                  <a:lnTo>
                    <a:pt x="0" y="12"/>
                  </a:lnTo>
                  <a:lnTo>
                    <a:pt x="0" y="15"/>
                  </a:lnTo>
                  <a:lnTo>
                    <a:pt x="0" y="19"/>
                  </a:lnTo>
                  <a:lnTo>
                    <a:pt x="1" y="21"/>
                  </a:lnTo>
                  <a:lnTo>
                    <a:pt x="2" y="24"/>
                  </a:lnTo>
                  <a:lnTo>
                    <a:pt x="4" y="26"/>
                  </a:lnTo>
                  <a:lnTo>
                    <a:pt x="6" y="27"/>
                  </a:lnTo>
                  <a:lnTo>
                    <a:pt x="8" y="29"/>
                  </a:lnTo>
                  <a:lnTo>
                    <a:pt x="12" y="29"/>
                  </a:lnTo>
                  <a:lnTo>
                    <a:pt x="15" y="30"/>
                  </a:lnTo>
                  <a:lnTo>
                    <a:pt x="165" y="30"/>
                  </a:lnTo>
                  <a:lnTo>
                    <a:pt x="168" y="29"/>
                  </a:lnTo>
                  <a:lnTo>
                    <a:pt x="171" y="29"/>
                  </a:lnTo>
                  <a:lnTo>
                    <a:pt x="174" y="27"/>
                  </a:lnTo>
                  <a:lnTo>
                    <a:pt x="176" y="26"/>
                  </a:lnTo>
                  <a:lnTo>
                    <a:pt x="178" y="24"/>
                  </a:lnTo>
                  <a:lnTo>
                    <a:pt x="179" y="21"/>
                  </a:lnTo>
                  <a:lnTo>
                    <a:pt x="180" y="19"/>
                  </a:lnTo>
                  <a:lnTo>
                    <a:pt x="180" y="15"/>
                  </a:lnTo>
                  <a:lnTo>
                    <a:pt x="180" y="12"/>
                  </a:lnTo>
                  <a:lnTo>
                    <a:pt x="179" y="9"/>
                  </a:lnTo>
                  <a:lnTo>
                    <a:pt x="178" y="7"/>
                  </a:lnTo>
                  <a:lnTo>
                    <a:pt x="176" y="5"/>
                  </a:lnTo>
                  <a:lnTo>
                    <a:pt x="174" y="3"/>
                  </a:lnTo>
                  <a:lnTo>
                    <a:pt x="171" y="2"/>
                  </a:lnTo>
                  <a:lnTo>
                    <a:pt x="168" y="0"/>
                  </a:lnTo>
                  <a:lnTo>
                    <a:pt x="165" y="0"/>
                  </a:lnTo>
                  <a:lnTo>
                    <a:pt x="1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Light"/>
                <a:ea typeface="+mn-ea"/>
                <a:cs typeface="+mn-cs"/>
              </a:endParaRPr>
            </a:p>
          </p:txBody>
        </p:sp>
        <p:sp>
          <p:nvSpPr>
            <p:cNvPr id="73" name="Freeform 284"/>
            <p:cNvSpPr>
              <a:spLocks/>
            </p:cNvSpPr>
            <p:nvPr/>
          </p:nvSpPr>
          <p:spPr bwMode="auto">
            <a:xfrm>
              <a:off x="7234238" y="2070100"/>
              <a:ext cx="57150" cy="9525"/>
            </a:xfrm>
            <a:custGeom>
              <a:avLst/>
              <a:gdLst>
                <a:gd name="T0" fmla="*/ 165 w 180"/>
                <a:gd name="T1" fmla="*/ 0 h 30"/>
                <a:gd name="T2" fmla="*/ 15 w 180"/>
                <a:gd name="T3" fmla="*/ 0 h 30"/>
                <a:gd name="T4" fmla="*/ 12 w 180"/>
                <a:gd name="T5" fmla="*/ 0 h 30"/>
                <a:gd name="T6" fmla="*/ 8 w 180"/>
                <a:gd name="T7" fmla="*/ 1 h 30"/>
                <a:gd name="T8" fmla="*/ 6 w 180"/>
                <a:gd name="T9" fmla="*/ 2 h 30"/>
                <a:gd name="T10" fmla="*/ 4 w 180"/>
                <a:gd name="T11" fmla="*/ 4 h 30"/>
                <a:gd name="T12" fmla="*/ 2 w 180"/>
                <a:gd name="T13" fmla="*/ 6 h 30"/>
                <a:gd name="T14" fmla="*/ 1 w 180"/>
                <a:gd name="T15" fmla="*/ 8 h 30"/>
                <a:gd name="T16" fmla="*/ 0 w 180"/>
                <a:gd name="T17" fmla="*/ 11 h 30"/>
                <a:gd name="T18" fmla="*/ 0 w 180"/>
                <a:gd name="T19" fmla="*/ 15 h 30"/>
                <a:gd name="T20" fmla="*/ 0 w 180"/>
                <a:gd name="T21" fmla="*/ 18 h 30"/>
                <a:gd name="T22" fmla="*/ 1 w 180"/>
                <a:gd name="T23" fmla="*/ 20 h 30"/>
                <a:gd name="T24" fmla="*/ 2 w 180"/>
                <a:gd name="T25" fmla="*/ 23 h 30"/>
                <a:gd name="T26" fmla="*/ 4 w 180"/>
                <a:gd name="T27" fmla="*/ 25 h 30"/>
                <a:gd name="T28" fmla="*/ 6 w 180"/>
                <a:gd name="T29" fmla="*/ 26 h 30"/>
                <a:gd name="T30" fmla="*/ 8 w 180"/>
                <a:gd name="T31" fmla="*/ 29 h 30"/>
                <a:gd name="T32" fmla="*/ 12 w 180"/>
                <a:gd name="T33" fmla="*/ 30 h 30"/>
                <a:gd name="T34" fmla="*/ 15 w 180"/>
                <a:gd name="T35" fmla="*/ 30 h 30"/>
                <a:gd name="T36" fmla="*/ 165 w 180"/>
                <a:gd name="T37" fmla="*/ 30 h 30"/>
                <a:gd name="T38" fmla="*/ 168 w 180"/>
                <a:gd name="T39" fmla="*/ 30 h 30"/>
                <a:gd name="T40" fmla="*/ 171 w 180"/>
                <a:gd name="T41" fmla="*/ 29 h 30"/>
                <a:gd name="T42" fmla="*/ 174 w 180"/>
                <a:gd name="T43" fmla="*/ 26 h 30"/>
                <a:gd name="T44" fmla="*/ 176 w 180"/>
                <a:gd name="T45" fmla="*/ 25 h 30"/>
                <a:gd name="T46" fmla="*/ 178 w 180"/>
                <a:gd name="T47" fmla="*/ 23 h 30"/>
                <a:gd name="T48" fmla="*/ 179 w 180"/>
                <a:gd name="T49" fmla="*/ 20 h 30"/>
                <a:gd name="T50" fmla="*/ 180 w 180"/>
                <a:gd name="T51" fmla="*/ 18 h 30"/>
                <a:gd name="T52" fmla="*/ 180 w 180"/>
                <a:gd name="T53" fmla="*/ 15 h 30"/>
                <a:gd name="T54" fmla="*/ 180 w 180"/>
                <a:gd name="T55" fmla="*/ 11 h 30"/>
                <a:gd name="T56" fmla="*/ 179 w 180"/>
                <a:gd name="T57" fmla="*/ 8 h 30"/>
                <a:gd name="T58" fmla="*/ 178 w 180"/>
                <a:gd name="T59" fmla="*/ 6 h 30"/>
                <a:gd name="T60" fmla="*/ 176 w 180"/>
                <a:gd name="T61" fmla="*/ 4 h 30"/>
                <a:gd name="T62" fmla="*/ 174 w 180"/>
                <a:gd name="T63" fmla="*/ 2 h 30"/>
                <a:gd name="T64" fmla="*/ 171 w 180"/>
                <a:gd name="T65" fmla="*/ 1 h 30"/>
                <a:gd name="T66" fmla="*/ 168 w 180"/>
                <a:gd name="T67" fmla="*/ 0 h 30"/>
                <a:gd name="T68" fmla="*/ 165 w 180"/>
                <a:gd name="T69"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0" h="30">
                  <a:moveTo>
                    <a:pt x="165" y="0"/>
                  </a:moveTo>
                  <a:lnTo>
                    <a:pt x="15" y="0"/>
                  </a:lnTo>
                  <a:lnTo>
                    <a:pt x="12" y="0"/>
                  </a:lnTo>
                  <a:lnTo>
                    <a:pt x="8" y="1"/>
                  </a:lnTo>
                  <a:lnTo>
                    <a:pt x="6" y="2"/>
                  </a:lnTo>
                  <a:lnTo>
                    <a:pt x="4" y="4"/>
                  </a:lnTo>
                  <a:lnTo>
                    <a:pt x="2" y="6"/>
                  </a:lnTo>
                  <a:lnTo>
                    <a:pt x="1" y="8"/>
                  </a:lnTo>
                  <a:lnTo>
                    <a:pt x="0" y="11"/>
                  </a:lnTo>
                  <a:lnTo>
                    <a:pt x="0" y="15"/>
                  </a:lnTo>
                  <a:lnTo>
                    <a:pt x="0" y="18"/>
                  </a:lnTo>
                  <a:lnTo>
                    <a:pt x="1" y="20"/>
                  </a:lnTo>
                  <a:lnTo>
                    <a:pt x="2" y="23"/>
                  </a:lnTo>
                  <a:lnTo>
                    <a:pt x="4" y="25"/>
                  </a:lnTo>
                  <a:lnTo>
                    <a:pt x="6" y="26"/>
                  </a:lnTo>
                  <a:lnTo>
                    <a:pt x="8" y="29"/>
                  </a:lnTo>
                  <a:lnTo>
                    <a:pt x="12" y="30"/>
                  </a:lnTo>
                  <a:lnTo>
                    <a:pt x="15" y="30"/>
                  </a:lnTo>
                  <a:lnTo>
                    <a:pt x="165" y="30"/>
                  </a:lnTo>
                  <a:lnTo>
                    <a:pt x="168" y="30"/>
                  </a:lnTo>
                  <a:lnTo>
                    <a:pt x="171" y="29"/>
                  </a:lnTo>
                  <a:lnTo>
                    <a:pt x="174" y="26"/>
                  </a:lnTo>
                  <a:lnTo>
                    <a:pt x="176" y="25"/>
                  </a:lnTo>
                  <a:lnTo>
                    <a:pt x="178" y="23"/>
                  </a:lnTo>
                  <a:lnTo>
                    <a:pt x="179" y="20"/>
                  </a:lnTo>
                  <a:lnTo>
                    <a:pt x="180" y="18"/>
                  </a:lnTo>
                  <a:lnTo>
                    <a:pt x="180" y="15"/>
                  </a:lnTo>
                  <a:lnTo>
                    <a:pt x="180" y="11"/>
                  </a:lnTo>
                  <a:lnTo>
                    <a:pt x="179" y="8"/>
                  </a:lnTo>
                  <a:lnTo>
                    <a:pt x="178" y="6"/>
                  </a:lnTo>
                  <a:lnTo>
                    <a:pt x="176" y="4"/>
                  </a:lnTo>
                  <a:lnTo>
                    <a:pt x="174" y="2"/>
                  </a:lnTo>
                  <a:lnTo>
                    <a:pt x="171" y="1"/>
                  </a:lnTo>
                  <a:lnTo>
                    <a:pt x="168" y="0"/>
                  </a:lnTo>
                  <a:lnTo>
                    <a:pt x="16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Light"/>
                <a:ea typeface="+mn-ea"/>
                <a:cs typeface="+mn-cs"/>
              </a:endParaRPr>
            </a:p>
          </p:txBody>
        </p:sp>
        <p:sp>
          <p:nvSpPr>
            <p:cNvPr id="74" name="Freeform 285"/>
            <p:cNvSpPr>
              <a:spLocks/>
            </p:cNvSpPr>
            <p:nvPr/>
          </p:nvSpPr>
          <p:spPr bwMode="auto">
            <a:xfrm>
              <a:off x="7234238" y="2089150"/>
              <a:ext cx="57150" cy="9525"/>
            </a:xfrm>
            <a:custGeom>
              <a:avLst/>
              <a:gdLst>
                <a:gd name="T0" fmla="*/ 165 w 180"/>
                <a:gd name="T1" fmla="*/ 0 h 30"/>
                <a:gd name="T2" fmla="*/ 15 w 180"/>
                <a:gd name="T3" fmla="*/ 0 h 30"/>
                <a:gd name="T4" fmla="*/ 12 w 180"/>
                <a:gd name="T5" fmla="*/ 0 h 30"/>
                <a:gd name="T6" fmla="*/ 8 w 180"/>
                <a:gd name="T7" fmla="*/ 1 h 30"/>
                <a:gd name="T8" fmla="*/ 6 w 180"/>
                <a:gd name="T9" fmla="*/ 2 h 30"/>
                <a:gd name="T10" fmla="*/ 4 w 180"/>
                <a:gd name="T11" fmla="*/ 4 h 30"/>
                <a:gd name="T12" fmla="*/ 2 w 180"/>
                <a:gd name="T13" fmla="*/ 6 h 30"/>
                <a:gd name="T14" fmla="*/ 1 w 180"/>
                <a:gd name="T15" fmla="*/ 9 h 30"/>
                <a:gd name="T16" fmla="*/ 0 w 180"/>
                <a:gd name="T17" fmla="*/ 11 h 30"/>
                <a:gd name="T18" fmla="*/ 0 w 180"/>
                <a:gd name="T19" fmla="*/ 15 h 30"/>
                <a:gd name="T20" fmla="*/ 0 w 180"/>
                <a:gd name="T21" fmla="*/ 18 h 30"/>
                <a:gd name="T22" fmla="*/ 1 w 180"/>
                <a:gd name="T23" fmla="*/ 20 h 30"/>
                <a:gd name="T24" fmla="*/ 2 w 180"/>
                <a:gd name="T25" fmla="*/ 23 h 30"/>
                <a:gd name="T26" fmla="*/ 4 w 180"/>
                <a:gd name="T27" fmla="*/ 25 h 30"/>
                <a:gd name="T28" fmla="*/ 6 w 180"/>
                <a:gd name="T29" fmla="*/ 28 h 30"/>
                <a:gd name="T30" fmla="*/ 8 w 180"/>
                <a:gd name="T31" fmla="*/ 29 h 30"/>
                <a:gd name="T32" fmla="*/ 12 w 180"/>
                <a:gd name="T33" fmla="*/ 30 h 30"/>
                <a:gd name="T34" fmla="*/ 15 w 180"/>
                <a:gd name="T35" fmla="*/ 30 h 30"/>
                <a:gd name="T36" fmla="*/ 165 w 180"/>
                <a:gd name="T37" fmla="*/ 30 h 30"/>
                <a:gd name="T38" fmla="*/ 168 w 180"/>
                <a:gd name="T39" fmla="*/ 30 h 30"/>
                <a:gd name="T40" fmla="*/ 171 w 180"/>
                <a:gd name="T41" fmla="*/ 29 h 30"/>
                <a:gd name="T42" fmla="*/ 174 w 180"/>
                <a:gd name="T43" fmla="*/ 28 h 30"/>
                <a:gd name="T44" fmla="*/ 176 w 180"/>
                <a:gd name="T45" fmla="*/ 25 h 30"/>
                <a:gd name="T46" fmla="*/ 178 w 180"/>
                <a:gd name="T47" fmla="*/ 23 h 30"/>
                <a:gd name="T48" fmla="*/ 179 w 180"/>
                <a:gd name="T49" fmla="*/ 20 h 30"/>
                <a:gd name="T50" fmla="*/ 180 w 180"/>
                <a:gd name="T51" fmla="*/ 18 h 30"/>
                <a:gd name="T52" fmla="*/ 180 w 180"/>
                <a:gd name="T53" fmla="*/ 15 h 30"/>
                <a:gd name="T54" fmla="*/ 180 w 180"/>
                <a:gd name="T55" fmla="*/ 11 h 30"/>
                <a:gd name="T56" fmla="*/ 179 w 180"/>
                <a:gd name="T57" fmla="*/ 9 h 30"/>
                <a:gd name="T58" fmla="*/ 178 w 180"/>
                <a:gd name="T59" fmla="*/ 6 h 30"/>
                <a:gd name="T60" fmla="*/ 176 w 180"/>
                <a:gd name="T61" fmla="*/ 4 h 30"/>
                <a:gd name="T62" fmla="*/ 174 w 180"/>
                <a:gd name="T63" fmla="*/ 2 h 30"/>
                <a:gd name="T64" fmla="*/ 171 w 180"/>
                <a:gd name="T65" fmla="*/ 1 h 30"/>
                <a:gd name="T66" fmla="*/ 168 w 180"/>
                <a:gd name="T67" fmla="*/ 0 h 30"/>
                <a:gd name="T68" fmla="*/ 165 w 180"/>
                <a:gd name="T69" fmla="*/ 0 h 30"/>
                <a:gd name="T70" fmla="*/ 165 w 180"/>
                <a:gd name="T7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80" h="30">
                  <a:moveTo>
                    <a:pt x="165" y="0"/>
                  </a:moveTo>
                  <a:lnTo>
                    <a:pt x="15" y="0"/>
                  </a:lnTo>
                  <a:lnTo>
                    <a:pt x="12" y="0"/>
                  </a:lnTo>
                  <a:lnTo>
                    <a:pt x="8" y="1"/>
                  </a:lnTo>
                  <a:lnTo>
                    <a:pt x="6" y="2"/>
                  </a:lnTo>
                  <a:lnTo>
                    <a:pt x="4" y="4"/>
                  </a:lnTo>
                  <a:lnTo>
                    <a:pt x="2" y="6"/>
                  </a:lnTo>
                  <a:lnTo>
                    <a:pt x="1" y="9"/>
                  </a:lnTo>
                  <a:lnTo>
                    <a:pt x="0" y="11"/>
                  </a:lnTo>
                  <a:lnTo>
                    <a:pt x="0" y="15"/>
                  </a:lnTo>
                  <a:lnTo>
                    <a:pt x="0" y="18"/>
                  </a:lnTo>
                  <a:lnTo>
                    <a:pt x="1" y="20"/>
                  </a:lnTo>
                  <a:lnTo>
                    <a:pt x="2" y="23"/>
                  </a:lnTo>
                  <a:lnTo>
                    <a:pt x="4" y="25"/>
                  </a:lnTo>
                  <a:lnTo>
                    <a:pt x="6" y="28"/>
                  </a:lnTo>
                  <a:lnTo>
                    <a:pt x="8" y="29"/>
                  </a:lnTo>
                  <a:lnTo>
                    <a:pt x="12" y="30"/>
                  </a:lnTo>
                  <a:lnTo>
                    <a:pt x="15" y="30"/>
                  </a:lnTo>
                  <a:lnTo>
                    <a:pt x="165" y="30"/>
                  </a:lnTo>
                  <a:lnTo>
                    <a:pt x="168" y="30"/>
                  </a:lnTo>
                  <a:lnTo>
                    <a:pt x="171" y="29"/>
                  </a:lnTo>
                  <a:lnTo>
                    <a:pt x="174" y="28"/>
                  </a:lnTo>
                  <a:lnTo>
                    <a:pt x="176" y="25"/>
                  </a:lnTo>
                  <a:lnTo>
                    <a:pt x="178" y="23"/>
                  </a:lnTo>
                  <a:lnTo>
                    <a:pt x="179" y="20"/>
                  </a:lnTo>
                  <a:lnTo>
                    <a:pt x="180" y="18"/>
                  </a:lnTo>
                  <a:lnTo>
                    <a:pt x="180" y="15"/>
                  </a:lnTo>
                  <a:lnTo>
                    <a:pt x="180" y="11"/>
                  </a:lnTo>
                  <a:lnTo>
                    <a:pt x="179" y="9"/>
                  </a:lnTo>
                  <a:lnTo>
                    <a:pt x="178" y="6"/>
                  </a:lnTo>
                  <a:lnTo>
                    <a:pt x="176" y="4"/>
                  </a:lnTo>
                  <a:lnTo>
                    <a:pt x="174" y="2"/>
                  </a:lnTo>
                  <a:lnTo>
                    <a:pt x="171" y="1"/>
                  </a:lnTo>
                  <a:lnTo>
                    <a:pt x="168" y="0"/>
                  </a:lnTo>
                  <a:lnTo>
                    <a:pt x="165" y="0"/>
                  </a:lnTo>
                  <a:lnTo>
                    <a:pt x="16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Light"/>
                <a:ea typeface="+mn-ea"/>
                <a:cs typeface="+mn-cs"/>
              </a:endParaRPr>
            </a:p>
          </p:txBody>
        </p:sp>
        <p:sp>
          <p:nvSpPr>
            <p:cNvPr id="75" name="Freeform 286"/>
            <p:cNvSpPr>
              <a:spLocks/>
            </p:cNvSpPr>
            <p:nvPr/>
          </p:nvSpPr>
          <p:spPr bwMode="auto">
            <a:xfrm>
              <a:off x="7234238" y="2108200"/>
              <a:ext cx="57150" cy="9525"/>
            </a:xfrm>
            <a:custGeom>
              <a:avLst/>
              <a:gdLst>
                <a:gd name="T0" fmla="*/ 165 w 180"/>
                <a:gd name="T1" fmla="*/ 0 h 30"/>
                <a:gd name="T2" fmla="*/ 15 w 180"/>
                <a:gd name="T3" fmla="*/ 0 h 30"/>
                <a:gd name="T4" fmla="*/ 12 w 180"/>
                <a:gd name="T5" fmla="*/ 0 h 30"/>
                <a:gd name="T6" fmla="*/ 8 w 180"/>
                <a:gd name="T7" fmla="*/ 1 h 30"/>
                <a:gd name="T8" fmla="*/ 6 w 180"/>
                <a:gd name="T9" fmla="*/ 3 h 30"/>
                <a:gd name="T10" fmla="*/ 4 w 180"/>
                <a:gd name="T11" fmla="*/ 4 h 30"/>
                <a:gd name="T12" fmla="*/ 2 w 180"/>
                <a:gd name="T13" fmla="*/ 6 h 30"/>
                <a:gd name="T14" fmla="*/ 1 w 180"/>
                <a:gd name="T15" fmla="*/ 9 h 30"/>
                <a:gd name="T16" fmla="*/ 0 w 180"/>
                <a:gd name="T17" fmla="*/ 12 h 30"/>
                <a:gd name="T18" fmla="*/ 0 w 180"/>
                <a:gd name="T19" fmla="*/ 15 h 30"/>
                <a:gd name="T20" fmla="*/ 0 w 180"/>
                <a:gd name="T21" fmla="*/ 18 h 30"/>
                <a:gd name="T22" fmla="*/ 1 w 180"/>
                <a:gd name="T23" fmla="*/ 21 h 30"/>
                <a:gd name="T24" fmla="*/ 2 w 180"/>
                <a:gd name="T25" fmla="*/ 23 h 30"/>
                <a:gd name="T26" fmla="*/ 4 w 180"/>
                <a:gd name="T27" fmla="*/ 25 h 30"/>
                <a:gd name="T28" fmla="*/ 6 w 180"/>
                <a:gd name="T29" fmla="*/ 28 h 30"/>
                <a:gd name="T30" fmla="*/ 8 w 180"/>
                <a:gd name="T31" fmla="*/ 29 h 30"/>
                <a:gd name="T32" fmla="*/ 12 w 180"/>
                <a:gd name="T33" fmla="*/ 30 h 30"/>
                <a:gd name="T34" fmla="*/ 15 w 180"/>
                <a:gd name="T35" fmla="*/ 30 h 30"/>
                <a:gd name="T36" fmla="*/ 165 w 180"/>
                <a:gd name="T37" fmla="*/ 30 h 30"/>
                <a:gd name="T38" fmla="*/ 168 w 180"/>
                <a:gd name="T39" fmla="*/ 30 h 30"/>
                <a:gd name="T40" fmla="*/ 171 w 180"/>
                <a:gd name="T41" fmla="*/ 29 h 30"/>
                <a:gd name="T42" fmla="*/ 174 w 180"/>
                <a:gd name="T43" fmla="*/ 28 h 30"/>
                <a:gd name="T44" fmla="*/ 176 w 180"/>
                <a:gd name="T45" fmla="*/ 25 h 30"/>
                <a:gd name="T46" fmla="*/ 178 w 180"/>
                <a:gd name="T47" fmla="*/ 23 h 30"/>
                <a:gd name="T48" fmla="*/ 179 w 180"/>
                <a:gd name="T49" fmla="*/ 21 h 30"/>
                <a:gd name="T50" fmla="*/ 180 w 180"/>
                <a:gd name="T51" fmla="*/ 18 h 30"/>
                <a:gd name="T52" fmla="*/ 180 w 180"/>
                <a:gd name="T53" fmla="*/ 15 h 30"/>
                <a:gd name="T54" fmla="*/ 180 w 180"/>
                <a:gd name="T55" fmla="*/ 12 h 30"/>
                <a:gd name="T56" fmla="*/ 179 w 180"/>
                <a:gd name="T57" fmla="*/ 9 h 30"/>
                <a:gd name="T58" fmla="*/ 178 w 180"/>
                <a:gd name="T59" fmla="*/ 6 h 30"/>
                <a:gd name="T60" fmla="*/ 176 w 180"/>
                <a:gd name="T61" fmla="*/ 4 h 30"/>
                <a:gd name="T62" fmla="*/ 174 w 180"/>
                <a:gd name="T63" fmla="*/ 3 h 30"/>
                <a:gd name="T64" fmla="*/ 171 w 180"/>
                <a:gd name="T65" fmla="*/ 1 h 30"/>
                <a:gd name="T66" fmla="*/ 168 w 180"/>
                <a:gd name="T67" fmla="*/ 0 h 30"/>
                <a:gd name="T68" fmla="*/ 165 w 180"/>
                <a:gd name="T69"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0" h="30">
                  <a:moveTo>
                    <a:pt x="165" y="0"/>
                  </a:moveTo>
                  <a:lnTo>
                    <a:pt x="15" y="0"/>
                  </a:lnTo>
                  <a:lnTo>
                    <a:pt x="12" y="0"/>
                  </a:lnTo>
                  <a:lnTo>
                    <a:pt x="8" y="1"/>
                  </a:lnTo>
                  <a:lnTo>
                    <a:pt x="6" y="3"/>
                  </a:lnTo>
                  <a:lnTo>
                    <a:pt x="4" y="4"/>
                  </a:lnTo>
                  <a:lnTo>
                    <a:pt x="2" y="6"/>
                  </a:lnTo>
                  <a:lnTo>
                    <a:pt x="1" y="9"/>
                  </a:lnTo>
                  <a:lnTo>
                    <a:pt x="0" y="12"/>
                  </a:lnTo>
                  <a:lnTo>
                    <a:pt x="0" y="15"/>
                  </a:lnTo>
                  <a:lnTo>
                    <a:pt x="0" y="18"/>
                  </a:lnTo>
                  <a:lnTo>
                    <a:pt x="1" y="21"/>
                  </a:lnTo>
                  <a:lnTo>
                    <a:pt x="2" y="23"/>
                  </a:lnTo>
                  <a:lnTo>
                    <a:pt x="4" y="25"/>
                  </a:lnTo>
                  <a:lnTo>
                    <a:pt x="6" y="28"/>
                  </a:lnTo>
                  <a:lnTo>
                    <a:pt x="8" y="29"/>
                  </a:lnTo>
                  <a:lnTo>
                    <a:pt x="12" y="30"/>
                  </a:lnTo>
                  <a:lnTo>
                    <a:pt x="15" y="30"/>
                  </a:lnTo>
                  <a:lnTo>
                    <a:pt x="165" y="30"/>
                  </a:lnTo>
                  <a:lnTo>
                    <a:pt x="168" y="30"/>
                  </a:lnTo>
                  <a:lnTo>
                    <a:pt x="171" y="29"/>
                  </a:lnTo>
                  <a:lnTo>
                    <a:pt x="174" y="28"/>
                  </a:lnTo>
                  <a:lnTo>
                    <a:pt x="176" y="25"/>
                  </a:lnTo>
                  <a:lnTo>
                    <a:pt x="178" y="23"/>
                  </a:lnTo>
                  <a:lnTo>
                    <a:pt x="179" y="21"/>
                  </a:lnTo>
                  <a:lnTo>
                    <a:pt x="180" y="18"/>
                  </a:lnTo>
                  <a:lnTo>
                    <a:pt x="180" y="15"/>
                  </a:lnTo>
                  <a:lnTo>
                    <a:pt x="180" y="12"/>
                  </a:lnTo>
                  <a:lnTo>
                    <a:pt x="179" y="9"/>
                  </a:lnTo>
                  <a:lnTo>
                    <a:pt x="178" y="6"/>
                  </a:lnTo>
                  <a:lnTo>
                    <a:pt x="176" y="4"/>
                  </a:lnTo>
                  <a:lnTo>
                    <a:pt x="174" y="3"/>
                  </a:lnTo>
                  <a:lnTo>
                    <a:pt x="171" y="1"/>
                  </a:lnTo>
                  <a:lnTo>
                    <a:pt x="168" y="0"/>
                  </a:lnTo>
                  <a:lnTo>
                    <a:pt x="16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Light"/>
                <a:ea typeface="+mn-ea"/>
                <a:cs typeface="+mn-cs"/>
              </a:endParaRPr>
            </a:p>
          </p:txBody>
        </p:sp>
        <p:sp>
          <p:nvSpPr>
            <p:cNvPr id="76" name="Freeform 287"/>
            <p:cNvSpPr>
              <a:spLocks/>
            </p:cNvSpPr>
            <p:nvPr/>
          </p:nvSpPr>
          <p:spPr bwMode="auto">
            <a:xfrm>
              <a:off x="7234238" y="2146300"/>
              <a:ext cx="57150" cy="9525"/>
            </a:xfrm>
            <a:custGeom>
              <a:avLst/>
              <a:gdLst>
                <a:gd name="T0" fmla="*/ 165 w 180"/>
                <a:gd name="T1" fmla="*/ 0 h 30"/>
                <a:gd name="T2" fmla="*/ 15 w 180"/>
                <a:gd name="T3" fmla="*/ 0 h 30"/>
                <a:gd name="T4" fmla="*/ 12 w 180"/>
                <a:gd name="T5" fmla="*/ 1 h 30"/>
                <a:gd name="T6" fmla="*/ 8 w 180"/>
                <a:gd name="T7" fmla="*/ 1 h 30"/>
                <a:gd name="T8" fmla="*/ 6 w 180"/>
                <a:gd name="T9" fmla="*/ 3 h 30"/>
                <a:gd name="T10" fmla="*/ 4 w 180"/>
                <a:gd name="T11" fmla="*/ 4 h 30"/>
                <a:gd name="T12" fmla="*/ 2 w 180"/>
                <a:gd name="T13" fmla="*/ 7 h 30"/>
                <a:gd name="T14" fmla="*/ 1 w 180"/>
                <a:gd name="T15" fmla="*/ 10 h 30"/>
                <a:gd name="T16" fmla="*/ 0 w 180"/>
                <a:gd name="T17" fmla="*/ 13 h 30"/>
                <a:gd name="T18" fmla="*/ 0 w 180"/>
                <a:gd name="T19" fmla="*/ 15 h 30"/>
                <a:gd name="T20" fmla="*/ 0 w 180"/>
                <a:gd name="T21" fmla="*/ 18 h 30"/>
                <a:gd name="T22" fmla="*/ 1 w 180"/>
                <a:gd name="T23" fmla="*/ 21 h 30"/>
                <a:gd name="T24" fmla="*/ 2 w 180"/>
                <a:gd name="T25" fmla="*/ 23 h 30"/>
                <a:gd name="T26" fmla="*/ 4 w 180"/>
                <a:gd name="T27" fmla="*/ 26 h 30"/>
                <a:gd name="T28" fmla="*/ 6 w 180"/>
                <a:gd name="T29" fmla="*/ 28 h 30"/>
                <a:gd name="T30" fmla="*/ 8 w 180"/>
                <a:gd name="T31" fmla="*/ 29 h 30"/>
                <a:gd name="T32" fmla="*/ 12 w 180"/>
                <a:gd name="T33" fmla="*/ 30 h 30"/>
                <a:gd name="T34" fmla="*/ 15 w 180"/>
                <a:gd name="T35" fmla="*/ 30 h 30"/>
                <a:gd name="T36" fmla="*/ 165 w 180"/>
                <a:gd name="T37" fmla="*/ 30 h 30"/>
                <a:gd name="T38" fmla="*/ 168 w 180"/>
                <a:gd name="T39" fmla="*/ 30 h 30"/>
                <a:gd name="T40" fmla="*/ 171 w 180"/>
                <a:gd name="T41" fmla="*/ 29 h 30"/>
                <a:gd name="T42" fmla="*/ 174 w 180"/>
                <a:gd name="T43" fmla="*/ 28 h 30"/>
                <a:gd name="T44" fmla="*/ 176 w 180"/>
                <a:gd name="T45" fmla="*/ 26 h 30"/>
                <a:gd name="T46" fmla="*/ 178 w 180"/>
                <a:gd name="T47" fmla="*/ 23 h 30"/>
                <a:gd name="T48" fmla="*/ 179 w 180"/>
                <a:gd name="T49" fmla="*/ 21 h 30"/>
                <a:gd name="T50" fmla="*/ 180 w 180"/>
                <a:gd name="T51" fmla="*/ 18 h 30"/>
                <a:gd name="T52" fmla="*/ 180 w 180"/>
                <a:gd name="T53" fmla="*/ 15 h 30"/>
                <a:gd name="T54" fmla="*/ 180 w 180"/>
                <a:gd name="T55" fmla="*/ 13 h 30"/>
                <a:gd name="T56" fmla="*/ 179 w 180"/>
                <a:gd name="T57" fmla="*/ 10 h 30"/>
                <a:gd name="T58" fmla="*/ 178 w 180"/>
                <a:gd name="T59" fmla="*/ 7 h 30"/>
                <a:gd name="T60" fmla="*/ 176 w 180"/>
                <a:gd name="T61" fmla="*/ 4 h 30"/>
                <a:gd name="T62" fmla="*/ 174 w 180"/>
                <a:gd name="T63" fmla="*/ 3 h 30"/>
                <a:gd name="T64" fmla="*/ 171 w 180"/>
                <a:gd name="T65" fmla="*/ 1 h 30"/>
                <a:gd name="T66" fmla="*/ 168 w 180"/>
                <a:gd name="T67" fmla="*/ 1 h 30"/>
                <a:gd name="T68" fmla="*/ 165 w 180"/>
                <a:gd name="T69" fmla="*/ 0 h 30"/>
                <a:gd name="T70" fmla="*/ 165 w 180"/>
                <a:gd name="T7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80" h="30">
                  <a:moveTo>
                    <a:pt x="165" y="0"/>
                  </a:moveTo>
                  <a:lnTo>
                    <a:pt x="15" y="0"/>
                  </a:lnTo>
                  <a:lnTo>
                    <a:pt x="12" y="1"/>
                  </a:lnTo>
                  <a:lnTo>
                    <a:pt x="8" y="1"/>
                  </a:lnTo>
                  <a:lnTo>
                    <a:pt x="6" y="3"/>
                  </a:lnTo>
                  <a:lnTo>
                    <a:pt x="4" y="4"/>
                  </a:lnTo>
                  <a:lnTo>
                    <a:pt x="2" y="7"/>
                  </a:lnTo>
                  <a:lnTo>
                    <a:pt x="1" y="10"/>
                  </a:lnTo>
                  <a:lnTo>
                    <a:pt x="0" y="13"/>
                  </a:lnTo>
                  <a:lnTo>
                    <a:pt x="0" y="15"/>
                  </a:lnTo>
                  <a:lnTo>
                    <a:pt x="0" y="18"/>
                  </a:lnTo>
                  <a:lnTo>
                    <a:pt x="1" y="21"/>
                  </a:lnTo>
                  <a:lnTo>
                    <a:pt x="2" y="23"/>
                  </a:lnTo>
                  <a:lnTo>
                    <a:pt x="4" y="26"/>
                  </a:lnTo>
                  <a:lnTo>
                    <a:pt x="6" y="28"/>
                  </a:lnTo>
                  <a:lnTo>
                    <a:pt x="8" y="29"/>
                  </a:lnTo>
                  <a:lnTo>
                    <a:pt x="12" y="30"/>
                  </a:lnTo>
                  <a:lnTo>
                    <a:pt x="15" y="30"/>
                  </a:lnTo>
                  <a:lnTo>
                    <a:pt x="165" y="30"/>
                  </a:lnTo>
                  <a:lnTo>
                    <a:pt x="168" y="30"/>
                  </a:lnTo>
                  <a:lnTo>
                    <a:pt x="171" y="29"/>
                  </a:lnTo>
                  <a:lnTo>
                    <a:pt x="174" y="28"/>
                  </a:lnTo>
                  <a:lnTo>
                    <a:pt x="176" y="26"/>
                  </a:lnTo>
                  <a:lnTo>
                    <a:pt x="178" y="23"/>
                  </a:lnTo>
                  <a:lnTo>
                    <a:pt x="179" y="21"/>
                  </a:lnTo>
                  <a:lnTo>
                    <a:pt x="180" y="18"/>
                  </a:lnTo>
                  <a:lnTo>
                    <a:pt x="180" y="15"/>
                  </a:lnTo>
                  <a:lnTo>
                    <a:pt x="180" y="13"/>
                  </a:lnTo>
                  <a:lnTo>
                    <a:pt x="179" y="10"/>
                  </a:lnTo>
                  <a:lnTo>
                    <a:pt x="178" y="7"/>
                  </a:lnTo>
                  <a:lnTo>
                    <a:pt x="176" y="4"/>
                  </a:lnTo>
                  <a:lnTo>
                    <a:pt x="174" y="3"/>
                  </a:lnTo>
                  <a:lnTo>
                    <a:pt x="171" y="1"/>
                  </a:lnTo>
                  <a:lnTo>
                    <a:pt x="168" y="1"/>
                  </a:lnTo>
                  <a:lnTo>
                    <a:pt x="165" y="0"/>
                  </a:lnTo>
                  <a:lnTo>
                    <a:pt x="16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Light"/>
                <a:ea typeface="+mn-ea"/>
                <a:cs typeface="+mn-cs"/>
              </a:endParaRPr>
            </a:p>
          </p:txBody>
        </p:sp>
        <p:sp>
          <p:nvSpPr>
            <p:cNvPr id="77" name="Freeform 288"/>
            <p:cNvSpPr>
              <a:spLocks/>
            </p:cNvSpPr>
            <p:nvPr/>
          </p:nvSpPr>
          <p:spPr bwMode="auto">
            <a:xfrm>
              <a:off x="7234238" y="2127250"/>
              <a:ext cx="57150" cy="9525"/>
            </a:xfrm>
            <a:custGeom>
              <a:avLst/>
              <a:gdLst>
                <a:gd name="T0" fmla="*/ 165 w 180"/>
                <a:gd name="T1" fmla="*/ 0 h 30"/>
                <a:gd name="T2" fmla="*/ 15 w 180"/>
                <a:gd name="T3" fmla="*/ 0 h 30"/>
                <a:gd name="T4" fmla="*/ 12 w 180"/>
                <a:gd name="T5" fmla="*/ 0 h 30"/>
                <a:gd name="T6" fmla="*/ 8 w 180"/>
                <a:gd name="T7" fmla="*/ 1 h 30"/>
                <a:gd name="T8" fmla="*/ 6 w 180"/>
                <a:gd name="T9" fmla="*/ 3 h 30"/>
                <a:gd name="T10" fmla="*/ 4 w 180"/>
                <a:gd name="T11" fmla="*/ 4 h 30"/>
                <a:gd name="T12" fmla="*/ 2 w 180"/>
                <a:gd name="T13" fmla="*/ 6 h 30"/>
                <a:gd name="T14" fmla="*/ 1 w 180"/>
                <a:gd name="T15" fmla="*/ 9 h 30"/>
                <a:gd name="T16" fmla="*/ 0 w 180"/>
                <a:gd name="T17" fmla="*/ 12 h 30"/>
                <a:gd name="T18" fmla="*/ 0 w 180"/>
                <a:gd name="T19" fmla="*/ 15 h 30"/>
                <a:gd name="T20" fmla="*/ 0 w 180"/>
                <a:gd name="T21" fmla="*/ 18 h 30"/>
                <a:gd name="T22" fmla="*/ 1 w 180"/>
                <a:gd name="T23" fmla="*/ 21 h 30"/>
                <a:gd name="T24" fmla="*/ 2 w 180"/>
                <a:gd name="T25" fmla="*/ 23 h 30"/>
                <a:gd name="T26" fmla="*/ 4 w 180"/>
                <a:gd name="T27" fmla="*/ 26 h 30"/>
                <a:gd name="T28" fmla="*/ 6 w 180"/>
                <a:gd name="T29" fmla="*/ 28 h 30"/>
                <a:gd name="T30" fmla="*/ 8 w 180"/>
                <a:gd name="T31" fmla="*/ 29 h 30"/>
                <a:gd name="T32" fmla="*/ 12 w 180"/>
                <a:gd name="T33" fmla="*/ 30 h 30"/>
                <a:gd name="T34" fmla="*/ 15 w 180"/>
                <a:gd name="T35" fmla="*/ 30 h 30"/>
                <a:gd name="T36" fmla="*/ 165 w 180"/>
                <a:gd name="T37" fmla="*/ 30 h 30"/>
                <a:gd name="T38" fmla="*/ 168 w 180"/>
                <a:gd name="T39" fmla="*/ 30 h 30"/>
                <a:gd name="T40" fmla="*/ 171 w 180"/>
                <a:gd name="T41" fmla="*/ 29 h 30"/>
                <a:gd name="T42" fmla="*/ 174 w 180"/>
                <a:gd name="T43" fmla="*/ 28 h 30"/>
                <a:gd name="T44" fmla="*/ 176 w 180"/>
                <a:gd name="T45" fmla="*/ 26 h 30"/>
                <a:gd name="T46" fmla="*/ 178 w 180"/>
                <a:gd name="T47" fmla="*/ 23 h 30"/>
                <a:gd name="T48" fmla="*/ 179 w 180"/>
                <a:gd name="T49" fmla="*/ 21 h 30"/>
                <a:gd name="T50" fmla="*/ 180 w 180"/>
                <a:gd name="T51" fmla="*/ 18 h 30"/>
                <a:gd name="T52" fmla="*/ 180 w 180"/>
                <a:gd name="T53" fmla="*/ 15 h 30"/>
                <a:gd name="T54" fmla="*/ 180 w 180"/>
                <a:gd name="T55" fmla="*/ 12 h 30"/>
                <a:gd name="T56" fmla="*/ 179 w 180"/>
                <a:gd name="T57" fmla="*/ 9 h 30"/>
                <a:gd name="T58" fmla="*/ 178 w 180"/>
                <a:gd name="T59" fmla="*/ 6 h 30"/>
                <a:gd name="T60" fmla="*/ 176 w 180"/>
                <a:gd name="T61" fmla="*/ 4 h 30"/>
                <a:gd name="T62" fmla="*/ 174 w 180"/>
                <a:gd name="T63" fmla="*/ 3 h 30"/>
                <a:gd name="T64" fmla="*/ 171 w 180"/>
                <a:gd name="T65" fmla="*/ 1 h 30"/>
                <a:gd name="T66" fmla="*/ 168 w 180"/>
                <a:gd name="T67" fmla="*/ 1 h 30"/>
                <a:gd name="T68" fmla="*/ 165 w 180"/>
                <a:gd name="T69" fmla="*/ 0 h 30"/>
                <a:gd name="T70" fmla="*/ 165 w 180"/>
                <a:gd name="T7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80" h="30">
                  <a:moveTo>
                    <a:pt x="165" y="0"/>
                  </a:moveTo>
                  <a:lnTo>
                    <a:pt x="15" y="0"/>
                  </a:lnTo>
                  <a:lnTo>
                    <a:pt x="12" y="0"/>
                  </a:lnTo>
                  <a:lnTo>
                    <a:pt x="8" y="1"/>
                  </a:lnTo>
                  <a:lnTo>
                    <a:pt x="6" y="3"/>
                  </a:lnTo>
                  <a:lnTo>
                    <a:pt x="4" y="4"/>
                  </a:lnTo>
                  <a:lnTo>
                    <a:pt x="2" y="6"/>
                  </a:lnTo>
                  <a:lnTo>
                    <a:pt x="1" y="9"/>
                  </a:lnTo>
                  <a:lnTo>
                    <a:pt x="0" y="12"/>
                  </a:lnTo>
                  <a:lnTo>
                    <a:pt x="0" y="15"/>
                  </a:lnTo>
                  <a:lnTo>
                    <a:pt x="0" y="18"/>
                  </a:lnTo>
                  <a:lnTo>
                    <a:pt x="1" y="21"/>
                  </a:lnTo>
                  <a:lnTo>
                    <a:pt x="2" y="23"/>
                  </a:lnTo>
                  <a:lnTo>
                    <a:pt x="4" y="26"/>
                  </a:lnTo>
                  <a:lnTo>
                    <a:pt x="6" y="28"/>
                  </a:lnTo>
                  <a:lnTo>
                    <a:pt x="8" y="29"/>
                  </a:lnTo>
                  <a:lnTo>
                    <a:pt x="12" y="30"/>
                  </a:lnTo>
                  <a:lnTo>
                    <a:pt x="15" y="30"/>
                  </a:lnTo>
                  <a:lnTo>
                    <a:pt x="165" y="30"/>
                  </a:lnTo>
                  <a:lnTo>
                    <a:pt x="168" y="30"/>
                  </a:lnTo>
                  <a:lnTo>
                    <a:pt x="171" y="29"/>
                  </a:lnTo>
                  <a:lnTo>
                    <a:pt x="174" y="28"/>
                  </a:lnTo>
                  <a:lnTo>
                    <a:pt x="176" y="26"/>
                  </a:lnTo>
                  <a:lnTo>
                    <a:pt x="178" y="23"/>
                  </a:lnTo>
                  <a:lnTo>
                    <a:pt x="179" y="21"/>
                  </a:lnTo>
                  <a:lnTo>
                    <a:pt x="180" y="18"/>
                  </a:lnTo>
                  <a:lnTo>
                    <a:pt x="180" y="15"/>
                  </a:lnTo>
                  <a:lnTo>
                    <a:pt x="180" y="12"/>
                  </a:lnTo>
                  <a:lnTo>
                    <a:pt x="179" y="9"/>
                  </a:lnTo>
                  <a:lnTo>
                    <a:pt x="178" y="6"/>
                  </a:lnTo>
                  <a:lnTo>
                    <a:pt x="176" y="4"/>
                  </a:lnTo>
                  <a:lnTo>
                    <a:pt x="174" y="3"/>
                  </a:lnTo>
                  <a:lnTo>
                    <a:pt x="171" y="1"/>
                  </a:lnTo>
                  <a:lnTo>
                    <a:pt x="168" y="1"/>
                  </a:lnTo>
                  <a:lnTo>
                    <a:pt x="165" y="0"/>
                  </a:lnTo>
                  <a:lnTo>
                    <a:pt x="16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Light"/>
                <a:ea typeface="+mn-ea"/>
                <a:cs typeface="+mn-cs"/>
              </a:endParaRPr>
            </a:p>
          </p:txBody>
        </p:sp>
        <p:sp>
          <p:nvSpPr>
            <p:cNvPr id="78" name="Freeform 289"/>
            <p:cNvSpPr>
              <a:spLocks/>
            </p:cNvSpPr>
            <p:nvPr/>
          </p:nvSpPr>
          <p:spPr bwMode="auto">
            <a:xfrm>
              <a:off x="7148513" y="2108200"/>
              <a:ext cx="57150" cy="9525"/>
            </a:xfrm>
            <a:custGeom>
              <a:avLst/>
              <a:gdLst>
                <a:gd name="T0" fmla="*/ 15 w 181"/>
                <a:gd name="T1" fmla="*/ 30 h 30"/>
                <a:gd name="T2" fmla="*/ 166 w 181"/>
                <a:gd name="T3" fmla="*/ 30 h 30"/>
                <a:gd name="T4" fmla="*/ 168 w 181"/>
                <a:gd name="T5" fmla="*/ 30 h 30"/>
                <a:gd name="T6" fmla="*/ 171 w 181"/>
                <a:gd name="T7" fmla="*/ 29 h 30"/>
                <a:gd name="T8" fmla="*/ 173 w 181"/>
                <a:gd name="T9" fmla="*/ 28 h 30"/>
                <a:gd name="T10" fmla="*/ 175 w 181"/>
                <a:gd name="T11" fmla="*/ 25 h 30"/>
                <a:gd name="T12" fmla="*/ 178 w 181"/>
                <a:gd name="T13" fmla="*/ 23 h 30"/>
                <a:gd name="T14" fmla="*/ 179 w 181"/>
                <a:gd name="T15" fmla="*/ 21 h 30"/>
                <a:gd name="T16" fmla="*/ 180 w 181"/>
                <a:gd name="T17" fmla="*/ 18 h 30"/>
                <a:gd name="T18" fmla="*/ 181 w 181"/>
                <a:gd name="T19" fmla="*/ 15 h 30"/>
                <a:gd name="T20" fmla="*/ 180 w 181"/>
                <a:gd name="T21" fmla="*/ 12 h 30"/>
                <a:gd name="T22" fmla="*/ 179 w 181"/>
                <a:gd name="T23" fmla="*/ 9 h 30"/>
                <a:gd name="T24" fmla="*/ 178 w 181"/>
                <a:gd name="T25" fmla="*/ 6 h 30"/>
                <a:gd name="T26" fmla="*/ 175 w 181"/>
                <a:gd name="T27" fmla="*/ 4 h 30"/>
                <a:gd name="T28" fmla="*/ 173 w 181"/>
                <a:gd name="T29" fmla="*/ 3 h 30"/>
                <a:gd name="T30" fmla="*/ 171 w 181"/>
                <a:gd name="T31" fmla="*/ 1 h 30"/>
                <a:gd name="T32" fmla="*/ 168 w 181"/>
                <a:gd name="T33" fmla="*/ 0 h 30"/>
                <a:gd name="T34" fmla="*/ 166 w 181"/>
                <a:gd name="T35" fmla="*/ 0 h 30"/>
                <a:gd name="T36" fmla="*/ 15 w 181"/>
                <a:gd name="T37" fmla="*/ 0 h 30"/>
                <a:gd name="T38" fmla="*/ 11 w 181"/>
                <a:gd name="T39" fmla="*/ 0 h 30"/>
                <a:gd name="T40" fmla="*/ 9 w 181"/>
                <a:gd name="T41" fmla="*/ 1 h 30"/>
                <a:gd name="T42" fmla="*/ 6 w 181"/>
                <a:gd name="T43" fmla="*/ 3 h 30"/>
                <a:gd name="T44" fmla="*/ 4 w 181"/>
                <a:gd name="T45" fmla="*/ 4 h 30"/>
                <a:gd name="T46" fmla="*/ 3 w 181"/>
                <a:gd name="T47" fmla="*/ 6 h 30"/>
                <a:gd name="T48" fmla="*/ 1 w 181"/>
                <a:gd name="T49" fmla="*/ 9 h 30"/>
                <a:gd name="T50" fmla="*/ 0 w 181"/>
                <a:gd name="T51" fmla="*/ 12 h 30"/>
                <a:gd name="T52" fmla="*/ 0 w 181"/>
                <a:gd name="T53" fmla="*/ 15 h 30"/>
                <a:gd name="T54" fmla="*/ 0 w 181"/>
                <a:gd name="T55" fmla="*/ 18 h 30"/>
                <a:gd name="T56" fmla="*/ 1 w 181"/>
                <a:gd name="T57" fmla="*/ 21 h 30"/>
                <a:gd name="T58" fmla="*/ 3 w 181"/>
                <a:gd name="T59" fmla="*/ 23 h 30"/>
                <a:gd name="T60" fmla="*/ 4 w 181"/>
                <a:gd name="T61" fmla="*/ 25 h 30"/>
                <a:gd name="T62" fmla="*/ 6 w 181"/>
                <a:gd name="T63" fmla="*/ 28 h 30"/>
                <a:gd name="T64" fmla="*/ 9 w 181"/>
                <a:gd name="T65" fmla="*/ 29 h 30"/>
                <a:gd name="T66" fmla="*/ 11 w 181"/>
                <a:gd name="T67" fmla="*/ 30 h 30"/>
                <a:gd name="T68" fmla="*/ 15 w 181"/>
                <a:gd name="T69"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1" h="30">
                  <a:moveTo>
                    <a:pt x="15" y="30"/>
                  </a:moveTo>
                  <a:lnTo>
                    <a:pt x="166" y="30"/>
                  </a:lnTo>
                  <a:lnTo>
                    <a:pt x="168" y="30"/>
                  </a:lnTo>
                  <a:lnTo>
                    <a:pt x="171" y="29"/>
                  </a:lnTo>
                  <a:lnTo>
                    <a:pt x="173" y="28"/>
                  </a:lnTo>
                  <a:lnTo>
                    <a:pt x="175" y="25"/>
                  </a:lnTo>
                  <a:lnTo>
                    <a:pt x="178" y="23"/>
                  </a:lnTo>
                  <a:lnTo>
                    <a:pt x="179" y="21"/>
                  </a:lnTo>
                  <a:lnTo>
                    <a:pt x="180" y="18"/>
                  </a:lnTo>
                  <a:lnTo>
                    <a:pt x="181" y="15"/>
                  </a:lnTo>
                  <a:lnTo>
                    <a:pt x="180" y="12"/>
                  </a:lnTo>
                  <a:lnTo>
                    <a:pt x="179" y="9"/>
                  </a:lnTo>
                  <a:lnTo>
                    <a:pt x="178" y="6"/>
                  </a:lnTo>
                  <a:lnTo>
                    <a:pt x="175" y="4"/>
                  </a:lnTo>
                  <a:lnTo>
                    <a:pt x="173" y="3"/>
                  </a:lnTo>
                  <a:lnTo>
                    <a:pt x="171" y="1"/>
                  </a:lnTo>
                  <a:lnTo>
                    <a:pt x="168" y="0"/>
                  </a:lnTo>
                  <a:lnTo>
                    <a:pt x="166" y="0"/>
                  </a:lnTo>
                  <a:lnTo>
                    <a:pt x="15" y="0"/>
                  </a:lnTo>
                  <a:lnTo>
                    <a:pt x="11" y="0"/>
                  </a:lnTo>
                  <a:lnTo>
                    <a:pt x="9" y="1"/>
                  </a:lnTo>
                  <a:lnTo>
                    <a:pt x="6" y="3"/>
                  </a:lnTo>
                  <a:lnTo>
                    <a:pt x="4" y="4"/>
                  </a:lnTo>
                  <a:lnTo>
                    <a:pt x="3" y="6"/>
                  </a:lnTo>
                  <a:lnTo>
                    <a:pt x="1" y="9"/>
                  </a:lnTo>
                  <a:lnTo>
                    <a:pt x="0" y="12"/>
                  </a:lnTo>
                  <a:lnTo>
                    <a:pt x="0" y="15"/>
                  </a:lnTo>
                  <a:lnTo>
                    <a:pt x="0" y="18"/>
                  </a:lnTo>
                  <a:lnTo>
                    <a:pt x="1" y="21"/>
                  </a:lnTo>
                  <a:lnTo>
                    <a:pt x="3" y="23"/>
                  </a:lnTo>
                  <a:lnTo>
                    <a:pt x="4" y="25"/>
                  </a:lnTo>
                  <a:lnTo>
                    <a:pt x="6" y="28"/>
                  </a:lnTo>
                  <a:lnTo>
                    <a:pt x="9" y="29"/>
                  </a:lnTo>
                  <a:lnTo>
                    <a:pt x="11" y="30"/>
                  </a:lnTo>
                  <a:lnTo>
                    <a:pt x="15" y="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Light"/>
                <a:ea typeface="+mn-ea"/>
                <a:cs typeface="+mn-cs"/>
              </a:endParaRPr>
            </a:p>
          </p:txBody>
        </p:sp>
        <p:sp>
          <p:nvSpPr>
            <p:cNvPr id="79" name="Freeform 290"/>
            <p:cNvSpPr>
              <a:spLocks/>
            </p:cNvSpPr>
            <p:nvPr/>
          </p:nvSpPr>
          <p:spPr bwMode="auto">
            <a:xfrm>
              <a:off x="7148513" y="2127250"/>
              <a:ext cx="57150" cy="9525"/>
            </a:xfrm>
            <a:custGeom>
              <a:avLst/>
              <a:gdLst>
                <a:gd name="T0" fmla="*/ 15 w 181"/>
                <a:gd name="T1" fmla="*/ 30 h 30"/>
                <a:gd name="T2" fmla="*/ 166 w 181"/>
                <a:gd name="T3" fmla="*/ 30 h 30"/>
                <a:gd name="T4" fmla="*/ 168 w 181"/>
                <a:gd name="T5" fmla="*/ 30 h 30"/>
                <a:gd name="T6" fmla="*/ 171 w 181"/>
                <a:gd name="T7" fmla="*/ 29 h 30"/>
                <a:gd name="T8" fmla="*/ 173 w 181"/>
                <a:gd name="T9" fmla="*/ 28 h 30"/>
                <a:gd name="T10" fmla="*/ 175 w 181"/>
                <a:gd name="T11" fmla="*/ 26 h 30"/>
                <a:gd name="T12" fmla="*/ 178 w 181"/>
                <a:gd name="T13" fmla="*/ 23 h 30"/>
                <a:gd name="T14" fmla="*/ 179 w 181"/>
                <a:gd name="T15" fmla="*/ 21 h 30"/>
                <a:gd name="T16" fmla="*/ 180 w 181"/>
                <a:gd name="T17" fmla="*/ 18 h 30"/>
                <a:gd name="T18" fmla="*/ 181 w 181"/>
                <a:gd name="T19" fmla="*/ 15 h 30"/>
                <a:gd name="T20" fmla="*/ 180 w 181"/>
                <a:gd name="T21" fmla="*/ 12 h 30"/>
                <a:gd name="T22" fmla="*/ 179 w 181"/>
                <a:gd name="T23" fmla="*/ 9 h 30"/>
                <a:gd name="T24" fmla="*/ 178 w 181"/>
                <a:gd name="T25" fmla="*/ 6 h 30"/>
                <a:gd name="T26" fmla="*/ 175 w 181"/>
                <a:gd name="T27" fmla="*/ 4 h 30"/>
                <a:gd name="T28" fmla="*/ 173 w 181"/>
                <a:gd name="T29" fmla="*/ 3 h 30"/>
                <a:gd name="T30" fmla="*/ 171 w 181"/>
                <a:gd name="T31" fmla="*/ 1 h 30"/>
                <a:gd name="T32" fmla="*/ 168 w 181"/>
                <a:gd name="T33" fmla="*/ 1 h 30"/>
                <a:gd name="T34" fmla="*/ 166 w 181"/>
                <a:gd name="T35" fmla="*/ 0 h 30"/>
                <a:gd name="T36" fmla="*/ 15 w 181"/>
                <a:gd name="T37" fmla="*/ 0 h 30"/>
                <a:gd name="T38" fmla="*/ 11 w 181"/>
                <a:gd name="T39" fmla="*/ 0 h 30"/>
                <a:gd name="T40" fmla="*/ 9 w 181"/>
                <a:gd name="T41" fmla="*/ 1 h 30"/>
                <a:gd name="T42" fmla="*/ 6 w 181"/>
                <a:gd name="T43" fmla="*/ 3 h 30"/>
                <a:gd name="T44" fmla="*/ 4 w 181"/>
                <a:gd name="T45" fmla="*/ 4 h 30"/>
                <a:gd name="T46" fmla="*/ 3 w 181"/>
                <a:gd name="T47" fmla="*/ 6 h 30"/>
                <a:gd name="T48" fmla="*/ 1 w 181"/>
                <a:gd name="T49" fmla="*/ 9 h 30"/>
                <a:gd name="T50" fmla="*/ 0 w 181"/>
                <a:gd name="T51" fmla="*/ 12 h 30"/>
                <a:gd name="T52" fmla="*/ 0 w 181"/>
                <a:gd name="T53" fmla="*/ 15 h 30"/>
                <a:gd name="T54" fmla="*/ 0 w 181"/>
                <a:gd name="T55" fmla="*/ 18 h 30"/>
                <a:gd name="T56" fmla="*/ 1 w 181"/>
                <a:gd name="T57" fmla="*/ 21 h 30"/>
                <a:gd name="T58" fmla="*/ 3 w 181"/>
                <a:gd name="T59" fmla="*/ 23 h 30"/>
                <a:gd name="T60" fmla="*/ 4 w 181"/>
                <a:gd name="T61" fmla="*/ 26 h 30"/>
                <a:gd name="T62" fmla="*/ 6 w 181"/>
                <a:gd name="T63" fmla="*/ 28 h 30"/>
                <a:gd name="T64" fmla="*/ 9 w 181"/>
                <a:gd name="T65" fmla="*/ 29 h 30"/>
                <a:gd name="T66" fmla="*/ 11 w 181"/>
                <a:gd name="T67" fmla="*/ 30 h 30"/>
                <a:gd name="T68" fmla="*/ 15 w 181"/>
                <a:gd name="T69" fmla="*/ 30 h 30"/>
                <a:gd name="T70" fmla="*/ 15 w 181"/>
                <a:gd name="T71"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81" h="30">
                  <a:moveTo>
                    <a:pt x="15" y="30"/>
                  </a:moveTo>
                  <a:lnTo>
                    <a:pt x="166" y="30"/>
                  </a:lnTo>
                  <a:lnTo>
                    <a:pt x="168" y="30"/>
                  </a:lnTo>
                  <a:lnTo>
                    <a:pt x="171" y="29"/>
                  </a:lnTo>
                  <a:lnTo>
                    <a:pt x="173" y="28"/>
                  </a:lnTo>
                  <a:lnTo>
                    <a:pt x="175" y="26"/>
                  </a:lnTo>
                  <a:lnTo>
                    <a:pt x="178" y="23"/>
                  </a:lnTo>
                  <a:lnTo>
                    <a:pt x="179" y="21"/>
                  </a:lnTo>
                  <a:lnTo>
                    <a:pt x="180" y="18"/>
                  </a:lnTo>
                  <a:lnTo>
                    <a:pt x="181" y="15"/>
                  </a:lnTo>
                  <a:lnTo>
                    <a:pt x="180" y="12"/>
                  </a:lnTo>
                  <a:lnTo>
                    <a:pt x="179" y="9"/>
                  </a:lnTo>
                  <a:lnTo>
                    <a:pt x="178" y="6"/>
                  </a:lnTo>
                  <a:lnTo>
                    <a:pt x="175" y="4"/>
                  </a:lnTo>
                  <a:lnTo>
                    <a:pt x="173" y="3"/>
                  </a:lnTo>
                  <a:lnTo>
                    <a:pt x="171" y="1"/>
                  </a:lnTo>
                  <a:lnTo>
                    <a:pt x="168" y="1"/>
                  </a:lnTo>
                  <a:lnTo>
                    <a:pt x="166" y="0"/>
                  </a:lnTo>
                  <a:lnTo>
                    <a:pt x="15" y="0"/>
                  </a:lnTo>
                  <a:lnTo>
                    <a:pt x="11" y="0"/>
                  </a:lnTo>
                  <a:lnTo>
                    <a:pt x="9" y="1"/>
                  </a:lnTo>
                  <a:lnTo>
                    <a:pt x="6" y="3"/>
                  </a:lnTo>
                  <a:lnTo>
                    <a:pt x="4" y="4"/>
                  </a:lnTo>
                  <a:lnTo>
                    <a:pt x="3" y="6"/>
                  </a:lnTo>
                  <a:lnTo>
                    <a:pt x="1" y="9"/>
                  </a:lnTo>
                  <a:lnTo>
                    <a:pt x="0" y="12"/>
                  </a:lnTo>
                  <a:lnTo>
                    <a:pt x="0" y="15"/>
                  </a:lnTo>
                  <a:lnTo>
                    <a:pt x="0" y="18"/>
                  </a:lnTo>
                  <a:lnTo>
                    <a:pt x="1" y="21"/>
                  </a:lnTo>
                  <a:lnTo>
                    <a:pt x="3" y="23"/>
                  </a:lnTo>
                  <a:lnTo>
                    <a:pt x="4" y="26"/>
                  </a:lnTo>
                  <a:lnTo>
                    <a:pt x="6" y="28"/>
                  </a:lnTo>
                  <a:lnTo>
                    <a:pt x="9" y="29"/>
                  </a:lnTo>
                  <a:lnTo>
                    <a:pt x="11" y="30"/>
                  </a:lnTo>
                  <a:lnTo>
                    <a:pt x="15" y="30"/>
                  </a:lnTo>
                  <a:lnTo>
                    <a:pt x="15" y="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Light"/>
                <a:ea typeface="+mn-ea"/>
                <a:cs typeface="+mn-cs"/>
              </a:endParaRPr>
            </a:p>
          </p:txBody>
        </p:sp>
        <p:sp>
          <p:nvSpPr>
            <p:cNvPr id="80" name="Freeform 291"/>
            <p:cNvSpPr>
              <a:spLocks/>
            </p:cNvSpPr>
            <p:nvPr/>
          </p:nvSpPr>
          <p:spPr bwMode="auto">
            <a:xfrm>
              <a:off x="7148513" y="2146300"/>
              <a:ext cx="57150" cy="9525"/>
            </a:xfrm>
            <a:custGeom>
              <a:avLst/>
              <a:gdLst>
                <a:gd name="T0" fmla="*/ 166 w 181"/>
                <a:gd name="T1" fmla="*/ 0 h 30"/>
                <a:gd name="T2" fmla="*/ 15 w 181"/>
                <a:gd name="T3" fmla="*/ 0 h 30"/>
                <a:gd name="T4" fmla="*/ 11 w 181"/>
                <a:gd name="T5" fmla="*/ 1 h 30"/>
                <a:gd name="T6" fmla="*/ 9 w 181"/>
                <a:gd name="T7" fmla="*/ 1 h 30"/>
                <a:gd name="T8" fmla="*/ 6 w 181"/>
                <a:gd name="T9" fmla="*/ 3 h 30"/>
                <a:gd name="T10" fmla="*/ 4 w 181"/>
                <a:gd name="T11" fmla="*/ 4 h 30"/>
                <a:gd name="T12" fmla="*/ 3 w 181"/>
                <a:gd name="T13" fmla="*/ 7 h 30"/>
                <a:gd name="T14" fmla="*/ 1 w 181"/>
                <a:gd name="T15" fmla="*/ 10 h 30"/>
                <a:gd name="T16" fmla="*/ 0 w 181"/>
                <a:gd name="T17" fmla="*/ 13 h 30"/>
                <a:gd name="T18" fmla="*/ 0 w 181"/>
                <a:gd name="T19" fmla="*/ 15 h 30"/>
                <a:gd name="T20" fmla="*/ 0 w 181"/>
                <a:gd name="T21" fmla="*/ 18 h 30"/>
                <a:gd name="T22" fmla="*/ 1 w 181"/>
                <a:gd name="T23" fmla="*/ 21 h 30"/>
                <a:gd name="T24" fmla="*/ 3 w 181"/>
                <a:gd name="T25" fmla="*/ 23 h 30"/>
                <a:gd name="T26" fmla="*/ 4 w 181"/>
                <a:gd name="T27" fmla="*/ 26 h 30"/>
                <a:gd name="T28" fmla="*/ 6 w 181"/>
                <a:gd name="T29" fmla="*/ 28 h 30"/>
                <a:gd name="T30" fmla="*/ 9 w 181"/>
                <a:gd name="T31" fmla="*/ 29 h 30"/>
                <a:gd name="T32" fmla="*/ 11 w 181"/>
                <a:gd name="T33" fmla="*/ 30 h 30"/>
                <a:gd name="T34" fmla="*/ 15 w 181"/>
                <a:gd name="T35" fmla="*/ 30 h 30"/>
                <a:gd name="T36" fmla="*/ 166 w 181"/>
                <a:gd name="T37" fmla="*/ 30 h 30"/>
                <a:gd name="T38" fmla="*/ 168 w 181"/>
                <a:gd name="T39" fmla="*/ 30 h 30"/>
                <a:gd name="T40" fmla="*/ 171 w 181"/>
                <a:gd name="T41" fmla="*/ 29 h 30"/>
                <a:gd name="T42" fmla="*/ 173 w 181"/>
                <a:gd name="T43" fmla="*/ 28 h 30"/>
                <a:gd name="T44" fmla="*/ 175 w 181"/>
                <a:gd name="T45" fmla="*/ 26 h 30"/>
                <a:gd name="T46" fmla="*/ 178 w 181"/>
                <a:gd name="T47" fmla="*/ 23 h 30"/>
                <a:gd name="T48" fmla="*/ 179 w 181"/>
                <a:gd name="T49" fmla="*/ 21 h 30"/>
                <a:gd name="T50" fmla="*/ 180 w 181"/>
                <a:gd name="T51" fmla="*/ 18 h 30"/>
                <a:gd name="T52" fmla="*/ 181 w 181"/>
                <a:gd name="T53" fmla="*/ 15 h 30"/>
                <a:gd name="T54" fmla="*/ 180 w 181"/>
                <a:gd name="T55" fmla="*/ 13 h 30"/>
                <a:gd name="T56" fmla="*/ 179 w 181"/>
                <a:gd name="T57" fmla="*/ 10 h 30"/>
                <a:gd name="T58" fmla="*/ 178 w 181"/>
                <a:gd name="T59" fmla="*/ 7 h 30"/>
                <a:gd name="T60" fmla="*/ 175 w 181"/>
                <a:gd name="T61" fmla="*/ 4 h 30"/>
                <a:gd name="T62" fmla="*/ 173 w 181"/>
                <a:gd name="T63" fmla="*/ 3 h 30"/>
                <a:gd name="T64" fmla="*/ 171 w 181"/>
                <a:gd name="T65" fmla="*/ 1 h 30"/>
                <a:gd name="T66" fmla="*/ 168 w 181"/>
                <a:gd name="T67" fmla="*/ 1 h 30"/>
                <a:gd name="T68" fmla="*/ 166 w 181"/>
                <a:gd name="T69" fmla="*/ 0 h 30"/>
                <a:gd name="T70" fmla="*/ 166 w 181"/>
                <a:gd name="T7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81" h="30">
                  <a:moveTo>
                    <a:pt x="166" y="0"/>
                  </a:moveTo>
                  <a:lnTo>
                    <a:pt x="15" y="0"/>
                  </a:lnTo>
                  <a:lnTo>
                    <a:pt x="11" y="1"/>
                  </a:lnTo>
                  <a:lnTo>
                    <a:pt x="9" y="1"/>
                  </a:lnTo>
                  <a:lnTo>
                    <a:pt x="6" y="3"/>
                  </a:lnTo>
                  <a:lnTo>
                    <a:pt x="4" y="4"/>
                  </a:lnTo>
                  <a:lnTo>
                    <a:pt x="3" y="7"/>
                  </a:lnTo>
                  <a:lnTo>
                    <a:pt x="1" y="10"/>
                  </a:lnTo>
                  <a:lnTo>
                    <a:pt x="0" y="13"/>
                  </a:lnTo>
                  <a:lnTo>
                    <a:pt x="0" y="15"/>
                  </a:lnTo>
                  <a:lnTo>
                    <a:pt x="0" y="18"/>
                  </a:lnTo>
                  <a:lnTo>
                    <a:pt x="1" y="21"/>
                  </a:lnTo>
                  <a:lnTo>
                    <a:pt x="3" y="23"/>
                  </a:lnTo>
                  <a:lnTo>
                    <a:pt x="4" y="26"/>
                  </a:lnTo>
                  <a:lnTo>
                    <a:pt x="6" y="28"/>
                  </a:lnTo>
                  <a:lnTo>
                    <a:pt x="9" y="29"/>
                  </a:lnTo>
                  <a:lnTo>
                    <a:pt x="11" y="30"/>
                  </a:lnTo>
                  <a:lnTo>
                    <a:pt x="15" y="30"/>
                  </a:lnTo>
                  <a:lnTo>
                    <a:pt x="166" y="30"/>
                  </a:lnTo>
                  <a:lnTo>
                    <a:pt x="168" y="30"/>
                  </a:lnTo>
                  <a:lnTo>
                    <a:pt x="171" y="29"/>
                  </a:lnTo>
                  <a:lnTo>
                    <a:pt x="173" y="28"/>
                  </a:lnTo>
                  <a:lnTo>
                    <a:pt x="175" y="26"/>
                  </a:lnTo>
                  <a:lnTo>
                    <a:pt x="178" y="23"/>
                  </a:lnTo>
                  <a:lnTo>
                    <a:pt x="179" y="21"/>
                  </a:lnTo>
                  <a:lnTo>
                    <a:pt x="180" y="18"/>
                  </a:lnTo>
                  <a:lnTo>
                    <a:pt x="181" y="15"/>
                  </a:lnTo>
                  <a:lnTo>
                    <a:pt x="180" y="13"/>
                  </a:lnTo>
                  <a:lnTo>
                    <a:pt x="179" y="10"/>
                  </a:lnTo>
                  <a:lnTo>
                    <a:pt x="178" y="7"/>
                  </a:lnTo>
                  <a:lnTo>
                    <a:pt x="175" y="4"/>
                  </a:lnTo>
                  <a:lnTo>
                    <a:pt x="173" y="3"/>
                  </a:lnTo>
                  <a:lnTo>
                    <a:pt x="171" y="1"/>
                  </a:lnTo>
                  <a:lnTo>
                    <a:pt x="168" y="1"/>
                  </a:lnTo>
                  <a:lnTo>
                    <a:pt x="166" y="0"/>
                  </a:lnTo>
                  <a:lnTo>
                    <a:pt x="16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Light"/>
                <a:ea typeface="+mn-ea"/>
                <a:cs typeface="+mn-cs"/>
              </a:endParaRPr>
            </a:p>
          </p:txBody>
        </p:sp>
      </p:grpSp>
      <p:sp>
        <p:nvSpPr>
          <p:cNvPr id="82" name="Rectangle 81"/>
          <p:cNvSpPr/>
          <p:nvPr/>
        </p:nvSpPr>
        <p:spPr>
          <a:xfrm>
            <a:off x="12344400" y="0"/>
            <a:ext cx="469900" cy="469900"/>
          </a:xfrm>
          <a:prstGeom prst="rect">
            <a:avLst/>
          </a:prstGeom>
          <a:solidFill>
            <a:srgbClr val="E7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3" name="Rectangle 82"/>
          <p:cNvSpPr/>
          <p:nvPr/>
        </p:nvSpPr>
        <p:spPr>
          <a:xfrm>
            <a:off x="12344400" y="649557"/>
            <a:ext cx="469900" cy="469900"/>
          </a:xfrm>
          <a:prstGeom prst="rect">
            <a:avLst/>
          </a:prstGeom>
          <a:solidFill>
            <a:srgbClr val="AFABA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4" name="Rectangle 83"/>
          <p:cNvSpPr/>
          <p:nvPr/>
        </p:nvSpPr>
        <p:spPr>
          <a:xfrm>
            <a:off x="12344400" y="1299114"/>
            <a:ext cx="469900" cy="469900"/>
          </a:xfrm>
          <a:prstGeom prst="rect">
            <a:avLst/>
          </a:prstGeom>
          <a:solidFill>
            <a:srgbClr val="76717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5" name="Rectangle 84"/>
          <p:cNvSpPr/>
          <p:nvPr/>
        </p:nvSpPr>
        <p:spPr>
          <a:xfrm>
            <a:off x="12966699" y="0"/>
            <a:ext cx="469900" cy="469900"/>
          </a:xfrm>
          <a:prstGeom prst="rect">
            <a:avLst/>
          </a:prstGeom>
          <a:solidFill>
            <a:srgbClr val="E8786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6" name="Rectangle 85"/>
          <p:cNvSpPr/>
          <p:nvPr/>
        </p:nvSpPr>
        <p:spPr>
          <a:xfrm>
            <a:off x="12966699" y="649557"/>
            <a:ext cx="469900" cy="469900"/>
          </a:xfrm>
          <a:prstGeom prst="rect">
            <a:avLst/>
          </a:prstGeom>
          <a:solidFill>
            <a:srgbClr val="E258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7" name="Rectangle 86"/>
          <p:cNvSpPr/>
          <p:nvPr/>
        </p:nvSpPr>
        <p:spPr>
          <a:xfrm>
            <a:off x="12966699" y="1299114"/>
            <a:ext cx="469900" cy="469900"/>
          </a:xfrm>
          <a:prstGeom prst="rect">
            <a:avLst/>
          </a:prstGeom>
          <a:solidFill>
            <a:srgbClr val="D63E2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8" name="Rectangle 87"/>
          <p:cNvSpPr/>
          <p:nvPr/>
        </p:nvSpPr>
        <p:spPr>
          <a:xfrm>
            <a:off x="13588998" y="0"/>
            <a:ext cx="469900" cy="469900"/>
          </a:xfrm>
          <a:prstGeom prst="rect">
            <a:avLst/>
          </a:prstGeom>
          <a:solidFill>
            <a:srgbClr val="8EDCD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9" name="Rectangle 88"/>
          <p:cNvSpPr/>
          <p:nvPr/>
        </p:nvSpPr>
        <p:spPr>
          <a:xfrm>
            <a:off x="13588998" y="649557"/>
            <a:ext cx="469900" cy="469900"/>
          </a:xfrm>
          <a:prstGeom prst="rect">
            <a:avLst/>
          </a:prstGeom>
          <a:solidFill>
            <a:srgbClr val="78D2D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0" name="Rectangle 89"/>
          <p:cNvSpPr/>
          <p:nvPr/>
        </p:nvSpPr>
        <p:spPr>
          <a:xfrm>
            <a:off x="13588998" y="1299114"/>
            <a:ext cx="469900" cy="469900"/>
          </a:xfrm>
          <a:prstGeom prst="rect">
            <a:avLst/>
          </a:prstGeom>
          <a:solidFill>
            <a:srgbClr val="4CC7C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1" name="Rectangle 90"/>
          <p:cNvSpPr/>
          <p:nvPr/>
        </p:nvSpPr>
        <p:spPr>
          <a:xfrm>
            <a:off x="14211297" y="0"/>
            <a:ext cx="469900" cy="469900"/>
          </a:xfrm>
          <a:prstGeom prst="rect">
            <a:avLst/>
          </a:prstGeom>
          <a:solidFill>
            <a:srgbClr val="55535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2" name="Rectangle 91"/>
          <p:cNvSpPr/>
          <p:nvPr/>
        </p:nvSpPr>
        <p:spPr>
          <a:xfrm>
            <a:off x="14211297" y="649557"/>
            <a:ext cx="469900" cy="469900"/>
          </a:xfrm>
          <a:prstGeom prst="rect">
            <a:avLst/>
          </a:prstGeom>
          <a:solidFill>
            <a:srgbClr val="3B393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3" name="Rectangle 92"/>
          <p:cNvSpPr/>
          <p:nvPr/>
        </p:nvSpPr>
        <p:spPr>
          <a:xfrm>
            <a:off x="14211297" y="1299114"/>
            <a:ext cx="469900" cy="469900"/>
          </a:xfrm>
          <a:prstGeom prst="rect">
            <a:avLst/>
          </a:prstGeom>
          <a:solidFill>
            <a:srgbClr val="25232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67434806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6" name="Oval 245"/>
          <p:cNvSpPr/>
          <p:nvPr/>
        </p:nvSpPr>
        <p:spPr>
          <a:xfrm>
            <a:off x="9265427" y="4001085"/>
            <a:ext cx="456421" cy="456421"/>
          </a:xfrm>
          <a:prstGeom prst="ellipse">
            <a:avLst/>
          </a:prstGeom>
          <a:solidFill>
            <a:schemeClr val="bg1"/>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5" name="Oval 244"/>
          <p:cNvSpPr/>
          <p:nvPr/>
        </p:nvSpPr>
        <p:spPr>
          <a:xfrm>
            <a:off x="7975080" y="4001085"/>
            <a:ext cx="456421" cy="456421"/>
          </a:xfrm>
          <a:prstGeom prst="ellipse">
            <a:avLst/>
          </a:prstGeom>
          <a:solidFill>
            <a:schemeClr val="bg1"/>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4" name="Oval 243"/>
          <p:cNvSpPr/>
          <p:nvPr/>
        </p:nvSpPr>
        <p:spPr>
          <a:xfrm>
            <a:off x="6700884" y="4001085"/>
            <a:ext cx="456421" cy="456421"/>
          </a:xfrm>
          <a:prstGeom prst="ellipse">
            <a:avLst/>
          </a:prstGeom>
          <a:solidFill>
            <a:schemeClr val="bg1"/>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ext Placeholder 1"/>
          <p:cNvSpPr>
            <a:spLocks noGrp="1"/>
          </p:cNvSpPr>
          <p:nvPr>
            <p:ph type="body" sz="quarter" idx="13"/>
          </p:nvPr>
        </p:nvSpPr>
        <p:spPr/>
        <p:txBody>
          <a:bodyPr/>
          <a:lstStyle/>
          <a:p>
            <a:r>
              <a:rPr lang="en-US" dirty="0"/>
              <a:t>PowerPoint Templates</a:t>
            </a:r>
          </a:p>
        </p:txBody>
      </p:sp>
      <p:sp>
        <p:nvSpPr>
          <p:cNvPr id="3" name="Date Placeholder 2"/>
          <p:cNvSpPr>
            <a:spLocks noGrp="1"/>
          </p:cNvSpPr>
          <p:nvPr>
            <p:ph type="dt" sz="half" idx="10"/>
          </p:nvPr>
        </p:nvSpPr>
        <p:spPr/>
        <p:txBody>
          <a:bodyPr/>
          <a:lstStyle/>
          <a:p>
            <a:fld id="{C9852138-FCC6-44DD-9FFC-1C789392E7AA}" type="datetime1">
              <a:rPr lang="en-US" smtClean="0"/>
              <a:t>10/28/2022</a:t>
            </a:fld>
            <a:endParaRPr lang="en-US"/>
          </a:p>
        </p:txBody>
      </p:sp>
      <p:sp>
        <p:nvSpPr>
          <p:cNvPr id="4" name="Slide Number Placeholder 3"/>
          <p:cNvSpPr>
            <a:spLocks noGrp="1"/>
          </p:cNvSpPr>
          <p:nvPr>
            <p:ph type="sldNum" sz="quarter" idx="12"/>
          </p:nvPr>
        </p:nvSpPr>
        <p:spPr/>
        <p:txBody>
          <a:bodyPr/>
          <a:lstStyle/>
          <a:p>
            <a:fld id="{03206E70-9524-410D-AE9B-78D656EAA14D}" type="slidenum">
              <a:rPr lang="en-US" smtClean="0"/>
              <a:pPr/>
              <a:t>13</a:t>
            </a:fld>
            <a:endParaRPr lang="en-US"/>
          </a:p>
        </p:txBody>
      </p:sp>
      <p:grpSp>
        <p:nvGrpSpPr>
          <p:cNvPr id="6" name="Group 5"/>
          <p:cNvGrpSpPr/>
          <p:nvPr/>
        </p:nvGrpSpPr>
        <p:grpSpPr>
          <a:xfrm>
            <a:off x="1829254" y="1305140"/>
            <a:ext cx="4664263" cy="2178613"/>
            <a:chOff x="1184235" y="2351481"/>
            <a:chExt cx="7140225" cy="3335101"/>
          </a:xfrm>
          <a:solidFill>
            <a:srgbClr val="AFABAB"/>
          </a:solidFill>
          <a:effectLst>
            <a:outerShdw blurRad="50800" dist="38100" dir="5400000" algn="t" rotWithShape="0">
              <a:prstClr val="black">
                <a:alpha val="40000"/>
              </a:prstClr>
            </a:outerShdw>
          </a:effectLst>
        </p:grpSpPr>
        <p:sp>
          <p:nvSpPr>
            <p:cNvPr id="23" name="USA (Alaska)" descr="© INSCALE GmbH, 05.05.2010&#10;http://www.presentationload.com/"/>
            <p:cNvSpPr>
              <a:spLocks noEditPoints="1"/>
            </p:cNvSpPr>
            <p:nvPr/>
          </p:nvSpPr>
          <p:spPr bwMode="gray">
            <a:xfrm>
              <a:off x="1184235" y="2574392"/>
              <a:ext cx="996995" cy="413978"/>
            </a:xfrm>
            <a:custGeom>
              <a:avLst/>
              <a:gdLst>
                <a:gd name="T0" fmla="*/ 2147483647 w 3072"/>
                <a:gd name="T1" fmla="*/ 2147483647 h 1332"/>
                <a:gd name="T2" fmla="*/ 2147483647 w 3072"/>
                <a:gd name="T3" fmla="*/ 2147483647 h 1332"/>
                <a:gd name="T4" fmla="*/ 2147483647 w 3072"/>
                <a:gd name="T5" fmla="*/ 2147483647 h 1332"/>
                <a:gd name="T6" fmla="*/ 2147483647 w 3072"/>
                <a:gd name="T7" fmla="*/ 2147483647 h 1332"/>
                <a:gd name="T8" fmla="*/ 2147483647 w 3072"/>
                <a:gd name="T9" fmla="*/ 2147483647 h 1332"/>
                <a:gd name="T10" fmla="*/ 2147483647 w 3072"/>
                <a:gd name="T11" fmla="*/ 2147483647 h 1332"/>
                <a:gd name="T12" fmla="*/ 2147483647 w 3072"/>
                <a:gd name="T13" fmla="*/ 2147483647 h 1332"/>
                <a:gd name="T14" fmla="*/ 2147483647 w 3072"/>
                <a:gd name="T15" fmla="*/ 2147483647 h 1332"/>
                <a:gd name="T16" fmla="*/ 2147483647 w 3072"/>
                <a:gd name="T17" fmla="*/ 2147483647 h 1332"/>
                <a:gd name="T18" fmla="*/ 2147483647 w 3072"/>
                <a:gd name="T19" fmla="*/ 2147483647 h 1332"/>
                <a:gd name="T20" fmla="*/ 2147483647 w 3072"/>
                <a:gd name="T21" fmla="*/ 2147483647 h 1332"/>
                <a:gd name="T22" fmla="*/ 2147483647 w 3072"/>
                <a:gd name="T23" fmla="*/ 0 h 1332"/>
                <a:gd name="T24" fmla="*/ 2147483647 w 3072"/>
                <a:gd name="T25" fmla="*/ 2147483647 h 1332"/>
                <a:gd name="T26" fmla="*/ 2147483647 w 3072"/>
                <a:gd name="T27" fmla="*/ 2147483647 h 1332"/>
                <a:gd name="T28" fmla="*/ 2147483647 w 3072"/>
                <a:gd name="T29" fmla="*/ 2147483647 h 1332"/>
                <a:gd name="T30" fmla="*/ 2147483647 w 3072"/>
                <a:gd name="T31" fmla="*/ 2147483647 h 1332"/>
                <a:gd name="T32" fmla="*/ 2147483647 w 3072"/>
                <a:gd name="T33" fmla="*/ 2147483647 h 1332"/>
                <a:gd name="T34" fmla="*/ 2147483647 w 3072"/>
                <a:gd name="T35" fmla="*/ 2147483647 h 1332"/>
                <a:gd name="T36" fmla="*/ 2147483647 w 3072"/>
                <a:gd name="T37" fmla="*/ 2147483647 h 1332"/>
                <a:gd name="T38" fmla="*/ 2147483647 w 3072"/>
                <a:gd name="T39" fmla="*/ 2147483647 h 1332"/>
                <a:gd name="T40" fmla="*/ 2147483647 w 3072"/>
                <a:gd name="T41" fmla="*/ 2147483647 h 1332"/>
                <a:gd name="T42" fmla="*/ 2147483647 w 3072"/>
                <a:gd name="T43" fmla="*/ 2147483647 h 1332"/>
                <a:gd name="T44" fmla="*/ 2147483647 w 3072"/>
                <a:gd name="T45" fmla="*/ 2147483647 h 1332"/>
                <a:gd name="T46" fmla="*/ 2147483647 w 3072"/>
                <a:gd name="T47" fmla="*/ 2147483647 h 1332"/>
                <a:gd name="T48" fmla="*/ 2147483647 w 3072"/>
                <a:gd name="T49" fmla="*/ 2147483647 h 1332"/>
                <a:gd name="T50" fmla="*/ 2147483647 w 3072"/>
                <a:gd name="T51" fmla="*/ 2147483647 h 1332"/>
                <a:gd name="T52" fmla="*/ 2147483647 w 3072"/>
                <a:gd name="T53" fmla="*/ 2147483647 h 1332"/>
                <a:gd name="T54" fmla="*/ 2147483647 w 3072"/>
                <a:gd name="T55" fmla="*/ 2147483647 h 1332"/>
                <a:gd name="T56" fmla="*/ 2147483647 w 3072"/>
                <a:gd name="T57" fmla="*/ 2147483647 h 1332"/>
                <a:gd name="T58" fmla="*/ 2147483647 w 3072"/>
                <a:gd name="T59" fmla="*/ 2147483647 h 1332"/>
                <a:gd name="T60" fmla="*/ 2147483647 w 3072"/>
                <a:gd name="T61" fmla="*/ 2147483647 h 1332"/>
                <a:gd name="T62" fmla="*/ 2147483647 w 3072"/>
                <a:gd name="T63" fmla="*/ 2147483647 h 1332"/>
                <a:gd name="T64" fmla="*/ 2147483647 w 3072"/>
                <a:gd name="T65" fmla="*/ 2147483647 h 1332"/>
                <a:gd name="T66" fmla="*/ 2147483647 w 3072"/>
                <a:gd name="T67" fmla="*/ 2147483647 h 1332"/>
                <a:gd name="T68" fmla="*/ 2147483647 w 3072"/>
                <a:gd name="T69" fmla="*/ 2147483647 h 1332"/>
                <a:gd name="T70" fmla="*/ 2147483647 w 3072"/>
                <a:gd name="T71" fmla="*/ 2147483647 h 1332"/>
                <a:gd name="T72" fmla="*/ 2147483647 w 3072"/>
                <a:gd name="T73" fmla="*/ 2147483647 h 1332"/>
                <a:gd name="T74" fmla="*/ 2147483647 w 3072"/>
                <a:gd name="T75" fmla="*/ 2147483647 h 1332"/>
                <a:gd name="T76" fmla="*/ 2147483647 w 3072"/>
                <a:gd name="T77" fmla="*/ 2147483647 h 1332"/>
                <a:gd name="T78" fmla="*/ 2147483647 w 3072"/>
                <a:gd name="T79" fmla="*/ 2147483647 h 1332"/>
                <a:gd name="T80" fmla="*/ 2147483647 w 3072"/>
                <a:gd name="T81" fmla="*/ 2147483647 h 1332"/>
                <a:gd name="T82" fmla="*/ 2147483647 w 3072"/>
                <a:gd name="T83" fmla="*/ 2147483647 h 1332"/>
                <a:gd name="T84" fmla="*/ 2147483647 w 3072"/>
                <a:gd name="T85" fmla="*/ 2147483647 h 1332"/>
                <a:gd name="T86" fmla="*/ 2147483647 w 3072"/>
                <a:gd name="T87" fmla="*/ 2147483647 h 1332"/>
                <a:gd name="T88" fmla="*/ 2147483647 w 3072"/>
                <a:gd name="T89" fmla="*/ 2147483647 h 1332"/>
                <a:gd name="T90" fmla="*/ 2147483647 w 3072"/>
                <a:gd name="T91" fmla="*/ 2147483647 h 1332"/>
                <a:gd name="T92" fmla="*/ 2147483647 w 3072"/>
                <a:gd name="T93" fmla="*/ 2147483647 h 1332"/>
                <a:gd name="T94" fmla="*/ 2147483647 w 3072"/>
                <a:gd name="T95" fmla="*/ 2147483647 h 1332"/>
                <a:gd name="T96" fmla="*/ 2147483647 w 3072"/>
                <a:gd name="T97" fmla="*/ 2147483647 h 1332"/>
                <a:gd name="T98" fmla="*/ 2147483647 w 3072"/>
                <a:gd name="T99" fmla="*/ 2147483647 h 1332"/>
                <a:gd name="T100" fmla="*/ 2147483647 w 3072"/>
                <a:gd name="T101" fmla="*/ 2147483647 h 1332"/>
                <a:gd name="T102" fmla="*/ 2147483647 w 3072"/>
                <a:gd name="T103" fmla="*/ 2147483647 h 1332"/>
                <a:gd name="T104" fmla="*/ 2147483647 w 3072"/>
                <a:gd name="T105" fmla="*/ 2147483647 h 1332"/>
                <a:gd name="T106" fmla="*/ 2147483647 w 3072"/>
                <a:gd name="T107" fmla="*/ 2147483647 h 1332"/>
                <a:gd name="T108" fmla="*/ 2147483647 w 3072"/>
                <a:gd name="T109" fmla="*/ 2147483647 h 1332"/>
                <a:gd name="T110" fmla="*/ 2147483647 w 3072"/>
                <a:gd name="T111" fmla="*/ 2147483647 h 1332"/>
                <a:gd name="T112" fmla="*/ 2147483647 w 3072"/>
                <a:gd name="T113" fmla="*/ 2147483647 h 1332"/>
                <a:gd name="T114" fmla="*/ 2147483647 w 3072"/>
                <a:gd name="T115" fmla="*/ 2147483647 h 1332"/>
                <a:gd name="T116" fmla="*/ 2147483647 w 3072"/>
                <a:gd name="T117" fmla="*/ 2147483647 h 1332"/>
                <a:gd name="T118" fmla="*/ 2147483647 w 3072"/>
                <a:gd name="T119" fmla="*/ 2147483647 h 1332"/>
                <a:gd name="T120" fmla="*/ 2147483647 w 3072"/>
                <a:gd name="T121" fmla="*/ 2147483647 h 1332"/>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3072"/>
                <a:gd name="T184" fmla="*/ 0 h 1332"/>
                <a:gd name="T185" fmla="*/ 3072 w 3072"/>
                <a:gd name="T186" fmla="*/ 1332 h 1332"/>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3072" h="1332">
                  <a:moveTo>
                    <a:pt x="2454" y="930"/>
                  </a:moveTo>
                  <a:lnTo>
                    <a:pt x="2418" y="966"/>
                  </a:lnTo>
                  <a:lnTo>
                    <a:pt x="2400" y="1002"/>
                  </a:lnTo>
                  <a:lnTo>
                    <a:pt x="2412" y="1002"/>
                  </a:lnTo>
                  <a:lnTo>
                    <a:pt x="2448" y="984"/>
                  </a:lnTo>
                  <a:lnTo>
                    <a:pt x="2460" y="972"/>
                  </a:lnTo>
                  <a:lnTo>
                    <a:pt x="2460" y="954"/>
                  </a:lnTo>
                  <a:lnTo>
                    <a:pt x="2472" y="942"/>
                  </a:lnTo>
                  <a:lnTo>
                    <a:pt x="2460" y="930"/>
                  </a:lnTo>
                  <a:lnTo>
                    <a:pt x="2454" y="930"/>
                  </a:lnTo>
                  <a:close/>
                  <a:moveTo>
                    <a:pt x="2400" y="930"/>
                  </a:moveTo>
                  <a:lnTo>
                    <a:pt x="2388" y="930"/>
                  </a:lnTo>
                  <a:lnTo>
                    <a:pt x="2376" y="936"/>
                  </a:lnTo>
                  <a:lnTo>
                    <a:pt x="2364" y="948"/>
                  </a:lnTo>
                  <a:lnTo>
                    <a:pt x="2364" y="954"/>
                  </a:lnTo>
                  <a:lnTo>
                    <a:pt x="2370" y="966"/>
                  </a:lnTo>
                  <a:lnTo>
                    <a:pt x="2376" y="972"/>
                  </a:lnTo>
                  <a:lnTo>
                    <a:pt x="2406" y="972"/>
                  </a:lnTo>
                  <a:lnTo>
                    <a:pt x="2412" y="960"/>
                  </a:lnTo>
                  <a:lnTo>
                    <a:pt x="2418" y="954"/>
                  </a:lnTo>
                  <a:lnTo>
                    <a:pt x="2418" y="942"/>
                  </a:lnTo>
                  <a:lnTo>
                    <a:pt x="2406" y="936"/>
                  </a:lnTo>
                  <a:lnTo>
                    <a:pt x="2400" y="930"/>
                  </a:lnTo>
                  <a:close/>
                  <a:moveTo>
                    <a:pt x="2316" y="1188"/>
                  </a:moveTo>
                  <a:lnTo>
                    <a:pt x="2328" y="1188"/>
                  </a:lnTo>
                  <a:lnTo>
                    <a:pt x="2340" y="1152"/>
                  </a:lnTo>
                  <a:lnTo>
                    <a:pt x="2322" y="1158"/>
                  </a:lnTo>
                  <a:lnTo>
                    <a:pt x="2316" y="1188"/>
                  </a:lnTo>
                  <a:close/>
                  <a:moveTo>
                    <a:pt x="2388" y="1074"/>
                  </a:moveTo>
                  <a:lnTo>
                    <a:pt x="2370" y="1086"/>
                  </a:lnTo>
                  <a:lnTo>
                    <a:pt x="2382" y="1098"/>
                  </a:lnTo>
                  <a:lnTo>
                    <a:pt x="2388" y="1098"/>
                  </a:lnTo>
                  <a:lnTo>
                    <a:pt x="2382" y="1104"/>
                  </a:lnTo>
                  <a:lnTo>
                    <a:pt x="2376" y="1104"/>
                  </a:lnTo>
                  <a:lnTo>
                    <a:pt x="2364" y="1116"/>
                  </a:lnTo>
                  <a:lnTo>
                    <a:pt x="2358" y="1116"/>
                  </a:lnTo>
                  <a:lnTo>
                    <a:pt x="2352" y="1122"/>
                  </a:lnTo>
                  <a:lnTo>
                    <a:pt x="2352" y="1152"/>
                  </a:lnTo>
                  <a:lnTo>
                    <a:pt x="2358" y="1164"/>
                  </a:lnTo>
                  <a:lnTo>
                    <a:pt x="2358" y="1188"/>
                  </a:lnTo>
                  <a:lnTo>
                    <a:pt x="2370" y="1182"/>
                  </a:lnTo>
                  <a:lnTo>
                    <a:pt x="2376" y="1170"/>
                  </a:lnTo>
                  <a:lnTo>
                    <a:pt x="2388" y="1164"/>
                  </a:lnTo>
                  <a:lnTo>
                    <a:pt x="2394" y="1158"/>
                  </a:lnTo>
                  <a:lnTo>
                    <a:pt x="2394" y="1146"/>
                  </a:lnTo>
                  <a:lnTo>
                    <a:pt x="2382" y="1134"/>
                  </a:lnTo>
                  <a:lnTo>
                    <a:pt x="2394" y="1134"/>
                  </a:lnTo>
                  <a:lnTo>
                    <a:pt x="2412" y="1116"/>
                  </a:lnTo>
                  <a:lnTo>
                    <a:pt x="2412" y="1098"/>
                  </a:lnTo>
                  <a:lnTo>
                    <a:pt x="2388" y="1074"/>
                  </a:lnTo>
                  <a:close/>
                  <a:moveTo>
                    <a:pt x="2562" y="1080"/>
                  </a:moveTo>
                  <a:lnTo>
                    <a:pt x="2550" y="1080"/>
                  </a:lnTo>
                  <a:lnTo>
                    <a:pt x="2550" y="1074"/>
                  </a:lnTo>
                  <a:lnTo>
                    <a:pt x="2544" y="1068"/>
                  </a:lnTo>
                  <a:lnTo>
                    <a:pt x="2538" y="1068"/>
                  </a:lnTo>
                  <a:lnTo>
                    <a:pt x="2532" y="1062"/>
                  </a:lnTo>
                  <a:lnTo>
                    <a:pt x="2520" y="1056"/>
                  </a:lnTo>
                  <a:lnTo>
                    <a:pt x="2514" y="1050"/>
                  </a:lnTo>
                  <a:lnTo>
                    <a:pt x="2514" y="1044"/>
                  </a:lnTo>
                  <a:lnTo>
                    <a:pt x="2520" y="1032"/>
                  </a:lnTo>
                  <a:lnTo>
                    <a:pt x="2520" y="1020"/>
                  </a:lnTo>
                  <a:lnTo>
                    <a:pt x="2526" y="1008"/>
                  </a:lnTo>
                  <a:lnTo>
                    <a:pt x="2532" y="1002"/>
                  </a:lnTo>
                  <a:lnTo>
                    <a:pt x="2532" y="960"/>
                  </a:lnTo>
                  <a:lnTo>
                    <a:pt x="2550" y="924"/>
                  </a:lnTo>
                  <a:lnTo>
                    <a:pt x="2550" y="906"/>
                  </a:lnTo>
                  <a:lnTo>
                    <a:pt x="2544" y="894"/>
                  </a:lnTo>
                  <a:lnTo>
                    <a:pt x="2526" y="876"/>
                  </a:lnTo>
                  <a:lnTo>
                    <a:pt x="2538" y="864"/>
                  </a:lnTo>
                  <a:lnTo>
                    <a:pt x="2538" y="834"/>
                  </a:lnTo>
                  <a:lnTo>
                    <a:pt x="2544" y="828"/>
                  </a:lnTo>
                  <a:lnTo>
                    <a:pt x="2550" y="828"/>
                  </a:lnTo>
                  <a:lnTo>
                    <a:pt x="2556" y="822"/>
                  </a:lnTo>
                  <a:lnTo>
                    <a:pt x="2550" y="816"/>
                  </a:lnTo>
                  <a:lnTo>
                    <a:pt x="2532" y="810"/>
                  </a:lnTo>
                  <a:lnTo>
                    <a:pt x="2520" y="810"/>
                  </a:lnTo>
                  <a:lnTo>
                    <a:pt x="2502" y="816"/>
                  </a:lnTo>
                  <a:lnTo>
                    <a:pt x="2490" y="816"/>
                  </a:lnTo>
                  <a:lnTo>
                    <a:pt x="2484" y="822"/>
                  </a:lnTo>
                  <a:lnTo>
                    <a:pt x="2478" y="822"/>
                  </a:lnTo>
                  <a:lnTo>
                    <a:pt x="2478" y="834"/>
                  </a:lnTo>
                  <a:lnTo>
                    <a:pt x="2460" y="834"/>
                  </a:lnTo>
                  <a:lnTo>
                    <a:pt x="2454" y="840"/>
                  </a:lnTo>
                  <a:lnTo>
                    <a:pt x="2442" y="846"/>
                  </a:lnTo>
                  <a:lnTo>
                    <a:pt x="2430" y="846"/>
                  </a:lnTo>
                  <a:lnTo>
                    <a:pt x="2418" y="852"/>
                  </a:lnTo>
                  <a:lnTo>
                    <a:pt x="2406" y="852"/>
                  </a:lnTo>
                  <a:lnTo>
                    <a:pt x="2400" y="858"/>
                  </a:lnTo>
                  <a:lnTo>
                    <a:pt x="2394" y="858"/>
                  </a:lnTo>
                  <a:lnTo>
                    <a:pt x="2388" y="864"/>
                  </a:lnTo>
                  <a:lnTo>
                    <a:pt x="2376" y="870"/>
                  </a:lnTo>
                  <a:lnTo>
                    <a:pt x="2370" y="876"/>
                  </a:lnTo>
                  <a:lnTo>
                    <a:pt x="2364" y="876"/>
                  </a:lnTo>
                  <a:lnTo>
                    <a:pt x="2364" y="864"/>
                  </a:lnTo>
                  <a:lnTo>
                    <a:pt x="2382" y="846"/>
                  </a:lnTo>
                  <a:lnTo>
                    <a:pt x="2376" y="840"/>
                  </a:lnTo>
                  <a:lnTo>
                    <a:pt x="2364" y="834"/>
                  </a:lnTo>
                  <a:lnTo>
                    <a:pt x="2358" y="828"/>
                  </a:lnTo>
                  <a:lnTo>
                    <a:pt x="2358" y="810"/>
                  </a:lnTo>
                  <a:lnTo>
                    <a:pt x="2352" y="798"/>
                  </a:lnTo>
                  <a:lnTo>
                    <a:pt x="2352" y="792"/>
                  </a:lnTo>
                  <a:lnTo>
                    <a:pt x="2376" y="768"/>
                  </a:lnTo>
                  <a:lnTo>
                    <a:pt x="2340" y="768"/>
                  </a:lnTo>
                  <a:lnTo>
                    <a:pt x="2328" y="780"/>
                  </a:lnTo>
                  <a:lnTo>
                    <a:pt x="2274" y="780"/>
                  </a:lnTo>
                  <a:lnTo>
                    <a:pt x="2274" y="768"/>
                  </a:lnTo>
                  <a:lnTo>
                    <a:pt x="2280" y="756"/>
                  </a:lnTo>
                  <a:lnTo>
                    <a:pt x="2292" y="750"/>
                  </a:lnTo>
                  <a:lnTo>
                    <a:pt x="2298" y="744"/>
                  </a:lnTo>
                  <a:lnTo>
                    <a:pt x="3072" y="108"/>
                  </a:lnTo>
                  <a:lnTo>
                    <a:pt x="3054" y="108"/>
                  </a:lnTo>
                  <a:lnTo>
                    <a:pt x="3054" y="102"/>
                  </a:lnTo>
                  <a:lnTo>
                    <a:pt x="3048" y="90"/>
                  </a:lnTo>
                  <a:lnTo>
                    <a:pt x="3036" y="84"/>
                  </a:lnTo>
                  <a:lnTo>
                    <a:pt x="3030" y="78"/>
                  </a:lnTo>
                  <a:lnTo>
                    <a:pt x="3012" y="78"/>
                  </a:lnTo>
                  <a:lnTo>
                    <a:pt x="2988" y="84"/>
                  </a:lnTo>
                  <a:lnTo>
                    <a:pt x="2964" y="84"/>
                  </a:lnTo>
                  <a:lnTo>
                    <a:pt x="2928" y="96"/>
                  </a:lnTo>
                  <a:lnTo>
                    <a:pt x="2916" y="96"/>
                  </a:lnTo>
                  <a:lnTo>
                    <a:pt x="2892" y="84"/>
                  </a:lnTo>
                  <a:lnTo>
                    <a:pt x="2886" y="78"/>
                  </a:lnTo>
                  <a:lnTo>
                    <a:pt x="2874" y="72"/>
                  </a:lnTo>
                  <a:lnTo>
                    <a:pt x="2784" y="72"/>
                  </a:lnTo>
                  <a:lnTo>
                    <a:pt x="2772" y="66"/>
                  </a:lnTo>
                  <a:lnTo>
                    <a:pt x="2766" y="60"/>
                  </a:lnTo>
                  <a:lnTo>
                    <a:pt x="2748" y="60"/>
                  </a:lnTo>
                  <a:lnTo>
                    <a:pt x="2736" y="54"/>
                  </a:lnTo>
                  <a:lnTo>
                    <a:pt x="2598" y="54"/>
                  </a:lnTo>
                  <a:lnTo>
                    <a:pt x="2598" y="42"/>
                  </a:lnTo>
                  <a:lnTo>
                    <a:pt x="2604" y="36"/>
                  </a:lnTo>
                  <a:lnTo>
                    <a:pt x="2592" y="36"/>
                  </a:lnTo>
                  <a:lnTo>
                    <a:pt x="2574" y="30"/>
                  </a:lnTo>
                  <a:lnTo>
                    <a:pt x="2562" y="30"/>
                  </a:lnTo>
                  <a:lnTo>
                    <a:pt x="2550" y="24"/>
                  </a:lnTo>
                  <a:lnTo>
                    <a:pt x="2532" y="24"/>
                  </a:lnTo>
                  <a:lnTo>
                    <a:pt x="2520" y="30"/>
                  </a:lnTo>
                  <a:lnTo>
                    <a:pt x="2496" y="30"/>
                  </a:lnTo>
                  <a:lnTo>
                    <a:pt x="2490" y="36"/>
                  </a:lnTo>
                  <a:lnTo>
                    <a:pt x="2484" y="36"/>
                  </a:lnTo>
                  <a:lnTo>
                    <a:pt x="2514" y="0"/>
                  </a:lnTo>
                  <a:lnTo>
                    <a:pt x="2430" y="36"/>
                  </a:lnTo>
                  <a:lnTo>
                    <a:pt x="2460" y="0"/>
                  </a:lnTo>
                  <a:lnTo>
                    <a:pt x="2430" y="0"/>
                  </a:lnTo>
                  <a:lnTo>
                    <a:pt x="2418" y="6"/>
                  </a:lnTo>
                  <a:lnTo>
                    <a:pt x="2412" y="12"/>
                  </a:lnTo>
                  <a:lnTo>
                    <a:pt x="2358" y="30"/>
                  </a:lnTo>
                  <a:lnTo>
                    <a:pt x="2232" y="30"/>
                  </a:lnTo>
                  <a:lnTo>
                    <a:pt x="2214" y="36"/>
                  </a:lnTo>
                  <a:lnTo>
                    <a:pt x="2208" y="42"/>
                  </a:lnTo>
                  <a:lnTo>
                    <a:pt x="2184" y="54"/>
                  </a:lnTo>
                  <a:lnTo>
                    <a:pt x="2172" y="54"/>
                  </a:lnTo>
                  <a:lnTo>
                    <a:pt x="2166" y="60"/>
                  </a:lnTo>
                  <a:lnTo>
                    <a:pt x="2046" y="60"/>
                  </a:lnTo>
                  <a:lnTo>
                    <a:pt x="2004" y="72"/>
                  </a:lnTo>
                  <a:lnTo>
                    <a:pt x="1956" y="102"/>
                  </a:lnTo>
                  <a:lnTo>
                    <a:pt x="1902" y="132"/>
                  </a:lnTo>
                  <a:lnTo>
                    <a:pt x="1854" y="144"/>
                  </a:lnTo>
                  <a:lnTo>
                    <a:pt x="1758" y="156"/>
                  </a:lnTo>
                  <a:lnTo>
                    <a:pt x="1722" y="162"/>
                  </a:lnTo>
                  <a:lnTo>
                    <a:pt x="1704" y="162"/>
                  </a:lnTo>
                  <a:lnTo>
                    <a:pt x="1698" y="168"/>
                  </a:lnTo>
                  <a:lnTo>
                    <a:pt x="1644" y="186"/>
                  </a:lnTo>
                  <a:lnTo>
                    <a:pt x="1632" y="192"/>
                  </a:lnTo>
                  <a:lnTo>
                    <a:pt x="1620" y="192"/>
                  </a:lnTo>
                  <a:lnTo>
                    <a:pt x="1620" y="198"/>
                  </a:lnTo>
                  <a:lnTo>
                    <a:pt x="1626" y="204"/>
                  </a:lnTo>
                  <a:lnTo>
                    <a:pt x="1638" y="210"/>
                  </a:lnTo>
                  <a:lnTo>
                    <a:pt x="1650" y="222"/>
                  </a:lnTo>
                  <a:lnTo>
                    <a:pt x="1656" y="222"/>
                  </a:lnTo>
                  <a:lnTo>
                    <a:pt x="1662" y="234"/>
                  </a:lnTo>
                  <a:lnTo>
                    <a:pt x="1662" y="240"/>
                  </a:lnTo>
                  <a:lnTo>
                    <a:pt x="1668" y="252"/>
                  </a:lnTo>
                  <a:lnTo>
                    <a:pt x="1668" y="264"/>
                  </a:lnTo>
                  <a:lnTo>
                    <a:pt x="1662" y="264"/>
                  </a:lnTo>
                  <a:lnTo>
                    <a:pt x="1650" y="270"/>
                  </a:lnTo>
                  <a:lnTo>
                    <a:pt x="1644" y="282"/>
                  </a:lnTo>
                  <a:lnTo>
                    <a:pt x="1734" y="282"/>
                  </a:lnTo>
                  <a:lnTo>
                    <a:pt x="1704" y="318"/>
                  </a:lnTo>
                  <a:lnTo>
                    <a:pt x="1770" y="318"/>
                  </a:lnTo>
                  <a:lnTo>
                    <a:pt x="1764" y="336"/>
                  </a:lnTo>
                  <a:lnTo>
                    <a:pt x="1710" y="336"/>
                  </a:lnTo>
                  <a:lnTo>
                    <a:pt x="1698" y="348"/>
                  </a:lnTo>
                  <a:lnTo>
                    <a:pt x="1632" y="348"/>
                  </a:lnTo>
                  <a:lnTo>
                    <a:pt x="1614" y="354"/>
                  </a:lnTo>
                  <a:lnTo>
                    <a:pt x="1560" y="354"/>
                  </a:lnTo>
                  <a:lnTo>
                    <a:pt x="1554" y="348"/>
                  </a:lnTo>
                  <a:lnTo>
                    <a:pt x="1548" y="348"/>
                  </a:lnTo>
                  <a:lnTo>
                    <a:pt x="1554" y="342"/>
                  </a:lnTo>
                  <a:lnTo>
                    <a:pt x="1560" y="342"/>
                  </a:lnTo>
                  <a:lnTo>
                    <a:pt x="1572" y="330"/>
                  </a:lnTo>
                  <a:lnTo>
                    <a:pt x="1566" y="324"/>
                  </a:lnTo>
                  <a:lnTo>
                    <a:pt x="1458" y="324"/>
                  </a:lnTo>
                  <a:lnTo>
                    <a:pt x="1452" y="330"/>
                  </a:lnTo>
                  <a:lnTo>
                    <a:pt x="1452" y="348"/>
                  </a:lnTo>
                  <a:lnTo>
                    <a:pt x="1434" y="348"/>
                  </a:lnTo>
                  <a:lnTo>
                    <a:pt x="1422" y="354"/>
                  </a:lnTo>
                  <a:lnTo>
                    <a:pt x="1404" y="354"/>
                  </a:lnTo>
                  <a:lnTo>
                    <a:pt x="1386" y="360"/>
                  </a:lnTo>
                  <a:lnTo>
                    <a:pt x="1338" y="360"/>
                  </a:lnTo>
                  <a:lnTo>
                    <a:pt x="1308" y="366"/>
                  </a:lnTo>
                  <a:lnTo>
                    <a:pt x="1254" y="384"/>
                  </a:lnTo>
                  <a:lnTo>
                    <a:pt x="1254" y="390"/>
                  </a:lnTo>
                  <a:lnTo>
                    <a:pt x="1272" y="396"/>
                  </a:lnTo>
                  <a:lnTo>
                    <a:pt x="1284" y="402"/>
                  </a:lnTo>
                  <a:lnTo>
                    <a:pt x="1314" y="402"/>
                  </a:lnTo>
                  <a:lnTo>
                    <a:pt x="1272" y="420"/>
                  </a:lnTo>
                  <a:lnTo>
                    <a:pt x="1260" y="462"/>
                  </a:lnTo>
                  <a:lnTo>
                    <a:pt x="1272" y="462"/>
                  </a:lnTo>
                  <a:lnTo>
                    <a:pt x="1290" y="468"/>
                  </a:lnTo>
                  <a:lnTo>
                    <a:pt x="1338" y="468"/>
                  </a:lnTo>
                  <a:lnTo>
                    <a:pt x="1350" y="462"/>
                  </a:lnTo>
                  <a:lnTo>
                    <a:pt x="1362" y="462"/>
                  </a:lnTo>
                  <a:lnTo>
                    <a:pt x="1410" y="474"/>
                  </a:lnTo>
                  <a:lnTo>
                    <a:pt x="1422" y="456"/>
                  </a:lnTo>
                  <a:lnTo>
                    <a:pt x="1434" y="474"/>
                  </a:lnTo>
                  <a:lnTo>
                    <a:pt x="1446" y="468"/>
                  </a:lnTo>
                  <a:lnTo>
                    <a:pt x="1452" y="462"/>
                  </a:lnTo>
                  <a:lnTo>
                    <a:pt x="1476" y="450"/>
                  </a:lnTo>
                  <a:lnTo>
                    <a:pt x="1482" y="444"/>
                  </a:lnTo>
                  <a:lnTo>
                    <a:pt x="1494" y="444"/>
                  </a:lnTo>
                  <a:lnTo>
                    <a:pt x="1506" y="450"/>
                  </a:lnTo>
                  <a:lnTo>
                    <a:pt x="1524" y="450"/>
                  </a:lnTo>
                  <a:lnTo>
                    <a:pt x="1536" y="444"/>
                  </a:lnTo>
                  <a:lnTo>
                    <a:pt x="1542" y="438"/>
                  </a:lnTo>
                  <a:lnTo>
                    <a:pt x="1554" y="432"/>
                  </a:lnTo>
                  <a:lnTo>
                    <a:pt x="1560" y="432"/>
                  </a:lnTo>
                  <a:lnTo>
                    <a:pt x="1566" y="426"/>
                  </a:lnTo>
                  <a:lnTo>
                    <a:pt x="1566" y="450"/>
                  </a:lnTo>
                  <a:lnTo>
                    <a:pt x="1560" y="462"/>
                  </a:lnTo>
                  <a:lnTo>
                    <a:pt x="1554" y="468"/>
                  </a:lnTo>
                  <a:lnTo>
                    <a:pt x="1500" y="468"/>
                  </a:lnTo>
                  <a:lnTo>
                    <a:pt x="1506" y="498"/>
                  </a:lnTo>
                  <a:lnTo>
                    <a:pt x="1494" y="504"/>
                  </a:lnTo>
                  <a:lnTo>
                    <a:pt x="1488" y="516"/>
                  </a:lnTo>
                  <a:lnTo>
                    <a:pt x="1476" y="522"/>
                  </a:lnTo>
                  <a:lnTo>
                    <a:pt x="1464" y="534"/>
                  </a:lnTo>
                  <a:lnTo>
                    <a:pt x="1446" y="540"/>
                  </a:lnTo>
                  <a:lnTo>
                    <a:pt x="1380" y="540"/>
                  </a:lnTo>
                  <a:lnTo>
                    <a:pt x="1362" y="522"/>
                  </a:lnTo>
                  <a:lnTo>
                    <a:pt x="1344" y="534"/>
                  </a:lnTo>
                  <a:lnTo>
                    <a:pt x="1344" y="546"/>
                  </a:lnTo>
                  <a:lnTo>
                    <a:pt x="1338" y="546"/>
                  </a:lnTo>
                  <a:lnTo>
                    <a:pt x="1332" y="552"/>
                  </a:lnTo>
                  <a:lnTo>
                    <a:pt x="1320" y="558"/>
                  </a:lnTo>
                  <a:lnTo>
                    <a:pt x="1302" y="564"/>
                  </a:lnTo>
                  <a:lnTo>
                    <a:pt x="1290" y="570"/>
                  </a:lnTo>
                  <a:lnTo>
                    <a:pt x="1266" y="570"/>
                  </a:lnTo>
                  <a:lnTo>
                    <a:pt x="1242" y="558"/>
                  </a:lnTo>
                  <a:lnTo>
                    <a:pt x="1236" y="558"/>
                  </a:lnTo>
                  <a:lnTo>
                    <a:pt x="1140" y="606"/>
                  </a:lnTo>
                  <a:lnTo>
                    <a:pt x="1122" y="624"/>
                  </a:lnTo>
                  <a:lnTo>
                    <a:pt x="1116" y="606"/>
                  </a:lnTo>
                  <a:lnTo>
                    <a:pt x="1080" y="624"/>
                  </a:lnTo>
                  <a:lnTo>
                    <a:pt x="1068" y="624"/>
                  </a:lnTo>
                  <a:lnTo>
                    <a:pt x="1044" y="636"/>
                  </a:lnTo>
                  <a:lnTo>
                    <a:pt x="1020" y="660"/>
                  </a:lnTo>
                  <a:lnTo>
                    <a:pt x="990" y="648"/>
                  </a:lnTo>
                  <a:lnTo>
                    <a:pt x="990" y="672"/>
                  </a:lnTo>
                  <a:lnTo>
                    <a:pt x="984" y="666"/>
                  </a:lnTo>
                  <a:lnTo>
                    <a:pt x="972" y="666"/>
                  </a:lnTo>
                  <a:lnTo>
                    <a:pt x="966" y="672"/>
                  </a:lnTo>
                  <a:lnTo>
                    <a:pt x="966" y="690"/>
                  </a:lnTo>
                  <a:lnTo>
                    <a:pt x="954" y="708"/>
                  </a:lnTo>
                  <a:lnTo>
                    <a:pt x="1014" y="684"/>
                  </a:lnTo>
                  <a:lnTo>
                    <a:pt x="990" y="702"/>
                  </a:lnTo>
                  <a:lnTo>
                    <a:pt x="990" y="714"/>
                  </a:lnTo>
                  <a:lnTo>
                    <a:pt x="972" y="726"/>
                  </a:lnTo>
                  <a:lnTo>
                    <a:pt x="1026" y="726"/>
                  </a:lnTo>
                  <a:lnTo>
                    <a:pt x="1032" y="732"/>
                  </a:lnTo>
                  <a:lnTo>
                    <a:pt x="1032" y="738"/>
                  </a:lnTo>
                  <a:lnTo>
                    <a:pt x="1020" y="744"/>
                  </a:lnTo>
                  <a:lnTo>
                    <a:pt x="984" y="744"/>
                  </a:lnTo>
                  <a:lnTo>
                    <a:pt x="960" y="750"/>
                  </a:lnTo>
                  <a:lnTo>
                    <a:pt x="972" y="738"/>
                  </a:lnTo>
                  <a:lnTo>
                    <a:pt x="960" y="732"/>
                  </a:lnTo>
                  <a:lnTo>
                    <a:pt x="954" y="732"/>
                  </a:lnTo>
                  <a:lnTo>
                    <a:pt x="948" y="738"/>
                  </a:lnTo>
                  <a:lnTo>
                    <a:pt x="936" y="744"/>
                  </a:lnTo>
                  <a:lnTo>
                    <a:pt x="930" y="750"/>
                  </a:lnTo>
                  <a:lnTo>
                    <a:pt x="924" y="750"/>
                  </a:lnTo>
                  <a:lnTo>
                    <a:pt x="918" y="756"/>
                  </a:lnTo>
                  <a:lnTo>
                    <a:pt x="924" y="756"/>
                  </a:lnTo>
                  <a:lnTo>
                    <a:pt x="930" y="762"/>
                  </a:lnTo>
                  <a:lnTo>
                    <a:pt x="930" y="768"/>
                  </a:lnTo>
                  <a:lnTo>
                    <a:pt x="924" y="774"/>
                  </a:lnTo>
                  <a:lnTo>
                    <a:pt x="924" y="780"/>
                  </a:lnTo>
                  <a:lnTo>
                    <a:pt x="918" y="792"/>
                  </a:lnTo>
                  <a:lnTo>
                    <a:pt x="918" y="804"/>
                  </a:lnTo>
                  <a:lnTo>
                    <a:pt x="990" y="804"/>
                  </a:lnTo>
                  <a:lnTo>
                    <a:pt x="1038" y="774"/>
                  </a:lnTo>
                  <a:lnTo>
                    <a:pt x="1104" y="750"/>
                  </a:lnTo>
                  <a:lnTo>
                    <a:pt x="1098" y="750"/>
                  </a:lnTo>
                  <a:lnTo>
                    <a:pt x="1092" y="756"/>
                  </a:lnTo>
                  <a:lnTo>
                    <a:pt x="1080" y="762"/>
                  </a:lnTo>
                  <a:lnTo>
                    <a:pt x="1062" y="768"/>
                  </a:lnTo>
                  <a:lnTo>
                    <a:pt x="1050" y="780"/>
                  </a:lnTo>
                  <a:lnTo>
                    <a:pt x="1038" y="786"/>
                  </a:lnTo>
                  <a:lnTo>
                    <a:pt x="1026" y="798"/>
                  </a:lnTo>
                  <a:lnTo>
                    <a:pt x="1026" y="816"/>
                  </a:lnTo>
                  <a:lnTo>
                    <a:pt x="1020" y="828"/>
                  </a:lnTo>
                  <a:lnTo>
                    <a:pt x="990" y="828"/>
                  </a:lnTo>
                  <a:lnTo>
                    <a:pt x="978" y="834"/>
                  </a:lnTo>
                  <a:lnTo>
                    <a:pt x="972" y="852"/>
                  </a:lnTo>
                  <a:lnTo>
                    <a:pt x="966" y="864"/>
                  </a:lnTo>
                  <a:lnTo>
                    <a:pt x="954" y="870"/>
                  </a:lnTo>
                  <a:lnTo>
                    <a:pt x="942" y="882"/>
                  </a:lnTo>
                  <a:lnTo>
                    <a:pt x="930" y="888"/>
                  </a:lnTo>
                  <a:lnTo>
                    <a:pt x="924" y="894"/>
                  </a:lnTo>
                  <a:lnTo>
                    <a:pt x="978" y="888"/>
                  </a:lnTo>
                  <a:lnTo>
                    <a:pt x="972" y="906"/>
                  </a:lnTo>
                  <a:lnTo>
                    <a:pt x="978" y="894"/>
                  </a:lnTo>
                  <a:lnTo>
                    <a:pt x="990" y="888"/>
                  </a:lnTo>
                  <a:lnTo>
                    <a:pt x="1002" y="876"/>
                  </a:lnTo>
                  <a:lnTo>
                    <a:pt x="1026" y="864"/>
                  </a:lnTo>
                  <a:lnTo>
                    <a:pt x="1038" y="864"/>
                  </a:lnTo>
                  <a:lnTo>
                    <a:pt x="1050" y="870"/>
                  </a:lnTo>
                  <a:lnTo>
                    <a:pt x="1056" y="870"/>
                  </a:lnTo>
                  <a:lnTo>
                    <a:pt x="1056" y="876"/>
                  </a:lnTo>
                  <a:lnTo>
                    <a:pt x="1050" y="876"/>
                  </a:lnTo>
                  <a:lnTo>
                    <a:pt x="1074" y="870"/>
                  </a:lnTo>
                  <a:lnTo>
                    <a:pt x="1068" y="876"/>
                  </a:lnTo>
                  <a:lnTo>
                    <a:pt x="1068" y="906"/>
                  </a:lnTo>
                  <a:lnTo>
                    <a:pt x="1074" y="912"/>
                  </a:lnTo>
                  <a:lnTo>
                    <a:pt x="1092" y="912"/>
                  </a:lnTo>
                  <a:lnTo>
                    <a:pt x="1098" y="900"/>
                  </a:lnTo>
                  <a:lnTo>
                    <a:pt x="1110" y="894"/>
                  </a:lnTo>
                  <a:lnTo>
                    <a:pt x="1116" y="888"/>
                  </a:lnTo>
                  <a:lnTo>
                    <a:pt x="1122" y="876"/>
                  </a:lnTo>
                  <a:lnTo>
                    <a:pt x="1164" y="858"/>
                  </a:lnTo>
                  <a:lnTo>
                    <a:pt x="1176" y="870"/>
                  </a:lnTo>
                  <a:lnTo>
                    <a:pt x="1146" y="870"/>
                  </a:lnTo>
                  <a:lnTo>
                    <a:pt x="1140" y="876"/>
                  </a:lnTo>
                  <a:lnTo>
                    <a:pt x="1140" y="882"/>
                  </a:lnTo>
                  <a:lnTo>
                    <a:pt x="1134" y="888"/>
                  </a:lnTo>
                  <a:lnTo>
                    <a:pt x="1134" y="894"/>
                  </a:lnTo>
                  <a:lnTo>
                    <a:pt x="1152" y="894"/>
                  </a:lnTo>
                  <a:lnTo>
                    <a:pt x="1164" y="888"/>
                  </a:lnTo>
                  <a:lnTo>
                    <a:pt x="1182" y="888"/>
                  </a:lnTo>
                  <a:lnTo>
                    <a:pt x="1200" y="882"/>
                  </a:lnTo>
                  <a:lnTo>
                    <a:pt x="1218" y="882"/>
                  </a:lnTo>
                  <a:lnTo>
                    <a:pt x="1224" y="876"/>
                  </a:lnTo>
                  <a:lnTo>
                    <a:pt x="1230" y="876"/>
                  </a:lnTo>
                  <a:lnTo>
                    <a:pt x="1272" y="858"/>
                  </a:lnTo>
                  <a:lnTo>
                    <a:pt x="1224" y="882"/>
                  </a:lnTo>
                  <a:lnTo>
                    <a:pt x="1224" y="894"/>
                  </a:lnTo>
                  <a:lnTo>
                    <a:pt x="1212" y="894"/>
                  </a:lnTo>
                  <a:lnTo>
                    <a:pt x="1200" y="900"/>
                  </a:lnTo>
                  <a:lnTo>
                    <a:pt x="1188" y="900"/>
                  </a:lnTo>
                  <a:lnTo>
                    <a:pt x="1176" y="906"/>
                  </a:lnTo>
                  <a:lnTo>
                    <a:pt x="1170" y="912"/>
                  </a:lnTo>
                  <a:lnTo>
                    <a:pt x="1158" y="918"/>
                  </a:lnTo>
                  <a:lnTo>
                    <a:pt x="1152" y="930"/>
                  </a:lnTo>
                  <a:lnTo>
                    <a:pt x="1122" y="930"/>
                  </a:lnTo>
                  <a:lnTo>
                    <a:pt x="1086" y="960"/>
                  </a:lnTo>
                  <a:lnTo>
                    <a:pt x="1086" y="978"/>
                  </a:lnTo>
                  <a:lnTo>
                    <a:pt x="1038" y="978"/>
                  </a:lnTo>
                  <a:lnTo>
                    <a:pt x="1032" y="984"/>
                  </a:lnTo>
                  <a:lnTo>
                    <a:pt x="1020" y="984"/>
                  </a:lnTo>
                  <a:lnTo>
                    <a:pt x="1002" y="990"/>
                  </a:lnTo>
                  <a:lnTo>
                    <a:pt x="990" y="996"/>
                  </a:lnTo>
                  <a:lnTo>
                    <a:pt x="978" y="996"/>
                  </a:lnTo>
                  <a:lnTo>
                    <a:pt x="966" y="1008"/>
                  </a:lnTo>
                  <a:lnTo>
                    <a:pt x="966" y="1020"/>
                  </a:lnTo>
                  <a:lnTo>
                    <a:pt x="960" y="1026"/>
                  </a:lnTo>
                  <a:lnTo>
                    <a:pt x="960" y="1038"/>
                  </a:lnTo>
                  <a:lnTo>
                    <a:pt x="876" y="1038"/>
                  </a:lnTo>
                  <a:lnTo>
                    <a:pt x="858" y="1044"/>
                  </a:lnTo>
                  <a:lnTo>
                    <a:pt x="828" y="1062"/>
                  </a:lnTo>
                  <a:lnTo>
                    <a:pt x="804" y="1080"/>
                  </a:lnTo>
                  <a:lnTo>
                    <a:pt x="780" y="1092"/>
                  </a:lnTo>
                  <a:lnTo>
                    <a:pt x="774" y="1098"/>
                  </a:lnTo>
                  <a:lnTo>
                    <a:pt x="750" y="1104"/>
                  </a:lnTo>
                  <a:lnTo>
                    <a:pt x="738" y="1122"/>
                  </a:lnTo>
                  <a:lnTo>
                    <a:pt x="732" y="1104"/>
                  </a:lnTo>
                  <a:lnTo>
                    <a:pt x="672" y="1104"/>
                  </a:lnTo>
                  <a:lnTo>
                    <a:pt x="648" y="1116"/>
                  </a:lnTo>
                  <a:lnTo>
                    <a:pt x="630" y="1122"/>
                  </a:lnTo>
                  <a:lnTo>
                    <a:pt x="624" y="1128"/>
                  </a:lnTo>
                  <a:lnTo>
                    <a:pt x="606" y="1128"/>
                  </a:lnTo>
                  <a:lnTo>
                    <a:pt x="606" y="1140"/>
                  </a:lnTo>
                  <a:lnTo>
                    <a:pt x="576" y="1146"/>
                  </a:lnTo>
                  <a:lnTo>
                    <a:pt x="564" y="1152"/>
                  </a:lnTo>
                  <a:lnTo>
                    <a:pt x="540" y="1152"/>
                  </a:lnTo>
                  <a:lnTo>
                    <a:pt x="516" y="1170"/>
                  </a:lnTo>
                  <a:lnTo>
                    <a:pt x="522" y="1182"/>
                  </a:lnTo>
                  <a:lnTo>
                    <a:pt x="540" y="1164"/>
                  </a:lnTo>
                  <a:lnTo>
                    <a:pt x="558" y="1176"/>
                  </a:lnTo>
                  <a:lnTo>
                    <a:pt x="582" y="1158"/>
                  </a:lnTo>
                  <a:lnTo>
                    <a:pt x="582" y="1170"/>
                  </a:lnTo>
                  <a:lnTo>
                    <a:pt x="594" y="1170"/>
                  </a:lnTo>
                  <a:lnTo>
                    <a:pt x="606" y="1164"/>
                  </a:lnTo>
                  <a:lnTo>
                    <a:pt x="618" y="1164"/>
                  </a:lnTo>
                  <a:lnTo>
                    <a:pt x="642" y="1140"/>
                  </a:lnTo>
                  <a:lnTo>
                    <a:pt x="654" y="1134"/>
                  </a:lnTo>
                  <a:lnTo>
                    <a:pt x="666" y="1122"/>
                  </a:lnTo>
                  <a:lnTo>
                    <a:pt x="684" y="1122"/>
                  </a:lnTo>
                  <a:lnTo>
                    <a:pt x="684" y="1134"/>
                  </a:lnTo>
                  <a:lnTo>
                    <a:pt x="690" y="1140"/>
                  </a:lnTo>
                  <a:lnTo>
                    <a:pt x="708" y="1140"/>
                  </a:lnTo>
                  <a:lnTo>
                    <a:pt x="732" y="1128"/>
                  </a:lnTo>
                  <a:lnTo>
                    <a:pt x="744" y="1128"/>
                  </a:lnTo>
                  <a:lnTo>
                    <a:pt x="756" y="1122"/>
                  </a:lnTo>
                  <a:lnTo>
                    <a:pt x="762" y="1116"/>
                  </a:lnTo>
                  <a:lnTo>
                    <a:pt x="768" y="1116"/>
                  </a:lnTo>
                  <a:lnTo>
                    <a:pt x="804" y="1128"/>
                  </a:lnTo>
                  <a:lnTo>
                    <a:pt x="822" y="1110"/>
                  </a:lnTo>
                  <a:lnTo>
                    <a:pt x="834" y="1110"/>
                  </a:lnTo>
                  <a:lnTo>
                    <a:pt x="852" y="1104"/>
                  </a:lnTo>
                  <a:lnTo>
                    <a:pt x="870" y="1104"/>
                  </a:lnTo>
                  <a:lnTo>
                    <a:pt x="894" y="1092"/>
                  </a:lnTo>
                  <a:lnTo>
                    <a:pt x="918" y="1068"/>
                  </a:lnTo>
                  <a:lnTo>
                    <a:pt x="942" y="1056"/>
                  </a:lnTo>
                  <a:lnTo>
                    <a:pt x="972" y="1056"/>
                  </a:lnTo>
                  <a:lnTo>
                    <a:pt x="978" y="1044"/>
                  </a:lnTo>
                  <a:lnTo>
                    <a:pt x="1014" y="1044"/>
                  </a:lnTo>
                  <a:lnTo>
                    <a:pt x="1026" y="1038"/>
                  </a:lnTo>
                  <a:lnTo>
                    <a:pt x="1032" y="1038"/>
                  </a:lnTo>
                  <a:lnTo>
                    <a:pt x="1038" y="1032"/>
                  </a:lnTo>
                  <a:lnTo>
                    <a:pt x="1050" y="1032"/>
                  </a:lnTo>
                  <a:lnTo>
                    <a:pt x="1086" y="1020"/>
                  </a:lnTo>
                  <a:lnTo>
                    <a:pt x="1110" y="1008"/>
                  </a:lnTo>
                  <a:lnTo>
                    <a:pt x="1122" y="996"/>
                  </a:lnTo>
                  <a:lnTo>
                    <a:pt x="1134" y="990"/>
                  </a:lnTo>
                  <a:lnTo>
                    <a:pt x="1140" y="984"/>
                  </a:lnTo>
                  <a:lnTo>
                    <a:pt x="1206" y="972"/>
                  </a:lnTo>
                  <a:lnTo>
                    <a:pt x="1260" y="942"/>
                  </a:lnTo>
                  <a:lnTo>
                    <a:pt x="1296" y="942"/>
                  </a:lnTo>
                  <a:lnTo>
                    <a:pt x="1314" y="936"/>
                  </a:lnTo>
                  <a:lnTo>
                    <a:pt x="1326" y="936"/>
                  </a:lnTo>
                  <a:lnTo>
                    <a:pt x="1338" y="930"/>
                  </a:lnTo>
                  <a:lnTo>
                    <a:pt x="1368" y="900"/>
                  </a:lnTo>
                  <a:lnTo>
                    <a:pt x="1380" y="900"/>
                  </a:lnTo>
                  <a:lnTo>
                    <a:pt x="1404" y="888"/>
                  </a:lnTo>
                  <a:lnTo>
                    <a:pt x="1416" y="888"/>
                  </a:lnTo>
                  <a:lnTo>
                    <a:pt x="1428" y="882"/>
                  </a:lnTo>
                  <a:lnTo>
                    <a:pt x="1434" y="876"/>
                  </a:lnTo>
                  <a:lnTo>
                    <a:pt x="1434" y="864"/>
                  </a:lnTo>
                  <a:lnTo>
                    <a:pt x="1422" y="864"/>
                  </a:lnTo>
                  <a:lnTo>
                    <a:pt x="1428" y="858"/>
                  </a:lnTo>
                  <a:lnTo>
                    <a:pt x="1452" y="846"/>
                  </a:lnTo>
                  <a:lnTo>
                    <a:pt x="1458" y="840"/>
                  </a:lnTo>
                  <a:lnTo>
                    <a:pt x="1470" y="834"/>
                  </a:lnTo>
                  <a:lnTo>
                    <a:pt x="1476" y="828"/>
                  </a:lnTo>
                  <a:lnTo>
                    <a:pt x="1488" y="828"/>
                  </a:lnTo>
                  <a:lnTo>
                    <a:pt x="1500" y="822"/>
                  </a:lnTo>
                  <a:lnTo>
                    <a:pt x="1512" y="822"/>
                  </a:lnTo>
                  <a:lnTo>
                    <a:pt x="1518" y="816"/>
                  </a:lnTo>
                  <a:lnTo>
                    <a:pt x="1524" y="816"/>
                  </a:lnTo>
                  <a:lnTo>
                    <a:pt x="1596" y="786"/>
                  </a:lnTo>
                  <a:lnTo>
                    <a:pt x="1590" y="768"/>
                  </a:lnTo>
                  <a:lnTo>
                    <a:pt x="1602" y="768"/>
                  </a:lnTo>
                  <a:lnTo>
                    <a:pt x="1608" y="774"/>
                  </a:lnTo>
                  <a:lnTo>
                    <a:pt x="1626" y="774"/>
                  </a:lnTo>
                  <a:lnTo>
                    <a:pt x="1638" y="762"/>
                  </a:lnTo>
                  <a:lnTo>
                    <a:pt x="1650" y="762"/>
                  </a:lnTo>
                  <a:lnTo>
                    <a:pt x="1674" y="750"/>
                  </a:lnTo>
                  <a:lnTo>
                    <a:pt x="1680" y="744"/>
                  </a:lnTo>
                  <a:lnTo>
                    <a:pt x="1704" y="732"/>
                  </a:lnTo>
                  <a:lnTo>
                    <a:pt x="1740" y="720"/>
                  </a:lnTo>
                  <a:lnTo>
                    <a:pt x="1770" y="708"/>
                  </a:lnTo>
                  <a:lnTo>
                    <a:pt x="1794" y="702"/>
                  </a:lnTo>
                  <a:lnTo>
                    <a:pt x="1812" y="702"/>
                  </a:lnTo>
                  <a:lnTo>
                    <a:pt x="1818" y="708"/>
                  </a:lnTo>
                  <a:lnTo>
                    <a:pt x="1842" y="720"/>
                  </a:lnTo>
                  <a:lnTo>
                    <a:pt x="1848" y="726"/>
                  </a:lnTo>
                  <a:lnTo>
                    <a:pt x="1812" y="726"/>
                  </a:lnTo>
                  <a:lnTo>
                    <a:pt x="1794" y="714"/>
                  </a:lnTo>
                  <a:lnTo>
                    <a:pt x="1758" y="738"/>
                  </a:lnTo>
                  <a:lnTo>
                    <a:pt x="1728" y="738"/>
                  </a:lnTo>
                  <a:lnTo>
                    <a:pt x="1722" y="744"/>
                  </a:lnTo>
                  <a:lnTo>
                    <a:pt x="1710" y="750"/>
                  </a:lnTo>
                  <a:lnTo>
                    <a:pt x="1704" y="762"/>
                  </a:lnTo>
                  <a:lnTo>
                    <a:pt x="1692" y="768"/>
                  </a:lnTo>
                  <a:lnTo>
                    <a:pt x="1686" y="774"/>
                  </a:lnTo>
                  <a:lnTo>
                    <a:pt x="1680" y="774"/>
                  </a:lnTo>
                  <a:lnTo>
                    <a:pt x="1668" y="780"/>
                  </a:lnTo>
                  <a:lnTo>
                    <a:pt x="1656" y="780"/>
                  </a:lnTo>
                  <a:lnTo>
                    <a:pt x="1638" y="786"/>
                  </a:lnTo>
                  <a:lnTo>
                    <a:pt x="1614" y="798"/>
                  </a:lnTo>
                  <a:lnTo>
                    <a:pt x="1614" y="804"/>
                  </a:lnTo>
                  <a:lnTo>
                    <a:pt x="1620" y="810"/>
                  </a:lnTo>
                  <a:lnTo>
                    <a:pt x="1632" y="816"/>
                  </a:lnTo>
                  <a:lnTo>
                    <a:pt x="1650" y="816"/>
                  </a:lnTo>
                  <a:lnTo>
                    <a:pt x="1644" y="816"/>
                  </a:lnTo>
                  <a:lnTo>
                    <a:pt x="1638" y="822"/>
                  </a:lnTo>
                  <a:lnTo>
                    <a:pt x="1632" y="822"/>
                  </a:lnTo>
                  <a:lnTo>
                    <a:pt x="1620" y="828"/>
                  </a:lnTo>
                  <a:lnTo>
                    <a:pt x="1572" y="828"/>
                  </a:lnTo>
                  <a:lnTo>
                    <a:pt x="1566" y="834"/>
                  </a:lnTo>
                  <a:lnTo>
                    <a:pt x="1560" y="834"/>
                  </a:lnTo>
                  <a:lnTo>
                    <a:pt x="1560" y="846"/>
                  </a:lnTo>
                  <a:lnTo>
                    <a:pt x="1572" y="858"/>
                  </a:lnTo>
                  <a:lnTo>
                    <a:pt x="1584" y="858"/>
                  </a:lnTo>
                  <a:lnTo>
                    <a:pt x="1596" y="852"/>
                  </a:lnTo>
                  <a:lnTo>
                    <a:pt x="1638" y="834"/>
                  </a:lnTo>
                  <a:lnTo>
                    <a:pt x="1680" y="810"/>
                  </a:lnTo>
                  <a:lnTo>
                    <a:pt x="1722" y="798"/>
                  </a:lnTo>
                  <a:lnTo>
                    <a:pt x="1788" y="798"/>
                  </a:lnTo>
                  <a:lnTo>
                    <a:pt x="1818" y="792"/>
                  </a:lnTo>
                  <a:lnTo>
                    <a:pt x="1824" y="786"/>
                  </a:lnTo>
                  <a:lnTo>
                    <a:pt x="1848" y="774"/>
                  </a:lnTo>
                  <a:lnTo>
                    <a:pt x="1854" y="762"/>
                  </a:lnTo>
                  <a:lnTo>
                    <a:pt x="1866" y="756"/>
                  </a:lnTo>
                  <a:lnTo>
                    <a:pt x="1872" y="750"/>
                  </a:lnTo>
                  <a:lnTo>
                    <a:pt x="1866" y="738"/>
                  </a:lnTo>
                  <a:lnTo>
                    <a:pt x="1878" y="732"/>
                  </a:lnTo>
                  <a:lnTo>
                    <a:pt x="1908" y="720"/>
                  </a:lnTo>
                  <a:lnTo>
                    <a:pt x="1944" y="714"/>
                  </a:lnTo>
                  <a:lnTo>
                    <a:pt x="1962" y="708"/>
                  </a:lnTo>
                  <a:lnTo>
                    <a:pt x="1968" y="708"/>
                  </a:lnTo>
                  <a:lnTo>
                    <a:pt x="1980" y="720"/>
                  </a:lnTo>
                  <a:lnTo>
                    <a:pt x="1980" y="726"/>
                  </a:lnTo>
                  <a:lnTo>
                    <a:pt x="2046" y="702"/>
                  </a:lnTo>
                  <a:lnTo>
                    <a:pt x="2004" y="738"/>
                  </a:lnTo>
                  <a:lnTo>
                    <a:pt x="2022" y="744"/>
                  </a:lnTo>
                  <a:lnTo>
                    <a:pt x="2022" y="762"/>
                  </a:lnTo>
                  <a:lnTo>
                    <a:pt x="2028" y="762"/>
                  </a:lnTo>
                  <a:lnTo>
                    <a:pt x="2034" y="756"/>
                  </a:lnTo>
                  <a:lnTo>
                    <a:pt x="2094" y="726"/>
                  </a:lnTo>
                  <a:lnTo>
                    <a:pt x="2082" y="732"/>
                  </a:lnTo>
                  <a:lnTo>
                    <a:pt x="2076" y="744"/>
                  </a:lnTo>
                  <a:lnTo>
                    <a:pt x="2064" y="750"/>
                  </a:lnTo>
                  <a:lnTo>
                    <a:pt x="2058" y="762"/>
                  </a:lnTo>
                  <a:lnTo>
                    <a:pt x="2046" y="774"/>
                  </a:lnTo>
                  <a:lnTo>
                    <a:pt x="2052" y="780"/>
                  </a:lnTo>
                  <a:lnTo>
                    <a:pt x="2064" y="780"/>
                  </a:lnTo>
                  <a:lnTo>
                    <a:pt x="2076" y="786"/>
                  </a:lnTo>
                  <a:lnTo>
                    <a:pt x="2106" y="786"/>
                  </a:lnTo>
                  <a:lnTo>
                    <a:pt x="2208" y="798"/>
                  </a:lnTo>
                  <a:lnTo>
                    <a:pt x="2238" y="780"/>
                  </a:lnTo>
                  <a:lnTo>
                    <a:pt x="2232" y="786"/>
                  </a:lnTo>
                  <a:lnTo>
                    <a:pt x="2232" y="810"/>
                  </a:lnTo>
                  <a:lnTo>
                    <a:pt x="2298" y="810"/>
                  </a:lnTo>
                  <a:lnTo>
                    <a:pt x="2334" y="804"/>
                  </a:lnTo>
                  <a:lnTo>
                    <a:pt x="2328" y="804"/>
                  </a:lnTo>
                  <a:lnTo>
                    <a:pt x="2322" y="810"/>
                  </a:lnTo>
                  <a:lnTo>
                    <a:pt x="2310" y="810"/>
                  </a:lnTo>
                  <a:lnTo>
                    <a:pt x="2286" y="822"/>
                  </a:lnTo>
                  <a:lnTo>
                    <a:pt x="2280" y="828"/>
                  </a:lnTo>
                  <a:lnTo>
                    <a:pt x="2280" y="834"/>
                  </a:lnTo>
                  <a:lnTo>
                    <a:pt x="2292" y="846"/>
                  </a:lnTo>
                  <a:lnTo>
                    <a:pt x="2304" y="852"/>
                  </a:lnTo>
                  <a:lnTo>
                    <a:pt x="2310" y="858"/>
                  </a:lnTo>
                  <a:lnTo>
                    <a:pt x="2310" y="882"/>
                  </a:lnTo>
                  <a:lnTo>
                    <a:pt x="2316" y="888"/>
                  </a:lnTo>
                  <a:lnTo>
                    <a:pt x="2316" y="900"/>
                  </a:lnTo>
                  <a:lnTo>
                    <a:pt x="2322" y="912"/>
                  </a:lnTo>
                  <a:lnTo>
                    <a:pt x="2358" y="912"/>
                  </a:lnTo>
                  <a:lnTo>
                    <a:pt x="2370" y="906"/>
                  </a:lnTo>
                  <a:lnTo>
                    <a:pt x="2388" y="906"/>
                  </a:lnTo>
                  <a:lnTo>
                    <a:pt x="2382" y="876"/>
                  </a:lnTo>
                  <a:lnTo>
                    <a:pt x="2400" y="870"/>
                  </a:lnTo>
                  <a:lnTo>
                    <a:pt x="2412" y="888"/>
                  </a:lnTo>
                  <a:lnTo>
                    <a:pt x="2442" y="876"/>
                  </a:lnTo>
                  <a:lnTo>
                    <a:pt x="2430" y="888"/>
                  </a:lnTo>
                  <a:lnTo>
                    <a:pt x="2430" y="900"/>
                  </a:lnTo>
                  <a:lnTo>
                    <a:pt x="2424" y="906"/>
                  </a:lnTo>
                  <a:lnTo>
                    <a:pt x="2424" y="912"/>
                  </a:lnTo>
                  <a:lnTo>
                    <a:pt x="2430" y="918"/>
                  </a:lnTo>
                  <a:lnTo>
                    <a:pt x="2436" y="918"/>
                  </a:lnTo>
                  <a:lnTo>
                    <a:pt x="2448" y="912"/>
                  </a:lnTo>
                  <a:lnTo>
                    <a:pt x="2454" y="906"/>
                  </a:lnTo>
                  <a:lnTo>
                    <a:pt x="2460" y="894"/>
                  </a:lnTo>
                  <a:lnTo>
                    <a:pt x="2466" y="888"/>
                  </a:lnTo>
                  <a:lnTo>
                    <a:pt x="2472" y="876"/>
                  </a:lnTo>
                  <a:lnTo>
                    <a:pt x="2502" y="834"/>
                  </a:lnTo>
                  <a:lnTo>
                    <a:pt x="2478" y="900"/>
                  </a:lnTo>
                  <a:lnTo>
                    <a:pt x="2484" y="924"/>
                  </a:lnTo>
                  <a:lnTo>
                    <a:pt x="2520" y="912"/>
                  </a:lnTo>
                  <a:lnTo>
                    <a:pt x="2496" y="936"/>
                  </a:lnTo>
                  <a:lnTo>
                    <a:pt x="2520" y="954"/>
                  </a:lnTo>
                  <a:lnTo>
                    <a:pt x="2502" y="954"/>
                  </a:lnTo>
                  <a:lnTo>
                    <a:pt x="2502" y="972"/>
                  </a:lnTo>
                  <a:lnTo>
                    <a:pt x="2472" y="990"/>
                  </a:lnTo>
                  <a:lnTo>
                    <a:pt x="2454" y="1002"/>
                  </a:lnTo>
                  <a:lnTo>
                    <a:pt x="2484" y="1020"/>
                  </a:lnTo>
                  <a:lnTo>
                    <a:pt x="2478" y="1050"/>
                  </a:lnTo>
                  <a:lnTo>
                    <a:pt x="2460" y="1068"/>
                  </a:lnTo>
                  <a:lnTo>
                    <a:pt x="2478" y="1080"/>
                  </a:lnTo>
                  <a:lnTo>
                    <a:pt x="2460" y="1098"/>
                  </a:lnTo>
                  <a:lnTo>
                    <a:pt x="2490" y="1098"/>
                  </a:lnTo>
                  <a:lnTo>
                    <a:pt x="2526" y="1086"/>
                  </a:lnTo>
                  <a:lnTo>
                    <a:pt x="2496" y="1122"/>
                  </a:lnTo>
                  <a:lnTo>
                    <a:pt x="2478" y="1140"/>
                  </a:lnTo>
                  <a:lnTo>
                    <a:pt x="2502" y="1146"/>
                  </a:lnTo>
                  <a:lnTo>
                    <a:pt x="2454" y="1164"/>
                  </a:lnTo>
                  <a:lnTo>
                    <a:pt x="2436" y="1176"/>
                  </a:lnTo>
                  <a:lnTo>
                    <a:pt x="2454" y="1188"/>
                  </a:lnTo>
                  <a:lnTo>
                    <a:pt x="2454" y="1200"/>
                  </a:lnTo>
                  <a:lnTo>
                    <a:pt x="2472" y="1188"/>
                  </a:lnTo>
                  <a:lnTo>
                    <a:pt x="2490" y="1182"/>
                  </a:lnTo>
                  <a:lnTo>
                    <a:pt x="2502" y="1170"/>
                  </a:lnTo>
                  <a:lnTo>
                    <a:pt x="2514" y="1164"/>
                  </a:lnTo>
                  <a:lnTo>
                    <a:pt x="2532" y="1146"/>
                  </a:lnTo>
                  <a:lnTo>
                    <a:pt x="2538" y="1134"/>
                  </a:lnTo>
                  <a:lnTo>
                    <a:pt x="2538" y="1122"/>
                  </a:lnTo>
                  <a:lnTo>
                    <a:pt x="2550" y="1116"/>
                  </a:lnTo>
                  <a:lnTo>
                    <a:pt x="2562" y="1104"/>
                  </a:lnTo>
                  <a:lnTo>
                    <a:pt x="2574" y="1098"/>
                  </a:lnTo>
                  <a:lnTo>
                    <a:pt x="2574" y="1086"/>
                  </a:lnTo>
                  <a:lnTo>
                    <a:pt x="2568" y="1080"/>
                  </a:lnTo>
                  <a:lnTo>
                    <a:pt x="2562" y="1080"/>
                  </a:lnTo>
                  <a:close/>
                  <a:moveTo>
                    <a:pt x="2394" y="1056"/>
                  </a:moveTo>
                  <a:lnTo>
                    <a:pt x="2400" y="1062"/>
                  </a:lnTo>
                  <a:lnTo>
                    <a:pt x="2418" y="1062"/>
                  </a:lnTo>
                  <a:lnTo>
                    <a:pt x="2436" y="1044"/>
                  </a:lnTo>
                  <a:lnTo>
                    <a:pt x="2460" y="1038"/>
                  </a:lnTo>
                  <a:lnTo>
                    <a:pt x="2454" y="1020"/>
                  </a:lnTo>
                  <a:lnTo>
                    <a:pt x="2430" y="1020"/>
                  </a:lnTo>
                  <a:lnTo>
                    <a:pt x="2418" y="1026"/>
                  </a:lnTo>
                  <a:lnTo>
                    <a:pt x="2412" y="1032"/>
                  </a:lnTo>
                  <a:lnTo>
                    <a:pt x="2406" y="1044"/>
                  </a:lnTo>
                  <a:lnTo>
                    <a:pt x="2394" y="1050"/>
                  </a:lnTo>
                  <a:lnTo>
                    <a:pt x="2394" y="1056"/>
                  </a:lnTo>
                  <a:close/>
                  <a:moveTo>
                    <a:pt x="2376" y="984"/>
                  </a:moveTo>
                  <a:lnTo>
                    <a:pt x="2358" y="984"/>
                  </a:lnTo>
                  <a:lnTo>
                    <a:pt x="2346" y="990"/>
                  </a:lnTo>
                  <a:lnTo>
                    <a:pt x="2334" y="1002"/>
                  </a:lnTo>
                  <a:lnTo>
                    <a:pt x="2334" y="1014"/>
                  </a:lnTo>
                  <a:lnTo>
                    <a:pt x="2322" y="1026"/>
                  </a:lnTo>
                  <a:lnTo>
                    <a:pt x="2322" y="1044"/>
                  </a:lnTo>
                  <a:lnTo>
                    <a:pt x="2310" y="1056"/>
                  </a:lnTo>
                  <a:lnTo>
                    <a:pt x="2310" y="1074"/>
                  </a:lnTo>
                  <a:lnTo>
                    <a:pt x="2316" y="1080"/>
                  </a:lnTo>
                  <a:lnTo>
                    <a:pt x="2322" y="1074"/>
                  </a:lnTo>
                  <a:lnTo>
                    <a:pt x="2328" y="1062"/>
                  </a:lnTo>
                  <a:lnTo>
                    <a:pt x="2340" y="1050"/>
                  </a:lnTo>
                  <a:lnTo>
                    <a:pt x="2352" y="1044"/>
                  </a:lnTo>
                  <a:lnTo>
                    <a:pt x="2376" y="1020"/>
                  </a:lnTo>
                  <a:lnTo>
                    <a:pt x="2382" y="1008"/>
                  </a:lnTo>
                  <a:lnTo>
                    <a:pt x="2382" y="990"/>
                  </a:lnTo>
                  <a:lnTo>
                    <a:pt x="2376" y="984"/>
                  </a:lnTo>
                  <a:close/>
                  <a:moveTo>
                    <a:pt x="786" y="810"/>
                  </a:moveTo>
                  <a:lnTo>
                    <a:pt x="798" y="810"/>
                  </a:lnTo>
                  <a:lnTo>
                    <a:pt x="834" y="798"/>
                  </a:lnTo>
                  <a:lnTo>
                    <a:pt x="858" y="786"/>
                  </a:lnTo>
                  <a:lnTo>
                    <a:pt x="864" y="780"/>
                  </a:lnTo>
                  <a:lnTo>
                    <a:pt x="870" y="780"/>
                  </a:lnTo>
                  <a:lnTo>
                    <a:pt x="864" y="774"/>
                  </a:lnTo>
                  <a:lnTo>
                    <a:pt x="828" y="762"/>
                  </a:lnTo>
                  <a:lnTo>
                    <a:pt x="810" y="762"/>
                  </a:lnTo>
                  <a:lnTo>
                    <a:pt x="798" y="768"/>
                  </a:lnTo>
                  <a:lnTo>
                    <a:pt x="792" y="774"/>
                  </a:lnTo>
                  <a:lnTo>
                    <a:pt x="786" y="768"/>
                  </a:lnTo>
                  <a:lnTo>
                    <a:pt x="774" y="768"/>
                  </a:lnTo>
                  <a:lnTo>
                    <a:pt x="768" y="774"/>
                  </a:lnTo>
                  <a:lnTo>
                    <a:pt x="768" y="804"/>
                  </a:lnTo>
                  <a:lnTo>
                    <a:pt x="774" y="810"/>
                  </a:lnTo>
                  <a:lnTo>
                    <a:pt x="786" y="810"/>
                  </a:lnTo>
                  <a:close/>
                  <a:moveTo>
                    <a:pt x="0" y="1332"/>
                  </a:moveTo>
                  <a:lnTo>
                    <a:pt x="60" y="1320"/>
                  </a:lnTo>
                  <a:lnTo>
                    <a:pt x="72" y="1302"/>
                  </a:lnTo>
                  <a:lnTo>
                    <a:pt x="132" y="1296"/>
                  </a:lnTo>
                  <a:lnTo>
                    <a:pt x="114" y="1272"/>
                  </a:lnTo>
                  <a:lnTo>
                    <a:pt x="0" y="1332"/>
                  </a:lnTo>
                  <a:close/>
                  <a:moveTo>
                    <a:pt x="1362" y="954"/>
                  </a:moveTo>
                  <a:lnTo>
                    <a:pt x="1350" y="954"/>
                  </a:lnTo>
                  <a:lnTo>
                    <a:pt x="1338" y="960"/>
                  </a:lnTo>
                  <a:lnTo>
                    <a:pt x="1332" y="954"/>
                  </a:lnTo>
                  <a:lnTo>
                    <a:pt x="1314" y="954"/>
                  </a:lnTo>
                  <a:lnTo>
                    <a:pt x="1314" y="978"/>
                  </a:lnTo>
                  <a:lnTo>
                    <a:pt x="1290" y="996"/>
                  </a:lnTo>
                  <a:lnTo>
                    <a:pt x="1290" y="972"/>
                  </a:lnTo>
                  <a:lnTo>
                    <a:pt x="1278" y="966"/>
                  </a:lnTo>
                  <a:lnTo>
                    <a:pt x="1272" y="966"/>
                  </a:lnTo>
                  <a:lnTo>
                    <a:pt x="1248" y="978"/>
                  </a:lnTo>
                  <a:lnTo>
                    <a:pt x="1242" y="978"/>
                  </a:lnTo>
                  <a:lnTo>
                    <a:pt x="1230" y="990"/>
                  </a:lnTo>
                  <a:lnTo>
                    <a:pt x="1224" y="1002"/>
                  </a:lnTo>
                  <a:lnTo>
                    <a:pt x="1218" y="1008"/>
                  </a:lnTo>
                  <a:lnTo>
                    <a:pt x="1218" y="1014"/>
                  </a:lnTo>
                  <a:lnTo>
                    <a:pt x="1224" y="1014"/>
                  </a:lnTo>
                  <a:lnTo>
                    <a:pt x="1230" y="1020"/>
                  </a:lnTo>
                  <a:lnTo>
                    <a:pt x="1278" y="1020"/>
                  </a:lnTo>
                  <a:lnTo>
                    <a:pt x="1296" y="1014"/>
                  </a:lnTo>
                  <a:lnTo>
                    <a:pt x="1308" y="1014"/>
                  </a:lnTo>
                  <a:lnTo>
                    <a:pt x="1320" y="1008"/>
                  </a:lnTo>
                  <a:lnTo>
                    <a:pt x="1320" y="996"/>
                  </a:lnTo>
                  <a:lnTo>
                    <a:pt x="1350" y="990"/>
                  </a:lnTo>
                  <a:lnTo>
                    <a:pt x="1350" y="984"/>
                  </a:lnTo>
                  <a:lnTo>
                    <a:pt x="1386" y="978"/>
                  </a:lnTo>
                  <a:lnTo>
                    <a:pt x="1398" y="954"/>
                  </a:lnTo>
                  <a:lnTo>
                    <a:pt x="1380" y="960"/>
                  </a:lnTo>
                  <a:lnTo>
                    <a:pt x="1374" y="954"/>
                  </a:lnTo>
                  <a:lnTo>
                    <a:pt x="1362" y="954"/>
                  </a:lnTo>
                  <a:close/>
                  <a:moveTo>
                    <a:pt x="162" y="1290"/>
                  </a:moveTo>
                  <a:lnTo>
                    <a:pt x="204" y="1290"/>
                  </a:lnTo>
                  <a:lnTo>
                    <a:pt x="240" y="1260"/>
                  </a:lnTo>
                  <a:lnTo>
                    <a:pt x="228" y="1242"/>
                  </a:lnTo>
                  <a:lnTo>
                    <a:pt x="162" y="1290"/>
                  </a:lnTo>
                  <a:close/>
                  <a:moveTo>
                    <a:pt x="2466" y="1140"/>
                  </a:moveTo>
                  <a:lnTo>
                    <a:pt x="2472" y="1128"/>
                  </a:lnTo>
                  <a:lnTo>
                    <a:pt x="2454" y="1110"/>
                  </a:lnTo>
                  <a:lnTo>
                    <a:pt x="2448" y="1110"/>
                  </a:lnTo>
                  <a:lnTo>
                    <a:pt x="2436" y="1122"/>
                  </a:lnTo>
                  <a:lnTo>
                    <a:pt x="2430" y="1134"/>
                  </a:lnTo>
                  <a:lnTo>
                    <a:pt x="2424" y="1152"/>
                  </a:lnTo>
                  <a:lnTo>
                    <a:pt x="2418" y="1164"/>
                  </a:lnTo>
                  <a:lnTo>
                    <a:pt x="2418" y="1176"/>
                  </a:lnTo>
                  <a:lnTo>
                    <a:pt x="2436" y="1158"/>
                  </a:lnTo>
                  <a:lnTo>
                    <a:pt x="2454" y="1158"/>
                  </a:lnTo>
                  <a:lnTo>
                    <a:pt x="2460" y="1152"/>
                  </a:lnTo>
                  <a:lnTo>
                    <a:pt x="2466" y="1140"/>
                  </a:lnTo>
                  <a:close/>
                  <a:moveTo>
                    <a:pt x="1428" y="912"/>
                  </a:moveTo>
                  <a:lnTo>
                    <a:pt x="1404" y="924"/>
                  </a:lnTo>
                  <a:lnTo>
                    <a:pt x="1386" y="942"/>
                  </a:lnTo>
                  <a:lnTo>
                    <a:pt x="1386" y="948"/>
                  </a:lnTo>
                  <a:lnTo>
                    <a:pt x="1398" y="954"/>
                  </a:lnTo>
                  <a:lnTo>
                    <a:pt x="1410" y="954"/>
                  </a:lnTo>
                  <a:lnTo>
                    <a:pt x="1422" y="948"/>
                  </a:lnTo>
                  <a:lnTo>
                    <a:pt x="1428" y="948"/>
                  </a:lnTo>
                  <a:lnTo>
                    <a:pt x="1440" y="942"/>
                  </a:lnTo>
                  <a:lnTo>
                    <a:pt x="1446" y="930"/>
                  </a:lnTo>
                  <a:lnTo>
                    <a:pt x="1470" y="930"/>
                  </a:lnTo>
                  <a:lnTo>
                    <a:pt x="1470" y="924"/>
                  </a:lnTo>
                  <a:lnTo>
                    <a:pt x="1458" y="912"/>
                  </a:lnTo>
                  <a:lnTo>
                    <a:pt x="1452" y="912"/>
                  </a:lnTo>
                  <a:lnTo>
                    <a:pt x="1440" y="906"/>
                  </a:lnTo>
                  <a:lnTo>
                    <a:pt x="1428" y="912"/>
                  </a:lnTo>
                  <a:close/>
                  <a:moveTo>
                    <a:pt x="498" y="1164"/>
                  </a:moveTo>
                  <a:lnTo>
                    <a:pt x="486" y="1164"/>
                  </a:lnTo>
                  <a:lnTo>
                    <a:pt x="474" y="1170"/>
                  </a:lnTo>
                  <a:lnTo>
                    <a:pt x="462" y="1170"/>
                  </a:lnTo>
                  <a:lnTo>
                    <a:pt x="450" y="1176"/>
                  </a:lnTo>
                  <a:lnTo>
                    <a:pt x="444" y="1182"/>
                  </a:lnTo>
                  <a:lnTo>
                    <a:pt x="432" y="1182"/>
                  </a:lnTo>
                  <a:lnTo>
                    <a:pt x="426" y="1188"/>
                  </a:lnTo>
                  <a:lnTo>
                    <a:pt x="414" y="1188"/>
                  </a:lnTo>
                  <a:lnTo>
                    <a:pt x="390" y="1200"/>
                  </a:lnTo>
                  <a:lnTo>
                    <a:pt x="384" y="1206"/>
                  </a:lnTo>
                  <a:lnTo>
                    <a:pt x="384" y="1218"/>
                  </a:lnTo>
                  <a:lnTo>
                    <a:pt x="402" y="1218"/>
                  </a:lnTo>
                  <a:lnTo>
                    <a:pt x="420" y="1212"/>
                  </a:lnTo>
                  <a:lnTo>
                    <a:pt x="432" y="1206"/>
                  </a:lnTo>
                  <a:lnTo>
                    <a:pt x="504" y="1206"/>
                  </a:lnTo>
                  <a:lnTo>
                    <a:pt x="510" y="1200"/>
                  </a:lnTo>
                  <a:lnTo>
                    <a:pt x="510" y="1176"/>
                  </a:lnTo>
                  <a:lnTo>
                    <a:pt x="498" y="1164"/>
                  </a:lnTo>
                  <a:close/>
                  <a:moveTo>
                    <a:pt x="330" y="1242"/>
                  </a:moveTo>
                  <a:lnTo>
                    <a:pt x="330" y="1224"/>
                  </a:lnTo>
                  <a:lnTo>
                    <a:pt x="276" y="1242"/>
                  </a:lnTo>
                  <a:lnTo>
                    <a:pt x="330" y="1242"/>
                  </a:lnTo>
                  <a:close/>
                </a:path>
              </a:pathLst>
            </a:custGeom>
            <a:grpFill/>
            <a:ln w="3175">
              <a:solidFill>
                <a:schemeClr val="bg1"/>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de-DE" sz="1800" b="0" i="0" u="none" strike="noStrike" kern="1200" cap="none" spc="0" normalizeH="0" baseline="0" noProof="0" dirty="0">
                <a:ln>
                  <a:noFill/>
                </a:ln>
                <a:solidFill>
                  <a:srgbClr val="FFC000"/>
                </a:solidFill>
                <a:effectLst/>
                <a:uLnTx/>
                <a:uFillTx/>
                <a:latin typeface="Calibri" pitchFamily="34" charset="0"/>
                <a:ea typeface="+mn-ea"/>
                <a:cs typeface="+mn-cs"/>
              </a:endParaRPr>
            </a:p>
          </p:txBody>
        </p:sp>
        <p:sp>
          <p:nvSpPr>
            <p:cNvPr id="24" name="Zimbabwe" descr="© INSCALE GmbH, 05.05.2010&#10;http://www.presentationload.com/"/>
            <p:cNvSpPr>
              <a:spLocks/>
            </p:cNvSpPr>
            <p:nvPr/>
          </p:nvSpPr>
          <p:spPr bwMode="gray">
            <a:xfrm>
              <a:off x="5045508" y="4695727"/>
              <a:ext cx="177898" cy="171471"/>
            </a:xfrm>
            <a:custGeom>
              <a:avLst/>
              <a:gdLst>
                <a:gd name="T0" fmla="*/ 2147483647 w 552"/>
                <a:gd name="T1" fmla="*/ 2147483647 h 552"/>
                <a:gd name="T2" fmla="*/ 2147483647 w 552"/>
                <a:gd name="T3" fmla="*/ 2147483647 h 552"/>
                <a:gd name="T4" fmla="*/ 2147483647 w 552"/>
                <a:gd name="T5" fmla="*/ 2147483647 h 552"/>
                <a:gd name="T6" fmla="*/ 2147483647 w 552"/>
                <a:gd name="T7" fmla="*/ 2147483647 h 552"/>
                <a:gd name="T8" fmla="*/ 2147483647 w 552"/>
                <a:gd name="T9" fmla="*/ 2147483647 h 552"/>
                <a:gd name="T10" fmla="*/ 2147483647 w 552"/>
                <a:gd name="T11" fmla="*/ 2147483647 h 552"/>
                <a:gd name="T12" fmla="*/ 2147483647 w 552"/>
                <a:gd name="T13" fmla="*/ 2147483647 h 552"/>
                <a:gd name="T14" fmla="*/ 2147483647 w 552"/>
                <a:gd name="T15" fmla="*/ 2147483647 h 552"/>
                <a:gd name="T16" fmla="*/ 2147483647 w 552"/>
                <a:gd name="T17" fmla="*/ 2147483647 h 552"/>
                <a:gd name="T18" fmla="*/ 2147483647 w 552"/>
                <a:gd name="T19" fmla="*/ 2147483647 h 552"/>
                <a:gd name="T20" fmla="*/ 2147483647 w 552"/>
                <a:gd name="T21" fmla="*/ 2147483647 h 552"/>
                <a:gd name="T22" fmla="*/ 2147483647 w 552"/>
                <a:gd name="T23" fmla="*/ 2147483647 h 552"/>
                <a:gd name="T24" fmla="*/ 2147483647 w 552"/>
                <a:gd name="T25" fmla="*/ 2147483647 h 552"/>
                <a:gd name="T26" fmla="*/ 2147483647 w 552"/>
                <a:gd name="T27" fmla="*/ 2147483647 h 552"/>
                <a:gd name="T28" fmla="*/ 2147483647 w 552"/>
                <a:gd name="T29" fmla="*/ 2147483647 h 552"/>
                <a:gd name="T30" fmla="*/ 2147483647 w 552"/>
                <a:gd name="T31" fmla="*/ 2147483647 h 552"/>
                <a:gd name="T32" fmla="*/ 2147483647 w 552"/>
                <a:gd name="T33" fmla="*/ 2147483647 h 552"/>
                <a:gd name="T34" fmla="*/ 2147483647 w 552"/>
                <a:gd name="T35" fmla="*/ 2147483647 h 552"/>
                <a:gd name="T36" fmla="*/ 2147483647 w 552"/>
                <a:gd name="T37" fmla="*/ 2147483647 h 552"/>
                <a:gd name="T38" fmla="*/ 2147483647 w 552"/>
                <a:gd name="T39" fmla="*/ 2147483647 h 552"/>
                <a:gd name="T40" fmla="*/ 2147483647 w 552"/>
                <a:gd name="T41" fmla="*/ 2147483647 h 552"/>
                <a:gd name="T42" fmla="*/ 2147483647 w 552"/>
                <a:gd name="T43" fmla="*/ 2147483647 h 552"/>
                <a:gd name="T44" fmla="*/ 2147483647 w 552"/>
                <a:gd name="T45" fmla="*/ 2147483647 h 552"/>
                <a:gd name="T46" fmla="*/ 2147483647 w 552"/>
                <a:gd name="T47" fmla="*/ 2147483647 h 552"/>
                <a:gd name="T48" fmla="*/ 2147483647 w 552"/>
                <a:gd name="T49" fmla="*/ 2147483647 h 552"/>
                <a:gd name="T50" fmla="*/ 2147483647 w 552"/>
                <a:gd name="T51" fmla="*/ 2147483647 h 552"/>
                <a:gd name="T52" fmla="*/ 2147483647 w 552"/>
                <a:gd name="T53" fmla="*/ 2147483647 h 552"/>
                <a:gd name="T54" fmla="*/ 2147483647 w 552"/>
                <a:gd name="T55" fmla="*/ 2147483647 h 552"/>
                <a:gd name="T56" fmla="*/ 2147483647 w 552"/>
                <a:gd name="T57" fmla="*/ 2147483647 h 552"/>
                <a:gd name="T58" fmla="*/ 2147483647 w 552"/>
                <a:gd name="T59" fmla="*/ 2147483647 h 552"/>
                <a:gd name="T60" fmla="*/ 2147483647 w 552"/>
                <a:gd name="T61" fmla="*/ 2147483647 h 552"/>
                <a:gd name="T62" fmla="*/ 2147483647 w 552"/>
                <a:gd name="T63" fmla="*/ 2147483647 h 552"/>
                <a:gd name="T64" fmla="*/ 2147483647 w 552"/>
                <a:gd name="T65" fmla="*/ 2147483647 h 552"/>
                <a:gd name="T66" fmla="*/ 2147483647 w 552"/>
                <a:gd name="T67" fmla="*/ 2147483647 h 552"/>
                <a:gd name="T68" fmla="*/ 2147483647 w 552"/>
                <a:gd name="T69" fmla="*/ 2147483647 h 552"/>
                <a:gd name="T70" fmla="*/ 2147483647 w 552"/>
                <a:gd name="T71" fmla="*/ 2147483647 h 552"/>
                <a:gd name="T72" fmla="*/ 2147483647 w 552"/>
                <a:gd name="T73" fmla="*/ 2147483647 h 552"/>
                <a:gd name="T74" fmla="*/ 2147483647 w 552"/>
                <a:gd name="T75" fmla="*/ 0 h 552"/>
                <a:gd name="T76" fmla="*/ 2147483647 w 552"/>
                <a:gd name="T77" fmla="*/ 2147483647 h 552"/>
                <a:gd name="T78" fmla="*/ 2147483647 w 552"/>
                <a:gd name="T79" fmla="*/ 2147483647 h 552"/>
                <a:gd name="T80" fmla="*/ 2147483647 w 552"/>
                <a:gd name="T81" fmla="*/ 2147483647 h 552"/>
                <a:gd name="T82" fmla="*/ 2147483647 w 552"/>
                <a:gd name="T83" fmla="*/ 2147483647 h 552"/>
                <a:gd name="T84" fmla="*/ 2147483647 w 552"/>
                <a:gd name="T85" fmla="*/ 2147483647 h 552"/>
                <a:gd name="T86" fmla="*/ 2147483647 w 552"/>
                <a:gd name="T87" fmla="*/ 2147483647 h 552"/>
                <a:gd name="T88" fmla="*/ 2147483647 w 552"/>
                <a:gd name="T89" fmla="*/ 2147483647 h 552"/>
                <a:gd name="T90" fmla="*/ 2147483647 w 552"/>
                <a:gd name="T91" fmla="*/ 2147483647 h 552"/>
                <a:gd name="T92" fmla="*/ 2147483647 w 552"/>
                <a:gd name="T93" fmla="*/ 2147483647 h 552"/>
                <a:gd name="T94" fmla="*/ 2147483647 w 552"/>
                <a:gd name="T95" fmla="*/ 2147483647 h 552"/>
                <a:gd name="T96" fmla="*/ 2147483647 w 552"/>
                <a:gd name="T97" fmla="*/ 2147483647 h 552"/>
                <a:gd name="T98" fmla="*/ 2147483647 w 552"/>
                <a:gd name="T99" fmla="*/ 2147483647 h 552"/>
                <a:gd name="T100" fmla="*/ 2147483647 w 552"/>
                <a:gd name="T101" fmla="*/ 2147483647 h 552"/>
                <a:gd name="T102" fmla="*/ 2147483647 w 552"/>
                <a:gd name="T103" fmla="*/ 2147483647 h 552"/>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552"/>
                <a:gd name="T157" fmla="*/ 0 h 552"/>
                <a:gd name="T158" fmla="*/ 552 w 552"/>
                <a:gd name="T159" fmla="*/ 552 h 552"/>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552" h="552">
                  <a:moveTo>
                    <a:pt x="18" y="204"/>
                  </a:moveTo>
                  <a:lnTo>
                    <a:pt x="18" y="234"/>
                  </a:lnTo>
                  <a:lnTo>
                    <a:pt x="30" y="234"/>
                  </a:lnTo>
                  <a:lnTo>
                    <a:pt x="36" y="240"/>
                  </a:lnTo>
                  <a:lnTo>
                    <a:pt x="48" y="264"/>
                  </a:lnTo>
                  <a:lnTo>
                    <a:pt x="54" y="270"/>
                  </a:lnTo>
                  <a:lnTo>
                    <a:pt x="54" y="294"/>
                  </a:lnTo>
                  <a:lnTo>
                    <a:pt x="72" y="330"/>
                  </a:lnTo>
                  <a:lnTo>
                    <a:pt x="84" y="336"/>
                  </a:lnTo>
                  <a:lnTo>
                    <a:pt x="102" y="354"/>
                  </a:lnTo>
                  <a:lnTo>
                    <a:pt x="132" y="354"/>
                  </a:lnTo>
                  <a:lnTo>
                    <a:pt x="138" y="360"/>
                  </a:lnTo>
                  <a:lnTo>
                    <a:pt x="138" y="390"/>
                  </a:lnTo>
                  <a:lnTo>
                    <a:pt x="168" y="390"/>
                  </a:lnTo>
                  <a:lnTo>
                    <a:pt x="174" y="414"/>
                  </a:lnTo>
                  <a:lnTo>
                    <a:pt x="168" y="420"/>
                  </a:lnTo>
                  <a:lnTo>
                    <a:pt x="168" y="450"/>
                  </a:lnTo>
                  <a:lnTo>
                    <a:pt x="186" y="450"/>
                  </a:lnTo>
                  <a:lnTo>
                    <a:pt x="186" y="480"/>
                  </a:lnTo>
                  <a:lnTo>
                    <a:pt x="198" y="480"/>
                  </a:lnTo>
                  <a:lnTo>
                    <a:pt x="216" y="486"/>
                  </a:lnTo>
                  <a:lnTo>
                    <a:pt x="228" y="486"/>
                  </a:lnTo>
                  <a:lnTo>
                    <a:pt x="246" y="492"/>
                  </a:lnTo>
                  <a:lnTo>
                    <a:pt x="264" y="510"/>
                  </a:lnTo>
                  <a:lnTo>
                    <a:pt x="270" y="522"/>
                  </a:lnTo>
                  <a:lnTo>
                    <a:pt x="270" y="528"/>
                  </a:lnTo>
                  <a:lnTo>
                    <a:pt x="252" y="528"/>
                  </a:lnTo>
                  <a:lnTo>
                    <a:pt x="312" y="528"/>
                  </a:lnTo>
                  <a:lnTo>
                    <a:pt x="324" y="534"/>
                  </a:lnTo>
                  <a:lnTo>
                    <a:pt x="330" y="534"/>
                  </a:lnTo>
                  <a:lnTo>
                    <a:pt x="342" y="540"/>
                  </a:lnTo>
                  <a:lnTo>
                    <a:pt x="402" y="540"/>
                  </a:lnTo>
                  <a:lnTo>
                    <a:pt x="420" y="552"/>
                  </a:lnTo>
                  <a:lnTo>
                    <a:pt x="486" y="468"/>
                  </a:lnTo>
                  <a:lnTo>
                    <a:pt x="504" y="462"/>
                  </a:lnTo>
                  <a:lnTo>
                    <a:pt x="492" y="444"/>
                  </a:lnTo>
                  <a:lnTo>
                    <a:pt x="504" y="432"/>
                  </a:lnTo>
                  <a:lnTo>
                    <a:pt x="504" y="402"/>
                  </a:lnTo>
                  <a:lnTo>
                    <a:pt x="516" y="396"/>
                  </a:lnTo>
                  <a:lnTo>
                    <a:pt x="528" y="384"/>
                  </a:lnTo>
                  <a:lnTo>
                    <a:pt x="528" y="372"/>
                  </a:lnTo>
                  <a:lnTo>
                    <a:pt x="540" y="360"/>
                  </a:lnTo>
                  <a:lnTo>
                    <a:pt x="546" y="348"/>
                  </a:lnTo>
                  <a:lnTo>
                    <a:pt x="546" y="342"/>
                  </a:lnTo>
                  <a:lnTo>
                    <a:pt x="522" y="318"/>
                  </a:lnTo>
                  <a:lnTo>
                    <a:pt x="522" y="306"/>
                  </a:lnTo>
                  <a:lnTo>
                    <a:pt x="540" y="288"/>
                  </a:lnTo>
                  <a:lnTo>
                    <a:pt x="522" y="264"/>
                  </a:lnTo>
                  <a:lnTo>
                    <a:pt x="540" y="252"/>
                  </a:lnTo>
                  <a:lnTo>
                    <a:pt x="540" y="240"/>
                  </a:lnTo>
                  <a:lnTo>
                    <a:pt x="546" y="240"/>
                  </a:lnTo>
                  <a:lnTo>
                    <a:pt x="546" y="234"/>
                  </a:lnTo>
                  <a:lnTo>
                    <a:pt x="552" y="228"/>
                  </a:lnTo>
                  <a:lnTo>
                    <a:pt x="552" y="216"/>
                  </a:lnTo>
                  <a:lnTo>
                    <a:pt x="540" y="192"/>
                  </a:lnTo>
                  <a:lnTo>
                    <a:pt x="540" y="180"/>
                  </a:lnTo>
                  <a:lnTo>
                    <a:pt x="546" y="174"/>
                  </a:lnTo>
                  <a:lnTo>
                    <a:pt x="546" y="168"/>
                  </a:lnTo>
                  <a:lnTo>
                    <a:pt x="552" y="162"/>
                  </a:lnTo>
                  <a:lnTo>
                    <a:pt x="540" y="150"/>
                  </a:lnTo>
                  <a:lnTo>
                    <a:pt x="552" y="138"/>
                  </a:lnTo>
                  <a:lnTo>
                    <a:pt x="540" y="120"/>
                  </a:lnTo>
                  <a:lnTo>
                    <a:pt x="546" y="114"/>
                  </a:lnTo>
                  <a:lnTo>
                    <a:pt x="552" y="102"/>
                  </a:lnTo>
                  <a:lnTo>
                    <a:pt x="552" y="96"/>
                  </a:lnTo>
                  <a:lnTo>
                    <a:pt x="540" y="84"/>
                  </a:lnTo>
                  <a:lnTo>
                    <a:pt x="528" y="84"/>
                  </a:lnTo>
                  <a:lnTo>
                    <a:pt x="510" y="66"/>
                  </a:lnTo>
                  <a:lnTo>
                    <a:pt x="498" y="66"/>
                  </a:lnTo>
                  <a:lnTo>
                    <a:pt x="486" y="72"/>
                  </a:lnTo>
                  <a:lnTo>
                    <a:pt x="480" y="72"/>
                  </a:lnTo>
                  <a:lnTo>
                    <a:pt x="462" y="48"/>
                  </a:lnTo>
                  <a:lnTo>
                    <a:pt x="444" y="48"/>
                  </a:lnTo>
                  <a:lnTo>
                    <a:pt x="432" y="30"/>
                  </a:lnTo>
                  <a:lnTo>
                    <a:pt x="372" y="30"/>
                  </a:lnTo>
                  <a:lnTo>
                    <a:pt x="366" y="0"/>
                  </a:lnTo>
                  <a:lnTo>
                    <a:pt x="330" y="0"/>
                  </a:lnTo>
                  <a:lnTo>
                    <a:pt x="294" y="12"/>
                  </a:lnTo>
                  <a:lnTo>
                    <a:pt x="282" y="24"/>
                  </a:lnTo>
                  <a:lnTo>
                    <a:pt x="258" y="36"/>
                  </a:lnTo>
                  <a:lnTo>
                    <a:pt x="258" y="72"/>
                  </a:lnTo>
                  <a:lnTo>
                    <a:pt x="252" y="78"/>
                  </a:lnTo>
                  <a:lnTo>
                    <a:pt x="240" y="78"/>
                  </a:lnTo>
                  <a:lnTo>
                    <a:pt x="228" y="84"/>
                  </a:lnTo>
                  <a:lnTo>
                    <a:pt x="210" y="90"/>
                  </a:lnTo>
                  <a:lnTo>
                    <a:pt x="198" y="96"/>
                  </a:lnTo>
                  <a:lnTo>
                    <a:pt x="192" y="102"/>
                  </a:lnTo>
                  <a:lnTo>
                    <a:pt x="180" y="126"/>
                  </a:lnTo>
                  <a:lnTo>
                    <a:pt x="174" y="132"/>
                  </a:lnTo>
                  <a:lnTo>
                    <a:pt x="174" y="138"/>
                  </a:lnTo>
                  <a:lnTo>
                    <a:pt x="168" y="144"/>
                  </a:lnTo>
                  <a:lnTo>
                    <a:pt x="162" y="156"/>
                  </a:lnTo>
                  <a:lnTo>
                    <a:pt x="132" y="186"/>
                  </a:lnTo>
                  <a:lnTo>
                    <a:pt x="108" y="198"/>
                  </a:lnTo>
                  <a:lnTo>
                    <a:pt x="90" y="198"/>
                  </a:lnTo>
                  <a:lnTo>
                    <a:pt x="90" y="192"/>
                  </a:lnTo>
                  <a:lnTo>
                    <a:pt x="78" y="180"/>
                  </a:lnTo>
                  <a:lnTo>
                    <a:pt x="66" y="180"/>
                  </a:lnTo>
                  <a:lnTo>
                    <a:pt x="66" y="192"/>
                  </a:lnTo>
                  <a:lnTo>
                    <a:pt x="54" y="192"/>
                  </a:lnTo>
                  <a:lnTo>
                    <a:pt x="42" y="180"/>
                  </a:lnTo>
                  <a:lnTo>
                    <a:pt x="42" y="174"/>
                  </a:lnTo>
                  <a:lnTo>
                    <a:pt x="0" y="174"/>
                  </a:lnTo>
                  <a:lnTo>
                    <a:pt x="6" y="192"/>
                  </a:lnTo>
                  <a:lnTo>
                    <a:pt x="18" y="204"/>
                  </a:lnTo>
                  <a:close/>
                </a:path>
              </a:pathLst>
            </a:custGeom>
            <a:grpFill/>
            <a:ln w="3175">
              <a:solidFill>
                <a:schemeClr val="bg1"/>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de-DE" sz="1800" b="0" i="0" u="none" strike="noStrike" kern="1200" cap="none" spc="0" normalizeH="0" baseline="0" noProof="0">
                <a:ln>
                  <a:noFill/>
                </a:ln>
                <a:solidFill>
                  <a:srgbClr val="FFC000"/>
                </a:solidFill>
                <a:effectLst/>
                <a:uLnTx/>
                <a:uFillTx/>
                <a:latin typeface="Calibri" pitchFamily="34" charset="0"/>
                <a:ea typeface="+mn-ea"/>
                <a:cs typeface="+mn-cs"/>
              </a:endParaRPr>
            </a:p>
          </p:txBody>
        </p:sp>
        <p:sp>
          <p:nvSpPr>
            <p:cNvPr id="25" name="Zambia" descr="© INSCALE GmbH, 05.05.2010&#10;http://www.presentationload.com/"/>
            <p:cNvSpPr>
              <a:spLocks/>
            </p:cNvSpPr>
            <p:nvPr/>
          </p:nvSpPr>
          <p:spPr bwMode="gray">
            <a:xfrm>
              <a:off x="4972557" y="4508335"/>
              <a:ext cx="270046" cy="247407"/>
            </a:xfrm>
            <a:custGeom>
              <a:avLst/>
              <a:gdLst>
                <a:gd name="T0" fmla="*/ 2147483647 w 834"/>
                <a:gd name="T1" fmla="*/ 2147483647 h 798"/>
                <a:gd name="T2" fmla="*/ 2147483647 w 834"/>
                <a:gd name="T3" fmla="*/ 2147483647 h 798"/>
                <a:gd name="T4" fmla="*/ 2147483647 w 834"/>
                <a:gd name="T5" fmla="*/ 2147483647 h 798"/>
                <a:gd name="T6" fmla="*/ 2147483647 w 834"/>
                <a:gd name="T7" fmla="*/ 2147483647 h 798"/>
                <a:gd name="T8" fmla="*/ 2147483647 w 834"/>
                <a:gd name="T9" fmla="*/ 2147483647 h 798"/>
                <a:gd name="T10" fmla="*/ 2147483647 w 834"/>
                <a:gd name="T11" fmla="*/ 2147483647 h 798"/>
                <a:gd name="T12" fmla="*/ 2147483647 w 834"/>
                <a:gd name="T13" fmla="*/ 2147483647 h 798"/>
                <a:gd name="T14" fmla="*/ 2147483647 w 834"/>
                <a:gd name="T15" fmla="*/ 2147483647 h 798"/>
                <a:gd name="T16" fmla="*/ 2147483647 w 834"/>
                <a:gd name="T17" fmla="*/ 2147483647 h 798"/>
                <a:gd name="T18" fmla="*/ 2147483647 w 834"/>
                <a:gd name="T19" fmla="*/ 2147483647 h 798"/>
                <a:gd name="T20" fmla="*/ 2147483647 w 834"/>
                <a:gd name="T21" fmla="*/ 2147483647 h 798"/>
                <a:gd name="T22" fmla="*/ 2147483647 w 834"/>
                <a:gd name="T23" fmla="*/ 2147483647 h 798"/>
                <a:gd name="T24" fmla="*/ 2147483647 w 834"/>
                <a:gd name="T25" fmla="*/ 2147483647 h 798"/>
                <a:gd name="T26" fmla="*/ 2147483647 w 834"/>
                <a:gd name="T27" fmla="*/ 2147483647 h 798"/>
                <a:gd name="T28" fmla="*/ 2147483647 w 834"/>
                <a:gd name="T29" fmla="*/ 2147483647 h 798"/>
                <a:gd name="T30" fmla="*/ 2147483647 w 834"/>
                <a:gd name="T31" fmla="*/ 2147483647 h 798"/>
                <a:gd name="T32" fmla="*/ 2147483647 w 834"/>
                <a:gd name="T33" fmla="*/ 2147483647 h 798"/>
                <a:gd name="T34" fmla="*/ 2147483647 w 834"/>
                <a:gd name="T35" fmla="*/ 2147483647 h 798"/>
                <a:gd name="T36" fmla="*/ 2147483647 w 834"/>
                <a:gd name="T37" fmla="*/ 2147483647 h 798"/>
                <a:gd name="T38" fmla="*/ 2147483647 w 834"/>
                <a:gd name="T39" fmla="*/ 2147483647 h 798"/>
                <a:gd name="T40" fmla="*/ 2147483647 w 834"/>
                <a:gd name="T41" fmla="*/ 2147483647 h 798"/>
                <a:gd name="T42" fmla="*/ 2147483647 w 834"/>
                <a:gd name="T43" fmla="*/ 2147483647 h 798"/>
                <a:gd name="T44" fmla="*/ 2147483647 w 834"/>
                <a:gd name="T45" fmla="*/ 2147483647 h 798"/>
                <a:gd name="T46" fmla="*/ 2147483647 w 834"/>
                <a:gd name="T47" fmla="*/ 2147483647 h 798"/>
                <a:gd name="T48" fmla="*/ 2147483647 w 834"/>
                <a:gd name="T49" fmla="*/ 2147483647 h 798"/>
                <a:gd name="T50" fmla="*/ 2147483647 w 834"/>
                <a:gd name="T51" fmla="*/ 2147483647 h 798"/>
                <a:gd name="T52" fmla="*/ 2147483647 w 834"/>
                <a:gd name="T53" fmla="*/ 2147483647 h 798"/>
                <a:gd name="T54" fmla="*/ 2147483647 w 834"/>
                <a:gd name="T55" fmla="*/ 2147483647 h 798"/>
                <a:gd name="T56" fmla="*/ 2147483647 w 834"/>
                <a:gd name="T57" fmla="*/ 2147483647 h 798"/>
                <a:gd name="T58" fmla="*/ 2147483647 w 834"/>
                <a:gd name="T59" fmla="*/ 2147483647 h 798"/>
                <a:gd name="T60" fmla="*/ 2147483647 w 834"/>
                <a:gd name="T61" fmla="*/ 2147483647 h 798"/>
                <a:gd name="T62" fmla="*/ 2147483647 w 834"/>
                <a:gd name="T63" fmla="*/ 2147483647 h 798"/>
                <a:gd name="T64" fmla="*/ 2147483647 w 834"/>
                <a:gd name="T65" fmla="*/ 2147483647 h 798"/>
                <a:gd name="T66" fmla="*/ 2147483647 w 834"/>
                <a:gd name="T67" fmla="*/ 2147483647 h 798"/>
                <a:gd name="T68" fmla="*/ 2147483647 w 834"/>
                <a:gd name="T69" fmla="*/ 2147483647 h 798"/>
                <a:gd name="T70" fmla="*/ 2147483647 w 834"/>
                <a:gd name="T71" fmla="*/ 2147483647 h 798"/>
                <a:gd name="T72" fmla="*/ 2147483647 w 834"/>
                <a:gd name="T73" fmla="*/ 2147483647 h 798"/>
                <a:gd name="T74" fmla="*/ 2147483647 w 834"/>
                <a:gd name="T75" fmla="*/ 2147483647 h 798"/>
                <a:gd name="T76" fmla="*/ 2147483647 w 834"/>
                <a:gd name="T77" fmla="*/ 2147483647 h 798"/>
                <a:gd name="T78" fmla="*/ 2147483647 w 834"/>
                <a:gd name="T79" fmla="*/ 2147483647 h 798"/>
                <a:gd name="T80" fmla="*/ 2147483647 w 834"/>
                <a:gd name="T81" fmla="*/ 2147483647 h 798"/>
                <a:gd name="T82" fmla="*/ 2147483647 w 834"/>
                <a:gd name="T83" fmla="*/ 2147483647 h 798"/>
                <a:gd name="T84" fmla="*/ 2147483647 w 834"/>
                <a:gd name="T85" fmla="*/ 2147483647 h 798"/>
                <a:gd name="T86" fmla="*/ 2147483647 w 834"/>
                <a:gd name="T87" fmla="*/ 2147483647 h 798"/>
                <a:gd name="T88" fmla="*/ 2147483647 w 834"/>
                <a:gd name="T89" fmla="*/ 2147483647 h 798"/>
                <a:gd name="T90" fmla="*/ 2147483647 w 834"/>
                <a:gd name="T91" fmla="*/ 2147483647 h 798"/>
                <a:gd name="T92" fmla="*/ 2147483647 w 834"/>
                <a:gd name="T93" fmla="*/ 2147483647 h 798"/>
                <a:gd name="T94" fmla="*/ 2147483647 w 834"/>
                <a:gd name="T95" fmla="*/ 2147483647 h 798"/>
                <a:gd name="T96" fmla="*/ 2147483647 w 834"/>
                <a:gd name="T97" fmla="*/ 2147483647 h 798"/>
                <a:gd name="T98" fmla="*/ 2147483647 w 834"/>
                <a:gd name="T99" fmla="*/ 2147483647 h 798"/>
                <a:gd name="T100" fmla="*/ 2147483647 w 834"/>
                <a:gd name="T101" fmla="*/ 2147483647 h 798"/>
                <a:gd name="T102" fmla="*/ 2147483647 w 834"/>
                <a:gd name="T103" fmla="*/ 2147483647 h 798"/>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834"/>
                <a:gd name="T157" fmla="*/ 0 h 798"/>
                <a:gd name="T158" fmla="*/ 834 w 834"/>
                <a:gd name="T159" fmla="*/ 798 h 798"/>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834" h="798">
                  <a:moveTo>
                    <a:pt x="822" y="186"/>
                  </a:moveTo>
                  <a:lnTo>
                    <a:pt x="822" y="162"/>
                  </a:lnTo>
                  <a:lnTo>
                    <a:pt x="816" y="168"/>
                  </a:lnTo>
                  <a:lnTo>
                    <a:pt x="810" y="168"/>
                  </a:lnTo>
                  <a:lnTo>
                    <a:pt x="810" y="126"/>
                  </a:lnTo>
                  <a:lnTo>
                    <a:pt x="798" y="114"/>
                  </a:lnTo>
                  <a:lnTo>
                    <a:pt x="786" y="114"/>
                  </a:lnTo>
                  <a:lnTo>
                    <a:pt x="786" y="102"/>
                  </a:lnTo>
                  <a:lnTo>
                    <a:pt x="768" y="90"/>
                  </a:lnTo>
                  <a:lnTo>
                    <a:pt x="750" y="90"/>
                  </a:lnTo>
                  <a:lnTo>
                    <a:pt x="750" y="72"/>
                  </a:lnTo>
                  <a:lnTo>
                    <a:pt x="738" y="78"/>
                  </a:lnTo>
                  <a:lnTo>
                    <a:pt x="726" y="78"/>
                  </a:lnTo>
                  <a:lnTo>
                    <a:pt x="708" y="60"/>
                  </a:lnTo>
                  <a:lnTo>
                    <a:pt x="690" y="60"/>
                  </a:lnTo>
                  <a:lnTo>
                    <a:pt x="684" y="54"/>
                  </a:lnTo>
                  <a:lnTo>
                    <a:pt x="684" y="36"/>
                  </a:lnTo>
                  <a:lnTo>
                    <a:pt x="672" y="42"/>
                  </a:lnTo>
                  <a:lnTo>
                    <a:pt x="654" y="42"/>
                  </a:lnTo>
                  <a:lnTo>
                    <a:pt x="648" y="54"/>
                  </a:lnTo>
                  <a:lnTo>
                    <a:pt x="642" y="60"/>
                  </a:lnTo>
                  <a:lnTo>
                    <a:pt x="636" y="60"/>
                  </a:lnTo>
                  <a:lnTo>
                    <a:pt x="624" y="48"/>
                  </a:lnTo>
                  <a:lnTo>
                    <a:pt x="624" y="36"/>
                  </a:lnTo>
                  <a:lnTo>
                    <a:pt x="618" y="30"/>
                  </a:lnTo>
                  <a:lnTo>
                    <a:pt x="606" y="30"/>
                  </a:lnTo>
                  <a:lnTo>
                    <a:pt x="600" y="24"/>
                  </a:lnTo>
                  <a:lnTo>
                    <a:pt x="594" y="24"/>
                  </a:lnTo>
                  <a:lnTo>
                    <a:pt x="594" y="6"/>
                  </a:lnTo>
                  <a:lnTo>
                    <a:pt x="600" y="0"/>
                  </a:lnTo>
                  <a:lnTo>
                    <a:pt x="576" y="12"/>
                  </a:lnTo>
                  <a:lnTo>
                    <a:pt x="558" y="12"/>
                  </a:lnTo>
                  <a:lnTo>
                    <a:pt x="546" y="18"/>
                  </a:lnTo>
                  <a:lnTo>
                    <a:pt x="528" y="18"/>
                  </a:lnTo>
                  <a:lnTo>
                    <a:pt x="510" y="24"/>
                  </a:lnTo>
                  <a:lnTo>
                    <a:pt x="498" y="24"/>
                  </a:lnTo>
                  <a:lnTo>
                    <a:pt x="498" y="54"/>
                  </a:lnTo>
                  <a:lnTo>
                    <a:pt x="480" y="72"/>
                  </a:lnTo>
                  <a:lnTo>
                    <a:pt x="468" y="78"/>
                  </a:lnTo>
                  <a:lnTo>
                    <a:pt x="462" y="84"/>
                  </a:lnTo>
                  <a:lnTo>
                    <a:pt x="456" y="84"/>
                  </a:lnTo>
                  <a:lnTo>
                    <a:pt x="468" y="96"/>
                  </a:lnTo>
                  <a:lnTo>
                    <a:pt x="468" y="102"/>
                  </a:lnTo>
                  <a:lnTo>
                    <a:pt x="474" y="108"/>
                  </a:lnTo>
                  <a:lnTo>
                    <a:pt x="474" y="114"/>
                  </a:lnTo>
                  <a:lnTo>
                    <a:pt x="480" y="120"/>
                  </a:lnTo>
                  <a:lnTo>
                    <a:pt x="480" y="144"/>
                  </a:lnTo>
                  <a:lnTo>
                    <a:pt x="486" y="162"/>
                  </a:lnTo>
                  <a:lnTo>
                    <a:pt x="486" y="216"/>
                  </a:lnTo>
                  <a:lnTo>
                    <a:pt x="474" y="228"/>
                  </a:lnTo>
                  <a:lnTo>
                    <a:pt x="468" y="240"/>
                  </a:lnTo>
                  <a:lnTo>
                    <a:pt x="462" y="258"/>
                  </a:lnTo>
                  <a:lnTo>
                    <a:pt x="456" y="270"/>
                  </a:lnTo>
                  <a:lnTo>
                    <a:pt x="456" y="294"/>
                  </a:lnTo>
                  <a:lnTo>
                    <a:pt x="468" y="306"/>
                  </a:lnTo>
                  <a:lnTo>
                    <a:pt x="474" y="306"/>
                  </a:lnTo>
                  <a:lnTo>
                    <a:pt x="474" y="312"/>
                  </a:lnTo>
                  <a:lnTo>
                    <a:pt x="480" y="312"/>
                  </a:lnTo>
                  <a:lnTo>
                    <a:pt x="510" y="342"/>
                  </a:lnTo>
                  <a:lnTo>
                    <a:pt x="522" y="348"/>
                  </a:lnTo>
                  <a:lnTo>
                    <a:pt x="528" y="348"/>
                  </a:lnTo>
                  <a:lnTo>
                    <a:pt x="534" y="342"/>
                  </a:lnTo>
                  <a:lnTo>
                    <a:pt x="534" y="324"/>
                  </a:lnTo>
                  <a:lnTo>
                    <a:pt x="558" y="324"/>
                  </a:lnTo>
                  <a:lnTo>
                    <a:pt x="558" y="372"/>
                  </a:lnTo>
                  <a:lnTo>
                    <a:pt x="552" y="408"/>
                  </a:lnTo>
                  <a:lnTo>
                    <a:pt x="546" y="426"/>
                  </a:lnTo>
                  <a:lnTo>
                    <a:pt x="540" y="426"/>
                  </a:lnTo>
                  <a:lnTo>
                    <a:pt x="540" y="420"/>
                  </a:lnTo>
                  <a:lnTo>
                    <a:pt x="534" y="408"/>
                  </a:lnTo>
                  <a:lnTo>
                    <a:pt x="516" y="420"/>
                  </a:lnTo>
                  <a:lnTo>
                    <a:pt x="498" y="420"/>
                  </a:lnTo>
                  <a:lnTo>
                    <a:pt x="498" y="408"/>
                  </a:lnTo>
                  <a:lnTo>
                    <a:pt x="492" y="396"/>
                  </a:lnTo>
                  <a:lnTo>
                    <a:pt x="492" y="384"/>
                  </a:lnTo>
                  <a:lnTo>
                    <a:pt x="480" y="372"/>
                  </a:lnTo>
                  <a:lnTo>
                    <a:pt x="468" y="372"/>
                  </a:lnTo>
                  <a:lnTo>
                    <a:pt x="462" y="360"/>
                  </a:lnTo>
                  <a:lnTo>
                    <a:pt x="462" y="354"/>
                  </a:lnTo>
                  <a:lnTo>
                    <a:pt x="456" y="342"/>
                  </a:lnTo>
                  <a:lnTo>
                    <a:pt x="450" y="336"/>
                  </a:lnTo>
                  <a:lnTo>
                    <a:pt x="444" y="336"/>
                  </a:lnTo>
                  <a:lnTo>
                    <a:pt x="438" y="342"/>
                  </a:lnTo>
                  <a:lnTo>
                    <a:pt x="426" y="342"/>
                  </a:lnTo>
                  <a:lnTo>
                    <a:pt x="426" y="330"/>
                  </a:lnTo>
                  <a:lnTo>
                    <a:pt x="420" y="324"/>
                  </a:lnTo>
                  <a:lnTo>
                    <a:pt x="390" y="324"/>
                  </a:lnTo>
                  <a:lnTo>
                    <a:pt x="390" y="312"/>
                  </a:lnTo>
                  <a:lnTo>
                    <a:pt x="396" y="312"/>
                  </a:lnTo>
                  <a:lnTo>
                    <a:pt x="396" y="300"/>
                  </a:lnTo>
                  <a:lnTo>
                    <a:pt x="384" y="300"/>
                  </a:lnTo>
                  <a:lnTo>
                    <a:pt x="378" y="294"/>
                  </a:lnTo>
                  <a:lnTo>
                    <a:pt x="378" y="282"/>
                  </a:lnTo>
                  <a:lnTo>
                    <a:pt x="366" y="270"/>
                  </a:lnTo>
                  <a:lnTo>
                    <a:pt x="360" y="270"/>
                  </a:lnTo>
                  <a:lnTo>
                    <a:pt x="354" y="276"/>
                  </a:lnTo>
                  <a:lnTo>
                    <a:pt x="354" y="294"/>
                  </a:lnTo>
                  <a:lnTo>
                    <a:pt x="348" y="300"/>
                  </a:lnTo>
                  <a:lnTo>
                    <a:pt x="348" y="306"/>
                  </a:lnTo>
                  <a:lnTo>
                    <a:pt x="330" y="306"/>
                  </a:lnTo>
                  <a:lnTo>
                    <a:pt x="300" y="300"/>
                  </a:lnTo>
                  <a:lnTo>
                    <a:pt x="264" y="294"/>
                  </a:lnTo>
                  <a:lnTo>
                    <a:pt x="246" y="282"/>
                  </a:lnTo>
                  <a:lnTo>
                    <a:pt x="240" y="276"/>
                  </a:lnTo>
                  <a:lnTo>
                    <a:pt x="234" y="264"/>
                  </a:lnTo>
                  <a:lnTo>
                    <a:pt x="234" y="246"/>
                  </a:lnTo>
                  <a:lnTo>
                    <a:pt x="192" y="252"/>
                  </a:lnTo>
                  <a:lnTo>
                    <a:pt x="198" y="258"/>
                  </a:lnTo>
                  <a:lnTo>
                    <a:pt x="198" y="264"/>
                  </a:lnTo>
                  <a:lnTo>
                    <a:pt x="180" y="264"/>
                  </a:lnTo>
                  <a:lnTo>
                    <a:pt x="174" y="258"/>
                  </a:lnTo>
                  <a:lnTo>
                    <a:pt x="174" y="228"/>
                  </a:lnTo>
                  <a:lnTo>
                    <a:pt x="156" y="228"/>
                  </a:lnTo>
                  <a:lnTo>
                    <a:pt x="150" y="216"/>
                  </a:lnTo>
                  <a:lnTo>
                    <a:pt x="144" y="234"/>
                  </a:lnTo>
                  <a:lnTo>
                    <a:pt x="144" y="240"/>
                  </a:lnTo>
                  <a:lnTo>
                    <a:pt x="156" y="252"/>
                  </a:lnTo>
                  <a:lnTo>
                    <a:pt x="156" y="270"/>
                  </a:lnTo>
                  <a:lnTo>
                    <a:pt x="150" y="276"/>
                  </a:lnTo>
                  <a:lnTo>
                    <a:pt x="144" y="276"/>
                  </a:lnTo>
                  <a:lnTo>
                    <a:pt x="144" y="330"/>
                  </a:lnTo>
                  <a:lnTo>
                    <a:pt x="156" y="342"/>
                  </a:lnTo>
                  <a:lnTo>
                    <a:pt x="138" y="348"/>
                  </a:lnTo>
                  <a:lnTo>
                    <a:pt x="138" y="354"/>
                  </a:lnTo>
                  <a:lnTo>
                    <a:pt x="144" y="360"/>
                  </a:lnTo>
                  <a:lnTo>
                    <a:pt x="144" y="384"/>
                  </a:lnTo>
                  <a:lnTo>
                    <a:pt x="132" y="396"/>
                  </a:lnTo>
                  <a:lnTo>
                    <a:pt x="126" y="396"/>
                  </a:lnTo>
                  <a:lnTo>
                    <a:pt x="0" y="390"/>
                  </a:lnTo>
                  <a:lnTo>
                    <a:pt x="0" y="642"/>
                  </a:lnTo>
                  <a:lnTo>
                    <a:pt x="6" y="654"/>
                  </a:lnTo>
                  <a:lnTo>
                    <a:pt x="6" y="672"/>
                  </a:lnTo>
                  <a:lnTo>
                    <a:pt x="96" y="762"/>
                  </a:lnTo>
                  <a:lnTo>
                    <a:pt x="114" y="768"/>
                  </a:lnTo>
                  <a:lnTo>
                    <a:pt x="138" y="756"/>
                  </a:lnTo>
                  <a:lnTo>
                    <a:pt x="144" y="756"/>
                  </a:lnTo>
                  <a:lnTo>
                    <a:pt x="150" y="750"/>
                  </a:lnTo>
                  <a:lnTo>
                    <a:pt x="168" y="750"/>
                  </a:lnTo>
                  <a:lnTo>
                    <a:pt x="174" y="756"/>
                  </a:lnTo>
                  <a:lnTo>
                    <a:pt x="174" y="762"/>
                  </a:lnTo>
                  <a:lnTo>
                    <a:pt x="204" y="756"/>
                  </a:lnTo>
                  <a:lnTo>
                    <a:pt x="222" y="774"/>
                  </a:lnTo>
                  <a:lnTo>
                    <a:pt x="264" y="774"/>
                  </a:lnTo>
                  <a:lnTo>
                    <a:pt x="264" y="780"/>
                  </a:lnTo>
                  <a:lnTo>
                    <a:pt x="276" y="792"/>
                  </a:lnTo>
                  <a:lnTo>
                    <a:pt x="288" y="792"/>
                  </a:lnTo>
                  <a:lnTo>
                    <a:pt x="288" y="780"/>
                  </a:lnTo>
                  <a:lnTo>
                    <a:pt x="300" y="780"/>
                  </a:lnTo>
                  <a:lnTo>
                    <a:pt x="312" y="792"/>
                  </a:lnTo>
                  <a:lnTo>
                    <a:pt x="312" y="798"/>
                  </a:lnTo>
                  <a:lnTo>
                    <a:pt x="330" y="798"/>
                  </a:lnTo>
                  <a:lnTo>
                    <a:pt x="354" y="786"/>
                  </a:lnTo>
                  <a:lnTo>
                    <a:pt x="384" y="756"/>
                  </a:lnTo>
                  <a:lnTo>
                    <a:pt x="390" y="744"/>
                  </a:lnTo>
                  <a:lnTo>
                    <a:pt x="396" y="738"/>
                  </a:lnTo>
                  <a:lnTo>
                    <a:pt x="396" y="732"/>
                  </a:lnTo>
                  <a:lnTo>
                    <a:pt x="402" y="726"/>
                  </a:lnTo>
                  <a:lnTo>
                    <a:pt x="414" y="702"/>
                  </a:lnTo>
                  <a:lnTo>
                    <a:pt x="420" y="696"/>
                  </a:lnTo>
                  <a:lnTo>
                    <a:pt x="432" y="690"/>
                  </a:lnTo>
                  <a:lnTo>
                    <a:pt x="450" y="684"/>
                  </a:lnTo>
                  <a:lnTo>
                    <a:pt x="462" y="678"/>
                  </a:lnTo>
                  <a:lnTo>
                    <a:pt x="474" y="678"/>
                  </a:lnTo>
                  <a:lnTo>
                    <a:pt x="480" y="672"/>
                  </a:lnTo>
                  <a:lnTo>
                    <a:pt x="480" y="636"/>
                  </a:lnTo>
                  <a:lnTo>
                    <a:pt x="504" y="624"/>
                  </a:lnTo>
                  <a:lnTo>
                    <a:pt x="516" y="612"/>
                  </a:lnTo>
                  <a:lnTo>
                    <a:pt x="552" y="600"/>
                  </a:lnTo>
                  <a:lnTo>
                    <a:pt x="588" y="600"/>
                  </a:lnTo>
                  <a:lnTo>
                    <a:pt x="588" y="576"/>
                  </a:lnTo>
                  <a:lnTo>
                    <a:pt x="570" y="558"/>
                  </a:lnTo>
                  <a:lnTo>
                    <a:pt x="582" y="546"/>
                  </a:lnTo>
                  <a:lnTo>
                    <a:pt x="612" y="546"/>
                  </a:lnTo>
                  <a:lnTo>
                    <a:pt x="630" y="528"/>
                  </a:lnTo>
                  <a:lnTo>
                    <a:pt x="642" y="528"/>
                  </a:lnTo>
                  <a:lnTo>
                    <a:pt x="654" y="522"/>
                  </a:lnTo>
                  <a:lnTo>
                    <a:pt x="672" y="522"/>
                  </a:lnTo>
                  <a:lnTo>
                    <a:pt x="690" y="516"/>
                  </a:lnTo>
                  <a:lnTo>
                    <a:pt x="702" y="510"/>
                  </a:lnTo>
                  <a:lnTo>
                    <a:pt x="708" y="510"/>
                  </a:lnTo>
                  <a:lnTo>
                    <a:pt x="732" y="498"/>
                  </a:lnTo>
                  <a:lnTo>
                    <a:pt x="750" y="486"/>
                  </a:lnTo>
                  <a:lnTo>
                    <a:pt x="762" y="480"/>
                  </a:lnTo>
                  <a:lnTo>
                    <a:pt x="780" y="474"/>
                  </a:lnTo>
                  <a:lnTo>
                    <a:pt x="786" y="468"/>
                  </a:lnTo>
                  <a:lnTo>
                    <a:pt x="792" y="468"/>
                  </a:lnTo>
                  <a:lnTo>
                    <a:pt x="780" y="462"/>
                  </a:lnTo>
                  <a:lnTo>
                    <a:pt x="768" y="450"/>
                  </a:lnTo>
                  <a:lnTo>
                    <a:pt x="756" y="444"/>
                  </a:lnTo>
                  <a:lnTo>
                    <a:pt x="756" y="438"/>
                  </a:lnTo>
                  <a:lnTo>
                    <a:pt x="762" y="432"/>
                  </a:lnTo>
                  <a:lnTo>
                    <a:pt x="768" y="420"/>
                  </a:lnTo>
                  <a:lnTo>
                    <a:pt x="774" y="414"/>
                  </a:lnTo>
                  <a:lnTo>
                    <a:pt x="780" y="402"/>
                  </a:lnTo>
                  <a:lnTo>
                    <a:pt x="774" y="366"/>
                  </a:lnTo>
                  <a:lnTo>
                    <a:pt x="780" y="366"/>
                  </a:lnTo>
                  <a:lnTo>
                    <a:pt x="786" y="360"/>
                  </a:lnTo>
                  <a:lnTo>
                    <a:pt x="798" y="354"/>
                  </a:lnTo>
                  <a:lnTo>
                    <a:pt x="816" y="336"/>
                  </a:lnTo>
                  <a:lnTo>
                    <a:pt x="816" y="330"/>
                  </a:lnTo>
                  <a:lnTo>
                    <a:pt x="804" y="330"/>
                  </a:lnTo>
                  <a:lnTo>
                    <a:pt x="804" y="258"/>
                  </a:lnTo>
                  <a:lnTo>
                    <a:pt x="810" y="240"/>
                  </a:lnTo>
                  <a:lnTo>
                    <a:pt x="798" y="234"/>
                  </a:lnTo>
                  <a:lnTo>
                    <a:pt x="798" y="216"/>
                  </a:lnTo>
                  <a:lnTo>
                    <a:pt x="804" y="216"/>
                  </a:lnTo>
                  <a:lnTo>
                    <a:pt x="810" y="210"/>
                  </a:lnTo>
                  <a:lnTo>
                    <a:pt x="834" y="198"/>
                  </a:lnTo>
                  <a:lnTo>
                    <a:pt x="834" y="186"/>
                  </a:lnTo>
                  <a:lnTo>
                    <a:pt x="822" y="186"/>
                  </a:lnTo>
                  <a:close/>
                </a:path>
              </a:pathLst>
            </a:custGeom>
            <a:grpFill/>
            <a:ln w="3175">
              <a:solidFill>
                <a:schemeClr val="bg1"/>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de-DE" sz="1800" b="0" i="0" u="none" strike="noStrike" kern="1200" cap="none" spc="0" normalizeH="0" baseline="0" noProof="0">
                <a:ln>
                  <a:noFill/>
                </a:ln>
                <a:solidFill>
                  <a:srgbClr val="FFC000"/>
                </a:solidFill>
                <a:effectLst/>
                <a:uLnTx/>
                <a:uFillTx/>
                <a:latin typeface="Calibri" pitchFamily="34" charset="0"/>
                <a:ea typeface="+mn-ea"/>
                <a:cs typeface="+mn-cs"/>
              </a:endParaRPr>
            </a:p>
          </p:txBody>
        </p:sp>
        <p:sp>
          <p:nvSpPr>
            <p:cNvPr id="26" name="Yemen" descr="© INSCALE GmbH, 05.05.2010&#10;http://www.presentationload.com/"/>
            <p:cNvSpPr>
              <a:spLocks/>
            </p:cNvSpPr>
            <p:nvPr/>
          </p:nvSpPr>
          <p:spPr bwMode="gray">
            <a:xfrm>
              <a:off x="5443538" y="3828576"/>
              <a:ext cx="236771" cy="155548"/>
            </a:xfrm>
            <a:custGeom>
              <a:avLst/>
              <a:gdLst>
                <a:gd name="T0" fmla="*/ 2147483647 w 732"/>
                <a:gd name="T1" fmla="*/ 2147483647 h 498"/>
                <a:gd name="T2" fmla="*/ 2147483647 w 732"/>
                <a:gd name="T3" fmla="*/ 2147483647 h 498"/>
                <a:gd name="T4" fmla="*/ 2147483647 w 732"/>
                <a:gd name="T5" fmla="*/ 2147483647 h 498"/>
                <a:gd name="T6" fmla="*/ 2147483647 w 732"/>
                <a:gd name="T7" fmla="*/ 2147483647 h 498"/>
                <a:gd name="T8" fmla="*/ 2147483647 w 732"/>
                <a:gd name="T9" fmla="*/ 2147483647 h 498"/>
                <a:gd name="T10" fmla="*/ 2147483647 w 732"/>
                <a:gd name="T11" fmla="*/ 2147483647 h 498"/>
                <a:gd name="T12" fmla="*/ 2147483647 w 732"/>
                <a:gd name="T13" fmla="*/ 2147483647 h 498"/>
                <a:gd name="T14" fmla="*/ 2147483647 w 732"/>
                <a:gd name="T15" fmla="*/ 2147483647 h 498"/>
                <a:gd name="T16" fmla="*/ 2147483647 w 732"/>
                <a:gd name="T17" fmla="*/ 2147483647 h 498"/>
                <a:gd name="T18" fmla="*/ 2147483647 w 732"/>
                <a:gd name="T19" fmla="*/ 2147483647 h 498"/>
                <a:gd name="T20" fmla="*/ 2147483647 w 732"/>
                <a:gd name="T21" fmla="*/ 2147483647 h 498"/>
                <a:gd name="T22" fmla="*/ 2147483647 w 732"/>
                <a:gd name="T23" fmla="*/ 2147483647 h 498"/>
                <a:gd name="T24" fmla="*/ 2147483647 w 732"/>
                <a:gd name="T25" fmla="*/ 2147483647 h 498"/>
                <a:gd name="T26" fmla="*/ 2147483647 w 732"/>
                <a:gd name="T27" fmla="*/ 2147483647 h 498"/>
                <a:gd name="T28" fmla="*/ 2147483647 w 732"/>
                <a:gd name="T29" fmla="*/ 2147483647 h 498"/>
                <a:gd name="T30" fmla="*/ 0 w 732"/>
                <a:gd name="T31" fmla="*/ 2147483647 h 498"/>
                <a:gd name="T32" fmla="*/ 2147483647 w 732"/>
                <a:gd name="T33" fmla="*/ 2147483647 h 498"/>
                <a:gd name="T34" fmla="*/ 2147483647 w 732"/>
                <a:gd name="T35" fmla="*/ 2147483647 h 498"/>
                <a:gd name="T36" fmla="*/ 2147483647 w 732"/>
                <a:gd name="T37" fmla="*/ 2147483647 h 498"/>
                <a:gd name="T38" fmla="*/ 2147483647 w 732"/>
                <a:gd name="T39" fmla="*/ 2147483647 h 498"/>
                <a:gd name="T40" fmla="*/ 2147483647 w 732"/>
                <a:gd name="T41" fmla="*/ 2147483647 h 498"/>
                <a:gd name="T42" fmla="*/ 2147483647 w 732"/>
                <a:gd name="T43" fmla="*/ 2147483647 h 498"/>
                <a:gd name="T44" fmla="*/ 2147483647 w 732"/>
                <a:gd name="T45" fmla="*/ 2147483647 h 498"/>
                <a:gd name="T46" fmla="*/ 2147483647 w 732"/>
                <a:gd name="T47" fmla="*/ 2147483647 h 498"/>
                <a:gd name="T48" fmla="*/ 2147483647 w 732"/>
                <a:gd name="T49" fmla="*/ 2147483647 h 498"/>
                <a:gd name="T50" fmla="*/ 2147483647 w 732"/>
                <a:gd name="T51" fmla="*/ 2147483647 h 498"/>
                <a:gd name="T52" fmla="*/ 2147483647 w 732"/>
                <a:gd name="T53" fmla="*/ 2147483647 h 498"/>
                <a:gd name="T54" fmla="*/ 2147483647 w 732"/>
                <a:gd name="T55" fmla="*/ 2147483647 h 498"/>
                <a:gd name="T56" fmla="*/ 2147483647 w 732"/>
                <a:gd name="T57" fmla="*/ 2147483647 h 498"/>
                <a:gd name="T58" fmla="*/ 2147483647 w 732"/>
                <a:gd name="T59" fmla="*/ 2147483647 h 498"/>
                <a:gd name="T60" fmla="*/ 2147483647 w 732"/>
                <a:gd name="T61" fmla="*/ 2147483647 h 498"/>
                <a:gd name="T62" fmla="*/ 2147483647 w 732"/>
                <a:gd name="T63" fmla="*/ 2147483647 h 498"/>
                <a:gd name="T64" fmla="*/ 2147483647 w 732"/>
                <a:gd name="T65" fmla="*/ 2147483647 h 498"/>
                <a:gd name="T66" fmla="*/ 2147483647 w 732"/>
                <a:gd name="T67" fmla="*/ 2147483647 h 498"/>
                <a:gd name="T68" fmla="*/ 2147483647 w 732"/>
                <a:gd name="T69" fmla="*/ 2147483647 h 498"/>
                <a:gd name="T70" fmla="*/ 2147483647 w 732"/>
                <a:gd name="T71" fmla="*/ 2147483647 h 498"/>
                <a:gd name="T72" fmla="*/ 2147483647 w 732"/>
                <a:gd name="T73" fmla="*/ 2147483647 h 498"/>
                <a:gd name="T74" fmla="*/ 2147483647 w 732"/>
                <a:gd name="T75" fmla="*/ 2147483647 h 498"/>
                <a:gd name="T76" fmla="*/ 2147483647 w 732"/>
                <a:gd name="T77" fmla="*/ 0 h 498"/>
                <a:gd name="T78" fmla="*/ 2147483647 w 732"/>
                <a:gd name="T79" fmla="*/ 2147483647 h 498"/>
                <a:gd name="T80" fmla="*/ 2147483647 w 732"/>
                <a:gd name="T81" fmla="*/ 2147483647 h 498"/>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732"/>
                <a:gd name="T124" fmla="*/ 0 h 498"/>
                <a:gd name="T125" fmla="*/ 732 w 732"/>
                <a:gd name="T126" fmla="*/ 498 h 498"/>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732" h="498">
                  <a:moveTo>
                    <a:pt x="468" y="24"/>
                  </a:moveTo>
                  <a:lnTo>
                    <a:pt x="450" y="30"/>
                  </a:lnTo>
                  <a:lnTo>
                    <a:pt x="420" y="36"/>
                  </a:lnTo>
                  <a:lnTo>
                    <a:pt x="390" y="54"/>
                  </a:lnTo>
                  <a:lnTo>
                    <a:pt x="372" y="72"/>
                  </a:lnTo>
                  <a:lnTo>
                    <a:pt x="366" y="84"/>
                  </a:lnTo>
                  <a:lnTo>
                    <a:pt x="354" y="96"/>
                  </a:lnTo>
                  <a:lnTo>
                    <a:pt x="348" y="108"/>
                  </a:lnTo>
                  <a:lnTo>
                    <a:pt x="342" y="114"/>
                  </a:lnTo>
                  <a:lnTo>
                    <a:pt x="336" y="126"/>
                  </a:lnTo>
                  <a:lnTo>
                    <a:pt x="336" y="144"/>
                  </a:lnTo>
                  <a:lnTo>
                    <a:pt x="330" y="150"/>
                  </a:lnTo>
                  <a:lnTo>
                    <a:pt x="324" y="162"/>
                  </a:lnTo>
                  <a:lnTo>
                    <a:pt x="312" y="162"/>
                  </a:lnTo>
                  <a:lnTo>
                    <a:pt x="300" y="156"/>
                  </a:lnTo>
                  <a:lnTo>
                    <a:pt x="294" y="144"/>
                  </a:lnTo>
                  <a:lnTo>
                    <a:pt x="288" y="138"/>
                  </a:lnTo>
                  <a:lnTo>
                    <a:pt x="210" y="138"/>
                  </a:lnTo>
                  <a:lnTo>
                    <a:pt x="204" y="132"/>
                  </a:lnTo>
                  <a:lnTo>
                    <a:pt x="192" y="126"/>
                  </a:lnTo>
                  <a:lnTo>
                    <a:pt x="102" y="126"/>
                  </a:lnTo>
                  <a:lnTo>
                    <a:pt x="96" y="132"/>
                  </a:lnTo>
                  <a:lnTo>
                    <a:pt x="72" y="138"/>
                  </a:lnTo>
                  <a:lnTo>
                    <a:pt x="54" y="120"/>
                  </a:lnTo>
                  <a:lnTo>
                    <a:pt x="48" y="120"/>
                  </a:lnTo>
                  <a:lnTo>
                    <a:pt x="42" y="126"/>
                  </a:lnTo>
                  <a:lnTo>
                    <a:pt x="36" y="138"/>
                  </a:lnTo>
                  <a:lnTo>
                    <a:pt x="36" y="186"/>
                  </a:lnTo>
                  <a:lnTo>
                    <a:pt x="30" y="192"/>
                  </a:lnTo>
                  <a:lnTo>
                    <a:pt x="24" y="204"/>
                  </a:lnTo>
                  <a:lnTo>
                    <a:pt x="12" y="216"/>
                  </a:lnTo>
                  <a:lnTo>
                    <a:pt x="0" y="252"/>
                  </a:lnTo>
                  <a:lnTo>
                    <a:pt x="0" y="258"/>
                  </a:lnTo>
                  <a:lnTo>
                    <a:pt x="18" y="276"/>
                  </a:lnTo>
                  <a:lnTo>
                    <a:pt x="24" y="288"/>
                  </a:lnTo>
                  <a:lnTo>
                    <a:pt x="36" y="294"/>
                  </a:lnTo>
                  <a:lnTo>
                    <a:pt x="24" y="408"/>
                  </a:lnTo>
                  <a:lnTo>
                    <a:pt x="54" y="444"/>
                  </a:lnTo>
                  <a:lnTo>
                    <a:pt x="54" y="456"/>
                  </a:lnTo>
                  <a:lnTo>
                    <a:pt x="60" y="468"/>
                  </a:lnTo>
                  <a:lnTo>
                    <a:pt x="78" y="486"/>
                  </a:lnTo>
                  <a:lnTo>
                    <a:pt x="90" y="492"/>
                  </a:lnTo>
                  <a:lnTo>
                    <a:pt x="114" y="498"/>
                  </a:lnTo>
                  <a:lnTo>
                    <a:pt x="132" y="498"/>
                  </a:lnTo>
                  <a:lnTo>
                    <a:pt x="150" y="492"/>
                  </a:lnTo>
                  <a:lnTo>
                    <a:pt x="162" y="486"/>
                  </a:lnTo>
                  <a:lnTo>
                    <a:pt x="168" y="480"/>
                  </a:lnTo>
                  <a:lnTo>
                    <a:pt x="186" y="444"/>
                  </a:lnTo>
                  <a:lnTo>
                    <a:pt x="198" y="432"/>
                  </a:lnTo>
                  <a:lnTo>
                    <a:pt x="210" y="432"/>
                  </a:lnTo>
                  <a:lnTo>
                    <a:pt x="228" y="438"/>
                  </a:lnTo>
                  <a:lnTo>
                    <a:pt x="270" y="438"/>
                  </a:lnTo>
                  <a:lnTo>
                    <a:pt x="324" y="432"/>
                  </a:lnTo>
                  <a:lnTo>
                    <a:pt x="366" y="426"/>
                  </a:lnTo>
                  <a:lnTo>
                    <a:pt x="390" y="414"/>
                  </a:lnTo>
                  <a:lnTo>
                    <a:pt x="402" y="402"/>
                  </a:lnTo>
                  <a:lnTo>
                    <a:pt x="414" y="384"/>
                  </a:lnTo>
                  <a:lnTo>
                    <a:pt x="426" y="372"/>
                  </a:lnTo>
                  <a:lnTo>
                    <a:pt x="450" y="360"/>
                  </a:lnTo>
                  <a:lnTo>
                    <a:pt x="462" y="348"/>
                  </a:lnTo>
                  <a:lnTo>
                    <a:pt x="474" y="342"/>
                  </a:lnTo>
                  <a:lnTo>
                    <a:pt x="486" y="330"/>
                  </a:lnTo>
                  <a:lnTo>
                    <a:pt x="504" y="324"/>
                  </a:lnTo>
                  <a:lnTo>
                    <a:pt x="528" y="312"/>
                  </a:lnTo>
                  <a:lnTo>
                    <a:pt x="546" y="306"/>
                  </a:lnTo>
                  <a:lnTo>
                    <a:pt x="558" y="294"/>
                  </a:lnTo>
                  <a:lnTo>
                    <a:pt x="594" y="276"/>
                  </a:lnTo>
                  <a:lnTo>
                    <a:pt x="666" y="276"/>
                  </a:lnTo>
                  <a:lnTo>
                    <a:pt x="666" y="270"/>
                  </a:lnTo>
                  <a:lnTo>
                    <a:pt x="672" y="264"/>
                  </a:lnTo>
                  <a:lnTo>
                    <a:pt x="684" y="240"/>
                  </a:lnTo>
                  <a:lnTo>
                    <a:pt x="690" y="222"/>
                  </a:lnTo>
                  <a:lnTo>
                    <a:pt x="702" y="210"/>
                  </a:lnTo>
                  <a:lnTo>
                    <a:pt x="708" y="198"/>
                  </a:lnTo>
                  <a:lnTo>
                    <a:pt x="720" y="192"/>
                  </a:lnTo>
                  <a:lnTo>
                    <a:pt x="720" y="186"/>
                  </a:lnTo>
                  <a:lnTo>
                    <a:pt x="732" y="186"/>
                  </a:lnTo>
                  <a:lnTo>
                    <a:pt x="648" y="0"/>
                  </a:lnTo>
                  <a:lnTo>
                    <a:pt x="630" y="0"/>
                  </a:lnTo>
                  <a:lnTo>
                    <a:pt x="588" y="6"/>
                  </a:lnTo>
                  <a:lnTo>
                    <a:pt x="540" y="18"/>
                  </a:lnTo>
                  <a:lnTo>
                    <a:pt x="492" y="24"/>
                  </a:lnTo>
                  <a:lnTo>
                    <a:pt x="468" y="24"/>
                  </a:lnTo>
                  <a:close/>
                </a:path>
              </a:pathLst>
            </a:custGeom>
            <a:grpFill/>
            <a:ln w="3175">
              <a:solidFill>
                <a:schemeClr val="bg1"/>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de-DE" sz="1800" b="0" i="0" u="none" strike="noStrike" kern="1200" cap="none" spc="0" normalizeH="0" baseline="0" noProof="0">
                <a:ln>
                  <a:noFill/>
                </a:ln>
                <a:solidFill>
                  <a:srgbClr val="FFC000"/>
                </a:solidFill>
                <a:effectLst/>
                <a:uLnTx/>
                <a:uFillTx/>
                <a:latin typeface="Calibri" pitchFamily="34" charset="0"/>
                <a:ea typeface="+mn-ea"/>
                <a:cs typeface="+mn-cs"/>
              </a:endParaRPr>
            </a:p>
          </p:txBody>
        </p:sp>
        <p:sp>
          <p:nvSpPr>
            <p:cNvPr id="27" name="Western Sahara" descr="© INSCALE GmbH, 05.05.2010&#10;http://www.presentationload.com/"/>
            <p:cNvSpPr>
              <a:spLocks/>
            </p:cNvSpPr>
            <p:nvPr/>
          </p:nvSpPr>
          <p:spPr bwMode="gray">
            <a:xfrm>
              <a:off x="4086907" y="3611789"/>
              <a:ext cx="194535" cy="159223"/>
            </a:xfrm>
            <a:custGeom>
              <a:avLst/>
              <a:gdLst>
                <a:gd name="T0" fmla="*/ 2147483647 w 600"/>
                <a:gd name="T1" fmla="*/ 0 h 510"/>
                <a:gd name="T2" fmla="*/ 2147483647 w 600"/>
                <a:gd name="T3" fmla="*/ 0 h 510"/>
                <a:gd name="T4" fmla="*/ 2147483647 w 600"/>
                <a:gd name="T5" fmla="*/ 2147483647 h 510"/>
                <a:gd name="T6" fmla="*/ 2147483647 w 600"/>
                <a:gd name="T7" fmla="*/ 2147483647 h 510"/>
                <a:gd name="T8" fmla="*/ 2147483647 w 600"/>
                <a:gd name="T9" fmla="*/ 2147483647 h 510"/>
                <a:gd name="T10" fmla="*/ 2147483647 w 600"/>
                <a:gd name="T11" fmla="*/ 2147483647 h 510"/>
                <a:gd name="T12" fmla="*/ 2147483647 w 600"/>
                <a:gd name="T13" fmla="*/ 2147483647 h 510"/>
                <a:gd name="T14" fmla="*/ 2147483647 w 600"/>
                <a:gd name="T15" fmla="*/ 2147483647 h 510"/>
                <a:gd name="T16" fmla="*/ 2147483647 w 600"/>
                <a:gd name="T17" fmla="*/ 2147483647 h 510"/>
                <a:gd name="T18" fmla="*/ 2147483647 w 600"/>
                <a:gd name="T19" fmla="*/ 2147483647 h 510"/>
                <a:gd name="T20" fmla="*/ 2147483647 w 600"/>
                <a:gd name="T21" fmla="*/ 2147483647 h 510"/>
                <a:gd name="T22" fmla="*/ 2147483647 w 600"/>
                <a:gd name="T23" fmla="*/ 2147483647 h 510"/>
                <a:gd name="T24" fmla="*/ 2147483647 w 600"/>
                <a:gd name="T25" fmla="*/ 2147483647 h 510"/>
                <a:gd name="T26" fmla="*/ 2147483647 w 600"/>
                <a:gd name="T27" fmla="*/ 2147483647 h 510"/>
                <a:gd name="T28" fmla="*/ 2147483647 w 600"/>
                <a:gd name="T29" fmla="*/ 2147483647 h 510"/>
                <a:gd name="T30" fmla="*/ 2147483647 w 600"/>
                <a:gd name="T31" fmla="*/ 2147483647 h 510"/>
                <a:gd name="T32" fmla="*/ 2147483647 w 600"/>
                <a:gd name="T33" fmla="*/ 2147483647 h 510"/>
                <a:gd name="T34" fmla="*/ 2147483647 w 600"/>
                <a:gd name="T35" fmla="*/ 2147483647 h 510"/>
                <a:gd name="T36" fmla="*/ 2147483647 w 600"/>
                <a:gd name="T37" fmla="*/ 2147483647 h 510"/>
                <a:gd name="T38" fmla="*/ 2147483647 w 600"/>
                <a:gd name="T39" fmla="*/ 2147483647 h 510"/>
                <a:gd name="T40" fmla="*/ 2147483647 w 600"/>
                <a:gd name="T41" fmla="*/ 2147483647 h 510"/>
                <a:gd name="T42" fmla="*/ 2147483647 w 600"/>
                <a:gd name="T43" fmla="*/ 2147483647 h 510"/>
                <a:gd name="T44" fmla="*/ 2147483647 w 600"/>
                <a:gd name="T45" fmla="*/ 2147483647 h 510"/>
                <a:gd name="T46" fmla="*/ 2147483647 w 600"/>
                <a:gd name="T47" fmla="*/ 2147483647 h 510"/>
                <a:gd name="T48" fmla="*/ 2147483647 w 600"/>
                <a:gd name="T49" fmla="*/ 2147483647 h 510"/>
                <a:gd name="T50" fmla="*/ 2147483647 w 600"/>
                <a:gd name="T51" fmla="*/ 2147483647 h 510"/>
                <a:gd name="T52" fmla="*/ 2147483647 w 600"/>
                <a:gd name="T53" fmla="*/ 2147483647 h 510"/>
                <a:gd name="T54" fmla="*/ 2147483647 w 600"/>
                <a:gd name="T55" fmla="*/ 2147483647 h 510"/>
                <a:gd name="T56" fmla="*/ 2147483647 w 600"/>
                <a:gd name="T57" fmla="*/ 2147483647 h 510"/>
                <a:gd name="T58" fmla="*/ 2147483647 w 600"/>
                <a:gd name="T59" fmla="*/ 2147483647 h 510"/>
                <a:gd name="T60" fmla="*/ 2147483647 w 600"/>
                <a:gd name="T61" fmla="*/ 2147483647 h 510"/>
                <a:gd name="T62" fmla="*/ 2147483647 w 600"/>
                <a:gd name="T63" fmla="*/ 2147483647 h 510"/>
                <a:gd name="T64" fmla="*/ 2147483647 w 600"/>
                <a:gd name="T65" fmla="*/ 2147483647 h 510"/>
                <a:gd name="T66" fmla="*/ 2147483647 w 600"/>
                <a:gd name="T67" fmla="*/ 2147483647 h 510"/>
                <a:gd name="T68" fmla="*/ 2147483647 w 600"/>
                <a:gd name="T69" fmla="*/ 2147483647 h 510"/>
                <a:gd name="T70" fmla="*/ 2147483647 w 600"/>
                <a:gd name="T71" fmla="*/ 2147483647 h 510"/>
                <a:gd name="T72" fmla="*/ 2147483647 w 600"/>
                <a:gd name="T73" fmla="*/ 2147483647 h 510"/>
                <a:gd name="T74" fmla="*/ 2147483647 w 600"/>
                <a:gd name="T75" fmla="*/ 2147483647 h 510"/>
                <a:gd name="T76" fmla="*/ 2147483647 w 600"/>
                <a:gd name="T77" fmla="*/ 2147483647 h 510"/>
                <a:gd name="T78" fmla="*/ 0 w 600"/>
                <a:gd name="T79" fmla="*/ 2147483647 h 510"/>
                <a:gd name="T80" fmla="*/ 0 w 600"/>
                <a:gd name="T81" fmla="*/ 2147483647 h 510"/>
                <a:gd name="T82" fmla="*/ 2147483647 w 600"/>
                <a:gd name="T83" fmla="*/ 2147483647 h 510"/>
                <a:gd name="T84" fmla="*/ 2147483647 w 600"/>
                <a:gd name="T85" fmla="*/ 2147483647 h 510"/>
                <a:gd name="T86" fmla="*/ 2147483647 w 600"/>
                <a:gd name="T87" fmla="*/ 2147483647 h 510"/>
                <a:gd name="T88" fmla="*/ 2147483647 w 600"/>
                <a:gd name="T89" fmla="*/ 2147483647 h 510"/>
                <a:gd name="T90" fmla="*/ 2147483647 w 600"/>
                <a:gd name="T91" fmla="*/ 2147483647 h 510"/>
                <a:gd name="T92" fmla="*/ 2147483647 w 600"/>
                <a:gd name="T93" fmla="*/ 2147483647 h 510"/>
                <a:gd name="T94" fmla="*/ 2147483647 w 600"/>
                <a:gd name="T95" fmla="*/ 2147483647 h 510"/>
                <a:gd name="T96" fmla="*/ 2147483647 w 600"/>
                <a:gd name="T97" fmla="*/ 2147483647 h 510"/>
                <a:gd name="T98" fmla="*/ 2147483647 w 600"/>
                <a:gd name="T99" fmla="*/ 2147483647 h 510"/>
                <a:gd name="T100" fmla="*/ 2147483647 w 600"/>
                <a:gd name="T101" fmla="*/ 2147483647 h 510"/>
                <a:gd name="T102" fmla="*/ 2147483647 w 600"/>
                <a:gd name="T103" fmla="*/ 2147483647 h 510"/>
                <a:gd name="T104" fmla="*/ 2147483647 w 600"/>
                <a:gd name="T105" fmla="*/ 2147483647 h 510"/>
                <a:gd name="T106" fmla="*/ 2147483647 w 600"/>
                <a:gd name="T107" fmla="*/ 2147483647 h 510"/>
                <a:gd name="T108" fmla="*/ 2147483647 w 600"/>
                <a:gd name="T109" fmla="*/ 2147483647 h 510"/>
                <a:gd name="T110" fmla="*/ 2147483647 w 600"/>
                <a:gd name="T111" fmla="*/ 2147483647 h 510"/>
                <a:gd name="T112" fmla="*/ 2147483647 w 600"/>
                <a:gd name="T113" fmla="*/ 0 h 510"/>
                <a:gd name="T114" fmla="*/ 2147483647 w 600"/>
                <a:gd name="T115" fmla="*/ 0 h 510"/>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600"/>
                <a:gd name="T175" fmla="*/ 0 h 510"/>
                <a:gd name="T176" fmla="*/ 600 w 600"/>
                <a:gd name="T177" fmla="*/ 510 h 510"/>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600" h="510">
                  <a:moveTo>
                    <a:pt x="546" y="0"/>
                  </a:moveTo>
                  <a:lnTo>
                    <a:pt x="288" y="0"/>
                  </a:lnTo>
                  <a:lnTo>
                    <a:pt x="282" y="6"/>
                  </a:lnTo>
                  <a:lnTo>
                    <a:pt x="270" y="30"/>
                  </a:lnTo>
                  <a:lnTo>
                    <a:pt x="270" y="42"/>
                  </a:lnTo>
                  <a:lnTo>
                    <a:pt x="264" y="54"/>
                  </a:lnTo>
                  <a:lnTo>
                    <a:pt x="264" y="66"/>
                  </a:lnTo>
                  <a:lnTo>
                    <a:pt x="234" y="96"/>
                  </a:lnTo>
                  <a:lnTo>
                    <a:pt x="198" y="96"/>
                  </a:lnTo>
                  <a:lnTo>
                    <a:pt x="186" y="108"/>
                  </a:lnTo>
                  <a:lnTo>
                    <a:pt x="186" y="144"/>
                  </a:lnTo>
                  <a:lnTo>
                    <a:pt x="156" y="174"/>
                  </a:lnTo>
                  <a:lnTo>
                    <a:pt x="156" y="186"/>
                  </a:lnTo>
                  <a:lnTo>
                    <a:pt x="168" y="210"/>
                  </a:lnTo>
                  <a:lnTo>
                    <a:pt x="168" y="222"/>
                  </a:lnTo>
                  <a:lnTo>
                    <a:pt x="156" y="246"/>
                  </a:lnTo>
                  <a:lnTo>
                    <a:pt x="144" y="252"/>
                  </a:lnTo>
                  <a:lnTo>
                    <a:pt x="138" y="252"/>
                  </a:lnTo>
                  <a:lnTo>
                    <a:pt x="132" y="258"/>
                  </a:lnTo>
                  <a:lnTo>
                    <a:pt x="126" y="270"/>
                  </a:lnTo>
                  <a:lnTo>
                    <a:pt x="114" y="282"/>
                  </a:lnTo>
                  <a:lnTo>
                    <a:pt x="102" y="288"/>
                  </a:lnTo>
                  <a:lnTo>
                    <a:pt x="96" y="294"/>
                  </a:lnTo>
                  <a:lnTo>
                    <a:pt x="84" y="300"/>
                  </a:lnTo>
                  <a:lnTo>
                    <a:pt x="78" y="306"/>
                  </a:lnTo>
                  <a:lnTo>
                    <a:pt x="78" y="318"/>
                  </a:lnTo>
                  <a:lnTo>
                    <a:pt x="90" y="324"/>
                  </a:lnTo>
                  <a:lnTo>
                    <a:pt x="78" y="330"/>
                  </a:lnTo>
                  <a:lnTo>
                    <a:pt x="60" y="366"/>
                  </a:lnTo>
                  <a:lnTo>
                    <a:pt x="60" y="384"/>
                  </a:lnTo>
                  <a:lnTo>
                    <a:pt x="48" y="384"/>
                  </a:lnTo>
                  <a:lnTo>
                    <a:pt x="48" y="390"/>
                  </a:lnTo>
                  <a:lnTo>
                    <a:pt x="54" y="396"/>
                  </a:lnTo>
                  <a:lnTo>
                    <a:pt x="54" y="408"/>
                  </a:lnTo>
                  <a:lnTo>
                    <a:pt x="48" y="420"/>
                  </a:lnTo>
                  <a:lnTo>
                    <a:pt x="36" y="426"/>
                  </a:lnTo>
                  <a:lnTo>
                    <a:pt x="24" y="426"/>
                  </a:lnTo>
                  <a:lnTo>
                    <a:pt x="18" y="432"/>
                  </a:lnTo>
                  <a:lnTo>
                    <a:pt x="6" y="456"/>
                  </a:lnTo>
                  <a:lnTo>
                    <a:pt x="0" y="462"/>
                  </a:lnTo>
                  <a:lnTo>
                    <a:pt x="0" y="510"/>
                  </a:lnTo>
                  <a:lnTo>
                    <a:pt x="276" y="510"/>
                  </a:lnTo>
                  <a:lnTo>
                    <a:pt x="282" y="408"/>
                  </a:lnTo>
                  <a:lnTo>
                    <a:pt x="276" y="396"/>
                  </a:lnTo>
                  <a:lnTo>
                    <a:pt x="276" y="378"/>
                  </a:lnTo>
                  <a:lnTo>
                    <a:pt x="282" y="366"/>
                  </a:lnTo>
                  <a:lnTo>
                    <a:pt x="306" y="354"/>
                  </a:lnTo>
                  <a:lnTo>
                    <a:pt x="336" y="354"/>
                  </a:lnTo>
                  <a:lnTo>
                    <a:pt x="348" y="348"/>
                  </a:lnTo>
                  <a:lnTo>
                    <a:pt x="354" y="342"/>
                  </a:lnTo>
                  <a:lnTo>
                    <a:pt x="354" y="150"/>
                  </a:lnTo>
                  <a:lnTo>
                    <a:pt x="366" y="144"/>
                  </a:lnTo>
                  <a:lnTo>
                    <a:pt x="366" y="132"/>
                  </a:lnTo>
                  <a:lnTo>
                    <a:pt x="588" y="126"/>
                  </a:lnTo>
                  <a:lnTo>
                    <a:pt x="588" y="90"/>
                  </a:lnTo>
                  <a:lnTo>
                    <a:pt x="594" y="84"/>
                  </a:lnTo>
                  <a:lnTo>
                    <a:pt x="600" y="0"/>
                  </a:lnTo>
                  <a:lnTo>
                    <a:pt x="546" y="0"/>
                  </a:lnTo>
                  <a:close/>
                </a:path>
              </a:pathLst>
            </a:custGeom>
            <a:grpFill/>
            <a:ln w="3175">
              <a:solidFill>
                <a:schemeClr val="bg1"/>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de-DE" sz="1800" b="0" i="0" u="none" strike="noStrike" kern="1200" cap="none" spc="0" normalizeH="0" baseline="0" noProof="0">
                <a:ln>
                  <a:noFill/>
                </a:ln>
                <a:solidFill>
                  <a:srgbClr val="FFC000"/>
                </a:solidFill>
                <a:effectLst/>
                <a:uLnTx/>
                <a:uFillTx/>
                <a:latin typeface="Calibri" pitchFamily="34" charset="0"/>
                <a:ea typeface="+mn-ea"/>
                <a:cs typeface="+mn-cs"/>
              </a:endParaRPr>
            </a:p>
          </p:txBody>
        </p:sp>
        <p:sp>
          <p:nvSpPr>
            <p:cNvPr id="28" name="West Bank" descr="© INSCALE GmbH, 05.05.2010&#10;http://www.presentationload.com/"/>
            <p:cNvSpPr>
              <a:spLocks/>
            </p:cNvSpPr>
            <p:nvPr/>
          </p:nvSpPr>
          <p:spPr bwMode="gray">
            <a:xfrm>
              <a:off x="5249003" y="3491760"/>
              <a:ext cx="14078" cy="29395"/>
            </a:xfrm>
            <a:custGeom>
              <a:avLst/>
              <a:gdLst>
                <a:gd name="T0" fmla="*/ 2147483647 w 42"/>
                <a:gd name="T1" fmla="*/ 2147483647 h 96"/>
                <a:gd name="T2" fmla="*/ 2147483647 w 42"/>
                <a:gd name="T3" fmla="*/ 2147483647 h 96"/>
                <a:gd name="T4" fmla="*/ 2147483647 w 42"/>
                <a:gd name="T5" fmla="*/ 2147483647 h 96"/>
                <a:gd name="T6" fmla="*/ 2147483647 w 42"/>
                <a:gd name="T7" fmla="*/ 0 h 96"/>
                <a:gd name="T8" fmla="*/ 2147483647 w 42"/>
                <a:gd name="T9" fmla="*/ 0 h 96"/>
                <a:gd name="T10" fmla="*/ 0 w 42"/>
                <a:gd name="T11" fmla="*/ 2147483647 h 96"/>
                <a:gd name="T12" fmla="*/ 0 w 42"/>
                <a:gd name="T13" fmla="*/ 2147483647 h 96"/>
                <a:gd name="T14" fmla="*/ 2147483647 w 42"/>
                <a:gd name="T15" fmla="*/ 2147483647 h 96"/>
                <a:gd name="T16" fmla="*/ 2147483647 w 42"/>
                <a:gd name="T17" fmla="*/ 2147483647 h 96"/>
                <a:gd name="T18" fmla="*/ 2147483647 w 42"/>
                <a:gd name="T19" fmla="*/ 2147483647 h 96"/>
                <a:gd name="T20" fmla="*/ 2147483647 w 42"/>
                <a:gd name="T21" fmla="*/ 2147483647 h 96"/>
                <a:gd name="T22" fmla="*/ 2147483647 w 42"/>
                <a:gd name="T23" fmla="*/ 2147483647 h 9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2"/>
                <a:gd name="T37" fmla="*/ 0 h 96"/>
                <a:gd name="T38" fmla="*/ 42 w 42"/>
                <a:gd name="T39" fmla="*/ 96 h 9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2" h="96">
                  <a:moveTo>
                    <a:pt x="24" y="78"/>
                  </a:moveTo>
                  <a:lnTo>
                    <a:pt x="30" y="84"/>
                  </a:lnTo>
                  <a:lnTo>
                    <a:pt x="42" y="72"/>
                  </a:lnTo>
                  <a:lnTo>
                    <a:pt x="36" y="0"/>
                  </a:lnTo>
                  <a:lnTo>
                    <a:pt x="18" y="0"/>
                  </a:lnTo>
                  <a:lnTo>
                    <a:pt x="0" y="18"/>
                  </a:lnTo>
                  <a:lnTo>
                    <a:pt x="0" y="90"/>
                  </a:lnTo>
                  <a:lnTo>
                    <a:pt x="6" y="96"/>
                  </a:lnTo>
                  <a:lnTo>
                    <a:pt x="12" y="90"/>
                  </a:lnTo>
                  <a:lnTo>
                    <a:pt x="18" y="90"/>
                  </a:lnTo>
                  <a:lnTo>
                    <a:pt x="18" y="84"/>
                  </a:lnTo>
                  <a:lnTo>
                    <a:pt x="24" y="78"/>
                  </a:lnTo>
                  <a:close/>
                </a:path>
              </a:pathLst>
            </a:custGeom>
            <a:grpFill/>
            <a:ln w="3175">
              <a:solidFill>
                <a:schemeClr val="bg1"/>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de-DE" sz="1800" b="0" i="0" u="none" strike="noStrike" kern="1200" cap="none" spc="0" normalizeH="0" baseline="0" noProof="0">
                <a:ln>
                  <a:noFill/>
                </a:ln>
                <a:solidFill>
                  <a:srgbClr val="FFC000"/>
                </a:solidFill>
                <a:effectLst/>
                <a:uLnTx/>
                <a:uFillTx/>
                <a:latin typeface="Calibri" pitchFamily="34" charset="0"/>
                <a:ea typeface="+mn-ea"/>
                <a:cs typeface="+mn-cs"/>
              </a:endParaRPr>
            </a:p>
          </p:txBody>
        </p:sp>
        <p:sp>
          <p:nvSpPr>
            <p:cNvPr id="29" name="Uzbekistan" descr="© INSCALE GmbH, 05.05.2010&#10;http://www.presentationload.com/"/>
            <p:cNvSpPr>
              <a:spLocks/>
            </p:cNvSpPr>
            <p:nvPr/>
          </p:nvSpPr>
          <p:spPr bwMode="gray">
            <a:xfrm>
              <a:off x="5650873" y="3167191"/>
              <a:ext cx="385232" cy="206989"/>
            </a:xfrm>
            <a:custGeom>
              <a:avLst/>
              <a:gdLst>
                <a:gd name="T0" fmla="*/ 2147483647 w 1182"/>
                <a:gd name="T1" fmla="*/ 2147483647 h 666"/>
                <a:gd name="T2" fmla="*/ 2147483647 w 1182"/>
                <a:gd name="T3" fmla="*/ 2147483647 h 666"/>
                <a:gd name="T4" fmla="*/ 2147483647 w 1182"/>
                <a:gd name="T5" fmla="*/ 2147483647 h 666"/>
                <a:gd name="T6" fmla="*/ 2147483647 w 1182"/>
                <a:gd name="T7" fmla="*/ 2147483647 h 666"/>
                <a:gd name="T8" fmla="*/ 2147483647 w 1182"/>
                <a:gd name="T9" fmla="*/ 2147483647 h 666"/>
                <a:gd name="T10" fmla="*/ 2147483647 w 1182"/>
                <a:gd name="T11" fmla="*/ 2147483647 h 666"/>
                <a:gd name="T12" fmla="*/ 2147483647 w 1182"/>
                <a:gd name="T13" fmla="*/ 2147483647 h 666"/>
                <a:gd name="T14" fmla="*/ 2147483647 w 1182"/>
                <a:gd name="T15" fmla="*/ 2147483647 h 666"/>
                <a:gd name="T16" fmla="*/ 2147483647 w 1182"/>
                <a:gd name="T17" fmla="*/ 2147483647 h 666"/>
                <a:gd name="T18" fmla="*/ 2147483647 w 1182"/>
                <a:gd name="T19" fmla="*/ 2147483647 h 666"/>
                <a:gd name="T20" fmla="*/ 2147483647 w 1182"/>
                <a:gd name="T21" fmla="*/ 2147483647 h 666"/>
                <a:gd name="T22" fmla="*/ 2147483647 w 1182"/>
                <a:gd name="T23" fmla="*/ 2147483647 h 666"/>
                <a:gd name="T24" fmla="*/ 2147483647 w 1182"/>
                <a:gd name="T25" fmla="*/ 2147483647 h 666"/>
                <a:gd name="T26" fmla="*/ 2147483647 w 1182"/>
                <a:gd name="T27" fmla="*/ 2147483647 h 666"/>
                <a:gd name="T28" fmla="*/ 2147483647 w 1182"/>
                <a:gd name="T29" fmla="*/ 2147483647 h 666"/>
                <a:gd name="T30" fmla="*/ 2147483647 w 1182"/>
                <a:gd name="T31" fmla="*/ 2147483647 h 666"/>
                <a:gd name="T32" fmla="*/ 2147483647 w 1182"/>
                <a:gd name="T33" fmla="*/ 2147483647 h 666"/>
                <a:gd name="T34" fmla="*/ 2147483647 w 1182"/>
                <a:gd name="T35" fmla="*/ 2147483647 h 666"/>
                <a:gd name="T36" fmla="*/ 2147483647 w 1182"/>
                <a:gd name="T37" fmla="*/ 2147483647 h 666"/>
                <a:gd name="T38" fmla="*/ 2147483647 w 1182"/>
                <a:gd name="T39" fmla="*/ 2147483647 h 666"/>
                <a:gd name="T40" fmla="*/ 2147483647 w 1182"/>
                <a:gd name="T41" fmla="*/ 2147483647 h 666"/>
                <a:gd name="T42" fmla="*/ 2147483647 w 1182"/>
                <a:gd name="T43" fmla="*/ 2147483647 h 666"/>
                <a:gd name="T44" fmla="*/ 2147483647 w 1182"/>
                <a:gd name="T45" fmla="*/ 2147483647 h 666"/>
                <a:gd name="T46" fmla="*/ 2147483647 w 1182"/>
                <a:gd name="T47" fmla="*/ 2147483647 h 666"/>
                <a:gd name="T48" fmla="*/ 2147483647 w 1182"/>
                <a:gd name="T49" fmla="*/ 2147483647 h 666"/>
                <a:gd name="T50" fmla="*/ 2147483647 w 1182"/>
                <a:gd name="T51" fmla="*/ 2147483647 h 666"/>
                <a:gd name="T52" fmla="*/ 2147483647 w 1182"/>
                <a:gd name="T53" fmla="*/ 2147483647 h 666"/>
                <a:gd name="T54" fmla="*/ 2147483647 w 1182"/>
                <a:gd name="T55" fmla="*/ 2147483647 h 666"/>
                <a:gd name="T56" fmla="*/ 2147483647 w 1182"/>
                <a:gd name="T57" fmla="*/ 2147483647 h 666"/>
                <a:gd name="T58" fmla="*/ 2147483647 w 1182"/>
                <a:gd name="T59" fmla="*/ 2147483647 h 666"/>
                <a:gd name="T60" fmla="*/ 2147483647 w 1182"/>
                <a:gd name="T61" fmla="*/ 2147483647 h 666"/>
                <a:gd name="T62" fmla="*/ 2147483647 w 1182"/>
                <a:gd name="T63" fmla="*/ 2147483647 h 666"/>
                <a:gd name="T64" fmla="*/ 2147483647 w 1182"/>
                <a:gd name="T65" fmla="*/ 2147483647 h 666"/>
                <a:gd name="T66" fmla="*/ 2147483647 w 1182"/>
                <a:gd name="T67" fmla="*/ 2147483647 h 666"/>
                <a:gd name="T68" fmla="*/ 2147483647 w 1182"/>
                <a:gd name="T69" fmla="*/ 2147483647 h 666"/>
                <a:gd name="T70" fmla="*/ 2147483647 w 1182"/>
                <a:gd name="T71" fmla="*/ 2147483647 h 666"/>
                <a:gd name="T72" fmla="*/ 2147483647 w 1182"/>
                <a:gd name="T73" fmla="*/ 2147483647 h 666"/>
                <a:gd name="T74" fmla="*/ 2147483647 w 1182"/>
                <a:gd name="T75" fmla="*/ 2147483647 h 666"/>
                <a:gd name="T76" fmla="*/ 2147483647 w 1182"/>
                <a:gd name="T77" fmla="*/ 2147483647 h 666"/>
                <a:gd name="T78" fmla="*/ 2147483647 w 1182"/>
                <a:gd name="T79" fmla="*/ 2147483647 h 666"/>
                <a:gd name="T80" fmla="*/ 2147483647 w 1182"/>
                <a:gd name="T81" fmla="*/ 2147483647 h 666"/>
                <a:gd name="T82" fmla="*/ 2147483647 w 1182"/>
                <a:gd name="T83" fmla="*/ 2147483647 h 666"/>
                <a:gd name="T84" fmla="*/ 2147483647 w 1182"/>
                <a:gd name="T85" fmla="*/ 2147483647 h 666"/>
                <a:gd name="T86" fmla="*/ 2147483647 w 1182"/>
                <a:gd name="T87" fmla="*/ 2147483647 h 666"/>
                <a:gd name="T88" fmla="*/ 2147483647 w 1182"/>
                <a:gd name="T89" fmla="*/ 2147483647 h 666"/>
                <a:gd name="T90" fmla="*/ 2147483647 w 1182"/>
                <a:gd name="T91" fmla="*/ 2147483647 h 666"/>
                <a:gd name="T92" fmla="*/ 2147483647 w 1182"/>
                <a:gd name="T93" fmla="*/ 2147483647 h 666"/>
                <a:gd name="T94" fmla="*/ 2147483647 w 1182"/>
                <a:gd name="T95" fmla="*/ 2147483647 h 666"/>
                <a:gd name="T96" fmla="*/ 2147483647 w 1182"/>
                <a:gd name="T97" fmla="*/ 2147483647 h 666"/>
                <a:gd name="T98" fmla="*/ 2147483647 w 1182"/>
                <a:gd name="T99" fmla="*/ 2147483647 h 666"/>
                <a:gd name="T100" fmla="*/ 2147483647 w 1182"/>
                <a:gd name="T101" fmla="*/ 2147483647 h 666"/>
                <a:gd name="T102" fmla="*/ 2147483647 w 1182"/>
                <a:gd name="T103" fmla="*/ 2147483647 h 666"/>
                <a:gd name="T104" fmla="*/ 2147483647 w 1182"/>
                <a:gd name="T105" fmla="*/ 2147483647 h 666"/>
                <a:gd name="T106" fmla="*/ 2147483647 w 1182"/>
                <a:gd name="T107" fmla="*/ 2147483647 h 666"/>
                <a:gd name="T108" fmla="*/ 2147483647 w 1182"/>
                <a:gd name="T109" fmla="*/ 2147483647 h 666"/>
                <a:gd name="T110" fmla="*/ 2147483647 w 1182"/>
                <a:gd name="T111" fmla="*/ 2147483647 h 666"/>
                <a:gd name="T112" fmla="*/ 2147483647 w 1182"/>
                <a:gd name="T113" fmla="*/ 2147483647 h 666"/>
                <a:gd name="T114" fmla="*/ 2147483647 w 1182"/>
                <a:gd name="T115" fmla="*/ 2147483647 h 66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1182"/>
                <a:gd name="T175" fmla="*/ 0 h 666"/>
                <a:gd name="T176" fmla="*/ 1182 w 1182"/>
                <a:gd name="T177" fmla="*/ 666 h 66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1182" h="666">
                  <a:moveTo>
                    <a:pt x="1152" y="372"/>
                  </a:moveTo>
                  <a:lnTo>
                    <a:pt x="1146" y="360"/>
                  </a:lnTo>
                  <a:lnTo>
                    <a:pt x="1122" y="360"/>
                  </a:lnTo>
                  <a:lnTo>
                    <a:pt x="1116" y="342"/>
                  </a:lnTo>
                  <a:lnTo>
                    <a:pt x="1098" y="342"/>
                  </a:lnTo>
                  <a:lnTo>
                    <a:pt x="1080" y="318"/>
                  </a:lnTo>
                  <a:lnTo>
                    <a:pt x="1080" y="330"/>
                  </a:lnTo>
                  <a:lnTo>
                    <a:pt x="1068" y="330"/>
                  </a:lnTo>
                  <a:lnTo>
                    <a:pt x="1068" y="342"/>
                  </a:lnTo>
                  <a:lnTo>
                    <a:pt x="1032" y="342"/>
                  </a:lnTo>
                  <a:lnTo>
                    <a:pt x="1020" y="330"/>
                  </a:lnTo>
                  <a:lnTo>
                    <a:pt x="990" y="318"/>
                  </a:lnTo>
                  <a:lnTo>
                    <a:pt x="1038" y="270"/>
                  </a:lnTo>
                  <a:lnTo>
                    <a:pt x="1038" y="264"/>
                  </a:lnTo>
                  <a:lnTo>
                    <a:pt x="1032" y="264"/>
                  </a:lnTo>
                  <a:lnTo>
                    <a:pt x="1032" y="258"/>
                  </a:lnTo>
                  <a:lnTo>
                    <a:pt x="1002" y="276"/>
                  </a:lnTo>
                  <a:lnTo>
                    <a:pt x="978" y="276"/>
                  </a:lnTo>
                  <a:lnTo>
                    <a:pt x="966" y="300"/>
                  </a:lnTo>
                  <a:lnTo>
                    <a:pt x="960" y="300"/>
                  </a:lnTo>
                  <a:lnTo>
                    <a:pt x="954" y="306"/>
                  </a:lnTo>
                  <a:lnTo>
                    <a:pt x="942" y="306"/>
                  </a:lnTo>
                  <a:lnTo>
                    <a:pt x="930" y="312"/>
                  </a:lnTo>
                  <a:lnTo>
                    <a:pt x="918" y="324"/>
                  </a:lnTo>
                  <a:lnTo>
                    <a:pt x="918" y="342"/>
                  </a:lnTo>
                  <a:lnTo>
                    <a:pt x="912" y="342"/>
                  </a:lnTo>
                  <a:lnTo>
                    <a:pt x="906" y="348"/>
                  </a:lnTo>
                  <a:lnTo>
                    <a:pt x="894" y="354"/>
                  </a:lnTo>
                  <a:lnTo>
                    <a:pt x="882" y="366"/>
                  </a:lnTo>
                  <a:lnTo>
                    <a:pt x="882" y="378"/>
                  </a:lnTo>
                  <a:lnTo>
                    <a:pt x="888" y="384"/>
                  </a:lnTo>
                  <a:lnTo>
                    <a:pt x="888" y="396"/>
                  </a:lnTo>
                  <a:lnTo>
                    <a:pt x="882" y="390"/>
                  </a:lnTo>
                  <a:lnTo>
                    <a:pt x="870" y="390"/>
                  </a:lnTo>
                  <a:lnTo>
                    <a:pt x="858" y="384"/>
                  </a:lnTo>
                  <a:lnTo>
                    <a:pt x="852" y="384"/>
                  </a:lnTo>
                  <a:lnTo>
                    <a:pt x="852" y="372"/>
                  </a:lnTo>
                  <a:lnTo>
                    <a:pt x="858" y="366"/>
                  </a:lnTo>
                  <a:lnTo>
                    <a:pt x="858" y="348"/>
                  </a:lnTo>
                  <a:lnTo>
                    <a:pt x="840" y="342"/>
                  </a:lnTo>
                  <a:lnTo>
                    <a:pt x="762" y="342"/>
                  </a:lnTo>
                  <a:lnTo>
                    <a:pt x="732" y="282"/>
                  </a:lnTo>
                  <a:lnTo>
                    <a:pt x="726" y="276"/>
                  </a:lnTo>
                  <a:lnTo>
                    <a:pt x="714" y="276"/>
                  </a:lnTo>
                  <a:lnTo>
                    <a:pt x="708" y="282"/>
                  </a:lnTo>
                  <a:lnTo>
                    <a:pt x="702" y="282"/>
                  </a:lnTo>
                  <a:lnTo>
                    <a:pt x="696" y="276"/>
                  </a:lnTo>
                  <a:lnTo>
                    <a:pt x="696" y="234"/>
                  </a:lnTo>
                  <a:lnTo>
                    <a:pt x="690" y="216"/>
                  </a:lnTo>
                  <a:lnTo>
                    <a:pt x="690" y="204"/>
                  </a:lnTo>
                  <a:lnTo>
                    <a:pt x="660" y="204"/>
                  </a:lnTo>
                  <a:lnTo>
                    <a:pt x="654" y="192"/>
                  </a:lnTo>
                  <a:lnTo>
                    <a:pt x="642" y="186"/>
                  </a:lnTo>
                  <a:lnTo>
                    <a:pt x="636" y="168"/>
                  </a:lnTo>
                  <a:lnTo>
                    <a:pt x="618" y="150"/>
                  </a:lnTo>
                  <a:lnTo>
                    <a:pt x="612" y="138"/>
                  </a:lnTo>
                  <a:lnTo>
                    <a:pt x="600" y="138"/>
                  </a:lnTo>
                  <a:lnTo>
                    <a:pt x="576" y="150"/>
                  </a:lnTo>
                  <a:lnTo>
                    <a:pt x="570" y="156"/>
                  </a:lnTo>
                  <a:lnTo>
                    <a:pt x="552" y="156"/>
                  </a:lnTo>
                  <a:lnTo>
                    <a:pt x="534" y="150"/>
                  </a:lnTo>
                  <a:lnTo>
                    <a:pt x="474" y="150"/>
                  </a:lnTo>
                  <a:lnTo>
                    <a:pt x="456" y="156"/>
                  </a:lnTo>
                  <a:lnTo>
                    <a:pt x="420" y="156"/>
                  </a:lnTo>
                  <a:lnTo>
                    <a:pt x="414" y="162"/>
                  </a:lnTo>
                  <a:lnTo>
                    <a:pt x="408" y="162"/>
                  </a:lnTo>
                  <a:lnTo>
                    <a:pt x="330" y="90"/>
                  </a:lnTo>
                  <a:lnTo>
                    <a:pt x="264" y="54"/>
                  </a:lnTo>
                  <a:lnTo>
                    <a:pt x="270" y="66"/>
                  </a:lnTo>
                  <a:lnTo>
                    <a:pt x="270" y="90"/>
                  </a:lnTo>
                  <a:lnTo>
                    <a:pt x="264" y="102"/>
                  </a:lnTo>
                  <a:lnTo>
                    <a:pt x="258" y="108"/>
                  </a:lnTo>
                  <a:lnTo>
                    <a:pt x="240" y="108"/>
                  </a:lnTo>
                  <a:lnTo>
                    <a:pt x="228" y="102"/>
                  </a:lnTo>
                  <a:lnTo>
                    <a:pt x="222" y="96"/>
                  </a:lnTo>
                  <a:lnTo>
                    <a:pt x="222" y="78"/>
                  </a:lnTo>
                  <a:lnTo>
                    <a:pt x="210" y="54"/>
                  </a:lnTo>
                  <a:lnTo>
                    <a:pt x="216" y="36"/>
                  </a:lnTo>
                  <a:lnTo>
                    <a:pt x="162" y="12"/>
                  </a:lnTo>
                  <a:lnTo>
                    <a:pt x="156" y="30"/>
                  </a:lnTo>
                  <a:lnTo>
                    <a:pt x="168" y="36"/>
                  </a:lnTo>
                  <a:lnTo>
                    <a:pt x="174" y="48"/>
                  </a:lnTo>
                  <a:lnTo>
                    <a:pt x="174" y="72"/>
                  </a:lnTo>
                  <a:lnTo>
                    <a:pt x="168" y="78"/>
                  </a:lnTo>
                  <a:lnTo>
                    <a:pt x="156" y="84"/>
                  </a:lnTo>
                  <a:lnTo>
                    <a:pt x="150" y="84"/>
                  </a:lnTo>
                  <a:lnTo>
                    <a:pt x="144" y="78"/>
                  </a:lnTo>
                  <a:lnTo>
                    <a:pt x="144" y="60"/>
                  </a:lnTo>
                  <a:lnTo>
                    <a:pt x="132" y="48"/>
                  </a:lnTo>
                  <a:lnTo>
                    <a:pt x="132" y="42"/>
                  </a:lnTo>
                  <a:lnTo>
                    <a:pt x="144" y="30"/>
                  </a:lnTo>
                  <a:lnTo>
                    <a:pt x="150" y="6"/>
                  </a:lnTo>
                  <a:lnTo>
                    <a:pt x="144" y="0"/>
                  </a:lnTo>
                  <a:lnTo>
                    <a:pt x="0" y="42"/>
                  </a:lnTo>
                  <a:lnTo>
                    <a:pt x="48" y="324"/>
                  </a:lnTo>
                  <a:lnTo>
                    <a:pt x="60" y="324"/>
                  </a:lnTo>
                  <a:lnTo>
                    <a:pt x="72" y="336"/>
                  </a:lnTo>
                  <a:lnTo>
                    <a:pt x="138" y="336"/>
                  </a:lnTo>
                  <a:lnTo>
                    <a:pt x="132" y="324"/>
                  </a:lnTo>
                  <a:lnTo>
                    <a:pt x="120" y="318"/>
                  </a:lnTo>
                  <a:lnTo>
                    <a:pt x="114" y="300"/>
                  </a:lnTo>
                  <a:lnTo>
                    <a:pt x="114" y="288"/>
                  </a:lnTo>
                  <a:lnTo>
                    <a:pt x="132" y="270"/>
                  </a:lnTo>
                  <a:lnTo>
                    <a:pt x="144" y="264"/>
                  </a:lnTo>
                  <a:lnTo>
                    <a:pt x="156" y="264"/>
                  </a:lnTo>
                  <a:lnTo>
                    <a:pt x="162" y="258"/>
                  </a:lnTo>
                  <a:lnTo>
                    <a:pt x="168" y="258"/>
                  </a:lnTo>
                  <a:lnTo>
                    <a:pt x="168" y="246"/>
                  </a:lnTo>
                  <a:lnTo>
                    <a:pt x="174" y="240"/>
                  </a:lnTo>
                  <a:lnTo>
                    <a:pt x="180" y="240"/>
                  </a:lnTo>
                  <a:lnTo>
                    <a:pt x="186" y="246"/>
                  </a:lnTo>
                  <a:lnTo>
                    <a:pt x="198" y="246"/>
                  </a:lnTo>
                  <a:lnTo>
                    <a:pt x="204" y="252"/>
                  </a:lnTo>
                  <a:lnTo>
                    <a:pt x="174" y="222"/>
                  </a:lnTo>
                  <a:lnTo>
                    <a:pt x="204" y="228"/>
                  </a:lnTo>
                  <a:lnTo>
                    <a:pt x="210" y="216"/>
                  </a:lnTo>
                  <a:lnTo>
                    <a:pt x="228" y="240"/>
                  </a:lnTo>
                  <a:lnTo>
                    <a:pt x="252" y="240"/>
                  </a:lnTo>
                  <a:lnTo>
                    <a:pt x="252" y="252"/>
                  </a:lnTo>
                  <a:lnTo>
                    <a:pt x="264" y="258"/>
                  </a:lnTo>
                  <a:lnTo>
                    <a:pt x="300" y="258"/>
                  </a:lnTo>
                  <a:lnTo>
                    <a:pt x="306" y="264"/>
                  </a:lnTo>
                  <a:lnTo>
                    <a:pt x="312" y="276"/>
                  </a:lnTo>
                  <a:lnTo>
                    <a:pt x="312" y="288"/>
                  </a:lnTo>
                  <a:lnTo>
                    <a:pt x="324" y="294"/>
                  </a:lnTo>
                  <a:lnTo>
                    <a:pt x="312" y="306"/>
                  </a:lnTo>
                  <a:lnTo>
                    <a:pt x="312" y="318"/>
                  </a:lnTo>
                  <a:lnTo>
                    <a:pt x="330" y="336"/>
                  </a:lnTo>
                  <a:lnTo>
                    <a:pt x="360" y="336"/>
                  </a:lnTo>
                  <a:lnTo>
                    <a:pt x="414" y="342"/>
                  </a:lnTo>
                  <a:lnTo>
                    <a:pt x="414" y="336"/>
                  </a:lnTo>
                  <a:lnTo>
                    <a:pt x="450" y="354"/>
                  </a:lnTo>
                  <a:lnTo>
                    <a:pt x="468" y="384"/>
                  </a:lnTo>
                  <a:lnTo>
                    <a:pt x="486" y="402"/>
                  </a:lnTo>
                  <a:lnTo>
                    <a:pt x="486" y="408"/>
                  </a:lnTo>
                  <a:lnTo>
                    <a:pt x="492" y="414"/>
                  </a:lnTo>
                  <a:lnTo>
                    <a:pt x="510" y="450"/>
                  </a:lnTo>
                  <a:lnTo>
                    <a:pt x="522" y="462"/>
                  </a:lnTo>
                  <a:lnTo>
                    <a:pt x="534" y="468"/>
                  </a:lnTo>
                  <a:lnTo>
                    <a:pt x="552" y="468"/>
                  </a:lnTo>
                  <a:lnTo>
                    <a:pt x="564" y="474"/>
                  </a:lnTo>
                  <a:lnTo>
                    <a:pt x="570" y="474"/>
                  </a:lnTo>
                  <a:lnTo>
                    <a:pt x="582" y="486"/>
                  </a:lnTo>
                  <a:lnTo>
                    <a:pt x="588" y="498"/>
                  </a:lnTo>
                  <a:lnTo>
                    <a:pt x="594" y="504"/>
                  </a:lnTo>
                  <a:lnTo>
                    <a:pt x="624" y="522"/>
                  </a:lnTo>
                  <a:lnTo>
                    <a:pt x="648" y="522"/>
                  </a:lnTo>
                  <a:lnTo>
                    <a:pt x="666" y="534"/>
                  </a:lnTo>
                  <a:lnTo>
                    <a:pt x="690" y="546"/>
                  </a:lnTo>
                  <a:lnTo>
                    <a:pt x="696" y="552"/>
                  </a:lnTo>
                  <a:lnTo>
                    <a:pt x="708" y="558"/>
                  </a:lnTo>
                  <a:lnTo>
                    <a:pt x="720" y="570"/>
                  </a:lnTo>
                  <a:lnTo>
                    <a:pt x="732" y="570"/>
                  </a:lnTo>
                  <a:lnTo>
                    <a:pt x="744" y="582"/>
                  </a:lnTo>
                  <a:lnTo>
                    <a:pt x="750" y="582"/>
                  </a:lnTo>
                  <a:lnTo>
                    <a:pt x="774" y="576"/>
                  </a:lnTo>
                  <a:lnTo>
                    <a:pt x="822" y="606"/>
                  </a:lnTo>
                  <a:lnTo>
                    <a:pt x="816" y="612"/>
                  </a:lnTo>
                  <a:lnTo>
                    <a:pt x="816" y="630"/>
                  </a:lnTo>
                  <a:lnTo>
                    <a:pt x="828" y="642"/>
                  </a:lnTo>
                  <a:lnTo>
                    <a:pt x="828" y="654"/>
                  </a:lnTo>
                  <a:lnTo>
                    <a:pt x="840" y="654"/>
                  </a:lnTo>
                  <a:lnTo>
                    <a:pt x="852" y="642"/>
                  </a:lnTo>
                  <a:lnTo>
                    <a:pt x="870" y="666"/>
                  </a:lnTo>
                  <a:lnTo>
                    <a:pt x="882" y="660"/>
                  </a:lnTo>
                  <a:lnTo>
                    <a:pt x="894" y="660"/>
                  </a:lnTo>
                  <a:lnTo>
                    <a:pt x="900" y="666"/>
                  </a:lnTo>
                  <a:lnTo>
                    <a:pt x="906" y="666"/>
                  </a:lnTo>
                  <a:lnTo>
                    <a:pt x="900" y="666"/>
                  </a:lnTo>
                  <a:lnTo>
                    <a:pt x="900" y="642"/>
                  </a:lnTo>
                  <a:lnTo>
                    <a:pt x="906" y="636"/>
                  </a:lnTo>
                  <a:lnTo>
                    <a:pt x="912" y="624"/>
                  </a:lnTo>
                  <a:lnTo>
                    <a:pt x="924" y="618"/>
                  </a:lnTo>
                  <a:lnTo>
                    <a:pt x="930" y="606"/>
                  </a:lnTo>
                  <a:lnTo>
                    <a:pt x="930" y="588"/>
                  </a:lnTo>
                  <a:lnTo>
                    <a:pt x="918" y="576"/>
                  </a:lnTo>
                  <a:lnTo>
                    <a:pt x="906" y="570"/>
                  </a:lnTo>
                  <a:lnTo>
                    <a:pt x="900" y="564"/>
                  </a:lnTo>
                  <a:lnTo>
                    <a:pt x="900" y="546"/>
                  </a:lnTo>
                  <a:lnTo>
                    <a:pt x="906" y="540"/>
                  </a:lnTo>
                  <a:lnTo>
                    <a:pt x="906" y="534"/>
                  </a:lnTo>
                  <a:lnTo>
                    <a:pt x="894" y="522"/>
                  </a:lnTo>
                  <a:lnTo>
                    <a:pt x="882" y="522"/>
                  </a:lnTo>
                  <a:lnTo>
                    <a:pt x="876" y="516"/>
                  </a:lnTo>
                  <a:lnTo>
                    <a:pt x="870" y="516"/>
                  </a:lnTo>
                  <a:lnTo>
                    <a:pt x="858" y="504"/>
                  </a:lnTo>
                  <a:lnTo>
                    <a:pt x="840" y="504"/>
                  </a:lnTo>
                  <a:lnTo>
                    <a:pt x="840" y="486"/>
                  </a:lnTo>
                  <a:lnTo>
                    <a:pt x="846" y="480"/>
                  </a:lnTo>
                  <a:lnTo>
                    <a:pt x="894" y="480"/>
                  </a:lnTo>
                  <a:lnTo>
                    <a:pt x="918" y="468"/>
                  </a:lnTo>
                  <a:lnTo>
                    <a:pt x="918" y="456"/>
                  </a:lnTo>
                  <a:lnTo>
                    <a:pt x="912" y="456"/>
                  </a:lnTo>
                  <a:lnTo>
                    <a:pt x="930" y="444"/>
                  </a:lnTo>
                  <a:lnTo>
                    <a:pt x="906" y="420"/>
                  </a:lnTo>
                  <a:lnTo>
                    <a:pt x="948" y="420"/>
                  </a:lnTo>
                  <a:lnTo>
                    <a:pt x="948" y="414"/>
                  </a:lnTo>
                  <a:lnTo>
                    <a:pt x="936" y="402"/>
                  </a:lnTo>
                  <a:lnTo>
                    <a:pt x="936" y="390"/>
                  </a:lnTo>
                  <a:lnTo>
                    <a:pt x="942" y="384"/>
                  </a:lnTo>
                  <a:lnTo>
                    <a:pt x="942" y="372"/>
                  </a:lnTo>
                  <a:lnTo>
                    <a:pt x="954" y="372"/>
                  </a:lnTo>
                  <a:lnTo>
                    <a:pt x="972" y="390"/>
                  </a:lnTo>
                  <a:lnTo>
                    <a:pt x="978" y="390"/>
                  </a:lnTo>
                  <a:lnTo>
                    <a:pt x="984" y="378"/>
                  </a:lnTo>
                  <a:lnTo>
                    <a:pt x="996" y="372"/>
                  </a:lnTo>
                  <a:lnTo>
                    <a:pt x="1002" y="360"/>
                  </a:lnTo>
                  <a:lnTo>
                    <a:pt x="1020" y="360"/>
                  </a:lnTo>
                  <a:lnTo>
                    <a:pt x="1032" y="366"/>
                  </a:lnTo>
                  <a:lnTo>
                    <a:pt x="1038" y="372"/>
                  </a:lnTo>
                  <a:lnTo>
                    <a:pt x="1014" y="408"/>
                  </a:lnTo>
                  <a:lnTo>
                    <a:pt x="1026" y="408"/>
                  </a:lnTo>
                  <a:lnTo>
                    <a:pt x="1032" y="414"/>
                  </a:lnTo>
                  <a:lnTo>
                    <a:pt x="1044" y="414"/>
                  </a:lnTo>
                  <a:lnTo>
                    <a:pt x="1050" y="420"/>
                  </a:lnTo>
                  <a:lnTo>
                    <a:pt x="1056" y="420"/>
                  </a:lnTo>
                  <a:lnTo>
                    <a:pt x="1068" y="414"/>
                  </a:lnTo>
                  <a:lnTo>
                    <a:pt x="1086" y="414"/>
                  </a:lnTo>
                  <a:lnTo>
                    <a:pt x="1092" y="420"/>
                  </a:lnTo>
                  <a:lnTo>
                    <a:pt x="1098" y="420"/>
                  </a:lnTo>
                  <a:lnTo>
                    <a:pt x="1104" y="426"/>
                  </a:lnTo>
                  <a:lnTo>
                    <a:pt x="1110" y="426"/>
                  </a:lnTo>
                  <a:lnTo>
                    <a:pt x="1128" y="408"/>
                  </a:lnTo>
                  <a:lnTo>
                    <a:pt x="1146" y="402"/>
                  </a:lnTo>
                  <a:lnTo>
                    <a:pt x="1146" y="396"/>
                  </a:lnTo>
                  <a:lnTo>
                    <a:pt x="1158" y="396"/>
                  </a:lnTo>
                  <a:lnTo>
                    <a:pt x="1170" y="390"/>
                  </a:lnTo>
                  <a:lnTo>
                    <a:pt x="1182" y="378"/>
                  </a:lnTo>
                  <a:lnTo>
                    <a:pt x="1182" y="366"/>
                  </a:lnTo>
                  <a:lnTo>
                    <a:pt x="1170" y="366"/>
                  </a:lnTo>
                  <a:lnTo>
                    <a:pt x="1158" y="372"/>
                  </a:lnTo>
                  <a:lnTo>
                    <a:pt x="1152" y="372"/>
                  </a:lnTo>
                  <a:close/>
                </a:path>
              </a:pathLst>
            </a:custGeom>
            <a:grpFill/>
            <a:ln w="3175">
              <a:solidFill>
                <a:schemeClr val="bg1"/>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de-DE" sz="1800" b="0" i="0" u="none" strike="noStrike" kern="1200" cap="none" spc="0" normalizeH="0" baseline="0" noProof="0">
                <a:ln>
                  <a:noFill/>
                </a:ln>
                <a:solidFill>
                  <a:srgbClr val="FFC000"/>
                </a:solidFill>
                <a:effectLst/>
                <a:uLnTx/>
                <a:uFillTx/>
                <a:latin typeface="Calibri" pitchFamily="34" charset="0"/>
                <a:ea typeface="+mn-ea"/>
                <a:cs typeface="+mn-cs"/>
              </a:endParaRPr>
            </a:p>
          </p:txBody>
        </p:sp>
        <p:sp>
          <p:nvSpPr>
            <p:cNvPr id="30" name="Vietnam" descr="© INSCALE GmbH, 05.05.2010&#10;http://www.presentationload.com/"/>
            <p:cNvSpPr>
              <a:spLocks/>
            </p:cNvSpPr>
            <p:nvPr/>
          </p:nvSpPr>
          <p:spPr bwMode="gray">
            <a:xfrm>
              <a:off x="6783532" y="3719570"/>
              <a:ext cx="195815" cy="369886"/>
            </a:xfrm>
            <a:custGeom>
              <a:avLst/>
              <a:gdLst>
                <a:gd name="T0" fmla="*/ 2147483647 w 606"/>
                <a:gd name="T1" fmla="*/ 2147483647 h 1194"/>
                <a:gd name="T2" fmla="*/ 2147483647 w 606"/>
                <a:gd name="T3" fmla="*/ 2147483647 h 1194"/>
                <a:gd name="T4" fmla="*/ 2147483647 w 606"/>
                <a:gd name="T5" fmla="*/ 2147483647 h 1194"/>
                <a:gd name="T6" fmla="*/ 2147483647 w 606"/>
                <a:gd name="T7" fmla="*/ 2147483647 h 1194"/>
                <a:gd name="T8" fmla="*/ 2147483647 w 606"/>
                <a:gd name="T9" fmla="*/ 2147483647 h 1194"/>
                <a:gd name="T10" fmla="*/ 2147483647 w 606"/>
                <a:gd name="T11" fmla="*/ 2147483647 h 1194"/>
                <a:gd name="T12" fmla="*/ 2147483647 w 606"/>
                <a:gd name="T13" fmla="*/ 2147483647 h 1194"/>
                <a:gd name="T14" fmla="*/ 2147483647 w 606"/>
                <a:gd name="T15" fmla="*/ 2147483647 h 1194"/>
                <a:gd name="T16" fmla="*/ 2147483647 w 606"/>
                <a:gd name="T17" fmla="*/ 2147483647 h 1194"/>
                <a:gd name="T18" fmla="*/ 2147483647 w 606"/>
                <a:gd name="T19" fmla="*/ 2147483647 h 1194"/>
                <a:gd name="T20" fmla="*/ 2147483647 w 606"/>
                <a:gd name="T21" fmla="*/ 2147483647 h 1194"/>
                <a:gd name="T22" fmla="*/ 2147483647 w 606"/>
                <a:gd name="T23" fmla="*/ 2147483647 h 1194"/>
                <a:gd name="T24" fmla="*/ 2147483647 w 606"/>
                <a:gd name="T25" fmla="*/ 2147483647 h 1194"/>
                <a:gd name="T26" fmla="*/ 2147483647 w 606"/>
                <a:gd name="T27" fmla="*/ 2147483647 h 1194"/>
                <a:gd name="T28" fmla="*/ 2147483647 w 606"/>
                <a:gd name="T29" fmla="*/ 2147483647 h 1194"/>
                <a:gd name="T30" fmla="*/ 2147483647 w 606"/>
                <a:gd name="T31" fmla="*/ 2147483647 h 1194"/>
                <a:gd name="T32" fmla="*/ 2147483647 w 606"/>
                <a:gd name="T33" fmla="*/ 2147483647 h 1194"/>
                <a:gd name="T34" fmla="*/ 2147483647 w 606"/>
                <a:gd name="T35" fmla="*/ 2147483647 h 1194"/>
                <a:gd name="T36" fmla="*/ 2147483647 w 606"/>
                <a:gd name="T37" fmla="*/ 2147483647 h 1194"/>
                <a:gd name="T38" fmla="*/ 2147483647 w 606"/>
                <a:gd name="T39" fmla="*/ 2147483647 h 1194"/>
                <a:gd name="T40" fmla="*/ 2147483647 w 606"/>
                <a:gd name="T41" fmla="*/ 2147483647 h 1194"/>
                <a:gd name="T42" fmla="*/ 2147483647 w 606"/>
                <a:gd name="T43" fmla="*/ 2147483647 h 1194"/>
                <a:gd name="T44" fmla="*/ 2147483647 w 606"/>
                <a:gd name="T45" fmla="*/ 2147483647 h 1194"/>
                <a:gd name="T46" fmla="*/ 2147483647 w 606"/>
                <a:gd name="T47" fmla="*/ 2147483647 h 1194"/>
                <a:gd name="T48" fmla="*/ 2147483647 w 606"/>
                <a:gd name="T49" fmla="*/ 2147483647 h 1194"/>
                <a:gd name="T50" fmla="*/ 2147483647 w 606"/>
                <a:gd name="T51" fmla="*/ 2147483647 h 1194"/>
                <a:gd name="T52" fmla="*/ 2147483647 w 606"/>
                <a:gd name="T53" fmla="*/ 2147483647 h 1194"/>
                <a:gd name="T54" fmla="*/ 2147483647 w 606"/>
                <a:gd name="T55" fmla="*/ 2147483647 h 1194"/>
                <a:gd name="T56" fmla="*/ 2147483647 w 606"/>
                <a:gd name="T57" fmla="*/ 2147483647 h 1194"/>
                <a:gd name="T58" fmla="*/ 2147483647 w 606"/>
                <a:gd name="T59" fmla="*/ 2147483647 h 1194"/>
                <a:gd name="T60" fmla="*/ 2147483647 w 606"/>
                <a:gd name="T61" fmla="*/ 2147483647 h 1194"/>
                <a:gd name="T62" fmla="*/ 2147483647 w 606"/>
                <a:gd name="T63" fmla="*/ 2147483647 h 1194"/>
                <a:gd name="T64" fmla="*/ 2147483647 w 606"/>
                <a:gd name="T65" fmla="*/ 2147483647 h 1194"/>
                <a:gd name="T66" fmla="*/ 2147483647 w 606"/>
                <a:gd name="T67" fmla="*/ 2147483647 h 1194"/>
                <a:gd name="T68" fmla="*/ 2147483647 w 606"/>
                <a:gd name="T69" fmla="*/ 2147483647 h 1194"/>
                <a:gd name="T70" fmla="*/ 2147483647 w 606"/>
                <a:gd name="T71" fmla="*/ 2147483647 h 1194"/>
                <a:gd name="T72" fmla="*/ 2147483647 w 606"/>
                <a:gd name="T73" fmla="*/ 2147483647 h 1194"/>
                <a:gd name="T74" fmla="*/ 2147483647 w 606"/>
                <a:gd name="T75" fmla="*/ 2147483647 h 1194"/>
                <a:gd name="T76" fmla="*/ 2147483647 w 606"/>
                <a:gd name="T77" fmla="*/ 2147483647 h 1194"/>
                <a:gd name="T78" fmla="*/ 2147483647 w 606"/>
                <a:gd name="T79" fmla="*/ 2147483647 h 1194"/>
                <a:gd name="T80" fmla="*/ 2147483647 w 606"/>
                <a:gd name="T81" fmla="*/ 2147483647 h 1194"/>
                <a:gd name="T82" fmla="*/ 2147483647 w 606"/>
                <a:gd name="T83" fmla="*/ 2147483647 h 1194"/>
                <a:gd name="T84" fmla="*/ 2147483647 w 606"/>
                <a:gd name="T85" fmla="*/ 2147483647 h 1194"/>
                <a:gd name="T86" fmla="*/ 2147483647 w 606"/>
                <a:gd name="T87" fmla="*/ 2147483647 h 1194"/>
                <a:gd name="T88" fmla="*/ 2147483647 w 606"/>
                <a:gd name="T89" fmla="*/ 2147483647 h 1194"/>
                <a:gd name="T90" fmla="*/ 2147483647 w 606"/>
                <a:gd name="T91" fmla="*/ 2147483647 h 1194"/>
                <a:gd name="T92" fmla="*/ 2147483647 w 606"/>
                <a:gd name="T93" fmla="*/ 2147483647 h 1194"/>
                <a:gd name="T94" fmla="*/ 2147483647 w 606"/>
                <a:gd name="T95" fmla="*/ 2147483647 h 1194"/>
                <a:gd name="T96" fmla="*/ 2147483647 w 606"/>
                <a:gd name="T97" fmla="*/ 2147483647 h 1194"/>
                <a:gd name="T98" fmla="*/ 2147483647 w 606"/>
                <a:gd name="T99" fmla="*/ 2147483647 h 1194"/>
                <a:gd name="T100" fmla="*/ 2147483647 w 606"/>
                <a:gd name="T101" fmla="*/ 2147483647 h 1194"/>
                <a:gd name="T102" fmla="*/ 2147483647 w 606"/>
                <a:gd name="T103" fmla="*/ 2147483647 h 1194"/>
                <a:gd name="T104" fmla="*/ 2147483647 w 606"/>
                <a:gd name="T105" fmla="*/ 2147483647 h 1194"/>
                <a:gd name="T106" fmla="*/ 2147483647 w 606"/>
                <a:gd name="T107" fmla="*/ 2147483647 h 1194"/>
                <a:gd name="T108" fmla="*/ 2147483647 w 606"/>
                <a:gd name="T109" fmla="*/ 2147483647 h 1194"/>
                <a:gd name="T110" fmla="*/ 2147483647 w 606"/>
                <a:gd name="T111" fmla="*/ 2147483647 h 1194"/>
                <a:gd name="T112" fmla="*/ 2147483647 w 606"/>
                <a:gd name="T113" fmla="*/ 2147483647 h 1194"/>
                <a:gd name="T114" fmla="*/ 2147483647 w 606"/>
                <a:gd name="T115" fmla="*/ 2147483647 h 1194"/>
                <a:gd name="T116" fmla="*/ 2147483647 w 606"/>
                <a:gd name="T117" fmla="*/ 2147483647 h 1194"/>
                <a:gd name="T118" fmla="*/ 2147483647 w 606"/>
                <a:gd name="T119" fmla="*/ 2147483647 h 1194"/>
                <a:gd name="T120" fmla="*/ 2147483647 w 606"/>
                <a:gd name="T121" fmla="*/ 2147483647 h 1194"/>
                <a:gd name="T122" fmla="*/ 2147483647 w 606"/>
                <a:gd name="T123" fmla="*/ 2147483647 h 1194"/>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606"/>
                <a:gd name="T187" fmla="*/ 0 h 1194"/>
                <a:gd name="T188" fmla="*/ 606 w 606"/>
                <a:gd name="T189" fmla="*/ 1194 h 1194"/>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606" h="1194">
                  <a:moveTo>
                    <a:pt x="6" y="48"/>
                  </a:moveTo>
                  <a:lnTo>
                    <a:pt x="0" y="60"/>
                  </a:lnTo>
                  <a:lnTo>
                    <a:pt x="0" y="72"/>
                  </a:lnTo>
                  <a:lnTo>
                    <a:pt x="12" y="96"/>
                  </a:lnTo>
                  <a:lnTo>
                    <a:pt x="18" y="102"/>
                  </a:lnTo>
                  <a:lnTo>
                    <a:pt x="24" y="114"/>
                  </a:lnTo>
                  <a:lnTo>
                    <a:pt x="36" y="120"/>
                  </a:lnTo>
                  <a:lnTo>
                    <a:pt x="42" y="132"/>
                  </a:lnTo>
                  <a:lnTo>
                    <a:pt x="48" y="126"/>
                  </a:lnTo>
                  <a:lnTo>
                    <a:pt x="54" y="126"/>
                  </a:lnTo>
                  <a:lnTo>
                    <a:pt x="54" y="156"/>
                  </a:lnTo>
                  <a:lnTo>
                    <a:pt x="66" y="180"/>
                  </a:lnTo>
                  <a:lnTo>
                    <a:pt x="84" y="198"/>
                  </a:lnTo>
                  <a:lnTo>
                    <a:pt x="90" y="210"/>
                  </a:lnTo>
                  <a:lnTo>
                    <a:pt x="108" y="210"/>
                  </a:lnTo>
                  <a:lnTo>
                    <a:pt x="108" y="216"/>
                  </a:lnTo>
                  <a:lnTo>
                    <a:pt x="120" y="228"/>
                  </a:lnTo>
                  <a:lnTo>
                    <a:pt x="126" y="222"/>
                  </a:lnTo>
                  <a:lnTo>
                    <a:pt x="132" y="210"/>
                  </a:lnTo>
                  <a:lnTo>
                    <a:pt x="132" y="204"/>
                  </a:lnTo>
                  <a:lnTo>
                    <a:pt x="138" y="192"/>
                  </a:lnTo>
                  <a:lnTo>
                    <a:pt x="150" y="192"/>
                  </a:lnTo>
                  <a:lnTo>
                    <a:pt x="162" y="198"/>
                  </a:lnTo>
                  <a:lnTo>
                    <a:pt x="186" y="222"/>
                  </a:lnTo>
                  <a:lnTo>
                    <a:pt x="180" y="222"/>
                  </a:lnTo>
                  <a:lnTo>
                    <a:pt x="174" y="228"/>
                  </a:lnTo>
                  <a:lnTo>
                    <a:pt x="174" y="234"/>
                  </a:lnTo>
                  <a:lnTo>
                    <a:pt x="198" y="246"/>
                  </a:lnTo>
                  <a:lnTo>
                    <a:pt x="216" y="252"/>
                  </a:lnTo>
                  <a:lnTo>
                    <a:pt x="228" y="258"/>
                  </a:lnTo>
                  <a:lnTo>
                    <a:pt x="228" y="270"/>
                  </a:lnTo>
                  <a:lnTo>
                    <a:pt x="222" y="282"/>
                  </a:lnTo>
                  <a:lnTo>
                    <a:pt x="210" y="288"/>
                  </a:lnTo>
                  <a:lnTo>
                    <a:pt x="204" y="300"/>
                  </a:lnTo>
                  <a:lnTo>
                    <a:pt x="198" y="306"/>
                  </a:lnTo>
                  <a:lnTo>
                    <a:pt x="180" y="306"/>
                  </a:lnTo>
                  <a:lnTo>
                    <a:pt x="174" y="300"/>
                  </a:lnTo>
                  <a:lnTo>
                    <a:pt x="150" y="300"/>
                  </a:lnTo>
                  <a:lnTo>
                    <a:pt x="156" y="306"/>
                  </a:lnTo>
                  <a:lnTo>
                    <a:pt x="156" y="324"/>
                  </a:lnTo>
                  <a:lnTo>
                    <a:pt x="168" y="330"/>
                  </a:lnTo>
                  <a:lnTo>
                    <a:pt x="174" y="336"/>
                  </a:lnTo>
                  <a:lnTo>
                    <a:pt x="210" y="354"/>
                  </a:lnTo>
                  <a:lnTo>
                    <a:pt x="222" y="366"/>
                  </a:lnTo>
                  <a:lnTo>
                    <a:pt x="234" y="372"/>
                  </a:lnTo>
                  <a:lnTo>
                    <a:pt x="240" y="378"/>
                  </a:lnTo>
                  <a:lnTo>
                    <a:pt x="252" y="378"/>
                  </a:lnTo>
                  <a:lnTo>
                    <a:pt x="252" y="408"/>
                  </a:lnTo>
                  <a:lnTo>
                    <a:pt x="258" y="414"/>
                  </a:lnTo>
                  <a:lnTo>
                    <a:pt x="270" y="414"/>
                  </a:lnTo>
                  <a:lnTo>
                    <a:pt x="282" y="420"/>
                  </a:lnTo>
                  <a:lnTo>
                    <a:pt x="288" y="426"/>
                  </a:lnTo>
                  <a:lnTo>
                    <a:pt x="294" y="426"/>
                  </a:lnTo>
                  <a:lnTo>
                    <a:pt x="294" y="450"/>
                  </a:lnTo>
                  <a:lnTo>
                    <a:pt x="306" y="474"/>
                  </a:lnTo>
                  <a:lnTo>
                    <a:pt x="324" y="486"/>
                  </a:lnTo>
                  <a:lnTo>
                    <a:pt x="342" y="504"/>
                  </a:lnTo>
                  <a:lnTo>
                    <a:pt x="348" y="522"/>
                  </a:lnTo>
                  <a:lnTo>
                    <a:pt x="366" y="522"/>
                  </a:lnTo>
                  <a:lnTo>
                    <a:pt x="366" y="528"/>
                  </a:lnTo>
                  <a:lnTo>
                    <a:pt x="372" y="534"/>
                  </a:lnTo>
                  <a:lnTo>
                    <a:pt x="384" y="558"/>
                  </a:lnTo>
                  <a:lnTo>
                    <a:pt x="396" y="570"/>
                  </a:lnTo>
                  <a:lnTo>
                    <a:pt x="408" y="570"/>
                  </a:lnTo>
                  <a:lnTo>
                    <a:pt x="414" y="576"/>
                  </a:lnTo>
                  <a:lnTo>
                    <a:pt x="426" y="582"/>
                  </a:lnTo>
                  <a:lnTo>
                    <a:pt x="432" y="588"/>
                  </a:lnTo>
                  <a:lnTo>
                    <a:pt x="432" y="600"/>
                  </a:lnTo>
                  <a:lnTo>
                    <a:pt x="426" y="606"/>
                  </a:lnTo>
                  <a:lnTo>
                    <a:pt x="420" y="606"/>
                  </a:lnTo>
                  <a:lnTo>
                    <a:pt x="414" y="612"/>
                  </a:lnTo>
                  <a:lnTo>
                    <a:pt x="408" y="612"/>
                  </a:lnTo>
                  <a:lnTo>
                    <a:pt x="432" y="636"/>
                  </a:lnTo>
                  <a:lnTo>
                    <a:pt x="456" y="648"/>
                  </a:lnTo>
                  <a:lnTo>
                    <a:pt x="462" y="654"/>
                  </a:lnTo>
                  <a:lnTo>
                    <a:pt x="468" y="654"/>
                  </a:lnTo>
                  <a:lnTo>
                    <a:pt x="450" y="690"/>
                  </a:lnTo>
                  <a:lnTo>
                    <a:pt x="456" y="690"/>
                  </a:lnTo>
                  <a:lnTo>
                    <a:pt x="468" y="702"/>
                  </a:lnTo>
                  <a:lnTo>
                    <a:pt x="468" y="708"/>
                  </a:lnTo>
                  <a:lnTo>
                    <a:pt x="456" y="720"/>
                  </a:lnTo>
                  <a:lnTo>
                    <a:pt x="450" y="720"/>
                  </a:lnTo>
                  <a:lnTo>
                    <a:pt x="450" y="762"/>
                  </a:lnTo>
                  <a:lnTo>
                    <a:pt x="456" y="762"/>
                  </a:lnTo>
                  <a:lnTo>
                    <a:pt x="468" y="774"/>
                  </a:lnTo>
                  <a:lnTo>
                    <a:pt x="480" y="798"/>
                  </a:lnTo>
                  <a:lnTo>
                    <a:pt x="480" y="804"/>
                  </a:lnTo>
                  <a:lnTo>
                    <a:pt x="468" y="816"/>
                  </a:lnTo>
                  <a:lnTo>
                    <a:pt x="462" y="816"/>
                  </a:lnTo>
                  <a:lnTo>
                    <a:pt x="462" y="828"/>
                  </a:lnTo>
                  <a:lnTo>
                    <a:pt x="468" y="834"/>
                  </a:lnTo>
                  <a:lnTo>
                    <a:pt x="468" y="864"/>
                  </a:lnTo>
                  <a:lnTo>
                    <a:pt x="474" y="870"/>
                  </a:lnTo>
                  <a:lnTo>
                    <a:pt x="474" y="900"/>
                  </a:lnTo>
                  <a:lnTo>
                    <a:pt x="462" y="894"/>
                  </a:lnTo>
                  <a:lnTo>
                    <a:pt x="444" y="894"/>
                  </a:lnTo>
                  <a:lnTo>
                    <a:pt x="438" y="900"/>
                  </a:lnTo>
                  <a:lnTo>
                    <a:pt x="438" y="918"/>
                  </a:lnTo>
                  <a:lnTo>
                    <a:pt x="408" y="918"/>
                  </a:lnTo>
                  <a:lnTo>
                    <a:pt x="408" y="942"/>
                  </a:lnTo>
                  <a:lnTo>
                    <a:pt x="366" y="942"/>
                  </a:lnTo>
                  <a:lnTo>
                    <a:pt x="366" y="966"/>
                  </a:lnTo>
                  <a:lnTo>
                    <a:pt x="378" y="990"/>
                  </a:lnTo>
                  <a:lnTo>
                    <a:pt x="396" y="1008"/>
                  </a:lnTo>
                  <a:lnTo>
                    <a:pt x="396" y="1020"/>
                  </a:lnTo>
                  <a:lnTo>
                    <a:pt x="390" y="1014"/>
                  </a:lnTo>
                  <a:lnTo>
                    <a:pt x="378" y="1008"/>
                  </a:lnTo>
                  <a:lnTo>
                    <a:pt x="372" y="1002"/>
                  </a:lnTo>
                  <a:lnTo>
                    <a:pt x="360" y="996"/>
                  </a:lnTo>
                  <a:lnTo>
                    <a:pt x="348" y="996"/>
                  </a:lnTo>
                  <a:lnTo>
                    <a:pt x="342" y="1002"/>
                  </a:lnTo>
                  <a:lnTo>
                    <a:pt x="342" y="1008"/>
                  </a:lnTo>
                  <a:lnTo>
                    <a:pt x="306" y="1008"/>
                  </a:lnTo>
                  <a:lnTo>
                    <a:pt x="312" y="1014"/>
                  </a:lnTo>
                  <a:lnTo>
                    <a:pt x="318" y="1014"/>
                  </a:lnTo>
                  <a:lnTo>
                    <a:pt x="324" y="1020"/>
                  </a:lnTo>
                  <a:lnTo>
                    <a:pt x="324" y="1026"/>
                  </a:lnTo>
                  <a:lnTo>
                    <a:pt x="312" y="1032"/>
                  </a:lnTo>
                  <a:lnTo>
                    <a:pt x="294" y="1032"/>
                  </a:lnTo>
                  <a:lnTo>
                    <a:pt x="276" y="1038"/>
                  </a:lnTo>
                  <a:lnTo>
                    <a:pt x="270" y="1050"/>
                  </a:lnTo>
                  <a:lnTo>
                    <a:pt x="270" y="1056"/>
                  </a:lnTo>
                  <a:lnTo>
                    <a:pt x="288" y="1074"/>
                  </a:lnTo>
                  <a:lnTo>
                    <a:pt x="300" y="1080"/>
                  </a:lnTo>
                  <a:lnTo>
                    <a:pt x="306" y="1086"/>
                  </a:lnTo>
                  <a:lnTo>
                    <a:pt x="312" y="1086"/>
                  </a:lnTo>
                  <a:lnTo>
                    <a:pt x="294" y="1104"/>
                  </a:lnTo>
                  <a:lnTo>
                    <a:pt x="294" y="1110"/>
                  </a:lnTo>
                  <a:lnTo>
                    <a:pt x="300" y="1116"/>
                  </a:lnTo>
                  <a:lnTo>
                    <a:pt x="300" y="1128"/>
                  </a:lnTo>
                  <a:lnTo>
                    <a:pt x="306" y="1140"/>
                  </a:lnTo>
                  <a:lnTo>
                    <a:pt x="306" y="1152"/>
                  </a:lnTo>
                  <a:lnTo>
                    <a:pt x="312" y="1158"/>
                  </a:lnTo>
                  <a:lnTo>
                    <a:pt x="294" y="1176"/>
                  </a:lnTo>
                  <a:lnTo>
                    <a:pt x="294" y="1188"/>
                  </a:lnTo>
                  <a:lnTo>
                    <a:pt x="306" y="1194"/>
                  </a:lnTo>
                  <a:lnTo>
                    <a:pt x="318" y="1194"/>
                  </a:lnTo>
                  <a:lnTo>
                    <a:pt x="330" y="1188"/>
                  </a:lnTo>
                  <a:lnTo>
                    <a:pt x="354" y="1164"/>
                  </a:lnTo>
                  <a:lnTo>
                    <a:pt x="366" y="1158"/>
                  </a:lnTo>
                  <a:lnTo>
                    <a:pt x="378" y="1158"/>
                  </a:lnTo>
                  <a:lnTo>
                    <a:pt x="384" y="1134"/>
                  </a:lnTo>
                  <a:lnTo>
                    <a:pt x="384" y="1110"/>
                  </a:lnTo>
                  <a:lnTo>
                    <a:pt x="396" y="1110"/>
                  </a:lnTo>
                  <a:lnTo>
                    <a:pt x="402" y="1116"/>
                  </a:lnTo>
                  <a:lnTo>
                    <a:pt x="414" y="1116"/>
                  </a:lnTo>
                  <a:lnTo>
                    <a:pt x="426" y="1104"/>
                  </a:lnTo>
                  <a:lnTo>
                    <a:pt x="426" y="1092"/>
                  </a:lnTo>
                  <a:lnTo>
                    <a:pt x="420" y="1086"/>
                  </a:lnTo>
                  <a:lnTo>
                    <a:pt x="414" y="1074"/>
                  </a:lnTo>
                  <a:lnTo>
                    <a:pt x="408" y="1068"/>
                  </a:lnTo>
                  <a:lnTo>
                    <a:pt x="408" y="1062"/>
                  </a:lnTo>
                  <a:lnTo>
                    <a:pt x="414" y="1056"/>
                  </a:lnTo>
                  <a:lnTo>
                    <a:pt x="426" y="1056"/>
                  </a:lnTo>
                  <a:lnTo>
                    <a:pt x="438" y="1050"/>
                  </a:lnTo>
                  <a:lnTo>
                    <a:pt x="444" y="1044"/>
                  </a:lnTo>
                  <a:lnTo>
                    <a:pt x="450" y="1044"/>
                  </a:lnTo>
                  <a:lnTo>
                    <a:pt x="456" y="1050"/>
                  </a:lnTo>
                  <a:lnTo>
                    <a:pt x="468" y="1050"/>
                  </a:lnTo>
                  <a:lnTo>
                    <a:pt x="480" y="1044"/>
                  </a:lnTo>
                  <a:lnTo>
                    <a:pt x="498" y="1038"/>
                  </a:lnTo>
                  <a:lnTo>
                    <a:pt x="546" y="1014"/>
                  </a:lnTo>
                  <a:lnTo>
                    <a:pt x="582" y="978"/>
                  </a:lnTo>
                  <a:lnTo>
                    <a:pt x="588" y="960"/>
                  </a:lnTo>
                  <a:lnTo>
                    <a:pt x="594" y="936"/>
                  </a:lnTo>
                  <a:lnTo>
                    <a:pt x="606" y="876"/>
                  </a:lnTo>
                  <a:lnTo>
                    <a:pt x="606" y="846"/>
                  </a:lnTo>
                  <a:lnTo>
                    <a:pt x="600" y="834"/>
                  </a:lnTo>
                  <a:lnTo>
                    <a:pt x="576" y="810"/>
                  </a:lnTo>
                  <a:lnTo>
                    <a:pt x="594" y="804"/>
                  </a:lnTo>
                  <a:lnTo>
                    <a:pt x="594" y="774"/>
                  </a:lnTo>
                  <a:lnTo>
                    <a:pt x="588" y="756"/>
                  </a:lnTo>
                  <a:lnTo>
                    <a:pt x="588" y="744"/>
                  </a:lnTo>
                  <a:lnTo>
                    <a:pt x="570" y="708"/>
                  </a:lnTo>
                  <a:lnTo>
                    <a:pt x="564" y="690"/>
                  </a:lnTo>
                  <a:lnTo>
                    <a:pt x="558" y="684"/>
                  </a:lnTo>
                  <a:lnTo>
                    <a:pt x="552" y="672"/>
                  </a:lnTo>
                  <a:lnTo>
                    <a:pt x="558" y="666"/>
                  </a:lnTo>
                  <a:lnTo>
                    <a:pt x="558" y="642"/>
                  </a:lnTo>
                  <a:lnTo>
                    <a:pt x="522" y="606"/>
                  </a:lnTo>
                  <a:lnTo>
                    <a:pt x="486" y="576"/>
                  </a:lnTo>
                  <a:lnTo>
                    <a:pt x="456" y="552"/>
                  </a:lnTo>
                  <a:lnTo>
                    <a:pt x="432" y="534"/>
                  </a:lnTo>
                  <a:lnTo>
                    <a:pt x="420" y="528"/>
                  </a:lnTo>
                  <a:lnTo>
                    <a:pt x="402" y="516"/>
                  </a:lnTo>
                  <a:lnTo>
                    <a:pt x="390" y="510"/>
                  </a:lnTo>
                  <a:lnTo>
                    <a:pt x="384" y="504"/>
                  </a:lnTo>
                  <a:lnTo>
                    <a:pt x="384" y="468"/>
                  </a:lnTo>
                  <a:lnTo>
                    <a:pt x="336" y="420"/>
                  </a:lnTo>
                  <a:lnTo>
                    <a:pt x="306" y="384"/>
                  </a:lnTo>
                  <a:lnTo>
                    <a:pt x="288" y="354"/>
                  </a:lnTo>
                  <a:lnTo>
                    <a:pt x="282" y="336"/>
                  </a:lnTo>
                  <a:lnTo>
                    <a:pt x="282" y="318"/>
                  </a:lnTo>
                  <a:lnTo>
                    <a:pt x="276" y="306"/>
                  </a:lnTo>
                  <a:lnTo>
                    <a:pt x="276" y="282"/>
                  </a:lnTo>
                  <a:lnTo>
                    <a:pt x="282" y="276"/>
                  </a:lnTo>
                  <a:lnTo>
                    <a:pt x="294" y="252"/>
                  </a:lnTo>
                  <a:lnTo>
                    <a:pt x="294" y="240"/>
                  </a:lnTo>
                  <a:lnTo>
                    <a:pt x="300" y="240"/>
                  </a:lnTo>
                  <a:lnTo>
                    <a:pt x="312" y="228"/>
                  </a:lnTo>
                  <a:lnTo>
                    <a:pt x="324" y="222"/>
                  </a:lnTo>
                  <a:lnTo>
                    <a:pt x="336" y="210"/>
                  </a:lnTo>
                  <a:lnTo>
                    <a:pt x="336" y="204"/>
                  </a:lnTo>
                  <a:lnTo>
                    <a:pt x="342" y="198"/>
                  </a:lnTo>
                  <a:lnTo>
                    <a:pt x="372" y="198"/>
                  </a:lnTo>
                  <a:lnTo>
                    <a:pt x="384" y="186"/>
                  </a:lnTo>
                  <a:lnTo>
                    <a:pt x="390" y="174"/>
                  </a:lnTo>
                  <a:lnTo>
                    <a:pt x="390" y="156"/>
                  </a:lnTo>
                  <a:lnTo>
                    <a:pt x="396" y="144"/>
                  </a:lnTo>
                  <a:lnTo>
                    <a:pt x="390" y="144"/>
                  </a:lnTo>
                  <a:lnTo>
                    <a:pt x="384" y="138"/>
                  </a:lnTo>
                  <a:lnTo>
                    <a:pt x="354" y="138"/>
                  </a:lnTo>
                  <a:lnTo>
                    <a:pt x="342" y="132"/>
                  </a:lnTo>
                  <a:lnTo>
                    <a:pt x="336" y="120"/>
                  </a:lnTo>
                  <a:lnTo>
                    <a:pt x="330" y="114"/>
                  </a:lnTo>
                  <a:lnTo>
                    <a:pt x="312" y="114"/>
                  </a:lnTo>
                  <a:lnTo>
                    <a:pt x="312" y="96"/>
                  </a:lnTo>
                  <a:lnTo>
                    <a:pt x="300" y="90"/>
                  </a:lnTo>
                  <a:lnTo>
                    <a:pt x="294" y="72"/>
                  </a:lnTo>
                  <a:lnTo>
                    <a:pt x="312" y="54"/>
                  </a:lnTo>
                  <a:lnTo>
                    <a:pt x="312" y="48"/>
                  </a:lnTo>
                  <a:lnTo>
                    <a:pt x="306" y="42"/>
                  </a:lnTo>
                  <a:lnTo>
                    <a:pt x="276" y="42"/>
                  </a:lnTo>
                  <a:lnTo>
                    <a:pt x="264" y="30"/>
                  </a:lnTo>
                  <a:lnTo>
                    <a:pt x="234" y="36"/>
                  </a:lnTo>
                  <a:lnTo>
                    <a:pt x="204" y="0"/>
                  </a:lnTo>
                  <a:lnTo>
                    <a:pt x="198" y="0"/>
                  </a:lnTo>
                  <a:lnTo>
                    <a:pt x="192" y="6"/>
                  </a:lnTo>
                  <a:lnTo>
                    <a:pt x="180" y="12"/>
                  </a:lnTo>
                  <a:lnTo>
                    <a:pt x="174" y="18"/>
                  </a:lnTo>
                  <a:lnTo>
                    <a:pt x="174" y="30"/>
                  </a:lnTo>
                  <a:lnTo>
                    <a:pt x="168" y="42"/>
                  </a:lnTo>
                  <a:lnTo>
                    <a:pt x="168" y="48"/>
                  </a:lnTo>
                  <a:lnTo>
                    <a:pt x="150" y="48"/>
                  </a:lnTo>
                  <a:lnTo>
                    <a:pt x="144" y="54"/>
                  </a:lnTo>
                  <a:lnTo>
                    <a:pt x="138" y="48"/>
                  </a:lnTo>
                  <a:lnTo>
                    <a:pt x="120" y="48"/>
                  </a:lnTo>
                  <a:lnTo>
                    <a:pt x="132" y="60"/>
                  </a:lnTo>
                  <a:lnTo>
                    <a:pt x="132" y="72"/>
                  </a:lnTo>
                  <a:lnTo>
                    <a:pt x="114" y="72"/>
                  </a:lnTo>
                  <a:lnTo>
                    <a:pt x="108" y="66"/>
                  </a:lnTo>
                  <a:lnTo>
                    <a:pt x="96" y="48"/>
                  </a:lnTo>
                  <a:lnTo>
                    <a:pt x="90" y="48"/>
                  </a:lnTo>
                  <a:lnTo>
                    <a:pt x="90" y="66"/>
                  </a:lnTo>
                  <a:lnTo>
                    <a:pt x="72" y="48"/>
                  </a:lnTo>
                  <a:lnTo>
                    <a:pt x="66" y="54"/>
                  </a:lnTo>
                  <a:lnTo>
                    <a:pt x="60" y="66"/>
                  </a:lnTo>
                  <a:lnTo>
                    <a:pt x="54" y="72"/>
                  </a:lnTo>
                  <a:lnTo>
                    <a:pt x="42" y="72"/>
                  </a:lnTo>
                  <a:lnTo>
                    <a:pt x="18" y="48"/>
                  </a:lnTo>
                  <a:lnTo>
                    <a:pt x="6" y="48"/>
                  </a:lnTo>
                  <a:close/>
                </a:path>
              </a:pathLst>
            </a:custGeom>
            <a:grpFill/>
            <a:ln w="3175">
              <a:solidFill>
                <a:schemeClr val="bg1"/>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de-DE" sz="1800" b="0" i="0" u="none" strike="noStrike" kern="1200" cap="none" spc="0" normalizeH="0" baseline="0" noProof="0">
                <a:ln>
                  <a:noFill/>
                </a:ln>
                <a:solidFill>
                  <a:srgbClr val="FFC000"/>
                </a:solidFill>
                <a:effectLst/>
                <a:uLnTx/>
                <a:uFillTx/>
                <a:latin typeface="Calibri" pitchFamily="34" charset="0"/>
                <a:ea typeface="+mn-ea"/>
                <a:cs typeface="+mn-cs"/>
              </a:endParaRPr>
            </a:p>
          </p:txBody>
        </p:sp>
        <p:sp>
          <p:nvSpPr>
            <p:cNvPr id="31" name="Venezuela" descr="© INSCALE GmbH, 05.05.2010&#10;http://www.presentationload.com/"/>
            <p:cNvSpPr>
              <a:spLocks noEditPoints="1"/>
            </p:cNvSpPr>
            <p:nvPr/>
          </p:nvSpPr>
          <p:spPr bwMode="gray">
            <a:xfrm>
              <a:off x="2780190" y="4000047"/>
              <a:ext cx="309722" cy="289050"/>
            </a:xfrm>
            <a:custGeom>
              <a:avLst/>
              <a:gdLst>
                <a:gd name="T0" fmla="*/ 2147483647 w 954"/>
                <a:gd name="T1" fmla="*/ 2147483647 h 930"/>
                <a:gd name="T2" fmla="*/ 2147483647 w 954"/>
                <a:gd name="T3" fmla="*/ 2147483647 h 930"/>
                <a:gd name="T4" fmla="*/ 2147483647 w 954"/>
                <a:gd name="T5" fmla="*/ 2147483647 h 930"/>
                <a:gd name="T6" fmla="*/ 2147483647 w 954"/>
                <a:gd name="T7" fmla="*/ 2147483647 h 930"/>
                <a:gd name="T8" fmla="*/ 2147483647 w 954"/>
                <a:gd name="T9" fmla="*/ 2147483647 h 930"/>
                <a:gd name="T10" fmla="*/ 2147483647 w 954"/>
                <a:gd name="T11" fmla="*/ 2147483647 h 930"/>
                <a:gd name="T12" fmla="*/ 2147483647 w 954"/>
                <a:gd name="T13" fmla="*/ 2147483647 h 930"/>
                <a:gd name="T14" fmla="*/ 2147483647 w 954"/>
                <a:gd name="T15" fmla="*/ 2147483647 h 930"/>
                <a:gd name="T16" fmla="*/ 2147483647 w 954"/>
                <a:gd name="T17" fmla="*/ 2147483647 h 930"/>
                <a:gd name="T18" fmla="*/ 2147483647 w 954"/>
                <a:gd name="T19" fmla="*/ 2147483647 h 930"/>
                <a:gd name="T20" fmla="*/ 2147483647 w 954"/>
                <a:gd name="T21" fmla="*/ 2147483647 h 930"/>
                <a:gd name="T22" fmla="*/ 2147483647 w 954"/>
                <a:gd name="T23" fmla="*/ 2147483647 h 930"/>
                <a:gd name="T24" fmla="*/ 2147483647 w 954"/>
                <a:gd name="T25" fmla="*/ 2147483647 h 930"/>
                <a:gd name="T26" fmla="*/ 2147483647 w 954"/>
                <a:gd name="T27" fmla="*/ 2147483647 h 930"/>
                <a:gd name="T28" fmla="*/ 2147483647 w 954"/>
                <a:gd name="T29" fmla="*/ 2147483647 h 930"/>
                <a:gd name="T30" fmla="*/ 2147483647 w 954"/>
                <a:gd name="T31" fmla="*/ 2147483647 h 930"/>
                <a:gd name="T32" fmla="*/ 2147483647 w 954"/>
                <a:gd name="T33" fmla="*/ 2147483647 h 930"/>
                <a:gd name="T34" fmla="*/ 2147483647 w 954"/>
                <a:gd name="T35" fmla="*/ 2147483647 h 930"/>
                <a:gd name="T36" fmla="*/ 2147483647 w 954"/>
                <a:gd name="T37" fmla="*/ 2147483647 h 930"/>
                <a:gd name="T38" fmla="*/ 2147483647 w 954"/>
                <a:gd name="T39" fmla="*/ 2147483647 h 930"/>
                <a:gd name="T40" fmla="*/ 2147483647 w 954"/>
                <a:gd name="T41" fmla="*/ 2147483647 h 930"/>
                <a:gd name="T42" fmla="*/ 2147483647 w 954"/>
                <a:gd name="T43" fmla="*/ 2147483647 h 930"/>
                <a:gd name="T44" fmla="*/ 2147483647 w 954"/>
                <a:gd name="T45" fmla="*/ 2147483647 h 930"/>
                <a:gd name="T46" fmla="*/ 2147483647 w 954"/>
                <a:gd name="T47" fmla="*/ 2147483647 h 930"/>
                <a:gd name="T48" fmla="*/ 2147483647 w 954"/>
                <a:gd name="T49" fmla="*/ 2147483647 h 930"/>
                <a:gd name="T50" fmla="*/ 0 w 954"/>
                <a:gd name="T51" fmla="*/ 2147483647 h 930"/>
                <a:gd name="T52" fmla="*/ 2147483647 w 954"/>
                <a:gd name="T53" fmla="*/ 2147483647 h 930"/>
                <a:gd name="T54" fmla="*/ 2147483647 w 954"/>
                <a:gd name="T55" fmla="*/ 2147483647 h 930"/>
                <a:gd name="T56" fmla="*/ 2147483647 w 954"/>
                <a:gd name="T57" fmla="*/ 2147483647 h 930"/>
                <a:gd name="T58" fmla="*/ 2147483647 w 954"/>
                <a:gd name="T59" fmla="*/ 2147483647 h 930"/>
                <a:gd name="T60" fmla="*/ 2147483647 w 954"/>
                <a:gd name="T61" fmla="*/ 2147483647 h 930"/>
                <a:gd name="T62" fmla="*/ 2147483647 w 954"/>
                <a:gd name="T63" fmla="*/ 2147483647 h 930"/>
                <a:gd name="T64" fmla="*/ 2147483647 w 954"/>
                <a:gd name="T65" fmla="*/ 2147483647 h 930"/>
                <a:gd name="T66" fmla="*/ 2147483647 w 954"/>
                <a:gd name="T67" fmla="*/ 2147483647 h 930"/>
                <a:gd name="T68" fmla="*/ 2147483647 w 954"/>
                <a:gd name="T69" fmla="*/ 2147483647 h 930"/>
                <a:gd name="T70" fmla="*/ 2147483647 w 954"/>
                <a:gd name="T71" fmla="*/ 2147483647 h 930"/>
                <a:gd name="T72" fmla="*/ 2147483647 w 954"/>
                <a:gd name="T73" fmla="*/ 2147483647 h 930"/>
                <a:gd name="T74" fmla="*/ 2147483647 w 954"/>
                <a:gd name="T75" fmla="*/ 2147483647 h 930"/>
                <a:gd name="T76" fmla="*/ 2147483647 w 954"/>
                <a:gd name="T77" fmla="*/ 2147483647 h 930"/>
                <a:gd name="T78" fmla="*/ 2147483647 w 954"/>
                <a:gd name="T79" fmla="*/ 2147483647 h 930"/>
                <a:gd name="T80" fmla="*/ 2147483647 w 954"/>
                <a:gd name="T81" fmla="*/ 2147483647 h 930"/>
                <a:gd name="T82" fmla="*/ 2147483647 w 954"/>
                <a:gd name="T83" fmla="*/ 2147483647 h 930"/>
                <a:gd name="T84" fmla="*/ 2147483647 w 954"/>
                <a:gd name="T85" fmla="*/ 2147483647 h 930"/>
                <a:gd name="T86" fmla="*/ 2147483647 w 954"/>
                <a:gd name="T87" fmla="*/ 2147483647 h 930"/>
                <a:gd name="T88" fmla="*/ 2147483647 w 954"/>
                <a:gd name="T89" fmla="*/ 2147483647 h 930"/>
                <a:gd name="T90" fmla="*/ 2147483647 w 954"/>
                <a:gd name="T91" fmla="*/ 2147483647 h 930"/>
                <a:gd name="T92" fmla="*/ 2147483647 w 954"/>
                <a:gd name="T93" fmla="*/ 2147483647 h 930"/>
                <a:gd name="T94" fmla="*/ 2147483647 w 954"/>
                <a:gd name="T95" fmla="*/ 2147483647 h 930"/>
                <a:gd name="T96" fmla="*/ 2147483647 w 954"/>
                <a:gd name="T97" fmla="*/ 2147483647 h 930"/>
                <a:gd name="T98" fmla="*/ 2147483647 w 954"/>
                <a:gd name="T99" fmla="*/ 2147483647 h 930"/>
                <a:gd name="T100" fmla="*/ 2147483647 w 954"/>
                <a:gd name="T101" fmla="*/ 2147483647 h 930"/>
                <a:gd name="T102" fmla="*/ 2147483647 w 954"/>
                <a:gd name="T103" fmla="*/ 2147483647 h 930"/>
                <a:gd name="T104" fmla="*/ 2147483647 w 954"/>
                <a:gd name="T105" fmla="*/ 2147483647 h 930"/>
                <a:gd name="T106" fmla="*/ 2147483647 w 954"/>
                <a:gd name="T107" fmla="*/ 2147483647 h 930"/>
                <a:gd name="T108" fmla="*/ 2147483647 w 954"/>
                <a:gd name="T109" fmla="*/ 2147483647 h 930"/>
                <a:gd name="T110" fmla="*/ 2147483647 w 954"/>
                <a:gd name="T111" fmla="*/ 2147483647 h 930"/>
                <a:gd name="T112" fmla="*/ 2147483647 w 954"/>
                <a:gd name="T113" fmla="*/ 2147483647 h 930"/>
                <a:gd name="T114" fmla="*/ 2147483647 w 954"/>
                <a:gd name="T115" fmla="*/ 2147483647 h 930"/>
                <a:gd name="T116" fmla="*/ 2147483647 w 954"/>
                <a:gd name="T117" fmla="*/ 2147483647 h 930"/>
                <a:gd name="T118" fmla="*/ 2147483647 w 954"/>
                <a:gd name="T119" fmla="*/ 2147483647 h 930"/>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954"/>
                <a:gd name="T181" fmla="*/ 0 h 930"/>
                <a:gd name="T182" fmla="*/ 954 w 954"/>
                <a:gd name="T183" fmla="*/ 930 h 930"/>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954" h="930">
                  <a:moveTo>
                    <a:pt x="264" y="42"/>
                  </a:moveTo>
                  <a:lnTo>
                    <a:pt x="264" y="12"/>
                  </a:lnTo>
                  <a:lnTo>
                    <a:pt x="252" y="0"/>
                  </a:lnTo>
                  <a:lnTo>
                    <a:pt x="234" y="0"/>
                  </a:lnTo>
                  <a:lnTo>
                    <a:pt x="228" y="6"/>
                  </a:lnTo>
                  <a:lnTo>
                    <a:pt x="228" y="18"/>
                  </a:lnTo>
                  <a:lnTo>
                    <a:pt x="234" y="24"/>
                  </a:lnTo>
                  <a:lnTo>
                    <a:pt x="234" y="36"/>
                  </a:lnTo>
                  <a:lnTo>
                    <a:pt x="240" y="42"/>
                  </a:lnTo>
                  <a:lnTo>
                    <a:pt x="264" y="42"/>
                  </a:lnTo>
                  <a:close/>
                  <a:moveTo>
                    <a:pt x="936" y="276"/>
                  </a:moveTo>
                  <a:lnTo>
                    <a:pt x="930" y="276"/>
                  </a:lnTo>
                  <a:lnTo>
                    <a:pt x="924" y="282"/>
                  </a:lnTo>
                  <a:lnTo>
                    <a:pt x="912" y="288"/>
                  </a:lnTo>
                  <a:lnTo>
                    <a:pt x="906" y="294"/>
                  </a:lnTo>
                  <a:lnTo>
                    <a:pt x="900" y="288"/>
                  </a:lnTo>
                  <a:lnTo>
                    <a:pt x="888" y="288"/>
                  </a:lnTo>
                  <a:lnTo>
                    <a:pt x="882" y="282"/>
                  </a:lnTo>
                  <a:lnTo>
                    <a:pt x="876" y="282"/>
                  </a:lnTo>
                  <a:lnTo>
                    <a:pt x="852" y="306"/>
                  </a:lnTo>
                  <a:lnTo>
                    <a:pt x="822" y="282"/>
                  </a:lnTo>
                  <a:lnTo>
                    <a:pt x="846" y="282"/>
                  </a:lnTo>
                  <a:lnTo>
                    <a:pt x="858" y="276"/>
                  </a:lnTo>
                  <a:lnTo>
                    <a:pt x="864" y="276"/>
                  </a:lnTo>
                  <a:lnTo>
                    <a:pt x="870" y="264"/>
                  </a:lnTo>
                  <a:lnTo>
                    <a:pt x="870" y="246"/>
                  </a:lnTo>
                  <a:lnTo>
                    <a:pt x="882" y="234"/>
                  </a:lnTo>
                  <a:lnTo>
                    <a:pt x="888" y="222"/>
                  </a:lnTo>
                  <a:lnTo>
                    <a:pt x="876" y="210"/>
                  </a:lnTo>
                  <a:lnTo>
                    <a:pt x="846" y="210"/>
                  </a:lnTo>
                  <a:lnTo>
                    <a:pt x="846" y="204"/>
                  </a:lnTo>
                  <a:lnTo>
                    <a:pt x="840" y="198"/>
                  </a:lnTo>
                  <a:lnTo>
                    <a:pt x="840" y="192"/>
                  </a:lnTo>
                  <a:lnTo>
                    <a:pt x="834" y="186"/>
                  </a:lnTo>
                  <a:lnTo>
                    <a:pt x="828" y="186"/>
                  </a:lnTo>
                  <a:lnTo>
                    <a:pt x="822" y="192"/>
                  </a:lnTo>
                  <a:lnTo>
                    <a:pt x="822" y="210"/>
                  </a:lnTo>
                  <a:lnTo>
                    <a:pt x="816" y="198"/>
                  </a:lnTo>
                  <a:lnTo>
                    <a:pt x="816" y="180"/>
                  </a:lnTo>
                  <a:lnTo>
                    <a:pt x="792" y="180"/>
                  </a:lnTo>
                  <a:lnTo>
                    <a:pt x="786" y="210"/>
                  </a:lnTo>
                  <a:lnTo>
                    <a:pt x="780" y="204"/>
                  </a:lnTo>
                  <a:lnTo>
                    <a:pt x="774" y="192"/>
                  </a:lnTo>
                  <a:lnTo>
                    <a:pt x="774" y="186"/>
                  </a:lnTo>
                  <a:lnTo>
                    <a:pt x="768" y="180"/>
                  </a:lnTo>
                  <a:lnTo>
                    <a:pt x="768" y="156"/>
                  </a:lnTo>
                  <a:lnTo>
                    <a:pt x="738" y="168"/>
                  </a:lnTo>
                  <a:lnTo>
                    <a:pt x="744" y="162"/>
                  </a:lnTo>
                  <a:lnTo>
                    <a:pt x="756" y="156"/>
                  </a:lnTo>
                  <a:lnTo>
                    <a:pt x="762" y="156"/>
                  </a:lnTo>
                  <a:lnTo>
                    <a:pt x="762" y="144"/>
                  </a:lnTo>
                  <a:lnTo>
                    <a:pt x="750" y="138"/>
                  </a:lnTo>
                  <a:lnTo>
                    <a:pt x="744" y="138"/>
                  </a:lnTo>
                  <a:lnTo>
                    <a:pt x="744" y="132"/>
                  </a:lnTo>
                  <a:lnTo>
                    <a:pt x="750" y="132"/>
                  </a:lnTo>
                  <a:lnTo>
                    <a:pt x="762" y="126"/>
                  </a:lnTo>
                  <a:lnTo>
                    <a:pt x="774" y="126"/>
                  </a:lnTo>
                  <a:lnTo>
                    <a:pt x="792" y="120"/>
                  </a:lnTo>
                  <a:lnTo>
                    <a:pt x="804" y="120"/>
                  </a:lnTo>
                  <a:lnTo>
                    <a:pt x="810" y="114"/>
                  </a:lnTo>
                  <a:lnTo>
                    <a:pt x="726" y="114"/>
                  </a:lnTo>
                  <a:lnTo>
                    <a:pt x="690" y="120"/>
                  </a:lnTo>
                  <a:lnTo>
                    <a:pt x="678" y="120"/>
                  </a:lnTo>
                  <a:lnTo>
                    <a:pt x="690" y="132"/>
                  </a:lnTo>
                  <a:lnTo>
                    <a:pt x="678" y="132"/>
                  </a:lnTo>
                  <a:lnTo>
                    <a:pt x="666" y="138"/>
                  </a:lnTo>
                  <a:lnTo>
                    <a:pt x="654" y="138"/>
                  </a:lnTo>
                  <a:lnTo>
                    <a:pt x="642" y="144"/>
                  </a:lnTo>
                  <a:lnTo>
                    <a:pt x="636" y="144"/>
                  </a:lnTo>
                  <a:lnTo>
                    <a:pt x="624" y="150"/>
                  </a:lnTo>
                  <a:lnTo>
                    <a:pt x="606" y="168"/>
                  </a:lnTo>
                  <a:lnTo>
                    <a:pt x="594" y="174"/>
                  </a:lnTo>
                  <a:lnTo>
                    <a:pt x="576" y="174"/>
                  </a:lnTo>
                  <a:lnTo>
                    <a:pt x="564" y="162"/>
                  </a:lnTo>
                  <a:lnTo>
                    <a:pt x="546" y="156"/>
                  </a:lnTo>
                  <a:lnTo>
                    <a:pt x="534" y="144"/>
                  </a:lnTo>
                  <a:lnTo>
                    <a:pt x="522" y="138"/>
                  </a:lnTo>
                  <a:lnTo>
                    <a:pt x="510" y="126"/>
                  </a:lnTo>
                  <a:lnTo>
                    <a:pt x="492" y="126"/>
                  </a:lnTo>
                  <a:lnTo>
                    <a:pt x="450" y="132"/>
                  </a:lnTo>
                  <a:lnTo>
                    <a:pt x="372" y="132"/>
                  </a:lnTo>
                  <a:lnTo>
                    <a:pt x="360" y="120"/>
                  </a:lnTo>
                  <a:lnTo>
                    <a:pt x="354" y="108"/>
                  </a:lnTo>
                  <a:lnTo>
                    <a:pt x="354" y="84"/>
                  </a:lnTo>
                  <a:lnTo>
                    <a:pt x="348" y="72"/>
                  </a:lnTo>
                  <a:lnTo>
                    <a:pt x="336" y="60"/>
                  </a:lnTo>
                  <a:lnTo>
                    <a:pt x="324" y="54"/>
                  </a:lnTo>
                  <a:lnTo>
                    <a:pt x="276" y="54"/>
                  </a:lnTo>
                  <a:lnTo>
                    <a:pt x="240" y="60"/>
                  </a:lnTo>
                  <a:lnTo>
                    <a:pt x="222" y="72"/>
                  </a:lnTo>
                  <a:lnTo>
                    <a:pt x="210" y="78"/>
                  </a:lnTo>
                  <a:lnTo>
                    <a:pt x="204" y="78"/>
                  </a:lnTo>
                  <a:lnTo>
                    <a:pt x="180" y="90"/>
                  </a:lnTo>
                  <a:lnTo>
                    <a:pt x="162" y="96"/>
                  </a:lnTo>
                  <a:lnTo>
                    <a:pt x="144" y="108"/>
                  </a:lnTo>
                  <a:lnTo>
                    <a:pt x="138" y="120"/>
                  </a:lnTo>
                  <a:lnTo>
                    <a:pt x="138" y="144"/>
                  </a:lnTo>
                  <a:lnTo>
                    <a:pt x="150" y="168"/>
                  </a:lnTo>
                  <a:lnTo>
                    <a:pt x="156" y="186"/>
                  </a:lnTo>
                  <a:lnTo>
                    <a:pt x="162" y="198"/>
                  </a:lnTo>
                  <a:lnTo>
                    <a:pt x="156" y="210"/>
                  </a:lnTo>
                  <a:lnTo>
                    <a:pt x="150" y="228"/>
                  </a:lnTo>
                  <a:lnTo>
                    <a:pt x="138" y="234"/>
                  </a:lnTo>
                  <a:lnTo>
                    <a:pt x="132" y="246"/>
                  </a:lnTo>
                  <a:lnTo>
                    <a:pt x="126" y="252"/>
                  </a:lnTo>
                  <a:lnTo>
                    <a:pt x="120" y="252"/>
                  </a:lnTo>
                  <a:lnTo>
                    <a:pt x="126" y="222"/>
                  </a:lnTo>
                  <a:lnTo>
                    <a:pt x="114" y="222"/>
                  </a:lnTo>
                  <a:lnTo>
                    <a:pt x="108" y="216"/>
                  </a:lnTo>
                  <a:lnTo>
                    <a:pt x="96" y="210"/>
                  </a:lnTo>
                  <a:lnTo>
                    <a:pt x="90" y="204"/>
                  </a:lnTo>
                  <a:lnTo>
                    <a:pt x="84" y="192"/>
                  </a:lnTo>
                  <a:lnTo>
                    <a:pt x="96" y="168"/>
                  </a:lnTo>
                  <a:lnTo>
                    <a:pt x="108" y="156"/>
                  </a:lnTo>
                  <a:lnTo>
                    <a:pt x="120" y="132"/>
                  </a:lnTo>
                  <a:lnTo>
                    <a:pt x="120" y="78"/>
                  </a:lnTo>
                  <a:lnTo>
                    <a:pt x="114" y="66"/>
                  </a:lnTo>
                  <a:lnTo>
                    <a:pt x="114" y="54"/>
                  </a:lnTo>
                  <a:lnTo>
                    <a:pt x="108" y="48"/>
                  </a:lnTo>
                  <a:lnTo>
                    <a:pt x="108" y="54"/>
                  </a:lnTo>
                  <a:lnTo>
                    <a:pt x="102" y="66"/>
                  </a:lnTo>
                  <a:lnTo>
                    <a:pt x="90" y="78"/>
                  </a:lnTo>
                  <a:lnTo>
                    <a:pt x="72" y="84"/>
                  </a:lnTo>
                  <a:lnTo>
                    <a:pt x="48" y="108"/>
                  </a:lnTo>
                  <a:lnTo>
                    <a:pt x="36" y="144"/>
                  </a:lnTo>
                  <a:lnTo>
                    <a:pt x="36" y="162"/>
                  </a:lnTo>
                  <a:lnTo>
                    <a:pt x="30" y="168"/>
                  </a:lnTo>
                  <a:lnTo>
                    <a:pt x="30" y="192"/>
                  </a:lnTo>
                  <a:lnTo>
                    <a:pt x="6" y="216"/>
                  </a:lnTo>
                  <a:lnTo>
                    <a:pt x="0" y="228"/>
                  </a:lnTo>
                  <a:lnTo>
                    <a:pt x="0" y="240"/>
                  </a:lnTo>
                  <a:lnTo>
                    <a:pt x="6" y="246"/>
                  </a:lnTo>
                  <a:lnTo>
                    <a:pt x="6" y="240"/>
                  </a:lnTo>
                  <a:lnTo>
                    <a:pt x="18" y="228"/>
                  </a:lnTo>
                  <a:lnTo>
                    <a:pt x="24" y="228"/>
                  </a:lnTo>
                  <a:lnTo>
                    <a:pt x="36" y="240"/>
                  </a:lnTo>
                  <a:lnTo>
                    <a:pt x="42" y="252"/>
                  </a:lnTo>
                  <a:lnTo>
                    <a:pt x="42" y="288"/>
                  </a:lnTo>
                  <a:lnTo>
                    <a:pt x="48" y="294"/>
                  </a:lnTo>
                  <a:lnTo>
                    <a:pt x="60" y="300"/>
                  </a:lnTo>
                  <a:lnTo>
                    <a:pt x="66" y="306"/>
                  </a:lnTo>
                  <a:lnTo>
                    <a:pt x="66" y="318"/>
                  </a:lnTo>
                  <a:lnTo>
                    <a:pt x="54" y="342"/>
                  </a:lnTo>
                  <a:lnTo>
                    <a:pt x="54" y="384"/>
                  </a:lnTo>
                  <a:lnTo>
                    <a:pt x="66" y="384"/>
                  </a:lnTo>
                  <a:lnTo>
                    <a:pt x="66" y="396"/>
                  </a:lnTo>
                  <a:lnTo>
                    <a:pt x="72" y="408"/>
                  </a:lnTo>
                  <a:lnTo>
                    <a:pt x="78" y="414"/>
                  </a:lnTo>
                  <a:lnTo>
                    <a:pt x="102" y="414"/>
                  </a:lnTo>
                  <a:lnTo>
                    <a:pt x="108" y="408"/>
                  </a:lnTo>
                  <a:lnTo>
                    <a:pt x="120" y="408"/>
                  </a:lnTo>
                  <a:lnTo>
                    <a:pt x="132" y="414"/>
                  </a:lnTo>
                  <a:lnTo>
                    <a:pt x="138" y="414"/>
                  </a:lnTo>
                  <a:lnTo>
                    <a:pt x="150" y="420"/>
                  </a:lnTo>
                  <a:lnTo>
                    <a:pt x="162" y="420"/>
                  </a:lnTo>
                  <a:lnTo>
                    <a:pt x="168" y="414"/>
                  </a:lnTo>
                  <a:lnTo>
                    <a:pt x="168" y="408"/>
                  </a:lnTo>
                  <a:lnTo>
                    <a:pt x="180" y="408"/>
                  </a:lnTo>
                  <a:lnTo>
                    <a:pt x="186" y="414"/>
                  </a:lnTo>
                  <a:lnTo>
                    <a:pt x="198" y="420"/>
                  </a:lnTo>
                  <a:lnTo>
                    <a:pt x="222" y="420"/>
                  </a:lnTo>
                  <a:lnTo>
                    <a:pt x="222" y="426"/>
                  </a:lnTo>
                  <a:lnTo>
                    <a:pt x="228" y="432"/>
                  </a:lnTo>
                  <a:lnTo>
                    <a:pt x="234" y="444"/>
                  </a:lnTo>
                  <a:lnTo>
                    <a:pt x="240" y="462"/>
                  </a:lnTo>
                  <a:lnTo>
                    <a:pt x="264" y="486"/>
                  </a:lnTo>
                  <a:lnTo>
                    <a:pt x="288" y="486"/>
                  </a:lnTo>
                  <a:lnTo>
                    <a:pt x="288" y="480"/>
                  </a:lnTo>
                  <a:lnTo>
                    <a:pt x="306" y="480"/>
                  </a:lnTo>
                  <a:lnTo>
                    <a:pt x="312" y="486"/>
                  </a:lnTo>
                  <a:lnTo>
                    <a:pt x="336" y="486"/>
                  </a:lnTo>
                  <a:lnTo>
                    <a:pt x="342" y="480"/>
                  </a:lnTo>
                  <a:lnTo>
                    <a:pt x="366" y="486"/>
                  </a:lnTo>
                  <a:lnTo>
                    <a:pt x="372" y="480"/>
                  </a:lnTo>
                  <a:lnTo>
                    <a:pt x="384" y="474"/>
                  </a:lnTo>
                  <a:lnTo>
                    <a:pt x="402" y="474"/>
                  </a:lnTo>
                  <a:lnTo>
                    <a:pt x="408" y="480"/>
                  </a:lnTo>
                  <a:lnTo>
                    <a:pt x="408" y="492"/>
                  </a:lnTo>
                  <a:lnTo>
                    <a:pt x="390" y="510"/>
                  </a:lnTo>
                  <a:lnTo>
                    <a:pt x="390" y="534"/>
                  </a:lnTo>
                  <a:lnTo>
                    <a:pt x="384" y="540"/>
                  </a:lnTo>
                  <a:lnTo>
                    <a:pt x="378" y="540"/>
                  </a:lnTo>
                  <a:lnTo>
                    <a:pt x="366" y="552"/>
                  </a:lnTo>
                  <a:lnTo>
                    <a:pt x="366" y="576"/>
                  </a:lnTo>
                  <a:lnTo>
                    <a:pt x="372" y="588"/>
                  </a:lnTo>
                  <a:lnTo>
                    <a:pt x="372" y="618"/>
                  </a:lnTo>
                  <a:lnTo>
                    <a:pt x="366" y="630"/>
                  </a:lnTo>
                  <a:lnTo>
                    <a:pt x="366" y="642"/>
                  </a:lnTo>
                  <a:lnTo>
                    <a:pt x="372" y="648"/>
                  </a:lnTo>
                  <a:lnTo>
                    <a:pt x="384" y="648"/>
                  </a:lnTo>
                  <a:lnTo>
                    <a:pt x="384" y="672"/>
                  </a:lnTo>
                  <a:lnTo>
                    <a:pt x="390" y="684"/>
                  </a:lnTo>
                  <a:lnTo>
                    <a:pt x="402" y="690"/>
                  </a:lnTo>
                  <a:lnTo>
                    <a:pt x="408" y="702"/>
                  </a:lnTo>
                  <a:lnTo>
                    <a:pt x="408" y="708"/>
                  </a:lnTo>
                  <a:lnTo>
                    <a:pt x="402" y="720"/>
                  </a:lnTo>
                  <a:lnTo>
                    <a:pt x="372" y="750"/>
                  </a:lnTo>
                  <a:lnTo>
                    <a:pt x="366" y="750"/>
                  </a:lnTo>
                  <a:lnTo>
                    <a:pt x="390" y="762"/>
                  </a:lnTo>
                  <a:lnTo>
                    <a:pt x="402" y="774"/>
                  </a:lnTo>
                  <a:lnTo>
                    <a:pt x="414" y="774"/>
                  </a:lnTo>
                  <a:lnTo>
                    <a:pt x="414" y="798"/>
                  </a:lnTo>
                  <a:lnTo>
                    <a:pt x="420" y="804"/>
                  </a:lnTo>
                  <a:lnTo>
                    <a:pt x="420" y="822"/>
                  </a:lnTo>
                  <a:lnTo>
                    <a:pt x="426" y="828"/>
                  </a:lnTo>
                  <a:lnTo>
                    <a:pt x="426" y="846"/>
                  </a:lnTo>
                  <a:lnTo>
                    <a:pt x="432" y="858"/>
                  </a:lnTo>
                  <a:lnTo>
                    <a:pt x="432" y="876"/>
                  </a:lnTo>
                  <a:lnTo>
                    <a:pt x="444" y="888"/>
                  </a:lnTo>
                  <a:lnTo>
                    <a:pt x="450" y="900"/>
                  </a:lnTo>
                  <a:lnTo>
                    <a:pt x="450" y="906"/>
                  </a:lnTo>
                  <a:lnTo>
                    <a:pt x="462" y="918"/>
                  </a:lnTo>
                  <a:lnTo>
                    <a:pt x="468" y="918"/>
                  </a:lnTo>
                  <a:lnTo>
                    <a:pt x="480" y="924"/>
                  </a:lnTo>
                  <a:lnTo>
                    <a:pt x="486" y="924"/>
                  </a:lnTo>
                  <a:lnTo>
                    <a:pt x="498" y="918"/>
                  </a:lnTo>
                  <a:lnTo>
                    <a:pt x="504" y="912"/>
                  </a:lnTo>
                  <a:lnTo>
                    <a:pt x="516" y="906"/>
                  </a:lnTo>
                  <a:lnTo>
                    <a:pt x="522" y="900"/>
                  </a:lnTo>
                  <a:lnTo>
                    <a:pt x="528" y="906"/>
                  </a:lnTo>
                  <a:lnTo>
                    <a:pt x="528" y="930"/>
                  </a:lnTo>
                  <a:lnTo>
                    <a:pt x="534" y="930"/>
                  </a:lnTo>
                  <a:lnTo>
                    <a:pt x="546" y="918"/>
                  </a:lnTo>
                  <a:lnTo>
                    <a:pt x="558" y="894"/>
                  </a:lnTo>
                  <a:lnTo>
                    <a:pt x="570" y="882"/>
                  </a:lnTo>
                  <a:lnTo>
                    <a:pt x="588" y="882"/>
                  </a:lnTo>
                  <a:lnTo>
                    <a:pt x="594" y="876"/>
                  </a:lnTo>
                  <a:lnTo>
                    <a:pt x="630" y="858"/>
                  </a:lnTo>
                  <a:lnTo>
                    <a:pt x="636" y="846"/>
                  </a:lnTo>
                  <a:lnTo>
                    <a:pt x="636" y="816"/>
                  </a:lnTo>
                  <a:lnTo>
                    <a:pt x="678" y="816"/>
                  </a:lnTo>
                  <a:lnTo>
                    <a:pt x="684" y="810"/>
                  </a:lnTo>
                  <a:lnTo>
                    <a:pt x="690" y="798"/>
                  </a:lnTo>
                  <a:lnTo>
                    <a:pt x="690" y="792"/>
                  </a:lnTo>
                  <a:lnTo>
                    <a:pt x="684" y="786"/>
                  </a:lnTo>
                  <a:lnTo>
                    <a:pt x="636" y="780"/>
                  </a:lnTo>
                  <a:lnTo>
                    <a:pt x="636" y="750"/>
                  </a:lnTo>
                  <a:lnTo>
                    <a:pt x="630" y="738"/>
                  </a:lnTo>
                  <a:lnTo>
                    <a:pt x="618" y="726"/>
                  </a:lnTo>
                  <a:lnTo>
                    <a:pt x="624" y="720"/>
                  </a:lnTo>
                  <a:lnTo>
                    <a:pt x="624" y="690"/>
                  </a:lnTo>
                  <a:lnTo>
                    <a:pt x="618" y="684"/>
                  </a:lnTo>
                  <a:lnTo>
                    <a:pt x="606" y="678"/>
                  </a:lnTo>
                  <a:lnTo>
                    <a:pt x="588" y="660"/>
                  </a:lnTo>
                  <a:lnTo>
                    <a:pt x="588" y="630"/>
                  </a:lnTo>
                  <a:lnTo>
                    <a:pt x="594" y="636"/>
                  </a:lnTo>
                  <a:lnTo>
                    <a:pt x="594" y="642"/>
                  </a:lnTo>
                  <a:lnTo>
                    <a:pt x="636" y="642"/>
                  </a:lnTo>
                  <a:lnTo>
                    <a:pt x="642" y="648"/>
                  </a:lnTo>
                  <a:lnTo>
                    <a:pt x="642" y="666"/>
                  </a:lnTo>
                  <a:lnTo>
                    <a:pt x="654" y="666"/>
                  </a:lnTo>
                  <a:lnTo>
                    <a:pt x="666" y="660"/>
                  </a:lnTo>
                  <a:lnTo>
                    <a:pt x="678" y="666"/>
                  </a:lnTo>
                  <a:lnTo>
                    <a:pt x="684" y="660"/>
                  </a:lnTo>
                  <a:lnTo>
                    <a:pt x="696" y="660"/>
                  </a:lnTo>
                  <a:lnTo>
                    <a:pt x="702" y="666"/>
                  </a:lnTo>
                  <a:lnTo>
                    <a:pt x="708" y="678"/>
                  </a:lnTo>
                  <a:lnTo>
                    <a:pt x="720" y="690"/>
                  </a:lnTo>
                  <a:lnTo>
                    <a:pt x="732" y="696"/>
                  </a:lnTo>
                  <a:lnTo>
                    <a:pt x="738" y="690"/>
                  </a:lnTo>
                  <a:lnTo>
                    <a:pt x="738" y="672"/>
                  </a:lnTo>
                  <a:lnTo>
                    <a:pt x="744" y="660"/>
                  </a:lnTo>
                  <a:lnTo>
                    <a:pt x="744" y="648"/>
                  </a:lnTo>
                  <a:lnTo>
                    <a:pt x="750" y="642"/>
                  </a:lnTo>
                  <a:lnTo>
                    <a:pt x="768" y="642"/>
                  </a:lnTo>
                  <a:lnTo>
                    <a:pt x="774" y="648"/>
                  </a:lnTo>
                  <a:lnTo>
                    <a:pt x="792" y="648"/>
                  </a:lnTo>
                  <a:lnTo>
                    <a:pt x="804" y="642"/>
                  </a:lnTo>
                  <a:lnTo>
                    <a:pt x="828" y="618"/>
                  </a:lnTo>
                  <a:lnTo>
                    <a:pt x="840" y="612"/>
                  </a:lnTo>
                  <a:lnTo>
                    <a:pt x="864" y="612"/>
                  </a:lnTo>
                  <a:lnTo>
                    <a:pt x="864" y="600"/>
                  </a:lnTo>
                  <a:lnTo>
                    <a:pt x="876" y="600"/>
                  </a:lnTo>
                  <a:lnTo>
                    <a:pt x="882" y="594"/>
                  </a:lnTo>
                  <a:lnTo>
                    <a:pt x="882" y="558"/>
                  </a:lnTo>
                  <a:lnTo>
                    <a:pt x="846" y="522"/>
                  </a:lnTo>
                  <a:lnTo>
                    <a:pt x="840" y="510"/>
                  </a:lnTo>
                  <a:lnTo>
                    <a:pt x="834" y="504"/>
                  </a:lnTo>
                  <a:lnTo>
                    <a:pt x="834" y="492"/>
                  </a:lnTo>
                  <a:lnTo>
                    <a:pt x="846" y="486"/>
                  </a:lnTo>
                  <a:lnTo>
                    <a:pt x="852" y="486"/>
                  </a:lnTo>
                  <a:lnTo>
                    <a:pt x="864" y="480"/>
                  </a:lnTo>
                  <a:lnTo>
                    <a:pt x="864" y="462"/>
                  </a:lnTo>
                  <a:lnTo>
                    <a:pt x="846" y="444"/>
                  </a:lnTo>
                  <a:lnTo>
                    <a:pt x="846" y="438"/>
                  </a:lnTo>
                  <a:lnTo>
                    <a:pt x="876" y="438"/>
                  </a:lnTo>
                  <a:lnTo>
                    <a:pt x="888" y="432"/>
                  </a:lnTo>
                  <a:lnTo>
                    <a:pt x="900" y="432"/>
                  </a:lnTo>
                  <a:lnTo>
                    <a:pt x="912" y="426"/>
                  </a:lnTo>
                  <a:lnTo>
                    <a:pt x="918" y="420"/>
                  </a:lnTo>
                  <a:lnTo>
                    <a:pt x="918" y="402"/>
                  </a:lnTo>
                  <a:lnTo>
                    <a:pt x="894" y="402"/>
                  </a:lnTo>
                  <a:lnTo>
                    <a:pt x="894" y="360"/>
                  </a:lnTo>
                  <a:lnTo>
                    <a:pt x="906" y="348"/>
                  </a:lnTo>
                  <a:lnTo>
                    <a:pt x="918" y="348"/>
                  </a:lnTo>
                  <a:lnTo>
                    <a:pt x="924" y="342"/>
                  </a:lnTo>
                  <a:lnTo>
                    <a:pt x="930" y="342"/>
                  </a:lnTo>
                  <a:lnTo>
                    <a:pt x="936" y="336"/>
                  </a:lnTo>
                  <a:lnTo>
                    <a:pt x="954" y="300"/>
                  </a:lnTo>
                  <a:lnTo>
                    <a:pt x="948" y="294"/>
                  </a:lnTo>
                  <a:lnTo>
                    <a:pt x="942" y="282"/>
                  </a:lnTo>
                  <a:lnTo>
                    <a:pt x="936" y="276"/>
                  </a:lnTo>
                  <a:close/>
                </a:path>
              </a:pathLst>
            </a:custGeom>
            <a:grpFill/>
            <a:ln w="3175">
              <a:solidFill>
                <a:schemeClr val="bg1"/>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de-DE" sz="1800" b="0" i="0" u="none" strike="noStrike" kern="1200" cap="none" spc="0" normalizeH="0" baseline="0" noProof="0">
                <a:ln>
                  <a:noFill/>
                </a:ln>
                <a:solidFill>
                  <a:srgbClr val="FFC000"/>
                </a:solidFill>
                <a:effectLst/>
                <a:uLnTx/>
                <a:uFillTx/>
                <a:latin typeface="Calibri" pitchFamily="34" charset="0"/>
                <a:ea typeface="+mn-ea"/>
                <a:cs typeface="+mn-cs"/>
              </a:endParaRPr>
            </a:p>
          </p:txBody>
        </p:sp>
        <p:sp>
          <p:nvSpPr>
            <p:cNvPr id="32" name="USA" descr="© INSCALE GmbH, 05.05.2010&#10;http://www.presentationload.com/"/>
            <p:cNvSpPr>
              <a:spLocks noEditPoints="1"/>
            </p:cNvSpPr>
            <p:nvPr/>
          </p:nvSpPr>
          <p:spPr bwMode="gray">
            <a:xfrm>
              <a:off x="1836947" y="3071657"/>
              <a:ext cx="1270882" cy="603821"/>
            </a:xfrm>
            <a:custGeom>
              <a:avLst/>
              <a:gdLst>
                <a:gd name="T0" fmla="*/ 2147483647 w 3918"/>
                <a:gd name="T1" fmla="*/ 2147483647 h 1944"/>
                <a:gd name="T2" fmla="*/ 2147483647 w 3918"/>
                <a:gd name="T3" fmla="*/ 2147483647 h 1944"/>
                <a:gd name="T4" fmla="*/ 2147483647 w 3918"/>
                <a:gd name="T5" fmla="*/ 2147483647 h 1944"/>
                <a:gd name="T6" fmla="*/ 2147483647 w 3918"/>
                <a:gd name="T7" fmla="*/ 2147483647 h 1944"/>
                <a:gd name="T8" fmla="*/ 2147483647 w 3918"/>
                <a:gd name="T9" fmla="*/ 2147483647 h 1944"/>
                <a:gd name="T10" fmla="*/ 2147483647 w 3918"/>
                <a:gd name="T11" fmla="*/ 2147483647 h 1944"/>
                <a:gd name="T12" fmla="*/ 2147483647 w 3918"/>
                <a:gd name="T13" fmla="*/ 2147483647 h 1944"/>
                <a:gd name="T14" fmla="*/ 2147483647 w 3918"/>
                <a:gd name="T15" fmla="*/ 2147483647 h 1944"/>
                <a:gd name="T16" fmla="*/ 2147483647 w 3918"/>
                <a:gd name="T17" fmla="*/ 2147483647 h 1944"/>
                <a:gd name="T18" fmla="*/ 2147483647 w 3918"/>
                <a:gd name="T19" fmla="*/ 2147483647 h 1944"/>
                <a:gd name="T20" fmla="*/ 2147483647 w 3918"/>
                <a:gd name="T21" fmla="*/ 2147483647 h 1944"/>
                <a:gd name="T22" fmla="*/ 2147483647 w 3918"/>
                <a:gd name="T23" fmla="*/ 2147483647 h 1944"/>
                <a:gd name="T24" fmla="*/ 2147483647 w 3918"/>
                <a:gd name="T25" fmla="*/ 2147483647 h 1944"/>
                <a:gd name="T26" fmla="*/ 2147483647 w 3918"/>
                <a:gd name="T27" fmla="*/ 2147483647 h 1944"/>
                <a:gd name="T28" fmla="*/ 2147483647 w 3918"/>
                <a:gd name="T29" fmla="*/ 2147483647 h 1944"/>
                <a:gd name="T30" fmla="*/ 2147483647 w 3918"/>
                <a:gd name="T31" fmla="*/ 2147483647 h 1944"/>
                <a:gd name="T32" fmla="*/ 2147483647 w 3918"/>
                <a:gd name="T33" fmla="*/ 2147483647 h 1944"/>
                <a:gd name="T34" fmla="*/ 2147483647 w 3918"/>
                <a:gd name="T35" fmla="*/ 2147483647 h 1944"/>
                <a:gd name="T36" fmla="*/ 2147483647 w 3918"/>
                <a:gd name="T37" fmla="*/ 2147483647 h 1944"/>
                <a:gd name="T38" fmla="*/ 2147483647 w 3918"/>
                <a:gd name="T39" fmla="*/ 2147483647 h 1944"/>
                <a:gd name="T40" fmla="*/ 2147483647 w 3918"/>
                <a:gd name="T41" fmla="*/ 2147483647 h 1944"/>
                <a:gd name="T42" fmla="*/ 2147483647 w 3918"/>
                <a:gd name="T43" fmla="*/ 2147483647 h 1944"/>
                <a:gd name="T44" fmla="*/ 2147483647 w 3918"/>
                <a:gd name="T45" fmla="*/ 2147483647 h 1944"/>
                <a:gd name="T46" fmla="*/ 2147483647 w 3918"/>
                <a:gd name="T47" fmla="*/ 2147483647 h 1944"/>
                <a:gd name="T48" fmla="*/ 2147483647 w 3918"/>
                <a:gd name="T49" fmla="*/ 2147483647 h 1944"/>
                <a:gd name="T50" fmla="*/ 2147483647 w 3918"/>
                <a:gd name="T51" fmla="*/ 2147483647 h 1944"/>
                <a:gd name="T52" fmla="*/ 2147483647 w 3918"/>
                <a:gd name="T53" fmla="*/ 2147483647 h 1944"/>
                <a:gd name="T54" fmla="*/ 2147483647 w 3918"/>
                <a:gd name="T55" fmla="*/ 2147483647 h 1944"/>
                <a:gd name="T56" fmla="*/ 2147483647 w 3918"/>
                <a:gd name="T57" fmla="*/ 2147483647 h 1944"/>
                <a:gd name="T58" fmla="*/ 2147483647 w 3918"/>
                <a:gd name="T59" fmla="*/ 2147483647 h 1944"/>
                <a:gd name="T60" fmla="*/ 2147483647 w 3918"/>
                <a:gd name="T61" fmla="*/ 2147483647 h 1944"/>
                <a:gd name="T62" fmla="*/ 2147483647 w 3918"/>
                <a:gd name="T63" fmla="*/ 2147483647 h 1944"/>
                <a:gd name="T64" fmla="*/ 2147483647 w 3918"/>
                <a:gd name="T65" fmla="*/ 2147483647 h 1944"/>
                <a:gd name="T66" fmla="*/ 2147483647 w 3918"/>
                <a:gd name="T67" fmla="*/ 2147483647 h 1944"/>
                <a:gd name="T68" fmla="*/ 2147483647 w 3918"/>
                <a:gd name="T69" fmla="*/ 2147483647 h 1944"/>
                <a:gd name="T70" fmla="*/ 2147483647 w 3918"/>
                <a:gd name="T71" fmla="*/ 2147483647 h 1944"/>
                <a:gd name="T72" fmla="*/ 2147483647 w 3918"/>
                <a:gd name="T73" fmla="*/ 2147483647 h 1944"/>
                <a:gd name="T74" fmla="*/ 2147483647 w 3918"/>
                <a:gd name="T75" fmla="*/ 2147483647 h 1944"/>
                <a:gd name="T76" fmla="*/ 2147483647 w 3918"/>
                <a:gd name="T77" fmla="*/ 2147483647 h 1944"/>
                <a:gd name="T78" fmla="*/ 2147483647 w 3918"/>
                <a:gd name="T79" fmla="*/ 2147483647 h 1944"/>
                <a:gd name="T80" fmla="*/ 2147483647 w 3918"/>
                <a:gd name="T81" fmla="*/ 2147483647 h 1944"/>
                <a:gd name="T82" fmla="*/ 2147483647 w 3918"/>
                <a:gd name="T83" fmla="*/ 2147483647 h 1944"/>
                <a:gd name="T84" fmla="*/ 2147483647 w 3918"/>
                <a:gd name="T85" fmla="*/ 2147483647 h 1944"/>
                <a:gd name="T86" fmla="*/ 2147483647 w 3918"/>
                <a:gd name="T87" fmla="*/ 2147483647 h 1944"/>
                <a:gd name="T88" fmla="*/ 2147483647 w 3918"/>
                <a:gd name="T89" fmla="*/ 2147483647 h 1944"/>
                <a:gd name="T90" fmla="*/ 2147483647 w 3918"/>
                <a:gd name="T91" fmla="*/ 2147483647 h 1944"/>
                <a:gd name="T92" fmla="*/ 2147483647 w 3918"/>
                <a:gd name="T93" fmla="*/ 2147483647 h 1944"/>
                <a:gd name="T94" fmla="*/ 2147483647 w 3918"/>
                <a:gd name="T95" fmla="*/ 2147483647 h 1944"/>
                <a:gd name="T96" fmla="*/ 2147483647 w 3918"/>
                <a:gd name="T97" fmla="*/ 2147483647 h 1944"/>
                <a:gd name="T98" fmla="*/ 2147483647 w 3918"/>
                <a:gd name="T99" fmla="*/ 2147483647 h 1944"/>
                <a:gd name="T100" fmla="*/ 2147483647 w 3918"/>
                <a:gd name="T101" fmla="*/ 2147483647 h 1944"/>
                <a:gd name="T102" fmla="*/ 2147483647 w 3918"/>
                <a:gd name="T103" fmla="*/ 2147483647 h 1944"/>
                <a:gd name="T104" fmla="*/ 2147483647 w 3918"/>
                <a:gd name="T105" fmla="*/ 2147483647 h 1944"/>
                <a:gd name="T106" fmla="*/ 2147483647 w 3918"/>
                <a:gd name="T107" fmla="*/ 2147483647 h 1944"/>
                <a:gd name="T108" fmla="*/ 2147483647 w 3918"/>
                <a:gd name="T109" fmla="*/ 2147483647 h 1944"/>
                <a:gd name="T110" fmla="*/ 2147483647 w 3918"/>
                <a:gd name="T111" fmla="*/ 2147483647 h 1944"/>
                <a:gd name="T112" fmla="*/ 2147483647 w 3918"/>
                <a:gd name="T113" fmla="*/ 2147483647 h 1944"/>
                <a:gd name="T114" fmla="*/ 2147483647 w 3918"/>
                <a:gd name="T115" fmla="*/ 2147483647 h 1944"/>
                <a:gd name="T116" fmla="*/ 2147483647 w 3918"/>
                <a:gd name="T117" fmla="*/ 2147483647 h 1944"/>
                <a:gd name="T118" fmla="*/ 2147483647 w 3918"/>
                <a:gd name="T119" fmla="*/ 2147483647 h 1944"/>
                <a:gd name="T120" fmla="*/ 2147483647 w 3918"/>
                <a:gd name="T121" fmla="*/ 2147483647 h 1944"/>
                <a:gd name="T122" fmla="*/ 2147483647 w 3918"/>
                <a:gd name="T123" fmla="*/ 2147483647 h 1944"/>
                <a:gd name="T124" fmla="*/ 2147483647 w 3918"/>
                <a:gd name="T125" fmla="*/ 2147483647 h 1944"/>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3918"/>
                <a:gd name="T190" fmla="*/ 0 h 1944"/>
                <a:gd name="T191" fmla="*/ 3918 w 3918"/>
                <a:gd name="T192" fmla="*/ 1944 h 1944"/>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3918" h="1944">
                  <a:moveTo>
                    <a:pt x="3858" y="168"/>
                  </a:moveTo>
                  <a:lnTo>
                    <a:pt x="3852" y="168"/>
                  </a:lnTo>
                  <a:lnTo>
                    <a:pt x="3846" y="162"/>
                  </a:lnTo>
                  <a:lnTo>
                    <a:pt x="3846" y="156"/>
                  </a:lnTo>
                  <a:lnTo>
                    <a:pt x="3840" y="150"/>
                  </a:lnTo>
                  <a:lnTo>
                    <a:pt x="3828" y="150"/>
                  </a:lnTo>
                  <a:lnTo>
                    <a:pt x="3804" y="174"/>
                  </a:lnTo>
                  <a:lnTo>
                    <a:pt x="3798" y="186"/>
                  </a:lnTo>
                  <a:lnTo>
                    <a:pt x="3756" y="210"/>
                  </a:lnTo>
                  <a:lnTo>
                    <a:pt x="3756" y="234"/>
                  </a:lnTo>
                  <a:lnTo>
                    <a:pt x="3744" y="246"/>
                  </a:lnTo>
                  <a:lnTo>
                    <a:pt x="3738" y="246"/>
                  </a:lnTo>
                  <a:lnTo>
                    <a:pt x="3726" y="258"/>
                  </a:lnTo>
                  <a:lnTo>
                    <a:pt x="3720" y="270"/>
                  </a:lnTo>
                  <a:lnTo>
                    <a:pt x="3720" y="294"/>
                  </a:lnTo>
                  <a:lnTo>
                    <a:pt x="3714" y="294"/>
                  </a:lnTo>
                  <a:lnTo>
                    <a:pt x="3708" y="288"/>
                  </a:lnTo>
                  <a:lnTo>
                    <a:pt x="3696" y="288"/>
                  </a:lnTo>
                  <a:lnTo>
                    <a:pt x="3690" y="294"/>
                  </a:lnTo>
                  <a:lnTo>
                    <a:pt x="3678" y="300"/>
                  </a:lnTo>
                  <a:lnTo>
                    <a:pt x="3666" y="312"/>
                  </a:lnTo>
                  <a:lnTo>
                    <a:pt x="3666" y="318"/>
                  </a:lnTo>
                  <a:lnTo>
                    <a:pt x="3660" y="318"/>
                  </a:lnTo>
                  <a:lnTo>
                    <a:pt x="3648" y="324"/>
                  </a:lnTo>
                  <a:lnTo>
                    <a:pt x="3630" y="324"/>
                  </a:lnTo>
                  <a:lnTo>
                    <a:pt x="3618" y="336"/>
                  </a:lnTo>
                  <a:lnTo>
                    <a:pt x="3618" y="342"/>
                  </a:lnTo>
                  <a:lnTo>
                    <a:pt x="3384" y="342"/>
                  </a:lnTo>
                  <a:lnTo>
                    <a:pt x="3372" y="354"/>
                  </a:lnTo>
                  <a:lnTo>
                    <a:pt x="3360" y="360"/>
                  </a:lnTo>
                  <a:lnTo>
                    <a:pt x="3336" y="384"/>
                  </a:lnTo>
                  <a:lnTo>
                    <a:pt x="3324" y="390"/>
                  </a:lnTo>
                  <a:lnTo>
                    <a:pt x="3312" y="402"/>
                  </a:lnTo>
                  <a:lnTo>
                    <a:pt x="3282" y="402"/>
                  </a:lnTo>
                  <a:lnTo>
                    <a:pt x="3282" y="408"/>
                  </a:lnTo>
                  <a:lnTo>
                    <a:pt x="3276" y="408"/>
                  </a:lnTo>
                  <a:lnTo>
                    <a:pt x="3282" y="414"/>
                  </a:lnTo>
                  <a:lnTo>
                    <a:pt x="3282" y="420"/>
                  </a:lnTo>
                  <a:lnTo>
                    <a:pt x="3288" y="426"/>
                  </a:lnTo>
                  <a:lnTo>
                    <a:pt x="3282" y="432"/>
                  </a:lnTo>
                  <a:lnTo>
                    <a:pt x="3282" y="438"/>
                  </a:lnTo>
                  <a:lnTo>
                    <a:pt x="3276" y="444"/>
                  </a:lnTo>
                  <a:lnTo>
                    <a:pt x="3270" y="456"/>
                  </a:lnTo>
                  <a:lnTo>
                    <a:pt x="3264" y="462"/>
                  </a:lnTo>
                  <a:lnTo>
                    <a:pt x="3264" y="468"/>
                  </a:lnTo>
                  <a:lnTo>
                    <a:pt x="3246" y="468"/>
                  </a:lnTo>
                  <a:lnTo>
                    <a:pt x="3246" y="474"/>
                  </a:lnTo>
                  <a:lnTo>
                    <a:pt x="3240" y="474"/>
                  </a:lnTo>
                  <a:lnTo>
                    <a:pt x="3228" y="480"/>
                  </a:lnTo>
                  <a:lnTo>
                    <a:pt x="3204" y="480"/>
                  </a:lnTo>
                  <a:lnTo>
                    <a:pt x="3198" y="474"/>
                  </a:lnTo>
                  <a:lnTo>
                    <a:pt x="3186" y="486"/>
                  </a:lnTo>
                  <a:lnTo>
                    <a:pt x="3162" y="486"/>
                  </a:lnTo>
                  <a:lnTo>
                    <a:pt x="3150" y="480"/>
                  </a:lnTo>
                  <a:lnTo>
                    <a:pt x="3144" y="474"/>
                  </a:lnTo>
                  <a:lnTo>
                    <a:pt x="3114" y="474"/>
                  </a:lnTo>
                  <a:lnTo>
                    <a:pt x="3096" y="486"/>
                  </a:lnTo>
                  <a:lnTo>
                    <a:pt x="3078" y="492"/>
                  </a:lnTo>
                  <a:lnTo>
                    <a:pt x="3072" y="492"/>
                  </a:lnTo>
                  <a:lnTo>
                    <a:pt x="3072" y="516"/>
                  </a:lnTo>
                  <a:lnTo>
                    <a:pt x="3066" y="522"/>
                  </a:lnTo>
                  <a:lnTo>
                    <a:pt x="3078" y="522"/>
                  </a:lnTo>
                  <a:lnTo>
                    <a:pt x="3066" y="528"/>
                  </a:lnTo>
                  <a:lnTo>
                    <a:pt x="3036" y="546"/>
                  </a:lnTo>
                  <a:lnTo>
                    <a:pt x="3000" y="564"/>
                  </a:lnTo>
                  <a:lnTo>
                    <a:pt x="2964" y="576"/>
                  </a:lnTo>
                  <a:lnTo>
                    <a:pt x="2946" y="588"/>
                  </a:lnTo>
                  <a:lnTo>
                    <a:pt x="2934" y="594"/>
                  </a:lnTo>
                  <a:lnTo>
                    <a:pt x="2928" y="594"/>
                  </a:lnTo>
                  <a:lnTo>
                    <a:pt x="2856" y="618"/>
                  </a:lnTo>
                  <a:lnTo>
                    <a:pt x="2850" y="624"/>
                  </a:lnTo>
                  <a:lnTo>
                    <a:pt x="2838" y="624"/>
                  </a:lnTo>
                  <a:lnTo>
                    <a:pt x="2826" y="630"/>
                  </a:lnTo>
                  <a:lnTo>
                    <a:pt x="2808" y="630"/>
                  </a:lnTo>
                  <a:lnTo>
                    <a:pt x="2802" y="636"/>
                  </a:lnTo>
                  <a:lnTo>
                    <a:pt x="2778" y="636"/>
                  </a:lnTo>
                  <a:lnTo>
                    <a:pt x="2772" y="630"/>
                  </a:lnTo>
                  <a:lnTo>
                    <a:pt x="2772" y="624"/>
                  </a:lnTo>
                  <a:lnTo>
                    <a:pt x="2760" y="624"/>
                  </a:lnTo>
                  <a:lnTo>
                    <a:pt x="2748" y="618"/>
                  </a:lnTo>
                  <a:lnTo>
                    <a:pt x="2736" y="606"/>
                  </a:lnTo>
                  <a:lnTo>
                    <a:pt x="2742" y="606"/>
                  </a:lnTo>
                  <a:lnTo>
                    <a:pt x="2748" y="600"/>
                  </a:lnTo>
                  <a:lnTo>
                    <a:pt x="2772" y="588"/>
                  </a:lnTo>
                  <a:lnTo>
                    <a:pt x="2772" y="582"/>
                  </a:lnTo>
                  <a:lnTo>
                    <a:pt x="2796" y="558"/>
                  </a:lnTo>
                  <a:lnTo>
                    <a:pt x="2832" y="540"/>
                  </a:lnTo>
                  <a:lnTo>
                    <a:pt x="2838" y="540"/>
                  </a:lnTo>
                  <a:lnTo>
                    <a:pt x="2844" y="534"/>
                  </a:lnTo>
                  <a:lnTo>
                    <a:pt x="2844" y="510"/>
                  </a:lnTo>
                  <a:lnTo>
                    <a:pt x="2850" y="504"/>
                  </a:lnTo>
                  <a:lnTo>
                    <a:pt x="2856" y="492"/>
                  </a:lnTo>
                  <a:lnTo>
                    <a:pt x="2850" y="486"/>
                  </a:lnTo>
                  <a:lnTo>
                    <a:pt x="2850" y="480"/>
                  </a:lnTo>
                  <a:lnTo>
                    <a:pt x="2856" y="468"/>
                  </a:lnTo>
                  <a:lnTo>
                    <a:pt x="2856" y="444"/>
                  </a:lnTo>
                  <a:lnTo>
                    <a:pt x="2862" y="432"/>
                  </a:lnTo>
                  <a:lnTo>
                    <a:pt x="2862" y="426"/>
                  </a:lnTo>
                  <a:lnTo>
                    <a:pt x="2856" y="420"/>
                  </a:lnTo>
                  <a:lnTo>
                    <a:pt x="2850" y="420"/>
                  </a:lnTo>
                  <a:lnTo>
                    <a:pt x="2844" y="426"/>
                  </a:lnTo>
                  <a:lnTo>
                    <a:pt x="2832" y="426"/>
                  </a:lnTo>
                  <a:lnTo>
                    <a:pt x="2814" y="444"/>
                  </a:lnTo>
                  <a:lnTo>
                    <a:pt x="2802" y="450"/>
                  </a:lnTo>
                  <a:lnTo>
                    <a:pt x="2796" y="456"/>
                  </a:lnTo>
                  <a:lnTo>
                    <a:pt x="2778" y="456"/>
                  </a:lnTo>
                  <a:lnTo>
                    <a:pt x="2772" y="450"/>
                  </a:lnTo>
                  <a:lnTo>
                    <a:pt x="2778" y="444"/>
                  </a:lnTo>
                  <a:lnTo>
                    <a:pt x="2784" y="432"/>
                  </a:lnTo>
                  <a:lnTo>
                    <a:pt x="2808" y="420"/>
                  </a:lnTo>
                  <a:lnTo>
                    <a:pt x="2826" y="402"/>
                  </a:lnTo>
                  <a:lnTo>
                    <a:pt x="2850" y="390"/>
                  </a:lnTo>
                  <a:lnTo>
                    <a:pt x="2856" y="384"/>
                  </a:lnTo>
                  <a:lnTo>
                    <a:pt x="2856" y="366"/>
                  </a:lnTo>
                  <a:lnTo>
                    <a:pt x="2850" y="360"/>
                  </a:lnTo>
                  <a:lnTo>
                    <a:pt x="2850" y="348"/>
                  </a:lnTo>
                  <a:lnTo>
                    <a:pt x="2856" y="348"/>
                  </a:lnTo>
                  <a:lnTo>
                    <a:pt x="2862" y="342"/>
                  </a:lnTo>
                  <a:lnTo>
                    <a:pt x="2868" y="330"/>
                  </a:lnTo>
                  <a:lnTo>
                    <a:pt x="2868" y="318"/>
                  </a:lnTo>
                  <a:lnTo>
                    <a:pt x="2862" y="312"/>
                  </a:lnTo>
                  <a:lnTo>
                    <a:pt x="2850" y="312"/>
                  </a:lnTo>
                  <a:lnTo>
                    <a:pt x="2838" y="306"/>
                  </a:lnTo>
                  <a:lnTo>
                    <a:pt x="2832" y="306"/>
                  </a:lnTo>
                  <a:lnTo>
                    <a:pt x="2826" y="294"/>
                  </a:lnTo>
                  <a:lnTo>
                    <a:pt x="2820" y="288"/>
                  </a:lnTo>
                  <a:lnTo>
                    <a:pt x="2820" y="282"/>
                  </a:lnTo>
                  <a:lnTo>
                    <a:pt x="2814" y="288"/>
                  </a:lnTo>
                  <a:lnTo>
                    <a:pt x="2808" y="288"/>
                  </a:lnTo>
                  <a:lnTo>
                    <a:pt x="2808" y="264"/>
                  </a:lnTo>
                  <a:lnTo>
                    <a:pt x="2844" y="270"/>
                  </a:lnTo>
                  <a:lnTo>
                    <a:pt x="2850" y="264"/>
                  </a:lnTo>
                  <a:lnTo>
                    <a:pt x="2850" y="246"/>
                  </a:lnTo>
                  <a:lnTo>
                    <a:pt x="2862" y="246"/>
                  </a:lnTo>
                  <a:lnTo>
                    <a:pt x="2868" y="228"/>
                  </a:lnTo>
                  <a:lnTo>
                    <a:pt x="2850" y="228"/>
                  </a:lnTo>
                  <a:lnTo>
                    <a:pt x="2844" y="240"/>
                  </a:lnTo>
                  <a:lnTo>
                    <a:pt x="2820" y="228"/>
                  </a:lnTo>
                  <a:lnTo>
                    <a:pt x="2820" y="210"/>
                  </a:lnTo>
                  <a:lnTo>
                    <a:pt x="2802" y="210"/>
                  </a:lnTo>
                  <a:lnTo>
                    <a:pt x="2790" y="216"/>
                  </a:lnTo>
                  <a:lnTo>
                    <a:pt x="2736" y="216"/>
                  </a:lnTo>
                  <a:lnTo>
                    <a:pt x="2724" y="222"/>
                  </a:lnTo>
                  <a:lnTo>
                    <a:pt x="2712" y="222"/>
                  </a:lnTo>
                  <a:lnTo>
                    <a:pt x="2700" y="228"/>
                  </a:lnTo>
                  <a:lnTo>
                    <a:pt x="2682" y="228"/>
                  </a:lnTo>
                  <a:lnTo>
                    <a:pt x="2658" y="216"/>
                  </a:lnTo>
                  <a:lnTo>
                    <a:pt x="2658" y="210"/>
                  </a:lnTo>
                  <a:lnTo>
                    <a:pt x="2652" y="204"/>
                  </a:lnTo>
                  <a:lnTo>
                    <a:pt x="2652" y="198"/>
                  </a:lnTo>
                  <a:lnTo>
                    <a:pt x="2646" y="192"/>
                  </a:lnTo>
                  <a:lnTo>
                    <a:pt x="2628" y="192"/>
                  </a:lnTo>
                  <a:lnTo>
                    <a:pt x="2622" y="198"/>
                  </a:lnTo>
                  <a:lnTo>
                    <a:pt x="2616" y="198"/>
                  </a:lnTo>
                  <a:lnTo>
                    <a:pt x="2610" y="192"/>
                  </a:lnTo>
                  <a:lnTo>
                    <a:pt x="2670" y="162"/>
                  </a:lnTo>
                  <a:lnTo>
                    <a:pt x="2658" y="150"/>
                  </a:lnTo>
                  <a:lnTo>
                    <a:pt x="2640" y="150"/>
                  </a:lnTo>
                  <a:lnTo>
                    <a:pt x="2628" y="162"/>
                  </a:lnTo>
                  <a:lnTo>
                    <a:pt x="2616" y="168"/>
                  </a:lnTo>
                  <a:lnTo>
                    <a:pt x="2610" y="174"/>
                  </a:lnTo>
                  <a:lnTo>
                    <a:pt x="2604" y="174"/>
                  </a:lnTo>
                  <a:lnTo>
                    <a:pt x="2580" y="186"/>
                  </a:lnTo>
                  <a:lnTo>
                    <a:pt x="2562" y="192"/>
                  </a:lnTo>
                  <a:lnTo>
                    <a:pt x="2538" y="204"/>
                  </a:lnTo>
                  <a:lnTo>
                    <a:pt x="2508" y="204"/>
                  </a:lnTo>
                  <a:lnTo>
                    <a:pt x="2496" y="216"/>
                  </a:lnTo>
                  <a:lnTo>
                    <a:pt x="2448" y="216"/>
                  </a:lnTo>
                  <a:lnTo>
                    <a:pt x="2448" y="210"/>
                  </a:lnTo>
                  <a:lnTo>
                    <a:pt x="2454" y="204"/>
                  </a:lnTo>
                  <a:lnTo>
                    <a:pt x="2460" y="204"/>
                  </a:lnTo>
                  <a:lnTo>
                    <a:pt x="2472" y="192"/>
                  </a:lnTo>
                  <a:lnTo>
                    <a:pt x="2460" y="192"/>
                  </a:lnTo>
                  <a:lnTo>
                    <a:pt x="2448" y="198"/>
                  </a:lnTo>
                  <a:lnTo>
                    <a:pt x="2412" y="198"/>
                  </a:lnTo>
                  <a:lnTo>
                    <a:pt x="2400" y="204"/>
                  </a:lnTo>
                  <a:lnTo>
                    <a:pt x="2394" y="210"/>
                  </a:lnTo>
                  <a:lnTo>
                    <a:pt x="2370" y="210"/>
                  </a:lnTo>
                  <a:lnTo>
                    <a:pt x="2370" y="198"/>
                  </a:lnTo>
                  <a:lnTo>
                    <a:pt x="2400" y="180"/>
                  </a:lnTo>
                  <a:lnTo>
                    <a:pt x="2442" y="168"/>
                  </a:lnTo>
                  <a:lnTo>
                    <a:pt x="2502" y="138"/>
                  </a:lnTo>
                  <a:lnTo>
                    <a:pt x="2520" y="126"/>
                  </a:lnTo>
                  <a:lnTo>
                    <a:pt x="2544" y="120"/>
                  </a:lnTo>
                  <a:lnTo>
                    <a:pt x="2574" y="114"/>
                  </a:lnTo>
                  <a:lnTo>
                    <a:pt x="2580" y="114"/>
                  </a:lnTo>
                  <a:lnTo>
                    <a:pt x="2592" y="108"/>
                  </a:lnTo>
                  <a:lnTo>
                    <a:pt x="2574" y="108"/>
                  </a:lnTo>
                  <a:lnTo>
                    <a:pt x="2562" y="102"/>
                  </a:lnTo>
                  <a:lnTo>
                    <a:pt x="2556" y="102"/>
                  </a:lnTo>
                  <a:lnTo>
                    <a:pt x="2556" y="96"/>
                  </a:lnTo>
                  <a:lnTo>
                    <a:pt x="2508" y="102"/>
                  </a:lnTo>
                  <a:lnTo>
                    <a:pt x="2508" y="84"/>
                  </a:lnTo>
                  <a:lnTo>
                    <a:pt x="2502" y="90"/>
                  </a:lnTo>
                  <a:lnTo>
                    <a:pt x="2490" y="96"/>
                  </a:lnTo>
                  <a:lnTo>
                    <a:pt x="2478" y="108"/>
                  </a:lnTo>
                  <a:lnTo>
                    <a:pt x="2466" y="108"/>
                  </a:lnTo>
                  <a:lnTo>
                    <a:pt x="2448" y="90"/>
                  </a:lnTo>
                  <a:lnTo>
                    <a:pt x="2418" y="90"/>
                  </a:lnTo>
                  <a:lnTo>
                    <a:pt x="2412" y="84"/>
                  </a:lnTo>
                  <a:lnTo>
                    <a:pt x="2412" y="78"/>
                  </a:lnTo>
                  <a:lnTo>
                    <a:pt x="2400" y="66"/>
                  </a:lnTo>
                  <a:lnTo>
                    <a:pt x="2388" y="60"/>
                  </a:lnTo>
                  <a:lnTo>
                    <a:pt x="2376" y="60"/>
                  </a:lnTo>
                  <a:lnTo>
                    <a:pt x="2364" y="72"/>
                  </a:lnTo>
                  <a:lnTo>
                    <a:pt x="2364" y="78"/>
                  </a:lnTo>
                  <a:lnTo>
                    <a:pt x="2352" y="78"/>
                  </a:lnTo>
                  <a:lnTo>
                    <a:pt x="2334" y="60"/>
                  </a:lnTo>
                  <a:lnTo>
                    <a:pt x="2322" y="60"/>
                  </a:lnTo>
                  <a:lnTo>
                    <a:pt x="2304" y="54"/>
                  </a:lnTo>
                  <a:lnTo>
                    <a:pt x="2292" y="48"/>
                  </a:lnTo>
                  <a:lnTo>
                    <a:pt x="2292" y="36"/>
                  </a:lnTo>
                  <a:lnTo>
                    <a:pt x="2298" y="24"/>
                  </a:lnTo>
                  <a:lnTo>
                    <a:pt x="2310" y="12"/>
                  </a:lnTo>
                  <a:lnTo>
                    <a:pt x="2298" y="0"/>
                  </a:lnTo>
                  <a:lnTo>
                    <a:pt x="2286" y="6"/>
                  </a:lnTo>
                  <a:lnTo>
                    <a:pt x="2280" y="12"/>
                  </a:lnTo>
                  <a:lnTo>
                    <a:pt x="2274" y="24"/>
                  </a:lnTo>
                  <a:lnTo>
                    <a:pt x="2274" y="30"/>
                  </a:lnTo>
                  <a:lnTo>
                    <a:pt x="2268" y="42"/>
                  </a:lnTo>
                  <a:lnTo>
                    <a:pt x="558" y="42"/>
                  </a:lnTo>
                  <a:lnTo>
                    <a:pt x="552" y="54"/>
                  </a:lnTo>
                  <a:lnTo>
                    <a:pt x="552" y="60"/>
                  </a:lnTo>
                  <a:lnTo>
                    <a:pt x="546" y="60"/>
                  </a:lnTo>
                  <a:lnTo>
                    <a:pt x="546" y="72"/>
                  </a:lnTo>
                  <a:lnTo>
                    <a:pt x="540" y="84"/>
                  </a:lnTo>
                  <a:lnTo>
                    <a:pt x="540" y="108"/>
                  </a:lnTo>
                  <a:lnTo>
                    <a:pt x="510" y="126"/>
                  </a:lnTo>
                  <a:lnTo>
                    <a:pt x="504" y="144"/>
                  </a:lnTo>
                  <a:lnTo>
                    <a:pt x="486" y="168"/>
                  </a:lnTo>
                  <a:lnTo>
                    <a:pt x="438" y="180"/>
                  </a:lnTo>
                  <a:lnTo>
                    <a:pt x="474" y="162"/>
                  </a:lnTo>
                  <a:lnTo>
                    <a:pt x="450" y="162"/>
                  </a:lnTo>
                  <a:lnTo>
                    <a:pt x="456" y="156"/>
                  </a:lnTo>
                  <a:lnTo>
                    <a:pt x="462" y="144"/>
                  </a:lnTo>
                  <a:lnTo>
                    <a:pt x="486" y="120"/>
                  </a:lnTo>
                  <a:lnTo>
                    <a:pt x="492" y="120"/>
                  </a:lnTo>
                  <a:lnTo>
                    <a:pt x="504" y="108"/>
                  </a:lnTo>
                  <a:lnTo>
                    <a:pt x="504" y="102"/>
                  </a:lnTo>
                  <a:lnTo>
                    <a:pt x="456" y="102"/>
                  </a:lnTo>
                  <a:lnTo>
                    <a:pt x="450" y="96"/>
                  </a:lnTo>
                  <a:lnTo>
                    <a:pt x="438" y="90"/>
                  </a:lnTo>
                  <a:lnTo>
                    <a:pt x="432" y="84"/>
                  </a:lnTo>
                  <a:lnTo>
                    <a:pt x="420" y="78"/>
                  </a:lnTo>
                  <a:lnTo>
                    <a:pt x="402" y="78"/>
                  </a:lnTo>
                  <a:lnTo>
                    <a:pt x="390" y="90"/>
                  </a:lnTo>
                  <a:lnTo>
                    <a:pt x="384" y="102"/>
                  </a:lnTo>
                  <a:lnTo>
                    <a:pt x="384" y="150"/>
                  </a:lnTo>
                  <a:lnTo>
                    <a:pt x="378" y="156"/>
                  </a:lnTo>
                  <a:lnTo>
                    <a:pt x="378" y="162"/>
                  </a:lnTo>
                  <a:lnTo>
                    <a:pt x="360" y="180"/>
                  </a:lnTo>
                  <a:lnTo>
                    <a:pt x="390" y="186"/>
                  </a:lnTo>
                  <a:lnTo>
                    <a:pt x="360" y="192"/>
                  </a:lnTo>
                  <a:lnTo>
                    <a:pt x="366" y="210"/>
                  </a:lnTo>
                  <a:lnTo>
                    <a:pt x="348" y="234"/>
                  </a:lnTo>
                  <a:lnTo>
                    <a:pt x="354" y="234"/>
                  </a:lnTo>
                  <a:lnTo>
                    <a:pt x="366" y="246"/>
                  </a:lnTo>
                  <a:lnTo>
                    <a:pt x="372" y="246"/>
                  </a:lnTo>
                  <a:lnTo>
                    <a:pt x="378" y="252"/>
                  </a:lnTo>
                  <a:lnTo>
                    <a:pt x="330" y="252"/>
                  </a:lnTo>
                  <a:lnTo>
                    <a:pt x="324" y="264"/>
                  </a:lnTo>
                  <a:lnTo>
                    <a:pt x="306" y="282"/>
                  </a:lnTo>
                  <a:lnTo>
                    <a:pt x="270" y="342"/>
                  </a:lnTo>
                  <a:lnTo>
                    <a:pt x="258" y="360"/>
                  </a:lnTo>
                  <a:lnTo>
                    <a:pt x="216" y="402"/>
                  </a:lnTo>
                  <a:lnTo>
                    <a:pt x="192" y="432"/>
                  </a:lnTo>
                  <a:lnTo>
                    <a:pt x="174" y="456"/>
                  </a:lnTo>
                  <a:lnTo>
                    <a:pt x="168" y="462"/>
                  </a:lnTo>
                  <a:lnTo>
                    <a:pt x="174" y="480"/>
                  </a:lnTo>
                  <a:lnTo>
                    <a:pt x="168" y="480"/>
                  </a:lnTo>
                  <a:lnTo>
                    <a:pt x="162" y="486"/>
                  </a:lnTo>
                  <a:lnTo>
                    <a:pt x="150" y="492"/>
                  </a:lnTo>
                  <a:lnTo>
                    <a:pt x="126" y="516"/>
                  </a:lnTo>
                  <a:lnTo>
                    <a:pt x="120" y="534"/>
                  </a:lnTo>
                  <a:lnTo>
                    <a:pt x="120" y="546"/>
                  </a:lnTo>
                  <a:lnTo>
                    <a:pt x="102" y="570"/>
                  </a:lnTo>
                  <a:lnTo>
                    <a:pt x="96" y="618"/>
                  </a:lnTo>
                  <a:lnTo>
                    <a:pt x="90" y="630"/>
                  </a:lnTo>
                  <a:lnTo>
                    <a:pt x="72" y="648"/>
                  </a:lnTo>
                  <a:lnTo>
                    <a:pt x="60" y="672"/>
                  </a:lnTo>
                  <a:lnTo>
                    <a:pt x="54" y="678"/>
                  </a:lnTo>
                  <a:lnTo>
                    <a:pt x="42" y="684"/>
                  </a:lnTo>
                  <a:lnTo>
                    <a:pt x="18" y="708"/>
                  </a:lnTo>
                  <a:lnTo>
                    <a:pt x="12" y="720"/>
                  </a:lnTo>
                  <a:lnTo>
                    <a:pt x="18" y="732"/>
                  </a:lnTo>
                  <a:lnTo>
                    <a:pt x="36" y="750"/>
                  </a:lnTo>
                  <a:lnTo>
                    <a:pt x="36" y="762"/>
                  </a:lnTo>
                  <a:lnTo>
                    <a:pt x="30" y="774"/>
                  </a:lnTo>
                  <a:lnTo>
                    <a:pt x="18" y="786"/>
                  </a:lnTo>
                  <a:lnTo>
                    <a:pt x="12" y="798"/>
                  </a:lnTo>
                  <a:lnTo>
                    <a:pt x="6" y="816"/>
                  </a:lnTo>
                  <a:lnTo>
                    <a:pt x="0" y="828"/>
                  </a:lnTo>
                  <a:lnTo>
                    <a:pt x="0" y="840"/>
                  </a:lnTo>
                  <a:lnTo>
                    <a:pt x="6" y="852"/>
                  </a:lnTo>
                  <a:lnTo>
                    <a:pt x="12" y="870"/>
                  </a:lnTo>
                  <a:lnTo>
                    <a:pt x="12" y="882"/>
                  </a:lnTo>
                  <a:lnTo>
                    <a:pt x="18" y="900"/>
                  </a:lnTo>
                  <a:lnTo>
                    <a:pt x="24" y="906"/>
                  </a:lnTo>
                  <a:lnTo>
                    <a:pt x="24" y="912"/>
                  </a:lnTo>
                  <a:lnTo>
                    <a:pt x="48" y="894"/>
                  </a:lnTo>
                  <a:lnTo>
                    <a:pt x="114" y="900"/>
                  </a:lnTo>
                  <a:lnTo>
                    <a:pt x="78" y="900"/>
                  </a:lnTo>
                  <a:lnTo>
                    <a:pt x="66" y="906"/>
                  </a:lnTo>
                  <a:lnTo>
                    <a:pt x="60" y="906"/>
                  </a:lnTo>
                  <a:lnTo>
                    <a:pt x="48" y="918"/>
                  </a:lnTo>
                  <a:lnTo>
                    <a:pt x="48" y="942"/>
                  </a:lnTo>
                  <a:lnTo>
                    <a:pt x="30" y="924"/>
                  </a:lnTo>
                  <a:lnTo>
                    <a:pt x="24" y="924"/>
                  </a:lnTo>
                  <a:lnTo>
                    <a:pt x="18" y="936"/>
                  </a:lnTo>
                  <a:lnTo>
                    <a:pt x="18" y="942"/>
                  </a:lnTo>
                  <a:lnTo>
                    <a:pt x="12" y="960"/>
                  </a:lnTo>
                  <a:lnTo>
                    <a:pt x="12" y="978"/>
                  </a:lnTo>
                  <a:lnTo>
                    <a:pt x="18" y="984"/>
                  </a:lnTo>
                  <a:lnTo>
                    <a:pt x="30" y="990"/>
                  </a:lnTo>
                  <a:lnTo>
                    <a:pt x="42" y="990"/>
                  </a:lnTo>
                  <a:lnTo>
                    <a:pt x="42" y="1002"/>
                  </a:lnTo>
                  <a:lnTo>
                    <a:pt x="36" y="1008"/>
                  </a:lnTo>
                  <a:lnTo>
                    <a:pt x="36" y="1014"/>
                  </a:lnTo>
                  <a:lnTo>
                    <a:pt x="18" y="1032"/>
                  </a:lnTo>
                  <a:lnTo>
                    <a:pt x="12" y="1044"/>
                  </a:lnTo>
                  <a:lnTo>
                    <a:pt x="12" y="1056"/>
                  </a:lnTo>
                  <a:lnTo>
                    <a:pt x="18" y="1068"/>
                  </a:lnTo>
                  <a:lnTo>
                    <a:pt x="24" y="1074"/>
                  </a:lnTo>
                  <a:lnTo>
                    <a:pt x="36" y="1098"/>
                  </a:lnTo>
                  <a:lnTo>
                    <a:pt x="42" y="1104"/>
                  </a:lnTo>
                  <a:lnTo>
                    <a:pt x="54" y="1128"/>
                  </a:lnTo>
                  <a:lnTo>
                    <a:pt x="60" y="1134"/>
                  </a:lnTo>
                  <a:lnTo>
                    <a:pt x="60" y="1146"/>
                  </a:lnTo>
                  <a:lnTo>
                    <a:pt x="54" y="1152"/>
                  </a:lnTo>
                  <a:lnTo>
                    <a:pt x="42" y="1176"/>
                  </a:lnTo>
                  <a:lnTo>
                    <a:pt x="36" y="1182"/>
                  </a:lnTo>
                  <a:lnTo>
                    <a:pt x="36" y="1188"/>
                  </a:lnTo>
                  <a:lnTo>
                    <a:pt x="42" y="1194"/>
                  </a:lnTo>
                  <a:lnTo>
                    <a:pt x="54" y="1194"/>
                  </a:lnTo>
                  <a:lnTo>
                    <a:pt x="72" y="1200"/>
                  </a:lnTo>
                  <a:lnTo>
                    <a:pt x="102" y="1200"/>
                  </a:lnTo>
                  <a:lnTo>
                    <a:pt x="102" y="1212"/>
                  </a:lnTo>
                  <a:lnTo>
                    <a:pt x="120" y="1230"/>
                  </a:lnTo>
                  <a:lnTo>
                    <a:pt x="132" y="1230"/>
                  </a:lnTo>
                  <a:lnTo>
                    <a:pt x="144" y="1224"/>
                  </a:lnTo>
                  <a:lnTo>
                    <a:pt x="150" y="1224"/>
                  </a:lnTo>
                  <a:lnTo>
                    <a:pt x="162" y="1218"/>
                  </a:lnTo>
                  <a:lnTo>
                    <a:pt x="168" y="1248"/>
                  </a:lnTo>
                  <a:lnTo>
                    <a:pt x="174" y="1248"/>
                  </a:lnTo>
                  <a:lnTo>
                    <a:pt x="180" y="1254"/>
                  </a:lnTo>
                  <a:lnTo>
                    <a:pt x="204" y="1266"/>
                  </a:lnTo>
                  <a:lnTo>
                    <a:pt x="216" y="1290"/>
                  </a:lnTo>
                  <a:lnTo>
                    <a:pt x="216" y="1314"/>
                  </a:lnTo>
                  <a:lnTo>
                    <a:pt x="210" y="1338"/>
                  </a:lnTo>
                  <a:lnTo>
                    <a:pt x="216" y="1344"/>
                  </a:lnTo>
                  <a:lnTo>
                    <a:pt x="360" y="1338"/>
                  </a:lnTo>
                  <a:lnTo>
                    <a:pt x="354" y="1344"/>
                  </a:lnTo>
                  <a:lnTo>
                    <a:pt x="354" y="1350"/>
                  </a:lnTo>
                  <a:lnTo>
                    <a:pt x="360" y="1350"/>
                  </a:lnTo>
                  <a:lnTo>
                    <a:pt x="570" y="1446"/>
                  </a:lnTo>
                  <a:lnTo>
                    <a:pt x="774" y="1446"/>
                  </a:lnTo>
                  <a:lnTo>
                    <a:pt x="774" y="1440"/>
                  </a:lnTo>
                  <a:lnTo>
                    <a:pt x="780" y="1428"/>
                  </a:lnTo>
                  <a:lnTo>
                    <a:pt x="780" y="1410"/>
                  </a:lnTo>
                  <a:lnTo>
                    <a:pt x="786" y="1404"/>
                  </a:lnTo>
                  <a:lnTo>
                    <a:pt x="900" y="1404"/>
                  </a:lnTo>
                  <a:lnTo>
                    <a:pt x="912" y="1416"/>
                  </a:lnTo>
                  <a:lnTo>
                    <a:pt x="912" y="1440"/>
                  </a:lnTo>
                  <a:lnTo>
                    <a:pt x="942" y="1452"/>
                  </a:lnTo>
                  <a:lnTo>
                    <a:pt x="948" y="1482"/>
                  </a:lnTo>
                  <a:lnTo>
                    <a:pt x="960" y="1482"/>
                  </a:lnTo>
                  <a:lnTo>
                    <a:pt x="972" y="1488"/>
                  </a:lnTo>
                  <a:lnTo>
                    <a:pt x="984" y="1500"/>
                  </a:lnTo>
                  <a:lnTo>
                    <a:pt x="990" y="1512"/>
                  </a:lnTo>
                  <a:lnTo>
                    <a:pt x="990" y="1554"/>
                  </a:lnTo>
                  <a:lnTo>
                    <a:pt x="984" y="1566"/>
                  </a:lnTo>
                  <a:lnTo>
                    <a:pt x="984" y="1578"/>
                  </a:lnTo>
                  <a:lnTo>
                    <a:pt x="1014" y="1608"/>
                  </a:lnTo>
                  <a:lnTo>
                    <a:pt x="1026" y="1614"/>
                  </a:lnTo>
                  <a:lnTo>
                    <a:pt x="1044" y="1626"/>
                  </a:lnTo>
                  <a:lnTo>
                    <a:pt x="1056" y="1626"/>
                  </a:lnTo>
                  <a:lnTo>
                    <a:pt x="1080" y="1614"/>
                  </a:lnTo>
                  <a:lnTo>
                    <a:pt x="1092" y="1602"/>
                  </a:lnTo>
                  <a:lnTo>
                    <a:pt x="1104" y="1578"/>
                  </a:lnTo>
                  <a:lnTo>
                    <a:pt x="1116" y="1566"/>
                  </a:lnTo>
                  <a:lnTo>
                    <a:pt x="1134" y="1566"/>
                  </a:lnTo>
                  <a:lnTo>
                    <a:pt x="1134" y="1560"/>
                  </a:lnTo>
                  <a:lnTo>
                    <a:pt x="1152" y="1566"/>
                  </a:lnTo>
                  <a:lnTo>
                    <a:pt x="1194" y="1566"/>
                  </a:lnTo>
                  <a:lnTo>
                    <a:pt x="1200" y="1578"/>
                  </a:lnTo>
                  <a:lnTo>
                    <a:pt x="1206" y="1584"/>
                  </a:lnTo>
                  <a:lnTo>
                    <a:pt x="1212" y="1596"/>
                  </a:lnTo>
                  <a:lnTo>
                    <a:pt x="1224" y="1608"/>
                  </a:lnTo>
                  <a:lnTo>
                    <a:pt x="1230" y="1620"/>
                  </a:lnTo>
                  <a:lnTo>
                    <a:pt x="1242" y="1632"/>
                  </a:lnTo>
                  <a:lnTo>
                    <a:pt x="1242" y="1656"/>
                  </a:lnTo>
                  <a:lnTo>
                    <a:pt x="1236" y="1668"/>
                  </a:lnTo>
                  <a:lnTo>
                    <a:pt x="1236" y="1680"/>
                  </a:lnTo>
                  <a:lnTo>
                    <a:pt x="1242" y="1692"/>
                  </a:lnTo>
                  <a:lnTo>
                    <a:pt x="1254" y="1698"/>
                  </a:lnTo>
                  <a:lnTo>
                    <a:pt x="1254" y="1722"/>
                  </a:lnTo>
                  <a:lnTo>
                    <a:pt x="1260" y="1728"/>
                  </a:lnTo>
                  <a:lnTo>
                    <a:pt x="1272" y="1734"/>
                  </a:lnTo>
                  <a:lnTo>
                    <a:pt x="1284" y="1746"/>
                  </a:lnTo>
                  <a:lnTo>
                    <a:pt x="1284" y="1752"/>
                  </a:lnTo>
                  <a:lnTo>
                    <a:pt x="1278" y="1758"/>
                  </a:lnTo>
                  <a:lnTo>
                    <a:pt x="1272" y="1758"/>
                  </a:lnTo>
                  <a:lnTo>
                    <a:pt x="1272" y="1794"/>
                  </a:lnTo>
                  <a:lnTo>
                    <a:pt x="1284" y="1806"/>
                  </a:lnTo>
                  <a:lnTo>
                    <a:pt x="1284" y="1836"/>
                  </a:lnTo>
                  <a:lnTo>
                    <a:pt x="1296" y="1848"/>
                  </a:lnTo>
                  <a:lnTo>
                    <a:pt x="1314" y="1854"/>
                  </a:lnTo>
                  <a:lnTo>
                    <a:pt x="1326" y="1854"/>
                  </a:lnTo>
                  <a:lnTo>
                    <a:pt x="1338" y="1866"/>
                  </a:lnTo>
                  <a:lnTo>
                    <a:pt x="1380" y="1866"/>
                  </a:lnTo>
                  <a:lnTo>
                    <a:pt x="1380" y="1872"/>
                  </a:lnTo>
                  <a:lnTo>
                    <a:pt x="1386" y="1884"/>
                  </a:lnTo>
                  <a:lnTo>
                    <a:pt x="1410" y="1884"/>
                  </a:lnTo>
                  <a:lnTo>
                    <a:pt x="1410" y="1878"/>
                  </a:lnTo>
                  <a:lnTo>
                    <a:pt x="1398" y="1806"/>
                  </a:lnTo>
                  <a:lnTo>
                    <a:pt x="1416" y="1788"/>
                  </a:lnTo>
                  <a:lnTo>
                    <a:pt x="1398" y="1776"/>
                  </a:lnTo>
                  <a:lnTo>
                    <a:pt x="1398" y="1758"/>
                  </a:lnTo>
                  <a:lnTo>
                    <a:pt x="1404" y="1764"/>
                  </a:lnTo>
                  <a:lnTo>
                    <a:pt x="1422" y="1764"/>
                  </a:lnTo>
                  <a:lnTo>
                    <a:pt x="1428" y="1758"/>
                  </a:lnTo>
                  <a:lnTo>
                    <a:pt x="1428" y="1728"/>
                  </a:lnTo>
                  <a:lnTo>
                    <a:pt x="1452" y="1722"/>
                  </a:lnTo>
                  <a:lnTo>
                    <a:pt x="1458" y="1698"/>
                  </a:lnTo>
                  <a:lnTo>
                    <a:pt x="1476" y="1704"/>
                  </a:lnTo>
                  <a:lnTo>
                    <a:pt x="1494" y="1692"/>
                  </a:lnTo>
                  <a:lnTo>
                    <a:pt x="1488" y="1668"/>
                  </a:lnTo>
                  <a:lnTo>
                    <a:pt x="1500" y="1680"/>
                  </a:lnTo>
                  <a:lnTo>
                    <a:pt x="1500" y="1668"/>
                  </a:lnTo>
                  <a:lnTo>
                    <a:pt x="1506" y="1656"/>
                  </a:lnTo>
                  <a:lnTo>
                    <a:pt x="1512" y="1650"/>
                  </a:lnTo>
                  <a:lnTo>
                    <a:pt x="1518" y="1650"/>
                  </a:lnTo>
                  <a:lnTo>
                    <a:pt x="1524" y="1656"/>
                  </a:lnTo>
                  <a:lnTo>
                    <a:pt x="1524" y="1668"/>
                  </a:lnTo>
                  <a:lnTo>
                    <a:pt x="1542" y="1668"/>
                  </a:lnTo>
                  <a:lnTo>
                    <a:pt x="1554" y="1662"/>
                  </a:lnTo>
                  <a:lnTo>
                    <a:pt x="1572" y="1656"/>
                  </a:lnTo>
                  <a:lnTo>
                    <a:pt x="1596" y="1644"/>
                  </a:lnTo>
                  <a:lnTo>
                    <a:pt x="1602" y="1638"/>
                  </a:lnTo>
                  <a:lnTo>
                    <a:pt x="1608" y="1626"/>
                  </a:lnTo>
                  <a:lnTo>
                    <a:pt x="1620" y="1620"/>
                  </a:lnTo>
                  <a:lnTo>
                    <a:pt x="1626" y="1608"/>
                  </a:lnTo>
                  <a:lnTo>
                    <a:pt x="1632" y="1602"/>
                  </a:lnTo>
                  <a:lnTo>
                    <a:pt x="1632" y="1590"/>
                  </a:lnTo>
                  <a:lnTo>
                    <a:pt x="1626" y="1584"/>
                  </a:lnTo>
                  <a:lnTo>
                    <a:pt x="1626" y="1566"/>
                  </a:lnTo>
                  <a:lnTo>
                    <a:pt x="1632" y="1566"/>
                  </a:lnTo>
                  <a:lnTo>
                    <a:pt x="1656" y="1578"/>
                  </a:lnTo>
                  <a:lnTo>
                    <a:pt x="1662" y="1584"/>
                  </a:lnTo>
                  <a:lnTo>
                    <a:pt x="1674" y="1590"/>
                  </a:lnTo>
                  <a:lnTo>
                    <a:pt x="1686" y="1590"/>
                  </a:lnTo>
                  <a:lnTo>
                    <a:pt x="1692" y="1584"/>
                  </a:lnTo>
                  <a:lnTo>
                    <a:pt x="1710" y="1548"/>
                  </a:lnTo>
                  <a:lnTo>
                    <a:pt x="1716" y="1548"/>
                  </a:lnTo>
                  <a:lnTo>
                    <a:pt x="1734" y="1566"/>
                  </a:lnTo>
                  <a:lnTo>
                    <a:pt x="1746" y="1566"/>
                  </a:lnTo>
                  <a:lnTo>
                    <a:pt x="1752" y="1560"/>
                  </a:lnTo>
                  <a:lnTo>
                    <a:pt x="1758" y="1548"/>
                  </a:lnTo>
                  <a:lnTo>
                    <a:pt x="1764" y="1542"/>
                  </a:lnTo>
                  <a:lnTo>
                    <a:pt x="1770" y="1554"/>
                  </a:lnTo>
                  <a:lnTo>
                    <a:pt x="1776" y="1560"/>
                  </a:lnTo>
                  <a:lnTo>
                    <a:pt x="1782" y="1572"/>
                  </a:lnTo>
                  <a:lnTo>
                    <a:pt x="1794" y="1578"/>
                  </a:lnTo>
                  <a:lnTo>
                    <a:pt x="1800" y="1584"/>
                  </a:lnTo>
                  <a:lnTo>
                    <a:pt x="1818" y="1584"/>
                  </a:lnTo>
                  <a:lnTo>
                    <a:pt x="1824" y="1578"/>
                  </a:lnTo>
                  <a:lnTo>
                    <a:pt x="1830" y="1566"/>
                  </a:lnTo>
                  <a:lnTo>
                    <a:pt x="1842" y="1554"/>
                  </a:lnTo>
                  <a:lnTo>
                    <a:pt x="1848" y="1554"/>
                  </a:lnTo>
                  <a:lnTo>
                    <a:pt x="1860" y="1560"/>
                  </a:lnTo>
                  <a:lnTo>
                    <a:pt x="1872" y="1572"/>
                  </a:lnTo>
                  <a:lnTo>
                    <a:pt x="1872" y="1584"/>
                  </a:lnTo>
                  <a:lnTo>
                    <a:pt x="1878" y="1596"/>
                  </a:lnTo>
                  <a:lnTo>
                    <a:pt x="1878" y="1614"/>
                  </a:lnTo>
                  <a:lnTo>
                    <a:pt x="1914" y="1614"/>
                  </a:lnTo>
                  <a:lnTo>
                    <a:pt x="1920" y="1620"/>
                  </a:lnTo>
                  <a:lnTo>
                    <a:pt x="1926" y="1620"/>
                  </a:lnTo>
                  <a:lnTo>
                    <a:pt x="1926" y="1608"/>
                  </a:lnTo>
                  <a:lnTo>
                    <a:pt x="1932" y="1602"/>
                  </a:lnTo>
                  <a:lnTo>
                    <a:pt x="1932" y="1608"/>
                  </a:lnTo>
                  <a:lnTo>
                    <a:pt x="1956" y="1632"/>
                  </a:lnTo>
                  <a:lnTo>
                    <a:pt x="1962" y="1626"/>
                  </a:lnTo>
                  <a:lnTo>
                    <a:pt x="1968" y="1614"/>
                  </a:lnTo>
                  <a:lnTo>
                    <a:pt x="1968" y="1596"/>
                  </a:lnTo>
                  <a:lnTo>
                    <a:pt x="1962" y="1584"/>
                  </a:lnTo>
                  <a:lnTo>
                    <a:pt x="1980" y="1590"/>
                  </a:lnTo>
                  <a:lnTo>
                    <a:pt x="1992" y="1608"/>
                  </a:lnTo>
                  <a:lnTo>
                    <a:pt x="2004" y="1614"/>
                  </a:lnTo>
                  <a:lnTo>
                    <a:pt x="2004" y="1626"/>
                  </a:lnTo>
                  <a:lnTo>
                    <a:pt x="2010" y="1626"/>
                  </a:lnTo>
                  <a:lnTo>
                    <a:pt x="2016" y="1632"/>
                  </a:lnTo>
                  <a:lnTo>
                    <a:pt x="2028" y="1632"/>
                  </a:lnTo>
                  <a:lnTo>
                    <a:pt x="2034" y="1626"/>
                  </a:lnTo>
                  <a:lnTo>
                    <a:pt x="2034" y="1620"/>
                  </a:lnTo>
                  <a:lnTo>
                    <a:pt x="2028" y="1608"/>
                  </a:lnTo>
                  <a:lnTo>
                    <a:pt x="2022" y="1602"/>
                  </a:lnTo>
                  <a:lnTo>
                    <a:pt x="2010" y="1596"/>
                  </a:lnTo>
                  <a:lnTo>
                    <a:pt x="2004" y="1590"/>
                  </a:lnTo>
                  <a:lnTo>
                    <a:pt x="1998" y="1578"/>
                  </a:lnTo>
                  <a:lnTo>
                    <a:pt x="2010" y="1578"/>
                  </a:lnTo>
                  <a:lnTo>
                    <a:pt x="2022" y="1566"/>
                  </a:lnTo>
                  <a:lnTo>
                    <a:pt x="2022" y="1554"/>
                  </a:lnTo>
                  <a:lnTo>
                    <a:pt x="2016" y="1548"/>
                  </a:lnTo>
                  <a:lnTo>
                    <a:pt x="1968" y="1548"/>
                  </a:lnTo>
                  <a:lnTo>
                    <a:pt x="1962" y="1542"/>
                  </a:lnTo>
                  <a:lnTo>
                    <a:pt x="1962" y="1530"/>
                  </a:lnTo>
                  <a:lnTo>
                    <a:pt x="1968" y="1524"/>
                  </a:lnTo>
                  <a:lnTo>
                    <a:pt x="1986" y="1524"/>
                  </a:lnTo>
                  <a:lnTo>
                    <a:pt x="1998" y="1530"/>
                  </a:lnTo>
                  <a:lnTo>
                    <a:pt x="2004" y="1530"/>
                  </a:lnTo>
                  <a:lnTo>
                    <a:pt x="2016" y="1536"/>
                  </a:lnTo>
                  <a:lnTo>
                    <a:pt x="2028" y="1536"/>
                  </a:lnTo>
                  <a:lnTo>
                    <a:pt x="2064" y="1518"/>
                  </a:lnTo>
                  <a:lnTo>
                    <a:pt x="2070" y="1512"/>
                  </a:lnTo>
                  <a:lnTo>
                    <a:pt x="2082" y="1512"/>
                  </a:lnTo>
                  <a:lnTo>
                    <a:pt x="2082" y="1518"/>
                  </a:lnTo>
                  <a:lnTo>
                    <a:pt x="2106" y="1518"/>
                  </a:lnTo>
                  <a:lnTo>
                    <a:pt x="2118" y="1512"/>
                  </a:lnTo>
                  <a:lnTo>
                    <a:pt x="2124" y="1512"/>
                  </a:lnTo>
                  <a:lnTo>
                    <a:pt x="2130" y="1506"/>
                  </a:lnTo>
                  <a:lnTo>
                    <a:pt x="2130" y="1500"/>
                  </a:lnTo>
                  <a:lnTo>
                    <a:pt x="2136" y="1488"/>
                  </a:lnTo>
                  <a:lnTo>
                    <a:pt x="2136" y="1482"/>
                  </a:lnTo>
                  <a:lnTo>
                    <a:pt x="2142" y="1482"/>
                  </a:lnTo>
                  <a:lnTo>
                    <a:pt x="2142" y="1488"/>
                  </a:lnTo>
                  <a:lnTo>
                    <a:pt x="2148" y="1500"/>
                  </a:lnTo>
                  <a:lnTo>
                    <a:pt x="2148" y="1524"/>
                  </a:lnTo>
                  <a:lnTo>
                    <a:pt x="2154" y="1524"/>
                  </a:lnTo>
                  <a:lnTo>
                    <a:pt x="2160" y="1518"/>
                  </a:lnTo>
                  <a:lnTo>
                    <a:pt x="2172" y="1512"/>
                  </a:lnTo>
                  <a:lnTo>
                    <a:pt x="2190" y="1512"/>
                  </a:lnTo>
                  <a:lnTo>
                    <a:pt x="2202" y="1506"/>
                  </a:lnTo>
                  <a:lnTo>
                    <a:pt x="2214" y="1506"/>
                  </a:lnTo>
                  <a:lnTo>
                    <a:pt x="2226" y="1512"/>
                  </a:lnTo>
                  <a:lnTo>
                    <a:pt x="2232" y="1524"/>
                  </a:lnTo>
                  <a:lnTo>
                    <a:pt x="2232" y="1506"/>
                  </a:lnTo>
                  <a:lnTo>
                    <a:pt x="2244" y="1506"/>
                  </a:lnTo>
                  <a:lnTo>
                    <a:pt x="2256" y="1518"/>
                  </a:lnTo>
                  <a:lnTo>
                    <a:pt x="2256" y="1530"/>
                  </a:lnTo>
                  <a:lnTo>
                    <a:pt x="2286" y="1524"/>
                  </a:lnTo>
                  <a:lnTo>
                    <a:pt x="2280" y="1536"/>
                  </a:lnTo>
                  <a:lnTo>
                    <a:pt x="2280" y="1548"/>
                  </a:lnTo>
                  <a:lnTo>
                    <a:pt x="2286" y="1554"/>
                  </a:lnTo>
                  <a:lnTo>
                    <a:pt x="2286" y="1566"/>
                  </a:lnTo>
                  <a:lnTo>
                    <a:pt x="2298" y="1578"/>
                  </a:lnTo>
                  <a:lnTo>
                    <a:pt x="2310" y="1578"/>
                  </a:lnTo>
                  <a:lnTo>
                    <a:pt x="2328" y="1572"/>
                  </a:lnTo>
                  <a:lnTo>
                    <a:pt x="2352" y="1548"/>
                  </a:lnTo>
                  <a:lnTo>
                    <a:pt x="2370" y="1542"/>
                  </a:lnTo>
                  <a:lnTo>
                    <a:pt x="2382" y="1542"/>
                  </a:lnTo>
                  <a:lnTo>
                    <a:pt x="2394" y="1548"/>
                  </a:lnTo>
                  <a:lnTo>
                    <a:pt x="2400" y="1554"/>
                  </a:lnTo>
                  <a:lnTo>
                    <a:pt x="2418" y="1590"/>
                  </a:lnTo>
                  <a:lnTo>
                    <a:pt x="2418" y="1602"/>
                  </a:lnTo>
                  <a:lnTo>
                    <a:pt x="2424" y="1608"/>
                  </a:lnTo>
                  <a:lnTo>
                    <a:pt x="2436" y="1614"/>
                  </a:lnTo>
                  <a:lnTo>
                    <a:pt x="2466" y="1614"/>
                  </a:lnTo>
                  <a:lnTo>
                    <a:pt x="2460" y="1656"/>
                  </a:lnTo>
                  <a:lnTo>
                    <a:pt x="2460" y="1662"/>
                  </a:lnTo>
                  <a:lnTo>
                    <a:pt x="2454" y="1668"/>
                  </a:lnTo>
                  <a:lnTo>
                    <a:pt x="2436" y="1704"/>
                  </a:lnTo>
                  <a:lnTo>
                    <a:pt x="2436" y="1710"/>
                  </a:lnTo>
                  <a:lnTo>
                    <a:pt x="2448" y="1722"/>
                  </a:lnTo>
                  <a:lnTo>
                    <a:pt x="2454" y="1722"/>
                  </a:lnTo>
                  <a:lnTo>
                    <a:pt x="2460" y="1734"/>
                  </a:lnTo>
                  <a:lnTo>
                    <a:pt x="2436" y="1758"/>
                  </a:lnTo>
                  <a:lnTo>
                    <a:pt x="2454" y="1806"/>
                  </a:lnTo>
                  <a:lnTo>
                    <a:pt x="2472" y="1788"/>
                  </a:lnTo>
                  <a:lnTo>
                    <a:pt x="2478" y="1788"/>
                  </a:lnTo>
                  <a:lnTo>
                    <a:pt x="2478" y="1794"/>
                  </a:lnTo>
                  <a:lnTo>
                    <a:pt x="2472" y="1800"/>
                  </a:lnTo>
                  <a:lnTo>
                    <a:pt x="2466" y="1812"/>
                  </a:lnTo>
                  <a:lnTo>
                    <a:pt x="2466" y="1818"/>
                  </a:lnTo>
                  <a:lnTo>
                    <a:pt x="2460" y="1830"/>
                  </a:lnTo>
                  <a:lnTo>
                    <a:pt x="2478" y="1830"/>
                  </a:lnTo>
                  <a:lnTo>
                    <a:pt x="2478" y="1878"/>
                  </a:lnTo>
                  <a:lnTo>
                    <a:pt x="2496" y="1878"/>
                  </a:lnTo>
                  <a:lnTo>
                    <a:pt x="2502" y="1884"/>
                  </a:lnTo>
                  <a:lnTo>
                    <a:pt x="2508" y="1884"/>
                  </a:lnTo>
                  <a:lnTo>
                    <a:pt x="2508" y="1896"/>
                  </a:lnTo>
                  <a:lnTo>
                    <a:pt x="2502" y="1908"/>
                  </a:lnTo>
                  <a:lnTo>
                    <a:pt x="2502" y="1920"/>
                  </a:lnTo>
                  <a:lnTo>
                    <a:pt x="2526" y="1944"/>
                  </a:lnTo>
                  <a:lnTo>
                    <a:pt x="2532" y="1944"/>
                  </a:lnTo>
                  <a:lnTo>
                    <a:pt x="2538" y="1938"/>
                  </a:lnTo>
                  <a:lnTo>
                    <a:pt x="2550" y="1932"/>
                  </a:lnTo>
                  <a:lnTo>
                    <a:pt x="2556" y="1932"/>
                  </a:lnTo>
                  <a:lnTo>
                    <a:pt x="2562" y="1926"/>
                  </a:lnTo>
                  <a:lnTo>
                    <a:pt x="2568" y="1914"/>
                  </a:lnTo>
                  <a:lnTo>
                    <a:pt x="2568" y="1896"/>
                  </a:lnTo>
                  <a:lnTo>
                    <a:pt x="2586" y="1896"/>
                  </a:lnTo>
                  <a:lnTo>
                    <a:pt x="2586" y="1872"/>
                  </a:lnTo>
                  <a:lnTo>
                    <a:pt x="2604" y="1836"/>
                  </a:lnTo>
                  <a:lnTo>
                    <a:pt x="2604" y="1818"/>
                  </a:lnTo>
                  <a:lnTo>
                    <a:pt x="2610" y="1806"/>
                  </a:lnTo>
                  <a:lnTo>
                    <a:pt x="2610" y="1794"/>
                  </a:lnTo>
                  <a:lnTo>
                    <a:pt x="2604" y="1782"/>
                  </a:lnTo>
                  <a:lnTo>
                    <a:pt x="2604" y="1770"/>
                  </a:lnTo>
                  <a:lnTo>
                    <a:pt x="2598" y="1752"/>
                  </a:lnTo>
                  <a:lnTo>
                    <a:pt x="2592" y="1740"/>
                  </a:lnTo>
                  <a:lnTo>
                    <a:pt x="2586" y="1722"/>
                  </a:lnTo>
                  <a:lnTo>
                    <a:pt x="2586" y="1704"/>
                  </a:lnTo>
                  <a:lnTo>
                    <a:pt x="2592" y="1686"/>
                  </a:lnTo>
                  <a:lnTo>
                    <a:pt x="2598" y="1674"/>
                  </a:lnTo>
                  <a:lnTo>
                    <a:pt x="2598" y="1644"/>
                  </a:lnTo>
                  <a:lnTo>
                    <a:pt x="2592" y="1626"/>
                  </a:lnTo>
                  <a:lnTo>
                    <a:pt x="2586" y="1614"/>
                  </a:lnTo>
                  <a:lnTo>
                    <a:pt x="2580" y="1596"/>
                  </a:lnTo>
                  <a:lnTo>
                    <a:pt x="2574" y="1584"/>
                  </a:lnTo>
                  <a:lnTo>
                    <a:pt x="2574" y="1518"/>
                  </a:lnTo>
                  <a:lnTo>
                    <a:pt x="2580" y="1488"/>
                  </a:lnTo>
                  <a:lnTo>
                    <a:pt x="2586" y="1470"/>
                  </a:lnTo>
                  <a:lnTo>
                    <a:pt x="2598" y="1452"/>
                  </a:lnTo>
                  <a:lnTo>
                    <a:pt x="2604" y="1440"/>
                  </a:lnTo>
                  <a:lnTo>
                    <a:pt x="2610" y="1422"/>
                  </a:lnTo>
                  <a:lnTo>
                    <a:pt x="2616" y="1416"/>
                  </a:lnTo>
                  <a:lnTo>
                    <a:pt x="2616" y="1410"/>
                  </a:lnTo>
                  <a:lnTo>
                    <a:pt x="2628" y="1398"/>
                  </a:lnTo>
                  <a:lnTo>
                    <a:pt x="2652" y="1380"/>
                  </a:lnTo>
                  <a:lnTo>
                    <a:pt x="2658" y="1356"/>
                  </a:lnTo>
                  <a:lnTo>
                    <a:pt x="2670" y="1368"/>
                  </a:lnTo>
                  <a:lnTo>
                    <a:pt x="2676" y="1344"/>
                  </a:lnTo>
                  <a:lnTo>
                    <a:pt x="2730" y="1344"/>
                  </a:lnTo>
                  <a:lnTo>
                    <a:pt x="2730" y="1314"/>
                  </a:lnTo>
                  <a:lnTo>
                    <a:pt x="2748" y="1320"/>
                  </a:lnTo>
                  <a:lnTo>
                    <a:pt x="2754" y="1308"/>
                  </a:lnTo>
                  <a:lnTo>
                    <a:pt x="2772" y="1308"/>
                  </a:lnTo>
                  <a:lnTo>
                    <a:pt x="2796" y="1278"/>
                  </a:lnTo>
                  <a:lnTo>
                    <a:pt x="2796" y="1272"/>
                  </a:lnTo>
                  <a:lnTo>
                    <a:pt x="2802" y="1266"/>
                  </a:lnTo>
                  <a:lnTo>
                    <a:pt x="2814" y="1242"/>
                  </a:lnTo>
                  <a:lnTo>
                    <a:pt x="2832" y="1236"/>
                  </a:lnTo>
                  <a:lnTo>
                    <a:pt x="2862" y="1236"/>
                  </a:lnTo>
                  <a:lnTo>
                    <a:pt x="2874" y="1242"/>
                  </a:lnTo>
                  <a:lnTo>
                    <a:pt x="2886" y="1242"/>
                  </a:lnTo>
                  <a:lnTo>
                    <a:pt x="2892" y="1236"/>
                  </a:lnTo>
                  <a:lnTo>
                    <a:pt x="2904" y="1212"/>
                  </a:lnTo>
                  <a:lnTo>
                    <a:pt x="2910" y="1206"/>
                  </a:lnTo>
                  <a:lnTo>
                    <a:pt x="2916" y="1194"/>
                  </a:lnTo>
                  <a:lnTo>
                    <a:pt x="2928" y="1200"/>
                  </a:lnTo>
                  <a:lnTo>
                    <a:pt x="2934" y="1176"/>
                  </a:lnTo>
                  <a:lnTo>
                    <a:pt x="3018" y="1170"/>
                  </a:lnTo>
                  <a:lnTo>
                    <a:pt x="3024" y="1146"/>
                  </a:lnTo>
                  <a:lnTo>
                    <a:pt x="2982" y="1152"/>
                  </a:lnTo>
                  <a:lnTo>
                    <a:pt x="2988" y="1146"/>
                  </a:lnTo>
                  <a:lnTo>
                    <a:pt x="3000" y="1140"/>
                  </a:lnTo>
                  <a:lnTo>
                    <a:pt x="3006" y="1140"/>
                  </a:lnTo>
                  <a:lnTo>
                    <a:pt x="3006" y="1134"/>
                  </a:lnTo>
                  <a:lnTo>
                    <a:pt x="3000" y="1128"/>
                  </a:lnTo>
                  <a:lnTo>
                    <a:pt x="2994" y="1116"/>
                  </a:lnTo>
                  <a:lnTo>
                    <a:pt x="2988" y="1110"/>
                  </a:lnTo>
                  <a:lnTo>
                    <a:pt x="3024" y="1104"/>
                  </a:lnTo>
                  <a:lnTo>
                    <a:pt x="3048" y="1116"/>
                  </a:lnTo>
                  <a:lnTo>
                    <a:pt x="3078" y="1080"/>
                  </a:lnTo>
                  <a:lnTo>
                    <a:pt x="3024" y="1074"/>
                  </a:lnTo>
                  <a:lnTo>
                    <a:pt x="3024" y="1050"/>
                  </a:lnTo>
                  <a:lnTo>
                    <a:pt x="3036" y="1062"/>
                  </a:lnTo>
                  <a:lnTo>
                    <a:pt x="3078" y="1050"/>
                  </a:lnTo>
                  <a:lnTo>
                    <a:pt x="3084" y="990"/>
                  </a:lnTo>
                  <a:lnTo>
                    <a:pt x="3054" y="1002"/>
                  </a:lnTo>
                  <a:lnTo>
                    <a:pt x="3048" y="972"/>
                  </a:lnTo>
                  <a:lnTo>
                    <a:pt x="3024" y="960"/>
                  </a:lnTo>
                  <a:lnTo>
                    <a:pt x="3072" y="978"/>
                  </a:lnTo>
                  <a:lnTo>
                    <a:pt x="3078" y="972"/>
                  </a:lnTo>
                  <a:lnTo>
                    <a:pt x="3060" y="954"/>
                  </a:lnTo>
                  <a:lnTo>
                    <a:pt x="3090" y="954"/>
                  </a:lnTo>
                  <a:lnTo>
                    <a:pt x="3084" y="948"/>
                  </a:lnTo>
                  <a:lnTo>
                    <a:pt x="3078" y="936"/>
                  </a:lnTo>
                  <a:lnTo>
                    <a:pt x="3060" y="918"/>
                  </a:lnTo>
                  <a:lnTo>
                    <a:pt x="3054" y="906"/>
                  </a:lnTo>
                  <a:lnTo>
                    <a:pt x="3054" y="894"/>
                  </a:lnTo>
                  <a:lnTo>
                    <a:pt x="3060" y="888"/>
                  </a:lnTo>
                  <a:lnTo>
                    <a:pt x="3042" y="870"/>
                  </a:lnTo>
                  <a:lnTo>
                    <a:pt x="3042" y="864"/>
                  </a:lnTo>
                  <a:lnTo>
                    <a:pt x="3048" y="864"/>
                  </a:lnTo>
                  <a:lnTo>
                    <a:pt x="3066" y="846"/>
                  </a:lnTo>
                  <a:lnTo>
                    <a:pt x="3072" y="846"/>
                  </a:lnTo>
                  <a:lnTo>
                    <a:pt x="3066" y="870"/>
                  </a:lnTo>
                  <a:lnTo>
                    <a:pt x="3096" y="894"/>
                  </a:lnTo>
                  <a:lnTo>
                    <a:pt x="3096" y="888"/>
                  </a:lnTo>
                  <a:lnTo>
                    <a:pt x="3102" y="882"/>
                  </a:lnTo>
                  <a:lnTo>
                    <a:pt x="3102" y="864"/>
                  </a:lnTo>
                  <a:lnTo>
                    <a:pt x="3108" y="852"/>
                  </a:lnTo>
                  <a:lnTo>
                    <a:pt x="3108" y="834"/>
                  </a:lnTo>
                  <a:lnTo>
                    <a:pt x="3114" y="822"/>
                  </a:lnTo>
                  <a:lnTo>
                    <a:pt x="3144" y="792"/>
                  </a:lnTo>
                  <a:lnTo>
                    <a:pt x="3156" y="786"/>
                  </a:lnTo>
                  <a:lnTo>
                    <a:pt x="3162" y="786"/>
                  </a:lnTo>
                  <a:lnTo>
                    <a:pt x="3162" y="792"/>
                  </a:lnTo>
                  <a:lnTo>
                    <a:pt x="3150" y="816"/>
                  </a:lnTo>
                  <a:lnTo>
                    <a:pt x="3132" y="834"/>
                  </a:lnTo>
                  <a:lnTo>
                    <a:pt x="3126" y="846"/>
                  </a:lnTo>
                  <a:lnTo>
                    <a:pt x="3120" y="882"/>
                  </a:lnTo>
                  <a:lnTo>
                    <a:pt x="3138" y="882"/>
                  </a:lnTo>
                  <a:lnTo>
                    <a:pt x="3138" y="894"/>
                  </a:lnTo>
                  <a:lnTo>
                    <a:pt x="3132" y="906"/>
                  </a:lnTo>
                  <a:lnTo>
                    <a:pt x="3132" y="918"/>
                  </a:lnTo>
                  <a:lnTo>
                    <a:pt x="3114" y="936"/>
                  </a:lnTo>
                  <a:lnTo>
                    <a:pt x="3102" y="960"/>
                  </a:lnTo>
                  <a:lnTo>
                    <a:pt x="3102" y="978"/>
                  </a:lnTo>
                  <a:lnTo>
                    <a:pt x="3126" y="954"/>
                  </a:lnTo>
                  <a:lnTo>
                    <a:pt x="3132" y="942"/>
                  </a:lnTo>
                  <a:lnTo>
                    <a:pt x="3144" y="930"/>
                  </a:lnTo>
                  <a:lnTo>
                    <a:pt x="3168" y="918"/>
                  </a:lnTo>
                  <a:lnTo>
                    <a:pt x="3180" y="906"/>
                  </a:lnTo>
                  <a:lnTo>
                    <a:pt x="3192" y="882"/>
                  </a:lnTo>
                  <a:lnTo>
                    <a:pt x="3192" y="798"/>
                  </a:lnTo>
                  <a:lnTo>
                    <a:pt x="3198" y="780"/>
                  </a:lnTo>
                  <a:lnTo>
                    <a:pt x="3198" y="768"/>
                  </a:lnTo>
                  <a:lnTo>
                    <a:pt x="3204" y="756"/>
                  </a:lnTo>
                  <a:lnTo>
                    <a:pt x="3210" y="756"/>
                  </a:lnTo>
                  <a:lnTo>
                    <a:pt x="3210" y="768"/>
                  </a:lnTo>
                  <a:lnTo>
                    <a:pt x="3204" y="780"/>
                  </a:lnTo>
                  <a:lnTo>
                    <a:pt x="3204" y="798"/>
                  </a:lnTo>
                  <a:lnTo>
                    <a:pt x="3210" y="798"/>
                  </a:lnTo>
                  <a:lnTo>
                    <a:pt x="3216" y="804"/>
                  </a:lnTo>
                  <a:lnTo>
                    <a:pt x="3216" y="840"/>
                  </a:lnTo>
                  <a:lnTo>
                    <a:pt x="3234" y="822"/>
                  </a:lnTo>
                  <a:lnTo>
                    <a:pt x="3240" y="810"/>
                  </a:lnTo>
                  <a:lnTo>
                    <a:pt x="3288" y="762"/>
                  </a:lnTo>
                  <a:lnTo>
                    <a:pt x="3300" y="756"/>
                  </a:lnTo>
                  <a:lnTo>
                    <a:pt x="3324" y="732"/>
                  </a:lnTo>
                  <a:lnTo>
                    <a:pt x="3324" y="726"/>
                  </a:lnTo>
                  <a:lnTo>
                    <a:pt x="3318" y="720"/>
                  </a:lnTo>
                  <a:lnTo>
                    <a:pt x="3312" y="720"/>
                  </a:lnTo>
                  <a:lnTo>
                    <a:pt x="3306" y="714"/>
                  </a:lnTo>
                  <a:lnTo>
                    <a:pt x="3306" y="702"/>
                  </a:lnTo>
                  <a:lnTo>
                    <a:pt x="3312" y="696"/>
                  </a:lnTo>
                  <a:lnTo>
                    <a:pt x="3324" y="696"/>
                  </a:lnTo>
                  <a:lnTo>
                    <a:pt x="3330" y="702"/>
                  </a:lnTo>
                  <a:lnTo>
                    <a:pt x="3360" y="702"/>
                  </a:lnTo>
                  <a:lnTo>
                    <a:pt x="3390" y="696"/>
                  </a:lnTo>
                  <a:lnTo>
                    <a:pt x="3450" y="672"/>
                  </a:lnTo>
                  <a:lnTo>
                    <a:pt x="3462" y="666"/>
                  </a:lnTo>
                  <a:lnTo>
                    <a:pt x="3444" y="660"/>
                  </a:lnTo>
                  <a:lnTo>
                    <a:pt x="3438" y="660"/>
                  </a:lnTo>
                  <a:lnTo>
                    <a:pt x="3432" y="666"/>
                  </a:lnTo>
                  <a:lnTo>
                    <a:pt x="3414" y="672"/>
                  </a:lnTo>
                  <a:lnTo>
                    <a:pt x="3402" y="672"/>
                  </a:lnTo>
                  <a:lnTo>
                    <a:pt x="3390" y="678"/>
                  </a:lnTo>
                  <a:lnTo>
                    <a:pt x="3372" y="678"/>
                  </a:lnTo>
                  <a:lnTo>
                    <a:pt x="3360" y="684"/>
                  </a:lnTo>
                  <a:lnTo>
                    <a:pt x="3348" y="684"/>
                  </a:lnTo>
                  <a:lnTo>
                    <a:pt x="3342" y="678"/>
                  </a:lnTo>
                  <a:lnTo>
                    <a:pt x="3342" y="672"/>
                  </a:lnTo>
                  <a:lnTo>
                    <a:pt x="3348" y="666"/>
                  </a:lnTo>
                  <a:lnTo>
                    <a:pt x="3354" y="654"/>
                  </a:lnTo>
                  <a:lnTo>
                    <a:pt x="3366" y="654"/>
                  </a:lnTo>
                  <a:lnTo>
                    <a:pt x="3378" y="648"/>
                  </a:lnTo>
                  <a:lnTo>
                    <a:pt x="3402" y="648"/>
                  </a:lnTo>
                  <a:lnTo>
                    <a:pt x="3492" y="642"/>
                  </a:lnTo>
                  <a:lnTo>
                    <a:pt x="3534" y="606"/>
                  </a:lnTo>
                  <a:lnTo>
                    <a:pt x="3546" y="618"/>
                  </a:lnTo>
                  <a:lnTo>
                    <a:pt x="3570" y="606"/>
                  </a:lnTo>
                  <a:lnTo>
                    <a:pt x="3570" y="642"/>
                  </a:lnTo>
                  <a:lnTo>
                    <a:pt x="3600" y="618"/>
                  </a:lnTo>
                  <a:lnTo>
                    <a:pt x="3624" y="612"/>
                  </a:lnTo>
                  <a:lnTo>
                    <a:pt x="3630" y="582"/>
                  </a:lnTo>
                  <a:lnTo>
                    <a:pt x="3618" y="570"/>
                  </a:lnTo>
                  <a:lnTo>
                    <a:pt x="3612" y="600"/>
                  </a:lnTo>
                  <a:lnTo>
                    <a:pt x="3588" y="600"/>
                  </a:lnTo>
                  <a:lnTo>
                    <a:pt x="3588" y="576"/>
                  </a:lnTo>
                  <a:lnTo>
                    <a:pt x="3570" y="552"/>
                  </a:lnTo>
                  <a:lnTo>
                    <a:pt x="3594" y="540"/>
                  </a:lnTo>
                  <a:lnTo>
                    <a:pt x="3600" y="504"/>
                  </a:lnTo>
                  <a:lnTo>
                    <a:pt x="3612" y="498"/>
                  </a:lnTo>
                  <a:lnTo>
                    <a:pt x="3618" y="486"/>
                  </a:lnTo>
                  <a:lnTo>
                    <a:pt x="3630" y="480"/>
                  </a:lnTo>
                  <a:lnTo>
                    <a:pt x="3636" y="474"/>
                  </a:lnTo>
                  <a:lnTo>
                    <a:pt x="3648" y="468"/>
                  </a:lnTo>
                  <a:lnTo>
                    <a:pt x="3654" y="456"/>
                  </a:lnTo>
                  <a:lnTo>
                    <a:pt x="3654" y="450"/>
                  </a:lnTo>
                  <a:lnTo>
                    <a:pt x="3660" y="444"/>
                  </a:lnTo>
                  <a:lnTo>
                    <a:pt x="3660" y="438"/>
                  </a:lnTo>
                  <a:lnTo>
                    <a:pt x="3690" y="444"/>
                  </a:lnTo>
                  <a:lnTo>
                    <a:pt x="3702" y="426"/>
                  </a:lnTo>
                  <a:lnTo>
                    <a:pt x="3708" y="432"/>
                  </a:lnTo>
                  <a:lnTo>
                    <a:pt x="3720" y="432"/>
                  </a:lnTo>
                  <a:lnTo>
                    <a:pt x="3726" y="426"/>
                  </a:lnTo>
                  <a:lnTo>
                    <a:pt x="3738" y="420"/>
                  </a:lnTo>
                  <a:lnTo>
                    <a:pt x="3744" y="408"/>
                  </a:lnTo>
                  <a:lnTo>
                    <a:pt x="3756" y="402"/>
                  </a:lnTo>
                  <a:lnTo>
                    <a:pt x="3774" y="384"/>
                  </a:lnTo>
                  <a:lnTo>
                    <a:pt x="3774" y="414"/>
                  </a:lnTo>
                  <a:lnTo>
                    <a:pt x="3786" y="408"/>
                  </a:lnTo>
                  <a:lnTo>
                    <a:pt x="3792" y="402"/>
                  </a:lnTo>
                  <a:lnTo>
                    <a:pt x="3828" y="384"/>
                  </a:lnTo>
                  <a:lnTo>
                    <a:pt x="3834" y="378"/>
                  </a:lnTo>
                  <a:lnTo>
                    <a:pt x="3846" y="378"/>
                  </a:lnTo>
                  <a:lnTo>
                    <a:pt x="3858" y="372"/>
                  </a:lnTo>
                  <a:lnTo>
                    <a:pt x="3876" y="372"/>
                  </a:lnTo>
                  <a:lnTo>
                    <a:pt x="3888" y="366"/>
                  </a:lnTo>
                  <a:lnTo>
                    <a:pt x="3900" y="366"/>
                  </a:lnTo>
                  <a:lnTo>
                    <a:pt x="3900" y="330"/>
                  </a:lnTo>
                  <a:lnTo>
                    <a:pt x="3876" y="330"/>
                  </a:lnTo>
                  <a:lnTo>
                    <a:pt x="3876" y="324"/>
                  </a:lnTo>
                  <a:lnTo>
                    <a:pt x="3882" y="312"/>
                  </a:lnTo>
                  <a:lnTo>
                    <a:pt x="3894" y="300"/>
                  </a:lnTo>
                  <a:lnTo>
                    <a:pt x="3888" y="294"/>
                  </a:lnTo>
                  <a:lnTo>
                    <a:pt x="3882" y="294"/>
                  </a:lnTo>
                  <a:lnTo>
                    <a:pt x="3876" y="288"/>
                  </a:lnTo>
                  <a:lnTo>
                    <a:pt x="3876" y="276"/>
                  </a:lnTo>
                  <a:lnTo>
                    <a:pt x="3888" y="252"/>
                  </a:lnTo>
                  <a:lnTo>
                    <a:pt x="3900" y="222"/>
                  </a:lnTo>
                  <a:lnTo>
                    <a:pt x="3912" y="198"/>
                  </a:lnTo>
                  <a:lnTo>
                    <a:pt x="3918" y="174"/>
                  </a:lnTo>
                  <a:lnTo>
                    <a:pt x="3918" y="168"/>
                  </a:lnTo>
                  <a:lnTo>
                    <a:pt x="3912" y="162"/>
                  </a:lnTo>
                  <a:lnTo>
                    <a:pt x="3876" y="162"/>
                  </a:lnTo>
                  <a:lnTo>
                    <a:pt x="3864" y="168"/>
                  </a:lnTo>
                  <a:lnTo>
                    <a:pt x="3858" y="168"/>
                  </a:lnTo>
                  <a:close/>
                  <a:moveTo>
                    <a:pt x="2718" y="366"/>
                  </a:moveTo>
                  <a:lnTo>
                    <a:pt x="2712" y="366"/>
                  </a:lnTo>
                  <a:lnTo>
                    <a:pt x="2712" y="354"/>
                  </a:lnTo>
                  <a:lnTo>
                    <a:pt x="2718" y="348"/>
                  </a:lnTo>
                  <a:lnTo>
                    <a:pt x="2718" y="336"/>
                  </a:lnTo>
                  <a:lnTo>
                    <a:pt x="2712" y="336"/>
                  </a:lnTo>
                  <a:lnTo>
                    <a:pt x="2700" y="342"/>
                  </a:lnTo>
                  <a:lnTo>
                    <a:pt x="2694" y="348"/>
                  </a:lnTo>
                  <a:lnTo>
                    <a:pt x="2682" y="354"/>
                  </a:lnTo>
                  <a:lnTo>
                    <a:pt x="2676" y="372"/>
                  </a:lnTo>
                  <a:lnTo>
                    <a:pt x="2664" y="366"/>
                  </a:lnTo>
                  <a:lnTo>
                    <a:pt x="2664" y="378"/>
                  </a:lnTo>
                  <a:lnTo>
                    <a:pt x="2652" y="402"/>
                  </a:lnTo>
                  <a:lnTo>
                    <a:pt x="2628" y="414"/>
                  </a:lnTo>
                  <a:lnTo>
                    <a:pt x="2628" y="426"/>
                  </a:lnTo>
                  <a:lnTo>
                    <a:pt x="2634" y="432"/>
                  </a:lnTo>
                  <a:lnTo>
                    <a:pt x="2628" y="432"/>
                  </a:lnTo>
                  <a:lnTo>
                    <a:pt x="2598" y="462"/>
                  </a:lnTo>
                  <a:lnTo>
                    <a:pt x="2598" y="468"/>
                  </a:lnTo>
                  <a:lnTo>
                    <a:pt x="2604" y="474"/>
                  </a:lnTo>
                  <a:lnTo>
                    <a:pt x="2610" y="474"/>
                  </a:lnTo>
                  <a:lnTo>
                    <a:pt x="2616" y="480"/>
                  </a:lnTo>
                  <a:lnTo>
                    <a:pt x="2616" y="492"/>
                  </a:lnTo>
                  <a:lnTo>
                    <a:pt x="2610" y="498"/>
                  </a:lnTo>
                  <a:lnTo>
                    <a:pt x="2604" y="498"/>
                  </a:lnTo>
                  <a:lnTo>
                    <a:pt x="2604" y="510"/>
                  </a:lnTo>
                  <a:lnTo>
                    <a:pt x="2592" y="534"/>
                  </a:lnTo>
                  <a:lnTo>
                    <a:pt x="2580" y="552"/>
                  </a:lnTo>
                  <a:lnTo>
                    <a:pt x="2550" y="582"/>
                  </a:lnTo>
                  <a:lnTo>
                    <a:pt x="2478" y="618"/>
                  </a:lnTo>
                  <a:lnTo>
                    <a:pt x="2484" y="588"/>
                  </a:lnTo>
                  <a:lnTo>
                    <a:pt x="2478" y="582"/>
                  </a:lnTo>
                  <a:lnTo>
                    <a:pt x="2478" y="576"/>
                  </a:lnTo>
                  <a:lnTo>
                    <a:pt x="2472" y="570"/>
                  </a:lnTo>
                  <a:lnTo>
                    <a:pt x="2472" y="564"/>
                  </a:lnTo>
                  <a:lnTo>
                    <a:pt x="2478" y="552"/>
                  </a:lnTo>
                  <a:lnTo>
                    <a:pt x="2496" y="534"/>
                  </a:lnTo>
                  <a:lnTo>
                    <a:pt x="2502" y="522"/>
                  </a:lnTo>
                  <a:lnTo>
                    <a:pt x="2502" y="516"/>
                  </a:lnTo>
                  <a:lnTo>
                    <a:pt x="2496" y="510"/>
                  </a:lnTo>
                  <a:lnTo>
                    <a:pt x="2496" y="492"/>
                  </a:lnTo>
                  <a:lnTo>
                    <a:pt x="2502" y="480"/>
                  </a:lnTo>
                  <a:lnTo>
                    <a:pt x="2508" y="474"/>
                  </a:lnTo>
                  <a:lnTo>
                    <a:pt x="2514" y="462"/>
                  </a:lnTo>
                  <a:lnTo>
                    <a:pt x="2526" y="456"/>
                  </a:lnTo>
                  <a:lnTo>
                    <a:pt x="2532" y="450"/>
                  </a:lnTo>
                  <a:lnTo>
                    <a:pt x="2532" y="432"/>
                  </a:lnTo>
                  <a:lnTo>
                    <a:pt x="2538" y="432"/>
                  </a:lnTo>
                  <a:lnTo>
                    <a:pt x="2622" y="348"/>
                  </a:lnTo>
                  <a:lnTo>
                    <a:pt x="2592" y="354"/>
                  </a:lnTo>
                  <a:lnTo>
                    <a:pt x="2580" y="360"/>
                  </a:lnTo>
                  <a:lnTo>
                    <a:pt x="2574" y="366"/>
                  </a:lnTo>
                  <a:lnTo>
                    <a:pt x="2562" y="372"/>
                  </a:lnTo>
                  <a:lnTo>
                    <a:pt x="2556" y="378"/>
                  </a:lnTo>
                  <a:lnTo>
                    <a:pt x="2550" y="378"/>
                  </a:lnTo>
                  <a:lnTo>
                    <a:pt x="2550" y="372"/>
                  </a:lnTo>
                  <a:lnTo>
                    <a:pt x="2556" y="366"/>
                  </a:lnTo>
                  <a:lnTo>
                    <a:pt x="2568" y="360"/>
                  </a:lnTo>
                  <a:lnTo>
                    <a:pt x="2592" y="336"/>
                  </a:lnTo>
                  <a:lnTo>
                    <a:pt x="2604" y="330"/>
                  </a:lnTo>
                  <a:lnTo>
                    <a:pt x="2658" y="276"/>
                  </a:lnTo>
                  <a:lnTo>
                    <a:pt x="2670" y="288"/>
                  </a:lnTo>
                  <a:lnTo>
                    <a:pt x="2682" y="276"/>
                  </a:lnTo>
                  <a:lnTo>
                    <a:pt x="2682" y="288"/>
                  </a:lnTo>
                  <a:lnTo>
                    <a:pt x="2694" y="288"/>
                  </a:lnTo>
                  <a:lnTo>
                    <a:pt x="2700" y="282"/>
                  </a:lnTo>
                  <a:lnTo>
                    <a:pt x="2700" y="270"/>
                  </a:lnTo>
                  <a:lnTo>
                    <a:pt x="2724" y="276"/>
                  </a:lnTo>
                  <a:lnTo>
                    <a:pt x="2736" y="270"/>
                  </a:lnTo>
                  <a:lnTo>
                    <a:pt x="2742" y="270"/>
                  </a:lnTo>
                  <a:lnTo>
                    <a:pt x="2754" y="264"/>
                  </a:lnTo>
                  <a:lnTo>
                    <a:pt x="2772" y="264"/>
                  </a:lnTo>
                  <a:lnTo>
                    <a:pt x="2784" y="270"/>
                  </a:lnTo>
                  <a:lnTo>
                    <a:pt x="2790" y="276"/>
                  </a:lnTo>
                  <a:lnTo>
                    <a:pt x="2796" y="288"/>
                  </a:lnTo>
                  <a:lnTo>
                    <a:pt x="2772" y="294"/>
                  </a:lnTo>
                  <a:lnTo>
                    <a:pt x="2772" y="318"/>
                  </a:lnTo>
                  <a:lnTo>
                    <a:pt x="2742" y="318"/>
                  </a:lnTo>
                  <a:lnTo>
                    <a:pt x="2736" y="324"/>
                  </a:lnTo>
                  <a:lnTo>
                    <a:pt x="2736" y="360"/>
                  </a:lnTo>
                  <a:lnTo>
                    <a:pt x="2730" y="366"/>
                  </a:lnTo>
                  <a:lnTo>
                    <a:pt x="2718" y="366"/>
                  </a:lnTo>
                  <a:close/>
                </a:path>
              </a:pathLst>
            </a:custGeom>
            <a:solidFill>
              <a:srgbClr val="E2583D"/>
            </a:solidFill>
            <a:ln w="3175">
              <a:solidFill>
                <a:schemeClr val="bg1"/>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de-DE" sz="1800" b="0" i="0" u="none" strike="noStrike" kern="1200" cap="none" spc="0" normalizeH="0" baseline="0" noProof="0">
                <a:ln>
                  <a:noFill/>
                </a:ln>
                <a:solidFill>
                  <a:srgbClr val="FFC000"/>
                </a:solidFill>
                <a:effectLst/>
                <a:uLnTx/>
                <a:uFillTx/>
                <a:latin typeface="Calibri" pitchFamily="34" charset="0"/>
                <a:ea typeface="+mn-ea"/>
                <a:cs typeface="+mn-cs"/>
              </a:endParaRPr>
            </a:p>
          </p:txBody>
        </p:sp>
        <p:sp>
          <p:nvSpPr>
            <p:cNvPr id="33" name="Uruguay" descr="© INSCALE GmbH, 05.05.2010&#10;http://www.presentationload.com/"/>
            <p:cNvSpPr>
              <a:spLocks/>
            </p:cNvSpPr>
            <p:nvPr/>
          </p:nvSpPr>
          <p:spPr bwMode="gray">
            <a:xfrm>
              <a:off x="3192298" y="5058265"/>
              <a:ext cx="119025" cy="120029"/>
            </a:xfrm>
            <a:custGeom>
              <a:avLst/>
              <a:gdLst>
                <a:gd name="T0" fmla="*/ 2147483647 w 366"/>
                <a:gd name="T1" fmla="*/ 2147483647 h 384"/>
                <a:gd name="T2" fmla="*/ 2147483647 w 366"/>
                <a:gd name="T3" fmla="*/ 2147483647 h 384"/>
                <a:gd name="T4" fmla="*/ 2147483647 w 366"/>
                <a:gd name="T5" fmla="*/ 2147483647 h 384"/>
                <a:gd name="T6" fmla="*/ 2147483647 w 366"/>
                <a:gd name="T7" fmla="*/ 2147483647 h 384"/>
                <a:gd name="T8" fmla="*/ 2147483647 w 366"/>
                <a:gd name="T9" fmla="*/ 2147483647 h 384"/>
                <a:gd name="T10" fmla="*/ 2147483647 w 366"/>
                <a:gd name="T11" fmla="*/ 2147483647 h 384"/>
                <a:gd name="T12" fmla="*/ 2147483647 w 366"/>
                <a:gd name="T13" fmla="*/ 2147483647 h 384"/>
                <a:gd name="T14" fmla="*/ 2147483647 w 366"/>
                <a:gd name="T15" fmla="*/ 2147483647 h 384"/>
                <a:gd name="T16" fmla="*/ 2147483647 w 366"/>
                <a:gd name="T17" fmla="*/ 2147483647 h 384"/>
                <a:gd name="T18" fmla="*/ 2147483647 w 366"/>
                <a:gd name="T19" fmla="*/ 2147483647 h 384"/>
                <a:gd name="T20" fmla="*/ 2147483647 w 366"/>
                <a:gd name="T21" fmla="*/ 2147483647 h 384"/>
                <a:gd name="T22" fmla="*/ 2147483647 w 366"/>
                <a:gd name="T23" fmla="*/ 2147483647 h 384"/>
                <a:gd name="T24" fmla="*/ 2147483647 w 366"/>
                <a:gd name="T25" fmla="*/ 2147483647 h 384"/>
                <a:gd name="T26" fmla="*/ 2147483647 w 366"/>
                <a:gd name="T27" fmla="*/ 2147483647 h 384"/>
                <a:gd name="T28" fmla="*/ 2147483647 w 366"/>
                <a:gd name="T29" fmla="*/ 2147483647 h 384"/>
                <a:gd name="T30" fmla="*/ 2147483647 w 366"/>
                <a:gd name="T31" fmla="*/ 2147483647 h 384"/>
                <a:gd name="T32" fmla="*/ 2147483647 w 366"/>
                <a:gd name="T33" fmla="*/ 2147483647 h 384"/>
                <a:gd name="T34" fmla="*/ 2147483647 w 366"/>
                <a:gd name="T35" fmla="*/ 2147483647 h 384"/>
                <a:gd name="T36" fmla="*/ 2147483647 w 366"/>
                <a:gd name="T37" fmla="*/ 2147483647 h 384"/>
                <a:gd name="T38" fmla="*/ 2147483647 w 366"/>
                <a:gd name="T39" fmla="*/ 2147483647 h 384"/>
                <a:gd name="T40" fmla="*/ 2147483647 w 366"/>
                <a:gd name="T41" fmla="*/ 2147483647 h 384"/>
                <a:gd name="T42" fmla="*/ 2147483647 w 366"/>
                <a:gd name="T43" fmla="*/ 2147483647 h 384"/>
                <a:gd name="T44" fmla="*/ 2147483647 w 366"/>
                <a:gd name="T45" fmla="*/ 0 h 384"/>
                <a:gd name="T46" fmla="*/ 2147483647 w 366"/>
                <a:gd name="T47" fmla="*/ 2147483647 h 384"/>
                <a:gd name="T48" fmla="*/ 2147483647 w 366"/>
                <a:gd name="T49" fmla="*/ 2147483647 h 384"/>
                <a:gd name="T50" fmla="*/ 0 w 366"/>
                <a:gd name="T51" fmla="*/ 2147483647 h 384"/>
                <a:gd name="T52" fmla="*/ 2147483647 w 366"/>
                <a:gd name="T53" fmla="*/ 2147483647 h 384"/>
                <a:gd name="T54" fmla="*/ 2147483647 w 366"/>
                <a:gd name="T55" fmla="*/ 2147483647 h 384"/>
                <a:gd name="T56" fmla="*/ 2147483647 w 366"/>
                <a:gd name="T57" fmla="*/ 2147483647 h 384"/>
                <a:gd name="T58" fmla="*/ 2147483647 w 366"/>
                <a:gd name="T59" fmla="*/ 2147483647 h 384"/>
                <a:gd name="T60" fmla="*/ 2147483647 w 366"/>
                <a:gd name="T61" fmla="*/ 2147483647 h 384"/>
                <a:gd name="T62" fmla="*/ 2147483647 w 366"/>
                <a:gd name="T63" fmla="*/ 2147483647 h 384"/>
                <a:gd name="T64" fmla="*/ 2147483647 w 366"/>
                <a:gd name="T65" fmla="*/ 2147483647 h 384"/>
                <a:gd name="T66" fmla="*/ 2147483647 w 366"/>
                <a:gd name="T67" fmla="*/ 2147483647 h 384"/>
                <a:gd name="T68" fmla="*/ 2147483647 w 366"/>
                <a:gd name="T69" fmla="*/ 2147483647 h 384"/>
                <a:gd name="T70" fmla="*/ 2147483647 w 366"/>
                <a:gd name="T71" fmla="*/ 2147483647 h 384"/>
                <a:gd name="T72" fmla="*/ 2147483647 w 366"/>
                <a:gd name="T73" fmla="*/ 2147483647 h 384"/>
                <a:gd name="T74" fmla="*/ 2147483647 w 366"/>
                <a:gd name="T75" fmla="*/ 2147483647 h 384"/>
                <a:gd name="T76" fmla="*/ 2147483647 w 366"/>
                <a:gd name="T77" fmla="*/ 2147483647 h 384"/>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366"/>
                <a:gd name="T118" fmla="*/ 0 h 384"/>
                <a:gd name="T119" fmla="*/ 366 w 366"/>
                <a:gd name="T120" fmla="*/ 384 h 384"/>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366" h="384">
                  <a:moveTo>
                    <a:pt x="138" y="372"/>
                  </a:moveTo>
                  <a:lnTo>
                    <a:pt x="174" y="372"/>
                  </a:lnTo>
                  <a:lnTo>
                    <a:pt x="198" y="378"/>
                  </a:lnTo>
                  <a:lnTo>
                    <a:pt x="228" y="378"/>
                  </a:lnTo>
                  <a:lnTo>
                    <a:pt x="288" y="384"/>
                  </a:lnTo>
                  <a:lnTo>
                    <a:pt x="330" y="366"/>
                  </a:lnTo>
                  <a:lnTo>
                    <a:pt x="342" y="354"/>
                  </a:lnTo>
                  <a:lnTo>
                    <a:pt x="360" y="300"/>
                  </a:lnTo>
                  <a:lnTo>
                    <a:pt x="366" y="294"/>
                  </a:lnTo>
                  <a:lnTo>
                    <a:pt x="348" y="294"/>
                  </a:lnTo>
                  <a:lnTo>
                    <a:pt x="348" y="264"/>
                  </a:lnTo>
                  <a:lnTo>
                    <a:pt x="342" y="264"/>
                  </a:lnTo>
                  <a:lnTo>
                    <a:pt x="342" y="240"/>
                  </a:lnTo>
                  <a:lnTo>
                    <a:pt x="348" y="234"/>
                  </a:lnTo>
                  <a:lnTo>
                    <a:pt x="360" y="210"/>
                  </a:lnTo>
                  <a:lnTo>
                    <a:pt x="360" y="198"/>
                  </a:lnTo>
                  <a:lnTo>
                    <a:pt x="354" y="198"/>
                  </a:lnTo>
                  <a:lnTo>
                    <a:pt x="342" y="192"/>
                  </a:lnTo>
                  <a:lnTo>
                    <a:pt x="336" y="192"/>
                  </a:lnTo>
                  <a:lnTo>
                    <a:pt x="318" y="174"/>
                  </a:lnTo>
                  <a:lnTo>
                    <a:pt x="312" y="162"/>
                  </a:lnTo>
                  <a:lnTo>
                    <a:pt x="306" y="156"/>
                  </a:lnTo>
                  <a:lnTo>
                    <a:pt x="300" y="144"/>
                  </a:lnTo>
                  <a:lnTo>
                    <a:pt x="288" y="144"/>
                  </a:lnTo>
                  <a:lnTo>
                    <a:pt x="270" y="138"/>
                  </a:lnTo>
                  <a:lnTo>
                    <a:pt x="258" y="132"/>
                  </a:lnTo>
                  <a:lnTo>
                    <a:pt x="252" y="126"/>
                  </a:lnTo>
                  <a:lnTo>
                    <a:pt x="252" y="114"/>
                  </a:lnTo>
                  <a:lnTo>
                    <a:pt x="246" y="114"/>
                  </a:lnTo>
                  <a:lnTo>
                    <a:pt x="228" y="96"/>
                  </a:lnTo>
                  <a:lnTo>
                    <a:pt x="210" y="96"/>
                  </a:lnTo>
                  <a:lnTo>
                    <a:pt x="192" y="78"/>
                  </a:lnTo>
                  <a:lnTo>
                    <a:pt x="186" y="66"/>
                  </a:lnTo>
                  <a:lnTo>
                    <a:pt x="174" y="60"/>
                  </a:lnTo>
                  <a:lnTo>
                    <a:pt x="168" y="60"/>
                  </a:lnTo>
                  <a:lnTo>
                    <a:pt x="156" y="72"/>
                  </a:lnTo>
                  <a:lnTo>
                    <a:pt x="156" y="78"/>
                  </a:lnTo>
                  <a:lnTo>
                    <a:pt x="144" y="78"/>
                  </a:lnTo>
                  <a:lnTo>
                    <a:pt x="144" y="66"/>
                  </a:lnTo>
                  <a:lnTo>
                    <a:pt x="132" y="54"/>
                  </a:lnTo>
                  <a:lnTo>
                    <a:pt x="126" y="42"/>
                  </a:lnTo>
                  <a:lnTo>
                    <a:pt x="120" y="36"/>
                  </a:lnTo>
                  <a:lnTo>
                    <a:pt x="108" y="30"/>
                  </a:lnTo>
                  <a:lnTo>
                    <a:pt x="102" y="18"/>
                  </a:lnTo>
                  <a:lnTo>
                    <a:pt x="78" y="6"/>
                  </a:lnTo>
                  <a:lnTo>
                    <a:pt x="72" y="0"/>
                  </a:lnTo>
                  <a:lnTo>
                    <a:pt x="60" y="0"/>
                  </a:lnTo>
                  <a:lnTo>
                    <a:pt x="48" y="6"/>
                  </a:lnTo>
                  <a:lnTo>
                    <a:pt x="42" y="12"/>
                  </a:lnTo>
                  <a:lnTo>
                    <a:pt x="18" y="12"/>
                  </a:lnTo>
                  <a:lnTo>
                    <a:pt x="0" y="30"/>
                  </a:lnTo>
                  <a:lnTo>
                    <a:pt x="0" y="36"/>
                  </a:lnTo>
                  <a:lnTo>
                    <a:pt x="24" y="60"/>
                  </a:lnTo>
                  <a:lnTo>
                    <a:pt x="30" y="60"/>
                  </a:lnTo>
                  <a:lnTo>
                    <a:pt x="6" y="72"/>
                  </a:lnTo>
                  <a:lnTo>
                    <a:pt x="6" y="108"/>
                  </a:lnTo>
                  <a:lnTo>
                    <a:pt x="30" y="126"/>
                  </a:lnTo>
                  <a:lnTo>
                    <a:pt x="12" y="126"/>
                  </a:lnTo>
                  <a:lnTo>
                    <a:pt x="0" y="138"/>
                  </a:lnTo>
                  <a:lnTo>
                    <a:pt x="6" y="144"/>
                  </a:lnTo>
                  <a:lnTo>
                    <a:pt x="12" y="156"/>
                  </a:lnTo>
                  <a:lnTo>
                    <a:pt x="24" y="168"/>
                  </a:lnTo>
                  <a:lnTo>
                    <a:pt x="12" y="186"/>
                  </a:lnTo>
                  <a:lnTo>
                    <a:pt x="18" y="192"/>
                  </a:lnTo>
                  <a:lnTo>
                    <a:pt x="24" y="204"/>
                  </a:lnTo>
                  <a:lnTo>
                    <a:pt x="36" y="210"/>
                  </a:lnTo>
                  <a:lnTo>
                    <a:pt x="42" y="222"/>
                  </a:lnTo>
                  <a:lnTo>
                    <a:pt x="42" y="228"/>
                  </a:lnTo>
                  <a:lnTo>
                    <a:pt x="36" y="228"/>
                  </a:lnTo>
                  <a:lnTo>
                    <a:pt x="30" y="234"/>
                  </a:lnTo>
                  <a:lnTo>
                    <a:pt x="6" y="234"/>
                  </a:lnTo>
                  <a:lnTo>
                    <a:pt x="6" y="282"/>
                  </a:lnTo>
                  <a:lnTo>
                    <a:pt x="36" y="318"/>
                  </a:lnTo>
                  <a:lnTo>
                    <a:pt x="42" y="318"/>
                  </a:lnTo>
                  <a:lnTo>
                    <a:pt x="54" y="324"/>
                  </a:lnTo>
                  <a:lnTo>
                    <a:pt x="78" y="348"/>
                  </a:lnTo>
                  <a:lnTo>
                    <a:pt x="90" y="354"/>
                  </a:lnTo>
                  <a:lnTo>
                    <a:pt x="126" y="354"/>
                  </a:lnTo>
                  <a:lnTo>
                    <a:pt x="138" y="372"/>
                  </a:lnTo>
                  <a:close/>
                </a:path>
              </a:pathLst>
            </a:custGeom>
            <a:grpFill/>
            <a:ln w="3175">
              <a:solidFill>
                <a:schemeClr val="bg1"/>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de-DE" sz="1800" b="0" i="0" u="none" strike="noStrike" kern="1200" cap="none" spc="0" normalizeH="0" baseline="0" noProof="0">
                <a:ln>
                  <a:noFill/>
                </a:ln>
                <a:solidFill>
                  <a:srgbClr val="FFC000"/>
                </a:solidFill>
                <a:effectLst/>
                <a:uLnTx/>
                <a:uFillTx/>
                <a:latin typeface="Calibri" pitchFamily="34" charset="0"/>
                <a:ea typeface="+mn-ea"/>
                <a:cs typeface="+mn-cs"/>
              </a:endParaRPr>
            </a:p>
          </p:txBody>
        </p:sp>
        <p:sp>
          <p:nvSpPr>
            <p:cNvPr id="34" name="United Kingdom" descr="© INSCALE GmbH, 05.05.2010&#10;http://www.presentationload.com/"/>
            <p:cNvSpPr>
              <a:spLocks noEditPoints="1"/>
            </p:cNvSpPr>
            <p:nvPr/>
          </p:nvSpPr>
          <p:spPr bwMode="gray">
            <a:xfrm>
              <a:off x="4346714" y="2803428"/>
              <a:ext cx="188136" cy="255981"/>
            </a:xfrm>
            <a:custGeom>
              <a:avLst/>
              <a:gdLst>
                <a:gd name="T0" fmla="*/ 2147483647 w 576"/>
                <a:gd name="T1" fmla="*/ 2147483647 h 822"/>
                <a:gd name="T2" fmla="*/ 2147483647 w 576"/>
                <a:gd name="T3" fmla="*/ 2147483647 h 822"/>
                <a:gd name="T4" fmla="*/ 2147483647 w 576"/>
                <a:gd name="T5" fmla="*/ 2147483647 h 822"/>
                <a:gd name="T6" fmla="*/ 2147483647 w 576"/>
                <a:gd name="T7" fmla="*/ 2147483647 h 822"/>
                <a:gd name="T8" fmla="*/ 2147483647 w 576"/>
                <a:gd name="T9" fmla="*/ 2147483647 h 822"/>
                <a:gd name="T10" fmla="*/ 2147483647 w 576"/>
                <a:gd name="T11" fmla="*/ 2147483647 h 822"/>
                <a:gd name="T12" fmla="*/ 2147483647 w 576"/>
                <a:gd name="T13" fmla="*/ 2147483647 h 822"/>
                <a:gd name="T14" fmla="*/ 2147483647 w 576"/>
                <a:gd name="T15" fmla="*/ 0 h 822"/>
                <a:gd name="T16" fmla="*/ 2147483647 w 576"/>
                <a:gd name="T17" fmla="*/ 0 h 822"/>
                <a:gd name="T18" fmla="*/ 2147483647 w 576"/>
                <a:gd name="T19" fmla="*/ 2147483647 h 822"/>
                <a:gd name="T20" fmla="*/ 2147483647 w 576"/>
                <a:gd name="T21" fmla="*/ 2147483647 h 822"/>
                <a:gd name="T22" fmla="*/ 2147483647 w 576"/>
                <a:gd name="T23" fmla="*/ 2147483647 h 822"/>
                <a:gd name="T24" fmla="*/ 2147483647 w 576"/>
                <a:gd name="T25" fmla="*/ 2147483647 h 822"/>
                <a:gd name="T26" fmla="*/ 2147483647 w 576"/>
                <a:gd name="T27" fmla="*/ 2147483647 h 822"/>
                <a:gd name="T28" fmla="*/ 2147483647 w 576"/>
                <a:gd name="T29" fmla="*/ 2147483647 h 822"/>
                <a:gd name="T30" fmla="*/ 2147483647 w 576"/>
                <a:gd name="T31" fmla="*/ 2147483647 h 822"/>
                <a:gd name="T32" fmla="*/ 2147483647 w 576"/>
                <a:gd name="T33" fmla="*/ 2147483647 h 822"/>
                <a:gd name="T34" fmla="*/ 2147483647 w 576"/>
                <a:gd name="T35" fmla="*/ 2147483647 h 822"/>
                <a:gd name="T36" fmla="*/ 2147483647 w 576"/>
                <a:gd name="T37" fmla="*/ 2147483647 h 822"/>
                <a:gd name="T38" fmla="*/ 2147483647 w 576"/>
                <a:gd name="T39" fmla="*/ 2147483647 h 822"/>
                <a:gd name="T40" fmla="*/ 2147483647 w 576"/>
                <a:gd name="T41" fmla="*/ 2147483647 h 822"/>
                <a:gd name="T42" fmla="*/ 2147483647 w 576"/>
                <a:gd name="T43" fmla="*/ 2147483647 h 822"/>
                <a:gd name="T44" fmla="*/ 2147483647 w 576"/>
                <a:gd name="T45" fmla="*/ 2147483647 h 822"/>
                <a:gd name="T46" fmla="*/ 2147483647 w 576"/>
                <a:gd name="T47" fmla="*/ 2147483647 h 822"/>
                <a:gd name="T48" fmla="*/ 2147483647 w 576"/>
                <a:gd name="T49" fmla="*/ 2147483647 h 822"/>
                <a:gd name="T50" fmla="*/ 2147483647 w 576"/>
                <a:gd name="T51" fmla="*/ 2147483647 h 822"/>
                <a:gd name="T52" fmla="*/ 2147483647 w 576"/>
                <a:gd name="T53" fmla="*/ 2147483647 h 822"/>
                <a:gd name="T54" fmla="*/ 2147483647 w 576"/>
                <a:gd name="T55" fmla="*/ 2147483647 h 822"/>
                <a:gd name="T56" fmla="*/ 2147483647 w 576"/>
                <a:gd name="T57" fmla="*/ 2147483647 h 822"/>
                <a:gd name="T58" fmla="*/ 2147483647 w 576"/>
                <a:gd name="T59" fmla="*/ 2147483647 h 822"/>
                <a:gd name="T60" fmla="*/ 2147483647 w 576"/>
                <a:gd name="T61" fmla="*/ 2147483647 h 822"/>
                <a:gd name="T62" fmla="*/ 2147483647 w 576"/>
                <a:gd name="T63" fmla="*/ 2147483647 h 822"/>
                <a:gd name="T64" fmla="*/ 2147483647 w 576"/>
                <a:gd name="T65" fmla="*/ 2147483647 h 822"/>
                <a:gd name="T66" fmla="*/ 2147483647 w 576"/>
                <a:gd name="T67" fmla="*/ 2147483647 h 822"/>
                <a:gd name="T68" fmla="*/ 2147483647 w 576"/>
                <a:gd name="T69" fmla="*/ 2147483647 h 822"/>
                <a:gd name="T70" fmla="*/ 2147483647 w 576"/>
                <a:gd name="T71" fmla="*/ 2147483647 h 822"/>
                <a:gd name="T72" fmla="*/ 2147483647 w 576"/>
                <a:gd name="T73" fmla="*/ 2147483647 h 822"/>
                <a:gd name="T74" fmla="*/ 2147483647 w 576"/>
                <a:gd name="T75" fmla="*/ 2147483647 h 822"/>
                <a:gd name="T76" fmla="*/ 2147483647 w 576"/>
                <a:gd name="T77" fmla="*/ 2147483647 h 822"/>
                <a:gd name="T78" fmla="*/ 2147483647 w 576"/>
                <a:gd name="T79" fmla="*/ 2147483647 h 822"/>
                <a:gd name="T80" fmla="*/ 2147483647 w 576"/>
                <a:gd name="T81" fmla="*/ 2147483647 h 822"/>
                <a:gd name="T82" fmla="*/ 2147483647 w 576"/>
                <a:gd name="T83" fmla="*/ 2147483647 h 822"/>
                <a:gd name="T84" fmla="*/ 2147483647 w 576"/>
                <a:gd name="T85" fmla="*/ 2147483647 h 822"/>
                <a:gd name="T86" fmla="*/ 2147483647 w 576"/>
                <a:gd name="T87" fmla="*/ 2147483647 h 822"/>
                <a:gd name="T88" fmla="*/ 2147483647 w 576"/>
                <a:gd name="T89" fmla="*/ 2147483647 h 822"/>
                <a:gd name="T90" fmla="*/ 2147483647 w 576"/>
                <a:gd name="T91" fmla="*/ 2147483647 h 822"/>
                <a:gd name="T92" fmla="*/ 2147483647 w 576"/>
                <a:gd name="T93" fmla="*/ 2147483647 h 822"/>
                <a:gd name="T94" fmla="*/ 2147483647 w 576"/>
                <a:gd name="T95" fmla="*/ 2147483647 h 822"/>
                <a:gd name="T96" fmla="*/ 2147483647 w 576"/>
                <a:gd name="T97" fmla="*/ 2147483647 h 822"/>
                <a:gd name="T98" fmla="*/ 2147483647 w 576"/>
                <a:gd name="T99" fmla="*/ 2147483647 h 822"/>
                <a:gd name="T100" fmla="*/ 2147483647 w 576"/>
                <a:gd name="T101" fmla="*/ 2147483647 h 822"/>
                <a:gd name="T102" fmla="*/ 2147483647 w 576"/>
                <a:gd name="T103" fmla="*/ 2147483647 h 822"/>
                <a:gd name="T104" fmla="*/ 2147483647 w 576"/>
                <a:gd name="T105" fmla="*/ 2147483647 h 822"/>
                <a:gd name="T106" fmla="*/ 2147483647 w 576"/>
                <a:gd name="T107" fmla="*/ 2147483647 h 822"/>
                <a:gd name="T108" fmla="*/ 2147483647 w 576"/>
                <a:gd name="T109" fmla="*/ 2147483647 h 822"/>
                <a:gd name="T110" fmla="*/ 2147483647 w 576"/>
                <a:gd name="T111" fmla="*/ 2147483647 h 822"/>
                <a:gd name="T112" fmla="*/ 2147483647 w 576"/>
                <a:gd name="T113" fmla="*/ 2147483647 h 822"/>
                <a:gd name="T114" fmla="*/ 2147483647 w 576"/>
                <a:gd name="T115" fmla="*/ 2147483647 h 822"/>
                <a:gd name="T116" fmla="*/ 2147483647 w 576"/>
                <a:gd name="T117" fmla="*/ 2147483647 h 822"/>
                <a:gd name="T118" fmla="*/ 2147483647 w 576"/>
                <a:gd name="T119" fmla="*/ 2147483647 h 822"/>
                <a:gd name="T120" fmla="*/ 2147483647 w 576"/>
                <a:gd name="T121" fmla="*/ 2147483647 h 822"/>
                <a:gd name="T122" fmla="*/ 2147483647 w 576"/>
                <a:gd name="T123" fmla="*/ 2147483647 h 822"/>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576"/>
                <a:gd name="T187" fmla="*/ 0 h 822"/>
                <a:gd name="T188" fmla="*/ 576 w 576"/>
                <a:gd name="T189" fmla="*/ 822 h 822"/>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576" h="822">
                  <a:moveTo>
                    <a:pt x="162" y="378"/>
                  </a:moveTo>
                  <a:lnTo>
                    <a:pt x="156" y="378"/>
                  </a:lnTo>
                  <a:lnTo>
                    <a:pt x="150" y="384"/>
                  </a:lnTo>
                  <a:lnTo>
                    <a:pt x="150" y="396"/>
                  </a:lnTo>
                  <a:lnTo>
                    <a:pt x="144" y="414"/>
                  </a:lnTo>
                  <a:lnTo>
                    <a:pt x="156" y="402"/>
                  </a:lnTo>
                  <a:lnTo>
                    <a:pt x="162" y="390"/>
                  </a:lnTo>
                  <a:lnTo>
                    <a:pt x="162" y="378"/>
                  </a:lnTo>
                  <a:close/>
                  <a:moveTo>
                    <a:pt x="132" y="312"/>
                  </a:moveTo>
                  <a:lnTo>
                    <a:pt x="126" y="312"/>
                  </a:lnTo>
                  <a:lnTo>
                    <a:pt x="126" y="336"/>
                  </a:lnTo>
                  <a:lnTo>
                    <a:pt x="132" y="336"/>
                  </a:lnTo>
                  <a:lnTo>
                    <a:pt x="138" y="330"/>
                  </a:lnTo>
                  <a:lnTo>
                    <a:pt x="150" y="330"/>
                  </a:lnTo>
                  <a:lnTo>
                    <a:pt x="144" y="318"/>
                  </a:lnTo>
                  <a:lnTo>
                    <a:pt x="138" y="312"/>
                  </a:lnTo>
                  <a:lnTo>
                    <a:pt x="132" y="312"/>
                  </a:lnTo>
                  <a:close/>
                  <a:moveTo>
                    <a:pt x="114" y="390"/>
                  </a:moveTo>
                  <a:lnTo>
                    <a:pt x="126" y="390"/>
                  </a:lnTo>
                  <a:lnTo>
                    <a:pt x="138" y="384"/>
                  </a:lnTo>
                  <a:lnTo>
                    <a:pt x="138" y="372"/>
                  </a:lnTo>
                  <a:lnTo>
                    <a:pt x="132" y="366"/>
                  </a:lnTo>
                  <a:lnTo>
                    <a:pt x="120" y="366"/>
                  </a:lnTo>
                  <a:lnTo>
                    <a:pt x="114" y="372"/>
                  </a:lnTo>
                  <a:lnTo>
                    <a:pt x="108" y="384"/>
                  </a:lnTo>
                  <a:lnTo>
                    <a:pt x="108" y="390"/>
                  </a:lnTo>
                  <a:lnTo>
                    <a:pt x="114" y="390"/>
                  </a:lnTo>
                  <a:close/>
                  <a:moveTo>
                    <a:pt x="330" y="120"/>
                  </a:moveTo>
                  <a:lnTo>
                    <a:pt x="324" y="120"/>
                  </a:lnTo>
                  <a:lnTo>
                    <a:pt x="318" y="126"/>
                  </a:lnTo>
                  <a:lnTo>
                    <a:pt x="318" y="138"/>
                  </a:lnTo>
                  <a:lnTo>
                    <a:pt x="330" y="138"/>
                  </a:lnTo>
                  <a:lnTo>
                    <a:pt x="336" y="126"/>
                  </a:lnTo>
                  <a:lnTo>
                    <a:pt x="330" y="120"/>
                  </a:lnTo>
                  <a:close/>
                  <a:moveTo>
                    <a:pt x="138" y="258"/>
                  </a:moveTo>
                  <a:lnTo>
                    <a:pt x="138" y="234"/>
                  </a:lnTo>
                  <a:lnTo>
                    <a:pt x="126" y="234"/>
                  </a:lnTo>
                  <a:lnTo>
                    <a:pt x="120" y="240"/>
                  </a:lnTo>
                  <a:lnTo>
                    <a:pt x="120" y="246"/>
                  </a:lnTo>
                  <a:lnTo>
                    <a:pt x="126" y="252"/>
                  </a:lnTo>
                  <a:lnTo>
                    <a:pt x="108" y="252"/>
                  </a:lnTo>
                  <a:lnTo>
                    <a:pt x="108" y="258"/>
                  </a:lnTo>
                  <a:lnTo>
                    <a:pt x="114" y="264"/>
                  </a:lnTo>
                  <a:lnTo>
                    <a:pt x="120" y="264"/>
                  </a:lnTo>
                  <a:lnTo>
                    <a:pt x="126" y="270"/>
                  </a:lnTo>
                  <a:lnTo>
                    <a:pt x="150" y="270"/>
                  </a:lnTo>
                  <a:lnTo>
                    <a:pt x="138" y="258"/>
                  </a:lnTo>
                  <a:close/>
                  <a:moveTo>
                    <a:pt x="474" y="0"/>
                  </a:moveTo>
                  <a:lnTo>
                    <a:pt x="468" y="0"/>
                  </a:lnTo>
                  <a:lnTo>
                    <a:pt x="456" y="12"/>
                  </a:lnTo>
                  <a:lnTo>
                    <a:pt x="474" y="12"/>
                  </a:lnTo>
                  <a:lnTo>
                    <a:pt x="474" y="6"/>
                  </a:lnTo>
                  <a:lnTo>
                    <a:pt x="480" y="0"/>
                  </a:lnTo>
                  <a:lnTo>
                    <a:pt x="474" y="0"/>
                  </a:lnTo>
                  <a:close/>
                  <a:moveTo>
                    <a:pt x="432" y="48"/>
                  </a:moveTo>
                  <a:lnTo>
                    <a:pt x="432" y="66"/>
                  </a:lnTo>
                  <a:lnTo>
                    <a:pt x="438" y="66"/>
                  </a:lnTo>
                  <a:lnTo>
                    <a:pt x="444" y="60"/>
                  </a:lnTo>
                  <a:lnTo>
                    <a:pt x="450" y="48"/>
                  </a:lnTo>
                  <a:lnTo>
                    <a:pt x="450" y="24"/>
                  </a:lnTo>
                  <a:lnTo>
                    <a:pt x="438" y="12"/>
                  </a:lnTo>
                  <a:lnTo>
                    <a:pt x="432" y="24"/>
                  </a:lnTo>
                  <a:lnTo>
                    <a:pt x="426" y="30"/>
                  </a:lnTo>
                  <a:lnTo>
                    <a:pt x="420" y="30"/>
                  </a:lnTo>
                  <a:lnTo>
                    <a:pt x="420" y="42"/>
                  </a:lnTo>
                  <a:lnTo>
                    <a:pt x="426" y="42"/>
                  </a:lnTo>
                  <a:lnTo>
                    <a:pt x="432" y="48"/>
                  </a:lnTo>
                  <a:close/>
                  <a:moveTo>
                    <a:pt x="342" y="138"/>
                  </a:moveTo>
                  <a:lnTo>
                    <a:pt x="342" y="150"/>
                  </a:lnTo>
                  <a:lnTo>
                    <a:pt x="354" y="138"/>
                  </a:lnTo>
                  <a:lnTo>
                    <a:pt x="342" y="138"/>
                  </a:lnTo>
                  <a:close/>
                  <a:moveTo>
                    <a:pt x="192" y="402"/>
                  </a:moveTo>
                  <a:lnTo>
                    <a:pt x="192" y="390"/>
                  </a:lnTo>
                  <a:lnTo>
                    <a:pt x="186" y="384"/>
                  </a:lnTo>
                  <a:lnTo>
                    <a:pt x="186" y="378"/>
                  </a:lnTo>
                  <a:lnTo>
                    <a:pt x="174" y="390"/>
                  </a:lnTo>
                  <a:lnTo>
                    <a:pt x="174" y="396"/>
                  </a:lnTo>
                  <a:lnTo>
                    <a:pt x="180" y="402"/>
                  </a:lnTo>
                  <a:lnTo>
                    <a:pt x="192" y="402"/>
                  </a:lnTo>
                  <a:close/>
                  <a:moveTo>
                    <a:pt x="504" y="588"/>
                  </a:moveTo>
                  <a:lnTo>
                    <a:pt x="498" y="594"/>
                  </a:lnTo>
                  <a:lnTo>
                    <a:pt x="498" y="600"/>
                  </a:lnTo>
                  <a:lnTo>
                    <a:pt x="480" y="600"/>
                  </a:lnTo>
                  <a:lnTo>
                    <a:pt x="480" y="588"/>
                  </a:lnTo>
                  <a:lnTo>
                    <a:pt x="486" y="576"/>
                  </a:lnTo>
                  <a:lnTo>
                    <a:pt x="498" y="564"/>
                  </a:lnTo>
                  <a:lnTo>
                    <a:pt x="492" y="558"/>
                  </a:lnTo>
                  <a:lnTo>
                    <a:pt x="456" y="540"/>
                  </a:lnTo>
                  <a:lnTo>
                    <a:pt x="450" y="540"/>
                  </a:lnTo>
                  <a:lnTo>
                    <a:pt x="444" y="534"/>
                  </a:lnTo>
                  <a:lnTo>
                    <a:pt x="450" y="534"/>
                  </a:lnTo>
                  <a:lnTo>
                    <a:pt x="456" y="528"/>
                  </a:lnTo>
                  <a:lnTo>
                    <a:pt x="480" y="528"/>
                  </a:lnTo>
                  <a:lnTo>
                    <a:pt x="468" y="516"/>
                  </a:lnTo>
                  <a:lnTo>
                    <a:pt x="468" y="510"/>
                  </a:lnTo>
                  <a:lnTo>
                    <a:pt x="456" y="498"/>
                  </a:lnTo>
                  <a:lnTo>
                    <a:pt x="450" y="486"/>
                  </a:lnTo>
                  <a:lnTo>
                    <a:pt x="432" y="468"/>
                  </a:lnTo>
                  <a:lnTo>
                    <a:pt x="420" y="468"/>
                  </a:lnTo>
                  <a:lnTo>
                    <a:pt x="414" y="456"/>
                  </a:lnTo>
                  <a:lnTo>
                    <a:pt x="402" y="450"/>
                  </a:lnTo>
                  <a:lnTo>
                    <a:pt x="390" y="438"/>
                  </a:lnTo>
                  <a:lnTo>
                    <a:pt x="390" y="414"/>
                  </a:lnTo>
                  <a:lnTo>
                    <a:pt x="396" y="402"/>
                  </a:lnTo>
                  <a:lnTo>
                    <a:pt x="396" y="390"/>
                  </a:lnTo>
                  <a:lnTo>
                    <a:pt x="384" y="390"/>
                  </a:lnTo>
                  <a:lnTo>
                    <a:pt x="378" y="384"/>
                  </a:lnTo>
                  <a:lnTo>
                    <a:pt x="372" y="372"/>
                  </a:lnTo>
                  <a:lnTo>
                    <a:pt x="360" y="360"/>
                  </a:lnTo>
                  <a:lnTo>
                    <a:pt x="342" y="354"/>
                  </a:lnTo>
                  <a:lnTo>
                    <a:pt x="324" y="354"/>
                  </a:lnTo>
                  <a:lnTo>
                    <a:pt x="306" y="360"/>
                  </a:lnTo>
                  <a:lnTo>
                    <a:pt x="294" y="366"/>
                  </a:lnTo>
                  <a:lnTo>
                    <a:pt x="288" y="366"/>
                  </a:lnTo>
                  <a:lnTo>
                    <a:pt x="270" y="348"/>
                  </a:lnTo>
                  <a:lnTo>
                    <a:pt x="282" y="348"/>
                  </a:lnTo>
                  <a:lnTo>
                    <a:pt x="294" y="354"/>
                  </a:lnTo>
                  <a:lnTo>
                    <a:pt x="306" y="354"/>
                  </a:lnTo>
                  <a:lnTo>
                    <a:pt x="330" y="342"/>
                  </a:lnTo>
                  <a:lnTo>
                    <a:pt x="336" y="336"/>
                  </a:lnTo>
                  <a:lnTo>
                    <a:pt x="330" y="336"/>
                  </a:lnTo>
                  <a:lnTo>
                    <a:pt x="324" y="330"/>
                  </a:lnTo>
                  <a:lnTo>
                    <a:pt x="306" y="330"/>
                  </a:lnTo>
                  <a:lnTo>
                    <a:pt x="330" y="324"/>
                  </a:lnTo>
                  <a:lnTo>
                    <a:pt x="336" y="318"/>
                  </a:lnTo>
                  <a:lnTo>
                    <a:pt x="348" y="312"/>
                  </a:lnTo>
                  <a:lnTo>
                    <a:pt x="360" y="300"/>
                  </a:lnTo>
                  <a:lnTo>
                    <a:pt x="360" y="288"/>
                  </a:lnTo>
                  <a:lnTo>
                    <a:pt x="366" y="276"/>
                  </a:lnTo>
                  <a:lnTo>
                    <a:pt x="372" y="270"/>
                  </a:lnTo>
                  <a:lnTo>
                    <a:pt x="378" y="258"/>
                  </a:lnTo>
                  <a:lnTo>
                    <a:pt x="384" y="252"/>
                  </a:lnTo>
                  <a:lnTo>
                    <a:pt x="396" y="246"/>
                  </a:lnTo>
                  <a:lnTo>
                    <a:pt x="402" y="246"/>
                  </a:lnTo>
                  <a:lnTo>
                    <a:pt x="402" y="240"/>
                  </a:lnTo>
                  <a:lnTo>
                    <a:pt x="396" y="234"/>
                  </a:lnTo>
                  <a:lnTo>
                    <a:pt x="318" y="234"/>
                  </a:lnTo>
                  <a:lnTo>
                    <a:pt x="318" y="228"/>
                  </a:lnTo>
                  <a:lnTo>
                    <a:pt x="288" y="228"/>
                  </a:lnTo>
                  <a:lnTo>
                    <a:pt x="276" y="234"/>
                  </a:lnTo>
                  <a:lnTo>
                    <a:pt x="264" y="234"/>
                  </a:lnTo>
                  <a:lnTo>
                    <a:pt x="258" y="240"/>
                  </a:lnTo>
                  <a:lnTo>
                    <a:pt x="252" y="240"/>
                  </a:lnTo>
                  <a:lnTo>
                    <a:pt x="264" y="228"/>
                  </a:lnTo>
                  <a:lnTo>
                    <a:pt x="252" y="216"/>
                  </a:lnTo>
                  <a:lnTo>
                    <a:pt x="270" y="210"/>
                  </a:lnTo>
                  <a:lnTo>
                    <a:pt x="300" y="192"/>
                  </a:lnTo>
                  <a:lnTo>
                    <a:pt x="312" y="186"/>
                  </a:lnTo>
                  <a:lnTo>
                    <a:pt x="324" y="162"/>
                  </a:lnTo>
                  <a:lnTo>
                    <a:pt x="318" y="156"/>
                  </a:lnTo>
                  <a:lnTo>
                    <a:pt x="288" y="156"/>
                  </a:lnTo>
                  <a:lnTo>
                    <a:pt x="276" y="162"/>
                  </a:lnTo>
                  <a:lnTo>
                    <a:pt x="258" y="168"/>
                  </a:lnTo>
                  <a:lnTo>
                    <a:pt x="240" y="168"/>
                  </a:lnTo>
                  <a:lnTo>
                    <a:pt x="228" y="162"/>
                  </a:lnTo>
                  <a:lnTo>
                    <a:pt x="216" y="162"/>
                  </a:lnTo>
                  <a:lnTo>
                    <a:pt x="210" y="168"/>
                  </a:lnTo>
                  <a:lnTo>
                    <a:pt x="210" y="174"/>
                  </a:lnTo>
                  <a:lnTo>
                    <a:pt x="216" y="180"/>
                  </a:lnTo>
                  <a:lnTo>
                    <a:pt x="204" y="180"/>
                  </a:lnTo>
                  <a:lnTo>
                    <a:pt x="192" y="192"/>
                  </a:lnTo>
                  <a:lnTo>
                    <a:pt x="192" y="210"/>
                  </a:lnTo>
                  <a:lnTo>
                    <a:pt x="198" y="216"/>
                  </a:lnTo>
                  <a:lnTo>
                    <a:pt x="156" y="222"/>
                  </a:lnTo>
                  <a:lnTo>
                    <a:pt x="156" y="234"/>
                  </a:lnTo>
                  <a:lnTo>
                    <a:pt x="168" y="240"/>
                  </a:lnTo>
                  <a:lnTo>
                    <a:pt x="180" y="264"/>
                  </a:lnTo>
                  <a:lnTo>
                    <a:pt x="162" y="282"/>
                  </a:lnTo>
                  <a:lnTo>
                    <a:pt x="162" y="294"/>
                  </a:lnTo>
                  <a:lnTo>
                    <a:pt x="144" y="300"/>
                  </a:lnTo>
                  <a:lnTo>
                    <a:pt x="156" y="312"/>
                  </a:lnTo>
                  <a:lnTo>
                    <a:pt x="168" y="312"/>
                  </a:lnTo>
                  <a:lnTo>
                    <a:pt x="180" y="306"/>
                  </a:lnTo>
                  <a:lnTo>
                    <a:pt x="186" y="300"/>
                  </a:lnTo>
                  <a:lnTo>
                    <a:pt x="186" y="318"/>
                  </a:lnTo>
                  <a:lnTo>
                    <a:pt x="180" y="318"/>
                  </a:lnTo>
                  <a:lnTo>
                    <a:pt x="168" y="330"/>
                  </a:lnTo>
                  <a:lnTo>
                    <a:pt x="156" y="336"/>
                  </a:lnTo>
                  <a:lnTo>
                    <a:pt x="156" y="360"/>
                  </a:lnTo>
                  <a:lnTo>
                    <a:pt x="162" y="372"/>
                  </a:lnTo>
                  <a:lnTo>
                    <a:pt x="168" y="366"/>
                  </a:lnTo>
                  <a:lnTo>
                    <a:pt x="198" y="366"/>
                  </a:lnTo>
                  <a:lnTo>
                    <a:pt x="210" y="360"/>
                  </a:lnTo>
                  <a:lnTo>
                    <a:pt x="216" y="354"/>
                  </a:lnTo>
                  <a:lnTo>
                    <a:pt x="198" y="372"/>
                  </a:lnTo>
                  <a:lnTo>
                    <a:pt x="210" y="402"/>
                  </a:lnTo>
                  <a:lnTo>
                    <a:pt x="204" y="408"/>
                  </a:lnTo>
                  <a:lnTo>
                    <a:pt x="198" y="420"/>
                  </a:lnTo>
                  <a:lnTo>
                    <a:pt x="186" y="426"/>
                  </a:lnTo>
                  <a:lnTo>
                    <a:pt x="180" y="438"/>
                  </a:lnTo>
                  <a:lnTo>
                    <a:pt x="180" y="450"/>
                  </a:lnTo>
                  <a:lnTo>
                    <a:pt x="186" y="456"/>
                  </a:lnTo>
                  <a:lnTo>
                    <a:pt x="204" y="456"/>
                  </a:lnTo>
                  <a:lnTo>
                    <a:pt x="216" y="450"/>
                  </a:lnTo>
                  <a:lnTo>
                    <a:pt x="240" y="450"/>
                  </a:lnTo>
                  <a:lnTo>
                    <a:pt x="252" y="444"/>
                  </a:lnTo>
                  <a:lnTo>
                    <a:pt x="258" y="438"/>
                  </a:lnTo>
                  <a:lnTo>
                    <a:pt x="270" y="432"/>
                  </a:lnTo>
                  <a:lnTo>
                    <a:pt x="300" y="438"/>
                  </a:lnTo>
                  <a:lnTo>
                    <a:pt x="288" y="444"/>
                  </a:lnTo>
                  <a:lnTo>
                    <a:pt x="264" y="468"/>
                  </a:lnTo>
                  <a:lnTo>
                    <a:pt x="264" y="474"/>
                  </a:lnTo>
                  <a:lnTo>
                    <a:pt x="282" y="492"/>
                  </a:lnTo>
                  <a:lnTo>
                    <a:pt x="294" y="492"/>
                  </a:lnTo>
                  <a:lnTo>
                    <a:pt x="300" y="498"/>
                  </a:lnTo>
                  <a:lnTo>
                    <a:pt x="306" y="498"/>
                  </a:lnTo>
                  <a:lnTo>
                    <a:pt x="312" y="516"/>
                  </a:lnTo>
                  <a:lnTo>
                    <a:pt x="294" y="534"/>
                  </a:lnTo>
                  <a:lnTo>
                    <a:pt x="294" y="564"/>
                  </a:lnTo>
                  <a:lnTo>
                    <a:pt x="222" y="564"/>
                  </a:lnTo>
                  <a:lnTo>
                    <a:pt x="216" y="558"/>
                  </a:lnTo>
                  <a:lnTo>
                    <a:pt x="198" y="558"/>
                  </a:lnTo>
                  <a:lnTo>
                    <a:pt x="192" y="564"/>
                  </a:lnTo>
                  <a:lnTo>
                    <a:pt x="210" y="582"/>
                  </a:lnTo>
                  <a:lnTo>
                    <a:pt x="186" y="600"/>
                  </a:lnTo>
                  <a:lnTo>
                    <a:pt x="228" y="594"/>
                  </a:lnTo>
                  <a:lnTo>
                    <a:pt x="228" y="618"/>
                  </a:lnTo>
                  <a:lnTo>
                    <a:pt x="216" y="642"/>
                  </a:lnTo>
                  <a:lnTo>
                    <a:pt x="210" y="648"/>
                  </a:lnTo>
                  <a:lnTo>
                    <a:pt x="198" y="654"/>
                  </a:lnTo>
                  <a:lnTo>
                    <a:pt x="180" y="660"/>
                  </a:lnTo>
                  <a:lnTo>
                    <a:pt x="168" y="666"/>
                  </a:lnTo>
                  <a:lnTo>
                    <a:pt x="162" y="666"/>
                  </a:lnTo>
                  <a:lnTo>
                    <a:pt x="162" y="690"/>
                  </a:lnTo>
                  <a:lnTo>
                    <a:pt x="168" y="696"/>
                  </a:lnTo>
                  <a:lnTo>
                    <a:pt x="174" y="696"/>
                  </a:lnTo>
                  <a:lnTo>
                    <a:pt x="180" y="690"/>
                  </a:lnTo>
                  <a:lnTo>
                    <a:pt x="192" y="684"/>
                  </a:lnTo>
                  <a:lnTo>
                    <a:pt x="198" y="678"/>
                  </a:lnTo>
                  <a:lnTo>
                    <a:pt x="204" y="684"/>
                  </a:lnTo>
                  <a:lnTo>
                    <a:pt x="204" y="690"/>
                  </a:lnTo>
                  <a:lnTo>
                    <a:pt x="210" y="696"/>
                  </a:lnTo>
                  <a:lnTo>
                    <a:pt x="234" y="696"/>
                  </a:lnTo>
                  <a:lnTo>
                    <a:pt x="240" y="702"/>
                  </a:lnTo>
                  <a:lnTo>
                    <a:pt x="252" y="708"/>
                  </a:lnTo>
                  <a:lnTo>
                    <a:pt x="258" y="708"/>
                  </a:lnTo>
                  <a:lnTo>
                    <a:pt x="276" y="702"/>
                  </a:lnTo>
                  <a:lnTo>
                    <a:pt x="288" y="696"/>
                  </a:lnTo>
                  <a:lnTo>
                    <a:pt x="294" y="690"/>
                  </a:lnTo>
                  <a:lnTo>
                    <a:pt x="318" y="690"/>
                  </a:lnTo>
                  <a:lnTo>
                    <a:pt x="312" y="696"/>
                  </a:lnTo>
                  <a:lnTo>
                    <a:pt x="300" y="702"/>
                  </a:lnTo>
                  <a:lnTo>
                    <a:pt x="294" y="714"/>
                  </a:lnTo>
                  <a:lnTo>
                    <a:pt x="282" y="720"/>
                  </a:lnTo>
                  <a:lnTo>
                    <a:pt x="276" y="726"/>
                  </a:lnTo>
                  <a:lnTo>
                    <a:pt x="210" y="726"/>
                  </a:lnTo>
                  <a:lnTo>
                    <a:pt x="210" y="738"/>
                  </a:lnTo>
                  <a:lnTo>
                    <a:pt x="198" y="738"/>
                  </a:lnTo>
                  <a:lnTo>
                    <a:pt x="186" y="744"/>
                  </a:lnTo>
                  <a:lnTo>
                    <a:pt x="180" y="750"/>
                  </a:lnTo>
                  <a:lnTo>
                    <a:pt x="180" y="768"/>
                  </a:lnTo>
                  <a:lnTo>
                    <a:pt x="174" y="774"/>
                  </a:lnTo>
                  <a:lnTo>
                    <a:pt x="144" y="774"/>
                  </a:lnTo>
                  <a:lnTo>
                    <a:pt x="144" y="780"/>
                  </a:lnTo>
                  <a:lnTo>
                    <a:pt x="138" y="786"/>
                  </a:lnTo>
                  <a:lnTo>
                    <a:pt x="138" y="792"/>
                  </a:lnTo>
                  <a:lnTo>
                    <a:pt x="126" y="804"/>
                  </a:lnTo>
                  <a:lnTo>
                    <a:pt x="114" y="810"/>
                  </a:lnTo>
                  <a:lnTo>
                    <a:pt x="108" y="810"/>
                  </a:lnTo>
                  <a:lnTo>
                    <a:pt x="108" y="816"/>
                  </a:lnTo>
                  <a:lnTo>
                    <a:pt x="114" y="816"/>
                  </a:lnTo>
                  <a:lnTo>
                    <a:pt x="120" y="822"/>
                  </a:lnTo>
                  <a:lnTo>
                    <a:pt x="150" y="822"/>
                  </a:lnTo>
                  <a:lnTo>
                    <a:pt x="156" y="810"/>
                  </a:lnTo>
                  <a:lnTo>
                    <a:pt x="174" y="792"/>
                  </a:lnTo>
                  <a:lnTo>
                    <a:pt x="210" y="792"/>
                  </a:lnTo>
                  <a:lnTo>
                    <a:pt x="216" y="798"/>
                  </a:lnTo>
                  <a:lnTo>
                    <a:pt x="228" y="804"/>
                  </a:lnTo>
                  <a:lnTo>
                    <a:pt x="240" y="804"/>
                  </a:lnTo>
                  <a:lnTo>
                    <a:pt x="246" y="792"/>
                  </a:lnTo>
                  <a:lnTo>
                    <a:pt x="252" y="786"/>
                  </a:lnTo>
                  <a:lnTo>
                    <a:pt x="258" y="774"/>
                  </a:lnTo>
                  <a:lnTo>
                    <a:pt x="270" y="762"/>
                  </a:lnTo>
                  <a:lnTo>
                    <a:pt x="288" y="762"/>
                  </a:lnTo>
                  <a:lnTo>
                    <a:pt x="300" y="774"/>
                  </a:lnTo>
                  <a:lnTo>
                    <a:pt x="330" y="774"/>
                  </a:lnTo>
                  <a:lnTo>
                    <a:pt x="354" y="762"/>
                  </a:lnTo>
                  <a:lnTo>
                    <a:pt x="360" y="762"/>
                  </a:lnTo>
                  <a:lnTo>
                    <a:pt x="366" y="768"/>
                  </a:lnTo>
                  <a:lnTo>
                    <a:pt x="378" y="768"/>
                  </a:lnTo>
                  <a:lnTo>
                    <a:pt x="390" y="774"/>
                  </a:lnTo>
                  <a:lnTo>
                    <a:pt x="396" y="774"/>
                  </a:lnTo>
                  <a:lnTo>
                    <a:pt x="396" y="768"/>
                  </a:lnTo>
                  <a:lnTo>
                    <a:pt x="390" y="762"/>
                  </a:lnTo>
                  <a:lnTo>
                    <a:pt x="390" y="750"/>
                  </a:lnTo>
                  <a:lnTo>
                    <a:pt x="396" y="750"/>
                  </a:lnTo>
                  <a:lnTo>
                    <a:pt x="408" y="756"/>
                  </a:lnTo>
                  <a:lnTo>
                    <a:pt x="414" y="762"/>
                  </a:lnTo>
                  <a:lnTo>
                    <a:pt x="426" y="756"/>
                  </a:lnTo>
                  <a:lnTo>
                    <a:pt x="498" y="756"/>
                  </a:lnTo>
                  <a:lnTo>
                    <a:pt x="522" y="750"/>
                  </a:lnTo>
                  <a:lnTo>
                    <a:pt x="534" y="744"/>
                  </a:lnTo>
                  <a:lnTo>
                    <a:pt x="540" y="732"/>
                  </a:lnTo>
                  <a:lnTo>
                    <a:pt x="546" y="726"/>
                  </a:lnTo>
                  <a:lnTo>
                    <a:pt x="552" y="714"/>
                  </a:lnTo>
                  <a:lnTo>
                    <a:pt x="498" y="708"/>
                  </a:lnTo>
                  <a:lnTo>
                    <a:pt x="522" y="702"/>
                  </a:lnTo>
                  <a:lnTo>
                    <a:pt x="516" y="684"/>
                  </a:lnTo>
                  <a:lnTo>
                    <a:pt x="528" y="672"/>
                  </a:lnTo>
                  <a:lnTo>
                    <a:pt x="540" y="666"/>
                  </a:lnTo>
                  <a:lnTo>
                    <a:pt x="546" y="666"/>
                  </a:lnTo>
                  <a:lnTo>
                    <a:pt x="558" y="660"/>
                  </a:lnTo>
                  <a:lnTo>
                    <a:pt x="564" y="654"/>
                  </a:lnTo>
                  <a:lnTo>
                    <a:pt x="576" y="618"/>
                  </a:lnTo>
                  <a:lnTo>
                    <a:pt x="570" y="606"/>
                  </a:lnTo>
                  <a:lnTo>
                    <a:pt x="564" y="600"/>
                  </a:lnTo>
                  <a:lnTo>
                    <a:pt x="552" y="594"/>
                  </a:lnTo>
                  <a:lnTo>
                    <a:pt x="540" y="594"/>
                  </a:lnTo>
                  <a:lnTo>
                    <a:pt x="528" y="588"/>
                  </a:lnTo>
                  <a:lnTo>
                    <a:pt x="504" y="588"/>
                  </a:lnTo>
                  <a:close/>
                  <a:moveTo>
                    <a:pt x="222" y="486"/>
                  </a:moveTo>
                  <a:lnTo>
                    <a:pt x="216" y="480"/>
                  </a:lnTo>
                  <a:lnTo>
                    <a:pt x="204" y="480"/>
                  </a:lnTo>
                  <a:lnTo>
                    <a:pt x="204" y="486"/>
                  </a:lnTo>
                  <a:lnTo>
                    <a:pt x="198" y="498"/>
                  </a:lnTo>
                  <a:lnTo>
                    <a:pt x="192" y="504"/>
                  </a:lnTo>
                  <a:lnTo>
                    <a:pt x="210" y="504"/>
                  </a:lnTo>
                  <a:lnTo>
                    <a:pt x="222" y="492"/>
                  </a:lnTo>
                  <a:lnTo>
                    <a:pt x="222" y="486"/>
                  </a:lnTo>
                  <a:close/>
                  <a:moveTo>
                    <a:pt x="126" y="504"/>
                  </a:moveTo>
                  <a:lnTo>
                    <a:pt x="132" y="498"/>
                  </a:lnTo>
                  <a:lnTo>
                    <a:pt x="132" y="492"/>
                  </a:lnTo>
                  <a:lnTo>
                    <a:pt x="144" y="492"/>
                  </a:lnTo>
                  <a:lnTo>
                    <a:pt x="150" y="480"/>
                  </a:lnTo>
                  <a:lnTo>
                    <a:pt x="156" y="474"/>
                  </a:lnTo>
                  <a:lnTo>
                    <a:pt x="156" y="462"/>
                  </a:lnTo>
                  <a:lnTo>
                    <a:pt x="138" y="444"/>
                  </a:lnTo>
                  <a:lnTo>
                    <a:pt x="138" y="432"/>
                  </a:lnTo>
                  <a:lnTo>
                    <a:pt x="132" y="438"/>
                  </a:lnTo>
                  <a:lnTo>
                    <a:pt x="126" y="426"/>
                  </a:lnTo>
                  <a:lnTo>
                    <a:pt x="120" y="420"/>
                  </a:lnTo>
                  <a:lnTo>
                    <a:pt x="78" y="420"/>
                  </a:lnTo>
                  <a:lnTo>
                    <a:pt x="72" y="426"/>
                  </a:lnTo>
                  <a:lnTo>
                    <a:pt x="30" y="450"/>
                  </a:lnTo>
                  <a:lnTo>
                    <a:pt x="30" y="462"/>
                  </a:lnTo>
                  <a:lnTo>
                    <a:pt x="24" y="462"/>
                  </a:lnTo>
                  <a:lnTo>
                    <a:pt x="18" y="468"/>
                  </a:lnTo>
                  <a:lnTo>
                    <a:pt x="12" y="468"/>
                  </a:lnTo>
                  <a:lnTo>
                    <a:pt x="0" y="480"/>
                  </a:lnTo>
                  <a:lnTo>
                    <a:pt x="6" y="486"/>
                  </a:lnTo>
                  <a:lnTo>
                    <a:pt x="30" y="498"/>
                  </a:lnTo>
                  <a:lnTo>
                    <a:pt x="42" y="498"/>
                  </a:lnTo>
                  <a:lnTo>
                    <a:pt x="66" y="474"/>
                  </a:lnTo>
                  <a:lnTo>
                    <a:pt x="84" y="498"/>
                  </a:lnTo>
                  <a:lnTo>
                    <a:pt x="120" y="504"/>
                  </a:lnTo>
                  <a:lnTo>
                    <a:pt x="126" y="504"/>
                  </a:lnTo>
                  <a:close/>
                  <a:moveTo>
                    <a:pt x="78" y="228"/>
                  </a:moveTo>
                  <a:lnTo>
                    <a:pt x="72" y="228"/>
                  </a:lnTo>
                  <a:lnTo>
                    <a:pt x="66" y="234"/>
                  </a:lnTo>
                  <a:lnTo>
                    <a:pt x="66" y="240"/>
                  </a:lnTo>
                  <a:lnTo>
                    <a:pt x="84" y="240"/>
                  </a:lnTo>
                  <a:lnTo>
                    <a:pt x="84" y="228"/>
                  </a:lnTo>
                  <a:lnTo>
                    <a:pt x="78" y="228"/>
                  </a:lnTo>
                  <a:close/>
                  <a:moveTo>
                    <a:pt x="108" y="210"/>
                  </a:moveTo>
                  <a:lnTo>
                    <a:pt x="126" y="210"/>
                  </a:lnTo>
                  <a:lnTo>
                    <a:pt x="132" y="204"/>
                  </a:lnTo>
                  <a:lnTo>
                    <a:pt x="132" y="198"/>
                  </a:lnTo>
                  <a:lnTo>
                    <a:pt x="138" y="186"/>
                  </a:lnTo>
                  <a:lnTo>
                    <a:pt x="150" y="174"/>
                  </a:lnTo>
                  <a:lnTo>
                    <a:pt x="150" y="168"/>
                  </a:lnTo>
                  <a:lnTo>
                    <a:pt x="138" y="174"/>
                  </a:lnTo>
                  <a:lnTo>
                    <a:pt x="132" y="174"/>
                  </a:lnTo>
                  <a:lnTo>
                    <a:pt x="114" y="192"/>
                  </a:lnTo>
                  <a:lnTo>
                    <a:pt x="108" y="186"/>
                  </a:lnTo>
                  <a:lnTo>
                    <a:pt x="96" y="186"/>
                  </a:lnTo>
                  <a:lnTo>
                    <a:pt x="90" y="192"/>
                  </a:lnTo>
                  <a:lnTo>
                    <a:pt x="90" y="210"/>
                  </a:lnTo>
                  <a:lnTo>
                    <a:pt x="96" y="216"/>
                  </a:lnTo>
                  <a:lnTo>
                    <a:pt x="96" y="228"/>
                  </a:lnTo>
                  <a:lnTo>
                    <a:pt x="108" y="210"/>
                  </a:lnTo>
                  <a:close/>
                  <a:moveTo>
                    <a:pt x="72" y="252"/>
                  </a:moveTo>
                  <a:lnTo>
                    <a:pt x="60" y="282"/>
                  </a:lnTo>
                  <a:lnTo>
                    <a:pt x="78" y="258"/>
                  </a:lnTo>
                  <a:lnTo>
                    <a:pt x="72" y="252"/>
                  </a:lnTo>
                  <a:close/>
                </a:path>
              </a:pathLst>
            </a:custGeom>
            <a:grpFill/>
            <a:ln w="3175">
              <a:solidFill>
                <a:schemeClr val="bg1"/>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de-DE" sz="1800" b="0" i="0" u="none" strike="noStrike" kern="1200" cap="none" spc="0" normalizeH="0" baseline="0" noProof="0">
                <a:ln>
                  <a:noFill/>
                </a:ln>
                <a:solidFill>
                  <a:srgbClr val="FFC000"/>
                </a:solidFill>
                <a:effectLst/>
                <a:uLnTx/>
                <a:uFillTx/>
                <a:latin typeface="Calibri" pitchFamily="34" charset="0"/>
                <a:ea typeface="+mn-ea"/>
                <a:cs typeface="+mn-cs"/>
              </a:endParaRPr>
            </a:p>
          </p:txBody>
        </p:sp>
        <p:sp>
          <p:nvSpPr>
            <p:cNvPr id="35" name="United Arab Emirates" descr="© INSCALE GmbH, 05.05.2010&#10;http://www.presentationload.com/"/>
            <p:cNvSpPr>
              <a:spLocks/>
            </p:cNvSpPr>
            <p:nvPr/>
          </p:nvSpPr>
          <p:spPr bwMode="gray">
            <a:xfrm>
              <a:off x="5634234" y="3639959"/>
              <a:ext cx="110066" cy="99208"/>
            </a:xfrm>
            <a:custGeom>
              <a:avLst/>
              <a:gdLst>
                <a:gd name="T0" fmla="*/ 2147483647 w 336"/>
                <a:gd name="T1" fmla="*/ 2147483647 h 318"/>
                <a:gd name="T2" fmla="*/ 2147483647 w 336"/>
                <a:gd name="T3" fmla="*/ 2147483647 h 318"/>
                <a:gd name="T4" fmla="*/ 2147483647 w 336"/>
                <a:gd name="T5" fmla="*/ 2147483647 h 318"/>
                <a:gd name="T6" fmla="*/ 2147483647 w 336"/>
                <a:gd name="T7" fmla="*/ 2147483647 h 318"/>
                <a:gd name="T8" fmla="*/ 2147483647 w 336"/>
                <a:gd name="T9" fmla="*/ 2147483647 h 318"/>
                <a:gd name="T10" fmla="*/ 2147483647 w 336"/>
                <a:gd name="T11" fmla="*/ 0 h 318"/>
                <a:gd name="T12" fmla="*/ 2147483647 w 336"/>
                <a:gd name="T13" fmla="*/ 2147483647 h 318"/>
                <a:gd name="T14" fmla="*/ 2147483647 w 336"/>
                <a:gd name="T15" fmla="*/ 2147483647 h 318"/>
                <a:gd name="T16" fmla="*/ 2147483647 w 336"/>
                <a:gd name="T17" fmla="*/ 2147483647 h 318"/>
                <a:gd name="T18" fmla="*/ 2147483647 w 336"/>
                <a:gd name="T19" fmla="*/ 2147483647 h 318"/>
                <a:gd name="T20" fmla="*/ 2147483647 w 336"/>
                <a:gd name="T21" fmla="*/ 2147483647 h 318"/>
                <a:gd name="T22" fmla="*/ 2147483647 w 336"/>
                <a:gd name="T23" fmla="*/ 2147483647 h 318"/>
                <a:gd name="T24" fmla="*/ 2147483647 w 336"/>
                <a:gd name="T25" fmla="*/ 2147483647 h 318"/>
                <a:gd name="T26" fmla="*/ 2147483647 w 336"/>
                <a:gd name="T27" fmla="*/ 2147483647 h 318"/>
                <a:gd name="T28" fmla="*/ 2147483647 w 336"/>
                <a:gd name="T29" fmla="*/ 2147483647 h 318"/>
                <a:gd name="T30" fmla="*/ 2147483647 w 336"/>
                <a:gd name="T31" fmla="*/ 2147483647 h 318"/>
                <a:gd name="T32" fmla="*/ 2147483647 w 336"/>
                <a:gd name="T33" fmla="*/ 2147483647 h 318"/>
                <a:gd name="T34" fmla="*/ 2147483647 w 336"/>
                <a:gd name="T35" fmla="*/ 2147483647 h 318"/>
                <a:gd name="T36" fmla="*/ 0 w 336"/>
                <a:gd name="T37" fmla="*/ 2147483647 h 318"/>
                <a:gd name="T38" fmla="*/ 2147483647 w 336"/>
                <a:gd name="T39" fmla="*/ 2147483647 h 318"/>
                <a:gd name="T40" fmla="*/ 2147483647 w 336"/>
                <a:gd name="T41" fmla="*/ 2147483647 h 318"/>
                <a:gd name="T42" fmla="*/ 2147483647 w 336"/>
                <a:gd name="T43" fmla="*/ 2147483647 h 318"/>
                <a:gd name="T44" fmla="*/ 2147483647 w 336"/>
                <a:gd name="T45" fmla="*/ 2147483647 h 318"/>
                <a:gd name="T46" fmla="*/ 2147483647 w 336"/>
                <a:gd name="T47" fmla="*/ 2147483647 h 318"/>
                <a:gd name="T48" fmla="*/ 2147483647 w 336"/>
                <a:gd name="T49" fmla="*/ 2147483647 h 318"/>
                <a:gd name="T50" fmla="*/ 2147483647 w 336"/>
                <a:gd name="T51" fmla="*/ 2147483647 h 318"/>
                <a:gd name="T52" fmla="*/ 2147483647 w 336"/>
                <a:gd name="T53" fmla="*/ 2147483647 h 318"/>
                <a:gd name="T54" fmla="*/ 2147483647 w 336"/>
                <a:gd name="T55" fmla="*/ 2147483647 h 318"/>
                <a:gd name="T56" fmla="*/ 2147483647 w 336"/>
                <a:gd name="T57" fmla="*/ 2147483647 h 318"/>
                <a:gd name="T58" fmla="*/ 2147483647 w 336"/>
                <a:gd name="T59" fmla="*/ 2147483647 h 318"/>
                <a:gd name="T60" fmla="*/ 2147483647 w 336"/>
                <a:gd name="T61" fmla="*/ 2147483647 h 318"/>
                <a:gd name="T62" fmla="*/ 2147483647 w 336"/>
                <a:gd name="T63" fmla="*/ 2147483647 h 318"/>
                <a:gd name="T64" fmla="*/ 2147483647 w 336"/>
                <a:gd name="T65" fmla="*/ 2147483647 h 318"/>
                <a:gd name="T66" fmla="*/ 2147483647 w 336"/>
                <a:gd name="T67" fmla="*/ 2147483647 h 318"/>
                <a:gd name="T68" fmla="*/ 2147483647 w 336"/>
                <a:gd name="T69" fmla="*/ 2147483647 h 318"/>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336"/>
                <a:gd name="T106" fmla="*/ 0 h 318"/>
                <a:gd name="T107" fmla="*/ 336 w 336"/>
                <a:gd name="T108" fmla="*/ 318 h 318"/>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336" h="318">
                  <a:moveTo>
                    <a:pt x="300" y="120"/>
                  </a:moveTo>
                  <a:lnTo>
                    <a:pt x="306" y="120"/>
                  </a:lnTo>
                  <a:lnTo>
                    <a:pt x="306" y="126"/>
                  </a:lnTo>
                  <a:lnTo>
                    <a:pt x="312" y="138"/>
                  </a:lnTo>
                  <a:lnTo>
                    <a:pt x="336" y="132"/>
                  </a:lnTo>
                  <a:lnTo>
                    <a:pt x="330" y="120"/>
                  </a:lnTo>
                  <a:lnTo>
                    <a:pt x="324" y="102"/>
                  </a:lnTo>
                  <a:lnTo>
                    <a:pt x="324" y="60"/>
                  </a:lnTo>
                  <a:lnTo>
                    <a:pt x="330" y="42"/>
                  </a:lnTo>
                  <a:lnTo>
                    <a:pt x="330" y="6"/>
                  </a:lnTo>
                  <a:lnTo>
                    <a:pt x="324" y="0"/>
                  </a:lnTo>
                  <a:lnTo>
                    <a:pt x="318" y="0"/>
                  </a:lnTo>
                  <a:lnTo>
                    <a:pt x="312" y="6"/>
                  </a:lnTo>
                  <a:lnTo>
                    <a:pt x="306" y="18"/>
                  </a:lnTo>
                  <a:lnTo>
                    <a:pt x="300" y="36"/>
                  </a:lnTo>
                  <a:lnTo>
                    <a:pt x="288" y="60"/>
                  </a:lnTo>
                  <a:lnTo>
                    <a:pt x="282" y="66"/>
                  </a:lnTo>
                  <a:lnTo>
                    <a:pt x="282" y="72"/>
                  </a:lnTo>
                  <a:lnTo>
                    <a:pt x="276" y="72"/>
                  </a:lnTo>
                  <a:lnTo>
                    <a:pt x="264" y="78"/>
                  </a:lnTo>
                  <a:lnTo>
                    <a:pt x="234" y="108"/>
                  </a:lnTo>
                  <a:lnTo>
                    <a:pt x="228" y="120"/>
                  </a:lnTo>
                  <a:lnTo>
                    <a:pt x="216" y="132"/>
                  </a:lnTo>
                  <a:lnTo>
                    <a:pt x="204" y="138"/>
                  </a:lnTo>
                  <a:lnTo>
                    <a:pt x="198" y="150"/>
                  </a:lnTo>
                  <a:lnTo>
                    <a:pt x="198" y="168"/>
                  </a:lnTo>
                  <a:lnTo>
                    <a:pt x="192" y="180"/>
                  </a:lnTo>
                  <a:lnTo>
                    <a:pt x="192" y="186"/>
                  </a:lnTo>
                  <a:lnTo>
                    <a:pt x="186" y="192"/>
                  </a:lnTo>
                  <a:lnTo>
                    <a:pt x="150" y="192"/>
                  </a:lnTo>
                  <a:lnTo>
                    <a:pt x="132" y="186"/>
                  </a:lnTo>
                  <a:lnTo>
                    <a:pt x="90" y="186"/>
                  </a:lnTo>
                  <a:lnTo>
                    <a:pt x="72" y="192"/>
                  </a:lnTo>
                  <a:lnTo>
                    <a:pt x="48" y="204"/>
                  </a:lnTo>
                  <a:lnTo>
                    <a:pt x="24" y="204"/>
                  </a:lnTo>
                  <a:lnTo>
                    <a:pt x="12" y="192"/>
                  </a:lnTo>
                  <a:lnTo>
                    <a:pt x="0" y="186"/>
                  </a:lnTo>
                  <a:lnTo>
                    <a:pt x="0" y="198"/>
                  </a:lnTo>
                  <a:lnTo>
                    <a:pt x="18" y="216"/>
                  </a:lnTo>
                  <a:lnTo>
                    <a:pt x="30" y="240"/>
                  </a:lnTo>
                  <a:lnTo>
                    <a:pt x="54" y="264"/>
                  </a:lnTo>
                  <a:lnTo>
                    <a:pt x="60" y="276"/>
                  </a:lnTo>
                  <a:lnTo>
                    <a:pt x="72" y="282"/>
                  </a:lnTo>
                  <a:lnTo>
                    <a:pt x="78" y="294"/>
                  </a:lnTo>
                  <a:lnTo>
                    <a:pt x="96" y="294"/>
                  </a:lnTo>
                  <a:lnTo>
                    <a:pt x="132" y="300"/>
                  </a:lnTo>
                  <a:lnTo>
                    <a:pt x="228" y="312"/>
                  </a:lnTo>
                  <a:lnTo>
                    <a:pt x="270" y="318"/>
                  </a:lnTo>
                  <a:lnTo>
                    <a:pt x="264" y="306"/>
                  </a:lnTo>
                  <a:lnTo>
                    <a:pt x="258" y="300"/>
                  </a:lnTo>
                  <a:lnTo>
                    <a:pt x="252" y="288"/>
                  </a:lnTo>
                  <a:lnTo>
                    <a:pt x="252" y="276"/>
                  </a:lnTo>
                  <a:lnTo>
                    <a:pt x="258" y="270"/>
                  </a:lnTo>
                  <a:lnTo>
                    <a:pt x="264" y="258"/>
                  </a:lnTo>
                  <a:lnTo>
                    <a:pt x="270" y="252"/>
                  </a:lnTo>
                  <a:lnTo>
                    <a:pt x="276" y="240"/>
                  </a:lnTo>
                  <a:lnTo>
                    <a:pt x="276" y="228"/>
                  </a:lnTo>
                  <a:lnTo>
                    <a:pt x="282" y="216"/>
                  </a:lnTo>
                  <a:lnTo>
                    <a:pt x="282" y="204"/>
                  </a:lnTo>
                  <a:lnTo>
                    <a:pt x="288" y="198"/>
                  </a:lnTo>
                  <a:lnTo>
                    <a:pt x="288" y="192"/>
                  </a:lnTo>
                  <a:lnTo>
                    <a:pt x="300" y="192"/>
                  </a:lnTo>
                  <a:lnTo>
                    <a:pt x="300" y="198"/>
                  </a:lnTo>
                  <a:lnTo>
                    <a:pt x="306" y="198"/>
                  </a:lnTo>
                  <a:lnTo>
                    <a:pt x="306" y="192"/>
                  </a:lnTo>
                  <a:lnTo>
                    <a:pt x="288" y="174"/>
                  </a:lnTo>
                  <a:lnTo>
                    <a:pt x="288" y="144"/>
                  </a:lnTo>
                  <a:lnTo>
                    <a:pt x="294" y="132"/>
                  </a:lnTo>
                  <a:lnTo>
                    <a:pt x="294" y="126"/>
                  </a:lnTo>
                  <a:lnTo>
                    <a:pt x="300" y="120"/>
                  </a:lnTo>
                  <a:close/>
                </a:path>
              </a:pathLst>
            </a:custGeom>
            <a:grpFill/>
            <a:ln w="3175">
              <a:solidFill>
                <a:schemeClr val="bg1"/>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de-DE" sz="1800" b="0" i="0" u="none" strike="noStrike" kern="1200" cap="none" spc="0" normalizeH="0" baseline="0" noProof="0">
                <a:ln>
                  <a:noFill/>
                </a:ln>
                <a:solidFill>
                  <a:srgbClr val="FFC000"/>
                </a:solidFill>
                <a:effectLst/>
                <a:uLnTx/>
                <a:uFillTx/>
                <a:latin typeface="Calibri" pitchFamily="34" charset="0"/>
                <a:ea typeface="+mn-ea"/>
                <a:cs typeface="+mn-cs"/>
              </a:endParaRPr>
            </a:p>
          </p:txBody>
        </p:sp>
        <p:sp>
          <p:nvSpPr>
            <p:cNvPr id="36" name="Uganda" descr="© INSCALE GmbH, 05.05.2010&#10;http://www.presentationload.com/"/>
            <p:cNvSpPr>
              <a:spLocks noEditPoints="1"/>
            </p:cNvSpPr>
            <p:nvPr/>
          </p:nvSpPr>
          <p:spPr bwMode="gray">
            <a:xfrm>
              <a:off x="5151734" y="4199688"/>
              <a:ext cx="126705" cy="143300"/>
            </a:xfrm>
            <a:custGeom>
              <a:avLst/>
              <a:gdLst>
                <a:gd name="T0" fmla="*/ 2147483647 w 390"/>
                <a:gd name="T1" fmla="*/ 2147483647 h 462"/>
                <a:gd name="T2" fmla="*/ 2147483647 w 390"/>
                <a:gd name="T3" fmla="*/ 2147483647 h 462"/>
                <a:gd name="T4" fmla="*/ 2147483647 w 390"/>
                <a:gd name="T5" fmla="*/ 2147483647 h 462"/>
                <a:gd name="T6" fmla="*/ 2147483647 w 390"/>
                <a:gd name="T7" fmla="*/ 2147483647 h 462"/>
                <a:gd name="T8" fmla="*/ 2147483647 w 390"/>
                <a:gd name="T9" fmla="*/ 2147483647 h 462"/>
                <a:gd name="T10" fmla="*/ 2147483647 w 390"/>
                <a:gd name="T11" fmla="*/ 2147483647 h 462"/>
                <a:gd name="T12" fmla="*/ 2147483647 w 390"/>
                <a:gd name="T13" fmla="*/ 2147483647 h 462"/>
                <a:gd name="T14" fmla="*/ 2147483647 w 390"/>
                <a:gd name="T15" fmla="*/ 2147483647 h 462"/>
                <a:gd name="T16" fmla="*/ 2147483647 w 390"/>
                <a:gd name="T17" fmla="*/ 2147483647 h 462"/>
                <a:gd name="T18" fmla="*/ 2147483647 w 390"/>
                <a:gd name="T19" fmla="*/ 2147483647 h 462"/>
                <a:gd name="T20" fmla="*/ 2147483647 w 390"/>
                <a:gd name="T21" fmla="*/ 2147483647 h 462"/>
                <a:gd name="T22" fmla="*/ 2147483647 w 390"/>
                <a:gd name="T23" fmla="*/ 2147483647 h 462"/>
                <a:gd name="T24" fmla="*/ 2147483647 w 390"/>
                <a:gd name="T25" fmla="*/ 0 h 462"/>
                <a:gd name="T26" fmla="*/ 2147483647 w 390"/>
                <a:gd name="T27" fmla="*/ 2147483647 h 462"/>
                <a:gd name="T28" fmla="*/ 2147483647 w 390"/>
                <a:gd name="T29" fmla="*/ 2147483647 h 462"/>
                <a:gd name="T30" fmla="*/ 2147483647 w 390"/>
                <a:gd name="T31" fmla="*/ 2147483647 h 462"/>
                <a:gd name="T32" fmla="*/ 2147483647 w 390"/>
                <a:gd name="T33" fmla="*/ 2147483647 h 462"/>
                <a:gd name="T34" fmla="*/ 2147483647 w 390"/>
                <a:gd name="T35" fmla="*/ 2147483647 h 462"/>
                <a:gd name="T36" fmla="*/ 2147483647 w 390"/>
                <a:gd name="T37" fmla="*/ 2147483647 h 462"/>
                <a:gd name="T38" fmla="*/ 2147483647 w 390"/>
                <a:gd name="T39" fmla="*/ 2147483647 h 462"/>
                <a:gd name="T40" fmla="*/ 2147483647 w 390"/>
                <a:gd name="T41" fmla="*/ 2147483647 h 462"/>
                <a:gd name="T42" fmla="*/ 2147483647 w 390"/>
                <a:gd name="T43" fmla="*/ 2147483647 h 462"/>
                <a:gd name="T44" fmla="*/ 2147483647 w 390"/>
                <a:gd name="T45" fmla="*/ 2147483647 h 462"/>
                <a:gd name="T46" fmla="*/ 2147483647 w 390"/>
                <a:gd name="T47" fmla="*/ 2147483647 h 462"/>
                <a:gd name="T48" fmla="*/ 2147483647 w 390"/>
                <a:gd name="T49" fmla="*/ 2147483647 h 462"/>
                <a:gd name="T50" fmla="*/ 2147483647 w 390"/>
                <a:gd name="T51" fmla="*/ 2147483647 h 462"/>
                <a:gd name="T52" fmla="*/ 2147483647 w 390"/>
                <a:gd name="T53" fmla="*/ 2147483647 h 462"/>
                <a:gd name="T54" fmla="*/ 2147483647 w 390"/>
                <a:gd name="T55" fmla="*/ 2147483647 h 462"/>
                <a:gd name="T56" fmla="*/ 2147483647 w 390"/>
                <a:gd name="T57" fmla="*/ 2147483647 h 462"/>
                <a:gd name="T58" fmla="*/ 2147483647 w 390"/>
                <a:gd name="T59" fmla="*/ 2147483647 h 462"/>
                <a:gd name="T60" fmla="*/ 2147483647 w 390"/>
                <a:gd name="T61" fmla="*/ 2147483647 h 462"/>
                <a:gd name="T62" fmla="*/ 2147483647 w 390"/>
                <a:gd name="T63" fmla="*/ 2147483647 h 462"/>
                <a:gd name="T64" fmla="*/ 2147483647 w 390"/>
                <a:gd name="T65" fmla="*/ 2147483647 h 462"/>
                <a:gd name="T66" fmla="*/ 2147483647 w 390"/>
                <a:gd name="T67" fmla="*/ 2147483647 h 462"/>
                <a:gd name="T68" fmla="*/ 2147483647 w 390"/>
                <a:gd name="T69" fmla="*/ 2147483647 h 462"/>
                <a:gd name="T70" fmla="*/ 2147483647 w 390"/>
                <a:gd name="T71" fmla="*/ 2147483647 h 462"/>
                <a:gd name="T72" fmla="*/ 2147483647 w 390"/>
                <a:gd name="T73" fmla="*/ 2147483647 h 462"/>
                <a:gd name="T74" fmla="*/ 2147483647 w 390"/>
                <a:gd name="T75" fmla="*/ 2147483647 h 462"/>
                <a:gd name="T76" fmla="*/ 2147483647 w 390"/>
                <a:gd name="T77" fmla="*/ 2147483647 h 462"/>
                <a:gd name="T78" fmla="*/ 2147483647 w 390"/>
                <a:gd name="T79" fmla="*/ 2147483647 h 462"/>
                <a:gd name="T80" fmla="*/ 2147483647 w 390"/>
                <a:gd name="T81" fmla="*/ 2147483647 h 462"/>
                <a:gd name="T82" fmla="*/ 2147483647 w 390"/>
                <a:gd name="T83" fmla="*/ 2147483647 h 462"/>
                <a:gd name="T84" fmla="*/ 2147483647 w 390"/>
                <a:gd name="T85" fmla="*/ 2147483647 h 462"/>
                <a:gd name="T86" fmla="*/ 2147483647 w 390"/>
                <a:gd name="T87" fmla="*/ 2147483647 h 462"/>
                <a:gd name="T88" fmla="*/ 2147483647 w 390"/>
                <a:gd name="T89" fmla="*/ 2147483647 h 462"/>
                <a:gd name="T90" fmla="*/ 2147483647 w 390"/>
                <a:gd name="T91" fmla="*/ 2147483647 h 462"/>
                <a:gd name="T92" fmla="*/ 2147483647 w 390"/>
                <a:gd name="T93" fmla="*/ 2147483647 h 462"/>
                <a:gd name="T94" fmla="*/ 2147483647 w 390"/>
                <a:gd name="T95" fmla="*/ 2147483647 h 462"/>
                <a:gd name="T96" fmla="*/ 2147483647 w 390"/>
                <a:gd name="T97" fmla="*/ 2147483647 h 462"/>
                <a:gd name="T98" fmla="*/ 2147483647 w 390"/>
                <a:gd name="T99" fmla="*/ 2147483647 h 462"/>
                <a:gd name="T100" fmla="*/ 2147483647 w 390"/>
                <a:gd name="T101" fmla="*/ 2147483647 h 462"/>
                <a:gd name="T102" fmla="*/ 2147483647 w 390"/>
                <a:gd name="T103" fmla="*/ 2147483647 h 462"/>
                <a:gd name="T104" fmla="*/ 2147483647 w 390"/>
                <a:gd name="T105" fmla="*/ 2147483647 h 462"/>
                <a:gd name="T106" fmla="*/ 2147483647 w 390"/>
                <a:gd name="T107" fmla="*/ 2147483647 h 462"/>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390"/>
                <a:gd name="T163" fmla="*/ 0 h 462"/>
                <a:gd name="T164" fmla="*/ 390 w 390"/>
                <a:gd name="T165" fmla="*/ 462 h 462"/>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390" h="462">
                  <a:moveTo>
                    <a:pt x="306" y="426"/>
                  </a:moveTo>
                  <a:lnTo>
                    <a:pt x="318" y="426"/>
                  </a:lnTo>
                  <a:lnTo>
                    <a:pt x="318" y="420"/>
                  </a:lnTo>
                  <a:lnTo>
                    <a:pt x="306" y="420"/>
                  </a:lnTo>
                  <a:lnTo>
                    <a:pt x="306" y="426"/>
                  </a:lnTo>
                  <a:close/>
                  <a:moveTo>
                    <a:pt x="390" y="192"/>
                  </a:moveTo>
                  <a:lnTo>
                    <a:pt x="384" y="180"/>
                  </a:lnTo>
                  <a:lnTo>
                    <a:pt x="378" y="174"/>
                  </a:lnTo>
                  <a:lnTo>
                    <a:pt x="366" y="150"/>
                  </a:lnTo>
                  <a:lnTo>
                    <a:pt x="366" y="144"/>
                  </a:lnTo>
                  <a:lnTo>
                    <a:pt x="372" y="138"/>
                  </a:lnTo>
                  <a:lnTo>
                    <a:pt x="378" y="138"/>
                  </a:lnTo>
                  <a:lnTo>
                    <a:pt x="384" y="132"/>
                  </a:lnTo>
                  <a:lnTo>
                    <a:pt x="348" y="90"/>
                  </a:lnTo>
                  <a:lnTo>
                    <a:pt x="354" y="84"/>
                  </a:lnTo>
                  <a:lnTo>
                    <a:pt x="336" y="66"/>
                  </a:lnTo>
                  <a:lnTo>
                    <a:pt x="336" y="60"/>
                  </a:lnTo>
                  <a:lnTo>
                    <a:pt x="342" y="54"/>
                  </a:lnTo>
                  <a:lnTo>
                    <a:pt x="342" y="42"/>
                  </a:lnTo>
                  <a:lnTo>
                    <a:pt x="336" y="42"/>
                  </a:lnTo>
                  <a:lnTo>
                    <a:pt x="336" y="48"/>
                  </a:lnTo>
                  <a:lnTo>
                    <a:pt x="330" y="42"/>
                  </a:lnTo>
                  <a:lnTo>
                    <a:pt x="324" y="42"/>
                  </a:lnTo>
                  <a:lnTo>
                    <a:pt x="324" y="18"/>
                  </a:lnTo>
                  <a:lnTo>
                    <a:pt x="318" y="6"/>
                  </a:lnTo>
                  <a:lnTo>
                    <a:pt x="312" y="0"/>
                  </a:lnTo>
                  <a:lnTo>
                    <a:pt x="300" y="0"/>
                  </a:lnTo>
                  <a:lnTo>
                    <a:pt x="300" y="6"/>
                  </a:lnTo>
                  <a:lnTo>
                    <a:pt x="294" y="12"/>
                  </a:lnTo>
                  <a:lnTo>
                    <a:pt x="294" y="18"/>
                  </a:lnTo>
                  <a:lnTo>
                    <a:pt x="276" y="36"/>
                  </a:lnTo>
                  <a:lnTo>
                    <a:pt x="252" y="36"/>
                  </a:lnTo>
                  <a:lnTo>
                    <a:pt x="246" y="30"/>
                  </a:lnTo>
                  <a:lnTo>
                    <a:pt x="246" y="24"/>
                  </a:lnTo>
                  <a:lnTo>
                    <a:pt x="234" y="24"/>
                  </a:lnTo>
                  <a:lnTo>
                    <a:pt x="222" y="36"/>
                  </a:lnTo>
                  <a:lnTo>
                    <a:pt x="198" y="36"/>
                  </a:lnTo>
                  <a:lnTo>
                    <a:pt x="180" y="60"/>
                  </a:lnTo>
                  <a:lnTo>
                    <a:pt x="156" y="30"/>
                  </a:lnTo>
                  <a:lnTo>
                    <a:pt x="150" y="30"/>
                  </a:lnTo>
                  <a:lnTo>
                    <a:pt x="144" y="36"/>
                  </a:lnTo>
                  <a:lnTo>
                    <a:pt x="144" y="42"/>
                  </a:lnTo>
                  <a:lnTo>
                    <a:pt x="132" y="42"/>
                  </a:lnTo>
                  <a:lnTo>
                    <a:pt x="120" y="36"/>
                  </a:lnTo>
                  <a:lnTo>
                    <a:pt x="114" y="30"/>
                  </a:lnTo>
                  <a:lnTo>
                    <a:pt x="102" y="30"/>
                  </a:lnTo>
                  <a:lnTo>
                    <a:pt x="84" y="48"/>
                  </a:lnTo>
                  <a:lnTo>
                    <a:pt x="90" y="72"/>
                  </a:lnTo>
                  <a:lnTo>
                    <a:pt x="72" y="90"/>
                  </a:lnTo>
                  <a:lnTo>
                    <a:pt x="84" y="96"/>
                  </a:lnTo>
                  <a:lnTo>
                    <a:pt x="90" y="102"/>
                  </a:lnTo>
                  <a:lnTo>
                    <a:pt x="90" y="108"/>
                  </a:lnTo>
                  <a:lnTo>
                    <a:pt x="84" y="114"/>
                  </a:lnTo>
                  <a:lnTo>
                    <a:pt x="78" y="126"/>
                  </a:lnTo>
                  <a:lnTo>
                    <a:pt x="78" y="138"/>
                  </a:lnTo>
                  <a:lnTo>
                    <a:pt x="84" y="144"/>
                  </a:lnTo>
                  <a:lnTo>
                    <a:pt x="96" y="144"/>
                  </a:lnTo>
                  <a:lnTo>
                    <a:pt x="108" y="150"/>
                  </a:lnTo>
                  <a:lnTo>
                    <a:pt x="114" y="156"/>
                  </a:lnTo>
                  <a:lnTo>
                    <a:pt x="114" y="168"/>
                  </a:lnTo>
                  <a:lnTo>
                    <a:pt x="108" y="180"/>
                  </a:lnTo>
                  <a:lnTo>
                    <a:pt x="96" y="192"/>
                  </a:lnTo>
                  <a:lnTo>
                    <a:pt x="84" y="216"/>
                  </a:lnTo>
                  <a:lnTo>
                    <a:pt x="72" y="222"/>
                  </a:lnTo>
                  <a:lnTo>
                    <a:pt x="66" y="234"/>
                  </a:lnTo>
                  <a:lnTo>
                    <a:pt x="42" y="246"/>
                  </a:lnTo>
                  <a:lnTo>
                    <a:pt x="42" y="258"/>
                  </a:lnTo>
                  <a:lnTo>
                    <a:pt x="24" y="270"/>
                  </a:lnTo>
                  <a:lnTo>
                    <a:pt x="6" y="342"/>
                  </a:lnTo>
                  <a:lnTo>
                    <a:pt x="6" y="372"/>
                  </a:lnTo>
                  <a:lnTo>
                    <a:pt x="0" y="450"/>
                  </a:lnTo>
                  <a:lnTo>
                    <a:pt x="12" y="450"/>
                  </a:lnTo>
                  <a:lnTo>
                    <a:pt x="24" y="462"/>
                  </a:lnTo>
                  <a:lnTo>
                    <a:pt x="30" y="462"/>
                  </a:lnTo>
                  <a:lnTo>
                    <a:pt x="42" y="438"/>
                  </a:lnTo>
                  <a:lnTo>
                    <a:pt x="48" y="432"/>
                  </a:lnTo>
                  <a:lnTo>
                    <a:pt x="48" y="426"/>
                  </a:lnTo>
                  <a:lnTo>
                    <a:pt x="72" y="420"/>
                  </a:lnTo>
                  <a:lnTo>
                    <a:pt x="162" y="426"/>
                  </a:lnTo>
                  <a:lnTo>
                    <a:pt x="162" y="414"/>
                  </a:lnTo>
                  <a:lnTo>
                    <a:pt x="156" y="408"/>
                  </a:lnTo>
                  <a:lnTo>
                    <a:pt x="150" y="396"/>
                  </a:lnTo>
                  <a:lnTo>
                    <a:pt x="162" y="372"/>
                  </a:lnTo>
                  <a:lnTo>
                    <a:pt x="168" y="366"/>
                  </a:lnTo>
                  <a:lnTo>
                    <a:pt x="168" y="342"/>
                  </a:lnTo>
                  <a:lnTo>
                    <a:pt x="174" y="336"/>
                  </a:lnTo>
                  <a:lnTo>
                    <a:pt x="186" y="330"/>
                  </a:lnTo>
                  <a:lnTo>
                    <a:pt x="204" y="324"/>
                  </a:lnTo>
                  <a:lnTo>
                    <a:pt x="240" y="324"/>
                  </a:lnTo>
                  <a:lnTo>
                    <a:pt x="252" y="312"/>
                  </a:lnTo>
                  <a:lnTo>
                    <a:pt x="258" y="300"/>
                  </a:lnTo>
                  <a:lnTo>
                    <a:pt x="264" y="300"/>
                  </a:lnTo>
                  <a:lnTo>
                    <a:pt x="264" y="306"/>
                  </a:lnTo>
                  <a:lnTo>
                    <a:pt x="270" y="312"/>
                  </a:lnTo>
                  <a:lnTo>
                    <a:pt x="270" y="330"/>
                  </a:lnTo>
                  <a:lnTo>
                    <a:pt x="276" y="324"/>
                  </a:lnTo>
                  <a:lnTo>
                    <a:pt x="312" y="324"/>
                  </a:lnTo>
                  <a:lnTo>
                    <a:pt x="312" y="330"/>
                  </a:lnTo>
                  <a:lnTo>
                    <a:pt x="312" y="318"/>
                  </a:lnTo>
                  <a:lnTo>
                    <a:pt x="318" y="306"/>
                  </a:lnTo>
                  <a:lnTo>
                    <a:pt x="324" y="300"/>
                  </a:lnTo>
                  <a:lnTo>
                    <a:pt x="330" y="282"/>
                  </a:lnTo>
                  <a:lnTo>
                    <a:pt x="348" y="270"/>
                  </a:lnTo>
                  <a:lnTo>
                    <a:pt x="348" y="246"/>
                  </a:lnTo>
                  <a:lnTo>
                    <a:pt x="354" y="240"/>
                  </a:lnTo>
                  <a:lnTo>
                    <a:pt x="372" y="240"/>
                  </a:lnTo>
                  <a:lnTo>
                    <a:pt x="378" y="216"/>
                  </a:lnTo>
                  <a:lnTo>
                    <a:pt x="390" y="204"/>
                  </a:lnTo>
                  <a:lnTo>
                    <a:pt x="390" y="192"/>
                  </a:lnTo>
                  <a:close/>
                </a:path>
              </a:pathLst>
            </a:custGeom>
            <a:grpFill/>
            <a:ln w="3175">
              <a:solidFill>
                <a:schemeClr val="bg1"/>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de-DE" sz="1800" b="0" i="0" u="none" strike="noStrike" kern="1200" cap="none" spc="0" normalizeH="0" baseline="0" noProof="0">
                <a:ln>
                  <a:noFill/>
                </a:ln>
                <a:solidFill>
                  <a:srgbClr val="FFC000"/>
                </a:solidFill>
                <a:effectLst/>
                <a:uLnTx/>
                <a:uFillTx/>
                <a:latin typeface="Calibri" pitchFamily="34" charset="0"/>
                <a:ea typeface="+mn-ea"/>
                <a:cs typeface="+mn-cs"/>
              </a:endParaRPr>
            </a:p>
          </p:txBody>
        </p:sp>
        <p:sp>
          <p:nvSpPr>
            <p:cNvPr id="37" name="Turkmenistan" descr="© INSCALE GmbH, 05.05.2010&#10;http://www.presentationload.com/"/>
            <p:cNvSpPr>
              <a:spLocks/>
            </p:cNvSpPr>
            <p:nvPr/>
          </p:nvSpPr>
          <p:spPr bwMode="gray">
            <a:xfrm>
              <a:off x="5593280" y="3234554"/>
              <a:ext cx="326359" cy="188617"/>
            </a:xfrm>
            <a:custGeom>
              <a:avLst/>
              <a:gdLst>
                <a:gd name="T0" fmla="*/ 2147483647 w 1008"/>
                <a:gd name="T1" fmla="*/ 2147483647 h 606"/>
                <a:gd name="T2" fmla="*/ 2147483647 w 1008"/>
                <a:gd name="T3" fmla="*/ 2147483647 h 606"/>
                <a:gd name="T4" fmla="*/ 2147483647 w 1008"/>
                <a:gd name="T5" fmla="*/ 2147483647 h 606"/>
                <a:gd name="T6" fmla="*/ 2147483647 w 1008"/>
                <a:gd name="T7" fmla="*/ 2147483647 h 606"/>
                <a:gd name="T8" fmla="*/ 2147483647 w 1008"/>
                <a:gd name="T9" fmla="*/ 2147483647 h 606"/>
                <a:gd name="T10" fmla="*/ 2147483647 w 1008"/>
                <a:gd name="T11" fmla="*/ 2147483647 h 606"/>
                <a:gd name="T12" fmla="*/ 2147483647 w 1008"/>
                <a:gd name="T13" fmla="*/ 2147483647 h 606"/>
                <a:gd name="T14" fmla="*/ 2147483647 w 1008"/>
                <a:gd name="T15" fmla="*/ 2147483647 h 606"/>
                <a:gd name="T16" fmla="*/ 2147483647 w 1008"/>
                <a:gd name="T17" fmla="*/ 2147483647 h 606"/>
                <a:gd name="T18" fmla="*/ 2147483647 w 1008"/>
                <a:gd name="T19" fmla="*/ 2147483647 h 606"/>
                <a:gd name="T20" fmla="*/ 2147483647 w 1008"/>
                <a:gd name="T21" fmla="*/ 2147483647 h 606"/>
                <a:gd name="T22" fmla="*/ 2147483647 w 1008"/>
                <a:gd name="T23" fmla="*/ 2147483647 h 606"/>
                <a:gd name="T24" fmla="*/ 2147483647 w 1008"/>
                <a:gd name="T25" fmla="*/ 2147483647 h 606"/>
                <a:gd name="T26" fmla="*/ 2147483647 w 1008"/>
                <a:gd name="T27" fmla="*/ 2147483647 h 606"/>
                <a:gd name="T28" fmla="*/ 2147483647 w 1008"/>
                <a:gd name="T29" fmla="*/ 2147483647 h 606"/>
                <a:gd name="T30" fmla="*/ 2147483647 w 1008"/>
                <a:gd name="T31" fmla="*/ 2147483647 h 606"/>
                <a:gd name="T32" fmla="*/ 2147483647 w 1008"/>
                <a:gd name="T33" fmla="*/ 2147483647 h 606"/>
                <a:gd name="T34" fmla="*/ 2147483647 w 1008"/>
                <a:gd name="T35" fmla="*/ 2147483647 h 606"/>
                <a:gd name="T36" fmla="*/ 2147483647 w 1008"/>
                <a:gd name="T37" fmla="*/ 2147483647 h 606"/>
                <a:gd name="T38" fmla="*/ 2147483647 w 1008"/>
                <a:gd name="T39" fmla="*/ 2147483647 h 606"/>
                <a:gd name="T40" fmla="*/ 2147483647 w 1008"/>
                <a:gd name="T41" fmla="*/ 2147483647 h 606"/>
                <a:gd name="T42" fmla="*/ 2147483647 w 1008"/>
                <a:gd name="T43" fmla="*/ 2147483647 h 606"/>
                <a:gd name="T44" fmla="*/ 2147483647 w 1008"/>
                <a:gd name="T45" fmla="*/ 2147483647 h 606"/>
                <a:gd name="T46" fmla="*/ 2147483647 w 1008"/>
                <a:gd name="T47" fmla="*/ 2147483647 h 606"/>
                <a:gd name="T48" fmla="*/ 2147483647 w 1008"/>
                <a:gd name="T49" fmla="*/ 2147483647 h 606"/>
                <a:gd name="T50" fmla="*/ 2147483647 w 1008"/>
                <a:gd name="T51" fmla="*/ 2147483647 h 606"/>
                <a:gd name="T52" fmla="*/ 2147483647 w 1008"/>
                <a:gd name="T53" fmla="*/ 2147483647 h 606"/>
                <a:gd name="T54" fmla="*/ 2147483647 w 1008"/>
                <a:gd name="T55" fmla="*/ 2147483647 h 606"/>
                <a:gd name="T56" fmla="*/ 2147483647 w 1008"/>
                <a:gd name="T57" fmla="*/ 2147483647 h 606"/>
                <a:gd name="T58" fmla="*/ 2147483647 w 1008"/>
                <a:gd name="T59" fmla="*/ 2147483647 h 606"/>
                <a:gd name="T60" fmla="*/ 2147483647 w 1008"/>
                <a:gd name="T61" fmla="*/ 2147483647 h 606"/>
                <a:gd name="T62" fmla="*/ 2147483647 w 1008"/>
                <a:gd name="T63" fmla="*/ 2147483647 h 606"/>
                <a:gd name="T64" fmla="*/ 2147483647 w 1008"/>
                <a:gd name="T65" fmla="*/ 2147483647 h 606"/>
                <a:gd name="T66" fmla="*/ 2147483647 w 1008"/>
                <a:gd name="T67" fmla="*/ 2147483647 h 606"/>
                <a:gd name="T68" fmla="*/ 2147483647 w 1008"/>
                <a:gd name="T69" fmla="*/ 2147483647 h 606"/>
                <a:gd name="T70" fmla="*/ 2147483647 w 1008"/>
                <a:gd name="T71" fmla="*/ 2147483647 h 606"/>
                <a:gd name="T72" fmla="*/ 2147483647 w 1008"/>
                <a:gd name="T73" fmla="*/ 2147483647 h 606"/>
                <a:gd name="T74" fmla="*/ 2147483647 w 1008"/>
                <a:gd name="T75" fmla="*/ 2147483647 h 606"/>
                <a:gd name="T76" fmla="*/ 2147483647 w 1008"/>
                <a:gd name="T77" fmla="*/ 2147483647 h 606"/>
                <a:gd name="T78" fmla="*/ 2147483647 w 1008"/>
                <a:gd name="T79" fmla="*/ 2147483647 h 606"/>
                <a:gd name="T80" fmla="*/ 2147483647 w 1008"/>
                <a:gd name="T81" fmla="*/ 2147483647 h 606"/>
                <a:gd name="T82" fmla="*/ 2147483647 w 1008"/>
                <a:gd name="T83" fmla="*/ 2147483647 h 606"/>
                <a:gd name="T84" fmla="*/ 2147483647 w 1008"/>
                <a:gd name="T85" fmla="*/ 2147483647 h 606"/>
                <a:gd name="T86" fmla="*/ 2147483647 w 1008"/>
                <a:gd name="T87" fmla="*/ 2147483647 h 606"/>
                <a:gd name="T88" fmla="*/ 2147483647 w 1008"/>
                <a:gd name="T89" fmla="*/ 2147483647 h 606"/>
                <a:gd name="T90" fmla="*/ 2147483647 w 1008"/>
                <a:gd name="T91" fmla="*/ 2147483647 h 606"/>
                <a:gd name="T92" fmla="*/ 2147483647 w 1008"/>
                <a:gd name="T93" fmla="*/ 2147483647 h 606"/>
                <a:gd name="T94" fmla="*/ 2147483647 w 1008"/>
                <a:gd name="T95" fmla="*/ 2147483647 h 606"/>
                <a:gd name="T96" fmla="*/ 2147483647 w 1008"/>
                <a:gd name="T97" fmla="*/ 2147483647 h 606"/>
                <a:gd name="T98" fmla="*/ 2147483647 w 1008"/>
                <a:gd name="T99" fmla="*/ 2147483647 h 606"/>
                <a:gd name="T100" fmla="*/ 2147483647 w 1008"/>
                <a:gd name="T101" fmla="*/ 2147483647 h 606"/>
                <a:gd name="T102" fmla="*/ 2147483647 w 1008"/>
                <a:gd name="T103" fmla="*/ 2147483647 h 606"/>
                <a:gd name="T104" fmla="*/ 0 w 1008"/>
                <a:gd name="T105" fmla="*/ 2147483647 h 606"/>
                <a:gd name="T106" fmla="*/ 2147483647 w 1008"/>
                <a:gd name="T107" fmla="*/ 2147483647 h 606"/>
                <a:gd name="T108" fmla="*/ 2147483647 w 1008"/>
                <a:gd name="T109" fmla="*/ 2147483647 h 60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008"/>
                <a:gd name="T166" fmla="*/ 0 h 606"/>
                <a:gd name="T167" fmla="*/ 1008 w 1008"/>
                <a:gd name="T168" fmla="*/ 606 h 60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008" h="606">
                  <a:moveTo>
                    <a:pt x="48" y="150"/>
                  </a:moveTo>
                  <a:lnTo>
                    <a:pt x="48" y="156"/>
                  </a:lnTo>
                  <a:lnTo>
                    <a:pt x="42" y="162"/>
                  </a:lnTo>
                  <a:lnTo>
                    <a:pt x="36" y="174"/>
                  </a:lnTo>
                  <a:lnTo>
                    <a:pt x="36" y="186"/>
                  </a:lnTo>
                  <a:lnTo>
                    <a:pt x="42" y="198"/>
                  </a:lnTo>
                  <a:lnTo>
                    <a:pt x="48" y="204"/>
                  </a:lnTo>
                  <a:lnTo>
                    <a:pt x="54" y="216"/>
                  </a:lnTo>
                  <a:lnTo>
                    <a:pt x="60" y="222"/>
                  </a:lnTo>
                  <a:lnTo>
                    <a:pt x="60" y="228"/>
                  </a:lnTo>
                  <a:lnTo>
                    <a:pt x="90" y="222"/>
                  </a:lnTo>
                  <a:lnTo>
                    <a:pt x="90" y="246"/>
                  </a:lnTo>
                  <a:lnTo>
                    <a:pt x="114" y="258"/>
                  </a:lnTo>
                  <a:lnTo>
                    <a:pt x="90" y="258"/>
                  </a:lnTo>
                  <a:lnTo>
                    <a:pt x="78" y="264"/>
                  </a:lnTo>
                  <a:lnTo>
                    <a:pt x="72" y="264"/>
                  </a:lnTo>
                  <a:lnTo>
                    <a:pt x="72" y="270"/>
                  </a:lnTo>
                  <a:lnTo>
                    <a:pt x="78" y="276"/>
                  </a:lnTo>
                  <a:lnTo>
                    <a:pt x="90" y="276"/>
                  </a:lnTo>
                  <a:lnTo>
                    <a:pt x="96" y="282"/>
                  </a:lnTo>
                  <a:lnTo>
                    <a:pt x="114" y="282"/>
                  </a:lnTo>
                  <a:lnTo>
                    <a:pt x="120" y="288"/>
                  </a:lnTo>
                  <a:lnTo>
                    <a:pt x="126" y="300"/>
                  </a:lnTo>
                  <a:lnTo>
                    <a:pt x="132" y="306"/>
                  </a:lnTo>
                  <a:lnTo>
                    <a:pt x="138" y="354"/>
                  </a:lnTo>
                  <a:lnTo>
                    <a:pt x="150" y="360"/>
                  </a:lnTo>
                  <a:lnTo>
                    <a:pt x="150" y="372"/>
                  </a:lnTo>
                  <a:lnTo>
                    <a:pt x="144" y="378"/>
                  </a:lnTo>
                  <a:lnTo>
                    <a:pt x="144" y="402"/>
                  </a:lnTo>
                  <a:lnTo>
                    <a:pt x="150" y="414"/>
                  </a:lnTo>
                  <a:lnTo>
                    <a:pt x="150" y="426"/>
                  </a:lnTo>
                  <a:lnTo>
                    <a:pt x="156" y="432"/>
                  </a:lnTo>
                  <a:lnTo>
                    <a:pt x="156" y="438"/>
                  </a:lnTo>
                  <a:lnTo>
                    <a:pt x="186" y="438"/>
                  </a:lnTo>
                  <a:lnTo>
                    <a:pt x="198" y="426"/>
                  </a:lnTo>
                  <a:lnTo>
                    <a:pt x="210" y="420"/>
                  </a:lnTo>
                  <a:lnTo>
                    <a:pt x="210" y="408"/>
                  </a:lnTo>
                  <a:lnTo>
                    <a:pt x="216" y="402"/>
                  </a:lnTo>
                  <a:lnTo>
                    <a:pt x="228" y="396"/>
                  </a:lnTo>
                  <a:lnTo>
                    <a:pt x="246" y="378"/>
                  </a:lnTo>
                  <a:lnTo>
                    <a:pt x="258" y="372"/>
                  </a:lnTo>
                  <a:lnTo>
                    <a:pt x="294" y="372"/>
                  </a:lnTo>
                  <a:lnTo>
                    <a:pt x="306" y="378"/>
                  </a:lnTo>
                  <a:lnTo>
                    <a:pt x="312" y="372"/>
                  </a:lnTo>
                  <a:lnTo>
                    <a:pt x="312" y="366"/>
                  </a:lnTo>
                  <a:lnTo>
                    <a:pt x="372" y="366"/>
                  </a:lnTo>
                  <a:lnTo>
                    <a:pt x="384" y="378"/>
                  </a:lnTo>
                  <a:lnTo>
                    <a:pt x="384" y="390"/>
                  </a:lnTo>
                  <a:lnTo>
                    <a:pt x="414" y="390"/>
                  </a:lnTo>
                  <a:lnTo>
                    <a:pt x="420" y="396"/>
                  </a:lnTo>
                  <a:lnTo>
                    <a:pt x="432" y="402"/>
                  </a:lnTo>
                  <a:lnTo>
                    <a:pt x="438" y="408"/>
                  </a:lnTo>
                  <a:lnTo>
                    <a:pt x="450" y="414"/>
                  </a:lnTo>
                  <a:lnTo>
                    <a:pt x="450" y="408"/>
                  </a:lnTo>
                  <a:lnTo>
                    <a:pt x="468" y="408"/>
                  </a:lnTo>
                  <a:lnTo>
                    <a:pt x="480" y="414"/>
                  </a:lnTo>
                  <a:lnTo>
                    <a:pt x="498" y="414"/>
                  </a:lnTo>
                  <a:lnTo>
                    <a:pt x="510" y="420"/>
                  </a:lnTo>
                  <a:lnTo>
                    <a:pt x="516" y="420"/>
                  </a:lnTo>
                  <a:lnTo>
                    <a:pt x="522" y="426"/>
                  </a:lnTo>
                  <a:lnTo>
                    <a:pt x="522" y="432"/>
                  </a:lnTo>
                  <a:lnTo>
                    <a:pt x="528" y="444"/>
                  </a:lnTo>
                  <a:lnTo>
                    <a:pt x="534" y="450"/>
                  </a:lnTo>
                  <a:lnTo>
                    <a:pt x="540" y="450"/>
                  </a:lnTo>
                  <a:lnTo>
                    <a:pt x="546" y="456"/>
                  </a:lnTo>
                  <a:lnTo>
                    <a:pt x="558" y="456"/>
                  </a:lnTo>
                  <a:lnTo>
                    <a:pt x="570" y="468"/>
                  </a:lnTo>
                  <a:lnTo>
                    <a:pt x="582" y="474"/>
                  </a:lnTo>
                  <a:lnTo>
                    <a:pt x="588" y="486"/>
                  </a:lnTo>
                  <a:lnTo>
                    <a:pt x="594" y="492"/>
                  </a:lnTo>
                  <a:lnTo>
                    <a:pt x="660" y="486"/>
                  </a:lnTo>
                  <a:lnTo>
                    <a:pt x="660" y="522"/>
                  </a:lnTo>
                  <a:lnTo>
                    <a:pt x="672" y="522"/>
                  </a:lnTo>
                  <a:lnTo>
                    <a:pt x="666" y="546"/>
                  </a:lnTo>
                  <a:lnTo>
                    <a:pt x="678" y="576"/>
                  </a:lnTo>
                  <a:lnTo>
                    <a:pt x="684" y="582"/>
                  </a:lnTo>
                  <a:lnTo>
                    <a:pt x="696" y="582"/>
                  </a:lnTo>
                  <a:lnTo>
                    <a:pt x="702" y="588"/>
                  </a:lnTo>
                  <a:lnTo>
                    <a:pt x="714" y="588"/>
                  </a:lnTo>
                  <a:lnTo>
                    <a:pt x="720" y="582"/>
                  </a:lnTo>
                  <a:lnTo>
                    <a:pt x="726" y="582"/>
                  </a:lnTo>
                  <a:lnTo>
                    <a:pt x="750" y="606"/>
                  </a:lnTo>
                  <a:lnTo>
                    <a:pt x="774" y="606"/>
                  </a:lnTo>
                  <a:lnTo>
                    <a:pt x="786" y="600"/>
                  </a:lnTo>
                  <a:lnTo>
                    <a:pt x="792" y="594"/>
                  </a:lnTo>
                  <a:lnTo>
                    <a:pt x="804" y="570"/>
                  </a:lnTo>
                  <a:lnTo>
                    <a:pt x="804" y="558"/>
                  </a:lnTo>
                  <a:lnTo>
                    <a:pt x="816" y="558"/>
                  </a:lnTo>
                  <a:lnTo>
                    <a:pt x="852" y="540"/>
                  </a:lnTo>
                  <a:lnTo>
                    <a:pt x="858" y="528"/>
                  </a:lnTo>
                  <a:lnTo>
                    <a:pt x="870" y="522"/>
                  </a:lnTo>
                  <a:lnTo>
                    <a:pt x="882" y="522"/>
                  </a:lnTo>
                  <a:lnTo>
                    <a:pt x="882" y="462"/>
                  </a:lnTo>
                  <a:lnTo>
                    <a:pt x="888" y="450"/>
                  </a:lnTo>
                  <a:lnTo>
                    <a:pt x="900" y="444"/>
                  </a:lnTo>
                  <a:lnTo>
                    <a:pt x="936" y="444"/>
                  </a:lnTo>
                  <a:lnTo>
                    <a:pt x="936" y="420"/>
                  </a:lnTo>
                  <a:lnTo>
                    <a:pt x="948" y="420"/>
                  </a:lnTo>
                  <a:lnTo>
                    <a:pt x="960" y="426"/>
                  </a:lnTo>
                  <a:lnTo>
                    <a:pt x="966" y="432"/>
                  </a:lnTo>
                  <a:lnTo>
                    <a:pt x="978" y="438"/>
                  </a:lnTo>
                  <a:lnTo>
                    <a:pt x="1008" y="438"/>
                  </a:lnTo>
                  <a:lnTo>
                    <a:pt x="1008" y="426"/>
                  </a:lnTo>
                  <a:lnTo>
                    <a:pt x="996" y="414"/>
                  </a:lnTo>
                  <a:lnTo>
                    <a:pt x="996" y="396"/>
                  </a:lnTo>
                  <a:lnTo>
                    <a:pt x="1002" y="390"/>
                  </a:lnTo>
                  <a:lnTo>
                    <a:pt x="954" y="360"/>
                  </a:lnTo>
                  <a:lnTo>
                    <a:pt x="930" y="366"/>
                  </a:lnTo>
                  <a:lnTo>
                    <a:pt x="924" y="366"/>
                  </a:lnTo>
                  <a:lnTo>
                    <a:pt x="912" y="354"/>
                  </a:lnTo>
                  <a:lnTo>
                    <a:pt x="900" y="354"/>
                  </a:lnTo>
                  <a:lnTo>
                    <a:pt x="888" y="342"/>
                  </a:lnTo>
                  <a:lnTo>
                    <a:pt x="876" y="336"/>
                  </a:lnTo>
                  <a:lnTo>
                    <a:pt x="870" y="330"/>
                  </a:lnTo>
                  <a:lnTo>
                    <a:pt x="846" y="318"/>
                  </a:lnTo>
                  <a:lnTo>
                    <a:pt x="828" y="306"/>
                  </a:lnTo>
                  <a:lnTo>
                    <a:pt x="804" y="306"/>
                  </a:lnTo>
                  <a:lnTo>
                    <a:pt x="774" y="288"/>
                  </a:lnTo>
                  <a:lnTo>
                    <a:pt x="768" y="282"/>
                  </a:lnTo>
                  <a:lnTo>
                    <a:pt x="762" y="270"/>
                  </a:lnTo>
                  <a:lnTo>
                    <a:pt x="750" y="258"/>
                  </a:lnTo>
                  <a:lnTo>
                    <a:pt x="744" y="258"/>
                  </a:lnTo>
                  <a:lnTo>
                    <a:pt x="732" y="252"/>
                  </a:lnTo>
                  <a:lnTo>
                    <a:pt x="714" y="252"/>
                  </a:lnTo>
                  <a:lnTo>
                    <a:pt x="702" y="246"/>
                  </a:lnTo>
                  <a:lnTo>
                    <a:pt x="690" y="234"/>
                  </a:lnTo>
                  <a:lnTo>
                    <a:pt x="672" y="198"/>
                  </a:lnTo>
                  <a:lnTo>
                    <a:pt x="666" y="192"/>
                  </a:lnTo>
                  <a:lnTo>
                    <a:pt x="666" y="186"/>
                  </a:lnTo>
                  <a:lnTo>
                    <a:pt x="648" y="168"/>
                  </a:lnTo>
                  <a:lnTo>
                    <a:pt x="630" y="138"/>
                  </a:lnTo>
                  <a:lnTo>
                    <a:pt x="594" y="120"/>
                  </a:lnTo>
                  <a:lnTo>
                    <a:pt x="594" y="126"/>
                  </a:lnTo>
                  <a:lnTo>
                    <a:pt x="540" y="120"/>
                  </a:lnTo>
                  <a:lnTo>
                    <a:pt x="510" y="120"/>
                  </a:lnTo>
                  <a:lnTo>
                    <a:pt x="492" y="102"/>
                  </a:lnTo>
                  <a:lnTo>
                    <a:pt x="492" y="90"/>
                  </a:lnTo>
                  <a:lnTo>
                    <a:pt x="504" y="78"/>
                  </a:lnTo>
                  <a:lnTo>
                    <a:pt x="492" y="72"/>
                  </a:lnTo>
                  <a:lnTo>
                    <a:pt x="492" y="60"/>
                  </a:lnTo>
                  <a:lnTo>
                    <a:pt x="486" y="48"/>
                  </a:lnTo>
                  <a:lnTo>
                    <a:pt x="480" y="42"/>
                  </a:lnTo>
                  <a:lnTo>
                    <a:pt x="444" y="42"/>
                  </a:lnTo>
                  <a:lnTo>
                    <a:pt x="432" y="36"/>
                  </a:lnTo>
                  <a:lnTo>
                    <a:pt x="432" y="24"/>
                  </a:lnTo>
                  <a:lnTo>
                    <a:pt x="408" y="24"/>
                  </a:lnTo>
                  <a:lnTo>
                    <a:pt x="390" y="0"/>
                  </a:lnTo>
                  <a:lnTo>
                    <a:pt x="384" y="12"/>
                  </a:lnTo>
                  <a:lnTo>
                    <a:pt x="354" y="6"/>
                  </a:lnTo>
                  <a:lnTo>
                    <a:pt x="384" y="36"/>
                  </a:lnTo>
                  <a:lnTo>
                    <a:pt x="378" y="30"/>
                  </a:lnTo>
                  <a:lnTo>
                    <a:pt x="366" y="30"/>
                  </a:lnTo>
                  <a:lnTo>
                    <a:pt x="360" y="24"/>
                  </a:lnTo>
                  <a:lnTo>
                    <a:pt x="354" y="24"/>
                  </a:lnTo>
                  <a:lnTo>
                    <a:pt x="348" y="30"/>
                  </a:lnTo>
                  <a:lnTo>
                    <a:pt x="348" y="42"/>
                  </a:lnTo>
                  <a:lnTo>
                    <a:pt x="342" y="42"/>
                  </a:lnTo>
                  <a:lnTo>
                    <a:pt x="336" y="48"/>
                  </a:lnTo>
                  <a:lnTo>
                    <a:pt x="324" y="48"/>
                  </a:lnTo>
                  <a:lnTo>
                    <a:pt x="312" y="54"/>
                  </a:lnTo>
                  <a:lnTo>
                    <a:pt x="294" y="72"/>
                  </a:lnTo>
                  <a:lnTo>
                    <a:pt x="294" y="84"/>
                  </a:lnTo>
                  <a:lnTo>
                    <a:pt x="300" y="102"/>
                  </a:lnTo>
                  <a:lnTo>
                    <a:pt x="312" y="108"/>
                  </a:lnTo>
                  <a:lnTo>
                    <a:pt x="318" y="120"/>
                  </a:lnTo>
                  <a:lnTo>
                    <a:pt x="252" y="120"/>
                  </a:lnTo>
                  <a:lnTo>
                    <a:pt x="240" y="108"/>
                  </a:lnTo>
                  <a:lnTo>
                    <a:pt x="228" y="108"/>
                  </a:lnTo>
                  <a:lnTo>
                    <a:pt x="228" y="114"/>
                  </a:lnTo>
                  <a:lnTo>
                    <a:pt x="216" y="126"/>
                  </a:lnTo>
                  <a:lnTo>
                    <a:pt x="210" y="120"/>
                  </a:lnTo>
                  <a:lnTo>
                    <a:pt x="198" y="114"/>
                  </a:lnTo>
                  <a:lnTo>
                    <a:pt x="174" y="90"/>
                  </a:lnTo>
                  <a:lnTo>
                    <a:pt x="168" y="78"/>
                  </a:lnTo>
                  <a:lnTo>
                    <a:pt x="162" y="72"/>
                  </a:lnTo>
                  <a:lnTo>
                    <a:pt x="156" y="60"/>
                  </a:lnTo>
                  <a:lnTo>
                    <a:pt x="144" y="54"/>
                  </a:lnTo>
                  <a:lnTo>
                    <a:pt x="132" y="42"/>
                  </a:lnTo>
                  <a:lnTo>
                    <a:pt x="120" y="42"/>
                  </a:lnTo>
                  <a:lnTo>
                    <a:pt x="96" y="30"/>
                  </a:lnTo>
                  <a:lnTo>
                    <a:pt x="78" y="30"/>
                  </a:lnTo>
                  <a:lnTo>
                    <a:pt x="72" y="36"/>
                  </a:lnTo>
                  <a:lnTo>
                    <a:pt x="72" y="48"/>
                  </a:lnTo>
                  <a:lnTo>
                    <a:pt x="84" y="54"/>
                  </a:lnTo>
                  <a:lnTo>
                    <a:pt x="90" y="54"/>
                  </a:lnTo>
                  <a:lnTo>
                    <a:pt x="90" y="66"/>
                  </a:lnTo>
                  <a:lnTo>
                    <a:pt x="96" y="66"/>
                  </a:lnTo>
                  <a:lnTo>
                    <a:pt x="96" y="72"/>
                  </a:lnTo>
                  <a:lnTo>
                    <a:pt x="102" y="84"/>
                  </a:lnTo>
                  <a:lnTo>
                    <a:pt x="114" y="90"/>
                  </a:lnTo>
                  <a:lnTo>
                    <a:pt x="126" y="102"/>
                  </a:lnTo>
                  <a:lnTo>
                    <a:pt x="138" y="108"/>
                  </a:lnTo>
                  <a:lnTo>
                    <a:pt x="150" y="120"/>
                  </a:lnTo>
                  <a:lnTo>
                    <a:pt x="162" y="126"/>
                  </a:lnTo>
                  <a:lnTo>
                    <a:pt x="162" y="150"/>
                  </a:lnTo>
                  <a:lnTo>
                    <a:pt x="156" y="156"/>
                  </a:lnTo>
                  <a:lnTo>
                    <a:pt x="144" y="156"/>
                  </a:lnTo>
                  <a:lnTo>
                    <a:pt x="132" y="150"/>
                  </a:lnTo>
                  <a:lnTo>
                    <a:pt x="120" y="138"/>
                  </a:lnTo>
                  <a:lnTo>
                    <a:pt x="120" y="162"/>
                  </a:lnTo>
                  <a:lnTo>
                    <a:pt x="78" y="162"/>
                  </a:lnTo>
                  <a:lnTo>
                    <a:pt x="66" y="144"/>
                  </a:lnTo>
                  <a:lnTo>
                    <a:pt x="60" y="150"/>
                  </a:lnTo>
                  <a:lnTo>
                    <a:pt x="48" y="138"/>
                  </a:lnTo>
                  <a:lnTo>
                    <a:pt x="42" y="126"/>
                  </a:lnTo>
                  <a:lnTo>
                    <a:pt x="36" y="120"/>
                  </a:lnTo>
                  <a:lnTo>
                    <a:pt x="36" y="102"/>
                  </a:lnTo>
                  <a:lnTo>
                    <a:pt x="30" y="96"/>
                  </a:lnTo>
                  <a:lnTo>
                    <a:pt x="30" y="84"/>
                  </a:lnTo>
                  <a:lnTo>
                    <a:pt x="24" y="78"/>
                  </a:lnTo>
                  <a:lnTo>
                    <a:pt x="0" y="78"/>
                  </a:lnTo>
                  <a:lnTo>
                    <a:pt x="0" y="84"/>
                  </a:lnTo>
                  <a:lnTo>
                    <a:pt x="6" y="90"/>
                  </a:lnTo>
                  <a:lnTo>
                    <a:pt x="12" y="102"/>
                  </a:lnTo>
                  <a:lnTo>
                    <a:pt x="18" y="108"/>
                  </a:lnTo>
                  <a:lnTo>
                    <a:pt x="24" y="120"/>
                  </a:lnTo>
                  <a:lnTo>
                    <a:pt x="36" y="126"/>
                  </a:lnTo>
                  <a:lnTo>
                    <a:pt x="42" y="138"/>
                  </a:lnTo>
                  <a:lnTo>
                    <a:pt x="48" y="144"/>
                  </a:lnTo>
                  <a:lnTo>
                    <a:pt x="48" y="150"/>
                  </a:lnTo>
                  <a:close/>
                </a:path>
              </a:pathLst>
            </a:custGeom>
            <a:grpFill/>
            <a:ln w="3175">
              <a:solidFill>
                <a:schemeClr val="bg1"/>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de-DE" sz="1800" b="0" i="0" u="none" strike="noStrike" kern="1200" cap="none" spc="0" normalizeH="0" baseline="0" noProof="0">
                <a:ln>
                  <a:noFill/>
                </a:ln>
                <a:solidFill>
                  <a:srgbClr val="FFC000"/>
                </a:solidFill>
                <a:effectLst/>
                <a:uLnTx/>
                <a:uFillTx/>
                <a:latin typeface="Calibri" pitchFamily="34" charset="0"/>
                <a:ea typeface="+mn-ea"/>
                <a:cs typeface="+mn-cs"/>
              </a:endParaRPr>
            </a:p>
          </p:txBody>
        </p:sp>
        <p:sp>
          <p:nvSpPr>
            <p:cNvPr id="38" name="Turkey" descr="© INSCALE GmbH, 05.05.2010&#10;http://www.presentationload.com/"/>
            <p:cNvSpPr>
              <a:spLocks noEditPoints="1"/>
            </p:cNvSpPr>
            <p:nvPr/>
          </p:nvSpPr>
          <p:spPr bwMode="gray">
            <a:xfrm>
              <a:off x="5019911" y="3249252"/>
              <a:ext cx="431306" cy="157998"/>
            </a:xfrm>
            <a:custGeom>
              <a:avLst/>
              <a:gdLst>
                <a:gd name="T0" fmla="*/ 2147483647 w 1332"/>
                <a:gd name="T1" fmla="*/ 2147483647 h 510"/>
                <a:gd name="T2" fmla="*/ 2147483647 w 1332"/>
                <a:gd name="T3" fmla="*/ 2147483647 h 510"/>
                <a:gd name="T4" fmla="*/ 2147483647 w 1332"/>
                <a:gd name="T5" fmla="*/ 2147483647 h 510"/>
                <a:gd name="T6" fmla="*/ 2147483647 w 1332"/>
                <a:gd name="T7" fmla="*/ 2147483647 h 510"/>
                <a:gd name="T8" fmla="*/ 2147483647 w 1332"/>
                <a:gd name="T9" fmla="*/ 2147483647 h 510"/>
                <a:gd name="T10" fmla="*/ 2147483647 w 1332"/>
                <a:gd name="T11" fmla="*/ 2147483647 h 510"/>
                <a:gd name="T12" fmla="*/ 2147483647 w 1332"/>
                <a:gd name="T13" fmla="*/ 2147483647 h 510"/>
                <a:gd name="T14" fmla="*/ 2147483647 w 1332"/>
                <a:gd name="T15" fmla="*/ 2147483647 h 510"/>
                <a:gd name="T16" fmla="*/ 2147483647 w 1332"/>
                <a:gd name="T17" fmla="*/ 2147483647 h 510"/>
                <a:gd name="T18" fmla="*/ 2147483647 w 1332"/>
                <a:gd name="T19" fmla="*/ 2147483647 h 510"/>
                <a:gd name="T20" fmla="*/ 2147483647 w 1332"/>
                <a:gd name="T21" fmla="*/ 2147483647 h 510"/>
                <a:gd name="T22" fmla="*/ 2147483647 w 1332"/>
                <a:gd name="T23" fmla="*/ 2147483647 h 510"/>
                <a:gd name="T24" fmla="*/ 2147483647 w 1332"/>
                <a:gd name="T25" fmla="*/ 2147483647 h 510"/>
                <a:gd name="T26" fmla="*/ 2147483647 w 1332"/>
                <a:gd name="T27" fmla="*/ 2147483647 h 510"/>
                <a:gd name="T28" fmla="*/ 2147483647 w 1332"/>
                <a:gd name="T29" fmla="*/ 2147483647 h 510"/>
                <a:gd name="T30" fmla="*/ 2147483647 w 1332"/>
                <a:gd name="T31" fmla="*/ 2147483647 h 510"/>
                <a:gd name="T32" fmla="*/ 2147483647 w 1332"/>
                <a:gd name="T33" fmla="*/ 2147483647 h 510"/>
                <a:gd name="T34" fmla="*/ 2147483647 w 1332"/>
                <a:gd name="T35" fmla="*/ 2147483647 h 510"/>
                <a:gd name="T36" fmla="*/ 2147483647 w 1332"/>
                <a:gd name="T37" fmla="*/ 2147483647 h 510"/>
                <a:gd name="T38" fmla="*/ 2147483647 w 1332"/>
                <a:gd name="T39" fmla="*/ 2147483647 h 510"/>
                <a:gd name="T40" fmla="*/ 2147483647 w 1332"/>
                <a:gd name="T41" fmla="*/ 2147483647 h 510"/>
                <a:gd name="T42" fmla="*/ 2147483647 w 1332"/>
                <a:gd name="T43" fmla="*/ 2147483647 h 510"/>
                <a:gd name="T44" fmla="*/ 2147483647 w 1332"/>
                <a:gd name="T45" fmla="*/ 2147483647 h 510"/>
                <a:gd name="T46" fmla="*/ 2147483647 w 1332"/>
                <a:gd name="T47" fmla="*/ 2147483647 h 510"/>
                <a:gd name="T48" fmla="*/ 2147483647 w 1332"/>
                <a:gd name="T49" fmla="*/ 2147483647 h 510"/>
                <a:gd name="T50" fmla="*/ 2147483647 w 1332"/>
                <a:gd name="T51" fmla="*/ 2147483647 h 510"/>
                <a:gd name="T52" fmla="*/ 2147483647 w 1332"/>
                <a:gd name="T53" fmla="*/ 2147483647 h 510"/>
                <a:gd name="T54" fmla="*/ 2147483647 w 1332"/>
                <a:gd name="T55" fmla="*/ 2147483647 h 510"/>
                <a:gd name="T56" fmla="*/ 2147483647 w 1332"/>
                <a:gd name="T57" fmla="*/ 2147483647 h 510"/>
                <a:gd name="T58" fmla="*/ 2147483647 w 1332"/>
                <a:gd name="T59" fmla="*/ 2147483647 h 510"/>
                <a:gd name="T60" fmla="*/ 2147483647 w 1332"/>
                <a:gd name="T61" fmla="*/ 2147483647 h 510"/>
                <a:gd name="T62" fmla="*/ 2147483647 w 1332"/>
                <a:gd name="T63" fmla="*/ 2147483647 h 510"/>
                <a:gd name="T64" fmla="*/ 2147483647 w 1332"/>
                <a:gd name="T65" fmla="*/ 2147483647 h 510"/>
                <a:gd name="T66" fmla="*/ 2147483647 w 1332"/>
                <a:gd name="T67" fmla="*/ 2147483647 h 510"/>
                <a:gd name="T68" fmla="*/ 2147483647 w 1332"/>
                <a:gd name="T69" fmla="*/ 2147483647 h 510"/>
                <a:gd name="T70" fmla="*/ 2147483647 w 1332"/>
                <a:gd name="T71" fmla="*/ 2147483647 h 510"/>
                <a:gd name="T72" fmla="*/ 2147483647 w 1332"/>
                <a:gd name="T73" fmla="*/ 2147483647 h 510"/>
                <a:gd name="T74" fmla="*/ 2147483647 w 1332"/>
                <a:gd name="T75" fmla="*/ 2147483647 h 510"/>
                <a:gd name="T76" fmla="*/ 2147483647 w 1332"/>
                <a:gd name="T77" fmla="*/ 2147483647 h 510"/>
                <a:gd name="T78" fmla="*/ 2147483647 w 1332"/>
                <a:gd name="T79" fmla="*/ 2147483647 h 510"/>
                <a:gd name="T80" fmla="*/ 2147483647 w 1332"/>
                <a:gd name="T81" fmla="*/ 2147483647 h 510"/>
                <a:gd name="T82" fmla="*/ 2147483647 w 1332"/>
                <a:gd name="T83" fmla="*/ 2147483647 h 510"/>
                <a:gd name="T84" fmla="*/ 2147483647 w 1332"/>
                <a:gd name="T85" fmla="*/ 2147483647 h 510"/>
                <a:gd name="T86" fmla="*/ 2147483647 w 1332"/>
                <a:gd name="T87" fmla="*/ 2147483647 h 510"/>
                <a:gd name="T88" fmla="*/ 2147483647 w 1332"/>
                <a:gd name="T89" fmla="*/ 2147483647 h 510"/>
                <a:gd name="T90" fmla="*/ 2147483647 w 1332"/>
                <a:gd name="T91" fmla="*/ 2147483647 h 510"/>
                <a:gd name="T92" fmla="*/ 2147483647 w 1332"/>
                <a:gd name="T93" fmla="*/ 2147483647 h 510"/>
                <a:gd name="T94" fmla="*/ 2147483647 w 1332"/>
                <a:gd name="T95" fmla="*/ 2147483647 h 510"/>
                <a:gd name="T96" fmla="*/ 2147483647 w 1332"/>
                <a:gd name="T97" fmla="*/ 2147483647 h 510"/>
                <a:gd name="T98" fmla="*/ 2147483647 w 1332"/>
                <a:gd name="T99" fmla="*/ 2147483647 h 510"/>
                <a:gd name="T100" fmla="*/ 2147483647 w 1332"/>
                <a:gd name="T101" fmla="*/ 2147483647 h 510"/>
                <a:gd name="T102" fmla="*/ 2147483647 w 1332"/>
                <a:gd name="T103" fmla="*/ 2147483647 h 510"/>
                <a:gd name="T104" fmla="*/ 2147483647 w 1332"/>
                <a:gd name="T105" fmla="*/ 2147483647 h 510"/>
                <a:gd name="T106" fmla="*/ 2147483647 w 1332"/>
                <a:gd name="T107" fmla="*/ 2147483647 h 510"/>
                <a:gd name="T108" fmla="*/ 2147483647 w 1332"/>
                <a:gd name="T109" fmla="*/ 2147483647 h 510"/>
                <a:gd name="T110" fmla="*/ 2147483647 w 1332"/>
                <a:gd name="T111" fmla="*/ 2147483647 h 510"/>
                <a:gd name="T112" fmla="*/ 2147483647 w 1332"/>
                <a:gd name="T113" fmla="*/ 2147483647 h 510"/>
                <a:gd name="T114" fmla="*/ 2147483647 w 1332"/>
                <a:gd name="T115" fmla="*/ 2147483647 h 510"/>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1332"/>
                <a:gd name="T175" fmla="*/ 0 h 510"/>
                <a:gd name="T176" fmla="*/ 1332 w 1332"/>
                <a:gd name="T177" fmla="*/ 510 h 510"/>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1332" h="510">
                  <a:moveTo>
                    <a:pt x="6" y="192"/>
                  </a:moveTo>
                  <a:lnTo>
                    <a:pt x="24" y="186"/>
                  </a:lnTo>
                  <a:lnTo>
                    <a:pt x="30" y="174"/>
                  </a:lnTo>
                  <a:lnTo>
                    <a:pt x="0" y="174"/>
                  </a:lnTo>
                  <a:lnTo>
                    <a:pt x="6" y="192"/>
                  </a:lnTo>
                  <a:close/>
                  <a:moveTo>
                    <a:pt x="42" y="162"/>
                  </a:moveTo>
                  <a:lnTo>
                    <a:pt x="42" y="168"/>
                  </a:lnTo>
                  <a:lnTo>
                    <a:pt x="48" y="174"/>
                  </a:lnTo>
                  <a:lnTo>
                    <a:pt x="60" y="174"/>
                  </a:lnTo>
                  <a:lnTo>
                    <a:pt x="60" y="162"/>
                  </a:lnTo>
                  <a:lnTo>
                    <a:pt x="54" y="156"/>
                  </a:lnTo>
                  <a:lnTo>
                    <a:pt x="54" y="150"/>
                  </a:lnTo>
                  <a:lnTo>
                    <a:pt x="48" y="150"/>
                  </a:lnTo>
                  <a:lnTo>
                    <a:pt x="48" y="156"/>
                  </a:lnTo>
                  <a:lnTo>
                    <a:pt x="42" y="162"/>
                  </a:lnTo>
                  <a:close/>
                  <a:moveTo>
                    <a:pt x="96" y="138"/>
                  </a:moveTo>
                  <a:lnTo>
                    <a:pt x="66" y="138"/>
                  </a:lnTo>
                  <a:lnTo>
                    <a:pt x="66" y="174"/>
                  </a:lnTo>
                  <a:lnTo>
                    <a:pt x="78" y="150"/>
                  </a:lnTo>
                  <a:lnTo>
                    <a:pt x="96" y="138"/>
                  </a:lnTo>
                  <a:close/>
                  <a:moveTo>
                    <a:pt x="1332" y="402"/>
                  </a:moveTo>
                  <a:lnTo>
                    <a:pt x="1332" y="390"/>
                  </a:lnTo>
                  <a:lnTo>
                    <a:pt x="1308" y="384"/>
                  </a:lnTo>
                  <a:lnTo>
                    <a:pt x="1308" y="354"/>
                  </a:lnTo>
                  <a:lnTo>
                    <a:pt x="1272" y="336"/>
                  </a:lnTo>
                  <a:lnTo>
                    <a:pt x="1278" y="330"/>
                  </a:lnTo>
                  <a:lnTo>
                    <a:pt x="1284" y="318"/>
                  </a:lnTo>
                  <a:lnTo>
                    <a:pt x="1284" y="312"/>
                  </a:lnTo>
                  <a:lnTo>
                    <a:pt x="1290" y="306"/>
                  </a:lnTo>
                  <a:lnTo>
                    <a:pt x="1284" y="306"/>
                  </a:lnTo>
                  <a:lnTo>
                    <a:pt x="1278" y="300"/>
                  </a:lnTo>
                  <a:lnTo>
                    <a:pt x="1278" y="288"/>
                  </a:lnTo>
                  <a:lnTo>
                    <a:pt x="1266" y="276"/>
                  </a:lnTo>
                  <a:lnTo>
                    <a:pt x="1266" y="246"/>
                  </a:lnTo>
                  <a:lnTo>
                    <a:pt x="1248" y="222"/>
                  </a:lnTo>
                  <a:lnTo>
                    <a:pt x="1272" y="222"/>
                  </a:lnTo>
                  <a:lnTo>
                    <a:pt x="1272" y="216"/>
                  </a:lnTo>
                  <a:lnTo>
                    <a:pt x="1278" y="210"/>
                  </a:lnTo>
                  <a:lnTo>
                    <a:pt x="1272" y="198"/>
                  </a:lnTo>
                  <a:lnTo>
                    <a:pt x="1272" y="186"/>
                  </a:lnTo>
                  <a:lnTo>
                    <a:pt x="1266" y="180"/>
                  </a:lnTo>
                  <a:lnTo>
                    <a:pt x="1266" y="174"/>
                  </a:lnTo>
                  <a:lnTo>
                    <a:pt x="1260" y="174"/>
                  </a:lnTo>
                  <a:lnTo>
                    <a:pt x="1248" y="180"/>
                  </a:lnTo>
                  <a:lnTo>
                    <a:pt x="1236" y="180"/>
                  </a:lnTo>
                  <a:lnTo>
                    <a:pt x="1224" y="174"/>
                  </a:lnTo>
                  <a:lnTo>
                    <a:pt x="1218" y="168"/>
                  </a:lnTo>
                  <a:lnTo>
                    <a:pt x="1212" y="156"/>
                  </a:lnTo>
                  <a:lnTo>
                    <a:pt x="1212" y="144"/>
                  </a:lnTo>
                  <a:lnTo>
                    <a:pt x="1200" y="108"/>
                  </a:lnTo>
                  <a:lnTo>
                    <a:pt x="1194" y="96"/>
                  </a:lnTo>
                  <a:lnTo>
                    <a:pt x="1194" y="84"/>
                  </a:lnTo>
                  <a:lnTo>
                    <a:pt x="1188" y="78"/>
                  </a:lnTo>
                  <a:lnTo>
                    <a:pt x="1164" y="78"/>
                  </a:lnTo>
                  <a:lnTo>
                    <a:pt x="1164" y="72"/>
                  </a:lnTo>
                  <a:lnTo>
                    <a:pt x="1158" y="60"/>
                  </a:lnTo>
                  <a:lnTo>
                    <a:pt x="1152" y="54"/>
                  </a:lnTo>
                  <a:lnTo>
                    <a:pt x="1140" y="48"/>
                  </a:lnTo>
                  <a:lnTo>
                    <a:pt x="1128" y="48"/>
                  </a:lnTo>
                  <a:lnTo>
                    <a:pt x="1116" y="54"/>
                  </a:lnTo>
                  <a:lnTo>
                    <a:pt x="1110" y="60"/>
                  </a:lnTo>
                  <a:lnTo>
                    <a:pt x="1074" y="54"/>
                  </a:lnTo>
                  <a:lnTo>
                    <a:pt x="1062" y="66"/>
                  </a:lnTo>
                  <a:lnTo>
                    <a:pt x="1026" y="90"/>
                  </a:lnTo>
                  <a:lnTo>
                    <a:pt x="1014" y="96"/>
                  </a:lnTo>
                  <a:lnTo>
                    <a:pt x="930" y="96"/>
                  </a:lnTo>
                  <a:lnTo>
                    <a:pt x="876" y="108"/>
                  </a:lnTo>
                  <a:lnTo>
                    <a:pt x="810" y="84"/>
                  </a:lnTo>
                  <a:lnTo>
                    <a:pt x="786" y="96"/>
                  </a:lnTo>
                  <a:lnTo>
                    <a:pt x="786" y="90"/>
                  </a:lnTo>
                  <a:lnTo>
                    <a:pt x="780" y="84"/>
                  </a:lnTo>
                  <a:lnTo>
                    <a:pt x="774" y="72"/>
                  </a:lnTo>
                  <a:lnTo>
                    <a:pt x="768" y="66"/>
                  </a:lnTo>
                  <a:lnTo>
                    <a:pt x="756" y="66"/>
                  </a:lnTo>
                  <a:lnTo>
                    <a:pt x="744" y="72"/>
                  </a:lnTo>
                  <a:lnTo>
                    <a:pt x="738" y="78"/>
                  </a:lnTo>
                  <a:lnTo>
                    <a:pt x="708" y="60"/>
                  </a:lnTo>
                  <a:lnTo>
                    <a:pt x="708" y="36"/>
                  </a:lnTo>
                  <a:lnTo>
                    <a:pt x="660" y="48"/>
                  </a:lnTo>
                  <a:lnTo>
                    <a:pt x="636" y="30"/>
                  </a:lnTo>
                  <a:lnTo>
                    <a:pt x="630" y="12"/>
                  </a:lnTo>
                  <a:lnTo>
                    <a:pt x="624" y="12"/>
                  </a:lnTo>
                  <a:lnTo>
                    <a:pt x="618" y="18"/>
                  </a:lnTo>
                  <a:lnTo>
                    <a:pt x="600" y="18"/>
                  </a:lnTo>
                  <a:lnTo>
                    <a:pt x="588" y="24"/>
                  </a:lnTo>
                  <a:lnTo>
                    <a:pt x="558" y="24"/>
                  </a:lnTo>
                  <a:lnTo>
                    <a:pt x="534" y="18"/>
                  </a:lnTo>
                  <a:lnTo>
                    <a:pt x="504" y="18"/>
                  </a:lnTo>
                  <a:lnTo>
                    <a:pt x="492" y="24"/>
                  </a:lnTo>
                  <a:lnTo>
                    <a:pt x="456" y="36"/>
                  </a:lnTo>
                  <a:lnTo>
                    <a:pt x="444" y="42"/>
                  </a:lnTo>
                  <a:lnTo>
                    <a:pt x="438" y="48"/>
                  </a:lnTo>
                  <a:lnTo>
                    <a:pt x="426" y="54"/>
                  </a:lnTo>
                  <a:lnTo>
                    <a:pt x="414" y="66"/>
                  </a:lnTo>
                  <a:lnTo>
                    <a:pt x="408" y="66"/>
                  </a:lnTo>
                  <a:lnTo>
                    <a:pt x="396" y="90"/>
                  </a:lnTo>
                  <a:lnTo>
                    <a:pt x="378" y="90"/>
                  </a:lnTo>
                  <a:lnTo>
                    <a:pt x="354" y="84"/>
                  </a:lnTo>
                  <a:lnTo>
                    <a:pt x="294" y="84"/>
                  </a:lnTo>
                  <a:lnTo>
                    <a:pt x="282" y="78"/>
                  </a:lnTo>
                  <a:lnTo>
                    <a:pt x="264" y="78"/>
                  </a:lnTo>
                  <a:lnTo>
                    <a:pt x="252" y="72"/>
                  </a:lnTo>
                  <a:lnTo>
                    <a:pt x="240" y="72"/>
                  </a:lnTo>
                  <a:lnTo>
                    <a:pt x="234" y="66"/>
                  </a:lnTo>
                  <a:lnTo>
                    <a:pt x="198" y="66"/>
                  </a:lnTo>
                  <a:lnTo>
                    <a:pt x="186" y="54"/>
                  </a:lnTo>
                  <a:lnTo>
                    <a:pt x="180" y="36"/>
                  </a:lnTo>
                  <a:lnTo>
                    <a:pt x="180" y="24"/>
                  </a:lnTo>
                  <a:lnTo>
                    <a:pt x="168" y="24"/>
                  </a:lnTo>
                  <a:lnTo>
                    <a:pt x="156" y="18"/>
                  </a:lnTo>
                  <a:lnTo>
                    <a:pt x="144" y="18"/>
                  </a:lnTo>
                  <a:lnTo>
                    <a:pt x="132" y="0"/>
                  </a:lnTo>
                  <a:lnTo>
                    <a:pt x="120" y="18"/>
                  </a:lnTo>
                  <a:lnTo>
                    <a:pt x="90" y="12"/>
                  </a:lnTo>
                  <a:lnTo>
                    <a:pt x="72" y="36"/>
                  </a:lnTo>
                  <a:lnTo>
                    <a:pt x="78" y="42"/>
                  </a:lnTo>
                  <a:lnTo>
                    <a:pt x="90" y="42"/>
                  </a:lnTo>
                  <a:lnTo>
                    <a:pt x="90" y="48"/>
                  </a:lnTo>
                  <a:lnTo>
                    <a:pt x="96" y="54"/>
                  </a:lnTo>
                  <a:lnTo>
                    <a:pt x="96" y="66"/>
                  </a:lnTo>
                  <a:lnTo>
                    <a:pt x="78" y="66"/>
                  </a:lnTo>
                  <a:lnTo>
                    <a:pt x="72" y="72"/>
                  </a:lnTo>
                  <a:lnTo>
                    <a:pt x="72" y="78"/>
                  </a:lnTo>
                  <a:lnTo>
                    <a:pt x="78" y="84"/>
                  </a:lnTo>
                  <a:lnTo>
                    <a:pt x="78" y="96"/>
                  </a:lnTo>
                  <a:lnTo>
                    <a:pt x="72" y="108"/>
                  </a:lnTo>
                  <a:lnTo>
                    <a:pt x="72" y="114"/>
                  </a:lnTo>
                  <a:lnTo>
                    <a:pt x="66" y="120"/>
                  </a:lnTo>
                  <a:lnTo>
                    <a:pt x="66" y="132"/>
                  </a:lnTo>
                  <a:lnTo>
                    <a:pt x="72" y="132"/>
                  </a:lnTo>
                  <a:lnTo>
                    <a:pt x="90" y="126"/>
                  </a:lnTo>
                  <a:lnTo>
                    <a:pt x="102" y="126"/>
                  </a:lnTo>
                  <a:lnTo>
                    <a:pt x="108" y="120"/>
                  </a:lnTo>
                  <a:lnTo>
                    <a:pt x="114" y="120"/>
                  </a:lnTo>
                  <a:lnTo>
                    <a:pt x="114" y="132"/>
                  </a:lnTo>
                  <a:lnTo>
                    <a:pt x="120" y="132"/>
                  </a:lnTo>
                  <a:lnTo>
                    <a:pt x="126" y="126"/>
                  </a:lnTo>
                  <a:lnTo>
                    <a:pt x="138" y="120"/>
                  </a:lnTo>
                  <a:lnTo>
                    <a:pt x="162" y="96"/>
                  </a:lnTo>
                  <a:lnTo>
                    <a:pt x="168" y="96"/>
                  </a:lnTo>
                  <a:lnTo>
                    <a:pt x="174" y="90"/>
                  </a:lnTo>
                  <a:lnTo>
                    <a:pt x="186" y="90"/>
                  </a:lnTo>
                  <a:lnTo>
                    <a:pt x="204" y="84"/>
                  </a:lnTo>
                  <a:lnTo>
                    <a:pt x="216" y="84"/>
                  </a:lnTo>
                  <a:lnTo>
                    <a:pt x="252" y="102"/>
                  </a:lnTo>
                  <a:lnTo>
                    <a:pt x="270" y="108"/>
                  </a:lnTo>
                  <a:lnTo>
                    <a:pt x="282" y="108"/>
                  </a:lnTo>
                  <a:lnTo>
                    <a:pt x="288" y="114"/>
                  </a:lnTo>
                  <a:lnTo>
                    <a:pt x="294" y="114"/>
                  </a:lnTo>
                  <a:lnTo>
                    <a:pt x="270" y="114"/>
                  </a:lnTo>
                  <a:lnTo>
                    <a:pt x="258" y="120"/>
                  </a:lnTo>
                  <a:lnTo>
                    <a:pt x="246" y="120"/>
                  </a:lnTo>
                  <a:lnTo>
                    <a:pt x="246" y="132"/>
                  </a:lnTo>
                  <a:lnTo>
                    <a:pt x="240" y="138"/>
                  </a:lnTo>
                  <a:lnTo>
                    <a:pt x="186" y="144"/>
                  </a:lnTo>
                  <a:lnTo>
                    <a:pt x="138" y="138"/>
                  </a:lnTo>
                  <a:lnTo>
                    <a:pt x="120" y="138"/>
                  </a:lnTo>
                  <a:lnTo>
                    <a:pt x="96" y="150"/>
                  </a:lnTo>
                  <a:lnTo>
                    <a:pt x="84" y="162"/>
                  </a:lnTo>
                  <a:lnTo>
                    <a:pt x="84" y="174"/>
                  </a:lnTo>
                  <a:lnTo>
                    <a:pt x="78" y="192"/>
                  </a:lnTo>
                  <a:lnTo>
                    <a:pt x="78" y="204"/>
                  </a:lnTo>
                  <a:lnTo>
                    <a:pt x="72" y="210"/>
                  </a:lnTo>
                  <a:lnTo>
                    <a:pt x="72" y="216"/>
                  </a:lnTo>
                  <a:lnTo>
                    <a:pt x="114" y="216"/>
                  </a:lnTo>
                  <a:lnTo>
                    <a:pt x="114" y="240"/>
                  </a:lnTo>
                  <a:lnTo>
                    <a:pt x="120" y="246"/>
                  </a:lnTo>
                  <a:lnTo>
                    <a:pt x="126" y="258"/>
                  </a:lnTo>
                  <a:lnTo>
                    <a:pt x="132" y="264"/>
                  </a:lnTo>
                  <a:lnTo>
                    <a:pt x="126" y="282"/>
                  </a:lnTo>
                  <a:lnTo>
                    <a:pt x="138" y="300"/>
                  </a:lnTo>
                  <a:lnTo>
                    <a:pt x="126" y="318"/>
                  </a:lnTo>
                  <a:lnTo>
                    <a:pt x="162" y="354"/>
                  </a:lnTo>
                  <a:lnTo>
                    <a:pt x="156" y="390"/>
                  </a:lnTo>
                  <a:lnTo>
                    <a:pt x="210" y="414"/>
                  </a:lnTo>
                  <a:lnTo>
                    <a:pt x="216" y="444"/>
                  </a:lnTo>
                  <a:lnTo>
                    <a:pt x="216" y="438"/>
                  </a:lnTo>
                  <a:lnTo>
                    <a:pt x="222" y="438"/>
                  </a:lnTo>
                  <a:lnTo>
                    <a:pt x="222" y="432"/>
                  </a:lnTo>
                  <a:lnTo>
                    <a:pt x="228" y="432"/>
                  </a:lnTo>
                  <a:lnTo>
                    <a:pt x="252" y="444"/>
                  </a:lnTo>
                  <a:lnTo>
                    <a:pt x="258" y="444"/>
                  </a:lnTo>
                  <a:lnTo>
                    <a:pt x="264" y="450"/>
                  </a:lnTo>
                  <a:lnTo>
                    <a:pt x="270" y="462"/>
                  </a:lnTo>
                  <a:lnTo>
                    <a:pt x="282" y="468"/>
                  </a:lnTo>
                  <a:lnTo>
                    <a:pt x="294" y="468"/>
                  </a:lnTo>
                  <a:lnTo>
                    <a:pt x="312" y="474"/>
                  </a:lnTo>
                  <a:lnTo>
                    <a:pt x="372" y="474"/>
                  </a:lnTo>
                  <a:lnTo>
                    <a:pt x="372" y="450"/>
                  </a:lnTo>
                  <a:lnTo>
                    <a:pt x="378" y="438"/>
                  </a:lnTo>
                  <a:lnTo>
                    <a:pt x="390" y="426"/>
                  </a:lnTo>
                  <a:lnTo>
                    <a:pt x="408" y="426"/>
                  </a:lnTo>
                  <a:lnTo>
                    <a:pt x="432" y="432"/>
                  </a:lnTo>
                  <a:lnTo>
                    <a:pt x="468" y="444"/>
                  </a:lnTo>
                  <a:lnTo>
                    <a:pt x="474" y="450"/>
                  </a:lnTo>
                  <a:lnTo>
                    <a:pt x="480" y="450"/>
                  </a:lnTo>
                  <a:lnTo>
                    <a:pt x="480" y="456"/>
                  </a:lnTo>
                  <a:lnTo>
                    <a:pt x="486" y="468"/>
                  </a:lnTo>
                  <a:lnTo>
                    <a:pt x="486" y="474"/>
                  </a:lnTo>
                  <a:lnTo>
                    <a:pt x="492" y="480"/>
                  </a:lnTo>
                  <a:lnTo>
                    <a:pt x="504" y="486"/>
                  </a:lnTo>
                  <a:lnTo>
                    <a:pt x="564" y="486"/>
                  </a:lnTo>
                  <a:lnTo>
                    <a:pt x="576" y="480"/>
                  </a:lnTo>
                  <a:lnTo>
                    <a:pt x="594" y="474"/>
                  </a:lnTo>
                  <a:lnTo>
                    <a:pt x="606" y="462"/>
                  </a:lnTo>
                  <a:lnTo>
                    <a:pt x="618" y="456"/>
                  </a:lnTo>
                  <a:lnTo>
                    <a:pt x="630" y="444"/>
                  </a:lnTo>
                  <a:lnTo>
                    <a:pt x="648" y="438"/>
                  </a:lnTo>
                  <a:lnTo>
                    <a:pt x="660" y="432"/>
                  </a:lnTo>
                  <a:lnTo>
                    <a:pt x="672" y="432"/>
                  </a:lnTo>
                  <a:lnTo>
                    <a:pt x="684" y="438"/>
                  </a:lnTo>
                  <a:lnTo>
                    <a:pt x="690" y="444"/>
                  </a:lnTo>
                  <a:lnTo>
                    <a:pt x="696" y="444"/>
                  </a:lnTo>
                  <a:lnTo>
                    <a:pt x="702" y="450"/>
                  </a:lnTo>
                  <a:lnTo>
                    <a:pt x="714" y="450"/>
                  </a:lnTo>
                  <a:lnTo>
                    <a:pt x="726" y="444"/>
                  </a:lnTo>
                  <a:lnTo>
                    <a:pt x="732" y="432"/>
                  </a:lnTo>
                  <a:lnTo>
                    <a:pt x="744" y="420"/>
                  </a:lnTo>
                  <a:lnTo>
                    <a:pt x="756" y="432"/>
                  </a:lnTo>
                  <a:lnTo>
                    <a:pt x="756" y="444"/>
                  </a:lnTo>
                  <a:lnTo>
                    <a:pt x="750" y="450"/>
                  </a:lnTo>
                  <a:lnTo>
                    <a:pt x="744" y="462"/>
                  </a:lnTo>
                  <a:lnTo>
                    <a:pt x="744" y="468"/>
                  </a:lnTo>
                  <a:lnTo>
                    <a:pt x="738" y="474"/>
                  </a:lnTo>
                  <a:lnTo>
                    <a:pt x="738" y="486"/>
                  </a:lnTo>
                  <a:lnTo>
                    <a:pt x="744" y="492"/>
                  </a:lnTo>
                  <a:lnTo>
                    <a:pt x="744" y="498"/>
                  </a:lnTo>
                  <a:lnTo>
                    <a:pt x="756" y="510"/>
                  </a:lnTo>
                  <a:lnTo>
                    <a:pt x="768" y="510"/>
                  </a:lnTo>
                  <a:lnTo>
                    <a:pt x="768" y="504"/>
                  </a:lnTo>
                  <a:lnTo>
                    <a:pt x="774" y="498"/>
                  </a:lnTo>
                  <a:lnTo>
                    <a:pt x="774" y="480"/>
                  </a:lnTo>
                  <a:lnTo>
                    <a:pt x="780" y="486"/>
                  </a:lnTo>
                  <a:lnTo>
                    <a:pt x="792" y="486"/>
                  </a:lnTo>
                  <a:lnTo>
                    <a:pt x="792" y="462"/>
                  </a:lnTo>
                  <a:lnTo>
                    <a:pt x="786" y="462"/>
                  </a:lnTo>
                  <a:lnTo>
                    <a:pt x="786" y="432"/>
                  </a:lnTo>
                  <a:lnTo>
                    <a:pt x="810" y="432"/>
                  </a:lnTo>
                  <a:lnTo>
                    <a:pt x="804" y="438"/>
                  </a:lnTo>
                  <a:lnTo>
                    <a:pt x="804" y="444"/>
                  </a:lnTo>
                  <a:lnTo>
                    <a:pt x="840" y="444"/>
                  </a:lnTo>
                  <a:lnTo>
                    <a:pt x="858" y="438"/>
                  </a:lnTo>
                  <a:lnTo>
                    <a:pt x="864" y="432"/>
                  </a:lnTo>
                  <a:lnTo>
                    <a:pt x="870" y="432"/>
                  </a:lnTo>
                  <a:lnTo>
                    <a:pt x="888" y="414"/>
                  </a:lnTo>
                  <a:lnTo>
                    <a:pt x="894" y="414"/>
                  </a:lnTo>
                  <a:lnTo>
                    <a:pt x="900" y="420"/>
                  </a:lnTo>
                  <a:lnTo>
                    <a:pt x="912" y="426"/>
                  </a:lnTo>
                  <a:lnTo>
                    <a:pt x="924" y="438"/>
                  </a:lnTo>
                  <a:lnTo>
                    <a:pt x="942" y="438"/>
                  </a:lnTo>
                  <a:lnTo>
                    <a:pt x="954" y="444"/>
                  </a:lnTo>
                  <a:lnTo>
                    <a:pt x="966" y="444"/>
                  </a:lnTo>
                  <a:lnTo>
                    <a:pt x="978" y="438"/>
                  </a:lnTo>
                  <a:lnTo>
                    <a:pt x="996" y="438"/>
                  </a:lnTo>
                  <a:lnTo>
                    <a:pt x="1002" y="432"/>
                  </a:lnTo>
                  <a:lnTo>
                    <a:pt x="1014" y="426"/>
                  </a:lnTo>
                  <a:lnTo>
                    <a:pt x="1026" y="414"/>
                  </a:lnTo>
                  <a:lnTo>
                    <a:pt x="1038" y="408"/>
                  </a:lnTo>
                  <a:lnTo>
                    <a:pt x="1086" y="408"/>
                  </a:lnTo>
                  <a:lnTo>
                    <a:pt x="1092" y="414"/>
                  </a:lnTo>
                  <a:lnTo>
                    <a:pt x="1110" y="414"/>
                  </a:lnTo>
                  <a:lnTo>
                    <a:pt x="1122" y="402"/>
                  </a:lnTo>
                  <a:lnTo>
                    <a:pt x="1146" y="402"/>
                  </a:lnTo>
                  <a:lnTo>
                    <a:pt x="1152" y="390"/>
                  </a:lnTo>
                  <a:lnTo>
                    <a:pt x="1152" y="384"/>
                  </a:lnTo>
                  <a:lnTo>
                    <a:pt x="1158" y="384"/>
                  </a:lnTo>
                  <a:lnTo>
                    <a:pt x="1158" y="408"/>
                  </a:lnTo>
                  <a:lnTo>
                    <a:pt x="1164" y="414"/>
                  </a:lnTo>
                  <a:lnTo>
                    <a:pt x="1170" y="414"/>
                  </a:lnTo>
                  <a:lnTo>
                    <a:pt x="1182" y="408"/>
                  </a:lnTo>
                  <a:lnTo>
                    <a:pt x="1188" y="402"/>
                  </a:lnTo>
                  <a:lnTo>
                    <a:pt x="1188" y="390"/>
                  </a:lnTo>
                  <a:lnTo>
                    <a:pt x="1230" y="390"/>
                  </a:lnTo>
                  <a:lnTo>
                    <a:pt x="1242" y="402"/>
                  </a:lnTo>
                  <a:lnTo>
                    <a:pt x="1254" y="402"/>
                  </a:lnTo>
                  <a:lnTo>
                    <a:pt x="1260" y="396"/>
                  </a:lnTo>
                  <a:lnTo>
                    <a:pt x="1260" y="390"/>
                  </a:lnTo>
                  <a:lnTo>
                    <a:pt x="1284" y="390"/>
                  </a:lnTo>
                  <a:lnTo>
                    <a:pt x="1290" y="396"/>
                  </a:lnTo>
                  <a:lnTo>
                    <a:pt x="1290" y="414"/>
                  </a:lnTo>
                  <a:lnTo>
                    <a:pt x="1332" y="402"/>
                  </a:lnTo>
                  <a:close/>
                  <a:moveTo>
                    <a:pt x="102" y="282"/>
                  </a:moveTo>
                  <a:lnTo>
                    <a:pt x="96" y="282"/>
                  </a:lnTo>
                  <a:lnTo>
                    <a:pt x="96" y="312"/>
                  </a:lnTo>
                  <a:lnTo>
                    <a:pt x="102" y="324"/>
                  </a:lnTo>
                  <a:lnTo>
                    <a:pt x="108" y="330"/>
                  </a:lnTo>
                  <a:lnTo>
                    <a:pt x="114" y="324"/>
                  </a:lnTo>
                  <a:lnTo>
                    <a:pt x="114" y="318"/>
                  </a:lnTo>
                  <a:lnTo>
                    <a:pt x="120" y="312"/>
                  </a:lnTo>
                  <a:lnTo>
                    <a:pt x="120" y="300"/>
                  </a:lnTo>
                  <a:lnTo>
                    <a:pt x="102" y="282"/>
                  </a:lnTo>
                  <a:close/>
                </a:path>
              </a:pathLst>
            </a:custGeom>
            <a:grpFill/>
            <a:ln w="3175">
              <a:solidFill>
                <a:schemeClr val="bg1"/>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de-DE" sz="1800" b="0" i="0" u="none" strike="noStrike" kern="1200" cap="none" spc="0" normalizeH="0" baseline="0" noProof="0">
                <a:ln>
                  <a:noFill/>
                </a:ln>
                <a:solidFill>
                  <a:srgbClr val="FFC000"/>
                </a:solidFill>
                <a:effectLst/>
                <a:uLnTx/>
                <a:uFillTx/>
                <a:latin typeface="Calibri" pitchFamily="34" charset="0"/>
                <a:ea typeface="+mn-ea"/>
                <a:cs typeface="+mn-cs"/>
              </a:endParaRPr>
            </a:p>
          </p:txBody>
        </p:sp>
        <p:sp>
          <p:nvSpPr>
            <p:cNvPr id="39" name="Tunisia" descr="© INSCALE GmbH, 05.05.2010&#10;http://www.presentationload.com/"/>
            <p:cNvSpPr>
              <a:spLocks/>
            </p:cNvSpPr>
            <p:nvPr/>
          </p:nvSpPr>
          <p:spPr bwMode="gray">
            <a:xfrm>
              <a:off x="4643638" y="3370506"/>
              <a:ext cx="89589" cy="177595"/>
            </a:xfrm>
            <a:custGeom>
              <a:avLst/>
              <a:gdLst>
                <a:gd name="T0" fmla="*/ 2147483647 w 276"/>
                <a:gd name="T1" fmla="*/ 2147483647 h 570"/>
                <a:gd name="T2" fmla="*/ 2147483647 w 276"/>
                <a:gd name="T3" fmla="*/ 2147483647 h 570"/>
                <a:gd name="T4" fmla="*/ 2147483647 w 276"/>
                <a:gd name="T5" fmla="*/ 2147483647 h 570"/>
                <a:gd name="T6" fmla="*/ 2147483647 w 276"/>
                <a:gd name="T7" fmla="*/ 2147483647 h 570"/>
                <a:gd name="T8" fmla="*/ 2147483647 w 276"/>
                <a:gd name="T9" fmla="*/ 2147483647 h 570"/>
                <a:gd name="T10" fmla="*/ 2147483647 w 276"/>
                <a:gd name="T11" fmla="*/ 2147483647 h 570"/>
                <a:gd name="T12" fmla="*/ 0 w 276"/>
                <a:gd name="T13" fmla="*/ 2147483647 h 570"/>
                <a:gd name="T14" fmla="*/ 2147483647 w 276"/>
                <a:gd name="T15" fmla="*/ 2147483647 h 570"/>
                <a:gd name="T16" fmla="*/ 2147483647 w 276"/>
                <a:gd name="T17" fmla="*/ 2147483647 h 570"/>
                <a:gd name="T18" fmla="*/ 2147483647 w 276"/>
                <a:gd name="T19" fmla="*/ 2147483647 h 570"/>
                <a:gd name="T20" fmla="*/ 2147483647 w 276"/>
                <a:gd name="T21" fmla="*/ 2147483647 h 570"/>
                <a:gd name="T22" fmla="*/ 2147483647 w 276"/>
                <a:gd name="T23" fmla="*/ 2147483647 h 570"/>
                <a:gd name="T24" fmla="*/ 2147483647 w 276"/>
                <a:gd name="T25" fmla="*/ 2147483647 h 570"/>
                <a:gd name="T26" fmla="*/ 2147483647 w 276"/>
                <a:gd name="T27" fmla="*/ 2147483647 h 570"/>
                <a:gd name="T28" fmla="*/ 2147483647 w 276"/>
                <a:gd name="T29" fmla="*/ 2147483647 h 570"/>
                <a:gd name="T30" fmla="*/ 2147483647 w 276"/>
                <a:gd name="T31" fmla="*/ 2147483647 h 570"/>
                <a:gd name="T32" fmla="*/ 2147483647 w 276"/>
                <a:gd name="T33" fmla="*/ 2147483647 h 570"/>
                <a:gd name="T34" fmla="*/ 2147483647 w 276"/>
                <a:gd name="T35" fmla="*/ 2147483647 h 570"/>
                <a:gd name="T36" fmla="*/ 2147483647 w 276"/>
                <a:gd name="T37" fmla="*/ 2147483647 h 570"/>
                <a:gd name="T38" fmla="*/ 2147483647 w 276"/>
                <a:gd name="T39" fmla="*/ 2147483647 h 570"/>
                <a:gd name="T40" fmla="*/ 2147483647 w 276"/>
                <a:gd name="T41" fmla="*/ 2147483647 h 570"/>
                <a:gd name="T42" fmla="*/ 2147483647 w 276"/>
                <a:gd name="T43" fmla="*/ 2147483647 h 570"/>
                <a:gd name="T44" fmla="*/ 2147483647 w 276"/>
                <a:gd name="T45" fmla="*/ 2147483647 h 570"/>
                <a:gd name="T46" fmla="*/ 2147483647 w 276"/>
                <a:gd name="T47" fmla="*/ 2147483647 h 570"/>
                <a:gd name="T48" fmla="*/ 2147483647 w 276"/>
                <a:gd name="T49" fmla="*/ 2147483647 h 570"/>
                <a:gd name="T50" fmla="*/ 2147483647 w 276"/>
                <a:gd name="T51" fmla="*/ 2147483647 h 570"/>
                <a:gd name="T52" fmla="*/ 2147483647 w 276"/>
                <a:gd name="T53" fmla="*/ 2147483647 h 570"/>
                <a:gd name="T54" fmla="*/ 2147483647 w 276"/>
                <a:gd name="T55" fmla="*/ 2147483647 h 570"/>
                <a:gd name="T56" fmla="*/ 2147483647 w 276"/>
                <a:gd name="T57" fmla="*/ 2147483647 h 570"/>
                <a:gd name="T58" fmla="*/ 2147483647 w 276"/>
                <a:gd name="T59" fmla="*/ 2147483647 h 570"/>
                <a:gd name="T60" fmla="*/ 2147483647 w 276"/>
                <a:gd name="T61" fmla="*/ 2147483647 h 570"/>
                <a:gd name="T62" fmla="*/ 2147483647 w 276"/>
                <a:gd name="T63" fmla="*/ 2147483647 h 570"/>
                <a:gd name="T64" fmla="*/ 2147483647 w 276"/>
                <a:gd name="T65" fmla="*/ 2147483647 h 570"/>
                <a:gd name="T66" fmla="*/ 2147483647 w 276"/>
                <a:gd name="T67" fmla="*/ 2147483647 h 570"/>
                <a:gd name="T68" fmla="*/ 2147483647 w 276"/>
                <a:gd name="T69" fmla="*/ 2147483647 h 570"/>
                <a:gd name="T70" fmla="*/ 2147483647 w 276"/>
                <a:gd name="T71" fmla="*/ 2147483647 h 570"/>
                <a:gd name="T72" fmla="*/ 2147483647 w 276"/>
                <a:gd name="T73" fmla="*/ 2147483647 h 570"/>
                <a:gd name="T74" fmla="*/ 2147483647 w 276"/>
                <a:gd name="T75" fmla="*/ 2147483647 h 570"/>
                <a:gd name="T76" fmla="*/ 2147483647 w 276"/>
                <a:gd name="T77" fmla="*/ 2147483647 h 570"/>
                <a:gd name="T78" fmla="*/ 2147483647 w 276"/>
                <a:gd name="T79" fmla="*/ 2147483647 h 570"/>
                <a:gd name="T80" fmla="*/ 2147483647 w 276"/>
                <a:gd name="T81" fmla="*/ 2147483647 h 570"/>
                <a:gd name="T82" fmla="*/ 2147483647 w 276"/>
                <a:gd name="T83" fmla="*/ 2147483647 h 570"/>
                <a:gd name="T84" fmla="*/ 2147483647 w 276"/>
                <a:gd name="T85" fmla="*/ 2147483647 h 570"/>
                <a:gd name="T86" fmla="*/ 2147483647 w 276"/>
                <a:gd name="T87" fmla="*/ 2147483647 h 570"/>
                <a:gd name="T88" fmla="*/ 2147483647 w 276"/>
                <a:gd name="T89" fmla="*/ 0 h 570"/>
                <a:gd name="T90" fmla="*/ 2147483647 w 276"/>
                <a:gd name="T91" fmla="*/ 2147483647 h 570"/>
                <a:gd name="T92" fmla="*/ 2147483647 w 276"/>
                <a:gd name="T93" fmla="*/ 2147483647 h 570"/>
                <a:gd name="T94" fmla="*/ 2147483647 w 276"/>
                <a:gd name="T95" fmla="*/ 2147483647 h 570"/>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276"/>
                <a:gd name="T145" fmla="*/ 0 h 570"/>
                <a:gd name="T146" fmla="*/ 276 w 276"/>
                <a:gd name="T147" fmla="*/ 570 h 570"/>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276" h="570">
                  <a:moveTo>
                    <a:pt x="42" y="60"/>
                  </a:moveTo>
                  <a:lnTo>
                    <a:pt x="60" y="66"/>
                  </a:lnTo>
                  <a:lnTo>
                    <a:pt x="60" y="78"/>
                  </a:lnTo>
                  <a:lnTo>
                    <a:pt x="54" y="90"/>
                  </a:lnTo>
                  <a:lnTo>
                    <a:pt x="54" y="126"/>
                  </a:lnTo>
                  <a:lnTo>
                    <a:pt x="60" y="138"/>
                  </a:lnTo>
                  <a:lnTo>
                    <a:pt x="60" y="180"/>
                  </a:lnTo>
                  <a:lnTo>
                    <a:pt x="54" y="192"/>
                  </a:lnTo>
                  <a:lnTo>
                    <a:pt x="54" y="204"/>
                  </a:lnTo>
                  <a:lnTo>
                    <a:pt x="48" y="210"/>
                  </a:lnTo>
                  <a:lnTo>
                    <a:pt x="48" y="216"/>
                  </a:lnTo>
                  <a:lnTo>
                    <a:pt x="24" y="234"/>
                  </a:lnTo>
                  <a:lnTo>
                    <a:pt x="0" y="258"/>
                  </a:lnTo>
                  <a:lnTo>
                    <a:pt x="0" y="300"/>
                  </a:lnTo>
                  <a:lnTo>
                    <a:pt x="12" y="300"/>
                  </a:lnTo>
                  <a:lnTo>
                    <a:pt x="12" y="330"/>
                  </a:lnTo>
                  <a:lnTo>
                    <a:pt x="24" y="330"/>
                  </a:lnTo>
                  <a:lnTo>
                    <a:pt x="42" y="336"/>
                  </a:lnTo>
                  <a:lnTo>
                    <a:pt x="54" y="348"/>
                  </a:lnTo>
                  <a:lnTo>
                    <a:pt x="54" y="390"/>
                  </a:lnTo>
                  <a:lnTo>
                    <a:pt x="60" y="390"/>
                  </a:lnTo>
                  <a:lnTo>
                    <a:pt x="66" y="396"/>
                  </a:lnTo>
                  <a:lnTo>
                    <a:pt x="90" y="408"/>
                  </a:lnTo>
                  <a:lnTo>
                    <a:pt x="96" y="420"/>
                  </a:lnTo>
                  <a:lnTo>
                    <a:pt x="102" y="426"/>
                  </a:lnTo>
                  <a:lnTo>
                    <a:pt x="108" y="450"/>
                  </a:lnTo>
                  <a:lnTo>
                    <a:pt x="114" y="492"/>
                  </a:lnTo>
                  <a:lnTo>
                    <a:pt x="126" y="540"/>
                  </a:lnTo>
                  <a:lnTo>
                    <a:pt x="138" y="570"/>
                  </a:lnTo>
                  <a:lnTo>
                    <a:pt x="144" y="564"/>
                  </a:lnTo>
                  <a:lnTo>
                    <a:pt x="156" y="564"/>
                  </a:lnTo>
                  <a:lnTo>
                    <a:pt x="186" y="534"/>
                  </a:lnTo>
                  <a:lnTo>
                    <a:pt x="186" y="510"/>
                  </a:lnTo>
                  <a:lnTo>
                    <a:pt x="174" y="486"/>
                  </a:lnTo>
                  <a:lnTo>
                    <a:pt x="174" y="468"/>
                  </a:lnTo>
                  <a:lnTo>
                    <a:pt x="192" y="450"/>
                  </a:lnTo>
                  <a:lnTo>
                    <a:pt x="198" y="450"/>
                  </a:lnTo>
                  <a:lnTo>
                    <a:pt x="204" y="438"/>
                  </a:lnTo>
                  <a:lnTo>
                    <a:pt x="210" y="432"/>
                  </a:lnTo>
                  <a:lnTo>
                    <a:pt x="216" y="420"/>
                  </a:lnTo>
                  <a:lnTo>
                    <a:pt x="222" y="414"/>
                  </a:lnTo>
                  <a:lnTo>
                    <a:pt x="234" y="408"/>
                  </a:lnTo>
                  <a:lnTo>
                    <a:pt x="246" y="408"/>
                  </a:lnTo>
                  <a:lnTo>
                    <a:pt x="270" y="396"/>
                  </a:lnTo>
                  <a:lnTo>
                    <a:pt x="276" y="390"/>
                  </a:lnTo>
                  <a:lnTo>
                    <a:pt x="276" y="384"/>
                  </a:lnTo>
                  <a:lnTo>
                    <a:pt x="264" y="372"/>
                  </a:lnTo>
                  <a:lnTo>
                    <a:pt x="258" y="372"/>
                  </a:lnTo>
                  <a:lnTo>
                    <a:pt x="264" y="330"/>
                  </a:lnTo>
                  <a:lnTo>
                    <a:pt x="252" y="330"/>
                  </a:lnTo>
                  <a:lnTo>
                    <a:pt x="240" y="300"/>
                  </a:lnTo>
                  <a:lnTo>
                    <a:pt x="228" y="294"/>
                  </a:lnTo>
                  <a:lnTo>
                    <a:pt x="222" y="306"/>
                  </a:lnTo>
                  <a:lnTo>
                    <a:pt x="216" y="294"/>
                  </a:lnTo>
                  <a:lnTo>
                    <a:pt x="198" y="294"/>
                  </a:lnTo>
                  <a:lnTo>
                    <a:pt x="186" y="288"/>
                  </a:lnTo>
                  <a:lnTo>
                    <a:pt x="180" y="282"/>
                  </a:lnTo>
                  <a:lnTo>
                    <a:pt x="168" y="276"/>
                  </a:lnTo>
                  <a:lnTo>
                    <a:pt x="168" y="246"/>
                  </a:lnTo>
                  <a:lnTo>
                    <a:pt x="174" y="240"/>
                  </a:lnTo>
                  <a:lnTo>
                    <a:pt x="180" y="240"/>
                  </a:lnTo>
                  <a:lnTo>
                    <a:pt x="234" y="186"/>
                  </a:lnTo>
                  <a:lnTo>
                    <a:pt x="240" y="174"/>
                  </a:lnTo>
                  <a:lnTo>
                    <a:pt x="240" y="156"/>
                  </a:lnTo>
                  <a:lnTo>
                    <a:pt x="234" y="144"/>
                  </a:lnTo>
                  <a:lnTo>
                    <a:pt x="216" y="126"/>
                  </a:lnTo>
                  <a:lnTo>
                    <a:pt x="204" y="120"/>
                  </a:lnTo>
                  <a:lnTo>
                    <a:pt x="198" y="120"/>
                  </a:lnTo>
                  <a:lnTo>
                    <a:pt x="198" y="102"/>
                  </a:lnTo>
                  <a:lnTo>
                    <a:pt x="204" y="90"/>
                  </a:lnTo>
                  <a:lnTo>
                    <a:pt x="204" y="78"/>
                  </a:lnTo>
                  <a:lnTo>
                    <a:pt x="210" y="72"/>
                  </a:lnTo>
                  <a:lnTo>
                    <a:pt x="222" y="66"/>
                  </a:lnTo>
                  <a:lnTo>
                    <a:pt x="228" y="60"/>
                  </a:lnTo>
                  <a:lnTo>
                    <a:pt x="234" y="48"/>
                  </a:lnTo>
                  <a:lnTo>
                    <a:pt x="234" y="36"/>
                  </a:lnTo>
                  <a:lnTo>
                    <a:pt x="240" y="30"/>
                  </a:lnTo>
                  <a:lnTo>
                    <a:pt x="240" y="18"/>
                  </a:lnTo>
                  <a:lnTo>
                    <a:pt x="228" y="18"/>
                  </a:lnTo>
                  <a:lnTo>
                    <a:pt x="222" y="30"/>
                  </a:lnTo>
                  <a:lnTo>
                    <a:pt x="210" y="36"/>
                  </a:lnTo>
                  <a:lnTo>
                    <a:pt x="204" y="48"/>
                  </a:lnTo>
                  <a:lnTo>
                    <a:pt x="192" y="60"/>
                  </a:lnTo>
                  <a:lnTo>
                    <a:pt x="186" y="60"/>
                  </a:lnTo>
                  <a:lnTo>
                    <a:pt x="174" y="54"/>
                  </a:lnTo>
                  <a:lnTo>
                    <a:pt x="162" y="42"/>
                  </a:lnTo>
                  <a:lnTo>
                    <a:pt x="174" y="30"/>
                  </a:lnTo>
                  <a:lnTo>
                    <a:pt x="174" y="24"/>
                  </a:lnTo>
                  <a:lnTo>
                    <a:pt x="180" y="12"/>
                  </a:lnTo>
                  <a:lnTo>
                    <a:pt x="168" y="0"/>
                  </a:lnTo>
                  <a:lnTo>
                    <a:pt x="138" y="0"/>
                  </a:lnTo>
                  <a:lnTo>
                    <a:pt x="126" y="6"/>
                  </a:lnTo>
                  <a:lnTo>
                    <a:pt x="108" y="12"/>
                  </a:lnTo>
                  <a:lnTo>
                    <a:pt x="96" y="18"/>
                  </a:lnTo>
                  <a:lnTo>
                    <a:pt x="84" y="30"/>
                  </a:lnTo>
                  <a:lnTo>
                    <a:pt x="84" y="42"/>
                  </a:lnTo>
                  <a:lnTo>
                    <a:pt x="42" y="60"/>
                  </a:lnTo>
                  <a:close/>
                </a:path>
              </a:pathLst>
            </a:custGeom>
            <a:grpFill/>
            <a:ln w="3175">
              <a:solidFill>
                <a:schemeClr val="bg1"/>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de-DE" sz="1800" b="0" i="0" u="none" strike="noStrike" kern="1200" cap="none" spc="0" normalizeH="0" baseline="0" noProof="0">
                <a:ln>
                  <a:noFill/>
                </a:ln>
                <a:solidFill>
                  <a:srgbClr val="FFC000"/>
                </a:solidFill>
                <a:effectLst/>
                <a:uLnTx/>
                <a:uFillTx/>
                <a:latin typeface="Calibri" pitchFamily="34" charset="0"/>
                <a:ea typeface="+mn-ea"/>
                <a:cs typeface="+mn-cs"/>
              </a:endParaRPr>
            </a:p>
          </p:txBody>
        </p:sp>
        <p:sp>
          <p:nvSpPr>
            <p:cNvPr id="40" name="Togo" descr="© INSCALE GmbH, 05.05.2010&#10;http://www.presentationload.com/"/>
            <p:cNvSpPr>
              <a:spLocks/>
            </p:cNvSpPr>
            <p:nvPr/>
          </p:nvSpPr>
          <p:spPr bwMode="gray">
            <a:xfrm>
              <a:off x="4463181" y="4026993"/>
              <a:ext cx="46075" cy="126154"/>
            </a:xfrm>
            <a:custGeom>
              <a:avLst/>
              <a:gdLst>
                <a:gd name="T0" fmla="*/ 2147483647 w 138"/>
                <a:gd name="T1" fmla="*/ 2147483647 h 402"/>
                <a:gd name="T2" fmla="*/ 2147483647 w 138"/>
                <a:gd name="T3" fmla="*/ 2147483647 h 402"/>
                <a:gd name="T4" fmla="*/ 2147483647 w 138"/>
                <a:gd name="T5" fmla="*/ 2147483647 h 402"/>
                <a:gd name="T6" fmla="*/ 2147483647 w 138"/>
                <a:gd name="T7" fmla="*/ 2147483647 h 402"/>
                <a:gd name="T8" fmla="*/ 2147483647 w 138"/>
                <a:gd name="T9" fmla="*/ 2147483647 h 402"/>
                <a:gd name="T10" fmla="*/ 2147483647 w 138"/>
                <a:gd name="T11" fmla="*/ 2147483647 h 402"/>
                <a:gd name="T12" fmla="*/ 2147483647 w 138"/>
                <a:gd name="T13" fmla="*/ 2147483647 h 402"/>
                <a:gd name="T14" fmla="*/ 2147483647 w 138"/>
                <a:gd name="T15" fmla="*/ 2147483647 h 402"/>
                <a:gd name="T16" fmla="*/ 2147483647 w 138"/>
                <a:gd name="T17" fmla="*/ 2147483647 h 402"/>
                <a:gd name="T18" fmla="*/ 2147483647 w 138"/>
                <a:gd name="T19" fmla="*/ 2147483647 h 402"/>
                <a:gd name="T20" fmla="*/ 2147483647 w 138"/>
                <a:gd name="T21" fmla="*/ 2147483647 h 402"/>
                <a:gd name="T22" fmla="*/ 2147483647 w 138"/>
                <a:gd name="T23" fmla="*/ 2147483647 h 402"/>
                <a:gd name="T24" fmla="*/ 2147483647 w 138"/>
                <a:gd name="T25" fmla="*/ 2147483647 h 402"/>
                <a:gd name="T26" fmla="*/ 2147483647 w 138"/>
                <a:gd name="T27" fmla="*/ 2147483647 h 402"/>
                <a:gd name="T28" fmla="*/ 2147483647 w 138"/>
                <a:gd name="T29" fmla="*/ 2147483647 h 402"/>
                <a:gd name="T30" fmla="*/ 2147483647 w 138"/>
                <a:gd name="T31" fmla="*/ 2147483647 h 402"/>
                <a:gd name="T32" fmla="*/ 2147483647 w 138"/>
                <a:gd name="T33" fmla="*/ 0 h 402"/>
                <a:gd name="T34" fmla="*/ 2147483647 w 138"/>
                <a:gd name="T35" fmla="*/ 0 h 402"/>
                <a:gd name="T36" fmla="*/ 2147483647 w 138"/>
                <a:gd name="T37" fmla="*/ 2147483647 h 402"/>
                <a:gd name="T38" fmla="*/ 0 w 138"/>
                <a:gd name="T39" fmla="*/ 2147483647 h 402"/>
                <a:gd name="T40" fmla="*/ 2147483647 w 138"/>
                <a:gd name="T41" fmla="*/ 2147483647 h 402"/>
                <a:gd name="T42" fmla="*/ 2147483647 w 138"/>
                <a:gd name="T43" fmla="*/ 2147483647 h 402"/>
                <a:gd name="T44" fmla="*/ 2147483647 w 138"/>
                <a:gd name="T45" fmla="*/ 2147483647 h 402"/>
                <a:gd name="T46" fmla="*/ 2147483647 w 138"/>
                <a:gd name="T47" fmla="*/ 2147483647 h 402"/>
                <a:gd name="T48" fmla="*/ 2147483647 w 138"/>
                <a:gd name="T49" fmla="*/ 2147483647 h 402"/>
                <a:gd name="T50" fmla="*/ 2147483647 w 138"/>
                <a:gd name="T51" fmla="*/ 2147483647 h 402"/>
                <a:gd name="T52" fmla="*/ 2147483647 w 138"/>
                <a:gd name="T53" fmla="*/ 2147483647 h 402"/>
                <a:gd name="T54" fmla="*/ 2147483647 w 138"/>
                <a:gd name="T55" fmla="*/ 2147483647 h 402"/>
                <a:gd name="T56" fmla="*/ 2147483647 w 138"/>
                <a:gd name="T57" fmla="*/ 2147483647 h 402"/>
                <a:gd name="T58" fmla="*/ 2147483647 w 138"/>
                <a:gd name="T59" fmla="*/ 2147483647 h 402"/>
                <a:gd name="T60" fmla="*/ 2147483647 w 138"/>
                <a:gd name="T61" fmla="*/ 2147483647 h 402"/>
                <a:gd name="T62" fmla="*/ 2147483647 w 138"/>
                <a:gd name="T63" fmla="*/ 2147483647 h 402"/>
                <a:gd name="T64" fmla="*/ 2147483647 w 138"/>
                <a:gd name="T65" fmla="*/ 2147483647 h 402"/>
                <a:gd name="T66" fmla="*/ 2147483647 w 138"/>
                <a:gd name="T67" fmla="*/ 2147483647 h 402"/>
                <a:gd name="T68" fmla="*/ 2147483647 w 138"/>
                <a:gd name="T69" fmla="*/ 2147483647 h 402"/>
                <a:gd name="T70" fmla="*/ 2147483647 w 138"/>
                <a:gd name="T71" fmla="*/ 2147483647 h 402"/>
                <a:gd name="T72" fmla="*/ 2147483647 w 138"/>
                <a:gd name="T73" fmla="*/ 2147483647 h 402"/>
                <a:gd name="T74" fmla="*/ 2147483647 w 138"/>
                <a:gd name="T75" fmla="*/ 2147483647 h 402"/>
                <a:gd name="T76" fmla="*/ 2147483647 w 138"/>
                <a:gd name="T77" fmla="*/ 2147483647 h 402"/>
                <a:gd name="T78" fmla="*/ 2147483647 w 138"/>
                <a:gd name="T79" fmla="*/ 2147483647 h 402"/>
                <a:gd name="T80" fmla="*/ 2147483647 w 138"/>
                <a:gd name="T81" fmla="*/ 2147483647 h 402"/>
                <a:gd name="T82" fmla="*/ 2147483647 w 138"/>
                <a:gd name="T83" fmla="*/ 2147483647 h 402"/>
                <a:gd name="T84" fmla="*/ 2147483647 w 138"/>
                <a:gd name="T85" fmla="*/ 2147483647 h 402"/>
                <a:gd name="T86" fmla="*/ 2147483647 w 138"/>
                <a:gd name="T87" fmla="*/ 2147483647 h 402"/>
                <a:gd name="T88" fmla="*/ 2147483647 w 138"/>
                <a:gd name="T89" fmla="*/ 2147483647 h 402"/>
                <a:gd name="T90" fmla="*/ 2147483647 w 138"/>
                <a:gd name="T91" fmla="*/ 2147483647 h 402"/>
                <a:gd name="T92" fmla="*/ 2147483647 w 138"/>
                <a:gd name="T93" fmla="*/ 2147483647 h 402"/>
                <a:gd name="T94" fmla="*/ 2147483647 w 138"/>
                <a:gd name="T95" fmla="*/ 2147483647 h 402"/>
                <a:gd name="T96" fmla="*/ 2147483647 w 138"/>
                <a:gd name="T97" fmla="*/ 2147483647 h 402"/>
                <a:gd name="T98" fmla="*/ 2147483647 w 138"/>
                <a:gd name="T99" fmla="*/ 2147483647 h 402"/>
                <a:gd name="T100" fmla="*/ 2147483647 w 138"/>
                <a:gd name="T101" fmla="*/ 2147483647 h 402"/>
                <a:gd name="T102" fmla="*/ 2147483647 w 138"/>
                <a:gd name="T103" fmla="*/ 2147483647 h 402"/>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138"/>
                <a:gd name="T157" fmla="*/ 0 h 402"/>
                <a:gd name="T158" fmla="*/ 138 w 138"/>
                <a:gd name="T159" fmla="*/ 402 h 402"/>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138" h="402">
                  <a:moveTo>
                    <a:pt x="126" y="354"/>
                  </a:moveTo>
                  <a:lnTo>
                    <a:pt x="120" y="288"/>
                  </a:lnTo>
                  <a:lnTo>
                    <a:pt x="132" y="282"/>
                  </a:lnTo>
                  <a:lnTo>
                    <a:pt x="120" y="270"/>
                  </a:lnTo>
                  <a:lnTo>
                    <a:pt x="120" y="210"/>
                  </a:lnTo>
                  <a:lnTo>
                    <a:pt x="132" y="198"/>
                  </a:lnTo>
                  <a:lnTo>
                    <a:pt x="126" y="186"/>
                  </a:lnTo>
                  <a:lnTo>
                    <a:pt x="126" y="156"/>
                  </a:lnTo>
                  <a:lnTo>
                    <a:pt x="120" y="144"/>
                  </a:lnTo>
                  <a:lnTo>
                    <a:pt x="108" y="132"/>
                  </a:lnTo>
                  <a:lnTo>
                    <a:pt x="108" y="90"/>
                  </a:lnTo>
                  <a:lnTo>
                    <a:pt x="78" y="60"/>
                  </a:lnTo>
                  <a:lnTo>
                    <a:pt x="66" y="54"/>
                  </a:lnTo>
                  <a:lnTo>
                    <a:pt x="66" y="24"/>
                  </a:lnTo>
                  <a:lnTo>
                    <a:pt x="72" y="6"/>
                  </a:lnTo>
                  <a:lnTo>
                    <a:pt x="54" y="6"/>
                  </a:lnTo>
                  <a:lnTo>
                    <a:pt x="30" y="0"/>
                  </a:lnTo>
                  <a:lnTo>
                    <a:pt x="12" y="0"/>
                  </a:lnTo>
                  <a:lnTo>
                    <a:pt x="12" y="18"/>
                  </a:lnTo>
                  <a:lnTo>
                    <a:pt x="0" y="30"/>
                  </a:lnTo>
                  <a:lnTo>
                    <a:pt x="36" y="54"/>
                  </a:lnTo>
                  <a:lnTo>
                    <a:pt x="24" y="132"/>
                  </a:lnTo>
                  <a:lnTo>
                    <a:pt x="36" y="120"/>
                  </a:lnTo>
                  <a:lnTo>
                    <a:pt x="42" y="120"/>
                  </a:lnTo>
                  <a:lnTo>
                    <a:pt x="48" y="126"/>
                  </a:lnTo>
                  <a:lnTo>
                    <a:pt x="48" y="150"/>
                  </a:lnTo>
                  <a:lnTo>
                    <a:pt x="42" y="162"/>
                  </a:lnTo>
                  <a:lnTo>
                    <a:pt x="54" y="174"/>
                  </a:lnTo>
                  <a:lnTo>
                    <a:pt x="54" y="180"/>
                  </a:lnTo>
                  <a:lnTo>
                    <a:pt x="48" y="180"/>
                  </a:lnTo>
                  <a:lnTo>
                    <a:pt x="36" y="192"/>
                  </a:lnTo>
                  <a:lnTo>
                    <a:pt x="42" y="198"/>
                  </a:lnTo>
                  <a:lnTo>
                    <a:pt x="54" y="204"/>
                  </a:lnTo>
                  <a:lnTo>
                    <a:pt x="60" y="210"/>
                  </a:lnTo>
                  <a:lnTo>
                    <a:pt x="60" y="222"/>
                  </a:lnTo>
                  <a:lnTo>
                    <a:pt x="54" y="228"/>
                  </a:lnTo>
                  <a:lnTo>
                    <a:pt x="54" y="270"/>
                  </a:lnTo>
                  <a:lnTo>
                    <a:pt x="48" y="276"/>
                  </a:lnTo>
                  <a:lnTo>
                    <a:pt x="48" y="294"/>
                  </a:lnTo>
                  <a:lnTo>
                    <a:pt x="54" y="294"/>
                  </a:lnTo>
                  <a:lnTo>
                    <a:pt x="60" y="300"/>
                  </a:lnTo>
                  <a:lnTo>
                    <a:pt x="60" y="312"/>
                  </a:lnTo>
                  <a:lnTo>
                    <a:pt x="54" y="324"/>
                  </a:lnTo>
                  <a:lnTo>
                    <a:pt x="54" y="336"/>
                  </a:lnTo>
                  <a:lnTo>
                    <a:pt x="66" y="378"/>
                  </a:lnTo>
                  <a:lnTo>
                    <a:pt x="96" y="402"/>
                  </a:lnTo>
                  <a:lnTo>
                    <a:pt x="108" y="396"/>
                  </a:lnTo>
                  <a:lnTo>
                    <a:pt x="120" y="384"/>
                  </a:lnTo>
                  <a:lnTo>
                    <a:pt x="138" y="384"/>
                  </a:lnTo>
                  <a:lnTo>
                    <a:pt x="138" y="372"/>
                  </a:lnTo>
                  <a:lnTo>
                    <a:pt x="126" y="360"/>
                  </a:lnTo>
                  <a:lnTo>
                    <a:pt x="126" y="354"/>
                  </a:lnTo>
                  <a:close/>
                </a:path>
              </a:pathLst>
            </a:custGeom>
            <a:grpFill/>
            <a:ln w="3175">
              <a:solidFill>
                <a:schemeClr val="bg1"/>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de-DE" sz="1800" b="0" i="0" u="none" strike="noStrike" kern="1200" cap="none" spc="0" normalizeH="0" baseline="0" noProof="0">
                <a:ln>
                  <a:noFill/>
                </a:ln>
                <a:solidFill>
                  <a:srgbClr val="FFC000"/>
                </a:solidFill>
                <a:effectLst/>
                <a:uLnTx/>
                <a:uFillTx/>
                <a:latin typeface="Calibri" pitchFamily="34" charset="0"/>
                <a:ea typeface="+mn-ea"/>
                <a:cs typeface="+mn-cs"/>
              </a:endParaRPr>
            </a:p>
          </p:txBody>
        </p:sp>
        <p:sp>
          <p:nvSpPr>
            <p:cNvPr id="41" name="Thailand" descr="© INSCALE GmbH, 05.05.2010&#10;http://www.presentationload.com/"/>
            <p:cNvSpPr>
              <a:spLocks/>
            </p:cNvSpPr>
            <p:nvPr/>
          </p:nvSpPr>
          <p:spPr bwMode="gray">
            <a:xfrm>
              <a:off x="6687544" y="3793058"/>
              <a:ext cx="200935" cy="369886"/>
            </a:xfrm>
            <a:custGeom>
              <a:avLst/>
              <a:gdLst>
                <a:gd name="T0" fmla="*/ 2147483647 w 618"/>
                <a:gd name="T1" fmla="*/ 2147483647 h 1188"/>
                <a:gd name="T2" fmla="*/ 2147483647 w 618"/>
                <a:gd name="T3" fmla="*/ 2147483647 h 1188"/>
                <a:gd name="T4" fmla="*/ 2147483647 w 618"/>
                <a:gd name="T5" fmla="*/ 2147483647 h 1188"/>
                <a:gd name="T6" fmla="*/ 2147483647 w 618"/>
                <a:gd name="T7" fmla="*/ 2147483647 h 1188"/>
                <a:gd name="T8" fmla="*/ 2147483647 w 618"/>
                <a:gd name="T9" fmla="*/ 2147483647 h 1188"/>
                <a:gd name="T10" fmla="*/ 2147483647 w 618"/>
                <a:gd name="T11" fmla="*/ 2147483647 h 1188"/>
                <a:gd name="T12" fmla="*/ 2147483647 w 618"/>
                <a:gd name="T13" fmla="*/ 2147483647 h 1188"/>
                <a:gd name="T14" fmla="*/ 2147483647 w 618"/>
                <a:gd name="T15" fmla="*/ 2147483647 h 1188"/>
                <a:gd name="T16" fmla="*/ 2147483647 w 618"/>
                <a:gd name="T17" fmla="*/ 2147483647 h 1188"/>
                <a:gd name="T18" fmla="*/ 2147483647 w 618"/>
                <a:gd name="T19" fmla="*/ 2147483647 h 1188"/>
                <a:gd name="T20" fmla="*/ 2147483647 w 618"/>
                <a:gd name="T21" fmla="*/ 2147483647 h 1188"/>
                <a:gd name="T22" fmla="*/ 2147483647 w 618"/>
                <a:gd name="T23" fmla="*/ 2147483647 h 1188"/>
                <a:gd name="T24" fmla="*/ 2147483647 w 618"/>
                <a:gd name="T25" fmla="*/ 0 h 1188"/>
                <a:gd name="T26" fmla="*/ 2147483647 w 618"/>
                <a:gd name="T27" fmla="*/ 2147483647 h 1188"/>
                <a:gd name="T28" fmla="*/ 2147483647 w 618"/>
                <a:gd name="T29" fmla="*/ 2147483647 h 1188"/>
                <a:gd name="T30" fmla="*/ 2147483647 w 618"/>
                <a:gd name="T31" fmla="*/ 2147483647 h 1188"/>
                <a:gd name="T32" fmla="*/ 0 w 618"/>
                <a:gd name="T33" fmla="*/ 2147483647 h 1188"/>
                <a:gd name="T34" fmla="*/ 2147483647 w 618"/>
                <a:gd name="T35" fmla="*/ 2147483647 h 1188"/>
                <a:gd name="T36" fmla="*/ 2147483647 w 618"/>
                <a:gd name="T37" fmla="*/ 2147483647 h 1188"/>
                <a:gd name="T38" fmla="*/ 2147483647 w 618"/>
                <a:gd name="T39" fmla="*/ 2147483647 h 1188"/>
                <a:gd name="T40" fmla="*/ 2147483647 w 618"/>
                <a:gd name="T41" fmla="*/ 2147483647 h 1188"/>
                <a:gd name="T42" fmla="*/ 2147483647 w 618"/>
                <a:gd name="T43" fmla="*/ 2147483647 h 1188"/>
                <a:gd name="T44" fmla="*/ 2147483647 w 618"/>
                <a:gd name="T45" fmla="*/ 2147483647 h 1188"/>
                <a:gd name="T46" fmla="*/ 2147483647 w 618"/>
                <a:gd name="T47" fmla="*/ 2147483647 h 1188"/>
                <a:gd name="T48" fmla="*/ 2147483647 w 618"/>
                <a:gd name="T49" fmla="*/ 2147483647 h 1188"/>
                <a:gd name="T50" fmla="*/ 2147483647 w 618"/>
                <a:gd name="T51" fmla="*/ 2147483647 h 1188"/>
                <a:gd name="T52" fmla="*/ 2147483647 w 618"/>
                <a:gd name="T53" fmla="*/ 2147483647 h 1188"/>
                <a:gd name="T54" fmla="*/ 2147483647 w 618"/>
                <a:gd name="T55" fmla="*/ 2147483647 h 1188"/>
                <a:gd name="T56" fmla="*/ 2147483647 w 618"/>
                <a:gd name="T57" fmla="*/ 2147483647 h 1188"/>
                <a:gd name="T58" fmla="*/ 2147483647 w 618"/>
                <a:gd name="T59" fmla="*/ 2147483647 h 1188"/>
                <a:gd name="T60" fmla="*/ 2147483647 w 618"/>
                <a:gd name="T61" fmla="*/ 2147483647 h 1188"/>
                <a:gd name="T62" fmla="*/ 2147483647 w 618"/>
                <a:gd name="T63" fmla="*/ 2147483647 h 1188"/>
                <a:gd name="T64" fmla="*/ 2147483647 w 618"/>
                <a:gd name="T65" fmla="*/ 2147483647 h 1188"/>
                <a:gd name="T66" fmla="*/ 2147483647 w 618"/>
                <a:gd name="T67" fmla="*/ 2147483647 h 1188"/>
                <a:gd name="T68" fmla="*/ 2147483647 w 618"/>
                <a:gd name="T69" fmla="*/ 2147483647 h 1188"/>
                <a:gd name="T70" fmla="*/ 2147483647 w 618"/>
                <a:gd name="T71" fmla="*/ 2147483647 h 1188"/>
                <a:gd name="T72" fmla="*/ 2147483647 w 618"/>
                <a:gd name="T73" fmla="*/ 2147483647 h 1188"/>
                <a:gd name="T74" fmla="*/ 2147483647 w 618"/>
                <a:gd name="T75" fmla="*/ 2147483647 h 1188"/>
                <a:gd name="T76" fmla="*/ 2147483647 w 618"/>
                <a:gd name="T77" fmla="*/ 2147483647 h 1188"/>
                <a:gd name="T78" fmla="*/ 2147483647 w 618"/>
                <a:gd name="T79" fmla="*/ 2147483647 h 1188"/>
                <a:gd name="T80" fmla="*/ 2147483647 w 618"/>
                <a:gd name="T81" fmla="*/ 2147483647 h 1188"/>
                <a:gd name="T82" fmla="*/ 2147483647 w 618"/>
                <a:gd name="T83" fmla="*/ 2147483647 h 1188"/>
                <a:gd name="T84" fmla="*/ 2147483647 w 618"/>
                <a:gd name="T85" fmla="*/ 2147483647 h 1188"/>
                <a:gd name="T86" fmla="*/ 2147483647 w 618"/>
                <a:gd name="T87" fmla="*/ 2147483647 h 1188"/>
                <a:gd name="T88" fmla="*/ 2147483647 w 618"/>
                <a:gd name="T89" fmla="*/ 2147483647 h 1188"/>
                <a:gd name="T90" fmla="*/ 2147483647 w 618"/>
                <a:gd name="T91" fmla="*/ 2147483647 h 1188"/>
                <a:gd name="T92" fmla="*/ 2147483647 w 618"/>
                <a:gd name="T93" fmla="*/ 2147483647 h 1188"/>
                <a:gd name="T94" fmla="*/ 2147483647 w 618"/>
                <a:gd name="T95" fmla="*/ 2147483647 h 1188"/>
                <a:gd name="T96" fmla="*/ 2147483647 w 618"/>
                <a:gd name="T97" fmla="*/ 2147483647 h 1188"/>
                <a:gd name="T98" fmla="*/ 2147483647 w 618"/>
                <a:gd name="T99" fmla="*/ 2147483647 h 1188"/>
                <a:gd name="T100" fmla="*/ 2147483647 w 618"/>
                <a:gd name="T101" fmla="*/ 2147483647 h 1188"/>
                <a:gd name="T102" fmla="*/ 2147483647 w 618"/>
                <a:gd name="T103" fmla="*/ 2147483647 h 1188"/>
                <a:gd name="T104" fmla="*/ 2147483647 w 618"/>
                <a:gd name="T105" fmla="*/ 2147483647 h 1188"/>
                <a:gd name="T106" fmla="*/ 2147483647 w 618"/>
                <a:gd name="T107" fmla="*/ 2147483647 h 1188"/>
                <a:gd name="T108" fmla="*/ 2147483647 w 618"/>
                <a:gd name="T109" fmla="*/ 2147483647 h 1188"/>
                <a:gd name="T110" fmla="*/ 2147483647 w 618"/>
                <a:gd name="T111" fmla="*/ 2147483647 h 1188"/>
                <a:gd name="T112" fmla="*/ 2147483647 w 618"/>
                <a:gd name="T113" fmla="*/ 2147483647 h 1188"/>
                <a:gd name="T114" fmla="*/ 2147483647 w 618"/>
                <a:gd name="T115" fmla="*/ 2147483647 h 1188"/>
                <a:gd name="T116" fmla="*/ 2147483647 w 618"/>
                <a:gd name="T117" fmla="*/ 2147483647 h 1188"/>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618"/>
                <a:gd name="T178" fmla="*/ 0 h 1188"/>
                <a:gd name="T179" fmla="*/ 618 w 618"/>
                <a:gd name="T180" fmla="*/ 1188 h 1188"/>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618" h="1188">
                  <a:moveTo>
                    <a:pt x="588" y="426"/>
                  </a:moveTo>
                  <a:lnTo>
                    <a:pt x="588" y="420"/>
                  </a:lnTo>
                  <a:lnTo>
                    <a:pt x="594" y="414"/>
                  </a:lnTo>
                  <a:lnTo>
                    <a:pt x="606" y="390"/>
                  </a:lnTo>
                  <a:lnTo>
                    <a:pt x="594" y="378"/>
                  </a:lnTo>
                  <a:lnTo>
                    <a:pt x="594" y="372"/>
                  </a:lnTo>
                  <a:lnTo>
                    <a:pt x="588" y="378"/>
                  </a:lnTo>
                  <a:lnTo>
                    <a:pt x="588" y="366"/>
                  </a:lnTo>
                  <a:lnTo>
                    <a:pt x="582" y="360"/>
                  </a:lnTo>
                  <a:lnTo>
                    <a:pt x="582" y="354"/>
                  </a:lnTo>
                  <a:lnTo>
                    <a:pt x="546" y="318"/>
                  </a:lnTo>
                  <a:lnTo>
                    <a:pt x="534" y="294"/>
                  </a:lnTo>
                  <a:lnTo>
                    <a:pt x="534" y="282"/>
                  </a:lnTo>
                  <a:lnTo>
                    <a:pt x="528" y="240"/>
                  </a:lnTo>
                  <a:lnTo>
                    <a:pt x="510" y="222"/>
                  </a:lnTo>
                  <a:lnTo>
                    <a:pt x="498" y="216"/>
                  </a:lnTo>
                  <a:lnTo>
                    <a:pt x="480" y="204"/>
                  </a:lnTo>
                  <a:lnTo>
                    <a:pt x="468" y="192"/>
                  </a:lnTo>
                  <a:lnTo>
                    <a:pt x="468" y="180"/>
                  </a:lnTo>
                  <a:lnTo>
                    <a:pt x="462" y="174"/>
                  </a:lnTo>
                  <a:lnTo>
                    <a:pt x="438" y="174"/>
                  </a:lnTo>
                  <a:lnTo>
                    <a:pt x="426" y="168"/>
                  </a:lnTo>
                  <a:lnTo>
                    <a:pt x="420" y="162"/>
                  </a:lnTo>
                  <a:lnTo>
                    <a:pt x="402" y="162"/>
                  </a:lnTo>
                  <a:lnTo>
                    <a:pt x="396" y="168"/>
                  </a:lnTo>
                  <a:lnTo>
                    <a:pt x="396" y="180"/>
                  </a:lnTo>
                  <a:lnTo>
                    <a:pt x="378" y="198"/>
                  </a:lnTo>
                  <a:lnTo>
                    <a:pt x="360" y="198"/>
                  </a:lnTo>
                  <a:lnTo>
                    <a:pt x="336" y="186"/>
                  </a:lnTo>
                  <a:lnTo>
                    <a:pt x="330" y="180"/>
                  </a:lnTo>
                  <a:lnTo>
                    <a:pt x="318" y="180"/>
                  </a:lnTo>
                  <a:lnTo>
                    <a:pt x="312" y="186"/>
                  </a:lnTo>
                  <a:lnTo>
                    <a:pt x="306" y="198"/>
                  </a:lnTo>
                  <a:lnTo>
                    <a:pt x="294" y="210"/>
                  </a:lnTo>
                  <a:lnTo>
                    <a:pt x="294" y="216"/>
                  </a:lnTo>
                  <a:lnTo>
                    <a:pt x="288" y="222"/>
                  </a:lnTo>
                  <a:lnTo>
                    <a:pt x="264" y="234"/>
                  </a:lnTo>
                  <a:lnTo>
                    <a:pt x="246" y="234"/>
                  </a:lnTo>
                  <a:lnTo>
                    <a:pt x="246" y="222"/>
                  </a:lnTo>
                  <a:lnTo>
                    <a:pt x="270" y="174"/>
                  </a:lnTo>
                  <a:lnTo>
                    <a:pt x="270" y="162"/>
                  </a:lnTo>
                  <a:lnTo>
                    <a:pt x="264" y="156"/>
                  </a:lnTo>
                  <a:lnTo>
                    <a:pt x="252" y="156"/>
                  </a:lnTo>
                  <a:lnTo>
                    <a:pt x="264" y="144"/>
                  </a:lnTo>
                  <a:lnTo>
                    <a:pt x="270" y="132"/>
                  </a:lnTo>
                  <a:lnTo>
                    <a:pt x="270" y="120"/>
                  </a:lnTo>
                  <a:lnTo>
                    <a:pt x="264" y="108"/>
                  </a:lnTo>
                  <a:lnTo>
                    <a:pt x="258" y="102"/>
                  </a:lnTo>
                  <a:lnTo>
                    <a:pt x="264" y="96"/>
                  </a:lnTo>
                  <a:lnTo>
                    <a:pt x="264" y="66"/>
                  </a:lnTo>
                  <a:lnTo>
                    <a:pt x="252" y="60"/>
                  </a:lnTo>
                  <a:lnTo>
                    <a:pt x="246" y="60"/>
                  </a:lnTo>
                  <a:lnTo>
                    <a:pt x="240" y="66"/>
                  </a:lnTo>
                  <a:lnTo>
                    <a:pt x="228" y="66"/>
                  </a:lnTo>
                  <a:lnTo>
                    <a:pt x="228" y="78"/>
                  </a:lnTo>
                  <a:lnTo>
                    <a:pt x="210" y="78"/>
                  </a:lnTo>
                  <a:lnTo>
                    <a:pt x="204" y="72"/>
                  </a:lnTo>
                  <a:lnTo>
                    <a:pt x="198" y="60"/>
                  </a:lnTo>
                  <a:lnTo>
                    <a:pt x="198" y="36"/>
                  </a:lnTo>
                  <a:lnTo>
                    <a:pt x="204" y="30"/>
                  </a:lnTo>
                  <a:lnTo>
                    <a:pt x="204" y="18"/>
                  </a:lnTo>
                  <a:lnTo>
                    <a:pt x="198" y="12"/>
                  </a:lnTo>
                  <a:lnTo>
                    <a:pt x="186" y="12"/>
                  </a:lnTo>
                  <a:lnTo>
                    <a:pt x="174" y="6"/>
                  </a:lnTo>
                  <a:lnTo>
                    <a:pt x="168" y="0"/>
                  </a:lnTo>
                  <a:lnTo>
                    <a:pt x="138" y="0"/>
                  </a:lnTo>
                  <a:lnTo>
                    <a:pt x="132" y="6"/>
                  </a:lnTo>
                  <a:lnTo>
                    <a:pt x="126" y="6"/>
                  </a:lnTo>
                  <a:lnTo>
                    <a:pt x="120" y="30"/>
                  </a:lnTo>
                  <a:lnTo>
                    <a:pt x="96" y="30"/>
                  </a:lnTo>
                  <a:lnTo>
                    <a:pt x="96" y="36"/>
                  </a:lnTo>
                  <a:lnTo>
                    <a:pt x="90" y="42"/>
                  </a:lnTo>
                  <a:lnTo>
                    <a:pt x="84" y="54"/>
                  </a:lnTo>
                  <a:lnTo>
                    <a:pt x="78" y="60"/>
                  </a:lnTo>
                  <a:lnTo>
                    <a:pt x="66" y="60"/>
                  </a:lnTo>
                  <a:lnTo>
                    <a:pt x="54" y="54"/>
                  </a:lnTo>
                  <a:lnTo>
                    <a:pt x="24" y="54"/>
                  </a:lnTo>
                  <a:lnTo>
                    <a:pt x="24" y="102"/>
                  </a:lnTo>
                  <a:lnTo>
                    <a:pt x="18" y="108"/>
                  </a:lnTo>
                  <a:lnTo>
                    <a:pt x="12" y="108"/>
                  </a:lnTo>
                  <a:lnTo>
                    <a:pt x="6" y="114"/>
                  </a:lnTo>
                  <a:lnTo>
                    <a:pt x="6" y="120"/>
                  </a:lnTo>
                  <a:lnTo>
                    <a:pt x="24" y="138"/>
                  </a:lnTo>
                  <a:lnTo>
                    <a:pt x="24" y="156"/>
                  </a:lnTo>
                  <a:lnTo>
                    <a:pt x="0" y="156"/>
                  </a:lnTo>
                  <a:lnTo>
                    <a:pt x="0" y="162"/>
                  </a:lnTo>
                  <a:lnTo>
                    <a:pt x="24" y="186"/>
                  </a:lnTo>
                  <a:lnTo>
                    <a:pt x="36" y="192"/>
                  </a:lnTo>
                  <a:lnTo>
                    <a:pt x="30" y="216"/>
                  </a:lnTo>
                  <a:lnTo>
                    <a:pt x="36" y="216"/>
                  </a:lnTo>
                  <a:lnTo>
                    <a:pt x="36" y="222"/>
                  </a:lnTo>
                  <a:lnTo>
                    <a:pt x="42" y="234"/>
                  </a:lnTo>
                  <a:lnTo>
                    <a:pt x="60" y="252"/>
                  </a:lnTo>
                  <a:lnTo>
                    <a:pt x="72" y="258"/>
                  </a:lnTo>
                  <a:lnTo>
                    <a:pt x="84" y="270"/>
                  </a:lnTo>
                  <a:lnTo>
                    <a:pt x="96" y="276"/>
                  </a:lnTo>
                  <a:lnTo>
                    <a:pt x="102" y="282"/>
                  </a:lnTo>
                  <a:lnTo>
                    <a:pt x="102" y="288"/>
                  </a:lnTo>
                  <a:lnTo>
                    <a:pt x="96" y="288"/>
                  </a:lnTo>
                  <a:lnTo>
                    <a:pt x="96" y="306"/>
                  </a:lnTo>
                  <a:lnTo>
                    <a:pt x="102" y="318"/>
                  </a:lnTo>
                  <a:lnTo>
                    <a:pt x="108" y="324"/>
                  </a:lnTo>
                  <a:lnTo>
                    <a:pt x="114" y="324"/>
                  </a:lnTo>
                  <a:lnTo>
                    <a:pt x="120" y="318"/>
                  </a:lnTo>
                  <a:lnTo>
                    <a:pt x="126" y="324"/>
                  </a:lnTo>
                  <a:lnTo>
                    <a:pt x="126" y="342"/>
                  </a:lnTo>
                  <a:lnTo>
                    <a:pt x="120" y="348"/>
                  </a:lnTo>
                  <a:lnTo>
                    <a:pt x="108" y="348"/>
                  </a:lnTo>
                  <a:lnTo>
                    <a:pt x="114" y="360"/>
                  </a:lnTo>
                  <a:lnTo>
                    <a:pt x="114" y="384"/>
                  </a:lnTo>
                  <a:lnTo>
                    <a:pt x="108" y="396"/>
                  </a:lnTo>
                  <a:lnTo>
                    <a:pt x="102" y="402"/>
                  </a:lnTo>
                  <a:lnTo>
                    <a:pt x="84" y="438"/>
                  </a:lnTo>
                  <a:lnTo>
                    <a:pt x="90" y="444"/>
                  </a:lnTo>
                  <a:lnTo>
                    <a:pt x="90" y="450"/>
                  </a:lnTo>
                  <a:lnTo>
                    <a:pt x="96" y="456"/>
                  </a:lnTo>
                  <a:lnTo>
                    <a:pt x="102" y="468"/>
                  </a:lnTo>
                  <a:lnTo>
                    <a:pt x="108" y="474"/>
                  </a:lnTo>
                  <a:lnTo>
                    <a:pt x="114" y="486"/>
                  </a:lnTo>
                  <a:lnTo>
                    <a:pt x="156" y="528"/>
                  </a:lnTo>
                  <a:lnTo>
                    <a:pt x="162" y="540"/>
                  </a:lnTo>
                  <a:lnTo>
                    <a:pt x="162" y="570"/>
                  </a:lnTo>
                  <a:lnTo>
                    <a:pt x="168" y="588"/>
                  </a:lnTo>
                  <a:lnTo>
                    <a:pt x="168" y="612"/>
                  </a:lnTo>
                  <a:lnTo>
                    <a:pt x="192" y="636"/>
                  </a:lnTo>
                  <a:lnTo>
                    <a:pt x="192" y="660"/>
                  </a:lnTo>
                  <a:lnTo>
                    <a:pt x="198" y="672"/>
                  </a:lnTo>
                  <a:lnTo>
                    <a:pt x="198" y="702"/>
                  </a:lnTo>
                  <a:lnTo>
                    <a:pt x="192" y="714"/>
                  </a:lnTo>
                  <a:lnTo>
                    <a:pt x="192" y="732"/>
                  </a:lnTo>
                  <a:lnTo>
                    <a:pt x="174" y="768"/>
                  </a:lnTo>
                  <a:lnTo>
                    <a:pt x="156" y="786"/>
                  </a:lnTo>
                  <a:lnTo>
                    <a:pt x="156" y="798"/>
                  </a:lnTo>
                  <a:lnTo>
                    <a:pt x="162" y="804"/>
                  </a:lnTo>
                  <a:lnTo>
                    <a:pt x="162" y="816"/>
                  </a:lnTo>
                  <a:lnTo>
                    <a:pt x="156" y="828"/>
                  </a:lnTo>
                  <a:lnTo>
                    <a:pt x="150" y="834"/>
                  </a:lnTo>
                  <a:lnTo>
                    <a:pt x="144" y="846"/>
                  </a:lnTo>
                  <a:lnTo>
                    <a:pt x="144" y="852"/>
                  </a:lnTo>
                  <a:lnTo>
                    <a:pt x="138" y="858"/>
                  </a:lnTo>
                  <a:lnTo>
                    <a:pt x="132" y="876"/>
                  </a:lnTo>
                  <a:lnTo>
                    <a:pt x="126" y="888"/>
                  </a:lnTo>
                  <a:lnTo>
                    <a:pt x="126" y="906"/>
                  </a:lnTo>
                  <a:lnTo>
                    <a:pt x="120" y="918"/>
                  </a:lnTo>
                  <a:lnTo>
                    <a:pt x="120" y="966"/>
                  </a:lnTo>
                  <a:lnTo>
                    <a:pt x="126" y="978"/>
                  </a:lnTo>
                  <a:lnTo>
                    <a:pt x="126" y="1008"/>
                  </a:lnTo>
                  <a:lnTo>
                    <a:pt x="132" y="1014"/>
                  </a:lnTo>
                  <a:lnTo>
                    <a:pt x="132" y="1020"/>
                  </a:lnTo>
                  <a:lnTo>
                    <a:pt x="138" y="1020"/>
                  </a:lnTo>
                  <a:lnTo>
                    <a:pt x="138" y="1002"/>
                  </a:lnTo>
                  <a:lnTo>
                    <a:pt x="144" y="990"/>
                  </a:lnTo>
                  <a:lnTo>
                    <a:pt x="144" y="978"/>
                  </a:lnTo>
                  <a:lnTo>
                    <a:pt x="150" y="972"/>
                  </a:lnTo>
                  <a:lnTo>
                    <a:pt x="150" y="996"/>
                  </a:lnTo>
                  <a:lnTo>
                    <a:pt x="162" y="996"/>
                  </a:lnTo>
                  <a:lnTo>
                    <a:pt x="186" y="1020"/>
                  </a:lnTo>
                  <a:lnTo>
                    <a:pt x="192" y="1032"/>
                  </a:lnTo>
                  <a:lnTo>
                    <a:pt x="198" y="1038"/>
                  </a:lnTo>
                  <a:lnTo>
                    <a:pt x="198" y="1044"/>
                  </a:lnTo>
                  <a:lnTo>
                    <a:pt x="228" y="1074"/>
                  </a:lnTo>
                  <a:lnTo>
                    <a:pt x="228" y="1098"/>
                  </a:lnTo>
                  <a:lnTo>
                    <a:pt x="234" y="1110"/>
                  </a:lnTo>
                  <a:lnTo>
                    <a:pt x="246" y="1128"/>
                  </a:lnTo>
                  <a:lnTo>
                    <a:pt x="264" y="1146"/>
                  </a:lnTo>
                  <a:lnTo>
                    <a:pt x="270" y="1140"/>
                  </a:lnTo>
                  <a:lnTo>
                    <a:pt x="276" y="1128"/>
                  </a:lnTo>
                  <a:lnTo>
                    <a:pt x="270" y="1122"/>
                  </a:lnTo>
                  <a:lnTo>
                    <a:pt x="270" y="1110"/>
                  </a:lnTo>
                  <a:lnTo>
                    <a:pt x="276" y="1104"/>
                  </a:lnTo>
                  <a:lnTo>
                    <a:pt x="288" y="1104"/>
                  </a:lnTo>
                  <a:lnTo>
                    <a:pt x="294" y="1116"/>
                  </a:lnTo>
                  <a:lnTo>
                    <a:pt x="294" y="1122"/>
                  </a:lnTo>
                  <a:lnTo>
                    <a:pt x="312" y="1122"/>
                  </a:lnTo>
                  <a:lnTo>
                    <a:pt x="324" y="1128"/>
                  </a:lnTo>
                  <a:lnTo>
                    <a:pt x="330" y="1134"/>
                  </a:lnTo>
                  <a:lnTo>
                    <a:pt x="330" y="1146"/>
                  </a:lnTo>
                  <a:lnTo>
                    <a:pt x="342" y="1146"/>
                  </a:lnTo>
                  <a:lnTo>
                    <a:pt x="342" y="1158"/>
                  </a:lnTo>
                  <a:lnTo>
                    <a:pt x="330" y="1170"/>
                  </a:lnTo>
                  <a:lnTo>
                    <a:pt x="330" y="1176"/>
                  </a:lnTo>
                  <a:lnTo>
                    <a:pt x="336" y="1182"/>
                  </a:lnTo>
                  <a:lnTo>
                    <a:pt x="354" y="1182"/>
                  </a:lnTo>
                  <a:lnTo>
                    <a:pt x="354" y="1176"/>
                  </a:lnTo>
                  <a:lnTo>
                    <a:pt x="366" y="1176"/>
                  </a:lnTo>
                  <a:lnTo>
                    <a:pt x="372" y="1170"/>
                  </a:lnTo>
                  <a:lnTo>
                    <a:pt x="378" y="1170"/>
                  </a:lnTo>
                  <a:lnTo>
                    <a:pt x="396" y="1188"/>
                  </a:lnTo>
                  <a:lnTo>
                    <a:pt x="402" y="1182"/>
                  </a:lnTo>
                  <a:lnTo>
                    <a:pt x="402" y="1176"/>
                  </a:lnTo>
                  <a:lnTo>
                    <a:pt x="408" y="1164"/>
                  </a:lnTo>
                  <a:lnTo>
                    <a:pt x="414" y="1158"/>
                  </a:lnTo>
                  <a:lnTo>
                    <a:pt x="420" y="1146"/>
                  </a:lnTo>
                  <a:lnTo>
                    <a:pt x="396" y="1134"/>
                  </a:lnTo>
                  <a:lnTo>
                    <a:pt x="390" y="1128"/>
                  </a:lnTo>
                  <a:lnTo>
                    <a:pt x="390" y="1116"/>
                  </a:lnTo>
                  <a:lnTo>
                    <a:pt x="384" y="1104"/>
                  </a:lnTo>
                  <a:lnTo>
                    <a:pt x="384" y="1092"/>
                  </a:lnTo>
                  <a:lnTo>
                    <a:pt x="378" y="1080"/>
                  </a:lnTo>
                  <a:lnTo>
                    <a:pt x="372" y="1074"/>
                  </a:lnTo>
                  <a:lnTo>
                    <a:pt x="354" y="1074"/>
                  </a:lnTo>
                  <a:lnTo>
                    <a:pt x="342" y="1080"/>
                  </a:lnTo>
                  <a:lnTo>
                    <a:pt x="336" y="1086"/>
                  </a:lnTo>
                  <a:lnTo>
                    <a:pt x="318" y="1086"/>
                  </a:lnTo>
                  <a:lnTo>
                    <a:pt x="312" y="1080"/>
                  </a:lnTo>
                  <a:lnTo>
                    <a:pt x="306" y="1068"/>
                  </a:lnTo>
                  <a:lnTo>
                    <a:pt x="306" y="1056"/>
                  </a:lnTo>
                  <a:lnTo>
                    <a:pt x="294" y="1032"/>
                  </a:lnTo>
                  <a:lnTo>
                    <a:pt x="288" y="1032"/>
                  </a:lnTo>
                  <a:lnTo>
                    <a:pt x="288" y="1050"/>
                  </a:lnTo>
                  <a:lnTo>
                    <a:pt x="282" y="1056"/>
                  </a:lnTo>
                  <a:lnTo>
                    <a:pt x="276" y="1056"/>
                  </a:lnTo>
                  <a:lnTo>
                    <a:pt x="270" y="1044"/>
                  </a:lnTo>
                  <a:lnTo>
                    <a:pt x="264" y="1038"/>
                  </a:lnTo>
                  <a:lnTo>
                    <a:pt x="258" y="1026"/>
                  </a:lnTo>
                  <a:lnTo>
                    <a:pt x="258" y="1014"/>
                  </a:lnTo>
                  <a:lnTo>
                    <a:pt x="270" y="1002"/>
                  </a:lnTo>
                  <a:lnTo>
                    <a:pt x="270" y="1008"/>
                  </a:lnTo>
                  <a:lnTo>
                    <a:pt x="276" y="1008"/>
                  </a:lnTo>
                  <a:lnTo>
                    <a:pt x="276" y="1014"/>
                  </a:lnTo>
                  <a:lnTo>
                    <a:pt x="282" y="1014"/>
                  </a:lnTo>
                  <a:lnTo>
                    <a:pt x="288" y="1008"/>
                  </a:lnTo>
                  <a:lnTo>
                    <a:pt x="282" y="1002"/>
                  </a:lnTo>
                  <a:lnTo>
                    <a:pt x="282" y="990"/>
                  </a:lnTo>
                  <a:lnTo>
                    <a:pt x="276" y="978"/>
                  </a:lnTo>
                  <a:lnTo>
                    <a:pt x="270" y="972"/>
                  </a:lnTo>
                  <a:lnTo>
                    <a:pt x="270" y="960"/>
                  </a:lnTo>
                  <a:lnTo>
                    <a:pt x="258" y="948"/>
                  </a:lnTo>
                  <a:lnTo>
                    <a:pt x="246" y="948"/>
                  </a:lnTo>
                  <a:lnTo>
                    <a:pt x="246" y="894"/>
                  </a:lnTo>
                  <a:lnTo>
                    <a:pt x="192" y="906"/>
                  </a:lnTo>
                  <a:lnTo>
                    <a:pt x="192" y="864"/>
                  </a:lnTo>
                  <a:lnTo>
                    <a:pt x="186" y="828"/>
                  </a:lnTo>
                  <a:lnTo>
                    <a:pt x="186" y="804"/>
                  </a:lnTo>
                  <a:lnTo>
                    <a:pt x="180" y="792"/>
                  </a:lnTo>
                  <a:lnTo>
                    <a:pt x="174" y="786"/>
                  </a:lnTo>
                  <a:lnTo>
                    <a:pt x="180" y="786"/>
                  </a:lnTo>
                  <a:lnTo>
                    <a:pt x="192" y="774"/>
                  </a:lnTo>
                  <a:lnTo>
                    <a:pt x="198" y="762"/>
                  </a:lnTo>
                  <a:lnTo>
                    <a:pt x="204" y="744"/>
                  </a:lnTo>
                  <a:lnTo>
                    <a:pt x="204" y="678"/>
                  </a:lnTo>
                  <a:lnTo>
                    <a:pt x="210" y="678"/>
                  </a:lnTo>
                  <a:lnTo>
                    <a:pt x="216" y="672"/>
                  </a:lnTo>
                  <a:lnTo>
                    <a:pt x="222" y="660"/>
                  </a:lnTo>
                  <a:lnTo>
                    <a:pt x="228" y="654"/>
                  </a:lnTo>
                  <a:lnTo>
                    <a:pt x="228" y="612"/>
                  </a:lnTo>
                  <a:lnTo>
                    <a:pt x="222" y="600"/>
                  </a:lnTo>
                  <a:lnTo>
                    <a:pt x="222" y="594"/>
                  </a:lnTo>
                  <a:lnTo>
                    <a:pt x="216" y="588"/>
                  </a:lnTo>
                  <a:lnTo>
                    <a:pt x="222" y="558"/>
                  </a:lnTo>
                  <a:lnTo>
                    <a:pt x="234" y="558"/>
                  </a:lnTo>
                  <a:lnTo>
                    <a:pt x="234" y="552"/>
                  </a:lnTo>
                  <a:lnTo>
                    <a:pt x="240" y="546"/>
                  </a:lnTo>
                  <a:lnTo>
                    <a:pt x="264" y="546"/>
                  </a:lnTo>
                  <a:lnTo>
                    <a:pt x="270" y="552"/>
                  </a:lnTo>
                  <a:lnTo>
                    <a:pt x="294" y="564"/>
                  </a:lnTo>
                  <a:lnTo>
                    <a:pt x="300" y="570"/>
                  </a:lnTo>
                  <a:lnTo>
                    <a:pt x="288" y="576"/>
                  </a:lnTo>
                  <a:lnTo>
                    <a:pt x="288" y="588"/>
                  </a:lnTo>
                  <a:lnTo>
                    <a:pt x="282" y="594"/>
                  </a:lnTo>
                  <a:lnTo>
                    <a:pt x="282" y="612"/>
                  </a:lnTo>
                  <a:lnTo>
                    <a:pt x="288" y="624"/>
                  </a:lnTo>
                  <a:lnTo>
                    <a:pt x="306" y="624"/>
                  </a:lnTo>
                  <a:lnTo>
                    <a:pt x="330" y="612"/>
                  </a:lnTo>
                  <a:lnTo>
                    <a:pt x="342" y="612"/>
                  </a:lnTo>
                  <a:lnTo>
                    <a:pt x="354" y="606"/>
                  </a:lnTo>
                  <a:lnTo>
                    <a:pt x="360" y="600"/>
                  </a:lnTo>
                  <a:lnTo>
                    <a:pt x="366" y="600"/>
                  </a:lnTo>
                  <a:lnTo>
                    <a:pt x="396" y="684"/>
                  </a:lnTo>
                  <a:lnTo>
                    <a:pt x="402" y="678"/>
                  </a:lnTo>
                  <a:lnTo>
                    <a:pt x="414" y="672"/>
                  </a:lnTo>
                  <a:lnTo>
                    <a:pt x="426" y="672"/>
                  </a:lnTo>
                  <a:lnTo>
                    <a:pt x="426" y="642"/>
                  </a:lnTo>
                  <a:lnTo>
                    <a:pt x="414" y="630"/>
                  </a:lnTo>
                  <a:lnTo>
                    <a:pt x="414" y="600"/>
                  </a:lnTo>
                  <a:lnTo>
                    <a:pt x="402" y="588"/>
                  </a:lnTo>
                  <a:lnTo>
                    <a:pt x="396" y="552"/>
                  </a:lnTo>
                  <a:lnTo>
                    <a:pt x="426" y="522"/>
                  </a:lnTo>
                  <a:lnTo>
                    <a:pt x="426" y="516"/>
                  </a:lnTo>
                  <a:lnTo>
                    <a:pt x="432" y="504"/>
                  </a:lnTo>
                  <a:lnTo>
                    <a:pt x="438" y="498"/>
                  </a:lnTo>
                  <a:lnTo>
                    <a:pt x="450" y="492"/>
                  </a:lnTo>
                  <a:lnTo>
                    <a:pt x="468" y="486"/>
                  </a:lnTo>
                  <a:lnTo>
                    <a:pt x="504" y="486"/>
                  </a:lnTo>
                  <a:lnTo>
                    <a:pt x="510" y="492"/>
                  </a:lnTo>
                  <a:lnTo>
                    <a:pt x="522" y="492"/>
                  </a:lnTo>
                  <a:lnTo>
                    <a:pt x="534" y="486"/>
                  </a:lnTo>
                  <a:lnTo>
                    <a:pt x="564" y="486"/>
                  </a:lnTo>
                  <a:lnTo>
                    <a:pt x="576" y="492"/>
                  </a:lnTo>
                  <a:lnTo>
                    <a:pt x="582" y="498"/>
                  </a:lnTo>
                  <a:lnTo>
                    <a:pt x="588" y="498"/>
                  </a:lnTo>
                  <a:lnTo>
                    <a:pt x="594" y="492"/>
                  </a:lnTo>
                  <a:lnTo>
                    <a:pt x="600" y="480"/>
                  </a:lnTo>
                  <a:lnTo>
                    <a:pt x="618" y="462"/>
                  </a:lnTo>
                  <a:lnTo>
                    <a:pt x="618" y="450"/>
                  </a:lnTo>
                  <a:lnTo>
                    <a:pt x="612" y="444"/>
                  </a:lnTo>
                  <a:lnTo>
                    <a:pt x="600" y="438"/>
                  </a:lnTo>
                  <a:lnTo>
                    <a:pt x="588" y="426"/>
                  </a:lnTo>
                  <a:close/>
                </a:path>
              </a:pathLst>
            </a:custGeom>
            <a:grpFill/>
            <a:ln w="3175">
              <a:solidFill>
                <a:schemeClr val="bg1"/>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de-DE" sz="1800" b="0" i="0" u="none" strike="noStrike" kern="1200" cap="none" spc="0" normalizeH="0" baseline="0" noProof="0">
                <a:ln>
                  <a:noFill/>
                </a:ln>
                <a:solidFill>
                  <a:srgbClr val="FFC000"/>
                </a:solidFill>
                <a:effectLst/>
                <a:uLnTx/>
                <a:uFillTx/>
                <a:latin typeface="Calibri" pitchFamily="34" charset="0"/>
                <a:ea typeface="+mn-ea"/>
                <a:cs typeface="+mn-cs"/>
              </a:endParaRPr>
            </a:p>
          </p:txBody>
        </p:sp>
        <p:sp>
          <p:nvSpPr>
            <p:cNvPr id="42" name="Tanzania" descr="© INSCALE GmbH, 05.05.2010&#10;http://www.presentationload.com/"/>
            <p:cNvSpPr>
              <a:spLocks noEditPoints="1"/>
            </p:cNvSpPr>
            <p:nvPr/>
          </p:nvSpPr>
          <p:spPr bwMode="gray">
            <a:xfrm>
              <a:off x="5150454" y="4329516"/>
              <a:ext cx="248289" cy="269454"/>
            </a:xfrm>
            <a:custGeom>
              <a:avLst/>
              <a:gdLst>
                <a:gd name="T0" fmla="*/ 2147483647 w 768"/>
                <a:gd name="T1" fmla="*/ 2147483647 h 870"/>
                <a:gd name="T2" fmla="*/ 2147483647 w 768"/>
                <a:gd name="T3" fmla="*/ 2147483647 h 870"/>
                <a:gd name="T4" fmla="*/ 2147483647 w 768"/>
                <a:gd name="T5" fmla="*/ 2147483647 h 870"/>
                <a:gd name="T6" fmla="*/ 2147483647 w 768"/>
                <a:gd name="T7" fmla="*/ 2147483647 h 870"/>
                <a:gd name="T8" fmla="*/ 2147483647 w 768"/>
                <a:gd name="T9" fmla="*/ 2147483647 h 870"/>
                <a:gd name="T10" fmla="*/ 2147483647 w 768"/>
                <a:gd name="T11" fmla="*/ 2147483647 h 870"/>
                <a:gd name="T12" fmla="*/ 2147483647 w 768"/>
                <a:gd name="T13" fmla="*/ 2147483647 h 870"/>
                <a:gd name="T14" fmla="*/ 2147483647 w 768"/>
                <a:gd name="T15" fmla="*/ 2147483647 h 870"/>
                <a:gd name="T16" fmla="*/ 2147483647 w 768"/>
                <a:gd name="T17" fmla="*/ 2147483647 h 870"/>
                <a:gd name="T18" fmla="*/ 2147483647 w 768"/>
                <a:gd name="T19" fmla="*/ 2147483647 h 870"/>
                <a:gd name="T20" fmla="*/ 2147483647 w 768"/>
                <a:gd name="T21" fmla="*/ 2147483647 h 870"/>
                <a:gd name="T22" fmla="*/ 2147483647 w 768"/>
                <a:gd name="T23" fmla="*/ 2147483647 h 870"/>
                <a:gd name="T24" fmla="*/ 2147483647 w 768"/>
                <a:gd name="T25" fmla="*/ 2147483647 h 870"/>
                <a:gd name="T26" fmla="*/ 2147483647 w 768"/>
                <a:gd name="T27" fmla="*/ 2147483647 h 870"/>
                <a:gd name="T28" fmla="*/ 2147483647 w 768"/>
                <a:gd name="T29" fmla="*/ 2147483647 h 870"/>
                <a:gd name="T30" fmla="*/ 2147483647 w 768"/>
                <a:gd name="T31" fmla="*/ 2147483647 h 870"/>
                <a:gd name="T32" fmla="*/ 2147483647 w 768"/>
                <a:gd name="T33" fmla="*/ 2147483647 h 870"/>
                <a:gd name="T34" fmla="*/ 2147483647 w 768"/>
                <a:gd name="T35" fmla="*/ 2147483647 h 870"/>
                <a:gd name="T36" fmla="*/ 2147483647 w 768"/>
                <a:gd name="T37" fmla="*/ 2147483647 h 870"/>
                <a:gd name="T38" fmla="*/ 2147483647 w 768"/>
                <a:gd name="T39" fmla="*/ 2147483647 h 870"/>
                <a:gd name="T40" fmla="*/ 2147483647 w 768"/>
                <a:gd name="T41" fmla="*/ 2147483647 h 870"/>
                <a:gd name="T42" fmla="*/ 2147483647 w 768"/>
                <a:gd name="T43" fmla="*/ 2147483647 h 870"/>
                <a:gd name="T44" fmla="*/ 2147483647 w 768"/>
                <a:gd name="T45" fmla="*/ 2147483647 h 870"/>
                <a:gd name="T46" fmla="*/ 2147483647 w 768"/>
                <a:gd name="T47" fmla="*/ 2147483647 h 870"/>
                <a:gd name="T48" fmla="*/ 2147483647 w 768"/>
                <a:gd name="T49" fmla="*/ 2147483647 h 870"/>
                <a:gd name="T50" fmla="*/ 2147483647 w 768"/>
                <a:gd name="T51" fmla="*/ 2147483647 h 870"/>
                <a:gd name="T52" fmla="*/ 2147483647 w 768"/>
                <a:gd name="T53" fmla="*/ 2147483647 h 870"/>
                <a:gd name="T54" fmla="*/ 2147483647 w 768"/>
                <a:gd name="T55" fmla="*/ 2147483647 h 870"/>
                <a:gd name="T56" fmla="*/ 2147483647 w 768"/>
                <a:gd name="T57" fmla="*/ 2147483647 h 870"/>
                <a:gd name="T58" fmla="*/ 2147483647 w 768"/>
                <a:gd name="T59" fmla="*/ 2147483647 h 870"/>
                <a:gd name="T60" fmla="*/ 2147483647 w 768"/>
                <a:gd name="T61" fmla="*/ 2147483647 h 870"/>
                <a:gd name="T62" fmla="*/ 2147483647 w 768"/>
                <a:gd name="T63" fmla="*/ 2147483647 h 870"/>
                <a:gd name="T64" fmla="*/ 2147483647 w 768"/>
                <a:gd name="T65" fmla="*/ 2147483647 h 870"/>
                <a:gd name="T66" fmla="*/ 2147483647 w 768"/>
                <a:gd name="T67" fmla="*/ 2147483647 h 870"/>
                <a:gd name="T68" fmla="*/ 2147483647 w 768"/>
                <a:gd name="T69" fmla="*/ 2147483647 h 870"/>
                <a:gd name="T70" fmla="*/ 2147483647 w 768"/>
                <a:gd name="T71" fmla="*/ 2147483647 h 870"/>
                <a:gd name="T72" fmla="*/ 2147483647 w 768"/>
                <a:gd name="T73" fmla="*/ 2147483647 h 870"/>
                <a:gd name="T74" fmla="*/ 2147483647 w 768"/>
                <a:gd name="T75" fmla="*/ 2147483647 h 870"/>
                <a:gd name="T76" fmla="*/ 2147483647 w 768"/>
                <a:gd name="T77" fmla="*/ 2147483647 h 870"/>
                <a:gd name="T78" fmla="*/ 2147483647 w 768"/>
                <a:gd name="T79" fmla="*/ 2147483647 h 870"/>
                <a:gd name="T80" fmla="*/ 2147483647 w 768"/>
                <a:gd name="T81" fmla="*/ 2147483647 h 870"/>
                <a:gd name="T82" fmla="*/ 2147483647 w 768"/>
                <a:gd name="T83" fmla="*/ 2147483647 h 870"/>
                <a:gd name="T84" fmla="*/ 2147483647 w 768"/>
                <a:gd name="T85" fmla="*/ 2147483647 h 870"/>
                <a:gd name="T86" fmla="*/ 2147483647 w 768"/>
                <a:gd name="T87" fmla="*/ 2147483647 h 870"/>
                <a:gd name="T88" fmla="*/ 2147483647 w 768"/>
                <a:gd name="T89" fmla="*/ 2147483647 h 870"/>
                <a:gd name="T90" fmla="*/ 2147483647 w 768"/>
                <a:gd name="T91" fmla="*/ 2147483647 h 870"/>
                <a:gd name="T92" fmla="*/ 2147483647 w 768"/>
                <a:gd name="T93" fmla="*/ 2147483647 h 870"/>
                <a:gd name="T94" fmla="*/ 2147483647 w 768"/>
                <a:gd name="T95" fmla="*/ 2147483647 h 870"/>
                <a:gd name="T96" fmla="*/ 2147483647 w 768"/>
                <a:gd name="T97" fmla="*/ 2147483647 h 870"/>
                <a:gd name="T98" fmla="*/ 2147483647 w 768"/>
                <a:gd name="T99" fmla="*/ 2147483647 h 870"/>
                <a:gd name="T100" fmla="*/ 2147483647 w 768"/>
                <a:gd name="T101" fmla="*/ 2147483647 h 870"/>
                <a:gd name="T102" fmla="*/ 2147483647 w 768"/>
                <a:gd name="T103" fmla="*/ 2147483647 h 870"/>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768"/>
                <a:gd name="T157" fmla="*/ 0 h 870"/>
                <a:gd name="T158" fmla="*/ 768 w 768"/>
                <a:gd name="T159" fmla="*/ 870 h 870"/>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768" h="870">
                  <a:moveTo>
                    <a:pt x="762" y="744"/>
                  </a:moveTo>
                  <a:lnTo>
                    <a:pt x="750" y="744"/>
                  </a:lnTo>
                  <a:lnTo>
                    <a:pt x="744" y="738"/>
                  </a:lnTo>
                  <a:lnTo>
                    <a:pt x="732" y="732"/>
                  </a:lnTo>
                  <a:lnTo>
                    <a:pt x="720" y="720"/>
                  </a:lnTo>
                  <a:lnTo>
                    <a:pt x="720" y="708"/>
                  </a:lnTo>
                  <a:lnTo>
                    <a:pt x="714" y="690"/>
                  </a:lnTo>
                  <a:lnTo>
                    <a:pt x="714" y="654"/>
                  </a:lnTo>
                  <a:lnTo>
                    <a:pt x="690" y="612"/>
                  </a:lnTo>
                  <a:lnTo>
                    <a:pt x="702" y="564"/>
                  </a:lnTo>
                  <a:lnTo>
                    <a:pt x="684" y="540"/>
                  </a:lnTo>
                  <a:lnTo>
                    <a:pt x="690" y="528"/>
                  </a:lnTo>
                  <a:lnTo>
                    <a:pt x="696" y="522"/>
                  </a:lnTo>
                  <a:lnTo>
                    <a:pt x="708" y="498"/>
                  </a:lnTo>
                  <a:lnTo>
                    <a:pt x="708" y="480"/>
                  </a:lnTo>
                  <a:lnTo>
                    <a:pt x="702" y="474"/>
                  </a:lnTo>
                  <a:lnTo>
                    <a:pt x="690" y="468"/>
                  </a:lnTo>
                  <a:lnTo>
                    <a:pt x="672" y="456"/>
                  </a:lnTo>
                  <a:lnTo>
                    <a:pt x="660" y="450"/>
                  </a:lnTo>
                  <a:lnTo>
                    <a:pt x="654" y="438"/>
                  </a:lnTo>
                  <a:lnTo>
                    <a:pt x="654" y="426"/>
                  </a:lnTo>
                  <a:lnTo>
                    <a:pt x="660" y="414"/>
                  </a:lnTo>
                  <a:lnTo>
                    <a:pt x="666" y="396"/>
                  </a:lnTo>
                  <a:lnTo>
                    <a:pt x="666" y="384"/>
                  </a:lnTo>
                  <a:lnTo>
                    <a:pt x="672" y="366"/>
                  </a:lnTo>
                  <a:lnTo>
                    <a:pt x="678" y="354"/>
                  </a:lnTo>
                  <a:lnTo>
                    <a:pt x="678" y="330"/>
                  </a:lnTo>
                  <a:lnTo>
                    <a:pt x="684" y="318"/>
                  </a:lnTo>
                  <a:lnTo>
                    <a:pt x="684" y="300"/>
                  </a:lnTo>
                  <a:lnTo>
                    <a:pt x="570" y="192"/>
                  </a:lnTo>
                  <a:lnTo>
                    <a:pt x="576" y="186"/>
                  </a:lnTo>
                  <a:lnTo>
                    <a:pt x="582" y="186"/>
                  </a:lnTo>
                  <a:lnTo>
                    <a:pt x="588" y="180"/>
                  </a:lnTo>
                  <a:lnTo>
                    <a:pt x="588" y="174"/>
                  </a:lnTo>
                  <a:lnTo>
                    <a:pt x="576" y="162"/>
                  </a:lnTo>
                  <a:lnTo>
                    <a:pt x="324" y="6"/>
                  </a:lnTo>
                  <a:lnTo>
                    <a:pt x="312" y="6"/>
                  </a:lnTo>
                  <a:lnTo>
                    <a:pt x="312" y="18"/>
                  </a:lnTo>
                  <a:lnTo>
                    <a:pt x="318" y="24"/>
                  </a:lnTo>
                  <a:lnTo>
                    <a:pt x="318" y="36"/>
                  </a:lnTo>
                  <a:lnTo>
                    <a:pt x="294" y="48"/>
                  </a:lnTo>
                  <a:lnTo>
                    <a:pt x="276" y="66"/>
                  </a:lnTo>
                  <a:lnTo>
                    <a:pt x="264" y="84"/>
                  </a:lnTo>
                  <a:lnTo>
                    <a:pt x="264" y="90"/>
                  </a:lnTo>
                  <a:lnTo>
                    <a:pt x="270" y="96"/>
                  </a:lnTo>
                  <a:lnTo>
                    <a:pt x="294" y="96"/>
                  </a:lnTo>
                  <a:lnTo>
                    <a:pt x="306" y="90"/>
                  </a:lnTo>
                  <a:lnTo>
                    <a:pt x="312" y="90"/>
                  </a:lnTo>
                  <a:lnTo>
                    <a:pt x="306" y="96"/>
                  </a:lnTo>
                  <a:lnTo>
                    <a:pt x="294" y="102"/>
                  </a:lnTo>
                  <a:lnTo>
                    <a:pt x="276" y="120"/>
                  </a:lnTo>
                  <a:lnTo>
                    <a:pt x="270" y="120"/>
                  </a:lnTo>
                  <a:lnTo>
                    <a:pt x="264" y="114"/>
                  </a:lnTo>
                  <a:lnTo>
                    <a:pt x="252" y="108"/>
                  </a:lnTo>
                  <a:lnTo>
                    <a:pt x="246" y="108"/>
                  </a:lnTo>
                  <a:lnTo>
                    <a:pt x="234" y="120"/>
                  </a:lnTo>
                  <a:lnTo>
                    <a:pt x="234" y="138"/>
                  </a:lnTo>
                  <a:lnTo>
                    <a:pt x="246" y="150"/>
                  </a:lnTo>
                  <a:lnTo>
                    <a:pt x="216" y="150"/>
                  </a:lnTo>
                  <a:lnTo>
                    <a:pt x="216" y="138"/>
                  </a:lnTo>
                  <a:lnTo>
                    <a:pt x="222" y="132"/>
                  </a:lnTo>
                  <a:lnTo>
                    <a:pt x="222" y="126"/>
                  </a:lnTo>
                  <a:lnTo>
                    <a:pt x="228" y="114"/>
                  </a:lnTo>
                  <a:lnTo>
                    <a:pt x="210" y="120"/>
                  </a:lnTo>
                  <a:lnTo>
                    <a:pt x="192" y="102"/>
                  </a:lnTo>
                  <a:lnTo>
                    <a:pt x="186" y="102"/>
                  </a:lnTo>
                  <a:lnTo>
                    <a:pt x="174" y="114"/>
                  </a:lnTo>
                  <a:lnTo>
                    <a:pt x="174" y="132"/>
                  </a:lnTo>
                  <a:lnTo>
                    <a:pt x="168" y="138"/>
                  </a:lnTo>
                  <a:lnTo>
                    <a:pt x="162" y="138"/>
                  </a:lnTo>
                  <a:lnTo>
                    <a:pt x="156" y="132"/>
                  </a:lnTo>
                  <a:lnTo>
                    <a:pt x="156" y="48"/>
                  </a:lnTo>
                  <a:lnTo>
                    <a:pt x="162" y="36"/>
                  </a:lnTo>
                  <a:lnTo>
                    <a:pt x="162" y="24"/>
                  </a:lnTo>
                  <a:lnTo>
                    <a:pt x="168" y="12"/>
                  </a:lnTo>
                  <a:lnTo>
                    <a:pt x="168" y="6"/>
                  </a:lnTo>
                  <a:lnTo>
                    <a:pt x="78" y="0"/>
                  </a:lnTo>
                  <a:lnTo>
                    <a:pt x="72" y="24"/>
                  </a:lnTo>
                  <a:lnTo>
                    <a:pt x="78" y="30"/>
                  </a:lnTo>
                  <a:lnTo>
                    <a:pt x="84" y="42"/>
                  </a:lnTo>
                  <a:lnTo>
                    <a:pt x="90" y="48"/>
                  </a:lnTo>
                  <a:lnTo>
                    <a:pt x="90" y="66"/>
                  </a:lnTo>
                  <a:lnTo>
                    <a:pt x="96" y="72"/>
                  </a:lnTo>
                  <a:lnTo>
                    <a:pt x="96" y="96"/>
                  </a:lnTo>
                  <a:lnTo>
                    <a:pt x="78" y="114"/>
                  </a:lnTo>
                  <a:lnTo>
                    <a:pt x="66" y="114"/>
                  </a:lnTo>
                  <a:lnTo>
                    <a:pt x="66" y="126"/>
                  </a:lnTo>
                  <a:lnTo>
                    <a:pt x="60" y="138"/>
                  </a:lnTo>
                  <a:lnTo>
                    <a:pt x="60" y="156"/>
                  </a:lnTo>
                  <a:lnTo>
                    <a:pt x="66" y="156"/>
                  </a:lnTo>
                  <a:lnTo>
                    <a:pt x="72" y="162"/>
                  </a:lnTo>
                  <a:lnTo>
                    <a:pt x="90" y="162"/>
                  </a:lnTo>
                  <a:lnTo>
                    <a:pt x="90" y="180"/>
                  </a:lnTo>
                  <a:lnTo>
                    <a:pt x="78" y="186"/>
                  </a:lnTo>
                  <a:lnTo>
                    <a:pt x="84" y="198"/>
                  </a:lnTo>
                  <a:lnTo>
                    <a:pt x="72" y="198"/>
                  </a:lnTo>
                  <a:lnTo>
                    <a:pt x="54" y="216"/>
                  </a:lnTo>
                  <a:lnTo>
                    <a:pt x="48" y="228"/>
                  </a:lnTo>
                  <a:lnTo>
                    <a:pt x="48" y="246"/>
                  </a:lnTo>
                  <a:lnTo>
                    <a:pt x="42" y="258"/>
                  </a:lnTo>
                  <a:lnTo>
                    <a:pt x="30" y="270"/>
                  </a:lnTo>
                  <a:lnTo>
                    <a:pt x="6" y="282"/>
                  </a:lnTo>
                  <a:lnTo>
                    <a:pt x="0" y="294"/>
                  </a:lnTo>
                  <a:lnTo>
                    <a:pt x="6" y="306"/>
                  </a:lnTo>
                  <a:lnTo>
                    <a:pt x="18" y="318"/>
                  </a:lnTo>
                  <a:lnTo>
                    <a:pt x="18" y="330"/>
                  </a:lnTo>
                  <a:lnTo>
                    <a:pt x="12" y="342"/>
                  </a:lnTo>
                  <a:lnTo>
                    <a:pt x="12" y="348"/>
                  </a:lnTo>
                  <a:lnTo>
                    <a:pt x="18" y="354"/>
                  </a:lnTo>
                  <a:lnTo>
                    <a:pt x="18" y="366"/>
                  </a:lnTo>
                  <a:lnTo>
                    <a:pt x="24" y="378"/>
                  </a:lnTo>
                  <a:lnTo>
                    <a:pt x="24" y="396"/>
                  </a:lnTo>
                  <a:lnTo>
                    <a:pt x="18" y="402"/>
                  </a:lnTo>
                  <a:lnTo>
                    <a:pt x="18" y="432"/>
                  </a:lnTo>
                  <a:lnTo>
                    <a:pt x="30" y="444"/>
                  </a:lnTo>
                  <a:lnTo>
                    <a:pt x="36" y="444"/>
                  </a:lnTo>
                  <a:lnTo>
                    <a:pt x="48" y="450"/>
                  </a:lnTo>
                  <a:lnTo>
                    <a:pt x="72" y="474"/>
                  </a:lnTo>
                  <a:lnTo>
                    <a:pt x="78" y="486"/>
                  </a:lnTo>
                  <a:lnTo>
                    <a:pt x="78" y="546"/>
                  </a:lnTo>
                  <a:lnTo>
                    <a:pt x="84" y="558"/>
                  </a:lnTo>
                  <a:lnTo>
                    <a:pt x="114" y="594"/>
                  </a:lnTo>
                  <a:lnTo>
                    <a:pt x="114" y="600"/>
                  </a:lnTo>
                  <a:lnTo>
                    <a:pt x="108" y="612"/>
                  </a:lnTo>
                  <a:lnTo>
                    <a:pt x="108" y="618"/>
                  </a:lnTo>
                  <a:lnTo>
                    <a:pt x="126" y="618"/>
                  </a:lnTo>
                  <a:lnTo>
                    <a:pt x="138" y="612"/>
                  </a:lnTo>
                  <a:lnTo>
                    <a:pt x="138" y="630"/>
                  </a:lnTo>
                  <a:lnTo>
                    <a:pt x="144" y="636"/>
                  </a:lnTo>
                  <a:lnTo>
                    <a:pt x="162" y="636"/>
                  </a:lnTo>
                  <a:lnTo>
                    <a:pt x="180" y="654"/>
                  </a:lnTo>
                  <a:lnTo>
                    <a:pt x="192" y="654"/>
                  </a:lnTo>
                  <a:lnTo>
                    <a:pt x="204" y="648"/>
                  </a:lnTo>
                  <a:lnTo>
                    <a:pt x="204" y="666"/>
                  </a:lnTo>
                  <a:lnTo>
                    <a:pt x="222" y="666"/>
                  </a:lnTo>
                  <a:lnTo>
                    <a:pt x="240" y="678"/>
                  </a:lnTo>
                  <a:lnTo>
                    <a:pt x="264" y="678"/>
                  </a:lnTo>
                  <a:lnTo>
                    <a:pt x="270" y="696"/>
                  </a:lnTo>
                  <a:lnTo>
                    <a:pt x="300" y="696"/>
                  </a:lnTo>
                  <a:lnTo>
                    <a:pt x="300" y="690"/>
                  </a:lnTo>
                  <a:lnTo>
                    <a:pt x="312" y="678"/>
                  </a:lnTo>
                  <a:lnTo>
                    <a:pt x="318" y="684"/>
                  </a:lnTo>
                  <a:lnTo>
                    <a:pt x="330" y="690"/>
                  </a:lnTo>
                  <a:lnTo>
                    <a:pt x="336" y="702"/>
                  </a:lnTo>
                  <a:lnTo>
                    <a:pt x="348" y="714"/>
                  </a:lnTo>
                  <a:lnTo>
                    <a:pt x="348" y="774"/>
                  </a:lnTo>
                  <a:lnTo>
                    <a:pt x="354" y="774"/>
                  </a:lnTo>
                  <a:lnTo>
                    <a:pt x="360" y="780"/>
                  </a:lnTo>
                  <a:lnTo>
                    <a:pt x="360" y="792"/>
                  </a:lnTo>
                  <a:lnTo>
                    <a:pt x="354" y="798"/>
                  </a:lnTo>
                  <a:lnTo>
                    <a:pt x="354" y="804"/>
                  </a:lnTo>
                  <a:lnTo>
                    <a:pt x="348" y="810"/>
                  </a:lnTo>
                  <a:lnTo>
                    <a:pt x="348" y="816"/>
                  </a:lnTo>
                  <a:lnTo>
                    <a:pt x="366" y="834"/>
                  </a:lnTo>
                  <a:lnTo>
                    <a:pt x="378" y="840"/>
                  </a:lnTo>
                  <a:lnTo>
                    <a:pt x="372" y="858"/>
                  </a:lnTo>
                  <a:lnTo>
                    <a:pt x="408" y="858"/>
                  </a:lnTo>
                  <a:lnTo>
                    <a:pt x="414" y="852"/>
                  </a:lnTo>
                  <a:lnTo>
                    <a:pt x="420" y="852"/>
                  </a:lnTo>
                  <a:lnTo>
                    <a:pt x="432" y="840"/>
                  </a:lnTo>
                  <a:lnTo>
                    <a:pt x="444" y="840"/>
                  </a:lnTo>
                  <a:lnTo>
                    <a:pt x="456" y="846"/>
                  </a:lnTo>
                  <a:lnTo>
                    <a:pt x="462" y="858"/>
                  </a:lnTo>
                  <a:lnTo>
                    <a:pt x="474" y="864"/>
                  </a:lnTo>
                  <a:lnTo>
                    <a:pt x="480" y="870"/>
                  </a:lnTo>
                  <a:lnTo>
                    <a:pt x="492" y="870"/>
                  </a:lnTo>
                  <a:lnTo>
                    <a:pt x="510" y="852"/>
                  </a:lnTo>
                  <a:lnTo>
                    <a:pt x="516" y="852"/>
                  </a:lnTo>
                  <a:lnTo>
                    <a:pt x="522" y="858"/>
                  </a:lnTo>
                  <a:lnTo>
                    <a:pt x="534" y="864"/>
                  </a:lnTo>
                  <a:lnTo>
                    <a:pt x="552" y="864"/>
                  </a:lnTo>
                  <a:lnTo>
                    <a:pt x="564" y="852"/>
                  </a:lnTo>
                  <a:lnTo>
                    <a:pt x="576" y="846"/>
                  </a:lnTo>
                  <a:lnTo>
                    <a:pt x="582" y="834"/>
                  </a:lnTo>
                  <a:lnTo>
                    <a:pt x="588" y="828"/>
                  </a:lnTo>
                  <a:lnTo>
                    <a:pt x="612" y="828"/>
                  </a:lnTo>
                  <a:lnTo>
                    <a:pt x="618" y="834"/>
                  </a:lnTo>
                  <a:lnTo>
                    <a:pt x="618" y="840"/>
                  </a:lnTo>
                  <a:lnTo>
                    <a:pt x="630" y="840"/>
                  </a:lnTo>
                  <a:lnTo>
                    <a:pt x="642" y="834"/>
                  </a:lnTo>
                  <a:lnTo>
                    <a:pt x="654" y="822"/>
                  </a:lnTo>
                  <a:lnTo>
                    <a:pt x="660" y="822"/>
                  </a:lnTo>
                  <a:lnTo>
                    <a:pt x="690" y="816"/>
                  </a:lnTo>
                  <a:lnTo>
                    <a:pt x="768" y="762"/>
                  </a:lnTo>
                  <a:lnTo>
                    <a:pt x="762" y="744"/>
                  </a:lnTo>
                  <a:close/>
                  <a:moveTo>
                    <a:pt x="726" y="360"/>
                  </a:moveTo>
                  <a:lnTo>
                    <a:pt x="732" y="354"/>
                  </a:lnTo>
                  <a:lnTo>
                    <a:pt x="732" y="324"/>
                  </a:lnTo>
                  <a:lnTo>
                    <a:pt x="720" y="312"/>
                  </a:lnTo>
                  <a:lnTo>
                    <a:pt x="714" y="312"/>
                  </a:lnTo>
                  <a:lnTo>
                    <a:pt x="708" y="318"/>
                  </a:lnTo>
                  <a:lnTo>
                    <a:pt x="708" y="348"/>
                  </a:lnTo>
                  <a:lnTo>
                    <a:pt x="714" y="354"/>
                  </a:lnTo>
                  <a:lnTo>
                    <a:pt x="726" y="360"/>
                  </a:lnTo>
                  <a:close/>
                  <a:moveTo>
                    <a:pt x="678" y="420"/>
                  </a:moveTo>
                  <a:lnTo>
                    <a:pt x="690" y="426"/>
                  </a:lnTo>
                  <a:lnTo>
                    <a:pt x="696" y="438"/>
                  </a:lnTo>
                  <a:lnTo>
                    <a:pt x="708" y="444"/>
                  </a:lnTo>
                  <a:lnTo>
                    <a:pt x="720" y="444"/>
                  </a:lnTo>
                  <a:lnTo>
                    <a:pt x="726" y="438"/>
                  </a:lnTo>
                  <a:lnTo>
                    <a:pt x="720" y="432"/>
                  </a:lnTo>
                  <a:lnTo>
                    <a:pt x="720" y="426"/>
                  </a:lnTo>
                  <a:lnTo>
                    <a:pt x="708" y="414"/>
                  </a:lnTo>
                  <a:lnTo>
                    <a:pt x="708" y="390"/>
                  </a:lnTo>
                  <a:lnTo>
                    <a:pt x="702" y="378"/>
                  </a:lnTo>
                  <a:lnTo>
                    <a:pt x="684" y="378"/>
                  </a:lnTo>
                  <a:lnTo>
                    <a:pt x="678" y="384"/>
                  </a:lnTo>
                  <a:lnTo>
                    <a:pt x="678" y="420"/>
                  </a:lnTo>
                  <a:close/>
                </a:path>
              </a:pathLst>
            </a:custGeom>
            <a:grpFill/>
            <a:ln w="3175">
              <a:solidFill>
                <a:schemeClr val="bg1"/>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de-DE" sz="1800" b="0" i="0" u="none" strike="noStrike" kern="1200" cap="none" spc="0" normalizeH="0" baseline="0" noProof="0">
                <a:ln>
                  <a:noFill/>
                </a:ln>
                <a:solidFill>
                  <a:srgbClr val="FFC000"/>
                </a:solidFill>
                <a:effectLst/>
                <a:uLnTx/>
                <a:uFillTx/>
                <a:latin typeface="Calibri" pitchFamily="34" charset="0"/>
                <a:ea typeface="+mn-ea"/>
                <a:cs typeface="+mn-cs"/>
              </a:endParaRPr>
            </a:p>
          </p:txBody>
        </p:sp>
        <p:sp>
          <p:nvSpPr>
            <p:cNvPr id="43" name="Tajikistan" descr="© INSCALE GmbH, 05.05.2010&#10;http://www.presentationload.com/"/>
            <p:cNvSpPr>
              <a:spLocks/>
            </p:cNvSpPr>
            <p:nvPr/>
          </p:nvSpPr>
          <p:spPr bwMode="gray">
            <a:xfrm>
              <a:off x="5923479" y="3279871"/>
              <a:ext cx="179177" cy="107782"/>
            </a:xfrm>
            <a:custGeom>
              <a:avLst/>
              <a:gdLst>
                <a:gd name="T0" fmla="*/ 2147483647 w 552"/>
                <a:gd name="T1" fmla="*/ 2147483647 h 348"/>
                <a:gd name="T2" fmla="*/ 2147483647 w 552"/>
                <a:gd name="T3" fmla="*/ 2147483647 h 348"/>
                <a:gd name="T4" fmla="*/ 2147483647 w 552"/>
                <a:gd name="T5" fmla="*/ 2147483647 h 348"/>
                <a:gd name="T6" fmla="*/ 2147483647 w 552"/>
                <a:gd name="T7" fmla="*/ 2147483647 h 348"/>
                <a:gd name="T8" fmla="*/ 2147483647 w 552"/>
                <a:gd name="T9" fmla="*/ 2147483647 h 348"/>
                <a:gd name="T10" fmla="*/ 2147483647 w 552"/>
                <a:gd name="T11" fmla="*/ 2147483647 h 348"/>
                <a:gd name="T12" fmla="*/ 2147483647 w 552"/>
                <a:gd name="T13" fmla="*/ 2147483647 h 348"/>
                <a:gd name="T14" fmla="*/ 2147483647 w 552"/>
                <a:gd name="T15" fmla="*/ 2147483647 h 348"/>
                <a:gd name="T16" fmla="*/ 2147483647 w 552"/>
                <a:gd name="T17" fmla="*/ 2147483647 h 348"/>
                <a:gd name="T18" fmla="*/ 2147483647 w 552"/>
                <a:gd name="T19" fmla="*/ 2147483647 h 348"/>
                <a:gd name="T20" fmla="*/ 2147483647 w 552"/>
                <a:gd name="T21" fmla="*/ 2147483647 h 348"/>
                <a:gd name="T22" fmla="*/ 2147483647 w 552"/>
                <a:gd name="T23" fmla="*/ 2147483647 h 348"/>
                <a:gd name="T24" fmla="*/ 2147483647 w 552"/>
                <a:gd name="T25" fmla="*/ 2147483647 h 348"/>
                <a:gd name="T26" fmla="*/ 2147483647 w 552"/>
                <a:gd name="T27" fmla="*/ 2147483647 h 348"/>
                <a:gd name="T28" fmla="*/ 2147483647 w 552"/>
                <a:gd name="T29" fmla="*/ 2147483647 h 348"/>
                <a:gd name="T30" fmla="*/ 2147483647 w 552"/>
                <a:gd name="T31" fmla="*/ 2147483647 h 348"/>
                <a:gd name="T32" fmla="*/ 2147483647 w 552"/>
                <a:gd name="T33" fmla="*/ 2147483647 h 348"/>
                <a:gd name="T34" fmla="*/ 2147483647 w 552"/>
                <a:gd name="T35" fmla="*/ 2147483647 h 348"/>
                <a:gd name="T36" fmla="*/ 2147483647 w 552"/>
                <a:gd name="T37" fmla="*/ 2147483647 h 348"/>
                <a:gd name="T38" fmla="*/ 2147483647 w 552"/>
                <a:gd name="T39" fmla="*/ 0 h 348"/>
                <a:gd name="T40" fmla="*/ 2147483647 w 552"/>
                <a:gd name="T41" fmla="*/ 2147483647 h 348"/>
                <a:gd name="T42" fmla="*/ 2147483647 w 552"/>
                <a:gd name="T43" fmla="*/ 2147483647 h 348"/>
                <a:gd name="T44" fmla="*/ 2147483647 w 552"/>
                <a:gd name="T45" fmla="*/ 2147483647 h 348"/>
                <a:gd name="T46" fmla="*/ 2147483647 w 552"/>
                <a:gd name="T47" fmla="*/ 2147483647 h 348"/>
                <a:gd name="T48" fmla="*/ 2147483647 w 552"/>
                <a:gd name="T49" fmla="*/ 2147483647 h 348"/>
                <a:gd name="T50" fmla="*/ 2147483647 w 552"/>
                <a:gd name="T51" fmla="*/ 2147483647 h 348"/>
                <a:gd name="T52" fmla="*/ 2147483647 w 552"/>
                <a:gd name="T53" fmla="*/ 2147483647 h 348"/>
                <a:gd name="T54" fmla="*/ 2147483647 w 552"/>
                <a:gd name="T55" fmla="*/ 2147483647 h 348"/>
                <a:gd name="T56" fmla="*/ 2147483647 w 552"/>
                <a:gd name="T57" fmla="*/ 2147483647 h 348"/>
                <a:gd name="T58" fmla="*/ 2147483647 w 552"/>
                <a:gd name="T59" fmla="*/ 2147483647 h 348"/>
                <a:gd name="T60" fmla="*/ 2147483647 w 552"/>
                <a:gd name="T61" fmla="*/ 2147483647 h 348"/>
                <a:gd name="T62" fmla="*/ 2147483647 w 552"/>
                <a:gd name="T63" fmla="*/ 2147483647 h 348"/>
                <a:gd name="T64" fmla="*/ 2147483647 w 552"/>
                <a:gd name="T65" fmla="*/ 2147483647 h 348"/>
                <a:gd name="T66" fmla="*/ 2147483647 w 552"/>
                <a:gd name="T67" fmla="*/ 2147483647 h 348"/>
                <a:gd name="T68" fmla="*/ 2147483647 w 552"/>
                <a:gd name="T69" fmla="*/ 2147483647 h 348"/>
                <a:gd name="T70" fmla="*/ 2147483647 w 552"/>
                <a:gd name="T71" fmla="*/ 2147483647 h 348"/>
                <a:gd name="T72" fmla="*/ 2147483647 w 552"/>
                <a:gd name="T73" fmla="*/ 2147483647 h 348"/>
                <a:gd name="T74" fmla="*/ 2147483647 w 552"/>
                <a:gd name="T75" fmla="*/ 2147483647 h 348"/>
                <a:gd name="T76" fmla="*/ 2147483647 w 552"/>
                <a:gd name="T77" fmla="*/ 2147483647 h 348"/>
                <a:gd name="T78" fmla="*/ 2147483647 w 552"/>
                <a:gd name="T79" fmla="*/ 2147483647 h 348"/>
                <a:gd name="T80" fmla="*/ 2147483647 w 552"/>
                <a:gd name="T81" fmla="*/ 2147483647 h 348"/>
                <a:gd name="T82" fmla="*/ 2147483647 w 552"/>
                <a:gd name="T83" fmla="*/ 2147483647 h 348"/>
                <a:gd name="T84" fmla="*/ 2147483647 w 552"/>
                <a:gd name="T85" fmla="*/ 2147483647 h 348"/>
                <a:gd name="T86" fmla="*/ 2147483647 w 552"/>
                <a:gd name="T87" fmla="*/ 2147483647 h 348"/>
                <a:gd name="T88" fmla="*/ 2147483647 w 552"/>
                <a:gd name="T89" fmla="*/ 2147483647 h 348"/>
                <a:gd name="T90" fmla="*/ 2147483647 w 552"/>
                <a:gd name="T91" fmla="*/ 2147483647 h 348"/>
                <a:gd name="T92" fmla="*/ 2147483647 w 552"/>
                <a:gd name="T93" fmla="*/ 2147483647 h 348"/>
                <a:gd name="T94" fmla="*/ 2147483647 w 552"/>
                <a:gd name="T95" fmla="*/ 2147483647 h 348"/>
                <a:gd name="T96" fmla="*/ 2147483647 w 552"/>
                <a:gd name="T97" fmla="*/ 2147483647 h 348"/>
                <a:gd name="T98" fmla="*/ 2147483647 w 552"/>
                <a:gd name="T99" fmla="*/ 2147483647 h 348"/>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552"/>
                <a:gd name="T151" fmla="*/ 0 h 348"/>
                <a:gd name="T152" fmla="*/ 552 w 552"/>
                <a:gd name="T153" fmla="*/ 348 h 348"/>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552" h="348">
                  <a:moveTo>
                    <a:pt x="528" y="270"/>
                  </a:moveTo>
                  <a:lnTo>
                    <a:pt x="516" y="246"/>
                  </a:lnTo>
                  <a:lnTo>
                    <a:pt x="516" y="204"/>
                  </a:lnTo>
                  <a:lnTo>
                    <a:pt x="510" y="198"/>
                  </a:lnTo>
                  <a:lnTo>
                    <a:pt x="498" y="192"/>
                  </a:lnTo>
                  <a:lnTo>
                    <a:pt x="492" y="192"/>
                  </a:lnTo>
                  <a:lnTo>
                    <a:pt x="480" y="186"/>
                  </a:lnTo>
                  <a:lnTo>
                    <a:pt x="456" y="186"/>
                  </a:lnTo>
                  <a:lnTo>
                    <a:pt x="450" y="192"/>
                  </a:lnTo>
                  <a:lnTo>
                    <a:pt x="438" y="192"/>
                  </a:lnTo>
                  <a:lnTo>
                    <a:pt x="426" y="180"/>
                  </a:lnTo>
                  <a:lnTo>
                    <a:pt x="426" y="168"/>
                  </a:lnTo>
                  <a:lnTo>
                    <a:pt x="432" y="156"/>
                  </a:lnTo>
                  <a:lnTo>
                    <a:pt x="432" y="144"/>
                  </a:lnTo>
                  <a:lnTo>
                    <a:pt x="414" y="144"/>
                  </a:lnTo>
                  <a:lnTo>
                    <a:pt x="414" y="120"/>
                  </a:lnTo>
                  <a:lnTo>
                    <a:pt x="396" y="114"/>
                  </a:lnTo>
                  <a:lnTo>
                    <a:pt x="384" y="126"/>
                  </a:lnTo>
                  <a:lnTo>
                    <a:pt x="342" y="126"/>
                  </a:lnTo>
                  <a:lnTo>
                    <a:pt x="336" y="132"/>
                  </a:lnTo>
                  <a:lnTo>
                    <a:pt x="324" y="138"/>
                  </a:lnTo>
                  <a:lnTo>
                    <a:pt x="312" y="138"/>
                  </a:lnTo>
                  <a:lnTo>
                    <a:pt x="312" y="132"/>
                  </a:lnTo>
                  <a:lnTo>
                    <a:pt x="306" y="132"/>
                  </a:lnTo>
                  <a:lnTo>
                    <a:pt x="294" y="138"/>
                  </a:lnTo>
                  <a:lnTo>
                    <a:pt x="264" y="108"/>
                  </a:lnTo>
                  <a:lnTo>
                    <a:pt x="258" y="114"/>
                  </a:lnTo>
                  <a:lnTo>
                    <a:pt x="246" y="120"/>
                  </a:lnTo>
                  <a:lnTo>
                    <a:pt x="240" y="126"/>
                  </a:lnTo>
                  <a:lnTo>
                    <a:pt x="222" y="126"/>
                  </a:lnTo>
                  <a:lnTo>
                    <a:pt x="210" y="114"/>
                  </a:lnTo>
                  <a:lnTo>
                    <a:pt x="186" y="114"/>
                  </a:lnTo>
                  <a:lnTo>
                    <a:pt x="174" y="108"/>
                  </a:lnTo>
                  <a:lnTo>
                    <a:pt x="156" y="108"/>
                  </a:lnTo>
                  <a:lnTo>
                    <a:pt x="150" y="114"/>
                  </a:lnTo>
                  <a:lnTo>
                    <a:pt x="138" y="114"/>
                  </a:lnTo>
                  <a:lnTo>
                    <a:pt x="126" y="120"/>
                  </a:lnTo>
                  <a:lnTo>
                    <a:pt x="120" y="114"/>
                  </a:lnTo>
                  <a:lnTo>
                    <a:pt x="120" y="108"/>
                  </a:lnTo>
                  <a:lnTo>
                    <a:pt x="114" y="102"/>
                  </a:lnTo>
                  <a:lnTo>
                    <a:pt x="114" y="90"/>
                  </a:lnTo>
                  <a:lnTo>
                    <a:pt x="126" y="84"/>
                  </a:lnTo>
                  <a:lnTo>
                    <a:pt x="132" y="78"/>
                  </a:lnTo>
                  <a:lnTo>
                    <a:pt x="132" y="66"/>
                  </a:lnTo>
                  <a:lnTo>
                    <a:pt x="138" y="60"/>
                  </a:lnTo>
                  <a:lnTo>
                    <a:pt x="150" y="60"/>
                  </a:lnTo>
                  <a:lnTo>
                    <a:pt x="186" y="72"/>
                  </a:lnTo>
                  <a:lnTo>
                    <a:pt x="198" y="78"/>
                  </a:lnTo>
                  <a:lnTo>
                    <a:pt x="204" y="78"/>
                  </a:lnTo>
                  <a:lnTo>
                    <a:pt x="210" y="72"/>
                  </a:lnTo>
                  <a:lnTo>
                    <a:pt x="210" y="66"/>
                  </a:lnTo>
                  <a:lnTo>
                    <a:pt x="204" y="60"/>
                  </a:lnTo>
                  <a:lnTo>
                    <a:pt x="198" y="60"/>
                  </a:lnTo>
                  <a:lnTo>
                    <a:pt x="186" y="54"/>
                  </a:lnTo>
                  <a:lnTo>
                    <a:pt x="180" y="48"/>
                  </a:lnTo>
                  <a:lnTo>
                    <a:pt x="174" y="48"/>
                  </a:lnTo>
                  <a:lnTo>
                    <a:pt x="198" y="12"/>
                  </a:lnTo>
                  <a:lnTo>
                    <a:pt x="192" y="6"/>
                  </a:lnTo>
                  <a:lnTo>
                    <a:pt x="180" y="0"/>
                  </a:lnTo>
                  <a:lnTo>
                    <a:pt x="162" y="0"/>
                  </a:lnTo>
                  <a:lnTo>
                    <a:pt x="156" y="12"/>
                  </a:lnTo>
                  <a:lnTo>
                    <a:pt x="144" y="18"/>
                  </a:lnTo>
                  <a:lnTo>
                    <a:pt x="138" y="30"/>
                  </a:lnTo>
                  <a:lnTo>
                    <a:pt x="132" y="30"/>
                  </a:lnTo>
                  <a:lnTo>
                    <a:pt x="114" y="12"/>
                  </a:lnTo>
                  <a:lnTo>
                    <a:pt x="102" y="12"/>
                  </a:lnTo>
                  <a:lnTo>
                    <a:pt x="102" y="24"/>
                  </a:lnTo>
                  <a:lnTo>
                    <a:pt x="96" y="30"/>
                  </a:lnTo>
                  <a:lnTo>
                    <a:pt x="96" y="42"/>
                  </a:lnTo>
                  <a:lnTo>
                    <a:pt x="108" y="54"/>
                  </a:lnTo>
                  <a:lnTo>
                    <a:pt x="108" y="60"/>
                  </a:lnTo>
                  <a:lnTo>
                    <a:pt x="66" y="60"/>
                  </a:lnTo>
                  <a:lnTo>
                    <a:pt x="90" y="84"/>
                  </a:lnTo>
                  <a:lnTo>
                    <a:pt x="72" y="96"/>
                  </a:lnTo>
                  <a:lnTo>
                    <a:pt x="78" y="96"/>
                  </a:lnTo>
                  <a:lnTo>
                    <a:pt x="78" y="108"/>
                  </a:lnTo>
                  <a:lnTo>
                    <a:pt x="54" y="120"/>
                  </a:lnTo>
                  <a:lnTo>
                    <a:pt x="6" y="120"/>
                  </a:lnTo>
                  <a:lnTo>
                    <a:pt x="0" y="126"/>
                  </a:lnTo>
                  <a:lnTo>
                    <a:pt x="0" y="144"/>
                  </a:lnTo>
                  <a:lnTo>
                    <a:pt x="18" y="144"/>
                  </a:lnTo>
                  <a:lnTo>
                    <a:pt x="30" y="156"/>
                  </a:lnTo>
                  <a:lnTo>
                    <a:pt x="36" y="156"/>
                  </a:lnTo>
                  <a:lnTo>
                    <a:pt x="42" y="162"/>
                  </a:lnTo>
                  <a:lnTo>
                    <a:pt x="54" y="162"/>
                  </a:lnTo>
                  <a:lnTo>
                    <a:pt x="66" y="174"/>
                  </a:lnTo>
                  <a:lnTo>
                    <a:pt x="66" y="180"/>
                  </a:lnTo>
                  <a:lnTo>
                    <a:pt x="60" y="186"/>
                  </a:lnTo>
                  <a:lnTo>
                    <a:pt x="60" y="204"/>
                  </a:lnTo>
                  <a:lnTo>
                    <a:pt x="66" y="210"/>
                  </a:lnTo>
                  <a:lnTo>
                    <a:pt x="78" y="216"/>
                  </a:lnTo>
                  <a:lnTo>
                    <a:pt x="90" y="228"/>
                  </a:lnTo>
                  <a:lnTo>
                    <a:pt x="90" y="246"/>
                  </a:lnTo>
                  <a:lnTo>
                    <a:pt x="84" y="258"/>
                  </a:lnTo>
                  <a:lnTo>
                    <a:pt x="72" y="264"/>
                  </a:lnTo>
                  <a:lnTo>
                    <a:pt x="66" y="276"/>
                  </a:lnTo>
                  <a:lnTo>
                    <a:pt x="60" y="282"/>
                  </a:lnTo>
                  <a:lnTo>
                    <a:pt x="60" y="306"/>
                  </a:lnTo>
                  <a:lnTo>
                    <a:pt x="66" y="312"/>
                  </a:lnTo>
                  <a:lnTo>
                    <a:pt x="78" y="318"/>
                  </a:lnTo>
                  <a:lnTo>
                    <a:pt x="84" y="324"/>
                  </a:lnTo>
                  <a:lnTo>
                    <a:pt x="90" y="324"/>
                  </a:lnTo>
                  <a:lnTo>
                    <a:pt x="108" y="306"/>
                  </a:lnTo>
                  <a:lnTo>
                    <a:pt x="120" y="300"/>
                  </a:lnTo>
                  <a:lnTo>
                    <a:pt x="126" y="294"/>
                  </a:lnTo>
                  <a:lnTo>
                    <a:pt x="138" y="294"/>
                  </a:lnTo>
                  <a:lnTo>
                    <a:pt x="144" y="300"/>
                  </a:lnTo>
                  <a:lnTo>
                    <a:pt x="150" y="312"/>
                  </a:lnTo>
                  <a:lnTo>
                    <a:pt x="156" y="318"/>
                  </a:lnTo>
                  <a:lnTo>
                    <a:pt x="162" y="318"/>
                  </a:lnTo>
                  <a:lnTo>
                    <a:pt x="162" y="288"/>
                  </a:lnTo>
                  <a:lnTo>
                    <a:pt x="174" y="276"/>
                  </a:lnTo>
                  <a:lnTo>
                    <a:pt x="186" y="270"/>
                  </a:lnTo>
                  <a:lnTo>
                    <a:pt x="204" y="270"/>
                  </a:lnTo>
                  <a:lnTo>
                    <a:pt x="216" y="282"/>
                  </a:lnTo>
                  <a:lnTo>
                    <a:pt x="222" y="258"/>
                  </a:lnTo>
                  <a:lnTo>
                    <a:pt x="216" y="258"/>
                  </a:lnTo>
                  <a:lnTo>
                    <a:pt x="210" y="252"/>
                  </a:lnTo>
                  <a:lnTo>
                    <a:pt x="210" y="246"/>
                  </a:lnTo>
                  <a:lnTo>
                    <a:pt x="222" y="234"/>
                  </a:lnTo>
                  <a:lnTo>
                    <a:pt x="228" y="234"/>
                  </a:lnTo>
                  <a:lnTo>
                    <a:pt x="234" y="228"/>
                  </a:lnTo>
                  <a:lnTo>
                    <a:pt x="234" y="204"/>
                  </a:lnTo>
                  <a:lnTo>
                    <a:pt x="240" y="198"/>
                  </a:lnTo>
                  <a:lnTo>
                    <a:pt x="258" y="198"/>
                  </a:lnTo>
                  <a:lnTo>
                    <a:pt x="276" y="216"/>
                  </a:lnTo>
                  <a:lnTo>
                    <a:pt x="276" y="246"/>
                  </a:lnTo>
                  <a:lnTo>
                    <a:pt x="294" y="246"/>
                  </a:lnTo>
                  <a:lnTo>
                    <a:pt x="306" y="312"/>
                  </a:lnTo>
                  <a:lnTo>
                    <a:pt x="306" y="318"/>
                  </a:lnTo>
                  <a:lnTo>
                    <a:pt x="336" y="348"/>
                  </a:lnTo>
                  <a:lnTo>
                    <a:pt x="342" y="348"/>
                  </a:lnTo>
                  <a:lnTo>
                    <a:pt x="348" y="342"/>
                  </a:lnTo>
                  <a:lnTo>
                    <a:pt x="360" y="336"/>
                  </a:lnTo>
                  <a:lnTo>
                    <a:pt x="366" y="324"/>
                  </a:lnTo>
                  <a:lnTo>
                    <a:pt x="372" y="318"/>
                  </a:lnTo>
                  <a:lnTo>
                    <a:pt x="390" y="318"/>
                  </a:lnTo>
                  <a:lnTo>
                    <a:pt x="396" y="312"/>
                  </a:lnTo>
                  <a:lnTo>
                    <a:pt x="402" y="300"/>
                  </a:lnTo>
                  <a:lnTo>
                    <a:pt x="408" y="294"/>
                  </a:lnTo>
                  <a:lnTo>
                    <a:pt x="432" y="282"/>
                  </a:lnTo>
                  <a:lnTo>
                    <a:pt x="456" y="282"/>
                  </a:lnTo>
                  <a:lnTo>
                    <a:pt x="456" y="300"/>
                  </a:lnTo>
                  <a:lnTo>
                    <a:pt x="492" y="288"/>
                  </a:lnTo>
                  <a:lnTo>
                    <a:pt x="516" y="288"/>
                  </a:lnTo>
                  <a:lnTo>
                    <a:pt x="522" y="294"/>
                  </a:lnTo>
                  <a:lnTo>
                    <a:pt x="546" y="294"/>
                  </a:lnTo>
                  <a:lnTo>
                    <a:pt x="552" y="288"/>
                  </a:lnTo>
                  <a:lnTo>
                    <a:pt x="540" y="276"/>
                  </a:lnTo>
                  <a:lnTo>
                    <a:pt x="534" y="276"/>
                  </a:lnTo>
                  <a:lnTo>
                    <a:pt x="528" y="270"/>
                  </a:lnTo>
                  <a:close/>
                </a:path>
              </a:pathLst>
            </a:custGeom>
            <a:grpFill/>
            <a:ln w="3175">
              <a:solidFill>
                <a:schemeClr val="bg1"/>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de-DE" sz="1800" b="0" i="0" u="none" strike="noStrike" kern="1200" cap="none" spc="0" normalizeH="0" baseline="0" noProof="0">
                <a:ln>
                  <a:noFill/>
                </a:ln>
                <a:solidFill>
                  <a:srgbClr val="FFC000"/>
                </a:solidFill>
                <a:effectLst/>
                <a:uLnTx/>
                <a:uFillTx/>
                <a:latin typeface="Calibri" pitchFamily="34" charset="0"/>
                <a:ea typeface="+mn-ea"/>
                <a:cs typeface="+mn-cs"/>
              </a:endParaRPr>
            </a:p>
          </p:txBody>
        </p:sp>
        <p:sp>
          <p:nvSpPr>
            <p:cNvPr id="44" name="Taiwan" descr="© INSCALE GmbH, 05.05.2010&#10;http://www.presentationload.com/"/>
            <p:cNvSpPr>
              <a:spLocks/>
            </p:cNvSpPr>
            <p:nvPr/>
          </p:nvSpPr>
          <p:spPr bwMode="gray">
            <a:xfrm>
              <a:off x="7177723" y="3670579"/>
              <a:ext cx="39675" cy="83285"/>
            </a:xfrm>
            <a:custGeom>
              <a:avLst/>
              <a:gdLst>
                <a:gd name="T0" fmla="*/ 2147483647 w 120"/>
                <a:gd name="T1" fmla="*/ 2147483647 h 270"/>
                <a:gd name="T2" fmla="*/ 2147483647 w 120"/>
                <a:gd name="T3" fmla="*/ 2147483647 h 270"/>
                <a:gd name="T4" fmla="*/ 2147483647 w 120"/>
                <a:gd name="T5" fmla="*/ 2147483647 h 270"/>
                <a:gd name="T6" fmla="*/ 2147483647 w 120"/>
                <a:gd name="T7" fmla="*/ 2147483647 h 270"/>
                <a:gd name="T8" fmla="*/ 2147483647 w 120"/>
                <a:gd name="T9" fmla="*/ 2147483647 h 270"/>
                <a:gd name="T10" fmla="*/ 2147483647 w 120"/>
                <a:gd name="T11" fmla="*/ 2147483647 h 270"/>
                <a:gd name="T12" fmla="*/ 2147483647 w 120"/>
                <a:gd name="T13" fmla="*/ 2147483647 h 270"/>
                <a:gd name="T14" fmla="*/ 2147483647 w 120"/>
                <a:gd name="T15" fmla="*/ 2147483647 h 270"/>
                <a:gd name="T16" fmla="*/ 2147483647 w 120"/>
                <a:gd name="T17" fmla="*/ 2147483647 h 270"/>
                <a:gd name="T18" fmla="*/ 2147483647 w 120"/>
                <a:gd name="T19" fmla="*/ 2147483647 h 270"/>
                <a:gd name="T20" fmla="*/ 2147483647 w 120"/>
                <a:gd name="T21" fmla="*/ 0 h 270"/>
                <a:gd name="T22" fmla="*/ 2147483647 w 120"/>
                <a:gd name="T23" fmla="*/ 2147483647 h 270"/>
                <a:gd name="T24" fmla="*/ 2147483647 w 120"/>
                <a:gd name="T25" fmla="*/ 2147483647 h 270"/>
                <a:gd name="T26" fmla="*/ 2147483647 w 120"/>
                <a:gd name="T27" fmla="*/ 2147483647 h 270"/>
                <a:gd name="T28" fmla="*/ 2147483647 w 120"/>
                <a:gd name="T29" fmla="*/ 2147483647 h 270"/>
                <a:gd name="T30" fmla="*/ 0 w 120"/>
                <a:gd name="T31" fmla="*/ 2147483647 h 270"/>
                <a:gd name="T32" fmla="*/ 0 w 120"/>
                <a:gd name="T33" fmla="*/ 2147483647 h 270"/>
                <a:gd name="T34" fmla="*/ 2147483647 w 120"/>
                <a:gd name="T35" fmla="*/ 2147483647 h 270"/>
                <a:gd name="T36" fmla="*/ 2147483647 w 120"/>
                <a:gd name="T37" fmla="*/ 2147483647 h 270"/>
                <a:gd name="T38" fmla="*/ 2147483647 w 120"/>
                <a:gd name="T39" fmla="*/ 2147483647 h 270"/>
                <a:gd name="T40" fmla="*/ 2147483647 w 120"/>
                <a:gd name="T41" fmla="*/ 2147483647 h 270"/>
                <a:gd name="T42" fmla="*/ 2147483647 w 120"/>
                <a:gd name="T43" fmla="*/ 2147483647 h 270"/>
                <a:gd name="T44" fmla="*/ 2147483647 w 120"/>
                <a:gd name="T45" fmla="*/ 2147483647 h 270"/>
                <a:gd name="T46" fmla="*/ 2147483647 w 120"/>
                <a:gd name="T47" fmla="*/ 2147483647 h 270"/>
                <a:gd name="T48" fmla="*/ 2147483647 w 120"/>
                <a:gd name="T49" fmla="*/ 2147483647 h 270"/>
                <a:gd name="T50" fmla="*/ 2147483647 w 120"/>
                <a:gd name="T51" fmla="*/ 2147483647 h 270"/>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20"/>
                <a:gd name="T79" fmla="*/ 0 h 270"/>
                <a:gd name="T80" fmla="*/ 120 w 120"/>
                <a:gd name="T81" fmla="*/ 270 h 270"/>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20" h="270">
                  <a:moveTo>
                    <a:pt x="84" y="270"/>
                  </a:moveTo>
                  <a:lnTo>
                    <a:pt x="84" y="222"/>
                  </a:lnTo>
                  <a:lnTo>
                    <a:pt x="90" y="216"/>
                  </a:lnTo>
                  <a:lnTo>
                    <a:pt x="102" y="192"/>
                  </a:lnTo>
                  <a:lnTo>
                    <a:pt x="102" y="102"/>
                  </a:lnTo>
                  <a:lnTo>
                    <a:pt x="108" y="96"/>
                  </a:lnTo>
                  <a:lnTo>
                    <a:pt x="114" y="84"/>
                  </a:lnTo>
                  <a:lnTo>
                    <a:pt x="114" y="54"/>
                  </a:lnTo>
                  <a:lnTo>
                    <a:pt x="120" y="36"/>
                  </a:lnTo>
                  <a:lnTo>
                    <a:pt x="120" y="24"/>
                  </a:lnTo>
                  <a:lnTo>
                    <a:pt x="72" y="0"/>
                  </a:lnTo>
                  <a:lnTo>
                    <a:pt x="48" y="30"/>
                  </a:lnTo>
                  <a:lnTo>
                    <a:pt x="42" y="42"/>
                  </a:lnTo>
                  <a:lnTo>
                    <a:pt x="30" y="78"/>
                  </a:lnTo>
                  <a:lnTo>
                    <a:pt x="12" y="114"/>
                  </a:lnTo>
                  <a:lnTo>
                    <a:pt x="0" y="150"/>
                  </a:lnTo>
                  <a:lnTo>
                    <a:pt x="0" y="168"/>
                  </a:lnTo>
                  <a:lnTo>
                    <a:pt x="6" y="180"/>
                  </a:lnTo>
                  <a:lnTo>
                    <a:pt x="18" y="192"/>
                  </a:lnTo>
                  <a:lnTo>
                    <a:pt x="24" y="204"/>
                  </a:lnTo>
                  <a:lnTo>
                    <a:pt x="36" y="210"/>
                  </a:lnTo>
                  <a:lnTo>
                    <a:pt x="42" y="222"/>
                  </a:lnTo>
                  <a:lnTo>
                    <a:pt x="42" y="228"/>
                  </a:lnTo>
                  <a:lnTo>
                    <a:pt x="48" y="234"/>
                  </a:lnTo>
                  <a:lnTo>
                    <a:pt x="60" y="258"/>
                  </a:lnTo>
                  <a:lnTo>
                    <a:pt x="84" y="270"/>
                  </a:lnTo>
                  <a:close/>
                </a:path>
              </a:pathLst>
            </a:custGeom>
            <a:grpFill/>
            <a:ln w="3175">
              <a:solidFill>
                <a:schemeClr val="bg1"/>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de-DE" sz="1800" b="0" i="0" u="none" strike="noStrike" kern="1200" cap="none" spc="0" normalizeH="0" baseline="0" noProof="0">
                <a:ln>
                  <a:noFill/>
                </a:ln>
                <a:solidFill>
                  <a:srgbClr val="FFC000"/>
                </a:solidFill>
                <a:effectLst/>
                <a:uLnTx/>
                <a:uFillTx/>
                <a:latin typeface="Calibri" pitchFamily="34" charset="0"/>
                <a:ea typeface="+mn-ea"/>
                <a:cs typeface="+mn-cs"/>
              </a:endParaRPr>
            </a:p>
          </p:txBody>
        </p:sp>
        <p:sp>
          <p:nvSpPr>
            <p:cNvPr id="45" name="Syria" descr="© INSCALE GmbH, 05.05.2010&#10;http://www.presentationload.com/"/>
            <p:cNvSpPr>
              <a:spLocks/>
            </p:cNvSpPr>
            <p:nvPr/>
          </p:nvSpPr>
          <p:spPr bwMode="gray">
            <a:xfrm>
              <a:off x="5252842" y="3368056"/>
              <a:ext cx="145902" cy="128603"/>
            </a:xfrm>
            <a:custGeom>
              <a:avLst/>
              <a:gdLst>
                <a:gd name="T0" fmla="*/ 2147483647 w 450"/>
                <a:gd name="T1" fmla="*/ 2147483647 h 414"/>
                <a:gd name="T2" fmla="*/ 2147483647 w 450"/>
                <a:gd name="T3" fmla="*/ 2147483647 h 414"/>
                <a:gd name="T4" fmla="*/ 2147483647 w 450"/>
                <a:gd name="T5" fmla="*/ 2147483647 h 414"/>
                <a:gd name="T6" fmla="*/ 2147483647 w 450"/>
                <a:gd name="T7" fmla="*/ 0 h 414"/>
                <a:gd name="T8" fmla="*/ 2147483647 w 450"/>
                <a:gd name="T9" fmla="*/ 2147483647 h 414"/>
                <a:gd name="T10" fmla="*/ 2147483647 w 450"/>
                <a:gd name="T11" fmla="*/ 2147483647 h 414"/>
                <a:gd name="T12" fmla="*/ 2147483647 w 450"/>
                <a:gd name="T13" fmla="*/ 2147483647 h 414"/>
                <a:gd name="T14" fmla="*/ 2147483647 w 450"/>
                <a:gd name="T15" fmla="*/ 2147483647 h 414"/>
                <a:gd name="T16" fmla="*/ 2147483647 w 450"/>
                <a:gd name="T17" fmla="*/ 2147483647 h 414"/>
                <a:gd name="T18" fmla="*/ 2147483647 w 450"/>
                <a:gd name="T19" fmla="*/ 2147483647 h 414"/>
                <a:gd name="T20" fmla="*/ 2147483647 w 450"/>
                <a:gd name="T21" fmla="*/ 2147483647 h 414"/>
                <a:gd name="T22" fmla="*/ 2147483647 w 450"/>
                <a:gd name="T23" fmla="*/ 2147483647 h 414"/>
                <a:gd name="T24" fmla="*/ 2147483647 w 450"/>
                <a:gd name="T25" fmla="*/ 2147483647 h 414"/>
                <a:gd name="T26" fmla="*/ 2147483647 w 450"/>
                <a:gd name="T27" fmla="*/ 2147483647 h 414"/>
                <a:gd name="T28" fmla="*/ 2147483647 w 450"/>
                <a:gd name="T29" fmla="*/ 2147483647 h 414"/>
                <a:gd name="T30" fmla="*/ 2147483647 w 450"/>
                <a:gd name="T31" fmla="*/ 2147483647 h 414"/>
                <a:gd name="T32" fmla="*/ 2147483647 w 450"/>
                <a:gd name="T33" fmla="*/ 2147483647 h 414"/>
                <a:gd name="T34" fmla="*/ 2147483647 w 450"/>
                <a:gd name="T35" fmla="*/ 2147483647 h 414"/>
                <a:gd name="T36" fmla="*/ 2147483647 w 450"/>
                <a:gd name="T37" fmla="*/ 2147483647 h 414"/>
                <a:gd name="T38" fmla="*/ 2147483647 w 450"/>
                <a:gd name="T39" fmla="*/ 2147483647 h 414"/>
                <a:gd name="T40" fmla="*/ 2147483647 w 450"/>
                <a:gd name="T41" fmla="*/ 2147483647 h 414"/>
                <a:gd name="T42" fmla="*/ 2147483647 w 450"/>
                <a:gd name="T43" fmla="*/ 2147483647 h 414"/>
                <a:gd name="T44" fmla="*/ 2147483647 w 450"/>
                <a:gd name="T45" fmla="*/ 2147483647 h 414"/>
                <a:gd name="T46" fmla="*/ 2147483647 w 450"/>
                <a:gd name="T47" fmla="*/ 2147483647 h 414"/>
                <a:gd name="T48" fmla="*/ 2147483647 w 450"/>
                <a:gd name="T49" fmla="*/ 2147483647 h 414"/>
                <a:gd name="T50" fmla="*/ 2147483647 w 450"/>
                <a:gd name="T51" fmla="*/ 2147483647 h 414"/>
                <a:gd name="T52" fmla="*/ 2147483647 w 450"/>
                <a:gd name="T53" fmla="*/ 2147483647 h 414"/>
                <a:gd name="T54" fmla="*/ 2147483647 w 450"/>
                <a:gd name="T55" fmla="*/ 2147483647 h 414"/>
                <a:gd name="T56" fmla="*/ 2147483647 w 450"/>
                <a:gd name="T57" fmla="*/ 2147483647 h 414"/>
                <a:gd name="T58" fmla="*/ 2147483647 w 450"/>
                <a:gd name="T59" fmla="*/ 2147483647 h 414"/>
                <a:gd name="T60" fmla="*/ 2147483647 w 450"/>
                <a:gd name="T61" fmla="*/ 2147483647 h 414"/>
                <a:gd name="T62" fmla="*/ 2147483647 w 450"/>
                <a:gd name="T63" fmla="*/ 2147483647 h 414"/>
                <a:gd name="T64" fmla="*/ 2147483647 w 450"/>
                <a:gd name="T65" fmla="*/ 2147483647 h 414"/>
                <a:gd name="T66" fmla="*/ 2147483647 w 450"/>
                <a:gd name="T67" fmla="*/ 2147483647 h 414"/>
                <a:gd name="T68" fmla="*/ 2147483647 w 450"/>
                <a:gd name="T69" fmla="*/ 2147483647 h 414"/>
                <a:gd name="T70" fmla="*/ 2147483647 w 450"/>
                <a:gd name="T71" fmla="*/ 2147483647 h 414"/>
                <a:gd name="T72" fmla="*/ 2147483647 w 450"/>
                <a:gd name="T73" fmla="*/ 2147483647 h 414"/>
                <a:gd name="T74" fmla="*/ 2147483647 w 450"/>
                <a:gd name="T75" fmla="*/ 2147483647 h 414"/>
                <a:gd name="T76" fmla="*/ 2147483647 w 450"/>
                <a:gd name="T77" fmla="*/ 2147483647 h 414"/>
                <a:gd name="T78" fmla="*/ 2147483647 w 450"/>
                <a:gd name="T79" fmla="*/ 2147483647 h 414"/>
                <a:gd name="T80" fmla="*/ 2147483647 w 450"/>
                <a:gd name="T81" fmla="*/ 2147483647 h 414"/>
                <a:gd name="T82" fmla="*/ 2147483647 w 450"/>
                <a:gd name="T83" fmla="*/ 2147483647 h 414"/>
                <a:gd name="T84" fmla="*/ 2147483647 w 450"/>
                <a:gd name="T85" fmla="*/ 2147483647 h 414"/>
                <a:gd name="T86" fmla="*/ 2147483647 w 450"/>
                <a:gd name="T87" fmla="*/ 2147483647 h 414"/>
                <a:gd name="T88" fmla="*/ 2147483647 w 450"/>
                <a:gd name="T89" fmla="*/ 2147483647 h 414"/>
                <a:gd name="T90" fmla="*/ 2147483647 w 450"/>
                <a:gd name="T91" fmla="*/ 2147483647 h 414"/>
                <a:gd name="T92" fmla="*/ 2147483647 w 450"/>
                <a:gd name="T93" fmla="*/ 2147483647 h 414"/>
                <a:gd name="T94" fmla="*/ 2147483647 w 450"/>
                <a:gd name="T95" fmla="*/ 2147483647 h 414"/>
                <a:gd name="T96" fmla="*/ 2147483647 w 450"/>
                <a:gd name="T97" fmla="*/ 2147483647 h 414"/>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450"/>
                <a:gd name="T148" fmla="*/ 0 h 414"/>
                <a:gd name="T149" fmla="*/ 450 w 450"/>
                <a:gd name="T150" fmla="*/ 414 h 414"/>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450" h="414">
                  <a:moveTo>
                    <a:pt x="426" y="60"/>
                  </a:moveTo>
                  <a:lnTo>
                    <a:pt x="432" y="54"/>
                  </a:lnTo>
                  <a:lnTo>
                    <a:pt x="438" y="42"/>
                  </a:lnTo>
                  <a:lnTo>
                    <a:pt x="450" y="30"/>
                  </a:lnTo>
                  <a:lnTo>
                    <a:pt x="444" y="30"/>
                  </a:lnTo>
                  <a:lnTo>
                    <a:pt x="438" y="24"/>
                  </a:lnTo>
                  <a:lnTo>
                    <a:pt x="438" y="0"/>
                  </a:lnTo>
                  <a:lnTo>
                    <a:pt x="432" y="0"/>
                  </a:lnTo>
                  <a:lnTo>
                    <a:pt x="432" y="6"/>
                  </a:lnTo>
                  <a:lnTo>
                    <a:pt x="426" y="18"/>
                  </a:lnTo>
                  <a:lnTo>
                    <a:pt x="402" y="18"/>
                  </a:lnTo>
                  <a:lnTo>
                    <a:pt x="390" y="30"/>
                  </a:lnTo>
                  <a:lnTo>
                    <a:pt x="372" y="30"/>
                  </a:lnTo>
                  <a:lnTo>
                    <a:pt x="366" y="24"/>
                  </a:lnTo>
                  <a:lnTo>
                    <a:pt x="318" y="24"/>
                  </a:lnTo>
                  <a:lnTo>
                    <a:pt x="306" y="30"/>
                  </a:lnTo>
                  <a:lnTo>
                    <a:pt x="294" y="42"/>
                  </a:lnTo>
                  <a:lnTo>
                    <a:pt x="282" y="48"/>
                  </a:lnTo>
                  <a:lnTo>
                    <a:pt x="276" y="54"/>
                  </a:lnTo>
                  <a:lnTo>
                    <a:pt x="258" y="54"/>
                  </a:lnTo>
                  <a:lnTo>
                    <a:pt x="246" y="60"/>
                  </a:lnTo>
                  <a:lnTo>
                    <a:pt x="234" y="60"/>
                  </a:lnTo>
                  <a:lnTo>
                    <a:pt x="222" y="54"/>
                  </a:lnTo>
                  <a:lnTo>
                    <a:pt x="204" y="54"/>
                  </a:lnTo>
                  <a:lnTo>
                    <a:pt x="192" y="42"/>
                  </a:lnTo>
                  <a:lnTo>
                    <a:pt x="180" y="36"/>
                  </a:lnTo>
                  <a:lnTo>
                    <a:pt x="174" y="30"/>
                  </a:lnTo>
                  <a:lnTo>
                    <a:pt x="168" y="30"/>
                  </a:lnTo>
                  <a:lnTo>
                    <a:pt x="150" y="48"/>
                  </a:lnTo>
                  <a:lnTo>
                    <a:pt x="144" y="48"/>
                  </a:lnTo>
                  <a:lnTo>
                    <a:pt x="138" y="54"/>
                  </a:lnTo>
                  <a:lnTo>
                    <a:pt x="120" y="60"/>
                  </a:lnTo>
                  <a:lnTo>
                    <a:pt x="84" y="60"/>
                  </a:lnTo>
                  <a:lnTo>
                    <a:pt x="84" y="54"/>
                  </a:lnTo>
                  <a:lnTo>
                    <a:pt x="90" y="48"/>
                  </a:lnTo>
                  <a:lnTo>
                    <a:pt x="66" y="48"/>
                  </a:lnTo>
                  <a:lnTo>
                    <a:pt x="66" y="78"/>
                  </a:lnTo>
                  <a:lnTo>
                    <a:pt x="72" y="78"/>
                  </a:lnTo>
                  <a:lnTo>
                    <a:pt x="72" y="102"/>
                  </a:lnTo>
                  <a:lnTo>
                    <a:pt x="60" y="102"/>
                  </a:lnTo>
                  <a:lnTo>
                    <a:pt x="54" y="96"/>
                  </a:lnTo>
                  <a:lnTo>
                    <a:pt x="54" y="114"/>
                  </a:lnTo>
                  <a:lnTo>
                    <a:pt x="48" y="120"/>
                  </a:lnTo>
                  <a:lnTo>
                    <a:pt x="48" y="126"/>
                  </a:lnTo>
                  <a:lnTo>
                    <a:pt x="36" y="126"/>
                  </a:lnTo>
                  <a:lnTo>
                    <a:pt x="24" y="114"/>
                  </a:lnTo>
                  <a:lnTo>
                    <a:pt x="18" y="120"/>
                  </a:lnTo>
                  <a:lnTo>
                    <a:pt x="12" y="132"/>
                  </a:lnTo>
                  <a:lnTo>
                    <a:pt x="12" y="150"/>
                  </a:lnTo>
                  <a:lnTo>
                    <a:pt x="6" y="150"/>
                  </a:lnTo>
                  <a:lnTo>
                    <a:pt x="0" y="198"/>
                  </a:lnTo>
                  <a:lnTo>
                    <a:pt x="6" y="204"/>
                  </a:lnTo>
                  <a:lnTo>
                    <a:pt x="18" y="210"/>
                  </a:lnTo>
                  <a:lnTo>
                    <a:pt x="24" y="216"/>
                  </a:lnTo>
                  <a:lnTo>
                    <a:pt x="24" y="222"/>
                  </a:lnTo>
                  <a:lnTo>
                    <a:pt x="72" y="222"/>
                  </a:lnTo>
                  <a:lnTo>
                    <a:pt x="66" y="234"/>
                  </a:lnTo>
                  <a:lnTo>
                    <a:pt x="72" y="240"/>
                  </a:lnTo>
                  <a:lnTo>
                    <a:pt x="78" y="252"/>
                  </a:lnTo>
                  <a:lnTo>
                    <a:pt x="78" y="270"/>
                  </a:lnTo>
                  <a:lnTo>
                    <a:pt x="72" y="282"/>
                  </a:lnTo>
                  <a:lnTo>
                    <a:pt x="66" y="282"/>
                  </a:lnTo>
                  <a:lnTo>
                    <a:pt x="54" y="288"/>
                  </a:lnTo>
                  <a:lnTo>
                    <a:pt x="48" y="288"/>
                  </a:lnTo>
                  <a:lnTo>
                    <a:pt x="42" y="294"/>
                  </a:lnTo>
                  <a:lnTo>
                    <a:pt x="42" y="318"/>
                  </a:lnTo>
                  <a:lnTo>
                    <a:pt x="24" y="336"/>
                  </a:lnTo>
                  <a:lnTo>
                    <a:pt x="30" y="378"/>
                  </a:lnTo>
                  <a:lnTo>
                    <a:pt x="36" y="378"/>
                  </a:lnTo>
                  <a:lnTo>
                    <a:pt x="72" y="396"/>
                  </a:lnTo>
                  <a:lnTo>
                    <a:pt x="84" y="408"/>
                  </a:lnTo>
                  <a:lnTo>
                    <a:pt x="96" y="414"/>
                  </a:lnTo>
                  <a:lnTo>
                    <a:pt x="114" y="414"/>
                  </a:lnTo>
                  <a:lnTo>
                    <a:pt x="174" y="384"/>
                  </a:lnTo>
                  <a:lnTo>
                    <a:pt x="204" y="354"/>
                  </a:lnTo>
                  <a:lnTo>
                    <a:pt x="228" y="336"/>
                  </a:lnTo>
                  <a:lnTo>
                    <a:pt x="240" y="324"/>
                  </a:lnTo>
                  <a:lnTo>
                    <a:pt x="300" y="276"/>
                  </a:lnTo>
                  <a:lnTo>
                    <a:pt x="312" y="270"/>
                  </a:lnTo>
                  <a:lnTo>
                    <a:pt x="372" y="246"/>
                  </a:lnTo>
                  <a:lnTo>
                    <a:pt x="396" y="234"/>
                  </a:lnTo>
                  <a:lnTo>
                    <a:pt x="402" y="228"/>
                  </a:lnTo>
                  <a:lnTo>
                    <a:pt x="402" y="222"/>
                  </a:lnTo>
                  <a:lnTo>
                    <a:pt x="384" y="204"/>
                  </a:lnTo>
                  <a:lnTo>
                    <a:pt x="384" y="198"/>
                  </a:lnTo>
                  <a:lnTo>
                    <a:pt x="390" y="180"/>
                  </a:lnTo>
                  <a:lnTo>
                    <a:pt x="396" y="168"/>
                  </a:lnTo>
                  <a:lnTo>
                    <a:pt x="396" y="138"/>
                  </a:lnTo>
                  <a:lnTo>
                    <a:pt x="390" y="126"/>
                  </a:lnTo>
                  <a:lnTo>
                    <a:pt x="390" y="114"/>
                  </a:lnTo>
                  <a:lnTo>
                    <a:pt x="384" y="108"/>
                  </a:lnTo>
                  <a:lnTo>
                    <a:pt x="378" y="96"/>
                  </a:lnTo>
                  <a:lnTo>
                    <a:pt x="378" y="84"/>
                  </a:lnTo>
                  <a:lnTo>
                    <a:pt x="384" y="72"/>
                  </a:lnTo>
                  <a:lnTo>
                    <a:pt x="390" y="66"/>
                  </a:lnTo>
                  <a:lnTo>
                    <a:pt x="402" y="66"/>
                  </a:lnTo>
                  <a:lnTo>
                    <a:pt x="414" y="60"/>
                  </a:lnTo>
                  <a:lnTo>
                    <a:pt x="426" y="60"/>
                  </a:lnTo>
                  <a:close/>
                </a:path>
              </a:pathLst>
            </a:custGeom>
            <a:grpFill/>
            <a:ln w="3175">
              <a:solidFill>
                <a:schemeClr val="bg1"/>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de-DE" sz="1800" b="0" i="0" u="none" strike="noStrike" kern="1200" cap="none" spc="0" normalizeH="0" baseline="0" noProof="0">
                <a:ln>
                  <a:noFill/>
                </a:ln>
                <a:solidFill>
                  <a:srgbClr val="FFC000"/>
                </a:solidFill>
                <a:effectLst/>
                <a:uLnTx/>
                <a:uFillTx/>
                <a:latin typeface="Calibri" pitchFamily="34" charset="0"/>
                <a:ea typeface="+mn-ea"/>
                <a:cs typeface="+mn-cs"/>
              </a:endParaRPr>
            </a:p>
          </p:txBody>
        </p:sp>
        <p:sp>
          <p:nvSpPr>
            <p:cNvPr id="46" name="Switzerland" descr="© INSCALE GmbH, 05.05.2010&#10;http://www.presentationload.com/"/>
            <p:cNvSpPr>
              <a:spLocks/>
            </p:cNvSpPr>
            <p:nvPr/>
          </p:nvSpPr>
          <p:spPr bwMode="gray">
            <a:xfrm>
              <a:off x="4615482" y="3109626"/>
              <a:ext cx="94708" cy="48992"/>
            </a:xfrm>
            <a:custGeom>
              <a:avLst/>
              <a:gdLst>
                <a:gd name="T0" fmla="*/ 2147483647 w 288"/>
                <a:gd name="T1" fmla="*/ 2147483647 h 162"/>
                <a:gd name="T2" fmla="*/ 2147483647 w 288"/>
                <a:gd name="T3" fmla="*/ 2147483647 h 162"/>
                <a:gd name="T4" fmla="*/ 2147483647 w 288"/>
                <a:gd name="T5" fmla="*/ 2147483647 h 162"/>
                <a:gd name="T6" fmla="*/ 2147483647 w 288"/>
                <a:gd name="T7" fmla="*/ 2147483647 h 162"/>
                <a:gd name="T8" fmla="*/ 2147483647 w 288"/>
                <a:gd name="T9" fmla="*/ 2147483647 h 162"/>
                <a:gd name="T10" fmla="*/ 2147483647 w 288"/>
                <a:gd name="T11" fmla="*/ 2147483647 h 162"/>
                <a:gd name="T12" fmla="*/ 2147483647 w 288"/>
                <a:gd name="T13" fmla="*/ 2147483647 h 162"/>
                <a:gd name="T14" fmla="*/ 0 w 288"/>
                <a:gd name="T15" fmla="*/ 2147483647 h 162"/>
                <a:gd name="T16" fmla="*/ 2147483647 w 288"/>
                <a:gd name="T17" fmla="*/ 2147483647 h 162"/>
                <a:gd name="T18" fmla="*/ 2147483647 w 288"/>
                <a:gd name="T19" fmla="*/ 2147483647 h 162"/>
                <a:gd name="T20" fmla="*/ 2147483647 w 288"/>
                <a:gd name="T21" fmla="*/ 2147483647 h 162"/>
                <a:gd name="T22" fmla="*/ 2147483647 w 288"/>
                <a:gd name="T23" fmla="*/ 2147483647 h 162"/>
                <a:gd name="T24" fmla="*/ 2147483647 w 288"/>
                <a:gd name="T25" fmla="*/ 2147483647 h 162"/>
                <a:gd name="T26" fmla="*/ 2147483647 w 288"/>
                <a:gd name="T27" fmla="*/ 2147483647 h 162"/>
                <a:gd name="T28" fmla="*/ 2147483647 w 288"/>
                <a:gd name="T29" fmla="*/ 2147483647 h 162"/>
                <a:gd name="T30" fmla="*/ 2147483647 w 288"/>
                <a:gd name="T31" fmla="*/ 2147483647 h 162"/>
                <a:gd name="T32" fmla="*/ 2147483647 w 288"/>
                <a:gd name="T33" fmla="*/ 2147483647 h 162"/>
                <a:gd name="T34" fmla="*/ 2147483647 w 288"/>
                <a:gd name="T35" fmla="*/ 2147483647 h 162"/>
                <a:gd name="T36" fmla="*/ 2147483647 w 288"/>
                <a:gd name="T37" fmla="*/ 2147483647 h 162"/>
                <a:gd name="T38" fmla="*/ 2147483647 w 288"/>
                <a:gd name="T39" fmla="*/ 2147483647 h 162"/>
                <a:gd name="T40" fmla="*/ 2147483647 w 288"/>
                <a:gd name="T41" fmla="*/ 2147483647 h 162"/>
                <a:gd name="T42" fmla="*/ 2147483647 w 288"/>
                <a:gd name="T43" fmla="*/ 2147483647 h 162"/>
                <a:gd name="T44" fmla="*/ 2147483647 w 288"/>
                <a:gd name="T45" fmla="*/ 2147483647 h 162"/>
                <a:gd name="T46" fmla="*/ 2147483647 w 288"/>
                <a:gd name="T47" fmla="*/ 2147483647 h 162"/>
                <a:gd name="T48" fmla="*/ 2147483647 w 288"/>
                <a:gd name="T49" fmla="*/ 2147483647 h 162"/>
                <a:gd name="T50" fmla="*/ 2147483647 w 288"/>
                <a:gd name="T51" fmla="*/ 2147483647 h 162"/>
                <a:gd name="T52" fmla="*/ 2147483647 w 288"/>
                <a:gd name="T53" fmla="*/ 2147483647 h 162"/>
                <a:gd name="T54" fmla="*/ 2147483647 w 288"/>
                <a:gd name="T55" fmla="*/ 2147483647 h 162"/>
                <a:gd name="T56" fmla="*/ 2147483647 w 288"/>
                <a:gd name="T57" fmla="*/ 2147483647 h 162"/>
                <a:gd name="T58" fmla="*/ 2147483647 w 288"/>
                <a:gd name="T59" fmla="*/ 2147483647 h 162"/>
                <a:gd name="T60" fmla="*/ 2147483647 w 288"/>
                <a:gd name="T61" fmla="*/ 2147483647 h 162"/>
                <a:gd name="T62" fmla="*/ 2147483647 w 288"/>
                <a:gd name="T63" fmla="*/ 2147483647 h 162"/>
                <a:gd name="T64" fmla="*/ 2147483647 w 288"/>
                <a:gd name="T65" fmla="*/ 2147483647 h 162"/>
                <a:gd name="T66" fmla="*/ 2147483647 w 288"/>
                <a:gd name="T67" fmla="*/ 0 h 162"/>
                <a:gd name="T68" fmla="*/ 2147483647 w 288"/>
                <a:gd name="T69" fmla="*/ 2147483647 h 162"/>
                <a:gd name="T70" fmla="*/ 2147483647 w 288"/>
                <a:gd name="T71" fmla="*/ 2147483647 h 162"/>
                <a:gd name="T72" fmla="*/ 2147483647 w 288"/>
                <a:gd name="T73" fmla="*/ 2147483647 h 162"/>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288"/>
                <a:gd name="T112" fmla="*/ 0 h 162"/>
                <a:gd name="T113" fmla="*/ 288 w 288"/>
                <a:gd name="T114" fmla="*/ 162 h 162"/>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288" h="162">
                  <a:moveTo>
                    <a:pt x="132" y="24"/>
                  </a:moveTo>
                  <a:lnTo>
                    <a:pt x="96" y="24"/>
                  </a:lnTo>
                  <a:lnTo>
                    <a:pt x="90" y="42"/>
                  </a:lnTo>
                  <a:lnTo>
                    <a:pt x="72" y="30"/>
                  </a:lnTo>
                  <a:lnTo>
                    <a:pt x="66" y="42"/>
                  </a:lnTo>
                  <a:lnTo>
                    <a:pt x="60" y="48"/>
                  </a:lnTo>
                  <a:lnTo>
                    <a:pt x="54" y="60"/>
                  </a:lnTo>
                  <a:lnTo>
                    <a:pt x="48" y="66"/>
                  </a:lnTo>
                  <a:lnTo>
                    <a:pt x="30" y="66"/>
                  </a:lnTo>
                  <a:lnTo>
                    <a:pt x="30" y="78"/>
                  </a:lnTo>
                  <a:lnTo>
                    <a:pt x="18" y="90"/>
                  </a:lnTo>
                  <a:lnTo>
                    <a:pt x="12" y="102"/>
                  </a:lnTo>
                  <a:lnTo>
                    <a:pt x="0" y="108"/>
                  </a:lnTo>
                  <a:lnTo>
                    <a:pt x="6" y="120"/>
                  </a:lnTo>
                  <a:lnTo>
                    <a:pt x="0" y="126"/>
                  </a:lnTo>
                  <a:lnTo>
                    <a:pt x="0" y="132"/>
                  </a:lnTo>
                  <a:lnTo>
                    <a:pt x="6" y="132"/>
                  </a:lnTo>
                  <a:lnTo>
                    <a:pt x="30" y="108"/>
                  </a:lnTo>
                  <a:lnTo>
                    <a:pt x="48" y="108"/>
                  </a:lnTo>
                  <a:lnTo>
                    <a:pt x="54" y="114"/>
                  </a:lnTo>
                  <a:lnTo>
                    <a:pt x="48" y="138"/>
                  </a:lnTo>
                  <a:lnTo>
                    <a:pt x="60" y="150"/>
                  </a:lnTo>
                  <a:lnTo>
                    <a:pt x="60" y="156"/>
                  </a:lnTo>
                  <a:lnTo>
                    <a:pt x="72" y="156"/>
                  </a:lnTo>
                  <a:lnTo>
                    <a:pt x="84" y="144"/>
                  </a:lnTo>
                  <a:lnTo>
                    <a:pt x="96" y="144"/>
                  </a:lnTo>
                  <a:lnTo>
                    <a:pt x="108" y="156"/>
                  </a:lnTo>
                  <a:lnTo>
                    <a:pt x="114" y="156"/>
                  </a:lnTo>
                  <a:lnTo>
                    <a:pt x="132" y="138"/>
                  </a:lnTo>
                  <a:lnTo>
                    <a:pt x="132" y="120"/>
                  </a:lnTo>
                  <a:lnTo>
                    <a:pt x="138" y="114"/>
                  </a:lnTo>
                  <a:lnTo>
                    <a:pt x="150" y="114"/>
                  </a:lnTo>
                  <a:lnTo>
                    <a:pt x="156" y="120"/>
                  </a:lnTo>
                  <a:lnTo>
                    <a:pt x="156" y="126"/>
                  </a:lnTo>
                  <a:lnTo>
                    <a:pt x="162" y="132"/>
                  </a:lnTo>
                  <a:lnTo>
                    <a:pt x="162" y="138"/>
                  </a:lnTo>
                  <a:lnTo>
                    <a:pt x="168" y="138"/>
                  </a:lnTo>
                  <a:lnTo>
                    <a:pt x="192" y="162"/>
                  </a:lnTo>
                  <a:lnTo>
                    <a:pt x="192" y="144"/>
                  </a:lnTo>
                  <a:lnTo>
                    <a:pt x="204" y="132"/>
                  </a:lnTo>
                  <a:lnTo>
                    <a:pt x="210" y="108"/>
                  </a:lnTo>
                  <a:lnTo>
                    <a:pt x="222" y="126"/>
                  </a:lnTo>
                  <a:lnTo>
                    <a:pt x="240" y="120"/>
                  </a:lnTo>
                  <a:lnTo>
                    <a:pt x="258" y="132"/>
                  </a:lnTo>
                  <a:lnTo>
                    <a:pt x="264" y="120"/>
                  </a:lnTo>
                  <a:lnTo>
                    <a:pt x="252" y="108"/>
                  </a:lnTo>
                  <a:lnTo>
                    <a:pt x="252" y="102"/>
                  </a:lnTo>
                  <a:lnTo>
                    <a:pt x="276" y="102"/>
                  </a:lnTo>
                  <a:lnTo>
                    <a:pt x="282" y="84"/>
                  </a:lnTo>
                  <a:lnTo>
                    <a:pt x="288" y="84"/>
                  </a:lnTo>
                  <a:lnTo>
                    <a:pt x="288" y="78"/>
                  </a:lnTo>
                  <a:lnTo>
                    <a:pt x="276" y="66"/>
                  </a:lnTo>
                  <a:lnTo>
                    <a:pt x="270" y="66"/>
                  </a:lnTo>
                  <a:lnTo>
                    <a:pt x="252" y="84"/>
                  </a:lnTo>
                  <a:lnTo>
                    <a:pt x="246" y="84"/>
                  </a:lnTo>
                  <a:lnTo>
                    <a:pt x="246" y="66"/>
                  </a:lnTo>
                  <a:lnTo>
                    <a:pt x="210" y="66"/>
                  </a:lnTo>
                  <a:lnTo>
                    <a:pt x="210" y="60"/>
                  </a:lnTo>
                  <a:lnTo>
                    <a:pt x="216" y="48"/>
                  </a:lnTo>
                  <a:lnTo>
                    <a:pt x="222" y="42"/>
                  </a:lnTo>
                  <a:lnTo>
                    <a:pt x="228" y="42"/>
                  </a:lnTo>
                  <a:lnTo>
                    <a:pt x="228" y="30"/>
                  </a:lnTo>
                  <a:lnTo>
                    <a:pt x="216" y="30"/>
                  </a:lnTo>
                  <a:lnTo>
                    <a:pt x="210" y="18"/>
                  </a:lnTo>
                  <a:lnTo>
                    <a:pt x="192" y="12"/>
                  </a:lnTo>
                  <a:lnTo>
                    <a:pt x="180" y="12"/>
                  </a:lnTo>
                  <a:lnTo>
                    <a:pt x="174" y="6"/>
                  </a:lnTo>
                  <a:lnTo>
                    <a:pt x="162" y="0"/>
                  </a:lnTo>
                  <a:lnTo>
                    <a:pt x="156" y="0"/>
                  </a:lnTo>
                  <a:lnTo>
                    <a:pt x="150" y="6"/>
                  </a:lnTo>
                  <a:lnTo>
                    <a:pt x="150" y="18"/>
                  </a:lnTo>
                  <a:lnTo>
                    <a:pt x="156" y="24"/>
                  </a:lnTo>
                  <a:lnTo>
                    <a:pt x="150" y="18"/>
                  </a:lnTo>
                  <a:lnTo>
                    <a:pt x="132" y="24"/>
                  </a:lnTo>
                  <a:close/>
                </a:path>
              </a:pathLst>
            </a:custGeom>
            <a:grpFill/>
            <a:ln w="3175">
              <a:solidFill>
                <a:schemeClr val="bg1"/>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de-DE" sz="1800" b="0" i="0" u="none" strike="noStrike" kern="1200" cap="none" spc="0" normalizeH="0" baseline="0" noProof="0">
                <a:ln>
                  <a:noFill/>
                </a:ln>
                <a:solidFill>
                  <a:srgbClr val="FFC000"/>
                </a:solidFill>
                <a:effectLst/>
                <a:uLnTx/>
                <a:uFillTx/>
                <a:latin typeface="Calibri" pitchFamily="34" charset="0"/>
                <a:ea typeface="+mn-ea"/>
                <a:cs typeface="+mn-cs"/>
              </a:endParaRPr>
            </a:p>
          </p:txBody>
        </p:sp>
        <p:sp>
          <p:nvSpPr>
            <p:cNvPr id="47" name="Sweden" descr="© INSCALE GmbH, 05.05.2010&#10;http://www.presentationload.com/"/>
            <p:cNvSpPr>
              <a:spLocks noEditPoints="1"/>
            </p:cNvSpPr>
            <p:nvPr/>
          </p:nvSpPr>
          <p:spPr bwMode="gray">
            <a:xfrm>
              <a:off x="4722988" y="2620935"/>
              <a:ext cx="223972" cy="307422"/>
            </a:xfrm>
            <a:custGeom>
              <a:avLst/>
              <a:gdLst>
                <a:gd name="T0" fmla="*/ 2147483647 w 690"/>
                <a:gd name="T1" fmla="*/ 2147483647 h 990"/>
                <a:gd name="T2" fmla="*/ 2147483647 w 690"/>
                <a:gd name="T3" fmla="*/ 2147483647 h 990"/>
                <a:gd name="T4" fmla="*/ 2147483647 w 690"/>
                <a:gd name="T5" fmla="*/ 2147483647 h 990"/>
                <a:gd name="T6" fmla="*/ 2147483647 w 690"/>
                <a:gd name="T7" fmla="*/ 2147483647 h 990"/>
                <a:gd name="T8" fmla="*/ 2147483647 w 690"/>
                <a:gd name="T9" fmla="*/ 2147483647 h 990"/>
                <a:gd name="T10" fmla="*/ 2147483647 w 690"/>
                <a:gd name="T11" fmla="*/ 2147483647 h 990"/>
                <a:gd name="T12" fmla="*/ 2147483647 w 690"/>
                <a:gd name="T13" fmla="*/ 2147483647 h 990"/>
                <a:gd name="T14" fmla="*/ 2147483647 w 690"/>
                <a:gd name="T15" fmla="*/ 2147483647 h 990"/>
                <a:gd name="T16" fmla="*/ 2147483647 w 690"/>
                <a:gd name="T17" fmla="*/ 2147483647 h 990"/>
                <a:gd name="T18" fmla="*/ 2147483647 w 690"/>
                <a:gd name="T19" fmla="*/ 2147483647 h 990"/>
                <a:gd name="T20" fmla="*/ 2147483647 w 690"/>
                <a:gd name="T21" fmla="*/ 2147483647 h 990"/>
                <a:gd name="T22" fmla="*/ 2147483647 w 690"/>
                <a:gd name="T23" fmla="*/ 2147483647 h 990"/>
                <a:gd name="T24" fmla="*/ 2147483647 w 690"/>
                <a:gd name="T25" fmla="*/ 2147483647 h 990"/>
                <a:gd name="T26" fmla="*/ 2147483647 w 690"/>
                <a:gd name="T27" fmla="*/ 2147483647 h 990"/>
                <a:gd name="T28" fmla="*/ 2147483647 w 690"/>
                <a:gd name="T29" fmla="*/ 2147483647 h 990"/>
                <a:gd name="T30" fmla="*/ 2147483647 w 690"/>
                <a:gd name="T31" fmla="*/ 2147483647 h 990"/>
                <a:gd name="T32" fmla="*/ 2147483647 w 690"/>
                <a:gd name="T33" fmla="*/ 2147483647 h 990"/>
                <a:gd name="T34" fmla="*/ 2147483647 w 690"/>
                <a:gd name="T35" fmla="*/ 2147483647 h 990"/>
                <a:gd name="T36" fmla="*/ 2147483647 w 690"/>
                <a:gd name="T37" fmla="*/ 2147483647 h 990"/>
                <a:gd name="T38" fmla="*/ 2147483647 w 690"/>
                <a:gd name="T39" fmla="*/ 2147483647 h 990"/>
                <a:gd name="T40" fmla="*/ 2147483647 w 690"/>
                <a:gd name="T41" fmla="*/ 2147483647 h 990"/>
                <a:gd name="T42" fmla="*/ 2147483647 w 690"/>
                <a:gd name="T43" fmla="*/ 2147483647 h 990"/>
                <a:gd name="T44" fmla="*/ 2147483647 w 690"/>
                <a:gd name="T45" fmla="*/ 2147483647 h 990"/>
                <a:gd name="T46" fmla="*/ 0 w 690"/>
                <a:gd name="T47" fmla="*/ 2147483647 h 990"/>
                <a:gd name="T48" fmla="*/ 2147483647 w 690"/>
                <a:gd name="T49" fmla="*/ 2147483647 h 990"/>
                <a:gd name="T50" fmla="*/ 2147483647 w 690"/>
                <a:gd name="T51" fmla="*/ 2147483647 h 990"/>
                <a:gd name="T52" fmla="*/ 2147483647 w 690"/>
                <a:gd name="T53" fmla="*/ 2147483647 h 990"/>
                <a:gd name="T54" fmla="*/ 2147483647 w 690"/>
                <a:gd name="T55" fmla="*/ 2147483647 h 990"/>
                <a:gd name="T56" fmla="*/ 2147483647 w 690"/>
                <a:gd name="T57" fmla="*/ 2147483647 h 990"/>
                <a:gd name="T58" fmla="*/ 2147483647 w 690"/>
                <a:gd name="T59" fmla="*/ 2147483647 h 990"/>
                <a:gd name="T60" fmla="*/ 2147483647 w 690"/>
                <a:gd name="T61" fmla="*/ 2147483647 h 990"/>
                <a:gd name="T62" fmla="*/ 2147483647 w 690"/>
                <a:gd name="T63" fmla="*/ 2147483647 h 990"/>
                <a:gd name="T64" fmla="*/ 2147483647 w 690"/>
                <a:gd name="T65" fmla="*/ 2147483647 h 990"/>
                <a:gd name="T66" fmla="*/ 2147483647 w 690"/>
                <a:gd name="T67" fmla="*/ 2147483647 h 990"/>
                <a:gd name="T68" fmla="*/ 2147483647 w 690"/>
                <a:gd name="T69" fmla="*/ 2147483647 h 990"/>
                <a:gd name="T70" fmla="*/ 2147483647 w 690"/>
                <a:gd name="T71" fmla="*/ 2147483647 h 990"/>
                <a:gd name="T72" fmla="*/ 2147483647 w 690"/>
                <a:gd name="T73" fmla="*/ 2147483647 h 990"/>
                <a:gd name="T74" fmla="*/ 2147483647 w 690"/>
                <a:gd name="T75" fmla="*/ 2147483647 h 990"/>
                <a:gd name="T76" fmla="*/ 2147483647 w 690"/>
                <a:gd name="T77" fmla="*/ 2147483647 h 990"/>
                <a:gd name="T78" fmla="*/ 2147483647 w 690"/>
                <a:gd name="T79" fmla="*/ 2147483647 h 990"/>
                <a:gd name="T80" fmla="*/ 2147483647 w 690"/>
                <a:gd name="T81" fmla="*/ 2147483647 h 990"/>
                <a:gd name="T82" fmla="*/ 2147483647 w 690"/>
                <a:gd name="T83" fmla="*/ 2147483647 h 990"/>
                <a:gd name="T84" fmla="*/ 2147483647 w 690"/>
                <a:gd name="T85" fmla="*/ 2147483647 h 990"/>
                <a:gd name="T86" fmla="*/ 2147483647 w 690"/>
                <a:gd name="T87" fmla="*/ 2147483647 h 990"/>
                <a:gd name="T88" fmla="*/ 2147483647 w 690"/>
                <a:gd name="T89" fmla="*/ 2147483647 h 990"/>
                <a:gd name="T90" fmla="*/ 2147483647 w 690"/>
                <a:gd name="T91" fmla="*/ 2147483647 h 990"/>
                <a:gd name="T92" fmla="*/ 2147483647 w 690"/>
                <a:gd name="T93" fmla="*/ 2147483647 h 990"/>
                <a:gd name="T94" fmla="*/ 2147483647 w 690"/>
                <a:gd name="T95" fmla="*/ 2147483647 h 990"/>
                <a:gd name="T96" fmla="*/ 2147483647 w 690"/>
                <a:gd name="T97" fmla="*/ 2147483647 h 990"/>
                <a:gd name="T98" fmla="*/ 2147483647 w 690"/>
                <a:gd name="T99" fmla="*/ 2147483647 h 990"/>
                <a:gd name="T100" fmla="*/ 2147483647 w 690"/>
                <a:gd name="T101" fmla="*/ 2147483647 h 990"/>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690"/>
                <a:gd name="T154" fmla="*/ 0 h 990"/>
                <a:gd name="T155" fmla="*/ 690 w 690"/>
                <a:gd name="T156" fmla="*/ 990 h 990"/>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690" h="990">
                  <a:moveTo>
                    <a:pt x="678" y="204"/>
                  </a:moveTo>
                  <a:lnTo>
                    <a:pt x="672" y="198"/>
                  </a:lnTo>
                  <a:lnTo>
                    <a:pt x="660" y="192"/>
                  </a:lnTo>
                  <a:lnTo>
                    <a:pt x="648" y="180"/>
                  </a:lnTo>
                  <a:lnTo>
                    <a:pt x="648" y="174"/>
                  </a:lnTo>
                  <a:lnTo>
                    <a:pt x="654" y="162"/>
                  </a:lnTo>
                  <a:lnTo>
                    <a:pt x="660" y="156"/>
                  </a:lnTo>
                  <a:lnTo>
                    <a:pt x="666" y="144"/>
                  </a:lnTo>
                  <a:lnTo>
                    <a:pt x="642" y="132"/>
                  </a:lnTo>
                  <a:lnTo>
                    <a:pt x="648" y="108"/>
                  </a:lnTo>
                  <a:lnTo>
                    <a:pt x="636" y="102"/>
                  </a:lnTo>
                  <a:lnTo>
                    <a:pt x="636" y="96"/>
                  </a:lnTo>
                  <a:lnTo>
                    <a:pt x="642" y="90"/>
                  </a:lnTo>
                  <a:lnTo>
                    <a:pt x="642" y="66"/>
                  </a:lnTo>
                  <a:lnTo>
                    <a:pt x="636" y="66"/>
                  </a:lnTo>
                  <a:lnTo>
                    <a:pt x="630" y="60"/>
                  </a:lnTo>
                  <a:lnTo>
                    <a:pt x="618" y="60"/>
                  </a:lnTo>
                  <a:lnTo>
                    <a:pt x="588" y="42"/>
                  </a:lnTo>
                  <a:lnTo>
                    <a:pt x="552" y="42"/>
                  </a:lnTo>
                  <a:lnTo>
                    <a:pt x="540" y="30"/>
                  </a:lnTo>
                  <a:lnTo>
                    <a:pt x="534" y="30"/>
                  </a:lnTo>
                  <a:lnTo>
                    <a:pt x="528" y="24"/>
                  </a:lnTo>
                  <a:lnTo>
                    <a:pt x="516" y="24"/>
                  </a:lnTo>
                  <a:lnTo>
                    <a:pt x="504" y="18"/>
                  </a:lnTo>
                  <a:lnTo>
                    <a:pt x="498" y="12"/>
                  </a:lnTo>
                  <a:lnTo>
                    <a:pt x="486" y="6"/>
                  </a:lnTo>
                  <a:lnTo>
                    <a:pt x="456" y="0"/>
                  </a:lnTo>
                  <a:lnTo>
                    <a:pt x="456" y="24"/>
                  </a:lnTo>
                  <a:lnTo>
                    <a:pt x="444" y="24"/>
                  </a:lnTo>
                  <a:lnTo>
                    <a:pt x="444" y="30"/>
                  </a:lnTo>
                  <a:lnTo>
                    <a:pt x="456" y="42"/>
                  </a:lnTo>
                  <a:lnTo>
                    <a:pt x="462" y="42"/>
                  </a:lnTo>
                  <a:lnTo>
                    <a:pt x="456" y="48"/>
                  </a:lnTo>
                  <a:lnTo>
                    <a:pt x="444" y="48"/>
                  </a:lnTo>
                  <a:lnTo>
                    <a:pt x="438" y="42"/>
                  </a:lnTo>
                  <a:lnTo>
                    <a:pt x="414" y="42"/>
                  </a:lnTo>
                  <a:lnTo>
                    <a:pt x="390" y="36"/>
                  </a:lnTo>
                  <a:lnTo>
                    <a:pt x="366" y="42"/>
                  </a:lnTo>
                  <a:lnTo>
                    <a:pt x="366" y="30"/>
                  </a:lnTo>
                  <a:lnTo>
                    <a:pt x="360" y="24"/>
                  </a:lnTo>
                  <a:lnTo>
                    <a:pt x="348" y="36"/>
                  </a:lnTo>
                  <a:lnTo>
                    <a:pt x="348" y="66"/>
                  </a:lnTo>
                  <a:lnTo>
                    <a:pt x="342" y="72"/>
                  </a:lnTo>
                  <a:lnTo>
                    <a:pt x="324" y="72"/>
                  </a:lnTo>
                  <a:lnTo>
                    <a:pt x="282" y="78"/>
                  </a:lnTo>
                  <a:lnTo>
                    <a:pt x="264" y="96"/>
                  </a:lnTo>
                  <a:lnTo>
                    <a:pt x="252" y="102"/>
                  </a:lnTo>
                  <a:lnTo>
                    <a:pt x="246" y="102"/>
                  </a:lnTo>
                  <a:lnTo>
                    <a:pt x="246" y="114"/>
                  </a:lnTo>
                  <a:lnTo>
                    <a:pt x="258" y="120"/>
                  </a:lnTo>
                  <a:lnTo>
                    <a:pt x="264" y="126"/>
                  </a:lnTo>
                  <a:lnTo>
                    <a:pt x="258" y="144"/>
                  </a:lnTo>
                  <a:lnTo>
                    <a:pt x="252" y="144"/>
                  </a:lnTo>
                  <a:lnTo>
                    <a:pt x="240" y="150"/>
                  </a:lnTo>
                  <a:lnTo>
                    <a:pt x="234" y="156"/>
                  </a:lnTo>
                  <a:lnTo>
                    <a:pt x="234" y="162"/>
                  </a:lnTo>
                  <a:lnTo>
                    <a:pt x="228" y="168"/>
                  </a:lnTo>
                  <a:lnTo>
                    <a:pt x="210" y="168"/>
                  </a:lnTo>
                  <a:lnTo>
                    <a:pt x="216" y="174"/>
                  </a:lnTo>
                  <a:lnTo>
                    <a:pt x="216" y="180"/>
                  </a:lnTo>
                  <a:lnTo>
                    <a:pt x="222" y="186"/>
                  </a:lnTo>
                  <a:lnTo>
                    <a:pt x="222" y="192"/>
                  </a:lnTo>
                  <a:lnTo>
                    <a:pt x="216" y="192"/>
                  </a:lnTo>
                  <a:lnTo>
                    <a:pt x="210" y="198"/>
                  </a:lnTo>
                  <a:lnTo>
                    <a:pt x="204" y="198"/>
                  </a:lnTo>
                  <a:lnTo>
                    <a:pt x="192" y="204"/>
                  </a:lnTo>
                  <a:lnTo>
                    <a:pt x="174" y="192"/>
                  </a:lnTo>
                  <a:lnTo>
                    <a:pt x="174" y="228"/>
                  </a:lnTo>
                  <a:lnTo>
                    <a:pt x="168" y="270"/>
                  </a:lnTo>
                  <a:lnTo>
                    <a:pt x="138" y="300"/>
                  </a:lnTo>
                  <a:lnTo>
                    <a:pt x="132" y="300"/>
                  </a:lnTo>
                  <a:lnTo>
                    <a:pt x="120" y="306"/>
                  </a:lnTo>
                  <a:lnTo>
                    <a:pt x="132" y="312"/>
                  </a:lnTo>
                  <a:lnTo>
                    <a:pt x="150" y="330"/>
                  </a:lnTo>
                  <a:lnTo>
                    <a:pt x="150" y="336"/>
                  </a:lnTo>
                  <a:lnTo>
                    <a:pt x="144" y="342"/>
                  </a:lnTo>
                  <a:lnTo>
                    <a:pt x="102" y="342"/>
                  </a:lnTo>
                  <a:lnTo>
                    <a:pt x="90" y="348"/>
                  </a:lnTo>
                  <a:lnTo>
                    <a:pt x="84" y="354"/>
                  </a:lnTo>
                  <a:lnTo>
                    <a:pt x="72" y="360"/>
                  </a:lnTo>
                  <a:lnTo>
                    <a:pt x="30" y="402"/>
                  </a:lnTo>
                  <a:lnTo>
                    <a:pt x="36" y="408"/>
                  </a:lnTo>
                  <a:lnTo>
                    <a:pt x="42" y="408"/>
                  </a:lnTo>
                  <a:lnTo>
                    <a:pt x="48" y="414"/>
                  </a:lnTo>
                  <a:lnTo>
                    <a:pt x="48" y="420"/>
                  </a:lnTo>
                  <a:lnTo>
                    <a:pt x="42" y="426"/>
                  </a:lnTo>
                  <a:lnTo>
                    <a:pt x="36" y="426"/>
                  </a:lnTo>
                  <a:lnTo>
                    <a:pt x="30" y="432"/>
                  </a:lnTo>
                  <a:lnTo>
                    <a:pt x="30" y="444"/>
                  </a:lnTo>
                  <a:lnTo>
                    <a:pt x="54" y="468"/>
                  </a:lnTo>
                  <a:lnTo>
                    <a:pt x="54" y="480"/>
                  </a:lnTo>
                  <a:lnTo>
                    <a:pt x="48" y="492"/>
                  </a:lnTo>
                  <a:lnTo>
                    <a:pt x="48" y="510"/>
                  </a:lnTo>
                  <a:lnTo>
                    <a:pt x="60" y="522"/>
                  </a:lnTo>
                  <a:lnTo>
                    <a:pt x="66" y="522"/>
                  </a:lnTo>
                  <a:lnTo>
                    <a:pt x="84" y="540"/>
                  </a:lnTo>
                  <a:lnTo>
                    <a:pt x="84" y="552"/>
                  </a:lnTo>
                  <a:lnTo>
                    <a:pt x="72" y="564"/>
                  </a:lnTo>
                  <a:lnTo>
                    <a:pt x="48" y="570"/>
                  </a:lnTo>
                  <a:lnTo>
                    <a:pt x="54" y="576"/>
                  </a:lnTo>
                  <a:lnTo>
                    <a:pt x="60" y="588"/>
                  </a:lnTo>
                  <a:lnTo>
                    <a:pt x="60" y="594"/>
                  </a:lnTo>
                  <a:lnTo>
                    <a:pt x="66" y="600"/>
                  </a:lnTo>
                  <a:lnTo>
                    <a:pt x="66" y="606"/>
                  </a:lnTo>
                  <a:lnTo>
                    <a:pt x="72" y="618"/>
                  </a:lnTo>
                  <a:lnTo>
                    <a:pt x="66" y="618"/>
                  </a:lnTo>
                  <a:lnTo>
                    <a:pt x="66" y="642"/>
                  </a:lnTo>
                  <a:lnTo>
                    <a:pt x="60" y="648"/>
                  </a:lnTo>
                  <a:lnTo>
                    <a:pt x="24" y="648"/>
                  </a:lnTo>
                  <a:lnTo>
                    <a:pt x="30" y="660"/>
                  </a:lnTo>
                  <a:lnTo>
                    <a:pt x="30" y="666"/>
                  </a:lnTo>
                  <a:lnTo>
                    <a:pt x="24" y="666"/>
                  </a:lnTo>
                  <a:lnTo>
                    <a:pt x="18" y="672"/>
                  </a:lnTo>
                  <a:lnTo>
                    <a:pt x="18" y="678"/>
                  </a:lnTo>
                  <a:lnTo>
                    <a:pt x="30" y="690"/>
                  </a:lnTo>
                  <a:lnTo>
                    <a:pt x="30" y="708"/>
                  </a:lnTo>
                  <a:lnTo>
                    <a:pt x="24" y="714"/>
                  </a:lnTo>
                  <a:lnTo>
                    <a:pt x="18" y="726"/>
                  </a:lnTo>
                  <a:lnTo>
                    <a:pt x="0" y="708"/>
                  </a:lnTo>
                  <a:lnTo>
                    <a:pt x="0" y="768"/>
                  </a:lnTo>
                  <a:lnTo>
                    <a:pt x="6" y="762"/>
                  </a:lnTo>
                  <a:lnTo>
                    <a:pt x="24" y="762"/>
                  </a:lnTo>
                  <a:lnTo>
                    <a:pt x="36" y="774"/>
                  </a:lnTo>
                  <a:lnTo>
                    <a:pt x="36" y="780"/>
                  </a:lnTo>
                  <a:lnTo>
                    <a:pt x="30" y="780"/>
                  </a:lnTo>
                  <a:lnTo>
                    <a:pt x="30" y="774"/>
                  </a:lnTo>
                  <a:lnTo>
                    <a:pt x="24" y="774"/>
                  </a:lnTo>
                  <a:lnTo>
                    <a:pt x="24" y="834"/>
                  </a:lnTo>
                  <a:lnTo>
                    <a:pt x="30" y="840"/>
                  </a:lnTo>
                  <a:lnTo>
                    <a:pt x="36" y="840"/>
                  </a:lnTo>
                  <a:lnTo>
                    <a:pt x="48" y="846"/>
                  </a:lnTo>
                  <a:lnTo>
                    <a:pt x="54" y="858"/>
                  </a:lnTo>
                  <a:lnTo>
                    <a:pt x="60" y="864"/>
                  </a:lnTo>
                  <a:lnTo>
                    <a:pt x="66" y="876"/>
                  </a:lnTo>
                  <a:lnTo>
                    <a:pt x="90" y="900"/>
                  </a:lnTo>
                  <a:lnTo>
                    <a:pt x="96" y="900"/>
                  </a:lnTo>
                  <a:lnTo>
                    <a:pt x="96" y="912"/>
                  </a:lnTo>
                  <a:lnTo>
                    <a:pt x="78" y="912"/>
                  </a:lnTo>
                  <a:lnTo>
                    <a:pt x="78" y="942"/>
                  </a:lnTo>
                  <a:lnTo>
                    <a:pt x="90" y="954"/>
                  </a:lnTo>
                  <a:lnTo>
                    <a:pt x="102" y="960"/>
                  </a:lnTo>
                  <a:lnTo>
                    <a:pt x="96" y="966"/>
                  </a:lnTo>
                  <a:lnTo>
                    <a:pt x="96" y="984"/>
                  </a:lnTo>
                  <a:lnTo>
                    <a:pt x="102" y="984"/>
                  </a:lnTo>
                  <a:lnTo>
                    <a:pt x="108" y="990"/>
                  </a:lnTo>
                  <a:lnTo>
                    <a:pt x="174" y="990"/>
                  </a:lnTo>
                  <a:lnTo>
                    <a:pt x="180" y="984"/>
                  </a:lnTo>
                  <a:lnTo>
                    <a:pt x="180" y="948"/>
                  </a:lnTo>
                  <a:lnTo>
                    <a:pt x="198" y="942"/>
                  </a:lnTo>
                  <a:lnTo>
                    <a:pt x="198" y="924"/>
                  </a:lnTo>
                  <a:lnTo>
                    <a:pt x="264" y="930"/>
                  </a:lnTo>
                  <a:lnTo>
                    <a:pt x="276" y="936"/>
                  </a:lnTo>
                  <a:lnTo>
                    <a:pt x="300" y="876"/>
                  </a:lnTo>
                  <a:lnTo>
                    <a:pt x="300" y="864"/>
                  </a:lnTo>
                  <a:lnTo>
                    <a:pt x="306" y="852"/>
                  </a:lnTo>
                  <a:lnTo>
                    <a:pt x="306" y="816"/>
                  </a:lnTo>
                  <a:lnTo>
                    <a:pt x="300" y="810"/>
                  </a:lnTo>
                  <a:lnTo>
                    <a:pt x="294" y="798"/>
                  </a:lnTo>
                  <a:lnTo>
                    <a:pt x="312" y="798"/>
                  </a:lnTo>
                  <a:lnTo>
                    <a:pt x="324" y="786"/>
                  </a:lnTo>
                  <a:lnTo>
                    <a:pt x="324" y="780"/>
                  </a:lnTo>
                  <a:lnTo>
                    <a:pt x="306" y="762"/>
                  </a:lnTo>
                  <a:lnTo>
                    <a:pt x="294" y="762"/>
                  </a:lnTo>
                  <a:lnTo>
                    <a:pt x="312" y="756"/>
                  </a:lnTo>
                  <a:lnTo>
                    <a:pt x="300" y="750"/>
                  </a:lnTo>
                  <a:lnTo>
                    <a:pt x="324" y="750"/>
                  </a:lnTo>
                  <a:lnTo>
                    <a:pt x="336" y="744"/>
                  </a:lnTo>
                  <a:lnTo>
                    <a:pt x="348" y="744"/>
                  </a:lnTo>
                  <a:lnTo>
                    <a:pt x="354" y="738"/>
                  </a:lnTo>
                  <a:lnTo>
                    <a:pt x="360" y="726"/>
                  </a:lnTo>
                  <a:lnTo>
                    <a:pt x="360" y="714"/>
                  </a:lnTo>
                  <a:lnTo>
                    <a:pt x="366" y="708"/>
                  </a:lnTo>
                  <a:lnTo>
                    <a:pt x="384" y="726"/>
                  </a:lnTo>
                  <a:lnTo>
                    <a:pt x="390" y="726"/>
                  </a:lnTo>
                  <a:lnTo>
                    <a:pt x="396" y="720"/>
                  </a:lnTo>
                  <a:lnTo>
                    <a:pt x="408" y="696"/>
                  </a:lnTo>
                  <a:lnTo>
                    <a:pt x="402" y="690"/>
                  </a:lnTo>
                  <a:lnTo>
                    <a:pt x="402" y="684"/>
                  </a:lnTo>
                  <a:lnTo>
                    <a:pt x="414" y="684"/>
                  </a:lnTo>
                  <a:lnTo>
                    <a:pt x="420" y="678"/>
                  </a:lnTo>
                  <a:lnTo>
                    <a:pt x="432" y="672"/>
                  </a:lnTo>
                  <a:lnTo>
                    <a:pt x="432" y="660"/>
                  </a:lnTo>
                  <a:lnTo>
                    <a:pt x="420" y="636"/>
                  </a:lnTo>
                  <a:lnTo>
                    <a:pt x="408" y="630"/>
                  </a:lnTo>
                  <a:lnTo>
                    <a:pt x="408" y="618"/>
                  </a:lnTo>
                  <a:lnTo>
                    <a:pt x="372" y="600"/>
                  </a:lnTo>
                  <a:lnTo>
                    <a:pt x="360" y="606"/>
                  </a:lnTo>
                  <a:lnTo>
                    <a:pt x="354" y="606"/>
                  </a:lnTo>
                  <a:lnTo>
                    <a:pt x="342" y="600"/>
                  </a:lnTo>
                  <a:lnTo>
                    <a:pt x="330" y="576"/>
                  </a:lnTo>
                  <a:lnTo>
                    <a:pt x="330" y="558"/>
                  </a:lnTo>
                  <a:lnTo>
                    <a:pt x="324" y="546"/>
                  </a:lnTo>
                  <a:lnTo>
                    <a:pt x="324" y="528"/>
                  </a:lnTo>
                  <a:lnTo>
                    <a:pt x="336" y="516"/>
                  </a:lnTo>
                  <a:lnTo>
                    <a:pt x="342" y="504"/>
                  </a:lnTo>
                  <a:lnTo>
                    <a:pt x="342" y="486"/>
                  </a:lnTo>
                  <a:lnTo>
                    <a:pt x="336" y="474"/>
                  </a:lnTo>
                  <a:lnTo>
                    <a:pt x="330" y="468"/>
                  </a:lnTo>
                  <a:lnTo>
                    <a:pt x="330" y="462"/>
                  </a:lnTo>
                  <a:lnTo>
                    <a:pt x="348" y="462"/>
                  </a:lnTo>
                  <a:lnTo>
                    <a:pt x="354" y="456"/>
                  </a:lnTo>
                  <a:lnTo>
                    <a:pt x="354" y="438"/>
                  </a:lnTo>
                  <a:lnTo>
                    <a:pt x="348" y="426"/>
                  </a:lnTo>
                  <a:lnTo>
                    <a:pt x="354" y="432"/>
                  </a:lnTo>
                  <a:lnTo>
                    <a:pt x="378" y="432"/>
                  </a:lnTo>
                  <a:lnTo>
                    <a:pt x="384" y="426"/>
                  </a:lnTo>
                  <a:lnTo>
                    <a:pt x="396" y="420"/>
                  </a:lnTo>
                  <a:lnTo>
                    <a:pt x="408" y="408"/>
                  </a:lnTo>
                  <a:lnTo>
                    <a:pt x="438" y="414"/>
                  </a:lnTo>
                  <a:lnTo>
                    <a:pt x="450" y="390"/>
                  </a:lnTo>
                  <a:lnTo>
                    <a:pt x="480" y="390"/>
                  </a:lnTo>
                  <a:lnTo>
                    <a:pt x="498" y="384"/>
                  </a:lnTo>
                  <a:lnTo>
                    <a:pt x="510" y="378"/>
                  </a:lnTo>
                  <a:lnTo>
                    <a:pt x="522" y="354"/>
                  </a:lnTo>
                  <a:lnTo>
                    <a:pt x="540" y="336"/>
                  </a:lnTo>
                  <a:lnTo>
                    <a:pt x="546" y="324"/>
                  </a:lnTo>
                  <a:lnTo>
                    <a:pt x="528" y="300"/>
                  </a:lnTo>
                  <a:lnTo>
                    <a:pt x="558" y="264"/>
                  </a:lnTo>
                  <a:lnTo>
                    <a:pt x="540" y="246"/>
                  </a:lnTo>
                  <a:lnTo>
                    <a:pt x="576" y="234"/>
                  </a:lnTo>
                  <a:lnTo>
                    <a:pt x="594" y="216"/>
                  </a:lnTo>
                  <a:lnTo>
                    <a:pt x="672" y="222"/>
                  </a:lnTo>
                  <a:lnTo>
                    <a:pt x="684" y="240"/>
                  </a:lnTo>
                  <a:lnTo>
                    <a:pt x="690" y="240"/>
                  </a:lnTo>
                  <a:lnTo>
                    <a:pt x="678" y="204"/>
                  </a:lnTo>
                  <a:close/>
                  <a:moveTo>
                    <a:pt x="390" y="828"/>
                  </a:moveTo>
                  <a:lnTo>
                    <a:pt x="390" y="840"/>
                  </a:lnTo>
                  <a:lnTo>
                    <a:pt x="396" y="852"/>
                  </a:lnTo>
                  <a:lnTo>
                    <a:pt x="396" y="864"/>
                  </a:lnTo>
                  <a:lnTo>
                    <a:pt x="402" y="870"/>
                  </a:lnTo>
                  <a:lnTo>
                    <a:pt x="402" y="876"/>
                  </a:lnTo>
                  <a:lnTo>
                    <a:pt x="414" y="852"/>
                  </a:lnTo>
                  <a:lnTo>
                    <a:pt x="426" y="852"/>
                  </a:lnTo>
                  <a:lnTo>
                    <a:pt x="432" y="846"/>
                  </a:lnTo>
                  <a:lnTo>
                    <a:pt x="438" y="834"/>
                  </a:lnTo>
                  <a:lnTo>
                    <a:pt x="438" y="822"/>
                  </a:lnTo>
                  <a:lnTo>
                    <a:pt x="432" y="816"/>
                  </a:lnTo>
                  <a:lnTo>
                    <a:pt x="450" y="798"/>
                  </a:lnTo>
                  <a:lnTo>
                    <a:pt x="444" y="798"/>
                  </a:lnTo>
                  <a:lnTo>
                    <a:pt x="438" y="804"/>
                  </a:lnTo>
                  <a:lnTo>
                    <a:pt x="420" y="804"/>
                  </a:lnTo>
                  <a:lnTo>
                    <a:pt x="408" y="810"/>
                  </a:lnTo>
                  <a:lnTo>
                    <a:pt x="390" y="828"/>
                  </a:lnTo>
                  <a:close/>
                  <a:moveTo>
                    <a:pt x="300" y="900"/>
                  </a:moveTo>
                  <a:lnTo>
                    <a:pt x="300" y="912"/>
                  </a:lnTo>
                  <a:lnTo>
                    <a:pt x="294" y="924"/>
                  </a:lnTo>
                  <a:lnTo>
                    <a:pt x="300" y="918"/>
                  </a:lnTo>
                  <a:lnTo>
                    <a:pt x="312" y="912"/>
                  </a:lnTo>
                  <a:lnTo>
                    <a:pt x="318" y="900"/>
                  </a:lnTo>
                  <a:lnTo>
                    <a:pt x="318" y="894"/>
                  </a:lnTo>
                  <a:lnTo>
                    <a:pt x="324" y="888"/>
                  </a:lnTo>
                  <a:lnTo>
                    <a:pt x="324" y="882"/>
                  </a:lnTo>
                  <a:lnTo>
                    <a:pt x="342" y="858"/>
                  </a:lnTo>
                  <a:lnTo>
                    <a:pt x="336" y="840"/>
                  </a:lnTo>
                  <a:lnTo>
                    <a:pt x="330" y="852"/>
                  </a:lnTo>
                  <a:lnTo>
                    <a:pt x="312" y="870"/>
                  </a:lnTo>
                  <a:lnTo>
                    <a:pt x="300" y="894"/>
                  </a:lnTo>
                  <a:lnTo>
                    <a:pt x="300" y="900"/>
                  </a:lnTo>
                  <a:close/>
                </a:path>
              </a:pathLst>
            </a:custGeom>
            <a:grpFill/>
            <a:ln w="3175">
              <a:solidFill>
                <a:schemeClr val="bg1"/>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de-DE" sz="1800" b="0" i="0" u="none" strike="noStrike" kern="1200" cap="none" spc="0" normalizeH="0" baseline="0" noProof="0">
                <a:ln>
                  <a:noFill/>
                </a:ln>
                <a:solidFill>
                  <a:srgbClr val="FFC000"/>
                </a:solidFill>
                <a:effectLst/>
                <a:uLnTx/>
                <a:uFillTx/>
                <a:latin typeface="Calibri" pitchFamily="34" charset="0"/>
                <a:ea typeface="+mn-ea"/>
                <a:cs typeface="+mn-cs"/>
              </a:endParaRPr>
            </a:p>
          </p:txBody>
        </p:sp>
        <p:sp>
          <p:nvSpPr>
            <p:cNvPr id="48" name="Swaziland" descr="© INSCALE GmbH, 05.05.2010&#10;http://www.presentationload.com/"/>
            <p:cNvSpPr>
              <a:spLocks/>
            </p:cNvSpPr>
            <p:nvPr/>
          </p:nvSpPr>
          <p:spPr bwMode="gray">
            <a:xfrm>
              <a:off x="5165813" y="4948034"/>
              <a:ext cx="31996" cy="41643"/>
            </a:xfrm>
            <a:custGeom>
              <a:avLst/>
              <a:gdLst>
                <a:gd name="T0" fmla="*/ 2147483647 w 102"/>
                <a:gd name="T1" fmla="*/ 2147483647 h 132"/>
                <a:gd name="T2" fmla="*/ 2147483647 w 102"/>
                <a:gd name="T3" fmla="*/ 2147483647 h 132"/>
                <a:gd name="T4" fmla="*/ 2147483647 w 102"/>
                <a:gd name="T5" fmla="*/ 2147483647 h 132"/>
                <a:gd name="T6" fmla="*/ 2147483647 w 102"/>
                <a:gd name="T7" fmla="*/ 2147483647 h 132"/>
                <a:gd name="T8" fmla="*/ 2147483647 w 102"/>
                <a:gd name="T9" fmla="*/ 2147483647 h 132"/>
                <a:gd name="T10" fmla="*/ 2147483647 w 102"/>
                <a:gd name="T11" fmla="*/ 0 h 132"/>
                <a:gd name="T12" fmla="*/ 2147483647 w 102"/>
                <a:gd name="T13" fmla="*/ 0 h 132"/>
                <a:gd name="T14" fmla="*/ 2147483647 w 102"/>
                <a:gd name="T15" fmla="*/ 2147483647 h 132"/>
                <a:gd name="T16" fmla="*/ 2147483647 w 102"/>
                <a:gd name="T17" fmla="*/ 2147483647 h 132"/>
                <a:gd name="T18" fmla="*/ 2147483647 w 102"/>
                <a:gd name="T19" fmla="*/ 2147483647 h 132"/>
                <a:gd name="T20" fmla="*/ 2147483647 w 102"/>
                <a:gd name="T21" fmla="*/ 2147483647 h 132"/>
                <a:gd name="T22" fmla="*/ 0 w 102"/>
                <a:gd name="T23" fmla="*/ 2147483647 h 132"/>
                <a:gd name="T24" fmla="*/ 0 w 102"/>
                <a:gd name="T25" fmla="*/ 2147483647 h 132"/>
                <a:gd name="T26" fmla="*/ 2147483647 w 102"/>
                <a:gd name="T27" fmla="*/ 2147483647 h 132"/>
                <a:gd name="T28" fmla="*/ 2147483647 w 102"/>
                <a:gd name="T29" fmla="*/ 2147483647 h 132"/>
                <a:gd name="T30" fmla="*/ 2147483647 w 102"/>
                <a:gd name="T31" fmla="*/ 2147483647 h 132"/>
                <a:gd name="T32" fmla="*/ 2147483647 w 102"/>
                <a:gd name="T33" fmla="*/ 2147483647 h 132"/>
                <a:gd name="T34" fmla="*/ 2147483647 w 102"/>
                <a:gd name="T35" fmla="*/ 2147483647 h 132"/>
                <a:gd name="T36" fmla="*/ 2147483647 w 102"/>
                <a:gd name="T37" fmla="*/ 2147483647 h 132"/>
                <a:gd name="T38" fmla="*/ 2147483647 w 102"/>
                <a:gd name="T39" fmla="*/ 2147483647 h 132"/>
                <a:gd name="T40" fmla="*/ 2147483647 w 102"/>
                <a:gd name="T41" fmla="*/ 2147483647 h 132"/>
                <a:gd name="T42" fmla="*/ 2147483647 w 102"/>
                <a:gd name="T43" fmla="*/ 2147483647 h 132"/>
                <a:gd name="T44" fmla="*/ 2147483647 w 102"/>
                <a:gd name="T45" fmla="*/ 2147483647 h 132"/>
                <a:gd name="T46" fmla="*/ 2147483647 w 102"/>
                <a:gd name="T47" fmla="*/ 2147483647 h 132"/>
                <a:gd name="T48" fmla="*/ 2147483647 w 102"/>
                <a:gd name="T49" fmla="*/ 2147483647 h 13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102"/>
                <a:gd name="T76" fmla="*/ 0 h 132"/>
                <a:gd name="T77" fmla="*/ 102 w 102"/>
                <a:gd name="T78" fmla="*/ 132 h 132"/>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102" h="132">
                  <a:moveTo>
                    <a:pt x="84" y="54"/>
                  </a:moveTo>
                  <a:lnTo>
                    <a:pt x="84" y="30"/>
                  </a:lnTo>
                  <a:lnTo>
                    <a:pt x="90" y="18"/>
                  </a:lnTo>
                  <a:lnTo>
                    <a:pt x="66" y="18"/>
                  </a:lnTo>
                  <a:lnTo>
                    <a:pt x="54" y="6"/>
                  </a:lnTo>
                  <a:lnTo>
                    <a:pt x="42" y="0"/>
                  </a:lnTo>
                  <a:lnTo>
                    <a:pt x="36" y="0"/>
                  </a:lnTo>
                  <a:lnTo>
                    <a:pt x="24" y="12"/>
                  </a:lnTo>
                  <a:lnTo>
                    <a:pt x="18" y="24"/>
                  </a:lnTo>
                  <a:lnTo>
                    <a:pt x="18" y="36"/>
                  </a:lnTo>
                  <a:lnTo>
                    <a:pt x="6" y="48"/>
                  </a:lnTo>
                  <a:lnTo>
                    <a:pt x="0" y="60"/>
                  </a:lnTo>
                  <a:lnTo>
                    <a:pt x="0" y="84"/>
                  </a:lnTo>
                  <a:lnTo>
                    <a:pt x="12" y="108"/>
                  </a:lnTo>
                  <a:lnTo>
                    <a:pt x="24" y="114"/>
                  </a:lnTo>
                  <a:lnTo>
                    <a:pt x="36" y="126"/>
                  </a:lnTo>
                  <a:lnTo>
                    <a:pt x="54" y="126"/>
                  </a:lnTo>
                  <a:lnTo>
                    <a:pt x="66" y="132"/>
                  </a:lnTo>
                  <a:lnTo>
                    <a:pt x="78" y="132"/>
                  </a:lnTo>
                  <a:lnTo>
                    <a:pt x="90" y="90"/>
                  </a:lnTo>
                  <a:lnTo>
                    <a:pt x="96" y="90"/>
                  </a:lnTo>
                  <a:lnTo>
                    <a:pt x="102" y="84"/>
                  </a:lnTo>
                  <a:lnTo>
                    <a:pt x="96" y="60"/>
                  </a:lnTo>
                  <a:lnTo>
                    <a:pt x="90" y="60"/>
                  </a:lnTo>
                  <a:lnTo>
                    <a:pt x="84" y="54"/>
                  </a:lnTo>
                  <a:close/>
                </a:path>
              </a:pathLst>
            </a:custGeom>
            <a:grpFill/>
            <a:ln w="3175">
              <a:solidFill>
                <a:schemeClr val="bg1"/>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de-DE" sz="1800" b="0" i="0" u="none" strike="noStrike" kern="1200" cap="none" spc="0" normalizeH="0" baseline="0" noProof="0">
                <a:ln>
                  <a:noFill/>
                </a:ln>
                <a:solidFill>
                  <a:srgbClr val="FFC000"/>
                </a:solidFill>
                <a:effectLst/>
                <a:uLnTx/>
                <a:uFillTx/>
                <a:latin typeface="Calibri" pitchFamily="34" charset="0"/>
                <a:ea typeface="+mn-ea"/>
                <a:cs typeface="+mn-cs"/>
              </a:endParaRPr>
            </a:p>
          </p:txBody>
        </p:sp>
        <p:sp>
          <p:nvSpPr>
            <p:cNvPr id="49" name="Suriname" descr="© INSCALE GmbH, 05.05.2010&#10;http://www.presentationload.com/"/>
            <p:cNvSpPr>
              <a:spLocks/>
            </p:cNvSpPr>
            <p:nvPr/>
          </p:nvSpPr>
          <p:spPr bwMode="gray">
            <a:xfrm>
              <a:off x="3127026" y="4155596"/>
              <a:ext cx="94708" cy="104107"/>
            </a:xfrm>
            <a:custGeom>
              <a:avLst/>
              <a:gdLst>
                <a:gd name="T0" fmla="*/ 2147483647 w 294"/>
                <a:gd name="T1" fmla="*/ 2147483647 h 336"/>
                <a:gd name="T2" fmla="*/ 2147483647 w 294"/>
                <a:gd name="T3" fmla="*/ 2147483647 h 336"/>
                <a:gd name="T4" fmla="*/ 2147483647 w 294"/>
                <a:gd name="T5" fmla="*/ 2147483647 h 336"/>
                <a:gd name="T6" fmla="*/ 0 w 294"/>
                <a:gd name="T7" fmla="*/ 2147483647 h 336"/>
                <a:gd name="T8" fmla="*/ 2147483647 w 294"/>
                <a:gd name="T9" fmla="*/ 2147483647 h 336"/>
                <a:gd name="T10" fmla="*/ 2147483647 w 294"/>
                <a:gd name="T11" fmla="*/ 2147483647 h 336"/>
                <a:gd name="T12" fmla="*/ 2147483647 w 294"/>
                <a:gd name="T13" fmla="*/ 2147483647 h 336"/>
                <a:gd name="T14" fmla="*/ 2147483647 w 294"/>
                <a:gd name="T15" fmla="*/ 2147483647 h 336"/>
                <a:gd name="T16" fmla="*/ 2147483647 w 294"/>
                <a:gd name="T17" fmla="*/ 2147483647 h 336"/>
                <a:gd name="T18" fmla="*/ 2147483647 w 294"/>
                <a:gd name="T19" fmla="*/ 2147483647 h 336"/>
                <a:gd name="T20" fmla="*/ 2147483647 w 294"/>
                <a:gd name="T21" fmla="*/ 2147483647 h 336"/>
                <a:gd name="T22" fmla="*/ 2147483647 w 294"/>
                <a:gd name="T23" fmla="*/ 2147483647 h 336"/>
                <a:gd name="T24" fmla="*/ 2147483647 w 294"/>
                <a:gd name="T25" fmla="*/ 2147483647 h 336"/>
                <a:gd name="T26" fmla="*/ 2147483647 w 294"/>
                <a:gd name="T27" fmla="*/ 2147483647 h 336"/>
                <a:gd name="T28" fmla="*/ 2147483647 w 294"/>
                <a:gd name="T29" fmla="*/ 2147483647 h 336"/>
                <a:gd name="T30" fmla="*/ 2147483647 w 294"/>
                <a:gd name="T31" fmla="*/ 2147483647 h 336"/>
                <a:gd name="T32" fmla="*/ 2147483647 w 294"/>
                <a:gd name="T33" fmla="*/ 2147483647 h 336"/>
                <a:gd name="T34" fmla="*/ 2147483647 w 294"/>
                <a:gd name="T35" fmla="*/ 2147483647 h 336"/>
                <a:gd name="T36" fmla="*/ 2147483647 w 294"/>
                <a:gd name="T37" fmla="*/ 2147483647 h 336"/>
                <a:gd name="T38" fmla="*/ 2147483647 w 294"/>
                <a:gd name="T39" fmla="*/ 2147483647 h 336"/>
                <a:gd name="T40" fmla="*/ 2147483647 w 294"/>
                <a:gd name="T41" fmla="*/ 2147483647 h 336"/>
                <a:gd name="T42" fmla="*/ 2147483647 w 294"/>
                <a:gd name="T43" fmla="*/ 2147483647 h 336"/>
                <a:gd name="T44" fmla="*/ 2147483647 w 294"/>
                <a:gd name="T45" fmla="*/ 2147483647 h 336"/>
                <a:gd name="T46" fmla="*/ 2147483647 w 294"/>
                <a:gd name="T47" fmla="*/ 2147483647 h 336"/>
                <a:gd name="T48" fmla="*/ 2147483647 w 294"/>
                <a:gd name="T49" fmla="*/ 2147483647 h 336"/>
                <a:gd name="T50" fmla="*/ 2147483647 w 294"/>
                <a:gd name="T51" fmla="*/ 2147483647 h 336"/>
                <a:gd name="T52" fmla="*/ 2147483647 w 294"/>
                <a:gd name="T53" fmla="*/ 2147483647 h 336"/>
                <a:gd name="T54" fmla="*/ 2147483647 w 294"/>
                <a:gd name="T55" fmla="*/ 2147483647 h 336"/>
                <a:gd name="T56" fmla="*/ 2147483647 w 294"/>
                <a:gd name="T57" fmla="*/ 2147483647 h 336"/>
                <a:gd name="T58" fmla="*/ 2147483647 w 294"/>
                <a:gd name="T59" fmla="*/ 2147483647 h 336"/>
                <a:gd name="T60" fmla="*/ 2147483647 w 294"/>
                <a:gd name="T61" fmla="*/ 2147483647 h 336"/>
                <a:gd name="T62" fmla="*/ 2147483647 w 294"/>
                <a:gd name="T63" fmla="*/ 2147483647 h 336"/>
                <a:gd name="T64" fmla="*/ 2147483647 w 294"/>
                <a:gd name="T65" fmla="*/ 2147483647 h 336"/>
                <a:gd name="T66" fmla="*/ 2147483647 w 294"/>
                <a:gd name="T67" fmla="*/ 2147483647 h 336"/>
                <a:gd name="T68" fmla="*/ 2147483647 w 294"/>
                <a:gd name="T69" fmla="*/ 2147483647 h 336"/>
                <a:gd name="T70" fmla="*/ 2147483647 w 294"/>
                <a:gd name="T71" fmla="*/ 0 h 336"/>
                <a:gd name="T72" fmla="*/ 2147483647 w 294"/>
                <a:gd name="T73" fmla="*/ 2147483647 h 336"/>
                <a:gd name="T74" fmla="*/ 2147483647 w 294"/>
                <a:gd name="T75" fmla="*/ 2147483647 h 336"/>
                <a:gd name="T76" fmla="*/ 2147483647 w 294"/>
                <a:gd name="T77" fmla="*/ 2147483647 h 336"/>
                <a:gd name="T78" fmla="*/ 2147483647 w 294"/>
                <a:gd name="T79" fmla="*/ 2147483647 h 336"/>
                <a:gd name="T80" fmla="*/ 2147483647 w 294"/>
                <a:gd name="T81" fmla="*/ 2147483647 h 336"/>
                <a:gd name="T82" fmla="*/ 2147483647 w 294"/>
                <a:gd name="T83" fmla="*/ 2147483647 h 3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294"/>
                <a:gd name="T127" fmla="*/ 0 h 336"/>
                <a:gd name="T128" fmla="*/ 294 w 294"/>
                <a:gd name="T129" fmla="*/ 336 h 3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294" h="336">
                  <a:moveTo>
                    <a:pt x="60" y="78"/>
                  </a:moveTo>
                  <a:lnTo>
                    <a:pt x="30" y="78"/>
                  </a:lnTo>
                  <a:lnTo>
                    <a:pt x="18" y="84"/>
                  </a:lnTo>
                  <a:lnTo>
                    <a:pt x="12" y="90"/>
                  </a:lnTo>
                  <a:lnTo>
                    <a:pt x="12" y="132"/>
                  </a:lnTo>
                  <a:lnTo>
                    <a:pt x="6" y="138"/>
                  </a:lnTo>
                  <a:lnTo>
                    <a:pt x="0" y="150"/>
                  </a:lnTo>
                  <a:lnTo>
                    <a:pt x="0" y="162"/>
                  </a:lnTo>
                  <a:lnTo>
                    <a:pt x="6" y="168"/>
                  </a:lnTo>
                  <a:lnTo>
                    <a:pt x="6" y="174"/>
                  </a:lnTo>
                  <a:lnTo>
                    <a:pt x="12" y="174"/>
                  </a:lnTo>
                  <a:lnTo>
                    <a:pt x="12" y="186"/>
                  </a:lnTo>
                  <a:lnTo>
                    <a:pt x="18" y="198"/>
                  </a:lnTo>
                  <a:lnTo>
                    <a:pt x="24" y="204"/>
                  </a:lnTo>
                  <a:lnTo>
                    <a:pt x="30" y="216"/>
                  </a:lnTo>
                  <a:lnTo>
                    <a:pt x="42" y="216"/>
                  </a:lnTo>
                  <a:lnTo>
                    <a:pt x="42" y="210"/>
                  </a:lnTo>
                  <a:lnTo>
                    <a:pt x="54" y="198"/>
                  </a:lnTo>
                  <a:lnTo>
                    <a:pt x="54" y="216"/>
                  </a:lnTo>
                  <a:lnTo>
                    <a:pt x="48" y="222"/>
                  </a:lnTo>
                  <a:lnTo>
                    <a:pt x="48" y="246"/>
                  </a:lnTo>
                  <a:lnTo>
                    <a:pt x="54" y="258"/>
                  </a:lnTo>
                  <a:lnTo>
                    <a:pt x="72" y="276"/>
                  </a:lnTo>
                  <a:lnTo>
                    <a:pt x="78" y="294"/>
                  </a:lnTo>
                  <a:lnTo>
                    <a:pt x="84" y="306"/>
                  </a:lnTo>
                  <a:lnTo>
                    <a:pt x="90" y="312"/>
                  </a:lnTo>
                  <a:lnTo>
                    <a:pt x="90" y="318"/>
                  </a:lnTo>
                  <a:lnTo>
                    <a:pt x="102" y="324"/>
                  </a:lnTo>
                  <a:lnTo>
                    <a:pt x="108" y="324"/>
                  </a:lnTo>
                  <a:lnTo>
                    <a:pt x="132" y="336"/>
                  </a:lnTo>
                  <a:lnTo>
                    <a:pt x="150" y="336"/>
                  </a:lnTo>
                  <a:lnTo>
                    <a:pt x="156" y="330"/>
                  </a:lnTo>
                  <a:lnTo>
                    <a:pt x="150" y="324"/>
                  </a:lnTo>
                  <a:lnTo>
                    <a:pt x="150" y="318"/>
                  </a:lnTo>
                  <a:lnTo>
                    <a:pt x="138" y="306"/>
                  </a:lnTo>
                  <a:lnTo>
                    <a:pt x="138" y="282"/>
                  </a:lnTo>
                  <a:lnTo>
                    <a:pt x="150" y="276"/>
                  </a:lnTo>
                  <a:lnTo>
                    <a:pt x="156" y="276"/>
                  </a:lnTo>
                  <a:lnTo>
                    <a:pt x="156" y="288"/>
                  </a:lnTo>
                  <a:lnTo>
                    <a:pt x="180" y="288"/>
                  </a:lnTo>
                  <a:lnTo>
                    <a:pt x="192" y="282"/>
                  </a:lnTo>
                  <a:lnTo>
                    <a:pt x="198" y="276"/>
                  </a:lnTo>
                  <a:lnTo>
                    <a:pt x="210" y="270"/>
                  </a:lnTo>
                  <a:lnTo>
                    <a:pt x="216" y="270"/>
                  </a:lnTo>
                  <a:lnTo>
                    <a:pt x="222" y="282"/>
                  </a:lnTo>
                  <a:lnTo>
                    <a:pt x="228" y="288"/>
                  </a:lnTo>
                  <a:lnTo>
                    <a:pt x="246" y="294"/>
                  </a:lnTo>
                  <a:lnTo>
                    <a:pt x="252" y="282"/>
                  </a:lnTo>
                  <a:lnTo>
                    <a:pt x="258" y="276"/>
                  </a:lnTo>
                  <a:lnTo>
                    <a:pt x="258" y="264"/>
                  </a:lnTo>
                  <a:lnTo>
                    <a:pt x="264" y="264"/>
                  </a:lnTo>
                  <a:lnTo>
                    <a:pt x="276" y="258"/>
                  </a:lnTo>
                  <a:lnTo>
                    <a:pt x="270" y="222"/>
                  </a:lnTo>
                  <a:lnTo>
                    <a:pt x="288" y="204"/>
                  </a:lnTo>
                  <a:lnTo>
                    <a:pt x="288" y="198"/>
                  </a:lnTo>
                  <a:lnTo>
                    <a:pt x="282" y="186"/>
                  </a:lnTo>
                  <a:lnTo>
                    <a:pt x="264" y="168"/>
                  </a:lnTo>
                  <a:lnTo>
                    <a:pt x="258" y="156"/>
                  </a:lnTo>
                  <a:lnTo>
                    <a:pt x="258" y="144"/>
                  </a:lnTo>
                  <a:lnTo>
                    <a:pt x="252" y="126"/>
                  </a:lnTo>
                  <a:lnTo>
                    <a:pt x="252" y="96"/>
                  </a:lnTo>
                  <a:lnTo>
                    <a:pt x="258" y="78"/>
                  </a:lnTo>
                  <a:lnTo>
                    <a:pt x="264" y="66"/>
                  </a:lnTo>
                  <a:lnTo>
                    <a:pt x="276" y="60"/>
                  </a:lnTo>
                  <a:lnTo>
                    <a:pt x="282" y="54"/>
                  </a:lnTo>
                  <a:lnTo>
                    <a:pt x="288" y="54"/>
                  </a:lnTo>
                  <a:lnTo>
                    <a:pt x="288" y="30"/>
                  </a:lnTo>
                  <a:lnTo>
                    <a:pt x="294" y="12"/>
                  </a:lnTo>
                  <a:lnTo>
                    <a:pt x="288" y="12"/>
                  </a:lnTo>
                  <a:lnTo>
                    <a:pt x="282" y="6"/>
                  </a:lnTo>
                  <a:lnTo>
                    <a:pt x="270" y="6"/>
                  </a:lnTo>
                  <a:lnTo>
                    <a:pt x="252" y="0"/>
                  </a:lnTo>
                  <a:lnTo>
                    <a:pt x="210" y="0"/>
                  </a:lnTo>
                  <a:lnTo>
                    <a:pt x="204" y="12"/>
                  </a:lnTo>
                  <a:lnTo>
                    <a:pt x="156" y="6"/>
                  </a:lnTo>
                  <a:lnTo>
                    <a:pt x="156" y="18"/>
                  </a:lnTo>
                  <a:lnTo>
                    <a:pt x="96" y="0"/>
                  </a:lnTo>
                  <a:lnTo>
                    <a:pt x="72" y="6"/>
                  </a:lnTo>
                  <a:lnTo>
                    <a:pt x="66" y="18"/>
                  </a:lnTo>
                  <a:lnTo>
                    <a:pt x="60" y="24"/>
                  </a:lnTo>
                  <a:lnTo>
                    <a:pt x="54" y="36"/>
                  </a:lnTo>
                  <a:lnTo>
                    <a:pt x="54" y="48"/>
                  </a:lnTo>
                  <a:lnTo>
                    <a:pt x="66" y="60"/>
                  </a:lnTo>
                  <a:lnTo>
                    <a:pt x="66" y="72"/>
                  </a:lnTo>
                  <a:lnTo>
                    <a:pt x="60" y="78"/>
                  </a:lnTo>
                  <a:close/>
                </a:path>
              </a:pathLst>
            </a:custGeom>
            <a:grpFill/>
            <a:ln w="3175">
              <a:solidFill>
                <a:schemeClr val="bg1"/>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de-DE" sz="1800" b="0" i="0" u="none" strike="noStrike" kern="1200" cap="none" spc="0" normalizeH="0" baseline="0" noProof="0">
                <a:ln>
                  <a:noFill/>
                </a:ln>
                <a:solidFill>
                  <a:srgbClr val="FFC000"/>
                </a:solidFill>
                <a:effectLst/>
                <a:uLnTx/>
                <a:uFillTx/>
                <a:latin typeface="Calibri" pitchFamily="34" charset="0"/>
                <a:ea typeface="+mn-ea"/>
                <a:cs typeface="+mn-cs"/>
              </a:endParaRPr>
            </a:p>
          </p:txBody>
        </p:sp>
        <p:sp>
          <p:nvSpPr>
            <p:cNvPr id="50" name="Sudan" descr="© INSCALE GmbH, 05.05.2010&#10;http://www.presentationload.com/"/>
            <p:cNvSpPr>
              <a:spLocks/>
            </p:cNvSpPr>
            <p:nvPr/>
          </p:nvSpPr>
          <p:spPr bwMode="gray">
            <a:xfrm>
              <a:off x="4969997" y="3726919"/>
              <a:ext cx="377553" cy="491141"/>
            </a:xfrm>
            <a:custGeom>
              <a:avLst/>
              <a:gdLst>
                <a:gd name="T0" fmla="*/ 2147483647 w 1164"/>
                <a:gd name="T1" fmla="*/ 2147483647 h 1584"/>
                <a:gd name="T2" fmla="*/ 2147483647 w 1164"/>
                <a:gd name="T3" fmla="*/ 2147483647 h 1584"/>
                <a:gd name="T4" fmla="*/ 2147483647 w 1164"/>
                <a:gd name="T5" fmla="*/ 2147483647 h 1584"/>
                <a:gd name="T6" fmla="*/ 2147483647 w 1164"/>
                <a:gd name="T7" fmla="*/ 2147483647 h 1584"/>
                <a:gd name="T8" fmla="*/ 2147483647 w 1164"/>
                <a:gd name="T9" fmla="*/ 2147483647 h 1584"/>
                <a:gd name="T10" fmla="*/ 2147483647 w 1164"/>
                <a:gd name="T11" fmla="*/ 2147483647 h 1584"/>
                <a:gd name="T12" fmla="*/ 2147483647 w 1164"/>
                <a:gd name="T13" fmla="*/ 2147483647 h 1584"/>
                <a:gd name="T14" fmla="*/ 2147483647 w 1164"/>
                <a:gd name="T15" fmla="*/ 2147483647 h 1584"/>
                <a:gd name="T16" fmla="*/ 0 w 1164"/>
                <a:gd name="T17" fmla="*/ 2147483647 h 1584"/>
                <a:gd name="T18" fmla="*/ 2147483647 w 1164"/>
                <a:gd name="T19" fmla="*/ 2147483647 h 1584"/>
                <a:gd name="T20" fmla="*/ 2147483647 w 1164"/>
                <a:gd name="T21" fmla="*/ 2147483647 h 1584"/>
                <a:gd name="T22" fmla="*/ 2147483647 w 1164"/>
                <a:gd name="T23" fmla="*/ 2147483647 h 1584"/>
                <a:gd name="T24" fmla="*/ 2147483647 w 1164"/>
                <a:gd name="T25" fmla="*/ 2147483647 h 1584"/>
                <a:gd name="T26" fmla="*/ 2147483647 w 1164"/>
                <a:gd name="T27" fmla="*/ 2147483647 h 1584"/>
                <a:gd name="T28" fmla="*/ 2147483647 w 1164"/>
                <a:gd name="T29" fmla="*/ 2147483647 h 1584"/>
                <a:gd name="T30" fmla="*/ 2147483647 w 1164"/>
                <a:gd name="T31" fmla="*/ 2147483647 h 1584"/>
                <a:gd name="T32" fmla="*/ 2147483647 w 1164"/>
                <a:gd name="T33" fmla="*/ 2147483647 h 1584"/>
                <a:gd name="T34" fmla="*/ 2147483647 w 1164"/>
                <a:gd name="T35" fmla="*/ 2147483647 h 1584"/>
                <a:gd name="T36" fmla="*/ 2147483647 w 1164"/>
                <a:gd name="T37" fmla="*/ 2147483647 h 1584"/>
                <a:gd name="T38" fmla="*/ 2147483647 w 1164"/>
                <a:gd name="T39" fmla="*/ 2147483647 h 1584"/>
                <a:gd name="T40" fmla="*/ 2147483647 w 1164"/>
                <a:gd name="T41" fmla="*/ 2147483647 h 1584"/>
                <a:gd name="T42" fmla="*/ 2147483647 w 1164"/>
                <a:gd name="T43" fmla="*/ 2147483647 h 1584"/>
                <a:gd name="T44" fmla="*/ 2147483647 w 1164"/>
                <a:gd name="T45" fmla="*/ 2147483647 h 1584"/>
                <a:gd name="T46" fmla="*/ 2147483647 w 1164"/>
                <a:gd name="T47" fmla="*/ 2147483647 h 1584"/>
                <a:gd name="T48" fmla="*/ 2147483647 w 1164"/>
                <a:gd name="T49" fmla="*/ 2147483647 h 1584"/>
                <a:gd name="T50" fmla="*/ 2147483647 w 1164"/>
                <a:gd name="T51" fmla="*/ 2147483647 h 1584"/>
                <a:gd name="T52" fmla="*/ 2147483647 w 1164"/>
                <a:gd name="T53" fmla="*/ 2147483647 h 1584"/>
                <a:gd name="T54" fmla="*/ 2147483647 w 1164"/>
                <a:gd name="T55" fmla="*/ 2147483647 h 1584"/>
                <a:gd name="T56" fmla="*/ 2147483647 w 1164"/>
                <a:gd name="T57" fmla="*/ 2147483647 h 1584"/>
                <a:gd name="T58" fmla="*/ 2147483647 w 1164"/>
                <a:gd name="T59" fmla="*/ 2147483647 h 1584"/>
                <a:gd name="T60" fmla="*/ 2147483647 w 1164"/>
                <a:gd name="T61" fmla="*/ 2147483647 h 1584"/>
                <a:gd name="T62" fmla="*/ 2147483647 w 1164"/>
                <a:gd name="T63" fmla="*/ 2147483647 h 1584"/>
                <a:gd name="T64" fmla="*/ 2147483647 w 1164"/>
                <a:gd name="T65" fmla="*/ 2147483647 h 1584"/>
                <a:gd name="T66" fmla="*/ 2147483647 w 1164"/>
                <a:gd name="T67" fmla="*/ 2147483647 h 1584"/>
                <a:gd name="T68" fmla="*/ 2147483647 w 1164"/>
                <a:gd name="T69" fmla="*/ 2147483647 h 1584"/>
                <a:gd name="T70" fmla="*/ 2147483647 w 1164"/>
                <a:gd name="T71" fmla="*/ 2147483647 h 1584"/>
                <a:gd name="T72" fmla="*/ 2147483647 w 1164"/>
                <a:gd name="T73" fmla="*/ 2147483647 h 1584"/>
                <a:gd name="T74" fmla="*/ 2147483647 w 1164"/>
                <a:gd name="T75" fmla="*/ 2147483647 h 1584"/>
                <a:gd name="T76" fmla="*/ 2147483647 w 1164"/>
                <a:gd name="T77" fmla="*/ 2147483647 h 1584"/>
                <a:gd name="T78" fmla="*/ 2147483647 w 1164"/>
                <a:gd name="T79" fmla="*/ 2147483647 h 1584"/>
                <a:gd name="T80" fmla="*/ 2147483647 w 1164"/>
                <a:gd name="T81" fmla="*/ 2147483647 h 1584"/>
                <a:gd name="T82" fmla="*/ 2147483647 w 1164"/>
                <a:gd name="T83" fmla="*/ 2147483647 h 1584"/>
                <a:gd name="T84" fmla="*/ 2147483647 w 1164"/>
                <a:gd name="T85" fmla="*/ 2147483647 h 1584"/>
                <a:gd name="T86" fmla="*/ 2147483647 w 1164"/>
                <a:gd name="T87" fmla="*/ 2147483647 h 1584"/>
                <a:gd name="T88" fmla="*/ 2147483647 w 1164"/>
                <a:gd name="T89" fmla="*/ 2147483647 h 1584"/>
                <a:gd name="T90" fmla="*/ 2147483647 w 1164"/>
                <a:gd name="T91" fmla="*/ 2147483647 h 1584"/>
                <a:gd name="T92" fmla="*/ 2147483647 w 1164"/>
                <a:gd name="T93" fmla="*/ 2147483647 h 1584"/>
                <a:gd name="T94" fmla="*/ 2147483647 w 1164"/>
                <a:gd name="T95" fmla="*/ 2147483647 h 1584"/>
                <a:gd name="T96" fmla="*/ 2147483647 w 1164"/>
                <a:gd name="T97" fmla="*/ 2147483647 h 1584"/>
                <a:gd name="T98" fmla="*/ 2147483647 w 1164"/>
                <a:gd name="T99" fmla="*/ 2147483647 h 1584"/>
                <a:gd name="T100" fmla="*/ 2147483647 w 1164"/>
                <a:gd name="T101" fmla="*/ 2147483647 h 1584"/>
                <a:gd name="T102" fmla="*/ 2147483647 w 1164"/>
                <a:gd name="T103" fmla="*/ 2147483647 h 1584"/>
                <a:gd name="T104" fmla="*/ 2147483647 w 1164"/>
                <a:gd name="T105" fmla="*/ 2147483647 h 1584"/>
                <a:gd name="T106" fmla="*/ 2147483647 w 1164"/>
                <a:gd name="T107" fmla="*/ 2147483647 h 1584"/>
                <a:gd name="T108" fmla="*/ 2147483647 w 1164"/>
                <a:gd name="T109" fmla="*/ 2147483647 h 1584"/>
                <a:gd name="T110" fmla="*/ 2147483647 w 1164"/>
                <a:gd name="T111" fmla="*/ 2147483647 h 1584"/>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1164"/>
                <a:gd name="T169" fmla="*/ 0 h 1584"/>
                <a:gd name="T170" fmla="*/ 1164 w 1164"/>
                <a:gd name="T171" fmla="*/ 1584 h 1584"/>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1164" h="1584">
                  <a:moveTo>
                    <a:pt x="894" y="24"/>
                  </a:moveTo>
                  <a:lnTo>
                    <a:pt x="894" y="48"/>
                  </a:lnTo>
                  <a:lnTo>
                    <a:pt x="888" y="60"/>
                  </a:lnTo>
                  <a:lnTo>
                    <a:pt x="882" y="66"/>
                  </a:lnTo>
                  <a:lnTo>
                    <a:pt x="864" y="66"/>
                  </a:lnTo>
                  <a:lnTo>
                    <a:pt x="858" y="72"/>
                  </a:lnTo>
                  <a:lnTo>
                    <a:pt x="846" y="72"/>
                  </a:lnTo>
                  <a:lnTo>
                    <a:pt x="834" y="84"/>
                  </a:lnTo>
                  <a:lnTo>
                    <a:pt x="822" y="108"/>
                  </a:lnTo>
                  <a:lnTo>
                    <a:pt x="816" y="114"/>
                  </a:lnTo>
                  <a:lnTo>
                    <a:pt x="798" y="114"/>
                  </a:lnTo>
                  <a:lnTo>
                    <a:pt x="792" y="108"/>
                  </a:lnTo>
                  <a:lnTo>
                    <a:pt x="786" y="96"/>
                  </a:lnTo>
                  <a:lnTo>
                    <a:pt x="780" y="90"/>
                  </a:lnTo>
                  <a:lnTo>
                    <a:pt x="660" y="84"/>
                  </a:lnTo>
                  <a:lnTo>
                    <a:pt x="660" y="72"/>
                  </a:lnTo>
                  <a:lnTo>
                    <a:pt x="654" y="72"/>
                  </a:lnTo>
                  <a:lnTo>
                    <a:pt x="636" y="90"/>
                  </a:lnTo>
                  <a:lnTo>
                    <a:pt x="210" y="84"/>
                  </a:lnTo>
                  <a:lnTo>
                    <a:pt x="210" y="246"/>
                  </a:lnTo>
                  <a:lnTo>
                    <a:pt x="138" y="246"/>
                  </a:lnTo>
                  <a:lnTo>
                    <a:pt x="144" y="600"/>
                  </a:lnTo>
                  <a:lnTo>
                    <a:pt x="132" y="600"/>
                  </a:lnTo>
                  <a:lnTo>
                    <a:pt x="120" y="594"/>
                  </a:lnTo>
                  <a:lnTo>
                    <a:pt x="78" y="594"/>
                  </a:lnTo>
                  <a:lnTo>
                    <a:pt x="66" y="606"/>
                  </a:lnTo>
                  <a:lnTo>
                    <a:pt x="72" y="612"/>
                  </a:lnTo>
                  <a:lnTo>
                    <a:pt x="72" y="624"/>
                  </a:lnTo>
                  <a:lnTo>
                    <a:pt x="78" y="630"/>
                  </a:lnTo>
                  <a:lnTo>
                    <a:pt x="78" y="636"/>
                  </a:lnTo>
                  <a:lnTo>
                    <a:pt x="72" y="642"/>
                  </a:lnTo>
                  <a:lnTo>
                    <a:pt x="60" y="648"/>
                  </a:lnTo>
                  <a:lnTo>
                    <a:pt x="48" y="660"/>
                  </a:lnTo>
                  <a:lnTo>
                    <a:pt x="48" y="678"/>
                  </a:lnTo>
                  <a:lnTo>
                    <a:pt x="36" y="678"/>
                  </a:lnTo>
                  <a:lnTo>
                    <a:pt x="42" y="702"/>
                  </a:lnTo>
                  <a:lnTo>
                    <a:pt x="48" y="720"/>
                  </a:lnTo>
                  <a:lnTo>
                    <a:pt x="30" y="732"/>
                  </a:lnTo>
                  <a:lnTo>
                    <a:pt x="12" y="750"/>
                  </a:lnTo>
                  <a:lnTo>
                    <a:pt x="18" y="756"/>
                  </a:lnTo>
                  <a:lnTo>
                    <a:pt x="30" y="780"/>
                  </a:lnTo>
                  <a:lnTo>
                    <a:pt x="30" y="792"/>
                  </a:lnTo>
                  <a:lnTo>
                    <a:pt x="18" y="804"/>
                  </a:lnTo>
                  <a:lnTo>
                    <a:pt x="6" y="810"/>
                  </a:lnTo>
                  <a:lnTo>
                    <a:pt x="0" y="822"/>
                  </a:lnTo>
                  <a:lnTo>
                    <a:pt x="0" y="840"/>
                  </a:lnTo>
                  <a:lnTo>
                    <a:pt x="6" y="846"/>
                  </a:lnTo>
                  <a:lnTo>
                    <a:pt x="18" y="846"/>
                  </a:lnTo>
                  <a:lnTo>
                    <a:pt x="24" y="840"/>
                  </a:lnTo>
                  <a:lnTo>
                    <a:pt x="36" y="840"/>
                  </a:lnTo>
                  <a:lnTo>
                    <a:pt x="42" y="846"/>
                  </a:lnTo>
                  <a:lnTo>
                    <a:pt x="42" y="888"/>
                  </a:lnTo>
                  <a:lnTo>
                    <a:pt x="60" y="900"/>
                  </a:lnTo>
                  <a:lnTo>
                    <a:pt x="42" y="906"/>
                  </a:lnTo>
                  <a:lnTo>
                    <a:pt x="48" y="930"/>
                  </a:lnTo>
                  <a:lnTo>
                    <a:pt x="54" y="930"/>
                  </a:lnTo>
                  <a:lnTo>
                    <a:pt x="66" y="936"/>
                  </a:lnTo>
                  <a:lnTo>
                    <a:pt x="78" y="954"/>
                  </a:lnTo>
                  <a:lnTo>
                    <a:pt x="84" y="960"/>
                  </a:lnTo>
                  <a:lnTo>
                    <a:pt x="84" y="966"/>
                  </a:lnTo>
                  <a:lnTo>
                    <a:pt x="72" y="966"/>
                  </a:lnTo>
                  <a:lnTo>
                    <a:pt x="72" y="990"/>
                  </a:lnTo>
                  <a:lnTo>
                    <a:pt x="102" y="1020"/>
                  </a:lnTo>
                  <a:lnTo>
                    <a:pt x="108" y="1032"/>
                  </a:lnTo>
                  <a:lnTo>
                    <a:pt x="120" y="1044"/>
                  </a:lnTo>
                  <a:lnTo>
                    <a:pt x="126" y="1062"/>
                  </a:lnTo>
                  <a:lnTo>
                    <a:pt x="132" y="1074"/>
                  </a:lnTo>
                  <a:lnTo>
                    <a:pt x="132" y="1104"/>
                  </a:lnTo>
                  <a:lnTo>
                    <a:pt x="126" y="1110"/>
                  </a:lnTo>
                  <a:lnTo>
                    <a:pt x="120" y="1122"/>
                  </a:lnTo>
                  <a:lnTo>
                    <a:pt x="114" y="1128"/>
                  </a:lnTo>
                  <a:lnTo>
                    <a:pt x="114" y="1134"/>
                  </a:lnTo>
                  <a:lnTo>
                    <a:pt x="120" y="1140"/>
                  </a:lnTo>
                  <a:lnTo>
                    <a:pt x="126" y="1140"/>
                  </a:lnTo>
                  <a:lnTo>
                    <a:pt x="120" y="1158"/>
                  </a:lnTo>
                  <a:lnTo>
                    <a:pt x="168" y="1164"/>
                  </a:lnTo>
                  <a:lnTo>
                    <a:pt x="168" y="1194"/>
                  </a:lnTo>
                  <a:lnTo>
                    <a:pt x="192" y="1206"/>
                  </a:lnTo>
                  <a:lnTo>
                    <a:pt x="222" y="1206"/>
                  </a:lnTo>
                  <a:lnTo>
                    <a:pt x="222" y="1224"/>
                  </a:lnTo>
                  <a:lnTo>
                    <a:pt x="228" y="1224"/>
                  </a:lnTo>
                  <a:lnTo>
                    <a:pt x="240" y="1230"/>
                  </a:lnTo>
                  <a:lnTo>
                    <a:pt x="252" y="1242"/>
                  </a:lnTo>
                  <a:lnTo>
                    <a:pt x="252" y="1248"/>
                  </a:lnTo>
                  <a:lnTo>
                    <a:pt x="246" y="1248"/>
                  </a:lnTo>
                  <a:lnTo>
                    <a:pt x="246" y="1254"/>
                  </a:lnTo>
                  <a:lnTo>
                    <a:pt x="240" y="1254"/>
                  </a:lnTo>
                  <a:lnTo>
                    <a:pt x="240" y="1260"/>
                  </a:lnTo>
                  <a:lnTo>
                    <a:pt x="252" y="1272"/>
                  </a:lnTo>
                  <a:lnTo>
                    <a:pt x="264" y="1278"/>
                  </a:lnTo>
                  <a:lnTo>
                    <a:pt x="270" y="1278"/>
                  </a:lnTo>
                  <a:lnTo>
                    <a:pt x="282" y="1284"/>
                  </a:lnTo>
                  <a:lnTo>
                    <a:pt x="294" y="1296"/>
                  </a:lnTo>
                  <a:lnTo>
                    <a:pt x="300" y="1308"/>
                  </a:lnTo>
                  <a:lnTo>
                    <a:pt x="306" y="1314"/>
                  </a:lnTo>
                  <a:lnTo>
                    <a:pt x="306" y="1320"/>
                  </a:lnTo>
                  <a:lnTo>
                    <a:pt x="324" y="1320"/>
                  </a:lnTo>
                  <a:lnTo>
                    <a:pt x="330" y="1326"/>
                  </a:lnTo>
                  <a:lnTo>
                    <a:pt x="330" y="1338"/>
                  </a:lnTo>
                  <a:lnTo>
                    <a:pt x="318" y="1338"/>
                  </a:lnTo>
                  <a:lnTo>
                    <a:pt x="318" y="1344"/>
                  </a:lnTo>
                  <a:lnTo>
                    <a:pt x="330" y="1356"/>
                  </a:lnTo>
                  <a:lnTo>
                    <a:pt x="330" y="1374"/>
                  </a:lnTo>
                  <a:lnTo>
                    <a:pt x="354" y="1380"/>
                  </a:lnTo>
                  <a:lnTo>
                    <a:pt x="360" y="1386"/>
                  </a:lnTo>
                  <a:lnTo>
                    <a:pt x="372" y="1392"/>
                  </a:lnTo>
                  <a:lnTo>
                    <a:pt x="378" y="1398"/>
                  </a:lnTo>
                  <a:lnTo>
                    <a:pt x="384" y="1410"/>
                  </a:lnTo>
                  <a:lnTo>
                    <a:pt x="384" y="1434"/>
                  </a:lnTo>
                  <a:lnTo>
                    <a:pt x="390" y="1446"/>
                  </a:lnTo>
                  <a:lnTo>
                    <a:pt x="420" y="1470"/>
                  </a:lnTo>
                  <a:lnTo>
                    <a:pt x="420" y="1494"/>
                  </a:lnTo>
                  <a:lnTo>
                    <a:pt x="468" y="1518"/>
                  </a:lnTo>
                  <a:lnTo>
                    <a:pt x="474" y="1512"/>
                  </a:lnTo>
                  <a:lnTo>
                    <a:pt x="480" y="1500"/>
                  </a:lnTo>
                  <a:lnTo>
                    <a:pt x="486" y="1494"/>
                  </a:lnTo>
                  <a:lnTo>
                    <a:pt x="498" y="1494"/>
                  </a:lnTo>
                  <a:lnTo>
                    <a:pt x="510" y="1500"/>
                  </a:lnTo>
                  <a:lnTo>
                    <a:pt x="510" y="1506"/>
                  </a:lnTo>
                  <a:lnTo>
                    <a:pt x="522" y="1512"/>
                  </a:lnTo>
                  <a:lnTo>
                    <a:pt x="528" y="1512"/>
                  </a:lnTo>
                  <a:lnTo>
                    <a:pt x="540" y="1500"/>
                  </a:lnTo>
                  <a:lnTo>
                    <a:pt x="540" y="1494"/>
                  </a:lnTo>
                  <a:lnTo>
                    <a:pt x="552" y="1482"/>
                  </a:lnTo>
                  <a:lnTo>
                    <a:pt x="558" y="1488"/>
                  </a:lnTo>
                  <a:lnTo>
                    <a:pt x="570" y="1494"/>
                  </a:lnTo>
                  <a:lnTo>
                    <a:pt x="576" y="1512"/>
                  </a:lnTo>
                  <a:lnTo>
                    <a:pt x="582" y="1524"/>
                  </a:lnTo>
                  <a:lnTo>
                    <a:pt x="594" y="1536"/>
                  </a:lnTo>
                  <a:lnTo>
                    <a:pt x="606" y="1542"/>
                  </a:lnTo>
                  <a:lnTo>
                    <a:pt x="612" y="1548"/>
                  </a:lnTo>
                  <a:lnTo>
                    <a:pt x="618" y="1548"/>
                  </a:lnTo>
                  <a:lnTo>
                    <a:pt x="624" y="1572"/>
                  </a:lnTo>
                  <a:lnTo>
                    <a:pt x="642" y="1572"/>
                  </a:lnTo>
                  <a:lnTo>
                    <a:pt x="660" y="1554"/>
                  </a:lnTo>
                  <a:lnTo>
                    <a:pt x="672" y="1554"/>
                  </a:lnTo>
                  <a:lnTo>
                    <a:pt x="678" y="1560"/>
                  </a:lnTo>
                  <a:lnTo>
                    <a:pt x="690" y="1566"/>
                  </a:lnTo>
                  <a:lnTo>
                    <a:pt x="702" y="1566"/>
                  </a:lnTo>
                  <a:lnTo>
                    <a:pt x="702" y="1560"/>
                  </a:lnTo>
                  <a:lnTo>
                    <a:pt x="708" y="1554"/>
                  </a:lnTo>
                  <a:lnTo>
                    <a:pt x="714" y="1554"/>
                  </a:lnTo>
                  <a:lnTo>
                    <a:pt x="738" y="1584"/>
                  </a:lnTo>
                  <a:lnTo>
                    <a:pt x="756" y="1560"/>
                  </a:lnTo>
                  <a:lnTo>
                    <a:pt x="780" y="1560"/>
                  </a:lnTo>
                  <a:lnTo>
                    <a:pt x="792" y="1548"/>
                  </a:lnTo>
                  <a:lnTo>
                    <a:pt x="804" y="1548"/>
                  </a:lnTo>
                  <a:lnTo>
                    <a:pt x="804" y="1554"/>
                  </a:lnTo>
                  <a:lnTo>
                    <a:pt x="810" y="1560"/>
                  </a:lnTo>
                  <a:lnTo>
                    <a:pt x="834" y="1560"/>
                  </a:lnTo>
                  <a:lnTo>
                    <a:pt x="852" y="1542"/>
                  </a:lnTo>
                  <a:lnTo>
                    <a:pt x="852" y="1536"/>
                  </a:lnTo>
                  <a:lnTo>
                    <a:pt x="858" y="1530"/>
                  </a:lnTo>
                  <a:lnTo>
                    <a:pt x="858" y="1524"/>
                  </a:lnTo>
                  <a:lnTo>
                    <a:pt x="870" y="1524"/>
                  </a:lnTo>
                  <a:lnTo>
                    <a:pt x="888" y="1494"/>
                  </a:lnTo>
                  <a:lnTo>
                    <a:pt x="978" y="1494"/>
                  </a:lnTo>
                  <a:lnTo>
                    <a:pt x="1002" y="1482"/>
                  </a:lnTo>
                  <a:lnTo>
                    <a:pt x="996" y="1464"/>
                  </a:lnTo>
                  <a:lnTo>
                    <a:pt x="996" y="1446"/>
                  </a:lnTo>
                  <a:lnTo>
                    <a:pt x="990" y="1434"/>
                  </a:lnTo>
                  <a:lnTo>
                    <a:pt x="984" y="1428"/>
                  </a:lnTo>
                  <a:lnTo>
                    <a:pt x="966" y="1428"/>
                  </a:lnTo>
                  <a:lnTo>
                    <a:pt x="954" y="1422"/>
                  </a:lnTo>
                  <a:lnTo>
                    <a:pt x="936" y="1386"/>
                  </a:lnTo>
                  <a:lnTo>
                    <a:pt x="936" y="1368"/>
                  </a:lnTo>
                  <a:lnTo>
                    <a:pt x="924" y="1362"/>
                  </a:lnTo>
                  <a:lnTo>
                    <a:pt x="924" y="1326"/>
                  </a:lnTo>
                  <a:lnTo>
                    <a:pt x="912" y="1326"/>
                  </a:lnTo>
                  <a:lnTo>
                    <a:pt x="906" y="1302"/>
                  </a:lnTo>
                  <a:lnTo>
                    <a:pt x="882" y="1302"/>
                  </a:lnTo>
                  <a:lnTo>
                    <a:pt x="876" y="1290"/>
                  </a:lnTo>
                  <a:lnTo>
                    <a:pt x="876" y="1272"/>
                  </a:lnTo>
                  <a:lnTo>
                    <a:pt x="864" y="1266"/>
                  </a:lnTo>
                  <a:lnTo>
                    <a:pt x="858" y="1254"/>
                  </a:lnTo>
                  <a:lnTo>
                    <a:pt x="846" y="1248"/>
                  </a:lnTo>
                  <a:lnTo>
                    <a:pt x="840" y="1242"/>
                  </a:lnTo>
                  <a:lnTo>
                    <a:pt x="816" y="1242"/>
                  </a:lnTo>
                  <a:lnTo>
                    <a:pt x="804" y="1236"/>
                  </a:lnTo>
                  <a:lnTo>
                    <a:pt x="798" y="1236"/>
                  </a:lnTo>
                  <a:lnTo>
                    <a:pt x="798" y="1224"/>
                  </a:lnTo>
                  <a:lnTo>
                    <a:pt x="804" y="1212"/>
                  </a:lnTo>
                  <a:lnTo>
                    <a:pt x="810" y="1206"/>
                  </a:lnTo>
                  <a:lnTo>
                    <a:pt x="804" y="1182"/>
                  </a:lnTo>
                  <a:lnTo>
                    <a:pt x="840" y="1182"/>
                  </a:lnTo>
                  <a:lnTo>
                    <a:pt x="846" y="1188"/>
                  </a:lnTo>
                  <a:lnTo>
                    <a:pt x="852" y="1182"/>
                  </a:lnTo>
                  <a:lnTo>
                    <a:pt x="864" y="1182"/>
                  </a:lnTo>
                  <a:lnTo>
                    <a:pt x="870" y="1176"/>
                  </a:lnTo>
                  <a:lnTo>
                    <a:pt x="870" y="1164"/>
                  </a:lnTo>
                  <a:lnTo>
                    <a:pt x="876" y="1152"/>
                  </a:lnTo>
                  <a:lnTo>
                    <a:pt x="876" y="1116"/>
                  </a:lnTo>
                  <a:lnTo>
                    <a:pt x="870" y="1110"/>
                  </a:lnTo>
                  <a:lnTo>
                    <a:pt x="870" y="1098"/>
                  </a:lnTo>
                  <a:lnTo>
                    <a:pt x="864" y="1086"/>
                  </a:lnTo>
                  <a:lnTo>
                    <a:pt x="864" y="1074"/>
                  </a:lnTo>
                  <a:lnTo>
                    <a:pt x="870" y="1062"/>
                  </a:lnTo>
                  <a:lnTo>
                    <a:pt x="882" y="1056"/>
                  </a:lnTo>
                  <a:lnTo>
                    <a:pt x="888" y="1050"/>
                  </a:lnTo>
                  <a:lnTo>
                    <a:pt x="888" y="1032"/>
                  </a:lnTo>
                  <a:lnTo>
                    <a:pt x="882" y="1020"/>
                  </a:lnTo>
                  <a:lnTo>
                    <a:pt x="882" y="1002"/>
                  </a:lnTo>
                  <a:lnTo>
                    <a:pt x="900" y="984"/>
                  </a:lnTo>
                  <a:lnTo>
                    <a:pt x="906" y="984"/>
                  </a:lnTo>
                  <a:lnTo>
                    <a:pt x="906" y="996"/>
                  </a:lnTo>
                  <a:lnTo>
                    <a:pt x="912" y="1002"/>
                  </a:lnTo>
                  <a:lnTo>
                    <a:pt x="924" y="1002"/>
                  </a:lnTo>
                  <a:lnTo>
                    <a:pt x="930" y="996"/>
                  </a:lnTo>
                  <a:lnTo>
                    <a:pt x="930" y="960"/>
                  </a:lnTo>
                  <a:lnTo>
                    <a:pt x="924" y="954"/>
                  </a:lnTo>
                  <a:lnTo>
                    <a:pt x="924" y="948"/>
                  </a:lnTo>
                  <a:lnTo>
                    <a:pt x="936" y="930"/>
                  </a:lnTo>
                  <a:lnTo>
                    <a:pt x="936" y="906"/>
                  </a:lnTo>
                  <a:lnTo>
                    <a:pt x="942" y="900"/>
                  </a:lnTo>
                  <a:lnTo>
                    <a:pt x="954" y="900"/>
                  </a:lnTo>
                  <a:lnTo>
                    <a:pt x="960" y="894"/>
                  </a:lnTo>
                  <a:lnTo>
                    <a:pt x="960" y="858"/>
                  </a:lnTo>
                  <a:lnTo>
                    <a:pt x="966" y="852"/>
                  </a:lnTo>
                  <a:lnTo>
                    <a:pt x="972" y="840"/>
                  </a:lnTo>
                  <a:lnTo>
                    <a:pt x="978" y="834"/>
                  </a:lnTo>
                  <a:lnTo>
                    <a:pt x="1008" y="834"/>
                  </a:lnTo>
                  <a:lnTo>
                    <a:pt x="1008" y="786"/>
                  </a:lnTo>
                  <a:lnTo>
                    <a:pt x="1014" y="774"/>
                  </a:lnTo>
                  <a:lnTo>
                    <a:pt x="1020" y="768"/>
                  </a:lnTo>
                  <a:lnTo>
                    <a:pt x="1026" y="756"/>
                  </a:lnTo>
                  <a:lnTo>
                    <a:pt x="1032" y="750"/>
                  </a:lnTo>
                  <a:lnTo>
                    <a:pt x="1032" y="708"/>
                  </a:lnTo>
                  <a:lnTo>
                    <a:pt x="1026" y="660"/>
                  </a:lnTo>
                  <a:lnTo>
                    <a:pt x="1020" y="654"/>
                  </a:lnTo>
                  <a:lnTo>
                    <a:pt x="1020" y="636"/>
                  </a:lnTo>
                  <a:lnTo>
                    <a:pt x="1032" y="630"/>
                  </a:lnTo>
                  <a:lnTo>
                    <a:pt x="1038" y="630"/>
                  </a:lnTo>
                  <a:lnTo>
                    <a:pt x="1038" y="594"/>
                  </a:lnTo>
                  <a:lnTo>
                    <a:pt x="1044" y="594"/>
                  </a:lnTo>
                  <a:lnTo>
                    <a:pt x="1050" y="588"/>
                  </a:lnTo>
                  <a:lnTo>
                    <a:pt x="1056" y="576"/>
                  </a:lnTo>
                  <a:lnTo>
                    <a:pt x="1056" y="534"/>
                  </a:lnTo>
                  <a:lnTo>
                    <a:pt x="1050" y="528"/>
                  </a:lnTo>
                  <a:lnTo>
                    <a:pt x="1050" y="516"/>
                  </a:lnTo>
                  <a:lnTo>
                    <a:pt x="1062" y="516"/>
                  </a:lnTo>
                  <a:lnTo>
                    <a:pt x="1068" y="510"/>
                  </a:lnTo>
                  <a:lnTo>
                    <a:pt x="1068" y="492"/>
                  </a:lnTo>
                  <a:lnTo>
                    <a:pt x="1086" y="492"/>
                  </a:lnTo>
                  <a:lnTo>
                    <a:pt x="1092" y="486"/>
                  </a:lnTo>
                  <a:lnTo>
                    <a:pt x="1092" y="480"/>
                  </a:lnTo>
                  <a:lnTo>
                    <a:pt x="1098" y="474"/>
                  </a:lnTo>
                  <a:lnTo>
                    <a:pt x="1098" y="462"/>
                  </a:lnTo>
                  <a:lnTo>
                    <a:pt x="1110" y="462"/>
                  </a:lnTo>
                  <a:lnTo>
                    <a:pt x="1128" y="456"/>
                  </a:lnTo>
                  <a:lnTo>
                    <a:pt x="1152" y="444"/>
                  </a:lnTo>
                  <a:lnTo>
                    <a:pt x="1164" y="420"/>
                  </a:lnTo>
                  <a:lnTo>
                    <a:pt x="1164" y="408"/>
                  </a:lnTo>
                  <a:lnTo>
                    <a:pt x="1128" y="384"/>
                  </a:lnTo>
                  <a:lnTo>
                    <a:pt x="1128" y="378"/>
                  </a:lnTo>
                  <a:lnTo>
                    <a:pt x="1122" y="372"/>
                  </a:lnTo>
                  <a:lnTo>
                    <a:pt x="1122" y="360"/>
                  </a:lnTo>
                  <a:lnTo>
                    <a:pt x="1116" y="354"/>
                  </a:lnTo>
                  <a:lnTo>
                    <a:pt x="1092" y="354"/>
                  </a:lnTo>
                  <a:lnTo>
                    <a:pt x="1080" y="342"/>
                  </a:lnTo>
                  <a:lnTo>
                    <a:pt x="1080" y="330"/>
                  </a:lnTo>
                  <a:lnTo>
                    <a:pt x="1074" y="312"/>
                  </a:lnTo>
                  <a:lnTo>
                    <a:pt x="1074" y="294"/>
                  </a:lnTo>
                  <a:lnTo>
                    <a:pt x="1068" y="282"/>
                  </a:lnTo>
                  <a:lnTo>
                    <a:pt x="1068" y="264"/>
                  </a:lnTo>
                  <a:lnTo>
                    <a:pt x="1062" y="264"/>
                  </a:lnTo>
                  <a:lnTo>
                    <a:pt x="1062" y="240"/>
                  </a:lnTo>
                  <a:lnTo>
                    <a:pt x="1056" y="222"/>
                  </a:lnTo>
                  <a:lnTo>
                    <a:pt x="1056" y="180"/>
                  </a:lnTo>
                  <a:lnTo>
                    <a:pt x="1050" y="168"/>
                  </a:lnTo>
                  <a:lnTo>
                    <a:pt x="1068" y="162"/>
                  </a:lnTo>
                  <a:lnTo>
                    <a:pt x="1038" y="132"/>
                  </a:lnTo>
                  <a:lnTo>
                    <a:pt x="1038" y="90"/>
                  </a:lnTo>
                  <a:lnTo>
                    <a:pt x="1032" y="78"/>
                  </a:lnTo>
                  <a:lnTo>
                    <a:pt x="1026" y="72"/>
                  </a:lnTo>
                  <a:lnTo>
                    <a:pt x="1014" y="66"/>
                  </a:lnTo>
                  <a:lnTo>
                    <a:pt x="984" y="36"/>
                  </a:lnTo>
                  <a:lnTo>
                    <a:pt x="972" y="36"/>
                  </a:lnTo>
                  <a:lnTo>
                    <a:pt x="954" y="18"/>
                  </a:lnTo>
                  <a:lnTo>
                    <a:pt x="948" y="0"/>
                  </a:lnTo>
                  <a:lnTo>
                    <a:pt x="924" y="24"/>
                  </a:lnTo>
                  <a:lnTo>
                    <a:pt x="894" y="24"/>
                  </a:lnTo>
                  <a:close/>
                </a:path>
              </a:pathLst>
            </a:custGeom>
            <a:solidFill>
              <a:srgbClr val="78D2D2"/>
            </a:solidFill>
            <a:ln w="3175">
              <a:solidFill>
                <a:schemeClr val="bg1"/>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de-DE" sz="1800" b="0" i="0" u="none" strike="noStrike" kern="1200" cap="none" spc="0" normalizeH="0" baseline="0" noProof="0">
                <a:ln>
                  <a:noFill/>
                </a:ln>
                <a:solidFill>
                  <a:srgbClr val="FFC000"/>
                </a:solidFill>
                <a:effectLst/>
                <a:uLnTx/>
                <a:uFillTx/>
                <a:latin typeface="Calibri" pitchFamily="34" charset="0"/>
                <a:ea typeface="+mn-ea"/>
                <a:cs typeface="+mn-cs"/>
              </a:endParaRPr>
            </a:p>
          </p:txBody>
        </p:sp>
        <p:sp>
          <p:nvSpPr>
            <p:cNvPr id="51" name="Sri Lanka" descr="© INSCALE GmbH, 05.05.2010&#10;http://www.presentationload.com/"/>
            <p:cNvSpPr>
              <a:spLocks/>
            </p:cNvSpPr>
            <p:nvPr/>
          </p:nvSpPr>
          <p:spPr bwMode="gray">
            <a:xfrm>
              <a:off x="6302312" y="4063737"/>
              <a:ext cx="55033" cy="95534"/>
            </a:xfrm>
            <a:custGeom>
              <a:avLst/>
              <a:gdLst>
                <a:gd name="T0" fmla="*/ 2147483647 w 174"/>
                <a:gd name="T1" fmla="*/ 2147483647 h 306"/>
                <a:gd name="T2" fmla="*/ 2147483647 w 174"/>
                <a:gd name="T3" fmla="*/ 0 h 306"/>
                <a:gd name="T4" fmla="*/ 2147483647 w 174"/>
                <a:gd name="T5" fmla="*/ 0 h 306"/>
                <a:gd name="T6" fmla="*/ 2147483647 w 174"/>
                <a:gd name="T7" fmla="*/ 2147483647 h 306"/>
                <a:gd name="T8" fmla="*/ 2147483647 w 174"/>
                <a:gd name="T9" fmla="*/ 2147483647 h 306"/>
                <a:gd name="T10" fmla="*/ 2147483647 w 174"/>
                <a:gd name="T11" fmla="*/ 2147483647 h 306"/>
                <a:gd name="T12" fmla="*/ 2147483647 w 174"/>
                <a:gd name="T13" fmla="*/ 2147483647 h 306"/>
                <a:gd name="T14" fmla="*/ 2147483647 w 174"/>
                <a:gd name="T15" fmla="*/ 2147483647 h 306"/>
                <a:gd name="T16" fmla="*/ 2147483647 w 174"/>
                <a:gd name="T17" fmla="*/ 2147483647 h 306"/>
                <a:gd name="T18" fmla="*/ 2147483647 w 174"/>
                <a:gd name="T19" fmla="*/ 2147483647 h 306"/>
                <a:gd name="T20" fmla="*/ 2147483647 w 174"/>
                <a:gd name="T21" fmla="*/ 2147483647 h 306"/>
                <a:gd name="T22" fmla="*/ 2147483647 w 174"/>
                <a:gd name="T23" fmla="*/ 2147483647 h 306"/>
                <a:gd name="T24" fmla="*/ 2147483647 w 174"/>
                <a:gd name="T25" fmla="*/ 2147483647 h 306"/>
                <a:gd name="T26" fmla="*/ 2147483647 w 174"/>
                <a:gd name="T27" fmla="*/ 2147483647 h 306"/>
                <a:gd name="T28" fmla="*/ 2147483647 w 174"/>
                <a:gd name="T29" fmla="*/ 2147483647 h 306"/>
                <a:gd name="T30" fmla="*/ 2147483647 w 174"/>
                <a:gd name="T31" fmla="*/ 2147483647 h 306"/>
                <a:gd name="T32" fmla="*/ 2147483647 w 174"/>
                <a:gd name="T33" fmla="*/ 2147483647 h 306"/>
                <a:gd name="T34" fmla="*/ 2147483647 w 174"/>
                <a:gd name="T35" fmla="*/ 2147483647 h 306"/>
                <a:gd name="T36" fmla="*/ 2147483647 w 174"/>
                <a:gd name="T37" fmla="*/ 2147483647 h 306"/>
                <a:gd name="T38" fmla="*/ 2147483647 w 174"/>
                <a:gd name="T39" fmla="*/ 2147483647 h 306"/>
                <a:gd name="T40" fmla="*/ 0 w 174"/>
                <a:gd name="T41" fmla="*/ 2147483647 h 306"/>
                <a:gd name="T42" fmla="*/ 0 w 174"/>
                <a:gd name="T43" fmla="*/ 2147483647 h 306"/>
                <a:gd name="T44" fmla="*/ 2147483647 w 174"/>
                <a:gd name="T45" fmla="*/ 2147483647 h 306"/>
                <a:gd name="T46" fmla="*/ 2147483647 w 174"/>
                <a:gd name="T47" fmla="*/ 2147483647 h 306"/>
                <a:gd name="T48" fmla="*/ 2147483647 w 174"/>
                <a:gd name="T49" fmla="*/ 2147483647 h 306"/>
                <a:gd name="T50" fmla="*/ 2147483647 w 174"/>
                <a:gd name="T51" fmla="*/ 2147483647 h 306"/>
                <a:gd name="T52" fmla="*/ 2147483647 w 174"/>
                <a:gd name="T53" fmla="*/ 2147483647 h 306"/>
                <a:gd name="T54" fmla="*/ 0 w 174"/>
                <a:gd name="T55" fmla="*/ 2147483647 h 306"/>
                <a:gd name="T56" fmla="*/ 2147483647 w 174"/>
                <a:gd name="T57" fmla="*/ 2147483647 h 306"/>
                <a:gd name="T58" fmla="*/ 2147483647 w 174"/>
                <a:gd name="T59" fmla="*/ 2147483647 h 30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174"/>
                <a:gd name="T91" fmla="*/ 0 h 306"/>
                <a:gd name="T92" fmla="*/ 174 w 174"/>
                <a:gd name="T93" fmla="*/ 306 h 30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174" h="306">
                  <a:moveTo>
                    <a:pt x="24" y="6"/>
                  </a:moveTo>
                  <a:lnTo>
                    <a:pt x="36" y="0"/>
                  </a:lnTo>
                  <a:lnTo>
                    <a:pt x="48" y="0"/>
                  </a:lnTo>
                  <a:lnTo>
                    <a:pt x="66" y="6"/>
                  </a:lnTo>
                  <a:lnTo>
                    <a:pt x="78" y="12"/>
                  </a:lnTo>
                  <a:lnTo>
                    <a:pt x="114" y="66"/>
                  </a:lnTo>
                  <a:lnTo>
                    <a:pt x="132" y="84"/>
                  </a:lnTo>
                  <a:lnTo>
                    <a:pt x="126" y="120"/>
                  </a:lnTo>
                  <a:lnTo>
                    <a:pt x="150" y="114"/>
                  </a:lnTo>
                  <a:lnTo>
                    <a:pt x="156" y="168"/>
                  </a:lnTo>
                  <a:lnTo>
                    <a:pt x="162" y="174"/>
                  </a:lnTo>
                  <a:lnTo>
                    <a:pt x="168" y="198"/>
                  </a:lnTo>
                  <a:lnTo>
                    <a:pt x="174" y="228"/>
                  </a:lnTo>
                  <a:lnTo>
                    <a:pt x="174" y="258"/>
                  </a:lnTo>
                  <a:lnTo>
                    <a:pt x="156" y="276"/>
                  </a:lnTo>
                  <a:lnTo>
                    <a:pt x="120" y="294"/>
                  </a:lnTo>
                  <a:lnTo>
                    <a:pt x="84" y="306"/>
                  </a:lnTo>
                  <a:lnTo>
                    <a:pt x="48" y="306"/>
                  </a:lnTo>
                  <a:lnTo>
                    <a:pt x="24" y="282"/>
                  </a:lnTo>
                  <a:lnTo>
                    <a:pt x="12" y="240"/>
                  </a:lnTo>
                  <a:lnTo>
                    <a:pt x="0" y="192"/>
                  </a:lnTo>
                  <a:lnTo>
                    <a:pt x="0" y="156"/>
                  </a:lnTo>
                  <a:lnTo>
                    <a:pt x="12" y="138"/>
                  </a:lnTo>
                  <a:lnTo>
                    <a:pt x="18" y="132"/>
                  </a:lnTo>
                  <a:lnTo>
                    <a:pt x="24" y="120"/>
                  </a:lnTo>
                  <a:lnTo>
                    <a:pt x="30" y="102"/>
                  </a:lnTo>
                  <a:lnTo>
                    <a:pt x="30" y="78"/>
                  </a:lnTo>
                  <a:lnTo>
                    <a:pt x="0" y="36"/>
                  </a:lnTo>
                  <a:lnTo>
                    <a:pt x="24" y="36"/>
                  </a:lnTo>
                  <a:lnTo>
                    <a:pt x="24" y="6"/>
                  </a:lnTo>
                  <a:close/>
                </a:path>
              </a:pathLst>
            </a:custGeom>
            <a:grpFill/>
            <a:ln w="3175">
              <a:solidFill>
                <a:schemeClr val="bg1"/>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de-DE" sz="1800" b="0" i="0" u="none" strike="noStrike" kern="1200" cap="none" spc="0" normalizeH="0" baseline="0" noProof="0">
                <a:ln>
                  <a:noFill/>
                </a:ln>
                <a:solidFill>
                  <a:srgbClr val="FFC000"/>
                </a:solidFill>
                <a:effectLst/>
                <a:uLnTx/>
                <a:uFillTx/>
                <a:latin typeface="Calibri" pitchFamily="34" charset="0"/>
                <a:ea typeface="+mn-ea"/>
                <a:cs typeface="+mn-cs"/>
              </a:endParaRPr>
            </a:p>
          </p:txBody>
        </p:sp>
        <p:sp>
          <p:nvSpPr>
            <p:cNvPr id="52" name="Spain" descr="© INSCALE GmbH, 05.05.2010&#10;http://www.presentationload.com/"/>
            <p:cNvSpPr>
              <a:spLocks noEditPoints="1"/>
            </p:cNvSpPr>
            <p:nvPr/>
          </p:nvSpPr>
          <p:spPr bwMode="gray">
            <a:xfrm>
              <a:off x="4292962" y="3210058"/>
              <a:ext cx="284125" cy="192292"/>
            </a:xfrm>
            <a:custGeom>
              <a:avLst/>
              <a:gdLst>
                <a:gd name="T0" fmla="*/ 2147483647 w 876"/>
                <a:gd name="T1" fmla="*/ 2147483647 h 618"/>
                <a:gd name="T2" fmla="*/ 2147483647 w 876"/>
                <a:gd name="T3" fmla="*/ 2147483647 h 618"/>
                <a:gd name="T4" fmla="*/ 2147483647 w 876"/>
                <a:gd name="T5" fmla="*/ 2147483647 h 618"/>
                <a:gd name="T6" fmla="*/ 2147483647 w 876"/>
                <a:gd name="T7" fmla="*/ 2147483647 h 618"/>
                <a:gd name="T8" fmla="*/ 2147483647 w 876"/>
                <a:gd name="T9" fmla="*/ 2147483647 h 618"/>
                <a:gd name="T10" fmla="*/ 2147483647 w 876"/>
                <a:gd name="T11" fmla="*/ 2147483647 h 618"/>
                <a:gd name="T12" fmla="*/ 2147483647 w 876"/>
                <a:gd name="T13" fmla="*/ 2147483647 h 618"/>
                <a:gd name="T14" fmla="*/ 2147483647 w 876"/>
                <a:gd name="T15" fmla="*/ 2147483647 h 618"/>
                <a:gd name="T16" fmla="*/ 2147483647 w 876"/>
                <a:gd name="T17" fmla="*/ 2147483647 h 618"/>
                <a:gd name="T18" fmla="*/ 2147483647 w 876"/>
                <a:gd name="T19" fmla="*/ 2147483647 h 618"/>
                <a:gd name="T20" fmla="*/ 2147483647 w 876"/>
                <a:gd name="T21" fmla="*/ 2147483647 h 618"/>
                <a:gd name="T22" fmla="*/ 2147483647 w 876"/>
                <a:gd name="T23" fmla="*/ 2147483647 h 618"/>
                <a:gd name="T24" fmla="*/ 2147483647 w 876"/>
                <a:gd name="T25" fmla="*/ 2147483647 h 618"/>
                <a:gd name="T26" fmla="*/ 2147483647 w 876"/>
                <a:gd name="T27" fmla="*/ 2147483647 h 618"/>
                <a:gd name="T28" fmla="*/ 2147483647 w 876"/>
                <a:gd name="T29" fmla="*/ 2147483647 h 618"/>
                <a:gd name="T30" fmla="*/ 2147483647 w 876"/>
                <a:gd name="T31" fmla="*/ 2147483647 h 618"/>
                <a:gd name="T32" fmla="*/ 2147483647 w 876"/>
                <a:gd name="T33" fmla="*/ 2147483647 h 618"/>
                <a:gd name="T34" fmla="*/ 2147483647 w 876"/>
                <a:gd name="T35" fmla="*/ 2147483647 h 618"/>
                <a:gd name="T36" fmla="*/ 2147483647 w 876"/>
                <a:gd name="T37" fmla="*/ 2147483647 h 618"/>
                <a:gd name="T38" fmla="*/ 2147483647 w 876"/>
                <a:gd name="T39" fmla="*/ 2147483647 h 618"/>
                <a:gd name="T40" fmla="*/ 2147483647 w 876"/>
                <a:gd name="T41" fmla="*/ 0 h 618"/>
                <a:gd name="T42" fmla="*/ 2147483647 w 876"/>
                <a:gd name="T43" fmla="*/ 2147483647 h 618"/>
                <a:gd name="T44" fmla="*/ 0 w 876"/>
                <a:gd name="T45" fmla="*/ 2147483647 h 618"/>
                <a:gd name="T46" fmla="*/ 2147483647 w 876"/>
                <a:gd name="T47" fmla="*/ 2147483647 h 618"/>
                <a:gd name="T48" fmla="*/ 2147483647 w 876"/>
                <a:gd name="T49" fmla="*/ 2147483647 h 618"/>
                <a:gd name="T50" fmla="*/ 2147483647 w 876"/>
                <a:gd name="T51" fmla="*/ 2147483647 h 618"/>
                <a:gd name="T52" fmla="*/ 2147483647 w 876"/>
                <a:gd name="T53" fmla="*/ 2147483647 h 618"/>
                <a:gd name="T54" fmla="*/ 2147483647 w 876"/>
                <a:gd name="T55" fmla="*/ 2147483647 h 618"/>
                <a:gd name="T56" fmla="*/ 2147483647 w 876"/>
                <a:gd name="T57" fmla="*/ 2147483647 h 618"/>
                <a:gd name="T58" fmla="*/ 2147483647 w 876"/>
                <a:gd name="T59" fmla="*/ 2147483647 h 618"/>
                <a:gd name="T60" fmla="*/ 2147483647 w 876"/>
                <a:gd name="T61" fmla="*/ 2147483647 h 618"/>
                <a:gd name="T62" fmla="*/ 2147483647 w 876"/>
                <a:gd name="T63" fmla="*/ 2147483647 h 618"/>
                <a:gd name="T64" fmla="*/ 2147483647 w 876"/>
                <a:gd name="T65" fmla="*/ 2147483647 h 618"/>
                <a:gd name="T66" fmla="*/ 2147483647 w 876"/>
                <a:gd name="T67" fmla="*/ 2147483647 h 618"/>
                <a:gd name="T68" fmla="*/ 2147483647 w 876"/>
                <a:gd name="T69" fmla="*/ 2147483647 h 618"/>
                <a:gd name="T70" fmla="*/ 2147483647 w 876"/>
                <a:gd name="T71" fmla="*/ 2147483647 h 618"/>
                <a:gd name="T72" fmla="*/ 2147483647 w 876"/>
                <a:gd name="T73" fmla="*/ 2147483647 h 618"/>
                <a:gd name="T74" fmla="*/ 2147483647 w 876"/>
                <a:gd name="T75" fmla="*/ 2147483647 h 618"/>
                <a:gd name="T76" fmla="*/ 2147483647 w 876"/>
                <a:gd name="T77" fmla="*/ 2147483647 h 618"/>
                <a:gd name="T78" fmla="*/ 2147483647 w 876"/>
                <a:gd name="T79" fmla="*/ 2147483647 h 618"/>
                <a:gd name="T80" fmla="*/ 2147483647 w 876"/>
                <a:gd name="T81" fmla="*/ 2147483647 h 618"/>
                <a:gd name="T82" fmla="*/ 2147483647 w 876"/>
                <a:gd name="T83" fmla="*/ 2147483647 h 618"/>
                <a:gd name="T84" fmla="*/ 2147483647 w 876"/>
                <a:gd name="T85" fmla="*/ 2147483647 h 618"/>
                <a:gd name="T86" fmla="*/ 2147483647 w 876"/>
                <a:gd name="T87" fmla="*/ 2147483647 h 618"/>
                <a:gd name="T88" fmla="*/ 2147483647 w 876"/>
                <a:gd name="T89" fmla="*/ 2147483647 h 618"/>
                <a:gd name="T90" fmla="*/ 2147483647 w 876"/>
                <a:gd name="T91" fmla="*/ 2147483647 h 618"/>
                <a:gd name="T92" fmla="*/ 2147483647 w 876"/>
                <a:gd name="T93" fmla="*/ 2147483647 h 618"/>
                <a:gd name="T94" fmla="*/ 2147483647 w 876"/>
                <a:gd name="T95" fmla="*/ 2147483647 h 618"/>
                <a:gd name="T96" fmla="*/ 2147483647 w 876"/>
                <a:gd name="T97" fmla="*/ 2147483647 h 618"/>
                <a:gd name="T98" fmla="*/ 2147483647 w 876"/>
                <a:gd name="T99" fmla="*/ 2147483647 h 618"/>
                <a:gd name="T100" fmla="*/ 2147483647 w 876"/>
                <a:gd name="T101" fmla="*/ 2147483647 h 618"/>
                <a:gd name="T102" fmla="*/ 2147483647 w 876"/>
                <a:gd name="T103" fmla="*/ 2147483647 h 618"/>
                <a:gd name="T104" fmla="*/ 2147483647 w 876"/>
                <a:gd name="T105" fmla="*/ 2147483647 h 618"/>
                <a:gd name="T106" fmla="*/ 2147483647 w 876"/>
                <a:gd name="T107" fmla="*/ 2147483647 h 618"/>
                <a:gd name="T108" fmla="*/ 2147483647 w 876"/>
                <a:gd name="T109" fmla="*/ 2147483647 h 618"/>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876"/>
                <a:gd name="T166" fmla="*/ 0 h 618"/>
                <a:gd name="T167" fmla="*/ 876 w 876"/>
                <a:gd name="T168" fmla="*/ 618 h 618"/>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876" h="618">
                  <a:moveTo>
                    <a:pt x="804" y="318"/>
                  </a:moveTo>
                  <a:lnTo>
                    <a:pt x="798" y="312"/>
                  </a:lnTo>
                  <a:lnTo>
                    <a:pt x="798" y="306"/>
                  </a:lnTo>
                  <a:lnTo>
                    <a:pt x="786" y="306"/>
                  </a:lnTo>
                  <a:lnTo>
                    <a:pt x="762" y="318"/>
                  </a:lnTo>
                  <a:lnTo>
                    <a:pt x="750" y="330"/>
                  </a:lnTo>
                  <a:lnTo>
                    <a:pt x="750" y="336"/>
                  </a:lnTo>
                  <a:lnTo>
                    <a:pt x="756" y="342"/>
                  </a:lnTo>
                  <a:lnTo>
                    <a:pt x="768" y="342"/>
                  </a:lnTo>
                  <a:lnTo>
                    <a:pt x="774" y="348"/>
                  </a:lnTo>
                  <a:lnTo>
                    <a:pt x="774" y="354"/>
                  </a:lnTo>
                  <a:lnTo>
                    <a:pt x="804" y="354"/>
                  </a:lnTo>
                  <a:lnTo>
                    <a:pt x="816" y="342"/>
                  </a:lnTo>
                  <a:lnTo>
                    <a:pt x="816" y="324"/>
                  </a:lnTo>
                  <a:lnTo>
                    <a:pt x="810" y="318"/>
                  </a:lnTo>
                  <a:lnTo>
                    <a:pt x="804" y="318"/>
                  </a:lnTo>
                  <a:close/>
                  <a:moveTo>
                    <a:pt x="672" y="390"/>
                  </a:moveTo>
                  <a:lnTo>
                    <a:pt x="678" y="396"/>
                  </a:lnTo>
                  <a:lnTo>
                    <a:pt x="684" y="396"/>
                  </a:lnTo>
                  <a:lnTo>
                    <a:pt x="690" y="390"/>
                  </a:lnTo>
                  <a:lnTo>
                    <a:pt x="690" y="372"/>
                  </a:lnTo>
                  <a:lnTo>
                    <a:pt x="684" y="372"/>
                  </a:lnTo>
                  <a:lnTo>
                    <a:pt x="672" y="384"/>
                  </a:lnTo>
                  <a:lnTo>
                    <a:pt x="672" y="390"/>
                  </a:lnTo>
                  <a:close/>
                  <a:moveTo>
                    <a:pt x="840" y="300"/>
                  </a:moveTo>
                  <a:lnTo>
                    <a:pt x="840" y="306"/>
                  </a:lnTo>
                  <a:lnTo>
                    <a:pt x="852" y="318"/>
                  </a:lnTo>
                  <a:lnTo>
                    <a:pt x="870" y="318"/>
                  </a:lnTo>
                  <a:lnTo>
                    <a:pt x="876" y="312"/>
                  </a:lnTo>
                  <a:lnTo>
                    <a:pt x="864" y="300"/>
                  </a:lnTo>
                  <a:lnTo>
                    <a:pt x="852" y="300"/>
                  </a:lnTo>
                  <a:lnTo>
                    <a:pt x="846" y="294"/>
                  </a:lnTo>
                  <a:lnTo>
                    <a:pt x="840" y="300"/>
                  </a:lnTo>
                  <a:close/>
                  <a:moveTo>
                    <a:pt x="804" y="150"/>
                  </a:moveTo>
                  <a:lnTo>
                    <a:pt x="798" y="138"/>
                  </a:lnTo>
                  <a:lnTo>
                    <a:pt x="798" y="132"/>
                  </a:lnTo>
                  <a:lnTo>
                    <a:pt x="810" y="120"/>
                  </a:lnTo>
                  <a:lnTo>
                    <a:pt x="798" y="114"/>
                  </a:lnTo>
                  <a:lnTo>
                    <a:pt x="792" y="108"/>
                  </a:lnTo>
                  <a:lnTo>
                    <a:pt x="792" y="102"/>
                  </a:lnTo>
                  <a:lnTo>
                    <a:pt x="780" y="102"/>
                  </a:lnTo>
                  <a:lnTo>
                    <a:pt x="780" y="108"/>
                  </a:lnTo>
                  <a:lnTo>
                    <a:pt x="774" y="114"/>
                  </a:lnTo>
                  <a:lnTo>
                    <a:pt x="756" y="114"/>
                  </a:lnTo>
                  <a:lnTo>
                    <a:pt x="750" y="108"/>
                  </a:lnTo>
                  <a:lnTo>
                    <a:pt x="726" y="108"/>
                  </a:lnTo>
                  <a:lnTo>
                    <a:pt x="726" y="102"/>
                  </a:lnTo>
                  <a:lnTo>
                    <a:pt x="708" y="102"/>
                  </a:lnTo>
                  <a:lnTo>
                    <a:pt x="696" y="108"/>
                  </a:lnTo>
                  <a:lnTo>
                    <a:pt x="690" y="84"/>
                  </a:lnTo>
                  <a:lnTo>
                    <a:pt x="672" y="84"/>
                  </a:lnTo>
                  <a:lnTo>
                    <a:pt x="672" y="78"/>
                  </a:lnTo>
                  <a:lnTo>
                    <a:pt x="666" y="72"/>
                  </a:lnTo>
                  <a:lnTo>
                    <a:pt x="648" y="72"/>
                  </a:lnTo>
                  <a:lnTo>
                    <a:pt x="642" y="78"/>
                  </a:lnTo>
                  <a:lnTo>
                    <a:pt x="642" y="90"/>
                  </a:lnTo>
                  <a:lnTo>
                    <a:pt x="624" y="96"/>
                  </a:lnTo>
                  <a:lnTo>
                    <a:pt x="624" y="84"/>
                  </a:lnTo>
                  <a:lnTo>
                    <a:pt x="594" y="84"/>
                  </a:lnTo>
                  <a:lnTo>
                    <a:pt x="582" y="72"/>
                  </a:lnTo>
                  <a:lnTo>
                    <a:pt x="570" y="72"/>
                  </a:lnTo>
                  <a:lnTo>
                    <a:pt x="564" y="78"/>
                  </a:lnTo>
                  <a:lnTo>
                    <a:pt x="546" y="60"/>
                  </a:lnTo>
                  <a:lnTo>
                    <a:pt x="510" y="60"/>
                  </a:lnTo>
                  <a:lnTo>
                    <a:pt x="516" y="54"/>
                  </a:lnTo>
                  <a:lnTo>
                    <a:pt x="516" y="48"/>
                  </a:lnTo>
                  <a:lnTo>
                    <a:pt x="504" y="36"/>
                  </a:lnTo>
                  <a:lnTo>
                    <a:pt x="498" y="36"/>
                  </a:lnTo>
                  <a:lnTo>
                    <a:pt x="492" y="42"/>
                  </a:lnTo>
                  <a:lnTo>
                    <a:pt x="486" y="36"/>
                  </a:lnTo>
                  <a:lnTo>
                    <a:pt x="450" y="36"/>
                  </a:lnTo>
                  <a:lnTo>
                    <a:pt x="390" y="24"/>
                  </a:lnTo>
                  <a:lnTo>
                    <a:pt x="378" y="24"/>
                  </a:lnTo>
                  <a:lnTo>
                    <a:pt x="348" y="36"/>
                  </a:lnTo>
                  <a:lnTo>
                    <a:pt x="294" y="30"/>
                  </a:lnTo>
                  <a:lnTo>
                    <a:pt x="258" y="12"/>
                  </a:lnTo>
                  <a:lnTo>
                    <a:pt x="234" y="12"/>
                  </a:lnTo>
                  <a:lnTo>
                    <a:pt x="216" y="18"/>
                  </a:lnTo>
                  <a:lnTo>
                    <a:pt x="162" y="18"/>
                  </a:lnTo>
                  <a:lnTo>
                    <a:pt x="150" y="12"/>
                  </a:lnTo>
                  <a:lnTo>
                    <a:pt x="138" y="12"/>
                  </a:lnTo>
                  <a:lnTo>
                    <a:pt x="126" y="6"/>
                  </a:lnTo>
                  <a:lnTo>
                    <a:pt x="120" y="0"/>
                  </a:lnTo>
                  <a:lnTo>
                    <a:pt x="108" y="0"/>
                  </a:lnTo>
                  <a:lnTo>
                    <a:pt x="96" y="6"/>
                  </a:lnTo>
                  <a:lnTo>
                    <a:pt x="72" y="30"/>
                  </a:lnTo>
                  <a:lnTo>
                    <a:pt x="60" y="30"/>
                  </a:lnTo>
                  <a:lnTo>
                    <a:pt x="48" y="36"/>
                  </a:lnTo>
                  <a:lnTo>
                    <a:pt x="30" y="36"/>
                  </a:lnTo>
                  <a:lnTo>
                    <a:pt x="6" y="48"/>
                  </a:lnTo>
                  <a:lnTo>
                    <a:pt x="0" y="60"/>
                  </a:lnTo>
                  <a:lnTo>
                    <a:pt x="0" y="72"/>
                  </a:lnTo>
                  <a:lnTo>
                    <a:pt x="6" y="78"/>
                  </a:lnTo>
                  <a:lnTo>
                    <a:pt x="12" y="90"/>
                  </a:lnTo>
                  <a:lnTo>
                    <a:pt x="24" y="96"/>
                  </a:lnTo>
                  <a:lnTo>
                    <a:pt x="30" y="102"/>
                  </a:lnTo>
                  <a:lnTo>
                    <a:pt x="18" y="138"/>
                  </a:lnTo>
                  <a:lnTo>
                    <a:pt x="24" y="144"/>
                  </a:lnTo>
                  <a:lnTo>
                    <a:pt x="24" y="150"/>
                  </a:lnTo>
                  <a:lnTo>
                    <a:pt x="30" y="144"/>
                  </a:lnTo>
                  <a:lnTo>
                    <a:pt x="54" y="132"/>
                  </a:lnTo>
                  <a:lnTo>
                    <a:pt x="78" y="132"/>
                  </a:lnTo>
                  <a:lnTo>
                    <a:pt x="78" y="138"/>
                  </a:lnTo>
                  <a:lnTo>
                    <a:pt x="66" y="150"/>
                  </a:lnTo>
                  <a:lnTo>
                    <a:pt x="60" y="150"/>
                  </a:lnTo>
                  <a:lnTo>
                    <a:pt x="60" y="156"/>
                  </a:lnTo>
                  <a:lnTo>
                    <a:pt x="72" y="156"/>
                  </a:lnTo>
                  <a:lnTo>
                    <a:pt x="78" y="150"/>
                  </a:lnTo>
                  <a:lnTo>
                    <a:pt x="96" y="150"/>
                  </a:lnTo>
                  <a:lnTo>
                    <a:pt x="102" y="156"/>
                  </a:lnTo>
                  <a:lnTo>
                    <a:pt x="114" y="156"/>
                  </a:lnTo>
                  <a:lnTo>
                    <a:pt x="120" y="150"/>
                  </a:lnTo>
                  <a:lnTo>
                    <a:pt x="120" y="144"/>
                  </a:lnTo>
                  <a:lnTo>
                    <a:pt x="174" y="144"/>
                  </a:lnTo>
                  <a:lnTo>
                    <a:pt x="174" y="162"/>
                  </a:lnTo>
                  <a:lnTo>
                    <a:pt x="180" y="162"/>
                  </a:lnTo>
                  <a:lnTo>
                    <a:pt x="192" y="168"/>
                  </a:lnTo>
                  <a:lnTo>
                    <a:pt x="192" y="174"/>
                  </a:lnTo>
                  <a:lnTo>
                    <a:pt x="168" y="198"/>
                  </a:lnTo>
                  <a:lnTo>
                    <a:pt x="144" y="210"/>
                  </a:lnTo>
                  <a:lnTo>
                    <a:pt x="138" y="216"/>
                  </a:lnTo>
                  <a:lnTo>
                    <a:pt x="138" y="222"/>
                  </a:lnTo>
                  <a:lnTo>
                    <a:pt x="144" y="222"/>
                  </a:lnTo>
                  <a:lnTo>
                    <a:pt x="150" y="228"/>
                  </a:lnTo>
                  <a:lnTo>
                    <a:pt x="150" y="240"/>
                  </a:lnTo>
                  <a:lnTo>
                    <a:pt x="144" y="258"/>
                  </a:lnTo>
                  <a:lnTo>
                    <a:pt x="144" y="276"/>
                  </a:lnTo>
                  <a:lnTo>
                    <a:pt x="138" y="276"/>
                  </a:lnTo>
                  <a:lnTo>
                    <a:pt x="132" y="282"/>
                  </a:lnTo>
                  <a:lnTo>
                    <a:pt x="132" y="294"/>
                  </a:lnTo>
                  <a:lnTo>
                    <a:pt x="138" y="300"/>
                  </a:lnTo>
                  <a:lnTo>
                    <a:pt x="138" y="312"/>
                  </a:lnTo>
                  <a:lnTo>
                    <a:pt x="126" y="324"/>
                  </a:lnTo>
                  <a:lnTo>
                    <a:pt x="90" y="324"/>
                  </a:lnTo>
                  <a:lnTo>
                    <a:pt x="114" y="348"/>
                  </a:lnTo>
                  <a:lnTo>
                    <a:pt x="114" y="360"/>
                  </a:lnTo>
                  <a:lnTo>
                    <a:pt x="120" y="366"/>
                  </a:lnTo>
                  <a:lnTo>
                    <a:pt x="132" y="372"/>
                  </a:lnTo>
                  <a:lnTo>
                    <a:pt x="132" y="378"/>
                  </a:lnTo>
                  <a:lnTo>
                    <a:pt x="120" y="390"/>
                  </a:lnTo>
                  <a:lnTo>
                    <a:pt x="108" y="396"/>
                  </a:lnTo>
                  <a:lnTo>
                    <a:pt x="96" y="408"/>
                  </a:lnTo>
                  <a:lnTo>
                    <a:pt x="96" y="414"/>
                  </a:lnTo>
                  <a:lnTo>
                    <a:pt x="102" y="420"/>
                  </a:lnTo>
                  <a:lnTo>
                    <a:pt x="102" y="426"/>
                  </a:lnTo>
                  <a:lnTo>
                    <a:pt x="108" y="438"/>
                  </a:lnTo>
                  <a:lnTo>
                    <a:pt x="114" y="444"/>
                  </a:lnTo>
                  <a:lnTo>
                    <a:pt x="126" y="444"/>
                  </a:lnTo>
                  <a:lnTo>
                    <a:pt x="126" y="450"/>
                  </a:lnTo>
                  <a:lnTo>
                    <a:pt x="114" y="462"/>
                  </a:lnTo>
                  <a:lnTo>
                    <a:pt x="102" y="462"/>
                  </a:lnTo>
                  <a:lnTo>
                    <a:pt x="96" y="474"/>
                  </a:lnTo>
                  <a:lnTo>
                    <a:pt x="90" y="480"/>
                  </a:lnTo>
                  <a:lnTo>
                    <a:pt x="90" y="528"/>
                  </a:lnTo>
                  <a:lnTo>
                    <a:pt x="120" y="528"/>
                  </a:lnTo>
                  <a:lnTo>
                    <a:pt x="144" y="546"/>
                  </a:lnTo>
                  <a:lnTo>
                    <a:pt x="162" y="546"/>
                  </a:lnTo>
                  <a:lnTo>
                    <a:pt x="156" y="576"/>
                  </a:lnTo>
                  <a:lnTo>
                    <a:pt x="162" y="576"/>
                  </a:lnTo>
                  <a:lnTo>
                    <a:pt x="162" y="594"/>
                  </a:lnTo>
                  <a:lnTo>
                    <a:pt x="168" y="606"/>
                  </a:lnTo>
                  <a:lnTo>
                    <a:pt x="174" y="612"/>
                  </a:lnTo>
                  <a:lnTo>
                    <a:pt x="192" y="612"/>
                  </a:lnTo>
                  <a:lnTo>
                    <a:pt x="198" y="618"/>
                  </a:lnTo>
                  <a:lnTo>
                    <a:pt x="204" y="618"/>
                  </a:lnTo>
                  <a:lnTo>
                    <a:pt x="210" y="612"/>
                  </a:lnTo>
                  <a:lnTo>
                    <a:pt x="222" y="606"/>
                  </a:lnTo>
                  <a:lnTo>
                    <a:pt x="240" y="588"/>
                  </a:lnTo>
                  <a:lnTo>
                    <a:pt x="252" y="582"/>
                  </a:lnTo>
                  <a:lnTo>
                    <a:pt x="264" y="582"/>
                  </a:lnTo>
                  <a:lnTo>
                    <a:pt x="294" y="564"/>
                  </a:lnTo>
                  <a:lnTo>
                    <a:pt x="360" y="564"/>
                  </a:lnTo>
                  <a:lnTo>
                    <a:pt x="366" y="558"/>
                  </a:lnTo>
                  <a:lnTo>
                    <a:pt x="378" y="558"/>
                  </a:lnTo>
                  <a:lnTo>
                    <a:pt x="390" y="570"/>
                  </a:lnTo>
                  <a:lnTo>
                    <a:pt x="396" y="570"/>
                  </a:lnTo>
                  <a:lnTo>
                    <a:pt x="408" y="564"/>
                  </a:lnTo>
                  <a:lnTo>
                    <a:pt x="420" y="564"/>
                  </a:lnTo>
                  <a:lnTo>
                    <a:pt x="426" y="558"/>
                  </a:lnTo>
                  <a:lnTo>
                    <a:pt x="432" y="558"/>
                  </a:lnTo>
                  <a:lnTo>
                    <a:pt x="432" y="570"/>
                  </a:lnTo>
                  <a:lnTo>
                    <a:pt x="438" y="570"/>
                  </a:lnTo>
                  <a:lnTo>
                    <a:pt x="450" y="558"/>
                  </a:lnTo>
                  <a:lnTo>
                    <a:pt x="462" y="534"/>
                  </a:lnTo>
                  <a:lnTo>
                    <a:pt x="462" y="522"/>
                  </a:lnTo>
                  <a:lnTo>
                    <a:pt x="498" y="492"/>
                  </a:lnTo>
                  <a:lnTo>
                    <a:pt x="528" y="492"/>
                  </a:lnTo>
                  <a:lnTo>
                    <a:pt x="534" y="474"/>
                  </a:lnTo>
                  <a:lnTo>
                    <a:pt x="534" y="468"/>
                  </a:lnTo>
                  <a:lnTo>
                    <a:pt x="540" y="462"/>
                  </a:lnTo>
                  <a:lnTo>
                    <a:pt x="540" y="450"/>
                  </a:lnTo>
                  <a:lnTo>
                    <a:pt x="546" y="444"/>
                  </a:lnTo>
                  <a:lnTo>
                    <a:pt x="552" y="432"/>
                  </a:lnTo>
                  <a:lnTo>
                    <a:pt x="552" y="426"/>
                  </a:lnTo>
                  <a:lnTo>
                    <a:pt x="570" y="426"/>
                  </a:lnTo>
                  <a:lnTo>
                    <a:pt x="594" y="414"/>
                  </a:lnTo>
                  <a:lnTo>
                    <a:pt x="600" y="408"/>
                  </a:lnTo>
                  <a:lnTo>
                    <a:pt x="594" y="396"/>
                  </a:lnTo>
                  <a:lnTo>
                    <a:pt x="588" y="390"/>
                  </a:lnTo>
                  <a:lnTo>
                    <a:pt x="582" y="378"/>
                  </a:lnTo>
                  <a:lnTo>
                    <a:pt x="576" y="372"/>
                  </a:lnTo>
                  <a:lnTo>
                    <a:pt x="570" y="372"/>
                  </a:lnTo>
                  <a:lnTo>
                    <a:pt x="570" y="336"/>
                  </a:lnTo>
                  <a:lnTo>
                    <a:pt x="582" y="312"/>
                  </a:lnTo>
                  <a:lnTo>
                    <a:pt x="594" y="306"/>
                  </a:lnTo>
                  <a:lnTo>
                    <a:pt x="600" y="294"/>
                  </a:lnTo>
                  <a:lnTo>
                    <a:pt x="612" y="282"/>
                  </a:lnTo>
                  <a:lnTo>
                    <a:pt x="618" y="270"/>
                  </a:lnTo>
                  <a:lnTo>
                    <a:pt x="630" y="258"/>
                  </a:lnTo>
                  <a:lnTo>
                    <a:pt x="642" y="258"/>
                  </a:lnTo>
                  <a:lnTo>
                    <a:pt x="654" y="246"/>
                  </a:lnTo>
                  <a:lnTo>
                    <a:pt x="654" y="240"/>
                  </a:lnTo>
                  <a:lnTo>
                    <a:pt x="648" y="240"/>
                  </a:lnTo>
                  <a:lnTo>
                    <a:pt x="648" y="228"/>
                  </a:lnTo>
                  <a:lnTo>
                    <a:pt x="654" y="222"/>
                  </a:lnTo>
                  <a:lnTo>
                    <a:pt x="726" y="198"/>
                  </a:lnTo>
                  <a:lnTo>
                    <a:pt x="750" y="186"/>
                  </a:lnTo>
                  <a:lnTo>
                    <a:pt x="756" y="174"/>
                  </a:lnTo>
                  <a:lnTo>
                    <a:pt x="768" y="168"/>
                  </a:lnTo>
                  <a:lnTo>
                    <a:pt x="774" y="168"/>
                  </a:lnTo>
                  <a:lnTo>
                    <a:pt x="786" y="156"/>
                  </a:lnTo>
                  <a:lnTo>
                    <a:pt x="798" y="156"/>
                  </a:lnTo>
                  <a:lnTo>
                    <a:pt x="804" y="150"/>
                  </a:lnTo>
                  <a:close/>
                </a:path>
              </a:pathLst>
            </a:custGeom>
            <a:grpFill/>
            <a:ln w="3175">
              <a:solidFill>
                <a:schemeClr val="bg1"/>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de-DE" sz="1800" b="0" i="0" u="none" strike="noStrike" kern="1200" cap="none" spc="0" normalizeH="0" baseline="0" noProof="0">
                <a:ln>
                  <a:noFill/>
                </a:ln>
                <a:solidFill>
                  <a:srgbClr val="FFC000"/>
                </a:solidFill>
                <a:effectLst/>
                <a:uLnTx/>
                <a:uFillTx/>
                <a:latin typeface="Calibri" pitchFamily="34" charset="0"/>
                <a:ea typeface="+mn-ea"/>
                <a:cs typeface="+mn-cs"/>
              </a:endParaRPr>
            </a:p>
          </p:txBody>
        </p:sp>
        <p:sp>
          <p:nvSpPr>
            <p:cNvPr id="53" name="Somalia" descr="© INSCALE GmbH, 05.05.2010&#10;http://www.presentationload.com/"/>
            <p:cNvSpPr>
              <a:spLocks/>
            </p:cNvSpPr>
            <p:nvPr/>
          </p:nvSpPr>
          <p:spPr bwMode="gray">
            <a:xfrm>
              <a:off x="5414102" y="4003722"/>
              <a:ext cx="231651" cy="342941"/>
            </a:xfrm>
            <a:custGeom>
              <a:avLst/>
              <a:gdLst>
                <a:gd name="T0" fmla="*/ 2147483647 w 714"/>
                <a:gd name="T1" fmla="*/ 2147483647 h 1104"/>
                <a:gd name="T2" fmla="*/ 2147483647 w 714"/>
                <a:gd name="T3" fmla="*/ 2147483647 h 1104"/>
                <a:gd name="T4" fmla="*/ 2147483647 w 714"/>
                <a:gd name="T5" fmla="*/ 2147483647 h 1104"/>
                <a:gd name="T6" fmla="*/ 2147483647 w 714"/>
                <a:gd name="T7" fmla="*/ 2147483647 h 1104"/>
                <a:gd name="T8" fmla="*/ 2147483647 w 714"/>
                <a:gd name="T9" fmla="*/ 2147483647 h 1104"/>
                <a:gd name="T10" fmla="*/ 2147483647 w 714"/>
                <a:gd name="T11" fmla="*/ 2147483647 h 1104"/>
                <a:gd name="T12" fmla="*/ 2147483647 w 714"/>
                <a:gd name="T13" fmla="*/ 2147483647 h 1104"/>
                <a:gd name="T14" fmla="*/ 2147483647 w 714"/>
                <a:gd name="T15" fmla="*/ 2147483647 h 1104"/>
                <a:gd name="T16" fmla="*/ 2147483647 w 714"/>
                <a:gd name="T17" fmla="*/ 2147483647 h 1104"/>
                <a:gd name="T18" fmla="*/ 2147483647 w 714"/>
                <a:gd name="T19" fmla="*/ 2147483647 h 1104"/>
                <a:gd name="T20" fmla="*/ 2147483647 w 714"/>
                <a:gd name="T21" fmla="*/ 2147483647 h 1104"/>
                <a:gd name="T22" fmla="*/ 2147483647 w 714"/>
                <a:gd name="T23" fmla="*/ 2147483647 h 1104"/>
                <a:gd name="T24" fmla="*/ 0 w 714"/>
                <a:gd name="T25" fmla="*/ 2147483647 h 1104"/>
                <a:gd name="T26" fmla="*/ 2147483647 w 714"/>
                <a:gd name="T27" fmla="*/ 2147483647 h 1104"/>
                <a:gd name="T28" fmla="*/ 2147483647 w 714"/>
                <a:gd name="T29" fmla="*/ 2147483647 h 1104"/>
                <a:gd name="T30" fmla="*/ 2147483647 w 714"/>
                <a:gd name="T31" fmla="*/ 2147483647 h 1104"/>
                <a:gd name="T32" fmla="*/ 2147483647 w 714"/>
                <a:gd name="T33" fmla="*/ 2147483647 h 1104"/>
                <a:gd name="T34" fmla="*/ 2147483647 w 714"/>
                <a:gd name="T35" fmla="*/ 2147483647 h 1104"/>
                <a:gd name="T36" fmla="*/ 2147483647 w 714"/>
                <a:gd name="T37" fmla="*/ 2147483647 h 1104"/>
                <a:gd name="T38" fmla="*/ 2147483647 w 714"/>
                <a:gd name="T39" fmla="*/ 2147483647 h 1104"/>
                <a:gd name="T40" fmla="*/ 2147483647 w 714"/>
                <a:gd name="T41" fmla="*/ 2147483647 h 1104"/>
                <a:gd name="T42" fmla="*/ 2147483647 w 714"/>
                <a:gd name="T43" fmla="*/ 2147483647 h 1104"/>
                <a:gd name="T44" fmla="*/ 2147483647 w 714"/>
                <a:gd name="T45" fmla="*/ 2147483647 h 1104"/>
                <a:gd name="T46" fmla="*/ 2147483647 w 714"/>
                <a:gd name="T47" fmla="*/ 2147483647 h 1104"/>
                <a:gd name="T48" fmla="*/ 2147483647 w 714"/>
                <a:gd name="T49" fmla="*/ 2147483647 h 1104"/>
                <a:gd name="T50" fmla="*/ 2147483647 w 714"/>
                <a:gd name="T51" fmla="*/ 2147483647 h 1104"/>
                <a:gd name="T52" fmla="*/ 2147483647 w 714"/>
                <a:gd name="T53" fmla="*/ 2147483647 h 1104"/>
                <a:gd name="T54" fmla="*/ 2147483647 w 714"/>
                <a:gd name="T55" fmla="*/ 2147483647 h 1104"/>
                <a:gd name="T56" fmla="*/ 2147483647 w 714"/>
                <a:gd name="T57" fmla="*/ 2147483647 h 1104"/>
                <a:gd name="T58" fmla="*/ 2147483647 w 714"/>
                <a:gd name="T59" fmla="*/ 2147483647 h 1104"/>
                <a:gd name="T60" fmla="*/ 2147483647 w 714"/>
                <a:gd name="T61" fmla="*/ 2147483647 h 1104"/>
                <a:gd name="T62" fmla="*/ 2147483647 w 714"/>
                <a:gd name="T63" fmla="*/ 2147483647 h 1104"/>
                <a:gd name="T64" fmla="*/ 2147483647 w 714"/>
                <a:gd name="T65" fmla="*/ 2147483647 h 1104"/>
                <a:gd name="T66" fmla="*/ 2147483647 w 714"/>
                <a:gd name="T67" fmla="*/ 2147483647 h 1104"/>
                <a:gd name="T68" fmla="*/ 2147483647 w 714"/>
                <a:gd name="T69" fmla="*/ 2147483647 h 1104"/>
                <a:gd name="T70" fmla="*/ 2147483647 w 714"/>
                <a:gd name="T71" fmla="*/ 2147483647 h 1104"/>
                <a:gd name="T72" fmla="*/ 2147483647 w 714"/>
                <a:gd name="T73" fmla="*/ 2147483647 h 1104"/>
                <a:gd name="T74" fmla="*/ 2147483647 w 714"/>
                <a:gd name="T75" fmla="*/ 2147483647 h 1104"/>
                <a:gd name="T76" fmla="*/ 2147483647 w 714"/>
                <a:gd name="T77" fmla="*/ 2147483647 h 1104"/>
                <a:gd name="T78" fmla="*/ 2147483647 w 714"/>
                <a:gd name="T79" fmla="*/ 2147483647 h 1104"/>
                <a:gd name="T80" fmla="*/ 2147483647 w 714"/>
                <a:gd name="T81" fmla="*/ 2147483647 h 1104"/>
                <a:gd name="T82" fmla="*/ 2147483647 w 714"/>
                <a:gd name="T83" fmla="*/ 2147483647 h 1104"/>
                <a:gd name="T84" fmla="*/ 2147483647 w 714"/>
                <a:gd name="T85" fmla="*/ 2147483647 h 1104"/>
                <a:gd name="T86" fmla="*/ 2147483647 w 714"/>
                <a:gd name="T87" fmla="*/ 2147483647 h 1104"/>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714"/>
                <a:gd name="T133" fmla="*/ 0 h 1104"/>
                <a:gd name="T134" fmla="*/ 714 w 714"/>
                <a:gd name="T135" fmla="*/ 1104 h 1104"/>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714" h="1104">
                  <a:moveTo>
                    <a:pt x="108" y="114"/>
                  </a:moveTo>
                  <a:lnTo>
                    <a:pt x="120" y="126"/>
                  </a:lnTo>
                  <a:lnTo>
                    <a:pt x="120" y="138"/>
                  </a:lnTo>
                  <a:lnTo>
                    <a:pt x="126" y="150"/>
                  </a:lnTo>
                  <a:lnTo>
                    <a:pt x="132" y="156"/>
                  </a:lnTo>
                  <a:lnTo>
                    <a:pt x="138" y="168"/>
                  </a:lnTo>
                  <a:lnTo>
                    <a:pt x="144" y="174"/>
                  </a:lnTo>
                  <a:lnTo>
                    <a:pt x="156" y="198"/>
                  </a:lnTo>
                  <a:lnTo>
                    <a:pt x="162" y="204"/>
                  </a:lnTo>
                  <a:lnTo>
                    <a:pt x="162" y="210"/>
                  </a:lnTo>
                  <a:lnTo>
                    <a:pt x="186" y="210"/>
                  </a:lnTo>
                  <a:lnTo>
                    <a:pt x="192" y="222"/>
                  </a:lnTo>
                  <a:lnTo>
                    <a:pt x="198" y="228"/>
                  </a:lnTo>
                  <a:lnTo>
                    <a:pt x="204" y="240"/>
                  </a:lnTo>
                  <a:lnTo>
                    <a:pt x="240" y="258"/>
                  </a:lnTo>
                  <a:lnTo>
                    <a:pt x="312" y="282"/>
                  </a:lnTo>
                  <a:lnTo>
                    <a:pt x="336" y="288"/>
                  </a:lnTo>
                  <a:lnTo>
                    <a:pt x="348" y="294"/>
                  </a:lnTo>
                  <a:lnTo>
                    <a:pt x="366" y="300"/>
                  </a:lnTo>
                  <a:lnTo>
                    <a:pt x="378" y="312"/>
                  </a:lnTo>
                  <a:lnTo>
                    <a:pt x="414" y="330"/>
                  </a:lnTo>
                  <a:lnTo>
                    <a:pt x="486" y="324"/>
                  </a:lnTo>
                  <a:lnTo>
                    <a:pt x="276" y="570"/>
                  </a:lnTo>
                  <a:lnTo>
                    <a:pt x="192" y="570"/>
                  </a:lnTo>
                  <a:lnTo>
                    <a:pt x="186" y="576"/>
                  </a:lnTo>
                  <a:lnTo>
                    <a:pt x="174" y="576"/>
                  </a:lnTo>
                  <a:lnTo>
                    <a:pt x="162" y="582"/>
                  </a:lnTo>
                  <a:lnTo>
                    <a:pt x="156" y="588"/>
                  </a:lnTo>
                  <a:lnTo>
                    <a:pt x="144" y="594"/>
                  </a:lnTo>
                  <a:lnTo>
                    <a:pt x="144" y="606"/>
                  </a:lnTo>
                  <a:lnTo>
                    <a:pt x="126" y="624"/>
                  </a:lnTo>
                  <a:lnTo>
                    <a:pt x="102" y="624"/>
                  </a:lnTo>
                  <a:lnTo>
                    <a:pt x="90" y="630"/>
                  </a:lnTo>
                  <a:lnTo>
                    <a:pt x="78" y="630"/>
                  </a:lnTo>
                  <a:lnTo>
                    <a:pt x="66" y="642"/>
                  </a:lnTo>
                  <a:lnTo>
                    <a:pt x="66" y="654"/>
                  </a:lnTo>
                  <a:lnTo>
                    <a:pt x="60" y="660"/>
                  </a:lnTo>
                  <a:lnTo>
                    <a:pt x="42" y="696"/>
                  </a:lnTo>
                  <a:lnTo>
                    <a:pt x="0" y="738"/>
                  </a:lnTo>
                  <a:lnTo>
                    <a:pt x="0" y="1038"/>
                  </a:lnTo>
                  <a:lnTo>
                    <a:pt x="42" y="1104"/>
                  </a:lnTo>
                  <a:lnTo>
                    <a:pt x="48" y="1086"/>
                  </a:lnTo>
                  <a:lnTo>
                    <a:pt x="84" y="1032"/>
                  </a:lnTo>
                  <a:lnTo>
                    <a:pt x="96" y="1008"/>
                  </a:lnTo>
                  <a:lnTo>
                    <a:pt x="114" y="996"/>
                  </a:lnTo>
                  <a:lnTo>
                    <a:pt x="144" y="966"/>
                  </a:lnTo>
                  <a:lnTo>
                    <a:pt x="150" y="954"/>
                  </a:lnTo>
                  <a:lnTo>
                    <a:pt x="162" y="936"/>
                  </a:lnTo>
                  <a:lnTo>
                    <a:pt x="192" y="906"/>
                  </a:lnTo>
                  <a:lnTo>
                    <a:pt x="216" y="876"/>
                  </a:lnTo>
                  <a:lnTo>
                    <a:pt x="246" y="846"/>
                  </a:lnTo>
                  <a:lnTo>
                    <a:pt x="264" y="840"/>
                  </a:lnTo>
                  <a:lnTo>
                    <a:pt x="276" y="828"/>
                  </a:lnTo>
                  <a:lnTo>
                    <a:pt x="294" y="816"/>
                  </a:lnTo>
                  <a:lnTo>
                    <a:pt x="318" y="804"/>
                  </a:lnTo>
                  <a:lnTo>
                    <a:pt x="336" y="786"/>
                  </a:lnTo>
                  <a:lnTo>
                    <a:pt x="372" y="756"/>
                  </a:lnTo>
                  <a:lnTo>
                    <a:pt x="420" y="708"/>
                  </a:lnTo>
                  <a:lnTo>
                    <a:pt x="438" y="684"/>
                  </a:lnTo>
                  <a:lnTo>
                    <a:pt x="462" y="654"/>
                  </a:lnTo>
                  <a:lnTo>
                    <a:pt x="492" y="618"/>
                  </a:lnTo>
                  <a:lnTo>
                    <a:pt x="516" y="570"/>
                  </a:lnTo>
                  <a:lnTo>
                    <a:pt x="528" y="540"/>
                  </a:lnTo>
                  <a:lnTo>
                    <a:pt x="546" y="516"/>
                  </a:lnTo>
                  <a:lnTo>
                    <a:pt x="558" y="498"/>
                  </a:lnTo>
                  <a:lnTo>
                    <a:pt x="564" y="492"/>
                  </a:lnTo>
                  <a:lnTo>
                    <a:pt x="570" y="480"/>
                  </a:lnTo>
                  <a:lnTo>
                    <a:pt x="576" y="474"/>
                  </a:lnTo>
                  <a:lnTo>
                    <a:pt x="576" y="450"/>
                  </a:lnTo>
                  <a:lnTo>
                    <a:pt x="582" y="432"/>
                  </a:lnTo>
                  <a:lnTo>
                    <a:pt x="588" y="420"/>
                  </a:lnTo>
                  <a:lnTo>
                    <a:pt x="588" y="402"/>
                  </a:lnTo>
                  <a:lnTo>
                    <a:pt x="594" y="390"/>
                  </a:lnTo>
                  <a:lnTo>
                    <a:pt x="606" y="378"/>
                  </a:lnTo>
                  <a:lnTo>
                    <a:pt x="612" y="366"/>
                  </a:lnTo>
                  <a:lnTo>
                    <a:pt x="624" y="354"/>
                  </a:lnTo>
                  <a:lnTo>
                    <a:pt x="624" y="324"/>
                  </a:lnTo>
                  <a:lnTo>
                    <a:pt x="636" y="318"/>
                  </a:lnTo>
                  <a:lnTo>
                    <a:pt x="642" y="306"/>
                  </a:lnTo>
                  <a:lnTo>
                    <a:pt x="660" y="252"/>
                  </a:lnTo>
                  <a:lnTo>
                    <a:pt x="672" y="252"/>
                  </a:lnTo>
                  <a:lnTo>
                    <a:pt x="672" y="246"/>
                  </a:lnTo>
                  <a:lnTo>
                    <a:pt x="684" y="234"/>
                  </a:lnTo>
                  <a:lnTo>
                    <a:pt x="684" y="138"/>
                  </a:lnTo>
                  <a:lnTo>
                    <a:pt x="708" y="126"/>
                  </a:lnTo>
                  <a:lnTo>
                    <a:pt x="702" y="54"/>
                  </a:lnTo>
                  <a:lnTo>
                    <a:pt x="708" y="42"/>
                  </a:lnTo>
                  <a:lnTo>
                    <a:pt x="708" y="36"/>
                  </a:lnTo>
                  <a:lnTo>
                    <a:pt x="714" y="24"/>
                  </a:lnTo>
                  <a:lnTo>
                    <a:pt x="714" y="12"/>
                  </a:lnTo>
                  <a:lnTo>
                    <a:pt x="690" y="0"/>
                  </a:lnTo>
                  <a:lnTo>
                    <a:pt x="672" y="0"/>
                  </a:lnTo>
                  <a:lnTo>
                    <a:pt x="666" y="12"/>
                  </a:lnTo>
                  <a:lnTo>
                    <a:pt x="654" y="18"/>
                  </a:lnTo>
                  <a:lnTo>
                    <a:pt x="648" y="30"/>
                  </a:lnTo>
                  <a:lnTo>
                    <a:pt x="624" y="42"/>
                  </a:lnTo>
                  <a:lnTo>
                    <a:pt x="612" y="42"/>
                  </a:lnTo>
                  <a:lnTo>
                    <a:pt x="594" y="48"/>
                  </a:lnTo>
                  <a:lnTo>
                    <a:pt x="582" y="54"/>
                  </a:lnTo>
                  <a:lnTo>
                    <a:pt x="564" y="54"/>
                  </a:lnTo>
                  <a:lnTo>
                    <a:pt x="546" y="48"/>
                  </a:lnTo>
                  <a:lnTo>
                    <a:pt x="534" y="42"/>
                  </a:lnTo>
                  <a:lnTo>
                    <a:pt x="516" y="48"/>
                  </a:lnTo>
                  <a:lnTo>
                    <a:pt x="510" y="54"/>
                  </a:lnTo>
                  <a:lnTo>
                    <a:pt x="498" y="60"/>
                  </a:lnTo>
                  <a:lnTo>
                    <a:pt x="492" y="72"/>
                  </a:lnTo>
                  <a:lnTo>
                    <a:pt x="486" y="78"/>
                  </a:lnTo>
                  <a:lnTo>
                    <a:pt x="474" y="78"/>
                  </a:lnTo>
                  <a:lnTo>
                    <a:pt x="462" y="72"/>
                  </a:lnTo>
                  <a:lnTo>
                    <a:pt x="456" y="60"/>
                  </a:lnTo>
                  <a:lnTo>
                    <a:pt x="444" y="60"/>
                  </a:lnTo>
                  <a:lnTo>
                    <a:pt x="438" y="66"/>
                  </a:lnTo>
                  <a:lnTo>
                    <a:pt x="426" y="72"/>
                  </a:lnTo>
                  <a:lnTo>
                    <a:pt x="396" y="102"/>
                  </a:lnTo>
                  <a:lnTo>
                    <a:pt x="384" y="108"/>
                  </a:lnTo>
                  <a:lnTo>
                    <a:pt x="372" y="108"/>
                  </a:lnTo>
                  <a:lnTo>
                    <a:pt x="360" y="102"/>
                  </a:lnTo>
                  <a:lnTo>
                    <a:pt x="354" y="96"/>
                  </a:lnTo>
                  <a:lnTo>
                    <a:pt x="342" y="90"/>
                  </a:lnTo>
                  <a:lnTo>
                    <a:pt x="330" y="90"/>
                  </a:lnTo>
                  <a:lnTo>
                    <a:pt x="306" y="102"/>
                  </a:lnTo>
                  <a:lnTo>
                    <a:pt x="294" y="114"/>
                  </a:lnTo>
                  <a:lnTo>
                    <a:pt x="270" y="126"/>
                  </a:lnTo>
                  <a:lnTo>
                    <a:pt x="210" y="126"/>
                  </a:lnTo>
                  <a:lnTo>
                    <a:pt x="192" y="108"/>
                  </a:lnTo>
                  <a:lnTo>
                    <a:pt x="186" y="96"/>
                  </a:lnTo>
                  <a:lnTo>
                    <a:pt x="174" y="90"/>
                  </a:lnTo>
                  <a:lnTo>
                    <a:pt x="168" y="78"/>
                  </a:lnTo>
                  <a:lnTo>
                    <a:pt x="168" y="66"/>
                  </a:lnTo>
                  <a:lnTo>
                    <a:pt x="156" y="54"/>
                  </a:lnTo>
                  <a:lnTo>
                    <a:pt x="150" y="54"/>
                  </a:lnTo>
                  <a:lnTo>
                    <a:pt x="126" y="78"/>
                  </a:lnTo>
                  <a:lnTo>
                    <a:pt x="108" y="114"/>
                  </a:lnTo>
                  <a:close/>
                </a:path>
              </a:pathLst>
            </a:custGeom>
            <a:grpFill/>
            <a:ln w="3175">
              <a:solidFill>
                <a:schemeClr val="bg1"/>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de-DE" sz="1800" b="0" i="0" u="none" strike="noStrike" kern="1200" cap="none" spc="0" normalizeH="0" baseline="0" noProof="0">
                <a:ln>
                  <a:noFill/>
                </a:ln>
                <a:solidFill>
                  <a:srgbClr val="FFC000"/>
                </a:solidFill>
                <a:effectLst/>
                <a:uLnTx/>
                <a:uFillTx/>
                <a:latin typeface="Calibri" pitchFamily="34" charset="0"/>
                <a:ea typeface="+mn-ea"/>
                <a:cs typeface="+mn-cs"/>
              </a:endParaRPr>
            </a:p>
          </p:txBody>
        </p:sp>
        <p:sp>
          <p:nvSpPr>
            <p:cNvPr id="54" name="Solomon Islands" descr="© INSCALE GmbH, 05.05.2010&#10;http://www.presentationload.com/"/>
            <p:cNvSpPr>
              <a:spLocks noEditPoints="1"/>
            </p:cNvSpPr>
            <p:nvPr/>
          </p:nvSpPr>
          <p:spPr bwMode="gray">
            <a:xfrm>
              <a:off x="8077451" y="4471591"/>
              <a:ext cx="120305" cy="109006"/>
            </a:xfrm>
            <a:custGeom>
              <a:avLst/>
              <a:gdLst>
                <a:gd name="T0" fmla="*/ 2147483647 w 372"/>
                <a:gd name="T1" fmla="*/ 0 h 348"/>
                <a:gd name="T2" fmla="*/ 2147483647 w 372"/>
                <a:gd name="T3" fmla="*/ 2147483647 h 348"/>
                <a:gd name="T4" fmla="*/ 0 w 372"/>
                <a:gd name="T5" fmla="*/ 2147483647 h 348"/>
                <a:gd name="T6" fmla="*/ 2147483647 w 372"/>
                <a:gd name="T7" fmla="*/ 2147483647 h 348"/>
                <a:gd name="T8" fmla="*/ 0 w 372"/>
                <a:gd name="T9" fmla="*/ 2147483647 h 348"/>
                <a:gd name="T10" fmla="*/ 2147483647 w 372"/>
                <a:gd name="T11" fmla="*/ 2147483647 h 348"/>
                <a:gd name="T12" fmla="*/ 2147483647 w 372"/>
                <a:gd name="T13" fmla="*/ 2147483647 h 348"/>
                <a:gd name="T14" fmla="*/ 2147483647 w 372"/>
                <a:gd name="T15" fmla="*/ 2147483647 h 348"/>
                <a:gd name="T16" fmla="*/ 2147483647 w 372"/>
                <a:gd name="T17" fmla="*/ 2147483647 h 348"/>
                <a:gd name="T18" fmla="*/ 2147483647 w 372"/>
                <a:gd name="T19" fmla="*/ 2147483647 h 348"/>
                <a:gd name="T20" fmla="*/ 2147483647 w 372"/>
                <a:gd name="T21" fmla="*/ 2147483647 h 348"/>
                <a:gd name="T22" fmla="*/ 2147483647 w 372"/>
                <a:gd name="T23" fmla="*/ 2147483647 h 348"/>
                <a:gd name="T24" fmla="*/ 2147483647 w 372"/>
                <a:gd name="T25" fmla="*/ 2147483647 h 348"/>
                <a:gd name="T26" fmla="*/ 2147483647 w 372"/>
                <a:gd name="T27" fmla="*/ 2147483647 h 348"/>
                <a:gd name="T28" fmla="*/ 2147483647 w 372"/>
                <a:gd name="T29" fmla="*/ 2147483647 h 348"/>
                <a:gd name="T30" fmla="*/ 2147483647 w 372"/>
                <a:gd name="T31" fmla="*/ 2147483647 h 348"/>
                <a:gd name="T32" fmla="*/ 2147483647 w 372"/>
                <a:gd name="T33" fmla="*/ 2147483647 h 348"/>
                <a:gd name="T34" fmla="*/ 2147483647 w 372"/>
                <a:gd name="T35" fmla="*/ 2147483647 h 348"/>
                <a:gd name="T36" fmla="*/ 2147483647 w 372"/>
                <a:gd name="T37" fmla="*/ 2147483647 h 348"/>
                <a:gd name="T38" fmla="*/ 2147483647 w 372"/>
                <a:gd name="T39" fmla="*/ 2147483647 h 348"/>
                <a:gd name="T40" fmla="*/ 2147483647 w 372"/>
                <a:gd name="T41" fmla="*/ 2147483647 h 348"/>
                <a:gd name="T42" fmla="*/ 2147483647 w 372"/>
                <a:gd name="T43" fmla="*/ 2147483647 h 348"/>
                <a:gd name="T44" fmla="*/ 2147483647 w 372"/>
                <a:gd name="T45" fmla="*/ 2147483647 h 348"/>
                <a:gd name="T46" fmla="*/ 2147483647 w 372"/>
                <a:gd name="T47" fmla="*/ 2147483647 h 348"/>
                <a:gd name="T48" fmla="*/ 2147483647 w 372"/>
                <a:gd name="T49" fmla="*/ 2147483647 h 348"/>
                <a:gd name="T50" fmla="*/ 2147483647 w 372"/>
                <a:gd name="T51" fmla="*/ 2147483647 h 348"/>
                <a:gd name="T52" fmla="*/ 2147483647 w 372"/>
                <a:gd name="T53" fmla="*/ 2147483647 h 348"/>
                <a:gd name="T54" fmla="*/ 2147483647 w 372"/>
                <a:gd name="T55" fmla="*/ 2147483647 h 348"/>
                <a:gd name="T56" fmla="*/ 2147483647 w 372"/>
                <a:gd name="T57" fmla="*/ 2147483647 h 348"/>
                <a:gd name="T58" fmla="*/ 2147483647 w 372"/>
                <a:gd name="T59" fmla="*/ 2147483647 h 348"/>
                <a:gd name="T60" fmla="*/ 2147483647 w 372"/>
                <a:gd name="T61" fmla="*/ 2147483647 h 348"/>
                <a:gd name="T62" fmla="*/ 2147483647 w 372"/>
                <a:gd name="T63" fmla="*/ 2147483647 h 348"/>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372"/>
                <a:gd name="T97" fmla="*/ 0 h 348"/>
                <a:gd name="T98" fmla="*/ 372 w 372"/>
                <a:gd name="T99" fmla="*/ 348 h 348"/>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372" h="348">
                  <a:moveTo>
                    <a:pt x="30" y="18"/>
                  </a:moveTo>
                  <a:lnTo>
                    <a:pt x="12" y="0"/>
                  </a:lnTo>
                  <a:lnTo>
                    <a:pt x="6" y="24"/>
                  </a:lnTo>
                  <a:lnTo>
                    <a:pt x="24" y="48"/>
                  </a:lnTo>
                  <a:lnTo>
                    <a:pt x="30" y="18"/>
                  </a:lnTo>
                  <a:close/>
                  <a:moveTo>
                    <a:pt x="0" y="126"/>
                  </a:moveTo>
                  <a:lnTo>
                    <a:pt x="18" y="132"/>
                  </a:lnTo>
                  <a:lnTo>
                    <a:pt x="36" y="102"/>
                  </a:lnTo>
                  <a:lnTo>
                    <a:pt x="0" y="102"/>
                  </a:lnTo>
                  <a:lnTo>
                    <a:pt x="0" y="126"/>
                  </a:lnTo>
                  <a:close/>
                  <a:moveTo>
                    <a:pt x="78" y="120"/>
                  </a:moveTo>
                  <a:lnTo>
                    <a:pt x="36" y="120"/>
                  </a:lnTo>
                  <a:lnTo>
                    <a:pt x="42" y="144"/>
                  </a:lnTo>
                  <a:lnTo>
                    <a:pt x="78" y="132"/>
                  </a:lnTo>
                  <a:lnTo>
                    <a:pt x="78" y="120"/>
                  </a:lnTo>
                  <a:close/>
                  <a:moveTo>
                    <a:pt x="60" y="186"/>
                  </a:moveTo>
                  <a:lnTo>
                    <a:pt x="96" y="186"/>
                  </a:lnTo>
                  <a:lnTo>
                    <a:pt x="48" y="150"/>
                  </a:lnTo>
                  <a:lnTo>
                    <a:pt x="60" y="186"/>
                  </a:lnTo>
                  <a:close/>
                  <a:moveTo>
                    <a:pt x="246" y="222"/>
                  </a:moveTo>
                  <a:lnTo>
                    <a:pt x="222" y="210"/>
                  </a:lnTo>
                  <a:lnTo>
                    <a:pt x="192" y="210"/>
                  </a:lnTo>
                  <a:lnTo>
                    <a:pt x="192" y="228"/>
                  </a:lnTo>
                  <a:lnTo>
                    <a:pt x="198" y="234"/>
                  </a:lnTo>
                  <a:lnTo>
                    <a:pt x="204" y="246"/>
                  </a:lnTo>
                  <a:lnTo>
                    <a:pt x="216" y="252"/>
                  </a:lnTo>
                  <a:lnTo>
                    <a:pt x="252" y="264"/>
                  </a:lnTo>
                  <a:lnTo>
                    <a:pt x="264" y="264"/>
                  </a:lnTo>
                  <a:lnTo>
                    <a:pt x="276" y="258"/>
                  </a:lnTo>
                  <a:lnTo>
                    <a:pt x="276" y="252"/>
                  </a:lnTo>
                  <a:lnTo>
                    <a:pt x="270" y="246"/>
                  </a:lnTo>
                  <a:lnTo>
                    <a:pt x="264" y="234"/>
                  </a:lnTo>
                  <a:lnTo>
                    <a:pt x="246" y="222"/>
                  </a:lnTo>
                  <a:close/>
                  <a:moveTo>
                    <a:pt x="312" y="288"/>
                  </a:moveTo>
                  <a:lnTo>
                    <a:pt x="360" y="348"/>
                  </a:lnTo>
                  <a:lnTo>
                    <a:pt x="372" y="318"/>
                  </a:lnTo>
                  <a:lnTo>
                    <a:pt x="312" y="288"/>
                  </a:lnTo>
                  <a:close/>
                  <a:moveTo>
                    <a:pt x="288" y="126"/>
                  </a:moveTo>
                  <a:lnTo>
                    <a:pt x="288" y="132"/>
                  </a:lnTo>
                  <a:lnTo>
                    <a:pt x="282" y="138"/>
                  </a:lnTo>
                  <a:lnTo>
                    <a:pt x="282" y="150"/>
                  </a:lnTo>
                  <a:lnTo>
                    <a:pt x="276" y="162"/>
                  </a:lnTo>
                  <a:lnTo>
                    <a:pt x="276" y="192"/>
                  </a:lnTo>
                  <a:lnTo>
                    <a:pt x="312" y="228"/>
                  </a:lnTo>
                  <a:lnTo>
                    <a:pt x="324" y="234"/>
                  </a:lnTo>
                  <a:lnTo>
                    <a:pt x="330" y="240"/>
                  </a:lnTo>
                  <a:lnTo>
                    <a:pt x="288" y="126"/>
                  </a:lnTo>
                  <a:close/>
                  <a:moveTo>
                    <a:pt x="120" y="60"/>
                  </a:moveTo>
                  <a:lnTo>
                    <a:pt x="120" y="66"/>
                  </a:lnTo>
                  <a:lnTo>
                    <a:pt x="126" y="78"/>
                  </a:lnTo>
                  <a:lnTo>
                    <a:pt x="138" y="90"/>
                  </a:lnTo>
                  <a:lnTo>
                    <a:pt x="150" y="108"/>
                  </a:lnTo>
                  <a:lnTo>
                    <a:pt x="168" y="120"/>
                  </a:lnTo>
                  <a:lnTo>
                    <a:pt x="192" y="144"/>
                  </a:lnTo>
                  <a:lnTo>
                    <a:pt x="204" y="150"/>
                  </a:lnTo>
                  <a:lnTo>
                    <a:pt x="216" y="150"/>
                  </a:lnTo>
                  <a:lnTo>
                    <a:pt x="210" y="138"/>
                  </a:lnTo>
                  <a:lnTo>
                    <a:pt x="204" y="132"/>
                  </a:lnTo>
                  <a:lnTo>
                    <a:pt x="198" y="120"/>
                  </a:lnTo>
                  <a:lnTo>
                    <a:pt x="186" y="108"/>
                  </a:lnTo>
                  <a:lnTo>
                    <a:pt x="174" y="90"/>
                  </a:lnTo>
                  <a:lnTo>
                    <a:pt x="156" y="78"/>
                  </a:lnTo>
                  <a:lnTo>
                    <a:pt x="144" y="66"/>
                  </a:lnTo>
                  <a:lnTo>
                    <a:pt x="132" y="60"/>
                  </a:lnTo>
                  <a:lnTo>
                    <a:pt x="120" y="60"/>
                  </a:lnTo>
                  <a:close/>
                </a:path>
              </a:pathLst>
            </a:custGeom>
            <a:grpFill/>
            <a:ln w="3175">
              <a:solidFill>
                <a:schemeClr val="bg1"/>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de-DE" sz="1800" b="0" i="0" u="none" strike="noStrike" kern="1200" cap="none" spc="0" normalizeH="0" baseline="0" noProof="0">
                <a:ln>
                  <a:noFill/>
                </a:ln>
                <a:solidFill>
                  <a:srgbClr val="FFC000"/>
                </a:solidFill>
                <a:effectLst/>
                <a:uLnTx/>
                <a:uFillTx/>
                <a:latin typeface="Calibri" pitchFamily="34" charset="0"/>
                <a:ea typeface="+mn-ea"/>
                <a:cs typeface="+mn-cs"/>
              </a:endParaRPr>
            </a:p>
          </p:txBody>
        </p:sp>
        <p:sp>
          <p:nvSpPr>
            <p:cNvPr id="55" name="Slovenia" descr="© INSCALE GmbH, 05.05.2010&#10;http://www.presentationload.com/"/>
            <p:cNvSpPr>
              <a:spLocks/>
            </p:cNvSpPr>
            <p:nvPr/>
          </p:nvSpPr>
          <p:spPr bwMode="gray">
            <a:xfrm>
              <a:off x="4765223" y="3131672"/>
              <a:ext cx="69112" cy="36744"/>
            </a:xfrm>
            <a:custGeom>
              <a:avLst/>
              <a:gdLst>
                <a:gd name="T0" fmla="*/ 2147483647 w 210"/>
                <a:gd name="T1" fmla="*/ 2147483647 h 120"/>
                <a:gd name="T2" fmla="*/ 2147483647 w 210"/>
                <a:gd name="T3" fmla="*/ 2147483647 h 120"/>
                <a:gd name="T4" fmla="*/ 2147483647 w 210"/>
                <a:gd name="T5" fmla="*/ 2147483647 h 120"/>
                <a:gd name="T6" fmla="*/ 2147483647 w 210"/>
                <a:gd name="T7" fmla="*/ 2147483647 h 120"/>
                <a:gd name="T8" fmla="*/ 2147483647 w 210"/>
                <a:gd name="T9" fmla="*/ 2147483647 h 120"/>
                <a:gd name="T10" fmla="*/ 2147483647 w 210"/>
                <a:gd name="T11" fmla="*/ 2147483647 h 120"/>
                <a:gd name="T12" fmla="*/ 2147483647 w 210"/>
                <a:gd name="T13" fmla="*/ 2147483647 h 120"/>
                <a:gd name="T14" fmla="*/ 2147483647 w 210"/>
                <a:gd name="T15" fmla="*/ 2147483647 h 120"/>
                <a:gd name="T16" fmla="*/ 2147483647 w 210"/>
                <a:gd name="T17" fmla="*/ 2147483647 h 120"/>
                <a:gd name="T18" fmla="*/ 2147483647 w 210"/>
                <a:gd name="T19" fmla="*/ 2147483647 h 120"/>
                <a:gd name="T20" fmla="*/ 2147483647 w 210"/>
                <a:gd name="T21" fmla="*/ 2147483647 h 120"/>
                <a:gd name="T22" fmla="*/ 2147483647 w 210"/>
                <a:gd name="T23" fmla="*/ 2147483647 h 120"/>
                <a:gd name="T24" fmla="*/ 2147483647 w 210"/>
                <a:gd name="T25" fmla="*/ 2147483647 h 120"/>
                <a:gd name="T26" fmla="*/ 2147483647 w 210"/>
                <a:gd name="T27" fmla="*/ 2147483647 h 120"/>
                <a:gd name="T28" fmla="*/ 2147483647 w 210"/>
                <a:gd name="T29" fmla="*/ 2147483647 h 120"/>
                <a:gd name="T30" fmla="*/ 2147483647 w 210"/>
                <a:gd name="T31" fmla="*/ 2147483647 h 120"/>
                <a:gd name="T32" fmla="*/ 2147483647 w 210"/>
                <a:gd name="T33" fmla="*/ 2147483647 h 120"/>
                <a:gd name="T34" fmla="*/ 2147483647 w 210"/>
                <a:gd name="T35" fmla="*/ 2147483647 h 120"/>
                <a:gd name="T36" fmla="*/ 2147483647 w 210"/>
                <a:gd name="T37" fmla="*/ 2147483647 h 120"/>
                <a:gd name="T38" fmla="*/ 2147483647 w 210"/>
                <a:gd name="T39" fmla="*/ 2147483647 h 120"/>
                <a:gd name="T40" fmla="*/ 2147483647 w 210"/>
                <a:gd name="T41" fmla="*/ 2147483647 h 120"/>
                <a:gd name="T42" fmla="*/ 2147483647 w 210"/>
                <a:gd name="T43" fmla="*/ 0 h 120"/>
                <a:gd name="T44" fmla="*/ 2147483647 w 210"/>
                <a:gd name="T45" fmla="*/ 2147483647 h 120"/>
                <a:gd name="T46" fmla="*/ 2147483647 w 210"/>
                <a:gd name="T47" fmla="*/ 2147483647 h 120"/>
                <a:gd name="T48" fmla="*/ 2147483647 w 210"/>
                <a:gd name="T49" fmla="*/ 2147483647 h 120"/>
                <a:gd name="T50" fmla="*/ 2147483647 w 210"/>
                <a:gd name="T51" fmla="*/ 2147483647 h 120"/>
                <a:gd name="T52" fmla="*/ 2147483647 w 210"/>
                <a:gd name="T53" fmla="*/ 2147483647 h 120"/>
                <a:gd name="T54" fmla="*/ 2147483647 w 210"/>
                <a:gd name="T55" fmla="*/ 2147483647 h 120"/>
                <a:gd name="T56" fmla="*/ 2147483647 w 210"/>
                <a:gd name="T57" fmla="*/ 2147483647 h 120"/>
                <a:gd name="T58" fmla="*/ 2147483647 w 210"/>
                <a:gd name="T59" fmla="*/ 2147483647 h 120"/>
                <a:gd name="T60" fmla="*/ 2147483647 w 210"/>
                <a:gd name="T61" fmla="*/ 2147483647 h 120"/>
                <a:gd name="T62" fmla="*/ 2147483647 w 210"/>
                <a:gd name="T63" fmla="*/ 2147483647 h 120"/>
                <a:gd name="T64" fmla="*/ 2147483647 w 210"/>
                <a:gd name="T65" fmla="*/ 2147483647 h 120"/>
                <a:gd name="T66" fmla="*/ 2147483647 w 210"/>
                <a:gd name="T67" fmla="*/ 2147483647 h 120"/>
                <a:gd name="T68" fmla="*/ 0 w 210"/>
                <a:gd name="T69" fmla="*/ 2147483647 h 120"/>
                <a:gd name="T70" fmla="*/ 2147483647 w 210"/>
                <a:gd name="T71" fmla="*/ 2147483647 h 120"/>
                <a:gd name="T72" fmla="*/ 2147483647 w 210"/>
                <a:gd name="T73" fmla="*/ 2147483647 h 120"/>
                <a:gd name="T74" fmla="*/ 2147483647 w 210"/>
                <a:gd name="T75" fmla="*/ 2147483647 h 120"/>
                <a:gd name="T76" fmla="*/ 2147483647 w 210"/>
                <a:gd name="T77" fmla="*/ 2147483647 h 120"/>
                <a:gd name="T78" fmla="*/ 2147483647 w 210"/>
                <a:gd name="T79" fmla="*/ 2147483647 h 120"/>
                <a:gd name="T80" fmla="*/ 2147483647 w 210"/>
                <a:gd name="T81" fmla="*/ 2147483647 h 120"/>
                <a:gd name="T82" fmla="*/ 2147483647 w 210"/>
                <a:gd name="T83" fmla="*/ 2147483647 h 120"/>
                <a:gd name="T84" fmla="*/ 2147483647 w 210"/>
                <a:gd name="T85" fmla="*/ 2147483647 h 120"/>
                <a:gd name="T86" fmla="*/ 2147483647 w 210"/>
                <a:gd name="T87" fmla="*/ 2147483647 h 120"/>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210"/>
                <a:gd name="T133" fmla="*/ 0 h 120"/>
                <a:gd name="T134" fmla="*/ 210 w 210"/>
                <a:gd name="T135" fmla="*/ 120 h 120"/>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210" h="120">
                  <a:moveTo>
                    <a:pt x="24" y="120"/>
                  </a:moveTo>
                  <a:lnTo>
                    <a:pt x="42" y="120"/>
                  </a:lnTo>
                  <a:lnTo>
                    <a:pt x="42" y="108"/>
                  </a:lnTo>
                  <a:lnTo>
                    <a:pt x="54" y="114"/>
                  </a:lnTo>
                  <a:lnTo>
                    <a:pt x="72" y="114"/>
                  </a:lnTo>
                  <a:lnTo>
                    <a:pt x="78" y="102"/>
                  </a:lnTo>
                  <a:lnTo>
                    <a:pt x="78" y="108"/>
                  </a:lnTo>
                  <a:lnTo>
                    <a:pt x="84" y="114"/>
                  </a:lnTo>
                  <a:lnTo>
                    <a:pt x="126" y="114"/>
                  </a:lnTo>
                  <a:lnTo>
                    <a:pt x="126" y="96"/>
                  </a:lnTo>
                  <a:lnTo>
                    <a:pt x="138" y="90"/>
                  </a:lnTo>
                  <a:lnTo>
                    <a:pt x="150" y="78"/>
                  </a:lnTo>
                  <a:lnTo>
                    <a:pt x="150" y="72"/>
                  </a:lnTo>
                  <a:lnTo>
                    <a:pt x="144" y="66"/>
                  </a:lnTo>
                  <a:lnTo>
                    <a:pt x="144" y="54"/>
                  </a:lnTo>
                  <a:lnTo>
                    <a:pt x="174" y="54"/>
                  </a:lnTo>
                  <a:lnTo>
                    <a:pt x="186" y="48"/>
                  </a:lnTo>
                  <a:lnTo>
                    <a:pt x="186" y="36"/>
                  </a:lnTo>
                  <a:lnTo>
                    <a:pt x="210" y="36"/>
                  </a:lnTo>
                  <a:lnTo>
                    <a:pt x="192" y="24"/>
                  </a:lnTo>
                  <a:lnTo>
                    <a:pt x="186" y="6"/>
                  </a:lnTo>
                  <a:lnTo>
                    <a:pt x="180" y="0"/>
                  </a:lnTo>
                  <a:lnTo>
                    <a:pt x="174" y="12"/>
                  </a:lnTo>
                  <a:lnTo>
                    <a:pt x="168" y="30"/>
                  </a:lnTo>
                  <a:lnTo>
                    <a:pt x="144" y="24"/>
                  </a:lnTo>
                  <a:lnTo>
                    <a:pt x="132" y="30"/>
                  </a:lnTo>
                  <a:lnTo>
                    <a:pt x="84" y="30"/>
                  </a:lnTo>
                  <a:lnTo>
                    <a:pt x="84" y="42"/>
                  </a:lnTo>
                  <a:lnTo>
                    <a:pt x="54" y="42"/>
                  </a:lnTo>
                  <a:lnTo>
                    <a:pt x="48" y="36"/>
                  </a:lnTo>
                  <a:lnTo>
                    <a:pt x="30" y="36"/>
                  </a:lnTo>
                  <a:lnTo>
                    <a:pt x="24" y="42"/>
                  </a:lnTo>
                  <a:lnTo>
                    <a:pt x="6" y="42"/>
                  </a:lnTo>
                  <a:lnTo>
                    <a:pt x="6" y="48"/>
                  </a:lnTo>
                  <a:lnTo>
                    <a:pt x="0" y="54"/>
                  </a:lnTo>
                  <a:lnTo>
                    <a:pt x="12" y="60"/>
                  </a:lnTo>
                  <a:lnTo>
                    <a:pt x="6" y="96"/>
                  </a:lnTo>
                  <a:lnTo>
                    <a:pt x="18" y="96"/>
                  </a:lnTo>
                  <a:lnTo>
                    <a:pt x="30" y="102"/>
                  </a:lnTo>
                  <a:lnTo>
                    <a:pt x="36" y="102"/>
                  </a:lnTo>
                  <a:lnTo>
                    <a:pt x="36" y="108"/>
                  </a:lnTo>
                  <a:lnTo>
                    <a:pt x="30" y="108"/>
                  </a:lnTo>
                  <a:lnTo>
                    <a:pt x="30" y="114"/>
                  </a:lnTo>
                  <a:lnTo>
                    <a:pt x="24" y="120"/>
                  </a:lnTo>
                  <a:close/>
                </a:path>
              </a:pathLst>
            </a:custGeom>
            <a:grpFill/>
            <a:ln w="3175">
              <a:solidFill>
                <a:schemeClr val="bg1"/>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de-DE" sz="1800" b="0" i="0" u="none" strike="noStrike" kern="1200" cap="none" spc="0" normalizeH="0" baseline="0" noProof="0">
                <a:ln>
                  <a:noFill/>
                </a:ln>
                <a:solidFill>
                  <a:srgbClr val="FFC000"/>
                </a:solidFill>
                <a:effectLst/>
                <a:uLnTx/>
                <a:uFillTx/>
                <a:latin typeface="Calibri" pitchFamily="34" charset="0"/>
                <a:ea typeface="+mn-ea"/>
                <a:cs typeface="+mn-cs"/>
              </a:endParaRPr>
            </a:p>
          </p:txBody>
        </p:sp>
        <p:sp>
          <p:nvSpPr>
            <p:cNvPr id="56" name="Slovakia" descr="© INSCALE GmbH, 05.05.2010&#10;http://www.presentationload.com/"/>
            <p:cNvSpPr>
              <a:spLocks/>
            </p:cNvSpPr>
            <p:nvPr/>
          </p:nvSpPr>
          <p:spPr bwMode="gray">
            <a:xfrm>
              <a:off x="4835614" y="3067983"/>
              <a:ext cx="115185" cy="45317"/>
            </a:xfrm>
            <a:custGeom>
              <a:avLst/>
              <a:gdLst>
                <a:gd name="T0" fmla="*/ 2147483647 w 354"/>
                <a:gd name="T1" fmla="*/ 2147483647 h 144"/>
                <a:gd name="T2" fmla="*/ 2147483647 w 354"/>
                <a:gd name="T3" fmla="*/ 2147483647 h 144"/>
                <a:gd name="T4" fmla="*/ 2147483647 w 354"/>
                <a:gd name="T5" fmla="*/ 2147483647 h 144"/>
                <a:gd name="T6" fmla="*/ 2147483647 w 354"/>
                <a:gd name="T7" fmla="*/ 2147483647 h 144"/>
                <a:gd name="T8" fmla="*/ 2147483647 w 354"/>
                <a:gd name="T9" fmla="*/ 2147483647 h 144"/>
                <a:gd name="T10" fmla="*/ 2147483647 w 354"/>
                <a:gd name="T11" fmla="*/ 2147483647 h 144"/>
                <a:gd name="T12" fmla="*/ 2147483647 w 354"/>
                <a:gd name="T13" fmla="*/ 2147483647 h 144"/>
                <a:gd name="T14" fmla="*/ 2147483647 w 354"/>
                <a:gd name="T15" fmla="*/ 0 h 144"/>
                <a:gd name="T16" fmla="*/ 2147483647 w 354"/>
                <a:gd name="T17" fmla="*/ 2147483647 h 144"/>
                <a:gd name="T18" fmla="*/ 2147483647 w 354"/>
                <a:gd name="T19" fmla="*/ 0 h 144"/>
                <a:gd name="T20" fmla="*/ 2147483647 w 354"/>
                <a:gd name="T21" fmla="*/ 2147483647 h 144"/>
                <a:gd name="T22" fmla="*/ 2147483647 w 354"/>
                <a:gd name="T23" fmla="*/ 2147483647 h 144"/>
                <a:gd name="T24" fmla="*/ 2147483647 w 354"/>
                <a:gd name="T25" fmla="*/ 2147483647 h 144"/>
                <a:gd name="T26" fmla="*/ 2147483647 w 354"/>
                <a:gd name="T27" fmla="*/ 2147483647 h 144"/>
                <a:gd name="T28" fmla="*/ 2147483647 w 354"/>
                <a:gd name="T29" fmla="*/ 2147483647 h 144"/>
                <a:gd name="T30" fmla="*/ 0 w 354"/>
                <a:gd name="T31" fmla="*/ 2147483647 h 144"/>
                <a:gd name="T32" fmla="*/ 2147483647 w 354"/>
                <a:gd name="T33" fmla="*/ 2147483647 h 144"/>
                <a:gd name="T34" fmla="*/ 2147483647 w 354"/>
                <a:gd name="T35" fmla="*/ 2147483647 h 144"/>
                <a:gd name="T36" fmla="*/ 2147483647 w 354"/>
                <a:gd name="T37" fmla="*/ 2147483647 h 144"/>
                <a:gd name="T38" fmla="*/ 2147483647 w 354"/>
                <a:gd name="T39" fmla="*/ 2147483647 h 144"/>
                <a:gd name="T40" fmla="*/ 2147483647 w 354"/>
                <a:gd name="T41" fmla="*/ 2147483647 h 144"/>
                <a:gd name="T42" fmla="*/ 2147483647 w 354"/>
                <a:gd name="T43" fmla="*/ 2147483647 h 144"/>
                <a:gd name="T44" fmla="*/ 2147483647 w 354"/>
                <a:gd name="T45" fmla="*/ 2147483647 h 144"/>
                <a:gd name="T46" fmla="*/ 2147483647 w 354"/>
                <a:gd name="T47" fmla="*/ 2147483647 h 144"/>
                <a:gd name="T48" fmla="*/ 2147483647 w 354"/>
                <a:gd name="T49" fmla="*/ 2147483647 h 144"/>
                <a:gd name="T50" fmla="*/ 2147483647 w 354"/>
                <a:gd name="T51" fmla="*/ 2147483647 h 144"/>
                <a:gd name="T52" fmla="*/ 2147483647 w 354"/>
                <a:gd name="T53" fmla="*/ 2147483647 h 144"/>
                <a:gd name="T54" fmla="*/ 2147483647 w 354"/>
                <a:gd name="T55" fmla="*/ 2147483647 h 144"/>
                <a:gd name="T56" fmla="*/ 2147483647 w 354"/>
                <a:gd name="T57" fmla="*/ 2147483647 h 144"/>
                <a:gd name="T58" fmla="*/ 2147483647 w 354"/>
                <a:gd name="T59" fmla="*/ 2147483647 h 144"/>
                <a:gd name="T60" fmla="*/ 2147483647 w 354"/>
                <a:gd name="T61" fmla="*/ 2147483647 h 144"/>
                <a:gd name="T62" fmla="*/ 2147483647 w 354"/>
                <a:gd name="T63" fmla="*/ 2147483647 h 144"/>
                <a:gd name="T64" fmla="*/ 2147483647 w 354"/>
                <a:gd name="T65" fmla="*/ 2147483647 h 144"/>
                <a:gd name="T66" fmla="*/ 2147483647 w 354"/>
                <a:gd name="T67" fmla="*/ 2147483647 h 144"/>
                <a:gd name="T68" fmla="*/ 2147483647 w 354"/>
                <a:gd name="T69" fmla="*/ 2147483647 h 144"/>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354"/>
                <a:gd name="T106" fmla="*/ 0 h 144"/>
                <a:gd name="T107" fmla="*/ 354 w 354"/>
                <a:gd name="T108" fmla="*/ 144 h 144"/>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354" h="144">
                  <a:moveTo>
                    <a:pt x="348" y="30"/>
                  </a:moveTo>
                  <a:lnTo>
                    <a:pt x="324" y="30"/>
                  </a:lnTo>
                  <a:lnTo>
                    <a:pt x="300" y="6"/>
                  </a:lnTo>
                  <a:lnTo>
                    <a:pt x="276" y="6"/>
                  </a:lnTo>
                  <a:lnTo>
                    <a:pt x="270" y="12"/>
                  </a:lnTo>
                  <a:lnTo>
                    <a:pt x="258" y="18"/>
                  </a:lnTo>
                  <a:lnTo>
                    <a:pt x="246" y="18"/>
                  </a:lnTo>
                  <a:lnTo>
                    <a:pt x="240" y="12"/>
                  </a:lnTo>
                  <a:lnTo>
                    <a:pt x="210" y="12"/>
                  </a:lnTo>
                  <a:lnTo>
                    <a:pt x="210" y="18"/>
                  </a:lnTo>
                  <a:lnTo>
                    <a:pt x="204" y="24"/>
                  </a:lnTo>
                  <a:lnTo>
                    <a:pt x="192" y="24"/>
                  </a:lnTo>
                  <a:lnTo>
                    <a:pt x="186" y="18"/>
                  </a:lnTo>
                  <a:lnTo>
                    <a:pt x="186" y="12"/>
                  </a:lnTo>
                  <a:lnTo>
                    <a:pt x="180" y="12"/>
                  </a:lnTo>
                  <a:lnTo>
                    <a:pt x="168" y="0"/>
                  </a:lnTo>
                  <a:lnTo>
                    <a:pt x="156" y="0"/>
                  </a:lnTo>
                  <a:lnTo>
                    <a:pt x="144" y="12"/>
                  </a:lnTo>
                  <a:lnTo>
                    <a:pt x="138" y="12"/>
                  </a:lnTo>
                  <a:lnTo>
                    <a:pt x="126" y="0"/>
                  </a:lnTo>
                  <a:lnTo>
                    <a:pt x="108" y="12"/>
                  </a:lnTo>
                  <a:lnTo>
                    <a:pt x="84" y="18"/>
                  </a:lnTo>
                  <a:lnTo>
                    <a:pt x="84" y="42"/>
                  </a:lnTo>
                  <a:lnTo>
                    <a:pt x="72" y="48"/>
                  </a:lnTo>
                  <a:lnTo>
                    <a:pt x="66" y="54"/>
                  </a:lnTo>
                  <a:lnTo>
                    <a:pt x="54" y="60"/>
                  </a:lnTo>
                  <a:lnTo>
                    <a:pt x="36" y="60"/>
                  </a:lnTo>
                  <a:lnTo>
                    <a:pt x="36" y="54"/>
                  </a:lnTo>
                  <a:lnTo>
                    <a:pt x="30" y="60"/>
                  </a:lnTo>
                  <a:lnTo>
                    <a:pt x="12" y="60"/>
                  </a:lnTo>
                  <a:lnTo>
                    <a:pt x="6" y="66"/>
                  </a:lnTo>
                  <a:lnTo>
                    <a:pt x="0" y="90"/>
                  </a:lnTo>
                  <a:lnTo>
                    <a:pt x="0" y="102"/>
                  </a:lnTo>
                  <a:lnTo>
                    <a:pt x="6" y="102"/>
                  </a:lnTo>
                  <a:lnTo>
                    <a:pt x="6" y="114"/>
                  </a:lnTo>
                  <a:lnTo>
                    <a:pt x="12" y="114"/>
                  </a:lnTo>
                  <a:lnTo>
                    <a:pt x="12" y="126"/>
                  </a:lnTo>
                  <a:lnTo>
                    <a:pt x="6" y="132"/>
                  </a:lnTo>
                  <a:lnTo>
                    <a:pt x="18" y="138"/>
                  </a:lnTo>
                  <a:lnTo>
                    <a:pt x="30" y="120"/>
                  </a:lnTo>
                  <a:lnTo>
                    <a:pt x="36" y="126"/>
                  </a:lnTo>
                  <a:lnTo>
                    <a:pt x="42" y="138"/>
                  </a:lnTo>
                  <a:lnTo>
                    <a:pt x="48" y="144"/>
                  </a:lnTo>
                  <a:lnTo>
                    <a:pt x="90" y="144"/>
                  </a:lnTo>
                  <a:lnTo>
                    <a:pt x="108" y="138"/>
                  </a:lnTo>
                  <a:lnTo>
                    <a:pt x="120" y="138"/>
                  </a:lnTo>
                  <a:lnTo>
                    <a:pt x="132" y="114"/>
                  </a:lnTo>
                  <a:lnTo>
                    <a:pt x="168" y="120"/>
                  </a:lnTo>
                  <a:lnTo>
                    <a:pt x="174" y="108"/>
                  </a:lnTo>
                  <a:lnTo>
                    <a:pt x="198" y="108"/>
                  </a:lnTo>
                  <a:lnTo>
                    <a:pt x="210" y="102"/>
                  </a:lnTo>
                  <a:lnTo>
                    <a:pt x="216" y="102"/>
                  </a:lnTo>
                  <a:lnTo>
                    <a:pt x="228" y="90"/>
                  </a:lnTo>
                  <a:lnTo>
                    <a:pt x="234" y="78"/>
                  </a:lnTo>
                  <a:lnTo>
                    <a:pt x="258" y="78"/>
                  </a:lnTo>
                  <a:lnTo>
                    <a:pt x="258" y="90"/>
                  </a:lnTo>
                  <a:lnTo>
                    <a:pt x="276" y="96"/>
                  </a:lnTo>
                  <a:lnTo>
                    <a:pt x="276" y="78"/>
                  </a:lnTo>
                  <a:lnTo>
                    <a:pt x="288" y="78"/>
                  </a:lnTo>
                  <a:lnTo>
                    <a:pt x="288" y="90"/>
                  </a:lnTo>
                  <a:lnTo>
                    <a:pt x="300" y="90"/>
                  </a:lnTo>
                  <a:lnTo>
                    <a:pt x="312" y="84"/>
                  </a:lnTo>
                  <a:lnTo>
                    <a:pt x="336" y="84"/>
                  </a:lnTo>
                  <a:lnTo>
                    <a:pt x="336" y="90"/>
                  </a:lnTo>
                  <a:lnTo>
                    <a:pt x="336" y="72"/>
                  </a:lnTo>
                  <a:lnTo>
                    <a:pt x="342" y="72"/>
                  </a:lnTo>
                  <a:lnTo>
                    <a:pt x="348" y="66"/>
                  </a:lnTo>
                  <a:lnTo>
                    <a:pt x="348" y="60"/>
                  </a:lnTo>
                  <a:lnTo>
                    <a:pt x="354" y="54"/>
                  </a:lnTo>
                  <a:lnTo>
                    <a:pt x="354" y="30"/>
                  </a:lnTo>
                  <a:lnTo>
                    <a:pt x="348" y="30"/>
                  </a:lnTo>
                  <a:close/>
                </a:path>
              </a:pathLst>
            </a:custGeom>
            <a:grpFill/>
            <a:ln w="3175">
              <a:solidFill>
                <a:schemeClr val="bg1"/>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de-DE" sz="1800" b="0" i="0" u="none" strike="noStrike" kern="1200" cap="none" spc="0" normalizeH="0" baseline="0" noProof="0">
                <a:ln>
                  <a:noFill/>
                </a:ln>
                <a:solidFill>
                  <a:srgbClr val="FFC000"/>
                </a:solidFill>
                <a:effectLst/>
                <a:uLnTx/>
                <a:uFillTx/>
                <a:latin typeface="Calibri" pitchFamily="34" charset="0"/>
                <a:ea typeface="+mn-ea"/>
                <a:cs typeface="+mn-cs"/>
              </a:endParaRPr>
            </a:p>
          </p:txBody>
        </p:sp>
        <p:sp>
          <p:nvSpPr>
            <p:cNvPr id="57" name="Sierra Leone" descr="© INSCALE GmbH, 05.05.2010&#10;http://www.presentationload.com/"/>
            <p:cNvSpPr>
              <a:spLocks/>
            </p:cNvSpPr>
            <p:nvPr/>
          </p:nvSpPr>
          <p:spPr bwMode="gray">
            <a:xfrm>
              <a:off x="4163698" y="4051488"/>
              <a:ext cx="66552" cy="84510"/>
            </a:xfrm>
            <a:custGeom>
              <a:avLst/>
              <a:gdLst>
                <a:gd name="T0" fmla="*/ 2147483647 w 210"/>
                <a:gd name="T1" fmla="*/ 2147483647 h 270"/>
                <a:gd name="T2" fmla="*/ 2147483647 w 210"/>
                <a:gd name="T3" fmla="*/ 2147483647 h 270"/>
                <a:gd name="T4" fmla="*/ 2147483647 w 210"/>
                <a:gd name="T5" fmla="*/ 2147483647 h 270"/>
                <a:gd name="T6" fmla="*/ 2147483647 w 210"/>
                <a:gd name="T7" fmla="*/ 2147483647 h 270"/>
                <a:gd name="T8" fmla="*/ 2147483647 w 210"/>
                <a:gd name="T9" fmla="*/ 2147483647 h 270"/>
                <a:gd name="T10" fmla="*/ 2147483647 w 210"/>
                <a:gd name="T11" fmla="*/ 2147483647 h 270"/>
                <a:gd name="T12" fmla="*/ 2147483647 w 210"/>
                <a:gd name="T13" fmla="*/ 2147483647 h 270"/>
                <a:gd name="T14" fmla="*/ 2147483647 w 210"/>
                <a:gd name="T15" fmla="*/ 2147483647 h 270"/>
                <a:gd name="T16" fmla="*/ 2147483647 w 210"/>
                <a:gd name="T17" fmla="*/ 2147483647 h 270"/>
                <a:gd name="T18" fmla="*/ 2147483647 w 210"/>
                <a:gd name="T19" fmla="*/ 2147483647 h 270"/>
                <a:gd name="T20" fmla="*/ 2147483647 w 210"/>
                <a:gd name="T21" fmla="*/ 2147483647 h 270"/>
                <a:gd name="T22" fmla="*/ 2147483647 w 210"/>
                <a:gd name="T23" fmla="*/ 0 h 270"/>
                <a:gd name="T24" fmla="*/ 2147483647 w 210"/>
                <a:gd name="T25" fmla="*/ 0 h 270"/>
                <a:gd name="T26" fmla="*/ 2147483647 w 210"/>
                <a:gd name="T27" fmla="*/ 2147483647 h 270"/>
                <a:gd name="T28" fmla="*/ 2147483647 w 210"/>
                <a:gd name="T29" fmla="*/ 2147483647 h 270"/>
                <a:gd name="T30" fmla="*/ 2147483647 w 210"/>
                <a:gd name="T31" fmla="*/ 2147483647 h 270"/>
                <a:gd name="T32" fmla="*/ 2147483647 w 210"/>
                <a:gd name="T33" fmla="*/ 2147483647 h 270"/>
                <a:gd name="T34" fmla="*/ 2147483647 w 210"/>
                <a:gd name="T35" fmla="*/ 2147483647 h 270"/>
                <a:gd name="T36" fmla="*/ 2147483647 w 210"/>
                <a:gd name="T37" fmla="*/ 2147483647 h 270"/>
                <a:gd name="T38" fmla="*/ 2147483647 w 210"/>
                <a:gd name="T39" fmla="*/ 2147483647 h 270"/>
                <a:gd name="T40" fmla="*/ 2147483647 w 210"/>
                <a:gd name="T41" fmla="*/ 2147483647 h 270"/>
                <a:gd name="T42" fmla="*/ 2147483647 w 210"/>
                <a:gd name="T43" fmla="*/ 2147483647 h 270"/>
                <a:gd name="T44" fmla="*/ 0 w 210"/>
                <a:gd name="T45" fmla="*/ 2147483647 h 270"/>
                <a:gd name="T46" fmla="*/ 2147483647 w 210"/>
                <a:gd name="T47" fmla="*/ 2147483647 h 270"/>
                <a:gd name="T48" fmla="*/ 2147483647 w 210"/>
                <a:gd name="T49" fmla="*/ 2147483647 h 270"/>
                <a:gd name="T50" fmla="*/ 0 w 210"/>
                <a:gd name="T51" fmla="*/ 2147483647 h 270"/>
                <a:gd name="T52" fmla="*/ 0 w 210"/>
                <a:gd name="T53" fmla="*/ 2147483647 h 270"/>
                <a:gd name="T54" fmla="*/ 2147483647 w 210"/>
                <a:gd name="T55" fmla="*/ 2147483647 h 270"/>
                <a:gd name="T56" fmla="*/ 2147483647 w 210"/>
                <a:gd name="T57" fmla="*/ 2147483647 h 270"/>
                <a:gd name="T58" fmla="*/ 2147483647 w 210"/>
                <a:gd name="T59" fmla="*/ 2147483647 h 270"/>
                <a:gd name="T60" fmla="*/ 2147483647 w 210"/>
                <a:gd name="T61" fmla="*/ 2147483647 h 270"/>
                <a:gd name="T62" fmla="*/ 2147483647 w 210"/>
                <a:gd name="T63" fmla="*/ 2147483647 h 270"/>
                <a:gd name="T64" fmla="*/ 2147483647 w 210"/>
                <a:gd name="T65" fmla="*/ 2147483647 h 270"/>
                <a:gd name="T66" fmla="*/ 2147483647 w 210"/>
                <a:gd name="T67" fmla="*/ 2147483647 h 270"/>
                <a:gd name="T68" fmla="*/ 2147483647 w 210"/>
                <a:gd name="T69" fmla="*/ 2147483647 h 270"/>
                <a:gd name="T70" fmla="*/ 2147483647 w 210"/>
                <a:gd name="T71" fmla="*/ 2147483647 h 270"/>
                <a:gd name="T72" fmla="*/ 2147483647 w 210"/>
                <a:gd name="T73" fmla="*/ 2147483647 h 270"/>
                <a:gd name="T74" fmla="*/ 2147483647 w 210"/>
                <a:gd name="T75" fmla="*/ 2147483647 h 270"/>
                <a:gd name="T76" fmla="*/ 2147483647 w 210"/>
                <a:gd name="T77" fmla="*/ 2147483647 h 270"/>
                <a:gd name="T78" fmla="*/ 2147483647 w 210"/>
                <a:gd name="T79" fmla="*/ 2147483647 h 270"/>
                <a:gd name="T80" fmla="*/ 2147483647 w 210"/>
                <a:gd name="T81" fmla="*/ 2147483647 h 270"/>
                <a:gd name="T82" fmla="*/ 2147483647 w 210"/>
                <a:gd name="T83" fmla="*/ 2147483647 h 270"/>
                <a:gd name="T84" fmla="*/ 2147483647 w 210"/>
                <a:gd name="T85" fmla="*/ 2147483647 h 270"/>
                <a:gd name="T86" fmla="*/ 2147483647 w 210"/>
                <a:gd name="T87" fmla="*/ 2147483647 h 270"/>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210"/>
                <a:gd name="T133" fmla="*/ 0 h 270"/>
                <a:gd name="T134" fmla="*/ 210 w 210"/>
                <a:gd name="T135" fmla="*/ 270 h 270"/>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210" h="270">
                  <a:moveTo>
                    <a:pt x="186" y="180"/>
                  </a:moveTo>
                  <a:lnTo>
                    <a:pt x="186" y="162"/>
                  </a:lnTo>
                  <a:lnTo>
                    <a:pt x="210" y="156"/>
                  </a:lnTo>
                  <a:lnTo>
                    <a:pt x="204" y="132"/>
                  </a:lnTo>
                  <a:lnTo>
                    <a:pt x="174" y="144"/>
                  </a:lnTo>
                  <a:lnTo>
                    <a:pt x="180" y="126"/>
                  </a:lnTo>
                  <a:lnTo>
                    <a:pt x="186" y="120"/>
                  </a:lnTo>
                  <a:lnTo>
                    <a:pt x="192" y="108"/>
                  </a:lnTo>
                  <a:lnTo>
                    <a:pt x="192" y="90"/>
                  </a:lnTo>
                  <a:lnTo>
                    <a:pt x="180" y="78"/>
                  </a:lnTo>
                  <a:lnTo>
                    <a:pt x="180" y="60"/>
                  </a:lnTo>
                  <a:lnTo>
                    <a:pt x="138" y="0"/>
                  </a:lnTo>
                  <a:lnTo>
                    <a:pt x="102" y="0"/>
                  </a:lnTo>
                  <a:lnTo>
                    <a:pt x="96" y="18"/>
                  </a:lnTo>
                  <a:lnTo>
                    <a:pt x="60" y="18"/>
                  </a:lnTo>
                  <a:lnTo>
                    <a:pt x="60" y="24"/>
                  </a:lnTo>
                  <a:lnTo>
                    <a:pt x="54" y="30"/>
                  </a:lnTo>
                  <a:lnTo>
                    <a:pt x="48" y="42"/>
                  </a:lnTo>
                  <a:lnTo>
                    <a:pt x="36" y="54"/>
                  </a:lnTo>
                  <a:lnTo>
                    <a:pt x="30" y="66"/>
                  </a:lnTo>
                  <a:lnTo>
                    <a:pt x="18" y="72"/>
                  </a:lnTo>
                  <a:lnTo>
                    <a:pt x="12" y="78"/>
                  </a:lnTo>
                  <a:lnTo>
                    <a:pt x="0" y="84"/>
                  </a:lnTo>
                  <a:lnTo>
                    <a:pt x="12" y="96"/>
                  </a:lnTo>
                  <a:lnTo>
                    <a:pt x="6" y="102"/>
                  </a:lnTo>
                  <a:lnTo>
                    <a:pt x="0" y="114"/>
                  </a:lnTo>
                  <a:lnTo>
                    <a:pt x="0" y="132"/>
                  </a:lnTo>
                  <a:lnTo>
                    <a:pt x="6" y="138"/>
                  </a:lnTo>
                  <a:lnTo>
                    <a:pt x="18" y="144"/>
                  </a:lnTo>
                  <a:lnTo>
                    <a:pt x="24" y="150"/>
                  </a:lnTo>
                  <a:lnTo>
                    <a:pt x="18" y="180"/>
                  </a:lnTo>
                  <a:lnTo>
                    <a:pt x="42" y="198"/>
                  </a:lnTo>
                  <a:lnTo>
                    <a:pt x="42" y="204"/>
                  </a:lnTo>
                  <a:lnTo>
                    <a:pt x="48" y="210"/>
                  </a:lnTo>
                  <a:lnTo>
                    <a:pt x="54" y="222"/>
                  </a:lnTo>
                  <a:lnTo>
                    <a:pt x="78" y="234"/>
                  </a:lnTo>
                  <a:lnTo>
                    <a:pt x="96" y="234"/>
                  </a:lnTo>
                  <a:lnTo>
                    <a:pt x="126" y="270"/>
                  </a:lnTo>
                  <a:lnTo>
                    <a:pt x="126" y="234"/>
                  </a:lnTo>
                  <a:lnTo>
                    <a:pt x="144" y="216"/>
                  </a:lnTo>
                  <a:lnTo>
                    <a:pt x="156" y="210"/>
                  </a:lnTo>
                  <a:lnTo>
                    <a:pt x="168" y="198"/>
                  </a:lnTo>
                  <a:lnTo>
                    <a:pt x="180" y="192"/>
                  </a:lnTo>
                  <a:lnTo>
                    <a:pt x="186" y="180"/>
                  </a:lnTo>
                  <a:close/>
                </a:path>
              </a:pathLst>
            </a:custGeom>
            <a:grpFill/>
            <a:ln w="3175">
              <a:solidFill>
                <a:schemeClr val="bg1"/>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de-DE" sz="1800" b="0" i="0" u="none" strike="noStrike" kern="1200" cap="none" spc="0" normalizeH="0" baseline="0" noProof="0">
                <a:ln>
                  <a:noFill/>
                </a:ln>
                <a:solidFill>
                  <a:srgbClr val="FFC000"/>
                </a:solidFill>
                <a:effectLst/>
                <a:uLnTx/>
                <a:uFillTx/>
                <a:latin typeface="Calibri" pitchFamily="34" charset="0"/>
                <a:ea typeface="+mn-ea"/>
                <a:cs typeface="+mn-cs"/>
              </a:endParaRPr>
            </a:p>
          </p:txBody>
        </p:sp>
        <p:sp>
          <p:nvSpPr>
            <p:cNvPr id="58" name="Senegal" descr="© INSCALE GmbH, 05.05.2010&#10;http://www.presentationload.com/"/>
            <p:cNvSpPr>
              <a:spLocks/>
            </p:cNvSpPr>
            <p:nvPr/>
          </p:nvSpPr>
          <p:spPr bwMode="gray">
            <a:xfrm>
              <a:off x="4095866" y="3882467"/>
              <a:ext cx="134384" cy="115130"/>
            </a:xfrm>
            <a:custGeom>
              <a:avLst/>
              <a:gdLst>
                <a:gd name="T0" fmla="*/ 2147483647 w 414"/>
                <a:gd name="T1" fmla="*/ 2147483647 h 366"/>
                <a:gd name="T2" fmla="*/ 2147483647 w 414"/>
                <a:gd name="T3" fmla="*/ 2147483647 h 366"/>
                <a:gd name="T4" fmla="*/ 2147483647 w 414"/>
                <a:gd name="T5" fmla="*/ 2147483647 h 366"/>
                <a:gd name="T6" fmla="*/ 2147483647 w 414"/>
                <a:gd name="T7" fmla="*/ 2147483647 h 366"/>
                <a:gd name="T8" fmla="*/ 2147483647 w 414"/>
                <a:gd name="T9" fmla="*/ 2147483647 h 366"/>
                <a:gd name="T10" fmla="*/ 2147483647 w 414"/>
                <a:gd name="T11" fmla="*/ 2147483647 h 366"/>
                <a:gd name="T12" fmla="*/ 2147483647 w 414"/>
                <a:gd name="T13" fmla="*/ 2147483647 h 366"/>
                <a:gd name="T14" fmla="*/ 2147483647 w 414"/>
                <a:gd name="T15" fmla="*/ 2147483647 h 366"/>
                <a:gd name="T16" fmla="*/ 2147483647 w 414"/>
                <a:gd name="T17" fmla="*/ 2147483647 h 366"/>
                <a:gd name="T18" fmla="*/ 2147483647 w 414"/>
                <a:gd name="T19" fmla="*/ 2147483647 h 366"/>
                <a:gd name="T20" fmla="*/ 2147483647 w 414"/>
                <a:gd name="T21" fmla="*/ 2147483647 h 366"/>
                <a:gd name="T22" fmla="*/ 2147483647 w 414"/>
                <a:gd name="T23" fmla="*/ 2147483647 h 366"/>
                <a:gd name="T24" fmla="*/ 2147483647 w 414"/>
                <a:gd name="T25" fmla="*/ 2147483647 h 366"/>
                <a:gd name="T26" fmla="*/ 2147483647 w 414"/>
                <a:gd name="T27" fmla="*/ 2147483647 h 366"/>
                <a:gd name="T28" fmla="*/ 2147483647 w 414"/>
                <a:gd name="T29" fmla="*/ 0 h 366"/>
                <a:gd name="T30" fmla="*/ 2147483647 w 414"/>
                <a:gd name="T31" fmla="*/ 2147483647 h 366"/>
                <a:gd name="T32" fmla="*/ 2147483647 w 414"/>
                <a:gd name="T33" fmla="*/ 2147483647 h 366"/>
                <a:gd name="T34" fmla="*/ 2147483647 w 414"/>
                <a:gd name="T35" fmla="*/ 2147483647 h 366"/>
                <a:gd name="T36" fmla="*/ 2147483647 w 414"/>
                <a:gd name="T37" fmla="*/ 2147483647 h 366"/>
                <a:gd name="T38" fmla="*/ 2147483647 w 414"/>
                <a:gd name="T39" fmla="*/ 2147483647 h 366"/>
                <a:gd name="T40" fmla="*/ 2147483647 w 414"/>
                <a:gd name="T41" fmla="*/ 2147483647 h 366"/>
                <a:gd name="T42" fmla="*/ 0 w 414"/>
                <a:gd name="T43" fmla="*/ 2147483647 h 366"/>
                <a:gd name="T44" fmla="*/ 2147483647 w 414"/>
                <a:gd name="T45" fmla="*/ 2147483647 h 366"/>
                <a:gd name="T46" fmla="*/ 2147483647 w 414"/>
                <a:gd name="T47" fmla="*/ 2147483647 h 366"/>
                <a:gd name="T48" fmla="*/ 2147483647 w 414"/>
                <a:gd name="T49" fmla="*/ 2147483647 h 366"/>
                <a:gd name="T50" fmla="*/ 2147483647 w 414"/>
                <a:gd name="T51" fmla="*/ 2147483647 h 366"/>
                <a:gd name="T52" fmla="*/ 2147483647 w 414"/>
                <a:gd name="T53" fmla="*/ 2147483647 h 366"/>
                <a:gd name="T54" fmla="*/ 2147483647 w 414"/>
                <a:gd name="T55" fmla="*/ 2147483647 h 366"/>
                <a:gd name="T56" fmla="*/ 2147483647 w 414"/>
                <a:gd name="T57" fmla="*/ 2147483647 h 366"/>
                <a:gd name="T58" fmla="*/ 2147483647 w 414"/>
                <a:gd name="T59" fmla="*/ 2147483647 h 366"/>
                <a:gd name="T60" fmla="*/ 2147483647 w 414"/>
                <a:gd name="T61" fmla="*/ 2147483647 h 366"/>
                <a:gd name="T62" fmla="*/ 2147483647 w 414"/>
                <a:gd name="T63" fmla="*/ 2147483647 h 366"/>
                <a:gd name="T64" fmla="*/ 2147483647 w 414"/>
                <a:gd name="T65" fmla="*/ 2147483647 h 366"/>
                <a:gd name="T66" fmla="*/ 2147483647 w 414"/>
                <a:gd name="T67" fmla="*/ 2147483647 h 366"/>
                <a:gd name="T68" fmla="*/ 2147483647 w 414"/>
                <a:gd name="T69" fmla="*/ 2147483647 h 366"/>
                <a:gd name="T70" fmla="*/ 2147483647 w 414"/>
                <a:gd name="T71" fmla="*/ 2147483647 h 366"/>
                <a:gd name="T72" fmla="*/ 2147483647 w 414"/>
                <a:gd name="T73" fmla="*/ 2147483647 h 366"/>
                <a:gd name="T74" fmla="*/ 2147483647 w 414"/>
                <a:gd name="T75" fmla="*/ 2147483647 h 366"/>
                <a:gd name="T76" fmla="*/ 2147483647 w 414"/>
                <a:gd name="T77" fmla="*/ 2147483647 h 366"/>
                <a:gd name="T78" fmla="*/ 2147483647 w 414"/>
                <a:gd name="T79" fmla="*/ 2147483647 h 366"/>
                <a:gd name="T80" fmla="*/ 2147483647 w 414"/>
                <a:gd name="T81" fmla="*/ 2147483647 h 366"/>
                <a:gd name="T82" fmla="*/ 2147483647 w 414"/>
                <a:gd name="T83" fmla="*/ 2147483647 h 366"/>
                <a:gd name="T84" fmla="*/ 2147483647 w 414"/>
                <a:gd name="T85" fmla="*/ 2147483647 h 366"/>
                <a:gd name="T86" fmla="*/ 2147483647 w 414"/>
                <a:gd name="T87" fmla="*/ 2147483647 h 366"/>
                <a:gd name="T88" fmla="*/ 2147483647 w 414"/>
                <a:gd name="T89" fmla="*/ 2147483647 h 366"/>
                <a:gd name="T90" fmla="*/ 2147483647 w 414"/>
                <a:gd name="T91" fmla="*/ 2147483647 h 366"/>
                <a:gd name="T92" fmla="*/ 2147483647 w 414"/>
                <a:gd name="T93" fmla="*/ 2147483647 h 366"/>
                <a:gd name="T94" fmla="*/ 2147483647 w 414"/>
                <a:gd name="T95" fmla="*/ 2147483647 h 366"/>
                <a:gd name="T96" fmla="*/ 2147483647 w 414"/>
                <a:gd name="T97" fmla="*/ 2147483647 h 366"/>
                <a:gd name="T98" fmla="*/ 2147483647 w 414"/>
                <a:gd name="T99" fmla="*/ 2147483647 h 366"/>
                <a:gd name="T100" fmla="*/ 2147483647 w 414"/>
                <a:gd name="T101" fmla="*/ 2147483647 h 366"/>
                <a:gd name="T102" fmla="*/ 2147483647 w 414"/>
                <a:gd name="T103" fmla="*/ 2147483647 h 366"/>
                <a:gd name="T104" fmla="*/ 2147483647 w 414"/>
                <a:gd name="T105" fmla="*/ 2147483647 h 36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414"/>
                <a:gd name="T160" fmla="*/ 0 h 366"/>
                <a:gd name="T161" fmla="*/ 414 w 414"/>
                <a:gd name="T162" fmla="*/ 366 h 36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414" h="366">
                  <a:moveTo>
                    <a:pt x="402" y="270"/>
                  </a:moveTo>
                  <a:lnTo>
                    <a:pt x="396" y="270"/>
                  </a:lnTo>
                  <a:lnTo>
                    <a:pt x="396" y="276"/>
                  </a:lnTo>
                  <a:lnTo>
                    <a:pt x="384" y="276"/>
                  </a:lnTo>
                  <a:lnTo>
                    <a:pt x="378" y="270"/>
                  </a:lnTo>
                  <a:lnTo>
                    <a:pt x="378" y="246"/>
                  </a:lnTo>
                  <a:lnTo>
                    <a:pt x="384" y="240"/>
                  </a:lnTo>
                  <a:lnTo>
                    <a:pt x="384" y="222"/>
                  </a:lnTo>
                  <a:lnTo>
                    <a:pt x="372" y="210"/>
                  </a:lnTo>
                  <a:lnTo>
                    <a:pt x="372" y="204"/>
                  </a:lnTo>
                  <a:lnTo>
                    <a:pt x="360" y="186"/>
                  </a:lnTo>
                  <a:lnTo>
                    <a:pt x="360" y="162"/>
                  </a:lnTo>
                  <a:lnTo>
                    <a:pt x="348" y="138"/>
                  </a:lnTo>
                  <a:lnTo>
                    <a:pt x="318" y="132"/>
                  </a:lnTo>
                  <a:lnTo>
                    <a:pt x="318" y="108"/>
                  </a:lnTo>
                  <a:lnTo>
                    <a:pt x="312" y="102"/>
                  </a:lnTo>
                  <a:lnTo>
                    <a:pt x="294" y="102"/>
                  </a:lnTo>
                  <a:lnTo>
                    <a:pt x="294" y="72"/>
                  </a:lnTo>
                  <a:lnTo>
                    <a:pt x="288" y="60"/>
                  </a:lnTo>
                  <a:lnTo>
                    <a:pt x="288" y="54"/>
                  </a:lnTo>
                  <a:lnTo>
                    <a:pt x="282" y="48"/>
                  </a:lnTo>
                  <a:lnTo>
                    <a:pt x="264" y="48"/>
                  </a:lnTo>
                  <a:lnTo>
                    <a:pt x="252" y="54"/>
                  </a:lnTo>
                  <a:lnTo>
                    <a:pt x="246" y="42"/>
                  </a:lnTo>
                  <a:lnTo>
                    <a:pt x="234" y="30"/>
                  </a:lnTo>
                  <a:lnTo>
                    <a:pt x="228" y="18"/>
                  </a:lnTo>
                  <a:lnTo>
                    <a:pt x="222" y="18"/>
                  </a:lnTo>
                  <a:lnTo>
                    <a:pt x="210" y="12"/>
                  </a:lnTo>
                  <a:lnTo>
                    <a:pt x="186" y="12"/>
                  </a:lnTo>
                  <a:lnTo>
                    <a:pt x="162" y="0"/>
                  </a:lnTo>
                  <a:lnTo>
                    <a:pt x="162" y="18"/>
                  </a:lnTo>
                  <a:lnTo>
                    <a:pt x="132" y="12"/>
                  </a:lnTo>
                  <a:lnTo>
                    <a:pt x="120" y="18"/>
                  </a:lnTo>
                  <a:lnTo>
                    <a:pt x="114" y="18"/>
                  </a:lnTo>
                  <a:lnTo>
                    <a:pt x="108" y="12"/>
                  </a:lnTo>
                  <a:lnTo>
                    <a:pt x="102" y="12"/>
                  </a:lnTo>
                  <a:lnTo>
                    <a:pt x="90" y="18"/>
                  </a:lnTo>
                  <a:lnTo>
                    <a:pt x="84" y="24"/>
                  </a:lnTo>
                  <a:lnTo>
                    <a:pt x="66" y="60"/>
                  </a:lnTo>
                  <a:lnTo>
                    <a:pt x="60" y="66"/>
                  </a:lnTo>
                  <a:lnTo>
                    <a:pt x="60" y="90"/>
                  </a:lnTo>
                  <a:lnTo>
                    <a:pt x="48" y="96"/>
                  </a:lnTo>
                  <a:lnTo>
                    <a:pt x="30" y="132"/>
                  </a:lnTo>
                  <a:lnTo>
                    <a:pt x="0" y="162"/>
                  </a:lnTo>
                  <a:lnTo>
                    <a:pt x="6" y="168"/>
                  </a:lnTo>
                  <a:lnTo>
                    <a:pt x="12" y="168"/>
                  </a:lnTo>
                  <a:lnTo>
                    <a:pt x="18" y="174"/>
                  </a:lnTo>
                  <a:lnTo>
                    <a:pt x="24" y="186"/>
                  </a:lnTo>
                  <a:lnTo>
                    <a:pt x="24" y="204"/>
                  </a:lnTo>
                  <a:lnTo>
                    <a:pt x="42" y="222"/>
                  </a:lnTo>
                  <a:lnTo>
                    <a:pt x="42" y="246"/>
                  </a:lnTo>
                  <a:lnTo>
                    <a:pt x="48" y="252"/>
                  </a:lnTo>
                  <a:lnTo>
                    <a:pt x="126" y="252"/>
                  </a:lnTo>
                  <a:lnTo>
                    <a:pt x="126" y="240"/>
                  </a:lnTo>
                  <a:lnTo>
                    <a:pt x="180" y="240"/>
                  </a:lnTo>
                  <a:lnTo>
                    <a:pt x="180" y="252"/>
                  </a:lnTo>
                  <a:lnTo>
                    <a:pt x="192" y="246"/>
                  </a:lnTo>
                  <a:lnTo>
                    <a:pt x="198" y="252"/>
                  </a:lnTo>
                  <a:lnTo>
                    <a:pt x="204" y="264"/>
                  </a:lnTo>
                  <a:lnTo>
                    <a:pt x="216" y="264"/>
                  </a:lnTo>
                  <a:lnTo>
                    <a:pt x="222" y="258"/>
                  </a:lnTo>
                  <a:lnTo>
                    <a:pt x="246" y="258"/>
                  </a:lnTo>
                  <a:lnTo>
                    <a:pt x="252" y="264"/>
                  </a:lnTo>
                  <a:lnTo>
                    <a:pt x="252" y="270"/>
                  </a:lnTo>
                  <a:lnTo>
                    <a:pt x="246" y="276"/>
                  </a:lnTo>
                  <a:lnTo>
                    <a:pt x="234" y="282"/>
                  </a:lnTo>
                  <a:lnTo>
                    <a:pt x="228" y="288"/>
                  </a:lnTo>
                  <a:lnTo>
                    <a:pt x="204" y="288"/>
                  </a:lnTo>
                  <a:lnTo>
                    <a:pt x="186" y="282"/>
                  </a:lnTo>
                  <a:lnTo>
                    <a:pt x="180" y="270"/>
                  </a:lnTo>
                  <a:lnTo>
                    <a:pt x="168" y="264"/>
                  </a:lnTo>
                  <a:lnTo>
                    <a:pt x="162" y="258"/>
                  </a:lnTo>
                  <a:lnTo>
                    <a:pt x="156" y="264"/>
                  </a:lnTo>
                  <a:lnTo>
                    <a:pt x="150" y="276"/>
                  </a:lnTo>
                  <a:lnTo>
                    <a:pt x="126" y="276"/>
                  </a:lnTo>
                  <a:lnTo>
                    <a:pt x="120" y="282"/>
                  </a:lnTo>
                  <a:lnTo>
                    <a:pt x="108" y="282"/>
                  </a:lnTo>
                  <a:lnTo>
                    <a:pt x="108" y="294"/>
                  </a:lnTo>
                  <a:lnTo>
                    <a:pt x="36" y="294"/>
                  </a:lnTo>
                  <a:lnTo>
                    <a:pt x="36" y="318"/>
                  </a:lnTo>
                  <a:lnTo>
                    <a:pt x="30" y="324"/>
                  </a:lnTo>
                  <a:lnTo>
                    <a:pt x="30" y="336"/>
                  </a:lnTo>
                  <a:lnTo>
                    <a:pt x="36" y="342"/>
                  </a:lnTo>
                  <a:lnTo>
                    <a:pt x="42" y="354"/>
                  </a:lnTo>
                  <a:lnTo>
                    <a:pt x="48" y="360"/>
                  </a:lnTo>
                  <a:lnTo>
                    <a:pt x="60" y="366"/>
                  </a:lnTo>
                  <a:lnTo>
                    <a:pt x="66" y="366"/>
                  </a:lnTo>
                  <a:lnTo>
                    <a:pt x="72" y="360"/>
                  </a:lnTo>
                  <a:lnTo>
                    <a:pt x="78" y="360"/>
                  </a:lnTo>
                  <a:lnTo>
                    <a:pt x="90" y="348"/>
                  </a:lnTo>
                  <a:lnTo>
                    <a:pt x="126" y="348"/>
                  </a:lnTo>
                  <a:lnTo>
                    <a:pt x="156" y="324"/>
                  </a:lnTo>
                  <a:lnTo>
                    <a:pt x="294" y="330"/>
                  </a:lnTo>
                  <a:lnTo>
                    <a:pt x="294" y="336"/>
                  </a:lnTo>
                  <a:lnTo>
                    <a:pt x="300" y="348"/>
                  </a:lnTo>
                  <a:lnTo>
                    <a:pt x="318" y="348"/>
                  </a:lnTo>
                  <a:lnTo>
                    <a:pt x="324" y="342"/>
                  </a:lnTo>
                  <a:lnTo>
                    <a:pt x="330" y="348"/>
                  </a:lnTo>
                  <a:lnTo>
                    <a:pt x="336" y="360"/>
                  </a:lnTo>
                  <a:lnTo>
                    <a:pt x="342" y="366"/>
                  </a:lnTo>
                  <a:lnTo>
                    <a:pt x="354" y="366"/>
                  </a:lnTo>
                  <a:lnTo>
                    <a:pt x="366" y="360"/>
                  </a:lnTo>
                  <a:lnTo>
                    <a:pt x="372" y="354"/>
                  </a:lnTo>
                  <a:lnTo>
                    <a:pt x="414" y="354"/>
                  </a:lnTo>
                  <a:lnTo>
                    <a:pt x="414" y="288"/>
                  </a:lnTo>
                  <a:lnTo>
                    <a:pt x="408" y="276"/>
                  </a:lnTo>
                  <a:lnTo>
                    <a:pt x="402" y="270"/>
                  </a:lnTo>
                  <a:close/>
                </a:path>
              </a:pathLst>
            </a:custGeom>
            <a:grpFill/>
            <a:ln w="3175">
              <a:solidFill>
                <a:schemeClr val="bg1"/>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de-DE" sz="1800" b="0" i="0" u="none" strike="noStrike" kern="1200" cap="none" spc="0" normalizeH="0" baseline="0" noProof="0">
                <a:ln>
                  <a:noFill/>
                </a:ln>
                <a:solidFill>
                  <a:srgbClr val="FFC000"/>
                </a:solidFill>
                <a:effectLst/>
                <a:uLnTx/>
                <a:uFillTx/>
                <a:latin typeface="Calibri" pitchFamily="34" charset="0"/>
                <a:ea typeface="+mn-ea"/>
                <a:cs typeface="+mn-cs"/>
              </a:endParaRPr>
            </a:p>
          </p:txBody>
        </p:sp>
        <p:sp>
          <p:nvSpPr>
            <p:cNvPr id="59" name="Saudi Arabia" descr="© INSCALE GmbH, 05.05.2010&#10;http://www.presentationload.com/"/>
            <p:cNvSpPr>
              <a:spLocks/>
            </p:cNvSpPr>
            <p:nvPr/>
          </p:nvSpPr>
          <p:spPr bwMode="gray">
            <a:xfrm>
              <a:off x="5249003" y="3499108"/>
              <a:ext cx="482500" cy="395607"/>
            </a:xfrm>
            <a:custGeom>
              <a:avLst/>
              <a:gdLst>
                <a:gd name="T0" fmla="*/ 2147483647 w 1488"/>
                <a:gd name="T1" fmla="*/ 2147483647 h 1278"/>
                <a:gd name="T2" fmla="*/ 2147483647 w 1488"/>
                <a:gd name="T3" fmla="*/ 2147483647 h 1278"/>
                <a:gd name="T4" fmla="*/ 2147483647 w 1488"/>
                <a:gd name="T5" fmla="*/ 2147483647 h 1278"/>
                <a:gd name="T6" fmla="*/ 2147483647 w 1488"/>
                <a:gd name="T7" fmla="*/ 2147483647 h 1278"/>
                <a:gd name="T8" fmla="*/ 2147483647 w 1488"/>
                <a:gd name="T9" fmla="*/ 2147483647 h 1278"/>
                <a:gd name="T10" fmla="*/ 2147483647 w 1488"/>
                <a:gd name="T11" fmla="*/ 2147483647 h 1278"/>
                <a:gd name="T12" fmla="*/ 2147483647 w 1488"/>
                <a:gd name="T13" fmla="*/ 2147483647 h 1278"/>
                <a:gd name="T14" fmla="*/ 2147483647 w 1488"/>
                <a:gd name="T15" fmla="*/ 2147483647 h 1278"/>
                <a:gd name="T16" fmla="*/ 2147483647 w 1488"/>
                <a:gd name="T17" fmla="*/ 2147483647 h 1278"/>
                <a:gd name="T18" fmla="*/ 2147483647 w 1488"/>
                <a:gd name="T19" fmla="*/ 2147483647 h 1278"/>
                <a:gd name="T20" fmla="*/ 2147483647 w 1488"/>
                <a:gd name="T21" fmla="*/ 2147483647 h 1278"/>
                <a:gd name="T22" fmla="*/ 2147483647 w 1488"/>
                <a:gd name="T23" fmla="*/ 2147483647 h 1278"/>
                <a:gd name="T24" fmla="*/ 2147483647 w 1488"/>
                <a:gd name="T25" fmla="*/ 2147483647 h 1278"/>
                <a:gd name="T26" fmla="*/ 2147483647 w 1488"/>
                <a:gd name="T27" fmla="*/ 2147483647 h 1278"/>
                <a:gd name="T28" fmla="*/ 2147483647 w 1488"/>
                <a:gd name="T29" fmla="*/ 2147483647 h 1278"/>
                <a:gd name="T30" fmla="*/ 2147483647 w 1488"/>
                <a:gd name="T31" fmla="*/ 2147483647 h 1278"/>
                <a:gd name="T32" fmla="*/ 2147483647 w 1488"/>
                <a:gd name="T33" fmla="*/ 2147483647 h 1278"/>
                <a:gd name="T34" fmla="*/ 2147483647 w 1488"/>
                <a:gd name="T35" fmla="*/ 2147483647 h 1278"/>
                <a:gd name="T36" fmla="*/ 2147483647 w 1488"/>
                <a:gd name="T37" fmla="*/ 2147483647 h 1278"/>
                <a:gd name="T38" fmla="*/ 2147483647 w 1488"/>
                <a:gd name="T39" fmla="*/ 0 h 1278"/>
                <a:gd name="T40" fmla="*/ 2147483647 w 1488"/>
                <a:gd name="T41" fmla="*/ 2147483647 h 1278"/>
                <a:gd name="T42" fmla="*/ 2147483647 w 1488"/>
                <a:gd name="T43" fmla="*/ 2147483647 h 1278"/>
                <a:gd name="T44" fmla="*/ 2147483647 w 1488"/>
                <a:gd name="T45" fmla="*/ 2147483647 h 1278"/>
                <a:gd name="T46" fmla="*/ 2147483647 w 1488"/>
                <a:gd name="T47" fmla="*/ 2147483647 h 1278"/>
                <a:gd name="T48" fmla="*/ 2147483647 w 1488"/>
                <a:gd name="T49" fmla="*/ 2147483647 h 1278"/>
                <a:gd name="T50" fmla="*/ 2147483647 w 1488"/>
                <a:gd name="T51" fmla="*/ 2147483647 h 1278"/>
                <a:gd name="T52" fmla="*/ 2147483647 w 1488"/>
                <a:gd name="T53" fmla="*/ 2147483647 h 1278"/>
                <a:gd name="T54" fmla="*/ 2147483647 w 1488"/>
                <a:gd name="T55" fmla="*/ 2147483647 h 1278"/>
                <a:gd name="T56" fmla="*/ 2147483647 w 1488"/>
                <a:gd name="T57" fmla="*/ 2147483647 h 1278"/>
                <a:gd name="T58" fmla="*/ 2147483647 w 1488"/>
                <a:gd name="T59" fmla="*/ 2147483647 h 1278"/>
                <a:gd name="T60" fmla="*/ 2147483647 w 1488"/>
                <a:gd name="T61" fmla="*/ 2147483647 h 1278"/>
                <a:gd name="T62" fmla="*/ 0 w 1488"/>
                <a:gd name="T63" fmla="*/ 2147483647 h 1278"/>
                <a:gd name="T64" fmla="*/ 2147483647 w 1488"/>
                <a:gd name="T65" fmla="*/ 2147483647 h 1278"/>
                <a:gd name="T66" fmla="*/ 2147483647 w 1488"/>
                <a:gd name="T67" fmla="*/ 2147483647 h 1278"/>
                <a:gd name="T68" fmla="*/ 2147483647 w 1488"/>
                <a:gd name="T69" fmla="*/ 2147483647 h 1278"/>
                <a:gd name="T70" fmla="*/ 2147483647 w 1488"/>
                <a:gd name="T71" fmla="*/ 2147483647 h 1278"/>
                <a:gd name="T72" fmla="*/ 2147483647 w 1488"/>
                <a:gd name="T73" fmla="*/ 2147483647 h 1278"/>
                <a:gd name="T74" fmla="*/ 2147483647 w 1488"/>
                <a:gd name="T75" fmla="*/ 2147483647 h 1278"/>
                <a:gd name="T76" fmla="*/ 2147483647 w 1488"/>
                <a:gd name="T77" fmla="*/ 2147483647 h 1278"/>
                <a:gd name="T78" fmla="*/ 2147483647 w 1488"/>
                <a:gd name="T79" fmla="*/ 2147483647 h 1278"/>
                <a:gd name="T80" fmla="*/ 2147483647 w 1488"/>
                <a:gd name="T81" fmla="*/ 2147483647 h 1278"/>
                <a:gd name="T82" fmla="*/ 2147483647 w 1488"/>
                <a:gd name="T83" fmla="*/ 2147483647 h 1278"/>
                <a:gd name="T84" fmla="*/ 2147483647 w 1488"/>
                <a:gd name="T85" fmla="*/ 2147483647 h 1278"/>
                <a:gd name="T86" fmla="*/ 2147483647 w 1488"/>
                <a:gd name="T87" fmla="*/ 2147483647 h 1278"/>
                <a:gd name="T88" fmla="*/ 2147483647 w 1488"/>
                <a:gd name="T89" fmla="*/ 2147483647 h 1278"/>
                <a:gd name="T90" fmla="*/ 2147483647 w 1488"/>
                <a:gd name="T91" fmla="*/ 2147483647 h 1278"/>
                <a:gd name="T92" fmla="*/ 2147483647 w 1488"/>
                <a:gd name="T93" fmla="*/ 2147483647 h 1278"/>
                <a:gd name="T94" fmla="*/ 2147483647 w 1488"/>
                <a:gd name="T95" fmla="*/ 2147483647 h 1278"/>
                <a:gd name="T96" fmla="*/ 2147483647 w 1488"/>
                <a:gd name="T97" fmla="*/ 2147483647 h 1278"/>
                <a:gd name="T98" fmla="*/ 2147483647 w 1488"/>
                <a:gd name="T99" fmla="*/ 2147483647 h 1278"/>
                <a:gd name="T100" fmla="*/ 2147483647 w 1488"/>
                <a:gd name="T101" fmla="*/ 2147483647 h 1278"/>
                <a:gd name="T102" fmla="*/ 2147483647 w 1488"/>
                <a:gd name="T103" fmla="*/ 2147483647 h 1278"/>
                <a:gd name="T104" fmla="*/ 2147483647 w 1488"/>
                <a:gd name="T105" fmla="*/ 2147483647 h 1278"/>
                <a:gd name="T106" fmla="*/ 2147483647 w 1488"/>
                <a:gd name="T107" fmla="*/ 2147483647 h 1278"/>
                <a:gd name="T108" fmla="*/ 2147483647 w 1488"/>
                <a:gd name="T109" fmla="*/ 2147483647 h 1278"/>
                <a:gd name="T110" fmla="*/ 2147483647 w 1488"/>
                <a:gd name="T111" fmla="*/ 2147483647 h 1278"/>
                <a:gd name="T112" fmla="*/ 2147483647 w 1488"/>
                <a:gd name="T113" fmla="*/ 2147483647 h 1278"/>
                <a:gd name="T114" fmla="*/ 2147483647 w 1488"/>
                <a:gd name="T115" fmla="*/ 2147483647 h 1278"/>
                <a:gd name="T116" fmla="*/ 2147483647 w 1488"/>
                <a:gd name="T117" fmla="*/ 2147483647 h 1278"/>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1488"/>
                <a:gd name="T178" fmla="*/ 0 h 1278"/>
                <a:gd name="T179" fmla="*/ 1488 w 1488"/>
                <a:gd name="T180" fmla="*/ 1278 h 1278"/>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1488" h="1278">
                  <a:moveTo>
                    <a:pt x="1464" y="792"/>
                  </a:moveTo>
                  <a:lnTo>
                    <a:pt x="1464" y="780"/>
                  </a:lnTo>
                  <a:lnTo>
                    <a:pt x="1458" y="774"/>
                  </a:lnTo>
                  <a:lnTo>
                    <a:pt x="1416" y="768"/>
                  </a:lnTo>
                  <a:lnTo>
                    <a:pt x="1320" y="756"/>
                  </a:lnTo>
                  <a:lnTo>
                    <a:pt x="1284" y="750"/>
                  </a:lnTo>
                  <a:lnTo>
                    <a:pt x="1266" y="750"/>
                  </a:lnTo>
                  <a:lnTo>
                    <a:pt x="1260" y="738"/>
                  </a:lnTo>
                  <a:lnTo>
                    <a:pt x="1248" y="732"/>
                  </a:lnTo>
                  <a:lnTo>
                    <a:pt x="1242" y="720"/>
                  </a:lnTo>
                  <a:lnTo>
                    <a:pt x="1218" y="696"/>
                  </a:lnTo>
                  <a:lnTo>
                    <a:pt x="1206" y="672"/>
                  </a:lnTo>
                  <a:lnTo>
                    <a:pt x="1188" y="654"/>
                  </a:lnTo>
                  <a:lnTo>
                    <a:pt x="1188" y="642"/>
                  </a:lnTo>
                  <a:lnTo>
                    <a:pt x="1182" y="636"/>
                  </a:lnTo>
                  <a:lnTo>
                    <a:pt x="1182" y="618"/>
                  </a:lnTo>
                  <a:lnTo>
                    <a:pt x="1176" y="624"/>
                  </a:lnTo>
                  <a:lnTo>
                    <a:pt x="1164" y="612"/>
                  </a:lnTo>
                  <a:lnTo>
                    <a:pt x="1146" y="612"/>
                  </a:lnTo>
                  <a:lnTo>
                    <a:pt x="1140" y="600"/>
                  </a:lnTo>
                  <a:lnTo>
                    <a:pt x="1134" y="594"/>
                  </a:lnTo>
                  <a:lnTo>
                    <a:pt x="1128" y="582"/>
                  </a:lnTo>
                  <a:lnTo>
                    <a:pt x="1122" y="564"/>
                  </a:lnTo>
                  <a:lnTo>
                    <a:pt x="1116" y="552"/>
                  </a:lnTo>
                  <a:lnTo>
                    <a:pt x="1116" y="540"/>
                  </a:lnTo>
                  <a:lnTo>
                    <a:pt x="1110" y="534"/>
                  </a:lnTo>
                  <a:lnTo>
                    <a:pt x="1098" y="528"/>
                  </a:lnTo>
                  <a:lnTo>
                    <a:pt x="1086" y="516"/>
                  </a:lnTo>
                  <a:lnTo>
                    <a:pt x="1074" y="510"/>
                  </a:lnTo>
                  <a:lnTo>
                    <a:pt x="1068" y="498"/>
                  </a:lnTo>
                  <a:lnTo>
                    <a:pt x="1068" y="462"/>
                  </a:lnTo>
                  <a:lnTo>
                    <a:pt x="1062" y="450"/>
                  </a:lnTo>
                  <a:lnTo>
                    <a:pt x="1062" y="438"/>
                  </a:lnTo>
                  <a:lnTo>
                    <a:pt x="1050" y="426"/>
                  </a:lnTo>
                  <a:lnTo>
                    <a:pt x="1002" y="402"/>
                  </a:lnTo>
                  <a:lnTo>
                    <a:pt x="996" y="396"/>
                  </a:lnTo>
                  <a:lnTo>
                    <a:pt x="990" y="384"/>
                  </a:lnTo>
                  <a:lnTo>
                    <a:pt x="990" y="360"/>
                  </a:lnTo>
                  <a:lnTo>
                    <a:pt x="972" y="342"/>
                  </a:lnTo>
                  <a:lnTo>
                    <a:pt x="966" y="330"/>
                  </a:lnTo>
                  <a:lnTo>
                    <a:pt x="960" y="324"/>
                  </a:lnTo>
                  <a:lnTo>
                    <a:pt x="960" y="300"/>
                  </a:lnTo>
                  <a:lnTo>
                    <a:pt x="954" y="300"/>
                  </a:lnTo>
                  <a:lnTo>
                    <a:pt x="948" y="294"/>
                  </a:lnTo>
                  <a:lnTo>
                    <a:pt x="882" y="294"/>
                  </a:lnTo>
                  <a:lnTo>
                    <a:pt x="876" y="288"/>
                  </a:lnTo>
                  <a:lnTo>
                    <a:pt x="876" y="252"/>
                  </a:lnTo>
                  <a:lnTo>
                    <a:pt x="852" y="246"/>
                  </a:lnTo>
                  <a:lnTo>
                    <a:pt x="804" y="246"/>
                  </a:lnTo>
                  <a:lnTo>
                    <a:pt x="750" y="240"/>
                  </a:lnTo>
                  <a:lnTo>
                    <a:pt x="684" y="240"/>
                  </a:lnTo>
                  <a:lnTo>
                    <a:pt x="492" y="96"/>
                  </a:lnTo>
                  <a:lnTo>
                    <a:pt x="480" y="90"/>
                  </a:lnTo>
                  <a:lnTo>
                    <a:pt x="474" y="84"/>
                  </a:lnTo>
                  <a:lnTo>
                    <a:pt x="426" y="60"/>
                  </a:lnTo>
                  <a:lnTo>
                    <a:pt x="414" y="48"/>
                  </a:lnTo>
                  <a:lnTo>
                    <a:pt x="402" y="42"/>
                  </a:lnTo>
                  <a:lnTo>
                    <a:pt x="372" y="12"/>
                  </a:lnTo>
                  <a:lnTo>
                    <a:pt x="306" y="12"/>
                  </a:lnTo>
                  <a:lnTo>
                    <a:pt x="294" y="0"/>
                  </a:lnTo>
                  <a:lnTo>
                    <a:pt x="288" y="6"/>
                  </a:lnTo>
                  <a:lnTo>
                    <a:pt x="276" y="12"/>
                  </a:lnTo>
                  <a:lnTo>
                    <a:pt x="270" y="12"/>
                  </a:lnTo>
                  <a:lnTo>
                    <a:pt x="264" y="18"/>
                  </a:lnTo>
                  <a:lnTo>
                    <a:pt x="252" y="24"/>
                  </a:lnTo>
                  <a:lnTo>
                    <a:pt x="210" y="24"/>
                  </a:lnTo>
                  <a:lnTo>
                    <a:pt x="198" y="48"/>
                  </a:lnTo>
                  <a:lnTo>
                    <a:pt x="132" y="48"/>
                  </a:lnTo>
                  <a:lnTo>
                    <a:pt x="120" y="54"/>
                  </a:lnTo>
                  <a:lnTo>
                    <a:pt x="108" y="54"/>
                  </a:lnTo>
                  <a:lnTo>
                    <a:pt x="108" y="60"/>
                  </a:lnTo>
                  <a:lnTo>
                    <a:pt x="132" y="60"/>
                  </a:lnTo>
                  <a:lnTo>
                    <a:pt x="144" y="66"/>
                  </a:lnTo>
                  <a:lnTo>
                    <a:pt x="156" y="66"/>
                  </a:lnTo>
                  <a:lnTo>
                    <a:pt x="180" y="90"/>
                  </a:lnTo>
                  <a:lnTo>
                    <a:pt x="192" y="114"/>
                  </a:lnTo>
                  <a:lnTo>
                    <a:pt x="198" y="120"/>
                  </a:lnTo>
                  <a:lnTo>
                    <a:pt x="198" y="132"/>
                  </a:lnTo>
                  <a:lnTo>
                    <a:pt x="192" y="138"/>
                  </a:lnTo>
                  <a:lnTo>
                    <a:pt x="192" y="150"/>
                  </a:lnTo>
                  <a:lnTo>
                    <a:pt x="186" y="156"/>
                  </a:lnTo>
                  <a:lnTo>
                    <a:pt x="180" y="168"/>
                  </a:lnTo>
                  <a:lnTo>
                    <a:pt x="174" y="174"/>
                  </a:lnTo>
                  <a:lnTo>
                    <a:pt x="162" y="180"/>
                  </a:lnTo>
                  <a:lnTo>
                    <a:pt x="150" y="180"/>
                  </a:lnTo>
                  <a:lnTo>
                    <a:pt x="138" y="186"/>
                  </a:lnTo>
                  <a:lnTo>
                    <a:pt x="132" y="186"/>
                  </a:lnTo>
                  <a:lnTo>
                    <a:pt x="120" y="198"/>
                  </a:lnTo>
                  <a:lnTo>
                    <a:pt x="120" y="210"/>
                  </a:lnTo>
                  <a:lnTo>
                    <a:pt x="108" y="234"/>
                  </a:lnTo>
                  <a:lnTo>
                    <a:pt x="96" y="246"/>
                  </a:lnTo>
                  <a:lnTo>
                    <a:pt x="60" y="246"/>
                  </a:lnTo>
                  <a:lnTo>
                    <a:pt x="36" y="234"/>
                  </a:lnTo>
                  <a:lnTo>
                    <a:pt x="6" y="234"/>
                  </a:lnTo>
                  <a:lnTo>
                    <a:pt x="6" y="264"/>
                  </a:lnTo>
                  <a:lnTo>
                    <a:pt x="0" y="306"/>
                  </a:lnTo>
                  <a:lnTo>
                    <a:pt x="0" y="348"/>
                  </a:lnTo>
                  <a:lnTo>
                    <a:pt x="6" y="372"/>
                  </a:lnTo>
                  <a:lnTo>
                    <a:pt x="24" y="378"/>
                  </a:lnTo>
                  <a:lnTo>
                    <a:pt x="36" y="390"/>
                  </a:lnTo>
                  <a:lnTo>
                    <a:pt x="54" y="390"/>
                  </a:lnTo>
                  <a:lnTo>
                    <a:pt x="72" y="408"/>
                  </a:lnTo>
                  <a:lnTo>
                    <a:pt x="90" y="438"/>
                  </a:lnTo>
                  <a:lnTo>
                    <a:pt x="102" y="474"/>
                  </a:lnTo>
                  <a:lnTo>
                    <a:pt x="120" y="504"/>
                  </a:lnTo>
                  <a:lnTo>
                    <a:pt x="132" y="516"/>
                  </a:lnTo>
                  <a:lnTo>
                    <a:pt x="150" y="528"/>
                  </a:lnTo>
                  <a:lnTo>
                    <a:pt x="162" y="540"/>
                  </a:lnTo>
                  <a:lnTo>
                    <a:pt x="174" y="558"/>
                  </a:lnTo>
                  <a:lnTo>
                    <a:pt x="180" y="570"/>
                  </a:lnTo>
                  <a:lnTo>
                    <a:pt x="186" y="594"/>
                  </a:lnTo>
                  <a:lnTo>
                    <a:pt x="192" y="612"/>
                  </a:lnTo>
                  <a:lnTo>
                    <a:pt x="198" y="636"/>
                  </a:lnTo>
                  <a:lnTo>
                    <a:pt x="210" y="648"/>
                  </a:lnTo>
                  <a:lnTo>
                    <a:pt x="234" y="660"/>
                  </a:lnTo>
                  <a:lnTo>
                    <a:pt x="264" y="660"/>
                  </a:lnTo>
                  <a:lnTo>
                    <a:pt x="282" y="666"/>
                  </a:lnTo>
                  <a:lnTo>
                    <a:pt x="294" y="678"/>
                  </a:lnTo>
                  <a:lnTo>
                    <a:pt x="312" y="708"/>
                  </a:lnTo>
                  <a:lnTo>
                    <a:pt x="330" y="756"/>
                  </a:lnTo>
                  <a:lnTo>
                    <a:pt x="336" y="804"/>
                  </a:lnTo>
                  <a:lnTo>
                    <a:pt x="342" y="840"/>
                  </a:lnTo>
                  <a:lnTo>
                    <a:pt x="348" y="870"/>
                  </a:lnTo>
                  <a:lnTo>
                    <a:pt x="366" y="906"/>
                  </a:lnTo>
                  <a:lnTo>
                    <a:pt x="384" y="924"/>
                  </a:lnTo>
                  <a:lnTo>
                    <a:pt x="390" y="936"/>
                  </a:lnTo>
                  <a:lnTo>
                    <a:pt x="414" y="936"/>
                  </a:lnTo>
                  <a:lnTo>
                    <a:pt x="438" y="948"/>
                  </a:lnTo>
                  <a:lnTo>
                    <a:pt x="456" y="972"/>
                  </a:lnTo>
                  <a:lnTo>
                    <a:pt x="480" y="1008"/>
                  </a:lnTo>
                  <a:lnTo>
                    <a:pt x="504" y="1056"/>
                  </a:lnTo>
                  <a:lnTo>
                    <a:pt x="552" y="1128"/>
                  </a:lnTo>
                  <a:lnTo>
                    <a:pt x="582" y="1170"/>
                  </a:lnTo>
                  <a:lnTo>
                    <a:pt x="606" y="1206"/>
                  </a:lnTo>
                  <a:lnTo>
                    <a:pt x="618" y="1236"/>
                  </a:lnTo>
                  <a:lnTo>
                    <a:pt x="618" y="1266"/>
                  </a:lnTo>
                  <a:lnTo>
                    <a:pt x="612" y="1278"/>
                  </a:lnTo>
                  <a:lnTo>
                    <a:pt x="624" y="1266"/>
                  </a:lnTo>
                  <a:lnTo>
                    <a:pt x="630" y="1254"/>
                  </a:lnTo>
                  <a:lnTo>
                    <a:pt x="636" y="1248"/>
                  </a:lnTo>
                  <a:lnTo>
                    <a:pt x="636" y="1200"/>
                  </a:lnTo>
                  <a:lnTo>
                    <a:pt x="642" y="1188"/>
                  </a:lnTo>
                  <a:lnTo>
                    <a:pt x="648" y="1182"/>
                  </a:lnTo>
                  <a:lnTo>
                    <a:pt x="654" y="1182"/>
                  </a:lnTo>
                  <a:lnTo>
                    <a:pt x="672" y="1200"/>
                  </a:lnTo>
                  <a:lnTo>
                    <a:pt x="696" y="1194"/>
                  </a:lnTo>
                  <a:lnTo>
                    <a:pt x="702" y="1188"/>
                  </a:lnTo>
                  <a:lnTo>
                    <a:pt x="792" y="1188"/>
                  </a:lnTo>
                  <a:lnTo>
                    <a:pt x="804" y="1194"/>
                  </a:lnTo>
                  <a:lnTo>
                    <a:pt x="810" y="1200"/>
                  </a:lnTo>
                  <a:lnTo>
                    <a:pt x="888" y="1200"/>
                  </a:lnTo>
                  <a:lnTo>
                    <a:pt x="894" y="1206"/>
                  </a:lnTo>
                  <a:lnTo>
                    <a:pt x="900" y="1218"/>
                  </a:lnTo>
                  <a:lnTo>
                    <a:pt x="912" y="1224"/>
                  </a:lnTo>
                  <a:lnTo>
                    <a:pt x="924" y="1224"/>
                  </a:lnTo>
                  <a:lnTo>
                    <a:pt x="930" y="1212"/>
                  </a:lnTo>
                  <a:lnTo>
                    <a:pt x="936" y="1206"/>
                  </a:lnTo>
                  <a:lnTo>
                    <a:pt x="936" y="1188"/>
                  </a:lnTo>
                  <a:lnTo>
                    <a:pt x="942" y="1176"/>
                  </a:lnTo>
                  <a:lnTo>
                    <a:pt x="948" y="1170"/>
                  </a:lnTo>
                  <a:lnTo>
                    <a:pt x="954" y="1158"/>
                  </a:lnTo>
                  <a:lnTo>
                    <a:pt x="966" y="1146"/>
                  </a:lnTo>
                  <a:lnTo>
                    <a:pt x="972" y="1134"/>
                  </a:lnTo>
                  <a:lnTo>
                    <a:pt x="990" y="1116"/>
                  </a:lnTo>
                  <a:lnTo>
                    <a:pt x="1020" y="1098"/>
                  </a:lnTo>
                  <a:lnTo>
                    <a:pt x="1050" y="1092"/>
                  </a:lnTo>
                  <a:lnTo>
                    <a:pt x="1068" y="1086"/>
                  </a:lnTo>
                  <a:lnTo>
                    <a:pt x="1092" y="1086"/>
                  </a:lnTo>
                  <a:lnTo>
                    <a:pt x="1140" y="1080"/>
                  </a:lnTo>
                  <a:lnTo>
                    <a:pt x="1188" y="1068"/>
                  </a:lnTo>
                  <a:lnTo>
                    <a:pt x="1230" y="1062"/>
                  </a:lnTo>
                  <a:lnTo>
                    <a:pt x="1248" y="1062"/>
                  </a:lnTo>
                  <a:lnTo>
                    <a:pt x="1452" y="990"/>
                  </a:lnTo>
                  <a:lnTo>
                    <a:pt x="1488" y="816"/>
                  </a:lnTo>
                  <a:lnTo>
                    <a:pt x="1482" y="810"/>
                  </a:lnTo>
                  <a:lnTo>
                    <a:pt x="1470" y="804"/>
                  </a:lnTo>
                  <a:lnTo>
                    <a:pt x="1464" y="798"/>
                  </a:lnTo>
                  <a:lnTo>
                    <a:pt x="1464" y="792"/>
                  </a:lnTo>
                  <a:close/>
                </a:path>
              </a:pathLst>
            </a:custGeom>
            <a:grpFill/>
            <a:ln w="3175">
              <a:solidFill>
                <a:schemeClr val="bg1"/>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de-DE" sz="1800" b="0" i="0" u="none" strike="noStrike" kern="1200" cap="none" spc="0" normalizeH="0" baseline="0" noProof="0">
                <a:ln>
                  <a:noFill/>
                </a:ln>
                <a:solidFill>
                  <a:srgbClr val="FFC000"/>
                </a:solidFill>
                <a:effectLst/>
                <a:uLnTx/>
                <a:uFillTx/>
                <a:latin typeface="Calibri" pitchFamily="34" charset="0"/>
                <a:ea typeface="+mn-ea"/>
                <a:cs typeface="+mn-cs"/>
              </a:endParaRPr>
            </a:p>
          </p:txBody>
        </p:sp>
        <p:sp>
          <p:nvSpPr>
            <p:cNvPr id="60" name="Rwanda" descr="© INSCALE GmbH, 05.05.2010&#10;http://www.presentationload.com/"/>
            <p:cNvSpPr>
              <a:spLocks/>
            </p:cNvSpPr>
            <p:nvPr/>
          </p:nvSpPr>
          <p:spPr bwMode="gray">
            <a:xfrm>
              <a:off x="5132537" y="4329516"/>
              <a:ext cx="48634" cy="46542"/>
            </a:xfrm>
            <a:custGeom>
              <a:avLst/>
              <a:gdLst>
                <a:gd name="T0" fmla="*/ 2147483647 w 150"/>
                <a:gd name="T1" fmla="*/ 2147483647 h 150"/>
                <a:gd name="T2" fmla="*/ 2147483647 w 150"/>
                <a:gd name="T3" fmla="*/ 2147483647 h 150"/>
                <a:gd name="T4" fmla="*/ 2147483647 w 150"/>
                <a:gd name="T5" fmla="*/ 2147483647 h 150"/>
                <a:gd name="T6" fmla="*/ 2147483647 w 150"/>
                <a:gd name="T7" fmla="*/ 2147483647 h 150"/>
                <a:gd name="T8" fmla="*/ 2147483647 w 150"/>
                <a:gd name="T9" fmla="*/ 2147483647 h 150"/>
                <a:gd name="T10" fmla="*/ 2147483647 w 150"/>
                <a:gd name="T11" fmla="*/ 2147483647 h 150"/>
                <a:gd name="T12" fmla="*/ 2147483647 w 150"/>
                <a:gd name="T13" fmla="*/ 2147483647 h 150"/>
                <a:gd name="T14" fmla="*/ 2147483647 w 150"/>
                <a:gd name="T15" fmla="*/ 2147483647 h 150"/>
                <a:gd name="T16" fmla="*/ 2147483647 w 150"/>
                <a:gd name="T17" fmla="*/ 2147483647 h 150"/>
                <a:gd name="T18" fmla="*/ 2147483647 w 150"/>
                <a:gd name="T19" fmla="*/ 2147483647 h 150"/>
                <a:gd name="T20" fmla="*/ 2147483647 w 150"/>
                <a:gd name="T21" fmla="*/ 2147483647 h 150"/>
                <a:gd name="T22" fmla="*/ 2147483647 w 150"/>
                <a:gd name="T23" fmla="*/ 2147483647 h 150"/>
                <a:gd name="T24" fmla="*/ 2147483647 w 150"/>
                <a:gd name="T25" fmla="*/ 2147483647 h 150"/>
                <a:gd name="T26" fmla="*/ 2147483647 w 150"/>
                <a:gd name="T27" fmla="*/ 0 h 150"/>
                <a:gd name="T28" fmla="*/ 2147483647 w 150"/>
                <a:gd name="T29" fmla="*/ 2147483647 h 150"/>
                <a:gd name="T30" fmla="*/ 2147483647 w 150"/>
                <a:gd name="T31" fmla="*/ 2147483647 h 150"/>
                <a:gd name="T32" fmla="*/ 2147483647 w 150"/>
                <a:gd name="T33" fmla="*/ 2147483647 h 150"/>
                <a:gd name="T34" fmla="*/ 2147483647 w 150"/>
                <a:gd name="T35" fmla="*/ 2147483647 h 150"/>
                <a:gd name="T36" fmla="*/ 2147483647 w 150"/>
                <a:gd name="T37" fmla="*/ 2147483647 h 150"/>
                <a:gd name="T38" fmla="*/ 2147483647 w 150"/>
                <a:gd name="T39" fmla="*/ 2147483647 h 150"/>
                <a:gd name="T40" fmla="*/ 2147483647 w 150"/>
                <a:gd name="T41" fmla="*/ 2147483647 h 150"/>
                <a:gd name="T42" fmla="*/ 2147483647 w 150"/>
                <a:gd name="T43" fmla="*/ 2147483647 h 150"/>
                <a:gd name="T44" fmla="*/ 2147483647 w 150"/>
                <a:gd name="T45" fmla="*/ 2147483647 h 150"/>
                <a:gd name="T46" fmla="*/ 2147483647 w 150"/>
                <a:gd name="T47" fmla="*/ 2147483647 h 150"/>
                <a:gd name="T48" fmla="*/ 2147483647 w 150"/>
                <a:gd name="T49" fmla="*/ 2147483647 h 150"/>
                <a:gd name="T50" fmla="*/ 2147483647 w 150"/>
                <a:gd name="T51" fmla="*/ 2147483647 h 150"/>
                <a:gd name="T52" fmla="*/ 2147483647 w 150"/>
                <a:gd name="T53" fmla="*/ 2147483647 h 150"/>
                <a:gd name="T54" fmla="*/ 2147483647 w 150"/>
                <a:gd name="T55" fmla="*/ 2147483647 h 150"/>
                <a:gd name="T56" fmla="*/ 2147483647 w 150"/>
                <a:gd name="T57" fmla="*/ 2147483647 h 150"/>
                <a:gd name="T58" fmla="*/ 2147483647 w 150"/>
                <a:gd name="T59" fmla="*/ 2147483647 h 150"/>
                <a:gd name="T60" fmla="*/ 0 w 150"/>
                <a:gd name="T61" fmla="*/ 2147483647 h 150"/>
                <a:gd name="T62" fmla="*/ 0 w 150"/>
                <a:gd name="T63" fmla="*/ 2147483647 h 150"/>
                <a:gd name="T64" fmla="*/ 2147483647 w 150"/>
                <a:gd name="T65" fmla="*/ 2147483647 h 150"/>
                <a:gd name="T66" fmla="*/ 2147483647 w 150"/>
                <a:gd name="T67" fmla="*/ 2147483647 h 150"/>
                <a:gd name="T68" fmla="*/ 2147483647 w 150"/>
                <a:gd name="T69" fmla="*/ 2147483647 h 150"/>
                <a:gd name="T70" fmla="*/ 2147483647 w 150"/>
                <a:gd name="T71" fmla="*/ 2147483647 h 150"/>
                <a:gd name="T72" fmla="*/ 2147483647 w 150"/>
                <a:gd name="T73" fmla="*/ 2147483647 h 150"/>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150"/>
                <a:gd name="T112" fmla="*/ 0 h 150"/>
                <a:gd name="T113" fmla="*/ 150 w 150"/>
                <a:gd name="T114" fmla="*/ 150 h 150"/>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150" h="150">
                  <a:moveTo>
                    <a:pt x="48" y="150"/>
                  </a:moveTo>
                  <a:lnTo>
                    <a:pt x="54" y="150"/>
                  </a:lnTo>
                  <a:lnTo>
                    <a:pt x="60" y="144"/>
                  </a:lnTo>
                  <a:lnTo>
                    <a:pt x="72" y="138"/>
                  </a:lnTo>
                  <a:lnTo>
                    <a:pt x="78" y="114"/>
                  </a:lnTo>
                  <a:lnTo>
                    <a:pt x="138" y="114"/>
                  </a:lnTo>
                  <a:lnTo>
                    <a:pt x="150" y="102"/>
                  </a:lnTo>
                  <a:lnTo>
                    <a:pt x="150" y="72"/>
                  </a:lnTo>
                  <a:lnTo>
                    <a:pt x="144" y="66"/>
                  </a:lnTo>
                  <a:lnTo>
                    <a:pt x="144" y="48"/>
                  </a:lnTo>
                  <a:lnTo>
                    <a:pt x="138" y="42"/>
                  </a:lnTo>
                  <a:lnTo>
                    <a:pt x="132" y="30"/>
                  </a:lnTo>
                  <a:lnTo>
                    <a:pt x="126" y="24"/>
                  </a:lnTo>
                  <a:lnTo>
                    <a:pt x="132" y="0"/>
                  </a:lnTo>
                  <a:lnTo>
                    <a:pt x="108" y="6"/>
                  </a:lnTo>
                  <a:lnTo>
                    <a:pt x="108" y="12"/>
                  </a:lnTo>
                  <a:lnTo>
                    <a:pt x="102" y="18"/>
                  </a:lnTo>
                  <a:lnTo>
                    <a:pt x="90" y="42"/>
                  </a:lnTo>
                  <a:lnTo>
                    <a:pt x="84" y="42"/>
                  </a:lnTo>
                  <a:lnTo>
                    <a:pt x="72" y="30"/>
                  </a:lnTo>
                  <a:lnTo>
                    <a:pt x="54" y="30"/>
                  </a:lnTo>
                  <a:lnTo>
                    <a:pt x="48" y="36"/>
                  </a:lnTo>
                  <a:lnTo>
                    <a:pt x="24" y="48"/>
                  </a:lnTo>
                  <a:lnTo>
                    <a:pt x="18" y="54"/>
                  </a:lnTo>
                  <a:lnTo>
                    <a:pt x="18" y="60"/>
                  </a:lnTo>
                  <a:lnTo>
                    <a:pt x="24" y="72"/>
                  </a:lnTo>
                  <a:lnTo>
                    <a:pt x="30" y="78"/>
                  </a:lnTo>
                  <a:lnTo>
                    <a:pt x="30" y="90"/>
                  </a:lnTo>
                  <a:lnTo>
                    <a:pt x="18" y="102"/>
                  </a:lnTo>
                  <a:lnTo>
                    <a:pt x="6" y="108"/>
                  </a:lnTo>
                  <a:lnTo>
                    <a:pt x="0" y="120"/>
                  </a:lnTo>
                  <a:lnTo>
                    <a:pt x="0" y="126"/>
                  </a:lnTo>
                  <a:lnTo>
                    <a:pt x="6" y="132"/>
                  </a:lnTo>
                  <a:lnTo>
                    <a:pt x="30" y="132"/>
                  </a:lnTo>
                  <a:lnTo>
                    <a:pt x="36" y="144"/>
                  </a:lnTo>
                  <a:lnTo>
                    <a:pt x="42" y="150"/>
                  </a:lnTo>
                  <a:lnTo>
                    <a:pt x="48" y="150"/>
                  </a:lnTo>
                  <a:close/>
                </a:path>
              </a:pathLst>
            </a:custGeom>
            <a:grpFill/>
            <a:ln w="3175">
              <a:solidFill>
                <a:schemeClr val="bg1"/>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de-DE" sz="1800" b="0" i="0" u="none" strike="noStrike" kern="1200" cap="none" spc="0" normalizeH="0" baseline="0" noProof="0">
                <a:ln>
                  <a:noFill/>
                </a:ln>
                <a:solidFill>
                  <a:srgbClr val="FFC000"/>
                </a:solidFill>
                <a:effectLst/>
                <a:uLnTx/>
                <a:uFillTx/>
                <a:latin typeface="Calibri" pitchFamily="34" charset="0"/>
                <a:ea typeface="+mn-ea"/>
                <a:cs typeface="+mn-cs"/>
              </a:endParaRPr>
            </a:p>
          </p:txBody>
        </p:sp>
        <p:sp>
          <p:nvSpPr>
            <p:cNvPr id="61" name="Russia (Urup,Simushir)" descr="© INSCALE GmbH, 05.05.2010&#10;http://www.presentationload.com/"/>
            <p:cNvSpPr>
              <a:spLocks noEditPoints="1"/>
            </p:cNvSpPr>
            <p:nvPr/>
          </p:nvSpPr>
          <p:spPr bwMode="gray">
            <a:xfrm>
              <a:off x="7523280" y="2838947"/>
              <a:ext cx="97268" cy="371111"/>
            </a:xfrm>
            <a:custGeom>
              <a:avLst/>
              <a:gdLst>
                <a:gd name="T0" fmla="*/ 0 w 300"/>
                <a:gd name="T1" fmla="*/ 2147483647 h 1194"/>
                <a:gd name="T2" fmla="*/ 2147483647 w 300"/>
                <a:gd name="T3" fmla="*/ 2147483647 h 1194"/>
                <a:gd name="T4" fmla="*/ 2147483647 w 300"/>
                <a:gd name="T5" fmla="*/ 2147483647 h 1194"/>
                <a:gd name="T6" fmla="*/ 2147483647 w 300"/>
                <a:gd name="T7" fmla="*/ 2147483647 h 1194"/>
                <a:gd name="T8" fmla="*/ 0 w 300"/>
                <a:gd name="T9" fmla="*/ 2147483647 h 1194"/>
                <a:gd name="T10" fmla="*/ 2147483647 w 300"/>
                <a:gd name="T11" fmla="*/ 2147483647 h 1194"/>
                <a:gd name="T12" fmla="*/ 2147483647 w 300"/>
                <a:gd name="T13" fmla="*/ 2147483647 h 1194"/>
                <a:gd name="T14" fmla="*/ 2147483647 w 300"/>
                <a:gd name="T15" fmla="*/ 2147483647 h 1194"/>
                <a:gd name="T16" fmla="*/ 2147483647 w 300"/>
                <a:gd name="T17" fmla="*/ 2147483647 h 1194"/>
                <a:gd name="T18" fmla="*/ 2147483647 w 300"/>
                <a:gd name="T19" fmla="*/ 2147483647 h 1194"/>
                <a:gd name="T20" fmla="*/ 2147483647 w 300"/>
                <a:gd name="T21" fmla="*/ 2147483647 h 1194"/>
                <a:gd name="T22" fmla="*/ 2147483647 w 300"/>
                <a:gd name="T23" fmla="*/ 2147483647 h 1194"/>
                <a:gd name="T24" fmla="*/ 2147483647 w 300"/>
                <a:gd name="T25" fmla="*/ 2147483647 h 1194"/>
                <a:gd name="T26" fmla="*/ 2147483647 w 300"/>
                <a:gd name="T27" fmla="*/ 2147483647 h 1194"/>
                <a:gd name="T28" fmla="*/ 2147483647 w 300"/>
                <a:gd name="T29" fmla="*/ 2147483647 h 1194"/>
                <a:gd name="T30" fmla="*/ 2147483647 w 300"/>
                <a:gd name="T31" fmla="*/ 2147483647 h 1194"/>
                <a:gd name="T32" fmla="*/ 2147483647 w 300"/>
                <a:gd name="T33" fmla="*/ 2147483647 h 1194"/>
                <a:gd name="T34" fmla="*/ 2147483647 w 300"/>
                <a:gd name="T35" fmla="*/ 2147483647 h 1194"/>
                <a:gd name="T36" fmla="*/ 2147483647 w 300"/>
                <a:gd name="T37" fmla="*/ 2147483647 h 1194"/>
                <a:gd name="T38" fmla="*/ 2147483647 w 300"/>
                <a:gd name="T39" fmla="*/ 2147483647 h 1194"/>
                <a:gd name="T40" fmla="*/ 2147483647 w 300"/>
                <a:gd name="T41" fmla="*/ 2147483647 h 1194"/>
                <a:gd name="T42" fmla="*/ 2147483647 w 300"/>
                <a:gd name="T43" fmla="*/ 2147483647 h 1194"/>
                <a:gd name="T44" fmla="*/ 2147483647 w 300"/>
                <a:gd name="T45" fmla="*/ 2147483647 h 1194"/>
                <a:gd name="T46" fmla="*/ 2147483647 w 300"/>
                <a:gd name="T47" fmla="*/ 2147483647 h 1194"/>
                <a:gd name="T48" fmla="*/ 2147483647 w 300"/>
                <a:gd name="T49" fmla="*/ 2147483647 h 1194"/>
                <a:gd name="T50" fmla="*/ 2147483647 w 300"/>
                <a:gd name="T51" fmla="*/ 2147483647 h 1194"/>
                <a:gd name="T52" fmla="*/ 2147483647 w 300"/>
                <a:gd name="T53" fmla="*/ 2147483647 h 1194"/>
                <a:gd name="T54" fmla="*/ 2147483647 w 300"/>
                <a:gd name="T55" fmla="*/ 2147483647 h 1194"/>
                <a:gd name="T56" fmla="*/ 2147483647 w 300"/>
                <a:gd name="T57" fmla="*/ 2147483647 h 1194"/>
                <a:gd name="T58" fmla="*/ 2147483647 w 300"/>
                <a:gd name="T59" fmla="*/ 2147483647 h 1194"/>
                <a:gd name="T60" fmla="*/ 2147483647 w 300"/>
                <a:gd name="T61" fmla="*/ 2147483647 h 1194"/>
                <a:gd name="T62" fmla="*/ 2147483647 w 300"/>
                <a:gd name="T63" fmla="*/ 2147483647 h 1194"/>
                <a:gd name="T64" fmla="*/ 2147483647 w 300"/>
                <a:gd name="T65" fmla="*/ 2147483647 h 1194"/>
                <a:gd name="T66" fmla="*/ 2147483647 w 300"/>
                <a:gd name="T67" fmla="*/ 2147483647 h 1194"/>
                <a:gd name="T68" fmla="*/ 2147483647 w 300"/>
                <a:gd name="T69" fmla="*/ 2147483647 h 1194"/>
                <a:gd name="T70" fmla="*/ 2147483647 w 300"/>
                <a:gd name="T71" fmla="*/ 2147483647 h 1194"/>
                <a:gd name="T72" fmla="*/ 2147483647 w 300"/>
                <a:gd name="T73" fmla="*/ 2147483647 h 1194"/>
                <a:gd name="T74" fmla="*/ 2147483647 w 300"/>
                <a:gd name="T75" fmla="*/ 2147483647 h 1194"/>
                <a:gd name="T76" fmla="*/ 2147483647 w 300"/>
                <a:gd name="T77" fmla="*/ 2147483647 h 1194"/>
                <a:gd name="T78" fmla="*/ 2147483647 w 300"/>
                <a:gd name="T79" fmla="*/ 2147483647 h 1194"/>
                <a:gd name="T80" fmla="*/ 2147483647 w 300"/>
                <a:gd name="T81" fmla="*/ 2147483647 h 1194"/>
                <a:gd name="T82" fmla="*/ 2147483647 w 300"/>
                <a:gd name="T83" fmla="*/ 2147483647 h 1194"/>
                <a:gd name="T84" fmla="*/ 2147483647 w 300"/>
                <a:gd name="T85" fmla="*/ 2147483647 h 1194"/>
                <a:gd name="T86" fmla="*/ 2147483647 w 300"/>
                <a:gd name="T87" fmla="*/ 2147483647 h 1194"/>
                <a:gd name="T88" fmla="*/ 2147483647 w 300"/>
                <a:gd name="T89" fmla="*/ 2147483647 h 1194"/>
                <a:gd name="T90" fmla="*/ 2147483647 w 300"/>
                <a:gd name="T91" fmla="*/ 2147483647 h 1194"/>
                <a:gd name="T92" fmla="*/ 2147483647 w 300"/>
                <a:gd name="T93" fmla="*/ 2147483647 h 1194"/>
                <a:gd name="T94" fmla="*/ 2147483647 w 300"/>
                <a:gd name="T95" fmla="*/ 2147483647 h 1194"/>
                <a:gd name="T96" fmla="*/ 2147483647 w 300"/>
                <a:gd name="T97" fmla="*/ 2147483647 h 1194"/>
                <a:gd name="T98" fmla="*/ 2147483647 w 300"/>
                <a:gd name="T99" fmla="*/ 0 h 1194"/>
                <a:gd name="T100" fmla="*/ 2147483647 w 300"/>
                <a:gd name="T101" fmla="*/ 2147483647 h 1194"/>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300"/>
                <a:gd name="T154" fmla="*/ 0 h 1194"/>
                <a:gd name="T155" fmla="*/ 300 w 300"/>
                <a:gd name="T156" fmla="*/ 1194 h 1194"/>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300" h="1194">
                  <a:moveTo>
                    <a:pt x="0" y="1194"/>
                  </a:moveTo>
                  <a:lnTo>
                    <a:pt x="12" y="1188"/>
                  </a:lnTo>
                  <a:lnTo>
                    <a:pt x="36" y="1146"/>
                  </a:lnTo>
                  <a:lnTo>
                    <a:pt x="18" y="1134"/>
                  </a:lnTo>
                  <a:lnTo>
                    <a:pt x="0" y="1194"/>
                  </a:lnTo>
                  <a:close/>
                  <a:moveTo>
                    <a:pt x="114" y="1068"/>
                  </a:moveTo>
                  <a:lnTo>
                    <a:pt x="72" y="1062"/>
                  </a:lnTo>
                  <a:lnTo>
                    <a:pt x="54" y="1134"/>
                  </a:lnTo>
                  <a:lnTo>
                    <a:pt x="66" y="1134"/>
                  </a:lnTo>
                  <a:lnTo>
                    <a:pt x="84" y="1104"/>
                  </a:lnTo>
                  <a:lnTo>
                    <a:pt x="132" y="1074"/>
                  </a:lnTo>
                  <a:lnTo>
                    <a:pt x="120" y="1050"/>
                  </a:lnTo>
                  <a:lnTo>
                    <a:pt x="114" y="1068"/>
                  </a:lnTo>
                  <a:close/>
                  <a:moveTo>
                    <a:pt x="192" y="1008"/>
                  </a:moveTo>
                  <a:lnTo>
                    <a:pt x="186" y="1008"/>
                  </a:lnTo>
                  <a:lnTo>
                    <a:pt x="180" y="1020"/>
                  </a:lnTo>
                  <a:lnTo>
                    <a:pt x="174" y="1026"/>
                  </a:lnTo>
                  <a:lnTo>
                    <a:pt x="168" y="1038"/>
                  </a:lnTo>
                  <a:lnTo>
                    <a:pt x="168" y="1044"/>
                  </a:lnTo>
                  <a:lnTo>
                    <a:pt x="174" y="1050"/>
                  </a:lnTo>
                  <a:lnTo>
                    <a:pt x="180" y="1050"/>
                  </a:lnTo>
                  <a:lnTo>
                    <a:pt x="198" y="1032"/>
                  </a:lnTo>
                  <a:lnTo>
                    <a:pt x="198" y="1014"/>
                  </a:lnTo>
                  <a:lnTo>
                    <a:pt x="192" y="1008"/>
                  </a:lnTo>
                  <a:close/>
                  <a:moveTo>
                    <a:pt x="282" y="636"/>
                  </a:moveTo>
                  <a:lnTo>
                    <a:pt x="264" y="654"/>
                  </a:lnTo>
                  <a:lnTo>
                    <a:pt x="276" y="678"/>
                  </a:lnTo>
                  <a:lnTo>
                    <a:pt x="258" y="678"/>
                  </a:lnTo>
                  <a:lnTo>
                    <a:pt x="258" y="702"/>
                  </a:lnTo>
                  <a:lnTo>
                    <a:pt x="282" y="702"/>
                  </a:lnTo>
                  <a:lnTo>
                    <a:pt x="294" y="684"/>
                  </a:lnTo>
                  <a:lnTo>
                    <a:pt x="282" y="654"/>
                  </a:lnTo>
                  <a:lnTo>
                    <a:pt x="300" y="654"/>
                  </a:lnTo>
                  <a:lnTo>
                    <a:pt x="282" y="636"/>
                  </a:lnTo>
                  <a:close/>
                  <a:moveTo>
                    <a:pt x="276" y="768"/>
                  </a:moveTo>
                  <a:lnTo>
                    <a:pt x="294" y="750"/>
                  </a:lnTo>
                  <a:lnTo>
                    <a:pt x="270" y="732"/>
                  </a:lnTo>
                  <a:lnTo>
                    <a:pt x="276" y="768"/>
                  </a:lnTo>
                  <a:close/>
                  <a:moveTo>
                    <a:pt x="258" y="954"/>
                  </a:moveTo>
                  <a:lnTo>
                    <a:pt x="258" y="924"/>
                  </a:lnTo>
                  <a:lnTo>
                    <a:pt x="240" y="948"/>
                  </a:lnTo>
                  <a:lnTo>
                    <a:pt x="258" y="954"/>
                  </a:lnTo>
                  <a:close/>
                  <a:moveTo>
                    <a:pt x="252" y="858"/>
                  </a:moveTo>
                  <a:lnTo>
                    <a:pt x="270" y="858"/>
                  </a:lnTo>
                  <a:lnTo>
                    <a:pt x="252" y="840"/>
                  </a:lnTo>
                  <a:lnTo>
                    <a:pt x="252" y="858"/>
                  </a:lnTo>
                  <a:close/>
                  <a:moveTo>
                    <a:pt x="126" y="24"/>
                  </a:moveTo>
                  <a:lnTo>
                    <a:pt x="144" y="60"/>
                  </a:lnTo>
                  <a:lnTo>
                    <a:pt x="174" y="24"/>
                  </a:lnTo>
                  <a:lnTo>
                    <a:pt x="162" y="0"/>
                  </a:lnTo>
                  <a:lnTo>
                    <a:pt x="126" y="24"/>
                  </a:lnTo>
                  <a:close/>
                </a:path>
              </a:pathLst>
            </a:custGeom>
            <a:grpFill/>
            <a:ln w="3175">
              <a:solidFill>
                <a:schemeClr val="bg1"/>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de-DE" sz="1800" b="0" i="0" u="none" strike="noStrike" kern="1200" cap="none" spc="0" normalizeH="0" baseline="0" noProof="0">
                <a:ln>
                  <a:noFill/>
                </a:ln>
                <a:solidFill>
                  <a:srgbClr val="FFC000"/>
                </a:solidFill>
                <a:effectLst/>
                <a:uLnTx/>
                <a:uFillTx/>
                <a:latin typeface="Calibri" pitchFamily="34" charset="0"/>
                <a:ea typeface="+mn-ea"/>
                <a:cs typeface="+mn-cs"/>
              </a:endParaRPr>
            </a:p>
          </p:txBody>
        </p:sp>
        <p:sp>
          <p:nvSpPr>
            <p:cNvPr id="62" name="Russia" descr="© INSCALE GmbH, 05.05.2010&#10;http://www.presentationload.com/"/>
            <p:cNvSpPr>
              <a:spLocks noEditPoints="1"/>
            </p:cNvSpPr>
            <p:nvPr/>
          </p:nvSpPr>
          <p:spPr bwMode="gray">
            <a:xfrm>
              <a:off x="4889367" y="2378426"/>
              <a:ext cx="2934675" cy="895321"/>
            </a:xfrm>
            <a:custGeom>
              <a:avLst/>
              <a:gdLst>
                <a:gd name="T0" fmla="*/ 2147483647 w 9048"/>
                <a:gd name="T1" fmla="*/ 2147483647 h 2880"/>
                <a:gd name="T2" fmla="*/ 2147483647 w 9048"/>
                <a:gd name="T3" fmla="*/ 2147483647 h 2880"/>
                <a:gd name="T4" fmla="*/ 2147483647 w 9048"/>
                <a:gd name="T5" fmla="*/ 2147483647 h 2880"/>
                <a:gd name="T6" fmla="*/ 2147483647 w 9048"/>
                <a:gd name="T7" fmla="*/ 2147483647 h 2880"/>
                <a:gd name="T8" fmla="*/ 2147483647 w 9048"/>
                <a:gd name="T9" fmla="*/ 2147483647 h 2880"/>
                <a:gd name="T10" fmla="*/ 2147483647 w 9048"/>
                <a:gd name="T11" fmla="*/ 2147483647 h 2880"/>
                <a:gd name="T12" fmla="*/ 2147483647 w 9048"/>
                <a:gd name="T13" fmla="*/ 2147483647 h 2880"/>
                <a:gd name="T14" fmla="*/ 2147483647 w 9048"/>
                <a:gd name="T15" fmla="*/ 2147483647 h 2880"/>
                <a:gd name="T16" fmla="*/ 2147483647 w 9048"/>
                <a:gd name="T17" fmla="*/ 2147483647 h 2880"/>
                <a:gd name="T18" fmla="*/ 2147483647 w 9048"/>
                <a:gd name="T19" fmla="*/ 2147483647 h 2880"/>
                <a:gd name="T20" fmla="*/ 2147483647 w 9048"/>
                <a:gd name="T21" fmla="*/ 2147483647 h 2880"/>
                <a:gd name="T22" fmla="*/ 2147483647 w 9048"/>
                <a:gd name="T23" fmla="*/ 2147483647 h 2880"/>
                <a:gd name="T24" fmla="*/ 2147483647 w 9048"/>
                <a:gd name="T25" fmla="*/ 2147483647 h 2880"/>
                <a:gd name="T26" fmla="*/ 2147483647 w 9048"/>
                <a:gd name="T27" fmla="*/ 2147483647 h 2880"/>
                <a:gd name="T28" fmla="*/ 2147483647 w 9048"/>
                <a:gd name="T29" fmla="*/ 2147483647 h 2880"/>
                <a:gd name="T30" fmla="*/ 2147483647 w 9048"/>
                <a:gd name="T31" fmla="*/ 2147483647 h 2880"/>
                <a:gd name="T32" fmla="*/ 2147483647 w 9048"/>
                <a:gd name="T33" fmla="*/ 2147483647 h 2880"/>
                <a:gd name="T34" fmla="*/ 2147483647 w 9048"/>
                <a:gd name="T35" fmla="*/ 2147483647 h 2880"/>
                <a:gd name="T36" fmla="*/ 2147483647 w 9048"/>
                <a:gd name="T37" fmla="*/ 2147483647 h 2880"/>
                <a:gd name="T38" fmla="*/ 2147483647 w 9048"/>
                <a:gd name="T39" fmla="*/ 2147483647 h 2880"/>
                <a:gd name="T40" fmla="*/ 2147483647 w 9048"/>
                <a:gd name="T41" fmla="*/ 2147483647 h 2880"/>
                <a:gd name="T42" fmla="*/ 2147483647 w 9048"/>
                <a:gd name="T43" fmla="*/ 2147483647 h 2880"/>
                <a:gd name="T44" fmla="*/ 2147483647 w 9048"/>
                <a:gd name="T45" fmla="*/ 2147483647 h 2880"/>
                <a:gd name="T46" fmla="*/ 2147483647 w 9048"/>
                <a:gd name="T47" fmla="*/ 2147483647 h 2880"/>
                <a:gd name="T48" fmla="*/ 2147483647 w 9048"/>
                <a:gd name="T49" fmla="*/ 2147483647 h 2880"/>
                <a:gd name="T50" fmla="*/ 2147483647 w 9048"/>
                <a:gd name="T51" fmla="*/ 2147483647 h 2880"/>
                <a:gd name="T52" fmla="*/ 2147483647 w 9048"/>
                <a:gd name="T53" fmla="*/ 2147483647 h 2880"/>
                <a:gd name="T54" fmla="*/ 2147483647 w 9048"/>
                <a:gd name="T55" fmla="*/ 2147483647 h 2880"/>
                <a:gd name="T56" fmla="*/ 2147483647 w 9048"/>
                <a:gd name="T57" fmla="*/ 2147483647 h 2880"/>
                <a:gd name="T58" fmla="*/ 2147483647 w 9048"/>
                <a:gd name="T59" fmla="*/ 2147483647 h 2880"/>
                <a:gd name="T60" fmla="*/ 2147483647 w 9048"/>
                <a:gd name="T61" fmla="*/ 2147483647 h 2880"/>
                <a:gd name="T62" fmla="*/ 2147483647 w 9048"/>
                <a:gd name="T63" fmla="*/ 2147483647 h 2880"/>
                <a:gd name="T64" fmla="*/ 2147483647 w 9048"/>
                <a:gd name="T65" fmla="*/ 2147483647 h 2880"/>
                <a:gd name="T66" fmla="*/ 2147483647 w 9048"/>
                <a:gd name="T67" fmla="*/ 2147483647 h 2880"/>
                <a:gd name="T68" fmla="*/ 2147483647 w 9048"/>
                <a:gd name="T69" fmla="*/ 2147483647 h 2880"/>
                <a:gd name="T70" fmla="*/ 2147483647 w 9048"/>
                <a:gd name="T71" fmla="*/ 2147483647 h 2880"/>
                <a:gd name="T72" fmla="*/ 2147483647 w 9048"/>
                <a:gd name="T73" fmla="*/ 2147483647 h 2880"/>
                <a:gd name="T74" fmla="*/ 2147483647 w 9048"/>
                <a:gd name="T75" fmla="*/ 2147483647 h 2880"/>
                <a:gd name="T76" fmla="*/ 2147483647 w 9048"/>
                <a:gd name="T77" fmla="*/ 2147483647 h 2880"/>
                <a:gd name="T78" fmla="*/ 2147483647 w 9048"/>
                <a:gd name="T79" fmla="*/ 2147483647 h 2880"/>
                <a:gd name="T80" fmla="*/ 2147483647 w 9048"/>
                <a:gd name="T81" fmla="*/ 2147483647 h 2880"/>
                <a:gd name="T82" fmla="*/ 2147483647 w 9048"/>
                <a:gd name="T83" fmla="*/ 2147483647 h 2880"/>
                <a:gd name="T84" fmla="*/ 2147483647 w 9048"/>
                <a:gd name="T85" fmla="*/ 2147483647 h 2880"/>
                <a:gd name="T86" fmla="*/ 2147483647 w 9048"/>
                <a:gd name="T87" fmla="*/ 2147483647 h 2880"/>
                <a:gd name="T88" fmla="*/ 2147483647 w 9048"/>
                <a:gd name="T89" fmla="*/ 2147483647 h 2880"/>
                <a:gd name="T90" fmla="*/ 2147483647 w 9048"/>
                <a:gd name="T91" fmla="*/ 2147483647 h 2880"/>
                <a:gd name="T92" fmla="*/ 2147483647 w 9048"/>
                <a:gd name="T93" fmla="*/ 2147483647 h 2880"/>
                <a:gd name="T94" fmla="*/ 2147483647 w 9048"/>
                <a:gd name="T95" fmla="*/ 2147483647 h 2880"/>
                <a:gd name="T96" fmla="*/ 2147483647 w 9048"/>
                <a:gd name="T97" fmla="*/ 2147483647 h 2880"/>
                <a:gd name="T98" fmla="*/ 2147483647 w 9048"/>
                <a:gd name="T99" fmla="*/ 2147483647 h 2880"/>
                <a:gd name="T100" fmla="*/ 2147483647 w 9048"/>
                <a:gd name="T101" fmla="*/ 2147483647 h 2880"/>
                <a:gd name="T102" fmla="*/ 2147483647 w 9048"/>
                <a:gd name="T103" fmla="*/ 2147483647 h 2880"/>
                <a:gd name="T104" fmla="*/ 2147483647 w 9048"/>
                <a:gd name="T105" fmla="*/ 2147483647 h 2880"/>
                <a:gd name="T106" fmla="*/ 2147483647 w 9048"/>
                <a:gd name="T107" fmla="*/ 2147483647 h 2880"/>
                <a:gd name="T108" fmla="*/ 2147483647 w 9048"/>
                <a:gd name="T109" fmla="*/ 2147483647 h 2880"/>
                <a:gd name="T110" fmla="*/ 2147483647 w 9048"/>
                <a:gd name="T111" fmla="*/ 2147483647 h 2880"/>
                <a:gd name="T112" fmla="*/ 2147483647 w 9048"/>
                <a:gd name="T113" fmla="*/ 2147483647 h 2880"/>
                <a:gd name="T114" fmla="*/ 2147483647 w 9048"/>
                <a:gd name="T115" fmla="*/ 2147483647 h 2880"/>
                <a:gd name="T116" fmla="*/ 2147483647 w 9048"/>
                <a:gd name="T117" fmla="*/ 2147483647 h 2880"/>
                <a:gd name="T118" fmla="*/ 2147483647 w 9048"/>
                <a:gd name="T119" fmla="*/ 2147483647 h 2880"/>
                <a:gd name="T120" fmla="*/ 2147483647 w 9048"/>
                <a:gd name="T121" fmla="*/ 2147483647 h 2880"/>
                <a:gd name="T122" fmla="*/ 2147483647 w 9048"/>
                <a:gd name="T123" fmla="*/ 2147483647 h 2880"/>
                <a:gd name="T124" fmla="*/ 2147483647 w 9048"/>
                <a:gd name="T125" fmla="*/ 2147483647 h 2880"/>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9048"/>
                <a:gd name="T190" fmla="*/ 0 h 2880"/>
                <a:gd name="T191" fmla="*/ 9048 w 9048"/>
                <a:gd name="T192" fmla="*/ 2880 h 2880"/>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9048" h="2880">
                  <a:moveTo>
                    <a:pt x="2790" y="546"/>
                  </a:moveTo>
                  <a:lnTo>
                    <a:pt x="2760" y="540"/>
                  </a:lnTo>
                  <a:lnTo>
                    <a:pt x="2736" y="558"/>
                  </a:lnTo>
                  <a:lnTo>
                    <a:pt x="2778" y="570"/>
                  </a:lnTo>
                  <a:lnTo>
                    <a:pt x="2790" y="546"/>
                  </a:lnTo>
                  <a:close/>
                  <a:moveTo>
                    <a:pt x="2832" y="522"/>
                  </a:moveTo>
                  <a:lnTo>
                    <a:pt x="2820" y="516"/>
                  </a:lnTo>
                  <a:lnTo>
                    <a:pt x="2814" y="510"/>
                  </a:lnTo>
                  <a:lnTo>
                    <a:pt x="2808" y="510"/>
                  </a:lnTo>
                  <a:lnTo>
                    <a:pt x="2808" y="528"/>
                  </a:lnTo>
                  <a:lnTo>
                    <a:pt x="2820" y="534"/>
                  </a:lnTo>
                  <a:lnTo>
                    <a:pt x="2832" y="534"/>
                  </a:lnTo>
                  <a:lnTo>
                    <a:pt x="2844" y="540"/>
                  </a:lnTo>
                  <a:lnTo>
                    <a:pt x="2850" y="540"/>
                  </a:lnTo>
                  <a:lnTo>
                    <a:pt x="2850" y="534"/>
                  </a:lnTo>
                  <a:lnTo>
                    <a:pt x="2844" y="528"/>
                  </a:lnTo>
                  <a:lnTo>
                    <a:pt x="2832" y="522"/>
                  </a:lnTo>
                  <a:close/>
                  <a:moveTo>
                    <a:pt x="1704" y="18"/>
                  </a:moveTo>
                  <a:lnTo>
                    <a:pt x="1710" y="18"/>
                  </a:lnTo>
                  <a:lnTo>
                    <a:pt x="1716" y="12"/>
                  </a:lnTo>
                  <a:lnTo>
                    <a:pt x="1728" y="6"/>
                  </a:lnTo>
                  <a:lnTo>
                    <a:pt x="1734" y="0"/>
                  </a:lnTo>
                  <a:lnTo>
                    <a:pt x="1644" y="0"/>
                  </a:lnTo>
                  <a:lnTo>
                    <a:pt x="1638" y="12"/>
                  </a:lnTo>
                  <a:lnTo>
                    <a:pt x="1680" y="12"/>
                  </a:lnTo>
                  <a:lnTo>
                    <a:pt x="1686" y="18"/>
                  </a:lnTo>
                  <a:lnTo>
                    <a:pt x="1704" y="18"/>
                  </a:lnTo>
                  <a:close/>
                  <a:moveTo>
                    <a:pt x="1740" y="60"/>
                  </a:moveTo>
                  <a:lnTo>
                    <a:pt x="1746" y="60"/>
                  </a:lnTo>
                  <a:lnTo>
                    <a:pt x="1758" y="48"/>
                  </a:lnTo>
                  <a:lnTo>
                    <a:pt x="1764" y="48"/>
                  </a:lnTo>
                  <a:lnTo>
                    <a:pt x="1770" y="54"/>
                  </a:lnTo>
                  <a:lnTo>
                    <a:pt x="1782" y="54"/>
                  </a:lnTo>
                  <a:lnTo>
                    <a:pt x="1788" y="60"/>
                  </a:lnTo>
                  <a:lnTo>
                    <a:pt x="1800" y="60"/>
                  </a:lnTo>
                  <a:lnTo>
                    <a:pt x="1812" y="48"/>
                  </a:lnTo>
                  <a:lnTo>
                    <a:pt x="1812" y="36"/>
                  </a:lnTo>
                  <a:lnTo>
                    <a:pt x="1806" y="30"/>
                  </a:lnTo>
                  <a:lnTo>
                    <a:pt x="1794" y="24"/>
                  </a:lnTo>
                  <a:lnTo>
                    <a:pt x="1758" y="24"/>
                  </a:lnTo>
                  <a:lnTo>
                    <a:pt x="1710" y="48"/>
                  </a:lnTo>
                  <a:lnTo>
                    <a:pt x="1716" y="54"/>
                  </a:lnTo>
                  <a:lnTo>
                    <a:pt x="1728" y="60"/>
                  </a:lnTo>
                  <a:lnTo>
                    <a:pt x="1740" y="60"/>
                  </a:lnTo>
                  <a:close/>
                  <a:moveTo>
                    <a:pt x="2382" y="510"/>
                  </a:moveTo>
                  <a:lnTo>
                    <a:pt x="2400" y="504"/>
                  </a:lnTo>
                  <a:lnTo>
                    <a:pt x="2412" y="498"/>
                  </a:lnTo>
                  <a:lnTo>
                    <a:pt x="2412" y="486"/>
                  </a:lnTo>
                  <a:lnTo>
                    <a:pt x="2406" y="486"/>
                  </a:lnTo>
                  <a:lnTo>
                    <a:pt x="2400" y="480"/>
                  </a:lnTo>
                  <a:lnTo>
                    <a:pt x="2346" y="480"/>
                  </a:lnTo>
                  <a:lnTo>
                    <a:pt x="2346" y="492"/>
                  </a:lnTo>
                  <a:lnTo>
                    <a:pt x="2358" y="504"/>
                  </a:lnTo>
                  <a:lnTo>
                    <a:pt x="2370" y="510"/>
                  </a:lnTo>
                  <a:lnTo>
                    <a:pt x="2382" y="510"/>
                  </a:lnTo>
                  <a:close/>
                  <a:moveTo>
                    <a:pt x="1590" y="30"/>
                  </a:moveTo>
                  <a:lnTo>
                    <a:pt x="1548" y="24"/>
                  </a:lnTo>
                  <a:lnTo>
                    <a:pt x="1554" y="36"/>
                  </a:lnTo>
                  <a:lnTo>
                    <a:pt x="1590" y="30"/>
                  </a:lnTo>
                  <a:close/>
                  <a:moveTo>
                    <a:pt x="1890" y="696"/>
                  </a:moveTo>
                  <a:lnTo>
                    <a:pt x="1896" y="708"/>
                  </a:lnTo>
                  <a:lnTo>
                    <a:pt x="1920" y="720"/>
                  </a:lnTo>
                  <a:lnTo>
                    <a:pt x="1950" y="738"/>
                  </a:lnTo>
                  <a:lnTo>
                    <a:pt x="1974" y="744"/>
                  </a:lnTo>
                  <a:lnTo>
                    <a:pt x="1992" y="738"/>
                  </a:lnTo>
                  <a:lnTo>
                    <a:pt x="1980" y="720"/>
                  </a:lnTo>
                  <a:lnTo>
                    <a:pt x="1950" y="702"/>
                  </a:lnTo>
                  <a:lnTo>
                    <a:pt x="1914" y="696"/>
                  </a:lnTo>
                  <a:lnTo>
                    <a:pt x="1890" y="696"/>
                  </a:lnTo>
                  <a:close/>
                  <a:moveTo>
                    <a:pt x="3108" y="126"/>
                  </a:moveTo>
                  <a:lnTo>
                    <a:pt x="3120" y="108"/>
                  </a:lnTo>
                  <a:lnTo>
                    <a:pt x="3030" y="108"/>
                  </a:lnTo>
                  <a:lnTo>
                    <a:pt x="3108" y="126"/>
                  </a:lnTo>
                  <a:close/>
                  <a:moveTo>
                    <a:pt x="1560" y="102"/>
                  </a:moveTo>
                  <a:lnTo>
                    <a:pt x="1632" y="102"/>
                  </a:lnTo>
                  <a:lnTo>
                    <a:pt x="1608" y="84"/>
                  </a:lnTo>
                  <a:lnTo>
                    <a:pt x="1560" y="102"/>
                  </a:lnTo>
                  <a:close/>
                  <a:moveTo>
                    <a:pt x="1572" y="60"/>
                  </a:moveTo>
                  <a:lnTo>
                    <a:pt x="1584" y="66"/>
                  </a:lnTo>
                  <a:lnTo>
                    <a:pt x="1596" y="78"/>
                  </a:lnTo>
                  <a:lnTo>
                    <a:pt x="1620" y="66"/>
                  </a:lnTo>
                  <a:lnTo>
                    <a:pt x="1620" y="72"/>
                  </a:lnTo>
                  <a:lnTo>
                    <a:pt x="1644" y="72"/>
                  </a:lnTo>
                  <a:lnTo>
                    <a:pt x="1668" y="60"/>
                  </a:lnTo>
                  <a:lnTo>
                    <a:pt x="1674" y="54"/>
                  </a:lnTo>
                  <a:lnTo>
                    <a:pt x="1680" y="54"/>
                  </a:lnTo>
                  <a:lnTo>
                    <a:pt x="1626" y="48"/>
                  </a:lnTo>
                  <a:lnTo>
                    <a:pt x="1614" y="54"/>
                  </a:lnTo>
                  <a:lnTo>
                    <a:pt x="1608" y="54"/>
                  </a:lnTo>
                  <a:lnTo>
                    <a:pt x="1602" y="48"/>
                  </a:lnTo>
                  <a:lnTo>
                    <a:pt x="1584" y="48"/>
                  </a:lnTo>
                  <a:lnTo>
                    <a:pt x="1572" y="60"/>
                  </a:lnTo>
                  <a:close/>
                  <a:moveTo>
                    <a:pt x="1662" y="36"/>
                  </a:moveTo>
                  <a:lnTo>
                    <a:pt x="1602" y="36"/>
                  </a:lnTo>
                  <a:lnTo>
                    <a:pt x="1650" y="48"/>
                  </a:lnTo>
                  <a:lnTo>
                    <a:pt x="1662" y="36"/>
                  </a:lnTo>
                  <a:close/>
                  <a:moveTo>
                    <a:pt x="1542" y="522"/>
                  </a:moveTo>
                  <a:lnTo>
                    <a:pt x="1500" y="528"/>
                  </a:lnTo>
                  <a:lnTo>
                    <a:pt x="1512" y="552"/>
                  </a:lnTo>
                  <a:lnTo>
                    <a:pt x="1542" y="534"/>
                  </a:lnTo>
                  <a:lnTo>
                    <a:pt x="1524" y="558"/>
                  </a:lnTo>
                  <a:lnTo>
                    <a:pt x="1518" y="558"/>
                  </a:lnTo>
                  <a:lnTo>
                    <a:pt x="1512" y="564"/>
                  </a:lnTo>
                  <a:lnTo>
                    <a:pt x="1506" y="564"/>
                  </a:lnTo>
                  <a:lnTo>
                    <a:pt x="1494" y="570"/>
                  </a:lnTo>
                  <a:lnTo>
                    <a:pt x="1488" y="576"/>
                  </a:lnTo>
                  <a:lnTo>
                    <a:pt x="1488" y="582"/>
                  </a:lnTo>
                  <a:lnTo>
                    <a:pt x="1500" y="594"/>
                  </a:lnTo>
                  <a:lnTo>
                    <a:pt x="1524" y="606"/>
                  </a:lnTo>
                  <a:lnTo>
                    <a:pt x="1566" y="606"/>
                  </a:lnTo>
                  <a:lnTo>
                    <a:pt x="1590" y="612"/>
                  </a:lnTo>
                  <a:lnTo>
                    <a:pt x="1608" y="618"/>
                  </a:lnTo>
                  <a:lnTo>
                    <a:pt x="1614" y="624"/>
                  </a:lnTo>
                  <a:lnTo>
                    <a:pt x="1620" y="636"/>
                  </a:lnTo>
                  <a:lnTo>
                    <a:pt x="1620" y="648"/>
                  </a:lnTo>
                  <a:lnTo>
                    <a:pt x="1626" y="654"/>
                  </a:lnTo>
                  <a:lnTo>
                    <a:pt x="1626" y="660"/>
                  </a:lnTo>
                  <a:lnTo>
                    <a:pt x="1644" y="660"/>
                  </a:lnTo>
                  <a:lnTo>
                    <a:pt x="1662" y="666"/>
                  </a:lnTo>
                  <a:lnTo>
                    <a:pt x="1674" y="666"/>
                  </a:lnTo>
                  <a:lnTo>
                    <a:pt x="1692" y="672"/>
                  </a:lnTo>
                  <a:lnTo>
                    <a:pt x="1704" y="672"/>
                  </a:lnTo>
                  <a:lnTo>
                    <a:pt x="1818" y="666"/>
                  </a:lnTo>
                  <a:lnTo>
                    <a:pt x="1806" y="666"/>
                  </a:lnTo>
                  <a:lnTo>
                    <a:pt x="1734" y="642"/>
                  </a:lnTo>
                  <a:lnTo>
                    <a:pt x="1704" y="618"/>
                  </a:lnTo>
                  <a:lnTo>
                    <a:pt x="1692" y="600"/>
                  </a:lnTo>
                  <a:lnTo>
                    <a:pt x="1686" y="588"/>
                  </a:lnTo>
                  <a:lnTo>
                    <a:pt x="1674" y="582"/>
                  </a:lnTo>
                  <a:lnTo>
                    <a:pt x="1674" y="570"/>
                  </a:lnTo>
                  <a:lnTo>
                    <a:pt x="1668" y="564"/>
                  </a:lnTo>
                  <a:lnTo>
                    <a:pt x="1692" y="516"/>
                  </a:lnTo>
                  <a:lnTo>
                    <a:pt x="1686" y="510"/>
                  </a:lnTo>
                  <a:lnTo>
                    <a:pt x="1686" y="504"/>
                  </a:lnTo>
                  <a:lnTo>
                    <a:pt x="1674" y="504"/>
                  </a:lnTo>
                  <a:lnTo>
                    <a:pt x="1710" y="498"/>
                  </a:lnTo>
                  <a:lnTo>
                    <a:pt x="1698" y="480"/>
                  </a:lnTo>
                  <a:lnTo>
                    <a:pt x="1734" y="480"/>
                  </a:lnTo>
                  <a:lnTo>
                    <a:pt x="1710" y="468"/>
                  </a:lnTo>
                  <a:lnTo>
                    <a:pt x="1734" y="474"/>
                  </a:lnTo>
                  <a:lnTo>
                    <a:pt x="1740" y="462"/>
                  </a:lnTo>
                  <a:lnTo>
                    <a:pt x="1722" y="450"/>
                  </a:lnTo>
                  <a:lnTo>
                    <a:pt x="1764" y="450"/>
                  </a:lnTo>
                  <a:lnTo>
                    <a:pt x="1770" y="444"/>
                  </a:lnTo>
                  <a:lnTo>
                    <a:pt x="1752" y="426"/>
                  </a:lnTo>
                  <a:lnTo>
                    <a:pt x="1782" y="432"/>
                  </a:lnTo>
                  <a:lnTo>
                    <a:pt x="1782" y="402"/>
                  </a:lnTo>
                  <a:lnTo>
                    <a:pt x="1788" y="408"/>
                  </a:lnTo>
                  <a:lnTo>
                    <a:pt x="1800" y="414"/>
                  </a:lnTo>
                  <a:lnTo>
                    <a:pt x="1812" y="414"/>
                  </a:lnTo>
                  <a:lnTo>
                    <a:pt x="1830" y="408"/>
                  </a:lnTo>
                  <a:lnTo>
                    <a:pt x="1842" y="402"/>
                  </a:lnTo>
                  <a:lnTo>
                    <a:pt x="1860" y="390"/>
                  </a:lnTo>
                  <a:lnTo>
                    <a:pt x="1878" y="372"/>
                  </a:lnTo>
                  <a:lnTo>
                    <a:pt x="1896" y="372"/>
                  </a:lnTo>
                  <a:lnTo>
                    <a:pt x="1938" y="366"/>
                  </a:lnTo>
                  <a:lnTo>
                    <a:pt x="1992" y="354"/>
                  </a:lnTo>
                  <a:lnTo>
                    <a:pt x="2046" y="348"/>
                  </a:lnTo>
                  <a:lnTo>
                    <a:pt x="2094" y="336"/>
                  </a:lnTo>
                  <a:lnTo>
                    <a:pt x="2124" y="330"/>
                  </a:lnTo>
                  <a:lnTo>
                    <a:pt x="2136" y="324"/>
                  </a:lnTo>
                  <a:lnTo>
                    <a:pt x="2154" y="318"/>
                  </a:lnTo>
                  <a:lnTo>
                    <a:pt x="2160" y="312"/>
                  </a:lnTo>
                  <a:lnTo>
                    <a:pt x="2166" y="300"/>
                  </a:lnTo>
                  <a:lnTo>
                    <a:pt x="2166" y="294"/>
                  </a:lnTo>
                  <a:lnTo>
                    <a:pt x="2154" y="282"/>
                  </a:lnTo>
                  <a:lnTo>
                    <a:pt x="2136" y="276"/>
                  </a:lnTo>
                  <a:lnTo>
                    <a:pt x="2088" y="270"/>
                  </a:lnTo>
                  <a:lnTo>
                    <a:pt x="2046" y="276"/>
                  </a:lnTo>
                  <a:lnTo>
                    <a:pt x="2016" y="288"/>
                  </a:lnTo>
                  <a:lnTo>
                    <a:pt x="1980" y="300"/>
                  </a:lnTo>
                  <a:lnTo>
                    <a:pt x="1938" y="318"/>
                  </a:lnTo>
                  <a:lnTo>
                    <a:pt x="1860" y="318"/>
                  </a:lnTo>
                  <a:lnTo>
                    <a:pt x="1842" y="312"/>
                  </a:lnTo>
                  <a:lnTo>
                    <a:pt x="1824" y="312"/>
                  </a:lnTo>
                  <a:lnTo>
                    <a:pt x="1806" y="336"/>
                  </a:lnTo>
                  <a:lnTo>
                    <a:pt x="1782" y="318"/>
                  </a:lnTo>
                  <a:lnTo>
                    <a:pt x="1728" y="342"/>
                  </a:lnTo>
                  <a:lnTo>
                    <a:pt x="1698" y="342"/>
                  </a:lnTo>
                  <a:lnTo>
                    <a:pt x="1668" y="366"/>
                  </a:lnTo>
                  <a:lnTo>
                    <a:pt x="1692" y="372"/>
                  </a:lnTo>
                  <a:lnTo>
                    <a:pt x="1644" y="372"/>
                  </a:lnTo>
                  <a:lnTo>
                    <a:pt x="1614" y="378"/>
                  </a:lnTo>
                  <a:lnTo>
                    <a:pt x="1614" y="396"/>
                  </a:lnTo>
                  <a:lnTo>
                    <a:pt x="1638" y="378"/>
                  </a:lnTo>
                  <a:lnTo>
                    <a:pt x="1644" y="396"/>
                  </a:lnTo>
                  <a:lnTo>
                    <a:pt x="1668" y="396"/>
                  </a:lnTo>
                  <a:lnTo>
                    <a:pt x="1662" y="408"/>
                  </a:lnTo>
                  <a:lnTo>
                    <a:pt x="1620" y="408"/>
                  </a:lnTo>
                  <a:lnTo>
                    <a:pt x="1614" y="420"/>
                  </a:lnTo>
                  <a:lnTo>
                    <a:pt x="1644" y="426"/>
                  </a:lnTo>
                  <a:lnTo>
                    <a:pt x="1596" y="432"/>
                  </a:lnTo>
                  <a:lnTo>
                    <a:pt x="1632" y="438"/>
                  </a:lnTo>
                  <a:lnTo>
                    <a:pt x="1584" y="444"/>
                  </a:lnTo>
                  <a:lnTo>
                    <a:pt x="1584" y="462"/>
                  </a:lnTo>
                  <a:lnTo>
                    <a:pt x="1554" y="474"/>
                  </a:lnTo>
                  <a:lnTo>
                    <a:pt x="1560" y="486"/>
                  </a:lnTo>
                  <a:lnTo>
                    <a:pt x="1602" y="468"/>
                  </a:lnTo>
                  <a:lnTo>
                    <a:pt x="1590" y="498"/>
                  </a:lnTo>
                  <a:lnTo>
                    <a:pt x="1554" y="498"/>
                  </a:lnTo>
                  <a:lnTo>
                    <a:pt x="1542" y="504"/>
                  </a:lnTo>
                  <a:lnTo>
                    <a:pt x="1542" y="522"/>
                  </a:lnTo>
                  <a:close/>
                  <a:moveTo>
                    <a:pt x="5778" y="498"/>
                  </a:moveTo>
                  <a:lnTo>
                    <a:pt x="5850" y="486"/>
                  </a:lnTo>
                  <a:lnTo>
                    <a:pt x="5958" y="504"/>
                  </a:lnTo>
                  <a:lnTo>
                    <a:pt x="5952" y="492"/>
                  </a:lnTo>
                  <a:lnTo>
                    <a:pt x="5940" y="486"/>
                  </a:lnTo>
                  <a:lnTo>
                    <a:pt x="5928" y="474"/>
                  </a:lnTo>
                  <a:lnTo>
                    <a:pt x="5904" y="462"/>
                  </a:lnTo>
                  <a:lnTo>
                    <a:pt x="5844" y="462"/>
                  </a:lnTo>
                  <a:lnTo>
                    <a:pt x="5808" y="468"/>
                  </a:lnTo>
                  <a:lnTo>
                    <a:pt x="5796" y="468"/>
                  </a:lnTo>
                  <a:lnTo>
                    <a:pt x="5778" y="498"/>
                  </a:lnTo>
                  <a:close/>
                  <a:moveTo>
                    <a:pt x="5784" y="378"/>
                  </a:moveTo>
                  <a:lnTo>
                    <a:pt x="5838" y="384"/>
                  </a:lnTo>
                  <a:lnTo>
                    <a:pt x="5844" y="378"/>
                  </a:lnTo>
                  <a:lnTo>
                    <a:pt x="5850" y="366"/>
                  </a:lnTo>
                  <a:lnTo>
                    <a:pt x="5838" y="354"/>
                  </a:lnTo>
                  <a:lnTo>
                    <a:pt x="5802" y="354"/>
                  </a:lnTo>
                  <a:lnTo>
                    <a:pt x="5742" y="342"/>
                  </a:lnTo>
                  <a:lnTo>
                    <a:pt x="5724" y="342"/>
                  </a:lnTo>
                  <a:lnTo>
                    <a:pt x="5718" y="348"/>
                  </a:lnTo>
                  <a:lnTo>
                    <a:pt x="5730" y="354"/>
                  </a:lnTo>
                  <a:lnTo>
                    <a:pt x="5742" y="366"/>
                  </a:lnTo>
                  <a:lnTo>
                    <a:pt x="5754" y="372"/>
                  </a:lnTo>
                  <a:lnTo>
                    <a:pt x="5772" y="372"/>
                  </a:lnTo>
                  <a:lnTo>
                    <a:pt x="5778" y="378"/>
                  </a:lnTo>
                  <a:lnTo>
                    <a:pt x="5784" y="378"/>
                  </a:lnTo>
                  <a:close/>
                  <a:moveTo>
                    <a:pt x="5724" y="432"/>
                  </a:moveTo>
                  <a:lnTo>
                    <a:pt x="5712" y="444"/>
                  </a:lnTo>
                  <a:lnTo>
                    <a:pt x="5712" y="456"/>
                  </a:lnTo>
                  <a:lnTo>
                    <a:pt x="5724" y="462"/>
                  </a:lnTo>
                  <a:lnTo>
                    <a:pt x="5772" y="462"/>
                  </a:lnTo>
                  <a:lnTo>
                    <a:pt x="5778" y="456"/>
                  </a:lnTo>
                  <a:lnTo>
                    <a:pt x="5778" y="450"/>
                  </a:lnTo>
                  <a:lnTo>
                    <a:pt x="5766" y="438"/>
                  </a:lnTo>
                  <a:lnTo>
                    <a:pt x="5742" y="426"/>
                  </a:lnTo>
                  <a:lnTo>
                    <a:pt x="5730" y="426"/>
                  </a:lnTo>
                  <a:lnTo>
                    <a:pt x="5724" y="432"/>
                  </a:lnTo>
                  <a:close/>
                  <a:moveTo>
                    <a:pt x="3072" y="96"/>
                  </a:moveTo>
                  <a:lnTo>
                    <a:pt x="3192" y="96"/>
                  </a:lnTo>
                  <a:lnTo>
                    <a:pt x="3204" y="90"/>
                  </a:lnTo>
                  <a:lnTo>
                    <a:pt x="3228" y="90"/>
                  </a:lnTo>
                  <a:lnTo>
                    <a:pt x="3240" y="84"/>
                  </a:lnTo>
                  <a:lnTo>
                    <a:pt x="3240" y="72"/>
                  </a:lnTo>
                  <a:lnTo>
                    <a:pt x="3222" y="60"/>
                  </a:lnTo>
                  <a:lnTo>
                    <a:pt x="3192" y="42"/>
                  </a:lnTo>
                  <a:lnTo>
                    <a:pt x="3156" y="30"/>
                  </a:lnTo>
                  <a:lnTo>
                    <a:pt x="3132" y="24"/>
                  </a:lnTo>
                  <a:lnTo>
                    <a:pt x="3120" y="18"/>
                  </a:lnTo>
                  <a:lnTo>
                    <a:pt x="3108" y="18"/>
                  </a:lnTo>
                  <a:lnTo>
                    <a:pt x="3096" y="12"/>
                  </a:lnTo>
                  <a:lnTo>
                    <a:pt x="3060" y="12"/>
                  </a:lnTo>
                  <a:lnTo>
                    <a:pt x="3048" y="18"/>
                  </a:lnTo>
                  <a:lnTo>
                    <a:pt x="3036" y="18"/>
                  </a:lnTo>
                  <a:lnTo>
                    <a:pt x="3030" y="30"/>
                  </a:lnTo>
                  <a:lnTo>
                    <a:pt x="3030" y="42"/>
                  </a:lnTo>
                  <a:lnTo>
                    <a:pt x="3036" y="54"/>
                  </a:lnTo>
                  <a:lnTo>
                    <a:pt x="3048" y="66"/>
                  </a:lnTo>
                  <a:lnTo>
                    <a:pt x="3054" y="78"/>
                  </a:lnTo>
                  <a:lnTo>
                    <a:pt x="3072" y="96"/>
                  </a:lnTo>
                  <a:close/>
                  <a:moveTo>
                    <a:pt x="6138" y="408"/>
                  </a:moveTo>
                  <a:lnTo>
                    <a:pt x="6144" y="402"/>
                  </a:lnTo>
                  <a:lnTo>
                    <a:pt x="6132" y="396"/>
                  </a:lnTo>
                  <a:lnTo>
                    <a:pt x="6102" y="390"/>
                  </a:lnTo>
                  <a:lnTo>
                    <a:pt x="6036" y="390"/>
                  </a:lnTo>
                  <a:lnTo>
                    <a:pt x="6012" y="366"/>
                  </a:lnTo>
                  <a:lnTo>
                    <a:pt x="6000" y="360"/>
                  </a:lnTo>
                  <a:lnTo>
                    <a:pt x="5970" y="360"/>
                  </a:lnTo>
                  <a:lnTo>
                    <a:pt x="5958" y="366"/>
                  </a:lnTo>
                  <a:lnTo>
                    <a:pt x="5910" y="366"/>
                  </a:lnTo>
                  <a:lnTo>
                    <a:pt x="5946" y="390"/>
                  </a:lnTo>
                  <a:lnTo>
                    <a:pt x="5964" y="396"/>
                  </a:lnTo>
                  <a:lnTo>
                    <a:pt x="6000" y="402"/>
                  </a:lnTo>
                  <a:lnTo>
                    <a:pt x="6054" y="414"/>
                  </a:lnTo>
                  <a:lnTo>
                    <a:pt x="6102" y="414"/>
                  </a:lnTo>
                  <a:lnTo>
                    <a:pt x="6138" y="408"/>
                  </a:lnTo>
                  <a:close/>
                  <a:moveTo>
                    <a:pt x="7602" y="744"/>
                  </a:moveTo>
                  <a:lnTo>
                    <a:pt x="7596" y="732"/>
                  </a:lnTo>
                  <a:lnTo>
                    <a:pt x="7572" y="726"/>
                  </a:lnTo>
                  <a:lnTo>
                    <a:pt x="7512" y="714"/>
                  </a:lnTo>
                  <a:lnTo>
                    <a:pt x="7500" y="714"/>
                  </a:lnTo>
                  <a:lnTo>
                    <a:pt x="7512" y="726"/>
                  </a:lnTo>
                  <a:lnTo>
                    <a:pt x="7548" y="738"/>
                  </a:lnTo>
                  <a:lnTo>
                    <a:pt x="7584" y="744"/>
                  </a:lnTo>
                  <a:lnTo>
                    <a:pt x="7602" y="744"/>
                  </a:lnTo>
                  <a:close/>
                  <a:moveTo>
                    <a:pt x="3162" y="120"/>
                  </a:moveTo>
                  <a:lnTo>
                    <a:pt x="3216" y="138"/>
                  </a:lnTo>
                  <a:lnTo>
                    <a:pt x="3246" y="144"/>
                  </a:lnTo>
                  <a:lnTo>
                    <a:pt x="3264" y="144"/>
                  </a:lnTo>
                  <a:lnTo>
                    <a:pt x="3312" y="138"/>
                  </a:lnTo>
                  <a:lnTo>
                    <a:pt x="3372" y="156"/>
                  </a:lnTo>
                  <a:lnTo>
                    <a:pt x="3432" y="156"/>
                  </a:lnTo>
                  <a:lnTo>
                    <a:pt x="3426" y="138"/>
                  </a:lnTo>
                  <a:lnTo>
                    <a:pt x="3402" y="102"/>
                  </a:lnTo>
                  <a:lnTo>
                    <a:pt x="3384" y="96"/>
                  </a:lnTo>
                  <a:lnTo>
                    <a:pt x="3372" y="90"/>
                  </a:lnTo>
                  <a:lnTo>
                    <a:pt x="3354" y="96"/>
                  </a:lnTo>
                  <a:lnTo>
                    <a:pt x="3318" y="114"/>
                  </a:lnTo>
                  <a:lnTo>
                    <a:pt x="3294" y="90"/>
                  </a:lnTo>
                  <a:lnTo>
                    <a:pt x="3282" y="90"/>
                  </a:lnTo>
                  <a:lnTo>
                    <a:pt x="3210" y="102"/>
                  </a:lnTo>
                  <a:lnTo>
                    <a:pt x="3174" y="114"/>
                  </a:lnTo>
                  <a:lnTo>
                    <a:pt x="3162" y="120"/>
                  </a:lnTo>
                  <a:close/>
                  <a:moveTo>
                    <a:pt x="3582" y="198"/>
                  </a:moveTo>
                  <a:lnTo>
                    <a:pt x="3744" y="192"/>
                  </a:lnTo>
                  <a:lnTo>
                    <a:pt x="3702" y="168"/>
                  </a:lnTo>
                  <a:lnTo>
                    <a:pt x="3696" y="168"/>
                  </a:lnTo>
                  <a:lnTo>
                    <a:pt x="3690" y="162"/>
                  </a:lnTo>
                  <a:lnTo>
                    <a:pt x="3666" y="150"/>
                  </a:lnTo>
                  <a:lnTo>
                    <a:pt x="3648" y="144"/>
                  </a:lnTo>
                  <a:lnTo>
                    <a:pt x="3636" y="138"/>
                  </a:lnTo>
                  <a:lnTo>
                    <a:pt x="3618" y="138"/>
                  </a:lnTo>
                  <a:lnTo>
                    <a:pt x="3606" y="144"/>
                  </a:lnTo>
                  <a:lnTo>
                    <a:pt x="3600" y="150"/>
                  </a:lnTo>
                  <a:lnTo>
                    <a:pt x="3588" y="156"/>
                  </a:lnTo>
                  <a:lnTo>
                    <a:pt x="3588" y="150"/>
                  </a:lnTo>
                  <a:lnTo>
                    <a:pt x="3582" y="144"/>
                  </a:lnTo>
                  <a:lnTo>
                    <a:pt x="3576" y="132"/>
                  </a:lnTo>
                  <a:lnTo>
                    <a:pt x="3570" y="126"/>
                  </a:lnTo>
                  <a:lnTo>
                    <a:pt x="3546" y="114"/>
                  </a:lnTo>
                  <a:lnTo>
                    <a:pt x="3522" y="126"/>
                  </a:lnTo>
                  <a:lnTo>
                    <a:pt x="3504" y="162"/>
                  </a:lnTo>
                  <a:lnTo>
                    <a:pt x="3498" y="192"/>
                  </a:lnTo>
                  <a:lnTo>
                    <a:pt x="3492" y="210"/>
                  </a:lnTo>
                  <a:lnTo>
                    <a:pt x="3516" y="222"/>
                  </a:lnTo>
                  <a:lnTo>
                    <a:pt x="3534" y="216"/>
                  </a:lnTo>
                  <a:lnTo>
                    <a:pt x="3546" y="216"/>
                  </a:lnTo>
                  <a:lnTo>
                    <a:pt x="3582" y="198"/>
                  </a:lnTo>
                  <a:close/>
                  <a:moveTo>
                    <a:pt x="5622" y="420"/>
                  </a:moveTo>
                  <a:lnTo>
                    <a:pt x="5640" y="390"/>
                  </a:lnTo>
                  <a:lnTo>
                    <a:pt x="5754" y="390"/>
                  </a:lnTo>
                  <a:lnTo>
                    <a:pt x="5688" y="360"/>
                  </a:lnTo>
                  <a:lnTo>
                    <a:pt x="5700" y="336"/>
                  </a:lnTo>
                  <a:lnTo>
                    <a:pt x="5610" y="318"/>
                  </a:lnTo>
                  <a:lnTo>
                    <a:pt x="5628" y="348"/>
                  </a:lnTo>
                  <a:lnTo>
                    <a:pt x="5616" y="342"/>
                  </a:lnTo>
                  <a:lnTo>
                    <a:pt x="5592" y="336"/>
                  </a:lnTo>
                  <a:lnTo>
                    <a:pt x="5556" y="330"/>
                  </a:lnTo>
                  <a:lnTo>
                    <a:pt x="5514" y="318"/>
                  </a:lnTo>
                  <a:lnTo>
                    <a:pt x="5454" y="318"/>
                  </a:lnTo>
                  <a:lnTo>
                    <a:pt x="5448" y="330"/>
                  </a:lnTo>
                  <a:lnTo>
                    <a:pt x="5460" y="354"/>
                  </a:lnTo>
                  <a:lnTo>
                    <a:pt x="5496" y="372"/>
                  </a:lnTo>
                  <a:lnTo>
                    <a:pt x="5538" y="390"/>
                  </a:lnTo>
                  <a:lnTo>
                    <a:pt x="5574" y="408"/>
                  </a:lnTo>
                  <a:lnTo>
                    <a:pt x="5610" y="414"/>
                  </a:lnTo>
                  <a:lnTo>
                    <a:pt x="5622" y="420"/>
                  </a:lnTo>
                  <a:close/>
                  <a:moveTo>
                    <a:pt x="4320" y="432"/>
                  </a:moveTo>
                  <a:lnTo>
                    <a:pt x="4368" y="444"/>
                  </a:lnTo>
                  <a:lnTo>
                    <a:pt x="4380" y="444"/>
                  </a:lnTo>
                  <a:lnTo>
                    <a:pt x="4392" y="438"/>
                  </a:lnTo>
                  <a:lnTo>
                    <a:pt x="4398" y="438"/>
                  </a:lnTo>
                  <a:lnTo>
                    <a:pt x="4404" y="432"/>
                  </a:lnTo>
                  <a:lnTo>
                    <a:pt x="4404" y="426"/>
                  </a:lnTo>
                  <a:lnTo>
                    <a:pt x="4398" y="426"/>
                  </a:lnTo>
                  <a:lnTo>
                    <a:pt x="4362" y="414"/>
                  </a:lnTo>
                  <a:lnTo>
                    <a:pt x="4344" y="420"/>
                  </a:lnTo>
                  <a:lnTo>
                    <a:pt x="4332" y="420"/>
                  </a:lnTo>
                  <a:lnTo>
                    <a:pt x="4320" y="432"/>
                  </a:lnTo>
                  <a:close/>
                  <a:moveTo>
                    <a:pt x="5424" y="354"/>
                  </a:moveTo>
                  <a:lnTo>
                    <a:pt x="5370" y="336"/>
                  </a:lnTo>
                  <a:lnTo>
                    <a:pt x="5394" y="366"/>
                  </a:lnTo>
                  <a:lnTo>
                    <a:pt x="5424" y="354"/>
                  </a:lnTo>
                  <a:close/>
                  <a:moveTo>
                    <a:pt x="7986" y="666"/>
                  </a:moveTo>
                  <a:lnTo>
                    <a:pt x="8034" y="654"/>
                  </a:lnTo>
                  <a:lnTo>
                    <a:pt x="8088" y="654"/>
                  </a:lnTo>
                  <a:lnTo>
                    <a:pt x="8100" y="648"/>
                  </a:lnTo>
                  <a:lnTo>
                    <a:pt x="8106" y="642"/>
                  </a:lnTo>
                  <a:lnTo>
                    <a:pt x="8106" y="636"/>
                  </a:lnTo>
                  <a:lnTo>
                    <a:pt x="8100" y="630"/>
                  </a:lnTo>
                  <a:lnTo>
                    <a:pt x="8088" y="630"/>
                  </a:lnTo>
                  <a:lnTo>
                    <a:pt x="8052" y="618"/>
                  </a:lnTo>
                  <a:lnTo>
                    <a:pt x="8028" y="612"/>
                  </a:lnTo>
                  <a:lnTo>
                    <a:pt x="8010" y="606"/>
                  </a:lnTo>
                  <a:lnTo>
                    <a:pt x="7968" y="606"/>
                  </a:lnTo>
                  <a:lnTo>
                    <a:pt x="7944" y="618"/>
                  </a:lnTo>
                  <a:lnTo>
                    <a:pt x="7938" y="630"/>
                  </a:lnTo>
                  <a:lnTo>
                    <a:pt x="7938" y="654"/>
                  </a:lnTo>
                  <a:lnTo>
                    <a:pt x="7944" y="666"/>
                  </a:lnTo>
                  <a:lnTo>
                    <a:pt x="7950" y="666"/>
                  </a:lnTo>
                  <a:lnTo>
                    <a:pt x="7962" y="672"/>
                  </a:lnTo>
                  <a:lnTo>
                    <a:pt x="7968" y="672"/>
                  </a:lnTo>
                  <a:lnTo>
                    <a:pt x="7980" y="666"/>
                  </a:lnTo>
                  <a:lnTo>
                    <a:pt x="7986" y="666"/>
                  </a:lnTo>
                  <a:close/>
                  <a:moveTo>
                    <a:pt x="162" y="1788"/>
                  </a:moveTo>
                  <a:lnTo>
                    <a:pt x="150" y="1788"/>
                  </a:lnTo>
                  <a:lnTo>
                    <a:pt x="138" y="1794"/>
                  </a:lnTo>
                  <a:lnTo>
                    <a:pt x="114" y="1794"/>
                  </a:lnTo>
                  <a:lnTo>
                    <a:pt x="108" y="1788"/>
                  </a:lnTo>
                  <a:lnTo>
                    <a:pt x="96" y="1788"/>
                  </a:lnTo>
                  <a:lnTo>
                    <a:pt x="96" y="1782"/>
                  </a:lnTo>
                  <a:lnTo>
                    <a:pt x="84" y="1782"/>
                  </a:lnTo>
                  <a:lnTo>
                    <a:pt x="84" y="1788"/>
                  </a:lnTo>
                  <a:lnTo>
                    <a:pt x="72" y="1800"/>
                  </a:lnTo>
                  <a:lnTo>
                    <a:pt x="12" y="1800"/>
                  </a:lnTo>
                  <a:lnTo>
                    <a:pt x="0" y="1812"/>
                  </a:lnTo>
                  <a:lnTo>
                    <a:pt x="0" y="1818"/>
                  </a:lnTo>
                  <a:lnTo>
                    <a:pt x="12" y="1830"/>
                  </a:lnTo>
                  <a:lnTo>
                    <a:pt x="6" y="1842"/>
                  </a:lnTo>
                  <a:lnTo>
                    <a:pt x="12" y="1848"/>
                  </a:lnTo>
                  <a:lnTo>
                    <a:pt x="18" y="1848"/>
                  </a:lnTo>
                  <a:lnTo>
                    <a:pt x="24" y="1842"/>
                  </a:lnTo>
                  <a:lnTo>
                    <a:pt x="48" y="1842"/>
                  </a:lnTo>
                  <a:lnTo>
                    <a:pt x="54" y="1848"/>
                  </a:lnTo>
                  <a:lnTo>
                    <a:pt x="66" y="1848"/>
                  </a:lnTo>
                  <a:lnTo>
                    <a:pt x="72" y="1854"/>
                  </a:lnTo>
                  <a:lnTo>
                    <a:pt x="162" y="1854"/>
                  </a:lnTo>
                  <a:lnTo>
                    <a:pt x="162" y="1848"/>
                  </a:lnTo>
                  <a:lnTo>
                    <a:pt x="168" y="1848"/>
                  </a:lnTo>
                  <a:lnTo>
                    <a:pt x="162" y="1830"/>
                  </a:lnTo>
                  <a:lnTo>
                    <a:pt x="174" y="1818"/>
                  </a:lnTo>
                  <a:lnTo>
                    <a:pt x="174" y="1800"/>
                  </a:lnTo>
                  <a:lnTo>
                    <a:pt x="168" y="1788"/>
                  </a:lnTo>
                  <a:lnTo>
                    <a:pt x="162" y="1788"/>
                  </a:lnTo>
                  <a:close/>
                  <a:moveTo>
                    <a:pt x="1038" y="90"/>
                  </a:moveTo>
                  <a:lnTo>
                    <a:pt x="1062" y="72"/>
                  </a:lnTo>
                  <a:lnTo>
                    <a:pt x="1032" y="72"/>
                  </a:lnTo>
                  <a:lnTo>
                    <a:pt x="1032" y="84"/>
                  </a:lnTo>
                  <a:lnTo>
                    <a:pt x="1038" y="90"/>
                  </a:lnTo>
                  <a:close/>
                  <a:moveTo>
                    <a:pt x="990" y="72"/>
                  </a:moveTo>
                  <a:lnTo>
                    <a:pt x="1074" y="54"/>
                  </a:lnTo>
                  <a:lnTo>
                    <a:pt x="1044" y="42"/>
                  </a:lnTo>
                  <a:lnTo>
                    <a:pt x="996" y="54"/>
                  </a:lnTo>
                  <a:lnTo>
                    <a:pt x="948" y="54"/>
                  </a:lnTo>
                  <a:lnTo>
                    <a:pt x="966" y="66"/>
                  </a:lnTo>
                  <a:lnTo>
                    <a:pt x="990" y="72"/>
                  </a:lnTo>
                  <a:close/>
                  <a:moveTo>
                    <a:pt x="1122" y="90"/>
                  </a:moveTo>
                  <a:lnTo>
                    <a:pt x="1128" y="78"/>
                  </a:lnTo>
                  <a:lnTo>
                    <a:pt x="1152" y="78"/>
                  </a:lnTo>
                  <a:lnTo>
                    <a:pt x="1164" y="66"/>
                  </a:lnTo>
                  <a:lnTo>
                    <a:pt x="1218" y="66"/>
                  </a:lnTo>
                  <a:lnTo>
                    <a:pt x="1218" y="60"/>
                  </a:lnTo>
                  <a:lnTo>
                    <a:pt x="1206" y="54"/>
                  </a:lnTo>
                  <a:lnTo>
                    <a:pt x="1182" y="54"/>
                  </a:lnTo>
                  <a:lnTo>
                    <a:pt x="1182" y="48"/>
                  </a:lnTo>
                  <a:lnTo>
                    <a:pt x="1176" y="48"/>
                  </a:lnTo>
                  <a:lnTo>
                    <a:pt x="1164" y="42"/>
                  </a:lnTo>
                  <a:lnTo>
                    <a:pt x="1140" y="42"/>
                  </a:lnTo>
                  <a:lnTo>
                    <a:pt x="1134" y="48"/>
                  </a:lnTo>
                  <a:lnTo>
                    <a:pt x="1128" y="60"/>
                  </a:lnTo>
                  <a:lnTo>
                    <a:pt x="1128" y="66"/>
                  </a:lnTo>
                  <a:lnTo>
                    <a:pt x="1122" y="66"/>
                  </a:lnTo>
                  <a:lnTo>
                    <a:pt x="1116" y="72"/>
                  </a:lnTo>
                  <a:lnTo>
                    <a:pt x="1104" y="72"/>
                  </a:lnTo>
                  <a:lnTo>
                    <a:pt x="1086" y="78"/>
                  </a:lnTo>
                  <a:lnTo>
                    <a:pt x="1080" y="78"/>
                  </a:lnTo>
                  <a:lnTo>
                    <a:pt x="1074" y="84"/>
                  </a:lnTo>
                  <a:lnTo>
                    <a:pt x="1080" y="84"/>
                  </a:lnTo>
                  <a:lnTo>
                    <a:pt x="1092" y="90"/>
                  </a:lnTo>
                  <a:lnTo>
                    <a:pt x="1122" y="90"/>
                  </a:lnTo>
                  <a:close/>
                  <a:moveTo>
                    <a:pt x="1176" y="78"/>
                  </a:moveTo>
                  <a:lnTo>
                    <a:pt x="1158" y="90"/>
                  </a:lnTo>
                  <a:lnTo>
                    <a:pt x="1176" y="102"/>
                  </a:lnTo>
                  <a:lnTo>
                    <a:pt x="1194" y="108"/>
                  </a:lnTo>
                  <a:lnTo>
                    <a:pt x="1248" y="102"/>
                  </a:lnTo>
                  <a:lnTo>
                    <a:pt x="1242" y="90"/>
                  </a:lnTo>
                  <a:lnTo>
                    <a:pt x="1212" y="90"/>
                  </a:lnTo>
                  <a:lnTo>
                    <a:pt x="1176" y="78"/>
                  </a:lnTo>
                  <a:close/>
                  <a:moveTo>
                    <a:pt x="7812" y="2436"/>
                  </a:moveTo>
                  <a:lnTo>
                    <a:pt x="7782" y="2400"/>
                  </a:lnTo>
                  <a:lnTo>
                    <a:pt x="7776" y="2400"/>
                  </a:lnTo>
                  <a:lnTo>
                    <a:pt x="7770" y="2394"/>
                  </a:lnTo>
                  <a:lnTo>
                    <a:pt x="7752" y="2388"/>
                  </a:lnTo>
                  <a:lnTo>
                    <a:pt x="7728" y="2364"/>
                  </a:lnTo>
                  <a:lnTo>
                    <a:pt x="7722" y="2352"/>
                  </a:lnTo>
                  <a:lnTo>
                    <a:pt x="7704" y="2298"/>
                  </a:lnTo>
                  <a:lnTo>
                    <a:pt x="7698" y="2286"/>
                  </a:lnTo>
                  <a:lnTo>
                    <a:pt x="7698" y="2274"/>
                  </a:lnTo>
                  <a:lnTo>
                    <a:pt x="7674" y="2250"/>
                  </a:lnTo>
                  <a:lnTo>
                    <a:pt x="7680" y="2244"/>
                  </a:lnTo>
                  <a:lnTo>
                    <a:pt x="7698" y="2244"/>
                  </a:lnTo>
                  <a:lnTo>
                    <a:pt x="7770" y="2268"/>
                  </a:lnTo>
                  <a:lnTo>
                    <a:pt x="7800" y="2280"/>
                  </a:lnTo>
                  <a:lnTo>
                    <a:pt x="7812" y="2286"/>
                  </a:lnTo>
                  <a:lnTo>
                    <a:pt x="7740" y="2232"/>
                  </a:lnTo>
                  <a:lnTo>
                    <a:pt x="7734" y="2226"/>
                  </a:lnTo>
                  <a:lnTo>
                    <a:pt x="7722" y="2202"/>
                  </a:lnTo>
                  <a:lnTo>
                    <a:pt x="7710" y="2196"/>
                  </a:lnTo>
                  <a:lnTo>
                    <a:pt x="7704" y="2184"/>
                  </a:lnTo>
                  <a:lnTo>
                    <a:pt x="7698" y="2178"/>
                  </a:lnTo>
                  <a:lnTo>
                    <a:pt x="7674" y="2166"/>
                  </a:lnTo>
                  <a:lnTo>
                    <a:pt x="7668" y="2160"/>
                  </a:lnTo>
                  <a:lnTo>
                    <a:pt x="7656" y="2154"/>
                  </a:lnTo>
                  <a:lnTo>
                    <a:pt x="7578" y="2070"/>
                  </a:lnTo>
                  <a:lnTo>
                    <a:pt x="7554" y="2070"/>
                  </a:lnTo>
                  <a:lnTo>
                    <a:pt x="7542" y="2040"/>
                  </a:lnTo>
                  <a:lnTo>
                    <a:pt x="7524" y="2040"/>
                  </a:lnTo>
                  <a:lnTo>
                    <a:pt x="7512" y="2028"/>
                  </a:lnTo>
                  <a:lnTo>
                    <a:pt x="7500" y="2004"/>
                  </a:lnTo>
                  <a:lnTo>
                    <a:pt x="7500" y="1980"/>
                  </a:lnTo>
                  <a:lnTo>
                    <a:pt x="7470" y="1944"/>
                  </a:lnTo>
                  <a:lnTo>
                    <a:pt x="7446" y="1950"/>
                  </a:lnTo>
                  <a:lnTo>
                    <a:pt x="7434" y="1920"/>
                  </a:lnTo>
                  <a:lnTo>
                    <a:pt x="7392" y="1890"/>
                  </a:lnTo>
                  <a:lnTo>
                    <a:pt x="7380" y="1866"/>
                  </a:lnTo>
                  <a:lnTo>
                    <a:pt x="7368" y="1860"/>
                  </a:lnTo>
                  <a:lnTo>
                    <a:pt x="7362" y="1854"/>
                  </a:lnTo>
                  <a:lnTo>
                    <a:pt x="7344" y="1854"/>
                  </a:lnTo>
                  <a:lnTo>
                    <a:pt x="7344" y="1860"/>
                  </a:lnTo>
                  <a:lnTo>
                    <a:pt x="7392" y="1908"/>
                  </a:lnTo>
                  <a:lnTo>
                    <a:pt x="7392" y="1914"/>
                  </a:lnTo>
                  <a:lnTo>
                    <a:pt x="7386" y="1914"/>
                  </a:lnTo>
                  <a:lnTo>
                    <a:pt x="7380" y="1908"/>
                  </a:lnTo>
                  <a:lnTo>
                    <a:pt x="7368" y="1908"/>
                  </a:lnTo>
                  <a:lnTo>
                    <a:pt x="7362" y="1914"/>
                  </a:lnTo>
                  <a:lnTo>
                    <a:pt x="7362" y="1926"/>
                  </a:lnTo>
                  <a:lnTo>
                    <a:pt x="7374" y="1950"/>
                  </a:lnTo>
                  <a:lnTo>
                    <a:pt x="7386" y="1962"/>
                  </a:lnTo>
                  <a:lnTo>
                    <a:pt x="7392" y="1974"/>
                  </a:lnTo>
                  <a:lnTo>
                    <a:pt x="7404" y="1980"/>
                  </a:lnTo>
                  <a:lnTo>
                    <a:pt x="7404" y="1992"/>
                  </a:lnTo>
                  <a:lnTo>
                    <a:pt x="7416" y="2016"/>
                  </a:lnTo>
                  <a:lnTo>
                    <a:pt x="7422" y="2022"/>
                  </a:lnTo>
                  <a:lnTo>
                    <a:pt x="7440" y="2034"/>
                  </a:lnTo>
                  <a:lnTo>
                    <a:pt x="7470" y="2052"/>
                  </a:lnTo>
                  <a:lnTo>
                    <a:pt x="7500" y="2076"/>
                  </a:lnTo>
                  <a:lnTo>
                    <a:pt x="7518" y="2100"/>
                  </a:lnTo>
                  <a:lnTo>
                    <a:pt x="7524" y="2112"/>
                  </a:lnTo>
                  <a:lnTo>
                    <a:pt x="7536" y="2130"/>
                  </a:lnTo>
                  <a:lnTo>
                    <a:pt x="7536" y="2142"/>
                  </a:lnTo>
                  <a:lnTo>
                    <a:pt x="7548" y="2154"/>
                  </a:lnTo>
                  <a:lnTo>
                    <a:pt x="7554" y="2166"/>
                  </a:lnTo>
                  <a:lnTo>
                    <a:pt x="7572" y="2184"/>
                  </a:lnTo>
                  <a:lnTo>
                    <a:pt x="7590" y="2208"/>
                  </a:lnTo>
                  <a:lnTo>
                    <a:pt x="7608" y="2238"/>
                  </a:lnTo>
                  <a:lnTo>
                    <a:pt x="7620" y="2262"/>
                  </a:lnTo>
                  <a:lnTo>
                    <a:pt x="7626" y="2268"/>
                  </a:lnTo>
                  <a:lnTo>
                    <a:pt x="7626" y="2280"/>
                  </a:lnTo>
                  <a:lnTo>
                    <a:pt x="7632" y="2292"/>
                  </a:lnTo>
                  <a:lnTo>
                    <a:pt x="7644" y="2304"/>
                  </a:lnTo>
                  <a:lnTo>
                    <a:pt x="7656" y="2304"/>
                  </a:lnTo>
                  <a:lnTo>
                    <a:pt x="7668" y="2310"/>
                  </a:lnTo>
                  <a:lnTo>
                    <a:pt x="7674" y="2322"/>
                  </a:lnTo>
                  <a:lnTo>
                    <a:pt x="7686" y="2334"/>
                  </a:lnTo>
                  <a:lnTo>
                    <a:pt x="7698" y="2358"/>
                  </a:lnTo>
                  <a:lnTo>
                    <a:pt x="7698" y="2376"/>
                  </a:lnTo>
                  <a:lnTo>
                    <a:pt x="7740" y="2412"/>
                  </a:lnTo>
                  <a:lnTo>
                    <a:pt x="7752" y="2466"/>
                  </a:lnTo>
                  <a:lnTo>
                    <a:pt x="7794" y="2508"/>
                  </a:lnTo>
                  <a:lnTo>
                    <a:pt x="7794" y="2502"/>
                  </a:lnTo>
                  <a:lnTo>
                    <a:pt x="7788" y="2496"/>
                  </a:lnTo>
                  <a:lnTo>
                    <a:pt x="7788" y="2484"/>
                  </a:lnTo>
                  <a:lnTo>
                    <a:pt x="7782" y="2472"/>
                  </a:lnTo>
                  <a:lnTo>
                    <a:pt x="7782" y="2460"/>
                  </a:lnTo>
                  <a:lnTo>
                    <a:pt x="7776" y="2448"/>
                  </a:lnTo>
                  <a:lnTo>
                    <a:pt x="7782" y="2442"/>
                  </a:lnTo>
                  <a:lnTo>
                    <a:pt x="7788" y="2442"/>
                  </a:lnTo>
                  <a:lnTo>
                    <a:pt x="7800" y="2454"/>
                  </a:lnTo>
                  <a:lnTo>
                    <a:pt x="7830" y="2454"/>
                  </a:lnTo>
                  <a:lnTo>
                    <a:pt x="7866" y="2496"/>
                  </a:lnTo>
                  <a:lnTo>
                    <a:pt x="7866" y="2472"/>
                  </a:lnTo>
                  <a:lnTo>
                    <a:pt x="7836" y="2430"/>
                  </a:lnTo>
                  <a:lnTo>
                    <a:pt x="7812" y="2436"/>
                  </a:lnTo>
                  <a:close/>
                  <a:moveTo>
                    <a:pt x="1344" y="84"/>
                  </a:moveTo>
                  <a:lnTo>
                    <a:pt x="1350" y="72"/>
                  </a:lnTo>
                  <a:lnTo>
                    <a:pt x="1308" y="66"/>
                  </a:lnTo>
                  <a:lnTo>
                    <a:pt x="1284" y="78"/>
                  </a:lnTo>
                  <a:lnTo>
                    <a:pt x="1290" y="90"/>
                  </a:lnTo>
                  <a:lnTo>
                    <a:pt x="1344" y="84"/>
                  </a:lnTo>
                  <a:close/>
                  <a:moveTo>
                    <a:pt x="9048" y="996"/>
                  </a:moveTo>
                  <a:lnTo>
                    <a:pt x="9036" y="984"/>
                  </a:lnTo>
                  <a:lnTo>
                    <a:pt x="9024" y="978"/>
                  </a:lnTo>
                  <a:lnTo>
                    <a:pt x="9006" y="972"/>
                  </a:lnTo>
                  <a:lnTo>
                    <a:pt x="8994" y="966"/>
                  </a:lnTo>
                  <a:lnTo>
                    <a:pt x="8982" y="966"/>
                  </a:lnTo>
                  <a:lnTo>
                    <a:pt x="8940" y="948"/>
                  </a:lnTo>
                  <a:lnTo>
                    <a:pt x="8898" y="948"/>
                  </a:lnTo>
                  <a:lnTo>
                    <a:pt x="8868" y="930"/>
                  </a:lnTo>
                  <a:lnTo>
                    <a:pt x="8778" y="924"/>
                  </a:lnTo>
                  <a:lnTo>
                    <a:pt x="8736" y="906"/>
                  </a:lnTo>
                  <a:lnTo>
                    <a:pt x="8700" y="906"/>
                  </a:lnTo>
                  <a:lnTo>
                    <a:pt x="8754" y="942"/>
                  </a:lnTo>
                  <a:lnTo>
                    <a:pt x="8808" y="966"/>
                  </a:lnTo>
                  <a:lnTo>
                    <a:pt x="8796" y="966"/>
                  </a:lnTo>
                  <a:lnTo>
                    <a:pt x="8784" y="972"/>
                  </a:lnTo>
                  <a:lnTo>
                    <a:pt x="8754" y="972"/>
                  </a:lnTo>
                  <a:lnTo>
                    <a:pt x="8730" y="960"/>
                  </a:lnTo>
                  <a:lnTo>
                    <a:pt x="8676" y="906"/>
                  </a:lnTo>
                  <a:lnTo>
                    <a:pt x="8580" y="870"/>
                  </a:lnTo>
                  <a:lnTo>
                    <a:pt x="8496" y="846"/>
                  </a:lnTo>
                  <a:lnTo>
                    <a:pt x="8442" y="834"/>
                  </a:lnTo>
                  <a:lnTo>
                    <a:pt x="8370" y="822"/>
                  </a:lnTo>
                  <a:lnTo>
                    <a:pt x="8280" y="804"/>
                  </a:lnTo>
                  <a:lnTo>
                    <a:pt x="8190" y="780"/>
                  </a:lnTo>
                  <a:lnTo>
                    <a:pt x="8112" y="762"/>
                  </a:lnTo>
                  <a:lnTo>
                    <a:pt x="8052" y="750"/>
                  </a:lnTo>
                  <a:lnTo>
                    <a:pt x="7998" y="738"/>
                  </a:lnTo>
                  <a:lnTo>
                    <a:pt x="7956" y="732"/>
                  </a:lnTo>
                  <a:lnTo>
                    <a:pt x="7758" y="732"/>
                  </a:lnTo>
                  <a:lnTo>
                    <a:pt x="7746" y="714"/>
                  </a:lnTo>
                  <a:lnTo>
                    <a:pt x="7698" y="720"/>
                  </a:lnTo>
                  <a:lnTo>
                    <a:pt x="7680" y="708"/>
                  </a:lnTo>
                  <a:lnTo>
                    <a:pt x="7626" y="708"/>
                  </a:lnTo>
                  <a:lnTo>
                    <a:pt x="7650" y="726"/>
                  </a:lnTo>
                  <a:lnTo>
                    <a:pt x="7644" y="744"/>
                  </a:lnTo>
                  <a:lnTo>
                    <a:pt x="7656" y="744"/>
                  </a:lnTo>
                  <a:lnTo>
                    <a:pt x="7680" y="756"/>
                  </a:lnTo>
                  <a:lnTo>
                    <a:pt x="7716" y="762"/>
                  </a:lnTo>
                  <a:lnTo>
                    <a:pt x="7740" y="774"/>
                  </a:lnTo>
                  <a:lnTo>
                    <a:pt x="7758" y="786"/>
                  </a:lnTo>
                  <a:lnTo>
                    <a:pt x="7752" y="798"/>
                  </a:lnTo>
                  <a:lnTo>
                    <a:pt x="7728" y="804"/>
                  </a:lnTo>
                  <a:lnTo>
                    <a:pt x="7698" y="804"/>
                  </a:lnTo>
                  <a:lnTo>
                    <a:pt x="7686" y="798"/>
                  </a:lnTo>
                  <a:lnTo>
                    <a:pt x="7680" y="792"/>
                  </a:lnTo>
                  <a:lnTo>
                    <a:pt x="7656" y="774"/>
                  </a:lnTo>
                  <a:lnTo>
                    <a:pt x="7584" y="774"/>
                  </a:lnTo>
                  <a:lnTo>
                    <a:pt x="7530" y="738"/>
                  </a:lnTo>
                  <a:lnTo>
                    <a:pt x="7524" y="738"/>
                  </a:lnTo>
                  <a:lnTo>
                    <a:pt x="7518" y="744"/>
                  </a:lnTo>
                  <a:lnTo>
                    <a:pt x="7506" y="744"/>
                  </a:lnTo>
                  <a:lnTo>
                    <a:pt x="7500" y="750"/>
                  </a:lnTo>
                  <a:lnTo>
                    <a:pt x="7446" y="750"/>
                  </a:lnTo>
                  <a:lnTo>
                    <a:pt x="7440" y="738"/>
                  </a:lnTo>
                  <a:lnTo>
                    <a:pt x="7344" y="744"/>
                  </a:lnTo>
                  <a:lnTo>
                    <a:pt x="7320" y="726"/>
                  </a:lnTo>
                  <a:lnTo>
                    <a:pt x="7314" y="732"/>
                  </a:lnTo>
                  <a:lnTo>
                    <a:pt x="7212" y="732"/>
                  </a:lnTo>
                  <a:lnTo>
                    <a:pt x="7206" y="738"/>
                  </a:lnTo>
                  <a:lnTo>
                    <a:pt x="7212" y="744"/>
                  </a:lnTo>
                  <a:lnTo>
                    <a:pt x="7218" y="756"/>
                  </a:lnTo>
                  <a:lnTo>
                    <a:pt x="7254" y="792"/>
                  </a:lnTo>
                  <a:lnTo>
                    <a:pt x="7248" y="792"/>
                  </a:lnTo>
                  <a:lnTo>
                    <a:pt x="7242" y="786"/>
                  </a:lnTo>
                  <a:lnTo>
                    <a:pt x="7230" y="780"/>
                  </a:lnTo>
                  <a:lnTo>
                    <a:pt x="7218" y="768"/>
                  </a:lnTo>
                  <a:lnTo>
                    <a:pt x="7206" y="762"/>
                  </a:lnTo>
                  <a:lnTo>
                    <a:pt x="7194" y="750"/>
                  </a:lnTo>
                  <a:lnTo>
                    <a:pt x="7176" y="744"/>
                  </a:lnTo>
                  <a:lnTo>
                    <a:pt x="7104" y="732"/>
                  </a:lnTo>
                  <a:lnTo>
                    <a:pt x="7086" y="732"/>
                  </a:lnTo>
                  <a:lnTo>
                    <a:pt x="7086" y="726"/>
                  </a:lnTo>
                  <a:lnTo>
                    <a:pt x="7056" y="696"/>
                  </a:lnTo>
                  <a:lnTo>
                    <a:pt x="7032" y="684"/>
                  </a:lnTo>
                  <a:lnTo>
                    <a:pt x="6990" y="666"/>
                  </a:lnTo>
                  <a:lnTo>
                    <a:pt x="6948" y="660"/>
                  </a:lnTo>
                  <a:lnTo>
                    <a:pt x="6912" y="654"/>
                  </a:lnTo>
                  <a:lnTo>
                    <a:pt x="6882" y="654"/>
                  </a:lnTo>
                  <a:lnTo>
                    <a:pt x="6864" y="648"/>
                  </a:lnTo>
                  <a:lnTo>
                    <a:pt x="6834" y="648"/>
                  </a:lnTo>
                  <a:lnTo>
                    <a:pt x="6786" y="636"/>
                  </a:lnTo>
                  <a:lnTo>
                    <a:pt x="6774" y="642"/>
                  </a:lnTo>
                  <a:lnTo>
                    <a:pt x="6714" y="642"/>
                  </a:lnTo>
                  <a:lnTo>
                    <a:pt x="6696" y="660"/>
                  </a:lnTo>
                  <a:lnTo>
                    <a:pt x="6684" y="666"/>
                  </a:lnTo>
                  <a:lnTo>
                    <a:pt x="6648" y="666"/>
                  </a:lnTo>
                  <a:lnTo>
                    <a:pt x="6630" y="660"/>
                  </a:lnTo>
                  <a:lnTo>
                    <a:pt x="6594" y="660"/>
                  </a:lnTo>
                  <a:lnTo>
                    <a:pt x="6582" y="654"/>
                  </a:lnTo>
                  <a:lnTo>
                    <a:pt x="6576" y="648"/>
                  </a:lnTo>
                  <a:lnTo>
                    <a:pt x="6552" y="636"/>
                  </a:lnTo>
                  <a:lnTo>
                    <a:pt x="6534" y="630"/>
                  </a:lnTo>
                  <a:lnTo>
                    <a:pt x="6522" y="624"/>
                  </a:lnTo>
                  <a:lnTo>
                    <a:pt x="6498" y="624"/>
                  </a:lnTo>
                  <a:lnTo>
                    <a:pt x="6486" y="630"/>
                  </a:lnTo>
                  <a:lnTo>
                    <a:pt x="6474" y="612"/>
                  </a:lnTo>
                  <a:lnTo>
                    <a:pt x="6438" y="612"/>
                  </a:lnTo>
                  <a:lnTo>
                    <a:pt x="6372" y="606"/>
                  </a:lnTo>
                  <a:lnTo>
                    <a:pt x="6408" y="594"/>
                  </a:lnTo>
                  <a:lnTo>
                    <a:pt x="6372" y="570"/>
                  </a:lnTo>
                  <a:lnTo>
                    <a:pt x="6360" y="570"/>
                  </a:lnTo>
                  <a:lnTo>
                    <a:pt x="6324" y="564"/>
                  </a:lnTo>
                  <a:lnTo>
                    <a:pt x="6282" y="558"/>
                  </a:lnTo>
                  <a:lnTo>
                    <a:pt x="6246" y="558"/>
                  </a:lnTo>
                  <a:lnTo>
                    <a:pt x="6228" y="564"/>
                  </a:lnTo>
                  <a:lnTo>
                    <a:pt x="6228" y="594"/>
                  </a:lnTo>
                  <a:lnTo>
                    <a:pt x="6222" y="600"/>
                  </a:lnTo>
                  <a:lnTo>
                    <a:pt x="6192" y="600"/>
                  </a:lnTo>
                  <a:lnTo>
                    <a:pt x="6180" y="594"/>
                  </a:lnTo>
                  <a:lnTo>
                    <a:pt x="6168" y="594"/>
                  </a:lnTo>
                  <a:lnTo>
                    <a:pt x="6186" y="582"/>
                  </a:lnTo>
                  <a:lnTo>
                    <a:pt x="6168" y="570"/>
                  </a:lnTo>
                  <a:lnTo>
                    <a:pt x="6096" y="570"/>
                  </a:lnTo>
                  <a:lnTo>
                    <a:pt x="6114" y="558"/>
                  </a:lnTo>
                  <a:lnTo>
                    <a:pt x="6156" y="558"/>
                  </a:lnTo>
                  <a:lnTo>
                    <a:pt x="6216" y="588"/>
                  </a:lnTo>
                  <a:lnTo>
                    <a:pt x="6216" y="564"/>
                  </a:lnTo>
                  <a:lnTo>
                    <a:pt x="6162" y="540"/>
                  </a:lnTo>
                  <a:lnTo>
                    <a:pt x="6048" y="546"/>
                  </a:lnTo>
                  <a:lnTo>
                    <a:pt x="6048" y="534"/>
                  </a:lnTo>
                  <a:lnTo>
                    <a:pt x="5928" y="540"/>
                  </a:lnTo>
                  <a:lnTo>
                    <a:pt x="5880" y="522"/>
                  </a:lnTo>
                  <a:lnTo>
                    <a:pt x="5862" y="522"/>
                  </a:lnTo>
                  <a:lnTo>
                    <a:pt x="5898" y="546"/>
                  </a:lnTo>
                  <a:lnTo>
                    <a:pt x="5850" y="546"/>
                  </a:lnTo>
                  <a:lnTo>
                    <a:pt x="5838" y="552"/>
                  </a:lnTo>
                  <a:lnTo>
                    <a:pt x="5832" y="552"/>
                  </a:lnTo>
                  <a:lnTo>
                    <a:pt x="5832" y="558"/>
                  </a:lnTo>
                  <a:lnTo>
                    <a:pt x="5844" y="564"/>
                  </a:lnTo>
                  <a:lnTo>
                    <a:pt x="5850" y="570"/>
                  </a:lnTo>
                  <a:lnTo>
                    <a:pt x="5862" y="576"/>
                  </a:lnTo>
                  <a:lnTo>
                    <a:pt x="5892" y="576"/>
                  </a:lnTo>
                  <a:lnTo>
                    <a:pt x="5892" y="582"/>
                  </a:lnTo>
                  <a:lnTo>
                    <a:pt x="5952" y="618"/>
                  </a:lnTo>
                  <a:lnTo>
                    <a:pt x="5904" y="618"/>
                  </a:lnTo>
                  <a:lnTo>
                    <a:pt x="5898" y="612"/>
                  </a:lnTo>
                  <a:lnTo>
                    <a:pt x="5886" y="606"/>
                  </a:lnTo>
                  <a:lnTo>
                    <a:pt x="5874" y="606"/>
                  </a:lnTo>
                  <a:lnTo>
                    <a:pt x="5862" y="600"/>
                  </a:lnTo>
                  <a:lnTo>
                    <a:pt x="5844" y="618"/>
                  </a:lnTo>
                  <a:lnTo>
                    <a:pt x="5868" y="636"/>
                  </a:lnTo>
                  <a:lnTo>
                    <a:pt x="5814" y="630"/>
                  </a:lnTo>
                  <a:lnTo>
                    <a:pt x="5808" y="630"/>
                  </a:lnTo>
                  <a:lnTo>
                    <a:pt x="5802" y="624"/>
                  </a:lnTo>
                  <a:lnTo>
                    <a:pt x="5784" y="618"/>
                  </a:lnTo>
                  <a:lnTo>
                    <a:pt x="5766" y="618"/>
                  </a:lnTo>
                  <a:lnTo>
                    <a:pt x="5754" y="612"/>
                  </a:lnTo>
                  <a:lnTo>
                    <a:pt x="5736" y="606"/>
                  </a:lnTo>
                  <a:lnTo>
                    <a:pt x="5724" y="606"/>
                  </a:lnTo>
                  <a:lnTo>
                    <a:pt x="5712" y="612"/>
                  </a:lnTo>
                  <a:lnTo>
                    <a:pt x="5700" y="612"/>
                  </a:lnTo>
                  <a:lnTo>
                    <a:pt x="5688" y="618"/>
                  </a:lnTo>
                  <a:lnTo>
                    <a:pt x="5682" y="624"/>
                  </a:lnTo>
                  <a:lnTo>
                    <a:pt x="5676" y="624"/>
                  </a:lnTo>
                  <a:lnTo>
                    <a:pt x="5610" y="618"/>
                  </a:lnTo>
                  <a:lnTo>
                    <a:pt x="5604" y="618"/>
                  </a:lnTo>
                  <a:lnTo>
                    <a:pt x="5598" y="612"/>
                  </a:lnTo>
                  <a:lnTo>
                    <a:pt x="5562" y="594"/>
                  </a:lnTo>
                  <a:lnTo>
                    <a:pt x="5556" y="594"/>
                  </a:lnTo>
                  <a:lnTo>
                    <a:pt x="5550" y="588"/>
                  </a:lnTo>
                  <a:lnTo>
                    <a:pt x="5538" y="588"/>
                  </a:lnTo>
                  <a:lnTo>
                    <a:pt x="5538" y="606"/>
                  </a:lnTo>
                  <a:lnTo>
                    <a:pt x="5544" y="612"/>
                  </a:lnTo>
                  <a:lnTo>
                    <a:pt x="5550" y="624"/>
                  </a:lnTo>
                  <a:lnTo>
                    <a:pt x="5556" y="630"/>
                  </a:lnTo>
                  <a:lnTo>
                    <a:pt x="5562" y="642"/>
                  </a:lnTo>
                  <a:lnTo>
                    <a:pt x="5562" y="660"/>
                  </a:lnTo>
                  <a:lnTo>
                    <a:pt x="5556" y="666"/>
                  </a:lnTo>
                  <a:lnTo>
                    <a:pt x="5532" y="660"/>
                  </a:lnTo>
                  <a:lnTo>
                    <a:pt x="5424" y="624"/>
                  </a:lnTo>
                  <a:lnTo>
                    <a:pt x="5412" y="618"/>
                  </a:lnTo>
                  <a:lnTo>
                    <a:pt x="5406" y="618"/>
                  </a:lnTo>
                  <a:lnTo>
                    <a:pt x="5400" y="612"/>
                  </a:lnTo>
                  <a:lnTo>
                    <a:pt x="5394" y="600"/>
                  </a:lnTo>
                  <a:lnTo>
                    <a:pt x="5382" y="594"/>
                  </a:lnTo>
                  <a:lnTo>
                    <a:pt x="5376" y="588"/>
                  </a:lnTo>
                  <a:lnTo>
                    <a:pt x="5376" y="606"/>
                  </a:lnTo>
                  <a:lnTo>
                    <a:pt x="5322" y="588"/>
                  </a:lnTo>
                  <a:lnTo>
                    <a:pt x="5292" y="570"/>
                  </a:lnTo>
                  <a:lnTo>
                    <a:pt x="5298" y="570"/>
                  </a:lnTo>
                  <a:lnTo>
                    <a:pt x="5304" y="576"/>
                  </a:lnTo>
                  <a:lnTo>
                    <a:pt x="5328" y="576"/>
                  </a:lnTo>
                  <a:lnTo>
                    <a:pt x="5340" y="582"/>
                  </a:lnTo>
                  <a:lnTo>
                    <a:pt x="5352" y="582"/>
                  </a:lnTo>
                  <a:lnTo>
                    <a:pt x="5358" y="576"/>
                  </a:lnTo>
                  <a:lnTo>
                    <a:pt x="5358" y="570"/>
                  </a:lnTo>
                  <a:lnTo>
                    <a:pt x="5346" y="564"/>
                  </a:lnTo>
                  <a:lnTo>
                    <a:pt x="5334" y="552"/>
                  </a:lnTo>
                  <a:lnTo>
                    <a:pt x="5292" y="552"/>
                  </a:lnTo>
                  <a:lnTo>
                    <a:pt x="5304" y="540"/>
                  </a:lnTo>
                  <a:lnTo>
                    <a:pt x="5298" y="534"/>
                  </a:lnTo>
                  <a:lnTo>
                    <a:pt x="5286" y="528"/>
                  </a:lnTo>
                  <a:lnTo>
                    <a:pt x="5256" y="528"/>
                  </a:lnTo>
                  <a:lnTo>
                    <a:pt x="5268" y="510"/>
                  </a:lnTo>
                  <a:lnTo>
                    <a:pt x="5262" y="510"/>
                  </a:lnTo>
                  <a:lnTo>
                    <a:pt x="5256" y="504"/>
                  </a:lnTo>
                  <a:lnTo>
                    <a:pt x="5232" y="504"/>
                  </a:lnTo>
                  <a:lnTo>
                    <a:pt x="5220" y="498"/>
                  </a:lnTo>
                  <a:lnTo>
                    <a:pt x="5208" y="498"/>
                  </a:lnTo>
                  <a:lnTo>
                    <a:pt x="5202" y="492"/>
                  </a:lnTo>
                  <a:lnTo>
                    <a:pt x="5190" y="492"/>
                  </a:lnTo>
                  <a:lnTo>
                    <a:pt x="5184" y="486"/>
                  </a:lnTo>
                  <a:lnTo>
                    <a:pt x="5142" y="486"/>
                  </a:lnTo>
                  <a:lnTo>
                    <a:pt x="5130" y="492"/>
                  </a:lnTo>
                  <a:lnTo>
                    <a:pt x="5094" y="492"/>
                  </a:lnTo>
                  <a:lnTo>
                    <a:pt x="5076" y="486"/>
                  </a:lnTo>
                  <a:lnTo>
                    <a:pt x="5070" y="480"/>
                  </a:lnTo>
                  <a:lnTo>
                    <a:pt x="5064" y="480"/>
                  </a:lnTo>
                  <a:lnTo>
                    <a:pt x="5040" y="486"/>
                  </a:lnTo>
                  <a:lnTo>
                    <a:pt x="5040" y="474"/>
                  </a:lnTo>
                  <a:lnTo>
                    <a:pt x="4992" y="468"/>
                  </a:lnTo>
                  <a:lnTo>
                    <a:pt x="4980" y="456"/>
                  </a:lnTo>
                  <a:lnTo>
                    <a:pt x="4974" y="474"/>
                  </a:lnTo>
                  <a:lnTo>
                    <a:pt x="4956" y="480"/>
                  </a:lnTo>
                  <a:lnTo>
                    <a:pt x="4986" y="498"/>
                  </a:lnTo>
                  <a:lnTo>
                    <a:pt x="5010" y="528"/>
                  </a:lnTo>
                  <a:lnTo>
                    <a:pt x="4962" y="522"/>
                  </a:lnTo>
                  <a:lnTo>
                    <a:pt x="4956" y="516"/>
                  </a:lnTo>
                  <a:lnTo>
                    <a:pt x="4890" y="522"/>
                  </a:lnTo>
                  <a:lnTo>
                    <a:pt x="4872" y="528"/>
                  </a:lnTo>
                  <a:lnTo>
                    <a:pt x="4872" y="516"/>
                  </a:lnTo>
                  <a:lnTo>
                    <a:pt x="4824" y="522"/>
                  </a:lnTo>
                  <a:lnTo>
                    <a:pt x="4818" y="510"/>
                  </a:lnTo>
                  <a:lnTo>
                    <a:pt x="4764" y="510"/>
                  </a:lnTo>
                  <a:lnTo>
                    <a:pt x="4728" y="504"/>
                  </a:lnTo>
                  <a:lnTo>
                    <a:pt x="4746" y="480"/>
                  </a:lnTo>
                  <a:lnTo>
                    <a:pt x="4620" y="480"/>
                  </a:lnTo>
                  <a:lnTo>
                    <a:pt x="4608" y="468"/>
                  </a:lnTo>
                  <a:lnTo>
                    <a:pt x="4602" y="474"/>
                  </a:lnTo>
                  <a:lnTo>
                    <a:pt x="4590" y="468"/>
                  </a:lnTo>
                  <a:lnTo>
                    <a:pt x="4542" y="474"/>
                  </a:lnTo>
                  <a:lnTo>
                    <a:pt x="4548" y="486"/>
                  </a:lnTo>
                  <a:lnTo>
                    <a:pt x="4488" y="480"/>
                  </a:lnTo>
                  <a:lnTo>
                    <a:pt x="4476" y="486"/>
                  </a:lnTo>
                  <a:lnTo>
                    <a:pt x="4506" y="498"/>
                  </a:lnTo>
                  <a:lnTo>
                    <a:pt x="4464" y="492"/>
                  </a:lnTo>
                  <a:lnTo>
                    <a:pt x="4464" y="474"/>
                  </a:lnTo>
                  <a:lnTo>
                    <a:pt x="4434" y="456"/>
                  </a:lnTo>
                  <a:lnTo>
                    <a:pt x="4416" y="456"/>
                  </a:lnTo>
                  <a:lnTo>
                    <a:pt x="4428" y="474"/>
                  </a:lnTo>
                  <a:lnTo>
                    <a:pt x="4374" y="474"/>
                  </a:lnTo>
                  <a:lnTo>
                    <a:pt x="4368" y="468"/>
                  </a:lnTo>
                  <a:lnTo>
                    <a:pt x="4356" y="468"/>
                  </a:lnTo>
                  <a:lnTo>
                    <a:pt x="4350" y="456"/>
                  </a:lnTo>
                  <a:lnTo>
                    <a:pt x="4320" y="456"/>
                  </a:lnTo>
                  <a:lnTo>
                    <a:pt x="4296" y="444"/>
                  </a:lnTo>
                  <a:lnTo>
                    <a:pt x="4266" y="468"/>
                  </a:lnTo>
                  <a:lnTo>
                    <a:pt x="4320" y="474"/>
                  </a:lnTo>
                  <a:lnTo>
                    <a:pt x="4332" y="474"/>
                  </a:lnTo>
                  <a:lnTo>
                    <a:pt x="4326" y="480"/>
                  </a:lnTo>
                  <a:lnTo>
                    <a:pt x="4314" y="486"/>
                  </a:lnTo>
                  <a:lnTo>
                    <a:pt x="4308" y="492"/>
                  </a:lnTo>
                  <a:lnTo>
                    <a:pt x="4272" y="492"/>
                  </a:lnTo>
                  <a:lnTo>
                    <a:pt x="4266" y="498"/>
                  </a:lnTo>
                  <a:lnTo>
                    <a:pt x="4254" y="504"/>
                  </a:lnTo>
                  <a:lnTo>
                    <a:pt x="4182" y="504"/>
                  </a:lnTo>
                  <a:lnTo>
                    <a:pt x="4146" y="510"/>
                  </a:lnTo>
                  <a:lnTo>
                    <a:pt x="4134" y="534"/>
                  </a:lnTo>
                  <a:lnTo>
                    <a:pt x="4110" y="528"/>
                  </a:lnTo>
                  <a:lnTo>
                    <a:pt x="4110" y="516"/>
                  </a:lnTo>
                  <a:lnTo>
                    <a:pt x="4116" y="504"/>
                  </a:lnTo>
                  <a:lnTo>
                    <a:pt x="4122" y="498"/>
                  </a:lnTo>
                  <a:lnTo>
                    <a:pt x="4134" y="492"/>
                  </a:lnTo>
                  <a:lnTo>
                    <a:pt x="4152" y="492"/>
                  </a:lnTo>
                  <a:lnTo>
                    <a:pt x="4164" y="480"/>
                  </a:lnTo>
                  <a:lnTo>
                    <a:pt x="4206" y="474"/>
                  </a:lnTo>
                  <a:lnTo>
                    <a:pt x="4248" y="438"/>
                  </a:lnTo>
                  <a:lnTo>
                    <a:pt x="4248" y="426"/>
                  </a:lnTo>
                  <a:lnTo>
                    <a:pt x="4254" y="420"/>
                  </a:lnTo>
                  <a:lnTo>
                    <a:pt x="4266" y="414"/>
                  </a:lnTo>
                  <a:lnTo>
                    <a:pt x="4278" y="414"/>
                  </a:lnTo>
                  <a:lnTo>
                    <a:pt x="4290" y="408"/>
                  </a:lnTo>
                  <a:lnTo>
                    <a:pt x="4302" y="408"/>
                  </a:lnTo>
                  <a:lnTo>
                    <a:pt x="4320" y="402"/>
                  </a:lnTo>
                  <a:lnTo>
                    <a:pt x="4332" y="402"/>
                  </a:lnTo>
                  <a:lnTo>
                    <a:pt x="4344" y="396"/>
                  </a:lnTo>
                  <a:lnTo>
                    <a:pt x="4350" y="390"/>
                  </a:lnTo>
                  <a:lnTo>
                    <a:pt x="4356" y="378"/>
                  </a:lnTo>
                  <a:lnTo>
                    <a:pt x="4350" y="366"/>
                  </a:lnTo>
                  <a:lnTo>
                    <a:pt x="4344" y="360"/>
                  </a:lnTo>
                  <a:lnTo>
                    <a:pt x="4332" y="354"/>
                  </a:lnTo>
                  <a:lnTo>
                    <a:pt x="4326" y="348"/>
                  </a:lnTo>
                  <a:lnTo>
                    <a:pt x="4290" y="348"/>
                  </a:lnTo>
                  <a:lnTo>
                    <a:pt x="4320" y="336"/>
                  </a:lnTo>
                  <a:lnTo>
                    <a:pt x="4314" y="330"/>
                  </a:lnTo>
                  <a:lnTo>
                    <a:pt x="4302" y="324"/>
                  </a:lnTo>
                  <a:lnTo>
                    <a:pt x="4290" y="312"/>
                  </a:lnTo>
                  <a:lnTo>
                    <a:pt x="4284" y="312"/>
                  </a:lnTo>
                  <a:lnTo>
                    <a:pt x="4278" y="318"/>
                  </a:lnTo>
                  <a:lnTo>
                    <a:pt x="4254" y="318"/>
                  </a:lnTo>
                  <a:lnTo>
                    <a:pt x="4248" y="312"/>
                  </a:lnTo>
                  <a:lnTo>
                    <a:pt x="4242" y="300"/>
                  </a:lnTo>
                  <a:lnTo>
                    <a:pt x="4236" y="294"/>
                  </a:lnTo>
                  <a:lnTo>
                    <a:pt x="4194" y="294"/>
                  </a:lnTo>
                  <a:lnTo>
                    <a:pt x="4188" y="300"/>
                  </a:lnTo>
                  <a:lnTo>
                    <a:pt x="4182" y="300"/>
                  </a:lnTo>
                  <a:lnTo>
                    <a:pt x="4128" y="288"/>
                  </a:lnTo>
                  <a:lnTo>
                    <a:pt x="3990" y="282"/>
                  </a:lnTo>
                  <a:lnTo>
                    <a:pt x="3990" y="300"/>
                  </a:lnTo>
                  <a:lnTo>
                    <a:pt x="3924" y="300"/>
                  </a:lnTo>
                  <a:lnTo>
                    <a:pt x="3942" y="282"/>
                  </a:lnTo>
                  <a:lnTo>
                    <a:pt x="3942" y="276"/>
                  </a:lnTo>
                  <a:lnTo>
                    <a:pt x="3936" y="270"/>
                  </a:lnTo>
                  <a:lnTo>
                    <a:pt x="3912" y="264"/>
                  </a:lnTo>
                  <a:lnTo>
                    <a:pt x="3882" y="264"/>
                  </a:lnTo>
                  <a:lnTo>
                    <a:pt x="3852" y="270"/>
                  </a:lnTo>
                  <a:lnTo>
                    <a:pt x="3840" y="270"/>
                  </a:lnTo>
                  <a:lnTo>
                    <a:pt x="3780" y="264"/>
                  </a:lnTo>
                  <a:lnTo>
                    <a:pt x="3792" y="264"/>
                  </a:lnTo>
                  <a:lnTo>
                    <a:pt x="3810" y="258"/>
                  </a:lnTo>
                  <a:lnTo>
                    <a:pt x="3822" y="258"/>
                  </a:lnTo>
                  <a:lnTo>
                    <a:pt x="3834" y="252"/>
                  </a:lnTo>
                  <a:lnTo>
                    <a:pt x="3840" y="252"/>
                  </a:lnTo>
                  <a:lnTo>
                    <a:pt x="3840" y="246"/>
                  </a:lnTo>
                  <a:lnTo>
                    <a:pt x="3834" y="240"/>
                  </a:lnTo>
                  <a:lnTo>
                    <a:pt x="3822" y="240"/>
                  </a:lnTo>
                  <a:lnTo>
                    <a:pt x="3804" y="234"/>
                  </a:lnTo>
                  <a:lnTo>
                    <a:pt x="3762" y="234"/>
                  </a:lnTo>
                  <a:lnTo>
                    <a:pt x="3720" y="228"/>
                  </a:lnTo>
                  <a:lnTo>
                    <a:pt x="3714" y="240"/>
                  </a:lnTo>
                  <a:lnTo>
                    <a:pt x="3684" y="240"/>
                  </a:lnTo>
                  <a:lnTo>
                    <a:pt x="3672" y="246"/>
                  </a:lnTo>
                  <a:lnTo>
                    <a:pt x="3660" y="246"/>
                  </a:lnTo>
                  <a:lnTo>
                    <a:pt x="3648" y="252"/>
                  </a:lnTo>
                  <a:lnTo>
                    <a:pt x="3648" y="258"/>
                  </a:lnTo>
                  <a:lnTo>
                    <a:pt x="3654" y="270"/>
                  </a:lnTo>
                  <a:lnTo>
                    <a:pt x="3678" y="282"/>
                  </a:lnTo>
                  <a:lnTo>
                    <a:pt x="3696" y="294"/>
                  </a:lnTo>
                  <a:lnTo>
                    <a:pt x="3708" y="294"/>
                  </a:lnTo>
                  <a:lnTo>
                    <a:pt x="3714" y="300"/>
                  </a:lnTo>
                  <a:lnTo>
                    <a:pt x="3720" y="300"/>
                  </a:lnTo>
                  <a:lnTo>
                    <a:pt x="3576" y="294"/>
                  </a:lnTo>
                  <a:lnTo>
                    <a:pt x="3630" y="312"/>
                  </a:lnTo>
                  <a:lnTo>
                    <a:pt x="3576" y="324"/>
                  </a:lnTo>
                  <a:lnTo>
                    <a:pt x="3564" y="330"/>
                  </a:lnTo>
                  <a:lnTo>
                    <a:pt x="3534" y="336"/>
                  </a:lnTo>
                  <a:lnTo>
                    <a:pt x="3498" y="342"/>
                  </a:lnTo>
                  <a:lnTo>
                    <a:pt x="3474" y="342"/>
                  </a:lnTo>
                  <a:lnTo>
                    <a:pt x="3468" y="336"/>
                  </a:lnTo>
                  <a:lnTo>
                    <a:pt x="3474" y="324"/>
                  </a:lnTo>
                  <a:lnTo>
                    <a:pt x="3486" y="312"/>
                  </a:lnTo>
                  <a:lnTo>
                    <a:pt x="3420" y="312"/>
                  </a:lnTo>
                  <a:lnTo>
                    <a:pt x="3408" y="318"/>
                  </a:lnTo>
                  <a:lnTo>
                    <a:pt x="3390" y="318"/>
                  </a:lnTo>
                  <a:lnTo>
                    <a:pt x="3378" y="324"/>
                  </a:lnTo>
                  <a:lnTo>
                    <a:pt x="3366" y="336"/>
                  </a:lnTo>
                  <a:lnTo>
                    <a:pt x="3348" y="336"/>
                  </a:lnTo>
                  <a:lnTo>
                    <a:pt x="3318" y="342"/>
                  </a:lnTo>
                  <a:lnTo>
                    <a:pt x="3276" y="342"/>
                  </a:lnTo>
                  <a:lnTo>
                    <a:pt x="3246" y="348"/>
                  </a:lnTo>
                  <a:lnTo>
                    <a:pt x="3234" y="354"/>
                  </a:lnTo>
                  <a:lnTo>
                    <a:pt x="3216" y="354"/>
                  </a:lnTo>
                  <a:lnTo>
                    <a:pt x="3204" y="360"/>
                  </a:lnTo>
                  <a:lnTo>
                    <a:pt x="3186" y="360"/>
                  </a:lnTo>
                  <a:lnTo>
                    <a:pt x="3180" y="366"/>
                  </a:lnTo>
                  <a:lnTo>
                    <a:pt x="3174" y="366"/>
                  </a:lnTo>
                  <a:lnTo>
                    <a:pt x="3132" y="396"/>
                  </a:lnTo>
                  <a:lnTo>
                    <a:pt x="3114" y="396"/>
                  </a:lnTo>
                  <a:lnTo>
                    <a:pt x="3108" y="402"/>
                  </a:lnTo>
                  <a:lnTo>
                    <a:pt x="3102" y="402"/>
                  </a:lnTo>
                  <a:lnTo>
                    <a:pt x="3096" y="408"/>
                  </a:lnTo>
                  <a:lnTo>
                    <a:pt x="3102" y="414"/>
                  </a:lnTo>
                  <a:lnTo>
                    <a:pt x="3120" y="426"/>
                  </a:lnTo>
                  <a:lnTo>
                    <a:pt x="3132" y="438"/>
                  </a:lnTo>
                  <a:lnTo>
                    <a:pt x="3150" y="444"/>
                  </a:lnTo>
                  <a:lnTo>
                    <a:pt x="3156" y="450"/>
                  </a:lnTo>
                  <a:lnTo>
                    <a:pt x="3162" y="450"/>
                  </a:lnTo>
                  <a:lnTo>
                    <a:pt x="3120" y="462"/>
                  </a:lnTo>
                  <a:lnTo>
                    <a:pt x="3096" y="474"/>
                  </a:lnTo>
                  <a:lnTo>
                    <a:pt x="2994" y="474"/>
                  </a:lnTo>
                  <a:lnTo>
                    <a:pt x="2988" y="480"/>
                  </a:lnTo>
                  <a:lnTo>
                    <a:pt x="2952" y="468"/>
                  </a:lnTo>
                  <a:lnTo>
                    <a:pt x="2934" y="474"/>
                  </a:lnTo>
                  <a:lnTo>
                    <a:pt x="2880" y="474"/>
                  </a:lnTo>
                  <a:lnTo>
                    <a:pt x="2874" y="480"/>
                  </a:lnTo>
                  <a:lnTo>
                    <a:pt x="2874" y="498"/>
                  </a:lnTo>
                  <a:lnTo>
                    <a:pt x="2880" y="510"/>
                  </a:lnTo>
                  <a:lnTo>
                    <a:pt x="2892" y="522"/>
                  </a:lnTo>
                  <a:lnTo>
                    <a:pt x="2898" y="522"/>
                  </a:lnTo>
                  <a:lnTo>
                    <a:pt x="2904" y="528"/>
                  </a:lnTo>
                  <a:lnTo>
                    <a:pt x="2910" y="540"/>
                  </a:lnTo>
                  <a:lnTo>
                    <a:pt x="2916" y="546"/>
                  </a:lnTo>
                  <a:lnTo>
                    <a:pt x="2922" y="546"/>
                  </a:lnTo>
                  <a:lnTo>
                    <a:pt x="2928" y="552"/>
                  </a:lnTo>
                  <a:lnTo>
                    <a:pt x="2940" y="552"/>
                  </a:lnTo>
                  <a:lnTo>
                    <a:pt x="2952" y="558"/>
                  </a:lnTo>
                  <a:lnTo>
                    <a:pt x="2964" y="558"/>
                  </a:lnTo>
                  <a:lnTo>
                    <a:pt x="2976" y="564"/>
                  </a:lnTo>
                  <a:lnTo>
                    <a:pt x="2994" y="564"/>
                  </a:lnTo>
                  <a:lnTo>
                    <a:pt x="3012" y="570"/>
                  </a:lnTo>
                  <a:lnTo>
                    <a:pt x="3024" y="570"/>
                  </a:lnTo>
                  <a:lnTo>
                    <a:pt x="3036" y="576"/>
                  </a:lnTo>
                  <a:lnTo>
                    <a:pt x="3042" y="576"/>
                  </a:lnTo>
                  <a:lnTo>
                    <a:pt x="3054" y="588"/>
                  </a:lnTo>
                  <a:lnTo>
                    <a:pt x="3054" y="594"/>
                  </a:lnTo>
                  <a:lnTo>
                    <a:pt x="3060" y="600"/>
                  </a:lnTo>
                  <a:lnTo>
                    <a:pt x="3030" y="600"/>
                  </a:lnTo>
                  <a:lnTo>
                    <a:pt x="3012" y="606"/>
                  </a:lnTo>
                  <a:lnTo>
                    <a:pt x="3000" y="606"/>
                  </a:lnTo>
                  <a:lnTo>
                    <a:pt x="2964" y="588"/>
                  </a:lnTo>
                  <a:lnTo>
                    <a:pt x="2928" y="576"/>
                  </a:lnTo>
                  <a:lnTo>
                    <a:pt x="2904" y="570"/>
                  </a:lnTo>
                  <a:lnTo>
                    <a:pt x="2886" y="564"/>
                  </a:lnTo>
                  <a:lnTo>
                    <a:pt x="2862" y="564"/>
                  </a:lnTo>
                  <a:lnTo>
                    <a:pt x="2844" y="558"/>
                  </a:lnTo>
                  <a:lnTo>
                    <a:pt x="2802" y="558"/>
                  </a:lnTo>
                  <a:lnTo>
                    <a:pt x="2796" y="564"/>
                  </a:lnTo>
                  <a:lnTo>
                    <a:pt x="2796" y="576"/>
                  </a:lnTo>
                  <a:lnTo>
                    <a:pt x="2802" y="582"/>
                  </a:lnTo>
                  <a:lnTo>
                    <a:pt x="2808" y="582"/>
                  </a:lnTo>
                  <a:lnTo>
                    <a:pt x="2820" y="594"/>
                  </a:lnTo>
                  <a:lnTo>
                    <a:pt x="2784" y="594"/>
                  </a:lnTo>
                  <a:lnTo>
                    <a:pt x="2772" y="582"/>
                  </a:lnTo>
                  <a:lnTo>
                    <a:pt x="2754" y="582"/>
                  </a:lnTo>
                  <a:lnTo>
                    <a:pt x="2748" y="576"/>
                  </a:lnTo>
                  <a:lnTo>
                    <a:pt x="2724" y="576"/>
                  </a:lnTo>
                  <a:lnTo>
                    <a:pt x="2724" y="582"/>
                  </a:lnTo>
                  <a:lnTo>
                    <a:pt x="2730" y="600"/>
                  </a:lnTo>
                  <a:lnTo>
                    <a:pt x="2736" y="612"/>
                  </a:lnTo>
                  <a:lnTo>
                    <a:pt x="2748" y="618"/>
                  </a:lnTo>
                  <a:lnTo>
                    <a:pt x="2766" y="624"/>
                  </a:lnTo>
                  <a:lnTo>
                    <a:pt x="2802" y="624"/>
                  </a:lnTo>
                  <a:lnTo>
                    <a:pt x="2820" y="630"/>
                  </a:lnTo>
                  <a:lnTo>
                    <a:pt x="2844" y="630"/>
                  </a:lnTo>
                  <a:lnTo>
                    <a:pt x="2856" y="636"/>
                  </a:lnTo>
                  <a:lnTo>
                    <a:pt x="2862" y="648"/>
                  </a:lnTo>
                  <a:lnTo>
                    <a:pt x="2874" y="654"/>
                  </a:lnTo>
                  <a:lnTo>
                    <a:pt x="2844" y="654"/>
                  </a:lnTo>
                  <a:lnTo>
                    <a:pt x="2838" y="648"/>
                  </a:lnTo>
                  <a:lnTo>
                    <a:pt x="2826" y="642"/>
                  </a:lnTo>
                  <a:lnTo>
                    <a:pt x="2772" y="642"/>
                  </a:lnTo>
                  <a:lnTo>
                    <a:pt x="2760" y="636"/>
                  </a:lnTo>
                  <a:lnTo>
                    <a:pt x="2730" y="636"/>
                  </a:lnTo>
                  <a:lnTo>
                    <a:pt x="2724" y="624"/>
                  </a:lnTo>
                  <a:lnTo>
                    <a:pt x="2700" y="624"/>
                  </a:lnTo>
                  <a:lnTo>
                    <a:pt x="2694" y="606"/>
                  </a:lnTo>
                  <a:lnTo>
                    <a:pt x="2664" y="594"/>
                  </a:lnTo>
                  <a:lnTo>
                    <a:pt x="2670" y="588"/>
                  </a:lnTo>
                  <a:lnTo>
                    <a:pt x="2682" y="582"/>
                  </a:lnTo>
                  <a:lnTo>
                    <a:pt x="2688" y="576"/>
                  </a:lnTo>
                  <a:lnTo>
                    <a:pt x="2688" y="564"/>
                  </a:lnTo>
                  <a:lnTo>
                    <a:pt x="2658" y="534"/>
                  </a:lnTo>
                  <a:lnTo>
                    <a:pt x="2646" y="528"/>
                  </a:lnTo>
                  <a:lnTo>
                    <a:pt x="2616" y="528"/>
                  </a:lnTo>
                  <a:lnTo>
                    <a:pt x="2628" y="534"/>
                  </a:lnTo>
                  <a:lnTo>
                    <a:pt x="2652" y="558"/>
                  </a:lnTo>
                  <a:lnTo>
                    <a:pt x="2640" y="570"/>
                  </a:lnTo>
                  <a:lnTo>
                    <a:pt x="2616" y="582"/>
                  </a:lnTo>
                  <a:lnTo>
                    <a:pt x="2604" y="582"/>
                  </a:lnTo>
                  <a:lnTo>
                    <a:pt x="2586" y="624"/>
                  </a:lnTo>
                  <a:lnTo>
                    <a:pt x="2658" y="660"/>
                  </a:lnTo>
                  <a:lnTo>
                    <a:pt x="2676" y="660"/>
                  </a:lnTo>
                  <a:lnTo>
                    <a:pt x="2676" y="696"/>
                  </a:lnTo>
                  <a:lnTo>
                    <a:pt x="2670" y="708"/>
                  </a:lnTo>
                  <a:lnTo>
                    <a:pt x="2670" y="720"/>
                  </a:lnTo>
                  <a:lnTo>
                    <a:pt x="2676" y="738"/>
                  </a:lnTo>
                  <a:lnTo>
                    <a:pt x="2712" y="744"/>
                  </a:lnTo>
                  <a:lnTo>
                    <a:pt x="2712" y="768"/>
                  </a:lnTo>
                  <a:lnTo>
                    <a:pt x="2772" y="780"/>
                  </a:lnTo>
                  <a:lnTo>
                    <a:pt x="2778" y="780"/>
                  </a:lnTo>
                  <a:lnTo>
                    <a:pt x="2784" y="774"/>
                  </a:lnTo>
                  <a:lnTo>
                    <a:pt x="2796" y="774"/>
                  </a:lnTo>
                  <a:lnTo>
                    <a:pt x="2814" y="768"/>
                  </a:lnTo>
                  <a:lnTo>
                    <a:pt x="2850" y="768"/>
                  </a:lnTo>
                  <a:lnTo>
                    <a:pt x="2868" y="774"/>
                  </a:lnTo>
                  <a:lnTo>
                    <a:pt x="2874" y="780"/>
                  </a:lnTo>
                  <a:lnTo>
                    <a:pt x="2886" y="786"/>
                  </a:lnTo>
                  <a:lnTo>
                    <a:pt x="2904" y="786"/>
                  </a:lnTo>
                  <a:lnTo>
                    <a:pt x="2916" y="792"/>
                  </a:lnTo>
                  <a:lnTo>
                    <a:pt x="2952" y="804"/>
                  </a:lnTo>
                  <a:lnTo>
                    <a:pt x="2976" y="828"/>
                  </a:lnTo>
                  <a:lnTo>
                    <a:pt x="2976" y="834"/>
                  </a:lnTo>
                  <a:lnTo>
                    <a:pt x="2964" y="834"/>
                  </a:lnTo>
                  <a:lnTo>
                    <a:pt x="2958" y="840"/>
                  </a:lnTo>
                  <a:lnTo>
                    <a:pt x="2946" y="840"/>
                  </a:lnTo>
                  <a:lnTo>
                    <a:pt x="2940" y="846"/>
                  </a:lnTo>
                  <a:lnTo>
                    <a:pt x="2946" y="852"/>
                  </a:lnTo>
                  <a:lnTo>
                    <a:pt x="2958" y="858"/>
                  </a:lnTo>
                  <a:lnTo>
                    <a:pt x="2976" y="876"/>
                  </a:lnTo>
                  <a:lnTo>
                    <a:pt x="3024" y="876"/>
                  </a:lnTo>
                  <a:lnTo>
                    <a:pt x="3012" y="882"/>
                  </a:lnTo>
                  <a:lnTo>
                    <a:pt x="3006" y="882"/>
                  </a:lnTo>
                  <a:lnTo>
                    <a:pt x="2994" y="888"/>
                  </a:lnTo>
                  <a:lnTo>
                    <a:pt x="2970" y="888"/>
                  </a:lnTo>
                  <a:lnTo>
                    <a:pt x="2958" y="882"/>
                  </a:lnTo>
                  <a:lnTo>
                    <a:pt x="2952" y="876"/>
                  </a:lnTo>
                  <a:lnTo>
                    <a:pt x="2940" y="870"/>
                  </a:lnTo>
                  <a:lnTo>
                    <a:pt x="2940" y="858"/>
                  </a:lnTo>
                  <a:lnTo>
                    <a:pt x="2928" y="834"/>
                  </a:lnTo>
                  <a:lnTo>
                    <a:pt x="2916" y="822"/>
                  </a:lnTo>
                  <a:lnTo>
                    <a:pt x="2892" y="810"/>
                  </a:lnTo>
                  <a:lnTo>
                    <a:pt x="2886" y="804"/>
                  </a:lnTo>
                  <a:lnTo>
                    <a:pt x="2880" y="804"/>
                  </a:lnTo>
                  <a:lnTo>
                    <a:pt x="2874" y="798"/>
                  </a:lnTo>
                  <a:lnTo>
                    <a:pt x="2874" y="786"/>
                  </a:lnTo>
                  <a:lnTo>
                    <a:pt x="2868" y="780"/>
                  </a:lnTo>
                  <a:lnTo>
                    <a:pt x="2844" y="780"/>
                  </a:lnTo>
                  <a:lnTo>
                    <a:pt x="2832" y="786"/>
                  </a:lnTo>
                  <a:lnTo>
                    <a:pt x="2814" y="786"/>
                  </a:lnTo>
                  <a:lnTo>
                    <a:pt x="2802" y="792"/>
                  </a:lnTo>
                  <a:lnTo>
                    <a:pt x="2778" y="792"/>
                  </a:lnTo>
                  <a:lnTo>
                    <a:pt x="2760" y="810"/>
                  </a:lnTo>
                  <a:lnTo>
                    <a:pt x="2766" y="816"/>
                  </a:lnTo>
                  <a:lnTo>
                    <a:pt x="2772" y="828"/>
                  </a:lnTo>
                  <a:lnTo>
                    <a:pt x="2784" y="834"/>
                  </a:lnTo>
                  <a:lnTo>
                    <a:pt x="2802" y="852"/>
                  </a:lnTo>
                  <a:lnTo>
                    <a:pt x="2814" y="858"/>
                  </a:lnTo>
                  <a:lnTo>
                    <a:pt x="2814" y="864"/>
                  </a:lnTo>
                  <a:lnTo>
                    <a:pt x="2790" y="888"/>
                  </a:lnTo>
                  <a:lnTo>
                    <a:pt x="2784" y="888"/>
                  </a:lnTo>
                  <a:lnTo>
                    <a:pt x="2778" y="930"/>
                  </a:lnTo>
                  <a:lnTo>
                    <a:pt x="2736" y="948"/>
                  </a:lnTo>
                  <a:lnTo>
                    <a:pt x="2736" y="954"/>
                  </a:lnTo>
                  <a:lnTo>
                    <a:pt x="2730" y="966"/>
                  </a:lnTo>
                  <a:lnTo>
                    <a:pt x="2724" y="972"/>
                  </a:lnTo>
                  <a:lnTo>
                    <a:pt x="2694" y="972"/>
                  </a:lnTo>
                  <a:lnTo>
                    <a:pt x="2682" y="966"/>
                  </a:lnTo>
                  <a:lnTo>
                    <a:pt x="2652" y="966"/>
                  </a:lnTo>
                  <a:lnTo>
                    <a:pt x="2592" y="960"/>
                  </a:lnTo>
                  <a:lnTo>
                    <a:pt x="2586" y="960"/>
                  </a:lnTo>
                  <a:lnTo>
                    <a:pt x="2580" y="954"/>
                  </a:lnTo>
                  <a:lnTo>
                    <a:pt x="2568" y="948"/>
                  </a:lnTo>
                  <a:lnTo>
                    <a:pt x="2556" y="948"/>
                  </a:lnTo>
                  <a:lnTo>
                    <a:pt x="2544" y="936"/>
                  </a:lnTo>
                  <a:lnTo>
                    <a:pt x="2598" y="936"/>
                  </a:lnTo>
                  <a:lnTo>
                    <a:pt x="2616" y="942"/>
                  </a:lnTo>
                  <a:lnTo>
                    <a:pt x="2640" y="924"/>
                  </a:lnTo>
                  <a:lnTo>
                    <a:pt x="2652" y="924"/>
                  </a:lnTo>
                  <a:lnTo>
                    <a:pt x="2664" y="930"/>
                  </a:lnTo>
                  <a:lnTo>
                    <a:pt x="2682" y="930"/>
                  </a:lnTo>
                  <a:lnTo>
                    <a:pt x="2694" y="924"/>
                  </a:lnTo>
                  <a:lnTo>
                    <a:pt x="2694" y="906"/>
                  </a:lnTo>
                  <a:lnTo>
                    <a:pt x="2700" y="894"/>
                  </a:lnTo>
                  <a:lnTo>
                    <a:pt x="2700" y="882"/>
                  </a:lnTo>
                  <a:lnTo>
                    <a:pt x="2724" y="876"/>
                  </a:lnTo>
                  <a:lnTo>
                    <a:pt x="2724" y="852"/>
                  </a:lnTo>
                  <a:lnTo>
                    <a:pt x="2712" y="852"/>
                  </a:lnTo>
                  <a:lnTo>
                    <a:pt x="2718" y="846"/>
                  </a:lnTo>
                  <a:lnTo>
                    <a:pt x="2724" y="834"/>
                  </a:lnTo>
                  <a:lnTo>
                    <a:pt x="2724" y="822"/>
                  </a:lnTo>
                  <a:lnTo>
                    <a:pt x="2718" y="816"/>
                  </a:lnTo>
                  <a:lnTo>
                    <a:pt x="2712" y="816"/>
                  </a:lnTo>
                  <a:lnTo>
                    <a:pt x="2700" y="810"/>
                  </a:lnTo>
                  <a:lnTo>
                    <a:pt x="2682" y="810"/>
                  </a:lnTo>
                  <a:lnTo>
                    <a:pt x="2664" y="804"/>
                  </a:lnTo>
                  <a:lnTo>
                    <a:pt x="2652" y="804"/>
                  </a:lnTo>
                  <a:lnTo>
                    <a:pt x="2634" y="786"/>
                  </a:lnTo>
                  <a:lnTo>
                    <a:pt x="2634" y="744"/>
                  </a:lnTo>
                  <a:lnTo>
                    <a:pt x="2628" y="732"/>
                  </a:lnTo>
                  <a:lnTo>
                    <a:pt x="2616" y="720"/>
                  </a:lnTo>
                  <a:lnTo>
                    <a:pt x="2604" y="714"/>
                  </a:lnTo>
                  <a:lnTo>
                    <a:pt x="2598" y="702"/>
                  </a:lnTo>
                  <a:lnTo>
                    <a:pt x="2592" y="696"/>
                  </a:lnTo>
                  <a:lnTo>
                    <a:pt x="2586" y="660"/>
                  </a:lnTo>
                  <a:lnTo>
                    <a:pt x="2520" y="624"/>
                  </a:lnTo>
                  <a:lnTo>
                    <a:pt x="2532" y="612"/>
                  </a:lnTo>
                  <a:lnTo>
                    <a:pt x="2544" y="588"/>
                  </a:lnTo>
                  <a:lnTo>
                    <a:pt x="2544" y="576"/>
                  </a:lnTo>
                  <a:lnTo>
                    <a:pt x="2538" y="564"/>
                  </a:lnTo>
                  <a:lnTo>
                    <a:pt x="2514" y="540"/>
                  </a:lnTo>
                  <a:lnTo>
                    <a:pt x="2496" y="540"/>
                  </a:lnTo>
                  <a:lnTo>
                    <a:pt x="2484" y="534"/>
                  </a:lnTo>
                  <a:lnTo>
                    <a:pt x="2472" y="534"/>
                  </a:lnTo>
                  <a:lnTo>
                    <a:pt x="2340" y="522"/>
                  </a:lnTo>
                  <a:lnTo>
                    <a:pt x="2328" y="552"/>
                  </a:lnTo>
                  <a:lnTo>
                    <a:pt x="2346" y="570"/>
                  </a:lnTo>
                  <a:lnTo>
                    <a:pt x="2334" y="600"/>
                  </a:lnTo>
                  <a:lnTo>
                    <a:pt x="2280" y="624"/>
                  </a:lnTo>
                  <a:lnTo>
                    <a:pt x="2268" y="654"/>
                  </a:lnTo>
                  <a:lnTo>
                    <a:pt x="2304" y="660"/>
                  </a:lnTo>
                  <a:lnTo>
                    <a:pt x="2334" y="708"/>
                  </a:lnTo>
                  <a:lnTo>
                    <a:pt x="2322" y="726"/>
                  </a:lnTo>
                  <a:lnTo>
                    <a:pt x="2352" y="750"/>
                  </a:lnTo>
                  <a:lnTo>
                    <a:pt x="2388" y="744"/>
                  </a:lnTo>
                  <a:lnTo>
                    <a:pt x="2394" y="750"/>
                  </a:lnTo>
                  <a:lnTo>
                    <a:pt x="2400" y="762"/>
                  </a:lnTo>
                  <a:lnTo>
                    <a:pt x="2412" y="768"/>
                  </a:lnTo>
                  <a:lnTo>
                    <a:pt x="2418" y="774"/>
                  </a:lnTo>
                  <a:lnTo>
                    <a:pt x="2430" y="780"/>
                  </a:lnTo>
                  <a:lnTo>
                    <a:pt x="2472" y="780"/>
                  </a:lnTo>
                  <a:lnTo>
                    <a:pt x="2466" y="840"/>
                  </a:lnTo>
                  <a:lnTo>
                    <a:pt x="2448" y="816"/>
                  </a:lnTo>
                  <a:lnTo>
                    <a:pt x="2430" y="828"/>
                  </a:lnTo>
                  <a:lnTo>
                    <a:pt x="2418" y="822"/>
                  </a:lnTo>
                  <a:lnTo>
                    <a:pt x="2388" y="804"/>
                  </a:lnTo>
                  <a:lnTo>
                    <a:pt x="2352" y="792"/>
                  </a:lnTo>
                  <a:lnTo>
                    <a:pt x="2328" y="780"/>
                  </a:lnTo>
                  <a:lnTo>
                    <a:pt x="2268" y="780"/>
                  </a:lnTo>
                  <a:lnTo>
                    <a:pt x="2250" y="762"/>
                  </a:lnTo>
                  <a:lnTo>
                    <a:pt x="2244" y="780"/>
                  </a:lnTo>
                  <a:lnTo>
                    <a:pt x="2220" y="756"/>
                  </a:lnTo>
                  <a:lnTo>
                    <a:pt x="2214" y="756"/>
                  </a:lnTo>
                  <a:lnTo>
                    <a:pt x="2208" y="750"/>
                  </a:lnTo>
                  <a:lnTo>
                    <a:pt x="2196" y="744"/>
                  </a:lnTo>
                  <a:lnTo>
                    <a:pt x="2178" y="744"/>
                  </a:lnTo>
                  <a:lnTo>
                    <a:pt x="2154" y="732"/>
                  </a:lnTo>
                  <a:lnTo>
                    <a:pt x="2130" y="732"/>
                  </a:lnTo>
                  <a:lnTo>
                    <a:pt x="2118" y="738"/>
                  </a:lnTo>
                  <a:lnTo>
                    <a:pt x="2088" y="738"/>
                  </a:lnTo>
                  <a:lnTo>
                    <a:pt x="2076" y="732"/>
                  </a:lnTo>
                  <a:lnTo>
                    <a:pt x="2022" y="732"/>
                  </a:lnTo>
                  <a:lnTo>
                    <a:pt x="2016" y="738"/>
                  </a:lnTo>
                  <a:lnTo>
                    <a:pt x="2010" y="738"/>
                  </a:lnTo>
                  <a:lnTo>
                    <a:pt x="2004" y="744"/>
                  </a:lnTo>
                  <a:lnTo>
                    <a:pt x="2004" y="750"/>
                  </a:lnTo>
                  <a:lnTo>
                    <a:pt x="2016" y="762"/>
                  </a:lnTo>
                  <a:lnTo>
                    <a:pt x="2028" y="768"/>
                  </a:lnTo>
                  <a:lnTo>
                    <a:pt x="2040" y="780"/>
                  </a:lnTo>
                  <a:lnTo>
                    <a:pt x="2046" y="780"/>
                  </a:lnTo>
                  <a:lnTo>
                    <a:pt x="2022" y="810"/>
                  </a:lnTo>
                  <a:lnTo>
                    <a:pt x="2010" y="798"/>
                  </a:lnTo>
                  <a:lnTo>
                    <a:pt x="2010" y="828"/>
                  </a:lnTo>
                  <a:lnTo>
                    <a:pt x="1998" y="828"/>
                  </a:lnTo>
                  <a:lnTo>
                    <a:pt x="1986" y="822"/>
                  </a:lnTo>
                  <a:lnTo>
                    <a:pt x="1980" y="822"/>
                  </a:lnTo>
                  <a:lnTo>
                    <a:pt x="1974" y="816"/>
                  </a:lnTo>
                  <a:lnTo>
                    <a:pt x="1974" y="786"/>
                  </a:lnTo>
                  <a:lnTo>
                    <a:pt x="1968" y="780"/>
                  </a:lnTo>
                  <a:lnTo>
                    <a:pt x="1950" y="780"/>
                  </a:lnTo>
                  <a:lnTo>
                    <a:pt x="1938" y="786"/>
                  </a:lnTo>
                  <a:lnTo>
                    <a:pt x="1920" y="792"/>
                  </a:lnTo>
                  <a:lnTo>
                    <a:pt x="1908" y="804"/>
                  </a:lnTo>
                  <a:lnTo>
                    <a:pt x="1884" y="816"/>
                  </a:lnTo>
                  <a:lnTo>
                    <a:pt x="1866" y="816"/>
                  </a:lnTo>
                  <a:lnTo>
                    <a:pt x="1842" y="804"/>
                  </a:lnTo>
                  <a:lnTo>
                    <a:pt x="1824" y="804"/>
                  </a:lnTo>
                  <a:lnTo>
                    <a:pt x="1800" y="810"/>
                  </a:lnTo>
                  <a:lnTo>
                    <a:pt x="1782" y="816"/>
                  </a:lnTo>
                  <a:lnTo>
                    <a:pt x="1764" y="828"/>
                  </a:lnTo>
                  <a:lnTo>
                    <a:pt x="1752" y="834"/>
                  </a:lnTo>
                  <a:lnTo>
                    <a:pt x="1746" y="840"/>
                  </a:lnTo>
                  <a:lnTo>
                    <a:pt x="1680" y="840"/>
                  </a:lnTo>
                  <a:lnTo>
                    <a:pt x="1692" y="816"/>
                  </a:lnTo>
                  <a:lnTo>
                    <a:pt x="1692" y="780"/>
                  </a:lnTo>
                  <a:lnTo>
                    <a:pt x="1680" y="780"/>
                  </a:lnTo>
                  <a:lnTo>
                    <a:pt x="1668" y="786"/>
                  </a:lnTo>
                  <a:lnTo>
                    <a:pt x="1650" y="792"/>
                  </a:lnTo>
                  <a:lnTo>
                    <a:pt x="1638" y="792"/>
                  </a:lnTo>
                  <a:lnTo>
                    <a:pt x="1626" y="804"/>
                  </a:lnTo>
                  <a:lnTo>
                    <a:pt x="1626" y="816"/>
                  </a:lnTo>
                  <a:lnTo>
                    <a:pt x="1632" y="822"/>
                  </a:lnTo>
                  <a:lnTo>
                    <a:pt x="1632" y="828"/>
                  </a:lnTo>
                  <a:lnTo>
                    <a:pt x="1608" y="834"/>
                  </a:lnTo>
                  <a:lnTo>
                    <a:pt x="1608" y="810"/>
                  </a:lnTo>
                  <a:lnTo>
                    <a:pt x="1584" y="816"/>
                  </a:lnTo>
                  <a:lnTo>
                    <a:pt x="1530" y="822"/>
                  </a:lnTo>
                  <a:lnTo>
                    <a:pt x="1488" y="852"/>
                  </a:lnTo>
                  <a:lnTo>
                    <a:pt x="1440" y="858"/>
                  </a:lnTo>
                  <a:lnTo>
                    <a:pt x="1452" y="876"/>
                  </a:lnTo>
                  <a:lnTo>
                    <a:pt x="1440" y="876"/>
                  </a:lnTo>
                  <a:lnTo>
                    <a:pt x="1428" y="870"/>
                  </a:lnTo>
                  <a:lnTo>
                    <a:pt x="1422" y="870"/>
                  </a:lnTo>
                  <a:lnTo>
                    <a:pt x="1410" y="876"/>
                  </a:lnTo>
                  <a:lnTo>
                    <a:pt x="1404" y="882"/>
                  </a:lnTo>
                  <a:lnTo>
                    <a:pt x="1404" y="924"/>
                  </a:lnTo>
                  <a:lnTo>
                    <a:pt x="1332" y="930"/>
                  </a:lnTo>
                  <a:lnTo>
                    <a:pt x="1326" y="924"/>
                  </a:lnTo>
                  <a:lnTo>
                    <a:pt x="1314" y="918"/>
                  </a:lnTo>
                  <a:lnTo>
                    <a:pt x="1308" y="912"/>
                  </a:lnTo>
                  <a:lnTo>
                    <a:pt x="1266" y="912"/>
                  </a:lnTo>
                  <a:lnTo>
                    <a:pt x="1260" y="906"/>
                  </a:lnTo>
                  <a:lnTo>
                    <a:pt x="1260" y="876"/>
                  </a:lnTo>
                  <a:lnTo>
                    <a:pt x="1266" y="870"/>
                  </a:lnTo>
                  <a:lnTo>
                    <a:pt x="1266" y="864"/>
                  </a:lnTo>
                  <a:lnTo>
                    <a:pt x="1272" y="858"/>
                  </a:lnTo>
                  <a:lnTo>
                    <a:pt x="1284" y="864"/>
                  </a:lnTo>
                  <a:lnTo>
                    <a:pt x="1344" y="864"/>
                  </a:lnTo>
                  <a:lnTo>
                    <a:pt x="1332" y="858"/>
                  </a:lnTo>
                  <a:lnTo>
                    <a:pt x="1326" y="846"/>
                  </a:lnTo>
                  <a:lnTo>
                    <a:pt x="1314" y="840"/>
                  </a:lnTo>
                  <a:lnTo>
                    <a:pt x="1302" y="828"/>
                  </a:lnTo>
                  <a:lnTo>
                    <a:pt x="1290" y="822"/>
                  </a:lnTo>
                  <a:lnTo>
                    <a:pt x="1278" y="810"/>
                  </a:lnTo>
                  <a:lnTo>
                    <a:pt x="1152" y="810"/>
                  </a:lnTo>
                  <a:lnTo>
                    <a:pt x="1164" y="822"/>
                  </a:lnTo>
                  <a:lnTo>
                    <a:pt x="1188" y="822"/>
                  </a:lnTo>
                  <a:lnTo>
                    <a:pt x="1200" y="828"/>
                  </a:lnTo>
                  <a:lnTo>
                    <a:pt x="1200" y="846"/>
                  </a:lnTo>
                  <a:lnTo>
                    <a:pt x="1194" y="864"/>
                  </a:lnTo>
                  <a:lnTo>
                    <a:pt x="1194" y="876"/>
                  </a:lnTo>
                  <a:lnTo>
                    <a:pt x="1188" y="894"/>
                  </a:lnTo>
                  <a:lnTo>
                    <a:pt x="1188" y="918"/>
                  </a:lnTo>
                  <a:lnTo>
                    <a:pt x="1194" y="918"/>
                  </a:lnTo>
                  <a:lnTo>
                    <a:pt x="1206" y="924"/>
                  </a:lnTo>
                  <a:lnTo>
                    <a:pt x="1230" y="924"/>
                  </a:lnTo>
                  <a:lnTo>
                    <a:pt x="1236" y="930"/>
                  </a:lnTo>
                  <a:lnTo>
                    <a:pt x="1242" y="930"/>
                  </a:lnTo>
                  <a:lnTo>
                    <a:pt x="1236" y="966"/>
                  </a:lnTo>
                  <a:lnTo>
                    <a:pt x="1248" y="996"/>
                  </a:lnTo>
                  <a:lnTo>
                    <a:pt x="1212" y="972"/>
                  </a:lnTo>
                  <a:lnTo>
                    <a:pt x="1194" y="996"/>
                  </a:lnTo>
                  <a:lnTo>
                    <a:pt x="1188" y="966"/>
                  </a:lnTo>
                  <a:lnTo>
                    <a:pt x="1116" y="948"/>
                  </a:lnTo>
                  <a:lnTo>
                    <a:pt x="1086" y="984"/>
                  </a:lnTo>
                  <a:lnTo>
                    <a:pt x="1062" y="984"/>
                  </a:lnTo>
                  <a:lnTo>
                    <a:pt x="1056" y="996"/>
                  </a:lnTo>
                  <a:lnTo>
                    <a:pt x="1044" y="1002"/>
                  </a:lnTo>
                  <a:lnTo>
                    <a:pt x="1038" y="1008"/>
                  </a:lnTo>
                  <a:lnTo>
                    <a:pt x="1026" y="1014"/>
                  </a:lnTo>
                  <a:lnTo>
                    <a:pt x="1014" y="1014"/>
                  </a:lnTo>
                  <a:lnTo>
                    <a:pt x="1002" y="1020"/>
                  </a:lnTo>
                  <a:lnTo>
                    <a:pt x="1002" y="1032"/>
                  </a:lnTo>
                  <a:lnTo>
                    <a:pt x="1008" y="1038"/>
                  </a:lnTo>
                  <a:lnTo>
                    <a:pt x="1020" y="1044"/>
                  </a:lnTo>
                  <a:lnTo>
                    <a:pt x="1032" y="1056"/>
                  </a:lnTo>
                  <a:lnTo>
                    <a:pt x="1044" y="1062"/>
                  </a:lnTo>
                  <a:lnTo>
                    <a:pt x="1050" y="1068"/>
                  </a:lnTo>
                  <a:lnTo>
                    <a:pt x="1062" y="1074"/>
                  </a:lnTo>
                  <a:lnTo>
                    <a:pt x="1080" y="1104"/>
                  </a:lnTo>
                  <a:lnTo>
                    <a:pt x="1050" y="1086"/>
                  </a:lnTo>
                  <a:lnTo>
                    <a:pt x="1038" y="1092"/>
                  </a:lnTo>
                  <a:lnTo>
                    <a:pt x="1032" y="1098"/>
                  </a:lnTo>
                  <a:lnTo>
                    <a:pt x="1020" y="1098"/>
                  </a:lnTo>
                  <a:lnTo>
                    <a:pt x="1008" y="1092"/>
                  </a:lnTo>
                  <a:lnTo>
                    <a:pt x="996" y="1092"/>
                  </a:lnTo>
                  <a:lnTo>
                    <a:pt x="978" y="1086"/>
                  </a:lnTo>
                  <a:lnTo>
                    <a:pt x="966" y="1080"/>
                  </a:lnTo>
                  <a:lnTo>
                    <a:pt x="948" y="1080"/>
                  </a:lnTo>
                  <a:lnTo>
                    <a:pt x="936" y="1074"/>
                  </a:lnTo>
                  <a:lnTo>
                    <a:pt x="924" y="1074"/>
                  </a:lnTo>
                  <a:lnTo>
                    <a:pt x="918" y="1068"/>
                  </a:lnTo>
                  <a:lnTo>
                    <a:pt x="918" y="1056"/>
                  </a:lnTo>
                  <a:lnTo>
                    <a:pt x="906" y="1050"/>
                  </a:lnTo>
                  <a:lnTo>
                    <a:pt x="888" y="1050"/>
                  </a:lnTo>
                  <a:lnTo>
                    <a:pt x="864" y="1062"/>
                  </a:lnTo>
                  <a:lnTo>
                    <a:pt x="858" y="1068"/>
                  </a:lnTo>
                  <a:lnTo>
                    <a:pt x="840" y="1068"/>
                  </a:lnTo>
                  <a:lnTo>
                    <a:pt x="882" y="1104"/>
                  </a:lnTo>
                  <a:lnTo>
                    <a:pt x="900" y="1104"/>
                  </a:lnTo>
                  <a:lnTo>
                    <a:pt x="912" y="1110"/>
                  </a:lnTo>
                  <a:lnTo>
                    <a:pt x="924" y="1110"/>
                  </a:lnTo>
                  <a:lnTo>
                    <a:pt x="936" y="1116"/>
                  </a:lnTo>
                  <a:lnTo>
                    <a:pt x="942" y="1116"/>
                  </a:lnTo>
                  <a:lnTo>
                    <a:pt x="942" y="1122"/>
                  </a:lnTo>
                  <a:lnTo>
                    <a:pt x="936" y="1134"/>
                  </a:lnTo>
                  <a:lnTo>
                    <a:pt x="924" y="1140"/>
                  </a:lnTo>
                  <a:lnTo>
                    <a:pt x="918" y="1146"/>
                  </a:lnTo>
                  <a:lnTo>
                    <a:pt x="852" y="1128"/>
                  </a:lnTo>
                  <a:lnTo>
                    <a:pt x="840" y="1122"/>
                  </a:lnTo>
                  <a:lnTo>
                    <a:pt x="834" y="1116"/>
                  </a:lnTo>
                  <a:lnTo>
                    <a:pt x="822" y="1110"/>
                  </a:lnTo>
                  <a:lnTo>
                    <a:pt x="762" y="1110"/>
                  </a:lnTo>
                  <a:lnTo>
                    <a:pt x="756" y="1104"/>
                  </a:lnTo>
                  <a:lnTo>
                    <a:pt x="756" y="1056"/>
                  </a:lnTo>
                  <a:lnTo>
                    <a:pt x="738" y="1044"/>
                  </a:lnTo>
                  <a:lnTo>
                    <a:pt x="750" y="1032"/>
                  </a:lnTo>
                  <a:lnTo>
                    <a:pt x="756" y="1020"/>
                  </a:lnTo>
                  <a:lnTo>
                    <a:pt x="756" y="1002"/>
                  </a:lnTo>
                  <a:lnTo>
                    <a:pt x="738" y="990"/>
                  </a:lnTo>
                  <a:lnTo>
                    <a:pt x="702" y="978"/>
                  </a:lnTo>
                  <a:lnTo>
                    <a:pt x="672" y="972"/>
                  </a:lnTo>
                  <a:lnTo>
                    <a:pt x="660" y="966"/>
                  </a:lnTo>
                  <a:lnTo>
                    <a:pt x="630" y="948"/>
                  </a:lnTo>
                  <a:lnTo>
                    <a:pt x="606" y="930"/>
                  </a:lnTo>
                  <a:lnTo>
                    <a:pt x="594" y="912"/>
                  </a:lnTo>
                  <a:lnTo>
                    <a:pt x="630" y="912"/>
                  </a:lnTo>
                  <a:lnTo>
                    <a:pt x="630" y="924"/>
                  </a:lnTo>
                  <a:lnTo>
                    <a:pt x="642" y="924"/>
                  </a:lnTo>
                  <a:lnTo>
                    <a:pt x="654" y="930"/>
                  </a:lnTo>
                  <a:lnTo>
                    <a:pt x="672" y="930"/>
                  </a:lnTo>
                  <a:lnTo>
                    <a:pt x="690" y="936"/>
                  </a:lnTo>
                  <a:lnTo>
                    <a:pt x="720" y="936"/>
                  </a:lnTo>
                  <a:lnTo>
                    <a:pt x="732" y="942"/>
                  </a:lnTo>
                  <a:lnTo>
                    <a:pt x="738" y="954"/>
                  </a:lnTo>
                  <a:lnTo>
                    <a:pt x="762" y="966"/>
                  </a:lnTo>
                  <a:lnTo>
                    <a:pt x="816" y="966"/>
                  </a:lnTo>
                  <a:lnTo>
                    <a:pt x="846" y="972"/>
                  </a:lnTo>
                  <a:lnTo>
                    <a:pt x="858" y="972"/>
                  </a:lnTo>
                  <a:lnTo>
                    <a:pt x="870" y="978"/>
                  </a:lnTo>
                  <a:lnTo>
                    <a:pt x="894" y="984"/>
                  </a:lnTo>
                  <a:lnTo>
                    <a:pt x="930" y="990"/>
                  </a:lnTo>
                  <a:lnTo>
                    <a:pt x="978" y="984"/>
                  </a:lnTo>
                  <a:lnTo>
                    <a:pt x="1026" y="972"/>
                  </a:lnTo>
                  <a:lnTo>
                    <a:pt x="1062" y="954"/>
                  </a:lnTo>
                  <a:lnTo>
                    <a:pt x="1080" y="936"/>
                  </a:lnTo>
                  <a:lnTo>
                    <a:pt x="1074" y="912"/>
                  </a:lnTo>
                  <a:lnTo>
                    <a:pt x="1032" y="870"/>
                  </a:lnTo>
                  <a:lnTo>
                    <a:pt x="1014" y="858"/>
                  </a:lnTo>
                  <a:lnTo>
                    <a:pt x="996" y="852"/>
                  </a:lnTo>
                  <a:lnTo>
                    <a:pt x="948" y="840"/>
                  </a:lnTo>
                  <a:lnTo>
                    <a:pt x="900" y="822"/>
                  </a:lnTo>
                  <a:lnTo>
                    <a:pt x="828" y="798"/>
                  </a:lnTo>
                  <a:lnTo>
                    <a:pt x="792" y="780"/>
                  </a:lnTo>
                  <a:lnTo>
                    <a:pt x="756" y="774"/>
                  </a:lnTo>
                  <a:lnTo>
                    <a:pt x="624" y="774"/>
                  </a:lnTo>
                  <a:lnTo>
                    <a:pt x="612" y="756"/>
                  </a:lnTo>
                  <a:lnTo>
                    <a:pt x="588" y="762"/>
                  </a:lnTo>
                  <a:lnTo>
                    <a:pt x="552" y="744"/>
                  </a:lnTo>
                  <a:lnTo>
                    <a:pt x="588" y="738"/>
                  </a:lnTo>
                  <a:lnTo>
                    <a:pt x="606" y="726"/>
                  </a:lnTo>
                  <a:lnTo>
                    <a:pt x="600" y="726"/>
                  </a:lnTo>
                  <a:lnTo>
                    <a:pt x="594" y="720"/>
                  </a:lnTo>
                  <a:lnTo>
                    <a:pt x="582" y="720"/>
                  </a:lnTo>
                  <a:lnTo>
                    <a:pt x="564" y="714"/>
                  </a:lnTo>
                  <a:lnTo>
                    <a:pt x="546" y="714"/>
                  </a:lnTo>
                  <a:lnTo>
                    <a:pt x="534" y="708"/>
                  </a:lnTo>
                  <a:lnTo>
                    <a:pt x="522" y="720"/>
                  </a:lnTo>
                  <a:lnTo>
                    <a:pt x="522" y="726"/>
                  </a:lnTo>
                  <a:lnTo>
                    <a:pt x="516" y="732"/>
                  </a:lnTo>
                  <a:lnTo>
                    <a:pt x="498" y="732"/>
                  </a:lnTo>
                  <a:lnTo>
                    <a:pt x="486" y="744"/>
                  </a:lnTo>
                  <a:lnTo>
                    <a:pt x="450" y="744"/>
                  </a:lnTo>
                  <a:lnTo>
                    <a:pt x="444" y="756"/>
                  </a:lnTo>
                  <a:lnTo>
                    <a:pt x="420" y="762"/>
                  </a:lnTo>
                  <a:lnTo>
                    <a:pt x="420" y="768"/>
                  </a:lnTo>
                  <a:lnTo>
                    <a:pt x="414" y="780"/>
                  </a:lnTo>
                  <a:lnTo>
                    <a:pt x="390" y="780"/>
                  </a:lnTo>
                  <a:lnTo>
                    <a:pt x="384" y="792"/>
                  </a:lnTo>
                  <a:lnTo>
                    <a:pt x="396" y="804"/>
                  </a:lnTo>
                  <a:lnTo>
                    <a:pt x="396" y="810"/>
                  </a:lnTo>
                  <a:lnTo>
                    <a:pt x="378" y="810"/>
                  </a:lnTo>
                  <a:lnTo>
                    <a:pt x="378" y="822"/>
                  </a:lnTo>
                  <a:lnTo>
                    <a:pt x="384" y="834"/>
                  </a:lnTo>
                  <a:lnTo>
                    <a:pt x="384" y="840"/>
                  </a:lnTo>
                  <a:lnTo>
                    <a:pt x="390" y="846"/>
                  </a:lnTo>
                  <a:lnTo>
                    <a:pt x="396" y="846"/>
                  </a:lnTo>
                  <a:lnTo>
                    <a:pt x="402" y="840"/>
                  </a:lnTo>
                  <a:lnTo>
                    <a:pt x="420" y="840"/>
                  </a:lnTo>
                  <a:lnTo>
                    <a:pt x="468" y="888"/>
                  </a:lnTo>
                  <a:lnTo>
                    <a:pt x="468" y="900"/>
                  </a:lnTo>
                  <a:lnTo>
                    <a:pt x="462" y="900"/>
                  </a:lnTo>
                  <a:lnTo>
                    <a:pt x="450" y="906"/>
                  </a:lnTo>
                  <a:lnTo>
                    <a:pt x="444" y="906"/>
                  </a:lnTo>
                  <a:lnTo>
                    <a:pt x="444" y="918"/>
                  </a:lnTo>
                  <a:lnTo>
                    <a:pt x="438" y="918"/>
                  </a:lnTo>
                  <a:lnTo>
                    <a:pt x="426" y="924"/>
                  </a:lnTo>
                  <a:lnTo>
                    <a:pt x="420" y="930"/>
                  </a:lnTo>
                  <a:lnTo>
                    <a:pt x="438" y="948"/>
                  </a:lnTo>
                  <a:lnTo>
                    <a:pt x="450" y="954"/>
                  </a:lnTo>
                  <a:lnTo>
                    <a:pt x="456" y="966"/>
                  </a:lnTo>
                  <a:lnTo>
                    <a:pt x="468" y="972"/>
                  </a:lnTo>
                  <a:lnTo>
                    <a:pt x="492" y="996"/>
                  </a:lnTo>
                  <a:lnTo>
                    <a:pt x="504" y="1002"/>
                  </a:lnTo>
                  <a:lnTo>
                    <a:pt x="510" y="1008"/>
                  </a:lnTo>
                  <a:lnTo>
                    <a:pt x="510" y="1014"/>
                  </a:lnTo>
                  <a:lnTo>
                    <a:pt x="504" y="1020"/>
                  </a:lnTo>
                  <a:lnTo>
                    <a:pt x="492" y="1020"/>
                  </a:lnTo>
                  <a:lnTo>
                    <a:pt x="480" y="1014"/>
                  </a:lnTo>
                  <a:lnTo>
                    <a:pt x="474" y="1014"/>
                  </a:lnTo>
                  <a:lnTo>
                    <a:pt x="468" y="1044"/>
                  </a:lnTo>
                  <a:lnTo>
                    <a:pt x="480" y="1056"/>
                  </a:lnTo>
                  <a:lnTo>
                    <a:pt x="480" y="1068"/>
                  </a:lnTo>
                  <a:lnTo>
                    <a:pt x="492" y="1068"/>
                  </a:lnTo>
                  <a:lnTo>
                    <a:pt x="498" y="1074"/>
                  </a:lnTo>
                  <a:lnTo>
                    <a:pt x="504" y="1074"/>
                  </a:lnTo>
                  <a:lnTo>
                    <a:pt x="510" y="1080"/>
                  </a:lnTo>
                  <a:lnTo>
                    <a:pt x="510" y="1086"/>
                  </a:lnTo>
                  <a:lnTo>
                    <a:pt x="504" y="1092"/>
                  </a:lnTo>
                  <a:lnTo>
                    <a:pt x="498" y="1104"/>
                  </a:lnTo>
                  <a:lnTo>
                    <a:pt x="522" y="1110"/>
                  </a:lnTo>
                  <a:lnTo>
                    <a:pt x="534" y="1116"/>
                  </a:lnTo>
                  <a:lnTo>
                    <a:pt x="540" y="1122"/>
                  </a:lnTo>
                  <a:lnTo>
                    <a:pt x="540" y="1128"/>
                  </a:lnTo>
                  <a:lnTo>
                    <a:pt x="516" y="1152"/>
                  </a:lnTo>
                  <a:lnTo>
                    <a:pt x="510" y="1152"/>
                  </a:lnTo>
                  <a:lnTo>
                    <a:pt x="582" y="1188"/>
                  </a:lnTo>
                  <a:lnTo>
                    <a:pt x="588" y="1200"/>
                  </a:lnTo>
                  <a:lnTo>
                    <a:pt x="594" y="1206"/>
                  </a:lnTo>
                  <a:lnTo>
                    <a:pt x="600" y="1218"/>
                  </a:lnTo>
                  <a:lnTo>
                    <a:pt x="600" y="1230"/>
                  </a:lnTo>
                  <a:lnTo>
                    <a:pt x="594" y="1236"/>
                  </a:lnTo>
                  <a:lnTo>
                    <a:pt x="588" y="1248"/>
                  </a:lnTo>
                  <a:lnTo>
                    <a:pt x="552" y="1284"/>
                  </a:lnTo>
                  <a:lnTo>
                    <a:pt x="546" y="1284"/>
                  </a:lnTo>
                  <a:lnTo>
                    <a:pt x="486" y="1344"/>
                  </a:lnTo>
                  <a:lnTo>
                    <a:pt x="426" y="1374"/>
                  </a:lnTo>
                  <a:lnTo>
                    <a:pt x="432" y="1386"/>
                  </a:lnTo>
                  <a:lnTo>
                    <a:pt x="462" y="1368"/>
                  </a:lnTo>
                  <a:lnTo>
                    <a:pt x="468" y="1386"/>
                  </a:lnTo>
                  <a:lnTo>
                    <a:pt x="480" y="1398"/>
                  </a:lnTo>
                  <a:lnTo>
                    <a:pt x="492" y="1404"/>
                  </a:lnTo>
                  <a:lnTo>
                    <a:pt x="498" y="1410"/>
                  </a:lnTo>
                  <a:lnTo>
                    <a:pt x="546" y="1410"/>
                  </a:lnTo>
                  <a:lnTo>
                    <a:pt x="558" y="1428"/>
                  </a:lnTo>
                  <a:lnTo>
                    <a:pt x="546" y="1428"/>
                  </a:lnTo>
                  <a:lnTo>
                    <a:pt x="534" y="1422"/>
                  </a:lnTo>
                  <a:lnTo>
                    <a:pt x="504" y="1422"/>
                  </a:lnTo>
                  <a:lnTo>
                    <a:pt x="492" y="1434"/>
                  </a:lnTo>
                  <a:lnTo>
                    <a:pt x="492" y="1440"/>
                  </a:lnTo>
                  <a:lnTo>
                    <a:pt x="456" y="1440"/>
                  </a:lnTo>
                  <a:lnTo>
                    <a:pt x="450" y="1470"/>
                  </a:lnTo>
                  <a:lnTo>
                    <a:pt x="438" y="1470"/>
                  </a:lnTo>
                  <a:lnTo>
                    <a:pt x="432" y="1482"/>
                  </a:lnTo>
                  <a:lnTo>
                    <a:pt x="438" y="1494"/>
                  </a:lnTo>
                  <a:lnTo>
                    <a:pt x="432" y="1500"/>
                  </a:lnTo>
                  <a:lnTo>
                    <a:pt x="426" y="1500"/>
                  </a:lnTo>
                  <a:lnTo>
                    <a:pt x="414" y="1512"/>
                  </a:lnTo>
                  <a:lnTo>
                    <a:pt x="414" y="1530"/>
                  </a:lnTo>
                  <a:lnTo>
                    <a:pt x="432" y="1536"/>
                  </a:lnTo>
                  <a:lnTo>
                    <a:pt x="420" y="1560"/>
                  </a:lnTo>
                  <a:lnTo>
                    <a:pt x="432" y="1566"/>
                  </a:lnTo>
                  <a:lnTo>
                    <a:pt x="444" y="1584"/>
                  </a:lnTo>
                  <a:lnTo>
                    <a:pt x="426" y="1596"/>
                  </a:lnTo>
                  <a:lnTo>
                    <a:pt x="426" y="1608"/>
                  </a:lnTo>
                  <a:lnTo>
                    <a:pt x="432" y="1608"/>
                  </a:lnTo>
                  <a:lnTo>
                    <a:pt x="444" y="1620"/>
                  </a:lnTo>
                  <a:lnTo>
                    <a:pt x="456" y="1626"/>
                  </a:lnTo>
                  <a:lnTo>
                    <a:pt x="462" y="1632"/>
                  </a:lnTo>
                  <a:lnTo>
                    <a:pt x="462" y="1638"/>
                  </a:lnTo>
                  <a:lnTo>
                    <a:pt x="444" y="1638"/>
                  </a:lnTo>
                  <a:lnTo>
                    <a:pt x="438" y="1656"/>
                  </a:lnTo>
                  <a:lnTo>
                    <a:pt x="462" y="1662"/>
                  </a:lnTo>
                  <a:lnTo>
                    <a:pt x="468" y="1668"/>
                  </a:lnTo>
                  <a:lnTo>
                    <a:pt x="474" y="1680"/>
                  </a:lnTo>
                  <a:lnTo>
                    <a:pt x="486" y="1692"/>
                  </a:lnTo>
                  <a:lnTo>
                    <a:pt x="486" y="1716"/>
                  </a:lnTo>
                  <a:lnTo>
                    <a:pt x="510" y="1716"/>
                  </a:lnTo>
                  <a:lnTo>
                    <a:pt x="516" y="1722"/>
                  </a:lnTo>
                  <a:lnTo>
                    <a:pt x="516" y="1728"/>
                  </a:lnTo>
                  <a:lnTo>
                    <a:pt x="528" y="1722"/>
                  </a:lnTo>
                  <a:lnTo>
                    <a:pt x="564" y="1728"/>
                  </a:lnTo>
                  <a:lnTo>
                    <a:pt x="570" y="1746"/>
                  </a:lnTo>
                  <a:lnTo>
                    <a:pt x="600" y="1728"/>
                  </a:lnTo>
                  <a:lnTo>
                    <a:pt x="606" y="1728"/>
                  </a:lnTo>
                  <a:lnTo>
                    <a:pt x="612" y="1734"/>
                  </a:lnTo>
                  <a:lnTo>
                    <a:pt x="648" y="1752"/>
                  </a:lnTo>
                  <a:lnTo>
                    <a:pt x="654" y="1758"/>
                  </a:lnTo>
                  <a:lnTo>
                    <a:pt x="654" y="1770"/>
                  </a:lnTo>
                  <a:lnTo>
                    <a:pt x="648" y="1776"/>
                  </a:lnTo>
                  <a:lnTo>
                    <a:pt x="660" y="1794"/>
                  </a:lnTo>
                  <a:lnTo>
                    <a:pt x="654" y="1812"/>
                  </a:lnTo>
                  <a:lnTo>
                    <a:pt x="660" y="1818"/>
                  </a:lnTo>
                  <a:lnTo>
                    <a:pt x="672" y="1824"/>
                  </a:lnTo>
                  <a:lnTo>
                    <a:pt x="690" y="1842"/>
                  </a:lnTo>
                  <a:lnTo>
                    <a:pt x="690" y="1854"/>
                  </a:lnTo>
                  <a:lnTo>
                    <a:pt x="720" y="1866"/>
                  </a:lnTo>
                  <a:lnTo>
                    <a:pt x="720" y="1890"/>
                  </a:lnTo>
                  <a:lnTo>
                    <a:pt x="756" y="1890"/>
                  </a:lnTo>
                  <a:lnTo>
                    <a:pt x="762" y="1896"/>
                  </a:lnTo>
                  <a:lnTo>
                    <a:pt x="768" y="1896"/>
                  </a:lnTo>
                  <a:lnTo>
                    <a:pt x="768" y="1902"/>
                  </a:lnTo>
                  <a:lnTo>
                    <a:pt x="762" y="1908"/>
                  </a:lnTo>
                  <a:lnTo>
                    <a:pt x="786" y="1920"/>
                  </a:lnTo>
                  <a:lnTo>
                    <a:pt x="774" y="1926"/>
                  </a:lnTo>
                  <a:lnTo>
                    <a:pt x="768" y="1938"/>
                  </a:lnTo>
                  <a:lnTo>
                    <a:pt x="744" y="1950"/>
                  </a:lnTo>
                  <a:lnTo>
                    <a:pt x="738" y="1950"/>
                  </a:lnTo>
                  <a:lnTo>
                    <a:pt x="732" y="1944"/>
                  </a:lnTo>
                  <a:lnTo>
                    <a:pt x="726" y="1944"/>
                  </a:lnTo>
                  <a:lnTo>
                    <a:pt x="726" y="1938"/>
                  </a:lnTo>
                  <a:lnTo>
                    <a:pt x="702" y="1938"/>
                  </a:lnTo>
                  <a:lnTo>
                    <a:pt x="696" y="1944"/>
                  </a:lnTo>
                  <a:lnTo>
                    <a:pt x="696" y="1950"/>
                  </a:lnTo>
                  <a:lnTo>
                    <a:pt x="720" y="1974"/>
                  </a:lnTo>
                  <a:lnTo>
                    <a:pt x="720" y="1992"/>
                  </a:lnTo>
                  <a:lnTo>
                    <a:pt x="726" y="1998"/>
                  </a:lnTo>
                  <a:lnTo>
                    <a:pt x="732" y="2010"/>
                  </a:lnTo>
                  <a:lnTo>
                    <a:pt x="732" y="2028"/>
                  </a:lnTo>
                  <a:lnTo>
                    <a:pt x="720" y="2028"/>
                  </a:lnTo>
                  <a:lnTo>
                    <a:pt x="714" y="2022"/>
                  </a:lnTo>
                  <a:lnTo>
                    <a:pt x="708" y="2022"/>
                  </a:lnTo>
                  <a:lnTo>
                    <a:pt x="720" y="2028"/>
                  </a:lnTo>
                  <a:lnTo>
                    <a:pt x="768" y="2028"/>
                  </a:lnTo>
                  <a:lnTo>
                    <a:pt x="774" y="2022"/>
                  </a:lnTo>
                  <a:lnTo>
                    <a:pt x="774" y="2010"/>
                  </a:lnTo>
                  <a:lnTo>
                    <a:pt x="804" y="2010"/>
                  </a:lnTo>
                  <a:lnTo>
                    <a:pt x="816" y="2004"/>
                  </a:lnTo>
                  <a:lnTo>
                    <a:pt x="864" y="2004"/>
                  </a:lnTo>
                  <a:lnTo>
                    <a:pt x="870" y="2022"/>
                  </a:lnTo>
                  <a:lnTo>
                    <a:pt x="876" y="2022"/>
                  </a:lnTo>
                  <a:lnTo>
                    <a:pt x="882" y="2028"/>
                  </a:lnTo>
                  <a:lnTo>
                    <a:pt x="894" y="2034"/>
                  </a:lnTo>
                  <a:lnTo>
                    <a:pt x="900" y="2034"/>
                  </a:lnTo>
                  <a:lnTo>
                    <a:pt x="900" y="2046"/>
                  </a:lnTo>
                  <a:lnTo>
                    <a:pt x="894" y="2052"/>
                  </a:lnTo>
                  <a:lnTo>
                    <a:pt x="888" y="2052"/>
                  </a:lnTo>
                  <a:lnTo>
                    <a:pt x="894" y="2070"/>
                  </a:lnTo>
                  <a:lnTo>
                    <a:pt x="894" y="2088"/>
                  </a:lnTo>
                  <a:lnTo>
                    <a:pt x="930" y="2088"/>
                  </a:lnTo>
                  <a:lnTo>
                    <a:pt x="972" y="2106"/>
                  </a:lnTo>
                  <a:lnTo>
                    <a:pt x="984" y="2154"/>
                  </a:lnTo>
                  <a:lnTo>
                    <a:pt x="990" y="2154"/>
                  </a:lnTo>
                  <a:lnTo>
                    <a:pt x="1014" y="2148"/>
                  </a:lnTo>
                  <a:lnTo>
                    <a:pt x="1020" y="2154"/>
                  </a:lnTo>
                  <a:lnTo>
                    <a:pt x="1032" y="2154"/>
                  </a:lnTo>
                  <a:lnTo>
                    <a:pt x="1038" y="2160"/>
                  </a:lnTo>
                  <a:lnTo>
                    <a:pt x="1086" y="2160"/>
                  </a:lnTo>
                  <a:lnTo>
                    <a:pt x="1092" y="2166"/>
                  </a:lnTo>
                  <a:lnTo>
                    <a:pt x="1092" y="2160"/>
                  </a:lnTo>
                  <a:lnTo>
                    <a:pt x="1098" y="2154"/>
                  </a:lnTo>
                  <a:lnTo>
                    <a:pt x="1110" y="2154"/>
                  </a:lnTo>
                  <a:lnTo>
                    <a:pt x="1116" y="2166"/>
                  </a:lnTo>
                  <a:lnTo>
                    <a:pt x="1140" y="2190"/>
                  </a:lnTo>
                  <a:lnTo>
                    <a:pt x="1152" y="2184"/>
                  </a:lnTo>
                  <a:lnTo>
                    <a:pt x="1170" y="2184"/>
                  </a:lnTo>
                  <a:lnTo>
                    <a:pt x="1176" y="2190"/>
                  </a:lnTo>
                  <a:lnTo>
                    <a:pt x="1188" y="2196"/>
                  </a:lnTo>
                  <a:lnTo>
                    <a:pt x="1230" y="2196"/>
                  </a:lnTo>
                  <a:lnTo>
                    <a:pt x="1230" y="2202"/>
                  </a:lnTo>
                  <a:lnTo>
                    <a:pt x="1236" y="2208"/>
                  </a:lnTo>
                  <a:lnTo>
                    <a:pt x="1254" y="2220"/>
                  </a:lnTo>
                  <a:lnTo>
                    <a:pt x="1278" y="2220"/>
                  </a:lnTo>
                  <a:lnTo>
                    <a:pt x="1284" y="2226"/>
                  </a:lnTo>
                  <a:lnTo>
                    <a:pt x="1284" y="2250"/>
                  </a:lnTo>
                  <a:lnTo>
                    <a:pt x="1266" y="2262"/>
                  </a:lnTo>
                  <a:lnTo>
                    <a:pt x="1272" y="2262"/>
                  </a:lnTo>
                  <a:lnTo>
                    <a:pt x="1278" y="2268"/>
                  </a:lnTo>
                  <a:lnTo>
                    <a:pt x="1284" y="2268"/>
                  </a:lnTo>
                  <a:lnTo>
                    <a:pt x="1290" y="2274"/>
                  </a:lnTo>
                  <a:lnTo>
                    <a:pt x="1284" y="2280"/>
                  </a:lnTo>
                  <a:lnTo>
                    <a:pt x="1266" y="2280"/>
                  </a:lnTo>
                  <a:lnTo>
                    <a:pt x="1260" y="2286"/>
                  </a:lnTo>
                  <a:lnTo>
                    <a:pt x="1272" y="2298"/>
                  </a:lnTo>
                  <a:lnTo>
                    <a:pt x="1284" y="2304"/>
                  </a:lnTo>
                  <a:lnTo>
                    <a:pt x="1284" y="2316"/>
                  </a:lnTo>
                  <a:lnTo>
                    <a:pt x="1290" y="2328"/>
                  </a:lnTo>
                  <a:lnTo>
                    <a:pt x="1290" y="2334"/>
                  </a:lnTo>
                  <a:lnTo>
                    <a:pt x="1278" y="2346"/>
                  </a:lnTo>
                  <a:lnTo>
                    <a:pt x="1266" y="2346"/>
                  </a:lnTo>
                  <a:lnTo>
                    <a:pt x="1254" y="2352"/>
                  </a:lnTo>
                  <a:lnTo>
                    <a:pt x="1224" y="2352"/>
                  </a:lnTo>
                  <a:lnTo>
                    <a:pt x="1212" y="2364"/>
                  </a:lnTo>
                  <a:lnTo>
                    <a:pt x="1212" y="2370"/>
                  </a:lnTo>
                  <a:lnTo>
                    <a:pt x="1206" y="2376"/>
                  </a:lnTo>
                  <a:lnTo>
                    <a:pt x="1188" y="2376"/>
                  </a:lnTo>
                  <a:lnTo>
                    <a:pt x="1188" y="2412"/>
                  </a:lnTo>
                  <a:lnTo>
                    <a:pt x="1194" y="2412"/>
                  </a:lnTo>
                  <a:lnTo>
                    <a:pt x="1200" y="2406"/>
                  </a:lnTo>
                  <a:lnTo>
                    <a:pt x="1212" y="2406"/>
                  </a:lnTo>
                  <a:lnTo>
                    <a:pt x="1224" y="2400"/>
                  </a:lnTo>
                  <a:lnTo>
                    <a:pt x="1254" y="2400"/>
                  </a:lnTo>
                  <a:lnTo>
                    <a:pt x="1254" y="2412"/>
                  </a:lnTo>
                  <a:lnTo>
                    <a:pt x="1248" y="2418"/>
                  </a:lnTo>
                  <a:lnTo>
                    <a:pt x="1242" y="2430"/>
                  </a:lnTo>
                  <a:lnTo>
                    <a:pt x="1230" y="2436"/>
                  </a:lnTo>
                  <a:lnTo>
                    <a:pt x="1224" y="2442"/>
                  </a:lnTo>
                  <a:lnTo>
                    <a:pt x="1170" y="2454"/>
                  </a:lnTo>
                  <a:lnTo>
                    <a:pt x="1218" y="2490"/>
                  </a:lnTo>
                  <a:lnTo>
                    <a:pt x="1212" y="2490"/>
                  </a:lnTo>
                  <a:lnTo>
                    <a:pt x="1206" y="2496"/>
                  </a:lnTo>
                  <a:lnTo>
                    <a:pt x="1194" y="2496"/>
                  </a:lnTo>
                  <a:lnTo>
                    <a:pt x="1188" y="2502"/>
                  </a:lnTo>
                  <a:lnTo>
                    <a:pt x="1176" y="2526"/>
                  </a:lnTo>
                  <a:lnTo>
                    <a:pt x="1176" y="2544"/>
                  </a:lnTo>
                  <a:lnTo>
                    <a:pt x="1164" y="2550"/>
                  </a:lnTo>
                  <a:lnTo>
                    <a:pt x="1158" y="2556"/>
                  </a:lnTo>
                  <a:lnTo>
                    <a:pt x="1146" y="2556"/>
                  </a:lnTo>
                  <a:lnTo>
                    <a:pt x="1140" y="2550"/>
                  </a:lnTo>
                  <a:lnTo>
                    <a:pt x="1128" y="2544"/>
                  </a:lnTo>
                  <a:lnTo>
                    <a:pt x="1122" y="2538"/>
                  </a:lnTo>
                  <a:lnTo>
                    <a:pt x="1116" y="2556"/>
                  </a:lnTo>
                  <a:lnTo>
                    <a:pt x="1122" y="2562"/>
                  </a:lnTo>
                  <a:lnTo>
                    <a:pt x="1128" y="2574"/>
                  </a:lnTo>
                  <a:lnTo>
                    <a:pt x="1134" y="2580"/>
                  </a:lnTo>
                  <a:lnTo>
                    <a:pt x="1146" y="2580"/>
                  </a:lnTo>
                  <a:lnTo>
                    <a:pt x="1146" y="2586"/>
                  </a:lnTo>
                  <a:lnTo>
                    <a:pt x="1152" y="2598"/>
                  </a:lnTo>
                  <a:lnTo>
                    <a:pt x="1158" y="2604"/>
                  </a:lnTo>
                  <a:lnTo>
                    <a:pt x="1194" y="2604"/>
                  </a:lnTo>
                  <a:lnTo>
                    <a:pt x="1200" y="2610"/>
                  </a:lnTo>
                  <a:lnTo>
                    <a:pt x="1212" y="2616"/>
                  </a:lnTo>
                  <a:lnTo>
                    <a:pt x="1218" y="2628"/>
                  </a:lnTo>
                  <a:lnTo>
                    <a:pt x="1224" y="2634"/>
                  </a:lnTo>
                  <a:lnTo>
                    <a:pt x="1254" y="2634"/>
                  </a:lnTo>
                  <a:lnTo>
                    <a:pt x="1272" y="2652"/>
                  </a:lnTo>
                  <a:lnTo>
                    <a:pt x="1278" y="2664"/>
                  </a:lnTo>
                  <a:lnTo>
                    <a:pt x="1290" y="2670"/>
                  </a:lnTo>
                  <a:lnTo>
                    <a:pt x="1314" y="2694"/>
                  </a:lnTo>
                  <a:lnTo>
                    <a:pt x="1320" y="2694"/>
                  </a:lnTo>
                  <a:lnTo>
                    <a:pt x="1332" y="2700"/>
                  </a:lnTo>
                  <a:lnTo>
                    <a:pt x="1338" y="2700"/>
                  </a:lnTo>
                  <a:lnTo>
                    <a:pt x="1350" y="2706"/>
                  </a:lnTo>
                  <a:lnTo>
                    <a:pt x="1344" y="2706"/>
                  </a:lnTo>
                  <a:lnTo>
                    <a:pt x="1368" y="2688"/>
                  </a:lnTo>
                  <a:lnTo>
                    <a:pt x="1380" y="2688"/>
                  </a:lnTo>
                  <a:lnTo>
                    <a:pt x="1398" y="2694"/>
                  </a:lnTo>
                  <a:lnTo>
                    <a:pt x="1410" y="2700"/>
                  </a:lnTo>
                  <a:lnTo>
                    <a:pt x="1428" y="2706"/>
                  </a:lnTo>
                  <a:lnTo>
                    <a:pt x="1488" y="2718"/>
                  </a:lnTo>
                  <a:lnTo>
                    <a:pt x="1524" y="2718"/>
                  </a:lnTo>
                  <a:lnTo>
                    <a:pt x="1530" y="2724"/>
                  </a:lnTo>
                  <a:lnTo>
                    <a:pt x="1536" y="2724"/>
                  </a:lnTo>
                  <a:lnTo>
                    <a:pt x="1584" y="2754"/>
                  </a:lnTo>
                  <a:lnTo>
                    <a:pt x="1584" y="2760"/>
                  </a:lnTo>
                  <a:lnTo>
                    <a:pt x="1590" y="2760"/>
                  </a:lnTo>
                  <a:lnTo>
                    <a:pt x="1602" y="2766"/>
                  </a:lnTo>
                  <a:lnTo>
                    <a:pt x="1626" y="2766"/>
                  </a:lnTo>
                  <a:lnTo>
                    <a:pt x="1632" y="2760"/>
                  </a:lnTo>
                  <a:lnTo>
                    <a:pt x="1644" y="2760"/>
                  </a:lnTo>
                  <a:lnTo>
                    <a:pt x="1644" y="2754"/>
                  </a:lnTo>
                  <a:lnTo>
                    <a:pt x="1674" y="2754"/>
                  </a:lnTo>
                  <a:lnTo>
                    <a:pt x="1686" y="2760"/>
                  </a:lnTo>
                  <a:lnTo>
                    <a:pt x="1698" y="2772"/>
                  </a:lnTo>
                  <a:lnTo>
                    <a:pt x="1728" y="2778"/>
                  </a:lnTo>
                  <a:lnTo>
                    <a:pt x="1728" y="2790"/>
                  </a:lnTo>
                  <a:lnTo>
                    <a:pt x="1722" y="2796"/>
                  </a:lnTo>
                  <a:lnTo>
                    <a:pt x="1722" y="2802"/>
                  </a:lnTo>
                  <a:lnTo>
                    <a:pt x="1740" y="2802"/>
                  </a:lnTo>
                  <a:lnTo>
                    <a:pt x="1752" y="2814"/>
                  </a:lnTo>
                  <a:lnTo>
                    <a:pt x="1764" y="2820"/>
                  </a:lnTo>
                  <a:lnTo>
                    <a:pt x="1776" y="2832"/>
                  </a:lnTo>
                  <a:lnTo>
                    <a:pt x="1788" y="2826"/>
                  </a:lnTo>
                  <a:lnTo>
                    <a:pt x="1794" y="2826"/>
                  </a:lnTo>
                  <a:lnTo>
                    <a:pt x="1818" y="2838"/>
                  </a:lnTo>
                  <a:lnTo>
                    <a:pt x="1836" y="2856"/>
                  </a:lnTo>
                  <a:lnTo>
                    <a:pt x="1842" y="2868"/>
                  </a:lnTo>
                  <a:lnTo>
                    <a:pt x="1854" y="2874"/>
                  </a:lnTo>
                  <a:lnTo>
                    <a:pt x="1860" y="2880"/>
                  </a:lnTo>
                  <a:lnTo>
                    <a:pt x="1884" y="2880"/>
                  </a:lnTo>
                  <a:lnTo>
                    <a:pt x="1890" y="2874"/>
                  </a:lnTo>
                  <a:lnTo>
                    <a:pt x="1890" y="2862"/>
                  </a:lnTo>
                  <a:lnTo>
                    <a:pt x="1908" y="2862"/>
                  </a:lnTo>
                  <a:lnTo>
                    <a:pt x="1914" y="2856"/>
                  </a:lnTo>
                  <a:lnTo>
                    <a:pt x="1914" y="2826"/>
                  </a:lnTo>
                  <a:lnTo>
                    <a:pt x="1908" y="2820"/>
                  </a:lnTo>
                  <a:lnTo>
                    <a:pt x="1908" y="2814"/>
                  </a:lnTo>
                  <a:lnTo>
                    <a:pt x="1896" y="2802"/>
                  </a:lnTo>
                  <a:lnTo>
                    <a:pt x="1890" y="2790"/>
                  </a:lnTo>
                  <a:lnTo>
                    <a:pt x="1884" y="2784"/>
                  </a:lnTo>
                  <a:lnTo>
                    <a:pt x="1872" y="2778"/>
                  </a:lnTo>
                  <a:lnTo>
                    <a:pt x="1866" y="2772"/>
                  </a:lnTo>
                  <a:lnTo>
                    <a:pt x="1854" y="2772"/>
                  </a:lnTo>
                  <a:lnTo>
                    <a:pt x="1854" y="2748"/>
                  </a:lnTo>
                  <a:lnTo>
                    <a:pt x="1848" y="2742"/>
                  </a:lnTo>
                  <a:lnTo>
                    <a:pt x="1836" y="2736"/>
                  </a:lnTo>
                  <a:lnTo>
                    <a:pt x="1830" y="2724"/>
                  </a:lnTo>
                  <a:lnTo>
                    <a:pt x="1824" y="2718"/>
                  </a:lnTo>
                  <a:lnTo>
                    <a:pt x="1824" y="2706"/>
                  </a:lnTo>
                  <a:lnTo>
                    <a:pt x="1830" y="2694"/>
                  </a:lnTo>
                  <a:lnTo>
                    <a:pt x="1830" y="2682"/>
                  </a:lnTo>
                  <a:lnTo>
                    <a:pt x="1818" y="2658"/>
                  </a:lnTo>
                  <a:lnTo>
                    <a:pt x="1812" y="2652"/>
                  </a:lnTo>
                  <a:lnTo>
                    <a:pt x="1806" y="2640"/>
                  </a:lnTo>
                  <a:lnTo>
                    <a:pt x="1794" y="2634"/>
                  </a:lnTo>
                  <a:lnTo>
                    <a:pt x="1788" y="2628"/>
                  </a:lnTo>
                  <a:lnTo>
                    <a:pt x="1776" y="2628"/>
                  </a:lnTo>
                  <a:lnTo>
                    <a:pt x="1758" y="2622"/>
                  </a:lnTo>
                  <a:lnTo>
                    <a:pt x="1758" y="2604"/>
                  </a:lnTo>
                  <a:lnTo>
                    <a:pt x="1794" y="2568"/>
                  </a:lnTo>
                  <a:lnTo>
                    <a:pt x="1800" y="2556"/>
                  </a:lnTo>
                  <a:lnTo>
                    <a:pt x="1806" y="2550"/>
                  </a:lnTo>
                  <a:lnTo>
                    <a:pt x="1806" y="2544"/>
                  </a:lnTo>
                  <a:lnTo>
                    <a:pt x="1800" y="2532"/>
                  </a:lnTo>
                  <a:lnTo>
                    <a:pt x="1788" y="2520"/>
                  </a:lnTo>
                  <a:lnTo>
                    <a:pt x="1800" y="2520"/>
                  </a:lnTo>
                  <a:lnTo>
                    <a:pt x="1812" y="2526"/>
                  </a:lnTo>
                  <a:lnTo>
                    <a:pt x="1830" y="2526"/>
                  </a:lnTo>
                  <a:lnTo>
                    <a:pt x="1842" y="2514"/>
                  </a:lnTo>
                  <a:lnTo>
                    <a:pt x="1872" y="2514"/>
                  </a:lnTo>
                  <a:lnTo>
                    <a:pt x="1878" y="2508"/>
                  </a:lnTo>
                  <a:lnTo>
                    <a:pt x="1860" y="2490"/>
                  </a:lnTo>
                  <a:lnTo>
                    <a:pt x="1890" y="2490"/>
                  </a:lnTo>
                  <a:lnTo>
                    <a:pt x="1890" y="2472"/>
                  </a:lnTo>
                  <a:lnTo>
                    <a:pt x="1878" y="2472"/>
                  </a:lnTo>
                  <a:lnTo>
                    <a:pt x="1854" y="2460"/>
                  </a:lnTo>
                  <a:lnTo>
                    <a:pt x="1842" y="2448"/>
                  </a:lnTo>
                  <a:lnTo>
                    <a:pt x="1842" y="2442"/>
                  </a:lnTo>
                  <a:lnTo>
                    <a:pt x="1878" y="2442"/>
                  </a:lnTo>
                  <a:lnTo>
                    <a:pt x="1878" y="2430"/>
                  </a:lnTo>
                  <a:lnTo>
                    <a:pt x="1866" y="2418"/>
                  </a:lnTo>
                  <a:lnTo>
                    <a:pt x="1860" y="2406"/>
                  </a:lnTo>
                  <a:lnTo>
                    <a:pt x="1812" y="2358"/>
                  </a:lnTo>
                  <a:lnTo>
                    <a:pt x="1800" y="2358"/>
                  </a:lnTo>
                  <a:lnTo>
                    <a:pt x="1788" y="2364"/>
                  </a:lnTo>
                  <a:lnTo>
                    <a:pt x="1746" y="2364"/>
                  </a:lnTo>
                  <a:lnTo>
                    <a:pt x="1740" y="2358"/>
                  </a:lnTo>
                  <a:lnTo>
                    <a:pt x="1740" y="2328"/>
                  </a:lnTo>
                  <a:lnTo>
                    <a:pt x="1734" y="2322"/>
                  </a:lnTo>
                  <a:lnTo>
                    <a:pt x="1710" y="2322"/>
                  </a:lnTo>
                  <a:lnTo>
                    <a:pt x="1704" y="2316"/>
                  </a:lnTo>
                  <a:lnTo>
                    <a:pt x="1698" y="2316"/>
                  </a:lnTo>
                  <a:lnTo>
                    <a:pt x="1698" y="2286"/>
                  </a:lnTo>
                  <a:lnTo>
                    <a:pt x="1710" y="2262"/>
                  </a:lnTo>
                  <a:lnTo>
                    <a:pt x="1710" y="2238"/>
                  </a:lnTo>
                  <a:lnTo>
                    <a:pt x="1704" y="2232"/>
                  </a:lnTo>
                  <a:lnTo>
                    <a:pt x="1698" y="2196"/>
                  </a:lnTo>
                  <a:lnTo>
                    <a:pt x="1722" y="2196"/>
                  </a:lnTo>
                  <a:lnTo>
                    <a:pt x="1722" y="2172"/>
                  </a:lnTo>
                  <a:lnTo>
                    <a:pt x="1716" y="2166"/>
                  </a:lnTo>
                  <a:lnTo>
                    <a:pt x="1716" y="2154"/>
                  </a:lnTo>
                  <a:lnTo>
                    <a:pt x="1722" y="2148"/>
                  </a:lnTo>
                  <a:lnTo>
                    <a:pt x="1734" y="2148"/>
                  </a:lnTo>
                  <a:lnTo>
                    <a:pt x="1746" y="2154"/>
                  </a:lnTo>
                  <a:lnTo>
                    <a:pt x="1758" y="2166"/>
                  </a:lnTo>
                  <a:lnTo>
                    <a:pt x="1770" y="2172"/>
                  </a:lnTo>
                  <a:lnTo>
                    <a:pt x="1776" y="2184"/>
                  </a:lnTo>
                  <a:lnTo>
                    <a:pt x="1788" y="2190"/>
                  </a:lnTo>
                  <a:lnTo>
                    <a:pt x="1800" y="2190"/>
                  </a:lnTo>
                  <a:lnTo>
                    <a:pt x="1806" y="2184"/>
                  </a:lnTo>
                  <a:lnTo>
                    <a:pt x="1812" y="2172"/>
                  </a:lnTo>
                  <a:lnTo>
                    <a:pt x="1818" y="2166"/>
                  </a:lnTo>
                  <a:lnTo>
                    <a:pt x="1812" y="2154"/>
                  </a:lnTo>
                  <a:lnTo>
                    <a:pt x="1800" y="2142"/>
                  </a:lnTo>
                  <a:lnTo>
                    <a:pt x="1830" y="2130"/>
                  </a:lnTo>
                  <a:lnTo>
                    <a:pt x="1830" y="2106"/>
                  </a:lnTo>
                  <a:lnTo>
                    <a:pt x="1836" y="2106"/>
                  </a:lnTo>
                  <a:lnTo>
                    <a:pt x="1848" y="2100"/>
                  </a:lnTo>
                  <a:lnTo>
                    <a:pt x="1860" y="2100"/>
                  </a:lnTo>
                  <a:lnTo>
                    <a:pt x="1872" y="2094"/>
                  </a:lnTo>
                  <a:lnTo>
                    <a:pt x="1884" y="2082"/>
                  </a:lnTo>
                  <a:lnTo>
                    <a:pt x="1884" y="2064"/>
                  </a:lnTo>
                  <a:lnTo>
                    <a:pt x="1878" y="2058"/>
                  </a:lnTo>
                  <a:lnTo>
                    <a:pt x="1878" y="2052"/>
                  </a:lnTo>
                  <a:lnTo>
                    <a:pt x="1908" y="2052"/>
                  </a:lnTo>
                  <a:lnTo>
                    <a:pt x="1920" y="2058"/>
                  </a:lnTo>
                  <a:lnTo>
                    <a:pt x="1926" y="2058"/>
                  </a:lnTo>
                  <a:lnTo>
                    <a:pt x="1926" y="2064"/>
                  </a:lnTo>
                  <a:lnTo>
                    <a:pt x="1932" y="2070"/>
                  </a:lnTo>
                  <a:lnTo>
                    <a:pt x="1962" y="2070"/>
                  </a:lnTo>
                  <a:lnTo>
                    <a:pt x="1974" y="2058"/>
                  </a:lnTo>
                  <a:lnTo>
                    <a:pt x="1986" y="2052"/>
                  </a:lnTo>
                  <a:lnTo>
                    <a:pt x="2004" y="2052"/>
                  </a:lnTo>
                  <a:lnTo>
                    <a:pt x="2010" y="2058"/>
                  </a:lnTo>
                  <a:lnTo>
                    <a:pt x="2016" y="2070"/>
                  </a:lnTo>
                  <a:lnTo>
                    <a:pt x="2076" y="2070"/>
                  </a:lnTo>
                  <a:lnTo>
                    <a:pt x="2082" y="2076"/>
                  </a:lnTo>
                  <a:lnTo>
                    <a:pt x="2082" y="2082"/>
                  </a:lnTo>
                  <a:lnTo>
                    <a:pt x="2088" y="2094"/>
                  </a:lnTo>
                  <a:lnTo>
                    <a:pt x="2124" y="2094"/>
                  </a:lnTo>
                  <a:lnTo>
                    <a:pt x="2136" y="2124"/>
                  </a:lnTo>
                  <a:lnTo>
                    <a:pt x="2136" y="2130"/>
                  </a:lnTo>
                  <a:lnTo>
                    <a:pt x="2148" y="2142"/>
                  </a:lnTo>
                  <a:lnTo>
                    <a:pt x="2160" y="2142"/>
                  </a:lnTo>
                  <a:lnTo>
                    <a:pt x="2160" y="2124"/>
                  </a:lnTo>
                  <a:lnTo>
                    <a:pt x="2148" y="2112"/>
                  </a:lnTo>
                  <a:lnTo>
                    <a:pt x="2148" y="2106"/>
                  </a:lnTo>
                  <a:lnTo>
                    <a:pt x="2160" y="2106"/>
                  </a:lnTo>
                  <a:lnTo>
                    <a:pt x="2232" y="2142"/>
                  </a:lnTo>
                  <a:lnTo>
                    <a:pt x="2238" y="2136"/>
                  </a:lnTo>
                  <a:lnTo>
                    <a:pt x="2244" y="2124"/>
                  </a:lnTo>
                  <a:lnTo>
                    <a:pt x="2256" y="2118"/>
                  </a:lnTo>
                  <a:lnTo>
                    <a:pt x="2268" y="2106"/>
                  </a:lnTo>
                  <a:lnTo>
                    <a:pt x="2280" y="2100"/>
                  </a:lnTo>
                  <a:lnTo>
                    <a:pt x="2286" y="2100"/>
                  </a:lnTo>
                  <a:lnTo>
                    <a:pt x="2322" y="2118"/>
                  </a:lnTo>
                  <a:lnTo>
                    <a:pt x="2334" y="2118"/>
                  </a:lnTo>
                  <a:lnTo>
                    <a:pt x="2352" y="2112"/>
                  </a:lnTo>
                  <a:lnTo>
                    <a:pt x="2364" y="2106"/>
                  </a:lnTo>
                  <a:lnTo>
                    <a:pt x="2370" y="2100"/>
                  </a:lnTo>
                  <a:lnTo>
                    <a:pt x="2382" y="2100"/>
                  </a:lnTo>
                  <a:lnTo>
                    <a:pt x="2388" y="2106"/>
                  </a:lnTo>
                  <a:lnTo>
                    <a:pt x="2400" y="2112"/>
                  </a:lnTo>
                  <a:lnTo>
                    <a:pt x="2406" y="2124"/>
                  </a:lnTo>
                  <a:lnTo>
                    <a:pt x="2430" y="2136"/>
                  </a:lnTo>
                  <a:lnTo>
                    <a:pt x="2454" y="2136"/>
                  </a:lnTo>
                  <a:lnTo>
                    <a:pt x="2466" y="2142"/>
                  </a:lnTo>
                  <a:lnTo>
                    <a:pt x="2478" y="2142"/>
                  </a:lnTo>
                  <a:lnTo>
                    <a:pt x="2490" y="2118"/>
                  </a:lnTo>
                  <a:lnTo>
                    <a:pt x="2496" y="2124"/>
                  </a:lnTo>
                  <a:lnTo>
                    <a:pt x="2508" y="2124"/>
                  </a:lnTo>
                  <a:lnTo>
                    <a:pt x="2514" y="2130"/>
                  </a:lnTo>
                  <a:lnTo>
                    <a:pt x="2526" y="2136"/>
                  </a:lnTo>
                  <a:lnTo>
                    <a:pt x="2562" y="2136"/>
                  </a:lnTo>
                  <a:lnTo>
                    <a:pt x="2568" y="2130"/>
                  </a:lnTo>
                  <a:lnTo>
                    <a:pt x="2574" y="2118"/>
                  </a:lnTo>
                  <a:lnTo>
                    <a:pt x="2574" y="2106"/>
                  </a:lnTo>
                  <a:lnTo>
                    <a:pt x="2568" y="2088"/>
                  </a:lnTo>
                  <a:lnTo>
                    <a:pt x="2544" y="2064"/>
                  </a:lnTo>
                  <a:lnTo>
                    <a:pt x="2532" y="2058"/>
                  </a:lnTo>
                  <a:lnTo>
                    <a:pt x="2514" y="2052"/>
                  </a:lnTo>
                  <a:lnTo>
                    <a:pt x="2490" y="2052"/>
                  </a:lnTo>
                  <a:lnTo>
                    <a:pt x="2460" y="2022"/>
                  </a:lnTo>
                  <a:lnTo>
                    <a:pt x="2472" y="2022"/>
                  </a:lnTo>
                  <a:lnTo>
                    <a:pt x="2484" y="2016"/>
                  </a:lnTo>
                  <a:lnTo>
                    <a:pt x="2496" y="2016"/>
                  </a:lnTo>
                  <a:lnTo>
                    <a:pt x="2508" y="2004"/>
                  </a:lnTo>
                  <a:lnTo>
                    <a:pt x="2508" y="1992"/>
                  </a:lnTo>
                  <a:lnTo>
                    <a:pt x="2502" y="1986"/>
                  </a:lnTo>
                  <a:lnTo>
                    <a:pt x="2496" y="1974"/>
                  </a:lnTo>
                  <a:lnTo>
                    <a:pt x="2490" y="1968"/>
                  </a:lnTo>
                  <a:lnTo>
                    <a:pt x="2502" y="1956"/>
                  </a:lnTo>
                  <a:lnTo>
                    <a:pt x="2556" y="1956"/>
                  </a:lnTo>
                  <a:lnTo>
                    <a:pt x="2544" y="1944"/>
                  </a:lnTo>
                  <a:lnTo>
                    <a:pt x="2532" y="1944"/>
                  </a:lnTo>
                  <a:lnTo>
                    <a:pt x="2508" y="1932"/>
                  </a:lnTo>
                  <a:lnTo>
                    <a:pt x="2496" y="1932"/>
                  </a:lnTo>
                  <a:lnTo>
                    <a:pt x="2508" y="1914"/>
                  </a:lnTo>
                  <a:lnTo>
                    <a:pt x="2484" y="1914"/>
                  </a:lnTo>
                  <a:lnTo>
                    <a:pt x="2484" y="1908"/>
                  </a:lnTo>
                  <a:lnTo>
                    <a:pt x="2478" y="1902"/>
                  </a:lnTo>
                  <a:lnTo>
                    <a:pt x="2478" y="1896"/>
                  </a:lnTo>
                  <a:lnTo>
                    <a:pt x="2490" y="1884"/>
                  </a:lnTo>
                  <a:lnTo>
                    <a:pt x="2526" y="1872"/>
                  </a:lnTo>
                  <a:lnTo>
                    <a:pt x="2586" y="1866"/>
                  </a:lnTo>
                  <a:lnTo>
                    <a:pt x="2640" y="1866"/>
                  </a:lnTo>
                  <a:lnTo>
                    <a:pt x="2646" y="1848"/>
                  </a:lnTo>
                  <a:lnTo>
                    <a:pt x="2712" y="1848"/>
                  </a:lnTo>
                  <a:lnTo>
                    <a:pt x="2712" y="1830"/>
                  </a:lnTo>
                  <a:lnTo>
                    <a:pt x="2718" y="1824"/>
                  </a:lnTo>
                  <a:lnTo>
                    <a:pt x="2808" y="1824"/>
                  </a:lnTo>
                  <a:lnTo>
                    <a:pt x="2862" y="1806"/>
                  </a:lnTo>
                  <a:lnTo>
                    <a:pt x="2874" y="1806"/>
                  </a:lnTo>
                  <a:lnTo>
                    <a:pt x="2874" y="1794"/>
                  </a:lnTo>
                  <a:lnTo>
                    <a:pt x="2886" y="1782"/>
                  </a:lnTo>
                  <a:lnTo>
                    <a:pt x="2898" y="1776"/>
                  </a:lnTo>
                  <a:lnTo>
                    <a:pt x="2916" y="1770"/>
                  </a:lnTo>
                  <a:lnTo>
                    <a:pt x="2940" y="1770"/>
                  </a:lnTo>
                  <a:lnTo>
                    <a:pt x="2958" y="1776"/>
                  </a:lnTo>
                  <a:lnTo>
                    <a:pt x="2976" y="1776"/>
                  </a:lnTo>
                  <a:lnTo>
                    <a:pt x="2988" y="1788"/>
                  </a:lnTo>
                  <a:lnTo>
                    <a:pt x="3000" y="1788"/>
                  </a:lnTo>
                  <a:lnTo>
                    <a:pt x="3012" y="1776"/>
                  </a:lnTo>
                  <a:lnTo>
                    <a:pt x="3018" y="1776"/>
                  </a:lnTo>
                  <a:lnTo>
                    <a:pt x="3036" y="1794"/>
                  </a:lnTo>
                  <a:lnTo>
                    <a:pt x="3042" y="1806"/>
                  </a:lnTo>
                  <a:lnTo>
                    <a:pt x="3048" y="1812"/>
                  </a:lnTo>
                  <a:lnTo>
                    <a:pt x="3060" y="1812"/>
                  </a:lnTo>
                  <a:lnTo>
                    <a:pt x="3066" y="1818"/>
                  </a:lnTo>
                  <a:lnTo>
                    <a:pt x="3066" y="1860"/>
                  </a:lnTo>
                  <a:lnTo>
                    <a:pt x="3072" y="1866"/>
                  </a:lnTo>
                  <a:lnTo>
                    <a:pt x="3090" y="1866"/>
                  </a:lnTo>
                  <a:lnTo>
                    <a:pt x="3102" y="1860"/>
                  </a:lnTo>
                  <a:lnTo>
                    <a:pt x="3120" y="1860"/>
                  </a:lnTo>
                  <a:lnTo>
                    <a:pt x="3132" y="1842"/>
                  </a:lnTo>
                  <a:lnTo>
                    <a:pt x="3156" y="1878"/>
                  </a:lnTo>
                  <a:lnTo>
                    <a:pt x="3180" y="1866"/>
                  </a:lnTo>
                  <a:lnTo>
                    <a:pt x="3204" y="1878"/>
                  </a:lnTo>
                  <a:lnTo>
                    <a:pt x="3210" y="1872"/>
                  </a:lnTo>
                  <a:lnTo>
                    <a:pt x="3216" y="1872"/>
                  </a:lnTo>
                  <a:lnTo>
                    <a:pt x="3228" y="1878"/>
                  </a:lnTo>
                  <a:lnTo>
                    <a:pt x="3228" y="1902"/>
                  </a:lnTo>
                  <a:lnTo>
                    <a:pt x="3222" y="1908"/>
                  </a:lnTo>
                  <a:lnTo>
                    <a:pt x="3222" y="1914"/>
                  </a:lnTo>
                  <a:lnTo>
                    <a:pt x="3228" y="1914"/>
                  </a:lnTo>
                  <a:lnTo>
                    <a:pt x="3234" y="1908"/>
                  </a:lnTo>
                  <a:lnTo>
                    <a:pt x="3240" y="1908"/>
                  </a:lnTo>
                  <a:lnTo>
                    <a:pt x="3246" y="1902"/>
                  </a:lnTo>
                  <a:lnTo>
                    <a:pt x="3252" y="1902"/>
                  </a:lnTo>
                  <a:lnTo>
                    <a:pt x="3258" y="1908"/>
                  </a:lnTo>
                  <a:lnTo>
                    <a:pt x="3270" y="1914"/>
                  </a:lnTo>
                  <a:lnTo>
                    <a:pt x="3276" y="1920"/>
                  </a:lnTo>
                  <a:lnTo>
                    <a:pt x="3288" y="1926"/>
                  </a:lnTo>
                  <a:lnTo>
                    <a:pt x="3300" y="1914"/>
                  </a:lnTo>
                  <a:lnTo>
                    <a:pt x="3300" y="1896"/>
                  </a:lnTo>
                  <a:lnTo>
                    <a:pt x="3306" y="1890"/>
                  </a:lnTo>
                  <a:lnTo>
                    <a:pt x="3318" y="1884"/>
                  </a:lnTo>
                  <a:lnTo>
                    <a:pt x="3330" y="1884"/>
                  </a:lnTo>
                  <a:lnTo>
                    <a:pt x="3342" y="1866"/>
                  </a:lnTo>
                  <a:lnTo>
                    <a:pt x="3378" y="1854"/>
                  </a:lnTo>
                  <a:lnTo>
                    <a:pt x="3396" y="1836"/>
                  </a:lnTo>
                  <a:lnTo>
                    <a:pt x="3402" y="1836"/>
                  </a:lnTo>
                  <a:lnTo>
                    <a:pt x="3408" y="1842"/>
                  </a:lnTo>
                  <a:lnTo>
                    <a:pt x="3408" y="1860"/>
                  </a:lnTo>
                  <a:lnTo>
                    <a:pt x="3396" y="1872"/>
                  </a:lnTo>
                  <a:lnTo>
                    <a:pt x="3390" y="1872"/>
                  </a:lnTo>
                  <a:lnTo>
                    <a:pt x="3426" y="1890"/>
                  </a:lnTo>
                  <a:lnTo>
                    <a:pt x="3456" y="1902"/>
                  </a:lnTo>
                  <a:lnTo>
                    <a:pt x="3486" y="1920"/>
                  </a:lnTo>
                  <a:lnTo>
                    <a:pt x="3498" y="1926"/>
                  </a:lnTo>
                  <a:lnTo>
                    <a:pt x="3516" y="1938"/>
                  </a:lnTo>
                  <a:lnTo>
                    <a:pt x="3546" y="1968"/>
                  </a:lnTo>
                  <a:lnTo>
                    <a:pt x="3618" y="2028"/>
                  </a:lnTo>
                  <a:lnTo>
                    <a:pt x="3636" y="2052"/>
                  </a:lnTo>
                  <a:lnTo>
                    <a:pt x="3672" y="2088"/>
                  </a:lnTo>
                  <a:lnTo>
                    <a:pt x="3684" y="2106"/>
                  </a:lnTo>
                  <a:lnTo>
                    <a:pt x="3696" y="2118"/>
                  </a:lnTo>
                  <a:lnTo>
                    <a:pt x="3708" y="2124"/>
                  </a:lnTo>
                  <a:lnTo>
                    <a:pt x="3720" y="2124"/>
                  </a:lnTo>
                  <a:lnTo>
                    <a:pt x="3732" y="2118"/>
                  </a:lnTo>
                  <a:lnTo>
                    <a:pt x="3744" y="2106"/>
                  </a:lnTo>
                  <a:lnTo>
                    <a:pt x="3744" y="2094"/>
                  </a:lnTo>
                  <a:lnTo>
                    <a:pt x="3750" y="2088"/>
                  </a:lnTo>
                  <a:lnTo>
                    <a:pt x="3750" y="2082"/>
                  </a:lnTo>
                  <a:lnTo>
                    <a:pt x="3762" y="2082"/>
                  </a:lnTo>
                  <a:lnTo>
                    <a:pt x="3768" y="2088"/>
                  </a:lnTo>
                  <a:lnTo>
                    <a:pt x="3768" y="2100"/>
                  </a:lnTo>
                  <a:lnTo>
                    <a:pt x="3774" y="2106"/>
                  </a:lnTo>
                  <a:lnTo>
                    <a:pt x="3774" y="2112"/>
                  </a:lnTo>
                  <a:lnTo>
                    <a:pt x="3804" y="2112"/>
                  </a:lnTo>
                  <a:lnTo>
                    <a:pt x="3816" y="2118"/>
                  </a:lnTo>
                  <a:lnTo>
                    <a:pt x="3822" y="2130"/>
                  </a:lnTo>
                  <a:lnTo>
                    <a:pt x="3834" y="2136"/>
                  </a:lnTo>
                  <a:lnTo>
                    <a:pt x="3858" y="2136"/>
                  </a:lnTo>
                  <a:lnTo>
                    <a:pt x="3864" y="2124"/>
                  </a:lnTo>
                  <a:lnTo>
                    <a:pt x="3876" y="2118"/>
                  </a:lnTo>
                  <a:lnTo>
                    <a:pt x="3894" y="2112"/>
                  </a:lnTo>
                  <a:lnTo>
                    <a:pt x="3906" y="2106"/>
                  </a:lnTo>
                  <a:lnTo>
                    <a:pt x="3924" y="2106"/>
                  </a:lnTo>
                  <a:lnTo>
                    <a:pt x="3948" y="2118"/>
                  </a:lnTo>
                  <a:lnTo>
                    <a:pt x="3972" y="2142"/>
                  </a:lnTo>
                  <a:lnTo>
                    <a:pt x="3984" y="2148"/>
                  </a:lnTo>
                  <a:lnTo>
                    <a:pt x="3990" y="2160"/>
                  </a:lnTo>
                  <a:lnTo>
                    <a:pt x="4002" y="2160"/>
                  </a:lnTo>
                  <a:lnTo>
                    <a:pt x="4014" y="2166"/>
                  </a:lnTo>
                  <a:lnTo>
                    <a:pt x="4026" y="2166"/>
                  </a:lnTo>
                  <a:lnTo>
                    <a:pt x="4038" y="2172"/>
                  </a:lnTo>
                  <a:lnTo>
                    <a:pt x="4044" y="2172"/>
                  </a:lnTo>
                  <a:lnTo>
                    <a:pt x="4044" y="2178"/>
                  </a:lnTo>
                  <a:lnTo>
                    <a:pt x="4050" y="2190"/>
                  </a:lnTo>
                  <a:lnTo>
                    <a:pt x="4056" y="2196"/>
                  </a:lnTo>
                  <a:lnTo>
                    <a:pt x="4062" y="2208"/>
                  </a:lnTo>
                  <a:lnTo>
                    <a:pt x="4068" y="2214"/>
                  </a:lnTo>
                  <a:lnTo>
                    <a:pt x="4068" y="2220"/>
                  </a:lnTo>
                  <a:lnTo>
                    <a:pt x="4140" y="2226"/>
                  </a:lnTo>
                  <a:lnTo>
                    <a:pt x="4152" y="2190"/>
                  </a:lnTo>
                  <a:lnTo>
                    <a:pt x="4176" y="2214"/>
                  </a:lnTo>
                  <a:lnTo>
                    <a:pt x="4212" y="2256"/>
                  </a:lnTo>
                  <a:lnTo>
                    <a:pt x="4254" y="2256"/>
                  </a:lnTo>
                  <a:lnTo>
                    <a:pt x="4266" y="2244"/>
                  </a:lnTo>
                  <a:lnTo>
                    <a:pt x="4266" y="2226"/>
                  </a:lnTo>
                  <a:lnTo>
                    <a:pt x="4326" y="2226"/>
                  </a:lnTo>
                  <a:lnTo>
                    <a:pt x="4320" y="2214"/>
                  </a:lnTo>
                  <a:lnTo>
                    <a:pt x="4344" y="2214"/>
                  </a:lnTo>
                  <a:lnTo>
                    <a:pt x="4338" y="2208"/>
                  </a:lnTo>
                  <a:lnTo>
                    <a:pt x="4338" y="2202"/>
                  </a:lnTo>
                  <a:lnTo>
                    <a:pt x="4374" y="2166"/>
                  </a:lnTo>
                  <a:lnTo>
                    <a:pt x="4392" y="2166"/>
                  </a:lnTo>
                  <a:lnTo>
                    <a:pt x="4404" y="2148"/>
                  </a:lnTo>
                  <a:lnTo>
                    <a:pt x="4428" y="2148"/>
                  </a:lnTo>
                  <a:lnTo>
                    <a:pt x="4428" y="2142"/>
                  </a:lnTo>
                  <a:lnTo>
                    <a:pt x="4434" y="2136"/>
                  </a:lnTo>
                  <a:lnTo>
                    <a:pt x="4434" y="2130"/>
                  </a:lnTo>
                  <a:lnTo>
                    <a:pt x="4440" y="2124"/>
                  </a:lnTo>
                  <a:lnTo>
                    <a:pt x="4458" y="2124"/>
                  </a:lnTo>
                  <a:lnTo>
                    <a:pt x="4464" y="2130"/>
                  </a:lnTo>
                  <a:lnTo>
                    <a:pt x="4482" y="2124"/>
                  </a:lnTo>
                  <a:lnTo>
                    <a:pt x="4482" y="2130"/>
                  </a:lnTo>
                  <a:lnTo>
                    <a:pt x="4518" y="2130"/>
                  </a:lnTo>
                  <a:lnTo>
                    <a:pt x="4524" y="2148"/>
                  </a:lnTo>
                  <a:lnTo>
                    <a:pt x="4548" y="2148"/>
                  </a:lnTo>
                  <a:lnTo>
                    <a:pt x="4566" y="2142"/>
                  </a:lnTo>
                  <a:lnTo>
                    <a:pt x="4608" y="2142"/>
                  </a:lnTo>
                  <a:lnTo>
                    <a:pt x="4608" y="2148"/>
                  </a:lnTo>
                  <a:lnTo>
                    <a:pt x="4614" y="2154"/>
                  </a:lnTo>
                  <a:lnTo>
                    <a:pt x="4614" y="2166"/>
                  </a:lnTo>
                  <a:lnTo>
                    <a:pt x="4620" y="2172"/>
                  </a:lnTo>
                  <a:lnTo>
                    <a:pt x="4638" y="2178"/>
                  </a:lnTo>
                  <a:lnTo>
                    <a:pt x="4668" y="2178"/>
                  </a:lnTo>
                  <a:lnTo>
                    <a:pt x="4674" y="2190"/>
                  </a:lnTo>
                  <a:lnTo>
                    <a:pt x="4698" y="2184"/>
                  </a:lnTo>
                  <a:lnTo>
                    <a:pt x="4704" y="2196"/>
                  </a:lnTo>
                  <a:lnTo>
                    <a:pt x="4704" y="2190"/>
                  </a:lnTo>
                  <a:lnTo>
                    <a:pt x="4710" y="2184"/>
                  </a:lnTo>
                  <a:lnTo>
                    <a:pt x="4752" y="2184"/>
                  </a:lnTo>
                  <a:lnTo>
                    <a:pt x="4752" y="2196"/>
                  </a:lnTo>
                  <a:lnTo>
                    <a:pt x="4800" y="2190"/>
                  </a:lnTo>
                  <a:lnTo>
                    <a:pt x="4800" y="2202"/>
                  </a:lnTo>
                  <a:lnTo>
                    <a:pt x="4806" y="2208"/>
                  </a:lnTo>
                  <a:lnTo>
                    <a:pt x="4830" y="2196"/>
                  </a:lnTo>
                  <a:lnTo>
                    <a:pt x="4836" y="2190"/>
                  </a:lnTo>
                  <a:lnTo>
                    <a:pt x="4836" y="2184"/>
                  </a:lnTo>
                  <a:lnTo>
                    <a:pt x="4854" y="2184"/>
                  </a:lnTo>
                  <a:lnTo>
                    <a:pt x="4854" y="2160"/>
                  </a:lnTo>
                  <a:lnTo>
                    <a:pt x="4848" y="2148"/>
                  </a:lnTo>
                  <a:lnTo>
                    <a:pt x="4842" y="2142"/>
                  </a:lnTo>
                  <a:lnTo>
                    <a:pt x="4836" y="2142"/>
                  </a:lnTo>
                  <a:lnTo>
                    <a:pt x="4812" y="2106"/>
                  </a:lnTo>
                  <a:lnTo>
                    <a:pt x="4806" y="2088"/>
                  </a:lnTo>
                  <a:lnTo>
                    <a:pt x="4794" y="2076"/>
                  </a:lnTo>
                  <a:lnTo>
                    <a:pt x="4794" y="2064"/>
                  </a:lnTo>
                  <a:lnTo>
                    <a:pt x="4812" y="2064"/>
                  </a:lnTo>
                  <a:lnTo>
                    <a:pt x="4806" y="2052"/>
                  </a:lnTo>
                  <a:lnTo>
                    <a:pt x="4812" y="2052"/>
                  </a:lnTo>
                  <a:lnTo>
                    <a:pt x="4824" y="2046"/>
                  </a:lnTo>
                  <a:lnTo>
                    <a:pt x="4830" y="2034"/>
                  </a:lnTo>
                  <a:lnTo>
                    <a:pt x="4830" y="2016"/>
                  </a:lnTo>
                  <a:lnTo>
                    <a:pt x="4890" y="2046"/>
                  </a:lnTo>
                  <a:lnTo>
                    <a:pt x="4902" y="2046"/>
                  </a:lnTo>
                  <a:lnTo>
                    <a:pt x="4926" y="2052"/>
                  </a:lnTo>
                  <a:lnTo>
                    <a:pt x="4962" y="2052"/>
                  </a:lnTo>
                  <a:lnTo>
                    <a:pt x="4974" y="2058"/>
                  </a:lnTo>
                  <a:lnTo>
                    <a:pt x="4980" y="2064"/>
                  </a:lnTo>
                  <a:lnTo>
                    <a:pt x="5004" y="2076"/>
                  </a:lnTo>
                  <a:lnTo>
                    <a:pt x="5010" y="2076"/>
                  </a:lnTo>
                  <a:lnTo>
                    <a:pt x="5022" y="2070"/>
                  </a:lnTo>
                  <a:lnTo>
                    <a:pt x="5040" y="2070"/>
                  </a:lnTo>
                  <a:lnTo>
                    <a:pt x="5052" y="2076"/>
                  </a:lnTo>
                  <a:lnTo>
                    <a:pt x="5058" y="2082"/>
                  </a:lnTo>
                  <a:lnTo>
                    <a:pt x="5064" y="2094"/>
                  </a:lnTo>
                  <a:lnTo>
                    <a:pt x="5076" y="2106"/>
                  </a:lnTo>
                  <a:lnTo>
                    <a:pt x="5088" y="2130"/>
                  </a:lnTo>
                  <a:lnTo>
                    <a:pt x="5094" y="2136"/>
                  </a:lnTo>
                  <a:lnTo>
                    <a:pt x="5094" y="2142"/>
                  </a:lnTo>
                  <a:lnTo>
                    <a:pt x="5118" y="2136"/>
                  </a:lnTo>
                  <a:lnTo>
                    <a:pt x="5118" y="2142"/>
                  </a:lnTo>
                  <a:lnTo>
                    <a:pt x="5136" y="2160"/>
                  </a:lnTo>
                  <a:lnTo>
                    <a:pt x="5166" y="2160"/>
                  </a:lnTo>
                  <a:lnTo>
                    <a:pt x="5172" y="2166"/>
                  </a:lnTo>
                  <a:lnTo>
                    <a:pt x="5184" y="2166"/>
                  </a:lnTo>
                  <a:lnTo>
                    <a:pt x="5196" y="2172"/>
                  </a:lnTo>
                  <a:lnTo>
                    <a:pt x="5208" y="2172"/>
                  </a:lnTo>
                  <a:lnTo>
                    <a:pt x="5220" y="2166"/>
                  </a:lnTo>
                  <a:lnTo>
                    <a:pt x="5274" y="2148"/>
                  </a:lnTo>
                  <a:lnTo>
                    <a:pt x="5322" y="2148"/>
                  </a:lnTo>
                  <a:lnTo>
                    <a:pt x="5334" y="2154"/>
                  </a:lnTo>
                  <a:lnTo>
                    <a:pt x="5340" y="2154"/>
                  </a:lnTo>
                  <a:lnTo>
                    <a:pt x="5346" y="2160"/>
                  </a:lnTo>
                  <a:lnTo>
                    <a:pt x="5382" y="2160"/>
                  </a:lnTo>
                  <a:lnTo>
                    <a:pt x="5406" y="2184"/>
                  </a:lnTo>
                  <a:lnTo>
                    <a:pt x="5466" y="2184"/>
                  </a:lnTo>
                  <a:lnTo>
                    <a:pt x="5472" y="2190"/>
                  </a:lnTo>
                  <a:lnTo>
                    <a:pt x="5472" y="2196"/>
                  </a:lnTo>
                  <a:lnTo>
                    <a:pt x="5484" y="2208"/>
                  </a:lnTo>
                  <a:lnTo>
                    <a:pt x="5484" y="2214"/>
                  </a:lnTo>
                  <a:lnTo>
                    <a:pt x="5502" y="2214"/>
                  </a:lnTo>
                  <a:lnTo>
                    <a:pt x="5514" y="2220"/>
                  </a:lnTo>
                  <a:lnTo>
                    <a:pt x="5514" y="2232"/>
                  </a:lnTo>
                  <a:lnTo>
                    <a:pt x="5520" y="2238"/>
                  </a:lnTo>
                  <a:lnTo>
                    <a:pt x="5586" y="2238"/>
                  </a:lnTo>
                  <a:lnTo>
                    <a:pt x="5592" y="2244"/>
                  </a:lnTo>
                  <a:lnTo>
                    <a:pt x="5598" y="2244"/>
                  </a:lnTo>
                  <a:lnTo>
                    <a:pt x="5610" y="2250"/>
                  </a:lnTo>
                  <a:lnTo>
                    <a:pt x="5634" y="2250"/>
                  </a:lnTo>
                  <a:lnTo>
                    <a:pt x="5646" y="2244"/>
                  </a:lnTo>
                  <a:lnTo>
                    <a:pt x="5664" y="2244"/>
                  </a:lnTo>
                  <a:lnTo>
                    <a:pt x="5670" y="2250"/>
                  </a:lnTo>
                  <a:lnTo>
                    <a:pt x="5670" y="2256"/>
                  </a:lnTo>
                  <a:lnTo>
                    <a:pt x="5676" y="2256"/>
                  </a:lnTo>
                  <a:lnTo>
                    <a:pt x="5694" y="2238"/>
                  </a:lnTo>
                  <a:lnTo>
                    <a:pt x="5694" y="2232"/>
                  </a:lnTo>
                  <a:lnTo>
                    <a:pt x="5742" y="2232"/>
                  </a:lnTo>
                  <a:lnTo>
                    <a:pt x="5754" y="2220"/>
                  </a:lnTo>
                  <a:lnTo>
                    <a:pt x="5790" y="2220"/>
                  </a:lnTo>
                  <a:lnTo>
                    <a:pt x="5802" y="2208"/>
                  </a:lnTo>
                  <a:lnTo>
                    <a:pt x="5802" y="2196"/>
                  </a:lnTo>
                  <a:lnTo>
                    <a:pt x="5832" y="2166"/>
                  </a:lnTo>
                  <a:lnTo>
                    <a:pt x="5850" y="2166"/>
                  </a:lnTo>
                  <a:lnTo>
                    <a:pt x="5862" y="2172"/>
                  </a:lnTo>
                  <a:lnTo>
                    <a:pt x="5898" y="2172"/>
                  </a:lnTo>
                  <a:lnTo>
                    <a:pt x="5916" y="2190"/>
                  </a:lnTo>
                  <a:lnTo>
                    <a:pt x="5928" y="2196"/>
                  </a:lnTo>
                  <a:lnTo>
                    <a:pt x="5952" y="2196"/>
                  </a:lnTo>
                  <a:lnTo>
                    <a:pt x="5964" y="2190"/>
                  </a:lnTo>
                  <a:lnTo>
                    <a:pt x="5970" y="2184"/>
                  </a:lnTo>
                  <a:lnTo>
                    <a:pt x="5994" y="2190"/>
                  </a:lnTo>
                  <a:lnTo>
                    <a:pt x="6012" y="2190"/>
                  </a:lnTo>
                  <a:lnTo>
                    <a:pt x="6048" y="2214"/>
                  </a:lnTo>
                  <a:lnTo>
                    <a:pt x="6084" y="2214"/>
                  </a:lnTo>
                  <a:lnTo>
                    <a:pt x="6090" y="2220"/>
                  </a:lnTo>
                  <a:lnTo>
                    <a:pt x="6102" y="2220"/>
                  </a:lnTo>
                  <a:lnTo>
                    <a:pt x="6120" y="2202"/>
                  </a:lnTo>
                  <a:lnTo>
                    <a:pt x="6120" y="2190"/>
                  </a:lnTo>
                  <a:lnTo>
                    <a:pt x="6144" y="2190"/>
                  </a:lnTo>
                  <a:lnTo>
                    <a:pt x="6156" y="2184"/>
                  </a:lnTo>
                  <a:lnTo>
                    <a:pt x="6162" y="2178"/>
                  </a:lnTo>
                  <a:lnTo>
                    <a:pt x="6162" y="2166"/>
                  </a:lnTo>
                  <a:lnTo>
                    <a:pt x="6150" y="2166"/>
                  </a:lnTo>
                  <a:lnTo>
                    <a:pt x="6144" y="2160"/>
                  </a:lnTo>
                  <a:lnTo>
                    <a:pt x="6138" y="2118"/>
                  </a:lnTo>
                  <a:lnTo>
                    <a:pt x="6138" y="2046"/>
                  </a:lnTo>
                  <a:lnTo>
                    <a:pt x="6156" y="2028"/>
                  </a:lnTo>
                  <a:lnTo>
                    <a:pt x="6156" y="2016"/>
                  </a:lnTo>
                  <a:lnTo>
                    <a:pt x="6150" y="2010"/>
                  </a:lnTo>
                  <a:lnTo>
                    <a:pt x="6138" y="2004"/>
                  </a:lnTo>
                  <a:lnTo>
                    <a:pt x="6126" y="1992"/>
                  </a:lnTo>
                  <a:lnTo>
                    <a:pt x="6114" y="1992"/>
                  </a:lnTo>
                  <a:lnTo>
                    <a:pt x="6108" y="1986"/>
                  </a:lnTo>
                  <a:lnTo>
                    <a:pt x="6096" y="1986"/>
                  </a:lnTo>
                  <a:lnTo>
                    <a:pt x="6078" y="1980"/>
                  </a:lnTo>
                  <a:lnTo>
                    <a:pt x="6072" y="1980"/>
                  </a:lnTo>
                  <a:lnTo>
                    <a:pt x="6072" y="1968"/>
                  </a:lnTo>
                  <a:lnTo>
                    <a:pt x="6078" y="1968"/>
                  </a:lnTo>
                  <a:lnTo>
                    <a:pt x="6120" y="1926"/>
                  </a:lnTo>
                  <a:lnTo>
                    <a:pt x="6156" y="1920"/>
                  </a:lnTo>
                  <a:lnTo>
                    <a:pt x="6162" y="1908"/>
                  </a:lnTo>
                  <a:lnTo>
                    <a:pt x="6204" y="1914"/>
                  </a:lnTo>
                  <a:lnTo>
                    <a:pt x="6258" y="1902"/>
                  </a:lnTo>
                  <a:lnTo>
                    <a:pt x="6294" y="1920"/>
                  </a:lnTo>
                  <a:lnTo>
                    <a:pt x="6330" y="1944"/>
                  </a:lnTo>
                  <a:lnTo>
                    <a:pt x="6402" y="1944"/>
                  </a:lnTo>
                  <a:lnTo>
                    <a:pt x="6408" y="1950"/>
                  </a:lnTo>
                  <a:lnTo>
                    <a:pt x="6420" y="1956"/>
                  </a:lnTo>
                  <a:lnTo>
                    <a:pt x="6426" y="1962"/>
                  </a:lnTo>
                  <a:lnTo>
                    <a:pt x="6438" y="1968"/>
                  </a:lnTo>
                  <a:lnTo>
                    <a:pt x="6438" y="1980"/>
                  </a:lnTo>
                  <a:lnTo>
                    <a:pt x="6444" y="1980"/>
                  </a:lnTo>
                  <a:lnTo>
                    <a:pt x="6456" y="1992"/>
                  </a:lnTo>
                  <a:lnTo>
                    <a:pt x="6468" y="1998"/>
                  </a:lnTo>
                  <a:lnTo>
                    <a:pt x="6480" y="2010"/>
                  </a:lnTo>
                  <a:lnTo>
                    <a:pt x="6492" y="2010"/>
                  </a:lnTo>
                  <a:lnTo>
                    <a:pt x="6498" y="2016"/>
                  </a:lnTo>
                  <a:lnTo>
                    <a:pt x="6504" y="2016"/>
                  </a:lnTo>
                  <a:lnTo>
                    <a:pt x="6510" y="2046"/>
                  </a:lnTo>
                  <a:lnTo>
                    <a:pt x="6558" y="2070"/>
                  </a:lnTo>
                  <a:lnTo>
                    <a:pt x="6570" y="2100"/>
                  </a:lnTo>
                  <a:lnTo>
                    <a:pt x="6582" y="2100"/>
                  </a:lnTo>
                  <a:lnTo>
                    <a:pt x="6630" y="2124"/>
                  </a:lnTo>
                  <a:lnTo>
                    <a:pt x="6636" y="2136"/>
                  </a:lnTo>
                  <a:lnTo>
                    <a:pt x="6654" y="2154"/>
                  </a:lnTo>
                  <a:lnTo>
                    <a:pt x="6660" y="2166"/>
                  </a:lnTo>
                  <a:lnTo>
                    <a:pt x="6672" y="2166"/>
                  </a:lnTo>
                  <a:lnTo>
                    <a:pt x="6678" y="2190"/>
                  </a:lnTo>
                  <a:lnTo>
                    <a:pt x="6684" y="2190"/>
                  </a:lnTo>
                  <a:lnTo>
                    <a:pt x="6690" y="2196"/>
                  </a:lnTo>
                  <a:lnTo>
                    <a:pt x="6714" y="2208"/>
                  </a:lnTo>
                  <a:lnTo>
                    <a:pt x="6720" y="2214"/>
                  </a:lnTo>
                  <a:lnTo>
                    <a:pt x="6732" y="2220"/>
                  </a:lnTo>
                  <a:lnTo>
                    <a:pt x="6780" y="2220"/>
                  </a:lnTo>
                  <a:lnTo>
                    <a:pt x="6792" y="2226"/>
                  </a:lnTo>
                  <a:lnTo>
                    <a:pt x="6798" y="2232"/>
                  </a:lnTo>
                  <a:lnTo>
                    <a:pt x="6810" y="2238"/>
                  </a:lnTo>
                  <a:lnTo>
                    <a:pt x="6822" y="2226"/>
                  </a:lnTo>
                  <a:lnTo>
                    <a:pt x="6834" y="2226"/>
                  </a:lnTo>
                  <a:lnTo>
                    <a:pt x="6852" y="2244"/>
                  </a:lnTo>
                  <a:lnTo>
                    <a:pt x="6864" y="2250"/>
                  </a:lnTo>
                  <a:lnTo>
                    <a:pt x="6882" y="2268"/>
                  </a:lnTo>
                  <a:lnTo>
                    <a:pt x="6924" y="2268"/>
                  </a:lnTo>
                  <a:lnTo>
                    <a:pt x="6942" y="2298"/>
                  </a:lnTo>
                  <a:lnTo>
                    <a:pt x="6960" y="2298"/>
                  </a:lnTo>
                  <a:lnTo>
                    <a:pt x="6966" y="2304"/>
                  </a:lnTo>
                  <a:lnTo>
                    <a:pt x="6966" y="2310"/>
                  </a:lnTo>
                  <a:lnTo>
                    <a:pt x="6972" y="2322"/>
                  </a:lnTo>
                  <a:lnTo>
                    <a:pt x="6972" y="2334"/>
                  </a:lnTo>
                  <a:lnTo>
                    <a:pt x="7014" y="2364"/>
                  </a:lnTo>
                  <a:lnTo>
                    <a:pt x="7038" y="2358"/>
                  </a:lnTo>
                  <a:lnTo>
                    <a:pt x="7050" y="2370"/>
                  </a:lnTo>
                  <a:lnTo>
                    <a:pt x="7068" y="2370"/>
                  </a:lnTo>
                  <a:lnTo>
                    <a:pt x="7068" y="2358"/>
                  </a:lnTo>
                  <a:lnTo>
                    <a:pt x="7098" y="2364"/>
                  </a:lnTo>
                  <a:lnTo>
                    <a:pt x="7098" y="2346"/>
                  </a:lnTo>
                  <a:lnTo>
                    <a:pt x="7104" y="2340"/>
                  </a:lnTo>
                  <a:lnTo>
                    <a:pt x="7110" y="2340"/>
                  </a:lnTo>
                  <a:lnTo>
                    <a:pt x="7122" y="2334"/>
                  </a:lnTo>
                  <a:lnTo>
                    <a:pt x="7152" y="2334"/>
                  </a:lnTo>
                  <a:lnTo>
                    <a:pt x="7158" y="2310"/>
                  </a:lnTo>
                  <a:lnTo>
                    <a:pt x="7200" y="2310"/>
                  </a:lnTo>
                  <a:lnTo>
                    <a:pt x="7212" y="2316"/>
                  </a:lnTo>
                  <a:lnTo>
                    <a:pt x="7218" y="2328"/>
                  </a:lnTo>
                  <a:lnTo>
                    <a:pt x="7218" y="2346"/>
                  </a:lnTo>
                  <a:lnTo>
                    <a:pt x="7242" y="2358"/>
                  </a:lnTo>
                  <a:lnTo>
                    <a:pt x="7242" y="2388"/>
                  </a:lnTo>
                  <a:lnTo>
                    <a:pt x="7224" y="2394"/>
                  </a:lnTo>
                  <a:lnTo>
                    <a:pt x="7236" y="2412"/>
                  </a:lnTo>
                  <a:lnTo>
                    <a:pt x="7236" y="2430"/>
                  </a:lnTo>
                  <a:lnTo>
                    <a:pt x="7248" y="2442"/>
                  </a:lnTo>
                  <a:lnTo>
                    <a:pt x="7248" y="2466"/>
                  </a:lnTo>
                  <a:lnTo>
                    <a:pt x="7266" y="2472"/>
                  </a:lnTo>
                  <a:lnTo>
                    <a:pt x="7260" y="2502"/>
                  </a:lnTo>
                  <a:lnTo>
                    <a:pt x="7266" y="2526"/>
                  </a:lnTo>
                  <a:lnTo>
                    <a:pt x="7260" y="2532"/>
                  </a:lnTo>
                  <a:lnTo>
                    <a:pt x="7254" y="2532"/>
                  </a:lnTo>
                  <a:lnTo>
                    <a:pt x="7254" y="2550"/>
                  </a:lnTo>
                  <a:lnTo>
                    <a:pt x="7260" y="2562"/>
                  </a:lnTo>
                  <a:lnTo>
                    <a:pt x="7260" y="2574"/>
                  </a:lnTo>
                  <a:lnTo>
                    <a:pt x="7254" y="2580"/>
                  </a:lnTo>
                  <a:lnTo>
                    <a:pt x="7248" y="2580"/>
                  </a:lnTo>
                  <a:lnTo>
                    <a:pt x="7236" y="2574"/>
                  </a:lnTo>
                  <a:lnTo>
                    <a:pt x="7224" y="2574"/>
                  </a:lnTo>
                  <a:lnTo>
                    <a:pt x="7206" y="2568"/>
                  </a:lnTo>
                  <a:lnTo>
                    <a:pt x="7194" y="2562"/>
                  </a:lnTo>
                  <a:lnTo>
                    <a:pt x="7170" y="2562"/>
                  </a:lnTo>
                  <a:lnTo>
                    <a:pt x="7164" y="2568"/>
                  </a:lnTo>
                  <a:lnTo>
                    <a:pt x="7170" y="2574"/>
                  </a:lnTo>
                  <a:lnTo>
                    <a:pt x="7170" y="2586"/>
                  </a:lnTo>
                  <a:lnTo>
                    <a:pt x="7146" y="2586"/>
                  </a:lnTo>
                  <a:lnTo>
                    <a:pt x="7146" y="2598"/>
                  </a:lnTo>
                  <a:lnTo>
                    <a:pt x="7152" y="2610"/>
                  </a:lnTo>
                  <a:lnTo>
                    <a:pt x="7158" y="2610"/>
                  </a:lnTo>
                  <a:lnTo>
                    <a:pt x="7170" y="2622"/>
                  </a:lnTo>
                  <a:lnTo>
                    <a:pt x="7182" y="2628"/>
                  </a:lnTo>
                  <a:lnTo>
                    <a:pt x="7194" y="2646"/>
                  </a:lnTo>
                  <a:lnTo>
                    <a:pt x="7206" y="2658"/>
                  </a:lnTo>
                  <a:lnTo>
                    <a:pt x="7212" y="2676"/>
                  </a:lnTo>
                  <a:lnTo>
                    <a:pt x="7212" y="2688"/>
                  </a:lnTo>
                  <a:lnTo>
                    <a:pt x="7224" y="2700"/>
                  </a:lnTo>
                  <a:lnTo>
                    <a:pt x="7230" y="2712"/>
                  </a:lnTo>
                  <a:lnTo>
                    <a:pt x="7236" y="2748"/>
                  </a:lnTo>
                  <a:lnTo>
                    <a:pt x="7206" y="2742"/>
                  </a:lnTo>
                  <a:lnTo>
                    <a:pt x="7200" y="2766"/>
                  </a:lnTo>
                  <a:lnTo>
                    <a:pt x="7224" y="2778"/>
                  </a:lnTo>
                  <a:lnTo>
                    <a:pt x="7260" y="2778"/>
                  </a:lnTo>
                  <a:lnTo>
                    <a:pt x="7260" y="2718"/>
                  </a:lnTo>
                  <a:lnTo>
                    <a:pt x="7266" y="2712"/>
                  </a:lnTo>
                  <a:lnTo>
                    <a:pt x="7272" y="2712"/>
                  </a:lnTo>
                  <a:lnTo>
                    <a:pt x="7284" y="2718"/>
                  </a:lnTo>
                  <a:lnTo>
                    <a:pt x="7290" y="2724"/>
                  </a:lnTo>
                  <a:lnTo>
                    <a:pt x="7302" y="2712"/>
                  </a:lnTo>
                  <a:lnTo>
                    <a:pt x="7308" y="2724"/>
                  </a:lnTo>
                  <a:lnTo>
                    <a:pt x="7314" y="2730"/>
                  </a:lnTo>
                  <a:lnTo>
                    <a:pt x="7320" y="2742"/>
                  </a:lnTo>
                  <a:lnTo>
                    <a:pt x="7332" y="2754"/>
                  </a:lnTo>
                  <a:lnTo>
                    <a:pt x="7344" y="2754"/>
                  </a:lnTo>
                  <a:lnTo>
                    <a:pt x="7356" y="2748"/>
                  </a:lnTo>
                  <a:lnTo>
                    <a:pt x="7368" y="2748"/>
                  </a:lnTo>
                  <a:lnTo>
                    <a:pt x="7374" y="2742"/>
                  </a:lnTo>
                  <a:lnTo>
                    <a:pt x="7380" y="2742"/>
                  </a:lnTo>
                  <a:lnTo>
                    <a:pt x="7380" y="2760"/>
                  </a:lnTo>
                  <a:lnTo>
                    <a:pt x="7386" y="2760"/>
                  </a:lnTo>
                  <a:lnTo>
                    <a:pt x="7392" y="2754"/>
                  </a:lnTo>
                  <a:lnTo>
                    <a:pt x="7404" y="2748"/>
                  </a:lnTo>
                  <a:lnTo>
                    <a:pt x="7422" y="2742"/>
                  </a:lnTo>
                  <a:lnTo>
                    <a:pt x="7440" y="2730"/>
                  </a:lnTo>
                  <a:lnTo>
                    <a:pt x="7452" y="2724"/>
                  </a:lnTo>
                  <a:lnTo>
                    <a:pt x="7464" y="2700"/>
                  </a:lnTo>
                  <a:lnTo>
                    <a:pt x="7464" y="2682"/>
                  </a:lnTo>
                  <a:lnTo>
                    <a:pt x="7470" y="2664"/>
                  </a:lnTo>
                  <a:lnTo>
                    <a:pt x="7470" y="2628"/>
                  </a:lnTo>
                  <a:lnTo>
                    <a:pt x="7494" y="2622"/>
                  </a:lnTo>
                  <a:lnTo>
                    <a:pt x="7494" y="2562"/>
                  </a:lnTo>
                  <a:lnTo>
                    <a:pt x="7500" y="2550"/>
                  </a:lnTo>
                  <a:lnTo>
                    <a:pt x="7506" y="2544"/>
                  </a:lnTo>
                  <a:lnTo>
                    <a:pt x="7518" y="2520"/>
                  </a:lnTo>
                  <a:lnTo>
                    <a:pt x="7518" y="2490"/>
                  </a:lnTo>
                  <a:lnTo>
                    <a:pt x="7524" y="2472"/>
                  </a:lnTo>
                  <a:lnTo>
                    <a:pt x="7524" y="2454"/>
                  </a:lnTo>
                  <a:lnTo>
                    <a:pt x="7518" y="2442"/>
                  </a:lnTo>
                  <a:lnTo>
                    <a:pt x="7518" y="2424"/>
                  </a:lnTo>
                  <a:lnTo>
                    <a:pt x="7512" y="2418"/>
                  </a:lnTo>
                  <a:lnTo>
                    <a:pt x="7512" y="2412"/>
                  </a:lnTo>
                  <a:lnTo>
                    <a:pt x="7518" y="2400"/>
                  </a:lnTo>
                  <a:lnTo>
                    <a:pt x="7524" y="2394"/>
                  </a:lnTo>
                  <a:lnTo>
                    <a:pt x="7524" y="2382"/>
                  </a:lnTo>
                  <a:lnTo>
                    <a:pt x="7530" y="2376"/>
                  </a:lnTo>
                  <a:lnTo>
                    <a:pt x="7530" y="2364"/>
                  </a:lnTo>
                  <a:lnTo>
                    <a:pt x="7524" y="2358"/>
                  </a:lnTo>
                  <a:lnTo>
                    <a:pt x="7518" y="2346"/>
                  </a:lnTo>
                  <a:lnTo>
                    <a:pt x="7524" y="2334"/>
                  </a:lnTo>
                  <a:lnTo>
                    <a:pt x="7530" y="2328"/>
                  </a:lnTo>
                  <a:lnTo>
                    <a:pt x="7536" y="2316"/>
                  </a:lnTo>
                  <a:lnTo>
                    <a:pt x="7536" y="2298"/>
                  </a:lnTo>
                  <a:lnTo>
                    <a:pt x="7530" y="2292"/>
                  </a:lnTo>
                  <a:lnTo>
                    <a:pt x="7530" y="2280"/>
                  </a:lnTo>
                  <a:lnTo>
                    <a:pt x="7518" y="2256"/>
                  </a:lnTo>
                  <a:lnTo>
                    <a:pt x="7512" y="2250"/>
                  </a:lnTo>
                  <a:lnTo>
                    <a:pt x="7512" y="2238"/>
                  </a:lnTo>
                  <a:lnTo>
                    <a:pt x="7506" y="2232"/>
                  </a:lnTo>
                  <a:lnTo>
                    <a:pt x="7506" y="2220"/>
                  </a:lnTo>
                  <a:lnTo>
                    <a:pt x="7500" y="2214"/>
                  </a:lnTo>
                  <a:lnTo>
                    <a:pt x="7500" y="2202"/>
                  </a:lnTo>
                  <a:lnTo>
                    <a:pt x="7494" y="2196"/>
                  </a:lnTo>
                  <a:lnTo>
                    <a:pt x="7482" y="2190"/>
                  </a:lnTo>
                  <a:lnTo>
                    <a:pt x="7476" y="2184"/>
                  </a:lnTo>
                  <a:lnTo>
                    <a:pt x="7482" y="2178"/>
                  </a:lnTo>
                  <a:lnTo>
                    <a:pt x="7476" y="2178"/>
                  </a:lnTo>
                  <a:lnTo>
                    <a:pt x="7470" y="2172"/>
                  </a:lnTo>
                  <a:lnTo>
                    <a:pt x="7458" y="2166"/>
                  </a:lnTo>
                  <a:lnTo>
                    <a:pt x="7446" y="2154"/>
                  </a:lnTo>
                  <a:lnTo>
                    <a:pt x="7440" y="2142"/>
                  </a:lnTo>
                  <a:lnTo>
                    <a:pt x="7434" y="2124"/>
                  </a:lnTo>
                  <a:lnTo>
                    <a:pt x="7434" y="2112"/>
                  </a:lnTo>
                  <a:lnTo>
                    <a:pt x="7428" y="2106"/>
                  </a:lnTo>
                  <a:lnTo>
                    <a:pt x="7428" y="2100"/>
                  </a:lnTo>
                  <a:lnTo>
                    <a:pt x="7416" y="2094"/>
                  </a:lnTo>
                  <a:lnTo>
                    <a:pt x="7416" y="2082"/>
                  </a:lnTo>
                  <a:lnTo>
                    <a:pt x="7422" y="2070"/>
                  </a:lnTo>
                  <a:lnTo>
                    <a:pt x="7422" y="2040"/>
                  </a:lnTo>
                  <a:lnTo>
                    <a:pt x="7410" y="2028"/>
                  </a:lnTo>
                  <a:lnTo>
                    <a:pt x="7404" y="2016"/>
                  </a:lnTo>
                  <a:lnTo>
                    <a:pt x="7398" y="2010"/>
                  </a:lnTo>
                  <a:lnTo>
                    <a:pt x="7380" y="2004"/>
                  </a:lnTo>
                  <a:lnTo>
                    <a:pt x="7380" y="1998"/>
                  </a:lnTo>
                  <a:lnTo>
                    <a:pt x="7374" y="1992"/>
                  </a:lnTo>
                  <a:lnTo>
                    <a:pt x="7368" y="1980"/>
                  </a:lnTo>
                  <a:lnTo>
                    <a:pt x="7356" y="1968"/>
                  </a:lnTo>
                  <a:lnTo>
                    <a:pt x="7344" y="1968"/>
                  </a:lnTo>
                  <a:lnTo>
                    <a:pt x="7332" y="1956"/>
                  </a:lnTo>
                  <a:lnTo>
                    <a:pt x="7326" y="1956"/>
                  </a:lnTo>
                  <a:lnTo>
                    <a:pt x="7308" y="1950"/>
                  </a:lnTo>
                  <a:lnTo>
                    <a:pt x="7302" y="1938"/>
                  </a:lnTo>
                  <a:lnTo>
                    <a:pt x="7308" y="1938"/>
                  </a:lnTo>
                  <a:lnTo>
                    <a:pt x="7314" y="1944"/>
                  </a:lnTo>
                  <a:lnTo>
                    <a:pt x="7326" y="1944"/>
                  </a:lnTo>
                  <a:lnTo>
                    <a:pt x="7332" y="1950"/>
                  </a:lnTo>
                  <a:lnTo>
                    <a:pt x="7344" y="1950"/>
                  </a:lnTo>
                  <a:lnTo>
                    <a:pt x="7350" y="1944"/>
                  </a:lnTo>
                  <a:lnTo>
                    <a:pt x="7350" y="1938"/>
                  </a:lnTo>
                  <a:lnTo>
                    <a:pt x="7344" y="1938"/>
                  </a:lnTo>
                  <a:lnTo>
                    <a:pt x="7332" y="1932"/>
                  </a:lnTo>
                  <a:lnTo>
                    <a:pt x="7326" y="1926"/>
                  </a:lnTo>
                  <a:lnTo>
                    <a:pt x="7320" y="1926"/>
                  </a:lnTo>
                  <a:lnTo>
                    <a:pt x="7242" y="1890"/>
                  </a:lnTo>
                  <a:lnTo>
                    <a:pt x="7236" y="1890"/>
                  </a:lnTo>
                  <a:lnTo>
                    <a:pt x="7230" y="1884"/>
                  </a:lnTo>
                  <a:lnTo>
                    <a:pt x="7218" y="1878"/>
                  </a:lnTo>
                  <a:lnTo>
                    <a:pt x="7206" y="1866"/>
                  </a:lnTo>
                  <a:lnTo>
                    <a:pt x="7194" y="1860"/>
                  </a:lnTo>
                  <a:lnTo>
                    <a:pt x="7188" y="1854"/>
                  </a:lnTo>
                  <a:lnTo>
                    <a:pt x="7170" y="1854"/>
                  </a:lnTo>
                  <a:lnTo>
                    <a:pt x="7164" y="1860"/>
                  </a:lnTo>
                  <a:lnTo>
                    <a:pt x="7152" y="1866"/>
                  </a:lnTo>
                  <a:lnTo>
                    <a:pt x="7116" y="1854"/>
                  </a:lnTo>
                  <a:lnTo>
                    <a:pt x="7152" y="1896"/>
                  </a:lnTo>
                  <a:lnTo>
                    <a:pt x="7146" y="1920"/>
                  </a:lnTo>
                  <a:lnTo>
                    <a:pt x="7134" y="1920"/>
                  </a:lnTo>
                  <a:lnTo>
                    <a:pt x="7134" y="1890"/>
                  </a:lnTo>
                  <a:lnTo>
                    <a:pt x="7116" y="1878"/>
                  </a:lnTo>
                  <a:lnTo>
                    <a:pt x="7116" y="1908"/>
                  </a:lnTo>
                  <a:lnTo>
                    <a:pt x="7068" y="1908"/>
                  </a:lnTo>
                  <a:lnTo>
                    <a:pt x="7074" y="1902"/>
                  </a:lnTo>
                  <a:lnTo>
                    <a:pt x="7074" y="1884"/>
                  </a:lnTo>
                  <a:lnTo>
                    <a:pt x="7068" y="1878"/>
                  </a:lnTo>
                  <a:lnTo>
                    <a:pt x="7044" y="1878"/>
                  </a:lnTo>
                  <a:lnTo>
                    <a:pt x="7038" y="1890"/>
                  </a:lnTo>
                  <a:lnTo>
                    <a:pt x="7014" y="1890"/>
                  </a:lnTo>
                  <a:lnTo>
                    <a:pt x="7002" y="1854"/>
                  </a:lnTo>
                  <a:lnTo>
                    <a:pt x="6996" y="1854"/>
                  </a:lnTo>
                  <a:lnTo>
                    <a:pt x="6984" y="1830"/>
                  </a:lnTo>
                  <a:lnTo>
                    <a:pt x="6912" y="1836"/>
                  </a:lnTo>
                  <a:lnTo>
                    <a:pt x="6906" y="1824"/>
                  </a:lnTo>
                  <a:lnTo>
                    <a:pt x="6882" y="1824"/>
                  </a:lnTo>
                  <a:lnTo>
                    <a:pt x="6870" y="1818"/>
                  </a:lnTo>
                  <a:lnTo>
                    <a:pt x="6864" y="1812"/>
                  </a:lnTo>
                  <a:lnTo>
                    <a:pt x="6864" y="1794"/>
                  </a:lnTo>
                  <a:lnTo>
                    <a:pt x="6876" y="1788"/>
                  </a:lnTo>
                  <a:lnTo>
                    <a:pt x="6888" y="1776"/>
                  </a:lnTo>
                  <a:lnTo>
                    <a:pt x="6900" y="1776"/>
                  </a:lnTo>
                  <a:lnTo>
                    <a:pt x="6900" y="1752"/>
                  </a:lnTo>
                  <a:lnTo>
                    <a:pt x="6906" y="1752"/>
                  </a:lnTo>
                  <a:lnTo>
                    <a:pt x="6918" y="1746"/>
                  </a:lnTo>
                  <a:lnTo>
                    <a:pt x="6930" y="1734"/>
                  </a:lnTo>
                  <a:lnTo>
                    <a:pt x="6930" y="1728"/>
                  </a:lnTo>
                  <a:lnTo>
                    <a:pt x="6936" y="1716"/>
                  </a:lnTo>
                  <a:lnTo>
                    <a:pt x="6936" y="1710"/>
                  </a:lnTo>
                  <a:lnTo>
                    <a:pt x="6942" y="1698"/>
                  </a:lnTo>
                  <a:lnTo>
                    <a:pt x="6930" y="1686"/>
                  </a:lnTo>
                  <a:lnTo>
                    <a:pt x="6942" y="1662"/>
                  </a:lnTo>
                  <a:lnTo>
                    <a:pt x="6930" y="1650"/>
                  </a:lnTo>
                  <a:lnTo>
                    <a:pt x="6948" y="1632"/>
                  </a:lnTo>
                  <a:lnTo>
                    <a:pt x="6972" y="1626"/>
                  </a:lnTo>
                  <a:lnTo>
                    <a:pt x="6960" y="1596"/>
                  </a:lnTo>
                  <a:lnTo>
                    <a:pt x="6984" y="1590"/>
                  </a:lnTo>
                  <a:lnTo>
                    <a:pt x="6960" y="1554"/>
                  </a:lnTo>
                  <a:lnTo>
                    <a:pt x="6990" y="1542"/>
                  </a:lnTo>
                  <a:lnTo>
                    <a:pt x="6990" y="1500"/>
                  </a:lnTo>
                  <a:lnTo>
                    <a:pt x="6996" y="1488"/>
                  </a:lnTo>
                  <a:lnTo>
                    <a:pt x="7002" y="1482"/>
                  </a:lnTo>
                  <a:lnTo>
                    <a:pt x="7020" y="1470"/>
                  </a:lnTo>
                  <a:lnTo>
                    <a:pt x="7032" y="1464"/>
                  </a:lnTo>
                  <a:lnTo>
                    <a:pt x="7050" y="1464"/>
                  </a:lnTo>
                  <a:lnTo>
                    <a:pt x="7068" y="1470"/>
                  </a:lnTo>
                  <a:lnTo>
                    <a:pt x="7188" y="1470"/>
                  </a:lnTo>
                  <a:lnTo>
                    <a:pt x="7206" y="1488"/>
                  </a:lnTo>
                  <a:lnTo>
                    <a:pt x="7224" y="1482"/>
                  </a:lnTo>
                  <a:lnTo>
                    <a:pt x="7218" y="1464"/>
                  </a:lnTo>
                  <a:lnTo>
                    <a:pt x="7290" y="1482"/>
                  </a:lnTo>
                  <a:lnTo>
                    <a:pt x="7320" y="1464"/>
                  </a:lnTo>
                  <a:lnTo>
                    <a:pt x="7350" y="1488"/>
                  </a:lnTo>
                  <a:lnTo>
                    <a:pt x="7356" y="1452"/>
                  </a:lnTo>
                  <a:lnTo>
                    <a:pt x="7434" y="1452"/>
                  </a:lnTo>
                  <a:lnTo>
                    <a:pt x="7446" y="1458"/>
                  </a:lnTo>
                  <a:lnTo>
                    <a:pt x="7452" y="1470"/>
                  </a:lnTo>
                  <a:lnTo>
                    <a:pt x="7458" y="1470"/>
                  </a:lnTo>
                  <a:lnTo>
                    <a:pt x="7464" y="1464"/>
                  </a:lnTo>
                  <a:lnTo>
                    <a:pt x="7476" y="1464"/>
                  </a:lnTo>
                  <a:lnTo>
                    <a:pt x="7482" y="1458"/>
                  </a:lnTo>
                  <a:lnTo>
                    <a:pt x="7494" y="1452"/>
                  </a:lnTo>
                  <a:lnTo>
                    <a:pt x="7518" y="1470"/>
                  </a:lnTo>
                  <a:lnTo>
                    <a:pt x="7560" y="1476"/>
                  </a:lnTo>
                  <a:lnTo>
                    <a:pt x="7506" y="1488"/>
                  </a:lnTo>
                  <a:lnTo>
                    <a:pt x="7506" y="1494"/>
                  </a:lnTo>
                  <a:lnTo>
                    <a:pt x="7512" y="1500"/>
                  </a:lnTo>
                  <a:lnTo>
                    <a:pt x="7524" y="1506"/>
                  </a:lnTo>
                  <a:lnTo>
                    <a:pt x="7530" y="1512"/>
                  </a:lnTo>
                  <a:lnTo>
                    <a:pt x="7542" y="1512"/>
                  </a:lnTo>
                  <a:lnTo>
                    <a:pt x="7548" y="1506"/>
                  </a:lnTo>
                  <a:lnTo>
                    <a:pt x="7560" y="1506"/>
                  </a:lnTo>
                  <a:lnTo>
                    <a:pt x="7572" y="1500"/>
                  </a:lnTo>
                  <a:lnTo>
                    <a:pt x="7578" y="1494"/>
                  </a:lnTo>
                  <a:lnTo>
                    <a:pt x="7584" y="1494"/>
                  </a:lnTo>
                  <a:lnTo>
                    <a:pt x="7614" y="1506"/>
                  </a:lnTo>
                  <a:lnTo>
                    <a:pt x="7638" y="1488"/>
                  </a:lnTo>
                  <a:lnTo>
                    <a:pt x="7644" y="1488"/>
                  </a:lnTo>
                  <a:lnTo>
                    <a:pt x="7650" y="1494"/>
                  </a:lnTo>
                  <a:lnTo>
                    <a:pt x="7686" y="1494"/>
                  </a:lnTo>
                  <a:lnTo>
                    <a:pt x="7692" y="1488"/>
                  </a:lnTo>
                  <a:lnTo>
                    <a:pt x="7692" y="1476"/>
                  </a:lnTo>
                  <a:lnTo>
                    <a:pt x="7728" y="1482"/>
                  </a:lnTo>
                  <a:lnTo>
                    <a:pt x="7680" y="1452"/>
                  </a:lnTo>
                  <a:lnTo>
                    <a:pt x="7650" y="1464"/>
                  </a:lnTo>
                  <a:lnTo>
                    <a:pt x="7644" y="1446"/>
                  </a:lnTo>
                  <a:lnTo>
                    <a:pt x="7638" y="1434"/>
                  </a:lnTo>
                  <a:lnTo>
                    <a:pt x="7632" y="1428"/>
                  </a:lnTo>
                  <a:lnTo>
                    <a:pt x="7626" y="1416"/>
                  </a:lnTo>
                  <a:lnTo>
                    <a:pt x="7626" y="1398"/>
                  </a:lnTo>
                  <a:lnTo>
                    <a:pt x="7650" y="1374"/>
                  </a:lnTo>
                  <a:lnTo>
                    <a:pt x="7644" y="1344"/>
                  </a:lnTo>
                  <a:lnTo>
                    <a:pt x="7662" y="1332"/>
                  </a:lnTo>
                  <a:lnTo>
                    <a:pt x="7650" y="1326"/>
                  </a:lnTo>
                  <a:lnTo>
                    <a:pt x="7638" y="1314"/>
                  </a:lnTo>
                  <a:lnTo>
                    <a:pt x="7638" y="1302"/>
                  </a:lnTo>
                  <a:lnTo>
                    <a:pt x="7644" y="1296"/>
                  </a:lnTo>
                  <a:lnTo>
                    <a:pt x="7662" y="1290"/>
                  </a:lnTo>
                  <a:lnTo>
                    <a:pt x="7698" y="1290"/>
                  </a:lnTo>
                  <a:lnTo>
                    <a:pt x="7710" y="1296"/>
                  </a:lnTo>
                  <a:lnTo>
                    <a:pt x="7728" y="1296"/>
                  </a:lnTo>
                  <a:lnTo>
                    <a:pt x="7746" y="1278"/>
                  </a:lnTo>
                  <a:lnTo>
                    <a:pt x="7782" y="1308"/>
                  </a:lnTo>
                  <a:lnTo>
                    <a:pt x="7806" y="1290"/>
                  </a:lnTo>
                  <a:lnTo>
                    <a:pt x="7812" y="1302"/>
                  </a:lnTo>
                  <a:lnTo>
                    <a:pt x="7818" y="1308"/>
                  </a:lnTo>
                  <a:lnTo>
                    <a:pt x="7830" y="1332"/>
                  </a:lnTo>
                  <a:lnTo>
                    <a:pt x="7830" y="1338"/>
                  </a:lnTo>
                  <a:lnTo>
                    <a:pt x="7836" y="1344"/>
                  </a:lnTo>
                  <a:lnTo>
                    <a:pt x="7878" y="1344"/>
                  </a:lnTo>
                  <a:lnTo>
                    <a:pt x="7878" y="1362"/>
                  </a:lnTo>
                  <a:lnTo>
                    <a:pt x="7884" y="1374"/>
                  </a:lnTo>
                  <a:lnTo>
                    <a:pt x="7890" y="1380"/>
                  </a:lnTo>
                  <a:lnTo>
                    <a:pt x="7896" y="1380"/>
                  </a:lnTo>
                  <a:lnTo>
                    <a:pt x="7914" y="1362"/>
                  </a:lnTo>
                  <a:lnTo>
                    <a:pt x="7932" y="1326"/>
                  </a:lnTo>
                  <a:lnTo>
                    <a:pt x="7938" y="1320"/>
                  </a:lnTo>
                  <a:lnTo>
                    <a:pt x="7938" y="1314"/>
                  </a:lnTo>
                  <a:lnTo>
                    <a:pt x="7962" y="1302"/>
                  </a:lnTo>
                  <a:lnTo>
                    <a:pt x="7992" y="1314"/>
                  </a:lnTo>
                  <a:lnTo>
                    <a:pt x="7986" y="1302"/>
                  </a:lnTo>
                  <a:lnTo>
                    <a:pt x="7962" y="1284"/>
                  </a:lnTo>
                  <a:lnTo>
                    <a:pt x="7956" y="1278"/>
                  </a:lnTo>
                  <a:lnTo>
                    <a:pt x="7932" y="1266"/>
                  </a:lnTo>
                  <a:lnTo>
                    <a:pt x="7926" y="1254"/>
                  </a:lnTo>
                  <a:lnTo>
                    <a:pt x="7914" y="1248"/>
                  </a:lnTo>
                  <a:lnTo>
                    <a:pt x="7908" y="1242"/>
                  </a:lnTo>
                  <a:lnTo>
                    <a:pt x="7908" y="1230"/>
                  </a:lnTo>
                  <a:lnTo>
                    <a:pt x="7962" y="1230"/>
                  </a:lnTo>
                  <a:lnTo>
                    <a:pt x="7992" y="1236"/>
                  </a:lnTo>
                  <a:lnTo>
                    <a:pt x="8052" y="1236"/>
                  </a:lnTo>
                  <a:lnTo>
                    <a:pt x="8052" y="1254"/>
                  </a:lnTo>
                  <a:lnTo>
                    <a:pt x="8040" y="1254"/>
                  </a:lnTo>
                  <a:lnTo>
                    <a:pt x="8028" y="1248"/>
                  </a:lnTo>
                  <a:lnTo>
                    <a:pt x="7992" y="1248"/>
                  </a:lnTo>
                  <a:lnTo>
                    <a:pt x="7992" y="1266"/>
                  </a:lnTo>
                  <a:lnTo>
                    <a:pt x="8016" y="1290"/>
                  </a:lnTo>
                  <a:lnTo>
                    <a:pt x="8028" y="1296"/>
                  </a:lnTo>
                  <a:lnTo>
                    <a:pt x="8034" y="1320"/>
                  </a:lnTo>
                  <a:lnTo>
                    <a:pt x="8064" y="1326"/>
                  </a:lnTo>
                  <a:lnTo>
                    <a:pt x="8058" y="1344"/>
                  </a:lnTo>
                  <a:lnTo>
                    <a:pt x="8076" y="1362"/>
                  </a:lnTo>
                  <a:lnTo>
                    <a:pt x="8046" y="1368"/>
                  </a:lnTo>
                  <a:lnTo>
                    <a:pt x="8040" y="1380"/>
                  </a:lnTo>
                  <a:lnTo>
                    <a:pt x="8022" y="1386"/>
                  </a:lnTo>
                  <a:lnTo>
                    <a:pt x="8028" y="1398"/>
                  </a:lnTo>
                  <a:lnTo>
                    <a:pt x="8028" y="1404"/>
                  </a:lnTo>
                  <a:lnTo>
                    <a:pt x="8034" y="1416"/>
                  </a:lnTo>
                  <a:lnTo>
                    <a:pt x="8034" y="1440"/>
                  </a:lnTo>
                  <a:lnTo>
                    <a:pt x="8028" y="1452"/>
                  </a:lnTo>
                  <a:lnTo>
                    <a:pt x="8016" y="1464"/>
                  </a:lnTo>
                  <a:lnTo>
                    <a:pt x="8004" y="1488"/>
                  </a:lnTo>
                  <a:lnTo>
                    <a:pt x="8004" y="1506"/>
                  </a:lnTo>
                  <a:lnTo>
                    <a:pt x="8010" y="1506"/>
                  </a:lnTo>
                  <a:lnTo>
                    <a:pt x="8016" y="1512"/>
                  </a:lnTo>
                  <a:lnTo>
                    <a:pt x="8022" y="1524"/>
                  </a:lnTo>
                  <a:lnTo>
                    <a:pt x="8016" y="1530"/>
                  </a:lnTo>
                  <a:lnTo>
                    <a:pt x="8010" y="1542"/>
                  </a:lnTo>
                  <a:lnTo>
                    <a:pt x="7986" y="1566"/>
                  </a:lnTo>
                  <a:lnTo>
                    <a:pt x="7974" y="1572"/>
                  </a:lnTo>
                  <a:lnTo>
                    <a:pt x="7968" y="1578"/>
                  </a:lnTo>
                  <a:lnTo>
                    <a:pt x="7962" y="1578"/>
                  </a:lnTo>
                  <a:lnTo>
                    <a:pt x="7962" y="1596"/>
                  </a:lnTo>
                  <a:lnTo>
                    <a:pt x="7944" y="1596"/>
                  </a:lnTo>
                  <a:lnTo>
                    <a:pt x="7950" y="1596"/>
                  </a:lnTo>
                  <a:lnTo>
                    <a:pt x="7956" y="1602"/>
                  </a:lnTo>
                  <a:lnTo>
                    <a:pt x="7968" y="1608"/>
                  </a:lnTo>
                  <a:lnTo>
                    <a:pt x="7980" y="1632"/>
                  </a:lnTo>
                  <a:lnTo>
                    <a:pt x="7974" y="1650"/>
                  </a:lnTo>
                  <a:lnTo>
                    <a:pt x="7974" y="1662"/>
                  </a:lnTo>
                  <a:lnTo>
                    <a:pt x="7968" y="1674"/>
                  </a:lnTo>
                  <a:lnTo>
                    <a:pt x="7968" y="1686"/>
                  </a:lnTo>
                  <a:lnTo>
                    <a:pt x="7974" y="1704"/>
                  </a:lnTo>
                  <a:lnTo>
                    <a:pt x="7992" y="1722"/>
                  </a:lnTo>
                  <a:lnTo>
                    <a:pt x="8016" y="1752"/>
                  </a:lnTo>
                  <a:lnTo>
                    <a:pt x="8046" y="1776"/>
                  </a:lnTo>
                  <a:lnTo>
                    <a:pt x="8070" y="1800"/>
                  </a:lnTo>
                  <a:lnTo>
                    <a:pt x="8082" y="1806"/>
                  </a:lnTo>
                  <a:lnTo>
                    <a:pt x="8142" y="1872"/>
                  </a:lnTo>
                  <a:lnTo>
                    <a:pt x="8154" y="1866"/>
                  </a:lnTo>
                  <a:lnTo>
                    <a:pt x="8238" y="1962"/>
                  </a:lnTo>
                  <a:lnTo>
                    <a:pt x="8286" y="1980"/>
                  </a:lnTo>
                  <a:lnTo>
                    <a:pt x="8310" y="2004"/>
                  </a:lnTo>
                  <a:lnTo>
                    <a:pt x="8316" y="2016"/>
                  </a:lnTo>
                  <a:lnTo>
                    <a:pt x="8328" y="2022"/>
                  </a:lnTo>
                  <a:lnTo>
                    <a:pt x="8334" y="2034"/>
                  </a:lnTo>
                  <a:lnTo>
                    <a:pt x="8388" y="2088"/>
                  </a:lnTo>
                  <a:lnTo>
                    <a:pt x="8406" y="2088"/>
                  </a:lnTo>
                  <a:lnTo>
                    <a:pt x="8406" y="2106"/>
                  </a:lnTo>
                  <a:lnTo>
                    <a:pt x="8418" y="2106"/>
                  </a:lnTo>
                  <a:lnTo>
                    <a:pt x="8430" y="2100"/>
                  </a:lnTo>
                  <a:lnTo>
                    <a:pt x="8436" y="2094"/>
                  </a:lnTo>
                  <a:lnTo>
                    <a:pt x="8442" y="2082"/>
                  </a:lnTo>
                  <a:lnTo>
                    <a:pt x="8442" y="2076"/>
                  </a:lnTo>
                  <a:lnTo>
                    <a:pt x="8430" y="2064"/>
                  </a:lnTo>
                  <a:lnTo>
                    <a:pt x="8436" y="2058"/>
                  </a:lnTo>
                  <a:lnTo>
                    <a:pt x="8442" y="2046"/>
                  </a:lnTo>
                  <a:lnTo>
                    <a:pt x="8448" y="2040"/>
                  </a:lnTo>
                  <a:lnTo>
                    <a:pt x="8448" y="2022"/>
                  </a:lnTo>
                  <a:lnTo>
                    <a:pt x="8430" y="2004"/>
                  </a:lnTo>
                  <a:lnTo>
                    <a:pt x="8418" y="1998"/>
                  </a:lnTo>
                  <a:lnTo>
                    <a:pt x="8406" y="1974"/>
                  </a:lnTo>
                  <a:lnTo>
                    <a:pt x="8406" y="1962"/>
                  </a:lnTo>
                  <a:lnTo>
                    <a:pt x="8412" y="1950"/>
                  </a:lnTo>
                  <a:lnTo>
                    <a:pt x="8430" y="1932"/>
                  </a:lnTo>
                  <a:lnTo>
                    <a:pt x="8442" y="1932"/>
                  </a:lnTo>
                  <a:lnTo>
                    <a:pt x="8454" y="1938"/>
                  </a:lnTo>
                  <a:lnTo>
                    <a:pt x="8460" y="1938"/>
                  </a:lnTo>
                  <a:lnTo>
                    <a:pt x="8466" y="1944"/>
                  </a:lnTo>
                  <a:lnTo>
                    <a:pt x="8472" y="1944"/>
                  </a:lnTo>
                  <a:lnTo>
                    <a:pt x="8466" y="1938"/>
                  </a:lnTo>
                  <a:lnTo>
                    <a:pt x="8460" y="1926"/>
                  </a:lnTo>
                  <a:lnTo>
                    <a:pt x="8448" y="1920"/>
                  </a:lnTo>
                  <a:lnTo>
                    <a:pt x="8442" y="1908"/>
                  </a:lnTo>
                  <a:lnTo>
                    <a:pt x="8424" y="1890"/>
                  </a:lnTo>
                  <a:lnTo>
                    <a:pt x="8412" y="1890"/>
                  </a:lnTo>
                  <a:lnTo>
                    <a:pt x="8406" y="1884"/>
                  </a:lnTo>
                  <a:lnTo>
                    <a:pt x="8400" y="1872"/>
                  </a:lnTo>
                  <a:lnTo>
                    <a:pt x="8400" y="1860"/>
                  </a:lnTo>
                  <a:lnTo>
                    <a:pt x="8406" y="1848"/>
                  </a:lnTo>
                  <a:lnTo>
                    <a:pt x="8412" y="1842"/>
                  </a:lnTo>
                  <a:lnTo>
                    <a:pt x="8424" y="1836"/>
                  </a:lnTo>
                  <a:lnTo>
                    <a:pt x="8430" y="1830"/>
                  </a:lnTo>
                  <a:lnTo>
                    <a:pt x="8442" y="1836"/>
                  </a:lnTo>
                  <a:lnTo>
                    <a:pt x="8466" y="1836"/>
                  </a:lnTo>
                  <a:lnTo>
                    <a:pt x="8472" y="1830"/>
                  </a:lnTo>
                  <a:lnTo>
                    <a:pt x="8472" y="1812"/>
                  </a:lnTo>
                  <a:lnTo>
                    <a:pt x="8454" y="1794"/>
                  </a:lnTo>
                  <a:lnTo>
                    <a:pt x="8436" y="1788"/>
                  </a:lnTo>
                  <a:lnTo>
                    <a:pt x="8424" y="1782"/>
                  </a:lnTo>
                  <a:lnTo>
                    <a:pt x="8406" y="1770"/>
                  </a:lnTo>
                  <a:lnTo>
                    <a:pt x="8394" y="1758"/>
                  </a:lnTo>
                  <a:lnTo>
                    <a:pt x="8388" y="1740"/>
                  </a:lnTo>
                  <a:lnTo>
                    <a:pt x="8376" y="1716"/>
                  </a:lnTo>
                  <a:lnTo>
                    <a:pt x="8376" y="1704"/>
                  </a:lnTo>
                  <a:lnTo>
                    <a:pt x="8370" y="1698"/>
                  </a:lnTo>
                  <a:lnTo>
                    <a:pt x="8370" y="1692"/>
                  </a:lnTo>
                  <a:lnTo>
                    <a:pt x="8382" y="1686"/>
                  </a:lnTo>
                  <a:lnTo>
                    <a:pt x="8406" y="1710"/>
                  </a:lnTo>
                  <a:lnTo>
                    <a:pt x="8418" y="1716"/>
                  </a:lnTo>
                  <a:lnTo>
                    <a:pt x="8430" y="1716"/>
                  </a:lnTo>
                  <a:lnTo>
                    <a:pt x="8430" y="1710"/>
                  </a:lnTo>
                  <a:lnTo>
                    <a:pt x="8424" y="1704"/>
                  </a:lnTo>
                  <a:lnTo>
                    <a:pt x="8418" y="1692"/>
                  </a:lnTo>
                  <a:lnTo>
                    <a:pt x="8412" y="1686"/>
                  </a:lnTo>
                  <a:lnTo>
                    <a:pt x="8406" y="1674"/>
                  </a:lnTo>
                  <a:lnTo>
                    <a:pt x="8400" y="1668"/>
                  </a:lnTo>
                  <a:lnTo>
                    <a:pt x="8364" y="1668"/>
                  </a:lnTo>
                  <a:lnTo>
                    <a:pt x="8316" y="1626"/>
                  </a:lnTo>
                  <a:lnTo>
                    <a:pt x="8316" y="1596"/>
                  </a:lnTo>
                  <a:lnTo>
                    <a:pt x="8310" y="1590"/>
                  </a:lnTo>
                  <a:lnTo>
                    <a:pt x="8298" y="1584"/>
                  </a:lnTo>
                  <a:lnTo>
                    <a:pt x="8280" y="1578"/>
                  </a:lnTo>
                  <a:lnTo>
                    <a:pt x="8268" y="1572"/>
                  </a:lnTo>
                  <a:lnTo>
                    <a:pt x="8256" y="1572"/>
                  </a:lnTo>
                  <a:lnTo>
                    <a:pt x="8256" y="1590"/>
                  </a:lnTo>
                  <a:lnTo>
                    <a:pt x="8250" y="1590"/>
                  </a:lnTo>
                  <a:lnTo>
                    <a:pt x="8244" y="1584"/>
                  </a:lnTo>
                  <a:lnTo>
                    <a:pt x="8232" y="1584"/>
                  </a:lnTo>
                  <a:lnTo>
                    <a:pt x="8214" y="1572"/>
                  </a:lnTo>
                  <a:lnTo>
                    <a:pt x="8202" y="1566"/>
                  </a:lnTo>
                  <a:lnTo>
                    <a:pt x="8196" y="1560"/>
                  </a:lnTo>
                  <a:lnTo>
                    <a:pt x="8190" y="1548"/>
                  </a:lnTo>
                  <a:lnTo>
                    <a:pt x="8190" y="1536"/>
                  </a:lnTo>
                  <a:lnTo>
                    <a:pt x="8196" y="1524"/>
                  </a:lnTo>
                  <a:lnTo>
                    <a:pt x="8196" y="1500"/>
                  </a:lnTo>
                  <a:lnTo>
                    <a:pt x="8184" y="1476"/>
                  </a:lnTo>
                  <a:lnTo>
                    <a:pt x="8166" y="1458"/>
                  </a:lnTo>
                  <a:lnTo>
                    <a:pt x="8154" y="1452"/>
                  </a:lnTo>
                  <a:lnTo>
                    <a:pt x="8154" y="1434"/>
                  </a:lnTo>
                  <a:lnTo>
                    <a:pt x="8160" y="1428"/>
                  </a:lnTo>
                  <a:lnTo>
                    <a:pt x="8172" y="1428"/>
                  </a:lnTo>
                  <a:lnTo>
                    <a:pt x="8184" y="1434"/>
                  </a:lnTo>
                  <a:lnTo>
                    <a:pt x="8196" y="1416"/>
                  </a:lnTo>
                  <a:lnTo>
                    <a:pt x="8232" y="1446"/>
                  </a:lnTo>
                  <a:lnTo>
                    <a:pt x="8238" y="1440"/>
                  </a:lnTo>
                  <a:lnTo>
                    <a:pt x="8226" y="1428"/>
                  </a:lnTo>
                  <a:lnTo>
                    <a:pt x="8226" y="1422"/>
                  </a:lnTo>
                  <a:lnTo>
                    <a:pt x="8232" y="1416"/>
                  </a:lnTo>
                  <a:lnTo>
                    <a:pt x="8232" y="1404"/>
                  </a:lnTo>
                  <a:lnTo>
                    <a:pt x="8238" y="1392"/>
                  </a:lnTo>
                  <a:lnTo>
                    <a:pt x="8250" y="1386"/>
                  </a:lnTo>
                  <a:lnTo>
                    <a:pt x="8256" y="1386"/>
                  </a:lnTo>
                  <a:lnTo>
                    <a:pt x="8274" y="1404"/>
                  </a:lnTo>
                  <a:lnTo>
                    <a:pt x="8280" y="1416"/>
                  </a:lnTo>
                  <a:lnTo>
                    <a:pt x="8292" y="1428"/>
                  </a:lnTo>
                  <a:lnTo>
                    <a:pt x="8304" y="1434"/>
                  </a:lnTo>
                  <a:lnTo>
                    <a:pt x="8310" y="1446"/>
                  </a:lnTo>
                  <a:lnTo>
                    <a:pt x="8322" y="1398"/>
                  </a:lnTo>
                  <a:lnTo>
                    <a:pt x="8334" y="1398"/>
                  </a:lnTo>
                  <a:lnTo>
                    <a:pt x="8364" y="1392"/>
                  </a:lnTo>
                  <a:lnTo>
                    <a:pt x="8400" y="1386"/>
                  </a:lnTo>
                  <a:lnTo>
                    <a:pt x="8430" y="1386"/>
                  </a:lnTo>
                  <a:lnTo>
                    <a:pt x="8478" y="1410"/>
                  </a:lnTo>
                  <a:lnTo>
                    <a:pt x="8484" y="1416"/>
                  </a:lnTo>
                  <a:lnTo>
                    <a:pt x="8490" y="1416"/>
                  </a:lnTo>
                  <a:lnTo>
                    <a:pt x="8532" y="1434"/>
                  </a:lnTo>
                  <a:lnTo>
                    <a:pt x="8502" y="1374"/>
                  </a:lnTo>
                  <a:lnTo>
                    <a:pt x="8526" y="1374"/>
                  </a:lnTo>
                  <a:lnTo>
                    <a:pt x="8538" y="1368"/>
                  </a:lnTo>
                  <a:lnTo>
                    <a:pt x="8550" y="1356"/>
                  </a:lnTo>
                  <a:lnTo>
                    <a:pt x="8550" y="1332"/>
                  </a:lnTo>
                  <a:lnTo>
                    <a:pt x="8544" y="1326"/>
                  </a:lnTo>
                  <a:lnTo>
                    <a:pt x="8538" y="1314"/>
                  </a:lnTo>
                  <a:lnTo>
                    <a:pt x="8562" y="1314"/>
                  </a:lnTo>
                  <a:lnTo>
                    <a:pt x="8562" y="1290"/>
                  </a:lnTo>
                  <a:lnTo>
                    <a:pt x="8574" y="1290"/>
                  </a:lnTo>
                  <a:lnTo>
                    <a:pt x="8586" y="1296"/>
                  </a:lnTo>
                  <a:lnTo>
                    <a:pt x="8616" y="1296"/>
                  </a:lnTo>
                  <a:lnTo>
                    <a:pt x="8628" y="1290"/>
                  </a:lnTo>
                  <a:lnTo>
                    <a:pt x="8634" y="1284"/>
                  </a:lnTo>
                  <a:lnTo>
                    <a:pt x="8640" y="1272"/>
                  </a:lnTo>
                  <a:lnTo>
                    <a:pt x="8652" y="1260"/>
                  </a:lnTo>
                  <a:lnTo>
                    <a:pt x="8658" y="1248"/>
                  </a:lnTo>
                  <a:lnTo>
                    <a:pt x="8664" y="1242"/>
                  </a:lnTo>
                  <a:lnTo>
                    <a:pt x="8670" y="1242"/>
                  </a:lnTo>
                  <a:lnTo>
                    <a:pt x="8652" y="1218"/>
                  </a:lnTo>
                  <a:lnTo>
                    <a:pt x="8682" y="1218"/>
                  </a:lnTo>
                  <a:lnTo>
                    <a:pt x="8688" y="1236"/>
                  </a:lnTo>
                  <a:lnTo>
                    <a:pt x="8748" y="1242"/>
                  </a:lnTo>
                  <a:lnTo>
                    <a:pt x="8760" y="1242"/>
                  </a:lnTo>
                  <a:lnTo>
                    <a:pt x="8772" y="1248"/>
                  </a:lnTo>
                  <a:lnTo>
                    <a:pt x="8808" y="1248"/>
                  </a:lnTo>
                  <a:lnTo>
                    <a:pt x="8808" y="1230"/>
                  </a:lnTo>
                  <a:lnTo>
                    <a:pt x="8802" y="1218"/>
                  </a:lnTo>
                  <a:lnTo>
                    <a:pt x="8766" y="1218"/>
                  </a:lnTo>
                  <a:lnTo>
                    <a:pt x="8760" y="1194"/>
                  </a:lnTo>
                  <a:lnTo>
                    <a:pt x="8754" y="1194"/>
                  </a:lnTo>
                  <a:lnTo>
                    <a:pt x="8748" y="1188"/>
                  </a:lnTo>
                  <a:lnTo>
                    <a:pt x="8736" y="1188"/>
                  </a:lnTo>
                  <a:lnTo>
                    <a:pt x="8712" y="1176"/>
                  </a:lnTo>
                  <a:lnTo>
                    <a:pt x="8700" y="1176"/>
                  </a:lnTo>
                  <a:lnTo>
                    <a:pt x="8688" y="1170"/>
                  </a:lnTo>
                  <a:lnTo>
                    <a:pt x="8658" y="1170"/>
                  </a:lnTo>
                  <a:lnTo>
                    <a:pt x="8664" y="1152"/>
                  </a:lnTo>
                  <a:lnTo>
                    <a:pt x="8592" y="1104"/>
                  </a:lnTo>
                  <a:lnTo>
                    <a:pt x="8574" y="1122"/>
                  </a:lnTo>
                  <a:lnTo>
                    <a:pt x="8568" y="1122"/>
                  </a:lnTo>
                  <a:lnTo>
                    <a:pt x="8562" y="1116"/>
                  </a:lnTo>
                  <a:lnTo>
                    <a:pt x="8550" y="1116"/>
                  </a:lnTo>
                  <a:lnTo>
                    <a:pt x="8538" y="1110"/>
                  </a:lnTo>
                  <a:lnTo>
                    <a:pt x="8532" y="1110"/>
                  </a:lnTo>
                  <a:lnTo>
                    <a:pt x="8520" y="1104"/>
                  </a:lnTo>
                  <a:lnTo>
                    <a:pt x="8508" y="1092"/>
                  </a:lnTo>
                  <a:lnTo>
                    <a:pt x="8502" y="1092"/>
                  </a:lnTo>
                  <a:lnTo>
                    <a:pt x="8466" y="1098"/>
                  </a:lnTo>
                  <a:lnTo>
                    <a:pt x="8442" y="1092"/>
                  </a:lnTo>
                  <a:lnTo>
                    <a:pt x="8430" y="1086"/>
                  </a:lnTo>
                  <a:lnTo>
                    <a:pt x="8412" y="1068"/>
                  </a:lnTo>
                  <a:lnTo>
                    <a:pt x="8406" y="1068"/>
                  </a:lnTo>
                  <a:lnTo>
                    <a:pt x="8412" y="1062"/>
                  </a:lnTo>
                  <a:lnTo>
                    <a:pt x="8436" y="1062"/>
                  </a:lnTo>
                  <a:lnTo>
                    <a:pt x="8460" y="1074"/>
                  </a:lnTo>
                  <a:lnTo>
                    <a:pt x="8478" y="1074"/>
                  </a:lnTo>
                  <a:lnTo>
                    <a:pt x="8496" y="1080"/>
                  </a:lnTo>
                  <a:lnTo>
                    <a:pt x="8514" y="1080"/>
                  </a:lnTo>
                  <a:lnTo>
                    <a:pt x="8526" y="1086"/>
                  </a:lnTo>
                  <a:lnTo>
                    <a:pt x="8544" y="1086"/>
                  </a:lnTo>
                  <a:lnTo>
                    <a:pt x="8550" y="1080"/>
                  </a:lnTo>
                  <a:lnTo>
                    <a:pt x="8562" y="1080"/>
                  </a:lnTo>
                  <a:lnTo>
                    <a:pt x="8580" y="1074"/>
                  </a:lnTo>
                  <a:lnTo>
                    <a:pt x="8604" y="1062"/>
                  </a:lnTo>
                  <a:lnTo>
                    <a:pt x="8616" y="1050"/>
                  </a:lnTo>
                  <a:lnTo>
                    <a:pt x="8604" y="1038"/>
                  </a:lnTo>
                  <a:lnTo>
                    <a:pt x="8592" y="1032"/>
                  </a:lnTo>
                  <a:lnTo>
                    <a:pt x="8586" y="1026"/>
                  </a:lnTo>
                  <a:lnTo>
                    <a:pt x="8574" y="1020"/>
                  </a:lnTo>
                  <a:lnTo>
                    <a:pt x="8568" y="1014"/>
                  </a:lnTo>
                  <a:lnTo>
                    <a:pt x="8562" y="1014"/>
                  </a:lnTo>
                  <a:lnTo>
                    <a:pt x="8556" y="1008"/>
                  </a:lnTo>
                  <a:lnTo>
                    <a:pt x="8520" y="990"/>
                  </a:lnTo>
                  <a:lnTo>
                    <a:pt x="8508" y="978"/>
                  </a:lnTo>
                  <a:lnTo>
                    <a:pt x="8514" y="972"/>
                  </a:lnTo>
                  <a:lnTo>
                    <a:pt x="8538" y="972"/>
                  </a:lnTo>
                  <a:lnTo>
                    <a:pt x="8556" y="978"/>
                  </a:lnTo>
                  <a:lnTo>
                    <a:pt x="8562" y="984"/>
                  </a:lnTo>
                  <a:lnTo>
                    <a:pt x="8574" y="990"/>
                  </a:lnTo>
                  <a:lnTo>
                    <a:pt x="8580" y="990"/>
                  </a:lnTo>
                  <a:lnTo>
                    <a:pt x="8586" y="996"/>
                  </a:lnTo>
                  <a:lnTo>
                    <a:pt x="8610" y="1008"/>
                  </a:lnTo>
                  <a:lnTo>
                    <a:pt x="8628" y="1020"/>
                  </a:lnTo>
                  <a:lnTo>
                    <a:pt x="8652" y="1032"/>
                  </a:lnTo>
                  <a:lnTo>
                    <a:pt x="8664" y="1032"/>
                  </a:lnTo>
                  <a:lnTo>
                    <a:pt x="8676" y="1026"/>
                  </a:lnTo>
                  <a:lnTo>
                    <a:pt x="8682" y="1026"/>
                  </a:lnTo>
                  <a:lnTo>
                    <a:pt x="8688" y="1020"/>
                  </a:lnTo>
                  <a:lnTo>
                    <a:pt x="8730" y="1020"/>
                  </a:lnTo>
                  <a:lnTo>
                    <a:pt x="8754" y="1026"/>
                  </a:lnTo>
                  <a:lnTo>
                    <a:pt x="8808" y="1044"/>
                  </a:lnTo>
                  <a:lnTo>
                    <a:pt x="8850" y="1062"/>
                  </a:lnTo>
                  <a:lnTo>
                    <a:pt x="8880" y="1068"/>
                  </a:lnTo>
                  <a:lnTo>
                    <a:pt x="8886" y="1074"/>
                  </a:lnTo>
                  <a:lnTo>
                    <a:pt x="8898" y="1074"/>
                  </a:lnTo>
                  <a:lnTo>
                    <a:pt x="8934" y="1086"/>
                  </a:lnTo>
                  <a:lnTo>
                    <a:pt x="8946" y="1086"/>
                  </a:lnTo>
                  <a:lnTo>
                    <a:pt x="8952" y="1092"/>
                  </a:lnTo>
                  <a:lnTo>
                    <a:pt x="8958" y="1092"/>
                  </a:lnTo>
                  <a:lnTo>
                    <a:pt x="8970" y="1098"/>
                  </a:lnTo>
                  <a:lnTo>
                    <a:pt x="8976" y="1104"/>
                  </a:lnTo>
                  <a:lnTo>
                    <a:pt x="8988" y="1110"/>
                  </a:lnTo>
                  <a:lnTo>
                    <a:pt x="9000" y="1110"/>
                  </a:lnTo>
                  <a:lnTo>
                    <a:pt x="9018" y="1116"/>
                  </a:lnTo>
                  <a:lnTo>
                    <a:pt x="9024" y="1122"/>
                  </a:lnTo>
                  <a:lnTo>
                    <a:pt x="9042" y="1122"/>
                  </a:lnTo>
                  <a:lnTo>
                    <a:pt x="9042" y="1116"/>
                  </a:lnTo>
                  <a:lnTo>
                    <a:pt x="9036" y="1098"/>
                  </a:lnTo>
                  <a:lnTo>
                    <a:pt x="9012" y="1074"/>
                  </a:lnTo>
                  <a:lnTo>
                    <a:pt x="9006" y="1074"/>
                  </a:lnTo>
                  <a:lnTo>
                    <a:pt x="9024" y="1056"/>
                  </a:lnTo>
                  <a:lnTo>
                    <a:pt x="8976" y="1038"/>
                  </a:lnTo>
                  <a:lnTo>
                    <a:pt x="8988" y="1032"/>
                  </a:lnTo>
                  <a:lnTo>
                    <a:pt x="8940" y="1008"/>
                  </a:lnTo>
                  <a:lnTo>
                    <a:pt x="8994" y="1020"/>
                  </a:lnTo>
                  <a:lnTo>
                    <a:pt x="8988" y="996"/>
                  </a:lnTo>
                  <a:lnTo>
                    <a:pt x="9000" y="996"/>
                  </a:lnTo>
                  <a:lnTo>
                    <a:pt x="9012" y="1002"/>
                  </a:lnTo>
                  <a:lnTo>
                    <a:pt x="9048" y="1002"/>
                  </a:lnTo>
                  <a:lnTo>
                    <a:pt x="9048" y="996"/>
                  </a:lnTo>
                  <a:close/>
                </a:path>
              </a:pathLst>
            </a:custGeom>
            <a:grpFill/>
            <a:ln w="3175">
              <a:solidFill>
                <a:schemeClr val="bg1"/>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de-DE" sz="1800" b="0" i="0" u="none" strike="noStrike" kern="1200" cap="none" spc="0" normalizeH="0" baseline="0" noProof="0">
                <a:ln>
                  <a:noFill/>
                </a:ln>
                <a:solidFill>
                  <a:srgbClr val="FFC000"/>
                </a:solidFill>
                <a:effectLst/>
                <a:uLnTx/>
                <a:uFillTx/>
                <a:latin typeface="Calibri" pitchFamily="34" charset="0"/>
                <a:ea typeface="+mn-ea"/>
                <a:cs typeface="+mn-cs"/>
              </a:endParaRPr>
            </a:p>
          </p:txBody>
        </p:sp>
        <p:sp>
          <p:nvSpPr>
            <p:cNvPr id="63" name="Qatar" descr="© INSCALE GmbH, 05.05.2010&#10;http://www.presentationload.com/"/>
            <p:cNvSpPr>
              <a:spLocks/>
            </p:cNvSpPr>
            <p:nvPr/>
          </p:nvSpPr>
          <p:spPr bwMode="gray">
            <a:xfrm>
              <a:off x="5618876" y="3647308"/>
              <a:ext cx="20477" cy="45317"/>
            </a:xfrm>
            <a:custGeom>
              <a:avLst/>
              <a:gdLst>
                <a:gd name="T0" fmla="*/ 2147483647 w 66"/>
                <a:gd name="T1" fmla="*/ 2147483647 h 144"/>
                <a:gd name="T2" fmla="*/ 2147483647 w 66"/>
                <a:gd name="T3" fmla="*/ 2147483647 h 144"/>
                <a:gd name="T4" fmla="*/ 2147483647 w 66"/>
                <a:gd name="T5" fmla="*/ 2147483647 h 144"/>
                <a:gd name="T6" fmla="*/ 2147483647 w 66"/>
                <a:gd name="T7" fmla="*/ 2147483647 h 144"/>
                <a:gd name="T8" fmla="*/ 2147483647 w 66"/>
                <a:gd name="T9" fmla="*/ 2147483647 h 144"/>
                <a:gd name="T10" fmla="*/ 2147483647 w 66"/>
                <a:gd name="T11" fmla="*/ 2147483647 h 144"/>
                <a:gd name="T12" fmla="*/ 2147483647 w 66"/>
                <a:gd name="T13" fmla="*/ 2147483647 h 144"/>
                <a:gd name="T14" fmla="*/ 2147483647 w 66"/>
                <a:gd name="T15" fmla="*/ 2147483647 h 144"/>
                <a:gd name="T16" fmla="*/ 2147483647 w 66"/>
                <a:gd name="T17" fmla="*/ 2147483647 h 144"/>
                <a:gd name="T18" fmla="*/ 2147483647 w 66"/>
                <a:gd name="T19" fmla="*/ 0 h 144"/>
                <a:gd name="T20" fmla="*/ 2147483647 w 66"/>
                <a:gd name="T21" fmla="*/ 0 h 144"/>
                <a:gd name="T22" fmla="*/ 2147483647 w 66"/>
                <a:gd name="T23" fmla="*/ 2147483647 h 144"/>
                <a:gd name="T24" fmla="*/ 2147483647 w 66"/>
                <a:gd name="T25" fmla="*/ 2147483647 h 144"/>
                <a:gd name="T26" fmla="*/ 2147483647 w 66"/>
                <a:gd name="T27" fmla="*/ 2147483647 h 144"/>
                <a:gd name="T28" fmla="*/ 2147483647 w 66"/>
                <a:gd name="T29" fmla="*/ 2147483647 h 144"/>
                <a:gd name="T30" fmla="*/ 0 w 66"/>
                <a:gd name="T31" fmla="*/ 2147483647 h 144"/>
                <a:gd name="T32" fmla="*/ 2147483647 w 66"/>
                <a:gd name="T33" fmla="*/ 2147483647 h 144"/>
                <a:gd name="T34" fmla="*/ 2147483647 w 66"/>
                <a:gd name="T35" fmla="*/ 2147483647 h 14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66"/>
                <a:gd name="T55" fmla="*/ 0 h 144"/>
                <a:gd name="T56" fmla="*/ 66 w 66"/>
                <a:gd name="T57" fmla="*/ 144 h 144"/>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66" h="144">
                  <a:moveTo>
                    <a:pt x="24" y="132"/>
                  </a:moveTo>
                  <a:lnTo>
                    <a:pt x="36" y="144"/>
                  </a:lnTo>
                  <a:lnTo>
                    <a:pt x="48" y="132"/>
                  </a:lnTo>
                  <a:lnTo>
                    <a:pt x="54" y="114"/>
                  </a:lnTo>
                  <a:lnTo>
                    <a:pt x="60" y="102"/>
                  </a:lnTo>
                  <a:lnTo>
                    <a:pt x="66" y="84"/>
                  </a:lnTo>
                  <a:lnTo>
                    <a:pt x="66" y="30"/>
                  </a:lnTo>
                  <a:lnTo>
                    <a:pt x="54" y="18"/>
                  </a:lnTo>
                  <a:lnTo>
                    <a:pt x="48" y="6"/>
                  </a:lnTo>
                  <a:lnTo>
                    <a:pt x="36" y="0"/>
                  </a:lnTo>
                  <a:lnTo>
                    <a:pt x="30" y="0"/>
                  </a:lnTo>
                  <a:lnTo>
                    <a:pt x="24" y="6"/>
                  </a:lnTo>
                  <a:lnTo>
                    <a:pt x="18" y="18"/>
                  </a:lnTo>
                  <a:lnTo>
                    <a:pt x="12" y="36"/>
                  </a:lnTo>
                  <a:lnTo>
                    <a:pt x="12" y="108"/>
                  </a:lnTo>
                  <a:lnTo>
                    <a:pt x="0" y="120"/>
                  </a:lnTo>
                  <a:lnTo>
                    <a:pt x="6" y="132"/>
                  </a:lnTo>
                  <a:lnTo>
                    <a:pt x="24" y="132"/>
                  </a:lnTo>
                  <a:close/>
                </a:path>
              </a:pathLst>
            </a:custGeom>
            <a:grpFill/>
            <a:ln w="3175">
              <a:solidFill>
                <a:schemeClr val="bg1"/>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de-DE" sz="1800" b="0" i="0" u="none" strike="noStrike" kern="1200" cap="none" spc="0" normalizeH="0" baseline="0" noProof="0">
                <a:ln>
                  <a:noFill/>
                </a:ln>
                <a:solidFill>
                  <a:srgbClr val="FFC000"/>
                </a:solidFill>
                <a:effectLst/>
                <a:uLnTx/>
                <a:uFillTx/>
                <a:latin typeface="Calibri" pitchFamily="34" charset="0"/>
                <a:ea typeface="+mn-ea"/>
                <a:cs typeface="+mn-cs"/>
              </a:endParaRPr>
            </a:p>
          </p:txBody>
        </p:sp>
        <p:sp>
          <p:nvSpPr>
            <p:cNvPr id="64" name="Puerto Rico" descr="© INSCALE GmbH, 05.05.2010&#10;http://www.presentationload.com/"/>
            <p:cNvSpPr>
              <a:spLocks/>
            </p:cNvSpPr>
            <p:nvPr/>
          </p:nvSpPr>
          <p:spPr bwMode="gray">
            <a:xfrm>
              <a:off x="2942730" y="3844499"/>
              <a:ext cx="44795" cy="18372"/>
            </a:xfrm>
            <a:custGeom>
              <a:avLst/>
              <a:gdLst>
                <a:gd name="T0" fmla="*/ 2147483647 w 138"/>
                <a:gd name="T1" fmla="*/ 2147483647 h 60"/>
                <a:gd name="T2" fmla="*/ 2147483647 w 138"/>
                <a:gd name="T3" fmla="*/ 2147483647 h 60"/>
                <a:gd name="T4" fmla="*/ 2147483647 w 138"/>
                <a:gd name="T5" fmla="*/ 0 h 60"/>
                <a:gd name="T6" fmla="*/ 2147483647 w 138"/>
                <a:gd name="T7" fmla="*/ 0 h 60"/>
                <a:gd name="T8" fmla="*/ 2147483647 w 138"/>
                <a:gd name="T9" fmla="*/ 2147483647 h 60"/>
                <a:gd name="T10" fmla="*/ 0 w 138"/>
                <a:gd name="T11" fmla="*/ 2147483647 h 60"/>
                <a:gd name="T12" fmla="*/ 0 w 138"/>
                <a:gd name="T13" fmla="*/ 2147483647 h 60"/>
                <a:gd name="T14" fmla="*/ 2147483647 w 138"/>
                <a:gd name="T15" fmla="*/ 2147483647 h 60"/>
                <a:gd name="T16" fmla="*/ 2147483647 w 138"/>
                <a:gd name="T17" fmla="*/ 2147483647 h 60"/>
                <a:gd name="T18" fmla="*/ 2147483647 w 138"/>
                <a:gd name="T19" fmla="*/ 2147483647 h 60"/>
                <a:gd name="T20" fmla="*/ 2147483647 w 138"/>
                <a:gd name="T21" fmla="*/ 2147483647 h 60"/>
                <a:gd name="T22" fmla="*/ 2147483647 w 138"/>
                <a:gd name="T23" fmla="*/ 2147483647 h 60"/>
                <a:gd name="T24" fmla="*/ 2147483647 w 138"/>
                <a:gd name="T25" fmla="*/ 2147483647 h 60"/>
                <a:gd name="T26" fmla="*/ 2147483647 w 138"/>
                <a:gd name="T27" fmla="*/ 2147483647 h 60"/>
                <a:gd name="T28" fmla="*/ 2147483647 w 138"/>
                <a:gd name="T29" fmla="*/ 2147483647 h 60"/>
                <a:gd name="T30" fmla="*/ 2147483647 w 138"/>
                <a:gd name="T31" fmla="*/ 2147483647 h 60"/>
                <a:gd name="T32" fmla="*/ 2147483647 w 138"/>
                <a:gd name="T33" fmla="*/ 2147483647 h 60"/>
                <a:gd name="T34" fmla="*/ 2147483647 w 138"/>
                <a:gd name="T35" fmla="*/ 2147483647 h 60"/>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38"/>
                <a:gd name="T55" fmla="*/ 0 h 60"/>
                <a:gd name="T56" fmla="*/ 138 w 138"/>
                <a:gd name="T57" fmla="*/ 60 h 60"/>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38" h="60">
                  <a:moveTo>
                    <a:pt x="84" y="12"/>
                  </a:moveTo>
                  <a:lnTo>
                    <a:pt x="72" y="12"/>
                  </a:lnTo>
                  <a:lnTo>
                    <a:pt x="36" y="0"/>
                  </a:lnTo>
                  <a:lnTo>
                    <a:pt x="12" y="0"/>
                  </a:lnTo>
                  <a:lnTo>
                    <a:pt x="6" y="12"/>
                  </a:lnTo>
                  <a:lnTo>
                    <a:pt x="0" y="18"/>
                  </a:lnTo>
                  <a:lnTo>
                    <a:pt x="0" y="48"/>
                  </a:lnTo>
                  <a:lnTo>
                    <a:pt x="36" y="60"/>
                  </a:lnTo>
                  <a:lnTo>
                    <a:pt x="48" y="48"/>
                  </a:lnTo>
                  <a:lnTo>
                    <a:pt x="102" y="48"/>
                  </a:lnTo>
                  <a:lnTo>
                    <a:pt x="120" y="36"/>
                  </a:lnTo>
                  <a:lnTo>
                    <a:pt x="132" y="30"/>
                  </a:lnTo>
                  <a:lnTo>
                    <a:pt x="138" y="18"/>
                  </a:lnTo>
                  <a:lnTo>
                    <a:pt x="138" y="12"/>
                  </a:lnTo>
                  <a:lnTo>
                    <a:pt x="132" y="6"/>
                  </a:lnTo>
                  <a:lnTo>
                    <a:pt x="114" y="6"/>
                  </a:lnTo>
                  <a:lnTo>
                    <a:pt x="102" y="12"/>
                  </a:lnTo>
                  <a:lnTo>
                    <a:pt x="84" y="12"/>
                  </a:lnTo>
                  <a:close/>
                </a:path>
              </a:pathLst>
            </a:custGeom>
            <a:grpFill/>
            <a:ln w="3175">
              <a:solidFill>
                <a:schemeClr val="bg1"/>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de-DE" sz="1800" b="0" i="0" u="none" strike="noStrike" kern="1200" cap="none" spc="0" normalizeH="0" baseline="0" noProof="0">
                <a:ln>
                  <a:noFill/>
                </a:ln>
                <a:solidFill>
                  <a:srgbClr val="FFC000"/>
                </a:solidFill>
                <a:effectLst/>
                <a:uLnTx/>
                <a:uFillTx/>
                <a:latin typeface="Calibri" pitchFamily="34" charset="0"/>
                <a:ea typeface="+mn-ea"/>
                <a:cs typeface="+mn-cs"/>
              </a:endParaRPr>
            </a:p>
          </p:txBody>
        </p:sp>
        <p:sp>
          <p:nvSpPr>
            <p:cNvPr id="65" name="Portugal" descr="© INSCALE GmbH, 05.05.2010&#10;http://www.presentationload.com/"/>
            <p:cNvSpPr>
              <a:spLocks/>
            </p:cNvSpPr>
            <p:nvPr/>
          </p:nvSpPr>
          <p:spPr bwMode="gray">
            <a:xfrm>
              <a:off x="4281442" y="3251701"/>
              <a:ext cx="72951" cy="127378"/>
            </a:xfrm>
            <a:custGeom>
              <a:avLst/>
              <a:gdLst>
                <a:gd name="T0" fmla="*/ 2147483647 w 228"/>
                <a:gd name="T1" fmla="*/ 2147483647 h 414"/>
                <a:gd name="T2" fmla="*/ 2147483647 w 228"/>
                <a:gd name="T3" fmla="*/ 2147483647 h 414"/>
                <a:gd name="T4" fmla="*/ 2147483647 w 228"/>
                <a:gd name="T5" fmla="*/ 2147483647 h 414"/>
                <a:gd name="T6" fmla="*/ 2147483647 w 228"/>
                <a:gd name="T7" fmla="*/ 2147483647 h 414"/>
                <a:gd name="T8" fmla="*/ 2147483647 w 228"/>
                <a:gd name="T9" fmla="*/ 2147483647 h 414"/>
                <a:gd name="T10" fmla="*/ 2147483647 w 228"/>
                <a:gd name="T11" fmla="*/ 2147483647 h 414"/>
                <a:gd name="T12" fmla="*/ 2147483647 w 228"/>
                <a:gd name="T13" fmla="*/ 0 h 414"/>
                <a:gd name="T14" fmla="*/ 2147483647 w 228"/>
                <a:gd name="T15" fmla="*/ 2147483647 h 414"/>
                <a:gd name="T16" fmla="*/ 2147483647 w 228"/>
                <a:gd name="T17" fmla="*/ 2147483647 h 414"/>
                <a:gd name="T18" fmla="*/ 2147483647 w 228"/>
                <a:gd name="T19" fmla="*/ 2147483647 h 414"/>
                <a:gd name="T20" fmla="*/ 2147483647 w 228"/>
                <a:gd name="T21" fmla="*/ 2147483647 h 414"/>
                <a:gd name="T22" fmla="*/ 2147483647 w 228"/>
                <a:gd name="T23" fmla="*/ 2147483647 h 414"/>
                <a:gd name="T24" fmla="*/ 2147483647 w 228"/>
                <a:gd name="T25" fmla="*/ 2147483647 h 414"/>
                <a:gd name="T26" fmla="*/ 0 w 228"/>
                <a:gd name="T27" fmla="*/ 2147483647 h 414"/>
                <a:gd name="T28" fmla="*/ 2147483647 w 228"/>
                <a:gd name="T29" fmla="*/ 2147483647 h 414"/>
                <a:gd name="T30" fmla="*/ 2147483647 w 228"/>
                <a:gd name="T31" fmla="*/ 2147483647 h 414"/>
                <a:gd name="T32" fmla="*/ 2147483647 w 228"/>
                <a:gd name="T33" fmla="*/ 2147483647 h 414"/>
                <a:gd name="T34" fmla="*/ 2147483647 w 228"/>
                <a:gd name="T35" fmla="*/ 2147483647 h 414"/>
                <a:gd name="T36" fmla="*/ 2147483647 w 228"/>
                <a:gd name="T37" fmla="*/ 2147483647 h 414"/>
                <a:gd name="T38" fmla="*/ 2147483647 w 228"/>
                <a:gd name="T39" fmla="*/ 2147483647 h 414"/>
                <a:gd name="T40" fmla="*/ 2147483647 w 228"/>
                <a:gd name="T41" fmla="*/ 2147483647 h 414"/>
                <a:gd name="T42" fmla="*/ 2147483647 w 228"/>
                <a:gd name="T43" fmla="*/ 2147483647 h 414"/>
                <a:gd name="T44" fmla="*/ 2147483647 w 228"/>
                <a:gd name="T45" fmla="*/ 2147483647 h 414"/>
                <a:gd name="T46" fmla="*/ 2147483647 w 228"/>
                <a:gd name="T47" fmla="*/ 2147483647 h 414"/>
                <a:gd name="T48" fmla="*/ 2147483647 w 228"/>
                <a:gd name="T49" fmla="*/ 2147483647 h 414"/>
                <a:gd name="T50" fmla="*/ 2147483647 w 228"/>
                <a:gd name="T51" fmla="*/ 2147483647 h 414"/>
                <a:gd name="T52" fmla="*/ 2147483647 w 228"/>
                <a:gd name="T53" fmla="*/ 2147483647 h 414"/>
                <a:gd name="T54" fmla="*/ 2147483647 w 228"/>
                <a:gd name="T55" fmla="*/ 2147483647 h 414"/>
                <a:gd name="T56" fmla="*/ 2147483647 w 228"/>
                <a:gd name="T57" fmla="*/ 2147483647 h 414"/>
                <a:gd name="T58" fmla="*/ 2147483647 w 228"/>
                <a:gd name="T59" fmla="*/ 2147483647 h 414"/>
                <a:gd name="T60" fmla="*/ 2147483647 w 228"/>
                <a:gd name="T61" fmla="*/ 2147483647 h 414"/>
                <a:gd name="T62" fmla="*/ 2147483647 w 228"/>
                <a:gd name="T63" fmla="*/ 2147483647 h 414"/>
                <a:gd name="T64" fmla="*/ 2147483647 w 228"/>
                <a:gd name="T65" fmla="*/ 2147483647 h 414"/>
                <a:gd name="T66" fmla="*/ 2147483647 w 228"/>
                <a:gd name="T67" fmla="*/ 2147483647 h 414"/>
                <a:gd name="T68" fmla="*/ 2147483647 w 228"/>
                <a:gd name="T69" fmla="*/ 2147483647 h 414"/>
                <a:gd name="T70" fmla="*/ 2147483647 w 228"/>
                <a:gd name="T71" fmla="*/ 2147483647 h 414"/>
                <a:gd name="T72" fmla="*/ 2147483647 w 228"/>
                <a:gd name="T73" fmla="*/ 2147483647 h 414"/>
                <a:gd name="T74" fmla="*/ 2147483647 w 228"/>
                <a:gd name="T75" fmla="*/ 2147483647 h 414"/>
                <a:gd name="T76" fmla="*/ 2147483647 w 228"/>
                <a:gd name="T77" fmla="*/ 2147483647 h 414"/>
                <a:gd name="T78" fmla="*/ 2147483647 w 228"/>
                <a:gd name="T79" fmla="*/ 2147483647 h 414"/>
                <a:gd name="T80" fmla="*/ 2147483647 w 228"/>
                <a:gd name="T81" fmla="*/ 2147483647 h 414"/>
                <a:gd name="T82" fmla="*/ 2147483647 w 228"/>
                <a:gd name="T83" fmla="*/ 2147483647 h 414"/>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228"/>
                <a:gd name="T127" fmla="*/ 0 h 414"/>
                <a:gd name="T128" fmla="*/ 228 w 228"/>
                <a:gd name="T129" fmla="*/ 414 h 414"/>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228" h="414">
                  <a:moveTo>
                    <a:pt x="210" y="30"/>
                  </a:moveTo>
                  <a:lnTo>
                    <a:pt x="210" y="12"/>
                  </a:lnTo>
                  <a:lnTo>
                    <a:pt x="156" y="12"/>
                  </a:lnTo>
                  <a:lnTo>
                    <a:pt x="156" y="18"/>
                  </a:lnTo>
                  <a:lnTo>
                    <a:pt x="150" y="24"/>
                  </a:lnTo>
                  <a:lnTo>
                    <a:pt x="138" y="24"/>
                  </a:lnTo>
                  <a:lnTo>
                    <a:pt x="132" y="18"/>
                  </a:lnTo>
                  <a:lnTo>
                    <a:pt x="114" y="18"/>
                  </a:lnTo>
                  <a:lnTo>
                    <a:pt x="108" y="24"/>
                  </a:lnTo>
                  <a:lnTo>
                    <a:pt x="96" y="24"/>
                  </a:lnTo>
                  <a:lnTo>
                    <a:pt x="96" y="18"/>
                  </a:lnTo>
                  <a:lnTo>
                    <a:pt x="102" y="18"/>
                  </a:lnTo>
                  <a:lnTo>
                    <a:pt x="114" y="6"/>
                  </a:lnTo>
                  <a:lnTo>
                    <a:pt x="114" y="0"/>
                  </a:lnTo>
                  <a:lnTo>
                    <a:pt x="90" y="0"/>
                  </a:lnTo>
                  <a:lnTo>
                    <a:pt x="66" y="12"/>
                  </a:lnTo>
                  <a:lnTo>
                    <a:pt x="60" y="18"/>
                  </a:lnTo>
                  <a:lnTo>
                    <a:pt x="60" y="36"/>
                  </a:lnTo>
                  <a:lnTo>
                    <a:pt x="66" y="60"/>
                  </a:lnTo>
                  <a:lnTo>
                    <a:pt x="66" y="78"/>
                  </a:lnTo>
                  <a:lnTo>
                    <a:pt x="60" y="108"/>
                  </a:lnTo>
                  <a:lnTo>
                    <a:pt x="48" y="138"/>
                  </a:lnTo>
                  <a:lnTo>
                    <a:pt x="30" y="174"/>
                  </a:lnTo>
                  <a:lnTo>
                    <a:pt x="12" y="222"/>
                  </a:lnTo>
                  <a:lnTo>
                    <a:pt x="6" y="234"/>
                  </a:lnTo>
                  <a:lnTo>
                    <a:pt x="6" y="240"/>
                  </a:lnTo>
                  <a:lnTo>
                    <a:pt x="0" y="252"/>
                  </a:lnTo>
                  <a:lnTo>
                    <a:pt x="0" y="264"/>
                  </a:lnTo>
                  <a:lnTo>
                    <a:pt x="18" y="282"/>
                  </a:lnTo>
                  <a:lnTo>
                    <a:pt x="30" y="288"/>
                  </a:lnTo>
                  <a:lnTo>
                    <a:pt x="42" y="342"/>
                  </a:lnTo>
                  <a:lnTo>
                    <a:pt x="42" y="348"/>
                  </a:lnTo>
                  <a:lnTo>
                    <a:pt x="36" y="354"/>
                  </a:lnTo>
                  <a:lnTo>
                    <a:pt x="36" y="366"/>
                  </a:lnTo>
                  <a:lnTo>
                    <a:pt x="30" y="384"/>
                  </a:lnTo>
                  <a:lnTo>
                    <a:pt x="24" y="396"/>
                  </a:lnTo>
                  <a:lnTo>
                    <a:pt x="24" y="408"/>
                  </a:lnTo>
                  <a:lnTo>
                    <a:pt x="48" y="408"/>
                  </a:lnTo>
                  <a:lnTo>
                    <a:pt x="60" y="402"/>
                  </a:lnTo>
                  <a:lnTo>
                    <a:pt x="72" y="402"/>
                  </a:lnTo>
                  <a:lnTo>
                    <a:pt x="84" y="414"/>
                  </a:lnTo>
                  <a:lnTo>
                    <a:pt x="96" y="414"/>
                  </a:lnTo>
                  <a:lnTo>
                    <a:pt x="108" y="408"/>
                  </a:lnTo>
                  <a:lnTo>
                    <a:pt x="114" y="402"/>
                  </a:lnTo>
                  <a:lnTo>
                    <a:pt x="120" y="402"/>
                  </a:lnTo>
                  <a:lnTo>
                    <a:pt x="126" y="396"/>
                  </a:lnTo>
                  <a:lnTo>
                    <a:pt x="126" y="348"/>
                  </a:lnTo>
                  <a:lnTo>
                    <a:pt x="132" y="342"/>
                  </a:lnTo>
                  <a:lnTo>
                    <a:pt x="138" y="330"/>
                  </a:lnTo>
                  <a:lnTo>
                    <a:pt x="150" y="330"/>
                  </a:lnTo>
                  <a:lnTo>
                    <a:pt x="162" y="318"/>
                  </a:lnTo>
                  <a:lnTo>
                    <a:pt x="162" y="312"/>
                  </a:lnTo>
                  <a:lnTo>
                    <a:pt x="150" y="312"/>
                  </a:lnTo>
                  <a:lnTo>
                    <a:pt x="144" y="306"/>
                  </a:lnTo>
                  <a:lnTo>
                    <a:pt x="138" y="294"/>
                  </a:lnTo>
                  <a:lnTo>
                    <a:pt x="138" y="288"/>
                  </a:lnTo>
                  <a:lnTo>
                    <a:pt x="132" y="282"/>
                  </a:lnTo>
                  <a:lnTo>
                    <a:pt x="132" y="276"/>
                  </a:lnTo>
                  <a:lnTo>
                    <a:pt x="144" y="264"/>
                  </a:lnTo>
                  <a:lnTo>
                    <a:pt x="156" y="258"/>
                  </a:lnTo>
                  <a:lnTo>
                    <a:pt x="168" y="246"/>
                  </a:lnTo>
                  <a:lnTo>
                    <a:pt x="168" y="240"/>
                  </a:lnTo>
                  <a:lnTo>
                    <a:pt x="156" y="234"/>
                  </a:lnTo>
                  <a:lnTo>
                    <a:pt x="150" y="228"/>
                  </a:lnTo>
                  <a:lnTo>
                    <a:pt x="150" y="216"/>
                  </a:lnTo>
                  <a:lnTo>
                    <a:pt x="126" y="192"/>
                  </a:lnTo>
                  <a:lnTo>
                    <a:pt x="162" y="192"/>
                  </a:lnTo>
                  <a:lnTo>
                    <a:pt x="174" y="180"/>
                  </a:lnTo>
                  <a:lnTo>
                    <a:pt x="174" y="168"/>
                  </a:lnTo>
                  <a:lnTo>
                    <a:pt x="168" y="162"/>
                  </a:lnTo>
                  <a:lnTo>
                    <a:pt x="168" y="150"/>
                  </a:lnTo>
                  <a:lnTo>
                    <a:pt x="174" y="144"/>
                  </a:lnTo>
                  <a:lnTo>
                    <a:pt x="180" y="144"/>
                  </a:lnTo>
                  <a:lnTo>
                    <a:pt x="180" y="126"/>
                  </a:lnTo>
                  <a:lnTo>
                    <a:pt x="186" y="108"/>
                  </a:lnTo>
                  <a:lnTo>
                    <a:pt x="186" y="96"/>
                  </a:lnTo>
                  <a:lnTo>
                    <a:pt x="180" y="90"/>
                  </a:lnTo>
                  <a:lnTo>
                    <a:pt x="174" y="90"/>
                  </a:lnTo>
                  <a:lnTo>
                    <a:pt x="174" y="84"/>
                  </a:lnTo>
                  <a:lnTo>
                    <a:pt x="180" y="78"/>
                  </a:lnTo>
                  <a:lnTo>
                    <a:pt x="204" y="66"/>
                  </a:lnTo>
                  <a:lnTo>
                    <a:pt x="228" y="42"/>
                  </a:lnTo>
                  <a:lnTo>
                    <a:pt x="228" y="36"/>
                  </a:lnTo>
                  <a:lnTo>
                    <a:pt x="216" y="30"/>
                  </a:lnTo>
                  <a:lnTo>
                    <a:pt x="210" y="30"/>
                  </a:lnTo>
                  <a:close/>
                </a:path>
              </a:pathLst>
            </a:custGeom>
            <a:grpFill/>
            <a:ln w="3175">
              <a:solidFill>
                <a:schemeClr val="bg1"/>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de-DE" sz="1800" b="0" i="0" u="none" strike="noStrike" kern="1200" cap="none" spc="0" normalizeH="0" baseline="0" noProof="0">
                <a:ln>
                  <a:noFill/>
                </a:ln>
                <a:solidFill>
                  <a:srgbClr val="FFC000"/>
                </a:solidFill>
                <a:effectLst/>
                <a:uLnTx/>
                <a:uFillTx/>
                <a:latin typeface="Calibri" pitchFamily="34" charset="0"/>
                <a:ea typeface="+mn-ea"/>
                <a:cs typeface="+mn-cs"/>
              </a:endParaRPr>
            </a:p>
          </p:txBody>
        </p:sp>
        <p:sp>
          <p:nvSpPr>
            <p:cNvPr id="66" name="Philippines" descr="© INSCALE GmbH, 05.05.2010&#10;http://www.presentationload.com/"/>
            <p:cNvSpPr>
              <a:spLocks noEditPoints="1"/>
            </p:cNvSpPr>
            <p:nvPr/>
          </p:nvSpPr>
          <p:spPr bwMode="gray">
            <a:xfrm>
              <a:off x="7166204" y="3835926"/>
              <a:ext cx="231651" cy="372335"/>
            </a:xfrm>
            <a:custGeom>
              <a:avLst/>
              <a:gdLst>
                <a:gd name="T0" fmla="*/ 2147483647 w 714"/>
                <a:gd name="T1" fmla="*/ 2147483647 h 1200"/>
                <a:gd name="T2" fmla="*/ 2147483647 w 714"/>
                <a:gd name="T3" fmla="*/ 2147483647 h 1200"/>
                <a:gd name="T4" fmla="*/ 2147483647 w 714"/>
                <a:gd name="T5" fmla="*/ 2147483647 h 1200"/>
                <a:gd name="T6" fmla="*/ 2147483647 w 714"/>
                <a:gd name="T7" fmla="*/ 2147483647 h 1200"/>
                <a:gd name="T8" fmla="*/ 2147483647 w 714"/>
                <a:gd name="T9" fmla="*/ 2147483647 h 1200"/>
                <a:gd name="T10" fmla="*/ 2147483647 w 714"/>
                <a:gd name="T11" fmla="*/ 2147483647 h 1200"/>
                <a:gd name="T12" fmla="*/ 2147483647 w 714"/>
                <a:gd name="T13" fmla="*/ 2147483647 h 1200"/>
                <a:gd name="T14" fmla="*/ 2147483647 w 714"/>
                <a:gd name="T15" fmla="*/ 2147483647 h 1200"/>
                <a:gd name="T16" fmla="*/ 2147483647 w 714"/>
                <a:gd name="T17" fmla="*/ 2147483647 h 1200"/>
                <a:gd name="T18" fmla="*/ 2147483647 w 714"/>
                <a:gd name="T19" fmla="*/ 2147483647 h 1200"/>
                <a:gd name="T20" fmla="*/ 2147483647 w 714"/>
                <a:gd name="T21" fmla="*/ 2147483647 h 1200"/>
                <a:gd name="T22" fmla="*/ 2147483647 w 714"/>
                <a:gd name="T23" fmla="*/ 2147483647 h 1200"/>
                <a:gd name="T24" fmla="*/ 2147483647 w 714"/>
                <a:gd name="T25" fmla="*/ 2147483647 h 1200"/>
                <a:gd name="T26" fmla="*/ 2147483647 w 714"/>
                <a:gd name="T27" fmla="*/ 2147483647 h 1200"/>
                <a:gd name="T28" fmla="*/ 2147483647 w 714"/>
                <a:gd name="T29" fmla="*/ 2147483647 h 1200"/>
                <a:gd name="T30" fmla="*/ 2147483647 w 714"/>
                <a:gd name="T31" fmla="*/ 2147483647 h 1200"/>
                <a:gd name="T32" fmla="*/ 2147483647 w 714"/>
                <a:gd name="T33" fmla="*/ 2147483647 h 1200"/>
                <a:gd name="T34" fmla="*/ 2147483647 w 714"/>
                <a:gd name="T35" fmla="*/ 2147483647 h 1200"/>
                <a:gd name="T36" fmla="*/ 2147483647 w 714"/>
                <a:gd name="T37" fmla="*/ 2147483647 h 1200"/>
                <a:gd name="T38" fmla="*/ 2147483647 w 714"/>
                <a:gd name="T39" fmla="*/ 2147483647 h 1200"/>
                <a:gd name="T40" fmla="*/ 2147483647 w 714"/>
                <a:gd name="T41" fmla="*/ 2147483647 h 1200"/>
                <a:gd name="T42" fmla="*/ 2147483647 w 714"/>
                <a:gd name="T43" fmla="*/ 2147483647 h 1200"/>
                <a:gd name="T44" fmla="*/ 2147483647 w 714"/>
                <a:gd name="T45" fmla="*/ 2147483647 h 1200"/>
                <a:gd name="T46" fmla="*/ 2147483647 w 714"/>
                <a:gd name="T47" fmla="*/ 2147483647 h 1200"/>
                <a:gd name="T48" fmla="*/ 2147483647 w 714"/>
                <a:gd name="T49" fmla="*/ 2147483647 h 1200"/>
                <a:gd name="T50" fmla="*/ 2147483647 w 714"/>
                <a:gd name="T51" fmla="*/ 2147483647 h 1200"/>
                <a:gd name="T52" fmla="*/ 2147483647 w 714"/>
                <a:gd name="T53" fmla="*/ 2147483647 h 1200"/>
                <a:gd name="T54" fmla="*/ 2147483647 w 714"/>
                <a:gd name="T55" fmla="*/ 2147483647 h 1200"/>
                <a:gd name="T56" fmla="*/ 2147483647 w 714"/>
                <a:gd name="T57" fmla="*/ 2147483647 h 1200"/>
                <a:gd name="T58" fmla="*/ 2147483647 w 714"/>
                <a:gd name="T59" fmla="*/ 2147483647 h 1200"/>
                <a:gd name="T60" fmla="*/ 2147483647 w 714"/>
                <a:gd name="T61" fmla="*/ 2147483647 h 1200"/>
                <a:gd name="T62" fmla="*/ 2147483647 w 714"/>
                <a:gd name="T63" fmla="*/ 2147483647 h 1200"/>
                <a:gd name="T64" fmla="*/ 2147483647 w 714"/>
                <a:gd name="T65" fmla="*/ 2147483647 h 1200"/>
                <a:gd name="T66" fmla="*/ 2147483647 w 714"/>
                <a:gd name="T67" fmla="*/ 2147483647 h 1200"/>
                <a:gd name="T68" fmla="*/ 2147483647 w 714"/>
                <a:gd name="T69" fmla="*/ 2147483647 h 1200"/>
                <a:gd name="T70" fmla="*/ 2147483647 w 714"/>
                <a:gd name="T71" fmla="*/ 2147483647 h 1200"/>
                <a:gd name="T72" fmla="*/ 2147483647 w 714"/>
                <a:gd name="T73" fmla="*/ 2147483647 h 1200"/>
                <a:gd name="T74" fmla="*/ 2147483647 w 714"/>
                <a:gd name="T75" fmla="*/ 2147483647 h 1200"/>
                <a:gd name="T76" fmla="*/ 2147483647 w 714"/>
                <a:gd name="T77" fmla="*/ 2147483647 h 1200"/>
                <a:gd name="T78" fmla="*/ 2147483647 w 714"/>
                <a:gd name="T79" fmla="*/ 0 h 1200"/>
                <a:gd name="T80" fmla="*/ 2147483647 w 714"/>
                <a:gd name="T81" fmla="*/ 2147483647 h 1200"/>
                <a:gd name="T82" fmla="*/ 2147483647 w 714"/>
                <a:gd name="T83" fmla="*/ 2147483647 h 1200"/>
                <a:gd name="T84" fmla="*/ 2147483647 w 714"/>
                <a:gd name="T85" fmla="*/ 2147483647 h 1200"/>
                <a:gd name="T86" fmla="*/ 2147483647 w 714"/>
                <a:gd name="T87" fmla="*/ 2147483647 h 1200"/>
                <a:gd name="T88" fmla="*/ 2147483647 w 714"/>
                <a:gd name="T89" fmla="*/ 2147483647 h 1200"/>
                <a:gd name="T90" fmla="*/ 2147483647 w 714"/>
                <a:gd name="T91" fmla="*/ 2147483647 h 1200"/>
                <a:gd name="T92" fmla="*/ 2147483647 w 714"/>
                <a:gd name="T93" fmla="*/ 2147483647 h 1200"/>
                <a:gd name="T94" fmla="*/ 2147483647 w 714"/>
                <a:gd name="T95" fmla="*/ 2147483647 h 1200"/>
                <a:gd name="T96" fmla="*/ 2147483647 w 714"/>
                <a:gd name="T97" fmla="*/ 2147483647 h 1200"/>
                <a:gd name="T98" fmla="*/ 2147483647 w 714"/>
                <a:gd name="T99" fmla="*/ 2147483647 h 1200"/>
                <a:gd name="T100" fmla="*/ 2147483647 w 714"/>
                <a:gd name="T101" fmla="*/ 2147483647 h 1200"/>
                <a:gd name="T102" fmla="*/ 2147483647 w 714"/>
                <a:gd name="T103" fmla="*/ 2147483647 h 1200"/>
                <a:gd name="T104" fmla="*/ 2147483647 w 714"/>
                <a:gd name="T105" fmla="*/ 2147483647 h 1200"/>
                <a:gd name="T106" fmla="*/ 2147483647 w 714"/>
                <a:gd name="T107" fmla="*/ 2147483647 h 1200"/>
                <a:gd name="T108" fmla="*/ 2147483647 w 714"/>
                <a:gd name="T109" fmla="*/ 2147483647 h 1200"/>
                <a:gd name="T110" fmla="*/ 2147483647 w 714"/>
                <a:gd name="T111" fmla="*/ 2147483647 h 1200"/>
                <a:gd name="T112" fmla="*/ 2147483647 w 714"/>
                <a:gd name="T113" fmla="*/ 2147483647 h 1200"/>
                <a:gd name="T114" fmla="*/ 2147483647 w 714"/>
                <a:gd name="T115" fmla="*/ 2147483647 h 1200"/>
                <a:gd name="T116" fmla="*/ 2147483647 w 714"/>
                <a:gd name="T117" fmla="*/ 2147483647 h 1200"/>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714"/>
                <a:gd name="T178" fmla="*/ 0 h 1200"/>
                <a:gd name="T179" fmla="*/ 714 w 714"/>
                <a:gd name="T180" fmla="*/ 1200 h 1200"/>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714" h="1200">
                  <a:moveTo>
                    <a:pt x="702" y="1140"/>
                  </a:moveTo>
                  <a:lnTo>
                    <a:pt x="690" y="1170"/>
                  </a:lnTo>
                  <a:lnTo>
                    <a:pt x="696" y="1200"/>
                  </a:lnTo>
                  <a:lnTo>
                    <a:pt x="714" y="1182"/>
                  </a:lnTo>
                  <a:lnTo>
                    <a:pt x="714" y="1140"/>
                  </a:lnTo>
                  <a:lnTo>
                    <a:pt x="702" y="1140"/>
                  </a:lnTo>
                  <a:close/>
                  <a:moveTo>
                    <a:pt x="582" y="1176"/>
                  </a:moveTo>
                  <a:lnTo>
                    <a:pt x="600" y="1140"/>
                  </a:lnTo>
                  <a:lnTo>
                    <a:pt x="576" y="1134"/>
                  </a:lnTo>
                  <a:lnTo>
                    <a:pt x="582" y="1176"/>
                  </a:lnTo>
                  <a:close/>
                  <a:moveTo>
                    <a:pt x="246" y="1038"/>
                  </a:moveTo>
                  <a:lnTo>
                    <a:pt x="264" y="1050"/>
                  </a:lnTo>
                  <a:lnTo>
                    <a:pt x="282" y="1020"/>
                  </a:lnTo>
                  <a:lnTo>
                    <a:pt x="258" y="1008"/>
                  </a:lnTo>
                  <a:lnTo>
                    <a:pt x="246" y="1038"/>
                  </a:lnTo>
                  <a:close/>
                  <a:moveTo>
                    <a:pt x="504" y="558"/>
                  </a:moveTo>
                  <a:lnTo>
                    <a:pt x="540" y="576"/>
                  </a:lnTo>
                  <a:lnTo>
                    <a:pt x="540" y="582"/>
                  </a:lnTo>
                  <a:lnTo>
                    <a:pt x="534" y="588"/>
                  </a:lnTo>
                  <a:lnTo>
                    <a:pt x="504" y="588"/>
                  </a:lnTo>
                  <a:lnTo>
                    <a:pt x="570" y="642"/>
                  </a:lnTo>
                  <a:lnTo>
                    <a:pt x="570" y="618"/>
                  </a:lnTo>
                  <a:lnTo>
                    <a:pt x="600" y="624"/>
                  </a:lnTo>
                  <a:lnTo>
                    <a:pt x="576" y="588"/>
                  </a:lnTo>
                  <a:lnTo>
                    <a:pt x="576" y="582"/>
                  </a:lnTo>
                  <a:lnTo>
                    <a:pt x="570" y="576"/>
                  </a:lnTo>
                  <a:lnTo>
                    <a:pt x="570" y="558"/>
                  </a:lnTo>
                  <a:lnTo>
                    <a:pt x="564" y="546"/>
                  </a:lnTo>
                  <a:lnTo>
                    <a:pt x="534" y="516"/>
                  </a:lnTo>
                  <a:lnTo>
                    <a:pt x="522" y="510"/>
                  </a:lnTo>
                  <a:lnTo>
                    <a:pt x="504" y="504"/>
                  </a:lnTo>
                  <a:lnTo>
                    <a:pt x="492" y="498"/>
                  </a:lnTo>
                  <a:lnTo>
                    <a:pt x="474" y="498"/>
                  </a:lnTo>
                  <a:lnTo>
                    <a:pt x="468" y="504"/>
                  </a:lnTo>
                  <a:lnTo>
                    <a:pt x="468" y="528"/>
                  </a:lnTo>
                  <a:lnTo>
                    <a:pt x="492" y="552"/>
                  </a:lnTo>
                  <a:lnTo>
                    <a:pt x="504" y="558"/>
                  </a:lnTo>
                  <a:close/>
                  <a:moveTo>
                    <a:pt x="462" y="666"/>
                  </a:moveTo>
                  <a:lnTo>
                    <a:pt x="474" y="750"/>
                  </a:lnTo>
                  <a:lnTo>
                    <a:pt x="486" y="672"/>
                  </a:lnTo>
                  <a:lnTo>
                    <a:pt x="462" y="618"/>
                  </a:lnTo>
                  <a:lnTo>
                    <a:pt x="438" y="618"/>
                  </a:lnTo>
                  <a:lnTo>
                    <a:pt x="462" y="666"/>
                  </a:lnTo>
                  <a:close/>
                  <a:moveTo>
                    <a:pt x="492" y="738"/>
                  </a:moveTo>
                  <a:lnTo>
                    <a:pt x="522" y="738"/>
                  </a:lnTo>
                  <a:lnTo>
                    <a:pt x="528" y="708"/>
                  </a:lnTo>
                  <a:lnTo>
                    <a:pt x="498" y="702"/>
                  </a:lnTo>
                  <a:lnTo>
                    <a:pt x="492" y="738"/>
                  </a:lnTo>
                  <a:close/>
                  <a:moveTo>
                    <a:pt x="570" y="660"/>
                  </a:moveTo>
                  <a:lnTo>
                    <a:pt x="546" y="648"/>
                  </a:lnTo>
                  <a:lnTo>
                    <a:pt x="528" y="630"/>
                  </a:lnTo>
                  <a:lnTo>
                    <a:pt x="528" y="624"/>
                  </a:lnTo>
                  <a:lnTo>
                    <a:pt x="522" y="618"/>
                  </a:lnTo>
                  <a:lnTo>
                    <a:pt x="486" y="618"/>
                  </a:lnTo>
                  <a:lnTo>
                    <a:pt x="492" y="660"/>
                  </a:lnTo>
                  <a:lnTo>
                    <a:pt x="510" y="654"/>
                  </a:lnTo>
                  <a:lnTo>
                    <a:pt x="522" y="678"/>
                  </a:lnTo>
                  <a:lnTo>
                    <a:pt x="570" y="714"/>
                  </a:lnTo>
                  <a:lnTo>
                    <a:pt x="570" y="660"/>
                  </a:lnTo>
                  <a:close/>
                  <a:moveTo>
                    <a:pt x="162" y="600"/>
                  </a:moveTo>
                  <a:lnTo>
                    <a:pt x="144" y="582"/>
                  </a:lnTo>
                  <a:lnTo>
                    <a:pt x="138" y="606"/>
                  </a:lnTo>
                  <a:lnTo>
                    <a:pt x="132" y="618"/>
                  </a:lnTo>
                  <a:lnTo>
                    <a:pt x="126" y="624"/>
                  </a:lnTo>
                  <a:lnTo>
                    <a:pt x="120" y="642"/>
                  </a:lnTo>
                  <a:lnTo>
                    <a:pt x="120" y="654"/>
                  </a:lnTo>
                  <a:lnTo>
                    <a:pt x="126" y="660"/>
                  </a:lnTo>
                  <a:lnTo>
                    <a:pt x="138" y="666"/>
                  </a:lnTo>
                  <a:lnTo>
                    <a:pt x="150" y="678"/>
                  </a:lnTo>
                  <a:lnTo>
                    <a:pt x="144" y="684"/>
                  </a:lnTo>
                  <a:lnTo>
                    <a:pt x="120" y="696"/>
                  </a:lnTo>
                  <a:lnTo>
                    <a:pt x="114" y="702"/>
                  </a:lnTo>
                  <a:lnTo>
                    <a:pt x="102" y="708"/>
                  </a:lnTo>
                  <a:lnTo>
                    <a:pt x="96" y="732"/>
                  </a:lnTo>
                  <a:lnTo>
                    <a:pt x="72" y="750"/>
                  </a:lnTo>
                  <a:lnTo>
                    <a:pt x="72" y="762"/>
                  </a:lnTo>
                  <a:lnTo>
                    <a:pt x="60" y="774"/>
                  </a:lnTo>
                  <a:lnTo>
                    <a:pt x="48" y="780"/>
                  </a:lnTo>
                  <a:lnTo>
                    <a:pt x="42" y="786"/>
                  </a:lnTo>
                  <a:lnTo>
                    <a:pt x="30" y="792"/>
                  </a:lnTo>
                  <a:lnTo>
                    <a:pt x="24" y="798"/>
                  </a:lnTo>
                  <a:lnTo>
                    <a:pt x="18" y="798"/>
                  </a:lnTo>
                  <a:lnTo>
                    <a:pt x="18" y="804"/>
                  </a:lnTo>
                  <a:lnTo>
                    <a:pt x="12" y="810"/>
                  </a:lnTo>
                  <a:lnTo>
                    <a:pt x="0" y="834"/>
                  </a:lnTo>
                  <a:lnTo>
                    <a:pt x="0" y="864"/>
                  </a:lnTo>
                  <a:lnTo>
                    <a:pt x="30" y="834"/>
                  </a:lnTo>
                  <a:lnTo>
                    <a:pt x="30" y="816"/>
                  </a:lnTo>
                  <a:lnTo>
                    <a:pt x="36" y="810"/>
                  </a:lnTo>
                  <a:lnTo>
                    <a:pt x="42" y="810"/>
                  </a:lnTo>
                  <a:lnTo>
                    <a:pt x="78" y="798"/>
                  </a:lnTo>
                  <a:lnTo>
                    <a:pt x="84" y="792"/>
                  </a:lnTo>
                  <a:lnTo>
                    <a:pt x="84" y="762"/>
                  </a:lnTo>
                  <a:lnTo>
                    <a:pt x="90" y="750"/>
                  </a:lnTo>
                  <a:lnTo>
                    <a:pt x="96" y="744"/>
                  </a:lnTo>
                  <a:lnTo>
                    <a:pt x="114" y="738"/>
                  </a:lnTo>
                  <a:lnTo>
                    <a:pt x="126" y="732"/>
                  </a:lnTo>
                  <a:lnTo>
                    <a:pt x="144" y="720"/>
                  </a:lnTo>
                  <a:lnTo>
                    <a:pt x="162" y="714"/>
                  </a:lnTo>
                  <a:lnTo>
                    <a:pt x="168" y="702"/>
                  </a:lnTo>
                  <a:lnTo>
                    <a:pt x="174" y="696"/>
                  </a:lnTo>
                  <a:lnTo>
                    <a:pt x="174" y="684"/>
                  </a:lnTo>
                  <a:lnTo>
                    <a:pt x="156" y="648"/>
                  </a:lnTo>
                  <a:lnTo>
                    <a:pt x="156" y="624"/>
                  </a:lnTo>
                  <a:lnTo>
                    <a:pt x="162" y="612"/>
                  </a:lnTo>
                  <a:lnTo>
                    <a:pt x="162" y="600"/>
                  </a:lnTo>
                  <a:close/>
                  <a:moveTo>
                    <a:pt x="330" y="1026"/>
                  </a:moveTo>
                  <a:lnTo>
                    <a:pt x="372" y="1056"/>
                  </a:lnTo>
                  <a:lnTo>
                    <a:pt x="372" y="1020"/>
                  </a:lnTo>
                  <a:lnTo>
                    <a:pt x="348" y="1002"/>
                  </a:lnTo>
                  <a:lnTo>
                    <a:pt x="330" y="1026"/>
                  </a:lnTo>
                  <a:close/>
                  <a:moveTo>
                    <a:pt x="660" y="840"/>
                  </a:moveTo>
                  <a:lnTo>
                    <a:pt x="660" y="816"/>
                  </a:lnTo>
                  <a:lnTo>
                    <a:pt x="654" y="804"/>
                  </a:lnTo>
                  <a:lnTo>
                    <a:pt x="654" y="792"/>
                  </a:lnTo>
                  <a:lnTo>
                    <a:pt x="642" y="780"/>
                  </a:lnTo>
                  <a:lnTo>
                    <a:pt x="630" y="774"/>
                  </a:lnTo>
                  <a:lnTo>
                    <a:pt x="600" y="744"/>
                  </a:lnTo>
                  <a:lnTo>
                    <a:pt x="588" y="738"/>
                  </a:lnTo>
                  <a:lnTo>
                    <a:pt x="582" y="738"/>
                  </a:lnTo>
                  <a:lnTo>
                    <a:pt x="576" y="744"/>
                  </a:lnTo>
                  <a:lnTo>
                    <a:pt x="582" y="750"/>
                  </a:lnTo>
                  <a:lnTo>
                    <a:pt x="588" y="762"/>
                  </a:lnTo>
                  <a:lnTo>
                    <a:pt x="594" y="768"/>
                  </a:lnTo>
                  <a:lnTo>
                    <a:pt x="606" y="774"/>
                  </a:lnTo>
                  <a:lnTo>
                    <a:pt x="606" y="786"/>
                  </a:lnTo>
                  <a:lnTo>
                    <a:pt x="600" y="786"/>
                  </a:lnTo>
                  <a:lnTo>
                    <a:pt x="588" y="792"/>
                  </a:lnTo>
                  <a:lnTo>
                    <a:pt x="570" y="792"/>
                  </a:lnTo>
                  <a:lnTo>
                    <a:pt x="558" y="798"/>
                  </a:lnTo>
                  <a:lnTo>
                    <a:pt x="546" y="798"/>
                  </a:lnTo>
                  <a:lnTo>
                    <a:pt x="546" y="828"/>
                  </a:lnTo>
                  <a:lnTo>
                    <a:pt x="528" y="828"/>
                  </a:lnTo>
                  <a:lnTo>
                    <a:pt x="522" y="846"/>
                  </a:lnTo>
                  <a:lnTo>
                    <a:pt x="498" y="864"/>
                  </a:lnTo>
                  <a:lnTo>
                    <a:pt x="492" y="864"/>
                  </a:lnTo>
                  <a:lnTo>
                    <a:pt x="486" y="858"/>
                  </a:lnTo>
                  <a:lnTo>
                    <a:pt x="474" y="852"/>
                  </a:lnTo>
                  <a:lnTo>
                    <a:pt x="462" y="852"/>
                  </a:lnTo>
                  <a:lnTo>
                    <a:pt x="450" y="846"/>
                  </a:lnTo>
                  <a:lnTo>
                    <a:pt x="438" y="858"/>
                  </a:lnTo>
                  <a:lnTo>
                    <a:pt x="432" y="870"/>
                  </a:lnTo>
                  <a:lnTo>
                    <a:pt x="420" y="882"/>
                  </a:lnTo>
                  <a:lnTo>
                    <a:pt x="414" y="894"/>
                  </a:lnTo>
                  <a:lnTo>
                    <a:pt x="408" y="900"/>
                  </a:lnTo>
                  <a:lnTo>
                    <a:pt x="408" y="906"/>
                  </a:lnTo>
                  <a:lnTo>
                    <a:pt x="408" y="900"/>
                  </a:lnTo>
                  <a:lnTo>
                    <a:pt x="396" y="888"/>
                  </a:lnTo>
                  <a:lnTo>
                    <a:pt x="384" y="888"/>
                  </a:lnTo>
                  <a:lnTo>
                    <a:pt x="378" y="900"/>
                  </a:lnTo>
                  <a:lnTo>
                    <a:pt x="378" y="912"/>
                  </a:lnTo>
                  <a:lnTo>
                    <a:pt x="372" y="924"/>
                  </a:lnTo>
                  <a:lnTo>
                    <a:pt x="366" y="930"/>
                  </a:lnTo>
                  <a:lnTo>
                    <a:pt x="360" y="942"/>
                  </a:lnTo>
                  <a:lnTo>
                    <a:pt x="384" y="960"/>
                  </a:lnTo>
                  <a:lnTo>
                    <a:pt x="402" y="942"/>
                  </a:lnTo>
                  <a:lnTo>
                    <a:pt x="414" y="966"/>
                  </a:lnTo>
                  <a:lnTo>
                    <a:pt x="420" y="960"/>
                  </a:lnTo>
                  <a:lnTo>
                    <a:pt x="432" y="954"/>
                  </a:lnTo>
                  <a:lnTo>
                    <a:pt x="450" y="936"/>
                  </a:lnTo>
                  <a:lnTo>
                    <a:pt x="462" y="930"/>
                  </a:lnTo>
                  <a:lnTo>
                    <a:pt x="474" y="930"/>
                  </a:lnTo>
                  <a:lnTo>
                    <a:pt x="498" y="954"/>
                  </a:lnTo>
                  <a:lnTo>
                    <a:pt x="510" y="960"/>
                  </a:lnTo>
                  <a:lnTo>
                    <a:pt x="492" y="978"/>
                  </a:lnTo>
                  <a:lnTo>
                    <a:pt x="492" y="990"/>
                  </a:lnTo>
                  <a:lnTo>
                    <a:pt x="510" y="1026"/>
                  </a:lnTo>
                  <a:lnTo>
                    <a:pt x="522" y="1044"/>
                  </a:lnTo>
                  <a:lnTo>
                    <a:pt x="534" y="1056"/>
                  </a:lnTo>
                  <a:lnTo>
                    <a:pt x="546" y="1062"/>
                  </a:lnTo>
                  <a:lnTo>
                    <a:pt x="558" y="1062"/>
                  </a:lnTo>
                  <a:lnTo>
                    <a:pt x="570" y="1068"/>
                  </a:lnTo>
                  <a:lnTo>
                    <a:pt x="582" y="1068"/>
                  </a:lnTo>
                  <a:lnTo>
                    <a:pt x="606" y="1050"/>
                  </a:lnTo>
                  <a:lnTo>
                    <a:pt x="606" y="1074"/>
                  </a:lnTo>
                  <a:lnTo>
                    <a:pt x="630" y="1074"/>
                  </a:lnTo>
                  <a:lnTo>
                    <a:pt x="630" y="1038"/>
                  </a:lnTo>
                  <a:lnTo>
                    <a:pt x="624" y="1032"/>
                  </a:lnTo>
                  <a:lnTo>
                    <a:pt x="606" y="996"/>
                  </a:lnTo>
                  <a:lnTo>
                    <a:pt x="606" y="984"/>
                  </a:lnTo>
                  <a:lnTo>
                    <a:pt x="612" y="972"/>
                  </a:lnTo>
                  <a:lnTo>
                    <a:pt x="624" y="960"/>
                  </a:lnTo>
                  <a:lnTo>
                    <a:pt x="654" y="1014"/>
                  </a:lnTo>
                  <a:lnTo>
                    <a:pt x="654" y="1008"/>
                  </a:lnTo>
                  <a:lnTo>
                    <a:pt x="660" y="1002"/>
                  </a:lnTo>
                  <a:lnTo>
                    <a:pt x="672" y="978"/>
                  </a:lnTo>
                  <a:lnTo>
                    <a:pt x="678" y="960"/>
                  </a:lnTo>
                  <a:lnTo>
                    <a:pt x="678" y="936"/>
                  </a:lnTo>
                  <a:lnTo>
                    <a:pt x="672" y="918"/>
                  </a:lnTo>
                  <a:lnTo>
                    <a:pt x="666" y="912"/>
                  </a:lnTo>
                  <a:lnTo>
                    <a:pt x="660" y="900"/>
                  </a:lnTo>
                  <a:lnTo>
                    <a:pt x="660" y="840"/>
                  </a:lnTo>
                  <a:close/>
                  <a:moveTo>
                    <a:pt x="330" y="384"/>
                  </a:moveTo>
                  <a:lnTo>
                    <a:pt x="348" y="384"/>
                  </a:lnTo>
                  <a:lnTo>
                    <a:pt x="354" y="390"/>
                  </a:lnTo>
                  <a:lnTo>
                    <a:pt x="366" y="396"/>
                  </a:lnTo>
                  <a:lnTo>
                    <a:pt x="366" y="408"/>
                  </a:lnTo>
                  <a:lnTo>
                    <a:pt x="372" y="420"/>
                  </a:lnTo>
                  <a:lnTo>
                    <a:pt x="384" y="438"/>
                  </a:lnTo>
                  <a:lnTo>
                    <a:pt x="396" y="450"/>
                  </a:lnTo>
                  <a:lnTo>
                    <a:pt x="414" y="462"/>
                  </a:lnTo>
                  <a:lnTo>
                    <a:pt x="432" y="462"/>
                  </a:lnTo>
                  <a:lnTo>
                    <a:pt x="444" y="438"/>
                  </a:lnTo>
                  <a:lnTo>
                    <a:pt x="444" y="426"/>
                  </a:lnTo>
                  <a:lnTo>
                    <a:pt x="432" y="402"/>
                  </a:lnTo>
                  <a:lnTo>
                    <a:pt x="420" y="396"/>
                  </a:lnTo>
                  <a:lnTo>
                    <a:pt x="408" y="396"/>
                  </a:lnTo>
                  <a:lnTo>
                    <a:pt x="408" y="390"/>
                  </a:lnTo>
                  <a:lnTo>
                    <a:pt x="414" y="384"/>
                  </a:lnTo>
                  <a:lnTo>
                    <a:pt x="414" y="378"/>
                  </a:lnTo>
                  <a:lnTo>
                    <a:pt x="420" y="372"/>
                  </a:lnTo>
                  <a:lnTo>
                    <a:pt x="408" y="372"/>
                  </a:lnTo>
                  <a:lnTo>
                    <a:pt x="396" y="366"/>
                  </a:lnTo>
                  <a:lnTo>
                    <a:pt x="390" y="360"/>
                  </a:lnTo>
                  <a:lnTo>
                    <a:pt x="372" y="360"/>
                  </a:lnTo>
                  <a:lnTo>
                    <a:pt x="366" y="366"/>
                  </a:lnTo>
                  <a:lnTo>
                    <a:pt x="354" y="372"/>
                  </a:lnTo>
                  <a:lnTo>
                    <a:pt x="342" y="360"/>
                  </a:lnTo>
                  <a:lnTo>
                    <a:pt x="330" y="354"/>
                  </a:lnTo>
                  <a:lnTo>
                    <a:pt x="312" y="354"/>
                  </a:lnTo>
                  <a:lnTo>
                    <a:pt x="300" y="366"/>
                  </a:lnTo>
                  <a:lnTo>
                    <a:pt x="288" y="372"/>
                  </a:lnTo>
                  <a:lnTo>
                    <a:pt x="282" y="372"/>
                  </a:lnTo>
                  <a:lnTo>
                    <a:pt x="264" y="354"/>
                  </a:lnTo>
                  <a:lnTo>
                    <a:pt x="258" y="342"/>
                  </a:lnTo>
                  <a:lnTo>
                    <a:pt x="258" y="252"/>
                  </a:lnTo>
                  <a:lnTo>
                    <a:pt x="270" y="228"/>
                  </a:lnTo>
                  <a:lnTo>
                    <a:pt x="270" y="222"/>
                  </a:lnTo>
                  <a:lnTo>
                    <a:pt x="288" y="204"/>
                  </a:lnTo>
                  <a:lnTo>
                    <a:pt x="288" y="174"/>
                  </a:lnTo>
                  <a:lnTo>
                    <a:pt x="276" y="150"/>
                  </a:lnTo>
                  <a:lnTo>
                    <a:pt x="276" y="126"/>
                  </a:lnTo>
                  <a:lnTo>
                    <a:pt x="282" y="108"/>
                  </a:lnTo>
                  <a:lnTo>
                    <a:pt x="282" y="72"/>
                  </a:lnTo>
                  <a:lnTo>
                    <a:pt x="264" y="54"/>
                  </a:lnTo>
                  <a:lnTo>
                    <a:pt x="264" y="36"/>
                  </a:lnTo>
                  <a:lnTo>
                    <a:pt x="258" y="30"/>
                  </a:lnTo>
                  <a:lnTo>
                    <a:pt x="258" y="6"/>
                  </a:lnTo>
                  <a:lnTo>
                    <a:pt x="252" y="0"/>
                  </a:lnTo>
                  <a:lnTo>
                    <a:pt x="240" y="0"/>
                  </a:lnTo>
                  <a:lnTo>
                    <a:pt x="234" y="6"/>
                  </a:lnTo>
                  <a:lnTo>
                    <a:pt x="234" y="12"/>
                  </a:lnTo>
                  <a:lnTo>
                    <a:pt x="228" y="18"/>
                  </a:lnTo>
                  <a:lnTo>
                    <a:pt x="216" y="24"/>
                  </a:lnTo>
                  <a:lnTo>
                    <a:pt x="204" y="24"/>
                  </a:lnTo>
                  <a:lnTo>
                    <a:pt x="192" y="18"/>
                  </a:lnTo>
                  <a:lnTo>
                    <a:pt x="186" y="12"/>
                  </a:lnTo>
                  <a:lnTo>
                    <a:pt x="174" y="12"/>
                  </a:lnTo>
                  <a:lnTo>
                    <a:pt x="162" y="18"/>
                  </a:lnTo>
                  <a:lnTo>
                    <a:pt x="162" y="36"/>
                  </a:lnTo>
                  <a:lnTo>
                    <a:pt x="156" y="42"/>
                  </a:lnTo>
                  <a:lnTo>
                    <a:pt x="156" y="48"/>
                  </a:lnTo>
                  <a:lnTo>
                    <a:pt x="144" y="72"/>
                  </a:lnTo>
                  <a:lnTo>
                    <a:pt x="132" y="84"/>
                  </a:lnTo>
                  <a:lnTo>
                    <a:pt x="132" y="96"/>
                  </a:lnTo>
                  <a:lnTo>
                    <a:pt x="138" y="102"/>
                  </a:lnTo>
                  <a:lnTo>
                    <a:pt x="144" y="114"/>
                  </a:lnTo>
                  <a:lnTo>
                    <a:pt x="150" y="132"/>
                  </a:lnTo>
                  <a:lnTo>
                    <a:pt x="156" y="138"/>
                  </a:lnTo>
                  <a:lnTo>
                    <a:pt x="156" y="150"/>
                  </a:lnTo>
                  <a:lnTo>
                    <a:pt x="150" y="162"/>
                  </a:lnTo>
                  <a:lnTo>
                    <a:pt x="150" y="168"/>
                  </a:lnTo>
                  <a:lnTo>
                    <a:pt x="144" y="174"/>
                  </a:lnTo>
                  <a:lnTo>
                    <a:pt x="138" y="186"/>
                  </a:lnTo>
                  <a:lnTo>
                    <a:pt x="138" y="198"/>
                  </a:lnTo>
                  <a:lnTo>
                    <a:pt x="150" y="210"/>
                  </a:lnTo>
                  <a:lnTo>
                    <a:pt x="150" y="216"/>
                  </a:lnTo>
                  <a:lnTo>
                    <a:pt x="144" y="222"/>
                  </a:lnTo>
                  <a:lnTo>
                    <a:pt x="138" y="222"/>
                  </a:lnTo>
                  <a:lnTo>
                    <a:pt x="126" y="228"/>
                  </a:lnTo>
                  <a:lnTo>
                    <a:pt x="120" y="228"/>
                  </a:lnTo>
                  <a:lnTo>
                    <a:pt x="120" y="210"/>
                  </a:lnTo>
                  <a:lnTo>
                    <a:pt x="114" y="204"/>
                  </a:lnTo>
                  <a:lnTo>
                    <a:pt x="114" y="252"/>
                  </a:lnTo>
                  <a:lnTo>
                    <a:pt x="150" y="306"/>
                  </a:lnTo>
                  <a:lnTo>
                    <a:pt x="174" y="330"/>
                  </a:lnTo>
                  <a:lnTo>
                    <a:pt x="186" y="348"/>
                  </a:lnTo>
                  <a:lnTo>
                    <a:pt x="204" y="384"/>
                  </a:lnTo>
                  <a:lnTo>
                    <a:pt x="216" y="402"/>
                  </a:lnTo>
                  <a:lnTo>
                    <a:pt x="228" y="408"/>
                  </a:lnTo>
                  <a:lnTo>
                    <a:pt x="252" y="408"/>
                  </a:lnTo>
                  <a:lnTo>
                    <a:pt x="258" y="396"/>
                  </a:lnTo>
                  <a:lnTo>
                    <a:pt x="270" y="390"/>
                  </a:lnTo>
                  <a:lnTo>
                    <a:pt x="276" y="384"/>
                  </a:lnTo>
                  <a:lnTo>
                    <a:pt x="288" y="384"/>
                  </a:lnTo>
                  <a:lnTo>
                    <a:pt x="294" y="396"/>
                  </a:lnTo>
                  <a:lnTo>
                    <a:pt x="306" y="402"/>
                  </a:lnTo>
                  <a:lnTo>
                    <a:pt x="324" y="420"/>
                  </a:lnTo>
                  <a:lnTo>
                    <a:pt x="342" y="420"/>
                  </a:lnTo>
                  <a:lnTo>
                    <a:pt x="342" y="402"/>
                  </a:lnTo>
                  <a:lnTo>
                    <a:pt x="336" y="396"/>
                  </a:lnTo>
                  <a:lnTo>
                    <a:pt x="330" y="384"/>
                  </a:lnTo>
                  <a:close/>
                  <a:moveTo>
                    <a:pt x="258" y="432"/>
                  </a:moveTo>
                  <a:lnTo>
                    <a:pt x="246" y="426"/>
                  </a:lnTo>
                  <a:lnTo>
                    <a:pt x="204" y="426"/>
                  </a:lnTo>
                  <a:lnTo>
                    <a:pt x="234" y="468"/>
                  </a:lnTo>
                  <a:lnTo>
                    <a:pt x="258" y="534"/>
                  </a:lnTo>
                  <a:lnTo>
                    <a:pt x="270" y="528"/>
                  </a:lnTo>
                  <a:lnTo>
                    <a:pt x="276" y="516"/>
                  </a:lnTo>
                  <a:lnTo>
                    <a:pt x="282" y="510"/>
                  </a:lnTo>
                  <a:lnTo>
                    <a:pt x="282" y="486"/>
                  </a:lnTo>
                  <a:lnTo>
                    <a:pt x="276" y="480"/>
                  </a:lnTo>
                  <a:lnTo>
                    <a:pt x="270" y="468"/>
                  </a:lnTo>
                  <a:lnTo>
                    <a:pt x="270" y="450"/>
                  </a:lnTo>
                  <a:lnTo>
                    <a:pt x="264" y="438"/>
                  </a:lnTo>
                  <a:lnTo>
                    <a:pt x="258" y="432"/>
                  </a:lnTo>
                  <a:close/>
                  <a:moveTo>
                    <a:pt x="330" y="648"/>
                  </a:moveTo>
                  <a:lnTo>
                    <a:pt x="336" y="660"/>
                  </a:lnTo>
                  <a:lnTo>
                    <a:pt x="354" y="678"/>
                  </a:lnTo>
                  <a:lnTo>
                    <a:pt x="360" y="672"/>
                  </a:lnTo>
                  <a:lnTo>
                    <a:pt x="372" y="666"/>
                  </a:lnTo>
                  <a:lnTo>
                    <a:pt x="378" y="660"/>
                  </a:lnTo>
                  <a:lnTo>
                    <a:pt x="384" y="660"/>
                  </a:lnTo>
                  <a:lnTo>
                    <a:pt x="390" y="666"/>
                  </a:lnTo>
                  <a:lnTo>
                    <a:pt x="390" y="696"/>
                  </a:lnTo>
                  <a:lnTo>
                    <a:pt x="402" y="708"/>
                  </a:lnTo>
                  <a:lnTo>
                    <a:pt x="396" y="720"/>
                  </a:lnTo>
                  <a:lnTo>
                    <a:pt x="390" y="726"/>
                  </a:lnTo>
                  <a:lnTo>
                    <a:pt x="372" y="762"/>
                  </a:lnTo>
                  <a:lnTo>
                    <a:pt x="372" y="786"/>
                  </a:lnTo>
                  <a:lnTo>
                    <a:pt x="378" y="792"/>
                  </a:lnTo>
                  <a:lnTo>
                    <a:pt x="384" y="804"/>
                  </a:lnTo>
                  <a:lnTo>
                    <a:pt x="396" y="804"/>
                  </a:lnTo>
                  <a:lnTo>
                    <a:pt x="408" y="798"/>
                  </a:lnTo>
                  <a:lnTo>
                    <a:pt x="420" y="798"/>
                  </a:lnTo>
                  <a:lnTo>
                    <a:pt x="432" y="792"/>
                  </a:lnTo>
                  <a:lnTo>
                    <a:pt x="438" y="786"/>
                  </a:lnTo>
                  <a:lnTo>
                    <a:pt x="438" y="768"/>
                  </a:lnTo>
                  <a:lnTo>
                    <a:pt x="432" y="756"/>
                  </a:lnTo>
                  <a:lnTo>
                    <a:pt x="426" y="738"/>
                  </a:lnTo>
                  <a:lnTo>
                    <a:pt x="426" y="726"/>
                  </a:lnTo>
                  <a:lnTo>
                    <a:pt x="432" y="714"/>
                  </a:lnTo>
                  <a:lnTo>
                    <a:pt x="444" y="678"/>
                  </a:lnTo>
                  <a:lnTo>
                    <a:pt x="444" y="660"/>
                  </a:lnTo>
                  <a:lnTo>
                    <a:pt x="438" y="648"/>
                  </a:lnTo>
                  <a:lnTo>
                    <a:pt x="432" y="642"/>
                  </a:lnTo>
                  <a:lnTo>
                    <a:pt x="426" y="642"/>
                  </a:lnTo>
                  <a:lnTo>
                    <a:pt x="414" y="654"/>
                  </a:lnTo>
                  <a:lnTo>
                    <a:pt x="402" y="660"/>
                  </a:lnTo>
                  <a:lnTo>
                    <a:pt x="396" y="660"/>
                  </a:lnTo>
                  <a:lnTo>
                    <a:pt x="396" y="648"/>
                  </a:lnTo>
                  <a:lnTo>
                    <a:pt x="408" y="624"/>
                  </a:lnTo>
                  <a:lnTo>
                    <a:pt x="408" y="612"/>
                  </a:lnTo>
                  <a:lnTo>
                    <a:pt x="414" y="600"/>
                  </a:lnTo>
                  <a:lnTo>
                    <a:pt x="414" y="594"/>
                  </a:lnTo>
                  <a:lnTo>
                    <a:pt x="408" y="588"/>
                  </a:lnTo>
                  <a:lnTo>
                    <a:pt x="372" y="570"/>
                  </a:lnTo>
                  <a:lnTo>
                    <a:pt x="366" y="564"/>
                  </a:lnTo>
                  <a:lnTo>
                    <a:pt x="330" y="564"/>
                  </a:lnTo>
                  <a:lnTo>
                    <a:pt x="324" y="570"/>
                  </a:lnTo>
                  <a:lnTo>
                    <a:pt x="324" y="576"/>
                  </a:lnTo>
                  <a:lnTo>
                    <a:pt x="330" y="582"/>
                  </a:lnTo>
                  <a:lnTo>
                    <a:pt x="336" y="582"/>
                  </a:lnTo>
                  <a:lnTo>
                    <a:pt x="342" y="594"/>
                  </a:lnTo>
                  <a:lnTo>
                    <a:pt x="342" y="600"/>
                  </a:lnTo>
                  <a:lnTo>
                    <a:pt x="336" y="606"/>
                  </a:lnTo>
                  <a:lnTo>
                    <a:pt x="336" y="618"/>
                  </a:lnTo>
                  <a:lnTo>
                    <a:pt x="330" y="630"/>
                  </a:lnTo>
                  <a:lnTo>
                    <a:pt x="330" y="648"/>
                  </a:lnTo>
                  <a:close/>
                </a:path>
              </a:pathLst>
            </a:custGeom>
            <a:grpFill/>
            <a:ln w="3175">
              <a:solidFill>
                <a:schemeClr val="bg1"/>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de-DE" sz="1800" b="0" i="0" u="none" strike="noStrike" kern="1200" cap="none" spc="0" normalizeH="0" baseline="0" noProof="0">
                <a:ln>
                  <a:noFill/>
                </a:ln>
                <a:solidFill>
                  <a:srgbClr val="FFC000"/>
                </a:solidFill>
                <a:effectLst/>
                <a:uLnTx/>
                <a:uFillTx/>
                <a:latin typeface="Calibri" pitchFamily="34" charset="0"/>
                <a:ea typeface="+mn-ea"/>
                <a:cs typeface="+mn-cs"/>
              </a:endParaRPr>
            </a:p>
          </p:txBody>
        </p:sp>
        <p:sp>
          <p:nvSpPr>
            <p:cNvPr id="67" name="Peru" descr="© INSCALE GmbH, 05.05.2010&#10;http://www.presentationload.com/"/>
            <p:cNvSpPr>
              <a:spLocks/>
            </p:cNvSpPr>
            <p:nvPr/>
          </p:nvSpPr>
          <p:spPr bwMode="gray">
            <a:xfrm>
              <a:off x="2589493" y="4303795"/>
              <a:ext cx="305882" cy="461745"/>
            </a:xfrm>
            <a:custGeom>
              <a:avLst/>
              <a:gdLst>
                <a:gd name="T0" fmla="*/ 2147483647 w 942"/>
                <a:gd name="T1" fmla="*/ 2147483647 h 1488"/>
                <a:gd name="T2" fmla="*/ 2147483647 w 942"/>
                <a:gd name="T3" fmla="*/ 2147483647 h 1488"/>
                <a:gd name="T4" fmla="*/ 2147483647 w 942"/>
                <a:gd name="T5" fmla="*/ 2147483647 h 1488"/>
                <a:gd name="T6" fmla="*/ 2147483647 w 942"/>
                <a:gd name="T7" fmla="*/ 2147483647 h 1488"/>
                <a:gd name="T8" fmla="*/ 2147483647 w 942"/>
                <a:gd name="T9" fmla="*/ 2147483647 h 1488"/>
                <a:gd name="T10" fmla="*/ 2147483647 w 942"/>
                <a:gd name="T11" fmla="*/ 2147483647 h 1488"/>
                <a:gd name="T12" fmla="*/ 2147483647 w 942"/>
                <a:gd name="T13" fmla="*/ 2147483647 h 1488"/>
                <a:gd name="T14" fmla="*/ 2147483647 w 942"/>
                <a:gd name="T15" fmla="*/ 2147483647 h 1488"/>
                <a:gd name="T16" fmla="*/ 2147483647 w 942"/>
                <a:gd name="T17" fmla="*/ 2147483647 h 1488"/>
                <a:gd name="T18" fmla="*/ 2147483647 w 942"/>
                <a:gd name="T19" fmla="*/ 2147483647 h 1488"/>
                <a:gd name="T20" fmla="*/ 2147483647 w 942"/>
                <a:gd name="T21" fmla="*/ 2147483647 h 1488"/>
                <a:gd name="T22" fmla="*/ 2147483647 w 942"/>
                <a:gd name="T23" fmla="*/ 2147483647 h 1488"/>
                <a:gd name="T24" fmla="*/ 2147483647 w 942"/>
                <a:gd name="T25" fmla="*/ 2147483647 h 1488"/>
                <a:gd name="T26" fmla="*/ 2147483647 w 942"/>
                <a:gd name="T27" fmla="*/ 2147483647 h 1488"/>
                <a:gd name="T28" fmla="*/ 2147483647 w 942"/>
                <a:gd name="T29" fmla="*/ 2147483647 h 1488"/>
                <a:gd name="T30" fmla="*/ 2147483647 w 942"/>
                <a:gd name="T31" fmla="*/ 2147483647 h 1488"/>
                <a:gd name="T32" fmla="*/ 2147483647 w 942"/>
                <a:gd name="T33" fmla="*/ 2147483647 h 1488"/>
                <a:gd name="T34" fmla="*/ 2147483647 w 942"/>
                <a:gd name="T35" fmla="*/ 2147483647 h 1488"/>
                <a:gd name="T36" fmla="*/ 2147483647 w 942"/>
                <a:gd name="T37" fmla="*/ 2147483647 h 1488"/>
                <a:gd name="T38" fmla="*/ 2147483647 w 942"/>
                <a:gd name="T39" fmla="*/ 2147483647 h 1488"/>
                <a:gd name="T40" fmla="*/ 2147483647 w 942"/>
                <a:gd name="T41" fmla="*/ 2147483647 h 1488"/>
                <a:gd name="T42" fmla="*/ 2147483647 w 942"/>
                <a:gd name="T43" fmla="*/ 2147483647 h 1488"/>
                <a:gd name="T44" fmla="*/ 2147483647 w 942"/>
                <a:gd name="T45" fmla="*/ 2147483647 h 1488"/>
                <a:gd name="T46" fmla="*/ 2147483647 w 942"/>
                <a:gd name="T47" fmla="*/ 2147483647 h 1488"/>
                <a:gd name="T48" fmla="*/ 2147483647 w 942"/>
                <a:gd name="T49" fmla="*/ 2147483647 h 1488"/>
                <a:gd name="T50" fmla="*/ 2147483647 w 942"/>
                <a:gd name="T51" fmla="*/ 2147483647 h 1488"/>
                <a:gd name="T52" fmla="*/ 2147483647 w 942"/>
                <a:gd name="T53" fmla="*/ 2147483647 h 1488"/>
                <a:gd name="T54" fmla="*/ 2147483647 w 942"/>
                <a:gd name="T55" fmla="*/ 2147483647 h 1488"/>
                <a:gd name="T56" fmla="*/ 2147483647 w 942"/>
                <a:gd name="T57" fmla="*/ 2147483647 h 1488"/>
                <a:gd name="T58" fmla="*/ 2147483647 w 942"/>
                <a:gd name="T59" fmla="*/ 2147483647 h 1488"/>
                <a:gd name="T60" fmla="*/ 2147483647 w 942"/>
                <a:gd name="T61" fmla="*/ 2147483647 h 1488"/>
                <a:gd name="T62" fmla="*/ 2147483647 w 942"/>
                <a:gd name="T63" fmla="*/ 0 h 1488"/>
                <a:gd name="T64" fmla="*/ 2147483647 w 942"/>
                <a:gd name="T65" fmla="*/ 2147483647 h 1488"/>
                <a:gd name="T66" fmla="*/ 2147483647 w 942"/>
                <a:gd name="T67" fmla="*/ 2147483647 h 1488"/>
                <a:gd name="T68" fmla="*/ 2147483647 w 942"/>
                <a:gd name="T69" fmla="*/ 2147483647 h 1488"/>
                <a:gd name="T70" fmla="*/ 2147483647 w 942"/>
                <a:gd name="T71" fmla="*/ 2147483647 h 1488"/>
                <a:gd name="T72" fmla="*/ 2147483647 w 942"/>
                <a:gd name="T73" fmla="*/ 2147483647 h 1488"/>
                <a:gd name="T74" fmla="*/ 2147483647 w 942"/>
                <a:gd name="T75" fmla="*/ 2147483647 h 1488"/>
                <a:gd name="T76" fmla="*/ 2147483647 w 942"/>
                <a:gd name="T77" fmla="*/ 2147483647 h 1488"/>
                <a:gd name="T78" fmla="*/ 2147483647 w 942"/>
                <a:gd name="T79" fmla="*/ 2147483647 h 1488"/>
                <a:gd name="T80" fmla="*/ 2147483647 w 942"/>
                <a:gd name="T81" fmla="*/ 2147483647 h 1488"/>
                <a:gd name="T82" fmla="*/ 2147483647 w 942"/>
                <a:gd name="T83" fmla="*/ 2147483647 h 1488"/>
                <a:gd name="T84" fmla="*/ 0 w 942"/>
                <a:gd name="T85" fmla="*/ 2147483647 h 1488"/>
                <a:gd name="T86" fmla="*/ 2147483647 w 942"/>
                <a:gd name="T87" fmla="*/ 2147483647 h 1488"/>
                <a:gd name="T88" fmla="*/ 2147483647 w 942"/>
                <a:gd name="T89" fmla="*/ 2147483647 h 1488"/>
                <a:gd name="T90" fmla="*/ 2147483647 w 942"/>
                <a:gd name="T91" fmla="*/ 2147483647 h 1488"/>
                <a:gd name="T92" fmla="*/ 2147483647 w 942"/>
                <a:gd name="T93" fmla="*/ 2147483647 h 1488"/>
                <a:gd name="T94" fmla="*/ 2147483647 w 942"/>
                <a:gd name="T95" fmla="*/ 2147483647 h 1488"/>
                <a:gd name="T96" fmla="*/ 2147483647 w 942"/>
                <a:gd name="T97" fmla="*/ 2147483647 h 1488"/>
                <a:gd name="T98" fmla="*/ 2147483647 w 942"/>
                <a:gd name="T99" fmla="*/ 2147483647 h 1488"/>
                <a:gd name="T100" fmla="*/ 2147483647 w 942"/>
                <a:gd name="T101" fmla="*/ 2147483647 h 1488"/>
                <a:gd name="T102" fmla="*/ 2147483647 w 942"/>
                <a:gd name="T103" fmla="*/ 2147483647 h 1488"/>
                <a:gd name="T104" fmla="*/ 2147483647 w 942"/>
                <a:gd name="T105" fmla="*/ 2147483647 h 1488"/>
                <a:gd name="T106" fmla="*/ 2147483647 w 942"/>
                <a:gd name="T107" fmla="*/ 2147483647 h 1488"/>
                <a:gd name="T108" fmla="*/ 2147483647 w 942"/>
                <a:gd name="T109" fmla="*/ 2147483647 h 1488"/>
                <a:gd name="T110" fmla="*/ 2147483647 w 942"/>
                <a:gd name="T111" fmla="*/ 2147483647 h 1488"/>
                <a:gd name="T112" fmla="*/ 2147483647 w 942"/>
                <a:gd name="T113" fmla="*/ 2147483647 h 1488"/>
                <a:gd name="T114" fmla="*/ 2147483647 w 942"/>
                <a:gd name="T115" fmla="*/ 2147483647 h 1488"/>
                <a:gd name="T116" fmla="*/ 2147483647 w 942"/>
                <a:gd name="T117" fmla="*/ 2147483647 h 1488"/>
                <a:gd name="T118" fmla="*/ 2147483647 w 942"/>
                <a:gd name="T119" fmla="*/ 2147483647 h 1488"/>
                <a:gd name="T120" fmla="*/ 2147483647 w 942"/>
                <a:gd name="T121" fmla="*/ 2147483647 h 1488"/>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942"/>
                <a:gd name="T184" fmla="*/ 0 h 1488"/>
                <a:gd name="T185" fmla="*/ 942 w 942"/>
                <a:gd name="T186" fmla="*/ 1488 h 1488"/>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942" h="1488">
                  <a:moveTo>
                    <a:pt x="930" y="1320"/>
                  </a:moveTo>
                  <a:lnTo>
                    <a:pt x="924" y="1314"/>
                  </a:lnTo>
                  <a:lnTo>
                    <a:pt x="912" y="1308"/>
                  </a:lnTo>
                  <a:lnTo>
                    <a:pt x="888" y="1284"/>
                  </a:lnTo>
                  <a:lnTo>
                    <a:pt x="864" y="1284"/>
                  </a:lnTo>
                  <a:lnTo>
                    <a:pt x="858" y="1278"/>
                  </a:lnTo>
                  <a:lnTo>
                    <a:pt x="870" y="1260"/>
                  </a:lnTo>
                  <a:lnTo>
                    <a:pt x="870" y="1230"/>
                  </a:lnTo>
                  <a:lnTo>
                    <a:pt x="882" y="1230"/>
                  </a:lnTo>
                  <a:lnTo>
                    <a:pt x="906" y="1254"/>
                  </a:lnTo>
                  <a:lnTo>
                    <a:pt x="918" y="1236"/>
                  </a:lnTo>
                  <a:lnTo>
                    <a:pt x="918" y="1230"/>
                  </a:lnTo>
                  <a:lnTo>
                    <a:pt x="912" y="1224"/>
                  </a:lnTo>
                  <a:lnTo>
                    <a:pt x="906" y="1212"/>
                  </a:lnTo>
                  <a:lnTo>
                    <a:pt x="900" y="1194"/>
                  </a:lnTo>
                  <a:lnTo>
                    <a:pt x="912" y="1170"/>
                  </a:lnTo>
                  <a:lnTo>
                    <a:pt x="924" y="1158"/>
                  </a:lnTo>
                  <a:lnTo>
                    <a:pt x="930" y="1146"/>
                  </a:lnTo>
                  <a:lnTo>
                    <a:pt x="930" y="1140"/>
                  </a:lnTo>
                  <a:lnTo>
                    <a:pt x="924" y="1128"/>
                  </a:lnTo>
                  <a:lnTo>
                    <a:pt x="912" y="1116"/>
                  </a:lnTo>
                  <a:lnTo>
                    <a:pt x="906" y="1116"/>
                  </a:lnTo>
                  <a:lnTo>
                    <a:pt x="924" y="1086"/>
                  </a:lnTo>
                  <a:lnTo>
                    <a:pt x="912" y="1038"/>
                  </a:lnTo>
                  <a:lnTo>
                    <a:pt x="918" y="1032"/>
                  </a:lnTo>
                  <a:lnTo>
                    <a:pt x="924" y="1020"/>
                  </a:lnTo>
                  <a:lnTo>
                    <a:pt x="930" y="1014"/>
                  </a:lnTo>
                  <a:lnTo>
                    <a:pt x="930" y="1002"/>
                  </a:lnTo>
                  <a:lnTo>
                    <a:pt x="918" y="978"/>
                  </a:lnTo>
                  <a:lnTo>
                    <a:pt x="906" y="960"/>
                  </a:lnTo>
                  <a:lnTo>
                    <a:pt x="894" y="948"/>
                  </a:lnTo>
                  <a:lnTo>
                    <a:pt x="882" y="930"/>
                  </a:lnTo>
                  <a:lnTo>
                    <a:pt x="870" y="918"/>
                  </a:lnTo>
                  <a:lnTo>
                    <a:pt x="864" y="900"/>
                  </a:lnTo>
                  <a:lnTo>
                    <a:pt x="864" y="882"/>
                  </a:lnTo>
                  <a:lnTo>
                    <a:pt x="828" y="882"/>
                  </a:lnTo>
                  <a:lnTo>
                    <a:pt x="822" y="888"/>
                  </a:lnTo>
                  <a:lnTo>
                    <a:pt x="816" y="888"/>
                  </a:lnTo>
                  <a:lnTo>
                    <a:pt x="816" y="894"/>
                  </a:lnTo>
                  <a:lnTo>
                    <a:pt x="804" y="894"/>
                  </a:lnTo>
                  <a:lnTo>
                    <a:pt x="798" y="888"/>
                  </a:lnTo>
                  <a:lnTo>
                    <a:pt x="798" y="882"/>
                  </a:lnTo>
                  <a:lnTo>
                    <a:pt x="786" y="888"/>
                  </a:lnTo>
                  <a:lnTo>
                    <a:pt x="786" y="858"/>
                  </a:lnTo>
                  <a:lnTo>
                    <a:pt x="780" y="840"/>
                  </a:lnTo>
                  <a:lnTo>
                    <a:pt x="780" y="828"/>
                  </a:lnTo>
                  <a:lnTo>
                    <a:pt x="786" y="816"/>
                  </a:lnTo>
                  <a:lnTo>
                    <a:pt x="786" y="804"/>
                  </a:lnTo>
                  <a:lnTo>
                    <a:pt x="792" y="798"/>
                  </a:lnTo>
                  <a:lnTo>
                    <a:pt x="792" y="780"/>
                  </a:lnTo>
                  <a:lnTo>
                    <a:pt x="786" y="768"/>
                  </a:lnTo>
                  <a:lnTo>
                    <a:pt x="786" y="756"/>
                  </a:lnTo>
                  <a:lnTo>
                    <a:pt x="732" y="804"/>
                  </a:lnTo>
                  <a:lnTo>
                    <a:pt x="672" y="810"/>
                  </a:lnTo>
                  <a:lnTo>
                    <a:pt x="672" y="804"/>
                  </a:lnTo>
                  <a:lnTo>
                    <a:pt x="666" y="798"/>
                  </a:lnTo>
                  <a:lnTo>
                    <a:pt x="660" y="786"/>
                  </a:lnTo>
                  <a:lnTo>
                    <a:pt x="660" y="774"/>
                  </a:lnTo>
                  <a:lnTo>
                    <a:pt x="654" y="768"/>
                  </a:lnTo>
                  <a:lnTo>
                    <a:pt x="648" y="768"/>
                  </a:lnTo>
                  <a:lnTo>
                    <a:pt x="636" y="762"/>
                  </a:lnTo>
                  <a:lnTo>
                    <a:pt x="594" y="762"/>
                  </a:lnTo>
                  <a:lnTo>
                    <a:pt x="600" y="756"/>
                  </a:lnTo>
                  <a:lnTo>
                    <a:pt x="612" y="750"/>
                  </a:lnTo>
                  <a:lnTo>
                    <a:pt x="618" y="738"/>
                  </a:lnTo>
                  <a:lnTo>
                    <a:pt x="624" y="732"/>
                  </a:lnTo>
                  <a:lnTo>
                    <a:pt x="600" y="708"/>
                  </a:lnTo>
                  <a:lnTo>
                    <a:pt x="588" y="702"/>
                  </a:lnTo>
                  <a:lnTo>
                    <a:pt x="576" y="690"/>
                  </a:lnTo>
                  <a:lnTo>
                    <a:pt x="564" y="666"/>
                  </a:lnTo>
                  <a:lnTo>
                    <a:pt x="558" y="660"/>
                  </a:lnTo>
                  <a:lnTo>
                    <a:pt x="558" y="654"/>
                  </a:lnTo>
                  <a:lnTo>
                    <a:pt x="552" y="630"/>
                  </a:lnTo>
                  <a:lnTo>
                    <a:pt x="540" y="624"/>
                  </a:lnTo>
                  <a:lnTo>
                    <a:pt x="534" y="618"/>
                  </a:lnTo>
                  <a:lnTo>
                    <a:pt x="534" y="606"/>
                  </a:lnTo>
                  <a:lnTo>
                    <a:pt x="540" y="600"/>
                  </a:lnTo>
                  <a:lnTo>
                    <a:pt x="552" y="594"/>
                  </a:lnTo>
                  <a:lnTo>
                    <a:pt x="546" y="588"/>
                  </a:lnTo>
                  <a:lnTo>
                    <a:pt x="546" y="564"/>
                  </a:lnTo>
                  <a:lnTo>
                    <a:pt x="552" y="552"/>
                  </a:lnTo>
                  <a:lnTo>
                    <a:pt x="582" y="522"/>
                  </a:lnTo>
                  <a:lnTo>
                    <a:pt x="588" y="528"/>
                  </a:lnTo>
                  <a:lnTo>
                    <a:pt x="594" y="528"/>
                  </a:lnTo>
                  <a:lnTo>
                    <a:pt x="588" y="522"/>
                  </a:lnTo>
                  <a:lnTo>
                    <a:pt x="588" y="504"/>
                  </a:lnTo>
                  <a:lnTo>
                    <a:pt x="582" y="498"/>
                  </a:lnTo>
                  <a:lnTo>
                    <a:pt x="582" y="486"/>
                  </a:lnTo>
                  <a:lnTo>
                    <a:pt x="600" y="468"/>
                  </a:lnTo>
                  <a:lnTo>
                    <a:pt x="600" y="414"/>
                  </a:lnTo>
                  <a:lnTo>
                    <a:pt x="624" y="414"/>
                  </a:lnTo>
                  <a:lnTo>
                    <a:pt x="624" y="408"/>
                  </a:lnTo>
                  <a:lnTo>
                    <a:pt x="630" y="402"/>
                  </a:lnTo>
                  <a:lnTo>
                    <a:pt x="630" y="396"/>
                  </a:lnTo>
                  <a:lnTo>
                    <a:pt x="642" y="384"/>
                  </a:lnTo>
                  <a:lnTo>
                    <a:pt x="654" y="378"/>
                  </a:lnTo>
                  <a:lnTo>
                    <a:pt x="660" y="372"/>
                  </a:lnTo>
                  <a:lnTo>
                    <a:pt x="672" y="366"/>
                  </a:lnTo>
                  <a:lnTo>
                    <a:pt x="702" y="366"/>
                  </a:lnTo>
                  <a:lnTo>
                    <a:pt x="708" y="354"/>
                  </a:lnTo>
                  <a:lnTo>
                    <a:pt x="738" y="360"/>
                  </a:lnTo>
                  <a:lnTo>
                    <a:pt x="744" y="354"/>
                  </a:lnTo>
                  <a:lnTo>
                    <a:pt x="750" y="342"/>
                  </a:lnTo>
                  <a:lnTo>
                    <a:pt x="756" y="336"/>
                  </a:lnTo>
                  <a:lnTo>
                    <a:pt x="774" y="336"/>
                  </a:lnTo>
                  <a:lnTo>
                    <a:pt x="786" y="348"/>
                  </a:lnTo>
                  <a:lnTo>
                    <a:pt x="786" y="354"/>
                  </a:lnTo>
                  <a:lnTo>
                    <a:pt x="804" y="354"/>
                  </a:lnTo>
                  <a:lnTo>
                    <a:pt x="816" y="342"/>
                  </a:lnTo>
                  <a:lnTo>
                    <a:pt x="798" y="330"/>
                  </a:lnTo>
                  <a:lnTo>
                    <a:pt x="786" y="312"/>
                  </a:lnTo>
                  <a:lnTo>
                    <a:pt x="768" y="312"/>
                  </a:lnTo>
                  <a:lnTo>
                    <a:pt x="762" y="306"/>
                  </a:lnTo>
                  <a:lnTo>
                    <a:pt x="762" y="288"/>
                  </a:lnTo>
                  <a:lnTo>
                    <a:pt x="774" y="264"/>
                  </a:lnTo>
                  <a:lnTo>
                    <a:pt x="774" y="258"/>
                  </a:lnTo>
                  <a:lnTo>
                    <a:pt x="780" y="252"/>
                  </a:lnTo>
                  <a:lnTo>
                    <a:pt x="786" y="252"/>
                  </a:lnTo>
                  <a:lnTo>
                    <a:pt x="792" y="246"/>
                  </a:lnTo>
                  <a:lnTo>
                    <a:pt x="798" y="234"/>
                  </a:lnTo>
                  <a:lnTo>
                    <a:pt x="798" y="216"/>
                  </a:lnTo>
                  <a:lnTo>
                    <a:pt x="792" y="210"/>
                  </a:lnTo>
                  <a:lnTo>
                    <a:pt x="780" y="204"/>
                  </a:lnTo>
                  <a:lnTo>
                    <a:pt x="756" y="204"/>
                  </a:lnTo>
                  <a:lnTo>
                    <a:pt x="750" y="198"/>
                  </a:lnTo>
                  <a:lnTo>
                    <a:pt x="744" y="186"/>
                  </a:lnTo>
                  <a:lnTo>
                    <a:pt x="744" y="180"/>
                  </a:lnTo>
                  <a:lnTo>
                    <a:pt x="732" y="180"/>
                  </a:lnTo>
                  <a:lnTo>
                    <a:pt x="726" y="186"/>
                  </a:lnTo>
                  <a:lnTo>
                    <a:pt x="714" y="192"/>
                  </a:lnTo>
                  <a:lnTo>
                    <a:pt x="702" y="192"/>
                  </a:lnTo>
                  <a:lnTo>
                    <a:pt x="696" y="186"/>
                  </a:lnTo>
                  <a:lnTo>
                    <a:pt x="690" y="186"/>
                  </a:lnTo>
                  <a:lnTo>
                    <a:pt x="684" y="180"/>
                  </a:lnTo>
                  <a:lnTo>
                    <a:pt x="660" y="180"/>
                  </a:lnTo>
                  <a:lnTo>
                    <a:pt x="648" y="192"/>
                  </a:lnTo>
                  <a:lnTo>
                    <a:pt x="648" y="204"/>
                  </a:lnTo>
                  <a:lnTo>
                    <a:pt x="612" y="204"/>
                  </a:lnTo>
                  <a:lnTo>
                    <a:pt x="588" y="198"/>
                  </a:lnTo>
                  <a:lnTo>
                    <a:pt x="576" y="192"/>
                  </a:lnTo>
                  <a:lnTo>
                    <a:pt x="576" y="168"/>
                  </a:lnTo>
                  <a:lnTo>
                    <a:pt x="582" y="162"/>
                  </a:lnTo>
                  <a:lnTo>
                    <a:pt x="582" y="156"/>
                  </a:lnTo>
                  <a:lnTo>
                    <a:pt x="576" y="150"/>
                  </a:lnTo>
                  <a:lnTo>
                    <a:pt x="564" y="144"/>
                  </a:lnTo>
                  <a:lnTo>
                    <a:pt x="552" y="144"/>
                  </a:lnTo>
                  <a:lnTo>
                    <a:pt x="552" y="138"/>
                  </a:lnTo>
                  <a:lnTo>
                    <a:pt x="546" y="132"/>
                  </a:lnTo>
                  <a:lnTo>
                    <a:pt x="546" y="108"/>
                  </a:lnTo>
                  <a:lnTo>
                    <a:pt x="540" y="102"/>
                  </a:lnTo>
                  <a:lnTo>
                    <a:pt x="528" y="102"/>
                  </a:lnTo>
                  <a:lnTo>
                    <a:pt x="516" y="84"/>
                  </a:lnTo>
                  <a:lnTo>
                    <a:pt x="498" y="84"/>
                  </a:lnTo>
                  <a:lnTo>
                    <a:pt x="486" y="48"/>
                  </a:lnTo>
                  <a:lnTo>
                    <a:pt x="480" y="42"/>
                  </a:lnTo>
                  <a:lnTo>
                    <a:pt x="468" y="36"/>
                  </a:lnTo>
                  <a:lnTo>
                    <a:pt x="450" y="18"/>
                  </a:lnTo>
                  <a:lnTo>
                    <a:pt x="438" y="12"/>
                  </a:lnTo>
                  <a:lnTo>
                    <a:pt x="426" y="0"/>
                  </a:lnTo>
                  <a:lnTo>
                    <a:pt x="396" y="0"/>
                  </a:lnTo>
                  <a:lnTo>
                    <a:pt x="414" y="0"/>
                  </a:lnTo>
                  <a:lnTo>
                    <a:pt x="414" y="24"/>
                  </a:lnTo>
                  <a:lnTo>
                    <a:pt x="408" y="24"/>
                  </a:lnTo>
                  <a:lnTo>
                    <a:pt x="408" y="30"/>
                  </a:lnTo>
                  <a:lnTo>
                    <a:pt x="402" y="30"/>
                  </a:lnTo>
                  <a:lnTo>
                    <a:pt x="426" y="48"/>
                  </a:lnTo>
                  <a:lnTo>
                    <a:pt x="426" y="78"/>
                  </a:lnTo>
                  <a:lnTo>
                    <a:pt x="414" y="84"/>
                  </a:lnTo>
                  <a:lnTo>
                    <a:pt x="402" y="126"/>
                  </a:lnTo>
                  <a:lnTo>
                    <a:pt x="396" y="138"/>
                  </a:lnTo>
                  <a:lnTo>
                    <a:pt x="384" y="150"/>
                  </a:lnTo>
                  <a:lnTo>
                    <a:pt x="378" y="162"/>
                  </a:lnTo>
                  <a:lnTo>
                    <a:pt x="366" y="174"/>
                  </a:lnTo>
                  <a:lnTo>
                    <a:pt x="354" y="192"/>
                  </a:lnTo>
                  <a:lnTo>
                    <a:pt x="336" y="204"/>
                  </a:lnTo>
                  <a:lnTo>
                    <a:pt x="276" y="234"/>
                  </a:lnTo>
                  <a:lnTo>
                    <a:pt x="258" y="240"/>
                  </a:lnTo>
                  <a:lnTo>
                    <a:pt x="240" y="252"/>
                  </a:lnTo>
                  <a:lnTo>
                    <a:pt x="222" y="270"/>
                  </a:lnTo>
                  <a:lnTo>
                    <a:pt x="222" y="276"/>
                  </a:lnTo>
                  <a:lnTo>
                    <a:pt x="210" y="282"/>
                  </a:lnTo>
                  <a:lnTo>
                    <a:pt x="210" y="300"/>
                  </a:lnTo>
                  <a:lnTo>
                    <a:pt x="198" y="312"/>
                  </a:lnTo>
                  <a:lnTo>
                    <a:pt x="198" y="336"/>
                  </a:lnTo>
                  <a:lnTo>
                    <a:pt x="192" y="348"/>
                  </a:lnTo>
                  <a:lnTo>
                    <a:pt x="192" y="378"/>
                  </a:lnTo>
                  <a:lnTo>
                    <a:pt x="174" y="378"/>
                  </a:lnTo>
                  <a:lnTo>
                    <a:pt x="168" y="384"/>
                  </a:lnTo>
                  <a:lnTo>
                    <a:pt x="168" y="390"/>
                  </a:lnTo>
                  <a:lnTo>
                    <a:pt x="162" y="396"/>
                  </a:lnTo>
                  <a:lnTo>
                    <a:pt x="162" y="402"/>
                  </a:lnTo>
                  <a:lnTo>
                    <a:pt x="144" y="402"/>
                  </a:lnTo>
                  <a:lnTo>
                    <a:pt x="138" y="390"/>
                  </a:lnTo>
                  <a:lnTo>
                    <a:pt x="138" y="372"/>
                  </a:lnTo>
                  <a:lnTo>
                    <a:pt x="132" y="366"/>
                  </a:lnTo>
                  <a:lnTo>
                    <a:pt x="132" y="360"/>
                  </a:lnTo>
                  <a:lnTo>
                    <a:pt x="102" y="360"/>
                  </a:lnTo>
                  <a:lnTo>
                    <a:pt x="90" y="348"/>
                  </a:lnTo>
                  <a:lnTo>
                    <a:pt x="78" y="360"/>
                  </a:lnTo>
                  <a:lnTo>
                    <a:pt x="66" y="366"/>
                  </a:lnTo>
                  <a:lnTo>
                    <a:pt x="60" y="366"/>
                  </a:lnTo>
                  <a:lnTo>
                    <a:pt x="54" y="360"/>
                  </a:lnTo>
                  <a:lnTo>
                    <a:pt x="66" y="348"/>
                  </a:lnTo>
                  <a:lnTo>
                    <a:pt x="54" y="336"/>
                  </a:lnTo>
                  <a:lnTo>
                    <a:pt x="60" y="330"/>
                  </a:lnTo>
                  <a:lnTo>
                    <a:pt x="66" y="318"/>
                  </a:lnTo>
                  <a:lnTo>
                    <a:pt x="78" y="312"/>
                  </a:lnTo>
                  <a:lnTo>
                    <a:pt x="84" y="300"/>
                  </a:lnTo>
                  <a:lnTo>
                    <a:pt x="90" y="294"/>
                  </a:lnTo>
                  <a:lnTo>
                    <a:pt x="90" y="288"/>
                  </a:lnTo>
                  <a:lnTo>
                    <a:pt x="84" y="288"/>
                  </a:lnTo>
                  <a:lnTo>
                    <a:pt x="72" y="282"/>
                  </a:lnTo>
                  <a:lnTo>
                    <a:pt x="66" y="282"/>
                  </a:lnTo>
                  <a:lnTo>
                    <a:pt x="6" y="342"/>
                  </a:lnTo>
                  <a:lnTo>
                    <a:pt x="0" y="354"/>
                  </a:lnTo>
                  <a:lnTo>
                    <a:pt x="0" y="390"/>
                  </a:lnTo>
                  <a:lnTo>
                    <a:pt x="6" y="396"/>
                  </a:lnTo>
                  <a:lnTo>
                    <a:pt x="18" y="396"/>
                  </a:lnTo>
                  <a:lnTo>
                    <a:pt x="12" y="420"/>
                  </a:lnTo>
                  <a:lnTo>
                    <a:pt x="36" y="444"/>
                  </a:lnTo>
                  <a:lnTo>
                    <a:pt x="36" y="462"/>
                  </a:lnTo>
                  <a:lnTo>
                    <a:pt x="12" y="486"/>
                  </a:lnTo>
                  <a:lnTo>
                    <a:pt x="12" y="492"/>
                  </a:lnTo>
                  <a:lnTo>
                    <a:pt x="18" y="504"/>
                  </a:lnTo>
                  <a:lnTo>
                    <a:pt x="24" y="510"/>
                  </a:lnTo>
                  <a:lnTo>
                    <a:pt x="36" y="516"/>
                  </a:lnTo>
                  <a:lnTo>
                    <a:pt x="54" y="522"/>
                  </a:lnTo>
                  <a:lnTo>
                    <a:pt x="66" y="522"/>
                  </a:lnTo>
                  <a:lnTo>
                    <a:pt x="108" y="564"/>
                  </a:lnTo>
                  <a:lnTo>
                    <a:pt x="114" y="576"/>
                  </a:lnTo>
                  <a:lnTo>
                    <a:pt x="132" y="594"/>
                  </a:lnTo>
                  <a:lnTo>
                    <a:pt x="138" y="612"/>
                  </a:lnTo>
                  <a:lnTo>
                    <a:pt x="144" y="624"/>
                  </a:lnTo>
                  <a:lnTo>
                    <a:pt x="144" y="642"/>
                  </a:lnTo>
                  <a:lnTo>
                    <a:pt x="150" y="648"/>
                  </a:lnTo>
                  <a:lnTo>
                    <a:pt x="156" y="660"/>
                  </a:lnTo>
                  <a:lnTo>
                    <a:pt x="168" y="666"/>
                  </a:lnTo>
                  <a:lnTo>
                    <a:pt x="174" y="678"/>
                  </a:lnTo>
                  <a:lnTo>
                    <a:pt x="192" y="696"/>
                  </a:lnTo>
                  <a:lnTo>
                    <a:pt x="204" y="720"/>
                  </a:lnTo>
                  <a:lnTo>
                    <a:pt x="216" y="732"/>
                  </a:lnTo>
                  <a:lnTo>
                    <a:pt x="222" y="744"/>
                  </a:lnTo>
                  <a:lnTo>
                    <a:pt x="234" y="762"/>
                  </a:lnTo>
                  <a:lnTo>
                    <a:pt x="240" y="768"/>
                  </a:lnTo>
                  <a:lnTo>
                    <a:pt x="246" y="780"/>
                  </a:lnTo>
                  <a:lnTo>
                    <a:pt x="252" y="822"/>
                  </a:lnTo>
                  <a:lnTo>
                    <a:pt x="252" y="828"/>
                  </a:lnTo>
                  <a:lnTo>
                    <a:pt x="258" y="834"/>
                  </a:lnTo>
                  <a:lnTo>
                    <a:pt x="264" y="846"/>
                  </a:lnTo>
                  <a:lnTo>
                    <a:pt x="270" y="864"/>
                  </a:lnTo>
                  <a:lnTo>
                    <a:pt x="282" y="876"/>
                  </a:lnTo>
                  <a:lnTo>
                    <a:pt x="288" y="894"/>
                  </a:lnTo>
                  <a:lnTo>
                    <a:pt x="294" y="906"/>
                  </a:lnTo>
                  <a:lnTo>
                    <a:pt x="294" y="918"/>
                  </a:lnTo>
                  <a:lnTo>
                    <a:pt x="300" y="924"/>
                  </a:lnTo>
                  <a:lnTo>
                    <a:pt x="312" y="924"/>
                  </a:lnTo>
                  <a:lnTo>
                    <a:pt x="324" y="936"/>
                  </a:lnTo>
                  <a:lnTo>
                    <a:pt x="324" y="948"/>
                  </a:lnTo>
                  <a:lnTo>
                    <a:pt x="330" y="954"/>
                  </a:lnTo>
                  <a:lnTo>
                    <a:pt x="330" y="966"/>
                  </a:lnTo>
                  <a:lnTo>
                    <a:pt x="336" y="984"/>
                  </a:lnTo>
                  <a:lnTo>
                    <a:pt x="360" y="1014"/>
                  </a:lnTo>
                  <a:lnTo>
                    <a:pt x="378" y="1050"/>
                  </a:lnTo>
                  <a:lnTo>
                    <a:pt x="396" y="1074"/>
                  </a:lnTo>
                  <a:lnTo>
                    <a:pt x="402" y="1086"/>
                  </a:lnTo>
                  <a:lnTo>
                    <a:pt x="408" y="1104"/>
                  </a:lnTo>
                  <a:lnTo>
                    <a:pt x="408" y="1116"/>
                  </a:lnTo>
                  <a:lnTo>
                    <a:pt x="402" y="1128"/>
                  </a:lnTo>
                  <a:lnTo>
                    <a:pt x="402" y="1146"/>
                  </a:lnTo>
                  <a:lnTo>
                    <a:pt x="414" y="1158"/>
                  </a:lnTo>
                  <a:lnTo>
                    <a:pt x="420" y="1170"/>
                  </a:lnTo>
                  <a:lnTo>
                    <a:pt x="444" y="1194"/>
                  </a:lnTo>
                  <a:lnTo>
                    <a:pt x="456" y="1200"/>
                  </a:lnTo>
                  <a:lnTo>
                    <a:pt x="468" y="1212"/>
                  </a:lnTo>
                  <a:lnTo>
                    <a:pt x="474" y="1224"/>
                  </a:lnTo>
                  <a:lnTo>
                    <a:pt x="498" y="1248"/>
                  </a:lnTo>
                  <a:lnTo>
                    <a:pt x="516" y="1260"/>
                  </a:lnTo>
                  <a:lnTo>
                    <a:pt x="546" y="1278"/>
                  </a:lnTo>
                  <a:lnTo>
                    <a:pt x="576" y="1290"/>
                  </a:lnTo>
                  <a:lnTo>
                    <a:pt x="600" y="1302"/>
                  </a:lnTo>
                  <a:lnTo>
                    <a:pt x="642" y="1320"/>
                  </a:lnTo>
                  <a:lnTo>
                    <a:pt x="696" y="1350"/>
                  </a:lnTo>
                  <a:lnTo>
                    <a:pt x="708" y="1362"/>
                  </a:lnTo>
                  <a:lnTo>
                    <a:pt x="726" y="1374"/>
                  </a:lnTo>
                  <a:lnTo>
                    <a:pt x="738" y="1380"/>
                  </a:lnTo>
                  <a:lnTo>
                    <a:pt x="750" y="1392"/>
                  </a:lnTo>
                  <a:lnTo>
                    <a:pt x="774" y="1404"/>
                  </a:lnTo>
                  <a:lnTo>
                    <a:pt x="780" y="1428"/>
                  </a:lnTo>
                  <a:lnTo>
                    <a:pt x="792" y="1434"/>
                  </a:lnTo>
                  <a:lnTo>
                    <a:pt x="798" y="1446"/>
                  </a:lnTo>
                  <a:lnTo>
                    <a:pt x="810" y="1452"/>
                  </a:lnTo>
                  <a:lnTo>
                    <a:pt x="816" y="1458"/>
                  </a:lnTo>
                  <a:lnTo>
                    <a:pt x="840" y="1470"/>
                  </a:lnTo>
                  <a:lnTo>
                    <a:pt x="846" y="1482"/>
                  </a:lnTo>
                  <a:lnTo>
                    <a:pt x="858" y="1488"/>
                  </a:lnTo>
                  <a:lnTo>
                    <a:pt x="894" y="1464"/>
                  </a:lnTo>
                  <a:lnTo>
                    <a:pt x="900" y="1458"/>
                  </a:lnTo>
                  <a:lnTo>
                    <a:pt x="900" y="1440"/>
                  </a:lnTo>
                  <a:lnTo>
                    <a:pt x="894" y="1428"/>
                  </a:lnTo>
                  <a:lnTo>
                    <a:pt x="912" y="1416"/>
                  </a:lnTo>
                  <a:lnTo>
                    <a:pt x="900" y="1392"/>
                  </a:lnTo>
                  <a:lnTo>
                    <a:pt x="918" y="1374"/>
                  </a:lnTo>
                  <a:lnTo>
                    <a:pt x="930" y="1368"/>
                  </a:lnTo>
                  <a:lnTo>
                    <a:pt x="942" y="1344"/>
                  </a:lnTo>
                  <a:lnTo>
                    <a:pt x="942" y="1332"/>
                  </a:lnTo>
                  <a:lnTo>
                    <a:pt x="930" y="1320"/>
                  </a:lnTo>
                  <a:close/>
                </a:path>
              </a:pathLst>
            </a:custGeom>
            <a:grpFill/>
            <a:ln w="3175">
              <a:solidFill>
                <a:schemeClr val="bg1"/>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de-DE" sz="1800" b="0" i="0" u="none" strike="noStrike" kern="1200" cap="none" spc="0" normalizeH="0" baseline="0" noProof="0">
                <a:ln>
                  <a:noFill/>
                </a:ln>
                <a:solidFill>
                  <a:srgbClr val="FFC000"/>
                </a:solidFill>
                <a:effectLst/>
                <a:uLnTx/>
                <a:uFillTx/>
                <a:latin typeface="Calibri" pitchFamily="34" charset="0"/>
                <a:ea typeface="+mn-ea"/>
                <a:cs typeface="+mn-cs"/>
              </a:endParaRPr>
            </a:p>
          </p:txBody>
        </p:sp>
        <p:sp>
          <p:nvSpPr>
            <p:cNvPr id="68" name="Paraguay" descr="© INSCALE GmbH, 05.05.2010&#10;http://www.presentationload.com/"/>
            <p:cNvSpPr>
              <a:spLocks/>
            </p:cNvSpPr>
            <p:nvPr/>
          </p:nvSpPr>
          <p:spPr bwMode="gray">
            <a:xfrm>
              <a:off x="3056635" y="4786362"/>
              <a:ext cx="194535" cy="210664"/>
            </a:xfrm>
            <a:custGeom>
              <a:avLst/>
              <a:gdLst>
                <a:gd name="T0" fmla="*/ 2147483647 w 600"/>
                <a:gd name="T1" fmla="*/ 2147483647 h 678"/>
                <a:gd name="T2" fmla="*/ 2147483647 w 600"/>
                <a:gd name="T3" fmla="*/ 2147483647 h 678"/>
                <a:gd name="T4" fmla="*/ 2147483647 w 600"/>
                <a:gd name="T5" fmla="*/ 2147483647 h 678"/>
                <a:gd name="T6" fmla="*/ 2147483647 w 600"/>
                <a:gd name="T7" fmla="*/ 2147483647 h 678"/>
                <a:gd name="T8" fmla="*/ 2147483647 w 600"/>
                <a:gd name="T9" fmla="*/ 2147483647 h 678"/>
                <a:gd name="T10" fmla="*/ 2147483647 w 600"/>
                <a:gd name="T11" fmla="*/ 2147483647 h 678"/>
                <a:gd name="T12" fmla="*/ 2147483647 w 600"/>
                <a:gd name="T13" fmla="*/ 2147483647 h 678"/>
                <a:gd name="T14" fmla="*/ 2147483647 w 600"/>
                <a:gd name="T15" fmla="*/ 2147483647 h 678"/>
                <a:gd name="T16" fmla="*/ 2147483647 w 600"/>
                <a:gd name="T17" fmla="*/ 2147483647 h 678"/>
                <a:gd name="T18" fmla="*/ 2147483647 w 600"/>
                <a:gd name="T19" fmla="*/ 2147483647 h 678"/>
                <a:gd name="T20" fmla="*/ 2147483647 w 600"/>
                <a:gd name="T21" fmla="*/ 2147483647 h 678"/>
                <a:gd name="T22" fmla="*/ 2147483647 w 600"/>
                <a:gd name="T23" fmla="*/ 2147483647 h 678"/>
                <a:gd name="T24" fmla="*/ 2147483647 w 600"/>
                <a:gd name="T25" fmla="*/ 2147483647 h 678"/>
                <a:gd name="T26" fmla="*/ 2147483647 w 600"/>
                <a:gd name="T27" fmla="*/ 2147483647 h 678"/>
                <a:gd name="T28" fmla="*/ 2147483647 w 600"/>
                <a:gd name="T29" fmla="*/ 2147483647 h 678"/>
                <a:gd name="T30" fmla="*/ 2147483647 w 600"/>
                <a:gd name="T31" fmla="*/ 2147483647 h 678"/>
                <a:gd name="T32" fmla="*/ 2147483647 w 600"/>
                <a:gd name="T33" fmla="*/ 2147483647 h 678"/>
                <a:gd name="T34" fmla="*/ 2147483647 w 600"/>
                <a:gd name="T35" fmla="*/ 2147483647 h 678"/>
                <a:gd name="T36" fmla="*/ 2147483647 w 600"/>
                <a:gd name="T37" fmla="*/ 2147483647 h 678"/>
                <a:gd name="T38" fmla="*/ 2147483647 w 600"/>
                <a:gd name="T39" fmla="*/ 2147483647 h 678"/>
                <a:gd name="T40" fmla="*/ 2147483647 w 600"/>
                <a:gd name="T41" fmla="*/ 2147483647 h 678"/>
                <a:gd name="T42" fmla="*/ 2147483647 w 600"/>
                <a:gd name="T43" fmla="*/ 2147483647 h 678"/>
                <a:gd name="T44" fmla="*/ 2147483647 w 600"/>
                <a:gd name="T45" fmla="*/ 2147483647 h 678"/>
                <a:gd name="T46" fmla="*/ 2147483647 w 600"/>
                <a:gd name="T47" fmla="*/ 2147483647 h 678"/>
                <a:gd name="T48" fmla="*/ 2147483647 w 600"/>
                <a:gd name="T49" fmla="*/ 2147483647 h 678"/>
                <a:gd name="T50" fmla="*/ 2147483647 w 600"/>
                <a:gd name="T51" fmla="*/ 2147483647 h 678"/>
                <a:gd name="T52" fmla="*/ 2147483647 w 600"/>
                <a:gd name="T53" fmla="*/ 0 h 678"/>
                <a:gd name="T54" fmla="*/ 2147483647 w 600"/>
                <a:gd name="T55" fmla="*/ 2147483647 h 678"/>
                <a:gd name="T56" fmla="*/ 2147483647 w 600"/>
                <a:gd name="T57" fmla="*/ 2147483647 h 678"/>
                <a:gd name="T58" fmla="*/ 0 w 600"/>
                <a:gd name="T59" fmla="*/ 2147483647 h 678"/>
                <a:gd name="T60" fmla="*/ 2147483647 w 600"/>
                <a:gd name="T61" fmla="*/ 2147483647 h 678"/>
                <a:gd name="T62" fmla="*/ 2147483647 w 600"/>
                <a:gd name="T63" fmla="*/ 2147483647 h 678"/>
                <a:gd name="T64" fmla="*/ 2147483647 w 600"/>
                <a:gd name="T65" fmla="*/ 2147483647 h 678"/>
                <a:gd name="T66" fmla="*/ 2147483647 w 600"/>
                <a:gd name="T67" fmla="*/ 2147483647 h 678"/>
                <a:gd name="T68" fmla="*/ 2147483647 w 600"/>
                <a:gd name="T69" fmla="*/ 2147483647 h 678"/>
                <a:gd name="T70" fmla="*/ 2147483647 w 600"/>
                <a:gd name="T71" fmla="*/ 2147483647 h 678"/>
                <a:gd name="T72" fmla="*/ 2147483647 w 600"/>
                <a:gd name="T73" fmla="*/ 2147483647 h 678"/>
                <a:gd name="T74" fmla="*/ 2147483647 w 600"/>
                <a:gd name="T75" fmla="*/ 2147483647 h 678"/>
                <a:gd name="T76" fmla="*/ 2147483647 w 600"/>
                <a:gd name="T77" fmla="*/ 2147483647 h 678"/>
                <a:gd name="T78" fmla="*/ 2147483647 w 600"/>
                <a:gd name="T79" fmla="*/ 2147483647 h 678"/>
                <a:gd name="T80" fmla="*/ 2147483647 w 600"/>
                <a:gd name="T81" fmla="*/ 2147483647 h 678"/>
                <a:gd name="T82" fmla="*/ 2147483647 w 600"/>
                <a:gd name="T83" fmla="*/ 2147483647 h 678"/>
                <a:gd name="T84" fmla="*/ 2147483647 w 600"/>
                <a:gd name="T85" fmla="*/ 2147483647 h 678"/>
                <a:gd name="T86" fmla="*/ 2147483647 w 600"/>
                <a:gd name="T87" fmla="*/ 2147483647 h 678"/>
                <a:gd name="T88" fmla="*/ 2147483647 w 600"/>
                <a:gd name="T89" fmla="*/ 2147483647 h 678"/>
                <a:gd name="T90" fmla="*/ 2147483647 w 600"/>
                <a:gd name="T91" fmla="*/ 2147483647 h 678"/>
                <a:gd name="T92" fmla="*/ 2147483647 w 600"/>
                <a:gd name="T93" fmla="*/ 2147483647 h 678"/>
                <a:gd name="T94" fmla="*/ 2147483647 w 600"/>
                <a:gd name="T95" fmla="*/ 2147483647 h 678"/>
                <a:gd name="T96" fmla="*/ 2147483647 w 600"/>
                <a:gd name="T97" fmla="*/ 2147483647 h 678"/>
                <a:gd name="T98" fmla="*/ 2147483647 w 600"/>
                <a:gd name="T99" fmla="*/ 2147483647 h 678"/>
                <a:gd name="T100" fmla="*/ 2147483647 w 600"/>
                <a:gd name="T101" fmla="*/ 2147483647 h 678"/>
                <a:gd name="T102" fmla="*/ 2147483647 w 600"/>
                <a:gd name="T103" fmla="*/ 2147483647 h 678"/>
                <a:gd name="T104" fmla="*/ 2147483647 w 600"/>
                <a:gd name="T105" fmla="*/ 2147483647 h 678"/>
                <a:gd name="T106" fmla="*/ 2147483647 w 600"/>
                <a:gd name="T107" fmla="*/ 2147483647 h 678"/>
                <a:gd name="T108" fmla="*/ 2147483647 w 600"/>
                <a:gd name="T109" fmla="*/ 2147483647 h 678"/>
                <a:gd name="T110" fmla="*/ 2147483647 w 600"/>
                <a:gd name="T111" fmla="*/ 2147483647 h 678"/>
                <a:gd name="T112" fmla="*/ 2147483647 w 600"/>
                <a:gd name="T113" fmla="*/ 2147483647 h 678"/>
                <a:gd name="T114" fmla="*/ 2147483647 w 600"/>
                <a:gd name="T115" fmla="*/ 2147483647 h 678"/>
                <a:gd name="T116" fmla="*/ 2147483647 w 600"/>
                <a:gd name="T117" fmla="*/ 2147483647 h 678"/>
                <a:gd name="T118" fmla="*/ 2147483647 w 600"/>
                <a:gd name="T119" fmla="*/ 2147483647 h 678"/>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600"/>
                <a:gd name="T181" fmla="*/ 0 h 678"/>
                <a:gd name="T182" fmla="*/ 600 w 600"/>
                <a:gd name="T183" fmla="*/ 678 h 678"/>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600" h="678">
                  <a:moveTo>
                    <a:pt x="480" y="660"/>
                  </a:moveTo>
                  <a:lnTo>
                    <a:pt x="492" y="678"/>
                  </a:lnTo>
                  <a:lnTo>
                    <a:pt x="492" y="660"/>
                  </a:lnTo>
                  <a:lnTo>
                    <a:pt x="498" y="654"/>
                  </a:lnTo>
                  <a:lnTo>
                    <a:pt x="510" y="654"/>
                  </a:lnTo>
                  <a:lnTo>
                    <a:pt x="516" y="660"/>
                  </a:lnTo>
                  <a:lnTo>
                    <a:pt x="516" y="666"/>
                  </a:lnTo>
                  <a:lnTo>
                    <a:pt x="522" y="660"/>
                  </a:lnTo>
                  <a:lnTo>
                    <a:pt x="534" y="636"/>
                  </a:lnTo>
                  <a:lnTo>
                    <a:pt x="546" y="624"/>
                  </a:lnTo>
                  <a:lnTo>
                    <a:pt x="552" y="624"/>
                  </a:lnTo>
                  <a:lnTo>
                    <a:pt x="558" y="618"/>
                  </a:lnTo>
                  <a:lnTo>
                    <a:pt x="570" y="612"/>
                  </a:lnTo>
                  <a:lnTo>
                    <a:pt x="576" y="600"/>
                  </a:lnTo>
                  <a:lnTo>
                    <a:pt x="588" y="594"/>
                  </a:lnTo>
                  <a:lnTo>
                    <a:pt x="588" y="516"/>
                  </a:lnTo>
                  <a:lnTo>
                    <a:pt x="582" y="498"/>
                  </a:lnTo>
                  <a:lnTo>
                    <a:pt x="582" y="486"/>
                  </a:lnTo>
                  <a:lnTo>
                    <a:pt x="588" y="474"/>
                  </a:lnTo>
                  <a:lnTo>
                    <a:pt x="588" y="468"/>
                  </a:lnTo>
                  <a:lnTo>
                    <a:pt x="594" y="462"/>
                  </a:lnTo>
                  <a:lnTo>
                    <a:pt x="594" y="432"/>
                  </a:lnTo>
                  <a:lnTo>
                    <a:pt x="600" y="414"/>
                  </a:lnTo>
                  <a:lnTo>
                    <a:pt x="600" y="396"/>
                  </a:lnTo>
                  <a:lnTo>
                    <a:pt x="594" y="384"/>
                  </a:lnTo>
                  <a:lnTo>
                    <a:pt x="582" y="372"/>
                  </a:lnTo>
                  <a:lnTo>
                    <a:pt x="570" y="366"/>
                  </a:lnTo>
                  <a:lnTo>
                    <a:pt x="558" y="366"/>
                  </a:lnTo>
                  <a:lnTo>
                    <a:pt x="540" y="384"/>
                  </a:lnTo>
                  <a:lnTo>
                    <a:pt x="528" y="384"/>
                  </a:lnTo>
                  <a:lnTo>
                    <a:pt x="516" y="378"/>
                  </a:lnTo>
                  <a:lnTo>
                    <a:pt x="504" y="354"/>
                  </a:lnTo>
                  <a:lnTo>
                    <a:pt x="504" y="336"/>
                  </a:lnTo>
                  <a:lnTo>
                    <a:pt x="498" y="318"/>
                  </a:lnTo>
                  <a:lnTo>
                    <a:pt x="498" y="294"/>
                  </a:lnTo>
                  <a:lnTo>
                    <a:pt x="492" y="276"/>
                  </a:lnTo>
                  <a:lnTo>
                    <a:pt x="492" y="252"/>
                  </a:lnTo>
                  <a:lnTo>
                    <a:pt x="486" y="246"/>
                  </a:lnTo>
                  <a:lnTo>
                    <a:pt x="474" y="240"/>
                  </a:lnTo>
                  <a:lnTo>
                    <a:pt x="402" y="240"/>
                  </a:lnTo>
                  <a:lnTo>
                    <a:pt x="360" y="234"/>
                  </a:lnTo>
                  <a:lnTo>
                    <a:pt x="324" y="222"/>
                  </a:lnTo>
                  <a:lnTo>
                    <a:pt x="318" y="216"/>
                  </a:lnTo>
                  <a:lnTo>
                    <a:pt x="312" y="204"/>
                  </a:lnTo>
                  <a:lnTo>
                    <a:pt x="312" y="162"/>
                  </a:lnTo>
                  <a:lnTo>
                    <a:pt x="318" y="150"/>
                  </a:lnTo>
                  <a:lnTo>
                    <a:pt x="318" y="132"/>
                  </a:lnTo>
                  <a:lnTo>
                    <a:pt x="306" y="132"/>
                  </a:lnTo>
                  <a:lnTo>
                    <a:pt x="306" y="96"/>
                  </a:lnTo>
                  <a:lnTo>
                    <a:pt x="294" y="90"/>
                  </a:lnTo>
                  <a:lnTo>
                    <a:pt x="288" y="84"/>
                  </a:lnTo>
                  <a:lnTo>
                    <a:pt x="288" y="78"/>
                  </a:lnTo>
                  <a:lnTo>
                    <a:pt x="270" y="42"/>
                  </a:lnTo>
                  <a:lnTo>
                    <a:pt x="216" y="0"/>
                  </a:lnTo>
                  <a:lnTo>
                    <a:pt x="138" y="12"/>
                  </a:lnTo>
                  <a:lnTo>
                    <a:pt x="36" y="30"/>
                  </a:lnTo>
                  <a:lnTo>
                    <a:pt x="30" y="60"/>
                  </a:lnTo>
                  <a:lnTo>
                    <a:pt x="18" y="72"/>
                  </a:lnTo>
                  <a:lnTo>
                    <a:pt x="6" y="78"/>
                  </a:lnTo>
                  <a:lnTo>
                    <a:pt x="0" y="84"/>
                  </a:lnTo>
                  <a:lnTo>
                    <a:pt x="0" y="96"/>
                  </a:lnTo>
                  <a:lnTo>
                    <a:pt x="12" y="120"/>
                  </a:lnTo>
                  <a:lnTo>
                    <a:pt x="12" y="126"/>
                  </a:lnTo>
                  <a:lnTo>
                    <a:pt x="18" y="132"/>
                  </a:lnTo>
                  <a:lnTo>
                    <a:pt x="18" y="156"/>
                  </a:lnTo>
                  <a:lnTo>
                    <a:pt x="6" y="228"/>
                  </a:lnTo>
                  <a:lnTo>
                    <a:pt x="6" y="246"/>
                  </a:lnTo>
                  <a:lnTo>
                    <a:pt x="24" y="264"/>
                  </a:lnTo>
                  <a:lnTo>
                    <a:pt x="24" y="270"/>
                  </a:lnTo>
                  <a:lnTo>
                    <a:pt x="30" y="276"/>
                  </a:lnTo>
                  <a:lnTo>
                    <a:pt x="36" y="288"/>
                  </a:lnTo>
                  <a:lnTo>
                    <a:pt x="48" y="294"/>
                  </a:lnTo>
                  <a:lnTo>
                    <a:pt x="54" y="306"/>
                  </a:lnTo>
                  <a:lnTo>
                    <a:pt x="60" y="312"/>
                  </a:lnTo>
                  <a:lnTo>
                    <a:pt x="84" y="324"/>
                  </a:lnTo>
                  <a:lnTo>
                    <a:pt x="102" y="342"/>
                  </a:lnTo>
                  <a:lnTo>
                    <a:pt x="114" y="348"/>
                  </a:lnTo>
                  <a:lnTo>
                    <a:pt x="120" y="366"/>
                  </a:lnTo>
                  <a:lnTo>
                    <a:pt x="126" y="366"/>
                  </a:lnTo>
                  <a:lnTo>
                    <a:pt x="132" y="372"/>
                  </a:lnTo>
                  <a:lnTo>
                    <a:pt x="168" y="390"/>
                  </a:lnTo>
                  <a:lnTo>
                    <a:pt x="198" y="390"/>
                  </a:lnTo>
                  <a:lnTo>
                    <a:pt x="210" y="396"/>
                  </a:lnTo>
                  <a:lnTo>
                    <a:pt x="216" y="402"/>
                  </a:lnTo>
                  <a:lnTo>
                    <a:pt x="228" y="408"/>
                  </a:lnTo>
                  <a:lnTo>
                    <a:pt x="234" y="414"/>
                  </a:lnTo>
                  <a:lnTo>
                    <a:pt x="240" y="414"/>
                  </a:lnTo>
                  <a:lnTo>
                    <a:pt x="246" y="420"/>
                  </a:lnTo>
                  <a:lnTo>
                    <a:pt x="258" y="426"/>
                  </a:lnTo>
                  <a:lnTo>
                    <a:pt x="276" y="438"/>
                  </a:lnTo>
                  <a:lnTo>
                    <a:pt x="312" y="456"/>
                  </a:lnTo>
                  <a:lnTo>
                    <a:pt x="318" y="462"/>
                  </a:lnTo>
                  <a:lnTo>
                    <a:pt x="330" y="462"/>
                  </a:lnTo>
                  <a:lnTo>
                    <a:pt x="342" y="468"/>
                  </a:lnTo>
                  <a:lnTo>
                    <a:pt x="360" y="474"/>
                  </a:lnTo>
                  <a:lnTo>
                    <a:pt x="372" y="480"/>
                  </a:lnTo>
                  <a:lnTo>
                    <a:pt x="378" y="486"/>
                  </a:lnTo>
                  <a:lnTo>
                    <a:pt x="372" y="492"/>
                  </a:lnTo>
                  <a:lnTo>
                    <a:pt x="372" y="504"/>
                  </a:lnTo>
                  <a:lnTo>
                    <a:pt x="366" y="510"/>
                  </a:lnTo>
                  <a:lnTo>
                    <a:pt x="360" y="522"/>
                  </a:lnTo>
                  <a:lnTo>
                    <a:pt x="366" y="528"/>
                  </a:lnTo>
                  <a:lnTo>
                    <a:pt x="372" y="540"/>
                  </a:lnTo>
                  <a:lnTo>
                    <a:pt x="372" y="546"/>
                  </a:lnTo>
                  <a:lnTo>
                    <a:pt x="366" y="552"/>
                  </a:lnTo>
                  <a:lnTo>
                    <a:pt x="348" y="552"/>
                  </a:lnTo>
                  <a:lnTo>
                    <a:pt x="348" y="588"/>
                  </a:lnTo>
                  <a:lnTo>
                    <a:pt x="342" y="594"/>
                  </a:lnTo>
                  <a:lnTo>
                    <a:pt x="336" y="606"/>
                  </a:lnTo>
                  <a:lnTo>
                    <a:pt x="330" y="612"/>
                  </a:lnTo>
                  <a:lnTo>
                    <a:pt x="324" y="624"/>
                  </a:lnTo>
                  <a:lnTo>
                    <a:pt x="324" y="636"/>
                  </a:lnTo>
                  <a:lnTo>
                    <a:pt x="330" y="642"/>
                  </a:lnTo>
                  <a:lnTo>
                    <a:pt x="354" y="642"/>
                  </a:lnTo>
                  <a:lnTo>
                    <a:pt x="366" y="636"/>
                  </a:lnTo>
                  <a:lnTo>
                    <a:pt x="372" y="636"/>
                  </a:lnTo>
                  <a:lnTo>
                    <a:pt x="384" y="642"/>
                  </a:lnTo>
                  <a:lnTo>
                    <a:pt x="390" y="648"/>
                  </a:lnTo>
                  <a:lnTo>
                    <a:pt x="402" y="654"/>
                  </a:lnTo>
                  <a:lnTo>
                    <a:pt x="420" y="660"/>
                  </a:lnTo>
                  <a:lnTo>
                    <a:pt x="480" y="660"/>
                  </a:lnTo>
                  <a:close/>
                </a:path>
              </a:pathLst>
            </a:custGeom>
            <a:grpFill/>
            <a:ln w="3175">
              <a:solidFill>
                <a:schemeClr val="bg1"/>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de-DE" sz="1800" b="0" i="0" u="none" strike="noStrike" kern="1200" cap="none" spc="0" normalizeH="0" baseline="0" noProof="0">
                <a:ln>
                  <a:noFill/>
                </a:ln>
                <a:solidFill>
                  <a:srgbClr val="FFC000"/>
                </a:solidFill>
                <a:effectLst/>
                <a:uLnTx/>
                <a:uFillTx/>
                <a:latin typeface="Calibri" pitchFamily="34" charset="0"/>
                <a:ea typeface="+mn-ea"/>
                <a:cs typeface="+mn-cs"/>
              </a:endParaRPr>
            </a:p>
          </p:txBody>
        </p:sp>
        <p:sp>
          <p:nvSpPr>
            <p:cNvPr id="69" name="Papua New Guinea" descr="© INSCALE GmbH, 05.05.2010&#10;http://www.presentationload.com/"/>
            <p:cNvSpPr>
              <a:spLocks noEditPoints="1"/>
            </p:cNvSpPr>
            <p:nvPr/>
          </p:nvSpPr>
          <p:spPr bwMode="gray">
            <a:xfrm>
              <a:off x="7708856" y="4350337"/>
              <a:ext cx="353236" cy="226586"/>
            </a:xfrm>
            <a:custGeom>
              <a:avLst/>
              <a:gdLst>
                <a:gd name="T0" fmla="*/ 2147483647 w 1086"/>
                <a:gd name="T1" fmla="*/ 2147483647 h 726"/>
                <a:gd name="T2" fmla="*/ 2147483647 w 1086"/>
                <a:gd name="T3" fmla="*/ 2147483647 h 726"/>
                <a:gd name="T4" fmla="*/ 2147483647 w 1086"/>
                <a:gd name="T5" fmla="*/ 2147483647 h 726"/>
                <a:gd name="T6" fmla="*/ 2147483647 w 1086"/>
                <a:gd name="T7" fmla="*/ 2147483647 h 726"/>
                <a:gd name="T8" fmla="*/ 2147483647 w 1086"/>
                <a:gd name="T9" fmla="*/ 2147483647 h 726"/>
                <a:gd name="T10" fmla="*/ 2147483647 w 1086"/>
                <a:gd name="T11" fmla="*/ 2147483647 h 726"/>
                <a:gd name="T12" fmla="*/ 2147483647 w 1086"/>
                <a:gd name="T13" fmla="*/ 2147483647 h 726"/>
                <a:gd name="T14" fmla="*/ 2147483647 w 1086"/>
                <a:gd name="T15" fmla="*/ 2147483647 h 726"/>
                <a:gd name="T16" fmla="*/ 2147483647 w 1086"/>
                <a:gd name="T17" fmla="*/ 2147483647 h 726"/>
                <a:gd name="T18" fmla="*/ 2147483647 w 1086"/>
                <a:gd name="T19" fmla="*/ 2147483647 h 726"/>
                <a:gd name="T20" fmla="*/ 2147483647 w 1086"/>
                <a:gd name="T21" fmla="*/ 2147483647 h 726"/>
                <a:gd name="T22" fmla="*/ 2147483647 w 1086"/>
                <a:gd name="T23" fmla="*/ 2147483647 h 726"/>
                <a:gd name="T24" fmla="*/ 2147483647 w 1086"/>
                <a:gd name="T25" fmla="*/ 2147483647 h 726"/>
                <a:gd name="T26" fmla="*/ 2147483647 w 1086"/>
                <a:gd name="T27" fmla="*/ 2147483647 h 726"/>
                <a:gd name="T28" fmla="*/ 2147483647 w 1086"/>
                <a:gd name="T29" fmla="*/ 2147483647 h 726"/>
                <a:gd name="T30" fmla="*/ 2147483647 w 1086"/>
                <a:gd name="T31" fmla="*/ 2147483647 h 726"/>
                <a:gd name="T32" fmla="*/ 2147483647 w 1086"/>
                <a:gd name="T33" fmla="*/ 2147483647 h 726"/>
                <a:gd name="T34" fmla="*/ 2147483647 w 1086"/>
                <a:gd name="T35" fmla="*/ 2147483647 h 726"/>
                <a:gd name="T36" fmla="*/ 2147483647 w 1086"/>
                <a:gd name="T37" fmla="*/ 2147483647 h 726"/>
                <a:gd name="T38" fmla="*/ 2147483647 w 1086"/>
                <a:gd name="T39" fmla="*/ 2147483647 h 726"/>
                <a:gd name="T40" fmla="*/ 2147483647 w 1086"/>
                <a:gd name="T41" fmla="*/ 2147483647 h 726"/>
                <a:gd name="T42" fmla="*/ 2147483647 w 1086"/>
                <a:gd name="T43" fmla="*/ 2147483647 h 726"/>
                <a:gd name="T44" fmla="*/ 2147483647 w 1086"/>
                <a:gd name="T45" fmla="*/ 2147483647 h 726"/>
                <a:gd name="T46" fmla="*/ 2147483647 w 1086"/>
                <a:gd name="T47" fmla="*/ 2147483647 h 726"/>
                <a:gd name="T48" fmla="*/ 2147483647 w 1086"/>
                <a:gd name="T49" fmla="*/ 2147483647 h 726"/>
                <a:gd name="T50" fmla="*/ 2147483647 w 1086"/>
                <a:gd name="T51" fmla="*/ 2147483647 h 726"/>
                <a:gd name="T52" fmla="*/ 2147483647 w 1086"/>
                <a:gd name="T53" fmla="*/ 2147483647 h 726"/>
                <a:gd name="T54" fmla="*/ 2147483647 w 1086"/>
                <a:gd name="T55" fmla="*/ 2147483647 h 726"/>
                <a:gd name="T56" fmla="*/ 2147483647 w 1086"/>
                <a:gd name="T57" fmla="*/ 2147483647 h 726"/>
                <a:gd name="T58" fmla="*/ 2147483647 w 1086"/>
                <a:gd name="T59" fmla="*/ 2147483647 h 726"/>
                <a:gd name="T60" fmla="*/ 2147483647 w 1086"/>
                <a:gd name="T61" fmla="*/ 2147483647 h 726"/>
                <a:gd name="T62" fmla="*/ 2147483647 w 1086"/>
                <a:gd name="T63" fmla="*/ 2147483647 h 726"/>
                <a:gd name="T64" fmla="*/ 2147483647 w 1086"/>
                <a:gd name="T65" fmla="*/ 2147483647 h 726"/>
                <a:gd name="T66" fmla="*/ 2147483647 w 1086"/>
                <a:gd name="T67" fmla="*/ 2147483647 h 726"/>
                <a:gd name="T68" fmla="*/ 2147483647 w 1086"/>
                <a:gd name="T69" fmla="*/ 2147483647 h 726"/>
                <a:gd name="T70" fmla="*/ 2147483647 w 1086"/>
                <a:gd name="T71" fmla="*/ 2147483647 h 726"/>
                <a:gd name="T72" fmla="*/ 2147483647 w 1086"/>
                <a:gd name="T73" fmla="*/ 2147483647 h 726"/>
                <a:gd name="T74" fmla="*/ 2147483647 w 1086"/>
                <a:gd name="T75" fmla="*/ 2147483647 h 726"/>
                <a:gd name="T76" fmla="*/ 2147483647 w 1086"/>
                <a:gd name="T77" fmla="*/ 2147483647 h 726"/>
                <a:gd name="T78" fmla="*/ 2147483647 w 1086"/>
                <a:gd name="T79" fmla="*/ 2147483647 h 726"/>
                <a:gd name="T80" fmla="*/ 2147483647 w 1086"/>
                <a:gd name="T81" fmla="*/ 2147483647 h 726"/>
                <a:gd name="T82" fmla="*/ 2147483647 w 1086"/>
                <a:gd name="T83" fmla="*/ 2147483647 h 726"/>
                <a:gd name="T84" fmla="*/ 2147483647 w 1086"/>
                <a:gd name="T85" fmla="*/ 2147483647 h 726"/>
                <a:gd name="T86" fmla="*/ 2147483647 w 1086"/>
                <a:gd name="T87" fmla="*/ 2147483647 h 726"/>
                <a:gd name="T88" fmla="*/ 2147483647 w 1086"/>
                <a:gd name="T89" fmla="*/ 2147483647 h 726"/>
                <a:gd name="T90" fmla="*/ 2147483647 w 1086"/>
                <a:gd name="T91" fmla="*/ 2147483647 h 726"/>
                <a:gd name="T92" fmla="*/ 2147483647 w 1086"/>
                <a:gd name="T93" fmla="*/ 2147483647 h 726"/>
                <a:gd name="T94" fmla="*/ 2147483647 w 1086"/>
                <a:gd name="T95" fmla="*/ 2147483647 h 726"/>
                <a:gd name="T96" fmla="*/ 2147483647 w 1086"/>
                <a:gd name="T97" fmla="*/ 2147483647 h 726"/>
                <a:gd name="T98" fmla="*/ 2147483647 w 1086"/>
                <a:gd name="T99" fmla="*/ 2147483647 h 726"/>
                <a:gd name="T100" fmla="*/ 2147483647 w 1086"/>
                <a:gd name="T101" fmla="*/ 2147483647 h 726"/>
                <a:gd name="T102" fmla="*/ 2147483647 w 1086"/>
                <a:gd name="T103" fmla="*/ 2147483647 h 726"/>
                <a:gd name="T104" fmla="*/ 2147483647 w 1086"/>
                <a:gd name="T105" fmla="*/ 2147483647 h 726"/>
                <a:gd name="T106" fmla="*/ 2147483647 w 1086"/>
                <a:gd name="T107" fmla="*/ 2147483647 h 726"/>
                <a:gd name="T108" fmla="*/ 2147483647 w 1086"/>
                <a:gd name="T109" fmla="*/ 2147483647 h 726"/>
                <a:gd name="T110" fmla="*/ 2147483647 w 1086"/>
                <a:gd name="T111" fmla="*/ 2147483647 h 726"/>
                <a:gd name="T112" fmla="*/ 2147483647 w 1086"/>
                <a:gd name="T113" fmla="*/ 2147483647 h 72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1086"/>
                <a:gd name="T172" fmla="*/ 0 h 726"/>
                <a:gd name="T173" fmla="*/ 1086 w 1086"/>
                <a:gd name="T174" fmla="*/ 726 h 72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1086" h="726">
                  <a:moveTo>
                    <a:pt x="486" y="0"/>
                  </a:moveTo>
                  <a:lnTo>
                    <a:pt x="462" y="0"/>
                  </a:lnTo>
                  <a:lnTo>
                    <a:pt x="450" y="6"/>
                  </a:lnTo>
                  <a:lnTo>
                    <a:pt x="444" y="12"/>
                  </a:lnTo>
                  <a:lnTo>
                    <a:pt x="432" y="18"/>
                  </a:lnTo>
                  <a:lnTo>
                    <a:pt x="462" y="36"/>
                  </a:lnTo>
                  <a:lnTo>
                    <a:pt x="474" y="36"/>
                  </a:lnTo>
                  <a:lnTo>
                    <a:pt x="486" y="30"/>
                  </a:lnTo>
                  <a:lnTo>
                    <a:pt x="498" y="18"/>
                  </a:lnTo>
                  <a:lnTo>
                    <a:pt x="492" y="6"/>
                  </a:lnTo>
                  <a:lnTo>
                    <a:pt x="486" y="0"/>
                  </a:lnTo>
                  <a:close/>
                  <a:moveTo>
                    <a:pt x="756" y="216"/>
                  </a:moveTo>
                  <a:lnTo>
                    <a:pt x="750" y="222"/>
                  </a:lnTo>
                  <a:lnTo>
                    <a:pt x="750" y="228"/>
                  </a:lnTo>
                  <a:lnTo>
                    <a:pt x="756" y="234"/>
                  </a:lnTo>
                  <a:lnTo>
                    <a:pt x="768" y="240"/>
                  </a:lnTo>
                  <a:lnTo>
                    <a:pt x="774" y="246"/>
                  </a:lnTo>
                  <a:lnTo>
                    <a:pt x="774" y="264"/>
                  </a:lnTo>
                  <a:lnTo>
                    <a:pt x="702" y="300"/>
                  </a:lnTo>
                  <a:lnTo>
                    <a:pt x="666" y="300"/>
                  </a:lnTo>
                  <a:lnTo>
                    <a:pt x="630" y="312"/>
                  </a:lnTo>
                  <a:lnTo>
                    <a:pt x="594" y="330"/>
                  </a:lnTo>
                  <a:lnTo>
                    <a:pt x="588" y="336"/>
                  </a:lnTo>
                  <a:lnTo>
                    <a:pt x="570" y="336"/>
                  </a:lnTo>
                  <a:lnTo>
                    <a:pt x="564" y="342"/>
                  </a:lnTo>
                  <a:lnTo>
                    <a:pt x="588" y="378"/>
                  </a:lnTo>
                  <a:lnTo>
                    <a:pt x="684" y="378"/>
                  </a:lnTo>
                  <a:lnTo>
                    <a:pt x="702" y="366"/>
                  </a:lnTo>
                  <a:lnTo>
                    <a:pt x="738" y="366"/>
                  </a:lnTo>
                  <a:lnTo>
                    <a:pt x="750" y="360"/>
                  </a:lnTo>
                  <a:lnTo>
                    <a:pt x="774" y="336"/>
                  </a:lnTo>
                  <a:lnTo>
                    <a:pt x="774" y="330"/>
                  </a:lnTo>
                  <a:lnTo>
                    <a:pt x="804" y="324"/>
                  </a:lnTo>
                  <a:lnTo>
                    <a:pt x="798" y="300"/>
                  </a:lnTo>
                  <a:lnTo>
                    <a:pt x="822" y="300"/>
                  </a:lnTo>
                  <a:lnTo>
                    <a:pt x="822" y="288"/>
                  </a:lnTo>
                  <a:lnTo>
                    <a:pt x="828" y="258"/>
                  </a:lnTo>
                  <a:lnTo>
                    <a:pt x="828" y="228"/>
                  </a:lnTo>
                  <a:lnTo>
                    <a:pt x="822" y="198"/>
                  </a:lnTo>
                  <a:lnTo>
                    <a:pt x="816" y="192"/>
                  </a:lnTo>
                  <a:lnTo>
                    <a:pt x="804" y="186"/>
                  </a:lnTo>
                  <a:lnTo>
                    <a:pt x="792" y="192"/>
                  </a:lnTo>
                  <a:lnTo>
                    <a:pt x="786" y="198"/>
                  </a:lnTo>
                  <a:lnTo>
                    <a:pt x="762" y="210"/>
                  </a:lnTo>
                  <a:lnTo>
                    <a:pt x="756" y="216"/>
                  </a:lnTo>
                  <a:close/>
                  <a:moveTo>
                    <a:pt x="834" y="132"/>
                  </a:moveTo>
                  <a:lnTo>
                    <a:pt x="822" y="132"/>
                  </a:lnTo>
                  <a:lnTo>
                    <a:pt x="816" y="120"/>
                  </a:lnTo>
                  <a:lnTo>
                    <a:pt x="804" y="108"/>
                  </a:lnTo>
                  <a:lnTo>
                    <a:pt x="792" y="102"/>
                  </a:lnTo>
                  <a:lnTo>
                    <a:pt x="786" y="90"/>
                  </a:lnTo>
                  <a:lnTo>
                    <a:pt x="774" y="78"/>
                  </a:lnTo>
                  <a:lnTo>
                    <a:pt x="768" y="78"/>
                  </a:lnTo>
                  <a:lnTo>
                    <a:pt x="762" y="72"/>
                  </a:lnTo>
                  <a:lnTo>
                    <a:pt x="756" y="72"/>
                  </a:lnTo>
                  <a:lnTo>
                    <a:pt x="732" y="36"/>
                  </a:lnTo>
                  <a:lnTo>
                    <a:pt x="720" y="84"/>
                  </a:lnTo>
                  <a:lnTo>
                    <a:pt x="762" y="96"/>
                  </a:lnTo>
                  <a:lnTo>
                    <a:pt x="816" y="150"/>
                  </a:lnTo>
                  <a:lnTo>
                    <a:pt x="828" y="150"/>
                  </a:lnTo>
                  <a:lnTo>
                    <a:pt x="834" y="156"/>
                  </a:lnTo>
                  <a:lnTo>
                    <a:pt x="846" y="162"/>
                  </a:lnTo>
                  <a:lnTo>
                    <a:pt x="852" y="174"/>
                  </a:lnTo>
                  <a:lnTo>
                    <a:pt x="852" y="180"/>
                  </a:lnTo>
                  <a:lnTo>
                    <a:pt x="858" y="192"/>
                  </a:lnTo>
                  <a:lnTo>
                    <a:pt x="852" y="204"/>
                  </a:lnTo>
                  <a:lnTo>
                    <a:pt x="852" y="240"/>
                  </a:lnTo>
                  <a:lnTo>
                    <a:pt x="858" y="252"/>
                  </a:lnTo>
                  <a:lnTo>
                    <a:pt x="864" y="258"/>
                  </a:lnTo>
                  <a:lnTo>
                    <a:pt x="882" y="258"/>
                  </a:lnTo>
                  <a:lnTo>
                    <a:pt x="894" y="246"/>
                  </a:lnTo>
                  <a:lnTo>
                    <a:pt x="900" y="234"/>
                  </a:lnTo>
                  <a:lnTo>
                    <a:pt x="900" y="222"/>
                  </a:lnTo>
                  <a:lnTo>
                    <a:pt x="888" y="186"/>
                  </a:lnTo>
                  <a:lnTo>
                    <a:pt x="876" y="174"/>
                  </a:lnTo>
                  <a:lnTo>
                    <a:pt x="864" y="156"/>
                  </a:lnTo>
                  <a:lnTo>
                    <a:pt x="852" y="150"/>
                  </a:lnTo>
                  <a:lnTo>
                    <a:pt x="846" y="138"/>
                  </a:lnTo>
                  <a:lnTo>
                    <a:pt x="834" y="132"/>
                  </a:lnTo>
                  <a:close/>
                  <a:moveTo>
                    <a:pt x="1086" y="360"/>
                  </a:moveTo>
                  <a:lnTo>
                    <a:pt x="1020" y="294"/>
                  </a:lnTo>
                  <a:lnTo>
                    <a:pt x="1020" y="288"/>
                  </a:lnTo>
                  <a:lnTo>
                    <a:pt x="1002" y="270"/>
                  </a:lnTo>
                  <a:lnTo>
                    <a:pt x="984" y="270"/>
                  </a:lnTo>
                  <a:lnTo>
                    <a:pt x="978" y="276"/>
                  </a:lnTo>
                  <a:lnTo>
                    <a:pt x="978" y="300"/>
                  </a:lnTo>
                  <a:lnTo>
                    <a:pt x="996" y="330"/>
                  </a:lnTo>
                  <a:lnTo>
                    <a:pt x="1020" y="378"/>
                  </a:lnTo>
                  <a:lnTo>
                    <a:pt x="1086" y="438"/>
                  </a:lnTo>
                  <a:lnTo>
                    <a:pt x="1086" y="360"/>
                  </a:lnTo>
                  <a:close/>
                  <a:moveTo>
                    <a:pt x="672" y="672"/>
                  </a:moveTo>
                  <a:lnTo>
                    <a:pt x="630" y="642"/>
                  </a:lnTo>
                  <a:lnTo>
                    <a:pt x="648" y="630"/>
                  </a:lnTo>
                  <a:lnTo>
                    <a:pt x="636" y="630"/>
                  </a:lnTo>
                  <a:lnTo>
                    <a:pt x="624" y="624"/>
                  </a:lnTo>
                  <a:lnTo>
                    <a:pt x="612" y="624"/>
                  </a:lnTo>
                  <a:lnTo>
                    <a:pt x="600" y="618"/>
                  </a:lnTo>
                  <a:lnTo>
                    <a:pt x="594" y="606"/>
                  </a:lnTo>
                  <a:lnTo>
                    <a:pt x="594" y="594"/>
                  </a:lnTo>
                  <a:lnTo>
                    <a:pt x="600" y="582"/>
                  </a:lnTo>
                  <a:lnTo>
                    <a:pt x="600" y="564"/>
                  </a:lnTo>
                  <a:lnTo>
                    <a:pt x="588" y="570"/>
                  </a:lnTo>
                  <a:lnTo>
                    <a:pt x="582" y="570"/>
                  </a:lnTo>
                  <a:lnTo>
                    <a:pt x="570" y="576"/>
                  </a:lnTo>
                  <a:lnTo>
                    <a:pt x="564" y="576"/>
                  </a:lnTo>
                  <a:lnTo>
                    <a:pt x="552" y="582"/>
                  </a:lnTo>
                  <a:lnTo>
                    <a:pt x="552" y="552"/>
                  </a:lnTo>
                  <a:lnTo>
                    <a:pt x="528" y="540"/>
                  </a:lnTo>
                  <a:lnTo>
                    <a:pt x="528" y="492"/>
                  </a:lnTo>
                  <a:lnTo>
                    <a:pt x="474" y="456"/>
                  </a:lnTo>
                  <a:lnTo>
                    <a:pt x="450" y="402"/>
                  </a:lnTo>
                  <a:lnTo>
                    <a:pt x="474" y="390"/>
                  </a:lnTo>
                  <a:lnTo>
                    <a:pt x="480" y="384"/>
                  </a:lnTo>
                  <a:lnTo>
                    <a:pt x="492" y="378"/>
                  </a:lnTo>
                  <a:lnTo>
                    <a:pt x="504" y="366"/>
                  </a:lnTo>
                  <a:lnTo>
                    <a:pt x="504" y="360"/>
                  </a:lnTo>
                  <a:lnTo>
                    <a:pt x="492" y="336"/>
                  </a:lnTo>
                  <a:lnTo>
                    <a:pt x="468" y="324"/>
                  </a:lnTo>
                  <a:lnTo>
                    <a:pt x="462" y="318"/>
                  </a:lnTo>
                  <a:lnTo>
                    <a:pt x="456" y="318"/>
                  </a:lnTo>
                  <a:lnTo>
                    <a:pt x="450" y="312"/>
                  </a:lnTo>
                  <a:lnTo>
                    <a:pt x="438" y="312"/>
                  </a:lnTo>
                  <a:lnTo>
                    <a:pt x="402" y="300"/>
                  </a:lnTo>
                  <a:lnTo>
                    <a:pt x="390" y="300"/>
                  </a:lnTo>
                  <a:lnTo>
                    <a:pt x="378" y="294"/>
                  </a:lnTo>
                  <a:lnTo>
                    <a:pt x="372" y="294"/>
                  </a:lnTo>
                  <a:lnTo>
                    <a:pt x="372" y="234"/>
                  </a:lnTo>
                  <a:lnTo>
                    <a:pt x="366" y="222"/>
                  </a:lnTo>
                  <a:lnTo>
                    <a:pt x="354" y="210"/>
                  </a:lnTo>
                  <a:lnTo>
                    <a:pt x="342" y="210"/>
                  </a:lnTo>
                  <a:lnTo>
                    <a:pt x="288" y="156"/>
                  </a:lnTo>
                  <a:lnTo>
                    <a:pt x="252" y="162"/>
                  </a:lnTo>
                  <a:lnTo>
                    <a:pt x="216" y="126"/>
                  </a:lnTo>
                  <a:lnTo>
                    <a:pt x="186" y="120"/>
                  </a:lnTo>
                  <a:lnTo>
                    <a:pt x="66" y="60"/>
                  </a:lnTo>
                  <a:lnTo>
                    <a:pt x="42" y="72"/>
                  </a:lnTo>
                  <a:lnTo>
                    <a:pt x="0" y="42"/>
                  </a:lnTo>
                  <a:lnTo>
                    <a:pt x="42" y="72"/>
                  </a:lnTo>
                  <a:lnTo>
                    <a:pt x="36" y="102"/>
                  </a:lnTo>
                  <a:lnTo>
                    <a:pt x="36" y="240"/>
                  </a:lnTo>
                  <a:lnTo>
                    <a:pt x="30" y="258"/>
                  </a:lnTo>
                  <a:lnTo>
                    <a:pt x="30" y="372"/>
                  </a:lnTo>
                  <a:lnTo>
                    <a:pt x="24" y="378"/>
                  </a:lnTo>
                  <a:lnTo>
                    <a:pt x="12" y="384"/>
                  </a:lnTo>
                  <a:lnTo>
                    <a:pt x="0" y="396"/>
                  </a:lnTo>
                  <a:lnTo>
                    <a:pt x="0" y="402"/>
                  </a:lnTo>
                  <a:lnTo>
                    <a:pt x="6" y="408"/>
                  </a:lnTo>
                  <a:lnTo>
                    <a:pt x="18" y="414"/>
                  </a:lnTo>
                  <a:lnTo>
                    <a:pt x="30" y="414"/>
                  </a:lnTo>
                  <a:lnTo>
                    <a:pt x="30" y="444"/>
                  </a:lnTo>
                  <a:lnTo>
                    <a:pt x="24" y="456"/>
                  </a:lnTo>
                  <a:lnTo>
                    <a:pt x="24" y="480"/>
                  </a:lnTo>
                  <a:lnTo>
                    <a:pt x="18" y="492"/>
                  </a:lnTo>
                  <a:lnTo>
                    <a:pt x="18" y="504"/>
                  </a:lnTo>
                  <a:lnTo>
                    <a:pt x="12" y="510"/>
                  </a:lnTo>
                  <a:lnTo>
                    <a:pt x="12" y="516"/>
                  </a:lnTo>
                  <a:lnTo>
                    <a:pt x="18" y="540"/>
                  </a:lnTo>
                  <a:lnTo>
                    <a:pt x="18" y="588"/>
                  </a:lnTo>
                  <a:lnTo>
                    <a:pt x="30" y="594"/>
                  </a:lnTo>
                  <a:lnTo>
                    <a:pt x="48" y="594"/>
                  </a:lnTo>
                  <a:lnTo>
                    <a:pt x="60" y="588"/>
                  </a:lnTo>
                  <a:lnTo>
                    <a:pt x="90" y="588"/>
                  </a:lnTo>
                  <a:lnTo>
                    <a:pt x="96" y="582"/>
                  </a:lnTo>
                  <a:lnTo>
                    <a:pt x="102" y="582"/>
                  </a:lnTo>
                  <a:lnTo>
                    <a:pt x="126" y="600"/>
                  </a:lnTo>
                  <a:lnTo>
                    <a:pt x="132" y="600"/>
                  </a:lnTo>
                  <a:lnTo>
                    <a:pt x="138" y="594"/>
                  </a:lnTo>
                  <a:lnTo>
                    <a:pt x="156" y="588"/>
                  </a:lnTo>
                  <a:lnTo>
                    <a:pt x="168" y="582"/>
                  </a:lnTo>
                  <a:lnTo>
                    <a:pt x="180" y="570"/>
                  </a:lnTo>
                  <a:lnTo>
                    <a:pt x="180" y="564"/>
                  </a:lnTo>
                  <a:lnTo>
                    <a:pt x="168" y="552"/>
                  </a:lnTo>
                  <a:lnTo>
                    <a:pt x="150" y="540"/>
                  </a:lnTo>
                  <a:lnTo>
                    <a:pt x="138" y="534"/>
                  </a:lnTo>
                  <a:lnTo>
                    <a:pt x="120" y="522"/>
                  </a:lnTo>
                  <a:lnTo>
                    <a:pt x="108" y="516"/>
                  </a:lnTo>
                  <a:lnTo>
                    <a:pt x="102" y="510"/>
                  </a:lnTo>
                  <a:lnTo>
                    <a:pt x="96" y="510"/>
                  </a:lnTo>
                  <a:lnTo>
                    <a:pt x="108" y="510"/>
                  </a:lnTo>
                  <a:lnTo>
                    <a:pt x="138" y="516"/>
                  </a:lnTo>
                  <a:lnTo>
                    <a:pt x="204" y="516"/>
                  </a:lnTo>
                  <a:lnTo>
                    <a:pt x="204" y="510"/>
                  </a:lnTo>
                  <a:lnTo>
                    <a:pt x="198" y="504"/>
                  </a:lnTo>
                  <a:lnTo>
                    <a:pt x="198" y="498"/>
                  </a:lnTo>
                  <a:lnTo>
                    <a:pt x="186" y="486"/>
                  </a:lnTo>
                  <a:lnTo>
                    <a:pt x="192" y="492"/>
                  </a:lnTo>
                  <a:lnTo>
                    <a:pt x="204" y="492"/>
                  </a:lnTo>
                  <a:lnTo>
                    <a:pt x="210" y="498"/>
                  </a:lnTo>
                  <a:lnTo>
                    <a:pt x="216" y="498"/>
                  </a:lnTo>
                  <a:lnTo>
                    <a:pt x="222" y="492"/>
                  </a:lnTo>
                  <a:lnTo>
                    <a:pt x="222" y="486"/>
                  </a:lnTo>
                  <a:lnTo>
                    <a:pt x="216" y="480"/>
                  </a:lnTo>
                  <a:lnTo>
                    <a:pt x="216" y="468"/>
                  </a:lnTo>
                  <a:lnTo>
                    <a:pt x="210" y="462"/>
                  </a:lnTo>
                  <a:lnTo>
                    <a:pt x="222" y="468"/>
                  </a:lnTo>
                  <a:lnTo>
                    <a:pt x="228" y="474"/>
                  </a:lnTo>
                  <a:lnTo>
                    <a:pt x="246" y="474"/>
                  </a:lnTo>
                  <a:lnTo>
                    <a:pt x="252" y="468"/>
                  </a:lnTo>
                  <a:lnTo>
                    <a:pt x="264" y="462"/>
                  </a:lnTo>
                  <a:lnTo>
                    <a:pt x="270" y="456"/>
                  </a:lnTo>
                  <a:lnTo>
                    <a:pt x="288" y="474"/>
                  </a:lnTo>
                  <a:lnTo>
                    <a:pt x="300" y="480"/>
                  </a:lnTo>
                  <a:lnTo>
                    <a:pt x="306" y="486"/>
                  </a:lnTo>
                  <a:lnTo>
                    <a:pt x="312" y="486"/>
                  </a:lnTo>
                  <a:lnTo>
                    <a:pt x="330" y="492"/>
                  </a:lnTo>
                  <a:lnTo>
                    <a:pt x="342" y="492"/>
                  </a:lnTo>
                  <a:lnTo>
                    <a:pt x="378" y="504"/>
                  </a:lnTo>
                  <a:lnTo>
                    <a:pt x="390" y="510"/>
                  </a:lnTo>
                  <a:lnTo>
                    <a:pt x="402" y="534"/>
                  </a:lnTo>
                  <a:lnTo>
                    <a:pt x="402" y="558"/>
                  </a:lnTo>
                  <a:lnTo>
                    <a:pt x="408" y="570"/>
                  </a:lnTo>
                  <a:lnTo>
                    <a:pt x="420" y="582"/>
                  </a:lnTo>
                  <a:lnTo>
                    <a:pt x="438" y="582"/>
                  </a:lnTo>
                  <a:lnTo>
                    <a:pt x="450" y="594"/>
                  </a:lnTo>
                  <a:lnTo>
                    <a:pt x="450" y="606"/>
                  </a:lnTo>
                  <a:lnTo>
                    <a:pt x="456" y="618"/>
                  </a:lnTo>
                  <a:lnTo>
                    <a:pt x="468" y="654"/>
                  </a:lnTo>
                  <a:lnTo>
                    <a:pt x="486" y="672"/>
                  </a:lnTo>
                  <a:lnTo>
                    <a:pt x="516" y="678"/>
                  </a:lnTo>
                  <a:lnTo>
                    <a:pt x="558" y="684"/>
                  </a:lnTo>
                  <a:lnTo>
                    <a:pt x="618" y="684"/>
                  </a:lnTo>
                  <a:lnTo>
                    <a:pt x="630" y="690"/>
                  </a:lnTo>
                  <a:lnTo>
                    <a:pt x="654" y="714"/>
                  </a:lnTo>
                  <a:lnTo>
                    <a:pt x="678" y="726"/>
                  </a:lnTo>
                  <a:lnTo>
                    <a:pt x="684" y="726"/>
                  </a:lnTo>
                  <a:lnTo>
                    <a:pt x="684" y="720"/>
                  </a:lnTo>
                  <a:lnTo>
                    <a:pt x="678" y="708"/>
                  </a:lnTo>
                  <a:lnTo>
                    <a:pt x="678" y="702"/>
                  </a:lnTo>
                  <a:lnTo>
                    <a:pt x="672" y="690"/>
                  </a:lnTo>
                  <a:lnTo>
                    <a:pt x="666" y="684"/>
                  </a:lnTo>
                  <a:lnTo>
                    <a:pt x="672" y="672"/>
                  </a:lnTo>
                  <a:close/>
                </a:path>
              </a:pathLst>
            </a:custGeom>
            <a:grpFill/>
            <a:ln w="3175">
              <a:solidFill>
                <a:schemeClr val="bg1"/>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de-DE" sz="1800" b="0" i="0" u="none" strike="noStrike" kern="1200" cap="none" spc="0" normalizeH="0" baseline="0" noProof="0">
                <a:ln>
                  <a:noFill/>
                </a:ln>
                <a:solidFill>
                  <a:srgbClr val="FFC000"/>
                </a:solidFill>
                <a:effectLst/>
                <a:uLnTx/>
                <a:uFillTx/>
                <a:latin typeface="Calibri" pitchFamily="34" charset="0"/>
                <a:ea typeface="+mn-ea"/>
                <a:cs typeface="+mn-cs"/>
              </a:endParaRPr>
            </a:p>
          </p:txBody>
        </p:sp>
        <p:sp>
          <p:nvSpPr>
            <p:cNvPr id="70" name="Panama" descr="© INSCALE GmbH, 05.05.2010&#10;http://www.presentationload.com/"/>
            <p:cNvSpPr>
              <a:spLocks/>
            </p:cNvSpPr>
            <p:nvPr/>
          </p:nvSpPr>
          <p:spPr bwMode="gray">
            <a:xfrm>
              <a:off x="2557497" y="4063737"/>
              <a:ext cx="131824" cy="61239"/>
            </a:xfrm>
            <a:custGeom>
              <a:avLst/>
              <a:gdLst>
                <a:gd name="T0" fmla="*/ 2147483647 w 408"/>
                <a:gd name="T1" fmla="*/ 2147483647 h 198"/>
                <a:gd name="T2" fmla="*/ 2147483647 w 408"/>
                <a:gd name="T3" fmla="*/ 2147483647 h 198"/>
                <a:gd name="T4" fmla="*/ 2147483647 w 408"/>
                <a:gd name="T5" fmla="*/ 2147483647 h 198"/>
                <a:gd name="T6" fmla="*/ 2147483647 w 408"/>
                <a:gd name="T7" fmla="*/ 2147483647 h 198"/>
                <a:gd name="T8" fmla="*/ 2147483647 w 408"/>
                <a:gd name="T9" fmla="*/ 2147483647 h 198"/>
                <a:gd name="T10" fmla="*/ 2147483647 w 408"/>
                <a:gd name="T11" fmla="*/ 2147483647 h 198"/>
                <a:gd name="T12" fmla="*/ 2147483647 w 408"/>
                <a:gd name="T13" fmla="*/ 2147483647 h 198"/>
                <a:gd name="T14" fmla="*/ 2147483647 w 408"/>
                <a:gd name="T15" fmla="*/ 2147483647 h 198"/>
                <a:gd name="T16" fmla="*/ 2147483647 w 408"/>
                <a:gd name="T17" fmla="*/ 2147483647 h 198"/>
                <a:gd name="T18" fmla="*/ 2147483647 w 408"/>
                <a:gd name="T19" fmla="*/ 2147483647 h 198"/>
                <a:gd name="T20" fmla="*/ 2147483647 w 408"/>
                <a:gd name="T21" fmla="*/ 2147483647 h 198"/>
                <a:gd name="T22" fmla="*/ 2147483647 w 408"/>
                <a:gd name="T23" fmla="*/ 2147483647 h 198"/>
                <a:gd name="T24" fmla="*/ 2147483647 w 408"/>
                <a:gd name="T25" fmla="*/ 2147483647 h 198"/>
                <a:gd name="T26" fmla="*/ 2147483647 w 408"/>
                <a:gd name="T27" fmla="*/ 2147483647 h 198"/>
                <a:gd name="T28" fmla="*/ 2147483647 w 408"/>
                <a:gd name="T29" fmla="*/ 2147483647 h 198"/>
                <a:gd name="T30" fmla="*/ 2147483647 w 408"/>
                <a:gd name="T31" fmla="*/ 2147483647 h 198"/>
                <a:gd name="T32" fmla="*/ 2147483647 w 408"/>
                <a:gd name="T33" fmla="*/ 0 h 198"/>
                <a:gd name="T34" fmla="*/ 2147483647 w 408"/>
                <a:gd name="T35" fmla="*/ 2147483647 h 198"/>
                <a:gd name="T36" fmla="*/ 2147483647 w 408"/>
                <a:gd name="T37" fmla="*/ 2147483647 h 198"/>
                <a:gd name="T38" fmla="*/ 2147483647 w 408"/>
                <a:gd name="T39" fmla="*/ 2147483647 h 198"/>
                <a:gd name="T40" fmla="*/ 2147483647 w 408"/>
                <a:gd name="T41" fmla="*/ 2147483647 h 198"/>
                <a:gd name="T42" fmla="*/ 2147483647 w 408"/>
                <a:gd name="T43" fmla="*/ 2147483647 h 198"/>
                <a:gd name="T44" fmla="*/ 2147483647 w 408"/>
                <a:gd name="T45" fmla="*/ 2147483647 h 198"/>
                <a:gd name="T46" fmla="*/ 2147483647 w 408"/>
                <a:gd name="T47" fmla="*/ 2147483647 h 198"/>
                <a:gd name="T48" fmla="*/ 2147483647 w 408"/>
                <a:gd name="T49" fmla="*/ 2147483647 h 198"/>
                <a:gd name="T50" fmla="*/ 2147483647 w 408"/>
                <a:gd name="T51" fmla="*/ 2147483647 h 198"/>
                <a:gd name="T52" fmla="*/ 2147483647 w 408"/>
                <a:gd name="T53" fmla="*/ 2147483647 h 198"/>
                <a:gd name="T54" fmla="*/ 2147483647 w 408"/>
                <a:gd name="T55" fmla="*/ 2147483647 h 198"/>
                <a:gd name="T56" fmla="*/ 0 w 408"/>
                <a:gd name="T57" fmla="*/ 2147483647 h 198"/>
                <a:gd name="T58" fmla="*/ 2147483647 w 408"/>
                <a:gd name="T59" fmla="*/ 2147483647 h 198"/>
                <a:gd name="T60" fmla="*/ 2147483647 w 408"/>
                <a:gd name="T61" fmla="*/ 2147483647 h 198"/>
                <a:gd name="T62" fmla="*/ 2147483647 w 408"/>
                <a:gd name="T63" fmla="*/ 2147483647 h 198"/>
                <a:gd name="T64" fmla="*/ 0 w 408"/>
                <a:gd name="T65" fmla="*/ 2147483647 h 198"/>
                <a:gd name="T66" fmla="*/ 2147483647 w 408"/>
                <a:gd name="T67" fmla="*/ 2147483647 h 198"/>
                <a:gd name="T68" fmla="*/ 2147483647 w 408"/>
                <a:gd name="T69" fmla="*/ 2147483647 h 198"/>
                <a:gd name="T70" fmla="*/ 2147483647 w 408"/>
                <a:gd name="T71" fmla="*/ 2147483647 h 198"/>
                <a:gd name="T72" fmla="*/ 2147483647 w 408"/>
                <a:gd name="T73" fmla="*/ 2147483647 h 198"/>
                <a:gd name="T74" fmla="*/ 2147483647 w 408"/>
                <a:gd name="T75" fmla="*/ 2147483647 h 198"/>
                <a:gd name="T76" fmla="*/ 2147483647 w 408"/>
                <a:gd name="T77" fmla="*/ 2147483647 h 198"/>
                <a:gd name="T78" fmla="*/ 2147483647 w 408"/>
                <a:gd name="T79" fmla="*/ 2147483647 h 198"/>
                <a:gd name="T80" fmla="*/ 2147483647 w 408"/>
                <a:gd name="T81" fmla="*/ 2147483647 h 198"/>
                <a:gd name="T82" fmla="*/ 2147483647 w 408"/>
                <a:gd name="T83" fmla="*/ 2147483647 h 198"/>
                <a:gd name="T84" fmla="*/ 2147483647 w 408"/>
                <a:gd name="T85" fmla="*/ 2147483647 h 198"/>
                <a:gd name="T86" fmla="*/ 2147483647 w 408"/>
                <a:gd name="T87" fmla="*/ 2147483647 h 198"/>
                <a:gd name="T88" fmla="*/ 2147483647 w 408"/>
                <a:gd name="T89" fmla="*/ 2147483647 h 198"/>
                <a:gd name="T90" fmla="*/ 2147483647 w 408"/>
                <a:gd name="T91" fmla="*/ 2147483647 h 198"/>
                <a:gd name="T92" fmla="*/ 2147483647 w 408"/>
                <a:gd name="T93" fmla="*/ 2147483647 h 198"/>
                <a:gd name="T94" fmla="*/ 2147483647 w 408"/>
                <a:gd name="T95" fmla="*/ 2147483647 h 198"/>
                <a:gd name="T96" fmla="*/ 2147483647 w 408"/>
                <a:gd name="T97" fmla="*/ 2147483647 h 198"/>
                <a:gd name="T98" fmla="*/ 2147483647 w 408"/>
                <a:gd name="T99" fmla="*/ 2147483647 h 198"/>
                <a:gd name="T100" fmla="*/ 2147483647 w 408"/>
                <a:gd name="T101" fmla="*/ 2147483647 h 198"/>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408"/>
                <a:gd name="T154" fmla="*/ 0 h 198"/>
                <a:gd name="T155" fmla="*/ 408 w 408"/>
                <a:gd name="T156" fmla="*/ 198 h 198"/>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408" h="198">
                  <a:moveTo>
                    <a:pt x="306" y="66"/>
                  </a:moveTo>
                  <a:lnTo>
                    <a:pt x="318" y="78"/>
                  </a:lnTo>
                  <a:lnTo>
                    <a:pt x="324" y="90"/>
                  </a:lnTo>
                  <a:lnTo>
                    <a:pt x="330" y="96"/>
                  </a:lnTo>
                  <a:lnTo>
                    <a:pt x="342" y="90"/>
                  </a:lnTo>
                  <a:lnTo>
                    <a:pt x="372" y="120"/>
                  </a:lnTo>
                  <a:lnTo>
                    <a:pt x="342" y="102"/>
                  </a:lnTo>
                  <a:lnTo>
                    <a:pt x="342" y="120"/>
                  </a:lnTo>
                  <a:lnTo>
                    <a:pt x="336" y="132"/>
                  </a:lnTo>
                  <a:lnTo>
                    <a:pt x="336" y="162"/>
                  </a:lnTo>
                  <a:lnTo>
                    <a:pt x="342" y="168"/>
                  </a:lnTo>
                  <a:lnTo>
                    <a:pt x="348" y="180"/>
                  </a:lnTo>
                  <a:lnTo>
                    <a:pt x="354" y="186"/>
                  </a:lnTo>
                  <a:lnTo>
                    <a:pt x="360" y="186"/>
                  </a:lnTo>
                  <a:lnTo>
                    <a:pt x="372" y="156"/>
                  </a:lnTo>
                  <a:lnTo>
                    <a:pt x="378" y="162"/>
                  </a:lnTo>
                  <a:lnTo>
                    <a:pt x="390" y="168"/>
                  </a:lnTo>
                  <a:lnTo>
                    <a:pt x="396" y="162"/>
                  </a:lnTo>
                  <a:lnTo>
                    <a:pt x="408" y="138"/>
                  </a:lnTo>
                  <a:lnTo>
                    <a:pt x="408" y="126"/>
                  </a:lnTo>
                  <a:lnTo>
                    <a:pt x="396" y="120"/>
                  </a:lnTo>
                  <a:lnTo>
                    <a:pt x="390" y="108"/>
                  </a:lnTo>
                  <a:lnTo>
                    <a:pt x="390" y="90"/>
                  </a:lnTo>
                  <a:lnTo>
                    <a:pt x="396" y="84"/>
                  </a:lnTo>
                  <a:lnTo>
                    <a:pt x="372" y="66"/>
                  </a:lnTo>
                  <a:lnTo>
                    <a:pt x="372" y="60"/>
                  </a:lnTo>
                  <a:lnTo>
                    <a:pt x="366" y="54"/>
                  </a:lnTo>
                  <a:lnTo>
                    <a:pt x="366" y="42"/>
                  </a:lnTo>
                  <a:lnTo>
                    <a:pt x="360" y="30"/>
                  </a:lnTo>
                  <a:lnTo>
                    <a:pt x="348" y="24"/>
                  </a:lnTo>
                  <a:lnTo>
                    <a:pt x="330" y="18"/>
                  </a:lnTo>
                  <a:lnTo>
                    <a:pt x="288" y="18"/>
                  </a:lnTo>
                  <a:lnTo>
                    <a:pt x="282" y="0"/>
                  </a:lnTo>
                  <a:lnTo>
                    <a:pt x="246" y="0"/>
                  </a:lnTo>
                  <a:lnTo>
                    <a:pt x="234" y="6"/>
                  </a:lnTo>
                  <a:lnTo>
                    <a:pt x="228" y="12"/>
                  </a:lnTo>
                  <a:lnTo>
                    <a:pt x="222" y="24"/>
                  </a:lnTo>
                  <a:lnTo>
                    <a:pt x="210" y="36"/>
                  </a:lnTo>
                  <a:lnTo>
                    <a:pt x="204" y="36"/>
                  </a:lnTo>
                  <a:lnTo>
                    <a:pt x="198" y="30"/>
                  </a:lnTo>
                  <a:lnTo>
                    <a:pt x="192" y="30"/>
                  </a:lnTo>
                  <a:lnTo>
                    <a:pt x="168" y="42"/>
                  </a:lnTo>
                  <a:lnTo>
                    <a:pt x="144" y="66"/>
                  </a:lnTo>
                  <a:lnTo>
                    <a:pt x="132" y="72"/>
                  </a:lnTo>
                  <a:lnTo>
                    <a:pt x="120" y="72"/>
                  </a:lnTo>
                  <a:lnTo>
                    <a:pt x="114" y="66"/>
                  </a:lnTo>
                  <a:lnTo>
                    <a:pt x="102" y="60"/>
                  </a:lnTo>
                  <a:lnTo>
                    <a:pt x="90" y="42"/>
                  </a:lnTo>
                  <a:lnTo>
                    <a:pt x="78" y="54"/>
                  </a:lnTo>
                  <a:lnTo>
                    <a:pt x="60" y="54"/>
                  </a:lnTo>
                  <a:lnTo>
                    <a:pt x="48" y="42"/>
                  </a:lnTo>
                  <a:lnTo>
                    <a:pt x="48" y="18"/>
                  </a:lnTo>
                  <a:lnTo>
                    <a:pt x="36" y="6"/>
                  </a:lnTo>
                  <a:lnTo>
                    <a:pt x="24" y="6"/>
                  </a:lnTo>
                  <a:lnTo>
                    <a:pt x="18" y="12"/>
                  </a:lnTo>
                  <a:lnTo>
                    <a:pt x="6" y="12"/>
                  </a:lnTo>
                  <a:lnTo>
                    <a:pt x="0" y="18"/>
                  </a:lnTo>
                  <a:lnTo>
                    <a:pt x="0" y="36"/>
                  </a:lnTo>
                  <a:lnTo>
                    <a:pt x="6" y="42"/>
                  </a:lnTo>
                  <a:lnTo>
                    <a:pt x="6" y="48"/>
                  </a:lnTo>
                  <a:lnTo>
                    <a:pt x="24" y="48"/>
                  </a:lnTo>
                  <a:lnTo>
                    <a:pt x="30" y="54"/>
                  </a:lnTo>
                  <a:lnTo>
                    <a:pt x="12" y="72"/>
                  </a:lnTo>
                  <a:lnTo>
                    <a:pt x="6" y="72"/>
                  </a:lnTo>
                  <a:lnTo>
                    <a:pt x="6" y="96"/>
                  </a:lnTo>
                  <a:lnTo>
                    <a:pt x="0" y="102"/>
                  </a:lnTo>
                  <a:lnTo>
                    <a:pt x="6" y="108"/>
                  </a:lnTo>
                  <a:lnTo>
                    <a:pt x="48" y="102"/>
                  </a:lnTo>
                  <a:lnTo>
                    <a:pt x="60" y="120"/>
                  </a:lnTo>
                  <a:lnTo>
                    <a:pt x="90" y="114"/>
                  </a:lnTo>
                  <a:lnTo>
                    <a:pt x="90" y="126"/>
                  </a:lnTo>
                  <a:lnTo>
                    <a:pt x="84" y="132"/>
                  </a:lnTo>
                  <a:lnTo>
                    <a:pt x="84" y="150"/>
                  </a:lnTo>
                  <a:lnTo>
                    <a:pt x="90" y="156"/>
                  </a:lnTo>
                  <a:lnTo>
                    <a:pt x="108" y="156"/>
                  </a:lnTo>
                  <a:lnTo>
                    <a:pt x="114" y="150"/>
                  </a:lnTo>
                  <a:lnTo>
                    <a:pt x="120" y="150"/>
                  </a:lnTo>
                  <a:lnTo>
                    <a:pt x="120" y="132"/>
                  </a:lnTo>
                  <a:lnTo>
                    <a:pt x="138" y="126"/>
                  </a:lnTo>
                  <a:lnTo>
                    <a:pt x="138" y="150"/>
                  </a:lnTo>
                  <a:lnTo>
                    <a:pt x="144" y="168"/>
                  </a:lnTo>
                  <a:lnTo>
                    <a:pt x="144" y="180"/>
                  </a:lnTo>
                  <a:lnTo>
                    <a:pt x="150" y="192"/>
                  </a:lnTo>
                  <a:lnTo>
                    <a:pt x="156" y="198"/>
                  </a:lnTo>
                  <a:lnTo>
                    <a:pt x="162" y="198"/>
                  </a:lnTo>
                  <a:lnTo>
                    <a:pt x="180" y="192"/>
                  </a:lnTo>
                  <a:lnTo>
                    <a:pt x="198" y="174"/>
                  </a:lnTo>
                  <a:lnTo>
                    <a:pt x="204" y="174"/>
                  </a:lnTo>
                  <a:lnTo>
                    <a:pt x="198" y="168"/>
                  </a:lnTo>
                  <a:lnTo>
                    <a:pt x="186" y="162"/>
                  </a:lnTo>
                  <a:lnTo>
                    <a:pt x="180" y="150"/>
                  </a:lnTo>
                  <a:lnTo>
                    <a:pt x="174" y="144"/>
                  </a:lnTo>
                  <a:lnTo>
                    <a:pt x="168" y="132"/>
                  </a:lnTo>
                  <a:lnTo>
                    <a:pt x="162" y="126"/>
                  </a:lnTo>
                  <a:lnTo>
                    <a:pt x="186" y="102"/>
                  </a:lnTo>
                  <a:lnTo>
                    <a:pt x="222" y="84"/>
                  </a:lnTo>
                  <a:lnTo>
                    <a:pt x="228" y="72"/>
                  </a:lnTo>
                  <a:lnTo>
                    <a:pt x="246" y="54"/>
                  </a:lnTo>
                  <a:lnTo>
                    <a:pt x="258" y="48"/>
                  </a:lnTo>
                  <a:lnTo>
                    <a:pt x="276" y="54"/>
                  </a:lnTo>
                  <a:lnTo>
                    <a:pt x="288" y="60"/>
                  </a:lnTo>
                  <a:lnTo>
                    <a:pt x="306" y="66"/>
                  </a:lnTo>
                  <a:close/>
                </a:path>
              </a:pathLst>
            </a:custGeom>
            <a:grpFill/>
            <a:ln w="3175">
              <a:solidFill>
                <a:schemeClr val="bg1"/>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de-DE" sz="1800" b="0" i="0" u="none" strike="noStrike" kern="1200" cap="none" spc="0" normalizeH="0" baseline="0" noProof="0">
                <a:ln>
                  <a:noFill/>
                </a:ln>
                <a:solidFill>
                  <a:srgbClr val="FFC000"/>
                </a:solidFill>
                <a:effectLst/>
                <a:uLnTx/>
                <a:uFillTx/>
                <a:latin typeface="Calibri" pitchFamily="34" charset="0"/>
                <a:ea typeface="+mn-ea"/>
                <a:cs typeface="+mn-cs"/>
              </a:endParaRPr>
            </a:p>
          </p:txBody>
        </p:sp>
        <p:sp>
          <p:nvSpPr>
            <p:cNvPr id="71" name="Pakistan" descr="© INSCALE GmbH, 05.05.2010&#10;http://www.presentationload.com/"/>
            <p:cNvSpPr>
              <a:spLocks/>
            </p:cNvSpPr>
            <p:nvPr/>
          </p:nvSpPr>
          <p:spPr bwMode="gray">
            <a:xfrm>
              <a:off x="5828771" y="3377855"/>
              <a:ext cx="341717" cy="328244"/>
            </a:xfrm>
            <a:custGeom>
              <a:avLst/>
              <a:gdLst>
                <a:gd name="T0" fmla="*/ 2147483647 w 1050"/>
                <a:gd name="T1" fmla="*/ 2147483647 h 1056"/>
                <a:gd name="T2" fmla="*/ 2147483647 w 1050"/>
                <a:gd name="T3" fmla="*/ 2147483647 h 1056"/>
                <a:gd name="T4" fmla="*/ 2147483647 w 1050"/>
                <a:gd name="T5" fmla="*/ 2147483647 h 1056"/>
                <a:gd name="T6" fmla="*/ 2147483647 w 1050"/>
                <a:gd name="T7" fmla="*/ 2147483647 h 1056"/>
                <a:gd name="T8" fmla="*/ 2147483647 w 1050"/>
                <a:gd name="T9" fmla="*/ 2147483647 h 1056"/>
                <a:gd name="T10" fmla="*/ 2147483647 w 1050"/>
                <a:gd name="T11" fmla="*/ 2147483647 h 1056"/>
                <a:gd name="T12" fmla="*/ 2147483647 w 1050"/>
                <a:gd name="T13" fmla="*/ 2147483647 h 1056"/>
                <a:gd name="T14" fmla="*/ 2147483647 w 1050"/>
                <a:gd name="T15" fmla="*/ 2147483647 h 1056"/>
                <a:gd name="T16" fmla="*/ 2147483647 w 1050"/>
                <a:gd name="T17" fmla="*/ 2147483647 h 1056"/>
                <a:gd name="T18" fmla="*/ 2147483647 w 1050"/>
                <a:gd name="T19" fmla="*/ 2147483647 h 1056"/>
                <a:gd name="T20" fmla="*/ 2147483647 w 1050"/>
                <a:gd name="T21" fmla="*/ 2147483647 h 1056"/>
                <a:gd name="T22" fmla="*/ 2147483647 w 1050"/>
                <a:gd name="T23" fmla="*/ 2147483647 h 1056"/>
                <a:gd name="T24" fmla="*/ 2147483647 w 1050"/>
                <a:gd name="T25" fmla="*/ 2147483647 h 1056"/>
                <a:gd name="T26" fmla="*/ 2147483647 w 1050"/>
                <a:gd name="T27" fmla="*/ 2147483647 h 1056"/>
                <a:gd name="T28" fmla="*/ 2147483647 w 1050"/>
                <a:gd name="T29" fmla="*/ 2147483647 h 1056"/>
                <a:gd name="T30" fmla="*/ 2147483647 w 1050"/>
                <a:gd name="T31" fmla="*/ 2147483647 h 1056"/>
                <a:gd name="T32" fmla="*/ 2147483647 w 1050"/>
                <a:gd name="T33" fmla="*/ 2147483647 h 1056"/>
                <a:gd name="T34" fmla="*/ 2147483647 w 1050"/>
                <a:gd name="T35" fmla="*/ 2147483647 h 1056"/>
                <a:gd name="T36" fmla="*/ 2147483647 w 1050"/>
                <a:gd name="T37" fmla="*/ 2147483647 h 1056"/>
                <a:gd name="T38" fmla="*/ 2147483647 w 1050"/>
                <a:gd name="T39" fmla="*/ 2147483647 h 1056"/>
                <a:gd name="T40" fmla="*/ 2147483647 w 1050"/>
                <a:gd name="T41" fmla="*/ 2147483647 h 1056"/>
                <a:gd name="T42" fmla="*/ 2147483647 w 1050"/>
                <a:gd name="T43" fmla="*/ 2147483647 h 1056"/>
                <a:gd name="T44" fmla="*/ 0 w 1050"/>
                <a:gd name="T45" fmla="*/ 2147483647 h 1056"/>
                <a:gd name="T46" fmla="*/ 2147483647 w 1050"/>
                <a:gd name="T47" fmla="*/ 2147483647 h 1056"/>
                <a:gd name="T48" fmla="*/ 2147483647 w 1050"/>
                <a:gd name="T49" fmla="*/ 2147483647 h 1056"/>
                <a:gd name="T50" fmla="*/ 2147483647 w 1050"/>
                <a:gd name="T51" fmla="*/ 2147483647 h 1056"/>
                <a:gd name="T52" fmla="*/ 2147483647 w 1050"/>
                <a:gd name="T53" fmla="*/ 2147483647 h 1056"/>
                <a:gd name="T54" fmla="*/ 2147483647 w 1050"/>
                <a:gd name="T55" fmla="*/ 2147483647 h 1056"/>
                <a:gd name="T56" fmla="*/ 2147483647 w 1050"/>
                <a:gd name="T57" fmla="*/ 2147483647 h 1056"/>
                <a:gd name="T58" fmla="*/ 2147483647 w 1050"/>
                <a:gd name="T59" fmla="*/ 2147483647 h 1056"/>
                <a:gd name="T60" fmla="*/ 2147483647 w 1050"/>
                <a:gd name="T61" fmla="*/ 2147483647 h 1056"/>
                <a:gd name="T62" fmla="*/ 2147483647 w 1050"/>
                <a:gd name="T63" fmla="*/ 2147483647 h 1056"/>
                <a:gd name="T64" fmla="*/ 2147483647 w 1050"/>
                <a:gd name="T65" fmla="*/ 2147483647 h 1056"/>
                <a:gd name="T66" fmla="*/ 2147483647 w 1050"/>
                <a:gd name="T67" fmla="*/ 2147483647 h 1056"/>
                <a:gd name="T68" fmla="*/ 2147483647 w 1050"/>
                <a:gd name="T69" fmla="*/ 2147483647 h 1056"/>
                <a:gd name="T70" fmla="*/ 2147483647 w 1050"/>
                <a:gd name="T71" fmla="*/ 2147483647 h 1056"/>
                <a:gd name="T72" fmla="*/ 2147483647 w 1050"/>
                <a:gd name="T73" fmla="*/ 2147483647 h 1056"/>
                <a:gd name="T74" fmla="*/ 2147483647 w 1050"/>
                <a:gd name="T75" fmla="*/ 2147483647 h 1056"/>
                <a:gd name="T76" fmla="*/ 2147483647 w 1050"/>
                <a:gd name="T77" fmla="*/ 2147483647 h 1056"/>
                <a:gd name="T78" fmla="*/ 2147483647 w 1050"/>
                <a:gd name="T79" fmla="*/ 2147483647 h 1056"/>
                <a:gd name="T80" fmla="*/ 2147483647 w 1050"/>
                <a:gd name="T81" fmla="*/ 2147483647 h 1056"/>
                <a:gd name="T82" fmla="*/ 2147483647 w 1050"/>
                <a:gd name="T83" fmla="*/ 2147483647 h 1056"/>
                <a:gd name="T84" fmla="*/ 2147483647 w 1050"/>
                <a:gd name="T85" fmla="*/ 2147483647 h 1056"/>
                <a:gd name="T86" fmla="*/ 2147483647 w 1050"/>
                <a:gd name="T87" fmla="*/ 2147483647 h 1056"/>
                <a:gd name="T88" fmla="*/ 2147483647 w 1050"/>
                <a:gd name="T89" fmla="*/ 2147483647 h 1056"/>
                <a:gd name="T90" fmla="*/ 2147483647 w 1050"/>
                <a:gd name="T91" fmla="*/ 2147483647 h 1056"/>
                <a:gd name="T92" fmla="*/ 2147483647 w 1050"/>
                <a:gd name="T93" fmla="*/ 2147483647 h 1056"/>
                <a:gd name="T94" fmla="*/ 2147483647 w 1050"/>
                <a:gd name="T95" fmla="*/ 2147483647 h 1056"/>
                <a:gd name="T96" fmla="*/ 2147483647 w 1050"/>
                <a:gd name="T97" fmla="*/ 2147483647 h 1056"/>
                <a:gd name="T98" fmla="*/ 2147483647 w 1050"/>
                <a:gd name="T99" fmla="*/ 2147483647 h 1056"/>
                <a:gd name="T100" fmla="*/ 2147483647 w 1050"/>
                <a:gd name="T101" fmla="*/ 2147483647 h 1056"/>
                <a:gd name="T102" fmla="*/ 2147483647 w 1050"/>
                <a:gd name="T103" fmla="*/ 2147483647 h 1056"/>
                <a:gd name="T104" fmla="*/ 2147483647 w 1050"/>
                <a:gd name="T105" fmla="*/ 2147483647 h 1056"/>
                <a:gd name="T106" fmla="*/ 2147483647 w 1050"/>
                <a:gd name="T107" fmla="*/ 2147483647 h 1056"/>
                <a:gd name="T108" fmla="*/ 2147483647 w 1050"/>
                <a:gd name="T109" fmla="*/ 2147483647 h 1056"/>
                <a:gd name="T110" fmla="*/ 2147483647 w 1050"/>
                <a:gd name="T111" fmla="*/ 2147483647 h 1056"/>
                <a:gd name="T112" fmla="*/ 2147483647 w 1050"/>
                <a:gd name="T113" fmla="*/ 2147483647 h 1056"/>
                <a:gd name="T114" fmla="*/ 2147483647 w 1050"/>
                <a:gd name="T115" fmla="*/ 2147483647 h 1056"/>
                <a:gd name="T116" fmla="*/ 2147483647 w 1050"/>
                <a:gd name="T117" fmla="*/ 2147483647 h 1056"/>
                <a:gd name="T118" fmla="*/ 2147483647 w 1050"/>
                <a:gd name="T119" fmla="*/ 2147483647 h 1056"/>
                <a:gd name="T120" fmla="*/ 2147483647 w 1050"/>
                <a:gd name="T121" fmla="*/ 2147483647 h 1056"/>
                <a:gd name="T122" fmla="*/ 2147483647 w 1050"/>
                <a:gd name="T123" fmla="*/ 2147483647 h 105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1050"/>
                <a:gd name="T187" fmla="*/ 0 h 1056"/>
                <a:gd name="T188" fmla="*/ 1050 w 1050"/>
                <a:gd name="T189" fmla="*/ 1056 h 105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1050" h="1056">
                  <a:moveTo>
                    <a:pt x="1008" y="120"/>
                  </a:moveTo>
                  <a:lnTo>
                    <a:pt x="996" y="120"/>
                  </a:lnTo>
                  <a:lnTo>
                    <a:pt x="984" y="114"/>
                  </a:lnTo>
                  <a:lnTo>
                    <a:pt x="978" y="102"/>
                  </a:lnTo>
                  <a:lnTo>
                    <a:pt x="972" y="96"/>
                  </a:lnTo>
                  <a:lnTo>
                    <a:pt x="972" y="90"/>
                  </a:lnTo>
                  <a:lnTo>
                    <a:pt x="960" y="96"/>
                  </a:lnTo>
                  <a:lnTo>
                    <a:pt x="924" y="84"/>
                  </a:lnTo>
                  <a:lnTo>
                    <a:pt x="924" y="60"/>
                  </a:lnTo>
                  <a:lnTo>
                    <a:pt x="912" y="36"/>
                  </a:lnTo>
                  <a:lnTo>
                    <a:pt x="900" y="24"/>
                  </a:lnTo>
                  <a:lnTo>
                    <a:pt x="888" y="18"/>
                  </a:lnTo>
                  <a:lnTo>
                    <a:pt x="876" y="18"/>
                  </a:lnTo>
                  <a:lnTo>
                    <a:pt x="870" y="6"/>
                  </a:lnTo>
                  <a:lnTo>
                    <a:pt x="822" y="6"/>
                  </a:lnTo>
                  <a:lnTo>
                    <a:pt x="810" y="0"/>
                  </a:lnTo>
                  <a:lnTo>
                    <a:pt x="804" y="6"/>
                  </a:lnTo>
                  <a:lnTo>
                    <a:pt x="792" y="6"/>
                  </a:lnTo>
                  <a:lnTo>
                    <a:pt x="786" y="12"/>
                  </a:lnTo>
                  <a:lnTo>
                    <a:pt x="774" y="12"/>
                  </a:lnTo>
                  <a:lnTo>
                    <a:pt x="762" y="6"/>
                  </a:lnTo>
                  <a:lnTo>
                    <a:pt x="738" y="6"/>
                  </a:lnTo>
                  <a:lnTo>
                    <a:pt x="732" y="12"/>
                  </a:lnTo>
                  <a:lnTo>
                    <a:pt x="690" y="12"/>
                  </a:lnTo>
                  <a:lnTo>
                    <a:pt x="684" y="18"/>
                  </a:lnTo>
                  <a:lnTo>
                    <a:pt x="678" y="18"/>
                  </a:lnTo>
                  <a:lnTo>
                    <a:pt x="654" y="30"/>
                  </a:lnTo>
                  <a:lnTo>
                    <a:pt x="648" y="36"/>
                  </a:lnTo>
                  <a:lnTo>
                    <a:pt x="624" y="48"/>
                  </a:lnTo>
                  <a:lnTo>
                    <a:pt x="618" y="54"/>
                  </a:lnTo>
                  <a:lnTo>
                    <a:pt x="612" y="66"/>
                  </a:lnTo>
                  <a:lnTo>
                    <a:pt x="606" y="72"/>
                  </a:lnTo>
                  <a:lnTo>
                    <a:pt x="606" y="78"/>
                  </a:lnTo>
                  <a:lnTo>
                    <a:pt x="636" y="108"/>
                  </a:lnTo>
                  <a:lnTo>
                    <a:pt x="636" y="138"/>
                  </a:lnTo>
                  <a:lnTo>
                    <a:pt x="642" y="144"/>
                  </a:lnTo>
                  <a:lnTo>
                    <a:pt x="648" y="156"/>
                  </a:lnTo>
                  <a:lnTo>
                    <a:pt x="648" y="162"/>
                  </a:lnTo>
                  <a:lnTo>
                    <a:pt x="624" y="186"/>
                  </a:lnTo>
                  <a:lnTo>
                    <a:pt x="618" y="198"/>
                  </a:lnTo>
                  <a:lnTo>
                    <a:pt x="618" y="210"/>
                  </a:lnTo>
                  <a:lnTo>
                    <a:pt x="624" y="216"/>
                  </a:lnTo>
                  <a:lnTo>
                    <a:pt x="624" y="246"/>
                  </a:lnTo>
                  <a:lnTo>
                    <a:pt x="606" y="246"/>
                  </a:lnTo>
                  <a:lnTo>
                    <a:pt x="600" y="252"/>
                  </a:lnTo>
                  <a:lnTo>
                    <a:pt x="594" y="252"/>
                  </a:lnTo>
                  <a:lnTo>
                    <a:pt x="576" y="246"/>
                  </a:lnTo>
                  <a:lnTo>
                    <a:pt x="570" y="240"/>
                  </a:lnTo>
                  <a:lnTo>
                    <a:pt x="552" y="240"/>
                  </a:lnTo>
                  <a:lnTo>
                    <a:pt x="552" y="252"/>
                  </a:lnTo>
                  <a:lnTo>
                    <a:pt x="564" y="264"/>
                  </a:lnTo>
                  <a:lnTo>
                    <a:pt x="576" y="270"/>
                  </a:lnTo>
                  <a:lnTo>
                    <a:pt x="576" y="276"/>
                  </a:lnTo>
                  <a:lnTo>
                    <a:pt x="582" y="282"/>
                  </a:lnTo>
                  <a:lnTo>
                    <a:pt x="582" y="288"/>
                  </a:lnTo>
                  <a:lnTo>
                    <a:pt x="594" y="294"/>
                  </a:lnTo>
                  <a:lnTo>
                    <a:pt x="600" y="294"/>
                  </a:lnTo>
                  <a:lnTo>
                    <a:pt x="570" y="312"/>
                  </a:lnTo>
                  <a:lnTo>
                    <a:pt x="552" y="312"/>
                  </a:lnTo>
                  <a:lnTo>
                    <a:pt x="546" y="318"/>
                  </a:lnTo>
                  <a:lnTo>
                    <a:pt x="546" y="354"/>
                  </a:lnTo>
                  <a:lnTo>
                    <a:pt x="540" y="354"/>
                  </a:lnTo>
                  <a:lnTo>
                    <a:pt x="534" y="360"/>
                  </a:lnTo>
                  <a:lnTo>
                    <a:pt x="534" y="378"/>
                  </a:lnTo>
                  <a:lnTo>
                    <a:pt x="540" y="390"/>
                  </a:lnTo>
                  <a:lnTo>
                    <a:pt x="540" y="402"/>
                  </a:lnTo>
                  <a:lnTo>
                    <a:pt x="546" y="408"/>
                  </a:lnTo>
                  <a:lnTo>
                    <a:pt x="546" y="414"/>
                  </a:lnTo>
                  <a:lnTo>
                    <a:pt x="540" y="420"/>
                  </a:lnTo>
                  <a:lnTo>
                    <a:pt x="534" y="432"/>
                  </a:lnTo>
                  <a:lnTo>
                    <a:pt x="522" y="438"/>
                  </a:lnTo>
                  <a:lnTo>
                    <a:pt x="510" y="438"/>
                  </a:lnTo>
                  <a:lnTo>
                    <a:pt x="504" y="432"/>
                  </a:lnTo>
                  <a:lnTo>
                    <a:pt x="504" y="420"/>
                  </a:lnTo>
                  <a:lnTo>
                    <a:pt x="474" y="420"/>
                  </a:lnTo>
                  <a:lnTo>
                    <a:pt x="462" y="426"/>
                  </a:lnTo>
                  <a:lnTo>
                    <a:pt x="456" y="432"/>
                  </a:lnTo>
                  <a:lnTo>
                    <a:pt x="444" y="438"/>
                  </a:lnTo>
                  <a:lnTo>
                    <a:pt x="438" y="438"/>
                  </a:lnTo>
                  <a:lnTo>
                    <a:pt x="432" y="444"/>
                  </a:lnTo>
                  <a:lnTo>
                    <a:pt x="432" y="450"/>
                  </a:lnTo>
                  <a:lnTo>
                    <a:pt x="438" y="450"/>
                  </a:lnTo>
                  <a:lnTo>
                    <a:pt x="444" y="456"/>
                  </a:lnTo>
                  <a:lnTo>
                    <a:pt x="444" y="462"/>
                  </a:lnTo>
                  <a:lnTo>
                    <a:pt x="438" y="468"/>
                  </a:lnTo>
                  <a:lnTo>
                    <a:pt x="396" y="468"/>
                  </a:lnTo>
                  <a:lnTo>
                    <a:pt x="396" y="456"/>
                  </a:lnTo>
                  <a:lnTo>
                    <a:pt x="378" y="456"/>
                  </a:lnTo>
                  <a:lnTo>
                    <a:pt x="372" y="468"/>
                  </a:lnTo>
                  <a:lnTo>
                    <a:pt x="360" y="474"/>
                  </a:lnTo>
                  <a:lnTo>
                    <a:pt x="354" y="486"/>
                  </a:lnTo>
                  <a:lnTo>
                    <a:pt x="354" y="504"/>
                  </a:lnTo>
                  <a:lnTo>
                    <a:pt x="360" y="516"/>
                  </a:lnTo>
                  <a:lnTo>
                    <a:pt x="360" y="534"/>
                  </a:lnTo>
                  <a:lnTo>
                    <a:pt x="366" y="540"/>
                  </a:lnTo>
                  <a:lnTo>
                    <a:pt x="366" y="570"/>
                  </a:lnTo>
                  <a:lnTo>
                    <a:pt x="360" y="576"/>
                  </a:lnTo>
                  <a:lnTo>
                    <a:pt x="354" y="576"/>
                  </a:lnTo>
                  <a:lnTo>
                    <a:pt x="306" y="600"/>
                  </a:lnTo>
                  <a:lnTo>
                    <a:pt x="276" y="600"/>
                  </a:lnTo>
                  <a:lnTo>
                    <a:pt x="258" y="606"/>
                  </a:lnTo>
                  <a:lnTo>
                    <a:pt x="234" y="606"/>
                  </a:lnTo>
                  <a:lnTo>
                    <a:pt x="228" y="612"/>
                  </a:lnTo>
                  <a:lnTo>
                    <a:pt x="204" y="612"/>
                  </a:lnTo>
                  <a:lnTo>
                    <a:pt x="204" y="606"/>
                  </a:lnTo>
                  <a:lnTo>
                    <a:pt x="150" y="606"/>
                  </a:lnTo>
                  <a:lnTo>
                    <a:pt x="144" y="612"/>
                  </a:lnTo>
                  <a:lnTo>
                    <a:pt x="138" y="612"/>
                  </a:lnTo>
                  <a:lnTo>
                    <a:pt x="120" y="618"/>
                  </a:lnTo>
                  <a:lnTo>
                    <a:pt x="102" y="618"/>
                  </a:lnTo>
                  <a:lnTo>
                    <a:pt x="78" y="606"/>
                  </a:lnTo>
                  <a:lnTo>
                    <a:pt x="60" y="600"/>
                  </a:lnTo>
                  <a:lnTo>
                    <a:pt x="42" y="588"/>
                  </a:lnTo>
                  <a:lnTo>
                    <a:pt x="30" y="582"/>
                  </a:lnTo>
                  <a:lnTo>
                    <a:pt x="0" y="582"/>
                  </a:lnTo>
                  <a:lnTo>
                    <a:pt x="24" y="606"/>
                  </a:lnTo>
                  <a:lnTo>
                    <a:pt x="30" y="618"/>
                  </a:lnTo>
                  <a:lnTo>
                    <a:pt x="36" y="624"/>
                  </a:lnTo>
                  <a:lnTo>
                    <a:pt x="48" y="642"/>
                  </a:lnTo>
                  <a:lnTo>
                    <a:pt x="60" y="654"/>
                  </a:lnTo>
                  <a:lnTo>
                    <a:pt x="66" y="672"/>
                  </a:lnTo>
                  <a:lnTo>
                    <a:pt x="78" y="690"/>
                  </a:lnTo>
                  <a:lnTo>
                    <a:pt x="84" y="696"/>
                  </a:lnTo>
                  <a:lnTo>
                    <a:pt x="102" y="696"/>
                  </a:lnTo>
                  <a:lnTo>
                    <a:pt x="114" y="690"/>
                  </a:lnTo>
                  <a:lnTo>
                    <a:pt x="126" y="708"/>
                  </a:lnTo>
                  <a:lnTo>
                    <a:pt x="150" y="708"/>
                  </a:lnTo>
                  <a:lnTo>
                    <a:pt x="144" y="738"/>
                  </a:lnTo>
                  <a:lnTo>
                    <a:pt x="150" y="738"/>
                  </a:lnTo>
                  <a:lnTo>
                    <a:pt x="150" y="762"/>
                  </a:lnTo>
                  <a:lnTo>
                    <a:pt x="156" y="774"/>
                  </a:lnTo>
                  <a:lnTo>
                    <a:pt x="156" y="786"/>
                  </a:lnTo>
                  <a:lnTo>
                    <a:pt x="174" y="786"/>
                  </a:lnTo>
                  <a:lnTo>
                    <a:pt x="180" y="792"/>
                  </a:lnTo>
                  <a:lnTo>
                    <a:pt x="186" y="804"/>
                  </a:lnTo>
                  <a:lnTo>
                    <a:pt x="192" y="822"/>
                  </a:lnTo>
                  <a:lnTo>
                    <a:pt x="192" y="834"/>
                  </a:lnTo>
                  <a:lnTo>
                    <a:pt x="186" y="840"/>
                  </a:lnTo>
                  <a:lnTo>
                    <a:pt x="180" y="840"/>
                  </a:lnTo>
                  <a:lnTo>
                    <a:pt x="180" y="834"/>
                  </a:lnTo>
                  <a:lnTo>
                    <a:pt x="150" y="834"/>
                  </a:lnTo>
                  <a:lnTo>
                    <a:pt x="138" y="840"/>
                  </a:lnTo>
                  <a:lnTo>
                    <a:pt x="132" y="846"/>
                  </a:lnTo>
                  <a:lnTo>
                    <a:pt x="132" y="852"/>
                  </a:lnTo>
                  <a:lnTo>
                    <a:pt x="126" y="852"/>
                  </a:lnTo>
                  <a:lnTo>
                    <a:pt x="126" y="858"/>
                  </a:lnTo>
                  <a:lnTo>
                    <a:pt x="120" y="864"/>
                  </a:lnTo>
                  <a:lnTo>
                    <a:pt x="108" y="864"/>
                  </a:lnTo>
                  <a:lnTo>
                    <a:pt x="102" y="882"/>
                  </a:lnTo>
                  <a:lnTo>
                    <a:pt x="96" y="888"/>
                  </a:lnTo>
                  <a:lnTo>
                    <a:pt x="96" y="894"/>
                  </a:lnTo>
                  <a:lnTo>
                    <a:pt x="84" y="906"/>
                  </a:lnTo>
                  <a:lnTo>
                    <a:pt x="84" y="936"/>
                  </a:lnTo>
                  <a:lnTo>
                    <a:pt x="90" y="948"/>
                  </a:lnTo>
                  <a:lnTo>
                    <a:pt x="90" y="954"/>
                  </a:lnTo>
                  <a:lnTo>
                    <a:pt x="96" y="948"/>
                  </a:lnTo>
                  <a:lnTo>
                    <a:pt x="108" y="948"/>
                  </a:lnTo>
                  <a:lnTo>
                    <a:pt x="114" y="942"/>
                  </a:lnTo>
                  <a:lnTo>
                    <a:pt x="120" y="942"/>
                  </a:lnTo>
                  <a:lnTo>
                    <a:pt x="126" y="948"/>
                  </a:lnTo>
                  <a:lnTo>
                    <a:pt x="138" y="948"/>
                  </a:lnTo>
                  <a:lnTo>
                    <a:pt x="150" y="954"/>
                  </a:lnTo>
                  <a:lnTo>
                    <a:pt x="174" y="954"/>
                  </a:lnTo>
                  <a:lnTo>
                    <a:pt x="210" y="936"/>
                  </a:lnTo>
                  <a:lnTo>
                    <a:pt x="216" y="930"/>
                  </a:lnTo>
                  <a:lnTo>
                    <a:pt x="222" y="930"/>
                  </a:lnTo>
                  <a:lnTo>
                    <a:pt x="234" y="936"/>
                  </a:lnTo>
                  <a:lnTo>
                    <a:pt x="276" y="936"/>
                  </a:lnTo>
                  <a:lnTo>
                    <a:pt x="288" y="930"/>
                  </a:lnTo>
                  <a:lnTo>
                    <a:pt x="300" y="930"/>
                  </a:lnTo>
                  <a:lnTo>
                    <a:pt x="306" y="924"/>
                  </a:lnTo>
                  <a:lnTo>
                    <a:pt x="312" y="924"/>
                  </a:lnTo>
                  <a:lnTo>
                    <a:pt x="348" y="930"/>
                  </a:lnTo>
                  <a:lnTo>
                    <a:pt x="354" y="924"/>
                  </a:lnTo>
                  <a:lnTo>
                    <a:pt x="366" y="918"/>
                  </a:lnTo>
                  <a:lnTo>
                    <a:pt x="372" y="912"/>
                  </a:lnTo>
                  <a:lnTo>
                    <a:pt x="384" y="912"/>
                  </a:lnTo>
                  <a:lnTo>
                    <a:pt x="396" y="918"/>
                  </a:lnTo>
                  <a:lnTo>
                    <a:pt x="408" y="930"/>
                  </a:lnTo>
                  <a:lnTo>
                    <a:pt x="432" y="978"/>
                  </a:lnTo>
                  <a:lnTo>
                    <a:pt x="444" y="984"/>
                  </a:lnTo>
                  <a:lnTo>
                    <a:pt x="450" y="990"/>
                  </a:lnTo>
                  <a:lnTo>
                    <a:pt x="468" y="996"/>
                  </a:lnTo>
                  <a:lnTo>
                    <a:pt x="486" y="996"/>
                  </a:lnTo>
                  <a:lnTo>
                    <a:pt x="522" y="1008"/>
                  </a:lnTo>
                  <a:lnTo>
                    <a:pt x="540" y="1044"/>
                  </a:lnTo>
                  <a:lnTo>
                    <a:pt x="552" y="1056"/>
                  </a:lnTo>
                  <a:lnTo>
                    <a:pt x="570" y="1056"/>
                  </a:lnTo>
                  <a:lnTo>
                    <a:pt x="588" y="1050"/>
                  </a:lnTo>
                  <a:lnTo>
                    <a:pt x="582" y="1044"/>
                  </a:lnTo>
                  <a:lnTo>
                    <a:pt x="582" y="1032"/>
                  </a:lnTo>
                  <a:lnTo>
                    <a:pt x="594" y="1020"/>
                  </a:lnTo>
                  <a:lnTo>
                    <a:pt x="606" y="1020"/>
                  </a:lnTo>
                  <a:lnTo>
                    <a:pt x="618" y="1026"/>
                  </a:lnTo>
                  <a:lnTo>
                    <a:pt x="624" y="1032"/>
                  </a:lnTo>
                  <a:lnTo>
                    <a:pt x="648" y="1020"/>
                  </a:lnTo>
                  <a:lnTo>
                    <a:pt x="648" y="1026"/>
                  </a:lnTo>
                  <a:lnTo>
                    <a:pt x="654" y="1032"/>
                  </a:lnTo>
                  <a:lnTo>
                    <a:pt x="678" y="1032"/>
                  </a:lnTo>
                  <a:lnTo>
                    <a:pt x="690" y="1020"/>
                  </a:lnTo>
                  <a:lnTo>
                    <a:pt x="702" y="1014"/>
                  </a:lnTo>
                  <a:lnTo>
                    <a:pt x="708" y="1014"/>
                  </a:lnTo>
                  <a:lnTo>
                    <a:pt x="708" y="1026"/>
                  </a:lnTo>
                  <a:lnTo>
                    <a:pt x="714" y="1032"/>
                  </a:lnTo>
                  <a:lnTo>
                    <a:pt x="732" y="1032"/>
                  </a:lnTo>
                  <a:lnTo>
                    <a:pt x="738" y="1026"/>
                  </a:lnTo>
                  <a:lnTo>
                    <a:pt x="750" y="1020"/>
                  </a:lnTo>
                  <a:lnTo>
                    <a:pt x="750" y="996"/>
                  </a:lnTo>
                  <a:lnTo>
                    <a:pt x="744" y="990"/>
                  </a:lnTo>
                  <a:lnTo>
                    <a:pt x="738" y="978"/>
                  </a:lnTo>
                  <a:lnTo>
                    <a:pt x="714" y="936"/>
                  </a:lnTo>
                  <a:lnTo>
                    <a:pt x="714" y="912"/>
                  </a:lnTo>
                  <a:lnTo>
                    <a:pt x="690" y="912"/>
                  </a:lnTo>
                  <a:lnTo>
                    <a:pt x="678" y="900"/>
                  </a:lnTo>
                  <a:lnTo>
                    <a:pt x="672" y="888"/>
                  </a:lnTo>
                  <a:lnTo>
                    <a:pt x="666" y="882"/>
                  </a:lnTo>
                  <a:lnTo>
                    <a:pt x="672" y="852"/>
                  </a:lnTo>
                  <a:lnTo>
                    <a:pt x="672" y="834"/>
                  </a:lnTo>
                  <a:lnTo>
                    <a:pt x="642" y="840"/>
                  </a:lnTo>
                  <a:lnTo>
                    <a:pt x="636" y="840"/>
                  </a:lnTo>
                  <a:lnTo>
                    <a:pt x="624" y="834"/>
                  </a:lnTo>
                  <a:lnTo>
                    <a:pt x="618" y="828"/>
                  </a:lnTo>
                  <a:lnTo>
                    <a:pt x="618" y="804"/>
                  </a:lnTo>
                  <a:lnTo>
                    <a:pt x="624" y="792"/>
                  </a:lnTo>
                  <a:lnTo>
                    <a:pt x="636" y="780"/>
                  </a:lnTo>
                  <a:lnTo>
                    <a:pt x="642" y="768"/>
                  </a:lnTo>
                  <a:lnTo>
                    <a:pt x="648" y="762"/>
                  </a:lnTo>
                  <a:lnTo>
                    <a:pt x="654" y="750"/>
                  </a:lnTo>
                  <a:lnTo>
                    <a:pt x="654" y="744"/>
                  </a:lnTo>
                  <a:lnTo>
                    <a:pt x="666" y="732"/>
                  </a:lnTo>
                  <a:lnTo>
                    <a:pt x="678" y="726"/>
                  </a:lnTo>
                  <a:lnTo>
                    <a:pt x="684" y="726"/>
                  </a:lnTo>
                  <a:lnTo>
                    <a:pt x="690" y="732"/>
                  </a:lnTo>
                  <a:lnTo>
                    <a:pt x="690" y="744"/>
                  </a:lnTo>
                  <a:lnTo>
                    <a:pt x="696" y="750"/>
                  </a:lnTo>
                  <a:lnTo>
                    <a:pt x="702" y="750"/>
                  </a:lnTo>
                  <a:lnTo>
                    <a:pt x="726" y="738"/>
                  </a:lnTo>
                  <a:lnTo>
                    <a:pt x="732" y="732"/>
                  </a:lnTo>
                  <a:lnTo>
                    <a:pt x="738" y="738"/>
                  </a:lnTo>
                  <a:lnTo>
                    <a:pt x="756" y="738"/>
                  </a:lnTo>
                  <a:lnTo>
                    <a:pt x="762" y="732"/>
                  </a:lnTo>
                  <a:lnTo>
                    <a:pt x="768" y="720"/>
                  </a:lnTo>
                  <a:lnTo>
                    <a:pt x="774" y="714"/>
                  </a:lnTo>
                  <a:lnTo>
                    <a:pt x="774" y="708"/>
                  </a:lnTo>
                  <a:lnTo>
                    <a:pt x="792" y="696"/>
                  </a:lnTo>
                  <a:lnTo>
                    <a:pt x="792" y="678"/>
                  </a:lnTo>
                  <a:lnTo>
                    <a:pt x="798" y="672"/>
                  </a:lnTo>
                  <a:lnTo>
                    <a:pt x="798" y="666"/>
                  </a:lnTo>
                  <a:lnTo>
                    <a:pt x="804" y="660"/>
                  </a:lnTo>
                  <a:lnTo>
                    <a:pt x="828" y="648"/>
                  </a:lnTo>
                  <a:lnTo>
                    <a:pt x="840" y="636"/>
                  </a:lnTo>
                  <a:lnTo>
                    <a:pt x="846" y="618"/>
                  </a:lnTo>
                  <a:lnTo>
                    <a:pt x="846" y="606"/>
                  </a:lnTo>
                  <a:lnTo>
                    <a:pt x="852" y="588"/>
                  </a:lnTo>
                  <a:lnTo>
                    <a:pt x="852" y="576"/>
                  </a:lnTo>
                  <a:lnTo>
                    <a:pt x="858" y="570"/>
                  </a:lnTo>
                  <a:lnTo>
                    <a:pt x="870" y="564"/>
                  </a:lnTo>
                  <a:lnTo>
                    <a:pt x="876" y="558"/>
                  </a:lnTo>
                  <a:lnTo>
                    <a:pt x="888" y="558"/>
                  </a:lnTo>
                  <a:lnTo>
                    <a:pt x="870" y="534"/>
                  </a:lnTo>
                  <a:lnTo>
                    <a:pt x="894" y="498"/>
                  </a:lnTo>
                  <a:lnTo>
                    <a:pt x="924" y="480"/>
                  </a:lnTo>
                  <a:lnTo>
                    <a:pt x="924" y="474"/>
                  </a:lnTo>
                  <a:lnTo>
                    <a:pt x="912" y="462"/>
                  </a:lnTo>
                  <a:lnTo>
                    <a:pt x="906" y="450"/>
                  </a:lnTo>
                  <a:lnTo>
                    <a:pt x="906" y="414"/>
                  </a:lnTo>
                  <a:lnTo>
                    <a:pt x="912" y="408"/>
                  </a:lnTo>
                  <a:lnTo>
                    <a:pt x="924" y="408"/>
                  </a:lnTo>
                  <a:lnTo>
                    <a:pt x="948" y="396"/>
                  </a:lnTo>
                  <a:lnTo>
                    <a:pt x="954" y="390"/>
                  </a:lnTo>
                  <a:lnTo>
                    <a:pt x="954" y="384"/>
                  </a:lnTo>
                  <a:lnTo>
                    <a:pt x="948" y="378"/>
                  </a:lnTo>
                  <a:lnTo>
                    <a:pt x="936" y="372"/>
                  </a:lnTo>
                  <a:lnTo>
                    <a:pt x="900" y="372"/>
                  </a:lnTo>
                  <a:lnTo>
                    <a:pt x="894" y="336"/>
                  </a:lnTo>
                  <a:lnTo>
                    <a:pt x="876" y="336"/>
                  </a:lnTo>
                  <a:lnTo>
                    <a:pt x="864" y="318"/>
                  </a:lnTo>
                  <a:lnTo>
                    <a:pt x="846" y="318"/>
                  </a:lnTo>
                  <a:lnTo>
                    <a:pt x="846" y="306"/>
                  </a:lnTo>
                  <a:lnTo>
                    <a:pt x="852" y="294"/>
                  </a:lnTo>
                  <a:lnTo>
                    <a:pt x="852" y="288"/>
                  </a:lnTo>
                  <a:lnTo>
                    <a:pt x="846" y="288"/>
                  </a:lnTo>
                  <a:lnTo>
                    <a:pt x="834" y="276"/>
                  </a:lnTo>
                  <a:lnTo>
                    <a:pt x="834" y="270"/>
                  </a:lnTo>
                  <a:lnTo>
                    <a:pt x="840" y="264"/>
                  </a:lnTo>
                  <a:lnTo>
                    <a:pt x="846" y="252"/>
                  </a:lnTo>
                  <a:lnTo>
                    <a:pt x="852" y="246"/>
                  </a:lnTo>
                  <a:lnTo>
                    <a:pt x="822" y="240"/>
                  </a:lnTo>
                  <a:lnTo>
                    <a:pt x="828" y="228"/>
                  </a:lnTo>
                  <a:lnTo>
                    <a:pt x="804" y="210"/>
                  </a:lnTo>
                  <a:lnTo>
                    <a:pt x="804" y="204"/>
                  </a:lnTo>
                  <a:lnTo>
                    <a:pt x="810" y="192"/>
                  </a:lnTo>
                  <a:lnTo>
                    <a:pt x="834" y="180"/>
                  </a:lnTo>
                  <a:lnTo>
                    <a:pt x="876" y="180"/>
                  </a:lnTo>
                  <a:lnTo>
                    <a:pt x="894" y="186"/>
                  </a:lnTo>
                  <a:lnTo>
                    <a:pt x="912" y="186"/>
                  </a:lnTo>
                  <a:lnTo>
                    <a:pt x="918" y="192"/>
                  </a:lnTo>
                  <a:lnTo>
                    <a:pt x="918" y="204"/>
                  </a:lnTo>
                  <a:lnTo>
                    <a:pt x="930" y="204"/>
                  </a:lnTo>
                  <a:lnTo>
                    <a:pt x="942" y="198"/>
                  </a:lnTo>
                  <a:lnTo>
                    <a:pt x="948" y="192"/>
                  </a:lnTo>
                  <a:lnTo>
                    <a:pt x="960" y="186"/>
                  </a:lnTo>
                  <a:lnTo>
                    <a:pt x="966" y="180"/>
                  </a:lnTo>
                  <a:lnTo>
                    <a:pt x="972" y="186"/>
                  </a:lnTo>
                  <a:lnTo>
                    <a:pt x="978" y="180"/>
                  </a:lnTo>
                  <a:lnTo>
                    <a:pt x="1002" y="180"/>
                  </a:lnTo>
                  <a:lnTo>
                    <a:pt x="1002" y="162"/>
                  </a:lnTo>
                  <a:lnTo>
                    <a:pt x="1026" y="156"/>
                  </a:lnTo>
                  <a:lnTo>
                    <a:pt x="1050" y="120"/>
                  </a:lnTo>
                  <a:lnTo>
                    <a:pt x="1008" y="120"/>
                  </a:lnTo>
                  <a:close/>
                </a:path>
              </a:pathLst>
            </a:custGeom>
            <a:grpFill/>
            <a:ln w="3175">
              <a:solidFill>
                <a:schemeClr val="bg1"/>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de-DE" sz="1800" b="0" i="0" u="none" strike="noStrike" kern="1200" cap="none" spc="0" normalizeH="0" baseline="0" noProof="0">
                <a:ln>
                  <a:noFill/>
                </a:ln>
                <a:solidFill>
                  <a:srgbClr val="FFC000"/>
                </a:solidFill>
                <a:effectLst/>
                <a:uLnTx/>
                <a:uFillTx/>
                <a:latin typeface="Calibri" pitchFamily="34" charset="0"/>
                <a:ea typeface="+mn-ea"/>
                <a:cs typeface="+mn-cs"/>
              </a:endParaRPr>
            </a:p>
          </p:txBody>
        </p:sp>
        <p:sp>
          <p:nvSpPr>
            <p:cNvPr id="72" name="Parcel Islands" descr="© INSCALE GmbH, 05.05.2010&#10;http://www.presentationload.com/"/>
            <p:cNvSpPr>
              <a:spLocks noEditPoints="1"/>
            </p:cNvSpPr>
            <p:nvPr/>
          </p:nvSpPr>
          <p:spPr bwMode="gray">
            <a:xfrm>
              <a:off x="7008784" y="3872669"/>
              <a:ext cx="30716" cy="18372"/>
            </a:xfrm>
            <a:custGeom>
              <a:avLst/>
              <a:gdLst>
                <a:gd name="T0" fmla="*/ 2147483647 w 96"/>
                <a:gd name="T1" fmla="*/ 2147483647 h 66"/>
                <a:gd name="T2" fmla="*/ 2147483647 w 96"/>
                <a:gd name="T3" fmla="*/ 2147483647 h 66"/>
                <a:gd name="T4" fmla="*/ 0 w 96"/>
                <a:gd name="T5" fmla="*/ 2147483647 h 66"/>
                <a:gd name="T6" fmla="*/ 0 w 96"/>
                <a:gd name="T7" fmla="*/ 2147483647 h 66"/>
                <a:gd name="T8" fmla="*/ 2147483647 w 96"/>
                <a:gd name="T9" fmla="*/ 2147483647 h 66"/>
                <a:gd name="T10" fmla="*/ 2147483647 w 96"/>
                <a:gd name="T11" fmla="*/ 2147483647 h 66"/>
                <a:gd name="T12" fmla="*/ 2147483647 w 96"/>
                <a:gd name="T13" fmla="*/ 2147483647 h 66"/>
                <a:gd name="T14" fmla="*/ 2147483647 w 96"/>
                <a:gd name="T15" fmla="*/ 2147483647 h 66"/>
                <a:gd name="T16" fmla="*/ 2147483647 w 96"/>
                <a:gd name="T17" fmla="*/ 2147483647 h 66"/>
                <a:gd name="T18" fmla="*/ 2147483647 w 96"/>
                <a:gd name="T19" fmla="*/ 0 h 66"/>
                <a:gd name="T20" fmla="*/ 2147483647 w 96"/>
                <a:gd name="T21" fmla="*/ 2147483647 h 66"/>
                <a:gd name="T22" fmla="*/ 2147483647 w 96"/>
                <a:gd name="T23" fmla="*/ 2147483647 h 66"/>
                <a:gd name="T24" fmla="*/ 2147483647 w 96"/>
                <a:gd name="T25" fmla="*/ 2147483647 h 66"/>
                <a:gd name="T26" fmla="*/ 2147483647 w 96"/>
                <a:gd name="T27" fmla="*/ 2147483647 h 66"/>
                <a:gd name="T28" fmla="*/ 2147483647 w 96"/>
                <a:gd name="T29" fmla="*/ 0 h 66"/>
                <a:gd name="T30" fmla="*/ 2147483647 w 96"/>
                <a:gd name="T31" fmla="*/ 0 h 66"/>
                <a:gd name="T32" fmla="*/ 2147483647 w 96"/>
                <a:gd name="T33" fmla="*/ 2147483647 h 66"/>
                <a:gd name="T34" fmla="*/ 2147483647 w 96"/>
                <a:gd name="T35" fmla="*/ 2147483647 h 66"/>
                <a:gd name="T36" fmla="*/ 2147483647 w 96"/>
                <a:gd name="T37" fmla="*/ 2147483647 h 66"/>
                <a:gd name="T38" fmla="*/ 2147483647 w 96"/>
                <a:gd name="T39" fmla="*/ 2147483647 h 66"/>
                <a:gd name="T40" fmla="*/ 2147483647 w 96"/>
                <a:gd name="T41" fmla="*/ 2147483647 h 66"/>
                <a:gd name="T42" fmla="*/ 2147483647 w 96"/>
                <a:gd name="T43" fmla="*/ 2147483647 h 66"/>
                <a:gd name="T44" fmla="*/ 2147483647 w 96"/>
                <a:gd name="T45" fmla="*/ 2147483647 h 6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96"/>
                <a:gd name="T70" fmla="*/ 0 h 66"/>
                <a:gd name="T71" fmla="*/ 96 w 96"/>
                <a:gd name="T72" fmla="*/ 66 h 6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96" h="66">
                  <a:moveTo>
                    <a:pt x="12" y="42"/>
                  </a:moveTo>
                  <a:lnTo>
                    <a:pt x="6" y="42"/>
                  </a:lnTo>
                  <a:lnTo>
                    <a:pt x="0" y="48"/>
                  </a:lnTo>
                  <a:lnTo>
                    <a:pt x="0" y="60"/>
                  </a:lnTo>
                  <a:lnTo>
                    <a:pt x="6" y="66"/>
                  </a:lnTo>
                  <a:lnTo>
                    <a:pt x="12" y="66"/>
                  </a:lnTo>
                  <a:lnTo>
                    <a:pt x="24" y="54"/>
                  </a:lnTo>
                  <a:lnTo>
                    <a:pt x="24" y="42"/>
                  </a:lnTo>
                  <a:lnTo>
                    <a:pt x="12" y="42"/>
                  </a:lnTo>
                  <a:close/>
                  <a:moveTo>
                    <a:pt x="42" y="0"/>
                  </a:moveTo>
                  <a:lnTo>
                    <a:pt x="42" y="18"/>
                  </a:lnTo>
                  <a:lnTo>
                    <a:pt x="54" y="30"/>
                  </a:lnTo>
                  <a:lnTo>
                    <a:pt x="60" y="30"/>
                  </a:lnTo>
                  <a:lnTo>
                    <a:pt x="72" y="24"/>
                  </a:lnTo>
                  <a:lnTo>
                    <a:pt x="48" y="0"/>
                  </a:lnTo>
                  <a:lnTo>
                    <a:pt x="42" y="0"/>
                  </a:lnTo>
                  <a:close/>
                  <a:moveTo>
                    <a:pt x="96" y="36"/>
                  </a:moveTo>
                  <a:lnTo>
                    <a:pt x="78" y="36"/>
                  </a:lnTo>
                  <a:lnTo>
                    <a:pt x="72" y="42"/>
                  </a:lnTo>
                  <a:lnTo>
                    <a:pt x="72" y="54"/>
                  </a:lnTo>
                  <a:lnTo>
                    <a:pt x="84" y="60"/>
                  </a:lnTo>
                  <a:lnTo>
                    <a:pt x="96" y="48"/>
                  </a:lnTo>
                  <a:lnTo>
                    <a:pt x="96" y="36"/>
                  </a:lnTo>
                  <a:close/>
                </a:path>
              </a:pathLst>
            </a:custGeom>
            <a:grpFill/>
            <a:ln w="3175">
              <a:solidFill>
                <a:schemeClr val="bg1"/>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de-DE" sz="1800" b="0" i="0" u="none" strike="noStrike" kern="1200" cap="none" spc="0" normalizeH="0" baseline="0" noProof="0">
                <a:ln>
                  <a:noFill/>
                </a:ln>
                <a:solidFill>
                  <a:srgbClr val="FFC000"/>
                </a:solidFill>
                <a:effectLst/>
                <a:uLnTx/>
                <a:uFillTx/>
                <a:latin typeface="Calibri" pitchFamily="34" charset="0"/>
                <a:ea typeface="+mn-ea"/>
                <a:cs typeface="+mn-cs"/>
              </a:endParaRPr>
            </a:p>
          </p:txBody>
        </p:sp>
        <p:sp>
          <p:nvSpPr>
            <p:cNvPr id="73" name="Oman" descr="© INSCALE GmbH, 05.05.2010&#10;http://www.presentationload.com/"/>
            <p:cNvSpPr>
              <a:spLocks/>
            </p:cNvSpPr>
            <p:nvPr/>
          </p:nvSpPr>
          <p:spPr bwMode="gray">
            <a:xfrm>
              <a:off x="5653433" y="3677927"/>
              <a:ext cx="175338" cy="208215"/>
            </a:xfrm>
            <a:custGeom>
              <a:avLst/>
              <a:gdLst>
                <a:gd name="T0" fmla="*/ 2147483647 w 540"/>
                <a:gd name="T1" fmla="*/ 2147483647 h 672"/>
                <a:gd name="T2" fmla="*/ 2147483647 w 540"/>
                <a:gd name="T3" fmla="*/ 2147483647 h 672"/>
                <a:gd name="T4" fmla="*/ 2147483647 w 540"/>
                <a:gd name="T5" fmla="*/ 2147483647 h 672"/>
                <a:gd name="T6" fmla="*/ 2147483647 w 540"/>
                <a:gd name="T7" fmla="*/ 2147483647 h 672"/>
                <a:gd name="T8" fmla="*/ 2147483647 w 540"/>
                <a:gd name="T9" fmla="*/ 2147483647 h 672"/>
                <a:gd name="T10" fmla="*/ 2147483647 w 540"/>
                <a:gd name="T11" fmla="*/ 2147483647 h 672"/>
                <a:gd name="T12" fmla="*/ 2147483647 w 540"/>
                <a:gd name="T13" fmla="*/ 2147483647 h 672"/>
                <a:gd name="T14" fmla="*/ 2147483647 w 540"/>
                <a:gd name="T15" fmla="*/ 2147483647 h 672"/>
                <a:gd name="T16" fmla="*/ 2147483647 w 540"/>
                <a:gd name="T17" fmla="*/ 2147483647 h 672"/>
                <a:gd name="T18" fmla="*/ 2147483647 w 540"/>
                <a:gd name="T19" fmla="*/ 2147483647 h 672"/>
                <a:gd name="T20" fmla="*/ 2147483647 w 540"/>
                <a:gd name="T21" fmla="*/ 2147483647 h 672"/>
                <a:gd name="T22" fmla="*/ 2147483647 w 540"/>
                <a:gd name="T23" fmla="*/ 2147483647 h 672"/>
                <a:gd name="T24" fmla="*/ 2147483647 w 540"/>
                <a:gd name="T25" fmla="*/ 2147483647 h 672"/>
                <a:gd name="T26" fmla="*/ 2147483647 w 540"/>
                <a:gd name="T27" fmla="*/ 2147483647 h 672"/>
                <a:gd name="T28" fmla="*/ 2147483647 w 540"/>
                <a:gd name="T29" fmla="*/ 2147483647 h 672"/>
                <a:gd name="T30" fmla="*/ 2147483647 w 540"/>
                <a:gd name="T31" fmla="*/ 2147483647 h 672"/>
                <a:gd name="T32" fmla="*/ 2147483647 w 540"/>
                <a:gd name="T33" fmla="*/ 2147483647 h 672"/>
                <a:gd name="T34" fmla="*/ 2147483647 w 540"/>
                <a:gd name="T35" fmla="*/ 2147483647 h 672"/>
                <a:gd name="T36" fmla="*/ 2147483647 w 540"/>
                <a:gd name="T37" fmla="*/ 2147483647 h 672"/>
                <a:gd name="T38" fmla="*/ 2147483647 w 540"/>
                <a:gd name="T39" fmla="*/ 2147483647 h 672"/>
                <a:gd name="T40" fmla="*/ 2147483647 w 540"/>
                <a:gd name="T41" fmla="*/ 2147483647 h 672"/>
                <a:gd name="T42" fmla="*/ 2147483647 w 540"/>
                <a:gd name="T43" fmla="*/ 2147483647 h 672"/>
                <a:gd name="T44" fmla="*/ 2147483647 w 540"/>
                <a:gd name="T45" fmla="*/ 2147483647 h 672"/>
                <a:gd name="T46" fmla="*/ 2147483647 w 540"/>
                <a:gd name="T47" fmla="*/ 2147483647 h 672"/>
                <a:gd name="T48" fmla="*/ 2147483647 w 540"/>
                <a:gd name="T49" fmla="*/ 2147483647 h 672"/>
                <a:gd name="T50" fmla="*/ 2147483647 w 540"/>
                <a:gd name="T51" fmla="*/ 0 h 672"/>
                <a:gd name="T52" fmla="*/ 2147483647 w 540"/>
                <a:gd name="T53" fmla="*/ 2147483647 h 672"/>
                <a:gd name="T54" fmla="*/ 2147483647 w 540"/>
                <a:gd name="T55" fmla="*/ 2147483647 h 672"/>
                <a:gd name="T56" fmla="*/ 2147483647 w 540"/>
                <a:gd name="T57" fmla="*/ 2147483647 h 672"/>
                <a:gd name="T58" fmla="*/ 2147483647 w 540"/>
                <a:gd name="T59" fmla="*/ 2147483647 h 672"/>
                <a:gd name="T60" fmla="*/ 2147483647 w 540"/>
                <a:gd name="T61" fmla="*/ 2147483647 h 672"/>
                <a:gd name="T62" fmla="*/ 2147483647 w 540"/>
                <a:gd name="T63" fmla="*/ 2147483647 h 672"/>
                <a:gd name="T64" fmla="*/ 2147483647 w 540"/>
                <a:gd name="T65" fmla="*/ 2147483647 h 672"/>
                <a:gd name="T66" fmla="*/ 2147483647 w 540"/>
                <a:gd name="T67" fmla="*/ 2147483647 h 672"/>
                <a:gd name="T68" fmla="*/ 2147483647 w 540"/>
                <a:gd name="T69" fmla="*/ 2147483647 h 672"/>
                <a:gd name="T70" fmla="*/ 2147483647 w 540"/>
                <a:gd name="T71" fmla="*/ 2147483647 h 672"/>
                <a:gd name="T72" fmla="*/ 2147483647 w 540"/>
                <a:gd name="T73" fmla="*/ 2147483647 h 672"/>
                <a:gd name="T74" fmla="*/ 2147483647 w 540"/>
                <a:gd name="T75" fmla="*/ 2147483647 h 672"/>
                <a:gd name="T76" fmla="*/ 2147483647 w 540"/>
                <a:gd name="T77" fmla="*/ 2147483647 h 672"/>
                <a:gd name="T78" fmla="*/ 2147483647 w 540"/>
                <a:gd name="T79" fmla="*/ 2147483647 h 672"/>
                <a:gd name="T80" fmla="*/ 2147483647 w 540"/>
                <a:gd name="T81" fmla="*/ 2147483647 h 672"/>
                <a:gd name="T82" fmla="*/ 2147483647 w 540"/>
                <a:gd name="T83" fmla="*/ 2147483647 h 672"/>
                <a:gd name="T84" fmla="*/ 2147483647 w 540"/>
                <a:gd name="T85" fmla="*/ 2147483647 h 672"/>
                <a:gd name="T86" fmla="*/ 2147483647 w 540"/>
                <a:gd name="T87" fmla="*/ 2147483647 h 672"/>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540"/>
                <a:gd name="T133" fmla="*/ 0 h 672"/>
                <a:gd name="T134" fmla="*/ 540 w 540"/>
                <a:gd name="T135" fmla="*/ 672 h 672"/>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540" h="672">
                  <a:moveTo>
                    <a:pt x="258" y="564"/>
                  </a:moveTo>
                  <a:lnTo>
                    <a:pt x="276" y="564"/>
                  </a:lnTo>
                  <a:lnTo>
                    <a:pt x="288" y="558"/>
                  </a:lnTo>
                  <a:lnTo>
                    <a:pt x="306" y="552"/>
                  </a:lnTo>
                  <a:lnTo>
                    <a:pt x="330" y="540"/>
                  </a:lnTo>
                  <a:lnTo>
                    <a:pt x="336" y="528"/>
                  </a:lnTo>
                  <a:lnTo>
                    <a:pt x="342" y="510"/>
                  </a:lnTo>
                  <a:lnTo>
                    <a:pt x="342" y="498"/>
                  </a:lnTo>
                  <a:lnTo>
                    <a:pt x="348" y="498"/>
                  </a:lnTo>
                  <a:lnTo>
                    <a:pt x="354" y="492"/>
                  </a:lnTo>
                  <a:lnTo>
                    <a:pt x="366" y="486"/>
                  </a:lnTo>
                  <a:lnTo>
                    <a:pt x="384" y="480"/>
                  </a:lnTo>
                  <a:lnTo>
                    <a:pt x="408" y="456"/>
                  </a:lnTo>
                  <a:lnTo>
                    <a:pt x="414" y="444"/>
                  </a:lnTo>
                  <a:lnTo>
                    <a:pt x="414" y="426"/>
                  </a:lnTo>
                  <a:lnTo>
                    <a:pt x="420" y="408"/>
                  </a:lnTo>
                  <a:lnTo>
                    <a:pt x="420" y="378"/>
                  </a:lnTo>
                  <a:lnTo>
                    <a:pt x="426" y="372"/>
                  </a:lnTo>
                  <a:lnTo>
                    <a:pt x="432" y="372"/>
                  </a:lnTo>
                  <a:lnTo>
                    <a:pt x="444" y="378"/>
                  </a:lnTo>
                  <a:lnTo>
                    <a:pt x="450" y="384"/>
                  </a:lnTo>
                  <a:lnTo>
                    <a:pt x="462" y="384"/>
                  </a:lnTo>
                  <a:lnTo>
                    <a:pt x="468" y="378"/>
                  </a:lnTo>
                  <a:lnTo>
                    <a:pt x="480" y="354"/>
                  </a:lnTo>
                  <a:lnTo>
                    <a:pt x="480" y="330"/>
                  </a:lnTo>
                  <a:lnTo>
                    <a:pt x="534" y="276"/>
                  </a:lnTo>
                  <a:lnTo>
                    <a:pt x="534" y="264"/>
                  </a:lnTo>
                  <a:lnTo>
                    <a:pt x="540" y="252"/>
                  </a:lnTo>
                  <a:lnTo>
                    <a:pt x="540" y="204"/>
                  </a:lnTo>
                  <a:lnTo>
                    <a:pt x="528" y="192"/>
                  </a:lnTo>
                  <a:lnTo>
                    <a:pt x="510" y="192"/>
                  </a:lnTo>
                  <a:lnTo>
                    <a:pt x="510" y="186"/>
                  </a:lnTo>
                  <a:lnTo>
                    <a:pt x="492" y="168"/>
                  </a:lnTo>
                  <a:lnTo>
                    <a:pt x="486" y="150"/>
                  </a:lnTo>
                  <a:lnTo>
                    <a:pt x="462" y="126"/>
                  </a:lnTo>
                  <a:lnTo>
                    <a:pt x="456" y="114"/>
                  </a:lnTo>
                  <a:lnTo>
                    <a:pt x="432" y="96"/>
                  </a:lnTo>
                  <a:lnTo>
                    <a:pt x="396" y="84"/>
                  </a:lnTo>
                  <a:lnTo>
                    <a:pt x="366" y="78"/>
                  </a:lnTo>
                  <a:lnTo>
                    <a:pt x="348" y="78"/>
                  </a:lnTo>
                  <a:lnTo>
                    <a:pt x="342" y="72"/>
                  </a:lnTo>
                  <a:lnTo>
                    <a:pt x="330" y="72"/>
                  </a:lnTo>
                  <a:lnTo>
                    <a:pt x="318" y="60"/>
                  </a:lnTo>
                  <a:lnTo>
                    <a:pt x="294" y="48"/>
                  </a:lnTo>
                  <a:lnTo>
                    <a:pt x="288" y="36"/>
                  </a:lnTo>
                  <a:lnTo>
                    <a:pt x="288" y="30"/>
                  </a:lnTo>
                  <a:lnTo>
                    <a:pt x="282" y="18"/>
                  </a:lnTo>
                  <a:lnTo>
                    <a:pt x="276" y="12"/>
                  </a:lnTo>
                  <a:lnTo>
                    <a:pt x="252" y="18"/>
                  </a:lnTo>
                  <a:lnTo>
                    <a:pt x="246" y="6"/>
                  </a:lnTo>
                  <a:lnTo>
                    <a:pt x="246" y="0"/>
                  </a:lnTo>
                  <a:lnTo>
                    <a:pt x="240" y="0"/>
                  </a:lnTo>
                  <a:lnTo>
                    <a:pt x="234" y="6"/>
                  </a:lnTo>
                  <a:lnTo>
                    <a:pt x="234" y="12"/>
                  </a:lnTo>
                  <a:lnTo>
                    <a:pt x="228" y="24"/>
                  </a:lnTo>
                  <a:lnTo>
                    <a:pt x="228" y="54"/>
                  </a:lnTo>
                  <a:lnTo>
                    <a:pt x="246" y="72"/>
                  </a:lnTo>
                  <a:lnTo>
                    <a:pt x="246" y="78"/>
                  </a:lnTo>
                  <a:lnTo>
                    <a:pt x="240" y="78"/>
                  </a:lnTo>
                  <a:lnTo>
                    <a:pt x="240" y="72"/>
                  </a:lnTo>
                  <a:lnTo>
                    <a:pt x="228" y="72"/>
                  </a:lnTo>
                  <a:lnTo>
                    <a:pt x="228" y="78"/>
                  </a:lnTo>
                  <a:lnTo>
                    <a:pt x="222" y="84"/>
                  </a:lnTo>
                  <a:lnTo>
                    <a:pt x="222" y="96"/>
                  </a:lnTo>
                  <a:lnTo>
                    <a:pt x="216" y="108"/>
                  </a:lnTo>
                  <a:lnTo>
                    <a:pt x="216" y="120"/>
                  </a:lnTo>
                  <a:lnTo>
                    <a:pt x="210" y="132"/>
                  </a:lnTo>
                  <a:lnTo>
                    <a:pt x="204" y="138"/>
                  </a:lnTo>
                  <a:lnTo>
                    <a:pt x="198" y="150"/>
                  </a:lnTo>
                  <a:lnTo>
                    <a:pt x="192" y="156"/>
                  </a:lnTo>
                  <a:lnTo>
                    <a:pt x="192" y="168"/>
                  </a:lnTo>
                  <a:lnTo>
                    <a:pt x="210" y="204"/>
                  </a:lnTo>
                  <a:lnTo>
                    <a:pt x="216" y="210"/>
                  </a:lnTo>
                  <a:lnTo>
                    <a:pt x="216" y="222"/>
                  </a:lnTo>
                  <a:lnTo>
                    <a:pt x="222" y="228"/>
                  </a:lnTo>
                  <a:lnTo>
                    <a:pt x="234" y="234"/>
                  </a:lnTo>
                  <a:lnTo>
                    <a:pt x="240" y="240"/>
                  </a:lnTo>
                  <a:lnTo>
                    <a:pt x="204" y="414"/>
                  </a:lnTo>
                  <a:lnTo>
                    <a:pt x="0" y="486"/>
                  </a:lnTo>
                  <a:lnTo>
                    <a:pt x="84" y="672"/>
                  </a:lnTo>
                  <a:lnTo>
                    <a:pt x="114" y="660"/>
                  </a:lnTo>
                  <a:lnTo>
                    <a:pt x="198" y="636"/>
                  </a:lnTo>
                  <a:lnTo>
                    <a:pt x="228" y="624"/>
                  </a:lnTo>
                  <a:lnTo>
                    <a:pt x="246" y="618"/>
                  </a:lnTo>
                  <a:lnTo>
                    <a:pt x="252" y="606"/>
                  </a:lnTo>
                  <a:lnTo>
                    <a:pt x="252" y="594"/>
                  </a:lnTo>
                  <a:lnTo>
                    <a:pt x="258" y="582"/>
                  </a:lnTo>
                  <a:lnTo>
                    <a:pt x="258" y="564"/>
                  </a:lnTo>
                  <a:close/>
                </a:path>
              </a:pathLst>
            </a:custGeom>
            <a:grpFill/>
            <a:ln w="3175">
              <a:solidFill>
                <a:schemeClr val="bg1"/>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de-DE" sz="1800" b="0" i="0" u="none" strike="noStrike" kern="1200" cap="none" spc="0" normalizeH="0" baseline="0" noProof="0">
                <a:ln>
                  <a:noFill/>
                </a:ln>
                <a:solidFill>
                  <a:srgbClr val="FFC000"/>
                </a:solidFill>
                <a:effectLst/>
                <a:uLnTx/>
                <a:uFillTx/>
                <a:latin typeface="Calibri" pitchFamily="34" charset="0"/>
                <a:ea typeface="+mn-ea"/>
                <a:cs typeface="+mn-cs"/>
              </a:endParaRPr>
            </a:p>
          </p:txBody>
        </p:sp>
        <p:sp>
          <p:nvSpPr>
            <p:cNvPr id="74" name="Norway" descr="© INSCALE GmbH, 05.05.2010&#10;http://www.presentationload.com/"/>
            <p:cNvSpPr>
              <a:spLocks noEditPoints="1"/>
            </p:cNvSpPr>
            <p:nvPr/>
          </p:nvSpPr>
          <p:spPr bwMode="gray">
            <a:xfrm>
              <a:off x="4609082" y="2401697"/>
              <a:ext cx="440265" cy="464195"/>
            </a:xfrm>
            <a:custGeom>
              <a:avLst/>
              <a:gdLst>
                <a:gd name="T0" fmla="*/ 2147483647 w 1362"/>
                <a:gd name="T1" fmla="*/ 2147483647 h 1500"/>
                <a:gd name="T2" fmla="*/ 2147483647 w 1362"/>
                <a:gd name="T3" fmla="*/ 2147483647 h 1500"/>
                <a:gd name="T4" fmla="*/ 2147483647 w 1362"/>
                <a:gd name="T5" fmla="*/ 2147483647 h 1500"/>
                <a:gd name="T6" fmla="*/ 2147483647 w 1362"/>
                <a:gd name="T7" fmla="*/ 2147483647 h 1500"/>
                <a:gd name="T8" fmla="*/ 2147483647 w 1362"/>
                <a:gd name="T9" fmla="*/ 0 h 1500"/>
                <a:gd name="T10" fmla="*/ 2147483647 w 1362"/>
                <a:gd name="T11" fmla="*/ 2147483647 h 1500"/>
                <a:gd name="T12" fmla="*/ 2147483647 w 1362"/>
                <a:gd name="T13" fmla="*/ 2147483647 h 1500"/>
                <a:gd name="T14" fmla="*/ 2147483647 w 1362"/>
                <a:gd name="T15" fmla="*/ 2147483647 h 1500"/>
                <a:gd name="T16" fmla="*/ 2147483647 w 1362"/>
                <a:gd name="T17" fmla="*/ 2147483647 h 1500"/>
                <a:gd name="T18" fmla="*/ 2147483647 w 1362"/>
                <a:gd name="T19" fmla="*/ 2147483647 h 1500"/>
                <a:gd name="T20" fmla="*/ 2147483647 w 1362"/>
                <a:gd name="T21" fmla="*/ 2147483647 h 1500"/>
                <a:gd name="T22" fmla="*/ 2147483647 w 1362"/>
                <a:gd name="T23" fmla="*/ 2147483647 h 1500"/>
                <a:gd name="T24" fmla="*/ 2147483647 w 1362"/>
                <a:gd name="T25" fmla="*/ 2147483647 h 1500"/>
                <a:gd name="T26" fmla="*/ 2147483647 w 1362"/>
                <a:gd name="T27" fmla="*/ 2147483647 h 1500"/>
                <a:gd name="T28" fmla="*/ 2147483647 w 1362"/>
                <a:gd name="T29" fmla="*/ 2147483647 h 1500"/>
                <a:gd name="T30" fmla="*/ 2147483647 w 1362"/>
                <a:gd name="T31" fmla="*/ 2147483647 h 1500"/>
                <a:gd name="T32" fmla="*/ 2147483647 w 1362"/>
                <a:gd name="T33" fmla="*/ 2147483647 h 1500"/>
                <a:gd name="T34" fmla="*/ 2147483647 w 1362"/>
                <a:gd name="T35" fmla="*/ 2147483647 h 1500"/>
                <a:gd name="T36" fmla="*/ 2147483647 w 1362"/>
                <a:gd name="T37" fmla="*/ 2147483647 h 1500"/>
                <a:gd name="T38" fmla="*/ 2147483647 w 1362"/>
                <a:gd name="T39" fmla="*/ 2147483647 h 1500"/>
                <a:gd name="T40" fmla="*/ 2147483647 w 1362"/>
                <a:gd name="T41" fmla="*/ 2147483647 h 1500"/>
                <a:gd name="T42" fmla="*/ 2147483647 w 1362"/>
                <a:gd name="T43" fmla="*/ 2147483647 h 1500"/>
                <a:gd name="T44" fmla="*/ 2147483647 w 1362"/>
                <a:gd name="T45" fmla="*/ 2147483647 h 1500"/>
                <a:gd name="T46" fmla="*/ 2147483647 w 1362"/>
                <a:gd name="T47" fmla="*/ 2147483647 h 1500"/>
                <a:gd name="T48" fmla="*/ 2147483647 w 1362"/>
                <a:gd name="T49" fmla="*/ 2147483647 h 1500"/>
                <a:gd name="T50" fmla="*/ 2147483647 w 1362"/>
                <a:gd name="T51" fmla="*/ 2147483647 h 1500"/>
                <a:gd name="T52" fmla="*/ 2147483647 w 1362"/>
                <a:gd name="T53" fmla="*/ 2147483647 h 1500"/>
                <a:gd name="T54" fmla="*/ 2147483647 w 1362"/>
                <a:gd name="T55" fmla="*/ 2147483647 h 1500"/>
                <a:gd name="T56" fmla="*/ 2147483647 w 1362"/>
                <a:gd name="T57" fmla="*/ 2147483647 h 1500"/>
                <a:gd name="T58" fmla="*/ 2147483647 w 1362"/>
                <a:gd name="T59" fmla="*/ 2147483647 h 1500"/>
                <a:gd name="T60" fmla="*/ 2147483647 w 1362"/>
                <a:gd name="T61" fmla="*/ 2147483647 h 1500"/>
                <a:gd name="T62" fmla="*/ 2147483647 w 1362"/>
                <a:gd name="T63" fmla="*/ 2147483647 h 1500"/>
                <a:gd name="T64" fmla="*/ 2147483647 w 1362"/>
                <a:gd name="T65" fmla="*/ 2147483647 h 1500"/>
                <a:gd name="T66" fmla="*/ 2147483647 w 1362"/>
                <a:gd name="T67" fmla="*/ 2147483647 h 1500"/>
                <a:gd name="T68" fmla="*/ 2147483647 w 1362"/>
                <a:gd name="T69" fmla="*/ 2147483647 h 1500"/>
                <a:gd name="T70" fmla="*/ 2147483647 w 1362"/>
                <a:gd name="T71" fmla="*/ 2147483647 h 1500"/>
                <a:gd name="T72" fmla="*/ 2147483647 w 1362"/>
                <a:gd name="T73" fmla="*/ 2147483647 h 1500"/>
                <a:gd name="T74" fmla="*/ 2147483647 w 1362"/>
                <a:gd name="T75" fmla="*/ 2147483647 h 1500"/>
                <a:gd name="T76" fmla="*/ 2147483647 w 1362"/>
                <a:gd name="T77" fmla="*/ 2147483647 h 1500"/>
                <a:gd name="T78" fmla="*/ 2147483647 w 1362"/>
                <a:gd name="T79" fmla="*/ 2147483647 h 1500"/>
                <a:gd name="T80" fmla="*/ 2147483647 w 1362"/>
                <a:gd name="T81" fmla="*/ 2147483647 h 1500"/>
                <a:gd name="T82" fmla="*/ 2147483647 w 1362"/>
                <a:gd name="T83" fmla="*/ 2147483647 h 1500"/>
                <a:gd name="T84" fmla="*/ 2147483647 w 1362"/>
                <a:gd name="T85" fmla="*/ 2147483647 h 1500"/>
                <a:gd name="T86" fmla="*/ 2147483647 w 1362"/>
                <a:gd name="T87" fmla="*/ 2147483647 h 1500"/>
                <a:gd name="T88" fmla="*/ 2147483647 w 1362"/>
                <a:gd name="T89" fmla="*/ 2147483647 h 1500"/>
                <a:gd name="T90" fmla="*/ 2147483647 w 1362"/>
                <a:gd name="T91" fmla="*/ 2147483647 h 1500"/>
                <a:gd name="T92" fmla="*/ 2147483647 w 1362"/>
                <a:gd name="T93" fmla="*/ 2147483647 h 1500"/>
                <a:gd name="T94" fmla="*/ 2147483647 w 1362"/>
                <a:gd name="T95" fmla="*/ 2147483647 h 1500"/>
                <a:gd name="T96" fmla="*/ 2147483647 w 1362"/>
                <a:gd name="T97" fmla="*/ 2147483647 h 1500"/>
                <a:gd name="T98" fmla="*/ 2147483647 w 1362"/>
                <a:gd name="T99" fmla="*/ 2147483647 h 1500"/>
                <a:gd name="T100" fmla="*/ 2147483647 w 1362"/>
                <a:gd name="T101" fmla="*/ 2147483647 h 1500"/>
                <a:gd name="T102" fmla="*/ 2147483647 w 1362"/>
                <a:gd name="T103" fmla="*/ 2147483647 h 1500"/>
                <a:gd name="T104" fmla="*/ 2147483647 w 1362"/>
                <a:gd name="T105" fmla="*/ 2147483647 h 1500"/>
                <a:gd name="T106" fmla="*/ 2147483647 w 1362"/>
                <a:gd name="T107" fmla="*/ 2147483647 h 1500"/>
                <a:gd name="T108" fmla="*/ 2147483647 w 1362"/>
                <a:gd name="T109" fmla="*/ 2147483647 h 1500"/>
                <a:gd name="T110" fmla="*/ 2147483647 w 1362"/>
                <a:gd name="T111" fmla="*/ 2147483647 h 1500"/>
                <a:gd name="T112" fmla="*/ 2147483647 w 1362"/>
                <a:gd name="T113" fmla="*/ 2147483647 h 1500"/>
                <a:gd name="T114" fmla="*/ 2147483647 w 1362"/>
                <a:gd name="T115" fmla="*/ 2147483647 h 1500"/>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1362"/>
                <a:gd name="T175" fmla="*/ 0 h 1500"/>
                <a:gd name="T176" fmla="*/ 1362 w 1362"/>
                <a:gd name="T177" fmla="*/ 1500 h 1500"/>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1362" h="1500">
                  <a:moveTo>
                    <a:pt x="324" y="120"/>
                  </a:moveTo>
                  <a:lnTo>
                    <a:pt x="336" y="126"/>
                  </a:lnTo>
                  <a:lnTo>
                    <a:pt x="354" y="132"/>
                  </a:lnTo>
                  <a:lnTo>
                    <a:pt x="378" y="132"/>
                  </a:lnTo>
                  <a:lnTo>
                    <a:pt x="294" y="90"/>
                  </a:lnTo>
                  <a:lnTo>
                    <a:pt x="294" y="102"/>
                  </a:lnTo>
                  <a:lnTo>
                    <a:pt x="306" y="108"/>
                  </a:lnTo>
                  <a:lnTo>
                    <a:pt x="312" y="114"/>
                  </a:lnTo>
                  <a:lnTo>
                    <a:pt x="324" y="120"/>
                  </a:lnTo>
                  <a:close/>
                  <a:moveTo>
                    <a:pt x="684" y="48"/>
                  </a:moveTo>
                  <a:lnTo>
                    <a:pt x="732" y="48"/>
                  </a:lnTo>
                  <a:lnTo>
                    <a:pt x="738" y="54"/>
                  </a:lnTo>
                  <a:lnTo>
                    <a:pt x="750" y="54"/>
                  </a:lnTo>
                  <a:lnTo>
                    <a:pt x="774" y="66"/>
                  </a:lnTo>
                  <a:lnTo>
                    <a:pt x="786" y="66"/>
                  </a:lnTo>
                  <a:lnTo>
                    <a:pt x="798" y="60"/>
                  </a:lnTo>
                  <a:lnTo>
                    <a:pt x="804" y="60"/>
                  </a:lnTo>
                  <a:lnTo>
                    <a:pt x="816" y="54"/>
                  </a:lnTo>
                  <a:lnTo>
                    <a:pt x="828" y="54"/>
                  </a:lnTo>
                  <a:lnTo>
                    <a:pt x="840" y="60"/>
                  </a:lnTo>
                  <a:lnTo>
                    <a:pt x="876" y="72"/>
                  </a:lnTo>
                  <a:lnTo>
                    <a:pt x="888" y="78"/>
                  </a:lnTo>
                  <a:lnTo>
                    <a:pt x="894" y="84"/>
                  </a:lnTo>
                  <a:lnTo>
                    <a:pt x="900" y="84"/>
                  </a:lnTo>
                  <a:lnTo>
                    <a:pt x="924" y="60"/>
                  </a:lnTo>
                  <a:lnTo>
                    <a:pt x="984" y="66"/>
                  </a:lnTo>
                  <a:lnTo>
                    <a:pt x="984" y="42"/>
                  </a:lnTo>
                  <a:lnTo>
                    <a:pt x="1014" y="42"/>
                  </a:lnTo>
                  <a:lnTo>
                    <a:pt x="1026" y="36"/>
                  </a:lnTo>
                  <a:lnTo>
                    <a:pt x="1032" y="24"/>
                  </a:lnTo>
                  <a:lnTo>
                    <a:pt x="1038" y="18"/>
                  </a:lnTo>
                  <a:lnTo>
                    <a:pt x="1032" y="12"/>
                  </a:lnTo>
                  <a:lnTo>
                    <a:pt x="1002" y="12"/>
                  </a:lnTo>
                  <a:lnTo>
                    <a:pt x="990" y="18"/>
                  </a:lnTo>
                  <a:lnTo>
                    <a:pt x="984" y="18"/>
                  </a:lnTo>
                  <a:lnTo>
                    <a:pt x="972" y="6"/>
                  </a:lnTo>
                  <a:lnTo>
                    <a:pt x="960" y="0"/>
                  </a:lnTo>
                  <a:lnTo>
                    <a:pt x="918" y="0"/>
                  </a:lnTo>
                  <a:lnTo>
                    <a:pt x="900" y="6"/>
                  </a:lnTo>
                  <a:lnTo>
                    <a:pt x="882" y="18"/>
                  </a:lnTo>
                  <a:lnTo>
                    <a:pt x="870" y="18"/>
                  </a:lnTo>
                  <a:lnTo>
                    <a:pt x="864" y="12"/>
                  </a:lnTo>
                  <a:lnTo>
                    <a:pt x="864" y="6"/>
                  </a:lnTo>
                  <a:lnTo>
                    <a:pt x="858" y="6"/>
                  </a:lnTo>
                  <a:lnTo>
                    <a:pt x="852" y="0"/>
                  </a:lnTo>
                  <a:lnTo>
                    <a:pt x="822" y="0"/>
                  </a:lnTo>
                  <a:lnTo>
                    <a:pt x="804" y="18"/>
                  </a:lnTo>
                  <a:lnTo>
                    <a:pt x="738" y="0"/>
                  </a:lnTo>
                  <a:lnTo>
                    <a:pt x="726" y="0"/>
                  </a:lnTo>
                  <a:lnTo>
                    <a:pt x="708" y="6"/>
                  </a:lnTo>
                  <a:lnTo>
                    <a:pt x="690" y="6"/>
                  </a:lnTo>
                  <a:lnTo>
                    <a:pt x="672" y="12"/>
                  </a:lnTo>
                  <a:lnTo>
                    <a:pt x="660" y="12"/>
                  </a:lnTo>
                  <a:lnTo>
                    <a:pt x="660" y="6"/>
                  </a:lnTo>
                  <a:lnTo>
                    <a:pt x="666" y="0"/>
                  </a:lnTo>
                  <a:lnTo>
                    <a:pt x="630" y="12"/>
                  </a:lnTo>
                  <a:lnTo>
                    <a:pt x="648" y="36"/>
                  </a:lnTo>
                  <a:lnTo>
                    <a:pt x="684" y="48"/>
                  </a:lnTo>
                  <a:close/>
                  <a:moveTo>
                    <a:pt x="324" y="66"/>
                  </a:moveTo>
                  <a:lnTo>
                    <a:pt x="342" y="66"/>
                  </a:lnTo>
                  <a:lnTo>
                    <a:pt x="348" y="72"/>
                  </a:lnTo>
                  <a:lnTo>
                    <a:pt x="360" y="72"/>
                  </a:lnTo>
                  <a:lnTo>
                    <a:pt x="360" y="78"/>
                  </a:lnTo>
                  <a:lnTo>
                    <a:pt x="342" y="96"/>
                  </a:lnTo>
                  <a:lnTo>
                    <a:pt x="336" y="96"/>
                  </a:lnTo>
                  <a:lnTo>
                    <a:pt x="378" y="114"/>
                  </a:lnTo>
                  <a:lnTo>
                    <a:pt x="390" y="120"/>
                  </a:lnTo>
                  <a:lnTo>
                    <a:pt x="396" y="126"/>
                  </a:lnTo>
                  <a:lnTo>
                    <a:pt x="414" y="126"/>
                  </a:lnTo>
                  <a:lnTo>
                    <a:pt x="426" y="132"/>
                  </a:lnTo>
                  <a:lnTo>
                    <a:pt x="438" y="132"/>
                  </a:lnTo>
                  <a:lnTo>
                    <a:pt x="462" y="108"/>
                  </a:lnTo>
                  <a:lnTo>
                    <a:pt x="504" y="96"/>
                  </a:lnTo>
                  <a:lnTo>
                    <a:pt x="534" y="120"/>
                  </a:lnTo>
                  <a:lnTo>
                    <a:pt x="528" y="120"/>
                  </a:lnTo>
                  <a:lnTo>
                    <a:pt x="516" y="126"/>
                  </a:lnTo>
                  <a:lnTo>
                    <a:pt x="504" y="126"/>
                  </a:lnTo>
                  <a:lnTo>
                    <a:pt x="480" y="132"/>
                  </a:lnTo>
                  <a:lnTo>
                    <a:pt x="468" y="138"/>
                  </a:lnTo>
                  <a:lnTo>
                    <a:pt x="456" y="150"/>
                  </a:lnTo>
                  <a:lnTo>
                    <a:pt x="486" y="150"/>
                  </a:lnTo>
                  <a:lnTo>
                    <a:pt x="498" y="156"/>
                  </a:lnTo>
                  <a:lnTo>
                    <a:pt x="522" y="156"/>
                  </a:lnTo>
                  <a:lnTo>
                    <a:pt x="516" y="162"/>
                  </a:lnTo>
                  <a:lnTo>
                    <a:pt x="504" y="162"/>
                  </a:lnTo>
                  <a:lnTo>
                    <a:pt x="486" y="168"/>
                  </a:lnTo>
                  <a:lnTo>
                    <a:pt x="474" y="174"/>
                  </a:lnTo>
                  <a:lnTo>
                    <a:pt x="468" y="180"/>
                  </a:lnTo>
                  <a:lnTo>
                    <a:pt x="462" y="180"/>
                  </a:lnTo>
                  <a:lnTo>
                    <a:pt x="516" y="198"/>
                  </a:lnTo>
                  <a:lnTo>
                    <a:pt x="522" y="198"/>
                  </a:lnTo>
                  <a:lnTo>
                    <a:pt x="528" y="204"/>
                  </a:lnTo>
                  <a:lnTo>
                    <a:pt x="540" y="210"/>
                  </a:lnTo>
                  <a:lnTo>
                    <a:pt x="558" y="210"/>
                  </a:lnTo>
                  <a:lnTo>
                    <a:pt x="576" y="216"/>
                  </a:lnTo>
                  <a:lnTo>
                    <a:pt x="594" y="210"/>
                  </a:lnTo>
                  <a:lnTo>
                    <a:pt x="606" y="204"/>
                  </a:lnTo>
                  <a:lnTo>
                    <a:pt x="612" y="204"/>
                  </a:lnTo>
                  <a:lnTo>
                    <a:pt x="618" y="198"/>
                  </a:lnTo>
                  <a:lnTo>
                    <a:pt x="612" y="192"/>
                  </a:lnTo>
                  <a:lnTo>
                    <a:pt x="612" y="186"/>
                  </a:lnTo>
                  <a:lnTo>
                    <a:pt x="606" y="180"/>
                  </a:lnTo>
                  <a:lnTo>
                    <a:pt x="606" y="174"/>
                  </a:lnTo>
                  <a:lnTo>
                    <a:pt x="612" y="168"/>
                  </a:lnTo>
                  <a:lnTo>
                    <a:pt x="618" y="168"/>
                  </a:lnTo>
                  <a:lnTo>
                    <a:pt x="630" y="162"/>
                  </a:lnTo>
                  <a:lnTo>
                    <a:pt x="648" y="162"/>
                  </a:lnTo>
                  <a:lnTo>
                    <a:pt x="648" y="144"/>
                  </a:lnTo>
                  <a:lnTo>
                    <a:pt x="678" y="132"/>
                  </a:lnTo>
                  <a:lnTo>
                    <a:pt x="690" y="102"/>
                  </a:lnTo>
                  <a:lnTo>
                    <a:pt x="714" y="114"/>
                  </a:lnTo>
                  <a:lnTo>
                    <a:pt x="738" y="102"/>
                  </a:lnTo>
                  <a:lnTo>
                    <a:pt x="750" y="114"/>
                  </a:lnTo>
                  <a:lnTo>
                    <a:pt x="762" y="120"/>
                  </a:lnTo>
                  <a:lnTo>
                    <a:pt x="780" y="126"/>
                  </a:lnTo>
                  <a:lnTo>
                    <a:pt x="792" y="138"/>
                  </a:lnTo>
                  <a:lnTo>
                    <a:pt x="792" y="144"/>
                  </a:lnTo>
                  <a:lnTo>
                    <a:pt x="786" y="150"/>
                  </a:lnTo>
                  <a:lnTo>
                    <a:pt x="786" y="162"/>
                  </a:lnTo>
                  <a:lnTo>
                    <a:pt x="774" y="174"/>
                  </a:lnTo>
                  <a:lnTo>
                    <a:pt x="828" y="174"/>
                  </a:lnTo>
                  <a:lnTo>
                    <a:pt x="834" y="180"/>
                  </a:lnTo>
                  <a:lnTo>
                    <a:pt x="846" y="186"/>
                  </a:lnTo>
                  <a:lnTo>
                    <a:pt x="852" y="192"/>
                  </a:lnTo>
                  <a:lnTo>
                    <a:pt x="858" y="192"/>
                  </a:lnTo>
                  <a:lnTo>
                    <a:pt x="864" y="186"/>
                  </a:lnTo>
                  <a:lnTo>
                    <a:pt x="876" y="186"/>
                  </a:lnTo>
                  <a:lnTo>
                    <a:pt x="894" y="174"/>
                  </a:lnTo>
                  <a:lnTo>
                    <a:pt x="906" y="168"/>
                  </a:lnTo>
                  <a:lnTo>
                    <a:pt x="924" y="162"/>
                  </a:lnTo>
                  <a:lnTo>
                    <a:pt x="936" y="156"/>
                  </a:lnTo>
                  <a:lnTo>
                    <a:pt x="942" y="150"/>
                  </a:lnTo>
                  <a:lnTo>
                    <a:pt x="942" y="144"/>
                  </a:lnTo>
                  <a:lnTo>
                    <a:pt x="936" y="144"/>
                  </a:lnTo>
                  <a:lnTo>
                    <a:pt x="924" y="138"/>
                  </a:lnTo>
                  <a:lnTo>
                    <a:pt x="888" y="138"/>
                  </a:lnTo>
                  <a:lnTo>
                    <a:pt x="882" y="120"/>
                  </a:lnTo>
                  <a:lnTo>
                    <a:pt x="828" y="114"/>
                  </a:lnTo>
                  <a:lnTo>
                    <a:pt x="828" y="96"/>
                  </a:lnTo>
                  <a:lnTo>
                    <a:pt x="798" y="102"/>
                  </a:lnTo>
                  <a:lnTo>
                    <a:pt x="798" y="84"/>
                  </a:lnTo>
                  <a:lnTo>
                    <a:pt x="726" y="84"/>
                  </a:lnTo>
                  <a:lnTo>
                    <a:pt x="720" y="72"/>
                  </a:lnTo>
                  <a:lnTo>
                    <a:pt x="684" y="72"/>
                  </a:lnTo>
                  <a:lnTo>
                    <a:pt x="678" y="60"/>
                  </a:lnTo>
                  <a:lnTo>
                    <a:pt x="654" y="48"/>
                  </a:lnTo>
                  <a:lnTo>
                    <a:pt x="624" y="48"/>
                  </a:lnTo>
                  <a:lnTo>
                    <a:pt x="624" y="30"/>
                  </a:lnTo>
                  <a:lnTo>
                    <a:pt x="618" y="30"/>
                  </a:lnTo>
                  <a:lnTo>
                    <a:pt x="612" y="24"/>
                  </a:lnTo>
                  <a:lnTo>
                    <a:pt x="540" y="24"/>
                  </a:lnTo>
                  <a:lnTo>
                    <a:pt x="534" y="30"/>
                  </a:lnTo>
                  <a:lnTo>
                    <a:pt x="534" y="36"/>
                  </a:lnTo>
                  <a:lnTo>
                    <a:pt x="540" y="42"/>
                  </a:lnTo>
                  <a:lnTo>
                    <a:pt x="546" y="54"/>
                  </a:lnTo>
                  <a:lnTo>
                    <a:pt x="564" y="72"/>
                  </a:lnTo>
                  <a:lnTo>
                    <a:pt x="552" y="66"/>
                  </a:lnTo>
                  <a:lnTo>
                    <a:pt x="546" y="60"/>
                  </a:lnTo>
                  <a:lnTo>
                    <a:pt x="528" y="48"/>
                  </a:lnTo>
                  <a:lnTo>
                    <a:pt x="492" y="30"/>
                  </a:lnTo>
                  <a:lnTo>
                    <a:pt x="480" y="30"/>
                  </a:lnTo>
                  <a:lnTo>
                    <a:pt x="474" y="36"/>
                  </a:lnTo>
                  <a:lnTo>
                    <a:pt x="468" y="48"/>
                  </a:lnTo>
                  <a:lnTo>
                    <a:pt x="462" y="54"/>
                  </a:lnTo>
                  <a:lnTo>
                    <a:pt x="450" y="54"/>
                  </a:lnTo>
                  <a:lnTo>
                    <a:pt x="438" y="48"/>
                  </a:lnTo>
                  <a:lnTo>
                    <a:pt x="420" y="48"/>
                  </a:lnTo>
                  <a:lnTo>
                    <a:pt x="420" y="42"/>
                  </a:lnTo>
                  <a:lnTo>
                    <a:pt x="426" y="42"/>
                  </a:lnTo>
                  <a:lnTo>
                    <a:pt x="438" y="30"/>
                  </a:lnTo>
                  <a:lnTo>
                    <a:pt x="384" y="30"/>
                  </a:lnTo>
                  <a:lnTo>
                    <a:pt x="372" y="42"/>
                  </a:lnTo>
                  <a:lnTo>
                    <a:pt x="366" y="30"/>
                  </a:lnTo>
                  <a:lnTo>
                    <a:pt x="354" y="30"/>
                  </a:lnTo>
                  <a:lnTo>
                    <a:pt x="318" y="48"/>
                  </a:lnTo>
                  <a:lnTo>
                    <a:pt x="318" y="60"/>
                  </a:lnTo>
                  <a:lnTo>
                    <a:pt x="324" y="66"/>
                  </a:lnTo>
                  <a:close/>
                  <a:moveTo>
                    <a:pt x="642" y="708"/>
                  </a:moveTo>
                  <a:lnTo>
                    <a:pt x="666" y="696"/>
                  </a:lnTo>
                  <a:lnTo>
                    <a:pt x="666" y="690"/>
                  </a:lnTo>
                  <a:lnTo>
                    <a:pt x="678" y="690"/>
                  </a:lnTo>
                  <a:lnTo>
                    <a:pt x="678" y="678"/>
                  </a:lnTo>
                  <a:lnTo>
                    <a:pt x="672" y="672"/>
                  </a:lnTo>
                  <a:lnTo>
                    <a:pt x="630" y="690"/>
                  </a:lnTo>
                  <a:lnTo>
                    <a:pt x="642" y="708"/>
                  </a:lnTo>
                  <a:close/>
                  <a:moveTo>
                    <a:pt x="774" y="648"/>
                  </a:moveTo>
                  <a:lnTo>
                    <a:pt x="780" y="642"/>
                  </a:lnTo>
                  <a:lnTo>
                    <a:pt x="786" y="642"/>
                  </a:lnTo>
                  <a:lnTo>
                    <a:pt x="792" y="636"/>
                  </a:lnTo>
                  <a:lnTo>
                    <a:pt x="792" y="630"/>
                  </a:lnTo>
                  <a:lnTo>
                    <a:pt x="786" y="624"/>
                  </a:lnTo>
                  <a:lnTo>
                    <a:pt x="774" y="624"/>
                  </a:lnTo>
                  <a:lnTo>
                    <a:pt x="768" y="630"/>
                  </a:lnTo>
                  <a:lnTo>
                    <a:pt x="768" y="642"/>
                  </a:lnTo>
                  <a:lnTo>
                    <a:pt x="774" y="648"/>
                  </a:lnTo>
                  <a:close/>
                  <a:moveTo>
                    <a:pt x="594" y="696"/>
                  </a:moveTo>
                  <a:lnTo>
                    <a:pt x="576" y="696"/>
                  </a:lnTo>
                  <a:lnTo>
                    <a:pt x="552" y="708"/>
                  </a:lnTo>
                  <a:lnTo>
                    <a:pt x="546" y="714"/>
                  </a:lnTo>
                  <a:lnTo>
                    <a:pt x="570" y="720"/>
                  </a:lnTo>
                  <a:lnTo>
                    <a:pt x="576" y="714"/>
                  </a:lnTo>
                  <a:lnTo>
                    <a:pt x="588" y="714"/>
                  </a:lnTo>
                  <a:lnTo>
                    <a:pt x="600" y="702"/>
                  </a:lnTo>
                  <a:lnTo>
                    <a:pt x="594" y="696"/>
                  </a:lnTo>
                  <a:close/>
                  <a:moveTo>
                    <a:pt x="918" y="612"/>
                  </a:moveTo>
                  <a:lnTo>
                    <a:pt x="936" y="618"/>
                  </a:lnTo>
                  <a:lnTo>
                    <a:pt x="942" y="606"/>
                  </a:lnTo>
                  <a:lnTo>
                    <a:pt x="948" y="600"/>
                  </a:lnTo>
                  <a:lnTo>
                    <a:pt x="948" y="594"/>
                  </a:lnTo>
                  <a:lnTo>
                    <a:pt x="918" y="594"/>
                  </a:lnTo>
                  <a:lnTo>
                    <a:pt x="918" y="612"/>
                  </a:lnTo>
                  <a:close/>
                  <a:moveTo>
                    <a:pt x="486" y="756"/>
                  </a:moveTo>
                  <a:lnTo>
                    <a:pt x="474" y="756"/>
                  </a:lnTo>
                  <a:lnTo>
                    <a:pt x="438" y="774"/>
                  </a:lnTo>
                  <a:lnTo>
                    <a:pt x="432" y="780"/>
                  </a:lnTo>
                  <a:lnTo>
                    <a:pt x="432" y="786"/>
                  </a:lnTo>
                  <a:lnTo>
                    <a:pt x="444" y="786"/>
                  </a:lnTo>
                  <a:lnTo>
                    <a:pt x="456" y="780"/>
                  </a:lnTo>
                  <a:lnTo>
                    <a:pt x="462" y="774"/>
                  </a:lnTo>
                  <a:lnTo>
                    <a:pt x="474" y="768"/>
                  </a:lnTo>
                  <a:lnTo>
                    <a:pt x="510" y="768"/>
                  </a:lnTo>
                  <a:lnTo>
                    <a:pt x="510" y="762"/>
                  </a:lnTo>
                  <a:lnTo>
                    <a:pt x="504" y="762"/>
                  </a:lnTo>
                  <a:lnTo>
                    <a:pt x="504" y="756"/>
                  </a:lnTo>
                  <a:lnTo>
                    <a:pt x="486" y="756"/>
                  </a:lnTo>
                  <a:close/>
                  <a:moveTo>
                    <a:pt x="1356" y="660"/>
                  </a:moveTo>
                  <a:lnTo>
                    <a:pt x="1326" y="666"/>
                  </a:lnTo>
                  <a:lnTo>
                    <a:pt x="1290" y="654"/>
                  </a:lnTo>
                  <a:lnTo>
                    <a:pt x="1260" y="642"/>
                  </a:lnTo>
                  <a:lnTo>
                    <a:pt x="1302" y="642"/>
                  </a:lnTo>
                  <a:lnTo>
                    <a:pt x="1326" y="630"/>
                  </a:lnTo>
                  <a:lnTo>
                    <a:pt x="1344" y="630"/>
                  </a:lnTo>
                  <a:lnTo>
                    <a:pt x="1350" y="624"/>
                  </a:lnTo>
                  <a:lnTo>
                    <a:pt x="1356" y="624"/>
                  </a:lnTo>
                  <a:lnTo>
                    <a:pt x="1344" y="618"/>
                  </a:lnTo>
                  <a:lnTo>
                    <a:pt x="1338" y="612"/>
                  </a:lnTo>
                  <a:lnTo>
                    <a:pt x="1320" y="606"/>
                  </a:lnTo>
                  <a:lnTo>
                    <a:pt x="1308" y="600"/>
                  </a:lnTo>
                  <a:lnTo>
                    <a:pt x="1284" y="600"/>
                  </a:lnTo>
                  <a:lnTo>
                    <a:pt x="1260" y="588"/>
                  </a:lnTo>
                  <a:lnTo>
                    <a:pt x="1254" y="588"/>
                  </a:lnTo>
                  <a:lnTo>
                    <a:pt x="1242" y="582"/>
                  </a:lnTo>
                  <a:lnTo>
                    <a:pt x="1242" y="588"/>
                  </a:lnTo>
                  <a:lnTo>
                    <a:pt x="1236" y="594"/>
                  </a:lnTo>
                  <a:lnTo>
                    <a:pt x="1236" y="600"/>
                  </a:lnTo>
                  <a:lnTo>
                    <a:pt x="1218" y="618"/>
                  </a:lnTo>
                  <a:lnTo>
                    <a:pt x="1206" y="618"/>
                  </a:lnTo>
                  <a:lnTo>
                    <a:pt x="1200" y="612"/>
                  </a:lnTo>
                  <a:lnTo>
                    <a:pt x="1224" y="588"/>
                  </a:lnTo>
                  <a:lnTo>
                    <a:pt x="1158" y="564"/>
                  </a:lnTo>
                  <a:lnTo>
                    <a:pt x="1158" y="576"/>
                  </a:lnTo>
                  <a:lnTo>
                    <a:pt x="1152" y="594"/>
                  </a:lnTo>
                  <a:lnTo>
                    <a:pt x="1134" y="630"/>
                  </a:lnTo>
                  <a:lnTo>
                    <a:pt x="1128" y="630"/>
                  </a:lnTo>
                  <a:lnTo>
                    <a:pt x="1122" y="624"/>
                  </a:lnTo>
                  <a:lnTo>
                    <a:pt x="1116" y="612"/>
                  </a:lnTo>
                  <a:lnTo>
                    <a:pt x="1116" y="594"/>
                  </a:lnTo>
                  <a:lnTo>
                    <a:pt x="1122" y="582"/>
                  </a:lnTo>
                  <a:lnTo>
                    <a:pt x="1116" y="594"/>
                  </a:lnTo>
                  <a:lnTo>
                    <a:pt x="1104" y="600"/>
                  </a:lnTo>
                  <a:lnTo>
                    <a:pt x="1080" y="624"/>
                  </a:lnTo>
                  <a:lnTo>
                    <a:pt x="1056" y="636"/>
                  </a:lnTo>
                  <a:lnTo>
                    <a:pt x="1050" y="636"/>
                  </a:lnTo>
                  <a:lnTo>
                    <a:pt x="1050" y="630"/>
                  </a:lnTo>
                  <a:lnTo>
                    <a:pt x="1056" y="618"/>
                  </a:lnTo>
                  <a:lnTo>
                    <a:pt x="1086" y="588"/>
                  </a:lnTo>
                  <a:lnTo>
                    <a:pt x="1092" y="576"/>
                  </a:lnTo>
                  <a:lnTo>
                    <a:pt x="1104" y="570"/>
                  </a:lnTo>
                  <a:lnTo>
                    <a:pt x="1068" y="570"/>
                  </a:lnTo>
                  <a:lnTo>
                    <a:pt x="1050" y="582"/>
                  </a:lnTo>
                  <a:lnTo>
                    <a:pt x="1026" y="582"/>
                  </a:lnTo>
                  <a:lnTo>
                    <a:pt x="984" y="606"/>
                  </a:lnTo>
                  <a:lnTo>
                    <a:pt x="960" y="606"/>
                  </a:lnTo>
                  <a:lnTo>
                    <a:pt x="954" y="636"/>
                  </a:lnTo>
                  <a:lnTo>
                    <a:pt x="918" y="624"/>
                  </a:lnTo>
                  <a:lnTo>
                    <a:pt x="882" y="630"/>
                  </a:lnTo>
                  <a:lnTo>
                    <a:pt x="894" y="660"/>
                  </a:lnTo>
                  <a:lnTo>
                    <a:pt x="846" y="648"/>
                  </a:lnTo>
                  <a:lnTo>
                    <a:pt x="828" y="654"/>
                  </a:lnTo>
                  <a:lnTo>
                    <a:pt x="834" y="678"/>
                  </a:lnTo>
                  <a:lnTo>
                    <a:pt x="792" y="690"/>
                  </a:lnTo>
                  <a:lnTo>
                    <a:pt x="792" y="654"/>
                  </a:lnTo>
                  <a:lnTo>
                    <a:pt x="762" y="654"/>
                  </a:lnTo>
                  <a:lnTo>
                    <a:pt x="774" y="678"/>
                  </a:lnTo>
                  <a:lnTo>
                    <a:pt x="750" y="660"/>
                  </a:lnTo>
                  <a:lnTo>
                    <a:pt x="750" y="690"/>
                  </a:lnTo>
                  <a:lnTo>
                    <a:pt x="726" y="690"/>
                  </a:lnTo>
                  <a:lnTo>
                    <a:pt x="726" y="660"/>
                  </a:lnTo>
                  <a:lnTo>
                    <a:pt x="738" y="654"/>
                  </a:lnTo>
                  <a:lnTo>
                    <a:pt x="744" y="648"/>
                  </a:lnTo>
                  <a:lnTo>
                    <a:pt x="708" y="642"/>
                  </a:lnTo>
                  <a:lnTo>
                    <a:pt x="708" y="684"/>
                  </a:lnTo>
                  <a:lnTo>
                    <a:pt x="678" y="696"/>
                  </a:lnTo>
                  <a:lnTo>
                    <a:pt x="696" y="708"/>
                  </a:lnTo>
                  <a:lnTo>
                    <a:pt x="660" y="714"/>
                  </a:lnTo>
                  <a:lnTo>
                    <a:pt x="672" y="726"/>
                  </a:lnTo>
                  <a:lnTo>
                    <a:pt x="630" y="726"/>
                  </a:lnTo>
                  <a:lnTo>
                    <a:pt x="630" y="738"/>
                  </a:lnTo>
                  <a:lnTo>
                    <a:pt x="660" y="750"/>
                  </a:lnTo>
                  <a:lnTo>
                    <a:pt x="654" y="762"/>
                  </a:lnTo>
                  <a:lnTo>
                    <a:pt x="618" y="744"/>
                  </a:lnTo>
                  <a:lnTo>
                    <a:pt x="600" y="750"/>
                  </a:lnTo>
                  <a:lnTo>
                    <a:pt x="624" y="762"/>
                  </a:lnTo>
                  <a:lnTo>
                    <a:pt x="606" y="780"/>
                  </a:lnTo>
                  <a:lnTo>
                    <a:pt x="594" y="762"/>
                  </a:lnTo>
                  <a:lnTo>
                    <a:pt x="576" y="768"/>
                  </a:lnTo>
                  <a:lnTo>
                    <a:pt x="576" y="780"/>
                  </a:lnTo>
                  <a:lnTo>
                    <a:pt x="546" y="780"/>
                  </a:lnTo>
                  <a:lnTo>
                    <a:pt x="540" y="792"/>
                  </a:lnTo>
                  <a:lnTo>
                    <a:pt x="564" y="804"/>
                  </a:lnTo>
                  <a:lnTo>
                    <a:pt x="564" y="822"/>
                  </a:lnTo>
                  <a:lnTo>
                    <a:pt x="528" y="810"/>
                  </a:lnTo>
                  <a:lnTo>
                    <a:pt x="522" y="822"/>
                  </a:lnTo>
                  <a:lnTo>
                    <a:pt x="552" y="834"/>
                  </a:lnTo>
                  <a:lnTo>
                    <a:pt x="504" y="834"/>
                  </a:lnTo>
                  <a:lnTo>
                    <a:pt x="504" y="852"/>
                  </a:lnTo>
                  <a:lnTo>
                    <a:pt x="492" y="846"/>
                  </a:lnTo>
                  <a:lnTo>
                    <a:pt x="486" y="846"/>
                  </a:lnTo>
                  <a:lnTo>
                    <a:pt x="474" y="852"/>
                  </a:lnTo>
                  <a:lnTo>
                    <a:pt x="468" y="858"/>
                  </a:lnTo>
                  <a:lnTo>
                    <a:pt x="456" y="858"/>
                  </a:lnTo>
                  <a:lnTo>
                    <a:pt x="456" y="870"/>
                  </a:lnTo>
                  <a:lnTo>
                    <a:pt x="462" y="876"/>
                  </a:lnTo>
                  <a:lnTo>
                    <a:pt x="456" y="876"/>
                  </a:lnTo>
                  <a:lnTo>
                    <a:pt x="450" y="882"/>
                  </a:lnTo>
                  <a:lnTo>
                    <a:pt x="444" y="882"/>
                  </a:lnTo>
                  <a:lnTo>
                    <a:pt x="444" y="900"/>
                  </a:lnTo>
                  <a:lnTo>
                    <a:pt x="480" y="900"/>
                  </a:lnTo>
                  <a:lnTo>
                    <a:pt x="468" y="912"/>
                  </a:lnTo>
                  <a:lnTo>
                    <a:pt x="432" y="906"/>
                  </a:lnTo>
                  <a:lnTo>
                    <a:pt x="420" y="912"/>
                  </a:lnTo>
                  <a:lnTo>
                    <a:pt x="414" y="918"/>
                  </a:lnTo>
                  <a:lnTo>
                    <a:pt x="414" y="930"/>
                  </a:lnTo>
                  <a:lnTo>
                    <a:pt x="420" y="936"/>
                  </a:lnTo>
                  <a:lnTo>
                    <a:pt x="420" y="948"/>
                  </a:lnTo>
                  <a:lnTo>
                    <a:pt x="408" y="954"/>
                  </a:lnTo>
                  <a:lnTo>
                    <a:pt x="390" y="954"/>
                  </a:lnTo>
                  <a:lnTo>
                    <a:pt x="390" y="972"/>
                  </a:lnTo>
                  <a:lnTo>
                    <a:pt x="408" y="990"/>
                  </a:lnTo>
                  <a:lnTo>
                    <a:pt x="408" y="996"/>
                  </a:lnTo>
                  <a:lnTo>
                    <a:pt x="402" y="1002"/>
                  </a:lnTo>
                  <a:lnTo>
                    <a:pt x="366" y="1002"/>
                  </a:lnTo>
                  <a:lnTo>
                    <a:pt x="360" y="1008"/>
                  </a:lnTo>
                  <a:lnTo>
                    <a:pt x="360" y="1026"/>
                  </a:lnTo>
                  <a:lnTo>
                    <a:pt x="354" y="1032"/>
                  </a:lnTo>
                  <a:lnTo>
                    <a:pt x="342" y="1032"/>
                  </a:lnTo>
                  <a:lnTo>
                    <a:pt x="336" y="1026"/>
                  </a:lnTo>
                  <a:lnTo>
                    <a:pt x="318" y="1026"/>
                  </a:lnTo>
                  <a:lnTo>
                    <a:pt x="294" y="1050"/>
                  </a:lnTo>
                  <a:lnTo>
                    <a:pt x="282" y="1050"/>
                  </a:lnTo>
                  <a:lnTo>
                    <a:pt x="270" y="1062"/>
                  </a:lnTo>
                  <a:lnTo>
                    <a:pt x="270" y="1068"/>
                  </a:lnTo>
                  <a:lnTo>
                    <a:pt x="276" y="1074"/>
                  </a:lnTo>
                  <a:lnTo>
                    <a:pt x="276" y="1080"/>
                  </a:lnTo>
                  <a:lnTo>
                    <a:pt x="264" y="1092"/>
                  </a:lnTo>
                  <a:lnTo>
                    <a:pt x="252" y="1092"/>
                  </a:lnTo>
                  <a:lnTo>
                    <a:pt x="246" y="1086"/>
                  </a:lnTo>
                  <a:lnTo>
                    <a:pt x="234" y="1080"/>
                  </a:lnTo>
                  <a:lnTo>
                    <a:pt x="234" y="1074"/>
                  </a:lnTo>
                  <a:lnTo>
                    <a:pt x="228" y="1074"/>
                  </a:lnTo>
                  <a:lnTo>
                    <a:pt x="204" y="1086"/>
                  </a:lnTo>
                  <a:lnTo>
                    <a:pt x="198" y="1092"/>
                  </a:lnTo>
                  <a:lnTo>
                    <a:pt x="180" y="1092"/>
                  </a:lnTo>
                  <a:lnTo>
                    <a:pt x="180" y="1110"/>
                  </a:lnTo>
                  <a:lnTo>
                    <a:pt x="186" y="1116"/>
                  </a:lnTo>
                  <a:lnTo>
                    <a:pt x="192" y="1116"/>
                  </a:lnTo>
                  <a:lnTo>
                    <a:pt x="192" y="1128"/>
                  </a:lnTo>
                  <a:lnTo>
                    <a:pt x="186" y="1128"/>
                  </a:lnTo>
                  <a:lnTo>
                    <a:pt x="174" y="1116"/>
                  </a:lnTo>
                  <a:lnTo>
                    <a:pt x="162" y="1116"/>
                  </a:lnTo>
                  <a:lnTo>
                    <a:pt x="156" y="1122"/>
                  </a:lnTo>
                  <a:lnTo>
                    <a:pt x="156" y="1134"/>
                  </a:lnTo>
                  <a:lnTo>
                    <a:pt x="168" y="1134"/>
                  </a:lnTo>
                  <a:lnTo>
                    <a:pt x="174" y="1140"/>
                  </a:lnTo>
                  <a:lnTo>
                    <a:pt x="180" y="1140"/>
                  </a:lnTo>
                  <a:lnTo>
                    <a:pt x="180" y="1152"/>
                  </a:lnTo>
                  <a:lnTo>
                    <a:pt x="138" y="1152"/>
                  </a:lnTo>
                  <a:lnTo>
                    <a:pt x="138" y="1146"/>
                  </a:lnTo>
                  <a:lnTo>
                    <a:pt x="132" y="1146"/>
                  </a:lnTo>
                  <a:lnTo>
                    <a:pt x="126" y="1158"/>
                  </a:lnTo>
                  <a:lnTo>
                    <a:pt x="126" y="1170"/>
                  </a:lnTo>
                  <a:lnTo>
                    <a:pt x="120" y="1164"/>
                  </a:lnTo>
                  <a:lnTo>
                    <a:pt x="102" y="1164"/>
                  </a:lnTo>
                  <a:lnTo>
                    <a:pt x="96" y="1158"/>
                  </a:lnTo>
                  <a:lnTo>
                    <a:pt x="90" y="1158"/>
                  </a:lnTo>
                  <a:lnTo>
                    <a:pt x="90" y="1164"/>
                  </a:lnTo>
                  <a:lnTo>
                    <a:pt x="96" y="1170"/>
                  </a:lnTo>
                  <a:lnTo>
                    <a:pt x="120" y="1182"/>
                  </a:lnTo>
                  <a:lnTo>
                    <a:pt x="132" y="1182"/>
                  </a:lnTo>
                  <a:lnTo>
                    <a:pt x="108" y="1200"/>
                  </a:lnTo>
                  <a:lnTo>
                    <a:pt x="108" y="1188"/>
                  </a:lnTo>
                  <a:lnTo>
                    <a:pt x="90" y="1188"/>
                  </a:lnTo>
                  <a:lnTo>
                    <a:pt x="84" y="1194"/>
                  </a:lnTo>
                  <a:lnTo>
                    <a:pt x="60" y="1182"/>
                  </a:lnTo>
                  <a:lnTo>
                    <a:pt x="54" y="1194"/>
                  </a:lnTo>
                  <a:lnTo>
                    <a:pt x="66" y="1200"/>
                  </a:lnTo>
                  <a:lnTo>
                    <a:pt x="30" y="1194"/>
                  </a:lnTo>
                  <a:lnTo>
                    <a:pt x="30" y="1212"/>
                  </a:lnTo>
                  <a:lnTo>
                    <a:pt x="78" y="1212"/>
                  </a:lnTo>
                  <a:lnTo>
                    <a:pt x="54" y="1218"/>
                  </a:lnTo>
                  <a:lnTo>
                    <a:pt x="18" y="1212"/>
                  </a:lnTo>
                  <a:lnTo>
                    <a:pt x="6" y="1224"/>
                  </a:lnTo>
                  <a:lnTo>
                    <a:pt x="6" y="1230"/>
                  </a:lnTo>
                  <a:lnTo>
                    <a:pt x="18" y="1242"/>
                  </a:lnTo>
                  <a:lnTo>
                    <a:pt x="36" y="1242"/>
                  </a:lnTo>
                  <a:lnTo>
                    <a:pt x="18" y="1248"/>
                  </a:lnTo>
                  <a:lnTo>
                    <a:pt x="12" y="1254"/>
                  </a:lnTo>
                  <a:lnTo>
                    <a:pt x="12" y="1260"/>
                  </a:lnTo>
                  <a:lnTo>
                    <a:pt x="66" y="1260"/>
                  </a:lnTo>
                  <a:lnTo>
                    <a:pt x="78" y="1272"/>
                  </a:lnTo>
                  <a:lnTo>
                    <a:pt x="96" y="1260"/>
                  </a:lnTo>
                  <a:lnTo>
                    <a:pt x="108" y="1272"/>
                  </a:lnTo>
                  <a:lnTo>
                    <a:pt x="138" y="1260"/>
                  </a:lnTo>
                  <a:lnTo>
                    <a:pt x="132" y="1266"/>
                  </a:lnTo>
                  <a:lnTo>
                    <a:pt x="126" y="1278"/>
                  </a:lnTo>
                  <a:lnTo>
                    <a:pt x="60" y="1278"/>
                  </a:lnTo>
                  <a:lnTo>
                    <a:pt x="54" y="1272"/>
                  </a:lnTo>
                  <a:lnTo>
                    <a:pt x="24" y="1272"/>
                  </a:lnTo>
                  <a:lnTo>
                    <a:pt x="12" y="1278"/>
                  </a:lnTo>
                  <a:lnTo>
                    <a:pt x="0" y="1278"/>
                  </a:lnTo>
                  <a:lnTo>
                    <a:pt x="6" y="1284"/>
                  </a:lnTo>
                  <a:lnTo>
                    <a:pt x="6" y="1296"/>
                  </a:lnTo>
                  <a:lnTo>
                    <a:pt x="12" y="1296"/>
                  </a:lnTo>
                  <a:lnTo>
                    <a:pt x="18" y="1302"/>
                  </a:lnTo>
                  <a:lnTo>
                    <a:pt x="30" y="1302"/>
                  </a:lnTo>
                  <a:lnTo>
                    <a:pt x="24" y="1308"/>
                  </a:lnTo>
                  <a:lnTo>
                    <a:pt x="18" y="1320"/>
                  </a:lnTo>
                  <a:lnTo>
                    <a:pt x="36" y="1338"/>
                  </a:lnTo>
                  <a:lnTo>
                    <a:pt x="48" y="1338"/>
                  </a:lnTo>
                  <a:lnTo>
                    <a:pt x="72" y="1320"/>
                  </a:lnTo>
                  <a:lnTo>
                    <a:pt x="102" y="1314"/>
                  </a:lnTo>
                  <a:lnTo>
                    <a:pt x="90" y="1338"/>
                  </a:lnTo>
                  <a:lnTo>
                    <a:pt x="78" y="1332"/>
                  </a:lnTo>
                  <a:lnTo>
                    <a:pt x="66" y="1350"/>
                  </a:lnTo>
                  <a:lnTo>
                    <a:pt x="30" y="1350"/>
                  </a:lnTo>
                  <a:lnTo>
                    <a:pt x="48" y="1368"/>
                  </a:lnTo>
                  <a:lnTo>
                    <a:pt x="24" y="1380"/>
                  </a:lnTo>
                  <a:lnTo>
                    <a:pt x="6" y="1380"/>
                  </a:lnTo>
                  <a:lnTo>
                    <a:pt x="6" y="1398"/>
                  </a:lnTo>
                  <a:lnTo>
                    <a:pt x="66" y="1398"/>
                  </a:lnTo>
                  <a:lnTo>
                    <a:pt x="54" y="1422"/>
                  </a:lnTo>
                  <a:lnTo>
                    <a:pt x="66" y="1422"/>
                  </a:lnTo>
                  <a:lnTo>
                    <a:pt x="54" y="1440"/>
                  </a:lnTo>
                  <a:lnTo>
                    <a:pt x="42" y="1434"/>
                  </a:lnTo>
                  <a:lnTo>
                    <a:pt x="36" y="1434"/>
                  </a:lnTo>
                  <a:lnTo>
                    <a:pt x="30" y="1428"/>
                  </a:lnTo>
                  <a:lnTo>
                    <a:pt x="18" y="1428"/>
                  </a:lnTo>
                  <a:lnTo>
                    <a:pt x="18" y="1440"/>
                  </a:lnTo>
                  <a:lnTo>
                    <a:pt x="24" y="1452"/>
                  </a:lnTo>
                  <a:lnTo>
                    <a:pt x="36" y="1464"/>
                  </a:lnTo>
                  <a:lnTo>
                    <a:pt x="84" y="1482"/>
                  </a:lnTo>
                  <a:lnTo>
                    <a:pt x="78" y="1488"/>
                  </a:lnTo>
                  <a:lnTo>
                    <a:pt x="84" y="1494"/>
                  </a:lnTo>
                  <a:lnTo>
                    <a:pt x="126" y="1494"/>
                  </a:lnTo>
                  <a:lnTo>
                    <a:pt x="132" y="1500"/>
                  </a:lnTo>
                  <a:lnTo>
                    <a:pt x="144" y="1500"/>
                  </a:lnTo>
                  <a:lnTo>
                    <a:pt x="192" y="1476"/>
                  </a:lnTo>
                  <a:lnTo>
                    <a:pt x="204" y="1464"/>
                  </a:lnTo>
                  <a:lnTo>
                    <a:pt x="216" y="1458"/>
                  </a:lnTo>
                  <a:lnTo>
                    <a:pt x="222" y="1452"/>
                  </a:lnTo>
                  <a:lnTo>
                    <a:pt x="258" y="1422"/>
                  </a:lnTo>
                  <a:lnTo>
                    <a:pt x="282" y="1422"/>
                  </a:lnTo>
                  <a:lnTo>
                    <a:pt x="294" y="1416"/>
                  </a:lnTo>
                  <a:lnTo>
                    <a:pt x="300" y="1410"/>
                  </a:lnTo>
                  <a:lnTo>
                    <a:pt x="300" y="1386"/>
                  </a:lnTo>
                  <a:lnTo>
                    <a:pt x="294" y="1380"/>
                  </a:lnTo>
                  <a:lnTo>
                    <a:pt x="294" y="1374"/>
                  </a:lnTo>
                  <a:lnTo>
                    <a:pt x="312" y="1368"/>
                  </a:lnTo>
                  <a:lnTo>
                    <a:pt x="306" y="1374"/>
                  </a:lnTo>
                  <a:lnTo>
                    <a:pt x="306" y="1380"/>
                  </a:lnTo>
                  <a:lnTo>
                    <a:pt x="300" y="1386"/>
                  </a:lnTo>
                  <a:lnTo>
                    <a:pt x="300" y="1392"/>
                  </a:lnTo>
                  <a:lnTo>
                    <a:pt x="312" y="1404"/>
                  </a:lnTo>
                  <a:lnTo>
                    <a:pt x="330" y="1410"/>
                  </a:lnTo>
                  <a:lnTo>
                    <a:pt x="342" y="1410"/>
                  </a:lnTo>
                  <a:lnTo>
                    <a:pt x="348" y="1416"/>
                  </a:lnTo>
                  <a:lnTo>
                    <a:pt x="354" y="1416"/>
                  </a:lnTo>
                  <a:lnTo>
                    <a:pt x="372" y="1434"/>
                  </a:lnTo>
                  <a:lnTo>
                    <a:pt x="378" y="1422"/>
                  </a:lnTo>
                  <a:lnTo>
                    <a:pt x="384" y="1416"/>
                  </a:lnTo>
                  <a:lnTo>
                    <a:pt x="384" y="1398"/>
                  </a:lnTo>
                  <a:lnTo>
                    <a:pt x="372" y="1386"/>
                  </a:lnTo>
                  <a:lnTo>
                    <a:pt x="372" y="1380"/>
                  </a:lnTo>
                  <a:lnTo>
                    <a:pt x="378" y="1374"/>
                  </a:lnTo>
                  <a:lnTo>
                    <a:pt x="384" y="1374"/>
                  </a:lnTo>
                  <a:lnTo>
                    <a:pt x="384" y="1368"/>
                  </a:lnTo>
                  <a:lnTo>
                    <a:pt x="378" y="1356"/>
                  </a:lnTo>
                  <a:lnTo>
                    <a:pt x="414" y="1356"/>
                  </a:lnTo>
                  <a:lnTo>
                    <a:pt x="420" y="1350"/>
                  </a:lnTo>
                  <a:lnTo>
                    <a:pt x="420" y="1326"/>
                  </a:lnTo>
                  <a:lnTo>
                    <a:pt x="426" y="1326"/>
                  </a:lnTo>
                  <a:lnTo>
                    <a:pt x="420" y="1314"/>
                  </a:lnTo>
                  <a:lnTo>
                    <a:pt x="420" y="1308"/>
                  </a:lnTo>
                  <a:lnTo>
                    <a:pt x="414" y="1302"/>
                  </a:lnTo>
                  <a:lnTo>
                    <a:pt x="414" y="1296"/>
                  </a:lnTo>
                  <a:lnTo>
                    <a:pt x="408" y="1284"/>
                  </a:lnTo>
                  <a:lnTo>
                    <a:pt x="402" y="1278"/>
                  </a:lnTo>
                  <a:lnTo>
                    <a:pt x="426" y="1272"/>
                  </a:lnTo>
                  <a:lnTo>
                    <a:pt x="438" y="1260"/>
                  </a:lnTo>
                  <a:lnTo>
                    <a:pt x="438" y="1248"/>
                  </a:lnTo>
                  <a:lnTo>
                    <a:pt x="420" y="1230"/>
                  </a:lnTo>
                  <a:lnTo>
                    <a:pt x="414" y="1230"/>
                  </a:lnTo>
                  <a:lnTo>
                    <a:pt x="402" y="1218"/>
                  </a:lnTo>
                  <a:lnTo>
                    <a:pt x="402" y="1200"/>
                  </a:lnTo>
                  <a:lnTo>
                    <a:pt x="408" y="1188"/>
                  </a:lnTo>
                  <a:lnTo>
                    <a:pt x="408" y="1176"/>
                  </a:lnTo>
                  <a:lnTo>
                    <a:pt x="384" y="1152"/>
                  </a:lnTo>
                  <a:lnTo>
                    <a:pt x="384" y="1140"/>
                  </a:lnTo>
                  <a:lnTo>
                    <a:pt x="390" y="1134"/>
                  </a:lnTo>
                  <a:lnTo>
                    <a:pt x="396" y="1134"/>
                  </a:lnTo>
                  <a:lnTo>
                    <a:pt x="402" y="1128"/>
                  </a:lnTo>
                  <a:lnTo>
                    <a:pt x="402" y="1122"/>
                  </a:lnTo>
                  <a:lnTo>
                    <a:pt x="396" y="1116"/>
                  </a:lnTo>
                  <a:lnTo>
                    <a:pt x="390" y="1116"/>
                  </a:lnTo>
                  <a:lnTo>
                    <a:pt x="384" y="1110"/>
                  </a:lnTo>
                  <a:lnTo>
                    <a:pt x="426" y="1068"/>
                  </a:lnTo>
                  <a:lnTo>
                    <a:pt x="438" y="1062"/>
                  </a:lnTo>
                  <a:lnTo>
                    <a:pt x="444" y="1056"/>
                  </a:lnTo>
                  <a:lnTo>
                    <a:pt x="456" y="1050"/>
                  </a:lnTo>
                  <a:lnTo>
                    <a:pt x="498" y="1050"/>
                  </a:lnTo>
                  <a:lnTo>
                    <a:pt x="504" y="1044"/>
                  </a:lnTo>
                  <a:lnTo>
                    <a:pt x="504" y="1038"/>
                  </a:lnTo>
                  <a:lnTo>
                    <a:pt x="486" y="1020"/>
                  </a:lnTo>
                  <a:lnTo>
                    <a:pt x="474" y="1014"/>
                  </a:lnTo>
                  <a:lnTo>
                    <a:pt x="486" y="1008"/>
                  </a:lnTo>
                  <a:lnTo>
                    <a:pt x="492" y="1008"/>
                  </a:lnTo>
                  <a:lnTo>
                    <a:pt x="522" y="978"/>
                  </a:lnTo>
                  <a:lnTo>
                    <a:pt x="528" y="936"/>
                  </a:lnTo>
                  <a:lnTo>
                    <a:pt x="528" y="900"/>
                  </a:lnTo>
                  <a:lnTo>
                    <a:pt x="546" y="912"/>
                  </a:lnTo>
                  <a:lnTo>
                    <a:pt x="558" y="906"/>
                  </a:lnTo>
                  <a:lnTo>
                    <a:pt x="564" y="906"/>
                  </a:lnTo>
                  <a:lnTo>
                    <a:pt x="570" y="900"/>
                  </a:lnTo>
                  <a:lnTo>
                    <a:pt x="576" y="900"/>
                  </a:lnTo>
                  <a:lnTo>
                    <a:pt x="576" y="894"/>
                  </a:lnTo>
                  <a:lnTo>
                    <a:pt x="570" y="888"/>
                  </a:lnTo>
                  <a:lnTo>
                    <a:pt x="570" y="882"/>
                  </a:lnTo>
                  <a:lnTo>
                    <a:pt x="564" y="876"/>
                  </a:lnTo>
                  <a:lnTo>
                    <a:pt x="582" y="876"/>
                  </a:lnTo>
                  <a:lnTo>
                    <a:pt x="588" y="870"/>
                  </a:lnTo>
                  <a:lnTo>
                    <a:pt x="588" y="864"/>
                  </a:lnTo>
                  <a:lnTo>
                    <a:pt x="594" y="858"/>
                  </a:lnTo>
                  <a:lnTo>
                    <a:pt x="606" y="852"/>
                  </a:lnTo>
                  <a:lnTo>
                    <a:pt x="612" y="852"/>
                  </a:lnTo>
                  <a:lnTo>
                    <a:pt x="618" y="834"/>
                  </a:lnTo>
                  <a:lnTo>
                    <a:pt x="612" y="828"/>
                  </a:lnTo>
                  <a:lnTo>
                    <a:pt x="600" y="822"/>
                  </a:lnTo>
                  <a:lnTo>
                    <a:pt x="600" y="810"/>
                  </a:lnTo>
                  <a:lnTo>
                    <a:pt x="606" y="810"/>
                  </a:lnTo>
                  <a:lnTo>
                    <a:pt x="618" y="804"/>
                  </a:lnTo>
                  <a:lnTo>
                    <a:pt x="636" y="786"/>
                  </a:lnTo>
                  <a:lnTo>
                    <a:pt x="678" y="780"/>
                  </a:lnTo>
                  <a:lnTo>
                    <a:pt x="696" y="780"/>
                  </a:lnTo>
                  <a:lnTo>
                    <a:pt x="702" y="774"/>
                  </a:lnTo>
                  <a:lnTo>
                    <a:pt x="702" y="744"/>
                  </a:lnTo>
                  <a:lnTo>
                    <a:pt x="714" y="732"/>
                  </a:lnTo>
                  <a:lnTo>
                    <a:pt x="720" y="738"/>
                  </a:lnTo>
                  <a:lnTo>
                    <a:pt x="720" y="750"/>
                  </a:lnTo>
                  <a:lnTo>
                    <a:pt x="744" y="744"/>
                  </a:lnTo>
                  <a:lnTo>
                    <a:pt x="768" y="750"/>
                  </a:lnTo>
                  <a:lnTo>
                    <a:pt x="792" y="750"/>
                  </a:lnTo>
                  <a:lnTo>
                    <a:pt x="798" y="756"/>
                  </a:lnTo>
                  <a:lnTo>
                    <a:pt x="810" y="756"/>
                  </a:lnTo>
                  <a:lnTo>
                    <a:pt x="816" y="750"/>
                  </a:lnTo>
                  <a:lnTo>
                    <a:pt x="810" y="750"/>
                  </a:lnTo>
                  <a:lnTo>
                    <a:pt x="798" y="738"/>
                  </a:lnTo>
                  <a:lnTo>
                    <a:pt x="798" y="732"/>
                  </a:lnTo>
                  <a:lnTo>
                    <a:pt x="810" y="732"/>
                  </a:lnTo>
                  <a:lnTo>
                    <a:pt x="810" y="708"/>
                  </a:lnTo>
                  <a:lnTo>
                    <a:pt x="840" y="714"/>
                  </a:lnTo>
                  <a:lnTo>
                    <a:pt x="834" y="708"/>
                  </a:lnTo>
                  <a:lnTo>
                    <a:pt x="840" y="702"/>
                  </a:lnTo>
                  <a:lnTo>
                    <a:pt x="858" y="708"/>
                  </a:lnTo>
                  <a:lnTo>
                    <a:pt x="858" y="696"/>
                  </a:lnTo>
                  <a:lnTo>
                    <a:pt x="864" y="690"/>
                  </a:lnTo>
                  <a:lnTo>
                    <a:pt x="882" y="690"/>
                  </a:lnTo>
                  <a:lnTo>
                    <a:pt x="888" y="696"/>
                  </a:lnTo>
                  <a:lnTo>
                    <a:pt x="894" y="708"/>
                  </a:lnTo>
                  <a:lnTo>
                    <a:pt x="906" y="714"/>
                  </a:lnTo>
                  <a:lnTo>
                    <a:pt x="918" y="726"/>
                  </a:lnTo>
                  <a:lnTo>
                    <a:pt x="930" y="726"/>
                  </a:lnTo>
                  <a:lnTo>
                    <a:pt x="942" y="732"/>
                  </a:lnTo>
                  <a:lnTo>
                    <a:pt x="960" y="732"/>
                  </a:lnTo>
                  <a:lnTo>
                    <a:pt x="966" y="738"/>
                  </a:lnTo>
                  <a:lnTo>
                    <a:pt x="978" y="738"/>
                  </a:lnTo>
                  <a:lnTo>
                    <a:pt x="990" y="732"/>
                  </a:lnTo>
                  <a:lnTo>
                    <a:pt x="996" y="726"/>
                  </a:lnTo>
                  <a:lnTo>
                    <a:pt x="1026" y="726"/>
                  </a:lnTo>
                  <a:lnTo>
                    <a:pt x="1038" y="732"/>
                  </a:lnTo>
                  <a:lnTo>
                    <a:pt x="1044" y="738"/>
                  </a:lnTo>
                  <a:lnTo>
                    <a:pt x="1062" y="738"/>
                  </a:lnTo>
                  <a:lnTo>
                    <a:pt x="1062" y="726"/>
                  </a:lnTo>
                  <a:lnTo>
                    <a:pt x="1068" y="720"/>
                  </a:lnTo>
                  <a:lnTo>
                    <a:pt x="1068" y="714"/>
                  </a:lnTo>
                  <a:lnTo>
                    <a:pt x="1092" y="714"/>
                  </a:lnTo>
                  <a:lnTo>
                    <a:pt x="1092" y="678"/>
                  </a:lnTo>
                  <a:lnTo>
                    <a:pt x="1098" y="672"/>
                  </a:lnTo>
                  <a:lnTo>
                    <a:pt x="1098" y="660"/>
                  </a:lnTo>
                  <a:lnTo>
                    <a:pt x="1110" y="654"/>
                  </a:lnTo>
                  <a:lnTo>
                    <a:pt x="1116" y="654"/>
                  </a:lnTo>
                  <a:lnTo>
                    <a:pt x="1128" y="648"/>
                  </a:lnTo>
                  <a:lnTo>
                    <a:pt x="1158" y="648"/>
                  </a:lnTo>
                  <a:lnTo>
                    <a:pt x="1170" y="642"/>
                  </a:lnTo>
                  <a:lnTo>
                    <a:pt x="1206" y="642"/>
                  </a:lnTo>
                  <a:lnTo>
                    <a:pt x="1206" y="654"/>
                  </a:lnTo>
                  <a:lnTo>
                    <a:pt x="1242" y="660"/>
                  </a:lnTo>
                  <a:lnTo>
                    <a:pt x="1248" y="660"/>
                  </a:lnTo>
                  <a:lnTo>
                    <a:pt x="1260" y="672"/>
                  </a:lnTo>
                  <a:lnTo>
                    <a:pt x="1266" y="684"/>
                  </a:lnTo>
                  <a:lnTo>
                    <a:pt x="1266" y="702"/>
                  </a:lnTo>
                  <a:lnTo>
                    <a:pt x="1260" y="702"/>
                  </a:lnTo>
                  <a:lnTo>
                    <a:pt x="1260" y="696"/>
                  </a:lnTo>
                  <a:lnTo>
                    <a:pt x="1254" y="696"/>
                  </a:lnTo>
                  <a:lnTo>
                    <a:pt x="1254" y="708"/>
                  </a:lnTo>
                  <a:lnTo>
                    <a:pt x="1278" y="708"/>
                  </a:lnTo>
                  <a:lnTo>
                    <a:pt x="1284" y="696"/>
                  </a:lnTo>
                  <a:lnTo>
                    <a:pt x="1284" y="690"/>
                  </a:lnTo>
                  <a:lnTo>
                    <a:pt x="1308" y="684"/>
                  </a:lnTo>
                  <a:lnTo>
                    <a:pt x="1314" y="672"/>
                  </a:lnTo>
                  <a:lnTo>
                    <a:pt x="1350" y="672"/>
                  </a:lnTo>
                  <a:lnTo>
                    <a:pt x="1362" y="660"/>
                  </a:lnTo>
                  <a:lnTo>
                    <a:pt x="1356" y="660"/>
                  </a:lnTo>
                  <a:close/>
                  <a:moveTo>
                    <a:pt x="564" y="726"/>
                  </a:moveTo>
                  <a:lnTo>
                    <a:pt x="540" y="738"/>
                  </a:lnTo>
                  <a:lnTo>
                    <a:pt x="546" y="756"/>
                  </a:lnTo>
                  <a:lnTo>
                    <a:pt x="576" y="756"/>
                  </a:lnTo>
                  <a:lnTo>
                    <a:pt x="570" y="738"/>
                  </a:lnTo>
                  <a:lnTo>
                    <a:pt x="564" y="726"/>
                  </a:lnTo>
                  <a:close/>
                  <a:moveTo>
                    <a:pt x="522" y="714"/>
                  </a:moveTo>
                  <a:lnTo>
                    <a:pt x="516" y="720"/>
                  </a:lnTo>
                  <a:lnTo>
                    <a:pt x="510" y="732"/>
                  </a:lnTo>
                  <a:lnTo>
                    <a:pt x="510" y="750"/>
                  </a:lnTo>
                  <a:lnTo>
                    <a:pt x="528" y="768"/>
                  </a:lnTo>
                  <a:lnTo>
                    <a:pt x="528" y="756"/>
                  </a:lnTo>
                  <a:lnTo>
                    <a:pt x="534" y="744"/>
                  </a:lnTo>
                  <a:lnTo>
                    <a:pt x="534" y="720"/>
                  </a:lnTo>
                  <a:lnTo>
                    <a:pt x="528" y="714"/>
                  </a:lnTo>
                  <a:lnTo>
                    <a:pt x="522" y="714"/>
                  </a:lnTo>
                  <a:close/>
                  <a:moveTo>
                    <a:pt x="606" y="738"/>
                  </a:moveTo>
                  <a:lnTo>
                    <a:pt x="618" y="732"/>
                  </a:lnTo>
                  <a:lnTo>
                    <a:pt x="624" y="732"/>
                  </a:lnTo>
                  <a:lnTo>
                    <a:pt x="630" y="726"/>
                  </a:lnTo>
                  <a:lnTo>
                    <a:pt x="618" y="720"/>
                  </a:lnTo>
                  <a:lnTo>
                    <a:pt x="588" y="720"/>
                  </a:lnTo>
                  <a:lnTo>
                    <a:pt x="576" y="732"/>
                  </a:lnTo>
                  <a:lnTo>
                    <a:pt x="582" y="744"/>
                  </a:lnTo>
                  <a:lnTo>
                    <a:pt x="606" y="738"/>
                  </a:lnTo>
                  <a:close/>
                </a:path>
              </a:pathLst>
            </a:custGeom>
            <a:grpFill/>
            <a:ln w="3175">
              <a:solidFill>
                <a:schemeClr val="bg1"/>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de-DE" sz="1800" b="0" i="0" u="none" strike="noStrike" kern="1200" cap="none" spc="0" normalizeH="0" baseline="0" noProof="0">
                <a:ln>
                  <a:noFill/>
                </a:ln>
                <a:solidFill>
                  <a:srgbClr val="FFC000"/>
                </a:solidFill>
                <a:effectLst/>
                <a:uLnTx/>
                <a:uFillTx/>
                <a:latin typeface="Calibri" pitchFamily="34" charset="0"/>
                <a:ea typeface="+mn-ea"/>
                <a:cs typeface="+mn-cs"/>
              </a:endParaRPr>
            </a:p>
          </p:txBody>
        </p:sp>
        <p:sp>
          <p:nvSpPr>
            <p:cNvPr id="75" name="Nigeria" descr="© INSCALE GmbH, 05.05.2010&#10;http://www.presentationload.com/"/>
            <p:cNvSpPr>
              <a:spLocks/>
            </p:cNvSpPr>
            <p:nvPr/>
          </p:nvSpPr>
          <p:spPr bwMode="gray">
            <a:xfrm>
              <a:off x="4531012" y="3957179"/>
              <a:ext cx="271326" cy="238834"/>
            </a:xfrm>
            <a:custGeom>
              <a:avLst/>
              <a:gdLst>
                <a:gd name="T0" fmla="*/ 2147483647 w 840"/>
                <a:gd name="T1" fmla="*/ 2147483647 h 768"/>
                <a:gd name="T2" fmla="*/ 2147483647 w 840"/>
                <a:gd name="T3" fmla="*/ 2147483647 h 768"/>
                <a:gd name="T4" fmla="*/ 2147483647 w 840"/>
                <a:gd name="T5" fmla="*/ 2147483647 h 768"/>
                <a:gd name="T6" fmla="*/ 2147483647 w 840"/>
                <a:gd name="T7" fmla="*/ 2147483647 h 768"/>
                <a:gd name="T8" fmla="*/ 2147483647 w 840"/>
                <a:gd name="T9" fmla="*/ 2147483647 h 768"/>
                <a:gd name="T10" fmla="*/ 2147483647 w 840"/>
                <a:gd name="T11" fmla="*/ 2147483647 h 768"/>
                <a:gd name="T12" fmla="*/ 2147483647 w 840"/>
                <a:gd name="T13" fmla="*/ 2147483647 h 768"/>
                <a:gd name="T14" fmla="*/ 2147483647 w 840"/>
                <a:gd name="T15" fmla="*/ 2147483647 h 768"/>
                <a:gd name="T16" fmla="*/ 2147483647 w 840"/>
                <a:gd name="T17" fmla="*/ 2147483647 h 768"/>
                <a:gd name="T18" fmla="*/ 2147483647 w 840"/>
                <a:gd name="T19" fmla="*/ 2147483647 h 768"/>
                <a:gd name="T20" fmla="*/ 2147483647 w 840"/>
                <a:gd name="T21" fmla="*/ 2147483647 h 768"/>
                <a:gd name="T22" fmla="*/ 2147483647 w 840"/>
                <a:gd name="T23" fmla="*/ 2147483647 h 768"/>
                <a:gd name="T24" fmla="*/ 2147483647 w 840"/>
                <a:gd name="T25" fmla="*/ 2147483647 h 768"/>
                <a:gd name="T26" fmla="*/ 2147483647 w 840"/>
                <a:gd name="T27" fmla="*/ 2147483647 h 768"/>
                <a:gd name="T28" fmla="*/ 2147483647 w 840"/>
                <a:gd name="T29" fmla="*/ 2147483647 h 768"/>
                <a:gd name="T30" fmla="*/ 2147483647 w 840"/>
                <a:gd name="T31" fmla="*/ 2147483647 h 768"/>
                <a:gd name="T32" fmla="*/ 2147483647 w 840"/>
                <a:gd name="T33" fmla="*/ 2147483647 h 768"/>
                <a:gd name="T34" fmla="*/ 2147483647 w 840"/>
                <a:gd name="T35" fmla="*/ 2147483647 h 768"/>
                <a:gd name="T36" fmla="*/ 2147483647 w 840"/>
                <a:gd name="T37" fmla="*/ 2147483647 h 768"/>
                <a:gd name="T38" fmla="*/ 2147483647 w 840"/>
                <a:gd name="T39" fmla="*/ 2147483647 h 768"/>
                <a:gd name="T40" fmla="*/ 2147483647 w 840"/>
                <a:gd name="T41" fmla="*/ 2147483647 h 768"/>
                <a:gd name="T42" fmla="*/ 2147483647 w 840"/>
                <a:gd name="T43" fmla="*/ 2147483647 h 768"/>
                <a:gd name="T44" fmla="*/ 2147483647 w 840"/>
                <a:gd name="T45" fmla="*/ 2147483647 h 768"/>
                <a:gd name="T46" fmla="*/ 2147483647 w 840"/>
                <a:gd name="T47" fmla="*/ 2147483647 h 768"/>
                <a:gd name="T48" fmla="*/ 2147483647 w 840"/>
                <a:gd name="T49" fmla="*/ 2147483647 h 768"/>
                <a:gd name="T50" fmla="*/ 2147483647 w 840"/>
                <a:gd name="T51" fmla="*/ 2147483647 h 768"/>
                <a:gd name="T52" fmla="*/ 2147483647 w 840"/>
                <a:gd name="T53" fmla="*/ 2147483647 h 768"/>
                <a:gd name="T54" fmla="*/ 2147483647 w 840"/>
                <a:gd name="T55" fmla="*/ 2147483647 h 768"/>
                <a:gd name="T56" fmla="*/ 2147483647 w 840"/>
                <a:gd name="T57" fmla="*/ 2147483647 h 768"/>
                <a:gd name="T58" fmla="*/ 2147483647 w 840"/>
                <a:gd name="T59" fmla="*/ 2147483647 h 768"/>
                <a:gd name="T60" fmla="*/ 2147483647 w 840"/>
                <a:gd name="T61" fmla="*/ 2147483647 h 768"/>
                <a:gd name="T62" fmla="*/ 2147483647 w 840"/>
                <a:gd name="T63" fmla="*/ 2147483647 h 768"/>
                <a:gd name="T64" fmla="*/ 2147483647 w 840"/>
                <a:gd name="T65" fmla="*/ 2147483647 h 768"/>
                <a:gd name="T66" fmla="*/ 2147483647 w 840"/>
                <a:gd name="T67" fmla="*/ 2147483647 h 768"/>
                <a:gd name="T68" fmla="*/ 2147483647 w 840"/>
                <a:gd name="T69" fmla="*/ 2147483647 h 768"/>
                <a:gd name="T70" fmla="*/ 2147483647 w 840"/>
                <a:gd name="T71" fmla="*/ 2147483647 h 768"/>
                <a:gd name="T72" fmla="*/ 2147483647 w 840"/>
                <a:gd name="T73" fmla="*/ 2147483647 h 768"/>
                <a:gd name="T74" fmla="*/ 2147483647 w 840"/>
                <a:gd name="T75" fmla="*/ 2147483647 h 768"/>
                <a:gd name="T76" fmla="*/ 2147483647 w 840"/>
                <a:gd name="T77" fmla="*/ 2147483647 h 768"/>
                <a:gd name="T78" fmla="*/ 2147483647 w 840"/>
                <a:gd name="T79" fmla="*/ 2147483647 h 768"/>
                <a:gd name="T80" fmla="*/ 2147483647 w 840"/>
                <a:gd name="T81" fmla="*/ 2147483647 h 768"/>
                <a:gd name="T82" fmla="*/ 2147483647 w 840"/>
                <a:gd name="T83" fmla="*/ 2147483647 h 768"/>
                <a:gd name="T84" fmla="*/ 2147483647 w 840"/>
                <a:gd name="T85" fmla="*/ 2147483647 h 768"/>
                <a:gd name="T86" fmla="*/ 2147483647 w 840"/>
                <a:gd name="T87" fmla="*/ 2147483647 h 768"/>
                <a:gd name="T88" fmla="*/ 2147483647 w 840"/>
                <a:gd name="T89" fmla="*/ 2147483647 h 768"/>
                <a:gd name="T90" fmla="*/ 2147483647 w 840"/>
                <a:gd name="T91" fmla="*/ 2147483647 h 768"/>
                <a:gd name="T92" fmla="*/ 2147483647 w 840"/>
                <a:gd name="T93" fmla="*/ 2147483647 h 768"/>
                <a:gd name="T94" fmla="*/ 2147483647 w 840"/>
                <a:gd name="T95" fmla="*/ 2147483647 h 768"/>
                <a:gd name="T96" fmla="*/ 2147483647 w 840"/>
                <a:gd name="T97" fmla="*/ 2147483647 h 768"/>
                <a:gd name="T98" fmla="*/ 2147483647 w 840"/>
                <a:gd name="T99" fmla="*/ 2147483647 h 768"/>
                <a:gd name="T100" fmla="*/ 2147483647 w 840"/>
                <a:gd name="T101" fmla="*/ 2147483647 h 768"/>
                <a:gd name="T102" fmla="*/ 2147483647 w 840"/>
                <a:gd name="T103" fmla="*/ 2147483647 h 768"/>
                <a:gd name="T104" fmla="*/ 2147483647 w 840"/>
                <a:gd name="T105" fmla="*/ 2147483647 h 768"/>
                <a:gd name="T106" fmla="*/ 2147483647 w 840"/>
                <a:gd name="T107" fmla="*/ 2147483647 h 768"/>
                <a:gd name="T108" fmla="*/ 2147483647 w 840"/>
                <a:gd name="T109" fmla="*/ 2147483647 h 768"/>
                <a:gd name="T110" fmla="*/ 2147483647 w 840"/>
                <a:gd name="T111" fmla="*/ 2147483647 h 768"/>
                <a:gd name="T112" fmla="*/ 2147483647 w 840"/>
                <a:gd name="T113" fmla="*/ 2147483647 h 768"/>
                <a:gd name="T114" fmla="*/ 2147483647 w 840"/>
                <a:gd name="T115" fmla="*/ 2147483647 h 768"/>
                <a:gd name="T116" fmla="*/ 2147483647 w 840"/>
                <a:gd name="T117" fmla="*/ 2147483647 h 768"/>
                <a:gd name="T118" fmla="*/ 2147483647 w 840"/>
                <a:gd name="T119" fmla="*/ 2147483647 h 768"/>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840"/>
                <a:gd name="T181" fmla="*/ 0 h 768"/>
                <a:gd name="T182" fmla="*/ 840 w 840"/>
                <a:gd name="T183" fmla="*/ 768 h 768"/>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840" h="768">
                  <a:moveTo>
                    <a:pt x="420" y="738"/>
                  </a:moveTo>
                  <a:lnTo>
                    <a:pt x="420" y="732"/>
                  </a:lnTo>
                  <a:lnTo>
                    <a:pt x="426" y="726"/>
                  </a:lnTo>
                  <a:lnTo>
                    <a:pt x="426" y="714"/>
                  </a:lnTo>
                  <a:lnTo>
                    <a:pt x="432" y="702"/>
                  </a:lnTo>
                  <a:lnTo>
                    <a:pt x="432" y="648"/>
                  </a:lnTo>
                  <a:lnTo>
                    <a:pt x="498" y="594"/>
                  </a:lnTo>
                  <a:lnTo>
                    <a:pt x="498" y="588"/>
                  </a:lnTo>
                  <a:lnTo>
                    <a:pt x="504" y="582"/>
                  </a:lnTo>
                  <a:lnTo>
                    <a:pt x="516" y="558"/>
                  </a:lnTo>
                  <a:lnTo>
                    <a:pt x="522" y="552"/>
                  </a:lnTo>
                  <a:lnTo>
                    <a:pt x="528" y="552"/>
                  </a:lnTo>
                  <a:lnTo>
                    <a:pt x="534" y="558"/>
                  </a:lnTo>
                  <a:lnTo>
                    <a:pt x="546" y="564"/>
                  </a:lnTo>
                  <a:lnTo>
                    <a:pt x="552" y="564"/>
                  </a:lnTo>
                  <a:lnTo>
                    <a:pt x="558" y="558"/>
                  </a:lnTo>
                  <a:lnTo>
                    <a:pt x="558" y="546"/>
                  </a:lnTo>
                  <a:lnTo>
                    <a:pt x="552" y="540"/>
                  </a:lnTo>
                  <a:lnTo>
                    <a:pt x="564" y="540"/>
                  </a:lnTo>
                  <a:lnTo>
                    <a:pt x="570" y="552"/>
                  </a:lnTo>
                  <a:lnTo>
                    <a:pt x="582" y="564"/>
                  </a:lnTo>
                  <a:lnTo>
                    <a:pt x="588" y="576"/>
                  </a:lnTo>
                  <a:lnTo>
                    <a:pt x="588" y="582"/>
                  </a:lnTo>
                  <a:lnTo>
                    <a:pt x="594" y="594"/>
                  </a:lnTo>
                  <a:lnTo>
                    <a:pt x="600" y="600"/>
                  </a:lnTo>
                  <a:lnTo>
                    <a:pt x="606" y="600"/>
                  </a:lnTo>
                  <a:lnTo>
                    <a:pt x="624" y="582"/>
                  </a:lnTo>
                  <a:lnTo>
                    <a:pt x="624" y="570"/>
                  </a:lnTo>
                  <a:lnTo>
                    <a:pt x="630" y="558"/>
                  </a:lnTo>
                  <a:lnTo>
                    <a:pt x="642" y="552"/>
                  </a:lnTo>
                  <a:lnTo>
                    <a:pt x="648" y="546"/>
                  </a:lnTo>
                  <a:lnTo>
                    <a:pt x="648" y="516"/>
                  </a:lnTo>
                  <a:lnTo>
                    <a:pt x="672" y="486"/>
                  </a:lnTo>
                  <a:lnTo>
                    <a:pt x="684" y="438"/>
                  </a:lnTo>
                  <a:lnTo>
                    <a:pt x="696" y="432"/>
                  </a:lnTo>
                  <a:lnTo>
                    <a:pt x="702" y="426"/>
                  </a:lnTo>
                  <a:lnTo>
                    <a:pt x="714" y="420"/>
                  </a:lnTo>
                  <a:lnTo>
                    <a:pt x="720" y="414"/>
                  </a:lnTo>
                  <a:lnTo>
                    <a:pt x="720" y="402"/>
                  </a:lnTo>
                  <a:lnTo>
                    <a:pt x="726" y="384"/>
                  </a:lnTo>
                  <a:lnTo>
                    <a:pt x="726" y="354"/>
                  </a:lnTo>
                  <a:lnTo>
                    <a:pt x="744" y="354"/>
                  </a:lnTo>
                  <a:lnTo>
                    <a:pt x="750" y="348"/>
                  </a:lnTo>
                  <a:lnTo>
                    <a:pt x="756" y="330"/>
                  </a:lnTo>
                  <a:lnTo>
                    <a:pt x="756" y="300"/>
                  </a:lnTo>
                  <a:lnTo>
                    <a:pt x="762" y="294"/>
                  </a:lnTo>
                  <a:lnTo>
                    <a:pt x="768" y="264"/>
                  </a:lnTo>
                  <a:lnTo>
                    <a:pt x="774" y="252"/>
                  </a:lnTo>
                  <a:lnTo>
                    <a:pt x="786" y="240"/>
                  </a:lnTo>
                  <a:lnTo>
                    <a:pt x="786" y="234"/>
                  </a:lnTo>
                  <a:lnTo>
                    <a:pt x="792" y="228"/>
                  </a:lnTo>
                  <a:lnTo>
                    <a:pt x="792" y="222"/>
                  </a:lnTo>
                  <a:lnTo>
                    <a:pt x="798" y="216"/>
                  </a:lnTo>
                  <a:lnTo>
                    <a:pt x="798" y="210"/>
                  </a:lnTo>
                  <a:lnTo>
                    <a:pt x="810" y="210"/>
                  </a:lnTo>
                  <a:lnTo>
                    <a:pt x="822" y="204"/>
                  </a:lnTo>
                  <a:lnTo>
                    <a:pt x="840" y="186"/>
                  </a:lnTo>
                  <a:lnTo>
                    <a:pt x="840" y="174"/>
                  </a:lnTo>
                  <a:lnTo>
                    <a:pt x="834" y="168"/>
                  </a:lnTo>
                  <a:lnTo>
                    <a:pt x="834" y="162"/>
                  </a:lnTo>
                  <a:lnTo>
                    <a:pt x="840" y="156"/>
                  </a:lnTo>
                  <a:lnTo>
                    <a:pt x="840" y="126"/>
                  </a:lnTo>
                  <a:lnTo>
                    <a:pt x="810" y="126"/>
                  </a:lnTo>
                  <a:lnTo>
                    <a:pt x="810" y="120"/>
                  </a:lnTo>
                  <a:lnTo>
                    <a:pt x="804" y="108"/>
                  </a:lnTo>
                  <a:lnTo>
                    <a:pt x="804" y="60"/>
                  </a:lnTo>
                  <a:lnTo>
                    <a:pt x="774" y="12"/>
                  </a:lnTo>
                  <a:lnTo>
                    <a:pt x="756" y="12"/>
                  </a:lnTo>
                  <a:lnTo>
                    <a:pt x="750" y="18"/>
                  </a:lnTo>
                  <a:lnTo>
                    <a:pt x="750" y="24"/>
                  </a:lnTo>
                  <a:lnTo>
                    <a:pt x="744" y="30"/>
                  </a:lnTo>
                  <a:lnTo>
                    <a:pt x="744" y="36"/>
                  </a:lnTo>
                  <a:lnTo>
                    <a:pt x="720" y="36"/>
                  </a:lnTo>
                  <a:lnTo>
                    <a:pt x="714" y="42"/>
                  </a:lnTo>
                  <a:lnTo>
                    <a:pt x="702" y="48"/>
                  </a:lnTo>
                  <a:lnTo>
                    <a:pt x="696" y="54"/>
                  </a:lnTo>
                  <a:lnTo>
                    <a:pt x="684" y="60"/>
                  </a:lnTo>
                  <a:lnTo>
                    <a:pt x="654" y="60"/>
                  </a:lnTo>
                  <a:lnTo>
                    <a:pt x="648" y="54"/>
                  </a:lnTo>
                  <a:lnTo>
                    <a:pt x="636" y="48"/>
                  </a:lnTo>
                  <a:lnTo>
                    <a:pt x="600" y="36"/>
                  </a:lnTo>
                  <a:lnTo>
                    <a:pt x="546" y="36"/>
                  </a:lnTo>
                  <a:lnTo>
                    <a:pt x="528" y="42"/>
                  </a:lnTo>
                  <a:lnTo>
                    <a:pt x="516" y="54"/>
                  </a:lnTo>
                  <a:lnTo>
                    <a:pt x="504" y="60"/>
                  </a:lnTo>
                  <a:lnTo>
                    <a:pt x="492" y="84"/>
                  </a:lnTo>
                  <a:lnTo>
                    <a:pt x="486" y="90"/>
                  </a:lnTo>
                  <a:lnTo>
                    <a:pt x="480" y="90"/>
                  </a:lnTo>
                  <a:lnTo>
                    <a:pt x="468" y="84"/>
                  </a:lnTo>
                  <a:lnTo>
                    <a:pt x="438" y="84"/>
                  </a:lnTo>
                  <a:lnTo>
                    <a:pt x="414" y="72"/>
                  </a:lnTo>
                  <a:lnTo>
                    <a:pt x="402" y="60"/>
                  </a:lnTo>
                  <a:lnTo>
                    <a:pt x="390" y="54"/>
                  </a:lnTo>
                  <a:lnTo>
                    <a:pt x="384" y="48"/>
                  </a:lnTo>
                  <a:lnTo>
                    <a:pt x="372" y="42"/>
                  </a:lnTo>
                  <a:lnTo>
                    <a:pt x="360" y="42"/>
                  </a:lnTo>
                  <a:lnTo>
                    <a:pt x="336" y="54"/>
                  </a:lnTo>
                  <a:lnTo>
                    <a:pt x="324" y="66"/>
                  </a:lnTo>
                  <a:lnTo>
                    <a:pt x="312" y="72"/>
                  </a:lnTo>
                  <a:lnTo>
                    <a:pt x="306" y="72"/>
                  </a:lnTo>
                  <a:lnTo>
                    <a:pt x="294" y="66"/>
                  </a:lnTo>
                  <a:lnTo>
                    <a:pt x="288" y="60"/>
                  </a:lnTo>
                  <a:lnTo>
                    <a:pt x="288" y="54"/>
                  </a:lnTo>
                  <a:lnTo>
                    <a:pt x="282" y="48"/>
                  </a:lnTo>
                  <a:lnTo>
                    <a:pt x="282" y="42"/>
                  </a:lnTo>
                  <a:lnTo>
                    <a:pt x="258" y="18"/>
                  </a:lnTo>
                  <a:lnTo>
                    <a:pt x="222" y="18"/>
                  </a:lnTo>
                  <a:lnTo>
                    <a:pt x="222" y="12"/>
                  </a:lnTo>
                  <a:lnTo>
                    <a:pt x="210" y="0"/>
                  </a:lnTo>
                  <a:lnTo>
                    <a:pt x="198" y="0"/>
                  </a:lnTo>
                  <a:lnTo>
                    <a:pt x="186" y="6"/>
                  </a:lnTo>
                  <a:lnTo>
                    <a:pt x="180" y="6"/>
                  </a:lnTo>
                  <a:lnTo>
                    <a:pt x="180" y="12"/>
                  </a:lnTo>
                  <a:lnTo>
                    <a:pt x="126" y="12"/>
                  </a:lnTo>
                  <a:lnTo>
                    <a:pt x="102" y="36"/>
                  </a:lnTo>
                  <a:lnTo>
                    <a:pt x="102" y="60"/>
                  </a:lnTo>
                  <a:lnTo>
                    <a:pt x="96" y="78"/>
                  </a:lnTo>
                  <a:lnTo>
                    <a:pt x="90" y="90"/>
                  </a:lnTo>
                  <a:lnTo>
                    <a:pt x="84" y="96"/>
                  </a:lnTo>
                  <a:lnTo>
                    <a:pt x="78" y="108"/>
                  </a:lnTo>
                  <a:lnTo>
                    <a:pt x="72" y="114"/>
                  </a:lnTo>
                  <a:lnTo>
                    <a:pt x="66" y="114"/>
                  </a:lnTo>
                  <a:lnTo>
                    <a:pt x="66" y="168"/>
                  </a:lnTo>
                  <a:lnTo>
                    <a:pt x="60" y="180"/>
                  </a:lnTo>
                  <a:lnTo>
                    <a:pt x="60" y="186"/>
                  </a:lnTo>
                  <a:lnTo>
                    <a:pt x="54" y="192"/>
                  </a:lnTo>
                  <a:lnTo>
                    <a:pt x="66" y="216"/>
                  </a:lnTo>
                  <a:lnTo>
                    <a:pt x="72" y="222"/>
                  </a:lnTo>
                  <a:lnTo>
                    <a:pt x="78" y="234"/>
                  </a:lnTo>
                  <a:lnTo>
                    <a:pt x="78" y="246"/>
                  </a:lnTo>
                  <a:lnTo>
                    <a:pt x="84" y="252"/>
                  </a:lnTo>
                  <a:lnTo>
                    <a:pt x="84" y="264"/>
                  </a:lnTo>
                  <a:lnTo>
                    <a:pt x="78" y="270"/>
                  </a:lnTo>
                  <a:lnTo>
                    <a:pt x="72" y="270"/>
                  </a:lnTo>
                  <a:lnTo>
                    <a:pt x="60" y="276"/>
                  </a:lnTo>
                  <a:lnTo>
                    <a:pt x="60" y="318"/>
                  </a:lnTo>
                  <a:lnTo>
                    <a:pt x="48" y="324"/>
                  </a:lnTo>
                  <a:lnTo>
                    <a:pt x="42" y="336"/>
                  </a:lnTo>
                  <a:lnTo>
                    <a:pt x="36" y="342"/>
                  </a:lnTo>
                  <a:lnTo>
                    <a:pt x="36" y="372"/>
                  </a:lnTo>
                  <a:lnTo>
                    <a:pt x="24" y="396"/>
                  </a:lnTo>
                  <a:lnTo>
                    <a:pt x="6" y="396"/>
                  </a:lnTo>
                  <a:lnTo>
                    <a:pt x="0" y="426"/>
                  </a:lnTo>
                  <a:lnTo>
                    <a:pt x="6" y="462"/>
                  </a:lnTo>
                  <a:lnTo>
                    <a:pt x="0" y="492"/>
                  </a:lnTo>
                  <a:lnTo>
                    <a:pt x="0" y="606"/>
                  </a:lnTo>
                  <a:lnTo>
                    <a:pt x="6" y="612"/>
                  </a:lnTo>
                  <a:lnTo>
                    <a:pt x="30" y="612"/>
                  </a:lnTo>
                  <a:lnTo>
                    <a:pt x="54" y="600"/>
                  </a:lnTo>
                  <a:lnTo>
                    <a:pt x="60" y="594"/>
                  </a:lnTo>
                  <a:lnTo>
                    <a:pt x="66" y="600"/>
                  </a:lnTo>
                  <a:lnTo>
                    <a:pt x="108" y="600"/>
                  </a:lnTo>
                  <a:lnTo>
                    <a:pt x="126" y="606"/>
                  </a:lnTo>
                  <a:lnTo>
                    <a:pt x="138" y="618"/>
                  </a:lnTo>
                  <a:lnTo>
                    <a:pt x="150" y="636"/>
                  </a:lnTo>
                  <a:lnTo>
                    <a:pt x="156" y="648"/>
                  </a:lnTo>
                  <a:lnTo>
                    <a:pt x="168" y="660"/>
                  </a:lnTo>
                  <a:lnTo>
                    <a:pt x="186" y="660"/>
                  </a:lnTo>
                  <a:lnTo>
                    <a:pt x="180" y="666"/>
                  </a:lnTo>
                  <a:lnTo>
                    <a:pt x="180" y="678"/>
                  </a:lnTo>
                  <a:lnTo>
                    <a:pt x="174" y="684"/>
                  </a:lnTo>
                  <a:lnTo>
                    <a:pt x="186" y="684"/>
                  </a:lnTo>
                  <a:lnTo>
                    <a:pt x="198" y="678"/>
                  </a:lnTo>
                  <a:lnTo>
                    <a:pt x="198" y="684"/>
                  </a:lnTo>
                  <a:lnTo>
                    <a:pt x="192" y="690"/>
                  </a:lnTo>
                  <a:lnTo>
                    <a:pt x="186" y="702"/>
                  </a:lnTo>
                  <a:lnTo>
                    <a:pt x="186" y="714"/>
                  </a:lnTo>
                  <a:lnTo>
                    <a:pt x="204" y="750"/>
                  </a:lnTo>
                  <a:lnTo>
                    <a:pt x="216" y="762"/>
                  </a:lnTo>
                  <a:lnTo>
                    <a:pt x="234" y="768"/>
                  </a:lnTo>
                  <a:lnTo>
                    <a:pt x="270" y="768"/>
                  </a:lnTo>
                  <a:lnTo>
                    <a:pt x="276" y="762"/>
                  </a:lnTo>
                  <a:lnTo>
                    <a:pt x="282" y="762"/>
                  </a:lnTo>
                  <a:lnTo>
                    <a:pt x="288" y="738"/>
                  </a:lnTo>
                  <a:lnTo>
                    <a:pt x="312" y="750"/>
                  </a:lnTo>
                  <a:lnTo>
                    <a:pt x="336" y="744"/>
                  </a:lnTo>
                  <a:lnTo>
                    <a:pt x="354" y="756"/>
                  </a:lnTo>
                  <a:lnTo>
                    <a:pt x="396" y="756"/>
                  </a:lnTo>
                  <a:lnTo>
                    <a:pt x="396" y="732"/>
                  </a:lnTo>
                  <a:lnTo>
                    <a:pt x="420" y="732"/>
                  </a:lnTo>
                  <a:lnTo>
                    <a:pt x="420" y="738"/>
                  </a:lnTo>
                  <a:close/>
                </a:path>
              </a:pathLst>
            </a:custGeom>
            <a:grpFill/>
            <a:ln w="3175">
              <a:solidFill>
                <a:schemeClr val="bg1"/>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de-DE" sz="1800" b="0" i="0" u="none" strike="noStrike" kern="1200" cap="none" spc="0" normalizeH="0" baseline="0" noProof="0">
                <a:ln>
                  <a:noFill/>
                </a:ln>
                <a:solidFill>
                  <a:srgbClr val="FFC000"/>
                </a:solidFill>
                <a:effectLst/>
                <a:uLnTx/>
                <a:uFillTx/>
                <a:latin typeface="Calibri" pitchFamily="34" charset="0"/>
                <a:ea typeface="+mn-ea"/>
                <a:cs typeface="+mn-cs"/>
              </a:endParaRPr>
            </a:p>
          </p:txBody>
        </p:sp>
        <p:sp>
          <p:nvSpPr>
            <p:cNvPr id="76" name="Niger" descr="© INSCALE GmbH, 05.05.2010&#10;http://www.presentationload.com/"/>
            <p:cNvSpPr>
              <a:spLocks/>
            </p:cNvSpPr>
            <p:nvPr/>
          </p:nvSpPr>
          <p:spPr bwMode="gray">
            <a:xfrm>
              <a:off x="4473419" y="3717121"/>
              <a:ext cx="360915" cy="292725"/>
            </a:xfrm>
            <a:custGeom>
              <a:avLst/>
              <a:gdLst>
                <a:gd name="T0" fmla="*/ 2147483647 w 1110"/>
                <a:gd name="T1" fmla="*/ 2147483647 h 942"/>
                <a:gd name="T2" fmla="*/ 2147483647 w 1110"/>
                <a:gd name="T3" fmla="*/ 2147483647 h 942"/>
                <a:gd name="T4" fmla="*/ 2147483647 w 1110"/>
                <a:gd name="T5" fmla="*/ 2147483647 h 942"/>
                <a:gd name="T6" fmla="*/ 2147483647 w 1110"/>
                <a:gd name="T7" fmla="*/ 2147483647 h 942"/>
                <a:gd name="T8" fmla="*/ 2147483647 w 1110"/>
                <a:gd name="T9" fmla="*/ 2147483647 h 942"/>
                <a:gd name="T10" fmla="*/ 2147483647 w 1110"/>
                <a:gd name="T11" fmla="*/ 2147483647 h 942"/>
                <a:gd name="T12" fmla="*/ 2147483647 w 1110"/>
                <a:gd name="T13" fmla="*/ 2147483647 h 942"/>
                <a:gd name="T14" fmla="*/ 2147483647 w 1110"/>
                <a:gd name="T15" fmla="*/ 2147483647 h 942"/>
                <a:gd name="T16" fmla="*/ 2147483647 w 1110"/>
                <a:gd name="T17" fmla="*/ 2147483647 h 942"/>
                <a:gd name="T18" fmla="*/ 2147483647 w 1110"/>
                <a:gd name="T19" fmla="*/ 2147483647 h 942"/>
                <a:gd name="T20" fmla="*/ 2147483647 w 1110"/>
                <a:gd name="T21" fmla="*/ 2147483647 h 942"/>
                <a:gd name="T22" fmla="*/ 2147483647 w 1110"/>
                <a:gd name="T23" fmla="*/ 2147483647 h 942"/>
                <a:gd name="T24" fmla="*/ 2147483647 w 1110"/>
                <a:gd name="T25" fmla="*/ 2147483647 h 942"/>
                <a:gd name="T26" fmla="*/ 2147483647 w 1110"/>
                <a:gd name="T27" fmla="*/ 2147483647 h 942"/>
                <a:gd name="T28" fmla="*/ 2147483647 w 1110"/>
                <a:gd name="T29" fmla="*/ 2147483647 h 942"/>
                <a:gd name="T30" fmla="*/ 2147483647 w 1110"/>
                <a:gd name="T31" fmla="*/ 2147483647 h 942"/>
                <a:gd name="T32" fmla="*/ 2147483647 w 1110"/>
                <a:gd name="T33" fmla="*/ 2147483647 h 942"/>
                <a:gd name="T34" fmla="*/ 2147483647 w 1110"/>
                <a:gd name="T35" fmla="*/ 2147483647 h 942"/>
                <a:gd name="T36" fmla="*/ 2147483647 w 1110"/>
                <a:gd name="T37" fmla="*/ 2147483647 h 942"/>
                <a:gd name="T38" fmla="*/ 2147483647 w 1110"/>
                <a:gd name="T39" fmla="*/ 2147483647 h 942"/>
                <a:gd name="T40" fmla="*/ 2147483647 w 1110"/>
                <a:gd name="T41" fmla="*/ 2147483647 h 942"/>
                <a:gd name="T42" fmla="*/ 2147483647 w 1110"/>
                <a:gd name="T43" fmla="*/ 2147483647 h 942"/>
                <a:gd name="T44" fmla="*/ 2147483647 w 1110"/>
                <a:gd name="T45" fmla="*/ 2147483647 h 942"/>
                <a:gd name="T46" fmla="*/ 2147483647 w 1110"/>
                <a:gd name="T47" fmla="*/ 2147483647 h 942"/>
                <a:gd name="T48" fmla="*/ 2147483647 w 1110"/>
                <a:gd name="T49" fmla="*/ 2147483647 h 942"/>
                <a:gd name="T50" fmla="*/ 2147483647 w 1110"/>
                <a:gd name="T51" fmla="*/ 2147483647 h 942"/>
                <a:gd name="T52" fmla="*/ 2147483647 w 1110"/>
                <a:gd name="T53" fmla="*/ 2147483647 h 942"/>
                <a:gd name="T54" fmla="*/ 2147483647 w 1110"/>
                <a:gd name="T55" fmla="*/ 2147483647 h 942"/>
                <a:gd name="T56" fmla="*/ 2147483647 w 1110"/>
                <a:gd name="T57" fmla="*/ 2147483647 h 942"/>
                <a:gd name="T58" fmla="*/ 2147483647 w 1110"/>
                <a:gd name="T59" fmla="*/ 2147483647 h 942"/>
                <a:gd name="T60" fmla="*/ 2147483647 w 1110"/>
                <a:gd name="T61" fmla="*/ 2147483647 h 942"/>
                <a:gd name="T62" fmla="*/ 2147483647 w 1110"/>
                <a:gd name="T63" fmla="*/ 2147483647 h 942"/>
                <a:gd name="T64" fmla="*/ 2147483647 w 1110"/>
                <a:gd name="T65" fmla="*/ 2147483647 h 942"/>
                <a:gd name="T66" fmla="*/ 2147483647 w 1110"/>
                <a:gd name="T67" fmla="*/ 2147483647 h 942"/>
                <a:gd name="T68" fmla="*/ 2147483647 w 1110"/>
                <a:gd name="T69" fmla="*/ 2147483647 h 942"/>
                <a:gd name="T70" fmla="*/ 2147483647 w 1110"/>
                <a:gd name="T71" fmla="*/ 2147483647 h 942"/>
                <a:gd name="T72" fmla="*/ 2147483647 w 1110"/>
                <a:gd name="T73" fmla="*/ 2147483647 h 942"/>
                <a:gd name="T74" fmla="*/ 2147483647 w 1110"/>
                <a:gd name="T75" fmla="*/ 2147483647 h 942"/>
                <a:gd name="T76" fmla="*/ 2147483647 w 1110"/>
                <a:gd name="T77" fmla="*/ 2147483647 h 942"/>
                <a:gd name="T78" fmla="*/ 2147483647 w 1110"/>
                <a:gd name="T79" fmla="*/ 2147483647 h 942"/>
                <a:gd name="T80" fmla="*/ 2147483647 w 1110"/>
                <a:gd name="T81" fmla="*/ 2147483647 h 942"/>
                <a:gd name="T82" fmla="*/ 2147483647 w 1110"/>
                <a:gd name="T83" fmla="*/ 2147483647 h 942"/>
                <a:gd name="T84" fmla="*/ 2147483647 w 1110"/>
                <a:gd name="T85" fmla="*/ 2147483647 h 942"/>
                <a:gd name="T86" fmla="*/ 2147483647 w 1110"/>
                <a:gd name="T87" fmla="*/ 2147483647 h 942"/>
                <a:gd name="T88" fmla="*/ 2147483647 w 1110"/>
                <a:gd name="T89" fmla="*/ 2147483647 h 942"/>
                <a:gd name="T90" fmla="*/ 2147483647 w 1110"/>
                <a:gd name="T91" fmla="*/ 2147483647 h 942"/>
                <a:gd name="T92" fmla="*/ 2147483647 w 1110"/>
                <a:gd name="T93" fmla="*/ 2147483647 h 942"/>
                <a:gd name="T94" fmla="*/ 2147483647 w 1110"/>
                <a:gd name="T95" fmla="*/ 2147483647 h 942"/>
                <a:gd name="T96" fmla="*/ 2147483647 w 1110"/>
                <a:gd name="T97" fmla="*/ 2147483647 h 942"/>
                <a:gd name="T98" fmla="*/ 0 w 1110"/>
                <a:gd name="T99" fmla="*/ 2147483647 h 942"/>
                <a:gd name="T100" fmla="*/ 2147483647 w 1110"/>
                <a:gd name="T101" fmla="*/ 2147483647 h 942"/>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1110"/>
                <a:gd name="T154" fmla="*/ 0 h 942"/>
                <a:gd name="T155" fmla="*/ 1110 w 1110"/>
                <a:gd name="T156" fmla="*/ 942 h 942"/>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1110" h="942">
                  <a:moveTo>
                    <a:pt x="54" y="792"/>
                  </a:moveTo>
                  <a:lnTo>
                    <a:pt x="54" y="810"/>
                  </a:lnTo>
                  <a:lnTo>
                    <a:pt x="66" y="810"/>
                  </a:lnTo>
                  <a:lnTo>
                    <a:pt x="48" y="828"/>
                  </a:lnTo>
                  <a:lnTo>
                    <a:pt x="48" y="834"/>
                  </a:lnTo>
                  <a:lnTo>
                    <a:pt x="72" y="858"/>
                  </a:lnTo>
                  <a:lnTo>
                    <a:pt x="84" y="864"/>
                  </a:lnTo>
                  <a:lnTo>
                    <a:pt x="90" y="876"/>
                  </a:lnTo>
                  <a:lnTo>
                    <a:pt x="108" y="876"/>
                  </a:lnTo>
                  <a:lnTo>
                    <a:pt x="120" y="864"/>
                  </a:lnTo>
                  <a:lnTo>
                    <a:pt x="132" y="864"/>
                  </a:lnTo>
                  <a:lnTo>
                    <a:pt x="144" y="876"/>
                  </a:lnTo>
                  <a:lnTo>
                    <a:pt x="150" y="888"/>
                  </a:lnTo>
                  <a:lnTo>
                    <a:pt x="126" y="894"/>
                  </a:lnTo>
                  <a:lnTo>
                    <a:pt x="150" y="930"/>
                  </a:lnTo>
                  <a:lnTo>
                    <a:pt x="150" y="906"/>
                  </a:lnTo>
                  <a:lnTo>
                    <a:pt x="180" y="894"/>
                  </a:lnTo>
                  <a:lnTo>
                    <a:pt x="192" y="906"/>
                  </a:lnTo>
                  <a:lnTo>
                    <a:pt x="198" y="918"/>
                  </a:lnTo>
                  <a:lnTo>
                    <a:pt x="204" y="924"/>
                  </a:lnTo>
                  <a:lnTo>
                    <a:pt x="210" y="924"/>
                  </a:lnTo>
                  <a:lnTo>
                    <a:pt x="216" y="930"/>
                  </a:lnTo>
                  <a:lnTo>
                    <a:pt x="222" y="930"/>
                  </a:lnTo>
                  <a:lnTo>
                    <a:pt x="234" y="936"/>
                  </a:lnTo>
                  <a:lnTo>
                    <a:pt x="240" y="942"/>
                  </a:lnTo>
                  <a:lnTo>
                    <a:pt x="240" y="888"/>
                  </a:lnTo>
                  <a:lnTo>
                    <a:pt x="246" y="888"/>
                  </a:lnTo>
                  <a:lnTo>
                    <a:pt x="252" y="882"/>
                  </a:lnTo>
                  <a:lnTo>
                    <a:pt x="258" y="870"/>
                  </a:lnTo>
                  <a:lnTo>
                    <a:pt x="264" y="864"/>
                  </a:lnTo>
                  <a:lnTo>
                    <a:pt x="270" y="852"/>
                  </a:lnTo>
                  <a:lnTo>
                    <a:pt x="276" y="834"/>
                  </a:lnTo>
                  <a:lnTo>
                    <a:pt x="276" y="810"/>
                  </a:lnTo>
                  <a:lnTo>
                    <a:pt x="300" y="786"/>
                  </a:lnTo>
                  <a:lnTo>
                    <a:pt x="354" y="786"/>
                  </a:lnTo>
                  <a:lnTo>
                    <a:pt x="354" y="780"/>
                  </a:lnTo>
                  <a:lnTo>
                    <a:pt x="360" y="780"/>
                  </a:lnTo>
                  <a:lnTo>
                    <a:pt x="372" y="774"/>
                  </a:lnTo>
                  <a:lnTo>
                    <a:pt x="384" y="774"/>
                  </a:lnTo>
                  <a:lnTo>
                    <a:pt x="396" y="786"/>
                  </a:lnTo>
                  <a:lnTo>
                    <a:pt x="396" y="792"/>
                  </a:lnTo>
                  <a:lnTo>
                    <a:pt x="432" y="792"/>
                  </a:lnTo>
                  <a:lnTo>
                    <a:pt x="456" y="816"/>
                  </a:lnTo>
                  <a:lnTo>
                    <a:pt x="456" y="822"/>
                  </a:lnTo>
                  <a:lnTo>
                    <a:pt x="462" y="828"/>
                  </a:lnTo>
                  <a:lnTo>
                    <a:pt x="462" y="834"/>
                  </a:lnTo>
                  <a:lnTo>
                    <a:pt x="468" y="840"/>
                  </a:lnTo>
                  <a:lnTo>
                    <a:pt x="480" y="846"/>
                  </a:lnTo>
                  <a:lnTo>
                    <a:pt x="486" y="846"/>
                  </a:lnTo>
                  <a:lnTo>
                    <a:pt x="498" y="840"/>
                  </a:lnTo>
                  <a:lnTo>
                    <a:pt x="510" y="828"/>
                  </a:lnTo>
                  <a:lnTo>
                    <a:pt x="534" y="816"/>
                  </a:lnTo>
                  <a:lnTo>
                    <a:pt x="546" y="816"/>
                  </a:lnTo>
                  <a:lnTo>
                    <a:pt x="558" y="822"/>
                  </a:lnTo>
                  <a:lnTo>
                    <a:pt x="564" y="828"/>
                  </a:lnTo>
                  <a:lnTo>
                    <a:pt x="576" y="834"/>
                  </a:lnTo>
                  <a:lnTo>
                    <a:pt x="588" y="846"/>
                  </a:lnTo>
                  <a:lnTo>
                    <a:pt x="612" y="858"/>
                  </a:lnTo>
                  <a:lnTo>
                    <a:pt x="642" y="858"/>
                  </a:lnTo>
                  <a:lnTo>
                    <a:pt x="654" y="864"/>
                  </a:lnTo>
                  <a:lnTo>
                    <a:pt x="660" y="864"/>
                  </a:lnTo>
                  <a:lnTo>
                    <a:pt x="666" y="858"/>
                  </a:lnTo>
                  <a:lnTo>
                    <a:pt x="678" y="834"/>
                  </a:lnTo>
                  <a:lnTo>
                    <a:pt x="690" y="828"/>
                  </a:lnTo>
                  <a:lnTo>
                    <a:pt x="702" y="816"/>
                  </a:lnTo>
                  <a:lnTo>
                    <a:pt x="720" y="810"/>
                  </a:lnTo>
                  <a:lnTo>
                    <a:pt x="774" y="810"/>
                  </a:lnTo>
                  <a:lnTo>
                    <a:pt x="810" y="822"/>
                  </a:lnTo>
                  <a:lnTo>
                    <a:pt x="822" y="828"/>
                  </a:lnTo>
                  <a:lnTo>
                    <a:pt x="828" y="834"/>
                  </a:lnTo>
                  <a:lnTo>
                    <a:pt x="858" y="834"/>
                  </a:lnTo>
                  <a:lnTo>
                    <a:pt x="870" y="828"/>
                  </a:lnTo>
                  <a:lnTo>
                    <a:pt x="876" y="822"/>
                  </a:lnTo>
                  <a:lnTo>
                    <a:pt x="888" y="816"/>
                  </a:lnTo>
                  <a:lnTo>
                    <a:pt x="894" y="810"/>
                  </a:lnTo>
                  <a:lnTo>
                    <a:pt x="918" y="810"/>
                  </a:lnTo>
                  <a:lnTo>
                    <a:pt x="918" y="804"/>
                  </a:lnTo>
                  <a:lnTo>
                    <a:pt x="924" y="798"/>
                  </a:lnTo>
                  <a:lnTo>
                    <a:pt x="924" y="792"/>
                  </a:lnTo>
                  <a:lnTo>
                    <a:pt x="930" y="786"/>
                  </a:lnTo>
                  <a:lnTo>
                    <a:pt x="936" y="786"/>
                  </a:lnTo>
                  <a:lnTo>
                    <a:pt x="930" y="726"/>
                  </a:lnTo>
                  <a:lnTo>
                    <a:pt x="948" y="720"/>
                  </a:lnTo>
                  <a:lnTo>
                    <a:pt x="948" y="714"/>
                  </a:lnTo>
                  <a:lnTo>
                    <a:pt x="954" y="708"/>
                  </a:lnTo>
                  <a:lnTo>
                    <a:pt x="954" y="696"/>
                  </a:lnTo>
                  <a:lnTo>
                    <a:pt x="960" y="678"/>
                  </a:lnTo>
                  <a:lnTo>
                    <a:pt x="966" y="666"/>
                  </a:lnTo>
                  <a:lnTo>
                    <a:pt x="978" y="648"/>
                  </a:lnTo>
                  <a:lnTo>
                    <a:pt x="984" y="636"/>
                  </a:lnTo>
                  <a:lnTo>
                    <a:pt x="1002" y="618"/>
                  </a:lnTo>
                  <a:lnTo>
                    <a:pt x="1026" y="588"/>
                  </a:lnTo>
                  <a:lnTo>
                    <a:pt x="1050" y="564"/>
                  </a:lnTo>
                  <a:lnTo>
                    <a:pt x="1068" y="540"/>
                  </a:lnTo>
                  <a:lnTo>
                    <a:pt x="1074" y="534"/>
                  </a:lnTo>
                  <a:lnTo>
                    <a:pt x="1092" y="288"/>
                  </a:lnTo>
                  <a:lnTo>
                    <a:pt x="1110" y="252"/>
                  </a:lnTo>
                  <a:lnTo>
                    <a:pt x="1080" y="216"/>
                  </a:lnTo>
                  <a:lnTo>
                    <a:pt x="1074" y="192"/>
                  </a:lnTo>
                  <a:lnTo>
                    <a:pt x="1044" y="156"/>
                  </a:lnTo>
                  <a:lnTo>
                    <a:pt x="1056" y="108"/>
                  </a:lnTo>
                  <a:lnTo>
                    <a:pt x="1038" y="42"/>
                  </a:lnTo>
                  <a:lnTo>
                    <a:pt x="1020" y="48"/>
                  </a:lnTo>
                  <a:lnTo>
                    <a:pt x="1002" y="60"/>
                  </a:lnTo>
                  <a:lnTo>
                    <a:pt x="990" y="66"/>
                  </a:lnTo>
                  <a:lnTo>
                    <a:pt x="984" y="66"/>
                  </a:lnTo>
                  <a:lnTo>
                    <a:pt x="978" y="60"/>
                  </a:lnTo>
                  <a:lnTo>
                    <a:pt x="966" y="54"/>
                  </a:lnTo>
                  <a:lnTo>
                    <a:pt x="960" y="42"/>
                  </a:lnTo>
                  <a:lnTo>
                    <a:pt x="954" y="36"/>
                  </a:lnTo>
                  <a:lnTo>
                    <a:pt x="942" y="30"/>
                  </a:lnTo>
                  <a:lnTo>
                    <a:pt x="936" y="24"/>
                  </a:lnTo>
                  <a:lnTo>
                    <a:pt x="930" y="24"/>
                  </a:lnTo>
                  <a:lnTo>
                    <a:pt x="918" y="18"/>
                  </a:lnTo>
                  <a:lnTo>
                    <a:pt x="900" y="12"/>
                  </a:lnTo>
                  <a:lnTo>
                    <a:pt x="888" y="12"/>
                  </a:lnTo>
                  <a:lnTo>
                    <a:pt x="876" y="6"/>
                  </a:lnTo>
                  <a:lnTo>
                    <a:pt x="864" y="6"/>
                  </a:lnTo>
                  <a:lnTo>
                    <a:pt x="828" y="0"/>
                  </a:lnTo>
                  <a:lnTo>
                    <a:pt x="816" y="6"/>
                  </a:lnTo>
                  <a:lnTo>
                    <a:pt x="786" y="30"/>
                  </a:lnTo>
                  <a:lnTo>
                    <a:pt x="738" y="66"/>
                  </a:lnTo>
                  <a:lnTo>
                    <a:pt x="684" y="102"/>
                  </a:lnTo>
                  <a:lnTo>
                    <a:pt x="624" y="144"/>
                  </a:lnTo>
                  <a:lnTo>
                    <a:pt x="576" y="180"/>
                  </a:lnTo>
                  <a:lnTo>
                    <a:pt x="534" y="210"/>
                  </a:lnTo>
                  <a:lnTo>
                    <a:pt x="510" y="222"/>
                  </a:lnTo>
                  <a:lnTo>
                    <a:pt x="480" y="246"/>
                  </a:lnTo>
                  <a:lnTo>
                    <a:pt x="450" y="282"/>
                  </a:lnTo>
                  <a:lnTo>
                    <a:pt x="414" y="312"/>
                  </a:lnTo>
                  <a:lnTo>
                    <a:pt x="390" y="330"/>
                  </a:lnTo>
                  <a:lnTo>
                    <a:pt x="366" y="336"/>
                  </a:lnTo>
                  <a:lnTo>
                    <a:pt x="324" y="342"/>
                  </a:lnTo>
                  <a:lnTo>
                    <a:pt x="282" y="354"/>
                  </a:lnTo>
                  <a:lnTo>
                    <a:pt x="282" y="558"/>
                  </a:lnTo>
                  <a:lnTo>
                    <a:pt x="264" y="582"/>
                  </a:lnTo>
                  <a:lnTo>
                    <a:pt x="264" y="594"/>
                  </a:lnTo>
                  <a:lnTo>
                    <a:pt x="258" y="606"/>
                  </a:lnTo>
                  <a:lnTo>
                    <a:pt x="258" y="624"/>
                  </a:lnTo>
                  <a:lnTo>
                    <a:pt x="252" y="636"/>
                  </a:lnTo>
                  <a:lnTo>
                    <a:pt x="240" y="642"/>
                  </a:lnTo>
                  <a:lnTo>
                    <a:pt x="222" y="648"/>
                  </a:lnTo>
                  <a:lnTo>
                    <a:pt x="198" y="648"/>
                  </a:lnTo>
                  <a:lnTo>
                    <a:pt x="186" y="654"/>
                  </a:lnTo>
                  <a:lnTo>
                    <a:pt x="138" y="648"/>
                  </a:lnTo>
                  <a:lnTo>
                    <a:pt x="138" y="666"/>
                  </a:lnTo>
                  <a:lnTo>
                    <a:pt x="72" y="660"/>
                  </a:lnTo>
                  <a:lnTo>
                    <a:pt x="48" y="678"/>
                  </a:lnTo>
                  <a:lnTo>
                    <a:pt x="0" y="690"/>
                  </a:lnTo>
                  <a:lnTo>
                    <a:pt x="0" y="726"/>
                  </a:lnTo>
                  <a:lnTo>
                    <a:pt x="6" y="738"/>
                  </a:lnTo>
                  <a:lnTo>
                    <a:pt x="6" y="762"/>
                  </a:lnTo>
                  <a:lnTo>
                    <a:pt x="18" y="786"/>
                  </a:lnTo>
                  <a:lnTo>
                    <a:pt x="30" y="792"/>
                  </a:lnTo>
                  <a:lnTo>
                    <a:pt x="54" y="792"/>
                  </a:lnTo>
                  <a:close/>
                </a:path>
              </a:pathLst>
            </a:custGeom>
            <a:grpFill/>
            <a:ln w="3175">
              <a:solidFill>
                <a:schemeClr val="bg1"/>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de-DE" sz="1800" b="0" i="0" u="none" strike="noStrike" kern="1200" cap="none" spc="0" normalizeH="0" baseline="0" noProof="0">
                <a:ln>
                  <a:noFill/>
                </a:ln>
                <a:solidFill>
                  <a:srgbClr val="FFC000"/>
                </a:solidFill>
                <a:effectLst/>
                <a:uLnTx/>
                <a:uFillTx/>
                <a:latin typeface="Calibri" pitchFamily="34" charset="0"/>
                <a:ea typeface="+mn-ea"/>
                <a:cs typeface="+mn-cs"/>
              </a:endParaRPr>
            </a:p>
          </p:txBody>
        </p:sp>
        <p:sp>
          <p:nvSpPr>
            <p:cNvPr id="77" name="Nicaragua" descr="© INSCALE GmbH, 05.05.2010&#10;http://www.presentationload.com/"/>
            <p:cNvSpPr>
              <a:spLocks/>
            </p:cNvSpPr>
            <p:nvPr/>
          </p:nvSpPr>
          <p:spPr bwMode="gray">
            <a:xfrm>
              <a:off x="2458950" y="3932684"/>
              <a:ext cx="106226" cy="102883"/>
            </a:xfrm>
            <a:custGeom>
              <a:avLst/>
              <a:gdLst>
                <a:gd name="T0" fmla="*/ 2147483647 w 324"/>
                <a:gd name="T1" fmla="*/ 2147483647 h 330"/>
                <a:gd name="T2" fmla="*/ 2147483647 w 324"/>
                <a:gd name="T3" fmla="*/ 0 h 330"/>
                <a:gd name="T4" fmla="*/ 2147483647 w 324"/>
                <a:gd name="T5" fmla="*/ 2147483647 h 330"/>
                <a:gd name="T6" fmla="*/ 2147483647 w 324"/>
                <a:gd name="T7" fmla="*/ 2147483647 h 330"/>
                <a:gd name="T8" fmla="*/ 2147483647 w 324"/>
                <a:gd name="T9" fmla="*/ 0 h 330"/>
                <a:gd name="T10" fmla="*/ 2147483647 w 324"/>
                <a:gd name="T11" fmla="*/ 2147483647 h 330"/>
                <a:gd name="T12" fmla="*/ 2147483647 w 324"/>
                <a:gd name="T13" fmla="*/ 2147483647 h 330"/>
                <a:gd name="T14" fmla="*/ 2147483647 w 324"/>
                <a:gd name="T15" fmla="*/ 2147483647 h 330"/>
                <a:gd name="T16" fmla="*/ 2147483647 w 324"/>
                <a:gd name="T17" fmla="*/ 2147483647 h 330"/>
                <a:gd name="T18" fmla="*/ 2147483647 w 324"/>
                <a:gd name="T19" fmla="*/ 2147483647 h 330"/>
                <a:gd name="T20" fmla="*/ 2147483647 w 324"/>
                <a:gd name="T21" fmla="*/ 2147483647 h 330"/>
                <a:gd name="T22" fmla="*/ 2147483647 w 324"/>
                <a:gd name="T23" fmla="*/ 2147483647 h 330"/>
                <a:gd name="T24" fmla="*/ 2147483647 w 324"/>
                <a:gd name="T25" fmla="*/ 2147483647 h 330"/>
                <a:gd name="T26" fmla="*/ 2147483647 w 324"/>
                <a:gd name="T27" fmla="*/ 2147483647 h 330"/>
                <a:gd name="T28" fmla="*/ 2147483647 w 324"/>
                <a:gd name="T29" fmla="*/ 2147483647 h 330"/>
                <a:gd name="T30" fmla="*/ 2147483647 w 324"/>
                <a:gd name="T31" fmla="*/ 2147483647 h 330"/>
                <a:gd name="T32" fmla="*/ 2147483647 w 324"/>
                <a:gd name="T33" fmla="*/ 2147483647 h 330"/>
                <a:gd name="T34" fmla="*/ 2147483647 w 324"/>
                <a:gd name="T35" fmla="*/ 2147483647 h 330"/>
                <a:gd name="T36" fmla="*/ 2147483647 w 324"/>
                <a:gd name="T37" fmla="*/ 2147483647 h 330"/>
                <a:gd name="T38" fmla="*/ 2147483647 w 324"/>
                <a:gd name="T39" fmla="*/ 2147483647 h 330"/>
                <a:gd name="T40" fmla="*/ 2147483647 w 324"/>
                <a:gd name="T41" fmla="*/ 2147483647 h 330"/>
                <a:gd name="T42" fmla="*/ 2147483647 w 324"/>
                <a:gd name="T43" fmla="*/ 2147483647 h 330"/>
                <a:gd name="T44" fmla="*/ 2147483647 w 324"/>
                <a:gd name="T45" fmla="*/ 2147483647 h 330"/>
                <a:gd name="T46" fmla="*/ 2147483647 w 324"/>
                <a:gd name="T47" fmla="*/ 2147483647 h 330"/>
                <a:gd name="T48" fmla="*/ 2147483647 w 324"/>
                <a:gd name="T49" fmla="*/ 2147483647 h 330"/>
                <a:gd name="T50" fmla="*/ 2147483647 w 324"/>
                <a:gd name="T51" fmla="*/ 2147483647 h 330"/>
                <a:gd name="T52" fmla="*/ 2147483647 w 324"/>
                <a:gd name="T53" fmla="*/ 2147483647 h 330"/>
                <a:gd name="T54" fmla="*/ 2147483647 w 324"/>
                <a:gd name="T55" fmla="*/ 2147483647 h 330"/>
                <a:gd name="T56" fmla="*/ 2147483647 w 324"/>
                <a:gd name="T57" fmla="*/ 2147483647 h 330"/>
                <a:gd name="T58" fmla="*/ 2147483647 w 324"/>
                <a:gd name="T59" fmla="*/ 2147483647 h 330"/>
                <a:gd name="T60" fmla="*/ 2147483647 w 324"/>
                <a:gd name="T61" fmla="*/ 2147483647 h 330"/>
                <a:gd name="T62" fmla="*/ 2147483647 w 324"/>
                <a:gd name="T63" fmla="*/ 2147483647 h 330"/>
                <a:gd name="T64" fmla="*/ 2147483647 w 324"/>
                <a:gd name="T65" fmla="*/ 2147483647 h 330"/>
                <a:gd name="T66" fmla="*/ 2147483647 w 324"/>
                <a:gd name="T67" fmla="*/ 2147483647 h 330"/>
                <a:gd name="T68" fmla="*/ 2147483647 w 324"/>
                <a:gd name="T69" fmla="*/ 2147483647 h 330"/>
                <a:gd name="T70" fmla="*/ 2147483647 w 324"/>
                <a:gd name="T71" fmla="*/ 2147483647 h 330"/>
                <a:gd name="T72" fmla="*/ 2147483647 w 324"/>
                <a:gd name="T73" fmla="*/ 2147483647 h 330"/>
                <a:gd name="T74" fmla="*/ 2147483647 w 324"/>
                <a:gd name="T75" fmla="*/ 2147483647 h 330"/>
                <a:gd name="T76" fmla="*/ 2147483647 w 324"/>
                <a:gd name="T77" fmla="*/ 2147483647 h 330"/>
                <a:gd name="T78" fmla="*/ 2147483647 w 324"/>
                <a:gd name="T79" fmla="*/ 2147483647 h 330"/>
                <a:gd name="T80" fmla="*/ 2147483647 w 324"/>
                <a:gd name="T81" fmla="*/ 2147483647 h 330"/>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324"/>
                <a:gd name="T124" fmla="*/ 0 h 330"/>
                <a:gd name="T125" fmla="*/ 324 w 324"/>
                <a:gd name="T126" fmla="*/ 330 h 330"/>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324" h="330">
                  <a:moveTo>
                    <a:pt x="324" y="18"/>
                  </a:moveTo>
                  <a:lnTo>
                    <a:pt x="318" y="12"/>
                  </a:lnTo>
                  <a:lnTo>
                    <a:pt x="318" y="6"/>
                  </a:lnTo>
                  <a:lnTo>
                    <a:pt x="312" y="0"/>
                  </a:lnTo>
                  <a:lnTo>
                    <a:pt x="264" y="0"/>
                  </a:lnTo>
                  <a:lnTo>
                    <a:pt x="264" y="6"/>
                  </a:lnTo>
                  <a:lnTo>
                    <a:pt x="252" y="18"/>
                  </a:lnTo>
                  <a:lnTo>
                    <a:pt x="240" y="18"/>
                  </a:lnTo>
                  <a:lnTo>
                    <a:pt x="222" y="0"/>
                  </a:lnTo>
                  <a:lnTo>
                    <a:pt x="210" y="0"/>
                  </a:lnTo>
                  <a:lnTo>
                    <a:pt x="198" y="12"/>
                  </a:lnTo>
                  <a:lnTo>
                    <a:pt x="198" y="30"/>
                  </a:lnTo>
                  <a:lnTo>
                    <a:pt x="180" y="30"/>
                  </a:lnTo>
                  <a:lnTo>
                    <a:pt x="168" y="54"/>
                  </a:lnTo>
                  <a:lnTo>
                    <a:pt x="144" y="78"/>
                  </a:lnTo>
                  <a:lnTo>
                    <a:pt x="126" y="78"/>
                  </a:lnTo>
                  <a:lnTo>
                    <a:pt x="120" y="72"/>
                  </a:lnTo>
                  <a:lnTo>
                    <a:pt x="120" y="66"/>
                  </a:lnTo>
                  <a:lnTo>
                    <a:pt x="108" y="66"/>
                  </a:lnTo>
                  <a:lnTo>
                    <a:pt x="102" y="72"/>
                  </a:lnTo>
                  <a:lnTo>
                    <a:pt x="96" y="84"/>
                  </a:lnTo>
                  <a:lnTo>
                    <a:pt x="60" y="84"/>
                  </a:lnTo>
                  <a:lnTo>
                    <a:pt x="54" y="90"/>
                  </a:lnTo>
                  <a:lnTo>
                    <a:pt x="54" y="102"/>
                  </a:lnTo>
                  <a:lnTo>
                    <a:pt x="60" y="108"/>
                  </a:lnTo>
                  <a:lnTo>
                    <a:pt x="60" y="120"/>
                  </a:lnTo>
                  <a:lnTo>
                    <a:pt x="66" y="126"/>
                  </a:lnTo>
                  <a:lnTo>
                    <a:pt x="48" y="126"/>
                  </a:lnTo>
                  <a:lnTo>
                    <a:pt x="48" y="144"/>
                  </a:lnTo>
                  <a:lnTo>
                    <a:pt x="36" y="150"/>
                  </a:lnTo>
                  <a:lnTo>
                    <a:pt x="0" y="150"/>
                  </a:lnTo>
                  <a:lnTo>
                    <a:pt x="48" y="204"/>
                  </a:lnTo>
                  <a:lnTo>
                    <a:pt x="48" y="210"/>
                  </a:lnTo>
                  <a:lnTo>
                    <a:pt x="54" y="216"/>
                  </a:lnTo>
                  <a:lnTo>
                    <a:pt x="54" y="228"/>
                  </a:lnTo>
                  <a:lnTo>
                    <a:pt x="66" y="252"/>
                  </a:lnTo>
                  <a:lnTo>
                    <a:pt x="72" y="258"/>
                  </a:lnTo>
                  <a:lnTo>
                    <a:pt x="96" y="270"/>
                  </a:lnTo>
                  <a:lnTo>
                    <a:pt x="108" y="282"/>
                  </a:lnTo>
                  <a:lnTo>
                    <a:pt x="114" y="294"/>
                  </a:lnTo>
                  <a:lnTo>
                    <a:pt x="138" y="294"/>
                  </a:lnTo>
                  <a:lnTo>
                    <a:pt x="132" y="294"/>
                  </a:lnTo>
                  <a:lnTo>
                    <a:pt x="120" y="282"/>
                  </a:lnTo>
                  <a:lnTo>
                    <a:pt x="120" y="276"/>
                  </a:lnTo>
                  <a:lnTo>
                    <a:pt x="126" y="270"/>
                  </a:lnTo>
                  <a:lnTo>
                    <a:pt x="138" y="270"/>
                  </a:lnTo>
                  <a:lnTo>
                    <a:pt x="138" y="264"/>
                  </a:lnTo>
                  <a:lnTo>
                    <a:pt x="132" y="258"/>
                  </a:lnTo>
                  <a:lnTo>
                    <a:pt x="126" y="258"/>
                  </a:lnTo>
                  <a:lnTo>
                    <a:pt x="120" y="264"/>
                  </a:lnTo>
                  <a:lnTo>
                    <a:pt x="114" y="264"/>
                  </a:lnTo>
                  <a:lnTo>
                    <a:pt x="114" y="222"/>
                  </a:lnTo>
                  <a:lnTo>
                    <a:pt x="120" y="222"/>
                  </a:lnTo>
                  <a:lnTo>
                    <a:pt x="132" y="228"/>
                  </a:lnTo>
                  <a:lnTo>
                    <a:pt x="144" y="240"/>
                  </a:lnTo>
                  <a:lnTo>
                    <a:pt x="156" y="246"/>
                  </a:lnTo>
                  <a:lnTo>
                    <a:pt x="180" y="270"/>
                  </a:lnTo>
                  <a:lnTo>
                    <a:pt x="192" y="306"/>
                  </a:lnTo>
                  <a:lnTo>
                    <a:pt x="210" y="306"/>
                  </a:lnTo>
                  <a:lnTo>
                    <a:pt x="216" y="312"/>
                  </a:lnTo>
                  <a:lnTo>
                    <a:pt x="222" y="312"/>
                  </a:lnTo>
                  <a:lnTo>
                    <a:pt x="222" y="318"/>
                  </a:lnTo>
                  <a:lnTo>
                    <a:pt x="234" y="330"/>
                  </a:lnTo>
                  <a:lnTo>
                    <a:pt x="270" y="330"/>
                  </a:lnTo>
                  <a:lnTo>
                    <a:pt x="270" y="324"/>
                  </a:lnTo>
                  <a:lnTo>
                    <a:pt x="258" y="312"/>
                  </a:lnTo>
                  <a:lnTo>
                    <a:pt x="252" y="300"/>
                  </a:lnTo>
                  <a:lnTo>
                    <a:pt x="252" y="276"/>
                  </a:lnTo>
                  <a:lnTo>
                    <a:pt x="264" y="264"/>
                  </a:lnTo>
                  <a:lnTo>
                    <a:pt x="270" y="264"/>
                  </a:lnTo>
                  <a:lnTo>
                    <a:pt x="270" y="246"/>
                  </a:lnTo>
                  <a:lnTo>
                    <a:pt x="264" y="234"/>
                  </a:lnTo>
                  <a:lnTo>
                    <a:pt x="264" y="222"/>
                  </a:lnTo>
                  <a:lnTo>
                    <a:pt x="270" y="174"/>
                  </a:lnTo>
                  <a:lnTo>
                    <a:pt x="282" y="192"/>
                  </a:lnTo>
                  <a:lnTo>
                    <a:pt x="288" y="108"/>
                  </a:lnTo>
                  <a:lnTo>
                    <a:pt x="288" y="102"/>
                  </a:lnTo>
                  <a:lnTo>
                    <a:pt x="294" y="96"/>
                  </a:lnTo>
                  <a:lnTo>
                    <a:pt x="306" y="72"/>
                  </a:lnTo>
                  <a:lnTo>
                    <a:pt x="312" y="66"/>
                  </a:lnTo>
                  <a:lnTo>
                    <a:pt x="324" y="42"/>
                  </a:lnTo>
                  <a:lnTo>
                    <a:pt x="324" y="18"/>
                  </a:lnTo>
                  <a:close/>
                </a:path>
              </a:pathLst>
            </a:custGeom>
            <a:grpFill/>
            <a:ln w="3175">
              <a:solidFill>
                <a:schemeClr val="bg1"/>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de-DE" sz="1800" b="0" i="0" u="none" strike="noStrike" kern="1200" cap="none" spc="0" normalizeH="0" baseline="0" noProof="0">
                <a:ln>
                  <a:noFill/>
                </a:ln>
                <a:solidFill>
                  <a:srgbClr val="FFC000"/>
                </a:solidFill>
                <a:effectLst/>
                <a:uLnTx/>
                <a:uFillTx/>
                <a:latin typeface="Calibri" pitchFamily="34" charset="0"/>
                <a:ea typeface="+mn-ea"/>
                <a:cs typeface="+mn-cs"/>
              </a:endParaRPr>
            </a:p>
          </p:txBody>
        </p:sp>
        <p:sp>
          <p:nvSpPr>
            <p:cNvPr id="78" name="New Zealand" descr="© INSCALE GmbH, 05.05.2010&#10;http://www.presentationload.com/"/>
            <p:cNvSpPr>
              <a:spLocks noEditPoints="1"/>
            </p:cNvSpPr>
            <p:nvPr/>
          </p:nvSpPr>
          <p:spPr bwMode="gray">
            <a:xfrm>
              <a:off x="7912351" y="5163597"/>
              <a:ext cx="412109" cy="304973"/>
            </a:xfrm>
            <a:custGeom>
              <a:avLst/>
              <a:gdLst>
                <a:gd name="T0" fmla="*/ 2147483647 w 1272"/>
                <a:gd name="T1" fmla="*/ 2147483647 h 984"/>
                <a:gd name="T2" fmla="*/ 2147483647 w 1272"/>
                <a:gd name="T3" fmla="*/ 2147483647 h 984"/>
                <a:gd name="T4" fmla="*/ 2147483647 w 1272"/>
                <a:gd name="T5" fmla="*/ 2147483647 h 984"/>
                <a:gd name="T6" fmla="*/ 2147483647 w 1272"/>
                <a:gd name="T7" fmla="*/ 2147483647 h 984"/>
                <a:gd name="T8" fmla="*/ 2147483647 w 1272"/>
                <a:gd name="T9" fmla="*/ 2147483647 h 984"/>
                <a:gd name="T10" fmla="*/ 2147483647 w 1272"/>
                <a:gd name="T11" fmla="*/ 2147483647 h 984"/>
                <a:gd name="T12" fmla="*/ 2147483647 w 1272"/>
                <a:gd name="T13" fmla="*/ 2147483647 h 984"/>
                <a:gd name="T14" fmla="*/ 2147483647 w 1272"/>
                <a:gd name="T15" fmla="*/ 2147483647 h 984"/>
                <a:gd name="T16" fmla="*/ 2147483647 w 1272"/>
                <a:gd name="T17" fmla="*/ 2147483647 h 984"/>
                <a:gd name="T18" fmla="*/ 2147483647 w 1272"/>
                <a:gd name="T19" fmla="*/ 2147483647 h 984"/>
                <a:gd name="T20" fmla="*/ 2147483647 w 1272"/>
                <a:gd name="T21" fmla="*/ 2147483647 h 984"/>
                <a:gd name="T22" fmla="*/ 2147483647 w 1272"/>
                <a:gd name="T23" fmla="*/ 2147483647 h 984"/>
                <a:gd name="T24" fmla="*/ 2147483647 w 1272"/>
                <a:gd name="T25" fmla="*/ 2147483647 h 984"/>
                <a:gd name="T26" fmla="*/ 2147483647 w 1272"/>
                <a:gd name="T27" fmla="*/ 2147483647 h 984"/>
                <a:gd name="T28" fmla="*/ 2147483647 w 1272"/>
                <a:gd name="T29" fmla="*/ 2147483647 h 984"/>
                <a:gd name="T30" fmla="*/ 2147483647 w 1272"/>
                <a:gd name="T31" fmla="*/ 2147483647 h 984"/>
                <a:gd name="T32" fmla="*/ 2147483647 w 1272"/>
                <a:gd name="T33" fmla="*/ 2147483647 h 984"/>
                <a:gd name="T34" fmla="*/ 2147483647 w 1272"/>
                <a:gd name="T35" fmla="*/ 2147483647 h 984"/>
                <a:gd name="T36" fmla="*/ 2147483647 w 1272"/>
                <a:gd name="T37" fmla="*/ 2147483647 h 984"/>
                <a:gd name="T38" fmla="*/ 2147483647 w 1272"/>
                <a:gd name="T39" fmla="*/ 2147483647 h 984"/>
                <a:gd name="T40" fmla="*/ 2147483647 w 1272"/>
                <a:gd name="T41" fmla="*/ 2147483647 h 984"/>
                <a:gd name="T42" fmla="*/ 2147483647 w 1272"/>
                <a:gd name="T43" fmla="*/ 2147483647 h 984"/>
                <a:gd name="T44" fmla="*/ 2147483647 w 1272"/>
                <a:gd name="T45" fmla="*/ 2147483647 h 984"/>
                <a:gd name="T46" fmla="*/ 2147483647 w 1272"/>
                <a:gd name="T47" fmla="*/ 2147483647 h 984"/>
                <a:gd name="T48" fmla="*/ 2147483647 w 1272"/>
                <a:gd name="T49" fmla="*/ 2147483647 h 984"/>
                <a:gd name="T50" fmla="*/ 2147483647 w 1272"/>
                <a:gd name="T51" fmla="*/ 2147483647 h 984"/>
                <a:gd name="T52" fmla="*/ 2147483647 w 1272"/>
                <a:gd name="T53" fmla="*/ 2147483647 h 984"/>
                <a:gd name="T54" fmla="*/ 2147483647 w 1272"/>
                <a:gd name="T55" fmla="*/ 2147483647 h 984"/>
                <a:gd name="T56" fmla="*/ 2147483647 w 1272"/>
                <a:gd name="T57" fmla="*/ 2147483647 h 984"/>
                <a:gd name="T58" fmla="*/ 2147483647 w 1272"/>
                <a:gd name="T59" fmla="*/ 2147483647 h 984"/>
                <a:gd name="T60" fmla="*/ 2147483647 w 1272"/>
                <a:gd name="T61" fmla="*/ 2147483647 h 984"/>
                <a:gd name="T62" fmla="*/ 2147483647 w 1272"/>
                <a:gd name="T63" fmla="*/ 2147483647 h 984"/>
                <a:gd name="T64" fmla="*/ 2147483647 w 1272"/>
                <a:gd name="T65" fmla="*/ 2147483647 h 984"/>
                <a:gd name="T66" fmla="*/ 2147483647 w 1272"/>
                <a:gd name="T67" fmla="*/ 2147483647 h 984"/>
                <a:gd name="T68" fmla="*/ 2147483647 w 1272"/>
                <a:gd name="T69" fmla="*/ 2147483647 h 984"/>
                <a:gd name="T70" fmla="*/ 2147483647 w 1272"/>
                <a:gd name="T71" fmla="*/ 2147483647 h 984"/>
                <a:gd name="T72" fmla="*/ 2147483647 w 1272"/>
                <a:gd name="T73" fmla="*/ 2147483647 h 984"/>
                <a:gd name="T74" fmla="*/ 2147483647 w 1272"/>
                <a:gd name="T75" fmla="*/ 2147483647 h 984"/>
                <a:gd name="T76" fmla="*/ 2147483647 w 1272"/>
                <a:gd name="T77" fmla="*/ 2147483647 h 984"/>
                <a:gd name="T78" fmla="*/ 2147483647 w 1272"/>
                <a:gd name="T79" fmla="*/ 2147483647 h 984"/>
                <a:gd name="T80" fmla="*/ 2147483647 w 1272"/>
                <a:gd name="T81" fmla="*/ 2147483647 h 984"/>
                <a:gd name="T82" fmla="*/ 2147483647 w 1272"/>
                <a:gd name="T83" fmla="*/ 2147483647 h 984"/>
                <a:gd name="T84" fmla="*/ 2147483647 w 1272"/>
                <a:gd name="T85" fmla="*/ 2147483647 h 984"/>
                <a:gd name="T86" fmla="*/ 2147483647 w 1272"/>
                <a:gd name="T87" fmla="*/ 2147483647 h 984"/>
                <a:gd name="T88" fmla="*/ 2147483647 w 1272"/>
                <a:gd name="T89" fmla="*/ 2147483647 h 984"/>
                <a:gd name="T90" fmla="*/ 2147483647 w 1272"/>
                <a:gd name="T91" fmla="*/ 2147483647 h 984"/>
                <a:gd name="T92" fmla="*/ 2147483647 w 1272"/>
                <a:gd name="T93" fmla="*/ 2147483647 h 984"/>
                <a:gd name="T94" fmla="*/ 2147483647 w 1272"/>
                <a:gd name="T95" fmla="*/ 2147483647 h 984"/>
                <a:gd name="T96" fmla="*/ 2147483647 w 1272"/>
                <a:gd name="T97" fmla="*/ 2147483647 h 984"/>
                <a:gd name="T98" fmla="*/ 2147483647 w 1272"/>
                <a:gd name="T99" fmla="*/ 2147483647 h 984"/>
                <a:gd name="T100" fmla="*/ 2147483647 w 1272"/>
                <a:gd name="T101" fmla="*/ 2147483647 h 984"/>
                <a:gd name="T102" fmla="*/ 2147483647 w 1272"/>
                <a:gd name="T103" fmla="*/ 2147483647 h 984"/>
                <a:gd name="T104" fmla="*/ 2147483647 w 1272"/>
                <a:gd name="T105" fmla="*/ 2147483647 h 984"/>
                <a:gd name="T106" fmla="*/ 2147483647 w 1272"/>
                <a:gd name="T107" fmla="*/ 2147483647 h 984"/>
                <a:gd name="T108" fmla="*/ 2147483647 w 1272"/>
                <a:gd name="T109" fmla="*/ 2147483647 h 984"/>
                <a:gd name="T110" fmla="*/ 2147483647 w 1272"/>
                <a:gd name="T111" fmla="*/ 2147483647 h 984"/>
                <a:gd name="T112" fmla="*/ 2147483647 w 1272"/>
                <a:gd name="T113" fmla="*/ 2147483647 h 984"/>
                <a:gd name="T114" fmla="*/ 2147483647 w 1272"/>
                <a:gd name="T115" fmla="*/ 2147483647 h 984"/>
                <a:gd name="T116" fmla="*/ 2147483647 w 1272"/>
                <a:gd name="T117" fmla="*/ 2147483647 h 984"/>
                <a:gd name="T118" fmla="*/ 2147483647 w 1272"/>
                <a:gd name="T119" fmla="*/ 2147483647 h 984"/>
                <a:gd name="T120" fmla="*/ 2147483647 w 1272"/>
                <a:gd name="T121" fmla="*/ 2147483647 h 984"/>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272"/>
                <a:gd name="T184" fmla="*/ 0 h 984"/>
                <a:gd name="T185" fmla="*/ 1272 w 1272"/>
                <a:gd name="T186" fmla="*/ 984 h 984"/>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272" h="984">
                  <a:moveTo>
                    <a:pt x="750" y="564"/>
                  </a:moveTo>
                  <a:lnTo>
                    <a:pt x="738" y="564"/>
                  </a:lnTo>
                  <a:lnTo>
                    <a:pt x="744" y="528"/>
                  </a:lnTo>
                  <a:lnTo>
                    <a:pt x="720" y="546"/>
                  </a:lnTo>
                  <a:lnTo>
                    <a:pt x="726" y="540"/>
                  </a:lnTo>
                  <a:lnTo>
                    <a:pt x="726" y="504"/>
                  </a:lnTo>
                  <a:lnTo>
                    <a:pt x="708" y="504"/>
                  </a:lnTo>
                  <a:lnTo>
                    <a:pt x="702" y="510"/>
                  </a:lnTo>
                  <a:lnTo>
                    <a:pt x="696" y="522"/>
                  </a:lnTo>
                  <a:lnTo>
                    <a:pt x="690" y="528"/>
                  </a:lnTo>
                  <a:lnTo>
                    <a:pt x="672" y="540"/>
                  </a:lnTo>
                  <a:lnTo>
                    <a:pt x="660" y="546"/>
                  </a:lnTo>
                  <a:lnTo>
                    <a:pt x="654" y="558"/>
                  </a:lnTo>
                  <a:lnTo>
                    <a:pt x="642" y="570"/>
                  </a:lnTo>
                  <a:lnTo>
                    <a:pt x="630" y="576"/>
                  </a:lnTo>
                  <a:lnTo>
                    <a:pt x="618" y="588"/>
                  </a:lnTo>
                  <a:lnTo>
                    <a:pt x="606" y="588"/>
                  </a:lnTo>
                  <a:lnTo>
                    <a:pt x="588" y="600"/>
                  </a:lnTo>
                  <a:lnTo>
                    <a:pt x="576" y="606"/>
                  </a:lnTo>
                  <a:lnTo>
                    <a:pt x="546" y="636"/>
                  </a:lnTo>
                  <a:lnTo>
                    <a:pt x="540" y="648"/>
                  </a:lnTo>
                  <a:lnTo>
                    <a:pt x="534" y="648"/>
                  </a:lnTo>
                  <a:lnTo>
                    <a:pt x="528" y="654"/>
                  </a:lnTo>
                  <a:lnTo>
                    <a:pt x="510" y="660"/>
                  </a:lnTo>
                  <a:lnTo>
                    <a:pt x="498" y="666"/>
                  </a:lnTo>
                  <a:lnTo>
                    <a:pt x="462" y="678"/>
                  </a:lnTo>
                  <a:lnTo>
                    <a:pt x="438" y="690"/>
                  </a:lnTo>
                  <a:lnTo>
                    <a:pt x="426" y="702"/>
                  </a:lnTo>
                  <a:lnTo>
                    <a:pt x="414" y="708"/>
                  </a:lnTo>
                  <a:lnTo>
                    <a:pt x="408" y="720"/>
                  </a:lnTo>
                  <a:lnTo>
                    <a:pt x="396" y="726"/>
                  </a:lnTo>
                  <a:lnTo>
                    <a:pt x="378" y="726"/>
                  </a:lnTo>
                  <a:lnTo>
                    <a:pt x="366" y="732"/>
                  </a:lnTo>
                  <a:lnTo>
                    <a:pt x="312" y="750"/>
                  </a:lnTo>
                  <a:lnTo>
                    <a:pt x="288" y="762"/>
                  </a:lnTo>
                  <a:lnTo>
                    <a:pt x="270" y="774"/>
                  </a:lnTo>
                  <a:lnTo>
                    <a:pt x="246" y="786"/>
                  </a:lnTo>
                  <a:lnTo>
                    <a:pt x="222" y="792"/>
                  </a:lnTo>
                  <a:lnTo>
                    <a:pt x="198" y="804"/>
                  </a:lnTo>
                  <a:lnTo>
                    <a:pt x="180" y="810"/>
                  </a:lnTo>
                  <a:lnTo>
                    <a:pt x="174" y="816"/>
                  </a:lnTo>
                  <a:lnTo>
                    <a:pt x="168" y="828"/>
                  </a:lnTo>
                  <a:lnTo>
                    <a:pt x="168" y="846"/>
                  </a:lnTo>
                  <a:lnTo>
                    <a:pt x="156" y="834"/>
                  </a:lnTo>
                  <a:lnTo>
                    <a:pt x="150" y="834"/>
                  </a:lnTo>
                  <a:lnTo>
                    <a:pt x="144" y="840"/>
                  </a:lnTo>
                  <a:lnTo>
                    <a:pt x="120" y="852"/>
                  </a:lnTo>
                  <a:lnTo>
                    <a:pt x="108" y="864"/>
                  </a:lnTo>
                  <a:lnTo>
                    <a:pt x="72" y="882"/>
                  </a:lnTo>
                  <a:lnTo>
                    <a:pt x="66" y="882"/>
                  </a:lnTo>
                  <a:lnTo>
                    <a:pt x="54" y="888"/>
                  </a:lnTo>
                  <a:lnTo>
                    <a:pt x="36" y="888"/>
                  </a:lnTo>
                  <a:lnTo>
                    <a:pt x="18" y="894"/>
                  </a:lnTo>
                  <a:lnTo>
                    <a:pt x="12" y="906"/>
                  </a:lnTo>
                  <a:lnTo>
                    <a:pt x="0" y="912"/>
                  </a:lnTo>
                  <a:lnTo>
                    <a:pt x="18" y="912"/>
                  </a:lnTo>
                  <a:lnTo>
                    <a:pt x="24" y="918"/>
                  </a:lnTo>
                  <a:lnTo>
                    <a:pt x="30" y="918"/>
                  </a:lnTo>
                  <a:lnTo>
                    <a:pt x="24" y="924"/>
                  </a:lnTo>
                  <a:lnTo>
                    <a:pt x="24" y="942"/>
                  </a:lnTo>
                  <a:lnTo>
                    <a:pt x="30" y="948"/>
                  </a:lnTo>
                  <a:lnTo>
                    <a:pt x="42" y="948"/>
                  </a:lnTo>
                  <a:lnTo>
                    <a:pt x="54" y="942"/>
                  </a:lnTo>
                  <a:lnTo>
                    <a:pt x="60" y="936"/>
                  </a:lnTo>
                  <a:lnTo>
                    <a:pt x="72" y="948"/>
                  </a:lnTo>
                  <a:lnTo>
                    <a:pt x="96" y="948"/>
                  </a:lnTo>
                  <a:lnTo>
                    <a:pt x="102" y="954"/>
                  </a:lnTo>
                  <a:lnTo>
                    <a:pt x="132" y="954"/>
                  </a:lnTo>
                  <a:lnTo>
                    <a:pt x="150" y="972"/>
                  </a:lnTo>
                  <a:lnTo>
                    <a:pt x="180" y="966"/>
                  </a:lnTo>
                  <a:lnTo>
                    <a:pt x="192" y="972"/>
                  </a:lnTo>
                  <a:lnTo>
                    <a:pt x="198" y="978"/>
                  </a:lnTo>
                  <a:lnTo>
                    <a:pt x="216" y="984"/>
                  </a:lnTo>
                  <a:lnTo>
                    <a:pt x="228" y="984"/>
                  </a:lnTo>
                  <a:lnTo>
                    <a:pt x="252" y="972"/>
                  </a:lnTo>
                  <a:lnTo>
                    <a:pt x="264" y="948"/>
                  </a:lnTo>
                  <a:lnTo>
                    <a:pt x="288" y="936"/>
                  </a:lnTo>
                  <a:lnTo>
                    <a:pt x="312" y="936"/>
                  </a:lnTo>
                  <a:lnTo>
                    <a:pt x="336" y="924"/>
                  </a:lnTo>
                  <a:lnTo>
                    <a:pt x="342" y="912"/>
                  </a:lnTo>
                  <a:lnTo>
                    <a:pt x="342" y="894"/>
                  </a:lnTo>
                  <a:lnTo>
                    <a:pt x="348" y="882"/>
                  </a:lnTo>
                  <a:lnTo>
                    <a:pt x="372" y="870"/>
                  </a:lnTo>
                  <a:lnTo>
                    <a:pt x="396" y="870"/>
                  </a:lnTo>
                  <a:lnTo>
                    <a:pt x="408" y="858"/>
                  </a:lnTo>
                  <a:lnTo>
                    <a:pt x="408" y="846"/>
                  </a:lnTo>
                  <a:lnTo>
                    <a:pt x="402" y="840"/>
                  </a:lnTo>
                  <a:lnTo>
                    <a:pt x="420" y="840"/>
                  </a:lnTo>
                  <a:lnTo>
                    <a:pt x="480" y="792"/>
                  </a:lnTo>
                  <a:lnTo>
                    <a:pt x="462" y="774"/>
                  </a:lnTo>
                  <a:lnTo>
                    <a:pt x="504" y="792"/>
                  </a:lnTo>
                  <a:lnTo>
                    <a:pt x="504" y="774"/>
                  </a:lnTo>
                  <a:lnTo>
                    <a:pt x="510" y="768"/>
                  </a:lnTo>
                  <a:lnTo>
                    <a:pt x="540" y="768"/>
                  </a:lnTo>
                  <a:lnTo>
                    <a:pt x="546" y="774"/>
                  </a:lnTo>
                  <a:lnTo>
                    <a:pt x="558" y="780"/>
                  </a:lnTo>
                  <a:lnTo>
                    <a:pt x="570" y="780"/>
                  </a:lnTo>
                  <a:lnTo>
                    <a:pt x="576" y="774"/>
                  </a:lnTo>
                  <a:lnTo>
                    <a:pt x="576" y="768"/>
                  </a:lnTo>
                  <a:lnTo>
                    <a:pt x="582" y="762"/>
                  </a:lnTo>
                  <a:lnTo>
                    <a:pt x="582" y="756"/>
                  </a:lnTo>
                  <a:lnTo>
                    <a:pt x="570" y="744"/>
                  </a:lnTo>
                  <a:lnTo>
                    <a:pt x="612" y="702"/>
                  </a:lnTo>
                  <a:lnTo>
                    <a:pt x="618" y="702"/>
                  </a:lnTo>
                  <a:lnTo>
                    <a:pt x="624" y="696"/>
                  </a:lnTo>
                  <a:lnTo>
                    <a:pt x="660" y="678"/>
                  </a:lnTo>
                  <a:lnTo>
                    <a:pt x="666" y="666"/>
                  </a:lnTo>
                  <a:lnTo>
                    <a:pt x="672" y="660"/>
                  </a:lnTo>
                  <a:lnTo>
                    <a:pt x="672" y="654"/>
                  </a:lnTo>
                  <a:lnTo>
                    <a:pt x="696" y="654"/>
                  </a:lnTo>
                  <a:lnTo>
                    <a:pt x="708" y="648"/>
                  </a:lnTo>
                  <a:lnTo>
                    <a:pt x="738" y="618"/>
                  </a:lnTo>
                  <a:lnTo>
                    <a:pt x="738" y="612"/>
                  </a:lnTo>
                  <a:lnTo>
                    <a:pt x="744" y="612"/>
                  </a:lnTo>
                  <a:lnTo>
                    <a:pt x="750" y="606"/>
                  </a:lnTo>
                  <a:lnTo>
                    <a:pt x="768" y="594"/>
                  </a:lnTo>
                  <a:lnTo>
                    <a:pt x="780" y="582"/>
                  </a:lnTo>
                  <a:lnTo>
                    <a:pt x="786" y="570"/>
                  </a:lnTo>
                  <a:lnTo>
                    <a:pt x="786" y="546"/>
                  </a:lnTo>
                  <a:lnTo>
                    <a:pt x="780" y="540"/>
                  </a:lnTo>
                  <a:lnTo>
                    <a:pt x="780" y="534"/>
                  </a:lnTo>
                  <a:lnTo>
                    <a:pt x="750" y="564"/>
                  </a:lnTo>
                  <a:close/>
                  <a:moveTo>
                    <a:pt x="1224" y="324"/>
                  </a:moveTo>
                  <a:lnTo>
                    <a:pt x="1236" y="318"/>
                  </a:lnTo>
                  <a:lnTo>
                    <a:pt x="1242" y="318"/>
                  </a:lnTo>
                  <a:lnTo>
                    <a:pt x="1266" y="306"/>
                  </a:lnTo>
                  <a:lnTo>
                    <a:pt x="1272" y="300"/>
                  </a:lnTo>
                  <a:lnTo>
                    <a:pt x="1272" y="282"/>
                  </a:lnTo>
                  <a:lnTo>
                    <a:pt x="1266" y="270"/>
                  </a:lnTo>
                  <a:lnTo>
                    <a:pt x="1260" y="264"/>
                  </a:lnTo>
                  <a:lnTo>
                    <a:pt x="1248" y="264"/>
                  </a:lnTo>
                  <a:lnTo>
                    <a:pt x="1236" y="276"/>
                  </a:lnTo>
                  <a:lnTo>
                    <a:pt x="1236" y="282"/>
                  </a:lnTo>
                  <a:lnTo>
                    <a:pt x="1224" y="282"/>
                  </a:lnTo>
                  <a:lnTo>
                    <a:pt x="1212" y="276"/>
                  </a:lnTo>
                  <a:lnTo>
                    <a:pt x="1200" y="276"/>
                  </a:lnTo>
                  <a:lnTo>
                    <a:pt x="1194" y="282"/>
                  </a:lnTo>
                  <a:lnTo>
                    <a:pt x="1176" y="288"/>
                  </a:lnTo>
                  <a:lnTo>
                    <a:pt x="1158" y="288"/>
                  </a:lnTo>
                  <a:lnTo>
                    <a:pt x="1146" y="276"/>
                  </a:lnTo>
                  <a:lnTo>
                    <a:pt x="1146" y="222"/>
                  </a:lnTo>
                  <a:lnTo>
                    <a:pt x="1170" y="180"/>
                  </a:lnTo>
                  <a:lnTo>
                    <a:pt x="1170" y="174"/>
                  </a:lnTo>
                  <a:lnTo>
                    <a:pt x="1164" y="162"/>
                  </a:lnTo>
                  <a:lnTo>
                    <a:pt x="1158" y="156"/>
                  </a:lnTo>
                  <a:lnTo>
                    <a:pt x="1146" y="156"/>
                  </a:lnTo>
                  <a:lnTo>
                    <a:pt x="1140" y="168"/>
                  </a:lnTo>
                  <a:lnTo>
                    <a:pt x="1134" y="174"/>
                  </a:lnTo>
                  <a:lnTo>
                    <a:pt x="1134" y="204"/>
                  </a:lnTo>
                  <a:lnTo>
                    <a:pt x="1128" y="216"/>
                  </a:lnTo>
                  <a:lnTo>
                    <a:pt x="1116" y="222"/>
                  </a:lnTo>
                  <a:lnTo>
                    <a:pt x="1116" y="192"/>
                  </a:lnTo>
                  <a:lnTo>
                    <a:pt x="1092" y="174"/>
                  </a:lnTo>
                  <a:lnTo>
                    <a:pt x="1104" y="150"/>
                  </a:lnTo>
                  <a:lnTo>
                    <a:pt x="1116" y="138"/>
                  </a:lnTo>
                  <a:lnTo>
                    <a:pt x="1122" y="126"/>
                  </a:lnTo>
                  <a:lnTo>
                    <a:pt x="1128" y="108"/>
                  </a:lnTo>
                  <a:lnTo>
                    <a:pt x="1128" y="84"/>
                  </a:lnTo>
                  <a:lnTo>
                    <a:pt x="1116" y="78"/>
                  </a:lnTo>
                  <a:lnTo>
                    <a:pt x="1110" y="72"/>
                  </a:lnTo>
                  <a:lnTo>
                    <a:pt x="1098" y="66"/>
                  </a:lnTo>
                  <a:lnTo>
                    <a:pt x="1092" y="60"/>
                  </a:lnTo>
                  <a:lnTo>
                    <a:pt x="1080" y="60"/>
                  </a:lnTo>
                  <a:lnTo>
                    <a:pt x="1086" y="42"/>
                  </a:lnTo>
                  <a:lnTo>
                    <a:pt x="1062" y="42"/>
                  </a:lnTo>
                  <a:lnTo>
                    <a:pt x="1044" y="18"/>
                  </a:lnTo>
                  <a:lnTo>
                    <a:pt x="1050" y="0"/>
                  </a:lnTo>
                  <a:lnTo>
                    <a:pt x="1020" y="18"/>
                  </a:lnTo>
                  <a:lnTo>
                    <a:pt x="1044" y="54"/>
                  </a:lnTo>
                  <a:lnTo>
                    <a:pt x="1032" y="90"/>
                  </a:lnTo>
                  <a:lnTo>
                    <a:pt x="1056" y="102"/>
                  </a:lnTo>
                  <a:lnTo>
                    <a:pt x="1044" y="108"/>
                  </a:lnTo>
                  <a:lnTo>
                    <a:pt x="1044" y="126"/>
                  </a:lnTo>
                  <a:lnTo>
                    <a:pt x="1068" y="132"/>
                  </a:lnTo>
                  <a:lnTo>
                    <a:pt x="1044" y="150"/>
                  </a:lnTo>
                  <a:lnTo>
                    <a:pt x="1062" y="156"/>
                  </a:lnTo>
                  <a:lnTo>
                    <a:pt x="1062" y="168"/>
                  </a:lnTo>
                  <a:lnTo>
                    <a:pt x="1056" y="174"/>
                  </a:lnTo>
                  <a:lnTo>
                    <a:pt x="1056" y="192"/>
                  </a:lnTo>
                  <a:lnTo>
                    <a:pt x="1068" y="198"/>
                  </a:lnTo>
                  <a:lnTo>
                    <a:pt x="1074" y="204"/>
                  </a:lnTo>
                  <a:lnTo>
                    <a:pt x="1056" y="210"/>
                  </a:lnTo>
                  <a:lnTo>
                    <a:pt x="1044" y="222"/>
                  </a:lnTo>
                  <a:lnTo>
                    <a:pt x="1062" y="234"/>
                  </a:lnTo>
                  <a:lnTo>
                    <a:pt x="1038" y="258"/>
                  </a:lnTo>
                  <a:lnTo>
                    <a:pt x="1032" y="270"/>
                  </a:lnTo>
                  <a:lnTo>
                    <a:pt x="1026" y="276"/>
                  </a:lnTo>
                  <a:lnTo>
                    <a:pt x="1026" y="288"/>
                  </a:lnTo>
                  <a:lnTo>
                    <a:pt x="1038" y="300"/>
                  </a:lnTo>
                  <a:lnTo>
                    <a:pt x="1026" y="300"/>
                  </a:lnTo>
                  <a:lnTo>
                    <a:pt x="1014" y="306"/>
                  </a:lnTo>
                  <a:lnTo>
                    <a:pt x="1002" y="306"/>
                  </a:lnTo>
                  <a:lnTo>
                    <a:pt x="978" y="318"/>
                  </a:lnTo>
                  <a:lnTo>
                    <a:pt x="948" y="348"/>
                  </a:lnTo>
                  <a:lnTo>
                    <a:pt x="930" y="360"/>
                  </a:lnTo>
                  <a:lnTo>
                    <a:pt x="894" y="372"/>
                  </a:lnTo>
                  <a:lnTo>
                    <a:pt x="870" y="384"/>
                  </a:lnTo>
                  <a:lnTo>
                    <a:pt x="858" y="396"/>
                  </a:lnTo>
                  <a:lnTo>
                    <a:pt x="858" y="432"/>
                  </a:lnTo>
                  <a:lnTo>
                    <a:pt x="864" y="444"/>
                  </a:lnTo>
                  <a:lnTo>
                    <a:pt x="870" y="450"/>
                  </a:lnTo>
                  <a:lnTo>
                    <a:pt x="870" y="456"/>
                  </a:lnTo>
                  <a:lnTo>
                    <a:pt x="924" y="456"/>
                  </a:lnTo>
                  <a:lnTo>
                    <a:pt x="924" y="474"/>
                  </a:lnTo>
                  <a:lnTo>
                    <a:pt x="918" y="486"/>
                  </a:lnTo>
                  <a:lnTo>
                    <a:pt x="918" y="522"/>
                  </a:lnTo>
                  <a:lnTo>
                    <a:pt x="894" y="534"/>
                  </a:lnTo>
                  <a:lnTo>
                    <a:pt x="882" y="534"/>
                  </a:lnTo>
                  <a:lnTo>
                    <a:pt x="864" y="540"/>
                  </a:lnTo>
                  <a:lnTo>
                    <a:pt x="852" y="546"/>
                  </a:lnTo>
                  <a:lnTo>
                    <a:pt x="852" y="558"/>
                  </a:lnTo>
                  <a:lnTo>
                    <a:pt x="840" y="570"/>
                  </a:lnTo>
                  <a:lnTo>
                    <a:pt x="852" y="576"/>
                  </a:lnTo>
                  <a:lnTo>
                    <a:pt x="858" y="582"/>
                  </a:lnTo>
                  <a:lnTo>
                    <a:pt x="876" y="588"/>
                  </a:lnTo>
                  <a:lnTo>
                    <a:pt x="888" y="588"/>
                  </a:lnTo>
                  <a:lnTo>
                    <a:pt x="912" y="576"/>
                  </a:lnTo>
                  <a:lnTo>
                    <a:pt x="924" y="558"/>
                  </a:lnTo>
                  <a:lnTo>
                    <a:pt x="972" y="510"/>
                  </a:lnTo>
                  <a:lnTo>
                    <a:pt x="996" y="498"/>
                  </a:lnTo>
                  <a:lnTo>
                    <a:pt x="1014" y="492"/>
                  </a:lnTo>
                  <a:lnTo>
                    <a:pt x="1026" y="486"/>
                  </a:lnTo>
                  <a:lnTo>
                    <a:pt x="1032" y="480"/>
                  </a:lnTo>
                  <a:lnTo>
                    <a:pt x="1038" y="480"/>
                  </a:lnTo>
                  <a:lnTo>
                    <a:pt x="1044" y="474"/>
                  </a:lnTo>
                  <a:lnTo>
                    <a:pt x="1050" y="462"/>
                  </a:lnTo>
                  <a:lnTo>
                    <a:pt x="1056" y="462"/>
                  </a:lnTo>
                  <a:lnTo>
                    <a:pt x="1062" y="456"/>
                  </a:lnTo>
                  <a:lnTo>
                    <a:pt x="1074" y="450"/>
                  </a:lnTo>
                  <a:lnTo>
                    <a:pt x="1080" y="444"/>
                  </a:lnTo>
                  <a:lnTo>
                    <a:pt x="1080" y="420"/>
                  </a:lnTo>
                  <a:lnTo>
                    <a:pt x="1074" y="414"/>
                  </a:lnTo>
                  <a:lnTo>
                    <a:pt x="1080" y="414"/>
                  </a:lnTo>
                  <a:lnTo>
                    <a:pt x="1086" y="408"/>
                  </a:lnTo>
                  <a:lnTo>
                    <a:pt x="1110" y="396"/>
                  </a:lnTo>
                  <a:lnTo>
                    <a:pt x="1140" y="396"/>
                  </a:lnTo>
                  <a:lnTo>
                    <a:pt x="1152" y="402"/>
                  </a:lnTo>
                  <a:lnTo>
                    <a:pt x="1164" y="402"/>
                  </a:lnTo>
                  <a:lnTo>
                    <a:pt x="1176" y="390"/>
                  </a:lnTo>
                  <a:lnTo>
                    <a:pt x="1176" y="360"/>
                  </a:lnTo>
                  <a:lnTo>
                    <a:pt x="1200" y="360"/>
                  </a:lnTo>
                  <a:lnTo>
                    <a:pt x="1212" y="354"/>
                  </a:lnTo>
                  <a:lnTo>
                    <a:pt x="1218" y="354"/>
                  </a:lnTo>
                  <a:lnTo>
                    <a:pt x="1224" y="348"/>
                  </a:lnTo>
                  <a:lnTo>
                    <a:pt x="1224" y="324"/>
                  </a:lnTo>
                  <a:close/>
                </a:path>
              </a:pathLst>
            </a:custGeom>
            <a:grpFill/>
            <a:ln w="3175">
              <a:solidFill>
                <a:schemeClr val="bg1"/>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de-DE" sz="1800" b="0" i="0" u="none" strike="noStrike" kern="1200" cap="none" spc="0" normalizeH="0" baseline="0" noProof="0">
                <a:ln>
                  <a:noFill/>
                </a:ln>
                <a:solidFill>
                  <a:srgbClr val="FFC000"/>
                </a:solidFill>
                <a:effectLst/>
                <a:uLnTx/>
                <a:uFillTx/>
                <a:latin typeface="Calibri" pitchFamily="34" charset="0"/>
                <a:ea typeface="+mn-ea"/>
                <a:cs typeface="+mn-cs"/>
              </a:endParaRPr>
            </a:p>
          </p:txBody>
        </p:sp>
        <p:sp>
          <p:nvSpPr>
            <p:cNvPr id="79" name="Newfoundland" descr="© INSCALE GmbH, 05.05.2010&#10;http://www.presentationload.com/"/>
            <p:cNvSpPr>
              <a:spLocks/>
            </p:cNvSpPr>
            <p:nvPr/>
          </p:nvSpPr>
          <p:spPr bwMode="gray">
            <a:xfrm>
              <a:off x="3287007" y="3021441"/>
              <a:ext cx="138223" cy="120029"/>
            </a:xfrm>
            <a:custGeom>
              <a:avLst/>
              <a:gdLst>
                <a:gd name="T0" fmla="*/ 2147483647 w 426"/>
                <a:gd name="T1" fmla="*/ 2147483647 h 384"/>
                <a:gd name="T2" fmla="*/ 2147483647 w 426"/>
                <a:gd name="T3" fmla="*/ 2147483647 h 384"/>
                <a:gd name="T4" fmla="*/ 2147483647 w 426"/>
                <a:gd name="T5" fmla="*/ 0 h 384"/>
                <a:gd name="T6" fmla="*/ 2147483647 w 426"/>
                <a:gd name="T7" fmla="*/ 2147483647 h 384"/>
                <a:gd name="T8" fmla="*/ 2147483647 w 426"/>
                <a:gd name="T9" fmla="*/ 2147483647 h 384"/>
                <a:gd name="T10" fmla="*/ 2147483647 w 426"/>
                <a:gd name="T11" fmla="*/ 2147483647 h 384"/>
                <a:gd name="T12" fmla="*/ 2147483647 w 426"/>
                <a:gd name="T13" fmla="*/ 2147483647 h 384"/>
                <a:gd name="T14" fmla="*/ 2147483647 w 426"/>
                <a:gd name="T15" fmla="*/ 2147483647 h 384"/>
                <a:gd name="T16" fmla="*/ 2147483647 w 426"/>
                <a:gd name="T17" fmla="*/ 2147483647 h 384"/>
                <a:gd name="T18" fmla="*/ 2147483647 w 426"/>
                <a:gd name="T19" fmla="*/ 2147483647 h 384"/>
                <a:gd name="T20" fmla="*/ 2147483647 w 426"/>
                <a:gd name="T21" fmla="*/ 2147483647 h 384"/>
                <a:gd name="T22" fmla="*/ 2147483647 w 426"/>
                <a:gd name="T23" fmla="*/ 2147483647 h 384"/>
                <a:gd name="T24" fmla="*/ 2147483647 w 426"/>
                <a:gd name="T25" fmla="*/ 2147483647 h 384"/>
                <a:gd name="T26" fmla="*/ 2147483647 w 426"/>
                <a:gd name="T27" fmla="*/ 2147483647 h 384"/>
                <a:gd name="T28" fmla="*/ 2147483647 w 426"/>
                <a:gd name="T29" fmla="*/ 2147483647 h 384"/>
                <a:gd name="T30" fmla="*/ 2147483647 w 426"/>
                <a:gd name="T31" fmla="*/ 2147483647 h 384"/>
                <a:gd name="T32" fmla="*/ 2147483647 w 426"/>
                <a:gd name="T33" fmla="*/ 2147483647 h 384"/>
                <a:gd name="T34" fmla="*/ 2147483647 w 426"/>
                <a:gd name="T35" fmla="*/ 2147483647 h 384"/>
                <a:gd name="T36" fmla="*/ 2147483647 w 426"/>
                <a:gd name="T37" fmla="*/ 2147483647 h 384"/>
                <a:gd name="T38" fmla="*/ 2147483647 w 426"/>
                <a:gd name="T39" fmla="*/ 2147483647 h 384"/>
                <a:gd name="T40" fmla="*/ 2147483647 w 426"/>
                <a:gd name="T41" fmla="*/ 2147483647 h 384"/>
                <a:gd name="T42" fmla="*/ 2147483647 w 426"/>
                <a:gd name="T43" fmla="*/ 2147483647 h 384"/>
                <a:gd name="T44" fmla="*/ 2147483647 w 426"/>
                <a:gd name="T45" fmla="*/ 2147483647 h 384"/>
                <a:gd name="T46" fmla="*/ 2147483647 w 426"/>
                <a:gd name="T47" fmla="*/ 2147483647 h 384"/>
                <a:gd name="T48" fmla="*/ 2147483647 w 426"/>
                <a:gd name="T49" fmla="*/ 2147483647 h 384"/>
                <a:gd name="T50" fmla="*/ 2147483647 w 426"/>
                <a:gd name="T51" fmla="*/ 2147483647 h 384"/>
                <a:gd name="T52" fmla="*/ 2147483647 w 426"/>
                <a:gd name="T53" fmla="*/ 2147483647 h 384"/>
                <a:gd name="T54" fmla="*/ 2147483647 w 426"/>
                <a:gd name="T55" fmla="*/ 2147483647 h 384"/>
                <a:gd name="T56" fmla="*/ 2147483647 w 426"/>
                <a:gd name="T57" fmla="*/ 2147483647 h 384"/>
                <a:gd name="T58" fmla="*/ 2147483647 w 426"/>
                <a:gd name="T59" fmla="*/ 2147483647 h 384"/>
                <a:gd name="T60" fmla="*/ 2147483647 w 426"/>
                <a:gd name="T61" fmla="*/ 2147483647 h 384"/>
                <a:gd name="T62" fmla="*/ 2147483647 w 426"/>
                <a:gd name="T63" fmla="*/ 2147483647 h 384"/>
                <a:gd name="T64" fmla="*/ 2147483647 w 426"/>
                <a:gd name="T65" fmla="*/ 2147483647 h 384"/>
                <a:gd name="T66" fmla="*/ 2147483647 w 426"/>
                <a:gd name="T67" fmla="*/ 2147483647 h 384"/>
                <a:gd name="T68" fmla="*/ 2147483647 w 426"/>
                <a:gd name="T69" fmla="*/ 2147483647 h 384"/>
                <a:gd name="T70" fmla="*/ 2147483647 w 426"/>
                <a:gd name="T71" fmla="*/ 2147483647 h 384"/>
                <a:gd name="T72" fmla="*/ 2147483647 w 426"/>
                <a:gd name="T73" fmla="*/ 2147483647 h 384"/>
                <a:gd name="T74" fmla="*/ 2147483647 w 426"/>
                <a:gd name="T75" fmla="*/ 2147483647 h 384"/>
                <a:gd name="T76" fmla="*/ 2147483647 w 426"/>
                <a:gd name="T77" fmla="*/ 2147483647 h 384"/>
                <a:gd name="T78" fmla="*/ 2147483647 w 426"/>
                <a:gd name="T79" fmla="*/ 2147483647 h 384"/>
                <a:gd name="T80" fmla="*/ 2147483647 w 426"/>
                <a:gd name="T81" fmla="*/ 2147483647 h 384"/>
                <a:gd name="T82" fmla="*/ 2147483647 w 426"/>
                <a:gd name="T83" fmla="*/ 2147483647 h 384"/>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426"/>
                <a:gd name="T127" fmla="*/ 0 h 384"/>
                <a:gd name="T128" fmla="*/ 426 w 426"/>
                <a:gd name="T129" fmla="*/ 384 h 384"/>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426" h="384">
                  <a:moveTo>
                    <a:pt x="258" y="18"/>
                  </a:moveTo>
                  <a:lnTo>
                    <a:pt x="270" y="12"/>
                  </a:lnTo>
                  <a:lnTo>
                    <a:pt x="276" y="12"/>
                  </a:lnTo>
                  <a:lnTo>
                    <a:pt x="294" y="6"/>
                  </a:lnTo>
                  <a:lnTo>
                    <a:pt x="306" y="0"/>
                  </a:lnTo>
                  <a:lnTo>
                    <a:pt x="330" y="0"/>
                  </a:lnTo>
                  <a:lnTo>
                    <a:pt x="342" y="6"/>
                  </a:lnTo>
                  <a:lnTo>
                    <a:pt x="342" y="18"/>
                  </a:lnTo>
                  <a:lnTo>
                    <a:pt x="336" y="24"/>
                  </a:lnTo>
                  <a:lnTo>
                    <a:pt x="312" y="42"/>
                  </a:lnTo>
                  <a:lnTo>
                    <a:pt x="312" y="48"/>
                  </a:lnTo>
                  <a:lnTo>
                    <a:pt x="306" y="54"/>
                  </a:lnTo>
                  <a:lnTo>
                    <a:pt x="300" y="72"/>
                  </a:lnTo>
                  <a:lnTo>
                    <a:pt x="276" y="96"/>
                  </a:lnTo>
                  <a:lnTo>
                    <a:pt x="258" y="102"/>
                  </a:lnTo>
                  <a:lnTo>
                    <a:pt x="246" y="102"/>
                  </a:lnTo>
                  <a:lnTo>
                    <a:pt x="210" y="150"/>
                  </a:lnTo>
                  <a:lnTo>
                    <a:pt x="210" y="174"/>
                  </a:lnTo>
                  <a:lnTo>
                    <a:pt x="234" y="156"/>
                  </a:lnTo>
                  <a:lnTo>
                    <a:pt x="264" y="108"/>
                  </a:lnTo>
                  <a:lnTo>
                    <a:pt x="282" y="126"/>
                  </a:lnTo>
                  <a:lnTo>
                    <a:pt x="306" y="138"/>
                  </a:lnTo>
                  <a:lnTo>
                    <a:pt x="294" y="168"/>
                  </a:lnTo>
                  <a:lnTo>
                    <a:pt x="324" y="168"/>
                  </a:lnTo>
                  <a:lnTo>
                    <a:pt x="330" y="192"/>
                  </a:lnTo>
                  <a:lnTo>
                    <a:pt x="384" y="162"/>
                  </a:lnTo>
                  <a:lnTo>
                    <a:pt x="402" y="174"/>
                  </a:lnTo>
                  <a:lnTo>
                    <a:pt x="396" y="180"/>
                  </a:lnTo>
                  <a:lnTo>
                    <a:pt x="390" y="192"/>
                  </a:lnTo>
                  <a:lnTo>
                    <a:pt x="378" y="204"/>
                  </a:lnTo>
                  <a:lnTo>
                    <a:pt x="372" y="204"/>
                  </a:lnTo>
                  <a:lnTo>
                    <a:pt x="384" y="204"/>
                  </a:lnTo>
                  <a:lnTo>
                    <a:pt x="396" y="210"/>
                  </a:lnTo>
                  <a:lnTo>
                    <a:pt x="408" y="210"/>
                  </a:lnTo>
                  <a:lnTo>
                    <a:pt x="408" y="216"/>
                  </a:lnTo>
                  <a:lnTo>
                    <a:pt x="396" y="240"/>
                  </a:lnTo>
                  <a:lnTo>
                    <a:pt x="384" y="252"/>
                  </a:lnTo>
                  <a:lnTo>
                    <a:pt x="378" y="264"/>
                  </a:lnTo>
                  <a:lnTo>
                    <a:pt x="366" y="276"/>
                  </a:lnTo>
                  <a:lnTo>
                    <a:pt x="360" y="288"/>
                  </a:lnTo>
                  <a:lnTo>
                    <a:pt x="354" y="294"/>
                  </a:lnTo>
                  <a:lnTo>
                    <a:pt x="390" y="294"/>
                  </a:lnTo>
                  <a:lnTo>
                    <a:pt x="354" y="312"/>
                  </a:lnTo>
                  <a:lnTo>
                    <a:pt x="384" y="312"/>
                  </a:lnTo>
                  <a:lnTo>
                    <a:pt x="420" y="300"/>
                  </a:lnTo>
                  <a:lnTo>
                    <a:pt x="426" y="324"/>
                  </a:lnTo>
                  <a:lnTo>
                    <a:pt x="360" y="384"/>
                  </a:lnTo>
                  <a:lnTo>
                    <a:pt x="318" y="378"/>
                  </a:lnTo>
                  <a:lnTo>
                    <a:pt x="336" y="354"/>
                  </a:lnTo>
                  <a:lnTo>
                    <a:pt x="306" y="360"/>
                  </a:lnTo>
                  <a:lnTo>
                    <a:pt x="300" y="348"/>
                  </a:lnTo>
                  <a:lnTo>
                    <a:pt x="228" y="360"/>
                  </a:lnTo>
                  <a:lnTo>
                    <a:pt x="192" y="354"/>
                  </a:lnTo>
                  <a:lnTo>
                    <a:pt x="186" y="348"/>
                  </a:lnTo>
                  <a:lnTo>
                    <a:pt x="228" y="336"/>
                  </a:lnTo>
                  <a:lnTo>
                    <a:pt x="234" y="330"/>
                  </a:lnTo>
                  <a:lnTo>
                    <a:pt x="234" y="324"/>
                  </a:lnTo>
                  <a:lnTo>
                    <a:pt x="228" y="324"/>
                  </a:lnTo>
                  <a:lnTo>
                    <a:pt x="222" y="318"/>
                  </a:lnTo>
                  <a:lnTo>
                    <a:pt x="198" y="318"/>
                  </a:lnTo>
                  <a:lnTo>
                    <a:pt x="162" y="312"/>
                  </a:lnTo>
                  <a:lnTo>
                    <a:pt x="126" y="300"/>
                  </a:lnTo>
                  <a:lnTo>
                    <a:pt x="96" y="294"/>
                  </a:lnTo>
                  <a:lnTo>
                    <a:pt x="78" y="294"/>
                  </a:lnTo>
                  <a:lnTo>
                    <a:pt x="72" y="300"/>
                  </a:lnTo>
                  <a:lnTo>
                    <a:pt x="48" y="300"/>
                  </a:lnTo>
                  <a:lnTo>
                    <a:pt x="36" y="306"/>
                  </a:lnTo>
                  <a:lnTo>
                    <a:pt x="24" y="306"/>
                  </a:lnTo>
                  <a:lnTo>
                    <a:pt x="12" y="300"/>
                  </a:lnTo>
                  <a:lnTo>
                    <a:pt x="6" y="294"/>
                  </a:lnTo>
                  <a:lnTo>
                    <a:pt x="18" y="282"/>
                  </a:lnTo>
                  <a:lnTo>
                    <a:pt x="24" y="282"/>
                  </a:lnTo>
                  <a:lnTo>
                    <a:pt x="30" y="276"/>
                  </a:lnTo>
                  <a:lnTo>
                    <a:pt x="42" y="276"/>
                  </a:lnTo>
                  <a:lnTo>
                    <a:pt x="30" y="276"/>
                  </a:lnTo>
                  <a:lnTo>
                    <a:pt x="12" y="270"/>
                  </a:lnTo>
                  <a:lnTo>
                    <a:pt x="0" y="258"/>
                  </a:lnTo>
                  <a:lnTo>
                    <a:pt x="6" y="252"/>
                  </a:lnTo>
                  <a:lnTo>
                    <a:pt x="18" y="252"/>
                  </a:lnTo>
                  <a:lnTo>
                    <a:pt x="54" y="234"/>
                  </a:lnTo>
                  <a:lnTo>
                    <a:pt x="60" y="228"/>
                  </a:lnTo>
                  <a:lnTo>
                    <a:pt x="66" y="228"/>
                  </a:lnTo>
                  <a:lnTo>
                    <a:pt x="204" y="90"/>
                  </a:lnTo>
                  <a:lnTo>
                    <a:pt x="258" y="18"/>
                  </a:lnTo>
                  <a:close/>
                </a:path>
              </a:pathLst>
            </a:custGeom>
            <a:grpFill/>
            <a:ln w="3175">
              <a:solidFill>
                <a:schemeClr val="bg1"/>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de-DE" sz="1800" b="0" i="0" u="none" strike="noStrike" kern="1200" cap="none" spc="0" normalizeH="0" baseline="0" noProof="0">
                <a:ln>
                  <a:noFill/>
                </a:ln>
                <a:solidFill>
                  <a:srgbClr val="FFC000"/>
                </a:solidFill>
                <a:effectLst/>
                <a:uLnTx/>
                <a:uFillTx/>
                <a:latin typeface="Calibri" pitchFamily="34" charset="0"/>
                <a:ea typeface="+mn-ea"/>
                <a:cs typeface="+mn-cs"/>
              </a:endParaRPr>
            </a:p>
          </p:txBody>
        </p:sp>
        <p:sp>
          <p:nvSpPr>
            <p:cNvPr id="80" name="Netherlands" descr="© INSCALE GmbH, 05.05.2010&#10;http://www.presentationload.com/"/>
            <p:cNvSpPr>
              <a:spLocks/>
            </p:cNvSpPr>
            <p:nvPr/>
          </p:nvSpPr>
          <p:spPr bwMode="gray">
            <a:xfrm>
              <a:off x="4557889" y="2974898"/>
              <a:ext cx="87029" cy="64914"/>
            </a:xfrm>
            <a:custGeom>
              <a:avLst/>
              <a:gdLst>
                <a:gd name="T0" fmla="*/ 0 w 270"/>
                <a:gd name="T1" fmla="*/ 2147483647 h 210"/>
                <a:gd name="T2" fmla="*/ 2147483647 w 270"/>
                <a:gd name="T3" fmla="*/ 2147483647 h 210"/>
                <a:gd name="T4" fmla="*/ 2147483647 w 270"/>
                <a:gd name="T5" fmla="*/ 2147483647 h 210"/>
                <a:gd name="T6" fmla="*/ 2147483647 w 270"/>
                <a:gd name="T7" fmla="*/ 2147483647 h 210"/>
                <a:gd name="T8" fmla="*/ 2147483647 w 270"/>
                <a:gd name="T9" fmla="*/ 2147483647 h 210"/>
                <a:gd name="T10" fmla="*/ 2147483647 w 270"/>
                <a:gd name="T11" fmla="*/ 2147483647 h 210"/>
                <a:gd name="T12" fmla="*/ 2147483647 w 270"/>
                <a:gd name="T13" fmla="*/ 2147483647 h 210"/>
                <a:gd name="T14" fmla="*/ 2147483647 w 270"/>
                <a:gd name="T15" fmla="*/ 2147483647 h 210"/>
                <a:gd name="T16" fmla="*/ 2147483647 w 270"/>
                <a:gd name="T17" fmla="*/ 2147483647 h 210"/>
                <a:gd name="T18" fmla="*/ 2147483647 w 270"/>
                <a:gd name="T19" fmla="*/ 2147483647 h 210"/>
                <a:gd name="T20" fmla="*/ 2147483647 w 270"/>
                <a:gd name="T21" fmla="*/ 2147483647 h 210"/>
                <a:gd name="T22" fmla="*/ 2147483647 w 270"/>
                <a:gd name="T23" fmla="*/ 2147483647 h 210"/>
                <a:gd name="T24" fmla="*/ 2147483647 w 270"/>
                <a:gd name="T25" fmla="*/ 2147483647 h 210"/>
                <a:gd name="T26" fmla="*/ 2147483647 w 270"/>
                <a:gd name="T27" fmla="*/ 2147483647 h 210"/>
                <a:gd name="T28" fmla="*/ 2147483647 w 270"/>
                <a:gd name="T29" fmla="*/ 2147483647 h 210"/>
                <a:gd name="T30" fmla="*/ 2147483647 w 270"/>
                <a:gd name="T31" fmla="*/ 2147483647 h 210"/>
                <a:gd name="T32" fmla="*/ 2147483647 w 270"/>
                <a:gd name="T33" fmla="*/ 2147483647 h 210"/>
                <a:gd name="T34" fmla="*/ 2147483647 w 270"/>
                <a:gd name="T35" fmla="*/ 2147483647 h 210"/>
                <a:gd name="T36" fmla="*/ 2147483647 w 270"/>
                <a:gd name="T37" fmla="*/ 2147483647 h 210"/>
                <a:gd name="T38" fmla="*/ 2147483647 w 270"/>
                <a:gd name="T39" fmla="*/ 2147483647 h 210"/>
                <a:gd name="T40" fmla="*/ 2147483647 w 270"/>
                <a:gd name="T41" fmla="*/ 2147483647 h 210"/>
                <a:gd name="T42" fmla="*/ 2147483647 w 270"/>
                <a:gd name="T43" fmla="*/ 2147483647 h 210"/>
                <a:gd name="T44" fmla="*/ 2147483647 w 270"/>
                <a:gd name="T45" fmla="*/ 2147483647 h 210"/>
                <a:gd name="T46" fmla="*/ 2147483647 w 270"/>
                <a:gd name="T47" fmla="*/ 2147483647 h 210"/>
                <a:gd name="T48" fmla="*/ 2147483647 w 270"/>
                <a:gd name="T49" fmla="*/ 2147483647 h 210"/>
                <a:gd name="T50" fmla="*/ 2147483647 w 270"/>
                <a:gd name="T51" fmla="*/ 2147483647 h 210"/>
                <a:gd name="T52" fmla="*/ 2147483647 w 270"/>
                <a:gd name="T53" fmla="*/ 2147483647 h 210"/>
                <a:gd name="T54" fmla="*/ 2147483647 w 270"/>
                <a:gd name="T55" fmla="*/ 2147483647 h 210"/>
                <a:gd name="T56" fmla="*/ 2147483647 w 270"/>
                <a:gd name="T57" fmla="*/ 2147483647 h 210"/>
                <a:gd name="T58" fmla="*/ 2147483647 w 270"/>
                <a:gd name="T59" fmla="*/ 0 h 210"/>
                <a:gd name="T60" fmla="*/ 2147483647 w 270"/>
                <a:gd name="T61" fmla="*/ 2147483647 h 210"/>
                <a:gd name="T62" fmla="*/ 2147483647 w 270"/>
                <a:gd name="T63" fmla="*/ 2147483647 h 210"/>
                <a:gd name="T64" fmla="*/ 2147483647 w 270"/>
                <a:gd name="T65" fmla="*/ 2147483647 h 210"/>
                <a:gd name="T66" fmla="*/ 2147483647 w 270"/>
                <a:gd name="T67" fmla="*/ 2147483647 h 210"/>
                <a:gd name="T68" fmla="*/ 2147483647 w 270"/>
                <a:gd name="T69" fmla="*/ 2147483647 h 210"/>
                <a:gd name="T70" fmla="*/ 2147483647 w 270"/>
                <a:gd name="T71" fmla="*/ 2147483647 h 210"/>
                <a:gd name="T72" fmla="*/ 2147483647 w 270"/>
                <a:gd name="T73" fmla="*/ 2147483647 h 210"/>
                <a:gd name="T74" fmla="*/ 2147483647 w 270"/>
                <a:gd name="T75" fmla="*/ 2147483647 h 210"/>
                <a:gd name="T76" fmla="*/ 2147483647 w 270"/>
                <a:gd name="T77" fmla="*/ 2147483647 h 210"/>
                <a:gd name="T78" fmla="*/ 2147483647 w 270"/>
                <a:gd name="T79" fmla="*/ 2147483647 h 210"/>
                <a:gd name="T80" fmla="*/ 2147483647 w 270"/>
                <a:gd name="T81" fmla="*/ 2147483647 h 210"/>
                <a:gd name="T82" fmla="*/ 2147483647 w 270"/>
                <a:gd name="T83" fmla="*/ 2147483647 h 210"/>
                <a:gd name="T84" fmla="*/ 2147483647 w 270"/>
                <a:gd name="T85" fmla="*/ 2147483647 h 210"/>
                <a:gd name="T86" fmla="*/ 2147483647 w 270"/>
                <a:gd name="T87" fmla="*/ 2147483647 h 210"/>
                <a:gd name="T88" fmla="*/ 2147483647 w 270"/>
                <a:gd name="T89" fmla="*/ 2147483647 h 210"/>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270"/>
                <a:gd name="T136" fmla="*/ 0 h 210"/>
                <a:gd name="T137" fmla="*/ 270 w 270"/>
                <a:gd name="T138" fmla="*/ 210 h 210"/>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270" h="210">
                  <a:moveTo>
                    <a:pt x="18" y="156"/>
                  </a:moveTo>
                  <a:lnTo>
                    <a:pt x="0" y="174"/>
                  </a:lnTo>
                  <a:lnTo>
                    <a:pt x="12" y="162"/>
                  </a:lnTo>
                  <a:lnTo>
                    <a:pt x="24" y="162"/>
                  </a:lnTo>
                  <a:lnTo>
                    <a:pt x="30" y="168"/>
                  </a:lnTo>
                  <a:lnTo>
                    <a:pt x="54" y="168"/>
                  </a:lnTo>
                  <a:lnTo>
                    <a:pt x="60" y="174"/>
                  </a:lnTo>
                  <a:lnTo>
                    <a:pt x="66" y="162"/>
                  </a:lnTo>
                  <a:lnTo>
                    <a:pt x="84" y="168"/>
                  </a:lnTo>
                  <a:lnTo>
                    <a:pt x="84" y="156"/>
                  </a:lnTo>
                  <a:lnTo>
                    <a:pt x="96" y="162"/>
                  </a:lnTo>
                  <a:lnTo>
                    <a:pt x="96" y="156"/>
                  </a:lnTo>
                  <a:lnTo>
                    <a:pt x="132" y="156"/>
                  </a:lnTo>
                  <a:lnTo>
                    <a:pt x="132" y="168"/>
                  </a:lnTo>
                  <a:lnTo>
                    <a:pt x="138" y="174"/>
                  </a:lnTo>
                  <a:lnTo>
                    <a:pt x="150" y="174"/>
                  </a:lnTo>
                  <a:lnTo>
                    <a:pt x="162" y="168"/>
                  </a:lnTo>
                  <a:lnTo>
                    <a:pt x="168" y="168"/>
                  </a:lnTo>
                  <a:lnTo>
                    <a:pt x="174" y="174"/>
                  </a:lnTo>
                  <a:lnTo>
                    <a:pt x="174" y="192"/>
                  </a:lnTo>
                  <a:lnTo>
                    <a:pt x="168" y="198"/>
                  </a:lnTo>
                  <a:lnTo>
                    <a:pt x="168" y="210"/>
                  </a:lnTo>
                  <a:lnTo>
                    <a:pt x="180" y="210"/>
                  </a:lnTo>
                  <a:lnTo>
                    <a:pt x="180" y="198"/>
                  </a:lnTo>
                  <a:lnTo>
                    <a:pt x="186" y="192"/>
                  </a:lnTo>
                  <a:lnTo>
                    <a:pt x="186" y="180"/>
                  </a:lnTo>
                  <a:lnTo>
                    <a:pt x="180" y="174"/>
                  </a:lnTo>
                  <a:lnTo>
                    <a:pt x="186" y="168"/>
                  </a:lnTo>
                  <a:lnTo>
                    <a:pt x="198" y="162"/>
                  </a:lnTo>
                  <a:lnTo>
                    <a:pt x="198" y="156"/>
                  </a:lnTo>
                  <a:lnTo>
                    <a:pt x="192" y="150"/>
                  </a:lnTo>
                  <a:lnTo>
                    <a:pt x="192" y="144"/>
                  </a:lnTo>
                  <a:lnTo>
                    <a:pt x="186" y="120"/>
                  </a:lnTo>
                  <a:lnTo>
                    <a:pt x="192" y="120"/>
                  </a:lnTo>
                  <a:lnTo>
                    <a:pt x="198" y="126"/>
                  </a:lnTo>
                  <a:lnTo>
                    <a:pt x="222" y="126"/>
                  </a:lnTo>
                  <a:lnTo>
                    <a:pt x="222" y="120"/>
                  </a:lnTo>
                  <a:lnTo>
                    <a:pt x="228" y="114"/>
                  </a:lnTo>
                  <a:lnTo>
                    <a:pt x="234" y="114"/>
                  </a:lnTo>
                  <a:lnTo>
                    <a:pt x="240" y="102"/>
                  </a:lnTo>
                  <a:lnTo>
                    <a:pt x="246" y="96"/>
                  </a:lnTo>
                  <a:lnTo>
                    <a:pt x="252" y="96"/>
                  </a:lnTo>
                  <a:lnTo>
                    <a:pt x="252" y="90"/>
                  </a:lnTo>
                  <a:lnTo>
                    <a:pt x="240" y="78"/>
                  </a:lnTo>
                  <a:lnTo>
                    <a:pt x="234" y="78"/>
                  </a:lnTo>
                  <a:lnTo>
                    <a:pt x="228" y="72"/>
                  </a:lnTo>
                  <a:lnTo>
                    <a:pt x="228" y="66"/>
                  </a:lnTo>
                  <a:lnTo>
                    <a:pt x="234" y="66"/>
                  </a:lnTo>
                  <a:lnTo>
                    <a:pt x="246" y="60"/>
                  </a:lnTo>
                  <a:lnTo>
                    <a:pt x="258" y="60"/>
                  </a:lnTo>
                  <a:lnTo>
                    <a:pt x="252" y="54"/>
                  </a:lnTo>
                  <a:lnTo>
                    <a:pt x="252" y="36"/>
                  </a:lnTo>
                  <a:lnTo>
                    <a:pt x="258" y="36"/>
                  </a:lnTo>
                  <a:lnTo>
                    <a:pt x="270" y="30"/>
                  </a:lnTo>
                  <a:lnTo>
                    <a:pt x="264" y="18"/>
                  </a:lnTo>
                  <a:lnTo>
                    <a:pt x="270" y="12"/>
                  </a:lnTo>
                  <a:lnTo>
                    <a:pt x="264" y="12"/>
                  </a:lnTo>
                  <a:lnTo>
                    <a:pt x="252" y="6"/>
                  </a:lnTo>
                  <a:lnTo>
                    <a:pt x="246" y="6"/>
                  </a:lnTo>
                  <a:lnTo>
                    <a:pt x="234" y="0"/>
                  </a:lnTo>
                  <a:lnTo>
                    <a:pt x="180" y="0"/>
                  </a:lnTo>
                  <a:lnTo>
                    <a:pt x="168" y="12"/>
                  </a:lnTo>
                  <a:lnTo>
                    <a:pt x="156" y="18"/>
                  </a:lnTo>
                  <a:lnTo>
                    <a:pt x="156" y="30"/>
                  </a:lnTo>
                  <a:lnTo>
                    <a:pt x="162" y="36"/>
                  </a:lnTo>
                  <a:lnTo>
                    <a:pt x="162" y="54"/>
                  </a:lnTo>
                  <a:lnTo>
                    <a:pt x="168" y="60"/>
                  </a:lnTo>
                  <a:lnTo>
                    <a:pt x="174" y="60"/>
                  </a:lnTo>
                  <a:lnTo>
                    <a:pt x="180" y="66"/>
                  </a:lnTo>
                  <a:lnTo>
                    <a:pt x="180" y="78"/>
                  </a:lnTo>
                  <a:lnTo>
                    <a:pt x="168" y="84"/>
                  </a:lnTo>
                  <a:lnTo>
                    <a:pt x="162" y="90"/>
                  </a:lnTo>
                  <a:lnTo>
                    <a:pt x="144" y="90"/>
                  </a:lnTo>
                  <a:lnTo>
                    <a:pt x="138" y="84"/>
                  </a:lnTo>
                  <a:lnTo>
                    <a:pt x="138" y="66"/>
                  </a:lnTo>
                  <a:lnTo>
                    <a:pt x="150" y="54"/>
                  </a:lnTo>
                  <a:lnTo>
                    <a:pt x="150" y="36"/>
                  </a:lnTo>
                  <a:lnTo>
                    <a:pt x="144" y="30"/>
                  </a:lnTo>
                  <a:lnTo>
                    <a:pt x="144" y="24"/>
                  </a:lnTo>
                  <a:lnTo>
                    <a:pt x="132" y="36"/>
                  </a:lnTo>
                  <a:lnTo>
                    <a:pt x="120" y="42"/>
                  </a:lnTo>
                  <a:lnTo>
                    <a:pt x="114" y="48"/>
                  </a:lnTo>
                  <a:lnTo>
                    <a:pt x="102" y="54"/>
                  </a:lnTo>
                  <a:lnTo>
                    <a:pt x="96" y="66"/>
                  </a:lnTo>
                  <a:lnTo>
                    <a:pt x="96" y="84"/>
                  </a:lnTo>
                  <a:lnTo>
                    <a:pt x="90" y="90"/>
                  </a:lnTo>
                  <a:lnTo>
                    <a:pt x="90" y="102"/>
                  </a:lnTo>
                  <a:lnTo>
                    <a:pt x="60" y="132"/>
                  </a:lnTo>
                  <a:lnTo>
                    <a:pt x="72" y="144"/>
                  </a:lnTo>
                  <a:lnTo>
                    <a:pt x="42" y="144"/>
                  </a:lnTo>
                  <a:lnTo>
                    <a:pt x="18" y="156"/>
                  </a:lnTo>
                  <a:close/>
                </a:path>
              </a:pathLst>
            </a:custGeom>
            <a:grpFill/>
            <a:ln w="3175">
              <a:solidFill>
                <a:schemeClr val="bg1"/>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de-DE" sz="1800" b="0" i="0" u="none" strike="noStrike" kern="1200" cap="none" spc="0" normalizeH="0" baseline="0" noProof="0">
                <a:ln>
                  <a:noFill/>
                </a:ln>
                <a:solidFill>
                  <a:srgbClr val="FFC000"/>
                </a:solidFill>
                <a:effectLst/>
                <a:uLnTx/>
                <a:uFillTx/>
                <a:latin typeface="Calibri" pitchFamily="34" charset="0"/>
                <a:ea typeface="+mn-ea"/>
                <a:cs typeface="+mn-cs"/>
              </a:endParaRPr>
            </a:p>
          </p:txBody>
        </p:sp>
        <p:sp>
          <p:nvSpPr>
            <p:cNvPr id="81" name="Nepal" descr="© INSCALE GmbH, 05.05.2010&#10;http://www.presentationload.com/"/>
            <p:cNvSpPr>
              <a:spLocks/>
            </p:cNvSpPr>
            <p:nvPr/>
          </p:nvSpPr>
          <p:spPr bwMode="gray">
            <a:xfrm>
              <a:off x="6257517" y="3541976"/>
              <a:ext cx="190696" cy="101657"/>
            </a:xfrm>
            <a:custGeom>
              <a:avLst/>
              <a:gdLst>
                <a:gd name="T0" fmla="*/ 2147483647 w 588"/>
                <a:gd name="T1" fmla="*/ 2147483647 h 330"/>
                <a:gd name="T2" fmla="*/ 2147483647 w 588"/>
                <a:gd name="T3" fmla="*/ 2147483647 h 330"/>
                <a:gd name="T4" fmla="*/ 2147483647 w 588"/>
                <a:gd name="T5" fmla="*/ 2147483647 h 330"/>
                <a:gd name="T6" fmla="*/ 2147483647 w 588"/>
                <a:gd name="T7" fmla="*/ 2147483647 h 330"/>
                <a:gd name="T8" fmla="*/ 2147483647 w 588"/>
                <a:gd name="T9" fmla="*/ 2147483647 h 330"/>
                <a:gd name="T10" fmla="*/ 2147483647 w 588"/>
                <a:gd name="T11" fmla="*/ 2147483647 h 330"/>
                <a:gd name="T12" fmla="*/ 2147483647 w 588"/>
                <a:gd name="T13" fmla="*/ 2147483647 h 330"/>
                <a:gd name="T14" fmla="*/ 2147483647 w 588"/>
                <a:gd name="T15" fmla="*/ 2147483647 h 330"/>
                <a:gd name="T16" fmla="*/ 2147483647 w 588"/>
                <a:gd name="T17" fmla="*/ 2147483647 h 330"/>
                <a:gd name="T18" fmla="*/ 2147483647 w 588"/>
                <a:gd name="T19" fmla="*/ 2147483647 h 330"/>
                <a:gd name="T20" fmla="*/ 2147483647 w 588"/>
                <a:gd name="T21" fmla="*/ 2147483647 h 330"/>
                <a:gd name="T22" fmla="*/ 2147483647 w 588"/>
                <a:gd name="T23" fmla="*/ 2147483647 h 330"/>
                <a:gd name="T24" fmla="*/ 2147483647 w 588"/>
                <a:gd name="T25" fmla="*/ 2147483647 h 330"/>
                <a:gd name="T26" fmla="*/ 2147483647 w 588"/>
                <a:gd name="T27" fmla="*/ 2147483647 h 330"/>
                <a:gd name="T28" fmla="*/ 2147483647 w 588"/>
                <a:gd name="T29" fmla="*/ 2147483647 h 330"/>
                <a:gd name="T30" fmla="*/ 2147483647 w 588"/>
                <a:gd name="T31" fmla="*/ 2147483647 h 330"/>
                <a:gd name="T32" fmla="*/ 2147483647 w 588"/>
                <a:gd name="T33" fmla="*/ 2147483647 h 330"/>
                <a:gd name="T34" fmla="*/ 2147483647 w 588"/>
                <a:gd name="T35" fmla="*/ 2147483647 h 330"/>
                <a:gd name="T36" fmla="*/ 2147483647 w 588"/>
                <a:gd name="T37" fmla="*/ 2147483647 h 330"/>
                <a:gd name="T38" fmla="*/ 2147483647 w 588"/>
                <a:gd name="T39" fmla="*/ 2147483647 h 330"/>
                <a:gd name="T40" fmla="*/ 2147483647 w 588"/>
                <a:gd name="T41" fmla="*/ 2147483647 h 330"/>
                <a:gd name="T42" fmla="*/ 2147483647 w 588"/>
                <a:gd name="T43" fmla="*/ 2147483647 h 330"/>
                <a:gd name="T44" fmla="*/ 2147483647 w 588"/>
                <a:gd name="T45" fmla="*/ 2147483647 h 330"/>
                <a:gd name="T46" fmla="*/ 2147483647 w 588"/>
                <a:gd name="T47" fmla="*/ 2147483647 h 330"/>
                <a:gd name="T48" fmla="*/ 2147483647 w 588"/>
                <a:gd name="T49" fmla="*/ 2147483647 h 330"/>
                <a:gd name="T50" fmla="*/ 2147483647 w 588"/>
                <a:gd name="T51" fmla="*/ 2147483647 h 330"/>
                <a:gd name="T52" fmla="*/ 2147483647 w 588"/>
                <a:gd name="T53" fmla="*/ 2147483647 h 330"/>
                <a:gd name="T54" fmla="*/ 2147483647 w 588"/>
                <a:gd name="T55" fmla="*/ 2147483647 h 330"/>
                <a:gd name="T56" fmla="*/ 2147483647 w 588"/>
                <a:gd name="T57" fmla="*/ 2147483647 h 330"/>
                <a:gd name="T58" fmla="*/ 2147483647 w 588"/>
                <a:gd name="T59" fmla="*/ 2147483647 h 330"/>
                <a:gd name="T60" fmla="*/ 2147483647 w 588"/>
                <a:gd name="T61" fmla="*/ 2147483647 h 330"/>
                <a:gd name="T62" fmla="*/ 2147483647 w 588"/>
                <a:gd name="T63" fmla="*/ 2147483647 h 330"/>
                <a:gd name="T64" fmla="*/ 2147483647 w 588"/>
                <a:gd name="T65" fmla="*/ 2147483647 h 330"/>
                <a:gd name="T66" fmla="*/ 2147483647 w 588"/>
                <a:gd name="T67" fmla="*/ 2147483647 h 330"/>
                <a:gd name="T68" fmla="*/ 2147483647 w 588"/>
                <a:gd name="T69" fmla="*/ 2147483647 h 330"/>
                <a:gd name="T70" fmla="*/ 2147483647 w 588"/>
                <a:gd name="T71" fmla="*/ 0 h 330"/>
                <a:gd name="T72" fmla="*/ 2147483647 w 588"/>
                <a:gd name="T73" fmla="*/ 2147483647 h 330"/>
                <a:gd name="T74" fmla="*/ 2147483647 w 588"/>
                <a:gd name="T75" fmla="*/ 2147483647 h 330"/>
                <a:gd name="T76" fmla="*/ 2147483647 w 588"/>
                <a:gd name="T77" fmla="*/ 2147483647 h 330"/>
                <a:gd name="T78" fmla="*/ 2147483647 w 588"/>
                <a:gd name="T79" fmla="*/ 2147483647 h 330"/>
                <a:gd name="T80" fmla="*/ 2147483647 w 588"/>
                <a:gd name="T81" fmla="*/ 2147483647 h 330"/>
                <a:gd name="T82" fmla="*/ 2147483647 w 588"/>
                <a:gd name="T83" fmla="*/ 2147483647 h 330"/>
                <a:gd name="T84" fmla="*/ 0 w 588"/>
                <a:gd name="T85" fmla="*/ 2147483647 h 330"/>
                <a:gd name="T86" fmla="*/ 2147483647 w 588"/>
                <a:gd name="T87" fmla="*/ 2147483647 h 330"/>
                <a:gd name="T88" fmla="*/ 2147483647 w 588"/>
                <a:gd name="T89" fmla="*/ 2147483647 h 330"/>
                <a:gd name="T90" fmla="*/ 2147483647 w 588"/>
                <a:gd name="T91" fmla="*/ 2147483647 h 330"/>
                <a:gd name="T92" fmla="*/ 2147483647 w 588"/>
                <a:gd name="T93" fmla="*/ 2147483647 h 330"/>
                <a:gd name="T94" fmla="*/ 2147483647 w 588"/>
                <a:gd name="T95" fmla="*/ 2147483647 h 330"/>
                <a:gd name="T96" fmla="*/ 2147483647 w 588"/>
                <a:gd name="T97" fmla="*/ 2147483647 h 330"/>
                <a:gd name="T98" fmla="*/ 2147483647 w 588"/>
                <a:gd name="T99" fmla="*/ 2147483647 h 330"/>
                <a:gd name="T100" fmla="*/ 2147483647 w 588"/>
                <a:gd name="T101" fmla="*/ 2147483647 h 330"/>
                <a:gd name="T102" fmla="*/ 2147483647 w 588"/>
                <a:gd name="T103" fmla="*/ 2147483647 h 330"/>
                <a:gd name="T104" fmla="*/ 2147483647 w 588"/>
                <a:gd name="T105" fmla="*/ 2147483647 h 330"/>
                <a:gd name="T106" fmla="*/ 2147483647 w 588"/>
                <a:gd name="T107" fmla="*/ 2147483647 h 330"/>
                <a:gd name="T108" fmla="*/ 2147483647 w 588"/>
                <a:gd name="T109" fmla="*/ 2147483647 h 33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588"/>
                <a:gd name="T166" fmla="*/ 0 h 330"/>
                <a:gd name="T167" fmla="*/ 588 w 588"/>
                <a:gd name="T168" fmla="*/ 330 h 330"/>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588" h="330">
                  <a:moveTo>
                    <a:pt x="294" y="234"/>
                  </a:moveTo>
                  <a:lnTo>
                    <a:pt x="306" y="246"/>
                  </a:lnTo>
                  <a:lnTo>
                    <a:pt x="306" y="252"/>
                  </a:lnTo>
                  <a:lnTo>
                    <a:pt x="330" y="252"/>
                  </a:lnTo>
                  <a:lnTo>
                    <a:pt x="384" y="306"/>
                  </a:lnTo>
                  <a:lnTo>
                    <a:pt x="402" y="294"/>
                  </a:lnTo>
                  <a:lnTo>
                    <a:pt x="432" y="312"/>
                  </a:lnTo>
                  <a:lnTo>
                    <a:pt x="438" y="306"/>
                  </a:lnTo>
                  <a:lnTo>
                    <a:pt x="456" y="306"/>
                  </a:lnTo>
                  <a:lnTo>
                    <a:pt x="474" y="312"/>
                  </a:lnTo>
                  <a:lnTo>
                    <a:pt x="486" y="318"/>
                  </a:lnTo>
                  <a:lnTo>
                    <a:pt x="492" y="330"/>
                  </a:lnTo>
                  <a:lnTo>
                    <a:pt x="498" y="318"/>
                  </a:lnTo>
                  <a:lnTo>
                    <a:pt x="510" y="312"/>
                  </a:lnTo>
                  <a:lnTo>
                    <a:pt x="516" y="312"/>
                  </a:lnTo>
                  <a:lnTo>
                    <a:pt x="522" y="318"/>
                  </a:lnTo>
                  <a:lnTo>
                    <a:pt x="522" y="330"/>
                  </a:lnTo>
                  <a:lnTo>
                    <a:pt x="588" y="330"/>
                  </a:lnTo>
                  <a:lnTo>
                    <a:pt x="588" y="294"/>
                  </a:lnTo>
                  <a:lnTo>
                    <a:pt x="576" y="270"/>
                  </a:lnTo>
                  <a:lnTo>
                    <a:pt x="576" y="222"/>
                  </a:lnTo>
                  <a:lnTo>
                    <a:pt x="564" y="204"/>
                  </a:lnTo>
                  <a:lnTo>
                    <a:pt x="540" y="216"/>
                  </a:lnTo>
                  <a:lnTo>
                    <a:pt x="522" y="216"/>
                  </a:lnTo>
                  <a:lnTo>
                    <a:pt x="498" y="204"/>
                  </a:lnTo>
                  <a:lnTo>
                    <a:pt x="480" y="198"/>
                  </a:lnTo>
                  <a:lnTo>
                    <a:pt x="474" y="192"/>
                  </a:lnTo>
                  <a:lnTo>
                    <a:pt x="462" y="186"/>
                  </a:lnTo>
                  <a:lnTo>
                    <a:pt x="462" y="192"/>
                  </a:lnTo>
                  <a:lnTo>
                    <a:pt x="456" y="198"/>
                  </a:lnTo>
                  <a:lnTo>
                    <a:pt x="438" y="198"/>
                  </a:lnTo>
                  <a:lnTo>
                    <a:pt x="432" y="192"/>
                  </a:lnTo>
                  <a:lnTo>
                    <a:pt x="432" y="180"/>
                  </a:lnTo>
                  <a:lnTo>
                    <a:pt x="432" y="186"/>
                  </a:lnTo>
                  <a:lnTo>
                    <a:pt x="420" y="198"/>
                  </a:lnTo>
                  <a:lnTo>
                    <a:pt x="408" y="198"/>
                  </a:lnTo>
                  <a:lnTo>
                    <a:pt x="402" y="192"/>
                  </a:lnTo>
                  <a:lnTo>
                    <a:pt x="402" y="174"/>
                  </a:lnTo>
                  <a:lnTo>
                    <a:pt x="396" y="174"/>
                  </a:lnTo>
                  <a:lnTo>
                    <a:pt x="390" y="180"/>
                  </a:lnTo>
                  <a:lnTo>
                    <a:pt x="378" y="180"/>
                  </a:lnTo>
                  <a:lnTo>
                    <a:pt x="360" y="174"/>
                  </a:lnTo>
                  <a:lnTo>
                    <a:pt x="354" y="168"/>
                  </a:lnTo>
                  <a:lnTo>
                    <a:pt x="348" y="168"/>
                  </a:lnTo>
                  <a:lnTo>
                    <a:pt x="348" y="162"/>
                  </a:lnTo>
                  <a:lnTo>
                    <a:pt x="354" y="156"/>
                  </a:lnTo>
                  <a:lnTo>
                    <a:pt x="354" y="150"/>
                  </a:lnTo>
                  <a:lnTo>
                    <a:pt x="348" y="144"/>
                  </a:lnTo>
                  <a:lnTo>
                    <a:pt x="342" y="144"/>
                  </a:lnTo>
                  <a:lnTo>
                    <a:pt x="330" y="150"/>
                  </a:lnTo>
                  <a:lnTo>
                    <a:pt x="324" y="156"/>
                  </a:lnTo>
                  <a:lnTo>
                    <a:pt x="312" y="150"/>
                  </a:lnTo>
                  <a:lnTo>
                    <a:pt x="282" y="120"/>
                  </a:lnTo>
                  <a:lnTo>
                    <a:pt x="282" y="102"/>
                  </a:lnTo>
                  <a:lnTo>
                    <a:pt x="276" y="90"/>
                  </a:lnTo>
                  <a:lnTo>
                    <a:pt x="270" y="84"/>
                  </a:lnTo>
                  <a:lnTo>
                    <a:pt x="258" y="84"/>
                  </a:lnTo>
                  <a:lnTo>
                    <a:pt x="252" y="96"/>
                  </a:lnTo>
                  <a:lnTo>
                    <a:pt x="246" y="102"/>
                  </a:lnTo>
                  <a:lnTo>
                    <a:pt x="246" y="108"/>
                  </a:lnTo>
                  <a:lnTo>
                    <a:pt x="234" y="108"/>
                  </a:lnTo>
                  <a:lnTo>
                    <a:pt x="234" y="96"/>
                  </a:lnTo>
                  <a:lnTo>
                    <a:pt x="228" y="90"/>
                  </a:lnTo>
                  <a:lnTo>
                    <a:pt x="222" y="78"/>
                  </a:lnTo>
                  <a:lnTo>
                    <a:pt x="216" y="72"/>
                  </a:lnTo>
                  <a:lnTo>
                    <a:pt x="210" y="60"/>
                  </a:lnTo>
                  <a:lnTo>
                    <a:pt x="168" y="54"/>
                  </a:lnTo>
                  <a:lnTo>
                    <a:pt x="150" y="36"/>
                  </a:lnTo>
                  <a:lnTo>
                    <a:pt x="138" y="30"/>
                  </a:lnTo>
                  <a:lnTo>
                    <a:pt x="132" y="18"/>
                  </a:lnTo>
                  <a:lnTo>
                    <a:pt x="120" y="6"/>
                  </a:lnTo>
                  <a:lnTo>
                    <a:pt x="108" y="0"/>
                  </a:lnTo>
                  <a:lnTo>
                    <a:pt x="96" y="0"/>
                  </a:lnTo>
                  <a:lnTo>
                    <a:pt x="84" y="6"/>
                  </a:lnTo>
                  <a:lnTo>
                    <a:pt x="78" y="12"/>
                  </a:lnTo>
                  <a:lnTo>
                    <a:pt x="54" y="30"/>
                  </a:lnTo>
                  <a:lnTo>
                    <a:pt x="36" y="12"/>
                  </a:lnTo>
                  <a:lnTo>
                    <a:pt x="30" y="36"/>
                  </a:lnTo>
                  <a:lnTo>
                    <a:pt x="6" y="60"/>
                  </a:lnTo>
                  <a:lnTo>
                    <a:pt x="12" y="72"/>
                  </a:lnTo>
                  <a:lnTo>
                    <a:pt x="6" y="78"/>
                  </a:lnTo>
                  <a:lnTo>
                    <a:pt x="6" y="84"/>
                  </a:lnTo>
                  <a:lnTo>
                    <a:pt x="18" y="96"/>
                  </a:lnTo>
                  <a:lnTo>
                    <a:pt x="12" y="96"/>
                  </a:lnTo>
                  <a:lnTo>
                    <a:pt x="0" y="108"/>
                  </a:lnTo>
                  <a:lnTo>
                    <a:pt x="0" y="120"/>
                  </a:lnTo>
                  <a:lnTo>
                    <a:pt x="30" y="150"/>
                  </a:lnTo>
                  <a:lnTo>
                    <a:pt x="42" y="144"/>
                  </a:lnTo>
                  <a:lnTo>
                    <a:pt x="60" y="168"/>
                  </a:lnTo>
                  <a:lnTo>
                    <a:pt x="84" y="168"/>
                  </a:lnTo>
                  <a:lnTo>
                    <a:pt x="96" y="186"/>
                  </a:lnTo>
                  <a:lnTo>
                    <a:pt x="138" y="204"/>
                  </a:lnTo>
                  <a:lnTo>
                    <a:pt x="150" y="204"/>
                  </a:lnTo>
                  <a:lnTo>
                    <a:pt x="156" y="210"/>
                  </a:lnTo>
                  <a:lnTo>
                    <a:pt x="162" y="222"/>
                  </a:lnTo>
                  <a:lnTo>
                    <a:pt x="168" y="228"/>
                  </a:lnTo>
                  <a:lnTo>
                    <a:pt x="186" y="228"/>
                  </a:lnTo>
                  <a:lnTo>
                    <a:pt x="192" y="222"/>
                  </a:lnTo>
                  <a:lnTo>
                    <a:pt x="204" y="222"/>
                  </a:lnTo>
                  <a:lnTo>
                    <a:pt x="204" y="234"/>
                  </a:lnTo>
                  <a:lnTo>
                    <a:pt x="210" y="240"/>
                  </a:lnTo>
                  <a:lnTo>
                    <a:pt x="234" y="240"/>
                  </a:lnTo>
                  <a:lnTo>
                    <a:pt x="240" y="246"/>
                  </a:lnTo>
                  <a:lnTo>
                    <a:pt x="246" y="258"/>
                  </a:lnTo>
                  <a:lnTo>
                    <a:pt x="258" y="246"/>
                  </a:lnTo>
                  <a:lnTo>
                    <a:pt x="276" y="246"/>
                  </a:lnTo>
                  <a:lnTo>
                    <a:pt x="282" y="252"/>
                  </a:lnTo>
                  <a:lnTo>
                    <a:pt x="282" y="258"/>
                  </a:lnTo>
                  <a:lnTo>
                    <a:pt x="282" y="240"/>
                  </a:lnTo>
                  <a:lnTo>
                    <a:pt x="288" y="234"/>
                  </a:lnTo>
                  <a:lnTo>
                    <a:pt x="294" y="234"/>
                  </a:lnTo>
                  <a:close/>
                </a:path>
              </a:pathLst>
            </a:custGeom>
            <a:grpFill/>
            <a:ln w="3175">
              <a:solidFill>
                <a:schemeClr val="bg1"/>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de-DE" sz="1800" b="0" i="0" u="none" strike="noStrike" kern="1200" cap="none" spc="0" normalizeH="0" baseline="0" noProof="0">
                <a:ln>
                  <a:noFill/>
                </a:ln>
                <a:solidFill>
                  <a:srgbClr val="FFC000"/>
                </a:solidFill>
                <a:effectLst/>
                <a:uLnTx/>
                <a:uFillTx/>
                <a:latin typeface="Calibri" pitchFamily="34" charset="0"/>
                <a:ea typeface="+mn-ea"/>
                <a:cs typeface="+mn-cs"/>
              </a:endParaRPr>
            </a:p>
          </p:txBody>
        </p:sp>
        <p:sp>
          <p:nvSpPr>
            <p:cNvPr id="82" name="Namibia" descr="© INSCALE GmbH, 05.05.2010&#10;http://www.presentationload.com/"/>
            <p:cNvSpPr>
              <a:spLocks/>
            </p:cNvSpPr>
            <p:nvPr/>
          </p:nvSpPr>
          <p:spPr bwMode="gray">
            <a:xfrm>
              <a:off x="4735786" y="4728797"/>
              <a:ext cx="309722" cy="302523"/>
            </a:xfrm>
            <a:custGeom>
              <a:avLst/>
              <a:gdLst>
                <a:gd name="T0" fmla="*/ 2147483647 w 954"/>
                <a:gd name="T1" fmla="*/ 2147483647 h 972"/>
                <a:gd name="T2" fmla="*/ 2147483647 w 954"/>
                <a:gd name="T3" fmla="*/ 2147483647 h 972"/>
                <a:gd name="T4" fmla="*/ 2147483647 w 954"/>
                <a:gd name="T5" fmla="*/ 2147483647 h 972"/>
                <a:gd name="T6" fmla="*/ 2147483647 w 954"/>
                <a:gd name="T7" fmla="*/ 2147483647 h 972"/>
                <a:gd name="T8" fmla="*/ 2147483647 w 954"/>
                <a:gd name="T9" fmla="*/ 2147483647 h 972"/>
                <a:gd name="T10" fmla="*/ 2147483647 w 954"/>
                <a:gd name="T11" fmla="*/ 2147483647 h 972"/>
                <a:gd name="T12" fmla="*/ 2147483647 w 954"/>
                <a:gd name="T13" fmla="*/ 2147483647 h 972"/>
                <a:gd name="T14" fmla="*/ 2147483647 w 954"/>
                <a:gd name="T15" fmla="*/ 2147483647 h 972"/>
                <a:gd name="T16" fmla="*/ 2147483647 w 954"/>
                <a:gd name="T17" fmla="*/ 2147483647 h 972"/>
                <a:gd name="T18" fmla="*/ 2147483647 w 954"/>
                <a:gd name="T19" fmla="*/ 2147483647 h 972"/>
                <a:gd name="T20" fmla="*/ 2147483647 w 954"/>
                <a:gd name="T21" fmla="*/ 2147483647 h 972"/>
                <a:gd name="T22" fmla="*/ 2147483647 w 954"/>
                <a:gd name="T23" fmla="*/ 2147483647 h 972"/>
                <a:gd name="T24" fmla="*/ 2147483647 w 954"/>
                <a:gd name="T25" fmla="*/ 2147483647 h 972"/>
                <a:gd name="T26" fmla="*/ 2147483647 w 954"/>
                <a:gd name="T27" fmla="*/ 2147483647 h 972"/>
                <a:gd name="T28" fmla="*/ 2147483647 w 954"/>
                <a:gd name="T29" fmla="*/ 2147483647 h 972"/>
                <a:gd name="T30" fmla="*/ 2147483647 w 954"/>
                <a:gd name="T31" fmla="*/ 2147483647 h 972"/>
                <a:gd name="T32" fmla="*/ 2147483647 w 954"/>
                <a:gd name="T33" fmla="*/ 2147483647 h 972"/>
                <a:gd name="T34" fmla="*/ 2147483647 w 954"/>
                <a:gd name="T35" fmla="*/ 2147483647 h 972"/>
                <a:gd name="T36" fmla="*/ 2147483647 w 954"/>
                <a:gd name="T37" fmla="*/ 2147483647 h 972"/>
                <a:gd name="T38" fmla="*/ 2147483647 w 954"/>
                <a:gd name="T39" fmla="*/ 2147483647 h 972"/>
                <a:gd name="T40" fmla="*/ 2147483647 w 954"/>
                <a:gd name="T41" fmla="*/ 2147483647 h 972"/>
                <a:gd name="T42" fmla="*/ 2147483647 w 954"/>
                <a:gd name="T43" fmla="*/ 2147483647 h 972"/>
                <a:gd name="T44" fmla="*/ 2147483647 w 954"/>
                <a:gd name="T45" fmla="*/ 2147483647 h 972"/>
                <a:gd name="T46" fmla="*/ 2147483647 w 954"/>
                <a:gd name="T47" fmla="*/ 2147483647 h 972"/>
                <a:gd name="T48" fmla="*/ 2147483647 w 954"/>
                <a:gd name="T49" fmla="*/ 2147483647 h 972"/>
                <a:gd name="T50" fmla="*/ 2147483647 w 954"/>
                <a:gd name="T51" fmla="*/ 2147483647 h 972"/>
                <a:gd name="T52" fmla="*/ 2147483647 w 954"/>
                <a:gd name="T53" fmla="*/ 2147483647 h 972"/>
                <a:gd name="T54" fmla="*/ 2147483647 w 954"/>
                <a:gd name="T55" fmla="*/ 2147483647 h 972"/>
                <a:gd name="T56" fmla="*/ 2147483647 w 954"/>
                <a:gd name="T57" fmla="*/ 2147483647 h 972"/>
                <a:gd name="T58" fmla="*/ 2147483647 w 954"/>
                <a:gd name="T59" fmla="*/ 2147483647 h 972"/>
                <a:gd name="T60" fmla="*/ 2147483647 w 954"/>
                <a:gd name="T61" fmla="*/ 2147483647 h 972"/>
                <a:gd name="T62" fmla="*/ 2147483647 w 954"/>
                <a:gd name="T63" fmla="*/ 2147483647 h 972"/>
                <a:gd name="T64" fmla="*/ 2147483647 w 954"/>
                <a:gd name="T65" fmla="*/ 2147483647 h 972"/>
                <a:gd name="T66" fmla="*/ 2147483647 w 954"/>
                <a:gd name="T67" fmla="*/ 0 h 972"/>
                <a:gd name="T68" fmla="*/ 2147483647 w 954"/>
                <a:gd name="T69" fmla="*/ 2147483647 h 972"/>
                <a:gd name="T70" fmla="*/ 2147483647 w 954"/>
                <a:gd name="T71" fmla="*/ 2147483647 h 972"/>
                <a:gd name="T72" fmla="*/ 0 w 954"/>
                <a:gd name="T73" fmla="*/ 2147483647 h 972"/>
                <a:gd name="T74" fmla="*/ 2147483647 w 954"/>
                <a:gd name="T75" fmla="*/ 2147483647 h 972"/>
                <a:gd name="T76" fmla="*/ 2147483647 w 954"/>
                <a:gd name="T77" fmla="*/ 2147483647 h 972"/>
                <a:gd name="T78" fmla="*/ 2147483647 w 954"/>
                <a:gd name="T79" fmla="*/ 2147483647 h 972"/>
                <a:gd name="T80" fmla="*/ 2147483647 w 954"/>
                <a:gd name="T81" fmla="*/ 2147483647 h 972"/>
                <a:gd name="T82" fmla="*/ 2147483647 w 954"/>
                <a:gd name="T83" fmla="*/ 2147483647 h 972"/>
                <a:gd name="T84" fmla="*/ 2147483647 w 954"/>
                <a:gd name="T85" fmla="*/ 2147483647 h 972"/>
                <a:gd name="T86" fmla="*/ 2147483647 w 954"/>
                <a:gd name="T87" fmla="*/ 2147483647 h 972"/>
                <a:gd name="T88" fmla="*/ 2147483647 w 954"/>
                <a:gd name="T89" fmla="*/ 2147483647 h 972"/>
                <a:gd name="T90" fmla="*/ 2147483647 w 954"/>
                <a:gd name="T91" fmla="*/ 2147483647 h 972"/>
                <a:gd name="T92" fmla="*/ 2147483647 w 954"/>
                <a:gd name="T93" fmla="*/ 2147483647 h 972"/>
                <a:gd name="T94" fmla="*/ 2147483647 w 954"/>
                <a:gd name="T95" fmla="*/ 2147483647 h 972"/>
                <a:gd name="T96" fmla="*/ 2147483647 w 954"/>
                <a:gd name="T97" fmla="*/ 2147483647 h 972"/>
                <a:gd name="T98" fmla="*/ 2147483647 w 954"/>
                <a:gd name="T99" fmla="*/ 2147483647 h 972"/>
                <a:gd name="T100" fmla="*/ 2147483647 w 954"/>
                <a:gd name="T101" fmla="*/ 2147483647 h 972"/>
                <a:gd name="T102" fmla="*/ 2147483647 w 954"/>
                <a:gd name="T103" fmla="*/ 2147483647 h 972"/>
                <a:gd name="T104" fmla="*/ 2147483647 w 954"/>
                <a:gd name="T105" fmla="*/ 2147483647 h 972"/>
                <a:gd name="T106" fmla="*/ 2147483647 w 954"/>
                <a:gd name="T107" fmla="*/ 2147483647 h 972"/>
                <a:gd name="T108" fmla="*/ 2147483647 w 954"/>
                <a:gd name="T109" fmla="*/ 2147483647 h 972"/>
                <a:gd name="T110" fmla="*/ 2147483647 w 954"/>
                <a:gd name="T111" fmla="*/ 2147483647 h 972"/>
                <a:gd name="T112" fmla="*/ 2147483647 w 954"/>
                <a:gd name="T113" fmla="*/ 2147483647 h 972"/>
                <a:gd name="T114" fmla="*/ 2147483647 w 954"/>
                <a:gd name="T115" fmla="*/ 2147483647 h 972"/>
                <a:gd name="T116" fmla="*/ 2147483647 w 954"/>
                <a:gd name="T117" fmla="*/ 2147483647 h 972"/>
                <a:gd name="T118" fmla="*/ 2147483647 w 954"/>
                <a:gd name="T119" fmla="*/ 2147483647 h 972"/>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954"/>
                <a:gd name="T181" fmla="*/ 0 h 972"/>
                <a:gd name="T182" fmla="*/ 954 w 954"/>
                <a:gd name="T183" fmla="*/ 972 h 972"/>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954" h="972">
                  <a:moveTo>
                    <a:pt x="366" y="894"/>
                  </a:moveTo>
                  <a:lnTo>
                    <a:pt x="372" y="894"/>
                  </a:lnTo>
                  <a:lnTo>
                    <a:pt x="390" y="912"/>
                  </a:lnTo>
                  <a:lnTo>
                    <a:pt x="390" y="936"/>
                  </a:lnTo>
                  <a:lnTo>
                    <a:pt x="396" y="948"/>
                  </a:lnTo>
                  <a:lnTo>
                    <a:pt x="402" y="954"/>
                  </a:lnTo>
                  <a:lnTo>
                    <a:pt x="426" y="954"/>
                  </a:lnTo>
                  <a:lnTo>
                    <a:pt x="432" y="960"/>
                  </a:lnTo>
                  <a:lnTo>
                    <a:pt x="432" y="966"/>
                  </a:lnTo>
                  <a:lnTo>
                    <a:pt x="438" y="972"/>
                  </a:lnTo>
                  <a:lnTo>
                    <a:pt x="462" y="972"/>
                  </a:lnTo>
                  <a:lnTo>
                    <a:pt x="474" y="960"/>
                  </a:lnTo>
                  <a:lnTo>
                    <a:pt x="486" y="960"/>
                  </a:lnTo>
                  <a:lnTo>
                    <a:pt x="498" y="972"/>
                  </a:lnTo>
                  <a:lnTo>
                    <a:pt x="522" y="972"/>
                  </a:lnTo>
                  <a:lnTo>
                    <a:pt x="522" y="948"/>
                  </a:lnTo>
                  <a:lnTo>
                    <a:pt x="534" y="948"/>
                  </a:lnTo>
                  <a:lnTo>
                    <a:pt x="534" y="942"/>
                  </a:lnTo>
                  <a:lnTo>
                    <a:pt x="540" y="936"/>
                  </a:lnTo>
                  <a:lnTo>
                    <a:pt x="552" y="930"/>
                  </a:lnTo>
                  <a:lnTo>
                    <a:pt x="570" y="930"/>
                  </a:lnTo>
                  <a:lnTo>
                    <a:pt x="582" y="414"/>
                  </a:lnTo>
                  <a:lnTo>
                    <a:pt x="654" y="414"/>
                  </a:lnTo>
                  <a:lnTo>
                    <a:pt x="648" y="288"/>
                  </a:lnTo>
                  <a:lnTo>
                    <a:pt x="654" y="282"/>
                  </a:lnTo>
                  <a:lnTo>
                    <a:pt x="654" y="108"/>
                  </a:lnTo>
                  <a:lnTo>
                    <a:pt x="690" y="108"/>
                  </a:lnTo>
                  <a:lnTo>
                    <a:pt x="708" y="102"/>
                  </a:lnTo>
                  <a:lnTo>
                    <a:pt x="744" y="102"/>
                  </a:lnTo>
                  <a:lnTo>
                    <a:pt x="792" y="90"/>
                  </a:lnTo>
                  <a:lnTo>
                    <a:pt x="804" y="84"/>
                  </a:lnTo>
                  <a:lnTo>
                    <a:pt x="822" y="84"/>
                  </a:lnTo>
                  <a:lnTo>
                    <a:pt x="828" y="90"/>
                  </a:lnTo>
                  <a:lnTo>
                    <a:pt x="828" y="108"/>
                  </a:lnTo>
                  <a:lnTo>
                    <a:pt x="834" y="108"/>
                  </a:lnTo>
                  <a:lnTo>
                    <a:pt x="834" y="126"/>
                  </a:lnTo>
                  <a:lnTo>
                    <a:pt x="840" y="126"/>
                  </a:lnTo>
                  <a:lnTo>
                    <a:pt x="882" y="84"/>
                  </a:lnTo>
                  <a:lnTo>
                    <a:pt x="906" y="84"/>
                  </a:lnTo>
                  <a:lnTo>
                    <a:pt x="918" y="72"/>
                  </a:lnTo>
                  <a:lnTo>
                    <a:pt x="954" y="66"/>
                  </a:lnTo>
                  <a:lnTo>
                    <a:pt x="936" y="48"/>
                  </a:lnTo>
                  <a:lnTo>
                    <a:pt x="906" y="54"/>
                  </a:lnTo>
                  <a:lnTo>
                    <a:pt x="906" y="48"/>
                  </a:lnTo>
                  <a:lnTo>
                    <a:pt x="900" y="42"/>
                  </a:lnTo>
                  <a:lnTo>
                    <a:pt x="882" y="42"/>
                  </a:lnTo>
                  <a:lnTo>
                    <a:pt x="876" y="48"/>
                  </a:lnTo>
                  <a:lnTo>
                    <a:pt x="870" y="48"/>
                  </a:lnTo>
                  <a:lnTo>
                    <a:pt x="846" y="60"/>
                  </a:lnTo>
                  <a:lnTo>
                    <a:pt x="828" y="54"/>
                  </a:lnTo>
                  <a:lnTo>
                    <a:pt x="816" y="60"/>
                  </a:lnTo>
                  <a:lnTo>
                    <a:pt x="780" y="72"/>
                  </a:lnTo>
                  <a:lnTo>
                    <a:pt x="732" y="78"/>
                  </a:lnTo>
                  <a:lnTo>
                    <a:pt x="696" y="84"/>
                  </a:lnTo>
                  <a:lnTo>
                    <a:pt x="624" y="84"/>
                  </a:lnTo>
                  <a:lnTo>
                    <a:pt x="618" y="72"/>
                  </a:lnTo>
                  <a:lnTo>
                    <a:pt x="546" y="78"/>
                  </a:lnTo>
                  <a:lnTo>
                    <a:pt x="540" y="66"/>
                  </a:lnTo>
                  <a:lnTo>
                    <a:pt x="504" y="66"/>
                  </a:lnTo>
                  <a:lnTo>
                    <a:pt x="480" y="42"/>
                  </a:lnTo>
                  <a:lnTo>
                    <a:pt x="480" y="36"/>
                  </a:lnTo>
                  <a:lnTo>
                    <a:pt x="174" y="36"/>
                  </a:lnTo>
                  <a:lnTo>
                    <a:pt x="168" y="30"/>
                  </a:lnTo>
                  <a:lnTo>
                    <a:pt x="156" y="30"/>
                  </a:lnTo>
                  <a:lnTo>
                    <a:pt x="132" y="18"/>
                  </a:lnTo>
                  <a:lnTo>
                    <a:pt x="126" y="6"/>
                  </a:lnTo>
                  <a:lnTo>
                    <a:pt x="120" y="0"/>
                  </a:lnTo>
                  <a:lnTo>
                    <a:pt x="90" y="0"/>
                  </a:lnTo>
                  <a:lnTo>
                    <a:pt x="90" y="6"/>
                  </a:lnTo>
                  <a:lnTo>
                    <a:pt x="72" y="24"/>
                  </a:lnTo>
                  <a:lnTo>
                    <a:pt x="42" y="24"/>
                  </a:lnTo>
                  <a:lnTo>
                    <a:pt x="36" y="18"/>
                  </a:lnTo>
                  <a:lnTo>
                    <a:pt x="18" y="24"/>
                  </a:lnTo>
                  <a:lnTo>
                    <a:pt x="0" y="24"/>
                  </a:lnTo>
                  <a:lnTo>
                    <a:pt x="6" y="96"/>
                  </a:lnTo>
                  <a:lnTo>
                    <a:pt x="12" y="108"/>
                  </a:lnTo>
                  <a:lnTo>
                    <a:pt x="30" y="126"/>
                  </a:lnTo>
                  <a:lnTo>
                    <a:pt x="36" y="138"/>
                  </a:lnTo>
                  <a:lnTo>
                    <a:pt x="54" y="162"/>
                  </a:lnTo>
                  <a:lnTo>
                    <a:pt x="72" y="192"/>
                  </a:lnTo>
                  <a:lnTo>
                    <a:pt x="96" y="228"/>
                  </a:lnTo>
                  <a:lnTo>
                    <a:pt x="102" y="258"/>
                  </a:lnTo>
                  <a:lnTo>
                    <a:pt x="102" y="276"/>
                  </a:lnTo>
                  <a:lnTo>
                    <a:pt x="114" y="294"/>
                  </a:lnTo>
                  <a:lnTo>
                    <a:pt x="120" y="312"/>
                  </a:lnTo>
                  <a:lnTo>
                    <a:pt x="138" y="348"/>
                  </a:lnTo>
                  <a:lnTo>
                    <a:pt x="156" y="366"/>
                  </a:lnTo>
                  <a:lnTo>
                    <a:pt x="156" y="390"/>
                  </a:lnTo>
                  <a:lnTo>
                    <a:pt x="162" y="396"/>
                  </a:lnTo>
                  <a:lnTo>
                    <a:pt x="174" y="402"/>
                  </a:lnTo>
                  <a:lnTo>
                    <a:pt x="180" y="414"/>
                  </a:lnTo>
                  <a:lnTo>
                    <a:pt x="192" y="420"/>
                  </a:lnTo>
                  <a:lnTo>
                    <a:pt x="198" y="432"/>
                  </a:lnTo>
                  <a:lnTo>
                    <a:pt x="198" y="582"/>
                  </a:lnTo>
                  <a:lnTo>
                    <a:pt x="222" y="630"/>
                  </a:lnTo>
                  <a:lnTo>
                    <a:pt x="222" y="678"/>
                  </a:lnTo>
                  <a:lnTo>
                    <a:pt x="216" y="678"/>
                  </a:lnTo>
                  <a:lnTo>
                    <a:pt x="228" y="726"/>
                  </a:lnTo>
                  <a:lnTo>
                    <a:pt x="228" y="762"/>
                  </a:lnTo>
                  <a:lnTo>
                    <a:pt x="240" y="762"/>
                  </a:lnTo>
                  <a:lnTo>
                    <a:pt x="240" y="804"/>
                  </a:lnTo>
                  <a:lnTo>
                    <a:pt x="252" y="810"/>
                  </a:lnTo>
                  <a:lnTo>
                    <a:pt x="258" y="816"/>
                  </a:lnTo>
                  <a:lnTo>
                    <a:pt x="258" y="846"/>
                  </a:lnTo>
                  <a:lnTo>
                    <a:pt x="264" y="858"/>
                  </a:lnTo>
                  <a:lnTo>
                    <a:pt x="270" y="864"/>
                  </a:lnTo>
                  <a:lnTo>
                    <a:pt x="276" y="876"/>
                  </a:lnTo>
                  <a:lnTo>
                    <a:pt x="282" y="894"/>
                  </a:lnTo>
                  <a:lnTo>
                    <a:pt x="282" y="900"/>
                  </a:lnTo>
                  <a:lnTo>
                    <a:pt x="288" y="912"/>
                  </a:lnTo>
                  <a:lnTo>
                    <a:pt x="294" y="918"/>
                  </a:lnTo>
                  <a:lnTo>
                    <a:pt x="318" y="930"/>
                  </a:lnTo>
                  <a:lnTo>
                    <a:pt x="324" y="936"/>
                  </a:lnTo>
                  <a:lnTo>
                    <a:pt x="330" y="936"/>
                  </a:lnTo>
                  <a:lnTo>
                    <a:pt x="330" y="942"/>
                  </a:lnTo>
                  <a:lnTo>
                    <a:pt x="348" y="930"/>
                  </a:lnTo>
                  <a:lnTo>
                    <a:pt x="348" y="924"/>
                  </a:lnTo>
                  <a:lnTo>
                    <a:pt x="354" y="918"/>
                  </a:lnTo>
                  <a:lnTo>
                    <a:pt x="360" y="906"/>
                  </a:lnTo>
                  <a:lnTo>
                    <a:pt x="360" y="900"/>
                  </a:lnTo>
                  <a:lnTo>
                    <a:pt x="366" y="894"/>
                  </a:lnTo>
                  <a:close/>
                </a:path>
              </a:pathLst>
            </a:custGeom>
            <a:grpFill/>
            <a:ln w="3175">
              <a:solidFill>
                <a:schemeClr val="bg1"/>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de-DE" sz="1800" b="0" i="0" u="none" strike="noStrike" kern="1200" cap="none" spc="0" normalizeH="0" baseline="0" noProof="0">
                <a:ln>
                  <a:noFill/>
                </a:ln>
                <a:solidFill>
                  <a:srgbClr val="FFC000"/>
                </a:solidFill>
                <a:effectLst/>
                <a:uLnTx/>
                <a:uFillTx/>
                <a:latin typeface="Calibri" pitchFamily="34" charset="0"/>
                <a:ea typeface="+mn-ea"/>
                <a:cs typeface="+mn-cs"/>
              </a:endParaRPr>
            </a:p>
          </p:txBody>
        </p:sp>
        <p:sp>
          <p:nvSpPr>
            <p:cNvPr id="83" name="Myanmar" descr="© INSCALE GmbH, 05.05.2010&#10;http://www.presentationload.com/"/>
            <p:cNvSpPr>
              <a:spLocks/>
            </p:cNvSpPr>
            <p:nvPr/>
          </p:nvSpPr>
          <p:spPr bwMode="gray">
            <a:xfrm>
              <a:off x="6557000" y="3589743"/>
              <a:ext cx="207335" cy="465420"/>
            </a:xfrm>
            <a:custGeom>
              <a:avLst/>
              <a:gdLst>
                <a:gd name="T0" fmla="*/ 2147483647 w 636"/>
                <a:gd name="T1" fmla="*/ 2147483647 h 1500"/>
                <a:gd name="T2" fmla="*/ 2147483647 w 636"/>
                <a:gd name="T3" fmla="*/ 2147483647 h 1500"/>
                <a:gd name="T4" fmla="*/ 2147483647 w 636"/>
                <a:gd name="T5" fmla="*/ 2147483647 h 1500"/>
                <a:gd name="T6" fmla="*/ 2147483647 w 636"/>
                <a:gd name="T7" fmla="*/ 2147483647 h 1500"/>
                <a:gd name="T8" fmla="*/ 2147483647 w 636"/>
                <a:gd name="T9" fmla="*/ 2147483647 h 1500"/>
                <a:gd name="T10" fmla="*/ 2147483647 w 636"/>
                <a:gd name="T11" fmla="*/ 2147483647 h 1500"/>
                <a:gd name="T12" fmla="*/ 2147483647 w 636"/>
                <a:gd name="T13" fmla="*/ 2147483647 h 1500"/>
                <a:gd name="T14" fmla="*/ 2147483647 w 636"/>
                <a:gd name="T15" fmla="*/ 2147483647 h 1500"/>
                <a:gd name="T16" fmla="*/ 2147483647 w 636"/>
                <a:gd name="T17" fmla="*/ 2147483647 h 1500"/>
                <a:gd name="T18" fmla="*/ 2147483647 w 636"/>
                <a:gd name="T19" fmla="*/ 2147483647 h 1500"/>
                <a:gd name="T20" fmla="*/ 2147483647 w 636"/>
                <a:gd name="T21" fmla="*/ 2147483647 h 1500"/>
                <a:gd name="T22" fmla="*/ 2147483647 w 636"/>
                <a:gd name="T23" fmla="*/ 2147483647 h 1500"/>
                <a:gd name="T24" fmla="*/ 2147483647 w 636"/>
                <a:gd name="T25" fmla="*/ 2147483647 h 1500"/>
                <a:gd name="T26" fmla="*/ 2147483647 w 636"/>
                <a:gd name="T27" fmla="*/ 2147483647 h 1500"/>
                <a:gd name="T28" fmla="*/ 2147483647 w 636"/>
                <a:gd name="T29" fmla="*/ 2147483647 h 1500"/>
                <a:gd name="T30" fmla="*/ 2147483647 w 636"/>
                <a:gd name="T31" fmla="*/ 2147483647 h 1500"/>
                <a:gd name="T32" fmla="*/ 2147483647 w 636"/>
                <a:gd name="T33" fmla="*/ 2147483647 h 1500"/>
                <a:gd name="T34" fmla="*/ 2147483647 w 636"/>
                <a:gd name="T35" fmla="*/ 2147483647 h 1500"/>
                <a:gd name="T36" fmla="*/ 2147483647 w 636"/>
                <a:gd name="T37" fmla="*/ 2147483647 h 1500"/>
                <a:gd name="T38" fmla="*/ 2147483647 w 636"/>
                <a:gd name="T39" fmla="*/ 2147483647 h 1500"/>
                <a:gd name="T40" fmla="*/ 2147483647 w 636"/>
                <a:gd name="T41" fmla="*/ 2147483647 h 1500"/>
                <a:gd name="T42" fmla="*/ 2147483647 w 636"/>
                <a:gd name="T43" fmla="*/ 2147483647 h 1500"/>
                <a:gd name="T44" fmla="*/ 2147483647 w 636"/>
                <a:gd name="T45" fmla="*/ 2147483647 h 1500"/>
                <a:gd name="T46" fmla="*/ 2147483647 w 636"/>
                <a:gd name="T47" fmla="*/ 2147483647 h 1500"/>
                <a:gd name="T48" fmla="*/ 2147483647 w 636"/>
                <a:gd name="T49" fmla="*/ 2147483647 h 1500"/>
                <a:gd name="T50" fmla="*/ 2147483647 w 636"/>
                <a:gd name="T51" fmla="*/ 2147483647 h 1500"/>
                <a:gd name="T52" fmla="*/ 2147483647 w 636"/>
                <a:gd name="T53" fmla="*/ 2147483647 h 1500"/>
                <a:gd name="T54" fmla="*/ 2147483647 w 636"/>
                <a:gd name="T55" fmla="*/ 2147483647 h 1500"/>
                <a:gd name="T56" fmla="*/ 2147483647 w 636"/>
                <a:gd name="T57" fmla="*/ 2147483647 h 1500"/>
                <a:gd name="T58" fmla="*/ 2147483647 w 636"/>
                <a:gd name="T59" fmla="*/ 2147483647 h 1500"/>
                <a:gd name="T60" fmla="*/ 2147483647 w 636"/>
                <a:gd name="T61" fmla="*/ 2147483647 h 1500"/>
                <a:gd name="T62" fmla="*/ 2147483647 w 636"/>
                <a:gd name="T63" fmla="*/ 2147483647 h 1500"/>
                <a:gd name="T64" fmla="*/ 2147483647 w 636"/>
                <a:gd name="T65" fmla="*/ 2147483647 h 1500"/>
                <a:gd name="T66" fmla="*/ 2147483647 w 636"/>
                <a:gd name="T67" fmla="*/ 2147483647 h 1500"/>
                <a:gd name="T68" fmla="*/ 2147483647 w 636"/>
                <a:gd name="T69" fmla="*/ 2147483647 h 1500"/>
                <a:gd name="T70" fmla="*/ 2147483647 w 636"/>
                <a:gd name="T71" fmla="*/ 2147483647 h 1500"/>
                <a:gd name="T72" fmla="*/ 2147483647 w 636"/>
                <a:gd name="T73" fmla="*/ 2147483647 h 1500"/>
                <a:gd name="T74" fmla="*/ 2147483647 w 636"/>
                <a:gd name="T75" fmla="*/ 2147483647 h 1500"/>
                <a:gd name="T76" fmla="*/ 2147483647 w 636"/>
                <a:gd name="T77" fmla="*/ 2147483647 h 1500"/>
                <a:gd name="T78" fmla="*/ 2147483647 w 636"/>
                <a:gd name="T79" fmla="*/ 2147483647 h 1500"/>
                <a:gd name="T80" fmla="*/ 2147483647 w 636"/>
                <a:gd name="T81" fmla="*/ 2147483647 h 1500"/>
                <a:gd name="T82" fmla="*/ 2147483647 w 636"/>
                <a:gd name="T83" fmla="*/ 2147483647 h 1500"/>
                <a:gd name="T84" fmla="*/ 2147483647 w 636"/>
                <a:gd name="T85" fmla="*/ 2147483647 h 1500"/>
                <a:gd name="T86" fmla="*/ 2147483647 w 636"/>
                <a:gd name="T87" fmla="*/ 0 h 1500"/>
                <a:gd name="T88" fmla="*/ 2147483647 w 636"/>
                <a:gd name="T89" fmla="*/ 2147483647 h 1500"/>
                <a:gd name="T90" fmla="*/ 2147483647 w 636"/>
                <a:gd name="T91" fmla="*/ 2147483647 h 1500"/>
                <a:gd name="T92" fmla="*/ 2147483647 w 636"/>
                <a:gd name="T93" fmla="*/ 2147483647 h 1500"/>
                <a:gd name="T94" fmla="*/ 2147483647 w 636"/>
                <a:gd name="T95" fmla="*/ 2147483647 h 1500"/>
                <a:gd name="T96" fmla="*/ 2147483647 w 636"/>
                <a:gd name="T97" fmla="*/ 2147483647 h 1500"/>
                <a:gd name="T98" fmla="*/ 2147483647 w 636"/>
                <a:gd name="T99" fmla="*/ 2147483647 h 1500"/>
                <a:gd name="T100" fmla="*/ 2147483647 w 636"/>
                <a:gd name="T101" fmla="*/ 2147483647 h 1500"/>
                <a:gd name="T102" fmla="*/ 2147483647 w 636"/>
                <a:gd name="T103" fmla="*/ 2147483647 h 1500"/>
                <a:gd name="T104" fmla="*/ 2147483647 w 636"/>
                <a:gd name="T105" fmla="*/ 2147483647 h 1500"/>
                <a:gd name="T106" fmla="*/ 2147483647 w 636"/>
                <a:gd name="T107" fmla="*/ 2147483647 h 1500"/>
                <a:gd name="T108" fmla="*/ 2147483647 w 636"/>
                <a:gd name="T109" fmla="*/ 2147483647 h 150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636"/>
                <a:gd name="T166" fmla="*/ 0 h 1500"/>
                <a:gd name="T167" fmla="*/ 636 w 636"/>
                <a:gd name="T168" fmla="*/ 1500 h 1500"/>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636" h="1500">
                  <a:moveTo>
                    <a:pt x="0" y="588"/>
                  </a:moveTo>
                  <a:lnTo>
                    <a:pt x="18" y="588"/>
                  </a:lnTo>
                  <a:lnTo>
                    <a:pt x="12" y="630"/>
                  </a:lnTo>
                  <a:lnTo>
                    <a:pt x="18" y="630"/>
                  </a:lnTo>
                  <a:lnTo>
                    <a:pt x="24" y="636"/>
                  </a:lnTo>
                  <a:lnTo>
                    <a:pt x="42" y="642"/>
                  </a:lnTo>
                  <a:lnTo>
                    <a:pt x="54" y="648"/>
                  </a:lnTo>
                  <a:lnTo>
                    <a:pt x="72" y="666"/>
                  </a:lnTo>
                  <a:lnTo>
                    <a:pt x="84" y="690"/>
                  </a:lnTo>
                  <a:lnTo>
                    <a:pt x="90" y="696"/>
                  </a:lnTo>
                  <a:lnTo>
                    <a:pt x="90" y="702"/>
                  </a:lnTo>
                  <a:lnTo>
                    <a:pt x="126" y="696"/>
                  </a:lnTo>
                  <a:lnTo>
                    <a:pt x="102" y="738"/>
                  </a:lnTo>
                  <a:lnTo>
                    <a:pt x="108" y="738"/>
                  </a:lnTo>
                  <a:lnTo>
                    <a:pt x="114" y="744"/>
                  </a:lnTo>
                  <a:lnTo>
                    <a:pt x="126" y="744"/>
                  </a:lnTo>
                  <a:lnTo>
                    <a:pt x="144" y="750"/>
                  </a:lnTo>
                  <a:lnTo>
                    <a:pt x="156" y="762"/>
                  </a:lnTo>
                  <a:lnTo>
                    <a:pt x="168" y="768"/>
                  </a:lnTo>
                  <a:lnTo>
                    <a:pt x="174" y="780"/>
                  </a:lnTo>
                  <a:lnTo>
                    <a:pt x="186" y="792"/>
                  </a:lnTo>
                  <a:lnTo>
                    <a:pt x="192" y="804"/>
                  </a:lnTo>
                  <a:lnTo>
                    <a:pt x="192" y="822"/>
                  </a:lnTo>
                  <a:lnTo>
                    <a:pt x="198" y="834"/>
                  </a:lnTo>
                  <a:lnTo>
                    <a:pt x="198" y="840"/>
                  </a:lnTo>
                  <a:lnTo>
                    <a:pt x="204" y="846"/>
                  </a:lnTo>
                  <a:lnTo>
                    <a:pt x="210" y="858"/>
                  </a:lnTo>
                  <a:lnTo>
                    <a:pt x="222" y="870"/>
                  </a:lnTo>
                  <a:lnTo>
                    <a:pt x="210" y="888"/>
                  </a:lnTo>
                  <a:lnTo>
                    <a:pt x="216" y="978"/>
                  </a:lnTo>
                  <a:lnTo>
                    <a:pt x="204" y="990"/>
                  </a:lnTo>
                  <a:lnTo>
                    <a:pt x="204" y="1002"/>
                  </a:lnTo>
                  <a:lnTo>
                    <a:pt x="222" y="1020"/>
                  </a:lnTo>
                  <a:lnTo>
                    <a:pt x="234" y="1020"/>
                  </a:lnTo>
                  <a:lnTo>
                    <a:pt x="246" y="1014"/>
                  </a:lnTo>
                  <a:lnTo>
                    <a:pt x="252" y="1008"/>
                  </a:lnTo>
                  <a:lnTo>
                    <a:pt x="258" y="1014"/>
                  </a:lnTo>
                  <a:lnTo>
                    <a:pt x="258" y="1020"/>
                  </a:lnTo>
                  <a:lnTo>
                    <a:pt x="276" y="1020"/>
                  </a:lnTo>
                  <a:lnTo>
                    <a:pt x="282" y="1014"/>
                  </a:lnTo>
                  <a:lnTo>
                    <a:pt x="294" y="1008"/>
                  </a:lnTo>
                  <a:lnTo>
                    <a:pt x="300" y="996"/>
                  </a:lnTo>
                  <a:lnTo>
                    <a:pt x="306" y="990"/>
                  </a:lnTo>
                  <a:lnTo>
                    <a:pt x="312" y="978"/>
                  </a:lnTo>
                  <a:lnTo>
                    <a:pt x="324" y="978"/>
                  </a:lnTo>
                  <a:lnTo>
                    <a:pt x="360" y="960"/>
                  </a:lnTo>
                  <a:lnTo>
                    <a:pt x="366" y="954"/>
                  </a:lnTo>
                  <a:lnTo>
                    <a:pt x="366" y="900"/>
                  </a:lnTo>
                  <a:lnTo>
                    <a:pt x="372" y="894"/>
                  </a:lnTo>
                  <a:lnTo>
                    <a:pt x="378" y="894"/>
                  </a:lnTo>
                  <a:lnTo>
                    <a:pt x="396" y="912"/>
                  </a:lnTo>
                  <a:lnTo>
                    <a:pt x="402" y="924"/>
                  </a:lnTo>
                  <a:lnTo>
                    <a:pt x="402" y="954"/>
                  </a:lnTo>
                  <a:lnTo>
                    <a:pt x="408" y="954"/>
                  </a:lnTo>
                  <a:lnTo>
                    <a:pt x="426" y="972"/>
                  </a:lnTo>
                  <a:lnTo>
                    <a:pt x="432" y="984"/>
                  </a:lnTo>
                  <a:lnTo>
                    <a:pt x="444" y="1014"/>
                  </a:lnTo>
                  <a:lnTo>
                    <a:pt x="450" y="1050"/>
                  </a:lnTo>
                  <a:lnTo>
                    <a:pt x="450" y="1074"/>
                  </a:lnTo>
                  <a:lnTo>
                    <a:pt x="456" y="1092"/>
                  </a:lnTo>
                  <a:lnTo>
                    <a:pt x="456" y="1128"/>
                  </a:lnTo>
                  <a:lnTo>
                    <a:pt x="462" y="1134"/>
                  </a:lnTo>
                  <a:lnTo>
                    <a:pt x="480" y="1170"/>
                  </a:lnTo>
                  <a:lnTo>
                    <a:pt x="486" y="1176"/>
                  </a:lnTo>
                  <a:lnTo>
                    <a:pt x="486" y="1182"/>
                  </a:lnTo>
                  <a:lnTo>
                    <a:pt x="528" y="1272"/>
                  </a:lnTo>
                  <a:lnTo>
                    <a:pt x="540" y="1320"/>
                  </a:lnTo>
                  <a:lnTo>
                    <a:pt x="522" y="1320"/>
                  </a:lnTo>
                  <a:lnTo>
                    <a:pt x="516" y="1326"/>
                  </a:lnTo>
                  <a:lnTo>
                    <a:pt x="516" y="1350"/>
                  </a:lnTo>
                  <a:lnTo>
                    <a:pt x="510" y="1362"/>
                  </a:lnTo>
                  <a:lnTo>
                    <a:pt x="510" y="1374"/>
                  </a:lnTo>
                  <a:lnTo>
                    <a:pt x="552" y="1362"/>
                  </a:lnTo>
                  <a:lnTo>
                    <a:pt x="540" y="1416"/>
                  </a:lnTo>
                  <a:lnTo>
                    <a:pt x="540" y="1428"/>
                  </a:lnTo>
                  <a:lnTo>
                    <a:pt x="534" y="1440"/>
                  </a:lnTo>
                  <a:lnTo>
                    <a:pt x="534" y="1464"/>
                  </a:lnTo>
                  <a:lnTo>
                    <a:pt x="540" y="1482"/>
                  </a:lnTo>
                  <a:lnTo>
                    <a:pt x="540" y="1488"/>
                  </a:lnTo>
                  <a:lnTo>
                    <a:pt x="546" y="1500"/>
                  </a:lnTo>
                  <a:lnTo>
                    <a:pt x="552" y="1488"/>
                  </a:lnTo>
                  <a:lnTo>
                    <a:pt x="558" y="1482"/>
                  </a:lnTo>
                  <a:lnTo>
                    <a:pt x="564" y="1470"/>
                  </a:lnTo>
                  <a:lnTo>
                    <a:pt x="564" y="1458"/>
                  </a:lnTo>
                  <a:lnTo>
                    <a:pt x="558" y="1452"/>
                  </a:lnTo>
                  <a:lnTo>
                    <a:pt x="558" y="1440"/>
                  </a:lnTo>
                  <a:lnTo>
                    <a:pt x="576" y="1422"/>
                  </a:lnTo>
                  <a:lnTo>
                    <a:pt x="594" y="1386"/>
                  </a:lnTo>
                  <a:lnTo>
                    <a:pt x="594" y="1368"/>
                  </a:lnTo>
                  <a:lnTo>
                    <a:pt x="600" y="1356"/>
                  </a:lnTo>
                  <a:lnTo>
                    <a:pt x="600" y="1326"/>
                  </a:lnTo>
                  <a:lnTo>
                    <a:pt x="594" y="1314"/>
                  </a:lnTo>
                  <a:lnTo>
                    <a:pt x="594" y="1290"/>
                  </a:lnTo>
                  <a:lnTo>
                    <a:pt x="570" y="1266"/>
                  </a:lnTo>
                  <a:lnTo>
                    <a:pt x="570" y="1242"/>
                  </a:lnTo>
                  <a:lnTo>
                    <a:pt x="564" y="1224"/>
                  </a:lnTo>
                  <a:lnTo>
                    <a:pt x="564" y="1194"/>
                  </a:lnTo>
                  <a:lnTo>
                    <a:pt x="558" y="1182"/>
                  </a:lnTo>
                  <a:lnTo>
                    <a:pt x="516" y="1140"/>
                  </a:lnTo>
                  <a:lnTo>
                    <a:pt x="510" y="1128"/>
                  </a:lnTo>
                  <a:lnTo>
                    <a:pt x="504" y="1122"/>
                  </a:lnTo>
                  <a:lnTo>
                    <a:pt x="498" y="1110"/>
                  </a:lnTo>
                  <a:lnTo>
                    <a:pt x="492" y="1104"/>
                  </a:lnTo>
                  <a:lnTo>
                    <a:pt x="492" y="1098"/>
                  </a:lnTo>
                  <a:lnTo>
                    <a:pt x="486" y="1092"/>
                  </a:lnTo>
                  <a:lnTo>
                    <a:pt x="504" y="1056"/>
                  </a:lnTo>
                  <a:lnTo>
                    <a:pt x="510" y="1050"/>
                  </a:lnTo>
                  <a:lnTo>
                    <a:pt x="516" y="1038"/>
                  </a:lnTo>
                  <a:lnTo>
                    <a:pt x="516" y="1014"/>
                  </a:lnTo>
                  <a:lnTo>
                    <a:pt x="510" y="1002"/>
                  </a:lnTo>
                  <a:lnTo>
                    <a:pt x="522" y="1002"/>
                  </a:lnTo>
                  <a:lnTo>
                    <a:pt x="528" y="996"/>
                  </a:lnTo>
                  <a:lnTo>
                    <a:pt x="528" y="978"/>
                  </a:lnTo>
                  <a:lnTo>
                    <a:pt x="522" y="972"/>
                  </a:lnTo>
                  <a:lnTo>
                    <a:pt x="516" y="978"/>
                  </a:lnTo>
                  <a:lnTo>
                    <a:pt x="510" y="978"/>
                  </a:lnTo>
                  <a:lnTo>
                    <a:pt x="504" y="972"/>
                  </a:lnTo>
                  <a:lnTo>
                    <a:pt x="498" y="960"/>
                  </a:lnTo>
                  <a:lnTo>
                    <a:pt x="498" y="942"/>
                  </a:lnTo>
                  <a:lnTo>
                    <a:pt x="504" y="942"/>
                  </a:lnTo>
                  <a:lnTo>
                    <a:pt x="504" y="936"/>
                  </a:lnTo>
                  <a:lnTo>
                    <a:pt x="498" y="930"/>
                  </a:lnTo>
                  <a:lnTo>
                    <a:pt x="486" y="924"/>
                  </a:lnTo>
                  <a:lnTo>
                    <a:pt x="474" y="912"/>
                  </a:lnTo>
                  <a:lnTo>
                    <a:pt x="462" y="906"/>
                  </a:lnTo>
                  <a:lnTo>
                    <a:pt x="444" y="888"/>
                  </a:lnTo>
                  <a:lnTo>
                    <a:pt x="438" y="876"/>
                  </a:lnTo>
                  <a:lnTo>
                    <a:pt x="438" y="870"/>
                  </a:lnTo>
                  <a:lnTo>
                    <a:pt x="432" y="870"/>
                  </a:lnTo>
                  <a:lnTo>
                    <a:pt x="438" y="846"/>
                  </a:lnTo>
                  <a:lnTo>
                    <a:pt x="426" y="840"/>
                  </a:lnTo>
                  <a:lnTo>
                    <a:pt x="402" y="816"/>
                  </a:lnTo>
                  <a:lnTo>
                    <a:pt x="402" y="810"/>
                  </a:lnTo>
                  <a:lnTo>
                    <a:pt x="426" y="810"/>
                  </a:lnTo>
                  <a:lnTo>
                    <a:pt x="426" y="792"/>
                  </a:lnTo>
                  <a:lnTo>
                    <a:pt x="408" y="774"/>
                  </a:lnTo>
                  <a:lnTo>
                    <a:pt x="408" y="768"/>
                  </a:lnTo>
                  <a:lnTo>
                    <a:pt x="414" y="762"/>
                  </a:lnTo>
                  <a:lnTo>
                    <a:pt x="420" y="762"/>
                  </a:lnTo>
                  <a:lnTo>
                    <a:pt x="426" y="756"/>
                  </a:lnTo>
                  <a:lnTo>
                    <a:pt x="426" y="708"/>
                  </a:lnTo>
                  <a:lnTo>
                    <a:pt x="456" y="708"/>
                  </a:lnTo>
                  <a:lnTo>
                    <a:pt x="468" y="714"/>
                  </a:lnTo>
                  <a:lnTo>
                    <a:pt x="480" y="714"/>
                  </a:lnTo>
                  <a:lnTo>
                    <a:pt x="486" y="708"/>
                  </a:lnTo>
                  <a:lnTo>
                    <a:pt x="492" y="696"/>
                  </a:lnTo>
                  <a:lnTo>
                    <a:pt x="498" y="690"/>
                  </a:lnTo>
                  <a:lnTo>
                    <a:pt x="498" y="684"/>
                  </a:lnTo>
                  <a:lnTo>
                    <a:pt x="522" y="684"/>
                  </a:lnTo>
                  <a:lnTo>
                    <a:pt x="528" y="660"/>
                  </a:lnTo>
                  <a:lnTo>
                    <a:pt x="534" y="660"/>
                  </a:lnTo>
                  <a:lnTo>
                    <a:pt x="540" y="654"/>
                  </a:lnTo>
                  <a:lnTo>
                    <a:pt x="564" y="654"/>
                  </a:lnTo>
                  <a:lnTo>
                    <a:pt x="564" y="642"/>
                  </a:lnTo>
                  <a:lnTo>
                    <a:pt x="582" y="624"/>
                  </a:lnTo>
                  <a:lnTo>
                    <a:pt x="594" y="624"/>
                  </a:lnTo>
                  <a:lnTo>
                    <a:pt x="600" y="618"/>
                  </a:lnTo>
                  <a:lnTo>
                    <a:pt x="594" y="612"/>
                  </a:lnTo>
                  <a:lnTo>
                    <a:pt x="600" y="600"/>
                  </a:lnTo>
                  <a:lnTo>
                    <a:pt x="600" y="588"/>
                  </a:lnTo>
                  <a:lnTo>
                    <a:pt x="636" y="570"/>
                  </a:lnTo>
                  <a:lnTo>
                    <a:pt x="636" y="552"/>
                  </a:lnTo>
                  <a:lnTo>
                    <a:pt x="630" y="546"/>
                  </a:lnTo>
                  <a:lnTo>
                    <a:pt x="618" y="546"/>
                  </a:lnTo>
                  <a:lnTo>
                    <a:pt x="600" y="564"/>
                  </a:lnTo>
                  <a:lnTo>
                    <a:pt x="600" y="570"/>
                  </a:lnTo>
                  <a:lnTo>
                    <a:pt x="558" y="570"/>
                  </a:lnTo>
                  <a:lnTo>
                    <a:pt x="558" y="552"/>
                  </a:lnTo>
                  <a:lnTo>
                    <a:pt x="546" y="552"/>
                  </a:lnTo>
                  <a:lnTo>
                    <a:pt x="534" y="522"/>
                  </a:lnTo>
                  <a:lnTo>
                    <a:pt x="480" y="516"/>
                  </a:lnTo>
                  <a:lnTo>
                    <a:pt x="486" y="504"/>
                  </a:lnTo>
                  <a:lnTo>
                    <a:pt x="486" y="498"/>
                  </a:lnTo>
                  <a:lnTo>
                    <a:pt x="492" y="492"/>
                  </a:lnTo>
                  <a:lnTo>
                    <a:pt x="492" y="480"/>
                  </a:lnTo>
                  <a:lnTo>
                    <a:pt x="480" y="468"/>
                  </a:lnTo>
                  <a:lnTo>
                    <a:pt x="486" y="462"/>
                  </a:lnTo>
                  <a:lnTo>
                    <a:pt x="498" y="462"/>
                  </a:lnTo>
                  <a:lnTo>
                    <a:pt x="504" y="456"/>
                  </a:lnTo>
                  <a:lnTo>
                    <a:pt x="504" y="450"/>
                  </a:lnTo>
                  <a:lnTo>
                    <a:pt x="498" y="444"/>
                  </a:lnTo>
                  <a:lnTo>
                    <a:pt x="486" y="438"/>
                  </a:lnTo>
                  <a:lnTo>
                    <a:pt x="456" y="438"/>
                  </a:lnTo>
                  <a:lnTo>
                    <a:pt x="444" y="396"/>
                  </a:lnTo>
                  <a:lnTo>
                    <a:pt x="420" y="378"/>
                  </a:lnTo>
                  <a:lnTo>
                    <a:pt x="450" y="354"/>
                  </a:lnTo>
                  <a:lnTo>
                    <a:pt x="390" y="354"/>
                  </a:lnTo>
                  <a:lnTo>
                    <a:pt x="384" y="360"/>
                  </a:lnTo>
                  <a:lnTo>
                    <a:pt x="372" y="360"/>
                  </a:lnTo>
                  <a:lnTo>
                    <a:pt x="366" y="366"/>
                  </a:lnTo>
                  <a:lnTo>
                    <a:pt x="354" y="372"/>
                  </a:lnTo>
                  <a:lnTo>
                    <a:pt x="366" y="354"/>
                  </a:lnTo>
                  <a:lnTo>
                    <a:pt x="360" y="342"/>
                  </a:lnTo>
                  <a:lnTo>
                    <a:pt x="342" y="324"/>
                  </a:lnTo>
                  <a:lnTo>
                    <a:pt x="342" y="306"/>
                  </a:lnTo>
                  <a:lnTo>
                    <a:pt x="354" y="306"/>
                  </a:lnTo>
                  <a:lnTo>
                    <a:pt x="348" y="276"/>
                  </a:lnTo>
                  <a:lnTo>
                    <a:pt x="360" y="276"/>
                  </a:lnTo>
                  <a:lnTo>
                    <a:pt x="366" y="270"/>
                  </a:lnTo>
                  <a:lnTo>
                    <a:pt x="366" y="234"/>
                  </a:lnTo>
                  <a:lnTo>
                    <a:pt x="372" y="240"/>
                  </a:lnTo>
                  <a:lnTo>
                    <a:pt x="384" y="240"/>
                  </a:lnTo>
                  <a:lnTo>
                    <a:pt x="390" y="234"/>
                  </a:lnTo>
                  <a:lnTo>
                    <a:pt x="396" y="222"/>
                  </a:lnTo>
                  <a:lnTo>
                    <a:pt x="396" y="216"/>
                  </a:lnTo>
                  <a:lnTo>
                    <a:pt x="378" y="198"/>
                  </a:lnTo>
                  <a:lnTo>
                    <a:pt x="390" y="198"/>
                  </a:lnTo>
                  <a:lnTo>
                    <a:pt x="396" y="192"/>
                  </a:lnTo>
                  <a:lnTo>
                    <a:pt x="408" y="192"/>
                  </a:lnTo>
                  <a:lnTo>
                    <a:pt x="396" y="132"/>
                  </a:lnTo>
                  <a:lnTo>
                    <a:pt x="384" y="108"/>
                  </a:lnTo>
                  <a:lnTo>
                    <a:pt x="384" y="78"/>
                  </a:lnTo>
                  <a:lnTo>
                    <a:pt x="378" y="72"/>
                  </a:lnTo>
                  <a:lnTo>
                    <a:pt x="342" y="72"/>
                  </a:lnTo>
                  <a:lnTo>
                    <a:pt x="342" y="66"/>
                  </a:lnTo>
                  <a:lnTo>
                    <a:pt x="336" y="60"/>
                  </a:lnTo>
                  <a:lnTo>
                    <a:pt x="318" y="24"/>
                  </a:lnTo>
                  <a:lnTo>
                    <a:pt x="306" y="18"/>
                  </a:lnTo>
                  <a:lnTo>
                    <a:pt x="300" y="6"/>
                  </a:lnTo>
                  <a:lnTo>
                    <a:pt x="294" y="0"/>
                  </a:lnTo>
                  <a:lnTo>
                    <a:pt x="288" y="0"/>
                  </a:lnTo>
                  <a:lnTo>
                    <a:pt x="282" y="18"/>
                  </a:lnTo>
                  <a:lnTo>
                    <a:pt x="282" y="48"/>
                  </a:lnTo>
                  <a:lnTo>
                    <a:pt x="276" y="48"/>
                  </a:lnTo>
                  <a:lnTo>
                    <a:pt x="270" y="54"/>
                  </a:lnTo>
                  <a:lnTo>
                    <a:pt x="258" y="60"/>
                  </a:lnTo>
                  <a:lnTo>
                    <a:pt x="246" y="72"/>
                  </a:lnTo>
                  <a:lnTo>
                    <a:pt x="252" y="84"/>
                  </a:lnTo>
                  <a:lnTo>
                    <a:pt x="258" y="90"/>
                  </a:lnTo>
                  <a:lnTo>
                    <a:pt x="270" y="96"/>
                  </a:lnTo>
                  <a:lnTo>
                    <a:pt x="276" y="102"/>
                  </a:lnTo>
                  <a:lnTo>
                    <a:pt x="276" y="108"/>
                  </a:lnTo>
                  <a:lnTo>
                    <a:pt x="258" y="108"/>
                  </a:lnTo>
                  <a:lnTo>
                    <a:pt x="252" y="102"/>
                  </a:lnTo>
                  <a:lnTo>
                    <a:pt x="216" y="102"/>
                  </a:lnTo>
                  <a:lnTo>
                    <a:pt x="204" y="108"/>
                  </a:lnTo>
                  <a:lnTo>
                    <a:pt x="198" y="108"/>
                  </a:lnTo>
                  <a:lnTo>
                    <a:pt x="198" y="126"/>
                  </a:lnTo>
                  <a:lnTo>
                    <a:pt x="186" y="138"/>
                  </a:lnTo>
                  <a:lnTo>
                    <a:pt x="174" y="144"/>
                  </a:lnTo>
                  <a:lnTo>
                    <a:pt x="162" y="144"/>
                  </a:lnTo>
                  <a:lnTo>
                    <a:pt x="156" y="150"/>
                  </a:lnTo>
                  <a:lnTo>
                    <a:pt x="150" y="150"/>
                  </a:lnTo>
                  <a:lnTo>
                    <a:pt x="150" y="174"/>
                  </a:lnTo>
                  <a:lnTo>
                    <a:pt x="156" y="180"/>
                  </a:lnTo>
                  <a:lnTo>
                    <a:pt x="156" y="186"/>
                  </a:lnTo>
                  <a:lnTo>
                    <a:pt x="162" y="192"/>
                  </a:lnTo>
                  <a:lnTo>
                    <a:pt x="162" y="204"/>
                  </a:lnTo>
                  <a:lnTo>
                    <a:pt x="144" y="234"/>
                  </a:lnTo>
                  <a:lnTo>
                    <a:pt x="138" y="240"/>
                  </a:lnTo>
                  <a:lnTo>
                    <a:pt x="126" y="246"/>
                  </a:lnTo>
                  <a:lnTo>
                    <a:pt x="126" y="264"/>
                  </a:lnTo>
                  <a:lnTo>
                    <a:pt x="132" y="276"/>
                  </a:lnTo>
                  <a:lnTo>
                    <a:pt x="138" y="282"/>
                  </a:lnTo>
                  <a:lnTo>
                    <a:pt x="120" y="336"/>
                  </a:lnTo>
                  <a:lnTo>
                    <a:pt x="120" y="372"/>
                  </a:lnTo>
                  <a:lnTo>
                    <a:pt x="108" y="372"/>
                  </a:lnTo>
                  <a:lnTo>
                    <a:pt x="96" y="366"/>
                  </a:lnTo>
                  <a:lnTo>
                    <a:pt x="42" y="366"/>
                  </a:lnTo>
                  <a:lnTo>
                    <a:pt x="48" y="366"/>
                  </a:lnTo>
                  <a:lnTo>
                    <a:pt x="66" y="384"/>
                  </a:lnTo>
                  <a:lnTo>
                    <a:pt x="72" y="432"/>
                  </a:lnTo>
                  <a:lnTo>
                    <a:pt x="66" y="432"/>
                  </a:lnTo>
                  <a:lnTo>
                    <a:pt x="48" y="450"/>
                  </a:lnTo>
                  <a:lnTo>
                    <a:pt x="54" y="462"/>
                  </a:lnTo>
                  <a:lnTo>
                    <a:pt x="54" y="486"/>
                  </a:lnTo>
                  <a:lnTo>
                    <a:pt x="72" y="504"/>
                  </a:lnTo>
                  <a:lnTo>
                    <a:pt x="72" y="516"/>
                  </a:lnTo>
                  <a:lnTo>
                    <a:pt x="60" y="516"/>
                  </a:lnTo>
                  <a:lnTo>
                    <a:pt x="54" y="510"/>
                  </a:lnTo>
                  <a:lnTo>
                    <a:pt x="48" y="510"/>
                  </a:lnTo>
                  <a:lnTo>
                    <a:pt x="48" y="534"/>
                  </a:lnTo>
                  <a:lnTo>
                    <a:pt x="30" y="516"/>
                  </a:lnTo>
                  <a:lnTo>
                    <a:pt x="42" y="576"/>
                  </a:lnTo>
                  <a:lnTo>
                    <a:pt x="6" y="570"/>
                  </a:lnTo>
                  <a:lnTo>
                    <a:pt x="6" y="576"/>
                  </a:lnTo>
                  <a:lnTo>
                    <a:pt x="0" y="588"/>
                  </a:lnTo>
                  <a:close/>
                </a:path>
              </a:pathLst>
            </a:custGeom>
            <a:grpFill/>
            <a:ln w="3175">
              <a:solidFill>
                <a:schemeClr val="bg1"/>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de-DE" sz="1800" b="0" i="0" u="none" strike="noStrike" kern="1200" cap="none" spc="0" normalizeH="0" baseline="0" noProof="0">
                <a:ln>
                  <a:noFill/>
                </a:ln>
                <a:solidFill>
                  <a:srgbClr val="FFC000"/>
                </a:solidFill>
                <a:effectLst/>
                <a:uLnTx/>
                <a:uFillTx/>
                <a:latin typeface="Calibri" pitchFamily="34" charset="0"/>
                <a:ea typeface="+mn-ea"/>
                <a:cs typeface="+mn-cs"/>
              </a:endParaRPr>
            </a:p>
          </p:txBody>
        </p:sp>
        <p:sp>
          <p:nvSpPr>
            <p:cNvPr id="84" name="Mozambique" descr="© INSCALE GmbH, 05.05.2010&#10;http://www.presentationload.com/"/>
            <p:cNvSpPr>
              <a:spLocks/>
            </p:cNvSpPr>
            <p:nvPr/>
          </p:nvSpPr>
          <p:spPr bwMode="gray">
            <a:xfrm>
              <a:off x="5158133" y="4567125"/>
              <a:ext cx="247009" cy="415204"/>
            </a:xfrm>
            <a:custGeom>
              <a:avLst/>
              <a:gdLst>
                <a:gd name="T0" fmla="*/ 2147483647 w 762"/>
                <a:gd name="T1" fmla="*/ 2147483647 h 1338"/>
                <a:gd name="T2" fmla="*/ 2147483647 w 762"/>
                <a:gd name="T3" fmla="*/ 2147483647 h 1338"/>
                <a:gd name="T4" fmla="*/ 2147483647 w 762"/>
                <a:gd name="T5" fmla="*/ 2147483647 h 1338"/>
                <a:gd name="T6" fmla="*/ 2147483647 w 762"/>
                <a:gd name="T7" fmla="*/ 2147483647 h 1338"/>
                <a:gd name="T8" fmla="*/ 2147483647 w 762"/>
                <a:gd name="T9" fmla="*/ 2147483647 h 1338"/>
                <a:gd name="T10" fmla="*/ 2147483647 w 762"/>
                <a:gd name="T11" fmla="*/ 2147483647 h 1338"/>
                <a:gd name="T12" fmla="*/ 2147483647 w 762"/>
                <a:gd name="T13" fmla="*/ 2147483647 h 1338"/>
                <a:gd name="T14" fmla="*/ 2147483647 w 762"/>
                <a:gd name="T15" fmla="*/ 2147483647 h 1338"/>
                <a:gd name="T16" fmla="*/ 2147483647 w 762"/>
                <a:gd name="T17" fmla="*/ 2147483647 h 1338"/>
                <a:gd name="T18" fmla="*/ 2147483647 w 762"/>
                <a:gd name="T19" fmla="*/ 2147483647 h 1338"/>
                <a:gd name="T20" fmla="*/ 2147483647 w 762"/>
                <a:gd name="T21" fmla="*/ 2147483647 h 1338"/>
                <a:gd name="T22" fmla="*/ 2147483647 w 762"/>
                <a:gd name="T23" fmla="*/ 2147483647 h 1338"/>
                <a:gd name="T24" fmla="*/ 2147483647 w 762"/>
                <a:gd name="T25" fmla="*/ 2147483647 h 1338"/>
                <a:gd name="T26" fmla="*/ 2147483647 w 762"/>
                <a:gd name="T27" fmla="*/ 2147483647 h 1338"/>
                <a:gd name="T28" fmla="*/ 2147483647 w 762"/>
                <a:gd name="T29" fmla="*/ 2147483647 h 1338"/>
                <a:gd name="T30" fmla="*/ 2147483647 w 762"/>
                <a:gd name="T31" fmla="*/ 2147483647 h 1338"/>
                <a:gd name="T32" fmla="*/ 2147483647 w 762"/>
                <a:gd name="T33" fmla="*/ 2147483647 h 1338"/>
                <a:gd name="T34" fmla="*/ 2147483647 w 762"/>
                <a:gd name="T35" fmla="*/ 2147483647 h 1338"/>
                <a:gd name="T36" fmla="*/ 2147483647 w 762"/>
                <a:gd name="T37" fmla="*/ 2147483647 h 1338"/>
                <a:gd name="T38" fmla="*/ 2147483647 w 762"/>
                <a:gd name="T39" fmla="*/ 2147483647 h 1338"/>
                <a:gd name="T40" fmla="*/ 2147483647 w 762"/>
                <a:gd name="T41" fmla="*/ 2147483647 h 1338"/>
                <a:gd name="T42" fmla="*/ 2147483647 w 762"/>
                <a:gd name="T43" fmla="*/ 2147483647 h 1338"/>
                <a:gd name="T44" fmla="*/ 2147483647 w 762"/>
                <a:gd name="T45" fmla="*/ 2147483647 h 1338"/>
                <a:gd name="T46" fmla="*/ 2147483647 w 762"/>
                <a:gd name="T47" fmla="*/ 2147483647 h 1338"/>
                <a:gd name="T48" fmla="*/ 2147483647 w 762"/>
                <a:gd name="T49" fmla="*/ 2147483647 h 1338"/>
                <a:gd name="T50" fmla="*/ 2147483647 w 762"/>
                <a:gd name="T51" fmla="*/ 2147483647 h 1338"/>
                <a:gd name="T52" fmla="*/ 2147483647 w 762"/>
                <a:gd name="T53" fmla="*/ 2147483647 h 1338"/>
                <a:gd name="T54" fmla="*/ 2147483647 w 762"/>
                <a:gd name="T55" fmla="*/ 2147483647 h 1338"/>
                <a:gd name="T56" fmla="*/ 0 w 762"/>
                <a:gd name="T57" fmla="*/ 2147483647 h 1338"/>
                <a:gd name="T58" fmla="*/ 2147483647 w 762"/>
                <a:gd name="T59" fmla="*/ 2147483647 h 1338"/>
                <a:gd name="T60" fmla="*/ 2147483647 w 762"/>
                <a:gd name="T61" fmla="*/ 2147483647 h 1338"/>
                <a:gd name="T62" fmla="*/ 2147483647 w 762"/>
                <a:gd name="T63" fmla="*/ 2147483647 h 1338"/>
                <a:gd name="T64" fmla="*/ 2147483647 w 762"/>
                <a:gd name="T65" fmla="*/ 2147483647 h 1338"/>
                <a:gd name="T66" fmla="*/ 2147483647 w 762"/>
                <a:gd name="T67" fmla="*/ 2147483647 h 1338"/>
                <a:gd name="T68" fmla="*/ 2147483647 w 762"/>
                <a:gd name="T69" fmla="*/ 2147483647 h 1338"/>
                <a:gd name="T70" fmla="*/ 2147483647 w 762"/>
                <a:gd name="T71" fmla="*/ 2147483647 h 1338"/>
                <a:gd name="T72" fmla="*/ 2147483647 w 762"/>
                <a:gd name="T73" fmla="*/ 2147483647 h 1338"/>
                <a:gd name="T74" fmla="*/ 2147483647 w 762"/>
                <a:gd name="T75" fmla="*/ 2147483647 h 1338"/>
                <a:gd name="T76" fmla="*/ 2147483647 w 762"/>
                <a:gd name="T77" fmla="*/ 2147483647 h 1338"/>
                <a:gd name="T78" fmla="*/ 2147483647 w 762"/>
                <a:gd name="T79" fmla="*/ 2147483647 h 1338"/>
                <a:gd name="T80" fmla="*/ 2147483647 w 762"/>
                <a:gd name="T81" fmla="*/ 2147483647 h 1338"/>
                <a:gd name="T82" fmla="*/ 2147483647 w 762"/>
                <a:gd name="T83" fmla="*/ 2147483647 h 1338"/>
                <a:gd name="T84" fmla="*/ 2147483647 w 762"/>
                <a:gd name="T85" fmla="*/ 2147483647 h 1338"/>
                <a:gd name="T86" fmla="*/ 2147483647 w 762"/>
                <a:gd name="T87" fmla="*/ 2147483647 h 1338"/>
                <a:gd name="T88" fmla="*/ 2147483647 w 762"/>
                <a:gd name="T89" fmla="*/ 2147483647 h 1338"/>
                <a:gd name="T90" fmla="*/ 2147483647 w 762"/>
                <a:gd name="T91" fmla="*/ 2147483647 h 1338"/>
                <a:gd name="T92" fmla="*/ 2147483647 w 762"/>
                <a:gd name="T93" fmla="*/ 2147483647 h 1338"/>
                <a:gd name="T94" fmla="*/ 2147483647 w 762"/>
                <a:gd name="T95" fmla="*/ 2147483647 h 1338"/>
                <a:gd name="T96" fmla="*/ 2147483647 w 762"/>
                <a:gd name="T97" fmla="*/ 2147483647 h 1338"/>
                <a:gd name="T98" fmla="*/ 2147483647 w 762"/>
                <a:gd name="T99" fmla="*/ 2147483647 h 1338"/>
                <a:gd name="T100" fmla="*/ 2147483647 w 762"/>
                <a:gd name="T101" fmla="*/ 2147483647 h 1338"/>
                <a:gd name="T102" fmla="*/ 2147483647 w 762"/>
                <a:gd name="T103" fmla="*/ 2147483647 h 1338"/>
                <a:gd name="T104" fmla="*/ 2147483647 w 762"/>
                <a:gd name="T105" fmla="*/ 2147483647 h 1338"/>
                <a:gd name="T106" fmla="*/ 2147483647 w 762"/>
                <a:gd name="T107" fmla="*/ 2147483647 h 1338"/>
                <a:gd name="T108" fmla="*/ 2147483647 w 762"/>
                <a:gd name="T109" fmla="*/ 2147483647 h 1338"/>
                <a:gd name="T110" fmla="*/ 2147483647 w 762"/>
                <a:gd name="T111" fmla="*/ 2147483647 h 1338"/>
                <a:gd name="T112" fmla="*/ 2147483647 w 762"/>
                <a:gd name="T113" fmla="*/ 2147483647 h 1338"/>
                <a:gd name="T114" fmla="*/ 2147483647 w 762"/>
                <a:gd name="T115" fmla="*/ 2147483647 h 1338"/>
                <a:gd name="T116" fmla="*/ 2147483647 w 762"/>
                <a:gd name="T117" fmla="*/ 2147483647 h 1338"/>
                <a:gd name="T118" fmla="*/ 2147483647 w 762"/>
                <a:gd name="T119" fmla="*/ 2147483647 h 1338"/>
                <a:gd name="T120" fmla="*/ 2147483647 w 762"/>
                <a:gd name="T121" fmla="*/ 2147483647 h 1338"/>
                <a:gd name="T122" fmla="*/ 2147483647 w 762"/>
                <a:gd name="T123" fmla="*/ 2147483647 h 133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762"/>
                <a:gd name="T187" fmla="*/ 0 h 1338"/>
                <a:gd name="T188" fmla="*/ 762 w 762"/>
                <a:gd name="T189" fmla="*/ 1338 h 1338"/>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762" h="1338">
                  <a:moveTo>
                    <a:pt x="762" y="342"/>
                  </a:moveTo>
                  <a:lnTo>
                    <a:pt x="762" y="324"/>
                  </a:lnTo>
                  <a:lnTo>
                    <a:pt x="756" y="318"/>
                  </a:lnTo>
                  <a:lnTo>
                    <a:pt x="744" y="318"/>
                  </a:lnTo>
                  <a:lnTo>
                    <a:pt x="744" y="258"/>
                  </a:lnTo>
                  <a:lnTo>
                    <a:pt x="732" y="246"/>
                  </a:lnTo>
                  <a:lnTo>
                    <a:pt x="750" y="234"/>
                  </a:lnTo>
                  <a:lnTo>
                    <a:pt x="738" y="186"/>
                  </a:lnTo>
                  <a:lnTo>
                    <a:pt x="750" y="156"/>
                  </a:lnTo>
                  <a:lnTo>
                    <a:pt x="738" y="120"/>
                  </a:lnTo>
                  <a:lnTo>
                    <a:pt x="738" y="108"/>
                  </a:lnTo>
                  <a:lnTo>
                    <a:pt x="750" y="72"/>
                  </a:lnTo>
                  <a:lnTo>
                    <a:pt x="756" y="42"/>
                  </a:lnTo>
                  <a:lnTo>
                    <a:pt x="756" y="12"/>
                  </a:lnTo>
                  <a:lnTo>
                    <a:pt x="744" y="0"/>
                  </a:lnTo>
                  <a:lnTo>
                    <a:pt x="666" y="54"/>
                  </a:lnTo>
                  <a:lnTo>
                    <a:pt x="636" y="60"/>
                  </a:lnTo>
                  <a:lnTo>
                    <a:pt x="630" y="60"/>
                  </a:lnTo>
                  <a:lnTo>
                    <a:pt x="618" y="72"/>
                  </a:lnTo>
                  <a:lnTo>
                    <a:pt x="606" y="78"/>
                  </a:lnTo>
                  <a:lnTo>
                    <a:pt x="594" y="78"/>
                  </a:lnTo>
                  <a:lnTo>
                    <a:pt x="594" y="72"/>
                  </a:lnTo>
                  <a:lnTo>
                    <a:pt x="588" y="66"/>
                  </a:lnTo>
                  <a:lnTo>
                    <a:pt x="564" y="66"/>
                  </a:lnTo>
                  <a:lnTo>
                    <a:pt x="558" y="72"/>
                  </a:lnTo>
                  <a:lnTo>
                    <a:pt x="552" y="84"/>
                  </a:lnTo>
                  <a:lnTo>
                    <a:pt x="540" y="90"/>
                  </a:lnTo>
                  <a:lnTo>
                    <a:pt x="528" y="102"/>
                  </a:lnTo>
                  <a:lnTo>
                    <a:pt x="510" y="102"/>
                  </a:lnTo>
                  <a:lnTo>
                    <a:pt x="498" y="96"/>
                  </a:lnTo>
                  <a:lnTo>
                    <a:pt x="492" y="90"/>
                  </a:lnTo>
                  <a:lnTo>
                    <a:pt x="486" y="90"/>
                  </a:lnTo>
                  <a:lnTo>
                    <a:pt x="468" y="108"/>
                  </a:lnTo>
                  <a:lnTo>
                    <a:pt x="456" y="108"/>
                  </a:lnTo>
                  <a:lnTo>
                    <a:pt x="450" y="102"/>
                  </a:lnTo>
                  <a:lnTo>
                    <a:pt x="438" y="96"/>
                  </a:lnTo>
                  <a:lnTo>
                    <a:pt x="432" y="84"/>
                  </a:lnTo>
                  <a:lnTo>
                    <a:pt x="420" y="78"/>
                  </a:lnTo>
                  <a:lnTo>
                    <a:pt x="408" y="78"/>
                  </a:lnTo>
                  <a:lnTo>
                    <a:pt x="396" y="90"/>
                  </a:lnTo>
                  <a:lnTo>
                    <a:pt x="390" y="90"/>
                  </a:lnTo>
                  <a:lnTo>
                    <a:pt x="384" y="96"/>
                  </a:lnTo>
                  <a:lnTo>
                    <a:pt x="354" y="96"/>
                  </a:lnTo>
                  <a:lnTo>
                    <a:pt x="354" y="114"/>
                  </a:lnTo>
                  <a:lnTo>
                    <a:pt x="330" y="138"/>
                  </a:lnTo>
                  <a:lnTo>
                    <a:pt x="330" y="150"/>
                  </a:lnTo>
                  <a:lnTo>
                    <a:pt x="342" y="162"/>
                  </a:lnTo>
                  <a:lnTo>
                    <a:pt x="348" y="174"/>
                  </a:lnTo>
                  <a:lnTo>
                    <a:pt x="348" y="204"/>
                  </a:lnTo>
                  <a:lnTo>
                    <a:pt x="342" y="216"/>
                  </a:lnTo>
                  <a:lnTo>
                    <a:pt x="336" y="234"/>
                  </a:lnTo>
                  <a:lnTo>
                    <a:pt x="336" y="246"/>
                  </a:lnTo>
                  <a:lnTo>
                    <a:pt x="342" y="246"/>
                  </a:lnTo>
                  <a:lnTo>
                    <a:pt x="342" y="252"/>
                  </a:lnTo>
                  <a:lnTo>
                    <a:pt x="348" y="252"/>
                  </a:lnTo>
                  <a:lnTo>
                    <a:pt x="372" y="276"/>
                  </a:lnTo>
                  <a:lnTo>
                    <a:pt x="384" y="300"/>
                  </a:lnTo>
                  <a:lnTo>
                    <a:pt x="390" y="306"/>
                  </a:lnTo>
                  <a:lnTo>
                    <a:pt x="396" y="318"/>
                  </a:lnTo>
                  <a:lnTo>
                    <a:pt x="408" y="336"/>
                  </a:lnTo>
                  <a:lnTo>
                    <a:pt x="420" y="348"/>
                  </a:lnTo>
                  <a:lnTo>
                    <a:pt x="420" y="366"/>
                  </a:lnTo>
                  <a:lnTo>
                    <a:pt x="414" y="372"/>
                  </a:lnTo>
                  <a:lnTo>
                    <a:pt x="408" y="384"/>
                  </a:lnTo>
                  <a:lnTo>
                    <a:pt x="402" y="390"/>
                  </a:lnTo>
                  <a:lnTo>
                    <a:pt x="402" y="450"/>
                  </a:lnTo>
                  <a:lnTo>
                    <a:pt x="396" y="456"/>
                  </a:lnTo>
                  <a:lnTo>
                    <a:pt x="372" y="456"/>
                  </a:lnTo>
                  <a:lnTo>
                    <a:pt x="360" y="462"/>
                  </a:lnTo>
                  <a:lnTo>
                    <a:pt x="354" y="474"/>
                  </a:lnTo>
                  <a:lnTo>
                    <a:pt x="354" y="492"/>
                  </a:lnTo>
                  <a:lnTo>
                    <a:pt x="360" y="492"/>
                  </a:lnTo>
                  <a:lnTo>
                    <a:pt x="366" y="498"/>
                  </a:lnTo>
                  <a:lnTo>
                    <a:pt x="366" y="528"/>
                  </a:lnTo>
                  <a:lnTo>
                    <a:pt x="354" y="534"/>
                  </a:lnTo>
                  <a:lnTo>
                    <a:pt x="348" y="540"/>
                  </a:lnTo>
                  <a:lnTo>
                    <a:pt x="342" y="534"/>
                  </a:lnTo>
                  <a:lnTo>
                    <a:pt x="342" y="522"/>
                  </a:lnTo>
                  <a:lnTo>
                    <a:pt x="348" y="516"/>
                  </a:lnTo>
                  <a:lnTo>
                    <a:pt x="348" y="504"/>
                  </a:lnTo>
                  <a:lnTo>
                    <a:pt x="336" y="498"/>
                  </a:lnTo>
                  <a:lnTo>
                    <a:pt x="330" y="492"/>
                  </a:lnTo>
                  <a:lnTo>
                    <a:pt x="318" y="486"/>
                  </a:lnTo>
                  <a:lnTo>
                    <a:pt x="312" y="480"/>
                  </a:lnTo>
                  <a:lnTo>
                    <a:pt x="300" y="474"/>
                  </a:lnTo>
                  <a:lnTo>
                    <a:pt x="300" y="444"/>
                  </a:lnTo>
                  <a:lnTo>
                    <a:pt x="288" y="444"/>
                  </a:lnTo>
                  <a:lnTo>
                    <a:pt x="288" y="438"/>
                  </a:lnTo>
                  <a:lnTo>
                    <a:pt x="294" y="432"/>
                  </a:lnTo>
                  <a:lnTo>
                    <a:pt x="306" y="426"/>
                  </a:lnTo>
                  <a:lnTo>
                    <a:pt x="312" y="420"/>
                  </a:lnTo>
                  <a:lnTo>
                    <a:pt x="300" y="402"/>
                  </a:lnTo>
                  <a:lnTo>
                    <a:pt x="312" y="396"/>
                  </a:lnTo>
                  <a:lnTo>
                    <a:pt x="318" y="366"/>
                  </a:lnTo>
                  <a:lnTo>
                    <a:pt x="312" y="366"/>
                  </a:lnTo>
                  <a:lnTo>
                    <a:pt x="312" y="330"/>
                  </a:lnTo>
                  <a:lnTo>
                    <a:pt x="306" y="324"/>
                  </a:lnTo>
                  <a:lnTo>
                    <a:pt x="288" y="324"/>
                  </a:lnTo>
                  <a:lnTo>
                    <a:pt x="282" y="330"/>
                  </a:lnTo>
                  <a:lnTo>
                    <a:pt x="252" y="330"/>
                  </a:lnTo>
                  <a:lnTo>
                    <a:pt x="222" y="282"/>
                  </a:lnTo>
                  <a:lnTo>
                    <a:pt x="216" y="282"/>
                  </a:lnTo>
                  <a:lnTo>
                    <a:pt x="210" y="288"/>
                  </a:lnTo>
                  <a:lnTo>
                    <a:pt x="192" y="294"/>
                  </a:lnTo>
                  <a:lnTo>
                    <a:pt x="180" y="300"/>
                  </a:lnTo>
                  <a:lnTo>
                    <a:pt x="162" y="312"/>
                  </a:lnTo>
                  <a:lnTo>
                    <a:pt x="138" y="324"/>
                  </a:lnTo>
                  <a:lnTo>
                    <a:pt x="132" y="324"/>
                  </a:lnTo>
                  <a:lnTo>
                    <a:pt x="120" y="330"/>
                  </a:lnTo>
                  <a:lnTo>
                    <a:pt x="102" y="336"/>
                  </a:lnTo>
                  <a:lnTo>
                    <a:pt x="84" y="336"/>
                  </a:lnTo>
                  <a:lnTo>
                    <a:pt x="72" y="342"/>
                  </a:lnTo>
                  <a:lnTo>
                    <a:pt x="60" y="342"/>
                  </a:lnTo>
                  <a:lnTo>
                    <a:pt x="42" y="360"/>
                  </a:lnTo>
                  <a:lnTo>
                    <a:pt x="12" y="360"/>
                  </a:lnTo>
                  <a:lnTo>
                    <a:pt x="0" y="372"/>
                  </a:lnTo>
                  <a:lnTo>
                    <a:pt x="18" y="390"/>
                  </a:lnTo>
                  <a:lnTo>
                    <a:pt x="24" y="444"/>
                  </a:lnTo>
                  <a:lnTo>
                    <a:pt x="84" y="444"/>
                  </a:lnTo>
                  <a:lnTo>
                    <a:pt x="96" y="462"/>
                  </a:lnTo>
                  <a:lnTo>
                    <a:pt x="114" y="462"/>
                  </a:lnTo>
                  <a:lnTo>
                    <a:pt x="132" y="486"/>
                  </a:lnTo>
                  <a:lnTo>
                    <a:pt x="138" y="486"/>
                  </a:lnTo>
                  <a:lnTo>
                    <a:pt x="150" y="480"/>
                  </a:lnTo>
                  <a:lnTo>
                    <a:pt x="162" y="480"/>
                  </a:lnTo>
                  <a:lnTo>
                    <a:pt x="180" y="498"/>
                  </a:lnTo>
                  <a:lnTo>
                    <a:pt x="192" y="498"/>
                  </a:lnTo>
                  <a:lnTo>
                    <a:pt x="204" y="510"/>
                  </a:lnTo>
                  <a:lnTo>
                    <a:pt x="204" y="516"/>
                  </a:lnTo>
                  <a:lnTo>
                    <a:pt x="198" y="528"/>
                  </a:lnTo>
                  <a:lnTo>
                    <a:pt x="192" y="534"/>
                  </a:lnTo>
                  <a:lnTo>
                    <a:pt x="204" y="552"/>
                  </a:lnTo>
                  <a:lnTo>
                    <a:pt x="192" y="564"/>
                  </a:lnTo>
                  <a:lnTo>
                    <a:pt x="204" y="576"/>
                  </a:lnTo>
                  <a:lnTo>
                    <a:pt x="198" y="582"/>
                  </a:lnTo>
                  <a:lnTo>
                    <a:pt x="198" y="588"/>
                  </a:lnTo>
                  <a:lnTo>
                    <a:pt x="192" y="594"/>
                  </a:lnTo>
                  <a:lnTo>
                    <a:pt x="192" y="606"/>
                  </a:lnTo>
                  <a:lnTo>
                    <a:pt x="204" y="630"/>
                  </a:lnTo>
                  <a:lnTo>
                    <a:pt x="204" y="642"/>
                  </a:lnTo>
                  <a:lnTo>
                    <a:pt x="198" y="648"/>
                  </a:lnTo>
                  <a:lnTo>
                    <a:pt x="198" y="654"/>
                  </a:lnTo>
                  <a:lnTo>
                    <a:pt x="192" y="654"/>
                  </a:lnTo>
                  <a:lnTo>
                    <a:pt x="192" y="666"/>
                  </a:lnTo>
                  <a:lnTo>
                    <a:pt x="174" y="678"/>
                  </a:lnTo>
                  <a:lnTo>
                    <a:pt x="192" y="702"/>
                  </a:lnTo>
                  <a:lnTo>
                    <a:pt x="174" y="720"/>
                  </a:lnTo>
                  <a:lnTo>
                    <a:pt x="174" y="732"/>
                  </a:lnTo>
                  <a:lnTo>
                    <a:pt x="198" y="756"/>
                  </a:lnTo>
                  <a:lnTo>
                    <a:pt x="198" y="762"/>
                  </a:lnTo>
                  <a:lnTo>
                    <a:pt x="192" y="774"/>
                  </a:lnTo>
                  <a:lnTo>
                    <a:pt x="180" y="786"/>
                  </a:lnTo>
                  <a:lnTo>
                    <a:pt x="180" y="798"/>
                  </a:lnTo>
                  <a:lnTo>
                    <a:pt x="168" y="810"/>
                  </a:lnTo>
                  <a:lnTo>
                    <a:pt x="156" y="816"/>
                  </a:lnTo>
                  <a:lnTo>
                    <a:pt x="156" y="846"/>
                  </a:lnTo>
                  <a:lnTo>
                    <a:pt x="144" y="858"/>
                  </a:lnTo>
                  <a:lnTo>
                    <a:pt x="156" y="876"/>
                  </a:lnTo>
                  <a:lnTo>
                    <a:pt x="138" y="882"/>
                  </a:lnTo>
                  <a:lnTo>
                    <a:pt x="72" y="966"/>
                  </a:lnTo>
                  <a:lnTo>
                    <a:pt x="72" y="996"/>
                  </a:lnTo>
                  <a:lnTo>
                    <a:pt x="78" y="1014"/>
                  </a:lnTo>
                  <a:lnTo>
                    <a:pt x="78" y="1032"/>
                  </a:lnTo>
                  <a:lnTo>
                    <a:pt x="84" y="1044"/>
                  </a:lnTo>
                  <a:lnTo>
                    <a:pt x="84" y="1062"/>
                  </a:lnTo>
                  <a:lnTo>
                    <a:pt x="114" y="1122"/>
                  </a:lnTo>
                  <a:lnTo>
                    <a:pt x="114" y="1212"/>
                  </a:lnTo>
                  <a:lnTo>
                    <a:pt x="90" y="1248"/>
                  </a:lnTo>
                  <a:lnTo>
                    <a:pt x="114" y="1248"/>
                  </a:lnTo>
                  <a:lnTo>
                    <a:pt x="108" y="1260"/>
                  </a:lnTo>
                  <a:lnTo>
                    <a:pt x="108" y="1284"/>
                  </a:lnTo>
                  <a:lnTo>
                    <a:pt x="114" y="1290"/>
                  </a:lnTo>
                  <a:lnTo>
                    <a:pt x="120" y="1290"/>
                  </a:lnTo>
                  <a:lnTo>
                    <a:pt x="126" y="1314"/>
                  </a:lnTo>
                  <a:lnTo>
                    <a:pt x="144" y="1314"/>
                  </a:lnTo>
                  <a:lnTo>
                    <a:pt x="156" y="1326"/>
                  </a:lnTo>
                  <a:lnTo>
                    <a:pt x="162" y="1338"/>
                  </a:lnTo>
                  <a:lnTo>
                    <a:pt x="168" y="1320"/>
                  </a:lnTo>
                  <a:lnTo>
                    <a:pt x="168" y="1284"/>
                  </a:lnTo>
                  <a:lnTo>
                    <a:pt x="162" y="1272"/>
                  </a:lnTo>
                  <a:lnTo>
                    <a:pt x="156" y="1266"/>
                  </a:lnTo>
                  <a:lnTo>
                    <a:pt x="150" y="1266"/>
                  </a:lnTo>
                  <a:lnTo>
                    <a:pt x="150" y="1242"/>
                  </a:lnTo>
                  <a:lnTo>
                    <a:pt x="162" y="1230"/>
                  </a:lnTo>
                  <a:lnTo>
                    <a:pt x="222" y="1188"/>
                  </a:lnTo>
                  <a:lnTo>
                    <a:pt x="276" y="1158"/>
                  </a:lnTo>
                  <a:lnTo>
                    <a:pt x="294" y="1146"/>
                  </a:lnTo>
                  <a:lnTo>
                    <a:pt x="312" y="1140"/>
                  </a:lnTo>
                  <a:lnTo>
                    <a:pt x="330" y="1128"/>
                  </a:lnTo>
                  <a:lnTo>
                    <a:pt x="342" y="1122"/>
                  </a:lnTo>
                  <a:lnTo>
                    <a:pt x="360" y="1104"/>
                  </a:lnTo>
                  <a:lnTo>
                    <a:pt x="360" y="1080"/>
                  </a:lnTo>
                  <a:lnTo>
                    <a:pt x="354" y="1080"/>
                  </a:lnTo>
                  <a:lnTo>
                    <a:pt x="354" y="1086"/>
                  </a:lnTo>
                  <a:lnTo>
                    <a:pt x="348" y="1080"/>
                  </a:lnTo>
                  <a:lnTo>
                    <a:pt x="342" y="1080"/>
                  </a:lnTo>
                  <a:lnTo>
                    <a:pt x="342" y="1068"/>
                  </a:lnTo>
                  <a:lnTo>
                    <a:pt x="366" y="1020"/>
                  </a:lnTo>
                  <a:lnTo>
                    <a:pt x="366" y="990"/>
                  </a:lnTo>
                  <a:lnTo>
                    <a:pt x="360" y="984"/>
                  </a:lnTo>
                  <a:lnTo>
                    <a:pt x="360" y="978"/>
                  </a:lnTo>
                  <a:lnTo>
                    <a:pt x="372" y="948"/>
                  </a:lnTo>
                  <a:lnTo>
                    <a:pt x="366" y="942"/>
                  </a:lnTo>
                  <a:lnTo>
                    <a:pt x="348" y="960"/>
                  </a:lnTo>
                  <a:lnTo>
                    <a:pt x="354" y="918"/>
                  </a:lnTo>
                  <a:lnTo>
                    <a:pt x="348" y="906"/>
                  </a:lnTo>
                  <a:lnTo>
                    <a:pt x="336" y="900"/>
                  </a:lnTo>
                  <a:lnTo>
                    <a:pt x="330" y="888"/>
                  </a:lnTo>
                  <a:lnTo>
                    <a:pt x="330" y="870"/>
                  </a:lnTo>
                  <a:lnTo>
                    <a:pt x="336" y="858"/>
                  </a:lnTo>
                  <a:lnTo>
                    <a:pt x="336" y="834"/>
                  </a:lnTo>
                  <a:lnTo>
                    <a:pt x="324" y="822"/>
                  </a:lnTo>
                  <a:lnTo>
                    <a:pt x="318" y="822"/>
                  </a:lnTo>
                  <a:lnTo>
                    <a:pt x="312" y="816"/>
                  </a:lnTo>
                  <a:lnTo>
                    <a:pt x="312" y="792"/>
                  </a:lnTo>
                  <a:lnTo>
                    <a:pt x="318" y="780"/>
                  </a:lnTo>
                  <a:lnTo>
                    <a:pt x="324" y="762"/>
                  </a:lnTo>
                  <a:lnTo>
                    <a:pt x="336" y="750"/>
                  </a:lnTo>
                  <a:lnTo>
                    <a:pt x="372" y="732"/>
                  </a:lnTo>
                  <a:lnTo>
                    <a:pt x="378" y="726"/>
                  </a:lnTo>
                  <a:lnTo>
                    <a:pt x="378" y="714"/>
                  </a:lnTo>
                  <a:lnTo>
                    <a:pt x="390" y="690"/>
                  </a:lnTo>
                  <a:lnTo>
                    <a:pt x="396" y="684"/>
                  </a:lnTo>
                  <a:lnTo>
                    <a:pt x="402" y="684"/>
                  </a:lnTo>
                  <a:lnTo>
                    <a:pt x="414" y="678"/>
                  </a:lnTo>
                  <a:lnTo>
                    <a:pt x="420" y="678"/>
                  </a:lnTo>
                  <a:lnTo>
                    <a:pt x="426" y="672"/>
                  </a:lnTo>
                  <a:lnTo>
                    <a:pt x="450" y="660"/>
                  </a:lnTo>
                  <a:lnTo>
                    <a:pt x="462" y="648"/>
                  </a:lnTo>
                  <a:lnTo>
                    <a:pt x="474" y="612"/>
                  </a:lnTo>
                  <a:lnTo>
                    <a:pt x="498" y="576"/>
                  </a:lnTo>
                  <a:lnTo>
                    <a:pt x="522" y="564"/>
                  </a:lnTo>
                  <a:lnTo>
                    <a:pt x="558" y="552"/>
                  </a:lnTo>
                  <a:lnTo>
                    <a:pt x="600" y="534"/>
                  </a:lnTo>
                  <a:lnTo>
                    <a:pt x="624" y="522"/>
                  </a:lnTo>
                  <a:lnTo>
                    <a:pt x="630" y="516"/>
                  </a:lnTo>
                  <a:lnTo>
                    <a:pt x="666" y="498"/>
                  </a:lnTo>
                  <a:lnTo>
                    <a:pt x="672" y="492"/>
                  </a:lnTo>
                  <a:lnTo>
                    <a:pt x="684" y="486"/>
                  </a:lnTo>
                  <a:lnTo>
                    <a:pt x="684" y="474"/>
                  </a:lnTo>
                  <a:lnTo>
                    <a:pt x="714" y="444"/>
                  </a:lnTo>
                  <a:lnTo>
                    <a:pt x="714" y="432"/>
                  </a:lnTo>
                  <a:lnTo>
                    <a:pt x="720" y="420"/>
                  </a:lnTo>
                  <a:lnTo>
                    <a:pt x="732" y="414"/>
                  </a:lnTo>
                  <a:lnTo>
                    <a:pt x="738" y="402"/>
                  </a:lnTo>
                  <a:lnTo>
                    <a:pt x="744" y="396"/>
                  </a:lnTo>
                  <a:lnTo>
                    <a:pt x="744" y="378"/>
                  </a:lnTo>
                  <a:lnTo>
                    <a:pt x="750" y="372"/>
                  </a:lnTo>
                  <a:lnTo>
                    <a:pt x="762" y="348"/>
                  </a:lnTo>
                  <a:lnTo>
                    <a:pt x="762" y="342"/>
                  </a:lnTo>
                  <a:close/>
                </a:path>
              </a:pathLst>
            </a:custGeom>
            <a:grpFill/>
            <a:ln w="3175">
              <a:solidFill>
                <a:schemeClr val="bg1"/>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de-DE" sz="1800" b="0" i="0" u="none" strike="noStrike" kern="1200" cap="none" spc="0" normalizeH="0" baseline="0" noProof="0">
                <a:ln>
                  <a:noFill/>
                </a:ln>
                <a:solidFill>
                  <a:srgbClr val="FFC000"/>
                </a:solidFill>
                <a:effectLst/>
                <a:uLnTx/>
                <a:uFillTx/>
                <a:latin typeface="Calibri" pitchFamily="34" charset="0"/>
                <a:ea typeface="+mn-ea"/>
                <a:cs typeface="+mn-cs"/>
              </a:endParaRPr>
            </a:p>
          </p:txBody>
        </p:sp>
        <p:sp>
          <p:nvSpPr>
            <p:cNvPr id="85" name="Morocco" descr="© INSCALE GmbH, 05.05.2010&#10;http://www.presentationload.com/"/>
            <p:cNvSpPr>
              <a:spLocks/>
            </p:cNvSpPr>
            <p:nvPr/>
          </p:nvSpPr>
          <p:spPr bwMode="gray">
            <a:xfrm>
              <a:off x="4179055" y="3407249"/>
              <a:ext cx="276445" cy="204540"/>
            </a:xfrm>
            <a:custGeom>
              <a:avLst/>
              <a:gdLst>
                <a:gd name="T0" fmla="*/ 2147483647 w 846"/>
                <a:gd name="T1" fmla="*/ 2147483647 h 660"/>
                <a:gd name="T2" fmla="*/ 2147483647 w 846"/>
                <a:gd name="T3" fmla="*/ 2147483647 h 660"/>
                <a:gd name="T4" fmla="*/ 2147483647 w 846"/>
                <a:gd name="T5" fmla="*/ 2147483647 h 660"/>
                <a:gd name="T6" fmla="*/ 2147483647 w 846"/>
                <a:gd name="T7" fmla="*/ 2147483647 h 660"/>
                <a:gd name="T8" fmla="*/ 2147483647 w 846"/>
                <a:gd name="T9" fmla="*/ 2147483647 h 660"/>
                <a:gd name="T10" fmla="*/ 2147483647 w 846"/>
                <a:gd name="T11" fmla="*/ 2147483647 h 660"/>
                <a:gd name="T12" fmla="*/ 2147483647 w 846"/>
                <a:gd name="T13" fmla="*/ 2147483647 h 660"/>
                <a:gd name="T14" fmla="*/ 2147483647 w 846"/>
                <a:gd name="T15" fmla="*/ 2147483647 h 660"/>
                <a:gd name="T16" fmla="*/ 2147483647 w 846"/>
                <a:gd name="T17" fmla="*/ 2147483647 h 660"/>
                <a:gd name="T18" fmla="*/ 2147483647 w 846"/>
                <a:gd name="T19" fmla="*/ 0 h 660"/>
                <a:gd name="T20" fmla="*/ 2147483647 w 846"/>
                <a:gd name="T21" fmla="*/ 2147483647 h 660"/>
                <a:gd name="T22" fmla="*/ 2147483647 w 846"/>
                <a:gd name="T23" fmla="*/ 2147483647 h 660"/>
                <a:gd name="T24" fmla="*/ 2147483647 w 846"/>
                <a:gd name="T25" fmla="*/ 2147483647 h 660"/>
                <a:gd name="T26" fmla="*/ 2147483647 w 846"/>
                <a:gd name="T27" fmla="*/ 2147483647 h 660"/>
                <a:gd name="T28" fmla="*/ 2147483647 w 846"/>
                <a:gd name="T29" fmla="*/ 2147483647 h 660"/>
                <a:gd name="T30" fmla="*/ 2147483647 w 846"/>
                <a:gd name="T31" fmla="*/ 2147483647 h 660"/>
                <a:gd name="T32" fmla="*/ 2147483647 w 846"/>
                <a:gd name="T33" fmla="*/ 2147483647 h 660"/>
                <a:gd name="T34" fmla="*/ 2147483647 w 846"/>
                <a:gd name="T35" fmla="*/ 2147483647 h 660"/>
                <a:gd name="T36" fmla="*/ 2147483647 w 846"/>
                <a:gd name="T37" fmla="*/ 2147483647 h 660"/>
                <a:gd name="T38" fmla="*/ 2147483647 w 846"/>
                <a:gd name="T39" fmla="*/ 2147483647 h 660"/>
                <a:gd name="T40" fmla="*/ 2147483647 w 846"/>
                <a:gd name="T41" fmla="*/ 2147483647 h 660"/>
                <a:gd name="T42" fmla="*/ 2147483647 w 846"/>
                <a:gd name="T43" fmla="*/ 2147483647 h 660"/>
                <a:gd name="T44" fmla="*/ 2147483647 w 846"/>
                <a:gd name="T45" fmla="*/ 2147483647 h 660"/>
                <a:gd name="T46" fmla="*/ 2147483647 w 846"/>
                <a:gd name="T47" fmla="*/ 2147483647 h 660"/>
                <a:gd name="T48" fmla="*/ 2147483647 w 846"/>
                <a:gd name="T49" fmla="*/ 2147483647 h 660"/>
                <a:gd name="T50" fmla="*/ 2147483647 w 846"/>
                <a:gd name="T51" fmla="*/ 2147483647 h 660"/>
                <a:gd name="T52" fmla="*/ 2147483647 w 846"/>
                <a:gd name="T53" fmla="*/ 2147483647 h 660"/>
                <a:gd name="T54" fmla="*/ 2147483647 w 846"/>
                <a:gd name="T55" fmla="*/ 2147483647 h 660"/>
                <a:gd name="T56" fmla="*/ 2147483647 w 846"/>
                <a:gd name="T57" fmla="*/ 2147483647 h 660"/>
                <a:gd name="T58" fmla="*/ 2147483647 w 846"/>
                <a:gd name="T59" fmla="*/ 2147483647 h 660"/>
                <a:gd name="T60" fmla="*/ 2147483647 w 846"/>
                <a:gd name="T61" fmla="*/ 2147483647 h 660"/>
                <a:gd name="T62" fmla="*/ 2147483647 w 846"/>
                <a:gd name="T63" fmla="*/ 2147483647 h 660"/>
                <a:gd name="T64" fmla="*/ 2147483647 w 846"/>
                <a:gd name="T65" fmla="*/ 2147483647 h 660"/>
                <a:gd name="T66" fmla="*/ 2147483647 w 846"/>
                <a:gd name="T67" fmla="*/ 2147483647 h 660"/>
                <a:gd name="T68" fmla="*/ 2147483647 w 846"/>
                <a:gd name="T69" fmla="*/ 2147483647 h 660"/>
                <a:gd name="T70" fmla="*/ 2147483647 w 846"/>
                <a:gd name="T71" fmla="*/ 2147483647 h 660"/>
                <a:gd name="T72" fmla="*/ 2147483647 w 846"/>
                <a:gd name="T73" fmla="*/ 2147483647 h 660"/>
                <a:gd name="T74" fmla="*/ 2147483647 w 846"/>
                <a:gd name="T75" fmla="*/ 2147483647 h 660"/>
                <a:gd name="T76" fmla="*/ 2147483647 w 846"/>
                <a:gd name="T77" fmla="*/ 2147483647 h 660"/>
                <a:gd name="T78" fmla="*/ 2147483647 w 846"/>
                <a:gd name="T79" fmla="*/ 2147483647 h 660"/>
                <a:gd name="T80" fmla="*/ 2147483647 w 846"/>
                <a:gd name="T81" fmla="*/ 2147483647 h 660"/>
                <a:gd name="T82" fmla="*/ 2147483647 w 846"/>
                <a:gd name="T83" fmla="*/ 2147483647 h 660"/>
                <a:gd name="T84" fmla="*/ 2147483647 w 846"/>
                <a:gd name="T85" fmla="*/ 2147483647 h 660"/>
                <a:gd name="T86" fmla="*/ 2147483647 w 846"/>
                <a:gd name="T87" fmla="*/ 2147483647 h 660"/>
                <a:gd name="T88" fmla="*/ 2147483647 w 846"/>
                <a:gd name="T89" fmla="*/ 2147483647 h 660"/>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846"/>
                <a:gd name="T136" fmla="*/ 0 h 660"/>
                <a:gd name="T137" fmla="*/ 846 w 846"/>
                <a:gd name="T138" fmla="*/ 660 h 660"/>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846" h="660">
                  <a:moveTo>
                    <a:pt x="822" y="246"/>
                  </a:moveTo>
                  <a:lnTo>
                    <a:pt x="822" y="216"/>
                  </a:lnTo>
                  <a:lnTo>
                    <a:pt x="804" y="216"/>
                  </a:lnTo>
                  <a:lnTo>
                    <a:pt x="816" y="186"/>
                  </a:lnTo>
                  <a:lnTo>
                    <a:pt x="804" y="168"/>
                  </a:lnTo>
                  <a:lnTo>
                    <a:pt x="810" y="102"/>
                  </a:lnTo>
                  <a:lnTo>
                    <a:pt x="798" y="102"/>
                  </a:lnTo>
                  <a:lnTo>
                    <a:pt x="798" y="90"/>
                  </a:lnTo>
                  <a:lnTo>
                    <a:pt x="804" y="84"/>
                  </a:lnTo>
                  <a:lnTo>
                    <a:pt x="792" y="78"/>
                  </a:lnTo>
                  <a:lnTo>
                    <a:pt x="786" y="66"/>
                  </a:lnTo>
                  <a:lnTo>
                    <a:pt x="780" y="60"/>
                  </a:lnTo>
                  <a:lnTo>
                    <a:pt x="744" y="42"/>
                  </a:lnTo>
                  <a:lnTo>
                    <a:pt x="720" y="42"/>
                  </a:lnTo>
                  <a:lnTo>
                    <a:pt x="708" y="48"/>
                  </a:lnTo>
                  <a:lnTo>
                    <a:pt x="702" y="54"/>
                  </a:lnTo>
                  <a:lnTo>
                    <a:pt x="696" y="54"/>
                  </a:lnTo>
                  <a:lnTo>
                    <a:pt x="690" y="48"/>
                  </a:lnTo>
                  <a:lnTo>
                    <a:pt x="678" y="48"/>
                  </a:lnTo>
                  <a:lnTo>
                    <a:pt x="666" y="42"/>
                  </a:lnTo>
                  <a:lnTo>
                    <a:pt x="654" y="42"/>
                  </a:lnTo>
                  <a:lnTo>
                    <a:pt x="642" y="48"/>
                  </a:lnTo>
                  <a:lnTo>
                    <a:pt x="636" y="54"/>
                  </a:lnTo>
                  <a:lnTo>
                    <a:pt x="624" y="54"/>
                  </a:lnTo>
                  <a:lnTo>
                    <a:pt x="588" y="36"/>
                  </a:lnTo>
                  <a:lnTo>
                    <a:pt x="570" y="18"/>
                  </a:lnTo>
                  <a:lnTo>
                    <a:pt x="564" y="6"/>
                  </a:lnTo>
                  <a:lnTo>
                    <a:pt x="558" y="6"/>
                  </a:lnTo>
                  <a:lnTo>
                    <a:pt x="552" y="0"/>
                  </a:lnTo>
                  <a:lnTo>
                    <a:pt x="528" y="0"/>
                  </a:lnTo>
                  <a:lnTo>
                    <a:pt x="528" y="6"/>
                  </a:lnTo>
                  <a:lnTo>
                    <a:pt x="522" y="12"/>
                  </a:lnTo>
                  <a:lnTo>
                    <a:pt x="522" y="30"/>
                  </a:lnTo>
                  <a:lnTo>
                    <a:pt x="516" y="48"/>
                  </a:lnTo>
                  <a:lnTo>
                    <a:pt x="498" y="84"/>
                  </a:lnTo>
                  <a:lnTo>
                    <a:pt x="492" y="102"/>
                  </a:lnTo>
                  <a:lnTo>
                    <a:pt x="468" y="138"/>
                  </a:lnTo>
                  <a:lnTo>
                    <a:pt x="462" y="150"/>
                  </a:lnTo>
                  <a:lnTo>
                    <a:pt x="450" y="162"/>
                  </a:lnTo>
                  <a:lnTo>
                    <a:pt x="438" y="168"/>
                  </a:lnTo>
                  <a:lnTo>
                    <a:pt x="420" y="168"/>
                  </a:lnTo>
                  <a:lnTo>
                    <a:pt x="408" y="174"/>
                  </a:lnTo>
                  <a:lnTo>
                    <a:pt x="402" y="174"/>
                  </a:lnTo>
                  <a:lnTo>
                    <a:pt x="396" y="180"/>
                  </a:lnTo>
                  <a:lnTo>
                    <a:pt x="384" y="186"/>
                  </a:lnTo>
                  <a:lnTo>
                    <a:pt x="378" y="198"/>
                  </a:lnTo>
                  <a:lnTo>
                    <a:pt x="360" y="192"/>
                  </a:lnTo>
                  <a:lnTo>
                    <a:pt x="330" y="204"/>
                  </a:lnTo>
                  <a:lnTo>
                    <a:pt x="330" y="210"/>
                  </a:lnTo>
                  <a:lnTo>
                    <a:pt x="324" y="216"/>
                  </a:lnTo>
                  <a:lnTo>
                    <a:pt x="324" y="228"/>
                  </a:lnTo>
                  <a:lnTo>
                    <a:pt x="318" y="240"/>
                  </a:lnTo>
                  <a:lnTo>
                    <a:pt x="312" y="240"/>
                  </a:lnTo>
                  <a:lnTo>
                    <a:pt x="288" y="264"/>
                  </a:lnTo>
                  <a:lnTo>
                    <a:pt x="288" y="288"/>
                  </a:lnTo>
                  <a:lnTo>
                    <a:pt x="276" y="312"/>
                  </a:lnTo>
                  <a:lnTo>
                    <a:pt x="264" y="324"/>
                  </a:lnTo>
                  <a:lnTo>
                    <a:pt x="258" y="336"/>
                  </a:lnTo>
                  <a:lnTo>
                    <a:pt x="246" y="354"/>
                  </a:lnTo>
                  <a:lnTo>
                    <a:pt x="246" y="402"/>
                  </a:lnTo>
                  <a:lnTo>
                    <a:pt x="240" y="408"/>
                  </a:lnTo>
                  <a:lnTo>
                    <a:pt x="234" y="408"/>
                  </a:lnTo>
                  <a:lnTo>
                    <a:pt x="234" y="414"/>
                  </a:lnTo>
                  <a:lnTo>
                    <a:pt x="240" y="420"/>
                  </a:lnTo>
                  <a:lnTo>
                    <a:pt x="252" y="420"/>
                  </a:lnTo>
                  <a:lnTo>
                    <a:pt x="252" y="474"/>
                  </a:lnTo>
                  <a:lnTo>
                    <a:pt x="240" y="474"/>
                  </a:lnTo>
                  <a:lnTo>
                    <a:pt x="228" y="480"/>
                  </a:lnTo>
                  <a:lnTo>
                    <a:pt x="192" y="540"/>
                  </a:lnTo>
                  <a:lnTo>
                    <a:pt x="180" y="552"/>
                  </a:lnTo>
                  <a:lnTo>
                    <a:pt x="168" y="552"/>
                  </a:lnTo>
                  <a:lnTo>
                    <a:pt x="162" y="558"/>
                  </a:lnTo>
                  <a:lnTo>
                    <a:pt x="150" y="564"/>
                  </a:lnTo>
                  <a:lnTo>
                    <a:pt x="144" y="576"/>
                  </a:lnTo>
                  <a:lnTo>
                    <a:pt x="132" y="588"/>
                  </a:lnTo>
                  <a:lnTo>
                    <a:pt x="126" y="600"/>
                  </a:lnTo>
                  <a:lnTo>
                    <a:pt x="120" y="606"/>
                  </a:lnTo>
                  <a:lnTo>
                    <a:pt x="84" y="624"/>
                  </a:lnTo>
                  <a:lnTo>
                    <a:pt x="66" y="624"/>
                  </a:lnTo>
                  <a:lnTo>
                    <a:pt x="54" y="630"/>
                  </a:lnTo>
                  <a:lnTo>
                    <a:pt x="48" y="630"/>
                  </a:lnTo>
                  <a:lnTo>
                    <a:pt x="42" y="636"/>
                  </a:lnTo>
                  <a:lnTo>
                    <a:pt x="12" y="636"/>
                  </a:lnTo>
                  <a:lnTo>
                    <a:pt x="6" y="642"/>
                  </a:lnTo>
                  <a:lnTo>
                    <a:pt x="6" y="654"/>
                  </a:lnTo>
                  <a:lnTo>
                    <a:pt x="0" y="660"/>
                  </a:lnTo>
                  <a:lnTo>
                    <a:pt x="312" y="660"/>
                  </a:lnTo>
                  <a:lnTo>
                    <a:pt x="312" y="600"/>
                  </a:lnTo>
                  <a:lnTo>
                    <a:pt x="318" y="570"/>
                  </a:lnTo>
                  <a:lnTo>
                    <a:pt x="330" y="564"/>
                  </a:lnTo>
                  <a:lnTo>
                    <a:pt x="336" y="558"/>
                  </a:lnTo>
                  <a:lnTo>
                    <a:pt x="348" y="552"/>
                  </a:lnTo>
                  <a:lnTo>
                    <a:pt x="378" y="522"/>
                  </a:lnTo>
                  <a:lnTo>
                    <a:pt x="378" y="516"/>
                  </a:lnTo>
                  <a:lnTo>
                    <a:pt x="396" y="516"/>
                  </a:lnTo>
                  <a:lnTo>
                    <a:pt x="426" y="498"/>
                  </a:lnTo>
                  <a:lnTo>
                    <a:pt x="438" y="504"/>
                  </a:lnTo>
                  <a:lnTo>
                    <a:pt x="444" y="510"/>
                  </a:lnTo>
                  <a:lnTo>
                    <a:pt x="456" y="510"/>
                  </a:lnTo>
                  <a:lnTo>
                    <a:pt x="462" y="498"/>
                  </a:lnTo>
                  <a:lnTo>
                    <a:pt x="462" y="492"/>
                  </a:lnTo>
                  <a:lnTo>
                    <a:pt x="486" y="486"/>
                  </a:lnTo>
                  <a:lnTo>
                    <a:pt x="492" y="474"/>
                  </a:lnTo>
                  <a:lnTo>
                    <a:pt x="504" y="474"/>
                  </a:lnTo>
                  <a:lnTo>
                    <a:pt x="516" y="480"/>
                  </a:lnTo>
                  <a:lnTo>
                    <a:pt x="540" y="480"/>
                  </a:lnTo>
                  <a:lnTo>
                    <a:pt x="552" y="468"/>
                  </a:lnTo>
                  <a:lnTo>
                    <a:pt x="564" y="444"/>
                  </a:lnTo>
                  <a:lnTo>
                    <a:pt x="570" y="438"/>
                  </a:lnTo>
                  <a:lnTo>
                    <a:pt x="576" y="426"/>
                  </a:lnTo>
                  <a:lnTo>
                    <a:pt x="618" y="426"/>
                  </a:lnTo>
                  <a:lnTo>
                    <a:pt x="624" y="420"/>
                  </a:lnTo>
                  <a:lnTo>
                    <a:pt x="636" y="414"/>
                  </a:lnTo>
                  <a:lnTo>
                    <a:pt x="648" y="402"/>
                  </a:lnTo>
                  <a:lnTo>
                    <a:pt x="648" y="396"/>
                  </a:lnTo>
                  <a:lnTo>
                    <a:pt x="672" y="384"/>
                  </a:lnTo>
                  <a:lnTo>
                    <a:pt x="660" y="366"/>
                  </a:lnTo>
                  <a:lnTo>
                    <a:pt x="654" y="354"/>
                  </a:lnTo>
                  <a:lnTo>
                    <a:pt x="648" y="348"/>
                  </a:lnTo>
                  <a:lnTo>
                    <a:pt x="648" y="336"/>
                  </a:lnTo>
                  <a:lnTo>
                    <a:pt x="654" y="330"/>
                  </a:lnTo>
                  <a:lnTo>
                    <a:pt x="678" y="330"/>
                  </a:lnTo>
                  <a:lnTo>
                    <a:pt x="690" y="324"/>
                  </a:lnTo>
                  <a:lnTo>
                    <a:pt x="714" y="324"/>
                  </a:lnTo>
                  <a:lnTo>
                    <a:pt x="714" y="312"/>
                  </a:lnTo>
                  <a:lnTo>
                    <a:pt x="720" y="306"/>
                  </a:lnTo>
                  <a:lnTo>
                    <a:pt x="720" y="300"/>
                  </a:lnTo>
                  <a:lnTo>
                    <a:pt x="732" y="300"/>
                  </a:lnTo>
                  <a:lnTo>
                    <a:pt x="738" y="306"/>
                  </a:lnTo>
                  <a:lnTo>
                    <a:pt x="744" y="300"/>
                  </a:lnTo>
                  <a:lnTo>
                    <a:pt x="744" y="294"/>
                  </a:lnTo>
                  <a:lnTo>
                    <a:pt x="762" y="294"/>
                  </a:lnTo>
                  <a:lnTo>
                    <a:pt x="774" y="300"/>
                  </a:lnTo>
                  <a:lnTo>
                    <a:pt x="828" y="294"/>
                  </a:lnTo>
                  <a:lnTo>
                    <a:pt x="828" y="282"/>
                  </a:lnTo>
                  <a:lnTo>
                    <a:pt x="846" y="264"/>
                  </a:lnTo>
                  <a:lnTo>
                    <a:pt x="822" y="246"/>
                  </a:lnTo>
                  <a:close/>
                </a:path>
              </a:pathLst>
            </a:custGeom>
            <a:grpFill/>
            <a:ln w="3175">
              <a:solidFill>
                <a:schemeClr val="bg1"/>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de-DE" sz="1800" b="0" i="0" u="none" strike="noStrike" kern="1200" cap="none" spc="0" normalizeH="0" baseline="0" noProof="0">
                <a:ln>
                  <a:noFill/>
                </a:ln>
                <a:solidFill>
                  <a:srgbClr val="FFC000"/>
                </a:solidFill>
                <a:effectLst/>
                <a:uLnTx/>
                <a:uFillTx/>
                <a:latin typeface="Calibri" pitchFamily="34" charset="0"/>
                <a:ea typeface="+mn-ea"/>
                <a:cs typeface="+mn-cs"/>
              </a:endParaRPr>
            </a:p>
          </p:txBody>
        </p:sp>
        <p:sp>
          <p:nvSpPr>
            <p:cNvPr id="86" name="Montenegro" descr="© INSCALE GmbH, 05.05.2010&#10;http://www.presentationload.com/"/>
            <p:cNvSpPr>
              <a:spLocks/>
            </p:cNvSpPr>
            <p:nvPr/>
          </p:nvSpPr>
          <p:spPr bwMode="gray">
            <a:xfrm>
              <a:off x="4874009" y="3213733"/>
              <a:ext cx="35835" cy="42867"/>
            </a:xfrm>
            <a:custGeom>
              <a:avLst/>
              <a:gdLst>
                <a:gd name="T0" fmla="*/ 2147483647 w 114"/>
                <a:gd name="T1" fmla="*/ 2147483647 h 138"/>
                <a:gd name="T2" fmla="*/ 2147483647 w 114"/>
                <a:gd name="T3" fmla="*/ 2147483647 h 138"/>
                <a:gd name="T4" fmla="*/ 2147483647 w 114"/>
                <a:gd name="T5" fmla="*/ 2147483647 h 138"/>
                <a:gd name="T6" fmla="*/ 2147483647 w 114"/>
                <a:gd name="T7" fmla="*/ 2147483647 h 138"/>
                <a:gd name="T8" fmla="*/ 2147483647 w 114"/>
                <a:gd name="T9" fmla="*/ 2147483647 h 138"/>
                <a:gd name="T10" fmla="*/ 2147483647 w 114"/>
                <a:gd name="T11" fmla="*/ 2147483647 h 138"/>
                <a:gd name="T12" fmla="*/ 2147483647 w 114"/>
                <a:gd name="T13" fmla="*/ 0 h 138"/>
                <a:gd name="T14" fmla="*/ 2147483647 w 114"/>
                <a:gd name="T15" fmla="*/ 0 h 138"/>
                <a:gd name="T16" fmla="*/ 2147483647 w 114"/>
                <a:gd name="T17" fmla="*/ 2147483647 h 138"/>
                <a:gd name="T18" fmla="*/ 2147483647 w 114"/>
                <a:gd name="T19" fmla="*/ 2147483647 h 138"/>
                <a:gd name="T20" fmla="*/ 2147483647 w 114"/>
                <a:gd name="T21" fmla="*/ 2147483647 h 138"/>
                <a:gd name="T22" fmla="*/ 2147483647 w 114"/>
                <a:gd name="T23" fmla="*/ 2147483647 h 138"/>
                <a:gd name="T24" fmla="*/ 2147483647 w 114"/>
                <a:gd name="T25" fmla="*/ 2147483647 h 138"/>
                <a:gd name="T26" fmla="*/ 2147483647 w 114"/>
                <a:gd name="T27" fmla="*/ 2147483647 h 138"/>
                <a:gd name="T28" fmla="*/ 0 w 114"/>
                <a:gd name="T29" fmla="*/ 2147483647 h 138"/>
                <a:gd name="T30" fmla="*/ 0 w 114"/>
                <a:gd name="T31" fmla="*/ 2147483647 h 138"/>
                <a:gd name="T32" fmla="*/ 2147483647 w 114"/>
                <a:gd name="T33" fmla="*/ 2147483647 h 138"/>
                <a:gd name="T34" fmla="*/ 2147483647 w 114"/>
                <a:gd name="T35" fmla="*/ 2147483647 h 138"/>
                <a:gd name="T36" fmla="*/ 2147483647 w 114"/>
                <a:gd name="T37" fmla="*/ 2147483647 h 138"/>
                <a:gd name="T38" fmla="*/ 2147483647 w 114"/>
                <a:gd name="T39" fmla="*/ 2147483647 h 138"/>
                <a:gd name="T40" fmla="*/ 2147483647 w 114"/>
                <a:gd name="T41" fmla="*/ 2147483647 h 138"/>
                <a:gd name="T42" fmla="*/ 2147483647 w 114"/>
                <a:gd name="T43" fmla="*/ 2147483647 h 138"/>
                <a:gd name="T44" fmla="*/ 2147483647 w 114"/>
                <a:gd name="T45" fmla="*/ 2147483647 h 138"/>
                <a:gd name="T46" fmla="*/ 2147483647 w 114"/>
                <a:gd name="T47" fmla="*/ 2147483647 h 138"/>
                <a:gd name="T48" fmla="*/ 2147483647 w 114"/>
                <a:gd name="T49" fmla="*/ 2147483647 h 138"/>
                <a:gd name="T50" fmla="*/ 2147483647 w 114"/>
                <a:gd name="T51" fmla="*/ 2147483647 h 138"/>
                <a:gd name="T52" fmla="*/ 2147483647 w 114"/>
                <a:gd name="T53" fmla="*/ 2147483647 h 138"/>
                <a:gd name="T54" fmla="*/ 2147483647 w 114"/>
                <a:gd name="T55" fmla="*/ 2147483647 h 138"/>
                <a:gd name="T56" fmla="*/ 2147483647 w 114"/>
                <a:gd name="T57" fmla="*/ 2147483647 h 138"/>
                <a:gd name="T58" fmla="*/ 2147483647 w 114"/>
                <a:gd name="T59" fmla="*/ 2147483647 h 138"/>
                <a:gd name="T60" fmla="*/ 2147483647 w 114"/>
                <a:gd name="T61" fmla="*/ 2147483647 h 138"/>
                <a:gd name="T62" fmla="*/ 2147483647 w 114"/>
                <a:gd name="T63" fmla="*/ 2147483647 h 138"/>
                <a:gd name="T64" fmla="*/ 2147483647 w 114"/>
                <a:gd name="T65" fmla="*/ 2147483647 h 138"/>
                <a:gd name="T66" fmla="*/ 2147483647 w 114"/>
                <a:gd name="T67" fmla="*/ 2147483647 h 138"/>
                <a:gd name="T68" fmla="*/ 2147483647 w 114"/>
                <a:gd name="T69" fmla="*/ 2147483647 h 138"/>
                <a:gd name="T70" fmla="*/ 2147483647 w 114"/>
                <a:gd name="T71" fmla="*/ 2147483647 h 138"/>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114"/>
                <a:gd name="T109" fmla="*/ 0 h 138"/>
                <a:gd name="T110" fmla="*/ 114 w 114"/>
                <a:gd name="T111" fmla="*/ 138 h 138"/>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114" h="138">
                  <a:moveTo>
                    <a:pt x="114" y="42"/>
                  </a:moveTo>
                  <a:lnTo>
                    <a:pt x="108" y="48"/>
                  </a:lnTo>
                  <a:lnTo>
                    <a:pt x="96" y="30"/>
                  </a:lnTo>
                  <a:lnTo>
                    <a:pt x="84" y="18"/>
                  </a:lnTo>
                  <a:lnTo>
                    <a:pt x="66" y="6"/>
                  </a:lnTo>
                  <a:lnTo>
                    <a:pt x="60" y="6"/>
                  </a:lnTo>
                  <a:lnTo>
                    <a:pt x="48" y="0"/>
                  </a:lnTo>
                  <a:lnTo>
                    <a:pt x="42" y="0"/>
                  </a:lnTo>
                  <a:lnTo>
                    <a:pt x="42" y="24"/>
                  </a:lnTo>
                  <a:lnTo>
                    <a:pt x="24" y="24"/>
                  </a:lnTo>
                  <a:lnTo>
                    <a:pt x="18" y="30"/>
                  </a:lnTo>
                  <a:lnTo>
                    <a:pt x="18" y="36"/>
                  </a:lnTo>
                  <a:lnTo>
                    <a:pt x="12" y="48"/>
                  </a:lnTo>
                  <a:lnTo>
                    <a:pt x="6" y="48"/>
                  </a:lnTo>
                  <a:lnTo>
                    <a:pt x="0" y="54"/>
                  </a:lnTo>
                  <a:lnTo>
                    <a:pt x="0" y="60"/>
                  </a:lnTo>
                  <a:lnTo>
                    <a:pt x="6" y="66"/>
                  </a:lnTo>
                  <a:lnTo>
                    <a:pt x="12" y="66"/>
                  </a:lnTo>
                  <a:lnTo>
                    <a:pt x="24" y="72"/>
                  </a:lnTo>
                  <a:lnTo>
                    <a:pt x="6" y="102"/>
                  </a:lnTo>
                  <a:lnTo>
                    <a:pt x="18" y="102"/>
                  </a:lnTo>
                  <a:lnTo>
                    <a:pt x="24" y="96"/>
                  </a:lnTo>
                  <a:lnTo>
                    <a:pt x="36" y="96"/>
                  </a:lnTo>
                  <a:lnTo>
                    <a:pt x="36" y="114"/>
                  </a:lnTo>
                  <a:lnTo>
                    <a:pt x="60" y="138"/>
                  </a:lnTo>
                  <a:lnTo>
                    <a:pt x="72" y="126"/>
                  </a:lnTo>
                  <a:lnTo>
                    <a:pt x="66" y="108"/>
                  </a:lnTo>
                  <a:lnTo>
                    <a:pt x="60" y="114"/>
                  </a:lnTo>
                  <a:lnTo>
                    <a:pt x="42" y="102"/>
                  </a:lnTo>
                  <a:lnTo>
                    <a:pt x="66" y="102"/>
                  </a:lnTo>
                  <a:lnTo>
                    <a:pt x="78" y="96"/>
                  </a:lnTo>
                  <a:lnTo>
                    <a:pt x="78" y="78"/>
                  </a:lnTo>
                  <a:lnTo>
                    <a:pt x="108" y="90"/>
                  </a:lnTo>
                  <a:lnTo>
                    <a:pt x="114" y="84"/>
                  </a:lnTo>
                  <a:lnTo>
                    <a:pt x="114" y="90"/>
                  </a:lnTo>
                  <a:lnTo>
                    <a:pt x="114" y="42"/>
                  </a:lnTo>
                  <a:close/>
                </a:path>
              </a:pathLst>
            </a:custGeom>
            <a:grpFill/>
            <a:ln w="3175">
              <a:solidFill>
                <a:schemeClr val="bg1"/>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de-DE" sz="1800" b="0" i="0" u="none" strike="noStrike" kern="1200" cap="none" spc="0" normalizeH="0" baseline="0" noProof="0">
                <a:ln>
                  <a:noFill/>
                </a:ln>
                <a:solidFill>
                  <a:srgbClr val="FFC000"/>
                </a:solidFill>
                <a:effectLst/>
                <a:uLnTx/>
                <a:uFillTx/>
                <a:latin typeface="Calibri" pitchFamily="34" charset="0"/>
                <a:ea typeface="+mn-ea"/>
                <a:cs typeface="+mn-cs"/>
              </a:endParaRPr>
            </a:p>
          </p:txBody>
        </p:sp>
        <p:sp>
          <p:nvSpPr>
            <p:cNvPr id="87" name="Mongolia" descr="© INSCALE GmbH, 05.05.2010&#10;http://www.presentationload.com/"/>
            <p:cNvSpPr>
              <a:spLocks/>
            </p:cNvSpPr>
            <p:nvPr/>
          </p:nvSpPr>
          <p:spPr bwMode="gray">
            <a:xfrm>
              <a:off x="6269035" y="3004294"/>
              <a:ext cx="680875" cy="259655"/>
            </a:xfrm>
            <a:custGeom>
              <a:avLst/>
              <a:gdLst>
                <a:gd name="T0" fmla="*/ 2147483647 w 2100"/>
                <a:gd name="T1" fmla="*/ 2147483647 h 834"/>
                <a:gd name="T2" fmla="*/ 2147483647 w 2100"/>
                <a:gd name="T3" fmla="*/ 2147483647 h 834"/>
                <a:gd name="T4" fmla="*/ 2147483647 w 2100"/>
                <a:gd name="T5" fmla="*/ 2147483647 h 834"/>
                <a:gd name="T6" fmla="*/ 2147483647 w 2100"/>
                <a:gd name="T7" fmla="*/ 2147483647 h 834"/>
                <a:gd name="T8" fmla="*/ 2147483647 w 2100"/>
                <a:gd name="T9" fmla="*/ 2147483647 h 834"/>
                <a:gd name="T10" fmla="*/ 2147483647 w 2100"/>
                <a:gd name="T11" fmla="*/ 2147483647 h 834"/>
                <a:gd name="T12" fmla="*/ 2147483647 w 2100"/>
                <a:gd name="T13" fmla="*/ 2147483647 h 834"/>
                <a:gd name="T14" fmla="*/ 2147483647 w 2100"/>
                <a:gd name="T15" fmla="*/ 2147483647 h 834"/>
                <a:gd name="T16" fmla="*/ 2147483647 w 2100"/>
                <a:gd name="T17" fmla="*/ 2147483647 h 834"/>
                <a:gd name="T18" fmla="*/ 2147483647 w 2100"/>
                <a:gd name="T19" fmla="*/ 2147483647 h 834"/>
                <a:gd name="T20" fmla="*/ 2147483647 w 2100"/>
                <a:gd name="T21" fmla="*/ 2147483647 h 834"/>
                <a:gd name="T22" fmla="*/ 2147483647 w 2100"/>
                <a:gd name="T23" fmla="*/ 2147483647 h 834"/>
                <a:gd name="T24" fmla="*/ 2147483647 w 2100"/>
                <a:gd name="T25" fmla="*/ 2147483647 h 834"/>
                <a:gd name="T26" fmla="*/ 2147483647 w 2100"/>
                <a:gd name="T27" fmla="*/ 2147483647 h 834"/>
                <a:gd name="T28" fmla="*/ 2147483647 w 2100"/>
                <a:gd name="T29" fmla="*/ 2147483647 h 834"/>
                <a:gd name="T30" fmla="*/ 2147483647 w 2100"/>
                <a:gd name="T31" fmla="*/ 2147483647 h 834"/>
                <a:gd name="T32" fmla="*/ 2147483647 w 2100"/>
                <a:gd name="T33" fmla="*/ 2147483647 h 834"/>
                <a:gd name="T34" fmla="*/ 2147483647 w 2100"/>
                <a:gd name="T35" fmla="*/ 2147483647 h 834"/>
                <a:gd name="T36" fmla="*/ 2147483647 w 2100"/>
                <a:gd name="T37" fmla="*/ 2147483647 h 834"/>
                <a:gd name="T38" fmla="*/ 2147483647 w 2100"/>
                <a:gd name="T39" fmla="*/ 2147483647 h 834"/>
                <a:gd name="T40" fmla="*/ 2147483647 w 2100"/>
                <a:gd name="T41" fmla="*/ 2147483647 h 834"/>
                <a:gd name="T42" fmla="*/ 2147483647 w 2100"/>
                <a:gd name="T43" fmla="*/ 2147483647 h 834"/>
                <a:gd name="T44" fmla="*/ 2147483647 w 2100"/>
                <a:gd name="T45" fmla="*/ 2147483647 h 834"/>
                <a:gd name="T46" fmla="*/ 2147483647 w 2100"/>
                <a:gd name="T47" fmla="*/ 2147483647 h 834"/>
                <a:gd name="T48" fmla="*/ 2147483647 w 2100"/>
                <a:gd name="T49" fmla="*/ 2147483647 h 834"/>
                <a:gd name="T50" fmla="*/ 2147483647 w 2100"/>
                <a:gd name="T51" fmla="*/ 2147483647 h 834"/>
                <a:gd name="T52" fmla="*/ 2147483647 w 2100"/>
                <a:gd name="T53" fmla="*/ 2147483647 h 834"/>
                <a:gd name="T54" fmla="*/ 2147483647 w 2100"/>
                <a:gd name="T55" fmla="*/ 2147483647 h 834"/>
                <a:gd name="T56" fmla="*/ 2147483647 w 2100"/>
                <a:gd name="T57" fmla="*/ 2147483647 h 834"/>
                <a:gd name="T58" fmla="*/ 2147483647 w 2100"/>
                <a:gd name="T59" fmla="*/ 2147483647 h 834"/>
                <a:gd name="T60" fmla="*/ 2147483647 w 2100"/>
                <a:gd name="T61" fmla="*/ 2147483647 h 834"/>
                <a:gd name="T62" fmla="*/ 0 w 2100"/>
                <a:gd name="T63" fmla="*/ 2147483647 h 834"/>
                <a:gd name="T64" fmla="*/ 2147483647 w 2100"/>
                <a:gd name="T65" fmla="*/ 2147483647 h 834"/>
                <a:gd name="T66" fmla="*/ 2147483647 w 2100"/>
                <a:gd name="T67" fmla="*/ 2147483647 h 834"/>
                <a:gd name="T68" fmla="*/ 2147483647 w 2100"/>
                <a:gd name="T69" fmla="*/ 2147483647 h 834"/>
                <a:gd name="T70" fmla="*/ 2147483647 w 2100"/>
                <a:gd name="T71" fmla="*/ 2147483647 h 834"/>
                <a:gd name="T72" fmla="*/ 2147483647 w 2100"/>
                <a:gd name="T73" fmla="*/ 2147483647 h 834"/>
                <a:gd name="T74" fmla="*/ 2147483647 w 2100"/>
                <a:gd name="T75" fmla="*/ 2147483647 h 834"/>
                <a:gd name="T76" fmla="*/ 2147483647 w 2100"/>
                <a:gd name="T77" fmla="*/ 2147483647 h 834"/>
                <a:gd name="T78" fmla="*/ 2147483647 w 2100"/>
                <a:gd name="T79" fmla="*/ 2147483647 h 834"/>
                <a:gd name="T80" fmla="*/ 2147483647 w 2100"/>
                <a:gd name="T81" fmla="*/ 2147483647 h 834"/>
                <a:gd name="T82" fmla="*/ 2147483647 w 2100"/>
                <a:gd name="T83" fmla="*/ 2147483647 h 834"/>
                <a:gd name="T84" fmla="*/ 2147483647 w 2100"/>
                <a:gd name="T85" fmla="*/ 2147483647 h 834"/>
                <a:gd name="T86" fmla="*/ 2147483647 w 2100"/>
                <a:gd name="T87" fmla="*/ 2147483647 h 834"/>
                <a:gd name="T88" fmla="*/ 2147483647 w 2100"/>
                <a:gd name="T89" fmla="*/ 2147483647 h 834"/>
                <a:gd name="T90" fmla="*/ 2147483647 w 2100"/>
                <a:gd name="T91" fmla="*/ 2147483647 h 834"/>
                <a:gd name="T92" fmla="*/ 2147483647 w 2100"/>
                <a:gd name="T93" fmla="*/ 2147483647 h 834"/>
                <a:gd name="T94" fmla="*/ 2147483647 w 2100"/>
                <a:gd name="T95" fmla="*/ 2147483647 h 834"/>
                <a:gd name="T96" fmla="*/ 2147483647 w 2100"/>
                <a:gd name="T97" fmla="*/ 2147483647 h 834"/>
                <a:gd name="T98" fmla="*/ 2147483647 w 2100"/>
                <a:gd name="T99" fmla="*/ 2147483647 h 834"/>
                <a:gd name="T100" fmla="*/ 2147483647 w 2100"/>
                <a:gd name="T101" fmla="*/ 2147483647 h 834"/>
                <a:gd name="T102" fmla="*/ 2147483647 w 2100"/>
                <a:gd name="T103" fmla="*/ 2147483647 h 834"/>
                <a:gd name="T104" fmla="*/ 2147483647 w 2100"/>
                <a:gd name="T105" fmla="*/ 2147483647 h 834"/>
                <a:gd name="T106" fmla="*/ 2147483647 w 2100"/>
                <a:gd name="T107" fmla="*/ 2147483647 h 834"/>
                <a:gd name="T108" fmla="*/ 2147483647 w 2100"/>
                <a:gd name="T109" fmla="*/ 2147483647 h 834"/>
                <a:gd name="T110" fmla="*/ 2147483647 w 2100"/>
                <a:gd name="T111" fmla="*/ 2147483647 h 834"/>
                <a:gd name="T112" fmla="*/ 2147483647 w 2100"/>
                <a:gd name="T113" fmla="*/ 2147483647 h 834"/>
                <a:gd name="T114" fmla="*/ 2147483647 w 2100"/>
                <a:gd name="T115" fmla="*/ 2147483647 h 834"/>
                <a:gd name="T116" fmla="*/ 2147483647 w 2100"/>
                <a:gd name="T117" fmla="*/ 2147483647 h 834"/>
                <a:gd name="T118" fmla="*/ 2147483647 w 2100"/>
                <a:gd name="T119" fmla="*/ 2147483647 h 834"/>
                <a:gd name="T120" fmla="*/ 2147483647 w 2100"/>
                <a:gd name="T121" fmla="*/ 2147483647 h 834"/>
                <a:gd name="T122" fmla="*/ 2147483647 w 2100"/>
                <a:gd name="T123" fmla="*/ 2147483647 h 834"/>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2100"/>
                <a:gd name="T187" fmla="*/ 0 h 834"/>
                <a:gd name="T188" fmla="*/ 2100 w 2100"/>
                <a:gd name="T189" fmla="*/ 834 h 834"/>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2100" h="834">
                  <a:moveTo>
                    <a:pt x="2088" y="408"/>
                  </a:moveTo>
                  <a:lnTo>
                    <a:pt x="2076" y="396"/>
                  </a:lnTo>
                  <a:lnTo>
                    <a:pt x="2070" y="384"/>
                  </a:lnTo>
                  <a:lnTo>
                    <a:pt x="2058" y="384"/>
                  </a:lnTo>
                  <a:lnTo>
                    <a:pt x="2034" y="372"/>
                  </a:lnTo>
                  <a:lnTo>
                    <a:pt x="2022" y="360"/>
                  </a:lnTo>
                  <a:lnTo>
                    <a:pt x="2010" y="354"/>
                  </a:lnTo>
                  <a:lnTo>
                    <a:pt x="2004" y="348"/>
                  </a:lnTo>
                  <a:lnTo>
                    <a:pt x="1986" y="348"/>
                  </a:lnTo>
                  <a:lnTo>
                    <a:pt x="1974" y="342"/>
                  </a:lnTo>
                  <a:lnTo>
                    <a:pt x="1968" y="336"/>
                  </a:lnTo>
                  <a:lnTo>
                    <a:pt x="1968" y="324"/>
                  </a:lnTo>
                  <a:lnTo>
                    <a:pt x="1902" y="324"/>
                  </a:lnTo>
                  <a:lnTo>
                    <a:pt x="1902" y="348"/>
                  </a:lnTo>
                  <a:lnTo>
                    <a:pt x="1896" y="354"/>
                  </a:lnTo>
                  <a:lnTo>
                    <a:pt x="1890" y="354"/>
                  </a:lnTo>
                  <a:lnTo>
                    <a:pt x="1878" y="348"/>
                  </a:lnTo>
                  <a:lnTo>
                    <a:pt x="1866" y="336"/>
                  </a:lnTo>
                  <a:lnTo>
                    <a:pt x="1812" y="336"/>
                  </a:lnTo>
                  <a:lnTo>
                    <a:pt x="1806" y="342"/>
                  </a:lnTo>
                  <a:lnTo>
                    <a:pt x="1812" y="342"/>
                  </a:lnTo>
                  <a:lnTo>
                    <a:pt x="1812" y="348"/>
                  </a:lnTo>
                  <a:lnTo>
                    <a:pt x="1794" y="348"/>
                  </a:lnTo>
                  <a:lnTo>
                    <a:pt x="1788" y="342"/>
                  </a:lnTo>
                  <a:lnTo>
                    <a:pt x="1776" y="336"/>
                  </a:lnTo>
                  <a:lnTo>
                    <a:pt x="1770" y="324"/>
                  </a:lnTo>
                  <a:lnTo>
                    <a:pt x="1770" y="306"/>
                  </a:lnTo>
                  <a:lnTo>
                    <a:pt x="1776" y="306"/>
                  </a:lnTo>
                  <a:lnTo>
                    <a:pt x="1770" y="294"/>
                  </a:lnTo>
                  <a:lnTo>
                    <a:pt x="1764" y="270"/>
                  </a:lnTo>
                  <a:lnTo>
                    <a:pt x="1758" y="258"/>
                  </a:lnTo>
                  <a:lnTo>
                    <a:pt x="1758" y="174"/>
                  </a:lnTo>
                  <a:lnTo>
                    <a:pt x="1740" y="174"/>
                  </a:lnTo>
                  <a:lnTo>
                    <a:pt x="1716" y="168"/>
                  </a:lnTo>
                  <a:lnTo>
                    <a:pt x="1710" y="174"/>
                  </a:lnTo>
                  <a:lnTo>
                    <a:pt x="1698" y="180"/>
                  </a:lnTo>
                  <a:lnTo>
                    <a:pt x="1674" y="180"/>
                  </a:lnTo>
                  <a:lnTo>
                    <a:pt x="1662" y="174"/>
                  </a:lnTo>
                  <a:lnTo>
                    <a:pt x="1644" y="156"/>
                  </a:lnTo>
                  <a:lnTo>
                    <a:pt x="1608" y="156"/>
                  </a:lnTo>
                  <a:lnTo>
                    <a:pt x="1596" y="150"/>
                  </a:lnTo>
                  <a:lnTo>
                    <a:pt x="1578" y="150"/>
                  </a:lnTo>
                  <a:lnTo>
                    <a:pt x="1548" y="180"/>
                  </a:lnTo>
                  <a:lnTo>
                    <a:pt x="1548" y="192"/>
                  </a:lnTo>
                  <a:lnTo>
                    <a:pt x="1536" y="204"/>
                  </a:lnTo>
                  <a:lnTo>
                    <a:pt x="1500" y="204"/>
                  </a:lnTo>
                  <a:lnTo>
                    <a:pt x="1488" y="216"/>
                  </a:lnTo>
                  <a:lnTo>
                    <a:pt x="1440" y="216"/>
                  </a:lnTo>
                  <a:lnTo>
                    <a:pt x="1440" y="222"/>
                  </a:lnTo>
                  <a:lnTo>
                    <a:pt x="1422" y="240"/>
                  </a:lnTo>
                  <a:lnTo>
                    <a:pt x="1416" y="240"/>
                  </a:lnTo>
                  <a:lnTo>
                    <a:pt x="1416" y="234"/>
                  </a:lnTo>
                  <a:lnTo>
                    <a:pt x="1410" y="228"/>
                  </a:lnTo>
                  <a:lnTo>
                    <a:pt x="1392" y="228"/>
                  </a:lnTo>
                  <a:lnTo>
                    <a:pt x="1380" y="234"/>
                  </a:lnTo>
                  <a:lnTo>
                    <a:pt x="1356" y="234"/>
                  </a:lnTo>
                  <a:lnTo>
                    <a:pt x="1344" y="228"/>
                  </a:lnTo>
                  <a:lnTo>
                    <a:pt x="1338" y="228"/>
                  </a:lnTo>
                  <a:lnTo>
                    <a:pt x="1332" y="222"/>
                  </a:lnTo>
                  <a:lnTo>
                    <a:pt x="1266" y="222"/>
                  </a:lnTo>
                  <a:lnTo>
                    <a:pt x="1260" y="216"/>
                  </a:lnTo>
                  <a:lnTo>
                    <a:pt x="1260" y="204"/>
                  </a:lnTo>
                  <a:lnTo>
                    <a:pt x="1248" y="198"/>
                  </a:lnTo>
                  <a:lnTo>
                    <a:pt x="1230" y="198"/>
                  </a:lnTo>
                  <a:lnTo>
                    <a:pt x="1230" y="192"/>
                  </a:lnTo>
                  <a:lnTo>
                    <a:pt x="1218" y="180"/>
                  </a:lnTo>
                  <a:lnTo>
                    <a:pt x="1218" y="174"/>
                  </a:lnTo>
                  <a:lnTo>
                    <a:pt x="1212" y="168"/>
                  </a:lnTo>
                  <a:lnTo>
                    <a:pt x="1152" y="168"/>
                  </a:lnTo>
                  <a:lnTo>
                    <a:pt x="1128" y="144"/>
                  </a:lnTo>
                  <a:lnTo>
                    <a:pt x="1092" y="144"/>
                  </a:lnTo>
                  <a:lnTo>
                    <a:pt x="1086" y="138"/>
                  </a:lnTo>
                  <a:lnTo>
                    <a:pt x="1080" y="138"/>
                  </a:lnTo>
                  <a:lnTo>
                    <a:pt x="1068" y="132"/>
                  </a:lnTo>
                  <a:lnTo>
                    <a:pt x="1020" y="132"/>
                  </a:lnTo>
                  <a:lnTo>
                    <a:pt x="966" y="150"/>
                  </a:lnTo>
                  <a:lnTo>
                    <a:pt x="954" y="156"/>
                  </a:lnTo>
                  <a:lnTo>
                    <a:pt x="942" y="156"/>
                  </a:lnTo>
                  <a:lnTo>
                    <a:pt x="930" y="150"/>
                  </a:lnTo>
                  <a:lnTo>
                    <a:pt x="918" y="150"/>
                  </a:lnTo>
                  <a:lnTo>
                    <a:pt x="912" y="144"/>
                  </a:lnTo>
                  <a:lnTo>
                    <a:pt x="882" y="144"/>
                  </a:lnTo>
                  <a:lnTo>
                    <a:pt x="864" y="126"/>
                  </a:lnTo>
                  <a:lnTo>
                    <a:pt x="864" y="120"/>
                  </a:lnTo>
                  <a:lnTo>
                    <a:pt x="840" y="126"/>
                  </a:lnTo>
                  <a:lnTo>
                    <a:pt x="840" y="120"/>
                  </a:lnTo>
                  <a:lnTo>
                    <a:pt x="834" y="114"/>
                  </a:lnTo>
                  <a:lnTo>
                    <a:pt x="822" y="90"/>
                  </a:lnTo>
                  <a:lnTo>
                    <a:pt x="810" y="78"/>
                  </a:lnTo>
                  <a:lnTo>
                    <a:pt x="804" y="66"/>
                  </a:lnTo>
                  <a:lnTo>
                    <a:pt x="798" y="60"/>
                  </a:lnTo>
                  <a:lnTo>
                    <a:pt x="786" y="54"/>
                  </a:lnTo>
                  <a:lnTo>
                    <a:pt x="768" y="54"/>
                  </a:lnTo>
                  <a:lnTo>
                    <a:pt x="756" y="60"/>
                  </a:lnTo>
                  <a:lnTo>
                    <a:pt x="750" y="60"/>
                  </a:lnTo>
                  <a:lnTo>
                    <a:pt x="726" y="48"/>
                  </a:lnTo>
                  <a:lnTo>
                    <a:pt x="720" y="42"/>
                  </a:lnTo>
                  <a:lnTo>
                    <a:pt x="708" y="36"/>
                  </a:lnTo>
                  <a:lnTo>
                    <a:pt x="672" y="36"/>
                  </a:lnTo>
                  <a:lnTo>
                    <a:pt x="648" y="30"/>
                  </a:lnTo>
                  <a:lnTo>
                    <a:pt x="636" y="30"/>
                  </a:lnTo>
                  <a:lnTo>
                    <a:pt x="576" y="0"/>
                  </a:lnTo>
                  <a:lnTo>
                    <a:pt x="576" y="18"/>
                  </a:lnTo>
                  <a:lnTo>
                    <a:pt x="570" y="30"/>
                  </a:lnTo>
                  <a:lnTo>
                    <a:pt x="558" y="36"/>
                  </a:lnTo>
                  <a:lnTo>
                    <a:pt x="552" y="36"/>
                  </a:lnTo>
                  <a:lnTo>
                    <a:pt x="558" y="48"/>
                  </a:lnTo>
                  <a:lnTo>
                    <a:pt x="540" y="48"/>
                  </a:lnTo>
                  <a:lnTo>
                    <a:pt x="540" y="60"/>
                  </a:lnTo>
                  <a:lnTo>
                    <a:pt x="552" y="72"/>
                  </a:lnTo>
                  <a:lnTo>
                    <a:pt x="558" y="90"/>
                  </a:lnTo>
                  <a:lnTo>
                    <a:pt x="582" y="126"/>
                  </a:lnTo>
                  <a:lnTo>
                    <a:pt x="588" y="126"/>
                  </a:lnTo>
                  <a:lnTo>
                    <a:pt x="594" y="132"/>
                  </a:lnTo>
                  <a:lnTo>
                    <a:pt x="600" y="144"/>
                  </a:lnTo>
                  <a:lnTo>
                    <a:pt x="600" y="168"/>
                  </a:lnTo>
                  <a:lnTo>
                    <a:pt x="582" y="168"/>
                  </a:lnTo>
                  <a:lnTo>
                    <a:pt x="582" y="174"/>
                  </a:lnTo>
                  <a:lnTo>
                    <a:pt x="576" y="180"/>
                  </a:lnTo>
                  <a:lnTo>
                    <a:pt x="552" y="192"/>
                  </a:lnTo>
                  <a:lnTo>
                    <a:pt x="546" y="186"/>
                  </a:lnTo>
                  <a:lnTo>
                    <a:pt x="546" y="174"/>
                  </a:lnTo>
                  <a:lnTo>
                    <a:pt x="498" y="180"/>
                  </a:lnTo>
                  <a:lnTo>
                    <a:pt x="498" y="168"/>
                  </a:lnTo>
                  <a:lnTo>
                    <a:pt x="456" y="168"/>
                  </a:lnTo>
                  <a:lnTo>
                    <a:pt x="450" y="174"/>
                  </a:lnTo>
                  <a:lnTo>
                    <a:pt x="450" y="180"/>
                  </a:lnTo>
                  <a:lnTo>
                    <a:pt x="444" y="168"/>
                  </a:lnTo>
                  <a:lnTo>
                    <a:pt x="420" y="174"/>
                  </a:lnTo>
                  <a:lnTo>
                    <a:pt x="414" y="162"/>
                  </a:lnTo>
                  <a:lnTo>
                    <a:pt x="384" y="162"/>
                  </a:lnTo>
                  <a:lnTo>
                    <a:pt x="366" y="156"/>
                  </a:lnTo>
                  <a:lnTo>
                    <a:pt x="360" y="150"/>
                  </a:lnTo>
                  <a:lnTo>
                    <a:pt x="360" y="138"/>
                  </a:lnTo>
                  <a:lnTo>
                    <a:pt x="354" y="132"/>
                  </a:lnTo>
                  <a:lnTo>
                    <a:pt x="354" y="126"/>
                  </a:lnTo>
                  <a:lnTo>
                    <a:pt x="312" y="126"/>
                  </a:lnTo>
                  <a:lnTo>
                    <a:pt x="294" y="132"/>
                  </a:lnTo>
                  <a:lnTo>
                    <a:pt x="270" y="132"/>
                  </a:lnTo>
                  <a:lnTo>
                    <a:pt x="264" y="114"/>
                  </a:lnTo>
                  <a:lnTo>
                    <a:pt x="228" y="114"/>
                  </a:lnTo>
                  <a:lnTo>
                    <a:pt x="228" y="108"/>
                  </a:lnTo>
                  <a:lnTo>
                    <a:pt x="210" y="114"/>
                  </a:lnTo>
                  <a:lnTo>
                    <a:pt x="204" y="108"/>
                  </a:lnTo>
                  <a:lnTo>
                    <a:pt x="186" y="108"/>
                  </a:lnTo>
                  <a:lnTo>
                    <a:pt x="180" y="114"/>
                  </a:lnTo>
                  <a:lnTo>
                    <a:pt x="180" y="120"/>
                  </a:lnTo>
                  <a:lnTo>
                    <a:pt x="174" y="126"/>
                  </a:lnTo>
                  <a:lnTo>
                    <a:pt x="174" y="132"/>
                  </a:lnTo>
                  <a:lnTo>
                    <a:pt x="150" y="132"/>
                  </a:lnTo>
                  <a:lnTo>
                    <a:pt x="138" y="150"/>
                  </a:lnTo>
                  <a:lnTo>
                    <a:pt x="120" y="150"/>
                  </a:lnTo>
                  <a:lnTo>
                    <a:pt x="84" y="186"/>
                  </a:lnTo>
                  <a:lnTo>
                    <a:pt x="84" y="192"/>
                  </a:lnTo>
                  <a:lnTo>
                    <a:pt x="90" y="198"/>
                  </a:lnTo>
                  <a:lnTo>
                    <a:pt x="66" y="198"/>
                  </a:lnTo>
                  <a:lnTo>
                    <a:pt x="72" y="210"/>
                  </a:lnTo>
                  <a:lnTo>
                    <a:pt x="12" y="210"/>
                  </a:lnTo>
                  <a:lnTo>
                    <a:pt x="12" y="228"/>
                  </a:lnTo>
                  <a:lnTo>
                    <a:pt x="0" y="240"/>
                  </a:lnTo>
                  <a:lnTo>
                    <a:pt x="6" y="246"/>
                  </a:lnTo>
                  <a:lnTo>
                    <a:pt x="6" y="258"/>
                  </a:lnTo>
                  <a:lnTo>
                    <a:pt x="0" y="264"/>
                  </a:lnTo>
                  <a:lnTo>
                    <a:pt x="24" y="264"/>
                  </a:lnTo>
                  <a:lnTo>
                    <a:pt x="24" y="282"/>
                  </a:lnTo>
                  <a:lnTo>
                    <a:pt x="36" y="288"/>
                  </a:lnTo>
                  <a:lnTo>
                    <a:pt x="48" y="288"/>
                  </a:lnTo>
                  <a:lnTo>
                    <a:pt x="60" y="294"/>
                  </a:lnTo>
                  <a:lnTo>
                    <a:pt x="72" y="294"/>
                  </a:lnTo>
                  <a:lnTo>
                    <a:pt x="78" y="306"/>
                  </a:lnTo>
                  <a:lnTo>
                    <a:pt x="102" y="330"/>
                  </a:lnTo>
                  <a:lnTo>
                    <a:pt x="138" y="318"/>
                  </a:lnTo>
                  <a:lnTo>
                    <a:pt x="156" y="330"/>
                  </a:lnTo>
                  <a:lnTo>
                    <a:pt x="162" y="336"/>
                  </a:lnTo>
                  <a:lnTo>
                    <a:pt x="174" y="336"/>
                  </a:lnTo>
                  <a:lnTo>
                    <a:pt x="186" y="342"/>
                  </a:lnTo>
                  <a:lnTo>
                    <a:pt x="204" y="348"/>
                  </a:lnTo>
                  <a:lnTo>
                    <a:pt x="222" y="366"/>
                  </a:lnTo>
                  <a:lnTo>
                    <a:pt x="228" y="378"/>
                  </a:lnTo>
                  <a:lnTo>
                    <a:pt x="240" y="396"/>
                  </a:lnTo>
                  <a:lnTo>
                    <a:pt x="264" y="414"/>
                  </a:lnTo>
                  <a:lnTo>
                    <a:pt x="276" y="426"/>
                  </a:lnTo>
                  <a:lnTo>
                    <a:pt x="282" y="438"/>
                  </a:lnTo>
                  <a:lnTo>
                    <a:pt x="282" y="450"/>
                  </a:lnTo>
                  <a:lnTo>
                    <a:pt x="288" y="456"/>
                  </a:lnTo>
                  <a:lnTo>
                    <a:pt x="294" y="468"/>
                  </a:lnTo>
                  <a:lnTo>
                    <a:pt x="300" y="474"/>
                  </a:lnTo>
                  <a:lnTo>
                    <a:pt x="300" y="480"/>
                  </a:lnTo>
                  <a:lnTo>
                    <a:pt x="288" y="492"/>
                  </a:lnTo>
                  <a:lnTo>
                    <a:pt x="288" y="504"/>
                  </a:lnTo>
                  <a:lnTo>
                    <a:pt x="294" y="522"/>
                  </a:lnTo>
                  <a:lnTo>
                    <a:pt x="300" y="534"/>
                  </a:lnTo>
                  <a:lnTo>
                    <a:pt x="306" y="540"/>
                  </a:lnTo>
                  <a:lnTo>
                    <a:pt x="318" y="546"/>
                  </a:lnTo>
                  <a:lnTo>
                    <a:pt x="330" y="546"/>
                  </a:lnTo>
                  <a:lnTo>
                    <a:pt x="342" y="552"/>
                  </a:lnTo>
                  <a:lnTo>
                    <a:pt x="348" y="552"/>
                  </a:lnTo>
                  <a:lnTo>
                    <a:pt x="366" y="558"/>
                  </a:lnTo>
                  <a:lnTo>
                    <a:pt x="390" y="564"/>
                  </a:lnTo>
                  <a:lnTo>
                    <a:pt x="486" y="564"/>
                  </a:lnTo>
                  <a:lnTo>
                    <a:pt x="492" y="570"/>
                  </a:lnTo>
                  <a:lnTo>
                    <a:pt x="498" y="570"/>
                  </a:lnTo>
                  <a:lnTo>
                    <a:pt x="510" y="576"/>
                  </a:lnTo>
                  <a:lnTo>
                    <a:pt x="516" y="576"/>
                  </a:lnTo>
                  <a:lnTo>
                    <a:pt x="528" y="582"/>
                  </a:lnTo>
                  <a:lnTo>
                    <a:pt x="534" y="594"/>
                  </a:lnTo>
                  <a:lnTo>
                    <a:pt x="540" y="594"/>
                  </a:lnTo>
                  <a:lnTo>
                    <a:pt x="546" y="600"/>
                  </a:lnTo>
                  <a:lnTo>
                    <a:pt x="552" y="600"/>
                  </a:lnTo>
                  <a:lnTo>
                    <a:pt x="576" y="612"/>
                  </a:lnTo>
                  <a:lnTo>
                    <a:pt x="588" y="612"/>
                  </a:lnTo>
                  <a:lnTo>
                    <a:pt x="594" y="618"/>
                  </a:lnTo>
                  <a:lnTo>
                    <a:pt x="630" y="618"/>
                  </a:lnTo>
                  <a:lnTo>
                    <a:pt x="642" y="642"/>
                  </a:lnTo>
                  <a:lnTo>
                    <a:pt x="684" y="684"/>
                  </a:lnTo>
                  <a:lnTo>
                    <a:pt x="690" y="696"/>
                  </a:lnTo>
                  <a:lnTo>
                    <a:pt x="720" y="726"/>
                  </a:lnTo>
                  <a:lnTo>
                    <a:pt x="732" y="732"/>
                  </a:lnTo>
                  <a:lnTo>
                    <a:pt x="738" y="744"/>
                  </a:lnTo>
                  <a:lnTo>
                    <a:pt x="750" y="750"/>
                  </a:lnTo>
                  <a:lnTo>
                    <a:pt x="810" y="744"/>
                  </a:lnTo>
                  <a:lnTo>
                    <a:pt x="864" y="750"/>
                  </a:lnTo>
                  <a:lnTo>
                    <a:pt x="912" y="750"/>
                  </a:lnTo>
                  <a:lnTo>
                    <a:pt x="948" y="756"/>
                  </a:lnTo>
                  <a:lnTo>
                    <a:pt x="954" y="750"/>
                  </a:lnTo>
                  <a:lnTo>
                    <a:pt x="966" y="744"/>
                  </a:lnTo>
                  <a:lnTo>
                    <a:pt x="972" y="738"/>
                  </a:lnTo>
                  <a:lnTo>
                    <a:pt x="984" y="738"/>
                  </a:lnTo>
                  <a:lnTo>
                    <a:pt x="996" y="744"/>
                  </a:lnTo>
                  <a:lnTo>
                    <a:pt x="1002" y="744"/>
                  </a:lnTo>
                  <a:lnTo>
                    <a:pt x="1008" y="750"/>
                  </a:lnTo>
                  <a:lnTo>
                    <a:pt x="1062" y="750"/>
                  </a:lnTo>
                  <a:lnTo>
                    <a:pt x="1080" y="756"/>
                  </a:lnTo>
                  <a:lnTo>
                    <a:pt x="1092" y="756"/>
                  </a:lnTo>
                  <a:lnTo>
                    <a:pt x="1110" y="774"/>
                  </a:lnTo>
                  <a:lnTo>
                    <a:pt x="1116" y="786"/>
                  </a:lnTo>
                  <a:lnTo>
                    <a:pt x="1128" y="792"/>
                  </a:lnTo>
                  <a:lnTo>
                    <a:pt x="1152" y="798"/>
                  </a:lnTo>
                  <a:lnTo>
                    <a:pt x="1200" y="798"/>
                  </a:lnTo>
                  <a:lnTo>
                    <a:pt x="1218" y="804"/>
                  </a:lnTo>
                  <a:lnTo>
                    <a:pt x="1242" y="816"/>
                  </a:lnTo>
                  <a:lnTo>
                    <a:pt x="1248" y="822"/>
                  </a:lnTo>
                  <a:lnTo>
                    <a:pt x="1260" y="822"/>
                  </a:lnTo>
                  <a:lnTo>
                    <a:pt x="1266" y="816"/>
                  </a:lnTo>
                  <a:lnTo>
                    <a:pt x="1278" y="816"/>
                  </a:lnTo>
                  <a:lnTo>
                    <a:pt x="1290" y="810"/>
                  </a:lnTo>
                  <a:lnTo>
                    <a:pt x="1302" y="810"/>
                  </a:lnTo>
                  <a:lnTo>
                    <a:pt x="1302" y="816"/>
                  </a:lnTo>
                  <a:lnTo>
                    <a:pt x="1308" y="828"/>
                  </a:lnTo>
                  <a:lnTo>
                    <a:pt x="1314" y="828"/>
                  </a:lnTo>
                  <a:lnTo>
                    <a:pt x="1320" y="834"/>
                  </a:lnTo>
                  <a:lnTo>
                    <a:pt x="1338" y="834"/>
                  </a:lnTo>
                  <a:lnTo>
                    <a:pt x="1344" y="828"/>
                  </a:lnTo>
                  <a:lnTo>
                    <a:pt x="1362" y="816"/>
                  </a:lnTo>
                  <a:lnTo>
                    <a:pt x="1422" y="780"/>
                  </a:lnTo>
                  <a:lnTo>
                    <a:pt x="1440" y="768"/>
                  </a:lnTo>
                  <a:lnTo>
                    <a:pt x="1596" y="768"/>
                  </a:lnTo>
                  <a:lnTo>
                    <a:pt x="1614" y="744"/>
                  </a:lnTo>
                  <a:lnTo>
                    <a:pt x="1638" y="744"/>
                  </a:lnTo>
                  <a:lnTo>
                    <a:pt x="1650" y="738"/>
                  </a:lnTo>
                  <a:lnTo>
                    <a:pt x="1662" y="714"/>
                  </a:lnTo>
                  <a:lnTo>
                    <a:pt x="1662" y="708"/>
                  </a:lnTo>
                  <a:lnTo>
                    <a:pt x="1668" y="696"/>
                  </a:lnTo>
                  <a:lnTo>
                    <a:pt x="1668" y="690"/>
                  </a:lnTo>
                  <a:lnTo>
                    <a:pt x="1692" y="690"/>
                  </a:lnTo>
                  <a:lnTo>
                    <a:pt x="1704" y="678"/>
                  </a:lnTo>
                  <a:lnTo>
                    <a:pt x="1710" y="666"/>
                  </a:lnTo>
                  <a:lnTo>
                    <a:pt x="1716" y="660"/>
                  </a:lnTo>
                  <a:lnTo>
                    <a:pt x="1716" y="654"/>
                  </a:lnTo>
                  <a:lnTo>
                    <a:pt x="1704" y="648"/>
                  </a:lnTo>
                  <a:lnTo>
                    <a:pt x="1686" y="630"/>
                  </a:lnTo>
                  <a:lnTo>
                    <a:pt x="1674" y="624"/>
                  </a:lnTo>
                  <a:lnTo>
                    <a:pt x="1656" y="606"/>
                  </a:lnTo>
                  <a:lnTo>
                    <a:pt x="1650" y="594"/>
                  </a:lnTo>
                  <a:lnTo>
                    <a:pt x="1650" y="582"/>
                  </a:lnTo>
                  <a:lnTo>
                    <a:pt x="1656" y="570"/>
                  </a:lnTo>
                  <a:lnTo>
                    <a:pt x="1656" y="558"/>
                  </a:lnTo>
                  <a:lnTo>
                    <a:pt x="1668" y="552"/>
                  </a:lnTo>
                  <a:lnTo>
                    <a:pt x="1692" y="552"/>
                  </a:lnTo>
                  <a:lnTo>
                    <a:pt x="1698" y="558"/>
                  </a:lnTo>
                  <a:lnTo>
                    <a:pt x="1704" y="558"/>
                  </a:lnTo>
                  <a:lnTo>
                    <a:pt x="1710" y="564"/>
                  </a:lnTo>
                  <a:lnTo>
                    <a:pt x="1722" y="570"/>
                  </a:lnTo>
                  <a:lnTo>
                    <a:pt x="1728" y="576"/>
                  </a:lnTo>
                  <a:lnTo>
                    <a:pt x="1740" y="582"/>
                  </a:lnTo>
                  <a:lnTo>
                    <a:pt x="1764" y="582"/>
                  </a:lnTo>
                  <a:lnTo>
                    <a:pt x="1776" y="576"/>
                  </a:lnTo>
                  <a:lnTo>
                    <a:pt x="1794" y="576"/>
                  </a:lnTo>
                  <a:lnTo>
                    <a:pt x="1806" y="570"/>
                  </a:lnTo>
                  <a:lnTo>
                    <a:pt x="1812" y="558"/>
                  </a:lnTo>
                  <a:lnTo>
                    <a:pt x="1818" y="552"/>
                  </a:lnTo>
                  <a:lnTo>
                    <a:pt x="1818" y="528"/>
                  </a:lnTo>
                  <a:lnTo>
                    <a:pt x="1890" y="528"/>
                  </a:lnTo>
                  <a:lnTo>
                    <a:pt x="1914" y="504"/>
                  </a:lnTo>
                  <a:lnTo>
                    <a:pt x="1902" y="492"/>
                  </a:lnTo>
                  <a:lnTo>
                    <a:pt x="1896" y="480"/>
                  </a:lnTo>
                  <a:lnTo>
                    <a:pt x="1902" y="474"/>
                  </a:lnTo>
                  <a:lnTo>
                    <a:pt x="1938" y="456"/>
                  </a:lnTo>
                  <a:lnTo>
                    <a:pt x="1950" y="456"/>
                  </a:lnTo>
                  <a:lnTo>
                    <a:pt x="1950" y="438"/>
                  </a:lnTo>
                  <a:lnTo>
                    <a:pt x="1980" y="444"/>
                  </a:lnTo>
                  <a:lnTo>
                    <a:pt x="1998" y="426"/>
                  </a:lnTo>
                  <a:lnTo>
                    <a:pt x="2004" y="426"/>
                  </a:lnTo>
                  <a:lnTo>
                    <a:pt x="2010" y="420"/>
                  </a:lnTo>
                  <a:lnTo>
                    <a:pt x="2040" y="420"/>
                  </a:lnTo>
                  <a:lnTo>
                    <a:pt x="2052" y="426"/>
                  </a:lnTo>
                  <a:lnTo>
                    <a:pt x="2058" y="432"/>
                  </a:lnTo>
                  <a:lnTo>
                    <a:pt x="2094" y="432"/>
                  </a:lnTo>
                  <a:lnTo>
                    <a:pt x="2100" y="426"/>
                  </a:lnTo>
                  <a:lnTo>
                    <a:pt x="2100" y="420"/>
                  </a:lnTo>
                  <a:lnTo>
                    <a:pt x="2088" y="408"/>
                  </a:lnTo>
                  <a:close/>
                </a:path>
              </a:pathLst>
            </a:custGeom>
            <a:grpFill/>
            <a:ln w="3175">
              <a:solidFill>
                <a:schemeClr val="bg1"/>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de-DE" sz="1800" b="0" i="0" u="none" strike="noStrike" kern="1200" cap="none" spc="0" normalizeH="0" baseline="0" noProof="0">
                <a:ln>
                  <a:noFill/>
                </a:ln>
                <a:solidFill>
                  <a:srgbClr val="FFC000"/>
                </a:solidFill>
                <a:effectLst/>
                <a:uLnTx/>
                <a:uFillTx/>
                <a:latin typeface="Calibri" pitchFamily="34" charset="0"/>
                <a:ea typeface="+mn-ea"/>
                <a:cs typeface="+mn-cs"/>
              </a:endParaRPr>
            </a:p>
          </p:txBody>
        </p:sp>
        <p:sp>
          <p:nvSpPr>
            <p:cNvPr id="88" name="Moldova" descr="© INSCALE GmbH, 05.05.2010&#10;http://www.presentationload.com/"/>
            <p:cNvSpPr>
              <a:spLocks/>
            </p:cNvSpPr>
            <p:nvPr/>
          </p:nvSpPr>
          <p:spPr bwMode="gray">
            <a:xfrm>
              <a:off x="5037829" y="3094928"/>
              <a:ext cx="69112" cy="73487"/>
            </a:xfrm>
            <a:custGeom>
              <a:avLst/>
              <a:gdLst>
                <a:gd name="T0" fmla="*/ 2147483647 w 216"/>
                <a:gd name="T1" fmla="*/ 2147483647 h 240"/>
                <a:gd name="T2" fmla="*/ 2147483647 w 216"/>
                <a:gd name="T3" fmla="*/ 2147483647 h 240"/>
                <a:gd name="T4" fmla="*/ 2147483647 w 216"/>
                <a:gd name="T5" fmla="*/ 2147483647 h 240"/>
                <a:gd name="T6" fmla="*/ 2147483647 w 216"/>
                <a:gd name="T7" fmla="*/ 2147483647 h 240"/>
                <a:gd name="T8" fmla="*/ 2147483647 w 216"/>
                <a:gd name="T9" fmla="*/ 2147483647 h 240"/>
                <a:gd name="T10" fmla="*/ 2147483647 w 216"/>
                <a:gd name="T11" fmla="*/ 2147483647 h 240"/>
                <a:gd name="T12" fmla="*/ 2147483647 w 216"/>
                <a:gd name="T13" fmla="*/ 2147483647 h 240"/>
                <a:gd name="T14" fmla="*/ 2147483647 w 216"/>
                <a:gd name="T15" fmla="*/ 2147483647 h 240"/>
                <a:gd name="T16" fmla="*/ 2147483647 w 216"/>
                <a:gd name="T17" fmla="*/ 2147483647 h 240"/>
                <a:gd name="T18" fmla="*/ 2147483647 w 216"/>
                <a:gd name="T19" fmla="*/ 2147483647 h 240"/>
                <a:gd name="T20" fmla="*/ 2147483647 w 216"/>
                <a:gd name="T21" fmla="*/ 2147483647 h 240"/>
                <a:gd name="T22" fmla="*/ 2147483647 w 216"/>
                <a:gd name="T23" fmla="*/ 2147483647 h 240"/>
                <a:gd name="T24" fmla="*/ 2147483647 w 216"/>
                <a:gd name="T25" fmla="*/ 2147483647 h 240"/>
                <a:gd name="T26" fmla="*/ 2147483647 w 216"/>
                <a:gd name="T27" fmla="*/ 2147483647 h 240"/>
                <a:gd name="T28" fmla="*/ 2147483647 w 216"/>
                <a:gd name="T29" fmla="*/ 2147483647 h 240"/>
                <a:gd name="T30" fmla="*/ 2147483647 w 216"/>
                <a:gd name="T31" fmla="*/ 2147483647 h 240"/>
                <a:gd name="T32" fmla="*/ 2147483647 w 216"/>
                <a:gd name="T33" fmla="*/ 2147483647 h 240"/>
                <a:gd name="T34" fmla="*/ 2147483647 w 216"/>
                <a:gd name="T35" fmla="*/ 2147483647 h 240"/>
                <a:gd name="T36" fmla="*/ 2147483647 w 216"/>
                <a:gd name="T37" fmla="*/ 2147483647 h 240"/>
                <a:gd name="T38" fmla="*/ 2147483647 w 216"/>
                <a:gd name="T39" fmla="*/ 2147483647 h 240"/>
                <a:gd name="T40" fmla="*/ 2147483647 w 216"/>
                <a:gd name="T41" fmla="*/ 2147483647 h 240"/>
                <a:gd name="T42" fmla="*/ 2147483647 w 216"/>
                <a:gd name="T43" fmla="*/ 2147483647 h 240"/>
                <a:gd name="T44" fmla="*/ 2147483647 w 216"/>
                <a:gd name="T45" fmla="*/ 2147483647 h 240"/>
                <a:gd name="T46" fmla="*/ 2147483647 w 216"/>
                <a:gd name="T47" fmla="*/ 2147483647 h 240"/>
                <a:gd name="T48" fmla="*/ 2147483647 w 216"/>
                <a:gd name="T49" fmla="*/ 2147483647 h 240"/>
                <a:gd name="T50" fmla="*/ 2147483647 w 216"/>
                <a:gd name="T51" fmla="*/ 2147483647 h 240"/>
                <a:gd name="T52" fmla="*/ 2147483647 w 216"/>
                <a:gd name="T53" fmla="*/ 2147483647 h 240"/>
                <a:gd name="T54" fmla="*/ 2147483647 w 216"/>
                <a:gd name="T55" fmla="*/ 2147483647 h 240"/>
                <a:gd name="T56" fmla="*/ 2147483647 w 216"/>
                <a:gd name="T57" fmla="*/ 2147483647 h 240"/>
                <a:gd name="T58" fmla="*/ 2147483647 w 216"/>
                <a:gd name="T59" fmla="*/ 2147483647 h 240"/>
                <a:gd name="T60" fmla="*/ 2147483647 w 216"/>
                <a:gd name="T61" fmla="*/ 0 h 240"/>
                <a:gd name="T62" fmla="*/ 2147483647 w 216"/>
                <a:gd name="T63" fmla="*/ 2147483647 h 240"/>
                <a:gd name="T64" fmla="*/ 2147483647 w 216"/>
                <a:gd name="T65" fmla="*/ 2147483647 h 240"/>
                <a:gd name="T66" fmla="*/ 2147483647 w 216"/>
                <a:gd name="T67" fmla="*/ 2147483647 h 240"/>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216"/>
                <a:gd name="T103" fmla="*/ 0 h 240"/>
                <a:gd name="T104" fmla="*/ 216 w 216"/>
                <a:gd name="T105" fmla="*/ 240 h 240"/>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216" h="240">
                  <a:moveTo>
                    <a:pt x="0" y="18"/>
                  </a:moveTo>
                  <a:lnTo>
                    <a:pt x="18" y="24"/>
                  </a:lnTo>
                  <a:lnTo>
                    <a:pt x="24" y="30"/>
                  </a:lnTo>
                  <a:lnTo>
                    <a:pt x="30" y="42"/>
                  </a:lnTo>
                  <a:lnTo>
                    <a:pt x="36" y="48"/>
                  </a:lnTo>
                  <a:lnTo>
                    <a:pt x="36" y="60"/>
                  </a:lnTo>
                  <a:lnTo>
                    <a:pt x="60" y="72"/>
                  </a:lnTo>
                  <a:lnTo>
                    <a:pt x="66" y="96"/>
                  </a:lnTo>
                  <a:lnTo>
                    <a:pt x="78" y="96"/>
                  </a:lnTo>
                  <a:lnTo>
                    <a:pt x="84" y="114"/>
                  </a:lnTo>
                  <a:lnTo>
                    <a:pt x="102" y="114"/>
                  </a:lnTo>
                  <a:lnTo>
                    <a:pt x="108" y="120"/>
                  </a:lnTo>
                  <a:lnTo>
                    <a:pt x="108" y="162"/>
                  </a:lnTo>
                  <a:lnTo>
                    <a:pt x="114" y="162"/>
                  </a:lnTo>
                  <a:lnTo>
                    <a:pt x="108" y="168"/>
                  </a:lnTo>
                  <a:lnTo>
                    <a:pt x="108" y="180"/>
                  </a:lnTo>
                  <a:lnTo>
                    <a:pt x="102" y="186"/>
                  </a:lnTo>
                  <a:lnTo>
                    <a:pt x="102" y="198"/>
                  </a:lnTo>
                  <a:lnTo>
                    <a:pt x="108" y="210"/>
                  </a:lnTo>
                  <a:lnTo>
                    <a:pt x="114" y="216"/>
                  </a:lnTo>
                  <a:lnTo>
                    <a:pt x="114" y="240"/>
                  </a:lnTo>
                  <a:lnTo>
                    <a:pt x="138" y="234"/>
                  </a:lnTo>
                  <a:lnTo>
                    <a:pt x="138" y="222"/>
                  </a:lnTo>
                  <a:lnTo>
                    <a:pt x="132" y="216"/>
                  </a:lnTo>
                  <a:lnTo>
                    <a:pt x="132" y="204"/>
                  </a:lnTo>
                  <a:lnTo>
                    <a:pt x="138" y="204"/>
                  </a:lnTo>
                  <a:lnTo>
                    <a:pt x="150" y="198"/>
                  </a:lnTo>
                  <a:lnTo>
                    <a:pt x="156" y="192"/>
                  </a:lnTo>
                  <a:lnTo>
                    <a:pt x="174" y="180"/>
                  </a:lnTo>
                  <a:lnTo>
                    <a:pt x="168" y="174"/>
                  </a:lnTo>
                  <a:lnTo>
                    <a:pt x="156" y="168"/>
                  </a:lnTo>
                  <a:lnTo>
                    <a:pt x="150" y="168"/>
                  </a:lnTo>
                  <a:lnTo>
                    <a:pt x="150" y="162"/>
                  </a:lnTo>
                  <a:lnTo>
                    <a:pt x="156" y="156"/>
                  </a:lnTo>
                  <a:lnTo>
                    <a:pt x="174" y="156"/>
                  </a:lnTo>
                  <a:lnTo>
                    <a:pt x="180" y="162"/>
                  </a:lnTo>
                  <a:lnTo>
                    <a:pt x="198" y="162"/>
                  </a:lnTo>
                  <a:lnTo>
                    <a:pt x="210" y="156"/>
                  </a:lnTo>
                  <a:lnTo>
                    <a:pt x="216" y="156"/>
                  </a:lnTo>
                  <a:lnTo>
                    <a:pt x="216" y="126"/>
                  </a:lnTo>
                  <a:lnTo>
                    <a:pt x="210" y="120"/>
                  </a:lnTo>
                  <a:lnTo>
                    <a:pt x="198" y="120"/>
                  </a:lnTo>
                  <a:lnTo>
                    <a:pt x="192" y="114"/>
                  </a:lnTo>
                  <a:lnTo>
                    <a:pt x="180" y="114"/>
                  </a:lnTo>
                  <a:lnTo>
                    <a:pt x="180" y="96"/>
                  </a:lnTo>
                  <a:lnTo>
                    <a:pt x="186" y="90"/>
                  </a:lnTo>
                  <a:lnTo>
                    <a:pt x="180" y="84"/>
                  </a:lnTo>
                  <a:lnTo>
                    <a:pt x="174" y="84"/>
                  </a:lnTo>
                  <a:lnTo>
                    <a:pt x="162" y="90"/>
                  </a:lnTo>
                  <a:lnTo>
                    <a:pt x="162" y="66"/>
                  </a:lnTo>
                  <a:lnTo>
                    <a:pt x="168" y="60"/>
                  </a:lnTo>
                  <a:lnTo>
                    <a:pt x="162" y="48"/>
                  </a:lnTo>
                  <a:lnTo>
                    <a:pt x="156" y="42"/>
                  </a:lnTo>
                  <a:lnTo>
                    <a:pt x="144" y="36"/>
                  </a:lnTo>
                  <a:lnTo>
                    <a:pt x="126" y="36"/>
                  </a:lnTo>
                  <a:lnTo>
                    <a:pt x="126" y="24"/>
                  </a:lnTo>
                  <a:lnTo>
                    <a:pt x="120" y="18"/>
                  </a:lnTo>
                  <a:lnTo>
                    <a:pt x="78" y="18"/>
                  </a:lnTo>
                  <a:lnTo>
                    <a:pt x="78" y="12"/>
                  </a:lnTo>
                  <a:lnTo>
                    <a:pt x="72" y="12"/>
                  </a:lnTo>
                  <a:lnTo>
                    <a:pt x="60" y="0"/>
                  </a:lnTo>
                  <a:lnTo>
                    <a:pt x="54" y="0"/>
                  </a:lnTo>
                  <a:lnTo>
                    <a:pt x="42" y="6"/>
                  </a:lnTo>
                  <a:lnTo>
                    <a:pt x="36" y="6"/>
                  </a:lnTo>
                  <a:lnTo>
                    <a:pt x="36" y="12"/>
                  </a:lnTo>
                  <a:lnTo>
                    <a:pt x="24" y="12"/>
                  </a:lnTo>
                  <a:lnTo>
                    <a:pt x="12" y="6"/>
                  </a:lnTo>
                  <a:lnTo>
                    <a:pt x="6" y="6"/>
                  </a:lnTo>
                  <a:lnTo>
                    <a:pt x="0" y="18"/>
                  </a:lnTo>
                  <a:close/>
                </a:path>
              </a:pathLst>
            </a:custGeom>
            <a:grpFill/>
            <a:ln w="3175">
              <a:solidFill>
                <a:schemeClr val="bg1"/>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de-DE" sz="1800" b="0" i="0" u="none" strike="noStrike" kern="1200" cap="none" spc="0" normalizeH="0" baseline="0" noProof="0">
                <a:ln>
                  <a:noFill/>
                </a:ln>
                <a:solidFill>
                  <a:srgbClr val="FFC000"/>
                </a:solidFill>
                <a:effectLst/>
                <a:uLnTx/>
                <a:uFillTx/>
                <a:latin typeface="Calibri" pitchFamily="34" charset="0"/>
                <a:ea typeface="+mn-ea"/>
                <a:cs typeface="+mn-cs"/>
              </a:endParaRPr>
            </a:p>
          </p:txBody>
        </p:sp>
        <p:sp>
          <p:nvSpPr>
            <p:cNvPr id="89" name="Mexico" descr="© INSCALE GmbH, 05.05.2010&#10;http://www.presentationload.com/"/>
            <p:cNvSpPr>
              <a:spLocks/>
            </p:cNvSpPr>
            <p:nvPr/>
          </p:nvSpPr>
          <p:spPr bwMode="gray">
            <a:xfrm>
              <a:off x="1902219" y="3486861"/>
              <a:ext cx="604085" cy="453172"/>
            </a:xfrm>
            <a:custGeom>
              <a:avLst/>
              <a:gdLst>
                <a:gd name="T0" fmla="*/ 2147483647 w 1860"/>
                <a:gd name="T1" fmla="*/ 2147483647 h 1458"/>
                <a:gd name="T2" fmla="*/ 2147483647 w 1860"/>
                <a:gd name="T3" fmla="*/ 2147483647 h 1458"/>
                <a:gd name="T4" fmla="*/ 2147483647 w 1860"/>
                <a:gd name="T5" fmla="*/ 2147483647 h 1458"/>
                <a:gd name="T6" fmla="*/ 2147483647 w 1860"/>
                <a:gd name="T7" fmla="*/ 2147483647 h 1458"/>
                <a:gd name="T8" fmla="*/ 2147483647 w 1860"/>
                <a:gd name="T9" fmla="*/ 2147483647 h 1458"/>
                <a:gd name="T10" fmla="*/ 2147483647 w 1860"/>
                <a:gd name="T11" fmla="*/ 2147483647 h 1458"/>
                <a:gd name="T12" fmla="*/ 2147483647 w 1860"/>
                <a:gd name="T13" fmla="*/ 2147483647 h 1458"/>
                <a:gd name="T14" fmla="*/ 2147483647 w 1860"/>
                <a:gd name="T15" fmla="*/ 2147483647 h 1458"/>
                <a:gd name="T16" fmla="*/ 2147483647 w 1860"/>
                <a:gd name="T17" fmla="*/ 2147483647 h 1458"/>
                <a:gd name="T18" fmla="*/ 2147483647 w 1860"/>
                <a:gd name="T19" fmla="*/ 2147483647 h 1458"/>
                <a:gd name="T20" fmla="*/ 2147483647 w 1860"/>
                <a:gd name="T21" fmla="*/ 2147483647 h 1458"/>
                <a:gd name="T22" fmla="*/ 2147483647 w 1860"/>
                <a:gd name="T23" fmla="*/ 2147483647 h 1458"/>
                <a:gd name="T24" fmla="*/ 2147483647 w 1860"/>
                <a:gd name="T25" fmla="*/ 2147483647 h 1458"/>
                <a:gd name="T26" fmla="*/ 2147483647 w 1860"/>
                <a:gd name="T27" fmla="*/ 2147483647 h 1458"/>
                <a:gd name="T28" fmla="*/ 2147483647 w 1860"/>
                <a:gd name="T29" fmla="*/ 2147483647 h 1458"/>
                <a:gd name="T30" fmla="*/ 2147483647 w 1860"/>
                <a:gd name="T31" fmla="*/ 2147483647 h 1458"/>
                <a:gd name="T32" fmla="*/ 2147483647 w 1860"/>
                <a:gd name="T33" fmla="*/ 2147483647 h 1458"/>
                <a:gd name="T34" fmla="*/ 2147483647 w 1860"/>
                <a:gd name="T35" fmla="*/ 2147483647 h 1458"/>
                <a:gd name="T36" fmla="*/ 2147483647 w 1860"/>
                <a:gd name="T37" fmla="*/ 2147483647 h 1458"/>
                <a:gd name="T38" fmla="*/ 2147483647 w 1860"/>
                <a:gd name="T39" fmla="*/ 2147483647 h 1458"/>
                <a:gd name="T40" fmla="*/ 2147483647 w 1860"/>
                <a:gd name="T41" fmla="*/ 2147483647 h 1458"/>
                <a:gd name="T42" fmla="*/ 2147483647 w 1860"/>
                <a:gd name="T43" fmla="*/ 2147483647 h 1458"/>
                <a:gd name="T44" fmla="*/ 2147483647 w 1860"/>
                <a:gd name="T45" fmla="*/ 2147483647 h 1458"/>
                <a:gd name="T46" fmla="*/ 2147483647 w 1860"/>
                <a:gd name="T47" fmla="*/ 2147483647 h 1458"/>
                <a:gd name="T48" fmla="*/ 2147483647 w 1860"/>
                <a:gd name="T49" fmla="*/ 2147483647 h 1458"/>
                <a:gd name="T50" fmla="*/ 2147483647 w 1860"/>
                <a:gd name="T51" fmla="*/ 2147483647 h 1458"/>
                <a:gd name="T52" fmla="*/ 2147483647 w 1860"/>
                <a:gd name="T53" fmla="*/ 2147483647 h 1458"/>
                <a:gd name="T54" fmla="*/ 2147483647 w 1860"/>
                <a:gd name="T55" fmla="*/ 2147483647 h 1458"/>
                <a:gd name="T56" fmla="*/ 0 w 1860"/>
                <a:gd name="T57" fmla="*/ 2147483647 h 1458"/>
                <a:gd name="T58" fmla="*/ 2147483647 w 1860"/>
                <a:gd name="T59" fmla="*/ 2147483647 h 1458"/>
                <a:gd name="T60" fmla="*/ 2147483647 w 1860"/>
                <a:gd name="T61" fmla="*/ 2147483647 h 1458"/>
                <a:gd name="T62" fmla="*/ 2147483647 w 1860"/>
                <a:gd name="T63" fmla="*/ 2147483647 h 1458"/>
                <a:gd name="T64" fmla="*/ 2147483647 w 1860"/>
                <a:gd name="T65" fmla="*/ 2147483647 h 1458"/>
                <a:gd name="T66" fmla="*/ 2147483647 w 1860"/>
                <a:gd name="T67" fmla="*/ 2147483647 h 1458"/>
                <a:gd name="T68" fmla="*/ 2147483647 w 1860"/>
                <a:gd name="T69" fmla="*/ 2147483647 h 1458"/>
                <a:gd name="T70" fmla="*/ 2147483647 w 1860"/>
                <a:gd name="T71" fmla="*/ 2147483647 h 1458"/>
                <a:gd name="T72" fmla="*/ 2147483647 w 1860"/>
                <a:gd name="T73" fmla="*/ 2147483647 h 1458"/>
                <a:gd name="T74" fmla="*/ 2147483647 w 1860"/>
                <a:gd name="T75" fmla="*/ 2147483647 h 1458"/>
                <a:gd name="T76" fmla="*/ 2147483647 w 1860"/>
                <a:gd name="T77" fmla="*/ 2147483647 h 1458"/>
                <a:gd name="T78" fmla="*/ 2147483647 w 1860"/>
                <a:gd name="T79" fmla="*/ 2147483647 h 1458"/>
                <a:gd name="T80" fmla="*/ 2147483647 w 1860"/>
                <a:gd name="T81" fmla="*/ 2147483647 h 1458"/>
                <a:gd name="T82" fmla="*/ 2147483647 w 1860"/>
                <a:gd name="T83" fmla="*/ 2147483647 h 1458"/>
                <a:gd name="T84" fmla="*/ 2147483647 w 1860"/>
                <a:gd name="T85" fmla="*/ 2147483647 h 1458"/>
                <a:gd name="T86" fmla="*/ 2147483647 w 1860"/>
                <a:gd name="T87" fmla="*/ 2147483647 h 1458"/>
                <a:gd name="T88" fmla="*/ 2147483647 w 1860"/>
                <a:gd name="T89" fmla="*/ 2147483647 h 1458"/>
                <a:gd name="T90" fmla="*/ 2147483647 w 1860"/>
                <a:gd name="T91" fmla="*/ 2147483647 h 1458"/>
                <a:gd name="T92" fmla="*/ 2147483647 w 1860"/>
                <a:gd name="T93" fmla="*/ 2147483647 h 1458"/>
                <a:gd name="T94" fmla="*/ 2147483647 w 1860"/>
                <a:gd name="T95" fmla="*/ 2147483647 h 1458"/>
                <a:gd name="T96" fmla="*/ 2147483647 w 1860"/>
                <a:gd name="T97" fmla="*/ 2147483647 h 1458"/>
                <a:gd name="T98" fmla="*/ 2147483647 w 1860"/>
                <a:gd name="T99" fmla="*/ 2147483647 h 1458"/>
                <a:gd name="T100" fmla="*/ 2147483647 w 1860"/>
                <a:gd name="T101" fmla="*/ 2147483647 h 1458"/>
                <a:gd name="T102" fmla="*/ 2147483647 w 1860"/>
                <a:gd name="T103" fmla="*/ 2147483647 h 1458"/>
                <a:gd name="T104" fmla="*/ 2147483647 w 1860"/>
                <a:gd name="T105" fmla="*/ 2147483647 h 1458"/>
                <a:gd name="T106" fmla="*/ 2147483647 w 1860"/>
                <a:gd name="T107" fmla="*/ 2147483647 h 1458"/>
                <a:gd name="T108" fmla="*/ 2147483647 w 1860"/>
                <a:gd name="T109" fmla="*/ 2147483647 h 1458"/>
                <a:gd name="T110" fmla="*/ 2147483647 w 1860"/>
                <a:gd name="T111" fmla="*/ 2147483647 h 1458"/>
                <a:gd name="T112" fmla="*/ 2147483647 w 1860"/>
                <a:gd name="T113" fmla="*/ 2147483647 h 1458"/>
                <a:gd name="T114" fmla="*/ 2147483647 w 1860"/>
                <a:gd name="T115" fmla="*/ 2147483647 h 1458"/>
                <a:gd name="T116" fmla="*/ 2147483647 w 1860"/>
                <a:gd name="T117" fmla="*/ 2147483647 h 1458"/>
                <a:gd name="T118" fmla="*/ 2147483647 w 1860"/>
                <a:gd name="T119" fmla="*/ 2147483647 h 1458"/>
                <a:gd name="T120" fmla="*/ 2147483647 w 1860"/>
                <a:gd name="T121" fmla="*/ 2147483647 h 1458"/>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860"/>
                <a:gd name="T184" fmla="*/ 0 h 1458"/>
                <a:gd name="T185" fmla="*/ 1860 w 1860"/>
                <a:gd name="T186" fmla="*/ 1458 h 1458"/>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860" h="1458">
                  <a:moveTo>
                    <a:pt x="1422" y="1440"/>
                  </a:moveTo>
                  <a:lnTo>
                    <a:pt x="1422" y="1380"/>
                  </a:lnTo>
                  <a:lnTo>
                    <a:pt x="1452" y="1332"/>
                  </a:lnTo>
                  <a:lnTo>
                    <a:pt x="1542" y="1338"/>
                  </a:lnTo>
                  <a:lnTo>
                    <a:pt x="1542" y="1320"/>
                  </a:lnTo>
                  <a:lnTo>
                    <a:pt x="1548" y="1320"/>
                  </a:lnTo>
                  <a:lnTo>
                    <a:pt x="1554" y="1314"/>
                  </a:lnTo>
                  <a:lnTo>
                    <a:pt x="1554" y="1302"/>
                  </a:lnTo>
                  <a:lnTo>
                    <a:pt x="1536" y="1302"/>
                  </a:lnTo>
                  <a:lnTo>
                    <a:pt x="1530" y="1278"/>
                  </a:lnTo>
                  <a:lnTo>
                    <a:pt x="1524" y="1278"/>
                  </a:lnTo>
                  <a:lnTo>
                    <a:pt x="1512" y="1272"/>
                  </a:lnTo>
                  <a:lnTo>
                    <a:pt x="1506" y="1272"/>
                  </a:lnTo>
                  <a:lnTo>
                    <a:pt x="1500" y="1266"/>
                  </a:lnTo>
                  <a:lnTo>
                    <a:pt x="1494" y="1254"/>
                  </a:lnTo>
                  <a:lnTo>
                    <a:pt x="1494" y="1248"/>
                  </a:lnTo>
                  <a:lnTo>
                    <a:pt x="1482" y="1242"/>
                  </a:lnTo>
                  <a:lnTo>
                    <a:pt x="1506" y="1242"/>
                  </a:lnTo>
                  <a:lnTo>
                    <a:pt x="1518" y="1236"/>
                  </a:lnTo>
                  <a:lnTo>
                    <a:pt x="1524" y="1236"/>
                  </a:lnTo>
                  <a:lnTo>
                    <a:pt x="1524" y="1212"/>
                  </a:lnTo>
                  <a:lnTo>
                    <a:pt x="1518" y="1200"/>
                  </a:lnTo>
                  <a:lnTo>
                    <a:pt x="1518" y="1188"/>
                  </a:lnTo>
                  <a:lnTo>
                    <a:pt x="1650" y="1194"/>
                  </a:lnTo>
                  <a:lnTo>
                    <a:pt x="1656" y="1182"/>
                  </a:lnTo>
                  <a:lnTo>
                    <a:pt x="1656" y="1176"/>
                  </a:lnTo>
                  <a:lnTo>
                    <a:pt x="1662" y="1176"/>
                  </a:lnTo>
                  <a:lnTo>
                    <a:pt x="1668" y="1182"/>
                  </a:lnTo>
                  <a:lnTo>
                    <a:pt x="1668" y="1188"/>
                  </a:lnTo>
                  <a:lnTo>
                    <a:pt x="1674" y="1188"/>
                  </a:lnTo>
                  <a:lnTo>
                    <a:pt x="1680" y="1182"/>
                  </a:lnTo>
                  <a:lnTo>
                    <a:pt x="1692" y="1176"/>
                  </a:lnTo>
                  <a:lnTo>
                    <a:pt x="1698" y="1164"/>
                  </a:lnTo>
                  <a:lnTo>
                    <a:pt x="1698" y="1152"/>
                  </a:lnTo>
                  <a:lnTo>
                    <a:pt x="1704" y="1146"/>
                  </a:lnTo>
                  <a:lnTo>
                    <a:pt x="1704" y="1140"/>
                  </a:lnTo>
                  <a:lnTo>
                    <a:pt x="1710" y="1152"/>
                  </a:lnTo>
                  <a:lnTo>
                    <a:pt x="1746" y="1116"/>
                  </a:lnTo>
                  <a:lnTo>
                    <a:pt x="1746" y="1122"/>
                  </a:lnTo>
                  <a:lnTo>
                    <a:pt x="1740" y="1128"/>
                  </a:lnTo>
                  <a:lnTo>
                    <a:pt x="1740" y="1146"/>
                  </a:lnTo>
                  <a:lnTo>
                    <a:pt x="1746" y="1152"/>
                  </a:lnTo>
                  <a:lnTo>
                    <a:pt x="1758" y="1152"/>
                  </a:lnTo>
                  <a:lnTo>
                    <a:pt x="1782" y="1086"/>
                  </a:lnTo>
                  <a:lnTo>
                    <a:pt x="1770" y="1074"/>
                  </a:lnTo>
                  <a:lnTo>
                    <a:pt x="1794" y="1068"/>
                  </a:lnTo>
                  <a:lnTo>
                    <a:pt x="1794" y="1056"/>
                  </a:lnTo>
                  <a:lnTo>
                    <a:pt x="1776" y="1050"/>
                  </a:lnTo>
                  <a:lnTo>
                    <a:pt x="1794" y="1032"/>
                  </a:lnTo>
                  <a:lnTo>
                    <a:pt x="1800" y="1008"/>
                  </a:lnTo>
                  <a:lnTo>
                    <a:pt x="1806" y="996"/>
                  </a:lnTo>
                  <a:lnTo>
                    <a:pt x="1818" y="990"/>
                  </a:lnTo>
                  <a:lnTo>
                    <a:pt x="1824" y="978"/>
                  </a:lnTo>
                  <a:lnTo>
                    <a:pt x="1836" y="966"/>
                  </a:lnTo>
                  <a:lnTo>
                    <a:pt x="1842" y="954"/>
                  </a:lnTo>
                  <a:lnTo>
                    <a:pt x="1848" y="948"/>
                  </a:lnTo>
                  <a:lnTo>
                    <a:pt x="1854" y="936"/>
                  </a:lnTo>
                  <a:lnTo>
                    <a:pt x="1854" y="930"/>
                  </a:lnTo>
                  <a:lnTo>
                    <a:pt x="1860" y="918"/>
                  </a:lnTo>
                  <a:lnTo>
                    <a:pt x="1860" y="900"/>
                  </a:lnTo>
                  <a:lnTo>
                    <a:pt x="1854" y="894"/>
                  </a:lnTo>
                  <a:lnTo>
                    <a:pt x="1818" y="894"/>
                  </a:lnTo>
                  <a:lnTo>
                    <a:pt x="1812" y="900"/>
                  </a:lnTo>
                  <a:lnTo>
                    <a:pt x="1800" y="900"/>
                  </a:lnTo>
                  <a:lnTo>
                    <a:pt x="1794" y="894"/>
                  </a:lnTo>
                  <a:lnTo>
                    <a:pt x="1782" y="894"/>
                  </a:lnTo>
                  <a:lnTo>
                    <a:pt x="1770" y="888"/>
                  </a:lnTo>
                  <a:lnTo>
                    <a:pt x="1746" y="888"/>
                  </a:lnTo>
                  <a:lnTo>
                    <a:pt x="1734" y="894"/>
                  </a:lnTo>
                  <a:lnTo>
                    <a:pt x="1716" y="900"/>
                  </a:lnTo>
                  <a:lnTo>
                    <a:pt x="1698" y="900"/>
                  </a:lnTo>
                  <a:lnTo>
                    <a:pt x="1686" y="906"/>
                  </a:lnTo>
                  <a:lnTo>
                    <a:pt x="1668" y="906"/>
                  </a:lnTo>
                  <a:lnTo>
                    <a:pt x="1656" y="912"/>
                  </a:lnTo>
                  <a:lnTo>
                    <a:pt x="1626" y="912"/>
                  </a:lnTo>
                  <a:lnTo>
                    <a:pt x="1614" y="918"/>
                  </a:lnTo>
                  <a:lnTo>
                    <a:pt x="1608" y="924"/>
                  </a:lnTo>
                  <a:lnTo>
                    <a:pt x="1596" y="948"/>
                  </a:lnTo>
                  <a:lnTo>
                    <a:pt x="1590" y="966"/>
                  </a:lnTo>
                  <a:lnTo>
                    <a:pt x="1590" y="1026"/>
                  </a:lnTo>
                  <a:lnTo>
                    <a:pt x="1572" y="1032"/>
                  </a:lnTo>
                  <a:lnTo>
                    <a:pt x="1572" y="1062"/>
                  </a:lnTo>
                  <a:lnTo>
                    <a:pt x="1566" y="1074"/>
                  </a:lnTo>
                  <a:lnTo>
                    <a:pt x="1542" y="1086"/>
                  </a:lnTo>
                  <a:lnTo>
                    <a:pt x="1524" y="1098"/>
                  </a:lnTo>
                  <a:lnTo>
                    <a:pt x="1512" y="1110"/>
                  </a:lnTo>
                  <a:lnTo>
                    <a:pt x="1512" y="1122"/>
                  </a:lnTo>
                  <a:lnTo>
                    <a:pt x="1506" y="1128"/>
                  </a:lnTo>
                  <a:lnTo>
                    <a:pt x="1506" y="1140"/>
                  </a:lnTo>
                  <a:lnTo>
                    <a:pt x="1500" y="1146"/>
                  </a:lnTo>
                  <a:lnTo>
                    <a:pt x="1488" y="1146"/>
                  </a:lnTo>
                  <a:lnTo>
                    <a:pt x="1476" y="1134"/>
                  </a:lnTo>
                  <a:lnTo>
                    <a:pt x="1476" y="1128"/>
                  </a:lnTo>
                  <a:lnTo>
                    <a:pt x="1470" y="1122"/>
                  </a:lnTo>
                  <a:lnTo>
                    <a:pt x="1440" y="1122"/>
                  </a:lnTo>
                  <a:lnTo>
                    <a:pt x="1416" y="1128"/>
                  </a:lnTo>
                  <a:lnTo>
                    <a:pt x="1392" y="1140"/>
                  </a:lnTo>
                  <a:lnTo>
                    <a:pt x="1356" y="1140"/>
                  </a:lnTo>
                  <a:lnTo>
                    <a:pt x="1338" y="1146"/>
                  </a:lnTo>
                  <a:lnTo>
                    <a:pt x="1290" y="1170"/>
                  </a:lnTo>
                  <a:lnTo>
                    <a:pt x="1284" y="1170"/>
                  </a:lnTo>
                  <a:lnTo>
                    <a:pt x="1272" y="1158"/>
                  </a:lnTo>
                  <a:lnTo>
                    <a:pt x="1266" y="1146"/>
                  </a:lnTo>
                  <a:lnTo>
                    <a:pt x="1266" y="1140"/>
                  </a:lnTo>
                  <a:lnTo>
                    <a:pt x="1260" y="1128"/>
                  </a:lnTo>
                  <a:lnTo>
                    <a:pt x="1242" y="1128"/>
                  </a:lnTo>
                  <a:lnTo>
                    <a:pt x="1224" y="1122"/>
                  </a:lnTo>
                  <a:lnTo>
                    <a:pt x="1194" y="1122"/>
                  </a:lnTo>
                  <a:lnTo>
                    <a:pt x="1194" y="1104"/>
                  </a:lnTo>
                  <a:lnTo>
                    <a:pt x="1188" y="1092"/>
                  </a:lnTo>
                  <a:lnTo>
                    <a:pt x="1176" y="1080"/>
                  </a:lnTo>
                  <a:lnTo>
                    <a:pt x="1170" y="1068"/>
                  </a:lnTo>
                  <a:lnTo>
                    <a:pt x="1164" y="1062"/>
                  </a:lnTo>
                  <a:lnTo>
                    <a:pt x="1164" y="1026"/>
                  </a:lnTo>
                  <a:lnTo>
                    <a:pt x="1128" y="966"/>
                  </a:lnTo>
                  <a:lnTo>
                    <a:pt x="1122" y="924"/>
                  </a:lnTo>
                  <a:lnTo>
                    <a:pt x="1110" y="894"/>
                  </a:lnTo>
                  <a:lnTo>
                    <a:pt x="1104" y="804"/>
                  </a:lnTo>
                  <a:lnTo>
                    <a:pt x="1110" y="798"/>
                  </a:lnTo>
                  <a:lnTo>
                    <a:pt x="1122" y="774"/>
                  </a:lnTo>
                  <a:lnTo>
                    <a:pt x="1128" y="768"/>
                  </a:lnTo>
                  <a:lnTo>
                    <a:pt x="1128" y="654"/>
                  </a:lnTo>
                  <a:lnTo>
                    <a:pt x="1152" y="648"/>
                  </a:lnTo>
                  <a:lnTo>
                    <a:pt x="1152" y="612"/>
                  </a:lnTo>
                  <a:lnTo>
                    <a:pt x="1158" y="600"/>
                  </a:lnTo>
                  <a:lnTo>
                    <a:pt x="1158" y="594"/>
                  </a:lnTo>
                  <a:lnTo>
                    <a:pt x="1164" y="588"/>
                  </a:lnTo>
                  <a:lnTo>
                    <a:pt x="1176" y="588"/>
                  </a:lnTo>
                  <a:lnTo>
                    <a:pt x="1182" y="594"/>
                  </a:lnTo>
                  <a:lnTo>
                    <a:pt x="1188" y="594"/>
                  </a:lnTo>
                  <a:lnTo>
                    <a:pt x="1188" y="588"/>
                  </a:lnTo>
                  <a:lnTo>
                    <a:pt x="1194" y="576"/>
                  </a:lnTo>
                  <a:lnTo>
                    <a:pt x="1194" y="564"/>
                  </a:lnTo>
                  <a:lnTo>
                    <a:pt x="1200" y="558"/>
                  </a:lnTo>
                  <a:lnTo>
                    <a:pt x="1206" y="546"/>
                  </a:lnTo>
                  <a:lnTo>
                    <a:pt x="1206" y="540"/>
                  </a:lnTo>
                  <a:lnTo>
                    <a:pt x="1206" y="546"/>
                  </a:lnTo>
                  <a:lnTo>
                    <a:pt x="1182" y="546"/>
                  </a:lnTo>
                  <a:lnTo>
                    <a:pt x="1176" y="534"/>
                  </a:lnTo>
                  <a:lnTo>
                    <a:pt x="1176" y="528"/>
                  </a:lnTo>
                  <a:lnTo>
                    <a:pt x="1134" y="528"/>
                  </a:lnTo>
                  <a:lnTo>
                    <a:pt x="1122" y="516"/>
                  </a:lnTo>
                  <a:lnTo>
                    <a:pt x="1110" y="516"/>
                  </a:lnTo>
                  <a:lnTo>
                    <a:pt x="1092" y="510"/>
                  </a:lnTo>
                  <a:lnTo>
                    <a:pt x="1080" y="498"/>
                  </a:lnTo>
                  <a:lnTo>
                    <a:pt x="1080" y="468"/>
                  </a:lnTo>
                  <a:lnTo>
                    <a:pt x="1068" y="456"/>
                  </a:lnTo>
                  <a:lnTo>
                    <a:pt x="1068" y="420"/>
                  </a:lnTo>
                  <a:lnTo>
                    <a:pt x="1074" y="420"/>
                  </a:lnTo>
                  <a:lnTo>
                    <a:pt x="1080" y="414"/>
                  </a:lnTo>
                  <a:lnTo>
                    <a:pt x="1080" y="408"/>
                  </a:lnTo>
                  <a:lnTo>
                    <a:pt x="1068" y="396"/>
                  </a:lnTo>
                  <a:lnTo>
                    <a:pt x="1056" y="390"/>
                  </a:lnTo>
                  <a:lnTo>
                    <a:pt x="1050" y="384"/>
                  </a:lnTo>
                  <a:lnTo>
                    <a:pt x="1050" y="360"/>
                  </a:lnTo>
                  <a:lnTo>
                    <a:pt x="1038" y="354"/>
                  </a:lnTo>
                  <a:lnTo>
                    <a:pt x="1032" y="342"/>
                  </a:lnTo>
                  <a:lnTo>
                    <a:pt x="1032" y="330"/>
                  </a:lnTo>
                  <a:lnTo>
                    <a:pt x="1038" y="318"/>
                  </a:lnTo>
                  <a:lnTo>
                    <a:pt x="1038" y="294"/>
                  </a:lnTo>
                  <a:lnTo>
                    <a:pt x="1026" y="282"/>
                  </a:lnTo>
                  <a:lnTo>
                    <a:pt x="1020" y="270"/>
                  </a:lnTo>
                  <a:lnTo>
                    <a:pt x="1008" y="258"/>
                  </a:lnTo>
                  <a:lnTo>
                    <a:pt x="1002" y="246"/>
                  </a:lnTo>
                  <a:lnTo>
                    <a:pt x="996" y="240"/>
                  </a:lnTo>
                  <a:lnTo>
                    <a:pt x="990" y="228"/>
                  </a:lnTo>
                  <a:lnTo>
                    <a:pt x="948" y="228"/>
                  </a:lnTo>
                  <a:lnTo>
                    <a:pt x="930" y="222"/>
                  </a:lnTo>
                  <a:lnTo>
                    <a:pt x="930" y="228"/>
                  </a:lnTo>
                  <a:lnTo>
                    <a:pt x="912" y="228"/>
                  </a:lnTo>
                  <a:lnTo>
                    <a:pt x="900" y="240"/>
                  </a:lnTo>
                  <a:lnTo>
                    <a:pt x="888" y="264"/>
                  </a:lnTo>
                  <a:lnTo>
                    <a:pt x="876" y="276"/>
                  </a:lnTo>
                  <a:lnTo>
                    <a:pt x="852" y="288"/>
                  </a:lnTo>
                  <a:lnTo>
                    <a:pt x="840" y="288"/>
                  </a:lnTo>
                  <a:lnTo>
                    <a:pt x="822" y="276"/>
                  </a:lnTo>
                  <a:lnTo>
                    <a:pt x="810" y="270"/>
                  </a:lnTo>
                  <a:lnTo>
                    <a:pt x="780" y="240"/>
                  </a:lnTo>
                  <a:lnTo>
                    <a:pt x="780" y="228"/>
                  </a:lnTo>
                  <a:lnTo>
                    <a:pt x="786" y="216"/>
                  </a:lnTo>
                  <a:lnTo>
                    <a:pt x="786" y="174"/>
                  </a:lnTo>
                  <a:lnTo>
                    <a:pt x="780" y="162"/>
                  </a:lnTo>
                  <a:lnTo>
                    <a:pt x="768" y="150"/>
                  </a:lnTo>
                  <a:lnTo>
                    <a:pt x="756" y="144"/>
                  </a:lnTo>
                  <a:lnTo>
                    <a:pt x="744" y="144"/>
                  </a:lnTo>
                  <a:lnTo>
                    <a:pt x="738" y="114"/>
                  </a:lnTo>
                  <a:lnTo>
                    <a:pt x="708" y="102"/>
                  </a:lnTo>
                  <a:lnTo>
                    <a:pt x="708" y="78"/>
                  </a:lnTo>
                  <a:lnTo>
                    <a:pt x="696" y="66"/>
                  </a:lnTo>
                  <a:lnTo>
                    <a:pt x="582" y="66"/>
                  </a:lnTo>
                  <a:lnTo>
                    <a:pt x="576" y="72"/>
                  </a:lnTo>
                  <a:lnTo>
                    <a:pt x="576" y="90"/>
                  </a:lnTo>
                  <a:lnTo>
                    <a:pt x="570" y="102"/>
                  </a:lnTo>
                  <a:lnTo>
                    <a:pt x="570" y="108"/>
                  </a:lnTo>
                  <a:lnTo>
                    <a:pt x="366" y="108"/>
                  </a:lnTo>
                  <a:lnTo>
                    <a:pt x="156" y="12"/>
                  </a:lnTo>
                  <a:lnTo>
                    <a:pt x="150" y="12"/>
                  </a:lnTo>
                  <a:lnTo>
                    <a:pt x="150" y="6"/>
                  </a:lnTo>
                  <a:lnTo>
                    <a:pt x="156" y="0"/>
                  </a:lnTo>
                  <a:lnTo>
                    <a:pt x="12" y="6"/>
                  </a:lnTo>
                  <a:lnTo>
                    <a:pt x="6" y="0"/>
                  </a:lnTo>
                  <a:lnTo>
                    <a:pt x="0" y="18"/>
                  </a:lnTo>
                  <a:lnTo>
                    <a:pt x="0" y="48"/>
                  </a:lnTo>
                  <a:lnTo>
                    <a:pt x="6" y="60"/>
                  </a:lnTo>
                  <a:lnTo>
                    <a:pt x="12" y="66"/>
                  </a:lnTo>
                  <a:lnTo>
                    <a:pt x="18" y="78"/>
                  </a:lnTo>
                  <a:lnTo>
                    <a:pt x="0" y="90"/>
                  </a:lnTo>
                  <a:lnTo>
                    <a:pt x="12" y="114"/>
                  </a:lnTo>
                  <a:lnTo>
                    <a:pt x="6" y="126"/>
                  </a:lnTo>
                  <a:lnTo>
                    <a:pt x="24" y="144"/>
                  </a:lnTo>
                  <a:lnTo>
                    <a:pt x="6" y="174"/>
                  </a:lnTo>
                  <a:lnTo>
                    <a:pt x="18" y="180"/>
                  </a:lnTo>
                  <a:lnTo>
                    <a:pt x="18" y="210"/>
                  </a:lnTo>
                  <a:lnTo>
                    <a:pt x="24" y="228"/>
                  </a:lnTo>
                  <a:lnTo>
                    <a:pt x="24" y="240"/>
                  </a:lnTo>
                  <a:lnTo>
                    <a:pt x="30" y="252"/>
                  </a:lnTo>
                  <a:lnTo>
                    <a:pt x="42" y="264"/>
                  </a:lnTo>
                  <a:lnTo>
                    <a:pt x="60" y="264"/>
                  </a:lnTo>
                  <a:lnTo>
                    <a:pt x="60" y="270"/>
                  </a:lnTo>
                  <a:lnTo>
                    <a:pt x="66" y="276"/>
                  </a:lnTo>
                  <a:lnTo>
                    <a:pt x="72" y="288"/>
                  </a:lnTo>
                  <a:lnTo>
                    <a:pt x="84" y="300"/>
                  </a:lnTo>
                  <a:lnTo>
                    <a:pt x="90" y="318"/>
                  </a:lnTo>
                  <a:lnTo>
                    <a:pt x="96" y="330"/>
                  </a:lnTo>
                  <a:lnTo>
                    <a:pt x="96" y="342"/>
                  </a:lnTo>
                  <a:lnTo>
                    <a:pt x="78" y="378"/>
                  </a:lnTo>
                  <a:lnTo>
                    <a:pt x="72" y="384"/>
                  </a:lnTo>
                  <a:lnTo>
                    <a:pt x="72" y="390"/>
                  </a:lnTo>
                  <a:lnTo>
                    <a:pt x="84" y="396"/>
                  </a:lnTo>
                  <a:lnTo>
                    <a:pt x="72" y="414"/>
                  </a:lnTo>
                  <a:lnTo>
                    <a:pt x="60" y="396"/>
                  </a:lnTo>
                  <a:lnTo>
                    <a:pt x="12" y="390"/>
                  </a:lnTo>
                  <a:lnTo>
                    <a:pt x="36" y="414"/>
                  </a:lnTo>
                  <a:lnTo>
                    <a:pt x="42" y="438"/>
                  </a:lnTo>
                  <a:lnTo>
                    <a:pt x="66" y="444"/>
                  </a:lnTo>
                  <a:lnTo>
                    <a:pt x="78" y="456"/>
                  </a:lnTo>
                  <a:lnTo>
                    <a:pt x="84" y="468"/>
                  </a:lnTo>
                  <a:lnTo>
                    <a:pt x="90" y="474"/>
                  </a:lnTo>
                  <a:lnTo>
                    <a:pt x="96" y="474"/>
                  </a:lnTo>
                  <a:lnTo>
                    <a:pt x="102" y="468"/>
                  </a:lnTo>
                  <a:lnTo>
                    <a:pt x="108" y="468"/>
                  </a:lnTo>
                  <a:lnTo>
                    <a:pt x="120" y="462"/>
                  </a:lnTo>
                  <a:lnTo>
                    <a:pt x="126" y="456"/>
                  </a:lnTo>
                  <a:lnTo>
                    <a:pt x="126" y="480"/>
                  </a:lnTo>
                  <a:lnTo>
                    <a:pt x="144" y="516"/>
                  </a:lnTo>
                  <a:lnTo>
                    <a:pt x="156" y="528"/>
                  </a:lnTo>
                  <a:lnTo>
                    <a:pt x="168" y="552"/>
                  </a:lnTo>
                  <a:lnTo>
                    <a:pt x="168" y="564"/>
                  </a:lnTo>
                  <a:lnTo>
                    <a:pt x="156" y="588"/>
                  </a:lnTo>
                  <a:lnTo>
                    <a:pt x="150" y="606"/>
                  </a:lnTo>
                  <a:lnTo>
                    <a:pt x="150" y="618"/>
                  </a:lnTo>
                  <a:lnTo>
                    <a:pt x="180" y="648"/>
                  </a:lnTo>
                  <a:lnTo>
                    <a:pt x="192" y="666"/>
                  </a:lnTo>
                  <a:lnTo>
                    <a:pt x="222" y="696"/>
                  </a:lnTo>
                  <a:lnTo>
                    <a:pt x="234" y="714"/>
                  </a:lnTo>
                  <a:lnTo>
                    <a:pt x="264" y="744"/>
                  </a:lnTo>
                  <a:lnTo>
                    <a:pt x="258" y="750"/>
                  </a:lnTo>
                  <a:lnTo>
                    <a:pt x="258" y="762"/>
                  </a:lnTo>
                  <a:lnTo>
                    <a:pt x="252" y="768"/>
                  </a:lnTo>
                  <a:lnTo>
                    <a:pt x="252" y="780"/>
                  </a:lnTo>
                  <a:lnTo>
                    <a:pt x="258" y="786"/>
                  </a:lnTo>
                  <a:lnTo>
                    <a:pt x="276" y="786"/>
                  </a:lnTo>
                  <a:lnTo>
                    <a:pt x="288" y="780"/>
                  </a:lnTo>
                  <a:lnTo>
                    <a:pt x="294" y="768"/>
                  </a:lnTo>
                  <a:lnTo>
                    <a:pt x="306" y="762"/>
                  </a:lnTo>
                  <a:lnTo>
                    <a:pt x="312" y="756"/>
                  </a:lnTo>
                  <a:lnTo>
                    <a:pt x="306" y="738"/>
                  </a:lnTo>
                  <a:lnTo>
                    <a:pt x="306" y="732"/>
                  </a:lnTo>
                  <a:lnTo>
                    <a:pt x="300" y="726"/>
                  </a:lnTo>
                  <a:lnTo>
                    <a:pt x="300" y="708"/>
                  </a:lnTo>
                  <a:lnTo>
                    <a:pt x="288" y="684"/>
                  </a:lnTo>
                  <a:lnTo>
                    <a:pt x="282" y="678"/>
                  </a:lnTo>
                  <a:lnTo>
                    <a:pt x="258" y="678"/>
                  </a:lnTo>
                  <a:lnTo>
                    <a:pt x="240" y="648"/>
                  </a:lnTo>
                  <a:lnTo>
                    <a:pt x="240" y="576"/>
                  </a:lnTo>
                  <a:lnTo>
                    <a:pt x="222" y="546"/>
                  </a:lnTo>
                  <a:lnTo>
                    <a:pt x="228" y="534"/>
                  </a:lnTo>
                  <a:lnTo>
                    <a:pt x="228" y="528"/>
                  </a:lnTo>
                  <a:lnTo>
                    <a:pt x="234" y="516"/>
                  </a:lnTo>
                  <a:lnTo>
                    <a:pt x="234" y="492"/>
                  </a:lnTo>
                  <a:lnTo>
                    <a:pt x="228" y="486"/>
                  </a:lnTo>
                  <a:lnTo>
                    <a:pt x="216" y="480"/>
                  </a:lnTo>
                  <a:lnTo>
                    <a:pt x="210" y="474"/>
                  </a:lnTo>
                  <a:lnTo>
                    <a:pt x="198" y="474"/>
                  </a:lnTo>
                  <a:lnTo>
                    <a:pt x="198" y="432"/>
                  </a:lnTo>
                  <a:lnTo>
                    <a:pt x="168" y="396"/>
                  </a:lnTo>
                  <a:lnTo>
                    <a:pt x="174" y="336"/>
                  </a:lnTo>
                  <a:lnTo>
                    <a:pt x="168" y="330"/>
                  </a:lnTo>
                  <a:lnTo>
                    <a:pt x="162" y="318"/>
                  </a:lnTo>
                  <a:lnTo>
                    <a:pt x="144" y="300"/>
                  </a:lnTo>
                  <a:lnTo>
                    <a:pt x="138" y="288"/>
                  </a:lnTo>
                  <a:lnTo>
                    <a:pt x="138" y="276"/>
                  </a:lnTo>
                  <a:lnTo>
                    <a:pt x="132" y="264"/>
                  </a:lnTo>
                  <a:lnTo>
                    <a:pt x="132" y="246"/>
                  </a:lnTo>
                  <a:lnTo>
                    <a:pt x="126" y="240"/>
                  </a:lnTo>
                  <a:lnTo>
                    <a:pt x="120" y="228"/>
                  </a:lnTo>
                  <a:lnTo>
                    <a:pt x="108" y="216"/>
                  </a:lnTo>
                  <a:lnTo>
                    <a:pt x="102" y="204"/>
                  </a:lnTo>
                  <a:lnTo>
                    <a:pt x="96" y="198"/>
                  </a:lnTo>
                  <a:lnTo>
                    <a:pt x="96" y="192"/>
                  </a:lnTo>
                  <a:lnTo>
                    <a:pt x="102" y="186"/>
                  </a:lnTo>
                  <a:lnTo>
                    <a:pt x="114" y="162"/>
                  </a:lnTo>
                  <a:lnTo>
                    <a:pt x="114" y="114"/>
                  </a:lnTo>
                  <a:lnTo>
                    <a:pt x="120" y="108"/>
                  </a:lnTo>
                  <a:lnTo>
                    <a:pt x="126" y="96"/>
                  </a:lnTo>
                  <a:lnTo>
                    <a:pt x="126" y="60"/>
                  </a:lnTo>
                  <a:lnTo>
                    <a:pt x="132" y="66"/>
                  </a:lnTo>
                  <a:lnTo>
                    <a:pt x="144" y="72"/>
                  </a:lnTo>
                  <a:lnTo>
                    <a:pt x="150" y="84"/>
                  </a:lnTo>
                  <a:lnTo>
                    <a:pt x="162" y="90"/>
                  </a:lnTo>
                  <a:lnTo>
                    <a:pt x="180" y="90"/>
                  </a:lnTo>
                  <a:lnTo>
                    <a:pt x="186" y="84"/>
                  </a:lnTo>
                  <a:lnTo>
                    <a:pt x="198" y="84"/>
                  </a:lnTo>
                  <a:lnTo>
                    <a:pt x="198" y="102"/>
                  </a:lnTo>
                  <a:lnTo>
                    <a:pt x="204" y="108"/>
                  </a:lnTo>
                  <a:lnTo>
                    <a:pt x="216" y="114"/>
                  </a:lnTo>
                  <a:lnTo>
                    <a:pt x="234" y="114"/>
                  </a:lnTo>
                  <a:lnTo>
                    <a:pt x="234" y="120"/>
                  </a:lnTo>
                  <a:lnTo>
                    <a:pt x="228" y="126"/>
                  </a:lnTo>
                  <a:lnTo>
                    <a:pt x="228" y="186"/>
                  </a:lnTo>
                  <a:lnTo>
                    <a:pt x="240" y="258"/>
                  </a:lnTo>
                  <a:lnTo>
                    <a:pt x="240" y="270"/>
                  </a:lnTo>
                  <a:lnTo>
                    <a:pt x="246" y="282"/>
                  </a:lnTo>
                  <a:lnTo>
                    <a:pt x="252" y="306"/>
                  </a:lnTo>
                  <a:lnTo>
                    <a:pt x="264" y="342"/>
                  </a:lnTo>
                  <a:lnTo>
                    <a:pt x="276" y="372"/>
                  </a:lnTo>
                  <a:lnTo>
                    <a:pt x="282" y="384"/>
                  </a:lnTo>
                  <a:lnTo>
                    <a:pt x="324" y="384"/>
                  </a:lnTo>
                  <a:lnTo>
                    <a:pt x="318" y="390"/>
                  </a:lnTo>
                  <a:lnTo>
                    <a:pt x="306" y="414"/>
                  </a:lnTo>
                  <a:lnTo>
                    <a:pt x="318" y="438"/>
                  </a:lnTo>
                  <a:lnTo>
                    <a:pt x="330" y="444"/>
                  </a:lnTo>
                  <a:lnTo>
                    <a:pt x="336" y="450"/>
                  </a:lnTo>
                  <a:lnTo>
                    <a:pt x="348" y="450"/>
                  </a:lnTo>
                  <a:lnTo>
                    <a:pt x="354" y="474"/>
                  </a:lnTo>
                  <a:lnTo>
                    <a:pt x="384" y="474"/>
                  </a:lnTo>
                  <a:lnTo>
                    <a:pt x="390" y="516"/>
                  </a:lnTo>
                  <a:lnTo>
                    <a:pt x="384" y="516"/>
                  </a:lnTo>
                  <a:lnTo>
                    <a:pt x="378" y="522"/>
                  </a:lnTo>
                  <a:lnTo>
                    <a:pt x="366" y="528"/>
                  </a:lnTo>
                  <a:lnTo>
                    <a:pt x="360" y="534"/>
                  </a:lnTo>
                  <a:lnTo>
                    <a:pt x="354" y="546"/>
                  </a:lnTo>
                  <a:lnTo>
                    <a:pt x="354" y="558"/>
                  </a:lnTo>
                  <a:lnTo>
                    <a:pt x="360" y="564"/>
                  </a:lnTo>
                  <a:lnTo>
                    <a:pt x="372" y="570"/>
                  </a:lnTo>
                  <a:lnTo>
                    <a:pt x="384" y="558"/>
                  </a:lnTo>
                  <a:lnTo>
                    <a:pt x="384" y="564"/>
                  </a:lnTo>
                  <a:lnTo>
                    <a:pt x="396" y="576"/>
                  </a:lnTo>
                  <a:lnTo>
                    <a:pt x="396" y="588"/>
                  </a:lnTo>
                  <a:lnTo>
                    <a:pt x="402" y="594"/>
                  </a:lnTo>
                  <a:lnTo>
                    <a:pt x="414" y="594"/>
                  </a:lnTo>
                  <a:lnTo>
                    <a:pt x="426" y="600"/>
                  </a:lnTo>
                  <a:lnTo>
                    <a:pt x="432" y="600"/>
                  </a:lnTo>
                  <a:lnTo>
                    <a:pt x="438" y="606"/>
                  </a:lnTo>
                  <a:lnTo>
                    <a:pt x="438" y="624"/>
                  </a:lnTo>
                  <a:lnTo>
                    <a:pt x="432" y="630"/>
                  </a:lnTo>
                  <a:lnTo>
                    <a:pt x="432" y="636"/>
                  </a:lnTo>
                  <a:lnTo>
                    <a:pt x="426" y="648"/>
                  </a:lnTo>
                  <a:lnTo>
                    <a:pt x="426" y="654"/>
                  </a:lnTo>
                  <a:lnTo>
                    <a:pt x="468" y="654"/>
                  </a:lnTo>
                  <a:lnTo>
                    <a:pt x="468" y="684"/>
                  </a:lnTo>
                  <a:lnTo>
                    <a:pt x="504" y="720"/>
                  </a:lnTo>
                  <a:lnTo>
                    <a:pt x="510" y="732"/>
                  </a:lnTo>
                  <a:lnTo>
                    <a:pt x="528" y="750"/>
                  </a:lnTo>
                  <a:lnTo>
                    <a:pt x="534" y="768"/>
                  </a:lnTo>
                  <a:lnTo>
                    <a:pt x="546" y="780"/>
                  </a:lnTo>
                  <a:lnTo>
                    <a:pt x="552" y="798"/>
                  </a:lnTo>
                  <a:lnTo>
                    <a:pt x="558" y="810"/>
                  </a:lnTo>
                  <a:lnTo>
                    <a:pt x="558" y="870"/>
                  </a:lnTo>
                  <a:lnTo>
                    <a:pt x="564" y="882"/>
                  </a:lnTo>
                  <a:lnTo>
                    <a:pt x="576" y="894"/>
                  </a:lnTo>
                  <a:lnTo>
                    <a:pt x="576" y="906"/>
                  </a:lnTo>
                  <a:lnTo>
                    <a:pt x="570" y="918"/>
                  </a:lnTo>
                  <a:lnTo>
                    <a:pt x="552" y="936"/>
                  </a:lnTo>
                  <a:lnTo>
                    <a:pt x="546" y="948"/>
                  </a:lnTo>
                  <a:lnTo>
                    <a:pt x="546" y="954"/>
                  </a:lnTo>
                  <a:lnTo>
                    <a:pt x="552" y="960"/>
                  </a:lnTo>
                  <a:lnTo>
                    <a:pt x="564" y="966"/>
                  </a:lnTo>
                  <a:lnTo>
                    <a:pt x="540" y="966"/>
                  </a:lnTo>
                  <a:lnTo>
                    <a:pt x="528" y="972"/>
                  </a:lnTo>
                  <a:lnTo>
                    <a:pt x="528" y="1038"/>
                  </a:lnTo>
                  <a:lnTo>
                    <a:pt x="534" y="1056"/>
                  </a:lnTo>
                  <a:lnTo>
                    <a:pt x="540" y="1062"/>
                  </a:lnTo>
                  <a:lnTo>
                    <a:pt x="546" y="1074"/>
                  </a:lnTo>
                  <a:lnTo>
                    <a:pt x="558" y="1074"/>
                  </a:lnTo>
                  <a:lnTo>
                    <a:pt x="576" y="1080"/>
                  </a:lnTo>
                  <a:lnTo>
                    <a:pt x="600" y="1080"/>
                  </a:lnTo>
                  <a:lnTo>
                    <a:pt x="612" y="1086"/>
                  </a:lnTo>
                  <a:lnTo>
                    <a:pt x="636" y="1110"/>
                  </a:lnTo>
                  <a:lnTo>
                    <a:pt x="642" y="1122"/>
                  </a:lnTo>
                  <a:lnTo>
                    <a:pt x="648" y="1140"/>
                  </a:lnTo>
                  <a:lnTo>
                    <a:pt x="654" y="1152"/>
                  </a:lnTo>
                  <a:lnTo>
                    <a:pt x="666" y="1164"/>
                  </a:lnTo>
                  <a:lnTo>
                    <a:pt x="678" y="1170"/>
                  </a:lnTo>
                  <a:lnTo>
                    <a:pt x="732" y="1170"/>
                  </a:lnTo>
                  <a:lnTo>
                    <a:pt x="750" y="1176"/>
                  </a:lnTo>
                  <a:lnTo>
                    <a:pt x="762" y="1182"/>
                  </a:lnTo>
                  <a:lnTo>
                    <a:pt x="768" y="1188"/>
                  </a:lnTo>
                  <a:lnTo>
                    <a:pt x="774" y="1200"/>
                  </a:lnTo>
                  <a:lnTo>
                    <a:pt x="786" y="1218"/>
                  </a:lnTo>
                  <a:lnTo>
                    <a:pt x="810" y="1242"/>
                  </a:lnTo>
                  <a:lnTo>
                    <a:pt x="834" y="1254"/>
                  </a:lnTo>
                  <a:lnTo>
                    <a:pt x="870" y="1266"/>
                  </a:lnTo>
                  <a:lnTo>
                    <a:pt x="912" y="1272"/>
                  </a:lnTo>
                  <a:lnTo>
                    <a:pt x="942" y="1278"/>
                  </a:lnTo>
                  <a:lnTo>
                    <a:pt x="960" y="1290"/>
                  </a:lnTo>
                  <a:lnTo>
                    <a:pt x="966" y="1302"/>
                  </a:lnTo>
                  <a:lnTo>
                    <a:pt x="978" y="1314"/>
                  </a:lnTo>
                  <a:lnTo>
                    <a:pt x="990" y="1320"/>
                  </a:lnTo>
                  <a:lnTo>
                    <a:pt x="996" y="1320"/>
                  </a:lnTo>
                  <a:lnTo>
                    <a:pt x="1002" y="1326"/>
                  </a:lnTo>
                  <a:lnTo>
                    <a:pt x="1008" y="1338"/>
                  </a:lnTo>
                  <a:lnTo>
                    <a:pt x="1014" y="1344"/>
                  </a:lnTo>
                  <a:lnTo>
                    <a:pt x="1080" y="1344"/>
                  </a:lnTo>
                  <a:lnTo>
                    <a:pt x="1092" y="1356"/>
                  </a:lnTo>
                  <a:lnTo>
                    <a:pt x="1098" y="1368"/>
                  </a:lnTo>
                  <a:lnTo>
                    <a:pt x="1104" y="1374"/>
                  </a:lnTo>
                  <a:lnTo>
                    <a:pt x="1116" y="1374"/>
                  </a:lnTo>
                  <a:lnTo>
                    <a:pt x="1140" y="1362"/>
                  </a:lnTo>
                  <a:lnTo>
                    <a:pt x="1170" y="1350"/>
                  </a:lnTo>
                  <a:lnTo>
                    <a:pt x="1206" y="1332"/>
                  </a:lnTo>
                  <a:lnTo>
                    <a:pt x="1260" y="1314"/>
                  </a:lnTo>
                  <a:lnTo>
                    <a:pt x="1278" y="1326"/>
                  </a:lnTo>
                  <a:lnTo>
                    <a:pt x="1308" y="1350"/>
                  </a:lnTo>
                  <a:lnTo>
                    <a:pt x="1344" y="1374"/>
                  </a:lnTo>
                  <a:lnTo>
                    <a:pt x="1386" y="1416"/>
                  </a:lnTo>
                  <a:lnTo>
                    <a:pt x="1386" y="1428"/>
                  </a:lnTo>
                  <a:lnTo>
                    <a:pt x="1392" y="1446"/>
                  </a:lnTo>
                  <a:lnTo>
                    <a:pt x="1398" y="1458"/>
                  </a:lnTo>
                  <a:lnTo>
                    <a:pt x="1416" y="1458"/>
                  </a:lnTo>
                  <a:lnTo>
                    <a:pt x="1422" y="1452"/>
                  </a:lnTo>
                  <a:lnTo>
                    <a:pt x="1422" y="1440"/>
                  </a:lnTo>
                  <a:close/>
                </a:path>
              </a:pathLst>
            </a:custGeom>
            <a:grpFill/>
            <a:ln w="3175">
              <a:solidFill>
                <a:schemeClr val="bg1"/>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de-DE" sz="1800" b="0" i="0" u="none" strike="noStrike" kern="1200" cap="none" spc="0" normalizeH="0" baseline="0" noProof="0">
                <a:ln>
                  <a:noFill/>
                </a:ln>
                <a:solidFill>
                  <a:srgbClr val="FFC000"/>
                </a:solidFill>
                <a:effectLst/>
                <a:uLnTx/>
                <a:uFillTx/>
                <a:latin typeface="Calibri" pitchFamily="34" charset="0"/>
                <a:ea typeface="+mn-ea"/>
                <a:cs typeface="+mn-cs"/>
              </a:endParaRPr>
            </a:p>
          </p:txBody>
        </p:sp>
        <p:sp>
          <p:nvSpPr>
            <p:cNvPr id="90" name="Malta" descr="© INSCALE GmbH, 05.05.2010&#10;http://www.presentationload.com/"/>
            <p:cNvSpPr>
              <a:spLocks/>
            </p:cNvSpPr>
            <p:nvPr/>
          </p:nvSpPr>
          <p:spPr bwMode="gray">
            <a:xfrm>
              <a:off x="4786980" y="3398676"/>
              <a:ext cx="10239" cy="8574"/>
            </a:xfrm>
            <a:custGeom>
              <a:avLst/>
              <a:gdLst>
                <a:gd name="T0" fmla="*/ 2147483647 w 30"/>
                <a:gd name="T1" fmla="*/ 2147483647 h 30"/>
                <a:gd name="T2" fmla="*/ 2147483647 w 30"/>
                <a:gd name="T3" fmla="*/ 2147483647 h 30"/>
                <a:gd name="T4" fmla="*/ 2147483647 w 30"/>
                <a:gd name="T5" fmla="*/ 2147483647 h 30"/>
                <a:gd name="T6" fmla="*/ 2147483647 w 30"/>
                <a:gd name="T7" fmla="*/ 0 h 30"/>
                <a:gd name="T8" fmla="*/ 2147483647 w 30"/>
                <a:gd name="T9" fmla="*/ 0 h 30"/>
                <a:gd name="T10" fmla="*/ 0 w 30"/>
                <a:gd name="T11" fmla="*/ 2147483647 h 30"/>
                <a:gd name="T12" fmla="*/ 0 w 30"/>
                <a:gd name="T13" fmla="*/ 2147483647 h 30"/>
                <a:gd name="T14" fmla="*/ 2147483647 w 30"/>
                <a:gd name="T15" fmla="*/ 2147483647 h 30"/>
                <a:gd name="T16" fmla="*/ 2147483647 w 30"/>
                <a:gd name="T17" fmla="*/ 2147483647 h 30"/>
                <a:gd name="T18" fmla="*/ 2147483647 w 30"/>
                <a:gd name="T19" fmla="*/ 2147483647 h 3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30"/>
                <a:gd name="T31" fmla="*/ 0 h 30"/>
                <a:gd name="T32" fmla="*/ 30 w 30"/>
                <a:gd name="T33" fmla="*/ 30 h 30"/>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30" h="30">
                  <a:moveTo>
                    <a:pt x="24" y="30"/>
                  </a:moveTo>
                  <a:lnTo>
                    <a:pt x="30" y="24"/>
                  </a:lnTo>
                  <a:lnTo>
                    <a:pt x="30" y="12"/>
                  </a:lnTo>
                  <a:lnTo>
                    <a:pt x="18" y="0"/>
                  </a:lnTo>
                  <a:lnTo>
                    <a:pt x="6" y="0"/>
                  </a:lnTo>
                  <a:lnTo>
                    <a:pt x="0" y="6"/>
                  </a:lnTo>
                  <a:lnTo>
                    <a:pt x="0" y="18"/>
                  </a:lnTo>
                  <a:lnTo>
                    <a:pt x="6" y="24"/>
                  </a:lnTo>
                  <a:lnTo>
                    <a:pt x="18" y="30"/>
                  </a:lnTo>
                  <a:lnTo>
                    <a:pt x="24" y="30"/>
                  </a:lnTo>
                  <a:close/>
                </a:path>
              </a:pathLst>
            </a:custGeom>
            <a:grpFill/>
            <a:ln w="3175">
              <a:solidFill>
                <a:schemeClr val="bg1"/>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de-DE" sz="1800" b="0" i="0" u="none" strike="noStrike" kern="1200" cap="none" spc="0" normalizeH="0" baseline="0" noProof="0">
                <a:ln>
                  <a:noFill/>
                </a:ln>
                <a:solidFill>
                  <a:srgbClr val="FFC000"/>
                </a:solidFill>
                <a:effectLst/>
                <a:uLnTx/>
                <a:uFillTx/>
                <a:latin typeface="Calibri" pitchFamily="34" charset="0"/>
                <a:ea typeface="+mn-ea"/>
                <a:cs typeface="+mn-cs"/>
              </a:endParaRPr>
            </a:p>
          </p:txBody>
        </p:sp>
        <p:sp>
          <p:nvSpPr>
            <p:cNvPr id="91" name="Mauritania" descr="© INSCALE GmbH, 05.05.2010&#10;http://www.presentationload.com/"/>
            <p:cNvSpPr>
              <a:spLocks/>
            </p:cNvSpPr>
            <p:nvPr/>
          </p:nvSpPr>
          <p:spPr bwMode="gray">
            <a:xfrm>
              <a:off x="4086907" y="3622812"/>
              <a:ext cx="277725" cy="312321"/>
            </a:xfrm>
            <a:custGeom>
              <a:avLst/>
              <a:gdLst>
                <a:gd name="T0" fmla="*/ 2147483647 w 858"/>
                <a:gd name="T1" fmla="*/ 2147483647 h 1002"/>
                <a:gd name="T2" fmla="*/ 2147483647 w 858"/>
                <a:gd name="T3" fmla="*/ 2147483647 h 1002"/>
                <a:gd name="T4" fmla="*/ 2147483647 w 858"/>
                <a:gd name="T5" fmla="*/ 2147483647 h 1002"/>
                <a:gd name="T6" fmla="*/ 2147483647 w 858"/>
                <a:gd name="T7" fmla="*/ 2147483647 h 1002"/>
                <a:gd name="T8" fmla="*/ 2147483647 w 858"/>
                <a:gd name="T9" fmla="*/ 2147483647 h 1002"/>
                <a:gd name="T10" fmla="*/ 2147483647 w 858"/>
                <a:gd name="T11" fmla="*/ 2147483647 h 1002"/>
                <a:gd name="T12" fmla="*/ 2147483647 w 858"/>
                <a:gd name="T13" fmla="*/ 2147483647 h 1002"/>
                <a:gd name="T14" fmla="*/ 2147483647 w 858"/>
                <a:gd name="T15" fmla="*/ 2147483647 h 1002"/>
                <a:gd name="T16" fmla="*/ 2147483647 w 858"/>
                <a:gd name="T17" fmla="*/ 2147483647 h 1002"/>
                <a:gd name="T18" fmla="*/ 2147483647 w 858"/>
                <a:gd name="T19" fmla="*/ 2147483647 h 1002"/>
                <a:gd name="T20" fmla="*/ 2147483647 w 858"/>
                <a:gd name="T21" fmla="*/ 2147483647 h 1002"/>
                <a:gd name="T22" fmla="*/ 2147483647 w 858"/>
                <a:gd name="T23" fmla="*/ 2147483647 h 1002"/>
                <a:gd name="T24" fmla="*/ 2147483647 w 858"/>
                <a:gd name="T25" fmla="*/ 2147483647 h 1002"/>
                <a:gd name="T26" fmla="*/ 2147483647 w 858"/>
                <a:gd name="T27" fmla="*/ 2147483647 h 1002"/>
                <a:gd name="T28" fmla="*/ 2147483647 w 858"/>
                <a:gd name="T29" fmla="*/ 2147483647 h 1002"/>
                <a:gd name="T30" fmla="*/ 2147483647 w 858"/>
                <a:gd name="T31" fmla="*/ 2147483647 h 1002"/>
                <a:gd name="T32" fmla="*/ 2147483647 w 858"/>
                <a:gd name="T33" fmla="*/ 2147483647 h 1002"/>
                <a:gd name="T34" fmla="*/ 2147483647 w 858"/>
                <a:gd name="T35" fmla="*/ 2147483647 h 1002"/>
                <a:gd name="T36" fmla="*/ 2147483647 w 858"/>
                <a:gd name="T37" fmla="*/ 2147483647 h 1002"/>
                <a:gd name="T38" fmla="*/ 2147483647 w 858"/>
                <a:gd name="T39" fmla="*/ 2147483647 h 1002"/>
                <a:gd name="T40" fmla="*/ 2147483647 w 858"/>
                <a:gd name="T41" fmla="*/ 2147483647 h 1002"/>
                <a:gd name="T42" fmla="*/ 2147483647 w 858"/>
                <a:gd name="T43" fmla="*/ 2147483647 h 1002"/>
                <a:gd name="T44" fmla="*/ 2147483647 w 858"/>
                <a:gd name="T45" fmla="*/ 2147483647 h 1002"/>
                <a:gd name="T46" fmla="*/ 2147483647 w 858"/>
                <a:gd name="T47" fmla="*/ 2147483647 h 1002"/>
                <a:gd name="T48" fmla="*/ 2147483647 w 858"/>
                <a:gd name="T49" fmla="*/ 2147483647 h 1002"/>
                <a:gd name="T50" fmla="*/ 2147483647 w 858"/>
                <a:gd name="T51" fmla="*/ 2147483647 h 1002"/>
                <a:gd name="T52" fmla="*/ 2147483647 w 858"/>
                <a:gd name="T53" fmla="*/ 2147483647 h 1002"/>
                <a:gd name="T54" fmla="*/ 2147483647 w 858"/>
                <a:gd name="T55" fmla="*/ 2147483647 h 1002"/>
                <a:gd name="T56" fmla="*/ 2147483647 w 858"/>
                <a:gd name="T57" fmla="*/ 2147483647 h 1002"/>
                <a:gd name="T58" fmla="*/ 2147483647 w 858"/>
                <a:gd name="T59" fmla="*/ 2147483647 h 1002"/>
                <a:gd name="T60" fmla="*/ 2147483647 w 858"/>
                <a:gd name="T61" fmla="*/ 2147483647 h 1002"/>
                <a:gd name="T62" fmla="*/ 2147483647 w 858"/>
                <a:gd name="T63" fmla="*/ 2147483647 h 1002"/>
                <a:gd name="T64" fmla="*/ 2147483647 w 858"/>
                <a:gd name="T65" fmla="*/ 2147483647 h 1002"/>
                <a:gd name="T66" fmla="*/ 2147483647 w 858"/>
                <a:gd name="T67" fmla="*/ 2147483647 h 1002"/>
                <a:gd name="T68" fmla="*/ 2147483647 w 858"/>
                <a:gd name="T69" fmla="*/ 2147483647 h 1002"/>
                <a:gd name="T70" fmla="*/ 2147483647 w 858"/>
                <a:gd name="T71" fmla="*/ 2147483647 h 1002"/>
                <a:gd name="T72" fmla="*/ 2147483647 w 858"/>
                <a:gd name="T73" fmla="*/ 2147483647 h 1002"/>
                <a:gd name="T74" fmla="*/ 2147483647 w 858"/>
                <a:gd name="T75" fmla="*/ 2147483647 h 1002"/>
                <a:gd name="T76" fmla="*/ 2147483647 w 858"/>
                <a:gd name="T77" fmla="*/ 2147483647 h 1002"/>
                <a:gd name="T78" fmla="*/ 2147483647 w 858"/>
                <a:gd name="T79" fmla="*/ 2147483647 h 1002"/>
                <a:gd name="T80" fmla="*/ 2147483647 w 858"/>
                <a:gd name="T81" fmla="*/ 2147483647 h 1002"/>
                <a:gd name="T82" fmla="*/ 2147483647 w 858"/>
                <a:gd name="T83" fmla="*/ 2147483647 h 1002"/>
                <a:gd name="T84" fmla="*/ 2147483647 w 858"/>
                <a:gd name="T85" fmla="*/ 2147483647 h 1002"/>
                <a:gd name="T86" fmla="*/ 2147483647 w 858"/>
                <a:gd name="T87" fmla="*/ 2147483647 h 1002"/>
                <a:gd name="T88" fmla="*/ 2147483647 w 858"/>
                <a:gd name="T89" fmla="*/ 2147483647 h 1002"/>
                <a:gd name="T90" fmla="*/ 2147483647 w 858"/>
                <a:gd name="T91" fmla="*/ 2147483647 h 1002"/>
                <a:gd name="T92" fmla="*/ 2147483647 w 858"/>
                <a:gd name="T93" fmla="*/ 2147483647 h 1002"/>
                <a:gd name="T94" fmla="*/ 2147483647 w 858"/>
                <a:gd name="T95" fmla="*/ 2147483647 h 1002"/>
                <a:gd name="T96" fmla="*/ 2147483647 w 858"/>
                <a:gd name="T97" fmla="*/ 2147483647 h 1002"/>
                <a:gd name="T98" fmla="*/ 0 w 858"/>
                <a:gd name="T99" fmla="*/ 2147483647 h 1002"/>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858"/>
                <a:gd name="T151" fmla="*/ 0 h 1002"/>
                <a:gd name="T152" fmla="*/ 858 w 858"/>
                <a:gd name="T153" fmla="*/ 1002 h 1002"/>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858" h="1002">
                  <a:moveTo>
                    <a:pt x="0" y="498"/>
                  </a:moveTo>
                  <a:lnTo>
                    <a:pt x="18" y="498"/>
                  </a:lnTo>
                  <a:lnTo>
                    <a:pt x="18" y="528"/>
                  </a:lnTo>
                  <a:lnTo>
                    <a:pt x="24" y="534"/>
                  </a:lnTo>
                  <a:lnTo>
                    <a:pt x="30" y="534"/>
                  </a:lnTo>
                  <a:lnTo>
                    <a:pt x="30" y="528"/>
                  </a:lnTo>
                  <a:lnTo>
                    <a:pt x="36" y="522"/>
                  </a:lnTo>
                  <a:lnTo>
                    <a:pt x="48" y="558"/>
                  </a:lnTo>
                  <a:lnTo>
                    <a:pt x="42" y="600"/>
                  </a:lnTo>
                  <a:lnTo>
                    <a:pt x="30" y="600"/>
                  </a:lnTo>
                  <a:lnTo>
                    <a:pt x="36" y="624"/>
                  </a:lnTo>
                  <a:lnTo>
                    <a:pt x="24" y="630"/>
                  </a:lnTo>
                  <a:lnTo>
                    <a:pt x="30" y="642"/>
                  </a:lnTo>
                  <a:lnTo>
                    <a:pt x="36" y="648"/>
                  </a:lnTo>
                  <a:lnTo>
                    <a:pt x="48" y="666"/>
                  </a:lnTo>
                  <a:lnTo>
                    <a:pt x="60" y="690"/>
                  </a:lnTo>
                  <a:lnTo>
                    <a:pt x="60" y="720"/>
                  </a:lnTo>
                  <a:lnTo>
                    <a:pt x="54" y="738"/>
                  </a:lnTo>
                  <a:lnTo>
                    <a:pt x="54" y="750"/>
                  </a:lnTo>
                  <a:lnTo>
                    <a:pt x="48" y="756"/>
                  </a:lnTo>
                  <a:lnTo>
                    <a:pt x="48" y="804"/>
                  </a:lnTo>
                  <a:lnTo>
                    <a:pt x="42" y="816"/>
                  </a:lnTo>
                  <a:lnTo>
                    <a:pt x="30" y="822"/>
                  </a:lnTo>
                  <a:lnTo>
                    <a:pt x="24" y="840"/>
                  </a:lnTo>
                  <a:lnTo>
                    <a:pt x="18" y="852"/>
                  </a:lnTo>
                  <a:lnTo>
                    <a:pt x="18" y="864"/>
                  </a:lnTo>
                  <a:lnTo>
                    <a:pt x="12" y="876"/>
                  </a:lnTo>
                  <a:lnTo>
                    <a:pt x="12" y="906"/>
                  </a:lnTo>
                  <a:lnTo>
                    <a:pt x="18" y="900"/>
                  </a:lnTo>
                  <a:lnTo>
                    <a:pt x="36" y="864"/>
                  </a:lnTo>
                  <a:lnTo>
                    <a:pt x="42" y="858"/>
                  </a:lnTo>
                  <a:lnTo>
                    <a:pt x="54" y="852"/>
                  </a:lnTo>
                  <a:lnTo>
                    <a:pt x="60" y="852"/>
                  </a:lnTo>
                  <a:lnTo>
                    <a:pt x="66" y="858"/>
                  </a:lnTo>
                  <a:lnTo>
                    <a:pt x="72" y="858"/>
                  </a:lnTo>
                  <a:lnTo>
                    <a:pt x="84" y="852"/>
                  </a:lnTo>
                  <a:lnTo>
                    <a:pt x="114" y="858"/>
                  </a:lnTo>
                  <a:lnTo>
                    <a:pt x="114" y="840"/>
                  </a:lnTo>
                  <a:lnTo>
                    <a:pt x="138" y="852"/>
                  </a:lnTo>
                  <a:lnTo>
                    <a:pt x="162" y="852"/>
                  </a:lnTo>
                  <a:lnTo>
                    <a:pt x="174" y="858"/>
                  </a:lnTo>
                  <a:lnTo>
                    <a:pt x="180" y="858"/>
                  </a:lnTo>
                  <a:lnTo>
                    <a:pt x="186" y="870"/>
                  </a:lnTo>
                  <a:lnTo>
                    <a:pt x="198" y="882"/>
                  </a:lnTo>
                  <a:lnTo>
                    <a:pt x="204" y="894"/>
                  </a:lnTo>
                  <a:lnTo>
                    <a:pt x="216" y="888"/>
                  </a:lnTo>
                  <a:lnTo>
                    <a:pt x="234" y="888"/>
                  </a:lnTo>
                  <a:lnTo>
                    <a:pt x="240" y="894"/>
                  </a:lnTo>
                  <a:lnTo>
                    <a:pt x="240" y="900"/>
                  </a:lnTo>
                  <a:lnTo>
                    <a:pt x="246" y="912"/>
                  </a:lnTo>
                  <a:lnTo>
                    <a:pt x="246" y="942"/>
                  </a:lnTo>
                  <a:lnTo>
                    <a:pt x="264" y="942"/>
                  </a:lnTo>
                  <a:lnTo>
                    <a:pt x="270" y="948"/>
                  </a:lnTo>
                  <a:lnTo>
                    <a:pt x="270" y="972"/>
                  </a:lnTo>
                  <a:lnTo>
                    <a:pt x="300" y="978"/>
                  </a:lnTo>
                  <a:lnTo>
                    <a:pt x="312" y="1002"/>
                  </a:lnTo>
                  <a:lnTo>
                    <a:pt x="330" y="1002"/>
                  </a:lnTo>
                  <a:lnTo>
                    <a:pt x="342" y="996"/>
                  </a:lnTo>
                  <a:lnTo>
                    <a:pt x="348" y="996"/>
                  </a:lnTo>
                  <a:lnTo>
                    <a:pt x="348" y="948"/>
                  </a:lnTo>
                  <a:lnTo>
                    <a:pt x="360" y="936"/>
                  </a:lnTo>
                  <a:lnTo>
                    <a:pt x="378" y="936"/>
                  </a:lnTo>
                  <a:lnTo>
                    <a:pt x="402" y="960"/>
                  </a:lnTo>
                  <a:lnTo>
                    <a:pt x="408" y="972"/>
                  </a:lnTo>
                  <a:lnTo>
                    <a:pt x="420" y="948"/>
                  </a:lnTo>
                  <a:lnTo>
                    <a:pt x="456" y="948"/>
                  </a:lnTo>
                  <a:lnTo>
                    <a:pt x="462" y="954"/>
                  </a:lnTo>
                  <a:lnTo>
                    <a:pt x="492" y="954"/>
                  </a:lnTo>
                  <a:lnTo>
                    <a:pt x="504" y="948"/>
                  </a:lnTo>
                  <a:lnTo>
                    <a:pt x="510" y="948"/>
                  </a:lnTo>
                  <a:lnTo>
                    <a:pt x="510" y="936"/>
                  </a:lnTo>
                  <a:lnTo>
                    <a:pt x="516" y="930"/>
                  </a:lnTo>
                  <a:lnTo>
                    <a:pt x="522" y="930"/>
                  </a:lnTo>
                  <a:lnTo>
                    <a:pt x="522" y="942"/>
                  </a:lnTo>
                  <a:lnTo>
                    <a:pt x="786" y="942"/>
                  </a:lnTo>
                  <a:lnTo>
                    <a:pt x="798" y="900"/>
                  </a:lnTo>
                  <a:lnTo>
                    <a:pt x="804" y="894"/>
                  </a:lnTo>
                  <a:lnTo>
                    <a:pt x="804" y="882"/>
                  </a:lnTo>
                  <a:lnTo>
                    <a:pt x="786" y="864"/>
                  </a:lnTo>
                  <a:lnTo>
                    <a:pt x="780" y="864"/>
                  </a:lnTo>
                  <a:lnTo>
                    <a:pt x="738" y="174"/>
                  </a:lnTo>
                  <a:lnTo>
                    <a:pt x="858" y="180"/>
                  </a:lnTo>
                  <a:lnTo>
                    <a:pt x="600" y="0"/>
                  </a:lnTo>
                  <a:lnTo>
                    <a:pt x="594" y="48"/>
                  </a:lnTo>
                  <a:lnTo>
                    <a:pt x="588" y="54"/>
                  </a:lnTo>
                  <a:lnTo>
                    <a:pt x="588" y="90"/>
                  </a:lnTo>
                  <a:lnTo>
                    <a:pt x="366" y="96"/>
                  </a:lnTo>
                  <a:lnTo>
                    <a:pt x="366" y="108"/>
                  </a:lnTo>
                  <a:lnTo>
                    <a:pt x="354" y="114"/>
                  </a:lnTo>
                  <a:lnTo>
                    <a:pt x="354" y="306"/>
                  </a:lnTo>
                  <a:lnTo>
                    <a:pt x="348" y="312"/>
                  </a:lnTo>
                  <a:lnTo>
                    <a:pt x="336" y="318"/>
                  </a:lnTo>
                  <a:lnTo>
                    <a:pt x="306" y="318"/>
                  </a:lnTo>
                  <a:lnTo>
                    <a:pt x="282" y="330"/>
                  </a:lnTo>
                  <a:lnTo>
                    <a:pt x="276" y="342"/>
                  </a:lnTo>
                  <a:lnTo>
                    <a:pt x="276" y="360"/>
                  </a:lnTo>
                  <a:lnTo>
                    <a:pt x="282" y="372"/>
                  </a:lnTo>
                  <a:lnTo>
                    <a:pt x="276" y="474"/>
                  </a:lnTo>
                  <a:lnTo>
                    <a:pt x="0" y="474"/>
                  </a:lnTo>
                  <a:lnTo>
                    <a:pt x="0" y="498"/>
                  </a:lnTo>
                  <a:close/>
                </a:path>
              </a:pathLst>
            </a:custGeom>
            <a:grpFill/>
            <a:ln w="3175">
              <a:solidFill>
                <a:schemeClr val="bg1"/>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de-DE" sz="1800" b="0" i="0" u="none" strike="noStrike" kern="1200" cap="none" spc="0" normalizeH="0" baseline="0" noProof="0">
                <a:ln>
                  <a:noFill/>
                </a:ln>
                <a:solidFill>
                  <a:srgbClr val="FFC000"/>
                </a:solidFill>
                <a:effectLst/>
                <a:uLnTx/>
                <a:uFillTx/>
                <a:latin typeface="Calibri" pitchFamily="34" charset="0"/>
                <a:ea typeface="+mn-ea"/>
                <a:cs typeface="+mn-cs"/>
              </a:endParaRPr>
            </a:p>
          </p:txBody>
        </p:sp>
        <p:sp>
          <p:nvSpPr>
            <p:cNvPr id="92" name="Mali" descr="© INSCALE GmbH, 05.05.2010&#10;http://www.presentationload.com/"/>
            <p:cNvSpPr>
              <a:spLocks/>
            </p:cNvSpPr>
            <p:nvPr/>
          </p:nvSpPr>
          <p:spPr bwMode="gray">
            <a:xfrm>
              <a:off x="4188014" y="3677927"/>
              <a:ext cx="377553" cy="372335"/>
            </a:xfrm>
            <a:custGeom>
              <a:avLst/>
              <a:gdLst>
                <a:gd name="T0" fmla="*/ 2147483647 w 1164"/>
                <a:gd name="T1" fmla="*/ 2147483647 h 1200"/>
                <a:gd name="T2" fmla="*/ 2147483647 w 1164"/>
                <a:gd name="T3" fmla="*/ 2147483647 h 1200"/>
                <a:gd name="T4" fmla="*/ 2147483647 w 1164"/>
                <a:gd name="T5" fmla="*/ 2147483647 h 1200"/>
                <a:gd name="T6" fmla="*/ 2147483647 w 1164"/>
                <a:gd name="T7" fmla="*/ 2147483647 h 1200"/>
                <a:gd name="T8" fmla="*/ 2147483647 w 1164"/>
                <a:gd name="T9" fmla="*/ 2147483647 h 1200"/>
                <a:gd name="T10" fmla="*/ 2147483647 w 1164"/>
                <a:gd name="T11" fmla="*/ 2147483647 h 1200"/>
                <a:gd name="T12" fmla="*/ 2147483647 w 1164"/>
                <a:gd name="T13" fmla="*/ 2147483647 h 1200"/>
                <a:gd name="T14" fmla="*/ 2147483647 w 1164"/>
                <a:gd name="T15" fmla="*/ 2147483647 h 1200"/>
                <a:gd name="T16" fmla="*/ 2147483647 w 1164"/>
                <a:gd name="T17" fmla="*/ 2147483647 h 1200"/>
                <a:gd name="T18" fmla="*/ 2147483647 w 1164"/>
                <a:gd name="T19" fmla="*/ 2147483647 h 1200"/>
                <a:gd name="T20" fmla="*/ 2147483647 w 1164"/>
                <a:gd name="T21" fmla="*/ 2147483647 h 1200"/>
                <a:gd name="T22" fmla="*/ 2147483647 w 1164"/>
                <a:gd name="T23" fmla="*/ 2147483647 h 1200"/>
                <a:gd name="T24" fmla="*/ 2147483647 w 1164"/>
                <a:gd name="T25" fmla="*/ 2147483647 h 1200"/>
                <a:gd name="T26" fmla="*/ 2147483647 w 1164"/>
                <a:gd name="T27" fmla="*/ 2147483647 h 1200"/>
                <a:gd name="T28" fmla="*/ 2147483647 w 1164"/>
                <a:gd name="T29" fmla="*/ 2147483647 h 1200"/>
                <a:gd name="T30" fmla="*/ 2147483647 w 1164"/>
                <a:gd name="T31" fmla="*/ 2147483647 h 1200"/>
                <a:gd name="T32" fmla="*/ 2147483647 w 1164"/>
                <a:gd name="T33" fmla="*/ 2147483647 h 1200"/>
                <a:gd name="T34" fmla="*/ 2147483647 w 1164"/>
                <a:gd name="T35" fmla="*/ 2147483647 h 1200"/>
                <a:gd name="T36" fmla="*/ 2147483647 w 1164"/>
                <a:gd name="T37" fmla="*/ 2147483647 h 1200"/>
                <a:gd name="T38" fmla="*/ 2147483647 w 1164"/>
                <a:gd name="T39" fmla="*/ 2147483647 h 1200"/>
                <a:gd name="T40" fmla="*/ 2147483647 w 1164"/>
                <a:gd name="T41" fmla="*/ 2147483647 h 1200"/>
                <a:gd name="T42" fmla="*/ 2147483647 w 1164"/>
                <a:gd name="T43" fmla="*/ 2147483647 h 1200"/>
                <a:gd name="T44" fmla="*/ 2147483647 w 1164"/>
                <a:gd name="T45" fmla="*/ 2147483647 h 1200"/>
                <a:gd name="T46" fmla="*/ 2147483647 w 1164"/>
                <a:gd name="T47" fmla="*/ 2147483647 h 1200"/>
                <a:gd name="T48" fmla="*/ 2147483647 w 1164"/>
                <a:gd name="T49" fmla="*/ 2147483647 h 1200"/>
                <a:gd name="T50" fmla="*/ 2147483647 w 1164"/>
                <a:gd name="T51" fmla="*/ 2147483647 h 1200"/>
                <a:gd name="T52" fmla="*/ 2147483647 w 1164"/>
                <a:gd name="T53" fmla="*/ 2147483647 h 1200"/>
                <a:gd name="T54" fmla="*/ 0 w 1164"/>
                <a:gd name="T55" fmla="*/ 2147483647 h 1200"/>
                <a:gd name="T56" fmla="*/ 2147483647 w 1164"/>
                <a:gd name="T57" fmla="*/ 2147483647 h 1200"/>
                <a:gd name="T58" fmla="*/ 2147483647 w 1164"/>
                <a:gd name="T59" fmla="*/ 2147483647 h 1200"/>
                <a:gd name="T60" fmla="*/ 2147483647 w 1164"/>
                <a:gd name="T61" fmla="*/ 2147483647 h 1200"/>
                <a:gd name="T62" fmla="*/ 2147483647 w 1164"/>
                <a:gd name="T63" fmla="*/ 2147483647 h 1200"/>
                <a:gd name="T64" fmla="*/ 2147483647 w 1164"/>
                <a:gd name="T65" fmla="*/ 2147483647 h 1200"/>
                <a:gd name="T66" fmla="*/ 2147483647 w 1164"/>
                <a:gd name="T67" fmla="*/ 2147483647 h 1200"/>
                <a:gd name="T68" fmla="*/ 2147483647 w 1164"/>
                <a:gd name="T69" fmla="*/ 2147483647 h 1200"/>
                <a:gd name="T70" fmla="*/ 2147483647 w 1164"/>
                <a:gd name="T71" fmla="*/ 2147483647 h 1200"/>
                <a:gd name="T72" fmla="*/ 2147483647 w 1164"/>
                <a:gd name="T73" fmla="*/ 2147483647 h 1200"/>
                <a:gd name="T74" fmla="*/ 2147483647 w 1164"/>
                <a:gd name="T75" fmla="*/ 2147483647 h 1200"/>
                <a:gd name="T76" fmla="*/ 2147483647 w 1164"/>
                <a:gd name="T77" fmla="*/ 2147483647 h 1200"/>
                <a:gd name="T78" fmla="*/ 2147483647 w 1164"/>
                <a:gd name="T79" fmla="*/ 2147483647 h 1200"/>
                <a:gd name="T80" fmla="*/ 2147483647 w 1164"/>
                <a:gd name="T81" fmla="*/ 2147483647 h 1200"/>
                <a:gd name="T82" fmla="*/ 2147483647 w 1164"/>
                <a:gd name="T83" fmla="*/ 2147483647 h 1200"/>
                <a:gd name="T84" fmla="*/ 2147483647 w 1164"/>
                <a:gd name="T85" fmla="*/ 2147483647 h 1200"/>
                <a:gd name="T86" fmla="*/ 2147483647 w 1164"/>
                <a:gd name="T87" fmla="*/ 2147483647 h 1200"/>
                <a:gd name="T88" fmla="*/ 2147483647 w 1164"/>
                <a:gd name="T89" fmla="*/ 2147483647 h 1200"/>
                <a:gd name="T90" fmla="*/ 2147483647 w 1164"/>
                <a:gd name="T91" fmla="*/ 2147483647 h 1200"/>
                <a:gd name="T92" fmla="*/ 2147483647 w 1164"/>
                <a:gd name="T93" fmla="*/ 2147483647 h 1200"/>
                <a:gd name="T94" fmla="*/ 2147483647 w 1164"/>
                <a:gd name="T95" fmla="*/ 2147483647 h 1200"/>
                <a:gd name="T96" fmla="*/ 2147483647 w 1164"/>
                <a:gd name="T97" fmla="*/ 2147483647 h 1200"/>
                <a:gd name="T98" fmla="*/ 2147483647 w 1164"/>
                <a:gd name="T99" fmla="*/ 2147483647 h 1200"/>
                <a:gd name="T100" fmla="*/ 2147483647 w 1164"/>
                <a:gd name="T101" fmla="*/ 2147483647 h 1200"/>
                <a:gd name="T102" fmla="*/ 2147483647 w 1164"/>
                <a:gd name="T103" fmla="*/ 2147483647 h 1200"/>
                <a:gd name="T104" fmla="*/ 2147483647 w 1164"/>
                <a:gd name="T105" fmla="*/ 2147483647 h 1200"/>
                <a:gd name="T106" fmla="*/ 2147483647 w 1164"/>
                <a:gd name="T107" fmla="*/ 2147483647 h 1200"/>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1164"/>
                <a:gd name="T163" fmla="*/ 0 h 1200"/>
                <a:gd name="T164" fmla="*/ 1164 w 1164"/>
                <a:gd name="T165" fmla="*/ 1200 h 1200"/>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1164" h="1200">
                  <a:moveTo>
                    <a:pt x="612" y="954"/>
                  </a:moveTo>
                  <a:lnTo>
                    <a:pt x="636" y="948"/>
                  </a:lnTo>
                  <a:lnTo>
                    <a:pt x="636" y="912"/>
                  </a:lnTo>
                  <a:lnTo>
                    <a:pt x="654" y="912"/>
                  </a:lnTo>
                  <a:lnTo>
                    <a:pt x="654" y="906"/>
                  </a:lnTo>
                  <a:lnTo>
                    <a:pt x="660" y="900"/>
                  </a:lnTo>
                  <a:lnTo>
                    <a:pt x="666" y="888"/>
                  </a:lnTo>
                  <a:lnTo>
                    <a:pt x="678" y="882"/>
                  </a:lnTo>
                  <a:lnTo>
                    <a:pt x="684" y="870"/>
                  </a:lnTo>
                  <a:lnTo>
                    <a:pt x="690" y="864"/>
                  </a:lnTo>
                  <a:lnTo>
                    <a:pt x="696" y="864"/>
                  </a:lnTo>
                  <a:lnTo>
                    <a:pt x="708" y="876"/>
                  </a:lnTo>
                  <a:lnTo>
                    <a:pt x="720" y="876"/>
                  </a:lnTo>
                  <a:lnTo>
                    <a:pt x="720" y="870"/>
                  </a:lnTo>
                  <a:lnTo>
                    <a:pt x="726" y="864"/>
                  </a:lnTo>
                  <a:lnTo>
                    <a:pt x="726" y="846"/>
                  </a:lnTo>
                  <a:lnTo>
                    <a:pt x="750" y="846"/>
                  </a:lnTo>
                  <a:lnTo>
                    <a:pt x="768" y="822"/>
                  </a:lnTo>
                  <a:lnTo>
                    <a:pt x="792" y="822"/>
                  </a:lnTo>
                  <a:lnTo>
                    <a:pt x="810" y="804"/>
                  </a:lnTo>
                  <a:lnTo>
                    <a:pt x="858" y="804"/>
                  </a:lnTo>
                  <a:lnTo>
                    <a:pt x="882" y="816"/>
                  </a:lnTo>
                  <a:lnTo>
                    <a:pt x="930" y="804"/>
                  </a:lnTo>
                  <a:lnTo>
                    <a:pt x="954" y="786"/>
                  </a:lnTo>
                  <a:lnTo>
                    <a:pt x="1020" y="792"/>
                  </a:lnTo>
                  <a:lnTo>
                    <a:pt x="1020" y="774"/>
                  </a:lnTo>
                  <a:lnTo>
                    <a:pt x="1068" y="780"/>
                  </a:lnTo>
                  <a:lnTo>
                    <a:pt x="1080" y="774"/>
                  </a:lnTo>
                  <a:lnTo>
                    <a:pt x="1104" y="774"/>
                  </a:lnTo>
                  <a:lnTo>
                    <a:pt x="1122" y="768"/>
                  </a:lnTo>
                  <a:lnTo>
                    <a:pt x="1134" y="762"/>
                  </a:lnTo>
                  <a:lnTo>
                    <a:pt x="1140" y="750"/>
                  </a:lnTo>
                  <a:lnTo>
                    <a:pt x="1140" y="732"/>
                  </a:lnTo>
                  <a:lnTo>
                    <a:pt x="1146" y="720"/>
                  </a:lnTo>
                  <a:lnTo>
                    <a:pt x="1146" y="708"/>
                  </a:lnTo>
                  <a:lnTo>
                    <a:pt x="1164" y="684"/>
                  </a:lnTo>
                  <a:lnTo>
                    <a:pt x="1164" y="480"/>
                  </a:lnTo>
                  <a:lnTo>
                    <a:pt x="1140" y="480"/>
                  </a:lnTo>
                  <a:lnTo>
                    <a:pt x="1134" y="486"/>
                  </a:lnTo>
                  <a:lnTo>
                    <a:pt x="1104" y="486"/>
                  </a:lnTo>
                  <a:lnTo>
                    <a:pt x="1092" y="480"/>
                  </a:lnTo>
                  <a:lnTo>
                    <a:pt x="1086" y="474"/>
                  </a:lnTo>
                  <a:lnTo>
                    <a:pt x="1086" y="468"/>
                  </a:lnTo>
                  <a:lnTo>
                    <a:pt x="1104" y="450"/>
                  </a:lnTo>
                  <a:lnTo>
                    <a:pt x="1104" y="432"/>
                  </a:lnTo>
                  <a:lnTo>
                    <a:pt x="1092" y="408"/>
                  </a:lnTo>
                  <a:lnTo>
                    <a:pt x="1080" y="402"/>
                  </a:lnTo>
                  <a:lnTo>
                    <a:pt x="1050" y="402"/>
                  </a:lnTo>
                  <a:lnTo>
                    <a:pt x="1044" y="408"/>
                  </a:lnTo>
                  <a:lnTo>
                    <a:pt x="1038" y="408"/>
                  </a:lnTo>
                  <a:lnTo>
                    <a:pt x="1032" y="378"/>
                  </a:lnTo>
                  <a:lnTo>
                    <a:pt x="996" y="378"/>
                  </a:lnTo>
                  <a:lnTo>
                    <a:pt x="984" y="366"/>
                  </a:lnTo>
                  <a:lnTo>
                    <a:pt x="984" y="348"/>
                  </a:lnTo>
                  <a:lnTo>
                    <a:pt x="978" y="342"/>
                  </a:lnTo>
                  <a:lnTo>
                    <a:pt x="954" y="342"/>
                  </a:lnTo>
                  <a:lnTo>
                    <a:pt x="954" y="318"/>
                  </a:lnTo>
                  <a:lnTo>
                    <a:pt x="546" y="6"/>
                  </a:lnTo>
                  <a:lnTo>
                    <a:pt x="426" y="0"/>
                  </a:lnTo>
                  <a:lnTo>
                    <a:pt x="468" y="690"/>
                  </a:lnTo>
                  <a:lnTo>
                    <a:pt x="474" y="690"/>
                  </a:lnTo>
                  <a:lnTo>
                    <a:pt x="492" y="708"/>
                  </a:lnTo>
                  <a:lnTo>
                    <a:pt x="492" y="720"/>
                  </a:lnTo>
                  <a:lnTo>
                    <a:pt x="486" y="726"/>
                  </a:lnTo>
                  <a:lnTo>
                    <a:pt x="474" y="768"/>
                  </a:lnTo>
                  <a:lnTo>
                    <a:pt x="210" y="768"/>
                  </a:lnTo>
                  <a:lnTo>
                    <a:pt x="210" y="756"/>
                  </a:lnTo>
                  <a:lnTo>
                    <a:pt x="204" y="756"/>
                  </a:lnTo>
                  <a:lnTo>
                    <a:pt x="198" y="762"/>
                  </a:lnTo>
                  <a:lnTo>
                    <a:pt x="198" y="774"/>
                  </a:lnTo>
                  <a:lnTo>
                    <a:pt x="192" y="774"/>
                  </a:lnTo>
                  <a:lnTo>
                    <a:pt x="180" y="780"/>
                  </a:lnTo>
                  <a:lnTo>
                    <a:pt x="150" y="780"/>
                  </a:lnTo>
                  <a:lnTo>
                    <a:pt x="144" y="774"/>
                  </a:lnTo>
                  <a:lnTo>
                    <a:pt x="108" y="774"/>
                  </a:lnTo>
                  <a:lnTo>
                    <a:pt x="96" y="798"/>
                  </a:lnTo>
                  <a:lnTo>
                    <a:pt x="90" y="786"/>
                  </a:lnTo>
                  <a:lnTo>
                    <a:pt x="66" y="762"/>
                  </a:lnTo>
                  <a:lnTo>
                    <a:pt x="48" y="762"/>
                  </a:lnTo>
                  <a:lnTo>
                    <a:pt x="36" y="774"/>
                  </a:lnTo>
                  <a:lnTo>
                    <a:pt x="36" y="822"/>
                  </a:lnTo>
                  <a:lnTo>
                    <a:pt x="30" y="822"/>
                  </a:lnTo>
                  <a:lnTo>
                    <a:pt x="18" y="828"/>
                  </a:lnTo>
                  <a:lnTo>
                    <a:pt x="0" y="828"/>
                  </a:lnTo>
                  <a:lnTo>
                    <a:pt x="0" y="852"/>
                  </a:lnTo>
                  <a:lnTo>
                    <a:pt x="12" y="870"/>
                  </a:lnTo>
                  <a:lnTo>
                    <a:pt x="12" y="876"/>
                  </a:lnTo>
                  <a:lnTo>
                    <a:pt x="24" y="888"/>
                  </a:lnTo>
                  <a:lnTo>
                    <a:pt x="24" y="906"/>
                  </a:lnTo>
                  <a:lnTo>
                    <a:pt x="18" y="912"/>
                  </a:lnTo>
                  <a:lnTo>
                    <a:pt x="18" y="936"/>
                  </a:lnTo>
                  <a:lnTo>
                    <a:pt x="24" y="942"/>
                  </a:lnTo>
                  <a:lnTo>
                    <a:pt x="36" y="942"/>
                  </a:lnTo>
                  <a:lnTo>
                    <a:pt x="36" y="936"/>
                  </a:lnTo>
                  <a:lnTo>
                    <a:pt x="42" y="936"/>
                  </a:lnTo>
                  <a:lnTo>
                    <a:pt x="48" y="942"/>
                  </a:lnTo>
                  <a:lnTo>
                    <a:pt x="54" y="954"/>
                  </a:lnTo>
                  <a:lnTo>
                    <a:pt x="54" y="1032"/>
                  </a:lnTo>
                  <a:lnTo>
                    <a:pt x="60" y="1044"/>
                  </a:lnTo>
                  <a:lnTo>
                    <a:pt x="60" y="1050"/>
                  </a:lnTo>
                  <a:lnTo>
                    <a:pt x="66" y="1056"/>
                  </a:lnTo>
                  <a:lnTo>
                    <a:pt x="72" y="1050"/>
                  </a:lnTo>
                  <a:lnTo>
                    <a:pt x="78" y="1038"/>
                  </a:lnTo>
                  <a:lnTo>
                    <a:pt x="90" y="1026"/>
                  </a:lnTo>
                  <a:lnTo>
                    <a:pt x="102" y="1038"/>
                  </a:lnTo>
                  <a:lnTo>
                    <a:pt x="108" y="1050"/>
                  </a:lnTo>
                  <a:lnTo>
                    <a:pt x="108" y="1062"/>
                  </a:lnTo>
                  <a:lnTo>
                    <a:pt x="114" y="1050"/>
                  </a:lnTo>
                  <a:lnTo>
                    <a:pt x="126" y="1038"/>
                  </a:lnTo>
                  <a:lnTo>
                    <a:pt x="132" y="1026"/>
                  </a:lnTo>
                  <a:lnTo>
                    <a:pt x="138" y="1026"/>
                  </a:lnTo>
                  <a:lnTo>
                    <a:pt x="144" y="1032"/>
                  </a:lnTo>
                  <a:lnTo>
                    <a:pt x="150" y="1032"/>
                  </a:lnTo>
                  <a:lnTo>
                    <a:pt x="162" y="1038"/>
                  </a:lnTo>
                  <a:lnTo>
                    <a:pt x="168" y="1044"/>
                  </a:lnTo>
                  <a:lnTo>
                    <a:pt x="180" y="1050"/>
                  </a:lnTo>
                  <a:lnTo>
                    <a:pt x="198" y="1032"/>
                  </a:lnTo>
                  <a:lnTo>
                    <a:pt x="198" y="1014"/>
                  </a:lnTo>
                  <a:lnTo>
                    <a:pt x="204" y="1008"/>
                  </a:lnTo>
                  <a:lnTo>
                    <a:pt x="216" y="1008"/>
                  </a:lnTo>
                  <a:lnTo>
                    <a:pt x="228" y="1014"/>
                  </a:lnTo>
                  <a:lnTo>
                    <a:pt x="228" y="1032"/>
                  </a:lnTo>
                  <a:lnTo>
                    <a:pt x="246" y="1044"/>
                  </a:lnTo>
                  <a:lnTo>
                    <a:pt x="234" y="1074"/>
                  </a:lnTo>
                  <a:lnTo>
                    <a:pt x="270" y="1092"/>
                  </a:lnTo>
                  <a:lnTo>
                    <a:pt x="246" y="1128"/>
                  </a:lnTo>
                  <a:lnTo>
                    <a:pt x="270" y="1128"/>
                  </a:lnTo>
                  <a:lnTo>
                    <a:pt x="270" y="1164"/>
                  </a:lnTo>
                  <a:lnTo>
                    <a:pt x="300" y="1194"/>
                  </a:lnTo>
                  <a:lnTo>
                    <a:pt x="312" y="1200"/>
                  </a:lnTo>
                  <a:lnTo>
                    <a:pt x="312" y="1182"/>
                  </a:lnTo>
                  <a:lnTo>
                    <a:pt x="318" y="1176"/>
                  </a:lnTo>
                  <a:lnTo>
                    <a:pt x="330" y="1176"/>
                  </a:lnTo>
                  <a:lnTo>
                    <a:pt x="348" y="1182"/>
                  </a:lnTo>
                  <a:lnTo>
                    <a:pt x="366" y="1200"/>
                  </a:lnTo>
                  <a:lnTo>
                    <a:pt x="372" y="1182"/>
                  </a:lnTo>
                  <a:lnTo>
                    <a:pt x="390" y="1182"/>
                  </a:lnTo>
                  <a:lnTo>
                    <a:pt x="396" y="1158"/>
                  </a:lnTo>
                  <a:lnTo>
                    <a:pt x="408" y="1176"/>
                  </a:lnTo>
                  <a:lnTo>
                    <a:pt x="420" y="1152"/>
                  </a:lnTo>
                  <a:lnTo>
                    <a:pt x="420" y="1188"/>
                  </a:lnTo>
                  <a:lnTo>
                    <a:pt x="444" y="1194"/>
                  </a:lnTo>
                  <a:lnTo>
                    <a:pt x="450" y="1188"/>
                  </a:lnTo>
                  <a:lnTo>
                    <a:pt x="456" y="1176"/>
                  </a:lnTo>
                  <a:lnTo>
                    <a:pt x="462" y="1170"/>
                  </a:lnTo>
                  <a:lnTo>
                    <a:pt x="474" y="1170"/>
                  </a:lnTo>
                  <a:lnTo>
                    <a:pt x="468" y="1116"/>
                  </a:lnTo>
                  <a:lnTo>
                    <a:pt x="492" y="1116"/>
                  </a:lnTo>
                  <a:lnTo>
                    <a:pt x="504" y="1092"/>
                  </a:lnTo>
                  <a:lnTo>
                    <a:pt x="480" y="1062"/>
                  </a:lnTo>
                  <a:lnTo>
                    <a:pt x="498" y="1050"/>
                  </a:lnTo>
                  <a:lnTo>
                    <a:pt x="504" y="1050"/>
                  </a:lnTo>
                  <a:lnTo>
                    <a:pt x="510" y="1044"/>
                  </a:lnTo>
                  <a:lnTo>
                    <a:pt x="546" y="1044"/>
                  </a:lnTo>
                  <a:lnTo>
                    <a:pt x="546" y="1032"/>
                  </a:lnTo>
                  <a:lnTo>
                    <a:pt x="540" y="1026"/>
                  </a:lnTo>
                  <a:lnTo>
                    <a:pt x="546" y="1026"/>
                  </a:lnTo>
                  <a:lnTo>
                    <a:pt x="552" y="1020"/>
                  </a:lnTo>
                  <a:lnTo>
                    <a:pt x="552" y="990"/>
                  </a:lnTo>
                  <a:lnTo>
                    <a:pt x="570" y="990"/>
                  </a:lnTo>
                  <a:lnTo>
                    <a:pt x="570" y="960"/>
                  </a:lnTo>
                  <a:lnTo>
                    <a:pt x="564" y="954"/>
                  </a:lnTo>
                  <a:lnTo>
                    <a:pt x="582" y="924"/>
                  </a:lnTo>
                  <a:lnTo>
                    <a:pt x="612" y="954"/>
                  </a:lnTo>
                  <a:close/>
                </a:path>
              </a:pathLst>
            </a:custGeom>
            <a:grpFill/>
            <a:ln w="3175">
              <a:solidFill>
                <a:schemeClr val="bg1"/>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de-DE" sz="1800" b="0" i="0" u="none" strike="noStrike" kern="1200" cap="none" spc="0" normalizeH="0" baseline="0" noProof="0">
                <a:ln>
                  <a:noFill/>
                </a:ln>
                <a:solidFill>
                  <a:srgbClr val="FFC000"/>
                </a:solidFill>
                <a:effectLst/>
                <a:uLnTx/>
                <a:uFillTx/>
                <a:latin typeface="Calibri" pitchFamily="34" charset="0"/>
                <a:ea typeface="+mn-ea"/>
                <a:cs typeface="+mn-cs"/>
              </a:endParaRPr>
            </a:p>
          </p:txBody>
        </p:sp>
        <p:sp>
          <p:nvSpPr>
            <p:cNvPr id="93" name="Malaysia" descr="© INSCALE GmbH, 05.05.2010&#10;http://www.presentationload.com/"/>
            <p:cNvSpPr>
              <a:spLocks/>
            </p:cNvSpPr>
            <p:nvPr/>
          </p:nvSpPr>
          <p:spPr bwMode="gray">
            <a:xfrm>
              <a:off x="6773293" y="4135999"/>
              <a:ext cx="98548" cy="135952"/>
            </a:xfrm>
            <a:custGeom>
              <a:avLst/>
              <a:gdLst>
                <a:gd name="T0" fmla="*/ 2147483647 w 306"/>
                <a:gd name="T1" fmla="*/ 2147483647 h 438"/>
                <a:gd name="T2" fmla="*/ 2147483647 w 306"/>
                <a:gd name="T3" fmla="*/ 2147483647 h 438"/>
                <a:gd name="T4" fmla="*/ 2147483647 w 306"/>
                <a:gd name="T5" fmla="*/ 2147483647 h 438"/>
                <a:gd name="T6" fmla="*/ 2147483647 w 306"/>
                <a:gd name="T7" fmla="*/ 2147483647 h 438"/>
                <a:gd name="T8" fmla="*/ 2147483647 w 306"/>
                <a:gd name="T9" fmla="*/ 2147483647 h 438"/>
                <a:gd name="T10" fmla="*/ 2147483647 w 306"/>
                <a:gd name="T11" fmla="*/ 2147483647 h 438"/>
                <a:gd name="T12" fmla="*/ 2147483647 w 306"/>
                <a:gd name="T13" fmla="*/ 2147483647 h 438"/>
                <a:gd name="T14" fmla="*/ 2147483647 w 306"/>
                <a:gd name="T15" fmla="*/ 2147483647 h 438"/>
                <a:gd name="T16" fmla="*/ 2147483647 w 306"/>
                <a:gd name="T17" fmla="*/ 2147483647 h 438"/>
                <a:gd name="T18" fmla="*/ 2147483647 w 306"/>
                <a:gd name="T19" fmla="*/ 2147483647 h 438"/>
                <a:gd name="T20" fmla="*/ 2147483647 w 306"/>
                <a:gd name="T21" fmla="*/ 2147483647 h 438"/>
                <a:gd name="T22" fmla="*/ 2147483647 w 306"/>
                <a:gd name="T23" fmla="*/ 2147483647 h 438"/>
                <a:gd name="T24" fmla="*/ 2147483647 w 306"/>
                <a:gd name="T25" fmla="*/ 2147483647 h 438"/>
                <a:gd name="T26" fmla="*/ 2147483647 w 306"/>
                <a:gd name="T27" fmla="*/ 2147483647 h 438"/>
                <a:gd name="T28" fmla="*/ 2147483647 w 306"/>
                <a:gd name="T29" fmla="*/ 2147483647 h 438"/>
                <a:gd name="T30" fmla="*/ 2147483647 w 306"/>
                <a:gd name="T31" fmla="*/ 2147483647 h 438"/>
                <a:gd name="T32" fmla="*/ 2147483647 w 306"/>
                <a:gd name="T33" fmla="*/ 2147483647 h 438"/>
                <a:gd name="T34" fmla="*/ 2147483647 w 306"/>
                <a:gd name="T35" fmla="*/ 2147483647 h 438"/>
                <a:gd name="T36" fmla="*/ 2147483647 w 306"/>
                <a:gd name="T37" fmla="*/ 2147483647 h 438"/>
                <a:gd name="T38" fmla="*/ 2147483647 w 306"/>
                <a:gd name="T39" fmla="*/ 2147483647 h 438"/>
                <a:gd name="T40" fmla="*/ 2147483647 w 306"/>
                <a:gd name="T41" fmla="*/ 2147483647 h 438"/>
                <a:gd name="T42" fmla="*/ 2147483647 w 306"/>
                <a:gd name="T43" fmla="*/ 2147483647 h 438"/>
                <a:gd name="T44" fmla="*/ 2147483647 w 306"/>
                <a:gd name="T45" fmla="*/ 2147483647 h 438"/>
                <a:gd name="T46" fmla="*/ 2147483647 w 306"/>
                <a:gd name="T47" fmla="*/ 2147483647 h 438"/>
                <a:gd name="T48" fmla="*/ 2147483647 w 306"/>
                <a:gd name="T49" fmla="*/ 2147483647 h 438"/>
                <a:gd name="T50" fmla="*/ 2147483647 w 306"/>
                <a:gd name="T51" fmla="*/ 2147483647 h 438"/>
                <a:gd name="T52" fmla="*/ 2147483647 w 306"/>
                <a:gd name="T53" fmla="*/ 2147483647 h 438"/>
                <a:gd name="T54" fmla="*/ 2147483647 w 306"/>
                <a:gd name="T55" fmla="*/ 2147483647 h 438"/>
                <a:gd name="T56" fmla="*/ 2147483647 w 306"/>
                <a:gd name="T57" fmla="*/ 2147483647 h 438"/>
                <a:gd name="T58" fmla="*/ 2147483647 w 306"/>
                <a:gd name="T59" fmla="*/ 2147483647 h 438"/>
                <a:gd name="T60" fmla="*/ 2147483647 w 306"/>
                <a:gd name="T61" fmla="*/ 2147483647 h 438"/>
                <a:gd name="T62" fmla="*/ 2147483647 w 306"/>
                <a:gd name="T63" fmla="*/ 2147483647 h 438"/>
                <a:gd name="T64" fmla="*/ 2147483647 w 306"/>
                <a:gd name="T65" fmla="*/ 2147483647 h 438"/>
                <a:gd name="T66" fmla="*/ 2147483647 w 306"/>
                <a:gd name="T67" fmla="*/ 2147483647 h 438"/>
                <a:gd name="T68" fmla="*/ 2147483647 w 306"/>
                <a:gd name="T69" fmla="*/ 2147483647 h 438"/>
                <a:gd name="T70" fmla="*/ 2147483647 w 306"/>
                <a:gd name="T71" fmla="*/ 2147483647 h 438"/>
                <a:gd name="T72" fmla="*/ 2147483647 w 306"/>
                <a:gd name="T73" fmla="*/ 2147483647 h 438"/>
                <a:gd name="T74" fmla="*/ 2147483647 w 306"/>
                <a:gd name="T75" fmla="*/ 2147483647 h 438"/>
                <a:gd name="T76" fmla="*/ 2147483647 w 306"/>
                <a:gd name="T77" fmla="*/ 0 h 438"/>
                <a:gd name="T78" fmla="*/ 2147483647 w 306"/>
                <a:gd name="T79" fmla="*/ 2147483647 h 438"/>
                <a:gd name="T80" fmla="*/ 2147483647 w 306"/>
                <a:gd name="T81" fmla="*/ 2147483647 h 438"/>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306"/>
                <a:gd name="T124" fmla="*/ 0 h 438"/>
                <a:gd name="T125" fmla="*/ 306 w 306"/>
                <a:gd name="T126" fmla="*/ 438 h 438"/>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306" h="438">
                  <a:moveTo>
                    <a:pt x="0" y="42"/>
                  </a:moveTo>
                  <a:lnTo>
                    <a:pt x="6" y="138"/>
                  </a:lnTo>
                  <a:lnTo>
                    <a:pt x="18" y="138"/>
                  </a:lnTo>
                  <a:lnTo>
                    <a:pt x="24" y="132"/>
                  </a:lnTo>
                  <a:lnTo>
                    <a:pt x="42" y="132"/>
                  </a:lnTo>
                  <a:lnTo>
                    <a:pt x="54" y="138"/>
                  </a:lnTo>
                  <a:lnTo>
                    <a:pt x="54" y="168"/>
                  </a:lnTo>
                  <a:lnTo>
                    <a:pt x="48" y="180"/>
                  </a:lnTo>
                  <a:lnTo>
                    <a:pt x="48" y="198"/>
                  </a:lnTo>
                  <a:lnTo>
                    <a:pt x="54" y="216"/>
                  </a:lnTo>
                  <a:lnTo>
                    <a:pt x="60" y="228"/>
                  </a:lnTo>
                  <a:lnTo>
                    <a:pt x="66" y="234"/>
                  </a:lnTo>
                  <a:lnTo>
                    <a:pt x="84" y="234"/>
                  </a:lnTo>
                  <a:lnTo>
                    <a:pt x="90" y="228"/>
                  </a:lnTo>
                  <a:lnTo>
                    <a:pt x="90" y="240"/>
                  </a:lnTo>
                  <a:lnTo>
                    <a:pt x="84" y="252"/>
                  </a:lnTo>
                  <a:lnTo>
                    <a:pt x="84" y="282"/>
                  </a:lnTo>
                  <a:lnTo>
                    <a:pt x="96" y="306"/>
                  </a:lnTo>
                  <a:lnTo>
                    <a:pt x="102" y="312"/>
                  </a:lnTo>
                  <a:lnTo>
                    <a:pt x="114" y="318"/>
                  </a:lnTo>
                  <a:lnTo>
                    <a:pt x="132" y="330"/>
                  </a:lnTo>
                  <a:lnTo>
                    <a:pt x="144" y="336"/>
                  </a:lnTo>
                  <a:lnTo>
                    <a:pt x="162" y="354"/>
                  </a:lnTo>
                  <a:lnTo>
                    <a:pt x="168" y="354"/>
                  </a:lnTo>
                  <a:lnTo>
                    <a:pt x="168" y="366"/>
                  </a:lnTo>
                  <a:lnTo>
                    <a:pt x="174" y="372"/>
                  </a:lnTo>
                  <a:lnTo>
                    <a:pt x="174" y="378"/>
                  </a:lnTo>
                  <a:lnTo>
                    <a:pt x="180" y="384"/>
                  </a:lnTo>
                  <a:lnTo>
                    <a:pt x="186" y="384"/>
                  </a:lnTo>
                  <a:lnTo>
                    <a:pt x="198" y="390"/>
                  </a:lnTo>
                  <a:lnTo>
                    <a:pt x="204" y="396"/>
                  </a:lnTo>
                  <a:lnTo>
                    <a:pt x="216" y="396"/>
                  </a:lnTo>
                  <a:lnTo>
                    <a:pt x="222" y="402"/>
                  </a:lnTo>
                  <a:lnTo>
                    <a:pt x="228" y="402"/>
                  </a:lnTo>
                  <a:lnTo>
                    <a:pt x="252" y="438"/>
                  </a:lnTo>
                  <a:lnTo>
                    <a:pt x="300" y="432"/>
                  </a:lnTo>
                  <a:lnTo>
                    <a:pt x="300" y="420"/>
                  </a:lnTo>
                  <a:lnTo>
                    <a:pt x="306" y="408"/>
                  </a:lnTo>
                  <a:lnTo>
                    <a:pt x="306" y="378"/>
                  </a:lnTo>
                  <a:lnTo>
                    <a:pt x="294" y="354"/>
                  </a:lnTo>
                  <a:lnTo>
                    <a:pt x="270" y="330"/>
                  </a:lnTo>
                  <a:lnTo>
                    <a:pt x="264" y="318"/>
                  </a:lnTo>
                  <a:lnTo>
                    <a:pt x="258" y="312"/>
                  </a:lnTo>
                  <a:lnTo>
                    <a:pt x="258" y="288"/>
                  </a:lnTo>
                  <a:lnTo>
                    <a:pt x="252" y="276"/>
                  </a:lnTo>
                  <a:lnTo>
                    <a:pt x="246" y="270"/>
                  </a:lnTo>
                  <a:lnTo>
                    <a:pt x="246" y="258"/>
                  </a:lnTo>
                  <a:lnTo>
                    <a:pt x="252" y="252"/>
                  </a:lnTo>
                  <a:lnTo>
                    <a:pt x="252" y="126"/>
                  </a:lnTo>
                  <a:lnTo>
                    <a:pt x="246" y="114"/>
                  </a:lnTo>
                  <a:lnTo>
                    <a:pt x="222" y="90"/>
                  </a:lnTo>
                  <a:lnTo>
                    <a:pt x="204" y="84"/>
                  </a:lnTo>
                  <a:lnTo>
                    <a:pt x="192" y="72"/>
                  </a:lnTo>
                  <a:lnTo>
                    <a:pt x="180" y="66"/>
                  </a:lnTo>
                  <a:lnTo>
                    <a:pt x="156" y="42"/>
                  </a:lnTo>
                  <a:lnTo>
                    <a:pt x="150" y="54"/>
                  </a:lnTo>
                  <a:lnTo>
                    <a:pt x="144" y="60"/>
                  </a:lnTo>
                  <a:lnTo>
                    <a:pt x="138" y="72"/>
                  </a:lnTo>
                  <a:lnTo>
                    <a:pt x="138" y="78"/>
                  </a:lnTo>
                  <a:lnTo>
                    <a:pt x="132" y="84"/>
                  </a:lnTo>
                  <a:lnTo>
                    <a:pt x="114" y="66"/>
                  </a:lnTo>
                  <a:lnTo>
                    <a:pt x="108" y="66"/>
                  </a:lnTo>
                  <a:lnTo>
                    <a:pt x="102" y="72"/>
                  </a:lnTo>
                  <a:lnTo>
                    <a:pt x="90" y="72"/>
                  </a:lnTo>
                  <a:lnTo>
                    <a:pt x="90" y="78"/>
                  </a:lnTo>
                  <a:lnTo>
                    <a:pt x="72" y="78"/>
                  </a:lnTo>
                  <a:lnTo>
                    <a:pt x="66" y="72"/>
                  </a:lnTo>
                  <a:lnTo>
                    <a:pt x="66" y="66"/>
                  </a:lnTo>
                  <a:lnTo>
                    <a:pt x="78" y="54"/>
                  </a:lnTo>
                  <a:lnTo>
                    <a:pt x="78" y="42"/>
                  </a:lnTo>
                  <a:lnTo>
                    <a:pt x="66" y="42"/>
                  </a:lnTo>
                  <a:lnTo>
                    <a:pt x="66" y="30"/>
                  </a:lnTo>
                  <a:lnTo>
                    <a:pt x="60" y="24"/>
                  </a:lnTo>
                  <a:lnTo>
                    <a:pt x="48" y="18"/>
                  </a:lnTo>
                  <a:lnTo>
                    <a:pt x="30" y="18"/>
                  </a:lnTo>
                  <a:lnTo>
                    <a:pt x="30" y="12"/>
                  </a:lnTo>
                  <a:lnTo>
                    <a:pt x="24" y="0"/>
                  </a:lnTo>
                  <a:lnTo>
                    <a:pt x="12" y="0"/>
                  </a:lnTo>
                  <a:lnTo>
                    <a:pt x="6" y="6"/>
                  </a:lnTo>
                  <a:lnTo>
                    <a:pt x="6" y="18"/>
                  </a:lnTo>
                  <a:lnTo>
                    <a:pt x="12" y="24"/>
                  </a:lnTo>
                  <a:lnTo>
                    <a:pt x="6" y="36"/>
                  </a:lnTo>
                  <a:lnTo>
                    <a:pt x="0" y="42"/>
                  </a:lnTo>
                  <a:close/>
                </a:path>
              </a:pathLst>
            </a:custGeom>
            <a:grpFill/>
            <a:ln w="3175">
              <a:solidFill>
                <a:schemeClr val="bg1"/>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de-DE" sz="1800" b="0" i="0" u="none" strike="noStrike" kern="1200" cap="none" spc="0" normalizeH="0" baseline="0" noProof="0">
                <a:ln>
                  <a:noFill/>
                </a:ln>
                <a:solidFill>
                  <a:srgbClr val="FFC000"/>
                </a:solidFill>
                <a:effectLst/>
                <a:uLnTx/>
                <a:uFillTx/>
                <a:latin typeface="Calibri" pitchFamily="34" charset="0"/>
                <a:ea typeface="+mn-ea"/>
                <a:cs typeface="+mn-cs"/>
              </a:endParaRPr>
            </a:p>
          </p:txBody>
        </p:sp>
        <p:sp>
          <p:nvSpPr>
            <p:cNvPr id="94" name="AutoShape 80" descr="© INSCALE GmbH, 05.05.2010&#10;http://www.presentationload.com/"/>
            <p:cNvSpPr>
              <a:spLocks/>
            </p:cNvSpPr>
            <p:nvPr/>
          </p:nvSpPr>
          <p:spPr bwMode="gray">
            <a:xfrm>
              <a:off x="7004944" y="4120077"/>
              <a:ext cx="223972" cy="164122"/>
            </a:xfrm>
            <a:custGeom>
              <a:avLst/>
              <a:gdLst>
                <a:gd name="T0" fmla="*/ 2147483647 w 690"/>
                <a:gd name="T1" fmla="*/ 2147483647 h 528"/>
                <a:gd name="T2" fmla="*/ 2147483647 w 690"/>
                <a:gd name="T3" fmla="*/ 2147483647 h 528"/>
                <a:gd name="T4" fmla="*/ 2147483647 w 690"/>
                <a:gd name="T5" fmla="*/ 2147483647 h 528"/>
                <a:gd name="T6" fmla="*/ 2147483647 w 690"/>
                <a:gd name="T7" fmla="*/ 2147483647 h 528"/>
                <a:gd name="T8" fmla="*/ 2147483647 w 690"/>
                <a:gd name="T9" fmla="*/ 2147483647 h 528"/>
                <a:gd name="T10" fmla="*/ 2147483647 w 690"/>
                <a:gd name="T11" fmla="*/ 2147483647 h 528"/>
                <a:gd name="T12" fmla="*/ 2147483647 w 690"/>
                <a:gd name="T13" fmla="*/ 2147483647 h 528"/>
                <a:gd name="T14" fmla="*/ 2147483647 w 690"/>
                <a:gd name="T15" fmla="*/ 2147483647 h 528"/>
                <a:gd name="T16" fmla="*/ 2147483647 w 690"/>
                <a:gd name="T17" fmla="*/ 2147483647 h 528"/>
                <a:gd name="T18" fmla="*/ 2147483647 w 690"/>
                <a:gd name="T19" fmla="*/ 2147483647 h 528"/>
                <a:gd name="T20" fmla="*/ 2147483647 w 690"/>
                <a:gd name="T21" fmla="*/ 2147483647 h 528"/>
                <a:gd name="T22" fmla="*/ 2147483647 w 690"/>
                <a:gd name="T23" fmla="*/ 2147483647 h 528"/>
                <a:gd name="T24" fmla="*/ 2147483647 w 690"/>
                <a:gd name="T25" fmla="*/ 2147483647 h 528"/>
                <a:gd name="T26" fmla="*/ 2147483647 w 690"/>
                <a:gd name="T27" fmla="*/ 2147483647 h 528"/>
                <a:gd name="T28" fmla="*/ 2147483647 w 690"/>
                <a:gd name="T29" fmla="*/ 2147483647 h 528"/>
                <a:gd name="T30" fmla="*/ 2147483647 w 690"/>
                <a:gd name="T31" fmla="*/ 2147483647 h 528"/>
                <a:gd name="T32" fmla="*/ 2147483647 w 690"/>
                <a:gd name="T33" fmla="*/ 2147483647 h 528"/>
                <a:gd name="T34" fmla="*/ 2147483647 w 690"/>
                <a:gd name="T35" fmla="*/ 2147483647 h 528"/>
                <a:gd name="T36" fmla="*/ 2147483647 w 690"/>
                <a:gd name="T37" fmla="*/ 2147483647 h 528"/>
                <a:gd name="T38" fmla="*/ 2147483647 w 690"/>
                <a:gd name="T39" fmla="*/ 2147483647 h 528"/>
                <a:gd name="T40" fmla="*/ 2147483647 w 690"/>
                <a:gd name="T41" fmla="*/ 2147483647 h 528"/>
                <a:gd name="T42" fmla="*/ 2147483647 w 690"/>
                <a:gd name="T43" fmla="*/ 2147483647 h 528"/>
                <a:gd name="T44" fmla="*/ 2147483647 w 690"/>
                <a:gd name="T45" fmla="*/ 2147483647 h 528"/>
                <a:gd name="T46" fmla="*/ 2147483647 w 690"/>
                <a:gd name="T47" fmla="*/ 2147483647 h 528"/>
                <a:gd name="T48" fmla="*/ 2147483647 w 690"/>
                <a:gd name="T49" fmla="*/ 2147483647 h 528"/>
                <a:gd name="T50" fmla="*/ 2147483647 w 690"/>
                <a:gd name="T51" fmla="*/ 2147483647 h 528"/>
                <a:gd name="T52" fmla="*/ 2147483647 w 690"/>
                <a:gd name="T53" fmla="*/ 2147483647 h 528"/>
                <a:gd name="T54" fmla="*/ 2147483647 w 690"/>
                <a:gd name="T55" fmla="*/ 2147483647 h 528"/>
                <a:gd name="T56" fmla="*/ 2147483647 w 690"/>
                <a:gd name="T57" fmla="*/ 2147483647 h 528"/>
                <a:gd name="T58" fmla="*/ 2147483647 w 690"/>
                <a:gd name="T59" fmla="*/ 2147483647 h 528"/>
                <a:gd name="T60" fmla="*/ 2147483647 w 690"/>
                <a:gd name="T61" fmla="*/ 2147483647 h 528"/>
                <a:gd name="T62" fmla="*/ 2147483647 w 690"/>
                <a:gd name="T63" fmla="*/ 2147483647 h 528"/>
                <a:gd name="T64" fmla="*/ 2147483647 w 690"/>
                <a:gd name="T65" fmla="*/ 2147483647 h 528"/>
                <a:gd name="T66" fmla="*/ 2147483647 w 690"/>
                <a:gd name="T67" fmla="*/ 2147483647 h 528"/>
                <a:gd name="T68" fmla="*/ 2147483647 w 690"/>
                <a:gd name="T69" fmla="*/ 2147483647 h 528"/>
                <a:gd name="T70" fmla="*/ 2147483647 w 690"/>
                <a:gd name="T71" fmla="*/ 0 h 528"/>
                <a:gd name="T72" fmla="*/ 2147483647 w 690"/>
                <a:gd name="T73" fmla="*/ 0 h 528"/>
                <a:gd name="T74" fmla="*/ 2147483647 w 690"/>
                <a:gd name="T75" fmla="*/ 2147483647 h 528"/>
                <a:gd name="T76" fmla="*/ 2147483647 w 690"/>
                <a:gd name="T77" fmla="*/ 2147483647 h 528"/>
                <a:gd name="T78" fmla="*/ 2147483647 w 690"/>
                <a:gd name="T79" fmla="*/ 2147483647 h 528"/>
                <a:gd name="T80" fmla="*/ 2147483647 w 690"/>
                <a:gd name="T81" fmla="*/ 2147483647 h 528"/>
                <a:gd name="T82" fmla="*/ 2147483647 w 690"/>
                <a:gd name="T83" fmla="*/ 2147483647 h 528"/>
                <a:gd name="T84" fmla="*/ 2147483647 w 690"/>
                <a:gd name="T85" fmla="*/ 2147483647 h 528"/>
                <a:gd name="T86" fmla="*/ 2147483647 w 690"/>
                <a:gd name="T87" fmla="*/ 2147483647 h 528"/>
                <a:gd name="T88" fmla="*/ 2147483647 w 690"/>
                <a:gd name="T89" fmla="*/ 2147483647 h 528"/>
                <a:gd name="T90" fmla="*/ 2147483647 w 690"/>
                <a:gd name="T91" fmla="*/ 2147483647 h 528"/>
                <a:gd name="T92" fmla="*/ 2147483647 w 690"/>
                <a:gd name="T93" fmla="*/ 2147483647 h 528"/>
                <a:gd name="T94" fmla="*/ 2147483647 w 690"/>
                <a:gd name="T95" fmla="*/ 2147483647 h 528"/>
                <a:gd name="T96" fmla="*/ 2147483647 w 690"/>
                <a:gd name="T97" fmla="*/ 2147483647 h 528"/>
                <a:gd name="T98" fmla="*/ 2147483647 w 690"/>
                <a:gd name="T99" fmla="*/ 2147483647 h 528"/>
                <a:gd name="T100" fmla="*/ 2147483647 w 690"/>
                <a:gd name="T101" fmla="*/ 2147483647 h 528"/>
                <a:gd name="T102" fmla="*/ 2147483647 w 690"/>
                <a:gd name="T103" fmla="*/ 2147483647 h 528"/>
                <a:gd name="T104" fmla="*/ 2147483647 w 690"/>
                <a:gd name="T105" fmla="*/ 2147483647 h 528"/>
                <a:gd name="T106" fmla="*/ 2147483647 w 690"/>
                <a:gd name="T107" fmla="*/ 2147483647 h 528"/>
                <a:gd name="T108" fmla="*/ 2147483647 w 690"/>
                <a:gd name="T109" fmla="*/ 2147483647 h 528"/>
                <a:gd name="T110" fmla="*/ 2147483647 w 690"/>
                <a:gd name="T111" fmla="*/ 2147483647 h 528"/>
                <a:gd name="T112" fmla="*/ 2147483647 w 690"/>
                <a:gd name="T113" fmla="*/ 2147483647 h 528"/>
                <a:gd name="T114" fmla="*/ 0 w 690"/>
                <a:gd name="T115" fmla="*/ 2147483647 h 528"/>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690"/>
                <a:gd name="T175" fmla="*/ 0 h 528"/>
                <a:gd name="T176" fmla="*/ 690 w 690"/>
                <a:gd name="T177" fmla="*/ 528 h 528"/>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690" h="528">
                  <a:moveTo>
                    <a:pt x="12" y="504"/>
                  </a:moveTo>
                  <a:lnTo>
                    <a:pt x="24" y="510"/>
                  </a:lnTo>
                  <a:lnTo>
                    <a:pt x="30" y="516"/>
                  </a:lnTo>
                  <a:lnTo>
                    <a:pt x="54" y="528"/>
                  </a:lnTo>
                  <a:lnTo>
                    <a:pt x="60" y="528"/>
                  </a:lnTo>
                  <a:lnTo>
                    <a:pt x="78" y="510"/>
                  </a:lnTo>
                  <a:lnTo>
                    <a:pt x="102" y="510"/>
                  </a:lnTo>
                  <a:lnTo>
                    <a:pt x="120" y="516"/>
                  </a:lnTo>
                  <a:lnTo>
                    <a:pt x="144" y="516"/>
                  </a:lnTo>
                  <a:lnTo>
                    <a:pt x="174" y="486"/>
                  </a:lnTo>
                  <a:lnTo>
                    <a:pt x="180" y="474"/>
                  </a:lnTo>
                  <a:lnTo>
                    <a:pt x="222" y="474"/>
                  </a:lnTo>
                  <a:lnTo>
                    <a:pt x="234" y="486"/>
                  </a:lnTo>
                  <a:lnTo>
                    <a:pt x="258" y="498"/>
                  </a:lnTo>
                  <a:lnTo>
                    <a:pt x="264" y="504"/>
                  </a:lnTo>
                  <a:lnTo>
                    <a:pt x="270" y="504"/>
                  </a:lnTo>
                  <a:lnTo>
                    <a:pt x="282" y="492"/>
                  </a:lnTo>
                  <a:lnTo>
                    <a:pt x="294" y="486"/>
                  </a:lnTo>
                  <a:lnTo>
                    <a:pt x="300" y="480"/>
                  </a:lnTo>
                  <a:lnTo>
                    <a:pt x="324" y="480"/>
                  </a:lnTo>
                  <a:lnTo>
                    <a:pt x="354" y="444"/>
                  </a:lnTo>
                  <a:lnTo>
                    <a:pt x="348" y="432"/>
                  </a:lnTo>
                  <a:lnTo>
                    <a:pt x="384" y="402"/>
                  </a:lnTo>
                  <a:lnTo>
                    <a:pt x="378" y="390"/>
                  </a:lnTo>
                  <a:lnTo>
                    <a:pt x="372" y="384"/>
                  </a:lnTo>
                  <a:lnTo>
                    <a:pt x="372" y="360"/>
                  </a:lnTo>
                  <a:lnTo>
                    <a:pt x="378" y="354"/>
                  </a:lnTo>
                  <a:lnTo>
                    <a:pt x="396" y="354"/>
                  </a:lnTo>
                  <a:lnTo>
                    <a:pt x="402" y="342"/>
                  </a:lnTo>
                  <a:lnTo>
                    <a:pt x="402" y="336"/>
                  </a:lnTo>
                  <a:lnTo>
                    <a:pt x="408" y="318"/>
                  </a:lnTo>
                  <a:lnTo>
                    <a:pt x="408" y="264"/>
                  </a:lnTo>
                  <a:lnTo>
                    <a:pt x="414" y="252"/>
                  </a:lnTo>
                  <a:lnTo>
                    <a:pt x="420" y="246"/>
                  </a:lnTo>
                  <a:lnTo>
                    <a:pt x="516" y="246"/>
                  </a:lnTo>
                  <a:lnTo>
                    <a:pt x="540" y="270"/>
                  </a:lnTo>
                  <a:lnTo>
                    <a:pt x="552" y="276"/>
                  </a:lnTo>
                  <a:lnTo>
                    <a:pt x="558" y="282"/>
                  </a:lnTo>
                  <a:lnTo>
                    <a:pt x="576" y="276"/>
                  </a:lnTo>
                  <a:lnTo>
                    <a:pt x="564" y="216"/>
                  </a:lnTo>
                  <a:lnTo>
                    <a:pt x="576" y="222"/>
                  </a:lnTo>
                  <a:lnTo>
                    <a:pt x="582" y="234"/>
                  </a:lnTo>
                  <a:lnTo>
                    <a:pt x="594" y="240"/>
                  </a:lnTo>
                  <a:lnTo>
                    <a:pt x="636" y="240"/>
                  </a:lnTo>
                  <a:lnTo>
                    <a:pt x="630" y="234"/>
                  </a:lnTo>
                  <a:lnTo>
                    <a:pt x="624" y="222"/>
                  </a:lnTo>
                  <a:lnTo>
                    <a:pt x="618" y="216"/>
                  </a:lnTo>
                  <a:lnTo>
                    <a:pt x="606" y="192"/>
                  </a:lnTo>
                  <a:lnTo>
                    <a:pt x="606" y="186"/>
                  </a:lnTo>
                  <a:lnTo>
                    <a:pt x="612" y="180"/>
                  </a:lnTo>
                  <a:lnTo>
                    <a:pt x="624" y="180"/>
                  </a:lnTo>
                  <a:lnTo>
                    <a:pt x="642" y="186"/>
                  </a:lnTo>
                  <a:lnTo>
                    <a:pt x="654" y="186"/>
                  </a:lnTo>
                  <a:lnTo>
                    <a:pt x="660" y="192"/>
                  </a:lnTo>
                  <a:lnTo>
                    <a:pt x="666" y="192"/>
                  </a:lnTo>
                  <a:lnTo>
                    <a:pt x="690" y="162"/>
                  </a:lnTo>
                  <a:lnTo>
                    <a:pt x="666" y="156"/>
                  </a:lnTo>
                  <a:lnTo>
                    <a:pt x="660" y="144"/>
                  </a:lnTo>
                  <a:lnTo>
                    <a:pt x="642" y="126"/>
                  </a:lnTo>
                  <a:lnTo>
                    <a:pt x="630" y="120"/>
                  </a:lnTo>
                  <a:lnTo>
                    <a:pt x="612" y="120"/>
                  </a:lnTo>
                  <a:lnTo>
                    <a:pt x="600" y="114"/>
                  </a:lnTo>
                  <a:lnTo>
                    <a:pt x="588" y="114"/>
                  </a:lnTo>
                  <a:lnTo>
                    <a:pt x="588" y="108"/>
                  </a:lnTo>
                  <a:lnTo>
                    <a:pt x="582" y="102"/>
                  </a:lnTo>
                  <a:lnTo>
                    <a:pt x="582" y="90"/>
                  </a:lnTo>
                  <a:lnTo>
                    <a:pt x="576" y="78"/>
                  </a:lnTo>
                  <a:lnTo>
                    <a:pt x="564" y="66"/>
                  </a:lnTo>
                  <a:lnTo>
                    <a:pt x="540" y="54"/>
                  </a:lnTo>
                  <a:lnTo>
                    <a:pt x="534" y="60"/>
                  </a:lnTo>
                  <a:lnTo>
                    <a:pt x="528" y="60"/>
                  </a:lnTo>
                  <a:lnTo>
                    <a:pt x="510" y="0"/>
                  </a:lnTo>
                  <a:lnTo>
                    <a:pt x="504" y="18"/>
                  </a:lnTo>
                  <a:lnTo>
                    <a:pt x="492" y="0"/>
                  </a:lnTo>
                  <a:lnTo>
                    <a:pt x="480" y="60"/>
                  </a:lnTo>
                  <a:lnTo>
                    <a:pt x="468" y="66"/>
                  </a:lnTo>
                  <a:lnTo>
                    <a:pt x="462" y="66"/>
                  </a:lnTo>
                  <a:lnTo>
                    <a:pt x="450" y="72"/>
                  </a:lnTo>
                  <a:lnTo>
                    <a:pt x="438" y="96"/>
                  </a:lnTo>
                  <a:lnTo>
                    <a:pt x="438" y="114"/>
                  </a:lnTo>
                  <a:lnTo>
                    <a:pt x="408" y="126"/>
                  </a:lnTo>
                  <a:lnTo>
                    <a:pt x="420" y="162"/>
                  </a:lnTo>
                  <a:lnTo>
                    <a:pt x="408" y="162"/>
                  </a:lnTo>
                  <a:lnTo>
                    <a:pt x="390" y="156"/>
                  </a:lnTo>
                  <a:lnTo>
                    <a:pt x="378" y="156"/>
                  </a:lnTo>
                  <a:lnTo>
                    <a:pt x="360" y="150"/>
                  </a:lnTo>
                  <a:lnTo>
                    <a:pt x="354" y="150"/>
                  </a:lnTo>
                  <a:lnTo>
                    <a:pt x="342" y="156"/>
                  </a:lnTo>
                  <a:lnTo>
                    <a:pt x="342" y="168"/>
                  </a:lnTo>
                  <a:lnTo>
                    <a:pt x="336" y="180"/>
                  </a:lnTo>
                  <a:lnTo>
                    <a:pt x="336" y="204"/>
                  </a:lnTo>
                  <a:lnTo>
                    <a:pt x="294" y="246"/>
                  </a:lnTo>
                  <a:lnTo>
                    <a:pt x="294" y="258"/>
                  </a:lnTo>
                  <a:lnTo>
                    <a:pt x="282" y="294"/>
                  </a:lnTo>
                  <a:lnTo>
                    <a:pt x="276" y="306"/>
                  </a:lnTo>
                  <a:lnTo>
                    <a:pt x="264" y="318"/>
                  </a:lnTo>
                  <a:lnTo>
                    <a:pt x="228" y="336"/>
                  </a:lnTo>
                  <a:lnTo>
                    <a:pt x="186" y="342"/>
                  </a:lnTo>
                  <a:lnTo>
                    <a:pt x="162" y="348"/>
                  </a:lnTo>
                  <a:lnTo>
                    <a:pt x="156" y="354"/>
                  </a:lnTo>
                  <a:lnTo>
                    <a:pt x="132" y="366"/>
                  </a:lnTo>
                  <a:lnTo>
                    <a:pt x="114" y="384"/>
                  </a:lnTo>
                  <a:lnTo>
                    <a:pt x="102" y="390"/>
                  </a:lnTo>
                  <a:lnTo>
                    <a:pt x="84" y="426"/>
                  </a:lnTo>
                  <a:lnTo>
                    <a:pt x="102" y="444"/>
                  </a:lnTo>
                  <a:lnTo>
                    <a:pt x="102" y="462"/>
                  </a:lnTo>
                  <a:lnTo>
                    <a:pt x="96" y="474"/>
                  </a:lnTo>
                  <a:lnTo>
                    <a:pt x="84" y="480"/>
                  </a:lnTo>
                  <a:lnTo>
                    <a:pt x="72" y="480"/>
                  </a:lnTo>
                  <a:lnTo>
                    <a:pt x="48" y="468"/>
                  </a:lnTo>
                  <a:lnTo>
                    <a:pt x="42" y="462"/>
                  </a:lnTo>
                  <a:lnTo>
                    <a:pt x="30" y="456"/>
                  </a:lnTo>
                  <a:lnTo>
                    <a:pt x="24" y="456"/>
                  </a:lnTo>
                  <a:lnTo>
                    <a:pt x="12" y="462"/>
                  </a:lnTo>
                  <a:lnTo>
                    <a:pt x="0" y="474"/>
                  </a:lnTo>
                  <a:lnTo>
                    <a:pt x="0" y="492"/>
                  </a:lnTo>
                  <a:lnTo>
                    <a:pt x="12" y="504"/>
                  </a:lnTo>
                  <a:close/>
                </a:path>
              </a:pathLst>
            </a:custGeom>
            <a:grpFill/>
            <a:ln w="3175">
              <a:solidFill>
                <a:schemeClr val="bg1"/>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de-DE" sz="1800" b="0" i="0" u="none" strike="noStrike" kern="1200" cap="none" spc="0" normalizeH="0" baseline="0" noProof="0">
                <a:ln>
                  <a:noFill/>
                </a:ln>
                <a:solidFill>
                  <a:srgbClr val="FFC000"/>
                </a:solidFill>
                <a:effectLst/>
                <a:uLnTx/>
                <a:uFillTx/>
                <a:latin typeface="Calibri" pitchFamily="34" charset="0"/>
                <a:ea typeface="+mn-ea"/>
                <a:cs typeface="+mn-cs"/>
              </a:endParaRPr>
            </a:p>
          </p:txBody>
        </p:sp>
        <p:sp>
          <p:nvSpPr>
            <p:cNvPr id="95" name="Malawi" descr="© INSCALE GmbH, 05.05.2010&#10;http://www.presentationload.com/"/>
            <p:cNvSpPr>
              <a:spLocks/>
            </p:cNvSpPr>
            <p:nvPr/>
          </p:nvSpPr>
          <p:spPr bwMode="gray">
            <a:xfrm>
              <a:off x="5217006" y="4540179"/>
              <a:ext cx="76790" cy="194742"/>
            </a:xfrm>
            <a:custGeom>
              <a:avLst/>
              <a:gdLst>
                <a:gd name="T0" fmla="*/ 2147483647 w 234"/>
                <a:gd name="T1" fmla="*/ 2147483647 h 624"/>
                <a:gd name="T2" fmla="*/ 2147483647 w 234"/>
                <a:gd name="T3" fmla="*/ 2147483647 h 624"/>
                <a:gd name="T4" fmla="*/ 2147483647 w 234"/>
                <a:gd name="T5" fmla="*/ 2147483647 h 624"/>
                <a:gd name="T6" fmla="*/ 2147483647 w 234"/>
                <a:gd name="T7" fmla="*/ 2147483647 h 624"/>
                <a:gd name="T8" fmla="*/ 2147483647 w 234"/>
                <a:gd name="T9" fmla="*/ 2147483647 h 624"/>
                <a:gd name="T10" fmla="*/ 2147483647 w 234"/>
                <a:gd name="T11" fmla="*/ 2147483647 h 624"/>
                <a:gd name="T12" fmla="*/ 2147483647 w 234"/>
                <a:gd name="T13" fmla="*/ 2147483647 h 624"/>
                <a:gd name="T14" fmla="*/ 2147483647 w 234"/>
                <a:gd name="T15" fmla="*/ 2147483647 h 624"/>
                <a:gd name="T16" fmla="*/ 2147483647 w 234"/>
                <a:gd name="T17" fmla="*/ 2147483647 h 624"/>
                <a:gd name="T18" fmla="*/ 2147483647 w 234"/>
                <a:gd name="T19" fmla="*/ 2147483647 h 624"/>
                <a:gd name="T20" fmla="*/ 2147483647 w 234"/>
                <a:gd name="T21" fmla="*/ 2147483647 h 624"/>
                <a:gd name="T22" fmla="*/ 2147483647 w 234"/>
                <a:gd name="T23" fmla="*/ 2147483647 h 624"/>
                <a:gd name="T24" fmla="*/ 2147483647 w 234"/>
                <a:gd name="T25" fmla="*/ 2147483647 h 624"/>
                <a:gd name="T26" fmla="*/ 2147483647 w 234"/>
                <a:gd name="T27" fmla="*/ 2147483647 h 624"/>
                <a:gd name="T28" fmla="*/ 2147483647 w 234"/>
                <a:gd name="T29" fmla="*/ 2147483647 h 624"/>
                <a:gd name="T30" fmla="*/ 2147483647 w 234"/>
                <a:gd name="T31" fmla="*/ 2147483647 h 624"/>
                <a:gd name="T32" fmla="*/ 2147483647 w 234"/>
                <a:gd name="T33" fmla="*/ 2147483647 h 624"/>
                <a:gd name="T34" fmla="*/ 2147483647 w 234"/>
                <a:gd name="T35" fmla="*/ 2147483647 h 624"/>
                <a:gd name="T36" fmla="*/ 2147483647 w 234"/>
                <a:gd name="T37" fmla="*/ 2147483647 h 624"/>
                <a:gd name="T38" fmla="*/ 2147483647 w 234"/>
                <a:gd name="T39" fmla="*/ 2147483647 h 624"/>
                <a:gd name="T40" fmla="*/ 2147483647 w 234"/>
                <a:gd name="T41" fmla="*/ 2147483647 h 624"/>
                <a:gd name="T42" fmla="*/ 2147483647 w 234"/>
                <a:gd name="T43" fmla="*/ 2147483647 h 624"/>
                <a:gd name="T44" fmla="*/ 2147483647 w 234"/>
                <a:gd name="T45" fmla="*/ 2147483647 h 624"/>
                <a:gd name="T46" fmla="*/ 2147483647 w 234"/>
                <a:gd name="T47" fmla="*/ 0 h 624"/>
                <a:gd name="T48" fmla="*/ 2147483647 w 234"/>
                <a:gd name="T49" fmla="*/ 2147483647 h 624"/>
                <a:gd name="T50" fmla="*/ 2147483647 w 234"/>
                <a:gd name="T51" fmla="*/ 2147483647 h 624"/>
                <a:gd name="T52" fmla="*/ 2147483647 w 234"/>
                <a:gd name="T53" fmla="*/ 2147483647 h 624"/>
                <a:gd name="T54" fmla="*/ 2147483647 w 234"/>
                <a:gd name="T55" fmla="*/ 2147483647 h 624"/>
                <a:gd name="T56" fmla="*/ 2147483647 w 234"/>
                <a:gd name="T57" fmla="*/ 2147483647 h 624"/>
                <a:gd name="T58" fmla="*/ 2147483647 w 234"/>
                <a:gd name="T59" fmla="*/ 2147483647 h 624"/>
                <a:gd name="T60" fmla="*/ 2147483647 w 234"/>
                <a:gd name="T61" fmla="*/ 2147483647 h 624"/>
                <a:gd name="T62" fmla="*/ 2147483647 w 234"/>
                <a:gd name="T63" fmla="*/ 2147483647 h 624"/>
                <a:gd name="T64" fmla="*/ 2147483647 w 234"/>
                <a:gd name="T65" fmla="*/ 2147483647 h 624"/>
                <a:gd name="T66" fmla="*/ 2147483647 w 234"/>
                <a:gd name="T67" fmla="*/ 2147483647 h 624"/>
                <a:gd name="T68" fmla="*/ 2147483647 w 234"/>
                <a:gd name="T69" fmla="*/ 2147483647 h 624"/>
                <a:gd name="T70" fmla="*/ 2147483647 w 234"/>
                <a:gd name="T71" fmla="*/ 2147483647 h 624"/>
                <a:gd name="T72" fmla="*/ 2147483647 w 234"/>
                <a:gd name="T73" fmla="*/ 2147483647 h 624"/>
                <a:gd name="T74" fmla="*/ 0 w 234"/>
                <a:gd name="T75" fmla="*/ 2147483647 h 624"/>
                <a:gd name="T76" fmla="*/ 2147483647 w 234"/>
                <a:gd name="T77" fmla="*/ 2147483647 h 624"/>
                <a:gd name="T78" fmla="*/ 2147483647 w 234"/>
                <a:gd name="T79" fmla="*/ 2147483647 h 624"/>
                <a:gd name="T80" fmla="*/ 2147483647 w 234"/>
                <a:gd name="T81" fmla="*/ 2147483647 h 624"/>
                <a:gd name="T82" fmla="*/ 2147483647 w 234"/>
                <a:gd name="T83" fmla="*/ 2147483647 h 624"/>
                <a:gd name="T84" fmla="*/ 2147483647 w 234"/>
                <a:gd name="T85" fmla="*/ 2147483647 h 624"/>
                <a:gd name="T86" fmla="*/ 2147483647 w 234"/>
                <a:gd name="T87" fmla="*/ 2147483647 h 624"/>
                <a:gd name="T88" fmla="*/ 2147483647 w 234"/>
                <a:gd name="T89" fmla="*/ 2147483647 h 624"/>
                <a:gd name="T90" fmla="*/ 2147483647 w 234"/>
                <a:gd name="T91" fmla="*/ 2147483647 h 624"/>
                <a:gd name="T92" fmla="*/ 2147483647 w 234"/>
                <a:gd name="T93" fmla="*/ 2147483647 h 624"/>
                <a:gd name="T94" fmla="*/ 2147483647 w 234"/>
                <a:gd name="T95" fmla="*/ 2147483647 h 624"/>
                <a:gd name="T96" fmla="*/ 2147483647 w 234"/>
                <a:gd name="T97" fmla="*/ 2147483647 h 624"/>
                <a:gd name="T98" fmla="*/ 2147483647 w 234"/>
                <a:gd name="T99" fmla="*/ 2147483647 h 624"/>
                <a:gd name="T100" fmla="*/ 2147483647 w 234"/>
                <a:gd name="T101" fmla="*/ 2147483647 h 624"/>
                <a:gd name="T102" fmla="*/ 2147483647 w 234"/>
                <a:gd name="T103" fmla="*/ 2147483647 h 624"/>
                <a:gd name="T104" fmla="*/ 2147483647 w 234"/>
                <a:gd name="T105" fmla="*/ 2147483647 h 624"/>
                <a:gd name="T106" fmla="*/ 2147483647 w 234"/>
                <a:gd name="T107" fmla="*/ 2147483647 h 624"/>
                <a:gd name="T108" fmla="*/ 2147483647 w 234"/>
                <a:gd name="T109" fmla="*/ 2147483647 h 624"/>
                <a:gd name="T110" fmla="*/ 2147483647 w 234"/>
                <a:gd name="T111" fmla="*/ 2147483647 h 624"/>
                <a:gd name="T112" fmla="*/ 2147483647 w 234"/>
                <a:gd name="T113" fmla="*/ 2147483647 h 624"/>
                <a:gd name="T114" fmla="*/ 2147483647 w 234"/>
                <a:gd name="T115" fmla="*/ 2147483647 h 624"/>
                <a:gd name="T116" fmla="*/ 2147483647 w 234"/>
                <a:gd name="T117" fmla="*/ 2147483647 h 624"/>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234"/>
                <a:gd name="T178" fmla="*/ 0 h 624"/>
                <a:gd name="T179" fmla="*/ 234 w 234"/>
                <a:gd name="T180" fmla="*/ 624 h 624"/>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234" h="624">
                  <a:moveTo>
                    <a:pt x="234" y="432"/>
                  </a:moveTo>
                  <a:lnTo>
                    <a:pt x="222" y="420"/>
                  </a:lnTo>
                  <a:lnTo>
                    <a:pt x="210" y="402"/>
                  </a:lnTo>
                  <a:lnTo>
                    <a:pt x="204" y="390"/>
                  </a:lnTo>
                  <a:lnTo>
                    <a:pt x="198" y="384"/>
                  </a:lnTo>
                  <a:lnTo>
                    <a:pt x="186" y="360"/>
                  </a:lnTo>
                  <a:lnTo>
                    <a:pt x="162" y="336"/>
                  </a:lnTo>
                  <a:lnTo>
                    <a:pt x="156" y="336"/>
                  </a:lnTo>
                  <a:lnTo>
                    <a:pt x="156" y="330"/>
                  </a:lnTo>
                  <a:lnTo>
                    <a:pt x="150" y="330"/>
                  </a:lnTo>
                  <a:lnTo>
                    <a:pt x="150" y="342"/>
                  </a:lnTo>
                  <a:lnTo>
                    <a:pt x="156" y="342"/>
                  </a:lnTo>
                  <a:lnTo>
                    <a:pt x="168" y="354"/>
                  </a:lnTo>
                  <a:lnTo>
                    <a:pt x="168" y="366"/>
                  </a:lnTo>
                  <a:lnTo>
                    <a:pt x="174" y="378"/>
                  </a:lnTo>
                  <a:lnTo>
                    <a:pt x="174" y="390"/>
                  </a:lnTo>
                  <a:lnTo>
                    <a:pt x="168" y="396"/>
                  </a:lnTo>
                  <a:lnTo>
                    <a:pt x="162" y="396"/>
                  </a:lnTo>
                  <a:lnTo>
                    <a:pt x="162" y="390"/>
                  </a:lnTo>
                  <a:lnTo>
                    <a:pt x="156" y="384"/>
                  </a:lnTo>
                  <a:lnTo>
                    <a:pt x="156" y="378"/>
                  </a:lnTo>
                  <a:lnTo>
                    <a:pt x="144" y="384"/>
                  </a:lnTo>
                  <a:lnTo>
                    <a:pt x="132" y="384"/>
                  </a:lnTo>
                  <a:lnTo>
                    <a:pt x="132" y="360"/>
                  </a:lnTo>
                  <a:lnTo>
                    <a:pt x="126" y="354"/>
                  </a:lnTo>
                  <a:lnTo>
                    <a:pt x="126" y="342"/>
                  </a:lnTo>
                  <a:lnTo>
                    <a:pt x="120" y="330"/>
                  </a:lnTo>
                  <a:lnTo>
                    <a:pt x="120" y="282"/>
                  </a:lnTo>
                  <a:lnTo>
                    <a:pt x="84" y="246"/>
                  </a:lnTo>
                  <a:lnTo>
                    <a:pt x="90" y="240"/>
                  </a:lnTo>
                  <a:lnTo>
                    <a:pt x="90" y="222"/>
                  </a:lnTo>
                  <a:lnTo>
                    <a:pt x="96" y="210"/>
                  </a:lnTo>
                  <a:lnTo>
                    <a:pt x="114" y="192"/>
                  </a:lnTo>
                  <a:lnTo>
                    <a:pt x="120" y="180"/>
                  </a:lnTo>
                  <a:lnTo>
                    <a:pt x="126" y="174"/>
                  </a:lnTo>
                  <a:lnTo>
                    <a:pt x="126" y="156"/>
                  </a:lnTo>
                  <a:lnTo>
                    <a:pt x="120" y="150"/>
                  </a:lnTo>
                  <a:lnTo>
                    <a:pt x="120" y="102"/>
                  </a:lnTo>
                  <a:lnTo>
                    <a:pt x="114" y="78"/>
                  </a:lnTo>
                  <a:lnTo>
                    <a:pt x="114" y="60"/>
                  </a:lnTo>
                  <a:lnTo>
                    <a:pt x="102" y="60"/>
                  </a:lnTo>
                  <a:lnTo>
                    <a:pt x="84" y="42"/>
                  </a:lnTo>
                  <a:lnTo>
                    <a:pt x="84" y="36"/>
                  </a:lnTo>
                  <a:lnTo>
                    <a:pt x="90" y="24"/>
                  </a:lnTo>
                  <a:lnTo>
                    <a:pt x="90" y="18"/>
                  </a:lnTo>
                  <a:lnTo>
                    <a:pt x="60" y="18"/>
                  </a:lnTo>
                  <a:lnTo>
                    <a:pt x="54" y="0"/>
                  </a:lnTo>
                  <a:lnTo>
                    <a:pt x="30" y="0"/>
                  </a:lnTo>
                  <a:lnTo>
                    <a:pt x="30" y="12"/>
                  </a:lnTo>
                  <a:lnTo>
                    <a:pt x="42" y="12"/>
                  </a:lnTo>
                  <a:lnTo>
                    <a:pt x="54" y="24"/>
                  </a:lnTo>
                  <a:lnTo>
                    <a:pt x="54" y="66"/>
                  </a:lnTo>
                  <a:lnTo>
                    <a:pt x="60" y="66"/>
                  </a:lnTo>
                  <a:lnTo>
                    <a:pt x="66" y="60"/>
                  </a:lnTo>
                  <a:lnTo>
                    <a:pt x="66" y="84"/>
                  </a:lnTo>
                  <a:lnTo>
                    <a:pt x="78" y="84"/>
                  </a:lnTo>
                  <a:lnTo>
                    <a:pt x="78" y="96"/>
                  </a:lnTo>
                  <a:lnTo>
                    <a:pt x="54" y="108"/>
                  </a:lnTo>
                  <a:lnTo>
                    <a:pt x="48" y="114"/>
                  </a:lnTo>
                  <a:lnTo>
                    <a:pt x="42" y="114"/>
                  </a:lnTo>
                  <a:lnTo>
                    <a:pt x="42" y="132"/>
                  </a:lnTo>
                  <a:lnTo>
                    <a:pt x="54" y="138"/>
                  </a:lnTo>
                  <a:lnTo>
                    <a:pt x="48" y="156"/>
                  </a:lnTo>
                  <a:lnTo>
                    <a:pt x="48" y="228"/>
                  </a:lnTo>
                  <a:lnTo>
                    <a:pt x="60" y="228"/>
                  </a:lnTo>
                  <a:lnTo>
                    <a:pt x="60" y="234"/>
                  </a:lnTo>
                  <a:lnTo>
                    <a:pt x="42" y="252"/>
                  </a:lnTo>
                  <a:lnTo>
                    <a:pt x="30" y="258"/>
                  </a:lnTo>
                  <a:lnTo>
                    <a:pt x="24" y="264"/>
                  </a:lnTo>
                  <a:lnTo>
                    <a:pt x="18" y="264"/>
                  </a:lnTo>
                  <a:lnTo>
                    <a:pt x="24" y="300"/>
                  </a:lnTo>
                  <a:lnTo>
                    <a:pt x="18" y="312"/>
                  </a:lnTo>
                  <a:lnTo>
                    <a:pt x="12" y="318"/>
                  </a:lnTo>
                  <a:lnTo>
                    <a:pt x="6" y="330"/>
                  </a:lnTo>
                  <a:lnTo>
                    <a:pt x="0" y="336"/>
                  </a:lnTo>
                  <a:lnTo>
                    <a:pt x="0" y="342"/>
                  </a:lnTo>
                  <a:lnTo>
                    <a:pt x="12" y="348"/>
                  </a:lnTo>
                  <a:lnTo>
                    <a:pt x="24" y="360"/>
                  </a:lnTo>
                  <a:lnTo>
                    <a:pt x="36" y="366"/>
                  </a:lnTo>
                  <a:lnTo>
                    <a:pt x="66" y="414"/>
                  </a:lnTo>
                  <a:lnTo>
                    <a:pt x="96" y="414"/>
                  </a:lnTo>
                  <a:lnTo>
                    <a:pt x="102" y="408"/>
                  </a:lnTo>
                  <a:lnTo>
                    <a:pt x="120" y="408"/>
                  </a:lnTo>
                  <a:lnTo>
                    <a:pt x="126" y="414"/>
                  </a:lnTo>
                  <a:lnTo>
                    <a:pt x="126" y="450"/>
                  </a:lnTo>
                  <a:lnTo>
                    <a:pt x="132" y="450"/>
                  </a:lnTo>
                  <a:lnTo>
                    <a:pt x="126" y="480"/>
                  </a:lnTo>
                  <a:lnTo>
                    <a:pt x="114" y="486"/>
                  </a:lnTo>
                  <a:lnTo>
                    <a:pt x="126" y="504"/>
                  </a:lnTo>
                  <a:lnTo>
                    <a:pt x="120" y="510"/>
                  </a:lnTo>
                  <a:lnTo>
                    <a:pt x="108" y="516"/>
                  </a:lnTo>
                  <a:lnTo>
                    <a:pt x="102" y="522"/>
                  </a:lnTo>
                  <a:lnTo>
                    <a:pt x="102" y="528"/>
                  </a:lnTo>
                  <a:lnTo>
                    <a:pt x="114" y="528"/>
                  </a:lnTo>
                  <a:lnTo>
                    <a:pt x="114" y="558"/>
                  </a:lnTo>
                  <a:lnTo>
                    <a:pt x="126" y="564"/>
                  </a:lnTo>
                  <a:lnTo>
                    <a:pt x="132" y="570"/>
                  </a:lnTo>
                  <a:lnTo>
                    <a:pt x="144" y="576"/>
                  </a:lnTo>
                  <a:lnTo>
                    <a:pt x="150" y="582"/>
                  </a:lnTo>
                  <a:lnTo>
                    <a:pt x="162" y="588"/>
                  </a:lnTo>
                  <a:lnTo>
                    <a:pt x="162" y="600"/>
                  </a:lnTo>
                  <a:lnTo>
                    <a:pt x="156" y="606"/>
                  </a:lnTo>
                  <a:lnTo>
                    <a:pt x="156" y="618"/>
                  </a:lnTo>
                  <a:lnTo>
                    <a:pt x="162" y="624"/>
                  </a:lnTo>
                  <a:lnTo>
                    <a:pt x="168" y="618"/>
                  </a:lnTo>
                  <a:lnTo>
                    <a:pt x="180" y="612"/>
                  </a:lnTo>
                  <a:lnTo>
                    <a:pt x="180" y="582"/>
                  </a:lnTo>
                  <a:lnTo>
                    <a:pt x="174" y="576"/>
                  </a:lnTo>
                  <a:lnTo>
                    <a:pt x="168" y="576"/>
                  </a:lnTo>
                  <a:lnTo>
                    <a:pt x="168" y="558"/>
                  </a:lnTo>
                  <a:lnTo>
                    <a:pt x="174" y="546"/>
                  </a:lnTo>
                  <a:lnTo>
                    <a:pt x="186" y="540"/>
                  </a:lnTo>
                  <a:lnTo>
                    <a:pt x="210" y="540"/>
                  </a:lnTo>
                  <a:lnTo>
                    <a:pt x="216" y="534"/>
                  </a:lnTo>
                  <a:lnTo>
                    <a:pt x="216" y="474"/>
                  </a:lnTo>
                  <a:lnTo>
                    <a:pt x="222" y="468"/>
                  </a:lnTo>
                  <a:lnTo>
                    <a:pt x="228" y="456"/>
                  </a:lnTo>
                  <a:lnTo>
                    <a:pt x="234" y="450"/>
                  </a:lnTo>
                  <a:lnTo>
                    <a:pt x="234" y="432"/>
                  </a:lnTo>
                  <a:close/>
                </a:path>
              </a:pathLst>
            </a:custGeom>
            <a:grpFill/>
            <a:ln w="3175">
              <a:solidFill>
                <a:schemeClr val="bg1"/>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de-DE" sz="1800" b="0" i="0" u="none" strike="noStrike" kern="1200" cap="none" spc="0" normalizeH="0" baseline="0" noProof="0">
                <a:ln>
                  <a:noFill/>
                </a:ln>
                <a:solidFill>
                  <a:srgbClr val="FFC000"/>
                </a:solidFill>
                <a:effectLst/>
                <a:uLnTx/>
                <a:uFillTx/>
                <a:latin typeface="Calibri" pitchFamily="34" charset="0"/>
                <a:ea typeface="+mn-ea"/>
                <a:cs typeface="+mn-cs"/>
              </a:endParaRPr>
            </a:p>
          </p:txBody>
        </p:sp>
        <p:sp>
          <p:nvSpPr>
            <p:cNvPr id="96" name="Madagascar" descr="© INSCALE GmbH, 05.05.2010&#10;http://www.presentationload.com/"/>
            <p:cNvSpPr>
              <a:spLocks/>
            </p:cNvSpPr>
            <p:nvPr/>
          </p:nvSpPr>
          <p:spPr bwMode="gray">
            <a:xfrm>
              <a:off x="5439699" y="4611217"/>
              <a:ext cx="191976" cy="339266"/>
            </a:xfrm>
            <a:custGeom>
              <a:avLst/>
              <a:gdLst>
                <a:gd name="T0" fmla="*/ 2147483647 w 594"/>
                <a:gd name="T1" fmla="*/ 2147483647 h 1092"/>
                <a:gd name="T2" fmla="*/ 2147483647 w 594"/>
                <a:gd name="T3" fmla="*/ 2147483647 h 1092"/>
                <a:gd name="T4" fmla="*/ 2147483647 w 594"/>
                <a:gd name="T5" fmla="*/ 2147483647 h 1092"/>
                <a:gd name="T6" fmla="*/ 2147483647 w 594"/>
                <a:gd name="T7" fmla="*/ 2147483647 h 1092"/>
                <a:gd name="T8" fmla="*/ 2147483647 w 594"/>
                <a:gd name="T9" fmla="*/ 2147483647 h 1092"/>
                <a:gd name="T10" fmla="*/ 2147483647 w 594"/>
                <a:gd name="T11" fmla="*/ 2147483647 h 1092"/>
                <a:gd name="T12" fmla="*/ 2147483647 w 594"/>
                <a:gd name="T13" fmla="*/ 2147483647 h 1092"/>
                <a:gd name="T14" fmla="*/ 2147483647 w 594"/>
                <a:gd name="T15" fmla="*/ 2147483647 h 1092"/>
                <a:gd name="T16" fmla="*/ 2147483647 w 594"/>
                <a:gd name="T17" fmla="*/ 2147483647 h 1092"/>
                <a:gd name="T18" fmla="*/ 2147483647 w 594"/>
                <a:gd name="T19" fmla="*/ 2147483647 h 1092"/>
                <a:gd name="T20" fmla="*/ 2147483647 w 594"/>
                <a:gd name="T21" fmla="*/ 2147483647 h 1092"/>
                <a:gd name="T22" fmla="*/ 2147483647 w 594"/>
                <a:gd name="T23" fmla="*/ 2147483647 h 1092"/>
                <a:gd name="T24" fmla="*/ 2147483647 w 594"/>
                <a:gd name="T25" fmla="*/ 2147483647 h 1092"/>
                <a:gd name="T26" fmla="*/ 2147483647 w 594"/>
                <a:gd name="T27" fmla="*/ 2147483647 h 1092"/>
                <a:gd name="T28" fmla="*/ 2147483647 w 594"/>
                <a:gd name="T29" fmla="*/ 2147483647 h 1092"/>
                <a:gd name="T30" fmla="*/ 2147483647 w 594"/>
                <a:gd name="T31" fmla="*/ 2147483647 h 1092"/>
                <a:gd name="T32" fmla="*/ 2147483647 w 594"/>
                <a:gd name="T33" fmla="*/ 0 h 1092"/>
                <a:gd name="T34" fmla="*/ 2147483647 w 594"/>
                <a:gd name="T35" fmla="*/ 2147483647 h 1092"/>
                <a:gd name="T36" fmla="*/ 2147483647 w 594"/>
                <a:gd name="T37" fmla="*/ 2147483647 h 1092"/>
                <a:gd name="T38" fmla="*/ 2147483647 w 594"/>
                <a:gd name="T39" fmla="*/ 2147483647 h 1092"/>
                <a:gd name="T40" fmla="*/ 2147483647 w 594"/>
                <a:gd name="T41" fmla="*/ 2147483647 h 1092"/>
                <a:gd name="T42" fmla="*/ 2147483647 w 594"/>
                <a:gd name="T43" fmla="*/ 2147483647 h 1092"/>
                <a:gd name="T44" fmla="*/ 2147483647 w 594"/>
                <a:gd name="T45" fmla="*/ 2147483647 h 1092"/>
                <a:gd name="T46" fmla="*/ 2147483647 w 594"/>
                <a:gd name="T47" fmla="*/ 2147483647 h 1092"/>
                <a:gd name="T48" fmla="*/ 2147483647 w 594"/>
                <a:gd name="T49" fmla="*/ 2147483647 h 1092"/>
                <a:gd name="T50" fmla="*/ 2147483647 w 594"/>
                <a:gd name="T51" fmla="*/ 2147483647 h 1092"/>
                <a:gd name="T52" fmla="*/ 2147483647 w 594"/>
                <a:gd name="T53" fmla="*/ 2147483647 h 1092"/>
                <a:gd name="T54" fmla="*/ 2147483647 w 594"/>
                <a:gd name="T55" fmla="*/ 2147483647 h 1092"/>
                <a:gd name="T56" fmla="*/ 2147483647 w 594"/>
                <a:gd name="T57" fmla="*/ 2147483647 h 1092"/>
                <a:gd name="T58" fmla="*/ 2147483647 w 594"/>
                <a:gd name="T59" fmla="*/ 2147483647 h 1092"/>
                <a:gd name="T60" fmla="*/ 2147483647 w 594"/>
                <a:gd name="T61" fmla="*/ 2147483647 h 1092"/>
                <a:gd name="T62" fmla="*/ 2147483647 w 594"/>
                <a:gd name="T63" fmla="*/ 2147483647 h 1092"/>
                <a:gd name="T64" fmla="*/ 2147483647 w 594"/>
                <a:gd name="T65" fmla="*/ 2147483647 h 1092"/>
                <a:gd name="T66" fmla="*/ 2147483647 w 594"/>
                <a:gd name="T67" fmla="*/ 2147483647 h 1092"/>
                <a:gd name="T68" fmla="*/ 2147483647 w 594"/>
                <a:gd name="T69" fmla="*/ 2147483647 h 1092"/>
                <a:gd name="T70" fmla="*/ 2147483647 w 594"/>
                <a:gd name="T71" fmla="*/ 2147483647 h 1092"/>
                <a:gd name="T72" fmla="*/ 2147483647 w 594"/>
                <a:gd name="T73" fmla="*/ 2147483647 h 1092"/>
                <a:gd name="T74" fmla="*/ 2147483647 w 594"/>
                <a:gd name="T75" fmla="*/ 2147483647 h 1092"/>
                <a:gd name="T76" fmla="*/ 2147483647 w 594"/>
                <a:gd name="T77" fmla="*/ 2147483647 h 1092"/>
                <a:gd name="T78" fmla="*/ 2147483647 w 594"/>
                <a:gd name="T79" fmla="*/ 2147483647 h 1092"/>
                <a:gd name="T80" fmla="*/ 2147483647 w 594"/>
                <a:gd name="T81" fmla="*/ 2147483647 h 1092"/>
                <a:gd name="T82" fmla="*/ 2147483647 w 594"/>
                <a:gd name="T83" fmla="*/ 2147483647 h 1092"/>
                <a:gd name="T84" fmla="*/ 2147483647 w 594"/>
                <a:gd name="T85" fmla="*/ 2147483647 h 1092"/>
                <a:gd name="T86" fmla="*/ 0 w 594"/>
                <a:gd name="T87" fmla="*/ 2147483647 h 1092"/>
                <a:gd name="T88" fmla="*/ 2147483647 w 594"/>
                <a:gd name="T89" fmla="*/ 2147483647 h 1092"/>
                <a:gd name="T90" fmla="*/ 2147483647 w 594"/>
                <a:gd name="T91" fmla="*/ 2147483647 h 1092"/>
                <a:gd name="T92" fmla="*/ 2147483647 w 594"/>
                <a:gd name="T93" fmla="*/ 2147483647 h 1092"/>
                <a:gd name="T94" fmla="*/ 2147483647 w 594"/>
                <a:gd name="T95" fmla="*/ 2147483647 h 1092"/>
                <a:gd name="T96" fmla="*/ 2147483647 w 594"/>
                <a:gd name="T97" fmla="*/ 2147483647 h 1092"/>
                <a:gd name="T98" fmla="*/ 2147483647 w 594"/>
                <a:gd name="T99" fmla="*/ 2147483647 h 1092"/>
                <a:gd name="T100" fmla="*/ 2147483647 w 594"/>
                <a:gd name="T101" fmla="*/ 2147483647 h 1092"/>
                <a:gd name="T102" fmla="*/ 2147483647 w 594"/>
                <a:gd name="T103" fmla="*/ 2147483647 h 1092"/>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594"/>
                <a:gd name="T157" fmla="*/ 0 h 1092"/>
                <a:gd name="T158" fmla="*/ 594 w 594"/>
                <a:gd name="T159" fmla="*/ 1092 h 1092"/>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594" h="1092">
                  <a:moveTo>
                    <a:pt x="120" y="330"/>
                  </a:moveTo>
                  <a:lnTo>
                    <a:pt x="144" y="324"/>
                  </a:lnTo>
                  <a:lnTo>
                    <a:pt x="192" y="324"/>
                  </a:lnTo>
                  <a:lnTo>
                    <a:pt x="192" y="300"/>
                  </a:lnTo>
                  <a:lnTo>
                    <a:pt x="252" y="312"/>
                  </a:lnTo>
                  <a:lnTo>
                    <a:pt x="270" y="282"/>
                  </a:lnTo>
                  <a:lnTo>
                    <a:pt x="312" y="288"/>
                  </a:lnTo>
                  <a:lnTo>
                    <a:pt x="312" y="258"/>
                  </a:lnTo>
                  <a:lnTo>
                    <a:pt x="324" y="228"/>
                  </a:lnTo>
                  <a:lnTo>
                    <a:pt x="324" y="258"/>
                  </a:lnTo>
                  <a:lnTo>
                    <a:pt x="336" y="276"/>
                  </a:lnTo>
                  <a:lnTo>
                    <a:pt x="348" y="240"/>
                  </a:lnTo>
                  <a:lnTo>
                    <a:pt x="348" y="210"/>
                  </a:lnTo>
                  <a:lnTo>
                    <a:pt x="354" y="192"/>
                  </a:lnTo>
                  <a:lnTo>
                    <a:pt x="354" y="186"/>
                  </a:lnTo>
                  <a:lnTo>
                    <a:pt x="360" y="186"/>
                  </a:lnTo>
                  <a:lnTo>
                    <a:pt x="372" y="198"/>
                  </a:lnTo>
                  <a:lnTo>
                    <a:pt x="372" y="204"/>
                  </a:lnTo>
                  <a:lnTo>
                    <a:pt x="378" y="204"/>
                  </a:lnTo>
                  <a:lnTo>
                    <a:pt x="402" y="180"/>
                  </a:lnTo>
                  <a:lnTo>
                    <a:pt x="396" y="168"/>
                  </a:lnTo>
                  <a:lnTo>
                    <a:pt x="396" y="150"/>
                  </a:lnTo>
                  <a:lnTo>
                    <a:pt x="390" y="138"/>
                  </a:lnTo>
                  <a:lnTo>
                    <a:pt x="402" y="126"/>
                  </a:lnTo>
                  <a:lnTo>
                    <a:pt x="414" y="126"/>
                  </a:lnTo>
                  <a:lnTo>
                    <a:pt x="420" y="132"/>
                  </a:lnTo>
                  <a:lnTo>
                    <a:pt x="426" y="132"/>
                  </a:lnTo>
                  <a:lnTo>
                    <a:pt x="432" y="126"/>
                  </a:lnTo>
                  <a:lnTo>
                    <a:pt x="438" y="114"/>
                  </a:lnTo>
                  <a:lnTo>
                    <a:pt x="450" y="102"/>
                  </a:lnTo>
                  <a:lnTo>
                    <a:pt x="456" y="90"/>
                  </a:lnTo>
                  <a:lnTo>
                    <a:pt x="462" y="72"/>
                  </a:lnTo>
                  <a:lnTo>
                    <a:pt x="462" y="42"/>
                  </a:lnTo>
                  <a:lnTo>
                    <a:pt x="492" y="0"/>
                  </a:lnTo>
                  <a:lnTo>
                    <a:pt x="546" y="60"/>
                  </a:lnTo>
                  <a:lnTo>
                    <a:pt x="546" y="90"/>
                  </a:lnTo>
                  <a:lnTo>
                    <a:pt x="552" y="96"/>
                  </a:lnTo>
                  <a:lnTo>
                    <a:pt x="558" y="114"/>
                  </a:lnTo>
                  <a:lnTo>
                    <a:pt x="576" y="150"/>
                  </a:lnTo>
                  <a:lnTo>
                    <a:pt x="582" y="156"/>
                  </a:lnTo>
                  <a:lnTo>
                    <a:pt x="582" y="162"/>
                  </a:lnTo>
                  <a:lnTo>
                    <a:pt x="564" y="216"/>
                  </a:lnTo>
                  <a:lnTo>
                    <a:pt x="594" y="276"/>
                  </a:lnTo>
                  <a:lnTo>
                    <a:pt x="594" y="288"/>
                  </a:lnTo>
                  <a:lnTo>
                    <a:pt x="588" y="294"/>
                  </a:lnTo>
                  <a:lnTo>
                    <a:pt x="576" y="294"/>
                  </a:lnTo>
                  <a:lnTo>
                    <a:pt x="564" y="288"/>
                  </a:lnTo>
                  <a:lnTo>
                    <a:pt x="558" y="282"/>
                  </a:lnTo>
                  <a:lnTo>
                    <a:pt x="552" y="282"/>
                  </a:lnTo>
                  <a:lnTo>
                    <a:pt x="522" y="288"/>
                  </a:lnTo>
                  <a:lnTo>
                    <a:pt x="528" y="330"/>
                  </a:lnTo>
                  <a:lnTo>
                    <a:pt x="522" y="336"/>
                  </a:lnTo>
                  <a:lnTo>
                    <a:pt x="516" y="348"/>
                  </a:lnTo>
                  <a:lnTo>
                    <a:pt x="504" y="354"/>
                  </a:lnTo>
                  <a:lnTo>
                    <a:pt x="486" y="390"/>
                  </a:lnTo>
                  <a:lnTo>
                    <a:pt x="486" y="402"/>
                  </a:lnTo>
                  <a:lnTo>
                    <a:pt x="492" y="414"/>
                  </a:lnTo>
                  <a:lnTo>
                    <a:pt x="504" y="450"/>
                  </a:lnTo>
                  <a:lnTo>
                    <a:pt x="498" y="468"/>
                  </a:lnTo>
                  <a:lnTo>
                    <a:pt x="486" y="510"/>
                  </a:lnTo>
                  <a:lnTo>
                    <a:pt x="462" y="570"/>
                  </a:lnTo>
                  <a:lnTo>
                    <a:pt x="432" y="642"/>
                  </a:lnTo>
                  <a:lnTo>
                    <a:pt x="390" y="720"/>
                  </a:lnTo>
                  <a:lnTo>
                    <a:pt x="324" y="852"/>
                  </a:lnTo>
                  <a:lnTo>
                    <a:pt x="312" y="894"/>
                  </a:lnTo>
                  <a:lnTo>
                    <a:pt x="306" y="912"/>
                  </a:lnTo>
                  <a:lnTo>
                    <a:pt x="306" y="948"/>
                  </a:lnTo>
                  <a:lnTo>
                    <a:pt x="294" y="984"/>
                  </a:lnTo>
                  <a:lnTo>
                    <a:pt x="276" y="1014"/>
                  </a:lnTo>
                  <a:lnTo>
                    <a:pt x="258" y="1032"/>
                  </a:lnTo>
                  <a:lnTo>
                    <a:pt x="240" y="1044"/>
                  </a:lnTo>
                  <a:lnTo>
                    <a:pt x="222" y="1062"/>
                  </a:lnTo>
                  <a:lnTo>
                    <a:pt x="216" y="1062"/>
                  </a:lnTo>
                  <a:lnTo>
                    <a:pt x="210" y="1068"/>
                  </a:lnTo>
                  <a:lnTo>
                    <a:pt x="186" y="1068"/>
                  </a:lnTo>
                  <a:lnTo>
                    <a:pt x="150" y="1086"/>
                  </a:lnTo>
                  <a:lnTo>
                    <a:pt x="114" y="1092"/>
                  </a:lnTo>
                  <a:lnTo>
                    <a:pt x="78" y="1074"/>
                  </a:lnTo>
                  <a:lnTo>
                    <a:pt x="60" y="1056"/>
                  </a:lnTo>
                  <a:lnTo>
                    <a:pt x="48" y="1038"/>
                  </a:lnTo>
                  <a:lnTo>
                    <a:pt x="36" y="1026"/>
                  </a:lnTo>
                  <a:lnTo>
                    <a:pt x="36" y="1020"/>
                  </a:lnTo>
                  <a:lnTo>
                    <a:pt x="30" y="1014"/>
                  </a:lnTo>
                  <a:lnTo>
                    <a:pt x="48" y="990"/>
                  </a:lnTo>
                  <a:lnTo>
                    <a:pt x="42" y="978"/>
                  </a:lnTo>
                  <a:lnTo>
                    <a:pt x="24" y="948"/>
                  </a:lnTo>
                  <a:lnTo>
                    <a:pt x="12" y="900"/>
                  </a:lnTo>
                  <a:lnTo>
                    <a:pt x="0" y="834"/>
                  </a:lnTo>
                  <a:lnTo>
                    <a:pt x="0" y="786"/>
                  </a:lnTo>
                  <a:lnTo>
                    <a:pt x="6" y="756"/>
                  </a:lnTo>
                  <a:lnTo>
                    <a:pt x="18" y="738"/>
                  </a:lnTo>
                  <a:lnTo>
                    <a:pt x="60" y="696"/>
                  </a:lnTo>
                  <a:lnTo>
                    <a:pt x="72" y="678"/>
                  </a:lnTo>
                  <a:lnTo>
                    <a:pt x="90" y="672"/>
                  </a:lnTo>
                  <a:lnTo>
                    <a:pt x="96" y="660"/>
                  </a:lnTo>
                  <a:lnTo>
                    <a:pt x="108" y="654"/>
                  </a:lnTo>
                  <a:lnTo>
                    <a:pt x="108" y="636"/>
                  </a:lnTo>
                  <a:lnTo>
                    <a:pt x="102" y="600"/>
                  </a:lnTo>
                  <a:lnTo>
                    <a:pt x="96" y="558"/>
                  </a:lnTo>
                  <a:lnTo>
                    <a:pt x="96" y="522"/>
                  </a:lnTo>
                  <a:lnTo>
                    <a:pt x="78" y="432"/>
                  </a:lnTo>
                  <a:lnTo>
                    <a:pt x="90" y="408"/>
                  </a:lnTo>
                  <a:lnTo>
                    <a:pt x="132" y="366"/>
                  </a:lnTo>
                  <a:lnTo>
                    <a:pt x="132" y="360"/>
                  </a:lnTo>
                  <a:lnTo>
                    <a:pt x="120" y="330"/>
                  </a:lnTo>
                  <a:close/>
                </a:path>
              </a:pathLst>
            </a:custGeom>
            <a:grpFill/>
            <a:ln w="3175">
              <a:solidFill>
                <a:schemeClr val="bg1"/>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de-DE" sz="1800" b="0" i="0" u="none" strike="noStrike" kern="1200" cap="none" spc="0" normalizeH="0" baseline="0" noProof="0">
                <a:ln>
                  <a:noFill/>
                </a:ln>
                <a:solidFill>
                  <a:srgbClr val="FFC000"/>
                </a:solidFill>
                <a:effectLst/>
                <a:uLnTx/>
                <a:uFillTx/>
                <a:latin typeface="Calibri" pitchFamily="34" charset="0"/>
                <a:ea typeface="+mn-ea"/>
                <a:cs typeface="+mn-cs"/>
              </a:endParaRPr>
            </a:p>
          </p:txBody>
        </p:sp>
        <p:sp>
          <p:nvSpPr>
            <p:cNvPr id="97" name="Macedonia" descr="© INSCALE GmbH, 05.05.2010&#10;http://www.presentationload.com/"/>
            <p:cNvSpPr>
              <a:spLocks/>
            </p:cNvSpPr>
            <p:nvPr/>
          </p:nvSpPr>
          <p:spPr bwMode="gray">
            <a:xfrm>
              <a:off x="4918803" y="3243127"/>
              <a:ext cx="53754" cy="40418"/>
            </a:xfrm>
            <a:custGeom>
              <a:avLst/>
              <a:gdLst>
                <a:gd name="T0" fmla="*/ 2147483647 w 162"/>
                <a:gd name="T1" fmla="*/ 2147483647 h 126"/>
                <a:gd name="T2" fmla="*/ 2147483647 w 162"/>
                <a:gd name="T3" fmla="*/ 2147483647 h 126"/>
                <a:gd name="T4" fmla="*/ 2147483647 w 162"/>
                <a:gd name="T5" fmla="*/ 2147483647 h 126"/>
                <a:gd name="T6" fmla="*/ 2147483647 w 162"/>
                <a:gd name="T7" fmla="*/ 2147483647 h 126"/>
                <a:gd name="T8" fmla="*/ 2147483647 w 162"/>
                <a:gd name="T9" fmla="*/ 0 h 126"/>
                <a:gd name="T10" fmla="*/ 2147483647 w 162"/>
                <a:gd name="T11" fmla="*/ 2147483647 h 126"/>
                <a:gd name="T12" fmla="*/ 2147483647 w 162"/>
                <a:gd name="T13" fmla="*/ 2147483647 h 126"/>
                <a:gd name="T14" fmla="*/ 2147483647 w 162"/>
                <a:gd name="T15" fmla="*/ 2147483647 h 126"/>
                <a:gd name="T16" fmla="*/ 2147483647 w 162"/>
                <a:gd name="T17" fmla="*/ 2147483647 h 126"/>
                <a:gd name="T18" fmla="*/ 2147483647 w 162"/>
                <a:gd name="T19" fmla="*/ 2147483647 h 126"/>
                <a:gd name="T20" fmla="*/ 2147483647 w 162"/>
                <a:gd name="T21" fmla="*/ 2147483647 h 126"/>
                <a:gd name="T22" fmla="*/ 0 w 162"/>
                <a:gd name="T23" fmla="*/ 2147483647 h 126"/>
                <a:gd name="T24" fmla="*/ 0 w 162"/>
                <a:gd name="T25" fmla="*/ 2147483647 h 126"/>
                <a:gd name="T26" fmla="*/ 2147483647 w 162"/>
                <a:gd name="T27" fmla="*/ 2147483647 h 126"/>
                <a:gd name="T28" fmla="*/ 2147483647 w 162"/>
                <a:gd name="T29" fmla="*/ 2147483647 h 126"/>
                <a:gd name="T30" fmla="*/ 2147483647 w 162"/>
                <a:gd name="T31" fmla="*/ 2147483647 h 126"/>
                <a:gd name="T32" fmla="*/ 2147483647 w 162"/>
                <a:gd name="T33" fmla="*/ 2147483647 h 126"/>
                <a:gd name="T34" fmla="*/ 2147483647 w 162"/>
                <a:gd name="T35" fmla="*/ 2147483647 h 126"/>
                <a:gd name="T36" fmla="*/ 2147483647 w 162"/>
                <a:gd name="T37" fmla="*/ 2147483647 h 126"/>
                <a:gd name="T38" fmla="*/ 2147483647 w 162"/>
                <a:gd name="T39" fmla="*/ 2147483647 h 126"/>
                <a:gd name="T40" fmla="*/ 2147483647 w 162"/>
                <a:gd name="T41" fmla="*/ 2147483647 h 126"/>
                <a:gd name="T42" fmla="*/ 2147483647 w 162"/>
                <a:gd name="T43" fmla="*/ 2147483647 h 126"/>
                <a:gd name="T44" fmla="*/ 2147483647 w 162"/>
                <a:gd name="T45" fmla="*/ 2147483647 h 126"/>
                <a:gd name="T46" fmla="*/ 2147483647 w 162"/>
                <a:gd name="T47" fmla="*/ 2147483647 h 126"/>
                <a:gd name="T48" fmla="*/ 2147483647 w 162"/>
                <a:gd name="T49" fmla="*/ 2147483647 h 126"/>
                <a:gd name="T50" fmla="*/ 2147483647 w 162"/>
                <a:gd name="T51" fmla="*/ 2147483647 h 126"/>
                <a:gd name="T52" fmla="*/ 2147483647 w 162"/>
                <a:gd name="T53" fmla="*/ 2147483647 h 126"/>
                <a:gd name="T54" fmla="*/ 2147483647 w 162"/>
                <a:gd name="T55" fmla="*/ 2147483647 h 126"/>
                <a:gd name="T56" fmla="*/ 2147483647 w 162"/>
                <a:gd name="T57" fmla="*/ 2147483647 h 126"/>
                <a:gd name="T58" fmla="*/ 2147483647 w 162"/>
                <a:gd name="T59" fmla="*/ 2147483647 h 126"/>
                <a:gd name="T60" fmla="*/ 2147483647 w 162"/>
                <a:gd name="T61" fmla="*/ 2147483647 h 126"/>
                <a:gd name="T62" fmla="*/ 2147483647 w 162"/>
                <a:gd name="T63" fmla="*/ 2147483647 h 126"/>
                <a:gd name="T64" fmla="*/ 2147483647 w 162"/>
                <a:gd name="T65" fmla="*/ 2147483647 h 12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62"/>
                <a:gd name="T100" fmla="*/ 0 h 126"/>
                <a:gd name="T101" fmla="*/ 162 w 162"/>
                <a:gd name="T102" fmla="*/ 126 h 12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62" h="126">
                  <a:moveTo>
                    <a:pt x="150" y="42"/>
                  </a:moveTo>
                  <a:lnTo>
                    <a:pt x="132" y="30"/>
                  </a:lnTo>
                  <a:lnTo>
                    <a:pt x="132" y="18"/>
                  </a:lnTo>
                  <a:lnTo>
                    <a:pt x="126" y="18"/>
                  </a:lnTo>
                  <a:lnTo>
                    <a:pt x="114" y="0"/>
                  </a:lnTo>
                  <a:lnTo>
                    <a:pt x="72" y="6"/>
                  </a:lnTo>
                  <a:lnTo>
                    <a:pt x="66" y="12"/>
                  </a:lnTo>
                  <a:lnTo>
                    <a:pt x="48" y="12"/>
                  </a:lnTo>
                  <a:lnTo>
                    <a:pt x="48" y="24"/>
                  </a:lnTo>
                  <a:lnTo>
                    <a:pt x="24" y="24"/>
                  </a:lnTo>
                  <a:lnTo>
                    <a:pt x="18" y="36"/>
                  </a:lnTo>
                  <a:lnTo>
                    <a:pt x="0" y="42"/>
                  </a:lnTo>
                  <a:lnTo>
                    <a:pt x="0" y="66"/>
                  </a:lnTo>
                  <a:lnTo>
                    <a:pt x="6" y="78"/>
                  </a:lnTo>
                  <a:lnTo>
                    <a:pt x="6" y="102"/>
                  </a:lnTo>
                  <a:lnTo>
                    <a:pt x="12" y="108"/>
                  </a:lnTo>
                  <a:lnTo>
                    <a:pt x="18" y="108"/>
                  </a:lnTo>
                  <a:lnTo>
                    <a:pt x="18" y="126"/>
                  </a:lnTo>
                  <a:lnTo>
                    <a:pt x="42" y="120"/>
                  </a:lnTo>
                  <a:lnTo>
                    <a:pt x="42" y="126"/>
                  </a:lnTo>
                  <a:lnTo>
                    <a:pt x="54" y="120"/>
                  </a:lnTo>
                  <a:lnTo>
                    <a:pt x="60" y="120"/>
                  </a:lnTo>
                  <a:lnTo>
                    <a:pt x="66" y="126"/>
                  </a:lnTo>
                  <a:lnTo>
                    <a:pt x="90" y="126"/>
                  </a:lnTo>
                  <a:lnTo>
                    <a:pt x="96" y="114"/>
                  </a:lnTo>
                  <a:lnTo>
                    <a:pt x="96" y="108"/>
                  </a:lnTo>
                  <a:lnTo>
                    <a:pt x="120" y="108"/>
                  </a:lnTo>
                  <a:lnTo>
                    <a:pt x="132" y="102"/>
                  </a:lnTo>
                  <a:lnTo>
                    <a:pt x="156" y="78"/>
                  </a:lnTo>
                  <a:lnTo>
                    <a:pt x="162" y="66"/>
                  </a:lnTo>
                  <a:lnTo>
                    <a:pt x="162" y="60"/>
                  </a:lnTo>
                  <a:lnTo>
                    <a:pt x="156" y="48"/>
                  </a:lnTo>
                  <a:lnTo>
                    <a:pt x="150" y="42"/>
                  </a:lnTo>
                  <a:close/>
                </a:path>
              </a:pathLst>
            </a:custGeom>
            <a:grpFill/>
            <a:ln w="3175">
              <a:solidFill>
                <a:schemeClr val="bg1"/>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de-DE" sz="1800" b="0" i="0" u="none" strike="noStrike" kern="1200" cap="none" spc="0" normalizeH="0" baseline="0" noProof="0">
                <a:ln>
                  <a:noFill/>
                </a:ln>
                <a:solidFill>
                  <a:srgbClr val="FFC000"/>
                </a:solidFill>
                <a:effectLst/>
                <a:uLnTx/>
                <a:uFillTx/>
                <a:latin typeface="Calibri" pitchFamily="34" charset="0"/>
                <a:ea typeface="+mn-ea"/>
                <a:cs typeface="+mn-cs"/>
              </a:endParaRPr>
            </a:p>
          </p:txBody>
        </p:sp>
        <p:sp>
          <p:nvSpPr>
            <p:cNvPr id="98" name="Luxembourg" descr="© INSCALE GmbH, 05.05.2010&#10;http://www.presentationload.com/"/>
            <p:cNvSpPr>
              <a:spLocks/>
            </p:cNvSpPr>
            <p:nvPr/>
          </p:nvSpPr>
          <p:spPr bwMode="gray">
            <a:xfrm>
              <a:off x="4610362" y="3054510"/>
              <a:ext cx="16638" cy="13473"/>
            </a:xfrm>
            <a:custGeom>
              <a:avLst/>
              <a:gdLst>
                <a:gd name="T0" fmla="*/ 2147483647 w 54"/>
                <a:gd name="T1" fmla="*/ 2147483647 h 42"/>
                <a:gd name="T2" fmla="*/ 2147483647 w 54"/>
                <a:gd name="T3" fmla="*/ 2147483647 h 42"/>
                <a:gd name="T4" fmla="*/ 2147483647 w 54"/>
                <a:gd name="T5" fmla="*/ 2147483647 h 42"/>
                <a:gd name="T6" fmla="*/ 2147483647 w 54"/>
                <a:gd name="T7" fmla="*/ 2147483647 h 42"/>
                <a:gd name="T8" fmla="*/ 2147483647 w 54"/>
                <a:gd name="T9" fmla="*/ 2147483647 h 42"/>
                <a:gd name="T10" fmla="*/ 2147483647 w 54"/>
                <a:gd name="T11" fmla="*/ 2147483647 h 42"/>
                <a:gd name="T12" fmla="*/ 2147483647 w 54"/>
                <a:gd name="T13" fmla="*/ 2147483647 h 42"/>
                <a:gd name="T14" fmla="*/ 2147483647 w 54"/>
                <a:gd name="T15" fmla="*/ 2147483647 h 42"/>
                <a:gd name="T16" fmla="*/ 2147483647 w 54"/>
                <a:gd name="T17" fmla="*/ 0 h 42"/>
                <a:gd name="T18" fmla="*/ 2147483647 w 54"/>
                <a:gd name="T19" fmla="*/ 0 h 42"/>
                <a:gd name="T20" fmla="*/ 2147483647 w 54"/>
                <a:gd name="T21" fmla="*/ 2147483647 h 42"/>
                <a:gd name="T22" fmla="*/ 2147483647 w 54"/>
                <a:gd name="T23" fmla="*/ 2147483647 h 42"/>
                <a:gd name="T24" fmla="*/ 0 w 54"/>
                <a:gd name="T25" fmla="*/ 2147483647 h 42"/>
                <a:gd name="T26" fmla="*/ 0 w 54"/>
                <a:gd name="T27" fmla="*/ 2147483647 h 42"/>
                <a:gd name="T28" fmla="*/ 2147483647 w 54"/>
                <a:gd name="T29" fmla="*/ 2147483647 h 42"/>
                <a:gd name="T30" fmla="*/ 2147483647 w 54"/>
                <a:gd name="T31" fmla="*/ 2147483647 h 42"/>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54"/>
                <a:gd name="T49" fmla="*/ 0 h 42"/>
                <a:gd name="T50" fmla="*/ 54 w 54"/>
                <a:gd name="T51" fmla="*/ 42 h 42"/>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54" h="42">
                  <a:moveTo>
                    <a:pt x="18" y="42"/>
                  </a:moveTo>
                  <a:lnTo>
                    <a:pt x="30" y="36"/>
                  </a:lnTo>
                  <a:lnTo>
                    <a:pt x="48" y="42"/>
                  </a:lnTo>
                  <a:lnTo>
                    <a:pt x="54" y="36"/>
                  </a:lnTo>
                  <a:lnTo>
                    <a:pt x="54" y="24"/>
                  </a:lnTo>
                  <a:lnTo>
                    <a:pt x="42" y="18"/>
                  </a:lnTo>
                  <a:lnTo>
                    <a:pt x="36" y="18"/>
                  </a:lnTo>
                  <a:lnTo>
                    <a:pt x="30" y="12"/>
                  </a:lnTo>
                  <a:lnTo>
                    <a:pt x="30" y="0"/>
                  </a:lnTo>
                  <a:lnTo>
                    <a:pt x="24" y="0"/>
                  </a:lnTo>
                  <a:lnTo>
                    <a:pt x="18" y="6"/>
                  </a:lnTo>
                  <a:lnTo>
                    <a:pt x="6" y="12"/>
                  </a:lnTo>
                  <a:lnTo>
                    <a:pt x="0" y="12"/>
                  </a:lnTo>
                  <a:lnTo>
                    <a:pt x="0" y="18"/>
                  </a:lnTo>
                  <a:lnTo>
                    <a:pt x="12" y="30"/>
                  </a:lnTo>
                  <a:lnTo>
                    <a:pt x="18" y="42"/>
                  </a:lnTo>
                  <a:close/>
                </a:path>
              </a:pathLst>
            </a:custGeom>
            <a:grpFill/>
            <a:ln w="3175">
              <a:solidFill>
                <a:schemeClr val="bg1"/>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de-DE" sz="1800" b="0" i="0" u="none" strike="noStrike" kern="1200" cap="none" spc="0" normalizeH="0" baseline="0" noProof="0">
                <a:ln>
                  <a:noFill/>
                </a:ln>
                <a:solidFill>
                  <a:srgbClr val="FFC000"/>
                </a:solidFill>
                <a:effectLst/>
                <a:uLnTx/>
                <a:uFillTx/>
                <a:latin typeface="Calibri" pitchFamily="34" charset="0"/>
                <a:ea typeface="+mn-ea"/>
                <a:cs typeface="+mn-cs"/>
              </a:endParaRPr>
            </a:p>
          </p:txBody>
        </p:sp>
        <p:sp>
          <p:nvSpPr>
            <p:cNvPr id="99" name="Liechtenstein" descr="© INSCALE GmbH, 05.05.2010&#10;http://www.presentationload.com/"/>
            <p:cNvSpPr>
              <a:spLocks/>
            </p:cNvSpPr>
            <p:nvPr/>
          </p:nvSpPr>
          <p:spPr bwMode="gray">
            <a:xfrm>
              <a:off x="4684592" y="3123098"/>
              <a:ext cx="5119" cy="7349"/>
            </a:xfrm>
            <a:custGeom>
              <a:avLst/>
              <a:gdLst>
                <a:gd name="T0" fmla="*/ 2147483647 w 18"/>
                <a:gd name="T1" fmla="*/ 0 h 24"/>
                <a:gd name="T2" fmla="*/ 2147483647 w 18"/>
                <a:gd name="T3" fmla="*/ 2147483647 h 24"/>
                <a:gd name="T4" fmla="*/ 0 w 18"/>
                <a:gd name="T5" fmla="*/ 2147483647 h 24"/>
                <a:gd name="T6" fmla="*/ 0 w 18"/>
                <a:gd name="T7" fmla="*/ 2147483647 h 24"/>
                <a:gd name="T8" fmla="*/ 2147483647 w 18"/>
                <a:gd name="T9" fmla="*/ 2147483647 h 24"/>
                <a:gd name="T10" fmla="*/ 2147483647 w 18"/>
                <a:gd name="T11" fmla="*/ 0 h 24"/>
                <a:gd name="T12" fmla="*/ 2147483647 w 18"/>
                <a:gd name="T13" fmla="*/ 0 h 24"/>
                <a:gd name="T14" fmla="*/ 0 60000 65536"/>
                <a:gd name="T15" fmla="*/ 0 60000 65536"/>
                <a:gd name="T16" fmla="*/ 0 60000 65536"/>
                <a:gd name="T17" fmla="*/ 0 60000 65536"/>
                <a:gd name="T18" fmla="*/ 0 60000 65536"/>
                <a:gd name="T19" fmla="*/ 0 60000 65536"/>
                <a:gd name="T20" fmla="*/ 0 60000 65536"/>
                <a:gd name="T21" fmla="*/ 0 w 18"/>
                <a:gd name="T22" fmla="*/ 0 h 24"/>
                <a:gd name="T23" fmla="*/ 18 w 18"/>
                <a:gd name="T24" fmla="*/ 24 h 2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8" h="24">
                  <a:moveTo>
                    <a:pt x="12" y="0"/>
                  </a:moveTo>
                  <a:lnTo>
                    <a:pt x="6" y="6"/>
                  </a:lnTo>
                  <a:lnTo>
                    <a:pt x="0" y="18"/>
                  </a:lnTo>
                  <a:lnTo>
                    <a:pt x="0" y="24"/>
                  </a:lnTo>
                  <a:lnTo>
                    <a:pt x="18" y="24"/>
                  </a:lnTo>
                  <a:lnTo>
                    <a:pt x="18" y="0"/>
                  </a:lnTo>
                  <a:lnTo>
                    <a:pt x="12" y="0"/>
                  </a:lnTo>
                  <a:close/>
                </a:path>
              </a:pathLst>
            </a:custGeom>
            <a:grpFill/>
            <a:ln w="3175">
              <a:solidFill>
                <a:schemeClr val="bg1"/>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de-DE" sz="1800" b="0" i="0" u="none" strike="noStrike" kern="1200" cap="none" spc="0" normalizeH="0" baseline="0" noProof="0">
                <a:ln>
                  <a:noFill/>
                </a:ln>
                <a:solidFill>
                  <a:srgbClr val="FFC000"/>
                </a:solidFill>
                <a:effectLst/>
                <a:uLnTx/>
                <a:uFillTx/>
                <a:latin typeface="Calibri" pitchFamily="34" charset="0"/>
                <a:ea typeface="+mn-ea"/>
                <a:cs typeface="+mn-cs"/>
              </a:endParaRPr>
            </a:p>
          </p:txBody>
        </p:sp>
        <p:sp>
          <p:nvSpPr>
            <p:cNvPr id="100" name="Libya" descr="© INSCALE GmbH, 05.05.2010&#10;http://www.presentationload.com/"/>
            <p:cNvSpPr>
              <a:spLocks/>
            </p:cNvSpPr>
            <p:nvPr/>
          </p:nvSpPr>
          <p:spPr bwMode="gray">
            <a:xfrm>
              <a:off x="4682033" y="3472163"/>
              <a:ext cx="357075" cy="345391"/>
            </a:xfrm>
            <a:custGeom>
              <a:avLst/>
              <a:gdLst>
                <a:gd name="T0" fmla="*/ 2147483647 w 1098"/>
                <a:gd name="T1" fmla="*/ 2147483647 h 1110"/>
                <a:gd name="T2" fmla="*/ 2147483647 w 1098"/>
                <a:gd name="T3" fmla="*/ 2147483647 h 1110"/>
                <a:gd name="T4" fmla="*/ 2147483647 w 1098"/>
                <a:gd name="T5" fmla="*/ 2147483647 h 1110"/>
                <a:gd name="T6" fmla="*/ 2147483647 w 1098"/>
                <a:gd name="T7" fmla="*/ 2147483647 h 1110"/>
                <a:gd name="T8" fmla="*/ 2147483647 w 1098"/>
                <a:gd name="T9" fmla="*/ 2147483647 h 1110"/>
                <a:gd name="T10" fmla="*/ 2147483647 w 1098"/>
                <a:gd name="T11" fmla="*/ 2147483647 h 1110"/>
                <a:gd name="T12" fmla="*/ 2147483647 w 1098"/>
                <a:gd name="T13" fmla="*/ 2147483647 h 1110"/>
                <a:gd name="T14" fmla="*/ 2147483647 w 1098"/>
                <a:gd name="T15" fmla="*/ 2147483647 h 1110"/>
                <a:gd name="T16" fmla="*/ 2147483647 w 1098"/>
                <a:gd name="T17" fmla="*/ 2147483647 h 1110"/>
                <a:gd name="T18" fmla="*/ 2147483647 w 1098"/>
                <a:gd name="T19" fmla="*/ 2147483647 h 1110"/>
                <a:gd name="T20" fmla="*/ 2147483647 w 1098"/>
                <a:gd name="T21" fmla="*/ 2147483647 h 1110"/>
                <a:gd name="T22" fmla="*/ 2147483647 w 1098"/>
                <a:gd name="T23" fmla="*/ 2147483647 h 1110"/>
                <a:gd name="T24" fmla="*/ 0 w 1098"/>
                <a:gd name="T25" fmla="*/ 2147483647 h 1110"/>
                <a:gd name="T26" fmla="*/ 2147483647 w 1098"/>
                <a:gd name="T27" fmla="*/ 2147483647 h 1110"/>
                <a:gd name="T28" fmla="*/ 2147483647 w 1098"/>
                <a:gd name="T29" fmla="*/ 2147483647 h 1110"/>
                <a:gd name="T30" fmla="*/ 2147483647 w 1098"/>
                <a:gd name="T31" fmla="*/ 2147483647 h 1110"/>
                <a:gd name="T32" fmla="*/ 2147483647 w 1098"/>
                <a:gd name="T33" fmla="*/ 2147483647 h 1110"/>
                <a:gd name="T34" fmla="*/ 2147483647 w 1098"/>
                <a:gd name="T35" fmla="*/ 2147483647 h 1110"/>
                <a:gd name="T36" fmla="*/ 2147483647 w 1098"/>
                <a:gd name="T37" fmla="*/ 2147483647 h 1110"/>
                <a:gd name="T38" fmla="*/ 2147483647 w 1098"/>
                <a:gd name="T39" fmla="*/ 2147483647 h 1110"/>
                <a:gd name="T40" fmla="*/ 2147483647 w 1098"/>
                <a:gd name="T41" fmla="*/ 2147483647 h 1110"/>
                <a:gd name="T42" fmla="*/ 2147483647 w 1098"/>
                <a:gd name="T43" fmla="*/ 2147483647 h 1110"/>
                <a:gd name="T44" fmla="*/ 2147483647 w 1098"/>
                <a:gd name="T45" fmla="*/ 2147483647 h 1110"/>
                <a:gd name="T46" fmla="*/ 2147483647 w 1098"/>
                <a:gd name="T47" fmla="*/ 2147483647 h 1110"/>
                <a:gd name="T48" fmla="*/ 2147483647 w 1098"/>
                <a:gd name="T49" fmla="*/ 2147483647 h 1110"/>
                <a:gd name="T50" fmla="*/ 2147483647 w 1098"/>
                <a:gd name="T51" fmla="*/ 2147483647 h 1110"/>
                <a:gd name="T52" fmla="*/ 2147483647 w 1098"/>
                <a:gd name="T53" fmla="*/ 2147483647 h 1110"/>
                <a:gd name="T54" fmla="*/ 2147483647 w 1098"/>
                <a:gd name="T55" fmla="*/ 2147483647 h 1110"/>
                <a:gd name="T56" fmla="*/ 2147483647 w 1098"/>
                <a:gd name="T57" fmla="*/ 2147483647 h 1110"/>
                <a:gd name="T58" fmla="*/ 2147483647 w 1098"/>
                <a:gd name="T59" fmla="*/ 2147483647 h 1110"/>
                <a:gd name="T60" fmla="*/ 2147483647 w 1098"/>
                <a:gd name="T61" fmla="*/ 2147483647 h 1110"/>
                <a:gd name="T62" fmla="*/ 2147483647 w 1098"/>
                <a:gd name="T63" fmla="*/ 2147483647 h 1110"/>
                <a:gd name="T64" fmla="*/ 2147483647 w 1098"/>
                <a:gd name="T65" fmla="*/ 2147483647 h 1110"/>
                <a:gd name="T66" fmla="*/ 2147483647 w 1098"/>
                <a:gd name="T67" fmla="*/ 2147483647 h 1110"/>
                <a:gd name="T68" fmla="*/ 2147483647 w 1098"/>
                <a:gd name="T69" fmla="*/ 2147483647 h 1110"/>
                <a:gd name="T70" fmla="*/ 2147483647 w 1098"/>
                <a:gd name="T71" fmla="*/ 2147483647 h 1110"/>
                <a:gd name="T72" fmla="*/ 2147483647 w 1098"/>
                <a:gd name="T73" fmla="*/ 2147483647 h 1110"/>
                <a:gd name="T74" fmla="*/ 2147483647 w 1098"/>
                <a:gd name="T75" fmla="*/ 2147483647 h 1110"/>
                <a:gd name="T76" fmla="*/ 2147483647 w 1098"/>
                <a:gd name="T77" fmla="*/ 2147483647 h 1110"/>
                <a:gd name="T78" fmla="*/ 2147483647 w 1098"/>
                <a:gd name="T79" fmla="*/ 2147483647 h 1110"/>
                <a:gd name="T80" fmla="*/ 2147483647 w 1098"/>
                <a:gd name="T81" fmla="*/ 2147483647 h 1110"/>
                <a:gd name="T82" fmla="*/ 2147483647 w 1098"/>
                <a:gd name="T83" fmla="*/ 2147483647 h 1110"/>
                <a:gd name="T84" fmla="*/ 2147483647 w 1098"/>
                <a:gd name="T85" fmla="*/ 2147483647 h 1110"/>
                <a:gd name="T86" fmla="*/ 2147483647 w 1098"/>
                <a:gd name="T87" fmla="*/ 2147483647 h 1110"/>
                <a:gd name="T88" fmla="*/ 2147483647 w 1098"/>
                <a:gd name="T89" fmla="*/ 2147483647 h 1110"/>
                <a:gd name="T90" fmla="*/ 2147483647 w 1098"/>
                <a:gd name="T91" fmla="*/ 2147483647 h 1110"/>
                <a:gd name="T92" fmla="*/ 2147483647 w 1098"/>
                <a:gd name="T93" fmla="*/ 2147483647 h 1110"/>
                <a:gd name="T94" fmla="*/ 2147483647 w 1098"/>
                <a:gd name="T95" fmla="*/ 2147483647 h 1110"/>
                <a:gd name="T96" fmla="*/ 2147483647 w 1098"/>
                <a:gd name="T97" fmla="*/ 2147483647 h 1110"/>
                <a:gd name="T98" fmla="*/ 2147483647 w 1098"/>
                <a:gd name="T99" fmla="*/ 2147483647 h 1110"/>
                <a:gd name="T100" fmla="*/ 2147483647 w 1098"/>
                <a:gd name="T101" fmla="*/ 2147483647 h 1110"/>
                <a:gd name="T102" fmla="*/ 2147483647 w 1098"/>
                <a:gd name="T103" fmla="*/ 2147483647 h 1110"/>
                <a:gd name="T104" fmla="*/ 2147483647 w 1098"/>
                <a:gd name="T105" fmla="*/ 2147483647 h 1110"/>
                <a:gd name="T106" fmla="*/ 2147483647 w 1098"/>
                <a:gd name="T107" fmla="*/ 2147483647 h 1110"/>
                <a:gd name="T108" fmla="*/ 2147483647 w 1098"/>
                <a:gd name="T109" fmla="*/ 2147483647 h 1110"/>
                <a:gd name="T110" fmla="*/ 2147483647 w 1098"/>
                <a:gd name="T111" fmla="*/ 2147483647 h 1110"/>
                <a:gd name="T112" fmla="*/ 2147483647 w 1098"/>
                <a:gd name="T113" fmla="*/ 2147483647 h 1110"/>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1098"/>
                <a:gd name="T172" fmla="*/ 0 h 1110"/>
                <a:gd name="T173" fmla="*/ 1098 w 1098"/>
                <a:gd name="T174" fmla="*/ 1110 h 1110"/>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1098" h="1110">
                  <a:moveTo>
                    <a:pt x="156" y="60"/>
                  </a:moveTo>
                  <a:lnTo>
                    <a:pt x="150" y="66"/>
                  </a:lnTo>
                  <a:lnTo>
                    <a:pt x="126" y="78"/>
                  </a:lnTo>
                  <a:lnTo>
                    <a:pt x="114" y="78"/>
                  </a:lnTo>
                  <a:lnTo>
                    <a:pt x="102" y="84"/>
                  </a:lnTo>
                  <a:lnTo>
                    <a:pt x="96" y="90"/>
                  </a:lnTo>
                  <a:lnTo>
                    <a:pt x="90" y="102"/>
                  </a:lnTo>
                  <a:lnTo>
                    <a:pt x="84" y="108"/>
                  </a:lnTo>
                  <a:lnTo>
                    <a:pt x="78" y="120"/>
                  </a:lnTo>
                  <a:lnTo>
                    <a:pt x="72" y="120"/>
                  </a:lnTo>
                  <a:lnTo>
                    <a:pt x="54" y="138"/>
                  </a:lnTo>
                  <a:lnTo>
                    <a:pt x="54" y="156"/>
                  </a:lnTo>
                  <a:lnTo>
                    <a:pt x="66" y="180"/>
                  </a:lnTo>
                  <a:lnTo>
                    <a:pt x="66" y="204"/>
                  </a:lnTo>
                  <a:lnTo>
                    <a:pt x="36" y="234"/>
                  </a:lnTo>
                  <a:lnTo>
                    <a:pt x="30" y="234"/>
                  </a:lnTo>
                  <a:lnTo>
                    <a:pt x="24" y="240"/>
                  </a:lnTo>
                  <a:lnTo>
                    <a:pt x="12" y="246"/>
                  </a:lnTo>
                  <a:lnTo>
                    <a:pt x="6" y="246"/>
                  </a:lnTo>
                  <a:lnTo>
                    <a:pt x="0" y="252"/>
                  </a:lnTo>
                  <a:lnTo>
                    <a:pt x="12" y="270"/>
                  </a:lnTo>
                  <a:lnTo>
                    <a:pt x="36" y="330"/>
                  </a:lnTo>
                  <a:lnTo>
                    <a:pt x="48" y="354"/>
                  </a:lnTo>
                  <a:lnTo>
                    <a:pt x="48" y="360"/>
                  </a:lnTo>
                  <a:lnTo>
                    <a:pt x="42" y="372"/>
                  </a:lnTo>
                  <a:lnTo>
                    <a:pt x="42" y="402"/>
                  </a:lnTo>
                  <a:lnTo>
                    <a:pt x="36" y="408"/>
                  </a:lnTo>
                  <a:lnTo>
                    <a:pt x="36" y="414"/>
                  </a:lnTo>
                  <a:lnTo>
                    <a:pt x="42" y="432"/>
                  </a:lnTo>
                  <a:lnTo>
                    <a:pt x="30" y="456"/>
                  </a:lnTo>
                  <a:lnTo>
                    <a:pt x="36" y="510"/>
                  </a:lnTo>
                  <a:lnTo>
                    <a:pt x="36" y="516"/>
                  </a:lnTo>
                  <a:lnTo>
                    <a:pt x="42" y="522"/>
                  </a:lnTo>
                  <a:lnTo>
                    <a:pt x="42" y="534"/>
                  </a:lnTo>
                  <a:lnTo>
                    <a:pt x="36" y="546"/>
                  </a:lnTo>
                  <a:lnTo>
                    <a:pt x="30" y="552"/>
                  </a:lnTo>
                  <a:lnTo>
                    <a:pt x="18" y="558"/>
                  </a:lnTo>
                  <a:lnTo>
                    <a:pt x="6" y="558"/>
                  </a:lnTo>
                  <a:lnTo>
                    <a:pt x="0" y="564"/>
                  </a:lnTo>
                  <a:lnTo>
                    <a:pt x="0" y="570"/>
                  </a:lnTo>
                  <a:lnTo>
                    <a:pt x="6" y="582"/>
                  </a:lnTo>
                  <a:lnTo>
                    <a:pt x="18" y="594"/>
                  </a:lnTo>
                  <a:lnTo>
                    <a:pt x="24" y="612"/>
                  </a:lnTo>
                  <a:lnTo>
                    <a:pt x="36" y="624"/>
                  </a:lnTo>
                  <a:lnTo>
                    <a:pt x="42" y="636"/>
                  </a:lnTo>
                  <a:lnTo>
                    <a:pt x="48" y="642"/>
                  </a:lnTo>
                  <a:lnTo>
                    <a:pt x="48" y="684"/>
                  </a:lnTo>
                  <a:lnTo>
                    <a:pt x="72" y="708"/>
                  </a:lnTo>
                  <a:lnTo>
                    <a:pt x="96" y="696"/>
                  </a:lnTo>
                  <a:lnTo>
                    <a:pt x="102" y="696"/>
                  </a:lnTo>
                  <a:lnTo>
                    <a:pt x="138" y="714"/>
                  </a:lnTo>
                  <a:lnTo>
                    <a:pt x="150" y="714"/>
                  </a:lnTo>
                  <a:lnTo>
                    <a:pt x="162" y="726"/>
                  </a:lnTo>
                  <a:lnTo>
                    <a:pt x="162" y="732"/>
                  </a:lnTo>
                  <a:lnTo>
                    <a:pt x="168" y="744"/>
                  </a:lnTo>
                  <a:lnTo>
                    <a:pt x="174" y="762"/>
                  </a:lnTo>
                  <a:lnTo>
                    <a:pt x="180" y="774"/>
                  </a:lnTo>
                  <a:lnTo>
                    <a:pt x="186" y="780"/>
                  </a:lnTo>
                  <a:lnTo>
                    <a:pt x="186" y="786"/>
                  </a:lnTo>
                  <a:lnTo>
                    <a:pt x="222" y="792"/>
                  </a:lnTo>
                  <a:lnTo>
                    <a:pt x="234" y="792"/>
                  </a:lnTo>
                  <a:lnTo>
                    <a:pt x="246" y="798"/>
                  </a:lnTo>
                  <a:lnTo>
                    <a:pt x="258" y="798"/>
                  </a:lnTo>
                  <a:lnTo>
                    <a:pt x="276" y="804"/>
                  </a:lnTo>
                  <a:lnTo>
                    <a:pt x="288" y="810"/>
                  </a:lnTo>
                  <a:lnTo>
                    <a:pt x="294" y="810"/>
                  </a:lnTo>
                  <a:lnTo>
                    <a:pt x="300" y="816"/>
                  </a:lnTo>
                  <a:lnTo>
                    <a:pt x="312" y="822"/>
                  </a:lnTo>
                  <a:lnTo>
                    <a:pt x="318" y="828"/>
                  </a:lnTo>
                  <a:lnTo>
                    <a:pt x="324" y="840"/>
                  </a:lnTo>
                  <a:lnTo>
                    <a:pt x="336" y="846"/>
                  </a:lnTo>
                  <a:lnTo>
                    <a:pt x="342" y="852"/>
                  </a:lnTo>
                  <a:lnTo>
                    <a:pt x="360" y="846"/>
                  </a:lnTo>
                  <a:lnTo>
                    <a:pt x="396" y="828"/>
                  </a:lnTo>
                  <a:lnTo>
                    <a:pt x="456" y="792"/>
                  </a:lnTo>
                  <a:lnTo>
                    <a:pt x="468" y="786"/>
                  </a:lnTo>
                  <a:lnTo>
                    <a:pt x="1026" y="1110"/>
                  </a:lnTo>
                  <a:lnTo>
                    <a:pt x="1026" y="1062"/>
                  </a:lnTo>
                  <a:lnTo>
                    <a:pt x="1098" y="1062"/>
                  </a:lnTo>
                  <a:lnTo>
                    <a:pt x="1098" y="828"/>
                  </a:lnTo>
                  <a:lnTo>
                    <a:pt x="1092" y="750"/>
                  </a:lnTo>
                  <a:lnTo>
                    <a:pt x="1092" y="660"/>
                  </a:lnTo>
                  <a:lnTo>
                    <a:pt x="1086" y="564"/>
                  </a:lnTo>
                  <a:lnTo>
                    <a:pt x="1086" y="468"/>
                  </a:lnTo>
                  <a:lnTo>
                    <a:pt x="1080" y="390"/>
                  </a:lnTo>
                  <a:lnTo>
                    <a:pt x="1080" y="306"/>
                  </a:lnTo>
                  <a:lnTo>
                    <a:pt x="1068" y="270"/>
                  </a:lnTo>
                  <a:lnTo>
                    <a:pt x="1056" y="258"/>
                  </a:lnTo>
                  <a:lnTo>
                    <a:pt x="1050" y="246"/>
                  </a:lnTo>
                  <a:lnTo>
                    <a:pt x="1050" y="240"/>
                  </a:lnTo>
                  <a:lnTo>
                    <a:pt x="1056" y="228"/>
                  </a:lnTo>
                  <a:lnTo>
                    <a:pt x="1062" y="222"/>
                  </a:lnTo>
                  <a:lnTo>
                    <a:pt x="1068" y="210"/>
                  </a:lnTo>
                  <a:lnTo>
                    <a:pt x="1074" y="204"/>
                  </a:lnTo>
                  <a:lnTo>
                    <a:pt x="1074" y="198"/>
                  </a:lnTo>
                  <a:lnTo>
                    <a:pt x="1068" y="186"/>
                  </a:lnTo>
                  <a:lnTo>
                    <a:pt x="1056" y="180"/>
                  </a:lnTo>
                  <a:lnTo>
                    <a:pt x="1056" y="150"/>
                  </a:lnTo>
                  <a:lnTo>
                    <a:pt x="1080" y="126"/>
                  </a:lnTo>
                  <a:lnTo>
                    <a:pt x="1074" y="114"/>
                  </a:lnTo>
                  <a:lnTo>
                    <a:pt x="1074" y="96"/>
                  </a:lnTo>
                  <a:lnTo>
                    <a:pt x="1056" y="102"/>
                  </a:lnTo>
                  <a:lnTo>
                    <a:pt x="1044" y="90"/>
                  </a:lnTo>
                  <a:lnTo>
                    <a:pt x="1032" y="102"/>
                  </a:lnTo>
                  <a:lnTo>
                    <a:pt x="1026" y="102"/>
                  </a:lnTo>
                  <a:lnTo>
                    <a:pt x="1020" y="96"/>
                  </a:lnTo>
                  <a:lnTo>
                    <a:pt x="1008" y="90"/>
                  </a:lnTo>
                  <a:lnTo>
                    <a:pt x="1002" y="84"/>
                  </a:lnTo>
                  <a:lnTo>
                    <a:pt x="990" y="78"/>
                  </a:lnTo>
                  <a:lnTo>
                    <a:pt x="978" y="78"/>
                  </a:lnTo>
                  <a:lnTo>
                    <a:pt x="966" y="84"/>
                  </a:lnTo>
                  <a:lnTo>
                    <a:pt x="954" y="84"/>
                  </a:lnTo>
                  <a:lnTo>
                    <a:pt x="942" y="78"/>
                  </a:lnTo>
                  <a:lnTo>
                    <a:pt x="936" y="72"/>
                  </a:lnTo>
                  <a:lnTo>
                    <a:pt x="936" y="48"/>
                  </a:lnTo>
                  <a:lnTo>
                    <a:pt x="930" y="42"/>
                  </a:lnTo>
                  <a:lnTo>
                    <a:pt x="918" y="36"/>
                  </a:lnTo>
                  <a:lnTo>
                    <a:pt x="882" y="36"/>
                  </a:lnTo>
                  <a:lnTo>
                    <a:pt x="876" y="30"/>
                  </a:lnTo>
                  <a:lnTo>
                    <a:pt x="864" y="30"/>
                  </a:lnTo>
                  <a:lnTo>
                    <a:pt x="852" y="24"/>
                  </a:lnTo>
                  <a:lnTo>
                    <a:pt x="840" y="24"/>
                  </a:lnTo>
                  <a:lnTo>
                    <a:pt x="834" y="30"/>
                  </a:lnTo>
                  <a:lnTo>
                    <a:pt x="834" y="36"/>
                  </a:lnTo>
                  <a:lnTo>
                    <a:pt x="798" y="36"/>
                  </a:lnTo>
                  <a:lnTo>
                    <a:pt x="780" y="42"/>
                  </a:lnTo>
                  <a:lnTo>
                    <a:pt x="768" y="48"/>
                  </a:lnTo>
                  <a:lnTo>
                    <a:pt x="732" y="84"/>
                  </a:lnTo>
                  <a:lnTo>
                    <a:pt x="720" y="108"/>
                  </a:lnTo>
                  <a:lnTo>
                    <a:pt x="720" y="120"/>
                  </a:lnTo>
                  <a:lnTo>
                    <a:pt x="726" y="138"/>
                  </a:lnTo>
                  <a:lnTo>
                    <a:pt x="738" y="150"/>
                  </a:lnTo>
                  <a:lnTo>
                    <a:pt x="744" y="162"/>
                  </a:lnTo>
                  <a:lnTo>
                    <a:pt x="744" y="180"/>
                  </a:lnTo>
                  <a:lnTo>
                    <a:pt x="738" y="192"/>
                  </a:lnTo>
                  <a:lnTo>
                    <a:pt x="714" y="216"/>
                  </a:lnTo>
                  <a:lnTo>
                    <a:pt x="708" y="228"/>
                  </a:lnTo>
                  <a:lnTo>
                    <a:pt x="696" y="234"/>
                  </a:lnTo>
                  <a:lnTo>
                    <a:pt x="666" y="234"/>
                  </a:lnTo>
                  <a:lnTo>
                    <a:pt x="648" y="228"/>
                  </a:lnTo>
                  <a:lnTo>
                    <a:pt x="630" y="216"/>
                  </a:lnTo>
                  <a:lnTo>
                    <a:pt x="612" y="198"/>
                  </a:lnTo>
                  <a:lnTo>
                    <a:pt x="582" y="180"/>
                  </a:lnTo>
                  <a:lnTo>
                    <a:pt x="552" y="168"/>
                  </a:lnTo>
                  <a:lnTo>
                    <a:pt x="528" y="162"/>
                  </a:lnTo>
                  <a:lnTo>
                    <a:pt x="462" y="162"/>
                  </a:lnTo>
                  <a:lnTo>
                    <a:pt x="438" y="150"/>
                  </a:lnTo>
                  <a:lnTo>
                    <a:pt x="426" y="138"/>
                  </a:lnTo>
                  <a:lnTo>
                    <a:pt x="420" y="126"/>
                  </a:lnTo>
                  <a:lnTo>
                    <a:pt x="414" y="108"/>
                  </a:lnTo>
                  <a:lnTo>
                    <a:pt x="414" y="96"/>
                  </a:lnTo>
                  <a:lnTo>
                    <a:pt x="402" y="72"/>
                  </a:lnTo>
                  <a:lnTo>
                    <a:pt x="378" y="60"/>
                  </a:lnTo>
                  <a:lnTo>
                    <a:pt x="366" y="60"/>
                  </a:lnTo>
                  <a:lnTo>
                    <a:pt x="354" y="54"/>
                  </a:lnTo>
                  <a:lnTo>
                    <a:pt x="348" y="48"/>
                  </a:lnTo>
                  <a:lnTo>
                    <a:pt x="324" y="36"/>
                  </a:lnTo>
                  <a:lnTo>
                    <a:pt x="318" y="36"/>
                  </a:lnTo>
                  <a:lnTo>
                    <a:pt x="306" y="30"/>
                  </a:lnTo>
                  <a:lnTo>
                    <a:pt x="264" y="30"/>
                  </a:lnTo>
                  <a:lnTo>
                    <a:pt x="252" y="36"/>
                  </a:lnTo>
                  <a:lnTo>
                    <a:pt x="216" y="36"/>
                  </a:lnTo>
                  <a:lnTo>
                    <a:pt x="192" y="24"/>
                  </a:lnTo>
                  <a:lnTo>
                    <a:pt x="180" y="12"/>
                  </a:lnTo>
                  <a:lnTo>
                    <a:pt x="168" y="6"/>
                  </a:lnTo>
                  <a:lnTo>
                    <a:pt x="150" y="6"/>
                  </a:lnTo>
                  <a:lnTo>
                    <a:pt x="144" y="0"/>
                  </a:lnTo>
                  <a:lnTo>
                    <a:pt x="138" y="42"/>
                  </a:lnTo>
                  <a:lnTo>
                    <a:pt x="144" y="42"/>
                  </a:lnTo>
                  <a:lnTo>
                    <a:pt x="156" y="54"/>
                  </a:lnTo>
                  <a:lnTo>
                    <a:pt x="156" y="60"/>
                  </a:lnTo>
                  <a:close/>
                </a:path>
              </a:pathLst>
            </a:custGeom>
            <a:solidFill>
              <a:srgbClr val="78D2D2"/>
            </a:solidFill>
            <a:ln w="3175">
              <a:solidFill>
                <a:schemeClr val="bg1"/>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de-DE" sz="1800" b="0" i="0" u="none" strike="noStrike" kern="1200" cap="none" spc="0" normalizeH="0" baseline="0" noProof="0">
                <a:ln>
                  <a:noFill/>
                </a:ln>
                <a:solidFill>
                  <a:srgbClr val="FFC000"/>
                </a:solidFill>
                <a:effectLst/>
                <a:uLnTx/>
                <a:uFillTx/>
                <a:latin typeface="Calibri" pitchFamily="34" charset="0"/>
                <a:ea typeface="+mn-ea"/>
                <a:cs typeface="+mn-cs"/>
              </a:endParaRPr>
            </a:p>
          </p:txBody>
        </p:sp>
        <p:sp>
          <p:nvSpPr>
            <p:cNvPr id="101" name="Liberia" descr="© INSCALE GmbH, 05.05.2010&#10;http://www.presentationload.com/"/>
            <p:cNvSpPr>
              <a:spLocks/>
            </p:cNvSpPr>
            <p:nvPr/>
          </p:nvSpPr>
          <p:spPr bwMode="gray">
            <a:xfrm>
              <a:off x="4195693" y="4089457"/>
              <a:ext cx="101107" cy="106556"/>
            </a:xfrm>
            <a:custGeom>
              <a:avLst/>
              <a:gdLst>
                <a:gd name="T0" fmla="*/ 2147483647 w 312"/>
                <a:gd name="T1" fmla="*/ 2147483647 h 342"/>
                <a:gd name="T2" fmla="*/ 2147483647 w 312"/>
                <a:gd name="T3" fmla="*/ 2147483647 h 342"/>
                <a:gd name="T4" fmla="*/ 2147483647 w 312"/>
                <a:gd name="T5" fmla="*/ 2147483647 h 342"/>
                <a:gd name="T6" fmla="*/ 2147483647 w 312"/>
                <a:gd name="T7" fmla="*/ 2147483647 h 342"/>
                <a:gd name="T8" fmla="*/ 2147483647 w 312"/>
                <a:gd name="T9" fmla="*/ 2147483647 h 342"/>
                <a:gd name="T10" fmla="*/ 2147483647 w 312"/>
                <a:gd name="T11" fmla="*/ 2147483647 h 342"/>
                <a:gd name="T12" fmla="*/ 2147483647 w 312"/>
                <a:gd name="T13" fmla="*/ 2147483647 h 342"/>
                <a:gd name="T14" fmla="*/ 2147483647 w 312"/>
                <a:gd name="T15" fmla="*/ 2147483647 h 342"/>
                <a:gd name="T16" fmla="*/ 2147483647 w 312"/>
                <a:gd name="T17" fmla="*/ 2147483647 h 342"/>
                <a:gd name="T18" fmla="*/ 2147483647 w 312"/>
                <a:gd name="T19" fmla="*/ 2147483647 h 342"/>
                <a:gd name="T20" fmla="*/ 2147483647 w 312"/>
                <a:gd name="T21" fmla="*/ 2147483647 h 342"/>
                <a:gd name="T22" fmla="*/ 2147483647 w 312"/>
                <a:gd name="T23" fmla="*/ 2147483647 h 342"/>
                <a:gd name="T24" fmla="*/ 2147483647 w 312"/>
                <a:gd name="T25" fmla="*/ 2147483647 h 342"/>
                <a:gd name="T26" fmla="*/ 2147483647 w 312"/>
                <a:gd name="T27" fmla="*/ 2147483647 h 342"/>
                <a:gd name="T28" fmla="*/ 2147483647 w 312"/>
                <a:gd name="T29" fmla="*/ 2147483647 h 342"/>
                <a:gd name="T30" fmla="*/ 2147483647 w 312"/>
                <a:gd name="T31" fmla="*/ 2147483647 h 342"/>
                <a:gd name="T32" fmla="*/ 2147483647 w 312"/>
                <a:gd name="T33" fmla="*/ 2147483647 h 342"/>
                <a:gd name="T34" fmla="*/ 2147483647 w 312"/>
                <a:gd name="T35" fmla="*/ 2147483647 h 342"/>
                <a:gd name="T36" fmla="*/ 2147483647 w 312"/>
                <a:gd name="T37" fmla="*/ 2147483647 h 342"/>
                <a:gd name="T38" fmla="*/ 2147483647 w 312"/>
                <a:gd name="T39" fmla="*/ 2147483647 h 342"/>
                <a:gd name="T40" fmla="*/ 2147483647 w 312"/>
                <a:gd name="T41" fmla="*/ 2147483647 h 342"/>
                <a:gd name="T42" fmla="*/ 2147483647 w 312"/>
                <a:gd name="T43" fmla="*/ 2147483647 h 342"/>
                <a:gd name="T44" fmla="*/ 2147483647 w 312"/>
                <a:gd name="T45" fmla="*/ 2147483647 h 342"/>
                <a:gd name="T46" fmla="*/ 2147483647 w 312"/>
                <a:gd name="T47" fmla="*/ 2147483647 h 342"/>
                <a:gd name="T48" fmla="*/ 2147483647 w 312"/>
                <a:gd name="T49" fmla="*/ 2147483647 h 342"/>
                <a:gd name="T50" fmla="*/ 2147483647 w 312"/>
                <a:gd name="T51" fmla="*/ 0 h 342"/>
                <a:gd name="T52" fmla="*/ 2147483647 w 312"/>
                <a:gd name="T53" fmla="*/ 0 h 342"/>
                <a:gd name="T54" fmla="*/ 2147483647 w 312"/>
                <a:gd name="T55" fmla="*/ 2147483647 h 342"/>
                <a:gd name="T56" fmla="*/ 2147483647 w 312"/>
                <a:gd name="T57" fmla="*/ 2147483647 h 342"/>
                <a:gd name="T58" fmla="*/ 2147483647 w 312"/>
                <a:gd name="T59" fmla="*/ 2147483647 h 342"/>
                <a:gd name="T60" fmla="*/ 2147483647 w 312"/>
                <a:gd name="T61" fmla="*/ 2147483647 h 342"/>
                <a:gd name="T62" fmla="*/ 2147483647 w 312"/>
                <a:gd name="T63" fmla="*/ 2147483647 h 342"/>
                <a:gd name="T64" fmla="*/ 2147483647 w 312"/>
                <a:gd name="T65" fmla="*/ 2147483647 h 342"/>
                <a:gd name="T66" fmla="*/ 2147483647 w 312"/>
                <a:gd name="T67" fmla="*/ 2147483647 h 342"/>
                <a:gd name="T68" fmla="*/ 2147483647 w 312"/>
                <a:gd name="T69" fmla="*/ 2147483647 h 342"/>
                <a:gd name="T70" fmla="*/ 2147483647 w 312"/>
                <a:gd name="T71" fmla="*/ 2147483647 h 342"/>
                <a:gd name="T72" fmla="*/ 2147483647 w 312"/>
                <a:gd name="T73" fmla="*/ 2147483647 h 342"/>
                <a:gd name="T74" fmla="*/ 2147483647 w 312"/>
                <a:gd name="T75" fmla="*/ 2147483647 h 342"/>
                <a:gd name="T76" fmla="*/ 2147483647 w 312"/>
                <a:gd name="T77" fmla="*/ 2147483647 h 342"/>
                <a:gd name="T78" fmla="*/ 0 w 312"/>
                <a:gd name="T79" fmla="*/ 2147483647 h 342"/>
                <a:gd name="T80" fmla="*/ 2147483647 w 312"/>
                <a:gd name="T81" fmla="*/ 2147483647 h 342"/>
                <a:gd name="T82" fmla="*/ 2147483647 w 312"/>
                <a:gd name="T83" fmla="*/ 2147483647 h 342"/>
                <a:gd name="T84" fmla="*/ 2147483647 w 312"/>
                <a:gd name="T85" fmla="*/ 2147483647 h 342"/>
                <a:gd name="T86" fmla="*/ 2147483647 w 312"/>
                <a:gd name="T87" fmla="*/ 2147483647 h 342"/>
                <a:gd name="T88" fmla="*/ 2147483647 w 312"/>
                <a:gd name="T89" fmla="*/ 2147483647 h 342"/>
                <a:gd name="T90" fmla="*/ 2147483647 w 312"/>
                <a:gd name="T91" fmla="*/ 2147483647 h 342"/>
                <a:gd name="T92" fmla="*/ 2147483647 w 312"/>
                <a:gd name="T93" fmla="*/ 2147483647 h 342"/>
                <a:gd name="T94" fmla="*/ 2147483647 w 312"/>
                <a:gd name="T95" fmla="*/ 2147483647 h 342"/>
                <a:gd name="T96" fmla="*/ 2147483647 w 312"/>
                <a:gd name="T97" fmla="*/ 2147483647 h 342"/>
                <a:gd name="T98" fmla="*/ 2147483647 w 312"/>
                <a:gd name="T99" fmla="*/ 2147483647 h 342"/>
                <a:gd name="T100" fmla="*/ 2147483647 w 312"/>
                <a:gd name="T101" fmla="*/ 2147483647 h 342"/>
                <a:gd name="T102" fmla="*/ 2147483647 w 312"/>
                <a:gd name="T103" fmla="*/ 2147483647 h 342"/>
                <a:gd name="T104" fmla="*/ 2147483647 w 312"/>
                <a:gd name="T105" fmla="*/ 2147483647 h 342"/>
                <a:gd name="T106" fmla="*/ 2147483647 w 312"/>
                <a:gd name="T107" fmla="*/ 2147483647 h 342"/>
                <a:gd name="T108" fmla="*/ 2147483647 w 312"/>
                <a:gd name="T109" fmla="*/ 2147483647 h 342"/>
                <a:gd name="T110" fmla="*/ 2147483647 w 312"/>
                <a:gd name="T111" fmla="*/ 2147483647 h 342"/>
                <a:gd name="T112" fmla="*/ 2147483647 w 312"/>
                <a:gd name="T113" fmla="*/ 2147483647 h 342"/>
                <a:gd name="T114" fmla="*/ 2147483647 w 312"/>
                <a:gd name="T115" fmla="*/ 2147483647 h 342"/>
                <a:gd name="T116" fmla="*/ 2147483647 w 312"/>
                <a:gd name="T117" fmla="*/ 2147483647 h 342"/>
                <a:gd name="T118" fmla="*/ 2147483647 w 312"/>
                <a:gd name="T119" fmla="*/ 2147483647 h 342"/>
                <a:gd name="T120" fmla="*/ 2147483647 w 312"/>
                <a:gd name="T121" fmla="*/ 2147483647 h 342"/>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312"/>
                <a:gd name="T184" fmla="*/ 0 h 342"/>
                <a:gd name="T185" fmla="*/ 312 w 312"/>
                <a:gd name="T186" fmla="*/ 342 h 342"/>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312" h="342">
                  <a:moveTo>
                    <a:pt x="312" y="252"/>
                  </a:moveTo>
                  <a:lnTo>
                    <a:pt x="312" y="240"/>
                  </a:lnTo>
                  <a:lnTo>
                    <a:pt x="282" y="210"/>
                  </a:lnTo>
                  <a:lnTo>
                    <a:pt x="282" y="180"/>
                  </a:lnTo>
                  <a:lnTo>
                    <a:pt x="246" y="186"/>
                  </a:lnTo>
                  <a:lnTo>
                    <a:pt x="246" y="174"/>
                  </a:lnTo>
                  <a:lnTo>
                    <a:pt x="228" y="174"/>
                  </a:lnTo>
                  <a:lnTo>
                    <a:pt x="222" y="168"/>
                  </a:lnTo>
                  <a:lnTo>
                    <a:pt x="228" y="156"/>
                  </a:lnTo>
                  <a:lnTo>
                    <a:pt x="240" y="150"/>
                  </a:lnTo>
                  <a:lnTo>
                    <a:pt x="246" y="132"/>
                  </a:lnTo>
                  <a:lnTo>
                    <a:pt x="246" y="108"/>
                  </a:lnTo>
                  <a:lnTo>
                    <a:pt x="228" y="72"/>
                  </a:lnTo>
                  <a:lnTo>
                    <a:pt x="222" y="72"/>
                  </a:lnTo>
                  <a:lnTo>
                    <a:pt x="216" y="78"/>
                  </a:lnTo>
                  <a:lnTo>
                    <a:pt x="210" y="90"/>
                  </a:lnTo>
                  <a:lnTo>
                    <a:pt x="210" y="102"/>
                  </a:lnTo>
                  <a:lnTo>
                    <a:pt x="198" y="114"/>
                  </a:lnTo>
                  <a:lnTo>
                    <a:pt x="192" y="114"/>
                  </a:lnTo>
                  <a:lnTo>
                    <a:pt x="180" y="102"/>
                  </a:lnTo>
                  <a:lnTo>
                    <a:pt x="180" y="96"/>
                  </a:lnTo>
                  <a:lnTo>
                    <a:pt x="168" y="96"/>
                  </a:lnTo>
                  <a:lnTo>
                    <a:pt x="168" y="36"/>
                  </a:lnTo>
                  <a:lnTo>
                    <a:pt x="162" y="18"/>
                  </a:lnTo>
                  <a:lnTo>
                    <a:pt x="150" y="6"/>
                  </a:lnTo>
                  <a:lnTo>
                    <a:pt x="138" y="0"/>
                  </a:lnTo>
                  <a:lnTo>
                    <a:pt x="132" y="0"/>
                  </a:lnTo>
                  <a:lnTo>
                    <a:pt x="126" y="6"/>
                  </a:lnTo>
                  <a:lnTo>
                    <a:pt x="126" y="18"/>
                  </a:lnTo>
                  <a:lnTo>
                    <a:pt x="102" y="12"/>
                  </a:lnTo>
                  <a:lnTo>
                    <a:pt x="108" y="36"/>
                  </a:lnTo>
                  <a:lnTo>
                    <a:pt x="84" y="42"/>
                  </a:lnTo>
                  <a:lnTo>
                    <a:pt x="84" y="60"/>
                  </a:lnTo>
                  <a:lnTo>
                    <a:pt x="78" y="72"/>
                  </a:lnTo>
                  <a:lnTo>
                    <a:pt x="66" y="78"/>
                  </a:lnTo>
                  <a:lnTo>
                    <a:pt x="54" y="90"/>
                  </a:lnTo>
                  <a:lnTo>
                    <a:pt x="42" y="96"/>
                  </a:lnTo>
                  <a:lnTo>
                    <a:pt x="24" y="114"/>
                  </a:lnTo>
                  <a:lnTo>
                    <a:pt x="24" y="150"/>
                  </a:lnTo>
                  <a:lnTo>
                    <a:pt x="0" y="126"/>
                  </a:lnTo>
                  <a:lnTo>
                    <a:pt x="36" y="162"/>
                  </a:lnTo>
                  <a:lnTo>
                    <a:pt x="60" y="162"/>
                  </a:lnTo>
                  <a:lnTo>
                    <a:pt x="72" y="192"/>
                  </a:lnTo>
                  <a:lnTo>
                    <a:pt x="102" y="192"/>
                  </a:lnTo>
                  <a:lnTo>
                    <a:pt x="108" y="198"/>
                  </a:lnTo>
                  <a:lnTo>
                    <a:pt x="120" y="222"/>
                  </a:lnTo>
                  <a:lnTo>
                    <a:pt x="132" y="240"/>
                  </a:lnTo>
                  <a:lnTo>
                    <a:pt x="150" y="252"/>
                  </a:lnTo>
                  <a:lnTo>
                    <a:pt x="162" y="270"/>
                  </a:lnTo>
                  <a:lnTo>
                    <a:pt x="180" y="282"/>
                  </a:lnTo>
                  <a:lnTo>
                    <a:pt x="198" y="288"/>
                  </a:lnTo>
                  <a:lnTo>
                    <a:pt x="210" y="294"/>
                  </a:lnTo>
                  <a:lnTo>
                    <a:pt x="228" y="300"/>
                  </a:lnTo>
                  <a:lnTo>
                    <a:pt x="258" y="330"/>
                  </a:lnTo>
                  <a:lnTo>
                    <a:pt x="294" y="342"/>
                  </a:lnTo>
                  <a:lnTo>
                    <a:pt x="300" y="342"/>
                  </a:lnTo>
                  <a:lnTo>
                    <a:pt x="300" y="294"/>
                  </a:lnTo>
                  <a:lnTo>
                    <a:pt x="306" y="288"/>
                  </a:lnTo>
                  <a:lnTo>
                    <a:pt x="306" y="276"/>
                  </a:lnTo>
                  <a:lnTo>
                    <a:pt x="312" y="264"/>
                  </a:lnTo>
                  <a:lnTo>
                    <a:pt x="312" y="252"/>
                  </a:lnTo>
                  <a:close/>
                </a:path>
              </a:pathLst>
            </a:custGeom>
            <a:grpFill/>
            <a:ln w="3175">
              <a:solidFill>
                <a:schemeClr val="bg1"/>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de-DE" sz="1800" b="0" i="0" u="none" strike="noStrike" kern="1200" cap="none" spc="0" normalizeH="0" baseline="0" noProof="0">
                <a:ln>
                  <a:noFill/>
                </a:ln>
                <a:solidFill>
                  <a:srgbClr val="FFC000"/>
                </a:solidFill>
                <a:effectLst/>
                <a:uLnTx/>
                <a:uFillTx/>
                <a:latin typeface="Calibri" pitchFamily="34" charset="0"/>
                <a:ea typeface="+mn-ea"/>
                <a:cs typeface="+mn-cs"/>
              </a:endParaRPr>
            </a:p>
          </p:txBody>
        </p:sp>
        <p:sp>
          <p:nvSpPr>
            <p:cNvPr id="102" name="Lesotho" descr="© INSCALE GmbH, 05.05.2010&#10;http://www.presentationload.com/"/>
            <p:cNvSpPr>
              <a:spLocks/>
            </p:cNvSpPr>
            <p:nvPr/>
          </p:nvSpPr>
          <p:spPr bwMode="gray">
            <a:xfrm>
              <a:off x="5074944" y="5021521"/>
              <a:ext cx="55033" cy="50216"/>
            </a:xfrm>
            <a:custGeom>
              <a:avLst/>
              <a:gdLst>
                <a:gd name="T0" fmla="*/ 0 w 168"/>
                <a:gd name="T1" fmla="*/ 2147483647 h 162"/>
                <a:gd name="T2" fmla="*/ 2147483647 w 168"/>
                <a:gd name="T3" fmla="*/ 2147483647 h 162"/>
                <a:gd name="T4" fmla="*/ 2147483647 w 168"/>
                <a:gd name="T5" fmla="*/ 2147483647 h 162"/>
                <a:gd name="T6" fmla="*/ 2147483647 w 168"/>
                <a:gd name="T7" fmla="*/ 2147483647 h 162"/>
                <a:gd name="T8" fmla="*/ 2147483647 w 168"/>
                <a:gd name="T9" fmla="*/ 2147483647 h 162"/>
                <a:gd name="T10" fmla="*/ 2147483647 w 168"/>
                <a:gd name="T11" fmla="*/ 2147483647 h 162"/>
                <a:gd name="T12" fmla="*/ 2147483647 w 168"/>
                <a:gd name="T13" fmla="*/ 2147483647 h 162"/>
                <a:gd name="T14" fmla="*/ 2147483647 w 168"/>
                <a:gd name="T15" fmla="*/ 2147483647 h 162"/>
                <a:gd name="T16" fmla="*/ 2147483647 w 168"/>
                <a:gd name="T17" fmla="*/ 2147483647 h 162"/>
                <a:gd name="T18" fmla="*/ 2147483647 w 168"/>
                <a:gd name="T19" fmla="*/ 2147483647 h 162"/>
                <a:gd name="T20" fmla="*/ 2147483647 w 168"/>
                <a:gd name="T21" fmla="*/ 2147483647 h 162"/>
                <a:gd name="T22" fmla="*/ 2147483647 w 168"/>
                <a:gd name="T23" fmla="*/ 2147483647 h 162"/>
                <a:gd name="T24" fmla="*/ 2147483647 w 168"/>
                <a:gd name="T25" fmla="*/ 2147483647 h 162"/>
                <a:gd name="T26" fmla="*/ 2147483647 w 168"/>
                <a:gd name="T27" fmla="*/ 2147483647 h 162"/>
                <a:gd name="T28" fmla="*/ 2147483647 w 168"/>
                <a:gd name="T29" fmla="*/ 2147483647 h 162"/>
                <a:gd name="T30" fmla="*/ 2147483647 w 168"/>
                <a:gd name="T31" fmla="*/ 2147483647 h 162"/>
                <a:gd name="T32" fmla="*/ 2147483647 w 168"/>
                <a:gd name="T33" fmla="*/ 2147483647 h 162"/>
                <a:gd name="T34" fmla="*/ 2147483647 w 168"/>
                <a:gd name="T35" fmla="*/ 2147483647 h 162"/>
                <a:gd name="T36" fmla="*/ 2147483647 w 168"/>
                <a:gd name="T37" fmla="*/ 2147483647 h 162"/>
                <a:gd name="T38" fmla="*/ 2147483647 w 168"/>
                <a:gd name="T39" fmla="*/ 2147483647 h 162"/>
                <a:gd name="T40" fmla="*/ 2147483647 w 168"/>
                <a:gd name="T41" fmla="*/ 2147483647 h 162"/>
                <a:gd name="T42" fmla="*/ 2147483647 w 168"/>
                <a:gd name="T43" fmla="*/ 0 h 162"/>
                <a:gd name="T44" fmla="*/ 2147483647 w 168"/>
                <a:gd name="T45" fmla="*/ 0 h 162"/>
                <a:gd name="T46" fmla="*/ 2147483647 w 168"/>
                <a:gd name="T47" fmla="*/ 2147483647 h 162"/>
                <a:gd name="T48" fmla="*/ 2147483647 w 168"/>
                <a:gd name="T49" fmla="*/ 2147483647 h 162"/>
                <a:gd name="T50" fmla="*/ 2147483647 w 168"/>
                <a:gd name="T51" fmla="*/ 2147483647 h 162"/>
                <a:gd name="T52" fmla="*/ 2147483647 w 168"/>
                <a:gd name="T53" fmla="*/ 2147483647 h 162"/>
                <a:gd name="T54" fmla="*/ 2147483647 w 168"/>
                <a:gd name="T55" fmla="*/ 2147483647 h 162"/>
                <a:gd name="T56" fmla="*/ 2147483647 w 168"/>
                <a:gd name="T57" fmla="*/ 2147483647 h 162"/>
                <a:gd name="T58" fmla="*/ 2147483647 w 168"/>
                <a:gd name="T59" fmla="*/ 2147483647 h 162"/>
                <a:gd name="T60" fmla="*/ 0 w 168"/>
                <a:gd name="T61" fmla="*/ 2147483647 h 162"/>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168"/>
                <a:gd name="T94" fmla="*/ 0 h 162"/>
                <a:gd name="T95" fmla="*/ 168 w 168"/>
                <a:gd name="T96" fmla="*/ 162 h 162"/>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168" h="162">
                  <a:moveTo>
                    <a:pt x="0" y="78"/>
                  </a:moveTo>
                  <a:lnTo>
                    <a:pt x="24" y="114"/>
                  </a:lnTo>
                  <a:lnTo>
                    <a:pt x="24" y="132"/>
                  </a:lnTo>
                  <a:lnTo>
                    <a:pt x="54" y="162"/>
                  </a:lnTo>
                  <a:lnTo>
                    <a:pt x="72" y="162"/>
                  </a:lnTo>
                  <a:lnTo>
                    <a:pt x="72" y="150"/>
                  </a:lnTo>
                  <a:lnTo>
                    <a:pt x="78" y="144"/>
                  </a:lnTo>
                  <a:lnTo>
                    <a:pt x="84" y="132"/>
                  </a:lnTo>
                  <a:lnTo>
                    <a:pt x="90" y="126"/>
                  </a:lnTo>
                  <a:lnTo>
                    <a:pt x="102" y="120"/>
                  </a:lnTo>
                  <a:lnTo>
                    <a:pt x="120" y="120"/>
                  </a:lnTo>
                  <a:lnTo>
                    <a:pt x="132" y="114"/>
                  </a:lnTo>
                  <a:lnTo>
                    <a:pt x="138" y="108"/>
                  </a:lnTo>
                  <a:lnTo>
                    <a:pt x="150" y="102"/>
                  </a:lnTo>
                  <a:lnTo>
                    <a:pt x="144" y="84"/>
                  </a:lnTo>
                  <a:lnTo>
                    <a:pt x="168" y="66"/>
                  </a:lnTo>
                  <a:lnTo>
                    <a:pt x="162" y="42"/>
                  </a:lnTo>
                  <a:lnTo>
                    <a:pt x="150" y="36"/>
                  </a:lnTo>
                  <a:lnTo>
                    <a:pt x="144" y="24"/>
                  </a:lnTo>
                  <a:lnTo>
                    <a:pt x="138" y="18"/>
                  </a:lnTo>
                  <a:lnTo>
                    <a:pt x="132" y="6"/>
                  </a:lnTo>
                  <a:lnTo>
                    <a:pt x="126" y="0"/>
                  </a:lnTo>
                  <a:lnTo>
                    <a:pt x="90" y="0"/>
                  </a:lnTo>
                  <a:lnTo>
                    <a:pt x="78" y="6"/>
                  </a:lnTo>
                  <a:lnTo>
                    <a:pt x="78" y="18"/>
                  </a:lnTo>
                  <a:lnTo>
                    <a:pt x="54" y="18"/>
                  </a:lnTo>
                  <a:lnTo>
                    <a:pt x="48" y="24"/>
                  </a:lnTo>
                  <a:lnTo>
                    <a:pt x="48" y="42"/>
                  </a:lnTo>
                  <a:lnTo>
                    <a:pt x="30" y="60"/>
                  </a:lnTo>
                  <a:lnTo>
                    <a:pt x="24" y="78"/>
                  </a:lnTo>
                  <a:lnTo>
                    <a:pt x="0" y="78"/>
                  </a:lnTo>
                  <a:close/>
                </a:path>
              </a:pathLst>
            </a:custGeom>
            <a:grpFill/>
            <a:ln w="3175">
              <a:solidFill>
                <a:schemeClr val="bg1"/>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de-DE" sz="1800" b="0" i="0" u="none" strike="noStrike" kern="1200" cap="none" spc="0" normalizeH="0" baseline="0" noProof="0">
                <a:ln>
                  <a:noFill/>
                </a:ln>
                <a:solidFill>
                  <a:srgbClr val="FFC000"/>
                </a:solidFill>
                <a:effectLst/>
                <a:uLnTx/>
                <a:uFillTx/>
                <a:latin typeface="Calibri" pitchFamily="34" charset="0"/>
                <a:ea typeface="+mn-ea"/>
                <a:cs typeface="+mn-cs"/>
              </a:endParaRPr>
            </a:p>
          </p:txBody>
        </p:sp>
        <p:sp>
          <p:nvSpPr>
            <p:cNvPr id="103" name="Lebanon" descr="© INSCALE GmbH, 05.05.2010&#10;http://www.presentationload.com/"/>
            <p:cNvSpPr>
              <a:spLocks/>
            </p:cNvSpPr>
            <p:nvPr/>
          </p:nvSpPr>
          <p:spPr bwMode="gray">
            <a:xfrm>
              <a:off x="5242603" y="3437869"/>
              <a:ext cx="35835" cy="47766"/>
            </a:xfrm>
            <a:custGeom>
              <a:avLst/>
              <a:gdLst>
                <a:gd name="T0" fmla="*/ 2147483647 w 108"/>
                <a:gd name="T1" fmla="*/ 2147483647 h 156"/>
                <a:gd name="T2" fmla="*/ 2147483647 w 108"/>
                <a:gd name="T3" fmla="*/ 2147483647 h 156"/>
                <a:gd name="T4" fmla="*/ 2147483647 w 108"/>
                <a:gd name="T5" fmla="*/ 2147483647 h 156"/>
                <a:gd name="T6" fmla="*/ 2147483647 w 108"/>
                <a:gd name="T7" fmla="*/ 2147483647 h 156"/>
                <a:gd name="T8" fmla="*/ 2147483647 w 108"/>
                <a:gd name="T9" fmla="*/ 2147483647 h 156"/>
                <a:gd name="T10" fmla="*/ 2147483647 w 108"/>
                <a:gd name="T11" fmla="*/ 2147483647 h 156"/>
                <a:gd name="T12" fmla="*/ 2147483647 w 108"/>
                <a:gd name="T13" fmla="*/ 2147483647 h 156"/>
                <a:gd name="T14" fmla="*/ 2147483647 w 108"/>
                <a:gd name="T15" fmla="*/ 2147483647 h 156"/>
                <a:gd name="T16" fmla="*/ 2147483647 w 108"/>
                <a:gd name="T17" fmla="*/ 2147483647 h 156"/>
                <a:gd name="T18" fmla="*/ 2147483647 w 108"/>
                <a:gd name="T19" fmla="*/ 2147483647 h 156"/>
                <a:gd name="T20" fmla="*/ 2147483647 w 108"/>
                <a:gd name="T21" fmla="*/ 0 h 156"/>
                <a:gd name="T22" fmla="*/ 2147483647 w 108"/>
                <a:gd name="T23" fmla="*/ 0 h 156"/>
                <a:gd name="T24" fmla="*/ 2147483647 w 108"/>
                <a:gd name="T25" fmla="*/ 0 h 156"/>
                <a:gd name="T26" fmla="*/ 2147483647 w 108"/>
                <a:gd name="T27" fmla="*/ 2147483647 h 156"/>
                <a:gd name="T28" fmla="*/ 2147483647 w 108"/>
                <a:gd name="T29" fmla="*/ 2147483647 h 156"/>
                <a:gd name="T30" fmla="*/ 2147483647 w 108"/>
                <a:gd name="T31" fmla="*/ 2147483647 h 156"/>
                <a:gd name="T32" fmla="*/ 2147483647 w 108"/>
                <a:gd name="T33" fmla="*/ 2147483647 h 156"/>
                <a:gd name="T34" fmla="*/ 2147483647 w 108"/>
                <a:gd name="T35" fmla="*/ 2147483647 h 156"/>
                <a:gd name="T36" fmla="*/ 2147483647 w 108"/>
                <a:gd name="T37" fmla="*/ 2147483647 h 156"/>
                <a:gd name="T38" fmla="*/ 2147483647 w 108"/>
                <a:gd name="T39" fmla="*/ 2147483647 h 156"/>
                <a:gd name="T40" fmla="*/ 2147483647 w 108"/>
                <a:gd name="T41" fmla="*/ 2147483647 h 156"/>
                <a:gd name="T42" fmla="*/ 0 w 108"/>
                <a:gd name="T43" fmla="*/ 2147483647 h 156"/>
                <a:gd name="T44" fmla="*/ 0 w 108"/>
                <a:gd name="T45" fmla="*/ 2147483647 h 156"/>
                <a:gd name="T46" fmla="*/ 2147483647 w 108"/>
                <a:gd name="T47" fmla="*/ 2147483647 h 156"/>
                <a:gd name="T48" fmla="*/ 2147483647 w 108"/>
                <a:gd name="T49" fmla="*/ 2147483647 h 156"/>
                <a:gd name="T50" fmla="*/ 2147483647 w 108"/>
                <a:gd name="T51" fmla="*/ 2147483647 h 156"/>
                <a:gd name="T52" fmla="*/ 2147483647 w 108"/>
                <a:gd name="T53" fmla="*/ 2147483647 h 156"/>
                <a:gd name="T54" fmla="*/ 2147483647 w 108"/>
                <a:gd name="T55" fmla="*/ 2147483647 h 156"/>
                <a:gd name="T56" fmla="*/ 2147483647 w 108"/>
                <a:gd name="T57" fmla="*/ 2147483647 h 156"/>
                <a:gd name="T58" fmla="*/ 2147483647 w 108"/>
                <a:gd name="T59" fmla="*/ 2147483647 h 156"/>
                <a:gd name="T60" fmla="*/ 2147483647 w 108"/>
                <a:gd name="T61" fmla="*/ 2147483647 h 15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108"/>
                <a:gd name="T94" fmla="*/ 0 h 156"/>
                <a:gd name="T95" fmla="*/ 108 w 108"/>
                <a:gd name="T96" fmla="*/ 156 h 15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108" h="156">
                  <a:moveTo>
                    <a:pt x="72" y="96"/>
                  </a:moveTo>
                  <a:lnTo>
                    <a:pt x="72" y="72"/>
                  </a:lnTo>
                  <a:lnTo>
                    <a:pt x="78" y="66"/>
                  </a:lnTo>
                  <a:lnTo>
                    <a:pt x="84" y="66"/>
                  </a:lnTo>
                  <a:lnTo>
                    <a:pt x="96" y="60"/>
                  </a:lnTo>
                  <a:lnTo>
                    <a:pt x="102" y="60"/>
                  </a:lnTo>
                  <a:lnTo>
                    <a:pt x="108" y="48"/>
                  </a:lnTo>
                  <a:lnTo>
                    <a:pt x="108" y="30"/>
                  </a:lnTo>
                  <a:lnTo>
                    <a:pt x="102" y="18"/>
                  </a:lnTo>
                  <a:lnTo>
                    <a:pt x="96" y="12"/>
                  </a:lnTo>
                  <a:lnTo>
                    <a:pt x="102" y="0"/>
                  </a:lnTo>
                  <a:lnTo>
                    <a:pt x="54" y="0"/>
                  </a:lnTo>
                  <a:lnTo>
                    <a:pt x="60" y="0"/>
                  </a:lnTo>
                  <a:lnTo>
                    <a:pt x="60" y="6"/>
                  </a:lnTo>
                  <a:lnTo>
                    <a:pt x="54" y="6"/>
                  </a:lnTo>
                  <a:lnTo>
                    <a:pt x="48" y="18"/>
                  </a:lnTo>
                  <a:lnTo>
                    <a:pt x="36" y="24"/>
                  </a:lnTo>
                  <a:lnTo>
                    <a:pt x="30" y="30"/>
                  </a:lnTo>
                  <a:lnTo>
                    <a:pt x="18" y="66"/>
                  </a:lnTo>
                  <a:lnTo>
                    <a:pt x="12" y="78"/>
                  </a:lnTo>
                  <a:lnTo>
                    <a:pt x="12" y="90"/>
                  </a:lnTo>
                  <a:lnTo>
                    <a:pt x="0" y="114"/>
                  </a:lnTo>
                  <a:lnTo>
                    <a:pt x="0" y="156"/>
                  </a:lnTo>
                  <a:lnTo>
                    <a:pt x="12" y="150"/>
                  </a:lnTo>
                  <a:lnTo>
                    <a:pt x="24" y="126"/>
                  </a:lnTo>
                  <a:lnTo>
                    <a:pt x="30" y="132"/>
                  </a:lnTo>
                  <a:lnTo>
                    <a:pt x="36" y="132"/>
                  </a:lnTo>
                  <a:lnTo>
                    <a:pt x="42" y="126"/>
                  </a:lnTo>
                  <a:lnTo>
                    <a:pt x="48" y="114"/>
                  </a:lnTo>
                  <a:lnTo>
                    <a:pt x="48" y="102"/>
                  </a:lnTo>
                  <a:lnTo>
                    <a:pt x="72" y="96"/>
                  </a:lnTo>
                  <a:close/>
                </a:path>
              </a:pathLst>
            </a:custGeom>
            <a:grpFill/>
            <a:ln w="3175">
              <a:solidFill>
                <a:schemeClr val="bg1"/>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de-DE" sz="1800" b="0" i="0" u="none" strike="noStrike" kern="1200" cap="none" spc="0" normalizeH="0" baseline="0" noProof="0">
                <a:ln>
                  <a:noFill/>
                </a:ln>
                <a:solidFill>
                  <a:srgbClr val="FFC000"/>
                </a:solidFill>
                <a:effectLst/>
                <a:uLnTx/>
                <a:uFillTx/>
                <a:latin typeface="Calibri" pitchFamily="34" charset="0"/>
                <a:ea typeface="+mn-ea"/>
                <a:cs typeface="+mn-cs"/>
              </a:endParaRPr>
            </a:p>
          </p:txBody>
        </p:sp>
        <p:sp>
          <p:nvSpPr>
            <p:cNvPr id="104" name="Latvia" descr="© INSCALE GmbH, 05.05.2010&#10;http://www.presentationload.com/"/>
            <p:cNvSpPr>
              <a:spLocks/>
            </p:cNvSpPr>
            <p:nvPr/>
          </p:nvSpPr>
          <p:spPr bwMode="gray">
            <a:xfrm>
              <a:off x="4907285" y="2864667"/>
              <a:ext cx="138223" cy="56340"/>
            </a:xfrm>
            <a:custGeom>
              <a:avLst/>
              <a:gdLst>
                <a:gd name="T0" fmla="*/ 2147483647 w 426"/>
                <a:gd name="T1" fmla="*/ 2147483647 h 180"/>
                <a:gd name="T2" fmla="*/ 2147483647 w 426"/>
                <a:gd name="T3" fmla="*/ 2147483647 h 180"/>
                <a:gd name="T4" fmla="*/ 2147483647 w 426"/>
                <a:gd name="T5" fmla="*/ 2147483647 h 180"/>
                <a:gd name="T6" fmla="*/ 2147483647 w 426"/>
                <a:gd name="T7" fmla="*/ 2147483647 h 180"/>
                <a:gd name="T8" fmla="*/ 2147483647 w 426"/>
                <a:gd name="T9" fmla="*/ 2147483647 h 180"/>
                <a:gd name="T10" fmla="*/ 2147483647 w 426"/>
                <a:gd name="T11" fmla="*/ 2147483647 h 180"/>
                <a:gd name="T12" fmla="*/ 2147483647 w 426"/>
                <a:gd name="T13" fmla="*/ 2147483647 h 180"/>
                <a:gd name="T14" fmla="*/ 2147483647 w 426"/>
                <a:gd name="T15" fmla="*/ 2147483647 h 180"/>
                <a:gd name="T16" fmla="*/ 2147483647 w 426"/>
                <a:gd name="T17" fmla="*/ 2147483647 h 180"/>
                <a:gd name="T18" fmla="*/ 2147483647 w 426"/>
                <a:gd name="T19" fmla="*/ 2147483647 h 180"/>
                <a:gd name="T20" fmla="*/ 2147483647 w 426"/>
                <a:gd name="T21" fmla="*/ 2147483647 h 180"/>
                <a:gd name="T22" fmla="*/ 2147483647 w 426"/>
                <a:gd name="T23" fmla="*/ 2147483647 h 180"/>
                <a:gd name="T24" fmla="*/ 2147483647 w 426"/>
                <a:gd name="T25" fmla="*/ 2147483647 h 180"/>
                <a:gd name="T26" fmla="*/ 2147483647 w 426"/>
                <a:gd name="T27" fmla="*/ 2147483647 h 180"/>
                <a:gd name="T28" fmla="*/ 2147483647 w 426"/>
                <a:gd name="T29" fmla="*/ 2147483647 h 180"/>
                <a:gd name="T30" fmla="*/ 2147483647 w 426"/>
                <a:gd name="T31" fmla="*/ 2147483647 h 180"/>
                <a:gd name="T32" fmla="*/ 2147483647 w 426"/>
                <a:gd name="T33" fmla="*/ 2147483647 h 180"/>
                <a:gd name="T34" fmla="*/ 2147483647 w 426"/>
                <a:gd name="T35" fmla="*/ 2147483647 h 180"/>
                <a:gd name="T36" fmla="*/ 2147483647 w 426"/>
                <a:gd name="T37" fmla="*/ 2147483647 h 180"/>
                <a:gd name="T38" fmla="*/ 2147483647 w 426"/>
                <a:gd name="T39" fmla="*/ 2147483647 h 180"/>
                <a:gd name="T40" fmla="*/ 2147483647 w 426"/>
                <a:gd name="T41" fmla="*/ 2147483647 h 180"/>
                <a:gd name="T42" fmla="*/ 2147483647 w 426"/>
                <a:gd name="T43" fmla="*/ 2147483647 h 180"/>
                <a:gd name="T44" fmla="*/ 2147483647 w 426"/>
                <a:gd name="T45" fmla="*/ 2147483647 h 180"/>
                <a:gd name="T46" fmla="*/ 2147483647 w 426"/>
                <a:gd name="T47" fmla="*/ 2147483647 h 180"/>
                <a:gd name="T48" fmla="*/ 2147483647 w 426"/>
                <a:gd name="T49" fmla="*/ 2147483647 h 180"/>
                <a:gd name="T50" fmla="*/ 2147483647 w 426"/>
                <a:gd name="T51" fmla="*/ 2147483647 h 180"/>
                <a:gd name="T52" fmla="*/ 2147483647 w 426"/>
                <a:gd name="T53" fmla="*/ 2147483647 h 180"/>
                <a:gd name="T54" fmla="*/ 2147483647 w 426"/>
                <a:gd name="T55" fmla="*/ 2147483647 h 180"/>
                <a:gd name="T56" fmla="*/ 2147483647 w 426"/>
                <a:gd name="T57" fmla="*/ 2147483647 h 180"/>
                <a:gd name="T58" fmla="*/ 2147483647 w 426"/>
                <a:gd name="T59" fmla="*/ 2147483647 h 180"/>
                <a:gd name="T60" fmla="*/ 2147483647 w 426"/>
                <a:gd name="T61" fmla="*/ 0 h 180"/>
                <a:gd name="T62" fmla="*/ 2147483647 w 426"/>
                <a:gd name="T63" fmla="*/ 2147483647 h 180"/>
                <a:gd name="T64" fmla="*/ 2147483647 w 426"/>
                <a:gd name="T65" fmla="*/ 2147483647 h 180"/>
                <a:gd name="T66" fmla="*/ 2147483647 w 426"/>
                <a:gd name="T67" fmla="*/ 2147483647 h 180"/>
                <a:gd name="T68" fmla="*/ 2147483647 w 426"/>
                <a:gd name="T69" fmla="*/ 2147483647 h 180"/>
                <a:gd name="T70" fmla="*/ 2147483647 w 426"/>
                <a:gd name="T71" fmla="*/ 2147483647 h 180"/>
                <a:gd name="T72" fmla="*/ 2147483647 w 426"/>
                <a:gd name="T73" fmla="*/ 2147483647 h 180"/>
                <a:gd name="T74" fmla="*/ 2147483647 w 426"/>
                <a:gd name="T75" fmla="*/ 2147483647 h 180"/>
                <a:gd name="T76" fmla="*/ 2147483647 w 426"/>
                <a:gd name="T77" fmla="*/ 2147483647 h 180"/>
                <a:gd name="T78" fmla="*/ 2147483647 w 426"/>
                <a:gd name="T79" fmla="*/ 2147483647 h 180"/>
                <a:gd name="T80" fmla="*/ 2147483647 w 426"/>
                <a:gd name="T81" fmla="*/ 2147483647 h 180"/>
                <a:gd name="T82" fmla="*/ 2147483647 w 426"/>
                <a:gd name="T83" fmla="*/ 2147483647 h 180"/>
                <a:gd name="T84" fmla="*/ 0 w 426"/>
                <a:gd name="T85" fmla="*/ 2147483647 h 180"/>
                <a:gd name="T86" fmla="*/ 2147483647 w 426"/>
                <a:gd name="T87" fmla="*/ 2147483647 h 180"/>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426"/>
                <a:gd name="T133" fmla="*/ 0 h 180"/>
                <a:gd name="T134" fmla="*/ 426 w 426"/>
                <a:gd name="T135" fmla="*/ 180 h 180"/>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426" h="180">
                  <a:moveTo>
                    <a:pt x="6" y="144"/>
                  </a:moveTo>
                  <a:lnTo>
                    <a:pt x="6" y="138"/>
                  </a:lnTo>
                  <a:lnTo>
                    <a:pt x="12" y="138"/>
                  </a:lnTo>
                  <a:lnTo>
                    <a:pt x="24" y="132"/>
                  </a:lnTo>
                  <a:lnTo>
                    <a:pt x="66" y="132"/>
                  </a:lnTo>
                  <a:lnTo>
                    <a:pt x="78" y="120"/>
                  </a:lnTo>
                  <a:lnTo>
                    <a:pt x="96" y="120"/>
                  </a:lnTo>
                  <a:lnTo>
                    <a:pt x="102" y="126"/>
                  </a:lnTo>
                  <a:lnTo>
                    <a:pt x="108" y="126"/>
                  </a:lnTo>
                  <a:lnTo>
                    <a:pt x="114" y="132"/>
                  </a:lnTo>
                  <a:lnTo>
                    <a:pt x="120" y="132"/>
                  </a:lnTo>
                  <a:lnTo>
                    <a:pt x="126" y="126"/>
                  </a:lnTo>
                  <a:lnTo>
                    <a:pt x="132" y="126"/>
                  </a:lnTo>
                  <a:lnTo>
                    <a:pt x="144" y="132"/>
                  </a:lnTo>
                  <a:lnTo>
                    <a:pt x="150" y="132"/>
                  </a:lnTo>
                  <a:lnTo>
                    <a:pt x="156" y="138"/>
                  </a:lnTo>
                  <a:lnTo>
                    <a:pt x="162" y="138"/>
                  </a:lnTo>
                  <a:lnTo>
                    <a:pt x="168" y="132"/>
                  </a:lnTo>
                  <a:lnTo>
                    <a:pt x="180" y="132"/>
                  </a:lnTo>
                  <a:lnTo>
                    <a:pt x="186" y="138"/>
                  </a:lnTo>
                  <a:lnTo>
                    <a:pt x="204" y="138"/>
                  </a:lnTo>
                  <a:lnTo>
                    <a:pt x="216" y="126"/>
                  </a:lnTo>
                  <a:lnTo>
                    <a:pt x="228" y="126"/>
                  </a:lnTo>
                  <a:lnTo>
                    <a:pt x="234" y="132"/>
                  </a:lnTo>
                  <a:lnTo>
                    <a:pt x="240" y="144"/>
                  </a:lnTo>
                  <a:lnTo>
                    <a:pt x="270" y="144"/>
                  </a:lnTo>
                  <a:lnTo>
                    <a:pt x="282" y="150"/>
                  </a:lnTo>
                  <a:lnTo>
                    <a:pt x="288" y="150"/>
                  </a:lnTo>
                  <a:lnTo>
                    <a:pt x="300" y="162"/>
                  </a:lnTo>
                  <a:lnTo>
                    <a:pt x="318" y="174"/>
                  </a:lnTo>
                  <a:lnTo>
                    <a:pt x="336" y="180"/>
                  </a:lnTo>
                  <a:lnTo>
                    <a:pt x="360" y="168"/>
                  </a:lnTo>
                  <a:lnTo>
                    <a:pt x="378" y="168"/>
                  </a:lnTo>
                  <a:lnTo>
                    <a:pt x="384" y="174"/>
                  </a:lnTo>
                  <a:lnTo>
                    <a:pt x="390" y="168"/>
                  </a:lnTo>
                  <a:lnTo>
                    <a:pt x="396" y="168"/>
                  </a:lnTo>
                  <a:lnTo>
                    <a:pt x="402" y="162"/>
                  </a:lnTo>
                  <a:lnTo>
                    <a:pt x="408" y="150"/>
                  </a:lnTo>
                  <a:lnTo>
                    <a:pt x="414" y="144"/>
                  </a:lnTo>
                  <a:lnTo>
                    <a:pt x="420" y="150"/>
                  </a:lnTo>
                  <a:lnTo>
                    <a:pt x="426" y="150"/>
                  </a:lnTo>
                  <a:lnTo>
                    <a:pt x="426" y="126"/>
                  </a:lnTo>
                  <a:lnTo>
                    <a:pt x="414" y="114"/>
                  </a:lnTo>
                  <a:lnTo>
                    <a:pt x="408" y="102"/>
                  </a:lnTo>
                  <a:lnTo>
                    <a:pt x="402" y="96"/>
                  </a:lnTo>
                  <a:lnTo>
                    <a:pt x="378" y="90"/>
                  </a:lnTo>
                  <a:lnTo>
                    <a:pt x="384" y="72"/>
                  </a:lnTo>
                  <a:lnTo>
                    <a:pt x="402" y="72"/>
                  </a:lnTo>
                  <a:lnTo>
                    <a:pt x="402" y="66"/>
                  </a:lnTo>
                  <a:lnTo>
                    <a:pt x="396" y="60"/>
                  </a:lnTo>
                  <a:lnTo>
                    <a:pt x="384" y="54"/>
                  </a:lnTo>
                  <a:lnTo>
                    <a:pt x="372" y="42"/>
                  </a:lnTo>
                  <a:lnTo>
                    <a:pt x="354" y="42"/>
                  </a:lnTo>
                  <a:lnTo>
                    <a:pt x="348" y="36"/>
                  </a:lnTo>
                  <a:lnTo>
                    <a:pt x="330" y="36"/>
                  </a:lnTo>
                  <a:lnTo>
                    <a:pt x="324" y="42"/>
                  </a:lnTo>
                  <a:lnTo>
                    <a:pt x="306" y="42"/>
                  </a:lnTo>
                  <a:lnTo>
                    <a:pt x="288" y="24"/>
                  </a:lnTo>
                  <a:lnTo>
                    <a:pt x="276" y="18"/>
                  </a:lnTo>
                  <a:lnTo>
                    <a:pt x="270" y="12"/>
                  </a:lnTo>
                  <a:lnTo>
                    <a:pt x="246" y="0"/>
                  </a:lnTo>
                  <a:lnTo>
                    <a:pt x="216" y="0"/>
                  </a:lnTo>
                  <a:lnTo>
                    <a:pt x="186" y="12"/>
                  </a:lnTo>
                  <a:lnTo>
                    <a:pt x="174" y="12"/>
                  </a:lnTo>
                  <a:lnTo>
                    <a:pt x="180" y="24"/>
                  </a:lnTo>
                  <a:lnTo>
                    <a:pt x="180" y="30"/>
                  </a:lnTo>
                  <a:lnTo>
                    <a:pt x="186" y="42"/>
                  </a:lnTo>
                  <a:lnTo>
                    <a:pt x="186" y="60"/>
                  </a:lnTo>
                  <a:lnTo>
                    <a:pt x="192" y="66"/>
                  </a:lnTo>
                  <a:lnTo>
                    <a:pt x="186" y="78"/>
                  </a:lnTo>
                  <a:lnTo>
                    <a:pt x="156" y="78"/>
                  </a:lnTo>
                  <a:lnTo>
                    <a:pt x="138" y="72"/>
                  </a:lnTo>
                  <a:lnTo>
                    <a:pt x="126" y="72"/>
                  </a:lnTo>
                  <a:lnTo>
                    <a:pt x="114" y="54"/>
                  </a:lnTo>
                  <a:lnTo>
                    <a:pt x="84" y="24"/>
                  </a:lnTo>
                  <a:lnTo>
                    <a:pt x="72" y="24"/>
                  </a:lnTo>
                  <a:lnTo>
                    <a:pt x="60" y="30"/>
                  </a:lnTo>
                  <a:lnTo>
                    <a:pt x="48" y="30"/>
                  </a:lnTo>
                  <a:lnTo>
                    <a:pt x="36" y="36"/>
                  </a:lnTo>
                  <a:lnTo>
                    <a:pt x="30" y="42"/>
                  </a:lnTo>
                  <a:lnTo>
                    <a:pt x="24" y="54"/>
                  </a:lnTo>
                  <a:lnTo>
                    <a:pt x="24" y="66"/>
                  </a:lnTo>
                  <a:lnTo>
                    <a:pt x="18" y="78"/>
                  </a:lnTo>
                  <a:lnTo>
                    <a:pt x="6" y="84"/>
                  </a:lnTo>
                  <a:lnTo>
                    <a:pt x="0" y="96"/>
                  </a:lnTo>
                  <a:lnTo>
                    <a:pt x="0" y="120"/>
                  </a:lnTo>
                  <a:lnTo>
                    <a:pt x="6" y="132"/>
                  </a:lnTo>
                  <a:lnTo>
                    <a:pt x="6" y="150"/>
                  </a:lnTo>
                  <a:lnTo>
                    <a:pt x="6" y="144"/>
                  </a:lnTo>
                  <a:close/>
                </a:path>
              </a:pathLst>
            </a:custGeom>
            <a:grpFill/>
            <a:ln w="3175">
              <a:solidFill>
                <a:schemeClr val="bg1"/>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de-DE" sz="1800" b="0" i="0" u="none" strike="noStrike" kern="1200" cap="none" spc="0" normalizeH="0" baseline="0" noProof="0">
                <a:ln>
                  <a:noFill/>
                </a:ln>
                <a:solidFill>
                  <a:srgbClr val="FFC000"/>
                </a:solidFill>
                <a:effectLst/>
                <a:uLnTx/>
                <a:uFillTx/>
                <a:latin typeface="Calibri" pitchFamily="34" charset="0"/>
                <a:ea typeface="+mn-ea"/>
                <a:cs typeface="+mn-cs"/>
              </a:endParaRPr>
            </a:p>
          </p:txBody>
        </p:sp>
        <p:sp>
          <p:nvSpPr>
            <p:cNvPr id="105" name="Laos" descr="© INSCALE GmbH, 05.05.2010&#10;http://www.presentationload.com/"/>
            <p:cNvSpPr>
              <a:spLocks/>
            </p:cNvSpPr>
            <p:nvPr/>
          </p:nvSpPr>
          <p:spPr bwMode="gray">
            <a:xfrm>
              <a:off x="6740017" y="3740392"/>
              <a:ext cx="195815" cy="216787"/>
            </a:xfrm>
            <a:custGeom>
              <a:avLst/>
              <a:gdLst>
                <a:gd name="T0" fmla="*/ 2147483647 w 600"/>
                <a:gd name="T1" fmla="*/ 2147483647 h 696"/>
                <a:gd name="T2" fmla="*/ 2147483647 w 600"/>
                <a:gd name="T3" fmla="*/ 2147483647 h 696"/>
                <a:gd name="T4" fmla="*/ 2147483647 w 600"/>
                <a:gd name="T5" fmla="*/ 2147483647 h 696"/>
                <a:gd name="T6" fmla="*/ 2147483647 w 600"/>
                <a:gd name="T7" fmla="*/ 2147483647 h 696"/>
                <a:gd name="T8" fmla="*/ 2147483647 w 600"/>
                <a:gd name="T9" fmla="*/ 2147483647 h 696"/>
                <a:gd name="T10" fmla="*/ 2147483647 w 600"/>
                <a:gd name="T11" fmla="*/ 2147483647 h 696"/>
                <a:gd name="T12" fmla="*/ 2147483647 w 600"/>
                <a:gd name="T13" fmla="*/ 2147483647 h 696"/>
                <a:gd name="T14" fmla="*/ 2147483647 w 600"/>
                <a:gd name="T15" fmla="*/ 2147483647 h 696"/>
                <a:gd name="T16" fmla="*/ 2147483647 w 600"/>
                <a:gd name="T17" fmla="*/ 2147483647 h 696"/>
                <a:gd name="T18" fmla="*/ 2147483647 w 600"/>
                <a:gd name="T19" fmla="*/ 2147483647 h 696"/>
                <a:gd name="T20" fmla="*/ 2147483647 w 600"/>
                <a:gd name="T21" fmla="*/ 2147483647 h 696"/>
                <a:gd name="T22" fmla="*/ 2147483647 w 600"/>
                <a:gd name="T23" fmla="*/ 2147483647 h 696"/>
                <a:gd name="T24" fmla="*/ 2147483647 w 600"/>
                <a:gd name="T25" fmla="*/ 2147483647 h 696"/>
                <a:gd name="T26" fmla="*/ 2147483647 w 600"/>
                <a:gd name="T27" fmla="*/ 2147483647 h 696"/>
                <a:gd name="T28" fmla="*/ 2147483647 w 600"/>
                <a:gd name="T29" fmla="*/ 2147483647 h 696"/>
                <a:gd name="T30" fmla="*/ 2147483647 w 600"/>
                <a:gd name="T31" fmla="*/ 2147483647 h 696"/>
                <a:gd name="T32" fmla="*/ 2147483647 w 600"/>
                <a:gd name="T33" fmla="*/ 2147483647 h 696"/>
                <a:gd name="T34" fmla="*/ 2147483647 w 600"/>
                <a:gd name="T35" fmla="*/ 2147483647 h 696"/>
                <a:gd name="T36" fmla="*/ 2147483647 w 600"/>
                <a:gd name="T37" fmla="*/ 2147483647 h 696"/>
                <a:gd name="T38" fmla="*/ 2147483647 w 600"/>
                <a:gd name="T39" fmla="*/ 2147483647 h 696"/>
                <a:gd name="T40" fmla="*/ 2147483647 w 600"/>
                <a:gd name="T41" fmla="*/ 2147483647 h 696"/>
                <a:gd name="T42" fmla="*/ 2147483647 w 600"/>
                <a:gd name="T43" fmla="*/ 2147483647 h 696"/>
                <a:gd name="T44" fmla="*/ 2147483647 w 600"/>
                <a:gd name="T45" fmla="*/ 2147483647 h 696"/>
                <a:gd name="T46" fmla="*/ 2147483647 w 600"/>
                <a:gd name="T47" fmla="*/ 2147483647 h 696"/>
                <a:gd name="T48" fmla="*/ 2147483647 w 600"/>
                <a:gd name="T49" fmla="*/ 2147483647 h 696"/>
                <a:gd name="T50" fmla="*/ 2147483647 w 600"/>
                <a:gd name="T51" fmla="*/ 2147483647 h 696"/>
                <a:gd name="T52" fmla="*/ 2147483647 w 600"/>
                <a:gd name="T53" fmla="*/ 2147483647 h 696"/>
                <a:gd name="T54" fmla="*/ 2147483647 w 600"/>
                <a:gd name="T55" fmla="*/ 2147483647 h 696"/>
                <a:gd name="T56" fmla="*/ 2147483647 w 600"/>
                <a:gd name="T57" fmla="*/ 2147483647 h 696"/>
                <a:gd name="T58" fmla="*/ 2147483647 w 600"/>
                <a:gd name="T59" fmla="*/ 2147483647 h 696"/>
                <a:gd name="T60" fmla="*/ 2147483647 w 600"/>
                <a:gd name="T61" fmla="*/ 2147483647 h 696"/>
                <a:gd name="T62" fmla="*/ 2147483647 w 600"/>
                <a:gd name="T63" fmla="*/ 2147483647 h 696"/>
                <a:gd name="T64" fmla="*/ 2147483647 w 600"/>
                <a:gd name="T65" fmla="*/ 2147483647 h 696"/>
                <a:gd name="T66" fmla="*/ 2147483647 w 600"/>
                <a:gd name="T67" fmla="*/ 2147483647 h 696"/>
                <a:gd name="T68" fmla="*/ 2147483647 w 600"/>
                <a:gd name="T69" fmla="*/ 2147483647 h 696"/>
                <a:gd name="T70" fmla="*/ 2147483647 w 600"/>
                <a:gd name="T71" fmla="*/ 2147483647 h 696"/>
                <a:gd name="T72" fmla="*/ 2147483647 w 600"/>
                <a:gd name="T73" fmla="*/ 2147483647 h 696"/>
                <a:gd name="T74" fmla="*/ 2147483647 w 600"/>
                <a:gd name="T75" fmla="*/ 2147483647 h 696"/>
                <a:gd name="T76" fmla="*/ 2147483647 w 600"/>
                <a:gd name="T77" fmla="*/ 2147483647 h 696"/>
                <a:gd name="T78" fmla="*/ 2147483647 w 600"/>
                <a:gd name="T79" fmla="*/ 2147483647 h 696"/>
                <a:gd name="T80" fmla="*/ 2147483647 w 600"/>
                <a:gd name="T81" fmla="*/ 2147483647 h 696"/>
                <a:gd name="T82" fmla="*/ 2147483647 w 600"/>
                <a:gd name="T83" fmla="*/ 2147483647 h 696"/>
                <a:gd name="T84" fmla="*/ 2147483647 w 600"/>
                <a:gd name="T85" fmla="*/ 2147483647 h 696"/>
                <a:gd name="T86" fmla="*/ 2147483647 w 600"/>
                <a:gd name="T87" fmla="*/ 2147483647 h 696"/>
                <a:gd name="T88" fmla="*/ 2147483647 w 600"/>
                <a:gd name="T89" fmla="*/ 2147483647 h 696"/>
                <a:gd name="T90" fmla="*/ 2147483647 w 600"/>
                <a:gd name="T91" fmla="*/ 2147483647 h 696"/>
                <a:gd name="T92" fmla="*/ 2147483647 w 600"/>
                <a:gd name="T93" fmla="*/ 2147483647 h 696"/>
                <a:gd name="T94" fmla="*/ 2147483647 w 600"/>
                <a:gd name="T95" fmla="*/ 2147483647 h 696"/>
                <a:gd name="T96" fmla="*/ 2147483647 w 600"/>
                <a:gd name="T97" fmla="*/ 2147483647 h 696"/>
                <a:gd name="T98" fmla="*/ 2147483647 w 600"/>
                <a:gd name="T99" fmla="*/ 2147483647 h 696"/>
                <a:gd name="T100" fmla="*/ 2147483647 w 600"/>
                <a:gd name="T101" fmla="*/ 2147483647 h 696"/>
                <a:gd name="T102" fmla="*/ 2147483647 w 600"/>
                <a:gd name="T103" fmla="*/ 2147483647 h 696"/>
                <a:gd name="T104" fmla="*/ 2147483647 w 600"/>
                <a:gd name="T105" fmla="*/ 2147483647 h 696"/>
                <a:gd name="T106" fmla="*/ 2147483647 w 600"/>
                <a:gd name="T107" fmla="*/ 2147483647 h 696"/>
                <a:gd name="T108" fmla="*/ 2147483647 w 600"/>
                <a:gd name="T109" fmla="*/ 2147483647 h 696"/>
                <a:gd name="T110" fmla="*/ 2147483647 w 600"/>
                <a:gd name="T111" fmla="*/ 2147483647 h 696"/>
                <a:gd name="T112" fmla="*/ 2147483647 w 600"/>
                <a:gd name="T113" fmla="*/ 2147483647 h 696"/>
                <a:gd name="T114" fmla="*/ 2147483647 w 600"/>
                <a:gd name="T115" fmla="*/ 2147483647 h 696"/>
                <a:gd name="T116" fmla="*/ 2147483647 w 600"/>
                <a:gd name="T117" fmla="*/ 2147483647 h 696"/>
                <a:gd name="T118" fmla="*/ 0 w 600"/>
                <a:gd name="T119" fmla="*/ 2147483647 h 696"/>
                <a:gd name="T120" fmla="*/ 2147483647 w 600"/>
                <a:gd name="T121" fmla="*/ 2147483647 h 69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600"/>
                <a:gd name="T184" fmla="*/ 0 h 696"/>
                <a:gd name="T185" fmla="*/ 600 w 600"/>
                <a:gd name="T186" fmla="*/ 696 h 69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600" h="696">
                  <a:moveTo>
                    <a:pt x="24" y="180"/>
                  </a:moveTo>
                  <a:lnTo>
                    <a:pt x="36" y="180"/>
                  </a:lnTo>
                  <a:lnTo>
                    <a:pt x="42" y="186"/>
                  </a:lnTo>
                  <a:lnTo>
                    <a:pt x="42" y="198"/>
                  </a:lnTo>
                  <a:lnTo>
                    <a:pt x="36" y="204"/>
                  </a:lnTo>
                  <a:lnTo>
                    <a:pt x="36" y="228"/>
                  </a:lnTo>
                  <a:lnTo>
                    <a:pt x="42" y="240"/>
                  </a:lnTo>
                  <a:lnTo>
                    <a:pt x="48" y="246"/>
                  </a:lnTo>
                  <a:lnTo>
                    <a:pt x="66" y="246"/>
                  </a:lnTo>
                  <a:lnTo>
                    <a:pt x="66" y="234"/>
                  </a:lnTo>
                  <a:lnTo>
                    <a:pt x="78" y="234"/>
                  </a:lnTo>
                  <a:lnTo>
                    <a:pt x="84" y="228"/>
                  </a:lnTo>
                  <a:lnTo>
                    <a:pt x="90" y="228"/>
                  </a:lnTo>
                  <a:lnTo>
                    <a:pt x="102" y="234"/>
                  </a:lnTo>
                  <a:lnTo>
                    <a:pt x="102" y="264"/>
                  </a:lnTo>
                  <a:lnTo>
                    <a:pt x="96" y="270"/>
                  </a:lnTo>
                  <a:lnTo>
                    <a:pt x="102" y="276"/>
                  </a:lnTo>
                  <a:lnTo>
                    <a:pt x="108" y="288"/>
                  </a:lnTo>
                  <a:lnTo>
                    <a:pt x="108" y="300"/>
                  </a:lnTo>
                  <a:lnTo>
                    <a:pt x="102" y="312"/>
                  </a:lnTo>
                  <a:lnTo>
                    <a:pt x="90" y="324"/>
                  </a:lnTo>
                  <a:lnTo>
                    <a:pt x="102" y="324"/>
                  </a:lnTo>
                  <a:lnTo>
                    <a:pt x="108" y="330"/>
                  </a:lnTo>
                  <a:lnTo>
                    <a:pt x="108" y="342"/>
                  </a:lnTo>
                  <a:lnTo>
                    <a:pt x="84" y="390"/>
                  </a:lnTo>
                  <a:lnTo>
                    <a:pt x="84" y="402"/>
                  </a:lnTo>
                  <a:lnTo>
                    <a:pt x="102" y="402"/>
                  </a:lnTo>
                  <a:lnTo>
                    <a:pt x="126" y="390"/>
                  </a:lnTo>
                  <a:lnTo>
                    <a:pt x="132" y="384"/>
                  </a:lnTo>
                  <a:lnTo>
                    <a:pt x="132" y="378"/>
                  </a:lnTo>
                  <a:lnTo>
                    <a:pt x="144" y="366"/>
                  </a:lnTo>
                  <a:lnTo>
                    <a:pt x="150" y="354"/>
                  </a:lnTo>
                  <a:lnTo>
                    <a:pt x="156" y="348"/>
                  </a:lnTo>
                  <a:lnTo>
                    <a:pt x="168" y="348"/>
                  </a:lnTo>
                  <a:lnTo>
                    <a:pt x="174" y="354"/>
                  </a:lnTo>
                  <a:lnTo>
                    <a:pt x="198" y="366"/>
                  </a:lnTo>
                  <a:lnTo>
                    <a:pt x="216" y="366"/>
                  </a:lnTo>
                  <a:lnTo>
                    <a:pt x="234" y="348"/>
                  </a:lnTo>
                  <a:lnTo>
                    <a:pt x="234" y="336"/>
                  </a:lnTo>
                  <a:lnTo>
                    <a:pt x="240" y="330"/>
                  </a:lnTo>
                  <a:lnTo>
                    <a:pt x="258" y="330"/>
                  </a:lnTo>
                  <a:lnTo>
                    <a:pt x="264" y="336"/>
                  </a:lnTo>
                  <a:lnTo>
                    <a:pt x="276" y="342"/>
                  </a:lnTo>
                  <a:lnTo>
                    <a:pt x="300" y="342"/>
                  </a:lnTo>
                  <a:lnTo>
                    <a:pt x="306" y="348"/>
                  </a:lnTo>
                  <a:lnTo>
                    <a:pt x="306" y="360"/>
                  </a:lnTo>
                  <a:lnTo>
                    <a:pt x="318" y="372"/>
                  </a:lnTo>
                  <a:lnTo>
                    <a:pt x="336" y="384"/>
                  </a:lnTo>
                  <a:lnTo>
                    <a:pt x="348" y="390"/>
                  </a:lnTo>
                  <a:lnTo>
                    <a:pt x="366" y="408"/>
                  </a:lnTo>
                  <a:lnTo>
                    <a:pt x="372" y="450"/>
                  </a:lnTo>
                  <a:lnTo>
                    <a:pt x="372" y="462"/>
                  </a:lnTo>
                  <a:lnTo>
                    <a:pt x="384" y="486"/>
                  </a:lnTo>
                  <a:lnTo>
                    <a:pt x="420" y="522"/>
                  </a:lnTo>
                  <a:lnTo>
                    <a:pt x="420" y="528"/>
                  </a:lnTo>
                  <a:lnTo>
                    <a:pt x="426" y="534"/>
                  </a:lnTo>
                  <a:lnTo>
                    <a:pt x="426" y="546"/>
                  </a:lnTo>
                  <a:lnTo>
                    <a:pt x="432" y="540"/>
                  </a:lnTo>
                  <a:lnTo>
                    <a:pt x="432" y="546"/>
                  </a:lnTo>
                  <a:lnTo>
                    <a:pt x="444" y="558"/>
                  </a:lnTo>
                  <a:lnTo>
                    <a:pt x="432" y="582"/>
                  </a:lnTo>
                  <a:lnTo>
                    <a:pt x="426" y="588"/>
                  </a:lnTo>
                  <a:lnTo>
                    <a:pt x="426" y="594"/>
                  </a:lnTo>
                  <a:lnTo>
                    <a:pt x="438" y="606"/>
                  </a:lnTo>
                  <a:lnTo>
                    <a:pt x="450" y="612"/>
                  </a:lnTo>
                  <a:lnTo>
                    <a:pt x="456" y="618"/>
                  </a:lnTo>
                  <a:lnTo>
                    <a:pt x="456" y="630"/>
                  </a:lnTo>
                  <a:lnTo>
                    <a:pt x="450" y="636"/>
                  </a:lnTo>
                  <a:lnTo>
                    <a:pt x="444" y="648"/>
                  </a:lnTo>
                  <a:lnTo>
                    <a:pt x="432" y="654"/>
                  </a:lnTo>
                  <a:lnTo>
                    <a:pt x="426" y="660"/>
                  </a:lnTo>
                  <a:lnTo>
                    <a:pt x="426" y="672"/>
                  </a:lnTo>
                  <a:lnTo>
                    <a:pt x="450" y="672"/>
                  </a:lnTo>
                  <a:lnTo>
                    <a:pt x="456" y="678"/>
                  </a:lnTo>
                  <a:lnTo>
                    <a:pt x="462" y="678"/>
                  </a:lnTo>
                  <a:lnTo>
                    <a:pt x="462" y="684"/>
                  </a:lnTo>
                  <a:lnTo>
                    <a:pt x="474" y="696"/>
                  </a:lnTo>
                  <a:lnTo>
                    <a:pt x="486" y="696"/>
                  </a:lnTo>
                  <a:lnTo>
                    <a:pt x="492" y="690"/>
                  </a:lnTo>
                  <a:lnTo>
                    <a:pt x="492" y="678"/>
                  </a:lnTo>
                  <a:lnTo>
                    <a:pt x="480" y="666"/>
                  </a:lnTo>
                  <a:lnTo>
                    <a:pt x="498" y="654"/>
                  </a:lnTo>
                  <a:lnTo>
                    <a:pt x="510" y="642"/>
                  </a:lnTo>
                  <a:lnTo>
                    <a:pt x="546" y="654"/>
                  </a:lnTo>
                  <a:lnTo>
                    <a:pt x="558" y="642"/>
                  </a:lnTo>
                  <a:lnTo>
                    <a:pt x="582" y="648"/>
                  </a:lnTo>
                  <a:lnTo>
                    <a:pt x="588" y="648"/>
                  </a:lnTo>
                  <a:lnTo>
                    <a:pt x="600" y="636"/>
                  </a:lnTo>
                  <a:lnTo>
                    <a:pt x="600" y="630"/>
                  </a:lnTo>
                  <a:lnTo>
                    <a:pt x="588" y="618"/>
                  </a:lnTo>
                  <a:lnTo>
                    <a:pt x="582" y="618"/>
                  </a:lnTo>
                  <a:lnTo>
                    <a:pt x="600" y="582"/>
                  </a:lnTo>
                  <a:lnTo>
                    <a:pt x="594" y="582"/>
                  </a:lnTo>
                  <a:lnTo>
                    <a:pt x="588" y="576"/>
                  </a:lnTo>
                  <a:lnTo>
                    <a:pt x="564" y="564"/>
                  </a:lnTo>
                  <a:lnTo>
                    <a:pt x="540" y="540"/>
                  </a:lnTo>
                  <a:lnTo>
                    <a:pt x="546" y="540"/>
                  </a:lnTo>
                  <a:lnTo>
                    <a:pt x="552" y="534"/>
                  </a:lnTo>
                  <a:lnTo>
                    <a:pt x="558" y="534"/>
                  </a:lnTo>
                  <a:lnTo>
                    <a:pt x="564" y="528"/>
                  </a:lnTo>
                  <a:lnTo>
                    <a:pt x="564" y="516"/>
                  </a:lnTo>
                  <a:lnTo>
                    <a:pt x="558" y="510"/>
                  </a:lnTo>
                  <a:lnTo>
                    <a:pt x="546" y="504"/>
                  </a:lnTo>
                  <a:lnTo>
                    <a:pt x="540" y="498"/>
                  </a:lnTo>
                  <a:lnTo>
                    <a:pt x="528" y="498"/>
                  </a:lnTo>
                  <a:lnTo>
                    <a:pt x="516" y="486"/>
                  </a:lnTo>
                  <a:lnTo>
                    <a:pt x="504" y="462"/>
                  </a:lnTo>
                  <a:lnTo>
                    <a:pt x="498" y="456"/>
                  </a:lnTo>
                  <a:lnTo>
                    <a:pt x="498" y="450"/>
                  </a:lnTo>
                  <a:lnTo>
                    <a:pt x="480" y="450"/>
                  </a:lnTo>
                  <a:lnTo>
                    <a:pt x="474" y="432"/>
                  </a:lnTo>
                  <a:lnTo>
                    <a:pt x="456" y="414"/>
                  </a:lnTo>
                  <a:lnTo>
                    <a:pt x="438" y="402"/>
                  </a:lnTo>
                  <a:lnTo>
                    <a:pt x="426" y="378"/>
                  </a:lnTo>
                  <a:lnTo>
                    <a:pt x="426" y="354"/>
                  </a:lnTo>
                  <a:lnTo>
                    <a:pt x="420" y="354"/>
                  </a:lnTo>
                  <a:lnTo>
                    <a:pt x="414" y="348"/>
                  </a:lnTo>
                  <a:lnTo>
                    <a:pt x="402" y="342"/>
                  </a:lnTo>
                  <a:lnTo>
                    <a:pt x="390" y="342"/>
                  </a:lnTo>
                  <a:lnTo>
                    <a:pt x="384" y="336"/>
                  </a:lnTo>
                  <a:lnTo>
                    <a:pt x="384" y="306"/>
                  </a:lnTo>
                  <a:lnTo>
                    <a:pt x="372" y="306"/>
                  </a:lnTo>
                  <a:lnTo>
                    <a:pt x="366" y="300"/>
                  </a:lnTo>
                  <a:lnTo>
                    <a:pt x="354" y="294"/>
                  </a:lnTo>
                  <a:lnTo>
                    <a:pt x="342" y="282"/>
                  </a:lnTo>
                  <a:lnTo>
                    <a:pt x="306" y="264"/>
                  </a:lnTo>
                  <a:lnTo>
                    <a:pt x="300" y="258"/>
                  </a:lnTo>
                  <a:lnTo>
                    <a:pt x="288" y="252"/>
                  </a:lnTo>
                  <a:lnTo>
                    <a:pt x="288" y="234"/>
                  </a:lnTo>
                  <a:lnTo>
                    <a:pt x="282" y="228"/>
                  </a:lnTo>
                  <a:lnTo>
                    <a:pt x="306" y="228"/>
                  </a:lnTo>
                  <a:lnTo>
                    <a:pt x="312" y="234"/>
                  </a:lnTo>
                  <a:lnTo>
                    <a:pt x="330" y="234"/>
                  </a:lnTo>
                  <a:lnTo>
                    <a:pt x="336" y="228"/>
                  </a:lnTo>
                  <a:lnTo>
                    <a:pt x="342" y="216"/>
                  </a:lnTo>
                  <a:lnTo>
                    <a:pt x="354" y="210"/>
                  </a:lnTo>
                  <a:lnTo>
                    <a:pt x="360" y="198"/>
                  </a:lnTo>
                  <a:lnTo>
                    <a:pt x="360" y="186"/>
                  </a:lnTo>
                  <a:lnTo>
                    <a:pt x="348" y="180"/>
                  </a:lnTo>
                  <a:lnTo>
                    <a:pt x="330" y="174"/>
                  </a:lnTo>
                  <a:lnTo>
                    <a:pt x="306" y="162"/>
                  </a:lnTo>
                  <a:lnTo>
                    <a:pt x="306" y="156"/>
                  </a:lnTo>
                  <a:lnTo>
                    <a:pt x="312" y="150"/>
                  </a:lnTo>
                  <a:lnTo>
                    <a:pt x="318" y="150"/>
                  </a:lnTo>
                  <a:lnTo>
                    <a:pt x="294" y="126"/>
                  </a:lnTo>
                  <a:lnTo>
                    <a:pt x="282" y="120"/>
                  </a:lnTo>
                  <a:lnTo>
                    <a:pt x="270" y="120"/>
                  </a:lnTo>
                  <a:lnTo>
                    <a:pt x="264" y="132"/>
                  </a:lnTo>
                  <a:lnTo>
                    <a:pt x="264" y="138"/>
                  </a:lnTo>
                  <a:lnTo>
                    <a:pt x="258" y="150"/>
                  </a:lnTo>
                  <a:lnTo>
                    <a:pt x="252" y="156"/>
                  </a:lnTo>
                  <a:lnTo>
                    <a:pt x="240" y="144"/>
                  </a:lnTo>
                  <a:lnTo>
                    <a:pt x="240" y="138"/>
                  </a:lnTo>
                  <a:lnTo>
                    <a:pt x="222" y="138"/>
                  </a:lnTo>
                  <a:lnTo>
                    <a:pt x="216" y="126"/>
                  </a:lnTo>
                  <a:lnTo>
                    <a:pt x="198" y="108"/>
                  </a:lnTo>
                  <a:lnTo>
                    <a:pt x="186" y="84"/>
                  </a:lnTo>
                  <a:lnTo>
                    <a:pt x="186" y="54"/>
                  </a:lnTo>
                  <a:lnTo>
                    <a:pt x="180" y="54"/>
                  </a:lnTo>
                  <a:lnTo>
                    <a:pt x="174" y="60"/>
                  </a:lnTo>
                  <a:lnTo>
                    <a:pt x="168" y="48"/>
                  </a:lnTo>
                  <a:lnTo>
                    <a:pt x="156" y="42"/>
                  </a:lnTo>
                  <a:lnTo>
                    <a:pt x="150" y="30"/>
                  </a:lnTo>
                  <a:lnTo>
                    <a:pt x="144" y="24"/>
                  </a:lnTo>
                  <a:lnTo>
                    <a:pt x="138" y="12"/>
                  </a:lnTo>
                  <a:lnTo>
                    <a:pt x="132" y="6"/>
                  </a:lnTo>
                  <a:lnTo>
                    <a:pt x="96" y="0"/>
                  </a:lnTo>
                  <a:lnTo>
                    <a:pt x="90" y="6"/>
                  </a:lnTo>
                  <a:lnTo>
                    <a:pt x="90" y="48"/>
                  </a:lnTo>
                  <a:lnTo>
                    <a:pt x="114" y="72"/>
                  </a:lnTo>
                  <a:lnTo>
                    <a:pt x="114" y="108"/>
                  </a:lnTo>
                  <a:lnTo>
                    <a:pt x="72" y="108"/>
                  </a:lnTo>
                  <a:lnTo>
                    <a:pt x="72" y="84"/>
                  </a:lnTo>
                  <a:lnTo>
                    <a:pt x="36" y="102"/>
                  </a:lnTo>
                  <a:lnTo>
                    <a:pt x="36" y="114"/>
                  </a:lnTo>
                  <a:lnTo>
                    <a:pt x="30" y="126"/>
                  </a:lnTo>
                  <a:lnTo>
                    <a:pt x="36" y="132"/>
                  </a:lnTo>
                  <a:lnTo>
                    <a:pt x="30" y="138"/>
                  </a:lnTo>
                  <a:lnTo>
                    <a:pt x="18" y="138"/>
                  </a:lnTo>
                  <a:lnTo>
                    <a:pt x="0" y="156"/>
                  </a:lnTo>
                  <a:lnTo>
                    <a:pt x="0" y="168"/>
                  </a:lnTo>
                  <a:lnTo>
                    <a:pt x="6" y="168"/>
                  </a:lnTo>
                  <a:lnTo>
                    <a:pt x="12" y="174"/>
                  </a:lnTo>
                  <a:lnTo>
                    <a:pt x="24" y="180"/>
                  </a:lnTo>
                  <a:close/>
                </a:path>
              </a:pathLst>
            </a:custGeom>
            <a:grpFill/>
            <a:ln w="3175">
              <a:solidFill>
                <a:schemeClr val="bg1"/>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de-DE" sz="1800" b="0" i="0" u="none" strike="noStrike" kern="1200" cap="none" spc="0" normalizeH="0" baseline="0" noProof="0">
                <a:ln>
                  <a:noFill/>
                </a:ln>
                <a:solidFill>
                  <a:srgbClr val="FFC000"/>
                </a:solidFill>
                <a:effectLst/>
                <a:uLnTx/>
                <a:uFillTx/>
                <a:latin typeface="Calibri" pitchFamily="34" charset="0"/>
                <a:ea typeface="+mn-ea"/>
                <a:cs typeface="+mn-cs"/>
              </a:endParaRPr>
            </a:p>
          </p:txBody>
        </p:sp>
        <p:sp>
          <p:nvSpPr>
            <p:cNvPr id="106" name="Kyrgyzstan" descr="© INSCALE GmbH, 05.05.2010&#10;http://www.presentationload.com/"/>
            <p:cNvSpPr>
              <a:spLocks/>
            </p:cNvSpPr>
            <p:nvPr/>
          </p:nvSpPr>
          <p:spPr bwMode="gray">
            <a:xfrm>
              <a:off x="5960594" y="3224756"/>
              <a:ext cx="218853" cy="96758"/>
            </a:xfrm>
            <a:custGeom>
              <a:avLst/>
              <a:gdLst>
                <a:gd name="T0" fmla="*/ 2147483647 w 672"/>
                <a:gd name="T1" fmla="*/ 2147483647 h 312"/>
                <a:gd name="T2" fmla="*/ 2147483647 w 672"/>
                <a:gd name="T3" fmla="*/ 2147483647 h 312"/>
                <a:gd name="T4" fmla="*/ 2147483647 w 672"/>
                <a:gd name="T5" fmla="*/ 2147483647 h 312"/>
                <a:gd name="T6" fmla="*/ 2147483647 w 672"/>
                <a:gd name="T7" fmla="*/ 2147483647 h 312"/>
                <a:gd name="T8" fmla="*/ 2147483647 w 672"/>
                <a:gd name="T9" fmla="*/ 2147483647 h 312"/>
                <a:gd name="T10" fmla="*/ 2147483647 w 672"/>
                <a:gd name="T11" fmla="*/ 2147483647 h 312"/>
                <a:gd name="T12" fmla="*/ 2147483647 w 672"/>
                <a:gd name="T13" fmla="*/ 2147483647 h 312"/>
                <a:gd name="T14" fmla="*/ 2147483647 w 672"/>
                <a:gd name="T15" fmla="*/ 2147483647 h 312"/>
                <a:gd name="T16" fmla="*/ 2147483647 w 672"/>
                <a:gd name="T17" fmla="*/ 2147483647 h 312"/>
                <a:gd name="T18" fmla="*/ 2147483647 w 672"/>
                <a:gd name="T19" fmla="*/ 2147483647 h 312"/>
                <a:gd name="T20" fmla="*/ 2147483647 w 672"/>
                <a:gd name="T21" fmla="*/ 2147483647 h 312"/>
                <a:gd name="T22" fmla="*/ 2147483647 w 672"/>
                <a:gd name="T23" fmla="*/ 2147483647 h 312"/>
                <a:gd name="T24" fmla="*/ 0 w 672"/>
                <a:gd name="T25" fmla="*/ 2147483647 h 312"/>
                <a:gd name="T26" fmla="*/ 2147483647 w 672"/>
                <a:gd name="T27" fmla="*/ 2147483647 h 312"/>
                <a:gd name="T28" fmla="*/ 2147483647 w 672"/>
                <a:gd name="T29" fmla="*/ 2147483647 h 312"/>
                <a:gd name="T30" fmla="*/ 2147483647 w 672"/>
                <a:gd name="T31" fmla="*/ 2147483647 h 312"/>
                <a:gd name="T32" fmla="*/ 2147483647 w 672"/>
                <a:gd name="T33" fmla="*/ 2147483647 h 312"/>
                <a:gd name="T34" fmla="*/ 2147483647 w 672"/>
                <a:gd name="T35" fmla="*/ 2147483647 h 312"/>
                <a:gd name="T36" fmla="*/ 2147483647 w 672"/>
                <a:gd name="T37" fmla="*/ 2147483647 h 312"/>
                <a:gd name="T38" fmla="*/ 2147483647 w 672"/>
                <a:gd name="T39" fmla="*/ 2147483647 h 312"/>
                <a:gd name="T40" fmla="*/ 2147483647 w 672"/>
                <a:gd name="T41" fmla="*/ 2147483647 h 312"/>
                <a:gd name="T42" fmla="*/ 2147483647 w 672"/>
                <a:gd name="T43" fmla="*/ 2147483647 h 312"/>
                <a:gd name="T44" fmla="*/ 2147483647 w 672"/>
                <a:gd name="T45" fmla="*/ 2147483647 h 312"/>
                <a:gd name="T46" fmla="*/ 2147483647 w 672"/>
                <a:gd name="T47" fmla="*/ 2147483647 h 312"/>
                <a:gd name="T48" fmla="*/ 2147483647 w 672"/>
                <a:gd name="T49" fmla="*/ 2147483647 h 312"/>
                <a:gd name="T50" fmla="*/ 2147483647 w 672"/>
                <a:gd name="T51" fmla="*/ 2147483647 h 312"/>
                <a:gd name="T52" fmla="*/ 2147483647 w 672"/>
                <a:gd name="T53" fmla="*/ 2147483647 h 312"/>
                <a:gd name="T54" fmla="*/ 2147483647 w 672"/>
                <a:gd name="T55" fmla="*/ 2147483647 h 312"/>
                <a:gd name="T56" fmla="*/ 2147483647 w 672"/>
                <a:gd name="T57" fmla="*/ 2147483647 h 312"/>
                <a:gd name="T58" fmla="*/ 2147483647 w 672"/>
                <a:gd name="T59" fmla="*/ 2147483647 h 312"/>
                <a:gd name="T60" fmla="*/ 2147483647 w 672"/>
                <a:gd name="T61" fmla="*/ 2147483647 h 312"/>
                <a:gd name="T62" fmla="*/ 2147483647 w 672"/>
                <a:gd name="T63" fmla="*/ 2147483647 h 312"/>
                <a:gd name="T64" fmla="*/ 2147483647 w 672"/>
                <a:gd name="T65" fmla="*/ 2147483647 h 312"/>
                <a:gd name="T66" fmla="*/ 2147483647 w 672"/>
                <a:gd name="T67" fmla="*/ 2147483647 h 312"/>
                <a:gd name="T68" fmla="*/ 2147483647 w 672"/>
                <a:gd name="T69" fmla="*/ 2147483647 h 312"/>
                <a:gd name="T70" fmla="*/ 2147483647 w 672"/>
                <a:gd name="T71" fmla="*/ 2147483647 h 312"/>
                <a:gd name="T72" fmla="*/ 2147483647 w 672"/>
                <a:gd name="T73" fmla="*/ 2147483647 h 312"/>
                <a:gd name="T74" fmla="*/ 2147483647 w 672"/>
                <a:gd name="T75" fmla="*/ 2147483647 h 312"/>
                <a:gd name="T76" fmla="*/ 2147483647 w 672"/>
                <a:gd name="T77" fmla="*/ 0 h 312"/>
                <a:gd name="T78" fmla="*/ 2147483647 w 672"/>
                <a:gd name="T79" fmla="*/ 2147483647 h 312"/>
                <a:gd name="T80" fmla="*/ 2147483647 w 672"/>
                <a:gd name="T81" fmla="*/ 2147483647 h 312"/>
                <a:gd name="T82" fmla="*/ 2147483647 w 672"/>
                <a:gd name="T83" fmla="*/ 2147483647 h 312"/>
                <a:gd name="T84" fmla="*/ 2147483647 w 672"/>
                <a:gd name="T85" fmla="*/ 2147483647 h 312"/>
                <a:gd name="T86" fmla="*/ 2147483647 w 672"/>
                <a:gd name="T87" fmla="*/ 2147483647 h 312"/>
                <a:gd name="T88" fmla="*/ 2147483647 w 672"/>
                <a:gd name="T89" fmla="*/ 2147483647 h 312"/>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672"/>
                <a:gd name="T136" fmla="*/ 0 h 312"/>
                <a:gd name="T137" fmla="*/ 672 w 672"/>
                <a:gd name="T138" fmla="*/ 312 h 312"/>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672" h="312">
                  <a:moveTo>
                    <a:pt x="36" y="132"/>
                  </a:moveTo>
                  <a:lnTo>
                    <a:pt x="66" y="144"/>
                  </a:lnTo>
                  <a:lnTo>
                    <a:pt x="78" y="156"/>
                  </a:lnTo>
                  <a:lnTo>
                    <a:pt x="114" y="156"/>
                  </a:lnTo>
                  <a:lnTo>
                    <a:pt x="114" y="144"/>
                  </a:lnTo>
                  <a:lnTo>
                    <a:pt x="126" y="144"/>
                  </a:lnTo>
                  <a:lnTo>
                    <a:pt x="126" y="132"/>
                  </a:lnTo>
                  <a:lnTo>
                    <a:pt x="144" y="156"/>
                  </a:lnTo>
                  <a:lnTo>
                    <a:pt x="162" y="156"/>
                  </a:lnTo>
                  <a:lnTo>
                    <a:pt x="168" y="174"/>
                  </a:lnTo>
                  <a:lnTo>
                    <a:pt x="192" y="174"/>
                  </a:lnTo>
                  <a:lnTo>
                    <a:pt x="198" y="186"/>
                  </a:lnTo>
                  <a:lnTo>
                    <a:pt x="204" y="186"/>
                  </a:lnTo>
                  <a:lnTo>
                    <a:pt x="216" y="180"/>
                  </a:lnTo>
                  <a:lnTo>
                    <a:pt x="228" y="180"/>
                  </a:lnTo>
                  <a:lnTo>
                    <a:pt x="228" y="192"/>
                  </a:lnTo>
                  <a:lnTo>
                    <a:pt x="216" y="204"/>
                  </a:lnTo>
                  <a:lnTo>
                    <a:pt x="204" y="210"/>
                  </a:lnTo>
                  <a:lnTo>
                    <a:pt x="192" y="210"/>
                  </a:lnTo>
                  <a:lnTo>
                    <a:pt x="192" y="216"/>
                  </a:lnTo>
                  <a:lnTo>
                    <a:pt x="174" y="222"/>
                  </a:lnTo>
                  <a:lnTo>
                    <a:pt x="156" y="240"/>
                  </a:lnTo>
                  <a:lnTo>
                    <a:pt x="150" y="240"/>
                  </a:lnTo>
                  <a:lnTo>
                    <a:pt x="144" y="234"/>
                  </a:lnTo>
                  <a:lnTo>
                    <a:pt x="138" y="234"/>
                  </a:lnTo>
                  <a:lnTo>
                    <a:pt x="132" y="228"/>
                  </a:lnTo>
                  <a:lnTo>
                    <a:pt x="114" y="228"/>
                  </a:lnTo>
                  <a:lnTo>
                    <a:pt x="102" y="234"/>
                  </a:lnTo>
                  <a:lnTo>
                    <a:pt x="96" y="234"/>
                  </a:lnTo>
                  <a:lnTo>
                    <a:pt x="96" y="246"/>
                  </a:lnTo>
                  <a:lnTo>
                    <a:pt x="90" y="252"/>
                  </a:lnTo>
                  <a:lnTo>
                    <a:pt x="84" y="252"/>
                  </a:lnTo>
                  <a:lnTo>
                    <a:pt x="72" y="246"/>
                  </a:lnTo>
                  <a:lnTo>
                    <a:pt x="36" y="234"/>
                  </a:lnTo>
                  <a:lnTo>
                    <a:pt x="24" y="234"/>
                  </a:lnTo>
                  <a:lnTo>
                    <a:pt x="18" y="240"/>
                  </a:lnTo>
                  <a:lnTo>
                    <a:pt x="18" y="252"/>
                  </a:lnTo>
                  <a:lnTo>
                    <a:pt x="12" y="258"/>
                  </a:lnTo>
                  <a:lnTo>
                    <a:pt x="0" y="264"/>
                  </a:lnTo>
                  <a:lnTo>
                    <a:pt x="0" y="276"/>
                  </a:lnTo>
                  <a:lnTo>
                    <a:pt x="6" y="282"/>
                  </a:lnTo>
                  <a:lnTo>
                    <a:pt x="6" y="288"/>
                  </a:lnTo>
                  <a:lnTo>
                    <a:pt x="12" y="294"/>
                  </a:lnTo>
                  <a:lnTo>
                    <a:pt x="24" y="288"/>
                  </a:lnTo>
                  <a:lnTo>
                    <a:pt x="36" y="288"/>
                  </a:lnTo>
                  <a:lnTo>
                    <a:pt x="42" y="282"/>
                  </a:lnTo>
                  <a:lnTo>
                    <a:pt x="60" y="282"/>
                  </a:lnTo>
                  <a:lnTo>
                    <a:pt x="72" y="288"/>
                  </a:lnTo>
                  <a:lnTo>
                    <a:pt x="96" y="288"/>
                  </a:lnTo>
                  <a:lnTo>
                    <a:pt x="108" y="300"/>
                  </a:lnTo>
                  <a:lnTo>
                    <a:pt x="126" y="300"/>
                  </a:lnTo>
                  <a:lnTo>
                    <a:pt x="132" y="294"/>
                  </a:lnTo>
                  <a:lnTo>
                    <a:pt x="144" y="288"/>
                  </a:lnTo>
                  <a:lnTo>
                    <a:pt x="150" y="282"/>
                  </a:lnTo>
                  <a:lnTo>
                    <a:pt x="180" y="312"/>
                  </a:lnTo>
                  <a:lnTo>
                    <a:pt x="192" y="306"/>
                  </a:lnTo>
                  <a:lnTo>
                    <a:pt x="198" y="306"/>
                  </a:lnTo>
                  <a:lnTo>
                    <a:pt x="198" y="312"/>
                  </a:lnTo>
                  <a:lnTo>
                    <a:pt x="210" y="312"/>
                  </a:lnTo>
                  <a:lnTo>
                    <a:pt x="222" y="306"/>
                  </a:lnTo>
                  <a:lnTo>
                    <a:pt x="228" y="300"/>
                  </a:lnTo>
                  <a:lnTo>
                    <a:pt x="270" y="300"/>
                  </a:lnTo>
                  <a:lnTo>
                    <a:pt x="282" y="288"/>
                  </a:lnTo>
                  <a:lnTo>
                    <a:pt x="300" y="294"/>
                  </a:lnTo>
                  <a:lnTo>
                    <a:pt x="318" y="294"/>
                  </a:lnTo>
                  <a:lnTo>
                    <a:pt x="318" y="282"/>
                  </a:lnTo>
                  <a:lnTo>
                    <a:pt x="312" y="270"/>
                  </a:lnTo>
                  <a:lnTo>
                    <a:pt x="300" y="264"/>
                  </a:lnTo>
                  <a:lnTo>
                    <a:pt x="300" y="258"/>
                  </a:lnTo>
                  <a:lnTo>
                    <a:pt x="306" y="252"/>
                  </a:lnTo>
                  <a:lnTo>
                    <a:pt x="318" y="246"/>
                  </a:lnTo>
                  <a:lnTo>
                    <a:pt x="330" y="246"/>
                  </a:lnTo>
                  <a:lnTo>
                    <a:pt x="336" y="240"/>
                  </a:lnTo>
                  <a:lnTo>
                    <a:pt x="348" y="234"/>
                  </a:lnTo>
                  <a:lnTo>
                    <a:pt x="348" y="216"/>
                  </a:lnTo>
                  <a:lnTo>
                    <a:pt x="372" y="216"/>
                  </a:lnTo>
                  <a:lnTo>
                    <a:pt x="384" y="204"/>
                  </a:lnTo>
                  <a:lnTo>
                    <a:pt x="396" y="204"/>
                  </a:lnTo>
                  <a:lnTo>
                    <a:pt x="402" y="210"/>
                  </a:lnTo>
                  <a:lnTo>
                    <a:pt x="408" y="222"/>
                  </a:lnTo>
                  <a:lnTo>
                    <a:pt x="414" y="228"/>
                  </a:lnTo>
                  <a:lnTo>
                    <a:pt x="426" y="222"/>
                  </a:lnTo>
                  <a:lnTo>
                    <a:pt x="456" y="228"/>
                  </a:lnTo>
                  <a:lnTo>
                    <a:pt x="462" y="222"/>
                  </a:lnTo>
                  <a:lnTo>
                    <a:pt x="462" y="198"/>
                  </a:lnTo>
                  <a:lnTo>
                    <a:pt x="468" y="186"/>
                  </a:lnTo>
                  <a:lnTo>
                    <a:pt x="486" y="168"/>
                  </a:lnTo>
                  <a:lnTo>
                    <a:pt x="516" y="168"/>
                  </a:lnTo>
                  <a:lnTo>
                    <a:pt x="534" y="174"/>
                  </a:lnTo>
                  <a:lnTo>
                    <a:pt x="552" y="174"/>
                  </a:lnTo>
                  <a:lnTo>
                    <a:pt x="558" y="168"/>
                  </a:lnTo>
                  <a:lnTo>
                    <a:pt x="564" y="156"/>
                  </a:lnTo>
                  <a:lnTo>
                    <a:pt x="564" y="138"/>
                  </a:lnTo>
                  <a:lnTo>
                    <a:pt x="570" y="132"/>
                  </a:lnTo>
                  <a:lnTo>
                    <a:pt x="582" y="126"/>
                  </a:lnTo>
                  <a:lnTo>
                    <a:pt x="594" y="114"/>
                  </a:lnTo>
                  <a:lnTo>
                    <a:pt x="642" y="96"/>
                  </a:lnTo>
                  <a:lnTo>
                    <a:pt x="666" y="96"/>
                  </a:lnTo>
                  <a:lnTo>
                    <a:pt x="672" y="90"/>
                  </a:lnTo>
                  <a:lnTo>
                    <a:pt x="672" y="78"/>
                  </a:lnTo>
                  <a:lnTo>
                    <a:pt x="660" y="66"/>
                  </a:lnTo>
                  <a:lnTo>
                    <a:pt x="642" y="60"/>
                  </a:lnTo>
                  <a:lnTo>
                    <a:pt x="600" y="60"/>
                  </a:lnTo>
                  <a:lnTo>
                    <a:pt x="576" y="30"/>
                  </a:lnTo>
                  <a:lnTo>
                    <a:pt x="558" y="30"/>
                  </a:lnTo>
                  <a:lnTo>
                    <a:pt x="546" y="18"/>
                  </a:lnTo>
                  <a:lnTo>
                    <a:pt x="498" y="24"/>
                  </a:lnTo>
                  <a:lnTo>
                    <a:pt x="486" y="24"/>
                  </a:lnTo>
                  <a:lnTo>
                    <a:pt x="474" y="18"/>
                  </a:lnTo>
                  <a:lnTo>
                    <a:pt x="354" y="18"/>
                  </a:lnTo>
                  <a:lnTo>
                    <a:pt x="336" y="24"/>
                  </a:lnTo>
                  <a:lnTo>
                    <a:pt x="318" y="24"/>
                  </a:lnTo>
                  <a:lnTo>
                    <a:pt x="306" y="18"/>
                  </a:lnTo>
                  <a:lnTo>
                    <a:pt x="282" y="18"/>
                  </a:lnTo>
                  <a:lnTo>
                    <a:pt x="276" y="6"/>
                  </a:lnTo>
                  <a:lnTo>
                    <a:pt x="264" y="0"/>
                  </a:lnTo>
                  <a:lnTo>
                    <a:pt x="222" y="0"/>
                  </a:lnTo>
                  <a:lnTo>
                    <a:pt x="216" y="6"/>
                  </a:lnTo>
                  <a:lnTo>
                    <a:pt x="216" y="36"/>
                  </a:lnTo>
                  <a:lnTo>
                    <a:pt x="222" y="48"/>
                  </a:lnTo>
                  <a:lnTo>
                    <a:pt x="222" y="60"/>
                  </a:lnTo>
                  <a:lnTo>
                    <a:pt x="204" y="54"/>
                  </a:lnTo>
                  <a:lnTo>
                    <a:pt x="174" y="54"/>
                  </a:lnTo>
                  <a:lnTo>
                    <a:pt x="138" y="36"/>
                  </a:lnTo>
                  <a:lnTo>
                    <a:pt x="120" y="30"/>
                  </a:lnTo>
                  <a:lnTo>
                    <a:pt x="108" y="24"/>
                  </a:lnTo>
                  <a:lnTo>
                    <a:pt x="78" y="24"/>
                  </a:lnTo>
                  <a:lnTo>
                    <a:pt x="60" y="42"/>
                  </a:lnTo>
                  <a:lnTo>
                    <a:pt x="54" y="54"/>
                  </a:lnTo>
                  <a:lnTo>
                    <a:pt x="54" y="72"/>
                  </a:lnTo>
                  <a:lnTo>
                    <a:pt x="72" y="72"/>
                  </a:lnTo>
                  <a:lnTo>
                    <a:pt x="78" y="78"/>
                  </a:lnTo>
                  <a:lnTo>
                    <a:pt x="84" y="78"/>
                  </a:lnTo>
                  <a:lnTo>
                    <a:pt x="84" y="84"/>
                  </a:lnTo>
                  <a:lnTo>
                    <a:pt x="36" y="132"/>
                  </a:lnTo>
                  <a:close/>
                </a:path>
              </a:pathLst>
            </a:custGeom>
            <a:grpFill/>
            <a:ln w="3175">
              <a:solidFill>
                <a:schemeClr val="bg1"/>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de-DE" sz="1800" b="0" i="0" u="none" strike="noStrike" kern="1200" cap="none" spc="0" normalizeH="0" baseline="0" noProof="0">
                <a:ln>
                  <a:noFill/>
                </a:ln>
                <a:solidFill>
                  <a:srgbClr val="FFC000"/>
                </a:solidFill>
                <a:effectLst/>
                <a:uLnTx/>
                <a:uFillTx/>
                <a:latin typeface="Calibri" pitchFamily="34" charset="0"/>
                <a:ea typeface="+mn-ea"/>
                <a:cs typeface="+mn-cs"/>
              </a:endParaRPr>
            </a:p>
          </p:txBody>
        </p:sp>
        <p:sp>
          <p:nvSpPr>
            <p:cNvPr id="107" name="Kuwait" descr="© INSCALE GmbH, 05.05.2010&#10;http://www.presentationload.com/"/>
            <p:cNvSpPr>
              <a:spLocks/>
            </p:cNvSpPr>
            <p:nvPr/>
          </p:nvSpPr>
          <p:spPr bwMode="gray">
            <a:xfrm>
              <a:off x="5511370" y="3552999"/>
              <a:ext cx="44795" cy="36744"/>
            </a:xfrm>
            <a:custGeom>
              <a:avLst/>
              <a:gdLst>
                <a:gd name="T0" fmla="*/ 2147483647 w 138"/>
                <a:gd name="T1" fmla="*/ 0 h 120"/>
                <a:gd name="T2" fmla="*/ 2147483647 w 138"/>
                <a:gd name="T3" fmla="*/ 0 h 120"/>
                <a:gd name="T4" fmla="*/ 2147483647 w 138"/>
                <a:gd name="T5" fmla="*/ 2147483647 h 120"/>
                <a:gd name="T6" fmla="*/ 2147483647 w 138"/>
                <a:gd name="T7" fmla="*/ 2147483647 h 120"/>
                <a:gd name="T8" fmla="*/ 2147483647 w 138"/>
                <a:gd name="T9" fmla="*/ 2147483647 h 120"/>
                <a:gd name="T10" fmla="*/ 2147483647 w 138"/>
                <a:gd name="T11" fmla="*/ 2147483647 h 120"/>
                <a:gd name="T12" fmla="*/ 0 w 138"/>
                <a:gd name="T13" fmla="*/ 2147483647 h 120"/>
                <a:gd name="T14" fmla="*/ 2147483647 w 138"/>
                <a:gd name="T15" fmla="*/ 2147483647 h 120"/>
                <a:gd name="T16" fmla="*/ 2147483647 w 138"/>
                <a:gd name="T17" fmla="*/ 2147483647 h 120"/>
                <a:gd name="T18" fmla="*/ 2147483647 w 138"/>
                <a:gd name="T19" fmla="*/ 2147483647 h 120"/>
                <a:gd name="T20" fmla="*/ 2147483647 w 138"/>
                <a:gd name="T21" fmla="*/ 2147483647 h 120"/>
                <a:gd name="T22" fmla="*/ 2147483647 w 138"/>
                <a:gd name="T23" fmla="*/ 2147483647 h 120"/>
                <a:gd name="T24" fmla="*/ 2147483647 w 138"/>
                <a:gd name="T25" fmla="*/ 2147483647 h 120"/>
                <a:gd name="T26" fmla="*/ 2147483647 w 138"/>
                <a:gd name="T27" fmla="*/ 2147483647 h 120"/>
                <a:gd name="T28" fmla="*/ 2147483647 w 138"/>
                <a:gd name="T29" fmla="*/ 2147483647 h 120"/>
                <a:gd name="T30" fmla="*/ 2147483647 w 138"/>
                <a:gd name="T31" fmla="*/ 2147483647 h 120"/>
                <a:gd name="T32" fmla="*/ 2147483647 w 138"/>
                <a:gd name="T33" fmla="*/ 2147483647 h 120"/>
                <a:gd name="T34" fmla="*/ 2147483647 w 138"/>
                <a:gd name="T35" fmla="*/ 2147483647 h 120"/>
                <a:gd name="T36" fmla="*/ 2147483647 w 138"/>
                <a:gd name="T37" fmla="*/ 2147483647 h 120"/>
                <a:gd name="T38" fmla="*/ 2147483647 w 138"/>
                <a:gd name="T39" fmla="*/ 2147483647 h 120"/>
                <a:gd name="T40" fmla="*/ 2147483647 w 138"/>
                <a:gd name="T41" fmla="*/ 2147483647 h 120"/>
                <a:gd name="T42" fmla="*/ 2147483647 w 138"/>
                <a:gd name="T43" fmla="*/ 2147483647 h 120"/>
                <a:gd name="T44" fmla="*/ 2147483647 w 138"/>
                <a:gd name="T45" fmla="*/ 2147483647 h 120"/>
                <a:gd name="T46" fmla="*/ 2147483647 w 138"/>
                <a:gd name="T47" fmla="*/ 2147483647 h 120"/>
                <a:gd name="T48" fmla="*/ 2147483647 w 138"/>
                <a:gd name="T49" fmla="*/ 0 h 120"/>
                <a:gd name="T50" fmla="*/ 2147483647 w 138"/>
                <a:gd name="T51" fmla="*/ 0 h 120"/>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38"/>
                <a:gd name="T79" fmla="*/ 0 h 120"/>
                <a:gd name="T80" fmla="*/ 138 w 138"/>
                <a:gd name="T81" fmla="*/ 120 h 120"/>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38" h="120">
                  <a:moveTo>
                    <a:pt x="54" y="0"/>
                  </a:moveTo>
                  <a:lnTo>
                    <a:pt x="36" y="0"/>
                  </a:lnTo>
                  <a:lnTo>
                    <a:pt x="30" y="12"/>
                  </a:lnTo>
                  <a:lnTo>
                    <a:pt x="24" y="18"/>
                  </a:lnTo>
                  <a:lnTo>
                    <a:pt x="24" y="30"/>
                  </a:lnTo>
                  <a:lnTo>
                    <a:pt x="6" y="66"/>
                  </a:lnTo>
                  <a:lnTo>
                    <a:pt x="0" y="72"/>
                  </a:lnTo>
                  <a:lnTo>
                    <a:pt x="42" y="72"/>
                  </a:lnTo>
                  <a:lnTo>
                    <a:pt x="60" y="78"/>
                  </a:lnTo>
                  <a:lnTo>
                    <a:pt x="66" y="78"/>
                  </a:lnTo>
                  <a:lnTo>
                    <a:pt x="66" y="114"/>
                  </a:lnTo>
                  <a:lnTo>
                    <a:pt x="72" y="120"/>
                  </a:lnTo>
                  <a:lnTo>
                    <a:pt x="138" y="120"/>
                  </a:lnTo>
                  <a:lnTo>
                    <a:pt x="126" y="114"/>
                  </a:lnTo>
                  <a:lnTo>
                    <a:pt x="114" y="102"/>
                  </a:lnTo>
                  <a:lnTo>
                    <a:pt x="102" y="78"/>
                  </a:lnTo>
                  <a:lnTo>
                    <a:pt x="102" y="66"/>
                  </a:lnTo>
                  <a:lnTo>
                    <a:pt x="90" y="60"/>
                  </a:lnTo>
                  <a:lnTo>
                    <a:pt x="84" y="36"/>
                  </a:lnTo>
                  <a:lnTo>
                    <a:pt x="120" y="36"/>
                  </a:lnTo>
                  <a:lnTo>
                    <a:pt x="120" y="18"/>
                  </a:lnTo>
                  <a:lnTo>
                    <a:pt x="114" y="12"/>
                  </a:lnTo>
                  <a:lnTo>
                    <a:pt x="90" y="12"/>
                  </a:lnTo>
                  <a:lnTo>
                    <a:pt x="90" y="18"/>
                  </a:lnTo>
                  <a:lnTo>
                    <a:pt x="84" y="0"/>
                  </a:lnTo>
                  <a:lnTo>
                    <a:pt x="54" y="0"/>
                  </a:lnTo>
                  <a:close/>
                </a:path>
              </a:pathLst>
            </a:custGeom>
            <a:grpFill/>
            <a:ln w="3175">
              <a:solidFill>
                <a:schemeClr val="bg1"/>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de-DE" sz="1800" b="0" i="0" u="none" strike="noStrike" kern="1200" cap="none" spc="0" normalizeH="0" baseline="0" noProof="0">
                <a:ln>
                  <a:noFill/>
                </a:ln>
                <a:solidFill>
                  <a:srgbClr val="FFC000"/>
                </a:solidFill>
                <a:effectLst/>
                <a:uLnTx/>
                <a:uFillTx/>
                <a:latin typeface="Calibri" pitchFamily="34" charset="0"/>
                <a:ea typeface="+mn-ea"/>
                <a:cs typeface="+mn-cs"/>
              </a:endParaRPr>
            </a:p>
          </p:txBody>
        </p:sp>
        <p:sp>
          <p:nvSpPr>
            <p:cNvPr id="108" name="Korea, South" descr="© INSCALE GmbH, 05.05.2010&#10;http://www.presentationload.com/"/>
            <p:cNvSpPr>
              <a:spLocks noEditPoints="1"/>
            </p:cNvSpPr>
            <p:nvPr/>
          </p:nvSpPr>
          <p:spPr bwMode="gray">
            <a:xfrm>
              <a:off x="7205879" y="3339886"/>
              <a:ext cx="88309" cy="132277"/>
            </a:xfrm>
            <a:custGeom>
              <a:avLst/>
              <a:gdLst>
                <a:gd name="T0" fmla="*/ 2147483647 w 276"/>
                <a:gd name="T1" fmla="*/ 2147483647 h 426"/>
                <a:gd name="T2" fmla="*/ 2147483647 w 276"/>
                <a:gd name="T3" fmla="*/ 2147483647 h 426"/>
                <a:gd name="T4" fmla="*/ 2147483647 w 276"/>
                <a:gd name="T5" fmla="*/ 2147483647 h 426"/>
                <a:gd name="T6" fmla="*/ 2147483647 w 276"/>
                <a:gd name="T7" fmla="*/ 2147483647 h 426"/>
                <a:gd name="T8" fmla="*/ 2147483647 w 276"/>
                <a:gd name="T9" fmla="*/ 2147483647 h 426"/>
                <a:gd name="T10" fmla="*/ 2147483647 w 276"/>
                <a:gd name="T11" fmla="*/ 2147483647 h 426"/>
                <a:gd name="T12" fmla="*/ 2147483647 w 276"/>
                <a:gd name="T13" fmla="*/ 2147483647 h 426"/>
                <a:gd name="T14" fmla="*/ 2147483647 w 276"/>
                <a:gd name="T15" fmla="*/ 2147483647 h 426"/>
                <a:gd name="T16" fmla="*/ 2147483647 w 276"/>
                <a:gd name="T17" fmla="*/ 2147483647 h 426"/>
                <a:gd name="T18" fmla="*/ 2147483647 w 276"/>
                <a:gd name="T19" fmla="*/ 2147483647 h 426"/>
                <a:gd name="T20" fmla="*/ 2147483647 w 276"/>
                <a:gd name="T21" fmla="*/ 2147483647 h 426"/>
                <a:gd name="T22" fmla="*/ 2147483647 w 276"/>
                <a:gd name="T23" fmla="*/ 2147483647 h 426"/>
                <a:gd name="T24" fmla="*/ 2147483647 w 276"/>
                <a:gd name="T25" fmla="*/ 0 h 426"/>
                <a:gd name="T26" fmla="*/ 2147483647 w 276"/>
                <a:gd name="T27" fmla="*/ 2147483647 h 426"/>
                <a:gd name="T28" fmla="*/ 2147483647 w 276"/>
                <a:gd name="T29" fmla="*/ 2147483647 h 426"/>
                <a:gd name="T30" fmla="*/ 2147483647 w 276"/>
                <a:gd name="T31" fmla="*/ 2147483647 h 426"/>
                <a:gd name="T32" fmla="*/ 2147483647 w 276"/>
                <a:gd name="T33" fmla="*/ 2147483647 h 426"/>
                <a:gd name="T34" fmla="*/ 0 w 276"/>
                <a:gd name="T35" fmla="*/ 2147483647 h 426"/>
                <a:gd name="T36" fmla="*/ 2147483647 w 276"/>
                <a:gd name="T37" fmla="*/ 2147483647 h 426"/>
                <a:gd name="T38" fmla="*/ 2147483647 w 276"/>
                <a:gd name="T39" fmla="*/ 2147483647 h 426"/>
                <a:gd name="T40" fmla="*/ 2147483647 w 276"/>
                <a:gd name="T41" fmla="*/ 2147483647 h 426"/>
                <a:gd name="T42" fmla="*/ 2147483647 w 276"/>
                <a:gd name="T43" fmla="*/ 2147483647 h 426"/>
                <a:gd name="T44" fmla="*/ 2147483647 w 276"/>
                <a:gd name="T45" fmla="*/ 2147483647 h 426"/>
                <a:gd name="T46" fmla="*/ 2147483647 w 276"/>
                <a:gd name="T47" fmla="*/ 2147483647 h 426"/>
                <a:gd name="T48" fmla="*/ 2147483647 w 276"/>
                <a:gd name="T49" fmla="*/ 2147483647 h 426"/>
                <a:gd name="T50" fmla="*/ 2147483647 w 276"/>
                <a:gd name="T51" fmla="*/ 2147483647 h 426"/>
                <a:gd name="T52" fmla="*/ 2147483647 w 276"/>
                <a:gd name="T53" fmla="*/ 2147483647 h 426"/>
                <a:gd name="T54" fmla="*/ 2147483647 w 276"/>
                <a:gd name="T55" fmla="*/ 2147483647 h 426"/>
                <a:gd name="T56" fmla="*/ 2147483647 w 276"/>
                <a:gd name="T57" fmla="*/ 2147483647 h 426"/>
                <a:gd name="T58" fmla="*/ 2147483647 w 276"/>
                <a:gd name="T59" fmla="*/ 2147483647 h 426"/>
                <a:gd name="T60" fmla="*/ 2147483647 w 276"/>
                <a:gd name="T61" fmla="*/ 2147483647 h 426"/>
                <a:gd name="T62" fmla="*/ 2147483647 w 276"/>
                <a:gd name="T63" fmla="*/ 2147483647 h 426"/>
                <a:gd name="T64" fmla="*/ 2147483647 w 276"/>
                <a:gd name="T65" fmla="*/ 2147483647 h 426"/>
                <a:gd name="T66" fmla="*/ 2147483647 w 276"/>
                <a:gd name="T67" fmla="*/ 2147483647 h 426"/>
                <a:gd name="T68" fmla="*/ 2147483647 w 276"/>
                <a:gd name="T69" fmla="*/ 2147483647 h 426"/>
                <a:gd name="T70" fmla="*/ 2147483647 w 276"/>
                <a:gd name="T71" fmla="*/ 2147483647 h 426"/>
                <a:gd name="T72" fmla="*/ 2147483647 w 276"/>
                <a:gd name="T73" fmla="*/ 2147483647 h 426"/>
                <a:gd name="T74" fmla="*/ 2147483647 w 276"/>
                <a:gd name="T75" fmla="*/ 2147483647 h 42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276"/>
                <a:gd name="T115" fmla="*/ 0 h 426"/>
                <a:gd name="T116" fmla="*/ 276 w 276"/>
                <a:gd name="T117" fmla="*/ 426 h 42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276" h="426">
                  <a:moveTo>
                    <a:pt x="150" y="402"/>
                  </a:moveTo>
                  <a:lnTo>
                    <a:pt x="132" y="408"/>
                  </a:lnTo>
                  <a:lnTo>
                    <a:pt x="126" y="414"/>
                  </a:lnTo>
                  <a:lnTo>
                    <a:pt x="138" y="426"/>
                  </a:lnTo>
                  <a:lnTo>
                    <a:pt x="162" y="426"/>
                  </a:lnTo>
                  <a:lnTo>
                    <a:pt x="174" y="414"/>
                  </a:lnTo>
                  <a:lnTo>
                    <a:pt x="174" y="408"/>
                  </a:lnTo>
                  <a:lnTo>
                    <a:pt x="168" y="402"/>
                  </a:lnTo>
                  <a:lnTo>
                    <a:pt x="150" y="402"/>
                  </a:lnTo>
                  <a:close/>
                  <a:moveTo>
                    <a:pt x="276" y="246"/>
                  </a:moveTo>
                  <a:lnTo>
                    <a:pt x="270" y="228"/>
                  </a:lnTo>
                  <a:lnTo>
                    <a:pt x="264" y="216"/>
                  </a:lnTo>
                  <a:lnTo>
                    <a:pt x="246" y="198"/>
                  </a:lnTo>
                  <a:lnTo>
                    <a:pt x="252" y="186"/>
                  </a:lnTo>
                  <a:lnTo>
                    <a:pt x="252" y="180"/>
                  </a:lnTo>
                  <a:lnTo>
                    <a:pt x="246" y="162"/>
                  </a:lnTo>
                  <a:lnTo>
                    <a:pt x="240" y="150"/>
                  </a:lnTo>
                  <a:lnTo>
                    <a:pt x="210" y="120"/>
                  </a:lnTo>
                  <a:lnTo>
                    <a:pt x="198" y="102"/>
                  </a:lnTo>
                  <a:lnTo>
                    <a:pt x="168" y="72"/>
                  </a:lnTo>
                  <a:lnTo>
                    <a:pt x="144" y="66"/>
                  </a:lnTo>
                  <a:lnTo>
                    <a:pt x="144" y="60"/>
                  </a:lnTo>
                  <a:lnTo>
                    <a:pt x="138" y="54"/>
                  </a:lnTo>
                  <a:lnTo>
                    <a:pt x="132" y="42"/>
                  </a:lnTo>
                  <a:lnTo>
                    <a:pt x="102" y="12"/>
                  </a:lnTo>
                  <a:lnTo>
                    <a:pt x="96" y="0"/>
                  </a:lnTo>
                  <a:lnTo>
                    <a:pt x="78" y="12"/>
                  </a:lnTo>
                  <a:lnTo>
                    <a:pt x="48" y="12"/>
                  </a:lnTo>
                  <a:lnTo>
                    <a:pt x="24" y="24"/>
                  </a:lnTo>
                  <a:lnTo>
                    <a:pt x="18" y="30"/>
                  </a:lnTo>
                  <a:lnTo>
                    <a:pt x="12" y="30"/>
                  </a:lnTo>
                  <a:lnTo>
                    <a:pt x="12" y="36"/>
                  </a:lnTo>
                  <a:lnTo>
                    <a:pt x="18" y="42"/>
                  </a:lnTo>
                  <a:lnTo>
                    <a:pt x="18" y="48"/>
                  </a:lnTo>
                  <a:lnTo>
                    <a:pt x="12" y="54"/>
                  </a:lnTo>
                  <a:lnTo>
                    <a:pt x="0" y="60"/>
                  </a:lnTo>
                  <a:lnTo>
                    <a:pt x="0" y="66"/>
                  </a:lnTo>
                  <a:lnTo>
                    <a:pt x="6" y="72"/>
                  </a:lnTo>
                  <a:lnTo>
                    <a:pt x="12" y="84"/>
                  </a:lnTo>
                  <a:lnTo>
                    <a:pt x="24" y="90"/>
                  </a:lnTo>
                  <a:lnTo>
                    <a:pt x="30" y="90"/>
                  </a:lnTo>
                  <a:lnTo>
                    <a:pt x="42" y="96"/>
                  </a:lnTo>
                  <a:lnTo>
                    <a:pt x="60" y="132"/>
                  </a:lnTo>
                  <a:lnTo>
                    <a:pt x="54" y="132"/>
                  </a:lnTo>
                  <a:lnTo>
                    <a:pt x="48" y="126"/>
                  </a:lnTo>
                  <a:lnTo>
                    <a:pt x="36" y="126"/>
                  </a:lnTo>
                  <a:lnTo>
                    <a:pt x="24" y="120"/>
                  </a:lnTo>
                  <a:lnTo>
                    <a:pt x="6" y="120"/>
                  </a:lnTo>
                  <a:lnTo>
                    <a:pt x="6" y="126"/>
                  </a:lnTo>
                  <a:lnTo>
                    <a:pt x="18" y="132"/>
                  </a:lnTo>
                  <a:lnTo>
                    <a:pt x="30" y="144"/>
                  </a:lnTo>
                  <a:lnTo>
                    <a:pt x="42" y="150"/>
                  </a:lnTo>
                  <a:lnTo>
                    <a:pt x="54" y="192"/>
                  </a:lnTo>
                  <a:lnTo>
                    <a:pt x="90" y="198"/>
                  </a:lnTo>
                  <a:lnTo>
                    <a:pt x="90" y="228"/>
                  </a:lnTo>
                  <a:lnTo>
                    <a:pt x="78" y="240"/>
                  </a:lnTo>
                  <a:lnTo>
                    <a:pt x="78" y="270"/>
                  </a:lnTo>
                  <a:lnTo>
                    <a:pt x="84" y="282"/>
                  </a:lnTo>
                  <a:lnTo>
                    <a:pt x="102" y="300"/>
                  </a:lnTo>
                  <a:lnTo>
                    <a:pt x="108" y="300"/>
                  </a:lnTo>
                  <a:lnTo>
                    <a:pt x="108" y="306"/>
                  </a:lnTo>
                  <a:lnTo>
                    <a:pt x="102" y="312"/>
                  </a:lnTo>
                  <a:lnTo>
                    <a:pt x="102" y="324"/>
                  </a:lnTo>
                  <a:lnTo>
                    <a:pt x="108" y="330"/>
                  </a:lnTo>
                  <a:lnTo>
                    <a:pt x="132" y="330"/>
                  </a:lnTo>
                  <a:lnTo>
                    <a:pt x="144" y="324"/>
                  </a:lnTo>
                  <a:lnTo>
                    <a:pt x="144" y="318"/>
                  </a:lnTo>
                  <a:lnTo>
                    <a:pt x="150" y="312"/>
                  </a:lnTo>
                  <a:lnTo>
                    <a:pt x="150" y="306"/>
                  </a:lnTo>
                  <a:lnTo>
                    <a:pt x="198" y="282"/>
                  </a:lnTo>
                  <a:lnTo>
                    <a:pt x="222" y="288"/>
                  </a:lnTo>
                  <a:lnTo>
                    <a:pt x="234" y="270"/>
                  </a:lnTo>
                  <a:lnTo>
                    <a:pt x="258" y="270"/>
                  </a:lnTo>
                  <a:lnTo>
                    <a:pt x="270" y="264"/>
                  </a:lnTo>
                  <a:lnTo>
                    <a:pt x="276" y="264"/>
                  </a:lnTo>
                  <a:lnTo>
                    <a:pt x="276" y="246"/>
                  </a:lnTo>
                  <a:close/>
                </a:path>
              </a:pathLst>
            </a:custGeom>
            <a:grpFill/>
            <a:ln w="3175">
              <a:solidFill>
                <a:schemeClr val="bg1"/>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de-DE" sz="1800" b="0" i="0" u="none" strike="noStrike" kern="1200" cap="none" spc="0" normalizeH="0" baseline="0" noProof="0">
                <a:ln>
                  <a:noFill/>
                </a:ln>
                <a:solidFill>
                  <a:srgbClr val="FFC000"/>
                </a:solidFill>
                <a:effectLst/>
                <a:uLnTx/>
                <a:uFillTx/>
                <a:latin typeface="Calibri" pitchFamily="34" charset="0"/>
                <a:ea typeface="+mn-ea"/>
                <a:cs typeface="+mn-cs"/>
              </a:endParaRPr>
            </a:p>
          </p:txBody>
        </p:sp>
        <p:sp>
          <p:nvSpPr>
            <p:cNvPr id="109" name="Korea, North" descr="© INSCALE GmbH, 05.05.2010&#10;http://www.presentationload.com/"/>
            <p:cNvSpPr>
              <a:spLocks/>
            </p:cNvSpPr>
            <p:nvPr/>
          </p:nvSpPr>
          <p:spPr bwMode="gray">
            <a:xfrm>
              <a:off x="7131648" y="3230879"/>
              <a:ext cx="106226" cy="129827"/>
            </a:xfrm>
            <a:custGeom>
              <a:avLst/>
              <a:gdLst>
                <a:gd name="T0" fmla="*/ 2147483647 w 330"/>
                <a:gd name="T1" fmla="*/ 0 h 420"/>
                <a:gd name="T2" fmla="*/ 2147483647 w 330"/>
                <a:gd name="T3" fmla="*/ 2147483647 h 420"/>
                <a:gd name="T4" fmla="*/ 2147483647 w 330"/>
                <a:gd name="T5" fmla="*/ 2147483647 h 420"/>
                <a:gd name="T6" fmla="*/ 2147483647 w 330"/>
                <a:gd name="T7" fmla="*/ 2147483647 h 420"/>
                <a:gd name="T8" fmla="*/ 2147483647 w 330"/>
                <a:gd name="T9" fmla="*/ 2147483647 h 420"/>
                <a:gd name="T10" fmla="*/ 2147483647 w 330"/>
                <a:gd name="T11" fmla="*/ 2147483647 h 420"/>
                <a:gd name="T12" fmla="*/ 2147483647 w 330"/>
                <a:gd name="T13" fmla="*/ 2147483647 h 420"/>
                <a:gd name="T14" fmla="*/ 2147483647 w 330"/>
                <a:gd name="T15" fmla="*/ 2147483647 h 420"/>
                <a:gd name="T16" fmla="*/ 2147483647 w 330"/>
                <a:gd name="T17" fmla="*/ 2147483647 h 420"/>
                <a:gd name="T18" fmla="*/ 2147483647 w 330"/>
                <a:gd name="T19" fmla="*/ 2147483647 h 420"/>
                <a:gd name="T20" fmla="*/ 2147483647 w 330"/>
                <a:gd name="T21" fmla="*/ 2147483647 h 420"/>
                <a:gd name="T22" fmla="*/ 2147483647 w 330"/>
                <a:gd name="T23" fmla="*/ 2147483647 h 420"/>
                <a:gd name="T24" fmla="*/ 2147483647 w 330"/>
                <a:gd name="T25" fmla="*/ 2147483647 h 420"/>
                <a:gd name="T26" fmla="*/ 2147483647 w 330"/>
                <a:gd name="T27" fmla="*/ 2147483647 h 420"/>
                <a:gd name="T28" fmla="*/ 2147483647 w 330"/>
                <a:gd name="T29" fmla="*/ 2147483647 h 420"/>
                <a:gd name="T30" fmla="*/ 2147483647 w 330"/>
                <a:gd name="T31" fmla="*/ 2147483647 h 420"/>
                <a:gd name="T32" fmla="*/ 2147483647 w 330"/>
                <a:gd name="T33" fmla="*/ 2147483647 h 420"/>
                <a:gd name="T34" fmla="*/ 2147483647 w 330"/>
                <a:gd name="T35" fmla="*/ 2147483647 h 420"/>
                <a:gd name="T36" fmla="*/ 2147483647 w 330"/>
                <a:gd name="T37" fmla="*/ 2147483647 h 420"/>
                <a:gd name="T38" fmla="*/ 2147483647 w 330"/>
                <a:gd name="T39" fmla="*/ 2147483647 h 420"/>
                <a:gd name="T40" fmla="*/ 2147483647 w 330"/>
                <a:gd name="T41" fmla="*/ 2147483647 h 420"/>
                <a:gd name="T42" fmla="*/ 2147483647 w 330"/>
                <a:gd name="T43" fmla="*/ 2147483647 h 420"/>
                <a:gd name="T44" fmla="*/ 2147483647 w 330"/>
                <a:gd name="T45" fmla="*/ 2147483647 h 420"/>
                <a:gd name="T46" fmla="*/ 2147483647 w 330"/>
                <a:gd name="T47" fmla="*/ 2147483647 h 420"/>
                <a:gd name="T48" fmla="*/ 2147483647 w 330"/>
                <a:gd name="T49" fmla="*/ 2147483647 h 420"/>
                <a:gd name="T50" fmla="*/ 2147483647 w 330"/>
                <a:gd name="T51" fmla="*/ 2147483647 h 420"/>
                <a:gd name="T52" fmla="*/ 2147483647 w 330"/>
                <a:gd name="T53" fmla="*/ 2147483647 h 420"/>
                <a:gd name="T54" fmla="*/ 2147483647 w 330"/>
                <a:gd name="T55" fmla="*/ 2147483647 h 420"/>
                <a:gd name="T56" fmla="*/ 2147483647 w 330"/>
                <a:gd name="T57" fmla="*/ 2147483647 h 420"/>
                <a:gd name="T58" fmla="*/ 2147483647 w 330"/>
                <a:gd name="T59" fmla="*/ 2147483647 h 420"/>
                <a:gd name="T60" fmla="*/ 2147483647 w 330"/>
                <a:gd name="T61" fmla="*/ 2147483647 h 420"/>
                <a:gd name="T62" fmla="*/ 2147483647 w 330"/>
                <a:gd name="T63" fmla="*/ 2147483647 h 420"/>
                <a:gd name="T64" fmla="*/ 2147483647 w 330"/>
                <a:gd name="T65" fmla="*/ 2147483647 h 420"/>
                <a:gd name="T66" fmla="*/ 2147483647 w 330"/>
                <a:gd name="T67" fmla="*/ 2147483647 h 420"/>
                <a:gd name="T68" fmla="*/ 2147483647 w 330"/>
                <a:gd name="T69" fmla="*/ 2147483647 h 420"/>
                <a:gd name="T70" fmla="*/ 2147483647 w 330"/>
                <a:gd name="T71" fmla="*/ 2147483647 h 420"/>
                <a:gd name="T72" fmla="*/ 2147483647 w 330"/>
                <a:gd name="T73" fmla="*/ 2147483647 h 420"/>
                <a:gd name="T74" fmla="*/ 2147483647 w 330"/>
                <a:gd name="T75" fmla="*/ 2147483647 h 420"/>
                <a:gd name="T76" fmla="*/ 2147483647 w 330"/>
                <a:gd name="T77" fmla="*/ 2147483647 h 420"/>
                <a:gd name="T78" fmla="*/ 2147483647 w 330"/>
                <a:gd name="T79" fmla="*/ 2147483647 h 420"/>
                <a:gd name="T80" fmla="*/ 2147483647 w 330"/>
                <a:gd name="T81" fmla="*/ 2147483647 h 420"/>
                <a:gd name="T82" fmla="*/ 2147483647 w 330"/>
                <a:gd name="T83" fmla="*/ 2147483647 h 420"/>
                <a:gd name="T84" fmla="*/ 2147483647 w 330"/>
                <a:gd name="T85" fmla="*/ 2147483647 h 420"/>
                <a:gd name="T86" fmla="*/ 2147483647 w 330"/>
                <a:gd name="T87" fmla="*/ 2147483647 h 420"/>
                <a:gd name="T88" fmla="*/ 2147483647 w 330"/>
                <a:gd name="T89" fmla="*/ 2147483647 h 420"/>
                <a:gd name="T90" fmla="*/ 2147483647 w 330"/>
                <a:gd name="T91" fmla="*/ 2147483647 h 420"/>
                <a:gd name="T92" fmla="*/ 2147483647 w 330"/>
                <a:gd name="T93" fmla="*/ 2147483647 h 420"/>
                <a:gd name="T94" fmla="*/ 2147483647 w 330"/>
                <a:gd name="T95" fmla="*/ 2147483647 h 420"/>
                <a:gd name="T96" fmla="*/ 2147483647 w 330"/>
                <a:gd name="T97" fmla="*/ 2147483647 h 420"/>
                <a:gd name="T98" fmla="*/ 2147483647 w 330"/>
                <a:gd name="T99" fmla="*/ 2147483647 h 420"/>
                <a:gd name="T100" fmla="*/ 2147483647 w 330"/>
                <a:gd name="T101" fmla="*/ 2147483647 h 420"/>
                <a:gd name="T102" fmla="*/ 2147483647 w 330"/>
                <a:gd name="T103" fmla="*/ 0 h 420"/>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330"/>
                <a:gd name="T157" fmla="*/ 0 h 420"/>
                <a:gd name="T158" fmla="*/ 330 w 330"/>
                <a:gd name="T159" fmla="*/ 420 h 420"/>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330" h="420">
                  <a:moveTo>
                    <a:pt x="270" y="0"/>
                  </a:moveTo>
                  <a:lnTo>
                    <a:pt x="240" y="0"/>
                  </a:lnTo>
                  <a:lnTo>
                    <a:pt x="240" y="6"/>
                  </a:lnTo>
                  <a:lnTo>
                    <a:pt x="246" y="12"/>
                  </a:lnTo>
                  <a:lnTo>
                    <a:pt x="252" y="24"/>
                  </a:lnTo>
                  <a:lnTo>
                    <a:pt x="252" y="42"/>
                  </a:lnTo>
                  <a:lnTo>
                    <a:pt x="228" y="42"/>
                  </a:lnTo>
                  <a:lnTo>
                    <a:pt x="234" y="54"/>
                  </a:lnTo>
                  <a:lnTo>
                    <a:pt x="234" y="60"/>
                  </a:lnTo>
                  <a:lnTo>
                    <a:pt x="228" y="72"/>
                  </a:lnTo>
                  <a:lnTo>
                    <a:pt x="216" y="78"/>
                  </a:lnTo>
                  <a:lnTo>
                    <a:pt x="204" y="72"/>
                  </a:lnTo>
                  <a:lnTo>
                    <a:pt x="180" y="72"/>
                  </a:lnTo>
                  <a:lnTo>
                    <a:pt x="174" y="66"/>
                  </a:lnTo>
                  <a:lnTo>
                    <a:pt x="168" y="72"/>
                  </a:lnTo>
                  <a:lnTo>
                    <a:pt x="168" y="84"/>
                  </a:lnTo>
                  <a:lnTo>
                    <a:pt x="192" y="108"/>
                  </a:lnTo>
                  <a:lnTo>
                    <a:pt x="198" y="108"/>
                  </a:lnTo>
                  <a:lnTo>
                    <a:pt x="198" y="120"/>
                  </a:lnTo>
                  <a:lnTo>
                    <a:pt x="150" y="120"/>
                  </a:lnTo>
                  <a:lnTo>
                    <a:pt x="138" y="114"/>
                  </a:lnTo>
                  <a:lnTo>
                    <a:pt x="126" y="114"/>
                  </a:lnTo>
                  <a:lnTo>
                    <a:pt x="114" y="102"/>
                  </a:lnTo>
                  <a:lnTo>
                    <a:pt x="102" y="96"/>
                  </a:lnTo>
                  <a:lnTo>
                    <a:pt x="90" y="96"/>
                  </a:lnTo>
                  <a:lnTo>
                    <a:pt x="90" y="102"/>
                  </a:lnTo>
                  <a:lnTo>
                    <a:pt x="84" y="108"/>
                  </a:lnTo>
                  <a:lnTo>
                    <a:pt x="84" y="138"/>
                  </a:lnTo>
                  <a:lnTo>
                    <a:pt x="66" y="174"/>
                  </a:lnTo>
                  <a:lnTo>
                    <a:pt x="54" y="186"/>
                  </a:lnTo>
                  <a:lnTo>
                    <a:pt x="18" y="204"/>
                  </a:lnTo>
                  <a:lnTo>
                    <a:pt x="12" y="216"/>
                  </a:lnTo>
                  <a:lnTo>
                    <a:pt x="6" y="222"/>
                  </a:lnTo>
                  <a:lnTo>
                    <a:pt x="6" y="234"/>
                  </a:lnTo>
                  <a:lnTo>
                    <a:pt x="0" y="246"/>
                  </a:lnTo>
                  <a:lnTo>
                    <a:pt x="12" y="228"/>
                  </a:lnTo>
                  <a:lnTo>
                    <a:pt x="18" y="246"/>
                  </a:lnTo>
                  <a:lnTo>
                    <a:pt x="36" y="270"/>
                  </a:lnTo>
                  <a:lnTo>
                    <a:pt x="48" y="252"/>
                  </a:lnTo>
                  <a:lnTo>
                    <a:pt x="54" y="258"/>
                  </a:lnTo>
                  <a:lnTo>
                    <a:pt x="60" y="270"/>
                  </a:lnTo>
                  <a:lnTo>
                    <a:pt x="96" y="270"/>
                  </a:lnTo>
                  <a:lnTo>
                    <a:pt x="96" y="282"/>
                  </a:lnTo>
                  <a:lnTo>
                    <a:pt x="102" y="294"/>
                  </a:lnTo>
                  <a:lnTo>
                    <a:pt x="102" y="336"/>
                  </a:lnTo>
                  <a:lnTo>
                    <a:pt x="138" y="336"/>
                  </a:lnTo>
                  <a:lnTo>
                    <a:pt x="144" y="348"/>
                  </a:lnTo>
                  <a:lnTo>
                    <a:pt x="132" y="342"/>
                  </a:lnTo>
                  <a:lnTo>
                    <a:pt x="108" y="342"/>
                  </a:lnTo>
                  <a:lnTo>
                    <a:pt x="102" y="348"/>
                  </a:lnTo>
                  <a:lnTo>
                    <a:pt x="102" y="360"/>
                  </a:lnTo>
                  <a:lnTo>
                    <a:pt x="108" y="378"/>
                  </a:lnTo>
                  <a:lnTo>
                    <a:pt x="114" y="384"/>
                  </a:lnTo>
                  <a:lnTo>
                    <a:pt x="126" y="408"/>
                  </a:lnTo>
                  <a:lnTo>
                    <a:pt x="156" y="396"/>
                  </a:lnTo>
                  <a:lnTo>
                    <a:pt x="162" y="402"/>
                  </a:lnTo>
                  <a:lnTo>
                    <a:pt x="174" y="408"/>
                  </a:lnTo>
                  <a:lnTo>
                    <a:pt x="180" y="414"/>
                  </a:lnTo>
                  <a:lnTo>
                    <a:pt x="192" y="420"/>
                  </a:lnTo>
                  <a:lnTo>
                    <a:pt x="198" y="420"/>
                  </a:lnTo>
                  <a:lnTo>
                    <a:pt x="216" y="414"/>
                  </a:lnTo>
                  <a:lnTo>
                    <a:pt x="228" y="414"/>
                  </a:lnTo>
                  <a:lnTo>
                    <a:pt x="240" y="408"/>
                  </a:lnTo>
                  <a:lnTo>
                    <a:pt x="246" y="402"/>
                  </a:lnTo>
                  <a:lnTo>
                    <a:pt x="246" y="396"/>
                  </a:lnTo>
                  <a:lnTo>
                    <a:pt x="240" y="390"/>
                  </a:lnTo>
                  <a:lnTo>
                    <a:pt x="240" y="384"/>
                  </a:lnTo>
                  <a:lnTo>
                    <a:pt x="246" y="384"/>
                  </a:lnTo>
                  <a:lnTo>
                    <a:pt x="252" y="378"/>
                  </a:lnTo>
                  <a:lnTo>
                    <a:pt x="276" y="366"/>
                  </a:lnTo>
                  <a:lnTo>
                    <a:pt x="306" y="366"/>
                  </a:lnTo>
                  <a:lnTo>
                    <a:pt x="324" y="354"/>
                  </a:lnTo>
                  <a:lnTo>
                    <a:pt x="312" y="342"/>
                  </a:lnTo>
                  <a:lnTo>
                    <a:pt x="312" y="336"/>
                  </a:lnTo>
                  <a:lnTo>
                    <a:pt x="264" y="312"/>
                  </a:lnTo>
                  <a:lnTo>
                    <a:pt x="240" y="312"/>
                  </a:lnTo>
                  <a:lnTo>
                    <a:pt x="240" y="300"/>
                  </a:lnTo>
                  <a:lnTo>
                    <a:pt x="246" y="288"/>
                  </a:lnTo>
                  <a:lnTo>
                    <a:pt x="252" y="282"/>
                  </a:lnTo>
                  <a:lnTo>
                    <a:pt x="246" y="276"/>
                  </a:lnTo>
                  <a:lnTo>
                    <a:pt x="234" y="270"/>
                  </a:lnTo>
                  <a:lnTo>
                    <a:pt x="228" y="264"/>
                  </a:lnTo>
                  <a:lnTo>
                    <a:pt x="228" y="252"/>
                  </a:lnTo>
                  <a:lnTo>
                    <a:pt x="240" y="246"/>
                  </a:lnTo>
                  <a:lnTo>
                    <a:pt x="246" y="240"/>
                  </a:lnTo>
                  <a:lnTo>
                    <a:pt x="258" y="234"/>
                  </a:lnTo>
                  <a:lnTo>
                    <a:pt x="270" y="234"/>
                  </a:lnTo>
                  <a:lnTo>
                    <a:pt x="276" y="228"/>
                  </a:lnTo>
                  <a:lnTo>
                    <a:pt x="288" y="204"/>
                  </a:lnTo>
                  <a:lnTo>
                    <a:pt x="288" y="192"/>
                  </a:lnTo>
                  <a:lnTo>
                    <a:pt x="294" y="186"/>
                  </a:lnTo>
                  <a:lnTo>
                    <a:pt x="300" y="174"/>
                  </a:lnTo>
                  <a:lnTo>
                    <a:pt x="324" y="162"/>
                  </a:lnTo>
                  <a:lnTo>
                    <a:pt x="312" y="132"/>
                  </a:lnTo>
                  <a:lnTo>
                    <a:pt x="306" y="126"/>
                  </a:lnTo>
                  <a:lnTo>
                    <a:pt x="294" y="102"/>
                  </a:lnTo>
                  <a:lnTo>
                    <a:pt x="294" y="90"/>
                  </a:lnTo>
                  <a:lnTo>
                    <a:pt x="306" y="66"/>
                  </a:lnTo>
                  <a:lnTo>
                    <a:pt x="318" y="60"/>
                  </a:lnTo>
                  <a:lnTo>
                    <a:pt x="324" y="54"/>
                  </a:lnTo>
                  <a:lnTo>
                    <a:pt x="330" y="54"/>
                  </a:lnTo>
                  <a:lnTo>
                    <a:pt x="312" y="36"/>
                  </a:lnTo>
                  <a:lnTo>
                    <a:pt x="288" y="24"/>
                  </a:lnTo>
                  <a:lnTo>
                    <a:pt x="270" y="0"/>
                  </a:lnTo>
                  <a:close/>
                </a:path>
              </a:pathLst>
            </a:custGeom>
            <a:grpFill/>
            <a:ln w="3175">
              <a:solidFill>
                <a:schemeClr val="bg1"/>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de-DE" sz="1800" b="0" i="0" u="none" strike="noStrike" kern="1200" cap="none" spc="0" normalizeH="0" baseline="0" noProof="0">
                <a:ln>
                  <a:noFill/>
                </a:ln>
                <a:solidFill>
                  <a:srgbClr val="FFC000"/>
                </a:solidFill>
                <a:effectLst/>
                <a:uLnTx/>
                <a:uFillTx/>
                <a:latin typeface="Calibri" pitchFamily="34" charset="0"/>
                <a:ea typeface="+mn-ea"/>
                <a:cs typeface="+mn-cs"/>
              </a:endParaRPr>
            </a:p>
          </p:txBody>
        </p:sp>
        <p:sp>
          <p:nvSpPr>
            <p:cNvPr id="110" name="Kenya" descr="© INSCALE GmbH, 05.05.2010&#10;http://www.presentationload.com/"/>
            <p:cNvSpPr>
              <a:spLocks/>
            </p:cNvSpPr>
            <p:nvPr/>
          </p:nvSpPr>
          <p:spPr bwMode="gray">
            <a:xfrm>
              <a:off x="5252842" y="4186216"/>
              <a:ext cx="183017" cy="237609"/>
            </a:xfrm>
            <a:custGeom>
              <a:avLst/>
              <a:gdLst>
                <a:gd name="T0" fmla="*/ 2147483647 w 564"/>
                <a:gd name="T1" fmla="*/ 2147483647 h 762"/>
                <a:gd name="T2" fmla="*/ 2147483647 w 564"/>
                <a:gd name="T3" fmla="*/ 2147483647 h 762"/>
                <a:gd name="T4" fmla="*/ 2147483647 w 564"/>
                <a:gd name="T5" fmla="*/ 2147483647 h 762"/>
                <a:gd name="T6" fmla="*/ 2147483647 w 564"/>
                <a:gd name="T7" fmla="*/ 2147483647 h 762"/>
                <a:gd name="T8" fmla="*/ 2147483647 w 564"/>
                <a:gd name="T9" fmla="*/ 2147483647 h 762"/>
                <a:gd name="T10" fmla="*/ 2147483647 w 564"/>
                <a:gd name="T11" fmla="*/ 2147483647 h 762"/>
                <a:gd name="T12" fmla="*/ 2147483647 w 564"/>
                <a:gd name="T13" fmla="*/ 2147483647 h 762"/>
                <a:gd name="T14" fmla="*/ 2147483647 w 564"/>
                <a:gd name="T15" fmla="*/ 2147483647 h 762"/>
                <a:gd name="T16" fmla="*/ 2147483647 w 564"/>
                <a:gd name="T17" fmla="*/ 2147483647 h 762"/>
                <a:gd name="T18" fmla="*/ 2147483647 w 564"/>
                <a:gd name="T19" fmla="*/ 2147483647 h 762"/>
                <a:gd name="T20" fmla="*/ 2147483647 w 564"/>
                <a:gd name="T21" fmla="*/ 2147483647 h 762"/>
                <a:gd name="T22" fmla="*/ 2147483647 w 564"/>
                <a:gd name="T23" fmla="*/ 2147483647 h 762"/>
                <a:gd name="T24" fmla="*/ 2147483647 w 564"/>
                <a:gd name="T25" fmla="*/ 0 h 762"/>
                <a:gd name="T26" fmla="*/ 2147483647 w 564"/>
                <a:gd name="T27" fmla="*/ 2147483647 h 762"/>
                <a:gd name="T28" fmla="*/ 2147483647 w 564"/>
                <a:gd name="T29" fmla="*/ 2147483647 h 762"/>
                <a:gd name="T30" fmla="*/ 2147483647 w 564"/>
                <a:gd name="T31" fmla="*/ 2147483647 h 762"/>
                <a:gd name="T32" fmla="*/ 2147483647 w 564"/>
                <a:gd name="T33" fmla="*/ 2147483647 h 762"/>
                <a:gd name="T34" fmla="*/ 2147483647 w 564"/>
                <a:gd name="T35" fmla="*/ 2147483647 h 762"/>
                <a:gd name="T36" fmla="*/ 2147483647 w 564"/>
                <a:gd name="T37" fmla="*/ 2147483647 h 762"/>
                <a:gd name="T38" fmla="*/ 2147483647 w 564"/>
                <a:gd name="T39" fmla="*/ 2147483647 h 762"/>
                <a:gd name="T40" fmla="*/ 2147483647 w 564"/>
                <a:gd name="T41" fmla="*/ 2147483647 h 762"/>
                <a:gd name="T42" fmla="*/ 2147483647 w 564"/>
                <a:gd name="T43" fmla="*/ 2147483647 h 762"/>
                <a:gd name="T44" fmla="*/ 2147483647 w 564"/>
                <a:gd name="T45" fmla="*/ 2147483647 h 762"/>
                <a:gd name="T46" fmla="*/ 2147483647 w 564"/>
                <a:gd name="T47" fmla="*/ 2147483647 h 762"/>
                <a:gd name="T48" fmla="*/ 2147483647 w 564"/>
                <a:gd name="T49" fmla="*/ 2147483647 h 762"/>
                <a:gd name="T50" fmla="*/ 2147483647 w 564"/>
                <a:gd name="T51" fmla="*/ 2147483647 h 762"/>
                <a:gd name="T52" fmla="*/ 2147483647 w 564"/>
                <a:gd name="T53" fmla="*/ 2147483647 h 762"/>
                <a:gd name="T54" fmla="*/ 2147483647 w 564"/>
                <a:gd name="T55" fmla="*/ 2147483647 h 762"/>
                <a:gd name="T56" fmla="*/ 2147483647 w 564"/>
                <a:gd name="T57" fmla="*/ 2147483647 h 762"/>
                <a:gd name="T58" fmla="*/ 0 w 564"/>
                <a:gd name="T59" fmla="*/ 2147483647 h 762"/>
                <a:gd name="T60" fmla="*/ 2147483647 w 564"/>
                <a:gd name="T61" fmla="*/ 2147483647 h 762"/>
                <a:gd name="T62" fmla="*/ 2147483647 w 564"/>
                <a:gd name="T63" fmla="*/ 2147483647 h 762"/>
                <a:gd name="T64" fmla="*/ 2147483647 w 564"/>
                <a:gd name="T65" fmla="*/ 2147483647 h 762"/>
                <a:gd name="T66" fmla="*/ 2147483647 w 564"/>
                <a:gd name="T67" fmla="*/ 2147483647 h 762"/>
                <a:gd name="T68" fmla="*/ 2147483647 w 564"/>
                <a:gd name="T69" fmla="*/ 2147483647 h 762"/>
                <a:gd name="T70" fmla="*/ 0 w 564"/>
                <a:gd name="T71" fmla="*/ 2147483647 h 762"/>
                <a:gd name="T72" fmla="*/ 2147483647 w 564"/>
                <a:gd name="T73" fmla="*/ 2147483647 h 762"/>
                <a:gd name="T74" fmla="*/ 2147483647 w 564"/>
                <a:gd name="T75" fmla="*/ 2147483647 h 762"/>
                <a:gd name="T76" fmla="*/ 2147483647 w 564"/>
                <a:gd name="T77" fmla="*/ 2147483647 h 762"/>
                <a:gd name="T78" fmla="*/ 2147483647 w 564"/>
                <a:gd name="T79" fmla="*/ 2147483647 h 762"/>
                <a:gd name="T80" fmla="*/ 2147483647 w 564"/>
                <a:gd name="T81" fmla="*/ 2147483647 h 762"/>
                <a:gd name="T82" fmla="*/ 2147483647 w 564"/>
                <a:gd name="T83" fmla="*/ 2147483647 h 762"/>
                <a:gd name="T84" fmla="*/ 2147483647 w 564"/>
                <a:gd name="T85" fmla="*/ 2147483647 h 762"/>
                <a:gd name="T86" fmla="*/ 2147483647 w 564"/>
                <a:gd name="T87" fmla="*/ 2147483647 h 762"/>
                <a:gd name="T88" fmla="*/ 2147483647 w 564"/>
                <a:gd name="T89" fmla="*/ 2147483647 h 762"/>
                <a:gd name="T90" fmla="*/ 2147483647 w 564"/>
                <a:gd name="T91" fmla="*/ 2147483647 h 762"/>
                <a:gd name="T92" fmla="*/ 2147483647 w 564"/>
                <a:gd name="T93" fmla="*/ 2147483647 h 762"/>
                <a:gd name="T94" fmla="*/ 2147483647 w 564"/>
                <a:gd name="T95" fmla="*/ 2147483647 h 762"/>
                <a:gd name="T96" fmla="*/ 2147483647 w 564"/>
                <a:gd name="T97" fmla="*/ 2147483647 h 762"/>
                <a:gd name="T98" fmla="*/ 2147483647 w 564"/>
                <a:gd name="T99" fmla="*/ 2147483647 h 762"/>
                <a:gd name="T100" fmla="*/ 2147483647 w 564"/>
                <a:gd name="T101" fmla="*/ 2147483647 h 762"/>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564"/>
                <a:gd name="T154" fmla="*/ 0 h 762"/>
                <a:gd name="T155" fmla="*/ 564 w 564"/>
                <a:gd name="T156" fmla="*/ 762 h 762"/>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564" h="762">
                  <a:moveTo>
                    <a:pt x="498" y="150"/>
                  </a:moveTo>
                  <a:lnTo>
                    <a:pt x="540" y="108"/>
                  </a:lnTo>
                  <a:lnTo>
                    <a:pt x="558" y="72"/>
                  </a:lnTo>
                  <a:lnTo>
                    <a:pt x="564" y="66"/>
                  </a:lnTo>
                  <a:lnTo>
                    <a:pt x="564" y="60"/>
                  </a:lnTo>
                  <a:lnTo>
                    <a:pt x="540" y="54"/>
                  </a:lnTo>
                  <a:lnTo>
                    <a:pt x="534" y="60"/>
                  </a:lnTo>
                  <a:lnTo>
                    <a:pt x="504" y="60"/>
                  </a:lnTo>
                  <a:lnTo>
                    <a:pt x="480" y="30"/>
                  </a:lnTo>
                  <a:lnTo>
                    <a:pt x="462" y="48"/>
                  </a:lnTo>
                  <a:lnTo>
                    <a:pt x="456" y="48"/>
                  </a:lnTo>
                  <a:lnTo>
                    <a:pt x="450" y="54"/>
                  </a:lnTo>
                  <a:lnTo>
                    <a:pt x="438" y="60"/>
                  </a:lnTo>
                  <a:lnTo>
                    <a:pt x="426" y="60"/>
                  </a:lnTo>
                  <a:lnTo>
                    <a:pt x="414" y="72"/>
                  </a:lnTo>
                  <a:lnTo>
                    <a:pt x="414" y="84"/>
                  </a:lnTo>
                  <a:lnTo>
                    <a:pt x="390" y="102"/>
                  </a:lnTo>
                  <a:lnTo>
                    <a:pt x="378" y="96"/>
                  </a:lnTo>
                  <a:lnTo>
                    <a:pt x="372" y="96"/>
                  </a:lnTo>
                  <a:lnTo>
                    <a:pt x="360" y="90"/>
                  </a:lnTo>
                  <a:lnTo>
                    <a:pt x="330" y="90"/>
                  </a:lnTo>
                  <a:lnTo>
                    <a:pt x="318" y="84"/>
                  </a:lnTo>
                  <a:lnTo>
                    <a:pt x="288" y="84"/>
                  </a:lnTo>
                  <a:lnTo>
                    <a:pt x="210" y="24"/>
                  </a:lnTo>
                  <a:lnTo>
                    <a:pt x="138" y="18"/>
                  </a:lnTo>
                  <a:lnTo>
                    <a:pt x="132" y="0"/>
                  </a:lnTo>
                  <a:lnTo>
                    <a:pt x="108" y="12"/>
                  </a:lnTo>
                  <a:lnTo>
                    <a:pt x="18" y="12"/>
                  </a:lnTo>
                  <a:lnTo>
                    <a:pt x="0" y="42"/>
                  </a:lnTo>
                  <a:lnTo>
                    <a:pt x="6" y="48"/>
                  </a:lnTo>
                  <a:lnTo>
                    <a:pt x="12" y="60"/>
                  </a:lnTo>
                  <a:lnTo>
                    <a:pt x="12" y="84"/>
                  </a:lnTo>
                  <a:lnTo>
                    <a:pt x="18" y="84"/>
                  </a:lnTo>
                  <a:lnTo>
                    <a:pt x="24" y="90"/>
                  </a:lnTo>
                  <a:lnTo>
                    <a:pt x="24" y="84"/>
                  </a:lnTo>
                  <a:lnTo>
                    <a:pt x="30" y="84"/>
                  </a:lnTo>
                  <a:lnTo>
                    <a:pt x="30" y="96"/>
                  </a:lnTo>
                  <a:lnTo>
                    <a:pt x="24" y="102"/>
                  </a:lnTo>
                  <a:lnTo>
                    <a:pt x="24" y="108"/>
                  </a:lnTo>
                  <a:lnTo>
                    <a:pt x="42" y="126"/>
                  </a:lnTo>
                  <a:lnTo>
                    <a:pt x="36" y="132"/>
                  </a:lnTo>
                  <a:lnTo>
                    <a:pt x="72" y="174"/>
                  </a:lnTo>
                  <a:lnTo>
                    <a:pt x="66" y="180"/>
                  </a:lnTo>
                  <a:lnTo>
                    <a:pt x="60" y="180"/>
                  </a:lnTo>
                  <a:lnTo>
                    <a:pt x="54" y="186"/>
                  </a:lnTo>
                  <a:lnTo>
                    <a:pt x="54" y="192"/>
                  </a:lnTo>
                  <a:lnTo>
                    <a:pt x="66" y="216"/>
                  </a:lnTo>
                  <a:lnTo>
                    <a:pt x="72" y="222"/>
                  </a:lnTo>
                  <a:lnTo>
                    <a:pt x="78" y="234"/>
                  </a:lnTo>
                  <a:lnTo>
                    <a:pt x="78" y="246"/>
                  </a:lnTo>
                  <a:lnTo>
                    <a:pt x="66" y="258"/>
                  </a:lnTo>
                  <a:lnTo>
                    <a:pt x="60" y="282"/>
                  </a:lnTo>
                  <a:lnTo>
                    <a:pt x="42" y="282"/>
                  </a:lnTo>
                  <a:lnTo>
                    <a:pt x="36" y="288"/>
                  </a:lnTo>
                  <a:lnTo>
                    <a:pt x="36" y="312"/>
                  </a:lnTo>
                  <a:lnTo>
                    <a:pt x="18" y="324"/>
                  </a:lnTo>
                  <a:lnTo>
                    <a:pt x="12" y="342"/>
                  </a:lnTo>
                  <a:lnTo>
                    <a:pt x="6" y="348"/>
                  </a:lnTo>
                  <a:lnTo>
                    <a:pt x="0" y="360"/>
                  </a:lnTo>
                  <a:lnTo>
                    <a:pt x="0" y="384"/>
                  </a:lnTo>
                  <a:lnTo>
                    <a:pt x="18" y="402"/>
                  </a:lnTo>
                  <a:lnTo>
                    <a:pt x="30" y="402"/>
                  </a:lnTo>
                  <a:lnTo>
                    <a:pt x="30" y="390"/>
                  </a:lnTo>
                  <a:lnTo>
                    <a:pt x="54" y="390"/>
                  </a:lnTo>
                  <a:lnTo>
                    <a:pt x="60" y="408"/>
                  </a:lnTo>
                  <a:lnTo>
                    <a:pt x="42" y="408"/>
                  </a:lnTo>
                  <a:lnTo>
                    <a:pt x="30" y="420"/>
                  </a:lnTo>
                  <a:lnTo>
                    <a:pt x="24" y="414"/>
                  </a:lnTo>
                  <a:lnTo>
                    <a:pt x="18" y="414"/>
                  </a:lnTo>
                  <a:lnTo>
                    <a:pt x="6" y="420"/>
                  </a:lnTo>
                  <a:lnTo>
                    <a:pt x="0" y="432"/>
                  </a:lnTo>
                  <a:lnTo>
                    <a:pt x="0" y="438"/>
                  </a:lnTo>
                  <a:lnTo>
                    <a:pt x="12" y="450"/>
                  </a:lnTo>
                  <a:lnTo>
                    <a:pt x="6" y="468"/>
                  </a:lnTo>
                  <a:lnTo>
                    <a:pt x="258" y="624"/>
                  </a:lnTo>
                  <a:lnTo>
                    <a:pt x="270" y="636"/>
                  </a:lnTo>
                  <a:lnTo>
                    <a:pt x="270" y="642"/>
                  </a:lnTo>
                  <a:lnTo>
                    <a:pt x="264" y="648"/>
                  </a:lnTo>
                  <a:lnTo>
                    <a:pt x="258" y="648"/>
                  </a:lnTo>
                  <a:lnTo>
                    <a:pt x="252" y="654"/>
                  </a:lnTo>
                  <a:lnTo>
                    <a:pt x="366" y="762"/>
                  </a:lnTo>
                  <a:lnTo>
                    <a:pt x="384" y="756"/>
                  </a:lnTo>
                  <a:lnTo>
                    <a:pt x="414" y="690"/>
                  </a:lnTo>
                  <a:lnTo>
                    <a:pt x="414" y="660"/>
                  </a:lnTo>
                  <a:lnTo>
                    <a:pt x="426" y="648"/>
                  </a:lnTo>
                  <a:lnTo>
                    <a:pt x="432" y="648"/>
                  </a:lnTo>
                  <a:lnTo>
                    <a:pt x="444" y="636"/>
                  </a:lnTo>
                  <a:lnTo>
                    <a:pt x="444" y="624"/>
                  </a:lnTo>
                  <a:lnTo>
                    <a:pt x="438" y="618"/>
                  </a:lnTo>
                  <a:lnTo>
                    <a:pt x="438" y="600"/>
                  </a:lnTo>
                  <a:lnTo>
                    <a:pt x="444" y="594"/>
                  </a:lnTo>
                  <a:lnTo>
                    <a:pt x="456" y="588"/>
                  </a:lnTo>
                  <a:lnTo>
                    <a:pt x="468" y="588"/>
                  </a:lnTo>
                  <a:lnTo>
                    <a:pt x="474" y="582"/>
                  </a:lnTo>
                  <a:lnTo>
                    <a:pt x="480" y="582"/>
                  </a:lnTo>
                  <a:lnTo>
                    <a:pt x="486" y="540"/>
                  </a:lnTo>
                  <a:lnTo>
                    <a:pt x="516" y="540"/>
                  </a:lnTo>
                  <a:lnTo>
                    <a:pt x="528" y="534"/>
                  </a:lnTo>
                  <a:lnTo>
                    <a:pt x="534" y="522"/>
                  </a:lnTo>
                  <a:lnTo>
                    <a:pt x="540" y="516"/>
                  </a:lnTo>
                  <a:lnTo>
                    <a:pt x="498" y="450"/>
                  </a:lnTo>
                  <a:lnTo>
                    <a:pt x="498" y="150"/>
                  </a:lnTo>
                  <a:close/>
                </a:path>
              </a:pathLst>
            </a:custGeom>
            <a:grpFill/>
            <a:ln w="3175">
              <a:solidFill>
                <a:schemeClr val="bg1"/>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de-DE" sz="1800" b="0" i="0" u="none" strike="noStrike" kern="1200" cap="none" spc="0" normalizeH="0" baseline="0" noProof="0">
                <a:ln>
                  <a:noFill/>
                </a:ln>
                <a:solidFill>
                  <a:srgbClr val="FFC000"/>
                </a:solidFill>
                <a:effectLst/>
                <a:uLnTx/>
                <a:uFillTx/>
                <a:latin typeface="Calibri" pitchFamily="34" charset="0"/>
                <a:ea typeface="+mn-ea"/>
                <a:cs typeface="+mn-cs"/>
              </a:endParaRPr>
            </a:p>
          </p:txBody>
        </p:sp>
        <p:sp>
          <p:nvSpPr>
            <p:cNvPr id="111" name="Kazakhstan" descr="© INSCALE GmbH, 05.05.2010&#10;http://www.presentationload.com/"/>
            <p:cNvSpPr>
              <a:spLocks noEditPoints="1"/>
            </p:cNvSpPr>
            <p:nvPr/>
          </p:nvSpPr>
          <p:spPr bwMode="gray">
            <a:xfrm>
              <a:off x="5439699" y="2928356"/>
              <a:ext cx="815258" cy="362537"/>
            </a:xfrm>
            <a:custGeom>
              <a:avLst/>
              <a:gdLst>
                <a:gd name="T0" fmla="*/ 2147483647 w 2514"/>
                <a:gd name="T1" fmla="*/ 2147483647 h 1164"/>
                <a:gd name="T2" fmla="*/ 2147483647 w 2514"/>
                <a:gd name="T3" fmla="*/ 2147483647 h 1164"/>
                <a:gd name="T4" fmla="*/ 2147483647 w 2514"/>
                <a:gd name="T5" fmla="*/ 2147483647 h 1164"/>
                <a:gd name="T6" fmla="*/ 2147483647 w 2514"/>
                <a:gd name="T7" fmla="*/ 2147483647 h 1164"/>
                <a:gd name="T8" fmla="*/ 2147483647 w 2514"/>
                <a:gd name="T9" fmla="*/ 2147483647 h 1164"/>
                <a:gd name="T10" fmla="*/ 2147483647 w 2514"/>
                <a:gd name="T11" fmla="*/ 2147483647 h 1164"/>
                <a:gd name="T12" fmla="*/ 2147483647 w 2514"/>
                <a:gd name="T13" fmla="*/ 2147483647 h 1164"/>
                <a:gd name="T14" fmla="*/ 2147483647 w 2514"/>
                <a:gd name="T15" fmla="*/ 2147483647 h 1164"/>
                <a:gd name="T16" fmla="*/ 2147483647 w 2514"/>
                <a:gd name="T17" fmla="*/ 2147483647 h 1164"/>
                <a:gd name="T18" fmla="*/ 2147483647 w 2514"/>
                <a:gd name="T19" fmla="*/ 2147483647 h 1164"/>
                <a:gd name="T20" fmla="*/ 2147483647 w 2514"/>
                <a:gd name="T21" fmla="*/ 2147483647 h 1164"/>
                <a:gd name="T22" fmla="*/ 2147483647 w 2514"/>
                <a:gd name="T23" fmla="*/ 2147483647 h 1164"/>
                <a:gd name="T24" fmla="*/ 2147483647 w 2514"/>
                <a:gd name="T25" fmla="*/ 2147483647 h 1164"/>
                <a:gd name="T26" fmla="*/ 2147483647 w 2514"/>
                <a:gd name="T27" fmla="*/ 2147483647 h 1164"/>
                <a:gd name="T28" fmla="*/ 2147483647 w 2514"/>
                <a:gd name="T29" fmla="*/ 2147483647 h 1164"/>
                <a:gd name="T30" fmla="*/ 2147483647 w 2514"/>
                <a:gd name="T31" fmla="*/ 2147483647 h 1164"/>
                <a:gd name="T32" fmla="*/ 2147483647 w 2514"/>
                <a:gd name="T33" fmla="*/ 2147483647 h 1164"/>
                <a:gd name="T34" fmla="*/ 2147483647 w 2514"/>
                <a:gd name="T35" fmla="*/ 2147483647 h 1164"/>
                <a:gd name="T36" fmla="*/ 2147483647 w 2514"/>
                <a:gd name="T37" fmla="*/ 2147483647 h 1164"/>
                <a:gd name="T38" fmla="*/ 2147483647 w 2514"/>
                <a:gd name="T39" fmla="*/ 2147483647 h 1164"/>
                <a:gd name="T40" fmla="*/ 2147483647 w 2514"/>
                <a:gd name="T41" fmla="*/ 2147483647 h 1164"/>
                <a:gd name="T42" fmla="*/ 2147483647 w 2514"/>
                <a:gd name="T43" fmla="*/ 2147483647 h 1164"/>
                <a:gd name="T44" fmla="*/ 2147483647 w 2514"/>
                <a:gd name="T45" fmla="*/ 2147483647 h 1164"/>
                <a:gd name="T46" fmla="*/ 2147483647 w 2514"/>
                <a:gd name="T47" fmla="*/ 2147483647 h 1164"/>
                <a:gd name="T48" fmla="*/ 2147483647 w 2514"/>
                <a:gd name="T49" fmla="*/ 2147483647 h 1164"/>
                <a:gd name="T50" fmla="*/ 2147483647 w 2514"/>
                <a:gd name="T51" fmla="*/ 2147483647 h 1164"/>
                <a:gd name="T52" fmla="*/ 2147483647 w 2514"/>
                <a:gd name="T53" fmla="*/ 2147483647 h 1164"/>
                <a:gd name="T54" fmla="*/ 2147483647 w 2514"/>
                <a:gd name="T55" fmla="*/ 2147483647 h 1164"/>
                <a:gd name="T56" fmla="*/ 2147483647 w 2514"/>
                <a:gd name="T57" fmla="*/ 2147483647 h 1164"/>
                <a:gd name="T58" fmla="*/ 2147483647 w 2514"/>
                <a:gd name="T59" fmla="*/ 2147483647 h 1164"/>
                <a:gd name="T60" fmla="*/ 2147483647 w 2514"/>
                <a:gd name="T61" fmla="*/ 2147483647 h 1164"/>
                <a:gd name="T62" fmla="*/ 2147483647 w 2514"/>
                <a:gd name="T63" fmla="*/ 2147483647 h 1164"/>
                <a:gd name="T64" fmla="*/ 2147483647 w 2514"/>
                <a:gd name="T65" fmla="*/ 2147483647 h 1164"/>
                <a:gd name="T66" fmla="*/ 2147483647 w 2514"/>
                <a:gd name="T67" fmla="*/ 2147483647 h 1164"/>
                <a:gd name="T68" fmla="*/ 2147483647 w 2514"/>
                <a:gd name="T69" fmla="*/ 2147483647 h 1164"/>
                <a:gd name="T70" fmla="*/ 2147483647 w 2514"/>
                <a:gd name="T71" fmla="*/ 2147483647 h 1164"/>
                <a:gd name="T72" fmla="*/ 2147483647 w 2514"/>
                <a:gd name="T73" fmla="*/ 2147483647 h 1164"/>
                <a:gd name="T74" fmla="*/ 2147483647 w 2514"/>
                <a:gd name="T75" fmla="*/ 2147483647 h 1164"/>
                <a:gd name="T76" fmla="*/ 2147483647 w 2514"/>
                <a:gd name="T77" fmla="*/ 2147483647 h 1164"/>
                <a:gd name="T78" fmla="*/ 2147483647 w 2514"/>
                <a:gd name="T79" fmla="*/ 2147483647 h 1164"/>
                <a:gd name="T80" fmla="*/ 2147483647 w 2514"/>
                <a:gd name="T81" fmla="*/ 2147483647 h 1164"/>
                <a:gd name="T82" fmla="*/ 2147483647 w 2514"/>
                <a:gd name="T83" fmla="*/ 2147483647 h 1164"/>
                <a:gd name="T84" fmla="*/ 2147483647 w 2514"/>
                <a:gd name="T85" fmla="*/ 2147483647 h 1164"/>
                <a:gd name="T86" fmla="*/ 2147483647 w 2514"/>
                <a:gd name="T87" fmla="*/ 2147483647 h 1164"/>
                <a:gd name="T88" fmla="*/ 2147483647 w 2514"/>
                <a:gd name="T89" fmla="*/ 2147483647 h 1164"/>
                <a:gd name="T90" fmla="*/ 2147483647 w 2514"/>
                <a:gd name="T91" fmla="*/ 2147483647 h 1164"/>
                <a:gd name="T92" fmla="*/ 2147483647 w 2514"/>
                <a:gd name="T93" fmla="*/ 2147483647 h 1164"/>
                <a:gd name="T94" fmla="*/ 2147483647 w 2514"/>
                <a:gd name="T95" fmla="*/ 2147483647 h 1164"/>
                <a:gd name="T96" fmla="*/ 2147483647 w 2514"/>
                <a:gd name="T97" fmla="*/ 2147483647 h 1164"/>
                <a:gd name="T98" fmla="*/ 2147483647 w 2514"/>
                <a:gd name="T99" fmla="*/ 2147483647 h 1164"/>
                <a:gd name="T100" fmla="*/ 2147483647 w 2514"/>
                <a:gd name="T101" fmla="*/ 2147483647 h 1164"/>
                <a:gd name="T102" fmla="*/ 2147483647 w 2514"/>
                <a:gd name="T103" fmla="*/ 2147483647 h 1164"/>
                <a:gd name="T104" fmla="*/ 2147483647 w 2514"/>
                <a:gd name="T105" fmla="*/ 2147483647 h 1164"/>
                <a:gd name="T106" fmla="*/ 2147483647 w 2514"/>
                <a:gd name="T107" fmla="*/ 2147483647 h 1164"/>
                <a:gd name="T108" fmla="*/ 2147483647 w 2514"/>
                <a:gd name="T109" fmla="*/ 2147483647 h 1164"/>
                <a:gd name="T110" fmla="*/ 2147483647 w 2514"/>
                <a:gd name="T111" fmla="*/ 2147483647 h 1164"/>
                <a:gd name="T112" fmla="*/ 2147483647 w 2514"/>
                <a:gd name="T113" fmla="*/ 2147483647 h 1164"/>
                <a:gd name="T114" fmla="*/ 2147483647 w 2514"/>
                <a:gd name="T115" fmla="*/ 2147483647 h 1164"/>
                <a:gd name="T116" fmla="*/ 2147483647 w 2514"/>
                <a:gd name="T117" fmla="*/ 2147483647 h 1164"/>
                <a:gd name="T118" fmla="*/ 2147483647 w 2514"/>
                <a:gd name="T119" fmla="*/ 2147483647 h 1164"/>
                <a:gd name="T120" fmla="*/ 2147483647 w 2514"/>
                <a:gd name="T121" fmla="*/ 2147483647 h 1164"/>
                <a:gd name="T122" fmla="*/ 2147483647 w 2514"/>
                <a:gd name="T123" fmla="*/ 2147483647 h 1164"/>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2514"/>
                <a:gd name="T187" fmla="*/ 0 h 1164"/>
                <a:gd name="T188" fmla="*/ 2514 w 2514"/>
                <a:gd name="T189" fmla="*/ 1164 h 1164"/>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2514" h="1164">
                  <a:moveTo>
                    <a:pt x="852" y="756"/>
                  </a:moveTo>
                  <a:lnTo>
                    <a:pt x="840" y="744"/>
                  </a:lnTo>
                  <a:lnTo>
                    <a:pt x="822" y="768"/>
                  </a:lnTo>
                  <a:lnTo>
                    <a:pt x="816" y="780"/>
                  </a:lnTo>
                  <a:lnTo>
                    <a:pt x="870" y="804"/>
                  </a:lnTo>
                  <a:lnTo>
                    <a:pt x="870" y="786"/>
                  </a:lnTo>
                  <a:lnTo>
                    <a:pt x="864" y="780"/>
                  </a:lnTo>
                  <a:lnTo>
                    <a:pt x="858" y="768"/>
                  </a:lnTo>
                  <a:lnTo>
                    <a:pt x="858" y="762"/>
                  </a:lnTo>
                  <a:lnTo>
                    <a:pt x="852" y="756"/>
                  </a:lnTo>
                  <a:close/>
                  <a:moveTo>
                    <a:pt x="2484" y="492"/>
                  </a:moveTo>
                  <a:lnTo>
                    <a:pt x="2484" y="486"/>
                  </a:lnTo>
                  <a:lnTo>
                    <a:pt x="2514" y="486"/>
                  </a:lnTo>
                  <a:lnTo>
                    <a:pt x="2478" y="444"/>
                  </a:lnTo>
                  <a:lnTo>
                    <a:pt x="2454" y="420"/>
                  </a:lnTo>
                  <a:lnTo>
                    <a:pt x="2442" y="456"/>
                  </a:lnTo>
                  <a:lnTo>
                    <a:pt x="2370" y="450"/>
                  </a:lnTo>
                  <a:lnTo>
                    <a:pt x="2370" y="444"/>
                  </a:lnTo>
                  <a:lnTo>
                    <a:pt x="2364" y="438"/>
                  </a:lnTo>
                  <a:lnTo>
                    <a:pt x="2358" y="426"/>
                  </a:lnTo>
                  <a:lnTo>
                    <a:pt x="2352" y="420"/>
                  </a:lnTo>
                  <a:lnTo>
                    <a:pt x="2346" y="408"/>
                  </a:lnTo>
                  <a:lnTo>
                    <a:pt x="2346" y="402"/>
                  </a:lnTo>
                  <a:lnTo>
                    <a:pt x="2340" y="402"/>
                  </a:lnTo>
                  <a:lnTo>
                    <a:pt x="2328" y="396"/>
                  </a:lnTo>
                  <a:lnTo>
                    <a:pt x="2316" y="396"/>
                  </a:lnTo>
                  <a:lnTo>
                    <a:pt x="2304" y="390"/>
                  </a:lnTo>
                  <a:lnTo>
                    <a:pt x="2292" y="390"/>
                  </a:lnTo>
                  <a:lnTo>
                    <a:pt x="2286" y="378"/>
                  </a:lnTo>
                  <a:lnTo>
                    <a:pt x="2274" y="372"/>
                  </a:lnTo>
                  <a:lnTo>
                    <a:pt x="2250" y="348"/>
                  </a:lnTo>
                  <a:lnTo>
                    <a:pt x="2226" y="336"/>
                  </a:lnTo>
                  <a:lnTo>
                    <a:pt x="2208" y="336"/>
                  </a:lnTo>
                  <a:lnTo>
                    <a:pt x="2196" y="342"/>
                  </a:lnTo>
                  <a:lnTo>
                    <a:pt x="2178" y="348"/>
                  </a:lnTo>
                  <a:lnTo>
                    <a:pt x="2166" y="354"/>
                  </a:lnTo>
                  <a:lnTo>
                    <a:pt x="2160" y="366"/>
                  </a:lnTo>
                  <a:lnTo>
                    <a:pt x="2136" y="366"/>
                  </a:lnTo>
                  <a:lnTo>
                    <a:pt x="2124" y="360"/>
                  </a:lnTo>
                  <a:lnTo>
                    <a:pt x="2118" y="348"/>
                  </a:lnTo>
                  <a:lnTo>
                    <a:pt x="2106" y="342"/>
                  </a:lnTo>
                  <a:lnTo>
                    <a:pt x="2076" y="342"/>
                  </a:lnTo>
                  <a:lnTo>
                    <a:pt x="2076" y="336"/>
                  </a:lnTo>
                  <a:lnTo>
                    <a:pt x="2070" y="330"/>
                  </a:lnTo>
                  <a:lnTo>
                    <a:pt x="2070" y="318"/>
                  </a:lnTo>
                  <a:lnTo>
                    <a:pt x="2064" y="312"/>
                  </a:lnTo>
                  <a:lnTo>
                    <a:pt x="2052" y="312"/>
                  </a:lnTo>
                  <a:lnTo>
                    <a:pt x="2052" y="318"/>
                  </a:lnTo>
                  <a:lnTo>
                    <a:pt x="2046" y="324"/>
                  </a:lnTo>
                  <a:lnTo>
                    <a:pt x="2046" y="336"/>
                  </a:lnTo>
                  <a:lnTo>
                    <a:pt x="2034" y="348"/>
                  </a:lnTo>
                  <a:lnTo>
                    <a:pt x="2022" y="354"/>
                  </a:lnTo>
                  <a:lnTo>
                    <a:pt x="2010" y="354"/>
                  </a:lnTo>
                  <a:lnTo>
                    <a:pt x="1998" y="348"/>
                  </a:lnTo>
                  <a:lnTo>
                    <a:pt x="1986" y="336"/>
                  </a:lnTo>
                  <a:lnTo>
                    <a:pt x="1974" y="318"/>
                  </a:lnTo>
                  <a:lnTo>
                    <a:pt x="1938" y="282"/>
                  </a:lnTo>
                  <a:lnTo>
                    <a:pt x="1920" y="258"/>
                  </a:lnTo>
                  <a:lnTo>
                    <a:pt x="1848" y="198"/>
                  </a:lnTo>
                  <a:lnTo>
                    <a:pt x="1818" y="168"/>
                  </a:lnTo>
                  <a:lnTo>
                    <a:pt x="1800" y="156"/>
                  </a:lnTo>
                  <a:lnTo>
                    <a:pt x="1788" y="150"/>
                  </a:lnTo>
                  <a:lnTo>
                    <a:pt x="1758" y="132"/>
                  </a:lnTo>
                  <a:lnTo>
                    <a:pt x="1728" y="120"/>
                  </a:lnTo>
                  <a:lnTo>
                    <a:pt x="1692" y="102"/>
                  </a:lnTo>
                  <a:lnTo>
                    <a:pt x="1698" y="102"/>
                  </a:lnTo>
                  <a:lnTo>
                    <a:pt x="1710" y="90"/>
                  </a:lnTo>
                  <a:lnTo>
                    <a:pt x="1710" y="72"/>
                  </a:lnTo>
                  <a:lnTo>
                    <a:pt x="1704" y="66"/>
                  </a:lnTo>
                  <a:lnTo>
                    <a:pt x="1698" y="66"/>
                  </a:lnTo>
                  <a:lnTo>
                    <a:pt x="1680" y="84"/>
                  </a:lnTo>
                  <a:lnTo>
                    <a:pt x="1644" y="96"/>
                  </a:lnTo>
                  <a:lnTo>
                    <a:pt x="1632" y="114"/>
                  </a:lnTo>
                  <a:lnTo>
                    <a:pt x="1620" y="114"/>
                  </a:lnTo>
                  <a:lnTo>
                    <a:pt x="1608" y="120"/>
                  </a:lnTo>
                  <a:lnTo>
                    <a:pt x="1602" y="126"/>
                  </a:lnTo>
                  <a:lnTo>
                    <a:pt x="1602" y="144"/>
                  </a:lnTo>
                  <a:lnTo>
                    <a:pt x="1590" y="156"/>
                  </a:lnTo>
                  <a:lnTo>
                    <a:pt x="1578" y="150"/>
                  </a:lnTo>
                  <a:lnTo>
                    <a:pt x="1572" y="144"/>
                  </a:lnTo>
                  <a:lnTo>
                    <a:pt x="1560" y="138"/>
                  </a:lnTo>
                  <a:lnTo>
                    <a:pt x="1554" y="132"/>
                  </a:lnTo>
                  <a:lnTo>
                    <a:pt x="1548" y="132"/>
                  </a:lnTo>
                  <a:lnTo>
                    <a:pt x="1542" y="138"/>
                  </a:lnTo>
                  <a:lnTo>
                    <a:pt x="1536" y="138"/>
                  </a:lnTo>
                  <a:lnTo>
                    <a:pt x="1530" y="144"/>
                  </a:lnTo>
                  <a:lnTo>
                    <a:pt x="1524" y="144"/>
                  </a:lnTo>
                  <a:lnTo>
                    <a:pt x="1524" y="138"/>
                  </a:lnTo>
                  <a:lnTo>
                    <a:pt x="1530" y="132"/>
                  </a:lnTo>
                  <a:lnTo>
                    <a:pt x="1530" y="108"/>
                  </a:lnTo>
                  <a:lnTo>
                    <a:pt x="1518" y="102"/>
                  </a:lnTo>
                  <a:lnTo>
                    <a:pt x="1512" y="102"/>
                  </a:lnTo>
                  <a:lnTo>
                    <a:pt x="1506" y="108"/>
                  </a:lnTo>
                  <a:lnTo>
                    <a:pt x="1482" y="96"/>
                  </a:lnTo>
                  <a:lnTo>
                    <a:pt x="1458" y="108"/>
                  </a:lnTo>
                  <a:lnTo>
                    <a:pt x="1434" y="72"/>
                  </a:lnTo>
                  <a:lnTo>
                    <a:pt x="1422" y="90"/>
                  </a:lnTo>
                  <a:lnTo>
                    <a:pt x="1404" y="90"/>
                  </a:lnTo>
                  <a:lnTo>
                    <a:pt x="1392" y="96"/>
                  </a:lnTo>
                  <a:lnTo>
                    <a:pt x="1374" y="96"/>
                  </a:lnTo>
                  <a:lnTo>
                    <a:pt x="1368" y="90"/>
                  </a:lnTo>
                  <a:lnTo>
                    <a:pt x="1368" y="48"/>
                  </a:lnTo>
                  <a:lnTo>
                    <a:pt x="1362" y="42"/>
                  </a:lnTo>
                  <a:lnTo>
                    <a:pt x="1350" y="42"/>
                  </a:lnTo>
                  <a:lnTo>
                    <a:pt x="1344" y="36"/>
                  </a:lnTo>
                  <a:lnTo>
                    <a:pt x="1338" y="24"/>
                  </a:lnTo>
                  <a:lnTo>
                    <a:pt x="1320" y="6"/>
                  </a:lnTo>
                  <a:lnTo>
                    <a:pt x="1314" y="6"/>
                  </a:lnTo>
                  <a:lnTo>
                    <a:pt x="1302" y="18"/>
                  </a:lnTo>
                  <a:lnTo>
                    <a:pt x="1290" y="18"/>
                  </a:lnTo>
                  <a:lnTo>
                    <a:pt x="1278" y="6"/>
                  </a:lnTo>
                  <a:lnTo>
                    <a:pt x="1260" y="6"/>
                  </a:lnTo>
                  <a:lnTo>
                    <a:pt x="1242" y="0"/>
                  </a:lnTo>
                  <a:lnTo>
                    <a:pt x="1218" y="0"/>
                  </a:lnTo>
                  <a:lnTo>
                    <a:pt x="1200" y="6"/>
                  </a:lnTo>
                  <a:lnTo>
                    <a:pt x="1188" y="12"/>
                  </a:lnTo>
                  <a:lnTo>
                    <a:pt x="1176" y="24"/>
                  </a:lnTo>
                  <a:lnTo>
                    <a:pt x="1176" y="36"/>
                  </a:lnTo>
                  <a:lnTo>
                    <a:pt x="1164" y="36"/>
                  </a:lnTo>
                  <a:lnTo>
                    <a:pt x="1110" y="54"/>
                  </a:lnTo>
                  <a:lnTo>
                    <a:pt x="1020" y="54"/>
                  </a:lnTo>
                  <a:lnTo>
                    <a:pt x="1014" y="60"/>
                  </a:lnTo>
                  <a:lnTo>
                    <a:pt x="1014" y="78"/>
                  </a:lnTo>
                  <a:lnTo>
                    <a:pt x="948" y="78"/>
                  </a:lnTo>
                  <a:lnTo>
                    <a:pt x="942" y="96"/>
                  </a:lnTo>
                  <a:lnTo>
                    <a:pt x="888" y="96"/>
                  </a:lnTo>
                  <a:lnTo>
                    <a:pt x="828" y="102"/>
                  </a:lnTo>
                  <a:lnTo>
                    <a:pt x="792" y="114"/>
                  </a:lnTo>
                  <a:lnTo>
                    <a:pt x="780" y="126"/>
                  </a:lnTo>
                  <a:lnTo>
                    <a:pt x="780" y="132"/>
                  </a:lnTo>
                  <a:lnTo>
                    <a:pt x="786" y="138"/>
                  </a:lnTo>
                  <a:lnTo>
                    <a:pt x="786" y="144"/>
                  </a:lnTo>
                  <a:lnTo>
                    <a:pt x="810" y="144"/>
                  </a:lnTo>
                  <a:lnTo>
                    <a:pt x="798" y="162"/>
                  </a:lnTo>
                  <a:lnTo>
                    <a:pt x="810" y="162"/>
                  </a:lnTo>
                  <a:lnTo>
                    <a:pt x="834" y="174"/>
                  </a:lnTo>
                  <a:lnTo>
                    <a:pt x="846" y="174"/>
                  </a:lnTo>
                  <a:lnTo>
                    <a:pt x="858" y="186"/>
                  </a:lnTo>
                  <a:lnTo>
                    <a:pt x="804" y="186"/>
                  </a:lnTo>
                  <a:lnTo>
                    <a:pt x="792" y="198"/>
                  </a:lnTo>
                  <a:lnTo>
                    <a:pt x="798" y="204"/>
                  </a:lnTo>
                  <a:lnTo>
                    <a:pt x="804" y="216"/>
                  </a:lnTo>
                  <a:lnTo>
                    <a:pt x="810" y="222"/>
                  </a:lnTo>
                  <a:lnTo>
                    <a:pt x="810" y="234"/>
                  </a:lnTo>
                  <a:lnTo>
                    <a:pt x="798" y="246"/>
                  </a:lnTo>
                  <a:lnTo>
                    <a:pt x="786" y="246"/>
                  </a:lnTo>
                  <a:lnTo>
                    <a:pt x="774" y="252"/>
                  </a:lnTo>
                  <a:lnTo>
                    <a:pt x="762" y="252"/>
                  </a:lnTo>
                  <a:lnTo>
                    <a:pt x="792" y="282"/>
                  </a:lnTo>
                  <a:lnTo>
                    <a:pt x="816" y="282"/>
                  </a:lnTo>
                  <a:lnTo>
                    <a:pt x="834" y="288"/>
                  </a:lnTo>
                  <a:lnTo>
                    <a:pt x="846" y="294"/>
                  </a:lnTo>
                  <a:lnTo>
                    <a:pt x="870" y="318"/>
                  </a:lnTo>
                  <a:lnTo>
                    <a:pt x="876" y="336"/>
                  </a:lnTo>
                  <a:lnTo>
                    <a:pt x="876" y="348"/>
                  </a:lnTo>
                  <a:lnTo>
                    <a:pt x="870" y="360"/>
                  </a:lnTo>
                  <a:lnTo>
                    <a:pt x="864" y="366"/>
                  </a:lnTo>
                  <a:lnTo>
                    <a:pt x="828" y="366"/>
                  </a:lnTo>
                  <a:lnTo>
                    <a:pt x="816" y="360"/>
                  </a:lnTo>
                  <a:lnTo>
                    <a:pt x="810" y="354"/>
                  </a:lnTo>
                  <a:lnTo>
                    <a:pt x="798" y="354"/>
                  </a:lnTo>
                  <a:lnTo>
                    <a:pt x="792" y="348"/>
                  </a:lnTo>
                  <a:lnTo>
                    <a:pt x="780" y="372"/>
                  </a:lnTo>
                  <a:lnTo>
                    <a:pt x="768" y="372"/>
                  </a:lnTo>
                  <a:lnTo>
                    <a:pt x="756" y="366"/>
                  </a:lnTo>
                  <a:lnTo>
                    <a:pt x="732" y="366"/>
                  </a:lnTo>
                  <a:lnTo>
                    <a:pt x="708" y="354"/>
                  </a:lnTo>
                  <a:lnTo>
                    <a:pt x="702" y="342"/>
                  </a:lnTo>
                  <a:lnTo>
                    <a:pt x="690" y="336"/>
                  </a:lnTo>
                  <a:lnTo>
                    <a:pt x="684" y="330"/>
                  </a:lnTo>
                  <a:lnTo>
                    <a:pt x="672" y="330"/>
                  </a:lnTo>
                  <a:lnTo>
                    <a:pt x="666" y="336"/>
                  </a:lnTo>
                  <a:lnTo>
                    <a:pt x="654" y="342"/>
                  </a:lnTo>
                  <a:lnTo>
                    <a:pt x="636" y="348"/>
                  </a:lnTo>
                  <a:lnTo>
                    <a:pt x="624" y="348"/>
                  </a:lnTo>
                  <a:lnTo>
                    <a:pt x="588" y="330"/>
                  </a:lnTo>
                  <a:lnTo>
                    <a:pt x="582" y="330"/>
                  </a:lnTo>
                  <a:lnTo>
                    <a:pt x="570" y="336"/>
                  </a:lnTo>
                  <a:lnTo>
                    <a:pt x="558" y="348"/>
                  </a:lnTo>
                  <a:lnTo>
                    <a:pt x="546" y="354"/>
                  </a:lnTo>
                  <a:lnTo>
                    <a:pt x="540" y="366"/>
                  </a:lnTo>
                  <a:lnTo>
                    <a:pt x="534" y="372"/>
                  </a:lnTo>
                  <a:lnTo>
                    <a:pt x="462" y="336"/>
                  </a:lnTo>
                  <a:lnTo>
                    <a:pt x="450" y="336"/>
                  </a:lnTo>
                  <a:lnTo>
                    <a:pt x="450" y="342"/>
                  </a:lnTo>
                  <a:lnTo>
                    <a:pt x="462" y="354"/>
                  </a:lnTo>
                  <a:lnTo>
                    <a:pt x="462" y="372"/>
                  </a:lnTo>
                  <a:lnTo>
                    <a:pt x="450" y="372"/>
                  </a:lnTo>
                  <a:lnTo>
                    <a:pt x="438" y="360"/>
                  </a:lnTo>
                  <a:lnTo>
                    <a:pt x="438" y="354"/>
                  </a:lnTo>
                  <a:lnTo>
                    <a:pt x="426" y="324"/>
                  </a:lnTo>
                  <a:lnTo>
                    <a:pt x="390" y="324"/>
                  </a:lnTo>
                  <a:lnTo>
                    <a:pt x="384" y="312"/>
                  </a:lnTo>
                  <a:lnTo>
                    <a:pt x="384" y="306"/>
                  </a:lnTo>
                  <a:lnTo>
                    <a:pt x="378" y="300"/>
                  </a:lnTo>
                  <a:lnTo>
                    <a:pt x="318" y="300"/>
                  </a:lnTo>
                  <a:lnTo>
                    <a:pt x="312" y="288"/>
                  </a:lnTo>
                  <a:lnTo>
                    <a:pt x="306" y="282"/>
                  </a:lnTo>
                  <a:lnTo>
                    <a:pt x="288" y="282"/>
                  </a:lnTo>
                  <a:lnTo>
                    <a:pt x="276" y="288"/>
                  </a:lnTo>
                  <a:lnTo>
                    <a:pt x="264" y="300"/>
                  </a:lnTo>
                  <a:lnTo>
                    <a:pt x="234" y="300"/>
                  </a:lnTo>
                  <a:lnTo>
                    <a:pt x="228" y="294"/>
                  </a:lnTo>
                  <a:lnTo>
                    <a:pt x="228" y="288"/>
                  </a:lnTo>
                  <a:lnTo>
                    <a:pt x="222" y="288"/>
                  </a:lnTo>
                  <a:lnTo>
                    <a:pt x="210" y="282"/>
                  </a:lnTo>
                  <a:lnTo>
                    <a:pt x="180" y="282"/>
                  </a:lnTo>
                  <a:lnTo>
                    <a:pt x="180" y="288"/>
                  </a:lnTo>
                  <a:lnTo>
                    <a:pt x="186" y="294"/>
                  </a:lnTo>
                  <a:lnTo>
                    <a:pt x="186" y="312"/>
                  </a:lnTo>
                  <a:lnTo>
                    <a:pt x="174" y="324"/>
                  </a:lnTo>
                  <a:lnTo>
                    <a:pt x="162" y="330"/>
                  </a:lnTo>
                  <a:lnTo>
                    <a:pt x="150" y="330"/>
                  </a:lnTo>
                  <a:lnTo>
                    <a:pt x="138" y="336"/>
                  </a:lnTo>
                  <a:lnTo>
                    <a:pt x="132" y="336"/>
                  </a:lnTo>
                  <a:lnTo>
                    <a:pt x="132" y="360"/>
                  </a:lnTo>
                  <a:lnTo>
                    <a:pt x="102" y="372"/>
                  </a:lnTo>
                  <a:lnTo>
                    <a:pt x="114" y="384"/>
                  </a:lnTo>
                  <a:lnTo>
                    <a:pt x="120" y="396"/>
                  </a:lnTo>
                  <a:lnTo>
                    <a:pt x="114" y="402"/>
                  </a:lnTo>
                  <a:lnTo>
                    <a:pt x="108" y="414"/>
                  </a:lnTo>
                  <a:lnTo>
                    <a:pt x="102" y="420"/>
                  </a:lnTo>
                  <a:lnTo>
                    <a:pt x="90" y="420"/>
                  </a:lnTo>
                  <a:lnTo>
                    <a:pt x="78" y="414"/>
                  </a:lnTo>
                  <a:lnTo>
                    <a:pt x="72" y="402"/>
                  </a:lnTo>
                  <a:lnTo>
                    <a:pt x="60" y="396"/>
                  </a:lnTo>
                  <a:lnTo>
                    <a:pt x="48" y="384"/>
                  </a:lnTo>
                  <a:lnTo>
                    <a:pt x="36" y="378"/>
                  </a:lnTo>
                  <a:lnTo>
                    <a:pt x="24" y="378"/>
                  </a:lnTo>
                  <a:lnTo>
                    <a:pt x="18" y="384"/>
                  </a:lnTo>
                  <a:lnTo>
                    <a:pt x="18" y="396"/>
                  </a:lnTo>
                  <a:lnTo>
                    <a:pt x="24" y="402"/>
                  </a:lnTo>
                  <a:lnTo>
                    <a:pt x="24" y="426"/>
                  </a:lnTo>
                  <a:lnTo>
                    <a:pt x="0" y="426"/>
                  </a:lnTo>
                  <a:lnTo>
                    <a:pt x="6" y="462"/>
                  </a:lnTo>
                  <a:lnTo>
                    <a:pt x="12" y="468"/>
                  </a:lnTo>
                  <a:lnTo>
                    <a:pt x="12" y="492"/>
                  </a:lnTo>
                  <a:lnTo>
                    <a:pt x="0" y="516"/>
                  </a:lnTo>
                  <a:lnTo>
                    <a:pt x="0" y="546"/>
                  </a:lnTo>
                  <a:lnTo>
                    <a:pt x="6" y="546"/>
                  </a:lnTo>
                  <a:lnTo>
                    <a:pt x="12" y="552"/>
                  </a:lnTo>
                  <a:lnTo>
                    <a:pt x="36" y="552"/>
                  </a:lnTo>
                  <a:lnTo>
                    <a:pt x="42" y="558"/>
                  </a:lnTo>
                  <a:lnTo>
                    <a:pt x="42" y="588"/>
                  </a:lnTo>
                  <a:lnTo>
                    <a:pt x="48" y="594"/>
                  </a:lnTo>
                  <a:lnTo>
                    <a:pt x="90" y="594"/>
                  </a:lnTo>
                  <a:lnTo>
                    <a:pt x="102" y="588"/>
                  </a:lnTo>
                  <a:lnTo>
                    <a:pt x="114" y="588"/>
                  </a:lnTo>
                  <a:lnTo>
                    <a:pt x="162" y="636"/>
                  </a:lnTo>
                  <a:lnTo>
                    <a:pt x="168" y="648"/>
                  </a:lnTo>
                  <a:lnTo>
                    <a:pt x="180" y="660"/>
                  </a:lnTo>
                  <a:lnTo>
                    <a:pt x="180" y="672"/>
                  </a:lnTo>
                  <a:lnTo>
                    <a:pt x="144" y="672"/>
                  </a:lnTo>
                  <a:lnTo>
                    <a:pt x="144" y="678"/>
                  </a:lnTo>
                  <a:lnTo>
                    <a:pt x="156" y="690"/>
                  </a:lnTo>
                  <a:lnTo>
                    <a:pt x="174" y="696"/>
                  </a:lnTo>
                  <a:lnTo>
                    <a:pt x="186" y="696"/>
                  </a:lnTo>
                  <a:lnTo>
                    <a:pt x="192" y="702"/>
                  </a:lnTo>
                  <a:lnTo>
                    <a:pt x="198" y="702"/>
                  </a:lnTo>
                  <a:lnTo>
                    <a:pt x="204" y="690"/>
                  </a:lnTo>
                  <a:lnTo>
                    <a:pt x="222" y="690"/>
                  </a:lnTo>
                  <a:lnTo>
                    <a:pt x="228" y="684"/>
                  </a:lnTo>
                  <a:lnTo>
                    <a:pt x="246" y="672"/>
                  </a:lnTo>
                  <a:lnTo>
                    <a:pt x="306" y="648"/>
                  </a:lnTo>
                  <a:lnTo>
                    <a:pt x="324" y="642"/>
                  </a:lnTo>
                  <a:lnTo>
                    <a:pt x="336" y="648"/>
                  </a:lnTo>
                  <a:lnTo>
                    <a:pt x="342" y="654"/>
                  </a:lnTo>
                  <a:lnTo>
                    <a:pt x="360" y="666"/>
                  </a:lnTo>
                  <a:lnTo>
                    <a:pt x="366" y="672"/>
                  </a:lnTo>
                  <a:lnTo>
                    <a:pt x="384" y="672"/>
                  </a:lnTo>
                  <a:lnTo>
                    <a:pt x="390" y="666"/>
                  </a:lnTo>
                  <a:lnTo>
                    <a:pt x="402" y="666"/>
                  </a:lnTo>
                  <a:lnTo>
                    <a:pt x="408" y="660"/>
                  </a:lnTo>
                  <a:lnTo>
                    <a:pt x="414" y="666"/>
                  </a:lnTo>
                  <a:lnTo>
                    <a:pt x="426" y="672"/>
                  </a:lnTo>
                  <a:lnTo>
                    <a:pt x="450" y="696"/>
                  </a:lnTo>
                  <a:lnTo>
                    <a:pt x="450" y="726"/>
                  </a:lnTo>
                  <a:lnTo>
                    <a:pt x="444" y="732"/>
                  </a:lnTo>
                  <a:lnTo>
                    <a:pt x="444" y="738"/>
                  </a:lnTo>
                  <a:lnTo>
                    <a:pt x="438" y="744"/>
                  </a:lnTo>
                  <a:lnTo>
                    <a:pt x="438" y="750"/>
                  </a:lnTo>
                  <a:lnTo>
                    <a:pt x="444" y="756"/>
                  </a:lnTo>
                  <a:lnTo>
                    <a:pt x="450" y="768"/>
                  </a:lnTo>
                  <a:lnTo>
                    <a:pt x="462" y="774"/>
                  </a:lnTo>
                  <a:lnTo>
                    <a:pt x="474" y="786"/>
                  </a:lnTo>
                  <a:lnTo>
                    <a:pt x="486" y="786"/>
                  </a:lnTo>
                  <a:lnTo>
                    <a:pt x="504" y="768"/>
                  </a:lnTo>
                  <a:lnTo>
                    <a:pt x="516" y="762"/>
                  </a:lnTo>
                  <a:lnTo>
                    <a:pt x="528" y="762"/>
                  </a:lnTo>
                  <a:lnTo>
                    <a:pt x="528" y="792"/>
                  </a:lnTo>
                  <a:lnTo>
                    <a:pt x="546" y="810"/>
                  </a:lnTo>
                  <a:lnTo>
                    <a:pt x="510" y="816"/>
                  </a:lnTo>
                  <a:lnTo>
                    <a:pt x="510" y="828"/>
                  </a:lnTo>
                  <a:lnTo>
                    <a:pt x="504" y="834"/>
                  </a:lnTo>
                  <a:lnTo>
                    <a:pt x="498" y="834"/>
                  </a:lnTo>
                  <a:lnTo>
                    <a:pt x="486" y="822"/>
                  </a:lnTo>
                  <a:lnTo>
                    <a:pt x="486" y="816"/>
                  </a:lnTo>
                  <a:lnTo>
                    <a:pt x="498" y="804"/>
                  </a:lnTo>
                  <a:lnTo>
                    <a:pt x="504" y="804"/>
                  </a:lnTo>
                  <a:lnTo>
                    <a:pt x="510" y="798"/>
                  </a:lnTo>
                  <a:lnTo>
                    <a:pt x="480" y="798"/>
                  </a:lnTo>
                  <a:lnTo>
                    <a:pt x="462" y="792"/>
                  </a:lnTo>
                  <a:lnTo>
                    <a:pt x="450" y="792"/>
                  </a:lnTo>
                  <a:lnTo>
                    <a:pt x="432" y="786"/>
                  </a:lnTo>
                  <a:lnTo>
                    <a:pt x="408" y="786"/>
                  </a:lnTo>
                  <a:lnTo>
                    <a:pt x="390" y="780"/>
                  </a:lnTo>
                  <a:lnTo>
                    <a:pt x="372" y="780"/>
                  </a:lnTo>
                  <a:lnTo>
                    <a:pt x="360" y="774"/>
                  </a:lnTo>
                  <a:lnTo>
                    <a:pt x="348" y="774"/>
                  </a:lnTo>
                  <a:lnTo>
                    <a:pt x="360" y="804"/>
                  </a:lnTo>
                  <a:lnTo>
                    <a:pt x="342" y="804"/>
                  </a:lnTo>
                  <a:lnTo>
                    <a:pt x="330" y="816"/>
                  </a:lnTo>
                  <a:lnTo>
                    <a:pt x="330" y="822"/>
                  </a:lnTo>
                  <a:lnTo>
                    <a:pt x="336" y="828"/>
                  </a:lnTo>
                  <a:lnTo>
                    <a:pt x="348" y="834"/>
                  </a:lnTo>
                  <a:lnTo>
                    <a:pt x="354" y="840"/>
                  </a:lnTo>
                  <a:lnTo>
                    <a:pt x="366" y="840"/>
                  </a:lnTo>
                  <a:lnTo>
                    <a:pt x="372" y="846"/>
                  </a:lnTo>
                  <a:lnTo>
                    <a:pt x="372" y="852"/>
                  </a:lnTo>
                  <a:lnTo>
                    <a:pt x="360" y="852"/>
                  </a:lnTo>
                  <a:lnTo>
                    <a:pt x="348" y="846"/>
                  </a:lnTo>
                  <a:lnTo>
                    <a:pt x="336" y="846"/>
                  </a:lnTo>
                  <a:lnTo>
                    <a:pt x="324" y="840"/>
                  </a:lnTo>
                  <a:lnTo>
                    <a:pt x="306" y="834"/>
                  </a:lnTo>
                  <a:lnTo>
                    <a:pt x="300" y="834"/>
                  </a:lnTo>
                  <a:lnTo>
                    <a:pt x="294" y="840"/>
                  </a:lnTo>
                  <a:lnTo>
                    <a:pt x="294" y="846"/>
                  </a:lnTo>
                  <a:lnTo>
                    <a:pt x="306" y="858"/>
                  </a:lnTo>
                  <a:lnTo>
                    <a:pt x="318" y="864"/>
                  </a:lnTo>
                  <a:lnTo>
                    <a:pt x="324" y="870"/>
                  </a:lnTo>
                  <a:lnTo>
                    <a:pt x="336" y="870"/>
                  </a:lnTo>
                  <a:lnTo>
                    <a:pt x="336" y="882"/>
                  </a:lnTo>
                  <a:lnTo>
                    <a:pt x="342" y="894"/>
                  </a:lnTo>
                  <a:lnTo>
                    <a:pt x="366" y="918"/>
                  </a:lnTo>
                  <a:lnTo>
                    <a:pt x="372" y="930"/>
                  </a:lnTo>
                  <a:lnTo>
                    <a:pt x="372" y="954"/>
                  </a:lnTo>
                  <a:lnTo>
                    <a:pt x="408" y="960"/>
                  </a:lnTo>
                  <a:lnTo>
                    <a:pt x="414" y="978"/>
                  </a:lnTo>
                  <a:lnTo>
                    <a:pt x="444" y="978"/>
                  </a:lnTo>
                  <a:lnTo>
                    <a:pt x="480" y="996"/>
                  </a:lnTo>
                  <a:lnTo>
                    <a:pt x="486" y="1002"/>
                  </a:lnTo>
                  <a:lnTo>
                    <a:pt x="486" y="1014"/>
                  </a:lnTo>
                  <a:lnTo>
                    <a:pt x="480" y="1020"/>
                  </a:lnTo>
                  <a:lnTo>
                    <a:pt x="468" y="1026"/>
                  </a:lnTo>
                  <a:lnTo>
                    <a:pt x="462" y="1038"/>
                  </a:lnTo>
                  <a:lnTo>
                    <a:pt x="462" y="1056"/>
                  </a:lnTo>
                  <a:lnTo>
                    <a:pt x="468" y="1062"/>
                  </a:lnTo>
                  <a:lnTo>
                    <a:pt x="492" y="1062"/>
                  </a:lnTo>
                  <a:lnTo>
                    <a:pt x="498" y="1056"/>
                  </a:lnTo>
                  <a:lnTo>
                    <a:pt x="504" y="1038"/>
                  </a:lnTo>
                  <a:lnTo>
                    <a:pt x="510" y="1026"/>
                  </a:lnTo>
                  <a:lnTo>
                    <a:pt x="516" y="1020"/>
                  </a:lnTo>
                  <a:lnTo>
                    <a:pt x="528" y="1020"/>
                  </a:lnTo>
                  <a:lnTo>
                    <a:pt x="546" y="1026"/>
                  </a:lnTo>
                  <a:lnTo>
                    <a:pt x="546" y="1020"/>
                  </a:lnTo>
                  <a:lnTo>
                    <a:pt x="552" y="1014"/>
                  </a:lnTo>
                  <a:lnTo>
                    <a:pt x="570" y="1014"/>
                  </a:lnTo>
                  <a:lnTo>
                    <a:pt x="594" y="1026"/>
                  </a:lnTo>
                  <a:lnTo>
                    <a:pt x="606" y="1026"/>
                  </a:lnTo>
                  <a:lnTo>
                    <a:pt x="618" y="1038"/>
                  </a:lnTo>
                  <a:lnTo>
                    <a:pt x="630" y="1044"/>
                  </a:lnTo>
                  <a:lnTo>
                    <a:pt x="636" y="1056"/>
                  </a:lnTo>
                  <a:lnTo>
                    <a:pt x="642" y="1062"/>
                  </a:lnTo>
                  <a:lnTo>
                    <a:pt x="648" y="1074"/>
                  </a:lnTo>
                  <a:lnTo>
                    <a:pt x="672" y="1098"/>
                  </a:lnTo>
                  <a:lnTo>
                    <a:pt x="684" y="1104"/>
                  </a:lnTo>
                  <a:lnTo>
                    <a:pt x="690" y="1110"/>
                  </a:lnTo>
                  <a:lnTo>
                    <a:pt x="696" y="1104"/>
                  </a:lnTo>
                  <a:lnTo>
                    <a:pt x="696" y="1098"/>
                  </a:lnTo>
                  <a:lnTo>
                    <a:pt x="702" y="1092"/>
                  </a:lnTo>
                  <a:lnTo>
                    <a:pt x="654" y="810"/>
                  </a:lnTo>
                  <a:lnTo>
                    <a:pt x="798" y="768"/>
                  </a:lnTo>
                  <a:lnTo>
                    <a:pt x="804" y="774"/>
                  </a:lnTo>
                  <a:lnTo>
                    <a:pt x="804" y="762"/>
                  </a:lnTo>
                  <a:lnTo>
                    <a:pt x="810" y="756"/>
                  </a:lnTo>
                  <a:lnTo>
                    <a:pt x="810" y="750"/>
                  </a:lnTo>
                  <a:lnTo>
                    <a:pt x="816" y="738"/>
                  </a:lnTo>
                  <a:lnTo>
                    <a:pt x="816" y="732"/>
                  </a:lnTo>
                  <a:lnTo>
                    <a:pt x="822" y="726"/>
                  </a:lnTo>
                  <a:lnTo>
                    <a:pt x="846" y="726"/>
                  </a:lnTo>
                  <a:lnTo>
                    <a:pt x="852" y="750"/>
                  </a:lnTo>
                  <a:lnTo>
                    <a:pt x="864" y="744"/>
                  </a:lnTo>
                  <a:lnTo>
                    <a:pt x="870" y="744"/>
                  </a:lnTo>
                  <a:lnTo>
                    <a:pt x="876" y="738"/>
                  </a:lnTo>
                  <a:lnTo>
                    <a:pt x="876" y="732"/>
                  </a:lnTo>
                  <a:lnTo>
                    <a:pt x="852" y="708"/>
                  </a:lnTo>
                  <a:lnTo>
                    <a:pt x="870" y="708"/>
                  </a:lnTo>
                  <a:lnTo>
                    <a:pt x="882" y="720"/>
                  </a:lnTo>
                  <a:lnTo>
                    <a:pt x="936" y="720"/>
                  </a:lnTo>
                  <a:lnTo>
                    <a:pt x="924" y="708"/>
                  </a:lnTo>
                  <a:lnTo>
                    <a:pt x="918" y="708"/>
                  </a:lnTo>
                  <a:lnTo>
                    <a:pt x="906" y="696"/>
                  </a:lnTo>
                  <a:lnTo>
                    <a:pt x="882" y="696"/>
                  </a:lnTo>
                  <a:lnTo>
                    <a:pt x="876" y="690"/>
                  </a:lnTo>
                  <a:lnTo>
                    <a:pt x="876" y="684"/>
                  </a:lnTo>
                  <a:lnTo>
                    <a:pt x="882" y="678"/>
                  </a:lnTo>
                  <a:lnTo>
                    <a:pt x="906" y="678"/>
                  </a:lnTo>
                  <a:lnTo>
                    <a:pt x="924" y="666"/>
                  </a:lnTo>
                  <a:lnTo>
                    <a:pt x="930" y="672"/>
                  </a:lnTo>
                  <a:lnTo>
                    <a:pt x="936" y="684"/>
                  </a:lnTo>
                  <a:lnTo>
                    <a:pt x="942" y="690"/>
                  </a:lnTo>
                  <a:lnTo>
                    <a:pt x="948" y="690"/>
                  </a:lnTo>
                  <a:lnTo>
                    <a:pt x="954" y="684"/>
                  </a:lnTo>
                  <a:lnTo>
                    <a:pt x="960" y="690"/>
                  </a:lnTo>
                  <a:lnTo>
                    <a:pt x="966" y="702"/>
                  </a:lnTo>
                  <a:lnTo>
                    <a:pt x="966" y="708"/>
                  </a:lnTo>
                  <a:lnTo>
                    <a:pt x="960" y="714"/>
                  </a:lnTo>
                  <a:lnTo>
                    <a:pt x="954" y="714"/>
                  </a:lnTo>
                  <a:lnTo>
                    <a:pt x="942" y="720"/>
                  </a:lnTo>
                  <a:lnTo>
                    <a:pt x="924" y="738"/>
                  </a:lnTo>
                  <a:lnTo>
                    <a:pt x="888" y="738"/>
                  </a:lnTo>
                  <a:lnTo>
                    <a:pt x="882" y="744"/>
                  </a:lnTo>
                  <a:lnTo>
                    <a:pt x="882" y="756"/>
                  </a:lnTo>
                  <a:lnTo>
                    <a:pt x="888" y="762"/>
                  </a:lnTo>
                  <a:lnTo>
                    <a:pt x="900" y="762"/>
                  </a:lnTo>
                  <a:lnTo>
                    <a:pt x="906" y="768"/>
                  </a:lnTo>
                  <a:lnTo>
                    <a:pt x="918" y="768"/>
                  </a:lnTo>
                  <a:lnTo>
                    <a:pt x="918" y="786"/>
                  </a:lnTo>
                  <a:lnTo>
                    <a:pt x="912" y="798"/>
                  </a:lnTo>
                  <a:lnTo>
                    <a:pt x="912" y="816"/>
                  </a:lnTo>
                  <a:lnTo>
                    <a:pt x="918" y="822"/>
                  </a:lnTo>
                  <a:lnTo>
                    <a:pt x="984" y="858"/>
                  </a:lnTo>
                  <a:lnTo>
                    <a:pt x="1062" y="930"/>
                  </a:lnTo>
                  <a:lnTo>
                    <a:pt x="1068" y="930"/>
                  </a:lnTo>
                  <a:lnTo>
                    <a:pt x="1074" y="924"/>
                  </a:lnTo>
                  <a:lnTo>
                    <a:pt x="1110" y="924"/>
                  </a:lnTo>
                  <a:lnTo>
                    <a:pt x="1128" y="918"/>
                  </a:lnTo>
                  <a:lnTo>
                    <a:pt x="1188" y="918"/>
                  </a:lnTo>
                  <a:lnTo>
                    <a:pt x="1206" y="924"/>
                  </a:lnTo>
                  <a:lnTo>
                    <a:pt x="1224" y="924"/>
                  </a:lnTo>
                  <a:lnTo>
                    <a:pt x="1230" y="918"/>
                  </a:lnTo>
                  <a:lnTo>
                    <a:pt x="1254" y="906"/>
                  </a:lnTo>
                  <a:lnTo>
                    <a:pt x="1266" y="906"/>
                  </a:lnTo>
                  <a:lnTo>
                    <a:pt x="1272" y="918"/>
                  </a:lnTo>
                  <a:lnTo>
                    <a:pt x="1290" y="936"/>
                  </a:lnTo>
                  <a:lnTo>
                    <a:pt x="1296" y="954"/>
                  </a:lnTo>
                  <a:lnTo>
                    <a:pt x="1308" y="960"/>
                  </a:lnTo>
                  <a:lnTo>
                    <a:pt x="1314" y="972"/>
                  </a:lnTo>
                  <a:lnTo>
                    <a:pt x="1344" y="972"/>
                  </a:lnTo>
                  <a:lnTo>
                    <a:pt x="1344" y="984"/>
                  </a:lnTo>
                  <a:lnTo>
                    <a:pt x="1350" y="1002"/>
                  </a:lnTo>
                  <a:lnTo>
                    <a:pt x="1350" y="1044"/>
                  </a:lnTo>
                  <a:lnTo>
                    <a:pt x="1356" y="1050"/>
                  </a:lnTo>
                  <a:lnTo>
                    <a:pt x="1362" y="1050"/>
                  </a:lnTo>
                  <a:lnTo>
                    <a:pt x="1368" y="1044"/>
                  </a:lnTo>
                  <a:lnTo>
                    <a:pt x="1380" y="1044"/>
                  </a:lnTo>
                  <a:lnTo>
                    <a:pt x="1386" y="1050"/>
                  </a:lnTo>
                  <a:lnTo>
                    <a:pt x="1416" y="1110"/>
                  </a:lnTo>
                  <a:lnTo>
                    <a:pt x="1494" y="1110"/>
                  </a:lnTo>
                  <a:lnTo>
                    <a:pt x="1512" y="1116"/>
                  </a:lnTo>
                  <a:lnTo>
                    <a:pt x="1512" y="1134"/>
                  </a:lnTo>
                  <a:lnTo>
                    <a:pt x="1506" y="1140"/>
                  </a:lnTo>
                  <a:lnTo>
                    <a:pt x="1506" y="1152"/>
                  </a:lnTo>
                  <a:lnTo>
                    <a:pt x="1512" y="1152"/>
                  </a:lnTo>
                  <a:lnTo>
                    <a:pt x="1524" y="1158"/>
                  </a:lnTo>
                  <a:lnTo>
                    <a:pt x="1536" y="1158"/>
                  </a:lnTo>
                  <a:lnTo>
                    <a:pt x="1542" y="1164"/>
                  </a:lnTo>
                  <a:lnTo>
                    <a:pt x="1542" y="1152"/>
                  </a:lnTo>
                  <a:lnTo>
                    <a:pt x="1536" y="1146"/>
                  </a:lnTo>
                  <a:lnTo>
                    <a:pt x="1536" y="1134"/>
                  </a:lnTo>
                  <a:lnTo>
                    <a:pt x="1548" y="1122"/>
                  </a:lnTo>
                  <a:lnTo>
                    <a:pt x="1560" y="1116"/>
                  </a:lnTo>
                  <a:lnTo>
                    <a:pt x="1566" y="1110"/>
                  </a:lnTo>
                  <a:lnTo>
                    <a:pt x="1572" y="1110"/>
                  </a:lnTo>
                  <a:lnTo>
                    <a:pt x="1572" y="1092"/>
                  </a:lnTo>
                  <a:lnTo>
                    <a:pt x="1584" y="1080"/>
                  </a:lnTo>
                  <a:lnTo>
                    <a:pt x="1596" y="1074"/>
                  </a:lnTo>
                  <a:lnTo>
                    <a:pt x="1608" y="1074"/>
                  </a:lnTo>
                  <a:lnTo>
                    <a:pt x="1614" y="1068"/>
                  </a:lnTo>
                  <a:lnTo>
                    <a:pt x="1620" y="1068"/>
                  </a:lnTo>
                  <a:lnTo>
                    <a:pt x="1632" y="1044"/>
                  </a:lnTo>
                  <a:lnTo>
                    <a:pt x="1656" y="1044"/>
                  </a:lnTo>
                  <a:lnTo>
                    <a:pt x="1686" y="1026"/>
                  </a:lnTo>
                  <a:lnTo>
                    <a:pt x="1662" y="1026"/>
                  </a:lnTo>
                  <a:lnTo>
                    <a:pt x="1662" y="1008"/>
                  </a:lnTo>
                  <a:lnTo>
                    <a:pt x="1668" y="996"/>
                  </a:lnTo>
                  <a:lnTo>
                    <a:pt x="1686" y="978"/>
                  </a:lnTo>
                  <a:lnTo>
                    <a:pt x="1716" y="978"/>
                  </a:lnTo>
                  <a:lnTo>
                    <a:pt x="1728" y="984"/>
                  </a:lnTo>
                  <a:lnTo>
                    <a:pt x="1746" y="990"/>
                  </a:lnTo>
                  <a:lnTo>
                    <a:pt x="1782" y="1008"/>
                  </a:lnTo>
                  <a:lnTo>
                    <a:pt x="1812" y="1008"/>
                  </a:lnTo>
                  <a:lnTo>
                    <a:pt x="1830" y="1014"/>
                  </a:lnTo>
                  <a:lnTo>
                    <a:pt x="1830" y="1002"/>
                  </a:lnTo>
                  <a:lnTo>
                    <a:pt x="1824" y="990"/>
                  </a:lnTo>
                  <a:lnTo>
                    <a:pt x="1824" y="960"/>
                  </a:lnTo>
                  <a:lnTo>
                    <a:pt x="1830" y="954"/>
                  </a:lnTo>
                  <a:lnTo>
                    <a:pt x="1872" y="954"/>
                  </a:lnTo>
                  <a:lnTo>
                    <a:pt x="1884" y="960"/>
                  </a:lnTo>
                  <a:lnTo>
                    <a:pt x="1890" y="972"/>
                  </a:lnTo>
                  <a:lnTo>
                    <a:pt x="1914" y="972"/>
                  </a:lnTo>
                  <a:lnTo>
                    <a:pt x="1926" y="978"/>
                  </a:lnTo>
                  <a:lnTo>
                    <a:pt x="1944" y="978"/>
                  </a:lnTo>
                  <a:lnTo>
                    <a:pt x="1962" y="972"/>
                  </a:lnTo>
                  <a:lnTo>
                    <a:pt x="2082" y="972"/>
                  </a:lnTo>
                  <a:lnTo>
                    <a:pt x="2094" y="978"/>
                  </a:lnTo>
                  <a:lnTo>
                    <a:pt x="2106" y="978"/>
                  </a:lnTo>
                  <a:lnTo>
                    <a:pt x="2154" y="972"/>
                  </a:lnTo>
                  <a:lnTo>
                    <a:pt x="2166" y="984"/>
                  </a:lnTo>
                  <a:lnTo>
                    <a:pt x="2184" y="984"/>
                  </a:lnTo>
                  <a:lnTo>
                    <a:pt x="2208" y="1014"/>
                  </a:lnTo>
                  <a:lnTo>
                    <a:pt x="2250" y="1014"/>
                  </a:lnTo>
                  <a:lnTo>
                    <a:pt x="2268" y="1020"/>
                  </a:lnTo>
                  <a:lnTo>
                    <a:pt x="2262" y="1014"/>
                  </a:lnTo>
                  <a:lnTo>
                    <a:pt x="2262" y="1002"/>
                  </a:lnTo>
                  <a:lnTo>
                    <a:pt x="2256" y="996"/>
                  </a:lnTo>
                  <a:lnTo>
                    <a:pt x="2256" y="984"/>
                  </a:lnTo>
                  <a:lnTo>
                    <a:pt x="2280" y="984"/>
                  </a:lnTo>
                  <a:lnTo>
                    <a:pt x="2262" y="966"/>
                  </a:lnTo>
                  <a:lnTo>
                    <a:pt x="2262" y="960"/>
                  </a:lnTo>
                  <a:lnTo>
                    <a:pt x="2268" y="954"/>
                  </a:lnTo>
                  <a:lnTo>
                    <a:pt x="2286" y="954"/>
                  </a:lnTo>
                  <a:lnTo>
                    <a:pt x="2286" y="942"/>
                  </a:lnTo>
                  <a:lnTo>
                    <a:pt x="2274" y="936"/>
                  </a:lnTo>
                  <a:lnTo>
                    <a:pt x="2268" y="924"/>
                  </a:lnTo>
                  <a:lnTo>
                    <a:pt x="2226" y="882"/>
                  </a:lnTo>
                  <a:lnTo>
                    <a:pt x="2214" y="858"/>
                  </a:lnTo>
                  <a:lnTo>
                    <a:pt x="2214" y="828"/>
                  </a:lnTo>
                  <a:lnTo>
                    <a:pt x="2196" y="828"/>
                  </a:lnTo>
                  <a:lnTo>
                    <a:pt x="2184" y="822"/>
                  </a:lnTo>
                  <a:lnTo>
                    <a:pt x="2178" y="816"/>
                  </a:lnTo>
                  <a:lnTo>
                    <a:pt x="2178" y="810"/>
                  </a:lnTo>
                  <a:lnTo>
                    <a:pt x="2184" y="804"/>
                  </a:lnTo>
                  <a:lnTo>
                    <a:pt x="2196" y="798"/>
                  </a:lnTo>
                  <a:lnTo>
                    <a:pt x="2208" y="798"/>
                  </a:lnTo>
                  <a:lnTo>
                    <a:pt x="2220" y="792"/>
                  </a:lnTo>
                  <a:lnTo>
                    <a:pt x="2232" y="792"/>
                  </a:lnTo>
                  <a:lnTo>
                    <a:pt x="2268" y="774"/>
                  </a:lnTo>
                  <a:lnTo>
                    <a:pt x="2280" y="774"/>
                  </a:lnTo>
                  <a:lnTo>
                    <a:pt x="2286" y="780"/>
                  </a:lnTo>
                  <a:lnTo>
                    <a:pt x="2292" y="792"/>
                  </a:lnTo>
                  <a:lnTo>
                    <a:pt x="2298" y="798"/>
                  </a:lnTo>
                  <a:lnTo>
                    <a:pt x="2316" y="786"/>
                  </a:lnTo>
                  <a:lnTo>
                    <a:pt x="2328" y="798"/>
                  </a:lnTo>
                  <a:lnTo>
                    <a:pt x="2334" y="798"/>
                  </a:lnTo>
                  <a:lnTo>
                    <a:pt x="2340" y="792"/>
                  </a:lnTo>
                  <a:lnTo>
                    <a:pt x="2340" y="780"/>
                  </a:lnTo>
                  <a:lnTo>
                    <a:pt x="2334" y="774"/>
                  </a:lnTo>
                  <a:lnTo>
                    <a:pt x="2328" y="774"/>
                  </a:lnTo>
                  <a:lnTo>
                    <a:pt x="2322" y="768"/>
                  </a:lnTo>
                  <a:lnTo>
                    <a:pt x="2316" y="768"/>
                  </a:lnTo>
                  <a:lnTo>
                    <a:pt x="2316" y="630"/>
                  </a:lnTo>
                  <a:lnTo>
                    <a:pt x="2328" y="630"/>
                  </a:lnTo>
                  <a:lnTo>
                    <a:pt x="2340" y="636"/>
                  </a:lnTo>
                  <a:lnTo>
                    <a:pt x="2352" y="636"/>
                  </a:lnTo>
                  <a:lnTo>
                    <a:pt x="2376" y="648"/>
                  </a:lnTo>
                  <a:lnTo>
                    <a:pt x="2424" y="648"/>
                  </a:lnTo>
                  <a:lnTo>
                    <a:pt x="2436" y="660"/>
                  </a:lnTo>
                  <a:lnTo>
                    <a:pt x="2454" y="642"/>
                  </a:lnTo>
                  <a:lnTo>
                    <a:pt x="2472" y="642"/>
                  </a:lnTo>
                  <a:lnTo>
                    <a:pt x="2478" y="636"/>
                  </a:lnTo>
                  <a:lnTo>
                    <a:pt x="2478" y="618"/>
                  </a:lnTo>
                  <a:lnTo>
                    <a:pt x="2466" y="594"/>
                  </a:lnTo>
                  <a:lnTo>
                    <a:pt x="2454" y="582"/>
                  </a:lnTo>
                  <a:lnTo>
                    <a:pt x="2442" y="558"/>
                  </a:lnTo>
                  <a:lnTo>
                    <a:pt x="2442" y="540"/>
                  </a:lnTo>
                  <a:lnTo>
                    <a:pt x="2454" y="528"/>
                  </a:lnTo>
                  <a:lnTo>
                    <a:pt x="2496" y="528"/>
                  </a:lnTo>
                  <a:lnTo>
                    <a:pt x="2502" y="522"/>
                  </a:lnTo>
                  <a:lnTo>
                    <a:pt x="2502" y="510"/>
                  </a:lnTo>
                  <a:lnTo>
                    <a:pt x="2484" y="492"/>
                  </a:lnTo>
                  <a:close/>
                  <a:moveTo>
                    <a:pt x="2082" y="696"/>
                  </a:moveTo>
                  <a:lnTo>
                    <a:pt x="2046" y="696"/>
                  </a:lnTo>
                  <a:lnTo>
                    <a:pt x="2046" y="702"/>
                  </a:lnTo>
                  <a:lnTo>
                    <a:pt x="2040" y="708"/>
                  </a:lnTo>
                  <a:lnTo>
                    <a:pt x="2028" y="708"/>
                  </a:lnTo>
                  <a:lnTo>
                    <a:pt x="2022" y="702"/>
                  </a:lnTo>
                  <a:lnTo>
                    <a:pt x="2010" y="696"/>
                  </a:lnTo>
                  <a:lnTo>
                    <a:pt x="1980" y="702"/>
                  </a:lnTo>
                  <a:lnTo>
                    <a:pt x="1950" y="696"/>
                  </a:lnTo>
                  <a:lnTo>
                    <a:pt x="1932" y="696"/>
                  </a:lnTo>
                  <a:lnTo>
                    <a:pt x="1908" y="690"/>
                  </a:lnTo>
                  <a:lnTo>
                    <a:pt x="1860" y="690"/>
                  </a:lnTo>
                  <a:lnTo>
                    <a:pt x="1854" y="684"/>
                  </a:lnTo>
                  <a:lnTo>
                    <a:pt x="1854" y="678"/>
                  </a:lnTo>
                  <a:lnTo>
                    <a:pt x="1836" y="696"/>
                  </a:lnTo>
                  <a:lnTo>
                    <a:pt x="1830" y="696"/>
                  </a:lnTo>
                  <a:lnTo>
                    <a:pt x="1824" y="708"/>
                  </a:lnTo>
                  <a:lnTo>
                    <a:pt x="1824" y="714"/>
                  </a:lnTo>
                  <a:lnTo>
                    <a:pt x="1818" y="726"/>
                  </a:lnTo>
                  <a:lnTo>
                    <a:pt x="1812" y="732"/>
                  </a:lnTo>
                  <a:lnTo>
                    <a:pt x="1794" y="732"/>
                  </a:lnTo>
                  <a:lnTo>
                    <a:pt x="1800" y="762"/>
                  </a:lnTo>
                  <a:lnTo>
                    <a:pt x="1788" y="768"/>
                  </a:lnTo>
                  <a:lnTo>
                    <a:pt x="1806" y="786"/>
                  </a:lnTo>
                  <a:lnTo>
                    <a:pt x="1800" y="810"/>
                  </a:lnTo>
                  <a:lnTo>
                    <a:pt x="1794" y="810"/>
                  </a:lnTo>
                  <a:lnTo>
                    <a:pt x="1788" y="798"/>
                  </a:lnTo>
                  <a:lnTo>
                    <a:pt x="1776" y="792"/>
                  </a:lnTo>
                  <a:lnTo>
                    <a:pt x="1770" y="780"/>
                  </a:lnTo>
                  <a:lnTo>
                    <a:pt x="1758" y="774"/>
                  </a:lnTo>
                  <a:lnTo>
                    <a:pt x="1752" y="762"/>
                  </a:lnTo>
                  <a:lnTo>
                    <a:pt x="1752" y="750"/>
                  </a:lnTo>
                  <a:lnTo>
                    <a:pt x="1746" y="732"/>
                  </a:lnTo>
                  <a:lnTo>
                    <a:pt x="1746" y="720"/>
                  </a:lnTo>
                  <a:lnTo>
                    <a:pt x="1764" y="702"/>
                  </a:lnTo>
                  <a:lnTo>
                    <a:pt x="1776" y="702"/>
                  </a:lnTo>
                  <a:lnTo>
                    <a:pt x="1782" y="696"/>
                  </a:lnTo>
                  <a:lnTo>
                    <a:pt x="1788" y="684"/>
                  </a:lnTo>
                  <a:lnTo>
                    <a:pt x="1788" y="678"/>
                  </a:lnTo>
                  <a:lnTo>
                    <a:pt x="1800" y="666"/>
                  </a:lnTo>
                  <a:lnTo>
                    <a:pt x="1818" y="666"/>
                  </a:lnTo>
                  <a:lnTo>
                    <a:pt x="1830" y="672"/>
                  </a:lnTo>
                  <a:lnTo>
                    <a:pt x="1848" y="672"/>
                  </a:lnTo>
                  <a:lnTo>
                    <a:pt x="1854" y="666"/>
                  </a:lnTo>
                  <a:lnTo>
                    <a:pt x="1896" y="666"/>
                  </a:lnTo>
                  <a:lnTo>
                    <a:pt x="1908" y="672"/>
                  </a:lnTo>
                  <a:lnTo>
                    <a:pt x="1914" y="678"/>
                  </a:lnTo>
                  <a:lnTo>
                    <a:pt x="1932" y="678"/>
                  </a:lnTo>
                  <a:lnTo>
                    <a:pt x="1944" y="684"/>
                  </a:lnTo>
                  <a:lnTo>
                    <a:pt x="1974" y="684"/>
                  </a:lnTo>
                  <a:lnTo>
                    <a:pt x="1986" y="672"/>
                  </a:lnTo>
                  <a:lnTo>
                    <a:pt x="2028" y="672"/>
                  </a:lnTo>
                  <a:lnTo>
                    <a:pt x="2034" y="678"/>
                  </a:lnTo>
                  <a:lnTo>
                    <a:pt x="2046" y="678"/>
                  </a:lnTo>
                  <a:lnTo>
                    <a:pt x="2052" y="672"/>
                  </a:lnTo>
                  <a:lnTo>
                    <a:pt x="2064" y="666"/>
                  </a:lnTo>
                  <a:lnTo>
                    <a:pt x="2088" y="666"/>
                  </a:lnTo>
                  <a:lnTo>
                    <a:pt x="2088" y="684"/>
                  </a:lnTo>
                  <a:lnTo>
                    <a:pt x="2082" y="690"/>
                  </a:lnTo>
                  <a:lnTo>
                    <a:pt x="2082" y="696"/>
                  </a:lnTo>
                  <a:close/>
                </a:path>
              </a:pathLst>
            </a:custGeom>
            <a:grpFill/>
            <a:ln w="3175">
              <a:solidFill>
                <a:schemeClr val="bg1"/>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de-DE" sz="1800" b="0" i="0" u="none" strike="noStrike" kern="1200" cap="none" spc="0" normalizeH="0" baseline="0" noProof="0">
                <a:ln>
                  <a:noFill/>
                </a:ln>
                <a:solidFill>
                  <a:srgbClr val="FFC000"/>
                </a:solidFill>
                <a:effectLst/>
                <a:uLnTx/>
                <a:uFillTx/>
                <a:latin typeface="Calibri" pitchFamily="34" charset="0"/>
                <a:ea typeface="+mn-ea"/>
                <a:cs typeface="+mn-cs"/>
              </a:endParaRPr>
            </a:p>
          </p:txBody>
        </p:sp>
        <p:sp>
          <p:nvSpPr>
            <p:cNvPr id="112" name="Jordan" descr="© INSCALE GmbH, 05.05.2010&#10;http://www.presentationload.com/"/>
            <p:cNvSpPr>
              <a:spLocks/>
            </p:cNvSpPr>
            <p:nvPr/>
          </p:nvSpPr>
          <p:spPr bwMode="gray">
            <a:xfrm>
              <a:off x="5252842" y="3470938"/>
              <a:ext cx="90869" cy="105332"/>
            </a:xfrm>
            <a:custGeom>
              <a:avLst/>
              <a:gdLst>
                <a:gd name="T0" fmla="*/ 2147483647 w 282"/>
                <a:gd name="T1" fmla="*/ 2147483647 h 336"/>
                <a:gd name="T2" fmla="*/ 2147483647 w 282"/>
                <a:gd name="T3" fmla="*/ 2147483647 h 336"/>
                <a:gd name="T4" fmla="*/ 2147483647 w 282"/>
                <a:gd name="T5" fmla="*/ 0 h 336"/>
                <a:gd name="T6" fmla="*/ 2147483647 w 282"/>
                <a:gd name="T7" fmla="*/ 2147483647 h 336"/>
                <a:gd name="T8" fmla="*/ 2147483647 w 282"/>
                <a:gd name="T9" fmla="*/ 2147483647 h 336"/>
                <a:gd name="T10" fmla="*/ 2147483647 w 282"/>
                <a:gd name="T11" fmla="*/ 2147483647 h 336"/>
                <a:gd name="T12" fmla="*/ 2147483647 w 282"/>
                <a:gd name="T13" fmla="*/ 2147483647 h 336"/>
                <a:gd name="T14" fmla="*/ 2147483647 w 282"/>
                <a:gd name="T15" fmla="*/ 2147483647 h 336"/>
                <a:gd name="T16" fmla="*/ 2147483647 w 282"/>
                <a:gd name="T17" fmla="*/ 2147483647 h 336"/>
                <a:gd name="T18" fmla="*/ 2147483647 w 282"/>
                <a:gd name="T19" fmla="*/ 2147483647 h 336"/>
                <a:gd name="T20" fmla="*/ 2147483647 w 282"/>
                <a:gd name="T21" fmla="*/ 2147483647 h 336"/>
                <a:gd name="T22" fmla="*/ 2147483647 w 282"/>
                <a:gd name="T23" fmla="*/ 2147483647 h 336"/>
                <a:gd name="T24" fmla="*/ 2147483647 w 282"/>
                <a:gd name="T25" fmla="*/ 2147483647 h 336"/>
                <a:gd name="T26" fmla="*/ 2147483647 w 282"/>
                <a:gd name="T27" fmla="*/ 2147483647 h 336"/>
                <a:gd name="T28" fmla="*/ 2147483647 w 282"/>
                <a:gd name="T29" fmla="*/ 2147483647 h 336"/>
                <a:gd name="T30" fmla="*/ 2147483647 w 282"/>
                <a:gd name="T31" fmla="*/ 2147483647 h 336"/>
                <a:gd name="T32" fmla="*/ 2147483647 w 282"/>
                <a:gd name="T33" fmla="*/ 2147483647 h 336"/>
                <a:gd name="T34" fmla="*/ 2147483647 w 282"/>
                <a:gd name="T35" fmla="*/ 2147483647 h 336"/>
                <a:gd name="T36" fmla="*/ 2147483647 w 282"/>
                <a:gd name="T37" fmla="*/ 2147483647 h 336"/>
                <a:gd name="T38" fmla="*/ 2147483647 w 282"/>
                <a:gd name="T39" fmla="*/ 2147483647 h 336"/>
                <a:gd name="T40" fmla="*/ 2147483647 w 282"/>
                <a:gd name="T41" fmla="*/ 2147483647 h 336"/>
                <a:gd name="T42" fmla="*/ 2147483647 w 282"/>
                <a:gd name="T43" fmla="*/ 2147483647 h 336"/>
                <a:gd name="T44" fmla="*/ 2147483647 w 282"/>
                <a:gd name="T45" fmla="*/ 2147483647 h 336"/>
                <a:gd name="T46" fmla="*/ 0 w 282"/>
                <a:gd name="T47" fmla="*/ 2147483647 h 336"/>
                <a:gd name="T48" fmla="*/ 0 w 282"/>
                <a:gd name="T49" fmla="*/ 2147483647 h 336"/>
                <a:gd name="T50" fmla="*/ 2147483647 w 282"/>
                <a:gd name="T51" fmla="*/ 2147483647 h 336"/>
                <a:gd name="T52" fmla="*/ 2147483647 w 282"/>
                <a:gd name="T53" fmla="*/ 2147483647 h 336"/>
                <a:gd name="T54" fmla="*/ 2147483647 w 282"/>
                <a:gd name="T55" fmla="*/ 2147483647 h 336"/>
                <a:gd name="T56" fmla="*/ 2147483647 w 282"/>
                <a:gd name="T57" fmla="*/ 2147483647 h 336"/>
                <a:gd name="T58" fmla="*/ 2147483647 w 282"/>
                <a:gd name="T59" fmla="*/ 2147483647 h 336"/>
                <a:gd name="T60" fmla="*/ 2147483647 w 282"/>
                <a:gd name="T61" fmla="*/ 2147483647 h 336"/>
                <a:gd name="T62" fmla="*/ 2147483647 w 282"/>
                <a:gd name="T63" fmla="*/ 2147483647 h 336"/>
                <a:gd name="T64" fmla="*/ 2147483647 w 282"/>
                <a:gd name="T65" fmla="*/ 2147483647 h 336"/>
                <a:gd name="T66" fmla="*/ 2147483647 w 282"/>
                <a:gd name="T67" fmla="*/ 2147483647 h 336"/>
                <a:gd name="T68" fmla="*/ 2147483647 w 282"/>
                <a:gd name="T69" fmla="*/ 2147483647 h 336"/>
                <a:gd name="T70" fmla="*/ 2147483647 w 282"/>
                <a:gd name="T71" fmla="*/ 2147483647 h 336"/>
                <a:gd name="T72" fmla="*/ 2147483647 w 282"/>
                <a:gd name="T73" fmla="*/ 2147483647 h 336"/>
                <a:gd name="T74" fmla="*/ 2147483647 w 282"/>
                <a:gd name="T75" fmla="*/ 2147483647 h 336"/>
                <a:gd name="T76" fmla="*/ 2147483647 w 282"/>
                <a:gd name="T77" fmla="*/ 2147483647 h 336"/>
                <a:gd name="T78" fmla="*/ 2147483647 w 282"/>
                <a:gd name="T79" fmla="*/ 2147483647 h 336"/>
                <a:gd name="T80" fmla="*/ 2147483647 w 282"/>
                <a:gd name="T81" fmla="*/ 2147483647 h 336"/>
                <a:gd name="T82" fmla="*/ 2147483647 w 282"/>
                <a:gd name="T83" fmla="*/ 2147483647 h 336"/>
                <a:gd name="T84" fmla="*/ 2147483647 w 282"/>
                <a:gd name="T85" fmla="*/ 2147483647 h 336"/>
                <a:gd name="T86" fmla="*/ 2147483647 w 282"/>
                <a:gd name="T87" fmla="*/ 2147483647 h 336"/>
                <a:gd name="T88" fmla="*/ 2147483647 w 282"/>
                <a:gd name="T89" fmla="*/ 2147483647 h 336"/>
                <a:gd name="T90" fmla="*/ 2147483647 w 282"/>
                <a:gd name="T91" fmla="*/ 2147483647 h 336"/>
                <a:gd name="T92" fmla="*/ 2147483647 w 282"/>
                <a:gd name="T93" fmla="*/ 2147483647 h 336"/>
                <a:gd name="T94" fmla="*/ 2147483647 w 282"/>
                <a:gd name="T95" fmla="*/ 2147483647 h 336"/>
                <a:gd name="T96" fmla="*/ 2147483647 w 282"/>
                <a:gd name="T97" fmla="*/ 2147483647 h 336"/>
                <a:gd name="T98" fmla="*/ 2147483647 w 282"/>
                <a:gd name="T99" fmla="*/ 2147483647 h 336"/>
                <a:gd name="T100" fmla="*/ 2147483647 w 282"/>
                <a:gd name="T101" fmla="*/ 2147483647 h 336"/>
                <a:gd name="T102" fmla="*/ 2147483647 w 282"/>
                <a:gd name="T103" fmla="*/ 2147483647 h 336"/>
                <a:gd name="T104" fmla="*/ 2147483647 w 282"/>
                <a:gd name="T105" fmla="*/ 2147483647 h 336"/>
                <a:gd name="T106" fmla="*/ 2147483647 w 282"/>
                <a:gd name="T107" fmla="*/ 2147483647 h 336"/>
                <a:gd name="T108" fmla="*/ 2147483647 w 282"/>
                <a:gd name="T109" fmla="*/ 2147483647 h 336"/>
                <a:gd name="T110" fmla="*/ 2147483647 w 282"/>
                <a:gd name="T111" fmla="*/ 2147483647 h 336"/>
                <a:gd name="T112" fmla="*/ 2147483647 w 282"/>
                <a:gd name="T113" fmla="*/ 2147483647 h 336"/>
                <a:gd name="T114" fmla="*/ 2147483647 w 282"/>
                <a:gd name="T115" fmla="*/ 2147483647 h 336"/>
                <a:gd name="T116" fmla="*/ 2147483647 w 282"/>
                <a:gd name="T117" fmla="*/ 2147483647 h 336"/>
                <a:gd name="T118" fmla="*/ 2147483647 w 282"/>
                <a:gd name="T119" fmla="*/ 2147483647 h 336"/>
                <a:gd name="T120" fmla="*/ 2147483647 w 282"/>
                <a:gd name="T121" fmla="*/ 2147483647 h 336"/>
                <a:gd name="T122" fmla="*/ 2147483647 w 282"/>
                <a:gd name="T123" fmla="*/ 2147483647 h 3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282"/>
                <a:gd name="T187" fmla="*/ 0 h 336"/>
                <a:gd name="T188" fmla="*/ 282 w 282"/>
                <a:gd name="T189" fmla="*/ 336 h 3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282" h="336">
                  <a:moveTo>
                    <a:pt x="258" y="60"/>
                  </a:moveTo>
                  <a:lnTo>
                    <a:pt x="258" y="42"/>
                  </a:lnTo>
                  <a:lnTo>
                    <a:pt x="234" y="0"/>
                  </a:lnTo>
                  <a:lnTo>
                    <a:pt x="222" y="6"/>
                  </a:lnTo>
                  <a:lnTo>
                    <a:pt x="198" y="30"/>
                  </a:lnTo>
                  <a:lnTo>
                    <a:pt x="138" y="78"/>
                  </a:lnTo>
                  <a:lnTo>
                    <a:pt x="114" y="84"/>
                  </a:lnTo>
                  <a:lnTo>
                    <a:pt x="96" y="84"/>
                  </a:lnTo>
                  <a:lnTo>
                    <a:pt x="84" y="78"/>
                  </a:lnTo>
                  <a:lnTo>
                    <a:pt x="72" y="66"/>
                  </a:lnTo>
                  <a:lnTo>
                    <a:pt x="36" y="48"/>
                  </a:lnTo>
                  <a:lnTo>
                    <a:pt x="30" y="48"/>
                  </a:lnTo>
                  <a:lnTo>
                    <a:pt x="24" y="66"/>
                  </a:lnTo>
                  <a:lnTo>
                    <a:pt x="30" y="138"/>
                  </a:lnTo>
                  <a:lnTo>
                    <a:pt x="18" y="150"/>
                  </a:lnTo>
                  <a:lnTo>
                    <a:pt x="18" y="162"/>
                  </a:lnTo>
                  <a:lnTo>
                    <a:pt x="30" y="174"/>
                  </a:lnTo>
                  <a:lnTo>
                    <a:pt x="30" y="186"/>
                  </a:lnTo>
                  <a:lnTo>
                    <a:pt x="24" y="198"/>
                  </a:lnTo>
                  <a:lnTo>
                    <a:pt x="18" y="204"/>
                  </a:lnTo>
                  <a:lnTo>
                    <a:pt x="12" y="216"/>
                  </a:lnTo>
                  <a:lnTo>
                    <a:pt x="6" y="222"/>
                  </a:lnTo>
                  <a:lnTo>
                    <a:pt x="6" y="282"/>
                  </a:lnTo>
                  <a:lnTo>
                    <a:pt x="0" y="294"/>
                  </a:lnTo>
                  <a:lnTo>
                    <a:pt x="0" y="312"/>
                  </a:lnTo>
                  <a:lnTo>
                    <a:pt x="6" y="324"/>
                  </a:lnTo>
                  <a:lnTo>
                    <a:pt x="24" y="324"/>
                  </a:lnTo>
                  <a:lnTo>
                    <a:pt x="48" y="336"/>
                  </a:lnTo>
                  <a:lnTo>
                    <a:pt x="84" y="336"/>
                  </a:lnTo>
                  <a:lnTo>
                    <a:pt x="96" y="324"/>
                  </a:lnTo>
                  <a:lnTo>
                    <a:pt x="108" y="300"/>
                  </a:lnTo>
                  <a:lnTo>
                    <a:pt x="108" y="288"/>
                  </a:lnTo>
                  <a:lnTo>
                    <a:pt x="120" y="276"/>
                  </a:lnTo>
                  <a:lnTo>
                    <a:pt x="126" y="276"/>
                  </a:lnTo>
                  <a:lnTo>
                    <a:pt x="138" y="270"/>
                  </a:lnTo>
                  <a:lnTo>
                    <a:pt x="150" y="270"/>
                  </a:lnTo>
                  <a:lnTo>
                    <a:pt x="162" y="264"/>
                  </a:lnTo>
                  <a:lnTo>
                    <a:pt x="168" y="258"/>
                  </a:lnTo>
                  <a:lnTo>
                    <a:pt x="174" y="246"/>
                  </a:lnTo>
                  <a:lnTo>
                    <a:pt x="180" y="240"/>
                  </a:lnTo>
                  <a:lnTo>
                    <a:pt x="180" y="228"/>
                  </a:lnTo>
                  <a:lnTo>
                    <a:pt x="186" y="222"/>
                  </a:lnTo>
                  <a:lnTo>
                    <a:pt x="186" y="210"/>
                  </a:lnTo>
                  <a:lnTo>
                    <a:pt x="180" y="204"/>
                  </a:lnTo>
                  <a:lnTo>
                    <a:pt x="168" y="180"/>
                  </a:lnTo>
                  <a:lnTo>
                    <a:pt x="144" y="156"/>
                  </a:lnTo>
                  <a:lnTo>
                    <a:pt x="132" y="156"/>
                  </a:lnTo>
                  <a:lnTo>
                    <a:pt x="120" y="150"/>
                  </a:lnTo>
                  <a:lnTo>
                    <a:pt x="96" y="150"/>
                  </a:lnTo>
                  <a:lnTo>
                    <a:pt x="96" y="144"/>
                  </a:lnTo>
                  <a:lnTo>
                    <a:pt x="108" y="144"/>
                  </a:lnTo>
                  <a:lnTo>
                    <a:pt x="120" y="138"/>
                  </a:lnTo>
                  <a:lnTo>
                    <a:pt x="186" y="138"/>
                  </a:lnTo>
                  <a:lnTo>
                    <a:pt x="198" y="114"/>
                  </a:lnTo>
                  <a:lnTo>
                    <a:pt x="240" y="114"/>
                  </a:lnTo>
                  <a:lnTo>
                    <a:pt x="252" y="108"/>
                  </a:lnTo>
                  <a:lnTo>
                    <a:pt x="258" y="102"/>
                  </a:lnTo>
                  <a:lnTo>
                    <a:pt x="264" y="102"/>
                  </a:lnTo>
                  <a:lnTo>
                    <a:pt x="276" y="96"/>
                  </a:lnTo>
                  <a:lnTo>
                    <a:pt x="282" y="90"/>
                  </a:lnTo>
                  <a:lnTo>
                    <a:pt x="282" y="78"/>
                  </a:lnTo>
                  <a:lnTo>
                    <a:pt x="258" y="60"/>
                  </a:lnTo>
                  <a:close/>
                </a:path>
              </a:pathLst>
            </a:custGeom>
            <a:grpFill/>
            <a:ln w="3175">
              <a:solidFill>
                <a:schemeClr val="bg1"/>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de-DE" sz="1800" b="0" i="0" u="none" strike="noStrike" kern="1200" cap="none" spc="0" normalizeH="0" baseline="0" noProof="0">
                <a:ln>
                  <a:noFill/>
                </a:ln>
                <a:solidFill>
                  <a:srgbClr val="FFC000"/>
                </a:solidFill>
                <a:effectLst/>
                <a:uLnTx/>
                <a:uFillTx/>
                <a:latin typeface="Calibri" pitchFamily="34" charset="0"/>
                <a:ea typeface="+mn-ea"/>
                <a:cs typeface="+mn-cs"/>
              </a:endParaRPr>
            </a:p>
          </p:txBody>
        </p:sp>
        <p:sp>
          <p:nvSpPr>
            <p:cNvPr id="113" name="Jamaica" descr="© INSCALE GmbH, 05.05.2010&#10;http://www.presentationload.com/"/>
            <p:cNvSpPr>
              <a:spLocks/>
            </p:cNvSpPr>
            <p:nvPr/>
          </p:nvSpPr>
          <p:spPr bwMode="gray">
            <a:xfrm>
              <a:off x="2682921" y="3844499"/>
              <a:ext cx="49914" cy="15922"/>
            </a:xfrm>
            <a:custGeom>
              <a:avLst/>
              <a:gdLst>
                <a:gd name="T0" fmla="*/ 2147483647 w 156"/>
                <a:gd name="T1" fmla="*/ 2147483647 h 54"/>
                <a:gd name="T2" fmla="*/ 2147483647 w 156"/>
                <a:gd name="T3" fmla="*/ 2147483647 h 54"/>
                <a:gd name="T4" fmla="*/ 2147483647 w 156"/>
                <a:gd name="T5" fmla="*/ 2147483647 h 54"/>
                <a:gd name="T6" fmla="*/ 2147483647 w 156"/>
                <a:gd name="T7" fmla="*/ 2147483647 h 54"/>
                <a:gd name="T8" fmla="*/ 2147483647 w 156"/>
                <a:gd name="T9" fmla="*/ 2147483647 h 54"/>
                <a:gd name="T10" fmla="*/ 2147483647 w 156"/>
                <a:gd name="T11" fmla="*/ 2147483647 h 54"/>
                <a:gd name="T12" fmla="*/ 2147483647 w 156"/>
                <a:gd name="T13" fmla="*/ 2147483647 h 54"/>
                <a:gd name="T14" fmla="*/ 2147483647 w 156"/>
                <a:gd name="T15" fmla="*/ 2147483647 h 54"/>
                <a:gd name="T16" fmla="*/ 2147483647 w 156"/>
                <a:gd name="T17" fmla="*/ 0 h 54"/>
                <a:gd name="T18" fmla="*/ 2147483647 w 156"/>
                <a:gd name="T19" fmla="*/ 0 h 54"/>
                <a:gd name="T20" fmla="*/ 2147483647 w 156"/>
                <a:gd name="T21" fmla="*/ 2147483647 h 54"/>
                <a:gd name="T22" fmla="*/ 0 w 156"/>
                <a:gd name="T23" fmla="*/ 2147483647 h 54"/>
                <a:gd name="T24" fmla="*/ 2147483647 w 156"/>
                <a:gd name="T25" fmla="*/ 2147483647 h 54"/>
                <a:gd name="T26" fmla="*/ 2147483647 w 156"/>
                <a:gd name="T27" fmla="*/ 2147483647 h 54"/>
                <a:gd name="T28" fmla="*/ 2147483647 w 156"/>
                <a:gd name="T29" fmla="*/ 2147483647 h 54"/>
                <a:gd name="T30" fmla="*/ 2147483647 w 156"/>
                <a:gd name="T31" fmla="*/ 2147483647 h 54"/>
                <a:gd name="T32" fmla="*/ 2147483647 w 156"/>
                <a:gd name="T33" fmla="*/ 2147483647 h 54"/>
                <a:gd name="T34" fmla="*/ 2147483647 w 156"/>
                <a:gd name="T35" fmla="*/ 2147483647 h 54"/>
                <a:gd name="T36" fmla="*/ 2147483647 w 156"/>
                <a:gd name="T37" fmla="*/ 2147483647 h 54"/>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56"/>
                <a:gd name="T58" fmla="*/ 0 h 54"/>
                <a:gd name="T59" fmla="*/ 156 w 156"/>
                <a:gd name="T60" fmla="*/ 54 h 54"/>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56" h="54">
                  <a:moveTo>
                    <a:pt x="108" y="54"/>
                  </a:moveTo>
                  <a:lnTo>
                    <a:pt x="114" y="36"/>
                  </a:lnTo>
                  <a:lnTo>
                    <a:pt x="156" y="48"/>
                  </a:lnTo>
                  <a:lnTo>
                    <a:pt x="156" y="42"/>
                  </a:lnTo>
                  <a:lnTo>
                    <a:pt x="150" y="36"/>
                  </a:lnTo>
                  <a:lnTo>
                    <a:pt x="144" y="24"/>
                  </a:lnTo>
                  <a:lnTo>
                    <a:pt x="126" y="6"/>
                  </a:lnTo>
                  <a:lnTo>
                    <a:pt x="84" y="6"/>
                  </a:lnTo>
                  <a:lnTo>
                    <a:pt x="66" y="0"/>
                  </a:lnTo>
                  <a:lnTo>
                    <a:pt x="24" y="0"/>
                  </a:lnTo>
                  <a:lnTo>
                    <a:pt x="12" y="6"/>
                  </a:lnTo>
                  <a:lnTo>
                    <a:pt x="0" y="6"/>
                  </a:lnTo>
                  <a:lnTo>
                    <a:pt x="6" y="18"/>
                  </a:lnTo>
                  <a:lnTo>
                    <a:pt x="18" y="24"/>
                  </a:lnTo>
                  <a:lnTo>
                    <a:pt x="24" y="36"/>
                  </a:lnTo>
                  <a:lnTo>
                    <a:pt x="36" y="42"/>
                  </a:lnTo>
                  <a:lnTo>
                    <a:pt x="60" y="42"/>
                  </a:lnTo>
                  <a:lnTo>
                    <a:pt x="78" y="48"/>
                  </a:lnTo>
                  <a:lnTo>
                    <a:pt x="108" y="54"/>
                  </a:lnTo>
                  <a:close/>
                </a:path>
              </a:pathLst>
            </a:custGeom>
            <a:grpFill/>
            <a:ln w="3175">
              <a:solidFill>
                <a:schemeClr val="bg1"/>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de-DE" sz="1800" b="0" i="0" u="none" strike="noStrike" kern="1200" cap="none" spc="0" normalizeH="0" baseline="0" noProof="0">
                <a:ln>
                  <a:noFill/>
                </a:ln>
                <a:solidFill>
                  <a:srgbClr val="FFC000"/>
                </a:solidFill>
                <a:effectLst/>
                <a:uLnTx/>
                <a:uFillTx/>
                <a:latin typeface="Calibri" pitchFamily="34" charset="0"/>
                <a:ea typeface="+mn-ea"/>
                <a:cs typeface="+mn-cs"/>
              </a:endParaRPr>
            </a:p>
          </p:txBody>
        </p:sp>
        <p:sp>
          <p:nvSpPr>
            <p:cNvPr id="114" name="Japan" descr="© INSCALE GmbH, 05.05.2010&#10;http://www.presentationload.com/"/>
            <p:cNvSpPr>
              <a:spLocks noEditPoints="1"/>
            </p:cNvSpPr>
            <p:nvPr/>
          </p:nvSpPr>
          <p:spPr bwMode="gray">
            <a:xfrm>
              <a:off x="7255793" y="3167191"/>
              <a:ext cx="284125" cy="531558"/>
            </a:xfrm>
            <a:custGeom>
              <a:avLst/>
              <a:gdLst>
                <a:gd name="T0" fmla="*/ 2147483647 w 876"/>
                <a:gd name="T1" fmla="*/ 2147483647 h 1710"/>
                <a:gd name="T2" fmla="*/ 2147483647 w 876"/>
                <a:gd name="T3" fmla="*/ 2147483647 h 1710"/>
                <a:gd name="T4" fmla="*/ 2147483647 w 876"/>
                <a:gd name="T5" fmla="*/ 2147483647 h 1710"/>
                <a:gd name="T6" fmla="*/ 2147483647 w 876"/>
                <a:gd name="T7" fmla="*/ 2147483647 h 1710"/>
                <a:gd name="T8" fmla="*/ 2147483647 w 876"/>
                <a:gd name="T9" fmla="*/ 2147483647 h 1710"/>
                <a:gd name="T10" fmla="*/ 2147483647 w 876"/>
                <a:gd name="T11" fmla="*/ 2147483647 h 1710"/>
                <a:gd name="T12" fmla="*/ 2147483647 w 876"/>
                <a:gd name="T13" fmla="*/ 2147483647 h 1710"/>
                <a:gd name="T14" fmla="*/ 2147483647 w 876"/>
                <a:gd name="T15" fmla="*/ 2147483647 h 1710"/>
                <a:gd name="T16" fmla="*/ 2147483647 w 876"/>
                <a:gd name="T17" fmla="*/ 2147483647 h 1710"/>
                <a:gd name="T18" fmla="*/ 2147483647 w 876"/>
                <a:gd name="T19" fmla="*/ 2147483647 h 1710"/>
                <a:gd name="T20" fmla="*/ 2147483647 w 876"/>
                <a:gd name="T21" fmla="*/ 2147483647 h 1710"/>
                <a:gd name="T22" fmla="*/ 2147483647 w 876"/>
                <a:gd name="T23" fmla="*/ 2147483647 h 1710"/>
                <a:gd name="T24" fmla="*/ 2147483647 w 876"/>
                <a:gd name="T25" fmla="*/ 2147483647 h 1710"/>
                <a:gd name="T26" fmla="*/ 2147483647 w 876"/>
                <a:gd name="T27" fmla="*/ 2147483647 h 1710"/>
                <a:gd name="T28" fmla="*/ 2147483647 w 876"/>
                <a:gd name="T29" fmla="*/ 2147483647 h 1710"/>
                <a:gd name="T30" fmla="*/ 2147483647 w 876"/>
                <a:gd name="T31" fmla="*/ 2147483647 h 1710"/>
                <a:gd name="T32" fmla="*/ 2147483647 w 876"/>
                <a:gd name="T33" fmla="*/ 2147483647 h 1710"/>
                <a:gd name="T34" fmla="*/ 2147483647 w 876"/>
                <a:gd name="T35" fmla="*/ 2147483647 h 1710"/>
                <a:gd name="T36" fmla="*/ 2147483647 w 876"/>
                <a:gd name="T37" fmla="*/ 2147483647 h 1710"/>
                <a:gd name="T38" fmla="*/ 2147483647 w 876"/>
                <a:gd name="T39" fmla="*/ 2147483647 h 1710"/>
                <a:gd name="T40" fmla="*/ 2147483647 w 876"/>
                <a:gd name="T41" fmla="*/ 2147483647 h 1710"/>
                <a:gd name="T42" fmla="*/ 2147483647 w 876"/>
                <a:gd name="T43" fmla="*/ 2147483647 h 1710"/>
                <a:gd name="T44" fmla="*/ 2147483647 w 876"/>
                <a:gd name="T45" fmla="*/ 2147483647 h 1710"/>
                <a:gd name="T46" fmla="*/ 2147483647 w 876"/>
                <a:gd name="T47" fmla="*/ 2147483647 h 1710"/>
                <a:gd name="T48" fmla="*/ 2147483647 w 876"/>
                <a:gd name="T49" fmla="*/ 2147483647 h 1710"/>
                <a:gd name="T50" fmla="*/ 2147483647 w 876"/>
                <a:gd name="T51" fmla="*/ 2147483647 h 1710"/>
                <a:gd name="T52" fmla="*/ 2147483647 w 876"/>
                <a:gd name="T53" fmla="*/ 2147483647 h 1710"/>
                <a:gd name="T54" fmla="*/ 2147483647 w 876"/>
                <a:gd name="T55" fmla="*/ 2147483647 h 1710"/>
                <a:gd name="T56" fmla="*/ 2147483647 w 876"/>
                <a:gd name="T57" fmla="*/ 2147483647 h 1710"/>
                <a:gd name="T58" fmla="*/ 2147483647 w 876"/>
                <a:gd name="T59" fmla="*/ 2147483647 h 1710"/>
                <a:gd name="T60" fmla="*/ 2147483647 w 876"/>
                <a:gd name="T61" fmla="*/ 2147483647 h 1710"/>
                <a:gd name="T62" fmla="*/ 2147483647 w 876"/>
                <a:gd name="T63" fmla="*/ 2147483647 h 1710"/>
                <a:gd name="T64" fmla="*/ 2147483647 w 876"/>
                <a:gd name="T65" fmla="*/ 2147483647 h 1710"/>
                <a:gd name="T66" fmla="*/ 2147483647 w 876"/>
                <a:gd name="T67" fmla="*/ 2147483647 h 1710"/>
                <a:gd name="T68" fmla="*/ 2147483647 w 876"/>
                <a:gd name="T69" fmla="*/ 2147483647 h 1710"/>
                <a:gd name="T70" fmla="*/ 2147483647 w 876"/>
                <a:gd name="T71" fmla="*/ 2147483647 h 1710"/>
                <a:gd name="T72" fmla="*/ 2147483647 w 876"/>
                <a:gd name="T73" fmla="*/ 2147483647 h 1710"/>
                <a:gd name="T74" fmla="*/ 2147483647 w 876"/>
                <a:gd name="T75" fmla="*/ 2147483647 h 1710"/>
                <a:gd name="T76" fmla="*/ 2147483647 w 876"/>
                <a:gd name="T77" fmla="*/ 2147483647 h 1710"/>
                <a:gd name="T78" fmla="*/ 2147483647 w 876"/>
                <a:gd name="T79" fmla="*/ 2147483647 h 1710"/>
                <a:gd name="T80" fmla="*/ 2147483647 w 876"/>
                <a:gd name="T81" fmla="*/ 2147483647 h 1710"/>
                <a:gd name="T82" fmla="*/ 2147483647 w 876"/>
                <a:gd name="T83" fmla="*/ 2147483647 h 1710"/>
                <a:gd name="T84" fmla="*/ 2147483647 w 876"/>
                <a:gd name="T85" fmla="*/ 2147483647 h 1710"/>
                <a:gd name="T86" fmla="*/ 2147483647 w 876"/>
                <a:gd name="T87" fmla="*/ 2147483647 h 1710"/>
                <a:gd name="T88" fmla="*/ 2147483647 w 876"/>
                <a:gd name="T89" fmla="*/ 2147483647 h 1710"/>
                <a:gd name="T90" fmla="*/ 2147483647 w 876"/>
                <a:gd name="T91" fmla="*/ 2147483647 h 1710"/>
                <a:gd name="T92" fmla="*/ 2147483647 w 876"/>
                <a:gd name="T93" fmla="*/ 2147483647 h 1710"/>
                <a:gd name="T94" fmla="*/ 2147483647 w 876"/>
                <a:gd name="T95" fmla="*/ 2147483647 h 1710"/>
                <a:gd name="T96" fmla="*/ 2147483647 w 876"/>
                <a:gd name="T97" fmla="*/ 2147483647 h 1710"/>
                <a:gd name="T98" fmla="*/ 2147483647 w 876"/>
                <a:gd name="T99" fmla="*/ 2147483647 h 1710"/>
                <a:gd name="T100" fmla="*/ 2147483647 w 876"/>
                <a:gd name="T101" fmla="*/ 2147483647 h 1710"/>
                <a:gd name="T102" fmla="*/ 2147483647 w 876"/>
                <a:gd name="T103" fmla="*/ 2147483647 h 1710"/>
                <a:gd name="T104" fmla="*/ 2147483647 w 876"/>
                <a:gd name="T105" fmla="*/ 2147483647 h 1710"/>
                <a:gd name="T106" fmla="*/ 2147483647 w 876"/>
                <a:gd name="T107" fmla="*/ 2147483647 h 1710"/>
                <a:gd name="T108" fmla="*/ 2147483647 w 876"/>
                <a:gd name="T109" fmla="*/ 2147483647 h 1710"/>
                <a:gd name="T110" fmla="*/ 2147483647 w 876"/>
                <a:gd name="T111" fmla="*/ 2147483647 h 1710"/>
                <a:gd name="T112" fmla="*/ 2147483647 w 876"/>
                <a:gd name="T113" fmla="*/ 2147483647 h 1710"/>
                <a:gd name="T114" fmla="*/ 2147483647 w 876"/>
                <a:gd name="T115" fmla="*/ 2147483647 h 1710"/>
                <a:gd name="T116" fmla="*/ 2147483647 w 876"/>
                <a:gd name="T117" fmla="*/ 2147483647 h 1710"/>
                <a:gd name="T118" fmla="*/ 2147483647 w 876"/>
                <a:gd name="T119" fmla="*/ 2147483647 h 1710"/>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876"/>
                <a:gd name="T181" fmla="*/ 0 h 1710"/>
                <a:gd name="T182" fmla="*/ 876 w 876"/>
                <a:gd name="T183" fmla="*/ 1710 h 1710"/>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876" h="1710">
                  <a:moveTo>
                    <a:pt x="876" y="780"/>
                  </a:moveTo>
                  <a:lnTo>
                    <a:pt x="864" y="774"/>
                  </a:lnTo>
                  <a:lnTo>
                    <a:pt x="858" y="768"/>
                  </a:lnTo>
                  <a:lnTo>
                    <a:pt x="846" y="762"/>
                  </a:lnTo>
                  <a:lnTo>
                    <a:pt x="840" y="750"/>
                  </a:lnTo>
                  <a:lnTo>
                    <a:pt x="828" y="744"/>
                  </a:lnTo>
                  <a:lnTo>
                    <a:pt x="828" y="720"/>
                  </a:lnTo>
                  <a:lnTo>
                    <a:pt x="834" y="702"/>
                  </a:lnTo>
                  <a:lnTo>
                    <a:pt x="834" y="684"/>
                  </a:lnTo>
                  <a:lnTo>
                    <a:pt x="828" y="666"/>
                  </a:lnTo>
                  <a:lnTo>
                    <a:pt x="816" y="642"/>
                  </a:lnTo>
                  <a:lnTo>
                    <a:pt x="792" y="618"/>
                  </a:lnTo>
                  <a:lnTo>
                    <a:pt x="786" y="600"/>
                  </a:lnTo>
                  <a:lnTo>
                    <a:pt x="786" y="576"/>
                  </a:lnTo>
                  <a:lnTo>
                    <a:pt x="792" y="570"/>
                  </a:lnTo>
                  <a:lnTo>
                    <a:pt x="810" y="570"/>
                  </a:lnTo>
                  <a:lnTo>
                    <a:pt x="810" y="528"/>
                  </a:lnTo>
                  <a:lnTo>
                    <a:pt x="798" y="516"/>
                  </a:lnTo>
                  <a:lnTo>
                    <a:pt x="810" y="510"/>
                  </a:lnTo>
                  <a:lnTo>
                    <a:pt x="810" y="498"/>
                  </a:lnTo>
                  <a:lnTo>
                    <a:pt x="804" y="486"/>
                  </a:lnTo>
                  <a:lnTo>
                    <a:pt x="804" y="474"/>
                  </a:lnTo>
                  <a:lnTo>
                    <a:pt x="798" y="468"/>
                  </a:lnTo>
                  <a:lnTo>
                    <a:pt x="792" y="456"/>
                  </a:lnTo>
                  <a:lnTo>
                    <a:pt x="786" y="450"/>
                  </a:lnTo>
                  <a:lnTo>
                    <a:pt x="774" y="444"/>
                  </a:lnTo>
                  <a:lnTo>
                    <a:pt x="768" y="438"/>
                  </a:lnTo>
                  <a:lnTo>
                    <a:pt x="762" y="420"/>
                  </a:lnTo>
                  <a:lnTo>
                    <a:pt x="756" y="420"/>
                  </a:lnTo>
                  <a:lnTo>
                    <a:pt x="738" y="402"/>
                  </a:lnTo>
                  <a:lnTo>
                    <a:pt x="714" y="390"/>
                  </a:lnTo>
                  <a:lnTo>
                    <a:pt x="702" y="378"/>
                  </a:lnTo>
                  <a:lnTo>
                    <a:pt x="696" y="360"/>
                  </a:lnTo>
                  <a:lnTo>
                    <a:pt x="690" y="348"/>
                  </a:lnTo>
                  <a:lnTo>
                    <a:pt x="690" y="330"/>
                  </a:lnTo>
                  <a:lnTo>
                    <a:pt x="684" y="324"/>
                  </a:lnTo>
                  <a:lnTo>
                    <a:pt x="678" y="324"/>
                  </a:lnTo>
                  <a:lnTo>
                    <a:pt x="666" y="318"/>
                  </a:lnTo>
                  <a:lnTo>
                    <a:pt x="654" y="318"/>
                  </a:lnTo>
                  <a:lnTo>
                    <a:pt x="648" y="324"/>
                  </a:lnTo>
                  <a:lnTo>
                    <a:pt x="648" y="342"/>
                  </a:lnTo>
                  <a:lnTo>
                    <a:pt x="654" y="342"/>
                  </a:lnTo>
                  <a:lnTo>
                    <a:pt x="660" y="348"/>
                  </a:lnTo>
                  <a:lnTo>
                    <a:pt x="672" y="342"/>
                  </a:lnTo>
                  <a:lnTo>
                    <a:pt x="678" y="348"/>
                  </a:lnTo>
                  <a:lnTo>
                    <a:pt x="678" y="366"/>
                  </a:lnTo>
                  <a:lnTo>
                    <a:pt x="672" y="366"/>
                  </a:lnTo>
                  <a:lnTo>
                    <a:pt x="666" y="360"/>
                  </a:lnTo>
                  <a:lnTo>
                    <a:pt x="654" y="372"/>
                  </a:lnTo>
                  <a:lnTo>
                    <a:pt x="630" y="342"/>
                  </a:lnTo>
                  <a:lnTo>
                    <a:pt x="612" y="342"/>
                  </a:lnTo>
                  <a:lnTo>
                    <a:pt x="636" y="378"/>
                  </a:lnTo>
                  <a:lnTo>
                    <a:pt x="618" y="378"/>
                  </a:lnTo>
                  <a:lnTo>
                    <a:pt x="648" y="426"/>
                  </a:lnTo>
                  <a:lnTo>
                    <a:pt x="636" y="438"/>
                  </a:lnTo>
                  <a:lnTo>
                    <a:pt x="648" y="444"/>
                  </a:lnTo>
                  <a:lnTo>
                    <a:pt x="666" y="462"/>
                  </a:lnTo>
                  <a:lnTo>
                    <a:pt x="678" y="468"/>
                  </a:lnTo>
                  <a:lnTo>
                    <a:pt x="684" y="480"/>
                  </a:lnTo>
                  <a:lnTo>
                    <a:pt x="684" y="504"/>
                  </a:lnTo>
                  <a:lnTo>
                    <a:pt x="678" y="516"/>
                  </a:lnTo>
                  <a:lnTo>
                    <a:pt x="678" y="534"/>
                  </a:lnTo>
                  <a:lnTo>
                    <a:pt x="672" y="540"/>
                  </a:lnTo>
                  <a:lnTo>
                    <a:pt x="672" y="570"/>
                  </a:lnTo>
                  <a:lnTo>
                    <a:pt x="678" y="570"/>
                  </a:lnTo>
                  <a:lnTo>
                    <a:pt x="690" y="582"/>
                  </a:lnTo>
                  <a:lnTo>
                    <a:pt x="690" y="600"/>
                  </a:lnTo>
                  <a:lnTo>
                    <a:pt x="678" y="606"/>
                  </a:lnTo>
                  <a:lnTo>
                    <a:pt x="660" y="606"/>
                  </a:lnTo>
                  <a:lnTo>
                    <a:pt x="660" y="618"/>
                  </a:lnTo>
                  <a:lnTo>
                    <a:pt x="666" y="630"/>
                  </a:lnTo>
                  <a:lnTo>
                    <a:pt x="666" y="642"/>
                  </a:lnTo>
                  <a:lnTo>
                    <a:pt x="660" y="654"/>
                  </a:lnTo>
                  <a:lnTo>
                    <a:pt x="654" y="660"/>
                  </a:lnTo>
                  <a:lnTo>
                    <a:pt x="642" y="666"/>
                  </a:lnTo>
                  <a:lnTo>
                    <a:pt x="630" y="666"/>
                  </a:lnTo>
                  <a:lnTo>
                    <a:pt x="618" y="672"/>
                  </a:lnTo>
                  <a:lnTo>
                    <a:pt x="612" y="678"/>
                  </a:lnTo>
                  <a:lnTo>
                    <a:pt x="606" y="678"/>
                  </a:lnTo>
                  <a:lnTo>
                    <a:pt x="606" y="696"/>
                  </a:lnTo>
                  <a:lnTo>
                    <a:pt x="588" y="696"/>
                  </a:lnTo>
                  <a:lnTo>
                    <a:pt x="564" y="672"/>
                  </a:lnTo>
                  <a:lnTo>
                    <a:pt x="564" y="654"/>
                  </a:lnTo>
                  <a:lnTo>
                    <a:pt x="570" y="636"/>
                  </a:lnTo>
                  <a:lnTo>
                    <a:pt x="558" y="636"/>
                  </a:lnTo>
                  <a:lnTo>
                    <a:pt x="552" y="642"/>
                  </a:lnTo>
                  <a:lnTo>
                    <a:pt x="540" y="648"/>
                  </a:lnTo>
                  <a:lnTo>
                    <a:pt x="534" y="654"/>
                  </a:lnTo>
                  <a:lnTo>
                    <a:pt x="534" y="660"/>
                  </a:lnTo>
                  <a:lnTo>
                    <a:pt x="540" y="666"/>
                  </a:lnTo>
                  <a:lnTo>
                    <a:pt x="558" y="702"/>
                  </a:lnTo>
                  <a:lnTo>
                    <a:pt x="558" y="714"/>
                  </a:lnTo>
                  <a:lnTo>
                    <a:pt x="552" y="720"/>
                  </a:lnTo>
                  <a:lnTo>
                    <a:pt x="540" y="744"/>
                  </a:lnTo>
                  <a:lnTo>
                    <a:pt x="540" y="756"/>
                  </a:lnTo>
                  <a:lnTo>
                    <a:pt x="546" y="762"/>
                  </a:lnTo>
                  <a:lnTo>
                    <a:pt x="546" y="768"/>
                  </a:lnTo>
                  <a:lnTo>
                    <a:pt x="552" y="780"/>
                  </a:lnTo>
                  <a:lnTo>
                    <a:pt x="558" y="786"/>
                  </a:lnTo>
                  <a:lnTo>
                    <a:pt x="558" y="792"/>
                  </a:lnTo>
                  <a:lnTo>
                    <a:pt x="522" y="792"/>
                  </a:lnTo>
                  <a:lnTo>
                    <a:pt x="498" y="780"/>
                  </a:lnTo>
                  <a:lnTo>
                    <a:pt x="474" y="780"/>
                  </a:lnTo>
                  <a:lnTo>
                    <a:pt x="450" y="792"/>
                  </a:lnTo>
                  <a:lnTo>
                    <a:pt x="438" y="792"/>
                  </a:lnTo>
                  <a:lnTo>
                    <a:pt x="420" y="798"/>
                  </a:lnTo>
                  <a:lnTo>
                    <a:pt x="414" y="804"/>
                  </a:lnTo>
                  <a:lnTo>
                    <a:pt x="378" y="804"/>
                  </a:lnTo>
                  <a:lnTo>
                    <a:pt x="366" y="792"/>
                  </a:lnTo>
                  <a:lnTo>
                    <a:pt x="336" y="816"/>
                  </a:lnTo>
                  <a:lnTo>
                    <a:pt x="330" y="828"/>
                  </a:lnTo>
                  <a:lnTo>
                    <a:pt x="312" y="846"/>
                  </a:lnTo>
                  <a:lnTo>
                    <a:pt x="306" y="864"/>
                  </a:lnTo>
                  <a:lnTo>
                    <a:pt x="300" y="870"/>
                  </a:lnTo>
                  <a:lnTo>
                    <a:pt x="294" y="882"/>
                  </a:lnTo>
                  <a:lnTo>
                    <a:pt x="270" y="882"/>
                  </a:lnTo>
                  <a:lnTo>
                    <a:pt x="264" y="888"/>
                  </a:lnTo>
                  <a:lnTo>
                    <a:pt x="258" y="888"/>
                  </a:lnTo>
                  <a:lnTo>
                    <a:pt x="258" y="900"/>
                  </a:lnTo>
                  <a:lnTo>
                    <a:pt x="264" y="912"/>
                  </a:lnTo>
                  <a:lnTo>
                    <a:pt x="276" y="924"/>
                  </a:lnTo>
                  <a:lnTo>
                    <a:pt x="288" y="924"/>
                  </a:lnTo>
                  <a:lnTo>
                    <a:pt x="294" y="918"/>
                  </a:lnTo>
                  <a:lnTo>
                    <a:pt x="312" y="918"/>
                  </a:lnTo>
                  <a:lnTo>
                    <a:pt x="318" y="924"/>
                  </a:lnTo>
                  <a:lnTo>
                    <a:pt x="324" y="924"/>
                  </a:lnTo>
                  <a:lnTo>
                    <a:pt x="336" y="930"/>
                  </a:lnTo>
                  <a:lnTo>
                    <a:pt x="342" y="930"/>
                  </a:lnTo>
                  <a:lnTo>
                    <a:pt x="348" y="924"/>
                  </a:lnTo>
                  <a:lnTo>
                    <a:pt x="348" y="912"/>
                  </a:lnTo>
                  <a:lnTo>
                    <a:pt x="354" y="906"/>
                  </a:lnTo>
                  <a:lnTo>
                    <a:pt x="354" y="894"/>
                  </a:lnTo>
                  <a:lnTo>
                    <a:pt x="372" y="906"/>
                  </a:lnTo>
                  <a:lnTo>
                    <a:pt x="378" y="906"/>
                  </a:lnTo>
                  <a:lnTo>
                    <a:pt x="384" y="900"/>
                  </a:lnTo>
                  <a:lnTo>
                    <a:pt x="420" y="882"/>
                  </a:lnTo>
                  <a:lnTo>
                    <a:pt x="426" y="882"/>
                  </a:lnTo>
                  <a:lnTo>
                    <a:pt x="432" y="876"/>
                  </a:lnTo>
                  <a:lnTo>
                    <a:pt x="444" y="876"/>
                  </a:lnTo>
                  <a:lnTo>
                    <a:pt x="456" y="882"/>
                  </a:lnTo>
                  <a:lnTo>
                    <a:pt x="480" y="882"/>
                  </a:lnTo>
                  <a:lnTo>
                    <a:pt x="480" y="876"/>
                  </a:lnTo>
                  <a:lnTo>
                    <a:pt x="474" y="870"/>
                  </a:lnTo>
                  <a:lnTo>
                    <a:pt x="474" y="864"/>
                  </a:lnTo>
                  <a:lnTo>
                    <a:pt x="480" y="858"/>
                  </a:lnTo>
                  <a:lnTo>
                    <a:pt x="498" y="858"/>
                  </a:lnTo>
                  <a:lnTo>
                    <a:pt x="516" y="876"/>
                  </a:lnTo>
                  <a:lnTo>
                    <a:pt x="522" y="870"/>
                  </a:lnTo>
                  <a:lnTo>
                    <a:pt x="534" y="864"/>
                  </a:lnTo>
                  <a:lnTo>
                    <a:pt x="540" y="864"/>
                  </a:lnTo>
                  <a:lnTo>
                    <a:pt x="546" y="858"/>
                  </a:lnTo>
                  <a:lnTo>
                    <a:pt x="552" y="864"/>
                  </a:lnTo>
                  <a:lnTo>
                    <a:pt x="552" y="882"/>
                  </a:lnTo>
                  <a:lnTo>
                    <a:pt x="546" y="894"/>
                  </a:lnTo>
                  <a:lnTo>
                    <a:pt x="540" y="900"/>
                  </a:lnTo>
                  <a:lnTo>
                    <a:pt x="540" y="912"/>
                  </a:lnTo>
                  <a:lnTo>
                    <a:pt x="546" y="918"/>
                  </a:lnTo>
                  <a:lnTo>
                    <a:pt x="552" y="930"/>
                  </a:lnTo>
                  <a:lnTo>
                    <a:pt x="576" y="954"/>
                  </a:lnTo>
                  <a:lnTo>
                    <a:pt x="600" y="966"/>
                  </a:lnTo>
                  <a:lnTo>
                    <a:pt x="612" y="960"/>
                  </a:lnTo>
                  <a:lnTo>
                    <a:pt x="618" y="954"/>
                  </a:lnTo>
                  <a:lnTo>
                    <a:pt x="630" y="930"/>
                  </a:lnTo>
                  <a:lnTo>
                    <a:pt x="630" y="906"/>
                  </a:lnTo>
                  <a:lnTo>
                    <a:pt x="660" y="900"/>
                  </a:lnTo>
                  <a:lnTo>
                    <a:pt x="654" y="894"/>
                  </a:lnTo>
                  <a:lnTo>
                    <a:pt x="648" y="882"/>
                  </a:lnTo>
                  <a:lnTo>
                    <a:pt x="636" y="870"/>
                  </a:lnTo>
                  <a:lnTo>
                    <a:pt x="624" y="870"/>
                  </a:lnTo>
                  <a:lnTo>
                    <a:pt x="612" y="858"/>
                  </a:lnTo>
                  <a:lnTo>
                    <a:pt x="630" y="834"/>
                  </a:lnTo>
                  <a:lnTo>
                    <a:pt x="636" y="834"/>
                  </a:lnTo>
                  <a:lnTo>
                    <a:pt x="636" y="840"/>
                  </a:lnTo>
                  <a:lnTo>
                    <a:pt x="642" y="852"/>
                  </a:lnTo>
                  <a:lnTo>
                    <a:pt x="642" y="858"/>
                  </a:lnTo>
                  <a:lnTo>
                    <a:pt x="654" y="858"/>
                  </a:lnTo>
                  <a:lnTo>
                    <a:pt x="666" y="870"/>
                  </a:lnTo>
                  <a:lnTo>
                    <a:pt x="666" y="876"/>
                  </a:lnTo>
                  <a:lnTo>
                    <a:pt x="684" y="864"/>
                  </a:lnTo>
                  <a:lnTo>
                    <a:pt x="696" y="870"/>
                  </a:lnTo>
                  <a:lnTo>
                    <a:pt x="732" y="870"/>
                  </a:lnTo>
                  <a:lnTo>
                    <a:pt x="744" y="858"/>
                  </a:lnTo>
                  <a:lnTo>
                    <a:pt x="744" y="852"/>
                  </a:lnTo>
                  <a:lnTo>
                    <a:pt x="738" y="846"/>
                  </a:lnTo>
                  <a:lnTo>
                    <a:pt x="738" y="840"/>
                  </a:lnTo>
                  <a:lnTo>
                    <a:pt x="744" y="834"/>
                  </a:lnTo>
                  <a:lnTo>
                    <a:pt x="762" y="834"/>
                  </a:lnTo>
                  <a:lnTo>
                    <a:pt x="768" y="840"/>
                  </a:lnTo>
                  <a:lnTo>
                    <a:pt x="768" y="858"/>
                  </a:lnTo>
                  <a:lnTo>
                    <a:pt x="774" y="864"/>
                  </a:lnTo>
                  <a:lnTo>
                    <a:pt x="774" y="870"/>
                  </a:lnTo>
                  <a:lnTo>
                    <a:pt x="780" y="870"/>
                  </a:lnTo>
                  <a:lnTo>
                    <a:pt x="786" y="864"/>
                  </a:lnTo>
                  <a:lnTo>
                    <a:pt x="786" y="852"/>
                  </a:lnTo>
                  <a:lnTo>
                    <a:pt x="780" y="840"/>
                  </a:lnTo>
                  <a:lnTo>
                    <a:pt x="780" y="816"/>
                  </a:lnTo>
                  <a:lnTo>
                    <a:pt x="804" y="816"/>
                  </a:lnTo>
                  <a:lnTo>
                    <a:pt x="804" y="798"/>
                  </a:lnTo>
                  <a:lnTo>
                    <a:pt x="810" y="792"/>
                  </a:lnTo>
                  <a:lnTo>
                    <a:pt x="810" y="786"/>
                  </a:lnTo>
                  <a:lnTo>
                    <a:pt x="816" y="780"/>
                  </a:lnTo>
                  <a:lnTo>
                    <a:pt x="828" y="792"/>
                  </a:lnTo>
                  <a:lnTo>
                    <a:pt x="828" y="840"/>
                  </a:lnTo>
                  <a:lnTo>
                    <a:pt x="852" y="840"/>
                  </a:lnTo>
                  <a:lnTo>
                    <a:pt x="858" y="828"/>
                  </a:lnTo>
                  <a:lnTo>
                    <a:pt x="858" y="792"/>
                  </a:lnTo>
                  <a:lnTo>
                    <a:pt x="876" y="780"/>
                  </a:lnTo>
                  <a:close/>
                  <a:moveTo>
                    <a:pt x="498" y="912"/>
                  </a:moveTo>
                  <a:lnTo>
                    <a:pt x="486" y="906"/>
                  </a:lnTo>
                  <a:lnTo>
                    <a:pt x="480" y="900"/>
                  </a:lnTo>
                  <a:lnTo>
                    <a:pt x="468" y="894"/>
                  </a:lnTo>
                  <a:lnTo>
                    <a:pt x="444" y="894"/>
                  </a:lnTo>
                  <a:lnTo>
                    <a:pt x="438" y="900"/>
                  </a:lnTo>
                  <a:lnTo>
                    <a:pt x="438" y="924"/>
                  </a:lnTo>
                  <a:lnTo>
                    <a:pt x="432" y="924"/>
                  </a:lnTo>
                  <a:lnTo>
                    <a:pt x="426" y="918"/>
                  </a:lnTo>
                  <a:lnTo>
                    <a:pt x="396" y="918"/>
                  </a:lnTo>
                  <a:lnTo>
                    <a:pt x="390" y="924"/>
                  </a:lnTo>
                  <a:lnTo>
                    <a:pt x="390" y="942"/>
                  </a:lnTo>
                  <a:lnTo>
                    <a:pt x="396" y="948"/>
                  </a:lnTo>
                  <a:lnTo>
                    <a:pt x="396" y="954"/>
                  </a:lnTo>
                  <a:lnTo>
                    <a:pt x="378" y="972"/>
                  </a:lnTo>
                  <a:lnTo>
                    <a:pt x="390" y="978"/>
                  </a:lnTo>
                  <a:lnTo>
                    <a:pt x="396" y="990"/>
                  </a:lnTo>
                  <a:lnTo>
                    <a:pt x="408" y="1002"/>
                  </a:lnTo>
                  <a:lnTo>
                    <a:pt x="432" y="1014"/>
                  </a:lnTo>
                  <a:lnTo>
                    <a:pt x="438" y="1020"/>
                  </a:lnTo>
                  <a:lnTo>
                    <a:pt x="450" y="1026"/>
                  </a:lnTo>
                  <a:lnTo>
                    <a:pt x="450" y="984"/>
                  </a:lnTo>
                  <a:lnTo>
                    <a:pt x="456" y="972"/>
                  </a:lnTo>
                  <a:lnTo>
                    <a:pt x="462" y="966"/>
                  </a:lnTo>
                  <a:lnTo>
                    <a:pt x="474" y="960"/>
                  </a:lnTo>
                  <a:lnTo>
                    <a:pt x="486" y="960"/>
                  </a:lnTo>
                  <a:lnTo>
                    <a:pt x="492" y="966"/>
                  </a:lnTo>
                  <a:lnTo>
                    <a:pt x="504" y="972"/>
                  </a:lnTo>
                  <a:lnTo>
                    <a:pt x="510" y="984"/>
                  </a:lnTo>
                  <a:lnTo>
                    <a:pt x="516" y="990"/>
                  </a:lnTo>
                  <a:lnTo>
                    <a:pt x="516" y="978"/>
                  </a:lnTo>
                  <a:lnTo>
                    <a:pt x="522" y="966"/>
                  </a:lnTo>
                  <a:lnTo>
                    <a:pt x="522" y="954"/>
                  </a:lnTo>
                  <a:lnTo>
                    <a:pt x="528" y="942"/>
                  </a:lnTo>
                  <a:lnTo>
                    <a:pt x="528" y="930"/>
                  </a:lnTo>
                  <a:lnTo>
                    <a:pt x="522" y="918"/>
                  </a:lnTo>
                  <a:lnTo>
                    <a:pt x="516" y="912"/>
                  </a:lnTo>
                  <a:lnTo>
                    <a:pt x="516" y="906"/>
                  </a:lnTo>
                  <a:lnTo>
                    <a:pt x="498" y="912"/>
                  </a:lnTo>
                  <a:close/>
                  <a:moveTo>
                    <a:pt x="354" y="1050"/>
                  </a:moveTo>
                  <a:lnTo>
                    <a:pt x="354" y="1038"/>
                  </a:lnTo>
                  <a:lnTo>
                    <a:pt x="372" y="1020"/>
                  </a:lnTo>
                  <a:lnTo>
                    <a:pt x="372" y="1008"/>
                  </a:lnTo>
                  <a:lnTo>
                    <a:pt x="360" y="1002"/>
                  </a:lnTo>
                  <a:lnTo>
                    <a:pt x="354" y="990"/>
                  </a:lnTo>
                  <a:lnTo>
                    <a:pt x="348" y="984"/>
                  </a:lnTo>
                  <a:lnTo>
                    <a:pt x="336" y="978"/>
                  </a:lnTo>
                  <a:lnTo>
                    <a:pt x="336" y="966"/>
                  </a:lnTo>
                  <a:lnTo>
                    <a:pt x="330" y="960"/>
                  </a:lnTo>
                  <a:lnTo>
                    <a:pt x="324" y="960"/>
                  </a:lnTo>
                  <a:lnTo>
                    <a:pt x="318" y="954"/>
                  </a:lnTo>
                  <a:lnTo>
                    <a:pt x="300" y="954"/>
                  </a:lnTo>
                  <a:lnTo>
                    <a:pt x="294" y="948"/>
                  </a:lnTo>
                  <a:lnTo>
                    <a:pt x="270" y="936"/>
                  </a:lnTo>
                  <a:lnTo>
                    <a:pt x="258" y="936"/>
                  </a:lnTo>
                  <a:lnTo>
                    <a:pt x="240" y="954"/>
                  </a:lnTo>
                  <a:lnTo>
                    <a:pt x="204" y="972"/>
                  </a:lnTo>
                  <a:lnTo>
                    <a:pt x="234" y="1026"/>
                  </a:lnTo>
                  <a:lnTo>
                    <a:pt x="252" y="1014"/>
                  </a:lnTo>
                  <a:lnTo>
                    <a:pt x="252" y="1008"/>
                  </a:lnTo>
                  <a:lnTo>
                    <a:pt x="246" y="1002"/>
                  </a:lnTo>
                  <a:lnTo>
                    <a:pt x="246" y="990"/>
                  </a:lnTo>
                  <a:lnTo>
                    <a:pt x="252" y="990"/>
                  </a:lnTo>
                  <a:lnTo>
                    <a:pt x="264" y="1002"/>
                  </a:lnTo>
                  <a:lnTo>
                    <a:pt x="270" y="1014"/>
                  </a:lnTo>
                  <a:lnTo>
                    <a:pt x="276" y="1020"/>
                  </a:lnTo>
                  <a:lnTo>
                    <a:pt x="282" y="1032"/>
                  </a:lnTo>
                  <a:lnTo>
                    <a:pt x="282" y="1068"/>
                  </a:lnTo>
                  <a:lnTo>
                    <a:pt x="264" y="1074"/>
                  </a:lnTo>
                  <a:lnTo>
                    <a:pt x="264" y="1080"/>
                  </a:lnTo>
                  <a:lnTo>
                    <a:pt x="270" y="1086"/>
                  </a:lnTo>
                  <a:lnTo>
                    <a:pt x="270" y="1104"/>
                  </a:lnTo>
                  <a:lnTo>
                    <a:pt x="276" y="1116"/>
                  </a:lnTo>
                  <a:lnTo>
                    <a:pt x="282" y="1134"/>
                  </a:lnTo>
                  <a:lnTo>
                    <a:pt x="294" y="1146"/>
                  </a:lnTo>
                  <a:lnTo>
                    <a:pt x="300" y="1146"/>
                  </a:lnTo>
                  <a:lnTo>
                    <a:pt x="306" y="1140"/>
                  </a:lnTo>
                  <a:lnTo>
                    <a:pt x="306" y="1104"/>
                  </a:lnTo>
                  <a:lnTo>
                    <a:pt x="336" y="1116"/>
                  </a:lnTo>
                  <a:lnTo>
                    <a:pt x="336" y="1140"/>
                  </a:lnTo>
                  <a:lnTo>
                    <a:pt x="342" y="1146"/>
                  </a:lnTo>
                  <a:lnTo>
                    <a:pt x="342" y="1152"/>
                  </a:lnTo>
                  <a:lnTo>
                    <a:pt x="348" y="1152"/>
                  </a:lnTo>
                  <a:lnTo>
                    <a:pt x="348" y="1140"/>
                  </a:lnTo>
                  <a:lnTo>
                    <a:pt x="360" y="1128"/>
                  </a:lnTo>
                  <a:lnTo>
                    <a:pt x="366" y="1116"/>
                  </a:lnTo>
                  <a:lnTo>
                    <a:pt x="366" y="1110"/>
                  </a:lnTo>
                  <a:lnTo>
                    <a:pt x="360" y="1104"/>
                  </a:lnTo>
                  <a:lnTo>
                    <a:pt x="360" y="1074"/>
                  </a:lnTo>
                  <a:lnTo>
                    <a:pt x="354" y="1062"/>
                  </a:lnTo>
                  <a:lnTo>
                    <a:pt x="354" y="1050"/>
                  </a:lnTo>
                  <a:close/>
                  <a:moveTo>
                    <a:pt x="264" y="1026"/>
                  </a:moveTo>
                  <a:lnTo>
                    <a:pt x="246" y="1062"/>
                  </a:lnTo>
                  <a:lnTo>
                    <a:pt x="264" y="1056"/>
                  </a:lnTo>
                  <a:lnTo>
                    <a:pt x="264" y="1026"/>
                  </a:lnTo>
                  <a:close/>
                  <a:moveTo>
                    <a:pt x="624" y="618"/>
                  </a:moveTo>
                  <a:lnTo>
                    <a:pt x="636" y="618"/>
                  </a:lnTo>
                  <a:lnTo>
                    <a:pt x="636" y="594"/>
                  </a:lnTo>
                  <a:lnTo>
                    <a:pt x="630" y="594"/>
                  </a:lnTo>
                  <a:lnTo>
                    <a:pt x="612" y="570"/>
                  </a:lnTo>
                  <a:lnTo>
                    <a:pt x="606" y="582"/>
                  </a:lnTo>
                  <a:lnTo>
                    <a:pt x="618" y="600"/>
                  </a:lnTo>
                  <a:lnTo>
                    <a:pt x="624" y="618"/>
                  </a:lnTo>
                  <a:close/>
                  <a:moveTo>
                    <a:pt x="546" y="72"/>
                  </a:moveTo>
                  <a:lnTo>
                    <a:pt x="552" y="96"/>
                  </a:lnTo>
                  <a:lnTo>
                    <a:pt x="558" y="102"/>
                  </a:lnTo>
                  <a:lnTo>
                    <a:pt x="570" y="108"/>
                  </a:lnTo>
                  <a:lnTo>
                    <a:pt x="576" y="114"/>
                  </a:lnTo>
                  <a:lnTo>
                    <a:pt x="576" y="132"/>
                  </a:lnTo>
                  <a:lnTo>
                    <a:pt x="564" y="144"/>
                  </a:lnTo>
                  <a:lnTo>
                    <a:pt x="564" y="150"/>
                  </a:lnTo>
                  <a:lnTo>
                    <a:pt x="570" y="156"/>
                  </a:lnTo>
                  <a:lnTo>
                    <a:pt x="576" y="168"/>
                  </a:lnTo>
                  <a:lnTo>
                    <a:pt x="582" y="174"/>
                  </a:lnTo>
                  <a:lnTo>
                    <a:pt x="582" y="186"/>
                  </a:lnTo>
                  <a:lnTo>
                    <a:pt x="576" y="186"/>
                  </a:lnTo>
                  <a:lnTo>
                    <a:pt x="564" y="180"/>
                  </a:lnTo>
                  <a:lnTo>
                    <a:pt x="552" y="180"/>
                  </a:lnTo>
                  <a:lnTo>
                    <a:pt x="540" y="174"/>
                  </a:lnTo>
                  <a:lnTo>
                    <a:pt x="528" y="174"/>
                  </a:lnTo>
                  <a:lnTo>
                    <a:pt x="522" y="168"/>
                  </a:lnTo>
                  <a:lnTo>
                    <a:pt x="522" y="180"/>
                  </a:lnTo>
                  <a:lnTo>
                    <a:pt x="540" y="198"/>
                  </a:lnTo>
                  <a:lnTo>
                    <a:pt x="516" y="228"/>
                  </a:lnTo>
                  <a:lnTo>
                    <a:pt x="522" y="240"/>
                  </a:lnTo>
                  <a:lnTo>
                    <a:pt x="528" y="246"/>
                  </a:lnTo>
                  <a:lnTo>
                    <a:pt x="528" y="252"/>
                  </a:lnTo>
                  <a:lnTo>
                    <a:pt x="534" y="258"/>
                  </a:lnTo>
                  <a:lnTo>
                    <a:pt x="546" y="264"/>
                  </a:lnTo>
                  <a:lnTo>
                    <a:pt x="552" y="270"/>
                  </a:lnTo>
                  <a:lnTo>
                    <a:pt x="564" y="276"/>
                  </a:lnTo>
                  <a:lnTo>
                    <a:pt x="570" y="282"/>
                  </a:lnTo>
                  <a:lnTo>
                    <a:pt x="576" y="282"/>
                  </a:lnTo>
                  <a:lnTo>
                    <a:pt x="576" y="318"/>
                  </a:lnTo>
                  <a:lnTo>
                    <a:pt x="582" y="330"/>
                  </a:lnTo>
                  <a:lnTo>
                    <a:pt x="600" y="330"/>
                  </a:lnTo>
                  <a:lnTo>
                    <a:pt x="600" y="300"/>
                  </a:lnTo>
                  <a:lnTo>
                    <a:pt x="636" y="300"/>
                  </a:lnTo>
                  <a:lnTo>
                    <a:pt x="642" y="294"/>
                  </a:lnTo>
                  <a:lnTo>
                    <a:pt x="606" y="270"/>
                  </a:lnTo>
                  <a:lnTo>
                    <a:pt x="588" y="270"/>
                  </a:lnTo>
                  <a:lnTo>
                    <a:pt x="576" y="264"/>
                  </a:lnTo>
                  <a:lnTo>
                    <a:pt x="570" y="264"/>
                  </a:lnTo>
                  <a:lnTo>
                    <a:pt x="558" y="258"/>
                  </a:lnTo>
                  <a:lnTo>
                    <a:pt x="558" y="246"/>
                  </a:lnTo>
                  <a:lnTo>
                    <a:pt x="564" y="240"/>
                  </a:lnTo>
                  <a:lnTo>
                    <a:pt x="576" y="234"/>
                  </a:lnTo>
                  <a:lnTo>
                    <a:pt x="600" y="246"/>
                  </a:lnTo>
                  <a:lnTo>
                    <a:pt x="606" y="252"/>
                  </a:lnTo>
                  <a:lnTo>
                    <a:pt x="618" y="240"/>
                  </a:lnTo>
                  <a:lnTo>
                    <a:pt x="630" y="234"/>
                  </a:lnTo>
                  <a:lnTo>
                    <a:pt x="636" y="234"/>
                  </a:lnTo>
                  <a:lnTo>
                    <a:pt x="690" y="252"/>
                  </a:lnTo>
                  <a:lnTo>
                    <a:pt x="726" y="270"/>
                  </a:lnTo>
                  <a:lnTo>
                    <a:pt x="756" y="282"/>
                  </a:lnTo>
                  <a:lnTo>
                    <a:pt x="768" y="282"/>
                  </a:lnTo>
                  <a:lnTo>
                    <a:pt x="768" y="270"/>
                  </a:lnTo>
                  <a:lnTo>
                    <a:pt x="762" y="258"/>
                  </a:lnTo>
                  <a:lnTo>
                    <a:pt x="762" y="222"/>
                  </a:lnTo>
                  <a:lnTo>
                    <a:pt x="780" y="204"/>
                  </a:lnTo>
                  <a:lnTo>
                    <a:pt x="792" y="204"/>
                  </a:lnTo>
                  <a:lnTo>
                    <a:pt x="798" y="210"/>
                  </a:lnTo>
                  <a:lnTo>
                    <a:pt x="816" y="210"/>
                  </a:lnTo>
                  <a:lnTo>
                    <a:pt x="840" y="198"/>
                  </a:lnTo>
                  <a:lnTo>
                    <a:pt x="858" y="180"/>
                  </a:lnTo>
                  <a:lnTo>
                    <a:pt x="804" y="144"/>
                  </a:lnTo>
                  <a:lnTo>
                    <a:pt x="804" y="120"/>
                  </a:lnTo>
                  <a:lnTo>
                    <a:pt x="798" y="108"/>
                  </a:lnTo>
                  <a:lnTo>
                    <a:pt x="792" y="102"/>
                  </a:lnTo>
                  <a:lnTo>
                    <a:pt x="786" y="102"/>
                  </a:lnTo>
                  <a:lnTo>
                    <a:pt x="774" y="114"/>
                  </a:lnTo>
                  <a:lnTo>
                    <a:pt x="774" y="126"/>
                  </a:lnTo>
                  <a:lnTo>
                    <a:pt x="756" y="120"/>
                  </a:lnTo>
                  <a:lnTo>
                    <a:pt x="720" y="114"/>
                  </a:lnTo>
                  <a:lnTo>
                    <a:pt x="678" y="102"/>
                  </a:lnTo>
                  <a:lnTo>
                    <a:pt x="648" y="90"/>
                  </a:lnTo>
                  <a:lnTo>
                    <a:pt x="624" y="72"/>
                  </a:lnTo>
                  <a:lnTo>
                    <a:pt x="552" y="24"/>
                  </a:lnTo>
                  <a:lnTo>
                    <a:pt x="516" y="6"/>
                  </a:lnTo>
                  <a:lnTo>
                    <a:pt x="498" y="0"/>
                  </a:lnTo>
                  <a:lnTo>
                    <a:pt x="498" y="18"/>
                  </a:lnTo>
                  <a:lnTo>
                    <a:pt x="510" y="30"/>
                  </a:lnTo>
                  <a:lnTo>
                    <a:pt x="516" y="42"/>
                  </a:lnTo>
                  <a:lnTo>
                    <a:pt x="528" y="54"/>
                  </a:lnTo>
                  <a:lnTo>
                    <a:pt x="534" y="66"/>
                  </a:lnTo>
                  <a:lnTo>
                    <a:pt x="546" y="72"/>
                  </a:lnTo>
                  <a:close/>
                  <a:moveTo>
                    <a:pt x="282" y="1458"/>
                  </a:moveTo>
                  <a:lnTo>
                    <a:pt x="306" y="1458"/>
                  </a:lnTo>
                  <a:lnTo>
                    <a:pt x="276" y="1440"/>
                  </a:lnTo>
                  <a:lnTo>
                    <a:pt x="282" y="1458"/>
                  </a:lnTo>
                  <a:close/>
                  <a:moveTo>
                    <a:pt x="300" y="1386"/>
                  </a:moveTo>
                  <a:lnTo>
                    <a:pt x="312" y="1398"/>
                  </a:lnTo>
                  <a:lnTo>
                    <a:pt x="318" y="1398"/>
                  </a:lnTo>
                  <a:lnTo>
                    <a:pt x="330" y="1386"/>
                  </a:lnTo>
                  <a:lnTo>
                    <a:pt x="336" y="1386"/>
                  </a:lnTo>
                  <a:lnTo>
                    <a:pt x="342" y="1380"/>
                  </a:lnTo>
                  <a:lnTo>
                    <a:pt x="342" y="1368"/>
                  </a:lnTo>
                  <a:lnTo>
                    <a:pt x="336" y="1362"/>
                  </a:lnTo>
                  <a:lnTo>
                    <a:pt x="318" y="1362"/>
                  </a:lnTo>
                  <a:lnTo>
                    <a:pt x="306" y="1368"/>
                  </a:lnTo>
                  <a:lnTo>
                    <a:pt x="300" y="1380"/>
                  </a:lnTo>
                  <a:lnTo>
                    <a:pt x="300" y="1386"/>
                  </a:lnTo>
                  <a:close/>
                  <a:moveTo>
                    <a:pt x="312" y="1416"/>
                  </a:moveTo>
                  <a:lnTo>
                    <a:pt x="300" y="1416"/>
                  </a:lnTo>
                  <a:lnTo>
                    <a:pt x="300" y="1428"/>
                  </a:lnTo>
                  <a:lnTo>
                    <a:pt x="318" y="1428"/>
                  </a:lnTo>
                  <a:lnTo>
                    <a:pt x="318" y="1422"/>
                  </a:lnTo>
                  <a:lnTo>
                    <a:pt x="312" y="1416"/>
                  </a:lnTo>
                  <a:close/>
                  <a:moveTo>
                    <a:pt x="336" y="1200"/>
                  </a:moveTo>
                  <a:lnTo>
                    <a:pt x="336" y="1206"/>
                  </a:lnTo>
                  <a:lnTo>
                    <a:pt x="330" y="1206"/>
                  </a:lnTo>
                  <a:lnTo>
                    <a:pt x="318" y="1212"/>
                  </a:lnTo>
                  <a:lnTo>
                    <a:pt x="342" y="1230"/>
                  </a:lnTo>
                  <a:lnTo>
                    <a:pt x="342" y="1218"/>
                  </a:lnTo>
                  <a:lnTo>
                    <a:pt x="336" y="1206"/>
                  </a:lnTo>
                  <a:lnTo>
                    <a:pt x="336" y="1200"/>
                  </a:lnTo>
                  <a:close/>
                  <a:moveTo>
                    <a:pt x="366" y="1170"/>
                  </a:moveTo>
                  <a:lnTo>
                    <a:pt x="366" y="1182"/>
                  </a:lnTo>
                  <a:lnTo>
                    <a:pt x="360" y="1194"/>
                  </a:lnTo>
                  <a:lnTo>
                    <a:pt x="378" y="1224"/>
                  </a:lnTo>
                  <a:lnTo>
                    <a:pt x="378" y="1200"/>
                  </a:lnTo>
                  <a:lnTo>
                    <a:pt x="372" y="1194"/>
                  </a:lnTo>
                  <a:lnTo>
                    <a:pt x="372" y="1176"/>
                  </a:lnTo>
                  <a:lnTo>
                    <a:pt x="366" y="1170"/>
                  </a:lnTo>
                  <a:close/>
                  <a:moveTo>
                    <a:pt x="36" y="1698"/>
                  </a:moveTo>
                  <a:lnTo>
                    <a:pt x="54" y="1698"/>
                  </a:lnTo>
                  <a:lnTo>
                    <a:pt x="60" y="1692"/>
                  </a:lnTo>
                  <a:lnTo>
                    <a:pt x="72" y="1692"/>
                  </a:lnTo>
                  <a:lnTo>
                    <a:pt x="42" y="1680"/>
                  </a:lnTo>
                  <a:lnTo>
                    <a:pt x="36" y="1686"/>
                  </a:lnTo>
                  <a:lnTo>
                    <a:pt x="36" y="1698"/>
                  </a:lnTo>
                  <a:close/>
                  <a:moveTo>
                    <a:pt x="114" y="1662"/>
                  </a:moveTo>
                  <a:lnTo>
                    <a:pt x="96" y="1632"/>
                  </a:lnTo>
                  <a:lnTo>
                    <a:pt x="96" y="1662"/>
                  </a:lnTo>
                  <a:lnTo>
                    <a:pt x="102" y="1674"/>
                  </a:lnTo>
                  <a:lnTo>
                    <a:pt x="114" y="1680"/>
                  </a:lnTo>
                  <a:lnTo>
                    <a:pt x="120" y="1680"/>
                  </a:lnTo>
                  <a:lnTo>
                    <a:pt x="126" y="1674"/>
                  </a:lnTo>
                  <a:lnTo>
                    <a:pt x="126" y="1662"/>
                  </a:lnTo>
                  <a:lnTo>
                    <a:pt x="114" y="1662"/>
                  </a:lnTo>
                  <a:close/>
                  <a:moveTo>
                    <a:pt x="12" y="1686"/>
                  </a:moveTo>
                  <a:lnTo>
                    <a:pt x="6" y="1686"/>
                  </a:lnTo>
                  <a:lnTo>
                    <a:pt x="0" y="1692"/>
                  </a:lnTo>
                  <a:lnTo>
                    <a:pt x="0" y="1704"/>
                  </a:lnTo>
                  <a:lnTo>
                    <a:pt x="6" y="1710"/>
                  </a:lnTo>
                  <a:lnTo>
                    <a:pt x="12" y="1710"/>
                  </a:lnTo>
                  <a:lnTo>
                    <a:pt x="24" y="1698"/>
                  </a:lnTo>
                  <a:lnTo>
                    <a:pt x="24" y="1686"/>
                  </a:lnTo>
                  <a:lnTo>
                    <a:pt x="12" y="1686"/>
                  </a:lnTo>
                  <a:close/>
                  <a:moveTo>
                    <a:pt x="168" y="1536"/>
                  </a:moveTo>
                  <a:lnTo>
                    <a:pt x="168" y="1542"/>
                  </a:lnTo>
                  <a:lnTo>
                    <a:pt x="180" y="1548"/>
                  </a:lnTo>
                  <a:lnTo>
                    <a:pt x="186" y="1548"/>
                  </a:lnTo>
                  <a:lnTo>
                    <a:pt x="186" y="1536"/>
                  </a:lnTo>
                  <a:lnTo>
                    <a:pt x="180" y="1530"/>
                  </a:lnTo>
                  <a:lnTo>
                    <a:pt x="168" y="1530"/>
                  </a:lnTo>
                  <a:lnTo>
                    <a:pt x="168" y="1536"/>
                  </a:lnTo>
                  <a:close/>
                  <a:moveTo>
                    <a:pt x="264" y="1494"/>
                  </a:moveTo>
                  <a:lnTo>
                    <a:pt x="252" y="1518"/>
                  </a:lnTo>
                  <a:lnTo>
                    <a:pt x="246" y="1536"/>
                  </a:lnTo>
                  <a:lnTo>
                    <a:pt x="246" y="1548"/>
                  </a:lnTo>
                  <a:lnTo>
                    <a:pt x="240" y="1554"/>
                  </a:lnTo>
                  <a:lnTo>
                    <a:pt x="240" y="1560"/>
                  </a:lnTo>
                  <a:lnTo>
                    <a:pt x="258" y="1566"/>
                  </a:lnTo>
                  <a:lnTo>
                    <a:pt x="264" y="1554"/>
                  </a:lnTo>
                  <a:lnTo>
                    <a:pt x="264" y="1548"/>
                  </a:lnTo>
                  <a:lnTo>
                    <a:pt x="270" y="1542"/>
                  </a:lnTo>
                  <a:lnTo>
                    <a:pt x="270" y="1524"/>
                  </a:lnTo>
                  <a:lnTo>
                    <a:pt x="288" y="1506"/>
                  </a:lnTo>
                  <a:lnTo>
                    <a:pt x="282" y="1500"/>
                  </a:lnTo>
                  <a:lnTo>
                    <a:pt x="282" y="1494"/>
                  </a:lnTo>
                  <a:lnTo>
                    <a:pt x="276" y="1488"/>
                  </a:lnTo>
                  <a:lnTo>
                    <a:pt x="264" y="1494"/>
                  </a:lnTo>
                  <a:close/>
                </a:path>
              </a:pathLst>
            </a:custGeom>
            <a:grpFill/>
            <a:ln w="3175">
              <a:solidFill>
                <a:schemeClr val="bg1"/>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de-DE" sz="1800" b="0" i="0" u="none" strike="noStrike" kern="1200" cap="none" spc="0" normalizeH="0" baseline="0" noProof="0">
                <a:ln>
                  <a:noFill/>
                </a:ln>
                <a:solidFill>
                  <a:srgbClr val="FFC000"/>
                </a:solidFill>
                <a:effectLst/>
                <a:uLnTx/>
                <a:uFillTx/>
                <a:latin typeface="Calibri" pitchFamily="34" charset="0"/>
                <a:ea typeface="+mn-ea"/>
                <a:cs typeface="+mn-cs"/>
              </a:endParaRPr>
            </a:p>
          </p:txBody>
        </p:sp>
        <p:sp>
          <p:nvSpPr>
            <p:cNvPr id="115" name="Italy" descr="© INSCALE GmbH, 05.05.2010&#10;http://www.presentationload.com/"/>
            <p:cNvSpPr>
              <a:spLocks noEditPoints="1"/>
            </p:cNvSpPr>
            <p:nvPr/>
          </p:nvSpPr>
          <p:spPr bwMode="gray">
            <a:xfrm>
              <a:off x="4625720" y="3127997"/>
              <a:ext cx="253408" cy="257205"/>
            </a:xfrm>
            <a:custGeom>
              <a:avLst/>
              <a:gdLst>
                <a:gd name="T0" fmla="*/ 2147483647 w 780"/>
                <a:gd name="T1" fmla="*/ 2147483647 h 828"/>
                <a:gd name="T2" fmla="*/ 2147483647 w 780"/>
                <a:gd name="T3" fmla="*/ 2147483647 h 828"/>
                <a:gd name="T4" fmla="*/ 2147483647 w 780"/>
                <a:gd name="T5" fmla="*/ 2147483647 h 828"/>
                <a:gd name="T6" fmla="*/ 2147483647 w 780"/>
                <a:gd name="T7" fmla="*/ 2147483647 h 828"/>
                <a:gd name="T8" fmla="*/ 2147483647 w 780"/>
                <a:gd name="T9" fmla="*/ 2147483647 h 828"/>
                <a:gd name="T10" fmla="*/ 2147483647 w 780"/>
                <a:gd name="T11" fmla="*/ 2147483647 h 828"/>
                <a:gd name="T12" fmla="*/ 2147483647 w 780"/>
                <a:gd name="T13" fmla="*/ 2147483647 h 828"/>
                <a:gd name="T14" fmla="*/ 2147483647 w 780"/>
                <a:gd name="T15" fmla="*/ 2147483647 h 828"/>
                <a:gd name="T16" fmla="*/ 2147483647 w 780"/>
                <a:gd name="T17" fmla="*/ 2147483647 h 828"/>
                <a:gd name="T18" fmla="*/ 2147483647 w 780"/>
                <a:gd name="T19" fmla="*/ 2147483647 h 828"/>
                <a:gd name="T20" fmla="*/ 2147483647 w 780"/>
                <a:gd name="T21" fmla="*/ 2147483647 h 828"/>
                <a:gd name="T22" fmla="*/ 2147483647 w 780"/>
                <a:gd name="T23" fmla="*/ 2147483647 h 828"/>
                <a:gd name="T24" fmla="*/ 2147483647 w 780"/>
                <a:gd name="T25" fmla="*/ 2147483647 h 828"/>
                <a:gd name="T26" fmla="*/ 2147483647 w 780"/>
                <a:gd name="T27" fmla="*/ 2147483647 h 828"/>
                <a:gd name="T28" fmla="*/ 2147483647 w 780"/>
                <a:gd name="T29" fmla="*/ 2147483647 h 828"/>
                <a:gd name="T30" fmla="*/ 2147483647 w 780"/>
                <a:gd name="T31" fmla="*/ 2147483647 h 828"/>
                <a:gd name="T32" fmla="*/ 2147483647 w 780"/>
                <a:gd name="T33" fmla="*/ 2147483647 h 828"/>
                <a:gd name="T34" fmla="*/ 2147483647 w 780"/>
                <a:gd name="T35" fmla="*/ 2147483647 h 828"/>
                <a:gd name="T36" fmla="*/ 2147483647 w 780"/>
                <a:gd name="T37" fmla="*/ 2147483647 h 828"/>
                <a:gd name="T38" fmla="*/ 2147483647 w 780"/>
                <a:gd name="T39" fmla="*/ 2147483647 h 828"/>
                <a:gd name="T40" fmla="*/ 2147483647 w 780"/>
                <a:gd name="T41" fmla="*/ 2147483647 h 828"/>
                <a:gd name="T42" fmla="*/ 2147483647 w 780"/>
                <a:gd name="T43" fmla="*/ 2147483647 h 828"/>
                <a:gd name="T44" fmla="*/ 2147483647 w 780"/>
                <a:gd name="T45" fmla="*/ 2147483647 h 828"/>
                <a:gd name="T46" fmla="*/ 2147483647 w 780"/>
                <a:gd name="T47" fmla="*/ 2147483647 h 828"/>
                <a:gd name="T48" fmla="*/ 2147483647 w 780"/>
                <a:gd name="T49" fmla="*/ 2147483647 h 828"/>
                <a:gd name="T50" fmla="*/ 2147483647 w 780"/>
                <a:gd name="T51" fmla="*/ 2147483647 h 828"/>
                <a:gd name="T52" fmla="*/ 2147483647 w 780"/>
                <a:gd name="T53" fmla="*/ 2147483647 h 828"/>
                <a:gd name="T54" fmla="*/ 2147483647 w 780"/>
                <a:gd name="T55" fmla="*/ 2147483647 h 828"/>
                <a:gd name="T56" fmla="*/ 2147483647 w 780"/>
                <a:gd name="T57" fmla="*/ 2147483647 h 828"/>
                <a:gd name="T58" fmla="*/ 2147483647 w 780"/>
                <a:gd name="T59" fmla="*/ 2147483647 h 828"/>
                <a:gd name="T60" fmla="*/ 2147483647 w 780"/>
                <a:gd name="T61" fmla="*/ 2147483647 h 828"/>
                <a:gd name="T62" fmla="*/ 2147483647 w 780"/>
                <a:gd name="T63" fmla="*/ 2147483647 h 828"/>
                <a:gd name="T64" fmla="*/ 2147483647 w 780"/>
                <a:gd name="T65" fmla="*/ 2147483647 h 828"/>
                <a:gd name="T66" fmla="*/ 2147483647 w 780"/>
                <a:gd name="T67" fmla="*/ 2147483647 h 828"/>
                <a:gd name="T68" fmla="*/ 2147483647 w 780"/>
                <a:gd name="T69" fmla="*/ 2147483647 h 828"/>
                <a:gd name="T70" fmla="*/ 2147483647 w 780"/>
                <a:gd name="T71" fmla="*/ 2147483647 h 828"/>
                <a:gd name="T72" fmla="*/ 2147483647 w 780"/>
                <a:gd name="T73" fmla="*/ 2147483647 h 828"/>
                <a:gd name="T74" fmla="*/ 2147483647 w 780"/>
                <a:gd name="T75" fmla="*/ 2147483647 h 828"/>
                <a:gd name="T76" fmla="*/ 2147483647 w 780"/>
                <a:gd name="T77" fmla="*/ 2147483647 h 828"/>
                <a:gd name="T78" fmla="*/ 2147483647 w 780"/>
                <a:gd name="T79" fmla="*/ 2147483647 h 828"/>
                <a:gd name="T80" fmla="*/ 2147483647 w 780"/>
                <a:gd name="T81" fmla="*/ 2147483647 h 828"/>
                <a:gd name="T82" fmla="*/ 2147483647 w 780"/>
                <a:gd name="T83" fmla="*/ 2147483647 h 828"/>
                <a:gd name="T84" fmla="*/ 2147483647 w 780"/>
                <a:gd name="T85" fmla="*/ 2147483647 h 828"/>
                <a:gd name="T86" fmla="*/ 2147483647 w 780"/>
                <a:gd name="T87" fmla="*/ 2147483647 h 828"/>
                <a:gd name="T88" fmla="*/ 2147483647 w 780"/>
                <a:gd name="T89" fmla="*/ 2147483647 h 828"/>
                <a:gd name="T90" fmla="*/ 2147483647 w 780"/>
                <a:gd name="T91" fmla="*/ 2147483647 h 828"/>
                <a:gd name="T92" fmla="*/ 2147483647 w 780"/>
                <a:gd name="T93" fmla="*/ 2147483647 h 828"/>
                <a:gd name="T94" fmla="*/ 2147483647 w 780"/>
                <a:gd name="T95" fmla="*/ 2147483647 h 828"/>
                <a:gd name="T96" fmla="*/ 2147483647 w 780"/>
                <a:gd name="T97" fmla="*/ 2147483647 h 828"/>
                <a:gd name="T98" fmla="*/ 2147483647 w 780"/>
                <a:gd name="T99" fmla="*/ 2147483647 h 828"/>
                <a:gd name="T100" fmla="*/ 2147483647 w 780"/>
                <a:gd name="T101" fmla="*/ 2147483647 h 828"/>
                <a:gd name="T102" fmla="*/ 2147483647 w 780"/>
                <a:gd name="T103" fmla="*/ 2147483647 h 828"/>
                <a:gd name="T104" fmla="*/ 2147483647 w 780"/>
                <a:gd name="T105" fmla="*/ 2147483647 h 828"/>
                <a:gd name="T106" fmla="*/ 2147483647 w 780"/>
                <a:gd name="T107" fmla="*/ 2147483647 h 828"/>
                <a:gd name="T108" fmla="*/ 2147483647 w 780"/>
                <a:gd name="T109" fmla="*/ 2147483647 h 828"/>
                <a:gd name="T110" fmla="*/ 2147483647 w 780"/>
                <a:gd name="T111" fmla="*/ 2147483647 h 828"/>
                <a:gd name="T112" fmla="*/ 2147483647 w 780"/>
                <a:gd name="T113" fmla="*/ 2147483647 h 828"/>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780"/>
                <a:gd name="T172" fmla="*/ 0 h 828"/>
                <a:gd name="T173" fmla="*/ 780 w 780"/>
                <a:gd name="T174" fmla="*/ 828 h 828"/>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780" h="828">
                  <a:moveTo>
                    <a:pt x="570" y="720"/>
                  </a:moveTo>
                  <a:lnTo>
                    <a:pt x="558" y="714"/>
                  </a:lnTo>
                  <a:lnTo>
                    <a:pt x="552" y="708"/>
                  </a:lnTo>
                  <a:lnTo>
                    <a:pt x="540" y="708"/>
                  </a:lnTo>
                  <a:lnTo>
                    <a:pt x="534" y="714"/>
                  </a:lnTo>
                  <a:lnTo>
                    <a:pt x="522" y="720"/>
                  </a:lnTo>
                  <a:lnTo>
                    <a:pt x="516" y="726"/>
                  </a:lnTo>
                  <a:lnTo>
                    <a:pt x="468" y="726"/>
                  </a:lnTo>
                  <a:lnTo>
                    <a:pt x="456" y="720"/>
                  </a:lnTo>
                  <a:lnTo>
                    <a:pt x="444" y="708"/>
                  </a:lnTo>
                  <a:lnTo>
                    <a:pt x="438" y="708"/>
                  </a:lnTo>
                  <a:lnTo>
                    <a:pt x="420" y="726"/>
                  </a:lnTo>
                  <a:lnTo>
                    <a:pt x="402" y="714"/>
                  </a:lnTo>
                  <a:lnTo>
                    <a:pt x="396" y="714"/>
                  </a:lnTo>
                  <a:lnTo>
                    <a:pt x="384" y="726"/>
                  </a:lnTo>
                  <a:lnTo>
                    <a:pt x="384" y="738"/>
                  </a:lnTo>
                  <a:lnTo>
                    <a:pt x="396" y="750"/>
                  </a:lnTo>
                  <a:lnTo>
                    <a:pt x="420" y="762"/>
                  </a:lnTo>
                  <a:lnTo>
                    <a:pt x="426" y="762"/>
                  </a:lnTo>
                  <a:lnTo>
                    <a:pt x="444" y="780"/>
                  </a:lnTo>
                  <a:lnTo>
                    <a:pt x="444" y="786"/>
                  </a:lnTo>
                  <a:lnTo>
                    <a:pt x="456" y="786"/>
                  </a:lnTo>
                  <a:lnTo>
                    <a:pt x="468" y="798"/>
                  </a:lnTo>
                  <a:lnTo>
                    <a:pt x="480" y="804"/>
                  </a:lnTo>
                  <a:lnTo>
                    <a:pt x="498" y="798"/>
                  </a:lnTo>
                  <a:lnTo>
                    <a:pt x="504" y="804"/>
                  </a:lnTo>
                  <a:lnTo>
                    <a:pt x="516" y="810"/>
                  </a:lnTo>
                  <a:lnTo>
                    <a:pt x="522" y="822"/>
                  </a:lnTo>
                  <a:lnTo>
                    <a:pt x="534" y="828"/>
                  </a:lnTo>
                  <a:lnTo>
                    <a:pt x="558" y="828"/>
                  </a:lnTo>
                  <a:lnTo>
                    <a:pt x="570" y="816"/>
                  </a:lnTo>
                  <a:lnTo>
                    <a:pt x="570" y="792"/>
                  </a:lnTo>
                  <a:lnTo>
                    <a:pt x="564" y="780"/>
                  </a:lnTo>
                  <a:lnTo>
                    <a:pt x="564" y="768"/>
                  </a:lnTo>
                  <a:lnTo>
                    <a:pt x="570" y="750"/>
                  </a:lnTo>
                  <a:lnTo>
                    <a:pt x="576" y="738"/>
                  </a:lnTo>
                  <a:lnTo>
                    <a:pt x="582" y="732"/>
                  </a:lnTo>
                  <a:lnTo>
                    <a:pt x="582" y="714"/>
                  </a:lnTo>
                  <a:lnTo>
                    <a:pt x="576" y="702"/>
                  </a:lnTo>
                  <a:lnTo>
                    <a:pt x="570" y="720"/>
                  </a:lnTo>
                  <a:close/>
                  <a:moveTo>
                    <a:pt x="180" y="468"/>
                  </a:moveTo>
                  <a:lnTo>
                    <a:pt x="156" y="480"/>
                  </a:lnTo>
                  <a:lnTo>
                    <a:pt x="150" y="486"/>
                  </a:lnTo>
                  <a:lnTo>
                    <a:pt x="138" y="492"/>
                  </a:lnTo>
                  <a:lnTo>
                    <a:pt x="132" y="498"/>
                  </a:lnTo>
                  <a:lnTo>
                    <a:pt x="126" y="498"/>
                  </a:lnTo>
                  <a:lnTo>
                    <a:pt x="114" y="492"/>
                  </a:lnTo>
                  <a:lnTo>
                    <a:pt x="102" y="480"/>
                  </a:lnTo>
                  <a:lnTo>
                    <a:pt x="96" y="498"/>
                  </a:lnTo>
                  <a:lnTo>
                    <a:pt x="102" y="504"/>
                  </a:lnTo>
                  <a:lnTo>
                    <a:pt x="114" y="510"/>
                  </a:lnTo>
                  <a:lnTo>
                    <a:pt x="120" y="522"/>
                  </a:lnTo>
                  <a:lnTo>
                    <a:pt x="120" y="540"/>
                  </a:lnTo>
                  <a:lnTo>
                    <a:pt x="114" y="558"/>
                  </a:lnTo>
                  <a:lnTo>
                    <a:pt x="114" y="570"/>
                  </a:lnTo>
                  <a:lnTo>
                    <a:pt x="126" y="582"/>
                  </a:lnTo>
                  <a:lnTo>
                    <a:pt x="114" y="588"/>
                  </a:lnTo>
                  <a:lnTo>
                    <a:pt x="120" y="636"/>
                  </a:lnTo>
                  <a:lnTo>
                    <a:pt x="108" y="636"/>
                  </a:lnTo>
                  <a:lnTo>
                    <a:pt x="126" y="654"/>
                  </a:lnTo>
                  <a:lnTo>
                    <a:pt x="138" y="654"/>
                  </a:lnTo>
                  <a:lnTo>
                    <a:pt x="144" y="642"/>
                  </a:lnTo>
                  <a:lnTo>
                    <a:pt x="156" y="630"/>
                  </a:lnTo>
                  <a:lnTo>
                    <a:pt x="156" y="618"/>
                  </a:lnTo>
                  <a:lnTo>
                    <a:pt x="168" y="630"/>
                  </a:lnTo>
                  <a:lnTo>
                    <a:pt x="180" y="636"/>
                  </a:lnTo>
                  <a:lnTo>
                    <a:pt x="186" y="636"/>
                  </a:lnTo>
                  <a:lnTo>
                    <a:pt x="192" y="630"/>
                  </a:lnTo>
                  <a:lnTo>
                    <a:pt x="198" y="618"/>
                  </a:lnTo>
                  <a:lnTo>
                    <a:pt x="198" y="594"/>
                  </a:lnTo>
                  <a:lnTo>
                    <a:pt x="204" y="582"/>
                  </a:lnTo>
                  <a:lnTo>
                    <a:pt x="204" y="558"/>
                  </a:lnTo>
                  <a:lnTo>
                    <a:pt x="198" y="552"/>
                  </a:lnTo>
                  <a:lnTo>
                    <a:pt x="192" y="552"/>
                  </a:lnTo>
                  <a:lnTo>
                    <a:pt x="192" y="546"/>
                  </a:lnTo>
                  <a:lnTo>
                    <a:pt x="198" y="540"/>
                  </a:lnTo>
                  <a:lnTo>
                    <a:pt x="204" y="540"/>
                  </a:lnTo>
                  <a:lnTo>
                    <a:pt x="210" y="534"/>
                  </a:lnTo>
                  <a:lnTo>
                    <a:pt x="210" y="522"/>
                  </a:lnTo>
                  <a:lnTo>
                    <a:pt x="204" y="510"/>
                  </a:lnTo>
                  <a:lnTo>
                    <a:pt x="204" y="492"/>
                  </a:lnTo>
                  <a:lnTo>
                    <a:pt x="198" y="480"/>
                  </a:lnTo>
                  <a:lnTo>
                    <a:pt x="186" y="474"/>
                  </a:lnTo>
                  <a:lnTo>
                    <a:pt x="180" y="468"/>
                  </a:lnTo>
                  <a:close/>
                  <a:moveTo>
                    <a:pt x="774" y="546"/>
                  </a:moveTo>
                  <a:lnTo>
                    <a:pt x="768" y="534"/>
                  </a:lnTo>
                  <a:lnTo>
                    <a:pt x="756" y="528"/>
                  </a:lnTo>
                  <a:lnTo>
                    <a:pt x="738" y="510"/>
                  </a:lnTo>
                  <a:lnTo>
                    <a:pt x="678" y="480"/>
                  </a:lnTo>
                  <a:lnTo>
                    <a:pt x="672" y="480"/>
                  </a:lnTo>
                  <a:lnTo>
                    <a:pt x="660" y="474"/>
                  </a:lnTo>
                  <a:lnTo>
                    <a:pt x="648" y="474"/>
                  </a:lnTo>
                  <a:lnTo>
                    <a:pt x="630" y="468"/>
                  </a:lnTo>
                  <a:lnTo>
                    <a:pt x="606" y="456"/>
                  </a:lnTo>
                  <a:lnTo>
                    <a:pt x="606" y="450"/>
                  </a:lnTo>
                  <a:lnTo>
                    <a:pt x="612" y="438"/>
                  </a:lnTo>
                  <a:lnTo>
                    <a:pt x="624" y="426"/>
                  </a:lnTo>
                  <a:lnTo>
                    <a:pt x="624" y="420"/>
                  </a:lnTo>
                  <a:lnTo>
                    <a:pt x="618" y="414"/>
                  </a:lnTo>
                  <a:lnTo>
                    <a:pt x="612" y="414"/>
                  </a:lnTo>
                  <a:lnTo>
                    <a:pt x="594" y="408"/>
                  </a:lnTo>
                  <a:lnTo>
                    <a:pt x="552" y="408"/>
                  </a:lnTo>
                  <a:lnTo>
                    <a:pt x="540" y="402"/>
                  </a:lnTo>
                  <a:lnTo>
                    <a:pt x="534" y="396"/>
                  </a:lnTo>
                  <a:lnTo>
                    <a:pt x="516" y="384"/>
                  </a:lnTo>
                  <a:lnTo>
                    <a:pt x="492" y="360"/>
                  </a:lnTo>
                  <a:lnTo>
                    <a:pt x="480" y="342"/>
                  </a:lnTo>
                  <a:lnTo>
                    <a:pt x="474" y="336"/>
                  </a:lnTo>
                  <a:lnTo>
                    <a:pt x="468" y="324"/>
                  </a:lnTo>
                  <a:lnTo>
                    <a:pt x="468" y="312"/>
                  </a:lnTo>
                  <a:lnTo>
                    <a:pt x="450" y="276"/>
                  </a:lnTo>
                  <a:lnTo>
                    <a:pt x="438" y="270"/>
                  </a:lnTo>
                  <a:lnTo>
                    <a:pt x="432" y="264"/>
                  </a:lnTo>
                  <a:lnTo>
                    <a:pt x="420" y="258"/>
                  </a:lnTo>
                  <a:lnTo>
                    <a:pt x="414" y="252"/>
                  </a:lnTo>
                  <a:lnTo>
                    <a:pt x="378" y="222"/>
                  </a:lnTo>
                  <a:lnTo>
                    <a:pt x="372" y="210"/>
                  </a:lnTo>
                  <a:lnTo>
                    <a:pt x="360" y="198"/>
                  </a:lnTo>
                  <a:lnTo>
                    <a:pt x="360" y="186"/>
                  </a:lnTo>
                  <a:lnTo>
                    <a:pt x="366" y="180"/>
                  </a:lnTo>
                  <a:lnTo>
                    <a:pt x="384" y="180"/>
                  </a:lnTo>
                  <a:lnTo>
                    <a:pt x="384" y="174"/>
                  </a:lnTo>
                  <a:lnTo>
                    <a:pt x="372" y="162"/>
                  </a:lnTo>
                  <a:lnTo>
                    <a:pt x="366" y="150"/>
                  </a:lnTo>
                  <a:lnTo>
                    <a:pt x="366" y="138"/>
                  </a:lnTo>
                  <a:lnTo>
                    <a:pt x="402" y="120"/>
                  </a:lnTo>
                  <a:lnTo>
                    <a:pt x="408" y="114"/>
                  </a:lnTo>
                  <a:lnTo>
                    <a:pt x="414" y="114"/>
                  </a:lnTo>
                  <a:lnTo>
                    <a:pt x="438" y="108"/>
                  </a:lnTo>
                  <a:lnTo>
                    <a:pt x="444" y="72"/>
                  </a:lnTo>
                  <a:lnTo>
                    <a:pt x="432" y="66"/>
                  </a:lnTo>
                  <a:lnTo>
                    <a:pt x="438" y="60"/>
                  </a:lnTo>
                  <a:lnTo>
                    <a:pt x="438" y="42"/>
                  </a:lnTo>
                  <a:lnTo>
                    <a:pt x="384" y="42"/>
                  </a:lnTo>
                  <a:lnTo>
                    <a:pt x="378" y="24"/>
                  </a:lnTo>
                  <a:lnTo>
                    <a:pt x="366" y="24"/>
                  </a:lnTo>
                  <a:lnTo>
                    <a:pt x="366" y="6"/>
                  </a:lnTo>
                  <a:lnTo>
                    <a:pt x="360" y="0"/>
                  </a:lnTo>
                  <a:lnTo>
                    <a:pt x="342" y="0"/>
                  </a:lnTo>
                  <a:lnTo>
                    <a:pt x="336" y="6"/>
                  </a:lnTo>
                  <a:lnTo>
                    <a:pt x="336" y="12"/>
                  </a:lnTo>
                  <a:lnTo>
                    <a:pt x="294" y="12"/>
                  </a:lnTo>
                  <a:lnTo>
                    <a:pt x="282" y="30"/>
                  </a:lnTo>
                  <a:lnTo>
                    <a:pt x="270" y="24"/>
                  </a:lnTo>
                  <a:lnTo>
                    <a:pt x="252" y="24"/>
                  </a:lnTo>
                  <a:lnTo>
                    <a:pt x="246" y="42"/>
                  </a:lnTo>
                  <a:lnTo>
                    <a:pt x="222" y="42"/>
                  </a:lnTo>
                  <a:lnTo>
                    <a:pt x="222" y="48"/>
                  </a:lnTo>
                  <a:lnTo>
                    <a:pt x="234" y="60"/>
                  </a:lnTo>
                  <a:lnTo>
                    <a:pt x="228" y="72"/>
                  </a:lnTo>
                  <a:lnTo>
                    <a:pt x="210" y="60"/>
                  </a:lnTo>
                  <a:lnTo>
                    <a:pt x="192" y="66"/>
                  </a:lnTo>
                  <a:lnTo>
                    <a:pt x="180" y="48"/>
                  </a:lnTo>
                  <a:lnTo>
                    <a:pt x="174" y="72"/>
                  </a:lnTo>
                  <a:lnTo>
                    <a:pt x="162" y="84"/>
                  </a:lnTo>
                  <a:lnTo>
                    <a:pt x="162" y="102"/>
                  </a:lnTo>
                  <a:lnTo>
                    <a:pt x="138" y="78"/>
                  </a:lnTo>
                  <a:lnTo>
                    <a:pt x="132" y="78"/>
                  </a:lnTo>
                  <a:lnTo>
                    <a:pt x="132" y="72"/>
                  </a:lnTo>
                  <a:lnTo>
                    <a:pt x="126" y="66"/>
                  </a:lnTo>
                  <a:lnTo>
                    <a:pt x="126" y="60"/>
                  </a:lnTo>
                  <a:lnTo>
                    <a:pt x="120" y="54"/>
                  </a:lnTo>
                  <a:lnTo>
                    <a:pt x="108" y="54"/>
                  </a:lnTo>
                  <a:lnTo>
                    <a:pt x="102" y="60"/>
                  </a:lnTo>
                  <a:lnTo>
                    <a:pt x="102" y="78"/>
                  </a:lnTo>
                  <a:lnTo>
                    <a:pt x="84" y="96"/>
                  </a:lnTo>
                  <a:lnTo>
                    <a:pt x="78" y="96"/>
                  </a:lnTo>
                  <a:lnTo>
                    <a:pt x="66" y="84"/>
                  </a:lnTo>
                  <a:lnTo>
                    <a:pt x="54" y="84"/>
                  </a:lnTo>
                  <a:lnTo>
                    <a:pt x="42" y="96"/>
                  </a:lnTo>
                  <a:lnTo>
                    <a:pt x="30" y="96"/>
                  </a:lnTo>
                  <a:lnTo>
                    <a:pt x="30" y="102"/>
                  </a:lnTo>
                  <a:lnTo>
                    <a:pt x="24" y="102"/>
                  </a:lnTo>
                  <a:lnTo>
                    <a:pt x="18" y="108"/>
                  </a:lnTo>
                  <a:lnTo>
                    <a:pt x="42" y="132"/>
                  </a:lnTo>
                  <a:lnTo>
                    <a:pt x="42" y="138"/>
                  </a:lnTo>
                  <a:lnTo>
                    <a:pt x="24" y="156"/>
                  </a:lnTo>
                  <a:lnTo>
                    <a:pt x="0" y="156"/>
                  </a:lnTo>
                  <a:lnTo>
                    <a:pt x="12" y="174"/>
                  </a:lnTo>
                  <a:lnTo>
                    <a:pt x="24" y="174"/>
                  </a:lnTo>
                  <a:lnTo>
                    <a:pt x="30" y="180"/>
                  </a:lnTo>
                  <a:lnTo>
                    <a:pt x="30" y="192"/>
                  </a:lnTo>
                  <a:lnTo>
                    <a:pt x="24" y="198"/>
                  </a:lnTo>
                  <a:lnTo>
                    <a:pt x="24" y="204"/>
                  </a:lnTo>
                  <a:lnTo>
                    <a:pt x="18" y="210"/>
                  </a:lnTo>
                  <a:lnTo>
                    <a:pt x="18" y="216"/>
                  </a:lnTo>
                  <a:lnTo>
                    <a:pt x="24" y="222"/>
                  </a:lnTo>
                  <a:lnTo>
                    <a:pt x="36" y="228"/>
                  </a:lnTo>
                  <a:lnTo>
                    <a:pt x="42" y="228"/>
                  </a:lnTo>
                  <a:lnTo>
                    <a:pt x="42" y="234"/>
                  </a:lnTo>
                  <a:lnTo>
                    <a:pt x="66" y="234"/>
                  </a:lnTo>
                  <a:lnTo>
                    <a:pt x="72" y="240"/>
                  </a:lnTo>
                  <a:lnTo>
                    <a:pt x="72" y="246"/>
                  </a:lnTo>
                  <a:lnTo>
                    <a:pt x="54" y="264"/>
                  </a:lnTo>
                  <a:lnTo>
                    <a:pt x="54" y="270"/>
                  </a:lnTo>
                  <a:lnTo>
                    <a:pt x="66" y="270"/>
                  </a:lnTo>
                  <a:lnTo>
                    <a:pt x="90" y="258"/>
                  </a:lnTo>
                  <a:lnTo>
                    <a:pt x="120" y="228"/>
                  </a:lnTo>
                  <a:lnTo>
                    <a:pt x="144" y="216"/>
                  </a:lnTo>
                  <a:lnTo>
                    <a:pt x="156" y="216"/>
                  </a:lnTo>
                  <a:lnTo>
                    <a:pt x="168" y="222"/>
                  </a:lnTo>
                  <a:lnTo>
                    <a:pt x="204" y="234"/>
                  </a:lnTo>
                  <a:lnTo>
                    <a:pt x="216" y="240"/>
                  </a:lnTo>
                  <a:lnTo>
                    <a:pt x="228" y="252"/>
                  </a:lnTo>
                  <a:lnTo>
                    <a:pt x="234" y="264"/>
                  </a:lnTo>
                  <a:lnTo>
                    <a:pt x="234" y="276"/>
                  </a:lnTo>
                  <a:lnTo>
                    <a:pt x="240" y="282"/>
                  </a:lnTo>
                  <a:lnTo>
                    <a:pt x="240" y="288"/>
                  </a:lnTo>
                  <a:lnTo>
                    <a:pt x="252" y="300"/>
                  </a:lnTo>
                  <a:lnTo>
                    <a:pt x="252" y="306"/>
                  </a:lnTo>
                  <a:lnTo>
                    <a:pt x="246" y="318"/>
                  </a:lnTo>
                  <a:lnTo>
                    <a:pt x="246" y="324"/>
                  </a:lnTo>
                  <a:lnTo>
                    <a:pt x="258" y="336"/>
                  </a:lnTo>
                  <a:lnTo>
                    <a:pt x="282" y="348"/>
                  </a:lnTo>
                  <a:lnTo>
                    <a:pt x="288" y="354"/>
                  </a:lnTo>
                  <a:lnTo>
                    <a:pt x="294" y="354"/>
                  </a:lnTo>
                  <a:lnTo>
                    <a:pt x="300" y="372"/>
                  </a:lnTo>
                  <a:lnTo>
                    <a:pt x="330" y="372"/>
                  </a:lnTo>
                  <a:lnTo>
                    <a:pt x="348" y="390"/>
                  </a:lnTo>
                  <a:lnTo>
                    <a:pt x="354" y="402"/>
                  </a:lnTo>
                  <a:lnTo>
                    <a:pt x="366" y="414"/>
                  </a:lnTo>
                  <a:lnTo>
                    <a:pt x="378" y="420"/>
                  </a:lnTo>
                  <a:lnTo>
                    <a:pt x="384" y="432"/>
                  </a:lnTo>
                  <a:lnTo>
                    <a:pt x="420" y="468"/>
                  </a:lnTo>
                  <a:lnTo>
                    <a:pt x="456" y="468"/>
                  </a:lnTo>
                  <a:lnTo>
                    <a:pt x="462" y="474"/>
                  </a:lnTo>
                  <a:lnTo>
                    <a:pt x="468" y="486"/>
                  </a:lnTo>
                  <a:lnTo>
                    <a:pt x="492" y="498"/>
                  </a:lnTo>
                  <a:lnTo>
                    <a:pt x="510" y="504"/>
                  </a:lnTo>
                  <a:lnTo>
                    <a:pt x="528" y="504"/>
                  </a:lnTo>
                  <a:lnTo>
                    <a:pt x="540" y="510"/>
                  </a:lnTo>
                  <a:lnTo>
                    <a:pt x="546" y="510"/>
                  </a:lnTo>
                  <a:lnTo>
                    <a:pt x="552" y="522"/>
                  </a:lnTo>
                  <a:lnTo>
                    <a:pt x="552" y="534"/>
                  </a:lnTo>
                  <a:lnTo>
                    <a:pt x="564" y="558"/>
                  </a:lnTo>
                  <a:lnTo>
                    <a:pt x="570" y="564"/>
                  </a:lnTo>
                  <a:lnTo>
                    <a:pt x="582" y="564"/>
                  </a:lnTo>
                  <a:lnTo>
                    <a:pt x="594" y="558"/>
                  </a:lnTo>
                  <a:lnTo>
                    <a:pt x="600" y="558"/>
                  </a:lnTo>
                  <a:lnTo>
                    <a:pt x="600" y="570"/>
                  </a:lnTo>
                  <a:lnTo>
                    <a:pt x="606" y="582"/>
                  </a:lnTo>
                  <a:lnTo>
                    <a:pt x="606" y="606"/>
                  </a:lnTo>
                  <a:lnTo>
                    <a:pt x="612" y="618"/>
                  </a:lnTo>
                  <a:lnTo>
                    <a:pt x="630" y="636"/>
                  </a:lnTo>
                  <a:lnTo>
                    <a:pt x="630" y="666"/>
                  </a:lnTo>
                  <a:lnTo>
                    <a:pt x="612" y="666"/>
                  </a:lnTo>
                  <a:lnTo>
                    <a:pt x="612" y="690"/>
                  </a:lnTo>
                  <a:lnTo>
                    <a:pt x="606" y="696"/>
                  </a:lnTo>
                  <a:lnTo>
                    <a:pt x="600" y="708"/>
                  </a:lnTo>
                  <a:lnTo>
                    <a:pt x="594" y="714"/>
                  </a:lnTo>
                  <a:lnTo>
                    <a:pt x="594" y="732"/>
                  </a:lnTo>
                  <a:lnTo>
                    <a:pt x="606" y="732"/>
                  </a:lnTo>
                  <a:lnTo>
                    <a:pt x="618" y="726"/>
                  </a:lnTo>
                  <a:lnTo>
                    <a:pt x="624" y="726"/>
                  </a:lnTo>
                  <a:lnTo>
                    <a:pt x="636" y="702"/>
                  </a:lnTo>
                  <a:lnTo>
                    <a:pt x="654" y="696"/>
                  </a:lnTo>
                  <a:lnTo>
                    <a:pt x="654" y="666"/>
                  </a:lnTo>
                  <a:lnTo>
                    <a:pt x="666" y="654"/>
                  </a:lnTo>
                  <a:lnTo>
                    <a:pt x="678" y="654"/>
                  </a:lnTo>
                  <a:lnTo>
                    <a:pt x="684" y="648"/>
                  </a:lnTo>
                  <a:lnTo>
                    <a:pt x="696" y="648"/>
                  </a:lnTo>
                  <a:lnTo>
                    <a:pt x="696" y="636"/>
                  </a:lnTo>
                  <a:lnTo>
                    <a:pt x="690" y="630"/>
                  </a:lnTo>
                  <a:lnTo>
                    <a:pt x="690" y="618"/>
                  </a:lnTo>
                  <a:lnTo>
                    <a:pt x="678" y="606"/>
                  </a:lnTo>
                  <a:lnTo>
                    <a:pt x="666" y="606"/>
                  </a:lnTo>
                  <a:lnTo>
                    <a:pt x="648" y="588"/>
                  </a:lnTo>
                  <a:lnTo>
                    <a:pt x="654" y="582"/>
                  </a:lnTo>
                  <a:lnTo>
                    <a:pt x="660" y="570"/>
                  </a:lnTo>
                  <a:lnTo>
                    <a:pt x="666" y="552"/>
                  </a:lnTo>
                  <a:lnTo>
                    <a:pt x="672" y="540"/>
                  </a:lnTo>
                  <a:lnTo>
                    <a:pt x="684" y="528"/>
                  </a:lnTo>
                  <a:lnTo>
                    <a:pt x="690" y="534"/>
                  </a:lnTo>
                  <a:lnTo>
                    <a:pt x="702" y="534"/>
                  </a:lnTo>
                  <a:lnTo>
                    <a:pt x="708" y="540"/>
                  </a:lnTo>
                  <a:lnTo>
                    <a:pt x="738" y="540"/>
                  </a:lnTo>
                  <a:lnTo>
                    <a:pt x="738" y="552"/>
                  </a:lnTo>
                  <a:lnTo>
                    <a:pt x="744" y="558"/>
                  </a:lnTo>
                  <a:lnTo>
                    <a:pt x="744" y="564"/>
                  </a:lnTo>
                  <a:lnTo>
                    <a:pt x="750" y="576"/>
                  </a:lnTo>
                  <a:lnTo>
                    <a:pt x="762" y="576"/>
                  </a:lnTo>
                  <a:lnTo>
                    <a:pt x="774" y="570"/>
                  </a:lnTo>
                  <a:lnTo>
                    <a:pt x="780" y="564"/>
                  </a:lnTo>
                  <a:lnTo>
                    <a:pt x="780" y="558"/>
                  </a:lnTo>
                  <a:lnTo>
                    <a:pt x="774" y="546"/>
                  </a:lnTo>
                  <a:close/>
                </a:path>
              </a:pathLst>
            </a:custGeom>
            <a:grpFill/>
            <a:ln w="3175">
              <a:solidFill>
                <a:schemeClr val="bg1"/>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de-DE" sz="1800" b="0" i="0" u="none" strike="noStrike" kern="1200" cap="none" spc="0" normalizeH="0" baseline="0" noProof="0">
                <a:ln>
                  <a:noFill/>
                </a:ln>
                <a:solidFill>
                  <a:srgbClr val="FFC000"/>
                </a:solidFill>
                <a:effectLst/>
                <a:uLnTx/>
                <a:uFillTx/>
                <a:latin typeface="Calibri" pitchFamily="34" charset="0"/>
                <a:ea typeface="+mn-ea"/>
                <a:cs typeface="+mn-cs"/>
              </a:endParaRPr>
            </a:p>
          </p:txBody>
        </p:sp>
        <p:sp>
          <p:nvSpPr>
            <p:cNvPr id="116" name="Israel" descr="© INSCALE GmbH, 05.05.2010&#10;http://www.presentationload.com/"/>
            <p:cNvSpPr>
              <a:spLocks/>
            </p:cNvSpPr>
            <p:nvPr/>
          </p:nvSpPr>
          <p:spPr bwMode="gray">
            <a:xfrm>
              <a:off x="5233644" y="3467264"/>
              <a:ext cx="33275" cy="100433"/>
            </a:xfrm>
            <a:custGeom>
              <a:avLst/>
              <a:gdLst>
                <a:gd name="T0" fmla="*/ 0 w 102"/>
                <a:gd name="T1" fmla="*/ 2147483647 h 324"/>
                <a:gd name="T2" fmla="*/ 2147483647 w 102"/>
                <a:gd name="T3" fmla="*/ 2147483647 h 324"/>
                <a:gd name="T4" fmla="*/ 2147483647 w 102"/>
                <a:gd name="T5" fmla="*/ 2147483647 h 324"/>
                <a:gd name="T6" fmla="*/ 2147483647 w 102"/>
                <a:gd name="T7" fmla="*/ 2147483647 h 324"/>
                <a:gd name="T8" fmla="*/ 2147483647 w 102"/>
                <a:gd name="T9" fmla="*/ 2147483647 h 324"/>
                <a:gd name="T10" fmla="*/ 2147483647 w 102"/>
                <a:gd name="T11" fmla="*/ 2147483647 h 324"/>
                <a:gd name="T12" fmla="*/ 2147483647 w 102"/>
                <a:gd name="T13" fmla="*/ 2147483647 h 324"/>
                <a:gd name="T14" fmla="*/ 2147483647 w 102"/>
                <a:gd name="T15" fmla="*/ 2147483647 h 324"/>
                <a:gd name="T16" fmla="*/ 2147483647 w 102"/>
                <a:gd name="T17" fmla="*/ 2147483647 h 324"/>
                <a:gd name="T18" fmla="*/ 2147483647 w 102"/>
                <a:gd name="T19" fmla="*/ 2147483647 h 324"/>
                <a:gd name="T20" fmla="*/ 2147483647 w 102"/>
                <a:gd name="T21" fmla="*/ 2147483647 h 324"/>
                <a:gd name="T22" fmla="*/ 2147483647 w 102"/>
                <a:gd name="T23" fmla="*/ 2147483647 h 324"/>
                <a:gd name="T24" fmla="*/ 2147483647 w 102"/>
                <a:gd name="T25" fmla="*/ 2147483647 h 324"/>
                <a:gd name="T26" fmla="*/ 2147483647 w 102"/>
                <a:gd name="T27" fmla="*/ 2147483647 h 324"/>
                <a:gd name="T28" fmla="*/ 2147483647 w 102"/>
                <a:gd name="T29" fmla="*/ 2147483647 h 324"/>
                <a:gd name="T30" fmla="*/ 2147483647 w 102"/>
                <a:gd name="T31" fmla="*/ 2147483647 h 324"/>
                <a:gd name="T32" fmla="*/ 2147483647 w 102"/>
                <a:gd name="T33" fmla="*/ 2147483647 h 324"/>
                <a:gd name="T34" fmla="*/ 2147483647 w 102"/>
                <a:gd name="T35" fmla="*/ 2147483647 h 324"/>
                <a:gd name="T36" fmla="*/ 2147483647 w 102"/>
                <a:gd name="T37" fmla="*/ 2147483647 h 324"/>
                <a:gd name="T38" fmla="*/ 2147483647 w 102"/>
                <a:gd name="T39" fmla="*/ 2147483647 h 324"/>
                <a:gd name="T40" fmla="*/ 2147483647 w 102"/>
                <a:gd name="T41" fmla="*/ 2147483647 h 324"/>
                <a:gd name="T42" fmla="*/ 2147483647 w 102"/>
                <a:gd name="T43" fmla="*/ 2147483647 h 324"/>
                <a:gd name="T44" fmla="*/ 2147483647 w 102"/>
                <a:gd name="T45" fmla="*/ 2147483647 h 324"/>
                <a:gd name="T46" fmla="*/ 2147483647 w 102"/>
                <a:gd name="T47" fmla="*/ 2147483647 h 324"/>
                <a:gd name="T48" fmla="*/ 2147483647 w 102"/>
                <a:gd name="T49" fmla="*/ 0 h 324"/>
                <a:gd name="T50" fmla="*/ 2147483647 w 102"/>
                <a:gd name="T51" fmla="*/ 2147483647 h 324"/>
                <a:gd name="T52" fmla="*/ 2147483647 w 102"/>
                <a:gd name="T53" fmla="*/ 2147483647 h 324"/>
                <a:gd name="T54" fmla="*/ 2147483647 w 102"/>
                <a:gd name="T55" fmla="*/ 2147483647 h 324"/>
                <a:gd name="T56" fmla="*/ 2147483647 w 102"/>
                <a:gd name="T57" fmla="*/ 2147483647 h 324"/>
                <a:gd name="T58" fmla="*/ 2147483647 w 102"/>
                <a:gd name="T59" fmla="*/ 2147483647 h 324"/>
                <a:gd name="T60" fmla="*/ 2147483647 w 102"/>
                <a:gd name="T61" fmla="*/ 2147483647 h 324"/>
                <a:gd name="T62" fmla="*/ 2147483647 w 102"/>
                <a:gd name="T63" fmla="*/ 2147483647 h 324"/>
                <a:gd name="T64" fmla="*/ 2147483647 w 102"/>
                <a:gd name="T65" fmla="*/ 2147483647 h 324"/>
                <a:gd name="T66" fmla="*/ 2147483647 w 102"/>
                <a:gd name="T67" fmla="*/ 2147483647 h 324"/>
                <a:gd name="T68" fmla="*/ 2147483647 w 102"/>
                <a:gd name="T69" fmla="*/ 2147483647 h 324"/>
                <a:gd name="T70" fmla="*/ 2147483647 w 102"/>
                <a:gd name="T71" fmla="*/ 2147483647 h 324"/>
                <a:gd name="T72" fmla="*/ 2147483647 w 102"/>
                <a:gd name="T73" fmla="*/ 2147483647 h 324"/>
                <a:gd name="T74" fmla="*/ 2147483647 w 102"/>
                <a:gd name="T75" fmla="*/ 2147483647 h 324"/>
                <a:gd name="T76" fmla="*/ 2147483647 w 102"/>
                <a:gd name="T77" fmla="*/ 2147483647 h 324"/>
                <a:gd name="T78" fmla="*/ 0 w 102"/>
                <a:gd name="T79" fmla="*/ 2147483647 h 324"/>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102"/>
                <a:gd name="T121" fmla="*/ 0 h 324"/>
                <a:gd name="T122" fmla="*/ 102 w 102"/>
                <a:gd name="T123" fmla="*/ 324 h 324"/>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102" h="324">
                  <a:moveTo>
                    <a:pt x="0" y="168"/>
                  </a:moveTo>
                  <a:lnTo>
                    <a:pt x="54" y="312"/>
                  </a:lnTo>
                  <a:lnTo>
                    <a:pt x="60" y="324"/>
                  </a:lnTo>
                  <a:lnTo>
                    <a:pt x="60" y="306"/>
                  </a:lnTo>
                  <a:lnTo>
                    <a:pt x="66" y="294"/>
                  </a:lnTo>
                  <a:lnTo>
                    <a:pt x="66" y="234"/>
                  </a:lnTo>
                  <a:lnTo>
                    <a:pt x="72" y="228"/>
                  </a:lnTo>
                  <a:lnTo>
                    <a:pt x="78" y="216"/>
                  </a:lnTo>
                  <a:lnTo>
                    <a:pt x="84" y="210"/>
                  </a:lnTo>
                  <a:lnTo>
                    <a:pt x="90" y="198"/>
                  </a:lnTo>
                  <a:lnTo>
                    <a:pt x="90" y="186"/>
                  </a:lnTo>
                  <a:lnTo>
                    <a:pt x="78" y="174"/>
                  </a:lnTo>
                  <a:lnTo>
                    <a:pt x="78" y="162"/>
                  </a:lnTo>
                  <a:lnTo>
                    <a:pt x="72" y="156"/>
                  </a:lnTo>
                  <a:lnTo>
                    <a:pt x="66" y="162"/>
                  </a:lnTo>
                  <a:lnTo>
                    <a:pt x="66" y="168"/>
                  </a:lnTo>
                  <a:lnTo>
                    <a:pt x="60" y="168"/>
                  </a:lnTo>
                  <a:lnTo>
                    <a:pt x="54" y="174"/>
                  </a:lnTo>
                  <a:lnTo>
                    <a:pt x="48" y="168"/>
                  </a:lnTo>
                  <a:lnTo>
                    <a:pt x="48" y="96"/>
                  </a:lnTo>
                  <a:lnTo>
                    <a:pt x="66" y="78"/>
                  </a:lnTo>
                  <a:lnTo>
                    <a:pt x="84" y="78"/>
                  </a:lnTo>
                  <a:lnTo>
                    <a:pt x="90" y="60"/>
                  </a:lnTo>
                  <a:lnTo>
                    <a:pt x="84" y="18"/>
                  </a:lnTo>
                  <a:lnTo>
                    <a:pt x="102" y="0"/>
                  </a:lnTo>
                  <a:lnTo>
                    <a:pt x="78" y="6"/>
                  </a:lnTo>
                  <a:lnTo>
                    <a:pt x="78" y="18"/>
                  </a:lnTo>
                  <a:lnTo>
                    <a:pt x="72" y="30"/>
                  </a:lnTo>
                  <a:lnTo>
                    <a:pt x="66" y="36"/>
                  </a:lnTo>
                  <a:lnTo>
                    <a:pt x="60" y="36"/>
                  </a:lnTo>
                  <a:lnTo>
                    <a:pt x="54" y="30"/>
                  </a:lnTo>
                  <a:lnTo>
                    <a:pt x="42" y="54"/>
                  </a:lnTo>
                  <a:lnTo>
                    <a:pt x="30" y="60"/>
                  </a:lnTo>
                  <a:lnTo>
                    <a:pt x="36" y="72"/>
                  </a:lnTo>
                  <a:lnTo>
                    <a:pt x="36" y="84"/>
                  </a:lnTo>
                  <a:lnTo>
                    <a:pt x="42" y="90"/>
                  </a:lnTo>
                  <a:lnTo>
                    <a:pt x="42" y="96"/>
                  </a:lnTo>
                  <a:lnTo>
                    <a:pt x="18" y="138"/>
                  </a:lnTo>
                  <a:lnTo>
                    <a:pt x="18" y="156"/>
                  </a:lnTo>
                  <a:lnTo>
                    <a:pt x="0" y="168"/>
                  </a:lnTo>
                  <a:close/>
                </a:path>
              </a:pathLst>
            </a:custGeom>
            <a:grpFill/>
            <a:ln w="3175">
              <a:solidFill>
                <a:schemeClr val="bg1"/>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de-DE" sz="1800" b="0" i="0" u="none" strike="noStrike" kern="1200" cap="none" spc="0" normalizeH="0" baseline="0" noProof="0">
                <a:ln>
                  <a:noFill/>
                </a:ln>
                <a:solidFill>
                  <a:srgbClr val="FFC000"/>
                </a:solidFill>
                <a:effectLst/>
                <a:uLnTx/>
                <a:uFillTx/>
                <a:latin typeface="Calibri" pitchFamily="34" charset="0"/>
                <a:ea typeface="+mn-ea"/>
                <a:cs typeface="+mn-cs"/>
              </a:endParaRPr>
            </a:p>
          </p:txBody>
        </p:sp>
        <p:sp>
          <p:nvSpPr>
            <p:cNvPr id="117" name="Ireland" descr="© INSCALE GmbH, 05.05.2010&#10;http://www.presentationload.com/"/>
            <p:cNvSpPr>
              <a:spLocks/>
            </p:cNvSpPr>
            <p:nvPr/>
          </p:nvSpPr>
          <p:spPr bwMode="gray">
            <a:xfrm>
              <a:off x="4295521" y="2930806"/>
              <a:ext cx="90869" cy="91859"/>
            </a:xfrm>
            <a:custGeom>
              <a:avLst/>
              <a:gdLst>
                <a:gd name="T0" fmla="*/ 2147483647 w 282"/>
                <a:gd name="T1" fmla="*/ 2147483647 h 300"/>
                <a:gd name="T2" fmla="*/ 2147483647 w 282"/>
                <a:gd name="T3" fmla="*/ 2147483647 h 300"/>
                <a:gd name="T4" fmla="*/ 2147483647 w 282"/>
                <a:gd name="T5" fmla="*/ 2147483647 h 300"/>
                <a:gd name="T6" fmla="*/ 2147483647 w 282"/>
                <a:gd name="T7" fmla="*/ 2147483647 h 300"/>
                <a:gd name="T8" fmla="*/ 2147483647 w 282"/>
                <a:gd name="T9" fmla="*/ 2147483647 h 300"/>
                <a:gd name="T10" fmla="*/ 2147483647 w 282"/>
                <a:gd name="T11" fmla="*/ 2147483647 h 300"/>
                <a:gd name="T12" fmla="*/ 2147483647 w 282"/>
                <a:gd name="T13" fmla="*/ 2147483647 h 300"/>
                <a:gd name="T14" fmla="*/ 2147483647 w 282"/>
                <a:gd name="T15" fmla="*/ 2147483647 h 300"/>
                <a:gd name="T16" fmla="*/ 2147483647 w 282"/>
                <a:gd name="T17" fmla="*/ 2147483647 h 300"/>
                <a:gd name="T18" fmla="*/ 2147483647 w 282"/>
                <a:gd name="T19" fmla="*/ 2147483647 h 300"/>
                <a:gd name="T20" fmla="*/ 2147483647 w 282"/>
                <a:gd name="T21" fmla="*/ 2147483647 h 300"/>
                <a:gd name="T22" fmla="*/ 2147483647 w 282"/>
                <a:gd name="T23" fmla="*/ 2147483647 h 300"/>
                <a:gd name="T24" fmla="*/ 2147483647 w 282"/>
                <a:gd name="T25" fmla="*/ 0 h 300"/>
                <a:gd name="T26" fmla="*/ 2147483647 w 282"/>
                <a:gd name="T27" fmla="*/ 2147483647 h 300"/>
                <a:gd name="T28" fmla="*/ 2147483647 w 282"/>
                <a:gd name="T29" fmla="*/ 2147483647 h 300"/>
                <a:gd name="T30" fmla="*/ 2147483647 w 282"/>
                <a:gd name="T31" fmla="*/ 2147483647 h 300"/>
                <a:gd name="T32" fmla="*/ 2147483647 w 282"/>
                <a:gd name="T33" fmla="*/ 2147483647 h 300"/>
                <a:gd name="T34" fmla="*/ 2147483647 w 282"/>
                <a:gd name="T35" fmla="*/ 2147483647 h 300"/>
                <a:gd name="T36" fmla="*/ 2147483647 w 282"/>
                <a:gd name="T37" fmla="*/ 2147483647 h 300"/>
                <a:gd name="T38" fmla="*/ 2147483647 w 282"/>
                <a:gd name="T39" fmla="*/ 2147483647 h 300"/>
                <a:gd name="T40" fmla="*/ 2147483647 w 282"/>
                <a:gd name="T41" fmla="*/ 2147483647 h 300"/>
                <a:gd name="T42" fmla="*/ 2147483647 w 282"/>
                <a:gd name="T43" fmla="*/ 2147483647 h 300"/>
                <a:gd name="T44" fmla="*/ 2147483647 w 282"/>
                <a:gd name="T45" fmla="*/ 2147483647 h 300"/>
                <a:gd name="T46" fmla="*/ 2147483647 w 282"/>
                <a:gd name="T47" fmla="*/ 2147483647 h 300"/>
                <a:gd name="T48" fmla="*/ 2147483647 w 282"/>
                <a:gd name="T49" fmla="*/ 2147483647 h 300"/>
                <a:gd name="T50" fmla="*/ 2147483647 w 282"/>
                <a:gd name="T51" fmla="*/ 2147483647 h 300"/>
                <a:gd name="T52" fmla="*/ 2147483647 w 282"/>
                <a:gd name="T53" fmla="*/ 2147483647 h 300"/>
                <a:gd name="T54" fmla="*/ 2147483647 w 282"/>
                <a:gd name="T55" fmla="*/ 2147483647 h 300"/>
                <a:gd name="T56" fmla="*/ 2147483647 w 282"/>
                <a:gd name="T57" fmla="*/ 2147483647 h 300"/>
                <a:gd name="T58" fmla="*/ 2147483647 w 282"/>
                <a:gd name="T59" fmla="*/ 2147483647 h 300"/>
                <a:gd name="T60" fmla="*/ 2147483647 w 282"/>
                <a:gd name="T61" fmla="*/ 2147483647 h 300"/>
                <a:gd name="T62" fmla="*/ 2147483647 w 282"/>
                <a:gd name="T63" fmla="*/ 2147483647 h 300"/>
                <a:gd name="T64" fmla="*/ 2147483647 w 282"/>
                <a:gd name="T65" fmla="*/ 2147483647 h 300"/>
                <a:gd name="T66" fmla="*/ 2147483647 w 282"/>
                <a:gd name="T67" fmla="*/ 2147483647 h 300"/>
                <a:gd name="T68" fmla="*/ 2147483647 w 282"/>
                <a:gd name="T69" fmla="*/ 2147483647 h 300"/>
                <a:gd name="T70" fmla="*/ 2147483647 w 282"/>
                <a:gd name="T71" fmla="*/ 2147483647 h 300"/>
                <a:gd name="T72" fmla="*/ 2147483647 w 282"/>
                <a:gd name="T73" fmla="*/ 2147483647 h 300"/>
                <a:gd name="T74" fmla="*/ 2147483647 w 282"/>
                <a:gd name="T75" fmla="*/ 2147483647 h 300"/>
                <a:gd name="T76" fmla="*/ 2147483647 w 282"/>
                <a:gd name="T77" fmla="*/ 2147483647 h 300"/>
                <a:gd name="T78" fmla="*/ 2147483647 w 282"/>
                <a:gd name="T79" fmla="*/ 2147483647 h 300"/>
                <a:gd name="T80" fmla="*/ 0 w 282"/>
                <a:gd name="T81" fmla="*/ 2147483647 h 300"/>
                <a:gd name="T82" fmla="*/ 2147483647 w 282"/>
                <a:gd name="T83" fmla="*/ 2147483647 h 300"/>
                <a:gd name="T84" fmla="*/ 2147483647 w 282"/>
                <a:gd name="T85" fmla="*/ 2147483647 h 300"/>
                <a:gd name="T86" fmla="*/ 2147483647 w 282"/>
                <a:gd name="T87" fmla="*/ 2147483647 h 300"/>
                <a:gd name="T88" fmla="*/ 2147483647 w 282"/>
                <a:gd name="T89" fmla="*/ 2147483647 h 300"/>
                <a:gd name="T90" fmla="*/ 2147483647 w 282"/>
                <a:gd name="T91" fmla="*/ 2147483647 h 300"/>
                <a:gd name="T92" fmla="*/ 2147483647 w 282"/>
                <a:gd name="T93" fmla="*/ 2147483647 h 300"/>
                <a:gd name="T94" fmla="*/ 2147483647 w 282"/>
                <a:gd name="T95" fmla="*/ 2147483647 h 300"/>
                <a:gd name="T96" fmla="*/ 2147483647 w 282"/>
                <a:gd name="T97" fmla="*/ 2147483647 h 300"/>
                <a:gd name="T98" fmla="*/ 2147483647 w 282"/>
                <a:gd name="T99" fmla="*/ 2147483647 h 300"/>
                <a:gd name="T100" fmla="*/ 2147483647 w 282"/>
                <a:gd name="T101" fmla="*/ 2147483647 h 300"/>
                <a:gd name="T102" fmla="*/ 2147483647 w 282"/>
                <a:gd name="T103" fmla="*/ 2147483647 h 300"/>
                <a:gd name="T104" fmla="*/ 2147483647 w 282"/>
                <a:gd name="T105" fmla="*/ 2147483647 h 300"/>
                <a:gd name="T106" fmla="*/ 2147483647 w 282"/>
                <a:gd name="T107" fmla="*/ 2147483647 h 300"/>
                <a:gd name="T108" fmla="*/ 2147483647 w 282"/>
                <a:gd name="T109" fmla="*/ 2147483647 h 300"/>
                <a:gd name="T110" fmla="*/ 2147483647 w 282"/>
                <a:gd name="T111" fmla="*/ 2147483647 h 300"/>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282"/>
                <a:gd name="T169" fmla="*/ 0 h 300"/>
                <a:gd name="T170" fmla="*/ 282 w 282"/>
                <a:gd name="T171" fmla="*/ 300 h 300"/>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282" h="300">
                  <a:moveTo>
                    <a:pt x="276" y="156"/>
                  </a:moveTo>
                  <a:lnTo>
                    <a:pt x="276" y="144"/>
                  </a:lnTo>
                  <a:lnTo>
                    <a:pt x="270" y="132"/>
                  </a:lnTo>
                  <a:lnTo>
                    <a:pt x="264" y="126"/>
                  </a:lnTo>
                  <a:lnTo>
                    <a:pt x="264" y="114"/>
                  </a:lnTo>
                  <a:lnTo>
                    <a:pt x="258" y="108"/>
                  </a:lnTo>
                  <a:lnTo>
                    <a:pt x="258" y="102"/>
                  </a:lnTo>
                  <a:lnTo>
                    <a:pt x="276" y="102"/>
                  </a:lnTo>
                  <a:lnTo>
                    <a:pt x="282" y="96"/>
                  </a:lnTo>
                  <a:lnTo>
                    <a:pt x="246" y="90"/>
                  </a:lnTo>
                  <a:lnTo>
                    <a:pt x="228" y="66"/>
                  </a:lnTo>
                  <a:lnTo>
                    <a:pt x="204" y="90"/>
                  </a:lnTo>
                  <a:lnTo>
                    <a:pt x="192" y="90"/>
                  </a:lnTo>
                  <a:lnTo>
                    <a:pt x="168" y="78"/>
                  </a:lnTo>
                  <a:lnTo>
                    <a:pt x="162" y="72"/>
                  </a:lnTo>
                  <a:lnTo>
                    <a:pt x="174" y="60"/>
                  </a:lnTo>
                  <a:lnTo>
                    <a:pt x="180" y="60"/>
                  </a:lnTo>
                  <a:lnTo>
                    <a:pt x="186" y="54"/>
                  </a:lnTo>
                  <a:lnTo>
                    <a:pt x="192" y="54"/>
                  </a:lnTo>
                  <a:lnTo>
                    <a:pt x="192" y="42"/>
                  </a:lnTo>
                  <a:lnTo>
                    <a:pt x="234" y="18"/>
                  </a:lnTo>
                  <a:lnTo>
                    <a:pt x="240" y="12"/>
                  </a:lnTo>
                  <a:lnTo>
                    <a:pt x="240" y="6"/>
                  </a:lnTo>
                  <a:lnTo>
                    <a:pt x="234" y="6"/>
                  </a:lnTo>
                  <a:lnTo>
                    <a:pt x="228" y="0"/>
                  </a:lnTo>
                  <a:lnTo>
                    <a:pt x="222" y="0"/>
                  </a:lnTo>
                  <a:lnTo>
                    <a:pt x="210" y="6"/>
                  </a:lnTo>
                  <a:lnTo>
                    <a:pt x="204" y="18"/>
                  </a:lnTo>
                  <a:lnTo>
                    <a:pt x="198" y="6"/>
                  </a:lnTo>
                  <a:lnTo>
                    <a:pt x="174" y="6"/>
                  </a:lnTo>
                  <a:lnTo>
                    <a:pt x="162" y="12"/>
                  </a:lnTo>
                  <a:lnTo>
                    <a:pt x="156" y="12"/>
                  </a:lnTo>
                  <a:lnTo>
                    <a:pt x="150" y="18"/>
                  </a:lnTo>
                  <a:lnTo>
                    <a:pt x="150" y="30"/>
                  </a:lnTo>
                  <a:lnTo>
                    <a:pt x="144" y="36"/>
                  </a:lnTo>
                  <a:lnTo>
                    <a:pt x="144" y="42"/>
                  </a:lnTo>
                  <a:lnTo>
                    <a:pt x="126" y="42"/>
                  </a:lnTo>
                  <a:lnTo>
                    <a:pt x="120" y="48"/>
                  </a:lnTo>
                  <a:lnTo>
                    <a:pt x="120" y="54"/>
                  </a:lnTo>
                  <a:lnTo>
                    <a:pt x="138" y="54"/>
                  </a:lnTo>
                  <a:lnTo>
                    <a:pt x="144" y="60"/>
                  </a:lnTo>
                  <a:lnTo>
                    <a:pt x="150" y="60"/>
                  </a:lnTo>
                  <a:lnTo>
                    <a:pt x="150" y="66"/>
                  </a:lnTo>
                  <a:lnTo>
                    <a:pt x="144" y="72"/>
                  </a:lnTo>
                  <a:lnTo>
                    <a:pt x="132" y="72"/>
                  </a:lnTo>
                  <a:lnTo>
                    <a:pt x="132" y="78"/>
                  </a:lnTo>
                  <a:lnTo>
                    <a:pt x="126" y="84"/>
                  </a:lnTo>
                  <a:lnTo>
                    <a:pt x="102" y="84"/>
                  </a:lnTo>
                  <a:lnTo>
                    <a:pt x="102" y="90"/>
                  </a:lnTo>
                  <a:lnTo>
                    <a:pt x="90" y="78"/>
                  </a:lnTo>
                  <a:lnTo>
                    <a:pt x="42" y="78"/>
                  </a:lnTo>
                  <a:lnTo>
                    <a:pt x="42" y="102"/>
                  </a:lnTo>
                  <a:lnTo>
                    <a:pt x="54" y="102"/>
                  </a:lnTo>
                  <a:lnTo>
                    <a:pt x="54" y="108"/>
                  </a:lnTo>
                  <a:lnTo>
                    <a:pt x="60" y="114"/>
                  </a:lnTo>
                  <a:lnTo>
                    <a:pt x="42" y="126"/>
                  </a:lnTo>
                  <a:lnTo>
                    <a:pt x="36" y="126"/>
                  </a:lnTo>
                  <a:lnTo>
                    <a:pt x="30" y="132"/>
                  </a:lnTo>
                  <a:lnTo>
                    <a:pt x="30" y="138"/>
                  </a:lnTo>
                  <a:lnTo>
                    <a:pt x="42" y="150"/>
                  </a:lnTo>
                  <a:lnTo>
                    <a:pt x="54" y="156"/>
                  </a:lnTo>
                  <a:lnTo>
                    <a:pt x="60" y="162"/>
                  </a:lnTo>
                  <a:lnTo>
                    <a:pt x="72" y="162"/>
                  </a:lnTo>
                  <a:lnTo>
                    <a:pt x="78" y="156"/>
                  </a:lnTo>
                  <a:lnTo>
                    <a:pt x="96" y="156"/>
                  </a:lnTo>
                  <a:lnTo>
                    <a:pt x="96" y="168"/>
                  </a:lnTo>
                  <a:lnTo>
                    <a:pt x="90" y="174"/>
                  </a:lnTo>
                  <a:lnTo>
                    <a:pt x="72" y="174"/>
                  </a:lnTo>
                  <a:lnTo>
                    <a:pt x="72" y="192"/>
                  </a:lnTo>
                  <a:lnTo>
                    <a:pt x="54" y="192"/>
                  </a:lnTo>
                  <a:lnTo>
                    <a:pt x="48" y="198"/>
                  </a:lnTo>
                  <a:lnTo>
                    <a:pt x="48" y="210"/>
                  </a:lnTo>
                  <a:lnTo>
                    <a:pt x="42" y="222"/>
                  </a:lnTo>
                  <a:lnTo>
                    <a:pt x="42" y="234"/>
                  </a:lnTo>
                  <a:lnTo>
                    <a:pt x="18" y="234"/>
                  </a:lnTo>
                  <a:lnTo>
                    <a:pt x="12" y="240"/>
                  </a:lnTo>
                  <a:lnTo>
                    <a:pt x="6" y="240"/>
                  </a:lnTo>
                  <a:lnTo>
                    <a:pt x="6" y="246"/>
                  </a:lnTo>
                  <a:lnTo>
                    <a:pt x="12" y="246"/>
                  </a:lnTo>
                  <a:lnTo>
                    <a:pt x="18" y="252"/>
                  </a:lnTo>
                  <a:lnTo>
                    <a:pt x="6" y="252"/>
                  </a:lnTo>
                  <a:lnTo>
                    <a:pt x="0" y="258"/>
                  </a:lnTo>
                  <a:lnTo>
                    <a:pt x="0" y="270"/>
                  </a:lnTo>
                  <a:lnTo>
                    <a:pt x="42" y="270"/>
                  </a:lnTo>
                  <a:lnTo>
                    <a:pt x="24" y="288"/>
                  </a:lnTo>
                  <a:lnTo>
                    <a:pt x="30" y="282"/>
                  </a:lnTo>
                  <a:lnTo>
                    <a:pt x="48" y="282"/>
                  </a:lnTo>
                  <a:lnTo>
                    <a:pt x="48" y="288"/>
                  </a:lnTo>
                  <a:lnTo>
                    <a:pt x="42" y="288"/>
                  </a:lnTo>
                  <a:lnTo>
                    <a:pt x="36" y="294"/>
                  </a:lnTo>
                  <a:lnTo>
                    <a:pt x="30" y="294"/>
                  </a:lnTo>
                  <a:lnTo>
                    <a:pt x="36" y="300"/>
                  </a:lnTo>
                  <a:lnTo>
                    <a:pt x="60" y="300"/>
                  </a:lnTo>
                  <a:lnTo>
                    <a:pt x="96" y="288"/>
                  </a:lnTo>
                  <a:lnTo>
                    <a:pt x="108" y="282"/>
                  </a:lnTo>
                  <a:lnTo>
                    <a:pt x="120" y="270"/>
                  </a:lnTo>
                  <a:lnTo>
                    <a:pt x="120" y="264"/>
                  </a:lnTo>
                  <a:lnTo>
                    <a:pt x="132" y="270"/>
                  </a:lnTo>
                  <a:lnTo>
                    <a:pt x="138" y="270"/>
                  </a:lnTo>
                  <a:lnTo>
                    <a:pt x="150" y="264"/>
                  </a:lnTo>
                  <a:lnTo>
                    <a:pt x="162" y="252"/>
                  </a:lnTo>
                  <a:lnTo>
                    <a:pt x="180" y="246"/>
                  </a:lnTo>
                  <a:lnTo>
                    <a:pt x="204" y="246"/>
                  </a:lnTo>
                  <a:lnTo>
                    <a:pt x="210" y="240"/>
                  </a:lnTo>
                  <a:lnTo>
                    <a:pt x="252" y="240"/>
                  </a:lnTo>
                  <a:lnTo>
                    <a:pt x="246" y="222"/>
                  </a:lnTo>
                  <a:lnTo>
                    <a:pt x="264" y="222"/>
                  </a:lnTo>
                  <a:lnTo>
                    <a:pt x="264" y="198"/>
                  </a:lnTo>
                  <a:lnTo>
                    <a:pt x="270" y="192"/>
                  </a:lnTo>
                  <a:lnTo>
                    <a:pt x="270" y="180"/>
                  </a:lnTo>
                  <a:lnTo>
                    <a:pt x="276" y="168"/>
                  </a:lnTo>
                  <a:lnTo>
                    <a:pt x="276" y="156"/>
                  </a:lnTo>
                  <a:close/>
                </a:path>
              </a:pathLst>
            </a:custGeom>
            <a:grpFill/>
            <a:ln w="3175">
              <a:solidFill>
                <a:schemeClr val="bg1"/>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de-DE" sz="1800" b="0" i="0" u="none" strike="noStrike" kern="1200" cap="none" spc="0" normalizeH="0" baseline="0" noProof="0">
                <a:ln>
                  <a:noFill/>
                </a:ln>
                <a:solidFill>
                  <a:srgbClr val="FFC000"/>
                </a:solidFill>
                <a:effectLst/>
                <a:uLnTx/>
                <a:uFillTx/>
                <a:latin typeface="Calibri" pitchFamily="34" charset="0"/>
                <a:ea typeface="+mn-ea"/>
                <a:cs typeface="+mn-cs"/>
              </a:endParaRPr>
            </a:p>
          </p:txBody>
        </p:sp>
        <p:sp>
          <p:nvSpPr>
            <p:cNvPr id="118" name="Iraq" descr="© INSCALE GmbH, 05.05.2010&#10;http://www.presentationload.com/"/>
            <p:cNvSpPr>
              <a:spLocks/>
            </p:cNvSpPr>
            <p:nvPr/>
          </p:nvSpPr>
          <p:spPr bwMode="gray">
            <a:xfrm>
              <a:off x="5329633" y="3370506"/>
              <a:ext cx="221413" cy="205765"/>
            </a:xfrm>
            <a:custGeom>
              <a:avLst/>
              <a:gdLst>
                <a:gd name="T0" fmla="*/ 2147483647 w 684"/>
                <a:gd name="T1" fmla="*/ 2147483647 h 660"/>
                <a:gd name="T2" fmla="*/ 2147483647 w 684"/>
                <a:gd name="T3" fmla="*/ 2147483647 h 660"/>
                <a:gd name="T4" fmla="*/ 2147483647 w 684"/>
                <a:gd name="T5" fmla="*/ 2147483647 h 660"/>
                <a:gd name="T6" fmla="*/ 2147483647 w 684"/>
                <a:gd name="T7" fmla="*/ 2147483647 h 660"/>
                <a:gd name="T8" fmla="*/ 2147483647 w 684"/>
                <a:gd name="T9" fmla="*/ 2147483647 h 660"/>
                <a:gd name="T10" fmla="*/ 2147483647 w 684"/>
                <a:gd name="T11" fmla="*/ 2147483647 h 660"/>
                <a:gd name="T12" fmla="*/ 2147483647 w 684"/>
                <a:gd name="T13" fmla="*/ 2147483647 h 660"/>
                <a:gd name="T14" fmla="*/ 2147483647 w 684"/>
                <a:gd name="T15" fmla="*/ 2147483647 h 660"/>
                <a:gd name="T16" fmla="*/ 2147483647 w 684"/>
                <a:gd name="T17" fmla="*/ 2147483647 h 660"/>
                <a:gd name="T18" fmla="*/ 2147483647 w 684"/>
                <a:gd name="T19" fmla="*/ 2147483647 h 660"/>
                <a:gd name="T20" fmla="*/ 2147483647 w 684"/>
                <a:gd name="T21" fmla="*/ 2147483647 h 660"/>
                <a:gd name="T22" fmla="*/ 2147483647 w 684"/>
                <a:gd name="T23" fmla="*/ 2147483647 h 660"/>
                <a:gd name="T24" fmla="*/ 2147483647 w 684"/>
                <a:gd name="T25" fmla="*/ 2147483647 h 660"/>
                <a:gd name="T26" fmla="*/ 2147483647 w 684"/>
                <a:gd name="T27" fmla="*/ 2147483647 h 660"/>
                <a:gd name="T28" fmla="*/ 2147483647 w 684"/>
                <a:gd name="T29" fmla="*/ 2147483647 h 660"/>
                <a:gd name="T30" fmla="*/ 2147483647 w 684"/>
                <a:gd name="T31" fmla="*/ 2147483647 h 660"/>
                <a:gd name="T32" fmla="*/ 2147483647 w 684"/>
                <a:gd name="T33" fmla="*/ 2147483647 h 660"/>
                <a:gd name="T34" fmla="*/ 2147483647 w 684"/>
                <a:gd name="T35" fmla="*/ 2147483647 h 660"/>
                <a:gd name="T36" fmla="*/ 2147483647 w 684"/>
                <a:gd name="T37" fmla="*/ 2147483647 h 660"/>
                <a:gd name="T38" fmla="*/ 2147483647 w 684"/>
                <a:gd name="T39" fmla="*/ 2147483647 h 660"/>
                <a:gd name="T40" fmla="*/ 2147483647 w 684"/>
                <a:gd name="T41" fmla="*/ 2147483647 h 660"/>
                <a:gd name="T42" fmla="*/ 2147483647 w 684"/>
                <a:gd name="T43" fmla="*/ 2147483647 h 660"/>
                <a:gd name="T44" fmla="*/ 2147483647 w 684"/>
                <a:gd name="T45" fmla="*/ 2147483647 h 660"/>
                <a:gd name="T46" fmla="*/ 2147483647 w 684"/>
                <a:gd name="T47" fmla="*/ 2147483647 h 660"/>
                <a:gd name="T48" fmla="*/ 2147483647 w 684"/>
                <a:gd name="T49" fmla="*/ 2147483647 h 660"/>
                <a:gd name="T50" fmla="*/ 2147483647 w 684"/>
                <a:gd name="T51" fmla="*/ 2147483647 h 660"/>
                <a:gd name="T52" fmla="*/ 2147483647 w 684"/>
                <a:gd name="T53" fmla="*/ 0 h 660"/>
                <a:gd name="T54" fmla="*/ 2147483647 w 684"/>
                <a:gd name="T55" fmla="*/ 2147483647 h 660"/>
                <a:gd name="T56" fmla="*/ 2147483647 w 684"/>
                <a:gd name="T57" fmla="*/ 2147483647 h 660"/>
                <a:gd name="T58" fmla="*/ 2147483647 w 684"/>
                <a:gd name="T59" fmla="*/ 0 h 660"/>
                <a:gd name="T60" fmla="*/ 2147483647 w 684"/>
                <a:gd name="T61" fmla="*/ 2147483647 h 660"/>
                <a:gd name="T62" fmla="*/ 2147483647 w 684"/>
                <a:gd name="T63" fmla="*/ 2147483647 h 660"/>
                <a:gd name="T64" fmla="*/ 2147483647 w 684"/>
                <a:gd name="T65" fmla="*/ 2147483647 h 660"/>
                <a:gd name="T66" fmla="*/ 2147483647 w 684"/>
                <a:gd name="T67" fmla="*/ 2147483647 h 660"/>
                <a:gd name="T68" fmla="*/ 2147483647 w 684"/>
                <a:gd name="T69" fmla="*/ 2147483647 h 660"/>
                <a:gd name="T70" fmla="*/ 2147483647 w 684"/>
                <a:gd name="T71" fmla="*/ 2147483647 h 660"/>
                <a:gd name="T72" fmla="*/ 2147483647 w 684"/>
                <a:gd name="T73" fmla="*/ 2147483647 h 660"/>
                <a:gd name="T74" fmla="*/ 2147483647 w 684"/>
                <a:gd name="T75" fmla="*/ 2147483647 h 660"/>
                <a:gd name="T76" fmla="*/ 2147483647 w 684"/>
                <a:gd name="T77" fmla="*/ 2147483647 h 660"/>
                <a:gd name="T78" fmla="*/ 2147483647 w 684"/>
                <a:gd name="T79" fmla="*/ 2147483647 h 660"/>
                <a:gd name="T80" fmla="*/ 2147483647 w 684"/>
                <a:gd name="T81" fmla="*/ 2147483647 h 660"/>
                <a:gd name="T82" fmla="*/ 2147483647 w 684"/>
                <a:gd name="T83" fmla="*/ 2147483647 h 660"/>
                <a:gd name="T84" fmla="*/ 2147483647 w 684"/>
                <a:gd name="T85" fmla="*/ 2147483647 h 660"/>
                <a:gd name="T86" fmla="*/ 0 w 684"/>
                <a:gd name="T87" fmla="*/ 2147483647 h 660"/>
                <a:gd name="T88" fmla="*/ 2147483647 w 684"/>
                <a:gd name="T89" fmla="*/ 2147483647 h 660"/>
                <a:gd name="T90" fmla="*/ 2147483647 w 684"/>
                <a:gd name="T91" fmla="*/ 2147483647 h 660"/>
                <a:gd name="T92" fmla="*/ 2147483647 w 684"/>
                <a:gd name="T93" fmla="*/ 2147483647 h 660"/>
                <a:gd name="T94" fmla="*/ 2147483647 w 684"/>
                <a:gd name="T95" fmla="*/ 2147483647 h 660"/>
                <a:gd name="T96" fmla="*/ 2147483647 w 684"/>
                <a:gd name="T97" fmla="*/ 2147483647 h 660"/>
                <a:gd name="T98" fmla="*/ 2147483647 w 684"/>
                <a:gd name="T99" fmla="*/ 2147483647 h 660"/>
                <a:gd name="T100" fmla="*/ 2147483647 w 684"/>
                <a:gd name="T101" fmla="*/ 2147483647 h 660"/>
                <a:gd name="T102" fmla="*/ 2147483647 w 684"/>
                <a:gd name="T103" fmla="*/ 2147483647 h 660"/>
                <a:gd name="T104" fmla="*/ 2147483647 w 684"/>
                <a:gd name="T105" fmla="*/ 2147483647 h 660"/>
                <a:gd name="T106" fmla="*/ 2147483647 w 684"/>
                <a:gd name="T107" fmla="*/ 2147483647 h 660"/>
                <a:gd name="T108" fmla="*/ 2147483647 w 684"/>
                <a:gd name="T109" fmla="*/ 2147483647 h 660"/>
                <a:gd name="T110" fmla="*/ 2147483647 w 684"/>
                <a:gd name="T111" fmla="*/ 2147483647 h 660"/>
                <a:gd name="T112" fmla="*/ 2147483647 w 684"/>
                <a:gd name="T113" fmla="*/ 2147483647 h 660"/>
                <a:gd name="T114" fmla="*/ 2147483647 w 684"/>
                <a:gd name="T115" fmla="*/ 2147483647 h 660"/>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684"/>
                <a:gd name="T175" fmla="*/ 0 h 660"/>
                <a:gd name="T176" fmla="*/ 684 w 684"/>
                <a:gd name="T177" fmla="*/ 660 h 660"/>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684" h="660">
                  <a:moveTo>
                    <a:pt x="678" y="564"/>
                  </a:moveTo>
                  <a:lnTo>
                    <a:pt x="666" y="552"/>
                  </a:lnTo>
                  <a:lnTo>
                    <a:pt x="654" y="546"/>
                  </a:lnTo>
                  <a:lnTo>
                    <a:pt x="648" y="516"/>
                  </a:lnTo>
                  <a:lnTo>
                    <a:pt x="642" y="516"/>
                  </a:lnTo>
                  <a:lnTo>
                    <a:pt x="636" y="510"/>
                  </a:lnTo>
                  <a:lnTo>
                    <a:pt x="624" y="504"/>
                  </a:lnTo>
                  <a:lnTo>
                    <a:pt x="618" y="498"/>
                  </a:lnTo>
                  <a:lnTo>
                    <a:pt x="618" y="462"/>
                  </a:lnTo>
                  <a:lnTo>
                    <a:pt x="624" y="450"/>
                  </a:lnTo>
                  <a:lnTo>
                    <a:pt x="624" y="438"/>
                  </a:lnTo>
                  <a:lnTo>
                    <a:pt x="594" y="402"/>
                  </a:lnTo>
                  <a:lnTo>
                    <a:pt x="588" y="390"/>
                  </a:lnTo>
                  <a:lnTo>
                    <a:pt x="582" y="384"/>
                  </a:lnTo>
                  <a:lnTo>
                    <a:pt x="564" y="384"/>
                  </a:lnTo>
                  <a:lnTo>
                    <a:pt x="546" y="366"/>
                  </a:lnTo>
                  <a:lnTo>
                    <a:pt x="534" y="360"/>
                  </a:lnTo>
                  <a:lnTo>
                    <a:pt x="528" y="354"/>
                  </a:lnTo>
                  <a:lnTo>
                    <a:pt x="504" y="354"/>
                  </a:lnTo>
                  <a:lnTo>
                    <a:pt x="504" y="312"/>
                  </a:lnTo>
                  <a:lnTo>
                    <a:pt x="498" y="312"/>
                  </a:lnTo>
                  <a:lnTo>
                    <a:pt x="492" y="306"/>
                  </a:lnTo>
                  <a:lnTo>
                    <a:pt x="468" y="294"/>
                  </a:lnTo>
                  <a:lnTo>
                    <a:pt x="456" y="282"/>
                  </a:lnTo>
                  <a:lnTo>
                    <a:pt x="444" y="276"/>
                  </a:lnTo>
                  <a:lnTo>
                    <a:pt x="438" y="270"/>
                  </a:lnTo>
                  <a:lnTo>
                    <a:pt x="438" y="264"/>
                  </a:lnTo>
                  <a:lnTo>
                    <a:pt x="444" y="252"/>
                  </a:lnTo>
                  <a:lnTo>
                    <a:pt x="450" y="246"/>
                  </a:lnTo>
                  <a:lnTo>
                    <a:pt x="438" y="234"/>
                  </a:lnTo>
                  <a:lnTo>
                    <a:pt x="438" y="228"/>
                  </a:lnTo>
                  <a:lnTo>
                    <a:pt x="450" y="216"/>
                  </a:lnTo>
                  <a:lnTo>
                    <a:pt x="462" y="216"/>
                  </a:lnTo>
                  <a:lnTo>
                    <a:pt x="462" y="186"/>
                  </a:lnTo>
                  <a:lnTo>
                    <a:pt x="468" y="186"/>
                  </a:lnTo>
                  <a:lnTo>
                    <a:pt x="480" y="174"/>
                  </a:lnTo>
                  <a:lnTo>
                    <a:pt x="480" y="168"/>
                  </a:lnTo>
                  <a:lnTo>
                    <a:pt x="474" y="156"/>
                  </a:lnTo>
                  <a:lnTo>
                    <a:pt x="462" y="144"/>
                  </a:lnTo>
                  <a:lnTo>
                    <a:pt x="462" y="138"/>
                  </a:lnTo>
                  <a:lnTo>
                    <a:pt x="480" y="120"/>
                  </a:lnTo>
                  <a:lnTo>
                    <a:pt x="480" y="114"/>
                  </a:lnTo>
                  <a:lnTo>
                    <a:pt x="468" y="114"/>
                  </a:lnTo>
                  <a:lnTo>
                    <a:pt x="456" y="120"/>
                  </a:lnTo>
                  <a:lnTo>
                    <a:pt x="450" y="126"/>
                  </a:lnTo>
                  <a:lnTo>
                    <a:pt x="438" y="108"/>
                  </a:lnTo>
                  <a:lnTo>
                    <a:pt x="414" y="102"/>
                  </a:lnTo>
                  <a:lnTo>
                    <a:pt x="414" y="84"/>
                  </a:lnTo>
                  <a:lnTo>
                    <a:pt x="402" y="72"/>
                  </a:lnTo>
                  <a:lnTo>
                    <a:pt x="378" y="24"/>
                  </a:lnTo>
                  <a:lnTo>
                    <a:pt x="378" y="12"/>
                  </a:lnTo>
                  <a:lnTo>
                    <a:pt x="336" y="24"/>
                  </a:lnTo>
                  <a:lnTo>
                    <a:pt x="336" y="6"/>
                  </a:lnTo>
                  <a:lnTo>
                    <a:pt x="330" y="0"/>
                  </a:lnTo>
                  <a:lnTo>
                    <a:pt x="306" y="0"/>
                  </a:lnTo>
                  <a:lnTo>
                    <a:pt x="306" y="6"/>
                  </a:lnTo>
                  <a:lnTo>
                    <a:pt x="300" y="12"/>
                  </a:lnTo>
                  <a:lnTo>
                    <a:pt x="288" y="12"/>
                  </a:lnTo>
                  <a:lnTo>
                    <a:pt x="276" y="0"/>
                  </a:lnTo>
                  <a:lnTo>
                    <a:pt x="234" y="0"/>
                  </a:lnTo>
                  <a:lnTo>
                    <a:pt x="234" y="12"/>
                  </a:lnTo>
                  <a:lnTo>
                    <a:pt x="228" y="18"/>
                  </a:lnTo>
                  <a:lnTo>
                    <a:pt x="216" y="24"/>
                  </a:lnTo>
                  <a:lnTo>
                    <a:pt x="204" y="36"/>
                  </a:lnTo>
                  <a:lnTo>
                    <a:pt x="198" y="48"/>
                  </a:lnTo>
                  <a:lnTo>
                    <a:pt x="192" y="54"/>
                  </a:lnTo>
                  <a:lnTo>
                    <a:pt x="180" y="54"/>
                  </a:lnTo>
                  <a:lnTo>
                    <a:pt x="168" y="60"/>
                  </a:lnTo>
                  <a:lnTo>
                    <a:pt x="156" y="60"/>
                  </a:lnTo>
                  <a:lnTo>
                    <a:pt x="150" y="66"/>
                  </a:lnTo>
                  <a:lnTo>
                    <a:pt x="144" y="78"/>
                  </a:lnTo>
                  <a:lnTo>
                    <a:pt x="144" y="90"/>
                  </a:lnTo>
                  <a:lnTo>
                    <a:pt x="150" y="102"/>
                  </a:lnTo>
                  <a:lnTo>
                    <a:pt x="156" y="108"/>
                  </a:lnTo>
                  <a:lnTo>
                    <a:pt x="156" y="120"/>
                  </a:lnTo>
                  <a:lnTo>
                    <a:pt x="162" y="132"/>
                  </a:lnTo>
                  <a:lnTo>
                    <a:pt x="162" y="162"/>
                  </a:lnTo>
                  <a:lnTo>
                    <a:pt x="156" y="174"/>
                  </a:lnTo>
                  <a:lnTo>
                    <a:pt x="150" y="192"/>
                  </a:lnTo>
                  <a:lnTo>
                    <a:pt x="150" y="198"/>
                  </a:lnTo>
                  <a:lnTo>
                    <a:pt x="168" y="216"/>
                  </a:lnTo>
                  <a:lnTo>
                    <a:pt x="168" y="222"/>
                  </a:lnTo>
                  <a:lnTo>
                    <a:pt x="162" y="228"/>
                  </a:lnTo>
                  <a:lnTo>
                    <a:pt x="138" y="240"/>
                  </a:lnTo>
                  <a:lnTo>
                    <a:pt x="78" y="264"/>
                  </a:lnTo>
                  <a:lnTo>
                    <a:pt x="66" y="270"/>
                  </a:lnTo>
                  <a:lnTo>
                    <a:pt x="6" y="318"/>
                  </a:lnTo>
                  <a:lnTo>
                    <a:pt x="0" y="318"/>
                  </a:lnTo>
                  <a:lnTo>
                    <a:pt x="0" y="324"/>
                  </a:lnTo>
                  <a:lnTo>
                    <a:pt x="24" y="366"/>
                  </a:lnTo>
                  <a:lnTo>
                    <a:pt x="24" y="384"/>
                  </a:lnTo>
                  <a:lnTo>
                    <a:pt x="48" y="402"/>
                  </a:lnTo>
                  <a:lnTo>
                    <a:pt x="48" y="414"/>
                  </a:lnTo>
                  <a:lnTo>
                    <a:pt x="60" y="426"/>
                  </a:lnTo>
                  <a:lnTo>
                    <a:pt x="126" y="426"/>
                  </a:lnTo>
                  <a:lnTo>
                    <a:pt x="156" y="456"/>
                  </a:lnTo>
                  <a:lnTo>
                    <a:pt x="168" y="462"/>
                  </a:lnTo>
                  <a:lnTo>
                    <a:pt x="180" y="474"/>
                  </a:lnTo>
                  <a:lnTo>
                    <a:pt x="228" y="498"/>
                  </a:lnTo>
                  <a:lnTo>
                    <a:pt x="234" y="504"/>
                  </a:lnTo>
                  <a:lnTo>
                    <a:pt x="246" y="510"/>
                  </a:lnTo>
                  <a:lnTo>
                    <a:pt x="438" y="654"/>
                  </a:lnTo>
                  <a:lnTo>
                    <a:pt x="522" y="654"/>
                  </a:lnTo>
                  <a:lnTo>
                    <a:pt x="570" y="660"/>
                  </a:lnTo>
                  <a:lnTo>
                    <a:pt x="564" y="660"/>
                  </a:lnTo>
                  <a:lnTo>
                    <a:pt x="570" y="654"/>
                  </a:lnTo>
                  <a:lnTo>
                    <a:pt x="588" y="618"/>
                  </a:lnTo>
                  <a:lnTo>
                    <a:pt x="588" y="606"/>
                  </a:lnTo>
                  <a:lnTo>
                    <a:pt x="594" y="600"/>
                  </a:lnTo>
                  <a:lnTo>
                    <a:pt x="600" y="588"/>
                  </a:lnTo>
                  <a:lnTo>
                    <a:pt x="648" y="588"/>
                  </a:lnTo>
                  <a:lnTo>
                    <a:pt x="654" y="594"/>
                  </a:lnTo>
                  <a:lnTo>
                    <a:pt x="678" y="582"/>
                  </a:lnTo>
                  <a:lnTo>
                    <a:pt x="684" y="576"/>
                  </a:lnTo>
                  <a:lnTo>
                    <a:pt x="678" y="570"/>
                  </a:lnTo>
                  <a:lnTo>
                    <a:pt x="678" y="564"/>
                  </a:lnTo>
                  <a:close/>
                </a:path>
              </a:pathLst>
            </a:custGeom>
            <a:grpFill/>
            <a:ln w="3175">
              <a:solidFill>
                <a:schemeClr val="bg1"/>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de-DE" sz="1800" b="0" i="0" u="none" strike="noStrike" kern="1200" cap="none" spc="0" normalizeH="0" baseline="0" noProof="0">
                <a:ln>
                  <a:noFill/>
                </a:ln>
                <a:solidFill>
                  <a:srgbClr val="FFC000"/>
                </a:solidFill>
                <a:effectLst/>
                <a:uLnTx/>
                <a:uFillTx/>
                <a:latin typeface="Calibri" pitchFamily="34" charset="0"/>
                <a:ea typeface="+mn-ea"/>
                <a:cs typeface="+mn-cs"/>
              </a:endParaRPr>
            </a:p>
          </p:txBody>
        </p:sp>
        <p:sp>
          <p:nvSpPr>
            <p:cNvPr id="119" name="Iran" descr="© INSCALE GmbH, 05.05.2010&#10;http://www.presentationload.com/"/>
            <p:cNvSpPr>
              <a:spLocks/>
            </p:cNvSpPr>
            <p:nvPr/>
          </p:nvSpPr>
          <p:spPr bwMode="gray">
            <a:xfrm>
              <a:off x="5424341" y="3308041"/>
              <a:ext cx="467142" cy="367436"/>
            </a:xfrm>
            <a:custGeom>
              <a:avLst/>
              <a:gdLst>
                <a:gd name="T0" fmla="*/ 2147483647 w 1440"/>
                <a:gd name="T1" fmla="*/ 2147483647 h 1182"/>
                <a:gd name="T2" fmla="*/ 2147483647 w 1440"/>
                <a:gd name="T3" fmla="*/ 2147483647 h 1182"/>
                <a:gd name="T4" fmla="*/ 2147483647 w 1440"/>
                <a:gd name="T5" fmla="*/ 2147483647 h 1182"/>
                <a:gd name="T6" fmla="*/ 2147483647 w 1440"/>
                <a:gd name="T7" fmla="*/ 2147483647 h 1182"/>
                <a:gd name="T8" fmla="*/ 2147483647 w 1440"/>
                <a:gd name="T9" fmla="*/ 2147483647 h 1182"/>
                <a:gd name="T10" fmla="*/ 2147483647 w 1440"/>
                <a:gd name="T11" fmla="*/ 2147483647 h 1182"/>
                <a:gd name="T12" fmla="*/ 2147483647 w 1440"/>
                <a:gd name="T13" fmla="*/ 2147483647 h 1182"/>
                <a:gd name="T14" fmla="*/ 2147483647 w 1440"/>
                <a:gd name="T15" fmla="*/ 2147483647 h 1182"/>
                <a:gd name="T16" fmla="*/ 2147483647 w 1440"/>
                <a:gd name="T17" fmla="*/ 2147483647 h 1182"/>
                <a:gd name="T18" fmla="*/ 2147483647 w 1440"/>
                <a:gd name="T19" fmla="*/ 2147483647 h 1182"/>
                <a:gd name="T20" fmla="*/ 2147483647 w 1440"/>
                <a:gd name="T21" fmla="*/ 2147483647 h 1182"/>
                <a:gd name="T22" fmla="*/ 2147483647 w 1440"/>
                <a:gd name="T23" fmla="*/ 2147483647 h 1182"/>
                <a:gd name="T24" fmla="*/ 2147483647 w 1440"/>
                <a:gd name="T25" fmla="*/ 2147483647 h 1182"/>
                <a:gd name="T26" fmla="*/ 2147483647 w 1440"/>
                <a:gd name="T27" fmla="*/ 2147483647 h 1182"/>
                <a:gd name="T28" fmla="*/ 2147483647 w 1440"/>
                <a:gd name="T29" fmla="*/ 2147483647 h 1182"/>
                <a:gd name="T30" fmla="*/ 2147483647 w 1440"/>
                <a:gd name="T31" fmla="*/ 2147483647 h 1182"/>
                <a:gd name="T32" fmla="*/ 2147483647 w 1440"/>
                <a:gd name="T33" fmla="*/ 2147483647 h 1182"/>
                <a:gd name="T34" fmla="*/ 2147483647 w 1440"/>
                <a:gd name="T35" fmla="*/ 2147483647 h 1182"/>
                <a:gd name="T36" fmla="*/ 2147483647 w 1440"/>
                <a:gd name="T37" fmla="*/ 2147483647 h 1182"/>
                <a:gd name="T38" fmla="*/ 2147483647 w 1440"/>
                <a:gd name="T39" fmla="*/ 2147483647 h 1182"/>
                <a:gd name="T40" fmla="*/ 2147483647 w 1440"/>
                <a:gd name="T41" fmla="*/ 2147483647 h 1182"/>
                <a:gd name="T42" fmla="*/ 2147483647 w 1440"/>
                <a:gd name="T43" fmla="*/ 2147483647 h 1182"/>
                <a:gd name="T44" fmla="*/ 2147483647 w 1440"/>
                <a:gd name="T45" fmla="*/ 2147483647 h 1182"/>
                <a:gd name="T46" fmla="*/ 2147483647 w 1440"/>
                <a:gd name="T47" fmla="*/ 2147483647 h 1182"/>
                <a:gd name="T48" fmla="*/ 2147483647 w 1440"/>
                <a:gd name="T49" fmla="*/ 2147483647 h 1182"/>
                <a:gd name="T50" fmla="*/ 2147483647 w 1440"/>
                <a:gd name="T51" fmla="*/ 2147483647 h 1182"/>
                <a:gd name="T52" fmla="*/ 2147483647 w 1440"/>
                <a:gd name="T53" fmla="*/ 2147483647 h 1182"/>
                <a:gd name="T54" fmla="*/ 2147483647 w 1440"/>
                <a:gd name="T55" fmla="*/ 2147483647 h 1182"/>
                <a:gd name="T56" fmla="*/ 2147483647 w 1440"/>
                <a:gd name="T57" fmla="*/ 2147483647 h 1182"/>
                <a:gd name="T58" fmla="*/ 2147483647 w 1440"/>
                <a:gd name="T59" fmla="*/ 2147483647 h 1182"/>
                <a:gd name="T60" fmla="*/ 2147483647 w 1440"/>
                <a:gd name="T61" fmla="*/ 0 h 1182"/>
                <a:gd name="T62" fmla="*/ 2147483647 w 1440"/>
                <a:gd name="T63" fmla="*/ 2147483647 h 1182"/>
                <a:gd name="T64" fmla="*/ 2147483647 w 1440"/>
                <a:gd name="T65" fmla="*/ 2147483647 h 1182"/>
                <a:gd name="T66" fmla="*/ 2147483647 w 1440"/>
                <a:gd name="T67" fmla="*/ 2147483647 h 1182"/>
                <a:gd name="T68" fmla="*/ 2147483647 w 1440"/>
                <a:gd name="T69" fmla="*/ 2147483647 h 1182"/>
                <a:gd name="T70" fmla="*/ 2147483647 w 1440"/>
                <a:gd name="T71" fmla="*/ 2147483647 h 1182"/>
                <a:gd name="T72" fmla="*/ 2147483647 w 1440"/>
                <a:gd name="T73" fmla="*/ 2147483647 h 1182"/>
                <a:gd name="T74" fmla="*/ 2147483647 w 1440"/>
                <a:gd name="T75" fmla="*/ 2147483647 h 1182"/>
                <a:gd name="T76" fmla="*/ 2147483647 w 1440"/>
                <a:gd name="T77" fmla="*/ 2147483647 h 1182"/>
                <a:gd name="T78" fmla="*/ 2147483647 w 1440"/>
                <a:gd name="T79" fmla="*/ 2147483647 h 1182"/>
                <a:gd name="T80" fmla="*/ 2147483647 w 1440"/>
                <a:gd name="T81" fmla="*/ 2147483647 h 1182"/>
                <a:gd name="T82" fmla="*/ 2147483647 w 1440"/>
                <a:gd name="T83" fmla="*/ 2147483647 h 1182"/>
                <a:gd name="T84" fmla="*/ 2147483647 w 1440"/>
                <a:gd name="T85" fmla="*/ 2147483647 h 1182"/>
                <a:gd name="T86" fmla="*/ 2147483647 w 1440"/>
                <a:gd name="T87" fmla="*/ 2147483647 h 1182"/>
                <a:gd name="T88" fmla="*/ 2147483647 w 1440"/>
                <a:gd name="T89" fmla="*/ 2147483647 h 1182"/>
                <a:gd name="T90" fmla="*/ 2147483647 w 1440"/>
                <a:gd name="T91" fmla="*/ 2147483647 h 1182"/>
                <a:gd name="T92" fmla="*/ 2147483647 w 1440"/>
                <a:gd name="T93" fmla="*/ 2147483647 h 1182"/>
                <a:gd name="T94" fmla="*/ 2147483647 w 1440"/>
                <a:gd name="T95" fmla="*/ 2147483647 h 1182"/>
                <a:gd name="T96" fmla="*/ 2147483647 w 1440"/>
                <a:gd name="T97" fmla="*/ 2147483647 h 1182"/>
                <a:gd name="T98" fmla="*/ 2147483647 w 1440"/>
                <a:gd name="T99" fmla="*/ 2147483647 h 1182"/>
                <a:gd name="T100" fmla="*/ 2147483647 w 1440"/>
                <a:gd name="T101" fmla="*/ 2147483647 h 1182"/>
                <a:gd name="T102" fmla="*/ 2147483647 w 1440"/>
                <a:gd name="T103" fmla="*/ 2147483647 h 1182"/>
                <a:gd name="T104" fmla="*/ 2147483647 w 1440"/>
                <a:gd name="T105" fmla="*/ 2147483647 h 1182"/>
                <a:gd name="T106" fmla="*/ 2147483647 w 1440"/>
                <a:gd name="T107" fmla="*/ 2147483647 h 1182"/>
                <a:gd name="T108" fmla="*/ 2147483647 w 1440"/>
                <a:gd name="T109" fmla="*/ 2147483647 h 1182"/>
                <a:gd name="T110" fmla="*/ 2147483647 w 1440"/>
                <a:gd name="T111" fmla="*/ 2147483647 h 1182"/>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1440"/>
                <a:gd name="T169" fmla="*/ 0 h 1182"/>
                <a:gd name="T170" fmla="*/ 1440 w 1440"/>
                <a:gd name="T171" fmla="*/ 1182 h 1182"/>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1440" h="1182">
                  <a:moveTo>
                    <a:pt x="1338" y="1176"/>
                  </a:moveTo>
                  <a:lnTo>
                    <a:pt x="1338" y="1170"/>
                  </a:lnTo>
                  <a:lnTo>
                    <a:pt x="1332" y="1158"/>
                  </a:lnTo>
                  <a:lnTo>
                    <a:pt x="1332" y="1128"/>
                  </a:lnTo>
                  <a:lnTo>
                    <a:pt x="1344" y="1116"/>
                  </a:lnTo>
                  <a:lnTo>
                    <a:pt x="1344" y="1110"/>
                  </a:lnTo>
                  <a:lnTo>
                    <a:pt x="1350" y="1104"/>
                  </a:lnTo>
                  <a:lnTo>
                    <a:pt x="1356" y="1086"/>
                  </a:lnTo>
                  <a:lnTo>
                    <a:pt x="1368" y="1086"/>
                  </a:lnTo>
                  <a:lnTo>
                    <a:pt x="1374" y="1080"/>
                  </a:lnTo>
                  <a:lnTo>
                    <a:pt x="1374" y="1074"/>
                  </a:lnTo>
                  <a:lnTo>
                    <a:pt x="1380" y="1074"/>
                  </a:lnTo>
                  <a:lnTo>
                    <a:pt x="1380" y="1068"/>
                  </a:lnTo>
                  <a:lnTo>
                    <a:pt x="1386" y="1062"/>
                  </a:lnTo>
                  <a:lnTo>
                    <a:pt x="1398" y="1056"/>
                  </a:lnTo>
                  <a:lnTo>
                    <a:pt x="1428" y="1056"/>
                  </a:lnTo>
                  <a:lnTo>
                    <a:pt x="1428" y="1062"/>
                  </a:lnTo>
                  <a:lnTo>
                    <a:pt x="1434" y="1062"/>
                  </a:lnTo>
                  <a:lnTo>
                    <a:pt x="1440" y="1056"/>
                  </a:lnTo>
                  <a:lnTo>
                    <a:pt x="1440" y="1044"/>
                  </a:lnTo>
                  <a:lnTo>
                    <a:pt x="1434" y="1026"/>
                  </a:lnTo>
                  <a:lnTo>
                    <a:pt x="1428" y="1014"/>
                  </a:lnTo>
                  <a:lnTo>
                    <a:pt x="1422" y="1008"/>
                  </a:lnTo>
                  <a:lnTo>
                    <a:pt x="1404" y="1008"/>
                  </a:lnTo>
                  <a:lnTo>
                    <a:pt x="1404" y="996"/>
                  </a:lnTo>
                  <a:lnTo>
                    <a:pt x="1398" y="984"/>
                  </a:lnTo>
                  <a:lnTo>
                    <a:pt x="1398" y="960"/>
                  </a:lnTo>
                  <a:lnTo>
                    <a:pt x="1392" y="960"/>
                  </a:lnTo>
                  <a:lnTo>
                    <a:pt x="1398" y="930"/>
                  </a:lnTo>
                  <a:lnTo>
                    <a:pt x="1374" y="930"/>
                  </a:lnTo>
                  <a:lnTo>
                    <a:pt x="1362" y="912"/>
                  </a:lnTo>
                  <a:lnTo>
                    <a:pt x="1350" y="918"/>
                  </a:lnTo>
                  <a:lnTo>
                    <a:pt x="1332" y="918"/>
                  </a:lnTo>
                  <a:lnTo>
                    <a:pt x="1326" y="912"/>
                  </a:lnTo>
                  <a:lnTo>
                    <a:pt x="1314" y="894"/>
                  </a:lnTo>
                  <a:lnTo>
                    <a:pt x="1308" y="876"/>
                  </a:lnTo>
                  <a:lnTo>
                    <a:pt x="1296" y="864"/>
                  </a:lnTo>
                  <a:lnTo>
                    <a:pt x="1284" y="846"/>
                  </a:lnTo>
                  <a:lnTo>
                    <a:pt x="1278" y="840"/>
                  </a:lnTo>
                  <a:lnTo>
                    <a:pt x="1272" y="828"/>
                  </a:lnTo>
                  <a:lnTo>
                    <a:pt x="1248" y="804"/>
                  </a:lnTo>
                  <a:lnTo>
                    <a:pt x="1242" y="804"/>
                  </a:lnTo>
                  <a:lnTo>
                    <a:pt x="1242" y="792"/>
                  </a:lnTo>
                  <a:lnTo>
                    <a:pt x="1260" y="774"/>
                  </a:lnTo>
                  <a:lnTo>
                    <a:pt x="1266" y="762"/>
                  </a:lnTo>
                  <a:lnTo>
                    <a:pt x="1272" y="756"/>
                  </a:lnTo>
                  <a:lnTo>
                    <a:pt x="1296" y="708"/>
                  </a:lnTo>
                  <a:lnTo>
                    <a:pt x="1284" y="684"/>
                  </a:lnTo>
                  <a:lnTo>
                    <a:pt x="1278" y="678"/>
                  </a:lnTo>
                  <a:lnTo>
                    <a:pt x="1242" y="678"/>
                  </a:lnTo>
                  <a:lnTo>
                    <a:pt x="1230" y="672"/>
                  </a:lnTo>
                  <a:lnTo>
                    <a:pt x="1224" y="672"/>
                  </a:lnTo>
                  <a:lnTo>
                    <a:pt x="1218" y="666"/>
                  </a:lnTo>
                  <a:lnTo>
                    <a:pt x="1218" y="612"/>
                  </a:lnTo>
                  <a:lnTo>
                    <a:pt x="1212" y="606"/>
                  </a:lnTo>
                  <a:lnTo>
                    <a:pt x="1200" y="582"/>
                  </a:lnTo>
                  <a:lnTo>
                    <a:pt x="1188" y="564"/>
                  </a:lnTo>
                  <a:lnTo>
                    <a:pt x="1176" y="540"/>
                  </a:lnTo>
                  <a:lnTo>
                    <a:pt x="1182" y="528"/>
                  </a:lnTo>
                  <a:lnTo>
                    <a:pt x="1200" y="510"/>
                  </a:lnTo>
                  <a:lnTo>
                    <a:pt x="1200" y="504"/>
                  </a:lnTo>
                  <a:lnTo>
                    <a:pt x="1194" y="498"/>
                  </a:lnTo>
                  <a:lnTo>
                    <a:pt x="1170" y="498"/>
                  </a:lnTo>
                  <a:lnTo>
                    <a:pt x="1170" y="468"/>
                  </a:lnTo>
                  <a:lnTo>
                    <a:pt x="1158" y="456"/>
                  </a:lnTo>
                  <a:lnTo>
                    <a:pt x="1158" y="450"/>
                  </a:lnTo>
                  <a:lnTo>
                    <a:pt x="1164" y="444"/>
                  </a:lnTo>
                  <a:lnTo>
                    <a:pt x="1176" y="438"/>
                  </a:lnTo>
                  <a:lnTo>
                    <a:pt x="1182" y="432"/>
                  </a:lnTo>
                  <a:lnTo>
                    <a:pt x="1188" y="432"/>
                  </a:lnTo>
                  <a:lnTo>
                    <a:pt x="1176" y="414"/>
                  </a:lnTo>
                  <a:lnTo>
                    <a:pt x="1200" y="408"/>
                  </a:lnTo>
                  <a:lnTo>
                    <a:pt x="1200" y="402"/>
                  </a:lnTo>
                  <a:lnTo>
                    <a:pt x="1194" y="396"/>
                  </a:lnTo>
                  <a:lnTo>
                    <a:pt x="1194" y="372"/>
                  </a:lnTo>
                  <a:lnTo>
                    <a:pt x="1188" y="360"/>
                  </a:lnTo>
                  <a:lnTo>
                    <a:pt x="1188" y="354"/>
                  </a:lnTo>
                  <a:lnTo>
                    <a:pt x="1194" y="342"/>
                  </a:lnTo>
                  <a:lnTo>
                    <a:pt x="1200" y="336"/>
                  </a:lnTo>
                  <a:lnTo>
                    <a:pt x="1188" y="306"/>
                  </a:lnTo>
                  <a:lnTo>
                    <a:pt x="1194" y="282"/>
                  </a:lnTo>
                  <a:lnTo>
                    <a:pt x="1182" y="282"/>
                  </a:lnTo>
                  <a:lnTo>
                    <a:pt x="1182" y="246"/>
                  </a:lnTo>
                  <a:lnTo>
                    <a:pt x="1116" y="252"/>
                  </a:lnTo>
                  <a:lnTo>
                    <a:pt x="1110" y="246"/>
                  </a:lnTo>
                  <a:lnTo>
                    <a:pt x="1104" y="234"/>
                  </a:lnTo>
                  <a:lnTo>
                    <a:pt x="1092" y="228"/>
                  </a:lnTo>
                  <a:lnTo>
                    <a:pt x="1080" y="216"/>
                  </a:lnTo>
                  <a:lnTo>
                    <a:pt x="1068" y="216"/>
                  </a:lnTo>
                  <a:lnTo>
                    <a:pt x="1062" y="210"/>
                  </a:lnTo>
                  <a:lnTo>
                    <a:pt x="1056" y="210"/>
                  </a:lnTo>
                  <a:lnTo>
                    <a:pt x="1050" y="204"/>
                  </a:lnTo>
                  <a:lnTo>
                    <a:pt x="1044" y="192"/>
                  </a:lnTo>
                  <a:lnTo>
                    <a:pt x="1044" y="186"/>
                  </a:lnTo>
                  <a:lnTo>
                    <a:pt x="1038" y="180"/>
                  </a:lnTo>
                  <a:lnTo>
                    <a:pt x="1032" y="180"/>
                  </a:lnTo>
                  <a:lnTo>
                    <a:pt x="1020" y="174"/>
                  </a:lnTo>
                  <a:lnTo>
                    <a:pt x="1002" y="174"/>
                  </a:lnTo>
                  <a:lnTo>
                    <a:pt x="990" y="168"/>
                  </a:lnTo>
                  <a:lnTo>
                    <a:pt x="972" y="168"/>
                  </a:lnTo>
                  <a:lnTo>
                    <a:pt x="972" y="174"/>
                  </a:lnTo>
                  <a:lnTo>
                    <a:pt x="960" y="168"/>
                  </a:lnTo>
                  <a:lnTo>
                    <a:pt x="954" y="162"/>
                  </a:lnTo>
                  <a:lnTo>
                    <a:pt x="942" y="156"/>
                  </a:lnTo>
                  <a:lnTo>
                    <a:pt x="936" y="150"/>
                  </a:lnTo>
                  <a:lnTo>
                    <a:pt x="906" y="150"/>
                  </a:lnTo>
                  <a:lnTo>
                    <a:pt x="906" y="138"/>
                  </a:lnTo>
                  <a:lnTo>
                    <a:pt x="894" y="126"/>
                  </a:lnTo>
                  <a:lnTo>
                    <a:pt x="834" y="126"/>
                  </a:lnTo>
                  <a:lnTo>
                    <a:pt x="834" y="132"/>
                  </a:lnTo>
                  <a:lnTo>
                    <a:pt x="828" y="138"/>
                  </a:lnTo>
                  <a:lnTo>
                    <a:pt x="816" y="132"/>
                  </a:lnTo>
                  <a:lnTo>
                    <a:pt x="780" y="132"/>
                  </a:lnTo>
                  <a:lnTo>
                    <a:pt x="768" y="138"/>
                  </a:lnTo>
                  <a:lnTo>
                    <a:pt x="750" y="156"/>
                  </a:lnTo>
                  <a:lnTo>
                    <a:pt x="738" y="162"/>
                  </a:lnTo>
                  <a:lnTo>
                    <a:pt x="732" y="168"/>
                  </a:lnTo>
                  <a:lnTo>
                    <a:pt x="732" y="180"/>
                  </a:lnTo>
                  <a:lnTo>
                    <a:pt x="720" y="186"/>
                  </a:lnTo>
                  <a:lnTo>
                    <a:pt x="708" y="198"/>
                  </a:lnTo>
                  <a:lnTo>
                    <a:pt x="678" y="198"/>
                  </a:lnTo>
                  <a:lnTo>
                    <a:pt x="690" y="210"/>
                  </a:lnTo>
                  <a:lnTo>
                    <a:pt x="690" y="222"/>
                  </a:lnTo>
                  <a:lnTo>
                    <a:pt x="696" y="228"/>
                  </a:lnTo>
                  <a:lnTo>
                    <a:pt x="696" y="234"/>
                  </a:lnTo>
                  <a:lnTo>
                    <a:pt x="690" y="240"/>
                  </a:lnTo>
                  <a:lnTo>
                    <a:pt x="678" y="240"/>
                  </a:lnTo>
                  <a:lnTo>
                    <a:pt x="666" y="234"/>
                  </a:lnTo>
                  <a:lnTo>
                    <a:pt x="660" y="228"/>
                  </a:lnTo>
                  <a:lnTo>
                    <a:pt x="654" y="228"/>
                  </a:lnTo>
                  <a:lnTo>
                    <a:pt x="648" y="234"/>
                  </a:lnTo>
                  <a:lnTo>
                    <a:pt x="624" y="234"/>
                  </a:lnTo>
                  <a:lnTo>
                    <a:pt x="612" y="240"/>
                  </a:lnTo>
                  <a:lnTo>
                    <a:pt x="600" y="240"/>
                  </a:lnTo>
                  <a:lnTo>
                    <a:pt x="582" y="246"/>
                  </a:lnTo>
                  <a:lnTo>
                    <a:pt x="558" y="258"/>
                  </a:lnTo>
                  <a:lnTo>
                    <a:pt x="546" y="252"/>
                  </a:lnTo>
                  <a:lnTo>
                    <a:pt x="534" y="252"/>
                  </a:lnTo>
                  <a:lnTo>
                    <a:pt x="522" y="246"/>
                  </a:lnTo>
                  <a:lnTo>
                    <a:pt x="498" y="246"/>
                  </a:lnTo>
                  <a:lnTo>
                    <a:pt x="480" y="240"/>
                  </a:lnTo>
                  <a:lnTo>
                    <a:pt x="468" y="228"/>
                  </a:lnTo>
                  <a:lnTo>
                    <a:pt x="456" y="222"/>
                  </a:lnTo>
                  <a:lnTo>
                    <a:pt x="444" y="210"/>
                  </a:lnTo>
                  <a:lnTo>
                    <a:pt x="438" y="198"/>
                  </a:lnTo>
                  <a:lnTo>
                    <a:pt x="432" y="192"/>
                  </a:lnTo>
                  <a:lnTo>
                    <a:pt x="432" y="186"/>
                  </a:lnTo>
                  <a:lnTo>
                    <a:pt x="378" y="186"/>
                  </a:lnTo>
                  <a:lnTo>
                    <a:pt x="354" y="162"/>
                  </a:lnTo>
                  <a:lnTo>
                    <a:pt x="336" y="126"/>
                  </a:lnTo>
                  <a:lnTo>
                    <a:pt x="330" y="120"/>
                  </a:lnTo>
                  <a:lnTo>
                    <a:pt x="330" y="114"/>
                  </a:lnTo>
                  <a:lnTo>
                    <a:pt x="312" y="114"/>
                  </a:lnTo>
                  <a:lnTo>
                    <a:pt x="312" y="108"/>
                  </a:lnTo>
                  <a:lnTo>
                    <a:pt x="306" y="102"/>
                  </a:lnTo>
                  <a:lnTo>
                    <a:pt x="300" y="102"/>
                  </a:lnTo>
                  <a:lnTo>
                    <a:pt x="294" y="96"/>
                  </a:lnTo>
                  <a:lnTo>
                    <a:pt x="282" y="90"/>
                  </a:lnTo>
                  <a:lnTo>
                    <a:pt x="270" y="78"/>
                  </a:lnTo>
                  <a:lnTo>
                    <a:pt x="270" y="72"/>
                  </a:lnTo>
                  <a:lnTo>
                    <a:pt x="282" y="72"/>
                  </a:lnTo>
                  <a:lnTo>
                    <a:pt x="288" y="66"/>
                  </a:lnTo>
                  <a:lnTo>
                    <a:pt x="288" y="60"/>
                  </a:lnTo>
                  <a:lnTo>
                    <a:pt x="282" y="54"/>
                  </a:lnTo>
                  <a:lnTo>
                    <a:pt x="276" y="54"/>
                  </a:lnTo>
                  <a:lnTo>
                    <a:pt x="276" y="42"/>
                  </a:lnTo>
                  <a:lnTo>
                    <a:pt x="282" y="36"/>
                  </a:lnTo>
                  <a:lnTo>
                    <a:pt x="282" y="18"/>
                  </a:lnTo>
                  <a:lnTo>
                    <a:pt x="276" y="12"/>
                  </a:lnTo>
                  <a:lnTo>
                    <a:pt x="270" y="0"/>
                  </a:lnTo>
                  <a:lnTo>
                    <a:pt x="258" y="0"/>
                  </a:lnTo>
                  <a:lnTo>
                    <a:pt x="246" y="6"/>
                  </a:lnTo>
                  <a:lnTo>
                    <a:pt x="234" y="18"/>
                  </a:lnTo>
                  <a:lnTo>
                    <a:pt x="222" y="24"/>
                  </a:lnTo>
                  <a:lnTo>
                    <a:pt x="204" y="36"/>
                  </a:lnTo>
                  <a:lnTo>
                    <a:pt x="192" y="48"/>
                  </a:lnTo>
                  <a:lnTo>
                    <a:pt x="192" y="54"/>
                  </a:lnTo>
                  <a:lnTo>
                    <a:pt x="186" y="60"/>
                  </a:lnTo>
                  <a:lnTo>
                    <a:pt x="180" y="72"/>
                  </a:lnTo>
                  <a:lnTo>
                    <a:pt x="132" y="72"/>
                  </a:lnTo>
                  <a:lnTo>
                    <a:pt x="96" y="60"/>
                  </a:lnTo>
                  <a:lnTo>
                    <a:pt x="84" y="54"/>
                  </a:lnTo>
                  <a:lnTo>
                    <a:pt x="66" y="36"/>
                  </a:lnTo>
                  <a:lnTo>
                    <a:pt x="54" y="12"/>
                  </a:lnTo>
                  <a:lnTo>
                    <a:pt x="54" y="6"/>
                  </a:lnTo>
                  <a:lnTo>
                    <a:pt x="48" y="0"/>
                  </a:lnTo>
                  <a:lnTo>
                    <a:pt x="42" y="0"/>
                  </a:lnTo>
                  <a:lnTo>
                    <a:pt x="24" y="18"/>
                  </a:lnTo>
                  <a:lnTo>
                    <a:pt x="24" y="30"/>
                  </a:lnTo>
                  <a:lnTo>
                    <a:pt x="0" y="30"/>
                  </a:lnTo>
                  <a:lnTo>
                    <a:pt x="18" y="54"/>
                  </a:lnTo>
                  <a:lnTo>
                    <a:pt x="18" y="84"/>
                  </a:lnTo>
                  <a:lnTo>
                    <a:pt x="30" y="96"/>
                  </a:lnTo>
                  <a:lnTo>
                    <a:pt x="30" y="108"/>
                  </a:lnTo>
                  <a:lnTo>
                    <a:pt x="36" y="114"/>
                  </a:lnTo>
                  <a:lnTo>
                    <a:pt x="42" y="114"/>
                  </a:lnTo>
                  <a:lnTo>
                    <a:pt x="36" y="120"/>
                  </a:lnTo>
                  <a:lnTo>
                    <a:pt x="36" y="126"/>
                  </a:lnTo>
                  <a:lnTo>
                    <a:pt x="30" y="138"/>
                  </a:lnTo>
                  <a:lnTo>
                    <a:pt x="24" y="144"/>
                  </a:lnTo>
                  <a:lnTo>
                    <a:pt x="60" y="162"/>
                  </a:lnTo>
                  <a:lnTo>
                    <a:pt x="60" y="192"/>
                  </a:lnTo>
                  <a:lnTo>
                    <a:pt x="84" y="198"/>
                  </a:lnTo>
                  <a:lnTo>
                    <a:pt x="84" y="210"/>
                  </a:lnTo>
                  <a:lnTo>
                    <a:pt x="96" y="246"/>
                  </a:lnTo>
                  <a:lnTo>
                    <a:pt x="108" y="270"/>
                  </a:lnTo>
                  <a:lnTo>
                    <a:pt x="120" y="282"/>
                  </a:lnTo>
                  <a:lnTo>
                    <a:pt x="120" y="300"/>
                  </a:lnTo>
                  <a:lnTo>
                    <a:pt x="144" y="306"/>
                  </a:lnTo>
                  <a:lnTo>
                    <a:pt x="156" y="324"/>
                  </a:lnTo>
                  <a:lnTo>
                    <a:pt x="162" y="318"/>
                  </a:lnTo>
                  <a:lnTo>
                    <a:pt x="174" y="312"/>
                  </a:lnTo>
                  <a:lnTo>
                    <a:pt x="186" y="312"/>
                  </a:lnTo>
                  <a:lnTo>
                    <a:pt x="186" y="318"/>
                  </a:lnTo>
                  <a:lnTo>
                    <a:pt x="168" y="336"/>
                  </a:lnTo>
                  <a:lnTo>
                    <a:pt x="168" y="342"/>
                  </a:lnTo>
                  <a:lnTo>
                    <a:pt x="180" y="354"/>
                  </a:lnTo>
                  <a:lnTo>
                    <a:pt x="186" y="366"/>
                  </a:lnTo>
                  <a:lnTo>
                    <a:pt x="186" y="372"/>
                  </a:lnTo>
                  <a:lnTo>
                    <a:pt x="174" y="384"/>
                  </a:lnTo>
                  <a:lnTo>
                    <a:pt x="168" y="384"/>
                  </a:lnTo>
                  <a:lnTo>
                    <a:pt x="168" y="414"/>
                  </a:lnTo>
                  <a:lnTo>
                    <a:pt x="156" y="414"/>
                  </a:lnTo>
                  <a:lnTo>
                    <a:pt x="144" y="426"/>
                  </a:lnTo>
                  <a:lnTo>
                    <a:pt x="144" y="432"/>
                  </a:lnTo>
                  <a:lnTo>
                    <a:pt x="156" y="444"/>
                  </a:lnTo>
                  <a:lnTo>
                    <a:pt x="150" y="450"/>
                  </a:lnTo>
                  <a:lnTo>
                    <a:pt x="144" y="462"/>
                  </a:lnTo>
                  <a:lnTo>
                    <a:pt x="144" y="468"/>
                  </a:lnTo>
                  <a:lnTo>
                    <a:pt x="150" y="474"/>
                  </a:lnTo>
                  <a:lnTo>
                    <a:pt x="162" y="480"/>
                  </a:lnTo>
                  <a:lnTo>
                    <a:pt x="174" y="492"/>
                  </a:lnTo>
                  <a:lnTo>
                    <a:pt x="198" y="504"/>
                  </a:lnTo>
                  <a:lnTo>
                    <a:pt x="204" y="510"/>
                  </a:lnTo>
                  <a:lnTo>
                    <a:pt x="210" y="510"/>
                  </a:lnTo>
                  <a:lnTo>
                    <a:pt x="210" y="552"/>
                  </a:lnTo>
                  <a:lnTo>
                    <a:pt x="234" y="552"/>
                  </a:lnTo>
                  <a:lnTo>
                    <a:pt x="240" y="558"/>
                  </a:lnTo>
                  <a:lnTo>
                    <a:pt x="252" y="564"/>
                  </a:lnTo>
                  <a:lnTo>
                    <a:pt x="270" y="582"/>
                  </a:lnTo>
                  <a:lnTo>
                    <a:pt x="288" y="582"/>
                  </a:lnTo>
                  <a:lnTo>
                    <a:pt x="294" y="588"/>
                  </a:lnTo>
                  <a:lnTo>
                    <a:pt x="300" y="600"/>
                  </a:lnTo>
                  <a:lnTo>
                    <a:pt x="330" y="636"/>
                  </a:lnTo>
                  <a:lnTo>
                    <a:pt x="330" y="648"/>
                  </a:lnTo>
                  <a:lnTo>
                    <a:pt x="324" y="660"/>
                  </a:lnTo>
                  <a:lnTo>
                    <a:pt x="324" y="696"/>
                  </a:lnTo>
                  <a:lnTo>
                    <a:pt x="330" y="702"/>
                  </a:lnTo>
                  <a:lnTo>
                    <a:pt x="342" y="708"/>
                  </a:lnTo>
                  <a:lnTo>
                    <a:pt x="348" y="714"/>
                  </a:lnTo>
                  <a:lnTo>
                    <a:pt x="354" y="714"/>
                  </a:lnTo>
                  <a:lnTo>
                    <a:pt x="360" y="744"/>
                  </a:lnTo>
                  <a:lnTo>
                    <a:pt x="372" y="750"/>
                  </a:lnTo>
                  <a:lnTo>
                    <a:pt x="384" y="762"/>
                  </a:lnTo>
                  <a:lnTo>
                    <a:pt x="384" y="768"/>
                  </a:lnTo>
                  <a:lnTo>
                    <a:pt x="390" y="774"/>
                  </a:lnTo>
                  <a:lnTo>
                    <a:pt x="402" y="780"/>
                  </a:lnTo>
                  <a:lnTo>
                    <a:pt x="408" y="786"/>
                  </a:lnTo>
                  <a:lnTo>
                    <a:pt x="420" y="792"/>
                  </a:lnTo>
                  <a:lnTo>
                    <a:pt x="426" y="786"/>
                  </a:lnTo>
                  <a:lnTo>
                    <a:pt x="426" y="774"/>
                  </a:lnTo>
                  <a:lnTo>
                    <a:pt x="420" y="768"/>
                  </a:lnTo>
                  <a:lnTo>
                    <a:pt x="420" y="762"/>
                  </a:lnTo>
                  <a:lnTo>
                    <a:pt x="426" y="756"/>
                  </a:lnTo>
                  <a:lnTo>
                    <a:pt x="438" y="750"/>
                  </a:lnTo>
                  <a:lnTo>
                    <a:pt x="444" y="756"/>
                  </a:lnTo>
                  <a:lnTo>
                    <a:pt x="450" y="756"/>
                  </a:lnTo>
                  <a:lnTo>
                    <a:pt x="450" y="768"/>
                  </a:lnTo>
                  <a:lnTo>
                    <a:pt x="456" y="780"/>
                  </a:lnTo>
                  <a:lnTo>
                    <a:pt x="474" y="780"/>
                  </a:lnTo>
                  <a:lnTo>
                    <a:pt x="474" y="786"/>
                  </a:lnTo>
                  <a:lnTo>
                    <a:pt x="474" y="780"/>
                  </a:lnTo>
                  <a:lnTo>
                    <a:pt x="480" y="780"/>
                  </a:lnTo>
                  <a:lnTo>
                    <a:pt x="480" y="768"/>
                  </a:lnTo>
                  <a:lnTo>
                    <a:pt x="504" y="768"/>
                  </a:lnTo>
                  <a:lnTo>
                    <a:pt x="504" y="804"/>
                  </a:lnTo>
                  <a:lnTo>
                    <a:pt x="510" y="810"/>
                  </a:lnTo>
                  <a:lnTo>
                    <a:pt x="516" y="810"/>
                  </a:lnTo>
                  <a:lnTo>
                    <a:pt x="528" y="816"/>
                  </a:lnTo>
                  <a:lnTo>
                    <a:pt x="540" y="828"/>
                  </a:lnTo>
                  <a:lnTo>
                    <a:pt x="540" y="846"/>
                  </a:lnTo>
                  <a:lnTo>
                    <a:pt x="552" y="858"/>
                  </a:lnTo>
                  <a:lnTo>
                    <a:pt x="558" y="870"/>
                  </a:lnTo>
                  <a:lnTo>
                    <a:pt x="564" y="876"/>
                  </a:lnTo>
                  <a:lnTo>
                    <a:pt x="570" y="876"/>
                  </a:lnTo>
                  <a:lnTo>
                    <a:pt x="582" y="894"/>
                  </a:lnTo>
                  <a:lnTo>
                    <a:pt x="582" y="906"/>
                  </a:lnTo>
                  <a:lnTo>
                    <a:pt x="594" y="930"/>
                  </a:lnTo>
                  <a:lnTo>
                    <a:pt x="600" y="936"/>
                  </a:lnTo>
                  <a:lnTo>
                    <a:pt x="606" y="936"/>
                  </a:lnTo>
                  <a:lnTo>
                    <a:pt x="612" y="942"/>
                  </a:lnTo>
                  <a:lnTo>
                    <a:pt x="618" y="954"/>
                  </a:lnTo>
                  <a:lnTo>
                    <a:pt x="618" y="960"/>
                  </a:lnTo>
                  <a:lnTo>
                    <a:pt x="648" y="960"/>
                  </a:lnTo>
                  <a:lnTo>
                    <a:pt x="666" y="984"/>
                  </a:lnTo>
                  <a:lnTo>
                    <a:pt x="684" y="978"/>
                  </a:lnTo>
                  <a:lnTo>
                    <a:pt x="702" y="978"/>
                  </a:lnTo>
                  <a:lnTo>
                    <a:pt x="720" y="996"/>
                  </a:lnTo>
                  <a:lnTo>
                    <a:pt x="738" y="1008"/>
                  </a:lnTo>
                  <a:lnTo>
                    <a:pt x="756" y="1026"/>
                  </a:lnTo>
                  <a:lnTo>
                    <a:pt x="792" y="1050"/>
                  </a:lnTo>
                  <a:lnTo>
                    <a:pt x="810" y="1050"/>
                  </a:lnTo>
                  <a:lnTo>
                    <a:pt x="822" y="1056"/>
                  </a:lnTo>
                  <a:lnTo>
                    <a:pt x="834" y="1068"/>
                  </a:lnTo>
                  <a:lnTo>
                    <a:pt x="852" y="1068"/>
                  </a:lnTo>
                  <a:lnTo>
                    <a:pt x="876" y="1056"/>
                  </a:lnTo>
                  <a:lnTo>
                    <a:pt x="876" y="1050"/>
                  </a:lnTo>
                  <a:lnTo>
                    <a:pt x="900" y="1056"/>
                  </a:lnTo>
                  <a:lnTo>
                    <a:pt x="912" y="1032"/>
                  </a:lnTo>
                  <a:lnTo>
                    <a:pt x="930" y="1032"/>
                  </a:lnTo>
                  <a:lnTo>
                    <a:pt x="954" y="1008"/>
                  </a:lnTo>
                  <a:lnTo>
                    <a:pt x="966" y="1020"/>
                  </a:lnTo>
                  <a:lnTo>
                    <a:pt x="972" y="1014"/>
                  </a:lnTo>
                  <a:lnTo>
                    <a:pt x="984" y="1014"/>
                  </a:lnTo>
                  <a:lnTo>
                    <a:pt x="1002" y="1032"/>
                  </a:lnTo>
                  <a:lnTo>
                    <a:pt x="1014" y="1050"/>
                  </a:lnTo>
                  <a:lnTo>
                    <a:pt x="1020" y="1068"/>
                  </a:lnTo>
                  <a:lnTo>
                    <a:pt x="1032" y="1080"/>
                  </a:lnTo>
                  <a:lnTo>
                    <a:pt x="1032" y="1098"/>
                  </a:lnTo>
                  <a:lnTo>
                    <a:pt x="1038" y="1110"/>
                  </a:lnTo>
                  <a:lnTo>
                    <a:pt x="1044" y="1116"/>
                  </a:lnTo>
                  <a:lnTo>
                    <a:pt x="1056" y="1122"/>
                  </a:lnTo>
                  <a:lnTo>
                    <a:pt x="1080" y="1122"/>
                  </a:lnTo>
                  <a:lnTo>
                    <a:pt x="1080" y="1128"/>
                  </a:lnTo>
                  <a:lnTo>
                    <a:pt x="1086" y="1134"/>
                  </a:lnTo>
                  <a:lnTo>
                    <a:pt x="1098" y="1140"/>
                  </a:lnTo>
                  <a:lnTo>
                    <a:pt x="1164" y="1140"/>
                  </a:lnTo>
                  <a:lnTo>
                    <a:pt x="1176" y="1146"/>
                  </a:lnTo>
                  <a:lnTo>
                    <a:pt x="1200" y="1170"/>
                  </a:lnTo>
                  <a:lnTo>
                    <a:pt x="1212" y="1170"/>
                  </a:lnTo>
                  <a:lnTo>
                    <a:pt x="1224" y="1164"/>
                  </a:lnTo>
                  <a:lnTo>
                    <a:pt x="1230" y="1164"/>
                  </a:lnTo>
                  <a:lnTo>
                    <a:pt x="1242" y="1158"/>
                  </a:lnTo>
                  <a:lnTo>
                    <a:pt x="1248" y="1158"/>
                  </a:lnTo>
                  <a:lnTo>
                    <a:pt x="1254" y="1164"/>
                  </a:lnTo>
                  <a:lnTo>
                    <a:pt x="1278" y="1176"/>
                  </a:lnTo>
                  <a:lnTo>
                    <a:pt x="1296" y="1182"/>
                  </a:lnTo>
                  <a:lnTo>
                    <a:pt x="1326" y="1182"/>
                  </a:lnTo>
                  <a:lnTo>
                    <a:pt x="1338" y="1176"/>
                  </a:lnTo>
                  <a:close/>
                </a:path>
              </a:pathLst>
            </a:custGeom>
            <a:grpFill/>
            <a:ln w="3175">
              <a:solidFill>
                <a:schemeClr val="bg1"/>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de-DE" sz="1800" b="0" i="0" u="none" strike="noStrike" kern="1200" cap="none" spc="0" normalizeH="0" baseline="0" noProof="0">
                <a:ln>
                  <a:noFill/>
                </a:ln>
                <a:solidFill>
                  <a:srgbClr val="FFC000"/>
                </a:solidFill>
                <a:effectLst/>
                <a:uLnTx/>
                <a:uFillTx/>
                <a:latin typeface="Calibri" pitchFamily="34" charset="0"/>
                <a:ea typeface="+mn-ea"/>
                <a:cs typeface="+mn-cs"/>
              </a:endParaRPr>
            </a:p>
          </p:txBody>
        </p:sp>
        <p:sp>
          <p:nvSpPr>
            <p:cNvPr id="120" name="Indonesia" descr="© INSCALE GmbH, 05.05.2010&#10;http://www.presentationload.com/"/>
            <p:cNvSpPr>
              <a:spLocks noEditPoints="1"/>
            </p:cNvSpPr>
            <p:nvPr/>
          </p:nvSpPr>
          <p:spPr bwMode="gray">
            <a:xfrm>
              <a:off x="6663226" y="4162945"/>
              <a:ext cx="1059708" cy="404180"/>
            </a:xfrm>
            <a:custGeom>
              <a:avLst/>
              <a:gdLst>
                <a:gd name="T0" fmla="*/ 2147483647 w 3264"/>
                <a:gd name="T1" fmla="*/ 2147483647 h 1302"/>
                <a:gd name="T2" fmla="*/ 2147483647 w 3264"/>
                <a:gd name="T3" fmla="*/ 2147483647 h 1302"/>
                <a:gd name="T4" fmla="*/ 2147483647 w 3264"/>
                <a:gd name="T5" fmla="*/ 2147483647 h 1302"/>
                <a:gd name="T6" fmla="*/ 2147483647 w 3264"/>
                <a:gd name="T7" fmla="*/ 2147483647 h 1302"/>
                <a:gd name="T8" fmla="*/ 2147483647 w 3264"/>
                <a:gd name="T9" fmla="*/ 2147483647 h 1302"/>
                <a:gd name="T10" fmla="*/ 2147483647 w 3264"/>
                <a:gd name="T11" fmla="*/ 2147483647 h 1302"/>
                <a:gd name="T12" fmla="*/ 2147483647 w 3264"/>
                <a:gd name="T13" fmla="*/ 2147483647 h 1302"/>
                <a:gd name="T14" fmla="*/ 2147483647 w 3264"/>
                <a:gd name="T15" fmla="*/ 2147483647 h 1302"/>
                <a:gd name="T16" fmla="*/ 2147483647 w 3264"/>
                <a:gd name="T17" fmla="*/ 2147483647 h 1302"/>
                <a:gd name="T18" fmla="*/ 2147483647 w 3264"/>
                <a:gd name="T19" fmla="*/ 2147483647 h 1302"/>
                <a:gd name="T20" fmla="*/ 2147483647 w 3264"/>
                <a:gd name="T21" fmla="*/ 2147483647 h 1302"/>
                <a:gd name="T22" fmla="*/ 2147483647 w 3264"/>
                <a:gd name="T23" fmla="*/ 2147483647 h 1302"/>
                <a:gd name="T24" fmla="*/ 2147483647 w 3264"/>
                <a:gd name="T25" fmla="*/ 2147483647 h 1302"/>
                <a:gd name="T26" fmla="*/ 2147483647 w 3264"/>
                <a:gd name="T27" fmla="*/ 2147483647 h 1302"/>
                <a:gd name="T28" fmla="*/ 2147483647 w 3264"/>
                <a:gd name="T29" fmla="*/ 2147483647 h 1302"/>
                <a:gd name="T30" fmla="*/ 2147483647 w 3264"/>
                <a:gd name="T31" fmla="*/ 2147483647 h 1302"/>
                <a:gd name="T32" fmla="*/ 2147483647 w 3264"/>
                <a:gd name="T33" fmla="*/ 2147483647 h 1302"/>
                <a:gd name="T34" fmla="*/ 2147483647 w 3264"/>
                <a:gd name="T35" fmla="*/ 2147483647 h 1302"/>
                <a:gd name="T36" fmla="*/ 2147483647 w 3264"/>
                <a:gd name="T37" fmla="*/ 2147483647 h 1302"/>
                <a:gd name="T38" fmla="*/ 2147483647 w 3264"/>
                <a:gd name="T39" fmla="*/ 2147483647 h 1302"/>
                <a:gd name="T40" fmla="*/ 2147483647 w 3264"/>
                <a:gd name="T41" fmla="*/ 2147483647 h 1302"/>
                <a:gd name="T42" fmla="*/ 2147483647 w 3264"/>
                <a:gd name="T43" fmla="*/ 2147483647 h 1302"/>
                <a:gd name="T44" fmla="*/ 2147483647 w 3264"/>
                <a:gd name="T45" fmla="*/ 2147483647 h 1302"/>
                <a:gd name="T46" fmla="*/ 2147483647 w 3264"/>
                <a:gd name="T47" fmla="*/ 2147483647 h 1302"/>
                <a:gd name="T48" fmla="*/ 2147483647 w 3264"/>
                <a:gd name="T49" fmla="*/ 2147483647 h 1302"/>
                <a:gd name="T50" fmla="*/ 2147483647 w 3264"/>
                <a:gd name="T51" fmla="*/ 2147483647 h 1302"/>
                <a:gd name="T52" fmla="*/ 2147483647 w 3264"/>
                <a:gd name="T53" fmla="*/ 2147483647 h 1302"/>
                <a:gd name="T54" fmla="*/ 2147483647 w 3264"/>
                <a:gd name="T55" fmla="*/ 2147483647 h 1302"/>
                <a:gd name="T56" fmla="*/ 2147483647 w 3264"/>
                <a:gd name="T57" fmla="*/ 2147483647 h 1302"/>
                <a:gd name="T58" fmla="*/ 2147483647 w 3264"/>
                <a:gd name="T59" fmla="*/ 2147483647 h 1302"/>
                <a:gd name="T60" fmla="*/ 2147483647 w 3264"/>
                <a:gd name="T61" fmla="*/ 2147483647 h 1302"/>
                <a:gd name="T62" fmla="*/ 2147483647 w 3264"/>
                <a:gd name="T63" fmla="*/ 2147483647 h 1302"/>
                <a:gd name="T64" fmla="*/ 2147483647 w 3264"/>
                <a:gd name="T65" fmla="*/ 2147483647 h 1302"/>
                <a:gd name="T66" fmla="*/ 2147483647 w 3264"/>
                <a:gd name="T67" fmla="*/ 2147483647 h 1302"/>
                <a:gd name="T68" fmla="*/ 2147483647 w 3264"/>
                <a:gd name="T69" fmla="*/ 2147483647 h 1302"/>
                <a:gd name="T70" fmla="*/ 2147483647 w 3264"/>
                <a:gd name="T71" fmla="*/ 2147483647 h 1302"/>
                <a:gd name="T72" fmla="*/ 2147483647 w 3264"/>
                <a:gd name="T73" fmla="*/ 2147483647 h 1302"/>
                <a:gd name="T74" fmla="*/ 2147483647 w 3264"/>
                <a:gd name="T75" fmla="*/ 2147483647 h 1302"/>
                <a:gd name="T76" fmla="*/ 2147483647 w 3264"/>
                <a:gd name="T77" fmla="*/ 2147483647 h 1302"/>
                <a:gd name="T78" fmla="*/ 2147483647 w 3264"/>
                <a:gd name="T79" fmla="*/ 2147483647 h 1302"/>
                <a:gd name="T80" fmla="*/ 2147483647 w 3264"/>
                <a:gd name="T81" fmla="*/ 2147483647 h 1302"/>
                <a:gd name="T82" fmla="*/ 2147483647 w 3264"/>
                <a:gd name="T83" fmla="*/ 2147483647 h 1302"/>
                <a:gd name="T84" fmla="*/ 2147483647 w 3264"/>
                <a:gd name="T85" fmla="*/ 2147483647 h 1302"/>
                <a:gd name="T86" fmla="*/ 2147483647 w 3264"/>
                <a:gd name="T87" fmla="*/ 2147483647 h 1302"/>
                <a:gd name="T88" fmla="*/ 2147483647 w 3264"/>
                <a:gd name="T89" fmla="*/ 2147483647 h 1302"/>
                <a:gd name="T90" fmla="*/ 2147483647 w 3264"/>
                <a:gd name="T91" fmla="*/ 2147483647 h 1302"/>
                <a:gd name="T92" fmla="*/ 2147483647 w 3264"/>
                <a:gd name="T93" fmla="*/ 2147483647 h 1302"/>
                <a:gd name="T94" fmla="*/ 2147483647 w 3264"/>
                <a:gd name="T95" fmla="*/ 2147483647 h 1302"/>
                <a:gd name="T96" fmla="*/ 2147483647 w 3264"/>
                <a:gd name="T97" fmla="*/ 2147483647 h 1302"/>
                <a:gd name="T98" fmla="*/ 2147483647 w 3264"/>
                <a:gd name="T99" fmla="*/ 2147483647 h 1302"/>
                <a:gd name="T100" fmla="*/ 2147483647 w 3264"/>
                <a:gd name="T101" fmla="*/ 2147483647 h 1302"/>
                <a:gd name="T102" fmla="*/ 2147483647 w 3264"/>
                <a:gd name="T103" fmla="*/ 2147483647 h 1302"/>
                <a:gd name="T104" fmla="*/ 2147483647 w 3264"/>
                <a:gd name="T105" fmla="*/ 2147483647 h 1302"/>
                <a:gd name="T106" fmla="*/ 2147483647 w 3264"/>
                <a:gd name="T107" fmla="*/ 2147483647 h 1302"/>
                <a:gd name="T108" fmla="*/ 2147483647 w 3264"/>
                <a:gd name="T109" fmla="*/ 2147483647 h 1302"/>
                <a:gd name="T110" fmla="*/ 2147483647 w 3264"/>
                <a:gd name="T111" fmla="*/ 2147483647 h 1302"/>
                <a:gd name="T112" fmla="*/ 2147483647 w 3264"/>
                <a:gd name="T113" fmla="*/ 2147483647 h 1302"/>
                <a:gd name="T114" fmla="*/ 2147483647 w 3264"/>
                <a:gd name="T115" fmla="*/ 2147483647 h 1302"/>
                <a:gd name="T116" fmla="*/ 2147483647 w 3264"/>
                <a:gd name="T117" fmla="*/ 2147483647 h 1302"/>
                <a:gd name="T118" fmla="*/ 2147483647 w 3264"/>
                <a:gd name="T119" fmla="*/ 2147483647 h 1302"/>
                <a:gd name="T120" fmla="*/ 2147483647 w 3264"/>
                <a:gd name="T121" fmla="*/ 2147483647 h 1302"/>
                <a:gd name="T122" fmla="*/ 2147483647 w 3264"/>
                <a:gd name="T123" fmla="*/ 2147483647 h 1302"/>
                <a:gd name="T124" fmla="*/ 2147483647 w 3264"/>
                <a:gd name="T125" fmla="*/ 2147483647 h 1302"/>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3264"/>
                <a:gd name="T190" fmla="*/ 0 h 1302"/>
                <a:gd name="T191" fmla="*/ 3264 w 3264"/>
                <a:gd name="T192" fmla="*/ 1302 h 1302"/>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3264" h="1302">
                  <a:moveTo>
                    <a:pt x="1788" y="984"/>
                  </a:moveTo>
                  <a:lnTo>
                    <a:pt x="1806" y="978"/>
                  </a:lnTo>
                  <a:lnTo>
                    <a:pt x="1818" y="954"/>
                  </a:lnTo>
                  <a:lnTo>
                    <a:pt x="1812" y="930"/>
                  </a:lnTo>
                  <a:lnTo>
                    <a:pt x="1788" y="984"/>
                  </a:lnTo>
                  <a:close/>
                  <a:moveTo>
                    <a:pt x="672" y="462"/>
                  </a:moveTo>
                  <a:lnTo>
                    <a:pt x="702" y="480"/>
                  </a:lnTo>
                  <a:lnTo>
                    <a:pt x="702" y="450"/>
                  </a:lnTo>
                  <a:lnTo>
                    <a:pt x="672" y="426"/>
                  </a:lnTo>
                  <a:lnTo>
                    <a:pt x="672" y="462"/>
                  </a:lnTo>
                  <a:close/>
                  <a:moveTo>
                    <a:pt x="678" y="492"/>
                  </a:moveTo>
                  <a:lnTo>
                    <a:pt x="654" y="516"/>
                  </a:lnTo>
                  <a:lnTo>
                    <a:pt x="678" y="546"/>
                  </a:lnTo>
                  <a:lnTo>
                    <a:pt x="678" y="492"/>
                  </a:lnTo>
                  <a:close/>
                  <a:moveTo>
                    <a:pt x="906" y="714"/>
                  </a:moveTo>
                  <a:lnTo>
                    <a:pt x="930" y="732"/>
                  </a:lnTo>
                  <a:lnTo>
                    <a:pt x="936" y="708"/>
                  </a:lnTo>
                  <a:lnTo>
                    <a:pt x="936" y="702"/>
                  </a:lnTo>
                  <a:lnTo>
                    <a:pt x="930" y="696"/>
                  </a:lnTo>
                  <a:lnTo>
                    <a:pt x="930" y="690"/>
                  </a:lnTo>
                  <a:lnTo>
                    <a:pt x="912" y="672"/>
                  </a:lnTo>
                  <a:lnTo>
                    <a:pt x="900" y="666"/>
                  </a:lnTo>
                  <a:lnTo>
                    <a:pt x="888" y="666"/>
                  </a:lnTo>
                  <a:lnTo>
                    <a:pt x="882" y="672"/>
                  </a:lnTo>
                  <a:lnTo>
                    <a:pt x="876" y="684"/>
                  </a:lnTo>
                  <a:lnTo>
                    <a:pt x="882" y="696"/>
                  </a:lnTo>
                  <a:lnTo>
                    <a:pt x="882" y="708"/>
                  </a:lnTo>
                  <a:lnTo>
                    <a:pt x="888" y="720"/>
                  </a:lnTo>
                  <a:lnTo>
                    <a:pt x="906" y="714"/>
                  </a:lnTo>
                  <a:close/>
                  <a:moveTo>
                    <a:pt x="684" y="372"/>
                  </a:moveTo>
                  <a:lnTo>
                    <a:pt x="672" y="360"/>
                  </a:lnTo>
                  <a:lnTo>
                    <a:pt x="660" y="372"/>
                  </a:lnTo>
                  <a:lnTo>
                    <a:pt x="672" y="396"/>
                  </a:lnTo>
                  <a:lnTo>
                    <a:pt x="684" y="396"/>
                  </a:lnTo>
                  <a:lnTo>
                    <a:pt x="684" y="372"/>
                  </a:lnTo>
                  <a:close/>
                  <a:moveTo>
                    <a:pt x="750" y="624"/>
                  </a:moveTo>
                  <a:lnTo>
                    <a:pt x="750" y="630"/>
                  </a:lnTo>
                  <a:lnTo>
                    <a:pt x="756" y="636"/>
                  </a:lnTo>
                  <a:lnTo>
                    <a:pt x="756" y="648"/>
                  </a:lnTo>
                  <a:lnTo>
                    <a:pt x="774" y="684"/>
                  </a:lnTo>
                  <a:lnTo>
                    <a:pt x="786" y="690"/>
                  </a:lnTo>
                  <a:lnTo>
                    <a:pt x="804" y="696"/>
                  </a:lnTo>
                  <a:lnTo>
                    <a:pt x="816" y="702"/>
                  </a:lnTo>
                  <a:lnTo>
                    <a:pt x="834" y="702"/>
                  </a:lnTo>
                  <a:lnTo>
                    <a:pt x="828" y="660"/>
                  </a:lnTo>
                  <a:lnTo>
                    <a:pt x="810" y="648"/>
                  </a:lnTo>
                  <a:lnTo>
                    <a:pt x="810" y="618"/>
                  </a:lnTo>
                  <a:lnTo>
                    <a:pt x="804" y="606"/>
                  </a:lnTo>
                  <a:lnTo>
                    <a:pt x="792" y="600"/>
                  </a:lnTo>
                  <a:lnTo>
                    <a:pt x="786" y="588"/>
                  </a:lnTo>
                  <a:lnTo>
                    <a:pt x="768" y="582"/>
                  </a:lnTo>
                  <a:lnTo>
                    <a:pt x="756" y="576"/>
                  </a:lnTo>
                  <a:lnTo>
                    <a:pt x="732" y="576"/>
                  </a:lnTo>
                  <a:lnTo>
                    <a:pt x="732" y="582"/>
                  </a:lnTo>
                  <a:lnTo>
                    <a:pt x="726" y="588"/>
                  </a:lnTo>
                  <a:lnTo>
                    <a:pt x="726" y="600"/>
                  </a:lnTo>
                  <a:lnTo>
                    <a:pt x="714" y="600"/>
                  </a:lnTo>
                  <a:lnTo>
                    <a:pt x="714" y="606"/>
                  </a:lnTo>
                  <a:lnTo>
                    <a:pt x="708" y="612"/>
                  </a:lnTo>
                  <a:lnTo>
                    <a:pt x="714" y="624"/>
                  </a:lnTo>
                  <a:lnTo>
                    <a:pt x="750" y="624"/>
                  </a:lnTo>
                  <a:close/>
                  <a:moveTo>
                    <a:pt x="246" y="438"/>
                  </a:moveTo>
                  <a:lnTo>
                    <a:pt x="222" y="462"/>
                  </a:lnTo>
                  <a:lnTo>
                    <a:pt x="234" y="492"/>
                  </a:lnTo>
                  <a:lnTo>
                    <a:pt x="234" y="498"/>
                  </a:lnTo>
                  <a:lnTo>
                    <a:pt x="228" y="504"/>
                  </a:lnTo>
                  <a:lnTo>
                    <a:pt x="228" y="510"/>
                  </a:lnTo>
                  <a:lnTo>
                    <a:pt x="240" y="510"/>
                  </a:lnTo>
                  <a:lnTo>
                    <a:pt x="246" y="504"/>
                  </a:lnTo>
                  <a:lnTo>
                    <a:pt x="246" y="468"/>
                  </a:lnTo>
                  <a:lnTo>
                    <a:pt x="252" y="456"/>
                  </a:lnTo>
                  <a:lnTo>
                    <a:pt x="246" y="438"/>
                  </a:lnTo>
                  <a:close/>
                  <a:moveTo>
                    <a:pt x="264" y="534"/>
                  </a:moveTo>
                  <a:lnTo>
                    <a:pt x="258" y="546"/>
                  </a:lnTo>
                  <a:lnTo>
                    <a:pt x="258" y="588"/>
                  </a:lnTo>
                  <a:lnTo>
                    <a:pt x="264" y="600"/>
                  </a:lnTo>
                  <a:lnTo>
                    <a:pt x="276" y="612"/>
                  </a:lnTo>
                  <a:lnTo>
                    <a:pt x="288" y="612"/>
                  </a:lnTo>
                  <a:lnTo>
                    <a:pt x="294" y="606"/>
                  </a:lnTo>
                  <a:lnTo>
                    <a:pt x="294" y="588"/>
                  </a:lnTo>
                  <a:lnTo>
                    <a:pt x="288" y="576"/>
                  </a:lnTo>
                  <a:lnTo>
                    <a:pt x="282" y="558"/>
                  </a:lnTo>
                  <a:lnTo>
                    <a:pt x="282" y="546"/>
                  </a:lnTo>
                  <a:lnTo>
                    <a:pt x="276" y="534"/>
                  </a:lnTo>
                  <a:lnTo>
                    <a:pt x="264" y="534"/>
                  </a:lnTo>
                  <a:close/>
                  <a:moveTo>
                    <a:pt x="48" y="222"/>
                  </a:moveTo>
                  <a:lnTo>
                    <a:pt x="42" y="228"/>
                  </a:lnTo>
                  <a:lnTo>
                    <a:pt x="42" y="246"/>
                  </a:lnTo>
                  <a:lnTo>
                    <a:pt x="48" y="258"/>
                  </a:lnTo>
                  <a:lnTo>
                    <a:pt x="66" y="258"/>
                  </a:lnTo>
                  <a:lnTo>
                    <a:pt x="84" y="276"/>
                  </a:lnTo>
                  <a:lnTo>
                    <a:pt x="90" y="270"/>
                  </a:lnTo>
                  <a:lnTo>
                    <a:pt x="90" y="252"/>
                  </a:lnTo>
                  <a:lnTo>
                    <a:pt x="78" y="246"/>
                  </a:lnTo>
                  <a:lnTo>
                    <a:pt x="72" y="234"/>
                  </a:lnTo>
                  <a:lnTo>
                    <a:pt x="60" y="228"/>
                  </a:lnTo>
                  <a:lnTo>
                    <a:pt x="54" y="222"/>
                  </a:lnTo>
                  <a:lnTo>
                    <a:pt x="48" y="222"/>
                  </a:lnTo>
                  <a:close/>
                  <a:moveTo>
                    <a:pt x="162" y="330"/>
                  </a:moveTo>
                  <a:lnTo>
                    <a:pt x="156" y="330"/>
                  </a:lnTo>
                  <a:lnTo>
                    <a:pt x="144" y="342"/>
                  </a:lnTo>
                  <a:lnTo>
                    <a:pt x="144" y="354"/>
                  </a:lnTo>
                  <a:lnTo>
                    <a:pt x="156" y="366"/>
                  </a:lnTo>
                  <a:lnTo>
                    <a:pt x="162" y="378"/>
                  </a:lnTo>
                  <a:lnTo>
                    <a:pt x="174" y="390"/>
                  </a:lnTo>
                  <a:lnTo>
                    <a:pt x="180" y="402"/>
                  </a:lnTo>
                  <a:lnTo>
                    <a:pt x="192" y="414"/>
                  </a:lnTo>
                  <a:lnTo>
                    <a:pt x="198" y="408"/>
                  </a:lnTo>
                  <a:lnTo>
                    <a:pt x="198" y="402"/>
                  </a:lnTo>
                  <a:lnTo>
                    <a:pt x="204" y="390"/>
                  </a:lnTo>
                  <a:lnTo>
                    <a:pt x="204" y="384"/>
                  </a:lnTo>
                  <a:lnTo>
                    <a:pt x="198" y="372"/>
                  </a:lnTo>
                  <a:lnTo>
                    <a:pt x="198" y="366"/>
                  </a:lnTo>
                  <a:lnTo>
                    <a:pt x="192" y="360"/>
                  </a:lnTo>
                  <a:lnTo>
                    <a:pt x="186" y="348"/>
                  </a:lnTo>
                  <a:lnTo>
                    <a:pt x="180" y="342"/>
                  </a:lnTo>
                  <a:lnTo>
                    <a:pt x="168" y="336"/>
                  </a:lnTo>
                  <a:lnTo>
                    <a:pt x="162" y="330"/>
                  </a:lnTo>
                  <a:close/>
                  <a:moveTo>
                    <a:pt x="2574" y="486"/>
                  </a:moveTo>
                  <a:lnTo>
                    <a:pt x="2574" y="474"/>
                  </a:lnTo>
                  <a:lnTo>
                    <a:pt x="2568" y="474"/>
                  </a:lnTo>
                  <a:lnTo>
                    <a:pt x="2556" y="468"/>
                  </a:lnTo>
                  <a:lnTo>
                    <a:pt x="2520" y="468"/>
                  </a:lnTo>
                  <a:lnTo>
                    <a:pt x="2514" y="474"/>
                  </a:lnTo>
                  <a:lnTo>
                    <a:pt x="2520" y="498"/>
                  </a:lnTo>
                  <a:lnTo>
                    <a:pt x="2526" y="498"/>
                  </a:lnTo>
                  <a:lnTo>
                    <a:pt x="2538" y="492"/>
                  </a:lnTo>
                  <a:lnTo>
                    <a:pt x="2562" y="492"/>
                  </a:lnTo>
                  <a:lnTo>
                    <a:pt x="2568" y="486"/>
                  </a:lnTo>
                  <a:lnTo>
                    <a:pt x="2574" y="486"/>
                  </a:lnTo>
                  <a:close/>
                  <a:moveTo>
                    <a:pt x="336" y="648"/>
                  </a:moveTo>
                  <a:lnTo>
                    <a:pt x="342" y="648"/>
                  </a:lnTo>
                  <a:lnTo>
                    <a:pt x="342" y="636"/>
                  </a:lnTo>
                  <a:lnTo>
                    <a:pt x="330" y="624"/>
                  </a:lnTo>
                  <a:lnTo>
                    <a:pt x="318" y="624"/>
                  </a:lnTo>
                  <a:lnTo>
                    <a:pt x="318" y="636"/>
                  </a:lnTo>
                  <a:lnTo>
                    <a:pt x="330" y="648"/>
                  </a:lnTo>
                  <a:lnTo>
                    <a:pt x="336" y="648"/>
                  </a:lnTo>
                  <a:close/>
                  <a:moveTo>
                    <a:pt x="2472" y="654"/>
                  </a:moveTo>
                  <a:lnTo>
                    <a:pt x="2484" y="648"/>
                  </a:lnTo>
                  <a:lnTo>
                    <a:pt x="2502" y="630"/>
                  </a:lnTo>
                  <a:lnTo>
                    <a:pt x="2502" y="618"/>
                  </a:lnTo>
                  <a:lnTo>
                    <a:pt x="2430" y="612"/>
                  </a:lnTo>
                  <a:lnTo>
                    <a:pt x="2430" y="624"/>
                  </a:lnTo>
                  <a:lnTo>
                    <a:pt x="2436" y="630"/>
                  </a:lnTo>
                  <a:lnTo>
                    <a:pt x="2442" y="642"/>
                  </a:lnTo>
                  <a:lnTo>
                    <a:pt x="2448" y="648"/>
                  </a:lnTo>
                  <a:lnTo>
                    <a:pt x="2460" y="654"/>
                  </a:lnTo>
                  <a:lnTo>
                    <a:pt x="2472" y="654"/>
                  </a:lnTo>
                  <a:close/>
                  <a:moveTo>
                    <a:pt x="2406" y="288"/>
                  </a:moveTo>
                  <a:lnTo>
                    <a:pt x="2418" y="276"/>
                  </a:lnTo>
                  <a:lnTo>
                    <a:pt x="2418" y="264"/>
                  </a:lnTo>
                  <a:lnTo>
                    <a:pt x="2412" y="258"/>
                  </a:lnTo>
                  <a:lnTo>
                    <a:pt x="2400" y="252"/>
                  </a:lnTo>
                  <a:lnTo>
                    <a:pt x="2376" y="252"/>
                  </a:lnTo>
                  <a:lnTo>
                    <a:pt x="2370" y="258"/>
                  </a:lnTo>
                  <a:lnTo>
                    <a:pt x="2370" y="264"/>
                  </a:lnTo>
                  <a:lnTo>
                    <a:pt x="2394" y="288"/>
                  </a:lnTo>
                  <a:lnTo>
                    <a:pt x="2406" y="288"/>
                  </a:lnTo>
                  <a:close/>
                  <a:moveTo>
                    <a:pt x="2868" y="528"/>
                  </a:moveTo>
                  <a:lnTo>
                    <a:pt x="2886" y="534"/>
                  </a:lnTo>
                  <a:lnTo>
                    <a:pt x="2892" y="534"/>
                  </a:lnTo>
                  <a:lnTo>
                    <a:pt x="2898" y="528"/>
                  </a:lnTo>
                  <a:lnTo>
                    <a:pt x="2898" y="522"/>
                  </a:lnTo>
                  <a:lnTo>
                    <a:pt x="2874" y="510"/>
                  </a:lnTo>
                  <a:lnTo>
                    <a:pt x="2868" y="516"/>
                  </a:lnTo>
                  <a:lnTo>
                    <a:pt x="2862" y="516"/>
                  </a:lnTo>
                  <a:lnTo>
                    <a:pt x="2862" y="522"/>
                  </a:lnTo>
                  <a:lnTo>
                    <a:pt x="2868" y="528"/>
                  </a:lnTo>
                  <a:close/>
                  <a:moveTo>
                    <a:pt x="2916" y="618"/>
                  </a:moveTo>
                  <a:lnTo>
                    <a:pt x="2928" y="618"/>
                  </a:lnTo>
                  <a:lnTo>
                    <a:pt x="2940" y="612"/>
                  </a:lnTo>
                  <a:lnTo>
                    <a:pt x="2958" y="612"/>
                  </a:lnTo>
                  <a:lnTo>
                    <a:pt x="2964" y="606"/>
                  </a:lnTo>
                  <a:lnTo>
                    <a:pt x="2970" y="606"/>
                  </a:lnTo>
                  <a:lnTo>
                    <a:pt x="2964" y="606"/>
                  </a:lnTo>
                  <a:lnTo>
                    <a:pt x="2958" y="600"/>
                  </a:lnTo>
                  <a:lnTo>
                    <a:pt x="2946" y="594"/>
                  </a:lnTo>
                  <a:lnTo>
                    <a:pt x="2934" y="594"/>
                  </a:lnTo>
                  <a:lnTo>
                    <a:pt x="2928" y="588"/>
                  </a:lnTo>
                  <a:lnTo>
                    <a:pt x="2922" y="588"/>
                  </a:lnTo>
                  <a:lnTo>
                    <a:pt x="2910" y="594"/>
                  </a:lnTo>
                  <a:lnTo>
                    <a:pt x="2892" y="594"/>
                  </a:lnTo>
                  <a:lnTo>
                    <a:pt x="2886" y="600"/>
                  </a:lnTo>
                  <a:lnTo>
                    <a:pt x="2880" y="600"/>
                  </a:lnTo>
                  <a:lnTo>
                    <a:pt x="2892" y="606"/>
                  </a:lnTo>
                  <a:lnTo>
                    <a:pt x="2898" y="612"/>
                  </a:lnTo>
                  <a:lnTo>
                    <a:pt x="2910" y="618"/>
                  </a:lnTo>
                  <a:lnTo>
                    <a:pt x="2916" y="618"/>
                  </a:lnTo>
                  <a:close/>
                  <a:moveTo>
                    <a:pt x="1710" y="552"/>
                  </a:moveTo>
                  <a:lnTo>
                    <a:pt x="1710" y="564"/>
                  </a:lnTo>
                  <a:lnTo>
                    <a:pt x="1716" y="570"/>
                  </a:lnTo>
                  <a:lnTo>
                    <a:pt x="1716" y="582"/>
                  </a:lnTo>
                  <a:lnTo>
                    <a:pt x="1722" y="594"/>
                  </a:lnTo>
                  <a:lnTo>
                    <a:pt x="1722" y="612"/>
                  </a:lnTo>
                  <a:lnTo>
                    <a:pt x="1716" y="618"/>
                  </a:lnTo>
                  <a:lnTo>
                    <a:pt x="1692" y="630"/>
                  </a:lnTo>
                  <a:lnTo>
                    <a:pt x="1686" y="636"/>
                  </a:lnTo>
                  <a:lnTo>
                    <a:pt x="1674" y="642"/>
                  </a:lnTo>
                  <a:lnTo>
                    <a:pt x="1674" y="678"/>
                  </a:lnTo>
                  <a:lnTo>
                    <a:pt x="1680" y="684"/>
                  </a:lnTo>
                  <a:lnTo>
                    <a:pt x="1686" y="696"/>
                  </a:lnTo>
                  <a:lnTo>
                    <a:pt x="1674" y="708"/>
                  </a:lnTo>
                  <a:lnTo>
                    <a:pt x="1674" y="720"/>
                  </a:lnTo>
                  <a:lnTo>
                    <a:pt x="1680" y="726"/>
                  </a:lnTo>
                  <a:lnTo>
                    <a:pt x="1692" y="732"/>
                  </a:lnTo>
                  <a:lnTo>
                    <a:pt x="1698" y="726"/>
                  </a:lnTo>
                  <a:lnTo>
                    <a:pt x="1722" y="726"/>
                  </a:lnTo>
                  <a:lnTo>
                    <a:pt x="1728" y="732"/>
                  </a:lnTo>
                  <a:lnTo>
                    <a:pt x="1728" y="756"/>
                  </a:lnTo>
                  <a:lnTo>
                    <a:pt x="1722" y="762"/>
                  </a:lnTo>
                  <a:lnTo>
                    <a:pt x="1740" y="780"/>
                  </a:lnTo>
                  <a:lnTo>
                    <a:pt x="1728" y="846"/>
                  </a:lnTo>
                  <a:lnTo>
                    <a:pt x="1710" y="864"/>
                  </a:lnTo>
                  <a:lnTo>
                    <a:pt x="1704" y="876"/>
                  </a:lnTo>
                  <a:lnTo>
                    <a:pt x="1704" y="888"/>
                  </a:lnTo>
                  <a:lnTo>
                    <a:pt x="1710" y="906"/>
                  </a:lnTo>
                  <a:lnTo>
                    <a:pt x="1722" y="924"/>
                  </a:lnTo>
                  <a:lnTo>
                    <a:pt x="1746" y="936"/>
                  </a:lnTo>
                  <a:lnTo>
                    <a:pt x="1764" y="930"/>
                  </a:lnTo>
                  <a:lnTo>
                    <a:pt x="1788" y="906"/>
                  </a:lnTo>
                  <a:lnTo>
                    <a:pt x="1788" y="864"/>
                  </a:lnTo>
                  <a:lnTo>
                    <a:pt x="1782" y="858"/>
                  </a:lnTo>
                  <a:lnTo>
                    <a:pt x="1776" y="846"/>
                  </a:lnTo>
                  <a:lnTo>
                    <a:pt x="1800" y="822"/>
                  </a:lnTo>
                  <a:lnTo>
                    <a:pt x="1806" y="804"/>
                  </a:lnTo>
                  <a:lnTo>
                    <a:pt x="1806" y="774"/>
                  </a:lnTo>
                  <a:lnTo>
                    <a:pt x="1812" y="756"/>
                  </a:lnTo>
                  <a:lnTo>
                    <a:pt x="1812" y="726"/>
                  </a:lnTo>
                  <a:lnTo>
                    <a:pt x="1806" y="714"/>
                  </a:lnTo>
                  <a:lnTo>
                    <a:pt x="1800" y="696"/>
                  </a:lnTo>
                  <a:lnTo>
                    <a:pt x="1794" y="684"/>
                  </a:lnTo>
                  <a:lnTo>
                    <a:pt x="1794" y="636"/>
                  </a:lnTo>
                  <a:lnTo>
                    <a:pt x="1800" y="630"/>
                  </a:lnTo>
                  <a:lnTo>
                    <a:pt x="1800" y="624"/>
                  </a:lnTo>
                  <a:lnTo>
                    <a:pt x="1806" y="618"/>
                  </a:lnTo>
                  <a:lnTo>
                    <a:pt x="1812" y="618"/>
                  </a:lnTo>
                  <a:lnTo>
                    <a:pt x="1818" y="624"/>
                  </a:lnTo>
                  <a:lnTo>
                    <a:pt x="1824" y="642"/>
                  </a:lnTo>
                  <a:lnTo>
                    <a:pt x="1830" y="666"/>
                  </a:lnTo>
                  <a:lnTo>
                    <a:pt x="1836" y="684"/>
                  </a:lnTo>
                  <a:lnTo>
                    <a:pt x="1836" y="702"/>
                  </a:lnTo>
                  <a:lnTo>
                    <a:pt x="1866" y="738"/>
                  </a:lnTo>
                  <a:lnTo>
                    <a:pt x="1866" y="792"/>
                  </a:lnTo>
                  <a:lnTo>
                    <a:pt x="1890" y="822"/>
                  </a:lnTo>
                  <a:lnTo>
                    <a:pt x="1890" y="858"/>
                  </a:lnTo>
                  <a:lnTo>
                    <a:pt x="1902" y="930"/>
                  </a:lnTo>
                  <a:lnTo>
                    <a:pt x="1920" y="918"/>
                  </a:lnTo>
                  <a:lnTo>
                    <a:pt x="1962" y="930"/>
                  </a:lnTo>
                  <a:lnTo>
                    <a:pt x="1962" y="870"/>
                  </a:lnTo>
                  <a:lnTo>
                    <a:pt x="1968" y="864"/>
                  </a:lnTo>
                  <a:lnTo>
                    <a:pt x="1974" y="852"/>
                  </a:lnTo>
                  <a:lnTo>
                    <a:pt x="1980" y="876"/>
                  </a:lnTo>
                  <a:lnTo>
                    <a:pt x="1998" y="876"/>
                  </a:lnTo>
                  <a:lnTo>
                    <a:pt x="2004" y="870"/>
                  </a:lnTo>
                  <a:lnTo>
                    <a:pt x="2010" y="858"/>
                  </a:lnTo>
                  <a:lnTo>
                    <a:pt x="2010" y="828"/>
                  </a:lnTo>
                  <a:lnTo>
                    <a:pt x="2004" y="822"/>
                  </a:lnTo>
                  <a:lnTo>
                    <a:pt x="2004" y="816"/>
                  </a:lnTo>
                  <a:lnTo>
                    <a:pt x="1992" y="810"/>
                  </a:lnTo>
                  <a:lnTo>
                    <a:pt x="1986" y="798"/>
                  </a:lnTo>
                  <a:lnTo>
                    <a:pt x="1974" y="792"/>
                  </a:lnTo>
                  <a:lnTo>
                    <a:pt x="1962" y="780"/>
                  </a:lnTo>
                  <a:lnTo>
                    <a:pt x="1956" y="768"/>
                  </a:lnTo>
                  <a:lnTo>
                    <a:pt x="1944" y="756"/>
                  </a:lnTo>
                  <a:lnTo>
                    <a:pt x="1944" y="750"/>
                  </a:lnTo>
                  <a:lnTo>
                    <a:pt x="1956" y="726"/>
                  </a:lnTo>
                  <a:lnTo>
                    <a:pt x="1968" y="720"/>
                  </a:lnTo>
                  <a:lnTo>
                    <a:pt x="1968" y="708"/>
                  </a:lnTo>
                  <a:lnTo>
                    <a:pt x="1962" y="696"/>
                  </a:lnTo>
                  <a:lnTo>
                    <a:pt x="1938" y="684"/>
                  </a:lnTo>
                  <a:lnTo>
                    <a:pt x="1932" y="672"/>
                  </a:lnTo>
                  <a:lnTo>
                    <a:pt x="1932" y="642"/>
                  </a:lnTo>
                  <a:lnTo>
                    <a:pt x="1938" y="636"/>
                  </a:lnTo>
                  <a:lnTo>
                    <a:pt x="1938" y="630"/>
                  </a:lnTo>
                  <a:lnTo>
                    <a:pt x="1926" y="618"/>
                  </a:lnTo>
                  <a:lnTo>
                    <a:pt x="1914" y="612"/>
                  </a:lnTo>
                  <a:lnTo>
                    <a:pt x="1896" y="594"/>
                  </a:lnTo>
                  <a:lnTo>
                    <a:pt x="1884" y="588"/>
                  </a:lnTo>
                  <a:lnTo>
                    <a:pt x="1878" y="582"/>
                  </a:lnTo>
                  <a:lnTo>
                    <a:pt x="1914" y="582"/>
                  </a:lnTo>
                  <a:lnTo>
                    <a:pt x="1926" y="576"/>
                  </a:lnTo>
                  <a:lnTo>
                    <a:pt x="1932" y="570"/>
                  </a:lnTo>
                  <a:lnTo>
                    <a:pt x="1944" y="546"/>
                  </a:lnTo>
                  <a:lnTo>
                    <a:pt x="1950" y="540"/>
                  </a:lnTo>
                  <a:lnTo>
                    <a:pt x="1956" y="528"/>
                  </a:lnTo>
                  <a:lnTo>
                    <a:pt x="1992" y="528"/>
                  </a:lnTo>
                  <a:lnTo>
                    <a:pt x="2004" y="522"/>
                  </a:lnTo>
                  <a:lnTo>
                    <a:pt x="2010" y="522"/>
                  </a:lnTo>
                  <a:lnTo>
                    <a:pt x="2016" y="516"/>
                  </a:lnTo>
                  <a:lnTo>
                    <a:pt x="2016" y="504"/>
                  </a:lnTo>
                  <a:lnTo>
                    <a:pt x="1998" y="486"/>
                  </a:lnTo>
                  <a:lnTo>
                    <a:pt x="1986" y="480"/>
                  </a:lnTo>
                  <a:lnTo>
                    <a:pt x="1974" y="486"/>
                  </a:lnTo>
                  <a:lnTo>
                    <a:pt x="1956" y="504"/>
                  </a:lnTo>
                  <a:lnTo>
                    <a:pt x="1956" y="510"/>
                  </a:lnTo>
                  <a:lnTo>
                    <a:pt x="1944" y="510"/>
                  </a:lnTo>
                  <a:lnTo>
                    <a:pt x="1932" y="504"/>
                  </a:lnTo>
                  <a:lnTo>
                    <a:pt x="1896" y="504"/>
                  </a:lnTo>
                  <a:lnTo>
                    <a:pt x="1890" y="510"/>
                  </a:lnTo>
                  <a:lnTo>
                    <a:pt x="1884" y="522"/>
                  </a:lnTo>
                  <a:lnTo>
                    <a:pt x="1854" y="552"/>
                  </a:lnTo>
                  <a:lnTo>
                    <a:pt x="1848" y="546"/>
                  </a:lnTo>
                  <a:lnTo>
                    <a:pt x="1836" y="540"/>
                  </a:lnTo>
                  <a:lnTo>
                    <a:pt x="1824" y="516"/>
                  </a:lnTo>
                  <a:lnTo>
                    <a:pt x="1788" y="498"/>
                  </a:lnTo>
                  <a:lnTo>
                    <a:pt x="1776" y="498"/>
                  </a:lnTo>
                  <a:lnTo>
                    <a:pt x="1776" y="486"/>
                  </a:lnTo>
                  <a:lnTo>
                    <a:pt x="1782" y="468"/>
                  </a:lnTo>
                  <a:lnTo>
                    <a:pt x="1782" y="456"/>
                  </a:lnTo>
                  <a:lnTo>
                    <a:pt x="1794" y="420"/>
                  </a:lnTo>
                  <a:lnTo>
                    <a:pt x="1806" y="408"/>
                  </a:lnTo>
                  <a:lnTo>
                    <a:pt x="1824" y="408"/>
                  </a:lnTo>
                  <a:lnTo>
                    <a:pt x="1842" y="414"/>
                  </a:lnTo>
                  <a:lnTo>
                    <a:pt x="1896" y="414"/>
                  </a:lnTo>
                  <a:lnTo>
                    <a:pt x="1902" y="408"/>
                  </a:lnTo>
                  <a:lnTo>
                    <a:pt x="1908" y="408"/>
                  </a:lnTo>
                  <a:lnTo>
                    <a:pt x="1908" y="402"/>
                  </a:lnTo>
                  <a:lnTo>
                    <a:pt x="1914" y="396"/>
                  </a:lnTo>
                  <a:lnTo>
                    <a:pt x="1920" y="396"/>
                  </a:lnTo>
                  <a:lnTo>
                    <a:pt x="1944" y="402"/>
                  </a:lnTo>
                  <a:lnTo>
                    <a:pt x="1980" y="420"/>
                  </a:lnTo>
                  <a:lnTo>
                    <a:pt x="2010" y="432"/>
                  </a:lnTo>
                  <a:lnTo>
                    <a:pt x="2034" y="438"/>
                  </a:lnTo>
                  <a:lnTo>
                    <a:pt x="2040" y="438"/>
                  </a:lnTo>
                  <a:lnTo>
                    <a:pt x="2052" y="432"/>
                  </a:lnTo>
                  <a:lnTo>
                    <a:pt x="2064" y="420"/>
                  </a:lnTo>
                  <a:lnTo>
                    <a:pt x="2082" y="420"/>
                  </a:lnTo>
                  <a:lnTo>
                    <a:pt x="2094" y="414"/>
                  </a:lnTo>
                  <a:lnTo>
                    <a:pt x="2106" y="414"/>
                  </a:lnTo>
                  <a:lnTo>
                    <a:pt x="2112" y="408"/>
                  </a:lnTo>
                  <a:lnTo>
                    <a:pt x="2112" y="402"/>
                  </a:lnTo>
                  <a:lnTo>
                    <a:pt x="2106" y="396"/>
                  </a:lnTo>
                  <a:lnTo>
                    <a:pt x="2106" y="390"/>
                  </a:lnTo>
                  <a:lnTo>
                    <a:pt x="2118" y="378"/>
                  </a:lnTo>
                  <a:lnTo>
                    <a:pt x="2142" y="366"/>
                  </a:lnTo>
                  <a:lnTo>
                    <a:pt x="2148" y="360"/>
                  </a:lnTo>
                  <a:lnTo>
                    <a:pt x="2160" y="354"/>
                  </a:lnTo>
                  <a:lnTo>
                    <a:pt x="2148" y="324"/>
                  </a:lnTo>
                  <a:lnTo>
                    <a:pt x="2070" y="360"/>
                  </a:lnTo>
                  <a:lnTo>
                    <a:pt x="2076" y="366"/>
                  </a:lnTo>
                  <a:lnTo>
                    <a:pt x="2076" y="372"/>
                  </a:lnTo>
                  <a:lnTo>
                    <a:pt x="2070" y="378"/>
                  </a:lnTo>
                  <a:lnTo>
                    <a:pt x="2046" y="378"/>
                  </a:lnTo>
                  <a:lnTo>
                    <a:pt x="2022" y="366"/>
                  </a:lnTo>
                  <a:lnTo>
                    <a:pt x="2004" y="366"/>
                  </a:lnTo>
                  <a:lnTo>
                    <a:pt x="1968" y="384"/>
                  </a:lnTo>
                  <a:lnTo>
                    <a:pt x="1950" y="384"/>
                  </a:lnTo>
                  <a:lnTo>
                    <a:pt x="1938" y="378"/>
                  </a:lnTo>
                  <a:lnTo>
                    <a:pt x="1926" y="378"/>
                  </a:lnTo>
                  <a:lnTo>
                    <a:pt x="1902" y="366"/>
                  </a:lnTo>
                  <a:lnTo>
                    <a:pt x="1860" y="366"/>
                  </a:lnTo>
                  <a:lnTo>
                    <a:pt x="1872" y="348"/>
                  </a:lnTo>
                  <a:lnTo>
                    <a:pt x="1860" y="348"/>
                  </a:lnTo>
                  <a:lnTo>
                    <a:pt x="1848" y="342"/>
                  </a:lnTo>
                  <a:lnTo>
                    <a:pt x="1824" y="342"/>
                  </a:lnTo>
                  <a:lnTo>
                    <a:pt x="1824" y="366"/>
                  </a:lnTo>
                  <a:lnTo>
                    <a:pt x="1812" y="378"/>
                  </a:lnTo>
                  <a:lnTo>
                    <a:pt x="1788" y="390"/>
                  </a:lnTo>
                  <a:lnTo>
                    <a:pt x="1764" y="390"/>
                  </a:lnTo>
                  <a:lnTo>
                    <a:pt x="1758" y="396"/>
                  </a:lnTo>
                  <a:lnTo>
                    <a:pt x="1758" y="426"/>
                  </a:lnTo>
                  <a:lnTo>
                    <a:pt x="1740" y="432"/>
                  </a:lnTo>
                  <a:lnTo>
                    <a:pt x="1752" y="498"/>
                  </a:lnTo>
                  <a:lnTo>
                    <a:pt x="1740" y="498"/>
                  </a:lnTo>
                  <a:lnTo>
                    <a:pt x="1734" y="510"/>
                  </a:lnTo>
                  <a:lnTo>
                    <a:pt x="1728" y="516"/>
                  </a:lnTo>
                  <a:lnTo>
                    <a:pt x="1710" y="552"/>
                  </a:lnTo>
                  <a:close/>
                  <a:moveTo>
                    <a:pt x="1986" y="576"/>
                  </a:moveTo>
                  <a:lnTo>
                    <a:pt x="1986" y="594"/>
                  </a:lnTo>
                  <a:lnTo>
                    <a:pt x="1992" y="600"/>
                  </a:lnTo>
                  <a:lnTo>
                    <a:pt x="2004" y="600"/>
                  </a:lnTo>
                  <a:lnTo>
                    <a:pt x="2016" y="588"/>
                  </a:lnTo>
                  <a:lnTo>
                    <a:pt x="2016" y="576"/>
                  </a:lnTo>
                  <a:lnTo>
                    <a:pt x="1986" y="576"/>
                  </a:lnTo>
                  <a:close/>
                  <a:moveTo>
                    <a:pt x="1686" y="1110"/>
                  </a:moveTo>
                  <a:lnTo>
                    <a:pt x="1674" y="1110"/>
                  </a:lnTo>
                  <a:lnTo>
                    <a:pt x="1668" y="1116"/>
                  </a:lnTo>
                  <a:lnTo>
                    <a:pt x="1662" y="1116"/>
                  </a:lnTo>
                  <a:lnTo>
                    <a:pt x="1614" y="1104"/>
                  </a:lnTo>
                  <a:lnTo>
                    <a:pt x="1644" y="1146"/>
                  </a:lnTo>
                  <a:lnTo>
                    <a:pt x="1650" y="1152"/>
                  </a:lnTo>
                  <a:lnTo>
                    <a:pt x="1662" y="1158"/>
                  </a:lnTo>
                  <a:lnTo>
                    <a:pt x="1668" y="1164"/>
                  </a:lnTo>
                  <a:lnTo>
                    <a:pt x="1680" y="1170"/>
                  </a:lnTo>
                  <a:lnTo>
                    <a:pt x="1692" y="1158"/>
                  </a:lnTo>
                  <a:lnTo>
                    <a:pt x="1698" y="1140"/>
                  </a:lnTo>
                  <a:lnTo>
                    <a:pt x="1698" y="1128"/>
                  </a:lnTo>
                  <a:lnTo>
                    <a:pt x="1692" y="1116"/>
                  </a:lnTo>
                  <a:lnTo>
                    <a:pt x="1686" y="1110"/>
                  </a:lnTo>
                  <a:close/>
                  <a:moveTo>
                    <a:pt x="2094" y="1104"/>
                  </a:moveTo>
                  <a:lnTo>
                    <a:pt x="2064" y="1128"/>
                  </a:lnTo>
                  <a:lnTo>
                    <a:pt x="2094" y="1134"/>
                  </a:lnTo>
                  <a:lnTo>
                    <a:pt x="2094" y="1104"/>
                  </a:lnTo>
                  <a:close/>
                  <a:moveTo>
                    <a:pt x="486" y="294"/>
                  </a:moveTo>
                  <a:lnTo>
                    <a:pt x="474" y="288"/>
                  </a:lnTo>
                  <a:lnTo>
                    <a:pt x="468" y="288"/>
                  </a:lnTo>
                  <a:lnTo>
                    <a:pt x="456" y="294"/>
                  </a:lnTo>
                  <a:lnTo>
                    <a:pt x="456" y="312"/>
                  </a:lnTo>
                  <a:lnTo>
                    <a:pt x="468" y="324"/>
                  </a:lnTo>
                  <a:lnTo>
                    <a:pt x="474" y="318"/>
                  </a:lnTo>
                  <a:lnTo>
                    <a:pt x="486" y="318"/>
                  </a:lnTo>
                  <a:lnTo>
                    <a:pt x="486" y="312"/>
                  </a:lnTo>
                  <a:lnTo>
                    <a:pt x="492" y="300"/>
                  </a:lnTo>
                  <a:lnTo>
                    <a:pt x="486" y="294"/>
                  </a:lnTo>
                  <a:close/>
                  <a:moveTo>
                    <a:pt x="2346" y="588"/>
                  </a:moveTo>
                  <a:lnTo>
                    <a:pt x="2340" y="576"/>
                  </a:lnTo>
                  <a:lnTo>
                    <a:pt x="2328" y="570"/>
                  </a:lnTo>
                  <a:lnTo>
                    <a:pt x="2310" y="552"/>
                  </a:lnTo>
                  <a:lnTo>
                    <a:pt x="2304" y="552"/>
                  </a:lnTo>
                  <a:lnTo>
                    <a:pt x="2304" y="600"/>
                  </a:lnTo>
                  <a:lnTo>
                    <a:pt x="2316" y="600"/>
                  </a:lnTo>
                  <a:lnTo>
                    <a:pt x="2328" y="606"/>
                  </a:lnTo>
                  <a:lnTo>
                    <a:pt x="2334" y="606"/>
                  </a:lnTo>
                  <a:lnTo>
                    <a:pt x="2346" y="600"/>
                  </a:lnTo>
                  <a:lnTo>
                    <a:pt x="2346" y="588"/>
                  </a:lnTo>
                  <a:close/>
                  <a:moveTo>
                    <a:pt x="2310" y="474"/>
                  </a:moveTo>
                  <a:lnTo>
                    <a:pt x="2340" y="504"/>
                  </a:lnTo>
                  <a:lnTo>
                    <a:pt x="2358" y="516"/>
                  </a:lnTo>
                  <a:lnTo>
                    <a:pt x="2382" y="528"/>
                  </a:lnTo>
                  <a:lnTo>
                    <a:pt x="2400" y="528"/>
                  </a:lnTo>
                  <a:lnTo>
                    <a:pt x="2400" y="522"/>
                  </a:lnTo>
                  <a:lnTo>
                    <a:pt x="2358" y="480"/>
                  </a:lnTo>
                  <a:lnTo>
                    <a:pt x="2358" y="468"/>
                  </a:lnTo>
                  <a:lnTo>
                    <a:pt x="2364" y="456"/>
                  </a:lnTo>
                  <a:lnTo>
                    <a:pt x="2376" y="450"/>
                  </a:lnTo>
                  <a:lnTo>
                    <a:pt x="2394" y="450"/>
                  </a:lnTo>
                  <a:lnTo>
                    <a:pt x="2406" y="456"/>
                  </a:lnTo>
                  <a:lnTo>
                    <a:pt x="2424" y="444"/>
                  </a:lnTo>
                  <a:lnTo>
                    <a:pt x="2400" y="432"/>
                  </a:lnTo>
                  <a:lnTo>
                    <a:pt x="2412" y="426"/>
                  </a:lnTo>
                  <a:lnTo>
                    <a:pt x="2424" y="402"/>
                  </a:lnTo>
                  <a:lnTo>
                    <a:pt x="2412" y="378"/>
                  </a:lnTo>
                  <a:lnTo>
                    <a:pt x="2400" y="372"/>
                  </a:lnTo>
                  <a:lnTo>
                    <a:pt x="2382" y="372"/>
                  </a:lnTo>
                  <a:lnTo>
                    <a:pt x="2358" y="396"/>
                  </a:lnTo>
                  <a:lnTo>
                    <a:pt x="2346" y="402"/>
                  </a:lnTo>
                  <a:lnTo>
                    <a:pt x="2340" y="408"/>
                  </a:lnTo>
                  <a:lnTo>
                    <a:pt x="2334" y="408"/>
                  </a:lnTo>
                  <a:lnTo>
                    <a:pt x="2328" y="402"/>
                  </a:lnTo>
                  <a:lnTo>
                    <a:pt x="2328" y="366"/>
                  </a:lnTo>
                  <a:lnTo>
                    <a:pt x="2334" y="360"/>
                  </a:lnTo>
                  <a:lnTo>
                    <a:pt x="2346" y="336"/>
                  </a:lnTo>
                  <a:lnTo>
                    <a:pt x="2346" y="318"/>
                  </a:lnTo>
                  <a:lnTo>
                    <a:pt x="2340" y="312"/>
                  </a:lnTo>
                  <a:lnTo>
                    <a:pt x="2358" y="276"/>
                  </a:lnTo>
                  <a:lnTo>
                    <a:pt x="2316" y="312"/>
                  </a:lnTo>
                  <a:lnTo>
                    <a:pt x="2316" y="342"/>
                  </a:lnTo>
                  <a:lnTo>
                    <a:pt x="2304" y="348"/>
                  </a:lnTo>
                  <a:lnTo>
                    <a:pt x="2298" y="354"/>
                  </a:lnTo>
                  <a:lnTo>
                    <a:pt x="2286" y="378"/>
                  </a:lnTo>
                  <a:lnTo>
                    <a:pt x="2286" y="408"/>
                  </a:lnTo>
                  <a:lnTo>
                    <a:pt x="2298" y="420"/>
                  </a:lnTo>
                  <a:lnTo>
                    <a:pt x="2304" y="432"/>
                  </a:lnTo>
                  <a:lnTo>
                    <a:pt x="2310" y="438"/>
                  </a:lnTo>
                  <a:lnTo>
                    <a:pt x="2310" y="444"/>
                  </a:lnTo>
                  <a:lnTo>
                    <a:pt x="2304" y="450"/>
                  </a:lnTo>
                  <a:lnTo>
                    <a:pt x="2304" y="468"/>
                  </a:lnTo>
                  <a:lnTo>
                    <a:pt x="2310" y="474"/>
                  </a:lnTo>
                  <a:close/>
                  <a:moveTo>
                    <a:pt x="2250" y="708"/>
                  </a:moveTo>
                  <a:lnTo>
                    <a:pt x="2238" y="696"/>
                  </a:lnTo>
                  <a:lnTo>
                    <a:pt x="2214" y="708"/>
                  </a:lnTo>
                  <a:lnTo>
                    <a:pt x="2214" y="732"/>
                  </a:lnTo>
                  <a:lnTo>
                    <a:pt x="2220" y="744"/>
                  </a:lnTo>
                  <a:lnTo>
                    <a:pt x="2226" y="750"/>
                  </a:lnTo>
                  <a:lnTo>
                    <a:pt x="2250" y="762"/>
                  </a:lnTo>
                  <a:lnTo>
                    <a:pt x="2274" y="762"/>
                  </a:lnTo>
                  <a:lnTo>
                    <a:pt x="2280" y="750"/>
                  </a:lnTo>
                  <a:lnTo>
                    <a:pt x="2280" y="738"/>
                  </a:lnTo>
                  <a:lnTo>
                    <a:pt x="2274" y="726"/>
                  </a:lnTo>
                  <a:lnTo>
                    <a:pt x="2274" y="714"/>
                  </a:lnTo>
                  <a:lnTo>
                    <a:pt x="2268" y="708"/>
                  </a:lnTo>
                  <a:lnTo>
                    <a:pt x="2268" y="702"/>
                  </a:lnTo>
                  <a:lnTo>
                    <a:pt x="2250" y="708"/>
                  </a:lnTo>
                  <a:close/>
                  <a:moveTo>
                    <a:pt x="2148" y="1104"/>
                  </a:moveTo>
                  <a:lnTo>
                    <a:pt x="2226" y="1092"/>
                  </a:lnTo>
                  <a:lnTo>
                    <a:pt x="2166" y="1074"/>
                  </a:lnTo>
                  <a:lnTo>
                    <a:pt x="2148" y="1104"/>
                  </a:lnTo>
                  <a:close/>
                  <a:moveTo>
                    <a:pt x="2544" y="750"/>
                  </a:moveTo>
                  <a:lnTo>
                    <a:pt x="2520" y="732"/>
                  </a:lnTo>
                  <a:lnTo>
                    <a:pt x="2526" y="714"/>
                  </a:lnTo>
                  <a:lnTo>
                    <a:pt x="2514" y="702"/>
                  </a:lnTo>
                  <a:lnTo>
                    <a:pt x="2508" y="690"/>
                  </a:lnTo>
                  <a:lnTo>
                    <a:pt x="2490" y="684"/>
                  </a:lnTo>
                  <a:lnTo>
                    <a:pt x="2472" y="672"/>
                  </a:lnTo>
                  <a:lnTo>
                    <a:pt x="2442" y="666"/>
                  </a:lnTo>
                  <a:lnTo>
                    <a:pt x="2424" y="666"/>
                  </a:lnTo>
                  <a:lnTo>
                    <a:pt x="2388" y="684"/>
                  </a:lnTo>
                  <a:lnTo>
                    <a:pt x="2358" y="684"/>
                  </a:lnTo>
                  <a:lnTo>
                    <a:pt x="2346" y="696"/>
                  </a:lnTo>
                  <a:lnTo>
                    <a:pt x="2340" y="708"/>
                  </a:lnTo>
                  <a:lnTo>
                    <a:pt x="2340" y="726"/>
                  </a:lnTo>
                  <a:lnTo>
                    <a:pt x="2346" y="732"/>
                  </a:lnTo>
                  <a:lnTo>
                    <a:pt x="2364" y="714"/>
                  </a:lnTo>
                  <a:lnTo>
                    <a:pt x="2364" y="726"/>
                  </a:lnTo>
                  <a:lnTo>
                    <a:pt x="2370" y="738"/>
                  </a:lnTo>
                  <a:lnTo>
                    <a:pt x="2376" y="744"/>
                  </a:lnTo>
                  <a:lnTo>
                    <a:pt x="2388" y="738"/>
                  </a:lnTo>
                  <a:lnTo>
                    <a:pt x="2394" y="732"/>
                  </a:lnTo>
                  <a:lnTo>
                    <a:pt x="2394" y="726"/>
                  </a:lnTo>
                  <a:lnTo>
                    <a:pt x="2400" y="720"/>
                  </a:lnTo>
                  <a:lnTo>
                    <a:pt x="2400" y="714"/>
                  </a:lnTo>
                  <a:lnTo>
                    <a:pt x="2406" y="726"/>
                  </a:lnTo>
                  <a:lnTo>
                    <a:pt x="2418" y="732"/>
                  </a:lnTo>
                  <a:lnTo>
                    <a:pt x="2430" y="732"/>
                  </a:lnTo>
                  <a:lnTo>
                    <a:pt x="2442" y="720"/>
                  </a:lnTo>
                  <a:lnTo>
                    <a:pt x="2454" y="714"/>
                  </a:lnTo>
                  <a:lnTo>
                    <a:pt x="2460" y="708"/>
                  </a:lnTo>
                  <a:lnTo>
                    <a:pt x="2472" y="762"/>
                  </a:lnTo>
                  <a:lnTo>
                    <a:pt x="2502" y="738"/>
                  </a:lnTo>
                  <a:lnTo>
                    <a:pt x="2538" y="774"/>
                  </a:lnTo>
                  <a:lnTo>
                    <a:pt x="2544" y="750"/>
                  </a:lnTo>
                  <a:close/>
                  <a:moveTo>
                    <a:pt x="3264" y="678"/>
                  </a:moveTo>
                  <a:lnTo>
                    <a:pt x="3222" y="648"/>
                  </a:lnTo>
                  <a:lnTo>
                    <a:pt x="3210" y="648"/>
                  </a:lnTo>
                  <a:lnTo>
                    <a:pt x="3198" y="654"/>
                  </a:lnTo>
                  <a:lnTo>
                    <a:pt x="3180" y="654"/>
                  </a:lnTo>
                  <a:lnTo>
                    <a:pt x="3162" y="648"/>
                  </a:lnTo>
                  <a:lnTo>
                    <a:pt x="3126" y="630"/>
                  </a:lnTo>
                  <a:lnTo>
                    <a:pt x="3096" y="612"/>
                  </a:lnTo>
                  <a:lnTo>
                    <a:pt x="3060" y="594"/>
                  </a:lnTo>
                  <a:lnTo>
                    <a:pt x="3042" y="582"/>
                  </a:lnTo>
                  <a:lnTo>
                    <a:pt x="3030" y="582"/>
                  </a:lnTo>
                  <a:lnTo>
                    <a:pt x="3006" y="594"/>
                  </a:lnTo>
                  <a:lnTo>
                    <a:pt x="3000" y="600"/>
                  </a:lnTo>
                  <a:lnTo>
                    <a:pt x="2988" y="606"/>
                  </a:lnTo>
                  <a:lnTo>
                    <a:pt x="3006" y="630"/>
                  </a:lnTo>
                  <a:lnTo>
                    <a:pt x="2928" y="642"/>
                  </a:lnTo>
                  <a:lnTo>
                    <a:pt x="2934" y="666"/>
                  </a:lnTo>
                  <a:lnTo>
                    <a:pt x="2928" y="678"/>
                  </a:lnTo>
                  <a:lnTo>
                    <a:pt x="2922" y="684"/>
                  </a:lnTo>
                  <a:lnTo>
                    <a:pt x="2916" y="696"/>
                  </a:lnTo>
                  <a:lnTo>
                    <a:pt x="2880" y="720"/>
                  </a:lnTo>
                  <a:lnTo>
                    <a:pt x="2862" y="726"/>
                  </a:lnTo>
                  <a:lnTo>
                    <a:pt x="2844" y="726"/>
                  </a:lnTo>
                  <a:lnTo>
                    <a:pt x="2832" y="720"/>
                  </a:lnTo>
                  <a:lnTo>
                    <a:pt x="2826" y="714"/>
                  </a:lnTo>
                  <a:lnTo>
                    <a:pt x="2820" y="702"/>
                  </a:lnTo>
                  <a:lnTo>
                    <a:pt x="2820" y="678"/>
                  </a:lnTo>
                  <a:lnTo>
                    <a:pt x="2814" y="672"/>
                  </a:lnTo>
                  <a:lnTo>
                    <a:pt x="2814" y="660"/>
                  </a:lnTo>
                  <a:lnTo>
                    <a:pt x="2808" y="666"/>
                  </a:lnTo>
                  <a:lnTo>
                    <a:pt x="2808" y="672"/>
                  </a:lnTo>
                  <a:lnTo>
                    <a:pt x="2802" y="684"/>
                  </a:lnTo>
                  <a:lnTo>
                    <a:pt x="2796" y="690"/>
                  </a:lnTo>
                  <a:lnTo>
                    <a:pt x="2796" y="696"/>
                  </a:lnTo>
                  <a:lnTo>
                    <a:pt x="2796" y="690"/>
                  </a:lnTo>
                  <a:lnTo>
                    <a:pt x="2790" y="684"/>
                  </a:lnTo>
                  <a:lnTo>
                    <a:pt x="2790" y="672"/>
                  </a:lnTo>
                  <a:lnTo>
                    <a:pt x="2784" y="660"/>
                  </a:lnTo>
                  <a:lnTo>
                    <a:pt x="2784" y="576"/>
                  </a:lnTo>
                  <a:lnTo>
                    <a:pt x="2778" y="558"/>
                  </a:lnTo>
                  <a:lnTo>
                    <a:pt x="2760" y="522"/>
                  </a:lnTo>
                  <a:lnTo>
                    <a:pt x="2724" y="522"/>
                  </a:lnTo>
                  <a:lnTo>
                    <a:pt x="2718" y="510"/>
                  </a:lnTo>
                  <a:lnTo>
                    <a:pt x="2694" y="498"/>
                  </a:lnTo>
                  <a:lnTo>
                    <a:pt x="2676" y="486"/>
                  </a:lnTo>
                  <a:lnTo>
                    <a:pt x="2652" y="486"/>
                  </a:lnTo>
                  <a:lnTo>
                    <a:pt x="2634" y="498"/>
                  </a:lnTo>
                  <a:lnTo>
                    <a:pt x="2628" y="504"/>
                  </a:lnTo>
                  <a:lnTo>
                    <a:pt x="2616" y="510"/>
                  </a:lnTo>
                  <a:lnTo>
                    <a:pt x="2610" y="522"/>
                  </a:lnTo>
                  <a:lnTo>
                    <a:pt x="2586" y="528"/>
                  </a:lnTo>
                  <a:lnTo>
                    <a:pt x="2580" y="546"/>
                  </a:lnTo>
                  <a:lnTo>
                    <a:pt x="2562" y="558"/>
                  </a:lnTo>
                  <a:lnTo>
                    <a:pt x="2562" y="540"/>
                  </a:lnTo>
                  <a:lnTo>
                    <a:pt x="2556" y="534"/>
                  </a:lnTo>
                  <a:lnTo>
                    <a:pt x="2532" y="534"/>
                  </a:lnTo>
                  <a:lnTo>
                    <a:pt x="2532" y="546"/>
                  </a:lnTo>
                  <a:lnTo>
                    <a:pt x="2544" y="570"/>
                  </a:lnTo>
                  <a:lnTo>
                    <a:pt x="2568" y="582"/>
                  </a:lnTo>
                  <a:lnTo>
                    <a:pt x="2604" y="582"/>
                  </a:lnTo>
                  <a:lnTo>
                    <a:pt x="2616" y="588"/>
                  </a:lnTo>
                  <a:lnTo>
                    <a:pt x="2622" y="594"/>
                  </a:lnTo>
                  <a:lnTo>
                    <a:pt x="2628" y="594"/>
                  </a:lnTo>
                  <a:lnTo>
                    <a:pt x="2628" y="618"/>
                  </a:lnTo>
                  <a:lnTo>
                    <a:pt x="2634" y="630"/>
                  </a:lnTo>
                  <a:lnTo>
                    <a:pt x="2640" y="636"/>
                  </a:lnTo>
                  <a:lnTo>
                    <a:pt x="2652" y="642"/>
                  </a:lnTo>
                  <a:lnTo>
                    <a:pt x="2694" y="642"/>
                  </a:lnTo>
                  <a:lnTo>
                    <a:pt x="2712" y="636"/>
                  </a:lnTo>
                  <a:lnTo>
                    <a:pt x="2754" y="636"/>
                  </a:lnTo>
                  <a:lnTo>
                    <a:pt x="2760" y="642"/>
                  </a:lnTo>
                  <a:lnTo>
                    <a:pt x="2760" y="660"/>
                  </a:lnTo>
                  <a:lnTo>
                    <a:pt x="2700" y="660"/>
                  </a:lnTo>
                  <a:lnTo>
                    <a:pt x="2688" y="666"/>
                  </a:lnTo>
                  <a:lnTo>
                    <a:pt x="2676" y="678"/>
                  </a:lnTo>
                  <a:lnTo>
                    <a:pt x="2640" y="678"/>
                  </a:lnTo>
                  <a:lnTo>
                    <a:pt x="2616" y="690"/>
                  </a:lnTo>
                  <a:lnTo>
                    <a:pt x="2616" y="696"/>
                  </a:lnTo>
                  <a:lnTo>
                    <a:pt x="2622" y="696"/>
                  </a:lnTo>
                  <a:lnTo>
                    <a:pt x="2646" y="708"/>
                  </a:lnTo>
                  <a:lnTo>
                    <a:pt x="2658" y="708"/>
                  </a:lnTo>
                  <a:lnTo>
                    <a:pt x="2676" y="726"/>
                  </a:lnTo>
                  <a:lnTo>
                    <a:pt x="2682" y="738"/>
                  </a:lnTo>
                  <a:lnTo>
                    <a:pt x="2688" y="744"/>
                  </a:lnTo>
                  <a:lnTo>
                    <a:pt x="2682" y="750"/>
                  </a:lnTo>
                  <a:lnTo>
                    <a:pt x="2676" y="762"/>
                  </a:lnTo>
                  <a:lnTo>
                    <a:pt x="2676" y="774"/>
                  </a:lnTo>
                  <a:lnTo>
                    <a:pt x="2670" y="780"/>
                  </a:lnTo>
                  <a:lnTo>
                    <a:pt x="2676" y="792"/>
                  </a:lnTo>
                  <a:lnTo>
                    <a:pt x="2682" y="798"/>
                  </a:lnTo>
                  <a:lnTo>
                    <a:pt x="2694" y="792"/>
                  </a:lnTo>
                  <a:lnTo>
                    <a:pt x="2706" y="780"/>
                  </a:lnTo>
                  <a:lnTo>
                    <a:pt x="2712" y="768"/>
                  </a:lnTo>
                  <a:lnTo>
                    <a:pt x="2718" y="762"/>
                  </a:lnTo>
                  <a:lnTo>
                    <a:pt x="2718" y="750"/>
                  </a:lnTo>
                  <a:lnTo>
                    <a:pt x="2724" y="744"/>
                  </a:lnTo>
                  <a:lnTo>
                    <a:pt x="2736" y="720"/>
                  </a:lnTo>
                  <a:lnTo>
                    <a:pt x="2742" y="714"/>
                  </a:lnTo>
                  <a:lnTo>
                    <a:pt x="2748" y="702"/>
                  </a:lnTo>
                  <a:lnTo>
                    <a:pt x="2748" y="744"/>
                  </a:lnTo>
                  <a:lnTo>
                    <a:pt x="2754" y="750"/>
                  </a:lnTo>
                  <a:lnTo>
                    <a:pt x="2766" y="756"/>
                  </a:lnTo>
                  <a:lnTo>
                    <a:pt x="2772" y="768"/>
                  </a:lnTo>
                  <a:lnTo>
                    <a:pt x="2784" y="774"/>
                  </a:lnTo>
                  <a:lnTo>
                    <a:pt x="2790" y="780"/>
                  </a:lnTo>
                  <a:lnTo>
                    <a:pt x="2814" y="780"/>
                  </a:lnTo>
                  <a:lnTo>
                    <a:pt x="2820" y="774"/>
                  </a:lnTo>
                  <a:lnTo>
                    <a:pt x="2826" y="774"/>
                  </a:lnTo>
                  <a:lnTo>
                    <a:pt x="2814" y="792"/>
                  </a:lnTo>
                  <a:lnTo>
                    <a:pt x="2844" y="822"/>
                  </a:lnTo>
                  <a:lnTo>
                    <a:pt x="2904" y="822"/>
                  </a:lnTo>
                  <a:lnTo>
                    <a:pt x="2940" y="846"/>
                  </a:lnTo>
                  <a:lnTo>
                    <a:pt x="2976" y="864"/>
                  </a:lnTo>
                  <a:lnTo>
                    <a:pt x="3006" y="876"/>
                  </a:lnTo>
                  <a:lnTo>
                    <a:pt x="3036" y="894"/>
                  </a:lnTo>
                  <a:lnTo>
                    <a:pt x="3066" y="924"/>
                  </a:lnTo>
                  <a:lnTo>
                    <a:pt x="3066" y="972"/>
                  </a:lnTo>
                  <a:lnTo>
                    <a:pt x="3090" y="996"/>
                  </a:lnTo>
                  <a:lnTo>
                    <a:pt x="3102" y="1002"/>
                  </a:lnTo>
                  <a:lnTo>
                    <a:pt x="3096" y="1002"/>
                  </a:lnTo>
                  <a:lnTo>
                    <a:pt x="3084" y="1008"/>
                  </a:lnTo>
                  <a:lnTo>
                    <a:pt x="3078" y="1014"/>
                  </a:lnTo>
                  <a:lnTo>
                    <a:pt x="3078" y="1020"/>
                  </a:lnTo>
                  <a:lnTo>
                    <a:pt x="3090" y="1032"/>
                  </a:lnTo>
                  <a:lnTo>
                    <a:pt x="3114" y="1032"/>
                  </a:lnTo>
                  <a:lnTo>
                    <a:pt x="3090" y="1044"/>
                  </a:lnTo>
                  <a:lnTo>
                    <a:pt x="3090" y="1056"/>
                  </a:lnTo>
                  <a:lnTo>
                    <a:pt x="3102" y="1062"/>
                  </a:lnTo>
                  <a:lnTo>
                    <a:pt x="3108" y="1092"/>
                  </a:lnTo>
                  <a:lnTo>
                    <a:pt x="3096" y="1122"/>
                  </a:lnTo>
                  <a:lnTo>
                    <a:pt x="3120" y="1122"/>
                  </a:lnTo>
                  <a:lnTo>
                    <a:pt x="3126" y="1116"/>
                  </a:lnTo>
                  <a:lnTo>
                    <a:pt x="3138" y="1116"/>
                  </a:lnTo>
                  <a:lnTo>
                    <a:pt x="3150" y="1110"/>
                  </a:lnTo>
                  <a:lnTo>
                    <a:pt x="3162" y="1110"/>
                  </a:lnTo>
                  <a:lnTo>
                    <a:pt x="3168" y="1104"/>
                  </a:lnTo>
                  <a:lnTo>
                    <a:pt x="3174" y="1104"/>
                  </a:lnTo>
                  <a:lnTo>
                    <a:pt x="3174" y="1134"/>
                  </a:lnTo>
                  <a:lnTo>
                    <a:pt x="3234" y="1194"/>
                  </a:lnTo>
                  <a:lnTo>
                    <a:pt x="3240" y="1194"/>
                  </a:lnTo>
                  <a:lnTo>
                    <a:pt x="3240" y="1146"/>
                  </a:lnTo>
                  <a:lnTo>
                    <a:pt x="3234" y="1122"/>
                  </a:lnTo>
                  <a:lnTo>
                    <a:pt x="3234" y="1116"/>
                  </a:lnTo>
                  <a:lnTo>
                    <a:pt x="3240" y="1110"/>
                  </a:lnTo>
                  <a:lnTo>
                    <a:pt x="3240" y="1098"/>
                  </a:lnTo>
                  <a:lnTo>
                    <a:pt x="3246" y="1086"/>
                  </a:lnTo>
                  <a:lnTo>
                    <a:pt x="3246" y="1062"/>
                  </a:lnTo>
                  <a:lnTo>
                    <a:pt x="3252" y="1050"/>
                  </a:lnTo>
                  <a:lnTo>
                    <a:pt x="3252" y="1020"/>
                  </a:lnTo>
                  <a:lnTo>
                    <a:pt x="3240" y="1020"/>
                  </a:lnTo>
                  <a:lnTo>
                    <a:pt x="3228" y="1014"/>
                  </a:lnTo>
                  <a:lnTo>
                    <a:pt x="3222" y="1008"/>
                  </a:lnTo>
                  <a:lnTo>
                    <a:pt x="3222" y="1002"/>
                  </a:lnTo>
                  <a:lnTo>
                    <a:pt x="3234" y="990"/>
                  </a:lnTo>
                  <a:lnTo>
                    <a:pt x="3246" y="984"/>
                  </a:lnTo>
                  <a:lnTo>
                    <a:pt x="3252" y="978"/>
                  </a:lnTo>
                  <a:lnTo>
                    <a:pt x="3252" y="864"/>
                  </a:lnTo>
                  <a:lnTo>
                    <a:pt x="3258" y="846"/>
                  </a:lnTo>
                  <a:lnTo>
                    <a:pt x="3258" y="708"/>
                  </a:lnTo>
                  <a:lnTo>
                    <a:pt x="3264" y="678"/>
                  </a:lnTo>
                  <a:close/>
                  <a:moveTo>
                    <a:pt x="336" y="666"/>
                  </a:moveTo>
                  <a:lnTo>
                    <a:pt x="330" y="672"/>
                  </a:lnTo>
                  <a:lnTo>
                    <a:pt x="354" y="696"/>
                  </a:lnTo>
                  <a:lnTo>
                    <a:pt x="360" y="708"/>
                  </a:lnTo>
                  <a:lnTo>
                    <a:pt x="366" y="714"/>
                  </a:lnTo>
                  <a:lnTo>
                    <a:pt x="378" y="714"/>
                  </a:lnTo>
                  <a:lnTo>
                    <a:pt x="378" y="696"/>
                  </a:lnTo>
                  <a:lnTo>
                    <a:pt x="366" y="690"/>
                  </a:lnTo>
                  <a:lnTo>
                    <a:pt x="360" y="678"/>
                  </a:lnTo>
                  <a:lnTo>
                    <a:pt x="348" y="672"/>
                  </a:lnTo>
                  <a:lnTo>
                    <a:pt x="342" y="666"/>
                  </a:lnTo>
                  <a:lnTo>
                    <a:pt x="336" y="666"/>
                  </a:lnTo>
                  <a:close/>
                  <a:moveTo>
                    <a:pt x="2526" y="1104"/>
                  </a:moveTo>
                  <a:lnTo>
                    <a:pt x="2544" y="1116"/>
                  </a:lnTo>
                  <a:lnTo>
                    <a:pt x="2574" y="1092"/>
                  </a:lnTo>
                  <a:lnTo>
                    <a:pt x="2592" y="1092"/>
                  </a:lnTo>
                  <a:lnTo>
                    <a:pt x="2604" y="1080"/>
                  </a:lnTo>
                  <a:lnTo>
                    <a:pt x="2604" y="1062"/>
                  </a:lnTo>
                  <a:lnTo>
                    <a:pt x="2592" y="1056"/>
                  </a:lnTo>
                  <a:lnTo>
                    <a:pt x="2586" y="1056"/>
                  </a:lnTo>
                  <a:lnTo>
                    <a:pt x="2574" y="1062"/>
                  </a:lnTo>
                  <a:lnTo>
                    <a:pt x="2556" y="1068"/>
                  </a:lnTo>
                  <a:lnTo>
                    <a:pt x="2526" y="1098"/>
                  </a:lnTo>
                  <a:lnTo>
                    <a:pt x="2526" y="1104"/>
                  </a:lnTo>
                  <a:close/>
                  <a:moveTo>
                    <a:pt x="3096" y="1068"/>
                  </a:moveTo>
                  <a:lnTo>
                    <a:pt x="3090" y="1068"/>
                  </a:lnTo>
                  <a:lnTo>
                    <a:pt x="3090" y="1062"/>
                  </a:lnTo>
                  <a:lnTo>
                    <a:pt x="3084" y="1062"/>
                  </a:lnTo>
                  <a:lnTo>
                    <a:pt x="3078" y="1056"/>
                  </a:lnTo>
                  <a:lnTo>
                    <a:pt x="3066" y="1056"/>
                  </a:lnTo>
                  <a:lnTo>
                    <a:pt x="3048" y="1062"/>
                  </a:lnTo>
                  <a:lnTo>
                    <a:pt x="3024" y="1086"/>
                  </a:lnTo>
                  <a:lnTo>
                    <a:pt x="3012" y="1122"/>
                  </a:lnTo>
                  <a:lnTo>
                    <a:pt x="3012" y="1134"/>
                  </a:lnTo>
                  <a:lnTo>
                    <a:pt x="3072" y="1128"/>
                  </a:lnTo>
                  <a:lnTo>
                    <a:pt x="3084" y="1128"/>
                  </a:lnTo>
                  <a:lnTo>
                    <a:pt x="3090" y="1122"/>
                  </a:lnTo>
                  <a:lnTo>
                    <a:pt x="3102" y="1092"/>
                  </a:lnTo>
                  <a:lnTo>
                    <a:pt x="3096" y="1068"/>
                  </a:lnTo>
                  <a:close/>
                  <a:moveTo>
                    <a:pt x="2778" y="942"/>
                  </a:moveTo>
                  <a:lnTo>
                    <a:pt x="2766" y="960"/>
                  </a:lnTo>
                  <a:lnTo>
                    <a:pt x="2766" y="1014"/>
                  </a:lnTo>
                  <a:lnTo>
                    <a:pt x="2784" y="1014"/>
                  </a:lnTo>
                  <a:lnTo>
                    <a:pt x="2778" y="996"/>
                  </a:lnTo>
                  <a:lnTo>
                    <a:pt x="2790" y="990"/>
                  </a:lnTo>
                  <a:lnTo>
                    <a:pt x="2790" y="972"/>
                  </a:lnTo>
                  <a:lnTo>
                    <a:pt x="2778" y="972"/>
                  </a:lnTo>
                  <a:lnTo>
                    <a:pt x="2796" y="936"/>
                  </a:lnTo>
                  <a:lnTo>
                    <a:pt x="2814" y="906"/>
                  </a:lnTo>
                  <a:lnTo>
                    <a:pt x="2784" y="912"/>
                  </a:lnTo>
                  <a:lnTo>
                    <a:pt x="2778" y="942"/>
                  </a:lnTo>
                  <a:close/>
                  <a:moveTo>
                    <a:pt x="2136" y="600"/>
                  </a:moveTo>
                  <a:lnTo>
                    <a:pt x="2124" y="594"/>
                  </a:lnTo>
                  <a:lnTo>
                    <a:pt x="2118" y="594"/>
                  </a:lnTo>
                  <a:lnTo>
                    <a:pt x="2106" y="588"/>
                  </a:lnTo>
                  <a:lnTo>
                    <a:pt x="2088" y="588"/>
                  </a:lnTo>
                  <a:lnTo>
                    <a:pt x="2082" y="594"/>
                  </a:lnTo>
                  <a:lnTo>
                    <a:pt x="2082" y="600"/>
                  </a:lnTo>
                  <a:lnTo>
                    <a:pt x="2076" y="606"/>
                  </a:lnTo>
                  <a:lnTo>
                    <a:pt x="2082" y="612"/>
                  </a:lnTo>
                  <a:lnTo>
                    <a:pt x="2094" y="618"/>
                  </a:lnTo>
                  <a:lnTo>
                    <a:pt x="2136" y="618"/>
                  </a:lnTo>
                  <a:lnTo>
                    <a:pt x="2214" y="606"/>
                  </a:lnTo>
                  <a:lnTo>
                    <a:pt x="2136" y="600"/>
                  </a:lnTo>
                  <a:close/>
                  <a:moveTo>
                    <a:pt x="1308" y="1038"/>
                  </a:moveTo>
                  <a:lnTo>
                    <a:pt x="1368" y="1002"/>
                  </a:lnTo>
                  <a:lnTo>
                    <a:pt x="1362" y="990"/>
                  </a:lnTo>
                  <a:lnTo>
                    <a:pt x="1350" y="990"/>
                  </a:lnTo>
                  <a:lnTo>
                    <a:pt x="1332" y="996"/>
                  </a:lnTo>
                  <a:lnTo>
                    <a:pt x="1320" y="996"/>
                  </a:lnTo>
                  <a:lnTo>
                    <a:pt x="1302" y="1002"/>
                  </a:lnTo>
                  <a:lnTo>
                    <a:pt x="1290" y="1008"/>
                  </a:lnTo>
                  <a:lnTo>
                    <a:pt x="1284" y="1014"/>
                  </a:lnTo>
                  <a:lnTo>
                    <a:pt x="1284" y="1032"/>
                  </a:lnTo>
                  <a:lnTo>
                    <a:pt x="1290" y="1038"/>
                  </a:lnTo>
                  <a:lnTo>
                    <a:pt x="1308" y="1038"/>
                  </a:lnTo>
                  <a:close/>
                  <a:moveTo>
                    <a:pt x="1428" y="1116"/>
                  </a:moveTo>
                  <a:lnTo>
                    <a:pt x="1392" y="1116"/>
                  </a:lnTo>
                  <a:lnTo>
                    <a:pt x="1386" y="1146"/>
                  </a:lnTo>
                  <a:lnTo>
                    <a:pt x="1386" y="1152"/>
                  </a:lnTo>
                  <a:lnTo>
                    <a:pt x="1404" y="1170"/>
                  </a:lnTo>
                  <a:lnTo>
                    <a:pt x="1416" y="1176"/>
                  </a:lnTo>
                  <a:lnTo>
                    <a:pt x="1428" y="1164"/>
                  </a:lnTo>
                  <a:lnTo>
                    <a:pt x="1440" y="1140"/>
                  </a:lnTo>
                  <a:lnTo>
                    <a:pt x="1440" y="1128"/>
                  </a:lnTo>
                  <a:lnTo>
                    <a:pt x="1428" y="1116"/>
                  </a:lnTo>
                  <a:close/>
                  <a:moveTo>
                    <a:pt x="708" y="930"/>
                  </a:moveTo>
                  <a:lnTo>
                    <a:pt x="714" y="924"/>
                  </a:lnTo>
                  <a:lnTo>
                    <a:pt x="714" y="900"/>
                  </a:lnTo>
                  <a:lnTo>
                    <a:pt x="744" y="924"/>
                  </a:lnTo>
                  <a:lnTo>
                    <a:pt x="744" y="918"/>
                  </a:lnTo>
                  <a:lnTo>
                    <a:pt x="750" y="912"/>
                  </a:lnTo>
                  <a:lnTo>
                    <a:pt x="750" y="900"/>
                  </a:lnTo>
                  <a:lnTo>
                    <a:pt x="756" y="882"/>
                  </a:lnTo>
                  <a:lnTo>
                    <a:pt x="756" y="840"/>
                  </a:lnTo>
                  <a:lnTo>
                    <a:pt x="762" y="822"/>
                  </a:lnTo>
                  <a:lnTo>
                    <a:pt x="762" y="810"/>
                  </a:lnTo>
                  <a:lnTo>
                    <a:pt x="768" y="792"/>
                  </a:lnTo>
                  <a:lnTo>
                    <a:pt x="768" y="780"/>
                  </a:lnTo>
                  <a:lnTo>
                    <a:pt x="762" y="774"/>
                  </a:lnTo>
                  <a:lnTo>
                    <a:pt x="756" y="762"/>
                  </a:lnTo>
                  <a:lnTo>
                    <a:pt x="756" y="750"/>
                  </a:lnTo>
                  <a:lnTo>
                    <a:pt x="768" y="726"/>
                  </a:lnTo>
                  <a:lnTo>
                    <a:pt x="774" y="720"/>
                  </a:lnTo>
                  <a:lnTo>
                    <a:pt x="774" y="714"/>
                  </a:lnTo>
                  <a:lnTo>
                    <a:pt x="756" y="696"/>
                  </a:lnTo>
                  <a:lnTo>
                    <a:pt x="744" y="654"/>
                  </a:lnTo>
                  <a:lnTo>
                    <a:pt x="702" y="654"/>
                  </a:lnTo>
                  <a:lnTo>
                    <a:pt x="702" y="618"/>
                  </a:lnTo>
                  <a:lnTo>
                    <a:pt x="666" y="618"/>
                  </a:lnTo>
                  <a:lnTo>
                    <a:pt x="660" y="546"/>
                  </a:lnTo>
                  <a:lnTo>
                    <a:pt x="606" y="546"/>
                  </a:lnTo>
                  <a:lnTo>
                    <a:pt x="594" y="534"/>
                  </a:lnTo>
                  <a:lnTo>
                    <a:pt x="594" y="504"/>
                  </a:lnTo>
                  <a:lnTo>
                    <a:pt x="600" y="498"/>
                  </a:lnTo>
                  <a:lnTo>
                    <a:pt x="606" y="486"/>
                  </a:lnTo>
                  <a:lnTo>
                    <a:pt x="582" y="486"/>
                  </a:lnTo>
                  <a:lnTo>
                    <a:pt x="600" y="468"/>
                  </a:lnTo>
                  <a:lnTo>
                    <a:pt x="606" y="456"/>
                  </a:lnTo>
                  <a:lnTo>
                    <a:pt x="612" y="450"/>
                  </a:lnTo>
                  <a:lnTo>
                    <a:pt x="612" y="438"/>
                  </a:lnTo>
                  <a:lnTo>
                    <a:pt x="600" y="426"/>
                  </a:lnTo>
                  <a:lnTo>
                    <a:pt x="588" y="432"/>
                  </a:lnTo>
                  <a:lnTo>
                    <a:pt x="570" y="432"/>
                  </a:lnTo>
                  <a:lnTo>
                    <a:pt x="552" y="438"/>
                  </a:lnTo>
                  <a:lnTo>
                    <a:pt x="540" y="438"/>
                  </a:lnTo>
                  <a:lnTo>
                    <a:pt x="534" y="444"/>
                  </a:lnTo>
                  <a:lnTo>
                    <a:pt x="528" y="444"/>
                  </a:lnTo>
                  <a:lnTo>
                    <a:pt x="534" y="438"/>
                  </a:lnTo>
                  <a:lnTo>
                    <a:pt x="546" y="432"/>
                  </a:lnTo>
                  <a:lnTo>
                    <a:pt x="552" y="420"/>
                  </a:lnTo>
                  <a:lnTo>
                    <a:pt x="558" y="414"/>
                  </a:lnTo>
                  <a:lnTo>
                    <a:pt x="558" y="402"/>
                  </a:lnTo>
                  <a:lnTo>
                    <a:pt x="546" y="396"/>
                  </a:lnTo>
                  <a:lnTo>
                    <a:pt x="534" y="396"/>
                  </a:lnTo>
                  <a:lnTo>
                    <a:pt x="522" y="390"/>
                  </a:lnTo>
                  <a:lnTo>
                    <a:pt x="510" y="390"/>
                  </a:lnTo>
                  <a:lnTo>
                    <a:pt x="516" y="384"/>
                  </a:lnTo>
                  <a:lnTo>
                    <a:pt x="516" y="378"/>
                  </a:lnTo>
                  <a:lnTo>
                    <a:pt x="504" y="354"/>
                  </a:lnTo>
                  <a:lnTo>
                    <a:pt x="492" y="342"/>
                  </a:lnTo>
                  <a:lnTo>
                    <a:pt x="480" y="336"/>
                  </a:lnTo>
                  <a:lnTo>
                    <a:pt x="462" y="330"/>
                  </a:lnTo>
                  <a:lnTo>
                    <a:pt x="456" y="324"/>
                  </a:lnTo>
                  <a:lnTo>
                    <a:pt x="450" y="324"/>
                  </a:lnTo>
                  <a:lnTo>
                    <a:pt x="450" y="318"/>
                  </a:lnTo>
                  <a:lnTo>
                    <a:pt x="444" y="312"/>
                  </a:lnTo>
                  <a:lnTo>
                    <a:pt x="438" y="300"/>
                  </a:lnTo>
                  <a:lnTo>
                    <a:pt x="438" y="288"/>
                  </a:lnTo>
                  <a:lnTo>
                    <a:pt x="426" y="276"/>
                  </a:lnTo>
                  <a:lnTo>
                    <a:pt x="414" y="276"/>
                  </a:lnTo>
                  <a:lnTo>
                    <a:pt x="408" y="282"/>
                  </a:lnTo>
                  <a:lnTo>
                    <a:pt x="414" y="306"/>
                  </a:lnTo>
                  <a:lnTo>
                    <a:pt x="408" y="300"/>
                  </a:lnTo>
                  <a:lnTo>
                    <a:pt x="396" y="294"/>
                  </a:lnTo>
                  <a:lnTo>
                    <a:pt x="360" y="258"/>
                  </a:lnTo>
                  <a:lnTo>
                    <a:pt x="360" y="246"/>
                  </a:lnTo>
                  <a:lnTo>
                    <a:pt x="354" y="240"/>
                  </a:lnTo>
                  <a:lnTo>
                    <a:pt x="348" y="228"/>
                  </a:lnTo>
                  <a:lnTo>
                    <a:pt x="342" y="222"/>
                  </a:lnTo>
                  <a:lnTo>
                    <a:pt x="342" y="216"/>
                  </a:lnTo>
                  <a:lnTo>
                    <a:pt x="330" y="210"/>
                  </a:lnTo>
                  <a:lnTo>
                    <a:pt x="312" y="192"/>
                  </a:lnTo>
                  <a:lnTo>
                    <a:pt x="294" y="186"/>
                  </a:lnTo>
                  <a:lnTo>
                    <a:pt x="288" y="174"/>
                  </a:lnTo>
                  <a:lnTo>
                    <a:pt x="276" y="168"/>
                  </a:lnTo>
                  <a:lnTo>
                    <a:pt x="264" y="156"/>
                  </a:lnTo>
                  <a:lnTo>
                    <a:pt x="252" y="150"/>
                  </a:lnTo>
                  <a:lnTo>
                    <a:pt x="240" y="138"/>
                  </a:lnTo>
                  <a:lnTo>
                    <a:pt x="234" y="126"/>
                  </a:lnTo>
                  <a:lnTo>
                    <a:pt x="222" y="120"/>
                  </a:lnTo>
                  <a:lnTo>
                    <a:pt x="222" y="102"/>
                  </a:lnTo>
                  <a:lnTo>
                    <a:pt x="204" y="84"/>
                  </a:lnTo>
                  <a:lnTo>
                    <a:pt x="198" y="72"/>
                  </a:lnTo>
                  <a:lnTo>
                    <a:pt x="168" y="42"/>
                  </a:lnTo>
                  <a:lnTo>
                    <a:pt x="150" y="42"/>
                  </a:lnTo>
                  <a:lnTo>
                    <a:pt x="66" y="36"/>
                  </a:lnTo>
                  <a:lnTo>
                    <a:pt x="42" y="12"/>
                  </a:lnTo>
                  <a:lnTo>
                    <a:pt x="30" y="6"/>
                  </a:lnTo>
                  <a:lnTo>
                    <a:pt x="24" y="0"/>
                  </a:lnTo>
                  <a:lnTo>
                    <a:pt x="18" y="0"/>
                  </a:lnTo>
                  <a:lnTo>
                    <a:pt x="6" y="6"/>
                  </a:lnTo>
                  <a:lnTo>
                    <a:pt x="0" y="18"/>
                  </a:lnTo>
                  <a:lnTo>
                    <a:pt x="0" y="48"/>
                  </a:lnTo>
                  <a:lnTo>
                    <a:pt x="6" y="60"/>
                  </a:lnTo>
                  <a:lnTo>
                    <a:pt x="18" y="78"/>
                  </a:lnTo>
                  <a:lnTo>
                    <a:pt x="66" y="126"/>
                  </a:lnTo>
                  <a:lnTo>
                    <a:pt x="96" y="150"/>
                  </a:lnTo>
                  <a:lnTo>
                    <a:pt x="126" y="180"/>
                  </a:lnTo>
                  <a:lnTo>
                    <a:pt x="162" y="234"/>
                  </a:lnTo>
                  <a:lnTo>
                    <a:pt x="174" y="228"/>
                  </a:lnTo>
                  <a:lnTo>
                    <a:pt x="174" y="252"/>
                  </a:lnTo>
                  <a:lnTo>
                    <a:pt x="180" y="264"/>
                  </a:lnTo>
                  <a:lnTo>
                    <a:pt x="186" y="270"/>
                  </a:lnTo>
                  <a:lnTo>
                    <a:pt x="198" y="276"/>
                  </a:lnTo>
                  <a:lnTo>
                    <a:pt x="216" y="288"/>
                  </a:lnTo>
                  <a:lnTo>
                    <a:pt x="228" y="300"/>
                  </a:lnTo>
                  <a:lnTo>
                    <a:pt x="246" y="312"/>
                  </a:lnTo>
                  <a:lnTo>
                    <a:pt x="258" y="324"/>
                  </a:lnTo>
                  <a:lnTo>
                    <a:pt x="264" y="336"/>
                  </a:lnTo>
                  <a:lnTo>
                    <a:pt x="276" y="372"/>
                  </a:lnTo>
                  <a:lnTo>
                    <a:pt x="276" y="384"/>
                  </a:lnTo>
                  <a:lnTo>
                    <a:pt x="282" y="390"/>
                  </a:lnTo>
                  <a:lnTo>
                    <a:pt x="282" y="426"/>
                  </a:lnTo>
                  <a:lnTo>
                    <a:pt x="288" y="438"/>
                  </a:lnTo>
                  <a:lnTo>
                    <a:pt x="288" y="444"/>
                  </a:lnTo>
                  <a:lnTo>
                    <a:pt x="294" y="450"/>
                  </a:lnTo>
                  <a:lnTo>
                    <a:pt x="300" y="450"/>
                  </a:lnTo>
                  <a:lnTo>
                    <a:pt x="312" y="444"/>
                  </a:lnTo>
                  <a:lnTo>
                    <a:pt x="324" y="444"/>
                  </a:lnTo>
                  <a:lnTo>
                    <a:pt x="324" y="450"/>
                  </a:lnTo>
                  <a:lnTo>
                    <a:pt x="330" y="462"/>
                  </a:lnTo>
                  <a:lnTo>
                    <a:pt x="330" y="474"/>
                  </a:lnTo>
                  <a:lnTo>
                    <a:pt x="336" y="480"/>
                  </a:lnTo>
                  <a:lnTo>
                    <a:pt x="336" y="486"/>
                  </a:lnTo>
                  <a:lnTo>
                    <a:pt x="378" y="522"/>
                  </a:lnTo>
                  <a:lnTo>
                    <a:pt x="372" y="546"/>
                  </a:lnTo>
                  <a:lnTo>
                    <a:pt x="408" y="606"/>
                  </a:lnTo>
                  <a:lnTo>
                    <a:pt x="402" y="618"/>
                  </a:lnTo>
                  <a:lnTo>
                    <a:pt x="402" y="636"/>
                  </a:lnTo>
                  <a:lnTo>
                    <a:pt x="408" y="648"/>
                  </a:lnTo>
                  <a:lnTo>
                    <a:pt x="438" y="678"/>
                  </a:lnTo>
                  <a:lnTo>
                    <a:pt x="438" y="684"/>
                  </a:lnTo>
                  <a:lnTo>
                    <a:pt x="444" y="690"/>
                  </a:lnTo>
                  <a:lnTo>
                    <a:pt x="462" y="726"/>
                  </a:lnTo>
                  <a:lnTo>
                    <a:pt x="498" y="744"/>
                  </a:lnTo>
                  <a:lnTo>
                    <a:pt x="504" y="750"/>
                  </a:lnTo>
                  <a:lnTo>
                    <a:pt x="510" y="750"/>
                  </a:lnTo>
                  <a:lnTo>
                    <a:pt x="510" y="786"/>
                  </a:lnTo>
                  <a:lnTo>
                    <a:pt x="522" y="792"/>
                  </a:lnTo>
                  <a:lnTo>
                    <a:pt x="528" y="804"/>
                  </a:lnTo>
                  <a:lnTo>
                    <a:pt x="540" y="810"/>
                  </a:lnTo>
                  <a:lnTo>
                    <a:pt x="564" y="834"/>
                  </a:lnTo>
                  <a:lnTo>
                    <a:pt x="576" y="840"/>
                  </a:lnTo>
                  <a:lnTo>
                    <a:pt x="594" y="858"/>
                  </a:lnTo>
                  <a:lnTo>
                    <a:pt x="600" y="858"/>
                  </a:lnTo>
                  <a:lnTo>
                    <a:pt x="606" y="864"/>
                  </a:lnTo>
                  <a:lnTo>
                    <a:pt x="612" y="864"/>
                  </a:lnTo>
                  <a:lnTo>
                    <a:pt x="612" y="870"/>
                  </a:lnTo>
                  <a:lnTo>
                    <a:pt x="618" y="876"/>
                  </a:lnTo>
                  <a:lnTo>
                    <a:pt x="630" y="900"/>
                  </a:lnTo>
                  <a:lnTo>
                    <a:pt x="642" y="912"/>
                  </a:lnTo>
                  <a:lnTo>
                    <a:pt x="654" y="936"/>
                  </a:lnTo>
                  <a:lnTo>
                    <a:pt x="660" y="942"/>
                  </a:lnTo>
                  <a:lnTo>
                    <a:pt x="660" y="906"/>
                  </a:lnTo>
                  <a:lnTo>
                    <a:pt x="672" y="906"/>
                  </a:lnTo>
                  <a:lnTo>
                    <a:pt x="684" y="918"/>
                  </a:lnTo>
                  <a:lnTo>
                    <a:pt x="696" y="924"/>
                  </a:lnTo>
                  <a:lnTo>
                    <a:pt x="702" y="930"/>
                  </a:lnTo>
                  <a:lnTo>
                    <a:pt x="708" y="930"/>
                  </a:lnTo>
                  <a:close/>
                  <a:moveTo>
                    <a:pt x="2118" y="1194"/>
                  </a:moveTo>
                  <a:lnTo>
                    <a:pt x="2106" y="1176"/>
                  </a:lnTo>
                  <a:lnTo>
                    <a:pt x="2088" y="1176"/>
                  </a:lnTo>
                  <a:lnTo>
                    <a:pt x="2064" y="1200"/>
                  </a:lnTo>
                  <a:lnTo>
                    <a:pt x="2064" y="1212"/>
                  </a:lnTo>
                  <a:lnTo>
                    <a:pt x="2052" y="1212"/>
                  </a:lnTo>
                  <a:lnTo>
                    <a:pt x="2040" y="1218"/>
                  </a:lnTo>
                  <a:lnTo>
                    <a:pt x="2010" y="1248"/>
                  </a:lnTo>
                  <a:lnTo>
                    <a:pt x="1998" y="1272"/>
                  </a:lnTo>
                  <a:lnTo>
                    <a:pt x="1992" y="1278"/>
                  </a:lnTo>
                  <a:lnTo>
                    <a:pt x="1992" y="1290"/>
                  </a:lnTo>
                  <a:lnTo>
                    <a:pt x="2004" y="1302"/>
                  </a:lnTo>
                  <a:lnTo>
                    <a:pt x="2022" y="1302"/>
                  </a:lnTo>
                  <a:lnTo>
                    <a:pt x="2052" y="1284"/>
                  </a:lnTo>
                  <a:lnTo>
                    <a:pt x="2082" y="1260"/>
                  </a:lnTo>
                  <a:lnTo>
                    <a:pt x="2106" y="1242"/>
                  </a:lnTo>
                  <a:lnTo>
                    <a:pt x="2100" y="1236"/>
                  </a:lnTo>
                  <a:lnTo>
                    <a:pt x="2100" y="1224"/>
                  </a:lnTo>
                  <a:lnTo>
                    <a:pt x="2112" y="1200"/>
                  </a:lnTo>
                  <a:lnTo>
                    <a:pt x="2118" y="1194"/>
                  </a:lnTo>
                  <a:close/>
                  <a:moveTo>
                    <a:pt x="1374" y="1128"/>
                  </a:moveTo>
                  <a:lnTo>
                    <a:pt x="1374" y="1116"/>
                  </a:lnTo>
                  <a:lnTo>
                    <a:pt x="1368" y="1110"/>
                  </a:lnTo>
                  <a:lnTo>
                    <a:pt x="1344" y="1098"/>
                  </a:lnTo>
                  <a:lnTo>
                    <a:pt x="1332" y="1098"/>
                  </a:lnTo>
                  <a:lnTo>
                    <a:pt x="1320" y="1092"/>
                  </a:lnTo>
                  <a:lnTo>
                    <a:pt x="1314" y="1092"/>
                  </a:lnTo>
                  <a:lnTo>
                    <a:pt x="1302" y="1098"/>
                  </a:lnTo>
                  <a:lnTo>
                    <a:pt x="1296" y="1104"/>
                  </a:lnTo>
                  <a:lnTo>
                    <a:pt x="1296" y="1116"/>
                  </a:lnTo>
                  <a:lnTo>
                    <a:pt x="1290" y="1122"/>
                  </a:lnTo>
                  <a:lnTo>
                    <a:pt x="1290" y="1134"/>
                  </a:lnTo>
                  <a:lnTo>
                    <a:pt x="1254" y="1104"/>
                  </a:lnTo>
                  <a:lnTo>
                    <a:pt x="1260" y="1092"/>
                  </a:lnTo>
                  <a:lnTo>
                    <a:pt x="1260" y="1080"/>
                  </a:lnTo>
                  <a:lnTo>
                    <a:pt x="1266" y="1068"/>
                  </a:lnTo>
                  <a:lnTo>
                    <a:pt x="1266" y="1050"/>
                  </a:lnTo>
                  <a:lnTo>
                    <a:pt x="1260" y="1038"/>
                  </a:lnTo>
                  <a:lnTo>
                    <a:pt x="1254" y="1032"/>
                  </a:lnTo>
                  <a:lnTo>
                    <a:pt x="1242" y="1026"/>
                  </a:lnTo>
                  <a:lnTo>
                    <a:pt x="1188" y="1026"/>
                  </a:lnTo>
                  <a:lnTo>
                    <a:pt x="1158" y="1008"/>
                  </a:lnTo>
                  <a:lnTo>
                    <a:pt x="1158" y="984"/>
                  </a:lnTo>
                  <a:lnTo>
                    <a:pt x="1116" y="984"/>
                  </a:lnTo>
                  <a:lnTo>
                    <a:pt x="1116" y="996"/>
                  </a:lnTo>
                  <a:lnTo>
                    <a:pt x="1110" y="1008"/>
                  </a:lnTo>
                  <a:lnTo>
                    <a:pt x="1110" y="1026"/>
                  </a:lnTo>
                  <a:lnTo>
                    <a:pt x="1086" y="1026"/>
                  </a:lnTo>
                  <a:lnTo>
                    <a:pt x="1074" y="1020"/>
                  </a:lnTo>
                  <a:lnTo>
                    <a:pt x="1056" y="1014"/>
                  </a:lnTo>
                  <a:lnTo>
                    <a:pt x="1044" y="1014"/>
                  </a:lnTo>
                  <a:lnTo>
                    <a:pt x="1032" y="1008"/>
                  </a:lnTo>
                  <a:lnTo>
                    <a:pt x="966" y="1008"/>
                  </a:lnTo>
                  <a:lnTo>
                    <a:pt x="960" y="996"/>
                  </a:lnTo>
                  <a:lnTo>
                    <a:pt x="948" y="990"/>
                  </a:lnTo>
                  <a:lnTo>
                    <a:pt x="942" y="978"/>
                  </a:lnTo>
                  <a:lnTo>
                    <a:pt x="918" y="954"/>
                  </a:lnTo>
                  <a:lnTo>
                    <a:pt x="900" y="954"/>
                  </a:lnTo>
                  <a:lnTo>
                    <a:pt x="888" y="960"/>
                  </a:lnTo>
                  <a:lnTo>
                    <a:pt x="876" y="954"/>
                  </a:lnTo>
                  <a:lnTo>
                    <a:pt x="870" y="948"/>
                  </a:lnTo>
                  <a:lnTo>
                    <a:pt x="858" y="942"/>
                  </a:lnTo>
                  <a:lnTo>
                    <a:pt x="846" y="942"/>
                  </a:lnTo>
                  <a:lnTo>
                    <a:pt x="840" y="936"/>
                  </a:lnTo>
                  <a:lnTo>
                    <a:pt x="822" y="936"/>
                  </a:lnTo>
                  <a:lnTo>
                    <a:pt x="810" y="930"/>
                  </a:lnTo>
                  <a:lnTo>
                    <a:pt x="792" y="930"/>
                  </a:lnTo>
                  <a:lnTo>
                    <a:pt x="786" y="924"/>
                  </a:lnTo>
                  <a:lnTo>
                    <a:pt x="762" y="924"/>
                  </a:lnTo>
                  <a:lnTo>
                    <a:pt x="750" y="930"/>
                  </a:lnTo>
                  <a:lnTo>
                    <a:pt x="738" y="954"/>
                  </a:lnTo>
                  <a:lnTo>
                    <a:pt x="738" y="966"/>
                  </a:lnTo>
                  <a:lnTo>
                    <a:pt x="732" y="978"/>
                  </a:lnTo>
                  <a:lnTo>
                    <a:pt x="720" y="990"/>
                  </a:lnTo>
                  <a:lnTo>
                    <a:pt x="714" y="990"/>
                  </a:lnTo>
                  <a:lnTo>
                    <a:pt x="702" y="1002"/>
                  </a:lnTo>
                  <a:lnTo>
                    <a:pt x="702" y="1014"/>
                  </a:lnTo>
                  <a:lnTo>
                    <a:pt x="738" y="1008"/>
                  </a:lnTo>
                  <a:lnTo>
                    <a:pt x="786" y="1008"/>
                  </a:lnTo>
                  <a:lnTo>
                    <a:pt x="780" y="1014"/>
                  </a:lnTo>
                  <a:lnTo>
                    <a:pt x="768" y="1020"/>
                  </a:lnTo>
                  <a:lnTo>
                    <a:pt x="762" y="1032"/>
                  </a:lnTo>
                  <a:lnTo>
                    <a:pt x="762" y="1044"/>
                  </a:lnTo>
                  <a:lnTo>
                    <a:pt x="774" y="1050"/>
                  </a:lnTo>
                  <a:lnTo>
                    <a:pt x="780" y="1050"/>
                  </a:lnTo>
                  <a:lnTo>
                    <a:pt x="798" y="1044"/>
                  </a:lnTo>
                  <a:lnTo>
                    <a:pt x="810" y="1044"/>
                  </a:lnTo>
                  <a:lnTo>
                    <a:pt x="816" y="1038"/>
                  </a:lnTo>
                  <a:lnTo>
                    <a:pt x="828" y="1032"/>
                  </a:lnTo>
                  <a:lnTo>
                    <a:pt x="840" y="1038"/>
                  </a:lnTo>
                  <a:lnTo>
                    <a:pt x="870" y="1056"/>
                  </a:lnTo>
                  <a:lnTo>
                    <a:pt x="900" y="1068"/>
                  </a:lnTo>
                  <a:lnTo>
                    <a:pt x="924" y="1080"/>
                  </a:lnTo>
                  <a:lnTo>
                    <a:pt x="960" y="1086"/>
                  </a:lnTo>
                  <a:lnTo>
                    <a:pt x="1014" y="1092"/>
                  </a:lnTo>
                  <a:lnTo>
                    <a:pt x="1062" y="1092"/>
                  </a:lnTo>
                  <a:lnTo>
                    <a:pt x="1080" y="1110"/>
                  </a:lnTo>
                  <a:lnTo>
                    <a:pt x="1086" y="1122"/>
                  </a:lnTo>
                  <a:lnTo>
                    <a:pt x="1098" y="1128"/>
                  </a:lnTo>
                  <a:lnTo>
                    <a:pt x="1110" y="1140"/>
                  </a:lnTo>
                  <a:lnTo>
                    <a:pt x="1128" y="1146"/>
                  </a:lnTo>
                  <a:lnTo>
                    <a:pt x="1152" y="1152"/>
                  </a:lnTo>
                  <a:lnTo>
                    <a:pt x="1170" y="1152"/>
                  </a:lnTo>
                  <a:lnTo>
                    <a:pt x="1182" y="1158"/>
                  </a:lnTo>
                  <a:lnTo>
                    <a:pt x="1248" y="1158"/>
                  </a:lnTo>
                  <a:lnTo>
                    <a:pt x="1260" y="1164"/>
                  </a:lnTo>
                  <a:lnTo>
                    <a:pt x="1278" y="1170"/>
                  </a:lnTo>
                  <a:lnTo>
                    <a:pt x="1290" y="1182"/>
                  </a:lnTo>
                  <a:lnTo>
                    <a:pt x="1302" y="1188"/>
                  </a:lnTo>
                  <a:lnTo>
                    <a:pt x="1320" y="1206"/>
                  </a:lnTo>
                  <a:lnTo>
                    <a:pt x="1338" y="1206"/>
                  </a:lnTo>
                  <a:lnTo>
                    <a:pt x="1350" y="1200"/>
                  </a:lnTo>
                  <a:lnTo>
                    <a:pt x="1356" y="1206"/>
                  </a:lnTo>
                  <a:lnTo>
                    <a:pt x="1374" y="1206"/>
                  </a:lnTo>
                  <a:lnTo>
                    <a:pt x="1374" y="1194"/>
                  </a:lnTo>
                  <a:lnTo>
                    <a:pt x="1368" y="1182"/>
                  </a:lnTo>
                  <a:lnTo>
                    <a:pt x="1362" y="1176"/>
                  </a:lnTo>
                  <a:lnTo>
                    <a:pt x="1356" y="1164"/>
                  </a:lnTo>
                  <a:lnTo>
                    <a:pt x="1374" y="1146"/>
                  </a:lnTo>
                  <a:lnTo>
                    <a:pt x="1374" y="1128"/>
                  </a:lnTo>
                  <a:close/>
                  <a:moveTo>
                    <a:pt x="1500" y="726"/>
                  </a:moveTo>
                  <a:lnTo>
                    <a:pt x="1542" y="684"/>
                  </a:lnTo>
                  <a:lnTo>
                    <a:pt x="1548" y="672"/>
                  </a:lnTo>
                  <a:lnTo>
                    <a:pt x="1554" y="654"/>
                  </a:lnTo>
                  <a:lnTo>
                    <a:pt x="1560" y="642"/>
                  </a:lnTo>
                  <a:lnTo>
                    <a:pt x="1566" y="624"/>
                  </a:lnTo>
                  <a:lnTo>
                    <a:pt x="1566" y="612"/>
                  </a:lnTo>
                  <a:lnTo>
                    <a:pt x="1572" y="606"/>
                  </a:lnTo>
                  <a:lnTo>
                    <a:pt x="1572" y="600"/>
                  </a:lnTo>
                  <a:lnTo>
                    <a:pt x="1566" y="600"/>
                  </a:lnTo>
                  <a:lnTo>
                    <a:pt x="1554" y="594"/>
                  </a:lnTo>
                  <a:lnTo>
                    <a:pt x="1542" y="582"/>
                  </a:lnTo>
                  <a:lnTo>
                    <a:pt x="1542" y="564"/>
                  </a:lnTo>
                  <a:lnTo>
                    <a:pt x="1554" y="516"/>
                  </a:lnTo>
                  <a:lnTo>
                    <a:pt x="1590" y="498"/>
                  </a:lnTo>
                  <a:lnTo>
                    <a:pt x="1626" y="498"/>
                  </a:lnTo>
                  <a:lnTo>
                    <a:pt x="1632" y="486"/>
                  </a:lnTo>
                  <a:lnTo>
                    <a:pt x="1638" y="480"/>
                  </a:lnTo>
                  <a:lnTo>
                    <a:pt x="1644" y="468"/>
                  </a:lnTo>
                  <a:lnTo>
                    <a:pt x="1644" y="444"/>
                  </a:lnTo>
                  <a:lnTo>
                    <a:pt x="1626" y="444"/>
                  </a:lnTo>
                  <a:lnTo>
                    <a:pt x="1620" y="450"/>
                  </a:lnTo>
                  <a:lnTo>
                    <a:pt x="1608" y="450"/>
                  </a:lnTo>
                  <a:lnTo>
                    <a:pt x="1608" y="438"/>
                  </a:lnTo>
                  <a:lnTo>
                    <a:pt x="1614" y="420"/>
                  </a:lnTo>
                  <a:lnTo>
                    <a:pt x="1626" y="408"/>
                  </a:lnTo>
                  <a:lnTo>
                    <a:pt x="1650" y="396"/>
                  </a:lnTo>
                  <a:lnTo>
                    <a:pt x="1662" y="396"/>
                  </a:lnTo>
                  <a:lnTo>
                    <a:pt x="1680" y="402"/>
                  </a:lnTo>
                  <a:lnTo>
                    <a:pt x="1704" y="402"/>
                  </a:lnTo>
                  <a:lnTo>
                    <a:pt x="1716" y="390"/>
                  </a:lnTo>
                  <a:lnTo>
                    <a:pt x="1716" y="384"/>
                  </a:lnTo>
                  <a:lnTo>
                    <a:pt x="1680" y="348"/>
                  </a:lnTo>
                  <a:lnTo>
                    <a:pt x="1680" y="312"/>
                  </a:lnTo>
                  <a:lnTo>
                    <a:pt x="1668" y="312"/>
                  </a:lnTo>
                  <a:lnTo>
                    <a:pt x="1650" y="294"/>
                  </a:lnTo>
                  <a:lnTo>
                    <a:pt x="1650" y="282"/>
                  </a:lnTo>
                  <a:lnTo>
                    <a:pt x="1662" y="270"/>
                  </a:lnTo>
                  <a:lnTo>
                    <a:pt x="1668" y="258"/>
                  </a:lnTo>
                  <a:lnTo>
                    <a:pt x="1668" y="246"/>
                  </a:lnTo>
                  <a:lnTo>
                    <a:pt x="1662" y="240"/>
                  </a:lnTo>
                  <a:lnTo>
                    <a:pt x="1638" y="228"/>
                  </a:lnTo>
                  <a:lnTo>
                    <a:pt x="1614" y="228"/>
                  </a:lnTo>
                  <a:lnTo>
                    <a:pt x="1632" y="198"/>
                  </a:lnTo>
                  <a:lnTo>
                    <a:pt x="1614" y="192"/>
                  </a:lnTo>
                  <a:lnTo>
                    <a:pt x="1620" y="162"/>
                  </a:lnTo>
                  <a:lnTo>
                    <a:pt x="1608" y="144"/>
                  </a:lnTo>
                  <a:lnTo>
                    <a:pt x="1602" y="138"/>
                  </a:lnTo>
                  <a:lnTo>
                    <a:pt x="1590" y="132"/>
                  </a:lnTo>
                  <a:lnTo>
                    <a:pt x="1566" y="108"/>
                  </a:lnTo>
                  <a:lnTo>
                    <a:pt x="1470" y="108"/>
                  </a:lnTo>
                  <a:lnTo>
                    <a:pt x="1464" y="114"/>
                  </a:lnTo>
                  <a:lnTo>
                    <a:pt x="1458" y="126"/>
                  </a:lnTo>
                  <a:lnTo>
                    <a:pt x="1458" y="180"/>
                  </a:lnTo>
                  <a:lnTo>
                    <a:pt x="1452" y="198"/>
                  </a:lnTo>
                  <a:lnTo>
                    <a:pt x="1452" y="204"/>
                  </a:lnTo>
                  <a:lnTo>
                    <a:pt x="1446" y="216"/>
                  </a:lnTo>
                  <a:lnTo>
                    <a:pt x="1428" y="216"/>
                  </a:lnTo>
                  <a:lnTo>
                    <a:pt x="1422" y="222"/>
                  </a:lnTo>
                  <a:lnTo>
                    <a:pt x="1422" y="246"/>
                  </a:lnTo>
                  <a:lnTo>
                    <a:pt x="1428" y="252"/>
                  </a:lnTo>
                  <a:lnTo>
                    <a:pt x="1434" y="264"/>
                  </a:lnTo>
                  <a:lnTo>
                    <a:pt x="1398" y="294"/>
                  </a:lnTo>
                  <a:lnTo>
                    <a:pt x="1404" y="306"/>
                  </a:lnTo>
                  <a:lnTo>
                    <a:pt x="1374" y="342"/>
                  </a:lnTo>
                  <a:lnTo>
                    <a:pt x="1350" y="342"/>
                  </a:lnTo>
                  <a:lnTo>
                    <a:pt x="1344" y="348"/>
                  </a:lnTo>
                  <a:lnTo>
                    <a:pt x="1332" y="354"/>
                  </a:lnTo>
                  <a:lnTo>
                    <a:pt x="1320" y="366"/>
                  </a:lnTo>
                  <a:lnTo>
                    <a:pt x="1314" y="366"/>
                  </a:lnTo>
                  <a:lnTo>
                    <a:pt x="1308" y="360"/>
                  </a:lnTo>
                  <a:lnTo>
                    <a:pt x="1284" y="348"/>
                  </a:lnTo>
                  <a:lnTo>
                    <a:pt x="1272" y="336"/>
                  </a:lnTo>
                  <a:lnTo>
                    <a:pt x="1230" y="336"/>
                  </a:lnTo>
                  <a:lnTo>
                    <a:pt x="1224" y="348"/>
                  </a:lnTo>
                  <a:lnTo>
                    <a:pt x="1194" y="378"/>
                  </a:lnTo>
                  <a:lnTo>
                    <a:pt x="1170" y="378"/>
                  </a:lnTo>
                  <a:lnTo>
                    <a:pt x="1152" y="372"/>
                  </a:lnTo>
                  <a:lnTo>
                    <a:pt x="1128" y="372"/>
                  </a:lnTo>
                  <a:lnTo>
                    <a:pt x="1110" y="390"/>
                  </a:lnTo>
                  <a:lnTo>
                    <a:pt x="1104" y="390"/>
                  </a:lnTo>
                  <a:lnTo>
                    <a:pt x="1080" y="378"/>
                  </a:lnTo>
                  <a:lnTo>
                    <a:pt x="1074" y="372"/>
                  </a:lnTo>
                  <a:lnTo>
                    <a:pt x="1062" y="366"/>
                  </a:lnTo>
                  <a:lnTo>
                    <a:pt x="1050" y="354"/>
                  </a:lnTo>
                  <a:lnTo>
                    <a:pt x="1050" y="342"/>
                  </a:lnTo>
                  <a:lnTo>
                    <a:pt x="1044" y="336"/>
                  </a:lnTo>
                  <a:lnTo>
                    <a:pt x="1032" y="330"/>
                  </a:lnTo>
                  <a:lnTo>
                    <a:pt x="1008" y="330"/>
                  </a:lnTo>
                  <a:lnTo>
                    <a:pt x="996" y="336"/>
                  </a:lnTo>
                  <a:lnTo>
                    <a:pt x="990" y="348"/>
                  </a:lnTo>
                  <a:lnTo>
                    <a:pt x="978" y="366"/>
                  </a:lnTo>
                  <a:lnTo>
                    <a:pt x="972" y="384"/>
                  </a:lnTo>
                  <a:lnTo>
                    <a:pt x="972" y="402"/>
                  </a:lnTo>
                  <a:lnTo>
                    <a:pt x="966" y="408"/>
                  </a:lnTo>
                  <a:lnTo>
                    <a:pt x="966" y="414"/>
                  </a:lnTo>
                  <a:lnTo>
                    <a:pt x="990" y="444"/>
                  </a:lnTo>
                  <a:lnTo>
                    <a:pt x="1002" y="498"/>
                  </a:lnTo>
                  <a:lnTo>
                    <a:pt x="1050" y="528"/>
                  </a:lnTo>
                  <a:lnTo>
                    <a:pt x="1038" y="564"/>
                  </a:lnTo>
                  <a:lnTo>
                    <a:pt x="1068" y="582"/>
                  </a:lnTo>
                  <a:lnTo>
                    <a:pt x="1050" y="606"/>
                  </a:lnTo>
                  <a:lnTo>
                    <a:pt x="1068" y="636"/>
                  </a:lnTo>
                  <a:lnTo>
                    <a:pt x="1056" y="648"/>
                  </a:lnTo>
                  <a:lnTo>
                    <a:pt x="1068" y="702"/>
                  </a:lnTo>
                  <a:lnTo>
                    <a:pt x="1110" y="696"/>
                  </a:lnTo>
                  <a:lnTo>
                    <a:pt x="1140" y="708"/>
                  </a:lnTo>
                  <a:lnTo>
                    <a:pt x="1146" y="696"/>
                  </a:lnTo>
                  <a:lnTo>
                    <a:pt x="1170" y="672"/>
                  </a:lnTo>
                  <a:lnTo>
                    <a:pt x="1182" y="672"/>
                  </a:lnTo>
                  <a:lnTo>
                    <a:pt x="1182" y="690"/>
                  </a:lnTo>
                  <a:lnTo>
                    <a:pt x="1188" y="702"/>
                  </a:lnTo>
                  <a:lnTo>
                    <a:pt x="1188" y="726"/>
                  </a:lnTo>
                  <a:lnTo>
                    <a:pt x="1194" y="738"/>
                  </a:lnTo>
                  <a:lnTo>
                    <a:pt x="1212" y="738"/>
                  </a:lnTo>
                  <a:lnTo>
                    <a:pt x="1218" y="726"/>
                  </a:lnTo>
                  <a:lnTo>
                    <a:pt x="1218" y="720"/>
                  </a:lnTo>
                  <a:lnTo>
                    <a:pt x="1224" y="714"/>
                  </a:lnTo>
                  <a:lnTo>
                    <a:pt x="1224" y="708"/>
                  </a:lnTo>
                  <a:lnTo>
                    <a:pt x="1254" y="726"/>
                  </a:lnTo>
                  <a:lnTo>
                    <a:pt x="1266" y="720"/>
                  </a:lnTo>
                  <a:lnTo>
                    <a:pt x="1272" y="708"/>
                  </a:lnTo>
                  <a:lnTo>
                    <a:pt x="1284" y="702"/>
                  </a:lnTo>
                  <a:lnTo>
                    <a:pt x="1296" y="702"/>
                  </a:lnTo>
                  <a:lnTo>
                    <a:pt x="1296" y="714"/>
                  </a:lnTo>
                  <a:lnTo>
                    <a:pt x="1302" y="720"/>
                  </a:lnTo>
                  <a:lnTo>
                    <a:pt x="1302" y="738"/>
                  </a:lnTo>
                  <a:lnTo>
                    <a:pt x="1308" y="744"/>
                  </a:lnTo>
                  <a:lnTo>
                    <a:pt x="1332" y="744"/>
                  </a:lnTo>
                  <a:lnTo>
                    <a:pt x="1350" y="738"/>
                  </a:lnTo>
                  <a:lnTo>
                    <a:pt x="1362" y="732"/>
                  </a:lnTo>
                  <a:lnTo>
                    <a:pt x="1392" y="732"/>
                  </a:lnTo>
                  <a:lnTo>
                    <a:pt x="1404" y="744"/>
                  </a:lnTo>
                  <a:lnTo>
                    <a:pt x="1404" y="786"/>
                  </a:lnTo>
                  <a:lnTo>
                    <a:pt x="1398" y="798"/>
                  </a:lnTo>
                  <a:lnTo>
                    <a:pt x="1398" y="810"/>
                  </a:lnTo>
                  <a:lnTo>
                    <a:pt x="1404" y="810"/>
                  </a:lnTo>
                  <a:lnTo>
                    <a:pt x="1410" y="804"/>
                  </a:lnTo>
                  <a:lnTo>
                    <a:pt x="1422" y="798"/>
                  </a:lnTo>
                  <a:lnTo>
                    <a:pt x="1440" y="792"/>
                  </a:lnTo>
                  <a:lnTo>
                    <a:pt x="1452" y="786"/>
                  </a:lnTo>
                  <a:lnTo>
                    <a:pt x="1476" y="762"/>
                  </a:lnTo>
                  <a:lnTo>
                    <a:pt x="1482" y="750"/>
                  </a:lnTo>
                  <a:lnTo>
                    <a:pt x="1500" y="732"/>
                  </a:lnTo>
                  <a:lnTo>
                    <a:pt x="1500" y="726"/>
                  </a:lnTo>
                  <a:close/>
                  <a:moveTo>
                    <a:pt x="1476" y="1116"/>
                  </a:moveTo>
                  <a:lnTo>
                    <a:pt x="1470" y="1116"/>
                  </a:lnTo>
                  <a:lnTo>
                    <a:pt x="1458" y="1122"/>
                  </a:lnTo>
                  <a:lnTo>
                    <a:pt x="1452" y="1128"/>
                  </a:lnTo>
                  <a:lnTo>
                    <a:pt x="1458" y="1134"/>
                  </a:lnTo>
                  <a:lnTo>
                    <a:pt x="1470" y="1140"/>
                  </a:lnTo>
                  <a:lnTo>
                    <a:pt x="1476" y="1140"/>
                  </a:lnTo>
                  <a:lnTo>
                    <a:pt x="1488" y="1146"/>
                  </a:lnTo>
                  <a:lnTo>
                    <a:pt x="1500" y="1134"/>
                  </a:lnTo>
                  <a:lnTo>
                    <a:pt x="1500" y="1128"/>
                  </a:lnTo>
                  <a:lnTo>
                    <a:pt x="1488" y="1116"/>
                  </a:lnTo>
                  <a:lnTo>
                    <a:pt x="1476" y="1116"/>
                  </a:lnTo>
                  <a:close/>
                  <a:moveTo>
                    <a:pt x="1716" y="1230"/>
                  </a:moveTo>
                  <a:lnTo>
                    <a:pt x="1680" y="1218"/>
                  </a:lnTo>
                  <a:lnTo>
                    <a:pt x="1674" y="1224"/>
                  </a:lnTo>
                  <a:lnTo>
                    <a:pt x="1674" y="1230"/>
                  </a:lnTo>
                  <a:lnTo>
                    <a:pt x="1686" y="1254"/>
                  </a:lnTo>
                  <a:lnTo>
                    <a:pt x="1692" y="1260"/>
                  </a:lnTo>
                  <a:lnTo>
                    <a:pt x="1704" y="1266"/>
                  </a:lnTo>
                  <a:lnTo>
                    <a:pt x="1716" y="1266"/>
                  </a:lnTo>
                  <a:lnTo>
                    <a:pt x="1722" y="1260"/>
                  </a:lnTo>
                  <a:lnTo>
                    <a:pt x="1740" y="1260"/>
                  </a:lnTo>
                  <a:lnTo>
                    <a:pt x="1746" y="1266"/>
                  </a:lnTo>
                  <a:lnTo>
                    <a:pt x="1746" y="1278"/>
                  </a:lnTo>
                  <a:lnTo>
                    <a:pt x="1752" y="1290"/>
                  </a:lnTo>
                  <a:lnTo>
                    <a:pt x="1764" y="1296"/>
                  </a:lnTo>
                  <a:lnTo>
                    <a:pt x="1788" y="1296"/>
                  </a:lnTo>
                  <a:lnTo>
                    <a:pt x="1794" y="1290"/>
                  </a:lnTo>
                  <a:lnTo>
                    <a:pt x="1800" y="1290"/>
                  </a:lnTo>
                  <a:lnTo>
                    <a:pt x="1800" y="1284"/>
                  </a:lnTo>
                  <a:lnTo>
                    <a:pt x="1794" y="1272"/>
                  </a:lnTo>
                  <a:lnTo>
                    <a:pt x="1782" y="1260"/>
                  </a:lnTo>
                  <a:lnTo>
                    <a:pt x="1770" y="1236"/>
                  </a:lnTo>
                  <a:lnTo>
                    <a:pt x="1746" y="1224"/>
                  </a:lnTo>
                  <a:lnTo>
                    <a:pt x="1728" y="1224"/>
                  </a:lnTo>
                  <a:lnTo>
                    <a:pt x="1716" y="1230"/>
                  </a:lnTo>
                  <a:close/>
                  <a:moveTo>
                    <a:pt x="1962" y="1122"/>
                  </a:moveTo>
                  <a:lnTo>
                    <a:pt x="1932" y="1146"/>
                  </a:lnTo>
                  <a:lnTo>
                    <a:pt x="1920" y="1134"/>
                  </a:lnTo>
                  <a:lnTo>
                    <a:pt x="1890" y="1134"/>
                  </a:lnTo>
                  <a:lnTo>
                    <a:pt x="1884" y="1140"/>
                  </a:lnTo>
                  <a:lnTo>
                    <a:pt x="1872" y="1146"/>
                  </a:lnTo>
                  <a:lnTo>
                    <a:pt x="1866" y="1152"/>
                  </a:lnTo>
                  <a:lnTo>
                    <a:pt x="1860" y="1140"/>
                  </a:lnTo>
                  <a:lnTo>
                    <a:pt x="1836" y="1116"/>
                  </a:lnTo>
                  <a:lnTo>
                    <a:pt x="1824" y="1116"/>
                  </a:lnTo>
                  <a:lnTo>
                    <a:pt x="1800" y="1128"/>
                  </a:lnTo>
                  <a:lnTo>
                    <a:pt x="1764" y="1164"/>
                  </a:lnTo>
                  <a:lnTo>
                    <a:pt x="1728" y="1158"/>
                  </a:lnTo>
                  <a:lnTo>
                    <a:pt x="1716" y="1176"/>
                  </a:lnTo>
                  <a:lnTo>
                    <a:pt x="1746" y="1176"/>
                  </a:lnTo>
                  <a:lnTo>
                    <a:pt x="1752" y="1182"/>
                  </a:lnTo>
                  <a:lnTo>
                    <a:pt x="1764" y="1182"/>
                  </a:lnTo>
                  <a:lnTo>
                    <a:pt x="1776" y="1188"/>
                  </a:lnTo>
                  <a:lnTo>
                    <a:pt x="1788" y="1188"/>
                  </a:lnTo>
                  <a:lnTo>
                    <a:pt x="1794" y="1182"/>
                  </a:lnTo>
                  <a:lnTo>
                    <a:pt x="1806" y="1176"/>
                  </a:lnTo>
                  <a:lnTo>
                    <a:pt x="1812" y="1170"/>
                  </a:lnTo>
                  <a:lnTo>
                    <a:pt x="1908" y="1164"/>
                  </a:lnTo>
                  <a:lnTo>
                    <a:pt x="1956" y="1158"/>
                  </a:lnTo>
                  <a:lnTo>
                    <a:pt x="1992" y="1128"/>
                  </a:lnTo>
                  <a:lnTo>
                    <a:pt x="1992" y="1110"/>
                  </a:lnTo>
                  <a:lnTo>
                    <a:pt x="1962" y="1122"/>
                  </a:lnTo>
                  <a:close/>
                  <a:moveTo>
                    <a:pt x="1578" y="1158"/>
                  </a:moveTo>
                  <a:lnTo>
                    <a:pt x="1566" y="1152"/>
                  </a:lnTo>
                  <a:lnTo>
                    <a:pt x="1560" y="1146"/>
                  </a:lnTo>
                  <a:lnTo>
                    <a:pt x="1548" y="1140"/>
                  </a:lnTo>
                  <a:lnTo>
                    <a:pt x="1536" y="1140"/>
                  </a:lnTo>
                  <a:lnTo>
                    <a:pt x="1512" y="1164"/>
                  </a:lnTo>
                  <a:lnTo>
                    <a:pt x="1506" y="1176"/>
                  </a:lnTo>
                  <a:lnTo>
                    <a:pt x="1500" y="1182"/>
                  </a:lnTo>
                  <a:lnTo>
                    <a:pt x="1554" y="1188"/>
                  </a:lnTo>
                  <a:lnTo>
                    <a:pt x="1554" y="1212"/>
                  </a:lnTo>
                  <a:lnTo>
                    <a:pt x="1578" y="1206"/>
                  </a:lnTo>
                  <a:lnTo>
                    <a:pt x="1590" y="1188"/>
                  </a:lnTo>
                  <a:lnTo>
                    <a:pt x="1614" y="1206"/>
                  </a:lnTo>
                  <a:lnTo>
                    <a:pt x="1644" y="1170"/>
                  </a:lnTo>
                  <a:lnTo>
                    <a:pt x="1596" y="1152"/>
                  </a:lnTo>
                  <a:lnTo>
                    <a:pt x="1578" y="1158"/>
                  </a:lnTo>
                  <a:close/>
                </a:path>
              </a:pathLst>
            </a:custGeom>
            <a:grpFill/>
            <a:ln w="3175">
              <a:solidFill>
                <a:schemeClr val="bg1"/>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de-DE" sz="1800" b="0" i="0" u="none" strike="noStrike" kern="1200" cap="none" spc="0" normalizeH="0" baseline="0" noProof="0">
                <a:ln>
                  <a:noFill/>
                </a:ln>
                <a:solidFill>
                  <a:srgbClr val="FFC000"/>
                </a:solidFill>
                <a:effectLst/>
                <a:uLnTx/>
                <a:uFillTx/>
                <a:latin typeface="Calibri" pitchFamily="34" charset="0"/>
                <a:ea typeface="+mn-ea"/>
                <a:cs typeface="+mn-cs"/>
              </a:endParaRPr>
            </a:p>
          </p:txBody>
        </p:sp>
        <p:sp>
          <p:nvSpPr>
            <p:cNvPr id="121" name="India" descr="© INSCALE GmbH, 05.05.2010&#10;http://www.presentationload.com/"/>
            <p:cNvSpPr>
              <a:spLocks noEditPoints="1"/>
            </p:cNvSpPr>
            <p:nvPr/>
          </p:nvSpPr>
          <p:spPr bwMode="gray">
            <a:xfrm>
              <a:off x="6014347" y="3403575"/>
              <a:ext cx="634801" cy="732424"/>
            </a:xfrm>
            <a:custGeom>
              <a:avLst/>
              <a:gdLst>
                <a:gd name="T0" fmla="*/ 2147483647 w 1956"/>
                <a:gd name="T1" fmla="*/ 2147483647 h 2358"/>
                <a:gd name="T2" fmla="*/ 2147483647 w 1956"/>
                <a:gd name="T3" fmla="*/ 2147483647 h 2358"/>
                <a:gd name="T4" fmla="*/ 2147483647 w 1956"/>
                <a:gd name="T5" fmla="*/ 2147483647 h 2358"/>
                <a:gd name="T6" fmla="*/ 2147483647 w 1956"/>
                <a:gd name="T7" fmla="*/ 2147483647 h 2358"/>
                <a:gd name="T8" fmla="*/ 2147483647 w 1956"/>
                <a:gd name="T9" fmla="*/ 2147483647 h 2358"/>
                <a:gd name="T10" fmla="*/ 2147483647 w 1956"/>
                <a:gd name="T11" fmla="*/ 2147483647 h 2358"/>
                <a:gd name="T12" fmla="*/ 2147483647 w 1956"/>
                <a:gd name="T13" fmla="*/ 2147483647 h 2358"/>
                <a:gd name="T14" fmla="*/ 2147483647 w 1956"/>
                <a:gd name="T15" fmla="*/ 2147483647 h 2358"/>
                <a:gd name="T16" fmla="*/ 2147483647 w 1956"/>
                <a:gd name="T17" fmla="*/ 2147483647 h 2358"/>
                <a:gd name="T18" fmla="*/ 2147483647 w 1956"/>
                <a:gd name="T19" fmla="*/ 2147483647 h 2358"/>
                <a:gd name="T20" fmla="*/ 2147483647 w 1956"/>
                <a:gd name="T21" fmla="*/ 2147483647 h 2358"/>
                <a:gd name="T22" fmla="*/ 2147483647 w 1956"/>
                <a:gd name="T23" fmla="*/ 2147483647 h 2358"/>
                <a:gd name="T24" fmla="*/ 2147483647 w 1956"/>
                <a:gd name="T25" fmla="*/ 2147483647 h 2358"/>
                <a:gd name="T26" fmla="*/ 2147483647 w 1956"/>
                <a:gd name="T27" fmla="*/ 2147483647 h 2358"/>
                <a:gd name="T28" fmla="*/ 2147483647 w 1956"/>
                <a:gd name="T29" fmla="*/ 2147483647 h 2358"/>
                <a:gd name="T30" fmla="*/ 2147483647 w 1956"/>
                <a:gd name="T31" fmla="*/ 2147483647 h 2358"/>
                <a:gd name="T32" fmla="*/ 2147483647 w 1956"/>
                <a:gd name="T33" fmla="*/ 2147483647 h 2358"/>
                <a:gd name="T34" fmla="*/ 2147483647 w 1956"/>
                <a:gd name="T35" fmla="*/ 2147483647 h 2358"/>
                <a:gd name="T36" fmla="*/ 2147483647 w 1956"/>
                <a:gd name="T37" fmla="*/ 2147483647 h 2358"/>
                <a:gd name="T38" fmla="*/ 2147483647 w 1956"/>
                <a:gd name="T39" fmla="*/ 2147483647 h 2358"/>
                <a:gd name="T40" fmla="*/ 2147483647 w 1956"/>
                <a:gd name="T41" fmla="*/ 2147483647 h 2358"/>
                <a:gd name="T42" fmla="*/ 2147483647 w 1956"/>
                <a:gd name="T43" fmla="*/ 2147483647 h 2358"/>
                <a:gd name="T44" fmla="*/ 2147483647 w 1956"/>
                <a:gd name="T45" fmla="*/ 2147483647 h 2358"/>
                <a:gd name="T46" fmla="*/ 2147483647 w 1956"/>
                <a:gd name="T47" fmla="*/ 2147483647 h 2358"/>
                <a:gd name="T48" fmla="*/ 2147483647 w 1956"/>
                <a:gd name="T49" fmla="*/ 2147483647 h 2358"/>
                <a:gd name="T50" fmla="*/ 2147483647 w 1956"/>
                <a:gd name="T51" fmla="*/ 2147483647 h 2358"/>
                <a:gd name="T52" fmla="*/ 2147483647 w 1956"/>
                <a:gd name="T53" fmla="*/ 2147483647 h 2358"/>
                <a:gd name="T54" fmla="*/ 2147483647 w 1956"/>
                <a:gd name="T55" fmla="*/ 2147483647 h 2358"/>
                <a:gd name="T56" fmla="*/ 2147483647 w 1956"/>
                <a:gd name="T57" fmla="*/ 2147483647 h 2358"/>
                <a:gd name="T58" fmla="*/ 2147483647 w 1956"/>
                <a:gd name="T59" fmla="*/ 2147483647 h 2358"/>
                <a:gd name="T60" fmla="*/ 2147483647 w 1956"/>
                <a:gd name="T61" fmla="*/ 2147483647 h 2358"/>
                <a:gd name="T62" fmla="*/ 2147483647 w 1956"/>
                <a:gd name="T63" fmla="*/ 2147483647 h 2358"/>
                <a:gd name="T64" fmla="*/ 2147483647 w 1956"/>
                <a:gd name="T65" fmla="*/ 2147483647 h 2358"/>
                <a:gd name="T66" fmla="*/ 2147483647 w 1956"/>
                <a:gd name="T67" fmla="*/ 2147483647 h 2358"/>
                <a:gd name="T68" fmla="*/ 2147483647 w 1956"/>
                <a:gd name="T69" fmla="*/ 2147483647 h 2358"/>
                <a:gd name="T70" fmla="*/ 2147483647 w 1956"/>
                <a:gd name="T71" fmla="*/ 2147483647 h 2358"/>
                <a:gd name="T72" fmla="*/ 2147483647 w 1956"/>
                <a:gd name="T73" fmla="*/ 2147483647 h 2358"/>
                <a:gd name="T74" fmla="*/ 2147483647 w 1956"/>
                <a:gd name="T75" fmla="*/ 2147483647 h 2358"/>
                <a:gd name="T76" fmla="*/ 2147483647 w 1956"/>
                <a:gd name="T77" fmla="*/ 2147483647 h 2358"/>
                <a:gd name="T78" fmla="*/ 2147483647 w 1956"/>
                <a:gd name="T79" fmla="*/ 2147483647 h 2358"/>
                <a:gd name="T80" fmla="*/ 2147483647 w 1956"/>
                <a:gd name="T81" fmla="*/ 2147483647 h 2358"/>
                <a:gd name="T82" fmla="*/ 2147483647 w 1956"/>
                <a:gd name="T83" fmla="*/ 2147483647 h 2358"/>
                <a:gd name="T84" fmla="*/ 2147483647 w 1956"/>
                <a:gd name="T85" fmla="*/ 2147483647 h 2358"/>
                <a:gd name="T86" fmla="*/ 2147483647 w 1956"/>
                <a:gd name="T87" fmla="*/ 2147483647 h 2358"/>
                <a:gd name="T88" fmla="*/ 2147483647 w 1956"/>
                <a:gd name="T89" fmla="*/ 2147483647 h 2358"/>
                <a:gd name="T90" fmla="*/ 2147483647 w 1956"/>
                <a:gd name="T91" fmla="*/ 2147483647 h 2358"/>
                <a:gd name="T92" fmla="*/ 2147483647 w 1956"/>
                <a:gd name="T93" fmla="*/ 2147483647 h 2358"/>
                <a:gd name="T94" fmla="*/ 2147483647 w 1956"/>
                <a:gd name="T95" fmla="*/ 2147483647 h 2358"/>
                <a:gd name="T96" fmla="*/ 2147483647 w 1956"/>
                <a:gd name="T97" fmla="*/ 2147483647 h 2358"/>
                <a:gd name="T98" fmla="*/ 2147483647 w 1956"/>
                <a:gd name="T99" fmla="*/ 2147483647 h 2358"/>
                <a:gd name="T100" fmla="*/ 2147483647 w 1956"/>
                <a:gd name="T101" fmla="*/ 2147483647 h 2358"/>
                <a:gd name="T102" fmla="*/ 2147483647 w 1956"/>
                <a:gd name="T103" fmla="*/ 2147483647 h 2358"/>
                <a:gd name="T104" fmla="*/ 2147483647 w 1956"/>
                <a:gd name="T105" fmla="*/ 2147483647 h 2358"/>
                <a:gd name="T106" fmla="*/ 2147483647 w 1956"/>
                <a:gd name="T107" fmla="*/ 2147483647 h 2358"/>
                <a:gd name="T108" fmla="*/ 2147483647 w 1956"/>
                <a:gd name="T109" fmla="*/ 2147483647 h 2358"/>
                <a:gd name="T110" fmla="*/ 2147483647 w 1956"/>
                <a:gd name="T111" fmla="*/ 2147483647 h 2358"/>
                <a:gd name="T112" fmla="*/ 2147483647 w 1956"/>
                <a:gd name="T113" fmla="*/ 2147483647 h 2358"/>
                <a:gd name="T114" fmla="*/ 2147483647 w 1956"/>
                <a:gd name="T115" fmla="*/ 2147483647 h 2358"/>
                <a:gd name="T116" fmla="*/ 2147483647 w 1956"/>
                <a:gd name="T117" fmla="*/ 2147483647 h 2358"/>
                <a:gd name="T118" fmla="*/ 2147483647 w 1956"/>
                <a:gd name="T119" fmla="*/ 2147483647 h 2358"/>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1956"/>
                <a:gd name="T181" fmla="*/ 0 h 2358"/>
                <a:gd name="T182" fmla="*/ 1956 w 1956"/>
                <a:gd name="T183" fmla="*/ 2358 h 2358"/>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1956" h="2358">
                  <a:moveTo>
                    <a:pt x="1806" y="1788"/>
                  </a:moveTo>
                  <a:lnTo>
                    <a:pt x="1794" y="1800"/>
                  </a:lnTo>
                  <a:lnTo>
                    <a:pt x="1782" y="1824"/>
                  </a:lnTo>
                  <a:lnTo>
                    <a:pt x="1782" y="1884"/>
                  </a:lnTo>
                  <a:lnTo>
                    <a:pt x="1788" y="1980"/>
                  </a:lnTo>
                  <a:lnTo>
                    <a:pt x="1800" y="1950"/>
                  </a:lnTo>
                  <a:lnTo>
                    <a:pt x="1800" y="1848"/>
                  </a:lnTo>
                  <a:lnTo>
                    <a:pt x="1806" y="1836"/>
                  </a:lnTo>
                  <a:lnTo>
                    <a:pt x="1806" y="1830"/>
                  </a:lnTo>
                  <a:lnTo>
                    <a:pt x="1812" y="1818"/>
                  </a:lnTo>
                  <a:lnTo>
                    <a:pt x="1812" y="1806"/>
                  </a:lnTo>
                  <a:lnTo>
                    <a:pt x="1818" y="1800"/>
                  </a:lnTo>
                  <a:lnTo>
                    <a:pt x="1812" y="1788"/>
                  </a:lnTo>
                  <a:lnTo>
                    <a:pt x="1806" y="1788"/>
                  </a:lnTo>
                  <a:close/>
                  <a:moveTo>
                    <a:pt x="1794" y="2028"/>
                  </a:moveTo>
                  <a:lnTo>
                    <a:pt x="1788" y="2028"/>
                  </a:lnTo>
                  <a:lnTo>
                    <a:pt x="1782" y="2040"/>
                  </a:lnTo>
                  <a:lnTo>
                    <a:pt x="1782" y="2046"/>
                  </a:lnTo>
                  <a:lnTo>
                    <a:pt x="1788" y="2058"/>
                  </a:lnTo>
                  <a:lnTo>
                    <a:pt x="1788" y="2064"/>
                  </a:lnTo>
                  <a:lnTo>
                    <a:pt x="1794" y="2076"/>
                  </a:lnTo>
                  <a:lnTo>
                    <a:pt x="1800" y="2064"/>
                  </a:lnTo>
                  <a:lnTo>
                    <a:pt x="1800" y="2028"/>
                  </a:lnTo>
                  <a:lnTo>
                    <a:pt x="1794" y="2028"/>
                  </a:lnTo>
                  <a:close/>
                  <a:moveTo>
                    <a:pt x="1890" y="2310"/>
                  </a:moveTo>
                  <a:lnTo>
                    <a:pt x="1884" y="2316"/>
                  </a:lnTo>
                  <a:lnTo>
                    <a:pt x="1884" y="2334"/>
                  </a:lnTo>
                  <a:lnTo>
                    <a:pt x="1890" y="2346"/>
                  </a:lnTo>
                  <a:lnTo>
                    <a:pt x="1896" y="2352"/>
                  </a:lnTo>
                  <a:lnTo>
                    <a:pt x="1908" y="2358"/>
                  </a:lnTo>
                  <a:lnTo>
                    <a:pt x="1908" y="2346"/>
                  </a:lnTo>
                  <a:lnTo>
                    <a:pt x="1902" y="2334"/>
                  </a:lnTo>
                  <a:lnTo>
                    <a:pt x="1902" y="2322"/>
                  </a:lnTo>
                  <a:lnTo>
                    <a:pt x="1896" y="2310"/>
                  </a:lnTo>
                  <a:lnTo>
                    <a:pt x="1890" y="2310"/>
                  </a:lnTo>
                  <a:close/>
                  <a:moveTo>
                    <a:pt x="1920" y="672"/>
                  </a:moveTo>
                  <a:lnTo>
                    <a:pt x="1932" y="660"/>
                  </a:lnTo>
                  <a:lnTo>
                    <a:pt x="1944" y="654"/>
                  </a:lnTo>
                  <a:lnTo>
                    <a:pt x="1950" y="648"/>
                  </a:lnTo>
                  <a:lnTo>
                    <a:pt x="1956" y="648"/>
                  </a:lnTo>
                  <a:lnTo>
                    <a:pt x="1956" y="618"/>
                  </a:lnTo>
                  <a:lnTo>
                    <a:pt x="1950" y="618"/>
                  </a:lnTo>
                  <a:lnTo>
                    <a:pt x="1944" y="612"/>
                  </a:lnTo>
                  <a:lnTo>
                    <a:pt x="1878" y="612"/>
                  </a:lnTo>
                  <a:lnTo>
                    <a:pt x="1878" y="606"/>
                  </a:lnTo>
                  <a:lnTo>
                    <a:pt x="1890" y="594"/>
                  </a:lnTo>
                  <a:lnTo>
                    <a:pt x="1896" y="594"/>
                  </a:lnTo>
                  <a:lnTo>
                    <a:pt x="1878" y="564"/>
                  </a:lnTo>
                  <a:lnTo>
                    <a:pt x="1848" y="564"/>
                  </a:lnTo>
                  <a:lnTo>
                    <a:pt x="1842" y="558"/>
                  </a:lnTo>
                  <a:lnTo>
                    <a:pt x="1848" y="558"/>
                  </a:lnTo>
                  <a:lnTo>
                    <a:pt x="1860" y="546"/>
                  </a:lnTo>
                  <a:lnTo>
                    <a:pt x="1854" y="540"/>
                  </a:lnTo>
                  <a:lnTo>
                    <a:pt x="1818" y="522"/>
                  </a:lnTo>
                  <a:lnTo>
                    <a:pt x="1806" y="534"/>
                  </a:lnTo>
                  <a:lnTo>
                    <a:pt x="1806" y="558"/>
                  </a:lnTo>
                  <a:lnTo>
                    <a:pt x="1788" y="558"/>
                  </a:lnTo>
                  <a:lnTo>
                    <a:pt x="1770" y="546"/>
                  </a:lnTo>
                  <a:lnTo>
                    <a:pt x="1758" y="540"/>
                  </a:lnTo>
                  <a:lnTo>
                    <a:pt x="1740" y="540"/>
                  </a:lnTo>
                  <a:lnTo>
                    <a:pt x="1728" y="552"/>
                  </a:lnTo>
                  <a:lnTo>
                    <a:pt x="1716" y="558"/>
                  </a:lnTo>
                  <a:lnTo>
                    <a:pt x="1692" y="582"/>
                  </a:lnTo>
                  <a:lnTo>
                    <a:pt x="1656" y="582"/>
                  </a:lnTo>
                  <a:lnTo>
                    <a:pt x="1656" y="588"/>
                  </a:lnTo>
                  <a:lnTo>
                    <a:pt x="1662" y="594"/>
                  </a:lnTo>
                  <a:lnTo>
                    <a:pt x="1662" y="618"/>
                  </a:lnTo>
                  <a:lnTo>
                    <a:pt x="1656" y="624"/>
                  </a:lnTo>
                  <a:lnTo>
                    <a:pt x="1626" y="624"/>
                  </a:lnTo>
                  <a:lnTo>
                    <a:pt x="1632" y="636"/>
                  </a:lnTo>
                  <a:lnTo>
                    <a:pt x="1632" y="654"/>
                  </a:lnTo>
                  <a:lnTo>
                    <a:pt x="1620" y="666"/>
                  </a:lnTo>
                  <a:lnTo>
                    <a:pt x="1566" y="666"/>
                  </a:lnTo>
                  <a:lnTo>
                    <a:pt x="1566" y="684"/>
                  </a:lnTo>
                  <a:lnTo>
                    <a:pt x="1572" y="690"/>
                  </a:lnTo>
                  <a:lnTo>
                    <a:pt x="1596" y="690"/>
                  </a:lnTo>
                  <a:lnTo>
                    <a:pt x="1596" y="714"/>
                  </a:lnTo>
                  <a:lnTo>
                    <a:pt x="1608" y="726"/>
                  </a:lnTo>
                  <a:lnTo>
                    <a:pt x="1608" y="732"/>
                  </a:lnTo>
                  <a:lnTo>
                    <a:pt x="1584" y="744"/>
                  </a:lnTo>
                  <a:lnTo>
                    <a:pt x="1572" y="744"/>
                  </a:lnTo>
                  <a:lnTo>
                    <a:pt x="1566" y="738"/>
                  </a:lnTo>
                  <a:lnTo>
                    <a:pt x="1554" y="738"/>
                  </a:lnTo>
                  <a:lnTo>
                    <a:pt x="1542" y="744"/>
                  </a:lnTo>
                  <a:lnTo>
                    <a:pt x="1512" y="744"/>
                  </a:lnTo>
                  <a:lnTo>
                    <a:pt x="1500" y="738"/>
                  </a:lnTo>
                  <a:lnTo>
                    <a:pt x="1482" y="738"/>
                  </a:lnTo>
                  <a:lnTo>
                    <a:pt x="1476" y="744"/>
                  </a:lnTo>
                  <a:lnTo>
                    <a:pt x="1464" y="750"/>
                  </a:lnTo>
                  <a:lnTo>
                    <a:pt x="1440" y="750"/>
                  </a:lnTo>
                  <a:lnTo>
                    <a:pt x="1428" y="738"/>
                  </a:lnTo>
                  <a:lnTo>
                    <a:pt x="1428" y="732"/>
                  </a:lnTo>
                  <a:lnTo>
                    <a:pt x="1428" y="738"/>
                  </a:lnTo>
                  <a:lnTo>
                    <a:pt x="1416" y="738"/>
                  </a:lnTo>
                  <a:lnTo>
                    <a:pt x="1392" y="726"/>
                  </a:lnTo>
                  <a:lnTo>
                    <a:pt x="1374" y="708"/>
                  </a:lnTo>
                  <a:lnTo>
                    <a:pt x="1374" y="696"/>
                  </a:lnTo>
                  <a:lnTo>
                    <a:pt x="1380" y="696"/>
                  </a:lnTo>
                  <a:lnTo>
                    <a:pt x="1374" y="696"/>
                  </a:lnTo>
                  <a:lnTo>
                    <a:pt x="1368" y="690"/>
                  </a:lnTo>
                  <a:lnTo>
                    <a:pt x="1368" y="642"/>
                  </a:lnTo>
                  <a:lnTo>
                    <a:pt x="1362" y="636"/>
                  </a:lnTo>
                  <a:lnTo>
                    <a:pt x="1350" y="630"/>
                  </a:lnTo>
                  <a:lnTo>
                    <a:pt x="1338" y="630"/>
                  </a:lnTo>
                  <a:lnTo>
                    <a:pt x="1326" y="642"/>
                  </a:lnTo>
                  <a:lnTo>
                    <a:pt x="1314" y="648"/>
                  </a:lnTo>
                  <a:lnTo>
                    <a:pt x="1326" y="666"/>
                  </a:lnTo>
                  <a:lnTo>
                    <a:pt x="1326" y="714"/>
                  </a:lnTo>
                  <a:lnTo>
                    <a:pt x="1338" y="738"/>
                  </a:lnTo>
                  <a:lnTo>
                    <a:pt x="1338" y="774"/>
                  </a:lnTo>
                  <a:lnTo>
                    <a:pt x="1272" y="774"/>
                  </a:lnTo>
                  <a:lnTo>
                    <a:pt x="1272" y="762"/>
                  </a:lnTo>
                  <a:lnTo>
                    <a:pt x="1266" y="756"/>
                  </a:lnTo>
                  <a:lnTo>
                    <a:pt x="1260" y="756"/>
                  </a:lnTo>
                  <a:lnTo>
                    <a:pt x="1248" y="762"/>
                  </a:lnTo>
                  <a:lnTo>
                    <a:pt x="1242" y="774"/>
                  </a:lnTo>
                  <a:lnTo>
                    <a:pt x="1236" y="762"/>
                  </a:lnTo>
                  <a:lnTo>
                    <a:pt x="1224" y="756"/>
                  </a:lnTo>
                  <a:lnTo>
                    <a:pt x="1206" y="750"/>
                  </a:lnTo>
                  <a:lnTo>
                    <a:pt x="1188" y="750"/>
                  </a:lnTo>
                  <a:lnTo>
                    <a:pt x="1182" y="756"/>
                  </a:lnTo>
                  <a:lnTo>
                    <a:pt x="1152" y="738"/>
                  </a:lnTo>
                  <a:lnTo>
                    <a:pt x="1134" y="750"/>
                  </a:lnTo>
                  <a:lnTo>
                    <a:pt x="1080" y="696"/>
                  </a:lnTo>
                  <a:lnTo>
                    <a:pt x="1056" y="696"/>
                  </a:lnTo>
                  <a:lnTo>
                    <a:pt x="1056" y="690"/>
                  </a:lnTo>
                  <a:lnTo>
                    <a:pt x="1044" y="678"/>
                  </a:lnTo>
                  <a:lnTo>
                    <a:pt x="1038" y="678"/>
                  </a:lnTo>
                  <a:lnTo>
                    <a:pt x="1032" y="684"/>
                  </a:lnTo>
                  <a:lnTo>
                    <a:pt x="1032" y="702"/>
                  </a:lnTo>
                  <a:lnTo>
                    <a:pt x="1032" y="696"/>
                  </a:lnTo>
                  <a:lnTo>
                    <a:pt x="1026" y="690"/>
                  </a:lnTo>
                  <a:lnTo>
                    <a:pt x="1008" y="690"/>
                  </a:lnTo>
                  <a:lnTo>
                    <a:pt x="996" y="702"/>
                  </a:lnTo>
                  <a:lnTo>
                    <a:pt x="990" y="690"/>
                  </a:lnTo>
                  <a:lnTo>
                    <a:pt x="984" y="684"/>
                  </a:lnTo>
                  <a:lnTo>
                    <a:pt x="960" y="684"/>
                  </a:lnTo>
                  <a:lnTo>
                    <a:pt x="954" y="678"/>
                  </a:lnTo>
                  <a:lnTo>
                    <a:pt x="954" y="666"/>
                  </a:lnTo>
                  <a:lnTo>
                    <a:pt x="942" y="666"/>
                  </a:lnTo>
                  <a:lnTo>
                    <a:pt x="936" y="672"/>
                  </a:lnTo>
                  <a:lnTo>
                    <a:pt x="918" y="672"/>
                  </a:lnTo>
                  <a:lnTo>
                    <a:pt x="912" y="666"/>
                  </a:lnTo>
                  <a:lnTo>
                    <a:pt x="906" y="654"/>
                  </a:lnTo>
                  <a:lnTo>
                    <a:pt x="900" y="648"/>
                  </a:lnTo>
                  <a:lnTo>
                    <a:pt x="888" y="648"/>
                  </a:lnTo>
                  <a:lnTo>
                    <a:pt x="846" y="630"/>
                  </a:lnTo>
                  <a:lnTo>
                    <a:pt x="834" y="612"/>
                  </a:lnTo>
                  <a:lnTo>
                    <a:pt x="810" y="612"/>
                  </a:lnTo>
                  <a:lnTo>
                    <a:pt x="792" y="588"/>
                  </a:lnTo>
                  <a:lnTo>
                    <a:pt x="780" y="594"/>
                  </a:lnTo>
                  <a:lnTo>
                    <a:pt x="750" y="564"/>
                  </a:lnTo>
                  <a:lnTo>
                    <a:pt x="750" y="552"/>
                  </a:lnTo>
                  <a:lnTo>
                    <a:pt x="762" y="540"/>
                  </a:lnTo>
                  <a:lnTo>
                    <a:pt x="768" y="540"/>
                  </a:lnTo>
                  <a:lnTo>
                    <a:pt x="756" y="528"/>
                  </a:lnTo>
                  <a:lnTo>
                    <a:pt x="756" y="522"/>
                  </a:lnTo>
                  <a:lnTo>
                    <a:pt x="762" y="516"/>
                  </a:lnTo>
                  <a:lnTo>
                    <a:pt x="756" y="504"/>
                  </a:lnTo>
                  <a:lnTo>
                    <a:pt x="780" y="480"/>
                  </a:lnTo>
                  <a:lnTo>
                    <a:pt x="786" y="456"/>
                  </a:lnTo>
                  <a:lnTo>
                    <a:pt x="762" y="438"/>
                  </a:lnTo>
                  <a:lnTo>
                    <a:pt x="750" y="438"/>
                  </a:lnTo>
                  <a:lnTo>
                    <a:pt x="738" y="432"/>
                  </a:lnTo>
                  <a:lnTo>
                    <a:pt x="738" y="414"/>
                  </a:lnTo>
                  <a:lnTo>
                    <a:pt x="720" y="420"/>
                  </a:lnTo>
                  <a:lnTo>
                    <a:pt x="702" y="402"/>
                  </a:lnTo>
                  <a:lnTo>
                    <a:pt x="696" y="402"/>
                  </a:lnTo>
                  <a:lnTo>
                    <a:pt x="690" y="396"/>
                  </a:lnTo>
                  <a:lnTo>
                    <a:pt x="678" y="396"/>
                  </a:lnTo>
                  <a:lnTo>
                    <a:pt x="666" y="390"/>
                  </a:lnTo>
                  <a:lnTo>
                    <a:pt x="654" y="378"/>
                  </a:lnTo>
                  <a:lnTo>
                    <a:pt x="648" y="366"/>
                  </a:lnTo>
                  <a:lnTo>
                    <a:pt x="618" y="366"/>
                  </a:lnTo>
                  <a:lnTo>
                    <a:pt x="612" y="360"/>
                  </a:lnTo>
                  <a:lnTo>
                    <a:pt x="612" y="342"/>
                  </a:lnTo>
                  <a:lnTo>
                    <a:pt x="618" y="336"/>
                  </a:lnTo>
                  <a:lnTo>
                    <a:pt x="618" y="324"/>
                  </a:lnTo>
                  <a:lnTo>
                    <a:pt x="612" y="324"/>
                  </a:lnTo>
                  <a:lnTo>
                    <a:pt x="600" y="312"/>
                  </a:lnTo>
                  <a:lnTo>
                    <a:pt x="594" y="300"/>
                  </a:lnTo>
                  <a:lnTo>
                    <a:pt x="588" y="294"/>
                  </a:lnTo>
                  <a:lnTo>
                    <a:pt x="588" y="276"/>
                  </a:lnTo>
                  <a:lnTo>
                    <a:pt x="594" y="276"/>
                  </a:lnTo>
                  <a:lnTo>
                    <a:pt x="600" y="270"/>
                  </a:lnTo>
                  <a:lnTo>
                    <a:pt x="612" y="270"/>
                  </a:lnTo>
                  <a:lnTo>
                    <a:pt x="612" y="288"/>
                  </a:lnTo>
                  <a:lnTo>
                    <a:pt x="624" y="300"/>
                  </a:lnTo>
                  <a:lnTo>
                    <a:pt x="636" y="282"/>
                  </a:lnTo>
                  <a:lnTo>
                    <a:pt x="642" y="282"/>
                  </a:lnTo>
                  <a:lnTo>
                    <a:pt x="648" y="276"/>
                  </a:lnTo>
                  <a:lnTo>
                    <a:pt x="660" y="270"/>
                  </a:lnTo>
                  <a:lnTo>
                    <a:pt x="660" y="258"/>
                  </a:lnTo>
                  <a:lnTo>
                    <a:pt x="642" y="240"/>
                  </a:lnTo>
                  <a:lnTo>
                    <a:pt x="636" y="228"/>
                  </a:lnTo>
                  <a:lnTo>
                    <a:pt x="630" y="222"/>
                  </a:lnTo>
                  <a:lnTo>
                    <a:pt x="618" y="222"/>
                  </a:lnTo>
                  <a:lnTo>
                    <a:pt x="594" y="210"/>
                  </a:lnTo>
                  <a:lnTo>
                    <a:pt x="594" y="186"/>
                  </a:lnTo>
                  <a:lnTo>
                    <a:pt x="612" y="180"/>
                  </a:lnTo>
                  <a:lnTo>
                    <a:pt x="594" y="156"/>
                  </a:lnTo>
                  <a:lnTo>
                    <a:pt x="624" y="156"/>
                  </a:lnTo>
                  <a:lnTo>
                    <a:pt x="636" y="150"/>
                  </a:lnTo>
                  <a:lnTo>
                    <a:pt x="642" y="138"/>
                  </a:lnTo>
                  <a:lnTo>
                    <a:pt x="642" y="114"/>
                  </a:lnTo>
                  <a:lnTo>
                    <a:pt x="636" y="108"/>
                  </a:lnTo>
                  <a:lnTo>
                    <a:pt x="636" y="102"/>
                  </a:lnTo>
                  <a:lnTo>
                    <a:pt x="654" y="102"/>
                  </a:lnTo>
                  <a:lnTo>
                    <a:pt x="660" y="96"/>
                  </a:lnTo>
                  <a:lnTo>
                    <a:pt x="660" y="36"/>
                  </a:lnTo>
                  <a:lnTo>
                    <a:pt x="618" y="36"/>
                  </a:lnTo>
                  <a:lnTo>
                    <a:pt x="594" y="12"/>
                  </a:lnTo>
                  <a:lnTo>
                    <a:pt x="576" y="0"/>
                  </a:lnTo>
                  <a:lnTo>
                    <a:pt x="564" y="0"/>
                  </a:lnTo>
                  <a:lnTo>
                    <a:pt x="540" y="12"/>
                  </a:lnTo>
                  <a:lnTo>
                    <a:pt x="522" y="18"/>
                  </a:lnTo>
                  <a:lnTo>
                    <a:pt x="516" y="30"/>
                  </a:lnTo>
                  <a:lnTo>
                    <a:pt x="504" y="36"/>
                  </a:lnTo>
                  <a:lnTo>
                    <a:pt x="480" y="36"/>
                  </a:lnTo>
                  <a:lnTo>
                    <a:pt x="456" y="72"/>
                  </a:lnTo>
                  <a:lnTo>
                    <a:pt x="432" y="78"/>
                  </a:lnTo>
                  <a:lnTo>
                    <a:pt x="432" y="96"/>
                  </a:lnTo>
                  <a:lnTo>
                    <a:pt x="408" y="96"/>
                  </a:lnTo>
                  <a:lnTo>
                    <a:pt x="402" y="102"/>
                  </a:lnTo>
                  <a:lnTo>
                    <a:pt x="396" y="96"/>
                  </a:lnTo>
                  <a:lnTo>
                    <a:pt x="390" y="102"/>
                  </a:lnTo>
                  <a:lnTo>
                    <a:pt x="378" y="108"/>
                  </a:lnTo>
                  <a:lnTo>
                    <a:pt x="372" y="114"/>
                  </a:lnTo>
                  <a:lnTo>
                    <a:pt x="360" y="120"/>
                  </a:lnTo>
                  <a:lnTo>
                    <a:pt x="348" y="120"/>
                  </a:lnTo>
                  <a:lnTo>
                    <a:pt x="348" y="108"/>
                  </a:lnTo>
                  <a:lnTo>
                    <a:pt x="342" y="102"/>
                  </a:lnTo>
                  <a:lnTo>
                    <a:pt x="324" y="102"/>
                  </a:lnTo>
                  <a:lnTo>
                    <a:pt x="306" y="96"/>
                  </a:lnTo>
                  <a:lnTo>
                    <a:pt x="264" y="96"/>
                  </a:lnTo>
                  <a:lnTo>
                    <a:pt x="240" y="108"/>
                  </a:lnTo>
                  <a:lnTo>
                    <a:pt x="234" y="120"/>
                  </a:lnTo>
                  <a:lnTo>
                    <a:pt x="234" y="126"/>
                  </a:lnTo>
                  <a:lnTo>
                    <a:pt x="258" y="144"/>
                  </a:lnTo>
                  <a:lnTo>
                    <a:pt x="252" y="156"/>
                  </a:lnTo>
                  <a:lnTo>
                    <a:pt x="282" y="162"/>
                  </a:lnTo>
                  <a:lnTo>
                    <a:pt x="276" y="168"/>
                  </a:lnTo>
                  <a:lnTo>
                    <a:pt x="270" y="180"/>
                  </a:lnTo>
                  <a:lnTo>
                    <a:pt x="264" y="186"/>
                  </a:lnTo>
                  <a:lnTo>
                    <a:pt x="264" y="192"/>
                  </a:lnTo>
                  <a:lnTo>
                    <a:pt x="276" y="204"/>
                  </a:lnTo>
                  <a:lnTo>
                    <a:pt x="282" y="204"/>
                  </a:lnTo>
                  <a:lnTo>
                    <a:pt x="282" y="210"/>
                  </a:lnTo>
                  <a:lnTo>
                    <a:pt x="276" y="222"/>
                  </a:lnTo>
                  <a:lnTo>
                    <a:pt x="276" y="234"/>
                  </a:lnTo>
                  <a:lnTo>
                    <a:pt x="294" y="234"/>
                  </a:lnTo>
                  <a:lnTo>
                    <a:pt x="306" y="252"/>
                  </a:lnTo>
                  <a:lnTo>
                    <a:pt x="324" y="252"/>
                  </a:lnTo>
                  <a:lnTo>
                    <a:pt x="330" y="288"/>
                  </a:lnTo>
                  <a:lnTo>
                    <a:pt x="366" y="288"/>
                  </a:lnTo>
                  <a:lnTo>
                    <a:pt x="378" y="294"/>
                  </a:lnTo>
                  <a:lnTo>
                    <a:pt x="384" y="300"/>
                  </a:lnTo>
                  <a:lnTo>
                    <a:pt x="384" y="306"/>
                  </a:lnTo>
                  <a:lnTo>
                    <a:pt x="378" y="312"/>
                  </a:lnTo>
                  <a:lnTo>
                    <a:pt x="354" y="324"/>
                  </a:lnTo>
                  <a:lnTo>
                    <a:pt x="342" y="324"/>
                  </a:lnTo>
                  <a:lnTo>
                    <a:pt x="336" y="330"/>
                  </a:lnTo>
                  <a:lnTo>
                    <a:pt x="336" y="366"/>
                  </a:lnTo>
                  <a:lnTo>
                    <a:pt x="342" y="378"/>
                  </a:lnTo>
                  <a:lnTo>
                    <a:pt x="354" y="390"/>
                  </a:lnTo>
                  <a:lnTo>
                    <a:pt x="354" y="396"/>
                  </a:lnTo>
                  <a:lnTo>
                    <a:pt x="324" y="414"/>
                  </a:lnTo>
                  <a:lnTo>
                    <a:pt x="300" y="450"/>
                  </a:lnTo>
                  <a:lnTo>
                    <a:pt x="318" y="474"/>
                  </a:lnTo>
                  <a:lnTo>
                    <a:pt x="306" y="474"/>
                  </a:lnTo>
                  <a:lnTo>
                    <a:pt x="300" y="480"/>
                  </a:lnTo>
                  <a:lnTo>
                    <a:pt x="288" y="486"/>
                  </a:lnTo>
                  <a:lnTo>
                    <a:pt x="282" y="492"/>
                  </a:lnTo>
                  <a:lnTo>
                    <a:pt x="282" y="504"/>
                  </a:lnTo>
                  <a:lnTo>
                    <a:pt x="276" y="522"/>
                  </a:lnTo>
                  <a:lnTo>
                    <a:pt x="276" y="534"/>
                  </a:lnTo>
                  <a:lnTo>
                    <a:pt x="270" y="552"/>
                  </a:lnTo>
                  <a:lnTo>
                    <a:pt x="258" y="564"/>
                  </a:lnTo>
                  <a:lnTo>
                    <a:pt x="234" y="576"/>
                  </a:lnTo>
                  <a:lnTo>
                    <a:pt x="228" y="582"/>
                  </a:lnTo>
                  <a:lnTo>
                    <a:pt x="228" y="588"/>
                  </a:lnTo>
                  <a:lnTo>
                    <a:pt x="222" y="594"/>
                  </a:lnTo>
                  <a:lnTo>
                    <a:pt x="222" y="612"/>
                  </a:lnTo>
                  <a:lnTo>
                    <a:pt x="204" y="624"/>
                  </a:lnTo>
                  <a:lnTo>
                    <a:pt x="204" y="630"/>
                  </a:lnTo>
                  <a:lnTo>
                    <a:pt x="198" y="636"/>
                  </a:lnTo>
                  <a:lnTo>
                    <a:pt x="192" y="648"/>
                  </a:lnTo>
                  <a:lnTo>
                    <a:pt x="186" y="654"/>
                  </a:lnTo>
                  <a:lnTo>
                    <a:pt x="168" y="654"/>
                  </a:lnTo>
                  <a:lnTo>
                    <a:pt x="162" y="648"/>
                  </a:lnTo>
                  <a:lnTo>
                    <a:pt x="156" y="654"/>
                  </a:lnTo>
                  <a:lnTo>
                    <a:pt x="132" y="666"/>
                  </a:lnTo>
                  <a:lnTo>
                    <a:pt x="126" y="666"/>
                  </a:lnTo>
                  <a:lnTo>
                    <a:pt x="120" y="660"/>
                  </a:lnTo>
                  <a:lnTo>
                    <a:pt x="120" y="648"/>
                  </a:lnTo>
                  <a:lnTo>
                    <a:pt x="114" y="642"/>
                  </a:lnTo>
                  <a:lnTo>
                    <a:pt x="108" y="642"/>
                  </a:lnTo>
                  <a:lnTo>
                    <a:pt x="96" y="648"/>
                  </a:lnTo>
                  <a:lnTo>
                    <a:pt x="84" y="660"/>
                  </a:lnTo>
                  <a:lnTo>
                    <a:pt x="84" y="666"/>
                  </a:lnTo>
                  <a:lnTo>
                    <a:pt x="78" y="678"/>
                  </a:lnTo>
                  <a:lnTo>
                    <a:pt x="72" y="684"/>
                  </a:lnTo>
                  <a:lnTo>
                    <a:pt x="66" y="696"/>
                  </a:lnTo>
                  <a:lnTo>
                    <a:pt x="54" y="708"/>
                  </a:lnTo>
                  <a:lnTo>
                    <a:pt x="48" y="720"/>
                  </a:lnTo>
                  <a:lnTo>
                    <a:pt x="48" y="744"/>
                  </a:lnTo>
                  <a:lnTo>
                    <a:pt x="54" y="750"/>
                  </a:lnTo>
                  <a:lnTo>
                    <a:pt x="66" y="756"/>
                  </a:lnTo>
                  <a:lnTo>
                    <a:pt x="72" y="756"/>
                  </a:lnTo>
                  <a:lnTo>
                    <a:pt x="102" y="750"/>
                  </a:lnTo>
                  <a:lnTo>
                    <a:pt x="102" y="768"/>
                  </a:lnTo>
                  <a:lnTo>
                    <a:pt x="96" y="798"/>
                  </a:lnTo>
                  <a:lnTo>
                    <a:pt x="102" y="804"/>
                  </a:lnTo>
                  <a:lnTo>
                    <a:pt x="108" y="816"/>
                  </a:lnTo>
                  <a:lnTo>
                    <a:pt x="120" y="828"/>
                  </a:lnTo>
                  <a:lnTo>
                    <a:pt x="144" y="828"/>
                  </a:lnTo>
                  <a:lnTo>
                    <a:pt x="144" y="852"/>
                  </a:lnTo>
                  <a:lnTo>
                    <a:pt x="168" y="894"/>
                  </a:lnTo>
                  <a:lnTo>
                    <a:pt x="174" y="906"/>
                  </a:lnTo>
                  <a:lnTo>
                    <a:pt x="180" y="912"/>
                  </a:lnTo>
                  <a:lnTo>
                    <a:pt x="180" y="936"/>
                  </a:lnTo>
                  <a:lnTo>
                    <a:pt x="168" y="942"/>
                  </a:lnTo>
                  <a:lnTo>
                    <a:pt x="162" y="948"/>
                  </a:lnTo>
                  <a:lnTo>
                    <a:pt x="144" y="948"/>
                  </a:lnTo>
                  <a:lnTo>
                    <a:pt x="138" y="942"/>
                  </a:lnTo>
                  <a:lnTo>
                    <a:pt x="138" y="930"/>
                  </a:lnTo>
                  <a:lnTo>
                    <a:pt x="132" y="930"/>
                  </a:lnTo>
                  <a:lnTo>
                    <a:pt x="120" y="936"/>
                  </a:lnTo>
                  <a:lnTo>
                    <a:pt x="108" y="948"/>
                  </a:lnTo>
                  <a:lnTo>
                    <a:pt x="84" y="948"/>
                  </a:lnTo>
                  <a:lnTo>
                    <a:pt x="78" y="942"/>
                  </a:lnTo>
                  <a:lnTo>
                    <a:pt x="78" y="936"/>
                  </a:lnTo>
                  <a:lnTo>
                    <a:pt x="54" y="948"/>
                  </a:lnTo>
                  <a:lnTo>
                    <a:pt x="48" y="942"/>
                  </a:lnTo>
                  <a:lnTo>
                    <a:pt x="36" y="936"/>
                  </a:lnTo>
                  <a:lnTo>
                    <a:pt x="24" y="936"/>
                  </a:lnTo>
                  <a:lnTo>
                    <a:pt x="12" y="948"/>
                  </a:lnTo>
                  <a:lnTo>
                    <a:pt x="12" y="960"/>
                  </a:lnTo>
                  <a:lnTo>
                    <a:pt x="18" y="966"/>
                  </a:lnTo>
                  <a:lnTo>
                    <a:pt x="0" y="972"/>
                  </a:lnTo>
                  <a:lnTo>
                    <a:pt x="36" y="972"/>
                  </a:lnTo>
                  <a:lnTo>
                    <a:pt x="30" y="984"/>
                  </a:lnTo>
                  <a:lnTo>
                    <a:pt x="30" y="1014"/>
                  </a:lnTo>
                  <a:lnTo>
                    <a:pt x="36" y="1026"/>
                  </a:lnTo>
                  <a:lnTo>
                    <a:pt x="48" y="1032"/>
                  </a:lnTo>
                  <a:lnTo>
                    <a:pt x="66" y="1038"/>
                  </a:lnTo>
                  <a:lnTo>
                    <a:pt x="120" y="1038"/>
                  </a:lnTo>
                  <a:lnTo>
                    <a:pt x="132" y="1032"/>
                  </a:lnTo>
                  <a:lnTo>
                    <a:pt x="150" y="1014"/>
                  </a:lnTo>
                  <a:lnTo>
                    <a:pt x="162" y="1008"/>
                  </a:lnTo>
                  <a:lnTo>
                    <a:pt x="168" y="1020"/>
                  </a:lnTo>
                  <a:lnTo>
                    <a:pt x="168" y="1026"/>
                  </a:lnTo>
                  <a:lnTo>
                    <a:pt x="162" y="1038"/>
                  </a:lnTo>
                  <a:lnTo>
                    <a:pt x="144" y="1056"/>
                  </a:lnTo>
                  <a:lnTo>
                    <a:pt x="120" y="1068"/>
                  </a:lnTo>
                  <a:lnTo>
                    <a:pt x="114" y="1074"/>
                  </a:lnTo>
                  <a:lnTo>
                    <a:pt x="90" y="1074"/>
                  </a:lnTo>
                  <a:lnTo>
                    <a:pt x="78" y="1080"/>
                  </a:lnTo>
                  <a:lnTo>
                    <a:pt x="60" y="1086"/>
                  </a:lnTo>
                  <a:lnTo>
                    <a:pt x="48" y="1092"/>
                  </a:lnTo>
                  <a:lnTo>
                    <a:pt x="42" y="1098"/>
                  </a:lnTo>
                  <a:lnTo>
                    <a:pt x="54" y="1122"/>
                  </a:lnTo>
                  <a:lnTo>
                    <a:pt x="66" y="1128"/>
                  </a:lnTo>
                  <a:lnTo>
                    <a:pt x="78" y="1140"/>
                  </a:lnTo>
                  <a:lnTo>
                    <a:pt x="96" y="1152"/>
                  </a:lnTo>
                  <a:lnTo>
                    <a:pt x="108" y="1164"/>
                  </a:lnTo>
                  <a:lnTo>
                    <a:pt x="132" y="1182"/>
                  </a:lnTo>
                  <a:lnTo>
                    <a:pt x="162" y="1206"/>
                  </a:lnTo>
                  <a:lnTo>
                    <a:pt x="204" y="1224"/>
                  </a:lnTo>
                  <a:lnTo>
                    <a:pt x="240" y="1218"/>
                  </a:lnTo>
                  <a:lnTo>
                    <a:pt x="270" y="1200"/>
                  </a:lnTo>
                  <a:lnTo>
                    <a:pt x="294" y="1176"/>
                  </a:lnTo>
                  <a:lnTo>
                    <a:pt x="300" y="1158"/>
                  </a:lnTo>
                  <a:lnTo>
                    <a:pt x="300" y="1128"/>
                  </a:lnTo>
                  <a:lnTo>
                    <a:pt x="306" y="1116"/>
                  </a:lnTo>
                  <a:lnTo>
                    <a:pt x="318" y="1104"/>
                  </a:lnTo>
                  <a:lnTo>
                    <a:pt x="324" y="1092"/>
                  </a:lnTo>
                  <a:lnTo>
                    <a:pt x="330" y="1086"/>
                  </a:lnTo>
                  <a:lnTo>
                    <a:pt x="342" y="1086"/>
                  </a:lnTo>
                  <a:lnTo>
                    <a:pt x="348" y="1080"/>
                  </a:lnTo>
                  <a:lnTo>
                    <a:pt x="354" y="1080"/>
                  </a:lnTo>
                  <a:lnTo>
                    <a:pt x="360" y="1086"/>
                  </a:lnTo>
                  <a:lnTo>
                    <a:pt x="360" y="1098"/>
                  </a:lnTo>
                  <a:lnTo>
                    <a:pt x="348" y="1110"/>
                  </a:lnTo>
                  <a:lnTo>
                    <a:pt x="336" y="1128"/>
                  </a:lnTo>
                  <a:lnTo>
                    <a:pt x="324" y="1140"/>
                  </a:lnTo>
                  <a:lnTo>
                    <a:pt x="318" y="1152"/>
                  </a:lnTo>
                  <a:lnTo>
                    <a:pt x="318" y="1164"/>
                  </a:lnTo>
                  <a:lnTo>
                    <a:pt x="324" y="1176"/>
                  </a:lnTo>
                  <a:lnTo>
                    <a:pt x="336" y="1182"/>
                  </a:lnTo>
                  <a:lnTo>
                    <a:pt x="342" y="1182"/>
                  </a:lnTo>
                  <a:lnTo>
                    <a:pt x="354" y="1194"/>
                  </a:lnTo>
                  <a:lnTo>
                    <a:pt x="354" y="1206"/>
                  </a:lnTo>
                  <a:lnTo>
                    <a:pt x="348" y="1242"/>
                  </a:lnTo>
                  <a:lnTo>
                    <a:pt x="342" y="1284"/>
                  </a:lnTo>
                  <a:lnTo>
                    <a:pt x="336" y="1338"/>
                  </a:lnTo>
                  <a:lnTo>
                    <a:pt x="342" y="1398"/>
                  </a:lnTo>
                  <a:lnTo>
                    <a:pt x="354" y="1446"/>
                  </a:lnTo>
                  <a:lnTo>
                    <a:pt x="384" y="1536"/>
                  </a:lnTo>
                  <a:lnTo>
                    <a:pt x="402" y="1554"/>
                  </a:lnTo>
                  <a:lnTo>
                    <a:pt x="402" y="1596"/>
                  </a:lnTo>
                  <a:lnTo>
                    <a:pt x="414" y="1620"/>
                  </a:lnTo>
                  <a:lnTo>
                    <a:pt x="426" y="1626"/>
                  </a:lnTo>
                  <a:lnTo>
                    <a:pt x="438" y="1626"/>
                  </a:lnTo>
                  <a:lnTo>
                    <a:pt x="444" y="1632"/>
                  </a:lnTo>
                  <a:lnTo>
                    <a:pt x="450" y="1632"/>
                  </a:lnTo>
                  <a:lnTo>
                    <a:pt x="450" y="1644"/>
                  </a:lnTo>
                  <a:lnTo>
                    <a:pt x="456" y="1656"/>
                  </a:lnTo>
                  <a:lnTo>
                    <a:pt x="456" y="1674"/>
                  </a:lnTo>
                  <a:lnTo>
                    <a:pt x="474" y="1710"/>
                  </a:lnTo>
                  <a:lnTo>
                    <a:pt x="498" y="1722"/>
                  </a:lnTo>
                  <a:lnTo>
                    <a:pt x="504" y="1728"/>
                  </a:lnTo>
                  <a:lnTo>
                    <a:pt x="510" y="1728"/>
                  </a:lnTo>
                  <a:lnTo>
                    <a:pt x="510" y="1746"/>
                  </a:lnTo>
                  <a:lnTo>
                    <a:pt x="516" y="1782"/>
                  </a:lnTo>
                  <a:lnTo>
                    <a:pt x="522" y="1830"/>
                  </a:lnTo>
                  <a:lnTo>
                    <a:pt x="534" y="1872"/>
                  </a:lnTo>
                  <a:lnTo>
                    <a:pt x="552" y="1908"/>
                  </a:lnTo>
                  <a:lnTo>
                    <a:pt x="576" y="1944"/>
                  </a:lnTo>
                  <a:lnTo>
                    <a:pt x="600" y="1974"/>
                  </a:lnTo>
                  <a:lnTo>
                    <a:pt x="612" y="1998"/>
                  </a:lnTo>
                  <a:lnTo>
                    <a:pt x="618" y="2016"/>
                  </a:lnTo>
                  <a:lnTo>
                    <a:pt x="618" y="2070"/>
                  </a:lnTo>
                  <a:lnTo>
                    <a:pt x="624" y="2094"/>
                  </a:lnTo>
                  <a:lnTo>
                    <a:pt x="642" y="2124"/>
                  </a:lnTo>
                  <a:lnTo>
                    <a:pt x="672" y="2166"/>
                  </a:lnTo>
                  <a:lnTo>
                    <a:pt x="696" y="2202"/>
                  </a:lnTo>
                  <a:lnTo>
                    <a:pt x="714" y="2232"/>
                  </a:lnTo>
                  <a:lnTo>
                    <a:pt x="720" y="2244"/>
                  </a:lnTo>
                  <a:lnTo>
                    <a:pt x="726" y="2244"/>
                  </a:lnTo>
                  <a:lnTo>
                    <a:pt x="732" y="2238"/>
                  </a:lnTo>
                  <a:lnTo>
                    <a:pt x="744" y="2238"/>
                  </a:lnTo>
                  <a:lnTo>
                    <a:pt x="768" y="2226"/>
                  </a:lnTo>
                  <a:lnTo>
                    <a:pt x="774" y="2220"/>
                  </a:lnTo>
                  <a:lnTo>
                    <a:pt x="780" y="2208"/>
                  </a:lnTo>
                  <a:lnTo>
                    <a:pt x="780" y="2172"/>
                  </a:lnTo>
                  <a:lnTo>
                    <a:pt x="786" y="2160"/>
                  </a:lnTo>
                  <a:lnTo>
                    <a:pt x="798" y="2154"/>
                  </a:lnTo>
                  <a:lnTo>
                    <a:pt x="804" y="2154"/>
                  </a:lnTo>
                  <a:lnTo>
                    <a:pt x="810" y="2160"/>
                  </a:lnTo>
                  <a:lnTo>
                    <a:pt x="828" y="2160"/>
                  </a:lnTo>
                  <a:lnTo>
                    <a:pt x="834" y="2154"/>
                  </a:lnTo>
                  <a:lnTo>
                    <a:pt x="846" y="2148"/>
                  </a:lnTo>
                  <a:lnTo>
                    <a:pt x="852" y="2142"/>
                  </a:lnTo>
                  <a:lnTo>
                    <a:pt x="864" y="2136"/>
                  </a:lnTo>
                  <a:lnTo>
                    <a:pt x="852" y="2136"/>
                  </a:lnTo>
                  <a:lnTo>
                    <a:pt x="846" y="2130"/>
                  </a:lnTo>
                  <a:lnTo>
                    <a:pt x="846" y="2118"/>
                  </a:lnTo>
                  <a:lnTo>
                    <a:pt x="852" y="2100"/>
                  </a:lnTo>
                  <a:lnTo>
                    <a:pt x="858" y="2088"/>
                  </a:lnTo>
                  <a:lnTo>
                    <a:pt x="906" y="2064"/>
                  </a:lnTo>
                  <a:lnTo>
                    <a:pt x="918" y="2052"/>
                  </a:lnTo>
                  <a:lnTo>
                    <a:pt x="918" y="2040"/>
                  </a:lnTo>
                  <a:lnTo>
                    <a:pt x="912" y="2028"/>
                  </a:lnTo>
                  <a:lnTo>
                    <a:pt x="912" y="2010"/>
                  </a:lnTo>
                  <a:lnTo>
                    <a:pt x="900" y="1974"/>
                  </a:lnTo>
                  <a:lnTo>
                    <a:pt x="900" y="1908"/>
                  </a:lnTo>
                  <a:lnTo>
                    <a:pt x="906" y="1890"/>
                  </a:lnTo>
                  <a:lnTo>
                    <a:pt x="906" y="1884"/>
                  </a:lnTo>
                  <a:lnTo>
                    <a:pt x="912" y="1878"/>
                  </a:lnTo>
                  <a:lnTo>
                    <a:pt x="912" y="1860"/>
                  </a:lnTo>
                  <a:lnTo>
                    <a:pt x="918" y="1842"/>
                  </a:lnTo>
                  <a:lnTo>
                    <a:pt x="918" y="1800"/>
                  </a:lnTo>
                  <a:lnTo>
                    <a:pt x="906" y="1776"/>
                  </a:lnTo>
                  <a:lnTo>
                    <a:pt x="888" y="1758"/>
                  </a:lnTo>
                  <a:lnTo>
                    <a:pt x="888" y="1728"/>
                  </a:lnTo>
                  <a:lnTo>
                    <a:pt x="894" y="1722"/>
                  </a:lnTo>
                  <a:lnTo>
                    <a:pt x="900" y="1710"/>
                  </a:lnTo>
                  <a:lnTo>
                    <a:pt x="900" y="1698"/>
                  </a:lnTo>
                  <a:lnTo>
                    <a:pt x="894" y="1686"/>
                  </a:lnTo>
                  <a:lnTo>
                    <a:pt x="894" y="1644"/>
                  </a:lnTo>
                  <a:lnTo>
                    <a:pt x="918" y="1632"/>
                  </a:lnTo>
                  <a:lnTo>
                    <a:pt x="924" y="1632"/>
                  </a:lnTo>
                  <a:lnTo>
                    <a:pt x="948" y="1620"/>
                  </a:lnTo>
                  <a:lnTo>
                    <a:pt x="948" y="1596"/>
                  </a:lnTo>
                  <a:lnTo>
                    <a:pt x="954" y="1584"/>
                  </a:lnTo>
                  <a:lnTo>
                    <a:pt x="960" y="1578"/>
                  </a:lnTo>
                  <a:lnTo>
                    <a:pt x="972" y="1572"/>
                  </a:lnTo>
                  <a:lnTo>
                    <a:pt x="990" y="1572"/>
                  </a:lnTo>
                  <a:lnTo>
                    <a:pt x="996" y="1560"/>
                  </a:lnTo>
                  <a:lnTo>
                    <a:pt x="1002" y="1566"/>
                  </a:lnTo>
                  <a:lnTo>
                    <a:pt x="1032" y="1566"/>
                  </a:lnTo>
                  <a:lnTo>
                    <a:pt x="1032" y="1548"/>
                  </a:lnTo>
                  <a:lnTo>
                    <a:pt x="1038" y="1530"/>
                  </a:lnTo>
                  <a:lnTo>
                    <a:pt x="1050" y="1518"/>
                  </a:lnTo>
                  <a:lnTo>
                    <a:pt x="1056" y="1500"/>
                  </a:lnTo>
                  <a:lnTo>
                    <a:pt x="1068" y="1488"/>
                  </a:lnTo>
                  <a:lnTo>
                    <a:pt x="1074" y="1476"/>
                  </a:lnTo>
                  <a:lnTo>
                    <a:pt x="1086" y="1470"/>
                  </a:lnTo>
                  <a:lnTo>
                    <a:pt x="1092" y="1464"/>
                  </a:lnTo>
                  <a:lnTo>
                    <a:pt x="1110" y="1458"/>
                  </a:lnTo>
                  <a:lnTo>
                    <a:pt x="1116" y="1452"/>
                  </a:lnTo>
                  <a:lnTo>
                    <a:pt x="1128" y="1446"/>
                  </a:lnTo>
                  <a:lnTo>
                    <a:pt x="1134" y="1428"/>
                  </a:lnTo>
                  <a:lnTo>
                    <a:pt x="1158" y="1380"/>
                  </a:lnTo>
                  <a:lnTo>
                    <a:pt x="1176" y="1362"/>
                  </a:lnTo>
                  <a:lnTo>
                    <a:pt x="1188" y="1356"/>
                  </a:lnTo>
                  <a:lnTo>
                    <a:pt x="1206" y="1344"/>
                  </a:lnTo>
                  <a:lnTo>
                    <a:pt x="1218" y="1338"/>
                  </a:lnTo>
                  <a:lnTo>
                    <a:pt x="1236" y="1320"/>
                  </a:lnTo>
                  <a:lnTo>
                    <a:pt x="1242" y="1320"/>
                  </a:lnTo>
                  <a:lnTo>
                    <a:pt x="1230" y="1290"/>
                  </a:lnTo>
                  <a:lnTo>
                    <a:pt x="1236" y="1284"/>
                  </a:lnTo>
                  <a:lnTo>
                    <a:pt x="1260" y="1314"/>
                  </a:lnTo>
                  <a:lnTo>
                    <a:pt x="1320" y="1254"/>
                  </a:lnTo>
                  <a:lnTo>
                    <a:pt x="1332" y="1230"/>
                  </a:lnTo>
                  <a:lnTo>
                    <a:pt x="1326" y="1224"/>
                  </a:lnTo>
                  <a:lnTo>
                    <a:pt x="1320" y="1212"/>
                  </a:lnTo>
                  <a:lnTo>
                    <a:pt x="1314" y="1206"/>
                  </a:lnTo>
                  <a:lnTo>
                    <a:pt x="1308" y="1194"/>
                  </a:lnTo>
                  <a:lnTo>
                    <a:pt x="1308" y="1182"/>
                  </a:lnTo>
                  <a:lnTo>
                    <a:pt x="1320" y="1176"/>
                  </a:lnTo>
                  <a:lnTo>
                    <a:pt x="1326" y="1170"/>
                  </a:lnTo>
                  <a:lnTo>
                    <a:pt x="1338" y="1170"/>
                  </a:lnTo>
                  <a:lnTo>
                    <a:pt x="1350" y="1164"/>
                  </a:lnTo>
                  <a:lnTo>
                    <a:pt x="1362" y="1152"/>
                  </a:lnTo>
                  <a:lnTo>
                    <a:pt x="1374" y="1134"/>
                  </a:lnTo>
                  <a:lnTo>
                    <a:pt x="1374" y="1110"/>
                  </a:lnTo>
                  <a:lnTo>
                    <a:pt x="1392" y="1116"/>
                  </a:lnTo>
                  <a:lnTo>
                    <a:pt x="1398" y="1146"/>
                  </a:lnTo>
                  <a:lnTo>
                    <a:pt x="1416" y="1110"/>
                  </a:lnTo>
                  <a:lnTo>
                    <a:pt x="1416" y="1128"/>
                  </a:lnTo>
                  <a:lnTo>
                    <a:pt x="1422" y="1140"/>
                  </a:lnTo>
                  <a:lnTo>
                    <a:pt x="1422" y="1158"/>
                  </a:lnTo>
                  <a:lnTo>
                    <a:pt x="1428" y="1170"/>
                  </a:lnTo>
                  <a:lnTo>
                    <a:pt x="1434" y="1176"/>
                  </a:lnTo>
                  <a:lnTo>
                    <a:pt x="1440" y="1176"/>
                  </a:lnTo>
                  <a:lnTo>
                    <a:pt x="1446" y="1170"/>
                  </a:lnTo>
                  <a:lnTo>
                    <a:pt x="1446" y="1158"/>
                  </a:lnTo>
                  <a:lnTo>
                    <a:pt x="1452" y="1152"/>
                  </a:lnTo>
                  <a:lnTo>
                    <a:pt x="1452" y="1140"/>
                  </a:lnTo>
                  <a:lnTo>
                    <a:pt x="1458" y="1110"/>
                  </a:lnTo>
                  <a:lnTo>
                    <a:pt x="1440" y="1068"/>
                  </a:lnTo>
                  <a:lnTo>
                    <a:pt x="1440" y="1038"/>
                  </a:lnTo>
                  <a:lnTo>
                    <a:pt x="1410" y="1014"/>
                  </a:lnTo>
                  <a:lnTo>
                    <a:pt x="1398" y="984"/>
                  </a:lnTo>
                  <a:lnTo>
                    <a:pt x="1404" y="972"/>
                  </a:lnTo>
                  <a:lnTo>
                    <a:pt x="1410" y="966"/>
                  </a:lnTo>
                  <a:lnTo>
                    <a:pt x="1416" y="948"/>
                  </a:lnTo>
                  <a:lnTo>
                    <a:pt x="1416" y="942"/>
                  </a:lnTo>
                  <a:lnTo>
                    <a:pt x="1410" y="936"/>
                  </a:lnTo>
                  <a:lnTo>
                    <a:pt x="1398" y="930"/>
                  </a:lnTo>
                  <a:lnTo>
                    <a:pt x="1380" y="930"/>
                  </a:lnTo>
                  <a:lnTo>
                    <a:pt x="1368" y="924"/>
                  </a:lnTo>
                  <a:lnTo>
                    <a:pt x="1356" y="912"/>
                  </a:lnTo>
                  <a:lnTo>
                    <a:pt x="1368" y="900"/>
                  </a:lnTo>
                  <a:lnTo>
                    <a:pt x="1374" y="900"/>
                  </a:lnTo>
                  <a:lnTo>
                    <a:pt x="1374" y="870"/>
                  </a:lnTo>
                  <a:lnTo>
                    <a:pt x="1410" y="870"/>
                  </a:lnTo>
                  <a:lnTo>
                    <a:pt x="1410" y="858"/>
                  </a:lnTo>
                  <a:lnTo>
                    <a:pt x="1380" y="840"/>
                  </a:lnTo>
                  <a:lnTo>
                    <a:pt x="1374" y="840"/>
                  </a:lnTo>
                  <a:lnTo>
                    <a:pt x="1362" y="828"/>
                  </a:lnTo>
                  <a:lnTo>
                    <a:pt x="1350" y="822"/>
                  </a:lnTo>
                  <a:lnTo>
                    <a:pt x="1344" y="810"/>
                  </a:lnTo>
                  <a:lnTo>
                    <a:pt x="1344" y="804"/>
                  </a:lnTo>
                  <a:lnTo>
                    <a:pt x="1350" y="792"/>
                  </a:lnTo>
                  <a:lnTo>
                    <a:pt x="1362" y="780"/>
                  </a:lnTo>
                  <a:lnTo>
                    <a:pt x="1350" y="762"/>
                  </a:lnTo>
                  <a:lnTo>
                    <a:pt x="1368" y="762"/>
                  </a:lnTo>
                  <a:lnTo>
                    <a:pt x="1392" y="774"/>
                  </a:lnTo>
                  <a:lnTo>
                    <a:pt x="1386" y="768"/>
                  </a:lnTo>
                  <a:lnTo>
                    <a:pt x="1404" y="762"/>
                  </a:lnTo>
                  <a:lnTo>
                    <a:pt x="1410" y="774"/>
                  </a:lnTo>
                  <a:lnTo>
                    <a:pt x="1410" y="780"/>
                  </a:lnTo>
                  <a:lnTo>
                    <a:pt x="1416" y="792"/>
                  </a:lnTo>
                  <a:lnTo>
                    <a:pt x="1422" y="798"/>
                  </a:lnTo>
                  <a:lnTo>
                    <a:pt x="1434" y="798"/>
                  </a:lnTo>
                  <a:lnTo>
                    <a:pt x="1440" y="804"/>
                  </a:lnTo>
                  <a:lnTo>
                    <a:pt x="1446" y="786"/>
                  </a:lnTo>
                  <a:lnTo>
                    <a:pt x="1452" y="792"/>
                  </a:lnTo>
                  <a:lnTo>
                    <a:pt x="1458" y="792"/>
                  </a:lnTo>
                  <a:lnTo>
                    <a:pt x="1464" y="798"/>
                  </a:lnTo>
                  <a:lnTo>
                    <a:pt x="1464" y="828"/>
                  </a:lnTo>
                  <a:lnTo>
                    <a:pt x="1470" y="828"/>
                  </a:lnTo>
                  <a:lnTo>
                    <a:pt x="1470" y="864"/>
                  </a:lnTo>
                  <a:lnTo>
                    <a:pt x="1476" y="864"/>
                  </a:lnTo>
                  <a:lnTo>
                    <a:pt x="1482" y="870"/>
                  </a:lnTo>
                  <a:lnTo>
                    <a:pt x="1542" y="870"/>
                  </a:lnTo>
                  <a:lnTo>
                    <a:pt x="1554" y="876"/>
                  </a:lnTo>
                  <a:lnTo>
                    <a:pt x="1572" y="876"/>
                  </a:lnTo>
                  <a:lnTo>
                    <a:pt x="1620" y="864"/>
                  </a:lnTo>
                  <a:lnTo>
                    <a:pt x="1626" y="864"/>
                  </a:lnTo>
                  <a:lnTo>
                    <a:pt x="1650" y="888"/>
                  </a:lnTo>
                  <a:lnTo>
                    <a:pt x="1650" y="894"/>
                  </a:lnTo>
                  <a:lnTo>
                    <a:pt x="1644" y="900"/>
                  </a:lnTo>
                  <a:lnTo>
                    <a:pt x="1638" y="900"/>
                  </a:lnTo>
                  <a:lnTo>
                    <a:pt x="1638" y="912"/>
                  </a:lnTo>
                  <a:lnTo>
                    <a:pt x="1632" y="930"/>
                  </a:lnTo>
                  <a:lnTo>
                    <a:pt x="1626" y="942"/>
                  </a:lnTo>
                  <a:lnTo>
                    <a:pt x="1620" y="948"/>
                  </a:lnTo>
                  <a:lnTo>
                    <a:pt x="1614" y="948"/>
                  </a:lnTo>
                  <a:lnTo>
                    <a:pt x="1602" y="954"/>
                  </a:lnTo>
                  <a:lnTo>
                    <a:pt x="1596" y="954"/>
                  </a:lnTo>
                  <a:lnTo>
                    <a:pt x="1584" y="966"/>
                  </a:lnTo>
                  <a:lnTo>
                    <a:pt x="1578" y="978"/>
                  </a:lnTo>
                  <a:lnTo>
                    <a:pt x="1578" y="996"/>
                  </a:lnTo>
                  <a:lnTo>
                    <a:pt x="1584" y="1008"/>
                  </a:lnTo>
                  <a:lnTo>
                    <a:pt x="1602" y="1026"/>
                  </a:lnTo>
                  <a:lnTo>
                    <a:pt x="1608" y="1026"/>
                  </a:lnTo>
                  <a:lnTo>
                    <a:pt x="1626" y="1050"/>
                  </a:lnTo>
                  <a:lnTo>
                    <a:pt x="1632" y="1014"/>
                  </a:lnTo>
                  <a:lnTo>
                    <a:pt x="1632" y="990"/>
                  </a:lnTo>
                  <a:lnTo>
                    <a:pt x="1650" y="990"/>
                  </a:lnTo>
                  <a:lnTo>
                    <a:pt x="1662" y="996"/>
                  </a:lnTo>
                  <a:lnTo>
                    <a:pt x="1668" y="1002"/>
                  </a:lnTo>
                  <a:lnTo>
                    <a:pt x="1668" y="1020"/>
                  </a:lnTo>
                  <a:lnTo>
                    <a:pt x="1674" y="1032"/>
                  </a:lnTo>
                  <a:lnTo>
                    <a:pt x="1674" y="1038"/>
                  </a:lnTo>
                  <a:lnTo>
                    <a:pt x="1680" y="1050"/>
                  </a:lnTo>
                  <a:lnTo>
                    <a:pt x="1680" y="1062"/>
                  </a:lnTo>
                  <a:lnTo>
                    <a:pt x="1686" y="1074"/>
                  </a:lnTo>
                  <a:lnTo>
                    <a:pt x="1692" y="1092"/>
                  </a:lnTo>
                  <a:lnTo>
                    <a:pt x="1698" y="1104"/>
                  </a:lnTo>
                  <a:lnTo>
                    <a:pt x="1704" y="1110"/>
                  </a:lnTo>
                  <a:lnTo>
                    <a:pt x="1704" y="1116"/>
                  </a:lnTo>
                  <a:lnTo>
                    <a:pt x="1722" y="1134"/>
                  </a:lnTo>
                  <a:lnTo>
                    <a:pt x="1722" y="1110"/>
                  </a:lnTo>
                  <a:lnTo>
                    <a:pt x="1728" y="1110"/>
                  </a:lnTo>
                  <a:lnTo>
                    <a:pt x="1734" y="1116"/>
                  </a:lnTo>
                  <a:lnTo>
                    <a:pt x="1746" y="1116"/>
                  </a:lnTo>
                  <a:lnTo>
                    <a:pt x="1746" y="1104"/>
                  </a:lnTo>
                  <a:lnTo>
                    <a:pt x="1728" y="1086"/>
                  </a:lnTo>
                  <a:lnTo>
                    <a:pt x="1728" y="1062"/>
                  </a:lnTo>
                  <a:lnTo>
                    <a:pt x="1722" y="1050"/>
                  </a:lnTo>
                  <a:lnTo>
                    <a:pt x="1740" y="1032"/>
                  </a:lnTo>
                  <a:lnTo>
                    <a:pt x="1746" y="1032"/>
                  </a:lnTo>
                  <a:lnTo>
                    <a:pt x="1740" y="984"/>
                  </a:lnTo>
                  <a:lnTo>
                    <a:pt x="1722" y="966"/>
                  </a:lnTo>
                  <a:lnTo>
                    <a:pt x="1716" y="966"/>
                  </a:lnTo>
                  <a:lnTo>
                    <a:pt x="1770" y="966"/>
                  </a:lnTo>
                  <a:lnTo>
                    <a:pt x="1782" y="972"/>
                  </a:lnTo>
                  <a:lnTo>
                    <a:pt x="1794" y="972"/>
                  </a:lnTo>
                  <a:lnTo>
                    <a:pt x="1794" y="936"/>
                  </a:lnTo>
                  <a:lnTo>
                    <a:pt x="1812" y="882"/>
                  </a:lnTo>
                  <a:lnTo>
                    <a:pt x="1806" y="876"/>
                  </a:lnTo>
                  <a:lnTo>
                    <a:pt x="1800" y="864"/>
                  </a:lnTo>
                  <a:lnTo>
                    <a:pt x="1800" y="846"/>
                  </a:lnTo>
                  <a:lnTo>
                    <a:pt x="1812" y="840"/>
                  </a:lnTo>
                  <a:lnTo>
                    <a:pt x="1818" y="834"/>
                  </a:lnTo>
                  <a:lnTo>
                    <a:pt x="1836" y="804"/>
                  </a:lnTo>
                  <a:lnTo>
                    <a:pt x="1836" y="792"/>
                  </a:lnTo>
                  <a:lnTo>
                    <a:pt x="1830" y="786"/>
                  </a:lnTo>
                  <a:lnTo>
                    <a:pt x="1830" y="780"/>
                  </a:lnTo>
                  <a:lnTo>
                    <a:pt x="1824" y="774"/>
                  </a:lnTo>
                  <a:lnTo>
                    <a:pt x="1824" y="750"/>
                  </a:lnTo>
                  <a:lnTo>
                    <a:pt x="1830" y="750"/>
                  </a:lnTo>
                  <a:lnTo>
                    <a:pt x="1836" y="744"/>
                  </a:lnTo>
                  <a:lnTo>
                    <a:pt x="1848" y="744"/>
                  </a:lnTo>
                  <a:lnTo>
                    <a:pt x="1860" y="738"/>
                  </a:lnTo>
                  <a:lnTo>
                    <a:pt x="1872" y="726"/>
                  </a:lnTo>
                  <a:lnTo>
                    <a:pt x="1872" y="708"/>
                  </a:lnTo>
                  <a:lnTo>
                    <a:pt x="1878" y="708"/>
                  </a:lnTo>
                  <a:lnTo>
                    <a:pt x="1890" y="702"/>
                  </a:lnTo>
                  <a:lnTo>
                    <a:pt x="1926" y="702"/>
                  </a:lnTo>
                  <a:lnTo>
                    <a:pt x="1932" y="708"/>
                  </a:lnTo>
                  <a:lnTo>
                    <a:pt x="1950" y="708"/>
                  </a:lnTo>
                  <a:lnTo>
                    <a:pt x="1950" y="702"/>
                  </a:lnTo>
                  <a:lnTo>
                    <a:pt x="1944" y="696"/>
                  </a:lnTo>
                  <a:lnTo>
                    <a:pt x="1932" y="690"/>
                  </a:lnTo>
                  <a:lnTo>
                    <a:pt x="1926" y="684"/>
                  </a:lnTo>
                  <a:lnTo>
                    <a:pt x="1920" y="672"/>
                  </a:lnTo>
                  <a:close/>
                </a:path>
              </a:pathLst>
            </a:custGeom>
            <a:solidFill>
              <a:srgbClr val="3B3939"/>
            </a:solidFill>
            <a:ln w="3175">
              <a:solidFill>
                <a:schemeClr val="bg1"/>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de-DE" sz="1800" b="0" i="0" u="none" strike="noStrike" kern="1200" cap="none" spc="0" normalizeH="0" baseline="0" noProof="0">
                <a:ln>
                  <a:noFill/>
                </a:ln>
                <a:solidFill>
                  <a:srgbClr val="FFC000"/>
                </a:solidFill>
                <a:effectLst/>
                <a:uLnTx/>
                <a:uFillTx/>
                <a:latin typeface="Calibri" pitchFamily="34" charset="0"/>
                <a:ea typeface="+mn-ea"/>
                <a:cs typeface="+mn-cs"/>
              </a:endParaRPr>
            </a:p>
          </p:txBody>
        </p:sp>
        <p:sp>
          <p:nvSpPr>
            <p:cNvPr id="122" name="Iceland" descr="© INSCALE GmbH, 05.05.2010&#10;http://www.presentationload.com/"/>
            <p:cNvSpPr>
              <a:spLocks/>
            </p:cNvSpPr>
            <p:nvPr/>
          </p:nvSpPr>
          <p:spPr bwMode="gray">
            <a:xfrm>
              <a:off x="4099705" y="2674826"/>
              <a:ext cx="185577" cy="68588"/>
            </a:xfrm>
            <a:custGeom>
              <a:avLst/>
              <a:gdLst>
                <a:gd name="T0" fmla="*/ 2147483647 w 570"/>
                <a:gd name="T1" fmla="*/ 2147483647 h 222"/>
                <a:gd name="T2" fmla="*/ 2147483647 w 570"/>
                <a:gd name="T3" fmla="*/ 2147483647 h 222"/>
                <a:gd name="T4" fmla="*/ 2147483647 w 570"/>
                <a:gd name="T5" fmla="*/ 2147483647 h 222"/>
                <a:gd name="T6" fmla="*/ 2147483647 w 570"/>
                <a:gd name="T7" fmla="*/ 2147483647 h 222"/>
                <a:gd name="T8" fmla="*/ 2147483647 w 570"/>
                <a:gd name="T9" fmla="*/ 2147483647 h 222"/>
                <a:gd name="T10" fmla="*/ 2147483647 w 570"/>
                <a:gd name="T11" fmla="*/ 2147483647 h 222"/>
                <a:gd name="T12" fmla="*/ 2147483647 w 570"/>
                <a:gd name="T13" fmla="*/ 2147483647 h 222"/>
                <a:gd name="T14" fmla="*/ 2147483647 w 570"/>
                <a:gd name="T15" fmla="*/ 2147483647 h 222"/>
                <a:gd name="T16" fmla="*/ 2147483647 w 570"/>
                <a:gd name="T17" fmla="*/ 2147483647 h 222"/>
                <a:gd name="T18" fmla="*/ 2147483647 w 570"/>
                <a:gd name="T19" fmla="*/ 2147483647 h 222"/>
                <a:gd name="T20" fmla="*/ 2147483647 w 570"/>
                <a:gd name="T21" fmla="*/ 2147483647 h 222"/>
                <a:gd name="T22" fmla="*/ 2147483647 w 570"/>
                <a:gd name="T23" fmla="*/ 2147483647 h 222"/>
                <a:gd name="T24" fmla="*/ 2147483647 w 570"/>
                <a:gd name="T25" fmla="*/ 2147483647 h 222"/>
                <a:gd name="T26" fmla="*/ 2147483647 w 570"/>
                <a:gd name="T27" fmla="*/ 2147483647 h 222"/>
                <a:gd name="T28" fmla="*/ 2147483647 w 570"/>
                <a:gd name="T29" fmla="*/ 2147483647 h 222"/>
                <a:gd name="T30" fmla="*/ 2147483647 w 570"/>
                <a:gd name="T31" fmla="*/ 2147483647 h 222"/>
                <a:gd name="T32" fmla="*/ 2147483647 w 570"/>
                <a:gd name="T33" fmla="*/ 2147483647 h 222"/>
                <a:gd name="T34" fmla="*/ 2147483647 w 570"/>
                <a:gd name="T35" fmla="*/ 2147483647 h 222"/>
                <a:gd name="T36" fmla="*/ 2147483647 w 570"/>
                <a:gd name="T37" fmla="*/ 2147483647 h 222"/>
                <a:gd name="T38" fmla="*/ 2147483647 w 570"/>
                <a:gd name="T39" fmla="*/ 2147483647 h 222"/>
                <a:gd name="T40" fmla="*/ 2147483647 w 570"/>
                <a:gd name="T41" fmla="*/ 2147483647 h 222"/>
                <a:gd name="T42" fmla="*/ 2147483647 w 570"/>
                <a:gd name="T43" fmla="*/ 2147483647 h 222"/>
                <a:gd name="T44" fmla="*/ 2147483647 w 570"/>
                <a:gd name="T45" fmla="*/ 2147483647 h 222"/>
                <a:gd name="T46" fmla="*/ 2147483647 w 570"/>
                <a:gd name="T47" fmla="*/ 2147483647 h 222"/>
                <a:gd name="T48" fmla="*/ 2147483647 w 570"/>
                <a:gd name="T49" fmla="*/ 2147483647 h 222"/>
                <a:gd name="T50" fmla="*/ 2147483647 w 570"/>
                <a:gd name="T51" fmla="*/ 2147483647 h 222"/>
                <a:gd name="T52" fmla="*/ 2147483647 w 570"/>
                <a:gd name="T53" fmla="*/ 2147483647 h 222"/>
                <a:gd name="T54" fmla="*/ 2147483647 w 570"/>
                <a:gd name="T55" fmla="*/ 2147483647 h 222"/>
                <a:gd name="T56" fmla="*/ 2147483647 w 570"/>
                <a:gd name="T57" fmla="*/ 2147483647 h 222"/>
                <a:gd name="T58" fmla="*/ 2147483647 w 570"/>
                <a:gd name="T59" fmla="*/ 2147483647 h 222"/>
                <a:gd name="T60" fmla="*/ 2147483647 w 570"/>
                <a:gd name="T61" fmla="*/ 2147483647 h 222"/>
                <a:gd name="T62" fmla="*/ 2147483647 w 570"/>
                <a:gd name="T63" fmla="*/ 2147483647 h 222"/>
                <a:gd name="T64" fmla="*/ 2147483647 w 570"/>
                <a:gd name="T65" fmla="*/ 2147483647 h 222"/>
                <a:gd name="T66" fmla="*/ 0 w 570"/>
                <a:gd name="T67" fmla="*/ 2147483647 h 222"/>
                <a:gd name="T68" fmla="*/ 2147483647 w 570"/>
                <a:gd name="T69" fmla="*/ 2147483647 h 222"/>
                <a:gd name="T70" fmla="*/ 2147483647 w 570"/>
                <a:gd name="T71" fmla="*/ 2147483647 h 222"/>
                <a:gd name="T72" fmla="*/ 2147483647 w 570"/>
                <a:gd name="T73" fmla="*/ 2147483647 h 222"/>
                <a:gd name="T74" fmla="*/ 2147483647 w 570"/>
                <a:gd name="T75" fmla="*/ 2147483647 h 222"/>
                <a:gd name="T76" fmla="*/ 2147483647 w 570"/>
                <a:gd name="T77" fmla="*/ 2147483647 h 222"/>
                <a:gd name="T78" fmla="*/ 2147483647 w 570"/>
                <a:gd name="T79" fmla="*/ 2147483647 h 222"/>
                <a:gd name="T80" fmla="*/ 2147483647 w 570"/>
                <a:gd name="T81" fmla="*/ 2147483647 h 222"/>
                <a:gd name="T82" fmla="*/ 2147483647 w 570"/>
                <a:gd name="T83" fmla="*/ 2147483647 h 222"/>
                <a:gd name="T84" fmla="*/ 2147483647 w 570"/>
                <a:gd name="T85" fmla="*/ 2147483647 h 222"/>
                <a:gd name="T86" fmla="*/ 2147483647 w 570"/>
                <a:gd name="T87" fmla="*/ 2147483647 h 222"/>
                <a:gd name="T88" fmla="*/ 2147483647 w 570"/>
                <a:gd name="T89" fmla="*/ 2147483647 h 222"/>
                <a:gd name="T90" fmla="*/ 2147483647 w 570"/>
                <a:gd name="T91" fmla="*/ 2147483647 h 222"/>
                <a:gd name="T92" fmla="*/ 2147483647 w 570"/>
                <a:gd name="T93" fmla="*/ 2147483647 h 222"/>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570"/>
                <a:gd name="T142" fmla="*/ 0 h 222"/>
                <a:gd name="T143" fmla="*/ 570 w 570"/>
                <a:gd name="T144" fmla="*/ 222 h 222"/>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570" h="222">
                  <a:moveTo>
                    <a:pt x="252" y="222"/>
                  </a:moveTo>
                  <a:lnTo>
                    <a:pt x="270" y="216"/>
                  </a:lnTo>
                  <a:lnTo>
                    <a:pt x="306" y="216"/>
                  </a:lnTo>
                  <a:lnTo>
                    <a:pt x="312" y="204"/>
                  </a:lnTo>
                  <a:lnTo>
                    <a:pt x="312" y="192"/>
                  </a:lnTo>
                  <a:lnTo>
                    <a:pt x="324" y="198"/>
                  </a:lnTo>
                  <a:lnTo>
                    <a:pt x="330" y="198"/>
                  </a:lnTo>
                  <a:lnTo>
                    <a:pt x="342" y="204"/>
                  </a:lnTo>
                  <a:lnTo>
                    <a:pt x="348" y="204"/>
                  </a:lnTo>
                  <a:lnTo>
                    <a:pt x="360" y="192"/>
                  </a:lnTo>
                  <a:lnTo>
                    <a:pt x="360" y="186"/>
                  </a:lnTo>
                  <a:lnTo>
                    <a:pt x="372" y="186"/>
                  </a:lnTo>
                  <a:lnTo>
                    <a:pt x="378" y="192"/>
                  </a:lnTo>
                  <a:lnTo>
                    <a:pt x="390" y="192"/>
                  </a:lnTo>
                  <a:lnTo>
                    <a:pt x="414" y="180"/>
                  </a:lnTo>
                  <a:lnTo>
                    <a:pt x="432" y="168"/>
                  </a:lnTo>
                  <a:lnTo>
                    <a:pt x="456" y="156"/>
                  </a:lnTo>
                  <a:lnTo>
                    <a:pt x="474" y="156"/>
                  </a:lnTo>
                  <a:lnTo>
                    <a:pt x="480" y="162"/>
                  </a:lnTo>
                  <a:lnTo>
                    <a:pt x="492" y="162"/>
                  </a:lnTo>
                  <a:lnTo>
                    <a:pt x="504" y="156"/>
                  </a:lnTo>
                  <a:lnTo>
                    <a:pt x="510" y="144"/>
                  </a:lnTo>
                  <a:lnTo>
                    <a:pt x="510" y="138"/>
                  </a:lnTo>
                  <a:lnTo>
                    <a:pt x="516" y="126"/>
                  </a:lnTo>
                  <a:lnTo>
                    <a:pt x="528" y="126"/>
                  </a:lnTo>
                  <a:lnTo>
                    <a:pt x="552" y="114"/>
                  </a:lnTo>
                  <a:lnTo>
                    <a:pt x="564" y="102"/>
                  </a:lnTo>
                  <a:lnTo>
                    <a:pt x="570" y="102"/>
                  </a:lnTo>
                  <a:lnTo>
                    <a:pt x="552" y="102"/>
                  </a:lnTo>
                  <a:lnTo>
                    <a:pt x="570" y="84"/>
                  </a:lnTo>
                  <a:lnTo>
                    <a:pt x="570" y="78"/>
                  </a:lnTo>
                  <a:lnTo>
                    <a:pt x="564" y="72"/>
                  </a:lnTo>
                  <a:lnTo>
                    <a:pt x="552" y="66"/>
                  </a:lnTo>
                  <a:lnTo>
                    <a:pt x="540" y="66"/>
                  </a:lnTo>
                  <a:lnTo>
                    <a:pt x="534" y="72"/>
                  </a:lnTo>
                  <a:lnTo>
                    <a:pt x="528" y="72"/>
                  </a:lnTo>
                  <a:lnTo>
                    <a:pt x="534" y="60"/>
                  </a:lnTo>
                  <a:lnTo>
                    <a:pt x="504" y="60"/>
                  </a:lnTo>
                  <a:lnTo>
                    <a:pt x="522" y="36"/>
                  </a:lnTo>
                  <a:lnTo>
                    <a:pt x="504" y="36"/>
                  </a:lnTo>
                  <a:lnTo>
                    <a:pt x="510" y="18"/>
                  </a:lnTo>
                  <a:lnTo>
                    <a:pt x="480" y="24"/>
                  </a:lnTo>
                  <a:lnTo>
                    <a:pt x="474" y="18"/>
                  </a:lnTo>
                  <a:lnTo>
                    <a:pt x="462" y="12"/>
                  </a:lnTo>
                  <a:lnTo>
                    <a:pt x="456" y="6"/>
                  </a:lnTo>
                  <a:lnTo>
                    <a:pt x="444" y="0"/>
                  </a:lnTo>
                  <a:lnTo>
                    <a:pt x="432" y="0"/>
                  </a:lnTo>
                  <a:lnTo>
                    <a:pt x="432" y="24"/>
                  </a:lnTo>
                  <a:lnTo>
                    <a:pt x="414" y="30"/>
                  </a:lnTo>
                  <a:lnTo>
                    <a:pt x="408" y="30"/>
                  </a:lnTo>
                  <a:lnTo>
                    <a:pt x="402" y="24"/>
                  </a:lnTo>
                  <a:lnTo>
                    <a:pt x="378" y="24"/>
                  </a:lnTo>
                  <a:lnTo>
                    <a:pt x="372" y="30"/>
                  </a:lnTo>
                  <a:lnTo>
                    <a:pt x="366" y="42"/>
                  </a:lnTo>
                  <a:lnTo>
                    <a:pt x="360" y="36"/>
                  </a:lnTo>
                  <a:lnTo>
                    <a:pt x="348" y="30"/>
                  </a:lnTo>
                  <a:lnTo>
                    <a:pt x="342" y="24"/>
                  </a:lnTo>
                  <a:lnTo>
                    <a:pt x="336" y="24"/>
                  </a:lnTo>
                  <a:lnTo>
                    <a:pt x="330" y="30"/>
                  </a:lnTo>
                  <a:lnTo>
                    <a:pt x="330" y="60"/>
                  </a:lnTo>
                  <a:lnTo>
                    <a:pt x="324" y="48"/>
                  </a:lnTo>
                  <a:lnTo>
                    <a:pt x="318" y="42"/>
                  </a:lnTo>
                  <a:lnTo>
                    <a:pt x="306" y="36"/>
                  </a:lnTo>
                  <a:lnTo>
                    <a:pt x="300" y="24"/>
                  </a:lnTo>
                  <a:lnTo>
                    <a:pt x="288" y="24"/>
                  </a:lnTo>
                  <a:lnTo>
                    <a:pt x="288" y="30"/>
                  </a:lnTo>
                  <a:lnTo>
                    <a:pt x="270" y="30"/>
                  </a:lnTo>
                  <a:lnTo>
                    <a:pt x="264" y="36"/>
                  </a:lnTo>
                  <a:lnTo>
                    <a:pt x="264" y="54"/>
                  </a:lnTo>
                  <a:lnTo>
                    <a:pt x="252" y="54"/>
                  </a:lnTo>
                  <a:lnTo>
                    <a:pt x="240" y="42"/>
                  </a:lnTo>
                  <a:lnTo>
                    <a:pt x="228" y="36"/>
                  </a:lnTo>
                  <a:lnTo>
                    <a:pt x="222" y="30"/>
                  </a:lnTo>
                  <a:lnTo>
                    <a:pt x="216" y="30"/>
                  </a:lnTo>
                  <a:lnTo>
                    <a:pt x="216" y="48"/>
                  </a:lnTo>
                  <a:lnTo>
                    <a:pt x="210" y="60"/>
                  </a:lnTo>
                  <a:lnTo>
                    <a:pt x="210" y="72"/>
                  </a:lnTo>
                  <a:lnTo>
                    <a:pt x="204" y="72"/>
                  </a:lnTo>
                  <a:lnTo>
                    <a:pt x="192" y="60"/>
                  </a:lnTo>
                  <a:lnTo>
                    <a:pt x="186" y="60"/>
                  </a:lnTo>
                  <a:lnTo>
                    <a:pt x="162" y="84"/>
                  </a:lnTo>
                  <a:lnTo>
                    <a:pt x="162" y="90"/>
                  </a:lnTo>
                  <a:lnTo>
                    <a:pt x="156" y="84"/>
                  </a:lnTo>
                  <a:lnTo>
                    <a:pt x="144" y="60"/>
                  </a:lnTo>
                  <a:lnTo>
                    <a:pt x="162" y="42"/>
                  </a:lnTo>
                  <a:lnTo>
                    <a:pt x="162" y="36"/>
                  </a:lnTo>
                  <a:lnTo>
                    <a:pt x="156" y="30"/>
                  </a:lnTo>
                  <a:lnTo>
                    <a:pt x="108" y="6"/>
                  </a:lnTo>
                  <a:lnTo>
                    <a:pt x="96" y="6"/>
                  </a:lnTo>
                  <a:lnTo>
                    <a:pt x="96" y="36"/>
                  </a:lnTo>
                  <a:lnTo>
                    <a:pt x="90" y="36"/>
                  </a:lnTo>
                  <a:lnTo>
                    <a:pt x="84" y="30"/>
                  </a:lnTo>
                  <a:lnTo>
                    <a:pt x="78" y="30"/>
                  </a:lnTo>
                  <a:lnTo>
                    <a:pt x="66" y="24"/>
                  </a:lnTo>
                  <a:lnTo>
                    <a:pt x="54" y="24"/>
                  </a:lnTo>
                  <a:lnTo>
                    <a:pt x="42" y="30"/>
                  </a:lnTo>
                  <a:lnTo>
                    <a:pt x="30" y="42"/>
                  </a:lnTo>
                  <a:lnTo>
                    <a:pt x="48" y="54"/>
                  </a:lnTo>
                  <a:lnTo>
                    <a:pt x="30" y="54"/>
                  </a:lnTo>
                  <a:lnTo>
                    <a:pt x="18" y="60"/>
                  </a:lnTo>
                  <a:lnTo>
                    <a:pt x="12" y="66"/>
                  </a:lnTo>
                  <a:lnTo>
                    <a:pt x="0" y="66"/>
                  </a:lnTo>
                  <a:lnTo>
                    <a:pt x="6" y="72"/>
                  </a:lnTo>
                  <a:lnTo>
                    <a:pt x="18" y="78"/>
                  </a:lnTo>
                  <a:lnTo>
                    <a:pt x="30" y="78"/>
                  </a:lnTo>
                  <a:lnTo>
                    <a:pt x="54" y="66"/>
                  </a:lnTo>
                  <a:lnTo>
                    <a:pt x="66" y="66"/>
                  </a:lnTo>
                  <a:lnTo>
                    <a:pt x="72" y="60"/>
                  </a:lnTo>
                  <a:lnTo>
                    <a:pt x="78" y="60"/>
                  </a:lnTo>
                  <a:lnTo>
                    <a:pt x="126" y="72"/>
                  </a:lnTo>
                  <a:lnTo>
                    <a:pt x="90" y="90"/>
                  </a:lnTo>
                  <a:lnTo>
                    <a:pt x="102" y="90"/>
                  </a:lnTo>
                  <a:lnTo>
                    <a:pt x="108" y="96"/>
                  </a:lnTo>
                  <a:lnTo>
                    <a:pt x="114" y="96"/>
                  </a:lnTo>
                  <a:lnTo>
                    <a:pt x="120" y="102"/>
                  </a:lnTo>
                  <a:lnTo>
                    <a:pt x="114" y="102"/>
                  </a:lnTo>
                  <a:lnTo>
                    <a:pt x="108" y="108"/>
                  </a:lnTo>
                  <a:lnTo>
                    <a:pt x="6" y="108"/>
                  </a:lnTo>
                  <a:lnTo>
                    <a:pt x="0" y="114"/>
                  </a:lnTo>
                  <a:lnTo>
                    <a:pt x="12" y="120"/>
                  </a:lnTo>
                  <a:lnTo>
                    <a:pt x="60" y="120"/>
                  </a:lnTo>
                  <a:lnTo>
                    <a:pt x="84" y="132"/>
                  </a:lnTo>
                  <a:lnTo>
                    <a:pt x="90" y="138"/>
                  </a:lnTo>
                  <a:lnTo>
                    <a:pt x="126" y="132"/>
                  </a:lnTo>
                  <a:lnTo>
                    <a:pt x="108" y="150"/>
                  </a:lnTo>
                  <a:lnTo>
                    <a:pt x="120" y="156"/>
                  </a:lnTo>
                  <a:lnTo>
                    <a:pt x="114" y="162"/>
                  </a:lnTo>
                  <a:lnTo>
                    <a:pt x="114" y="168"/>
                  </a:lnTo>
                  <a:lnTo>
                    <a:pt x="108" y="174"/>
                  </a:lnTo>
                  <a:lnTo>
                    <a:pt x="90" y="174"/>
                  </a:lnTo>
                  <a:lnTo>
                    <a:pt x="78" y="180"/>
                  </a:lnTo>
                  <a:lnTo>
                    <a:pt x="54" y="180"/>
                  </a:lnTo>
                  <a:lnTo>
                    <a:pt x="54" y="186"/>
                  </a:lnTo>
                  <a:lnTo>
                    <a:pt x="66" y="192"/>
                  </a:lnTo>
                  <a:lnTo>
                    <a:pt x="120" y="192"/>
                  </a:lnTo>
                  <a:lnTo>
                    <a:pt x="132" y="186"/>
                  </a:lnTo>
                  <a:lnTo>
                    <a:pt x="138" y="180"/>
                  </a:lnTo>
                  <a:lnTo>
                    <a:pt x="168" y="198"/>
                  </a:lnTo>
                  <a:lnTo>
                    <a:pt x="180" y="186"/>
                  </a:lnTo>
                  <a:lnTo>
                    <a:pt x="180" y="198"/>
                  </a:lnTo>
                  <a:lnTo>
                    <a:pt x="228" y="222"/>
                  </a:lnTo>
                  <a:lnTo>
                    <a:pt x="252" y="222"/>
                  </a:lnTo>
                  <a:close/>
                </a:path>
              </a:pathLst>
            </a:custGeom>
            <a:grpFill/>
            <a:ln w="3175">
              <a:solidFill>
                <a:schemeClr val="bg1"/>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de-DE" sz="1800" b="0" i="0" u="none" strike="noStrike" kern="1200" cap="none" spc="0" normalizeH="0" baseline="0" noProof="0">
                <a:ln>
                  <a:noFill/>
                </a:ln>
                <a:solidFill>
                  <a:srgbClr val="FFC000"/>
                </a:solidFill>
                <a:effectLst/>
                <a:uLnTx/>
                <a:uFillTx/>
                <a:latin typeface="Calibri" pitchFamily="34" charset="0"/>
                <a:ea typeface="+mn-ea"/>
                <a:cs typeface="+mn-cs"/>
              </a:endParaRPr>
            </a:p>
          </p:txBody>
        </p:sp>
        <p:sp>
          <p:nvSpPr>
            <p:cNvPr id="123" name="Hungary" descr="© INSCALE GmbH, 05.05.2010&#10;http://www.presentationload.com/"/>
            <p:cNvSpPr>
              <a:spLocks/>
            </p:cNvSpPr>
            <p:nvPr/>
          </p:nvSpPr>
          <p:spPr bwMode="gray">
            <a:xfrm>
              <a:off x="4824095" y="3092478"/>
              <a:ext cx="138223" cy="68588"/>
            </a:xfrm>
            <a:custGeom>
              <a:avLst/>
              <a:gdLst>
                <a:gd name="T0" fmla="*/ 2147483647 w 426"/>
                <a:gd name="T1" fmla="*/ 2147483647 h 222"/>
                <a:gd name="T2" fmla="*/ 2147483647 w 426"/>
                <a:gd name="T3" fmla="*/ 2147483647 h 222"/>
                <a:gd name="T4" fmla="*/ 2147483647 w 426"/>
                <a:gd name="T5" fmla="*/ 2147483647 h 222"/>
                <a:gd name="T6" fmla="*/ 0 w 426"/>
                <a:gd name="T7" fmla="*/ 2147483647 h 222"/>
                <a:gd name="T8" fmla="*/ 2147483647 w 426"/>
                <a:gd name="T9" fmla="*/ 2147483647 h 222"/>
                <a:gd name="T10" fmla="*/ 2147483647 w 426"/>
                <a:gd name="T11" fmla="*/ 2147483647 h 222"/>
                <a:gd name="T12" fmla="*/ 2147483647 w 426"/>
                <a:gd name="T13" fmla="*/ 2147483647 h 222"/>
                <a:gd name="T14" fmla="*/ 2147483647 w 426"/>
                <a:gd name="T15" fmla="*/ 2147483647 h 222"/>
                <a:gd name="T16" fmla="*/ 2147483647 w 426"/>
                <a:gd name="T17" fmla="*/ 2147483647 h 222"/>
                <a:gd name="T18" fmla="*/ 2147483647 w 426"/>
                <a:gd name="T19" fmla="*/ 2147483647 h 222"/>
                <a:gd name="T20" fmla="*/ 2147483647 w 426"/>
                <a:gd name="T21" fmla="*/ 2147483647 h 222"/>
                <a:gd name="T22" fmla="*/ 2147483647 w 426"/>
                <a:gd name="T23" fmla="*/ 2147483647 h 222"/>
                <a:gd name="T24" fmla="*/ 2147483647 w 426"/>
                <a:gd name="T25" fmla="*/ 2147483647 h 222"/>
                <a:gd name="T26" fmla="*/ 2147483647 w 426"/>
                <a:gd name="T27" fmla="*/ 2147483647 h 222"/>
                <a:gd name="T28" fmla="*/ 2147483647 w 426"/>
                <a:gd name="T29" fmla="*/ 2147483647 h 222"/>
                <a:gd name="T30" fmla="*/ 2147483647 w 426"/>
                <a:gd name="T31" fmla="*/ 2147483647 h 222"/>
                <a:gd name="T32" fmla="*/ 2147483647 w 426"/>
                <a:gd name="T33" fmla="*/ 2147483647 h 222"/>
                <a:gd name="T34" fmla="*/ 2147483647 w 426"/>
                <a:gd name="T35" fmla="*/ 2147483647 h 222"/>
                <a:gd name="T36" fmla="*/ 2147483647 w 426"/>
                <a:gd name="T37" fmla="*/ 2147483647 h 222"/>
                <a:gd name="T38" fmla="*/ 2147483647 w 426"/>
                <a:gd name="T39" fmla="*/ 2147483647 h 222"/>
                <a:gd name="T40" fmla="*/ 2147483647 w 426"/>
                <a:gd name="T41" fmla="*/ 2147483647 h 222"/>
                <a:gd name="T42" fmla="*/ 2147483647 w 426"/>
                <a:gd name="T43" fmla="*/ 2147483647 h 222"/>
                <a:gd name="T44" fmla="*/ 2147483647 w 426"/>
                <a:gd name="T45" fmla="*/ 2147483647 h 222"/>
                <a:gd name="T46" fmla="*/ 2147483647 w 426"/>
                <a:gd name="T47" fmla="*/ 2147483647 h 222"/>
                <a:gd name="T48" fmla="*/ 2147483647 w 426"/>
                <a:gd name="T49" fmla="*/ 0 h 222"/>
                <a:gd name="T50" fmla="*/ 2147483647 w 426"/>
                <a:gd name="T51" fmla="*/ 2147483647 h 222"/>
                <a:gd name="T52" fmla="*/ 2147483647 w 426"/>
                <a:gd name="T53" fmla="*/ 0 h 222"/>
                <a:gd name="T54" fmla="*/ 2147483647 w 426"/>
                <a:gd name="T55" fmla="*/ 2147483647 h 222"/>
                <a:gd name="T56" fmla="*/ 2147483647 w 426"/>
                <a:gd name="T57" fmla="*/ 2147483647 h 222"/>
                <a:gd name="T58" fmla="*/ 2147483647 w 426"/>
                <a:gd name="T59" fmla="*/ 2147483647 h 222"/>
                <a:gd name="T60" fmla="*/ 2147483647 w 426"/>
                <a:gd name="T61" fmla="*/ 2147483647 h 222"/>
                <a:gd name="T62" fmla="*/ 2147483647 w 426"/>
                <a:gd name="T63" fmla="*/ 2147483647 h 222"/>
                <a:gd name="T64" fmla="*/ 2147483647 w 426"/>
                <a:gd name="T65" fmla="*/ 2147483647 h 222"/>
                <a:gd name="T66" fmla="*/ 2147483647 w 426"/>
                <a:gd name="T67" fmla="*/ 2147483647 h 222"/>
                <a:gd name="T68" fmla="*/ 2147483647 w 426"/>
                <a:gd name="T69" fmla="*/ 2147483647 h 222"/>
                <a:gd name="T70" fmla="*/ 2147483647 w 426"/>
                <a:gd name="T71" fmla="*/ 2147483647 h 222"/>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426"/>
                <a:gd name="T109" fmla="*/ 0 h 222"/>
                <a:gd name="T110" fmla="*/ 426 w 426"/>
                <a:gd name="T111" fmla="*/ 222 h 222"/>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426" h="222">
                  <a:moveTo>
                    <a:pt x="42" y="66"/>
                  </a:moveTo>
                  <a:lnTo>
                    <a:pt x="24" y="66"/>
                  </a:lnTo>
                  <a:lnTo>
                    <a:pt x="18" y="78"/>
                  </a:lnTo>
                  <a:lnTo>
                    <a:pt x="30" y="78"/>
                  </a:lnTo>
                  <a:lnTo>
                    <a:pt x="18" y="96"/>
                  </a:lnTo>
                  <a:lnTo>
                    <a:pt x="18" y="120"/>
                  </a:lnTo>
                  <a:lnTo>
                    <a:pt x="0" y="120"/>
                  </a:lnTo>
                  <a:lnTo>
                    <a:pt x="0" y="126"/>
                  </a:lnTo>
                  <a:lnTo>
                    <a:pt x="6" y="132"/>
                  </a:lnTo>
                  <a:lnTo>
                    <a:pt x="12" y="150"/>
                  </a:lnTo>
                  <a:lnTo>
                    <a:pt x="30" y="162"/>
                  </a:lnTo>
                  <a:lnTo>
                    <a:pt x="42" y="168"/>
                  </a:lnTo>
                  <a:lnTo>
                    <a:pt x="48" y="174"/>
                  </a:lnTo>
                  <a:lnTo>
                    <a:pt x="48" y="180"/>
                  </a:lnTo>
                  <a:lnTo>
                    <a:pt x="60" y="192"/>
                  </a:lnTo>
                  <a:lnTo>
                    <a:pt x="72" y="198"/>
                  </a:lnTo>
                  <a:lnTo>
                    <a:pt x="78" y="204"/>
                  </a:lnTo>
                  <a:lnTo>
                    <a:pt x="90" y="210"/>
                  </a:lnTo>
                  <a:lnTo>
                    <a:pt x="108" y="210"/>
                  </a:lnTo>
                  <a:lnTo>
                    <a:pt x="114" y="222"/>
                  </a:lnTo>
                  <a:lnTo>
                    <a:pt x="156" y="216"/>
                  </a:lnTo>
                  <a:lnTo>
                    <a:pt x="168" y="210"/>
                  </a:lnTo>
                  <a:lnTo>
                    <a:pt x="174" y="204"/>
                  </a:lnTo>
                  <a:lnTo>
                    <a:pt x="198" y="204"/>
                  </a:lnTo>
                  <a:lnTo>
                    <a:pt x="216" y="186"/>
                  </a:lnTo>
                  <a:lnTo>
                    <a:pt x="240" y="186"/>
                  </a:lnTo>
                  <a:lnTo>
                    <a:pt x="258" y="198"/>
                  </a:lnTo>
                  <a:lnTo>
                    <a:pt x="288" y="192"/>
                  </a:lnTo>
                  <a:lnTo>
                    <a:pt x="288" y="174"/>
                  </a:lnTo>
                  <a:lnTo>
                    <a:pt x="306" y="180"/>
                  </a:lnTo>
                  <a:lnTo>
                    <a:pt x="312" y="174"/>
                  </a:lnTo>
                  <a:lnTo>
                    <a:pt x="324" y="168"/>
                  </a:lnTo>
                  <a:lnTo>
                    <a:pt x="330" y="162"/>
                  </a:lnTo>
                  <a:lnTo>
                    <a:pt x="330" y="144"/>
                  </a:lnTo>
                  <a:lnTo>
                    <a:pt x="336" y="138"/>
                  </a:lnTo>
                  <a:lnTo>
                    <a:pt x="348" y="132"/>
                  </a:lnTo>
                  <a:lnTo>
                    <a:pt x="366" y="114"/>
                  </a:lnTo>
                  <a:lnTo>
                    <a:pt x="366" y="72"/>
                  </a:lnTo>
                  <a:lnTo>
                    <a:pt x="378" y="60"/>
                  </a:lnTo>
                  <a:lnTo>
                    <a:pt x="408" y="60"/>
                  </a:lnTo>
                  <a:lnTo>
                    <a:pt x="426" y="42"/>
                  </a:lnTo>
                  <a:lnTo>
                    <a:pt x="420" y="36"/>
                  </a:lnTo>
                  <a:lnTo>
                    <a:pt x="408" y="36"/>
                  </a:lnTo>
                  <a:lnTo>
                    <a:pt x="402" y="30"/>
                  </a:lnTo>
                  <a:lnTo>
                    <a:pt x="396" y="30"/>
                  </a:lnTo>
                  <a:lnTo>
                    <a:pt x="372" y="6"/>
                  </a:lnTo>
                  <a:lnTo>
                    <a:pt x="348" y="6"/>
                  </a:lnTo>
                  <a:lnTo>
                    <a:pt x="336" y="12"/>
                  </a:lnTo>
                  <a:lnTo>
                    <a:pt x="324" y="12"/>
                  </a:lnTo>
                  <a:lnTo>
                    <a:pt x="324" y="0"/>
                  </a:lnTo>
                  <a:lnTo>
                    <a:pt x="312" y="0"/>
                  </a:lnTo>
                  <a:lnTo>
                    <a:pt x="312" y="18"/>
                  </a:lnTo>
                  <a:lnTo>
                    <a:pt x="294" y="12"/>
                  </a:lnTo>
                  <a:lnTo>
                    <a:pt x="294" y="0"/>
                  </a:lnTo>
                  <a:lnTo>
                    <a:pt x="270" y="0"/>
                  </a:lnTo>
                  <a:lnTo>
                    <a:pt x="264" y="12"/>
                  </a:lnTo>
                  <a:lnTo>
                    <a:pt x="252" y="24"/>
                  </a:lnTo>
                  <a:lnTo>
                    <a:pt x="246" y="24"/>
                  </a:lnTo>
                  <a:lnTo>
                    <a:pt x="234" y="30"/>
                  </a:lnTo>
                  <a:lnTo>
                    <a:pt x="210" y="30"/>
                  </a:lnTo>
                  <a:lnTo>
                    <a:pt x="204" y="42"/>
                  </a:lnTo>
                  <a:lnTo>
                    <a:pt x="168" y="36"/>
                  </a:lnTo>
                  <a:lnTo>
                    <a:pt x="156" y="60"/>
                  </a:lnTo>
                  <a:lnTo>
                    <a:pt x="144" y="60"/>
                  </a:lnTo>
                  <a:lnTo>
                    <a:pt x="126" y="66"/>
                  </a:lnTo>
                  <a:lnTo>
                    <a:pt x="84" y="66"/>
                  </a:lnTo>
                  <a:lnTo>
                    <a:pt x="78" y="60"/>
                  </a:lnTo>
                  <a:lnTo>
                    <a:pt x="72" y="48"/>
                  </a:lnTo>
                  <a:lnTo>
                    <a:pt x="66" y="42"/>
                  </a:lnTo>
                  <a:lnTo>
                    <a:pt x="54" y="60"/>
                  </a:lnTo>
                  <a:lnTo>
                    <a:pt x="42" y="54"/>
                  </a:lnTo>
                  <a:lnTo>
                    <a:pt x="42" y="66"/>
                  </a:lnTo>
                  <a:close/>
                </a:path>
              </a:pathLst>
            </a:custGeom>
            <a:grpFill/>
            <a:ln w="3175">
              <a:solidFill>
                <a:schemeClr val="bg1"/>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de-DE" sz="1800" b="0" i="0" u="none" strike="noStrike" kern="1200" cap="none" spc="0" normalizeH="0" baseline="0" noProof="0">
                <a:ln>
                  <a:noFill/>
                </a:ln>
                <a:solidFill>
                  <a:srgbClr val="FFC000"/>
                </a:solidFill>
                <a:effectLst/>
                <a:uLnTx/>
                <a:uFillTx/>
                <a:latin typeface="Calibri" pitchFamily="34" charset="0"/>
                <a:ea typeface="+mn-ea"/>
                <a:cs typeface="+mn-cs"/>
              </a:endParaRPr>
            </a:p>
          </p:txBody>
        </p:sp>
        <p:sp>
          <p:nvSpPr>
            <p:cNvPr id="124" name="Honduras" descr="© INSCALE GmbH, 05.05.2010&#10;http://www.presentationload.com/"/>
            <p:cNvSpPr>
              <a:spLocks/>
            </p:cNvSpPr>
            <p:nvPr/>
          </p:nvSpPr>
          <p:spPr bwMode="gray">
            <a:xfrm>
              <a:off x="2423114" y="3903289"/>
              <a:ext cx="145902" cy="77162"/>
            </a:xfrm>
            <a:custGeom>
              <a:avLst/>
              <a:gdLst>
                <a:gd name="T0" fmla="*/ 2147483647 w 444"/>
                <a:gd name="T1" fmla="*/ 2147483647 h 246"/>
                <a:gd name="T2" fmla="*/ 2147483647 w 444"/>
                <a:gd name="T3" fmla="*/ 2147483647 h 246"/>
                <a:gd name="T4" fmla="*/ 2147483647 w 444"/>
                <a:gd name="T5" fmla="*/ 2147483647 h 246"/>
                <a:gd name="T6" fmla="*/ 2147483647 w 444"/>
                <a:gd name="T7" fmla="*/ 2147483647 h 246"/>
                <a:gd name="T8" fmla="*/ 2147483647 w 444"/>
                <a:gd name="T9" fmla="*/ 2147483647 h 246"/>
                <a:gd name="T10" fmla="*/ 2147483647 w 444"/>
                <a:gd name="T11" fmla="*/ 2147483647 h 246"/>
                <a:gd name="T12" fmla="*/ 2147483647 w 444"/>
                <a:gd name="T13" fmla="*/ 2147483647 h 246"/>
                <a:gd name="T14" fmla="*/ 2147483647 w 444"/>
                <a:gd name="T15" fmla="*/ 2147483647 h 246"/>
                <a:gd name="T16" fmla="*/ 2147483647 w 444"/>
                <a:gd name="T17" fmla="*/ 2147483647 h 246"/>
                <a:gd name="T18" fmla="*/ 2147483647 w 444"/>
                <a:gd name="T19" fmla="*/ 2147483647 h 246"/>
                <a:gd name="T20" fmla="*/ 2147483647 w 444"/>
                <a:gd name="T21" fmla="*/ 2147483647 h 246"/>
                <a:gd name="T22" fmla="*/ 2147483647 w 444"/>
                <a:gd name="T23" fmla="*/ 2147483647 h 246"/>
                <a:gd name="T24" fmla="*/ 2147483647 w 444"/>
                <a:gd name="T25" fmla="*/ 2147483647 h 246"/>
                <a:gd name="T26" fmla="*/ 2147483647 w 444"/>
                <a:gd name="T27" fmla="*/ 2147483647 h 246"/>
                <a:gd name="T28" fmla="*/ 2147483647 w 444"/>
                <a:gd name="T29" fmla="*/ 2147483647 h 246"/>
                <a:gd name="T30" fmla="*/ 2147483647 w 444"/>
                <a:gd name="T31" fmla="*/ 2147483647 h 246"/>
                <a:gd name="T32" fmla="*/ 2147483647 w 444"/>
                <a:gd name="T33" fmla="*/ 2147483647 h 246"/>
                <a:gd name="T34" fmla="*/ 2147483647 w 444"/>
                <a:gd name="T35" fmla="*/ 2147483647 h 246"/>
                <a:gd name="T36" fmla="*/ 2147483647 w 444"/>
                <a:gd name="T37" fmla="*/ 2147483647 h 246"/>
                <a:gd name="T38" fmla="*/ 2147483647 w 444"/>
                <a:gd name="T39" fmla="*/ 0 h 246"/>
                <a:gd name="T40" fmla="*/ 2147483647 w 444"/>
                <a:gd name="T41" fmla="*/ 2147483647 h 246"/>
                <a:gd name="T42" fmla="*/ 2147483647 w 444"/>
                <a:gd name="T43" fmla="*/ 2147483647 h 246"/>
                <a:gd name="T44" fmla="*/ 2147483647 w 444"/>
                <a:gd name="T45" fmla="*/ 0 h 246"/>
                <a:gd name="T46" fmla="*/ 2147483647 w 444"/>
                <a:gd name="T47" fmla="*/ 2147483647 h 246"/>
                <a:gd name="T48" fmla="*/ 2147483647 w 444"/>
                <a:gd name="T49" fmla="*/ 2147483647 h 246"/>
                <a:gd name="T50" fmla="*/ 2147483647 w 444"/>
                <a:gd name="T51" fmla="*/ 2147483647 h 246"/>
                <a:gd name="T52" fmla="*/ 2147483647 w 444"/>
                <a:gd name="T53" fmla="*/ 2147483647 h 246"/>
                <a:gd name="T54" fmla="*/ 2147483647 w 444"/>
                <a:gd name="T55" fmla="*/ 2147483647 h 246"/>
                <a:gd name="T56" fmla="*/ 2147483647 w 444"/>
                <a:gd name="T57" fmla="*/ 2147483647 h 246"/>
                <a:gd name="T58" fmla="*/ 2147483647 w 444"/>
                <a:gd name="T59" fmla="*/ 2147483647 h 246"/>
                <a:gd name="T60" fmla="*/ 2147483647 w 444"/>
                <a:gd name="T61" fmla="*/ 0 h 246"/>
                <a:gd name="T62" fmla="*/ 2147483647 w 444"/>
                <a:gd name="T63" fmla="*/ 2147483647 h 246"/>
                <a:gd name="T64" fmla="*/ 2147483647 w 444"/>
                <a:gd name="T65" fmla="*/ 2147483647 h 246"/>
                <a:gd name="T66" fmla="*/ 2147483647 w 444"/>
                <a:gd name="T67" fmla="*/ 2147483647 h 246"/>
                <a:gd name="T68" fmla="*/ 2147483647 w 444"/>
                <a:gd name="T69" fmla="*/ 2147483647 h 246"/>
                <a:gd name="T70" fmla="*/ 2147483647 w 444"/>
                <a:gd name="T71" fmla="*/ 2147483647 h 246"/>
                <a:gd name="T72" fmla="*/ 0 w 444"/>
                <a:gd name="T73" fmla="*/ 2147483647 h 246"/>
                <a:gd name="T74" fmla="*/ 2147483647 w 444"/>
                <a:gd name="T75" fmla="*/ 2147483647 h 246"/>
                <a:gd name="T76" fmla="*/ 2147483647 w 444"/>
                <a:gd name="T77" fmla="*/ 2147483647 h 246"/>
                <a:gd name="T78" fmla="*/ 2147483647 w 444"/>
                <a:gd name="T79" fmla="*/ 2147483647 h 246"/>
                <a:gd name="T80" fmla="*/ 2147483647 w 444"/>
                <a:gd name="T81" fmla="*/ 2147483647 h 246"/>
                <a:gd name="T82" fmla="*/ 2147483647 w 444"/>
                <a:gd name="T83" fmla="*/ 2147483647 h 246"/>
                <a:gd name="T84" fmla="*/ 2147483647 w 444"/>
                <a:gd name="T85" fmla="*/ 2147483647 h 246"/>
                <a:gd name="T86" fmla="*/ 2147483647 w 444"/>
                <a:gd name="T87" fmla="*/ 2147483647 h 24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444"/>
                <a:gd name="T133" fmla="*/ 0 h 246"/>
                <a:gd name="T134" fmla="*/ 444 w 444"/>
                <a:gd name="T135" fmla="*/ 246 h 24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444" h="246">
                  <a:moveTo>
                    <a:pt x="156" y="240"/>
                  </a:moveTo>
                  <a:lnTo>
                    <a:pt x="156" y="222"/>
                  </a:lnTo>
                  <a:lnTo>
                    <a:pt x="174" y="222"/>
                  </a:lnTo>
                  <a:lnTo>
                    <a:pt x="168" y="216"/>
                  </a:lnTo>
                  <a:lnTo>
                    <a:pt x="168" y="204"/>
                  </a:lnTo>
                  <a:lnTo>
                    <a:pt x="162" y="198"/>
                  </a:lnTo>
                  <a:lnTo>
                    <a:pt x="162" y="186"/>
                  </a:lnTo>
                  <a:lnTo>
                    <a:pt x="168" y="180"/>
                  </a:lnTo>
                  <a:lnTo>
                    <a:pt x="204" y="180"/>
                  </a:lnTo>
                  <a:lnTo>
                    <a:pt x="210" y="168"/>
                  </a:lnTo>
                  <a:lnTo>
                    <a:pt x="216" y="162"/>
                  </a:lnTo>
                  <a:lnTo>
                    <a:pt x="228" y="162"/>
                  </a:lnTo>
                  <a:lnTo>
                    <a:pt x="228" y="168"/>
                  </a:lnTo>
                  <a:lnTo>
                    <a:pt x="234" y="174"/>
                  </a:lnTo>
                  <a:lnTo>
                    <a:pt x="252" y="174"/>
                  </a:lnTo>
                  <a:lnTo>
                    <a:pt x="276" y="150"/>
                  </a:lnTo>
                  <a:lnTo>
                    <a:pt x="288" y="126"/>
                  </a:lnTo>
                  <a:lnTo>
                    <a:pt x="306" y="126"/>
                  </a:lnTo>
                  <a:lnTo>
                    <a:pt x="306" y="108"/>
                  </a:lnTo>
                  <a:lnTo>
                    <a:pt x="318" y="96"/>
                  </a:lnTo>
                  <a:lnTo>
                    <a:pt x="330" y="96"/>
                  </a:lnTo>
                  <a:lnTo>
                    <a:pt x="348" y="114"/>
                  </a:lnTo>
                  <a:lnTo>
                    <a:pt x="360" y="114"/>
                  </a:lnTo>
                  <a:lnTo>
                    <a:pt x="372" y="102"/>
                  </a:lnTo>
                  <a:lnTo>
                    <a:pt x="372" y="96"/>
                  </a:lnTo>
                  <a:lnTo>
                    <a:pt x="420" y="96"/>
                  </a:lnTo>
                  <a:lnTo>
                    <a:pt x="426" y="90"/>
                  </a:lnTo>
                  <a:lnTo>
                    <a:pt x="432" y="90"/>
                  </a:lnTo>
                  <a:lnTo>
                    <a:pt x="444" y="84"/>
                  </a:lnTo>
                  <a:lnTo>
                    <a:pt x="444" y="78"/>
                  </a:lnTo>
                  <a:lnTo>
                    <a:pt x="426" y="60"/>
                  </a:lnTo>
                  <a:lnTo>
                    <a:pt x="402" y="48"/>
                  </a:lnTo>
                  <a:lnTo>
                    <a:pt x="396" y="48"/>
                  </a:lnTo>
                  <a:lnTo>
                    <a:pt x="390" y="42"/>
                  </a:lnTo>
                  <a:lnTo>
                    <a:pt x="384" y="30"/>
                  </a:lnTo>
                  <a:lnTo>
                    <a:pt x="372" y="24"/>
                  </a:lnTo>
                  <a:lnTo>
                    <a:pt x="366" y="18"/>
                  </a:lnTo>
                  <a:lnTo>
                    <a:pt x="348" y="18"/>
                  </a:lnTo>
                  <a:lnTo>
                    <a:pt x="342" y="6"/>
                  </a:lnTo>
                  <a:lnTo>
                    <a:pt x="336" y="0"/>
                  </a:lnTo>
                  <a:lnTo>
                    <a:pt x="312" y="0"/>
                  </a:lnTo>
                  <a:lnTo>
                    <a:pt x="300" y="6"/>
                  </a:lnTo>
                  <a:lnTo>
                    <a:pt x="294" y="12"/>
                  </a:lnTo>
                  <a:lnTo>
                    <a:pt x="282" y="12"/>
                  </a:lnTo>
                  <a:lnTo>
                    <a:pt x="270" y="0"/>
                  </a:lnTo>
                  <a:lnTo>
                    <a:pt x="252" y="0"/>
                  </a:lnTo>
                  <a:lnTo>
                    <a:pt x="240" y="6"/>
                  </a:lnTo>
                  <a:lnTo>
                    <a:pt x="234" y="18"/>
                  </a:lnTo>
                  <a:lnTo>
                    <a:pt x="222" y="24"/>
                  </a:lnTo>
                  <a:lnTo>
                    <a:pt x="186" y="24"/>
                  </a:lnTo>
                  <a:lnTo>
                    <a:pt x="174" y="18"/>
                  </a:lnTo>
                  <a:lnTo>
                    <a:pt x="168" y="12"/>
                  </a:lnTo>
                  <a:lnTo>
                    <a:pt x="156" y="12"/>
                  </a:lnTo>
                  <a:lnTo>
                    <a:pt x="150" y="18"/>
                  </a:lnTo>
                  <a:lnTo>
                    <a:pt x="144" y="18"/>
                  </a:lnTo>
                  <a:lnTo>
                    <a:pt x="138" y="24"/>
                  </a:lnTo>
                  <a:lnTo>
                    <a:pt x="132" y="24"/>
                  </a:lnTo>
                  <a:lnTo>
                    <a:pt x="132" y="18"/>
                  </a:lnTo>
                  <a:lnTo>
                    <a:pt x="126" y="12"/>
                  </a:lnTo>
                  <a:lnTo>
                    <a:pt x="126" y="6"/>
                  </a:lnTo>
                  <a:lnTo>
                    <a:pt x="120" y="0"/>
                  </a:lnTo>
                  <a:lnTo>
                    <a:pt x="114" y="0"/>
                  </a:lnTo>
                  <a:lnTo>
                    <a:pt x="96" y="18"/>
                  </a:lnTo>
                  <a:lnTo>
                    <a:pt x="90" y="18"/>
                  </a:lnTo>
                  <a:lnTo>
                    <a:pt x="84" y="30"/>
                  </a:lnTo>
                  <a:lnTo>
                    <a:pt x="72" y="36"/>
                  </a:lnTo>
                  <a:lnTo>
                    <a:pt x="60" y="48"/>
                  </a:lnTo>
                  <a:lnTo>
                    <a:pt x="48" y="54"/>
                  </a:lnTo>
                  <a:lnTo>
                    <a:pt x="36" y="66"/>
                  </a:lnTo>
                  <a:lnTo>
                    <a:pt x="24" y="72"/>
                  </a:lnTo>
                  <a:lnTo>
                    <a:pt x="18" y="84"/>
                  </a:lnTo>
                  <a:lnTo>
                    <a:pt x="18" y="102"/>
                  </a:lnTo>
                  <a:lnTo>
                    <a:pt x="12" y="114"/>
                  </a:lnTo>
                  <a:lnTo>
                    <a:pt x="0" y="126"/>
                  </a:lnTo>
                  <a:lnTo>
                    <a:pt x="6" y="138"/>
                  </a:lnTo>
                  <a:lnTo>
                    <a:pt x="18" y="150"/>
                  </a:lnTo>
                  <a:lnTo>
                    <a:pt x="42" y="150"/>
                  </a:lnTo>
                  <a:lnTo>
                    <a:pt x="42" y="168"/>
                  </a:lnTo>
                  <a:lnTo>
                    <a:pt x="48" y="174"/>
                  </a:lnTo>
                  <a:lnTo>
                    <a:pt x="60" y="174"/>
                  </a:lnTo>
                  <a:lnTo>
                    <a:pt x="66" y="168"/>
                  </a:lnTo>
                  <a:lnTo>
                    <a:pt x="102" y="168"/>
                  </a:lnTo>
                  <a:lnTo>
                    <a:pt x="102" y="210"/>
                  </a:lnTo>
                  <a:lnTo>
                    <a:pt x="126" y="222"/>
                  </a:lnTo>
                  <a:lnTo>
                    <a:pt x="132" y="228"/>
                  </a:lnTo>
                  <a:lnTo>
                    <a:pt x="132" y="246"/>
                  </a:lnTo>
                  <a:lnTo>
                    <a:pt x="144" y="246"/>
                  </a:lnTo>
                  <a:lnTo>
                    <a:pt x="156" y="240"/>
                  </a:lnTo>
                  <a:close/>
                </a:path>
              </a:pathLst>
            </a:custGeom>
            <a:grpFill/>
            <a:ln w="3175">
              <a:solidFill>
                <a:schemeClr val="bg1"/>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de-DE" sz="1800" b="0" i="0" u="none" strike="noStrike" kern="1200" cap="none" spc="0" normalizeH="0" baseline="0" noProof="0">
                <a:ln>
                  <a:noFill/>
                </a:ln>
                <a:solidFill>
                  <a:srgbClr val="FFC000"/>
                </a:solidFill>
                <a:effectLst/>
                <a:uLnTx/>
                <a:uFillTx/>
                <a:latin typeface="Calibri" pitchFamily="34" charset="0"/>
                <a:ea typeface="+mn-ea"/>
                <a:cs typeface="+mn-cs"/>
              </a:endParaRPr>
            </a:p>
          </p:txBody>
        </p:sp>
        <p:sp>
          <p:nvSpPr>
            <p:cNvPr id="125" name="Haiti" descr="© INSCALE GmbH, 05.05.2010&#10;http://www.presentationload.com/"/>
            <p:cNvSpPr>
              <a:spLocks/>
            </p:cNvSpPr>
            <p:nvPr/>
          </p:nvSpPr>
          <p:spPr bwMode="gray">
            <a:xfrm>
              <a:off x="2778910" y="3806530"/>
              <a:ext cx="63992" cy="48992"/>
            </a:xfrm>
            <a:custGeom>
              <a:avLst/>
              <a:gdLst>
                <a:gd name="T0" fmla="*/ 2147483647 w 198"/>
                <a:gd name="T1" fmla="*/ 2147483647 h 156"/>
                <a:gd name="T2" fmla="*/ 2147483647 w 198"/>
                <a:gd name="T3" fmla="*/ 2147483647 h 156"/>
                <a:gd name="T4" fmla="*/ 2147483647 w 198"/>
                <a:gd name="T5" fmla="*/ 2147483647 h 156"/>
                <a:gd name="T6" fmla="*/ 2147483647 w 198"/>
                <a:gd name="T7" fmla="*/ 2147483647 h 156"/>
                <a:gd name="T8" fmla="*/ 2147483647 w 198"/>
                <a:gd name="T9" fmla="*/ 2147483647 h 156"/>
                <a:gd name="T10" fmla="*/ 2147483647 w 198"/>
                <a:gd name="T11" fmla="*/ 2147483647 h 156"/>
                <a:gd name="T12" fmla="*/ 2147483647 w 198"/>
                <a:gd name="T13" fmla="*/ 2147483647 h 156"/>
                <a:gd name="T14" fmla="*/ 2147483647 w 198"/>
                <a:gd name="T15" fmla="*/ 2147483647 h 156"/>
                <a:gd name="T16" fmla="*/ 2147483647 w 198"/>
                <a:gd name="T17" fmla="*/ 2147483647 h 156"/>
                <a:gd name="T18" fmla="*/ 2147483647 w 198"/>
                <a:gd name="T19" fmla="*/ 2147483647 h 156"/>
                <a:gd name="T20" fmla="*/ 2147483647 w 198"/>
                <a:gd name="T21" fmla="*/ 2147483647 h 156"/>
                <a:gd name="T22" fmla="*/ 2147483647 w 198"/>
                <a:gd name="T23" fmla="*/ 2147483647 h 156"/>
                <a:gd name="T24" fmla="*/ 2147483647 w 198"/>
                <a:gd name="T25" fmla="*/ 2147483647 h 156"/>
                <a:gd name="T26" fmla="*/ 2147483647 w 198"/>
                <a:gd name="T27" fmla="*/ 2147483647 h 156"/>
                <a:gd name="T28" fmla="*/ 2147483647 w 198"/>
                <a:gd name="T29" fmla="*/ 2147483647 h 156"/>
                <a:gd name="T30" fmla="*/ 2147483647 w 198"/>
                <a:gd name="T31" fmla="*/ 2147483647 h 156"/>
                <a:gd name="T32" fmla="*/ 2147483647 w 198"/>
                <a:gd name="T33" fmla="*/ 2147483647 h 156"/>
                <a:gd name="T34" fmla="*/ 2147483647 w 198"/>
                <a:gd name="T35" fmla="*/ 0 h 156"/>
                <a:gd name="T36" fmla="*/ 2147483647 w 198"/>
                <a:gd name="T37" fmla="*/ 0 h 156"/>
                <a:gd name="T38" fmla="*/ 2147483647 w 198"/>
                <a:gd name="T39" fmla="*/ 2147483647 h 156"/>
                <a:gd name="T40" fmla="*/ 2147483647 w 198"/>
                <a:gd name="T41" fmla="*/ 2147483647 h 156"/>
                <a:gd name="T42" fmla="*/ 2147483647 w 198"/>
                <a:gd name="T43" fmla="*/ 2147483647 h 156"/>
                <a:gd name="T44" fmla="*/ 2147483647 w 198"/>
                <a:gd name="T45" fmla="*/ 2147483647 h 156"/>
                <a:gd name="T46" fmla="*/ 2147483647 w 198"/>
                <a:gd name="T47" fmla="*/ 2147483647 h 156"/>
                <a:gd name="T48" fmla="*/ 2147483647 w 198"/>
                <a:gd name="T49" fmla="*/ 2147483647 h 156"/>
                <a:gd name="T50" fmla="*/ 2147483647 w 198"/>
                <a:gd name="T51" fmla="*/ 2147483647 h 156"/>
                <a:gd name="T52" fmla="*/ 2147483647 w 198"/>
                <a:gd name="T53" fmla="*/ 2147483647 h 156"/>
                <a:gd name="T54" fmla="*/ 2147483647 w 198"/>
                <a:gd name="T55" fmla="*/ 2147483647 h 156"/>
                <a:gd name="T56" fmla="*/ 2147483647 w 198"/>
                <a:gd name="T57" fmla="*/ 2147483647 h 156"/>
                <a:gd name="T58" fmla="*/ 2147483647 w 198"/>
                <a:gd name="T59" fmla="*/ 2147483647 h 156"/>
                <a:gd name="T60" fmla="*/ 2147483647 w 198"/>
                <a:gd name="T61" fmla="*/ 2147483647 h 156"/>
                <a:gd name="T62" fmla="*/ 2147483647 w 198"/>
                <a:gd name="T63" fmla="*/ 2147483647 h 156"/>
                <a:gd name="T64" fmla="*/ 2147483647 w 198"/>
                <a:gd name="T65" fmla="*/ 2147483647 h 156"/>
                <a:gd name="T66" fmla="*/ 2147483647 w 198"/>
                <a:gd name="T67" fmla="*/ 2147483647 h 156"/>
                <a:gd name="T68" fmla="*/ 2147483647 w 198"/>
                <a:gd name="T69" fmla="*/ 2147483647 h 156"/>
                <a:gd name="T70" fmla="*/ 2147483647 w 198"/>
                <a:gd name="T71" fmla="*/ 2147483647 h 156"/>
                <a:gd name="T72" fmla="*/ 2147483647 w 198"/>
                <a:gd name="T73" fmla="*/ 2147483647 h 156"/>
                <a:gd name="T74" fmla="*/ 2147483647 w 198"/>
                <a:gd name="T75" fmla="*/ 2147483647 h 156"/>
                <a:gd name="T76" fmla="*/ 2147483647 w 198"/>
                <a:gd name="T77" fmla="*/ 2147483647 h 156"/>
                <a:gd name="T78" fmla="*/ 2147483647 w 198"/>
                <a:gd name="T79" fmla="*/ 2147483647 h 156"/>
                <a:gd name="T80" fmla="*/ 2147483647 w 198"/>
                <a:gd name="T81" fmla="*/ 2147483647 h 156"/>
                <a:gd name="T82" fmla="*/ 0 w 198"/>
                <a:gd name="T83" fmla="*/ 2147483647 h 156"/>
                <a:gd name="T84" fmla="*/ 0 w 198"/>
                <a:gd name="T85" fmla="*/ 2147483647 h 156"/>
                <a:gd name="T86" fmla="*/ 2147483647 w 198"/>
                <a:gd name="T87" fmla="*/ 2147483647 h 156"/>
                <a:gd name="T88" fmla="*/ 2147483647 w 198"/>
                <a:gd name="T89" fmla="*/ 2147483647 h 156"/>
                <a:gd name="T90" fmla="*/ 2147483647 w 198"/>
                <a:gd name="T91" fmla="*/ 2147483647 h 156"/>
                <a:gd name="T92" fmla="*/ 2147483647 w 198"/>
                <a:gd name="T93" fmla="*/ 2147483647 h 156"/>
                <a:gd name="T94" fmla="*/ 2147483647 w 198"/>
                <a:gd name="T95" fmla="*/ 2147483647 h 156"/>
                <a:gd name="T96" fmla="*/ 2147483647 w 198"/>
                <a:gd name="T97" fmla="*/ 2147483647 h 156"/>
                <a:gd name="T98" fmla="*/ 2147483647 w 198"/>
                <a:gd name="T99" fmla="*/ 2147483647 h 156"/>
                <a:gd name="T100" fmla="*/ 2147483647 w 198"/>
                <a:gd name="T101" fmla="*/ 2147483647 h 156"/>
                <a:gd name="T102" fmla="*/ 2147483647 w 198"/>
                <a:gd name="T103" fmla="*/ 2147483647 h 156"/>
                <a:gd name="T104" fmla="*/ 2147483647 w 198"/>
                <a:gd name="T105" fmla="*/ 2147483647 h 156"/>
                <a:gd name="T106" fmla="*/ 2147483647 w 198"/>
                <a:gd name="T107" fmla="*/ 2147483647 h 156"/>
                <a:gd name="T108" fmla="*/ 2147483647 w 198"/>
                <a:gd name="T109" fmla="*/ 2147483647 h 156"/>
                <a:gd name="T110" fmla="*/ 2147483647 w 198"/>
                <a:gd name="T111" fmla="*/ 2147483647 h 156"/>
                <a:gd name="T112" fmla="*/ 2147483647 w 198"/>
                <a:gd name="T113" fmla="*/ 2147483647 h 15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198"/>
                <a:gd name="T172" fmla="*/ 0 h 156"/>
                <a:gd name="T173" fmla="*/ 198 w 198"/>
                <a:gd name="T174" fmla="*/ 156 h 15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198" h="156">
                  <a:moveTo>
                    <a:pt x="168" y="114"/>
                  </a:moveTo>
                  <a:lnTo>
                    <a:pt x="168" y="108"/>
                  </a:lnTo>
                  <a:lnTo>
                    <a:pt x="174" y="102"/>
                  </a:lnTo>
                  <a:lnTo>
                    <a:pt x="180" y="90"/>
                  </a:lnTo>
                  <a:lnTo>
                    <a:pt x="180" y="78"/>
                  </a:lnTo>
                  <a:lnTo>
                    <a:pt x="186" y="72"/>
                  </a:lnTo>
                  <a:lnTo>
                    <a:pt x="192" y="60"/>
                  </a:lnTo>
                  <a:lnTo>
                    <a:pt x="198" y="54"/>
                  </a:lnTo>
                  <a:lnTo>
                    <a:pt x="198" y="42"/>
                  </a:lnTo>
                  <a:lnTo>
                    <a:pt x="186" y="6"/>
                  </a:lnTo>
                  <a:lnTo>
                    <a:pt x="180" y="12"/>
                  </a:lnTo>
                  <a:lnTo>
                    <a:pt x="180" y="18"/>
                  </a:lnTo>
                  <a:lnTo>
                    <a:pt x="174" y="18"/>
                  </a:lnTo>
                  <a:lnTo>
                    <a:pt x="168" y="12"/>
                  </a:lnTo>
                  <a:lnTo>
                    <a:pt x="156" y="12"/>
                  </a:lnTo>
                  <a:lnTo>
                    <a:pt x="144" y="6"/>
                  </a:lnTo>
                  <a:lnTo>
                    <a:pt x="126" y="6"/>
                  </a:lnTo>
                  <a:lnTo>
                    <a:pt x="114" y="0"/>
                  </a:lnTo>
                  <a:lnTo>
                    <a:pt x="84" y="0"/>
                  </a:lnTo>
                  <a:lnTo>
                    <a:pt x="72" y="6"/>
                  </a:lnTo>
                  <a:lnTo>
                    <a:pt x="66" y="12"/>
                  </a:lnTo>
                  <a:lnTo>
                    <a:pt x="66" y="18"/>
                  </a:lnTo>
                  <a:lnTo>
                    <a:pt x="72" y="24"/>
                  </a:lnTo>
                  <a:lnTo>
                    <a:pt x="108" y="24"/>
                  </a:lnTo>
                  <a:lnTo>
                    <a:pt x="114" y="30"/>
                  </a:lnTo>
                  <a:lnTo>
                    <a:pt x="120" y="42"/>
                  </a:lnTo>
                  <a:lnTo>
                    <a:pt x="126" y="48"/>
                  </a:lnTo>
                  <a:lnTo>
                    <a:pt x="114" y="54"/>
                  </a:lnTo>
                  <a:lnTo>
                    <a:pt x="108" y="60"/>
                  </a:lnTo>
                  <a:lnTo>
                    <a:pt x="108" y="72"/>
                  </a:lnTo>
                  <a:lnTo>
                    <a:pt x="114" y="84"/>
                  </a:lnTo>
                  <a:lnTo>
                    <a:pt x="114" y="96"/>
                  </a:lnTo>
                  <a:lnTo>
                    <a:pt x="120" y="102"/>
                  </a:lnTo>
                  <a:lnTo>
                    <a:pt x="114" y="108"/>
                  </a:lnTo>
                  <a:lnTo>
                    <a:pt x="96" y="108"/>
                  </a:lnTo>
                  <a:lnTo>
                    <a:pt x="78" y="102"/>
                  </a:lnTo>
                  <a:lnTo>
                    <a:pt x="66" y="102"/>
                  </a:lnTo>
                  <a:lnTo>
                    <a:pt x="54" y="96"/>
                  </a:lnTo>
                  <a:lnTo>
                    <a:pt x="36" y="96"/>
                  </a:lnTo>
                  <a:lnTo>
                    <a:pt x="24" y="102"/>
                  </a:lnTo>
                  <a:lnTo>
                    <a:pt x="6" y="102"/>
                  </a:lnTo>
                  <a:lnTo>
                    <a:pt x="0" y="108"/>
                  </a:lnTo>
                  <a:lnTo>
                    <a:pt x="0" y="114"/>
                  </a:lnTo>
                  <a:lnTo>
                    <a:pt x="6" y="120"/>
                  </a:lnTo>
                  <a:lnTo>
                    <a:pt x="12" y="132"/>
                  </a:lnTo>
                  <a:lnTo>
                    <a:pt x="24" y="138"/>
                  </a:lnTo>
                  <a:lnTo>
                    <a:pt x="30" y="150"/>
                  </a:lnTo>
                  <a:lnTo>
                    <a:pt x="36" y="156"/>
                  </a:lnTo>
                  <a:lnTo>
                    <a:pt x="42" y="156"/>
                  </a:lnTo>
                  <a:lnTo>
                    <a:pt x="48" y="150"/>
                  </a:lnTo>
                  <a:lnTo>
                    <a:pt x="54" y="138"/>
                  </a:lnTo>
                  <a:lnTo>
                    <a:pt x="60" y="132"/>
                  </a:lnTo>
                  <a:lnTo>
                    <a:pt x="138" y="132"/>
                  </a:lnTo>
                  <a:lnTo>
                    <a:pt x="156" y="126"/>
                  </a:lnTo>
                  <a:lnTo>
                    <a:pt x="168" y="126"/>
                  </a:lnTo>
                  <a:lnTo>
                    <a:pt x="180" y="144"/>
                  </a:lnTo>
                  <a:lnTo>
                    <a:pt x="168" y="114"/>
                  </a:lnTo>
                  <a:close/>
                </a:path>
              </a:pathLst>
            </a:custGeom>
            <a:grpFill/>
            <a:ln w="3175">
              <a:solidFill>
                <a:schemeClr val="bg1"/>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de-DE" sz="1800" b="0" i="0" u="none" strike="noStrike" kern="1200" cap="none" spc="0" normalizeH="0" baseline="0" noProof="0">
                <a:ln>
                  <a:noFill/>
                </a:ln>
                <a:solidFill>
                  <a:srgbClr val="FFC000"/>
                </a:solidFill>
                <a:effectLst/>
                <a:uLnTx/>
                <a:uFillTx/>
                <a:latin typeface="Calibri" pitchFamily="34" charset="0"/>
                <a:ea typeface="+mn-ea"/>
                <a:cs typeface="+mn-cs"/>
              </a:endParaRPr>
            </a:p>
          </p:txBody>
        </p:sp>
        <p:sp>
          <p:nvSpPr>
            <p:cNvPr id="126" name="Guyane (French Guiana)" descr="© INSCALE GmbH, 05.05.2010&#10;http://www.presentationload.com/"/>
            <p:cNvSpPr>
              <a:spLocks/>
            </p:cNvSpPr>
            <p:nvPr/>
          </p:nvSpPr>
          <p:spPr bwMode="gray">
            <a:xfrm>
              <a:off x="3205097" y="4160495"/>
              <a:ext cx="66552" cy="91859"/>
            </a:xfrm>
            <a:custGeom>
              <a:avLst/>
              <a:gdLst>
                <a:gd name="T0" fmla="*/ 2147483647 w 52"/>
                <a:gd name="T1" fmla="*/ 2147483647 h 76"/>
                <a:gd name="T2" fmla="*/ 2147483647 w 52"/>
                <a:gd name="T3" fmla="*/ 2147483647 h 76"/>
                <a:gd name="T4" fmla="*/ 2147483647 w 52"/>
                <a:gd name="T5" fmla="*/ 2147483647 h 76"/>
                <a:gd name="T6" fmla="*/ 2147483647 w 52"/>
                <a:gd name="T7" fmla="*/ 2147483647 h 76"/>
                <a:gd name="T8" fmla="*/ 2147483647 w 52"/>
                <a:gd name="T9" fmla="*/ 2147483647 h 76"/>
                <a:gd name="T10" fmla="*/ 2147483647 w 52"/>
                <a:gd name="T11" fmla="*/ 2147483647 h 76"/>
                <a:gd name="T12" fmla="*/ 2147483647 w 52"/>
                <a:gd name="T13" fmla="*/ 2147483647 h 76"/>
                <a:gd name="T14" fmla="*/ 2147483647 w 52"/>
                <a:gd name="T15" fmla="*/ 2147483647 h 76"/>
                <a:gd name="T16" fmla="*/ 2147483647 w 52"/>
                <a:gd name="T17" fmla="*/ 2147483647 h 76"/>
                <a:gd name="T18" fmla="*/ 2147483647 w 52"/>
                <a:gd name="T19" fmla="*/ 2147483647 h 76"/>
                <a:gd name="T20" fmla="*/ 2147483647 w 52"/>
                <a:gd name="T21" fmla="*/ 2147483647 h 76"/>
                <a:gd name="T22" fmla="*/ 2147483647 w 52"/>
                <a:gd name="T23" fmla="*/ 0 h 76"/>
                <a:gd name="T24" fmla="*/ 2147483647 w 52"/>
                <a:gd name="T25" fmla="*/ 2147483647 h 76"/>
                <a:gd name="T26" fmla="*/ 2147483647 w 52"/>
                <a:gd name="T27" fmla="*/ 2147483647 h 76"/>
                <a:gd name="T28" fmla="*/ 2147483647 w 52"/>
                <a:gd name="T29" fmla="*/ 2147483647 h 76"/>
                <a:gd name="T30" fmla="*/ 2147483647 w 52"/>
                <a:gd name="T31" fmla="*/ 2147483647 h 76"/>
                <a:gd name="T32" fmla="*/ 2147483647 w 52"/>
                <a:gd name="T33" fmla="*/ 2147483647 h 76"/>
                <a:gd name="T34" fmla="*/ 2147483647 w 52"/>
                <a:gd name="T35" fmla="*/ 2147483647 h 76"/>
                <a:gd name="T36" fmla="*/ 2147483647 w 52"/>
                <a:gd name="T37" fmla="*/ 2147483647 h 76"/>
                <a:gd name="T38" fmla="*/ 2147483647 w 52"/>
                <a:gd name="T39" fmla="*/ 2147483647 h 76"/>
                <a:gd name="T40" fmla="*/ 2147483647 w 52"/>
                <a:gd name="T41" fmla="*/ 2147483647 h 76"/>
                <a:gd name="T42" fmla="*/ 2147483647 w 52"/>
                <a:gd name="T43" fmla="*/ 2147483647 h 76"/>
                <a:gd name="T44" fmla="*/ 2147483647 w 52"/>
                <a:gd name="T45" fmla="*/ 2147483647 h 76"/>
                <a:gd name="T46" fmla="*/ 2147483647 w 52"/>
                <a:gd name="T47" fmla="*/ 2147483647 h 76"/>
                <a:gd name="T48" fmla="*/ 2147483647 w 52"/>
                <a:gd name="T49" fmla="*/ 2147483647 h 76"/>
                <a:gd name="T50" fmla="*/ 2147483647 w 52"/>
                <a:gd name="T51" fmla="*/ 2147483647 h 76"/>
                <a:gd name="T52" fmla="*/ 2147483647 w 52"/>
                <a:gd name="T53" fmla="*/ 2147483647 h 76"/>
                <a:gd name="T54" fmla="*/ 2147483647 w 52"/>
                <a:gd name="T55" fmla="*/ 2147483647 h 76"/>
                <a:gd name="T56" fmla="*/ 2147483647 w 52"/>
                <a:gd name="T57" fmla="*/ 2147483647 h 76"/>
                <a:gd name="T58" fmla="*/ 2147483647 w 52"/>
                <a:gd name="T59" fmla="*/ 2147483647 h 76"/>
                <a:gd name="T60" fmla="*/ 2147483647 w 52"/>
                <a:gd name="T61" fmla="*/ 2147483647 h 76"/>
                <a:gd name="T62" fmla="*/ 2147483647 w 52"/>
                <a:gd name="T63" fmla="*/ 2147483647 h 76"/>
                <a:gd name="T64" fmla="*/ 0 w 52"/>
                <a:gd name="T65" fmla="*/ 2147483647 h 76"/>
                <a:gd name="T66" fmla="*/ 0 w 52"/>
                <a:gd name="T67" fmla="*/ 2147483647 h 76"/>
                <a:gd name="T68" fmla="*/ 2147483647 w 52"/>
                <a:gd name="T69" fmla="*/ 2147483647 h 76"/>
                <a:gd name="T70" fmla="*/ 2147483647 w 52"/>
                <a:gd name="T71" fmla="*/ 2147483647 h 76"/>
                <a:gd name="T72" fmla="*/ 2147483647 w 52"/>
                <a:gd name="T73" fmla="*/ 2147483647 h 76"/>
                <a:gd name="T74" fmla="*/ 2147483647 w 52"/>
                <a:gd name="T75" fmla="*/ 2147483647 h 76"/>
                <a:gd name="T76" fmla="*/ 2147483647 w 52"/>
                <a:gd name="T77" fmla="*/ 2147483647 h 76"/>
                <a:gd name="T78" fmla="*/ 2147483647 w 52"/>
                <a:gd name="T79" fmla="*/ 2147483647 h 76"/>
                <a:gd name="T80" fmla="*/ 2147483647 w 52"/>
                <a:gd name="T81" fmla="*/ 2147483647 h 76"/>
                <a:gd name="T82" fmla="*/ 2147483647 w 52"/>
                <a:gd name="T83" fmla="*/ 2147483647 h 76"/>
                <a:gd name="T84" fmla="*/ 2147483647 w 52"/>
                <a:gd name="T85" fmla="*/ 2147483647 h 76"/>
                <a:gd name="T86" fmla="*/ 2147483647 w 52"/>
                <a:gd name="T87" fmla="*/ 2147483647 h 76"/>
                <a:gd name="T88" fmla="*/ 2147483647 w 52"/>
                <a:gd name="T89" fmla="*/ 2147483647 h 76"/>
                <a:gd name="T90" fmla="*/ 2147483647 w 52"/>
                <a:gd name="T91" fmla="*/ 2147483647 h 76"/>
                <a:gd name="T92" fmla="*/ 2147483647 w 52"/>
                <a:gd name="T93" fmla="*/ 2147483647 h 76"/>
                <a:gd name="T94" fmla="*/ 2147483647 w 52"/>
                <a:gd name="T95" fmla="*/ 2147483647 h 76"/>
                <a:gd name="T96" fmla="*/ 2147483647 w 52"/>
                <a:gd name="T97" fmla="*/ 2147483647 h 76"/>
                <a:gd name="T98" fmla="*/ 2147483647 w 52"/>
                <a:gd name="T99" fmla="*/ 2147483647 h 76"/>
                <a:gd name="T100" fmla="*/ 2147483647 w 52"/>
                <a:gd name="T101" fmla="*/ 2147483647 h 76"/>
                <a:gd name="T102" fmla="*/ 2147483647 w 52"/>
                <a:gd name="T103" fmla="*/ 2147483647 h 76"/>
                <a:gd name="T104" fmla="*/ 2147483647 w 52"/>
                <a:gd name="T105" fmla="*/ 2147483647 h 76"/>
                <a:gd name="T106" fmla="*/ 2147483647 w 52"/>
                <a:gd name="T107" fmla="*/ 2147483647 h 76"/>
                <a:gd name="T108" fmla="*/ 2147483647 w 52"/>
                <a:gd name="T109" fmla="*/ 2147483647 h 76"/>
                <a:gd name="T110" fmla="*/ 2147483647 w 52"/>
                <a:gd name="T111" fmla="*/ 2147483647 h 76"/>
                <a:gd name="T112" fmla="*/ 2147483647 w 52"/>
                <a:gd name="T113" fmla="*/ 2147483647 h 76"/>
                <a:gd name="T114" fmla="*/ 2147483647 w 52"/>
                <a:gd name="T115" fmla="*/ 2147483647 h 7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52"/>
                <a:gd name="T175" fmla="*/ 0 h 76"/>
                <a:gd name="T176" fmla="*/ 52 w 52"/>
                <a:gd name="T177" fmla="*/ 76 h 7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52" h="76">
                  <a:moveTo>
                    <a:pt x="52" y="32"/>
                  </a:moveTo>
                  <a:lnTo>
                    <a:pt x="50" y="26"/>
                  </a:lnTo>
                  <a:lnTo>
                    <a:pt x="48" y="24"/>
                  </a:lnTo>
                  <a:lnTo>
                    <a:pt x="46" y="22"/>
                  </a:lnTo>
                  <a:lnTo>
                    <a:pt x="46" y="20"/>
                  </a:lnTo>
                  <a:lnTo>
                    <a:pt x="40" y="20"/>
                  </a:lnTo>
                  <a:lnTo>
                    <a:pt x="32" y="6"/>
                  </a:lnTo>
                  <a:lnTo>
                    <a:pt x="24" y="6"/>
                  </a:lnTo>
                  <a:lnTo>
                    <a:pt x="22" y="4"/>
                  </a:lnTo>
                  <a:lnTo>
                    <a:pt x="20" y="4"/>
                  </a:lnTo>
                  <a:lnTo>
                    <a:pt x="16" y="2"/>
                  </a:lnTo>
                  <a:lnTo>
                    <a:pt x="14" y="0"/>
                  </a:lnTo>
                  <a:lnTo>
                    <a:pt x="12" y="4"/>
                  </a:lnTo>
                  <a:lnTo>
                    <a:pt x="12" y="10"/>
                  </a:lnTo>
                  <a:lnTo>
                    <a:pt x="10" y="10"/>
                  </a:lnTo>
                  <a:lnTo>
                    <a:pt x="8" y="12"/>
                  </a:lnTo>
                  <a:lnTo>
                    <a:pt x="6" y="14"/>
                  </a:lnTo>
                  <a:lnTo>
                    <a:pt x="4" y="16"/>
                  </a:lnTo>
                  <a:lnTo>
                    <a:pt x="2" y="20"/>
                  </a:lnTo>
                  <a:lnTo>
                    <a:pt x="2" y="28"/>
                  </a:lnTo>
                  <a:lnTo>
                    <a:pt x="4" y="32"/>
                  </a:lnTo>
                  <a:lnTo>
                    <a:pt x="4" y="36"/>
                  </a:lnTo>
                  <a:lnTo>
                    <a:pt x="6" y="40"/>
                  </a:lnTo>
                  <a:lnTo>
                    <a:pt x="10" y="44"/>
                  </a:lnTo>
                  <a:lnTo>
                    <a:pt x="12" y="46"/>
                  </a:lnTo>
                  <a:lnTo>
                    <a:pt x="12" y="48"/>
                  </a:lnTo>
                  <a:lnTo>
                    <a:pt x="6" y="54"/>
                  </a:lnTo>
                  <a:lnTo>
                    <a:pt x="8" y="62"/>
                  </a:lnTo>
                  <a:lnTo>
                    <a:pt x="6" y="64"/>
                  </a:lnTo>
                  <a:lnTo>
                    <a:pt x="4" y="64"/>
                  </a:lnTo>
                  <a:lnTo>
                    <a:pt x="4" y="66"/>
                  </a:lnTo>
                  <a:lnTo>
                    <a:pt x="2" y="68"/>
                  </a:lnTo>
                  <a:lnTo>
                    <a:pt x="0" y="72"/>
                  </a:lnTo>
                  <a:lnTo>
                    <a:pt x="4" y="76"/>
                  </a:lnTo>
                  <a:lnTo>
                    <a:pt x="10" y="76"/>
                  </a:lnTo>
                  <a:lnTo>
                    <a:pt x="12" y="74"/>
                  </a:lnTo>
                  <a:lnTo>
                    <a:pt x="12" y="72"/>
                  </a:lnTo>
                  <a:lnTo>
                    <a:pt x="14" y="72"/>
                  </a:lnTo>
                  <a:lnTo>
                    <a:pt x="16" y="72"/>
                  </a:lnTo>
                  <a:lnTo>
                    <a:pt x="18" y="72"/>
                  </a:lnTo>
                  <a:lnTo>
                    <a:pt x="20" y="72"/>
                  </a:lnTo>
                  <a:lnTo>
                    <a:pt x="22" y="72"/>
                  </a:lnTo>
                  <a:lnTo>
                    <a:pt x="26" y="74"/>
                  </a:lnTo>
                  <a:lnTo>
                    <a:pt x="30" y="74"/>
                  </a:lnTo>
                  <a:lnTo>
                    <a:pt x="32" y="72"/>
                  </a:lnTo>
                  <a:lnTo>
                    <a:pt x="40" y="64"/>
                  </a:lnTo>
                  <a:lnTo>
                    <a:pt x="40" y="60"/>
                  </a:lnTo>
                  <a:lnTo>
                    <a:pt x="44" y="50"/>
                  </a:lnTo>
                  <a:lnTo>
                    <a:pt x="46" y="46"/>
                  </a:lnTo>
                  <a:lnTo>
                    <a:pt x="48" y="44"/>
                  </a:lnTo>
                  <a:lnTo>
                    <a:pt x="50" y="42"/>
                  </a:lnTo>
                  <a:lnTo>
                    <a:pt x="50" y="40"/>
                  </a:lnTo>
                  <a:lnTo>
                    <a:pt x="52" y="38"/>
                  </a:lnTo>
                  <a:lnTo>
                    <a:pt x="52" y="36"/>
                  </a:lnTo>
                  <a:lnTo>
                    <a:pt x="52" y="34"/>
                  </a:lnTo>
                  <a:lnTo>
                    <a:pt x="52" y="32"/>
                  </a:lnTo>
                  <a:close/>
                </a:path>
              </a:pathLst>
            </a:custGeom>
            <a:grpFill/>
            <a:ln w="3175">
              <a:solidFill>
                <a:schemeClr val="bg1"/>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de-DE" sz="1800" b="0" i="0" u="none" strike="noStrike" kern="1200" cap="none" spc="0" normalizeH="0" baseline="0" noProof="0">
                <a:ln>
                  <a:noFill/>
                </a:ln>
                <a:solidFill>
                  <a:srgbClr val="FFC000"/>
                </a:solidFill>
                <a:effectLst/>
                <a:uLnTx/>
                <a:uFillTx/>
                <a:latin typeface="Calibri" pitchFamily="34" charset="0"/>
                <a:ea typeface="+mn-ea"/>
                <a:cs typeface="+mn-cs"/>
              </a:endParaRPr>
            </a:p>
          </p:txBody>
        </p:sp>
        <p:sp>
          <p:nvSpPr>
            <p:cNvPr id="127" name="Guyana" descr="© INSCALE GmbH, 05.05.2010&#10;http://www.presentationload.com/"/>
            <p:cNvSpPr>
              <a:spLocks/>
            </p:cNvSpPr>
            <p:nvPr/>
          </p:nvSpPr>
          <p:spPr bwMode="gray">
            <a:xfrm>
              <a:off x="3050236" y="4093131"/>
              <a:ext cx="104947" cy="181269"/>
            </a:xfrm>
            <a:custGeom>
              <a:avLst/>
              <a:gdLst>
                <a:gd name="T0" fmla="*/ 2147483647 w 324"/>
                <a:gd name="T1" fmla="*/ 2147483647 h 582"/>
                <a:gd name="T2" fmla="*/ 2147483647 w 324"/>
                <a:gd name="T3" fmla="*/ 2147483647 h 582"/>
                <a:gd name="T4" fmla="*/ 2147483647 w 324"/>
                <a:gd name="T5" fmla="*/ 2147483647 h 582"/>
                <a:gd name="T6" fmla="*/ 2147483647 w 324"/>
                <a:gd name="T7" fmla="*/ 2147483647 h 582"/>
                <a:gd name="T8" fmla="*/ 2147483647 w 324"/>
                <a:gd name="T9" fmla="*/ 2147483647 h 582"/>
                <a:gd name="T10" fmla="*/ 2147483647 w 324"/>
                <a:gd name="T11" fmla="*/ 2147483647 h 582"/>
                <a:gd name="T12" fmla="*/ 2147483647 w 324"/>
                <a:gd name="T13" fmla="*/ 2147483647 h 582"/>
                <a:gd name="T14" fmla="*/ 2147483647 w 324"/>
                <a:gd name="T15" fmla="*/ 2147483647 h 582"/>
                <a:gd name="T16" fmla="*/ 0 w 324"/>
                <a:gd name="T17" fmla="*/ 2147483647 h 582"/>
                <a:gd name="T18" fmla="*/ 2147483647 w 324"/>
                <a:gd name="T19" fmla="*/ 2147483647 h 582"/>
                <a:gd name="T20" fmla="*/ 2147483647 w 324"/>
                <a:gd name="T21" fmla="*/ 2147483647 h 582"/>
                <a:gd name="T22" fmla="*/ 2147483647 w 324"/>
                <a:gd name="T23" fmla="*/ 2147483647 h 582"/>
                <a:gd name="T24" fmla="*/ 2147483647 w 324"/>
                <a:gd name="T25" fmla="*/ 2147483647 h 582"/>
                <a:gd name="T26" fmla="*/ 2147483647 w 324"/>
                <a:gd name="T27" fmla="*/ 2147483647 h 582"/>
                <a:gd name="T28" fmla="*/ 2147483647 w 324"/>
                <a:gd name="T29" fmla="*/ 2147483647 h 582"/>
                <a:gd name="T30" fmla="*/ 2147483647 w 324"/>
                <a:gd name="T31" fmla="*/ 2147483647 h 582"/>
                <a:gd name="T32" fmla="*/ 2147483647 w 324"/>
                <a:gd name="T33" fmla="*/ 2147483647 h 582"/>
                <a:gd name="T34" fmla="*/ 2147483647 w 324"/>
                <a:gd name="T35" fmla="*/ 2147483647 h 582"/>
                <a:gd name="T36" fmla="*/ 2147483647 w 324"/>
                <a:gd name="T37" fmla="*/ 2147483647 h 582"/>
                <a:gd name="T38" fmla="*/ 2147483647 w 324"/>
                <a:gd name="T39" fmla="*/ 2147483647 h 582"/>
                <a:gd name="T40" fmla="*/ 2147483647 w 324"/>
                <a:gd name="T41" fmla="*/ 2147483647 h 582"/>
                <a:gd name="T42" fmla="*/ 2147483647 w 324"/>
                <a:gd name="T43" fmla="*/ 2147483647 h 582"/>
                <a:gd name="T44" fmla="*/ 2147483647 w 324"/>
                <a:gd name="T45" fmla="*/ 2147483647 h 582"/>
                <a:gd name="T46" fmla="*/ 2147483647 w 324"/>
                <a:gd name="T47" fmla="*/ 2147483647 h 582"/>
                <a:gd name="T48" fmla="*/ 2147483647 w 324"/>
                <a:gd name="T49" fmla="*/ 2147483647 h 582"/>
                <a:gd name="T50" fmla="*/ 2147483647 w 324"/>
                <a:gd name="T51" fmla="*/ 2147483647 h 582"/>
                <a:gd name="T52" fmla="*/ 2147483647 w 324"/>
                <a:gd name="T53" fmla="*/ 2147483647 h 582"/>
                <a:gd name="T54" fmla="*/ 2147483647 w 324"/>
                <a:gd name="T55" fmla="*/ 2147483647 h 582"/>
                <a:gd name="T56" fmla="*/ 2147483647 w 324"/>
                <a:gd name="T57" fmla="*/ 2147483647 h 582"/>
                <a:gd name="T58" fmla="*/ 2147483647 w 324"/>
                <a:gd name="T59" fmla="*/ 2147483647 h 582"/>
                <a:gd name="T60" fmla="*/ 2147483647 w 324"/>
                <a:gd name="T61" fmla="*/ 2147483647 h 582"/>
                <a:gd name="T62" fmla="*/ 2147483647 w 324"/>
                <a:gd name="T63" fmla="*/ 2147483647 h 582"/>
                <a:gd name="T64" fmla="*/ 2147483647 w 324"/>
                <a:gd name="T65" fmla="*/ 2147483647 h 582"/>
                <a:gd name="T66" fmla="*/ 2147483647 w 324"/>
                <a:gd name="T67" fmla="*/ 2147483647 h 582"/>
                <a:gd name="T68" fmla="*/ 2147483647 w 324"/>
                <a:gd name="T69" fmla="*/ 2147483647 h 582"/>
                <a:gd name="T70" fmla="*/ 2147483647 w 324"/>
                <a:gd name="T71" fmla="*/ 2147483647 h 582"/>
                <a:gd name="T72" fmla="*/ 2147483647 w 324"/>
                <a:gd name="T73" fmla="*/ 2147483647 h 582"/>
                <a:gd name="T74" fmla="*/ 2147483647 w 324"/>
                <a:gd name="T75" fmla="*/ 2147483647 h 582"/>
                <a:gd name="T76" fmla="*/ 2147483647 w 324"/>
                <a:gd name="T77" fmla="*/ 2147483647 h 582"/>
                <a:gd name="T78" fmla="*/ 2147483647 w 324"/>
                <a:gd name="T79" fmla="*/ 2147483647 h 582"/>
                <a:gd name="T80" fmla="*/ 2147483647 w 324"/>
                <a:gd name="T81" fmla="*/ 2147483647 h 582"/>
                <a:gd name="T82" fmla="*/ 2147483647 w 324"/>
                <a:gd name="T83" fmla="*/ 2147483647 h 582"/>
                <a:gd name="T84" fmla="*/ 2147483647 w 324"/>
                <a:gd name="T85" fmla="*/ 2147483647 h 582"/>
                <a:gd name="T86" fmla="*/ 2147483647 w 324"/>
                <a:gd name="T87" fmla="*/ 2147483647 h 582"/>
                <a:gd name="T88" fmla="*/ 2147483647 w 324"/>
                <a:gd name="T89" fmla="*/ 2147483647 h 582"/>
                <a:gd name="T90" fmla="*/ 2147483647 w 324"/>
                <a:gd name="T91" fmla="*/ 2147483647 h 582"/>
                <a:gd name="T92" fmla="*/ 2147483647 w 324"/>
                <a:gd name="T93" fmla="*/ 2147483647 h 582"/>
                <a:gd name="T94" fmla="*/ 2147483647 w 324"/>
                <a:gd name="T95" fmla="*/ 2147483647 h 582"/>
                <a:gd name="T96" fmla="*/ 2147483647 w 324"/>
                <a:gd name="T97" fmla="*/ 2147483647 h 582"/>
                <a:gd name="T98" fmla="*/ 2147483647 w 324"/>
                <a:gd name="T99" fmla="*/ 2147483647 h 582"/>
                <a:gd name="T100" fmla="*/ 2147483647 w 324"/>
                <a:gd name="T101" fmla="*/ 2147483647 h 582"/>
                <a:gd name="T102" fmla="*/ 2147483647 w 324"/>
                <a:gd name="T103" fmla="*/ 2147483647 h 582"/>
                <a:gd name="T104" fmla="*/ 2147483647 w 324"/>
                <a:gd name="T105" fmla="*/ 2147483647 h 582"/>
                <a:gd name="T106" fmla="*/ 2147483647 w 324"/>
                <a:gd name="T107" fmla="*/ 2147483647 h 582"/>
                <a:gd name="T108" fmla="*/ 2147483647 w 324"/>
                <a:gd name="T109" fmla="*/ 2147483647 h 582"/>
                <a:gd name="T110" fmla="*/ 2147483647 w 324"/>
                <a:gd name="T111" fmla="*/ 2147483647 h 582"/>
                <a:gd name="T112" fmla="*/ 2147483647 w 324"/>
                <a:gd name="T113" fmla="*/ 2147483647 h 582"/>
                <a:gd name="T114" fmla="*/ 2147483647 w 324"/>
                <a:gd name="T115" fmla="*/ 2147483647 h 582"/>
                <a:gd name="T116" fmla="*/ 2147483647 w 324"/>
                <a:gd name="T117" fmla="*/ 2147483647 h 582"/>
                <a:gd name="T118" fmla="*/ 2147483647 w 324"/>
                <a:gd name="T119" fmla="*/ 2147483647 h 582"/>
                <a:gd name="T120" fmla="*/ 2147483647 w 324"/>
                <a:gd name="T121" fmla="*/ 2147483647 h 582"/>
                <a:gd name="T122" fmla="*/ 2147483647 w 324"/>
                <a:gd name="T123" fmla="*/ 0 h 582"/>
                <a:gd name="T124" fmla="*/ 2147483647 w 324"/>
                <a:gd name="T125" fmla="*/ 2147483647 h 582"/>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324"/>
                <a:gd name="T190" fmla="*/ 0 h 582"/>
                <a:gd name="T191" fmla="*/ 324 w 324"/>
                <a:gd name="T192" fmla="*/ 582 h 582"/>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324" h="582">
                  <a:moveTo>
                    <a:pt x="90" y="42"/>
                  </a:moveTo>
                  <a:lnTo>
                    <a:pt x="84" y="48"/>
                  </a:lnTo>
                  <a:lnTo>
                    <a:pt x="72" y="48"/>
                  </a:lnTo>
                  <a:lnTo>
                    <a:pt x="60" y="60"/>
                  </a:lnTo>
                  <a:lnTo>
                    <a:pt x="60" y="102"/>
                  </a:lnTo>
                  <a:lnTo>
                    <a:pt x="84" y="102"/>
                  </a:lnTo>
                  <a:lnTo>
                    <a:pt x="84" y="120"/>
                  </a:lnTo>
                  <a:lnTo>
                    <a:pt x="78" y="126"/>
                  </a:lnTo>
                  <a:lnTo>
                    <a:pt x="66" y="132"/>
                  </a:lnTo>
                  <a:lnTo>
                    <a:pt x="54" y="132"/>
                  </a:lnTo>
                  <a:lnTo>
                    <a:pt x="42" y="138"/>
                  </a:lnTo>
                  <a:lnTo>
                    <a:pt x="12" y="138"/>
                  </a:lnTo>
                  <a:lnTo>
                    <a:pt x="12" y="144"/>
                  </a:lnTo>
                  <a:lnTo>
                    <a:pt x="30" y="162"/>
                  </a:lnTo>
                  <a:lnTo>
                    <a:pt x="30" y="180"/>
                  </a:lnTo>
                  <a:lnTo>
                    <a:pt x="18" y="186"/>
                  </a:lnTo>
                  <a:lnTo>
                    <a:pt x="12" y="186"/>
                  </a:lnTo>
                  <a:lnTo>
                    <a:pt x="0" y="192"/>
                  </a:lnTo>
                  <a:lnTo>
                    <a:pt x="0" y="204"/>
                  </a:lnTo>
                  <a:lnTo>
                    <a:pt x="6" y="210"/>
                  </a:lnTo>
                  <a:lnTo>
                    <a:pt x="12" y="222"/>
                  </a:lnTo>
                  <a:lnTo>
                    <a:pt x="48" y="258"/>
                  </a:lnTo>
                  <a:lnTo>
                    <a:pt x="72" y="264"/>
                  </a:lnTo>
                  <a:lnTo>
                    <a:pt x="78" y="252"/>
                  </a:lnTo>
                  <a:lnTo>
                    <a:pt x="90" y="264"/>
                  </a:lnTo>
                  <a:lnTo>
                    <a:pt x="96" y="276"/>
                  </a:lnTo>
                  <a:lnTo>
                    <a:pt x="96" y="294"/>
                  </a:lnTo>
                  <a:lnTo>
                    <a:pt x="90" y="306"/>
                  </a:lnTo>
                  <a:lnTo>
                    <a:pt x="84" y="312"/>
                  </a:lnTo>
                  <a:lnTo>
                    <a:pt x="84" y="318"/>
                  </a:lnTo>
                  <a:lnTo>
                    <a:pt x="90" y="324"/>
                  </a:lnTo>
                  <a:lnTo>
                    <a:pt x="96" y="324"/>
                  </a:lnTo>
                  <a:lnTo>
                    <a:pt x="108" y="318"/>
                  </a:lnTo>
                  <a:lnTo>
                    <a:pt x="114" y="318"/>
                  </a:lnTo>
                  <a:lnTo>
                    <a:pt x="114" y="348"/>
                  </a:lnTo>
                  <a:lnTo>
                    <a:pt x="120" y="354"/>
                  </a:lnTo>
                  <a:lnTo>
                    <a:pt x="126" y="354"/>
                  </a:lnTo>
                  <a:lnTo>
                    <a:pt x="126" y="366"/>
                  </a:lnTo>
                  <a:lnTo>
                    <a:pt x="120" y="378"/>
                  </a:lnTo>
                  <a:lnTo>
                    <a:pt x="108" y="390"/>
                  </a:lnTo>
                  <a:lnTo>
                    <a:pt x="96" y="432"/>
                  </a:lnTo>
                  <a:lnTo>
                    <a:pt x="90" y="444"/>
                  </a:lnTo>
                  <a:lnTo>
                    <a:pt x="90" y="450"/>
                  </a:lnTo>
                  <a:lnTo>
                    <a:pt x="84" y="462"/>
                  </a:lnTo>
                  <a:lnTo>
                    <a:pt x="84" y="468"/>
                  </a:lnTo>
                  <a:lnTo>
                    <a:pt x="90" y="480"/>
                  </a:lnTo>
                  <a:lnTo>
                    <a:pt x="114" y="504"/>
                  </a:lnTo>
                  <a:lnTo>
                    <a:pt x="114" y="534"/>
                  </a:lnTo>
                  <a:lnTo>
                    <a:pt x="144" y="570"/>
                  </a:lnTo>
                  <a:lnTo>
                    <a:pt x="156" y="570"/>
                  </a:lnTo>
                  <a:lnTo>
                    <a:pt x="162" y="582"/>
                  </a:lnTo>
                  <a:lnTo>
                    <a:pt x="198" y="582"/>
                  </a:lnTo>
                  <a:lnTo>
                    <a:pt x="204" y="576"/>
                  </a:lnTo>
                  <a:lnTo>
                    <a:pt x="204" y="564"/>
                  </a:lnTo>
                  <a:lnTo>
                    <a:pt x="216" y="552"/>
                  </a:lnTo>
                  <a:lnTo>
                    <a:pt x="234" y="552"/>
                  </a:lnTo>
                  <a:lnTo>
                    <a:pt x="240" y="540"/>
                  </a:lnTo>
                  <a:lnTo>
                    <a:pt x="270" y="540"/>
                  </a:lnTo>
                  <a:lnTo>
                    <a:pt x="270" y="534"/>
                  </a:lnTo>
                  <a:lnTo>
                    <a:pt x="288" y="516"/>
                  </a:lnTo>
                  <a:lnTo>
                    <a:pt x="300" y="516"/>
                  </a:lnTo>
                  <a:lnTo>
                    <a:pt x="312" y="528"/>
                  </a:lnTo>
                  <a:lnTo>
                    <a:pt x="318" y="528"/>
                  </a:lnTo>
                  <a:lnTo>
                    <a:pt x="324" y="522"/>
                  </a:lnTo>
                  <a:lnTo>
                    <a:pt x="324" y="510"/>
                  </a:lnTo>
                  <a:lnTo>
                    <a:pt x="318" y="504"/>
                  </a:lnTo>
                  <a:lnTo>
                    <a:pt x="312" y="492"/>
                  </a:lnTo>
                  <a:lnTo>
                    <a:pt x="306" y="474"/>
                  </a:lnTo>
                  <a:lnTo>
                    <a:pt x="288" y="456"/>
                  </a:lnTo>
                  <a:lnTo>
                    <a:pt x="282" y="444"/>
                  </a:lnTo>
                  <a:lnTo>
                    <a:pt x="282" y="420"/>
                  </a:lnTo>
                  <a:lnTo>
                    <a:pt x="288" y="414"/>
                  </a:lnTo>
                  <a:lnTo>
                    <a:pt x="288" y="396"/>
                  </a:lnTo>
                  <a:lnTo>
                    <a:pt x="276" y="408"/>
                  </a:lnTo>
                  <a:lnTo>
                    <a:pt x="276" y="414"/>
                  </a:lnTo>
                  <a:lnTo>
                    <a:pt x="264" y="414"/>
                  </a:lnTo>
                  <a:lnTo>
                    <a:pt x="258" y="402"/>
                  </a:lnTo>
                  <a:lnTo>
                    <a:pt x="252" y="396"/>
                  </a:lnTo>
                  <a:lnTo>
                    <a:pt x="246" y="384"/>
                  </a:lnTo>
                  <a:lnTo>
                    <a:pt x="246" y="372"/>
                  </a:lnTo>
                  <a:lnTo>
                    <a:pt x="240" y="372"/>
                  </a:lnTo>
                  <a:lnTo>
                    <a:pt x="240" y="366"/>
                  </a:lnTo>
                  <a:lnTo>
                    <a:pt x="234" y="360"/>
                  </a:lnTo>
                  <a:lnTo>
                    <a:pt x="234" y="348"/>
                  </a:lnTo>
                  <a:lnTo>
                    <a:pt x="240" y="336"/>
                  </a:lnTo>
                  <a:lnTo>
                    <a:pt x="246" y="330"/>
                  </a:lnTo>
                  <a:lnTo>
                    <a:pt x="246" y="288"/>
                  </a:lnTo>
                  <a:lnTo>
                    <a:pt x="252" y="282"/>
                  </a:lnTo>
                  <a:lnTo>
                    <a:pt x="264" y="276"/>
                  </a:lnTo>
                  <a:lnTo>
                    <a:pt x="294" y="276"/>
                  </a:lnTo>
                  <a:lnTo>
                    <a:pt x="300" y="270"/>
                  </a:lnTo>
                  <a:lnTo>
                    <a:pt x="300" y="258"/>
                  </a:lnTo>
                  <a:lnTo>
                    <a:pt x="288" y="246"/>
                  </a:lnTo>
                  <a:lnTo>
                    <a:pt x="288" y="234"/>
                  </a:lnTo>
                  <a:lnTo>
                    <a:pt x="294" y="222"/>
                  </a:lnTo>
                  <a:lnTo>
                    <a:pt x="300" y="216"/>
                  </a:lnTo>
                  <a:lnTo>
                    <a:pt x="306" y="204"/>
                  </a:lnTo>
                  <a:lnTo>
                    <a:pt x="306" y="192"/>
                  </a:lnTo>
                  <a:lnTo>
                    <a:pt x="300" y="180"/>
                  </a:lnTo>
                  <a:lnTo>
                    <a:pt x="294" y="174"/>
                  </a:lnTo>
                  <a:lnTo>
                    <a:pt x="276" y="174"/>
                  </a:lnTo>
                  <a:lnTo>
                    <a:pt x="270" y="180"/>
                  </a:lnTo>
                  <a:lnTo>
                    <a:pt x="270" y="156"/>
                  </a:lnTo>
                  <a:lnTo>
                    <a:pt x="258" y="150"/>
                  </a:lnTo>
                  <a:lnTo>
                    <a:pt x="252" y="138"/>
                  </a:lnTo>
                  <a:lnTo>
                    <a:pt x="234" y="132"/>
                  </a:lnTo>
                  <a:lnTo>
                    <a:pt x="216" y="132"/>
                  </a:lnTo>
                  <a:lnTo>
                    <a:pt x="204" y="138"/>
                  </a:lnTo>
                  <a:lnTo>
                    <a:pt x="198" y="150"/>
                  </a:lnTo>
                  <a:lnTo>
                    <a:pt x="198" y="156"/>
                  </a:lnTo>
                  <a:lnTo>
                    <a:pt x="192" y="162"/>
                  </a:lnTo>
                  <a:lnTo>
                    <a:pt x="192" y="168"/>
                  </a:lnTo>
                  <a:lnTo>
                    <a:pt x="192" y="162"/>
                  </a:lnTo>
                  <a:lnTo>
                    <a:pt x="198" y="156"/>
                  </a:lnTo>
                  <a:lnTo>
                    <a:pt x="198" y="144"/>
                  </a:lnTo>
                  <a:lnTo>
                    <a:pt x="204" y="132"/>
                  </a:lnTo>
                  <a:lnTo>
                    <a:pt x="204" y="114"/>
                  </a:lnTo>
                  <a:lnTo>
                    <a:pt x="210" y="102"/>
                  </a:lnTo>
                  <a:lnTo>
                    <a:pt x="210" y="78"/>
                  </a:lnTo>
                  <a:lnTo>
                    <a:pt x="192" y="42"/>
                  </a:lnTo>
                  <a:lnTo>
                    <a:pt x="180" y="30"/>
                  </a:lnTo>
                  <a:lnTo>
                    <a:pt x="132" y="6"/>
                  </a:lnTo>
                  <a:lnTo>
                    <a:pt x="126" y="0"/>
                  </a:lnTo>
                  <a:lnTo>
                    <a:pt x="120" y="0"/>
                  </a:lnTo>
                  <a:lnTo>
                    <a:pt x="102" y="36"/>
                  </a:lnTo>
                  <a:lnTo>
                    <a:pt x="96" y="42"/>
                  </a:lnTo>
                  <a:lnTo>
                    <a:pt x="90" y="42"/>
                  </a:lnTo>
                  <a:close/>
                </a:path>
              </a:pathLst>
            </a:custGeom>
            <a:grpFill/>
            <a:ln w="3175">
              <a:solidFill>
                <a:schemeClr val="bg1"/>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de-DE" sz="1800" b="0" i="0" u="none" strike="noStrike" kern="1200" cap="none" spc="0" normalizeH="0" baseline="0" noProof="0">
                <a:ln>
                  <a:noFill/>
                </a:ln>
                <a:solidFill>
                  <a:srgbClr val="FFC000"/>
                </a:solidFill>
                <a:effectLst/>
                <a:uLnTx/>
                <a:uFillTx/>
                <a:latin typeface="Calibri" pitchFamily="34" charset="0"/>
                <a:ea typeface="+mn-ea"/>
                <a:cs typeface="+mn-cs"/>
              </a:endParaRPr>
            </a:p>
          </p:txBody>
        </p:sp>
        <p:sp>
          <p:nvSpPr>
            <p:cNvPr id="128" name="Guinea-Bissau" descr="© INSCALE GmbH, 05.05.2010&#10;http://www.presentationload.com/"/>
            <p:cNvSpPr>
              <a:spLocks/>
            </p:cNvSpPr>
            <p:nvPr/>
          </p:nvSpPr>
          <p:spPr bwMode="gray">
            <a:xfrm>
              <a:off x="4094586" y="3985350"/>
              <a:ext cx="60153" cy="47766"/>
            </a:xfrm>
            <a:custGeom>
              <a:avLst/>
              <a:gdLst>
                <a:gd name="T0" fmla="*/ 2147483647 w 186"/>
                <a:gd name="T1" fmla="*/ 2147483647 h 156"/>
                <a:gd name="T2" fmla="*/ 2147483647 w 186"/>
                <a:gd name="T3" fmla="*/ 2147483647 h 156"/>
                <a:gd name="T4" fmla="*/ 2147483647 w 186"/>
                <a:gd name="T5" fmla="*/ 2147483647 h 156"/>
                <a:gd name="T6" fmla="*/ 2147483647 w 186"/>
                <a:gd name="T7" fmla="*/ 2147483647 h 156"/>
                <a:gd name="T8" fmla="*/ 2147483647 w 186"/>
                <a:gd name="T9" fmla="*/ 2147483647 h 156"/>
                <a:gd name="T10" fmla="*/ 2147483647 w 186"/>
                <a:gd name="T11" fmla="*/ 2147483647 h 156"/>
                <a:gd name="T12" fmla="*/ 2147483647 w 186"/>
                <a:gd name="T13" fmla="*/ 2147483647 h 156"/>
                <a:gd name="T14" fmla="*/ 2147483647 w 186"/>
                <a:gd name="T15" fmla="*/ 2147483647 h 156"/>
                <a:gd name="T16" fmla="*/ 2147483647 w 186"/>
                <a:gd name="T17" fmla="*/ 2147483647 h 156"/>
                <a:gd name="T18" fmla="*/ 2147483647 w 186"/>
                <a:gd name="T19" fmla="*/ 2147483647 h 156"/>
                <a:gd name="T20" fmla="*/ 2147483647 w 186"/>
                <a:gd name="T21" fmla="*/ 2147483647 h 156"/>
                <a:gd name="T22" fmla="*/ 2147483647 w 186"/>
                <a:gd name="T23" fmla="*/ 2147483647 h 156"/>
                <a:gd name="T24" fmla="*/ 2147483647 w 186"/>
                <a:gd name="T25" fmla="*/ 2147483647 h 156"/>
                <a:gd name="T26" fmla="*/ 2147483647 w 186"/>
                <a:gd name="T27" fmla="*/ 2147483647 h 156"/>
                <a:gd name="T28" fmla="*/ 2147483647 w 186"/>
                <a:gd name="T29" fmla="*/ 0 h 156"/>
                <a:gd name="T30" fmla="*/ 2147483647 w 186"/>
                <a:gd name="T31" fmla="*/ 2147483647 h 156"/>
                <a:gd name="T32" fmla="*/ 2147483647 w 186"/>
                <a:gd name="T33" fmla="*/ 2147483647 h 156"/>
                <a:gd name="T34" fmla="*/ 2147483647 w 186"/>
                <a:gd name="T35" fmla="*/ 2147483647 h 156"/>
                <a:gd name="T36" fmla="*/ 0 w 186"/>
                <a:gd name="T37" fmla="*/ 2147483647 h 156"/>
                <a:gd name="T38" fmla="*/ 2147483647 w 186"/>
                <a:gd name="T39" fmla="*/ 2147483647 h 156"/>
                <a:gd name="T40" fmla="*/ 2147483647 w 186"/>
                <a:gd name="T41" fmla="*/ 2147483647 h 156"/>
                <a:gd name="T42" fmla="*/ 2147483647 w 186"/>
                <a:gd name="T43" fmla="*/ 2147483647 h 156"/>
                <a:gd name="T44" fmla="*/ 2147483647 w 186"/>
                <a:gd name="T45" fmla="*/ 2147483647 h 156"/>
                <a:gd name="T46" fmla="*/ 2147483647 w 186"/>
                <a:gd name="T47" fmla="*/ 2147483647 h 156"/>
                <a:gd name="T48" fmla="*/ 2147483647 w 186"/>
                <a:gd name="T49" fmla="*/ 2147483647 h 156"/>
                <a:gd name="T50" fmla="*/ 2147483647 w 186"/>
                <a:gd name="T51" fmla="*/ 2147483647 h 156"/>
                <a:gd name="T52" fmla="*/ 2147483647 w 186"/>
                <a:gd name="T53" fmla="*/ 2147483647 h 156"/>
                <a:gd name="T54" fmla="*/ 2147483647 w 186"/>
                <a:gd name="T55" fmla="*/ 2147483647 h 156"/>
                <a:gd name="T56" fmla="*/ 2147483647 w 186"/>
                <a:gd name="T57" fmla="*/ 2147483647 h 156"/>
                <a:gd name="T58" fmla="*/ 2147483647 w 186"/>
                <a:gd name="T59" fmla="*/ 2147483647 h 156"/>
                <a:gd name="T60" fmla="*/ 2147483647 w 186"/>
                <a:gd name="T61" fmla="*/ 2147483647 h 156"/>
                <a:gd name="T62" fmla="*/ 2147483647 w 186"/>
                <a:gd name="T63" fmla="*/ 2147483647 h 156"/>
                <a:gd name="T64" fmla="*/ 2147483647 w 186"/>
                <a:gd name="T65" fmla="*/ 2147483647 h 156"/>
                <a:gd name="T66" fmla="*/ 2147483647 w 186"/>
                <a:gd name="T67" fmla="*/ 2147483647 h 156"/>
                <a:gd name="T68" fmla="*/ 2147483647 w 186"/>
                <a:gd name="T69" fmla="*/ 2147483647 h 156"/>
                <a:gd name="T70" fmla="*/ 2147483647 w 186"/>
                <a:gd name="T71" fmla="*/ 2147483647 h 156"/>
                <a:gd name="T72" fmla="*/ 2147483647 w 186"/>
                <a:gd name="T73" fmla="*/ 2147483647 h 15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186"/>
                <a:gd name="T112" fmla="*/ 0 h 156"/>
                <a:gd name="T113" fmla="*/ 186 w 186"/>
                <a:gd name="T114" fmla="*/ 156 h 15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186" h="156">
                  <a:moveTo>
                    <a:pt x="126" y="102"/>
                  </a:moveTo>
                  <a:lnTo>
                    <a:pt x="132" y="96"/>
                  </a:lnTo>
                  <a:lnTo>
                    <a:pt x="144" y="90"/>
                  </a:lnTo>
                  <a:lnTo>
                    <a:pt x="174" y="90"/>
                  </a:lnTo>
                  <a:lnTo>
                    <a:pt x="180" y="84"/>
                  </a:lnTo>
                  <a:lnTo>
                    <a:pt x="186" y="72"/>
                  </a:lnTo>
                  <a:lnTo>
                    <a:pt x="186" y="66"/>
                  </a:lnTo>
                  <a:lnTo>
                    <a:pt x="180" y="60"/>
                  </a:lnTo>
                  <a:lnTo>
                    <a:pt x="168" y="54"/>
                  </a:lnTo>
                  <a:lnTo>
                    <a:pt x="162" y="48"/>
                  </a:lnTo>
                  <a:lnTo>
                    <a:pt x="162" y="36"/>
                  </a:lnTo>
                  <a:lnTo>
                    <a:pt x="168" y="30"/>
                  </a:lnTo>
                  <a:lnTo>
                    <a:pt x="186" y="30"/>
                  </a:lnTo>
                  <a:lnTo>
                    <a:pt x="186" y="6"/>
                  </a:lnTo>
                  <a:lnTo>
                    <a:pt x="84" y="0"/>
                  </a:lnTo>
                  <a:lnTo>
                    <a:pt x="54" y="24"/>
                  </a:lnTo>
                  <a:lnTo>
                    <a:pt x="18" y="24"/>
                  </a:lnTo>
                  <a:lnTo>
                    <a:pt x="6" y="36"/>
                  </a:lnTo>
                  <a:lnTo>
                    <a:pt x="0" y="72"/>
                  </a:lnTo>
                  <a:lnTo>
                    <a:pt x="6" y="78"/>
                  </a:lnTo>
                  <a:lnTo>
                    <a:pt x="18" y="78"/>
                  </a:lnTo>
                  <a:lnTo>
                    <a:pt x="42" y="66"/>
                  </a:lnTo>
                  <a:lnTo>
                    <a:pt x="66" y="66"/>
                  </a:lnTo>
                  <a:lnTo>
                    <a:pt x="90" y="60"/>
                  </a:lnTo>
                  <a:lnTo>
                    <a:pt x="90" y="84"/>
                  </a:lnTo>
                  <a:lnTo>
                    <a:pt x="78" y="78"/>
                  </a:lnTo>
                  <a:lnTo>
                    <a:pt x="72" y="78"/>
                  </a:lnTo>
                  <a:lnTo>
                    <a:pt x="66" y="72"/>
                  </a:lnTo>
                  <a:lnTo>
                    <a:pt x="54" y="72"/>
                  </a:lnTo>
                  <a:lnTo>
                    <a:pt x="54" y="96"/>
                  </a:lnTo>
                  <a:lnTo>
                    <a:pt x="60" y="102"/>
                  </a:lnTo>
                  <a:lnTo>
                    <a:pt x="90" y="96"/>
                  </a:lnTo>
                  <a:lnTo>
                    <a:pt x="54" y="114"/>
                  </a:lnTo>
                  <a:lnTo>
                    <a:pt x="84" y="156"/>
                  </a:lnTo>
                  <a:lnTo>
                    <a:pt x="90" y="132"/>
                  </a:lnTo>
                  <a:lnTo>
                    <a:pt x="108" y="102"/>
                  </a:lnTo>
                  <a:lnTo>
                    <a:pt x="126" y="102"/>
                  </a:lnTo>
                  <a:close/>
                </a:path>
              </a:pathLst>
            </a:custGeom>
            <a:grpFill/>
            <a:ln w="3175">
              <a:solidFill>
                <a:schemeClr val="bg1"/>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de-DE" sz="1800" b="0" i="0" u="none" strike="noStrike" kern="1200" cap="none" spc="0" normalizeH="0" baseline="0" noProof="0">
                <a:ln>
                  <a:noFill/>
                </a:ln>
                <a:solidFill>
                  <a:srgbClr val="FFC000"/>
                </a:solidFill>
                <a:effectLst/>
                <a:uLnTx/>
                <a:uFillTx/>
                <a:latin typeface="Calibri" pitchFamily="34" charset="0"/>
                <a:ea typeface="+mn-ea"/>
                <a:cs typeface="+mn-cs"/>
              </a:endParaRPr>
            </a:p>
          </p:txBody>
        </p:sp>
        <p:sp>
          <p:nvSpPr>
            <p:cNvPr id="129" name="Guinea" descr="© INSCALE GmbH, 05.05.2010&#10;http://www.presentationload.com/"/>
            <p:cNvSpPr>
              <a:spLocks/>
            </p:cNvSpPr>
            <p:nvPr/>
          </p:nvSpPr>
          <p:spPr bwMode="gray">
            <a:xfrm>
              <a:off x="4124022" y="3987799"/>
              <a:ext cx="168939" cy="137176"/>
            </a:xfrm>
            <a:custGeom>
              <a:avLst/>
              <a:gdLst>
                <a:gd name="T0" fmla="*/ 2147483647 w 522"/>
                <a:gd name="T1" fmla="*/ 2147483647 h 444"/>
                <a:gd name="T2" fmla="*/ 2147483647 w 522"/>
                <a:gd name="T3" fmla="*/ 2147483647 h 444"/>
                <a:gd name="T4" fmla="*/ 2147483647 w 522"/>
                <a:gd name="T5" fmla="*/ 2147483647 h 444"/>
                <a:gd name="T6" fmla="*/ 2147483647 w 522"/>
                <a:gd name="T7" fmla="*/ 2147483647 h 444"/>
                <a:gd name="T8" fmla="*/ 2147483647 w 522"/>
                <a:gd name="T9" fmla="*/ 2147483647 h 444"/>
                <a:gd name="T10" fmla="*/ 2147483647 w 522"/>
                <a:gd name="T11" fmla="*/ 2147483647 h 444"/>
                <a:gd name="T12" fmla="*/ 2147483647 w 522"/>
                <a:gd name="T13" fmla="*/ 2147483647 h 444"/>
                <a:gd name="T14" fmla="*/ 2147483647 w 522"/>
                <a:gd name="T15" fmla="*/ 2147483647 h 444"/>
                <a:gd name="T16" fmla="*/ 2147483647 w 522"/>
                <a:gd name="T17" fmla="*/ 2147483647 h 444"/>
                <a:gd name="T18" fmla="*/ 2147483647 w 522"/>
                <a:gd name="T19" fmla="*/ 2147483647 h 444"/>
                <a:gd name="T20" fmla="*/ 2147483647 w 522"/>
                <a:gd name="T21" fmla="*/ 2147483647 h 444"/>
                <a:gd name="T22" fmla="*/ 2147483647 w 522"/>
                <a:gd name="T23" fmla="*/ 2147483647 h 444"/>
                <a:gd name="T24" fmla="*/ 2147483647 w 522"/>
                <a:gd name="T25" fmla="*/ 2147483647 h 444"/>
                <a:gd name="T26" fmla="*/ 2147483647 w 522"/>
                <a:gd name="T27" fmla="*/ 2147483647 h 444"/>
                <a:gd name="T28" fmla="*/ 2147483647 w 522"/>
                <a:gd name="T29" fmla="*/ 2147483647 h 444"/>
                <a:gd name="T30" fmla="*/ 2147483647 w 522"/>
                <a:gd name="T31" fmla="*/ 2147483647 h 444"/>
                <a:gd name="T32" fmla="*/ 2147483647 w 522"/>
                <a:gd name="T33" fmla="*/ 2147483647 h 444"/>
                <a:gd name="T34" fmla="*/ 2147483647 w 522"/>
                <a:gd name="T35" fmla="*/ 2147483647 h 444"/>
                <a:gd name="T36" fmla="*/ 2147483647 w 522"/>
                <a:gd name="T37" fmla="*/ 2147483647 h 444"/>
                <a:gd name="T38" fmla="*/ 2147483647 w 522"/>
                <a:gd name="T39" fmla="*/ 2147483647 h 444"/>
                <a:gd name="T40" fmla="*/ 2147483647 w 522"/>
                <a:gd name="T41" fmla="*/ 2147483647 h 444"/>
                <a:gd name="T42" fmla="*/ 2147483647 w 522"/>
                <a:gd name="T43" fmla="*/ 2147483647 h 444"/>
                <a:gd name="T44" fmla="*/ 2147483647 w 522"/>
                <a:gd name="T45" fmla="*/ 2147483647 h 444"/>
                <a:gd name="T46" fmla="*/ 2147483647 w 522"/>
                <a:gd name="T47" fmla="*/ 2147483647 h 444"/>
                <a:gd name="T48" fmla="*/ 2147483647 w 522"/>
                <a:gd name="T49" fmla="*/ 2147483647 h 444"/>
                <a:gd name="T50" fmla="*/ 2147483647 w 522"/>
                <a:gd name="T51" fmla="*/ 2147483647 h 444"/>
                <a:gd name="T52" fmla="*/ 2147483647 w 522"/>
                <a:gd name="T53" fmla="*/ 2147483647 h 444"/>
                <a:gd name="T54" fmla="*/ 2147483647 w 522"/>
                <a:gd name="T55" fmla="*/ 2147483647 h 444"/>
                <a:gd name="T56" fmla="*/ 2147483647 w 522"/>
                <a:gd name="T57" fmla="*/ 2147483647 h 444"/>
                <a:gd name="T58" fmla="*/ 2147483647 w 522"/>
                <a:gd name="T59" fmla="*/ 2147483647 h 444"/>
                <a:gd name="T60" fmla="*/ 2147483647 w 522"/>
                <a:gd name="T61" fmla="*/ 2147483647 h 444"/>
                <a:gd name="T62" fmla="*/ 2147483647 w 522"/>
                <a:gd name="T63" fmla="*/ 2147483647 h 444"/>
                <a:gd name="T64" fmla="*/ 2147483647 w 522"/>
                <a:gd name="T65" fmla="*/ 2147483647 h 444"/>
                <a:gd name="T66" fmla="*/ 2147483647 w 522"/>
                <a:gd name="T67" fmla="*/ 2147483647 h 444"/>
                <a:gd name="T68" fmla="*/ 2147483647 w 522"/>
                <a:gd name="T69" fmla="*/ 2147483647 h 444"/>
                <a:gd name="T70" fmla="*/ 2147483647 w 522"/>
                <a:gd name="T71" fmla="*/ 2147483647 h 444"/>
                <a:gd name="T72" fmla="*/ 2147483647 w 522"/>
                <a:gd name="T73" fmla="*/ 2147483647 h 444"/>
                <a:gd name="T74" fmla="*/ 2147483647 w 522"/>
                <a:gd name="T75" fmla="*/ 2147483647 h 444"/>
                <a:gd name="T76" fmla="*/ 2147483647 w 522"/>
                <a:gd name="T77" fmla="*/ 2147483647 h 444"/>
                <a:gd name="T78" fmla="*/ 2147483647 w 522"/>
                <a:gd name="T79" fmla="*/ 2147483647 h 444"/>
                <a:gd name="T80" fmla="*/ 2147483647 w 522"/>
                <a:gd name="T81" fmla="*/ 2147483647 h 444"/>
                <a:gd name="T82" fmla="*/ 2147483647 w 522"/>
                <a:gd name="T83" fmla="*/ 2147483647 h 444"/>
                <a:gd name="T84" fmla="*/ 2147483647 w 522"/>
                <a:gd name="T85" fmla="*/ 2147483647 h 444"/>
                <a:gd name="T86" fmla="*/ 2147483647 w 522"/>
                <a:gd name="T87" fmla="*/ 2147483647 h 444"/>
                <a:gd name="T88" fmla="*/ 2147483647 w 522"/>
                <a:gd name="T89" fmla="*/ 2147483647 h 444"/>
                <a:gd name="T90" fmla="*/ 2147483647 w 522"/>
                <a:gd name="T91" fmla="*/ 2147483647 h 444"/>
                <a:gd name="T92" fmla="*/ 2147483647 w 522"/>
                <a:gd name="T93" fmla="*/ 2147483647 h 444"/>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522"/>
                <a:gd name="T142" fmla="*/ 0 h 444"/>
                <a:gd name="T143" fmla="*/ 522 w 522"/>
                <a:gd name="T144" fmla="*/ 444 h 444"/>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522" h="444">
                  <a:moveTo>
                    <a:pt x="96" y="0"/>
                  </a:moveTo>
                  <a:lnTo>
                    <a:pt x="96" y="24"/>
                  </a:lnTo>
                  <a:lnTo>
                    <a:pt x="78" y="24"/>
                  </a:lnTo>
                  <a:lnTo>
                    <a:pt x="72" y="30"/>
                  </a:lnTo>
                  <a:lnTo>
                    <a:pt x="72" y="42"/>
                  </a:lnTo>
                  <a:lnTo>
                    <a:pt x="78" y="48"/>
                  </a:lnTo>
                  <a:lnTo>
                    <a:pt x="90" y="54"/>
                  </a:lnTo>
                  <a:lnTo>
                    <a:pt x="96" y="60"/>
                  </a:lnTo>
                  <a:lnTo>
                    <a:pt x="96" y="66"/>
                  </a:lnTo>
                  <a:lnTo>
                    <a:pt x="90" y="78"/>
                  </a:lnTo>
                  <a:lnTo>
                    <a:pt x="84" y="84"/>
                  </a:lnTo>
                  <a:lnTo>
                    <a:pt x="54" y="84"/>
                  </a:lnTo>
                  <a:lnTo>
                    <a:pt x="42" y="90"/>
                  </a:lnTo>
                  <a:lnTo>
                    <a:pt x="36" y="96"/>
                  </a:lnTo>
                  <a:lnTo>
                    <a:pt x="18" y="96"/>
                  </a:lnTo>
                  <a:lnTo>
                    <a:pt x="0" y="126"/>
                  </a:lnTo>
                  <a:lnTo>
                    <a:pt x="0" y="132"/>
                  </a:lnTo>
                  <a:lnTo>
                    <a:pt x="18" y="150"/>
                  </a:lnTo>
                  <a:lnTo>
                    <a:pt x="30" y="150"/>
                  </a:lnTo>
                  <a:lnTo>
                    <a:pt x="30" y="162"/>
                  </a:lnTo>
                  <a:lnTo>
                    <a:pt x="24" y="168"/>
                  </a:lnTo>
                  <a:lnTo>
                    <a:pt x="30" y="180"/>
                  </a:lnTo>
                  <a:lnTo>
                    <a:pt x="30" y="192"/>
                  </a:lnTo>
                  <a:lnTo>
                    <a:pt x="54" y="204"/>
                  </a:lnTo>
                  <a:lnTo>
                    <a:pt x="72" y="204"/>
                  </a:lnTo>
                  <a:lnTo>
                    <a:pt x="72" y="228"/>
                  </a:lnTo>
                  <a:lnTo>
                    <a:pt x="84" y="228"/>
                  </a:lnTo>
                  <a:lnTo>
                    <a:pt x="90" y="222"/>
                  </a:lnTo>
                  <a:lnTo>
                    <a:pt x="90" y="234"/>
                  </a:lnTo>
                  <a:lnTo>
                    <a:pt x="96" y="246"/>
                  </a:lnTo>
                  <a:lnTo>
                    <a:pt x="96" y="258"/>
                  </a:lnTo>
                  <a:lnTo>
                    <a:pt x="114" y="276"/>
                  </a:lnTo>
                  <a:lnTo>
                    <a:pt x="126" y="282"/>
                  </a:lnTo>
                  <a:lnTo>
                    <a:pt x="132" y="288"/>
                  </a:lnTo>
                  <a:lnTo>
                    <a:pt x="138" y="282"/>
                  </a:lnTo>
                  <a:lnTo>
                    <a:pt x="150" y="276"/>
                  </a:lnTo>
                  <a:lnTo>
                    <a:pt x="156" y="264"/>
                  </a:lnTo>
                  <a:lnTo>
                    <a:pt x="168" y="252"/>
                  </a:lnTo>
                  <a:lnTo>
                    <a:pt x="174" y="240"/>
                  </a:lnTo>
                  <a:lnTo>
                    <a:pt x="180" y="234"/>
                  </a:lnTo>
                  <a:lnTo>
                    <a:pt x="180" y="228"/>
                  </a:lnTo>
                  <a:lnTo>
                    <a:pt x="216" y="228"/>
                  </a:lnTo>
                  <a:lnTo>
                    <a:pt x="222" y="210"/>
                  </a:lnTo>
                  <a:lnTo>
                    <a:pt x="258" y="210"/>
                  </a:lnTo>
                  <a:lnTo>
                    <a:pt x="300" y="270"/>
                  </a:lnTo>
                  <a:lnTo>
                    <a:pt x="300" y="288"/>
                  </a:lnTo>
                  <a:lnTo>
                    <a:pt x="312" y="300"/>
                  </a:lnTo>
                  <a:lnTo>
                    <a:pt x="312" y="318"/>
                  </a:lnTo>
                  <a:lnTo>
                    <a:pt x="306" y="330"/>
                  </a:lnTo>
                  <a:lnTo>
                    <a:pt x="300" y="336"/>
                  </a:lnTo>
                  <a:lnTo>
                    <a:pt x="294" y="354"/>
                  </a:lnTo>
                  <a:lnTo>
                    <a:pt x="324" y="342"/>
                  </a:lnTo>
                  <a:lnTo>
                    <a:pt x="348" y="348"/>
                  </a:lnTo>
                  <a:lnTo>
                    <a:pt x="348" y="336"/>
                  </a:lnTo>
                  <a:lnTo>
                    <a:pt x="354" y="330"/>
                  </a:lnTo>
                  <a:lnTo>
                    <a:pt x="360" y="330"/>
                  </a:lnTo>
                  <a:lnTo>
                    <a:pt x="372" y="336"/>
                  </a:lnTo>
                  <a:lnTo>
                    <a:pt x="384" y="348"/>
                  </a:lnTo>
                  <a:lnTo>
                    <a:pt x="390" y="366"/>
                  </a:lnTo>
                  <a:lnTo>
                    <a:pt x="390" y="426"/>
                  </a:lnTo>
                  <a:lnTo>
                    <a:pt x="402" y="426"/>
                  </a:lnTo>
                  <a:lnTo>
                    <a:pt x="402" y="432"/>
                  </a:lnTo>
                  <a:lnTo>
                    <a:pt x="414" y="444"/>
                  </a:lnTo>
                  <a:lnTo>
                    <a:pt x="420" y="444"/>
                  </a:lnTo>
                  <a:lnTo>
                    <a:pt x="432" y="432"/>
                  </a:lnTo>
                  <a:lnTo>
                    <a:pt x="432" y="420"/>
                  </a:lnTo>
                  <a:lnTo>
                    <a:pt x="438" y="408"/>
                  </a:lnTo>
                  <a:lnTo>
                    <a:pt x="444" y="402"/>
                  </a:lnTo>
                  <a:lnTo>
                    <a:pt x="456" y="402"/>
                  </a:lnTo>
                  <a:lnTo>
                    <a:pt x="468" y="408"/>
                  </a:lnTo>
                  <a:lnTo>
                    <a:pt x="474" y="414"/>
                  </a:lnTo>
                  <a:lnTo>
                    <a:pt x="480" y="414"/>
                  </a:lnTo>
                  <a:lnTo>
                    <a:pt x="486" y="408"/>
                  </a:lnTo>
                  <a:lnTo>
                    <a:pt x="486" y="390"/>
                  </a:lnTo>
                  <a:lnTo>
                    <a:pt x="480" y="384"/>
                  </a:lnTo>
                  <a:lnTo>
                    <a:pt x="480" y="378"/>
                  </a:lnTo>
                  <a:lnTo>
                    <a:pt x="498" y="378"/>
                  </a:lnTo>
                  <a:lnTo>
                    <a:pt x="492" y="366"/>
                  </a:lnTo>
                  <a:lnTo>
                    <a:pt x="480" y="360"/>
                  </a:lnTo>
                  <a:lnTo>
                    <a:pt x="474" y="348"/>
                  </a:lnTo>
                  <a:lnTo>
                    <a:pt x="474" y="336"/>
                  </a:lnTo>
                  <a:lnTo>
                    <a:pt x="492" y="336"/>
                  </a:lnTo>
                  <a:lnTo>
                    <a:pt x="498" y="342"/>
                  </a:lnTo>
                  <a:lnTo>
                    <a:pt x="510" y="342"/>
                  </a:lnTo>
                  <a:lnTo>
                    <a:pt x="516" y="348"/>
                  </a:lnTo>
                  <a:lnTo>
                    <a:pt x="516" y="342"/>
                  </a:lnTo>
                  <a:lnTo>
                    <a:pt x="522" y="336"/>
                  </a:lnTo>
                  <a:lnTo>
                    <a:pt x="522" y="324"/>
                  </a:lnTo>
                  <a:lnTo>
                    <a:pt x="516" y="324"/>
                  </a:lnTo>
                  <a:lnTo>
                    <a:pt x="504" y="318"/>
                  </a:lnTo>
                  <a:lnTo>
                    <a:pt x="498" y="318"/>
                  </a:lnTo>
                  <a:lnTo>
                    <a:pt x="498" y="306"/>
                  </a:lnTo>
                  <a:lnTo>
                    <a:pt x="504" y="294"/>
                  </a:lnTo>
                  <a:lnTo>
                    <a:pt x="510" y="288"/>
                  </a:lnTo>
                  <a:lnTo>
                    <a:pt x="492" y="282"/>
                  </a:lnTo>
                  <a:lnTo>
                    <a:pt x="504" y="264"/>
                  </a:lnTo>
                  <a:lnTo>
                    <a:pt x="486" y="258"/>
                  </a:lnTo>
                  <a:lnTo>
                    <a:pt x="480" y="222"/>
                  </a:lnTo>
                  <a:lnTo>
                    <a:pt x="498" y="198"/>
                  </a:lnTo>
                  <a:lnTo>
                    <a:pt x="468" y="168"/>
                  </a:lnTo>
                  <a:lnTo>
                    <a:pt x="468" y="132"/>
                  </a:lnTo>
                  <a:lnTo>
                    <a:pt x="444" y="132"/>
                  </a:lnTo>
                  <a:lnTo>
                    <a:pt x="468" y="96"/>
                  </a:lnTo>
                  <a:lnTo>
                    <a:pt x="432" y="78"/>
                  </a:lnTo>
                  <a:lnTo>
                    <a:pt x="444" y="48"/>
                  </a:lnTo>
                  <a:lnTo>
                    <a:pt x="426" y="36"/>
                  </a:lnTo>
                  <a:lnTo>
                    <a:pt x="426" y="18"/>
                  </a:lnTo>
                  <a:lnTo>
                    <a:pt x="414" y="12"/>
                  </a:lnTo>
                  <a:lnTo>
                    <a:pt x="402" y="12"/>
                  </a:lnTo>
                  <a:lnTo>
                    <a:pt x="396" y="18"/>
                  </a:lnTo>
                  <a:lnTo>
                    <a:pt x="396" y="36"/>
                  </a:lnTo>
                  <a:lnTo>
                    <a:pt x="378" y="54"/>
                  </a:lnTo>
                  <a:lnTo>
                    <a:pt x="366" y="48"/>
                  </a:lnTo>
                  <a:lnTo>
                    <a:pt x="360" y="42"/>
                  </a:lnTo>
                  <a:lnTo>
                    <a:pt x="348" y="36"/>
                  </a:lnTo>
                  <a:lnTo>
                    <a:pt x="342" y="36"/>
                  </a:lnTo>
                  <a:lnTo>
                    <a:pt x="336" y="30"/>
                  </a:lnTo>
                  <a:lnTo>
                    <a:pt x="330" y="30"/>
                  </a:lnTo>
                  <a:lnTo>
                    <a:pt x="324" y="42"/>
                  </a:lnTo>
                  <a:lnTo>
                    <a:pt x="312" y="54"/>
                  </a:lnTo>
                  <a:lnTo>
                    <a:pt x="306" y="66"/>
                  </a:lnTo>
                  <a:lnTo>
                    <a:pt x="306" y="54"/>
                  </a:lnTo>
                  <a:lnTo>
                    <a:pt x="300" y="42"/>
                  </a:lnTo>
                  <a:lnTo>
                    <a:pt x="288" y="30"/>
                  </a:lnTo>
                  <a:lnTo>
                    <a:pt x="276" y="42"/>
                  </a:lnTo>
                  <a:lnTo>
                    <a:pt x="270" y="54"/>
                  </a:lnTo>
                  <a:lnTo>
                    <a:pt x="264" y="60"/>
                  </a:lnTo>
                  <a:lnTo>
                    <a:pt x="258" y="54"/>
                  </a:lnTo>
                  <a:lnTo>
                    <a:pt x="258" y="48"/>
                  </a:lnTo>
                  <a:lnTo>
                    <a:pt x="252" y="36"/>
                  </a:lnTo>
                  <a:lnTo>
                    <a:pt x="252" y="24"/>
                  </a:lnTo>
                  <a:lnTo>
                    <a:pt x="210" y="24"/>
                  </a:lnTo>
                  <a:lnTo>
                    <a:pt x="204" y="30"/>
                  </a:lnTo>
                  <a:lnTo>
                    <a:pt x="192" y="36"/>
                  </a:lnTo>
                  <a:lnTo>
                    <a:pt x="180" y="36"/>
                  </a:lnTo>
                  <a:lnTo>
                    <a:pt x="174" y="30"/>
                  </a:lnTo>
                  <a:lnTo>
                    <a:pt x="168" y="18"/>
                  </a:lnTo>
                  <a:lnTo>
                    <a:pt x="162" y="12"/>
                  </a:lnTo>
                  <a:lnTo>
                    <a:pt x="156" y="18"/>
                  </a:lnTo>
                  <a:lnTo>
                    <a:pt x="138" y="18"/>
                  </a:lnTo>
                  <a:lnTo>
                    <a:pt x="132" y="6"/>
                  </a:lnTo>
                  <a:lnTo>
                    <a:pt x="132" y="0"/>
                  </a:lnTo>
                  <a:lnTo>
                    <a:pt x="96" y="0"/>
                  </a:lnTo>
                  <a:close/>
                </a:path>
              </a:pathLst>
            </a:custGeom>
            <a:grpFill/>
            <a:ln w="3175">
              <a:solidFill>
                <a:schemeClr val="bg1"/>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de-DE" sz="1800" b="0" i="0" u="none" strike="noStrike" kern="1200" cap="none" spc="0" normalizeH="0" baseline="0" noProof="0">
                <a:ln>
                  <a:noFill/>
                </a:ln>
                <a:solidFill>
                  <a:srgbClr val="FFC000"/>
                </a:solidFill>
                <a:effectLst/>
                <a:uLnTx/>
                <a:uFillTx/>
                <a:latin typeface="Calibri" pitchFamily="34" charset="0"/>
                <a:ea typeface="+mn-ea"/>
                <a:cs typeface="+mn-cs"/>
              </a:endParaRPr>
            </a:p>
          </p:txBody>
        </p:sp>
        <p:sp>
          <p:nvSpPr>
            <p:cNvPr id="130" name="Guatemala" descr="© INSCALE GmbH, 05.05.2010&#10;http://www.presentationload.com/"/>
            <p:cNvSpPr>
              <a:spLocks/>
            </p:cNvSpPr>
            <p:nvPr/>
          </p:nvSpPr>
          <p:spPr bwMode="gray">
            <a:xfrm>
              <a:off x="2356562" y="3856746"/>
              <a:ext cx="95988" cy="104107"/>
            </a:xfrm>
            <a:custGeom>
              <a:avLst/>
              <a:gdLst>
                <a:gd name="T0" fmla="*/ 2147483647 w 300"/>
                <a:gd name="T1" fmla="*/ 2147483647 h 336"/>
                <a:gd name="T2" fmla="*/ 2147483647 w 300"/>
                <a:gd name="T3" fmla="*/ 2147483647 h 336"/>
                <a:gd name="T4" fmla="*/ 2147483647 w 300"/>
                <a:gd name="T5" fmla="*/ 2147483647 h 336"/>
                <a:gd name="T6" fmla="*/ 2147483647 w 300"/>
                <a:gd name="T7" fmla="*/ 2147483647 h 336"/>
                <a:gd name="T8" fmla="*/ 2147483647 w 300"/>
                <a:gd name="T9" fmla="*/ 2147483647 h 336"/>
                <a:gd name="T10" fmla="*/ 2147483647 w 300"/>
                <a:gd name="T11" fmla="*/ 0 h 336"/>
                <a:gd name="T12" fmla="*/ 2147483647 w 300"/>
                <a:gd name="T13" fmla="*/ 2147483647 h 336"/>
                <a:gd name="T14" fmla="*/ 2147483647 w 300"/>
                <a:gd name="T15" fmla="*/ 2147483647 h 336"/>
                <a:gd name="T16" fmla="*/ 2147483647 w 300"/>
                <a:gd name="T17" fmla="*/ 2147483647 h 336"/>
                <a:gd name="T18" fmla="*/ 2147483647 w 300"/>
                <a:gd name="T19" fmla="*/ 2147483647 h 336"/>
                <a:gd name="T20" fmla="*/ 2147483647 w 300"/>
                <a:gd name="T21" fmla="*/ 2147483647 h 336"/>
                <a:gd name="T22" fmla="*/ 2147483647 w 300"/>
                <a:gd name="T23" fmla="*/ 2147483647 h 336"/>
                <a:gd name="T24" fmla="*/ 2147483647 w 300"/>
                <a:gd name="T25" fmla="*/ 2147483647 h 336"/>
                <a:gd name="T26" fmla="*/ 2147483647 w 300"/>
                <a:gd name="T27" fmla="*/ 2147483647 h 336"/>
                <a:gd name="T28" fmla="*/ 2147483647 w 300"/>
                <a:gd name="T29" fmla="*/ 2147483647 h 336"/>
                <a:gd name="T30" fmla="*/ 2147483647 w 300"/>
                <a:gd name="T31" fmla="*/ 2147483647 h 336"/>
                <a:gd name="T32" fmla="*/ 2147483647 w 300"/>
                <a:gd name="T33" fmla="*/ 2147483647 h 336"/>
                <a:gd name="T34" fmla="*/ 2147483647 w 300"/>
                <a:gd name="T35" fmla="*/ 2147483647 h 336"/>
                <a:gd name="T36" fmla="*/ 2147483647 w 300"/>
                <a:gd name="T37" fmla="*/ 2147483647 h 336"/>
                <a:gd name="T38" fmla="*/ 2147483647 w 300"/>
                <a:gd name="T39" fmla="*/ 2147483647 h 336"/>
                <a:gd name="T40" fmla="*/ 2147483647 w 300"/>
                <a:gd name="T41" fmla="*/ 2147483647 h 336"/>
                <a:gd name="T42" fmla="*/ 2147483647 w 300"/>
                <a:gd name="T43" fmla="*/ 2147483647 h 336"/>
                <a:gd name="T44" fmla="*/ 2147483647 w 300"/>
                <a:gd name="T45" fmla="*/ 2147483647 h 336"/>
                <a:gd name="T46" fmla="*/ 2147483647 w 300"/>
                <a:gd name="T47" fmla="*/ 2147483647 h 336"/>
                <a:gd name="T48" fmla="*/ 2147483647 w 300"/>
                <a:gd name="T49" fmla="*/ 2147483647 h 336"/>
                <a:gd name="T50" fmla="*/ 2147483647 w 300"/>
                <a:gd name="T51" fmla="*/ 2147483647 h 336"/>
                <a:gd name="T52" fmla="*/ 2147483647 w 300"/>
                <a:gd name="T53" fmla="*/ 2147483647 h 336"/>
                <a:gd name="T54" fmla="*/ 2147483647 w 300"/>
                <a:gd name="T55" fmla="*/ 2147483647 h 336"/>
                <a:gd name="T56" fmla="*/ 2147483647 w 300"/>
                <a:gd name="T57" fmla="*/ 2147483647 h 336"/>
                <a:gd name="T58" fmla="*/ 0 w 300"/>
                <a:gd name="T59" fmla="*/ 2147483647 h 336"/>
                <a:gd name="T60" fmla="*/ 2147483647 w 300"/>
                <a:gd name="T61" fmla="*/ 2147483647 h 336"/>
                <a:gd name="T62" fmla="*/ 2147483647 w 300"/>
                <a:gd name="T63" fmla="*/ 2147483647 h 336"/>
                <a:gd name="T64" fmla="*/ 2147483647 w 300"/>
                <a:gd name="T65" fmla="*/ 2147483647 h 336"/>
                <a:gd name="T66" fmla="*/ 2147483647 w 300"/>
                <a:gd name="T67" fmla="*/ 2147483647 h 336"/>
                <a:gd name="T68" fmla="*/ 2147483647 w 300"/>
                <a:gd name="T69" fmla="*/ 2147483647 h 336"/>
                <a:gd name="T70" fmla="*/ 2147483647 w 300"/>
                <a:gd name="T71" fmla="*/ 2147483647 h 336"/>
                <a:gd name="T72" fmla="*/ 2147483647 w 300"/>
                <a:gd name="T73" fmla="*/ 2147483647 h 336"/>
                <a:gd name="T74" fmla="*/ 2147483647 w 300"/>
                <a:gd name="T75" fmla="*/ 2147483647 h 336"/>
                <a:gd name="T76" fmla="*/ 2147483647 w 300"/>
                <a:gd name="T77" fmla="*/ 2147483647 h 336"/>
                <a:gd name="T78" fmla="*/ 2147483647 w 300"/>
                <a:gd name="T79" fmla="*/ 2147483647 h 336"/>
                <a:gd name="T80" fmla="*/ 2147483647 w 300"/>
                <a:gd name="T81" fmla="*/ 2147483647 h 336"/>
                <a:gd name="T82" fmla="*/ 2147483647 w 300"/>
                <a:gd name="T83" fmla="*/ 2147483647 h 336"/>
                <a:gd name="T84" fmla="*/ 2147483647 w 300"/>
                <a:gd name="T85" fmla="*/ 2147483647 h 336"/>
                <a:gd name="T86" fmla="*/ 2147483647 w 300"/>
                <a:gd name="T87" fmla="*/ 2147483647 h 336"/>
                <a:gd name="T88" fmla="*/ 2147483647 w 300"/>
                <a:gd name="T89" fmla="*/ 2147483647 h 336"/>
                <a:gd name="T90" fmla="*/ 2147483647 w 300"/>
                <a:gd name="T91" fmla="*/ 2147483647 h 336"/>
                <a:gd name="T92" fmla="*/ 2147483647 w 300"/>
                <a:gd name="T93" fmla="*/ 2147483647 h 336"/>
                <a:gd name="T94" fmla="*/ 2147483647 w 300"/>
                <a:gd name="T95" fmla="*/ 2147483647 h 336"/>
                <a:gd name="T96" fmla="*/ 2147483647 w 300"/>
                <a:gd name="T97" fmla="*/ 2147483647 h 336"/>
                <a:gd name="T98" fmla="*/ 2147483647 w 300"/>
                <a:gd name="T99" fmla="*/ 2147483647 h 336"/>
                <a:gd name="T100" fmla="*/ 2147483647 w 300"/>
                <a:gd name="T101" fmla="*/ 2147483647 h 336"/>
                <a:gd name="T102" fmla="*/ 2147483647 w 300"/>
                <a:gd name="T103" fmla="*/ 2147483647 h 336"/>
                <a:gd name="T104" fmla="*/ 2147483647 w 300"/>
                <a:gd name="T105" fmla="*/ 2147483647 h 336"/>
                <a:gd name="T106" fmla="*/ 2147483647 w 300"/>
                <a:gd name="T107" fmla="*/ 2147483647 h 336"/>
                <a:gd name="T108" fmla="*/ 2147483647 w 300"/>
                <a:gd name="T109" fmla="*/ 2147483647 h 336"/>
                <a:gd name="T110" fmla="*/ 2147483647 w 300"/>
                <a:gd name="T111" fmla="*/ 2147483647 h 336"/>
                <a:gd name="T112" fmla="*/ 2147483647 w 300"/>
                <a:gd name="T113" fmla="*/ 2147483647 h 336"/>
                <a:gd name="T114" fmla="*/ 2147483647 w 300"/>
                <a:gd name="T115" fmla="*/ 2147483647 h 336"/>
                <a:gd name="T116" fmla="*/ 2147483647 w 300"/>
                <a:gd name="T117" fmla="*/ 2147483647 h 336"/>
                <a:gd name="T118" fmla="*/ 2147483647 w 300"/>
                <a:gd name="T119" fmla="*/ 2147483647 h 336"/>
                <a:gd name="T120" fmla="*/ 2147483647 w 300"/>
                <a:gd name="T121" fmla="*/ 2147483647 h 3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300"/>
                <a:gd name="T184" fmla="*/ 0 h 336"/>
                <a:gd name="T185" fmla="*/ 300 w 300"/>
                <a:gd name="T186" fmla="*/ 336 h 3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300" h="336">
                  <a:moveTo>
                    <a:pt x="288" y="156"/>
                  </a:moveTo>
                  <a:lnTo>
                    <a:pt x="270" y="168"/>
                  </a:lnTo>
                  <a:lnTo>
                    <a:pt x="258" y="162"/>
                  </a:lnTo>
                  <a:lnTo>
                    <a:pt x="228" y="162"/>
                  </a:lnTo>
                  <a:lnTo>
                    <a:pt x="252" y="6"/>
                  </a:lnTo>
                  <a:lnTo>
                    <a:pt x="120" y="0"/>
                  </a:lnTo>
                  <a:lnTo>
                    <a:pt x="120" y="12"/>
                  </a:lnTo>
                  <a:lnTo>
                    <a:pt x="126" y="24"/>
                  </a:lnTo>
                  <a:lnTo>
                    <a:pt x="126" y="48"/>
                  </a:lnTo>
                  <a:lnTo>
                    <a:pt x="120" y="48"/>
                  </a:lnTo>
                  <a:lnTo>
                    <a:pt x="108" y="54"/>
                  </a:lnTo>
                  <a:lnTo>
                    <a:pt x="84" y="54"/>
                  </a:lnTo>
                  <a:lnTo>
                    <a:pt x="96" y="60"/>
                  </a:lnTo>
                  <a:lnTo>
                    <a:pt x="96" y="66"/>
                  </a:lnTo>
                  <a:lnTo>
                    <a:pt x="102" y="78"/>
                  </a:lnTo>
                  <a:lnTo>
                    <a:pt x="108" y="84"/>
                  </a:lnTo>
                  <a:lnTo>
                    <a:pt x="114" y="84"/>
                  </a:lnTo>
                  <a:lnTo>
                    <a:pt x="126" y="90"/>
                  </a:lnTo>
                  <a:lnTo>
                    <a:pt x="132" y="90"/>
                  </a:lnTo>
                  <a:lnTo>
                    <a:pt x="138" y="114"/>
                  </a:lnTo>
                  <a:lnTo>
                    <a:pt x="156" y="114"/>
                  </a:lnTo>
                  <a:lnTo>
                    <a:pt x="156" y="126"/>
                  </a:lnTo>
                  <a:lnTo>
                    <a:pt x="150" y="132"/>
                  </a:lnTo>
                  <a:lnTo>
                    <a:pt x="144" y="132"/>
                  </a:lnTo>
                  <a:lnTo>
                    <a:pt x="144" y="150"/>
                  </a:lnTo>
                  <a:lnTo>
                    <a:pt x="54" y="144"/>
                  </a:lnTo>
                  <a:lnTo>
                    <a:pt x="24" y="192"/>
                  </a:lnTo>
                  <a:lnTo>
                    <a:pt x="24" y="264"/>
                  </a:lnTo>
                  <a:lnTo>
                    <a:pt x="18" y="270"/>
                  </a:lnTo>
                  <a:lnTo>
                    <a:pt x="0" y="270"/>
                  </a:lnTo>
                  <a:lnTo>
                    <a:pt x="6" y="282"/>
                  </a:lnTo>
                  <a:lnTo>
                    <a:pt x="12" y="288"/>
                  </a:lnTo>
                  <a:lnTo>
                    <a:pt x="24" y="288"/>
                  </a:lnTo>
                  <a:lnTo>
                    <a:pt x="42" y="300"/>
                  </a:lnTo>
                  <a:lnTo>
                    <a:pt x="60" y="318"/>
                  </a:lnTo>
                  <a:lnTo>
                    <a:pt x="72" y="324"/>
                  </a:lnTo>
                  <a:lnTo>
                    <a:pt x="120" y="324"/>
                  </a:lnTo>
                  <a:lnTo>
                    <a:pt x="126" y="330"/>
                  </a:lnTo>
                  <a:lnTo>
                    <a:pt x="132" y="330"/>
                  </a:lnTo>
                  <a:lnTo>
                    <a:pt x="138" y="336"/>
                  </a:lnTo>
                  <a:lnTo>
                    <a:pt x="150" y="324"/>
                  </a:lnTo>
                  <a:lnTo>
                    <a:pt x="162" y="318"/>
                  </a:lnTo>
                  <a:lnTo>
                    <a:pt x="168" y="312"/>
                  </a:lnTo>
                  <a:lnTo>
                    <a:pt x="174" y="312"/>
                  </a:lnTo>
                  <a:lnTo>
                    <a:pt x="180" y="300"/>
                  </a:lnTo>
                  <a:lnTo>
                    <a:pt x="186" y="294"/>
                  </a:lnTo>
                  <a:lnTo>
                    <a:pt x="186" y="282"/>
                  </a:lnTo>
                  <a:lnTo>
                    <a:pt x="204" y="282"/>
                  </a:lnTo>
                  <a:lnTo>
                    <a:pt x="210" y="276"/>
                  </a:lnTo>
                  <a:lnTo>
                    <a:pt x="222" y="270"/>
                  </a:lnTo>
                  <a:lnTo>
                    <a:pt x="222" y="264"/>
                  </a:lnTo>
                  <a:lnTo>
                    <a:pt x="228" y="252"/>
                  </a:lnTo>
                  <a:lnTo>
                    <a:pt x="228" y="234"/>
                  </a:lnTo>
                  <a:lnTo>
                    <a:pt x="234" y="222"/>
                  </a:lnTo>
                  <a:lnTo>
                    <a:pt x="246" y="216"/>
                  </a:lnTo>
                  <a:lnTo>
                    <a:pt x="258" y="204"/>
                  </a:lnTo>
                  <a:lnTo>
                    <a:pt x="270" y="198"/>
                  </a:lnTo>
                  <a:lnTo>
                    <a:pt x="282" y="186"/>
                  </a:lnTo>
                  <a:lnTo>
                    <a:pt x="294" y="180"/>
                  </a:lnTo>
                  <a:lnTo>
                    <a:pt x="300" y="168"/>
                  </a:lnTo>
                  <a:lnTo>
                    <a:pt x="288" y="156"/>
                  </a:lnTo>
                  <a:close/>
                </a:path>
              </a:pathLst>
            </a:custGeom>
            <a:grpFill/>
            <a:ln w="3175">
              <a:solidFill>
                <a:schemeClr val="bg1"/>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de-DE" sz="1800" b="0" i="0" u="none" strike="noStrike" kern="1200" cap="none" spc="0" normalizeH="0" baseline="0" noProof="0">
                <a:ln>
                  <a:noFill/>
                </a:ln>
                <a:solidFill>
                  <a:srgbClr val="FFC000"/>
                </a:solidFill>
                <a:effectLst/>
                <a:uLnTx/>
                <a:uFillTx/>
                <a:latin typeface="Calibri" pitchFamily="34" charset="0"/>
                <a:ea typeface="+mn-ea"/>
                <a:cs typeface="+mn-cs"/>
              </a:endParaRPr>
            </a:p>
          </p:txBody>
        </p:sp>
        <p:sp>
          <p:nvSpPr>
            <p:cNvPr id="131" name="Greenland" descr="© INSCALE GmbH, 05.05.2010&#10;http://www.presentationload.com/"/>
            <p:cNvSpPr>
              <a:spLocks noEditPoints="1"/>
            </p:cNvSpPr>
            <p:nvPr/>
          </p:nvSpPr>
          <p:spPr bwMode="gray">
            <a:xfrm>
              <a:off x="3475143" y="2351481"/>
              <a:ext cx="909966" cy="473994"/>
            </a:xfrm>
            <a:custGeom>
              <a:avLst/>
              <a:gdLst>
                <a:gd name="T0" fmla="*/ 2147483647 w 732"/>
                <a:gd name="T1" fmla="*/ 2147483647 h 398"/>
                <a:gd name="T2" fmla="*/ 2147483647 w 732"/>
                <a:gd name="T3" fmla="*/ 2147483647 h 398"/>
                <a:gd name="T4" fmla="*/ 2147483647 w 732"/>
                <a:gd name="T5" fmla="*/ 2147483647 h 398"/>
                <a:gd name="T6" fmla="*/ 2147483647 w 732"/>
                <a:gd name="T7" fmla="*/ 2147483647 h 398"/>
                <a:gd name="T8" fmla="*/ 2147483647 w 732"/>
                <a:gd name="T9" fmla="*/ 2147483647 h 398"/>
                <a:gd name="T10" fmla="*/ 2147483647 w 732"/>
                <a:gd name="T11" fmla="*/ 2147483647 h 398"/>
                <a:gd name="T12" fmla="*/ 2147483647 w 732"/>
                <a:gd name="T13" fmla="*/ 2147483647 h 398"/>
                <a:gd name="T14" fmla="*/ 2147483647 w 732"/>
                <a:gd name="T15" fmla="*/ 2147483647 h 398"/>
                <a:gd name="T16" fmla="*/ 2147483647 w 732"/>
                <a:gd name="T17" fmla="*/ 2147483647 h 398"/>
                <a:gd name="T18" fmla="*/ 2147483647 w 732"/>
                <a:gd name="T19" fmla="*/ 2147483647 h 398"/>
                <a:gd name="T20" fmla="*/ 2147483647 w 732"/>
                <a:gd name="T21" fmla="*/ 2147483647 h 398"/>
                <a:gd name="T22" fmla="*/ 2147483647 w 732"/>
                <a:gd name="T23" fmla="*/ 2147483647 h 398"/>
                <a:gd name="T24" fmla="*/ 2147483647 w 732"/>
                <a:gd name="T25" fmla="*/ 2147483647 h 398"/>
                <a:gd name="T26" fmla="*/ 2147483647 w 732"/>
                <a:gd name="T27" fmla="*/ 2147483647 h 398"/>
                <a:gd name="T28" fmla="*/ 2147483647 w 732"/>
                <a:gd name="T29" fmla="*/ 2147483647 h 398"/>
                <a:gd name="T30" fmla="*/ 2147483647 w 732"/>
                <a:gd name="T31" fmla="*/ 2147483647 h 398"/>
                <a:gd name="T32" fmla="*/ 2147483647 w 732"/>
                <a:gd name="T33" fmla="*/ 2147483647 h 398"/>
                <a:gd name="T34" fmla="*/ 2147483647 w 732"/>
                <a:gd name="T35" fmla="*/ 2147483647 h 398"/>
                <a:gd name="T36" fmla="*/ 2147483647 w 732"/>
                <a:gd name="T37" fmla="*/ 2147483647 h 398"/>
                <a:gd name="T38" fmla="*/ 2147483647 w 732"/>
                <a:gd name="T39" fmla="*/ 2147483647 h 398"/>
                <a:gd name="T40" fmla="*/ 2147483647 w 732"/>
                <a:gd name="T41" fmla="*/ 2147483647 h 398"/>
                <a:gd name="T42" fmla="*/ 2147483647 w 732"/>
                <a:gd name="T43" fmla="*/ 2147483647 h 398"/>
                <a:gd name="T44" fmla="*/ 2147483647 w 732"/>
                <a:gd name="T45" fmla="*/ 2147483647 h 398"/>
                <a:gd name="T46" fmla="*/ 2147483647 w 732"/>
                <a:gd name="T47" fmla="*/ 2147483647 h 398"/>
                <a:gd name="T48" fmla="*/ 2147483647 w 732"/>
                <a:gd name="T49" fmla="*/ 2147483647 h 398"/>
                <a:gd name="T50" fmla="*/ 2147483647 w 732"/>
                <a:gd name="T51" fmla="*/ 2147483647 h 398"/>
                <a:gd name="T52" fmla="*/ 2147483647 w 732"/>
                <a:gd name="T53" fmla="*/ 2147483647 h 398"/>
                <a:gd name="T54" fmla="*/ 2147483647 w 732"/>
                <a:gd name="T55" fmla="*/ 2147483647 h 398"/>
                <a:gd name="T56" fmla="*/ 2147483647 w 732"/>
                <a:gd name="T57" fmla="*/ 2147483647 h 398"/>
                <a:gd name="T58" fmla="*/ 2147483647 w 732"/>
                <a:gd name="T59" fmla="*/ 2147483647 h 398"/>
                <a:gd name="T60" fmla="*/ 2147483647 w 732"/>
                <a:gd name="T61" fmla="*/ 2147483647 h 398"/>
                <a:gd name="T62" fmla="*/ 2147483647 w 732"/>
                <a:gd name="T63" fmla="*/ 2147483647 h 398"/>
                <a:gd name="T64" fmla="*/ 2147483647 w 732"/>
                <a:gd name="T65" fmla="*/ 2147483647 h 398"/>
                <a:gd name="T66" fmla="*/ 2147483647 w 732"/>
                <a:gd name="T67" fmla="*/ 2147483647 h 398"/>
                <a:gd name="T68" fmla="*/ 2147483647 w 732"/>
                <a:gd name="T69" fmla="*/ 2147483647 h 398"/>
                <a:gd name="T70" fmla="*/ 2147483647 w 732"/>
                <a:gd name="T71" fmla="*/ 2147483647 h 398"/>
                <a:gd name="T72" fmla="*/ 2147483647 w 732"/>
                <a:gd name="T73" fmla="*/ 2147483647 h 398"/>
                <a:gd name="T74" fmla="*/ 2147483647 w 732"/>
                <a:gd name="T75" fmla="*/ 2147483647 h 398"/>
                <a:gd name="T76" fmla="*/ 2147483647 w 732"/>
                <a:gd name="T77" fmla="*/ 2147483647 h 398"/>
                <a:gd name="T78" fmla="*/ 2147483647 w 732"/>
                <a:gd name="T79" fmla="*/ 2147483647 h 398"/>
                <a:gd name="T80" fmla="*/ 2147483647 w 732"/>
                <a:gd name="T81" fmla="*/ 2147483647 h 398"/>
                <a:gd name="T82" fmla="*/ 2147483647 w 732"/>
                <a:gd name="T83" fmla="*/ 2147483647 h 398"/>
                <a:gd name="T84" fmla="*/ 2147483647 w 732"/>
                <a:gd name="T85" fmla="*/ 2147483647 h 398"/>
                <a:gd name="T86" fmla="*/ 2147483647 w 732"/>
                <a:gd name="T87" fmla="*/ 2147483647 h 398"/>
                <a:gd name="T88" fmla="*/ 2147483647 w 732"/>
                <a:gd name="T89" fmla="*/ 2147483647 h 398"/>
                <a:gd name="T90" fmla="*/ 2147483647 w 732"/>
                <a:gd name="T91" fmla="*/ 2147483647 h 398"/>
                <a:gd name="T92" fmla="*/ 2147483647 w 732"/>
                <a:gd name="T93" fmla="*/ 2147483647 h 398"/>
                <a:gd name="T94" fmla="*/ 2147483647 w 732"/>
                <a:gd name="T95" fmla="*/ 2147483647 h 398"/>
                <a:gd name="T96" fmla="*/ 2147483647 w 732"/>
                <a:gd name="T97" fmla="*/ 2147483647 h 398"/>
                <a:gd name="T98" fmla="*/ 2147483647 w 732"/>
                <a:gd name="T99" fmla="*/ 2147483647 h 398"/>
                <a:gd name="T100" fmla="*/ 2147483647 w 732"/>
                <a:gd name="T101" fmla="*/ 2147483647 h 398"/>
                <a:gd name="T102" fmla="*/ 2147483647 w 732"/>
                <a:gd name="T103" fmla="*/ 2147483647 h 398"/>
                <a:gd name="T104" fmla="*/ 2147483647 w 732"/>
                <a:gd name="T105" fmla="*/ 2147483647 h 398"/>
                <a:gd name="T106" fmla="*/ 2147483647 w 732"/>
                <a:gd name="T107" fmla="*/ 2147483647 h 398"/>
                <a:gd name="T108" fmla="*/ 2147483647 w 732"/>
                <a:gd name="T109" fmla="*/ 2147483647 h 398"/>
                <a:gd name="T110" fmla="*/ 2147483647 w 732"/>
                <a:gd name="T111" fmla="*/ 2147483647 h 398"/>
                <a:gd name="T112" fmla="*/ 2147483647 w 732"/>
                <a:gd name="T113" fmla="*/ 2147483647 h 398"/>
                <a:gd name="T114" fmla="*/ 2147483647 w 732"/>
                <a:gd name="T115" fmla="*/ 2147483647 h 398"/>
                <a:gd name="T116" fmla="*/ 2147483647 w 732"/>
                <a:gd name="T117" fmla="*/ 2147483647 h 398"/>
                <a:gd name="T118" fmla="*/ 2147483647 w 732"/>
                <a:gd name="T119" fmla="*/ 2147483647 h 398"/>
                <a:gd name="T120" fmla="*/ 2147483647 w 732"/>
                <a:gd name="T121" fmla="*/ 2147483647 h 398"/>
                <a:gd name="T122" fmla="*/ 2147483647 w 732"/>
                <a:gd name="T123" fmla="*/ 2147483647 h 39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732"/>
                <a:gd name="T187" fmla="*/ 0 h 398"/>
                <a:gd name="T188" fmla="*/ 732 w 732"/>
                <a:gd name="T189" fmla="*/ 398 h 398"/>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732" h="398">
                  <a:moveTo>
                    <a:pt x="730" y="24"/>
                  </a:moveTo>
                  <a:lnTo>
                    <a:pt x="728" y="24"/>
                  </a:lnTo>
                  <a:lnTo>
                    <a:pt x="723" y="24"/>
                  </a:lnTo>
                  <a:lnTo>
                    <a:pt x="718" y="22"/>
                  </a:lnTo>
                  <a:lnTo>
                    <a:pt x="678" y="22"/>
                  </a:lnTo>
                  <a:lnTo>
                    <a:pt x="678" y="24"/>
                  </a:lnTo>
                  <a:lnTo>
                    <a:pt x="670" y="26"/>
                  </a:lnTo>
                  <a:lnTo>
                    <a:pt x="659" y="26"/>
                  </a:lnTo>
                  <a:lnTo>
                    <a:pt x="651" y="24"/>
                  </a:lnTo>
                  <a:lnTo>
                    <a:pt x="637" y="24"/>
                  </a:lnTo>
                  <a:lnTo>
                    <a:pt x="623" y="29"/>
                  </a:lnTo>
                  <a:lnTo>
                    <a:pt x="616" y="34"/>
                  </a:lnTo>
                  <a:lnTo>
                    <a:pt x="611" y="34"/>
                  </a:lnTo>
                  <a:lnTo>
                    <a:pt x="606" y="34"/>
                  </a:lnTo>
                  <a:lnTo>
                    <a:pt x="604" y="36"/>
                  </a:lnTo>
                  <a:lnTo>
                    <a:pt x="602" y="36"/>
                  </a:lnTo>
                  <a:lnTo>
                    <a:pt x="597" y="38"/>
                  </a:lnTo>
                  <a:lnTo>
                    <a:pt x="592" y="38"/>
                  </a:lnTo>
                  <a:lnTo>
                    <a:pt x="599" y="34"/>
                  </a:lnTo>
                  <a:lnTo>
                    <a:pt x="609" y="31"/>
                  </a:lnTo>
                  <a:lnTo>
                    <a:pt x="621" y="26"/>
                  </a:lnTo>
                  <a:lnTo>
                    <a:pt x="623" y="24"/>
                  </a:lnTo>
                  <a:lnTo>
                    <a:pt x="618" y="19"/>
                  </a:lnTo>
                  <a:lnTo>
                    <a:pt x="606" y="19"/>
                  </a:lnTo>
                  <a:lnTo>
                    <a:pt x="604" y="22"/>
                  </a:lnTo>
                  <a:lnTo>
                    <a:pt x="602" y="22"/>
                  </a:lnTo>
                  <a:lnTo>
                    <a:pt x="597" y="24"/>
                  </a:lnTo>
                  <a:lnTo>
                    <a:pt x="594" y="24"/>
                  </a:lnTo>
                  <a:lnTo>
                    <a:pt x="566" y="26"/>
                  </a:lnTo>
                  <a:lnTo>
                    <a:pt x="566" y="29"/>
                  </a:lnTo>
                  <a:lnTo>
                    <a:pt x="563" y="29"/>
                  </a:lnTo>
                  <a:lnTo>
                    <a:pt x="566" y="26"/>
                  </a:lnTo>
                  <a:lnTo>
                    <a:pt x="568" y="26"/>
                  </a:lnTo>
                  <a:lnTo>
                    <a:pt x="573" y="26"/>
                  </a:lnTo>
                  <a:lnTo>
                    <a:pt x="578" y="24"/>
                  </a:lnTo>
                  <a:lnTo>
                    <a:pt x="580" y="24"/>
                  </a:lnTo>
                  <a:lnTo>
                    <a:pt x="582" y="24"/>
                  </a:lnTo>
                  <a:lnTo>
                    <a:pt x="585" y="22"/>
                  </a:lnTo>
                  <a:lnTo>
                    <a:pt x="578" y="19"/>
                  </a:lnTo>
                  <a:lnTo>
                    <a:pt x="552" y="19"/>
                  </a:lnTo>
                  <a:lnTo>
                    <a:pt x="542" y="22"/>
                  </a:lnTo>
                  <a:lnTo>
                    <a:pt x="525" y="19"/>
                  </a:lnTo>
                  <a:lnTo>
                    <a:pt x="523" y="19"/>
                  </a:lnTo>
                  <a:lnTo>
                    <a:pt x="523" y="22"/>
                  </a:lnTo>
                  <a:lnTo>
                    <a:pt x="518" y="22"/>
                  </a:lnTo>
                  <a:lnTo>
                    <a:pt x="514" y="24"/>
                  </a:lnTo>
                  <a:lnTo>
                    <a:pt x="511" y="24"/>
                  </a:lnTo>
                  <a:lnTo>
                    <a:pt x="509" y="24"/>
                  </a:lnTo>
                  <a:lnTo>
                    <a:pt x="506" y="24"/>
                  </a:lnTo>
                  <a:lnTo>
                    <a:pt x="509" y="22"/>
                  </a:lnTo>
                  <a:lnTo>
                    <a:pt x="518" y="19"/>
                  </a:lnTo>
                  <a:lnTo>
                    <a:pt x="530" y="19"/>
                  </a:lnTo>
                  <a:lnTo>
                    <a:pt x="563" y="19"/>
                  </a:lnTo>
                  <a:lnTo>
                    <a:pt x="580" y="17"/>
                  </a:lnTo>
                  <a:lnTo>
                    <a:pt x="625" y="17"/>
                  </a:lnTo>
                  <a:lnTo>
                    <a:pt x="632" y="14"/>
                  </a:lnTo>
                  <a:lnTo>
                    <a:pt x="628" y="12"/>
                  </a:lnTo>
                  <a:lnTo>
                    <a:pt x="618" y="10"/>
                  </a:lnTo>
                  <a:lnTo>
                    <a:pt x="592" y="10"/>
                  </a:lnTo>
                  <a:lnTo>
                    <a:pt x="594" y="10"/>
                  </a:lnTo>
                  <a:lnTo>
                    <a:pt x="597" y="7"/>
                  </a:lnTo>
                  <a:lnTo>
                    <a:pt x="594" y="5"/>
                  </a:lnTo>
                  <a:lnTo>
                    <a:pt x="585" y="5"/>
                  </a:lnTo>
                  <a:lnTo>
                    <a:pt x="582" y="7"/>
                  </a:lnTo>
                  <a:lnTo>
                    <a:pt x="568" y="7"/>
                  </a:lnTo>
                  <a:lnTo>
                    <a:pt x="566" y="5"/>
                  </a:lnTo>
                  <a:lnTo>
                    <a:pt x="571" y="5"/>
                  </a:lnTo>
                  <a:lnTo>
                    <a:pt x="573" y="5"/>
                  </a:lnTo>
                  <a:lnTo>
                    <a:pt x="578" y="5"/>
                  </a:lnTo>
                  <a:lnTo>
                    <a:pt x="578" y="2"/>
                  </a:lnTo>
                  <a:lnTo>
                    <a:pt x="575" y="2"/>
                  </a:lnTo>
                  <a:lnTo>
                    <a:pt x="571" y="0"/>
                  </a:lnTo>
                  <a:lnTo>
                    <a:pt x="537" y="0"/>
                  </a:lnTo>
                  <a:lnTo>
                    <a:pt x="528" y="2"/>
                  </a:lnTo>
                  <a:lnTo>
                    <a:pt x="518" y="2"/>
                  </a:lnTo>
                  <a:lnTo>
                    <a:pt x="509" y="0"/>
                  </a:lnTo>
                  <a:lnTo>
                    <a:pt x="483" y="0"/>
                  </a:lnTo>
                  <a:lnTo>
                    <a:pt x="478" y="2"/>
                  </a:lnTo>
                  <a:lnTo>
                    <a:pt x="454" y="2"/>
                  </a:lnTo>
                  <a:lnTo>
                    <a:pt x="452" y="0"/>
                  </a:lnTo>
                  <a:lnTo>
                    <a:pt x="447" y="0"/>
                  </a:lnTo>
                  <a:lnTo>
                    <a:pt x="445" y="2"/>
                  </a:lnTo>
                  <a:lnTo>
                    <a:pt x="442" y="2"/>
                  </a:lnTo>
                  <a:lnTo>
                    <a:pt x="442" y="5"/>
                  </a:lnTo>
                  <a:lnTo>
                    <a:pt x="445" y="5"/>
                  </a:lnTo>
                  <a:lnTo>
                    <a:pt x="447" y="5"/>
                  </a:lnTo>
                  <a:lnTo>
                    <a:pt x="442" y="7"/>
                  </a:lnTo>
                  <a:lnTo>
                    <a:pt x="428" y="7"/>
                  </a:lnTo>
                  <a:lnTo>
                    <a:pt x="409" y="5"/>
                  </a:lnTo>
                  <a:lnTo>
                    <a:pt x="378" y="5"/>
                  </a:lnTo>
                  <a:lnTo>
                    <a:pt x="373" y="5"/>
                  </a:lnTo>
                  <a:lnTo>
                    <a:pt x="371" y="5"/>
                  </a:lnTo>
                  <a:lnTo>
                    <a:pt x="368" y="7"/>
                  </a:lnTo>
                  <a:lnTo>
                    <a:pt x="366" y="7"/>
                  </a:lnTo>
                  <a:lnTo>
                    <a:pt x="366" y="10"/>
                  </a:lnTo>
                  <a:lnTo>
                    <a:pt x="368" y="10"/>
                  </a:lnTo>
                  <a:lnTo>
                    <a:pt x="378" y="10"/>
                  </a:lnTo>
                  <a:lnTo>
                    <a:pt x="387" y="10"/>
                  </a:lnTo>
                  <a:lnTo>
                    <a:pt x="399" y="12"/>
                  </a:lnTo>
                  <a:lnTo>
                    <a:pt x="404" y="12"/>
                  </a:lnTo>
                  <a:lnTo>
                    <a:pt x="426" y="14"/>
                  </a:lnTo>
                  <a:lnTo>
                    <a:pt x="399" y="14"/>
                  </a:lnTo>
                  <a:lnTo>
                    <a:pt x="395" y="14"/>
                  </a:lnTo>
                  <a:lnTo>
                    <a:pt x="392" y="14"/>
                  </a:lnTo>
                  <a:lnTo>
                    <a:pt x="387" y="12"/>
                  </a:lnTo>
                  <a:lnTo>
                    <a:pt x="378" y="12"/>
                  </a:lnTo>
                  <a:lnTo>
                    <a:pt x="380" y="14"/>
                  </a:lnTo>
                  <a:lnTo>
                    <a:pt x="383" y="14"/>
                  </a:lnTo>
                  <a:lnTo>
                    <a:pt x="385" y="14"/>
                  </a:lnTo>
                  <a:lnTo>
                    <a:pt x="376" y="14"/>
                  </a:lnTo>
                  <a:lnTo>
                    <a:pt x="373" y="17"/>
                  </a:lnTo>
                  <a:lnTo>
                    <a:pt x="373" y="19"/>
                  </a:lnTo>
                  <a:lnTo>
                    <a:pt x="371" y="22"/>
                  </a:lnTo>
                  <a:lnTo>
                    <a:pt x="371" y="24"/>
                  </a:lnTo>
                  <a:lnTo>
                    <a:pt x="368" y="24"/>
                  </a:lnTo>
                  <a:lnTo>
                    <a:pt x="366" y="24"/>
                  </a:lnTo>
                  <a:lnTo>
                    <a:pt x="364" y="24"/>
                  </a:lnTo>
                  <a:lnTo>
                    <a:pt x="359" y="24"/>
                  </a:lnTo>
                  <a:lnTo>
                    <a:pt x="357" y="22"/>
                  </a:lnTo>
                  <a:lnTo>
                    <a:pt x="345" y="19"/>
                  </a:lnTo>
                  <a:lnTo>
                    <a:pt x="330" y="14"/>
                  </a:lnTo>
                  <a:lnTo>
                    <a:pt x="309" y="14"/>
                  </a:lnTo>
                  <a:lnTo>
                    <a:pt x="309" y="24"/>
                  </a:lnTo>
                  <a:lnTo>
                    <a:pt x="297" y="24"/>
                  </a:lnTo>
                  <a:lnTo>
                    <a:pt x="292" y="22"/>
                  </a:lnTo>
                  <a:lnTo>
                    <a:pt x="288" y="22"/>
                  </a:lnTo>
                  <a:lnTo>
                    <a:pt x="285" y="19"/>
                  </a:lnTo>
                  <a:lnTo>
                    <a:pt x="278" y="19"/>
                  </a:lnTo>
                  <a:lnTo>
                    <a:pt x="273" y="22"/>
                  </a:lnTo>
                  <a:lnTo>
                    <a:pt x="273" y="24"/>
                  </a:lnTo>
                  <a:lnTo>
                    <a:pt x="269" y="24"/>
                  </a:lnTo>
                  <a:lnTo>
                    <a:pt x="271" y="19"/>
                  </a:lnTo>
                  <a:lnTo>
                    <a:pt x="269" y="17"/>
                  </a:lnTo>
                  <a:lnTo>
                    <a:pt x="238" y="17"/>
                  </a:lnTo>
                  <a:lnTo>
                    <a:pt x="228" y="19"/>
                  </a:lnTo>
                  <a:lnTo>
                    <a:pt x="209" y="19"/>
                  </a:lnTo>
                  <a:lnTo>
                    <a:pt x="214" y="22"/>
                  </a:lnTo>
                  <a:lnTo>
                    <a:pt x="223" y="26"/>
                  </a:lnTo>
                  <a:lnTo>
                    <a:pt x="226" y="29"/>
                  </a:lnTo>
                  <a:lnTo>
                    <a:pt x="223" y="29"/>
                  </a:lnTo>
                  <a:lnTo>
                    <a:pt x="223" y="26"/>
                  </a:lnTo>
                  <a:lnTo>
                    <a:pt x="214" y="24"/>
                  </a:lnTo>
                  <a:lnTo>
                    <a:pt x="207" y="24"/>
                  </a:lnTo>
                  <a:lnTo>
                    <a:pt x="202" y="22"/>
                  </a:lnTo>
                  <a:lnTo>
                    <a:pt x="197" y="22"/>
                  </a:lnTo>
                  <a:lnTo>
                    <a:pt x="192" y="19"/>
                  </a:lnTo>
                  <a:lnTo>
                    <a:pt x="190" y="19"/>
                  </a:lnTo>
                  <a:lnTo>
                    <a:pt x="188" y="22"/>
                  </a:lnTo>
                  <a:lnTo>
                    <a:pt x="185" y="24"/>
                  </a:lnTo>
                  <a:lnTo>
                    <a:pt x="183" y="26"/>
                  </a:lnTo>
                  <a:lnTo>
                    <a:pt x="178" y="29"/>
                  </a:lnTo>
                  <a:lnTo>
                    <a:pt x="176" y="29"/>
                  </a:lnTo>
                  <a:lnTo>
                    <a:pt x="171" y="31"/>
                  </a:lnTo>
                  <a:lnTo>
                    <a:pt x="150" y="31"/>
                  </a:lnTo>
                  <a:lnTo>
                    <a:pt x="143" y="34"/>
                  </a:lnTo>
                  <a:lnTo>
                    <a:pt x="133" y="36"/>
                  </a:lnTo>
                  <a:lnTo>
                    <a:pt x="124" y="38"/>
                  </a:lnTo>
                  <a:lnTo>
                    <a:pt x="119" y="38"/>
                  </a:lnTo>
                  <a:lnTo>
                    <a:pt x="102" y="41"/>
                  </a:lnTo>
                  <a:lnTo>
                    <a:pt x="97" y="43"/>
                  </a:lnTo>
                  <a:lnTo>
                    <a:pt x="100" y="46"/>
                  </a:lnTo>
                  <a:lnTo>
                    <a:pt x="105" y="48"/>
                  </a:lnTo>
                  <a:lnTo>
                    <a:pt x="126" y="48"/>
                  </a:lnTo>
                  <a:lnTo>
                    <a:pt x="116" y="50"/>
                  </a:lnTo>
                  <a:lnTo>
                    <a:pt x="112" y="55"/>
                  </a:lnTo>
                  <a:lnTo>
                    <a:pt x="109" y="55"/>
                  </a:lnTo>
                  <a:lnTo>
                    <a:pt x="93" y="60"/>
                  </a:lnTo>
                  <a:lnTo>
                    <a:pt x="88" y="60"/>
                  </a:lnTo>
                  <a:lnTo>
                    <a:pt x="66" y="60"/>
                  </a:lnTo>
                  <a:lnTo>
                    <a:pt x="57" y="62"/>
                  </a:lnTo>
                  <a:lnTo>
                    <a:pt x="47" y="65"/>
                  </a:lnTo>
                  <a:lnTo>
                    <a:pt x="45" y="67"/>
                  </a:lnTo>
                  <a:lnTo>
                    <a:pt x="40" y="67"/>
                  </a:lnTo>
                  <a:lnTo>
                    <a:pt x="38" y="65"/>
                  </a:lnTo>
                  <a:lnTo>
                    <a:pt x="31" y="70"/>
                  </a:lnTo>
                  <a:lnTo>
                    <a:pt x="9" y="70"/>
                  </a:lnTo>
                  <a:lnTo>
                    <a:pt x="7" y="70"/>
                  </a:lnTo>
                  <a:lnTo>
                    <a:pt x="2" y="70"/>
                  </a:lnTo>
                  <a:lnTo>
                    <a:pt x="0" y="74"/>
                  </a:lnTo>
                  <a:lnTo>
                    <a:pt x="2" y="74"/>
                  </a:lnTo>
                  <a:lnTo>
                    <a:pt x="9" y="79"/>
                  </a:lnTo>
                  <a:lnTo>
                    <a:pt x="12" y="82"/>
                  </a:lnTo>
                  <a:lnTo>
                    <a:pt x="14" y="84"/>
                  </a:lnTo>
                  <a:lnTo>
                    <a:pt x="24" y="79"/>
                  </a:lnTo>
                  <a:lnTo>
                    <a:pt x="24" y="84"/>
                  </a:lnTo>
                  <a:lnTo>
                    <a:pt x="28" y="86"/>
                  </a:lnTo>
                  <a:lnTo>
                    <a:pt x="33" y="86"/>
                  </a:lnTo>
                  <a:lnTo>
                    <a:pt x="36" y="84"/>
                  </a:lnTo>
                  <a:lnTo>
                    <a:pt x="38" y="84"/>
                  </a:lnTo>
                  <a:lnTo>
                    <a:pt x="40" y="82"/>
                  </a:lnTo>
                  <a:lnTo>
                    <a:pt x="40" y="84"/>
                  </a:lnTo>
                  <a:lnTo>
                    <a:pt x="43" y="86"/>
                  </a:lnTo>
                  <a:lnTo>
                    <a:pt x="45" y="86"/>
                  </a:lnTo>
                  <a:lnTo>
                    <a:pt x="47" y="84"/>
                  </a:lnTo>
                  <a:lnTo>
                    <a:pt x="52" y="84"/>
                  </a:lnTo>
                  <a:lnTo>
                    <a:pt x="57" y="84"/>
                  </a:lnTo>
                  <a:lnTo>
                    <a:pt x="59" y="82"/>
                  </a:lnTo>
                  <a:lnTo>
                    <a:pt x="64" y="82"/>
                  </a:lnTo>
                  <a:lnTo>
                    <a:pt x="64" y="84"/>
                  </a:lnTo>
                  <a:lnTo>
                    <a:pt x="64" y="86"/>
                  </a:lnTo>
                  <a:lnTo>
                    <a:pt x="62" y="86"/>
                  </a:lnTo>
                  <a:lnTo>
                    <a:pt x="57" y="91"/>
                  </a:lnTo>
                  <a:lnTo>
                    <a:pt x="55" y="91"/>
                  </a:lnTo>
                  <a:lnTo>
                    <a:pt x="52" y="89"/>
                  </a:lnTo>
                  <a:lnTo>
                    <a:pt x="40" y="89"/>
                  </a:lnTo>
                  <a:lnTo>
                    <a:pt x="36" y="91"/>
                  </a:lnTo>
                  <a:lnTo>
                    <a:pt x="33" y="91"/>
                  </a:lnTo>
                  <a:lnTo>
                    <a:pt x="21" y="89"/>
                  </a:lnTo>
                  <a:lnTo>
                    <a:pt x="19" y="89"/>
                  </a:lnTo>
                  <a:lnTo>
                    <a:pt x="14" y="86"/>
                  </a:lnTo>
                  <a:lnTo>
                    <a:pt x="7" y="86"/>
                  </a:lnTo>
                  <a:lnTo>
                    <a:pt x="2" y="89"/>
                  </a:lnTo>
                  <a:lnTo>
                    <a:pt x="2" y="93"/>
                  </a:lnTo>
                  <a:lnTo>
                    <a:pt x="2" y="96"/>
                  </a:lnTo>
                  <a:lnTo>
                    <a:pt x="7" y="98"/>
                  </a:lnTo>
                  <a:lnTo>
                    <a:pt x="19" y="98"/>
                  </a:lnTo>
                  <a:lnTo>
                    <a:pt x="17" y="101"/>
                  </a:lnTo>
                  <a:lnTo>
                    <a:pt x="14" y="101"/>
                  </a:lnTo>
                  <a:lnTo>
                    <a:pt x="9" y="101"/>
                  </a:lnTo>
                  <a:lnTo>
                    <a:pt x="12" y="103"/>
                  </a:lnTo>
                  <a:lnTo>
                    <a:pt x="19" y="105"/>
                  </a:lnTo>
                  <a:lnTo>
                    <a:pt x="21" y="105"/>
                  </a:lnTo>
                  <a:lnTo>
                    <a:pt x="24" y="108"/>
                  </a:lnTo>
                  <a:lnTo>
                    <a:pt x="33" y="108"/>
                  </a:lnTo>
                  <a:lnTo>
                    <a:pt x="33" y="105"/>
                  </a:lnTo>
                  <a:lnTo>
                    <a:pt x="36" y="105"/>
                  </a:lnTo>
                  <a:lnTo>
                    <a:pt x="38" y="105"/>
                  </a:lnTo>
                  <a:lnTo>
                    <a:pt x="43" y="108"/>
                  </a:lnTo>
                  <a:lnTo>
                    <a:pt x="52" y="105"/>
                  </a:lnTo>
                  <a:lnTo>
                    <a:pt x="52" y="108"/>
                  </a:lnTo>
                  <a:lnTo>
                    <a:pt x="57" y="108"/>
                  </a:lnTo>
                  <a:lnTo>
                    <a:pt x="62" y="105"/>
                  </a:lnTo>
                  <a:lnTo>
                    <a:pt x="64" y="105"/>
                  </a:lnTo>
                  <a:lnTo>
                    <a:pt x="69" y="103"/>
                  </a:lnTo>
                  <a:lnTo>
                    <a:pt x="76" y="105"/>
                  </a:lnTo>
                  <a:lnTo>
                    <a:pt x="81" y="105"/>
                  </a:lnTo>
                  <a:lnTo>
                    <a:pt x="83" y="105"/>
                  </a:lnTo>
                  <a:lnTo>
                    <a:pt x="85" y="103"/>
                  </a:lnTo>
                  <a:lnTo>
                    <a:pt x="88" y="103"/>
                  </a:lnTo>
                  <a:lnTo>
                    <a:pt x="93" y="105"/>
                  </a:lnTo>
                  <a:lnTo>
                    <a:pt x="97" y="105"/>
                  </a:lnTo>
                  <a:lnTo>
                    <a:pt x="112" y="105"/>
                  </a:lnTo>
                  <a:lnTo>
                    <a:pt x="121" y="110"/>
                  </a:lnTo>
                  <a:lnTo>
                    <a:pt x="124" y="110"/>
                  </a:lnTo>
                  <a:lnTo>
                    <a:pt x="128" y="115"/>
                  </a:lnTo>
                  <a:lnTo>
                    <a:pt x="135" y="115"/>
                  </a:lnTo>
                  <a:lnTo>
                    <a:pt x="133" y="117"/>
                  </a:lnTo>
                  <a:lnTo>
                    <a:pt x="133" y="120"/>
                  </a:lnTo>
                  <a:lnTo>
                    <a:pt x="133" y="125"/>
                  </a:lnTo>
                  <a:lnTo>
                    <a:pt x="138" y="125"/>
                  </a:lnTo>
                  <a:lnTo>
                    <a:pt x="140" y="125"/>
                  </a:lnTo>
                  <a:lnTo>
                    <a:pt x="145" y="127"/>
                  </a:lnTo>
                  <a:lnTo>
                    <a:pt x="147" y="129"/>
                  </a:lnTo>
                  <a:lnTo>
                    <a:pt x="143" y="134"/>
                  </a:lnTo>
                  <a:lnTo>
                    <a:pt x="145" y="141"/>
                  </a:lnTo>
                  <a:lnTo>
                    <a:pt x="152" y="144"/>
                  </a:lnTo>
                  <a:lnTo>
                    <a:pt x="145" y="149"/>
                  </a:lnTo>
                  <a:lnTo>
                    <a:pt x="150" y="151"/>
                  </a:lnTo>
                  <a:lnTo>
                    <a:pt x="147" y="151"/>
                  </a:lnTo>
                  <a:lnTo>
                    <a:pt x="145" y="153"/>
                  </a:lnTo>
                  <a:lnTo>
                    <a:pt x="145" y="156"/>
                  </a:lnTo>
                  <a:lnTo>
                    <a:pt x="150" y="161"/>
                  </a:lnTo>
                  <a:lnTo>
                    <a:pt x="152" y="161"/>
                  </a:lnTo>
                  <a:lnTo>
                    <a:pt x="152" y="163"/>
                  </a:lnTo>
                  <a:lnTo>
                    <a:pt x="147" y="165"/>
                  </a:lnTo>
                  <a:lnTo>
                    <a:pt x="145" y="168"/>
                  </a:lnTo>
                  <a:lnTo>
                    <a:pt x="143" y="168"/>
                  </a:lnTo>
                  <a:lnTo>
                    <a:pt x="147" y="170"/>
                  </a:lnTo>
                  <a:lnTo>
                    <a:pt x="143" y="170"/>
                  </a:lnTo>
                  <a:lnTo>
                    <a:pt x="140" y="170"/>
                  </a:lnTo>
                  <a:lnTo>
                    <a:pt x="138" y="170"/>
                  </a:lnTo>
                  <a:lnTo>
                    <a:pt x="133" y="173"/>
                  </a:lnTo>
                  <a:lnTo>
                    <a:pt x="131" y="173"/>
                  </a:lnTo>
                  <a:lnTo>
                    <a:pt x="131" y="175"/>
                  </a:lnTo>
                  <a:lnTo>
                    <a:pt x="143" y="175"/>
                  </a:lnTo>
                  <a:lnTo>
                    <a:pt x="138" y="180"/>
                  </a:lnTo>
                  <a:lnTo>
                    <a:pt x="126" y="180"/>
                  </a:lnTo>
                  <a:lnTo>
                    <a:pt x="124" y="180"/>
                  </a:lnTo>
                  <a:lnTo>
                    <a:pt x="124" y="182"/>
                  </a:lnTo>
                  <a:lnTo>
                    <a:pt x="133" y="189"/>
                  </a:lnTo>
                  <a:lnTo>
                    <a:pt x="138" y="189"/>
                  </a:lnTo>
                  <a:lnTo>
                    <a:pt x="145" y="184"/>
                  </a:lnTo>
                  <a:lnTo>
                    <a:pt x="147" y="184"/>
                  </a:lnTo>
                  <a:lnTo>
                    <a:pt x="152" y="184"/>
                  </a:lnTo>
                  <a:lnTo>
                    <a:pt x="154" y="182"/>
                  </a:lnTo>
                  <a:lnTo>
                    <a:pt x="157" y="182"/>
                  </a:lnTo>
                  <a:lnTo>
                    <a:pt x="157" y="180"/>
                  </a:lnTo>
                  <a:lnTo>
                    <a:pt x="157" y="175"/>
                  </a:lnTo>
                  <a:lnTo>
                    <a:pt x="159" y="173"/>
                  </a:lnTo>
                  <a:lnTo>
                    <a:pt x="159" y="180"/>
                  </a:lnTo>
                  <a:lnTo>
                    <a:pt x="166" y="175"/>
                  </a:lnTo>
                  <a:lnTo>
                    <a:pt x="164" y="177"/>
                  </a:lnTo>
                  <a:lnTo>
                    <a:pt x="164" y="180"/>
                  </a:lnTo>
                  <a:lnTo>
                    <a:pt x="166" y="180"/>
                  </a:lnTo>
                  <a:lnTo>
                    <a:pt x="169" y="182"/>
                  </a:lnTo>
                  <a:lnTo>
                    <a:pt x="176" y="182"/>
                  </a:lnTo>
                  <a:lnTo>
                    <a:pt x="171" y="187"/>
                  </a:lnTo>
                  <a:lnTo>
                    <a:pt x="171" y="189"/>
                  </a:lnTo>
                  <a:lnTo>
                    <a:pt x="173" y="192"/>
                  </a:lnTo>
                  <a:lnTo>
                    <a:pt x="176" y="194"/>
                  </a:lnTo>
                  <a:lnTo>
                    <a:pt x="178" y="196"/>
                  </a:lnTo>
                  <a:lnTo>
                    <a:pt x="181" y="199"/>
                  </a:lnTo>
                  <a:lnTo>
                    <a:pt x="178" y="201"/>
                  </a:lnTo>
                  <a:lnTo>
                    <a:pt x="173" y="201"/>
                  </a:lnTo>
                  <a:lnTo>
                    <a:pt x="173" y="204"/>
                  </a:lnTo>
                  <a:lnTo>
                    <a:pt x="166" y="204"/>
                  </a:lnTo>
                  <a:lnTo>
                    <a:pt x="164" y="201"/>
                  </a:lnTo>
                  <a:lnTo>
                    <a:pt x="162" y="201"/>
                  </a:lnTo>
                  <a:lnTo>
                    <a:pt x="159" y="201"/>
                  </a:lnTo>
                  <a:lnTo>
                    <a:pt x="157" y="199"/>
                  </a:lnTo>
                  <a:lnTo>
                    <a:pt x="143" y="199"/>
                  </a:lnTo>
                  <a:lnTo>
                    <a:pt x="140" y="196"/>
                  </a:lnTo>
                  <a:lnTo>
                    <a:pt x="138" y="194"/>
                  </a:lnTo>
                  <a:lnTo>
                    <a:pt x="131" y="194"/>
                  </a:lnTo>
                  <a:lnTo>
                    <a:pt x="128" y="199"/>
                  </a:lnTo>
                  <a:lnTo>
                    <a:pt x="128" y="201"/>
                  </a:lnTo>
                  <a:lnTo>
                    <a:pt x="133" y="201"/>
                  </a:lnTo>
                  <a:lnTo>
                    <a:pt x="133" y="204"/>
                  </a:lnTo>
                  <a:lnTo>
                    <a:pt x="140" y="204"/>
                  </a:lnTo>
                  <a:lnTo>
                    <a:pt x="143" y="206"/>
                  </a:lnTo>
                  <a:lnTo>
                    <a:pt x="145" y="206"/>
                  </a:lnTo>
                  <a:lnTo>
                    <a:pt x="147" y="206"/>
                  </a:lnTo>
                  <a:lnTo>
                    <a:pt x="152" y="211"/>
                  </a:lnTo>
                  <a:lnTo>
                    <a:pt x="162" y="211"/>
                  </a:lnTo>
                  <a:lnTo>
                    <a:pt x="164" y="211"/>
                  </a:lnTo>
                  <a:lnTo>
                    <a:pt x="166" y="211"/>
                  </a:lnTo>
                  <a:lnTo>
                    <a:pt x="173" y="213"/>
                  </a:lnTo>
                  <a:lnTo>
                    <a:pt x="178" y="208"/>
                  </a:lnTo>
                  <a:lnTo>
                    <a:pt x="178" y="216"/>
                  </a:lnTo>
                  <a:lnTo>
                    <a:pt x="176" y="213"/>
                  </a:lnTo>
                  <a:lnTo>
                    <a:pt x="173" y="213"/>
                  </a:lnTo>
                  <a:lnTo>
                    <a:pt x="171" y="213"/>
                  </a:lnTo>
                  <a:lnTo>
                    <a:pt x="171" y="216"/>
                  </a:lnTo>
                  <a:lnTo>
                    <a:pt x="173" y="220"/>
                  </a:lnTo>
                  <a:lnTo>
                    <a:pt x="169" y="220"/>
                  </a:lnTo>
                  <a:lnTo>
                    <a:pt x="166" y="220"/>
                  </a:lnTo>
                  <a:lnTo>
                    <a:pt x="164" y="220"/>
                  </a:lnTo>
                  <a:lnTo>
                    <a:pt x="164" y="223"/>
                  </a:lnTo>
                  <a:lnTo>
                    <a:pt x="164" y="225"/>
                  </a:lnTo>
                  <a:lnTo>
                    <a:pt x="173" y="225"/>
                  </a:lnTo>
                  <a:lnTo>
                    <a:pt x="171" y="225"/>
                  </a:lnTo>
                  <a:lnTo>
                    <a:pt x="171" y="228"/>
                  </a:lnTo>
                  <a:lnTo>
                    <a:pt x="169" y="230"/>
                  </a:lnTo>
                  <a:lnTo>
                    <a:pt x="162" y="225"/>
                  </a:lnTo>
                  <a:lnTo>
                    <a:pt x="159" y="225"/>
                  </a:lnTo>
                  <a:lnTo>
                    <a:pt x="159" y="228"/>
                  </a:lnTo>
                  <a:lnTo>
                    <a:pt x="159" y="230"/>
                  </a:lnTo>
                  <a:lnTo>
                    <a:pt x="162" y="232"/>
                  </a:lnTo>
                  <a:lnTo>
                    <a:pt x="157" y="232"/>
                  </a:lnTo>
                  <a:lnTo>
                    <a:pt x="157" y="237"/>
                  </a:lnTo>
                  <a:lnTo>
                    <a:pt x="154" y="237"/>
                  </a:lnTo>
                  <a:lnTo>
                    <a:pt x="152" y="240"/>
                  </a:lnTo>
                  <a:lnTo>
                    <a:pt x="152" y="242"/>
                  </a:lnTo>
                  <a:lnTo>
                    <a:pt x="157" y="247"/>
                  </a:lnTo>
                  <a:lnTo>
                    <a:pt x="159" y="247"/>
                  </a:lnTo>
                  <a:lnTo>
                    <a:pt x="159" y="252"/>
                  </a:lnTo>
                  <a:lnTo>
                    <a:pt x="157" y="252"/>
                  </a:lnTo>
                  <a:lnTo>
                    <a:pt x="154" y="252"/>
                  </a:lnTo>
                  <a:lnTo>
                    <a:pt x="152" y="249"/>
                  </a:lnTo>
                  <a:lnTo>
                    <a:pt x="150" y="244"/>
                  </a:lnTo>
                  <a:lnTo>
                    <a:pt x="147" y="242"/>
                  </a:lnTo>
                  <a:lnTo>
                    <a:pt x="147" y="240"/>
                  </a:lnTo>
                  <a:lnTo>
                    <a:pt x="145" y="237"/>
                  </a:lnTo>
                  <a:lnTo>
                    <a:pt x="143" y="235"/>
                  </a:lnTo>
                  <a:lnTo>
                    <a:pt x="140" y="235"/>
                  </a:lnTo>
                  <a:lnTo>
                    <a:pt x="135" y="235"/>
                  </a:lnTo>
                  <a:lnTo>
                    <a:pt x="133" y="235"/>
                  </a:lnTo>
                  <a:lnTo>
                    <a:pt x="128" y="240"/>
                  </a:lnTo>
                  <a:lnTo>
                    <a:pt x="128" y="242"/>
                  </a:lnTo>
                  <a:lnTo>
                    <a:pt x="133" y="244"/>
                  </a:lnTo>
                  <a:lnTo>
                    <a:pt x="138" y="244"/>
                  </a:lnTo>
                  <a:lnTo>
                    <a:pt x="140" y="247"/>
                  </a:lnTo>
                  <a:lnTo>
                    <a:pt x="135" y="249"/>
                  </a:lnTo>
                  <a:lnTo>
                    <a:pt x="131" y="249"/>
                  </a:lnTo>
                  <a:lnTo>
                    <a:pt x="128" y="247"/>
                  </a:lnTo>
                  <a:lnTo>
                    <a:pt x="121" y="247"/>
                  </a:lnTo>
                  <a:lnTo>
                    <a:pt x="119" y="249"/>
                  </a:lnTo>
                  <a:lnTo>
                    <a:pt x="116" y="249"/>
                  </a:lnTo>
                  <a:lnTo>
                    <a:pt x="114" y="249"/>
                  </a:lnTo>
                  <a:lnTo>
                    <a:pt x="112" y="252"/>
                  </a:lnTo>
                  <a:lnTo>
                    <a:pt x="109" y="252"/>
                  </a:lnTo>
                  <a:lnTo>
                    <a:pt x="121" y="252"/>
                  </a:lnTo>
                  <a:lnTo>
                    <a:pt x="126" y="252"/>
                  </a:lnTo>
                  <a:lnTo>
                    <a:pt x="140" y="252"/>
                  </a:lnTo>
                  <a:lnTo>
                    <a:pt x="143" y="252"/>
                  </a:lnTo>
                  <a:lnTo>
                    <a:pt x="131" y="252"/>
                  </a:lnTo>
                  <a:lnTo>
                    <a:pt x="112" y="256"/>
                  </a:lnTo>
                  <a:lnTo>
                    <a:pt x="107" y="256"/>
                  </a:lnTo>
                  <a:lnTo>
                    <a:pt x="105" y="259"/>
                  </a:lnTo>
                  <a:lnTo>
                    <a:pt x="107" y="259"/>
                  </a:lnTo>
                  <a:lnTo>
                    <a:pt x="107" y="261"/>
                  </a:lnTo>
                  <a:lnTo>
                    <a:pt x="114" y="261"/>
                  </a:lnTo>
                  <a:lnTo>
                    <a:pt x="119" y="259"/>
                  </a:lnTo>
                  <a:lnTo>
                    <a:pt x="124" y="259"/>
                  </a:lnTo>
                  <a:lnTo>
                    <a:pt x="128" y="256"/>
                  </a:lnTo>
                  <a:lnTo>
                    <a:pt x="138" y="256"/>
                  </a:lnTo>
                  <a:lnTo>
                    <a:pt x="140" y="259"/>
                  </a:lnTo>
                  <a:lnTo>
                    <a:pt x="138" y="261"/>
                  </a:lnTo>
                  <a:lnTo>
                    <a:pt x="114" y="261"/>
                  </a:lnTo>
                  <a:lnTo>
                    <a:pt x="112" y="261"/>
                  </a:lnTo>
                  <a:lnTo>
                    <a:pt x="102" y="261"/>
                  </a:lnTo>
                  <a:lnTo>
                    <a:pt x="102" y="264"/>
                  </a:lnTo>
                  <a:lnTo>
                    <a:pt x="107" y="264"/>
                  </a:lnTo>
                  <a:lnTo>
                    <a:pt x="107" y="266"/>
                  </a:lnTo>
                  <a:lnTo>
                    <a:pt x="112" y="266"/>
                  </a:lnTo>
                  <a:lnTo>
                    <a:pt x="114" y="266"/>
                  </a:lnTo>
                  <a:lnTo>
                    <a:pt x="109" y="266"/>
                  </a:lnTo>
                  <a:lnTo>
                    <a:pt x="107" y="268"/>
                  </a:lnTo>
                  <a:lnTo>
                    <a:pt x="107" y="271"/>
                  </a:lnTo>
                  <a:lnTo>
                    <a:pt x="105" y="273"/>
                  </a:lnTo>
                  <a:lnTo>
                    <a:pt x="102" y="273"/>
                  </a:lnTo>
                  <a:lnTo>
                    <a:pt x="100" y="275"/>
                  </a:lnTo>
                  <a:lnTo>
                    <a:pt x="97" y="275"/>
                  </a:lnTo>
                  <a:lnTo>
                    <a:pt x="107" y="278"/>
                  </a:lnTo>
                  <a:lnTo>
                    <a:pt x="97" y="280"/>
                  </a:lnTo>
                  <a:lnTo>
                    <a:pt x="97" y="283"/>
                  </a:lnTo>
                  <a:lnTo>
                    <a:pt x="100" y="285"/>
                  </a:lnTo>
                  <a:lnTo>
                    <a:pt x="105" y="285"/>
                  </a:lnTo>
                  <a:lnTo>
                    <a:pt x="107" y="285"/>
                  </a:lnTo>
                  <a:lnTo>
                    <a:pt x="114" y="285"/>
                  </a:lnTo>
                  <a:lnTo>
                    <a:pt x="112" y="285"/>
                  </a:lnTo>
                  <a:lnTo>
                    <a:pt x="109" y="285"/>
                  </a:lnTo>
                  <a:lnTo>
                    <a:pt x="107" y="287"/>
                  </a:lnTo>
                  <a:lnTo>
                    <a:pt x="102" y="290"/>
                  </a:lnTo>
                  <a:lnTo>
                    <a:pt x="102" y="292"/>
                  </a:lnTo>
                  <a:lnTo>
                    <a:pt x="105" y="295"/>
                  </a:lnTo>
                  <a:lnTo>
                    <a:pt x="107" y="295"/>
                  </a:lnTo>
                  <a:lnTo>
                    <a:pt x="109" y="292"/>
                  </a:lnTo>
                  <a:lnTo>
                    <a:pt x="114" y="290"/>
                  </a:lnTo>
                  <a:lnTo>
                    <a:pt x="112" y="295"/>
                  </a:lnTo>
                  <a:lnTo>
                    <a:pt x="109" y="295"/>
                  </a:lnTo>
                  <a:lnTo>
                    <a:pt x="107" y="299"/>
                  </a:lnTo>
                  <a:lnTo>
                    <a:pt x="107" y="304"/>
                  </a:lnTo>
                  <a:lnTo>
                    <a:pt x="109" y="304"/>
                  </a:lnTo>
                  <a:lnTo>
                    <a:pt x="109" y="302"/>
                  </a:lnTo>
                  <a:lnTo>
                    <a:pt x="114" y="302"/>
                  </a:lnTo>
                  <a:lnTo>
                    <a:pt x="109" y="307"/>
                  </a:lnTo>
                  <a:lnTo>
                    <a:pt x="107" y="307"/>
                  </a:lnTo>
                  <a:lnTo>
                    <a:pt x="105" y="309"/>
                  </a:lnTo>
                  <a:lnTo>
                    <a:pt x="102" y="311"/>
                  </a:lnTo>
                  <a:lnTo>
                    <a:pt x="102" y="316"/>
                  </a:lnTo>
                  <a:lnTo>
                    <a:pt x="105" y="316"/>
                  </a:lnTo>
                  <a:lnTo>
                    <a:pt x="107" y="314"/>
                  </a:lnTo>
                  <a:lnTo>
                    <a:pt x="114" y="307"/>
                  </a:lnTo>
                  <a:lnTo>
                    <a:pt x="124" y="307"/>
                  </a:lnTo>
                  <a:lnTo>
                    <a:pt x="126" y="304"/>
                  </a:lnTo>
                  <a:lnTo>
                    <a:pt x="128" y="304"/>
                  </a:lnTo>
                  <a:lnTo>
                    <a:pt x="128" y="307"/>
                  </a:lnTo>
                  <a:lnTo>
                    <a:pt x="133" y="304"/>
                  </a:lnTo>
                  <a:lnTo>
                    <a:pt x="128" y="311"/>
                  </a:lnTo>
                  <a:lnTo>
                    <a:pt x="135" y="311"/>
                  </a:lnTo>
                  <a:lnTo>
                    <a:pt x="128" y="311"/>
                  </a:lnTo>
                  <a:lnTo>
                    <a:pt x="124" y="314"/>
                  </a:lnTo>
                  <a:lnTo>
                    <a:pt x="124" y="316"/>
                  </a:lnTo>
                  <a:lnTo>
                    <a:pt x="119" y="316"/>
                  </a:lnTo>
                  <a:lnTo>
                    <a:pt x="116" y="316"/>
                  </a:lnTo>
                  <a:lnTo>
                    <a:pt x="114" y="319"/>
                  </a:lnTo>
                  <a:lnTo>
                    <a:pt x="114" y="321"/>
                  </a:lnTo>
                  <a:lnTo>
                    <a:pt x="112" y="321"/>
                  </a:lnTo>
                  <a:lnTo>
                    <a:pt x="107" y="323"/>
                  </a:lnTo>
                  <a:lnTo>
                    <a:pt x="105" y="326"/>
                  </a:lnTo>
                  <a:lnTo>
                    <a:pt x="109" y="326"/>
                  </a:lnTo>
                  <a:lnTo>
                    <a:pt x="107" y="326"/>
                  </a:lnTo>
                  <a:lnTo>
                    <a:pt x="107" y="328"/>
                  </a:lnTo>
                  <a:lnTo>
                    <a:pt x="107" y="331"/>
                  </a:lnTo>
                  <a:lnTo>
                    <a:pt x="109" y="331"/>
                  </a:lnTo>
                  <a:lnTo>
                    <a:pt x="107" y="333"/>
                  </a:lnTo>
                  <a:lnTo>
                    <a:pt x="107" y="335"/>
                  </a:lnTo>
                  <a:lnTo>
                    <a:pt x="116" y="335"/>
                  </a:lnTo>
                  <a:lnTo>
                    <a:pt x="112" y="343"/>
                  </a:lnTo>
                  <a:lnTo>
                    <a:pt x="116" y="340"/>
                  </a:lnTo>
                  <a:lnTo>
                    <a:pt x="119" y="340"/>
                  </a:lnTo>
                  <a:lnTo>
                    <a:pt x="116" y="340"/>
                  </a:lnTo>
                  <a:lnTo>
                    <a:pt x="114" y="343"/>
                  </a:lnTo>
                  <a:lnTo>
                    <a:pt x="114" y="345"/>
                  </a:lnTo>
                  <a:lnTo>
                    <a:pt x="112" y="347"/>
                  </a:lnTo>
                  <a:lnTo>
                    <a:pt x="112" y="352"/>
                  </a:lnTo>
                  <a:lnTo>
                    <a:pt x="114" y="352"/>
                  </a:lnTo>
                  <a:lnTo>
                    <a:pt x="121" y="352"/>
                  </a:lnTo>
                  <a:lnTo>
                    <a:pt x="116" y="359"/>
                  </a:lnTo>
                  <a:lnTo>
                    <a:pt x="126" y="357"/>
                  </a:lnTo>
                  <a:lnTo>
                    <a:pt x="121" y="362"/>
                  </a:lnTo>
                  <a:lnTo>
                    <a:pt x="124" y="366"/>
                  </a:lnTo>
                  <a:lnTo>
                    <a:pt x="128" y="366"/>
                  </a:lnTo>
                  <a:lnTo>
                    <a:pt x="126" y="366"/>
                  </a:lnTo>
                  <a:lnTo>
                    <a:pt x="126" y="369"/>
                  </a:lnTo>
                  <a:lnTo>
                    <a:pt x="128" y="371"/>
                  </a:lnTo>
                  <a:lnTo>
                    <a:pt x="133" y="371"/>
                  </a:lnTo>
                  <a:lnTo>
                    <a:pt x="128" y="376"/>
                  </a:lnTo>
                  <a:lnTo>
                    <a:pt x="135" y="376"/>
                  </a:lnTo>
                  <a:lnTo>
                    <a:pt x="133" y="381"/>
                  </a:lnTo>
                  <a:lnTo>
                    <a:pt x="145" y="378"/>
                  </a:lnTo>
                  <a:lnTo>
                    <a:pt x="147" y="381"/>
                  </a:lnTo>
                  <a:lnTo>
                    <a:pt x="150" y="381"/>
                  </a:lnTo>
                  <a:lnTo>
                    <a:pt x="152" y="378"/>
                  </a:lnTo>
                  <a:lnTo>
                    <a:pt x="162" y="374"/>
                  </a:lnTo>
                  <a:lnTo>
                    <a:pt x="164" y="371"/>
                  </a:lnTo>
                  <a:lnTo>
                    <a:pt x="164" y="374"/>
                  </a:lnTo>
                  <a:lnTo>
                    <a:pt x="162" y="376"/>
                  </a:lnTo>
                  <a:lnTo>
                    <a:pt x="169" y="378"/>
                  </a:lnTo>
                  <a:lnTo>
                    <a:pt x="171" y="376"/>
                  </a:lnTo>
                  <a:lnTo>
                    <a:pt x="173" y="376"/>
                  </a:lnTo>
                  <a:lnTo>
                    <a:pt x="169" y="378"/>
                  </a:lnTo>
                  <a:lnTo>
                    <a:pt x="164" y="381"/>
                  </a:lnTo>
                  <a:lnTo>
                    <a:pt x="162" y="383"/>
                  </a:lnTo>
                  <a:lnTo>
                    <a:pt x="162" y="386"/>
                  </a:lnTo>
                  <a:lnTo>
                    <a:pt x="169" y="386"/>
                  </a:lnTo>
                  <a:lnTo>
                    <a:pt x="173" y="386"/>
                  </a:lnTo>
                  <a:lnTo>
                    <a:pt x="176" y="386"/>
                  </a:lnTo>
                  <a:lnTo>
                    <a:pt x="173" y="386"/>
                  </a:lnTo>
                  <a:lnTo>
                    <a:pt x="171" y="388"/>
                  </a:lnTo>
                  <a:lnTo>
                    <a:pt x="169" y="390"/>
                  </a:lnTo>
                  <a:lnTo>
                    <a:pt x="169" y="393"/>
                  </a:lnTo>
                  <a:lnTo>
                    <a:pt x="169" y="395"/>
                  </a:lnTo>
                  <a:lnTo>
                    <a:pt x="176" y="395"/>
                  </a:lnTo>
                  <a:lnTo>
                    <a:pt x="178" y="393"/>
                  </a:lnTo>
                  <a:lnTo>
                    <a:pt x="178" y="395"/>
                  </a:lnTo>
                  <a:lnTo>
                    <a:pt x="183" y="398"/>
                  </a:lnTo>
                  <a:lnTo>
                    <a:pt x="188" y="398"/>
                  </a:lnTo>
                  <a:lnTo>
                    <a:pt x="192" y="395"/>
                  </a:lnTo>
                  <a:lnTo>
                    <a:pt x="195" y="393"/>
                  </a:lnTo>
                  <a:lnTo>
                    <a:pt x="192" y="390"/>
                  </a:lnTo>
                  <a:lnTo>
                    <a:pt x="192" y="388"/>
                  </a:lnTo>
                  <a:lnTo>
                    <a:pt x="197" y="388"/>
                  </a:lnTo>
                  <a:lnTo>
                    <a:pt x="200" y="386"/>
                  </a:lnTo>
                  <a:lnTo>
                    <a:pt x="200" y="378"/>
                  </a:lnTo>
                  <a:lnTo>
                    <a:pt x="202" y="381"/>
                  </a:lnTo>
                  <a:lnTo>
                    <a:pt x="207" y="381"/>
                  </a:lnTo>
                  <a:lnTo>
                    <a:pt x="207" y="376"/>
                  </a:lnTo>
                  <a:lnTo>
                    <a:pt x="207" y="374"/>
                  </a:lnTo>
                  <a:lnTo>
                    <a:pt x="207" y="371"/>
                  </a:lnTo>
                  <a:lnTo>
                    <a:pt x="207" y="374"/>
                  </a:lnTo>
                  <a:lnTo>
                    <a:pt x="209" y="376"/>
                  </a:lnTo>
                  <a:lnTo>
                    <a:pt x="212" y="376"/>
                  </a:lnTo>
                  <a:lnTo>
                    <a:pt x="214" y="374"/>
                  </a:lnTo>
                  <a:lnTo>
                    <a:pt x="214" y="371"/>
                  </a:lnTo>
                  <a:lnTo>
                    <a:pt x="209" y="366"/>
                  </a:lnTo>
                  <a:lnTo>
                    <a:pt x="216" y="366"/>
                  </a:lnTo>
                  <a:lnTo>
                    <a:pt x="216" y="364"/>
                  </a:lnTo>
                  <a:lnTo>
                    <a:pt x="214" y="362"/>
                  </a:lnTo>
                  <a:lnTo>
                    <a:pt x="223" y="362"/>
                  </a:lnTo>
                  <a:lnTo>
                    <a:pt x="219" y="357"/>
                  </a:lnTo>
                  <a:lnTo>
                    <a:pt x="223" y="355"/>
                  </a:lnTo>
                  <a:lnTo>
                    <a:pt x="219" y="352"/>
                  </a:lnTo>
                  <a:lnTo>
                    <a:pt x="216" y="350"/>
                  </a:lnTo>
                  <a:lnTo>
                    <a:pt x="219" y="350"/>
                  </a:lnTo>
                  <a:lnTo>
                    <a:pt x="221" y="350"/>
                  </a:lnTo>
                  <a:lnTo>
                    <a:pt x="216" y="343"/>
                  </a:lnTo>
                  <a:lnTo>
                    <a:pt x="221" y="347"/>
                  </a:lnTo>
                  <a:lnTo>
                    <a:pt x="223" y="347"/>
                  </a:lnTo>
                  <a:lnTo>
                    <a:pt x="228" y="343"/>
                  </a:lnTo>
                  <a:lnTo>
                    <a:pt x="235" y="343"/>
                  </a:lnTo>
                  <a:lnTo>
                    <a:pt x="235" y="340"/>
                  </a:lnTo>
                  <a:lnTo>
                    <a:pt x="233" y="338"/>
                  </a:lnTo>
                  <a:lnTo>
                    <a:pt x="238" y="338"/>
                  </a:lnTo>
                  <a:lnTo>
                    <a:pt x="242" y="331"/>
                  </a:lnTo>
                  <a:lnTo>
                    <a:pt x="245" y="331"/>
                  </a:lnTo>
                  <a:lnTo>
                    <a:pt x="252" y="331"/>
                  </a:lnTo>
                  <a:lnTo>
                    <a:pt x="252" y="326"/>
                  </a:lnTo>
                  <a:lnTo>
                    <a:pt x="257" y="331"/>
                  </a:lnTo>
                  <a:lnTo>
                    <a:pt x="259" y="326"/>
                  </a:lnTo>
                  <a:lnTo>
                    <a:pt x="259" y="319"/>
                  </a:lnTo>
                  <a:lnTo>
                    <a:pt x="252" y="316"/>
                  </a:lnTo>
                  <a:lnTo>
                    <a:pt x="257" y="316"/>
                  </a:lnTo>
                  <a:lnTo>
                    <a:pt x="264" y="311"/>
                  </a:lnTo>
                  <a:lnTo>
                    <a:pt x="266" y="307"/>
                  </a:lnTo>
                  <a:lnTo>
                    <a:pt x="259" y="304"/>
                  </a:lnTo>
                  <a:lnTo>
                    <a:pt x="264" y="299"/>
                  </a:lnTo>
                  <a:lnTo>
                    <a:pt x="278" y="299"/>
                  </a:lnTo>
                  <a:lnTo>
                    <a:pt x="280" y="297"/>
                  </a:lnTo>
                  <a:lnTo>
                    <a:pt x="280" y="292"/>
                  </a:lnTo>
                  <a:lnTo>
                    <a:pt x="288" y="290"/>
                  </a:lnTo>
                  <a:lnTo>
                    <a:pt x="292" y="290"/>
                  </a:lnTo>
                  <a:lnTo>
                    <a:pt x="295" y="292"/>
                  </a:lnTo>
                  <a:lnTo>
                    <a:pt x="302" y="292"/>
                  </a:lnTo>
                  <a:lnTo>
                    <a:pt x="311" y="283"/>
                  </a:lnTo>
                  <a:lnTo>
                    <a:pt x="311" y="280"/>
                  </a:lnTo>
                  <a:lnTo>
                    <a:pt x="314" y="280"/>
                  </a:lnTo>
                  <a:lnTo>
                    <a:pt x="316" y="278"/>
                  </a:lnTo>
                  <a:lnTo>
                    <a:pt x="319" y="278"/>
                  </a:lnTo>
                  <a:lnTo>
                    <a:pt x="319" y="280"/>
                  </a:lnTo>
                  <a:lnTo>
                    <a:pt x="316" y="283"/>
                  </a:lnTo>
                  <a:lnTo>
                    <a:pt x="314" y="285"/>
                  </a:lnTo>
                  <a:lnTo>
                    <a:pt x="311" y="290"/>
                  </a:lnTo>
                  <a:lnTo>
                    <a:pt x="319" y="290"/>
                  </a:lnTo>
                  <a:lnTo>
                    <a:pt x="319" y="285"/>
                  </a:lnTo>
                  <a:lnTo>
                    <a:pt x="323" y="285"/>
                  </a:lnTo>
                  <a:lnTo>
                    <a:pt x="326" y="283"/>
                  </a:lnTo>
                  <a:lnTo>
                    <a:pt x="328" y="283"/>
                  </a:lnTo>
                  <a:lnTo>
                    <a:pt x="328" y="285"/>
                  </a:lnTo>
                  <a:lnTo>
                    <a:pt x="333" y="285"/>
                  </a:lnTo>
                  <a:lnTo>
                    <a:pt x="335" y="285"/>
                  </a:lnTo>
                  <a:lnTo>
                    <a:pt x="342" y="283"/>
                  </a:lnTo>
                  <a:lnTo>
                    <a:pt x="347" y="278"/>
                  </a:lnTo>
                  <a:lnTo>
                    <a:pt x="349" y="275"/>
                  </a:lnTo>
                  <a:lnTo>
                    <a:pt x="359" y="275"/>
                  </a:lnTo>
                  <a:lnTo>
                    <a:pt x="366" y="275"/>
                  </a:lnTo>
                  <a:lnTo>
                    <a:pt x="371" y="271"/>
                  </a:lnTo>
                  <a:lnTo>
                    <a:pt x="373" y="268"/>
                  </a:lnTo>
                  <a:lnTo>
                    <a:pt x="376" y="266"/>
                  </a:lnTo>
                  <a:lnTo>
                    <a:pt x="383" y="259"/>
                  </a:lnTo>
                  <a:lnTo>
                    <a:pt x="385" y="256"/>
                  </a:lnTo>
                  <a:lnTo>
                    <a:pt x="390" y="254"/>
                  </a:lnTo>
                  <a:lnTo>
                    <a:pt x="399" y="252"/>
                  </a:lnTo>
                  <a:lnTo>
                    <a:pt x="402" y="252"/>
                  </a:lnTo>
                  <a:lnTo>
                    <a:pt x="404" y="249"/>
                  </a:lnTo>
                  <a:lnTo>
                    <a:pt x="407" y="249"/>
                  </a:lnTo>
                  <a:lnTo>
                    <a:pt x="407" y="247"/>
                  </a:lnTo>
                  <a:lnTo>
                    <a:pt x="407" y="244"/>
                  </a:lnTo>
                  <a:lnTo>
                    <a:pt x="407" y="240"/>
                  </a:lnTo>
                  <a:lnTo>
                    <a:pt x="407" y="235"/>
                  </a:lnTo>
                  <a:lnTo>
                    <a:pt x="414" y="242"/>
                  </a:lnTo>
                  <a:lnTo>
                    <a:pt x="416" y="244"/>
                  </a:lnTo>
                  <a:lnTo>
                    <a:pt x="418" y="244"/>
                  </a:lnTo>
                  <a:lnTo>
                    <a:pt x="437" y="244"/>
                  </a:lnTo>
                  <a:lnTo>
                    <a:pt x="447" y="242"/>
                  </a:lnTo>
                  <a:lnTo>
                    <a:pt x="454" y="240"/>
                  </a:lnTo>
                  <a:lnTo>
                    <a:pt x="459" y="240"/>
                  </a:lnTo>
                  <a:lnTo>
                    <a:pt x="468" y="237"/>
                  </a:lnTo>
                  <a:lnTo>
                    <a:pt x="480" y="235"/>
                  </a:lnTo>
                  <a:lnTo>
                    <a:pt x="487" y="235"/>
                  </a:lnTo>
                  <a:lnTo>
                    <a:pt x="492" y="230"/>
                  </a:lnTo>
                  <a:lnTo>
                    <a:pt x="499" y="230"/>
                  </a:lnTo>
                  <a:lnTo>
                    <a:pt x="502" y="228"/>
                  </a:lnTo>
                  <a:lnTo>
                    <a:pt x="509" y="228"/>
                  </a:lnTo>
                  <a:lnTo>
                    <a:pt x="516" y="220"/>
                  </a:lnTo>
                  <a:lnTo>
                    <a:pt x="518" y="220"/>
                  </a:lnTo>
                  <a:lnTo>
                    <a:pt x="518" y="218"/>
                  </a:lnTo>
                  <a:lnTo>
                    <a:pt x="523" y="218"/>
                  </a:lnTo>
                  <a:lnTo>
                    <a:pt x="525" y="216"/>
                  </a:lnTo>
                  <a:lnTo>
                    <a:pt x="528" y="216"/>
                  </a:lnTo>
                  <a:lnTo>
                    <a:pt x="542" y="213"/>
                  </a:lnTo>
                  <a:lnTo>
                    <a:pt x="552" y="211"/>
                  </a:lnTo>
                  <a:lnTo>
                    <a:pt x="552" y="206"/>
                  </a:lnTo>
                  <a:lnTo>
                    <a:pt x="549" y="206"/>
                  </a:lnTo>
                  <a:lnTo>
                    <a:pt x="547" y="208"/>
                  </a:lnTo>
                  <a:lnTo>
                    <a:pt x="537" y="208"/>
                  </a:lnTo>
                  <a:lnTo>
                    <a:pt x="530" y="206"/>
                  </a:lnTo>
                  <a:lnTo>
                    <a:pt x="525" y="206"/>
                  </a:lnTo>
                  <a:lnTo>
                    <a:pt x="521" y="204"/>
                  </a:lnTo>
                  <a:lnTo>
                    <a:pt x="509" y="204"/>
                  </a:lnTo>
                  <a:lnTo>
                    <a:pt x="499" y="206"/>
                  </a:lnTo>
                  <a:lnTo>
                    <a:pt x="490" y="206"/>
                  </a:lnTo>
                  <a:lnTo>
                    <a:pt x="487" y="211"/>
                  </a:lnTo>
                  <a:lnTo>
                    <a:pt x="471" y="211"/>
                  </a:lnTo>
                  <a:lnTo>
                    <a:pt x="485" y="206"/>
                  </a:lnTo>
                  <a:lnTo>
                    <a:pt x="494" y="204"/>
                  </a:lnTo>
                  <a:lnTo>
                    <a:pt x="499" y="204"/>
                  </a:lnTo>
                  <a:lnTo>
                    <a:pt x="502" y="201"/>
                  </a:lnTo>
                  <a:lnTo>
                    <a:pt x="506" y="201"/>
                  </a:lnTo>
                  <a:lnTo>
                    <a:pt x="511" y="199"/>
                  </a:lnTo>
                  <a:lnTo>
                    <a:pt x="514" y="199"/>
                  </a:lnTo>
                  <a:lnTo>
                    <a:pt x="516" y="199"/>
                  </a:lnTo>
                  <a:lnTo>
                    <a:pt x="514" y="196"/>
                  </a:lnTo>
                  <a:lnTo>
                    <a:pt x="509" y="194"/>
                  </a:lnTo>
                  <a:lnTo>
                    <a:pt x="506" y="194"/>
                  </a:lnTo>
                  <a:lnTo>
                    <a:pt x="504" y="194"/>
                  </a:lnTo>
                  <a:lnTo>
                    <a:pt x="497" y="196"/>
                  </a:lnTo>
                  <a:lnTo>
                    <a:pt x="483" y="201"/>
                  </a:lnTo>
                  <a:lnTo>
                    <a:pt x="468" y="201"/>
                  </a:lnTo>
                  <a:lnTo>
                    <a:pt x="478" y="196"/>
                  </a:lnTo>
                  <a:lnTo>
                    <a:pt x="485" y="192"/>
                  </a:lnTo>
                  <a:lnTo>
                    <a:pt x="487" y="192"/>
                  </a:lnTo>
                  <a:lnTo>
                    <a:pt x="492" y="194"/>
                  </a:lnTo>
                  <a:lnTo>
                    <a:pt x="497" y="194"/>
                  </a:lnTo>
                  <a:lnTo>
                    <a:pt x="499" y="192"/>
                  </a:lnTo>
                  <a:lnTo>
                    <a:pt x="504" y="192"/>
                  </a:lnTo>
                  <a:lnTo>
                    <a:pt x="506" y="189"/>
                  </a:lnTo>
                  <a:lnTo>
                    <a:pt x="516" y="189"/>
                  </a:lnTo>
                  <a:lnTo>
                    <a:pt x="518" y="189"/>
                  </a:lnTo>
                  <a:lnTo>
                    <a:pt x="516" y="187"/>
                  </a:lnTo>
                  <a:lnTo>
                    <a:pt x="514" y="187"/>
                  </a:lnTo>
                  <a:lnTo>
                    <a:pt x="509" y="184"/>
                  </a:lnTo>
                  <a:lnTo>
                    <a:pt x="485" y="184"/>
                  </a:lnTo>
                  <a:lnTo>
                    <a:pt x="492" y="182"/>
                  </a:lnTo>
                  <a:lnTo>
                    <a:pt x="485" y="180"/>
                  </a:lnTo>
                  <a:lnTo>
                    <a:pt x="485" y="175"/>
                  </a:lnTo>
                  <a:lnTo>
                    <a:pt x="487" y="175"/>
                  </a:lnTo>
                  <a:lnTo>
                    <a:pt x="490" y="177"/>
                  </a:lnTo>
                  <a:lnTo>
                    <a:pt x="492" y="180"/>
                  </a:lnTo>
                  <a:lnTo>
                    <a:pt x="497" y="182"/>
                  </a:lnTo>
                  <a:lnTo>
                    <a:pt x="504" y="182"/>
                  </a:lnTo>
                  <a:lnTo>
                    <a:pt x="506" y="184"/>
                  </a:lnTo>
                  <a:lnTo>
                    <a:pt x="509" y="184"/>
                  </a:lnTo>
                  <a:lnTo>
                    <a:pt x="514" y="184"/>
                  </a:lnTo>
                  <a:lnTo>
                    <a:pt x="518" y="184"/>
                  </a:lnTo>
                  <a:lnTo>
                    <a:pt x="518" y="187"/>
                  </a:lnTo>
                  <a:lnTo>
                    <a:pt x="523" y="187"/>
                  </a:lnTo>
                  <a:lnTo>
                    <a:pt x="523" y="184"/>
                  </a:lnTo>
                  <a:lnTo>
                    <a:pt x="528" y="184"/>
                  </a:lnTo>
                  <a:lnTo>
                    <a:pt x="528" y="187"/>
                  </a:lnTo>
                  <a:lnTo>
                    <a:pt x="528" y="189"/>
                  </a:lnTo>
                  <a:lnTo>
                    <a:pt x="528" y="192"/>
                  </a:lnTo>
                  <a:lnTo>
                    <a:pt x="528" y="196"/>
                  </a:lnTo>
                  <a:lnTo>
                    <a:pt x="528" y="199"/>
                  </a:lnTo>
                  <a:lnTo>
                    <a:pt x="533" y="199"/>
                  </a:lnTo>
                  <a:lnTo>
                    <a:pt x="537" y="201"/>
                  </a:lnTo>
                  <a:lnTo>
                    <a:pt x="542" y="201"/>
                  </a:lnTo>
                  <a:lnTo>
                    <a:pt x="547" y="201"/>
                  </a:lnTo>
                  <a:lnTo>
                    <a:pt x="549" y="201"/>
                  </a:lnTo>
                  <a:lnTo>
                    <a:pt x="552" y="199"/>
                  </a:lnTo>
                  <a:lnTo>
                    <a:pt x="554" y="199"/>
                  </a:lnTo>
                  <a:lnTo>
                    <a:pt x="554" y="204"/>
                  </a:lnTo>
                  <a:lnTo>
                    <a:pt x="559" y="204"/>
                  </a:lnTo>
                  <a:lnTo>
                    <a:pt x="561" y="201"/>
                  </a:lnTo>
                  <a:lnTo>
                    <a:pt x="563" y="201"/>
                  </a:lnTo>
                  <a:lnTo>
                    <a:pt x="563" y="194"/>
                  </a:lnTo>
                  <a:lnTo>
                    <a:pt x="561" y="194"/>
                  </a:lnTo>
                  <a:lnTo>
                    <a:pt x="563" y="189"/>
                  </a:lnTo>
                  <a:lnTo>
                    <a:pt x="563" y="187"/>
                  </a:lnTo>
                  <a:lnTo>
                    <a:pt x="559" y="187"/>
                  </a:lnTo>
                  <a:lnTo>
                    <a:pt x="556" y="182"/>
                  </a:lnTo>
                  <a:lnTo>
                    <a:pt x="552" y="180"/>
                  </a:lnTo>
                  <a:lnTo>
                    <a:pt x="552" y="175"/>
                  </a:lnTo>
                  <a:lnTo>
                    <a:pt x="533" y="170"/>
                  </a:lnTo>
                  <a:lnTo>
                    <a:pt x="523" y="170"/>
                  </a:lnTo>
                  <a:lnTo>
                    <a:pt x="521" y="170"/>
                  </a:lnTo>
                  <a:lnTo>
                    <a:pt x="528" y="168"/>
                  </a:lnTo>
                  <a:lnTo>
                    <a:pt x="530" y="165"/>
                  </a:lnTo>
                  <a:lnTo>
                    <a:pt x="528" y="165"/>
                  </a:lnTo>
                  <a:lnTo>
                    <a:pt x="525" y="163"/>
                  </a:lnTo>
                  <a:lnTo>
                    <a:pt x="514" y="163"/>
                  </a:lnTo>
                  <a:lnTo>
                    <a:pt x="509" y="161"/>
                  </a:lnTo>
                  <a:lnTo>
                    <a:pt x="504" y="161"/>
                  </a:lnTo>
                  <a:lnTo>
                    <a:pt x="509" y="156"/>
                  </a:lnTo>
                  <a:lnTo>
                    <a:pt x="523" y="156"/>
                  </a:lnTo>
                  <a:lnTo>
                    <a:pt x="528" y="153"/>
                  </a:lnTo>
                  <a:lnTo>
                    <a:pt x="533" y="153"/>
                  </a:lnTo>
                  <a:lnTo>
                    <a:pt x="547" y="156"/>
                  </a:lnTo>
                  <a:lnTo>
                    <a:pt x="552" y="156"/>
                  </a:lnTo>
                  <a:lnTo>
                    <a:pt x="554" y="156"/>
                  </a:lnTo>
                  <a:lnTo>
                    <a:pt x="556" y="158"/>
                  </a:lnTo>
                  <a:lnTo>
                    <a:pt x="559" y="161"/>
                  </a:lnTo>
                  <a:lnTo>
                    <a:pt x="563" y="165"/>
                  </a:lnTo>
                  <a:lnTo>
                    <a:pt x="568" y="165"/>
                  </a:lnTo>
                  <a:lnTo>
                    <a:pt x="568" y="163"/>
                  </a:lnTo>
                  <a:lnTo>
                    <a:pt x="568" y="158"/>
                  </a:lnTo>
                  <a:lnTo>
                    <a:pt x="559" y="156"/>
                  </a:lnTo>
                  <a:lnTo>
                    <a:pt x="552" y="153"/>
                  </a:lnTo>
                  <a:lnTo>
                    <a:pt x="540" y="151"/>
                  </a:lnTo>
                  <a:lnTo>
                    <a:pt x="544" y="149"/>
                  </a:lnTo>
                  <a:lnTo>
                    <a:pt x="547" y="149"/>
                  </a:lnTo>
                  <a:lnTo>
                    <a:pt x="552" y="151"/>
                  </a:lnTo>
                  <a:lnTo>
                    <a:pt x="556" y="151"/>
                  </a:lnTo>
                  <a:lnTo>
                    <a:pt x="559" y="153"/>
                  </a:lnTo>
                  <a:lnTo>
                    <a:pt x="578" y="153"/>
                  </a:lnTo>
                  <a:lnTo>
                    <a:pt x="594" y="151"/>
                  </a:lnTo>
                  <a:lnTo>
                    <a:pt x="594" y="144"/>
                  </a:lnTo>
                  <a:lnTo>
                    <a:pt x="582" y="141"/>
                  </a:lnTo>
                  <a:lnTo>
                    <a:pt x="578" y="146"/>
                  </a:lnTo>
                  <a:lnTo>
                    <a:pt x="573" y="141"/>
                  </a:lnTo>
                  <a:lnTo>
                    <a:pt x="573" y="139"/>
                  </a:lnTo>
                  <a:lnTo>
                    <a:pt x="587" y="139"/>
                  </a:lnTo>
                  <a:lnTo>
                    <a:pt x="599" y="137"/>
                  </a:lnTo>
                  <a:lnTo>
                    <a:pt x="602" y="139"/>
                  </a:lnTo>
                  <a:lnTo>
                    <a:pt x="609" y="139"/>
                  </a:lnTo>
                  <a:lnTo>
                    <a:pt x="616" y="134"/>
                  </a:lnTo>
                  <a:lnTo>
                    <a:pt x="618" y="134"/>
                  </a:lnTo>
                  <a:lnTo>
                    <a:pt x="618" y="132"/>
                  </a:lnTo>
                  <a:lnTo>
                    <a:pt x="599" y="132"/>
                  </a:lnTo>
                  <a:lnTo>
                    <a:pt x="599" y="129"/>
                  </a:lnTo>
                  <a:lnTo>
                    <a:pt x="597" y="129"/>
                  </a:lnTo>
                  <a:lnTo>
                    <a:pt x="597" y="127"/>
                  </a:lnTo>
                  <a:lnTo>
                    <a:pt x="592" y="127"/>
                  </a:lnTo>
                  <a:lnTo>
                    <a:pt x="587" y="125"/>
                  </a:lnTo>
                  <a:lnTo>
                    <a:pt x="592" y="125"/>
                  </a:lnTo>
                  <a:lnTo>
                    <a:pt x="594" y="125"/>
                  </a:lnTo>
                  <a:lnTo>
                    <a:pt x="594" y="122"/>
                  </a:lnTo>
                  <a:lnTo>
                    <a:pt x="592" y="120"/>
                  </a:lnTo>
                  <a:lnTo>
                    <a:pt x="590" y="120"/>
                  </a:lnTo>
                  <a:lnTo>
                    <a:pt x="582" y="117"/>
                  </a:lnTo>
                  <a:lnTo>
                    <a:pt x="592" y="117"/>
                  </a:lnTo>
                  <a:lnTo>
                    <a:pt x="594" y="120"/>
                  </a:lnTo>
                  <a:lnTo>
                    <a:pt x="597" y="120"/>
                  </a:lnTo>
                  <a:lnTo>
                    <a:pt x="602" y="120"/>
                  </a:lnTo>
                  <a:lnTo>
                    <a:pt x="606" y="120"/>
                  </a:lnTo>
                  <a:lnTo>
                    <a:pt x="609" y="125"/>
                  </a:lnTo>
                  <a:lnTo>
                    <a:pt x="613" y="125"/>
                  </a:lnTo>
                  <a:lnTo>
                    <a:pt x="618" y="120"/>
                  </a:lnTo>
                  <a:lnTo>
                    <a:pt x="618" y="113"/>
                  </a:lnTo>
                  <a:lnTo>
                    <a:pt x="616" y="110"/>
                  </a:lnTo>
                  <a:lnTo>
                    <a:pt x="613" y="110"/>
                  </a:lnTo>
                  <a:lnTo>
                    <a:pt x="611" y="108"/>
                  </a:lnTo>
                  <a:lnTo>
                    <a:pt x="609" y="105"/>
                  </a:lnTo>
                  <a:lnTo>
                    <a:pt x="592" y="103"/>
                  </a:lnTo>
                  <a:lnTo>
                    <a:pt x="587" y="101"/>
                  </a:lnTo>
                  <a:lnTo>
                    <a:pt x="587" y="98"/>
                  </a:lnTo>
                  <a:lnTo>
                    <a:pt x="590" y="98"/>
                  </a:lnTo>
                  <a:lnTo>
                    <a:pt x="599" y="98"/>
                  </a:lnTo>
                  <a:lnTo>
                    <a:pt x="611" y="96"/>
                  </a:lnTo>
                  <a:lnTo>
                    <a:pt x="618" y="96"/>
                  </a:lnTo>
                  <a:lnTo>
                    <a:pt x="623" y="98"/>
                  </a:lnTo>
                  <a:lnTo>
                    <a:pt x="632" y="98"/>
                  </a:lnTo>
                  <a:lnTo>
                    <a:pt x="637" y="96"/>
                  </a:lnTo>
                  <a:lnTo>
                    <a:pt x="642" y="93"/>
                  </a:lnTo>
                  <a:lnTo>
                    <a:pt x="642" y="91"/>
                  </a:lnTo>
                  <a:lnTo>
                    <a:pt x="642" y="89"/>
                  </a:lnTo>
                  <a:lnTo>
                    <a:pt x="632" y="89"/>
                  </a:lnTo>
                  <a:lnTo>
                    <a:pt x="625" y="86"/>
                  </a:lnTo>
                  <a:lnTo>
                    <a:pt x="616" y="86"/>
                  </a:lnTo>
                  <a:lnTo>
                    <a:pt x="613" y="84"/>
                  </a:lnTo>
                  <a:lnTo>
                    <a:pt x="623" y="84"/>
                  </a:lnTo>
                  <a:lnTo>
                    <a:pt x="621" y="82"/>
                  </a:lnTo>
                  <a:lnTo>
                    <a:pt x="618" y="79"/>
                  </a:lnTo>
                  <a:lnTo>
                    <a:pt x="618" y="77"/>
                  </a:lnTo>
                  <a:lnTo>
                    <a:pt x="613" y="77"/>
                  </a:lnTo>
                  <a:lnTo>
                    <a:pt x="611" y="79"/>
                  </a:lnTo>
                  <a:lnTo>
                    <a:pt x="611" y="84"/>
                  </a:lnTo>
                  <a:lnTo>
                    <a:pt x="606" y="84"/>
                  </a:lnTo>
                  <a:lnTo>
                    <a:pt x="604" y="84"/>
                  </a:lnTo>
                  <a:lnTo>
                    <a:pt x="602" y="82"/>
                  </a:lnTo>
                  <a:lnTo>
                    <a:pt x="599" y="79"/>
                  </a:lnTo>
                  <a:lnTo>
                    <a:pt x="602" y="79"/>
                  </a:lnTo>
                  <a:lnTo>
                    <a:pt x="606" y="77"/>
                  </a:lnTo>
                  <a:lnTo>
                    <a:pt x="609" y="74"/>
                  </a:lnTo>
                  <a:lnTo>
                    <a:pt x="613" y="70"/>
                  </a:lnTo>
                  <a:lnTo>
                    <a:pt x="616" y="67"/>
                  </a:lnTo>
                  <a:lnTo>
                    <a:pt x="618" y="65"/>
                  </a:lnTo>
                  <a:lnTo>
                    <a:pt x="621" y="65"/>
                  </a:lnTo>
                  <a:lnTo>
                    <a:pt x="623" y="65"/>
                  </a:lnTo>
                  <a:lnTo>
                    <a:pt x="628" y="65"/>
                  </a:lnTo>
                  <a:lnTo>
                    <a:pt x="630" y="65"/>
                  </a:lnTo>
                  <a:lnTo>
                    <a:pt x="632" y="62"/>
                  </a:lnTo>
                  <a:lnTo>
                    <a:pt x="637" y="60"/>
                  </a:lnTo>
                  <a:lnTo>
                    <a:pt x="635" y="55"/>
                  </a:lnTo>
                  <a:lnTo>
                    <a:pt x="637" y="53"/>
                  </a:lnTo>
                  <a:lnTo>
                    <a:pt x="640" y="50"/>
                  </a:lnTo>
                  <a:lnTo>
                    <a:pt x="642" y="50"/>
                  </a:lnTo>
                  <a:lnTo>
                    <a:pt x="647" y="50"/>
                  </a:lnTo>
                  <a:lnTo>
                    <a:pt x="649" y="50"/>
                  </a:lnTo>
                  <a:lnTo>
                    <a:pt x="651" y="53"/>
                  </a:lnTo>
                  <a:lnTo>
                    <a:pt x="656" y="53"/>
                  </a:lnTo>
                  <a:lnTo>
                    <a:pt x="659" y="50"/>
                  </a:lnTo>
                  <a:lnTo>
                    <a:pt x="661" y="50"/>
                  </a:lnTo>
                  <a:lnTo>
                    <a:pt x="663" y="48"/>
                  </a:lnTo>
                  <a:lnTo>
                    <a:pt x="644" y="48"/>
                  </a:lnTo>
                  <a:lnTo>
                    <a:pt x="642" y="48"/>
                  </a:lnTo>
                  <a:lnTo>
                    <a:pt x="637" y="48"/>
                  </a:lnTo>
                  <a:lnTo>
                    <a:pt x="635" y="50"/>
                  </a:lnTo>
                  <a:lnTo>
                    <a:pt x="630" y="50"/>
                  </a:lnTo>
                  <a:lnTo>
                    <a:pt x="630" y="48"/>
                  </a:lnTo>
                  <a:lnTo>
                    <a:pt x="640" y="43"/>
                  </a:lnTo>
                  <a:lnTo>
                    <a:pt x="670" y="43"/>
                  </a:lnTo>
                  <a:lnTo>
                    <a:pt x="675" y="43"/>
                  </a:lnTo>
                  <a:lnTo>
                    <a:pt x="678" y="43"/>
                  </a:lnTo>
                  <a:lnTo>
                    <a:pt x="682" y="41"/>
                  </a:lnTo>
                  <a:lnTo>
                    <a:pt x="678" y="41"/>
                  </a:lnTo>
                  <a:lnTo>
                    <a:pt x="673" y="38"/>
                  </a:lnTo>
                  <a:lnTo>
                    <a:pt x="656" y="38"/>
                  </a:lnTo>
                  <a:lnTo>
                    <a:pt x="651" y="41"/>
                  </a:lnTo>
                  <a:lnTo>
                    <a:pt x="635" y="41"/>
                  </a:lnTo>
                  <a:lnTo>
                    <a:pt x="635" y="38"/>
                  </a:lnTo>
                  <a:lnTo>
                    <a:pt x="637" y="38"/>
                  </a:lnTo>
                  <a:lnTo>
                    <a:pt x="642" y="38"/>
                  </a:lnTo>
                  <a:lnTo>
                    <a:pt x="687" y="38"/>
                  </a:lnTo>
                  <a:lnTo>
                    <a:pt x="692" y="36"/>
                  </a:lnTo>
                  <a:lnTo>
                    <a:pt x="699" y="34"/>
                  </a:lnTo>
                  <a:lnTo>
                    <a:pt x="701" y="31"/>
                  </a:lnTo>
                  <a:lnTo>
                    <a:pt x="718" y="31"/>
                  </a:lnTo>
                  <a:lnTo>
                    <a:pt x="723" y="29"/>
                  </a:lnTo>
                  <a:lnTo>
                    <a:pt x="725" y="29"/>
                  </a:lnTo>
                  <a:lnTo>
                    <a:pt x="730" y="29"/>
                  </a:lnTo>
                  <a:lnTo>
                    <a:pt x="732" y="26"/>
                  </a:lnTo>
                  <a:lnTo>
                    <a:pt x="730" y="24"/>
                  </a:lnTo>
                  <a:close/>
                  <a:moveTo>
                    <a:pt x="119" y="268"/>
                  </a:moveTo>
                  <a:lnTo>
                    <a:pt x="116" y="266"/>
                  </a:lnTo>
                  <a:lnTo>
                    <a:pt x="119" y="268"/>
                  </a:lnTo>
                  <a:close/>
                  <a:moveTo>
                    <a:pt x="128" y="223"/>
                  </a:moveTo>
                  <a:lnTo>
                    <a:pt x="135" y="223"/>
                  </a:lnTo>
                  <a:lnTo>
                    <a:pt x="138" y="220"/>
                  </a:lnTo>
                  <a:lnTo>
                    <a:pt x="145" y="220"/>
                  </a:lnTo>
                  <a:lnTo>
                    <a:pt x="147" y="220"/>
                  </a:lnTo>
                  <a:lnTo>
                    <a:pt x="147" y="216"/>
                  </a:lnTo>
                  <a:lnTo>
                    <a:pt x="150" y="216"/>
                  </a:lnTo>
                  <a:lnTo>
                    <a:pt x="147" y="213"/>
                  </a:lnTo>
                  <a:lnTo>
                    <a:pt x="145" y="211"/>
                  </a:lnTo>
                  <a:lnTo>
                    <a:pt x="143" y="211"/>
                  </a:lnTo>
                  <a:lnTo>
                    <a:pt x="138" y="211"/>
                  </a:lnTo>
                  <a:lnTo>
                    <a:pt x="135" y="206"/>
                  </a:lnTo>
                  <a:lnTo>
                    <a:pt x="119" y="206"/>
                  </a:lnTo>
                  <a:lnTo>
                    <a:pt x="119" y="213"/>
                  </a:lnTo>
                  <a:lnTo>
                    <a:pt x="116" y="216"/>
                  </a:lnTo>
                  <a:lnTo>
                    <a:pt x="114" y="216"/>
                  </a:lnTo>
                  <a:lnTo>
                    <a:pt x="114" y="218"/>
                  </a:lnTo>
                  <a:lnTo>
                    <a:pt x="116" y="220"/>
                  </a:lnTo>
                  <a:lnTo>
                    <a:pt x="119" y="220"/>
                  </a:lnTo>
                  <a:lnTo>
                    <a:pt x="119" y="225"/>
                  </a:lnTo>
                  <a:lnTo>
                    <a:pt x="128" y="223"/>
                  </a:lnTo>
                  <a:close/>
                </a:path>
              </a:pathLst>
            </a:custGeom>
            <a:grpFill/>
            <a:ln w="3175">
              <a:solidFill>
                <a:schemeClr val="bg1"/>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de-DE" sz="1800" b="0" i="0" u="none" strike="noStrike" kern="1200" cap="none" spc="0" normalizeH="0" baseline="0" noProof="0">
                <a:ln>
                  <a:noFill/>
                </a:ln>
                <a:solidFill>
                  <a:srgbClr val="FFC000"/>
                </a:solidFill>
                <a:effectLst/>
                <a:uLnTx/>
                <a:uFillTx/>
                <a:latin typeface="Calibri" pitchFamily="34" charset="0"/>
                <a:ea typeface="+mn-ea"/>
                <a:cs typeface="+mn-cs"/>
              </a:endParaRPr>
            </a:p>
          </p:txBody>
        </p:sp>
        <p:sp>
          <p:nvSpPr>
            <p:cNvPr id="132" name="Greece" descr="© INSCALE GmbH, 05.05.2010&#10;http://www.presentationload.com/"/>
            <p:cNvSpPr>
              <a:spLocks noEditPoints="1"/>
            </p:cNvSpPr>
            <p:nvPr/>
          </p:nvSpPr>
          <p:spPr bwMode="gray">
            <a:xfrm>
              <a:off x="4917523" y="3260275"/>
              <a:ext cx="172778" cy="171471"/>
            </a:xfrm>
            <a:custGeom>
              <a:avLst/>
              <a:gdLst>
                <a:gd name="T0" fmla="*/ 0 w 534"/>
                <a:gd name="T1" fmla="*/ 2147483647 h 552"/>
                <a:gd name="T2" fmla="*/ 2147483647 w 534"/>
                <a:gd name="T3" fmla="*/ 2147483647 h 552"/>
                <a:gd name="T4" fmla="*/ 2147483647 w 534"/>
                <a:gd name="T5" fmla="*/ 2147483647 h 552"/>
                <a:gd name="T6" fmla="*/ 2147483647 w 534"/>
                <a:gd name="T7" fmla="*/ 2147483647 h 552"/>
                <a:gd name="T8" fmla="*/ 2147483647 w 534"/>
                <a:gd name="T9" fmla="*/ 2147483647 h 552"/>
                <a:gd name="T10" fmla="*/ 2147483647 w 534"/>
                <a:gd name="T11" fmla="*/ 2147483647 h 552"/>
                <a:gd name="T12" fmla="*/ 2147483647 w 534"/>
                <a:gd name="T13" fmla="*/ 2147483647 h 552"/>
                <a:gd name="T14" fmla="*/ 2147483647 w 534"/>
                <a:gd name="T15" fmla="*/ 2147483647 h 552"/>
                <a:gd name="T16" fmla="*/ 2147483647 w 534"/>
                <a:gd name="T17" fmla="*/ 2147483647 h 552"/>
                <a:gd name="T18" fmla="*/ 2147483647 w 534"/>
                <a:gd name="T19" fmla="*/ 2147483647 h 552"/>
                <a:gd name="T20" fmla="*/ 2147483647 w 534"/>
                <a:gd name="T21" fmla="*/ 2147483647 h 552"/>
                <a:gd name="T22" fmla="*/ 2147483647 w 534"/>
                <a:gd name="T23" fmla="*/ 2147483647 h 552"/>
                <a:gd name="T24" fmla="*/ 2147483647 w 534"/>
                <a:gd name="T25" fmla="*/ 2147483647 h 552"/>
                <a:gd name="T26" fmla="*/ 2147483647 w 534"/>
                <a:gd name="T27" fmla="*/ 2147483647 h 552"/>
                <a:gd name="T28" fmla="*/ 2147483647 w 534"/>
                <a:gd name="T29" fmla="*/ 2147483647 h 552"/>
                <a:gd name="T30" fmla="*/ 2147483647 w 534"/>
                <a:gd name="T31" fmla="*/ 2147483647 h 552"/>
                <a:gd name="T32" fmla="*/ 2147483647 w 534"/>
                <a:gd name="T33" fmla="*/ 2147483647 h 552"/>
                <a:gd name="T34" fmla="*/ 2147483647 w 534"/>
                <a:gd name="T35" fmla="*/ 2147483647 h 552"/>
                <a:gd name="T36" fmla="*/ 2147483647 w 534"/>
                <a:gd name="T37" fmla="*/ 2147483647 h 552"/>
                <a:gd name="T38" fmla="*/ 2147483647 w 534"/>
                <a:gd name="T39" fmla="*/ 2147483647 h 552"/>
                <a:gd name="T40" fmla="*/ 2147483647 w 534"/>
                <a:gd name="T41" fmla="*/ 2147483647 h 552"/>
                <a:gd name="T42" fmla="*/ 2147483647 w 534"/>
                <a:gd name="T43" fmla="*/ 2147483647 h 552"/>
                <a:gd name="T44" fmla="*/ 2147483647 w 534"/>
                <a:gd name="T45" fmla="*/ 2147483647 h 552"/>
                <a:gd name="T46" fmla="*/ 2147483647 w 534"/>
                <a:gd name="T47" fmla="*/ 2147483647 h 552"/>
                <a:gd name="T48" fmla="*/ 2147483647 w 534"/>
                <a:gd name="T49" fmla="*/ 2147483647 h 552"/>
                <a:gd name="T50" fmla="*/ 2147483647 w 534"/>
                <a:gd name="T51" fmla="*/ 2147483647 h 552"/>
                <a:gd name="T52" fmla="*/ 2147483647 w 534"/>
                <a:gd name="T53" fmla="*/ 2147483647 h 552"/>
                <a:gd name="T54" fmla="*/ 2147483647 w 534"/>
                <a:gd name="T55" fmla="*/ 2147483647 h 552"/>
                <a:gd name="T56" fmla="*/ 2147483647 w 534"/>
                <a:gd name="T57" fmla="*/ 2147483647 h 552"/>
                <a:gd name="T58" fmla="*/ 2147483647 w 534"/>
                <a:gd name="T59" fmla="*/ 2147483647 h 552"/>
                <a:gd name="T60" fmla="*/ 2147483647 w 534"/>
                <a:gd name="T61" fmla="*/ 2147483647 h 552"/>
                <a:gd name="T62" fmla="*/ 2147483647 w 534"/>
                <a:gd name="T63" fmla="*/ 2147483647 h 552"/>
                <a:gd name="T64" fmla="*/ 2147483647 w 534"/>
                <a:gd name="T65" fmla="*/ 2147483647 h 552"/>
                <a:gd name="T66" fmla="*/ 2147483647 w 534"/>
                <a:gd name="T67" fmla="*/ 2147483647 h 552"/>
                <a:gd name="T68" fmla="*/ 2147483647 w 534"/>
                <a:gd name="T69" fmla="*/ 2147483647 h 552"/>
                <a:gd name="T70" fmla="*/ 2147483647 w 534"/>
                <a:gd name="T71" fmla="*/ 2147483647 h 552"/>
                <a:gd name="T72" fmla="*/ 2147483647 w 534"/>
                <a:gd name="T73" fmla="*/ 2147483647 h 552"/>
                <a:gd name="T74" fmla="*/ 2147483647 w 534"/>
                <a:gd name="T75" fmla="*/ 2147483647 h 552"/>
                <a:gd name="T76" fmla="*/ 2147483647 w 534"/>
                <a:gd name="T77" fmla="*/ 2147483647 h 552"/>
                <a:gd name="T78" fmla="*/ 2147483647 w 534"/>
                <a:gd name="T79" fmla="*/ 2147483647 h 552"/>
                <a:gd name="T80" fmla="*/ 2147483647 w 534"/>
                <a:gd name="T81" fmla="*/ 2147483647 h 552"/>
                <a:gd name="T82" fmla="*/ 2147483647 w 534"/>
                <a:gd name="T83" fmla="*/ 2147483647 h 552"/>
                <a:gd name="T84" fmla="*/ 2147483647 w 534"/>
                <a:gd name="T85" fmla="*/ 2147483647 h 552"/>
                <a:gd name="T86" fmla="*/ 2147483647 w 534"/>
                <a:gd name="T87" fmla="*/ 2147483647 h 552"/>
                <a:gd name="T88" fmla="*/ 2147483647 w 534"/>
                <a:gd name="T89" fmla="*/ 2147483647 h 552"/>
                <a:gd name="T90" fmla="*/ 2147483647 w 534"/>
                <a:gd name="T91" fmla="*/ 2147483647 h 552"/>
                <a:gd name="T92" fmla="*/ 2147483647 w 534"/>
                <a:gd name="T93" fmla="*/ 2147483647 h 552"/>
                <a:gd name="T94" fmla="*/ 2147483647 w 534"/>
                <a:gd name="T95" fmla="*/ 2147483647 h 552"/>
                <a:gd name="T96" fmla="*/ 2147483647 w 534"/>
                <a:gd name="T97" fmla="*/ 2147483647 h 552"/>
                <a:gd name="T98" fmla="*/ 2147483647 w 534"/>
                <a:gd name="T99" fmla="*/ 2147483647 h 552"/>
                <a:gd name="T100" fmla="*/ 2147483647 w 534"/>
                <a:gd name="T101" fmla="*/ 2147483647 h 552"/>
                <a:gd name="T102" fmla="*/ 2147483647 w 534"/>
                <a:gd name="T103" fmla="*/ 2147483647 h 552"/>
                <a:gd name="T104" fmla="*/ 2147483647 w 534"/>
                <a:gd name="T105" fmla="*/ 2147483647 h 552"/>
                <a:gd name="T106" fmla="*/ 2147483647 w 534"/>
                <a:gd name="T107" fmla="*/ 2147483647 h 552"/>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534"/>
                <a:gd name="T163" fmla="*/ 0 h 552"/>
                <a:gd name="T164" fmla="*/ 534 w 534"/>
                <a:gd name="T165" fmla="*/ 552 h 552"/>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534" h="552">
                  <a:moveTo>
                    <a:pt x="240" y="108"/>
                  </a:moveTo>
                  <a:lnTo>
                    <a:pt x="270" y="126"/>
                  </a:lnTo>
                  <a:lnTo>
                    <a:pt x="282" y="120"/>
                  </a:lnTo>
                  <a:lnTo>
                    <a:pt x="240" y="108"/>
                  </a:lnTo>
                  <a:close/>
                  <a:moveTo>
                    <a:pt x="24" y="258"/>
                  </a:moveTo>
                  <a:lnTo>
                    <a:pt x="0" y="282"/>
                  </a:lnTo>
                  <a:lnTo>
                    <a:pt x="42" y="294"/>
                  </a:lnTo>
                  <a:lnTo>
                    <a:pt x="24" y="258"/>
                  </a:lnTo>
                  <a:close/>
                  <a:moveTo>
                    <a:pt x="312" y="414"/>
                  </a:moveTo>
                  <a:lnTo>
                    <a:pt x="312" y="420"/>
                  </a:lnTo>
                  <a:lnTo>
                    <a:pt x="324" y="420"/>
                  </a:lnTo>
                  <a:lnTo>
                    <a:pt x="324" y="414"/>
                  </a:lnTo>
                  <a:lnTo>
                    <a:pt x="318" y="408"/>
                  </a:lnTo>
                  <a:lnTo>
                    <a:pt x="312" y="408"/>
                  </a:lnTo>
                  <a:lnTo>
                    <a:pt x="312" y="414"/>
                  </a:lnTo>
                  <a:close/>
                  <a:moveTo>
                    <a:pt x="306" y="390"/>
                  </a:moveTo>
                  <a:lnTo>
                    <a:pt x="300" y="378"/>
                  </a:lnTo>
                  <a:lnTo>
                    <a:pt x="294" y="390"/>
                  </a:lnTo>
                  <a:lnTo>
                    <a:pt x="306" y="390"/>
                  </a:lnTo>
                  <a:close/>
                  <a:moveTo>
                    <a:pt x="294" y="294"/>
                  </a:moveTo>
                  <a:lnTo>
                    <a:pt x="318" y="336"/>
                  </a:lnTo>
                  <a:lnTo>
                    <a:pt x="330" y="318"/>
                  </a:lnTo>
                  <a:lnTo>
                    <a:pt x="294" y="294"/>
                  </a:lnTo>
                  <a:close/>
                  <a:moveTo>
                    <a:pt x="108" y="264"/>
                  </a:moveTo>
                  <a:lnTo>
                    <a:pt x="138" y="264"/>
                  </a:lnTo>
                  <a:lnTo>
                    <a:pt x="144" y="270"/>
                  </a:lnTo>
                  <a:lnTo>
                    <a:pt x="156" y="270"/>
                  </a:lnTo>
                  <a:lnTo>
                    <a:pt x="180" y="282"/>
                  </a:lnTo>
                  <a:lnTo>
                    <a:pt x="192" y="282"/>
                  </a:lnTo>
                  <a:lnTo>
                    <a:pt x="198" y="288"/>
                  </a:lnTo>
                  <a:lnTo>
                    <a:pt x="204" y="288"/>
                  </a:lnTo>
                  <a:lnTo>
                    <a:pt x="216" y="300"/>
                  </a:lnTo>
                  <a:lnTo>
                    <a:pt x="228" y="306"/>
                  </a:lnTo>
                  <a:lnTo>
                    <a:pt x="234" y="312"/>
                  </a:lnTo>
                  <a:lnTo>
                    <a:pt x="246" y="312"/>
                  </a:lnTo>
                  <a:lnTo>
                    <a:pt x="252" y="306"/>
                  </a:lnTo>
                  <a:lnTo>
                    <a:pt x="252" y="288"/>
                  </a:lnTo>
                  <a:lnTo>
                    <a:pt x="228" y="264"/>
                  </a:lnTo>
                  <a:lnTo>
                    <a:pt x="216" y="258"/>
                  </a:lnTo>
                  <a:lnTo>
                    <a:pt x="210" y="252"/>
                  </a:lnTo>
                  <a:lnTo>
                    <a:pt x="204" y="252"/>
                  </a:lnTo>
                  <a:lnTo>
                    <a:pt x="198" y="246"/>
                  </a:lnTo>
                  <a:lnTo>
                    <a:pt x="186" y="246"/>
                  </a:lnTo>
                  <a:lnTo>
                    <a:pt x="174" y="234"/>
                  </a:lnTo>
                  <a:lnTo>
                    <a:pt x="168" y="234"/>
                  </a:lnTo>
                  <a:lnTo>
                    <a:pt x="174" y="228"/>
                  </a:lnTo>
                  <a:lnTo>
                    <a:pt x="192" y="228"/>
                  </a:lnTo>
                  <a:lnTo>
                    <a:pt x="198" y="240"/>
                  </a:lnTo>
                  <a:lnTo>
                    <a:pt x="222" y="252"/>
                  </a:lnTo>
                  <a:lnTo>
                    <a:pt x="234" y="264"/>
                  </a:lnTo>
                  <a:lnTo>
                    <a:pt x="258" y="264"/>
                  </a:lnTo>
                  <a:lnTo>
                    <a:pt x="270" y="252"/>
                  </a:lnTo>
                  <a:lnTo>
                    <a:pt x="258" y="240"/>
                  </a:lnTo>
                  <a:lnTo>
                    <a:pt x="246" y="240"/>
                  </a:lnTo>
                  <a:lnTo>
                    <a:pt x="234" y="234"/>
                  </a:lnTo>
                  <a:lnTo>
                    <a:pt x="222" y="234"/>
                  </a:lnTo>
                  <a:lnTo>
                    <a:pt x="210" y="228"/>
                  </a:lnTo>
                  <a:lnTo>
                    <a:pt x="204" y="216"/>
                  </a:lnTo>
                  <a:lnTo>
                    <a:pt x="198" y="210"/>
                  </a:lnTo>
                  <a:lnTo>
                    <a:pt x="198" y="204"/>
                  </a:lnTo>
                  <a:lnTo>
                    <a:pt x="192" y="192"/>
                  </a:lnTo>
                  <a:lnTo>
                    <a:pt x="186" y="186"/>
                  </a:lnTo>
                  <a:lnTo>
                    <a:pt x="174" y="162"/>
                  </a:lnTo>
                  <a:lnTo>
                    <a:pt x="168" y="156"/>
                  </a:lnTo>
                  <a:lnTo>
                    <a:pt x="162" y="144"/>
                  </a:lnTo>
                  <a:lnTo>
                    <a:pt x="150" y="132"/>
                  </a:lnTo>
                  <a:lnTo>
                    <a:pt x="150" y="120"/>
                  </a:lnTo>
                  <a:lnTo>
                    <a:pt x="144" y="114"/>
                  </a:lnTo>
                  <a:lnTo>
                    <a:pt x="144" y="102"/>
                  </a:lnTo>
                  <a:lnTo>
                    <a:pt x="150" y="96"/>
                  </a:lnTo>
                  <a:lnTo>
                    <a:pt x="156" y="96"/>
                  </a:lnTo>
                  <a:lnTo>
                    <a:pt x="162" y="102"/>
                  </a:lnTo>
                  <a:lnTo>
                    <a:pt x="162" y="108"/>
                  </a:lnTo>
                  <a:lnTo>
                    <a:pt x="168" y="114"/>
                  </a:lnTo>
                  <a:lnTo>
                    <a:pt x="180" y="114"/>
                  </a:lnTo>
                  <a:lnTo>
                    <a:pt x="180" y="120"/>
                  </a:lnTo>
                  <a:lnTo>
                    <a:pt x="186" y="120"/>
                  </a:lnTo>
                  <a:lnTo>
                    <a:pt x="198" y="132"/>
                  </a:lnTo>
                  <a:lnTo>
                    <a:pt x="198" y="144"/>
                  </a:lnTo>
                  <a:lnTo>
                    <a:pt x="204" y="144"/>
                  </a:lnTo>
                  <a:lnTo>
                    <a:pt x="210" y="138"/>
                  </a:lnTo>
                  <a:lnTo>
                    <a:pt x="216" y="138"/>
                  </a:lnTo>
                  <a:lnTo>
                    <a:pt x="204" y="120"/>
                  </a:lnTo>
                  <a:lnTo>
                    <a:pt x="210" y="120"/>
                  </a:lnTo>
                  <a:lnTo>
                    <a:pt x="234" y="132"/>
                  </a:lnTo>
                  <a:lnTo>
                    <a:pt x="222" y="114"/>
                  </a:lnTo>
                  <a:lnTo>
                    <a:pt x="228" y="108"/>
                  </a:lnTo>
                  <a:lnTo>
                    <a:pt x="228" y="84"/>
                  </a:lnTo>
                  <a:lnTo>
                    <a:pt x="240" y="72"/>
                  </a:lnTo>
                  <a:lnTo>
                    <a:pt x="270" y="72"/>
                  </a:lnTo>
                  <a:lnTo>
                    <a:pt x="276" y="78"/>
                  </a:lnTo>
                  <a:lnTo>
                    <a:pt x="276" y="90"/>
                  </a:lnTo>
                  <a:lnTo>
                    <a:pt x="288" y="90"/>
                  </a:lnTo>
                  <a:lnTo>
                    <a:pt x="294" y="84"/>
                  </a:lnTo>
                  <a:lnTo>
                    <a:pt x="300" y="72"/>
                  </a:lnTo>
                  <a:lnTo>
                    <a:pt x="306" y="66"/>
                  </a:lnTo>
                  <a:lnTo>
                    <a:pt x="342" y="66"/>
                  </a:lnTo>
                  <a:lnTo>
                    <a:pt x="360" y="72"/>
                  </a:lnTo>
                  <a:lnTo>
                    <a:pt x="372" y="72"/>
                  </a:lnTo>
                  <a:lnTo>
                    <a:pt x="378" y="78"/>
                  </a:lnTo>
                  <a:lnTo>
                    <a:pt x="384" y="78"/>
                  </a:lnTo>
                  <a:lnTo>
                    <a:pt x="384" y="72"/>
                  </a:lnTo>
                  <a:lnTo>
                    <a:pt x="390" y="60"/>
                  </a:lnTo>
                  <a:lnTo>
                    <a:pt x="390" y="48"/>
                  </a:lnTo>
                  <a:lnTo>
                    <a:pt x="384" y="42"/>
                  </a:lnTo>
                  <a:lnTo>
                    <a:pt x="384" y="36"/>
                  </a:lnTo>
                  <a:lnTo>
                    <a:pt x="390" y="30"/>
                  </a:lnTo>
                  <a:lnTo>
                    <a:pt x="408" y="30"/>
                  </a:lnTo>
                  <a:lnTo>
                    <a:pt x="408" y="18"/>
                  </a:lnTo>
                  <a:lnTo>
                    <a:pt x="402" y="12"/>
                  </a:lnTo>
                  <a:lnTo>
                    <a:pt x="402" y="6"/>
                  </a:lnTo>
                  <a:lnTo>
                    <a:pt x="390" y="6"/>
                  </a:lnTo>
                  <a:lnTo>
                    <a:pt x="384" y="0"/>
                  </a:lnTo>
                  <a:lnTo>
                    <a:pt x="366" y="6"/>
                  </a:lnTo>
                  <a:lnTo>
                    <a:pt x="372" y="12"/>
                  </a:lnTo>
                  <a:lnTo>
                    <a:pt x="372" y="30"/>
                  </a:lnTo>
                  <a:lnTo>
                    <a:pt x="366" y="36"/>
                  </a:lnTo>
                  <a:lnTo>
                    <a:pt x="348" y="36"/>
                  </a:lnTo>
                  <a:lnTo>
                    <a:pt x="336" y="24"/>
                  </a:lnTo>
                  <a:lnTo>
                    <a:pt x="324" y="36"/>
                  </a:lnTo>
                  <a:lnTo>
                    <a:pt x="312" y="36"/>
                  </a:lnTo>
                  <a:lnTo>
                    <a:pt x="300" y="24"/>
                  </a:lnTo>
                  <a:lnTo>
                    <a:pt x="294" y="30"/>
                  </a:lnTo>
                  <a:lnTo>
                    <a:pt x="282" y="30"/>
                  </a:lnTo>
                  <a:lnTo>
                    <a:pt x="264" y="12"/>
                  </a:lnTo>
                  <a:lnTo>
                    <a:pt x="264" y="6"/>
                  </a:lnTo>
                  <a:lnTo>
                    <a:pt x="234" y="12"/>
                  </a:lnTo>
                  <a:lnTo>
                    <a:pt x="228" y="30"/>
                  </a:lnTo>
                  <a:lnTo>
                    <a:pt x="204" y="24"/>
                  </a:lnTo>
                  <a:lnTo>
                    <a:pt x="198" y="30"/>
                  </a:lnTo>
                  <a:lnTo>
                    <a:pt x="186" y="36"/>
                  </a:lnTo>
                  <a:lnTo>
                    <a:pt x="174" y="36"/>
                  </a:lnTo>
                  <a:lnTo>
                    <a:pt x="168" y="30"/>
                  </a:lnTo>
                  <a:lnTo>
                    <a:pt x="162" y="30"/>
                  </a:lnTo>
                  <a:lnTo>
                    <a:pt x="150" y="36"/>
                  </a:lnTo>
                  <a:lnTo>
                    <a:pt x="138" y="48"/>
                  </a:lnTo>
                  <a:lnTo>
                    <a:pt x="126" y="54"/>
                  </a:lnTo>
                  <a:lnTo>
                    <a:pt x="102" y="54"/>
                  </a:lnTo>
                  <a:lnTo>
                    <a:pt x="102" y="60"/>
                  </a:lnTo>
                  <a:lnTo>
                    <a:pt x="96" y="72"/>
                  </a:lnTo>
                  <a:lnTo>
                    <a:pt x="72" y="72"/>
                  </a:lnTo>
                  <a:lnTo>
                    <a:pt x="66" y="66"/>
                  </a:lnTo>
                  <a:lnTo>
                    <a:pt x="60" y="66"/>
                  </a:lnTo>
                  <a:lnTo>
                    <a:pt x="48" y="72"/>
                  </a:lnTo>
                  <a:lnTo>
                    <a:pt x="54" y="84"/>
                  </a:lnTo>
                  <a:lnTo>
                    <a:pt x="54" y="90"/>
                  </a:lnTo>
                  <a:lnTo>
                    <a:pt x="42" y="102"/>
                  </a:lnTo>
                  <a:lnTo>
                    <a:pt x="24" y="102"/>
                  </a:lnTo>
                  <a:lnTo>
                    <a:pt x="24" y="126"/>
                  </a:lnTo>
                  <a:lnTo>
                    <a:pt x="12" y="132"/>
                  </a:lnTo>
                  <a:lnTo>
                    <a:pt x="0" y="132"/>
                  </a:lnTo>
                  <a:lnTo>
                    <a:pt x="0" y="198"/>
                  </a:lnTo>
                  <a:lnTo>
                    <a:pt x="6" y="204"/>
                  </a:lnTo>
                  <a:lnTo>
                    <a:pt x="18" y="210"/>
                  </a:lnTo>
                  <a:lnTo>
                    <a:pt x="24" y="216"/>
                  </a:lnTo>
                  <a:lnTo>
                    <a:pt x="30" y="228"/>
                  </a:lnTo>
                  <a:lnTo>
                    <a:pt x="36" y="234"/>
                  </a:lnTo>
                  <a:lnTo>
                    <a:pt x="42" y="246"/>
                  </a:lnTo>
                  <a:lnTo>
                    <a:pt x="54" y="258"/>
                  </a:lnTo>
                  <a:lnTo>
                    <a:pt x="60" y="270"/>
                  </a:lnTo>
                  <a:lnTo>
                    <a:pt x="84" y="270"/>
                  </a:lnTo>
                  <a:lnTo>
                    <a:pt x="96" y="264"/>
                  </a:lnTo>
                  <a:lnTo>
                    <a:pt x="108" y="264"/>
                  </a:lnTo>
                  <a:close/>
                  <a:moveTo>
                    <a:pt x="396" y="252"/>
                  </a:moveTo>
                  <a:lnTo>
                    <a:pt x="372" y="252"/>
                  </a:lnTo>
                  <a:lnTo>
                    <a:pt x="372" y="270"/>
                  </a:lnTo>
                  <a:lnTo>
                    <a:pt x="384" y="294"/>
                  </a:lnTo>
                  <a:lnTo>
                    <a:pt x="396" y="252"/>
                  </a:lnTo>
                  <a:close/>
                  <a:moveTo>
                    <a:pt x="24" y="312"/>
                  </a:moveTo>
                  <a:lnTo>
                    <a:pt x="18" y="318"/>
                  </a:lnTo>
                  <a:lnTo>
                    <a:pt x="24" y="324"/>
                  </a:lnTo>
                  <a:lnTo>
                    <a:pt x="30" y="324"/>
                  </a:lnTo>
                  <a:lnTo>
                    <a:pt x="36" y="330"/>
                  </a:lnTo>
                  <a:lnTo>
                    <a:pt x="42" y="324"/>
                  </a:lnTo>
                  <a:lnTo>
                    <a:pt x="42" y="318"/>
                  </a:lnTo>
                  <a:lnTo>
                    <a:pt x="30" y="306"/>
                  </a:lnTo>
                  <a:lnTo>
                    <a:pt x="24" y="312"/>
                  </a:lnTo>
                  <a:close/>
                  <a:moveTo>
                    <a:pt x="378" y="390"/>
                  </a:moveTo>
                  <a:lnTo>
                    <a:pt x="378" y="408"/>
                  </a:lnTo>
                  <a:lnTo>
                    <a:pt x="390" y="390"/>
                  </a:lnTo>
                  <a:lnTo>
                    <a:pt x="378" y="390"/>
                  </a:lnTo>
                  <a:close/>
                  <a:moveTo>
                    <a:pt x="408" y="330"/>
                  </a:moveTo>
                  <a:lnTo>
                    <a:pt x="396" y="330"/>
                  </a:lnTo>
                  <a:lnTo>
                    <a:pt x="384" y="336"/>
                  </a:lnTo>
                  <a:lnTo>
                    <a:pt x="384" y="342"/>
                  </a:lnTo>
                  <a:lnTo>
                    <a:pt x="396" y="342"/>
                  </a:lnTo>
                  <a:lnTo>
                    <a:pt x="402" y="336"/>
                  </a:lnTo>
                  <a:lnTo>
                    <a:pt x="408" y="336"/>
                  </a:lnTo>
                  <a:lnTo>
                    <a:pt x="408" y="330"/>
                  </a:lnTo>
                  <a:close/>
                  <a:moveTo>
                    <a:pt x="396" y="192"/>
                  </a:moveTo>
                  <a:lnTo>
                    <a:pt x="372" y="198"/>
                  </a:lnTo>
                  <a:lnTo>
                    <a:pt x="372" y="210"/>
                  </a:lnTo>
                  <a:lnTo>
                    <a:pt x="390" y="210"/>
                  </a:lnTo>
                  <a:lnTo>
                    <a:pt x="396" y="216"/>
                  </a:lnTo>
                  <a:lnTo>
                    <a:pt x="396" y="222"/>
                  </a:lnTo>
                  <a:lnTo>
                    <a:pt x="414" y="222"/>
                  </a:lnTo>
                  <a:lnTo>
                    <a:pt x="414" y="210"/>
                  </a:lnTo>
                  <a:lnTo>
                    <a:pt x="396" y="192"/>
                  </a:lnTo>
                  <a:close/>
                  <a:moveTo>
                    <a:pt x="342" y="372"/>
                  </a:moveTo>
                  <a:lnTo>
                    <a:pt x="342" y="378"/>
                  </a:lnTo>
                  <a:lnTo>
                    <a:pt x="348" y="384"/>
                  </a:lnTo>
                  <a:lnTo>
                    <a:pt x="360" y="384"/>
                  </a:lnTo>
                  <a:lnTo>
                    <a:pt x="366" y="378"/>
                  </a:lnTo>
                  <a:lnTo>
                    <a:pt x="366" y="372"/>
                  </a:lnTo>
                  <a:lnTo>
                    <a:pt x="360" y="366"/>
                  </a:lnTo>
                  <a:lnTo>
                    <a:pt x="342" y="366"/>
                  </a:lnTo>
                  <a:lnTo>
                    <a:pt x="342" y="372"/>
                  </a:lnTo>
                  <a:close/>
                  <a:moveTo>
                    <a:pt x="444" y="312"/>
                  </a:moveTo>
                  <a:lnTo>
                    <a:pt x="432" y="312"/>
                  </a:lnTo>
                  <a:lnTo>
                    <a:pt x="432" y="330"/>
                  </a:lnTo>
                  <a:lnTo>
                    <a:pt x="444" y="336"/>
                  </a:lnTo>
                  <a:lnTo>
                    <a:pt x="450" y="330"/>
                  </a:lnTo>
                  <a:lnTo>
                    <a:pt x="450" y="318"/>
                  </a:lnTo>
                  <a:lnTo>
                    <a:pt x="444" y="312"/>
                  </a:lnTo>
                  <a:close/>
                  <a:moveTo>
                    <a:pt x="444" y="372"/>
                  </a:moveTo>
                  <a:lnTo>
                    <a:pt x="456" y="354"/>
                  </a:lnTo>
                  <a:lnTo>
                    <a:pt x="438" y="354"/>
                  </a:lnTo>
                  <a:lnTo>
                    <a:pt x="444" y="372"/>
                  </a:lnTo>
                  <a:close/>
                  <a:moveTo>
                    <a:pt x="276" y="222"/>
                  </a:moveTo>
                  <a:lnTo>
                    <a:pt x="276" y="240"/>
                  </a:lnTo>
                  <a:lnTo>
                    <a:pt x="288" y="240"/>
                  </a:lnTo>
                  <a:lnTo>
                    <a:pt x="276" y="222"/>
                  </a:lnTo>
                  <a:close/>
                  <a:moveTo>
                    <a:pt x="534" y="420"/>
                  </a:moveTo>
                  <a:lnTo>
                    <a:pt x="522" y="420"/>
                  </a:lnTo>
                  <a:lnTo>
                    <a:pt x="516" y="426"/>
                  </a:lnTo>
                  <a:lnTo>
                    <a:pt x="510" y="438"/>
                  </a:lnTo>
                  <a:lnTo>
                    <a:pt x="510" y="468"/>
                  </a:lnTo>
                  <a:lnTo>
                    <a:pt x="516" y="468"/>
                  </a:lnTo>
                  <a:lnTo>
                    <a:pt x="522" y="456"/>
                  </a:lnTo>
                  <a:lnTo>
                    <a:pt x="528" y="450"/>
                  </a:lnTo>
                  <a:lnTo>
                    <a:pt x="534" y="438"/>
                  </a:lnTo>
                  <a:lnTo>
                    <a:pt x="534" y="420"/>
                  </a:lnTo>
                  <a:close/>
                  <a:moveTo>
                    <a:pt x="462" y="384"/>
                  </a:moveTo>
                  <a:lnTo>
                    <a:pt x="456" y="408"/>
                  </a:lnTo>
                  <a:lnTo>
                    <a:pt x="498" y="378"/>
                  </a:lnTo>
                  <a:lnTo>
                    <a:pt x="486" y="372"/>
                  </a:lnTo>
                  <a:lnTo>
                    <a:pt x="462" y="384"/>
                  </a:lnTo>
                  <a:close/>
                  <a:moveTo>
                    <a:pt x="462" y="510"/>
                  </a:moveTo>
                  <a:lnTo>
                    <a:pt x="480" y="510"/>
                  </a:lnTo>
                  <a:lnTo>
                    <a:pt x="468" y="468"/>
                  </a:lnTo>
                  <a:lnTo>
                    <a:pt x="462" y="510"/>
                  </a:lnTo>
                  <a:close/>
                  <a:moveTo>
                    <a:pt x="276" y="330"/>
                  </a:moveTo>
                  <a:lnTo>
                    <a:pt x="270" y="336"/>
                  </a:lnTo>
                  <a:lnTo>
                    <a:pt x="270" y="348"/>
                  </a:lnTo>
                  <a:lnTo>
                    <a:pt x="276" y="348"/>
                  </a:lnTo>
                  <a:lnTo>
                    <a:pt x="288" y="336"/>
                  </a:lnTo>
                  <a:lnTo>
                    <a:pt x="282" y="330"/>
                  </a:lnTo>
                  <a:lnTo>
                    <a:pt x="276" y="330"/>
                  </a:lnTo>
                  <a:close/>
                  <a:moveTo>
                    <a:pt x="186" y="432"/>
                  </a:moveTo>
                  <a:lnTo>
                    <a:pt x="180" y="438"/>
                  </a:lnTo>
                  <a:lnTo>
                    <a:pt x="180" y="450"/>
                  </a:lnTo>
                  <a:lnTo>
                    <a:pt x="186" y="456"/>
                  </a:lnTo>
                  <a:lnTo>
                    <a:pt x="198" y="444"/>
                  </a:lnTo>
                  <a:lnTo>
                    <a:pt x="198" y="438"/>
                  </a:lnTo>
                  <a:lnTo>
                    <a:pt x="192" y="432"/>
                  </a:lnTo>
                  <a:lnTo>
                    <a:pt x="186" y="432"/>
                  </a:lnTo>
                  <a:close/>
                  <a:moveTo>
                    <a:pt x="384" y="528"/>
                  </a:moveTo>
                  <a:lnTo>
                    <a:pt x="378" y="528"/>
                  </a:lnTo>
                  <a:lnTo>
                    <a:pt x="378" y="516"/>
                  </a:lnTo>
                  <a:lnTo>
                    <a:pt x="372" y="510"/>
                  </a:lnTo>
                  <a:lnTo>
                    <a:pt x="342" y="510"/>
                  </a:lnTo>
                  <a:lnTo>
                    <a:pt x="306" y="504"/>
                  </a:lnTo>
                  <a:lnTo>
                    <a:pt x="276" y="504"/>
                  </a:lnTo>
                  <a:lnTo>
                    <a:pt x="246" y="486"/>
                  </a:lnTo>
                  <a:lnTo>
                    <a:pt x="228" y="504"/>
                  </a:lnTo>
                  <a:lnTo>
                    <a:pt x="234" y="510"/>
                  </a:lnTo>
                  <a:lnTo>
                    <a:pt x="246" y="516"/>
                  </a:lnTo>
                  <a:lnTo>
                    <a:pt x="252" y="522"/>
                  </a:lnTo>
                  <a:lnTo>
                    <a:pt x="258" y="516"/>
                  </a:lnTo>
                  <a:lnTo>
                    <a:pt x="264" y="528"/>
                  </a:lnTo>
                  <a:lnTo>
                    <a:pt x="300" y="528"/>
                  </a:lnTo>
                  <a:lnTo>
                    <a:pt x="312" y="552"/>
                  </a:lnTo>
                  <a:lnTo>
                    <a:pt x="354" y="546"/>
                  </a:lnTo>
                  <a:lnTo>
                    <a:pt x="354" y="540"/>
                  </a:lnTo>
                  <a:lnTo>
                    <a:pt x="402" y="540"/>
                  </a:lnTo>
                  <a:lnTo>
                    <a:pt x="414" y="528"/>
                  </a:lnTo>
                  <a:lnTo>
                    <a:pt x="414" y="522"/>
                  </a:lnTo>
                  <a:lnTo>
                    <a:pt x="408" y="516"/>
                  </a:lnTo>
                  <a:lnTo>
                    <a:pt x="402" y="516"/>
                  </a:lnTo>
                  <a:lnTo>
                    <a:pt x="396" y="522"/>
                  </a:lnTo>
                  <a:lnTo>
                    <a:pt x="390" y="522"/>
                  </a:lnTo>
                  <a:lnTo>
                    <a:pt x="384" y="528"/>
                  </a:lnTo>
                  <a:close/>
                  <a:moveTo>
                    <a:pt x="420" y="408"/>
                  </a:moveTo>
                  <a:lnTo>
                    <a:pt x="408" y="408"/>
                  </a:lnTo>
                  <a:lnTo>
                    <a:pt x="408" y="420"/>
                  </a:lnTo>
                  <a:lnTo>
                    <a:pt x="420" y="420"/>
                  </a:lnTo>
                  <a:lnTo>
                    <a:pt x="426" y="414"/>
                  </a:lnTo>
                  <a:lnTo>
                    <a:pt x="420" y="408"/>
                  </a:lnTo>
                  <a:close/>
                  <a:moveTo>
                    <a:pt x="114" y="276"/>
                  </a:moveTo>
                  <a:lnTo>
                    <a:pt x="90" y="288"/>
                  </a:lnTo>
                  <a:lnTo>
                    <a:pt x="84" y="288"/>
                  </a:lnTo>
                  <a:lnTo>
                    <a:pt x="66" y="312"/>
                  </a:lnTo>
                  <a:lnTo>
                    <a:pt x="96" y="336"/>
                  </a:lnTo>
                  <a:lnTo>
                    <a:pt x="96" y="348"/>
                  </a:lnTo>
                  <a:lnTo>
                    <a:pt x="90" y="366"/>
                  </a:lnTo>
                  <a:lnTo>
                    <a:pt x="90" y="384"/>
                  </a:lnTo>
                  <a:lnTo>
                    <a:pt x="96" y="390"/>
                  </a:lnTo>
                  <a:lnTo>
                    <a:pt x="108" y="396"/>
                  </a:lnTo>
                  <a:lnTo>
                    <a:pt x="114" y="396"/>
                  </a:lnTo>
                  <a:lnTo>
                    <a:pt x="114" y="390"/>
                  </a:lnTo>
                  <a:lnTo>
                    <a:pt x="126" y="378"/>
                  </a:lnTo>
                  <a:lnTo>
                    <a:pt x="132" y="378"/>
                  </a:lnTo>
                  <a:lnTo>
                    <a:pt x="156" y="420"/>
                  </a:lnTo>
                  <a:lnTo>
                    <a:pt x="162" y="390"/>
                  </a:lnTo>
                  <a:lnTo>
                    <a:pt x="180" y="414"/>
                  </a:lnTo>
                  <a:lnTo>
                    <a:pt x="204" y="420"/>
                  </a:lnTo>
                  <a:lnTo>
                    <a:pt x="186" y="402"/>
                  </a:lnTo>
                  <a:lnTo>
                    <a:pt x="192" y="396"/>
                  </a:lnTo>
                  <a:lnTo>
                    <a:pt x="192" y="372"/>
                  </a:lnTo>
                  <a:lnTo>
                    <a:pt x="186" y="366"/>
                  </a:lnTo>
                  <a:lnTo>
                    <a:pt x="180" y="354"/>
                  </a:lnTo>
                  <a:lnTo>
                    <a:pt x="174" y="348"/>
                  </a:lnTo>
                  <a:lnTo>
                    <a:pt x="168" y="336"/>
                  </a:lnTo>
                  <a:lnTo>
                    <a:pt x="168" y="330"/>
                  </a:lnTo>
                  <a:lnTo>
                    <a:pt x="186" y="330"/>
                  </a:lnTo>
                  <a:lnTo>
                    <a:pt x="198" y="336"/>
                  </a:lnTo>
                  <a:lnTo>
                    <a:pt x="210" y="348"/>
                  </a:lnTo>
                  <a:lnTo>
                    <a:pt x="222" y="342"/>
                  </a:lnTo>
                  <a:lnTo>
                    <a:pt x="210" y="336"/>
                  </a:lnTo>
                  <a:lnTo>
                    <a:pt x="204" y="324"/>
                  </a:lnTo>
                  <a:lnTo>
                    <a:pt x="192" y="318"/>
                  </a:lnTo>
                  <a:lnTo>
                    <a:pt x="186" y="312"/>
                  </a:lnTo>
                  <a:lnTo>
                    <a:pt x="174" y="306"/>
                  </a:lnTo>
                  <a:lnTo>
                    <a:pt x="156" y="294"/>
                  </a:lnTo>
                  <a:lnTo>
                    <a:pt x="138" y="288"/>
                  </a:lnTo>
                  <a:lnTo>
                    <a:pt x="126" y="282"/>
                  </a:lnTo>
                  <a:lnTo>
                    <a:pt x="120" y="276"/>
                  </a:lnTo>
                  <a:lnTo>
                    <a:pt x="114" y="276"/>
                  </a:lnTo>
                  <a:close/>
                </a:path>
              </a:pathLst>
            </a:custGeom>
            <a:grpFill/>
            <a:ln w="3175">
              <a:solidFill>
                <a:schemeClr val="bg1"/>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de-DE" sz="1800" b="0" i="0" u="none" strike="noStrike" kern="1200" cap="none" spc="0" normalizeH="0" baseline="0" noProof="0">
                <a:ln>
                  <a:noFill/>
                </a:ln>
                <a:solidFill>
                  <a:srgbClr val="FFC000"/>
                </a:solidFill>
                <a:effectLst/>
                <a:uLnTx/>
                <a:uFillTx/>
                <a:latin typeface="Calibri" pitchFamily="34" charset="0"/>
                <a:ea typeface="+mn-ea"/>
                <a:cs typeface="+mn-cs"/>
              </a:endParaRPr>
            </a:p>
          </p:txBody>
        </p:sp>
        <p:sp>
          <p:nvSpPr>
            <p:cNvPr id="133" name="Ghana" descr="© INSCALE GmbH, 05.05.2010&#10;http://www.presentationload.com/"/>
            <p:cNvSpPr>
              <a:spLocks/>
            </p:cNvSpPr>
            <p:nvPr/>
          </p:nvSpPr>
          <p:spPr bwMode="gray">
            <a:xfrm>
              <a:off x="4390230" y="4025767"/>
              <a:ext cx="104947" cy="160447"/>
            </a:xfrm>
            <a:custGeom>
              <a:avLst/>
              <a:gdLst>
                <a:gd name="T0" fmla="*/ 2147483647 w 324"/>
                <a:gd name="T1" fmla="*/ 2147483647 h 516"/>
                <a:gd name="T2" fmla="*/ 2147483647 w 324"/>
                <a:gd name="T3" fmla="*/ 2147483647 h 516"/>
                <a:gd name="T4" fmla="*/ 2147483647 w 324"/>
                <a:gd name="T5" fmla="*/ 2147483647 h 516"/>
                <a:gd name="T6" fmla="*/ 2147483647 w 324"/>
                <a:gd name="T7" fmla="*/ 2147483647 h 516"/>
                <a:gd name="T8" fmla="*/ 2147483647 w 324"/>
                <a:gd name="T9" fmla="*/ 2147483647 h 516"/>
                <a:gd name="T10" fmla="*/ 2147483647 w 324"/>
                <a:gd name="T11" fmla="*/ 2147483647 h 516"/>
                <a:gd name="T12" fmla="*/ 2147483647 w 324"/>
                <a:gd name="T13" fmla="*/ 2147483647 h 516"/>
                <a:gd name="T14" fmla="*/ 2147483647 w 324"/>
                <a:gd name="T15" fmla="*/ 2147483647 h 516"/>
                <a:gd name="T16" fmla="*/ 2147483647 w 324"/>
                <a:gd name="T17" fmla="*/ 2147483647 h 516"/>
                <a:gd name="T18" fmla="*/ 2147483647 w 324"/>
                <a:gd name="T19" fmla="*/ 2147483647 h 516"/>
                <a:gd name="T20" fmla="*/ 2147483647 w 324"/>
                <a:gd name="T21" fmla="*/ 2147483647 h 516"/>
                <a:gd name="T22" fmla="*/ 2147483647 w 324"/>
                <a:gd name="T23" fmla="*/ 2147483647 h 516"/>
                <a:gd name="T24" fmla="*/ 2147483647 w 324"/>
                <a:gd name="T25" fmla="*/ 2147483647 h 516"/>
                <a:gd name="T26" fmla="*/ 2147483647 w 324"/>
                <a:gd name="T27" fmla="*/ 0 h 516"/>
                <a:gd name="T28" fmla="*/ 2147483647 w 324"/>
                <a:gd name="T29" fmla="*/ 2147483647 h 516"/>
                <a:gd name="T30" fmla="*/ 2147483647 w 324"/>
                <a:gd name="T31" fmla="*/ 2147483647 h 516"/>
                <a:gd name="T32" fmla="*/ 2147483647 w 324"/>
                <a:gd name="T33" fmla="*/ 2147483647 h 516"/>
                <a:gd name="T34" fmla="*/ 2147483647 w 324"/>
                <a:gd name="T35" fmla="*/ 2147483647 h 516"/>
                <a:gd name="T36" fmla="*/ 2147483647 w 324"/>
                <a:gd name="T37" fmla="*/ 2147483647 h 516"/>
                <a:gd name="T38" fmla="*/ 2147483647 w 324"/>
                <a:gd name="T39" fmla="*/ 2147483647 h 516"/>
                <a:gd name="T40" fmla="*/ 2147483647 w 324"/>
                <a:gd name="T41" fmla="*/ 2147483647 h 516"/>
                <a:gd name="T42" fmla="*/ 2147483647 w 324"/>
                <a:gd name="T43" fmla="*/ 2147483647 h 516"/>
                <a:gd name="T44" fmla="*/ 2147483647 w 324"/>
                <a:gd name="T45" fmla="*/ 2147483647 h 516"/>
                <a:gd name="T46" fmla="*/ 2147483647 w 324"/>
                <a:gd name="T47" fmla="*/ 2147483647 h 516"/>
                <a:gd name="T48" fmla="*/ 2147483647 w 324"/>
                <a:gd name="T49" fmla="*/ 2147483647 h 516"/>
                <a:gd name="T50" fmla="*/ 2147483647 w 324"/>
                <a:gd name="T51" fmla="*/ 2147483647 h 516"/>
                <a:gd name="T52" fmla="*/ 2147483647 w 324"/>
                <a:gd name="T53" fmla="*/ 2147483647 h 516"/>
                <a:gd name="T54" fmla="*/ 0 w 324"/>
                <a:gd name="T55" fmla="*/ 2147483647 h 516"/>
                <a:gd name="T56" fmla="*/ 2147483647 w 324"/>
                <a:gd name="T57" fmla="*/ 2147483647 h 516"/>
                <a:gd name="T58" fmla="*/ 2147483647 w 324"/>
                <a:gd name="T59" fmla="*/ 2147483647 h 516"/>
                <a:gd name="T60" fmla="*/ 2147483647 w 324"/>
                <a:gd name="T61" fmla="*/ 2147483647 h 516"/>
                <a:gd name="T62" fmla="*/ 2147483647 w 324"/>
                <a:gd name="T63" fmla="*/ 2147483647 h 516"/>
                <a:gd name="T64" fmla="*/ 2147483647 w 324"/>
                <a:gd name="T65" fmla="*/ 2147483647 h 516"/>
                <a:gd name="T66" fmla="*/ 2147483647 w 324"/>
                <a:gd name="T67" fmla="*/ 2147483647 h 516"/>
                <a:gd name="T68" fmla="*/ 2147483647 w 324"/>
                <a:gd name="T69" fmla="*/ 2147483647 h 516"/>
                <a:gd name="T70" fmla="*/ 2147483647 w 324"/>
                <a:gd name="T71" fmla="*/ 2147483647 h 516"/>
                <a:gd name="T72" fmla="*/ 2147483647 w 324"/>
                <a:gd name="T73" fmla="*/ 2147483647 h 516"/>
                <a:gd name="T74" fmla="*/ 2147483647 w 324"/>
                <a:gd name="T75" fmla="*/ 2147483647 h 516"/>
                <a:gd name="T76" fmla="*/ 2147483647 w 324"/>
                <a:gd name="T77" fmla="*/ 2147483647 h 516"/>
                <a:gd name="T78" fmla="*/ 2147483647 w 324"/>
                <a:gd name="T79" fmla="*/ 2147483647 h 516"/>
                <a:gd name="T80" fmla="*/ 2147483647 w 324"/>
                <a:gd name="T81" fmla="*/ 2147483647 h 516"/>
                <a:gd name="T82" fmla="*/ 2147483647 w 324"/>
                <a:gd name="T83" fmla="*/ 2147483647 h 516"/>
                <a:gd name="T84" fmla="*/ 2147483647 w 324"/>
                <a:gd name="T85" fmla="*/ 2147483647 h 516"/>
                <a:gd name="T86" fmla="*/ 2147483647 w 324"/>
                <a:gd name="T87" fmla="*/ 2147483647 h 51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324"/>
                <a:gd name="T133" fmla="*/ 0 h 516"/>
                <a:gd name="T134" fmla="*/ 324 w 324"/>
                <a:gd name="T135" fmla="*/ 516 h 51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324" h="516">
                  <a:moveTo>
                    <a:pt x="282" y="342"/>
                  </a:moveTo>
                  <a:lnTo>
                    <a:pt x="282" y="330"/>
                  </a:lnTo>
                  <a:lnTo>
                    <a:pt x="288" y="318"/>
                  </a:lnTo>
                  <a:lnTo>
                    <a:pt x="288" y="306"/>
                  </a:lnTo>
                  <a:lnTo>
                    <a:pt x="282" y="300"/>
                  </a:lnTo>
                  <a:lnTo>
                    <a:pt x="276" y="300"/>
                  </a:lnTo>
                  <a:lnTo>
                    <a:pt x="276" y="282"/>
                  </a:lnTo>
                  <a:lnTo>
                    <a:pt x="282" y="276"/>
                  </a:lnTo>
                  <a:lnTo>
                    <a:pt x="282" y="234"/>
                  </a:lnTo>
                  <a:lnTo>
                    <a:pt x="288" y="228"/>
                  </a:lnTo>
                  <a:lnTo>
                    <a:pt x="288" y="216"/>
                  </a:lnTo>
                  <a:lnTo>
                    <a:pt x="282" y="210"/>
                  </a:lnTo>
                  <a:lnTo>
                    <a:pt x="270" y="204"/>
                  </a:lnTo>
                  <a:lnTo>
                    <a:pt x="264" y="198"/>
                  </a:lnTo>
                  <a:lnTo>
                    <a:pt x="276" y="186"/>
                  </a:lnTo>
                  <a:lnTo>
                    <a:pt x="282" y="186"/>
                  </a:lnTo>
                  <a:lnTo>
                    <a:pt x="282" y="180"/>
                  </a:lnTo>
                  <a:lnTo>
                    <a:pt x="270" y="168"/>
                  </a:lnTo>
                  <a:lnTo>
                    <a:pt x="276" y="156"/>
                  </a:lnTo>
                  <a:lnTo>
                    <a:pt x="276" y="132"/>
                  </a:lnTo>
                  <a:lnTo>
                    <a:pt x="270" y="126"/>
                  </a:lnTo>
                  <a:lnTo>
                    <a:pt x="264" y="126"/>
                  </a:lnTo>
                  <a:lnTo>
                    <a:pt x="252" y="138"/>
                  </a:lnTo>
                  <a:lnTo>
                    <a:pt x="264" y="60"/>
                  </a:lnTo>
                  <a:lnTo>
                    <a:pt x="228" y="36"/>
                  </a:lnTo>
                  <a:lnTo>
                    <a:pt x="240" y="24"/>
                  </a:lnTo>
                  <a:lnTo>
                    <a:pt x="240" y="6"/>
                  </a:lnTo>
                  <a:lnTo>
                    <a:pt x="222" y="0"/>
                  </a:lnTo>
                  <a:lnTo>
                    <a:pt x="198" y="12"/>
                  </a:lnTo>
                  <a:lnTo>
                    <a:pt x="42" y="12"/>
                  </a:lnTo>
                  <a:lnTo>
                    <a:pt x="36" y="18"/>
                  </a:lnTo>
                  <a:lnTo>
                    <a:pt x="30" y="30"/>
                  </a:lnTo>
                  <a:lnTo>
                    <a:pt x="30" y="48"/>
                  </a:lnTo>
                  <a:lnTo>
                    <a:pt x="36" y="48"/>
                  </a:lnTo>
                  <a:lnTo>
                    <a:pt x="42" y="78"/>
                  </a:lnTo>
                  <a:lnTo>
                    <a:pt x="42" y="132"/>
                  </a:lnTo>
                  <a:lnTo>
                    <a:pt x="48" y="126"/>
                  </a:lnTo>
                  <a:lnTo>
                    <a:pt x="54" y="156"/>
                  </a:lnTo>
                  <a:lnTo>
                    <a:pt x="42" y="156"/>
                  </a:lnTo>
                  <a:lnTo>
                    <a:pt x="42" y="162"/>
                  </a:lnTo>
                  <a:lnTo>
                    <a:pt x="48" y="168"/>
                  </a:lnTo>
                  <a:lnTo>
                    <a:pt x="48" y="180"/>
                  </a:lnTo>
                  <a:lnTo>
                    <a:pt x="54" y="192"/>
                  </a:lnTo>
                  <a:lnTo>
                    <a:pt x="54" y="204"/>
                  </a:lnTo>
                  <a:lnTo>
                    <a:pt x="60" y="216"/>
                  </a:lnTo>
                  <a:lnTo>
                    <a:pt x="60" y="228"/>
                  </a:lnTo>
                  <a:lnTo>
                    <a:pt x="48" y="252"/>
                  </a:lnTo>
                  <a:lnTo>
                    <a:pt x="42" y="258"/>
                  </a:lnTo>
                  <a:lnTo>
                    <a:pt x="36" y="270"/>
                  </a:lnTo>
                  <a:lnTo>
                    <a:pt x="36" y="288"/>
                  </a:lnTo>
                  <a:lnTo>
                    <a:pt x="30" y="300"/>
                  </a:lnTo>
                  <a:lnTo>
                    <a:pt x="30" y="312"/>
                  </a:lnTo>
                  <a:lnTo>
                    <a:pt x="12" y="330"/>
                  </a:lnTo>
                  <a:lnTo>
                    <a:pt x="6" y="342"/>
                  </a:lnTo>
                  <a:lnTo>
                    <a:pt x="0" y="348"/>
                  </a:lnTo>
                  <a:lnTo>
                    <a:pt x="0" y="372"/>
                  </a:lnTo>
                  <a:lnTo>
                    <a:pt x="6" y="384"/>
                  </a:lnTo>
                  <a:lnTo>
                    <a:pt x="12" y="402"/>
                  </a:lnTo>
                  <a:lnTo>
                    <a:pt x="12" y="414"/>
                  </a:lnTo>
                  <a:lnTo>
                    <a:pt x="18" y="426"/>
                  </a:lnTo>
                  <a:lnTo>
                    <a:pt x="24" y="432"/>
                  </a:lnTo>
                  <a:lnTo>
                    <a:pt x="24" y="438"/>
                  </a:lnTo>
                  <a:lnTo>
                    <a:pt x="48" y="444"/>
                  </a:lnTo>
                  <a:lnTo>
                    <a:pt x="48" y="498"/>
                  </a:lnTo>
                  <a:lnTo>
                    <a:pt x="72" y="498"/>
                  </a:lnTo>
                  <a:lnTo>
                    <a:pt x="78" y="504"/>
                  </a:lnTo>
                  <a:lnTo>
                    <a:pt x="78" y="510"/>
                  </a:lnTo>
                  <a:lnTo>
                    <a:pt x="84" y="516"/>
                  </a:lnTo>
                  <a:lnTo>
                    <a:pt x="96" y="516"/>
                  </a:lnTo>
                  <a:lnTo>
                    <a:pt x="108" y="510"/>
                  </a:lnTo>
                  <a:lnTo>
                    <a:pt x="114" y="504"/>
                  </a:lnTo>
                  <a:lnTo>
                    <a:pt x="132" y="492"/>
                  </a:lnTo>
                  <a:lnTo>
                    <a:pt x="138" y="486"/>
                  </a:lnTo>
                  <a:lnTo>
                    <a:pt x="150" y="480"/>
                  </a:lnTo>
                  <a:lnTo>
                    <a:pt x="180" y="480"/>
                  </a:lnTo>
                  <a:lnTo>
                    <a:pt x="186" y="474"/>
                  </a:lnTo>
                  <a:lnTo>
                    <a:pt x="198" y="468"/>
                  </a:lnTo>
                  <a:lnTo>
                    <a:pt x="216" y="450"/>
                  </a:lnTo>
                  <a:lnTo>
                    <a:pt x="228" y="450"/>
                  </a:lnTo>
                  <a:lnTo>
                    <a:pt x="234" y="444"/>
                  </a:lnTo>
                  <a:lnTo>
                    <a:pt x="240" y="444"/>
                  </a:lnTo>
                  <a:lnTo>
                    <a:pt x="258" y="426"/>
                  </a:lnTo>
                  <a:lnTo>
                    <a:pt x="270" y="426"/>
                  </a:lnTo>
                  <a:lnTo>
                    <a:pt x="276" y="432"/>
                  </a:lnTo>
                  <a:lnTo>
                    <a:pt x="294" y="432"/>
                  </a:lnTo>
                  <a:lnTo>
                    <a:pt x="306" y="426"/>
                  </a:lnTo>
                  <a:lnTo>
                    <a:pt x="324" y="408"/>
                  </a:lnTo>
                  <a:lnTo>
                    <a:pt x="294" y="384"/>
                  </a:lnTo>
                  <a:lnTo>
                    <a:pt x="282" y="342"/>
                  </a:lnTo>
                  <a:close/>
                </a:path>
              </a:pathLst>
            </a:custGeom>
            <a:grpFill/>
            <a:ln w="3175">
              <a:solidFill>
                <a:schemeClr val="bg1"/>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de-DE" sz="1800" b="0" i="0" u="none" strike="noStrike" kern="1200" cap="none" spc="0" normalizeH="0" baseline="0" noProof="0">
                <a:ln>
                  <a:noFill/>
                </a:ln>
                <a:solidFill>
                  <a:srgbClr val="FFC000"/>
                </a:solidFill>
                <a:effectLst/>
                <a:uLnTx/>
                <a:uFillTx/>
                <a:latin typeface="Calibri" pitchFamily="34" charset="0"/>
                <a:ea typeface="+mn-ea"/>
                <a:cs typeface="+mn-cs"/>
              </a:endParaRPr>
            </a:p>
          </p:txBody>
        </p:sp>
        <p:sp>
          <p:nvSpPr>
            <p:cNvPr id="134" name="Georgia" descr="© INSCALE GmbH, 05.05.2010&#10;http://www.presentationload.com/"/>
            <p:cNvSpPr>
              <a:spLocks/>
            </p:cNvSpPr>
            <p:nvPr/>
          </p:nvSpPr>
          <p:spPr bwMode="gray">
            <a:xfrm>
              <a:off x="5325793" y="3213733"/>
              <a:ext cx="149742" cy="66138"/>
            </a:xfrm>
            <a:custGeom>
              <a:avLst/>
              <a:gdLst>
                <a:gd name="T0" fmla="*/ 2147483647 w 462"/>
                <a:gd name="T1" fmla="*/ 2147483647 h 210"/>
                <a:gd name="T2" fmla="*/ 2147483647 w 462"/>
                <a:gd name="T3" fmla="*/ 2147483647 h 210"/>
                <a:gd name="T4" fmla="*/ 2147483647 w 462"/>
                <a:gd name="T5" fmla="*/ 2147483647 h 210"/>
                <a:gd name="T6" fmla="*/ 2147483647 w 462"/>
                <a:gd name="T7" fmla="*/ 2147483647 h 210"/>
                <a:gd name="T8" fmla="*/ 2147483647 w 462"/>
                <a:gd name="T9" fmla="*/ 2147483647 h 210"/>
                <a:gd name="T10" fmla="*/ 2147483647 w 462"/>
                <a:gd name="T11" fmla="*/ 2147483647 h 210"/>
                <a:gd name="T12" fmla="*/ 2147483647 w 462"/>
                <a:gd name="T13" fmla="*/ 2147483647 h 210"/>
                <a:gd name="T14" fmla="*/ 2147483647 w 462"/>
                <a:gd name="T15" fmla="*/ 2147483647 h 210"/>
                <a:gd name="T16" fmla="*/ 2147483647 w 462"/>
                <a:gd name="T17" fmla="*/ 2147483647 h 210"/>
                <a:gd name="T18" fmla="*/ 2147483647 w 462"/>
                <a:gd name="T19" fmla="*/ 2147483647 h 210"/>
                <a:gd name="T20" fmla="*/ 2147483647 w 462"/>
                <a:gd name="T21" fmla="*/ 2147483647 h 210"/>
                <a:gd name="T22" fmla="*/ 2147483647 w 462"/>
                <a:gd name="T23" fmla="*/ 2147483647 h 210"/>
                <a:gd name="T24" fmla="*/ 2147483647 w 462"/>
                <a:gd name="T25" fmla="*/ 2147483647 h 210"/>
                <a:gd name="T26" fmla="*/ 2147483647 w 462"/>
                <a:gd name="T27" fmla="*/ 2147483647 h 210"/>
                <a:gd name="T28" fmla="*/ 2147483647 w 462"/>
                <a:gd name="T29" fmla="*/ 2147483647 h 210"/>
                <a:gd name="T30" fmla="*/ 2147483647 w 462"/>
                <a:gd name="T31" fmla="*/ 2147483647 h 210"/>
                <a:gd name="T32" fmla="*/ 2147483647 w 462"/>
                <a:gd name="T33" fmla="*/ 2147483647 h 210"/>
                <a:gd name="T34" fmla="*/ 2147483647 w 462"/>
                <a:gd name="T35" fmla="*/ 2147483647 h 210"/>
                <a:gd name="T36" fmla="*/ 2147483647 w 462"/>
                <a:gd name="T37" fmla="*/ 2147483647 h 210"/>
                <a:gd name="T38" fmla="*/ 2147483647 w 462"/>
                <a:gd name="T39" fmla="*/ 2147483647 h 210"/>
                <a:gd name="T40" fmla="*/ 2147483647 w 462"/>
                <a:gd name="T41" fmla="*/ 2147483647 h 210"/>
                <a:gd name="T42" fmla="*/ 2147483647 w 462"/>
                <a:gd name="T43" fmla="*/ 2147483647 h 210"/>
                <a:gd name="T44" fmla="*/ 2147483647 w 462"/>
                <a:gd name="T45" fmla="*/ 2147483647 h 210"/>
                <a:gd name="T46" fmla="*/ 2147483647 w 462"/>
                <a:gd name="T47" fmla="*/ 2147483647 h 210"/>
                <a:gd name="T48" fmla="*/ 2147483647 w 462"/>
                <a:gd name="T49" fmla="*/ 2147483647 h 210"/>
                <a:gd name="T50" fmla="*/ 2147483647 w 462"/>
                <a:gd name="T51" fmla="*/ 2147483647 h 210"/>
                <a:gd name="T52" fmla="*/ 2147483647 w 462"/>
                <a:gd name="T53" fmla="*/ 2147483647 h 210"/>
                <a:gd name="T54" fmla="*/ 2147483647 w 462"/>
                <a:gd name="T55" fmla="*/ 2147483647 h 210"/>
                <a:gd name="T56" fmla="*/ 2147483647 w 462"/>
                <a:gd name="T57" fmla="*/ 2147483647 h 210"/>
                <a:gd name="T58" fmla="*/ 2147483647 w 462"/>
                <a:gd name="T59" fmla="*/ 2147483647 h 210"/>
                <a:gd name="T60" fmla="*/ 2147483647 w 462"/>
                <a:gd name="T61" fmla="*/ 2147483647 h 210"/>
                <a:gd name="T62" fmla="*/ 2147483647 w 462"/>
                <a:gd name="T63" fmla="*/ 2147483647 h 210"/>
                <a:gd name="T64" fmla="*/ 2147483647 w 462"/>
                <a:gd name="T65" fmla="*/ 2147483647 h 210"/>
                <a:gd name="T66" fmla="*/ 2147483647 w 462"/>
                <a:gd name="T67" fmla="*/ 2147483647 h 210"/>
                <a:gd name="T68" fmla="*/ 2147483647 w 462"/>
                <a:gd name="T69" fmla="*/ 2147483647 h 210"/>
                <a:gd name="T70" fmla="*/ 2147483647 w 462"/>
                <a:gd name="T71" fmla="*/ 2147483647 h 210"/>
                <a:gd name="T72" fmla="*/ 2147483647 w 462"/>
                <a:gd name="T73" fmla="*/ 2147483647 h 210"/>
                <a:gd name="T74" fmla="*/ 2147483647 w 462"/>
                <a:gd name="T75" fmla="*/ 2147483647 h 210"/>
                <a:gd name="T76" fmla="*/ 2147483647 w 462"/>
                <a:gd name="T77" fmla="*/ 2147483647 h 210"/>
                <a:gd name="T78" fmla="*/ 2147483647 w 462"/>
                <a:gd name="T79" fmla="*/ 2147483647 h 210"/>
                <a:gd name="T80" fmla="*/ 2147483647 w 462"/>
                <a:gd name="T81" fmla="*/ 0 h 210"/>
                <a:gd name="T82" fmla="*/ 0 w 462"/>
                <a:gd name="T83" fmla="*/ 2147483647 h 210"/>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462"/>
                <a:gd name="T127" fmla="*/ 0 h 210"/>
                <a:gd name="T128" fmla="*/ 462 w 462"/>
                <a:gd name="T129" fmla="*/ 210 h 210"/>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462" h="210">
                  <a:moveTo>
                    <a:pt x="6" y="18"/>
                  </a:moveTo>
                  <a:lnTo>
                    <a:pt x="12" y="18"/>
                  </a:lnTo>
                  <a:lnTo>
                    <a:pt x="18" y="24"/>
                  </a:lnTo>
                  <a:lnTo>
                    <a:pt x="30" y="30"/>
                  </a:lnTo>
                  <a:lnTo>
                    <a:pt x="42" y="42"/>
                  </a:lnTo>
                  <a:lnTo>
                    <a:pt x="60" y="48"/>
                  </a:lnTo>
                  <a:lnTo>
                    <a:pt x="72" y="54"/>
                  </a:lnTo>
                  <a:lnTo>
                    <a:pt x="78" y="54"/>
                  </a:lnTo>
                  <a:lnTo>
                    <a:pt x="84" y="60"/>
                  </a:lnTo>
                  <a:lnTo>
                    <a:pt x="96" y="66"/>
                  </a:lnTo>
                  <a:lnTo>
                    <a:pt x="102" y="78"/>
                  </a:lnTo>
                  <a:lnTo>
                    <a:pt x="114" y="84"/>
                  </a:lnTo>
                  <a:lnTo>
                    <a:pt x="114" y="96"/>
                  </a:lnTo>
                  <a:lnTo>
                    <a:pt x="120" y="114"/>
                  </a:lnTo>
                  <a:lnTo>
                    <a:pt x="120" y="132"/>
                  </a:lnTo>
                  <a:lnTo>
                    <a:pt x="126" y="138"/>
                  </a:lnTo>
                  <a:lnTo>
                    <a:pt x="132" y="150"/>
                  </a:lnTo>
                  <a:lnTo>
                    <a:pt x="138" y="156"/>
                  </a:lnTo>
                  <a:lnTo>
                    <a:pt x="138" y="162"/>
                  </a:lnTo>
                  <a:lnTo>
                    <a:pt x="132" y="168"/>
                  </a:lnTo>
                  <a:lnTo>
                    <a:pt x="168" y="174"/>
                  </a:lnTo>
                  <a:lnTo>
                    <a:pt x="174" y="168"/>
                  </a:lnTo>
                  <a:lnTo>
                    <a:pt x="186" y="162"/>
                  </a:lnTo>
                  <a:lnTo>
                    <a:pt x="198" y="162"/>
                  </a:lnTo>
                  <a:lnTo>
                    <a:pt x="210" y="168"/>
                  </a:lnTo>
                  <a:lnTo>
                    <a:pt x="216" y="174"/>
                  </a:lnTo>
                  <a:lnTo>
                    <a:pt x="222" y="186"/>
                  </a:lnTo>
                  <a:lnTo>
                    <a:pt x="222" y="192"/>
                  </a:lnTo>
                  <a:lnTo>
                    <a:pt x="246" y="192"/>
                  </a:lnTo>
                  <a:lnTo>
                    <a:pt x="246" y="198"/>
                  </a:lnTo>
                  <a:lnTo>
                    <a:pt x="252" y="204"/>
                  </a:lnTo>
                  <a:lnTo>
                    <a:pt x="276" y="198"/>
                  </a:lnTo>
                  <a:lnTo>
                    <a:pt x="282" y="192"/>
                  </a:lnTo>
                  <a:lnTo>
                    <a:pt x="336" y="198"/>
                  </a:lnTo>
                  <a:lnTo>
                    <a:pt x="336" y="180"/>
                  </a:lnTo>
                  <a:lnTo>
                    <a:pt x="342" y="180"/>
                  </a:lnTo>
                  <a:lnTo>
                    <a:pt x="348" y="186"/>
                  </a:lnTo>
                  <a:lnTo>
                    <a:pt x="354" y="186"/>
                  </a:lnTo>
                  <a:lnTo>
                    <a:pt x="354" y="180"/>
                  </a:lnTo>
                  <a:lnTo>
                    <a:pt x="366" y="168"/>
                  </a:lnTo>
                  <a:lnTo>
                    <a:pt x="390" y="168"/>
                  </a:lnTo>
                  <a:lnTo>
                    <a:pt x="396" y="174"/>
                  </a:lnTo>
                  <a:lnTo>
                    <a:pt x="396" y="180"/>
                  </a:lnTo>
                  <a:lnTo>
                    <a:pt x="414" y="198"/>
                  </a:lnTo>
                  <a:lnTo>
                    <a:pt x="426" y="192"/>
                  </a:lnTo>
                  <a:lnTo>
                    <a:pt x="438" y="192"/>
                  </a:lnTo>
                  <a:lnTo>
                    <a:pt x="456" y="210"/>
                  </a:lnTo>
                  <a:lnTo>
                    <a:pt x="462" y="204"/>
                  </a:lnTo>
                  <a:lnTo>
                    <a:pt x="456" y="192"/>
                  </a:lnTo>
                  <a:lnTo>
                    <a:pt x="450" y="186"/>
                  </a:lnTo>
                  <a:lnTo>
                    <a:pt x="444" y="174"/>
                  </a:lnTo>
                  <a:lnTo>
                    <a:pt x="438" y="168"/>
                  </a:lnTo>
                  <a:lnTo>
                    <a:pt x="432" y="168"/>
                  </a:lnTo>
                  <a:lnTo>
                    <a:pt x="414" y="150"/>
                  </a:lnTo>
                  <a:lnTo>
                    <a:pt x="420" y="144"/>
                  </a:lnTo>
                  <a:lnTo>
                    <a:pt x="432" y="144"/>
                  </a:lnTo>
                  <a:lnTo>
                    <a:pt x="420" y="132"/>
                  </a:lnTo>
                  <a:lnTo>
                    <a:pt x="408" y="126"/>
                  </a:lnTo>
                  <a:lnTo>
                    <a:pt x="396" y="114"/>
                  </a:lnTo>
                  <a:lnTo>
                    <a:pt x="378" y="114"/>
                  </a:lnTo>
                  <a:lnTo>
                    <a:pt x="378" y="108"/>
                  </a:lnTo>
                  <a:lnTo>
                    <a:pt x="384" y="102"/>
                  </a:lnTo>
                  <a:lnTo>
                    <a:pt x="384" y="90"/>
                  </a:lnTo>
                  <a:lnTo>
                    <a:pt x="354" y="84"/>
                  </a:lnTo>
                  <a:lnTo>
                    <a:pt x="342" y="72"/>
                  </a:lnTo>
                  <a:lnTo>
                    <a:pt x="330" y="66"/>
                  </a:lnTo>
                  <a:lnTo>
                    <a:pt x="300" y="66"/>
                  </a:lnTo>
                  <a:lnTo>
                    <a:pt x="300" y="72"/>
                  </a:lnTo>
                  <a:lnTo>
                    <a:pt x="288" y="72"/>
                  </a:lnTo>
                  <a:lnTo>
                    <a:pt x="282" y="78"/>
                  </a:lnTo>
                  <a:lnTo>
                    <a:pt x="258" y="78"/>
                  </a:lnTo>
                  <a:lnTo>
                    <a:pt x="246" y="72"/>
                  </a:lnTo>
                  <a:lnTo>
                    <a:pt x="240" y="72"/>
                  </a:lnTo>
                  <a:lnTo>
                    <a:pt x="240" y="66"/>
                  </a:lnTo>
                  <a:lnTo>
                    <a:pt x="192" y="36"/>
                  </a:lnTo>
                  <a:lnTo>
                    <a:pt x="186" y="36"/>
                  </a:lnTo>
                  <a:lnTo>
                    <a:pt x="180" y="30"/>
                  </a:lnTo>
                  <a:lnTo>
                    <a:pt x="144" y="30"/>
                  </a:lnTo>
                  <a:lnTo>
                    <a:pt x="84" y="18"/>
                  </a:lnTo>
                  <a:lnTo>
                    <a:pt x="66" y="12"/>
                  </a:lnTo>
                  <a:lnTo>
                    <a:pt x="54" y="6"/>
                  </a:lnTo>
                  <a:lnTo>
                    <a:pt x="36" y="0"/>
                  </a:lnTo>
                  <a:lnTo>
                    <a:pt x="24" y="0"/>
                  </a:lnTo>
                  <a:lnTo>
                    <a:pt x="0" y="18"/>
                  </a:lnTo>
                  <a:lnTo>
                    <a:pt x="6" y="18"/>
                  </a:lnTo>
                  <a:close/>
                </a:path>
              </a:pathLst>
            </a:custGeom>
            <a:grpFill/>
            <a:ln w="3175">
              <a:solidFill>
                <a:schemeClr val="bg1"/>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de-DE" sz="1800" b="0" i="0" u="none" strike="noStrike" kern="1200" cap="none" spc="0" normalizeH="0" baseline="0" noProof="0">
                <a:ln>
                  <a:noFill/>
                </a:ln>
                <a:solidFill>
                  <a:srgbClr val="FFC000"/>
                </a:solidFill>
                <a:effectLst/>
                <a:uLnTx/>
                <a:uFillTx/>
                <a:latin typeface="Calibri" pitchFamily="34" charset="0"/>
                <a:ea typeface="+mn-ea"/>
                <a:cs typeface="+mn-cs"/>
              </a:endParaRPr>
            </a:p>
          </p:txBody>
        </p:sp>
        <p:sp>
          <p:nvSpPr>
            <p:cNvPr id="135" name="The Gambia" descr="© INSCALE GmbH, 05.05.2010&#10;http://www.presentationload.com/"/>
            <p:cNvSpPr>
              <a:spLocks/>
            </p:cNvSpPr>
            <p:nvPr/>
          </p:nvSpPr>
          <p:spPr bwMode="gray">
            <a:xfrm>
              <a:off x="4083068" y="3959629"/>
              <a:ext cx="70391" cy="15922"/>
            </a:xfrm>
            <a:custGeom>
              <a:avLst/>
              <a:gdLst>
                <a:gd name="T0" fmla="*/ 2147483647 w 216"/>
                <a:gd name="T1" fmla="*/ 2147483647 h 54"/>
                <a:gd name="T2" fmla="*/ 2147483647 w 216"/>
                <a:gd name="T3" fmla="*/ 2147483647 h 54"/>
                <a:gd name="T4" fmla="*/ 2147483647 w 216"/>
                <a:gd name="T5" fmla="*/ 2147483647 h 54"/>
                <a:gd name="T6" fmla="*/ 2147483647 w 216"/>
                <a:gd name="T7" fmla="*/ 2147483647 h 54"/>
                <a:gd name="T8" fmla="*/ 0 w 216"/>
                <a:gd name="T9" fmla="*/ 2147483647 h 54"/>
                <a:gd name="T10" fmla="*/ 0 w 216"/>
                <a:gd name="T11" fmla="*/ 2147483647 h 54"/>
                <a:gd name="T12" fmla="*/ 2147483647 w 216"/>
                <a:gd name="T13" fmla="*/ 2147483647 h 54"/>
                <a:gd name="T14" fmla="*/ 2147483647 w 216"/>
                <a:gd name="T15" fmla="*/ 2147483647 h 54"/>
                <a:gd name="T16" fmla="*/ 2147483647 w 216"/>
                <a:gd name="T17" fmla="*/ 2147483647 h 54"/>
                <a:gd name="T18" fmla="*/ 2147483647 w 216"/>
                <a:gd name="T19" fmla="*/ 2147483647 h 54"/>
                <a:gd name="T20" fmla="*/ 2147483647 w 216"/>
                <a:gd name="T21" fmla="*/ 2147483647 h 54"/>
                <a:gd name="T22" fmla="*/ 2147483647 w 216"/>
                <a:gd name="T23" fmla="*/ 2147483647 h 54"/>
                <a:gd name="T24" fmla="*/ 2147483647 w 216"/>
                <a:gd name="T25" fmla="*/ 2147483647 h 54"/>
                <a:gd name="T26" fmla="*/ 2147483647 w 216"/>
                <a:gd name="T27" fmla="*/ 2147483647 h 54"/>
                <a:gd name="T28" fmla="*/ 2147483647 w 216"/>
                <a:gd name="T29" fmla="*/ 2147483647 h 54"/>
                <a:gd name="T30" fmla="*/ 2147483647 w 216"/>
                <a:gd name="T31" fmla="*/ 2147483647 h 54"/>
                <a:gd name="T32" fmla="*/ 2147483647 w 216"/>
                <a:gd name="T33" fmla="*/ 2147483647 h 54"/>
                <a:gd name="T34" fmla="*/ 2147483647 w 216"/>
                <a:gd name="T35" fmla="*/ 2147483647 h 54"/>
                <a:gd name="T36" fmla="*/ 2147483647 w 216"/>
                <a:gd name="T37" fmla="*/ 2147483647 h 54"/>
                <a:gd name="T38" fmla="*/ 2147483647 w 216"/>
                <a:gd name="T39" fmla="*/ 2147483647 h 54"/>
                <a:gd name="T40" fmla="*/ 2147483647 w 216"/>
                <a:gd name="T41" fmla="*/ 2147483647 h 54"/>
                <a:gd name="T42" fmla="*/ 2147483647 w 216"/>
                <a:gd name="T43" fmla="*/ 2147483647 h 54"/>
                <a:gd name="T44" fmla="*/ 2147483647 w 216"/>
                <a:gd name="T45" fmla="*/ 2147483647 h 54"/>
                <a:gd name="T46" fmla="*/ 2147483647 w 216"/>
                <a:gd name="T47" fmla="*/ 2147483647 h 54"/>
                <a:gd name="T48" fmla="*/ 2147483647 w 216"/>
                <a:gd name="T49" fmla="*/ 2147483647 h 54"/>
                <a:gd name="T50" fmla="*/ 2147483647 w 216"/>
                <a:gd name="T51" fmla="*/ 2147483647 h 54"/>
                <a:gd name="T52" fmla="*/ 2147483647 w 216"/>
                <a:gd name="T53" fmla="*/ 2147483647 h 54"/>
                <a:gd name="T54" fmla="*/ 2147483647 w 216"/>
                <a:gd name="T55" fmla="*/ 2147483647 h 54"/>
                <a:gd name="T56" fmla="*/ 2147483647 w 216"/>
                <a:gd name="T57" fmla="*/ 2147483647 h 54"/>
                <a:gd name="T58" fmla="*/ 2147483647 w 216"/>
                <a:gd name="T59" fmla="*/ 0 h 54"/>
                <a:gd name="T60" fmla="*/ 2147483647 w 216"/>
                <a:gd name="T61" fmla="*/ 0 h 54"/>
                <a:gd name="T62" fmla="*/ 2147483647 w 216"/>
                <a:gd name="T63" fmla="*/ 2147483647 h 54"/>
                <a:gd name="T64" fmla="*/ 2147483647 w 216"/>
                <a:gd name="T65" fmla="*/ 2147483647 h 54"/>
                <a:gd name="T66" fmla="*/ 2147483647 w 216"/>
                <a:gd name="T67" fmla="*/ 2147483647 h 54"/>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216"/>
                <a:gd name="T103" fmla="*/ 0 h 54"/>
                <a:gd name="T104" fmla="*/ 216 w 216"/>
                <a:gd name="T105" fmla="*/ 54 h 54"/>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216" h="54">
                  <a:moveTo>
                    <a:pt x="18" y="18"/>
                  </a:moveTo>
                  <a:lnTo>
                    <a:pt x="12" y="24"/>
                  </a:lnTo>
                  <a:lnTo>
                    <a:pt x="6" y="36"/>
                  </a:lnTo>
                  <a:lnTo>
                    <a:pt x="6" y="42"/>
                  </a:lnTo>
                  <a:lnTo>
                    <a:pt x="0" y="48"/>
                  </a:lnTo>
                  <a:lnTo>
                    <a:pt x="0" y="54"/>
                  </a:lnTo>
                  <a:lnTo>
                    <a:pt x="72" y="54"/>
                  </a:lnTo>
                  <a:lnTo>
                    <a:pt x="72" y="42"/>
                  </a:lnTo>
                  <a:lnTo>
                    <a:pt x="84" y="42"/>
                  </a:lnTo>
                  <a:lnTo>
                    <a:pt x="90" y="36"/>
                  </a:lnTo>
                  <a:lnTo>
                    <a:pt x="114" y="36"/>
                  </a:lnTo>
                  <a:lnTo>
                    <a:pt x="120" y="24"/>
                  </a:lnTo>
                  <a:lnTo>
                    <a:pt x="126" y="18"/>
                  </a:lnTo>
                  <a:lnTo>
                    <a:pt x="132" y="24"/>
                  </a:lnTo>
                  <a:lnTo>
                    <a:pt x="144" y="30"/>
                  </a:lnTo>
                  <a:lnTo>
                    <a:pt x="150" y="42"/>
                  </a:lnTo>
                  <a:lnTo>
                    <a:pt x="168" y="48"/>
                  </a:lnTo>
                  <a:lnTo>
                    <a:pt x="192" y="48"/>
                  </a:lnTo>
                  <a:lnTo>
                    <a:pt x="198" y="42"/>
                  </a:lnTo>
                  <a:lnTo>
                    <a:pt x="210" y="36"/>
                  </a:lnTo>
                  <a:lnTo>
                    <a:pt x="216" y="30"/>
                  </a:lnTo>
                  <a:lnTo>
                    <a:pt x="216" y="24"/>
                  </a:lnTo>
                  <a:lnTo>
                    <a:pt x="210" y="18"/>
                  </a:lnTo>
                  <a:lnTo>
                    <a:pt x="186" y="18"/>
                  </a:lnTo>
                  <a:lnTo>
                    <a:pt x="180" y="24"/>
                  </a:lnTo>
                  <a:lnTo>
                    <a:pt x="168" y="24"/>
                  </a:lnTo>
                  <a:lnTo>
                    <a:pt x="162" y="12"/>
                  </a:lnTo>
                  <a:lnTo>
                    <a:pt x="156" y="6"/>
                  </a:lnTo>
                  <a:lnTo>
                    <a:pt x="144" y="12"/>
                  </a:lnTo>
                  <a:lnTo>
                    <a:pt x="144" y="0"/>
                  </a:lnTo>
                  <a:lnTo>
                    <a:pt x="90" y="0"/>
                  </a:lnTo>
                  <a:lnTo>
                    <a:pt x="90" y="12"/>
                  </a:lnTo>
                  <a:lnTo>
                    <a:pt x="18" y="12"/>
                  </a:lnTo>
                  <a:lnTo>
                    <a:pt x="18" y="18"/>
                  </a:lnTo>
                  <a:close/>
                </a:path>
              </a:pathLst>
            </a:custGeom>
            <a:grpFill/>
            <a:ln w="3175">
              <a:solidFill>
                <a:schemeClr val="bg1"/>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de-DE" sz="1800" b="0" i="0" u="none" strike="noStrike" kern="1200" cap="none" spc="0" normalizeH="0" baseline="0" noProof="0">
                <a:ln>
                  <a:noFill/>
                </a:ln>
                <a:solidFill>
                  <a:srgbClr val="FFC000"/>
                </a:solidFill>
                <a:effectLst/>
                <a:uLnTx/>
                <a:uFillTx/>
                <a:latin typeface="Calibri" pitchFamily="34" charset="0"/>
                <a:ea typeface="+mn-ea"/>
                <a:cs typeface="+mn-cs"/>
              </a:endParaRPr>
            </a:p>
          </p:txBody>
        </p:sp>
        <p:sp>
          <p:nvSpPr>
            <p:cNvPr id="136" name="Gabon" descr="© INSCALE GmbH, 05.05.2010&#10;http://www.presentationload.com/"/>
            <p:cNvSpPr>
              <a:spLocks/>
            </p:cNvSpPr>
            <p:nvPr/>
          </p:nvSpPr>
          <p:spPr bwMode="gray">
            <a:xfrm>
              <a:off x="4666675" y="4243780"/>
              <a:ext cx="135663" cy="159223"/>
            </a:xfrm>
            <a:custGeom>
              <a:avLst/>
              <a:gdLst>
                <a:gd name="T0" fmla="*/ 2147483647 w 420"/>
                <a:gd name="T1" fmla="*/ 2147483647 h 510"/>
                <a:gd name="T2" fmla="*/ 2147483647 w 420"/>
                <a:gd name="T3" fmla="*/ 2147483647 h 510"/>
                <a:gd name="T4" fmla="*/ 2147483647 w 420"/>
                <a:gd name="T5" fmla="*/ 2147483647 h 510"/>
                <a:gd name="T6" fmla="*/ 2147483647 w 420"/>
                <a:gd name="T7" fmla="*/ 2147483647 h 510"/>
                <a:gd name="T8" fmla="*/ 2147483647 w 420"/>
                <a:gd name="T9" fmla="*/ 2147483647 h 510"/>
                <a:gd name="T10" fmla="*/ 2147483647 w 420"/>
                <a:gd name="T11" fmla="*/ 2147483647 h 510"/>
                <a:gd name="T12" fmla="*/ 2147483647 w 420"/>
                <a:gd name="T13" fmla="*/ 2147483647 h 510"/>
                <a:gd name="T14" fmla="*/ 2147483647 w 420"/>
                <a:gd name="T15" fmla="*/ 2147483647 h 510"/>
                <a:gd name="T16" fmla="*/ 2147483647 w 420"/>
                <a:gd name="T17" fmla="*/ 2147483647 h 510"/>
                <a:gd name="T18" fmla="*/ 2147483647 w 420"/>
                <a:gd name="T19" fmla="*/ 2147483647 h 510"/>
                <a:gd name="T20" fmla="*/ 2147483647 w 420"/>
                <a:gd name="T21" fmla="*/ 2147483647 h 510"/>
                <a:gd name="T22" fmla="*/ 2147483647 w 420"/>
                <a:gd name="T23" fmla="*/ 2147483647 h 510"/>
                <a:gd name="T24" fmla="*/ 2147483647 w 420"/>
                <a:gd name="T25" fmla="*/ 2147483647 h 510"/>
                <a:gd name="T26" fmla="*/ 2147483647 w 420"/>
                <a:gd name="T27" fmla="*/ 2147483647 h 510"/>
                <a:gd name="T28" fmla="*/ 2147483647 w 420"/>
                <a:gd name="T29" fmla="*/ 2147483647 h 510"/>
                <a:gd name="T30" fmla="*/ 2147483647 w 420"/>
                <a:gd name="T31" fmla="*/ 2147483647 h 510"/>
                <a:gd name="T32" fmla="*/ 2147483647 w 420"/>
                <a:gd name="T33" fmla="*/ 2147483647 h 510"/>
                <a:gd name="T34" fmla="*/ 2147483647 w 420"/>
                <a:gd name="T35" fmla="*/ 2147483647 h 510"/>
                <a:gd name="T36" fmla="*/ 2147483647 w 420"/>
                <a:gd name="T37" fmla="*/ 2147483647 h 510"/>
                <a:gd name="T38" fmla="*/ 2147483647 w 420"/>
                <a:gd name="T39" fmla="*/ 2147483647 h 510"/>
                <a:gd name="T40" fmla="*/ 2147483647 w 420"/>
                <a:gd name="T41" fmla="*/ 2147483647 h 510"/>
                <a:gd name="T42" fmla="*/ 2147483647 w 420"/>
                <a:gd name="T43" fmla="*/ 2147483647 h 510"/>
                <a:gd name="T44" fmla="*/ 2147483647 w 420"/>
                <a:gd name="T45" fmla="*/ 2147483647 h 510"/>
                <a:gd name="T46" fmla="*/ 2147483647 w 420"/>
                <a:gd name="T47" fmla="*/ 2147483647 h 510"/>
                <a:gd name="T48" fmla="*/ 2147483647 w 420"/>
                <a:gd name="T49" fmla="*/ 2147483647 h 510"/>
                <a:gd name="T50" fmla="*/ 2147483647 w 420"/>
                <a:gd name="T51" fmla="*/ 2147483647 h 510"/>
                <a:gd name="T52" fmla="*/ 2147483647 w 420"/>
                <a:gd name="T53" fmla="*/ 2147483647 h 510"/>
                <a:gd name="T54" fmla="*/ 2147483647 w 420"/>
                <a:gd name="T55" fmla="*/ 2147483647 h 510"/>
                <a:gd name="T56" fmla="*/ 2147483647 w 420"/>
                <a:gd name="T57" fmla="*/ 2147483647 h 510"/>
                <a:gd name="T58" fmla="*/ 2147483647 w 420"/>
                <a:gd name="T59" fmla="*/ 2147483647 h 510"/>
                <a:gd name="T60" fmla="*/ 2147483647 w 420"/>
                <a:gd name="T61" fmla="*/ 2147483647 h 510"/>
                <a:gd name="T62" fmla="*/ 2147483647 w 420"/>
                <a:gd name="T63" fmla="*/ 2147483647 h 510"/>
                <a:gd name="T64" fmla="*/ 2147483647 w 420"/>
                <a:gd name="T65" fmla="*/ 2147483647 h 510"/>
                <a:gd name="T66" fmla="*/ 2147483647 w 420"/>
                <a:gd name="T67" fmla="*/ 2147483647 h 510"/>
                <a:gd name="T68" fmla="*/ 2147483647 w 420"/>
                <a:gd name="T69" fmla="*/ 2147483647 h 510"/>
                <a:gd name="T70" fmla="*/ 2147483647 w 420"/>
                <a:gd name="T71" fmla="*/ 2147483647 h 510"/>
                <a:gd name="T72" fmla="*/ 2147483647 w 420"/>
                <a:gd name="T73" fmla="*/ 2147483647 h 510"/>
                <a:gd name="T74" fmla="*/ 2147483647 w 420"/>
                <a:gd name="T75" fmla="*/ 2147483647 h 510"/>
                <a:gd name="T76" fmla="*/ 2147483647 w 420"/>
                <a:gd name="T77" fmla="*/ 2147483647 h 510"/>
                <a:gd name="T78" fmla="*/ 2147483647 w 420"/>
                <a:gd name="T79" fmla="*/ 2147483647 h 510"/>
                <a:gd name="T80" fmla="*/ 2147483647 w 420"/>
                <a:gd name="T81" fmla="*/ 2147483647 h 510"/>
                <a:gd name="T82" fmla="*/ 2147483647 w 420"/>
                <a:gd name="T83" fmla="*/ 2147483647 h 510"/>
                <a:gd name="T84" fmla="*/ 2147483647 w 420"/>
                <a:gd name="T85" fmla="*/ 2147483647 h 510"/>
                <a:gd name="T86" fmla="*/ 2147483647 w 420"/>
                <a:gd name="T87" fmla="*/ 2147483647 h 510"/>
                <a:gd name="T88" fmla="*/ 2147483647 w 420"/>
                <a:gd name="T89" fmla="*/ 2147483647 h 510"/>
                <a:gd name="T90" fmla="*/ 2147483647 w 420"/>
                <a:gd name="T91" fmla="*/ 2147483647 h 510"/>
                <a:gd name="T92" fmla="*/ 2147483647 w 420"/>
                <a:gd name="T93" fmla="*/ 2147483647 h 510"/>
                <a:gd name="T94" fmla="*/ 2147483647 w 420"/>
                <a:gd name="T95" fmla="*/ 2147483647 h 510"/>
                <a:gd name="T96" fmla="*/ 2147483647 w 420"/>
                <a:gd name="T97" fmla="*/ 2147483647 h 510"/>
                <a:gd name="T98" fmla="*/ 2147483647 w 420"/>
                <a:gd name="T99" fmla="*/ 2147483647 h 510"/>
                <a:gd name="T100" fmla="*/ 2147483647 w 420"/>
                <a:gd name="T101" fmla="*/ 2147483647 h 510"/>
                <a:gd name="T102" fmla="*/ 2147483647 w 420"/>
                <a:gd name="T103" fmla="*/ 2147483647 h 510"/>
                <a:gd name="T104" fmla="*/ 2147483647 w 420"/>
                <a:gd name="T105" fmla="*/ 2147483647 h 510"/>
                <a:gd name="T106" fmla="*/ 2147483647 w 420"/>
                <a:gd name="T107" fmla="*/ 2147483647 h 510"/>
                <a:gd name="T108" fmla="*/ 2147483647 w 420"/>
                <a:gd name="T109" fmla="*/ 2147483647 h 510"/>
                <a:gd name="T110" fmla="*/ 2147483647 w 420"/>
                <a:gd name="T111" fmla="*/ 2147483647 h 510"/>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420"/>
                <a:gd name="T169" fmla="*/ 0 h 510"/>
                <a:gd name="T170" fmla="*/ 420 w 420"/>
                <a:gd name="T171" fmla="*/ 510 h 510"/>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420" h="510">
                  <a:moveTo>
                    <a:pt x="420" y="240"/>
                  </a:moveTo>
                  <a:lnTo>
                    <a:pt x="414" y="234"/>
                  </a:lnTo>
                  <a:lnTo>
                    <a:pt x="396" y="234"/>
                  </a:lnTo>
                  <a:lnTo>
                    <a:pt x="390" y="216"/>
                  </a:lnTo>
                  <a:lnTo>
                    <a:pt x="372" y="210"/>
                  </a:lnTo>
                  <a:lnTo>
                    <a:pt x="372" y="174"/>
                  </a:lnTo>
                  <a:lnTo>
                    <a:pt x="384" y="150"/>
                  </a:lnTo>
                  <a:lnTo>
                    <a:pt x="396" y="150"/>
                  </a:lnTo>
                  <a:lnTo>
                    <a:pt x="402" y="144"/>
                  </a:lnTo>
                  <a:lnTo>
                    <a:pt x="408" y="132"/>
                  </a:lnTo>
                  <a:lnTo>
                    <a:pt x="414" y="126"/>
                  </a:lnTo>
                  <a:lnTo>
                    <a:pt x="414" y="114"/>
                  </a:lnTo>
                  <a:lnTo>
                    <a:pt x="402" y="108"/>
                  </a:lnTo>
                  <a:lnTo>
                    <a:pt x="402" y="90"/>
                  </a:lnTo>
                  <a:lnTo>
                    <a:pt x="396" y="84"/>
                  </a:lnTo>
                  <a:lnTo>
                    <a:pt x="396" y="78"/>
                  </a:lnTo>
                  <a:lnTo>
                    <a:pt x="384" y="78"/>
                  </a:lnTo>
                  <a:lnTo>
                    <a:pt x="378" y="72"/>
                  </a:lnTo>
                  <a:lnTo>
                    <a:pt x="360" y="72"/>
                  </a:lnTo>
                  <a:lnTo>
                    <a:pt x="360" y="90"/>
                  </a:lnTo>
                  <a:lnTo>
                    <a:pt x="354" y="96"/>
                  </a:lnTo>
                  <a:lnTo>
                    <a:pt x="330" y="96"/>
                  </a:lnTo>
                  <a:lnTo>
                    <a:pt x="324" y="90"/>
                  </a:lnTo>
                  <a:lnTo>
                    <a:pt x="318" y="54"/>
                  </a:lnTo>
                  <a:lnTo>
                    <a:pt x="336" y="24"/>
                  </a:lnTo>
                  <a:lnTo>
                    <a:pt x="336" y="6"/>
                  </a:lnTo>
                  <a:lnTo>
                    <a:pt x="288" y="12"/>
                  </a:lnTo>
                  <a:lnTo>
                    <a:pt x="282" y="12"/>
                  </a:lnTo>
                  <a:lnTo>
                    <a:pt x="270" y="6"/>
                  </a:lnTo>
                  <a:lnTo>
                    <a:pt x="264" y="6"/>
                  </a:lnTo>
                  <a:lnTo>
                    <a:pt x="252" y="18"/>
                  </a:lnTo>
                  <a:lnTo>
                    <a:pt x="222" y="18"/>
                  </a:lnTo>
                  <a:lnTo>
                    <a:pt x="210" y="0"/>
                  </a:lnTo>
                  <a:lnTo>
                    <a:pt x="192" y="18"/>
                  </a:lnTo>
                  <a:lnTo>
                    <a:pt x="186" y="54"/>
                  </a:lnTo>
                  <a:lnTo>
                    <a:pt x="192" y="60"/>
                  </a:lnTo>
                  <a:lnTo>
                    <a:pt x="192" y="90"/>
                  </a:lnTo>
                  <a:lnTo>
                    <a:pt x="186" y="108"/>
                  </a:lnTo>
                  <a:lnTo>
                    <a:pt x="186" y="114"/>
                  </a:lnTo>
                  <a:lnTo>
                    <a:pt x="84" y="114"/>
                  </a:lnTo>
                  <a:lnTo>
                    <a:pt x="84" y="108"/>
                  </a:lnTo>
                  <a:lnTo>
                    <a:pt x="72" y="108"/>
                  </a:lnTo>
                  <a:lnTo>
                    <a:pt x="60" y="120"/>
                  </a:lnTo>
                  <a:lnTo>
                    <a:pt x="60" y="126"/>
                  </a:lnTo>
                  <a:lnTo>
                    <a:pt x="66" y="132"/>
                  </a:lnTo>
                  <a:lnTo>
                    <a:pt x="66" y="144"/>
                  </a:lnTo>
                  <a:lnTo>
                    <a:pt x="72" y="150"/>
                  </a:lnTo>
                  <a:lnTo>
                    <a:pt x="72" y="162"/>
                  </a:lnTo>
                  <a:lnTo>
                    <a:pt x="48" y="162"/>
                  </a:lnTo>
                  <a:lnTo>
                    <a:pt x="48" y="210"/>
                  </a:lnTo>
                  <a:lnTo>
                    <a:pt x="42" y="228"/>
                  </a:lnTo>
                  <a:lnTo>
                    <a:pt x="36" y="240"/>
                  </a:lnTo>
                  <a:lnTo>
                    <a:pt x="30" y="246"/>
                  </a:lnTo>
                  <a:lnTo>
                    <a:pt x="18" y="252"/>
                  </a:lnTo>
                  <a:lnTo>
                    <a:pt x="0" y="252"/>
                  </a:lnTo>
                  <a:lnTo>
                    <a:pt x="30" y="306"/>
                  </a:lnTo>
                  <a:lnTo>
                    <a:pt x="42" y="294"/>
                  </a:lnTo>
                  <a:lnTo>
                    <a:pt x="54" y="312"/>
                  </a:lnTo>
                  <a:lnTo>
                    <a:pt x="48" y="318"/>
                  </a:lnTo>
                  <a:lnTo>
                    <a:pt x="48" y="330"/>
                  </a:lnTo>
                  <a:lnTo>
                    <a:pt x="42" y="336"/>
                  </a:lnTo>
                  <a:lnTo>
                    <a:pt x="42" y="342"/>
                  </a:lnTo>
                  <a:lnTo>
                    <a:pt x="48" y="348"/>
                  </a:lnTo>
                  <a:lnTo>
                    <a:pt x="66" y="348"/>
                  </a:lnTo>
                  <a:lnTo>
                    <a:pt x="72" y="390"/>
                  </a:lnTo>
                  <a:lnTo>
                    <a:pt x="102" y="396"/>
                  </a:lnTo>
                  <a:lnTo>
                    <a:pt x="96" y="408"/>
                  </a:lnTo>
                  <a:lnTo>
                    <a:pt x="144" y="462"/>
                  </a:lnTo>
                  <a:lnTo>
                    <a:pt x="138" y="468"/>
                  </a:lnTo>
                  <a:lnTo>
                    <a:pt x="174" y="510"/>
                  </a:lnTo>
                  <a:lnTo>
                    <a:pt x="180" y="492"/>
                  </a:lnTo>
                  <a:lnTo>
                    <a:pt x="204" y="480"/>
                  </a:lnTo>
                  <a:lnTo>
                    <a:pt x="222" y="498"/>
                  </a:lnTo>
                  <a:lnTo>
                    <a:pt x="228" y="492"/>
                  </a:lnTo>
                  <a:lnTo>
                    <a:pt x="228" y="456"/>
                  </a:lnTo>
                  <a:lnTo>
                    <a:pt x="210" y="444"/>
                  </a:lnTo>
                  <a:lnTo>
                    <a:pt x="228" y="432"/>
                  </a:lnTo>
                  <a:lnTo>
                    <a:pt x="198" y="414"/>
                  </a:lnTo>
                  <a:lnTo>
                    <a:pt x="210" y="414"/>
                  </a:lnTo>
                  <a:lnTo>
                    <a:pt x="210" y="402"/>
                  </a:lnTo>
                  <a:lnTo>
                    <a:pt x="204" y="396"/>
                  </a:lnTo>
                  <a:lnTo>
                    <a:pt x="204" y="378"/>
                  </a:lnTo>
                  <a:lnTo>
                    <a:pt x="210" y="378"/>
                  </a:lnTo>
                  <a:lnTo>
                    <a:pt x="216" y="384"/>
                  </a:lnTo>
                  <a:lnTo>
                    <a:pt x="228" y="384"/>
                  </a:lnTo>
                  <a:lnTo>
                    <a:pt x="240" y="390"/>
                  </a:lnTo>
                  <a:lnTo>
                    <a:pt x="258" y="390"/>
                  </a:lnTo>
                  <a:lnTo>
                    <a:pt x="264" y="384"/>
                  </a:lnTo>
                  <a:lnTo>
                    <a:pt x="270" y="372"/>
                  </a:lnTo>
                  <a:lnTo>
                    <a:pt x="282" y="366"/>
                  </a:lnTo>
                  <a:lnTo>
                    <a:pt x="264" y="348"/>
                  </a:lnTo>
                  <a:lnTo>
                    <a:pt x="264" y="342"/>
                  </a:lnTo>
                  <a:lnTo>
                    <a:pt x="294" y="342"/>
                  </a:lnTo>
                  <a:lnTo>
                    <a:pt x="312" y="384"/>
                  </a:lnTo>
                  <a:lnTo>
                    <a:pt x="342" y="384"/>
                  </a:lnTo>
                  <a:lnTo>
                    <a:pt x="348" y="378"/>
                  </a:lnTo>
                  <a:lnTo>
                    <a:pt x="354" y="366"/>
                  </a:lnTo>
                  <a:lnTo>
                    <a:pt x="360" y="360"/>
                  </a:lnTo>
                  <a:lnTo>
                    <a:pt x="366" y="360"/>
                  </a:lnTo>
                  <a:lnTo>
                    <a:pt x="366" y="390"/>
                  </a:lnTo>
                  <a:lnTo>
                    <a:pt x="372" y="396"/>
                  </a:lnTo>
                  <a:lnTo>
                    <a:pt x="384" y="396"/>
                  </a:lnTo>
                  <a:lnTo>
                    <a:pt x="390" y="390"/>
                  </a:lnTo>
                  <a:lnTo>
                    <a:pt x="396" y="378"/>
                  </a:lnTo>
                  <a:lnTo>
                    <a:pt x="396" y="354"/>
                  </a:lnTo>
                  <a:lnTo>
                    <a:pt x="408" y="348"/>
                  </a:lnTo>
                  <a:lnTo>
                    <a:pt x="414" y="342"/>
                  </a:lnTo>
                  <a:lnTo>
                    <a:pt x="408" y="318"/>
                  </a:lnTo>
                  <a:lnTo>
                    <a:pt x="414" y="306"/>
                  </a:lnTo>
                  <a:lnTo>
                    <a:pt x="414" y="258"/>
                  </a:lnTo>
                  <a:lnTo>
                    <a:pt x="420" y="252"/>
                  </a:lnTo>
                  <a:lnTo>
                    <a:pt x="420" y="240"/>
                  </a:lnTo>
                  <a:close/>
                </a:path>
              </a:pathLst>
            </a:custGeom>
            <a:grpFill/>
            <a:ln w="3175">
              <a:solidFill>
                <a:schemeClr val="bg1"/>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de-DE" sz="1800" b="0" i="0" u="none" strike="noStrike" kern="1200" cap="none" spc="0" normalizeH="0" baseline="0" noProof="0">
                <a:ln>
                  <a:noFill/>
                </a:ln>
                <a:solidFill>
                  <a:srgbClr val="FFC000"/>
                </a:solidFill>
                <a:effectLst/>
                <a:uLnTx/>
                <a:uFillTx/>
                <a:latin typeface="Calibri" pitchFamily="34" charset="0"/>
                <a:ea typeface="+mn-ea"/>
                <a:cs typeface="+mn-cs"/>
              </a:endParaRPr>
            </a:p>
          </p:txBody>
        </p:sp>
        <p:sp>
          <p:nvSpPr>
            <p:cNvPr id="137" name="France" descr="© INSCALE GmbH, 05.05.2010&#10;http://www.presentationload.com/"/>
            <p:cNvSpPr>
              <a:spLocks noEditPoints="1"/>
            </p:cNvSpPr>
            <p:nvPr/>
          </p:nvSpPr>
          <p:spPr bwMode="gray">
            <a:xfrm>
              <a:off x="4394069" y="3027565"/>
              <a:ext cx="295644" cy="244958"/>
            </a:xfrm>
            <a:custGeom>
              <a:avLst/>
              <a:gdLst>
                <a:gd name="T0" fmla="*/ 2147483647 w 230"/>
                <a:gd name="T1" fmla="*/ 2147483647 h 198"/>
                <a:gd name="T2" fmla="*/ 2147483647 w 230"/>
                <a:gd name="T3" fmla="*/ 2147483647 h 198"/>
                <a:gd name="T4" fmla="*/ 2147483647 w 230"/>
                <a:gd name="T5" fmla="*/ 2147483647 h 198"/>
                <a:gd name="T6" fmla="*/ 2147483647 w 230"/>
                <a:gd name="T7" fmla="*/ 2147483647 h 198"/>
                <a:gd name="T8" fmla="*/ 2147483647 w 230"/>
                <a:gd name="T9" fmla="*/ 2147483647 h 198"/>
                <a:gd name="T10" fmla="*/ 2147483647 w 230"/>
                <a:gd name="T11" fmla="*/ 2147483647 h 198"/>
                <a:gd name="T12" fmla="*/ 2147483647 w 230"/>
                <a:gd name="T13" fmla="*/ 2147483647 h 198"/>
                <a:gd name="T14" fmla="*/ 2147483647 w 230"/>
                <a:gd name="T15" fmla="*/ 2147483647 h 198"/>
                <a:gd name="T16" fmla="*/ 2147483647 w 230"/>
                <a:gd name="T17" fmla="*/ 2147483647 h 198"/>
                <a:gd name="T18" fmla="*/ 2147483647 w 230"/>
                <a:gd name="T19" fmla="*/ 2147483647 h 198"/>
                <a:gd name="T20" fmla="*/ 2147483647 w 230"/>
                <a:gd name="T21" fmla="*/ 2147483647 h 198"/>
                <a:gd name="T22" fmla="*/ 2147483647 w 230"/>
                <a:gd name="T23" fmla="*/ 2147483647 h 198"/>
                <a:gd name="T24" fmla="*/ 2147483647 w 230"/>
                <a:gd name="T25" fmla="*/ 2147483647 h 198"/>
                <a:gd name="T26" fmla="*/ 2147483647 w 230"/>
                <a:gd name="T27" fmla="*/ 2147483647 h 198"/>
                <a:gd name="T28" fmla="*/ 2147483647 w 230"/>
                <a:gd name="T29" fmla="*/ 2147483647 h 198"/>
                <a:gd name="T30" fmla="*/ 2147483647 w 230"/>
                <a:gd name="T31" fmla="*/ 2147483647 h 198"/>
                <a:gd name="T32" fmla="*/ 2147483647 w 230"/>
                <a:gd name="T33" fmla="*/ 2147483647 h 198"/>
                <a:gd name="T34" fmla="*/ 2147483647 w 230"/>
                <a:gd name="T35" fmla="*/ 2147483647 h 198"/>
                <a:gd name="T36" fmla="*/ 2147483647 w 230"/>
                <a:gd name="T37" fmla="*/ 2147483647 h 198"/>
                <a:gd name="T38" fmla="*/ 2147483647 w 230"/>
                <a:gd name="T39" fmla="*/ 2147483647 h 198"/>
                <a:gd name="T40" fmla="*/ 2147483647 w 230"/>
                <a:gd name="T41" fmla="*/ 2147483647 h 198"/>
                <a:gd name="T42" fmla="*/ 2147483647 w 230"/>
                <a:gd name="T43" fmla="*/ 2147483647 h 198"/>
                <a:gd name="T44" fmla="*/ 2147483647 w 230"/>
                <a:gd name="T45" fmla="*/ 2147483647 h 198"/>
                <a:gd name="T46" fmla="*/ 2147483647 w 230"/>
                <a:gd name="T47" fmla="*/ 2147483647 h 198"/>
                <a:gd name="T48" fmla="*/ 2147483647 w 230"/>
                <a:gd name="T49" fmla="*/ 2147483647 h 198"/>
                <a:gd name="T50" fmla="*/ 2147483647 w 230"/>
                <a:gd name="T51" fmla="*/ 2147483647 h 198"/>
                <a:gd name="T52" fmla="*/ 2147483647 w 230"/>
                <a:gd name="T53" fmla="*/ 2147483647 h 198"/>
                <a:gd name="T54" fmla="*/ 2147483647 w 230"/>
                <a:gd name="T55" fmla="*/ 2147483647 h 198"/>
                <a:gd name="T56" fmla="*/ 2147483647 w 230"/>
                <a:gd name="T57" fmla="*/ 2147483647 h 198"/>
                <a:gd name="T58" fmla="*/ 2147483647 w 230"/>
                <a:gd name="T59" fmla="*/ 2147483647 h 198"/>
                <a:gd name="T60" fmla="*/ 2147483647 w 230"/>
                <a:gd name="T61" fmla="*/ 2147483647 h 198"/>
                <a:gd name="T62" fmla="*/ 2147483647 w 230"/>
                <a:gd name="T63" fmla="*/ 2147483647 h 198"/>
                <a:gd name="T64" fmla="*/ 2147483647 w 230"/>
                <a:gd name="T65" fmla="*/ 2147483647 h 198"/>
                <a:gd name="T66" fmla="*/ 2147483647 w 230"/>
                <a:gd name="T67" fmla="*/ 2147483647 h 198"/>
                <a:gd name="T68" fmla="*/ 2147483647 w 230"/>
                <a:gd name="T69" fmla="*/ 2147483647 h 198"/>
                <a:gd name="T70" fmla="*/ 2147483647 w 230"/>
                <a:gd name="T71" fmla="*/ 2147483647 h 198"/>
                <a:gd name="T72" fmla="*/ 2147483647 w 230"/>
                <a:gd name="T73" fmla="*/ 2147483647 h 198"/>
                <a:gd name="T74" fmla="*/ 2147483647 w 230"/>
                <a:gd name="T75" fmla="*/ 2147483647 h 198"/>
                <a:gd name="T76" fmla="*/ 2147483647 w 230"/>
                <a:gd name="T77" fmla="*/ 2147483647 h 198"/>
                <a:gd name="T78" fmla="*/ 2147483647 w 230"/>
                <a:gd name="T79" fmla="*/ 2147483647 h 198"/>
                <a:gd name="T80" fmla="*/ 2147483647 w 230"/>
                <a:gd name="T81" fmla="*/ 2147483647 h 198"/>
                <a:gd name="T82" fmla="*/ 2147483647 w 230"/>
                <a:gd name="T83" fmla="*/ 2147483647 h 198"/>
                <a:gd name="T84" fmla="*/ 2147483647 w 230"/>
                <a:gd name="T85" fmla="*/ 2147483647 h 198"/>
                <a:gd name="T86" fmla="*/ 2147483647 w 230"/>
                <a:gd name="T87" fmla="*/ 2147483647 h 198"/>
                <a:gd name="T88" fmla="*/ 2147483647 w 230"/>
                <a:gd name="T89" fmla="*/ 2147483647 h 198"/>
                <a:gd name="T90" fmla="*/ 2147483647 w 230"/>
                <a:gd name="T91" fmla="*/ 2147483647 h 198"/>
                <a:gd name="T92" fmla="*/ 2147483647 w 230"/>
                <a:gd name="T93" fmla="*/ 2147483647 h 198"/>
                <a:gd name="T94" fmla="*/ 2147483647 w 230"/>
                <a:gd name="T95" fmla="*/ 2147483647 h 198"/>
                <a:gd name="T96" fmla="*/ 2147483647 w 230"/>
                <a:gd name="T97" fmla="*/ 2147483647 h 198"/>
                <a:gd name="T98" fmla="*/ 2147483647 w 230"/>
                <a:gd name="T99" fmla="*/ 2147483647 h 198"/>
                <a:gd name="T100" fmla="*/ 2147483647 w 230"/>
                <a:gd name="T101" fmla="*/ 2147483647 h 198"/>
                <a:gd name="T102" fmla="*/ 2147483647 w 230"/>
                <a:gd name="T103" fmla="*/ 2147483647 h 198"/>
                <a:gd name="T104" fmla="*/ 2147483647 w 230"/>
                <a:gd name="T105" fmla="*/ 2147483647 h 198"/>
                <a:gd name="T106" fmla="*/ 2147483647 w 230"/>
                <a:gd name="T107" fmla="*/ 2147483647 h 198"/>
                <a:gd name="T108" fmla="*/ 2147483647 w 230"/>
                <a:gd name="T109" fmla="*/ 2147483647 h 198"/>
                <a:gd name="T110" fmla="*/ 2147483647 w 230"/>
                <a:gd name="T111" fmla="*/ 2147483647 h 198"/>
                <a:gd name="T112" fmla="*/ 2147483647 w 230"/>
                <a:gd name="T113" fmla="*/ 2147483647 h 198"/>
                <a:gd name="T114" fmla="*/ 2147483647 w 230"/>
                <a:gd name="T115" fmla="*/ 2147483647 h 198"/>
                <a:gd name="T116" fmla="*/ 2147483647 w 230"/>
                <a:gd name="T117" fmla="*/ 2147483647 h 198"/>
                <a:gd name="T118" fmla="*/ 2147483647 w 230"/>
                <a:gd name="T119" fmla="*/ 2147483647 h 198"/>
                <a:gd name="T120" fmla="*/ 2147483647 w 230"/>
                <a:gd name="T121" fmla="*/ 2147483647 h 198"/>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230"/>
                <a:gd name="T184" fmla="*/ 0 h 198"/>
                <a:gd name="T185" fmla="*/ 230 w 230"/>
                <a:gd name="T186" fmla="*/ 198 h 198"/>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230" h="198">
                  <a:moveTo>
                    <a:pt x="230" y="172"/>
                  </a:moveTo>
                  <a:lnTo>
                    <a:pt x="230" y="172"/>
                  </a:lnTo>
                  <a:lnTo>
                    <a:pt x="230" y="166"/>
                  </a:lnTo>
                  <a:lnTo>
                    <a:pt x="228" y="166"/>
                  </a:lnTo>
                  <a:lnTo>
                    <a:pt x="224" y="168"/>
                  </a:lnTo>
                  <a:lnTo>
                    <a:pt x="224" y="170"/>
                  </a:lnTo>
                  <a:lnTo>
                    <a:pt x="220" y="172"/>
                  </a:lnTo>
                  <a:lnTo>
                    <a:pt x="218" y="174"/>
                  </a:lnTo>
                  <a:lnTo>
                    <a:pt x="216" y="178"/>
                  </a:lnTo>
                  <a:lnTo>
                    <a:pt x="216" y="182"/>
                  </a:lnTo>
                  <a:lnTo>
                    <a:pt x="218" y="186"/>
                  </a:lnTo>
                  <a:lnTo>
                    <a:pt x="218" y="190"/>
                  </a:lnTo>
                  <a:lnTo>
                    <a:pt x="218" y="192"/>
                  </a:lnTo>
                  <a:lnTo>
                    <a:pt x="218" y="194"/>
                  </a:lnTo>
                  <a:lnTo>
                    <a:pt x="222" y="196"/>
                  </a:lnTo>
                  <a:lnTo>
                    <a:pt x="224" y="198"/>
                  </a:lnTo>
                  <a:lnTo>
                    <a:pt x="230" y="192"/>
                  </a:lnTo>
                  <a:lnTo>
                    <a:pt x="230" y="186"/>
                  </a:lnTo>
                  <a:lnTo>
                    <a:pt x="228" y="186"/>
                  </a:lnTo>
                  <a:lnTo>
                    <a:pt x="230" y="184"/>
                  </a:lnTo>
                  <a:lnTo>
                    <a:pt x="230" y="172"/>
                  </a:lnTo>
                  <a:close/>
                  <a:moveTo>
                    <a:pt x="198" y="40"/>
                  </a:moveTo>
                  <a:lnTo>
                    <a:pt x="198" y="40"/>
                  </a:lnTo>
                  <a:lnTo>
                    <a:pt x="196" y="40"/>
                  </a:lnTo>
                  <a:lnTo>
                    <a:pt x="192" y="40"/>
                  </a:lnTo>
                  <a:lnTo>
                    <a:pt x="190" y="40"/>
                  </a:lnTo>
                  <a:lnTo>
                    <a:pt x="184" y="40"/>
                  </a:lnTo>
                  <a:lnTo>
                    <a:pt x="184" y="34"/>
                  </a:lnTo>
                  <a:lnTo>
                    <a:pt x="182" y="34"/>
                  </a:lnTo>
                  <a:lnTo>
                    <a:pt x="182" y="32"/>
                  </a:lnTo>
                  <a:lnTo>
                    <a:pt x="178" y="30"/>
                  </a:lnTo>
                  <a:lnTo>
                    <a:pt x="174" y="34"/>
                  </a:lnTo>
                  <a:lnTo>
                    <a:pt x="172" y="32"/>
                  </a:lnTo>
                  <a:lnTo>
                    <a:pt x="166" y="32"/>
                  </a:lnTo>
                  <a:lnTo>
                    <a:pt x="164" y="28"/>
                  </a:lnTo>
                  <a:lnTo>
                    <a:pt x="162" y="28"/>
                  </a:lnTo>
                  <a:lnTo>
                    <a:pt x="158" y="28"/>
                  </a:lnTo>
                  <a:lnTo>
                    <a:pt x="156" y="28"/>
                  </a:lnTo>
                  <a:lnTo>
                    <a:pt x="156" y="22"/>
                  </a:lnTo>
                  <a:lnTo>
                    <a:pt x="152" y="24"/>
                  </a:lnTo>
                  <a:lnTo>
                    <a:pt x="146" y="24"/>
                  </a:lnTo>
                  <a:lnTo>
                    <a:pt x="146" y="18"/>
                  </a:lnTo>
                  <a:lnTo>
                    <a:pt x="144" y="16"/>
                  </a:lnTo>
                  <a:lnTo>
                    <a:pt x="142" y="14"/>
                  </a:lnTo>
                  <a:lnTo>
                    <a:pt x="136" y="14"/>
                  </a:lnTo>
                  <a:lnTo>
                    <a:pt x="132" y="12"/>
                  </a:lnTo>
                  <a:lnTo>
                    <a:pt x="126" y="10"/>
                  </a:lnTo>
                  <a:lnTo>
                    <a:pt x="126" y="6"/>
                  </a:lnTo>
                  <a:lnTo>
                    <a:pt x="126" y="0"/>
                  </a:lnTo>
                  <a:lnTo>
                    <a:pt x="118" y="0"/>
                  </a:lnTo>
                  <a:lnTo>
                    <a:pt x="114" y="2"/>
                  </a:lnTo>
                  <a:lnTo>
                    <a:pt x="112" y="2"/>
                  </a:lnTo>
                  <a:lnTo>
                    <a:pt x="110" y="4"/>
                  </a:lnTo>
                  <a:lnTo>
                    <a:pt x="104" y="4"/>
                  </a:lnTo>
                  <a:lnTo>
                    <a:pt x="104" y="6"/>
                  </a:lnTo>
                  <a:lnTo>
                    <a:pt x="104" y="8"/>
                  </a:lnTo>
                  <a:lnTo>
                    <a:pt x="104" y="12"/>
                  </a:lnTo>
                  <a:lnTo>
                    <a:pt x="106" y="14"/>
                  </a:lnTo>
                  <a:lnTo>
                    <a:pt x="106" y="20"/>
                  </a:lnTo>
                  <a:lnTo>
                    <a:pt x="104" y="22"/>
                  </a:lnTo>
                  <a:lnTo>
                    <a:pt x="98" y="24"/>
                  </a:lnTo>
                  <a:lnTo>
                    <a:pt x="92" y="24"/>
                  </a:lnTo>
                  <a:lnTo>
                    <a:pt x="82" y="32"/>
                  </a:lnTo>
                  <a:lnTo>
                    <a:pt x="86" y="34"/>
                  </a:lnTo>
                  <a:lnTo>
                    <a:pt x="84" y="34"/>
                  </a:lnTo>
                  <a:lnTo>
                    <a:pt x="82" y="34"/>
                  </a:lnTo>
                  <a:lnTo>
                    <a:pt x="76" y="38"/>
                  </a:lnTo>
                  <a:lnTo>
                    <a:pt x="68" y="38"/>
                  </a:lnTo>
                  <a:lnTo>
                    <a:pt x="66" y="36"/>
                  </a:lnTo>
                  <a:lnTo>
                    <a:pt x="60" y="30"/>
                  </a:lnTo>
                  <a:lnTo>
                    <a:pt x="58" y="30"/>
                  </a:lnTo>
                  <a:lnTo>
                    <a:pt x="56" y="28"/>
                  </a:lnTo>
                  <a:lnTo>
                    <a:pt x="52" y="28"/>
                  </a:lnTo>
                  <a:lnTo>
                    <a:pt x="52" y="30"/>
                  </a:lnTo>
                  <a:lnTo>
                    <a:pt x="52" y="34"/>
                  </a:lnTo>
                  <a:lnTo>
                    <a:pt x="54" y="34"/>
                  </a:lnTo>
                  <a:lnTo>
                    <a:pt x="56" y="38"/>
                  </a:lnTo>
                  <a:lnTo>
                    <a:pt x="58" y="40"/>
                  </a:lnTo>
                  <a:lnTo>
                    <a:pt x="58" y="46"/>
                  </a:lnTo>
                  <a:lnTo>
                    <a:pt x="56" y="48"/>
                  </a:lnTo>
                  <a:lnTo>
                    <a:pt x="54" y="48"/>
                  </a:lnTo>
                  <a:lnTo>
                    <a:pt x="48" y="48"/>
                  </a:lnTo>
                  <a:lnTo>
                    <a:pt x="38" y="48"/>
                  </a:lnTo>
                  <a:lnTo>
                    <a:pt x="38" y="54"/>
                  </a:lnTo>
                  <a:lnTo>
                    <a:pt x="36" y="52"/>
                  </a:lnTo>
                  <a:lnTo>
                    <a:pt x="34" y="48"/>
                  </a:lnTo>
                  <a:lnTo>
                    <a:pt x="32" y="48"/>
                  </a:lnTo>
                  <a:lnTo>
                    <a:pt x="30" y="46"/>
                  </a:lnTo>
                  <a:lnTo>
                    <a:pt x="26" y="46"/>
                  </a:lnTo>
                  <a:lnTo>
                    <a:pt x="24" y="48"/>
                  </a:lnTo>
                  <a:lnTo>
                    <a:pt x="22" y="48"/>
                  </a:lnTo>
                  <a:lnTo>
                    <a:pt x="20" y="48"/>
                  </a:lnTo>
                  <a:lnTo>
                    <a:pt x="16" y="48"/>
                  </a:lnTo>
                  <a:lnTo>
                    <a:pt x="12" y="50"/>
                  </a:lnTo>
                  <a:lnTo>
                    <a:pt x="8" y="50"/>
                  </a:lnTo>
                  <a:lnTo>
                    <a:pt x="6" y="52"/>
                  </a:lnTo>
                  <a:lnTo>
                    <a:pt x="4" y="54"/>
                  </a:lnTo>
                  <a:lnTo>
                    <a:pt x="6" y="56"/>
                  </a:lnTo>
                  <a:lnTo>
                    <a:pt x="8" y="56"/>
                  </a:lnTo>
                  <a:lnTo>
                    <a:pt x="10" y="58"/>
                  </a:lnTo>
                  <a:lnTo>
                    <a:pt x="10" y="60"/>
                  </a:lnTo>
                  <a:lnTo>
                    <a:pt x="6" y="60"/>
                  </a:lnTo>
                  <a:lnTo>
                    <a:pt x="2" y="60"/>
                  </a:lnTo>
                  <a:lnTo>
                    <a:pt x="0" y="60"/>
                  </a:lnTo>
                  <a:lnTo>
                    <a:pt x="0" y="62"/>
                  </a:lnTo>
                  <a:lnTo>
                    <a:pt x="6" y="66"/>
                  </a:lnTo>
                  <a:lnTo>
                    <a:pt x="12" y="66"/>
                  </a:lnTo>
                  <a:lnTo>
                    <a:pt x="12" y="64"/>
                  </a:lnTo>
                  <a:lnTo>
                    <a:pt x="26" y="72"/>
                  </a:lnTo>
                  <a:lnTo>
                    <a:pt x="32" y="72"/>
                  </a:lnTo>
                  <a:lnTo>
                    <a:pt x="38" y="76"/>
                  </a:lnTo>
                  <a:lnTo>
                    <a:pt x="48" y="76"/>
                  </a:lnTo>
                  <a:lnTo>
                    <a:pt x="40" y="80"/>
                  </a:lnTo>
                  <a:lnTo>
                    <a:pt x="42" y="84"/>
                  </a:lnTo>
                  <a:lnTo>
                    <a:pt x="44" y="86"/>
                  </a:lnTo>
                  <a:lnTo>
                    <a:pt x="46" y="92"/>
                  </a:lnTo>
                  <a:lnTo>
                    <a:pt x="52" y="96"/>
                  </a:lnTo>
                  <a:lnTo>
                    <a:pt x="58" y="96"/>
                  </a:lnTo>
                  <a:lnTo>
                    <a:pt x="58" y="106"/>
                  </a:lnTo>
                  <a:lnTo>
                    <a:pt x="62" y="114"/>
                  </a:lnTo>
                  <a:lnTo>
                    <a:pt x="66" y="124"/>
                  </a:lnTo>
                  <a:lnTo>
                    <a:pt x="58" y="114"/>
                  </a:lnTo>
                  <a:lnTo>
                    <a:pt x="58" y="118"/>
                  </a:lnTo>
                  <a:lnTo>
                    <a:pt x="56" y="120"/>
                  </a:lnTo>
                  <a:lnTo>
                    <a:pt x="56" y="132"/>
                  </a:lnTo>
                  <a:lnTo>
                    <a:pt x="54" y="134"/>
                  </a:lnTo>
                  <a:lnTo>
                    <a:pt x="52" y="144"/>
                  </a:lnTo>
                  <a:lnTo>
                    <a:pt x="52" y="146"/>
                  </a:lnTo>
                  <a:lnTo>
                    <a:pt x="50" y="150"/>
                  </a:lnTo>
                  <a:lnTo>
                    <a:pt x="50" y="152"/>
                  </a:lnTo>
                  <a:lnTo>
                    <a:pt x="48" y="152"/>
                  </a:lnTo>
                  <a:lnTo>
                    <a:pt x="48" y="154"/>
                  </a:lnTo>
                  <a:lnTo>
                    <a:pt x="46" y="156"/>
                  </a:lnTo>
                  <a:lnTo>
                    <a:pt x="44" y="158"/>
                  </a:lnTo>
                  <a:lnTo>
                    <a:pt x="46" y="160"/>
                  </a:lnTo>
                  <a:lnTo>
                    <a:pt x="46" y="158"/>
                  </a:lnTo>
                  <a:lnTo>
                    <a:pt x="48" y="158"/>
                  </a:lnTo>
                  <a:lnTo>
                    <a:pt x="52" y="160"/>
                  </a:lnTo>
                  <a:lnTo>
                    <a:pt x="52" y="162"/>
                  </a:lnTo>
                  <a:lnTo>
                    <a:pt x="50" y="164"/>
                  </a:lnTo>
                  <a:lnTo>
                    <a:pt x="60" y="164"/>
                  </a:lnTo>
                  <a:lnTo>
                    <a:pt x="64" y="168"/>
                  </a:lnTo>
                  <a:lnTo>
                    <a:pt x="66" y="166"/>
                  </a:lnTo>
                  <a:lnTo>
                    <a:pt x="68" y="166"/>
                  </a:lnTo>
                  <a:lnTo>
                    <a:pt x="72" y="170"/>
                  </a:lnTo>
                  <a:lnTo>
                    <a:pt x="78" y="170"/>
                  </a:lnTo>
                  <a:lnTo>
                    <a:pt x="78" y="172"/>
                  </a:lnTo>
                  <a:lnTo>
                    <a:pt x="84" y="172"/>
                  </a:lnTo>
                  <a:lnTo>
                    <a:pt x="84" y="168"/>
                  </a:lnTo>
                  <a:lnTo>
                    <a:pt x="86" y="166"/>
                  </a:lnTo>
                  <a:lnTo>
                    <a:pt x="90" y="166"/>
                  </a:lnTo>
                  <a:lnTo>
                    <a:pt x="92" y="168"/>
                  </a:lnTo>
                  <a:lnTo>
                    <a:pt x="92" y="170"/>
                  </a:lnTo>
                  <a:lnTo>
                    <a:pt x="96" y="170"/>
                  </a:lnTo>
                  <a:lnTo>
                    <a:pt x="96" y="172"/>
                  </a:lnTo>
                  <a:lnTo>
                    <a:pt x="104" y="172"/>
                  </a:lnTo>
                  <a:lnTo>
                    <a:pt x="104" y="174"/>
                  </a:lnTo>
                  <a:lnTo>
                    <a:pt x="104" y="176"/>
                  </a:lnTo>
                  <a:lnTo>
                    <a:pt x="112" y="176"/>
                  </a:lnTo>
                  <a:lnTo>
                    <a:pt x="112" y="178"/>
                  </a:lnTo>
                  <a:lnTo>
                    <a:pt x="118" y="178"/>
                  </a:lnTo>
                  <a:lnTo>
                    <a:pt x="118" y="176"/>
                  </a:lnTo>
                  <a:lnTo>
                    <a:pt x="118" y="174"/>
                  </a:lnTo>
                  <a:lnTo>
                    <a:pt x="122" y="174"/>
                  </a:lnTo>
                  <a:lnTo>
                    <a:pt x="122" y="170"/>
                  </a:lnTo>
                  <a:lnTo>
                    <a:pt x="126" y="164"/>
                  </a:lnTo>
                  <a:lnTo>
                    <a:pt x="130" y="160"/>
                  </a:lnTo>
                  <a:lnTo>
                    <a:pt x="132" y="158"/>
                  </a:lnTo>
                  <a:lnTo>
                    <a:pt x="134" y="156"/>
                  </a:lnTo>
                  <a:lnTo>
                    <a:pt x="138" y="154"/>
                  </a:lnTo>
                  <a:lnTo>
                    <a:pt x="140" y="152"/>
                  </a:lnTo>
                  <a:lnTo>
                    <a:pt x="144" y="152"/>
                  </a:lnTo>
                  <a:lnTo>
                    <a:pt x="146" y="154"/>
                  </a:lnTo>
                  <a:lnTo>
                    <a:pt x="150" y="154"/>
                  </a:lnTo>
                  <a:lnTo>
                    <a:pt x="152" y="156"/>
                  </a:lnTo>
                  <a:lnTo>
                    <a:pt x="162" y="156"/>
                  </a:lnTo>
                  <a:lnTo>
                    <a:pt x="166" y="160"/>
                  </a:lnTo>
                  <a:lnTo>
                    <a:pt x="166" y="162"/>
                  </a:lnTo>
                  <a:lnTo>
                    <a:pt x="170" y="162"/>
                  </a:lnTo>
                  <a:lnTo>
                    <a:pt x="172" y="164"/>
                  </a:lnTo>
                  <a:lnTo>
                    <a:pt x="178" y="164"/>
                  </a:lnTo>
                  <a:lnTo>
                    <a:pt x="182" y="162"/>
                  </a:lnTo>
                  <a:lnTo>
                    <a:pt x="184" y="160"/>
                  </a:lnTo>
                  <a:lnTo>
                    <a:pt x="186" y="154"/>
                  </a:lnTo>
                  <a:lnTo>
                    <a:pt x="192" y="150"/>
                  </a:lnTo>
                  <a:lnTo>
                    <a:pt x="196" y="150"/>
                  </a:lnTo>
                  <a:lnTo>
                    <a:pt x="196" y="148"/>
                  </a:lnTo>
                  <a:lnTo>
                    <a:pt x="200" y="144"/>
                  </a:lnTo>
                  <a:lnTo>
                    <a:pt x="200" y="142"/>
                  </a:lnTo>
                  <a:lnTo>
                    <a:pt x="198" y="140"/>
                  </a:lnTo>
                  <a:lnTo>
                    <a:pt x="192" y="140"/>
                  </a:lnTo>
                  <a:lnTo>
                    <a:pt x="188" y="138"/>
                  </a:lnTo>
                  <a:lnTo>
                    <a:pt x="186" y="136"/>
                  </a:lnTo>
                  <a:lnTo>
                    <a:pt x="186" y="134"/>
                  </a:lnTo>
                  <a:lnTo>
                    <a:pt x="188" y="132"/>
                  </a:lnTo>
                  <a:lnTo>
                    <a:pt x="190" y="130"/>
                  </a:lnTo>
                  <a:lnTo>
                    <a:pt x="190" y="126"/>
                  </a:lnTo>
                  <a:lnTo>
                    <a:pt x="188" y="126"/>
                  </a:lnTo>
                  <a:lnTo>
                    <a:pt x="184" y="126"/>
                  </a:lnTo>
                  <a:lnTo>
                    <a:pt x="182" y="120"/>
                  </a:lnTo>
                  <a:lnTo>
                    <a:pt x="188" y="120"/>
                  </a:lnTo>
                  <a:lnTo>
                    <a:pt x="192" y="116"/>
                  </a:lnTo>
                  <a:lnTo>
                    <a:pt x="192" y="114"/>
                  </a:lnTo>
                  <a:lnTo>
                    <a:pt x="186" y="108"/>
                  </a:lnTo>
                  <a:lnTo>
                    <a:pt x="188" y="106"/>
                  </a:lnTo>
                  <a:lnTo>
                    <a:pt x="190" y="106"/>
                  </a:lnTo>
                  <a:lnTo>
                    <a:pt x="190" y="104"/>
                  </a:lnTo>
                  <a:lnTo>
                    <a:pt x="186" y="100"/>
                  </a:lnTo>
                  <a:lnTo>
                    <a:pt x="188" y="94"/>
                  </a:lnTo>
                  <a:lnTo>
                    <a:pt x="186" y="94"/>
                  </a:lnTo>
                  <a:lnTo>
                    <a:pt x="182" y="94"/>
                  </a:lnTo>
                  <a:lnTo>
                    <a:pt x="176" y="100"/>
                  </a:lnTo>
                  <a:lnTo>
                    <a:pt x="174" y="100"/>
                  </a:lnTo>
                  <a:lnTo>
                    <a:pt x="174" y="98"/>
                  </a:lnTo>
                  <a:lnTo>
                    <a:pt x="176" y="96"/>
                  </a:lnTo>
                  <a:lnTo>
                    <a:pt x="174" y="94"/>
                  </a:lnTo>
                  <a:lnTo>
                    <a:pt x="178" y="92"/>
                  </a:lnTo>
                  <a:lnTo>
                    <a:pt x="178" y="88"/>
                  </a:lnTo>
                  <a:lnTo>
                    <a:pt x="182" y="86"/>
                  </a:lnTo>
                  <a:lnTo>
                    <a:pt x="182" y="82"/>
                  </a:lnTo>
                  <a:lnTo>
                    <a:pt x="186" y="82"/>
                  </a:lnTo>
                  <a:lnTo>
                    <a:pt x="188" y="80"/>
                  </a:lnTo>
                  <a:lnTo>
                    <a:pt x="190" y="78"/>
                  </a:lnTo>
                  <a:lnTo>
                    <a:pt x="192" y="76"/>
                  </a:lnTo>
                  <a:lnTo>
                    <a:pt x="192" y="74"/>
                  </a:lnTo>
                  <a:lnTo>
                    <a:pt x="198" y="76"/>
                  </a:lnTo>
                  <a:lnTo>
                    <a:pt x="198" y="72"/>
                  </a:lnTo>
                  <a:lnTo>
                    <a:pt x="198" y="60"/>
                  </a:lnTo>
                  <a:lnTo>
                    <a:pt x="200" y="58"/>
                  </a:lnTo>
                  <a:lnTo>
                    <a:pt x="202" y="56"/>
                  </a:lnTo>
                  <a:lnTo>
                    <a:pt x="204" y="54"/>
                  </a:lnTo>
                  <a:lnTo>
                    <a:pt x="204" y="50"/>
                  </a:lnTo>
                  <a:lnTo>
                    <a:pt x="208" y="46"/>
                  </a:lnTo>
                  <a:lnTo>
                    <a:pt x="210" y="42"/>
                  </a:lnTo>
                  <a:lnTo>
                    <a:pt x="204" y="40"/>
                  </a:lnTo>
                  <a:lnTo>
                    <a:pt x="198" y="40"/>
                  </a:lnTo>
                  <a:close/>
                </a:path>
              </a:pathLst>
            </a:custGeom>
            <a:grpFill/>
            <a:ln w="3175">
              <a:solidFill>
                <a:schemeClr val="bg1"/>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de-DE" sz="1800" b="0" i="0" u="none" strike="noStrike" kern="1200" cap="none" spc="0" normalizeH="0" baseline="0" noProof="0" dirty="0">
                <a:ln>
                  <a:noFill/>
                </a:ln>
                <a:solidFill>
                  <a:srgbClr val="FFC000"/>
                </a:solidFill>
                <a:effectLst/>
                <a:uLnTx/>
                <a:uFillTx/>
                <a:latin typeface="Calibri" pitchFamily="34" charset="0"/>
                <a:ea typeface="+mn-ea"/>
                <a:cs typeface="+mn-cs"/>
              </a:endParaRPr>
            </a:p>
          </p:txBody>
        </p:sp>
        <p:sp>
          <p:nvSpPr>
            <p:cNvPr id="138" name="Finland" descr="© INSCALE GmbH, 05.05.2010&#10;http://www.presentationload.com/"/>
            <p:cNvSpPr>
              <a:spLocks/>
            </p:cNvSpPr>
            <p:nvPr/>
          </p:nvSpPr>
          <p:spPr bwMode="gray">
            <a:xfrm>
              <a:off x="4879129" y="2600113"/>
              <a:ext cx="203495" cy="222912"/>
            </a:xfrm>
            <a:custGeom>
              <a:avLst/>
              <a:gdLst>
                <a:gd name="T0" fmla="*/ 2147483647 w 630"/>
                <a:gd name="T1" fmla="*/ 2147483647 h 714"/>
                <a:gd name="T2" fmla="*/ 2147483647 w 630"/>
                <a:gd name="T3" fmla="*/ 2147483647 h 714"/>
                <a:gd name="T4" fmla="*/ 2147483647 w 630"/>
                <a:gd name="T5" fmla="*/ 2147483647 h 714"/>
                <a:gd name="T6" fmla="*/ 2147483647 w 630"/>
                <a:gd name="T7" fmla="*/ 2147483647 h 714"/>
                <a:gd name="T8" fmla="*/ 2147483647 w 630"/>
                <a:gd name="T9" fmla="*/ 2147483647 h 714"/>
                <a:gd name="T10" fmla="*/ 2147483647 w 630"/>
                <a:gd name="T11" fmla="*/ 2147483647 h 714"/>
                <a:gd name="T12" fmla="*/ 2147483647 w 630"/>
                <a:gd name="T13" fmla="*/ 2147483647 h 714"/>
                <a:gd name="T14" fmla="*/ 2147483647 w 630"/>
                <a:gd name="T15" fmla="*/ 2147483647 h 714"/>
                <a:gd name="T16" fmla="*/ 2147483647 w 630"/>
                <a:gd name="T17" fmla="*/ 2147483647 h 714"/>
                <a:gd name="T18" fmla="*/ 2147483647 w 630"/>
                <a:gd name="T19" fmla="*/ 2147483647 h 714"/>
                <a:gd name="T20" fmla="*/ 2147483647 w 630"/>
                <a:gd name="T21" fmla="*/ 2147483647 h 714"/>
                <a:gd name="T22" fmla="*/ 2147483647 w 630"/>
                <a:gd name="T23" fmla="*/ 2147483647 h 714"/>
                <a:gd name="T24" fmla="*/ 2147483647 w 630"/>
                <a:gd name="T25" fmla="*/ 2147483647 h 714"/>
                <a:gd name="T26" fmla="*/ 2147483647 w 630"/>
                <a:gd name="T27" fmla="*/ 2147483647 h 714"/>
                <a:gd name="T28" fmla="*/ 2147483647 w 630"/>
                <a:gd name="T29" fmla="*/ 2147483647 h 714"/>
                <a:gd name="T30" fmla="*/ 2147483647 w 630"/>
                <a:gd name="T31" fmla="*/ 2147483647 h 714"/>
                <a:gd name="T32" fmla="*/ 2147483647 w 630"/>
                <a:gd name="T33" fmla="*/ 2147483647 h 714"/>
                <a:gd name="T34" fmla="*/ 2147483647 w 630"/>
                <a:gd name="T35" fmla="*/ 2147483647 h 714"/>
                <a:gd name="T36" fmla="*/ 2147483647 w 630"/>
                <a:gd name="T37" fmla="*/ 2147483647 h 714"/>
                <a:gd name="T38" fmla="*/ 2147483647 w 630"/>
                <a:gd name="T39" fmla="*/ 2147483647 h 714"/>
                <a:gd name="T40" fmla="*/ 2147483647 w 630"/>
                <a:gd name="T41" fmla="*/ 2147483647 h 714"/>
                <a:gd name="T42" fmla="*/ 2147483647 w 630"/>
                <a:gd name="T43" fmla="*/ 2147483647 h 714"/>
                <a:gd name="T44" fmla="*/ 2147483647 w 630"/>
                <a:gd name="T45" fmla="*/ 2147483647 h 714"/>
                <a:gd name="T46" fmla="*/ 2147483647 w 630"/>
                <a:gd name="T47" fmla="*/ 2147483647 h 714"/>
                <a:gd name="T48" fmla="*/ 2147483647 w 630"/>
                <a:gd name="T49" fmla="*/ 2147483647 h 714"/>
                <a:gd name="T50" fmla="*/ 2147483647 w 630"/>
                <a:gd name="T51" fmla="*/ 2147483647 h 714"/>
                <a:gd name="T52" fmla="*/ 2147483647 w 630"/>
                <a:gd name="T53" fmla="*/ 2147483647 h 714"/>
                <a:gd name="T54" fmla="*/ 2147483647 w 630"/>
                <a:gd name="T55" fmla="*/ 2147483647 h 714"/>
                <a:gd name="T56" fmla="*/ 2147483647 w 630"/>
                <a:gd name="T57" fmla="*/ 2147483647 h 714"/>
                <a:gd name="T58" fmla="*/ 2147483647 w 630"/>
                <a:gd name="T59" fmla="*/ 2147483647 h 714"/>
                <a:gd name="T60" fmla="*/ 2147483647 w 630"/>
                <a:gd name="T61" fmla="*/ 2147483647 h 714"/>
                <a:gd name="T62" fmla="*/ 2147483647 w 630"/>
                <a:gd name="T63" fmla="*/ 2147483647 h 714"/>
                <a:gd name="T64" fmla="*/ 2147483647 w 630"/>
                <a:gd name="T65" fmla="*/ 2147483647 h 714"/>
                <a:gd name="T66" fmla="*/ 2147483647 w 630"/>
                <a:gd name="T67" fmla="*/ 2147483647 h 714"/>
                <a:gd name="T68" fmla="*/ 2147483647 w 630"/>
                <a:gd name="T69" fmla="*/ 2147483647 h 714"/>
                <a:gd name="T70" fmla="*/ 2147483647 w 630"/>
                <a:gd name="T71" fmla="*/ 2147483647 h 714"/>
                <a:gd name="T72" fmla="*/ 2147483647 w 630"/>
                <a:gd name="T73" fmla="*/ 2147483647 h 714"/>
                <a:gd name="T74" fmla="*/ 2147483647 w 630"/>
                <a:gd name="T75" fmla="*/ 2147483647 h 714"/>
                <a:gd name="T76" fmla="*/ 2147483647 w 630"/>
                <a:gd name="T77" fmla="*/ 2147483647 h 714"/>
                <a:gd name="T78" fmla="*/ 2147483647 w 630"/>
                <a:gd name="T79" fmla="*/ 2147483647 h 714"/>
                <a:gd name="T80" fmla="*/ 2147483647 w 630"/>
                <a:gd name="T81" fmla="*/ 2147483647 h 714"/>
                <a:gd name="T82" fmla="*/ 2147483647 w 630"/>
                <a:gd name="T83" fmla="*/ 2147483647 h 714"/>
                <a:gd name="T84" fmla="*/ 2147483647 w 630"/>
                <a:gd name="T85" fmla="*/ 2147483647 h 714"/>
                <a:gd name="T86" fmla="*/ 2147483647 w 630"/>
                <a:gd name="T87" fmla="*/ 2147483647 h 714"/>
                <a:gd name="T88" fmla="*/ 2147483647 w 630"/>
                <a:gd name="T89" fmla="*/ 2147483647 h 714"/>
                <a:gd name="T90" fmla="*/ 2147483647 w 630"/>
                <a:gd name="T91" fmla="*/ 2147483647 h 714"/>
                <a:gd name="T92" fmla="*/ 2147483647 w 630"/>
                <a:gd name="T93" fmla="*/ 2147483647 h 714"/>
                <a:gd name="T94" fmla="*/ 2147483647 w 630"/>
                <a:gd name="T95" fmla="*/ 2147483647 h 714"/>
                <a:gd name="T96" fmla="*/ 2147483647 w 630"/>
                <a:gd name="T97" fmla="*/ 2147483647 h 714"/>
                <a:gd name="T98" fmla="*/ 2147483647 w 630"/>
                <a:gd name="T99" fmla="*/ 2147483647 h 714"/>
                <a:gd name="T100" fmla="*/ 2147483647 w 630"/>
                <a:gd name="T101" fmla="*/ 2147483647 h 714"/>
                <a:gd name="T102" fmla="*/ 2147483647 w 630"/>
                <a:gd name="T103" fmla="*/ 2147483647 h 714"/>
                <a:gd name="T104" fmla="*/ 2147483647 w 630"/>
                <a:gd name="T105" fmla="*/ 2147483647 h 714"/>
                <a:gd name="T106" fmla="*/ 2147483647 w 630"/>
                <a:gd name="T107" fmla="*/ 0 h 714"/>
                <a:gd name="T108" fmla="*/ 2147483647 w 630"/>
                <a:gd name="T109" fmla="*/ 2147483647 h 714"/>
                <a:gd name="T110" fmla="*/ 2147483647 w 630"/>
                <a:gd name="T111" fmla="*/ 2147483647 h 714"/>
                <a:gd name="T112" fmla="*/ 2147483647 w 630"/>
                <a:gd name="T113" fmla="*/ 2147483647 h 714"/>
                <a:gd name="T114" fmla="*/ 2147483647 w 630"/>
                <a:gd name="T115" fmla="*/ 2147483647 h 714"/>
                <a:gd name="T116" fmla="*/ 2147483647 w 630"/>
                <a:gd name="T117" fmla="*/ 2147483647 h 714"/>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630"/>
                <a:gd name="T178" fmla="*/ 0 h 714"/>
                <a:gd name="T179" fmla="*/ 630 w 630"/>
                <a:gd name="T180" fmla="*/ 714 h 714"/>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630" h="714">
                  <a:moveTo>
                    <a:pt x="162" y="84"/>
                  </a:moveTo>
                  <a:lnTo>
                    <a:pt x="156" y="90"/>
                  </a:lnTo>
                  <a:lnTo>
                    <a:pt x="144" y="96"/>
                  </a:lnTo>
                  <a:lnTo>
                    <a:pt x="132" y="96"/>
                  </a:lnTo>
                  <a:lnTo>
                    <a:pt x="126" y="90"/>
                  </a:lnTo>
                  <a:lnTo>
                    <a:pt x="108" y="90"/>
                  </a:lnTo>
                  <a:lnTo>
                    <a:pt x="96" y="84"/>
                  </a:lnTo>
                  <a:lnTo>
                    <a:pt x="84" y="84"/>
                  </a:lnTo>
                  <a:lnTo>
                    <a:pt x="72" y="72"/>
                  </a:lnTo>
                  <a:lnTo>
                    <a:pt x="60" y="66"/>
                  </a:lnTo>
                  <a:lnTo>
                    <a:pt x="54" y="54"/>
                  </a:lnTo>
                  <a:lnTo>
                    <a:pt x="48" y="48"/>
                  </a:lnTo>
                  <a:lnTo>
                    <a:pt x="30" y="48"/>
                  </a:lnTo>
                  <a:lnTo>
                    <a:pt x="24" y="54"/>
                  </a:lnTo>
                  <a:lnTo>
                    <a:pt x="24" y="66"/>
                  </a:lnTo>
                  <a:lnTo>
                    <a:pt x="6" y="60"/>
                  </a:lnTo>
                  <a:lnTo>
                    <a:pt x="0" y="66"/>
                  </a:lnTo>
                  <a:lnTo>
                    <a:pt x="6" y="72"/>
                  </a:lnTo>
                  <a:lnTo>
                    <a:pt x="18" y="78"/>
                  </a:lnTo>
                  <a:lnTo>
                    <a:pt x="24" y="84"/>
                  </a:lnTo>
                  <a:lnTo>
                    <a:pt x="36" y="90"/>
                  </a:lnTo>
                  <a:lnTo>
                    <a:pt x="48" y="90"/>
                  </a:lnTo>
                  <a:lnTo>
                    <a:pt x="54" y="96"/>
                  </a:lnTo>
                  <a:lnTo>
                    <a:pt x="60" y="96"/>
                  </a:lnTo>
                  <a:lnTo>
                    <a:pt x="72" y="108"/>
                  </a:lnTo>
                  <a:lnTo>
                    <a:pt x="108" y="108"/>
                  </a:lnTo>
                  <a:lnTo>
                    <a:pt x="138" y="126"/>
                  </a:lnTo>
                  <a:lnTo>
                    <a:pt x="150" y="126"/>
                  </a:lnTo>
                  <a:lnTo>
                    <a:pt x="156" y="132"/>
                  </a:lnTo>
                  <a:lnTo>
                    <a:pt x="162" y="132"/>
                  </a:lnTo>
                  <a:lnTo>
                    <a:pt x="162" y="156"/>
                  </a:lnTo>
                  <a:lnTo>
                    <a:pt x="156" y="162"/>
                  </a:lnTo>
                  <a:lnTo>
                    <a:pt x="156" y="168"/>
                  </a:lnTo>
                  <a:lnTo>
                    <a:pt x="168" y="174"/>
                  </a:lnTo>
                  <a:lnTo>
                    <a:pt x="162" y="198"/>
                  </a:lnTo>
                  <a:lnTo>
                    <a:pt x="186" y="210"/>
                  </a:lnTo>
                  <a:lnTo>
                    <a:pt x="180" y="222"/>
                  </a:lnTo>
                  <a:lnTo>
                    <a:pt x="174" y="228"/>
                  </a:lnTo>
                  <a:lnTo>
                    <a:pt x="168" y="240"/>
                  </a:lnTo>
                  <a:lnTo>
                    <a:pt x="168" y="246"/>
                  </a:lnTo>
                  <a:lnTo>
                    <a:pt x="180" y="258"/>
                  </a:lnTo>
                  <a:lnTo>
                    <a:pt x="192" y="264"/>
                  </a:lnTo>
                  <a:lnTo>
                    <a:pt x="198" y="270"/>
                  </a:lnTo>
                  <a:lnTo>
                    <a:pt x="210" y="306"/>
                  </a:lnTo>
                  <a:lnTo>
                    <a:pt x="222" y="294"/>
                  </a:lnTo>
                  <a:lnTo>
                    <a:pt x="228" y="294"/>
                  </a:lnTo>
                  <a:lnTo>
                    <a:pt x="234" y="300"/>
                  </a:lnTo>
                  <a:lnTo>
                    <a:pt x="246" y="300"/>
                  </a:lnTo>
                  <a:lnTo>
                    <a:pt x="270" y="324"/>
                  </a:lnTo>
                  <a:lnTo>
                    <a:pt x="270" y="336"/>
                  </a:lnTo>
                  <a:lnTo>
                    <a:pt x="276" y="348"/>
                  </a:lnTo>
                  <a:lnTo>
                    <a:pt x="276" y="354"/>
                  </a:lnTo>
                  <a:lnTo>
                    <a:pt x="264" y="348"/>
                  </a:lnTo>
                  <a:lnTo>
                    <a:pt x="246" y="348"/>
                  </a:lnTo>
                  <a:lnTo>
                    <a:pt x="240" y="354"/>
                  </a:lnTo>
                  <a:lnTo>
                    <a:pt x="234" y="366"/>
                  </a:lnTo>
                  <a:lnTo>
                    <a:pt x="228" y="372"/>
                  </a:lnTo>
                  <a:lnTo>
                    <a:pt x="222" y="384"/>
                  </a:lnTo>
                  <a:lnTo>
                    <a:pt x="216" y="390"/>
                  </a:lnTo>
                  <a:lnTo>
                    <a:pt x="180" y="420"/>
                  </a:lnTo>
                  <a:lnTo>
                    <a:pt x="144" y="432"/>
                  </a:lnTo>
                  <a:lnTo>
                    <a:pt x="138" y="438"/>
                  </a:lnTo>
                  <a:lnTo>
                    <a:pt x="126" y="444"/>
                  </a:lnTo>
                  <a:lnTo>
                    <a:pt x="120" y="456"/>
                  </a:lnTo>
                  <a:lnTo>
                    <a:pt x="120" y="462"/>
                  </a:lnTo>
                  <a:lnTo>
                    <a:pt x="108" y="474"/>
                  </a:lnTo>
                  <a:lnTo>
                    <a:pt x="90" y="474"/>
                  </a:lnTo>
                  <a:lnTo>
                    <a:pt x="66" y="504"/>
                  </a:lnTo>
                  <a:lnTo>
                    <a:pt x="66" y="534"/>
                  </a:lnTo>
                  <a:lnTo>
                    <a:pt x="72" y="540"/>
                  </a:lnTo>
                  <a:lnTo>
                    <a:pt x="72" y="570"/>
                  </a:lnTo>
                  <a:lnTo>
                    <a:pt x="96" y="588"/>
                  </a:lnTo>
                  <a:lnTo>
                    <a:pt x="96" y="594"/>
                  </a:lnTo>
                  <a:lnTo>
                    <a:pt x="90" y="600"/>
                  </a:lnTo>
                  <a:lnTo>
                    <a:pt x="90" y="612"/>
                  </a:lnTo>
                  <a:lnTo>
                    <a:pt x="84" y="630"/>
                  </a:lnTo>
                  <a:lnTo>
                    <a:pt x="84" y="648"/>
                  </a:lnTo>
                  <a:lnTo>
                    <a:pt x="90" y="654"/>
                  </a:lnTo>
                  <a:lnTo>
                    <a:pt x="96" y="666"/>
                  </a:lnTo>
                  <a:lnTo>
                    <a:pt x="108" y="678"/>
                  </a:lnTo>
                  <a:lnTo>
                    <a:pt x="132" y="690"/>
                  </a:lnTo>
                  <a:lnTo>
                    <a:pt x="174" y="690"/>
                  </a:lnTo>
                  <a:lnTo>
                    <a:pt x="174" y="696"/>
                  </a:lnTo>
                  <a:lnTo>
                    <a:pt x="168" y="702"/>
                  </a:lnTo>
                  <a:lnTo>
                    <a:pt x="168" y="708"/>
                  </a:lnTo>
                  <a:lnTo>
                    <a:pt x="174" y="714"/>
                  </a:lnTo>
                  <a:lnTo>
                    <a:pt x="240" y="714"/>
                  </a:lnTo>
                  <a:lnTo>
                    <a:pt x="252" y="708"/>
                  </a:lnTo>
                  <a:lnTo>
                    <a:pt x="270" y="708"/>
                  </a:lnTo>
                  <a:lnTo>
                    <a:pt x="300" y="696"/>
                  </a:lnTo>
                  <a:lnTo>
                    <a:pt x="336" y="696"/>
                  </a:lnTo>
                  <a:lnTo>
                    <a:pt x="384" y="672"/>
                  </a:lnTo>
                  <a:lnTo>
                    <a:pt x="462" y="672"/>
                  </a:lnTo>
                  <a:lnTo>
                    <a:pt x="456" y="660"/>
                  </a:lnTo>
                  <a:lnTo>
                    <a:pt x="516" y="630"/>
                  </a:lnTo>
                  <a:lnTo>
                    <a:pt x="576" y="570"/>
                  </a:lnTo>
                  <a:lnTo>
                    <a:pt x="582" y="570"/>
                  </a:lnTo>
                  <a:lnTo>
                    <a:pt x="618" y="534"/>
                  </a:lnTo>
                  <a:lnTo>
                    <a:pt x="624" y="522"/>
                  </a:lnTo>
                  <a:lnTo>
                    <a:pt x="630" y="516"/>
                  </a:lnTo>
                  <a:lnTo>
                    <a:pt x="630" y="504"/>
                  </a:lnTo>
                  <a:lnTo>
                    <a:pt x="624" y="492"/>
                  </a:lnTo>
                  <a:lnTo>
                    <a:pt x="618" y="486"/>
                  </a:lnTo>
                  <a:lnTo>
                    <a:pt x="612" y="474"/>
                  </a:lnTo>
                  <a:lnTo>
                    <a:pt x="540" y="438"/>
                  </a:lnTo>
                  <a:lnTo>
                    <a:pt x="546" y="438"/>
                  </a:lnTo>
                  <a:lnTo>
                    <a:pt x="570" y="414"/>
                  </a:lnTo>
                  <a:lnTo>
                    <a:pt x="570" y="408"/>
                  </a:lnTo>
                  <a:lnTo>
                    <a:pt x="564" y="402"/>
                  </a:lnTo>
                  <a:lnTo>
                    <a:pt x="552" y="396"/>
                  </a:lnTo>
                  <a:lnTo>
                    <a:pt x="528" y="390"/>
                  </a:lnTo>
                  <a:lnTo>
                    <a:pt x="534" y="378"/>
                  </a:lnTo>
                  <a:lnTo>
                    <a:pt x="540" y="372"/>
                  </a:lnTo>
                  <a:lnTo>
                    <a:pt x="540" y="366"/>
                  </a:lnTo>
                  <a:lnTo>
                    <a:pt x="534" y="360"/>
                  </a:lnTo>
                  <a:lnTo>
                    <a:pt x="528" y="360"/>
                  </a:lnTo>
                  <a:lnTo>
                    <a:pt x="522" y="354"/>
                  </a:lnTo>
                  <a:lnTo>
                    <a:pt x="510" y="354"/>
                  </a:lnTo>
                  <a:lnTo>
                    <a:pt x="510" y="342"/>
                  </a:lnTo>
                  <a:lnTo>
                    <a:pt x="498" y="330"/>
                  </a:lnTo>
                  <a:lnTo>
                    <a:pt x="504" y="300"/>
                  </a:lnTo>
                  <a:lnTo>
                    <a:pt x="510" y="300"/>
                  </a:lnTo>
                  <a:lnTo>
                    <a:pt x="522" y="306"/>
                  </a:lnTo>
                  <a:lnTo>
                    <a:pt x="534" y="306"/>
                  </a:lnTo>
                  <a:lnTo>
                    <a:pt x="540" y="300"/>
                  </a:lnTo>
                  <a:lnTo>
                    <a:pt x="540" y="294"/>
                  </a:lnTo>
                  <a:lnTo>
                    <a:pt x="534" y="288"/>
                  </a:lnTo>
                  <a:lnTo>
                    <a:pt x="522" y="282"/>
                  </a:lnTo>
                  <a:lnTo>
                    <a:pt x="498" y="258"/>
                  </a:lnTo>
                  <a:lnTo>
                    <a:pt x="486" y="252"/>
                  </a:lnTo>
                  <a:lnTo>
                    <a:pt x="480" y="240"/>
                  </a:lnTo>
                  <a:lnTo>
                    <a:pt x="468" y="234"/>
                  </a:lnTo>
                  <a:lnTo>
                    <a:pt x="450" y="216"/>
                  </a:lnTo>
                  <a:lnTo>
                    <a:pt x="456" y="210"/>
                  </a:lnTo>
                  <a:lnTo>
                    <a:pt x="468" y="204"/>
                  </a:lnTo>
                  <a:lnTo>
                    <a:pt x="474" y="204"/>
                  </a:lnTo>
                  <a:lnTo>
                    <a:pt x="474" y="192"/>
                  </a:lnTo>
                  <a:lnTo>
                    <a:pt x="480" y="192"/>
                  </a:lnTo>
                  <a:lnTo>
                    <a:pt x="492" y="186"/>
                  </a:lnTo>
                  <a:lnTo>
                    <a:pt x="498" y="186"/>
                  </a:lnTo>
                  <a:lnTo>
                    <a:pt x="498" y="174"/>
                  </a:lnTo>
                  <a:lnTo>
                    <a:pt x="450" y="126"/>
                  </a:lnTo>
                  <a:lnTo>
                    <a:pt x="432" y="126"/>
                  </a:lnTo>
                  <a:lnTo>
                    <a:pt x="426" y="132"/>
                  </a:lnTo>
                  <a:lnTo>
                    <a:pt x="420" y="132"/>
                  </a:lnTo>
                  <a:lnTo>
                    <a:pt x="414" y="126"/>
                  </a:lnTo>
                  <a:lnTo>
                    <a:pt x="414" y="120"/>
                  </a:lnTo>
                  <a:lnTo>
                    <a:pt x="408" y="108"/>
                  </a:lnTo>
                  <a:lnTo>
                    <a:pt x="408" y="96"/>
                  </a:lnTo>
                  <a:lnTo>
                    <a:pt x="426" y="96"/>
                  </a:lnTo>
                  <a:lnTo>
                    <a:pt x="426" y="90"/>
                  </a:lnTo>
                  <a:lnTo>
                    <a:pt x="414" y="78"/>
                  </a:lnTo>
                  <a:lnTo>
                    <a:pt x="420" y="54"/>
                  </a:lnTo>
                  <a:lnTo>
                    <a:pt x="426" y="54"/>
                  </a:lnTo>
                  <a:lnTo>
                    <a:pt x="426" y="60"/>
                  </a:lnTo>
                  <a:lnTo>
                    <a:pt x="432" y="60"/>
                  </a:lnTo>
                  <a:lnTo>
                    <a:pt x="432" y="42"/>
                  </a:lnTo>
                  <a:lnTo>
                    <a:pt x="426" y="30"/>
                  </a:lnTo>
                  <a:lnTo>
                    <a:pt x="414" y="18"/>
                  </a:lnTo>
                  <a:lnTo>
                    <a:pt x="408" y="18"/>
                  </a:lnTo>
                  <a:lnTo>
                    <a:pt x="372" y="12"/>
                  </a:lnTo>
                  <a:lnTo>
                    <a:pt x="372" y="0"/>
                  </a:lnTo>
                  <a:lnTo>
                    <a:pt x="336" y="0"/>
                  </a:lnTo>
                  <a:lnTo>
                    <a:pt x="324" y="6"/>
                  </a:lnTo>
                  <a:lnTo>
                    <a:pt x="294" y="6"/>
                  </a:lnTo>
                  <a:lnTo>
                    <a:pt x="282" y="12"/>
                  </a:lnTo>
                  <a:lnTo>
                    <a:pt x="276" y="12"/>
                  </a:lnTo>
                  <a:lnTo>
                    <a:pt x="264" y="18"/>
                  </a:lnTo>
                  <a:lnTo>
                    <a:pt x="264" y="30"/>
                  </a:lnTo>
                  <a:lnTo>
                    <a:pt x="258" y="36"/>
                  </a:lnTo>
                  <a:lnTo>
                    <a:pt x="258" y="72"/>
                  </a:lnTo>
                  <a:lnTo>
                    <a:pt x="234" y="72"/>
                  </a:lnTo>
                  <a:lnTo>
                    <a:pt x="234" y="78"/>
                  </a:lnTo>
                  <a:lnTo>
                    <a:pt x="228" y="84"/>
                  </a:lnTo>
                  <a:lnTo>
                    <a:pt x="228" y="96"/>
                  </a:lnTo>
                  <a:lnTo>
                    <a:pt x="210" y="96"/>
                  </a:lnTo>
                  <a:lnTo>
                    <a:pt x="204" y="90"/>
                  </a:lnTo>
                  <a:lnTo>
                    <a:pt x="192" y="84"/>
                  </a:lnTo>
                  <a:lnTo>
                    <a:pt x="162" y="84"/>
                  </a:lnTo>
                  <a:close/>
                </a:path>
              </a:pathLst>
            </a:custGeom>
            <a:grpFill/>
            <a:ln w="3175">
              <a:solidFill>
                <a:schemeClr val="bg1"/>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de-DE" sz="1800" b="0" i="0" u="none" strike="noStrike" kern="1200" cap="none" spc="0" normalizeH="0" baseline="0" noProof="0">
                <a:ln>
                  <a:noFill/>
                </a:ln>
                <a:solidFill>
                  <a:srgbClr val="FFC000"/>
                </a:solidFill>
                <a:effectLst/>
                <a:uLnTx/>
                <a:uFillTx/>
                <a:latin typeface="Calibri" pitchFamily="34" charset="0"/>
                <a:ea typeface="+mn-ea"/>
                <a:cs typeface="+mn-cs"/>
              </a:endParaRPr>
            </a:p>
          </p:txBody>
        </p:sp>
        <p:sp>
          <p:nvSpPr>
            <p:cNvPr id="139" name="Ethiopia" descr="© INSCALE GmbH, 05.05.2010&#10;http://www.presentationload.com/"/>
            <p:cNvSpPr>
              <a:spLocks/>
            </p:cNvSpPr>
            <p:nvPr/>
          </p:nvSpPr>
          <p:spPr bwMode="gray">
            <a:xfrm>
              <a:off x="5228525" y="3931459"/>
              <a:ext cx="342997" cy="286601"/>
            </a:xfrm>
            <a:custGeom>
              <a:avLst/>
              <a:gdLst>
                <a:gd name="T0" fmla="*/ 2147483647 w 1056"/>
                <a:gd name="T1" fmla="*/ 2147483647 h 924"/>
                <a:gd name="T2" fmla="*/ 2147483647 w 1056"/>
                <a:gd name="T3" fmla="*/ 2147483647 h 924"/>
                <a:gd name="T4" fmla="*/ 2147483647 w 1056"/>
                <a:gd name="T5" fmla="*/ 2147483647 h 924"/>
                <a:gd name="T6" fmla="*/ 2147483647 w 1056"/>
                <a:gd name="T7" fmla="*/ 2147483647 h 924"/>
                <a:gd name="T8" fmla="*/ 2147483647 w 1056"/>
                <a:gd name="T9" fmla="*/ 2147483647 h 924"/>
                <a:gd name="T10" fmla="*/ 2147483647 w 1056"/>
                <a:gd name="T11" fmla="*/ 2147483647 h 924"/>
                <a:gd name="T12" fmla="*/ 2147483647 w 1056"/>
                <a:gd name="T13" fmla="*/ 2147483647 h 924"/>
                <a:gd name="T14" fmla="*/ 2147483647 w 1056"/>
                <a:gd name="T15" fmla="*/ 2147483647 h 924"/>
                <a:gd name="T16" fmla="*/ 2147483647 w 1056"/>
                <a:gd name="T17" fmla="*/ 2147483647 h 924"/>
                <a:gd name="T18" fmla="*/ 2147483647 w 1056"/>
                <a:gd name="T19" fmla="*/ 2147483647 h 924"/>
                <a:gd name="T20" fmla="*/ 2147483647 w 1056"/>
                <a:gd name="T21" fmla="*/ 2147483647 h 924"/>
                <a:gd name="T22" fmla="*/ 2147483647 w 1056"/>
                <a:gd name="T23" fmla="*/ 2147483647 h 924"/>
                <a:gd name="T24" fmla="*/ 2147483647 w 1056"/>
                <a:gd name="T25" fmla="*/ 2147483647 h 924"/>
                <a:gd name="T26" fmla="*/ 2147483647 w 1056"/>
                <a:gd name="T27" fmla="*/ 2147483647 h 924"/>
                <a:gd name="T28" fmla="*/ 2147483647 w 1056"/>
                <a:gd name="T29" fmla="*/ 2147483647 h 924"/>
                <a:gd name="T30" fmla="*/ 2147483647 w 1056"/>
                <a:gd name="T31" fmla="*/ 2147483647 h 924"/>
                <a:gd name="T32" fmla="*/ 2147483647 w 1056"/>
                <a:gd name="T33" fmla="*/ 2147483647 h 924"/>
                <a:gd name="T34" fmla="*/ 2147483647 w 1056"/>
                <a:gd name="T35" fmla="*/ 2147483647 h 924"/>
                <a:gd name="T36" fmla="*/ 2147483647 w 1056"/>
                <a:gd name="T37" fmla="*/ 2147483647 h 924"/>
                <a:gd name="T38" fmla="*/ 2147483647 w 1056"/>
                <a:gd name="T39" fmla="*/ 2147483647 h 924"/>
                <a:gd name="T40" fmla="*/ 2147483647 w 1056"/>
                <a:gd name="T41" fmla="*/ 2147483647 h 924"/>
                <a:gd name="T42" fmla="*/ 2147483647 w 1056"/>
                <a:gd name="T43" fmla="*/ 2147483647 h 924"/>
                <a:gd name="T44" fmla="*/ 2147483647 w 1056"/>
                <a:gd name="T45" fmla="*/ 2147483647 h 924"/>
                <a:gd name="T46" fmla="*/ 2147483647 w 1056"/>
                <a:gd name="T47" fmla="*/ 2147483647 h 924"/>
                <a:gd name="T48" fmla="*/ 2147483647 w 1056"/>
                <a:gd name="T49" fmla="*/ 2147483647 h 924"/>
                <a:gd name="T50" fmla="*/ 2147483647 w 1056"/>
                <a:gd name="T51" fmla="*/ 2147483647 h 924"/>
                <a:gd name="T52" fmla="*/ 2147483647 w 1056"/>
                <a:gd name="T53" fmla="*/ 2147483647 h 924"/>
                <a:gd name="T54" fmla="*/ 2147483647 w 1056"/>
                <a:gd name="T55" fmla="*/ 2147483647 h 924"/>
                <a:gd name="T56" fmla="*/ 2147483647 w 1056"/>
                <a:gd name="T57" fmla="*/ 2147483647 h 924"/>
                <a:gd name="T58" fmla="*/ 2147483647 w 1056"/>
                <a:gd name="T59" fmla="*/ 2147483647 h 924"/>
                <a:gd name="T60" fmla="*/ 2147483647 w 1056"/>
                <a:gd name="T61" fmla="*/ 2147483647 h 924"/>
                <a:gd name="T62" fmla="*/ 2147483647 w 1056"/>
                <a:gd name="T63" fmla="*/ 2147483647 h 924"/>
                <a:gd name="T64" fmla="*/ 2147483647 w 1056"/>
                <a:gd name="T65" fmla="*/ 2147483647 h 924"/>
                <a:gd name="T66" fmla="*/ 2147483647 w 1056"/>
                <a:gd name="T67" fmla="*/ 2147483647 h 924"/>
                <a:gd name="T68" fmla="*/ 2147483647 w 1056"/>
                <a:gd name="T69" fmla="*/ 2147483647 h 924"/>
                <a:gd name="T70" fmla="*/ 2147483647 w 1056"/>
                <a:gd name="T71" fmla="*/ 2147483647 h 924"/>
                <a:gd name="T72" fmla="*/ 2147483647 w 1056"/>
                <a:gd name="T73" fmla="*/ 0 h 924"/>
                <a:gd name="T74" fmla="*/ 2147483647 w 1056"/>
                <a:gd name="T75" fmla="*/ 2147483647 h 924"/>
                <a:gd name="T76" fmla="*/ 2147483647 w 1056"/>
                <a:gd name="T77" fmla="*/ 2147483647 h 924"/>
                <a:gd name="T78" fmla="*/ 2147483647 w 1056"/>
                <a:gd name="T79" fmla="*/ 2147483647 h 924"/>
                <a:gd name="T80" fmla="*/ 2147483647 w 1056"/>
                <a:gd name="T81" fmla="*/ 2147483647 h 924"/>
                <a:gd name="T82" fmla="*/ 2147483647 w 1056"/>
                <a:gd name="T83" fmla="*/ 2147483647 h 924"/>
                <a:gd name="T84" fmla="*/ 2147483647 w 1056"/>
                <a:gd name="T85" fmla="*/ 2147483647 h 924"/>
                <a:gd name="T86" fmla="*/ 2147483647 w 1056"/>
                <a:gd name="T87" fmla="*/ 2147483647 h 924"/>
                <a:gd name="T88" fmla="*/ 2147483647 w 1056"/>
                <a:gd name="T89" fmla="*/ 2147483647 h 924"/>
                <a:gd name="T90" fmla="*/ 2147483647 w 1056"/>
                <a:gd name="T91" fmla="*/ 2147483647 h 924"/>
                <a:gd name="T92" fmla="*/ 2147483647 w 1056"/>
                <a:gd name="T93" fmla="*/ 2147483647 h 924"/>
                <a:gd name="T94" fmla="*/ 2147483647 w 1056"/>
                <a:gd name="T95" fmla="*/ 2147483647 h 924"/>
                <a:gd name="T96" fmla="*/ 2147483647 w 1056"/>
                <a:gd name="T97" fmla="*/ 2147483647 h 924"/>
                <a:gd name="T98" fmla="*/ 2147483647 w 1056"/>
                <a:gd name="T99" fmla="*/ 2147483647 h 924"/>
                <a:gd name="T100" fmla="*/ 2147483647 w 1056"/>
                <a:gd name="T101" fmla="*/ 2147483647 h 924"/>
                <a:gd name="T102" fmla="*/ 2147483647 w 1056"/>
                <a:gd name="T103" fmla="*/ 2147483647 h 924"/>
                <a:gd name="T104" fmla="*/ 2147483647 w 1056"/>
                <a:gd name="T105" fmla="*/ 2147483647 h 924"/>
                <a:gd name="T106" fmla="*/ 2147483647 w 1056"/>
                <a:gd name="T107" fmla="*/ 2147483647 h 924"/>
                <a:gd name="T108" fmla="*/ 2147483647 w 1056"/>
                <a:gd name="T109" fmla="*/ 2147483647 h 924"/>
                <a:gd name="T110" fmla="*/ 2147483647 w 1056"/>
                <a:gd name="T111" fmla="*/ 2147483647 h 924"/>
                <a:gd name="T112" fmla="*/ 2147483647 w 1056"/>
                <a:gd name="T113" fmla="*/ 2147483647 h 924"/>
                <a:gd name="T114" fmla="*/ 2147483647 w 1056"/>
                <a:gd name="T115" fmla="*/ 2147483647 h 924"/>
                <a:gd name="T116" fmla="*/ 2147483647 w 1056"/>
                <a:gd name="T117" fmla="*/ 2147483647 h 924"/>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1056"/>
                <a:gd name="T178" fmla="*/ 0 h 924"/>
                <a:gd name="T179" fmla="*/ 1056 w 1056"/>
                <a:gd name="T180" fmla="*/ 924 h 924"/>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1056" h="924">
                  <a:moveTo>
                    <a:pt x="84" y="642"/>
                  </a:moveTo>
                  <a:lnTo>
                    <a:pt x="108" y="642"/>
                  </a:lnTo>
                  <a:lnTo>
                    <a:pt x="114" y="666"/>
                  </a:lnTo>
                  <a:lnTo>
                    <a:pt x="126" y="666"/>
                  </a:lnTo>
                  <a:lnTo>
                    <a:pt x="126" y="702"/>
                  </a:lnTo>
                  <a:lnTo>
                    <a:pt x="138" y="708"/>
                  </a:lnTo>
                  <a:lnTo>
                    <a:pt x="138" y="726"/>
                  </a:lnTo>
                  <a:lnTo>
                    <a:pt x="156" y="762"/>
                  </a:lnTo>
                  <a:lnTo>
                    <a:pt x="168" y="768"/>
                  </a:lnTo>
                  <a:lnTo>
                    <a:pt x="186" y="768"/>
                  </a:lnTo>
                  <a:lnTo>
                    <a:pt x="192" y="774"/>
                  </a:lnTo>
                  <a:lnTo>
                    <a:pt x="198" y="786"/>
                  </a:lnTo>
                  <a:lnTo>
                    <a:pt x="198" y="804"/>
                  </a:lnTo>
                  <a:lnTo>
                    <a:pt x="210" y="840"/>
                  </a:lnTo>
                  <a:lnTo>
                    <a:pt x="282" y="846"/>
                  </a:lnTo>
                  <a:lnTo>
                    <a:pt x="360" y="906"/>
                  </a:lnTo>
                  <a:lnTo>
                    <a:pt x="390" y="906"/>
                  </a:lnTo>
                  <a:lnTo>
                    <a:pt x="402" y="912"/>
                  </a:lnTo>
                  <a:lnTo>
                    <a:pt x="432" y="912"/>
                  </a:lnTo>
                  <a:lnTo>
                    <a:pt x="444" y="918"/>
                  </a:lnTo>
                  <a:lnTo>
                    <a:pt x="450" y="918"/>
                  </a:lnTo>
                  <a:lnTo>
                    <a:pt x="462" y="924"/>
                  </a:lnTo>
                  <a:lnTo>
                    <a:pt x="486" y="906"/>
                  </a:lnTo>
                  <a:lnTo>
                    <a:pt x="486" y="894"/>
                  </a:lnTo>
                  <a:lnTo>
                    <a:pt x="498" y="882"/>
                  </a:lnTo>
                  <a:lnTo>
                    <a:pt x="510" y="882"/>
                  </a:lnTo>
                  <a:lnTo>
                    <a:pt x="522" y="876"/>
                  </a:lnTo>
                  <a:lnTo>
                    <a:pt x="528" y="870"/>
                  </a:lnTo>
                  <a:lnTo>
                    <a:pt x="534" y="870"/>
                  </a:lnTo>
                  <a:lnTo>
                    <a:pt x="552" y="852"/>
                  </a:lnTo>
                  <a:lnTo>
                    <a:pt x="576" y="882"/>
                  </a:lnTo>
                  <a:lnTo>
                    <a:pt x="606" y="882"/>
                  </a:lnTo>
                  <a:lnTo>
                    <a:pt x="612" y="876"/>
                  </a:lnTo>
                  <a:lnTo>
                    <a:pt x="636" y="882"/>
                  </a:lnTo>
                  <a:lnTo>
                    <a:pt x="636" y="876"/>
                  </a:lnTo>
                  <a:lnTo>
                    <a:pt x="648" y="864"/>
                  </a:lnTo>
                  <a:lnTo>
                    <a:pt x="660" y="864"/>
                  </a:lnTo>
                  <a:lnTo>
                    <a:pt x="672" y="858"/>
                  </a:lnTo>
                  <a:lnTo>
                    <a:pt x="696" y="858"/>
                  </a:lnTo>
                  <a:lnTo>
                    <a:pt x="714" y="840"/>
                  </a:lnTo>
                  <a:lnTo>
                    <a:pt x="714" y="828"/>
                  </a:lnTo>
                  <a:lnTo>
                    <a:pt x="726" y="822"/>
                  </a:lnTo>
                  <a:lnTo>
                    <a:pt x="732" y="816"/>
                  </a:lnTo>
                  <a:lnTo>
                    <a:pt x="744" y="810"/>
                  </a:lnTo>
                  <a:lnTo>
                    <a:pt x="756" y="810"/>
                  </a:lnTo>
                  <a:lnTo>
                    <a:pt x="762" y="804"/>
                  </a:lnTo>
                  <a:lnTo>
                    <a:pt x="846" y="804"/>
                  </a:lnTo>
                  <a:lnTo>
                    <a:pt x="1056" y="558"/>
                  </a:lnTo>
                  <a:lnTo>
                    <a:pt x="984" y="564"/>
                  </a:lnTo>
                  <a:lnTo>
                    <a:pt x="948" y="546"/>
                  </a:lnTo>
                  <a:lnTo>
                    <a:pt x="936" y="534"/>
                  </a:lnTo>
                  <a:lnTo>
                    <a:pt x="918" y="528"/>
                  </a:lnTo>
                  <a:lnTo>
                    <a:pt x="906" y="522"/>
                  </a:lnTo>
                  <a:lnTo>
                    <a:pt x="882" y="516"/>
                  </a:lnTo>
                  <a:lnTo>
                    <a:pt x="810" y="492"/>
                  </a:lnTo>
                  <a:lnTo>
                    <a:pt x="774" y="474"/>
                  </a:lnTo>
                  <a:lnTo>
                    <a:pt x="768" y="462"/>
                  </a:lnTo>
                  <a:lnTo>
                    <a:pt x="762" y="456"/>
                  </a:lnTo>
                  <a:lnTo>
                    <a:pt x="756" y="444"/>
                  </a:lnTo>
                  <a:lnTo>
                    <a:pt x="732" y="444"/>
                  </a:lnTo>
                  <a:lnTo>
                    <a:pt x="732" y="438"/>
                  </a:lnTo>
                  <a:lnTo>
                    <a:pt x="726" y="432"/>
                  </a:lnTo>
                  <a:lnTo>
                    <a:pt x="714" y="408"/>
                  </a:lnTo>
                  <a:lnTo>
                    <a:pt x="708" y="402"/>
                  </a:lnTo>
                  <a:lnTo>
                    <a:pt x="702" y="390"/>
                  </a:lnTo>
                  <a:lnTo>
                    <a:pt x="696" y="384"/>
                  </a:lnTo>
                  <a:lnTo>
                    <a:pt x="690" y="372"/>
                  </a:lnTo>
                  <a:lnTo>
                    <a:pt x="690" y="360"/>
                  </a:lnTo>
                  <a:lnTo>
                    <a:pt x="678" y="348"/>
                  </a:lnTo>
                  <a:lnTo>
                    <a:pt x="696" y="318"/>
                  </a:lnTo>
                  <a:lnTo>
                    <a:pt x="690" y="312"/>
                  </a:lnTo>
                  <a:lnTo>
                    <a:pt x="678" y="306"/>
                  </a:lnTo>
                  <a:lnTo>
                    <a:pt x="666" y="306"/>
                  </a:lnTo>
                  <a:lnTo>
                    <a:pt x="660" y="312"/>
                  </a:lnTo>
                  <a:lnTo>
                    <a:pt x="654" y="312"/>
                  </a:lnTo>
                  <a:lnTo>
                    <a:pt x="648" y="318"/>
                  </a:lnTo>
                  <a:lnTo>
                    <a:pt x="624" y="318"/>
                  </a:lnTo>
                  <a:lnTo>
                    <a:pt x="612" y="306"/>
                  </a:lnTo>
                  <a:lnTo>
                    <a:pt x="612" y="294"/>
                  </a:lnTo>
                  <a:lnTo>
                    <a:pt x="606" y="276"/>
                  </a:lnTo>
                  <a:lnTo>
                    <a:pt x="606" y="264"/>
                  </a:lnTo>
                  <a:lnTo>
                    <a:pt x="624" y="246"/>
                  </a:lnTo>
                  <a:lnTo>
                    <a:pt x="654" y="192"/>
                  </a:lnTo>
                  <a:lnTo>
                    <a:pt x="642" y="174"/>
                  </a:lnTo>
                  <a:lnTo>
                    <a:pt x="630" y="174"/>
                  </a:lnTo>
                  <a:lnTo>
                    <a:pt x="618" y="168"/>
                  </a:lnTo>
                  <a:lnTo>
                    <a:pt x="612" y="162"/>
                  </a:lnTo>
                  <a:lnTo>
                    <a:pt x="612" y="138"/>
                  </a:lnTo>
                  <a:lnTo>
                    <a:pt x="600" y="126"/>
                  </a:lnTo>
                  <a:lnTo>
                    <a:pt x="576" y="114"/>
                  </a:lnTo>
                  <a:lnTo>
                    <a:pt x="570" y="108"/>
                  </a:lnTo>
                  <a:lnTo>
                    <a:pt x="546" y="72"/>
                  </a:lnTo>
                  <a:lnTo>
                    <a:pt x="534" y="66"/>
                  </a:lnTo>
                  <a:lnTo>
                    <a:pt x="528" y="60"/>
                  </a:lnTo>
                  <a:lnTo>
                    <a:pt x="516" y="60"/>
                  </a:lnTo>
                  <a:lnTo>
                    <a:pt x="498" y="36"/>
                  </a:lnTo>
                  <a:lnTo>
                    <a:pt x="468" y="36"/>
                  </a:lnTo>
                  <a:lnTo>
                    <a:pt x="462" y="30"/>
                  </a:lnTo>
                  <a:lnTo>
                    <a:pt x="444" y="30"/>
                  </a:lnTo>
                  <a:lnTo>
                    <a:pt x="432" y="36"/>
                  </a:lnTo>
                  <a:lnTo>
                    <a:pt x="420" y="36"/>
                  </a:lnTo>
                  <a:lnTo>
                    <a:pt x="420" y="24"/>
                  </a:lnTo>
                  <a:lnTo>
                    <a:pt x="414" y="18"/>
                  </a:lnTo>
                  <a:lnTo>
                    <a:pt x="408" y="24"/>
                  </a:lnTo>
                  <a:lnTo>
                    <a:pt x="402" y="36"/>
                  </a:lnTo>
                  <a:lnTo>
                    <a:pt x="372" y="36"/>
                  </a:lnTo>
                  <a:lnTo>
                    <a:pt x="366" y="24"/>
                  </a:lnTo>
                  <a:lnTo>
                    <a:pt x="360" y="18"/>
                  </a:lnTo>
                  <a:lnTo>
                    <a:pt x="354" y="18"/>
                  </a:lnTo>
                  <a:lnTo>
                    <a:pt x="342" y="6"/>
                  </a:lnTo>
                  <a:lnTo>
                    <a:pt x="330" y="0"/>
                  </a:lnTo>
                  <a:lnTo>
                    <a:pt x="330" y="12"/>
                  </a:lnTo>
                  <a:lnTo>
                    <a:pt x="324" y="24"/>
                  </a:lnTo>
                  <a:lnTo>
                    <a:pt x="318" y="42"/>
                  </a:lnTo>
                  <a:lnTo>
                    <a:pt x="318" y="54"/>
                  </a:lnTo>
                  <a:lnTo>
                    <a:pt x="306" y="66"/>
                  </a:lnTo>
                  <a:lnTo>
                    <a:pt x="288" y="48"/>
                  </a:lnTo>
                  <a:lnTo>
                    <a:pt x="288" y="42"/>
                  </a:lnTo>
                  <a:lnTo>
                    <a:pt x="282" y="36"/>
                  </a:lnTo>
                  <a:lnTo>
                    <a:pt x="276" y="36"/>
                  </a:lnTo>
                  <a:lnTo>
                    <a:pt x="276" y="42"/>
                  </a:lnTo>
                  <a:lnTo>
                    <a:pt x="270" y="48"/>
                  </a:lnTo>
                  <a:lnTo>
                    <a:pt x="234" y="48"/>
                  </a:lnTo>
                  <a:lnTo>
                    <a:pt x="234" y="90"/>
                  </a:lnTo>
                  <a:lnTo>
                    <a:pt x="228" y="96"/>
                  </a:lnTo>
                  <a:lnTo>
                    <a:pt x="222" y="108"/>
                  </a:lnTo>
                  <a:lnTo>
                    <a:pt x="216" y="114"/>
                  </a:lnTo>
                  <a:lnTo>
                    <a:pt x="210" y="126"/>
                  </a:lnTo>
                  <a:lnTo>
                    <a:pt x="210" y="174"/>
                  </a:lnTo>
                  <a:lnTo>
                    <a:pt x="180" y="174"/>
                  </a:lnTo>
                  <a:lnTo>
                    <a:pt x="174" y="180"/>
                  </a:lnTo>
                  <a:lnTo>
                    <a:pt x="168" y="192"/>
                  </a:lnTo>
                  <a:lnTo>
                    <a:pt x="162" y="198"/>
                  </a:lnTo>
                  <a:lnTo>
                    <a:pt x="162" y="234"/>
                  </a:lnTo>
                  <a:lnTo>
                    <a:pt x="156" y="240"/>
                  </a:lnTo>
                  <a:lnTo>
                    <a:pt x="144" y="240"/>
                  </a:lnTo>
                  <a:lnTo>
                    <a:pt x="138" y="246"/>
                  </a:lnTo>
                  <a:lnTo>
                    <a:pt x="138" y="270"/>
                  </a:lnTo>
                  <a:lnTo>
                    <a:pt x="126" y="288"/>
                  </a:lnTo>
                  <a:lnTo>
                    <a:pt x="126" y="294"/>
                  </a:lnTo>
                  <a:lnTo>
                    <a:pt x="132" y="300"/>
                  </a:lnTo>
                  <a:lnTo>
                    <a:pt x="132" y="336"/>
                  </a:lnTo>
                  <a:lnTo>
                    <a:pt x="126" y="342"/>
                  </a:lnTo>
                  <a:lnTo>
                    <a:pt x="114" y="342"/>
                  </a:lnTo>
                  <a:lnTo>
                    <a:pt x="108" y="336"/>
                  </a:lnTo>
                  <a:lnTo>
                    <a:pt x="108" y="324"/>
                  </a:lnTo>
                  <a:lnTo>
                    <a:pt x="102" y="324"/>
                  </a:lnTo>
                  <a:lnTo>
                    <a:pt x="84" y="342"/>
                  </a:lnTo>
                  <a:lnTo>
                    <a:pt x="84" y="360"/>
                  </a:lnTo>
                  <a:lnTo>
                    <a:pt x="90" y="372"/>
                  </a:lnTo>
                  <a:lnTo>
                    <a:pt x="90" y="390"/>
                  </a:lnTo>
                  <a:lnTo>
                    <a:pt x="84" y="396"/>
                  </a:lnTo>
                  <a:lnTo>
                    <a:pt x="72" y="402"/>
                  </a:lnTo>
                  <a:lnTo>
                    <a:pt x="66" y="414"/>
                  </a:lnTo>
                  <a:lnTo>
                    <a:pt x="66" y="426"/>
                  </a:lnTo>
                  <a:lnTo>
                    <a:pt x="72" y="438"/>
                  </a:lnTo>
                  <a:lnTo>
                    <a:pt x="72" y="450"/>
                  </a:lnTo>
                  <a:lnTo>
                    <a:pt x="78" y="456"/>
                  </a:lnTo>
                  <a:lnTo>
                    <a:pt x="78" y="492"/>
                  </a:lnTo>
                  <a:lnTo>
                    <a:pt x="72" y="504"/>
                  </a:lnTo>
                  <a:lnTo>
                    <a:pt x="72" y="516"/>
                  </a:lnTo>
                  <a:lnTo>
                    <a:pt x="66" y="522"/>
                  </a:lnTo>
                  <a:lnTo>
                    <a:pt x="54" y="522"/>
                  </a:lnTo>
                  <a:lnTo>
                    <a:pt x="48" y="528"/>
                  </a:lnTo>
                  <a:lnTo>
                    <a:pt x="42" y="522"/>
                  </a:lnTo>
                  <a:lnTo>
                    <a:pt x="6" y="522"/>
                  </a:lnTo>
                  <a:lnTo>
                    <a:pt x="12" y="546"/>
                  </a:lnTo>
                  <a:lnTo>
                    <a:pt x="6" y="552"/>
                  </a:lnTo>
                  <a:lnTo>
                    <a:pt x="0" y="564"/>
                  </a:lnTo>
                  <a:lnTo>
                    <a:pt x="0" y="576"/>
                  </a:lnTo>
                  <a:lnTo>
                    <a:pt x="6" y="576"/>
                  </a:lnTo>
                  <a:lnTo>
                    <a:pt x="18" y="582"/>
                  </a:lnTo>
                  <a:lnTo>
                    <a:pt x="42" y="582"/>
                  </a:lnTo>
                  <a:lnTo>
                    <a:pt x="48" y="588"/>
                  </a:lnTo>
                  <a:lnTo>
                    <a:pt x="60" y="594"/>
                  </a:lnTo>
                  <a:lnTo>
                    <a:pt x="66" y="606"/>
                  </a:lnTo>
                  <a:lnTo>
                    <a:pt x="78" y="612"/>
                  </a:lnTo>
                  <a:lnTo>
                    <a:pt x="78" y="630"/>
                  </a:lnTo>
                  <a:lnTo>
                    <a:pt x="84" y="642"/>
                  </a:lnTo>
                  <a:close/>
                </a:path>
              </a:pathLst>
            </a:custGeom>
            <a:grpFill/>
            <a:ln w="3175">
              <a:solidFill>
                <a:schemeClr val="bg1"/>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de-DE" sz="1800" b="0" i="0" u="none" strike="noStrike" kern="1200" cap="none" spc="0" normalizeH="0" baseline="0" noProof="0">
                <a:ln>
                  <a:noFill/>
                </a:ln>
                <a:solidFill>
                  <a:srgbClr val="FFC000"/>
                </a:solidFill>
                <a:effectLst/>
                <a:uLnTx/>
                <a:uFillTx/>
                <a:latin typeface="Calibri" pitchFamily="34" charset="0"/>
                <a:ea typeface="+mn-ea"/>
                <a:cs typeface="+mn-cs"/>
              </a:endParaRPr>
            </a:p>
          </p:txBody>
        </p:sp>
        <p:sp>
          <p:nvSpPr>
            <p:cNvPr id="140" name="Estonia" descr="© INSCALE GmbH, 05.05.2010&#10;http://www.presentationload.com/"/>
            <p:cNvSpPr>
              <a:spLocks noEditPoints="1"/>
            </p:cNvSpPr>
            <p:nvPr/>
          </p:nvSpPr>
          <p:spPr bwMode="gray">
            <a:xfrm>
              <a:off x="4918803" y="2830374"/>
              <a:ext cx="113905" cy="47766"/>
            </a:xfrm>
            <a:custGeom>
              <a:avLst/>
              <a:gdLst>
                <a:gd name="T0" fmla="*/ 2147483647 w 348"/>
                <a:gd name="T1" fmla="*/ 2147483647 h 156"/>
                <a:gd name="T2" fmla="*/ 2147483647 w 348"/>
                <a:gd name="T3" fmla="*/ 2147483647 h 156"/>
                <a:gd name="T4" fmla="*/ 2147483647 w 348"/>
                <a:gd name="T5" fmla="*/ 2147483647 h 156"/>
                <a:gd name="T6" fmla="*/ 2147483647 w 348"/>
                <a:gd name="T7" fmla="*/ 2147483647 h 156"/>
                <a:gd name="T8" fmla="*/ 2147483647 w 348"/>
                <a:gd name="T9" fmla="*/ 2147483647 h 156"/>
                <a:gd name="T10" fmla="*/ 2147483647 w 348"/>
                <a:gd name="T11" fmla="*/ 2147483647 h 156"/>
                <a:gd name="T12" fmla="*/ 2147483647 w 348"/>
                <a:gd name="T13" fmla="*/ 2147483647 h 156"/>
                <a:gd name="T14" fmla="*/ 2147483647 w 348"/>
                <a:gd name="T15" fmla="*/ 0 h 156"/>
                <a:gd name="T16" fmla="*/ 2147483647 w 348"/>
                <a:gd name="T17" fmla="*/ 2147483647 h 156"/>
                <a:gd name="T18" fmla="*/ 2147483647 w 348"/>
                <a:gd name="T19" fmla="*/ 2147483647 h 156"/>
                <a:gd name="T20" fmla="*/ 2147483647 w 348"/>
                <a:gd name="T21" fmla="*/ 2147483647 h 156"/>
                <a:gd name="T22" fmla="*/ 2147483647 w 348"/>
                <a:gd name="T23" fmla="*/ 2147483647 h 156"/>
                <a:gd name="T24" fmla="*/ 2147483647 w 348"/>
                <a:gd name="T25" fmla="*/ 2147483647 h 156"/>
                <a:gd name="T26" fmla="*/ 2147483647 w 348"/>
                <a:gd name="T27" fmla="*/ 2147483647 h 156"/>
                <a:gd name="T28" fmla="*/ 2147483647 w 348"/>
                <a:gd name="T29" fmla="*/ 2147483647 h 156"/>
                <a:gd name="T30" fmla="*/ 2147483647 w 348"/>
                <a:gd name="T31" fmla="*/ 2147483647 h 156"/>
                <a:gd name="T32" fmla="*/ 2147483647 w 348"/>
                <a:gd name="T33" fmla="*/ 2147483647 h 156"/>
                <a:gd name="T34" fmla="*/ 2147483647 w 348"/>
                <a:gd name="T35" fmla="*/ 2147483647 h 156"/>
                <a:gd name="T36" fmla="*/ 2147483647 w 348"/>
                <a:gd name="T37" fmla="*/ 2147483647 h 156"/>
                <a:gd name="T38" fmla="*/ 2147483647 w 348"/>
                <a:gd name="T39" fmla="*/ 2147483647 h 156"/>
                <a:gd name="T40" fmla="*/ 2147483647 w 348"/>
                <a:gd name="T41" fmla="*/ 2147483647 h 156"/>
                <a:gd name="T42" fmla="*/ 2147483647 w 348"/>
                <a:gd name="T43" fmla="*/ 2147483647 h 156"/>
                <a:gd name="T44" fmla="*/ 2147483647 w 348"/>
                <a:gd name="T45" fmla="*/ 2147483647 h 156"/>
                <a:gd name="T46" fmla="*/ 2147483647 w 348"/>
                <a:gd name="T47" fmla="*/ 2147483647 h 156"/>
                <a:gd name="T48" fmla="*/ 0 w 348"/>
                <a:gd name="T49" fmla="*/ 2147483647 h 156"/>
                <a:gd name="T50" fmla="*/ 2147483647 w 348"/>
                <a:gd name="T51" fmla="*/ 2147483647 h 156"/>
                <a:gd name="T52" fmla="*/ 2147483647 w 348"/>
                <a:gd name="T53" fmla="*/ 2147483647 h 156"/>
                <a:gd name="T54" fmla="*/ 2147483647 w 348"/>
                <a:gd name="T55" fmla="*/ 2147483647 h 156"/>
                <a:gd name="T56" fmla="*/ 2147483647 w 348"/>
                <a:gd name="T57" fmla="*/ 2147483647 h 156"/>
                <a:gd name="T58" fmla="*/ 2147483647 w 348"/>
                <a:gd name="T59" fmla="*/ 2147483647 h 156"/>
                <a:gd name="T60" fmla="*/ 2147483647 w 348"/>
                <a:gd name="T61" fmla="*/ 2147483647 h 156"/>
                <a:gd name="T62" fmla="*/ 2147483647 w 348"/>
                <a:gd name="T63" fmla="*/ 2147483647 h 156"/>
                <a:gd name="T64" fmla="*/ 2147483647 w 348"/>
                <a:gd name="T65" fmla="*/ 2147483647 h 156"/>
                <a:gd name="T66" fmla="*/ 2147483647 w 348"/>
                <a:gd name="T67" fmla="*/ 2147483647 h 156"/>
                <a:gd name="T68" fmla="*/ 2147483647 w 348"/>
                <a:gd name="T69" fmla="*/ 2147483647 h 156"/>
                <a:gd name="T70" fmla="*/ 2147483647 w 348"/>
                <a:gd name="T71" fmla="*/ 2147483647 h 15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348"/>
                <a:gd name="T109" fmla="*/ 0 h 156"/>
                <a:gd name="T110" fmla="*/ 348 w 348"/>
                <a:gd name="T111" fmla="*/ 156 h 15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348" h="156">
                  <a:moveTo>
                    <a:pt x="336" y="114"/>
                  </a:moveTo>
                  <a:lnTo>
                    <a:pt x="324" y="108"/>
                  </a:lnTo>
                  <a:lnTo>
                    <a:pt x="336" y="84"/>
                  </a:lnTo>
                  <a:lnTo>
                    <a:pt x="318" y="78"/>
                  </a:lnTo>
                  <a:lnTo>
                    <a:pt x="318" y="60"/>
                  </a:lnTo>
                  <a:lnTo>
                    <a:pt x="330" y="48"/>
                  </a:lnTo>
                  <a:lnTo>
                    <a:pt x="336" y="48"/>
                  </a:lnTo>
                  <a:lnTo>
                    <a:pt x="342" y="42"/>
                  </a:lnTo>
                  <a:lnTo>
                    <a:pt x="336" y="30"/>
                  </a:lnTo>
                  <a:lnTo>
                    <a:pt x="342" y="18"/>
                  </a:lnTo>
                  <a:lnTo>
                    <a:pt x="330" y="12"/>
                  </a:lnTo>
                  <a:lnTo>
                    <a:pt x="312" y="12"/>
                  </a:lnTo>
                  <a:lnTo>
                    <a:pt x="294" y="6"/>
                  </a:lnTo>
                  <a:lnTo>
                    <a:pt x="276" y="6"/>
                  </a:lnTo>
                  <a:lnTo>
                    <a:pt x="264" y="0"/>
                  </a:lnTo>
                  <a:lnTo>
                    <a:pt x="204" y="0"/>
                  </a:lnTo>
                  <a:lnTo>
                    <a:pt x="192" y="6"/>
                  </a:lnTo>
                  <a:lnTo>
                    <a:pt x="156" y="6"/>
                  </a:lnTo>
                  <a:lnTo>
                    <a:pt x="150" y="12"/>
                  </a:lnTo>
                  <a:lnTo>
                    <a:pt x="126" y="24"/>
                  </a:lnTo>
                  <a:lnTo>
                    <a:pt x="108" y="30"/>
                  </a:lnTo>
                  <a:lnTo>
                    <a:pt x="96" y="36"/>
                  </a:lnTo>
                  <a:lnTo>
                    <a:pt x="90" y="36"/>
                  </a:lnTo>
                  <a:lnTo>
                    <a:pt x="84" y="42"/>
                  </a:lnTo>
                  <a:lnTo>
                    <a:pt x="84" y="48"/>
                  </a:lnTo>
                  <a:lnTo>
                    <a:pt x="90" y="60"/>
                  </a:lnTo>
                  <a:lnTo>
                    <a:pt x="90" y="72"/>
                  </a:lnTo>
                  <a:lnTo>
                    <a:pt x="96" y="78"/>
                  </a:lnTo>
                  <a:lnTo>
                    <a:pt x="96" y="84"/>
                  </a:lnTo>
                  <a:lnTo>
                    <a:pt x="150" y="90"/>
                  </a:lnTo>
                  <a:lnTo>
                    <a:pt x="138" y="126"/>
                  </a:lnTo>
                  <a:lnTo>
                    <a:pt x="150" y="126"/>
                  </a:lnTo>
                  <a:lnTo>
                    <a:pt x="180" y="114"/>
                  </a:lnTo>
                  <a:lnTo>
                    <a:pt x="210" y="114"/>
                  </a:lnTo>
                  <a:lnTo>
                    <a:pt x="234" y="126"/>
                  </a:lnTo>
                  <a:lnTo>
                    <a:pt x="240" y="132"/>
                  </a:lnTo>
                  <a:lnTo>
                    <a:pt x="252" y="138"/>
                  </a:lnTo>
                  <a:lnTo>
                    <a:pt x="270" y="156"/>
                  </a:lnTo>
                  <a:lnTo>
                    <a:pt x="288" y="156"/>
                  </a:lnTo>
                  <a:lnTo>
                    <a:pt x="294" y="150"/>
                  </a:lnTo>
                  <a:lnTo>
                    <a:pt x="312" y="150"/>
                  </a:lnTo>
                  <a:lnTo>
                    <a:pt x="318" y="156"/>
                  </a:lnTo>
                  <a:lnTo>
                    <a:pt x="330" y="156"/>
                  </a:lnTo>
                  <a:lnTo>
                    <a:pt x="330" y="144"/>
                  </a:lnTo>
                  <a:lnTo>
                    <a:pt x="348" y="132"/>
                  </a:lnTo>
                  <a:lnTo>
                    <a:pt x="336" y="114"/>
                  </a:lnTo>
                  <a:close/>
                  <a:moveTo>
                    <a:pt x="36" y="78"/>
                  </a:moveTo>
                  <a:lnTo>
                    <a:pt x="6" y="78"/>
                  </a:lnTo>
                  <a:lnTo>
                    <a:pt x="0" y="84"/>
                  </a:lnTo>
                  <a:lnTo>
                    <a:pt x="0" y="102"/>
                  </a:lnTo>
                  <a:lnTo>
                    <a:pt x="6" y="108"/>
                  </a:lnTo>
                  <a:lnTo>
                    <a:pt x="18" y="132"/>
                  </a:lnTo>
                  <a:lnTo>
                    <a:pt x="24" y="126"/>
                  </a:lnTo>
                  <a:lnTo>
                    <a:pt x="30" y="114"/>
                  </a:lnTo>
                  <a:lnTo>
                    <a:pt x="42" y="108"/>
                  </a:lnTo>
                  <a:lnTo>
                    <a:pt x="54" y="108"/>
                  </a:lnTo>
                  <a:lnTo>
                    <a:pt x="60" y="102"/>
                  </a:lnTo>
                  <a:lnTo>
                    <a:pt x="72" y="96"/>
                  </a:lnTo>
                  <a:lnTo>
                    <a:pt x="78" y="90"/>
                  </a:lnTo>
                  <a:lnTo>
                    <a:pt x="72" y="72"/>
                  </a:lnTo>
                  <a:lnTo>
                    <a:pt x="36" y="78"/>
                  </a:lnTo>
                  <a:close/>
                  <a:moveTo>
                    <a:pt x="36" y="66"/>
                  </a:moveTo>
                  <a:lnTo>
                    <a:pt x="48" y="66"/>
                  </a:lnTo>
                  <a:lnTo>
                    <a:pt x="54" y="54"/>
                  </a:lnTo>
                  <a:lnTo>
                    <a:pt x="60" y="48"/>
                  </a:lnTo>
                  <a:lnTo>
                    <a:pt x="60" y="42"/>
                  </a:lnTo>
                  <a:lnTo>
                    <a:pt x="54" y="36"/>
                  </a:lnTo>
                  <a:lnTo>
                    <a:pt x="48" y="36"/>
                  </a:lnTo>
                  <a:lnTo>
                    <a:pt x="36" y="42"/>
                  </a:lnTo>
                  <a:lnTo>
                    <a:pt x="30" y="48"/>
                  </a:lnTo>
                  <a:lnTo>
                    <a:pt x="24" y="60"/>
                  </a:lnTo>
                  <a:lnTo>
                    <a:pt x="30" y="66"/>
                  </a:lnTo>
                  <a:lnTo>
                    <a:pt x="36" y="66"/>
                  </a:lnTo>
                  <a:close/>
                </a:path>
              </a:pathLst>
            </a:custGeom>
            <a:grpFill/>
            <a:ln w="3175">
              <a:solidFill>
                <a:schemeClr val="bg1"/>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de-DE" sz="1800" b="0" i="0" u="none" strike="noStrike" kern="1200" cap="none" spc="0" normalizeH="0" baseline="0" noProof="0">
                <a:ln>
                  <a:noFill/>
                </a:ln>
                <a:solidFill>
                  <a:srgbClr val="FFC000"/>
                </a:solidFill>
                <a:effectLst/>
                <a:uLnTx/>
                <a:uFillTx/>
                <a:latin typeface="Calibri" pitchFamily="34" charset="0"/>
                <a:ea typeface="+mn-ea"/>
                <a:cs typeface="+mn-cs"/>
              </a:endParaRPr>
            </a:p>
          </p:txBody>
        </p:sp>
        <p:sp>
          <p:nvSpPr>
            <p:cNvPr id="141" name="Eritrea" descr="© INSCALE GmbH, 05.05.2010&#10;http://www.presentationload.com/"/>
            <p:cNvSpPr>
              <a:spLocks/>
            </p:cNvSpPr>
            <p:nvPr/>
          </p:nvSpPr>
          <p:spPr bwMode="gray">
            <a:xfrm>
              <a:off x="5301476" y="3853073"/>
              <a:ext cx="156141" cy="142075"/>
            </a:xfrm>
            <a:custGeom>
              <a:avLst/>
              <a:gdLst>
                <a:gd name="T0" fmla="*/ 2147483647 w 480"/>
                <a:gd name="T1" fmla="*/ 2147483647 h 456"/>
                <a:gd name="T2" fmla="*/ 2147483647 w 480"/>
                <a:gd name="T3" fmla="*/ 2147483647 h 456"/>
                <a:gd name="T4" fmla="*/ 2147483647 w 480"/>
                <a:gd name="T5" fmla="*/ 2147483647 h 456"/>
                <a:gd name="T6" fmla="*/ 2147483647 w 480"/>
                <a:gd name="T7" fmla="*/ 2147483647 h 456"/>
                <a:gd name="T8" fmla="*/ 2147483647 w 480"/>
                <a:gd name="T9" fmla="*/ 2147483647 h 456"/>
                <a:gd name="T10" fmla="*/ 2147483647 w 480"/>
                <a:gd name="T11" fmla="*/ 2147483647 h 456"/>
                <a:gd name="T12" fmla="*/ 2147483647 w 480"/>
                <a:gd name="T13" fmla="*/ 2147483647 h 456"/>
                <a:gd name="T14" fmla="*/ 2147483647 w 480"/>
                <a:gd name="T15" fmla="*/ 2147483647 h 456"/>
                <a:gd name="T16" fmla="*/ 0 w 480"/>
                <a:gd name="T17" fmla="*/ 2147483647 h 456"/>
                <a:gd name="T18" fmla="*/ 2147483647 w 480"/>
                <a:gd name="T19" fmla="*/ 2147483647 h 456"/>
                <a:gd name="T20" fmla="*/ 2147483647 w 480"/>
                <a:gd name="T21" fmla="*/ 2147483647 h 456"/>
                <a:gd name="T22" fmla="*/ 2147483647 w 480"/>
                <a:gd name="T23" fmla="*/ 2147483647 h 456"/>
                <a:gd name="T24" fmla="*/ 2147483647 w 480"/>
                <a:gd name="T25" fmla="*/ 2147483647 h 456"/>
                <a:gd name="T26" fmla="*/ 2147483647 w 480"/>
                <a:gd name="T27" fmla="*/ 2147483647 h 456"/>
                <a:gd name="T28" fmla="*/ 2147483647 w 480"/>
                <a:gd name="T29" fmla="*/ 2147483647 h 456"/>
                <a:gd name="T30" fmla="*/ 2147483647 w 480"/>
                <a:gd name="T31" fmla="*/ 2147483647 h 456"/>
                <a:gd name="T32" fmla="*/ 2147483647 w 480"/>
                <a:gd name="T33" fmla="*/ 2147483647 h 456"/>
                <a:gd name="T34" fmla="*/ 2147483647 w 480"/>
                <a:gd name="T35" fmla="*/ 2147483647 h 456"/>
                <a:gd name="T36" fmla="*/ 2147483647 w 480"/>
                <a:gd name="T37" fmla="*/ 2147483647 h 456"/>
                <a:gd name="T38" fmla="*/ 2147483647 w 480"/>
                <a:gd name="T39" fmla="*/ 2147483647 h 456"/>
                <a:gd name="T40" fmla="*/ 2147483647 w 480"/>
                <a:gd name="T41" fmla="*/ 2147483647 h 456"/>
                <a:gd name="T42" fmla="*/ 2147483647 w 480"/>
                <a:gd name="T43" fmla="*/ 2147483647 h 456"/>
                <a:gd name="T44" fmla="*/ 2147483647 w 480"/>
                <a:gd name="T45" fmla="*/ 2147483647 h 456"/>
                <a:gd name="T46" fmla="*/ 2147483647 w 480"/>
                <a:gd name="T47" fmla="*/ 2147483647 h 456"/>
                <a:gd name="T48" fmla="*/ 2147483647 w 480"/>
                <a:gd name="T49" fmla="*/ 2147483647 h 456"/>
                <a:gd name="T50" fmla="*/ 2147483647 w 480"/>
                <a:gd name="T51" fmla="*/ 2147483647 h 456"/>
                <a:gd name="T52" fmla="*/ 2147483647 w 480"/>
                <a:gd name="T53" fmla="*/ 2147483647 h 456"/>
                <a:gd name="T54" fmla="*/ 2147483647 w 480"/>
                <a:gd name="T55" fmla="*/ 2147483647 h 456"/>
                <a:gd name="T56" fmla="*/ 2147483647 w 480"/>
                <a:gd name="T57" fmla="*/ 2147483647 h 456"/>
                <a:gd name="T58" fmla="*/ 2147483647 w 480"/>
                <a:gd name="T59" fmla="*/ 2147483647 h 456"/>
                <a:gd name="T60" fmla="*/ 2147483647 w 480"/>
                <a:gd name="T61" fmla="*/ 2147483647 h 456"/>
                <a:gd name="T62" fmla="*/ 2147483647 w 480"/>
                <a:gd name="T63" fmla="*/ 2147483647 h 456"/>
                <a:gd name="T64" fmla="*/ 2147483647 w 480"/>
                <a:gd name="T65" fmla="*/ 2147483647 h 456"/>
                <a:gd name="T66" fmla="*/ 2147483647 w 480"/>
                <a:gd name="T67" fmla="*/ 2147483647 h 456"/>
                <a:gd name="T68" fmla="*/ 2147483647 w 480"/>
                <a:gd name="T69" fmla="*/ 2147483647 h 456"/>
                <a:gd name="T70" fmla="*/ 2147483647 w 480"/>
                <a:gd name="T71" fmla="*/ 2147483647 h 456"/>
                <a:gd name="T72" fmla="*/ 2147483647 w 480"/>
                <a:gd name="T73" fmla="*/ 2147483647 h 456"/>
                <a:gd name="T74" fmla="*/ 2147483647 w 480"/>
                <a:gd name="T75" fmla="*/ 2147483647 h 456"/>
                <a:gd name="T76" fmla="*/ 2147483647 w 480"/>
                <a:gd name="T77" fmla="*/ 2147483647 h 456"/>
                <a:gd name="T78" fmla="*/ 2147483647 w 480"/>
                <a:gd name="T79" fmla="*/ 2147483647 h 456"/>
                <a:gd name="T80" fmla="*/ 2147483647 w 480"/>
                <a:gd name="T81" fmla="*/ 2147483647 h 456"/>
                <a:gd name="T82" fmla="*/ 2147483647 w 480"/>
                <a:gd name="T83" fmla="*/ 2147483647 h 456"/>
                <a:gd name="T84" fmla="*/ 2147483647 w 480"/>
                <a:gd name="T85" fmla="*/ 2147483647 h 456"/>
                <a:gd name="T86" fmla="*/ 2147483647 w 480"/>
                <a:gd name="T87" fmla="*/ 2147483647 h 456"/>
                <a:gd name="T88" fmla="*/ 2147483647 w 480"/>
                <a:gd name="T89" fmla="*/ 2147483647 h 456"/>
                <a:gd name="T90" fmla="*/ 2147483647 w 480"/>
                <a:gd name="T91" fmla="*/ 2147483647 h 456"/>
                <a:gd name="T92" fmla="*/ 2147483647 w 480"/>
                <a:gd name="T93" fmla="*/ 2147483647 h 456"/>
                <a:gd name="T94" fmla="*/ 2147483647 w 480"/>
                <a:gd name="T95" fmla="*/ 2147483647 h 456"/>
                <a:gd name="T96" fmla="*/ 2147483647 w 480"/>
                <a:gd name="T97" fmla="*/ 0 h 456"/>
                <a:gd name="T98" fmla="*/ 2147483647 w 480"/>
                <a:gd name="T99" fmla="*/ 2147483647 h 456"/>
                <a:gd name="T100" fmla="*/ 2147483647 w 480"/>
                <a:gd name="T101" fmla="*/ 2147483647 h 456"/>
                <a:gd name="T102" fmla="*/ 2147483647 w 480"/>
                <a:gd name="T103" fmla="*/ 2147483647 h 45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480"/>
                <a:gd name="T157" fmla="*/ 0 h 456"/>
                <a:gd name="T158" fmla="*/ 480 w 480"/>
                <a:gd name="T159" fmla="*/ 456 h 45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480" h="456">
                  <a:moveTo>
                    <a:pt x="78" y="54"/>
                  </a:moveTo>
                  <a:lnTo>
                    <a:pt x="78" y="66"/>
                  </a:lnTo>
                  <a:lnTo>
                    <a:pt x="72" y="72"/>
                  </a:lnTo>
                  <a:lnTo>
                    <a:pt x="72" y="78"/>
                  </a:lnTo>
                  <a:lnTo>
                    <a:pt x="66" y="84"/>
                  </a:lnTo>
                  <a:lnTo>
                    <a:pt x="48" y="84"/>
                  </a:lnTo>
                  <a:lnTo>
                    <a:pt x="48" y="102"/>
                  </a:lnTo>
                  <a:lnTo>
                    <a:pt x="42" y="108"/>
                  </a:lnTo>
                  <a:lnTo>
                    <a:pt x="30" y="108"/>
                  </a:lnTo>
                  <a:lnTo>
                    <a:pt x="30" y="120"/>
                  </a:lnTo>
                  <a:lnTo>
                    <a:pt x="36" y="126"/>
                  </a:lnTo>
                  <a:lnTo>
                    <a:pt x="36" y="168"/>
                  </a:lnTo>
                  <a:lnTo>
                    <a:pt x="30" y="180"/>
                  </a:lnTo>
                  <a:lnTo>
                    <a:pt x="24" y="186"/>
                  </a:lnTo>
                  <a:lnTo>
                    <a:pt x="18" y="186"/>
                  </a:lnTo>
                  <a:lnTo>
                    <a:pt x="18" y="222"/>
                  </a:lnTo>
                  <a:lnTo>
                    <a:pt x="12" y="222"/>
                  </a:lnTo>
                  <a:lnTo>
                    <a:pt x="0" y="228"/>
                  </a:lnTo>
                  <a:lnTo>
                    <a:pt x="0" y="246"/>
                  </a:lnTo>
                  <a:lnTo>
                    <a:pt x="6" y="252"/>
                  </a:lnTo>
                  <a:lnTo>
                    <a:pt x="12" y="300"/>
                  </a:lnTo>
                  <a:lnTo>
                    <a:pt x="48" y="300"/>
                  </a:lnTo>
                  <a:lnTo>
                    <a:pt x="54" y="294"/>
                  </a:lnTo>
                  <a:lnTo>
                    <a:pt x="54" y="288"/>
                  </a:lnTo>
                  <a:lnTo>
                    <a:pt x="60" y="288"/>
                  </a:lnTo>
                  <a:lnTo>
                    <a:pt x="66" y="294"/>
                  </a:lnTo>
                  <a:lnTo>
                    <a:pt x="66" y="300"/>
                  </a:lnTo>
                  <a:lnTo>
                    <a:pt x="84" y="318"/>
                  </a:lnTo>
                  <a:lnTo>
                    <a:pt x="96" y="306"/>
                  </a:lnTo>
                  <a:lnTo>
                    <a:pt x="96" y="294"/>
                  </a:lnTo>
                  <a:lnTo>
                    <a:pt x="102" y="276"/>
                  </a:lnTo>
                  <a:lnTo>
                    <a:pt x="108" y="264"/>
                  </a:lnTo>
                  <a:lnTo>
                    <a:pt x="108" y="252"/>
                  </a:lnTo>
                  <a:lnTo>
                    <a:pt x="120" y="258"/>
                  </a:lnTo>
                  <a:lnTo>
                    <a:pt x="132" y="270"/>
                  </a:lnTo>
                  <a:lnTo>
                    <a:pt x="138" y="270"/>
                  </a:lnTo>
                  <a:lnTo>
                    <a:pt x="144" y="276"/>
                  </a:lnTo>
                  <a:lnTo>
                    <a:pt x="150" y="288"/>
                  </a:lnTo>
                  <a:lnTo>
                    <a:pt x="180" y="288"/>
                  </a:lnTo>
                  <a:lnTo>
                    <a:pt x="186" y="276"/>
                  </a:lnTo>
                  <a:lnTo>
                    <a:pt x="192" y="270"/>
                  </a:lnTo>
                  <a:lnTo>
                    <a:pt x="198" y="276"/>
                  </a:lnTo>
                  <a:lnTo>
                    <a:pt x="198" y="288"/>
                  </a:lnTo>
                  <a:lnTo>
                    <a:pt x="210" y="288"/>
                  </a:lnTo>
                  <a:lnTo>
                    <a:pt x="222" y="282"/>
                  </a:lnTo>
                  <a:lnTo>
                    <a:pt x="240" y="282"/>
                  </a:lnTo>
                  <a:lnTo>
                    <a:pt x="246" y="288"/>
                  </a:lnTo>
                  <a:lnTo>
                    <a:pt x="276" y="288"/>
                  </a:lnTo>
                  <a:lnTo>
                    <a:pt x="294" y="312"/>
                  </a:lnTo>
                  <a:lnTo>
                    <a:pt x="306" y="312"/>
                  </a:lnTo>
                  <a:lnTo>
                    <a:pt x="312" y="318"/>
                  </a:lnTo>
                  <a:lnTo>
                    <a:pt x="324" y="324"/>
                  </a:lnTo>
                  <a:lnTo>
                    <a:pt x="348" y="360"/>
                  </a:lnTo>
                  <a:lnTo>
                    <a:pt x="354" y="366"/>
                  </a:lnTo>
                  <a:lnTo>
                    <a:pt x="378" y="378"/>
                  </a:lnTo>
                  <a:lnTo>
                    <a:pt x="390" y="390"/>
                  </a:lnTo>
                  <a:lnTo>
                    <a:pt x="390" y="414"/>
                  </a:lnTo>
                  <a:lnTo>
                    <a:pt x="396" y="420"/>
                  </a:lnTo>
                  <a:lnTo>
                    <a:pt x="408" y="426"/>
                  </a:lnTo>
                  <a:lnTo>
                    <a:pt x="420" y="426"/>
                  </a:lnTo>
                  <a:lnTo>
                    <a:pt x="432" y="444"/>
                  </a:lnTo>
                  <a:lnTo>
                    <a:pt x="456" y="456"/>
                  </a:lnTo>
                  <a:lnTo>
                    <a:pt x="468" y="438"/>
                  </a:lnTo>
                  <a:lnTo>
                    <a:pt x="480" y="432"/>
                  </a:lnTo>
                  <a:lnTo>
                    <a:pt x="474" y="420"/>
                  </a:lnTo>
                  <a:lnTo>
                    <a:pt x="456" y="402"/>
                  </a:lnTo>
                  <a:lnTo>
                    <a:pt x="432" y="402"/>
                  </a:lnTo>
                  <a:lnTo>
                    <a:pt x="426" y="396"/>
                  </a:lnTo>
                  <a:lnTo>
                    <a:pt x="426" y="360"/>
                  </a:lnTo>
                  <a:lnTo>
                    <a:pt x="420" y="360"/>
                  </a:lnTo>
                  <a:lnTo>
                    <a:pt x="414" y="354"/>
                  </a:lnTo>
                  <a:lnTo>
                    <a:pt x="366" y="330"/>
                  </a:lnTo>
                  <a:lnTo>
                    <a:pt x="360" y="324"/>
                  </a:lnTo>
                  <a:lnTo>
                    <a:pt x="360" y="312"/>
                  </a:lnTo>
                  <a:lnTo>
                    <a:pt x="354" y="300"/>
                  </a:lnTo>
                  <a:lnTo>
                    <a:pt x="354" y="288"/>
                  </a:lnTo>
                  <a:lnTo>
                    <a:pt x="348" y="276"/>
                  </a:lnTo>
                  <a:lnTo>
                    <a:pt x="348" y="270"/>
                  </a:lnTo>
                  <a:lnTo>
                    <a:pt x="336" y="270"/>
                  </a:lnTo>
                  <a:lnTo>
                    <a:pt x="324" y="264"/>
                  </a:lnTo>
                  <a:lnTo>
                    <a:pt x="306" y="264"/>
                  </a:lnTo>
                  <a:lnTo>
                    <a:pt x="282" y="240"/>
                  </a:lnTo>
                  <a:lnTo>
                    <a:pt x="264" y="246"/>
                  </a:lnTo>
                  <a:lnTo>
                    <a:pt x="252" y="228"/>
                  </a:lnTo>
                  <a:lnTo>
                    <a:pt x="234" y="222"/>
                  </a:lnTo>
                  <a:lnTo>
                    <a:pt x="216" y="204"/>
                  </a:lnTo>
                  <a:lnTo>
                    <a:pt x="210" y="192"/>
                  </a:lnTo>
                  <a:lnTo>
                    <a:pt x="204" y="186"/>
                  </a:lnTo>
                  <a:lnTo>
                    <a:pt x="198" y="174"/>
                  </a:lnTo>
                  <a:lnTo>
                    <a:pt x="198" y="114"/>
                  </a:lnTo>
                  <a:lnTo>
                    <a:pt x="192" y="90"/>
                  </a:lnTo>
                  <a:lnTo>
                    <a:pt x="186" y="78"/>
                  </a:lnTo>
                  <a:lnTo>
                    <a:pt x="180" y="60"/>
                  </a:lnTo>
                  <a:lnTo>
                    <a:pt x="168" y="42"/>
                  </a:lnTo>
                  <a:lnTo>
                    <a:pt x="162" y="24"/>
                  </a:lnTo>
                  <a:lnTo>
                    <a:pt x="156" y="12"/>
                  </a:lnTo>
                  <a:lnTo>
                    <a:pt x="150" y="6"/>
                  </a:lnTo>
                  <a:lnTo>
                    <a:pt x="150" y="0"/>
                  </a:lnTo>
                  <a:lnTo>
                    <a:pt x="144" y="0"/>
                  </a:lnTo>
                  <a:lnTo>
                    <a:pt x="144" y="12"/>
                  </a:lnTo>
                  <a:lnTo>
                    <a:pt x="132" y="36"/>
                  </a:lnTo>
                  <a:lnTo>
                    <a:pt x="108" y="48"/>
                  </a:lnTo>
                  <a:lnTo>
                    <a:pt x="90" y="54"/>
                  </a:lnTo>
                  <a:lnTo>
                    <a:pt x="78" y="54"/>
                  </a:lnTo>
                  <a:close/>
                </a:path>
              </a:pathLst>
            </a:custGeom>
            <a:grpFill/>
            <a:ln w="3175">
              <a:solidFill>
                <a:schemeClr val="bg1"/>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de-DE" sz="1800" b="0" i="0" u="none" strike="noStrike" kern="1200" cap="none" spc="0" normalizeH="0" baseline="0" noProof="0">
                <a:ln>
                  <a:noFill/>
                </a:ln>
                <a:solidFill>
                  <a:srgbClr val="FFC000"/>
                </a:solidFill>
                <a:effectLst/>
                <a:uLnTx/>
                <a:uFillTx/>
                <a:latin typeface="Calibri" pitchFamily="34" charset="0"/>
                <a:ea typeface="+mn-ea"/>
                <a:cs typeface="+mn-cs"/>
              </a:endParaRPr>
            </a:p>
          </p:txBody>
        </p:sp>
        <p:sp>
          <p:nvSpPr>
            <p:cNvPr id="142" name="Equatorial Guinea" descr="© INSCALE GmbH, 05.05.2010&#10;http://www.presentationload.com/"/>
            <p:cNvSpPr>
              <a:spLocks/>
            </p:cNvSpPr>
            <p:nvPr/>
          </p:nvSpPr>
          <p:spPr bwMode="gray">
            <a:xfrm>
              <a:off x="4682033" y="4246230"/>
              <a:ext cx="47355" cy="34295"/>
            </a:xfrm>
            <a:custGeom>
              <a:avLst/>
              <a:gdLst>
                <a:gd name="T0" fmla="*/ 2147483647 w 144"/>
                <a:gd name="T1" fmla="*/ 2147483647 h 108"/>
                <a:gd name="T2" fmla="*/ 2147483647 w 144"/>
                <a:gd name="T3" fmla="*/ 2147483647 h 108"/>
                <a:gd name="T4" fmla="*/ 2147483647 w 144"/>
                <a:gd name="T5" fmla="*/ 2147483647 h 108"/>
                <a:gd name="T6" fmla="*/ 2147483647 w 144"/>
                <a:gd name="T7" fmla="*/ 0 h 108"/>
                <a:gd name="T8" fmla="*/ 2147483647 w 144"/>
                <a:gd name="T9" fmla="*/ 2147483647 h 108"/>
                <a:gd name="T10" fmla="*/ 2147483647 w 144"/>
                <a:gd name="T11" fmla="*/ 2147483647 h 108"/>
                <a:gd name="T12" fmla="*/ 2147483647 w 144"/>
                <a:gd name="T13" fmla="*/ 2147483647 h 108"/>
                <a:gd name="T14" fmla="*/ 2147483647 w 144"/>
                <a:gd name="T15" fmla="*/ 2147483647 h 108"/>
                <a:gd name="T16" fmla="*/ 2147483647 w 144"/>
                <a:gd name="T17" fmla="*/ 2147483647 h 108"/>
                <a:gd name="T18" fmla="*/ 0 w 144"/>
                <a:gd name="T19" fmla="*/ 2147483647 h 108"/>
                <a:gd name="T20" fmla="*/ 0 w 144"/>
                <a:gd name="T21" fmla="*/ 2147483647 h 108"/>
                <a:gd name="T22" fmla="*/ 2147483647 w 144"/>
                <a:gd name="T23" fmla="*/ 2147483647 h 108"/>
                <a:gd name="T24" fmla="*/ 2147483647 w 144"/>
                <a:gd name="T25" fmla="*/ 2147483647 h 108"/>
                <a:gd name="T26" fmla="*/ 2147483647 w 144"/>
                <a:gd name="T27" fmla="*/ 2147483647 h 108"/>
                <a:gd name="T28" fmla="*/ 2147483647 w 144"/>
                <a:gd name="T29" fmla="*/ 2147483647 h 108"/>
                <a:gd name="T30" fmla="*/ 2147483647 w 144"/>
                <a:gd name="T31" fmla="*/ 2147483647 h 108"/>
                <a:gd name="T32" fmla="*/ 2147483647 w 144"/>
                <a:gd name="T33" fmla="*/ 2147483647 h 108"/>
                <a:gd name="T34" fmla="*/ 2147483647 w 144"/>
                <a:gd name="T35" fmla="*/ 2147483647 h 108"/>
                <a:gd name="T36" fmla="*/ 2147483647 w 144"/>
                <a:gd name="T37" fmla="*/ 2147483647 h 108"/>
                <a:gd name="T38" fmla="*/ 2147483647 w 144"/>
                <a:gd name="T39" fmla="*/ 2147483647 h 108"/>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44"/>
                <a:gd name="T61" fmla="*/ 0 h 108"/>
                <a:gd name="T62" fmla="*/ 144 w 144"/>
                <a:gd name="T63" fmla="*/ 108 h 108"/>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44" h="108">
                  <a:moveTo>
                    <a:pt x="138" y="48"/>
                  </a:moveTo>
                  <a:lnTo>
                    <a:pt x="144" y="12"/>
                  </a:lnTo>
                  <a:lnTo>
                    <a:pt x="48" y="12"/>
                  </a:lnTo>
                  <a:lnTo>
                    <a:pt x="36" y="0"/>
                  </a:lnTo>
                  <a:lnTo>
                    <a:pt x="30" y="6"/>
                  </a:lnTo>
                  <a:lnTo>
                    <a:pt x="30" y="42"/>
                  </a:lnTo>
                  <a:lnTo>
                    <a:pt x="18" y="54"/>
                  </a:lnTo>
                  <a:lnTo>
                    <a:pt x="12" y="66"/>
                  </a:lnTo>
                  <a:lnTo>
                    <a:pt x="6" y="72"/>
                  </a:lnTo>
                  <a:lnTo>
                    <a:pt x="0" y="84"/>
                  </a:lnTo>
                  <a:lnTo>
                    <a:pt x="0" y="90"/>
                  </a:lnTo>
                  <a:lnTo>
                    <a:pt x="6" y="96"/>
                  </a:lnTo>
                  <a:lnTo>
                    <a:pt x="18" y="102"/>
                  </a:lnTo>
                  <a:lnTo>
                    <a:pt x="36" y="102"/>
                  </a:lnTo>
                  <a:lnTo>
                    <a:pt x="36" y="108"/>
                  </a:lnTo>
                  <a:lnTo>
                    <a:pt x="138" y="108"/>
                  </a:lnTo>
                  <a:lnTo>
                    <a:pt x="138" y="102"/>
                  </a:lnTo>
                  <a:lnTo>
                    <a:pt x="144" y="84"/>
                  </a:lnTo>
                  <a:lnTo>
                    <a:pt x="144" y="54"/>
                  </a:lnTo>
                  <a:lnTo>
                    <a:pt x="138" y="48"/>
                  </a:lnTo>
                  <a:close/>
                </a:path>
              </a:pathLst>
            </a:custGeom>
            <a:grpFill/>
            <a:ln w="3175">
              <a:solidFill>
                <a:schemeClr val="bg1"/>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de-DE" sz="1800" b="0" i="0" u="none" strike="noStrike" kern="1200" cap="none" spc="0" normalizeH="0" baseline="0" noProof="0">
                <a:ln>
                  <a:noFill/>
                </a:ln>
                <a:solidFill>
                  <a:srgbClr val="FFC000"/>
                </a:solidFill>
                <a:effectLst/>
                <a:uLnTx/>
                <a:uFillTx/>
                <a:latin typeface="Calibri" pitchFamily="34" charset="0"/>
                <a:ea typeface="+mn-ea"/>
                <a:cs typeface="+mn-cs"/>
              </a:endParaRPr>
            </a:p>
          </p:txBody>
        </p:sp>
        <p:sp>
          <p:nvSpPr>
            <p:cNvPr id="143" name="El Salvador" descr="© INSCALE GmbH, 05.05.2010&#10;http://www.presentationload.com/"/>
            <p:cNvSpPr>
              <a:spLocks/>
            </p:cNvSpPr>
            <p:nvPr/>
          </p:nvSpPr>
          <p:spPr bwMode="gray">
            <a:xfrm>
              <a:off x="2401357" y="3942482"/>
              <a:ext cx="55033" cy="35519"/>
            </a:xfrm>
            <a:custGeom>
              <a:avLst/>
              <a:gdLst>
                <a:gd name="T0" fmla="*/ 2147483647 w 174"/>
                <a:gd name="T1" fmla="*/ 2147483647 h 114"/>
                <a:gd name="T2" fmla="*/ 2147483647 w 174"/>
                <a:gd name="T3" fmla="*/ 2147483647 h 114"/>
                <a:gd name="T4" fmla="*/ 2147483647 w 174"/>
                <a:gd name="T5" fmla="*/ 2147483647 h 114"/>
                <a:gd name="T6" fmla="*/ 2147483647 w 174"/>
                <a:gd name="T7" fmla="*/ 2147483647 h 114"/>
                <a:gd name="T8" fmla="*/ 2147483647 w 174"/>
                <a:gd name="T9" fmla="*/ 2147483647 h 114"/>
                <a:gd name="T10" fmla="*/ 2147483647 w 174"/>
                <a:gd name="T11" fmla="*/ 2147483647 h 114"/>
                <a:gd name="T12" fmla="*/ 2147483647 w 174"/>
                <a:gd name="T13" fmla="*/ 2147483647 h 114"/>
                <a:gd name="T14" fmla="*/ 2147483647 w 174"/>
                <a:gd name="T15" fmla="*/ 2147483647 h 114"/>
                <a:gd name="T16" fmla="*/ 2147483647 w 174"/>
                <a:gd name="T17" fmla="*/ 2147483647 h 114"/>
                <a:gd name="T18" fmla="*/ 2147483647 w 174"/>
                <a:gd name="T19" fmla="*/ 0 h 114"/>
                <a:gd name="T20" fmla="*/ 2147483647 w 174"/>
                <a:gd name="T21" fmla="*/ 2147483647 h 114"/>
                <a:gd name="T22" fmla="*/ 2147483647 w 174"/>
                <a:gd name="T23" fmla="*/ 2147483647 h 114"/>
                <a:gd name="T24" fmla="*/ 2147483647 w 174"/>
                <a:gd name="T25" fmla="*/ 2147483647 h 114"/>
                <a:gd name="T26" fmla="*/ 2147483647 w 174"/>
                <a:gd name="T27" fmla="*/ 2147483647 h 114"/>
                <a:gd name="T28" fmla="*/ 2147483647 w 174"/>
                <a:gd name="T29" fmla="*/ 2147483647 h 114"/>
                <a:gd name="T30" fmla="*/ 2147483647 w 174"/>
                <a:gd name="T31" fmla="*/ 2147483647 h 114"/>
                <a:gd name="T32" fmla="*/ 2147483647 w 174"/>
                <a:gd name="T33" fmla="*/ 2147483647 h 114"/>
                <a:gd name="T34" fmla="*/ 2147483647 w 174"/>
                <a:gd name="T35" fmla="*/ 2147483647 h 114"/>
                <a:gd name="T36" fmla="*/ 0 w 174"/>
                <a:gd name="T37" fmla="*/ 2147483647 h 114"/>
                <a:gd name="T38" fmla="*/ 2147483647 w 174"/>
                <a:gd name="T39" fmla="*/ 2147483647 h 114"/>
                <a:gd name="T40" fmla="*/ 2147483647 w 174"/>
                <a:gd name="T41" fmla="*/ 2147483647 h 114"/>
                <a:gd name="T42" fmla="*/ 2147483647 w 174"/>
                <a:gd name="T43" fmla="*/ 2147483647 h 114"/>
                <a:gd name="T44" fmla="*/ 2147483647 w 174"/>
                <a:gd name="T45" fmla="*/ 2147483647 h 114"/>
                <a:gd name="T46" fmla="*/ 2147483647 w 174"/>
                <a:gd name="T47" fmla="*/ 2147483647 h 114"/>
                <a:gd name="T48" fmla="*/ 2147483647 w 174"/>
                <a:gd name="T49" fmla="*/ 2147483647 h 114"/>
                <a:gd name="T50" fmla="*/ 2147483647 w 174"/>
                <a:gd name="T51" fmla="*/ 2147483647 h 114"/>
                <a:gd name="T52" fmla="*/ 2147483647 w 174"/>
                <a:gd name="T53" fmla="*/ 2147483647 h 114"/>
                <a:gd name="T54" fmla="*/ 2147483647 w 174"/>
                <a:gd name="T55" fmla="*/ 2147483647 h 114"/>
                <a:gd name="T56" fmla="*/ 2147483647 w 174"/>
                <a:gd name="T57" fmla="*/ 2147483647 h 114"/>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174"/>
                <a:gd name="T88" fmla="*/ 0 h 114"/>
                <a:gd name="T89" fmla="*/ 174 w 174"/>
                <a:gd name="T90" fmla="*/ 114 h 114"/>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174" h="114">
                  <a:moveTo>
                    <a:pt x="174" y="84"/>
                  </a:moveTo>
                  <a:lnTo>
                    <a:pt x="174" y="42"/>
                  </a:lnTo>
                  <a:lnTo>
                    <a:pt x="138" y="42"/>
                  </a:lnTo>
                  <a:lnTo>
                    <a:pt x="132" y="48"/>
                  </a:lnTo>
                  <a:lnTo>
                    <a:pt x="120" y="48"/>
                  </a:lnTo>
                  <a:lnTo>
                    <a:pt x="114" y="42"/>
                  </a:lnTo>
                  <a:lnTo>
                    <a:pt x="114" y="24"/>
                  </a:lnTo>
                  <a:lnTo>
                    <a:pt x="90" y="24"/>
                  </a:lnTo>
                  <a:lnTo>
                    <a:pt x="78" y="12"/>
                  </a:lnTo>
                  <a:lnTo>
                    <a:pt x="72" y="0"/>
                  </a:lnTo>
                  <a:lnTo>
                    <a:pt x="60" y="6"/>
                  </a:lnTo>
                  <a:lnTo>
                    <a:pt x="48" y="6"/>
                  </a:lnTo>
                  <a:lnTo>
                    <a:pt x="48" y="18"/>
                  </a:lnTo>
                  <a:lnTo>
                    <a:pt x="42" y="24"/>
                  </a:lnTo>
                  <a:lnTo>
                    <a:pt x="36" y="36"/>
                  </a:lnTo>
                  <a:lnTo>
                    <a:pt x="30" y="36"/>
                  </a:lnTo>
                  <a:lnTo>
                    <a:pt x="24" y="42"/>
                  </a:lnTo>
                  <a:lnTo>
                    <a:pt x="12" y="48"/>
                  </a:lnTo>
                  <a:lnTo>
                    <a:pt x="0" y="60"/>
                  </a:lnTo>
                  <a:lnTo>
                    <a:pt x="6" y="66"/>
                  </a:lnTo>
                  <a:lnTo>
                    <a:pt x="18" y="72"/>
                  </a:lnTo>
                  <a:lnTo>
                    <a:pt x="24" y="78"/>
                  </a:lnTo>
                  <a:lnTo>
                    <a:pt x="72" y="78"/>
                  </a:lnTo>
                  <a:lnTo>
                    <a:pt x="96" y="102"/>
                  </a:lnTo>
                  <a:lnTo>
                    <a:pt x="132" y="96"/>
                  </a:lnTo>
                  <a:lnTo>
                    <a:pt x="150" y="114"/>
                  </a:lnTo>
                  <a:lnTo>
                    <a:pt x="168" y="84"/>
                  </a:lnTo>
                  <a:lnTo>
                    <a:pt x="174" y="90"/>
                  </a:lnTo>
                  <a:lnTo>
                    <a:pt x="174" y="84"/>
                  </a:lnTo>
                  <a:close/>
                </a:path>
              </a:pathLst>
            </a:custGeom>
            <a:grpFill/>
            <a:ln w="3175">
              <a:solidFill>
                <a:schemeClr val="bg1"/>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de-DE" sz="1800" b="0" i="0" u="none" strike="noStrike" kern="1200" cap="none" spc="0" normalizeH="0" baseline="0" noProof="0">
                <a:ln>
                  <a:noFill/>
                </a:ln>
                <a:solidFill>
                  <a:srgbClr val="FFC000"/>
                </a:solidFill>
                <a:effectLst/>
                <a:uLnTx/>
                <a:uFillTx/>
                <a:latin typeface="Calibri" pitchFamily="34" charset="0"/>
                <a:ea typeface="+mn-ea"/>
                <a:cs typeface="+mn-cs"/>
              </a:endParaRPr>
            </a:p>
          </p:txBody>
        </p:sp>
        <p:sp>
          <p:nvSpPr>
            <p:cNvPr id="144" name="Egypt" descr="© INSCALE GmbH, 05.05.2010&#10;http://www.presentationload.com/"/>
            <p:cNvSpPr>
              <a:spLocks/>
            </p:cNvSpPr>
            <p:nvPr/>
          </p:nvSpPr>
          <p:spPr bwMode="gray">
            <a:xfrm>
              <a:off x="5023751" y="3511356"/>
              <a:ext cx="255968" cy="249857"/>
            </a:xfrm>
            <a:custGeom>
              <a:avLst/>
              <a:gdLst>
                <a:gd name="T0" fmla="*/ 2147483647 w 792"/>
                <a:gd name="T1" fmla="*/ 2147483647 h 804"/>
                <a:gd name="T2" fmla="*/ 2147483647 w 792"/>
                <a:gd name="T3" fmla="*/ 2147483647 h 804"/>
                <a:gd name="T4" fmla="*/ 2147483647 w 792"/>
                <a:gd name="T5" fmla="*/ 2147483647 h 804"/>
                <a:gd name="T6" fmla="*/ 2147483647 w 792"/>
                <a:gd name="T7" fmla="*/ 2147483647 h 804"/>
                <a:gd name="T8" fmla="*/ 2147483647 w 792"/>
                <a:gd name="T9" fmla="*/ 2147483647 h 804"/>
                <a:gd name="T10" fmla="*/ 2147483647 w 792"/>
                <a:gd name="T11" fmla="*/ 2147483647 h 804"/>
                <a:gd name="T12" fmla="*/ 2147483647 w 792"/>
                <a:gd name="T13" fmla="*/ 2147483647 h 804"/>
                <a:gd name="T14" fmla="*/ 2147483647 w 792"/>
                <a:gd name="T15" fmla="*/ 2147483647 h 804"/>
                <a:gd name="T16" fmla="*/ 2147483647 w 792"/>
                <a:gd name="T17" fmla="*/ 2147483647 h 804"/>
                <a:gd name="T18" fmla="*/ 2147483647 w 792"/>
                <a:gd name="T19" fmla="*/ 2147483647 h 804"/>
                <a:gd name="T20" fmla="*/ 2147483647 w 792"/>
                <a:gd name="T21" fmla="*/ 2147483647 h 804"/>
                <a:gd name="T22" fmla="*/ 2147483647 w 792"/>
                <a:gd name="T23" fmla="*/ 2147483647 h 804"/>
                <a:gd name="T24" fmla="*/ 2147483647 w 792"/>
                <a:gd name="T25" fmla="*/ 2147483647 h 804"/>
                <a:gd name="T26" fmla="*/ 2147483647 w 792"/>
                <a:gd name="T27" fmla="*/ 2147483647 h 804"/>
                <a:gd name="T28" fmla="*/ 2147483647 w 792"/>
                <a:gd name="T29" fmla="*/ 2147483647 h 804"/>
                <a:gd name="T30" fmla="*/ 2147483647 w 792"/>
                <a:gd name="T31" fmla="*/ 2147483647 h 804"/>
                <a:gd name="T32" fmla="*/ 2147483647 w 792"/>
                <a:gd name="T33" fmla="*/ 2147483647 h 804"/>
                <a:gd name="T34" fmla="*/ 2147483647 w 792"/>
                <a:gd name="T35" fmla="*/ 2147483647 h 804"/>
                <a:gd name="T36" fmla="*/ 2147483647 w 792"/>
                <a:gd name="T37" fmla="*/ 2147483647 h 804"/>
                <a:gd name="T38" fmla="*/ 2147483647 w 792"/>
                <a:gd name="T39" fmla="*/ 2147483647 h 804"/>
                <a:gd name="T40" fmla="*/ 2147483647 w 792"/>
                <a:gd name="T41" fmla="*/ 2147483647 h 804"/>
                <a:gd name="T42" fmla="*/ 2147483647 w 792"/>
                <a:gd name="T43" fmla="*/ 2147483647 h 804"/>
                <a:gd name="T44" fmla="*/ 2147483647 w 792"/>
                <a:gd name="T45" fmla="*/ 2147483647 h 804"/>
                <a:gd name="T46" fmla="*/ 2147483647 w 792"/>
                <a:gd name="T47" fmla="*/ 2147483647 h 804"/>
                <a:gd name="T48" fmla="*/ 2147483647 w 792"/>
                <a:gd name="T49" fmla="*/ 2147483647 h 804"/>
                <a:gd name="T50" fmla="*/ 2147483647 w 792"/>
                <a:gd name="T51" fmla="*/ 2147483647 h 804"/>
                <a:gd name="T52" fmla="*/ 2147483647 w 792"/>
                <a:gd name="T53" fmla="*/ 2147483647 h 804"/>
                <a:gd name="T54" fmla="*/ 2147483647 w 792"/>
                <a:gd name="T55" fmla="*/ 2147483647 h 804"/>
                <a:gd name="T56" fmla="*/ 2147483647 w 792"/>
                <a:gd name="T57" fmla="*/ 2147483647 h 804"/>
                <a:gd name="T58" fmla="*/ 2147483647 w 792"/>
                <a:gd name="T59" fmla="*/ 2147483647 h 804"/>
                <a:gd name="T60" fmla="*/ 2147483647 w 792"/>
                <a:gd name="T61" fmla="*/ 2147483647 h 804"/>
                <a:gd name="T62" fmla="*/ 2147483647 w 792"/>
                <a:gd name="T63" fmla="*/ 2147483647 h 804"/>
                <a:gd name="T64" fmla="*/ 2147483647 w 792"/>
                <a:gd name="T65" fmla="*/ 2147483647 h 804"/>
                <a:gd name="T66" fmla="*/ 2147483647 w 792"/>
                <a:gd name="T67" fmla="*/ 2147483647 h 804"/>
                <a:gd name="T68" fmla="*/ 2147483647 w 792"/>
                <a:gd name="T69" fmla="*/ 2147483647 h 804"/>
                <a:gd name="T70" fmla="*/ 2147483647 w 792"/>
                <a:gd name="T71" fmla="*/ 2147483647 h 804"/>
                <a:gd name="T72" fmla="*/ 2147483647 w 792"/>
                <a:gd name="T73" fmla="*/ 2147483647 h 804"/>
                <a:gd name="T74" fmla="*/ 2147483647 w 792"/>
                <a:gd name="T75" fmla="*/ 2147483647 h 804"/>
                <a:gd name="T76" fmla="*/ 2147483647 w 792"/>
                <a:gd name="T77" fmla="*/ 2147483647 h 804"/>
                <a:gd name="T78" fmla="*/ 2147483647 w 792"/>
                <a:gd name="T79" fmla="*/ 2147483647 h 804"/>
                <a:gd name="T80" fmla="*/ 2147483647 w 792"/>
                <a:gd name="T81" fmla="*/ 2147483647 h 804"/>
                <a:gd name="T82" fmla="*/ 2147483647 w 792"/>
                <a:gd name="T83" fmla="*/ 2147483647 h 804"/>
                <a:gd name="T84" fmla="*/ 2147483647 w 792"/>
                <a:gd name="T85" fmla="*/ 2147483647 h 804"/>
                <a:gd name="T86" fmla="*/ 2147483647 w 792"/>
                <a:gd name="T87" fmla="*/ 2147483647 h 804"/>
                <a:gd name="T88" fmla="*/ 2147483647 w 792"/>
                <a:gd name="T89" fmla="*/ 2147483647 h 804"/>
                <a:gd name="T90" fmla="*/ 2147483647 w 792"/>
                <a:gd name="T91" fmla="*/ 0 h 804"/>
                <a:gd name="T92" fmla="*/ 2147483647 w 792"/>
                <a:gd name="T93" fmla="*/ 2147483647 h 804"/>
                <a:gd name="T94" fmla="*/ 2147483647 w 792"/>
                <a:gd name="T95" fmla="*/ 0 h 804"/>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792"/>
                <a:gd name="T145" fmla="*/ 0 h 804"/>
                <a:gd name="T146" fmla="*/ 792 w 792"/>
                <a:gd name="T147" fmla="*/ 804 h 804"/>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792" h="804">
                  <a:moveTo>
                    <a:pt x="12" y="18"/>
                  </a:moveTo>
                  <a:lnTo>
                    <a:pt x="6" y="24"/>
                  </a:lnTo>
                  <a:lnTo>
                    <a:pt x="6" y="54"/>
                  </a:lnTo>
                  <a:lnTo>
                    <a:pt x="18" y="60"/>
                  </a:lnTo>
                  <a:lnTo>
                    <a:pt x="24" y="72"/>
                  </a:lnTo>
                  <a:lnTo>
                    <a:pt x="24" y="78"/>
                  </a:lnTo>
                  <a:lnTo>
                    <a:pt x="18" y="84"/>
                  </a:lnTo>
                  <a:lnTo>
                    <a:pt x="12" y="96"/>
                  </a:lnTo>
                  <a:lnTo>
                    <a:pt x="6" y="102"/>
                  </a:lnTo>
                  <a:lnTo>
                    <a:pt x="0" y="114"/>
                  </a:lnTo>
                  <a:lnTo>
                    <a:pt x="0" y="120"/>
                  </a:lnTo>
                  <a:lnTo>
                    <a:pt x="6" y="132"/>
                  </a:lnTo>
                  <a:lnTo>
                    <a:pt x="18" y="144"/>
                  </a:lnTo>
                  <a:lnTo>
                    <a:pt x="30" y="180"/>
                  </a:lnTo>
                  <a:lnTo>
                    <a:pt x="30" y="264"/>
                  </a:lnTo>
                  <a:lnTo>
                    <a:pt x="36" y="342"/>
                  </a:lnTo>
                  <a:lnTo>
                    <a:pt x="36" y="438"/>
                  </a:lnTo>
                  <a:lnTo>
                    <a:pt x="42" y="534"/>
                  </a:lnTo>
                  <a:lnTo>
                    <a:pt x="42" y="624"/>
                  </a:lnTo>
                  <a:lnTo>
                    <a:pt x="48" y="702"/>
                  </a:lnTo>
                  <a:lnTo>
                    <a:pt x="48" y="774"/>
                  </a:lnTo>
                  <a:lnTo>
                    <a:pt x="474" y="780"/>
                  </a:lnTo>
                  <a:lnTo>
                    <a:pt x="492" y="762"/>
                  </a:lnTo>
                  <a:lnTo>
                    <a:pt x="498" y="762"/>
                  </a:lnTo>
                  <a:lnTo>
                    <a:pt x="498" y="774"/>
                  </a:lnTo>
                  <a:lnTo>
                    <a:pt x="618" y="780"/>
                  </a:lnTo>
                  <a:lnTo>
                    <a:pt x="624" y="786"/>
                  </a:lnTo>
                  <a:lnTo>
                    <a:pt x="630" y="798"/>
                  </a:lnTo>
                  <a:lnTo>
                    <a:pt x="636" y="804"/>
                  </a:lnTo>
                  <a:lnTo>
                    <a:pt x="654" y="804"/>
                  </a:lnTo>
                  <a:lnTo>
                    <a:pt x="660" y="798"/>
                  </a:lnTo>
                  <a:lnTo>
                    <a:pt x="672" y="774"/>
                  </a:lnTo>
                  <a:lnTo>
                    <a:pt x="684" y="762"/>
                  </a:lnTo>
                  <a:lnTo>
                    <a:pt x="696" y="762"/>
                  </a:lnTo>
                  <a:lnTo>
                    <a:pt x="702" y="756"/>
                  </a:lnTo>
                  <a:lnTo>
                    <a:pt x="720" y="756"/>
                  </a:lnTo>
                  <a:lnTo>
                    <a:pt x="726" y="750"/>
                  </a:lnTo>
                  <a:lnTo>
                    <a:pt x="732" y="738"/>
                  </a:lnTo>
                  <a:lnTo>
                    <a:pt x="732" y="714"/>
                  </a:lnTo>
                  <a:lnTo>
                    <a:pt x="762" y="714"/>
                  </a:lnTo>
                  <a:lnTo>
                    <a:pt x="786" y="690"/>
                  </a:lnTo>
                  <a:lnTo>
                    <a:pt x="780" y="684"/>
                  </a:lnTo>
                  <a:lnTo>
                    <a:pt x="774" y="672"/>
                  </a:lnTo>
                  <a:lnTo>
                    <a:pt x="774" y="624"/>
                  </a:lnTo>
                  <a:lnTo>
                    <a:pt x="792" y="618"/>
                  </a:lnTo>
                  <a:lnTo>
                    <a:pt x="786" y="618"/>
                  </a:lnTo>
                  <a:lnTo>
                    <a:pt x="756" y="588"/>
                  </a:lnTo>
                  <a:lnTo>
                    <a:pt x="732" y="552"/>
                  </a:lnTo>
                  <a:lnTo>
                    <a:pt x="726" y="528"/>
                  </a:lnTo>
                  <a:lnTo>
                    <a:pt x="714" y="492"/>
                  </a:lnTo>
                  <a:lnTo>
                    <a:pt x="702" y="468"/>
                  </a:lnTo>
                  <a:lnTo>
                    <a:pt x="690" y="462"/>
                  </a:lnTo>
                  <a:lnTo>
                    <a:pt x="684" y="450"/>
                  </a:lnTo>
                  <a:lnTo>
                    <a:pt x="672" y="444"/>
                  </a:lnTo>
                  <a:lnTo>
                    <a:pt x="666" y="432"/>
                  </a:lnTo>
                  <a:lnTo>
                    <a:pt x="654" y="396"/>
                  </a:lnTo>
                  <a:lnTo>
                    <a:pt x="654" y="378"/>
                  </a:lnTo>
                  <a:lnTo>
                    <a:pt x="618" y="336"/>
                  </a:lnTo>
                  <a:lnTo>
                    <a:pt x="618" y="318"/>
                  </a:lnTo>
                  <a:lnTo>
                    <a:pt x="606" y="294"/>
                  </a:lnTo>
                  <a:lnTo>
                    <a:pt x="594" y="282"/>
                  </a:lnTo>
                  <a:lnTo>
                    <a:pt x="588" y="270"/>
                  </a:lnTo>
                  <a:lnTo>
                    <a:pt x="576" y="258"/>
                  </a:lnTo>
                  <a:lnTo>
                    <a:pt x="570" y="246"/>
                  </a:lnTo>
                  <a:lnTo>
                    <a:pt x="558" y="234"/>
                  </a:lnTo>
                  <a:lnTo>
                    <a:pt x="552" y="222"/>
                  </a:lnTo>
                  <a:lnTo>
                    <a:pt x="546" y="216"/>
                  </a:lnTo>
                  <a:lnTo>
                    <a:pt x="552" y="210"/>
                  </a:lnTo>
                  <a:lnTo>
                    <a:pt x="552" y="198"/>
                  </a:lnTo>
                  <a:lnTo>
                    <a:pt x="540" y="174"/>
                  </a:lnTo>
                  <a:lnTo>
                    <a:pt x="528" y="168"/>
                  </a:lnTo>
                  <a:lnTo>
                    <a:pt x="522" y="168"/>
                  </a:lnTo>
                  <a:lnTo>
                    <a:pt x="540" y="144"/>
                  </a:lnTo>
                  <a:lnTo>
                    <a:pt x="558" y="156"/>
                  </a:lnTo>
                  <a:lnTo>
                    <a:pt x="558" y="174"/>
                  </a:lnTo>
                  <a:lnTo>
                    <a:pt x="564" y="186"/>
                  </a:lnTo>
                  <a:lnTo>
                    <a:pt x="576" y="198"/>
                  </a:lnTo>
                  <a:lnTo>
                    <a:pt x="582" y="210"/>
                  </a:lnTo>
                  <a:lnTo>
                    <a:pt x="588" y="216"/>
                  </a:lnTo>
                  <a:lnTo>
                    <a:pt x="588" y="246"/>
                  </a:lnTo>
                  <a:lnTo>
                    <a:pt x="606" y="264"/>
                  </a:lnTo>
                  <a:lnTo>
                    <a:pt x="612" y="276"/>
                  </a:lnTo>
                  <a:lnTo>
                    <a:pt x="636" y="300"/>
                  </a:lnTo>
                  <a:lnTo>
                    <a:pt x="648" y="306"/>
                  </a:lnTo>
                  <a:lnTo>
                    <a:pt x="654" y="306"/>
                  </a:lnTo>
                  <a:lnTo>
                    <a:pt x="666" y="300"/>
                  </a:lnTo>
                  <a:lnTo>
                    <a:pt x="678" y="288"/>
                  </a:lnTo>
                  <a:lnTo>
                    <a:pt x="672" y="270"/>
                  </a:lnTo>
                  <a:lnTo>
                    <a:pt x="684" y="246"/>
                  </a:lnTo>
                  <a:lnTo>
                    <a:pt x="684" y="234"/>
                  </a:lnTo>
                  <a:lnTo>
                    <a:pt x="690" y="222"/>
                  </a:lnTo>
                  <a:lnTo>
                    <a:pt x="690" y="198"/>
                  </a:lnTo>
                  <a:lnTo>
                    <a:pt x="696" y="186"/>
                  </a:lnTo>
                  <a:lnTo>
                    <a:pt x="696" y="180"/>
                  </a:lnTo>
                  <a:lnTo>
                    <a:pt x="702" y="168"/>
                  </a:lnTo>
                  <a:lnTo>
                    <a:pt x="648" y="24"/>
                  </a:lnTo>
                  <a:lnTo>
                    <a:pt x="642" y="24"/>
                  </a:lnTo>
                  <a:lnTo>
                    <a:pt x="636" y="30"/>
                  </a:lnTo>
                  <a:lnTo>
                    <a:pt x="624" y="30"/>
                  </a:lnTo>
                  <a:lnTo>
                    <a:pt x="600" y="42"/>
                  </a:lnTo>
                  <a:lnTo>
                    <a:pt x="576" y="42"/>
                  </a:lnTo>
                  <a:lnTo>
                    <a:pt x="564" y="36"/>
                  </a:lnTo>
                  <a:lnTo>
                    <a:pt x="558" y="30"/>
                  </a:lnTo>
                  <a:lnTo>
                    <a:pt x="552" y="36"/>
                  </a:lnTo>
                  <a:lnTo>
                    <a:pt x="540" y="42"/>
                  </a:lnTo>
                  <a:lnTo>
                    <a:pt x="534" y="42"/>
                  </a:lnTo>
                  <a:lnTo>
                    <a:pt x="510" y="30"/>
                  </a:lnTo>
                  <a:lnTo>
                    <a:pt x="504" y="24"/>
                  </a:lnTo>
                  <a:lnTo>
                    <a:pt x="504" y="18"/>
                  </a:lnTo>
                  <a:lnTo>
                    <a:pt x="498" y="12"/>
                  </a:lnTo>
                  <a:lnTo>
                    <a:pt x="486" y="6"/>
                  </a:lnTo>
                  <a:lnTo>
                    <a:pt x="468" y="6"/>
                  </a:lnTo>
                  <a:lnTo>
                    <a:pt x="456" y="12"/>
                  </a:lnTo>
                  <a:lnTo>
                    <a:pt x="438" y="12"/>
                  </a:lnTo>
                  <a:lnTo>
                    <a:pt x="432" y="18"/>
                  </a:lnTo>
                  <a:lnTo>
                    <a:pt x="420" y="18"/>
                  </a:lnTo>
                  <a:lnTo>
                    <a:pt x="414" y="12"/>
                  </a:lnTo>
                  <a:lnTo>
                    <a:pt x="390" y="12"/>
                  </a:lnTo>
                  <a:lnTo>
                    <a:pt x="378" y="18"/>
                  </a:lnTo>
                  <a:lnTo>
                    <a:pt x="372" y="24"/>
                  </a:lnTo>
                  <a:lnTo>
                    <a:pt x="366" y="36"/>
                  </a:lnTo>
                  <a:lnTo>
                    <a:pt x="360" y="42"/>
                  </a:lnTo>
                  <a:lnTo>
                    <a:pt x="336" y="42"/>
                  </a:lnTo>
                  <a:lnTo>
                    <a:pt x="324" y="54"/>
                  </a:lnTo>
                  <a:lnTo>
                    <a:pt x="312" y="60"/>
                  </a:lnTo>
                  <a:lnTo>
                    <a:pt x="306" y="60"/>
                  </a:lnTo>
                  <a:lnTo>
                    <a:pt x="300" y="54"/>
                  </a:lnTo>
                  <a:lnTo>
                    <a:pt x="288" y="54"/>
                  </a:lnTo>
                  <a:lnTo>
                    <a:pt x="276" y="48"/>
                  </a:lnTo>
                  <a:lnTo>
                    <a:pt x="264" y="48"/>
                  </a:lnTo>
                  <a:lnTo>
                    <a:pt x="258" y="42"/>
                  </a:lnTo>
                  <a:lnTo>
                    <a:pt x="204" y="42"/>
                  </a:lnTo>
                  <a:lnTo>
                    <a:pt x="198" y="36"/>
                  </a:lnTo>
                  <a:lnTo>
                    <a:pt x="186" y="30"/>
                  </a:lnTo>
                  <a:lnTo>
                    <a:pt x="174" y="18"/>
                  </a:lnTo>
                  <a:lnTo>
                    <a:pt x="126" y="18"/>
                  </a:lnTo>
                  <a:lnTo>
                    <a:pt x="120" y="12"/>
                  </a:lnTo>
                  <a:lnTo>
                    <a:pt x="96" y="0"/>
                  </a:lnTo>
                  <a:lnTo>
                    <a:pt x="78" y="0"/>
                  </a:lnTo>
                  <a:lnTo>
                    <a:pt x="66" y="12"/>
                  </a:lnTo>
                  <a:lnTo>
                    <a:pt x="54" y="12"/>
                  </a:lnTo>
                  <a:lnTo>
                    <a:pt x="42" y="6"/>
                  </a:lnTo>
                  <a:lnTo>
                    <a:pt x="36" y="6"/>
                  </a:lnTo>
                  <a:lnTo>
                    <a:pt x="36" y="0"/>
                  </a:lnTo>
                  <a:lnTo>
                    <a:pt x="30" y="0"/>
                  </a:lnTo>
                  <a:lnTo>
                    <a:pt x="12" y="18"/>
                  </a:lnTo>
                  <a:close/>
                </a:path>
              </a:pathLst>
            </a:custGeom>
            <a:solidFill>
              <a:srgbClr val="78D2D2"/>
            </a:solidFill>
            <a:ln w="3175">
              <a:solidFill>
                <a:schemeClr val="bg1"/>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de-DE" sz="1800" b="0" i="0" u="none" strike="noStrike" kern="1200" cap="none" spc="0" normalizeH="0" baseline="0" noProof="0">
                <a:ln>
                  <a:noFill/>
                </a:ln>
                <a:solidFill>
                  <a:srgbClr val="FFC000"/>
                </a:solidFill>
                <a:effectLst/>
                <a:uLnTx/>
                <a:uFillTx/>
                <a:latin typeface="Calibri" pitchFamily="34" charset="0"/>
                <a:ea typeface="+mn-ea"/>
                <a:cs typeface="+mn-cs"/>
              </a:endParaRPr>
            </a:p>
          </p:txBody>
        </p:sp>
        <p:sp>
          <p:nvSpPr>
            <p:cNvPr id="145" name="Ecuador" descr="© INSCALE GmbH, 05.05.2010&#10;http://www.presentationload.com/"/>
            <p:cNvSpPr>
              <a:spLocks noEditPoints="1"/>
            </p:cNvSpPr>
            <p:nvPr/>
          </p:nvSpPr>
          <p:spPr bwMode="gray">
            <a:xfrm>
              <a:off x="2593332" y="4264602"/>
              <a:ext cx="134384" cy="164122"/>
            </a:xfrm>
            <a:custGeom>
              <a:avLst/>
              <a:gdLst>
                <a:gd name="T0" fmla="*/ 2147483647 w 414"/>
                <a:gd name="T1" fmla="*/ 2147483647 h 528"/>
                <a:gd name="T2" fmla="*/ 2147483647 w 414"/>
                <a:gd name="T3" fmla="*/ 2147483647 h 528"/>
                <a:gd name="T4" fmla="*/ 2147483647 w 414"/>
                <a:gd name="T5" fmla="*/ 2147483647 h 528"/>
                <a:gd name="T6" fmla="*/ 2147483647 w 414"/>
                <a:gd name="T7" fmla="*/ 2147483647 h 528"/>
                <a:gd name="T8" fmla="*/ 2147483647 w 414"/>
                <a:gd name="T9" fmla="*/ 2147483647 h 528"/>
                <a:gd name="T10" fmla="*/ 2147483647 w 414"/>
                <a:gd name="T11" fmla="*/ 2147483647 h 528"/>
                <a:gd name="T12" fmla="*/ 2147483647 w 414"/>
                <a:gd name="T13" fmla="*/ 2147483647 h 528"/>
                <a:gd name="T14" fmla="*/ 2147483647 w 414"/>
                <a:gd name="T15" fmla="*/ 2147483647 h 528"/>
                <a:gd name="T16" fmla="*/ 2147483647 w 414"/>
                <a:gd name="T17" fmla="*/ 2147483647 h 528"/>
                <a:gd name="T18" fmla="*/ 2147483647 w 414"/>
                <a:gd name="T19" fmla="*/ 2147483647 h 528"/>
                <a:gd name="T20" fmla="*/ 2147483647 w 414"/>
                <a:gd name="T21" fmla="*/ 2147483647 h 528"/>
                <a:gd name="T22" fmla="*/ 2147483647 w 414"/>
                <a:gd name="T23" fmla="*/ 2147483647 h 528"/>
                <a:gd name="T24" fmla="*/ 2147483647 w 414"/>
                <a:gd name="T25" fmla="*/ 2147483647 h 528"/>
                <a:gd name="T26" fmla="*/ 2147483647 w 414"/>
                <a:gd name="T27" fmla="*/ 2147483647 h 528"/>
                <a:gd name="T28" fmla="*/ 2147483647 w 414"/>
                <a:gd name="T29" fmla="*/ 2147483647 h 528"/>
                <a:gd name="T30" fmla="*/ 2147483647 w 414"/>
                <a:gd name="T31" fmla="*/ 2147483647 h 528"/>
                <a:gd name="T32" fmla="*/ 2147483647 w 414"/>
                <a:gd name="T33" fmla="*/ 2147483647 h 528"/>
                <a:gd name="T34" fmla="*/ 2147483647 w 414"/>
                <a:gd name="T35" fmla="*/ 2147483647 h 528"/>
                <a:gd name="T36" fmla="*/ 2147483647 w 414"/>
                <a:gd name="T37" fmla="*/ 2147483647 h 528"/>
                <a:gd name="T38" fmla="*/ 2147483647 w 414"/>
                <a:gd name="T39" fmla="*/ 2147483647 h 528"/>
                <a:gd name="T40" fmla="*/ 2147483647 w 414"/>
                <a:gd name="T41" fmla="*/ 2147483647 h 528"/>
                <a:gd name="T42" fmla="*/ 2147483647 w 414"/>
                <a:gd name="T43" fmla="*/ 2147483647 h 528"/>
                <a:gd name="T44" fmla="*/ 2147483647 w 414"/>
                <a:gd name="T45" fmla="*/ 2147483647 h 528"/>
                <a:gd name="T46" fmla="*/ 2147483647 w 414"/>
                <a:gd name="T47" fmla="*/ 2147483647 h 528"/>
                <a:gd name="T48" fmla="*/ 2147483647 w 414"/>
                <a:gd name="T49" fmla="*/ 2147483647 h 528"/>
                <a:gd name="T50" fmla="*/ 2147483647 w 414"/>
                <a:gd name="T51" fmla="*/ 2147483647 h 528"/>
                <a:gd name="T52" fmla="*/ 2147483647 w 414"/>
                <a:gd name="T53" fmla="*/ 2147483647 h 528"/>
                <a:gd name="T54" fmla="*/ 2147483647 w 414"/>
                <a:gd name="T55" fmla="*/ 2147483647 h 528"/>
                <a:gd name="T56" fmla="*/ 2147483647 w 414"/>
                <a:gd name="T57" fmla="*/ 2147483647 h 528"/>
                <a:gd name="T58" fmla="*/ 2147483647 w 414"/>
                <a:gd name="T59" fmla="*/ 2147483647 h 528"/>
                <a:gd name="T60" fmla="*/ 2147483647 w 414"/>
                <a:gd name="T61" fmla="*/ 2147483647 h 528"/>
                <a:gd name="T62" fmla="*/ 2147483647 w 414"/>
                <a:gd name="T63" fmla="*/ 2147483647 h 528"/>
                <a:gd name="T64" fmla="*/ 2147483647 w 414"/>
                <a:gd name="T65" fmla="*/ 2147483647 h 528"/>
                <a:gd name="T66" fmla="*/ 2147483647 w 414"/>
                <a:gd name="T67" fmla="*/ 2147483647 h 528"/>
                <a:gd name="T68" fmla="*/ 2147483647 w 414"/>
                <a:gd name="T69" fmla="*/ 2147483647 h 528"/>
                <a:gd name="T70" fmla="*/ 2147483647 w 414"/>
                <a:gd name="T71" fmla="*/ 2147483647 h 528"/>
                <a:gd name="T72" fmla="*/ 2147483647 w 414"/>
                <a:gd name="T73" fmla="*/ 2147483647 h 528"/>
                <a:gd name="T74" fmla="*/ 2147483647 w 414"/>
                <a:gd name="T75" fmla="*/ 2147483647 h 528"/>
                <a:gd name="T76" fmla="*/ 2147483647 w 414"/>
                <a:gd name="T77" fmla="*/ 2147483647 h 528"/>
                <a:gd name="T78" fmla="*/ 2147483647 w 414"/>
                <a:gd name="T79" fmla="*/ 2147483647 h 528"/>
                <a:gd name="T80" fmla="*/ 2147483647 w 414"/>
                <a:gd name="T81" fmla="*/ 2147483647 h 528"/>
                <a:gd name="T82" fmla="*/ 2147483647 w 414"/>
                <a:gd name="T83" fmla="*/ 2147483647 h 528"/>
                <a:gd name="T84" fmla="*/ 2147483647 w 414"/>
                <a:gd name="T85" fmla="*/ 2147483647 h 528"/>
                <a:gd name="T86" fmla="*/ 2147483647 w 414"/>
                <a:gd name="T87" fmla="*/ 2147483647 h 528"/>
                <a:gd name="T88" fmla="*/ 2147483647 w 414"/>
                <a:gd name="T89" fmla="*/ 2147483647 h 528"/>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414"/>
                <a:gd name="T136" fmla="*/ 0 h 528"/>
                <a:gd name="T137" fmla="*/ 414 w 414"/>
                <a:gd name="T138" fmla="*/ 528 h 528"/>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414" h="528">
                  <a:moveTo>
                    <a:pt x="60" y="372"/>
                  </a:moveTo>
                  <a:lnTo>
                    <a:pt x="72" y="366"/>
                  </a:lnTo>
                  <a:lnTo>
                    <a:pt x="78" y="360"/>
                  </a:lnTo>
                  <a:lnTo>
                    <a:pt x="78" y="342"/>
                  </a:lnTo>
                  <a:lnTo>
                    <a:pt x="72" y="342"/>
                  </a:lnTo>
                  <a:lnTo>
                    <a:pt x="54" y="360"/>
                  </a:lnTo>
                  <a:lnTo>
                    <a:pt x="54" y="372"/>
                  </a:lnTo>
                  <a:lnTo>
                    <a:pt x="60" y="372"/>
                  </a:lnTo>
                  <a:close/>
                  <a:moveTo>
                    <a:pt x="414" y="174"/>
                  </a:moveTo>
                  <a:lnTo>
                    <a:pt x="390" y="156"/>
                  </a:lnTo>
                  <a:lnTo>
                    <a:pt x="396" y="156"/>
                  </a:lnTo>
                  <a:lnTo>
                    <a:pt x="396" y="150"/>
                  </a:lnTo>
                  <a:lnTo>
                    <a:pt x="402" y="150"/>
                  </a:lnTo>
                  <a:lnTo>
                    <a:pt x="402" y="126"/>
                  </a:lnTo>
                  <a:lnTo>
                    <a:pt x="372" y="126"/>
                  </a:lnTo>
                  <a:lnTo>
                    <a:pt x="360" y="114"/>
                  </a:lnTo>
                  <a:lnTo>
                    <a:pt x="360" y="108"/>
                  </a:lnTo>
                  <a:lnTo>
                    <a:pt x="354" y="102"/>
                  </a:lnTo>
                  <a:lnTo>
                    <a:pt x="354" y="96"/>
                  </a:lnTo>
                  <a:lnTo>
                    <a:pt x="342" y="90"/>
                  </a:lnTo>
                  <a:lnTo>
                    <a:pt x="336" y="90"/>
                  </a:lnTo>
                  <a:lnTo>
                    <a:pt x="330" y="96"/>
                  </a:lnTo>
                  <a:lnTo>
                    <a:pt x="330" y="108"/>
                  </a:lnTo>
                  <a:lnTo>
                    <a:pt x="306" y="108"/>
                  </a:lnTo>
                  <a:lnTo>
                    <a:pt x="300" y="102"/>
                  </a:lnTo>
                  <a:lnTo>
                    <a:pt x="288" y="96"/>
                  </a:lnTo>
                  <a:lnTo>
                    <a:pt x="282" y="102"/>
                  </a:lnTo>
                  <a:lnTo>
                    <a:pt x="270" y="102"/>
                  </a:lnTo>
                  <a:lnTo>
                    <a:pt x="258" y="96"/>
                  </a:lnTo>
                  <a:lnTo>
                    <a:pt x="252" y="90"/>
                  </a:lnTo>
                  <a:lnTo>
                    <a:pt x="252" y="84"/>
                  </a:lnTo>
                  <a:lnTo>
                    <a:pt x="246" y="72"/>
                  </a:lnTo>
                  <a:lnTo>
                    <a:pt x="240" y="66"/>
                  </a:lnTo>
                  <a:lnTo>
                    <a:pt x="228" y="60"/>
                  </a:lnTo>
                  <a:lnTo>
                    <a:pt x="210" y="60"/>
                  </a:lnTo>
                  <a:lnTo>
                    <a:pt x="204" y="48"/>
                  </a:lnTo>
                  <a:lnTo>
                    <a:pt x="168" y="30"/>
                  </a:lnTo>
                  <a:lnTo>
                    <a:pt x="162" y="18"/>
                  </a:lnTo>
                  <a:lnTo>
                    <a:pt x="150" y="12"/>
                  </a:lnTo>
                  <a:lnTo>
                    <a:pt x="144" y="0"/>
                  </a:lnTo>
                  <a:lnTo>
                    <a:pt x="144" y="12"/>
                  </a:lnTo>
                  <a:lnTo>
                    <a:pt x="150" y="18"/>
                  </a:lnTo>
                  <a:lnTo>
                    <a:pt x="150" y="36"/>
                  </a:lnTo>
                  <a:lnTo>
                    <a:pt x="144" y="42"/>
                  </a:lnTo>
                  <a:lnTo>
                    <a:pt x="120" y="54"/>
                  </a:lnTo>
                  <a:lnTo>
                    <a:pt x="102" y="54"/>
                  </a:lnTo>
                  <a:lnTo>
                    <a:pt x="96" y="42"/>
                  </a:lnTo>
                  <a:lnTo>
                    <a:pt x="90" y="42"/>
                  </a:lnTo>
                  <a:lnTo>
                    <a:pt x="78" y="54"/>
                  </a:lnTo>
                  <a:lnTo>
                    <a:pt x="66" y="60"/>
                  </a:lnTo>
                  <a:lnTo>
                    <a:pt x="60" y="72"/>
                  </a:lnTo>
                  <a:lnTo>
                    <a:pt x="60" y="84"/>
                  </a:lnTo>
                  <a:lnTo>
                    <a:pt x="66" y="90"/>
                  </a:lnTo>
                  <a:lnTo>
                    <a:pt x="72" y="102"/>
                  </a:lnTo>
                  <a:lnTo>
                    <a:pt x="72" y="120"/>
                  </a:lnTo>
                  <a:lnTo>
                    <a:pt x="66" y="126"/>
                  </a:lnTo>
                  <a:lnTo>
                    <a:pt x="54" y="132"/>
                  </a:lnTo>
                  <a:lnTo>
                    <a:pt x="42" y="144"/>
                  </a:lnTo>
                  <a:lnTo>
                    <a:pt x="42" y="162"/>
                  </a:lnTo>
                  <a:lnTo>
                    <a:pt x="48" y="168"/>
                  </a:lnTo>
                  <a:lnTo>
                    <a:pt x="54" y="180"/>
                  </a:lnTo>
                  <a:lnTo>
                    <a:pt x="36" y="180"/>
                  </a:lnTo>
                  <a:lnTo>
                    <a:pt x="36" y="198"/>
                  </a:lnTo>
                  <a:lnTo>
                    <a:pt x="0" y="216"/>
                  </a:lnTo>
                  <a:lnTo>
                    <a:pt x="24" y="228"/>
                  </a:lnTo>
                  <a:lnTo>
                    <a:pt x="12" y="258"/>
                  </a:lnTo>
                  <a:lnTo>
                    <a:pt x="24" y="270"/>
                  </a:lnTo>
                  <a:lnTo>
                    <a:pt x="24" y="282"/>
                  </a:lnTo>
                  <a:lnTo>
                    <a:pt x="6" y="300"/>
                  </a:lnTo>
                  <a:lnTo>
                    <a:pt x="0" y="300"/>
                  </a:lnTo>
                  <a:lnTo>
                    <a:pt x="12" y="312"/>
                  </a:lnTo>
                  <a:lnTo>
                    <a:pt x="6" y="318"/>
                  </a:lnTo>
                  <a:lnTo>
                    <a:pt x="6" y="324"/>
                  </a:lnTo>
                  <a:lnTo>
                    <a:pt x="18" y="336"/>
                  </a:lnTo>
                  <a:lnTo>
                    <a:pt x="30" y="342"/>
                  </a:lnTo>
                  <a:lnTo>
                    <a:pt x="60" y="342"/>
                  </a:lnTo>
                  <a:lnTo>
                    <a:pt x="72" y="330"/>
                  </a:lnTo>
                  <a:lnTo>
                    <a:pt x="72" y="324"/>
                  </a:lnTo>
                  <a:lnTo>
                    <a:pt x="96" y="330"/>
                  </a:lnTo>
                  <a:lnTo>
                    <a:pt x="102" y="342"/>
                  </a:lnTo>
                  <a:lnTo>
                    <a:pt x="102" y="348"/>
                  </a:lnTo>
                  <a:lnTo>
                    <a:pt x="96" y="366"/>
                  </a:lnTo>
                  <a:lnTo>
                    <a:pt x="90" y="372"/>
                  </a:lnTo>
                  <a:lnTo>
                    <a:pt x="90" y="384"/>
                  </a:lnTo>
                  <a:lnTo>
                    <a:pt x="84" y="396"/>
                  </a:lnTo>
                  <a:lnTo>
                    <a:pt x="72" y="402"/>
                  </a:lnTo>
                  <a:lnTo>
                    <a:pt x="66" y="402"/>
                  </a:lnTo>
                  <a:lnTo>
                    <a:pt x="60" y="408"/>
                  </a:lnTo>
                  <a:lnTo>
                    <a:pt x="54" y="408"/>
                  </a:lnTo>
                  <a:lnTo>
                    <a:pt x="60" y="408"/>
                  </a:lnTo>
                  <a:lnTo>
                    <a:pt x="72" y="414"/>
                  </a:lnTo>
                  <a:lnTo>
                    <a:pt x="78" y="414"/>
                  </a:lnTo>
                  <a:lnTo>
                    <a:pt x="78" y="420"/>
                  </a:lnTo>
                  <a:lnTo>
                    <a:pt x="72" y="426"/>
                  </a:lnTo>
                  <a:lnTo>
                    <a:pt x="66" y="438"/>
                  </a:lnTo>
                  <a:lnTo>
                    <a:pt x="54" y="444"/>
                  </a:lnTo>
                  <a:lnTo>
                    <a:pt x="48" y="456"/>
                  </a:lnTo>
                  <a:lnTo>
                    <a:pt x="42" y="462"/>
                  </a:lnTo>
                  <a:lnTo>
                    <a:pt x="54" y="474"/>
                  </a:lnTo>
                  <a:lnTo>
                    <a:pt x="42" y="486"/>
                  </a:lnTo>
                  <a:lnTo>
                    <a:pt x="48" y="492"/>
                  </a:lnTo>
                  <a:lnTo>
                    <a:pt x="54" y="492"/>
                  </a:lnTo>
                  <a:lnTo>
                    <a:pt x="66" y="486"/>
                  </a:lnTo>
                  <a:lnTo>
                    <a:pt x="78" y="474"/>
                  </a:lnTo>
                  <a:lnTo>
                    <a:pt x="90" y="486"/>
                  </a:lnTo>
                  <a:lnTo>
                    <a:pt x="120" y="486"/>
                  </a:lnTo>
                  <a:lnTo>
                    <a:pt x="120" y="492"/>
                  </a:lnTo>
                  <a:lnTo>
                    <a:pt x="126" y="498"/>
                  </a:lnTo>
                  <a:lnTo>
                    <a:pt x="126" y="516"/>
                  </a:lnTo>
                  <a:lnTo>
                    <a:pt x="132" y="528"/>
                  </a:lnTo>
                  <a:lnTo>
                    <a:pt x="150" y="528"/>
                  </a:lnTo>
                  <a:lnTo>
                    <a:pt x="150" y="522"/>
                  </a:lnTo>
                  <a:lnTo>
                    <a:pt x="156" y="516"/>
                  </a:lnTo>
                  <a:lnTo>
                    <a:pt x="156" y="510"/>
                  </a:lnTo>
                  <a:lnTo>
                    <a:pt x="162" y="504"/>
                  </a:lnTo>
                  <a:lnTo>
                    <a:pt x="180" y="504"/>
                  </a:lnTo>
                  <a:lnTo>
                    <a:pt x="180" y="474"/>
                  </a:lnTo>
                  <a:lnTo>
                    <a:pt x="186" y="462"/>
                  </a:lnTo>
                  <a:lnTo>
                    <a:pt x="186" y="438"/>
                  </a:lnTo>
                  <a:lnTo>
                    <a:pt x="198" y="426"/>
                  </a:lnTo>
                  <a:lnTo>
                    <a:pt x="198" y="408"/>
                  </a:lnTo>
                  <a:lnTo>
                    <a:pt x="210" y="402"/>
                  </a:lnTo>
                  <a:lnTo>
                    <a:pt x="210" y="396"/>
                  </a:lnTo>
                  <a:lnTo>
                    <a:pt x="228" y="378"/>
                  </a:lnTo>
                  <a:lnTo>
                    <a:pt x="246" y="366"/>
                  </a:lnTo>
                  <a:lnTo>
                    <a:pt x="264" y="360"/>
                  </a:lnTo>
                  <a:lnTo>
                    <a:pt x="324" y="330"/>
                  </a:lnTo>
                  <a:lnTo>
                    <a:pt x="342" y="318"/>
                  </a:lnTo>
                  <a:lnTo>
                    <a:pt x="354" y="300"/>
                  </a:lnTo>
                  <a:lnTo>
                    <a:pt x="366" y="288"/>
                  </a:lnTo>
                  <a:lnTo>
                    <a:pt x="372" y="276"/>
                  </a:lnTo>
                  <a:lnTo>
                    <a:pt x="384" y="264"/>
                  </a:lnTo>
                  <a:lnTo>
                    <a:pt x="390" y="252"/>
                  </a:lnTo>
                  <a:lnTo>
                    <a:pt x="402" y="210"/>
                  </a:lnTo>
                  <a:lnTo>
                    <a:pt x="414" y="204"/>
                  </a:lnTo>
                  <a:lnTo>
                    <a:pt x="414" y="174"/>
                  </a:lnTo>
                  <a:close/>
                </a:path>
              </a:pathLst>
            </a:custGeom>
            <a:grpFill/>
            <a:ln w="3175">
              <a:solidFill>
                <a:schemeClr val="bg1"/>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de-DE" sz="1800" b="0" i="0" u="none" strike="noStrike" kern="1200" cap="none" spc="0" normalizeH="0" baseline="0" noProof="0">
                <a:ln>
                  <a:noFill/>
                </a:ln>
                <a:solidFill>
                  <a:srgbClr val="FFC000"/>
                </a:solidFill>
                <a:effectLst/>
                <a:uLnTx/>
                <a:uFillTx/>
                <a:latin typeface="Calibri" pitchFamily="34" charset="0"/>
                <a:ea typeface="+mn-ea"/>
                <a:cs typeface="+mn-cs"/>
              </a:endParaRPr>
            </a:p>
          </p:txBody>
        </p:sp>
        <p:sp>
          <p:nvSpPr>
            <p:cNvPr id="146" name="East Timor" descr="© INSCALE GmbH, 05.05.2010&#10;http://www.presentationload.com/"/>
            <p:cNvSpPr>
              <a:spLocks noEditPoints="1"/>
            </p:cNvSpPr>
            <p:nvPr/>
          </p:nvSpPr>
          <p:spPr bwMode="gray">
            <a:xfrm>
              <a:off x="7322344" y="4510785"/>
              <a:ext cx="80630" cy="36744"/>
            </a:xfrm>
            <a:custGeom>
              <a:avLst/>
              <a:gdLst>
                <a:gd name="T0" fmla="*/ 2147483647 w 252"/>
                <a:gd name="T1" fmla="*/ 0 h 120"/>
                <a:gd name="T2" fmla="*/ 2147483647 w 252"/>
                <a:gd name="T3" fmla="*/ 2147483647 h 120"/>
                <a:gd name="T4" fmla="*/ 2147483647 w 252"/>
                <a:gd name="T5" fmla="*/ 2147483647 h 120"/>
                <a:gd name="T6" fmla="*/ 2147483647 w 252"/>
                <a:gd name="T7" fmla="*/ 2147483647 h 120"/>
                <a:gd name="T8" fmla="*/ 2147483647 w 252"/>
                <a:gd name="T9" fmla="*/ 2147483647 h 120"/>
                <a:gd name="T10" fmla="*/ 2147483647 w 252"/>
                <a:gd name="T11" fmla="*/ 2147483647 h 120"/>
                <a:gd name="T12" fmla="*/ 2147483647 w 252"/>
                <a:gd name="T13" fmla="*/ 2147483647 h 120"/>
                <a:gd name="T14" fmla="*/ 2147483647 w 252"/>
                <a:gd name="T15" fmla="*/ 2147483647 h 120"/>
                <a:gd name="T16" fmla="*/ 2147483647 w 252"/>
                <a:gd name="T17" fmla="*/ 2147483647 h 120"/>
                <a:gd name="T18" fmla="*/ 2147483647 w 252"/>
                <a:gd name="T19" fmla="*/ 2147483647 h 120"/>
                <a:gd name="T20" fmla="*/ 2147483647 w 252"/>
                <a:gd name="T21" fmla="*/ 2147483647 h 120"/>
                <a:gd name="T22" fmla="*/ 2147483647 w 252"/>
                <a:gd name="T23" fmla="*/ 2147483647 h 120"/>
                <a:gd name="T24" fmla="*/ 2147483647 w 252"/>
                <a:gd name="T25" fmla="*/ 2147483647 h 120"/>
                <a:gd name="T26" fmla="*/ 2147483647 w 252"/>
                <a:gd name="T27" fmla="*/ 2147483647 h 120"/>
                <a:gd name="T28" fmla="*/ 2147483647 w 252"/>
                <a:gd name="T29" fmla="*/ 2147483647 h 120"/>
                <a:gd name="T30" fmla="*/ 2147483647 w 252"/>
                <a:gd name="T31" fmla="*/ 2147483647 h 120"/>
                <a:gd name="T32" fmla="*/ 2147483647 w 252"/>
                <a:gd name="T33" fmla="*/ 2147483647 h 120"/>
                <a:gd name="T34" fmla="*/ 2147483647 w 252"/>
                <a:gd name="T35" fmla="*/ 2147483647 h 120"/>
                <a:gd name="T36" fmla="*/ 2147483647 w 252"/>
                <a:gd name="T37" fmla="*/ 2147483647 h 120"/>
                <a:gd name="T38" fmla="*/ 2147483647 w 252"/>
                <a:gd name="T39" fmla="*/ 2147483647 h 120"/>
                <a:gd name="T40" fmla="*/ 2147483647 w 252"/>
                <a:gd name="T41" fmla="*/ 2147483647 h 120"/>
                <a:gd name="T42" fmla="*/ 2147483647 w 252"/>
                <a:gd name="T43" fmla="*/ 2147483647 h 120"/>
                <a:gd name="T44" fmla="*/ 2147483647 w 252"/>
                <a:gd name="T45" fmla="*/ 2147483647 h 120"/>
                <a:gd name="T46" fmla="*/ 2147483647 w 252"/>
                <a:gd name="T47" fmla="*/ 0 h 120"/>
                <a:gd name="T48" fmla="*/ 0 w 252"/>
                <a:gd name="T49" fmla="*/ 2147483647 h 120"/>
                <a:gd name="T50" fmla="*/ 2147483647 w 252"/>
                <a:gd name="T51" fmla="*/ 2147483647 h 120"/>
                <a:gd name="T52" fmla="*/ 2147483647 w 252"/>
                <a:gd name="T53" fmla="*/ 2147483647 h 120"/>
                <a:gd name="T54" fmla="*/ 2147483647 w 252"/>
                <a:gd name="T55" fmla="*/ 2147483647 h 120"/>
                <a:gd name="T56" fmla="*/ 2147483647 w 252"/>
                <a:gd name="T57" fmla="*/ 2147483647 h 120"/>
                <a:gd name="T58" fmla="*/ 2147483647 w 252"/>
                <a:gd name="T59" fmla="*/ 2147483647 h 120"/>
                <a:gd name="T60" fmla="*/ 2147483647 w 252"/>
                <a:gd name="T61" fmla="*/ 2147483647 h 120"/>
                <a:gd name="T62" fmla="*/ 2147483647 w 252"/>
                <a:gd name="T63" fmla="*/ 2147483647 h 120"/>
                <a:gd name="T64" fmla="*/ 0 w 252"/>
                <a:gd name="T65" fmla="*/ 2147483647 h 120"/>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252"/>
                <a:gd name="T100" fmla="*/ 0 h 120"/>
                <a:gd name="T101" fmla="*/ 252 w 252"/>
                <a:gd name="T102" fmla="*/ 120 h 120"/>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252" h="120">
                  <a:moveTo>
                    <a:pt x="228" y="0"/>
                  </a:moveTo>
                  <a:lnTo>
                    <a:pt x="204" y="24"/>
                  </a:lnTo>
                  <a:lnTo>
                    <a:pt x="114" y="24"/>
                  </a:lnTo>
                  <a:lnTo>
                    <a:pt x="108" y="30"/>
                  </a:lnTo>
                  <a:lnTo>
                    <a:pt x="102" y="42"/>
                  </a:lnTo>
                  <a:lnTo>
                    <a:pt x="96" y="48"/>
                  </a:lnTo>
                  <a:lnTo>
                    <a:pt x="90" y="48"/>
                  </a:lnTo>
                  <a:lnTo>
                    <a:pt x="78" y="54"/>
                  </a:lnTo>
                  <a:lnTo>
                    <a:pt x="90" y="72"/>
                  </a:lnTo>
                  <a:lnTo>
                    <a:pt x="84" y="78"/>
                  </a:lnTo>
                  <a:lnTo>
                    <a:pt x="72" y="102"/>
                  </a:lnTo>
                  <a:lnTo>
                    <a:pt x="72" y="114"/>
                  </a:lnTo>
                  <a:lnTo>
                    <a:pt x="78" y="120"/>
                  </a:lnTo>
                  <a:lnTo>
                    <a:pt x="78" y="114"/>
                  </a:lnTo>
                  <a:lnTo>
                    <a:pt x="84" y="108"/>
                  </a:lnTo>
                  <a:lnTo>
                    <a:pt x="96" y="108"/>
                  </a:lnTo>
                  <a:lnTo>
                    <a:pt x="132" y="84"/>
                  </a:lnTo>
                  <a:lnTo>
                    <a:pt x="138" y="90"/>
                  </a:lnTo>
                  <a:lnTo>
                    <a:pt x="162" y="90"/>
                  </a:lnTo>
                  <a:lnTo>
                    <a:pt x="186" y="78"/>
                  </a:lnTo>
                  <a:lnTo>
                    <a:pt x="198" y="66"/>
                  </a:lnTo>
                  <a:lnTo>
                    <a:pt x="210" y="60"/>
                  </a:lnTo>
                  <a:lnTo>
                    <a:pt x="252" y="18"/>
                  </a:lnTo>
                  <a:lnTo>
                    <a:pt x="228" y="0"/>
                  </a:lnTo>
                  <a:close/>
                  <a:moveTo>
                    <a:pt x="0" y="90"/>
                  </a:moveTo>
                  <a:lnTo>
                    <a:pt x="6" y="102"/>
                  </a:lnTo>
                  <a:lnTo>
                    <a:pt x="18" y="96"/>
                  </a:lnTo>
                  <a:lnTo>
                    <a:pt x="24" y="90"/>
                  </a:lnTo>
                  <a:lnTo>
                    <a:pt x="36" y="90"/>
                  </a:lnTo>
                  <a:lnTo>
                    <a:pt x="36" y="84"/>
                  </a:lnTo>
                  <a:lnTo>
                    <a:pt x="42" y="72"/>
                  </a:lnTo>
                  <a:lnTo>
                    <a:pt x="18" y="72"/>
                  </a:lnTo>
                  <a:lnTo>
                    <a:pt x="0" y="90"/>
                  </a:lnTo>
                  <a:close/>
                </a:path>
              </a:pathLst>
            </a:custGeom>
            <a:grpFill/>
            <a:ln w="3175">
              <a:solidFill>
                <a:schemeClr val="bg1"/>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de-DE" sz="1800" b="0" i="0" u="none" strike="noStrike" kern="1200" cap="none" spc="0" normalizeH="0" baseline="0" noProof="0">
                <a:ln>
                  <a:noFill/>
                </a:ln>
                <a:solidFill>
                  <a:srgbClr val="FFC000"/>
                </a:solidFill>
                <a:effectLst/>
                <a:uLnTx/>
                <a:uFillTx/>
                <a:latin typeface="Calibri" pitchFamily="34" charset="0"/>
                <a:ea typeface="+mn-ea"/>
                <a:cs typeface="+mn-cs"/>
              </a:endParaRPr>
            </a:p>
          </p:txBody>
        </p:sp>
        <p:sp>
          <p:nvSpPr>
            <p:cNvPr id="147" name="Dominican Republic" descr="© INSCALE GmbH, 05.05.2010&#10;http://www.presentationload.com/"/>
            <p:cNvSpPr>
              <a:spLocks/>
            </p:cNvSpPr>
            <p:nvPr/>
          </p:nvSpPr>
          <p:spPr bwMode="gray">
            <a:xfrm>
              <a:off x="2833943" y="3806530"/>
              <a:ext cx="80630" cy="52666"/>
            </a:xfrm>
            <a:custGeom>
              <a:avLst/>
              <a:gdLst>
                <a:gd name="T0" fmla="*/ 2147483647 w 252"/>
                <a:gd name="T1" fmla="*/ 2147483647 h 168"/>
                <a:gd name="T2" fmla="*/ 2147483647 w 252"/>
                <a:gd name="T3" fmla="*/ 2147483647 h 168"/>
                <a:gd name="T4" fmla="*/ 2147483647 w 252"/>
                <a:gd name="T5" fmla="*/ 2147483647 h 168"/>
                <a:gd name="T6" fmla="*/ 2147483647 w 252"/>
                <a:gd name="T7" fmla="*/ 2147483647 h 168"/>
                <a:gd name="T8" fmla="*/ 2147483647 w 252"/>
                <a:gd name="T9" fmla="*/ 2147483647 h 168"/>
                <a:gd name="T10" fmla="*/ 2147483647 w 252"/>
                <a:gd name="T11" fmla="*/ 2147483647 h 168"/>
                <a:gd name="T12" fmla="*/ 2147483647 w 252"/>
                <a:gd name="T13" fmla="*/ 2147483647 h 168"/>
                <a:gd name="T14" fmla="*/ 2147483647 w 252"/>
                <a:gd name="T15" fmla="*/ 2147483647 h 168"/>
                <a:gd name="T16" fmla="*/ 2147483647 w 252"/>
                <a:gd name="T17" fmla="*/ 2147483647 h 168"/>
                <a:gd name="T18" fmla="*/ 2147483647 w 252"/>
                <a:gd name="T19" fmla="*/ 2147483647 h 168"/>
                <a:gd name="T20" fmla="*/ 2147483647 w 252"/>
                <a:gd name="T21" fmla="*/ 0 h 168"/>
                <a:gd name="T22" fmla="*/ 2147483647 w 252"/>
                <a:gd name="T23" fmla="*/ 0 h 168"/>
                <a:gd name="T24" fmla="*/ 2147483647 w 252"/>
                <a:gd name="T25" fmla="*/ 2147483647 h 168"/>
                <a:gd name="T26" fmla="*/ 2147483647 w 252"/>
                <a:gd name="T27" fmla="*/ 2147483647 h 168"/>
                <a:gd name="T28" fmla="*/ 2147483647 w 252"/>
                <a:gd name="T29" fmla="*/ 2147483647 h 168"/>
                <a:gd name="T30" fmla="*/ 2147483647 w 252"/>
                <a:gd name="T31" fmla="*/ 2147483647 h 168"/>
                <a:gd name="T32" fmla="*/ 2147483647 w 252"/>
                <a:gd name="T33" fmla="*/ 2147483647 h 168"/>
                <a:gd name="T34" fmla="*/ 2147483647 w 252"/>
                <a:gd name="T35" fmla="*/ 2147483647 h 168"/>
                <a:gd name="T36" fmla="*/ 2147483647 w 252"/>
                <a:gd name="T37" fmla="*/ 2147483647 h 168"/>
                <a:gd name="T38" fmla="*/ 2147483647 w 252"/>
                <a:gd name="T39" fmla="*/ 2147483647 h 168"/>
                <a:gd name="T40" fmla="*/ 2147483647 w 252"/>
                <a:gd name="T41" fmla="*/ 2147483647 h 168"/>
                <a:gd name="T42" fmla="*/ 0 w 252"/>
                <a:gd name="T43" fmla="*/ 2147483647 h 168"/>
                <a:gd name="T44" fmla="*/ 0 w 252"/>
                <a:gd name="T45" fmla="*/ 2147483647 h 168"/>
                <a:gd name="T46" fmla="*/ 2147483647 w 252"/>
                <a:gd name="T47" fmla="*/ 2147483647 h 168"/>
                <a:gd name="T48" fmla="*/ 0 w 252"/>
                <a:gd name="T49" fmla="*/ 2147483647 h 168"/>
                <a:gd name="T50" fmla="*/ 2147483647 w 252"/>
                <a:gd name="T51" fmla="*/ 2147483647 h 168"/>
                <a:gd name="T52" fmla="*/ 2147483647 w 252"/>
                <a:gd name="T53" fmla="*/ 2147483647 h 168"/>
                <a:gd name="T54" fmla="*/ 2147483647 w 252"/>
                <a:gd name="T55" fmla="*/ 2147483647 h 168"/>
                <a:gd name="T56" fmla="*/ 2147483647 w 252"/>
                <a:gd name="T57" fmla="*/ 2147483647 h 168"/>
                <a:gd name="T58" fmla="*/ 2147483647 w 252"/>
                <a:gd name="T59" fmla="*/ 2147483647 h 168"/>
                <a:gd name="T60" fmla="*/ 2147483647 w 252"/>
                <a:gd name="T61" fmla="*/ 2147483647 h 168"/>
                <a:gd name="T62" fmla="*/ 2147483647 w 252"/>
                <a:gd name="T63" fmla="*/ 2147483647 h 168"/>
                <a:gd name="T64" fmla="*/ 2147483647 w 252"/>
                <a:gd name="T65" fmla="*/ 2147483647 h 168"/>
                <a:gd name="T66" fmla="*/ 2147483647 w 252"/>
                <a:gd name="T67" fmla="*/ 2147483647 h 168"/>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252"/>
                <a:gd name="T103" fmla="*/ 0 h 168"/>
                <a:gd name="T104" fmla="*/ 252 w 252"/>
                <a:gd name="T105" fmla="*/ 168 h 168"/>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252" h="168">
                  <a:moveTo>
                    <a:pt x="246" y="102"/>
                  </a:moveTo>
                  <a:lnTo>
                    <a:pt x="234" y="96"/>
                  </a:lnTo>
                  <a:lnTo>
                    <a:pt x="216" y="78"/>
                  </a:lnTo>
                  <a:lnTo>
                    <a:pt x="192" y="66"/>
                  </a:lnTo>
                  <a:lnTo>
                    <a:pt x="156" y="54"/>
                  </a:lnTo>
                  <a:lnTo>
                    <a:pt x="132" y="42"/>
                  </a:lnTo>
                  <a:lnTo>
                    <a:pt x="126" y="30"/>
                  </a:lnTo>
                  <a:lnTo>
                    <a:pt x="108" y="12"/>
                  </a:lnTo>
                  <a:lnTo>
                    <a:pt x="96" y="6"/>
                  </a:lnTo>
                  <a:lnTo>
                    <a:pt x="84" y="6"/>
                  </a:lnTo>
                  <a:lnTo>
                    <a:pt x="60" y="0"/>
                  </a:lnTo>
                  <a:lnTo>
                    <a:pt x="30" y="0"/>
                  </a:lnTo>
                  <a:lnTo>
                    <a:pt x="24" y="6"/>
                  </a:lnTo>
                  <a:lnTo>
                    <a:pt x="18" y="6"/>
                  </a:lnTo>
                  <a:lnTo>
                    <a:pt x="30" y="42"/>
                  </a:lnTo>
                  <a:lnTo>
                    <a:pt x="30" y="54"/>
                  </a:lnTo>
                  <a:lnTo>
                    <a:pt x="24" y="60"/>
                  </a:lnTo>
                  <a:lnTo>
                    <a:pt x="18" y="72"/>
                  </a:lnTo>
                  <a:lnTo>
                    <a:pt x="12" y="78"/>
                  </a:lnTo>
                  <a:lnTo>
                    <a:pt x="12" y="90"/>
                  </a:lnTo>
                  <a:lnTo>
                    <a:pt x="6" y="102"/>
                  </a:lnTo>
                  <a:lnTo>
                    <a:pt x="0" y="108"/>
                  </a:lnTo>
                  <a:lnTo>
                    <a:pt x="0" y="114"/>
                  </a:lnTo>
                  <a:lnTo>
                    <a:pt x="12" y="144"/>
                  </a:lnTo>
                  <a:lnTo>
                    <a:pt x="0" y="126"/>
                  </a:lnTo>
                  <a:lnTo>
                    <a:pt x="30" y="168"/>
                  </a:lnTo>
                  <a:lnTo>
                    <a:pt x="78" y="132"/>
                  </a:lnTo>
                  <a:lnTo>
                    <a:pt x="174" y="132"/>
                  </a:lnTo>
                  <a:lnTo>
                    <a:pt x="186" y="138"/>
                  </a:lnTo>
                  <a:lnTo>
                    <a:pt x="240" y="138"/>
                  </a:lnTo>
                  <a:lnTo>
                    <a:pt x="246" y="132"/>
                  </a:lnTo>
                  <a:lnTo>
                    <a:pt x="252" y="120"/>
                  </a:lnTo>
                  <a:lnTo>
                    <a:pt x="252" y="114"/>
                  </a:lnTo>
                  <a:lnTo>
                    <a:pt x="246" y="102"/>
                  </a:lnTo>
                  <a:close/>
                </a:path>
              </a:pathLst>
            </a:custGeom>
            <a:grpFill/>
            <a:ln w="3175">
              <a:solidFill>
                <a:schemeClr val="bg1"/>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de-DE" sz="1800" b="0" i="0" u="none" strike="noStrike" kern="1200" cap="none" spc="0" normalizeH="0" baseline="0" noProof="0">
                <a:ln>
                  <a:noFill/>
                </a:ln>
                <a:solidFill>
                  <a:srgbClr val="FFC000"/>
                </a:solidFill>
                <a:effectLst/>
                <a:uLnTx/>
                <a:uFillTx/>
                <a:latin typeface="Calibri" pitchFamily="34" charset="0"/>
                <a:ea typeface="+mn-ea"/>
                <a:cs typeface="+mn-cs"/>
              </a:endParaRPr>
            </a:p>
          </p:txBody>
        </p:sp>
        <p:sp>
          <p:nvSpPr>
            <p:cNvPr id="148" name="Djibouti" descr="© INSCALE GmbH, 05.05.2010&#10;http://www.presentationload.com/"/>
            <p:cNvSpPr>
              <a:spLocks/>
            </p:cNvSpPr>
            <p:nvPr/>
          </p:nvSpPr>
          <p:spPr bwMode="gray">
            <a:xfrm>
              <a:off x="5425621" y="3987799"/>
              <a:ext cx="38395" cy="41643"/>
            </a:xfrm>
            <a:custGeom>
              <a:avLst/>
              <a:gdLst>
                <a:gd name="T0" fmla="*/ 2147483647 w 114"/>
                <a:gd name="T1" fmla="*/ 2147483647 h 138"/>
                <a:gd name="T2" fmla="*/ 2147483647 w 114"/>
                <a:gd name="T3" fmla="*/ 2147483647 h 138"/>
                <a:gd name="T4" fmla="*/ 2147483647 w 114"/>
                <a:gd name="T5" fmla="*/ 2147483647 h 138"/>
                <a:gd name="T6" fmla="*/ 0 w 114"/>
                <a:gd name="T7" fmla="*/ 2147483647 h 138"/>
                <a:gd name="T8" fmla="*/ 0 w 114"/>
                <a:gd name="T9" fmla="*/ 2147483647 h 138"/>
                <a:gd name="T10" fmla="*/ 2147483647 w 114"/>
                <a:gd name="T11" fmla="*/ 2147483647 h 138"/>
                <a:gd name="T12" fmla="*/ 2147483647 w 114"/>
                <a:gd name="T13" fmla="*/ 2147483647 h 138"/>
                <a:gd name="T14" fmla="*/ 2147483647 w 114"/>
                <a:gd name="T15" fmla="*/ 2147483647 h 138"/>
                <a:gd name="T16" fmla="*/ 2147483647 w 114"/>
                <a:gd name="T17" fmla="*/ 2147483647 h 138"/>
                <a:gd name="T18" fmla="*/ 2147483647 w 114"/>
                <a:gd name="T19" fmla="*/ 2147483647 h 138"/>
                <a:gd name="T20" fmla="*/ 2147483647 w 114"/>
                <a:gd name="T21" fmla="*/ 2147483647 h 138"/>
                <a:gd name="T22" fmla="*/ 2147483647 w 114"/>
                <a:gd name="T23" fmla="*/ 2147483647 h 138"/>
                <a:gd name="T24" fmla="*/ 2147483647 w 114"/>
                <a:gd name="T25" fmla="*/ 2147483647 h 138"/>
                <a:gd name="T26" fmla="*/ 2147483647 w 114"/>
                <a:gd name="T27" fmla="*/ 2147483647 h 138"/>
                <a:gd name="T28" fmla="*/ 2147483647 w 114"/>
                <a:gd name="T29" fmla="*/ 2147483647 h 138"/>
                <a:gd name="T30" fmla="*/ 2147483647 w 114"/>
                <a:gd name="T31" fmla="*/ 2147483647 h 138"/>
                <a:gd name="T32" fmla="*/ 2147483647 w 114"/>
                <a:gd name="T33" fmla="*/ 2147483647 h 138"/>
                <a:gd name="T34" fmla="*/ 2147483647 w 114"/>
                <a:gd name="T35" fmla="*/ 2147483647 h 138"/>
                <a:gd name="T36" fmla="*/ 2147483647 w 114"/>
                <a:gd name="T37" fmla="*/ 2147483647 h 138"/>
                <a:gd name="T38" fmla="*/ 2147483647 w 114"/>
                <a:gd name="T39" fmla="*/ 2147483647 h 138"/>
                <a:gd name="T40" fmla="*/ 2147483647 w 114"/>
                <a:gd name="T41" fmla="*/ 2147483647 h 138"/>
                <a:gd name="T42" fmla="*/ 2147483647 w 114"/>
                <a:gd name="T43" fmla="*/ 2147483647 h 138"/>
                <a:gd name="T44" fmla="*/ 2147483647 w 114"/>
                <a:gd name="T45" fmla="*/ 2147483647 h 138"/>
                <a:gd name="T46" fmla="*/ 2147483647 w 114"/>
                <a:gd name="T47" fmla="*/ 2147483647 h 138"/>
                <a:gd name="T48" fmla="*/ 2147483647 w 114"/>
                <a:gd name="T49" fmla="*/ 2147483647 h 138"/>
                <a:gd name="T50" fmla="*/ 2147483647 w 114"/>
                <a:gd name="T51" fmla="*/ 2147483647 h 138"/>
                <a:gd name="T52" fmla="*/ 2147483647 w 114"/>
                <a:gd name="T53" fmla="*/ 2147483647 h 138"/>
                <a:gd name="T54" fmla="*/ 2147483647 w 114"/>
                <a:gd name="T55" fmla="*/ 0 h 138"/>
                <a:gd name="T56" fmla="*/ 2147483647 w 114"/>
                <a:gd name="T57" fmla="*/ 2147483647 h 138"/>
                <a:gd name="T58" fmla="*/ 2147483647 w 114"/>
                <a:gd name="T59" fmla="*/ 2147483647 h 138"/>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114"/>
                <a:gd name="T91" fmla="*/ 0 h 138"/>
                <a:gd name="T92" fmla="*/ 114 w 114"/>
                <a:gd name="T93" fmla="*/ 138 h 138"/>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114" h="138">
                  <a:moveTo>
                    <a:pt x="72" y="24"/>
                  </a:moveTo>
                  <a:lnTo>
                    <a:pt x="48" y="12"/>
                  </a:lnTo>
                  <a:lnTo>
                    <a:pt x="18" y="66"/>
                  </a:lnTo>
                  <a:lnTo>
                    <a:pt x="0" y="84"/>
                  </a:lnTo>
                  <a:lnTo>
                    <a:pt x="0" y="96"/>
                  </a:lnTo>
                  <a:lnTo>
                    <a:pt x="6" y="114"/>
                  </a:lnTo>
                  <a:lnTo>
                    <a:pt x="6" y="126"/>
                  </a:lnTo>
                  <a:lnTo>
                    <a:pt x="18" y="138"/>
                  </a:lnTo>
                  <a:lnTo>
                    <a:pt x="42" y="138"/>
                  </a:lnTo>
                  <a:lnTo>
                    <a:pt x="48" y="132"/>
                  </a:lnTo>
                  <a:lnTo>
                    <a:pt x="54" y="132"/>
                  </a:lnTo>
                  <a:lnTo>
                    <a:pt x="60" y="126"/>
                  </a:lnTo>
                  <a:lnTo>
                    <a:pt x="72" y="126"/>
                  </a:lnTo>
                  <a:lnTo>
                    <a:pt x="84" y="132"/>
                  </a:lnTo>
                  <a:lnTo>
                    <a:pt x="90" y="138"/>
                  </a:lnTo>
                  <a:lnTo>
                    <a:pt x="90" y="132"/>
                  </a:lnTo>
                  <a:lnTo>
                    <a:pt x="114" y="108"/>
                  </a:lnTo>
                  <a:lnTo>
                    <a:pt x="114" y="102"/>
                  </a:lnTo>
                  <a:lnTo>
                    <a:pt x="102" y="90"/>
                  </a:lnTo>
                  <a:lnTo>
                    <a:pt x="66" y="90"/>
                  </a:lnTo>
                  <a:lnTo>
                    <a:pt x="78" y="84"/>
                  </a:lnTo>
                  <a:lnTo>
                    <a:pt x="84" y="72"/>
                  </a:lnTo>
                  <a:lnTo>
                    <a:pt x="96" y="66"/>
                  </a:lnTo>
                  <a:lnTo>
                    <a:pt x="102" y="54"/>
                  </a:lnTo>
                  <a:lnTo>
                    <a:pt x="114" y="42"/>
                  </a:lnTo>
                  <a:lnTo>
                    <a:pt x="114" y="24"/>
                  </a:lnTo>
                  <a:lnTo>
                    <a:pt x="108" y="12"/>
                  </a:lnTo>
                  <a:lnTo>
                    <a:pt x="96" y="0"/>
                  </a:lnTo>
                  <a:lnTo>
                    <a:pt x="84" y="6"/>
                  </a:lnTo>
                  <a:lnTo>
                    <a:pt x="72" y="24"/>
                  </a:lnTo>
                  <a:close/>
                </a:path>
              </a:pathLst>
            </a:custGeom>
            <a:grpFill/>
            <a:ln w="3175">
              <a:solidFill>
                <a:schemeClr val="bg1"/>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de-DE" sz="1800" b="0" i="0" u="none" strike="noStrike" kern="1200" cap="none" spc="0" normalizeH="0" baseline="0" noProof="0">
                <a:ln>
                  <a:noFill/>
                </a:ln>
                <a:solidFill>
                  <a:srgbClr val="FFC000"/>
                </a:solidFill>
                <a:effectLst/>
                <a:uLnTx/>
                <a:uFillTx/>
                <a:latin typeface="Calibri" pitchFamily="34" charset="0"/>
                <a:ea typeface="+mn-ea"/>
                <a:cs typeface="+mn-cs"/>
              </a:endParaRPr>
            </a:p>
          </p:txBody>
        </p:sp>
        <p:sp>
          <p:nvSpPr>
            <p:cNvPr id="149" name="Denmark" descr="© INSCALE GmbH, 05.05.2010&#10;http://www.presentationload.com/"/>
            <p:cNvSpPr>
              <a:spLocks noEditPoints="1"/>
            </p:cNvSpPr>
            <p:nvPr/>
          </p:nvSpPr>
          <p:spPr bwMode="gray">
            <a:xfrm>
              <a:off x="4660276" y="2875691"/>
              <a:ext cx="90869" cy="73487"/>
            </a:xfrm>
            <a:custGeom>
              <a:avLst/>
              <a:gdLst>
                <a:gd name="T0" fmla="*/ 2147483647 w 71"/>
                <a:gd name="T1" fmla="*/ 2147483647 h 60"/>
                <a:gd name="T2" fmla="*/ 2147483647 w 71"/>
                <a:gd name="T3" fmla="*/ 2147483647 h 60"/>
                <a:gd name="T4" fmla="*/ 2147483647 w 71"/>
                <a:gd name="T5" fmla="*/ 2147483647 h 60"/>
                <a:gd name="T6" fmla="*/ 2147483647 w 71"/>
                <a:gd name="T7" fmla="*/ 2147483647 h 60"/>
                <a:gd name="T8" fmla="*/ 2147483647 w 71"/>
                <a:gd name="T9" fmla="*/ 2147483647 h 60"/>
                <a:gd name="T10" fmla="*/ 2147483647 w 71"/>
                <a:gd name="T11" fmla="*/ 2147483647 h 60"/>
                <a:gd name="T12" fmla="*/ 2147483647 w 71"/>
                <a:gd name="T13" fmla="*/ 2147483647 h 60"/>
                <a:gd name="T14" fmla="*/ 2147483647 w 71"/>
                <a:gd name="T15" fmla="*/ 2147483647 h 60"/>
                <a:gd name="T16" fmla="*/ 2147483647 w 71"/>
                <a:gd name="T17" fmla="*/ 2147483647 h 60"/>
                <a:gd name="T18" fmla="*/ 2147483647 w 71"/>
                <a:gd name="T19" fmla="*/ 2147483647 h 60"/>
                <a:gd name="T20" fmla="*/ 2147483647 w 71"/>
                <a:gd name="T21" fmla="*/ 2147483647 h 60"/>
                <a:gd name="T22" fmla="*/ 2147483647 w 71"/>
                <a:gd name="T23" fmla="*/ 2147483647 h 60"/>
                <a:gd name="T24" fmla="*/ 2147483647 w 71"/>
                <a:gd name="T25" fmla="*/ 2147483647 h 60"/>
                <a:gd name="T26" fmla="*/ 2147483647 w 71"/>
                <a:gd name="T27" fmla="*/ 2147483647 h 60"/>
                <a:gd name="T28" fmla="*/ 2147483647 w 71"/>
                <a:gd name="T29" fmla="*/ 2147483647 h 60"/>
                <a:gd name="T30" fmla="*/ 2147483647 w 71"/>
                <a:gd name="T31" fmla="*/ 2147483647 h 60"/>
                <a:gd name="T32" fmla="*/ 2147483647 w 71"/>
                <a:gd name="T33" fmla="*/ 2147483647 h 60"/>
                <a:gd name="T34" fmla="*/ 2147483647 w 71"/>
                <a:gd name="T35" fmla="*/ 2147483647 h 60"/>
                <a:gd name="T36" fmla="*/ 2147483647 w 71"/>
                <a:gd name="T37" fmla="*/ 2147483647 h 60"/>
                <a:gd name="T38" fmla="*/ 2147483647 w 71"/>
                <a:gd name="T39" fmla="*/ 2147483647 h 60"/>
                <a:gd name="T40" fmla="*/ 2147483647 w 71"/>
                <a:gd name="T41" fmla="*/ 2147483647 h 60"/>
                <a:gd name="T42" fmla="*/ 2147483647 w 71"/>
                <a:gd name="T43" fmla="*/ 2147483647 h 60"/>
                <a:gd name="T44" fmla="*/ 2147483647 w 71"/>
                <a:gd name="T45" fmla="*/ 2147483647 h 60"/>
                <a:gd name="T46" fmla="*/ 2147483647 w 71"/>
                <a:gd name="T47" fmla="*/ 2147483647 h 60"/>
                <a:gd name="T48" fmla="*/ 2147483647 w 71"/>
                <a:gd name="T49" fmla="*/ 2147483647 h 60"/>
                <a:gd name="T50" fmla="*/ 2147483647 w 71"/>
                <a:gd name="T51" fmla="*/ 2147483647 h 60"/>
                <a:gd name="T52" fmla="*/ 2147483647 w 71"/>
                <a:gd name="T53" fmla="*/ 2147483647 h 60"/>
                <a:gd name="T54" fmla="*/ 2147483647 w 71"/>
                <a:gd name="T55" fmla="*/ 2147483647 h 60"/>
                <a:gd name="T56" fmla="*/ 2147483647 w 71"/>
                <a:gd name="T57" fmla="*/ 2147483647 h 60"/>
                <a:gd name="T58" fmla="*/ 2147483647 w 71"/>
                <a:gd name="T59" fmla="*/ 2147483647 h 60"/>
                <a:gd name="T60" fmla="*/ 2147483647 w 71"/>
                <a:gd name="T61" fmla="*/ 2147483647 h 60"/>
                <a:gd name="T62" fmla="*/ 2147483647 w 71"/>
                <a:gd name="T63" fmla="*/ 0 h 60"/>
                <a:gd name="T64" fmla="*/ 2147483647 w 71"/>
                <a:gd name="T65" fmla="*/ 2147483647 h 60"/>
                <a:gd name="T66" fmla="*/ 2147483647 w 71"/>
                <a:gd name="T67" fmla="*/ 2147483647 h 60"/>
                <a:gd name="T68" fmla="*/ 2147483647 w 71"/>
                <a:gd name="T69" fmla="*/ 2147483647 h 60"/>
                <a:gd name="T70" fmla="*/ 2147483647 w 71"/>
                <a:gd name="T71" fmla="*/ 2147483647 h 60"/>
                <a:gd name="T72" fmla="*/ 2147483647 w 71"/>
                <a:gd name="T73" fmla="*/ 2147483647 h 60"/>
                <a:gd name="T74" fmla="*/ 2147483647 w 71"/>
                <a:gd name="T75" fmla="*/ 2147483647 h 60"/>
                <a:gd name="T76" fmla="*/ 2147483647 w 71"/>
                <a:gd name="T77" fmla="*/ 2147483647 h 60"/>
                <a:gd name="T78" fmla="*/ 2147483647 w 71"/>
                <a:gd name="T79" fmla="*/ 2147483647 h 60"/>
                <a:gd name="T80" fmla="*/ 2147483647 w 71"/>
                <a:gd name="T81" fmla="*/ 2147483647 h 60"/>
                <a:gd name="T82" fmla="*/ 0 w 71"/>
                <a:gd name="T83" fmla="*/ 2147483647 h 60"/>
                <a:gd name="T84" fmla="*/ 0 w 71"/>
                <a:gd name="T85" fmla="*/ 2147483647 h 60"/>
                <a:gd name="T86" fmla="*/ 2147483647 w 71"/>
                <a:gd name="T87" fmla="*/ 2147483647 h 60"/>
                <a:gd name="T88" fmla="*/ 2147483647 w 71"/>
                <a:gd name="T89" fmla="*/ 2147483647 h 60"/>
                <a:gd name="T90" fmla="*/ 2147483647 w 71"/>
                <a:gd name="T91" fmla="*/ 2147483647 h 60"/>
                <a:gd name="T92" fmla="*/ 2147483647 w 71"/>
                <a:gd name="T93" fmla="*/ 2147483647 h 60"/>
                <a:gd name="T94" fmla="*/ 2147483647 w 71"/>
                <a:gd name="T95" fmla="*/ 2147483647 h 60"/>
                <a:gd name="T96" fmla="*/ 2147483647 w 71"/>
                <a:gd name="T97" fmla="*/ 2147483647 h 60"/>
                <a:gd name="T98" fmla="*/ 2147483647 w 71"/>
                <a:gd name="T99" fmla="*/ 2147483647 h 60"/>
                <a:gd name="T100" fmla="*/ 2147483647 w 71"/>
                <a:gd name="T101" fmla="*/ 2147483647 h 60"/>
                <a:gd name="T102" fmla="*/ 2147483647 w 71"/>
                <a:gd name="T103" fmla="*/ 2147483647 h 60"/>
                <a:gd name="T104" fmla="*/ 2147483647 w 71"/>
                <a:gd name="T105" fmla="*/ 2147483647 h 60"/>
                <a:gd name="T106" fmla="*/ 2147483647 w 71"/>
                <a:gd name="T107" fmla="*/ 2147483647 h 60"/>
                <a:gd name="T108" fmla="*/ 2147483647 w 71"/>
                <a:gd name="T109" fmla="*/ 2147483647 h 60"/>
                <a:gd name="T110" fmla="*/ 2147483647 w 71"/>
                <a:gd name="T111" fmla="*/ 2147483647 h 60"/>
                <a:gd name="T112" fmla="*/ 2147483647 w 71"/>
                <a:gd name="T113" fmla="*/ 2147483647 h 60"/>
                <a:gd name="T114" fmla="*/ 2147483647 w 71"/>
                <a:gd name="T115" fmla="*/ 2147483647 h 60"/>
                <a:gd name="T116" fmla="*/ 2147483647 w 71"/>
                <a:gd name="T117" fmla="*/ 2147483647 h 60"/>
                <a:gd name="T118" fmla="*/ 2147483647 w 71"/>
                <a:gd name="T119" fmla="*/ 2147483647 h 60"/>
                <a:gd name="T120" fmla="*/ 2147483647 w 71"/>
                <a:gd name="T121" fmla="*/ 2147483647 h 60"/>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71"/>
                <a:gd name="T184" fmla="*/ 0 h 60"/>
                <a:gd name="T185" fmla="*/ 71 w 71"/>
                <a:gd name="T186" fmla="*/ 60 h 60"/>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71" h="60">
                  <a:moveTo>
                    <a:pt x="62" y="48"/>
                  </a:moveTo>
                  <a:lnTo>
                    <a:pt x="67" y="46"/>
                  </a:lnTo>
                  <a:lnTo>
                    <a:pt x="69" y="46"/>
                  </a:lnTo>
                  <a:lnTo>
                    <a:pt x="69" y="43"/>
                  </a:lnTo>
                  <a:lnTo>
                    <a:pt x="67" y="43"/>
                  </a:lnTo>
                  <a:lnTo>
                    <a:pt x="62" y="41"/>
                  </a:lnTo>
                  <a:lnTo>
                    <a:pt x="62" y="38"/>
                  </a:lnTo>
                  <a:lnTo>
                    <a:pt x="64" y="38"/>
                  </a:lnTo>
                  <a:lnTo>
                    <a:pt x="64" y="36"/>
                  </a:lnTo>
                  <a:lnTo>
                    <a:pt x="67" y="34"/>
                  </a:lnTo>
                  <a:lnTo>
                    <a:pt x="67" y="29"/>
                  </a:lnTo>
                  <a:lnTo>
                    <a:pt x="64" y="29"/>
                  </a:lnTo>
                  <a:lnTo>
                    <a:pt x="62" y="29"/>
                  </a:lnTo>
                  <a:lnTo>
                    <a:pt x="60" y="31"/>
                  </a:lnTo>
                  <a:lnTo>
                    <a:pt x="60" y="34"/>
                  </a:lnTo>
                  <a:lnTo>
                    <a:pt x="57" y="36"/>
                  </a:lnTo>
                  <a:lnTo>
                    <a:pt x="57" y="34"/>
                  </a:lnTo>
                  <a:lnTo>
                    <a:pt x="55" y="31"/>
                  </a:lnTo>
                  <a:lnTo>
                    <a:pt x="52" y="34"/>
                  </a:lnTo>
                  <a:lnTo>
                    <a:pt x="45" y="38"/>
                  </a:lnTo>
                  <a:lnTo>
                    <a:pt x="48" y="38"/>
                  </a:lnTo>
                  <a:lnTo>
                    <a:pt x="50" y="41"/>
                  </a:lnTo>
                  <a:lnTo>
                    <a:pt x="50" y="43"/>
                  </a:lnTo>
                  <a:lnTo>
                    <a:pt x="50" y="46"/>
                  </a:lnTo>
                  <a:lnTo>
                    <a:pt x="50" y="48"/>
                  </a:lnTo>
                  <a:lnTo>
                    <a:pt x="48" y="48"/>
                  </a:lnTo>
                  <a:lnTo>
                    <a:pt x="50" y="48"/>
                  </a:lnTo>
                  <a:lnTo>
                    <a:pt x="50" y="50"/>
                  </a:lnTo>
                  <a:lnTo>
                    <a:pt x="55" y="50"/>
                  </a:lnTo>
                  <a:lnTo>
                    <a:pt x="55" y="48"/>
                  </a:lnTo>
                  <a:lnTo>
                    <a:pt x="57" y="48"/>
                  </a:lnTo>
                  <a:lnTo>
                    <a:pt x="57" y="50"/>
                  </a:lnTo>
                  <a:lnTo>
                    <a:pt x="60" y="53"/>
                  </a:lnTo>
                  <a:lnTo>
                    <a:pt x="60" y="55"/>
                  </a:lnTo>
                  <a:lnTo>
                    <a:pt x="62" y="55"/>
                  </a:lnTo>
                  <a:lnTo>
                    <a:pt x="62" y="53"/>
                  </a:lnTo>
                  <a:lnTo>
                    <a:pt x="62" y="48"/>
                  </a:lnTo>
                  <a:close/>
                  <a:moveTo>
                    <a:pt x="71" y="53"/>
                  </a:moveTo>
                  <a:lnTo>
                    <a:pt x="62" y="55"/>
                  </a:lnTo>
                  <a:lnTo>
                    <a:pt x="60" y="58"/>
                  </a:lnTo>
                  <a:lnTo>
                    <a:pt x="57" y="58"/>
                  </a:lnTo>
                  <a:lnTo>
                    <a:pt x="57" y="55"/>
                  </a:lnTo>
                  <a:lnTo>
                    <a:pt x="55" y="55"/>
                  </a:lnTo>
                  <a:lnTo>
                    <a:pt x="50" y="53"/>
                  </a:lnTo>
                  <a:lnTo>
                    <a:pt x="45" y="53"/>
                  </a:lnTo>
                  <a:lnTo>
                    <a:pt x="45" y="58"/>
                  </a:lnTo>
                  <a:lnTo>
                    <a:pt x="50" y="58"/>
                  </a:lnTo>
                  <a:lnTo>
                    <a:pt x="52" y="58"/>
                  </a:lnTo>
                  <a:lnTo>
                    <a:pt x="55" y="60"/>
                  </a:lnTo>
                  <a:lnTo>
                    <a:pt x="57" y="60"/>
                  </a:lnTo>
                  <a:lnTo>
                    <a:pt x="60" y="60"/>
                  </a:lnTo>
                  <a:lnTo>
                    <a:pt x="62" y="60"/>
                  </a:lnTo>
                  <a:lnTo>
                    <a:pt x="69" y="58"/>
                  </a:lnTo>
                  <a:lnTo>
                    <a:pt x="71" y="58"/>
                  </a:lnTo>
                  <a:lnTo>
                    <a:pt x="71" y="53"/>
                  </a:lnTo>
                  <a:close/>
                  <a:moveTo>
                    <a:pt x="31" y="12"/>
                  </a:moveTo>
                  <a:lnTo>
                    <a:pt x="36" y="7"/>
                  </a:lnTo>
                  <a:lnTo>
                    <a:pt x="36" y="3"/>
                  </a:lnTo>
                  <a:lnTo>
                    <a:pt x="36" y="0"/>
                  </a:lnTo>
                  <a:lnTo>
                    <a:pt x="26" y="0"/>
                  </a:lnTo>
                  <a:lnTo>
                    <a:pt x="26" y="3"/>
                  </a:lnTo>
                  <a:lnTo>
                    <a:pt x="21" y="7"/>
                  </a:lnTo>
                  <a:lnTo>
                    <a:pt x="21" y="10"/>
                  </a:lnTo>
                  <a:lnTo>
                    <a:pt x="19" y="10"/>
                  </a:lnTo>
                  <a:lnTo>
                    <a:pt x="19" y="19"/>
                  </a:lnTo>
                  <a:lnTo>
                    <a:pt x="14" y="14"/>
                  </a:lnTo>
                  <a:lnTo>
                    <a:pt x="12" y="7"/>
                  </a:lnTo>
                  <a:lnTo>
                    <a:pt x="7" y="10"/>
                  </a:lnTo>
                  <a:lnTo>
                    <a:pt x="5" y="10"/>
                  </a:lnTo>
                  <a:lnTo>
                    <a:pt x="5" y="12"/>
                  </a:lnTo>
                  <a:lnTo>
                    <a:pt x="5" y="14"/>
                  </a:lnTo>
                  <a:lnTo>
                    <a:pt x="7" y="14"/>
                  </a:lnTo>
                  <a:lnTo>
                    <a:pt x="12" y="19"/>
                  </a:lnTo>
                  <a:lnTo>
                    <a:pt x="12" y="22"/>
                  </a:lnTo>
                  <a:lnTo>
                    <a:pt x="5" y="19"/>
                  </a:lnTo>
                  <a:lnTo>
                    <a:pt x="2" y="24"/>
                  </a:lnTo>
                  <a:lnTo>
                    <a:pt x="0" y="24"/>
                  </a:lnTo>
                  <a:lnTo>
                    <a:pt x="0" y="29"/>
                  </a:lnTo>
                  <a:lnTo>
                    <a:pt x="0" y="31"/>
                  </a:lnTo>
                  <a:lnTo>
                    <a:pt x="5" y="34"/>
                  </a:lnTo>
                  <a:lnTo>
                    <a:pt x="7" y="34"/>
                  </a:lnTo>
                  <a:lnTo>
                    <a:pt x="2" y="38"/>
                  </a:lnTo>
                  <a:lnTo>
                    <a:pt x="2" y="41"/>
                  </a:lnTo>
                  <a:lnTo>
                    <a:pt x="5" y="43"/>
                  </a:lnTo>
                  <a:lnTo>
                    <a:pt x="7" y="43"/>
                  </a:lnTo>
                  <a:lnTo>
                    <a:pt x="7" y="48"/>
                  </a:lnTo>
                  <a:lnTo>
                    <a:pt x="5" y="53"/>
                  </a:lnTo>
                  <a:lnTo>
                    <a:pt x="7" y="53"/>
                  </a:lnTo>
                  <a:lnTo>
                    <a:pt x="17" y="53"/>
                  </a:lnTo>
                  <a:lnTo>
                    <a:pt x="17" y="55"/>
                  </a:lnTo>
                  <a:lnTo>
                    <a:pt x="24" y="55"/>
                  </a:lnTo>
                  <a:lnTo>
                    <a:pt x="26" y="58"/>
                  </a:lnTo>
                  <a:lnTo>
                    <a:pt x="26" y="55"/>
                  </a:lnTo>
                  <a:lnTo>
                    <a:pt x="24" y="53"/>
                  </a:lnTo>
                  <a:lnTo>
                    <a:pt x="24" y="48"/>
                  </a:lnTo>
                  <a:lnTo>
                    <a:pt x="26" y="43"/>
                  </a:lnTo>
                  <a:lnTo>
                    <a:pt x="24" y="41"/>
                  </a:lnTo>
                  <a:lnTo>
                    <a:pt x="24" y="38"/>
                  </a:lnTo>
                  <a:lnTo>
                    <a:pt x="21" y="38"/>
                  </a:lnTo>
                  <a:lnTo>
                    <a:pt x="24" y="38"/>
                  </a:lnTo>
                  <a:lnTo>
                    <a:pt x="31" y="34"/>
                  </a:lnTo>
                  <a:lnTo>
                    <a:pt x="33" y="26"/>
                  </a:lnTo>
                  <a:lnTo>
                    <a:pt x="38" y="26"/>
                  </a:lnTo>
                  <a:lnTo>
                    <a:pt x="41" y="19"/>
                  </a:lnTo>
                  <a:lnTo>
                    <a:pt x="31" y="19"/>
                  </a:lnTo>
                  <a:lnTo>
                    <a:pt x="31" y="12"/>
                  </a:lnTo>
                  <a:close/>
                  <a:moveTo>
                    <a:pt x="29" y="38"/>
                  </a:moveTo>
                  <a:lnTo>
                    <a:pt x="31" y="48"/>
                  </a:lnTo>
                  <a:lnTo>
                    <a:pt x="36" y="53"/>
                  </a:lnTo>
                  <a:lnTo>
                    <a:pt x="38" y="46"/>
                  </a:lnTo>
                  <a:lnTo>
                    <a:pt x="33" y="41"/>
                  </a:lnTo>
                  <a:lnTo>
                    <a:pt x="29" y="38"/>
                  </a:lnTo>
                  <a:close/>
                </a:path>
              </a:pathLst>
            </a:custGeom>
            <a:grpFill/>
            <a:ln w="3175">
              <a:solidFill>
                <a:schemeClr val="bg1"/>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de-DE" sz="1800" b="0" i="0" u="none" strike="noStrike" kern="1200" cap="none" spc="0" normalizeH="0" baseline="0" noProof="0">
                <a:ln>
                  <a:noFill/>
                </a:ln>
                <a:solidFill>
                  <a:srgbClr val="FFC000"/>
                </a:solidFill>
                <a:effectLst/>
                <a:uLnTx/>
                <a:uFillTx/>
                <a:latin typeface="Calibri" pitchFamily="34" charset="0"/>
                <a:ea typeface="+mn-ea"/>
                <a:cs typeface="+mn-cs"/>
              </a:endParaRPr>
            </a:p>
          </p:txBody>
        </p:sp>
        <p:grpSp>
          <p:nvGrpSpPr>
            <p:cNvPr id="150" name="Group 149"/>
            <p:cNvGrpSpPr/>
            <p:nvPr/>
          </p:nvGrpSpPr>
          <p:grpSpPr>
            <a:xfrm>
              <a:off x="4615482" y="2902636"/>
              <a:ext cx="692394" cy="311096"/>
              <a:chOff x="4615482" y="2902636"/>
              <a:chExt cx="692394" cy="311096"/>
            </a:xfrm>
            <a:grpFill/>
          </p:grpSpPr>
          <p:sp>
            <p:nvSpPr>
              <p:cNvPr id="195" name="Ukraine" descr="© INSCALE GmbH, 05.05.2010&#10;http://www.presentationload.com/"/>
              <p:cNvSpPr>
                <a:spLocks/>
              </p:cNvSpPr>
              <p:nvPr/>
            </p:nvSpPr>
            <p:spPr bwMode="gray">
              <a:xfrm>
                <a:off x="4944401" y="3001844"/>
                <a:ext cx="363475" cy="193516"/>
              </a:xfrm>
              <a:custGeom>
                <a:avLst/>
                <a:gdLst>
                  <a:gd name="T0" fmla="*/ 2147483647 w 1116"/>
                  <a:gd name="T1" fmla="*/ 2147483647 h 624"/>
                  <a:gd name="T2" fmla="*/ 2147483647 w 1116"/>
                  <a:gd name="T3" fmla="*/ 2147483647 h 624"/>
                  <a:gd name="T4" fmla="*/ 2147483647 w 1116"/>
                  <a:gd name="T5" fmla="*/ 2147483647 h 624"/>
                  <a:gd name="T6" fmla="*/ 2147483647 w 1116"/>
                  <a:gd name="T7" fmla="*/ 2147483647 h 624"/>
                  <a:gd name="T8" fmla="*/ 2147483647 w 1116"/>
                  <a:gd name="T9" fmla="*/ 2147483647 h 624"/>
                  <a:gd name="T10" fmla="*/ 2147483647 w 1116"/>
                  <a:gd name="T11" fmla="*/ 2147483647 h 624"/>
                  <a:gd name="T12" fmla="*/ 2147483647 w 1116"/>
                  <a:gd name="T13" fmla="*/ 2147483647 h 624"/>
                  <a:gd name="T14" fmla="*/ 2147483647 w 1116"/>
                  <a:gd name="T15" fmla="*/ 2147483647 h 624"/>
                  <a:gd name="T16" fmla="*/ 2147483647 w 1116"/>
                  <a:gd name="T17" fmla="*/ 2147483647 h 624"/>
                  <a:gd name="T18" fmla="*/ 2147483647 w 1116"/>
                  <a:gd name="T19" fmla="*/ 2147483647 h 624"/>
                  <a:gd name="T20" fmla="*/ 2147483647 w 1116"/>
                  <a:gd name="T21" fmla="*/ 2147483647 h 624"/>
                  <a:gd name="T22" fmla="*/ 2147483647 w 1116"/>
                  <a:gd name="T23" fmla="*/ 2147483647 h 624"/>
                  <a:gd name="T24" fmla="*/ 2147483647 w 1116"/>
                  <a:gd name="T25" fmla="*/ 2147483647 h 624"/>
                  <a:gd name="T26" fmla="*/ 2147483647 w 1116"/>
                  <a:gd name="T27" fmla="*/ 2147483647 h 624"/>
                  <a:gd name="T28" fmla="*/ 2147483647 w 1116"/>
                  <a:gd name="T29" fmla="*/ 2147483647 h 624"/>
                  <a:gd name="T30" fmla="*/ 2147483647 w 1116"/>
                  <a:gd name="T31" fmla="*/ 2147483647 h 624"/>
                  <a:gd name="T32" fmla="*/ 2147483647 w 1116"/>
                  <a:gd name="T33" fmla="*/ 2147483647 h 624"/>
                  <a:gd name="T34" fmla="*/ 2147483647 w 1116"/>
                  <a:gd name="T35" fmla="*/ 2147483647 h 624"/>
                  <a:gd name="T36" fmla="*/ 2147483647 w 1116"/>
                  <a:gd name="T37" fmla="*/ 2147483647 h 624"/>
                  <a:gd name="T38" fmla="*/ 2147483647 w 1116"/>
                  <a:gd name="T39" fmla="*/ 2147483647 h 624"/>
                  <a:gd name="T40" fmla="*/ 2147483647 w 1116"/>
                  <a:gd name="T41" fmla="*/ 2147483647 h 624"/>
                  <a:gd name="T42" fmla="*/ 2147483647 w 1116"/>
                  <a:gd name="T43" fmla="*/ 2147483647 h 624"/>
                  <a:gd name="T44" fmla="*/ 2147483647 w 1116"/>
                  <a:gd name="T45" fmla="*/ 2147483647 h 624"/>
                  <a:gd name="T46" fmla="*/ 2147483647 w 1116"/>
                  <a:gd name="T47" fmla="*/ 2147483647 h 624"/>
                  <a:gd name="T48" fmla="*/ 2147483647 w 1116"/>
                  <a:gd name="T49" fmla="*/ 2147483647 h 624"/>
                  <a:gd name="T50" fmla="*/ 2147483647 w 1116"/>
                  <a:gd name="T51" fmla="*/ 2147483647 h 624"/>
                  <a:gd name="T52" fmla="*/ 2147483647 w 1116"/>
                  <a:gd name="T53" fmla="*/ 2147483647 h 624"/>
                  <a:gd name="T54" fmla="*/ 2147483647 w 1116"/>
                  <a:gd name="T55" fmla="*/ 2147483647 h 624"/>
                  <a:gd name="T56" fmla="*/ 2147483647 w 1116"/>
                  <a:gd name="T57" fmla="*/ 2147483647 h 624"/>
                  <a:gd name="T58" fmla="*/ 2147483647 w 1116"/>
                  <a:gd name="T59" fmla="*/ 2147483647 h 624"/>
                  <a:gd name="T60" fmla="*/ 2147483647 w 1116"/>
                  <a:gd name="T61" fmla="*/ 2147483647 h 624"/>
                  <a:gd name="T62" fmla="*/ 2147483647 w 1116"/>
                  <a:gd name="T63" fmla="*/ 2147483647 h 624"/>
                  <a:gd name="T64" fmla="*/ 2147483647 w 1116"/>
                  <a:gd name="T65" fmla="*/ 2147483647 h 624"/>
                  <a:gd name="T66" fmla="*/ 2147483647 w 1116"/>
                  <a:gd name="T67" fmla="*/ 2147483647 h 624"/>
                  <a:gd name="T68" fmla="*/ 2147483647 w 1116"/>
                  <a:gd name="T69" fmla="*/ 2147483647 h 624"/>
                  <a:gd name="T70" fmla="*/ 2147483647 w 1116"/>
                  <a:gd name="T71" fmla="*/ 2147483647 h 624"/>
                  <a:gd name="T72" fmla="*/ 2147483647 w 1116"/>
                  <a:gd name="T73" fmla="*/ 2147483647 h 624"/>
                  <a:gd name="T74" fmla="*/ 2147483647 w 1116"/>
                  <a:gd name="T75" fmla="*/ 2147483647 h 624"/>
                  <a:gd name="T76" fmla="*/ 2147483647 w 1116"/>
                  <a:gd name="T77" fmla="*/ 2147483647 h 624"/>
                  <a:gd name="T78" fmla="*/ 2147483647 w 1116"/>
                  <a:gd name="T79" fmla="*/ 2147483647 h 624"/>
                  <a:gd name="T80" fmla="*/ 2147483647 w 1116"/>
                  <a:gd name="T81" fmla="*/ 2147483647 h 624"/>
                  <a:gd name="T82" fmla="*/ 2147483647 w 1116"/>
                  <a:gd name="T83" fmla="*/ 2147483647 h 624"/>
                  <a:gd name="T84" fmla="*/ 2147483647 w 1116"/>
                  <a:gd name="T85" fmla="*/ 2147483647 h 624"/>
                  <a:gd name="T86" fmla="*/ 2147483647 w 1116"/>
                  <a:gd name="T87" fmla="*/ 2147483647 h 624"/>
                  <a:gd name="T88" fmla="*/ 2147483647 w 1116"/>
                  <a:gd name="T89" fmla="*/ 0 h 624"/>
                  <a:gd name="T90" fmla="*/ 2147483647 w 1116"/>
                  <a:gd name="T91" fmla="*/ 2147483647 h 624"/>
                  <a:gd name="T92" fmla="*/ 2147483647 w 1116"/>
                  <a:gd name="T93" fmla="*/ 2147483647 h 624"/>
                  <a:gd name="T94" fmla="*/ 2147483647 w 1116"/>
                  <a:gd name="T95" fmla="*/ 2147483647 h 624"/>
                  <a:gd name="T96" fmla="*/ 2147483647 w 1116"/>
                  <a:gd name="T97" fmla="*/ 2147483647 h 624"/>
                  <a:gd name="T98" fmla="*/ 2147483647 w 1116"/>
                  <a:gd name="T99" fmla="*/ 2147483647 h 624"/>
                  <a:gd name="T100" fmla="*/ 2147483647 w 1116"/>
                  <a:gd name="T101" fmla="*/ 2147483647 h 624"/>
                  <a:gd name="T102" fmla="*/ 2147483647 w 1116"/>
                  <a:gd name="T103" fmla="*/ 2147483647 h 624"/>
                  <a:gd name="T104" fmla="*/ 2147483647 w 1116"/>
                  <a:gd name="T105" fmla="*/ 2147483647 h 624"/>
                  <a:gd name="T106" fmla="*/ 2147483647 w 1116"/>
                  <a:gd name="T107" fmla="*/ 2147483647 h 624"/>
                  <a:gd name="T108" fmla="*/ 2147483647 w 1116"/>
                  <a:gd name="T109" fmla="*/ 2147483647 h 624"/>
                  <a:gd name="T110" fmla="*/ 2147483647 w 1116"/>
                  <a:gd name="T111" fmla="*/ 2147483647 h 624"/>
                  <a:gd name="T112" fmla="*/ 2147483647 w 1116"/>
                  <a:gd name="T113" fmla="*/ 2147483647 h 624"/>
                  <a:gd name="T114" fmla="*/ 2147483647 w 1116"/>
                  <a:gd name="T115" fmla="*/ 2147483647 h 624"/>
                  <a:gd name="T116" fmla="*/ 2147483647 w 1116"/>
                  <a:gd name="T117" fmla="*/ 2147483647 h 624"/>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1116"/>
                  <a:gd name="T178" fmla="*/ 0 h 624"/>
                  <a:gd name="T179" fmla="*/ 1116 w 1116"/>
                  <a:gd name="T180" fmla="*/ 624 h 624"/>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1116" h="624">
                    <a:moveTo>
                      <a:pt x="24" y="324"/>
                    </a:moveTo>
                    <a:lnTo>
                      <a:pt x="30" y="324"/>
                    </a:lnTo>
                    <a:lnTo>
                      <a:pt x="36" y="330"/>
                    </a:lnTo>
                    <a:lnTo>
                      <a:pt x="48" y="330"/>
                    </a:lnTo>
                    <a:lnTo>
                      <a:pt x="54" y="336"/>
                    </a:lnTo>
                    <a:lnTo>
                      <a:pt x="78" y="336"/>
                    </a:lnTo>
                    <a:lnTo>
                      <a:pt x="84" y="342"/>
                    </a:lnTo>
                    <a:lnTo>
                      <a:pt x="108" y="342"/>
                    </a:lnTo>
                    <a:lnTo>
                      <a:pt x="114" y="348"/>
                    </a:lnTo>
                    <a:lnTo>
                      <a:pt x="126" y="342"/>
                    </a:lnTo>
                    <a:lnTo>
                      <a:pt x="132" y="342"/>
                    </a:lnTo>
                    <a:lnTo>
                      <a:pt x="144" y="336"/>
                    </a:lnTo>
                    <a:lnTo>
                      <a:pt x="150" y="336"/>
                    </a:lnTo>
                    <a:lnTo>
                      <a:pt x="174" y="360"/>
                    </a:lnTo>
                    <a:lnTo>
                      <a:pt x="186" y="360"/>
                    </a:lnTo>
                    <a:lnTo>
                      <a:pt x="198" y="348"/>
                    </a:lnTo>
                    <a:lnTo>
                      <a:pt x="198" y="342"/>
                    </a:lnTo>
                    <a:lnTo>
                      <a:pt x="222" y="348"/>
                    </a:lnTo>
                    <a:lnTo>
                      <a:pt x="228" y="336"/>
                    </a:lnTo>
                    <a:lnTo>
                      <a:pt x="234" y="342"/>
                    </a:lnTo>
                    <a:lnTo>
                      <a:pt x="252" y="342"/>
                    </a:lnTo>
                    <a:lnTo>
                      <a:pt x="258" y="336"/>
                    </a:lnTo>
                    <a:lnTo>
                      <a:pt x="258" y="330"/>
                    </a:lnTo>
                    <a:lnTo>
                      <a:pt x="270" y="318"/>
                    </a:lnTo>
                    <a:lnTo>
                      <a:pt x="282" y="318"/>
                    </a:lnTo>
                    <a:lnTo>
                      <a:pt x="288" y="306"/>
                    </a:lnTo>
                    <a:lnTo>
                      <a:pt x="294" y="306"/>
                    </a:lnTo>
                    <a:lnTo>
                      <a:pt x="306" y="312"/>
                    </a:lnTo>
                    <a:lnTo>
                      <a:pt x="318" y="312"/>
                    </a:lnTo>
                    <a:lnTo>
                      <a:pt x="318" y="306"/>
                    </a:lnTo>
                    <a:lnTo>
                      <a:pt x="324" y="306"/>
                    </a:lnTo>
                    <a:lnTo>
                      <a:pt x="336" y="300"/>
                    </a:lnTo>
                    <a:lnTo>
                      <a:pt x="342" y="300"/>
                    </a:lnTo>
                    <a:lnTo>
                      <a:pt x="354" y="312"/>
                    </a:lnTo>
                    <a:lnTo>
                      <a:pt x="360" y="312"/>
                    </a:lnTo>
                    <a:lnTo>
                      <a:pt x="360" y="318"/>
                    </a:lnTo>
                    <a:lnTo>
                      <a:pt x="402" y="318"/>
                    </a:lnTo>
                    <a:lnTo>
                      <a:pt x="408" y="324"/>
                    </a:lnTo>
                    <a:lnTo>
                      <a:pt x="408" y="336"/>
                    </a:lnTo>
                    <a:lnTo>
                      <a:pt x="426" y="336"/>
                    </a:lnTo>
                    <a:lnTo>
                      <a:pt x="438" y="342"/>
                    </a:lnTo>
                    <a:lnTo>
                      <a:pt x="444" y="348"/>
                    </a:lnTo>
                    <a:lnTo>
                      <a:pt x="450" y="360"/>
                    </a:lnTo>
                    <a:lnTo>
                      <a:pt x="444" y="366"/>
                    </a:lnTo>
                    <a:lnTo>
                      <a:pt x="444" y="390"/>
                    </a:lnTo>
                    <a:lnTo>
                      <a:pt x="456" y="384"/>
                    </a:lnTo>
                    <a:lnTo>
                      <a:pt x="462" y="384"/>
                    </a:lnTo>
                    <a:lnTo>
                      <a:pt x="468" y="390"/>
                    </a:lnTo>
                    <a:lnTo>
                      <a:pt x="462" y="396"/>
                    </a:lnTo>
                    <a:lnTo>
                      <a:pt x="462" y="414"/>
                    </a:lnTo>
                    <a:lnTo>
                      <a:pt x="474" y="414"/>
                    </a:lnTo>
                    <a:lnTo>
                      <a:pt x="480" y="420"/>
                    </a:lnTo>
                    <a:lnTo>
                      <a:pt x="492" y="420"/>
                    </a:lnTo>
                    <a:lnTo>
                      <a:pt x="498" y="426"/>
                    </a:lnTo>
                    <a:lnTo>
                      <a:pt x="498" y="456"/>
                    </a:lnTo>
                    <a:lnTo>
                      <a:pt x="492" y="456"/>
                    </a:lnTo>
                    <a:lnTo>
                      <a:pt x="480" y="462"/>
                    </a:lnTo>
                    <a:lnTo>
                      <a:pt x="462" y="462"/>
                    </a:lnTo>
                    <a:lnTo>
                      <a:pt x="456" y="456"/>
                    </a:lnTo>
                    <a:lnTo>
                      <a:pt x="438" y="456"/>
                    </a:lnTo>
                    <a:lnTo>
                      <a:pt x="432" y="462"/>
                    </a:lnTo>
                    <a:lnTo>
                      <a:pt x="432" y="468"/>
                    </a:lnTo>
                    <a:lnTo>
                      <a:pt x="438" y="468"/>
                    </a:lnTo>
                    <a:lnTo>
                      <a:pt x="450" y="474"/>
                    </a:lnTo>
                    <a:lnTo>
                      <a:pt x="456" y="480"/>
                    </a:lnTo>
                    <a:lnTo>
                      <a:pt x="438" y="492"/>
                    </a:lnTo>
                    <a:lnTo>
                      <a:pt x="432" y="498"/>
                    </a:lnTo>
                    <a:lnTo>
                      <a:pt x="420" y="504"/>
                    </a:lnTo>
                    <a:lnTo>
                      <a:pt x="414" y="504"/>
                    </a:lnTo>
                    <a:lnTo>
                      <a:pt x="414" y="516"/>
                    </a:lnTo>
                    <a:lnTo>
                      <a:pt x="420" y="522"/>
                    </a:lnTo>
                    <a:lnTo>
                      <a:pt x="420" y="534"/>
                    </a:lnTo>
                    <a:lnTo>
                      <a:pt x="396" y="540"/>
                    </a:lnTo>
                    <a:lnTo>
                      <a:pt x="390" y="528"/>
                    </a:lnTo>
                    <a:lnTo>
                      <a:pt x="390" y="516"/>
                    </a:lnTo>
                    <a:lnTo>
                      <a:pt x="390" y="528"/>
                    </a:lnTo>
                    <a:lnTo>
                      <a:pt x="396" y="540"/>
                    </a:lnTo>
                    <a:lnTo>
                      <a:pt x="396" y="546"/>
                    </a:lnTo>
                    <a:lnTo>
                      <a:pt x="408" y="552"/>
                    </a:lnTo>
                    <a:lnTo>
                      <a:pt x="438" y="552"/>
                    </a:lnTo>
                    <a:lnTo>
                      <a:pt x="444" y="546"/>
                    </a:lnTo>
                    <a:lnTo>
                      <a:pt x="450" y="546"/>
                    </a:lnTo>
                    <a:lnTo>
                      <a:pt x="456" y="540"/>
                    </a:lnTo>
                    <a:lnTo>
                      <a:pt x="474" y="540"/>
                    </a:lnTo>
                    <a:lnTo>
                      <a:pt x="480" y="534"/>
                    </a:lnTo>
                    <a:lnTo>
                      <a:pt x="486" y="534"/>
                    </a:lnTo>
                    <a:lnTo>
                      <a:pt x="480" y="528"/>
                    </a:lnTo>
                    <a:lnTo>
                      <a:pt x="486" y="528"/>
                    </a:lnTo>
                    <a:lnTo>
                      <a:pt x="492" y="522"/>
                    </a:lnTo>
                    <a:lnTo>
                      <a:pt x="510" y="516"/>
                    </a:lnTo>
                    <a:lnTo>
                      <a:pt x="522" y="510"/>
                    </a:lnTo>
                    <a:lnTo>
                      <a:pt x="528" y="504"/>
                    </a:lnTo>
                    <a:lnTo>
                      <a:pt x="534" y="492"/>
                    </a:lnTo>
                    <a:lnTo>
                      <a:pt x="540" y="486"/>
                    </a:lnTo>
                    <a:lnTo>
                      <a:pt x="546" y="474"/>
                    </a:lnTo>
                    <a:lnTo>
                      <a:pt x="552" y="468"/>
                    </a:lnTo>
                    <a:lnTo>
                      <a:pt x="552" y="462"/>
                    </a:lnTo>
                    <a:lnTo>
                      <a:pt x="582" y="450"/>
                    </a:lnTo>
                    <a:lnTo>
                      <a:pt x="600" y="438"/>
                    </a:lnTo>
                    <a:lnTo>
                      <a:pt x="612" y="444"/>
                    </a:lnTo>
                    <a:lnTo>
                      <a:pt x="624" y="444"/>
                    </a:lnTo>
                    <a:lnTo>
                      <a:pt x="636" y="450"/>
                    </a:lnTo>
                    <a:lnTo>
                      <a:pt x="654" y="450"/>
                    </a:lnTo>
                    <a:lnTo>
                      <a:pt x="666" y="438"/>
                    </a:lnTo>
                    <a:lnTo>
                      <a:pt x="648" y="462"/>
                    </a:lnTo>
                    <a:lnTo>
                      <a:pt x="624" y="462"/>
                    </a:lnTo>
                    <a:lnTo>
                      <a:pt x="630" y="468"/>
                    </a:lnTo>
                    <a:lnTo>
                      <a:pt x="642" y="474"/>
                    </a:lnTo>
                    <a:lnTo>
                      <a:pt x="654" y="486"/>
                    </a:lnTo>
                    <a:lnTo>
                      <a:pt x="726" y="486"/>
                    </a:lnTo>
                    <a:lnTo>
                      <a:pt x="738" y="504"/>
                    </a:lnTo>
                    <a:lnTo>
                      <a:pt x="726" y="510"/>
                    </a:lnTo>
                    <a:lnTo>
                      <a:pt x="720" y="516"/>
                    </a:lnTo>
                    <a:lnTo>
                      <a:pt x="684" y="534"/>
                    </a:lnTo>
                    <a:lnTo>
                      <a:pt x="678" y="540"/>
                    </a:lnTo>
                    <a:lnTo>
                      <a:pt x="678" y="546"/>
                    </a:lnTo>
                    <a:lnTo>
                      <a:pt x="684" y="546"/>
                    </a:lnTo>
                    <a:lnTo>
                      <a:pt x="690" y="552"/>
                    </a:lnTo>
                    <a:lnTo>
                      <a:pt x="720" y="552"/>
                    </a:lnTo>
                    <a:lnTo>
                      <a:pt x="732" y="558"/>
                    </a:lnTo>
                    <a:lnTo>
                      <a:pt x="744" y="570"/>
                    </a:lnTo>
                    <a:lnTo>
                      <a:pt x="744" y="594"/>
                    </a:lnTo>
                    <a:lnTo>
                      <a:pt x="738" y="606"/>
                    </a:lnTo>
                    <a:lnTo>
                      <a:pt x="738" y="618"/>
                    </a:lnTo>
                    <a:lnTo>
                      <a:pt x="756" y="618"/>
                    </a:lnTo>
                    <a:lnTo>
                      <a:pt x="768" y="624"/>
                    </a:lnTo>
                    <a:lnTo>
                      <a:pt x="780" y="624"/>
                    </a:lnTo>
                    <a:lnTo>
                      <a:pt x="780" y="618"/>
                    </a:lnTo>
                    <a:lnTo>
                      <a:pt x="792" y="606"/>
                    </a:lnTo>
                    <a:lnTo>
                      <a:pt x="804" y="600"/>
                    </a:lnTo>
                    <a:lnTo>
                      <a:pt x="810" y="594"/>
                    </a:lnTo>
                    <a:lnTo>
                      <a:pt x="840" y="594"/>
                    </a:lnTo>
                    <a:lnTo>
                      <a:pt x="858" y="576"/>
                    </a:lnTo>
                    <a:lnTo>
                      <a:pt x="858" y="570"/>
                    </a:lnTo>
                    <a:lnTo>
                      <a:pt x="864" y="564"/>
                    </a:lnTo>
                    <a:lnTo>
                      <a:pt x="870" y="564"/>
                    </a:lnTo>
                    <a:lnTo>
                      <a:pt x="882" y="576"/>
                    </a:lnTo>
                    <a:lnTo>
                      <a:pt x="918" y="570"/>
                    </a:lnTo>
                    <a:lnTo>
                      <a:pt x="918" y="552"/>
                    </a:lnTo>
                    <a:lnTo>
                      <a:pt x="930" y="540"/>
                    </a:lnTo>
                    <a:lnTo>
                      <a:pt x="900" y="540"/>
                    </a:lnTo>
                    <a:lnTo>
                      <a:pt x="894" y="546"/>
                    </a:lnTo>
                    <a:lnTo>
                      <a:pt x="882" y="552"/>
                    </a:lnTo>
                    <a:lnTo>
                      <a:pt x="852" y="552"/>
                    </a:lnTo>
                    <a:lnTo>
                      <a:pt x="846" y="546"/>
                    </a:lnTo>
                    <a:lnTo>
                      <a:pt x="834" y="540"/>
                    </a:lnTo>
                    <a:lnTo>
                      <a:pt x="828" y="534"/>
                    </a:lnTo>
                    <a:lnTo>
                      <a:pt x="828" y="522"/>
                    </a:lnTo>
                    <a:lnTo>
                      <a:pt x="822" y="516"/>
                    </a:lnTo>
                    <a:lnTo>
                      <a:pt x="810" y="516"/>
                    </a:lnTo>
                    <a:lnTo>
                      <a:pt x="786" y="498"/>
                    </a:lnTo>
                    <a:lnTo>
                      <a:pt x="750" y="492"/>
                    </a:lnTo>
                    <a:lnTo>
                      <a:pt x="744" y="480"/>
                    </a:lnTo>
                    <a:lnTo>
                      <a:pt x="810" y="480"/>
                    </a:lnTo>
                    <a:lnTo>
                      <a:pt x="822" y="474"/>
                    </a:lnTo>
                    <a:lnTo>
                      <a:pt x="834" y="462"/>
                    </a:lnTo>
                    <a:lnTo>
                      <a:pt x="846" y="468"/>
                    </a:lnTo>
                    <a:lnTo>
                      <a:pt x="852" y="462"/>
                    </a:lnTo>
                    <a:lnTo>
                      <a:pt x="864" y="456"/>
                    </a:lnTo>
                    <a:lnTo>
                      <a:pt x="870" y="450"/>
                    </a:lnTo>
                    <a:lnTo>
                      <a:pt x="882" y="444"/>
                    </a:lnTo>
                    <a:lnTo>
                      <a:pt x="906" y="444"/>
                    </a:lnTo>
                    <a:lnTo>
                      <a:pt x="918" y="438"/>
                    </a:lnTo>
                    <a:lnTo>
                      <a:pt x="930" y="438"/>
                    </a:lnTo>
                    <a:lnTo>
                      <a:pt x="978" y="408"/>
                    </a:lnTo>
                    <a:lnTo>
                      <a:pt x="1014" y="408"/>
                    </a:lnTo>
                    <a:lnTo>
                      <a:pt x="1014" y="372"/>
                    </a:lnTo>
                    <a:lnTo>
                      <a:pt x="1032" y="372"/>
                    </a:lnTo>
                    <a:lnTo>
                      <a:pt x="1038" y="366"/>
                    </a:lnTo>
                    <a:lnTo>
                      <a:pt x="1038" y="360"/>
                    </a:lnTo>
                    <a:lnTo>
                      <a:pt x="1050" y="348"/>
                    </a:lnTo>
                    <a:lnTo>
                      <a:pt x="1080" y="348"/>
                    </a:lnTo>
                    <a:lnTo>
                      <a:pt x="1092" y="342"/>
                    </a:lnTo>
                    <a:lnTo>
                      <a:pt x="1104" y="342"/>
                    </a:lnTo>
                    <a:lnTo>
                      <a:pt x="1116" y="330"/>
                    </a:lnTo>
                    <a:lnTo>
                      <a:pt x="1116" y="324"/>
                    </a:lnTo>
                    <a:lnTo>
                      <a:pt x="1110" y="312"/>
                    </a:lnTo>
                    <a:lnTo>
                      <a:pt x="1110" y="300"/>
                    </a:lnTo>
                    <a:lnTo>
                      <a:pt x="1098" y="294"/>
                    </a:lnTo>
                    <a:lnTo>
                      <a:pt x="1086" y="282"/>
                    </a:lnTo>
                    <a:lnTo>
                      <a:pt x="1092" y="276"/>
                    </a:lnTo>
                    <a:lnTo>
                      <a:pt x="1110" y="276"/>
                    </a:lnTo>
                    <a:lnTo>
                      <a:pt x="1116" y="270"/>
                    </a:lnTo>
                    <a:lnTo>
                      <a:pt x="1110" y="264"/>
                    </a:lnTo>
                    <a:lnTo>
                      <a:pt x="1104" y="264"/>
                    </a:lnTo>
                    <a:lnTo>
                      <a:pt x="1098" y="258"/>
                    </a:lnTo>
                    <a:lnTo>
                      <a:pt x="1092" y="258"/>
                    </a:lnTo>
                    <a:lnTo>
                      <a:pt x="1110" y="246"/>
                    </a:lnTo>
                    <a:lnTo>
                      <a:pt x="1110" y="222"/>
                    </a:lnTo>
                    <a:lnTo>
                      <a:pt x="1104" y="216"/>
                    </a:lnTo>
                    <a:lnTo>
                      <a:pt x="1080" y="216"/>
                    </a:lnTo>
                    <a:lnTo>
                      <a:pt x="1062" y="204"/>
                    </a:lnTo>
                    <a:lnTo>
                      <a:pt x="1056" y="198"/>
                    </a:lnTo>
                    <a:lnTo>
                      <a:pt x="1056" y="192"/>
                    </a:lnTo>
                    <a:lnTo>
                      <a:pt x="1014" y="192"/>
                    </a:lnTo>
                    <a:lnTo>
                      <a:pt x="1002" y="186"/>
                    </a:lnTo>
                    <a:lnTo>
                      <a:pt x="996" y="180"/>
                    </a:lnTo>
                    <a:lnTo>
                      <a:pt x="978" y="180"/>
                    </a:lnTo>
                    <a:lnTo>
                      <a:pt x="966" y="186"/>
                    </a:lnTo>
                    <a:lnTo>
                      <a:pt x="942" y="162"/>
                    </a:lnTo>
                    <a:lnTo>
                      <a:pt x="936" y="150"/>
                    </a:lnTo>
                    <a:lnTo>
                      <a:pt x="924" y="150"/>
                    </a:lnTo>
                    <a:lnTo>
                      <a:pt x="918" y="156"/>
                    </a:lnTo>
                    <a:lnTo>
                      <a:pt x="918" y="162"/>
                    </a:lnTo>
                    <a:lnTo>
                      <a:pt x="912" y="156"/>
                    </a:lnTo>
                    <a:lnTo>
                      <a:pt x="864" y="156"/>
                    </a:lnTo>
                    <a:lnTo>
                      <a:pt x="858" y="150"/>
                    </a:lnTo>
                    <a:lnTo>
                      <a:pt x="846" y="150"/>
                    </a:lnTo>
                    <a:lnTo>
                      <a:pt x="840" y="144"/>
                    </a:lnTo>
                    <a:lnTo>
                      <a:pt x="816" y="150"/>
                    </a:lnTo>
                    <a:lnTo>
                      <a:pt x="810" y="150"/>
                    </a:lnTo>
                    <a:lnTo>
                      <a:pt x="798" y="102"/>
                    </a:lnTo>
                    <a:lnTo>
                      <a:pt x="756" y="84"/>
                    </a:lnTo>
                    <a:lnTo>
                      <a:pt x="720" y="84"/>
                    </a:lnTo>
                    <a:lnTo>
                      <a:pt x="720" y="66"/>
                    </a:lnTo>
                    <a:lnTo>
                      <a:pt x="714" y="48"/>
                    </a:lnTo>
                    <a:lnTo>
                      <a:pt x="720" y="48"/>
                    </a:lnTo>
                    <a:lnTo>
                      <a:pt x="726" y="42"/>
                    </a:lnTo>
                    <a:lnTo>
                      <a:pt x="726" y="30"/>
                    </a:lnTo>
                    <a:lnTo>
                      <a:pt x="720" y="30"/>
                    </a:lnTo>
                    <a:lnTo>
                      <a:pt x="708" y="24"/>
                    </a:lnTo>
                    <a:lnTo>
                      <a:pt x="702" y="18"/>
                    </a:lnTo>
                    <a:lnTo>
                      <a:pt x="696" y="18"/>
                    </a:lnTo>
                    <a:lnTo>
                      <a:pt x="690" y="0"/>
                    </a:lnTo>
                    <a:lnTo>
                      <a:pt x="642" y="0"/>
                    </a:lnTo>
                    <a:lnTo>
                      <a:pt x="630" y="6"/>
                    </a:lnTo>
                    <a:lnTo>
                      <a:pt x="600" y="6"/>
                    </a:lnTo>
                    <a:lnTo>
                      <a:pt x="600" y="18"/>
                    </a:lnTo>
                    <a:lnTo>
                      <a:pt x="594" y="24"/>
                    </a:lnTo>
                    <a:lnTo>
                      <a:pt x="558" y="24"/>
                    </a:lnTo>
                    <a:lnTo>
                      <a:pt x="546" y="18"/>
                    </a:lnTo>
                    <a:lnTo>
                      <a:pt x="516" y="18"/>
                    </a:lnTo>
                    <a:lnTo>
                      <a:pt x="510" y="30"/>
                    </a:lnTo>
                    <a:lnTo>
                      <a:pt x="498" y="36"/>
                    </a:lnTo>
                    <a:lnTo>
                      <a:pt x="492" y="42"/>
                    </a:lnTo>
                    <a:lnTo>
                      <a:pt x="486" y="54"/>
                    </a:lnTo>
                    <a:lnTo>
                      <a:pt x="492" y="60"/>
                    </a:lnTo>
                    <a:lnTo>
                      <a:pt x="492" y="72"/>
                    </a:lnTo>
                    <a:lnTo>
                      <a:pt x="486" y="78"/>
                    </a:lnTo>
                    <a:lnTo>
                      <a:pt x="468" y="78"/>
                    </a:lnTo>
                    <a:lnTo>
                      <a:pt x="462" y="72"/>
                    </a:lnTo>
                    <a:lnTo>
                      <a:pt x="438" y="72"/>
                    </a:lnTo>
                    <a:lnTo>
                      <a:pt x="426" y="78"/>
                    </a:lnTo>
                    <a:lnTo>
                      <a:pt x="420" y="78"/>
                    </a:lnTo>
                    <a:lnTo>
                      <a:pt x="420" y="66"/>
                    </a:lnTo>
                    <a:lnTo>
                      <a:pt x="414" y="60"/>
                    </a:lnTo>
                    <a:lnTo>
                      <a:pt x="396" y="60"/>
                    </a:lnTo>
                    <a:lnTo>
                      <a:pt x="390" y="66"/>
                    </a:lnTo>
                    <a:lnTo>
                      <a:pt x="390" y="72"/>
                    </a:lnTo>
                    <a:lnTo>
                      <a:pt x="378" y="60"/>
                    </a:lnTo>
                    <a:lnTo>
                      <a:pt x="366" y="66"/>
                    </a:lnTo>
                    <a:lnTo>
                      <a:pt x="360" y="60"/>
                    </a:lnTo>
                    <a:lnTo>
                      <a:pt x="342" y="66"/>
                    </a:lnTo>
                    <a:lnTo>
                      <a:pt x="336" y="54"/>
                    </a:lnTo>
                    <a:lnTo>
                      <a:pt x="324" y="66"/>
                    </a:lnTo>
                    <a:lnTo>
                      <a:pt x="306" y="54"/>
                    </a:lnTo>
                    <a:lnTo>
                      <a:pt x="300" y="60"/>
                    </a:lnTo>
                    <a:lnTo>
                      <a:pt x="282" y="48"/>
                    </a:lnTo>
                    <a:lnTo>
                      <a:pt x="258" y="42"/>
                    </a:lnTo>
                    <a:lnTo>
                      <a:pt x="222" y="42"/>
                    </a:lnTo>
                    <a:lnTo>
                      <a:pt x="216" y="36"/>
                    </a:lnTo>
                    <a:lnTo>
                      <a:pt x="216" y="30"/>
                    </a:lnTo>
                    <a:lnTo>
                      <a:pt x="168" y="30"/>
                    </a:lnTo>
                    <a:lnTo>
                      <a:pt x="162" y="36"/>
                    </a:lnTo>
                    <a:lnTo>
                      <a:pt x="150" y="42"/>
                    </a:lnTo>
                    <a:lnTo>
                      <a:pt x="114" y="42"/>
                    </a:lnTo>
                    <a:lnTo>
                      <a:pt x="114" y="48"/>
                    </a:lnTo>
                    <a:lnTo>
                      <a:pt x="96" y="66"/>
                    </a:lnTo>
                    <a:lnTo>
                      <a:pt x="78" y="66"/>
                    </a:lnTo>
                    <a:lnTo>
                      <a:pt x="66" y="60"/>
                    </a:lnTo>
                    <a:lnTo>
                      <a:pt x="72" y="78"/>
                    </a:lnTo>
                    <a:lnTo>
                      <a:pt x="90" y="96"/>
                    </a:lnTo>
                    <a:lnTo>
                      <a:pt x="90" y="102"/>
                    </a:lnTo>
                    <a:lnTo>
                      <a:pt x="102" y="108"/>
                    </a:lnTo>
                    <a:lnTo>
                      <a:pt x="108" y="114"/>
                    </a:lnTo>
                    <a:lnTo>
                      <a:pt x="102" y="126"/>
                    </a:lnTo>
                    <a:lnTo>
                      <a:pt x="108" y="132"/>
                    </a:lnTo>
                    <a:lnTo>
                      <a:pt x="108" y="138"/>
                    </a:lnTo>
                    <a:lnTo>
                      <a:pt x="114" y="144"/>
                    </a:lnTo>
                    <a:lnTo>
                      <a:pt x="108" y="150"/>
                    </a:lnTo>
                    <a:lnTo>
                      <a:pt x="102" y="150"/>
                    </a:lnTo>
                    <a:lnTo>
                      <a:pt x="96" y="156"/>
                    </a:lnTo>
                    <a:lnTo>
                      <a:pt x="84" y="156"/>
                    </a:lnTo>
                    <a:lnTo>
                      <a:pt x="30" y="204"/>
                    </a:lnTo>
                    <a:lnTo>
                      <a:pt x="30" y="246"/>
                    </a:lnTo>
                    <a:lnTo>
                      <a:pt x="42" y="258"/>
                    </a:lnTo>
                    <a:lnTo>
                      <a:pt x="18" y="258"/>
                    </a:lnTo>
                    <a:lnTo>
                      <a:pt x="18" y="270"/>
                    </a:lnTo>
                    <a:lnTo>
                      <a:pt x="12" y="276"/>
                    </a:lnTo>
                    <a:lnTo>
                      <a:pt x="12" y="282"/>
                    </a:lnTo>
                    <a:lnTo>
                      <a:pt x="6" y="288"/>
                    </a:lnTo>
                    <a:lnTo>
                      <a:pt x="0" y="288"/>
                    </a:lnTo>
                    <a:lnTo>
                      <a:pt x="0" y="306"/>
                    </a:lnTo>
                    <a:lnTo>
                      <a:pt x="6" y="306"/>
                    </a:lnTo>
                    <a:lnTo>
                      <a:pt x="24" y="324"/>
                    </a:lnTo>
                    <a:close/>
                  </a:path>
                </a:pathLst>
              </a:custGeom>
              <a:grpFill/>
              <a:ln w="3175">
                <a:solidFill>
                  <a:schemeClr val="bg1"/>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de-DE" sz="1800" b="0" i="0" u="none" strike="noStrike" kern="1200" cap="none" spc="0" normalizeH="0" baseline="0" noProof="0">
                  <a:ln>
                    <a:noFill/>
                  </a:ln>
                  <a:solidFill>
                    <a:srgbClr val="FFC000"/>
                  </a:solidFill>
                  <a:effectLst/>
                  <a:uLnTx/>
                  <a:uFillTx/>
                  <a:latin typeface="Calibri" pitchFamily="34" charset="0"/>
                  <a:ea typeface="+mn-ea"/>
                  <a:cs typeface="+mn-cs"/>
                </a:endParaRPr>
              </a:p>
            </p:txBody>
          </p:sp>
          <p:sp>
            <p:nvSpPr>
              <p:cNvPr id="196" name="Romania" descr="© INSCALE GmbH, 05.05.2010&#10;http://www.presentationload.com/"/>
              <p:cNvSpPr>
                <a:spLocks/>
              </p:cNvSpPr>
              <p:nvPr/>
            </p:nvSpPr>
            <p:spPr bwMode="gray">
              <a:xfrm>
                <a:off x="4907285" y="3099827"/>
                <a:ext cx="199655" cy="113905"/>
              </a:xfrm>
              <a:custGeom>
                <a:avLst/>
                <a:gdLst>
                  <a:gd name="T0" fmla="*/ 2147483647 w 612"/>
                  <a:gd name="T1" fmla="*/ 2147483647 h 366"/>
                  <a:gd name="T2" fmla="*/ 2147483647 w 612"/>
                  <a:gd name="T3" fmla="*/ 2147483647 h 366"/>
                  <a:gd name="T4" fmla="*/ 2147483647 w 612"/>
                  <a:gd name="T5" fmla="*/ 2147483647 h 366"/>
                  <a:gd name="T6" fmla="*/ 2147483647 w 612"/>
                  <a:gd name="T7" fmla="*/ 2147483647 h 366"/>
                  <a:gd name="T8" fmla="*/ 2147483647 w 612"/>
                  <a:gd name="T9" fmla="*/ 2147483647 h 366"/>
                  <a:gd name="T10" fmla="*/ 2147483647 w 612"/>
                  <a:gd name="T11" fmla="*/ 2147483647 h 366"/>
                  <a:gd name="T12" fmla="*/ 2147483647 w 612"/>
                  <a:gd name="T13" fmla="*/ 2147483647 h 366"/>
                  <a:gd name="T14" fmla="*/ 2147483647 w 612"/>
                  <a:gd name="T15" fmla="*/ 2147483647 h 366"/>
                  <a:gd name="T16" fmla="*/ 2147483647 w 612"/>
                  <a:gd name="T17" fmla="*/ 2147483647 h 366"/>
                  <a:gd name="T18" fmla="*/ 2147483647 w 612"/>
                  <a:gd name="T19" fmla="*/ 2147483647 h 366"/>
                  <a:gd name="T20" fmla="*/ 2147483647 w 612"/>
                  <a:gd name="T21" fmla="*/ 2147483647 h 366"/>
                  <a:gd name="T22" fmla="*/ 2147483647 w 612"/>
                  <a:gd name="T23" fmla="*/ 2147483647 h 366"/>
                  <a:gd name="T24" fmla="*/ 2147483647 w 612"/>
                  <a:gd name="T25" fmla="*/ 2147483647 h 366"/>
                  <a:gd name="T26" fmla="*/ 2147483647 w 612"/>
                  <a:gd name="T27" fmla="*/ 0 h 366"/>
                  <a:gd name="T28" fmla="*/ 2147483647 w 612"/>
                  <a:gd name="T29" fmla="*/ 2147483647 h 366"/>
                  <a:gd name="T30" fmla="*/ 2147483647 w 612"/>
                  <a:gd name="T31" fmla="*/ 2147483647 h 366"/>
                  <a:gd name="T32" fmla="*/ 2147483647 w 612"/>
                  <a:gd name="T33" fmla="*/ 2147483647 h 366"/>
                  <a:gd name="T34" fmla="*/ 2147483647 w 612"/>
                  <a:gd name="T35" fmla="*/ 2147483647 h 366"/>
                  <a:gd name="T36" fmla="*/ 2147483647 w 612"/>
                  <a:gd name="T37" fmla="*/ 2147483647 h 366"/>
                  <a:gd name="T38" fmla="*/ 2147483647 w 612"/>
                  <a:gd name="T39" fmla="*/ 2147483647 h 366"/>
                  <a:gd name="T40" fmla="*/ 2147483647 w 612"/>
                  <a:gd name="T41" fmla="*/ 2147483647 h 366"/>
                  <a:gd name="T42" fmla="*/ 2147483647 w 612"/>
                  <a:gd name="T43" fmla="*/ 2147483647 h 366"/>
                  <a:gd name="T44" fmla="*/ 2147483647 w 612"/>
                  <a:gd name="T45" fmla="*/ 2147483647 h 366"/>
                  <a:gd name="T46" fmla="*/ 2147483647 w 612"/>
                  <a:gd name="T47" fmla="*/ 2147483647 h 366"/>
                  <a:gd name="T48" fmla="*/ 0 w 612"/>
                  <a:gd name="T49" fmla="*/ 2147483647 h 366"/>
                  <a:gd name="T50" fmla="*/ 2147483647 w 612"/>
                  <a:gd name="T51" fmla="*/ 2147483647 h 366"/>
                  <a:gd name="T52" fmla="*/ 2147483647 w 612"/>
                  <a:gd name="T53" fmla="*/ 2147483647 h 366"/>
                  <a:gd name="T54" fmla="*/ 2147483647 w 612"/>
                  <a:gd name="T55" fmla="*/ 2147483647 h 366"/>
                  <a:gd name="T56" fmla="*/ 2147483647 w 612"/>
                  <a:gd name="T57" fmla="*/ 2147483647 h 366"/>
                  <a:gd name="T58" fmla="*/ 2147483647 w 612"/>
                  <a:gd name="T59" fmla="*/ 2147483647 h 366"/>
                  <a:gd name="T60" fmla="*/ 2147483647 w 612"/>
                  <a:gd name="T61" fmla="*/ 2147483647 h 366"/>
                  <a:gd name="T62" fmla="*/ 2147483647 w 612"/>
                  <a:gd name="T63" fmla="*/ 2147483647 h 366"/>
                  <a:gd name="T64" fmla="*/ 2147483647 w 612"/>
                  <a:gd name="T65" fmla="*/ 2147483647 h 366"/>
                  <a:gd name="T66" fmla="*/ 2147483647 w 612"/>
                  <a:gd name="T67" fmla="*/ 2147483647 h 366"/>
                  <a:gd name="T68" fmla="*/ 2147483647 w 612"/>
                  <a:gd name="T69" fmla="*/ 2147483647 h 366"/>
                  <a:gd name="T70" fmla="*/ 2147483647 w 612"/>
                  <a:gd name="T71" fmla="*/ 2147483647 h 366"/>
                  <a:gd name="T72" fmla="*/ 2147483647 w 612"/>
                  <a:gd name="T73" fmla="*/ 2147483647 h 366"/>
                  <a:gd name="T74" fmla="*/ 2147483647 w 612"/>
                  <a:gd name="T75" fmla="*/ 2147483647 h 366"/>
                  <a:gd name="T76" fmla="*/ 2147483647 w 612"/>
                  <a:gd name="T77" fmla="*/ 2147483647 h 366"/>
                  <a:gd name="T78" fmla="*/ 2147483647 w 612"/>
                  <a:gd name="T79" fmla="*/ 2147483647 h 366"/>
                  <a:gd name="T80" fmla="*/ 2147483647 w 612"/>
                  <a:gd name="T81" fmla="*/ 2147483647 h 366"/>
                  <a:gd name="T82" fmla="*/ 2147483647 w 612"/>
                  <a:gd name="T83" fmla="*/ 2147483647 h 366"/>
                  <a:gd name="T84" fmla="*/ 2147483647 w 612"/>
                  <a:gd name="T85" fmla="*/ 2147483647 h 36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612"/>
                  <a:gd name="T130" fmla="*/ 0 h 366"/>
                  <a:gd name="T131" fmla="*/ 612 w 612"/>
                  <a:gd name="T132" fmla="*/ 366 h 36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612" h="366">
                    <a:moveTo>
                      <a:pt x="516" y="354"/>
                    </a:moveTo>
                    <a:lnTo>
                      <a:pt x="522" y="360"/>
                    </a:lnTo>
                    <a:lnTo>
                      <a:pt x="540" y="360"/>
                    </a:lnTo>
                    <a:lnTo>
                      <a:pt x="540" y="318"/>
                    </a:lnTo>
                    <a:lnTo>
                      <a:pt x="546" y="312"/>
                    </a:lnTo>
                    <a:lnTo>
                      <a:pt x="558" y="294"/>
                    </a:lnTo>
                    <a:lnTo>
                      <a:pt x="564" y="282"/>
                    </a:lnTo>
                    <a:lnTo>
                      <a:pt x="570" y="276"/>
                    </a:lnTo>
                    <a:lnTo>
                      <a:pt x="606" y="276"/>
                    </a:lnTo>
                    <a:lnTo>
                      <a:pt x="612" y="270"/>
                    </a:lnTo>
                    <a:lnTo>
                      <a:pt x="612" y="258"/>
                    </a:lnTo>
                    <a:lnTo>
                      <a:pt x="600" y="222"/>
                    </a:lnTo>
                    <a:lnTo>
                      <a:pt x="600" y="216"/>
                    </a:lnTo>
                    <a:lnTo>
                      <a:pt x="594" y="216"/>
                    </a:lnTo>
                    <a:lnTo>
                      <a:pt x="588" y="222"/>
                    </a:lnTo>
                    <a:lnTo>
                      <a:pt x="570" y="222"/>
                    </a:lnTo>
                    <a:lnTo>
                      <a:pt x="564" y="228"/>
                    </a:lnTo>
                    <a:lnTo>
                      <a:pt x="558" y="228"/>
                    </a:lnTo>
                    <a:lnTo>
                      <a:pt x="552" y="234"/>
                    </a:lnTo>
                    <a:lnTo>
                      <a:pt x="522" y="234"/>
                    </a:lnTo>
                    <a:lnTo>
                      <a:pt x="510" y="222"/>
                    </a:lnTo>
                    <a:lnTo>
                      <a:pt x="510" y="198"/>
                    </a:lnTo>
                    <a:lnTo>
                      <a:pt x="504" y="192"/>
                    </a:lnTo>
                    <a:lnTo>
                      <a:pt x="498" y="180"/>
                    </a:lnTo>
                    <a:lnTo>
                      <a:pt x="498" y="168"/>
                    </a:lnTo>
                    <a:lnTo>
                      <a:pt x="504" y="162"/>
                    </a:lnTo>
                    <a:lnTo>
                      <a:pt x="504" y="150"/>
                    </a:lnTo>
                    <a:lnTo>
                      <a:pt x="510" y="144"/>
                    </a:lnTo>
                    <a:lnTo>
                      <a:pt x="504" y="144"/>
                    </a:lnTo>
                    <a:lnTo>
                      <a:pt x="504" y="102"/>
                    </a:lnTo>
                    <a:lnTo>
                      <a:pt x="498" y="96"/>
                    </a:lnTo>
                    <a:lnTo>
                      <a:pt x="480" y="96"/>
                    </a:lnTo>
                    <a:lnTo>
                      <a:pt x="474" y="78"/>
                    </a:lnTo>
                    <a:lnTo>
                      <a:pt x="462" y="78"/>
                    </a:lnTo>
                    <a:lnTo>
                      <a:pt x="456" y="54"/>
                    </a:lnTo>
                    <a:lnTo>
                      <a:pt x="432" y="42"/>
                    </a:lnTo>
                    <a:lnTo>
                      <a:pt x="432" y="30"/>
                    </a:lnTo>
                    <a:lnTo>
                      <a:pt x="426" y="24"/>
                    </a:lnTo>
                    <a:lnTo>
                      <a:pt x="420" y="12"/>
                    </a:lnTo>
                    <a:lnTo>
                      <a:pt x="414" y="6"/>
                    </a:lnTo>
                    <a:lnTo>
                      <a:pt x="396" y="0"/>
                    </a:lnTo>
                    <a:lnTo>
                      <a:pt x="384" y="0"/>
                    </a:lnTo>
                    <a:lnTo>
                      <a:pt x="378" y="6"/>
                    </a:lnTo>
                    <a:lnTo>
                      <a:pt x="378" y="12"/>
                    </a:lnTo>
                    <a:lnTo>
                      <a:pt x="366" y="24"/>
                    </a:lnTo>
                    <a:lnTo>
                      <a:pt x="348" y="24"/>
                    </a:lnTo>
                    <a:lnTo>
                      <a:pt x="342" y="18"/>
                    </a:lnTo>
                    <a:lnTo>
                      <a:pt x="336" y="30"/>
                    </a:lnTo>
                    <a:lnTo>
                      <a:pt x="312" y="24"/>
                    </a:lnTo>
                    <a:lnTo>
                      <a:pt x="312" y="30"/>
                    </a:lnTo>
                    <a:lnTo>
                      <a:pt x="300" y="42"/>
                    </a:lnTo>
                    <a:lnTo>
                      <a:pt x="288" y="42"/>
                    </a:lnTo>
                    <a:lnTo>
                      <a:pt x="264" y="18"/>
                    </a:lnTo>
                    <a:lnTo>
                      <a:pt x="258" y="18"/>
                    </a:lnTo>
                    <a:lnTo>
                      <a:pt x="246" y="24"/>
                    </a:lnTo>
                    <a:lnTo>
                      <a:pt x="240" y="24"/>
                    </a:lnTo>
                    <a:lnTo>
                      <a:pt x="228" y="30"/>
                    </a:lnTo>
                    <a:lnTo>
                      <a:pt x="222" y="24"/>
                    </a:lnTo>
                    <a:lnTo>
                      <a:pt x="198" y="24"/>
                    </a:lnTo>
                    <a:lnTo>
                      <a:pt x="192" y="18"/>
                    </a:lnTo>
                    <a:lnTo>
                      <a:pt x="168" y="18"/>
                    </a:lnTo>
                    <a:lnTo>
                      <a:pt x="150" y="36"/>
                    </a:lnTo>
                    <a:lnTo>
                      <a:pt x="120" y="36"/>
                    </a:lnTo>
                    <a:lnTo>
                      <a:pt x="108" y="48"/>
                    </a:lnTo>
                    <a:lnTo>
                      <a:pt x="108" y="90"/>
                    </a:lnTo>
                    <a:lnTo>
                      <a:pt x="90" y="108"/>
                    </a:lnTo>
                    <a:lnTo>
                      <a:pt x="78" y="114"/>
                    </a:lnTo>
                    <a:lnTo>
                      <a:pt x="72" y="120"/>
                    </a:lnTo>
                    <a:lnTo>
                      <a:pt x="72" y="138"/>
                    </a:lnTo>
                    <a:lnTo>
                      <a:pt x="66" y="144"/>
                    </a:lnTo>
                    <a:lnTo>
                      <a:pt x="54" y="150"/>
                    </a:lnTo>
                    <a:lnTo>
                      <a:pt x="48" y="156"/>
                    </a:lnTo>
                    <a:lnTo>
                      <a:pt x="30" y="150"/>
                    </a:lnTo>
                    <a:lnTo>
                      <a:pt x="30" y="168"/>
                    </a:lnTo>
                    <a:lnTo>
                      <a:pt x="0" y="174"/>
                    </a:lnTo>
                    <a:lnTo>
                      <a:pt x="6" y="174"/>
                    </a:lnTo>
                    <a:lnTo>
                      <a:pt x="30" y="192"/>
                    </a:lnTo>
                    <a:lnTo>
                      <a:pt x="36" y="192"/>
                    </a:lnTo>
                    <a:lnTo>
                      <a:pt x="48" y="228"/>
                    </a:lnTo>
                    <a:lnTo>
                      <a:pt x="54" y="234"/>
                    </a:lnTo>
                    <a:lnTo>
                      <a:pt x="60" y="234"/>
                    </a:lnTo>
                    <a:lnTo>
                      <a:pt x="66" y="228"/>
                    </a:lnTo>
                    <a:lnTo>
                      <a:pt x="72" y="228"/>
                    </a:lnTo>
                    <a:lnTo>
                      <a:pt x="84" y="234"/>
                    </a:lnTo>
                    <a:lnTo>
                      <a:pt x="84" y="252"/>
                    </a:lnTo>
                    <a:lnTo>
                      <a:pt x="78" y="258"/>
                    </a:lnTo>
                    <a:lnTo>
                      <a:pt x="90" y="276"/>
                    </a:lnTo>
                    <a:lnTo>
                      <a:pt x="114" y="282"/>
                    </a:lnTo>
                    <a:lnTo>
                      <a:pt x="120" y="288"/>
                    </a:lnTo>
                    <a:lnTo>
                      <a:pt x="144" y="282"/>
                    </a:lnTo>
                    <a:lnTo>
                      <a:pt x="168" y="288"/>
                    </a:lnTo>
                    <a:lnTo>
                      <a:pt x="162" y="294"/>
                    </a:lnTo>
                    <a:lnTo>
                      <a:pt x="156" y="306"/>
                    </a:lnTo>
                    <a:lnTo>
                      <a:pt x="162" y="312"/>
                    </a:lnTo>
                    <a:lnTo>
                      <a:pt x="162" y="324"/>
                    </a:lnTo>
                    <a:lnTo>
                      <a:pt x="186" y="324"/>
                    </a:lnTo>
                    <a:lnTo>
                      <a:pt x="192" y="330"/>
                    </a:lnTo>
                    <a:lnTo>
                      <a:pt x="186" y="336"/>
                    </a:lnTo>
                    <a:lnTo>
                      <a:pt x="186" y="342"/>
                    </a:lnTo>
                    <a:lnTo>
                      <a:pt x="180" y="348"/>
                    </a:lnTo>
                    <a:lnTo>
                      <a:pt x="186" y="354"/>
                    </a:lnTo>
                    <a:lnTo>
                      <a:pt x="204" y="354"/>
                    </a:lnTo>
                    <a:lnTo>
                      <a:pt x="216" y="342"/>
                    </a:lnTo>
                    <a:lnTo>
                      <a:pt x="240" y="354"/>
                    </a:lnTo>
                    <a:lnTo>
                      <a:pt x="252" y="354"/>
                    </a:lnTo>
                    <a:lnTo>
                      <a:pt x="258" y="360"/>
                    </a:lnTo>
                    <a:lnTo>
                      <a:pt x="282" y="360"/>
                    </a:lnTo>
                    <a:lnTo>
                      <a:pt x="288" y="354"/>
                    </a:lnTo>
                    <a:lnTo>
                      <a:pt x="288" y="348"/>
                    </a:lnTo>
                    <a:lnTo>
                      <a:pt x="306" y="354"/>
                    </a:lnTo>
                    <a:lnTo>
                      <a:pt x="330" y="354"/>
                    </a:lnTo>
                    <a:lnTo>
                      <a:pt x="336" y="360"/>
                    </a:lnTo>
                    <a:lnTo>
                      <a:pt x="348" y="366"/>
                    </a:lnTo>
                    <a:lnTo>
                      <a:pt x="366" y="366"/>
                    </a:lnTo>
                    <a:lnTo>
                      <a:pt x="372" y="360"/>
                    </a:lnTo>
                    <a:lnTo>
                      <a:pt x="372" y="348"/>
                    </a:lnTo>
                    <a:lnTo>
                      <a:pt x="378" y="342"/>
                    </a:lnTo>
                    <a:lnTo>
                      <a:pt x="384" y="342"/>
                    </a:lnTo>
                    <a:lnTo>
                      <a:pt x="396" y="336"/>
                    </a:lnTo>
                    <a:lnTo>
                      <a:pt x="402" y="336"/>
                    </a:lnTo>
                    <a:lnTo>
                      <a:pt x="402" y="330"/>
                    </a:lnTo>
                    <a:lnTo>
                      <a:pt x="432" y="336"/>
                    </a:lnTo>
                    <a:lnTo>
                      <a:pt x="432" y="324"/>
                    </a:lnTo>
                    <a:lnTo>
                      <a:pt x="438" y="324"/>
                    </a:lnTo>
                    <a:lnTo>
                      <a:pt x="450" y="330"/>
                    </a:lnTo>
                    <a:lnTo>
                      <a:pt x="462" y="330"/>
                    </a:lnTo>
                    <a:lnTo>
                      <a:pt x="474" y="336"/>
                    </a:lnTo>
                    <a:lnTo>
                      <a:pt x="498" y="336"/>
                    </a:lnTo>
                    <a:lnTo>
                      <a:pt x="516" y="354"/>
                    </a:lnTo>
                    <a:close/>
                  </a:path>
                </a:pathLst>
              </a:custGeom>
              <a:grpFill/>
              <a:ln w="3175">
                <a:solidFill>
                  <a:schemeClr val="bg1"/>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de-DE" sz="1800" b="0" i="0" u="none" strike="noStrike" kern="1200" cap="none" spc="0" normalizeH="0" baseline="0" noProof="0">
                  <a:ln>
                    <a:noFill/>
                  </a:ln>
                  <a:solidFill>
                    <a:srgbClr val="FFC000"/>
                  </a:solidFill>
                  <a:effectLst/>
                  <a:uLnTx/>
                  <a:uFillTx/>
                  <a:latin typeface="Calibri" pitchFamily="34" charset="0"/>
                  <a:ea typeface="+mn-ea"/>
                  <a:cs typeface="+mn-cs"/>
                </a:endParaRPr>
              </a:p>
            </p:txBody>
          </p:sp>
          <p:sp>
            <p:nvSpPr>
              <p:cNvPr id="197" name="Poland" descr="© INSCALE GmbH, 05.05.2010&#10;http://www.presentationload.com/"/>
              <p:cNvSpPr>
                <a:spLocks/>
              </p:cNvSpPr>
              <p:nvPr/>
            </p:nvSpPr>
            <p:spPr bwMode="gray">
              <a:xfrm>
                <a:off x="4779301" y="2941829"/>
                <a:ext cx="203495" cy="139626"/>
              </a:xfrm>
              <a:custGeom>
                <a:avLst/>
                <a:gdLst>
                  <a:gd name="T0" fmla="*/ 2147483647 w 624"/>
                  <a:gd name="T1" fmla="*/ 2147483647 h 450"/>
                  <a:gd name="T2" fmla="*/ 2147483647 w 624"/>
                  <a:gd name="T3" fmla="*/ 2147483647 h 450"/>
                  <a:gd name="T4" fmla="*/ 2147483647 w 624"/>
                  <a:gd name="T5" fmla="*/ 2147483647 h 450"/>
                  <a:gd name="T6" fmla="*/ 2147483647 w 624"/>
                  <a:gd name="T7" fmla="*/ 2147483647 h 450"/>
                  <a:gd name="T8" fmla="*/ 2147483647 w 624"/>
                  <a:gd name="T9" fmla="*/ 2147483647 h 450"/>
                  <a:gd name="T10" fmla="*/ 2147483647 w 624"/>
                  <a:gd name="T11" fmla="*/ 2147483647 h 450"/>
                  <a:gd name="T12" fmla="*/ 2147483647 w 624"/>
                  <a:gd name="T13" fmla="*/ 2147483647 h 450"/>
                  <a:gd name="T14" fmla="*/ 2147483647 w 624"/>
                  <a:gd name="T15" fmla="*/ 2147483647 h 450"/>
                  <a:gd name="T16" fmla="*/ 2147483647 w 624"/>
                  <a:gd name="T17" fmla="*/ 2147483647 h 450"/>
                  <a:gd name="T18" fmla="*/ 2147483647 w 624"/>
                  <a:gd name="T19" fmla="*/ 2147483647 h 450"/>
                  <a:gd name="T20" fmla="*/ 2147483647 w 624"/>
                  <a:gd name="T21" fmla="*/ 2147483647 h 450"/>
                  <a:gd name="T22" fmla="*/ 2147483647 w 624"/>
                  <a:gd name="T23" fmla="*/ 2147483647 h 450"/>
                  <a:gd name="T24" fmla="*/ 2147483647 w 624"/>
                  <a:gd name="T25" fmla="*/ 2147483647 h 450"/>
                  <a:gd name="T26" fmla="*/ 2147483647 w 624"/>
                  <a:gd name="T27" fmla="*/ 2147483647 h 450"/>
                  <a:gd name="T28" fmla="*/ 2147483647 w 624"/>
                  <a:gd name="T29" fmla="*/ 2147483647 h 450"/>
                  <a:gd name="T30" fmla="*/ 2147483647 w 624"/>
                  <a:gd name="T31" fmla="*/ 2147483647 h 450"/>
                  <a:gd name="T32" fmla="*/ 2147483647 w 624"/>
                  <a:gd name="T33" fmla="*/ 2147483647 h 450"/>
                  <a:gd name="T34" fmla="*/ 2147483647 w 624"/>
                  <a:gd name="T35" fmla="*/ 2147483647 h 450"/>
                  <a:gd name="T36" fmla="*/ 2147483647 w 624"/>
                  <a:gd name="T37" fmla="*/ 2147483647 h 450"/>
                  <a:gd name="T38" fmla="*/ 2147483647 w 624"/>
                  <a:gd name="T39" fmla="*/ 2147483647 h 450"/>
                  <a:gd name="T40" fmla="*/ 2147483647 w 624"/>
                  <a:gd name="T41" fmla="*/ 2147483647 h 450"/>
                  <a:gd name="T42" fmla="*/ 2147483647 w 624"/>
                  <a:gd name="T43" fmla="*/ 2147483647 h 450"/>
                  <a:gd name="T44" fmla="*/ 2147483647 w 624"/>
                  <a:gd name="T45" fmla="*/ 2147483647 h 450"/>
                  <a:gd name="T46" fmla="*/ 2147483647 w 624"/>
                  <a:gd name="T47" fmla="*/ 2147483647 h 450"/>
                  <a:gd name="T48" fmla="*/ 2147483647 w 624"/>
                  <a:gd name="T49" fmla="*/ 2147483647 h 450"/>
                  <a:gd name="T50" fmla="*/ 2147483647 w 624"/>
                  <a:gd name="T51" fmla="*/ 2147483647 h 450"/>
                  <a:gd name="T52" fmla="*/ 2147483647 w 624"/>
                  <a:gd name="T53" fmla="*/ 2147483647 h 450"/>
                  <a:gd name="T54" fmla="*/ 2147483647 w 624"/>
                  <a:gd name="T55" fmla="*/ 2147483647 h 450"/>
                  <a:gd name="T56" fmla="*/ 2147483647 w 624"/>
                  <a:gd name="T57" fmla="*/ 2147483647 h 450"/>
                  <a:gd name="T58" fmla="*/ 0 w 624"/>
                  <a:gd name="T59" fmla="*/ 2147483647 h 450"/>
                  <a:gd name="T60" fmla="*/ 2147483647 w 624"/>
                  <a:gd name="T61" fmla="*/ 2147483647 h 450"/>
                  <a:gd name="T62" fmla="*/ 2147483647 w 624"/>
                  <a:gd name="T63" fmla="*/ 2147483647 h 450"/>
                  <a:gd name="T64" fmla="*/ 2147483647 w 624"/>
                  <a:gd name="T65" fmla="*/ 2147483647 h 450"/>
                  <a:gd name="T66" fmla="*/ 2147483647 w 624"/>
                  <a:gd name="T67" fmla="*/ 2147483647 h 450"/>
                  <a:gd name="T68" fmla="*/ 2147483647 w 624"/>
                  <a:gd name="T69" fmla="*/ 2147483647 h 450"/>
                  <a:gd name="T70" fmla="*/ 2147483647 w 624"/>
                  <a:gd name="T71" fmla="*/ 2147483647 h 450"/>
                  <a:gd name="T72" fmla="*/ 2147483647 w 624"/>
                  <a:gd name="T73" fmla="*/ 2147483647 h 450"/>
                  <a:gd name="T74" fmla="*/ 2147483647 w 624"/>
                  <a:gd name="T75" fmla="*/ 2147483647 h 450"/>
                  <a:gd name="T76" fmla="*/ 2147483647 w 624"/>
                  <a:gd name="T77" fmla="*/ 2147483647 h 450"/>
                  <a:gd name="T78" fmla="*/ 2147483647 w 624"/>
                  <a:gd name="T79" fmla="*/ 2147483647 h 450"/>
                  <a:gd name="T80" fmla="*/ 2147483647 w 624"/>
                  <a:gd name="T81" fmla="*/ 2147483647 h 450"/>
                  <a:gd name="T82" fmla="*/ 2147483647 w 624"/>
                  <a:gd name="T83" fmla="*/ 2147483647 h 450"/>
                  <a:gd name="T84" fmla="*/ 2147483647 w 624"/>
                  <a:gd name="T85" fmla="*/ 2147483647 h 450"/>
                  <a:gd name="T86" fmla="*/ 2147483647 w 624"/>
                  <a:gd name="T87" fmla="*/ 2147483647 h 450"/>
                  <a:gd name="T88" fmla="*/ 2147483647 w 624"/>
                  <a:gd name="T89" fmla="*/ 2147483647 h 450"/>
                  <a:gd name="T90" fmla="*/ 2147483647 w 624"/>
                  <a:gd name="T91" fmla="*/ 2147483647 h 450"/>
                  <a:gd name="T92" fmla="*/ 2147483647 w 624"/>
                  <a:gd name="T93" fmla="*/ 2147483647 h 450"/>
                  <a:gd name="T94" fmla="*/ 2147483647 w 624"/>
                  <a:gd name="T95" fmla="*/ 2147483647 h 450"/>
                  <a:gd name="T96" fmla="*/ 2147483647 w 624"/>
                  <a:gd name="T97" fmla="*/ 2147483647 h 450"/>
                  <a:gd name="T98" fmla="*/ 2147483647 w 624"/>
                  <a:gd name="T99" fmla="*/ 2147483647 h 450"/>
                  <a:gd name="T100" fmla="*/ 2147483647 w 624"/>
                  <a:gd name="T101" fmla="*/ 2147483647 h 450"/>
                  <a:gd name="T102" fmla="*/ 2147483647 w 624"/>
                  <a:gd name="T103" fmla="*/ 2147483647 h 450"/>
                  <a:gd name="T104" fmla="*/ 2147483647 w 624"/>
                  <a:gd name="T105" fmla="*/ 2147483647 h 450"/>
                  <a:gd name="T106" fmla="*/ 2147483647 w 624"/>
                  <a:gd name="T107" fmla="*/ 2147483647 h 450"/>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624"/>
                  <a:gd name="T163" fmla="*/ 0 h 450"/>
                  <a:gd name="T164" fmla="*/ 624 w 624"/>
                  <a:gd name="T165" fmla="*/ 450 h 450"/>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624" h="450">
                    <a:moveTo>
                      <a:pt x="426" y="426"/>
                    </a:moveTo>
                    <a:lnTo>
                      <a:pt x="432" y="426"/>
                    </a:lnTo>
                    <a:lnTo>
                      <a:pt x="444" y="420"/>
                    </a:lnTo>
                    <a:lnTo>
                      <a:pt x="450" y="414"/>
                    </a:lnTo>
                    <a:lnTo>
                      <a:pt x="474" y="414"/>
                    </a:lnTo>
                    <a:lnTo>
                      <a:pt x="498" y="438"/>
                    </a:lnTo>
                    <a:lnTo>
                      <a:pt x="528" y="438"/>
                    </a:lnTo>
                    <a:lnTo>
                      <a:pt x="528" y="450"/>
                    </a:lnTo>
                    <a:lnTo>
                      <a:pt x="552" y="450"/>
                    </a:lnTo>
                    <a:lnTo>
                      <a:pt x="540" y="438"/>
                    </a:lnTo>
                    <a:lnTo>
                      <a:pt x="540" y="396"/>
                    </a:lnTo>
                    <a:lnTo>
                      <a:pt x="594" y="348"/>
                    </a:lnTo>
                    <a:lnTo>
                      <a:pt x="606" y="348"/>
                    </a:lnTo>
                    <a:lnTo>
                      <a:pt x="612" y="342"/>
                    </a:lnTo>
                    <a:lnTo>
                      <a:pt x="618" y="342"/>
                    </a:lnTo>
                    <a:lnTo>
                      <a:pt x="624" y="336"/>
                    </a:lnTo>
                    <a:lnTo>
                      <a:pt x="618" y="330"/>
                    </a:lnTo>
                    <a:lnTo>
                      <a:pt x="618" y="324"/>
                    </a:lnTo>
                    <a:lnTo>
                      <a:pt x="612" y="318"/>
                    </a:lnTo>
                    <a:lnTo>
                      <a:pt x="618" y="306"/>
                    </a:lnTo>
                    <a:lnTo>
                      <a:pt x="612" y="300"/>
                    </a:lnTo>
                    <a:lnTo>
                      <a:pt x="600" y="294"/>
                    </a:lnTo>
                    <a:lnTo>
                      <a:pt x="600" y="288"/>
                    </a:lnTo>
                    <a:lnTo>
                      <a:pt x="582" y="270"/>
                    </a:lnTo>
                    <a:lnTo>
                      <a:pt x="576" y="252"/>
                    </a:lnTo>
                    <a:lnTo>
                      <a:pt x="582" y="252"/>
                    </a:lnTo>
                    <a:lnTo>
                      <a:pt x="576" y="240"/>
                    </a:lnTo>
                    <a:lnTo>
                      <a:pt x="576" y="210"/>
                    </a:lnTo>
                    <a:lnTo>
                      <a:pt x="564" y="198"/>
                    </a:lnTo>
                    <a:lnTo>
                      <a:pt x="558" y="198"/>
                    </a:lnTo>
                    <a:lnTo>
                      <a:pt x="552" y="192"/>
                    </a:lnTo>
                    <a:lnTo>
                      <a:pt x="552" y="186"/>
                    </a:lnTo>
                    <a:lnTo>
                      <a:pt x="564" y="186"/>
                    </a:lnTo>
                    <a:lnTo>
                      <a:pt x="564" y="168"/>
                    </a:lnTo>
                    <a:lnTo>
                      <a:pt x="588" y="162"/>
                    </a:lnTo>
                    <a:lnTo>
                      <a:pt x="588" y="150"/>
                    </a:lnTo>
                    <a:lnTo>
                      <a:pt x="594" y="144"/>
                    </a:lnTo>
                    <a:lnTo>
                      <a:pt x="594" y="138"/>
                    </a:lnTo>
                    <a:lnTo>
                      <a:pt x="588" y="132"/>
                    </a:lnTo>
                    <a:lnTo>
                      <a:pt x="576" y="108"/>
                    </a:lnTo>
                    <a:lnTo>
                      <a:pt x="570" y="102"/>
                    </a:lnTo>
                    <a:lnTo>
                      <a:pt x="570" y="90"/>
                    </a:lnTo>
                    <a:lnTo>
                      <a:pt x="564" y="84"/>
                    </a:lnTo>
                    <a:lnTo>
                      <a:pt x="558" y="72"/>
                    </a:lnTo>
                    <a:lnTo>
                      <a:pt x="558" y="48"/>
                    </a:lnTo>
                    <a:lnTo>
                      <a:pt x="546" y="42"/>
                    </a:lnTo>
                    <a:lnTo>
                      <a:pt x="540" y="42"/>
                    </a:lnTo>
                    <a:lnTo>
                      <a:pt x="522" y="36"/>
                    </a:lnTo>
                    <a:lnTo>
                      <a:pt x="498" y="36"/>
                    </a:lnTo>
                    <a:lnTo>
                      <a:pt x="498" y="42"/>
                    </a:lnTo>
                    <a:lnTo>
                      <a:pt x="408" y="42"/>
                    </a:lnTo>
                    <a:lnTo>
                      <a:pt x="402" y="36"/>
                    </a:lnTo>
                    <a:lnTo>
                      <a:pt x="390" y="36"/>
                    </a:lnTo>
                    <a:lnTo>
                      <a:pt x="384" y="30"/>
                    </a:lnTo>
                    <a:lnTo>
                      <a:pt x="360" y="30"/>
                    </a:lnTo>
                    <a:lnTo>
                      <a:pt x="354" y="36"/>
                    </a:lnTo>
                    <a:lnTo>
                      <a:pt x="348" y="36"/>
                    </a:lnTo>
                    <a:lnTo>
                      <a:pt x="342" y="30"/>
                    </a:lnTo>
                    <a:lnTo>
                      <a:pt x="312" y="30"/>
                    </a:lnTo>
                    <a:lnTo>
                      <a:pt x="300" y="36"/>
                    </a:lnTo>
                    <a:lnTo>
                      <a:pt x="282" y="36"/>
                    </a:lnTo>
                    <a:lnTo>
                      <a:pt x="276" y="30"/>
                    </a:lnTo>
                    <a:lnTo>
                      <a:pt x="270" y="18"/>
                    </a:lnTo>
                    <a:lnTo>
                      <a:pt x="264" y="12"/>
                    </a:lnTo>
                    <a:lnTo>
                      <a:pt x="264" y="6"/>
                    </a:lnTo>
                    <a:lnTo>
                      <a:pt x="258" y="6"/>
                    </a:lnTo>
                    <a:lnTo>
                      <a:pt x="252" y="0"/>
                    </a:lnTo>
                    <a:lnTo>
                      <a:pt x="210" y="0"/>
                    </a:lnTo>
                    <a:lnTo>
                      <a:pt x="192" y="6"/>
                    </a:lnTo>
                    <a:lnTo>
                      <a:pt x="180" y="12"/>
                    </a:lnTo>
                    <a:lnTo>
                      <a:pt x="162" y="12"/>
                    </a:lnTo>
                    <a:lnTo>
                      <a:pt x="150" y="18"/>
                    </a:lnTo>
                    <a:lnTo>
                      <a:pt x="144" y="24"/>
                    </a:lnTo>
                    <a:lnTo>
                      <a:pt x="138" y="24"/>
                    </a:lnTo>
                    <a:lnTo>
                      <a:pt x="120" y="42"/>
                    </a:lnTo>
                    <a:lnTo>
                      <a:pt x="60" y="48"/>
                    </a:lnTo>
                    <a:lnTo>
                      <a:pt x="54" y="48"/>
                    </a:lnTo>
                    <a:lnTo>
                      <a:pt x="48" y="54"/>
                    </a:lnTo>
                    <a:lnTo>
                      <a:pt x="24" y="66"/>
                    </a:lnTo>
                    <a:lnTo>
                      <a:pt x="18" y="66"/>
                    </a:lnTo>
                    <a:lnTo>
                      <a:pt x="12" y="72"/>
                    </a:lnTo>
                    <a:lnTo>
                      <a:pt x="18" y="78"/>
                    </a:lnTo>
                    <a:lnTo>
                      <a:pt x="18" y="96"/>
                    </a:lnTo>
                    <a:lnTo>
                      <a:pt x="6" y="90"/>
                    </a:lnTo>
                    <a:lnTo>
                      <a:pt x="6" y="108"/>
                    </a:lnTo>
                    <a:lnTo>
                      <a:pt x="12" y="108"/>
                    </a:lnTo>
                    <a:lnTo>
                      <a:pt x="18" y="114"/>
                    </a:lnTo>
                    <a:lnTo>
                      <a:pt x="18" y="132"/>
                    </a:lnTo>
                    <a:lnTo>
                      <a:pt x="6" y="144"/>
                    </a:lnTo>
                    <a:lnTo>
                      <a:pt x="0" y="144"/>
                    </a:lnTo>
                    <a:lnTo>
                      <a:pt x="0" y="156"/>
                    </a:lnTo>
                    <a:lnTo>
                      <a:pt x="6" y="162"/>
                    </a:lnTo>
                    <a:lnTo>
                      <a:pt x="12" y="162"/>
                    </a:lnTo>
                    <a:lnTo>
                      <a:pt x="18" y="168"/>
                    </a:lnTo>
                    <a:lnTo>
                      <a:pt x="30" y="168"/>
                    </a:lnTo>
                    <a:lnTo>
                      <a:pt x="30" y="186"/>
                    </a:lnTo>
                    <a:lnTo>
                      <a:pt x="24" y="186"/>
                    </a:lnTo>
                    <a:lnTo>
                      <a:pt x="24" y="198"/>
                    </a:lnTo>
                    <a:lnTo>
                      <a:pt x="36" y="198"/>
                    </a:lnTo>
                    <a:lnTo>
                      <a:pt x="36" y="204"/>
                    </a:lnTo>
                    <a:lnTo>
                      <a:pt x="30" y="210"/>
                    </a:lnTo>
                    <a:lnTo>
                      <a:pt x="36" y="210"/>
                    </a:lnTo>
                    <a:lnTo>
                      <a:pt x="42" y="216"/>
                    </a:lnTo>
                    <a:lnTo>
                      <a:pt x="36" y="222"/>
                    </a:lnTo>
                    <a:lnTo>
                      <a:pt x="24" y="228"/>
                    </a:lnTo>
                    <a:lnTo>
                      <a:pt x="24" y="234"/>
                    </a:lnTo>
                    <a:lnTo>
                      <a:pt x="30" y="240"/>
                    </a:lnTo>
                    <a:lnTo>
                      <a:pt x="36" y="240"/>
                    </a:lnTo>
                    <a:lnTo>
                      <a:pt x="42" y="246"/>
                    </a:lnTo>
                    <a:lnTo>
                      <a:pt x="42" y="264"/>
                    </a:lnTo>
                    <a:lnTo>
                      <a:pt x="48" y="258"/>
                    </a:lnTo>
                    <a:lnTo>
                      <a:pt x="54" y="258"/>
                    </a:lnTo>
                    <a:lnTo>
                      <a:pt x="54" y="270"/>
                    </a:lnTo>
                    <a:lnTo>
                      <a:pt x="48" y="276"/>
                    </a:lnTo>
                    <a:lnTo>
                      <a:pt x="60" y="276"/>
                    </a:lnTo>
                    <a:lnTo>
                      <a:pt x="60" y="282"/>
                    </a:lnTo>
                    <a:lnTo>
                      <a:pt x="54" y="282"/>
                    </a:lnTo>
                    <a:lnTo>
                      <a:pt x="54" y="294"/>
                    </a:lnTo>
                    <a:lnTo>
                      <a:pt x="72" y="294"/>
                    </a:lnTo>
                    <a:lnTo>
                      <a:pt x="78" y="312"/>
                    </a:lnTo>
                    <a:lnTo>
                      <a:pt x="96" y="312"/>
                    </a:lnTo>
                    <a:lnTo>
                      <a:pt x="108" y="318"/>
                    </a:lnTo>
                    <a:lnTo>
                      <a:pt x="114" y="318"/>
                    </a:lnTo>
                    <a:lnTo>
                      <a:pt x="114" y="324"/>
                    </a:lnTo>
                    <a:lnTo>
                      <a:pt x="138" y="324"/>
                    </a:lnTo>
                    <a:lnTo>
                      <a:pt x="144" y="330"/>
                    </a:lnTo>
                    <a:lnTo>
                      <a:pt x="132" y="336"/>
                    </a:lnTo>
                    <a:lnTo>
                      <a:pt x="144" y="342"/>
                    </a:lnTo>
                    <a:lnTo>
                      <a:pt x="144" y="354"/>
                    </a:lnTo>
                    <a:lnTo>
                      <a:pt x="150" y="354"/>
                    </a:lnTo>
                    <a:lnTo>
                      <a:pt x="156" y="360"/>
                    </a:lnTo>
                    <a:lnTo>
                      <a:pt x="174" y="360"/>
                    </a:lnTo>
                    <a:lnTo>
                      <a:pt x="174" y="354"/>
                    </a:lnTo>
                    <a:lnTo>
                      <a:pt x="180" y="354"/>
                    </a:lnTo>
                    <a:lnTo>
                      <a:pt x="192" y="348"/>
                    </a:lnTo>
                    <a:lnTo>
                      <a:pt x="210" y="348"/>
                    </a:lnTo>
                    <a:lnTo>
                      <a:pt x="204" y="354"/>
                    </a:lnTo>
                    <a:lnTo>
                      <a:pt x="222" y="354"/>
                    </a:lnTo>
                    <a:lnTo>
                      <a:pt x="228" y="360"/>
                    </a:lnTo>
                    <a:lnTo>
                      <a:pt x="234" y="372"/>
                    </a:lnTo>
                    <a:lnTo>
                      <a:pt x="240" y="378"/>
                    </a:lnTo>
                    <a:lnTo>
                      <a:pt x="246" y="366"/>
                    </a:lnTo>
                    <a:lnTo>
                      <a:pt x="252" y="372"/>
                    </a:lnTo>
                    <a:lnTo>
                      <a:pt x="252" y="378"/>
                    </a:lnTo>
                    <a:lnTo>
                      <a:pt x="270" y="378"/>
                    </a:lnTo>
                    <a:lnTo>
                      <a:pt x="282" y="384"/>
                    </a:lnTo>
                    <a:lnTo>
                      <a:pt x="282" y="390"/>
                    </a:lnTo>
                    <a:lnTo>
                      <a:pt x="288" y="402"/>
                    </a:lnTo>
                    <a:lnTo>
                      <a:pt x="306" y="420"/>
                    </a:lnTo>
                    <a:lnTo>
                      <a:pt x="318" y="420"/>
                    </a:lnTo>
                    <a:lnTo>
                      <a:pt x="330" y="408"/>
                    </a:lnTo>
                    <a:lnTo>
                      <a:pt x="342" y="408"/>
                    </a:lnTo>
                    <a:lnTo>
                      <a:pt x="354" y="420"/>
                    </a:lnTo>
                    <a:lnTo>
                      <a:pt x="360" y="420"/>
                    </a:lnTo>
                    <a:lnTo>
                      <a:pt x="360" y="426"/>
                    </a:lnTo>
                    <a:lnTo>
                      <a:pt x="366" y="432"/>
                    </a:lnTo>
                    <a:lnTo>
                      <a:pt x="378" y="432"/>
                    </a:lnTo>
                    <a:lnTo>
                      <a:pt x="384" y="426"/>
                    </a:lnTo>
                    <a:lnTo>
                      <a:pt x="384" y="420"/>
                    </a:lnTo>
                    <a:lnTo>
                      <a:pt x="414" y="420"/>
                    </a:lnTo>
                    <a:lnTo>
                      <a:pt x="420" y="426"/>
                    </a:lnTo>
                    <a:lnTo>
                      <a:pt x="426" y="426"/>
                    </a:lnTo>
                    <a:close/>
                  </a:path>
                </a:pathLst>
              </a:custGeom>
              <a:grpFill/>
              <a:ln w="3175">
                <a:solidFill>
                  <a:schemeClr val="bg1"/>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de-DE" sz="1800" b="0" i="0" u="none" strike="noStrike" kern="1200" cap="none" spc="0" normalizeH="0" baseline="0" noProof="0">
                  <a:ln>
                    <a:noFill/>
                  </a:ln>
                  <a:solidFill>
                    <a:srgbClr val="FFC000"/>
                  </a:solidFill>
                  <a:effectLst/>
                  <a:uLnTx/>
                  <a:uFillTx/>
                  <a:latin typeface="Calibri" pitchFamily="34" charset="0"/>
                  <a:ea typeface="+mn-ea"/>
                  <a:cs typeface="+mn-cs"/>
                </a:endParaRPr>
              </a:p>
            </p:txBody>
          </p:sp>
          <p:sp>
            <p:nvSpPr>
              <p:cNvPr id="198" name="Lithuania" descr="© INSCALE GmbH, 05.05.2010&#10;http://www.presentationload.com/"/>
              <p:cNvSpPr>
                <a:spLocks/>
              </p:cNvSpPr>
              <p:nvPr/>
            </p:nvSpPr>
            <p:spPr bwMode="gray">
              <a:xfrm>
                <a:off x="4909844" y="2902636"/>
                <a:ext cx="111346" cy="61239"/>
              </a:xfrm>
              <a:custGeom>
                <a:avLst/>
                <a:gdLst>
                  <a:gd name="T0" fmla="*/ 2147483647 w 342"/>
                  <a:gd name="T1" fmla="*/ 2147483647 h 198"/>
                  <a:gd name="T2" fmla="*/ 2147483647 w 342"/>
                  <a:gd name="T3" fmla="*/ 2147483647 h 198"/>
                  <a:gd name="T4" fmla="*/ 2147483647 w 342"/>
                  <a:gd name="T5" fmla="*/ 2147483647 h 198"/>
                  <a:gd name="T6" fmla="*/ 2147483647 w 342"/>
                  <a:gd name="T7" fmla="*/ 2147483647 h 198"/>
                  <a:gd name="T8" fmla="*/ 2147483647 w 342"/>
                  <a:gd name="T9" fmla="*/ 2147483647 h 198"/>
                  <a:gd name="T10" fmla="*/ 2147483647 w 342"/>
                  <a:gd name="T11" fmla="*/ 2147483647 h 198"/>
                  <a:gd name="T12" fmla="*/ 2147483647 w 342"/>
                  <a:gd name="T13" fmla="*/ 2147483647 h 198"/>
                  <a:gd name="T14" fmla="*/ 2147483647 w 342"/>
                  <a:gd name="T15" fmla="*/ 2147483647 h 198"/>
                  <a:gd name="T16" fmla="*/ 2147483647 w 342"/>
                  <a:gd name="T17" fmla="*/ 2147483647 h 198"/>
                  <a:gd name="T18" fmla="*/ 2147483647 w 342"/>
                  <a:gd name="T19" fmla="*/ 2147483647 h 198"/>
                  <a:gd name="T20" fmla="*/ 2147483647 w 342"/>
                  <a:gd name="T21" fmla="*/ 2147483647 h 198"/>
                  <a:gd name="T22" fmla="*/ 2147483647 w 342"/>
                  <a:gd name="T23" fmla="*/ 2147483647 h 198"/>
                  <a:gd name="T24" fmla="*/ 2147483647 w 342"/>
                  <a:gd name="T25" fmla="*/ 0 h 198"/>
                  <a:gd name="T26" fmla="*/ 2147483647 w 342"/>
                  <a:gd name="T27" fmla="*/ 2147483647 h 198"/>
                  <a:gd name="T28" fmla="*/ 0 w 342"/>
                  <a:gd name="T29" fmla="*/ 2147483647 h 198"/>
                  <a:gd name="T30" fmla="*/ 2147483647 w 342"/>
                  <a:gd name="T31" fmla="*/ 2147483647 h 198"/>
                  <a:gd name="T32" fmla="*/ 2147483647 w 342"/>
                  <a:gd name="T33" fmla="*/ 2147483647 h 198"/>
                  <a:gd name="T34" fmla="*/ 2147483647 w 342"/>
                  <a:gd name="T35" fmla="*/ 2147483647 h 198"/>
                  <a:gd name="T36" fmla="*/ 2147483647 w 342"/>
                  <a:gd name="T37" fmla="*/ 2147483647 h 198"/>
                  <a:gd name="T38" fmla="*/ 2147483647 w 342"/>
                  <a:gd name="T39" fmla="*/ 2147483647 h 198"/>
                  <a:gd name="T40" fmla="*/ 2147483647 w 342"/>
                  <a:gd name="T41" fmla="*/ 2147483647 h 198"/>
                  <a:gd name="T42" fmla="*/ 2147483647 w 342"/>
                  <a:gd name="T43" fmla="*/ 2147483647 h 198"/>
                  <a:gd name="T44" fmla="*/ 2147483647 w 342"/>
                  <a:gd name="T45" fmla="*/ 2147483647 h 198"/>
                  <a:gd name="T46" fmla="*/ 2147483647 w 342"/>
                  <a:gd name="T47" fmla="*/ 2147483647 h 198"/>
                  <a:gd name="T48" fmla="*/ 2147483647 w 342"/>
                  <a:gd name="T49" fmla="*/ 2147483647 h 198"/>
                  <a:gd name="T50" fmla="*/ 2147483647 w 342"/>
                  <a:gd name="T51" fmla="*/ 2147483647 h 198"/>
                  <a:gd name="T52" fmla="*/ 2147483647 w 342"/>
                  <a:gd name="T53" fmla="*/ 2147483647 h 198"/>
                  <a:gd name="T54" fmla="*/ 2147483647 w 342"/>
                  <a:gd name="T55" fmla="*/ 2147483647 h 198"/>
                  <a:gd name="T56" fmla="*/ 2147483647 w 342"/>
                  <a:gd name="T57" fmla="*/ 2147483647 h 198"/>
                  <a:gd name="T58" fmla="*/ 2147483647 w 342"/>
                  <a:gd name="T59" fmla="*/ 2147483647 h 198"/>
                  <a:gd name="T60" fmla="*/ 2147483647 w 342"/>
                  <a:gd name="T61" fmla="*/ 2147483647 h 198"/>
                  <a:gd name="T62" fmla="*/ 2147483647 w 342"/>
                  <a:gd name="T63" fmla="*/ 2147483647 h 198"/>
                  <a:gd name="T64" fmla="*/ 2147483647 w 342"/>
                  <a:gd name="T65" fmla="*/ 2147483647 h 198"/>
                  <a:gd name="T66" fmla="*/ 2147483647 w 342"/>
                  <a:gd name="T67" fmla="*/ 2147483647 h 198"/>
                  <a:gd name="T68" fmla="*/ 2147483647 w 342"/>
                  <a:gd name="T69" fmla="*/ 2147483647 h 198"/>
                  <a:gd name="T70" fmla="*/ 2147483647 w 342"/>
                  <a:gd name="T71" fmla="*/ 2147483647 h 198"/>
                  <a:gd name="T72" fmla="*/ 2147483647 w 342"/>
                  <a:gd name="T73" fmla="*/ 2147483647 h 198"/>
                  <a:gd name="T74" fmla="*/ 2147483647 w 342"/>
                  <a:gd name="T75" fmla="*/ 2147483647 h 198"/>
                  <a:gd name="T76" fmla="*/ 2147483647 w 342"/>
                  <a:gd name="T77" fmla="*/ 2147483647 h 198"/>
                  <a:gd name="T78" fmla="*/ 2147483647 w 342"/>
                  <a:gd name="T79" fmla="*/ 2147483647 h 198"/>
                  <a:gd name="T80" fmla="*/ 2147483647 w 342"/>
                  <a:gd name="T81" fmla="*/ 2147483647 h 198"/>
                  <a:gd name="T82" fmla="*/ 2147483647 w 342"/>
                  <a:gd name="T83" fmla="*/ 2147483647 h 198"/>
                  <a:gd name="T84" fmla="*/ 2147483647 w 342"/>
                  <a:gd name="T85" fmla="*/ 2147483647 h 198"/>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342"/>
                  <a:gd name="T130" fmla="*/ 0 h 198"/>
                  <a:gd name="T131" fmla="*/ 342 w 342"/>
                  <a:gd name="T132" fmla="*/ 198 h 198"/>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342" h="198">
                    <a:moveTo>
                      <a:pt x="330" y="60"/>
                    </a:moveTo>
                    <a:lnTo>
                      <a:pt x="312" y="54"/>
                    </a:lnTo>
                    <a:lnTo>
                      <a:pt x="294" y="42"/>
                    </a:lnTo>
                    <a:lnTo>
                      <a:pt x="282" y="30"/>
                    </a:lnTo>
                    <a:lnTo>
                      <a:pt x="276" y="30"/>
                    </a:lnTo>
                    <a:lnTo>
                      <a:pt x="264" y="24"/>
                    </a:lnTo>
                    <a:lnTo>
                      <a:pt x="234" y="24"/>
                    </a:lnTo>
                    <a:lnTo>
                      <a:pt x="228" y="12"/>
                    </a:lnTo>
                    <a:lnTo>
                      <a:pt x="222" y="6"/>
                    </a:lnTo>
                    <a:lnTo>
                      <a:pt x="210" y="6"/>
                    </a:lnTo>
                    <a:lnTo>
                      <a:pt x="198" y="18"/>
                    </a:lnTo>
                    <a:lnTo>
                      <a:pt x="180" y="18"/>
                    </a:lnTo>
                    <a:lnTo>
                      <a:pt x="174" y="12"/>
                    </a:lnTo>
                    <a:lnTo>
                      <a:pt x="162" y="12"/>
                    </a:lnTo>
                    <a:lnTo>
                      <a:pt x="156" y="18"/>
                    </a:lnTo>
                    <a:lnTo>
                      <a:pt x="150" y="18"/>
                    </a:lnTo>
                    <a:lnTo>
                      <a:pt x="144" y="12"/>
                    </a:lnTo>
                    <a:lnTo>
                      <a:pt x="138" y="12"/>
                    </a:lnTo>
                    <a:lnTo>
                      <a:pt x="126" y="6"/>
                    </a:lnTo>
                    <a:lnTo>
                      <a:pt x="120" y="6"/>
                    </a:lnTo>
                    <a:lnTo>
                      <a:pt x="114" y="12"/>
                    </a:lnTo>
                    <a:lnTo>
                      <a:pt x="108" y="12"/>
                    </a:lnTo>
                    <a:lnTo>
                      <a:pt x="102" y="6"/>
                    </a:lnTo>
                    <a:lnTo>
                      <a:pt x="96" y="6"/>
                    </a:lnTo>
                    <a:lnTo>
                      <a:pt x="90" y="0"/>
                    </a:lnTo>
                    <a:lnTo>
                      <a:pt x="72" y="0"/>
                    </a:lnTo>
                    <a:lnTo>
                      <a:pt x="60" y="12"/>
                    </a:lnTo>
                    <a:lnTo>
                      <a:pt x="18" y="12"/>
                    </a:lnTo>
                    <a:lnTo>
                      <a:pt x="6" y="18"/>
                    </a:lnTo>
                    <a:lnTo>
                      <a:pt x="0" y="18"/>
                    </a:lnTo>
                    <a:lnTo>
                      <a:pt x="0" y="60"/>
                    </a:lnTo>
                    <a:lnTo>
                      <a:pt x="12" y="84"/>
                    </a:lnTo>
                    <a:lnTo>
                      <a:pt x="18" y="90"/>
                    </a:lnTo>
                    <a:lnTo>
                      <a:pt x="18" y="96"/>
                    </a:lnTo>
                    <a:lnTo>
                      <a:pt x="30" y="96"/>
                    </a:lnTo>
                    <a:lnTo>
                      <a:pt x="30" y="102"/>
                    </a:lnTo>
                    <a:lnTo>
                      <a:pt x="42" y="102"/>
                    </a:lnTo>
                    <a:lnTo>
                      <a:pt x="48" y="108"/>
                    </a:lnTo>
                    <a:lnTo>
                      <a:pt x="72" y="108"/>
                    </a:lnTo>
                    <a:lnTo>
                      <a:pt x="84" y="102"/>
                    </a:lnTo>
                    <a:lnTo>
                      <a:pt x="102" y="102"/>
                    </a:lnTo>
                    <a:lnTo>
                      <a:pt x="108" y="114"/>
                    </a:lnTo>
                    <a:lnTo>
                      <a:pt x="108" y="132"/>
                    </a:lnTo>
                    <a:lnTo>
                      <a:pt x="96" y="144"/>
                    </a:lnTo>
                    <a:lnTo>
                      <a:pt x="102" y="162"/>
                    </a:lnTo>
                    <a:lnTo>
                      <a:pt x="120" y="162"/>
                    </a:lnTo>
                    <a:lnTo>
                      <a:pt x="138" y="168"/>
                    </a:lnTo>
                    <a:lnTo>
                      <a:pt x="144" y="168"/>
                    </a:lnTo>
                    <a:lnTo>
                      <a:pt x="156" y="174"/>
                    </a:lnTo>
                    <a:lnTo>
                      <a:pt x="156" y="198"/>
                    </a:lnTo>
                    <a:lnTo>
                      <a:pt x="162" y="198"/>
                    </a:lnTo>
                    <a:lnTo>
                      <a:pt x="168" y="192"/>
                    </a:lnTo>
                    <a:lnTo>
                      <a:pt x="180" y="192"/>
                    </a:lnTo>
                    <a:lnTo>
                      <a:pt x="192" y="186"/>
                    </a:lnTo>
                    <a:lnTo>
                      <a:pt x="198" y="186"/>
                    </a:lnTo>
                    <a:lnTo>
                      <a:pt x="204" y="192"/>
                    </a:lnTo>
                    <a:lnTo>
                      <a:pt x="204" y="198"/>
                    </a:lnTo>
                    <a:lnTo>
                      <a:pt x="234" y="198"/>
                    </a:lnTo>
                    <a:lnTo>
                      <a:pt x="234" y="180"/>
                    </a:lnTo>
                    <a:lnTo>
                      <a:pt x="246" y="192"/>
                    </a:lnTo>
                    <a:lnTo>
                      <a:pt x="252" y="180"/>
                    </a:lnTo>
                    <a:lnTo>
                      <a:pt x="258" y="174"/>
                    </a:lnTo>
                    <a:lnTo>
                      <a:pt x="270" y="168"/>
                    </a:lnTo>
                    <a:lnTo>
                      <a:pt x="288" y="168"/>
                    </a:lnTo>
                    <a:lnTo>
                      <a:pt x="288" y="174"/>
                    </a:lnTo>
                    <a:lnTo>
                      <a:pt x="282" y="180"/>
                    </a:lnTo>
                    <a:lnTo>
                      <a:pt x="294" y="180"/>
                    </a:lnTo>
                    <a:lnTo>
                      <a:pt x="294" y="174"/>
                    </a:lnTo>
                    <a:lnTo>
                      <a:pt x="288" y="168"/>
                    </a:lnTo>
                    <a:lnTo>
                      <a:pt x="288" y="156"/>
                    </a:lnTo>
                    <a:lnTo>
                      <a:pt x="282" y="150"/>
                    </a:lnTo>
                    <a:lnTo>
                      <a:pt x="282" y="144"/>
                    </a:lnTo>
                    <a:lnTo>
                      <a:pt x="294" y="144"/>
                    </a:lnTo>
                    <a:lnTo>
                      <a:pt x="294" y="138"/>
                    </a:lnTo>
                    <a:lnTo>
                      <a:pt x="288" y="126"/>
                    </a:lnTo>
                    <a:lnTo>
                      <a:pt x="288" y="120"/>
                    </a:lnTo>
                    <a:lnTo>
                      <a:pt x="294" y="114"/>
                    </a:lnTo>
                    <a:lnTo>
                      <a:pt x="312" y="114"/>
                    </a:lnTo>
                    <a:lnTo>
                      <a:pt x="306" y="96"/>
                    </a:lnTo>
                    <a:lnTo>
                      <a:pt x="312" y="96"/>
                    </a:lnTo>
                    <a:lnTo>
                      <a:pt x="318" y="102"/>
                    </a:lnTo>
                    <a:lnTo>
                      <a:pt x="336" y="102"/>
                    </a:lnTo>
                    <a:lnTo>
                      <a:pt x="342" y="96"/>
                    </a:lnTo>
                    <a:lnTo>
                      <a:pt x="324" y="78"/>
                    </a:lnTo>
                    <a:lnTo>
                      <a:pt x="324" y="72"/>
                    </a:lnTo>
                    <a:lnTo>
                      <a:pt x="330" y="66"/>
                    </a:lnTo>
                    <a:lnTo>
                      <a:pt x="330" y="60"/>
                    </a:lnTo>
                    <a:close/>
                  </a:path>
                </a:pathLst>
              </a:custGeom>
              <a:grpFill/>
              <a:ln w="3175">
                <a:solidFill>
                  <a:schemeClr val="bg1"/>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de-DE" sz="1800" b="0" i="0" u="none" strike="noStrike" kern="1200" cap="none" spc="0" normalizeH="0" baseline="0" noProof="0">
                  <a:ln>
                    <a:noFill/>
                  </a:ln>
                  <a:solidFill>
                    <a:srgbClr val="FFC000"/>
                  </a:solidFill>
                  <a:effectLst/>
                  <a:uLnTx/>
                  <a:uFillTx/>
                  <a:latin typeface="Calibri" pitchFamily="34" charset="0"/>
                  <a:ea typeface="+mn-ea"/>
                  <a:cs typeface="+mn-cs"/>
                </a:endParaRPr>
              </a:p>
            </p:txBody>
          </p:sp>
          <p:sp>
            <p:nvSpPr>
              <p:cNvPr id="199" name="Germany" descr="© INSCALE GmbH, 05.05.2010&#10;http://www.presentationload.com/"/>
              <p:cNvSpPr>
                <a:spLocks/>
              </p:cNvSpPr>
              <p:nvPr/>
            </p:nvSpPr>
            <p:spPr bwMode="gray">
              <a:xfrm>
                <a:off x="4615482" y="2939380"/>
                <a:ext cx="183017" cy="183718"/>
              </a:xfrm>
              <a:custGeom>
                <a:avLst/>
                <a:gdLst>
                  <a:gd name="T0" fmla="*/ 2147483647 w 564"/>
                  <a:gd name="T1" fmla="*/ 2147483647 h 588"/>
                  <a:gd name="T2" fmla="*/ 2147483647 w 564"/>
                  <a:gd name="T3" fmla="*/ 2147483647 h 588"/>
                  <a:gd name="T4" fmla="*/ 2147483647 w 564"/>
                  <a:gd name="T5" fmla="*/ 2147483647 h 588"/>
                  <a:gd name="T6" fmla="*/ 2147483647 w 564"/>
                  <a:gd name="T7" fmla="*/ 2147483647 h 588"/>
                  <a:gd name="T8" fmla="*/ 2147483647 w 564"/>
                  <a:gd name="T9" fmla="*/ 2147483647 h 588"/>
                  <a:gd name="T10" fmla="*/ 2147483647 w 564"/>
                  <a:gd name="T11" fmla="*/ 2147483647 h 588"/>
                  <a:gd name="T12" fmla="*/ 2147483647 w 564"/>
                  <a:gd name="T13" fmla="*/ 2147483647 h 588"/>
                  <a:gd name="T14" fmla="*/ 2147483647 w 564"/>
                  <a:gd name="T15" fmla="*/ 2147483647 h 588"/>
                  <a:gd name="T16" fmla="*/ 2147483647 w 564"/>
                  <a:gd name="T17" fmla="*/ 2147483647 h 588"/>
                  <a:gd name="T18" fmla="*/ 2147483647 w 564"/>
                  <a:gd name="T19" fmla="*/ 2147483647 h 588"/>
                  <a:gd name="T20" fmla="*/ 2147483647 w 564"/>
                  <a:gd name="T21" fmla="*/ 2147483647 h 588"/>
                  <a:gd name="T22" fmla="*/ 2147483647 w 564"/>
                  <a:gd name="T23" fmla="*/ 2147483647 h 588"/>
                  <a:gd name="T24" fmla="*/ 2147483647 w 564"/>
                  <a:gd name="T25" fmla="*/ 2147483647 h 588"/>
                  <a:gd name="T26" fmla="*/ 2147483647 w 564"/>
                  <a:gd name="T27" fmla="*/ 2147483647 h 588"/>
                  <a:gd name="T28" fmla="*/ 2147483647 w 564"/>
                  <a:gd name="T29" fmla="*/ 2147483647 h 588"/>
                  <a:gd name="T30" fmla="*/ 2147483647 w 564"/>
                  <a:gd name="T31" fmla="*/ 2147483647 h 588"/>
                  <a:gd name="T32" fmla="*/ 2147483647 w 564"/>
                  <a:gd name="T33" fmla="*/ 2147483647 h 588"/>
                  <a:gd name="T34" fmla="*/ 2147483647 w 564"/>
                  <a:gd name="T35" fmla="*/ 2147483647 h 588"/>
                  <a:gd name="T36" fmla="*/ 2147483647 w 564"/>
                  <a:gd name="T37" fmla="*/ 2147483647 h 588"/>
                  <a:gd name="T38" fmla="*/ 2147483647 w 564"/>
                  <a:gd name="T39" fmla="*/ 2147483647 h 588"/>
                  <a:gd name="T40" fmla="*/ 2147483647 w 564"/>
                  <a:gd name="T41" fmla="*/ 2147483647 h 588"/>
                  <a:gd name="T42" fmla="*/ 2147483647 w 564"/>
                  <a:gd name="T43" fmla="*/ 2147483647 h 588"/>
                  <a:gd name="T44" fmla="*/ 2147483647 w 564"/>
                  <a:gd name="T45" fmla="*/ 2147483647 h 588"/>
                  <a:gd name="T46" fmla="*/ 2147483647 w 564"/>
                  <a:gd name="T47" fmla="*/ 2147483647 h 588"/>
                  <a:gd name="T48" fmla="*/ 2147483647 w 564"/>
                  <a:gd name="T49" fmla="*/ 2147483647 h 588"/>
                  <a:gd name="T50" fmla="*/ 2147483647 w 564"/>
                  <a:gd name="T51" fmla="*/ 2147483647 h 588"/>
                  <a:gd name="T52" fmla="*/ 2147483647 w 564"/>
                  <a:gd name="T53" fmla="*/ 2147483647 h 588"/>
                  <a:gd name="T54" fmla="*/ 2147483647 w 564"/>
                  <a:gd name="T55" fmla="*/ 2147483647 h 588"/>
                  <a:gd name="T56" fmla="*/ 2147483647 w 564"/>
                  <a:gd name="T57" fmla="*/ 2147483647 h 588"/>
                  <a:gd name="T58" fmla="*/ 2147483647 w 564"/>
                  <a:gd name="T59" fmla="*/ 2147483647 h 588"/>
                  <a:gd name="T60" fmla="*/ 2147483647 w 564"/>
                  <a:gd name="T61" fmla="*/ 2147483647 h 588"/>
                  <a:gd name="T62" fmla="*/ 2147483647 w 564"/>
                  <a:gd name="T63" fmla="*/ 2147483647 h 588"/>
                  <a:gd name="T64" fmla="*/ 2147483647 w 564"/>
                  <a:gd name="T65" fmla="*/ 2147483647 h 588"/>
                  <a:gd name="T66" fmla="*/ 2147483647 w 564"/>
                  <a:gd name="T67" fmla="*/ 2147483647 h 588"/>
                  <a:gd name="T68" fmla="*/ 2147483647 w 564"/>
                  <a:gd name="T69" fmla="*/ 2147483647 h 588"/>
                  <a:gd name="T70" fmla="*/ 2147483647 w 564"/>
                  <a:gd name="T71" fmla="*/ 2147483647 h 588"/>
                  <a:gd name="T72" fmla="*/ 2147483647 w 564"/>
                  <a:gd name="T73" fmla="*/ 2147483647 h 588"/>
                  <a:gd name="T74" fmla="*/ 2147483647 w 564"/>
                  <a:gd name="T75" fmla="*/ 2147483647 h 588"/>
                  <a:gd name="T76" fmla="*/ 2147483647 w 564"/>
                  <a:gd name="T77" fmla="*/ 2147483647 h 588"/>
                  <a:gd name="T78" fmla="*/ 2147483647 w 564"/>
                  <a:gd name="T79" fmla="*/ 2147483647 h 588"/>
                  <a:gd name="T80" fmla="*/ 2147483647 w 564"/>
                  <a:gd name="T81" fmla="*/ 2147483647 h 588"/>
                  <a:gd name="T82" fmla="*/ 2147483647 w 564"/>
                  <a:gd name="T83" fmla="*/ 0 h 588"/>
                  <a:gd name="T84" fmla="*/ 2147483647 w 564"/>
                  <a:gd name="T85" fmla="*/ 2147483647 h 588"/>
                  <a:gd name="T86" fmla="*/ 2147483647 w 564"/>
                  <a:gd name="T87" fmla="*/ 2147483647 h 588"/>
                  <a:gd name="T88" fmla="*/ 2147483647 w 564"/>
                  <a:gd name="T89" fmla="*/ 2147483647 h 588"/>
                  <a:gd name="T90" fmla="*/ 2147483647 w 564"/>
                  <a:gd name="T91" fmla="*/ 2147483647 h 588"/>
                  <a:gd name="T92" fmla="*/ 2147483647 w 564"/>
                  <a:gd name="T93" fmla="*/ 2147483647 h 588"/>
                  <a:gd name="T94" fmla="*/ 2147483647 w 564"/>
                  <a:gd name="T95" fmla="*/ 2147483647 h 588"/>
                  <a:gd name="T96" fmla="*/ 2147483647 w 564"/>
                  <a:gd name="T97" fmla="*/ 2147483647 h 588"/>
                  <a:gd name="T98" fmla="*/ 2147483647 w 564"/>
                  <a:gd name="T99" fmla="*/ 2147483647 h 588"/>
                  <a:gd name="T100" fmla="*/ 2147483647 w 564"/>
                  <a:gd name="T101" fmla="*/ 2147483647 h 588"/>
                  <a:gd name="T102" fmla="*/ 2147483647 w 564"/>
                  <a:gd name="T103" fmla="*/ 2147483647 h 588"/>
                  <a:gd name="T104" fmla="*/ 0 w 564"/>
                  <a:gd name="T105" fmla="*/ 2147483647 h 588"/>
                  <a:gd name="T106" fmla="*/ 2147483647 w 564"/>
                  <a:gd name="T107" fmla="*/ 2147483647 h 588"/>
                  <a:gd name="T108" fmla="*/ 2147483647 w 564"/>
                  <a:gd name="T109" fmla="*/ 2147483647 h 588"/>
                  <a:gd name="T110" fmla="*/ 2147483647 w 564"/>
                  <a:gd name="T111" fmla="*/ 2147483647 h 588"/>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564"/>
                  <a:gd name="T169" fmla="*/ 0 h 588"/>
                  <a:gd name="T170" fmla="*/ 564 w 564"/>
                  <a:gd name="T171" fmla="*/ 588 h 588"/>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564" h="588">
                    <a:moveTo>
                      <a:pt x="30" y="414"/>
                    </a:moveTo>
                    <a:lnTo>
                      <a:pt x="30" y="420"/>
                    </a:lnTo>
                    <a:lnTo>
                      <a:pt x="36" y="420"/>
                    </a:lnTo>
                    <a:lnTo>
                      <a:pt x="36" y="444"/>
                    </a:lnTo>
                    <a:lnTo>
                      <a:pt x="60" y="444"/>
                    </a:lnTo>
                    <a:lnTo>
                      <a:pt x="60" y="450"/>
                    </a:lnTo>
                    <a:lnTo>
                      <a:pt x="72" y="450"/>
                    </a:lnTo>
                    <a:lnTo>
                      <a:pt x="84" y="444"/>
                    </a:lnTo>
                    <a:lnTo>
                      <a:pt x="96" y="444"/>
                    </a:lnTo>
                    <a:lnTo>
                      <a:pt x="96" y="450"/>
                    </a:lnTo>
                    <a:lnTo>
                      <a:pt x="120" y="450"/>
                    </a:lnTo>
                    <a:lnTo>
                      <a:pt x="138" y="456"/>
                    </a:lnTo>
                    <a:lnTo>
                      <a:pt x="132" y="468"/>
                    </a:lnTo>
                    <a:lnTo>
                      <a:pt x="114" y="486"/>
                    </a:lnTo>
                    <a:lnTo>
                      <a:pt x="114" y="498"/>
                    </a:lnTo>
                    <a:lnTo>
                      <a:pt x="108" y="510"/>
                    </a:lnTo>
                    <a:lnTo>
                      <a:pt x="102" y="516"/>
                    </a:lnTo>
                    <a:lnTo>
                      <a:pt x="96" y="528"/>
                    </a:lnTo>
                    <a:lnTo>
                      <a:pt x="96" y="570"/>
                    </a:lnTo>
                    <a:lnTo>
                      <a:pt x="132" y="570"/>
                    </a:lnTo>
                    <a:lnTo>
                      <a:pt x="150" y="564"/>
                    </a:lnTo>
                    <a:lnTo>
                      <a:pt x="156" y="570"/>
                    </a:lnTo>
                    <a:lnTo>
                      <a:pt x="150" y="564"/>
                    </a:lnTo>
                    <a:lnTo>
                      <a:pt x="150" y="552"/>
                    </a:lnTo>
                    <a:lnTo>
                      <a:pt x="156" y="546"/>
                    </a:lnTo>
                    <a:lnTo>
                      <a:pt x="162" y="546"/>
                    </a:lnTo>
                    <a:lnTo>
                      <a:pt x="174" y="552"/>
                    </a:lnTo>
                    <a:lnTo>
                      <a:pt x="180" y="558"/>
                    </a:lnTo>
                    <a:lnTo>
                      <a:pt x="192" y="558"/>
                    </a:lnTo>
                    <a:lnTo>
                      <a:pt x="210" y="564"/>
                    </a:lnTo>
                    <a:lnTo>
                      <a:pt x="216" y="576"/>
                    </a:lnTo>
                    <a:lnTo>
                      <a:pt x="252" y="576"/>
                    </a:lnTo>
                    <a:lnTo>
                      <a:pt x="258" y="582"/>
                    </a:lnTo>
                    <a:lnTo>
                      <a:pt x="258" y="588"/>
                    </a:lnTo>
                    <a:lnTo>
                      <a:pt x="270" y="588"/>
                    </a:lnTo>
                    <a:lnTo>
                      <a:pt x="276" y="582"/>
                    </a:lnTo>
                    <a:lnTo>
                      <a:pt x="276" y="570"/>
                    </a:lnTo>
                    <a:lnTo>
                      <a:pt x="294" y="570"/>
                    </a:lnTo>
                    <a:lnTo>
                      <a:pt x="312" y="588"/>
                    </a:lnTo>
                    <a:lnTo>
                      <a:pt x="330" y="588"/>
                    </a:lnTo>
                    <a:lnTo>
                      <a:pt x="336" y="582"/>
                    </a:lnTo>
                    <a:lnTo>
                      <a:pt x="354" y="570"/>
                    </a:lnTo>
                    <a:lnTo>
                      <a:pt x="372" y="570"/>
                    </a:lnTo>
                    <a:lnTo>
                      <a:pt x="390" y="558"/>
                    </a:lnTo>
                    <a:lnTo>
                      <a:pt x="402" y="564"/>
                    </a:lnTo>
                    <a:lnTo>
                      <a:pt x="420" y="570"/>
                    </a:lnTo>
                    <a:lnTo>
                      <a:pt x="432" y="582"/>
                    </a:lnTo>
                    <a:lnTo>
                      <a:pt x="438" y="582"/>
                    </a:lnTo>
                    <a:lnTo>
                      <a:pt x="438" y="540"/>
                    </a:lnTo>
                    <a:lnTo>
                      <a:pt x="426" y="540"/>
                    </a:lnTo>
                    <a:lnTo>
                      <a:pt x="426" y="534"/>
                    </a:lnTo>
                    <a:lnTo>
                      <a:pt x="432" y="528"/>
                    </a:lnTo>
                    <a:lnTo>
                      <a:pt x="432" y="522"/>
                    </a:lnTo>
                    <a:lnTo>
                      <a:pt x="438" y="516"/>
                    </a:lnTo>
                    <a:lnTo>
                      <a:pt x="456" y="516"/>
                    </a:lnTo>
                    <a:lnTo>
                      <a:pt x="462" y="522"/>
                    </a:lnTo>
                    <a:lnTo>
                      <a:pt x="468" y="522"/>
                    </a:lnTo>
                    <a:lnTo>
                      <a:pt x="468" y="504"/>
                    </a:lnTo>
                    <a:lnTo>
                      <a:pt x="462" y="492"/>
                    </a:lnTo>
                    <a:lnTo>
                      <a:pt x="480" y="492"/>
                    </a:lnTo>
                    <a:lnTo>
                      <a:pt x="486" y="474"/>
                    </a:lnTo>
                    <a:lnTo>
                      <a:pt x="486" y="462"/>
                    </a:lnTo>
                    <a:lnTo>
                      <a:pt x="480" y="462"/>
                    </a:lnTo>
                    <a:lnTo>
                      <a:pt x="474" y="456"/>
                    </a:lnTo>
                    <a:lnTo>
                      <a:pt x="462" y="456"/>
                    </a:lnTo>
                    <a:lnTo>
                      <a:pt x="456" y="444"/>
                    </a:lnTo>
                    <a:lnTo>
                      <a:pt x="450" y="444"/>
                    </a:lnTo>
                    <a:lnTo>
                      <a:pt x="444" y="432"/>
                    </a:lnTo>
                    <a:lnTo>
                      <a:pt x="432" y="432"/>
                    </a:lnTo>
                    <a:lnTo>
                      <a:pt x="420" y="426"/>
                    </a:lnTo>
                    <a:lnTo>
                      <a:pt x="420" y="420"/>
                    </a:lnTo>
                    <a:lnTo>
                      <a:pt x="414" y="420"/>
                    </a:lnTo>
                    <a:lnTo>
                      <a:pt x="408" y="408"/>
                    </a:lnTo>
                    <a:lnTo>
                      <a:pt x="396" y="396"/>
                    </a:lnTo>
                    <a:lnTo>
                      <a:pt x="396" y="390"/>
                    </a:lnTo>
                    <a:lnTo>
                      <a:pt x="402" y="390"/>
                    </a:lnTo>
                    <a:lnTo>
                      <a:pt x="408" y="384"/>
                    </a:lnTo>
                    <a:lnTo>
                      <a:pt x="396" y="372"/>
                    </a:lnTo>
                    <a:lnTo>
                      <a:pt x="390" y="372"/>
                    </a:lnTo>
                    <a:lnTo>
                      <a:pt x="384" y="366"/>
                    </a:lnTo>
                    <a:lnTo>
                      <a:pt x="384" y="354"/>
                    </a:lnTo>
                    <a:lnTo>
                      <a:pt x="390" y="354"/>
                    </a:lnTo>
                    <a:lnTo>
                      <a:pt x="390" y="360"/>
                    </a:lnTo>
                    <a:lnTo>
                      <a:pt x="402" y="360"/>
                    </a:lnTo>
                    <a:lnTo>
                      <a:pt x="402" y="354"/>
                    </a:lnTo>
                    <a:lnTo>
                      <a:pt x="414" y="354"/>
                    </a:lnTo>
                    <a:lnTo>
                      <a:pt x="414" y="348"/>
                    </a:lnTo>
                    <a:lnTo>
                      <a:pt x="420" y="342"/>
                    </a:lnTo>
                    <a:lnTo>
                      <a:pt x="426" y="342"/>
                    </a:lnTo>
                    <a:lnTo>
                      <a:pt x="438" y="348"/>
                    </a:lnTo>
                    <a:lnTo>
                      <a:pt x="450" y="336"/>
                    </a:lnTo>
                    <a:lnTo>
                      <a:pt x="468" y="330"/>
                    </a:lnTo>
                    <a:lnTo>
                      <a:pt x="468" y="324"/>
                    </a:lnTo>
                    <a:lnTo>
                      <a:pt x="492" y="324"/>
                    </a:lnTo>
                    <a:lnTo>
                      <a:pt x="492" y="318"/>
                    </a:lnTo>
                    <a:lnTo>
                      <a:pt x="510" y="318"/>
                    </a:lnTo>
                    <a:lnTo>
                      <a:pt x="510" y="312"/>
                    </a:lnTo>
                    <a:lnTo>
                      <a:pt x="516" y="306"/>
                    </a:lnTo>
                    <a:lnTo>
                      <a:pt x="522" y="306"/>
                    </a:lnTo>
                    <a:lnTo>
                      <a:pt x="528" y="300"/>
                    </a:lnTo>
                    <a:lnTo>
                      <a:pt x="540" y="312"/>
                    </a:lnTo>
                    <a:lnTo>
                      <a:pt x="552" y="312"/>
                    </a:lnTo>
                    <a:lnTo>
                      <a:pt x="558" y="300"/>
                    </a:lnTo>
                    <a:lnTo>
                      <a:pt x="558" y="294"/>
                    </a:lnTo>
                    <a:lnTo>
                      <a:pt x="564" y="288"/>
                    </a:lnTo>
                    <a:lnTo>
                      <a:pt x="564" y="282"/>
                    </a:lnTo>
                    <a:lnTo>
                      <a:pt x="552" y="282"/>
                    </a:lnTo>
                    <a:lnTo>
                      <a:pt x="558" y="276"/>
                    </a:lnTo>
                    <a:lnTo>
                      <a:pt x="558" y="264"/>
                    </a:lnTo>
                    <a:lnTo>
                      <a:pt x="552" y="264"/>
                    </a:lnTo>
                    <a:lnTo>
                      <a:pt x="546" y="270"/>
                    </a:lnTo>
                    <a:lnTo>
                      <a:pt x="546" y="252"/>
                    </a:lnTo>
                    <a:lnTo>
                      <a:pt x="540" y="246"/>
                    </a:lnTo>
                    <a:lnTo>
                      <a:pt x="534" y="246"/>
                    </a:lnTo>
                    <a:lnTo>
                      <a:pt x="528" y="240"/>
                    </a:lnTo>
                    <a:lnTo>
                      <a:pt x="528" y="234"/>
                    </a:lnTo>
                    <a:lnTo>
                      <a:pt x="540" y="228"/>
                    </a:lnTo>
                    <a:lnTo>
                      <a:pt x="546" y="222"/>
                    </a:lnTo>
                    <a:lnTo>
                      <a:pt x="540" y="216"/>
                    </a:lnTo>
                    <a:lnTo>
                      <a:pt x="534" y="216"/>
                    </a:lnTo>
                    <a:lnTo>
                      <a:pt x="540" y="210"/>
                    </a:lnTo>
                    <a:lnTo>
                      <a:pt x="540" y="204"/>
                    </a:lnTo>
                    <a:lnTo>
                      <a:pt x="528" y="204"/>
                    </a:lnTo>
                    <a:lnTo>
                      <a:pt x="528" y="192"/>
                    </a:lnTo>
                    <a:lnTo>
                      <a:pt x="534" y="192"/>
                    </a:lnTo>
                    <a:lnTo>
                      <a:pt x="534" y="174"/>
                    </a:lnTo>
                    <a:lnTo>
                      <a:pt x="522" y="174"/>
                    </a:lnTo>
                    <a:lnTo>
                      <a:pt x="516" y="168"/>
                    </a:lnTo>
                    <a:lnTo>
                      <a:pt x="510" y="168"/>
                    </a:lnTo>
                    <a:lnTo>
                      <a:pt x="504" y="162"/>
                    </a:lnTo>
                    <a:lnTo>
                      <a:pt x="504" y="150"/>
                    </a:lnTo>
                    <a:lnTo>
                      <a:pt x="510" y="150"/>
                    </a:lnTo>
                    <a:lnTo>
                      <a:pt x="522" y="138"/>
                    </a:lnTo>
                    <a:lnTo>
                      <a:pt x="522" y="120"/>
                    </a:lnTo>
                    <a:lnTo>
                      <a:pt x="516" y="114"/>
                    </a:lnTo>
                    <a:lnTo>
                      <a:pt x="510" y="114"/>
                    </a:lnTo>
                    <a:lnTo>
                      <a:pt x="510" y="96"/>
                    </a:lnTo>
                    <a:lnTo>
                      <a:pt x="504" y="90"/>
                    </a:lnTo>
                    <a:lnTo>
                      <a:pt x="486" y="84"/>
                    </a:lnTo>
                    <a:lnTo>
                      <a:pt x="486" y="78"/>
                    </a:lnTo>
                    <a:lnTo>
                      <a:pt x="480" y="66"/>
                    </a:lnTo>
                    <a:lnTo>
                      <a:pt x="474" y="60"/>
                    </a:lnTo>
                    <a:lnTo>
                      <a:pt x="456" y="60"/>
                    </a:lnTo>
                    <a:lnTo>
                      <a:pt x="450" y="54"/>
                    </a:lnTo>
                    <a:lnTo>
                      <a:pt x="444" y="54"/>
                    </a:lnTo>
                    <a:lnTo>
                      <a:pt x="438" y="48"/>
                    </a:lnTo>
                    <a:lnTo>
                      <a:pt x="426" y="48"/>
                    </a:lnTo>
                    <a:lnTo>
                      <a:pt x="420" y="42"/>
                    </a:lnTo>
                    <a:lnTo>
                      <a:pt x="396" y="42"/>
                    </a:lnTo>
                    <a:lnTo>
                      <a:pt x="384" y="54"/>
                    </a:lnTo>
                    <a:lnTo>
                      <a:pt x="342" y="54"/>
                    </a:lnTo>
                    <a:lnTo>
                      <a:pt x="342" y="72"/>
                    </a:lnTo>
                    <a:lnTo>
                      <a:pt x="300" y="72"/>
                    </a:lnTo>
                    <a:lnTo>
                      <a:pt x="300" y="60"/>
                    </a:lnTo>
                    <a:lnTo>
                      <a:pt x="312" y="48"/>
                    </a:lnTo>
                    <a:lnTo>
                      <a:pt x="312" y="42"/>
                    </a:lnTo>
                    <a:lnTo>
                      <a:pt x="318" y="30"/>
                    </a:lnTo>
                    <a:lnTo>
                      <a:pt x="294" y="42"/>
                    </a:lnTo>
                    <a:lnTo>
                      <a:pt x="252" y="36"/>
                    </a:lnTo>
                    <a:lnTo>
                      <a:pt x="246" y="30"/>
                    </a:lnTo>
                    <a:lnTo>
                      <a:pt x="246" y="18"/>
                    </a:lnTo>
                    <a:lnTo>
                      <a:pt x="240" y="6"/>
                    </a:lnTo>
                    <a:lnTo>
                      <a:pt x="234" y="6"/>
                    </a:lnTo>
                    <a:lnTo>
                      <a:pt x="234" y="12"/>
                    </a:lnTo>
                    <a:lnTo>
                      <a:pt x="228" y="6"/>
                    </a:lnTo>
                    <a:lnTo>
                      <a:pt x="204" y="6"/>
                    </a:lnTo>
                    <a:lnTo>
                      <a:pt x="198" y="0"/>
                    </a:lnTo>
                    <a:lnTo>
                      <a:pt x="168" y="0"/>
                    </a:lnTo>
                    <a:lnTo>
                      <a:pt x="192" y="36"/>
                    </a:lnTo>
                    <a:lnTo>
                      <a:pt x="180" y="48"/>
                    </a:lnTo>
                    <a:lnTo>
                      <a:pt x="198" y="72"/>
                    </a:lnTo>
                    <a:lnTo>
                      <a:pt x="216" y="90"/>
                    </a:lnTo>
                    <a:lnTo>
                      <a:pt x="186" y="78"/>
                    </a:lnTo>
                    <a:lnTo>
                      <a:pt x="162" y="84"/>
                    </a:lnTo>
                    <a:lnTo>
                      <a:pt x="162" y="108"/>
                    </a:lnTo>
                    <a:lnTo>
                      <a:pt x="132" y="108"/>
                    </a:lnTo>
                    <a:lnTo>
                      <a:pt x="126" y="96"/>
                    </a:lnTo>
                    <a:lnTo>
                      <a:pt x="84" y="96"/>
                    </a:lnTo>
                    <a:lnTo>
                      <a:pt x="84" y="126"/>
                    </a:lnTo>
                    <a:lnTo>
                      <a:pt x="90" y="126"/>
                    </a:lnTo>
                    <a:lnTo>
                      <a:pt x="84" y="132"/>
                    </a:lnTo>
                    <a:lnTo>
                      <a:pt x="90" y="144"/>
                    </a:lnTo>
                    <a:lnTo>
                      <a:pt x="78" y="150"/>
                    </a:lnTo>
                    <a:lnTo>
                      <a:pt x="72" y="150"/>
                    </a:lnTo>
                    <a:lnTo>
                      <a:pt x="72" y="168"/>
                    </a:lnTo>
                    <a:lnTo>
                      <a:pt x="78" y="174"/>
                    </a:lnTo>
                    <a:lnTo>
                      <a:pt x="66" y="174"/>
                    </a:lnTo>
                    <a:lnTo>
                      <a:pt x="54" y="180"/>
                    </a:lnTo>
                    <a:lnTo>
                      <a:pt x="48" y="180"/>
                    </a:lnTo>
                    <a:lnTo>
                      <a:pt x="48" y="186"/>
                    </a:lnTo>
                    <a:lnTo>
                      <a:pt x="54" y="192"/>
                    </a:lnTo>
                    <a:lnTo>
                      <a:pt x="60" y="192"/>
                    </a:lnTo>
                    <a:lnTo>
                      <a:pt x="72" y="204"/>
                    </a:lnTo>
                    <a:lnTo>
                      <a:pt x="72" y="210"/>
                    </a:lnTo>
                    <a:lnTo>
                      <a:pt x="66" y="210"/>
                    </a:lnTo>
                    <a:lnTo>
                      <a:pt x="60" y="216"/>
                    </a:lnTo>
                    <a:lnTo>
                      <a:pt x="54" y="228"/>
                    </a:lnTo>
                    <a:lnTo>
                      <a:pt x="48" y="228"/>
                    </a:lnTo>
                    <a:lnTo>
                      <a:pt x="42" y="234"/>
                    </a:lnTo>
                    <a:lnTo>
                      <a:pt x="42" y="240"/>
                    </a:lnTo>
                    <a:lnTo>
                      <a:pt x="18" y="240"/>
                    </a:lnTo>
                    <a:lnTo>
                      <a:pt x="12" y="234"/>
                    </a:lnTo>
                    <a:lnTo>
                      <a:pt x="6" y="234"/>
                    </a:lnTo>
                    <a:lnTo>
                      <a:pt x="12" y="258"/>
                    </a:lnTo>
                    <a:lnTo>
                      <a:pt x="12" y="264"/>
                    </a:lnTo>
                    <a:lnTo>
                      <a:pt x="18" y="270"/>
                    </a:lnTo>
                    <a:lnTo>
                      <a:pt x="18" y="276"/>
                    </a:lnTo>
                    <a:lnTo>
                      <a:pt x="6" y="282"/>
                    </a:lnTo>
                    <a:lnTo>
                      <a:pt x="0" y="288"/>
                    </a:lnTo>
                    <a:lnTo>
                      <a:pt x="6" y="294"/>
                    </a:lnTo>
                    <a:lnTo>
                      <a:pt x="6" y="306"/>
                    </a:lnTo>
                    <a:lnTo>
                      <a:pt x="0" y="312"/>
                    </a:lnTo>
                    <a:lnTo>
                      <a:pt x="0" y="324"/>
                    </a:lnTo>
                    <a:lnTo>
                      <a:pt x="12" y="324"/>
                    </a:lnTo>
                    <a:lnTo>
                      <a:pt x="24" y="336"/>
                    </a:lnTo>
                    <a:lnTo>
                      <a:pt x="24" y="354"/>
                    </a:lnTo>
                    <a:lnTo>
                      <a:pt x="30" y="360"/>
                    </a:lnTo>
                    <a:lnTo>
                      <a:pt x="18" y="360"/>
                    </a:lnTo>
                    <a:lnTo>
                      <a:pt x="12" y="366"/>
                    </a:lnTo>
                    <a:lnTo>
                      <a:pt x="12" y="384"/>
                    </a:lnTo>
                    <a:lnTo>
                      <a:pt x="18" y="390"/>
                    </a:lnTo>
                    <a:lnTo>
                      <a:pt x="24" y="390"/>
                    </a:lnTo>
                    <a:lnTo>
                      <a:pt x="36" y="396"/>
                    </a:lnTo>
                    <a:lnTo>
                      <a:pt x="36" y="408"/>
                    </a:lnTo>
                    <a:lnTo>
                      <a:pt x="30" y="414"/>
                    </a:lnTo>
                    <a:close/>
                  </a:path>
                </a:pathLst>
              </a:custGeom>
              <a:grpFill/>
              <a:ln w="3175">
                <a:solidFill>
                  <a:schemeClr val="bg1"/>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de-DE" sz="1800" b="0" i="0" u="none" strike="noStrike" kern="1200" cap="none" spc="0" normalizeH="0" baseline="0" noProof="0">
                  <a:ln>
                    <a:noFill/>
                  </a:ln>
                  <a:solidFill>
                    <a:srgbClr val="FFC000"/>
                  </a:solidFill>
                  <a:effectLst/>
                  <a:uLnTx/>
                  <a:uFillTx/>
                  <a:latin typeface="Calibri" pitchFamily="34" charset="0"/>
                  <a:ea typeface="+mn-ea"/>
                  <a:cs typeface="+mn-cs"/>
                </a:endParaRPr>
              </a:p>
            </p:txBody>
          </p:sp>
          <p:sp>
            <p:nvSpPr>
              <p:cNvPr id="200" name="Czech Republic" descr="© INSCALE GmbH, 05.05.2010&#10;http://www.presentationload.com/"/>
              <p:cNvSpPr>
                <a:spLocks/>
              </p:cNvSpPr>
              <p:nvPr/>
            </p:nvSpPr>
            <p:spPr bwMode="gray">
              <a:xfrm>
                <a:off x="4740906" y="3032464"/>
                <a:ext cx="136943" cy="60015"/>
              </a:xfrm>
              <a:custGeom>
                <a:avLst/>
                <a:gdLst>
                  <a:gd name="T0" fmla="*/ 2147483647 w 420"/>
                  <a:gd name="T1" fmla="*/ 2147483647 h 192"/>
                  <a:gd name="T2" fmla="*/ 2147483647 w 420"/>
                  <a:gd name="T3" fmla="*/ 2147483647 h 192"/>
                  <a:gd name="T4" fmla="*/ 2147483647 w 420"/>
                  <a:gd name="T5" fmla="*/ 2147483647 h 192"/>
                  <a:gd name="T6" fmla="*/ 2147483647 w 420"/>
                  <a:gd name="T7" fmla="*/ 2147483647 h 192"/>
                  <a:gd name="T8" fmla="*/ 2147483647 w 420"/>
                  <a:gd name="T9" fmla="*/ 2147483647 h 192"/>
                  <a:gd name="T10" fmla="*/ 2147483647 w 420"/>
                  <a:gd name="T11" fmla="*/ 2147483647 h 192"/>
                  <a:gd name="T12" fmla="*/ 2147483647 w 420"/>
                  <a:gd name="T13" fmla="*/ 2147483647 h 192"/>
                  <a:gd name="T14" fmla="*/ 2147483647 w 420"/>
                  <a:gd name="T15" fmla="*/ 2147483647 h 192"/>
                  <a:gd name="T16" fmla="*/ 2147483647 w 420"/>
                  <a:gd name="T17" fmla="*/ 2147483647 h 192"/>
                  <a:gd name="T18" fmla="*/ 2147483647 w 420"/>
                  <a:gd name="T19" fmla="*/ 2147483647 h 192"/>
                  <a:gd name="T20" fmla="*/ 2147483647 w 420"/>
                  <a:gd name="T21" fmla="*/ 2147483647 h 192"/>
                  <a:gd name="T22" fmla="*/ 2147483647 w 420"/>
                  <a:gd name="T23" fmla="*/ 2147483647 h 192"/>
                  <a:gd name="T24" fmla="*/ 2147483647 w 420"/>
                  <a:gd name="T25" fmla="*/ 2147483647 h 192"/>
                  <a:gd name="T26" fmla="*/ 2147483647 w 420"/>
                  <a:gd name="T27" fmla="*/ 2147483647 h 192"/>
                  <a:gd name="T28" fmla="*/ 2147483647 w 420"/>
                  <a:gd name="T29" fmla="*/ 0 h 192"/>
                  <a:gd name="T30" fmla="*/ 2147483647 w 420"/>
                  <a:gd name="T31" fmla="*/ 2147483647 h 192"/>
                  <a:gd name="T32" fmla="*/ 2147483647 w 420"/>
                  <a:gd name="T33" fmla="*/ 0 h 192"/>
                  <a:gd name="T34" fmla="*/ 2147483647 w 420"/>
                  <a:gd name="T35" fmla="*/ 2147483647 h 192"/>
                  <a:gd name="T36" fmla="*/ 2147483647 w 420"/>
                  <a:gd name="T37" fmla="*/ 2147483647 h 192"/>
                  <a:gd name="T38" fmla="*/ 2147483647 w 420"/>
                  <a:gd name="T39" fmla="*/ 2147483647 h 192"/>
                  <a:gd name="T40" fmla="*/ 2147483647 w 420"/>
                  <a:gd name="T41" fmla="*/ 2147483647 h 192"/>
                  <a:gd name="T42" fmla="*/ 2147483647 w 420"/>
                  <a:gd name="T43" fmla="*/ 2147483647 h 192"/>
                  <a:gd name="T44" fmla="*/ 2147483647 w 420"/>
                  <a:gd name="T45" fmla="*/ 2147483647 h 192"/>
                  <a:gd name="T46" fmla="*/ 2147483647 w 420"/>
                  <a:gd name="T47" fmla="*/ 2147483647 h 192"/>
                  <a:gd name="T48" fmla="*/ 2147483647 w 420"/>
                  <a:gd name="T49" fmla="*/ 2147483647 h 192"/>
                  <a:gd name="T50" fmla="*/ 2147483647 w 420"/>
                  <a:gd name="T51" fmla="*/ 2147483647 h 192"/>
                  <a:gd name="T52" fmla="*/ 0 w 420"/>
                  <a:gd name="T53" fmla="*/ 2147483647 h 192"/>
                  <a:gd name="T54" fmla="*/ 2147483647 w 420"/>
                  <a:gd name="T55" fmla="*/ 2147483647 h 192"/>
                  <a:gd name="T56" fmla="*/ 2147483647 w 420"/>
                  <a:gd name="T57" fmla="*/ 2147483647 h 192"/>
                  <a:gd name="T58" fmla="*/ 2147483647 w 420"/>
                  <a:gd name="T59" fmla="*/ 2147483647 h 192"/>
                  <a:gd name="T60" fmla="*/ 2147483647 w 420"/>
                  <a:gd name="T61" fmla="*/ 2147483647 h 192"/>
                  <a:gd name="T62" fmla="*/ 2147483647 w 420"/>
                  <a:gd name="T63" fmla="*/ 2147483647 h 192"/>
                  <a:gd name="T64" fmla="*/ 2147483647 w 420"/>
                  <a:gd name="T65" fmla="*/ 2147483647 h 192"/>
                  <a:gd name="T66" fmla="*/ 2147483647 w 420"/>
                  <a:gd name="T67" fmla="*/ 2147483647 h 192"/>
                  <a:gd name="T68" fmla="*/ 2147483647 w 420"/>
                  <a:gd name="T69" fmla="*/ 2147483647 h 192"/>
                  <a:gd name="T70" fmla="*/ 2147483647 w 420"/>
                  <a:gd name="T71" fmla="*/ 2147483647 h 192"/>
                  <a:gd name="T72" fmla="*/ 2147483647 w 420"/>
                  <a:gd name="T73" fmla="*/ 2147483647 h 192"/>
                  <a:gd name="T74" fmla="*/ 2147483647 w 420"/>
                  <a:gd name="T75" fmla="*/ 2147483647 h 192"/>
                  <a:gd name="T76" fmla="*/ 2147483647 w 420"/>
                  <a:gd name="T77" fmla="*/ 2147483647 h 192"/>
                  <a:gd name="T78" fmla="*/ 2147483647 w 420"/>
                  <a:gd name="T79" fmla="*/ 2147483647 h 192"/>
                  <a:gd name="T80" fmla="*/ 2147483647 w 420"/>
                  <a:gd name="T81" fmla="*/ 2147483647 h 192"/>
                  <a:gd name="T82" fmla="*/ 2147483647 w 420"/>
                  <a:gd name="T83" fmla="*/ 2147483647 h 192"/>
                  <a:gd name="T84" fmla="*/ 2147483647 w 420"/>
                  <a:gd name="T85" fmla="*/ 2147483647 h 192"/>
                  <a:gd name="T86" fmla="*/ 2147483647 w 420"/>
                  <a:gd name="T87" fmla="*/ 2147483647 h 192"/>
                  <a:gd name="T88" fmla="*/ 2147483647 w 420"/>
                  <a:gd name="T89" fmla="*/ 2147483647 h 192"/>
                  <a:gd name="T90" fmla="*/ 2147483647 w 420"/>
                  <a:gd name="T91" fmla="*/ 2147483647 h 192"/>
                  <a:gd name="T92" fmla="*/ 2147483647 w 420"/>
                  <a:gd name="T93" fmla="*/ 2147483647 h 192"/>
                  <a:gd name="T94" fmla="*/ 2147483647 w 420"/>
                  <a:gd name="T95" fmla="*/ 2147483647 h 192"/>
                  <a:gd name="T96" fmla="*/ 2147483647 w 420"/>
                  <a:gd name="T97" fmla="*/ 2147483647 h 192"/>
                  <a:gd name="T98" fmla="*/ 2147483647 w 420"/>
                  <a:gd name="T99" fmla="*/ 2147483647 h 192"/>
                  <a:gd name="T100" fmla="*/ 2147483647 w 420"/>
                  <a:gd name="T101" fmla="*/ 2147483647 h 192"/>
                  <a:gd name="T102" fmla="*/ 2147483647 w 420"/>
                  <a:gd name="T103" fmla="*/ 2147483647 h 192"/>
                  <a:gd name="T104" fmla="*/ 2147483647 w 420"/>
                  <a:gd name="T105" fmla="*/ 2147483647 h 192"/>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420"/>
                  <a:gd name="T160" fmla="*/ 0 h 192"/>
                  <a:gd name="T161" fmla="*/ 420 w 420"/>
                  <a:gd name="T162" fmla="*/ 192 h 192"/>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420" h="192">
                    <a:moveTo>
                      <a:pt x="408" y="108"/>
                    </a:moveTo>
                    <a:lnTo>
                      <a:pt x="402" y="96"/>
                    </a:lnTo>
                    <a:lnTo>
                      <a:pt x="402" y="90"/>
                    </a:lnTo>
                    <a:lnTo>
                      <a:pt x="390" y="84"/>
                    </a:lnTo>
                    <a:lnTo>
                      <a:pt x="372" y="84"/>
                    </a:lnTo>
                    <a:lnTo>
                      <a:pt x="372" y="78"/>
                    </a:lnTo>
                    <a:lnTo>
                      <a:pt x="366" y="72"/>
                    </a:lnTo>
                    <a:lnTo>
                      <a:pt x="360" y="84"/>
                    </a:lnTo>
                    <a:lnTo>
                      <a:pt x="354" y="78"/>
                    </a:lnTo>
                    <a:lnTo>
                      <a:pt x="348" y="66"/>
                    </a:lnTo>
                    <a:lnTo>
                      <a:pt x="342" y="60"/>
                    </a:lnTo>
                    <a:lnTo>
                      <a:pt x="324" y="60"/>
                    </a:lnTo>
                    <a:lnTo>
                      <a:pt x="330" y="54"/>
                    </a:lnTo>
                    <a:lnTo>
                      <a:pt x="312" y="54"/>
                    </a:lnTo>
                    <a:lnTo>
                      <a:pt x="300" y="60"/>
                    </a:lnTo>
                    <a:lnTo>
                      <a:pt x="294" y="60"/>
                    </a:lnTo>
                    <a:lnTo>
                      <a:pt x="294" y="66"/>
                    </a:lnTo>
                    <a:lnTo>
                      <a:pt x="276" y="66"/>
                    </a:lnTo>
                    <a:lnTo>
                      <a:pt x="270" y="60"/>
                    </a:lnTo>
                    <a:lnTo>
                      <a:pt x="264" y="60"/>
                    </a:lnTo>
                    <a:lnTo>
                      <a:pt x="264" y="48"/>
                    </a:lnTo>
                    <a:lnTo>
                      <a:pt x="252" y="42"/>
                    </a:lnTo>
                    <a:lnTo>
                      <a:pt x="264" y="36"/>
                    </a:lnTo>
                    <a:lnTo>
                      <a:pt x="258" y="30"/>
                    </a:lnTo>
                    <a:lnTo>
                      <a:pt x="234" y="30"/>
                    </a:lnTo>
                    <a:lnTo>
                      <a:pt x="234" y="24"/>
                    </a:lnTo>
                    <a:lnTo>
                      <a:pt x="228" y="24"/>
                    </a:lnTo>
                    <a:lnTo>
                      <a:pt x="216" y="18"/>
                    </a:lnTo>
                    <a:lnTo>
                      <a:pt x="198" y="18"/>
                    </a:lnTo>
                    <a:lnTo>
                      <a:pt x="192" y="0"/>
                    </a:lnTo>
                    <a:lnTo>
                      <a:pt x="174" y="0"/>
                    </a:lnTo>
                    <a:lnTo>
                      <a:pt x="162" y="12"/>
                    </a:lnTo>
                    <a:lnTo>
                      <a:pt x="156" y="12"/>
                    </a:lnTo>
                    <a:lnTo>
                      <a:pt x="144" y="0"/>
                    </a:lnTo>
                    <a:lnTo>
                      <a:pt x="138" y="6"/>
                    </a:lnTo>
                    <a:lnTo>
                      <a:pt x="132" y="6"/>
                    </a:lnTo>
                    <a:lnTo>
                      <a:pt x="126" y="12"/>
                    </a:lnTo>
                    <a:lnTo>
                      <a:pt x="126" y="18"/>
                    </a:lnTo>
                    <a:lnTo>
                      <a:pt x="108" y="18"/>
                    </a:lnTo>
                    <a:lnTo>
                      <a:pt x="108" y="24"/>
                    </a:lnTo>
                    <a:lnTo>
                      <a:pt x="84" y="24"/>
                    </a:lnTo>
                    <a:lnTo>
                      <a:pt x="84" y="30"/>
                    </a:lnTo>
                    <a:lnTo>
                      <a:pt x="66" y="36"/>
                    </a:lnTo>
                    <a:lnTo>
                      <a:pt x="54" y="48"/>
                    </a:lnTo>
                    <a:lnTo>
                      <a:pt x="42" y="42"/>
                    </a:lnTo>
                    <a:lnTo>
                      <a:pt x="36" y="42"/>
                    </a:lnTo>
                    <a:lnTo>
                      <a:pt x="30" y="48"/>
                    </a:lnTo>
                    <a:lnTo>
                      <a:pt x="30" y="54"/>
                    </a:lnTo>
                    <a:lnTo>
                      <a:pt x="18" y="54"/>
                    </a:lnTo>
                    <a:lnTo>
                      <a:pt x="18" y="60"/>
                    </a:lnTo>
                    <a:lnTo>
                      <a:pt x="6" y="60"/>
                    </a:lnTo>
                    <a:lnTo>
                      <a:pt x="6" y="54"/>
                    </a:lnTo>
                    <a:lnTo>
                      <a:pt x="0" y="54"/>
                    </a:lnTo>
                    <a:lnTo>
                      <a:pt x="0" y="66"/>
                    </a:lnTo>
                    <a:lnTo>
                      <a:pt x="6" y="72"/>
                    </a:lnTo>
                    <a:lnTo>
                      <a:pt x="12" y="72"/>
                    </a:lnTo>
                    <a:lnTo>
                      <a:pt x="24" y="84"/>
                    </a:lnTo>
                    <a:lnTo>
                      <a:pt x="18" y="90"/>
                    </a:lnTo>
                    <a:lnTo>
                      <a:pt x="12" y="90"/>
                    </a:lnTo>
                    <a:lnTo>
                      <a:pt x="12" y="96"/>
                    </a:lnTo>
                    <a:lnTo>
                      <a:pt x="24" y="108"/>
                    </a:lnTo>
                    <a:lnTo>
                      <a:pt x="30" y="120"/>
                    </a:lnTo>
                    <a:lnTo>
                      <a:pt x="36" y="120"/>
                    </a:lnTo>
                    <a:lnTo>
                      <a:pt x="36" y="126"/>
                    </a:lnTo>
                    <a:lnTo>
                      <a:pt x="48" y="132"/>
                    </a:lnTo>
                    <a:lnTo>
                      <a:pt x="60" y="132"/>
                    </a:lnTo>
                    <a:lnTo>
                      <a:pt x="66" y="144"/>
                    </a:lnTo>
                    <a:lnTo>
                      <a:pt x="72" y="144"/>
                    </a:lnTo>
                    <a:lnTo>
                      <a:pt x="78" y="156"/>
                    </a:lnTo>
                    <a:lnTo>
                      <a:pt x="90" y="156"/>
                    </a:lnTo>
                    <a:lnTo>
                      <a:pt x="96" y="162"/>
                    </a:lnTo>
                    <a:lnTo>
                      <a:pt x="102" y="162"/>
                    </a:lnTo>
                    <a:lnTo>
                      <a:pt x="102" y="174"/>
                    </a:lnTo>
                    <a:lnTo>
                      <a:pt x="120" y="192"/>
                    </a:lnTo>
                    <a:lnTo>
                      <a:pt x="132" y="192"/>
                    </a:lnTo>
                    <a:lnTo>
                      <a:pt x="144" y="186"/>
                    </a:lnTo>
                    <a:lnTo>
                      <a:pt x="150" y="186"/>
                    </a:lnTo>
                    <a:lnTo>
                      <a:pt x="162" y="192"/>
                    </a:lnTo>
                    <a:lnTo>
                      <a:pt x="162" y="174"/>
                    </a:lnTo>
                    <a:lnTo>
                      <a:pt x="168" y="174"/>
                    </a:lnTo>
                    <a:lnTo>
                      <a:pt x="174" y="162"/>
                    </a:lnTo>
                    <a:lnTo>
                      <a:pt x="180" y="156"/>
                    </a:lnTo>
                    <a:lnTo>
                      <a:pt x="198" y="156"/>
                    </a:lnTo>
                    <a:lnTo>
                      <a:pt x="210" y="162"/>
                    </a:lnTo>
                    <a:lnTo>
                      <a:pt x="222" y="174"/>
                    </a:lnTo>
                    <a:lnTo>
                      <a:pt x="234" y="168"/>
                    </a:lnTo>
                    <a:lnTo>
                      <a:pt x="246" y="180"/>
                    </a:lnTo>
                    <a:lnTo>
                      <a:pt x="258" y="174"/>
                    </a:lnTo>
                    <a:lnTo>
                      <a:pt x="264" y="168"/>
                    </a:lnTo>
                    <a:lnTo>
                      <a:pt x="276" y="168"/>
                    </a:lnTo>
                    <a:lnTo>
                      <a:pt x="282" y="174"/>
                    </a:lnTo>
                    <a:lnTo>
                      <a:pt x="288" y="174"/>
                    </a:lnTo>
                    <a:lnTo>
                      <a:pt x="300" y="180"/>
                    </a:lnTo>
                    <a:lnTo>
                      <a:pt x="306" y="174"/>
                    </a:lnTo>
                    <a:lnTo>
                      <a:pt x="324" y="174"/>
                    </a:lnTo>
                    <a:lnTo>
                      <a:pt x="330" y="168"/>
                    </a:lnTo>
                    <a:lnTo>
                      <a:pt x="330" y="174"/>
                    </a:lnTo>
                    <a:lnTo>
                      <a:pt x="348" y="174"/>
                    </a:lnTo>
                    <a:lnTo>
                      <a:pt x="360" y="168"/>
                    </a:lnTo>
                    <a:lnTo>
                      <a:pt x="366" y="162"/>
                    </a:lnTo>
                    <a:lnTo>
                      <a:pt x="378" y="156"/>
                    </a:lnTo>
                    <a:lnTo>
                      <a:pt x="378" y="132"/>
                    </a:lnTo>
                    <a:lnTo>
                      <a:pt x="402" y="126"/>
                    </a:lnTo>
                    <a:lnTo>
                      <a:pt x="420" y="114"/>
                    </a:lnTo>
                    <a:lnTo>
                      <a:pt x="414" y="108"/>
                    </a:lnTo>
                    <a:lnTo>
                      <a:pt x="408" y="108"/>
                    </a:lnTo>
                    <a:close/>
                  </a:path>
                </a:pathLst>
              </a:custGeom>
              <a:grpFill/>
              <a:ln w="3175">
                <a:solidFill>
                  <a:schemeClr val="bg1"/>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de-DE" sz="1800" b="0" i="0" u="none" strike="noStrike" kern="1200" cap="none" spc="0" normalizeH="0" baseline="0" noProof="0">
                  <a:ln>
                    <a:noFill/>
                  </a:ln>
                  <a:solidFill>
                    <a:srgbClr val="FFC000"/>
                  </a:solidFill>
                  <a:effectLst/>
                  <a:uLnTx/>
                  <a:uFillTx/>
                  <a:latin typeface="Calibri" pitchFamily="34" charset="0"/>
                  <a:ea typeface="+mn-ea"/>
                  <a:cs typeface="+mn-cs"/>
                </a:endParaRPr>
              </a:p>
            </p:txBody>
          </p:sp>
        </p:grpSp>
        <p:sp>
          <p:nvSpPr>
            <p:cNvPr id="151" name="Cyprus" descr="© INSCALE GmbH, 05.05.2010&#10;http://www.presentationload.com/"/>
            <p:cNvSpPr>
              <a:spLocks/>
            </p:cNvSpPr>
            <p:nvPr/>
          </p:nvSpPr>
          <p:spPr bwMode="gray">
            <a:xfrm>
              <a:off x="5181171" y="3413373"/>
              <a:ext cx="47355" cy="25721"/>
            </a:xfrm>
            <a:custGeom>
              <a:avLst/>
              <a:gdLst>
                <a:gd name="T0" fmla="*/ 0 w 150"/>
                <a:gd name="T1" fmla="*/ 2147483647 h 84"/>
                <a:gd name="T2" fmla="*/ 2147483647 w 150"/>
                <a:gd name="T3" fmla="*/ 2147483647 h 84"/>
                <a:gd name="T4" fmla="*/ 2147483647 w 150"/>
                <a:gd name="T5" fmla="*/ 2147483647 h 84"/>
                <a:gd name="T6" fmla="*/ 2147483647 w 150"/>
                <a:gd name="T7" fmla="*/ 2147483647 h 84"/>
                <a:gd name="T8" fmla="*/ 2147483647 w 150"/>
                <a:gd name="T9" fmla="*/ 2147483647 h 84"/>
                <a:gd name="T10" fmla="*/ 2147483647 w 150"/>
                <a:gd name="T11" fmla="*/ 2147483647 h 84"/>
                <a:gd name="T12" fmla="*/ 2147483647 w 150"/>
                <a:gd name="T13" fmla="*/ 2147483647 h 84"/>
                <a:gd name="T14" fmla="*/ 2147483647 w 150"/>
                <a:gd name="T15" fmla="*/ 2147483647 h 84"/>
                <a:gd name="T16" fmla="*/ 2147483647 w 150"/>
                <a:gd name="T17" fmla="*/ 2147483647 h 84"/>
                <a:gd name="T18" fmla="*/ 2147483647 w 150"/>
                <a:gd name="T19" fmla="*/ 2147483647 h 84"/>
                <a:gd name="T20" fmla="*/ 2147483647 w 150"/>
                <a:gd name="T21" fmla="*/ 2147483647 h 84"/>
                <a:gd name="T22" fmla="*/ 2147483647 w 150"/>
                <a:gd name="T23" fmla="*/ 2147483647 h 84"/>
                <a:gd name="T24" fmla="*/ 2147483647 w 150"/>
                <a:gd name="T25" fmla="*/ 2147483647 h 84"/>
                <a:gd name="T26" fmla="*/ 2147483647 w 150"/>
                <a:gd name="T27" fmla="*/ 0 h 84"/>
                <a:gd name="T28" fmla="*/ 2147483647 w 150"/>
                <a:gd name="T29" fmla="*/ 2147483647 h 84"/>
                <a:gd name="T30" fmla="*/ 2147483647 w 150"/>
                <a:gd name="T31" fmla="*/ 2147483647 h 84"/>
                <a:gd name="T32" fmla="*/ 2147483647 w 150"/>
                <a:gd name="T33" fmla="*/ 2147483647 h 84"/>
                <a:gd name="T34" fmla="*/ 2147483647 w 150"/>
                <a:gd name="T35" fmla="*/ 2147483647 h 84"/>
                <a:gd name="T36" fmla="*/ 2147483647 w 150"/>
                <a:gd name="T37" fmla="*/ 2147483647 h 84"/>
                <a:gd name="T38" fmla="*/ 0 w 150"/>
                <a:gd name="T39" fmla="*/ 2147483647 h 84"/>
                <a:gd name="T40" fmla="*/ 0 w 150"/>
                <a:gd name="T41" fmla="*/ 2147483647 h 84"/>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50"/>
                <a:gd name="T64" fmla="*/ 0 h 84"/>
                <a:gd name="T65" fmla="*/ 150 w 150"/>
                <a:gd name="T66" fmla="*/ 84 h 84"/>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50" h="84">
                  <a:moveTo>
                    <a:pt x="0" y="48"/>
                  </a:moveTo>
                  <a:lnTo>
                    <a:pt x="6" y="60"/>
                  </a:lnTo>
                  <a:lnTo>
                    <a:pt x="30" y="72"/>
                  </a:lnTo>
                  <a:lnTo>
                    <a:pt x="36" y="84"/>
                  </a:lnTo>
                  <a:lnTo>
                    <a:pt x="54" y="84"/>
                  </a:lnTo>
                  <a:lnTo>
                    <a:pt x="60" y="78"/>
                  </a:lnTo>
                  <a:lnTo>
                    <a:pt x="72" y="72"/>
                  </a:lnTo>
                  <a:lnTo>
                    <a:pt x="78" y="66"/>
                  </a:lnTo>
                  <a:lnTo>
                    <a:pt x="90" y="60"/>
                  </a:lnTo>
                  <a:lnTo>
                    <a:pt x="96" y="54"/>
                  </a:lnTo>
                  <a:lnTo>
                    <a:pt x="102" y="60"/>
                  </a:lnTo>
                  <a:lnTo>
                    <a:pt x="120" y="60"/>
                  </a:lnTo>
                  <a:lnTo>
                    <a:pt x="120" y="36"/>
                  </a:lnTo>
                  <a:lnTo>
                    <a:pt x="150" y="0"/>
                  </a:lnTo>
                  <a:lnTo>
                    <a:pt x="108" y="24"/>
                  </a:lnTo>
                  <a:lnTo>
                    <a:pt x="54" y="24"/>
                  </a:lnTo>
                  <a:lnTo>
                    <a:pt x="48" y="30"/>
                  </a:lnTo>
                  <a:lnTo>
                    <a:pt x="48" y="36"/>
                  </a:lnTo>
                  <a:lnTo>
                    <a:pt x="12" y="36"/>
                  </a:lnTo>
                  <a:lnTo>
                    <a:pt x="0" y="42"/>
                  </a:lnTo>
                  <a:lnTo>
                    <a:pt x="0" y="48"/>
                  </a:lnTo>
                  <a:close/>
                </a:path>
              </a:pathLst>
            </a:custGeom>
            <a:grpFill/>
            <a:ln w="3175">
              <a:solidFill>
                <a:schemeClr val="bg1"/>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de-DE" sz="1800" b="0" i="0" u="none" strike="noStrike" kern="1200" cap="none" spc="0" normalizeH="0" baseline="0" noProof="0">
                <a:ln>
                  <a:noFill/>
                </a:ln>
                <a:solidFill>
                  <a:srgbClr val="FFC000"/>
                </a:solidFill>
                <a:effectLst/>
                <a:uLnTx/>
                <a:uFillTx/>
                <a:latin typeface="Calibri" pitchFamily="34" charset="0"/>
                <a:ea typeface="+mn-ea"/>
                <a:cs typeface="+mn-cs"/>
              </a:endParaRPr>
            </a:p>
          </p:txBody>
        </p:sp>
        <p:sp>
          <p:nvSpPr>
            <p:cNvPr id="152" name="Cuba" descr="© INSCALE GmbH, 05.05.2010&#10;http://www.presentationload.com/"/>
            <p:cNvSpPr>
              <a:spLocks noEditPoints="1"/>
            </p:cNvSpPr>
            <p:nvPr/>
          </p:nvSpPr>
          <p:spPr bwMode="gray">
            <a:xfrm>
              <a:off x="2551098" y="3723245"/>
              <a:ext cx="239330" cy="83285"/>
            </a:xfrm>
            <a:custGeom>
              <a:avLst/>
              <a:gdLst>
                <a:gd name="T0" fmla="*/ 2147483647 w 738"/>
                <a:gd name="T1" fmla="*/ 2147483647 h 270"/>
                <a:gd name="T2" fmla="*/ 2147483647 w 738"/>
                <a:gd name="T3" fmla="*/ 2147483647 h 270"/>
                <a:gd name="T4" fmla="*/ 2147483647 w 738"/>
                <a:gd name="T5" fmla="*/ 2147483647 h 270"/>
                <a:gd name="T6" fmla="*/ 2147483647 w 738"/>
                <a:gd name="T7" fmla="*/ 2147483647 h 270"/>
                <a:gd name="T8" fmla="*/ 2147483647 w 738"/>
                <a:gd name="T9" fmla="*/ 2147483647 h 270"/>
                <a:gd name="T10" fmla="*/ 2147483647 w 738"/>
                <a:gd name="T11" fmla="*/ 2147483647 h 270"/>
                <a:gd name="T12" fmla="*/ 2147483647 w 738"/>
                <a:gd name="T13" fmla="*/ 2147483647 h 270"/>
                <a:gd name="T14" fmla="*/ 2147483647 w 738"/>
                <a:gd name="T15" fmla="*/ 2147483647 h 270"/>
                <a:gd name="T16" fmla="*/ 2147483647 w 738"/>
                <a:gd name="T17" fmla="*/ 2147483647 h 270"/>
                <a:gd name="T18" fmla="*/ 2147483647 w 738"/>
                <a:gd name="T19" fmla="*/ 2147483647 h 270"/>
                <a:gd name="T20" fmla="*/ 2147483647 w 738"/>
                <a:gd name="T21" fmla="*/ 2147483647 h 270"/>
                <a:gd name="T22" fmla="*/ 2147483647 w 738"/>
                <a:gd name="T23" fmla="*/ 2147483647 h 270"/>
                <a:gd name="T24" fmla="*/ 2147483647 w 738"/>
                <a:gd name="T25" fmla="*/ 2147483647 h 270"/>
                <a:gd name="T26" fmla="*/ 2147483647 w 738"/>
                <a:gd name="T27" fmla="*/ 2147483647 h 270"/>
                <a:gd name="T28" fmla="*/ 2147483647 w 738"/>
                <a:gd name="T29" fmla="*/ 2147483647 h 270"/>
                <a:gd name="T30" fmla="*/ 2147483647 w 738"/>
                <a:gd name="T31" fmla="*/ 2147483647 h 270"/>
                <a:gd name="T32" fmla="*/ 2147483647 w 738"/>
                <a:gd name="T33" fmla="*/ 2147483647 h 270"/>
                <a:gd name="T34" fmla="*/ 2147483647 w 738"/>
                <a:gd name="T35" fmla="*/ 2147483647 h 270"/>
                <a:gd name="T36" fmla="*/ 2147483647 w 738"/>
                <a:gd name="T37" fmla="*/ 0 h 270"/>
                <a:gd name="T38" fmla="*/ 2147483647 w 738"/>
                <a:gd name="T39" fmla="*/ 2147483647 h 270"/>
                <a:gd name="T40" fmla="*/ 2147483647 w 738"/>
                <a:gd name="T41" fmla="*/ 2147483647 h 270"/>
                <a:gd name="T42" fmla="*/ 2147483647 w 738"/>
                <a:gd name="T43" fmla="*/ 2147483647 h 270"/>
                <a:gd name="T44" fmla="*/ 2147483647 w 738"/>
                <a:gd name="T45" fmla="*/ 2147483647 h 270"/>
                <a:gd name="T46" fmla="*/ 2147483647 w 738"/>
                <a:gd name="T47" fmla="*/ 2147483647 h 270"/>
                <a:gd name="T48" fmla="*/ 2147483647 w 738"/>
                <a:gd name="T49" fmla="*/ 2147483647 h 270"/>
                <a:gd name="T50" fmla="*/ 2147483647 w 738"/>
                <a:gd name="T51" fmla="*/ 2147483647 h 270"/>
                <a:gd name="T52" fmla="*/ 2147483647 w 738"/>
                <a:gd name="T53" fmla="*/ 2147483647 h 270"/>
                <a:gd name="T54" fmla="*/ 2147483647 w 738"/>
                <a:gd name="T55" fmla="*/ 2147483647 h 270"/>
                <a:gd name="T56" fmla="*/ 2147483647 w 738"/>
                <a:gd name="T57" fmla="*/ 2147483647 h 270"/>
                <a:gd name="T58" fmla="*/ 2147483647 w 738"/>
                <a:gd name="T59" fmla="*/ 2147483647 h 270"/>
                <a:gd name="T60" fmla="*/ 2147483647 w 738"/>
                <a:gd name="T61" fmla="*/ 2147483647 h 270"/>
                <a:gd name="T62" fmla="*/ 2147483647 w 738"/>
                <a:gd name="T63" fmla="*/ 2147483647 h 270"/>
                <a:gd name="T64" fmla="*/ 2147483647 w 738"/>
                <a:gd name="T65" fmla="*/ 2147483647 h 270"/>
                <a:gd name="T66" fmla="*/ 2147483647 w 738"/>
                <a:gd name="T67" fmla="*/ 2147483647 h 270"/>
                <a:gd name="T68" fmla="*/ 2147483647 w 738"/>
                <a:gd name="T69" fmla="*/ 2147483647 h 270"/>
                <a:gd name="T70" fmla="*/ 2147483647 w 738"/>
                <a:gd name="T71" fmla="*/ 2147483647 h 270"/>
                <a:gd name="T72" fmla="*/ 2147483647 w 738"/>
                <a:gd name="T73" fmla="*/ 2147483647 h 270"/>
                <a:gd name="T74" fmla="*/ 2147483647 w 738"/>
                <a:gd name="T75" fmla="*/ 2147483647 h 270"/>
                <a:gd name="T76" fmla="*/ 2147483647 w 738"/>
                <a:gd name="T77" fmla="*/ 2147483647 h 270"/>
                <a:gd name="T78" fmla="*/ 2147483647 w 738"/>
                <a:gd name="T79" fmla="*/ 2147483647 h 270"/>
                <a:gd name="T80" fmla="*/ 2147483647 w 738"/>
                <a:gd name="T81" fmla="*/ 2147483647 h 270"/>
                <a:gd name="T82" fmla="*/ 2147483647 w 738"/>
                <a:gd name="T83" fmla="*/ 2147483647 h 270"/>
                <a:gd name="T84" fmla="*/ 2147483647 w 738"/>
                <a:gd name="T85" fmla="*/ 2147483647 h 270"/>
                <a:gd name="T86" fmla="*/ 2147483647 w 738"/>
                <a:gd name="T87" fmla="*/ 2147483647 h 270"/>
                <a:gd name="T88" fmla="*/ 2147483647 w 738"/>
                <a:gd name="T89" fmla="*/ 2147483647 h 270"/>
                <a:gd name="T90" fmla="*/ 2147483647 w 738"/>
                <a:gd name="T91" fmla="*/ 2147483647 h 270"/>
                <a:gd name="T92" fmla="*/ 2147483647 w 738"/>
                <a:gd name="T93" fmla="*/ 2147483647 h 270"/>
                <a:gd name="T94" fmla="*/ 2147483647 w 738"/>
                <a:gd name="T95" fmla="*/ 2147483647 h 270"/>
                <a:gd name="T96" fmla="*/ 2147483647 w 738"/>
                <a:gd name="T97" fmla="*/ 2147483647 h 270"/>
                <a:gd name="T98" fmla="*/ 2147483647 w 738"/>
                <a:gd name="T99" fmla="*/ 2147483647 h 270"/>
                <a:gd name="T100" fmla="*/ 2147483647 w 738"/>
                <a:gd name="T101" fmla="*/ 2147483647 h 270"/>
                <a:gd name="T102" fmla="*/ 2147483647 w 738"/>
                <a:gd name="T103" fmla="*/ 2147483647 h 270"/>
                <a:gd name="T104" fmla="*/ 2147483647 w 738"/>
                <a:gd name="T105" fmla="*/ 2147483647 h 270"/>
                <a:gd name="T106" fmla="*/ 2147483647 w 738"/>
                <a:gd name="T107" fmla="*/ 2147483647 h 270"/>
                <a:gd name="T108" fmla="*/ 2147483647 w 738"/>
                <a:gd name="T109" fmla="*/ 2147483647 h 270"/>
                <a:gd name="T110" fmla="*/ 2147483647 w 738"/>
                <a:gd name="T111" fmla="*/ 2147483647 h 270"/>
                <a:gd name="T112" fmla="*/ 2147483647 w 738"/>
                <a:gd name="T113" fmla="*/ 2147483647 h 270"/>
                <a:gd name="T114" fmla="*/ 2147483647 w 738"/>
                <a:gd name="T115" fmla="*/ 2147483647 h 270"/>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738"/>
                <a:gd name="T175" fmla="*/ 0 h 270"/>
                <a:gd name="T176" fmla="*/ 738 w 738"/>
                <a:gd name="T177" fmla="*/ 270 h 270"/>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738" h="270">
                  <a:moveTo>
                    <a:pt x="708" y="228"/>
                  </a:moveTo>
                  <a:lnTo>
                    <a:pt x="690" y="222"/>
                  </a:lnTo>
                  <a:lnTo>
                    <a:pt x="666" y="222"/>
                  </a:lnTo>
                  <a:lnTo>
                    <a:pt x="666" y="204"/>
                  </a:lnTo>
                  <a:lnTo>
                    <a:pt x="660" y="198"/>
                  </a:lnTo>
                  <a:lnTo>
                    <a:pt x="648" y="192"/>
                  </a:lnTo>
                  <a:lnTo>
                    <a:pt x="600" y="192"/>
                  </a:lnTo>
                  <a:lnTo>
                    <a:pt x="624" y="168"/>
                  </a:lnTo>
                  <a:lnTo>
                    <a:pt x="612" y="168"/>
                  </a:lnTo>
                  <a:lnTo>
                    <a:pt x="600" y="162"/>
                  </a:lnTo>
                  <a:lnTo>
                    <a:pt x="558" y="162"/>
                  </a:lnTo>
                  <a:lnTo>
                    <a:pt x="534" y="150"/>
                  </a:lnTo>
                  <a:lnTo>
                    <a:pt x="528" y="144"/>
                  </a:lnTo>
                  <a:lnTo>
                    <a:pt x="522" y="144"/>
                  </a:lnTo>
                  <a:lnTo>
                    <a:pt x="528" y="138"/>
                  </a:lnTo>
                  <a:lnTo>
                    <a:pt x="528" y="132"/>
                  </a:lnTo>
                  <a:lnTo>
                    <a:pt x="534" y="126"/>
                  </a:lnTo>
                  <a:lnTo>
                    <a:pt x="534" y="120"/>
                  </a:lnTo>
                  <a:lnTo>
                    <a:pt x="522" y="120"/>
                  </a:lnTo>
                  <a:lnTo>
                    <a:pt x="510" y="114"/>
                  </a:lnTo>
                  <a:lnTo>
                    <a:pt x="504" y="114"/>
                  </a:lnTo>
                  <a:lnTo>
                    <a:pt x="474" y="84"/>
                  </a:lnTo>
                  <a:lnTo>
                    <a:pt x="462" y="78"/>
                  </a:lnTo>
                  <a:lnTo>
                    <a:pt x="450" y="66"/>
                  </a:lnTo>
                  <a:lnTo>
                    <a:pt x="432" y="66"/>
                  </a:lnTo>
                  <a:lnTo>
                    <a:pt x="432" y="84"/>
                  </a:lnTo>
                  <a:lnTo>
                    <a:pt x="444" y="96"/>
                  </a:lnTo>
                  <a:lnTo>
                    <a:pt x="450" y="96"/>
                  </a:lnTo>
                  <a:lnTo>
                    <a:pt x="378" y="60"/>
                  </a:lnTo>
                  <a:lnTo>
                    <a:pt x="372" y="54"/>
                  </a:lnTo>
                  <a:lnTo>
                    <a:pt x="360" y="48"/>
                  </a:lnTo>
                  <a:lnTo>
                    <a:pt x="354" y="36"/>
                  </a:lnTo>
                  <a:lnTo>
                    <a:pt x="342" y="30"/>
                  </a:lnTo>
                  <a:lnTo>
                    <a:pt x="330" y="18"/>
                  </a:lnTo>
                  <a:lnTo>
                    <a:pt x="270" y="18"/>
                  </a:lnTo>
                  <a:lnTo>
                    <a:pt x="258" y="12"/>
                  </a:lnTo>
                  <a:lnTo>
                    <a:pt x="228" y="6"/>
                  </a:lnTo>
                  <a:lnTo>
                    <a:pt x="174" y="0"/>
                  </a:lnTo>
                  <a:lnTo>
                    <a:pt x="126" y="6"/>
                  </a:lnTo>
                  <a:lnTo>
                    <a:pt x="96" y="18"/>
                  </a:lnTo>
                  <a:lnTo>
                    <a:pt x="72" y="42"/>
                  </a:lnTo>
                  <a:lnTo>
                    <a:pt x="60" y="48"/>
                  </a:lnTo>
                  <a:lnTo>
                    <a:pt x="42" y="60"/>
                  </a:lnTo>
                  <a:lnTo>
                    <a:pt x="24" y="66"/>
                  </a:lnTo>
                  <a:lnTo>
                    <a:pt x="12" y="72"/>
                  </a:lnTo>
                  <a:lnTo>
                    <a:pt x="6" y="78"/>
                  </a:lnTo>
                  <a:lnTo>
                    <a:pt x="0" y="78"/>
                  </a:lnTo>
                  <a:lnTo>
                    <a:pt x="72" y="72"/>
                  </a:lnTo>
                  <a:lnTo>
                    <a:pt x="72" y="60"/>
                  </a:lnTo>
                  <a:lnTo>
                    <a:pt x="150" y="54"/>
                  </a:lnTo>
                  <a:lnTo>
                    <a:pt x="174" y="42"/>
                  </a:lnTo>
                  <a:lnTo>
                    <a:pt x="198" y="42"/>
                  </a:lnTo>
                  <a:lnTo>
                    <a:pt x="222" y="54"/>
                  </a:lnTo>
                  <a:lnTo>
                    <a:pt x="222" y="60"/>
                  </a:lnTo>
                  <a:lnTo>
                    <a:pt x="216" y="60"/>
                  </a:lnTo>
                  <a:lnTo>
                    <a:pt x="210" y="66"/>
                  </a:lnTo>
                  <a:lnTo>
                    <a:pt x="198" y="66"/>
                  </a:lnTo>
                  <a:lnTo>
                    <a:pt x="192" y="72"/>
                  </a:lnTo>
                  <a:lnTo>
                    <a:pt x="186" y="72"/>
                  </a:lnTo>
                  <a:lnTo>
                    <a:pt x="204" y="78"/>
                  </a:lnTo>
                  <a:lnTo>
                    <a:pt x="210" y="78"/>
                  </a:lnTo>
                  <a:lnTo>
                    <a:pt x="216" y="84"/>
                  </a:lnTo>
                  <a:lnTo>
                    <a:pt x="228" y="90"/>
                  </a:lnTo>
                  <a:lnTo>
                    <a:pt x="246" y="96"/>
                  </a:lnTo>
                  <a:lnTo>
                    <a:pt x="258" y="102"/>
                  </a:lnTo>
                  <a:lnTo>
                    <a:pt x="276" y="102"/>
                  </a:lnTo>
                  <a:lnTo>
                    <a:pt x="282" y="96"/>
                  </a:lnTo>
                  <a:lnTo>
                    <a:pt x="282" y="90"/>
                  </a:lnTo>
                  <a:lnTo>
                    <a:pt x="294" y="96"/>
                  </a:lnTo>
                  <a:lnTo>
                    <a:pt x="300" y="102"/>
                  </a:lnTo>
                  <a:lnTo>
                    <a:pt x="318" y="114"/>
                  </a:lnTo>
                  <a:lnTo>
                    <a:pt x="342" y="126"/>
                  </a:lnTo>
                  <a:lnTo>
                    <a:pt x="372" y="126"/>
                  </a:lnTo>
                  <a:lnTo>
                    <a:pt x="390" y="120"/>
                  </a:lnTo>
                  <a:lnTo>
                    <a:pt x="402" y="120"/>
                  </a:lnTo>
                  <a:lnTo>
                    <a:pt x="390" y="144"/>
                  </a:lnTo>
                  <a:lnTo>
                    <a:pt x="450" y="168"/>
                  </a:lnTo>
                  <a:lnTo>
                    <a:pt x="474" y="204"/>
                  </a:lnTo>
                  <a:lnTo>
                    <a:pt x="480" y="210"/>
                  </a:lnTo>
                  <a:lnTo>
                    <a:pt x="492" y="216"/>
                  </a:lnTo>
                  <a:lnTo>
                    <a:pt x="498" y="222"/>
                  </a:lnTo>
                  <a:lnTo>
                    <a:pt x="498" y="228"/>
                  </a:lnTo>
                  <a:lnTo>
                    <a:pt x="474" y="252"/>
                  </a:lnTo>
                  <a:lnTo>
                    <a:pt x="474" y="258"/>
                  </a:lnTo>
                  <a:lnTo>
                    <a:pt x="480" y="264"/>
                  </a:lnTo>
                  <a:lnTo>
                    <a:pt x="492" y="258"/>
                  </a:lnTo>
                  <a:lnTo>
                    <a:pt x="504" y="258"/>
                  </a:lnTo>
                  <a:lnTo>
                    <a:pt x="528" y="246"/>
                  </a:lnTo>
                  <a:lnTo>
                    <a:pt x="558" y="246"/>
                  </a:lnTo>
                  <a:lnTo>
                    <a:pt x="558" y="252"/>
                  </a:lnTo>
                  <a:lnTo>
                    <a:pt x="552" y="252"/>
                  </a:lnTo>
                  <a:lnTo>
                    <a:pt x="546" y="258"/>
                  </a:lnTo>
                  <a:lnTo>
                    <a:pt x="546" y="264"/>
                  </a:lnTo>
                  <a:lnTo>
                    <a:pt x="558" y="264"/>
                  </a:lnTo>
                  <a:lnTo>
                    <a:pt x="564" y="270"/>
                  </a:lnTo>
                  <a:lnTo>
                    <a:pt x="612" y="270"/>
                  </a:lnTo>
                  <a:lnTo>
                    <a:pt x="636" y="264"/>
                  </a:lnTo>
                  <a:lnTo>
                    <a:pt x="684" y="258"/>
                  </a:lnTo>
                  <a:lnTo>
                    <a:pt x="720" y="252"/>
                  </a:lnTo>
                  <a:lnTo>
                    <a:pt x="738" y="246"/>
                  </a:lnTo>
                  <a:lnTo>
                    <a:pt x="738" y="240"/>
                  </a:lnTo>
                  <a:lnTo>
                    <a:pt x="732" y="234"/>
                  </a:lnTo>
                  <a:lnTo>
                    <a:pt x="720" y="228"/>
                  </a:lnTo>
                  <a:lnTo>
                    <a:pt x="708" y="228"/>
                  </a:lnTo>
                  <a:close/>
                  <a:moveTo>
                    <a:pt x="114" y="126"/>
                  </a:moveTo>
                  <a:lnTo>
                    <a:pt x="114" y="132"/>
                  </a:lnTo>
                  <a:lnTo>
                    <a:pt x="120" y="138"/>
                  </a:lnTo>
                  <a:lnTo>
                    <a:pt x="132" y="144"/>
                  </a:lnTo>
                  <a:lnTo>
                    <a:pt x="144" y="138"/>
                  </a:lnTo>
                  <a:lnTo>
                    <a:pt x="150" y="138"/>
                  </a:lnTo>
                  <a:lnTo>
                    <a:pt x="156" y="126"/>
                  </a:lnTo>
                  <a:lnTo>
                    <a:pt x="156" y="120"/>
                  </a:lnTo>
                  <a:lnTo>
                    <a:pt x="150" y="114"/>
                  </a:lnTo>
                  <a:lnTo>
                    <a:pt x="138" y="114"/>
                  </a:lnTo>
                  <a:lnTo>
                    <a:pt x="126" y="120"/>
                  </a:lnTo>
                  <a:lnTo>
                    <a:pt x="120" y="120"/>
                  </a:lnTo>
                  <a:lnTo>
                    <a:pt x="114" y="126"/>
                  </a:lnTo>
                  <a:close/>
                </a:path>
              </a:pathLst>
            </a:custGeom>
            <a:grpFill/>
            <a:ln w="3175">
              <a:solidFill>
                <a:schemeClr val="bg1"/>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de-DE" sz="1800" b="0" i="0" u="none" strike="noStrike" kern="1200" cap="none" spc="0" normalizeH="0" baseline="0" noProof="0">
                <a:ln>
                  <a:noFill/>
                </a:ln>
                <a:solidFill>
                  <a:srgbClr val="FFC000"/>
                </a:solidFill>
                <a:effectLst/>
                <a:uLnTx/>
                <a:uFillTx/>
                <a:latin typeface="Calibri" pitchFamily="34" charset="0"/>
                <a:ea typeface="+mn-ea"/>
                <a:cs typeface="+mn-cs"/>
              </a:endParaRPr>
            </a:p>
          </p:txBody>
        </p:sp>
        <p:sp>
          <p:nvSpPr>
            <p:cNvPr id="153" name="Croatia" descr="© INSCALE GmbH, 05.05.2010&#10;http://www.presentationload.com/"/>
            <p:cNvSpPr>
              <a:spLocks/>
            </p:cNvSpPr>
            <p:nvPr/>
          </p:nvSpPr>
          <p:spPr bwMode="gray">
            <a:xfrm>
              <a:off x="4772902" y="3143919"/>
              <a:ext cx="120305" cy="84510"/>
            </a:xfrm>
            <a:custGeom>
              <a:avLst/>
              <a:gdLst>
                <a:gd name="T0" fmla="*/ 2147483647 w 366"/>
                <a:gd name="T1" fmla="*/ 2147483647 h 276"/>
                <a:gd name="T2" fmla="*/ 2147483647 w 366"/>
                <a:gd name="T3" fmla="*/ 2147483647 h 276"/>
                <a:gd name="T4" fmla="*/ 2147483647 w 366"/>
                <a:gd name="T5" fmla="*/ 2147483647 h 276"/>
                <a:gd name="T6" fmla="*/ 2147483647 w 366"/>
                <a:gd name="T7" fmla="*/ 2147483647 h 276"/>
                <a:gd name="T8" fmla="*/ 2147483647 w 366"/>
                <a:gd name="T9" fmla="*/ 2147483647 h 276"/>
                <a:gd name="T10" fmla="*/ 2147483647 w 366"/>
                <a:gd name="T11" fmla="*/ 2147483647 h 276"/>
                <a:gd name="T12" fmla="*/ 2147483647 w 366"/>
                <a:gd name="T13" fmla="*/ 2147483647 h 276"/>
                <a:gd name="T14" fmla="*/ 2147483647 w 366"/>
                <a:gd name="T15" fmla="*/ 2147483647 h 276"/>
                <a:gd name="T16" fmla="*/ 2147483647 w 366"/>
                <a:gd name="T17" fmla="*/ 2147483647 h 276"/>
                <a:gd name="T18" fmla="*/ 2147483647 w 366"/>
                <a:gd name="T19" fmla="*/ 2147483647 h 276"/>
                <a:gd name="T20" fmla="*/ 2147483647 w 366"/>
                <a:gd name="T21" fmla="*/ 2147483647 h 276"/>
                <a:gd name="T22" fmla="*/ 2147483647 w 366"/>
                <a:gd name="T23" fmla="*/ 0 h 276"/>
                <a:gd name="T24" fmla="*/ 2147483647 w 366"/>
                <a:gd name="T25" fmla="*/ 2147483647 h 276"/>
                <a:gd name="T26" fmla="*/ 2147483647 w 366"/>
                <a:gd name="T27" fmla="*/ 2147483647 h 276"/>
                <a:gd name="T28" fmla="*/ 2147483647 w 366"/>
                <a:gd name="T29" fmla="*/ 2147483647 h 276"/>
                <a:gd name="T30" fmla="*/ 2147483647 w 366"/>
                <a:gd name="T31" fmla="*/ 2147483647 h 276"/>
                <a:gd name="T32" fmla="*/ 2147483647 w 366"/>
                <a:gd name="T33" fmla="*/ 2147483647 h 276"/>
                <a:gd name="T34" fmla="*/ 2147483647 w 366"/>
                <a:gd name="T35" fmla="*/ 2147483647 h 276"/>
                <a:gd name="T36" fmla="*/ 2147483647 w 366"/>
                <a:gd name="T37" fmla="*/ 2147483647 h 276"/>
                <a:gd name="T38" fmla="*/ 2147483647 w 366"/>
                <a:gd name="T39" fmla="*/ 2147483647 h 276"/>
                <a:gd name="T40" fmla="*/ 0 w 366"/>
                <a:gd name="T41" fmla="*/ 2147483647 h 276"/>
                <a:gd name="T42" fmla="*/ 2147483647 w 366"/>
                <a:gd name="T43" fmla="*/ 2147483647 h 276"/>
                <a:gd name="T44" fmla="*/ 2147483647 w 366"/>
                <a:gd name="T45" fmla="*/ 2147483647 h 276"/>
                <a:gd name="T46" fmla="*/ 2147483647 w 366"/>
                <a:gd name="T47" fmla="*/ 2147483647 h 276"/>
                <a:gd name="T48" fmla="*/ 2147483647 w 366"/>
                <a:gd name="T49" fmla="*/ 2147483647 h 276"/>
                <a:gd name="T50" fmla="*/ 2147483647 w 366"/>
                <a:gd name="T51" fmla="*/ 2147483647 h 276"/>
                <a:gd name="T52" fmla="*/ 2147483647 w 366"/>
                <a:gd name="T53" fmla="*/ 2147483647 h 276"/>
                <a:gd name="T54" fmla="*/ 2147483647 w 366"/>
                <a:gd name="T55" fmla="*/ 2147483647 h 276"/>
                <a:gd name="T56" fmla="*/ 2147483647 w 366"/>
                <a:gd name="T57" fmla="*/ 2147483647 h 276"/>
                <a:gd name="T58" fmla="*/ 2147483647 w 366"/>
                <a:gd name="T59" fmla="*/ 2147483647 h 276"/>
                <a:gd name="T60" fmla="*/ 2147483647 w 366"/>
                <a:gd name="T61" fmla="*/ 2147483647 h 276"/>
                <a:gd name="T62" fmla="*/ 2147483647 w 366"/>
                <a:gd name="T63" fmla="*/ 2147483647 h 276"/>
                <a:gd name="T64" fmla="*/ 2147483647 w 366"/>
                <a:gd name="T65" fmla="*/ 2147483647 h 276"/>
                <a:gd name="T66" fmla="*/ 2147483647 w 366"/>
                <a:gd name="T67" fmla="*/ 2147483647 h 276"/>
                <a:gd name="T68" fmla="*/ 2147483647 w 366"/>
                <a:gd name="T69" fmla="*/ 2147483647 h 276"/>
                <a:gd name="T70" fmla="*/ 2147483647 w 366"/>
                <a:gd name="T71" fmla="*/ 2147483647 h 276"/>
                <a:gd name="T72" fmla="*/ 2147483647 w 366"/>
                <a:gd name="T73" fmla="*/ 2147483647 h 276"/>
                <a:gd name="T74" fmla="*/ 2147483647 w 366"/>
                <a:gd name="T75" fmla="*/ 2147483647 h 276"/>
                <a:gd name="T76" fmla="*/ 2147483647 w 366"/>
                <a:gd name="T77" fmla="*/ 2147483647 h 276"/>
                <a:gd name="T78" fmla="*/ 2147483647 w 366"/>
                <a:gd name="T79" fmla="*/ 2147483647 h 276"/>
                <a:gd name="T80" fmla="*/ 2147483647 w 366"/>
                <a:gd name="T81" fmla="*/ 2147483647 h 276"/>
                <a:gd name="T82" fmla="*/ 2147483647 w 366"/>
                <a:gd name="T83" fmla="*/ 2147483647 h 276"/>
                <a:gd name="T84" fmla="*/ 2147483647 w 366"/>
                <a:gd name="T85" fmla="*/ 2147483647 h 276"/>
                <a:gd name="T86" fmla="*/ 2147483647 w 366"/>
                <a:gd name="T87" fmla="*/ 2147483647 h 276"/>
                <a:gd name="T88" fmla="*/ 2147483647 w 366"/>
                <a:gd name="T89" fmla="*/ 2147483647 h 276"/>
                <a:gd name="T90" fmla="*/ 2147483647 w 366"/>
                <a:gd name="T91" fmla="*/ 2147483647 h 27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366"/>
                <a:gd name="T139" fmla="*/ 0 h 276"/>
                <a:gd name="T140" fmla="*/ 366 w 366"/>
                <a:gd name="T141" fmla="*/ 276 h 27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366" h="276">
                  <a:moveTo>
                    <a:pt x="342" y="126"/>
                  </a:moveTo>
                  <a:lnTo>
                    <a:pt x="342" y="114"/>
                  </a:lnTo>
                  <a:lnTo>
                    <a:pt x="348" y="114"/>
                  </a:lnTo>
                  <a:lnTo>
                    <a:pt x="354" y="108"/>
                  </a:lnTo>
                  <a:lnTo>
                    <a:pt x="360" y="108"/>
                  </a:lnTo>
                  <a:lnTo>
                    <a:pt x="366" y="102"/>
                  </a:lnTo>
                  <a:lnTo>
                    <a:pt x="360" y="102"/>
                  </a:lnTo>
                  <a:lnTo>
                    <a:pt x="348" y="96"/>
                  </a:lnTo>
                  <a:lnTo>
                    <a:pt x="336" y="96"/>
                  </a:lnTo>
                  <a:lnTo>
                    <a:pt x="342" y="78"/>
                  </a:lnTo>
                  <a:lnTo>
                    <a:pt x="336" y="78"/>
                  </a:lnTo>
                  <a:lnTo>
                    <a:pt x="330" y="48"/>
                  </a:lnTo>
                  <a:lnTo>
                    <a:pt x="324" y="48"/>
                  </a:lnTo>
                  <a:lnTo>
                    <a:pt x="312" y="54"/>
                  </a:lnTo>
                  <a:lnTo>
                    <a:pt x="270" y="60"/>
                  </a:lnTo>
                  <a:lnTo>
                    <a:pt x="264" y="48"/>
                  </a:lnTo>
                  <a:lnTo>
                    <a:pt x="246" y="48"/>
                  </a:lnTo>
                  <a:lnTo>
                    <a:pt x="234" y="42"/>
                  </a:lnTo>
                  <a:lnTo>
                    <a:pt x="228" y="36"/>
                  </a:lnTo>
                  <a:lnTo>
                    <a:pt x="216" y="30"/>
                  </a:lnTo>
                  <a:lnTo>
                    <a:pt x="204" y="18"/>
                  </a:lnTo>
                  <a:lnTo>
                    <a:pt x="204" y="12"/>
                  </a:lnTo>
                  <a:lnTo>
                    <a:pt x="198" y="6"/>
                  </a:lnTo>
                  <a:lnTo>
                    <a:pt x="186" y="0"/>
                  </a:lnTo>
                  <a:lnTo>
                    <a:pt x="162" y="0"/>
                  </a:lnTo>
                  <a:lnTo>
                    <a:pt x="162" y="12"/>
                  </a:lnTo>
                  <a:lnTo>
                    <a:pt x="150" y="18"/>
                  </a:lnTo>
                  <a:lnTo>
                    <a:pt x="120" y="18"/>
                  </a:lnTo>
                  <a:lnTo>
                    <a:pt x="120" y="30"/>
                  </a:lnTo>
                  <a:lnTo>
                    <a:pt x="126" y="36"/>
                  </a:lnTo>
                  <a:lnTo>
                    <a:pt x="126" y="42"/>
                  </a:lnTo>
                  <a:lnTo>
                    <a:pt x="114" y="54"/>
                  </a:lnTo>
                  <a:lnTo>
                    <a:pt x="102" y="60"/>
                  </a:lnTo>
                  <a:lnTo>
                    <a:pt x="102" y="78"/>
                  </a:lnTo>
                  <a:lnTo>
                    <a:pt x="60" y="78"/>
                  </a:lnTo>
                  <a:lnTo>
                    <a:pt x="54" y="72"/>
                  </a:lnTo>
                  <a:lnTo>
                    <a:pt x="54" y="66"/>
                  </a:lnTo>
                  <a:lnTo>
                    <a:pt x="48" y="78"/>
                  </a:lnTo>
                  <a:lnTo>
                    <a:pt x="30" y="78"/>
                  </a:lnTo>
                  <a:lnTo>
                    <a:pt x="18" y="72"/>
                  </a:lnTo>
                  <a:lnTo>
                    <a:pt x="18" y="84"/>
                  </a:lnTo>
                  <a:lnTo>
                    <a:pt x="0" y="84"/>
                  </a:lnTo>
                  <a:lnTo>
                    <a:pt x="0" y="132"/>
                  </a:lnTo>
                  <a:lnTo>
                    <a:pt x="6" y="132"/>
                  </a:lnTo>
                  <a:lnTo>
                    <a:pt x="12" y="120"/>
                  </a:lnTo>
                  <a:lnTo>
                    <a:pt x="24" y="114"/>
                  </a:lnTo>
                  <a:lnTo>
                    <a:pt x="30" y="102"/>
                  </a:lnTo>
                  <a:lnTo>
                    <a:pt x="42" y="102"/>
                  </a:lnTo>
                  <a:lnTo>
                    <a:pt x="48" y="114"/>
                  </a:lnTo>
                  <a:lnTo>
                    <a:pt x="48" y="132"/>
                  </a:lnTo>
                  <a:lnTo>
                    <a:pt x="78" y="126"/>
                  </a:lnTo>
                  <a:lnTo>
                    <a:pt x="78" y="132"/>
                  </a:lnTo>
                  <a:lnTo>
                    <a:pt x="72" y="144"/>
                  </a:lnTo>
                  <a:lnTo>
                    <a:pt x="72" y="150"/>
                  </a:lnTo>
                  <a:lnTo>
                    <a:pt x="84" y="162"/>
                  </a:lnTo>
                  <a:lnTo>
                    <a:pt x="96" y="168"/>
                  </a:lnTo>
                  <a:lnTo>
                    <a:pt x="96" y="180"/>
                  </a:lnTo>
                  <a:lnTo>
                    <a:pt x="144" y="216"/>
                  </a:lnTo>
                  <a:lnTo>
                    <a:pt x="144" y="240"/>
                  </a:lnTo>
                  <a:lnTo>
                    <a:pt x="198" y="240"/>
                  </a:lnTo>
                  <a:lnTo>
                    <a:pt x="210" y="246"/>
                  </a:lnTo>
                  <a:lnTo>
                    <a:pt x="216" y="252"/>
                  </a:lnTo>
                  <a:lnTo>
                    <a:pt x="216" y="276"/>
                  </a:lnTo>
                  <a:lnTo>
                    <a:pt x="246" y="276"/>
                  </a:lnTo>
                  <a:lnTo>
                    <a:pt x="252" y="270"/>
                  </a:lnTo>
                  <a:lnTo>
                    <a:pt x="252" y="264"/>
                  </a:lnTo>
                  <a:lnTo>
                    <a:pt x="246" y="252"/>
                  </a:lnTo>
                  <a:lnTo>
                    <a:pt x="234" y="246"/>
                  </a:lnTo>
                  <a:lnTo>
                    <a:pt x="216" y="234"/>
                  </a:lnTo>
                  <a:lnTo>
                    <a:pt x="204" y="228"/>
                  </a:lnTo>
                  <a:lnTo>
                    <a:pt x="192" y="216"/>
                  </a:lnTo>
                  <a:lnTo>
                    <a:pt x="180" y="186"/>
                  </a:lnTo>
                  <a:lnTo>
                    <a:pt x="162" y="180"/>
                  </a:lnTo>
                  <a:lnTo>
                    <a:pt x="162" y="162"/>
                  </a:lnTo>
                  <a:lnTo>
                    <a:pt x="156" y="156"/>
                  </a:lnTo>
                  <a:lnTo>
                    <a:pt x="150" y="156"/>
                  </a:lnTo>
                  <a:lnTo>
                    <a:pt x="150" y="144"/>
                  </a:lnTo>
                  <a:lnTo>
                    <a:pt x="132" y="138"/>
                  </a:lnTo>
                  <a:lnTo>
                    <a:pt x="120" y="126"/>
                  </a:lnTo>
                  <a:lnTo>
                    <a:pt x="138" y="120"/>
                  </a:lnTo>
                  <a:lnTo>
                    <a:pt x="138" y="96"/>
                  </a:lnTo>
                  <a:lnTo>
                    <a:pt x="144" y="96"/>
                  </a:lnTo>
                  <a:lnTo>
                    <a:pt x="150" y="102"/>
                  </a:lnTo>
                  <a:lnTo>
                    <a:pt x="162" y="108"/>
                  </a:lnTo>
                  <a:lnTo>
                    <a:pt x="186" y="102"/>
                  </a:lnTo>
                  <a:lnTo>
                    <a:pt x="210" y="102"/>
                  </a:lnTo>
                  <a:lnTo>
                    <a:pt x="228" y="108"/>
                  </a:lnTo>
                  <a:lnTo>
                    <a:pt x="240" y="102"/>
                  </a:lnTo>
                  <a:lnTo>
                    <a:pt x="252" y="102"/>
                  </a:lnTo>
                  <a:lnTo>
                    <a:pt x="258" y="108"/>
                  </a:lnTo>
                  <a:lnTo>
                    <a:pt x="312" y="108"/>
                  </a:lnTo>
                  <a:lnTo>
                    <a:pt x="324" y="126"/>
                  </a:lnTo>
                  <a:lnTo>
                    <a:pt x="342" y="126"/>
                  </a:lnTo>
                  <a:close/>
                </a:path>
              </a:pathLst>
            </a:custGeom>
            <a:grpFill/>
            <a:ln w="3175">
              <a:solidFill>
                <a:schemeClr val="bg1"/>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de-DE" sz="1800" b="0" i="0" u="none" strike="noStrike" kern="1200" cap="none" spc="0" normalizeH="0" baseline="0" noProof="0">
                <a:ln>
                  <a:noFill/>
                </a:ln>
                <a:solidFill>
                  <a:srgbClr val="FFC000"/>
                </a:solidFill>
                <a:effectLst/>
                <a:uLnTx/>
                <a:uFillTx/>
                <a:latin typeface="Calibri" pitchFamily="34" charset="0"/>
                <a:ea typeface="+mn-ea"/>
                <a:cs typeface="+mn-cs"/>
              </a:endParaRPr>
            </a:p>
          </p:txBody>
        </p:sp>
        <p:sp>
          <p:nvSpPr>
            <p:cNvPr id="154" name="Côte d'Ivoire" descr="© INSCALE GmbH, 05.05.2010&#10;http://www.presentationload.com/"/>
            <p:cNvSpPr>
              <a:spLocks/>
            </p:cNvSpPr>
            <p:nvPr/>
          </p:nvSpPr>
          <p:spPr bwMode="gray">
            <a:xfrm>
              <a:off x="4267364" y="4035567"/>
              <a:ext cx="142063" cy="160447"/>
            </a:xfrm>
            <a:custGeom>
              <a:avLst/>
              <a:gdLst>
                <a:gd name="T0" fmla="*/ 2147483647 w 438"/>
                <a:gd name="T1" fmla="*/ 2147483647 h 516"/>
                <a:gd name="T2" fmla="*/ 2147483647 w 438"/>
                <a:gd name="T3" fmla="*/ 2147483647 h 516"/>
                <a:gd name="T4" fmla="*/ 2147483647 w 438"/>
                <a:gd name="T5" fmla="*/ 2147483647 h 516"/>
                <a:gd name="T6" fmla="*/ 2147483647 w 438"/>
                <a:gd name="T7" fmla="*/ 2147483647 h 516"/>
                <a:gd name="T8" fmla="*/ 2147483647 w 438"/>
                <a:gd name="T9" fmla="*/ 2147483647 h 516"/>
                <a:gd name="T10" fmla="*/ 2147483647 w 438"/>
                <a:gd name="T11" fmla="*/ 2147483647 h 516"/>
                <a:gd name="T12" fmla="*/ 2147483647 w 438"/>
                <a:gd name="T13" fmla="*/ 2147483647 h 516"/>
                <a:gd name="T14" fmla="*/ 2147483647 w 438"/>
                <a:gd name="T15" fmla="*/ 2147483647 h 516"/>
                <a:gd name="T16" fmla="*/ 2147483647 w 438"/>
                <a:gd name="T17" fmla="*/ 2147483647 h 516"/>
                <a:gd name="T18" fmla="*/ 2147483647 w 438"/>
                <a:gd name="T19" fmla="*/ 2147483647 h 516"/>
                <a:gd name="T20" fmla="*/ 2147483647 w 438"/>
                <a:gd name="T21" fmla="*/ 2147483647 h 516"/>
                <a:gd name="T22" fmla="*/ 2147483647 w 438"/>
                <a:gd name="T23" fmla="*/ 2147483647 h 516"/>
                <a:gd name="T24" fmla="*/ 2147483647 w 438"/>
                <a:gd name="T25" fmla="*/ 2147483647 h 516"/>
                <a:gd name="T26" fmla="*/ 2147483647 w 438"/>
                <a:gd name="T27" fmla="*/ 2147483647 h 516"/>
                <a:gd name="T28" fmla="*/ 2147483647 w 438"/>
                <a:gd name="T29" fmla="*/ 2147483647 h 516"/>
                <a:gd name="T30" fmla="*/ 2147483647 w 438"/>
                <a:gd name="T31" fmla="*/ 2147483647 h 516"/>
                <a:gd name="T32" fmla="*/ 2147483647 w 438"/>
                <a:gd name="T33" fmla="*/ 0 h 516"/>
                <a:gd name="T34" fmla="*/ 2147483647 w 438"/>
                <a:gd name="T35" fmla="*/ 2147483647 h 516"/>
                <a:gd name="T36" fmla="*/ 2147483647 w 438"/>
                <a:gd name="T37" fmla="*/ 2147483647 h 516"/>
                <a:gd name="T38" fmla="*/ 2147483647 w 438"/>
                <a:gd name="T39" fmla="*/ 2147483647 h 516"/>
                <a:gd name="T40" fmla="*/ 2147483647 w 438"/>
                <a:gd name="T41" fmla="*/ 2147483647 h 516"/>
                <a:gd name="T42" fmla="*/ 2147483647 w 438"/>
                <a:gd name="T43" fmla="*/ 2147483647 h 516"/>
                <a:gd name="T44" fmla="*/ 2147483647 w 438"/>
                <a:gd name="T45" fmla="*/ 2147483647 h 516"/>
                <a:gd name="T46" fmla="*/ 2147483647 w 438"/>
                <a:gd name="T47" fmla="*/ 2147483647 h 516"/>
                <a:gd name="T48" fmla="*/ 2147483647 w 438"/>
                <a:gd name="T49" fmla="*/ 2147483647 h 516"/>
                <a:gd name="T50" fmla="*/ 2147483647 w 438"/>
                <a:gd name="T51" fmla="*/ 2147483647 h 516"/>
                <a:gd name="T52" fmla="*/ 2147483647 w 438"/>
                <a:gd name="T53" fmla="*/ 2147483647 h 516"/>
                <a:gd name="T54" fmla="*/ 2147483647 w 438"/>
                <a:gd name="T55" fmla="*/ 2147483647 h 516"/>
                <a:gd name="T56" fmla="*/ 2147483647 w 438"/>
                <a:gd name="T57" fmla="*/ 2147483647 h 516"/>
                <a:gd name="T58" fmla="*/ 2147483647 w 438"/>
                <a:gd name="T59" fmla="*/ 2147483647 h 516"/>
                <a:gd name="T60" fmla="*/ 2147483647 w 438"/>
                <a:gd name="T61" fmla="*/ 2147483647 h 516"/>
                <a:gd name="T62" fmla="*/ 2147483647 w 438"/>
                <a:gd name="T63" fmla="*/ 2147483647 h 516"/>
                <a:gd name="T64" fmla="*/ 2147483647 w 438"/>
                <a:gd name="T65" fmla="*/ 2147483647 h 516"/>
                <a:gd name="T66" fmla="*/ 2147483647 w 438"/>
                <a:gd name="T67" fmla="*/ 2147483647 h 516"/>
                <a:gd name="T68" fmla="*/ 2147483647 w 438"/>
                <a:gd name="T69" fmla="*/ 2147483647 h 516"/>
                <a:gd name="T70" fmla="*/ 2147483647 w 438"/>
                <a:gd name="T71" fmla="*/ 2147483647 h 516"/>
                <a:gd name="T72" fmla="*/ 2147483647 w 438"/>
                <a:gd name="T73" fmla="*/ 2147483647 h 516"/>
                <a:gd name="T74" fmla="*/ 2147483647 w 438"/>
                <a:gd name="T75" fmla="*/ 2147483647 h 516"/>
                <a:gd name="T76" fmla="*/ 2147483647 w 438"/>
                <a:gd name="T77" fmla="*/ 2147483647 h 516"/>
                <a:gd name="T78" fmla="*/ 2147483647 w 438"/>
                <a:gd name="T79" fmla="*/ 2147483647 h 516"/>
                <a:gd name="T80" fmla="*/ 2147483647 w 438"/>
                <a:gd name="T81" fmla="*/ 2147483647 h 516"/>
                <a:gd name="T82" fmla="*/ 2147483647 w 438"/>
                <a:gd name="T83" fmla="*/ 2147483647 h 516"/>
                <a:gd name="T84" fmla="*/ 2147483647 w 438"/>
                <a:gd name="T85" fmla="*/ 2147483647 h 516"/>
                <a:gd name="T86" fmla="*/ 2147483647 w 438"/>
                <a:gd name="T87" fmla="*/ 2147483647 h 516"/>
                <a:gd name="T88" fmla="*/ 2147483647 w 438"/>
                <a:gd name="T89" fmla="*/ 2147483647 h 51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438"/>
                <a:gd name="T136" fmla="*/ 0 h 516"/>
                <a:gd name="T137" fmla="*/ 438 w 438"/>
                <a:gd name="T138" fmla="*/ 516 h 51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438" h="516">
                  <a:moveTo>
                    <a:pt x="402" y="408"/>
                  </a:moveTo>
                  <a:lnTo>
                    <a:pt x="402" y="402"/>
                  </a:lnTo>
                  <a:lnTo>
                    <a:pt x="396" y="396"/>
                  </a:lnTo>
                  <a:lnTo>
                    <a:pt x="390" y="384"/>
                  </a:lnTo>
                  <a:lnTo>
                    <a:pt x="390" y="372"/>
                  </a:lnTo>
                  <a:lnTo>
                    <a:pt x="384" y="354"/>
                  </a:lnTo>
                  <a:lnTo>
                    <a:pt x="378" y="342"/>
                  </a:lnTo>
                  <a:lnTo>
                    <a:pt x="378" y="318"/>
                  </a:lnTo>
                  <a:lnTo>
                    <a:pt x="384" y="312"/>
                  </a:lnTo>
                  <a:lnTo>
                    <a:pt x="390" y="300"/>
                  </a:lnTo>
                  <a:lnTo>
                    <a:pt x="408" y="282"/>
                  </a:lnTo>
                  <a:lnTo>
                    <a:pt x="408" y="270"/>
                  </a:lnTo>
                  <a:lnTo>
                    <a:pt x="414" y="258"/>
                  </a:lnTo>
                  <a:lnTo>
                    <a:pt x="414" y="240"/>
                  </a:lnTo>
                  <a:lnTo>
                    <a:pt x="420" y="228"/>
                  </a:lnTo>
                  <a:lnTo>
                    <a:pt x="426" y="222"/>
                  </a:lnTo>
                  <a:lnTo>
                    <a:pt x="438" y="198"/>
                  </a:lnTo>
                  <a:lnTo>
                    <a:pt x="438" y="186"/>
                  </a:lnTo>
                  <a:lnTo>
                    <a:pt x="432" y="174"/>
                  </a:lnTo>
                  <a:lnTo>
                    <a:pt x="432" y="162"/>
                  </a:lnTo>
                  <a:lnTo>
                    <a:pt x="426" y="150"/>
                  </a:lnTo>
                  <a:lnTo>
                    <a:pt x="426" y="138"/>
                  </a:lnTo>
                  <a:lnTo>
                    <a:pt x="420" y="132"/>
                  </a:lnTo>
                  <a:lnTo>
                    <a:pt x="420" y="126"/>
                  </a:lnTo>
                  <a:lnTo>
                    <a:pt x="432" y="126"/>
                  </a:lnTo>
                  <a:lnTo>
                    <a:pt x="426" y="96"/>
                  </a:lnTo>
                  <a:lnTo>
                    <a:pt x="408" y="102"/>
                  </a:lnTo>
                  <a:lnTo>
                    <a:pt x="408" y="90"/>
                  </a:lnTo>
                  <a:lnTo>
                    <a:pt x="390" y="72"/>
                  </a:lnTo>
                  <a:lnTo>
                    <a:pt x="372" y="66"/>
                  </a:lnTo>
                  <a:lnTo>
                    <a:pt x="342" y="66"/>
                  </a:lnTo>
                  <a:lnTo>
                    <a:pt x="318" y="78"/>
                  </a:lnTo>
                  <a:lnTo>
                    <a:pt x="318" y="84"/>
                  </a:lnTo>
                  <a:lnTo>
                    <a:pt x="312" y="90"/>
                  </a:lnTo>
                  <a:lnTo>
                    <a:pt x="300" y="90"/>
                  </a:lnTo>
                  <a:lnTo>
                    <a:pt x="294" y="84"/>
                  </a:lnTo>
                  <a:lnTo>
                    <a:pt x="282" y="84"/>
                  </a:lnTo>
                  <a:lnTo>
                    <a:pt x="276" y="78"/>
                  </a:lnTo>
                  <a:lnTo>
                    <a:pt x="264" y="72"/>
                  </a:lnTo>
                  <a:lnTo>
                    <a:pt x="258" y="60"/>
                  </a:lnTo>
                  <a:lnTo>
                    <a:pt x="258" y="48"/>
                  </a:lnTo>
                  <a:lnTo>
                    <a:pt x="252" y="42"/>
                  </a:lnTo>
                  <a:lnTo>
                    <a:pt x="252" y="36"/>
                  </a:lnTo>
                  <a:lnTo>
                    <a:pt x="228" y="42"/>
                  </a:lnTo>
                  <a:lnTo>
                    <a:pt x="228" y="18"/>
                  </a:lnTo>
                  <a:lnTo>
                    <a:pt x="216" y="18"/>
                  </a:lnTo>
                  <a:lnTo>
                    <a:pt x="210" y="24"/>
                  </a:lnTo>
                  <a:lnTo>
                    <a:pt x="204" y="36"/>
                  </a:lnTo>
                  <a:lnTo>
                    <a:pt x="198" y="42"/>
                  </a:lnTo>
                  <a:lnTo>
                    <a:pt x="174" y="36"/>
                  </a:lnTo>
                  <a:lnTo>
                    <a:pt x="174" y="0"/>
                  </a:lnTo>
                  <a:lnTo>
                    <a:pt x="162" y="24"/>
                  </a:lnTo>
                  <a:lnTo>
                    <a:pt x="150" y="6"/>
                  </a:lnTo>
                  <a:lnTo>
                    <a:pt x="144" y="30"/>
                  </a:lnTo>
                  <a:lnTo>
                    <a:pt x="126" y="30"/>
                  </a:lnTo>
                  <a:lnTo>
                    <a:pt x="120" y="48"/>
                  </a:lnTo>
                  <a:lnTo>
                    <a:pt x="102" y="30"/>
                  </a:lnTo>
                  <a:lnTo>
                    <a:pt x="84" y="24"/>
                  </a:lnTo>
                  <a:lnTo>
                    <a:pt x="72" y="24"/>
                  </a:lnTo>
                  <a:lnTo>
                    <a:pt x="66" y="30"/>
                  </a:lnTo>
                  <a:lnTo>
                    <a:pt x="66" y="48"/>
                  </a:lnTo>
                  <a:lnTo>
                    <a:pt x="54" y="42"/>
                  </a:lnTo>
                  <a:lnTo>
                    <a:pt x="36" y="66"/>
                  </a:lnTo>
                  <a:lnTo>
                    <a:pt x="42" y="102"/>
                  </a:lnTo>
                  <a:lnTo>
                    <a:pt x="60" y="108"/>
                  </a:lnTo>
                  <a:lnTo>
                    <a:pt x="48" y="126"/>
                  </a:lnTo>
                  <a:lnTo>
                    <a:pt x="66" y="132"/>
                  </a:lnTo>
                  <a:lnTo>
                    <a:pt x="60" y="138"/>
                  </a:lnTo>
                  <a:lnTo>
                    <a:pt x="54" y="150"/>
                  </a:lnTo>
                  <a:lnTo>
                    <a:pt x="54" y="162"/>
                  </a:lnTo>
                  <a:lnTo>
                    <a:pt x="60" y="162"/>
                  </a:lnTo>
                  <a:lnTo>
                    <a:pt x="72" y="168"/>
                  </a:lnTo>
                  <a:lnTo>
                    <a:pt x="78" y="168"/>
                  </a:lnTo>
                  <a:lnTo>
                    <a:pt x="78" y="180"/>
                  </a:lnTo>
                  <a:lnTo>
                    <a:pt x="72" y="186"/>
                  </a:lnTo>
                  <a:lnTo>
                    <a:pt x="72" y="192"/>
                  </a:lnTo>
                  <a:lnTo>
                    <a:pt x="66" y="186"/>
                  </a:lnTo>
                  <a:lnTo>
                    <a:pt x="54" y="186"/>
                  </a:lnTo>
                  <a:lnTo>
                    <a:pt x="48" y="180"/>
                  </a:lnTo>
                  <a:lnTo>
                    <a:pt x="30" y="180"/>
                  </a:lnTo>
                  <a:lnTo>
                    <a:pt x="30" y="192"/>
                  </a:lnTo>
                  <a:lnTo>
                    <a:pt x="36" y="204"/>
                  </a:lnTo>
                  <a:lnTo>
                    <a:pt x="48" y="210"/>
                  </a:lnTo>
                  <a:lnTo>
                    <a:pt x="54" y="222"/>
                  </a:lnTo>
                  <a:lnTo>
                    <a:pt x="36" y="222"/>
                  </a:lnTo>
                  <a:lnTo>
                    <a:pt x="36" y="228"/>
                  </a:lnTo>
                  <a:lnTo>
                    <a:pt x="42" y="234"/>
                  </a:lnTo>
                  <a:lnTo>
                    <a:pt x="42" y="252"/>
                  </a:lnTo>
                  <a:lnTo>
                    <a:pt x="36" y="258"/>
                  </a:lnTo>
                  <a:lnTo>
                    <a:pt x="30" y="258"/>
                  </a:lnTo>
                  <a:lnTo>
                    <a:pt x="18" y="252"/>
                  </a:lnTo>
                  <a:lnTo>
                    <a:pt x="12" y="246"/>
                  </a:lnTo>
                  <a:lnTo>
                    <a:pt x="6" y="246"/>
                  </a:lnTo>
                  <a:lnTo>
                    <a:pt x="24" y="282"/>
                  </a:lnTo>
                  <a:lnTo>
                    <a:pt x="24" y="306"/>
                  </a:lnTo>
                  <a:lnTo>
                    <a:pt x="18" y="324"/>
                  </a:lnTo>
                  <a:lnTo>
                    <a:pt x="6" y="330"/>
                  </a:lnTo>
                  <a:lnTo>
                    <a:pt x="0" y="342"/>
                  </a:lnTo>
                  <a:lnTo>
                    <a:pt x="6" y="348"/>
                  </a:lnTo>
                  <a:lnTo>
                    <a:pt x="24" y="348"/>
                  </a:lnTo>
                  <a:lnTo>
                    <a:pt x="24" y="360"/>
                  </a:lnTo>
                  <a:lnTo>
                    <a:pt x="60" y="354"/>
                  </a:lnTo>
                  <a:lnTo>
                    <a:pt x="60" y="384"/>
                  </a:lnTo>
                  <a:lnTo>
                    <a:pt x="90" y="414"/>
                  </a:lnTo>
                  <a:lnTo>
                    <a:pt x="90" y="438"/>
                  </a:lnTo>
                  <a:lnTo>
                    <a:pt x="84" y="450"/>
                  </a:lnTo>
                  <a:lnTo>
                    <a:pt x="84" y="462"/>
                  </a:lnTo>
                  <a:lnTo>
                    <a:pt x="78" y="468"/>
                  </a:lnTo>
                  <a:lnTo>
                    <a:pt x="78" y="516"/>
                  </a:lnTo>
                  <a:lnTo>
                    <a:pt x="90" y="516"/>
                  </a:lnTo>
                  <a:lnTo>
                    <a:pt x="96" y="510"/>
                  </a:lnTo>
                  <a:lnTo>
                    <a:pt x="102" y="498"/>
                  </a:lnTo>
                  <a:lnTo>
                    <a:pt x="114" y="498"/>
                  </a:lnTo>
                  <a:lnTo>
                    <a:pt x="126" y="486"/>
                  </a:lnTo>
                  <a:lnTo>
                    <a:pt x="138" y="480"/>
                  </a:lnTo>
                  <a:lnTo>
                    <a:pt x="198" y="456"/>
                  </a:lnTo>
                  <a:lnTo>
                    <a:pt x="228" y="450"/>
                  </a:lnTo>
                  <a:lnTo>
                    <a:pt x="264" y="450"/>
                  </a:lnTo>
                  <a:lnTo>
                    <a:pt x="270" y="444"/>
                  </a:lnTo>
                  <a:lnTo>
                    <a:pt x="282" y="444"/>
                  </a:lnTo>
                  <a:lnTo>
                    <a:pt x="294" y="438"/>
                  </a:lnTo>
                  <a:lnTo>
                    <a:pt x="330" y="438"/>
                  </a:lnTo>
                  <a:lnTo>
                    <a:pt x="336" y="444"/>
                  </a:lnTo>
                  <a:lnTo>
                    <a:pt x="342" y="444"/>
                  </a:lnTo>
                  <a:lnTo>
                    <a:pt x="348" y="450"/>
                  </a:lnTo>
                  <a:lnTo>
                    <a:pt x="366" y="450"/>
                  </a:lnTo>
                  <a:lnTo>
                    <a:pt x="378" y="438"/>
                  </a:lnTo>
                  <a:lnTo>
                    <a:pt x="384" y="438"/>
                  </a:lnTo>
                  <a:lnTo>
                    <a:pt x="384" y="444"/>
                  </a:lnTo>
                  <a:lnTo>
                    <a:pt x="396" y="456"/>
                  </a:lnTo>
                  <a:lnTo>
                    <a:pt x="408" y="462"/>
                  </a:lnTo>
                  <a:lnTo>
                    <a:pt x="420" y="462"/>
                  </a:lnTo>
                  <a:lnTo>
                    <a:pt x="426" y="468"/>
                  </a:lnTo>
                  <a:lnTo>
                    <a:pt x="426" y="414"/>
                  </a:lnTo>
                  <a:lnTo>
                    <a:pt x="402" y="408"/>
                  </a:lnTo>
                  <a:close/>
                </a:path>
              </a:pathLst>
            </a:custGeom>
            <a:grpFill/>
            <a:ln w="3175">
              <a:solidFill>
                <a:schemeClr val="bg1"/>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de-DE" sz="1800" b="0" i="0" u="none" strike="noStrike" kern="1200" cap="none" spc="0" normalizeH="0" baseline="0" noProof="0">
                <a:ln>
                  <a:noFill/>
                </a:ln>
                <a:solidFill>
                  <a:srgbClr val="FFC000"/>
                </a:solidFill>
                <a:effectLst/>
                <a:uLnTx/>
                <a:uFillTx/>
                <a:latin typeface="Calibri" pitchFamily="34" charset="0"/>
                <a:ea typeface="+mn-ea"/>
                <a:cs typeface="+mn-cs"/>
              </a:endParaRPr>
            </a:p>
          </p:txBody>
        </p:sp>
        <p:sp>
          <p:nvSpPr>
            <p:cNvPr id="155" name="Costa Rica" descr="© INSCALE GmbH, 05.05.2010&#10;http://www.presentationload.com/"/>
            <p:cNvSpPr>
              <a:spLocks/>
            </p:cNvSpPr>
            <p:nvPr/>
          </p:nvSpPr>
          <p:spPr bwMode="gray">
            <a:xfrm>
              <a:off x="2490945" y="4023318"/>
              <a:ext cx="78070" cy="72263"/>
            </a:xfrm>
            <a:custGeom>
              <a:avLst/>
              <a:gdLst>
                <a:gd name="T0" fmla="*/ 2147483647 w 240"/>
                <a:gd name="T1" fmla="*/ 2147483647 h 228"/>
                <a:gd name="T2" fmla="*/ 2147483647 w 240"/>
                <a:gd name="T3" fmla="*/ 2147483647 h 228"/>
                <a:gd name="T4" fmla="*/ 2147483647 w 240"/>
                <a:gd name="T5" fmla="*/ 2147483647 h 228"/>
                <a:gd name="T6" fmla="*/ 2147483647 w 240"/>
                <a:gd name="T7" fmla="*/ 2147483647 h 228"/>
                <a:gd name="T8" fmla="*/ 2147483647 w 240"/>
                <a:gd name="T9" fmla="*/ 2147483647 h 228"/>
                <a:gd name="T10" fmla="*/ 2147483647 w 240"/>
                <a:gd name="T11" fmla="*/ 2147483647 h 228"/>
                <a:gd name="T12" fmla="*/ 2147483647 w 240"/>
                <a:gd name="T13" fmla="*/ 2147483647 h 228"/>
                <a:gd name="T14" fmla="*/ 2147483647 w 240"/>
                <a:gd name="T15" fmla="*/ 2147483647 h 228"/>
                <a:gd name="T16" fmla="*/ 2147483647 w 240"/>
                <a:gd name="T17" fmla="*/ 2147483647 h 228"/>
                <a:gd name="T18" fmla="*/ 2147483647 w 240"/>
                <a:gd name="T19" fmla="*/ 2147483647 h 228"/>
                <a:gd name="T20" fmla="*/ 2147483647 w 240"/>
                <a:gd name="T21" fmla="*/ 2147483647 h 228"/>
                <a:gd name="T22" fmla="*/ 2147483647 w 240"/>
                <a:gd name="T23" fmla="*/ 2147483647 h 228"/>
                <a:gd name="T24" fmla="*/ 2147483647 w 240"/>
                <a:gd name="T25" fmla="*/ 2147483647 h 228"/>
                <a:gd name="T26" fmla="*/ 2147483647 w 240"/>
                <a:gd name="T27" fmla="*/ 2147483647 h 228"/>
                <a:gd name="T28" fmla="*/ 2147483647 w 240"/>
                <a:gd name="T29" fmla="*/ 2147483647 h 228"/>
                <a:gd name="T30" fmla="*/ 2147483647 w 240"/>
                <a:gd name="T31" fmla="*/ 0 h 228"/>
                <a:gd name="T32" fmla="*/ 2147483647 w 240"/>
                <a:gd name="T33" fmla="*/ 2147483647 h 228"/>
                <a:gd name="T34" fmla="*/ 2147483647 w 240"/>
                <a:gd name="T35" fmla="*/ 2147483647 h 228"/>
                <a:gd name="T36" fmla="*/ 0 w 240"/>
                <a:gd name="T37" fmla="*/ 2147483647 h 228"/>
                <a:gd name="T38" fmla="*/ 2147483647 w 240"/>
                <a:gd name="T39" fmla="*/ 2147483647 h 228"/>
                <a:gd name="T40" fmla="*/ 2147483647 w 240"/>
                <a:gd name="T41" fmla="*/ 2147483647 h 228"/>
                <a:gd name="T42" fmla="*/ 2147483647 w 240"/>
                <a:gd name="T43" fmla="*/ 2147483647 h 228"/>
                <a:gd name="T44" fmla="*/ 2147483647 w 240"/>
                <a:gd name="T45" fmla="*/ 2147483647 h 228"/>
                <a:gd name="T46" fmla="*/ 2147483647 w 240"/>
                <a:gd name="T47" fmla="*/ 2147483647 h 228"/>
                <a:gd name="T48" fmla="*/ 2147483647 w 240"/>
                <a:gd name="T49" fmla="*/ 2147483647 h 228"/>
                <a:gd name="T50" fmla="*/ 2147483647 w 240"/>
                <a:gd name="T51" fmla="*/ 2147483647 h 228"/>
                <a:gd name="T52" fmla="*/ 2147483647 w 240"/>
                <a:gd name="T53" fmla="*/ 2147483647 h 228"/>
                <a:gd name="T54" fmla="*/ 2147483647 w 240"/>
                <a:gd name="T55" fmla="*/ 2147483647 h 228"/>
                <a:gd name="T56" fmla="*/ 2147483647 w 240"/>
                <a:gd name="T57" fmla="*/ 2147483647 h 228"/>
                <a:gd name="T58" fmla="*/ 2147483647 w 240"/>
                <a:gd name="T59" fmla="*/ 2147483647 h 228"/>
                <a:gd name="T60" fmla="*/ 2147483647 w 240"/>
                <a:gd name="T61" fmla="*/ 2147483647 h 228"/>
                <a:gd name="T62" fmla="*/ 2147483647 w 240"/>
                <a:gd name="T63" fmla="*/ 2147483647 h 228"/>
                <a:gd name="T64" fmla="*/ 2147483647 w 240"/>
                <a:gd name="T65" fmla="*/ 2147483647 h 228"/>
                <a:gd name="T66" fmla="*/ 2147483647 w 240"/>
                <a:gd name="T67" fmla="*/ 2147483647 h 228"/>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240"/>
                <a:gd name="T103" fmla="*/ 0 h 228"/>
                <a:gd name="T104" fmla="*/ 240 w 240"/>
                <a:gd name="T105" fmla="*/ 228 h 228"/>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240" h="228">
                  <a:moveTo>
                    <a:pt x="210" y="198"/>
                  </a:moveTo>
                  <a:lnTo>
                    <a:pt x="216" y="198"/>
                  </a:lnTo>
                  <a:lnTo>
                    <a:pt x="234" y="180"/>
                  </a:lnTo>
                  <a:lnTo>
                    <a:pt x="228" y="174"/>
                  </a:lnTo>
                  <a:lnTo>
                    <a:pt x="210" y="174"/>
                  </a:lnTo>
                  <a:lnTo>
                    <a:pt x="210" y="168"/>
                  </a:lnTo>
                  <a:lnTo>
                    <a:pt x="204" y="162"/>
                  </a:lnTo>
                  <a:lnTo>
                    <a:pt x="204" y="144"/>
                  </a:lnTo>
                  <a:lnTo>
                    <a:pt x="210" y="138"/>
                  </a:lnTo>
                  <a:lnTo>
                    <a:pt x="222" y="138"/>
                  </a:lnTo>
                  <a:lnTo>
                    <a:pt x="228" y="132"/>
                  </a:lnTo>
                  <a:lnTo>
                    <a:pt x="240" y="132"/>
                  </a:lnTo>
                  <a:lnTo>
                    <a:pt x="228" y="126"/>
                  </a:lnTo>
                  <a:lnTo>
                    <a:pt x="210" y="108"/>
                  </a:lnTo>
                  <a:lnTo>
                    <a:pt x="198" y="84"/>
                  </a:lnTo>
                  <a:lnTo>
                    <a:pt x="192" y="78"/>
                  </a:lnTo>
                  <a:lnTo>
                    <a:pt x="186" y="66"/>
                  </a:lnTo>
                  <a:lnTo>
                    <a:pt x="180" y="60"/>
                  </a:lnTo>
                  <a:lnTo>
                    <a:pt x="174" y="36"/>
                  </a:lnTo>
                  <a:lnTo>
                    <a:pt x="138" y="36"/>
                  </a:lnTo>
                  <a:lnTo>
                    <a:pt x="126" y="24"/>
                  </a:lnTo>
                  <a:lnTo>
                    <a:pt x="126" y="18"/>
                  </a:lnTo>
                  <a:lnTo>
                    <a:pt x="120" y="18"/>
                  </a:lnTo>
                  <a:lnTo>
                    <a:pt x="114" y="12"/>
                  </a:lnTo>
                  <a:lnTo>
                    <a:pt x="84" y="12"/>
                  </a:lnTo>
                  <a:lnTo>
                    <a:pt x="84" y="18"/>
                  </a:lnTo>
                  <a:lnTo>
                    <a:pt x="78" y="18"/>
                  </a:lnTo>
                  <a:lnTo>
                    <a:pt x="72" y="12"/>
                  </a:lnTo>
                  <a:lnTo>
                    <a:pt x="60" y="6"/>
                  </a:lnTo>
                  <a:lnTo>
                    <a:pt x="48" y="6"/>
                  </a:lnTo>
                  <a:lnTo>
                    <a:pt x="42" y="0"/>
                  </a:lnTo>
                  <a:lnTo>
                    <a:pt x="24" y="0"/>
                  </a:lnTo>
                  <a:lnTo>
                    <a:pt x="6" y="30"/>
                  </a:lnTo>
                  <a:lnTo>
                    <a:pt x="18" y="42"/>
                  </a:lnTo>
                  <a:lnTo>
                    <a:pt x="24" y="42"/>
                  </a:lnTo>
                  <a:lnTo>
                    <a:pt x="24" y="48"/>
                  </a:lnTo>
                  <a:lnTo>
                    <a:pt x="6" y="66"/>
                  </a:lnTo>
                  <a:lnTo>
                    <a:pt x="0" y="78"/>
                  </a:lnTo>
                  <a:lnTo>
                    <a:pt x="6" y="90"/>
                  </a:lnTo>
                  <a:lnTo>
                    <a:pt x="18" y="102"/>
                  </a:lnTo>
                  <a:lnTo>
                    <a:pt x="30" y="108"/>
                  </a:lnTo>
                  <a:lnTo>
                    <a:pt x="42" y="108"/>
                  </a:lnTo>
                  <a:lnTo>
                    <a:pt x="60" y="126"/>
                  </a:lnTo>
                  <a:lnTo>
                    <a:pt x="72" y="126"/>
                  </a:lnTo>
                  <a:lnTo>
                    <a:pt x="72" y="102"/>
                  </a:lnTo>
                  <a:lnTo>
                    <a:pt x="66" y="96"/>
                  </a:lnTo>
                  <a:lnTo>
                    <a:pt x="54" y="90"/>
                  </a:lnTo>
                  <a:lnTo>
                    <a:pt x="42" y="78"/>
                  </a:lnTo>
                  <a:lnTo>
                    <a:pt x="42" y="72"/>
                  </a:lnTo>
                  <a:lnTo>
                    <a:pt x="48" y="72"/>
                  </a:lnTo>
                  <a:lnTo>
                    <a:pt x="60" y="78"/>
                  </a:lnTo>
                  <a:lnTo>
                    <a:pt x="66" y="84"/>
                  </a:lnTo>
                  <a:lnTo>
                    <a:pt x="90" y="96"/>
                  </a:lnTo>
                  <a:lnTo>
                    <a:pt x="96" y="102"/>
                  </a:lnTo>
                  <a:lnTo>
                    <a:pt x="96" y="132"/>
                  </a:lnTo>
                  <a:lnTo>
                    <a:pt x="114" y="132"/>
                  </a:lnTo>
                  <a:lnTo>
                    <a:pt x="126" y="138"/>
                  </a:lnTo>
                  <a:lnTo>
                    <a:pt x="138" y="138"/>
                  </a:lnTo>
                  <a:lnTo>
                    <a:pt x="156" y="180"/>
                  </a:lnTo>
                  <a:lnTo>
                    <a:pt x="150" y="186"/>
                  </a:lnTo>
                  <a:lnTo>
                    <a:pt x="150" y="198"/>
                  </a:lnTo>
                  <a:lnTo>
                    <a:pt x="168" y="216"/>
                  </a:lnTo>
                  <a:lnTo>
                    <a:pt x="180" y="222"/>
                  </a:lnTo>
                  <a:lnTo>
                    <a:pt x="192" y="222"/>
                  </a:lnTo>
                  <a:lnTo>
                    <a:pt x="174" y="198"/>
                  </a:lnTo>
                  <a:lnTo>
                    <a:pt x="204" y="228"/>
                  </a:lnTo>
                  <a:lnTo>
                    <a:pt x="210" y="222"/>
                  </a:lnTo>
                  <a:lnTo>
                    <a:pt x="210" y="198"/>
                  </a:lnTo>
                  <a:close/>
                </a:path>
              </a:pathLst>
            </a:custGeom>
            <a:grpFill/>
            <a:ln w="3175">
              <a:solidFill>
                <a:schemeClr val="bg1"/>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de-DE" sz="1800" b="0" i="0" u="none" strike="noStrike" kern="1200" cap="none" spc="0" normalizeH="0" baseline="0" noProof="0">
                <a:ln>
                  <a:noFill/>
                </a:ln>
                <a:solidFill>
                  <a:srgbClr val="FFC000"/>
                </a:solidFill>
                <a:effectLst/>
                <a:uLnTx/>
                <a:uFillTx/>
                <a:latin typeface="Calibri" pitchFamily="34" charset="0"/>
                <a:ea typeface="+mn-ea"/>
                <a:cs typeface="+mn-cs"/>
              </a:endParaRPr>
            </a:p>
          </p:txBody>
        </p:sp>
        <p:sp>
          <p:nvSpPr>
            <p:cNvPr id="156" name="Colombia" descr="© INSCALE GmbH, 05.05.2010&#10;http://www.presentationload.com/"/>
            <p:cNvSpPr>
              <a:spLocks/>
            </p:cNvSpPr>
            <p:nvPr/>
          </p:nvSpPr>
          <p:spPr bwMode="gray">
            <a:xfrm>
              <a:off x="2640687" y="3992698"/>
              <a:ext cx="281565" cy="417653"/>
            </a:xfrm>
            <a:custGeom>
              <a:avLst/>
              <a:gdLst>
                <a:gd name="T0" fmla="*/ 2147483647 w 870"/>
                <a:gd name="T1" fmla="*/ 2147483647 h 1344"/>
                <a:gd name="T2" fmla="*/ 2147483647 w 870"/>
                <a:gd name="T3" fmla="*/ 2147483647 h 1344"/>
                <a:gd name="T4" fmla="*/ 2147483647 w 870"/>
                <a:gd name="T5" fmla="*/ 2147483647 h 1344"/>
                <a:gd name="T6" fmla="*/ 2147483647 w 870"/>
                <a:gd name="T7" fmla="*/ 2147483647 h 1344"/>
                <a:gd name="T8" fmla="*/ 2147483647 w 870"/>
                <a:gd name="T9" fmla="*/ 2147483647 h 1344"/>
                <a:gd name="T10" fmla="*/ 2147483647 w 870"/>
                <a:gd name="T11" fmla="*/ 2147483647 h 1344"/>
                <a:gd name="T12" fmla="*/ 2147483647 w 870"/>
                <a:gd name="T13" fmla="*/ 2147483647 h 1344"/>
                <a:gd name="T14" fmla="*/ 2147483647 w 870"/>
                <a:gd name="T15" fmla="*/ 2147483647 h 1344"/>
                <a:gd name="T16" fmla="*/ 2147483647 w 870"/>
                <a:gd name="T17" fmla="*/ 2147483647 h 1344"/>
                <a:gd name="T18" fmla="*/ 2147483647 w 870"/>
                <a:gd name="T19" fmla="*/ 2147483647 h 1344"/>
                <a:gd name="T20" fmla="*/ 2147483647 w 870"/>
                <a:gd name="T21" fmla="*/ 2147483647 h 1344"/>
                <a:gd name="T22" fmla="*/ 2147483647 w 870"/>
                <a:gd name="T23" fmla="*/ 2147483647 h 1344"/>
                <a:gd name="T24" fmla="*/ 2147483647 w 870"/>
                <a:gd name="T25" fmla="*/ 2147483647 h 1344"/>
                <a:gd name="T26" fmla="*/ 2147483647 w 870"/>
                <a:gd name="T27" fmla="*/ 2147483647 h 1344"/>
                <a:gd name="T28" fmla="*/ 2147483647 w 870"/>
                <a:gd name="T29" fmla="*/ 2147483647 h 1344"/>
                <a:gd name="T30" fmla="*/ 2147483647 w 870"/>
                <a:gd name="T31" fmla="*/ 2147483647 h 1344"/>
                <a:gd name="T32" fmla="*/ 2147483647 w 870"/>
                <a:gd name="T33" fmla="*/ 2147483647 h 1344"/>
                <a:gd name="T34" fmla="*/ 2147483647 w 870"/>
                <a:gd name="T35" fmla="*/ 2147483647 h 1344"/>
                <a:gd name="T36" fmla="*/ 2147483647 w 870"/>
                <a:gd name="T37" fmla="*/ 2147483647 h 1344"/>
                <a:gd name="T38" fmla="*/ 2147483647 w 870"/>
                <a:gd name="T39" fmla="*/ 2147483647 h 1344"/>
                <a:gd name="T40" fmla="*/ 2147483647 w 870"/>
                <a:gd name="T41" fmla="*/ 2147483647 h 1344"/>
                <a:gd name="T42" fmla="*/ 2147483647 w 870"/>
                <a:gd name="T43" fmla="*/ 2147483647 h 1344"/>
                <a:gd name="T44" fmla="*/ 2147483647 w 870"/>
                <a:gd name="T45" fmla="*/ 2147483647 h 1344"/>
                <a:gd name="T46" fmla="*/ 2147483647 w 870"/>
                <a:gd name="T47" fmla="*/ 2147483647 h 1344"/>
                <a:gd name="T48" fmla="*/ 2147483647 w 870"/>
                <a:gd name="T49" fmla="*/ 2147483647 h 1344"/>
                <a:gd name="T50" fmla="*/ 2147483647 w 870"/>
                <a:gd name="T51" fmla="*/ 2147483647 h 1344"/>
                <a:gd name="T52" fmla="*/ 2147483647 w 870"/>
                <a:gd name="T53" fmla="*/ 2147483647 h 1344"/>
                <a:gd name="T54" fmla="*/ 2147483647 w 870"/>
                <a:gd name="T55" fmla="*/ 2147483647 h 1344"/>
                <a:gd name="T56" fmla="*/ 2147483647 w 870"/>
                <a:gd name="T57" fmla="*/ 2147483647 h 1344"/>
                <a:gd name="T58" fmla="*/ 2147483647 w 870"/>
                <a:gd name="T59" fmla="*/ 2147483647 h 1344"/>
                <a:gd name="T60" fmla="*/ 2147483647 w 870"/>
                <a:gd name="T61" fmla="*/ 2147483647 h 1344"/>
                <a:gd name="T62" fmla="*/ 2147483647 w 870"/>
                <a:gd name="T63" fmla="*/ 2147483647 h 1344"/>
                <a:gd name="T64" fmla="*/ 2147483647 w 870"/>
                <a:gd name="T65" fmla="*/ 2147483647 h 1344"/>
                <a:gd name="T66" fmla="*/ 2147483647 w 870"/>
                <a:gd name="T67" fmla="*/ 2147483647 h 1344"/>
                <a:gd name="T68" fmla="*/ 2147483647 w 870"/>
                <a:gd name="T69" fmla="*/ 2147483647 h 1344"/>
                <a:gd name="T70" fmla="*/ 2147483647 w 870"/>
                <a:gd name="T71" fmla="*/ 2147483647 h 1344"/>
                <a:gd name="T72" fmla="*/ 2147483647 w 870"/>
                <a:gd name="T73" fmla="*/ 0 h 1344"/>
                <a:gd name="T74" fmla="*/ 2147483647 w 870"/>
                <a:gd name="T75" fmla="*/ 2147483647 h 1344"/>
                <a:gd name="T76" fmla="*/ 2147483647 w 870"/>
                <a:gd name="T77" fmla="*/ 2147483647 h 1344"/>
                <a:gd name="T78" fmla="*/ 2147483647 w 870"/>
                <a:gd name="T79" fmla="*/ 2147483647 h 1344"/>
                <a:gd name="T80" fmla="*/ 2147483647 w 870"/>
                <a:gd name="T81" fmla="*/ 2147483647 h 1344"/>
                <a:gd name="T82" fmla="*/ 2147483647 w 870"/>
                <a:gd name="T83" fmla="*/ 2147483647 h 1344"/>
                <a:gd name="T84" fmla="*/ 2147483647 w 870"/>
                <a:gd name="T85" fmla="*/ 2147483647 h 1344"/>
                <a:gd name="T86" fmla="*/ 2147483647 w 870"/>
                <a:gd name="T87" fmla="*/ 2147483647 h 1344"/>
                <a:gd name="T88" fmla="*/ 2147483647 w 870"/>
                <a:gd name="T89" fmla="*/ 2147483647 h 1344"/>
                <a:gd name="T90" fmla="*/ 2147483647 w 870"/>
                <a:gd name="T91" fmla="*/ 2147483647 h 1344"/>
                <a:gd name="T92" fmla="*/ 2147483647 w 870"/>
                <a:gd name="T93" fmla="*/ 2147483647 h 1344"/>
                <a:gd name="T94" fmla="*/ 2147483647 w 870"/>
                <a:gd name="T95" fmla="*/ 2147483647 h 1344"/>
                <a:gd name="T96" fmla="*/ 2147483647 w 870"/>
                <a:gd name="T97" fmla="*/ 2147483647 h 1344"/>
                <a:gd name="T98" fmla="*/ 2147483647 w 870"/>
                <a:gd name="T99" fmla="*/ 2147483647 h 1344"/>
                <a:gd name="T100" fmla="*/ 2147483647 w 870"/>
                <a:gd name="T101" fmla="*/ 2147483647 h 1344"/>
                <a:gd name="T102" fmla="*/ 2147483647 w 870"/>
                <a:gd name="T103" fmla="*/ 2147483647 h 1344"/>
                <a:gd name="T104" fmla="*/ 2147483647 w 870"/>
                <a:gd name="T105" fmla="*/ 2147483647 h 1344"/>
                <a:gd name="T106" fmla="*/ 2147483647 w 870"/>
                <a:gd name="T107" fmla="*/ 2147483647 h 1344"/>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870"/>
                <a:gd name="T163" fmla="*/ 0 h 1344"/>
                <a:gd name="T164" fmla="*/ 870 w 870"/>
                <a:gd name="T165" fmla="*/ 1344 h 1344"/>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870" h="1344">
                  <a:moveTo>
                    <a:pt x="36" y="912"/>
                  </a:moveTo>
                  <a:lnTo>
                    <a:pt x="60" y="924"/>
                  </a:lnTo>
                  <a:lnTo>
                    <a:pt x="66" y="936"/>
                  </a:lnTo>
                  <a:lnTo>
                    <a:pt x="84" y="936"/>
                  </a:lnTo>
                  <a:lnTo>
                    <a:pt x="96" y="942"/>
                  </a:lnTo>
                  <a:lnTo>
                    <a:pt x="102" y="948"/>
                  </a:lnTo>
                  <a:lnTo>
                    <a:pt x="108" y="960"/>
                  </a:lnTo>
                  <a:lnTo>
                    <a:pt x="108" y="966"/>
                  </a:lnTo>
                  <a:lnTo>
                    <a:pt x="114" y="972"/>
                  </a:lnTo>
                  <a:lnTo>
                    <a:pt x="126" y="978"/>
                  </a:lnTo>
                  <a:lnTo>
                    <a:pt x="138" y="978"/>
                  </a:lnTo>
                  <a:lnTo>
                    <a:pt x="144" y="972"/>
                  </a:lnTo>
                  <a:lnTo>
                    <a:pt x="156" y="978"/>
                  </a:lnTo>
                  <a:lnTo>
                    <a:pt x="162" y="984"/>
                  </a:lnTo>
                  <a:lnTo>
                    <a:pt x="186" y="984"/>
                  </a:lnTo>
                  <a:lnTo>
                    <a:pt x="186" y="972"/>
                  </a:lnTo>
                  <a:lnTo>
                    <a:pt x="192" y="966"/>
                  </a:lnTo>
                  <a:lnTo>
                    <a:pt x="198" y="966"/>
                  </a:lnTo>
                  <a:lnTo>
                    <a:pt x="210" y="972"/>
                  </a:lnTo>
                  <a:lnTo>
                    <a:pt x="210" y="978"/>
                  </a:lnTo>
                  <a:lnTo>
                    <a:pt x="216" y="984"/>
                  </a:lnTo>
                  <a:lnTo>
                    <a:pt x="216" y="990"/>
                  </a:lnTo>
                  <a:lnTo>
                    <a:pt x="228" y="1002"/>
                  </a:lnTo>
                  <a:lnTo>
                    <a:pt x="264" y="1002"/>
                  </a:lnTo>
                  <a:lnTo>
                    <a:pt x="276" y="1008"/>
                  </a:lnTo>
                  <a:lnTo>
                    <a:pt x="282" y="1014"/>
                  </a:lnTo>
                  <a:lnTo>
                    <a:pt x="294" y="1020"/>
                  </a:lnTo>
                  <a:lnTo>
                    <a:pt x="312" y="1038"/>
                  </a:lnTo>
                  <a:lnTo>
                    <a:pt x="324" y="1044"/>
                  </a:lnTo>
                  <a:lnTo>
                    <a:pt x="330" y="1050"/>
                  </a:lnTo>
                  <a:lnTo>
                    <a:pt x="342" y="1086"/>
                  </a:lnTo>
                  <a:lnTo>
                    <a:pt x="360" y="1086"/>
                  </a:lnTo>
                  <a:lnTo>
                    <a:pt x="372" y="1104"/>
                  </a:lnTo>
                  <a:lnTo>
                    <a:pt x="384" y="1104"/>
                  </a:lnTo>
                  <a:lnTo>
                    <a:pt x="390" y="1110"/>
                  </a:lnTo>
                  <a:lnTo>
                    <a:pt x="390" y="1134"/>
                  </a:lnTo>
                  <a:lnTo>
                    <a:pt x="396" y="1140"/>
                  </a:lnTo>
                  <a:lnTo>
                    <a:pt x="396" y="1146"/>
                  </a:lnTo>
                  <a:lnTo>
                    <a:pt x="408" y="1146"/>
                  </a:lnTo>
                  <a:lnTo>
                    <a:pt x="420" y="1152"/>
                  </a:lnTo>
                  <a:lnTo>
                    <a:pt x="426" y="1158"/>
                  </a:lnTo>
                  <a:lnTo>
                    <a:pt x="426" y="1164"/>
                  </a:lnTo>
                  <a:lnTo>
                    <a:pt x="420" y="1170"/>
                  </a:lnTo>
                  <a:lnTo>
                    <a:pt x="420" y="1194"/>
                  </a:lnTo>
                  <a:lnTo>
                    <a:pt x="432" y="1200"/>
                  </a:lnTo>
                  <a:lnTo>
                    <a:pt x="456" y="1206"/>
                  </a:lnTo>
                  <a:lnTo>
                    <a:pt x="492" y="1206"/>
                  </a:lnTo>
                  <a:lnTo>
                    <a:pt x="492" y="1194"/>
                  </a:lnTo>
                  <a:lnTo>
                    <a:pt x="504" y="1182"/>
                  </a:lnTo>
                  <a:lnTo>
                    <a:pt x="528" y="1182"/>
                  </a:lnTo>
                  <a:lnTo>
                    <a:pt x="534" y="1188"/>
                  </a:lnTo>
                  <a:lnTo>
                    <a:pt x="540" y="1188"/>
                  </a:lnTo>
                  <a:lnTo>
                    <a:pt x="546" y="1194"/>
                  </a:lnTo>
                  <a:lnTo>
                    <a:pt x="558" y="1194"/>
                  </a:lnTo>
                  <a:lnTo>
                    <a:pt x="570" y="1188"/>
                  </a:lnTo>
                  <a:lnTo>
                    <a:pt x="576" y="1182"/>
                  </a:lnTo>
                  <a:lnTo>
                    <a:pt x="588" y="1182"/>
                  </a:lnTo>
                  <a:lnTo>
                    <a:pt x="588" y="1188"/>
                  </a:lnTo>
                  <a:lnTo>
                    <a:pt x="594" y="1200"/>
                  </a:lnTo>
                  <a:lnTo>
                    <a:pt x="600" y="1206"/>
                  </a:lnTo>
                  <a:lnTo>
                    <a:pt x="624" y="1206"/>
                  </a:lnTo>
                  <a:lnTo>
                    <a:pt x="636" y="1212"/>
                  </a:lnTo>
                  <a:lnTo>
                    <a:pt x="642" y="1218"/>
                  </a:lnTo>
                  <a:lnTo>
                    <a:pt x="642" y="1236"/>
                  </a:lnTo>
                  <a:lnTo>
                    <a:pt x="636" y="1248"/>
                  </a:lnTo>
                  <a:lnTo>
                    <a:pt x="630" y="1254"/>
                  </a:lnTo>
                  <a:lnTo>
                    <a:pt x="624" y="1254"/>
                  </a:lnTo>
                  <a:lnTo>
                    <a:pt x="618" y="1260"/>
                  </a:lnTo>
                  <a:lnTo>
                    <a:pt x="618" y="1266"/>
                  </a:lnTo>
                  <a:lnTo>
                    <a:pt x="606" y="1290"/>
                  </a:lnTo>
                  <a:lnTo>
                    <a:pt x="606" y="1308"/>
                  </a:lnTo>
                  <a:lnTo>
                    <a:pt x="612" y="1314"/>
                  </a:lnTo>
                  <a:lnTo>
                    <a:pt x="630" y="1314"/>
                  </a:lnTo>
                  <a:lnTo>
                    <a:pt x="642" y="1332"/>
                  </a:lnTo>
                  <a:lnTo>
                    <a:pt x="660" y="1344"/>
                  </a:lnTo>
                  <a:lnTo>
                    <a:pt x="660" y="1308"/>
                  </a:lnTo>
                  <a:lnTo>
                    <a:pt x="666" y="1236"/>
                  </a:lnTo>
                  <a:lnTo>
                    <a:pt x="684" y="1188"/>
                  </a:lnTo>
                  <a:lnTo>
                    <a:pt x="678" y="1140"/>
                  </a:lnTo>
                  <a:lnTo>
                    <a:pt x="690" y="1128"/>
                  </a:lnTo>
                  <a:lnTo>
                    <a:pt x="696" y="1116"/>
                  </a:lnTo>
                  <a:lnTo>
                    <a:pt x="696" y="1104"/>
                  </a:lnTo>
                  <a:lnTo>
                    <a:pt x="690" y="1092"/>
                  </a:lnTo>
                  <a:lnTo>
                    <a:pt x="678" y="1080"/>
                  </a:lnTo>
                  <a:lnTo>
                    <a:pt x="678" y="1074"/>
                  </a:lnTo>
                  <a:lnTo>
                    <a:pt x="672" y="1068"/>
                  </a:lnTo>
                  <a:lnTo>
                    <a:pt x="672" y="1044"/>
                  </a:lnTo>
                  <a:lnTo>
                    <a:pt x="666" y="1038"/>
                  </a:lnTo>
                  <a:lnTo>
                    <a:pt x="654" y="1032"/>
                  </a:lnTo>
                  <a:lnTo>
                    <a:pt x="642" y="1020"/>
                  </a:lnTo>
                  <a:lnTo>
                    <a:pt x="636" y="1020"/>
                  </a:lnTo>
                  <a:lnTo>
                    <a:pt x="642" y="954"/>
                  </a:lnTo>
                  <a:lnTo>
                    <a:pt x="672" y="948"/>
                  </a:lnTo>
                  <a:lnTo>
                    <a:pt x="678" y="954"/>
                  </a:lnTo>
                  <a:lnTo>
                    <a:pt x="708" y="954"/>
                  </a:lnTo>
                  <a:lnTo>
                    <a:pt x="714" y="948"/>
                  </a:lnTo>
                  <a:lnTo>
                    <a:pt x="714" y="942"/>
                  </a:lnTo>
                  <a:lnTo>
                    <a:pt x="708" y="936"/>
                  </a:lnTo>
                  <a:lnTo>
                    <a:pt x="708" y="930"/>
                  </a:lnTo>
                  <a:lnTo>
                    <a:pt x="696" y="918"/>
                  </a:lnTo>
                  <a:lnTo>
                    <a:pt x="684" y="924"/>
                  </a:lnTo>
                  <a:lnTo>
                    <a:pt x="660" y="912"/>
                  </a:lnTo>
                  <a:lnTo>
                    <a:pt x="660" y="900"/>
                  </a:lnTo>
                  <a:lnTo>
                    <a:pt x="654" y="888"/>
                  </a:lnTo>
                  <a:lnTo>
                    <a:pt x="654" y="876"/>
                  </a:lnTo>
                  <a:lnTo>
                    <a:pt x="660" y="864"/>
                  </a:lnTo>
                  <a:lnTo>
                    <a:pt x="666" y="858"/>
                  </a:lnTo>
                  <a:lnTo>
                    <a:pt x="684" y="858"/>
                  </a:lnTo>
                  <a:lnTo>
                    <a:pt x="696" y="870"/>
                  </a:lnTo>
                  <a:lnTo>
                    <a:pt x="762" y="864"/>
                  </a:lnTo>
                  <a:lnTo>
                    <a:pt x="762" y="846"/>
                  </a:lnTo>
                  <a:lnTo>
                    <a:pt x="768" y="840"/>
                  </a:lnTo>
                  <a:lnTo>
                    <a:pt x="774" y="840"/>
                  </a:lnTo>
                  <a:lnTo>
                    <a:pt x="798" y="864"/>
                  </a:lnTo>
                  <a:lnTo>
                    <a:pt x="828" y="834"/>
                  </a:lnTo>
                  <a:lnTo>
                    <a:pt x="834" y="834"/>
                  </a:lnTo>
                  <a:lnTo>
                    <a:pt x="834" y="846"/>
                  </a:lnTo>
                  <a:lnTo>
                    <a:pt x="840" y="852"/>
                  </a:lnTo>
                  <a:lnTo>
                    <a:pt x="840" y="864"/>
                  </a:lnTo>
                  <a:lnTo>
                    <a:pt x="846" y="876"/>
                  </a:lnTo>
                  <a:lnTo>
                    <a:pt x="846" y="906"/>
                  </a:lnTo>
                  <a:lnTo>
                    <a:pt x="870" y="906"/>
                  </a:lnTo>
                  <a:lnTo>
                    <a:pt x="864" y="900"/>
                  </a:lnTo>
                  <a:lnTo>
                    <a:pt x="864" y="882"/>
                  </a:lnTo>
                  <a:lnTo>
                    <a:pt x="858" y="870"/>
                  </a:lnTo>
                  <a:lnTo>
                    <a:pt x="858" y="852"/>
                  </a:lnTo>
                  <a:lnTo>
                    <a:pt x="852" y="846"/>
                  </a:lnTo>
                  <a:lnTo>
                    <a:pt x="852" y="828"/>
                  </a:lnTo>
                  <a:lnTo>
                    <a:pt x="846" y="822"/>
                  </a:lnTo>
                  <a:lnTo>
                    <a:pt x="846" y="798"/>
                  </a:lnTo>
                  <a:lnTo>
                    <a:pt x="834" y="798"/>
                  </a:lnTo>
                  <a:lnTo>
                    <a:pt x="822" y="786"/>
                  </a:lnTo>
                  <a:lnTo>
                    <a:pt x="798" y="774"/>
                  </a:lnTo>
                  <a:lnTo>
                    <a:pt x="804" y="774"/>
                  </a:lnTo>
                  <a:lnTo>
                    <a:pt x="834" y="744"/>
                  </a:lnTo>
                  <a:lnTo>
                    <a:pt x="840" y="732"/>
                  </a:lnTo>
                  <a:lnTo>
                    <a:pt x="840" y="726"/>
                  </a:lnTo>
                  <a:lnTo>
                    <a:pt x="834" y="714"/>
                  </a:lnTo>
                  <a:lnTo>
                    <a:pt x="822" y="708"/>
                  </a:lnTo>
                  <a:lnTo>
                    <a:pt x="816" y="696"/>
                  </a:lnTo>
                  <a:lnTo>
                    <a:pt x="816" y="672"/>
                  </a:lnTo>
                  <a:lnTo>
                    <a:pt x="804" y="672"/>
                  </a:lnTo>
                  <a:lnTo>
                    <a:pt x="798" y="666"/>
                  </a:lnTo>
                  <a:lnTo>
                    <a:pt x="798" y="654"/>
                  </a:lnTo>
                  <a:lnTo>
                    <a:pt x="804" y="642"/>
                  </a:lnTo>
                  <a:lnTo>
                    <a:pt x="804" y="612"/>
                  </a:lnTo>
                  <a:lnTo>
                    <a:pt x="798" y="600"/>
                  </a:lnTo>
                  <a:lnTo>
                    <a:pt x="798" y="576"/>
                  </a:lnTo>
                  <a:lnTo>
                    <a:pt x="810" y="564"/>
                  </a:lnTo>
                  <a:lnTo>
                    <a:pt x="816" y="564"/>
                  </a:lnTo>
                  <a:lnTo>
                    <a:pt x="822" y="558"/>
                  </a:lnTo>
                  <a:lnTo>
                    <a:pt x="822" y="534"/>
                  </a:lnTo>
                  <a:lnTo>
                    <a:pt x="840" y="516"/>
                  </a:lnTo>
                  <a:lnTo>
                    <a:pt x="840" y="504"/>
                  </a:lnTo>
                  <a:lnTo>
                    <a:pt x="834" y="498"/>
                  </a:lnTo>
                  <a:lnTo>
                    <a:pt x="816" y="498"/>
                  </a:lnTo>
                  <a:lnTo>
                    <a:pt x="804" y="504"/>
                  </a:lnTo>
                  <a:lnTo>
                    <a:pt x="798" y="510"/>
                  </a:lnTo>
                  <a:lnTo>
                    <a:pt x="774" y="504"/>
                  </a:lnTo>
                  <a:lnTo>
                    <a:pt x="768" y="510"/>
                  </a:lnTo>
                  <a:lnTo>
                    <a:pt x="744" y="510"/>
                  </a:lnTo>
                  <a:lnTo>
                    <a:pt x="738" y="504"/>
                  </a:lnTo>
                  <a:lnTo>
                    <a:pt x="720" y="504"/>
                  </a:lnTo>
                  <a:lnTo>
                    <a:pt x="720" y="510"/>
                  </a:lnTo>
                  <a:lnTo>
                    <a:pt x="696" y="510"/>
                  </a:lnTo>
                  <a:lnTo>
                    <a:pt x="672" y="486"/>
                  </a:lnTo>
                  <a:lnTo>
                    <a:pt x="666" y="468"/>
                  </a:lnTo>
                  <a:lnTo>
                    <a:pt x="660" y="456"/>
                  </a:lnTo>
                  <a:lnTo>
                    <a:pt x="654" y="450"/>
                  </a:lnTo>
                  <a:lnTo>
                    <a:pt x="654" y="444"/>
                  </a:lnTo>
                  <a:lnTo>
                    <a:pt x="630" y="444"/>
                  </a:lnTo>
                  <a:lnTo>
                    <a:pt x="618" y="438"/>
                  </a:lnTo>
                  <a:lnTo>
                    <a:pt x="612" y="432"/>
                  </a:lnTo>
                  <a:lnTo>
                    <a:pt x="600" y="432"/>
                  </a:lnTo>
                  <a:lnTo>
                    <a:pt x="600" y="438"/>
                  </a:lnTo>
                  <a:lnTo>
                    <a:pt x="594" y="444"/>
                  </a:lnTo>
                  <a:lnTo>
                    <a:pt x="582" y="444"/>
                  </a:lnTo>
                  <a:lnTo>
                    <a:pt x="570" y="438"/>
                  </a:lnTo>
                  <a:lnTo>
                    <a:pt x="564" y="438"/>
                  </a:lnTo>
                  <a:lnTo>
                    <a:pt x="552" y="432"/>
                  </a:lnTo>
                  <a:lnTo>
                    <a:pt x="540" y="432"/>
                  </a:lnTo>
                  <a:lnTo>
                    <a:pt x="534" y="438"/>
                  </a:lnTo>
                  <a:lnTo>
                    <a:pt x="510" y="438"/>
                  </a:lnTo>
                  <a:lnTo>
                    <a:pt x="504" y="432"/>
                  </a:lnTo>
                  <a:lnTo>
                    <a:pt x="498" y="420"/>
                  </a:lnTo>
                  <a:lnTo>
                    <a:pt x="498" y="408"/>
                  </a:lnTo>
                  <a:lnTo>
                    <a:pt x="486" y="408"/>
                  </a:lnTo>
                  <a:lnTo>
                    <a:pt x="486" y="366"/>
                  </a:lnTo>
                  <a:lnTo>
                    <a:pt x="498" y="342"/>
                  </a:lnTo>
                  <a:lnTo>
                    <a:pt x="498" y="330"/>
                  </a:lnTo>
                  <a:lnTo>
                    <a:pt x="492" y="324"/>
                  </a:lnTo>
                  <a:lnTo>
                    <a:pt x="480" y="318"/>
                  </a:lnTo>
                  <a:lnTo>
                    <a:pt x="474" y="312"/>
                  </a:lnTo>
                  <a:lnTo>
                    <a:pt x="474" y="276"/>
                  </a:lnTo>
                  <a:lnTo>
                    <a:pt x="468" y="264"/>
                  </a:lnTo>
                  <a:lnTo>
                    <a:pt x="456" y="252"/>
                  </a:lnTo>
                  <a:lnTo>
                    <a:pt x="450" y="252"/>
                  </a:lnTo>
                  <a:lnTo>
                    <a:pt x="438" y="264"/>
                  </a:lnTo>
                  <a:lnTo>
                    <a:pt x="438" y="270"/>
                  </a:lnTo>
                  <a:lnTo>
                    <a:pt x="432" y="264"/>
                  </a:lnTo>
                  <a:lnTo>
                    <a:pt x="432" y="252"/>
                  </a:lnTo>
                  <a:lnTo>
                    <a:pt x="438" y="240"/>
                  </a:lnTo>
                  <a:lnTo>
                    <a:pt x="462" y="216"/>
                  </a:lnTo>
                  <a:lnTo>
                    <a:pt x="462" y="192"/>
                  </a:lnTo>
                  <a:lnTo>
                    <a:pt x="468" y="186"/>
                  </a:lnTo>
                  <a:lnTo>
                    <a:pt x="468" y="168"/>
                  </a:lnTo>
                  <a:lnTo>
                    <a:pt x="480" y="132"/>
                  </a:lnTo>
                  <a:lnTo>
                    <a:pt x="504" y="108"/>
                  </a:lnTo>
                  <a:lnTo>
                    <a:pt x="522" y="102"/>
                  </a:lnTo>
                  <a:lnTo>
                    <a:pt x="534" y="90"/>
                  </a:lnTo>
                  <a:lnTo>
                    <a:pt x="540" y="78"/>
                  </a:lnTo>
                  <a:lnTo>
                    <a:pt x="540" y="72"/>
                  </a:lnTo>
                  <a:lnTo>
                    <a:pt x="546" y="66"/>
                  </a:lnTo>
                  <a:lnTo>
                    <a:pt x="558" y="66"/>
                  </a:lnTo>
                  <a:lnTo>
                    <a:pt x="564" y="60"/>
                  </a:lnTo>
                  <a:lnTo>
                    <a:pt x="570" y="60"/>
                  </a:lnTo>
                  <a:lnTo>
                    <a:pt x="576" y="54"/>
                  </a:lnTo>
                  <a:lnTo>
                    <a:pt x="582" y="54"/>
                  </a:lnTo>
                  <a:lnTo>
                    <a:pt x="600" y="36"/>
                  </a:lnTo>
                  <a:lnTo>
                    <a:pt x="600" y="12"/>
                  </a:lnTo>
                  <a:lnTo>
                    <a:pt x="594" y="6"/>
                  </a:lnTo>
                  <a:lnTo>
                    <a:pt x="582" y="0"/>
                  </a:lnTo>
                  <a:lnTo>
                    <a:pt x="570" y="6"/>
                  </a:lnTo>
                  <a:lnTo>
                    <a:pt x="546" y="6"/>
                  </a:lnTo>
                  <a:lnTo>
                    <a:pt x="540" y="12"/>
                  </a:lnTo>
                  <a:lnTo>
                    <a:pt x="534" y="12"/>
                  </a:lnTo>
                  <a:lnTo>
                    <a:pt x="522" y="24"/>
                  </a:lnTo>
                  <a:lnTo>
                    <a:pt x="522" y="36"/>
                  </a:lnTo>
                  <a:lnTo>
                    <a:pt x="516" y="48"/>
                  </a:lnTo>
                  <a:lnTo>
                    <a:pt x="504" y="60"/>
                  </a:lnTo>
                  <a:lnTo>
                    <a:pt x="492" y="60"/>
                  </a:lnTo>
                  <a:lnTo>
                    <a:pt x="480" y="54"/>
                  </a:lnTo>
                  <a:lnTo>
                    <a:pt x="474" y="54"/>
                  </a:lnTo>
                  <a:lnTo>
                    <a:pt x="444" y="84"/>
                  </a:lnTo>
                  <a:lnTo>
                    <a:pt x="444" y="90"/>
                  </a:lnTo>
                  <a:lnTo>
                    <a:pt x="408" y="102"/>
                  </a:lnTo>
                  <a:lnTo>
                    <a:pt x="402" y="96"/>
                  </a:lnTo>
                  <a:lnTo>
                    <a:pt x="390" y="90"/>
                  </a:lnTo>
                  <a:lnTo>
                    <a:pt x="384" y="90"/>
                  </a:lnTo>
                  <a:lnTo>
                    <a:pt x="378" y="102"/>
                  </a:lnTo>
                  <a:lnTo>
                    <a:pt x="378" y="120"/>
                  </a:lnTo>
                  <a:lnTo>
                    <a:pt x="372" y="132"/>
                  </a:lnTo>
                  <a:lnTo>
                    <a:pt x="366" y="138"/>
                  </a:lnTo>
                  <a:lnTo>
                    <a:pt x="354" y="138"/>
                  </a:lnTo>
                  <a:lnTo>
                    <a:pt x="354" y="132"/>
                  </a:lnTo>
                  <a:lnTo>
                    <a:pt x="360" y="126"/>
                  </a:lnTo>
                  <a:lnTo>
                    <a:pt x="354" y="120"/>
                  </a:lnTo>
                  <a:lnTo>
                    <a:pt x="342" y="120"/>
                  </a:lnTo>
                  <a:lnTo>
                    <a:pt x="330" y="126"/>
                  </a:lnTo>
                  <a:lnTo>
                    <a:pt x="318" y="126"/>
                  </a:lnTo>
                  <a:lnTo>
                    <a:pt x="312" y="132"/>
                  </a:lnTo>
                  <a:lnTo>
                    <a:pt x="306" y="132"/>
                  </a:lnTo>
                  <a:lnTo>
                    <a:pt x="300" y="144"/>
                  </a:lnTo>
                  <a:lnTo>
                    <a:pt x="288" y="150"/>
                  </a:lnTo>
                  <a:lnTo>
                    <a:pt x="282" y="162"/>
                  </a:lnTo>
                  <a:lnTo>
                    <a:pt x="276" y="168"/>
                  </a:lnTo>
                  <a:lnTo>
                    <a:pt x="276" y="186"/>
                  </a:lnTo>
                  <a:lnTo>
                    <a:pt x="282" y="192"/>
                  </a:lnTo>
                  <a:lnTo>
                    <a:pt x="264" y="222"/>
                  </a:lnTo>
                  <a:lnTo>
                    <a:pt x="276" y="246"/>
                  </a:lnTo>
                  <a:lnTo>
                    <a:pt x="252" y="246"/>
                  </a:lnTo>
                  <a:lnTo>
                    <a:pt x="240" y="252"/>
                  </a:lnTo>
                  <a:lnTo>
                    <a:pt x="228" y="264"/>
                  </a:lnTo>
                  <a:lnTo>
                    <a:pt x="228" y="276"/>
                  </a:lnTo>
                  <a:lnTo>
                    <a:pt x="222" y="288"/>
                  </a:lnTo>
                  <a:lnTo>
                    <a:pt x="216" y="294"/>
                  </a:lnTo>
                  <a:lnTo>
                    <a:pt x="204" y="294"/>
                  </a:lnTo>
                  <a:lnTo>
                    <a:pt x="198" y="300"/>
                  </a:lnTo>
                  <a:lnTo>
                    <a:pt x="192" y="300"/>
                  </a:lnTo>
                  <a:lnTo>
                    <a:pt x="174" y="306"/>
                  </a:lnTo>
                  <a:lnTo>
                    <a:pt x="186" y="330"/>
                  </a:lnTo>
                  <a:lnTo>
                    <a:pt x="186" y="366"/>
                  </a:lnTo>
                  <a:lnTo>
                    <a:pt x="168" y="366"/>
                  </a:lnTo>
                  <a:lnTo>
                    <a:pt x="168" y="360"/>
                  </a:lnTo>
                  <a:lnTo>
                    <a:pt x="174" y="354"/>
                  </a:lnTo>
                  <a:lnTo>
                    <a:pt x="174" y="342"/>
                  </a:lnTo>
                  <a:lnTo>
                    <a:pt x="144" y="312"/>
                  </a:lnTo>
                  <a:lnTo>
                    <a:pt x="138" y="312"/>
                  </a:lnTo>
                  <a:lnTo>
                    <a:pt x="132" y="318"/>
                  </a:lnTo>
                  <a:lnTo>
                    <a:pt x="132" y="336"/>
                  </a:lnTo>
                  <a:lnTo>
                    <a:pt x="138" y="348"/>
                  </a:lnTo>
                  <a:lnTo>
                    <a:pt x="150" y="354"/>
                  </a:lnTo>
                  <a:lnTo>
                    <a:pt x="150" y="366"/>
                  </a:lnTo>
                  <a:lnTo>
                    <a:pt x="138" y="390"/>
                  </a:lnTo>
                  <a:lnTo>
                    <a:pt x="132" y="396"/>
                  </a:lnTo>
                  <a:lnTo>
                    <a:pt x="120" y="390"/>
                  </a:lnTo>
                  <a:lnTo>
                    <a:pt x="114" y="384"/>
                  </a:lnTo>
                  <a:lnTo>
                    <a:pt x="102" y="414"/>
                  </a:lnTo>
                  <a:lnTo>
                    <a:pt x="114" y="438"/>
                  </a:lnTo>
                  <a:lnTo>
                    <a:pt x="114" y="450"/>
                  </a:lnTo>
                  <a:lnTo>
                    <a:pt x="126" y="462"/>
                  </a:lnTo>
                  <a:lnTo>
                    <a:pt x="132" y="474"/>
                  </a:lnTo>
                  <a:lnTo>
                    <a:pt x="132" y="480"/>
                  </a:lnTo>
                  <a:lnTo>
                    <a:pt x="120" y="492"/>
                  </a:lnTo>
                  <a:lnTo>
                    <a:pt x="114" y="492"/>
                  </a:lnTo>
                  <a:lnTo>
                    <a:pt x="132" y="516"/>
                  </a:lnTo>
                  <a:lnTo>
                    <a:pt x="138" y="552"/>
                  </a:lnTo>
                  <a:lnTo>
                    <a:pt x="114" y="558"/>
                  </a:lnTo>
                  <a:lnTo>
                    <a:pt x="132" y="576"/>
                  </a:lnTo>
                  <a:lnTo>
                    <a:pt x="132" y="636"/>
                  </a:lnTo>
                  <a:lnTo>
                    <a:pt x="120" y="642"/>
                  </a:lnTo>
                  <a:lnTo>
                    <a:pt x="114" y="654"/>
                  </a:lnTo>
                  <a:lnTo>
                    <a:pt x="114" y="678"/>
                  </a:lnTo>
                  <a:lnTo>
                    <a:pt x="138" y="702"/>
                  </a:lnTo>
                  <a:lnTo>
                    <a:pt x="138" y="720"/>
                  </a:lnTo>
                  <a:lnTo>
                    <a:pt x="132" y="732"/>
                  </a:lnTo>
                  <a:lnTo>
                    <a:pt x="120" y="738"/>
                  </a:lnTo>
                  <a:lnTo>
                    <a:pt x="114" y="750"/>
                  </a:lnTo>
                  <a:lnTo>
                    <a:pt x="102" y="756"/>
                  </a:lnTo>
                  <a:lnTo>
                    <a:pt x="96" y="762"/>
                  </a:lnTo>
                  <a:lnTo>
                    <a:pt x="114" y="774"/>
                  </a:lnTo>
                  <a:lnTo>
                    <a:pt x="84" y="798"/>
                  </a:lnTo>
                  <a:lnTo>
                    <a:pt x="66" y="798"/>
                  </a:lnTo>
                  <a:lnTo>
                    <a:pt x="54" y="804"/>
                  </a:lnTo>
                  <a:lnTo>
                    <a:pt x="36" y="810"/>
                  </a:lnTo>
                  <a:lnTo>
                    <a:pt x="30" y="822"/>
                  </a:lnTo>
                  <a:lnTo>
                    <a:pt x="30" y="846"/>
                  </a:lnTo>
                  <a:lnTo>
                    <a:pt x="36" y="852"/>
                  </a:lnTo>
                  <a:lnTo>
                    <a:pt x="36" y="858"/>
                  </a:lnTo>
                  <a:lnTo>
                    <a:pt x="6" y="858"/>
                  </a:lnTo>
                  <a:lnTo>
                    <a:pt x="0" y="864"/>
                  </a:lnTo>
                  <a:lnTo>
                    <a:pt x="0" y="876"/>
                  </a:lnTo>
                  <a:lnTo>
                    <a:pt x="6" y="888"/>
                  </a:lnTo>
                  <a:lnTo>
                    <a:pt x="18" y="894"/>
                  </a:lnTo>
                  <a:lnTo>
                    <a:pt x="24" y="906"/>
                  </a:lnTo>
                  <a:lnTo>
                    <a:pt x="36" y="912"/>
                  </a:lnTo>
                  <a:close/>
                </a:path>
              </a:pathLst>
            </a:custGeom>
            <a:grpFill/>
            <a:ln w="3175">
              <a:solidFill>
                <a:schemeClr val="bg1"/>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de-DE" sz="1800" b="0" i="0" u="none" strike="noStrike" kern="1200" cap="none" spc="0" normalizeH="0" baseline="0" noProof="0">
                <a:ln>
                  <a:noFill/>
                </a:ln>
                <a:solidFill>
                  <a:srgbClr val="FFC000"/>
                </a:solidFill>
                <a:effectLst/>
                <a:uLnTx/>
                <a:uFillTx/>
                <a:latin typeface="Calibri" pitchFamily="34" charset="0"/>
                <a:ea typeface="+mn-ea"/>
                <a:cs typeface="+mn-cs"/>
              </a:endParaRPr>
            </a:p>
          </p:txBody>
        </p:sp>
        <p:sp>
          <p:nvSpPr>
            <p:cNvPr id="157" name="Chile" descr="© INSCALE GmbH, 05.05.2010&#10;http://www.presentationload.com/"/>
            <p:cNvSpPr>
              <a:spLocks noEditPoints="1"/>
            </p:cNvSpPr>
            <p:nvPr/>
          </p:nvSpPr>
          <p:spPr bwMode="gray">
            <a:xfrm>
              <a:off x="2867219" y="4744719"/>
              <a:ext cx="376273" cy="941863"/>
            </a:xfrm>
            <a:custGeom>
              <a:avLst/>
              <a:gdLst>
                <a:gd name="T0" fmla="*/ 2147483647 w 1158"/>
                <a:gd name="T1" fmla="*/ 2147483647 h 3030"/>
                <a:gd name="T2" fmla="*/ 2147483647 w 1158"/>
                <a:gd name="T3" fmla="*/ 2147483647 h 3030"/>
                <a:gd name="T4" fmla="*/ 2147483647 w 1158"/>
                <a:gd name="T5" fmla="*/ 2147483647 h 3030"/>
                <a:gd name="T6" fmla="*/ 2147483647 w 1158"/>
                <a:gd name="T7" fmla="*/ 2147483647 h 3030"/>
                <a:gd name="T8" fmla="*/ 2147483647 w 1158"/>
                <a:gd name="T9" fmla="*/ 2147483647 h 3030"/>
                <a:gd name="T10" fmla="*/ 2147483647 w 1158"/>
                <a:gd name="T11" fmla="*/ 2147483647 h 3030"/>
                <a:gd name="T12" fmla="*/ 2147483647 w 1158"/>
                <a:gd name="T13" fmla="*/ 2147483647 h 3030"/>
                <a:gd name="T14" fmla="*/ 2147483647 w 1158"/>
                <a:gd name="T15" fmla="*/ 2147483647 h 3030"/>
                <a:gd name="T16" fmla="*/ 2147483647 w 1158"/>
                <a:gd name="T17" fmla="*/ 2147483647 h 3030"/>
                <a:gd name="T18" fmla="*/ 2147483647 w 1158"/>
                <a:gd name="T19" fmla="*/ 2147483647 h 3030"/>
                <a:gd name="T20" fmla="*/ 2147483647 w 1158"/>
                <a:gd name="T21" fmla="*/ 2147483647 h 3030"/>
                <a:gd name="T22" fmla="*/ 2147483647 w 1158"/>
                <a:gd name="T23" fmla="*/ 2147483647 h 3030"/>
                <a:gd name="T24" fmla="*/ 2147483647 w 1158"/>
                <a:gd name="T25" fmla="*/ 2147483647 h 3030"/>
                <a:gd name="T26" fmla="*/ 2147483647 w 1158"/>
                <a:gd name="T27" fmla="*/ 2147483647 h 3030"/>
                <a:gd name="T28" fmla="*/ 2147483647 w 1158"/>
                <a:gd name="T29" fmla="*/ 2147483647 h 3030"/>
                <a:gd name="T30" fmla="*/ 2147483647 w 1158"/>
                <a:gd name="T31" fmla="*/ 2147483647 h 3030"/>
                <a:gd name="T32" fmla="*/ 2147483647 w 1158"/>
                <a:gd name="T33" fmla="*/ 2147483647 h 3030"/>
                <a:gd name="T34" fmla="*/ 2147483647 w 1158"/>
                <a:gd name="T35" fmla="*/ 2147483647 h 3030"/>
                <a:gd name="T36" fmla="*/ 2147483647 w 1158"/>
                <a:gd name="T37" fmla="*/ 2147483647 h 3030"/>
                <a:gd name="T38" fmla="*/ 2147483647 w 1158"/>
                <a:gd name="T39" fmla="*/ 2147483647 h 3030"/>
                <a:gd name="T40" fmla="*/ 2147483647 w 1158"/>
                <a:gd name="T41" fmla="*/ 2147483647 h 3030"/>
                <a:gd name="T42" fmla="*/ 2147483647 w 1158"/>
                <a:gd name="T43" fmla="*/ 2147483647 h 3030"/>
                <a:gd name="T44" fmla="*/ 2147483647 w 1158"/>
                <a:gd name="T45" fmla="*/ 2147483647 h 3030"/>
                <a:gd name="T46" fmla="*/ 2147483647 w 1158"/>
                <a:gd name="T47" fmla="*/ 2147483647 h 3030"/>
                <a:gd name="T48" fmla="*/ 2147483647 w 1158"/>
                <a:gd name="T49" fmla="*/ 2147483647 h 3030"/>
                <a:gd name="T50" fmla="*/ 2147483647 w 1158"/>
                <a:gd name="T51" fmla="*/ 2147483647 h 3030"/>
                <a:gd name="T52" fmla="*/ 2147483647 w 1158"/>
                <a:gd name="T53" fmla="*/ 2147483647 h 3030"/>
                <a:gd name="T54" fmla="*/ 2147483647 w 1158"/>
                <a:gd name="T55" fmla="*/ 2147483647 h 3030"/>
                <a:gd name="T56" fmla="*/ 2147483647 w 1158"/>
                <a:gd name="T57" fmla="*/ 2147483647 h 3030"/>
                <a:gd name="T58" fmla="*/ 2147483647 w 1158"/>
                <a:gd name="T59" fmla="*/ 2147483647 h 3030"/>
                <a:gd name="T60" fmla="*/ 2147483647 w 1158"/>
                <a:gd name="T61" fmla="*/ 2147483647 h 3030"/>
                <a:gd name="T62" fmla="*/ 2147483647 w 1158"/>
                <a:gd name="T63" fmla="*/ 2147483647 h 3030"/>
                <a:gd name="T64" fmla="*/ 2147483647 w 1158"/>
                <a:gd name="T65" fmla="*/ 2147483647 h 3030"/>
                <a:gd name="T66" fmla="*/ 2147483647 w 1158"/>
                <a:gd name="T67" fmla="*/ 2147483647 h 3030"/>
                <a:gd name="T68" fmla="*/ 2147483647 w 1158"/>
                <a:gd name="T69" fmla="*/ 2147483647 h 3030"/>
                <a:gd name="T70" fmla="*/ 2147483647 w 1158"/>
                <a:gd name="T71" fmla="*/ 2147483647 h 3030"/>
                <a:gd name="T72" fmla="*/ 2147483647 w 1158"/>
                <a:gd name="T73" fmla="*/ 2147483647 h 3030"/>
                <a:gd name="T74" fmla="*/ 2147483647 w 1158"/>
                <a:gd name="T75" fmla="*/ 2147483647 h 3030"/>
                <a:gd name="T76" fmla="*/ 2147483647 w 1158"/>
                <a:gd name="T77" fmla="*/ 2147483647 h 3030"/>
                <a:gd name="T78" fmla="*/ 0 w 1158"/>
                <a:gd name="T79" fmla="*/ 2147483647 h 3030"/>
                <a:gd name="T80" fmla="*/ 2147483647 w 1158"/>
                <a:gd name="T81" fmla="*/ 2147483647 h 3030"/>
                <a:gd name="T82" fmla="*/ 2147483647 w 1158"/>
                <a:gd name="T83" fmla="*/ 2147483647 h 3030"/>
                <a:gd name="T84" fmla="*/ 2147483647 w 1158"/>
                <a:gd name="T85" fmla="*/ 2147483647 h 3030"/>
                <a:gd name="T86" fmla="*/ 2147483647 w 1158"/>
                <a:gd name="T87" fmla="*/ 2147483647 h 3030"/>
                <a:gd name="T88" fmla="*/ 2147483647 w 1158"/>
                <a:gd name="T89" fmla="*/ 2147483647 h 3030"/>
                <a:gd name="T90" fmla="*/ 2147483647 w 1158"/>
                <a:gd name="T91" fmla="*/ 2147483647 h 3030"/>
                <a:gd name="T92" fmla="*/ 2147483647 w 1158"/>
                <a:gd name="T93" fmla="*/ 2147483647 h 3030"/>
                <a:gd name="T94" fmla="*/ 2147483647 w 1158"/>
                <a:gd name="T95" fmla="*/ 2147483647 h 3030"/>
                <a:gd name="T96" fmla="*/ 2147483647 w 1158"/>
                <a:gd name="T97" fmla="*/ 2147483647 h 3030"/>
                <a:gd name="T98" fmla="*/ 2147483647 w 1158"/>
                <a:gd name="T99" fmla="*/ 2147483647 h 3030"/>
                <a:gd name="T100" fmla="*/ 2147483647 w 1158"/>
                <a:gd name="T101" fmla="*/ 2147483647 h 3030"/>
                <a:gd name="T102" fmla="*/ 2147483647 w 1158"/>
                <a:gd name="T103" fmla="*/ 2147483647 h 3030"/>
                <a:gd name="T104" fmla="*/ 2147483647 w 1158"/>
                <a:gd name="T105" fmla="*/ 2147483647 h 3030"/>
                <a:gd name="T106" fmla="*/ 2147483647 w 1158"/>
                <a:gd name="T107" fmla="*/ 2147483647 h 3030"/>
                <a:gd name="T108" fmla="*/ 2147483647 w 1158"/>
                <a:gd name="T109" fmla="*/ 2147483647 h 3030"/>
                <a:gd name="T110" fmla="*/ 2147483647 w 1158"/>
                <a:gd name="T111" fmla="*/ 2147483647 h 3030"/>
                <a:gd name="T112" fmla="*/ 2147483647 w 1158"/>
                <a:gd name="T113" fmla="*/ 2147483647 h 3030"/>
                <a:gd name="T114" fmla="*/ 2147483647 w 1158"/>
                <a:gd name="T115" fmla="*/ 2147483647 h 3030"/>
                <a:gd name="T116" fmla="*/ 2147483647 w 1158"/>
                <a:gd name="T117" fmla="*/ 2147483647 h 3030"/>
                <a:gd name="T118" fmla="*/ 2147483647 w 1158"/>
                <a:gd name="T119" fmla="*/ 2147483647 h 3030"/>
                <a:gd name="T120" fmla="*/ 2147483647 w 1158"/>
                <a:gd name="T121" fmla="*/ 2147483647 h 3030"/>
                <a:gd name="T122" fmla="*/ 2147483647 w 1158"/>
                <a:gd name="T123" fmla="*/ 2147483647 h 3030"/>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1158"/>
                <a:gd name="T187" fmla="*/ 0 h 3030"/>
                <a:gd name="T188" fmla="*/ 1158 w 1158"/>
                <a:gd name="T189" fmla="*/ 3030 h 3030"/>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1158" h="3030">
                  <a:moveTo>
                    <a:pt x="1014" y="2910"/>
                  </a:moveTo>
                  <a:lnTo>
                    <a:pt x="984" y="2898"/>
                  </a:lnTo>
                  <a:lnTo>
                    <a:pt x="966" y="2880"/>
                  </a:lnTo>
                  <a:lnTo>
                    <a:pt x="948" y="2874"/>
                  </a:lnTo>
                  <a:lnTo>
                    <a:pt x="942" y="2862"/>
                  </a:lnTo>
                  <a:lnTo>
                    <a:pt x="936" y="2856"/>
                  </a:lnTo>
                  <a:lnTo>
                    <a:pt x="936" y="2850"/>
                  </a:lnTo>
                  <a:lnTo>
                    <a:pt x="906" y="2850"/>
                  </a:lnTo>
                  <a:lnTo>
                    <a:pt x="912" y="2832"/>
                  </a:lnTo>
                  <a:lnTo>
                    <a:pt x="870" y="2796"/>
                  </a:lnTo>
                  <a:lnTo>
                    <a:pt x="840" y="2802"/>
                  </a:lnTo>
                  <a:lnTo>
                    <a:pt x="828" y="2796"/>
                  </a:lnTo>
                  <a:lnTo>
                    <a:pt x="816" y="2808"/>
                  </a:lnTo>
                  <a:lnTo>
                    <a:pt x="792" y="2814"/>
                  </a:lnTo>
                  <a:lnTo>
                    <a:pt x="798" y="2832"/>
                  </a:lnTo>
                  <a:lnTo>
                    <a:pt x="780" y="2832"/>
                  </a:lnTo>
                  <a:lnTo>
                    <a:pt x="780" y="2862"/>
                  </a:lnTo>
                  <a:lnTo>
                    <a:pt x="786" y="2868"/>
                  </a:lnTo>
                  <a:lnTo>
                    <a:pt x="798" y="2868"/>
                  </a:lnTo>
                  <a:lnTo>
                    <a:pt x="810" y="2862"/>
                  </a:lnTo>
                  <a:lnTo>
                    <a:pt x="816" y="2856"/>
                  </a:lnTo>
                  <a:lnTo>
                    <a:pt x="828" y="2850"/>
                  </a:lnTo>
                  <a:lnTo>
                    <a:pt x="834" y="2844"/>
                  </a:lnTo>
                  <a:lnTo>
                    <a:pt x="858" y="2856"/>
                  </a:lnTo>
                  <a:lnTo>
                    <a:pt x="858" y="2874"/>
                  </a:lnTo>
                  <a:lnTo>
                    <a:pt x="846" y="2880"/>
                  </a:lnTo>
                  <a:lnTo>
                    <a:pt x="828" y="2898"/>
                  </a:lnTo>
                  <a:lnTo>
                    <a:pt x="822" y="2898"/>
                  </a:lnTo>
                  <a:lnTo>
                    <a:pt x="828" y="2904"/>
                  </a:lnTo>
                  <a:lnTo>
                    <a:pt x="882" y="2922"/>
                  </a:lnTo>
                  <a:lnTo>
                    <a:pt x="912" y="2928"/>
                  </a:lnTo>
                  <a:lnTo>
                    <a:pt x="924" y="2934"/>
                  </a:lnTo>
                  <a:lnTo>
                    <a:pt x="906" y="2958"/>
                  </a:lnTo>
                  <a:lnTo>
                    <a:pt x="906" y="2952"/>
                  </a:lnTo>
                  <a:lnTo>
                    <a:pt x="894" y="2940"/>
                  </a:lnTo>
                  <a:lnTo>
                    <a:pt x="876" y="2940"/>
                  </a:lnTo>
                  <a:lnTo>
                    <a:pt x="870" y="2946"/>
                  </a:lnTo>
                  <a:lnTo>
                    <a:pt x="870" y="2952"/>
                  </a:lnTo>
                  <a:lnTo>
                    <a:pt x="852" y="2928"/>
                  </a:lnTo>
                  <a:lnTo>
                    <a:pt x="834" y="2934"/>
                  </a:lnTo>
                  <a:lnTo>
                    <a:pt x="846" y="2946"/>
                  </a:lnTo>
                  <a:lnTo>
                    <a:pt x="816" y="2940"/>
                  </a:lnTo>
                  <a:lnTo>
                    <a:pt x="822" y="2946"/>
                  </a:lnTo>
                  <a:lnTo>
                    <a:pt x="828" y="2958"/>
                  </a:lnTo>
                  <a:lnTo>
                    <a:pt x="834" y="2964"/>
                  </a:lnTo>
                  <a:lnTo>
                    <a:pt x="894" y="2964"/>
                  </a:lnTo>
                  <a:lnTo>
                    <a:pt x="906" y="2970"/>
                  </a:lnTo>
                  <a:lnTo>
                    <a:pt x="1050" y="2970"/>
                  </a:lnTo>
                  <a:lnTo>
                    <a:pt x="1074" y="2982"/>
                  </a:lnTo>
                  <a:lnTo>
                    <a:pt x="1080" y="2988"/>
                  </a:lnTo>
                  <a:lnTo>
                    <a:pt x="1086" y="2988"/>
                  </a:lnTo>
                  <a:lnTo>
                    <a:pt x="1122" y="2970"/>
                  </a:lnTo>
                  <a:lnTo>
                    <a:pt x="1140" y="2976"/>
                  </a:lnTo>
                  <a:lnTo>
                    <a:pt x="1152" y="2976"/>
                  </a:lnTo>
                  <a:lnTo>
                    <a:pt x="1158" y="2952"/>
                  </a:lnTo>
                  <a:lnTo>
                    <a:pt x="1140" y="2952"/>
                  </a:lnTo>
                  <a:lnTo>
                    <a:pt x="1086" y="2940"/>
                  </a:lnTo>
                  <a:lnTo>
                    <a:pt x="1014" y="2910"/>
                  </a:lnTo>
                  <a:close/>
                  <a:moveTo>
                    <a:pt x="990" y="2988"/>
                  </a:moveTo>
                  <a:lnTo>
                    <a:pt x="1014" y="3000"/>
                  </a:lnTo>
                  <a:lnTo>
                    <a:pt x="1068" y="3006"/>
                  </a:lnTo>
                  <a:lnTo>
                    <a:pt x="1038" y="2982"/>
                  </a:lnTo>
                  <a:lnTo>
                    <a:pt x="990" y="2988"/>
                  </a:lnTo>
                  <a:close/>
                  <a:moveTo>
                    <a:pt x="960" y="2994"/>
                  </a:moveTo>
                  <a:lnTo>
                    <a:pt x="966" y="2982"/>
                  </a:lnTo>
                  <a:lnTo>
                    <a:pt x="888" y="2982"/>
                  </a:lnTo>
                  <a:lnTo>
                    <a:pt x="906" y="3012"/>
                  </a:lnTo>
                  <a:lnTo>
                    <a:pt x="936" y="3018"/>
                  </a:lnTo>
                  <a:lnTo>
                    <a:pt x="930" y="3006"/>
                  </a:lnTo>
                  <a:lnTo>
                    <a:pt x="936" y="3000"/>
                  </a:lnTo>
                  <a:lnTo>
                    <a:pt x="948" y="3012"/>
                  </a:lnTo>
                  <a:lnTo>
                    <a:pt x="996" y="3012"/>
                  </a:lnTo>
                  <a:lnTo>
                    <a:pt x="1008" y="3030"/>
                  </a:lnTo>
                  <a:lnTo>
                    <a:pt x="1026" y="3030"/>
                  </a:lnTo>
                  <a:lnTo>
                    <a:pt x="996" y="3000"/>
                  </a:lnTo>
                  <a:lnTo>
                    <a:pt x="960" y="2994"/>
                  </a:lnTo>
                  <a:close/>
                  <a:moveTo>
                    <a:pt x="804" y="2946"/>
                  </a:moveTo>
                  <a:lnTo>
                    <a:pt x="744" y="2940"/>
                  </a:lnTo>
                  <a:lnTo>
                    <a:pt x="750" y="2958"/>
                  </a:lnTo>
                  <a:lnTo>
                    <a:pt x="792" y="2958"/>
                  </a:lnTo>
                  <a:lnTo>
                    <a:pt x="804" y="2976"/>
                  </a:lnTo>
                  <a:lnTo>
                    <a:pt x="864" y="3000"/>
                  </a:lnTo>
                  <a:lnTo>
                    <a:pt x="828" y="2970"/>
                  </a:lnTo>
                  <a:lnTo>
                    <a:pt x="804" y="2946"/>
                  </a:lnTo>
                  <a:close/>
                  <a:moveTo>
                    <a:pt x="804" y="2880"/>
                  </a:moveTo>
                  <a:lnTo>
                    <a:pt x="786" y="2898"/>
                  </a:lnTo>
                  <a:lnTo>
                    <a:pt x="792" y="2928"/>
                  </a:lnTo>
                  <a:lnTo>
                    <a:pt x="816" y="2922"/>
                  </a:lnTo>
                  <a:lnTo>
                    <a:pt x="804" y="2880"/>
                  </a:lnTo>
                  <a:close/>
                  <a:moveTo>
                    <a:pt x="774" y="2928"/>
                  </a:moveTo>
                  <a:lnTo>
                    <a:pt x="768" y="2910"/>
                  </a:lnTo>
                  <a:lnTo>
                    <a:pt x="720" y="2898"/>
                  </a:lnTo>
                  <a:lnTo>
                    <a:pt x="708" y="2916"/>
                  </a:lnTo>
                  <a:lnTo>
                    <a:pt x="708" y="2934"/>
                  </a:lnTo>
                  <a:lnTo>
                    <a:pt x="744" y="2922"/>
                  </a:lnTo>
                  <a:lnTo>
                    <a:pt x="774" y="2928"/>
                  </a:lnTo>
                  <a:close/>
                  <a:moveTo>
                    <a:pt x="612" y="2772"/>
                  </a:moveTo>
                  <a:lnTo>
                    <a:pt x="606" y="2766"/>
                  </a:lnTo>
                  <a:lnTo>
                    <a:pt x="594" y="2766"/>
                  </a:lnTo>
                  <a:lnTo>
                    <a:pt x="588" y="2760"/>
                  </a:lnTo>
                  <a:lnTo>
                    <a:pt x="570" y="2760"/>
                  </a:lnTo>
                  <a:lnTo>
                    <a:pt x="570" y="2766"/>
                  </a:lnTo>
                  <a:lnTo>
                    <a:pt x="564" y="2778"/>
                  </a:lnTo>
                  <a:lnTo>
                    <a:pt x="564" y="2808"/>
                  </a:lnTo>
                  <a:lnTo>
                    <a:pt x="570" y="2808"/>
                  </a:lnTo>
                  <a:lnTo>
                    <a:pt x="576" y="2802"/>
                  </a:lnTo>
                  <a:lnTo>
                    <a:pt x="588" y="2802"/>
                  </a:lnTo>
                  <a:lnTo>
                    <a:pt x="594" y="2796"/>
                  </a:lnTo>
                  <a:lnTo>
                    <a:pt x="600" y="2820"/>
                  </a:lnTo>
                  <a:lnTo>
                    <a:pt x="630" y="2808"/>
                  </a:lnTo>
                  <a:lnTo>
                    <a:pt x="612" y="2790"/>
                  </a:lnTo>
                  <a:lnTo>
                    <a:pt x="618" y="2772"/>
                  </a:lnTo>
                  <a:lnTo>
                    <a:pt x="612" y="2772"/>
                  </a:lnTo>
                  <a:close/>
                  <a:moveTo>
                    <a:pt x="552" y="2826"/>
                  </a:moveTo>
                  <a:lnTo>
                    <a:pt x="516" y="2808"/>
                  </a:lnTo>
                  <a:lnTo>
                    <a:pt x="546" y="2832"/>
                  </a:lnTo>
                  <a:lnTo>
                    <a:pt x="588" y="2844"/>
                  </a:lnTo>
                  <a:lnTo>
                    <a:pt x="606" y="2850"/>
                  </a:lnTo>
                  <a:lnTo>
                    <a:pt x="588" y="2832"/>
                  </a:lnTo>
                  <a:lnTo>
                    <a:pt x="552" y="2826"/>
                  </a:lnTo>
                  <a:close/>
                  <a:moveTo>
                    <a:pt x="552" y="2748"/>
                  </a:moveTo>
                  <a:lnTo>
                    <a:pt x="534" y="2730"/>
                  </a:lnTo>
                  <a:lnTo>
                    <a:pt x="528" y="2766"/>
                  </a:lnTo>
                  <a:lnTo>
                    <a:pt x="504" y="2772"/>
                  </a:lnTo>
                  <a:lnTo>
                    <a:pt x="546" y="2784"/>
                  </a:lnTo>
                  <a:lnTo>
                    <a:pt x="552" y="2748"/>
                  </a:lnTo>
                  <a:close/>
                  <a:moveTo>
                    <a:pt x="444" y="2736"/>
                  </a:moveTo>
                  <a:lnTo>
                    <a:pt x="480" y="2772"/>
                  </a:lnTo>
                  <a:lnTo>
                    <a:pt x="492" y="2760"/>
                  </a:lnTo>
                  <a:lnTo>
                    <a:pt x="462" y="2724"/>
                  </a:lnTo>
                  <a:lnTo>
                    <a:pt x="444" y="2736"/>
                  </a:lnTo>
                  <a:close/>
                  <a:moveTo>
                    <a:pt x="516" y="2724"/>
                  </a:moveTo>
                  <a:lnTo>
                    <a:pt x="504" y="2718"/>
                  </a:lnTo>
                  <a:lnTo>
                    <a:pt x="492" y="2730"/>
                  </a:lnTo>
                  <a:lnTo>
                    <a:pt x="504" y="2748"/>
                  </a:lnTo>
                  <a:lnTo>
                    <a:pt x="516" y="2724"/>
                  </a:lnTo>
                  <a:close/>
                  <a:moveTo>
                    <a:pt x="456" y="2706"/>
                  </a:moveTo>
                  <a:lnTo>
                    <a:pt x="462" y="2676"/>
                  </a:lnTo>
                  <a:lnTo>
                    <a:pt x="456" y="2640"/>
                  </a:lnTo>
                  <a:lnTo>
                    <a:pt x="438" y="2634"/>
                  </a:lnTo>
                  <a:lnTo>
                    <a:pt x="438" y="2652"/>
                  </a:lnTo>
                  <a:lnTo>
                    <a:pt x="408" y="2646"/>
                  </a:lnTo>
                  <a:lnTo>
                    <a:pt x="432" y="2682"/>
                  </a:lnTo>
                  <a:lnTo>
                    <a:pt x="426" y="2724"/>
                  </a:lnTo>
                  <a:lnTo>
                    <a:pt x="456" y="2706"/>
                  </a:lnTo>
                  <a:close/>
                  <a:moveTo>
                    <a:pt x="366" y="2622"/>
                  </a:moveTo>
                  <a:lnTo>
                    <a:pt x="384" y="2628"/>
                  </a:lnTo>
                  <a:lnTo>
                    <a:pt x="390" y="2658"/>
                  </a:lnTo>
                  <a:lnTo>
                    <a:pt x="396" y="2628"/>
                  </a:lnTo>
                  <a:lnTo>
                    <a:pt x="402" y="2604"/>
                  </a:lnTo>
                  <a:lnTo>
                    <a:pt x="372" y="2598"/>
                  </a:lnTo>
                  <a:lnTo>
                    <a:pt x="366" y="2622"/>
                  </a:lnTo>
                  <a:close/>
                  <a:moveTo>
                    <a:pt x="372" y="2586"/>
                  </a:moveTo>
                  <a:lnTo>
                    <a:pt x="378" y="2586"/>
                  </a:lnTo>
                  <a:lnTo>
                    <a:pt x="378" y="2580"/>
                  </a:lnTo>
                  <a:lnTo>
                    <a:pt x="384" y="2574"/>
                  </a:lnTo>
                  <a:lnTo>
                    <a:pt x="414" y="2598"/>
                  </a:lnTo>
                  <a:lnTo>
                    <a:pt x="414" y="2574"/>
                  </a:lnTo>
                  <a:lnTo>
                    <a:pt x="384" y="2544"/>
                  </a:lnTo>
                  <a:lnTo>
                    <a:pt x="378" y="2532"/>
                  </a:lnTo>
                  <a:lnTo>
                    <a:pt x="372" y="2526"/>
                  </a:lnTo>
                  <a:lnTo>
                    <a:pt x="360" y="2502"/>
                  </a:lnTo>
                  <a:lnTo>
                    <a:pt x="360" y="2490"/>
                  </a:lnTo>
                  <a:lnTo>
                    <a:pt x="342" y="2454"/>
                  </a:lnTo>
                  <a:lnTo>
                    <a:pt x="330" y="2448"/>
                  </a:lnTo>
                  <a:lnTo>
                    <a:pt x="324" y="2442"/>
                  </a:lnTo>
                  <a:lnTo>
                    <a:pt x="318" y="2442"/>
                  </a:lnTo>
                  <a:lnTo>
                    <a:pt x="312" y="2448"/>
                  </a:lnTo>
                  <a:lnTo>
                    <a:pt x="312" y="2454"/>
                  </a:lnTo>
                  <a:lnTo>
                    <a:pt x="294" y="2448"/>
                  </a:lnTo>
                  <a:lnTo>
                    <a:pt x="288" y="2454"/>
                  </a:lnTo>
                  <a:lnTo>
                    <a:pt x="288" y="2466"/>
                  </a:lnTo>
                  <a:lnTo>
                    <a:pt x="282" y="2472"/>
                  </a:lnTo>
                  <a:lnTo>
                    <a:pt x="282" y="2490"/>
                  </a:lnTo>
                  <a:lnTo>
                    <a:pt x="330" y="2490"/>
                  </a:lnTo>
                  <a:lnTo>
                    <a:pt x="312" y="2532"/>
                  </a:lnTo>
                  <a:lnTo>
                    <a:pt x="324" y="2532"/>
                  </a:lnTo>
                  <a:lnTo>
                    <a:pt x="348" y="2508"/>
                  </a:lnTo>
                  <a:lnTo>
                    <a:pt x="342" y="2532"/>
                  </a:lnTo>
                  <a:lnTo>
                    <a:pt x="342" y="2538"/>
                  </a:lnTo>
                  <a:lnTo>
                    <a:pt x="348" y="2544"/>
                  </a:lnTo>
                  <a:lnTo>
                    <a:pt x="366" y="2580"/>
                  </a:lnTo>
                  <a:lnTo>
                    <a:pt x="366" y="2586"/>
                  </a:lnTo>
                  <a:lnTo>
                    <a:pt x="372" y="2586"/>
                  </a:lnTo>
                  <a:close/>
                  <a:moveTo>
                    <a:pt x="246" y="2082"/>
                  </a:moveTo>
                  <a:lnTo>
                    <a:pt x="246" y="2034"/>
                  </a:lnTo>
                  <a:lnTo>
                    <a:pt x="216" y="2004"/>
                  </a:lnTo>
                  <a:lnTo>
                    <a:pt x="234" y="1992"/>
                  </a:lnTo>
                  <a:lnTo>
                    <a:pt x="210" y="1968"/>
                  </a:lnTo>
                  <a:lnTo>
                    <a:pt x="174" y="1956"/>
                  </a:lnTo>
                  <a:lnTo>
                    <a:pt x="174" y="1986"/>
                  </a:lnTo>
                  <a:lnTo>
                    <a:pt x="180" y="1998"/>
                  </a:lnTo>
                  <a:lnTo>
                    <a:pt x="180" y="2004"/>
                  </a:lnTo>
                  <a:lnTo>
                    <a:pt x="192" y="2016"/>
                  </a:lnTo>
                  <a:lnTo>
                    <a:pt x="198" y="2028"/>
                  </a:lnTo>
                  <a:lnTo>
                    <a:pt x="204" y="2034"/>
                  </a:lnTo>
                  <a:lnTo>
                    <a:pt x="204" y="2046"/>
                  </a:lnTo>
                  <a:lnTo>
                    <a:pt x="198" y="2064"/>
                  </a:lnTo>
                  <a:lnTo>
                    <a:pt x="246" y="2082"/>
                  </a:lnTo>
                  <a:close/>
                  <a:moveTo>
                    <a:pt x="246" y="2178"/>
                  </a:moveTo>
                  <a:lnTo>
                    <a:pt x="258" y="2190"/>
                  </a:lnTo>
                  <a:lnTo>
                    <a:pt x="282" y="2190"/>
                  </a:lnTo>
                  <a:lnTo>
                    <a:pt x="294" y="2172"/>
                  </a:lnTo>
                  <a:lnTo>
                    <a:pt x="264" y="2178"/>
                  </a:lnTo>
                  <a:lnTo>
                    <a:pt x="246" y="2178"/>
                  </a:lnTo>
                  <a:close/>
                  <a:moveTo>
                    <a:pt x="282" y="2220"/>
                  </a:moveTo>
                  <a:lnTo>
                    <a:pt x="282" y="2238"/>
                  </a:lnTo>
                  <a:lnTo>
                    <a:pt x="306" y="2256"/>
                  </a:lnTo>
                  <a:lnTo>
                    <a:pt x="306" y="2232"/>
                  </a:lnTo>
                  <a:lnTo>
                    <a:pt x="294" y="2208"/>
                  </a:lnTo>
                  <a:lnTo>
                    <a:pt x="258" y="2208"/>
                  </a:lnTo>
                  <a:lnTo>
                    <a:pt x="282" y="2220"/>
                  </a:lnTo>
                  <a:close/>
                  <a:moveTo>
                    <a:pt x="318" y="2190"/>
                  </a:moveTo>
                  <a:lnTo>
                    <a:pt x="324" y="2184"/>
                  </a:lnTo>
                  <a:lnTo>
                    <a:pt x="336" y="2178"/>
                  </a:lnTo>
                  <a:lnTo>
                    <a:pt x="348" y="2166"/>
                  </a:lnTo>
                  <a:lnTo>
                    <a:pt x="336" y="2154"/>
                  </a:lnTo>
                  <a:lnTo>
                    <a:pt x="324" y="2154"/>
                  </a:lnTo>
                  <a:lnTo>
                    <a:pt x="312" y="2160"/>
                  </a:lnTo>
                  <a:lnTo>
                    <a:pt x="306" y="2166"/>
                  </a:lnTo>
                  <a:lnTo>
                    <a:pt x="306" y="2184"/>
                  </a:lnTo>
                  <a:lnTo>
                    <a:pt x="312" y="2190"/>
                  </a:lnTo>
                  <a:lnTo>
                    <a:pt x="318" y="2190"/>
                  </a:lnTo>
                  <a:close/>
                  <a:moveTo>
                    <a:pt x="252" y="2112"/>
                  </a:moveTo>
                  <a:lnTo>
                    <a:pt x="240" y="2118"/>
                  </a:lnTo>
                  <a:lnTo>
                    <a:pt x="240" y="2136"/>
                  </a:lnTo>
                  <a:lnTo>
                    <a:pt x="252" y="2136"/>
                  </a:lnTo>
                  <a:lnTo>
                    <a:pt x="264" y="2124"/>
                  </a:lnTo>
                  <a:lnTo>
                    <a:pt x="264" y="2106"/>
                  </a:lnTo>
                  <a:lnTo>
                    <a:pt x="258" y="2106"/>
                  </a:lnTo>
                  <a:lnTo>
                    <a:pt x="252" y="2112"/>
                  </a:lnTo>
                  <a:close/>
                  <a:moveTo>
                    <a:pt x="234" y="2154"/>
                  </a:moveTo>
                  <a:lnTo>
                    <a:pt x="216" y="2154"/>
                  </a:lnTo>
                  <a:lnTo>
                    <a:pt x="228" y="2178"/>
                  </a:lnTo>
                  <a:lnTo>
                    <a:pt x="234" y="2154"/>
                  </a:lnTo>
                  <a:close/>
                  <a:moveTo>
                    <a:pt x="714" y="2874"/>
                  </a:moveTo>
                  <a:lnTo>
                    <a:pt x="726" y="2874"/>
                  </a:lnTo>
                  <a:lnTo>
                    <a:pt x="726" y="2886"/>
                  </a:lnTo>
                  <a:lnTo>
                    <a:pt x="768" y="2886"/>
                  </a:lnTo>
                  <a:lnTo>
                    <a:pt x="774" y="2880"/>
                  </a:lnTo>
                  <a:lnTo>
                    <a:pt x="774" y="2874"/>
                  </a:lnTo>
                  <a:lnTo>
                    <a:pt x="744" y="2844"/>
                  </a:lnTo>
                  <a:lnTo>
                    <a:pt x="744" y="2808"/>
                  </a:lnTo>
                  <a:lnTo>
                    <a:pt x="786" y="2802"/>
                  </a:lnTo>
                  <a:lnTo>
                    <a:pt x="780" y="2790"/>
                  </a:lnTo>
                  <a:lnTo>
                    <a:pt x="804" y="2790"/>
                  </a:lnTo>
                  <a:lnTo>
                    <a:pt x="816" y="2772"/>
                  </a:lnTo>
                  <a:lnTo>
                    <a:pt x="792" y="2754"/>
                  </a:lnTo>
                  <a:lnTo>
                    <a:pt x="696" y="2754"/>
                  </a:lnTo>
                  <a:lnTo>
                    <a:pt x="684" y="2760"/>
                  </a:lnTo>
                  <a:lnTo>
                    <a:pt x="672" y="2760"/>
                  </a:lnTo>
                  <a:lnTo>
                    <a:pt x="654" y="2742"/>
                  </a:lnTo>
                  <a:lnTo>
                    <a:pt x="618" y="2724"/>
                  </a:lnTo>
                  <a:lnTo>
                    <a:pt x="606" y="2706"/>
                  </a:lnTo>
                  <a:lnTo>
                    <a:pt x="588" y="2682"/>
                  </a:lnTo>
                  <a:lnTo>
                    <a:pt x="588" y="2658"/>
                  </a:lnTo>
                  <a:lnTo>
                    <a:pt x="576" y="2646"/>
                  </a:lnTo>
                  <a:lnTo>
                    <a:pt x="564" y="2640"/>
                  </a:lnTo>
                  <a:lnTo>
                    <a:pt x="546" y="2640"/>
                  </a:lnTo>
                  <a:lnTo>
                    <a:pt x="534" y="2652"/>
                  </a:lnTo>
                  <a:lnTo>
                    <a:pt x="528" y="2652"/>
                  </a:lnTo>
                  <a:lnTo>
                    <a:pt x="516" y="2646"/>
                  </a:lnTo>
                  <a:lnTo>
                    <a:pt x="510" y="2640"/>
                  </a:lnTo>
                  <a:lnTo>
                    <a:pt x="510" y="2628"/>
                  </a:lnTo>
                  <a:lnTo>
                    <a:pt x="504" y="2622"/>
                  </a:lnTo>
                  <a:lnTo>
                    <a:pt x="504" y="2616"/>
                  </a:lnTo>
                  <a:lnTo>
                    <a:pt x="474" y="2610"/>
                  </a:lnTo>
                  <a:lnTo>
                    <a:pt x="474" y="2574"/>
                  </a:lnTo>
                  <a:lnTo>
                    <a:pt x="468" y="2568"/>
                  </a:lnTo>
                  <a:lnTo>
                    <a:pt x="462" y="2556"/>
                  </a:lnTo>
                  <a:lnTo>
                    <a:pt x="462" y="2544"/>
                  </a:lnTo>
                  <a:lnTo>
                    <a:pt x="474" y="2538"/>
                  </a:lnTo>
                  <a:lnTo>
                    <a:pt x="474" y="2514"/>
                  </a:lnTo>
                  <a:lnTo>
                    <a:pt x="480" y="2514"/>
                  </a:lnTo>
                  <a:lnTo>
                    <a:pt x="486" y="2508"/>
                  </a:lnTo>
                  <a:lnTo>
                    <a:pt x="492" y="2508"/>
                  </a:lnTo>
                  <a:lnTo>
                    <a:pt x="498" y="2502"/>
                  </a:lnTo>
                  <a:lnTo>
                    <a:pt x="498" y="2496"/>
                  </a:lnTo>
                  <a:lnTo>
                    <a:pt x="474" y="2472"/>
                  </a:lnTo>
                  <a:lnTo>
                    <a:pt x="480" y="2466"/>
                  </a:lnTo>
                  <a:lnTo>
                    <a:pt x="492" y="2460"/>
                  </a:lnTo>
                  <a:lnTo>
                    <a:pt x="498" y="2460"/>
                  </a:lnTo>
                  <a:lnTo>
                    <a:pt x="498" y="2454"/>
                  </a:lnTo>
                  <a:lnTo>
                    <a:pt x="474" y="2430"/>
                  </a:lnTo>
                  <a:lnTo>
                    <a:pt x="468" y="2430"/>
                  </a:lnTo>
                  <a:lnTo>
                    <a:pt x="474" y="2388"/>
                  </a:lnTo>
                  <a:lnTo>
                    <a:pt x="486" y="2382"/>
                  </a:lnTo>
                  <a:lnTo>
                    <a:pt x="474" y="2358"/>
                  </a:lnTo>
                  <a:lnTo>
                    <a:pt x="480" y="2322"/>
                  </a:lnTo>
                  <a:lnTo>
                    <a:pt x="456" y="2298"/>
                  </a:lnTo>
                  <a:lnTo>
                    <a:pt x="462" y="2274"/>
                  </a:lnTo>
                  <a:lnTo>
                    <a:pt x="438" y="2256"/>
                  </a:lnTo>
                  <a:lnTo>
                    <a:pt x="450" y="2244"/>
                  </a:lnTo>
                  <a:lnTo>
                    <a:pt x="456" y="2232"/>
                  </a:lnTo>
                  <a:lnTo>
                    <a:pt x="462" y="2226"/>
                  </a:lnTo>
                  <a:lnTo>
                    <a:pt x="438" y="2202"/>
                  </a:lnTo>
                  <a:lnTo>
                    <a:pt x="426" y="2202"/>
                  </a:lnTo>
                  <a:lnTo>
                    <a:pt x="420" y="2196"/>
                  </a:lnTo>
                  <a:lnTo>
                    <a:pt x="408" y="2190"/>
                  </a:lnTo>
                  <a:lnTo>
                    <a:pt x="402" y="2190"/>
                  </a:lnTo>
                  <a:lnTo>
                    <a:pt x="396" y="2184"/>
                  </a:lnTo>
                  <a:lnTo>
                    <a:pt x="414" y="2184"/>
                  </a:lnTo>
                  <a:lnTo>
                    <a:pt x="426" y="2178"/>
                  </a:lnTo>
                  <a:lnTo>
                    <a:pt x="438" y="2178"/>
                  </a:lnTo>
                  <a:lnTo>
                    <a:pt x="444" y="2172"/>
                  </a:lnTo>
                  <a:lnTo>
                    <a:pt x="444" y="2166"/>
                  </a:lnTo>
                  <a:lnTo>
                    <a:pt x="432" y="2160"/>
                  </a:lnTo>
                  <a:lnTo>
                    <a:pt x="402" y="2160"/>
                  </a:lnTo>
                  <a:lnTo>
                    <a:pt x="390" y="2148"/>
                  </a:lnTo>
                  <a:lnTo>
                    <a:pt x="390" y="2118"/>
                  </a:lnTo>
                  <a:lnTo>
                    <a:pt x="384" y="2106"/>
                  </a:lnTo>
                  <a:lnTo>
                    <a:pt x="384" y="2100"/>
                  </a:lnTo>
                  <a:lnTo>
                    <a:pt x="378" y="2094"/>
                  </a:lnTo>
                  <a:lnTo>
                    <a:pt x="366" y="2088"/>
                  </a:lnTo>
                  <a:lnTo>
                    <a:pt x="360" y="2088"/>
                  </a:lnTo>
                  <a:lnTo>
                    <a:pt x="366" y="2058"/>
                  </a:lnTo>
                  <a:lnTo>
                    <a:pt x="342" y="2046"/>
                  </a:lnTo>
                  <a:lnTo>
                    <a:pt x="336" y="2040"/>
                  </a:lnTo>
                  <a:lnTo>
                    <a:pt x="336" y="2028"/>
                  </a:lnTo>
                  <a:lnTo>
                    <a:pt x="330" y="2016"/>
                  </a:lnTo>
                  <a:lnTo>
                    <a:pt x="330" y="1998"/>
                  </a:lnTo>
                  <a:lnTo>
                    <a:pt x="324" y="1986"/>
                  </a:lnTo>
                  <a:lnTo>
                    <a:pt x="324" y="1974"/>
                  </a:lnTo>
                  <a:lnTo>
                    <a:pt x="330" y="1968"/>
                  </a:lnTo>
                  <a:lnTo>
                    <a:pt x="342" y="1962"/>
                  </a:lnTo>
                  <a:lnTo>
                    <a:pt x="348" y="1962"/>
                  </a:lnTo>
                  <a:lnTo>
                    <a:pt x="336" y="1950"/>
                  </a:lnTo>
                  <a:lnTo>
                    <a:pt x="324" y="1944"/>
                  </a:lnTo>
                  <a:lnTo>
                    <a:pt x="306" y="1926"/>
                  </a:lnTo>
                  <a:lnTo>
                    <a:pt x="300" y="1914"/>
                  </a:lnTo>
                  <a:lnTo>
                    <a:pt x="300" y="1890"/>
                  </a:lnTo>
                  <a:lnTo>
                    <a:pt x="294" y="1878"/>
                  </a:lnTo>
                  <a:lnTo>
                    <a:pt x="288" y="1872"/>
                  </a:lnTo>
                  <a:lnTo>
                    <a:pt x="288" y="1842"/>
                  </a:lnTo>
                  <a:lnTo>
                    <a:pt x="294" y="1836"/>
                  </a:lnTo>
                  <a:lnTo>
                    <a:pt x="294" y="1824"/>
                  </a:lnTo>
                  <a:lnTo>
                    <a:pt x="276" y="1812"/>
                  </a:lnTo>
                  <a:lnTo>
                    <a:pt x="276" y="1806"/>
                  </a:lnTo>
                  <a:lnTo>
                    <a:pt x="282" y="1794"/>
                  </a:lnTo>
                  <a:lnTo>
                    <a:pt x="282" y="1788"/>
                  </a:lnTo>
                  <a:lnTo>
                    <a:pt x="264" y="1770"/>
                  </a:lnTo>
                  <a:lnTo>
                    <a:pt x="282" y="1758"/>
                  </a:lnTo>
                  <a:lnTo>
                    <a:pt x="270" y="1716"/>
                  </a:lnTo>
                  <a:lnTo>
                    <a:pt x="276" y="1716"/>
                  </a:lnTo>
                  <a:lnTo>
                    <a:pt x="282" y="1710"/>
                  </a:lnTo>
                  <a:lnTo>
                    <a:pt x="294" y="1704"/>
                  </a:lnTo>
                  <a:lnTo>
                    <a:pt x="300" y="1692"/>
                  </a:lnTo>
                  <a:lnTo>
                    <a:pt x="300" y="1686"/>
                  </a:lnTo>
                  <a:lnTo>
                    <a:pt x="282" y="1668"/>
                  </a:lnTo>
                  <a:lnTo>
                    <a:pt x="276" y="1668"/>
                  </a:lnTo>
                  <a:lnTo>
                    <a:pt x="276" y="1650"/>
                  </a:lnTo>
                  <a:lnTo>
                    <a:pt x="246" y="1626"/>
                  </a:lnTo>
                  <a:lnTo>
                    <a:pt x="246" y="1578"/>
                  </a:lnTo>
                  <a:lnTo>
                    <a:pt x="240" y="1566"/>
                  </a:lnTo>
                  <a:lnTo>
                    <a:pt x="234" y="1548"/>
                  </a:lnTo>
                  <a:lnTo>
                    <a:pt x="234" y="1536"/>
                  </a:lnTo>
                  <a:lnTo>
                    <a:pt x="228" y="1530"/>
                  </a:lnTo>
                  <a:lnTo>
                    <a:pt x="228" y="1524"/>
                  </a:lnTo>
                  <a:lnTo>
                    <a:pt x="252" y="1518"/>
                  </a:lnTo>
                  <a:lnTo>
                    <a:pt x="258" y="1500"/>
                  </a:lnTo>
                  <a:lnTo>
                    <a:pt x="258" y="1494"/>
                  </a:lnTo>
                  <a:lnTo>
                    <a:pt x="264" y="1482"/>
                  </a:lnTo>
                  <a:lnTo>
                    <a:pt x="264" y="1470"/>
                  </a:lnTo>
                  <a:lnTo>
                    <a:pt x="258" y="1464"/>
                  </a:lnTo>
                  <a:lnTo>
                    <a:pt x="252" y="1452"/>
                  </a:lnTo>
                  <a:lnTo>
                    <a:pt x="246" y="1446"/>
                  </a:lnTo>
                  <a:lnTo>
                    <a:pt x="240" y="1434"/>
                  </a:lnTo>
                  <a:lnTo>
                    <a:pt x="234" y="1428"/>
                  </a:lnTo>
                  <a:lnTo>
                    <a:pt x="246" y="1428"/>
                  </a:lnTo>
                  <a:lnTo>
                    <a:pt x="246" y="1398"/>
                  </a:lnTo>
                  <a:lnTo>
                    <a:pt x="252" y="1380"/>
                  </a:lnTo>
                  <a:lnTo>
                    <a:pt x="252" y="1356"/>
                  </a:lnTo>
                  <a:lnTo>
                    <a:pt x="270" y="1338"/>
                  </a:lnTo>
                  <a:lnTo>
                    <a:pt x="270" y="1332"/>
                  </a:lnTo>
                  <a:lnTo>
                    <a:pt x="264" y="1320"/>
                  </a:lnTo>
                  <a:lnTo>
                    <a:pt x="258" y="1314"/>
                  </a:lnTo>
                  <a:lnTo>
                    <a:pt x="252" y="1302"/>
                  </a:lnTo>
                  <a:lnTo>
                    <a:pt x="246" y="1260"/>
                  </a:lnTo>
                  <a:lnTo>
                    <a:pt x="222" y="1260"/>
                  </a:lnTo>
                  <a:lnTo>
                    <a:pt x="210" y="1248"/>
                  </a:lnTo>
                  <a:lnTo>
                    <a:pt x="210" y="1236"/>
                  </a:lnTo>
                  <a:lnTo>
                    <a:pt x="216" y="1230"/>
                  </a:lnTo>
                  <a:lnTo>
                    <a:pt x="210" y="1218"/>
                  </a:lnTo>
                  <a:lnTo>
                    <a:pt x="198" y="1188"/>
                  </a:lnTo>
                  <a:lnTo>
                    <a:pt x="180" y="1170"/>
                  </a:lnTo>
                  <a:lnTo>
                    <a:pt x="180" y="1164"/>
                  </a:lnTo>
                  <a:lnTo>
                    <a:pt x="186" y="1158"/>
                  </a:lnTo>
                  <a:lnTo>
                    <a:pt x="186" y="1146"/>
                  </a:lnTo>
                  <a:lnTo>
                    <a:pt x="168" y="1128"/>
                  </a:lnTo>
                  <a:lnTo>
                    <a:pt x="156" y="1122"/>
                  </a:lnTo>
                  <a:lnTo>
                    <a:pt x="156" y="1116"/>
                  </a:lnTo>
                  <a:lnTo>
                    <a:pt x="150" y="1110"/>
                  </a:lnTo>
                  <a:lnTo>
                    <a:pt x="150" y="1086"/>
                  </a:lnTo>
                  <a:lnTo>
                    <a:pt x="156" y="1086"/>
                  </a:lnTo>
                  <a:lnTo>
                    <a:pt x="168" y="1080"/>
                  </a:lnTo>
                  <a:lnTo>
                    <a:pt x="162" y="1026"/>
                  </a:lnTo>
                  <a:lnTo>
                    <a:pt x="186" y="1026"/>
                  </a:lnTo>
                  <a:lnTo>
                    <a:pt x="186" y="1020"/>
                  </a:lnTo>
                  <a:lnTo>
                    <a:pt x="180" y="1008"/>
                  </a:lnTo>
                  <a:lnTo>
                    <a:pt x="168" y="972"/>
                  </a:lnTo>
                  <a:lnTo>
                    <a:pt x="156" y="948"/>
                  </a:lnTo>
                  <a:lnTo>
                    <a:pt x="156" y="936"/>
                  </a:lnTo>
                  <a:lnTo>
                    <a:pt x="168" y="924"/>
                  </a:lnTo>
                  <a:lnTo>
                    <a:pt x="168" y="858"/>
                  </a:lnTo>
                  <a:lnTo>
                    <a:pt x="174" y="852"/>
                  </a:lnTo>
                  <a:lnTo>
                    <a:pt x="180" y="840"/>
                  </a:lnTo>
                  <a:lnTo>
                    <a:pt x="192" y="828"/>
                  </a:lnTo>
                  <a:lnTo>
                    <a:pt x="192" y="816"/>
                  </a:lnTo>
                  <a:lnTo>
                    <a:pt x="198" y="804"/>
                  </a:lnTo>
                  <a:lnTo>
                    <a:pt x="198" y="792"/>
                  </a:lnTo>
                  <a:lnTo>
                    <a:pt x="204" y="774"/>
                  </a:lnTo>
                  <a:lnTo>
                    <a:pt x="204" y="762"/>
                  </a:lnTo>
                  <a:lnTo>
                    <a:pt x="222" y="762"/>
                  </a:lnTo>
                  <a:lnTo>
                    <a:pt x="228" y="756"/>
                  </a:lnTo>
                  <a:lnTo>
                    <a:pt x="240" y="750"/>
                  </a:lnTo>
                  <a:lnTo>
                    <a:pt x="240" y="738"/>
                  </a:lnTo>
                  <a:lnTo>
                    <a:pt x="234" y="726"/>
                  </a:lnTo>
                  <a:lnTo>
                    <a:pt x="210" y="714"/>
                  </a:lnTo>
                  <a:lnTo>
                    <a:pt x="204" y="708"/>
                  </a:lnTo>
                  <a:lnTo>
                    <a:pt x="198" y="708"/>
                  </a:lnTo>
                  <a:lnTo>
                    <a:pt x="204" y="708"/>
                  </a:lnTo>
                  <a:lnTo>
                    <a:pt x="216" y="696"/>
                  </a:lnTo>
                  <a:lnTo>
                    <a:pt x="222" y="684"/>
                  </a:lnTo>
                  <a:lnTo>
                    <a:pt x="228" y="678"/>
                  </a:lnTo>
                  <a:lnTo>
                    <a:pt x="222" y="666"/>
                  </a:lnTo>
                  <a:lnTo>
                    <a:pt x="210" y="654"/>
                  </a:lnTo>
                  <a:lnTo>
                    <a:pt x="198" y="648"/>
                  </a:lnTo>
                  <a:lnTo>
                    <a:pt x="192" y="642"/>
                  </a:lnTo>
                  <a:lnTo>
                    <a:pt x="192" y="624"/>
                  </a:lnTo>
                  <a:lnTo>
                    <a:pt x="216" y="600"/>
                  </a:lnTo>
                  <a:lnTo>
                    <a:pt x="216" y="594"/>
                  </a:lnTo>
                  <a:lnTo>
                    <a:pt x="204" y="594"/>
                  </a:lnTo>
                  <a:lnTo>
                    <a:pt x="192" y="588"/>
                  </a:lnTo>
                  <a:lnTo>
                    <a:pt x="186" y="582"/>
                  </a:lnTo>
                  <a:lnTo>
                    <a:pt x="186" y="576"/>
                  </a:lnTo>
                  <a:lnTo>
                    <a:pt x="192" y="570"/>
                  </a:lnTo>
                  <a:lnTo>
                    <a:pt x="198" y="558"/>
                  </a:lnTo>
                  <a:lnTo>
                    <a:pt x="210" y="552"/>
                  </a:lnTo>
                  <a:lnTo>
                    <a:pt x="222" y="540"/>
                  </a:lnTo>
                  <a:lnTo>
                    <a:pt x="240" y="534"/>
                  </a:lnTo>
                  <a:lnTo>
                    <a:pt x="252" y="528"/>
                  </a:lnTo>
                  <a:lnTo>
                    <a:pt x="258" y="522"/>
                  </a:lnTo>
                  <a:lnTo>
                    <a:pt x="264" y="522"/>
                  </a:lnTo>
                  <a:lnTo>
                    <a:pt x="276" y="438"/>
                  </a:lnTo>
                  <a:lnTo>
                    <a:pt x="264" y="420"/>
                  </a:lnTo>
                  <a:lnTo>
                    <a:pt x="222" y="420"/>
                  </a:lnTo>
                  <a:lnTo>
                    <a:pt x="216" y="408"/>
                  </a:lnTo>
                  <a:lnTo>
                    <a:pt x="216" y="384"/>
                  </a:lnTo>
                  <a:lnTo>
                    <a:pt x="192" y="360"/>
                  </a:lnTo>
                  <a:lnTo>
                    <a:pt x="192" y="294"/>
                  </a:lnTo>
                  <a:lnTo>
                    <a:pt x="186" y="288"/>
                  </a:lnTo>
                  <a:lnTo>
                    <a:pt x="174" y="282"/>
                  </a:lnTo>
                  <a:lnTo>
                    <a:pt x="168" y="276"/>
                  </a:lnTo>
                  <a:lnTo>
                    <a:pt x="156" y="270"/>
                  </a:lnTo>
                  <a:lnTo>
                    <a:pt x="150" y="264"/>
                  </a:lnTo>
                  <a:lnTo>
                    <a:pt x="144" y="264"/>
                  </a:lnTo>
                  <a:lnTo>
                    <a:pt x="144" y="240"/>
                  </a:lnTo>
                  <a:lnTo>
                    <a:pt x="138" y="234"/>
                  </a:lnTo>
                  <a:lnTo>
                    <a:pt x="132" y="222"/>
                  </a:lnTo>
                  <a:lnTo>
                    <a:pt x="132" y="210"/>
                  </a:lnTo>
                  <a:lnTo>
                    <a:pt x="138" y="204"/>
                  </a:lnTo>
                  <a:lnTo>
                    <a:pt x="144" y="192"/>
                  </a:lnTo>
                  <a:lnTo>
                    <a:pt x="150" y="186"/>
                  </a:lnTo>
                  <a:lnTo>
                    <a:pt x="132" y="168"/>
                  </a:lnTo>
                  <a:lnTo>
                    <a:pt x="144" y="156"/>
                  </a:lnTo>
                  <a:lnTo>
                    <a:pt x="150" y="144"/>
                  </a:lnTo>
                  <a:lnTo>
                    <a:pt x="150" y="138"/>
                  </a:lnTo>
                  <a:lnTo>
                    <a:pt x="144" y="126"/>
                  </a:lnTo>
                  <a:lnTo>
                    <a:pt x="120" y="114"/>
                  </a:lnTo>
                  <a:lnTo>
                    <a:pt x="114" y="114"/>
                  </a:lnTo>
                  <a:lnTo>
                    <a:pt x="102" y="108"/>
                  </a:lnTo>
                  <a:lnTo>
                    <a:pt x="90" y="30"/>
                  </a:lnTo>
                  <a:lnTo>
                    <a:pt x="66" y="30"/>
                  </a:lnTo>
                  <a:lnTo>
                    <a:pt x="48" y="0"/>
                  </a:lnTo>
                  <a:lnTo>
                    <a:pt x="36" y="6"/>
                  </a:lnTo>
                  <a:lnTo>
                    <a:pt x="42" y="18"/>
                  </a:lnTo>
                  <a:lnTo>
                    <a:pt x="42" y="36"/>
                  </a:lnTo>
                  <a:lnTo>
                    <a:pt x="36" y="42"/>
                  </a:lnTo>
                  <a:lnTo>
                    <a:pt x="0" y="66"/>
                  </a:lnTo>
                  <a:lnTo>
                    <a:pt x="0" y="108"/>
                  </a:lnTo>
                  <a:lnTo>
                    <a:pt x="24" y="156"/>
                  </a:lnTo>
                  <a:lnTo>
                    <a:pt x="30" y="174"/>
                  </a:lnTo>
                  <a:lnTo>
                    <a:pt x="36" y="228"/>
                  </a:lnTo>
                  <a:lnTo>
                    <a:pt x="36" y="282"/>
                  </a:lnTo>
                  <a:lnTo>
                    <a:pt x="48" y="318"/>
                  </a:lnTo>
                  <a:lnTo>
                    <a:pt x="48" y="360"/>
                  </a:lnTo>
                  <a:lnTo>
                    <a:pt x="54" y="384"/>
                  </a:lnTo>
                  <a:lnTo>
                    <a:pt x="54" y="432"/>
                  </a:lnTo>
                  <a:lnTo>
                    <a:pt x="30" y="444"/>
                  </a:lnTo>
                  <a:lnTo>
                    <a:pt x="36" y="474"/>
                  </a:lnTo>
                  <a:lnTo>
                    <a:pt x="54" y="486"/>
                  </a:lnTo>
                  <a:lnTo>
                    <a:pt x="48" y="582"/>
                  </a:lnTo>
                  <a:lnTo>
                    <a:pt x="72" y="624"/>
                  </a:lnTo>
                  <a:lnTo>
                    <a:pt x="54" y="642"/>
                  </a:lnTo>
                  <a:lnTo>
                    <a:pt x="60" y="702"/>
                  </a:lnTo>
                  <a:lnTo>
                    <a:pt x="66" y="708"/>
                  </a:lnTo>
                  <a:lnTo>
                    <a:pt x="78" y="732"/>
                  </a:lnTo>
                  <a:lnTo>
                    <a:pt x="78" y="744"/>
                  </a:lnTo>
                  <a:lnTo>
                    <a:pt x="72" y="756"/>
                  </a:lnTo>
                  <a:lnTo>
                    <a:pt x="66" y="762"/>
                  </a:lnTo>
                  <a:lnTo>
                    <a:pt x="60" y="762"/>
                  </a:lnTo>
                  <a:lnTo>
                    <a:pt x="60" y="792"/>
                  </a:lnTo>
                  <a:lnTo>
                    <a:pt x="72" y="810"/>
                  </a:lnTo>
                  <a:lnTo>
                    <a:pt x="60" y="822"/>
                  </a:lnTo>
                  <a:lnTo>
                    <a:pt x="48" y="846"/>
                  </a:lnTo>
                  <a:lnTo>
                    <a:pt x="48" y="852"/>
                  </a:lnTo>
                  <a:lnTo>
                    <a:pt x="60" y="852"/>
                  </a:lnTo>
                  <a:lnTo>
                    <a:pt x="60" y="864"/>
                  </a:lnTo>
                  <a:lnTo>
                    <a:pt x="66" y="870"/>
                  </a:lnTo>
                  <a:lnTo>
                    <a:pt x="66" y="888"/>
                  </a:lnTo>
                  <a:lnTo>
                    <a:pt x="54" y="900"/>
                  </a:lnTo>
                  <a:lnTo>
                    <a:pt x="54" y="906"/>
                  </a:lnTo>
                  <a:lnTo>
                    <a:pt x="48" y="912"/>
                  </a:lnTo>
                  <a:lnTo>
                    <a:pt x="48" y="936"/>
                  </a:lnTo>
                  <a:lnTo>
                    <a:pt x="54" y="948"/>
                  </a:lnTo>
                  <a:lnTo>
                    <a:pt x="60" y="954"/>
                  </a:lnTo>
                  <a:lnTo>
                    <a:pt x="66" y="954"/>
                  </a:lnTo>
                  <a:lnTo>
                    <a:pt x="78" y="966"/>
                  </a:lnTo>
                  <a:lnTo>
                    <a:pt x="78" y="1020"/>
                  </a:lnTo>
                  <a:lnTo>
                    <a:pt x="60" y="1020"/>
                  </a:lnTo>
                  <a:lnTo>
                    <a:pt x="60" y="1044"/>
                  </a:lnTo>
                  <a:lnTo>
                    <a:pt x="66" y="1056"/>
                  </a:lnTo>
                  <a:lnTo>
                    <a:pt x="90" y="1128"/>
                  </a:lnTo>
                  <a:lnTo>
                    <a:pt x="96" y="1140"/>
                  </a:lnTo>
                  <a:lnTo>
                    <a:pt x="102" y="1146"/>
                  </a:lnTo>
                  <a:lnTo>
                    <a:pt x="102" y="1164"/>
                  </a:lnTo>
                  <a:lnTo>
                    <a:pt x="108" y="1170"/>
                  </a:lnTo>
                  <a:lnTo>
                    <a:pt x="114" y="1182"/>
                  </a:lnTo>
                  <a:lnTo>
                    <a:pt x="120" y="1188"/>
                  </a:lnTo>
                  <a:lnTo>
                    <a:pt x="120" y="1236"/>
                  </a:lnTo>
                  <a:lnTo>
                    <a:pt x="114" y="1266"/>
                  </a:lnTo>
                  <a:lnTo>
                    <a:pt x="138" y="1290"/>
                  </a:lnTo>
                  <a:lnTo>
                    <a:pt x="138" y="1296"/>
                  </a:lnTo>
                  <a:lnTo>
                    <a:pt x="132" y="1302"/>
                  </a:lnTo>
                  <a:lnTo>
                    <a:pt x="126" y="1314"/>
                  </a:lnTo>
                  <a:lnTo>
                    <a:pt x="126" y="1326"/>
                  </a:lnTo>
                  <a:lnTo>
                    <a:pt x="120" y="1338"/>
                  </a:lnTo>
                  <a:lnTo>
                    <a:pt x="120" y="1416"/>
                  </a:lnTo>
                  <a:lnTo>
                    <a:pt x="102" y="1452"/>
                  </a:lnTo>
                  <a:lnTo>
                    <a:pt x="114" y="1464"/>
                  </a:lnTo>
                  <a:lnTo>
                    <a:pt x="114" y="1470"/>
                  </a:lnTo>
                  <a:lnTo>
                    <a:pt x="108" y="1476"/>
                  </a:lnTo>
                  <a:lnTo>
                    <a:pt x="108" y="1536"/>
                  </a:lnTo>
                  <a:lnTo>
                    <a:pt x="102" y="1554"/>
                  </a:lnTo>
                  <a:lnTo>
                    <a:pt x="102" y="1578"/>
                  </a:lnTo>
                  <a:lnTo>
                    <a:pt x="84" y="1584"/>
                  </a:lnTo>
                  <a:lnTo>
                    <a:pt x="84" y="1608"/>
                  </a:lnTo>
                  <a:lnTo>
                    <a:pt x="108" y="1650"/>
                  </a:lnTo>
                  <a:lnTo>
                    <a:pt x="108" y="1692"/>
                  </a:lnTo>
                  <a:lnTo>
                    <a:pt x="114" y="1704"/>
                  </a:lnTo>
                  <a:lnTo>
                    <a:pt x="144" y="1734"/>
                  </a:lnTo>
                  <a:lnTo>
                    <a:pt x="156" y="1758"/>
                  </a:lnTo>
                  <a:lnTo>
                    <a:pt x="156" y="1800"/>
                  </a:lnTo>
                  <a:lnTo>
                    <a:pt x="150" y="1812"/>
                  </a:lnTo>
                  <a:lnTo>
                    <a:pt x="150" y="1824"/>
                  </a:lnTo>
                  <a:lnTo>
                    <a:pt x="162" y="1836"/>
                  </a:lnTo>
                  <a:lnTo>
                    <a:pt x="162" y="1896"/>
                  </a:lnTo>
                  <a:lnTo>
                    <a:pt x="168" y="1908"/>
                  </a:lnTo>
                  <a:lnTo>
                    <a:pt x="174" y="1914"/>
                  </a:lnTo>
                  <a:lnTo>
                    <a:pt x="186" y="1920"/>
                  </a:lnTo>
                  <a:lnTo>
                    <a:pt x="192" y="1926"/>
                  </a:lnTo>
                  <a:lnTo>
                    <a:pt x="198" y="1926"/>
                  </a:lnTo>
                  <a:lnTo>
                    <a:pt x="192" y="1944"/>
                  </a:lnTo>
                  <a:lnTo>
                    <a:pt x="234" y="1944"/>
                  </a:lnTo>
                  <a:lnTo>
                    <a:pt x="234" y="1914"/>
                  </a:lnTo>
                  <a:lnTo>
                    <a:pt x="246" y="1926"/>
                  </a:lnTo>
                  <a:lnTo>
                    <a:pt x="258" y="1932"/>
                  </a:lnTo>
                  <a:lnTo>
                    <a:pt x="270" y="1932"/>
                  </a:lnTo>
                  <a:lnTo>
                    <a:pt x="276" y="1926"/>
                  </a:lnTo>
                  <a:lnTo>
                    <a:pt x="276" y="1914"/>
                  </a:lnTo>
                  <a:lnTo>
                    <a:pt x="288" y="1932"/>
                  </a:lnTo>
                  <a:lnTo>
                    <a:pt x="282" y="1938"/>
                  </a:lnTo>
                  <a:lnTo>
                    <a:pt x="270" y="1944"/>
                  </a:lnTo>
                  <a:lnTo>
                    <a:pt x="264" y="1956"/>
                  </a:lnTo>
                  <a:lnTo>
                    <a:pt x="258" y="1962"/>
                  </a:lnTo>
                  <a:lnTo>
                    <a:pt x="258" y="1968"/>
                  </a:lnTo>
                  <a:lnTo>
                    <a:pt x="288" y="1968"/>
                  </a:lnTo>
                  <a:lnTo>
                    <a:pt x="294" y="1974"/>
                  </a:lnTo>
                  <a:lnTo>
                    <a:pt x="294" y="1992"/>
                  </a:lnTo>
                  <a:lnTo>
                    <a:pt x="270" y="1986"/>
                  </a:lnTo>
                  <a:lnTo>
                    <a:pt x="288" y="2010"/>
                  </a:lnTo>
                  <a:lnTo>
                    <a:pt x="276" y="2022"/>
                  </a:lnTo>
                  <a:lnTo>
                    <a:pt x="294" y="2046"/>
                  </a:lnTo>
                  <a:lnTo>
                    <a:pt x="276" y="2064"/>
                  </a:lnTo>
                  <a:lnTo>
                    <a:pt x="270" y="2076"/>
                  </a:lnTo>
                  <a:lnTo>
                    <a:pt x="270" y="2082"/>
                  </a:lnTo>
                  <a:lnTo>
                    <a:pt x="276" y="2088"/>
                  </a:lnTo>
                  <a:lnTo>
                    <a:pt x="282" y="2088"/>
                  </a:lnTo>
                  <a:lnTo>
                    <a:pt x="306" y="2100"/>
                  </a:lnTo>
                  <a:lnTo>
                    <a:pt x="318" y="2100"/>
                  </a:lnTo>
                  <a:lnTo>
                    <a:pt x="300" y="2118"/>
                  </a:lnTo>
                  <a:lnTo>
                    <a:pt x="300" y="2130"/>
                  </a:lnTo>
                  <a:lnTo>
                    <a:pt x="312" y="2136"/>
                  </a:lnTo>
                  <a:lnTo>
                    <a:pt x="318" y="2142"/>
                  </a:lnTo>
                  <a:lnTo>
                    <a:pt x="330" y="2148"/>
                  </a:lnTo>
                  <a:lnTo>
                    <a:pt x="354" y="2148"/>
                  </a:lnTo>
                  <a:lnTo>
                    <a:pt x="360" y="2184"/>
                  </a:lnTo>
                  <a:lnTo>
                    <a:pt x="354" y="2184"/>
                  </a:lnTo>
                  <a:lnTo>
                    <a:pt x="324" y="2214"/>
                  </a:lnTo>
                  <a:lnTo>
                    <a:pt x="324" y="2220"/>
                  </a:lnTo>
                  <a:lnTo>
                    <a:pt x="330" y="2226"/>
                  </a:lnTo>
                  <a:lnTo>
                    <a:pt x="354" y="2226"/>
                  </a:lnTo>
                  <a:lnTo>
                    <a:pt x="366" y="2232"/>
                  </a:lnTo>
                  <a:lnTo>
                    <a:pt x="378" y="2244"/>
                  </a:lnTo>
                  <a:lnTo>
                    <a:pt x="348" y="2244"/>
                  </a:lnTo>
                  <a:lnTo>
                    <a:pt x="342" y="2238"/>
                  </a:lnTo>
                  <a:lnTo>
                    <a:pt x="330" y="2238"/>
                  </a:lnTo>
                  <a:lnTo>
                    <a:pt x="324" y="2244"/>
                  </a:lnTo>
                  <a:lnTo>
                    <a:pt x="324" y="2250"/>
                  </a:lnTo>
                  <a:lnTo>
                    <a:pt x="354" y="2256"/>
                  </a:lnTo>
                  <a:lnTo>
                    <a:pt x="330" y="2268"/>
                  </a:lnTo>
                  <a:lnTo>
                    <a:pt x="336" y="2292"/>
                  </a:lnTo>
                  <a:lnTo>
                    <a:pt x="348" y="2292"/>
                  </a:lnTo>
                  <a:lnTo>
                    <a:pt x="348" y="2316"/>
                  </a:lnTo>
                  <a:lnTo>
                    <a:pt x="336" y="2328"/>
                  </a:lnTo>
                  <a:lnTo>
                    <a:pt x="336" y="2322"/>
                  </a:lnTo>
                  <a:lnTo>
                    <a:pt x="330" y="2316"/>
                  </a:lnTo>
                  <a:lnTo>
                    <a:pt x="324" y="2304"/>
                  </a:lnTo>
                  <a:lnTo>
                    <a:pt x="324" y="2298"/>
                  </a:lnTo>
                  <a:lnTo>
                    <a:pt x="288" y="2298"/>
                  </a:lnTo>
                  <a:lnTo>
                    <a:pt x="306" y="2292"/>
                  </a:lnTo>
                  <a:lnTo>
                    <a:pt x="282" y="2268"/>
                  </a:lnTo>
                  <a:lnTo>
                    <a:pt x="276" y="2268"/>
                  </a:lnTo>
                  <a:lnTo>
                    <a:pt x="276" y="2280"/>
                  </a:lnTo>
                  <a:lnTo>
                    <a:pt x="270" y="2268"/>
                  </a:lnTo>
                  <a:lnTo>
                    <a:pt x="228" y="2280"/>
                  </a:lnTo>
                  <a:lnTo>
                    <a:pt x="264" y="2286"/>
                  </a:lnTo>
                  <a:lnTo>
                    <a:pt x="258" y="2292"/>
                  </a:lnTo>
                  <a:lnTo>
                    <a:pt x="252" y="2304"/>
                  </a:lnTo>
                  <a:lnTo>
                    <a:pt x="246" y="2310"/>
                  </a:lnTo>
                  <a:lnTo>
                    <a:pt x="234" y="2316"/>
                  </a:lnTo>
                  <a:lnTo>
                    <a:pt x="228" y="2328"/>
                  </a:lnTo>
                  <a:lnTo>
                    <a:pt x="222" y="2334"/>
                  </a:lnTo>
                  <a:lnTo>
                    <a:pt x="222" y="2340"/>
                  </a:lnTo>
                  <a:lnTo>
                    <a:pt x="228" y="2346"/>
                  </a:lnTo>
                  <a:lnTo>
                    <a:pt x="240" y="2352"/>
                  </a:lnTo>
                  <a:lnTo>
                    <a:pt x="252" y="2352"/>
                  </a:lnTo>
                  <a:lnTo>
                    <a:pt x="252" y="2346"/>
                  </a:lnTo>
                  <a:lnTo>
                    <a:pt x="240" y="2334"/>
                  </a:lnTo>
                  <a:lnTo>
                    <a:pt x="264" y="2328"/>
                  </a:lnTo>
                  <a:lnTo>
                    <a:pt x="282" y="2346"/>
                  </a:lnTo>
                  <a:lnTo>
                    <a:pt x="324" y="2346"/>
                  </a:lnTo>
                  <a:lnTo>
                    <a:pt x="336" y="2352"/>
                  </a:lnTo>
                  <a:lnTo>
                    <a:pt x="342" y="2364"/>
                  </a:lnTo>
                  <a:lnTo>
                    <a:pt x="354" y="2370"/>
                  </a:lnTo>
                  <a:lnTo>
                    <a:pt x="354" y="2376"/>
                  </a:lnTo>
                  <a:lnTo>
                    <a:pt x="336" y="2394"/>
                  </a:lnTo>
                  <a:lnTo>
                    <a:pt x="342" y="2406"/>
                  </a:lnTo>
                  <a:lnTo>
                    <a:pt x="360" y="2406"/>
                  </a:lnTo>
                  <a:lnTo>
                    <a:pt x="360" y="2418"/>
                  </a:lnTo>
                  <a:lnTo>
                    <a:pt x="378" y="2424"/>
                  </a:lnTo>
                  <a:lnTo>
                    <a:pt x="384" y="2406"/>
                  </a:lnTo>
                  <a:lnTo>
                    <a:pt x="402" y="2424"/>
                  </a:lnTo>
                  <a:lnTo>
                    <a:pt x="408" y="2424"/>
                  </a:lnTo>
                  <a:lnTo>
                    <a:pt x="420" y="2430"/>
                  </a:lnTo>
                  <a:lnTo>
                    <a:pt x="426" y="2436"/>
                  </a:lnTo>
                  <a:lnTo>
                    <a:pt x="426" y="2448"/>
                  </a:lnTo>
                  <a:lnTo>
                    <a:pt x="414" y="2460"/>
                  </a:lnTo>
                  <a:lnTo>
                    <a:pt x="408" y="2454"/>
                  </a:lnTo>
                  <a:lnTo>
                    <a:pt x="396" y="2454"/>
                  </a:lnTo>
                  <a:lnTo>
                    <a:pt x="384" y="2448"/>
                  </a:lnTo>
                  <a:lnTo>
                    <a:pt x="378" y="2442"/>
                  </a:lnTo>
                  <a:lnTo>
                    <a:pt x="366" y="2442"/>
                  </a:lnTo>
                  <a:lnTo>
                    <a:pt x="366" y="2454"/>
                  </a:lnTo>
                  <a:lnTo>
                    <a:pt x="372" y="2460"/>
                  </a:lnTo>
                  <a:lnTo>
                    <a:pt x="378" y="2460"/>
                  </a:lnTo>
                  <a:lnTo>
                    <a:pt x="390" y="2472"/>
                  </a:lnTo>
                  <a:lnTo>
                    <a:pt x="402" y="2496"/>
                  </a:lnTo>
                  <a:lnTo>
                    <a:pt x="402" y="2508"/>
                  </a:lnTo>
                  <a:lnTo>
                    <a:pt x="384" y="2508"/>
                  </a:lnTo>
                  <a:lnTo>
                    <a:pt x="396" y="2526"/>
                  </a:lnTo>
                  <a:lnTo>
                    <a:pt x="414" y="2562"/>
                  </a:lnTo>
                  <a:lnTo>
                    <a:pt x="426" y="2520"/>
                  </a:lnTo>
                  <a:lnTo>
                    <a:pt x="426" y="2550"/>
                  </a:lnTo>
                  <a:lnTo>
                    <a:pt x="444" y="2574"/>
                  </a:lnTo>
                  <a:lnTo>
                    <a:pt x="420" y="2574"/>
                  </a:lnTo>
                  <a:lnTo>
                    <a:pt x="426" y="2592"/>
                  </a:lnTo>
                  <a:lnTo>
                    <a:pt x="450" y="2592"/>
                  </a:lnTo>
                  <a:lnTo>
                    <a:pt x="432" y="2604"/>
                  </a:lnTo>
                  <a:lnTo>
                    <a:pt x="462" y="2616"/>
                  </a:lnTo>
                  <a:lnTo>
                    <a:pt x="444" y="2628"/>
                  </a:lnTo>
                  <a:lnTo>
                    <a:pt x="474" y="2640"/>
                  </a:lnTo>
                  <a:lnTo>
                    <a:pt x="462" y="2652"/>
                  </a:lnTo>
                  <a:lnTo>
                    <a:pt x="480" y="2658"/>
                  </a:lnTo>
                  <a:lnTo>
                    <a:pt x="480" y="2652"/>
                  </a:lnTo>
                  <a:lnTo>
                    <a:pt x="486" y="2640"/>
                  </a:lnTo>
                  <a:lnTo>
                    <a:pt x="486" y="2634"/>
                  </a:lnTo>
                  <a:lnTo>
                    <a:pt x="492" y="2634"/>
                  </a:lnTo>
                  <a:lnTo>
                    <a:pt x="498" y="2640"/>
                  </a:lnTo>
                  <a:lnTo>
                    <a:pt x="504" y="2652"/>
                  </a:lnTo>
                  <a:lnTo>
                    <a:pt x="498" y="2658"/>
                  </a:lnTo>
                  <a:lnTo>
                    <a:pt x="498" y="2664"/>
                  </a:lnTo>
                  <a:lnTo>
                    <a:pt x="492" y="2664"/>
                  </a:lnTo>
                  <a:lnTo>
                    <a:pt x="480" y="2676"/>
                  </a:lnTo>
                  <a:lnTo>
                    <a:pt x="480" y="2682"/>
                  </a:lnTo>
                  <a:lnTo>
                    <a:pt x="486" y="2688"/>
                  </a:lnTo>
                  <a:lnTo>
                    <a:pt x="516" y="2688"/>
                  </a:lnTo>
                  <a:lnTo>
                    <a:pt x="516" y="2700"/>
                  </a:lnTo>
                  <a:lnTo>
                    <a:pt x="540" y="2724"/>
                  </a:lnTo>
                  <a:lnTo>
                    <a:pt x="552" y="2730"/>
                  </a:lnTo>
                  <a:lnTo>
                    <a:pt x="558" y="2736"/>
                  </a:lnTo>
                  <a:lnTo>
                    <a:pt x="558" y="2700"/>
                  </a:lnTo>
                  <a:lnTo>
                    <a:pt x="564" y="2700"/>
                  </a:lnTo>
                  <a:lnTo>
                    <a:pt x="570" y="2706"/>
                  </a:lnTo>
                  <a:lnTo>
                    <a:pt x="582" y="2712"/>
                  </a:lnTo>
                  <a:lnTo>
                    <a:pt x="600" y="2718"/>
                  </a:lnTo>
                  <a:lnTo>
                    <a:pt x="624" y="2742"/>
                  </a:lnTo>
                  <a:lnTo>
                    <a:pt x="618" y="2748"/>
                  </a:lnTo>
                  <a:lnTo>
                    <a:pt x="618" y="2754"/>
                  </a:lnTo>
                  <a:lnTo>
                    <a:pt x="612" y="2760"/>
                  </a:lnTo>
                  <a:lnTo>
                    <a:pt x="630" y="2766"/>
                  </a:lnTo>
                  <a:lnTo>
                    <a:pt x="630" y="2790"/>
                  </a:lnTo>
                  <a:lnTo>
                    <a:pt x="684" y="2790"/>
                  </a:lnTo>
                  <a:lnTo>
                    <a:pt x="696" y="2802"/>
                  </a:lnTo>
                  <a:lnTo>
                    <a:pt x="666" y="2802"/>
                  </a:lnTo>
                  <a:lnTo>
                    <a:pt x="654" y="2814"/>
                  </a:lnTo>
                  <a:lnTo>
                    <a:pt x="630" y="2814"/>
                  </a:lnTo>
                  <a:lnTo>
                    <a:pt x="618" y="2832"/>
                  </a:lnTo>
                  <a:lnTo>
                    <a:pt x="648" y="2832"/>
                  </a:lnTo>
                  <a:lnTo>
                    <a:pt x="636" y="2850"/>
                  </a:lnTo>
                  <a:lnTo>
                    <a:pt x="666" y="2844"/>
                  </a:lnTo>
                  <a:lnTo>
                    <a:pt x="666" y="2826"/>
                  </a:lnTo>
                  <a:lnTo>
                    <a:pt x="690" y="2838"/>
                  </a:lnTo>
                  <a:lnTo>
                    <a:pt x="696" y="2826"/>
                  </a:lnTo>
                  <a:lnTo>
                    <a:pt x="702" y="2820"/>
                  </a:lnTo>
                  <a:lnTo>
                    <a:pt x="714" y="2814"/>
                  </a:lnTo>
                  <a:lnTo>
                    <a:pt x="720" y="2808"/>
                  </a:lnTo>
                  <a:lnTo>
                    <a:pt x="732" y="2808"/>
                  </a:lnTo>
                  <a:lnTo>
                    <a:pt x="732" y="2820"/>
                  </a:lnTo>
                  <a:lnTo>
                    <a:pt x="726" y="2832"/>
                  </a:lnTo>
                  <a:lnTo>
                    <a:pt x="702" y="2856"/>
                  </a:lnTo>
                  <a:lnTo>
                    <a:pt x="696" y="2850"/>
                  </a:lnTo>
                  <a:lnTo>
                    <a:pt x="678" y="2850"/>
                  </a:lnTo>
                  <a:lnTo>
                    <a:pt x="678" y="2868"/>
                  </a:lnTo>
                  <a:lnTo>
                    <a:pt x="642" y="2868"/>
                  </a:lnTo>
                  <a:lnTo>
                    <a:pt x="630" y="2880"/>
                  </a:lnTo>
                  <a:lnTo>
                    <a:pt x="642" y="2886"/>
                  </a:lnTo>
                  <a:lnTo>
                    <a:pt x="648" y="2916"/>
                  </a:lnTo>
                  <a:lnTo>
                    <a:pt x="678" y="2898"/>
                  </a:lnTo>
                  <a:lnTo>
                    <a:pt x="684" y="2910"/>
                  </a:lnTo>
                  <a:lnTo>
                    <a:pt x="684" y="2916"/>
                  </a:lnTo>
                  <a:lnTo>
                    <a:pt x="690" y="2916"/>
                  </a:lnTo>
                  <a:lnTo>
                    <a:pt x="696" y="2910"/>
                  </a:lnTo>
                  <a:lnTo>
                    <a:pt x="702" y="2898"/>
                  </a:lnTo>
                  <a:lnTo>
                    <a:pt x="702" y="2892"/>
                  </a:lnTo>
                  <a:lnTo>
                    <a:pt x="708" y="2880"/>
                  </a:lnTo>
                  <a:lnTo>
                    <a:pt x="714" y="2874"/>
                  </a:lnTo>
                  <a:close/>
                </a:path>
              </a:pathLst>
            </a:custGeom>
            <a:grpFill/>
            <a:ln w="3175">
              <a:solidFill>
                <a:schemeClr val="bg1"/>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de-DE" sz="1800" b="0" i="0" u="none" strike="noStrike" kern="1200" cap="none" spc="0" normalizeH="0" baseline="0" noProof="0">
                <a:ln>
                  <a:noFill/>
                </a:ln>
                <a:solidFill>
                  <a:srgbClr val="FFC000"/>
                </a:solidFill>
                <a:effectLst/>
                <a:uLnTx/>
                <a:uFillTx/>
                <a:latin typeface="Calibri" pitchFamily="34" charset="0"/>
                <a:ea typeface="+mn-ea"/>
                <a:cs typeface="+mn-cs"/>
              </a:endParaRPr>
            </a:p>
          </p:txBody>
        </p:sp>
        <p:sp>
          <p:nvSpPr>
            <p:cNvPr id="158" name="China" descr="© INSCALE GmbH, 05.05.2010&#10;http://www.presentationload.com/"/>
            <p:cNvSpPr>
              <a:spLocks noEditPoints="1"/>
            </p:cNvSpPr>
            <p:nvPr/>
          </p:nvSpPr>
          <p:spPr bwMode="gray">
            <a:xfrm>
              <a:off x="6059142" y="2969999"/>
              <a:ext cx="1186413" cy="878174"/>
            </a:xfrm>
            <a:custGeom>
              <a:avLst/>
              <a:gdLst>
                <a:gd name="T0" fmla="*/ 2147483647 w 3660"/>
                <a:gd name="T1" fmla="*/ 2147483647 h 2826"/>
                <a:gd name="T2" fmla="*/ 2147483647 w 3660"/>
                <a:gd name="T3" fmla="*/ 2147483647 h 2826"/>
                <a:gd name="T4" fmla="*/ 2147483647 w 3660"/>
                <a:gd name="T5" fmla="*/ 2147483647 h 2826"/>
                <a:gd name="T6" fmla="*/ 2147483647 w 3660"/>
                <a:gd name="T7" fmla="*/ 2147483647 h 2826"/>
                <a:gd name="T8" fmla="*/ 2147483647 w 3660"/>
                <a:gd name="T9" fmla="*/ 2147483647 h 2826"/>
                <a:gd name="T10" fmla="*/ 2147483647 w 3660"/>
                <a:gd name="T11" fmla="*/ 2147483647 h 2826"/>
                <a:gd name="T12" fmla="*/ 2147483647 w 3660"/>
                <a:gd name="T13" fmla="*/ 2147483647 h 2826"/>
                <a:gd name="T14" fmla="*/ 2147483647 w 3660"/>
                <a:gd name="T15" fmla="*/ 2147483647 h 2826"/>
                <a:gd name="T16" fmla="*/ 2147483647 w 3660"/>
                <a:gd name="T17" fmla="*/ 2147483647 h 2826"/>
                <a:gd name="T18" fmla="*/ 2147483647 w 3660"/>
                <a:gd name="T19" fmla="*/ 2147483647 h 2826"/>
                <a:gd name="T20" fmla="*/ 2147483647 w 3660"/>
                <a:gd name="T21" fmla="*/ 2147483647 h 2826"/>
                <a:gd name="T22" fmla="*/ 2147483647 w 3660"/>
                <a:gd name="T23" fmla="*/ 2147483647 h 2826"/>
                <a:gd name="T24" fmla="*/ 2147483647 w 3660"/>
                <a:gd name="T25" fmla="*/ 2147483647 h 2826"/>
                <a:gd name="T26" fmla="*/ 2147483647 w 3660"/>
                <a:gd name="T27" fmla="*/ 2147483647 h 2826"/>
                <a:gd name="T28" fmla="*/ 2147483647 w 3660"/>
                <a:gd name="T29" fmla="*/ 2147483647 h 2826"/>
                <a:gd name="T30" fmla="*/ 2147483647 w 3660"/>
                <a:gd name="T31" fmla="*/ 2147483647 h 2826"/>
                <a:gd name="T32" fmla="*/ 2147483647 w 3660"/>
                <a:gd name="T33" fmla="*/ 2147483647 h 2826"/>
                <a:gd name="T34" fmla="*/ 2147483647 w 3660"/>
                <a:gd name="T35" fmla="*/ 2147483647 h 2826"/>
                <a:gd name="T36" fmla="*/ 2147483647 w 3660"/>
                <a:gd name="T37" fmla="*/ 2147483647 h 2826"/>
                <a:gd name="T38" fmla="*/ 2147483647 w 3660"/>
                <a:gd name="T39" fmla="*/ 2147483647 h 2826"/>
                <a:gd name="T40" fmla="*/ 2147483647 w 3660"/>
                <a:gd name="T41" fmla="*/ 2147483647 h 2826"/>
                <a:gd name="T42" fmla="*/ 2147483647 w 3660"/>
                <a:gd name="T43" fmla="*/ 2147483647 h 2826"/>
                <a:gd name="T44" fmla="*/ 2147483647 w 3660"/>
                <a:gd name="T45" fmla="*/ 2147483647 h 2826"/>
                <a:gd name="T46" fmla="*/ 0 w 3660"/>
                <a:gd name="T47" fmla="*/ 2147483647 h 2826"/>
                <a:gd name="T48" fmla="*/ 2147483647 w 3660"/>
                <a:gd name="T49" fmla="*/ 2147483647 h 2826"/>
                <a:gd name="T50" fmla="*/ 2147483647 w 3660"/>
                <a:gd name="T51" fmla="*/ 2147483647 h 2826"/>
                <a:gd name="T52" fmla="*/ 2147483647 w 3660"/>
                <a:gd name="T53" fmla="*/ 2147483647 h 2826"/>
                <a:gd name="T54" fmla="*/ 2147483647 w 3660"/>
                <a:gd name="T55" fmla="*/ 2147483647 h 2826"/>
                <a:gd name="T56" fmla="*/ 2147483647 w 3660"/>
                <a:gd name="T57" fmla="*/ 2147483647 h 2826"/>
                <a:gd name="T58" fmla="*/ 2147483647 w 3660"/>
                <a:gd name="T59" fmla="*/ 2147483647 h 2826"/>
                <a:gd name="T60" fmla="*/ 2147483647 w 3660"/>
                <a:gd name="T61" fmla="*/ 2147483647 h 2826"/>
                <a:gd name="T62" fmla="*/ 2147483647 w 3660"/>
                <a:gd name="T63" fmla="*/ 2147483647 h 2826"/>
                <a:gd name="T64" fmla="*/ 2147483647 w 3660"/>
                <a:gd name="T65" fmla="*/ 2147483647 h 2826"/>
                <a:gd name="T66" fmla="*/ 2147483647 w 3660"/>
                <a:gd name="T67" fmla="*/ 2147483647 h 2826"/>
                <a:gd name="T68" fmla="*/ 2147483647 w 3660"/>
                <a:gd name="T69" fmla="*/ 2147483647 h 2826"/>
                <a:gd name="T70" fmla="*/ 2147483647 w 3660"/>
                <a:gd name="T71" fmla="*/ 2147483647 h 2826"/>
                <a:gd name="T72" fmla="*/ 2147483647 w 3660"/>
                <a:gd name="T73" fmla="*/ 2147483647 h 2826"/>
                <a:gd name="T74" fmla="*/ 2147483647 w 3660"/>
                <a:gd name="T75" fmla="*/ 2147483647 h 2826"/>
                <a:gd name="T76" fmla="*/ 2147483647 w 3660"/>
                <a:gd name="T77" fmla="*/ 2147483647 h 2826"/>
                <a:gd name="T78" fmla="*/ 2147483647 w 3660"/>
                <a:gd name="T79" fmla="*/ 2147483647 h 2826"/>
                <a:gd name="T80" fmla="*/ 2147483647 w 3660"/>
                <a:gd name="T81" fmla="*/ 2147483647 h 2826"/>
                <a:gd name="T82" fmla="*/ 2147483647 w 3660"/>
                <a:gd name="T83" fmla="*/ 2147483647 h 2826"/>
                <a:gd name="T84" fmla="*/ 2147483647 w 3660"/>
                <a:gd name="T85" fmla="*/ 2147483647 h 2826"/>
                <a:gd name="T86" fmla="*/ 2147483647 w 3660"/>
                <a:gd name="T87" fmla="*/ 2147483647 h 2826"/>
                <a:gd name="T88" fmla="*/ 2147483647 w 3660"/>
                <a:gd name="T89" fmla="*/ 2147483647 h 2826"/>
                <a:gd name="T90" fmla="*/ 2147483647 w 3660"/>
                <a:gd name="T91" fmla="*/ 2147483647 h 2826"/>
                <a:gd name="T92" fmla="*/ 2147483647 w 3660"/>
                <a:gd name="T93" fmla="*/ 2147483647 h 2826"/>
                <a:gd name="T94" fmla="*/ 2147483647 w 3660"/>
                <a:gd name="T95" fmla="*/ 2147483647 h 2826"/>
                <a:gd name="T96" fmla="*/ 2147483647 w 3660"/>
                <a:gd name="T97" fmla="*/ 2147483647 h 2826"/>
                <a:gd name="T98" fmla="*/ 2147483647 w 3660"/>
                <a:gd name="T99" fmla="*/ 2147483647 h 2826"/>
                <a:gd name="T100" fmla="*/ 2147483647 w 3660"/>
                <a:gd name="T101" fmla="*/ 2147483647 h 2826"/>
                <a:gd name="T102" fmla="*/ 2147483647 w 3660"/>
                <a:gd name="T103" fmla="*/ 2147483647 h 2826"/>
                <a:gd name="T104" fmla="*/ 2147483647 w 3660"/>
                <a:gd name="T105" fmla="*/ 2147483647 h 2826"/>
                <a:gd name="T106" fmla="*/ 2147483647 w 3660"/>
                <a:gd name="T107" fmla="*/ 2147483647 h 2826"/>
                <a:gd name="T108" fmla="*/ 2147483647 w 3660"/>
                <a:gd name="T109" fmla="*/ 2147483647 h 2826"/>
                <a:gd name="T110" fmla="*/ 2147483647 w 3660"/>
                <a:gd name="T111" fmla="*/ 2147483647 h 2826"/>
                <a:gd name="T112" fmla="*/ 2147483647 w 3660"/>
                <a:gd name="T113" fmla="*/ 2147483647 h 2826"/>
                <a:gd name="T114" fmla="*/ 2147483647 w 3660"/>
                <a:gd name="T115" fmla="*/ 2147483647 h 2826"/>
                <a:gd name="T116" fmla="*/ 2147483647 w 3660"/>
                <a:gd name="T117" fmla="*/ 2147483647 h 2826"/>
                <a:gd name="T118" fmla="*/ 2147483647 w 3660"/>
                <a:gd name="T119" fmla="*/ 2147483647 h 2826"/>
                <a:gd name="T120" fmla="*/ 2147483647 w 3660"/>
                <a:gd name="T121" fmla="*/ 2147483647 h 2826"/>
                <a:gd name="T122" fmla="*/ 2147483647 w 3660"/>
                <a:gd name="T123" fmla="*/ 2147483647 h 282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3660"/>
                <a:gd name="T187" fmla="*/ 0 h 2826"/>
                <a:gd name="T188" fmla="*/ 3660 w 3660"/>
                <a:gd name="T189" fmla="*/ 2826 h 282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3660" h="2826">
                  <a:moveTo>
                    <a:pt x="2862" y="2688"/>
                  </a:moveTo>
                  <a:lnTo>
                    <a:pt x="2850" y="2682"/>
                  </a:lnTo>
                  <a:lnTo>
                    <a:pt x="2772" y="2682"/>
                  </a:lnTo>
                  <a:lnTo>
                    <a:pt x="2766" y="2700"/>
                  </a:lnTo>
                  <a:lnTo>
                    <a:pt x="2748" y="2694"/>
                  </a:lnTo>
                  <a:lnTo>
                    <a:pt x="2736" y="2718"/>
                  </a:lnTo>
                  <a:lnTo>
                    <a:pt x="2730" y="2724"/>
                  </a:lnTo>
                  <a:lnTo>
                    <a:pt x="2712" y="2760"/>
                  </a:lnTo>
                  <a:lnTo>
                    <a:pt x="2718" y="2772"/>
                  </a:lnTo>
                  <a:lnTo>
                    <a:pt x="2724" y="2790"/>
                  </a:lnTo>
                  <a:lnTo>
                    <a:pt x="2754" y="2820"/>
                  </a:lnTo>
                  <a:lnTo>
                    <a:pt x="2766" y="2826"/>
                  </a:lnTo>
                  <a:lnTo>
                    <a:pt x="2772" y="2826"/>
                  </a:lnTo>
                  <a:lnTo>
                    <a:pt x="2802" y="2820"/>
                  </a:lnTo>
                  <a:lnTo>
                    <a:pt x="2820" y="2820"/>
                  </a:lnTo>
                  <a:lnTo>
                    <a:pt x="2844" y="2808"/>
                  </a:lnTo>
                  <a:lnTo>
                    <a:pt x="2850" y="2802"/>
                  </a:lnTo>
                  <a:lnTo>
                    <a:pt x="2850" y="2754"/>
                  </a:lnTo>
                  <a:lnTo>
                    <a:pt x="2856" y="2742"/>
                  </a:lnTo>
                  <a:lnTo>
                    <a:pt x="2862" y="2736"/>
                  </a:lnTo>
                  <a:lnTo>
                    <a:pt x="2868" y="2724"/>
                  </a:lnTo>
                  <a:lnTo>
                    <a:pt x="2868" y="2700"/>
                  </a:lnTo>
                  <a:lnTo>
                    <a:pt x="2862" y="2688"/>
                  </a:lnTo>
                  <a:close/>
                  <a:moveTo>
                    <a:pt x="3660" y="624"/>
                  </a:moveTo>
                  <a:lnTo>
                    <a:pt x="3654" y="600"/>
                  </a:lnTo>
                  <a:lnTo>
                    <a:pt x="3660" y="570"/>
                  </a:lnTo>
                  <a:lnTo>
                    <a:pt x="3642" y="564"/>
                  </a:lnTo>
                  <a:lnTo>
                    <a:pt x="3642" y="540"/>
                  </a:lnTo>
                  <a:lnTo>
                    <a:pt x="3630" y="528"/>
                  </a:lnTo>
                  <a:lnTo>
                    <a:pt x="3630" y="510"/>
                  </a:lnTo>
                  <a:lnTo>
                    <a:pt x="3618" y="492"/>
                  </a:lnTo>
                  <a:lnTo>
                    <a:pt x="3636" y="486"/>
                  </a:lnTo>
                  <a:lnTo>
                    <a:pt x="3636" y="456"/>
                  </a:lnTo>
                  <a:lnTo>
                    <a:pt x="3612" y="444"/>
                  </a:lnTo>
                  <a:lnTo>
                    <a:pt x="3612" y="426"/>
                  </a:lnTo>
                  <a:lnTo>
                    <a:pt x="3606" y="414"/>
                  </a:lnTo>
                  <a:lnTo>
                    <a:pt x="3594" y="408"/>
                  </a:lnTo>
                  <a:lnTo>
                    <a:pt x="3552" y="408"/>
                  </a:lnTo>
                  <a:lnTo>
                    <a:pt x="3546" y="432"/>
                  </a:lnTo>
                  <a:lnTo>
                    <a:pt x="3516" y="432"/>
                  </a:lnTo>
                  <a:lnTo>
                    <a:pt x="3504" y="438"/>
                  </a:lnTo>
                  <a:lnTo>
                    <a:pt x="3498" y="438"/>
                  </a:lnTo>
                  <a:lnTo>
                    <a:pt x="3492" y="444"/>
                  </a:lnTo>
                  <a:lnTo>
                    <a:pt x="3492" y="462"/>
                  </a:lnTo>
                  <a:lnTo>
                    <a:pt x="3462" y="456"/>
                  </a:lnTo>
                  <a:lnTo>
                    <a:pt x="3462" y="468"/>
                  </a:lnTo>
                  <a:lnTo>
                    <a:pt x="3444" y="468"/>
                  </a:lnTo>
                  <a:lnTo>
                    <a:pt x="3432" y="456"/>
                  </a:lnTo>
                  <a:lnTo>
                    <a:pt x="3408" y="462"/>
                  </a:lnTo>
                  <a:lnTo>
                    <a:pt x="3366" y="432"/>
                  </a:lnTo>
                  <a:lnTo>
                    <a:pt x="3366" y="420"/>
                  </a:lnTo>
                  <a:lnTo>
                    <a:pt x="3360" y="408"/>
                  </a:lnTo>
                  <a:lnTo>
                    <a:pt x="3360" y="402"/>
                  </a:lnTo>
                  <a:lnTo>
                    <a:pt x="3354" y="396"/>
                  </a:lnTo>
                  <a:lnTo>
                    <a:pt x="3336" y="396"/>
                  </a:lnTo>
                  <a:lnTo>
                    <a:pt x="3318" y="366"/>
                  </a:lnTo>
                  <a:lnTo>
                    <a:pt x="3276" y="366"/>
                  </a:lnTo>
                  <a:lnTo>
                    <a:pt x="3258" y="348"/>
                  </a:lnTo>
                  <a:lnTo>
                    <a:pt x="3246" y="342"/>
                  </a:lnTo>
                  <a:lnTo>
                    <a:pt x="3228" y="324"/>
                  </a:lnTo>
                  <a:lnTo>
                    <a:pt x="3216" y="324"/>
                  </a:lnTo>
                  <a:lnTo>
                    <a:pt x="3204" y="336"/>
                  </a:lnTo>
                  <a:lnTo>
                    <a:pt x="3192" y="330"/>
                  </a:lnTo>
                  <a:lnTo>
                    <a:pt x="3186" y="324"/>
                  </a:lnTo>
                  <a:lnTo>
                    <a:pt x="3174" y="318"/>
                  </a:lnTo>
                  <a:lnTo>
                    <a:pt x="3126" y="318"/>
                  </a:lnTo>
                  <a:lnTo>
                    <a:pt x="3114" y="312"/>
                  </a:lnTo>
                  <a:lnTo>
                    <a:pt x="3108" y="306"/>
                  </a:lnTo>
                  <a:lnTo>
                    <a:pt x="3084" y="294"/>
                  </a:lnTo>
                  <a:lnTo>
                    <a:pt x="3078" y="288"/>
                  </a:lnTo>
                  <a:lnTo>
                    <a:pt x="3072" y="288"/>
                  </a:lnTo>
                  <a:lnTo>
                    <a:pt x="3066" y="264"/>
                  </a:lnTo>
                  <a:lnTo>
                    <a:pt x="3054" y="264"/>
                  </a:lnTo>
                  <a:lnTo>
                    <a:pt x="3048" y="252"/>
                  </a:lnTo>
                  <a:lnTo>
                    <a:pt x="3030" y="234"/>
                  </a:lnTo>
                  <a:lnTo>
                    <a:pt x="3024" y="222"/>
                  </a:lnTo>
                  <a:lnTo>
                    <a:pt x="2976" y="198"/>
                  </a:lnTo>
                  <a:lnTo>
                    <a:pt x="2964" y="198"/>
                  </a:lnTo>
                  <a:lnTo>
                    <a:pt x="2952" y="168"/>
                  </a:lnTo>
                  <a:lnTo>
                    <a:pt x="2904" y="144"/>
                  </a:lnTo>
                  <a:lnTo>
                    <a:pt x="2898" y="114"/>
                  </a:lnTo>
                  <a:lnTo>
                    <a:pt x="2892" y="114"/>
                  </a:lnTo>
                  <a:lnTo>
                    <a:pt x="2886" y="108"/>
                  </a:lnTo>
                  <a:lnTo>
                    <a:pt x="2874" y="108"/>
                  </a:lnTo>
                  <a:lnTo>
                    <a:pt x="2862" y="96"/>
                  </a:lnTo>
                  <a:lnTo>
                    <a:pt x="2850" y="90"/>
                  </a:lnTo>
                  <a:lnTo>
                    <a:pt x="2838" y="78"/>
                  </a:lnTo>
                  <a:lnTo>
                    <a:pt x="2832" y="78"/>
                  </a:lnTo>
                  <a:lnTo>
                    <a:pt x="2832" y="66"/>
                  </a:lnTo>
                  <a:lnTo>
                    <a:pt x="2820" y="60"/>
                  </a:lnTo>
                  <a:lnTo>
                    <a:pt x="2814" y="54"/>
                  </a:lnTo>
                  <a:lnTo>
                    <a:pt x="2802" y="48"/>
                  </a:lnTo>
                  <a:lnTo>
                    <a:pt x="2796" y="42"/>
                  </a:lnTo>
                  <a:lnTo>
                    <a:pt x="2724" y="42"/>
                  </a:lnTo>
                  <a:lnTo>
                    <a:pt x="2688" y="18"/>
                  </a:lnTo>
                  <a:lnTo>
                    <a:pt x="2652" y="0"/>
                  </a:lnTo>
                  <a:lnTo>
                    <a:pt x="2598" y="12"/>
                  </a:lnTo>
                  <a:lnTo>
                    <a:pt x="2556" y="6"/>
                  </a:lnTo>
                  <a:lnTo>
                    <a:pt x="2550" y="18"/>
                  </a:lnTo>
                  <a:lnTo>
                    <a:pt x="2514" y="24"/>
                  </a:lnTo>
                  <a:lnTo>
                    <a:pt x="2472" y="66"/>
                  </a:lnTo>
                  <a:lnTo>
                    <a:pt x="2466" y="66"/>
                  </a:lnTo>
                  <a:lnTo>
                    <a:pt x="2466" y="78"/>
                  </a:lnTo>
                  <a:lnTo>
                    <a:pt x="2472" y="78"/>
                  </a:lnTo>
                  <a:lnTo>
                    <a:pt x="2490" y="84"/>
                  </a:lnTo>
                  <a:lnTo>
                    <a:pt x="2502" y="84"/>
                  </a:lnTo>
                  <a:lnTo>
                    <a:pt x="2508" y="90"/>
                  </a:lnTo>
                  <a:lnTo>
                    <a:pt x="2520" y="90"/>
                  </a:lnTo>
                  <a:lnTo>
                    <a:pt x="2532" y="102"/>
                  </a:lnTo>
                  <a:lnTo>
                    <a:pt x="2544" y="108"/>
                  </a:lnTo>
                  <a:lnTo>
                    <a:pt x="2550" y="114"/>
                  </a:lnTo>
                  <a:lnTo>
                    <a:pt x="2550" y="126"/>
                  </a:lnTo>
                  <a:lnTo>
                    <a:pt x="2532" y="144"/>
                  </a:lnTo>
                  <a:lnTo>
                    <a:pt x="2532" y="216"/>
                  </a:lnTo>
                  <a:lnTo>
                    <a:pt x="2538" y="258"/>
                  </a:lnTo>
                  <a:lnTo>
                    <a:pt x="2544" y="264"/>
                  </a:lnTo>
                  <a:lnTo>
                    <a:pt x="2556" y="264"/>
                  </a:lnTo>
                  <a:lnTo>
                    <a:pt x="2556" y="276"/>
                  </a:lnTo>
                  <a:lnTo>
                    <a:pt x="2550" y="282"/>
                  </a:lnTo>
                  <a:lnTo>
                    <a:pt x="2538" y="288"/>
                  </a:lnTo>
                  <a:lnTo>
                    <a:pt x="2514" y="288"/>
                  </a:lnTo>
                  <a:lnTo>
                    <a:pt x="2514" y="300"/>
                  </a:lnTo>
                  <a:lnTo>
                    <a:pt x="2496" y="318"/>
                  </a:lnTo>
                  <a:lnTo>
                    <a:pt x="2484" y="318"/>
                  </a:lnTo>
                  <a:lnTo>
                    <a:pt x="2478" y="312"/>
                  </a:lnTo>
                  <a:lnTo>
                    <a:pt x="2442" y="312"/>
                  </a:lnTo>
                  <a:lnTo>
                    <a:pt x="2406" y="288"/>
                  </a:lnTo>
                  <a:lnTo>
                    <a:pt x="2406" y="372"/>
                  </a:lnTo>
                  <a:lnTo>
                    <a:pt x="2412" y="384"/>
                  </a:lnTo>
                  <a:lnTo>
                    <a:pt x="2418" y="408"/>
                  </a:lnTo>
                  <a:lnTo>
                    <a:pt x="2424" y="420"/>
                  </a:lnTo>
                  <a:lnTo>
                    <a:pt x="2418" y="420"/>
                  </a:lnTo>
                  <a:lnTo>
                    <a:pt x="2418" y="438"/>
                  </a:lnTo>
                  <a:lnTo>
                    <a:pt x="2424" y="450"/>
                  </a:lnTo>
                  <a:lnTo>
                    <a:pt x="2436" y="456"/>
                  </a:lnTo>
                  <a:lnTo>
                    <a:pt x="2442" y="462"/>
                  </a:lnTo>
                  <a:lnTo>
                    <a:pt x="2460" y="462"/>
                  </a:lnTo>
                  <a:lnTo>
                    <a:pt x="2460" y="456"/>
                  </a:lnTo>
                  <a:lnTo>
                    <a:pt x="2454" y="456"/>
                  </a:lnTo>
                  <a:lnTo>
                    <a:pt x="2460" y="450"/>
                  </a:lnTo>
                  <a:lnTo>
                    <a:pt x="2514" y="450"/>
                  </a:lnTo>
                  <a:lnTo>
                    <a:pt x="2526" y="462"/>
                  </a:lnTo>
                  <a:lnTo>
                    <a:pt x="2538" y="468"/>
                  </a:lnTo>
                  <a:lnTo>
                    <a:pt x="2544" y="468"/>
                  </a:lnTo>
                  <a:lnTo>
                    <a:pt x="2550" y="462"/>
                  </a:lnTo>
                  <a:lnTo>
                    <a:pt x="2550" y="438"/>
                  </a:lnTo>
                  <a:lnTo>
                    <a:pt x="2616" y="438"/>
                  </a:lnTo>
                  <a:lnTo>
                    <a:pt x="2616" y="450"/>
                  </a:lnTo>
                  <a:lnTo>
                    <a:pt x="2622" y="456"/>
                  </a:lnTo>
                  <a:lnTo>
                    <a:pt x="2634" y="462"/>
                  </a:lnTo>
                  <a:lnTo>
                    <a:pt x="2652" y="462"/>
                  </a:lnTo>
                  <a:lnTo>
                    <a:pt x="2658" y="468"/>
                  </a:lnTo>
                  <a:lnTo>
                    <a:pt x="2670" y="474"/>
                  </a:lnTo>
                  <a:lnTo>
                    <a:pt x="2682" y="486"/>
                  </a:lnTo>
                  <a:lnTo>
                    <a:pt x="2706" y="498"/>
                  </a:lnTo>
                  <a:lnTo>
                    <a:pt x="2718" y="498"/>
                  </a:lnTo>
                  <a:lnTo>
                    <a:pt x="2724" y="510"/>
                  </a:lnTo>
                  <a:lnTo>
                    <a:pt x="2748" y="534"/>
                  </a:lnTo>
                  <a:lnTo>
                    <a:pt x="2748" y="540"/>
                  </a:lnTo>
                  <a:lnTo>
                    <a:pt x="2742" y="546"/>
                  </a:lnTo>
                  <a:lnTo>
                    <a:pt x="2706" y="546"/>
                  </a:lnTo>
                  <a:lnTo>
                    <a:pt x="2700" y="540"/>
                  </a:lnTo>
                  <a:lnTo>
                    <a:pt x="2688" y="534"/>
                  </a:lnTo>
                  <a:lnTo>
                    <a:pt x="2658" y="534"/>
                  </a:lnTo>
                  <a:lnTo>
                    <a:pt x="2652" y="540"/>
                  </a:lnTo>
                  <a:lnTo>
                    <a:pt x="2646" y="540"/>
                  </a:lnTo>
                  <a:lnTo>
                    <a:pt x="2628" y="558"/>
                  </a:lnTo>
                  <a:lnTo>
                    <a:pt x="2598" y="552"/>
                  </a:lnTo>
                  <a:lnTo>
                    <a:pt x="2598" y="570"/>
                  </a:lnTo>
                  <a:lnTo>
                    <a:pt x="2586" y="570"/>
                  </a:lnTo>
                  <a:lnTo>
                    <a:pt x="2550" y="588"/>
                  </a:lnTo>
                  <a:lnTo>
                    <a:pt x="2544" y="594"/>
                  </a:lnTo>
                  <a:lnTo>
                    <a:pt x="2550" y="606"/>
                  </a:lnTo>
                  <a:lnTo>
                    <a:pt x="2562" y="618"/>
                  </a:lnTo>
                  <a:lnTo>
                    <a:pt x="2538" y="642"/>
                  </a:lnTo>
                  <a:lnTo>
                    <a:pt x="2466" y="642"/>
                  </a:lnTo>
                  <a:lnTo>
                    <a:pt x="2466" y="666"/>
                  </a:lnTo>
                  <a:lnTo>
                    <a:pt x="2460" y="672"/>
                  </a:lnTo>
                  <a:lnTo>
                    <a:pt x="2454" y="684"/>
                  </a:lnTo>
                  <a:lnTo>
                    <a:pt x="2442" y="690"/>
                  </a:lnTo>
                  <a:lnTo>
                    <a:pt x="2424" y="690"/>
                  </a:lnTo>
                  <a:lnTo>
                    <a:pt x="2412" y="696"/>
                  </a:lnTo>
                  <a:lnTo>
                    <a:pt x="2388" y="696"/>
                  </a:lnTo>
                  <a:lnTo>
                    <a:pt x="2376" y="690"/>
                  </a:lnTo>
                  <a:lnTo>
                    <a:pt x="2370" y="684"/>
                  </a:lnTo>
                  <a:lnTo>
                    <a:pt x="2358" y="678"/>
                  </a:lnTo>
                  <a:lnTo>
                    <a:pt x="2352" y="672"/>
                  </a:lnTo>
                  <a:lnTo>
                    <a:pt x="2346" y="672"/>
                  </a:lnTo>
                  <a:lnTo>
                    <a:pt x="2340" y="666"/>
                  </a:lnTo>
                  <a:lnTo>
                    <a:pt x="2316" y="666"/>
                  </a:lnTo>
                  <a:lnTo>
                    <a:pt x="2304" y="672"/>
                  </a:lnTo>
                  <a:lnTo>
                    <a:pt x="2304" y="684"/>
                  </a:lnTo>
                  <a:lnTo>
                    <a:pt x="2298" y="696"/>
                  </a:lnTo>
                  <a:lnTo>
                    <a:pt x="2298" y="708"/>
                  </a:lnTo>
                  <a:lnTo>
                    <a:pt x="2304" y="720"/>
                  </a:lnTo>
                  <a:lnTo>
                    <a:pt x="2322" y="738"/>
                  </a:lnTo>
                  <a:lnTo>
                    <a:pt x="2334" y="744"/>
                  </a:lnTo>
                  <a:lnTo>
                    <a:pt x="2352" y="762"/>
                  </a:lnTo>
                  <a:lnTo>
                    <a:pt x="2364" y="768"/>
                  </a:lnTo>
                  <a:lnTo>
                    <a:pt x="2364" y="774"/>
                  </a:lnTo>
                  <a:lnTo>
                    <a:pt x="2358" y="780"/>
                  </a:lnTo>
                  <a:lnTo>
                    <a:pt x="2352" y="792"/>
                  </a:lnTo>
                  <a:lnTo>
                    <a:pt x="2340" y="804"/>
                  </a:lnTo>
                  <a:lnTo>
                    <a:pt x="2316" y="804"/>
                  </a:lnTo>
                  <a:lnTo>
                    <a:pt x="2316" y="810"/>
                  </a:lnTo>
                  <a:lnTo>
                    <a:pt x="2310" y="822"/>
                  </a:lnTo>
                  <a:lnTo>
                    <a:pt x="2310" y="828"/>
                  </a:lnTo>
                  <a:lnTo>
                    <a:pt x="2298" y="852"/>
                  </a:lnTo>
                  <a:lnTo>
                    <a:pt x="2286" y="858"/>
                  </a:lnTo>
                  <a:lnTo>
                    <a:pt x="2262" y="858"/>
                  </a:lnTo>
                  <a:lnTo>
                    <a:pt x="2244" y="882"/>
                  </a:lnTo>
                  <a:lnTo>
                    <a:pt x="2088" y="882"/>
                  </a:lnTo>
                  <a:lnTo>
                    <a:pt x="2070" y="894"/>
                  </a:lnTo>
                  <a:lnTo>
                    <a:pt x="2010" y="930"/>
                  </a:lnTo>
                  <a:lnTo>
                    <a:pt x="1992" y="942"/>
                  </a:lnTo>
                  <a:lnTo>
                    <a:pt x="1986" y="948"/>
                  </a:lnTo>
                  <a:lnTo>
                    <a:pt x="1968" y="948"/>
                  </a:lnTo>
                  <a:lnTo>
                    <a:pt x="1962" y="942"/>
                  </a:lnTo>
                  <a:lnTo>
                    <a:pt x="1956" y="942"/>
                  </a:lnTo>
                  <a:lnTo>
                    <a:pt x="1950" y="930"/>
                  </a:lnTo>
                  <a:lnTo>
                    <a:pt x="1950" y="924"/>
                  </a:lnTo>
                  <a:lnTo>
                    <a:pt x="1938" y="924"/>
                  </a:lnTo>
                  <a:lnTo>
                    <a:pt x="1926" y="930"/>
                  </a:lnTo>
                  <a:lnTo>
                    <a:pt x="1914" y="930"/>
                  </a:lnTo>
                  <a:lnTo>
                    <a:pt x="1908" y="936"/>
                  </a:lnTo>
                  <a:lnTo>
                    <a:pt x="1896" y="936"/>
                  </a:lnTo>
                  <a:lnTo>
                    <a:pt x="1890" y="930"/>
                  </a:lnTo>
                  <a:lnTo>
                    <a:pt x="1866" y="918"/>
                  </a:lnTo>
                  <a:lnTo>
                    <a:pt x="1848" y="912"/>
                  </a:lnTo>
                  <a:lnTo>
                    <a:pt x="1800" y="912"/>
                  </a:lnTo>
                  <a:lnTo>
                    <a:pt x="1776" y="906"/>
                  </a:lnTo>
                  <a:lnTo>
                    <a:pt x="1764" y="900"/>
                  </a:lnTo>
                  <a:lnTo>
                    <a:pt x="1758" y="888"/>
                  </a:lnTo>
                  <a:lnTo>
                    <a:pt x="1740" y="870"/>
                  </a:lnTo>
                  <a:lnTo>
                    <a:pt x="1728" y="870"/>
                  </a:lnTo>
                  <a:lnTo>
                    <a:pt x="1710" y="864"/>
                  </a:lnTo>
                  <a:lnTo>
                    <a:pt x="1656" y="864"/>
                  </a:lnTo>
                  <a:lnTo>
                    <a:pt x="1650" y="858"/>
                  </a:lnTo>
                  <a:lnTo>
                    <a:pt x="1644" y="858"/>
                  </a:lnTo>
                  <a:lnTo>
                    <a:pt x="1632" y="852"/>
                  </a:lnTo>
                  <a:lnTo>
                    <a:pt x="1620" y="852"/>
                  </a:lnTo>
                  <a:lnTo>
                    <a:pt x="1614" y="858"/>
                  </a:lnTo>
                  <a:lnTo>
                    <a:pt x="1602" y="864"/>
                  </a:lnTo>
                  <a:lnTo>
                    <a:pt x="1596" y="870"/>
                  </a:lnTo>
                  <a:lnTo>
                    <a:pt x="1560" y="864"/>
                  </a:lnTo>
                  <a:lnTo>
                    <a:pt x="1512" y="864"/>
                  </a:lnTo>
                  <a:lnTo>
                    <a:pt x="1458" y="858"/>
                  </a:lnTo>
                  <a:lnTo>
                    <a:pt x="1398" y="864"/>
                  </a:lnTo>
                  <a:lnTo>
                    <a:pt x="1386" y="858"/>
                  </a:lnTo>
                  <a:lnTo>
                    <a:pt x="1380" y="846"/>
                  </a:lnTo>
                  <a:lnTo>
                    <a:pt x="1368" y="840"/>
                  </a:lnTo>
                  <a:lnTo>
                    <a:pt x="1338" y="810"/>
                  </a:lnTo>
                  <a:lnTo>
                    <a:pt x="1332" y="798"/>
                  </a:lnTo>
                  <a:lnTo>
                    <a:pt x="1290" y="756"/>
                  </a:lnTo>
                  <a:lnTo>
                    <a:pt x="1278" y="732"/>
                  </a:lnTo>
                  <a:lnTo>
                    <a:pt x="1242" y="732"/>
                  </a:lnTo>
                  <a:lnTo>
                    <a:pt x="1236" y="726"/>
                  </a:lnTo>
                  <a:lnTo>
                    <a:pt x="1224" y="726"/>
                  </a:lnTo>
                  <a:lnTo>
                    <a:pt x="1200" y="714"/>
                  </a:lnTo>
                  <a:lnTo>
                    <a:pt x="1194" y="714"/>
                  </a:lnTo>
                  <a:lnTo>
                    <a:pt x="1188" y="708"/>
                  </a:lnTo>
                  <a:lnTo>
                    <a:pt x="1182" y="708"/>
                  </a:lnTo>
                  <a:lnTo>
                    <a:pt x="1176" y="696"/>
                  </a:lnTo>
                  <a:lnTo>
                    <a:pt x="1164" y="690"/>
                  </a:lnTo>
                  <a:lnTo>
                    <a:pt x="1158" y="690"/>
                  </a:lnTo>
                  <a:lnTo>
                    <a:pt x="1146" y="684"/>
                  </a:lnTo>
                  <a:lnTo>
                    <a:pt x="1140" y="684"/>
                  </a:lnTo>
                  <a:lnTo>
                    <a:pt x="1134" y="678"/>
                  </a:lnTo>
                  <a:lnTo>
                    <a:pt x="1038" y="678"/>
                  </a:lnTo>
                  <a:lnTo>
                    <a:pt x="1014" y="672"/>
                  </a:lnTo>
                  <a:lnTo>
                    <a:pt x="996" y="666"/>
                  </a:lnTo>
                  <a:lnTo>
                    <a:pt x="990" y="666"/>
                  </a:lnTo>
                  <a:lnTo>
                    <a:pt x="978" y="660"/>
                  </a:lnTo>
                  <a:lnTo>
                    <a:pt x="966" y="660"/>
                  </a:lnTo>
                  <a:lnTo>
                    <a:pt x="954" y="654"/>
                  </a:lnTo>
                  <a:lnTo>
                    <a:pt x="948" y="648"/>
                  </a:lnTo>
                  <a:lnTo>
                    <a:pt x="942" y="636"/>
                  </a:lnTo>
                  <a:lnTo>
                    <a:pt x="936" y="618"/>
                  </a:lnTo>
                  <a:lnTo>
                    <a:pt x="936" y="606"/>
                  </a:lnTo>
                  <a:lnTo>
                    <a:pt x="948" y="594"/>
                  </a:lnTo>
                  <a:lnTo>
                    <a:pt x="948" y="588"/>
                  </a:lnTo>
                  <a:lnTo>
                    <a:pt x="942" y="582"/>
                  </a:lnTo>
                  <a:lnTo>
                    <a:pt x="936" y="570"/>
                  </a:lnTo>
                  <a:lnTo>
                    <a:pt x="930" y="564"/>
                  </a:lnTo>
                  <a:lnTo>
                    <a:pt x="930" y="552"/>
                  </a:lnTo>
                  <a:lnTo>
                    <a:pt x="924" y="540"/>
                  </a:lnTo>
                  <a:lnTo>
                    <a:pt x="912" y="528"/>
                  </a:lnTo>
                  <a:lnTo>
                    <a:pt x="888" y="510"/>
                  </a:lnTo>
                  <a:lnTo>
                    <a:pt x="876" y="492"/>
                  </a:lnTo>
                  <a:lnTo>
                    <a:pt x="870" y="480"/>
                  </a:lnTo>
                  <a:lnTo>
                    <a:pt x="852" y="462"/>
                  </a:lnTo>
                  <a:lnTo>
                    <a:pt x="834" y="456"/>
                  </a:lnTo>
                  <a:lnTo>
                    <a:pt x="822" y="450"/>
                  </a:lnTo>
                  <a:lnTo>
                    <a:pt x="810" y="450"/>
                  </a:lnTo>
                  <a:lnTo>
                    <a:pt x="804" y="444"/>
                  </a:lnTo>
                  <a:lnTo>
                    <a:pt x="786" y="432"/>
                  </a:lnTo>
                  <a:lnTo>
                    <a:pt x="750" y="444"/>
                  </a:lnTo>
                  <a:lnTo>
                    <a:pt x="726" y="420"/>
                  </a:lnTo>
                  <a:lnTo>
                    <a:pt x="720" y="408"/>
                  </a:lnTo>
                  <a:lnTo>
                    <a:pt x="708" y="408"/>
                  </a:lnTo>
                  <a:lnTo>
                    <a:pt x="696" y="402"/>
                  </a:lnTo>
                  <a:lnTo>
                    <a:pt x="684" y="402"/>
                  </a:lnTo>
                  <a:lnTo>
                    <a:pt x="672" y="396"/>
                  </a:lnTo>
                  <a:lnTo>
                    <a:pt x="672" y="378"/>
                  </a:lnTo>
                  <a:lnTo>
                    <a:pt x="648" y="378"/>
                  </a:lnTo>
                  <a:lnTo>
                    <a:pt x="654" y="372"/>
                  </a:lnTo>
                  <a:lnTo>
                    <a:pt x="654" y="360"/>
                  </a:lnTo>
                  <a:lnTo>
                    <a:pt x="648" y="354"/>
                  </a:lnTo>
                  <a:lnTo>
                    <a:pt x="612" y="354"/>
                  </a:lnTo>
                  <a:lnTo>
                    <a:pt x="600" y="348"/>
                  </a:lnTo>
                  <a:lnTo>
                    <a:pt x="582" y="348"/>
                  </a:lnTo>
                  <a:lnTo>
                    <a:pt x="576" y="354"/>
                  </a:lnTo>
                  <a:lnTo>
                    <a:pt x="576" y="360"/>
                  </a:lnTo>
                  <a:lnTo>
                    <a:pt x="594" y="378"/>
                  </a:lnTo>
                  <a:lnTo>
                    <a:pt x="594" y="390"/>
                  </a:lnTo>
                  <a:lnTo>
                    <a:pt x="588" y="396"/>
                  </a:lnTo>
                  <a:lnTo>
                    <a:pt x="546" y="396"/>
                  </a:lnTo>
                  <a:lnTo>
                    <a:pt x="534" y="408"/>
                  </a:lnTo>
                  <a:lnTo>
                    <a:pt x="534" y="426"/>
                  </a:lnTo>
                  <a:lnTo>
                    <a:pt x="546" y="450"/>
                  </a:lnTo>
                  <a:lnTo>
                    <a:pt x="558" y="462"/>
                  </a:lnTo>
                  <a:lnTo>
                    <a:pt x="570" y="486"/>
                  </a:lnTo>
                  <a:lnTo>
                    <a:pt x="570" y="504"/>
                  </a:lnTo>
                  <a:lnTo>
                    <a:pt x="564" y="510"/>
                  </a:lnTo>
                  <a:lnTo>
                    <a:pt x="546" y="510"/>
                  </a:lnTo>
                  <a:lnTo>
                    <a:pt x="528" y="528"/>
                  </a:lnTo>
                  <a:lnTo>
                    <a:pt x="516" y="516"/>
                  </a:lnTo>
                  <a:lnTo>
                    <a:pt x="468" y="516"/>
                  </a:lnTo>
                  <a:lnTo>
                    <a:pt x="444" y="504"/>
                  </a:lnTo>
                  <a:lnTo>
                    <a:pt x="432" y="504"/>
                  </a:lnTo>
                  <a:lnTo>
                    <a:pt x="420" y="498"/>
                  </a:lnTo>
                  <a:lnTo>
                    <a:pt x="408" y="498"/>
                  </a:lnTo>
                  <a:lnTo>
                    <a:pt x="408" y="636"/>
                  </a:lnTo>
                  <a:lnTo>
                    <a:pt x="414" y="636"/>
                  </a:lnTo>
                  <a:lnTo>
                    <a:pt x="420" y="642"/>
                  </a:lnTo>
                  <a:lnTo>
                    <a:pt x="426" y="642"/>
                  </a:lnTo>
                  <a:lnTo>
                    <a:pt x="432" y="648"/>
                  </a:lnTo>
                  <a:lnTo>
                    <a:pt x="432" y="660"/>
                  </a:lnTo>
                  <a:lnTo>
                    <a:pt x="426" y="666"/>
                  </a:lnTo>
                  <a:lnTo>
                    <a:pt x="420" y="666"/>
                  </a:lnTo>
                  <a:lnTo>
                    <a:pt x="408" y="654"/>
                  </a:lnTo>
                  <a:lnTo>
                    <a:pt x="390" y="666"/>
                  </a:lnTo>
                  <a:lnTo>
                    <a:pt x="384" y="660"/>
                  </a:lnTo>
                  <a:lnTo>
                    <a:pt x="378" y="648"/>
                  </a:lnTo>
                  <a:lnTo>
                    <a:pt x="372" y="642"/>
                  </a:lnTo>
                  <a:lnTo>
                    <a:pt x="360" y="642"/>
                  </a:lnTo>
                  <a:lnTo>
                    <a:pt x="324" y="660"/>
                  </a:lnTo>
                  <a:lnTo>
                    <a:pt x="312" y="660"/>
                  </a:lnTo>
                  <a:lnTo>
                    <a:pt x="300" y="666"/>
                  </a:lnTo>
                  <a:lnTo>
                    <a:pt x="288" y="666"/>
                  </a:lnTo>
                  <a:lnTo>
                    <a:pt x="276" y="672"/>
                  </a:lnTo>
                  <a:lnTo>
                    <a:pt x="270" y="678"/>
                  </a:lnTo>
                  <a:lnTo>
                    <a:pt x="270" y="684"/>
                  </a:lnTo>
                  <a:lnTo>
                    <a:pt x="276" y="690"/>
                  </a:lnTo>
                  <a:lnTo>
                    <a:pt x="288" y="696"/>
                  </a:lnTo>
                  <a:lnTo>
                    <a:pt x="306" y="696"/>
                  </a:lnTo>
                  <a:lnTo>
                    <a:pt x="306" y="726"/>
                  </a:lnTo>
                  <a:lnTo>
                    <a:pt x="318" y="750"/>
                  </a:lnTo>
                  <a:lnTo>
                    <a:pt x="360" y="792"/>
                  </a:lnTo>
                  <a:lnTo>
                    <a:pt x="366" y="804"/>
                  </a:lnTo>
                  <a:lnTo>
                    <a:pt x="378" y="810"/>
                  </a:lnTo>
                  <a:lnTo>
                    <a:pt x="378" y="822"/>
                  </a:lnTo>
                  <a:lnTo>
                    <a:pt x="360" y="822"/>
                  </a:lnTo>
                  <a:lnTo>
                    <a:pt x="354" y="828"/>
                  </a:lnTo>
                  <a:lnTo>
                    <a:pt x="354" y="834"/>
                  </a:lnTo>
                  <a:lnTo>
                    <a:pt x="372" y="852"/>
                  </a:lnTo>
                  <a:lnTo>
                    <a:pt x="348" y="852"/>
                  </a:lnTo>
                  <a:lnTo>
                    <a:pt x="348" y="864"/>
                  </a:lnTo>
                  <a:lnTo>
                    <a:pt x="354" y="870"/>
                  </a:lnTo>
                  <a:lnTo>
                    <a:pt x="354" y="882"/>
                  </a:lnTo>
                  <a:lnTo>
                    <a:pt x="372" y="900"/>
                  </a:lnTo>
                  <a:lnTo>
                    <a:pt x="372" y="912"/>
                  </a:lnTo>
                  <a:lnTo>
                    <a:pt x="366" y="918"/>
                  </a:lnTo>
                  <a:lnTo>
                    <a:pt x="342" y="918"/>
                  </a:lnTo>
                  <a:lnTo>
                    <a:pt x="294" y="936"/>
                  </a:lnTo>
                  <a:lnTo>
                    <a:pt x="282" y="948"/>
                  </a:lnTo>
                  <a:lnTo>
                    <a:pt x="270" y="954"/>
                  </a:lnTo>
                  <a:lnTo>
                    <a:pt x="264" y="960"/>
                  </a:lnTo>
                  <a:lnTo>
                    <a:pt x="264" y="978"/>
                  </a:lnTo>
                  <a:lnTo>
                    <a:pt x="258" y="990"/>
                  </a:lnTo>
                  <a:lnTo>
                    <a:pt x="252" y="996"/>
                  </a:lnTo>
                  <a:lnTo>
                    <a:pt x="234" y="996"/>
                  </a:lnTo>
                  <a:lnTo>
                    <a:pt x="216" y="990"/>
                  </a:lnTo>
                  <a:lnTo>
                    <a:pt x="186" y="990"/>
                  </a:lnTo>
                  <a:lnTo>
                    <a:pt x="168" y="1008"/>
                  </a:lnTo>
                  <a:lnTo>
                    <a:pt x="162" y="1020"/>
                  </a:lnTo>
                  <a:lnTo>
                    <a:pt x="162" y="1044"/>
                  </a:lnTo>
                  <a:lnTo>
                    <a:pt x="156" y="1050"/>
                  </a:lnTo>
                  <a:lnTo>
                    <a:pt x="126" y="1044"/>
                  </a:lnTo>
                  <a:lnTo>
                    <a:pt x="114" y="1050"/>
                  </a:lnTo>
                  <a:lnTo>
                    <a:pt x="108" y="1044"/>
                  </a:lnTo>
                  <a:lnTo>
                    <a:pt x="102" y="1032"/>
                  </a:lnTo>
                  <a:lnTo>
                    <a:pt x="96" y="1026"/>
                  </a:lnTo>
                  <a:lnTo>
                    <a:pt x="84" y="1026"/>
                  </a:lnTo>
                  <a:lnTo>
                    <a:pt x="72" y="1038"/>
                  </a:lnTo>
                  <a:lnTo>
                    <a:pt x="48" y="1038"/>
                  </a:lnTo>
                  <a:lnTo>
                    <a:pt x="48" y="1056"/>
                  </a:lnTo>
                  <a:lnTo>
                    <a:pt x="36" y="1062"/>
                  </a:lnTo>
                  <a:lnTo>
                    <a:pt x="30" y="1068"/>
                  </a:lnTo>
                  <a:lnTo>
                    <a:pt x="18" y="1068"/>
                  </a:lnTo>
                  <a:lnTo>
                    <a:pt x="6" y="1074"/>
                  </a:lnTo>
                  <a:lnTo>
                    <a:pt x="0" y="1080"/>
                  </a:lnTo>
                  <a:lnTo>
                    <a:pt x="0" y="1086"/>
                  </a:lnTo>
                  <a:lnTo>
                    <a:pt x="12" y="1092"/>
                  </a:lnTo>
                  <a:lnTo>
                    <a:pt x="18" y="1104"/>
                  </a:lnTo>
                  <a:lnTo>
                    <a:pt x="18" y="1116"/>
                  </a:lnTo>
                  <a:lnTo>
                    <a:pt x="0" y="1116"/>
                  </a:lnTo>
                  <a:lnTo>
                    <a:pt x="0" y="1140"/>
                  </a:lnTo>
                  <a:lnTo>
                    <a:pt x="18" y="1140"/>
                  </a:lnTo>
                  <a:lnTo>
                    <a:pt x="18" y="1152"/>
                  </a:lnTo>
                  <a:lnTo>
                    <a:pt x="12" y="1164"/>
                  </a:lnTo>
                  <a:lnTo>
                    <a:pt x="12" y="1176"/>
                  </a:lnTo>
                  <a:lnTo>
                    <a:pt x="24" y="1188"/>
                  </a:lnTo>
                  <a:lnTo>
                    <a:pt x="36" y="1188"/>
                  </a:lnTo>
                  <a:lnTo>
                    <a:pt x="42" y="1182"/>
                  </a:lnTo>
                  <a:lnTo>
                    <a:pt x="66" y="1182"/>
                  </a:lnTo>
                  <a:lnTo>
                    <a:pt x="78" y="1188"/>
                  </a:lnTo>
                  <a:lnTo>
                    <a:pt x="84" y="1188"/>
                  </a:lnTo>
                  <a:lnTo>
                    <a:pt x="96" y="1194"/>
                  </a:lnTo>
                  <a:lnTo>
                    <a:pt x="102" y="1200"/>
                  </a:lnTo>
                  <a:lnTo>
                    <a:pt x="102" y="1242"/>
                  </a:lnTo>
                  <a:lnTo>
                    <a:pt x="114" y="1266"/>
                  </a:lnTo>
                  <a:lnTo>
                    <a:pt x="120" y="1272"/>
                  </a:lnTo>
                  <a:lnTo>
                    <a:pt x="126" y="1272"/>
                  </a:lnTo>
                  <a:lnTo>
                    <a:pt x="138" y="1284"/>
                  </a:lnTo>
                  <a:lnTo>
                    <a:pt x="132" y="1290"/>
                  </a:lnTo>
                  <a:lnTo>
                    <a:pt x="102" y="1290"/>
                  </a:lnTo>
                  <a:lnTo>
                    <a:pt x="96" y="1296"/>
                  </a:lnTo>
                  <a:lnTo>
                    <a:pt x="96" y="1308"/>
                  </a:lnTo>
                  <a:lnTo>
                    <a:pt x="108" y="1314"/>
                  </a:lnTo>
                  <a:lnTo>
                    <a:pt x="114" y="1320"/>
                  </a:lnTo>
                  <a:lnTo>
                    <a:pt x="162" y="1320"/>
                  </a:lnTo>
                  <a:lnTo>
                    <a:pt x="168" y="1332"/>
                  </a:lnTo>
                  <a:lnTo>
                    <a:pt x="180" y="1332"/>
                  </a:lnTo>
                  <a:lnTo>
                    <a:pt x="192" y="1338"/>
                  </a:lnTo>
                  <a:lnTo>
                    <a:pt x="204" y="1350"/>
                  </a:lnTo>
                  <a:lnTo>
                    <a:pt x="216" y="1374"/>
                  </a:lnTo>
                  <a:lnTo>
                    <a:pt x="216" y="1398"/>
                  </a:lnTo>
                  <a:lnTo>
                    <a:pt x="252" y="1410"/>
                  </a:lnTo>
                  <a:lnTo>
                    <a:pt x="264" y="1404"/>
                  </a:lnTo>
                  <a:lnTo>
                    <a:pt x="264" y="1410"/>
                  </a:lnTo>
                  <a:lnTo>
                    <a:pt x="270" y="1416"/>
                  </a:lnTo>
                  <a:lnTo>
                    <a:pt x="276" y="1428"/>
                  </a:lnTo>
                  <a:lnTo>
                    <a:pt x="288" y="1434"/>
                  </a:lnTo>
                  <a:lnTo>
                    <a:pt x="366" y="1434"/>
                  </a:lnTo>
                  <a:lnTo>
                    <a:pt x="378" y="1428"/>
                  </a:lnTo>
                  <a:lnTo>
                    <a:pt x="384" y="1416"/>
                  </a:lnTo>
                  <a:lnTo>
                    <a:pt x="402" y="1410"/>
                  </a:lnTo>
                  <a:lnTo>
                    <a:pt x="426" y="1398"/>
                  </a:lnTo>
                  <a:lnTo>
                    <a:pt x="438" y="1398"/>
                  </a:lnTo>
                  <a:lnTo>
                    <a:pt x="456" y="1410"/>
                  </a:lnTo>
                  <a:lnTo>
                    <a:pt x="480" y="1434"/>
                  </a:lnTo>
                  <a:lnTo>
                    <a:pt x="522" y="1434"/>
                  </a:lnTo>
                  <a:lnTo>
                    <a:pt x="522" y="1494"/>
                  </a:lnTo>
                  <a:lnTo>
                    <a:pt x="516" y="1500"/>
                  </a:lnTo>
                  <a:lnTo>
                    <a:pt x="498" y="1500"/>
                  </a:lnTo>
                  <a:lnTo>
                    <a:pt x="498" y="1506"/>
                  </a:lnTo>
                  <a:lnTo>
                    <a:pt x="504" y="1512"/>
                  </a:lnTo>
                  <a:lnTo>
                    <a:pt x="504" y="1536"/>
                  </a:lnTo>
                  <a:lnTo>
                    <a:pt x="498" y="1548"/>
                  </a:lnTo>
                  <a:lnTo>
                    <a:pt x="486" y="1554"/>
                  </a:lnTo>
                  <a:lnTo>
                    <a:pt x="456" y="1554"/>
                  </a:lnTo>
                  <a:lnTo>
                    <a:pt x="474" y="1578"/>
                  </a:lnTo>
                  <a:lnTo>
                    <a:pt x="456" y="1584"/>
                  </a:lnTo>
                  <a:lnTo>
                    <a:pt x="456" y="1608"/>
                  </a:lnTo>
                  <a:lnTo>
                    <a:pt x="480" y="1620"/>
                  </a:lnTo>
                  <a:lnTo>
                    <a:pt x="492" y="1620"/>
                  </a:lnTo>
                  <a:lnTo>
                    <a:pt x="498" y="1626"/>
                  </a:lnTo>
                  <a:lnTo>
                    <a:pt x="504" y="1638"/>
                  </a:lnTo>
                  <a:lnTo>
                    <a:pt x="522" y="1656"/>
                  </a:lnTo>
                  <a:lnTo>
                    <a:pt x="522" y="1668"/>
                  </a:lnTo>
                  <a:lnTo>
                    <a:pt x="510" y="1674"/>
                  </a:lnTo>
                  <a:lnTo>
                    <a:pt x="504" y="1680"/>
                  </a:lnTo>
                  <a:lnTo>
                    <a:pt x="498" y="1680"/>
                  </a:lnTo>
                  <a:lnTo>
                    <a:pt x="486" y="1698"/>
                  </a:lnTo>
                  <a:lnTo>
                    <a:pt x="474" y="1686"/>
                  </a:lnTo>
                  <a:lnTo>
                    <a:pt x="474" y="1668"/>
                  </a:lnTo>
                  <a:lnTo>
                    <a:pt x="462" y="1668"/>
                  </a:lnTo>
                  <a:lnTo>
                    <a:pt x="456" y="1674"/>
                  </a:lnTo>
                  <a:lnTo>
                    <a:pt x="450" y="1674"/>
                  </a:lnTo>
                  <a:lnTo>
                    <a:pt x="450" y="1692"/>
                  </a:lnTo>
                  <a:lnTo>
                    <a:pt x="456" y="1698"/>
                  </a:lnTo>
                  <a:lnTo>
                    <a:pt x="462" y="1710"/>
                  </a:lnTo>
                  <a:lnTo>
                    <a:pt x="474" y="1722"/>
                  </a:lnTo>
                  <a:lnTo>
                    <a:pt x="480" y="1722"/>
                  </a:lnTo>
                  <a:lnTo>
                    <a:pt x="480" y="1734"/>
                  </a:lnTo>
                  <a:lnTo>
                    <a:pt x="474" y="1740"/>
                  </a:lnTo>
                  <a:lnTo>
                    <a:pt x="474" y="1758"/>
                  </a:lnTo>
                  <a:lnTo>
                    <a:pt x="480" y="1764"/>
                  </a:lnTo>
                  <a:lnTo>
                    <a:pt x="510" y="1764"/>
                  </a:lnTo>
                  <a:lnTo>
                    <a:pt x="516" y="1776"/>
                  </a:lnTo>
                  <a:lnTo>
                    <a:pt x="528" y="1788"/>
                  </a:lnTo>
                  <a:lnTo>
                    <a:pt x="540" y="1794"/>
                  </a:lnTo>
                  <a:lnTo>
                    <a:pt x="552" y="1794"/>
                  </a:lnTo>
                  <a:lnTo>
                    <a:pt x="558" y="1800"/>
                  </a:lnTo>
                  <a:lnTo>
                    <a:pt x="564" y="1800"/>
                  </a:lnTo>
                  <a:lnTo>
                    <a:pt x="582" y="1818"/>
                  </a:lnTo>
                  <a:lnTo>
                    <a:pt x="600" y="1812"/>
                  </a:lnTo>
                  <a:lnTo>
                    <a:pt x="600" y="1830"/>
                  </a:lnTo>
                  <a:lnTo>
                    <a:pt x="612" y="1836"/>
                  </a:lnTo>
                  <a:lnTo>
                    <a:pt x="624" y="1836"/>
                  </a:lnTo>
                  <a:lnTo>
                    <a:pt x="666" y="1872"/>
                  </a:lnTo>
                  <a:lnTo>
                    <a:pt x="690" y="1854"/>
                  </a:lnTo>
                  <a:lnTo>
                    <a:pt x="696" y="1848"/>
                  </a:lnTo>
                  <a:lnTo>
                    <a:pt x="708" y="1842"/>
                  </a:lnTo>
                  <a:lnTo>
                    <a:pt x="720" y="1842"/>
                  </a:lnTo>
                  <a:lnTo>
                    <a:pt x="732" y="1848"/>
                  </a:lnTo>
                  <a:lnTo>
                    <a:pt x="744" y="1860"/>
                  </a:lnTo>
                  <a:lnTo>
                    <a:pt x="750" y="1872"/>
                  </a:lnTo>
                  <a:lnTo>
                    <a:pt x="762" y="1878"/>
                  </a:lnTo>
                  <a:lnTo>
                    <a:pt x="780" y="1896"/>
                  </a:lnTo>
                  <a:lnTo>
                    <a:pt x="822" y="1902"/>
                  </a:lnTo>
                  <a:lnTo>
                    <a:pt x="828" y="1914"/>
                  </a:lnTo>
                  <a:lnTo>
                    <a:pt x="834" y="1920"/>
                  </a:lnTo>
                  <a:lnTo>
                    <a:pt x="840" y="1932"/>
                  </a:lnTo>
                  <a:lnTo>
                    <a:pt x="846" y="1938"/>
                  </a:lnTo>
                  <a:lnTo>
                    <a:pt x="846" y="1950"/>
                  </a:lnTo>
                  <a:lnTo>
                    <a:pt x="858" y="1950"/>
                  </a:lnTo>
                  <a:lnTo>
                    <a:pt x="858" y="1944"/>
                  </a:lnTo>
                  <a:lnTo>
                    <a:pt x="864" y="1938"/>
                  </a:lnTo>
                  <a:lnTo>
                    <a:pt x="870" y="1926"/>
                  </a:lnTo>
                  <a:lnTo>
                    <a:pt x="882" y="1926"/>
                  </a:lnTo>
                  <a:lnTo>
                    <a:pt x="888" y="1932"/>
                  </a:lnTo>
                  <a:lnTo>
                    <a:pt x="894" y="1944"/>
                  </a:lnTo>
                  <a:lnTo>
                    <a:pt x="894" y="1962"/>
                  </a:lnTo>
                  <a:lnTo>
                    <a:pt x="924" y="1992"/>
                  </a:lnTo>
                  <a:lnTo>
                    <a:pt x="936" y="1998"/>
                  </a:lnTo>
                  <a:lnTo>
                    <a:pt x="942" y="1992"/>
                  </a:lnTo>
                  <a:lnTo>
                    <a:pt x="954" y="1986"/>
                  </a:lnTo>
                  <a:lnTo>
                    <a:pt x="960" y="1986"/>
                  </a:lnTo>
                  <a:lnTo>
                    <a:pt x="966" y="1992"/>
                  </a:lnTo>
                  <a:lnTo>
                    <a:pt x="966" y="1998"/>
                  </a:lnTo>
                  <a:lnTo>
                    <a:pt x="960" y="2004"/>
                  </a:lnTo>
                  <a:lnTo>
                    <a:pt x="960" y="2010"/>
                  </a:lnTo>
                  <a:lnTo>
                    <a:pt x="966" y="2010"/>
                  </a:lnTo>
                  <a:lnTo>
                    <a:pt x="972" y="2016"/>
                  </a:lnTo>
                  <a:lnTo>
                    <a:pt x="990" y="2022"/>
                  </a:lnTo>
                  <a:lnTo>
                    <a:pt x="1002" y="2022"/>
                  </a:lnTo>
                  <a:lnTo>
                    <a:pt x="1008" y="2016"/>
                  </a:lnTo>
                  <a:lnTo>
                    <a:pt x="1014" y="2016"/>
                  </a:lnTo>
                  <a:lnTo>
                    <a:pt x="1014" y="2034"/>
                  </a:lnTo>
                  <a:lnTo>
                    <a:pt x="1020" y="2040"/>
                  </a:lnTo>
                  <a:lnTo>
                    <a:pt x="1032" y="2040"/>
                  </a:lnTo>
                  <a:lnTo>
                    <a:pt x="1044" y="2028"/>
                  </a:lnTo>
                  <a:lnTo>
                    <a:pt x="1044" y="2022"/>
                  </a:lnTo>
                  <a:lnTo>
                    <a:pt x="1044" y="2034"/>
                  </a:lnTo>
                  <a:lnTo>
                    <a:pt x="1050" y="2040"/>
                  </a:lnTo>
                  <a:lnTo>
                    <a:pt x="1068" y="2040"/>
                  </a:lnTo>
                  <a:lnTo>
                    <a:pt x="1074" y="2034"/>
                  </a:lnTo>
                  <a:lnTo>
                    <a:pt x="1074" y="2028"/>
                  </a:lnTo>
                  <a:lnTo>
                    <a:pt x="1086" y="2034"/>
                  </a:lnTo>
                  <a:lnTo>
                    <a:pt x="1092" y="2040"/>
                  </a:lnTo>
                  <a:lnTo>
                    <a:pt x="1110" y="2046"/>
                  </a:lnTo>
                  <a:lnTo>
                    <a:pt x="1134" y="2058"/>
                  </a:lnTo>
                  <a:lnTo>
                    <a:pt x="1158" y="2058"/>
                  </a:lnTo>
                  <a:lnTo>
                    <a:pt x="1176" y="2040"/>
                  </a:lnTo>
                  <a:lnTo>
                    <a:pt x="1194" y="2034"/>
                  </a:lnTo>
                  <a:lnTo>
                    <a:pt x="1206" y="2028"/>
                  </a:lnTo>
                  <a:lnTo>
                    <a:pt x="1212" y="2028"/>
                  </a:lnTo>
                  <a:lnTo>
                    <a:pt x="1224" y="2034"/>
                  </a:lnTo>
                  <a:lnTo>
                    <a:pt x="1230" y="2040"/>
                  </a:lnTo>
                  <a:lnTo>
                    <a:pt x="1230" y="2088"/>
                  </a:lnTo>
                  <a:lnTo>
                    <a:pt x="1236" y="2094"/>
                  </a:lnTo>
                  <a:lnTo>
                    <a:pt x="1242" y="2094"/>
                  </a:lnTo>
                  <a:lnTo>
                    <a:pt x="1242" y="2088"/>
                  </a:lnTo>
                  <a:lnTo>
                    <a:pt x="1248" y="2082"/>
                  </a:lnTo>
                  <a:lnTo>
                    <a:pt x="1254" y="2070"/>
                  </a:lnTo>
                  <a:lnTo>
                    <a:pt x="1266" y="2052"/>
                  </a:lnTo>
                  <a:lnTo>
                    <a:pt x="1272" y="2040"/>
                  </a:lnTo>
                  <a:lnTo>
                    <a:pt x="1284" y="2028"/>
                  </a:lnTo>
                  <a:lnTo>
                    <a:pt x="1290" y="2016"/>
                  </a:lnTo>
                  <a:lnTo>
                    <a:pt x="1302" y="2016"/>
                  </a:lnTo>
                  <a:lnTo>
                    <a:pt x="1314" y="2022"/>
                  </a:lnTo>
                  <a:lnTo>
                    <a:pt x="1338" y="2022"/>
                  </a:lnTo>
                  <a:lnTo>
                    <a:pt x="1338" y="2046"/>
                  </a:lnTo>
                  <a:lnTo>
                    <a:pt x="1344" y="2046"/>
                  </a:lnTo>
                  <a:lnTo>
                    <a:pt x="1350" y="2040"/>
                  </a:lnTo>
                  <a:lnTo>
                    <a:pt x="1362" y="2034"/>
                  </a:lnTo>
                  <a:lnTo>
                    <a:pt x="1374" y="2034"/>
                  </a:lnTo>
                  <a:lnTo>
                    <a:pt x="1386" y="2028"/>
                  </a:lnTo>
                  <a:lnTo>
                    <a:pt x="1398" y="2028"/>
                  </a:lnTo>
                  <a:lnTo>
                    <a:pt x="1410" y="2034"/>
                  </a:lnTo>
                  <a:lnTo>
                    <a:pt x="1422" y="2046"/>
                  </a:lnTo>
                  <a:lnTo>
                    <a:pt x="1428" y="2058"/>
                  </a:lnTo>
                  <a:lnTo>
                    <a:pt x="1428" y="2064"/>
                  </a:lnTo>
                  <a:lnTo>
                    <a:pt x="1482" y="2064"/>
                  </a:lnTo>
                  <a:lnTo>
                    <a:pt x="1494" y="2052"/>
                  </a:lnTo>
                  <a:lnTo>
                    <a:pt x="1494" y="2034"/>
                  </a:lnTo>
                  <a:lnTo>
                    <a:pt x="1488" y="2022"/>
                  </a:lnTo>
                  <a:lnTo>
                    <a:pt x="1518" y="2022"/>
                  </a:lnTo>
                  <a:lnTo>
                    <a:pt x="1524" y="2016"/>
                  </a:lnTo>
                  <a:lnTo>
                    <a:pt x="1524" y="1992"/>
                  </a:lnTo>
                  <a:lnTo>
                    <a:pt x="1518" y="1986"/>
                  </a:lnTo>
                  <a:lnTo>
                    <a:pt x="1518" y="1980"/>
                  </a:lnTo>
                  <a:lnTo>
                    <a:pt x="1554" y="1980"/>
                  </a:lnTo>
                  <a:lnTo>
                    <a:pt x="1578" y="1956"/>
                  </a:lnTo>
                  <a:lnTo>
                    <a:pt x="1590" y="1950"/>
                  </a:lnTo>
                  <a:lnTo>
                    <a:pt x="1602" y="1938"/>
                  </a:lnTo>
                  <a:lnTo>
                    <a:pt x="1620" y="1938"/>
                  </a:lnTo>
                  <a:lnTo>
                    <a:pt x="1632" y="1944"/>
                  </a:lnTo>
                  <a:lnTo>
                    <a:pt x="1650" y="1956"/>
                  </a:lnTo>
                  <a:lnTo>
                    <a:pt x="1668" y="1956"/>
                  </a:lnTo>
                  <a:lnTo>
                    <a:pt x="1668" y="1932"/>
                  </a:lnTo>
                  <a:lnTo>
                    <a:pt x="1680" y="1920"/>
                  </a:lnTo>
                  <a:lnTo>
                    <a:pt x="1716" y="1938"/>
                  </a:lnTo>
                  <a:lnTo>
                    <a:pt x="1722" y="1944"/>
                  </a:lnTo>
                  <a:lnTo>
                    <a:pt x="1710" y="1956"/>
                  </a:lnTo>
                  <a:lnTo>
                    <a:pt x="1704" y="1956"/>
                  </a:lnTo>
                  <a:lnTo>
                    <a:pt x="1710" y="1962"/>
                  </a:lnTo>
                  <a:lnTo>
                    <a:pt x="1740" y="1962"/>
                  </a:lnTo>
                  <a:lnTo>
                    <a:pt x="1758" y="1992"/>
                  </a:lnTo>
                  <a:lnTo>
                    <a:pt x="1752" y="1992"/>
                  </a:lnTo>
                  <a:lnTo>
                    <a:pt x="1740" y="2004"/>
                  </a:lnTo>
                  <a:lnTo>
                    <a:pt x="1740" y="2010"/>
                  </a:lnTo>
                  <a:lnTo>
                    <a:pt x="1806" y="2010"/>
                  </a:lnTo>
                  <a:lnTo>
                    <a:pt x="1812" y="2016"/>
                  </a:lnTo>
                  <a:lnTo>
                    <a:pt x="1818" y="2016"/>
                  </a:lnTo>
                  <a:lnTo>
                    <a:pt x="1824" y="1998"/>
                  </a:lnTo>
                  <a:lnTo>
                    <a:pt x="1830" y="1998"/>
                  </a:lnTo>
                  <a:lnTo>
                    <a:pt x="1836" y="2004"/>
                  </a:lnTo>
                  <a:lnTo>
                    <a:pt x="1842" y="2016"/>
                  </a:lnTo>
                  <a:lnTo>
                    <a:pt x="1854" y="2022"/>
                  </a:lnTo>
                  <a:lnTo>
                    <a:pt x="1872" y="2058"/>
                  </a:lnTo>
                  <a:lnTo>
                    <a:pt x="1878" y="2064"/>
                  </a:lnTo>
                  <a:lnTo>
                    <a:pt x="1878" y="2070"/>
                  </a:lnTo>
                  <a:lnTo>
                    <a:pt x="1914" y="2070"/>
                  </a:lnTo>
                  <a:lnTo>
                    <a:pt x="1920" y="2076"/>
                  </a:lnTo>
                  <a:lnTo>
                    <a:pt x="1920" y="2106"/>
                  </a:lnTo>
                  <a:lnTo>
                    <a:pt x="1932" y="2130"/>
                  </a:lnTo>
                  <a:lnTo>
                    <a:pt x="1944" y="2190"/>
                  </a:lnTo>
                  <a:lnTo>
                    <a:pt x="1932" y="2190"/>
                  </a:lnTo>
                  <a:lnTo>
                    <a:pt x="1926" y="2196"/>
                  </a:lnTo>
                  <a:lnTo>
                    <a:pt x="1914" y="2196"/>
                  </a:lnTo>
                  <a:lnTo>
                    <a:pt x="1932" y="2214"/>
                  </a:lnTo>
                  <a:lnTo>
                    <a:pt x="1932" y="2220"/>
                  </a:lnTo>
                  <a:lnTo>
                    <a:pt x="1926" y="2232"/>
                  </a:lnTo>
                  <a:lnTo>
                    <a:pt x="1920" y="2238"/>
                  </a:lnTo>
                  <a:lnTo>
                    <a:pt x="1908" y="2238"/>
                  </a:lnTo>
                  <a:lnTo>
                    <a:pt x="1902" y="2232"/>
                  </a:lnTo>
                  <a:lnTo>
                    <a:pt x="1902" y="2268"/>
                  </a:lnTo>
                  <a:lnTo>
                    <a:pt x="1896" y="2274"/>
                  </a:lnTo>
                  <a:lnTo>
                    <a:pt x="1884" y="2274"/>
                  </a:lnTo>
                  <a:lnTo>
                    <a:pt x="1890" y="2304"/>
                  </a:lnTo>
                  <a:lnTo>
                    <a:pt x="1878" y="2304"/>
                  </a:lnTo>
                  <a:lnTo>
                    <a:pt x="1878" y="2322"/>
                  </a:lnTo>
                  <a:lnTo>
                    <a:pt x="1896" y="2340"/>
                  </a:lnTo>
                  <a:lnTo>
                    <a:pt x="1902" y="2352"/>
                  </a:lnTo>
                  <a:lnTo>
                    <a:pt x="1890" y="2370"/>
                  </a:lnTo>
                  <a:lnTo>
                    <a:pt x="1902" y="2364"/>
                  </a:lnTo>
                  <a:lnTo>
                    <a:pt x="1908" y="2358"/>
                  </a:lnTo>
                  <a:lnTo>
                    <a:pt x="1920" y="2358"/>
                  </a:lnTo>
                  <a:lnTo>
                    <a:pt x="1926" y="2352"/>
                  </a:lnTo>
                  <a:lnTo>
                    <a:pt x="1986" y="2352"/>
                  </a:lnTo>
                  <a:lnTo>
                    <a:pt x="1956" y="2376"/>
                  </a:lnTo>
                  <a:lnTo>
                    <a:pt x="1980" y="2394"/>
                  </a:lnTo>
                  <a:lnTo>
                    <a:pt x="1992" y="2436"/>
                  </a:lnTo>
                  <a:lnTo>
                    <a:pt x="2022" y="2436"/>
                  </a:lnTo>
                  <a:lnTo>
                    <a:pt x="2034" y="2442"/>
                  </a:lnTo>
                  <a:lnTo>
                    <a:pt x="2040" y="2448"/>
                  </a:lnTo>
                  <a:lnTo>
                    <a:pt x="2040" y="2454"/>
                  </a:lnTo>
                  <a:lnTo>
                    <a:pt x="2034" y="2460"/>
                  </a:lnTo>
                  <a:lnTo>
                    <a:pt x="2022" y="2460"/>
                  </a:lnTo>
                  <a:lnTo>
                    <a:pt x="2016" y="2466"/>
                  </a:lnTo>
                  <a:lnTo>
                    <a:pt x="2028" y="2478"/>
                  </a:lnTo>
                  <a:lnTo>
                    <a:pt x="2028" y="2490"/>
                  </a:lnTo>
                  <a:lnTo>
                    <a:pt x="2022" y="2496"/>
                  </a:lnTo>
                  <a:lnTo>
                    <a:pt x="2022" y="2502"/>
                  </a:lnTo>
                  <a:lnTo>
                    <a:pt x="2016" y="2514"/>
                  </a:lnTo>
                  <a:lnTo>
                    <a:pt x="2070" y="2520"/>
                  </a:lnTo>
                  <a:lnTo>
                    <a:pt x="2082" y="2550"/>
                  </a:lnTo>
                  <a:lnTo>
                    <a:pt x="2094" y="2550"/>
                  </a:lnTo>
                  <a:lnTo>
                    <a:pt x="2094" y="2568"/>
                  </a:lnTo>
                  <a:lnTo>
                    <a:pt x="2136" y="2568"/>
                  </a:lnTo>
                  <a:lnTo>
                    <a:pt x="2136" y="2562"/>
                  </a:lnTo>
                  <a:lnTo>
                    <a:pt x="2154" y="2544"/>
                  </a:lnTo>
                  <a:lnTo>
                    <a:pt x="2166" y="2544"/>
                  </a:lnTo>
                  <a:lnTo>
                    <a:pt x="2172" y="2550"/>
                  </a:lnTo>
                  <a:lnTo>
                    <a:pt x="2172" y="2592"/>
                  </a:lnTo>
                  <a:lnTo>
                    <a:pt x="2214" y="2592"/>
                  </a:lnTo>
                  <a:lnTo>
                    <a:pt x="2214" y="2556"/>
                  </a:lnTo>
                  <a:lnTo>
                    <a:pt x="2190" y="2532"/>
                  </a:lnTo>
                  <a:lnTo>
                    <a:pt x="2190" y="2490"/>
                  </a:lnTo>
                  <a:lnTo>
                    <a:pt x="2196" y="2484"/>
                  </a:lnTo>
                  <a:lnTo>
                    <a:pt x="2232" y="2490"/>
                  </a:lnTo>
                  <a:lnTo>
                    <a:pt x="2232" y="2472"/>
                  </a:lnTo>
                  <a:lnTo>
                    <a:pt x="2238" y="2460"/>
                  </a:lnTo>
                  <a:lnTo>
                    <a:pt x="2250" y="2460"/>
                  </a:lnTo>
                  <a:lnTo>
                    <a:pt x="2274" y="2484"/>
                  </a:lnTo>
                  <a:lnTo>
                    <a:pt x="2286" y="2484"/>
                  </a:lnTo>
                  <a:lnTo>
                    <a:pt x="2292" y="2478"/>
                  </a:lnTo>
                  <a:lnTo>
                    <a:pt x="2298" y="2466"/>
                  </a:lnTo>
                  <a:lnTo>
                    <a:pt x="2304" y="2460"/>
                  </a:lnTo>
                  <a:lnTo>
                    <a:pt x="2322" y="2478"/>
                  </a:lnTo>
                  <a:lnTo>
                    <a:pt x="2322" y="2460"/>
                  </a:lnTo>
                  <a:lnTo>
                    <a:pt x="2328" y="2460"/>
                  </a:lnTo>
                  <a:lnTo>
                    <a:pt x="2340" y="2478"/>
                  </a:lnTo>
                  <a:lnTo>
                    <a:pt x="2346" y="2484"/>
                  </a:lnTo>
                  <a:lnTo>
                    <a:pt x="2364" y="2484"/>
                  </a:lnTo>
                  <a:lnTo>
                    <a:pt x="2364" y="2472"/>
                  </a:lnTo>
                  <a:lnTo>
                    <a:pt x="2352" y="2460"/>
                  </a:lnTo>
                  <a:lnTo>
                    <a:pt x="2370" y="2460"/>
                  </a:lnTo>
                  <a:lnTo>
                    <a:pt x="2376" y="2466"/>
                  </a:lnTo>
                  <a:lnTo>
                    <a:pt x="2382" y="2460"/>
                  </a:lnTo>
                  <a:lnTo>
                    <a:pt x="2400" y="2460"/>
                  </a:lnTo>
                  <a:lnTo>
                    <a:pt x="2400" y="2454"/>
                  </a:lnTo>
                  <a:lnTo>
                    <a:pt x="2406" y="2442"/>
                  </a:lnTo>
                  <a:lnTo>
                    <a:pt x="2406" y="2430"/>
                  </a:lnTo>
                  <a:lnTo>
                    <a:pt x="2412" y="2424"/>
                  </a:lnTo>
                  <a:lnTo>
                    <a:pt x="2424" y="2418"/>
                  </a:lnTo>
                  <a:lnTo>
                    <a:pt x="2430" y="2412"/>
                  </a:lnTo>
                  <a:lnTo>
                    <a:pt x="2436" y="2412"/>
                  </a:lnTo>
                  <a:lnTo>
                    <a:pt x="2466" y="2448"/>
                  </a:lnTo>
                  <a:lnTo>
                    <a:pt x="2496" y="2442"/>
                  </a:lnTo>
                  <a:lnTo>
                    <a:pt x="2508" y="2454"/>
                  </a:lnTo>
                  <a:lnTo>
                    <a:pt x="2538" y="2454"/>
                  </a:lnTo>
                  <a:lnTo>
                    <a:pt x="2544" y="2460"/>
                  </a:lnTo>
                  <a:lnTo>
                    <a:pt x="2544" y="2466"/>
                  </a:lnTo>
                  <a:lnTo>
                    <a:pt x="2526" y="2484"/>
                  </a:lnTo>
                  <a:lnTo>
                    <a:pt x="2532" y="2502"/>
                  </a:lnTo>
                  <a:lnTo>
                    <a:pt x="2544" y="2508"/>
                  </a:lnTo>
                  <a:lnTo>
                    <a:pt x="2544" y="2526"/>
                  </a:lnTo>
                  <a:lnTo>
                    <a:pt x="2562" y="2526"/>
                  </a:lnTo>
                  <a:lnTo>
                    <a:pt x="2568" y="2532"/>
                  </a:lnTo>
                  <a:lnTo>
                    <a:pt x="2574" y="2544"/>
                  </a:lnTo>
                  <a:lnTo>
                    <a:pt x="2586" y="2550"/>
                  </a:lnTo>
                  <a:lnTo>
                    <a:pt x="2616" y="2550"/>
                  </a:lnTo>
                  <a:lnTo>
                    <a:pt x="2622" y="2556"/>
                  </a:lnTo>
                  <a:lnTo>
                    <a:pt x="2628" y="2556"/>
                  </a:lnTo>
                  <a:lnTo>
                    <a:pt x="2676" y="2526"/>
                  </a:lnTo>
                  <a:lnTo>
                    <a:pt x="2694" y="2538"/>
                  </a:lnTo>
                  <a:lnTo>
                    <a:pt x="2718" y="2538"/>
                  </a:lnTo>
                  <a:lnTo>
                    <a:pt x="2736" y="2544"/>
                  </a:lnTo>
                  <a:lnTo>
                    <a:pt x="2748" y="2544"/>
                  </a:lnTo>
                  <a:lnTo>
                    <a:pt x="2760" y="2550"/>
                  </a:lnTo>
                  <a:lnTo>
                    <a:pt x="2766" y="2556"/>
                  </a:lnTo>
                  <a:lnTo>
                    <a:pt x="2772" y="2568"/>
                  </a:lnTo>
                  <a:lnTo>
                    <a:pt x="2766" y="2580"/>
                  </a:lnTo>
                  <a:lnTo>
                    <a:pt x="2766" y="2604"/>
                  </a:lnTo>
                  <a:lnTo>
                    <a:pt x="2760" y="2616"/>
                  </a:lnTo>
                  <a:lnTo>
                    <a:pt x="2766" y="2628"/>
                  </a:lnTo>
                  <a:lnTo>
                    <a:pt x="2772" y="2634"/>
                  </a:lnTo>
                  <a:lnTo>
                    <a:pt x="2784" y="2640"/>
                  </a:lnTo>
                  <a:lnTo>
                    <a:pt x="2790" y="2652"/>
                  </a:lnTo>
                  <a:lnTo>
                    <a:pt x="2802" y="2658"/>
                  </a:lnTo>
                  <a:lnTo>
                    <a:pt x="2808" y="2664"/>
                  </a:lnTo>
                  <a:lnTo>
                    <a:pt x="2826" y="2664"/>
                  </a:lnTo>
                  <a:lnTo>
                    <a:pt x="2832" y="2640"/>
                  </a:lnTo>
                  <a:lnTo>
                    <a:pt x="2832" y="2634"/>
                  </a:lnTo>
                  <a:lnTo>
                    <a:pt x="2826" y="2628"/>
                  </a:lnTo>
                  <a:lnTo>
                    <a:pt x="2826" y="2586"/>
                  </a:lnTo>
                  <a:lnTo>
                    <a:pt x="2832" y="2568"/>
                  </a:lnTo>
                  <a:lnTo>
                    <a:pt x="2844" y="2556"/>
                  </a:lnTo>
                  <a:lnTo>
                    <a:pt x="2856" y="2550"/>
                  </a:lnTo>
                  <a:lnTo>
                    <a:pt x="2886" y="2550"/>
                  </a:lnTo>
                  <a:lnTo>
                    <a:pt x="2898" y="2544"/>
                  </a:lnTo>
                  <a:lnTo>
                    <a:pt x="2910" y="2544"/>
                  </a:lnTo>
                  <a:lnTo>
                    <a:pt x="2922" y="2538"/>
                  </a:lnTo>
                  <a:lnTo>
                    <a:pt x="2940" y="2538"/>
                  </a:lnTo>
                  <a:lnTo>
                    <a:pt x="2964" y="2532"/>
                  </a:lnTo>
                  <a:lnTo>
                    <a:pt x="2982" y="2526"/>
                  </a:lnTo>
                  <a:lnTo>
                    <a:pt x="3000" y="2508"/>
                  </a:lnTo>
                  <a:lnTo>
                    <a:pt x="3000" y="2466"/>
                  </a:lnTo>
                  <a:lnTo>
                    <a:pt x="3006" y="2454"/>
                  </a:lnTo>
                  <a:lnTo>
                    <a:pt x="3012" y="2448"/>
                  </a:lnTo>
                  <a:lnTo>
                    <a:pt x="3024" y="2460"/>
                  </a:lnTo>
                  <a:lnTo>
                    <a:pt x="3036" y="2484"/>
                  </a:lnTo>
                  <a:lnTo>
                    <a:pt x="3042" y="2490"/>
                  </a:lnTo>
                  <a:lnTo>
                    <a:pt x="3048" y="2490"/>
                  </a:lnTo>
                  <a:lnTo>
                    <a:pt x="3054" y="2484"/>
                  </a:lnTo>
                  <a:lnTo>
                    <a:pt x="3066" y="2478"/>
                  </a:lnTo>
                  <a:lnTo>
                    <a:pt x="3072" y="2466"/>
                  </a:lnTo>
                  <a:lnTo>
                    <a:pt x="3090" y="2448"/>
                  </a:lnTo>
                  <a:lnTo>
                    <a:pt x="3096" y="2436"/>
                  </a:lnTo>
                  <a:lnTo>
                    <a:pt x="3114" y="2454"/>
                  </a:lnTo>
                  <a:lnTo>
                    <a:pt x="3144" y="2442"/>
                  </a:lnTo>
                  <a:lnTo>
                    <a:pt x="3150" y="2442"/>
                  </a:lnTo>
                  <a:lnTo>
                    <a:pt x="3156" y="2448"/>
                  </a:lnTo>
                  <a:lnTo>
                    <a:pt x="3186" y="2448"/>
                  </a:lnTo>
                  <a:lnTo>
                    <a:pt x="3234" y="2424"/>
                  </a:lnTo>
                  <a:lnTo>
                    <a:pt x="3288" y="2370"/>
                  </a:lnTo>
                  <a:lnTo>
                    <a:pt x="3294" y="2358"/>
                  </a:lnTo>
                  <a:lnTo>
                    <a:pt x="3300" y="2352"/>
                  </a:lnTo>
                  <a:lnTo>
                    <a:pt x="3294" y="2340"/>
                  </a:lnTo>
                  <a:lnTo>
                    <a:pt x="3294" y="2334"/>
                  </a:lnTo>
                  <a:lnTo>
                    <a:pt x="3288" y="2322"/>
                  </a:lnTo>
                  <a:lnTo>
                    <a:pt x="3282" y="2316"/>
                  </a:lnTo>
                  <a:lnTo>
                    <a:pt x="3300" y="2316"/>
                  </a:lnTo>
                  <a:lnTo>
                    <a:pt x="3312" y="2286"/>
                  </a:lnTo>
                  <a:lnTo>
                    <a:pt x="3336" y="2286"/>
                  </a:lnTo>
                  <a:lnTo>
                    <a:pt x="3348" y="2250"/>
                  </a:lnTo>
                  <a:lnTo>
                    <a:pt x="3360" y="2250"/>
                  </a:lnTo>
                  <a:lnTo>
                    <a:pt x="3360" y="2208"/>
                  </a:lnTo>
                  <a:lnTo>
                    <a:pt x="3372" y="2208"/>
                  </a:lnTo>
                  <a:lnTo>
                    <a:pt x="3384" y="2196"/>
                  </a:lnTo>
                  <a:lnTo>
                    <a:pt x="3384" y="2172"/>
                  </a:lnTo>
                  <a:lnTo>
                    <a:pt x="3378" y="2160"/>
                  </a:lnTo>
                  <a:lnTo>
                    <a:pt x="3372" y="2154"/>
                  </a:lnTo>
                  <a:lnTo>
                    <a:pt x="3372" y="2142"/>
                  </a:lnTo>
                  <a:lnTo>
                    <a:pt x="3378" y="2136"/>
                  </a:lnTo>
                  <a:lnTo>
                    <a:pt x="3384" y="2136"/>
                  </a:lnTo>
                  <a:lnTo>
                    <a:pt x="3390" y="2130"/>
                  </a:lnTo>
                  <a:lnTo>
                    <a:pt x="3402" y="2124"/>
                  </a:lnTo>
                  <a:lnTo>
                    <a:pt x="3408" y="2118"/>
                  </a:lnTo>
                  <a:lnTo>
                    <a:pt x="3408" y="2094"/>
                  </a:lnTo>
                  <a:lnTo>
                    <a:pt x="3390" y="2076"/>
                  </a:lnTo>
                  <a:lnTo>
                    <a:pt x="3390" y="2064"/>
                  </a:lnTo>
                  <a:lnTo>
                    <a:pt x="3402" y="2058"/>
                  </a:lnTo>
                  <a:lnTo>
                    <a:pt x="3408" y="2052"/>
                  </a:lnTo>
                  <a:lnTo>
                    <a:pt x="3408" y="2016"/>
                  </a:lnTo>
                  <a:lnTo>
                    <a:pt x="3414" y="2016"/>
                  </a:lnTo>
                  <a:lnTo>
                    <a:pt x="3420" y="2010"/>
                  </a:lnTo>
                  <a:lnTo>
                    <a:pt x="3456" y="1992"/>
                  </a:lnTo>
                  <a:lnTo>
                    <a:pt x="3462" y="1980"/>
                  </a:lnTo>
                  <a:lnTo>
                    <a:pt x="3462" y="1962"/>
                  </a:lnTo>
                  <a:lnTo>
                    <a:pt x="3456" y="1956"/>
                  </a:lnTo>
                  <a:lnTo>
                    <a:pt x="3444" y="1956"/>
                  </a:lnTo>
                  <a:lnTo>
                    <a:pt x="3450" y="1956"/>
                  </a:lnTo>
                  <a:lnTo>
                    <a:pt x="3456" y="1950"/>
                  </a:lnTo>
                  <a:lnTo>
                    <a:pt x="3468" y="1950"/>
                  </a:lnTo>
                  <a:lnTo>
                    <a:pt x="3480" y="1944"/>
                  </a:lnTo>
                  <a:lnTo>
                    <a:pt x="3492" y="1932"/>
                  </a:lnTo>
                  <a:lnTo>
                    <a:pt x="3474" y="1914"/>
                  </a:lnTo>
                  <a:lnTo>
                    <a:pt x="3468" y="1914"/>
                  </a:lnTo>
                  <a:lnTo>
                    <a:pt x="3486" y="1896"/>
                  </a:lnTo>
                  <a:lnTo>
                    <a:pt x="3498" y="1872"/>
                  </a:lnTo>
                  <a:lnTo>
                    <a:pt x="3504" y="1866"/>
                  </a:lnTo>
                  <a:lnTo>
                    <a:pt x="3504" y="1854"/>
                  </a:lnTo>
                  <a:lnTo>
                    <a:pt x="3498" y="1848"/>
                  </a:lnTo>
                  <a:lnTo>
                    <a:pt x="3474" y="1842"/>
                  </a:lnTo>
                  <a:lnTo>
                    <a:pt x="3438" y="1848"/>
                  </a:lnTo>
                  <a:lnTo>
                    <a:pt x="3396" y="1854"/>
                  </a:lnTo>
                  <a:lnTo>
                    <a:pt x="3366" y="1860"/>
                  </a:lnTo>
                  <a:lnTo>
                    <a:pt x="3354" y="1866"/>
                  </a:lnTo>
                  <a:lnTo>
                    <a:pt x="3336" y="1848"/>
                  </a:lnTo>
                  <a:lnTo>
                    <a:pt x="3378" y="1848"/>
                  </a:lnTo>
                  <a:lnTo>
                    <a:pt x="3378" y="1836"/>
                  </a:lnTo>
                  <a:lnTo>
                    <a:pt x="3384" y="1824"/>
                  </a:lnTo>
                  <a:lnTo>
                    <a:pt x="3390" y="1818"/>
                  </a:lnTo>
                  <a:lnTo>
                    <a:pt x="3402" y="1812"/>
                  </a:lnTo>
                  <a:lnTo>
                    <a:pt x="3432" y="1812"/>
                  </a:lnTo>
                  <a:lnTo>
                    <a:pt x="3426" y="1800"/>
                  </a:lnTo>
                  <a:lnTo>
                    <a:pt x="3420" y="1794"/>
                  </a:lnTo>
                  <a:lnTo>
                    <a:pt x="3414" y="1782"/>
                  </a:lnTo>
                  <a:lnTo>
                    <a:pt x="3414" y="1776"/>
                  </a:lnTo>
                  <a:lnTo>
                    <a:pt x="3408" y="1770"/>
                  </a:lnTo>
                  <a:lnTo>
                    <a:pt x="3390" y="1770"/>
                  </a:lnTo>
                  <a:lnTo>
                    <a:pt x="3378" y="1764"/>
                  </a:lnTo>
                  <a:lnTo>
                    <a:pt x="3366" y="1764"/>
                  </a:lnTo>
                  <a:lnTo>
                    <a:pt x="3354" y="1746"/>
                  </a:lnTo>
                  <a:lnTo>
                    <a:pt x="3342" y="1746"/>
                  </a:lnTo>
                  <a:lnTo>
                    <a:pt x="3336" y="1734"/>
                  </a:lnTo>
                  <a:lnTo>
                    <a:pt x="3324" y="1728"/>
                  </a:lnTo>
                  <a:lnTo>
                    <a:pt x="3294" y="1728"/>
                  </a:lnTo>
                  <a:lnTo>
                    <a:pt x="3288" y="1734"/>
                  </a:lnTo>
                  <a:lnTo>
                    <a:pt x="3282" y="1734"/>
                  </a:lnTo>
                  <a:lnTo>
                    <a:pt x="3246" y="1686"/>
                  </a:lnTo>
                  <a:lnTo>
                    <a:pt x="3252" y="1698"/>
                  </a:lnTo>
                  <a:lnTo>
                    <a:pt x="3264" y="1704"/>
                  </a:lnTo>
                  <a:lnTo>
                    <a:pt x="3270" y="1710"/>
                  </a:lnTo>
                  <a:lnTo>
                    <a:pt x="3282" y="1716"/>
                  </a:lnTo>
                  <a:lnTo>
                    <a:pt x="3294" y="1716"/>
                  </a:lnTo>
                  <a:lnTo>
                    <a:pt x="3300" y="1710"/>
                  </a:lnTo>
                  <a:lnTo>
                    <a:pt x="3306" y="1710"/>
                  </a:lnTo>
                  <a:lnTo>
                    <a:pt x="3336" y="1716"/>
                  </a:lnTo>
                  <a:lnTo>
                    <a:pt x="3348" y="1734"/>
                  </a:lnTo>
                  <a:lnTo>
                    <a:pt x="3366" y="1728"/>
                  </a:lnTo>
                  <a:lnTo>
                    <a:pt x="3408" y="1740"/>
                  </a:lnTo>
                  <a:lnTo>
                    <a:pt x="3390" y="1716"/>
                  </a:lnTo>
                  <a:lnTo>
                    <a:pt x="3372" y="1710"/>
                  </a:lnTo>
                  <a:lnTo>
                    <a:pt x="3372" y="1692"/>
                  </a:lnTo>
                  <a:lnTo>
                    <a:pt x="3360" y="1680"/>
                  </a:lnTo>
                  <a:lnTo>
                    <a:pt x="3348" y="1674"/>
                  </a:lnTo>
                  <a:lnTo>
                    <a:pt x="3330" y="1674"/>
                  </a:lnTo>
                  <a:lnTo>
                    <a:pt x="3318" y="1662"/>
                  </a:lnTo>
                  <a:lnTo>
                    <a:pt x="3318" y="1650"/>
                  </a:lnTo>
                  <a:lnTo>
                    <a:pt x="3312" y="1644"/>
                  </a:lnTo>
                  <a:lnTo>
                    <a:pt x="3312" y="1632"/>
                  </a:lnTo>
                  <a:lnTo>
                    <a:pt x="3234" y="1530"/>
                  </a:lnTo>
                  <a:lnTo>
                    <a:pt x="3198" y="1524"/>
                  </a:lnTo>
                  <a:lnTo>
                    <a:pt x="3162" y="1494"/>
                  </a:lnTo>
                  <a:lnTo>
                    <a:pt x="3144" y="1500"/>
                  </a:lnTo>
                  <a:lnTo>
                    <a:pt x="3138" y="1488"/>
                  </a:lnTo>
                  <a:lnTo>
                    <a:pt x="3132" y="1482"/>
                  </a:lnTo>
                  <a:lnTo>
                    <a:pt x="3132" y="1470"/>
                  </a:lnTo>
                  <a:lnTo>
                    <a:pt x="3126" y="1464"/>
                  </a:lnTo>
                  <a:lnTo>
                    <a:pt x="3138" y="1452"/>
                  </a:lnTo>
                  <a:lnTo>
                    <a:pt x="3150" y="1446"/>
                  </a:lnTo>
                  <a:lnTo>
                    <a:pt x="3156" y="1434"/>
                  </a:lnTo>
                  <a:lnTo>
                    <a:pt x="3162" y="1428"/>
                  </a:lnTo>
                  <a:lnTo>
                    <a:pt x="3168" y="1416"/>
                  </a:lnTo>
                  <a:lnTo>
                    <a:pt x="3168" y="1410"/>
                  </a:lnTo>
                  <a:lnTo>
                    <a:pt x="3162" y="1398"/>
                  </a:lnTo>
                  <a:lnTo>
                    <a:pt x="3162" y="1392"/>
                  </a:lnTo>
                  <a:lnTo>
                    <a:pt x="3156" y="1380"/>
                  </a:lnTo>
                  <a:lnTo>
                    <a:pt x="3168" y="1386"/>
                  </a:lnTo>
                  <a:lnTo>
                    <a:pt x="3174" y="1392"/>
                  </a:lnTo>
                  <a:lnTo>
                    <a:pt x="3186" y="1398"/>
                  </a:lnTo>
                  <a:lnTo>
                    <a:pt x="3198" y="1386"/>
                  </a:lnTo>
                  <a:lnTo>
                    <a:pt x="3198" y="1368"/>
                  </a:lnTo>
                  <a:lnTo>
                    <a:pt x="3192" y="1356"/>
                  </a:lnTo>
                  <a:lnTo>
                    <a:pt x="3192" y="1344"/>
                  </a:lnTo>
                  <a:lnTo>
                    <a:pt x="3216" y="1344"/>
                  </a:lnTo>
                  <a:lnTo>
                    <a:pt x="3252" y="1320"/>
                  </a:lnTo>
                  <a:lnTo>
                    <a:pt x="3264" y="1320"/>
                  </a:lnTo>
                  <a:lnTo>
                    <a:pt x="3270" y="1326"/>
                  </a:lnTo>
                  <a:lnTo>
                    <a:pt x="3294" y="1326"/>
                  </a:lnTo>
                  <a:lnTo>
                    <a:pt x="3294" y="1320"/>
                  </a:lnTo>
                  <a:lnTo>
                    <a:pt x="3288" y="1314"/>
                  </a:lnTo>
                  <a:lnTo>
                    <a:pt x="3288" y="1308"/>
                  </a:lnTo>
                  <a:lnTo>
                    <a:pt x="3282" y="1302"/>
                  </a:lnTo>
                  <a:lnTo>
                    <a:pt x="3288" y="1278"/>
                  </a:lnTo>
                  <a:lnTo>
                    <a:pt x="3258" y="1278"/>
                  </a:lnTo>
                  <a:lnTo>
                    <a:pt x="3246" y="1266"/>
                  </a:lnTo>
                  <a:lnTo>
                    <a:pt x="3240" y="1278"/>
                  </a:lnTo>
                  <a:lnTo>
                    <a:pt x="3204" y="1278"/>
                  </a:lnTo>
                  <a:lnTo>
                    <a:pt x="3198" y="1272"/>
                  </a:lnTo>
                  <a:lnTo>
                    <a:pt x="3192" y="1260"/>
                  </a:lnTo>
                  <a:lnTo>
                    <a:pt x="3180" y="1254"/>
                  </a:lnTo>
                  <a:lnTo>
                    <a:pt x="3174" y="1248"/>
                  </a:lnTo>
                  <a:lnTo>
                    <a:pt x="3150" y="1248"/>
                  </a:lnTo>
                  <a:lnTo>
                    <a:pt x="3144" y="1260"/>
                  </a:lnTo>
                  <a:lnTo>
                    <a:pt x="3132" y="1266"/>
                  </a:lnTo>
                  <a:lnTo>
                    <a:pt x="3114" y="1284"/>
                  </a:lnTo>
                  <a:lnTo>
                    <a:pt x="3114" y="1296"/>
                  </a:lnTo>
                  <a:lnTo>
                    <a:pt x="3108" y="1302"/>
                  </a:lnTo>
                  <a:lnTo>
                    <a:pt x="3108" y="1308"/>
                  </a:lnTo>
                  <a:lnTo>
                    <a:pt x="3078" y="1308"/>
                  </a:lnTo>
                  <a:lnTo>
                    <a:pt x="3054" y="1296"/>
                  </a:lnTo>
                  <a:lnTo>
                    <a:pt x="3048" y="1290"/>
                  </a:lnTo>
                  <a:lnTo>
                    <a:pt x="3042" y="1278"/>
                  </a:lnTo>
                  <a:lnTo>
                    <a:pt x="3030" y="1242"/>
                  </a:lnTo>
                  <a:lnTo>
                    <a:pt x="3024" y="1230"/>
                  </a:lnTo>
                  <a:lnTo>
                    <a:pt x="3018" y="1224"/>
                  </a:lnTo>
                  <a:lnTo>
                    <a:pt x="3006" y="1224"/>
                  </a:lnTo>
                  <a:lnTo>
                    <a:pt x="3000" y="1230"/>
                  </a:lnTo>
                  <a:lnTo>
                    <a:pt x="3000" y="1242"/>
                  </a:lnTo>
                  <a:lnTo>
                    <a:pt x="2988" y="1224"/>
                  </a:lnTo>
                  <a:lnTo>
                    <a:pt x="2952" y="1224"/>
                  </a:lnTo>
                  <a:lnTo>
                    <a:pt x="2940" y="1218"/>
                  </a:lnTo>
                  <a:lnTo>
                    <a:pt x="2934" y="1212"/>
                  </a:lnTo>
                  <a:lnTo>
                    <a:pt x="2928" y="1200"/>
                  </a:lnTo>
                  <a:lnTo>
                    <a:pt x="2916" y="1194"/>
                  </a:lnTo>
                  <a:lnTo>
                    <a:pt x="2910" y="1182"/>
                  </a:lnTo>
                  <a:lnTo>
                    <a:pt x="2910" y="1140"/>
                  </a:lnTo>
                  <a:lnTo>
                    <a:pt x="2928" y="1140"/>
                  </a:lnTo>
                  <a:lnTo>
                    <a:pt x="2940" y="1152"/>
                  </a:lnTo>
                  <a:lnTo>
                    <a:pt x="2946" y="1152"/>
                  </a:lnTo>
                  <a:lnTo>
                    <a:pt x="2952" y="1146"/>
                  </a:lnTo>
                  <a:lnTo>
                    <a:pt x="2952" y="1140"/>
                  </a:lnTo>
                  <a:lnTo>
                    <a:pt x="2958" y="1134"/>
                  </a:lnTo>
                  <a:lnTo>
                    <a:pt x="2964" y="1134"/>
                  </a:lnTo>
                  <a:lnTo>
                    <a:pt x="2970" y="1140"/>
                  </a:lnTo>
                  <a:lnTo>
                    <a:pt x="2982" y="1140"/>
                  </a:lnTo>
                  <a:lnTo>
                    <a:pt x="2994" y="1134"/>
                  </a:lnTo>
                  <a:lnTo>
                    <a:pt x="3000" y="1128"/>
                  </a:lnTo>
                  <a:lnTo>
                    <a:pt x="3000" y="1116"/>
                  </a:lnTo>
                  <a:lnTo>
                    <a:pt x="2994" y="1110"/>
                  </a:lnTo>
                  <a:lnTo>
                    <a:pt x="2994" y="1086"/>
                  </a:lnTo>
                  <a:lnTo>
                    <a:pt x="3000" y="1074"/>
                  </a:lnTo>
                  <a:lnTo>
                    <a:pt x="3000" y="1068"/>
                  </a:lnTo>
                  <a:lnTo>
                    <a:pt x="3036" y="1068"/>
                  </a:lnTo>
                  <a:lnTo>
                    <a:pt x="3042" y="1062"/>
                  </a:lnTo>
                  <a:lnTo>
                    <a:pt x="3048" y="1050"/>
                  </a:lnTo>
                  <a:lnTo>
                    <a:pt x="3048" y="1038"/>
                  </a:lnTo>
                  <a:lnTo>
                    <a:pt x="3054" y="1032"/>
                  </a:lnTo>
                  <a:lnTo>
                    <a:pt x="3054" y="1026"/>
                  </a:lnTo>
                  <a:lnTo>
                    <a:pt x="3072" y="1014"/>
                  </a:lnTo>
                  <a:lnTo>
                    <a:pt x="3060" y="1002"/>
                  </a:lnTo>
                  <a:lnTo>
                    <a:pt x="3096" y="1014"/>
                  </a:lnTo>
                  <a:lnTo>
                    <a:pt x="3114" y="996"/>
                  </a:lnTo>
                  <a:lnTo>
                    <a:pt x="3126" y="1002"/>
                  </a:lnTo>
                  <a:lnTo>
                    <a:pt x="3132" y="1014"/>
                  </a:lnTo>
                  <a:lnTo>
                    <a:pt x="3144" y="1020"/>
                  </a:lnTo>
                  <a:lnTo>
                    <a:pt x="3156" y="1044"/>
                  </a:lnTo>
                  <a:lnTo>
                    <a:pt x="3156" y="1050"/>
                  </a:lnTo>
                  <a:lnTo>
                    <a:pt x="3144" y="1074"/>
                  </a:lnTo>
                  <a:lnTo>
                    <a:pt x="3126" y="1092"/>
                  </a:lnTo>
                  <a:lnTo>
                    <a:pt x="3126" y="1104"/>
                  </a:lnTo>
                  <a:lnTo>
                    <a:pt x="3132" y="1116"/>
                  </a:lnTo>
                  <a:lnTo>
                    <a:pt x="3144" y="1128"/>
                  </a:lnTo>
                  <a:lnTo>
                    <a:pt x="3150" y="1128"/>
                  </a:lnTo>
                  <a:lnTo>
                    <a:pt x="3162" y="1122"/>
                  </a:lnTo>
                  <a:lnTo>
                    <a:pt x="3168" y="1122"/>
                  </a:lnTo>
                  <a:lnTo>
                    <a:pt x="3162" y="1152"/>
                  </a:lnTo>
                  <a:lnTo>
                    <a:pt x="3144" y="1170"/>
                  </a:lnTo>
                  <a:lnTo>
                    <a:pt x="3144" y="1176"/>
                  </a:lnTo>
                  <a:lnTo>
                    <a:pt x="3150" y="1176"/>
                  </a:lnTo>
                  <a:lnTo>
                    <a:pt x="3162" y="1170"/>
                  </a:lnTo>
                  <a:lnTo>
                    <a:pt x="3168" y="1164"/>
                  </a:lnTo>
                  <a:lnTo>
                    <a:pt x="3180" y="1158"/>
                  </a:lnTo>
                  <a:lnTo>
                    <a:pt x="3186" y="1158"/>
                  </a:lnTo>
                  <a:lnTo>
                    <a:pt x="3198" y="1146"/>
                  </a:lnTo>
                  <a:lnTo>
                    <a:pt x="3198" y="1122"/>
                  </a:lnTo>
                  <a:lnTo>
                    <a:pt x="3204" y="1122"/>
                  </a:lnTo>
                  <a:lnTo>
                    <a:pt x="3210" y="1116"/>
                  </a:lnTo>
                  <a:lnTo>
                    <a:pt x="3258" y="1092"/>
                  </a:lnTo>
                  <a:lnTo>
                    <a:pt x="3264" y="1086"/>
                  </a:lnTo>
                  <a:lnTo>
                    <a:pt x="3306" y="1086"/>
                  </a:lnTo>
                  <a:lnTo>
                    <a:pt x="3312" y="1074"/>
                  </a:lnTo>
                  <a:lnTo>
                    <a:pt x="3312" y="1062"/>
                  </a:lnTo>
                  <a:lnTo>
                    <a:pt x="3318" y="1056"/>
                  </a:lnTo>
                  <a:lnTo>
                    <a:pt x="3324" y="1044"/>
                  </a:lnTo>
                  <a:lnTo>
                    <a:pt x="3360" y="1026"/>
                  </a:lnTo>
                  <a:lnTo>
                    <a:pt x="3372" y="1014"/>
                  </a:lnTo>
                  <a:lnTo>
                    <a:pt x="3390" y="978"/>
                  </a:lnTo>
                  <a:lnTo>
                    <a:pt x="3390" y="948"/>
                  </a:lnTo>
                  <a:lnTo>
                    <a:pt x="3396" y="942"/>
                  </a:lnTo>
                  <a:lnTo>
                    <a:pt x="3396" y="936"/>
                  </a:lnTo>
                  <a:lnTo>
                    <a:pt x="3408" y="936"/>
                  </a:lnTo>
                  <a:lnTo>
                    <a:pt x="3420" y="942"/>
                  </a:lnTo>
                  <a:lnTo>
                    <a:pt x="3432" y="954"/>
                  </a:lnTo>
                  <a:lnTo>
                    <a:pt x="3444" y="954"/>
                  </a:lnTo>
                  <a:lnTo>
                    <a:pt x="3456" y="960"/>
                  </a:lnTo>
                  <a:lnTo>
                    <a:pt x="3504" y="960"/>
                  </a:lnTo>
                  <a:lnTo>
                    <a:pt x="3504" y="948"/>
                  </a:lnTo>
                  <a:lnTo>
                    <a:pt x="3498" y="948"/>
                  </a:lnTo>
                  <a:lnTo>
                    <a:pt x="3474" y="924"/>
                  </a:lnTo>
                  <a:lnTo>
                    <a:pt x="3474" y="912"/>
                  </a:lnTo>
                  <a:lnTo>
                    <a:pt x="3480" y="906"/>
                  </a:lnTo>
                  <a:lnTo>
                    <a:pt x="3486" y="912"/>
                  </a:lnTo>
                  <a:lnTo>
                    <a:pt x="3510" y="912"/>
                  </a:lnTo>
                  <a:lnTo>
                    <a:pt x="3522" y="918"/>
                  </a:lnTo>
                  <a:lnTo>
                    <a:pt x="3534" y="912"/>
                  </a:lnTo>
                  <a:lnTo>
                    <a:pt x="3540" y="900"/>
                  </a:lnTo>
                  <a:lnTo>
                    <a:pt x="3540" y="894"/>
                  </a:lnTo>
                  <a:lnTo>
                    <a:pt x="3534" y="882"/>
                  </a:lnTo>
                  <a:lnTo>
                    <a:pt x="3558" y="882"/>
                  </a:lnTo>
                  <a:lnTo>
                    <a:pt x="3558" y="864"/>
                  </a:lnTo>
                  <a:lnTo>
                    <a:pt x="3552" y="852"/>
                  </a:lnTo>
                  <a:lnTo>
                    <a:pt x="3546" y="846"/>
                  </a:lnTo>
                  <a:lnTo>
                    <a:pt x="3546" y="840"/>
                  </a:lnTo>
                  <a:lnTo>
                    <a:pt x="3576" y="840"/>
                  </a:lnTo>
                  <a:lnTo>
                    <a:pt x="3594" y="864"/>
                  </a:lnTo>
                  <a:lnTo>
                    <a:pt x="3600" y="840"/>
                  </a:lnTo>
                  <a:lnTo>
                    <a:pt x="3630" y="846"/>
                  </a:lnTo>
                  <a:lnTo>
                    <a:pt x="3624" y="810"/>
                  </a:lnTo>
                  <a:lnTo>
                    <a:pt x="3618" y="798"/>
                  </a:lnTo>
                  <a:lnTo>
                    <a:pt x="3606" y="786"/>
                  </a:lnTo>
                  <a:lnTo>
                    <a:pt x="3606" y="774"/>
                  </a:lnTo>
                  <a:lnTo>
                    <a:pt x="3600" y="756"/>
                  </a:lnTo>
                  <a:lnTo>
                    <a:pt x="3588" y="744"/>
                  </a:lnTo>
                  <a:lnTo>
                    <a:pt x="3576" y="726"/>
                  </a:lnTo>
                  <a:lnTo>
                    <a:pt x="3564" y="720"/>
                  </a:lnTo>
                  <a:lnTo>
                    <a:pt x="3552" y="708"/>
                  </a:lnTo>
                  <a:lnTo>
                    <a:pt x="3546" y="708"/>
                  </a:lnTo>
                  <a:lnTo>
                    <a:pt x="3540" y="696"/>
                  </a:lnTo>
                  <a:lnTo>
                    <a:pt x="3540" y="684"/>
                  </a:lnTo>
                  <a:lnTo>
                    <a:pt x="3564" y="684"/>
                  </a:lnTo>
                  <a:lnTo>
                    <a:pt x="3564" y="672"/>
                  </a:lnTo>
                  <a:lnTo>
                    <a:pt x="3558" y="666"/>
                  </a:lnTo>
                  <a:lnTo>
                    <a:pt x="3564" y="660"/>
                  </a:lnTo>
                  <a:lnTo>
                    <a:pt x="3588" y="660"/>
                  </a:lnTo>
                  <a:lnTo>
                    <a:pt x="3600" y="666"/>
                  </a:lnTo>
                  <a:lnTo>
                    <a:pt x="3618" y="672"/>
                  </a:lnTo>
                  <a:lnTo>
                    <a:pt x="3630" y="672"/>
                  </a:lnTo>
                  <a:lnTo>
                    <a:pt x="3642" y="678"/>
                  </a:lnTo>
                  <a:lnTo>
                    <a:pt x="3648" y="678"/>
                  </a:lnTo>
                  <a:lnTo>
                    <a:pt x="3654" y="672"/>
                  </a:lnTo>
                  <a:lnTo>
                    <a:pt x="3654" y="660"/>
                  </a:lnTo>
                  <a:lnTo>
                    <a:pt x="3648" y="648"/>
                  </a:lnTo>
                  <a:lnTo>
                    <a:pt x="3648" y="630"/>
                  </a:lnTo>
                  <a:lnTo>
                    <a:pt x="3654" y="630"/>
                  </a:lnTo>
                  <a:lnTo>
                    <a:pt x="3660" y="624"/>
                  </a:lnTo>
                  <a:close/>
                </a:path>
              </a:pathLst>
            </a:custGeom>
            <a:solidFill>
              <a:srgbClr val="3B3939"/>
            </a:solidFill>
            <a:ln w="3175">
              <a:solidFill>
                <a:schemeClr val="bg1"/>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de-DE" sz="1800" b="0" i="0" u="none" strike="noStrike" kern="1200" cap="none" spc="0" normalizeH="0" baseline="0" noProof="0">
                <a:ln>
                  <a:noFill/>
                </a:ln>
                <a:solidFill>
                  <a:srgbClr val="FFC000"/>
                </a:solidFill>
                <a:effectLst/>
                <a:uLnTx/>
                <a:uFillTx/>
                <a:latin typeface="Calibri" pitchFamily="34" charset="0"/>
                <a:ea typeface="+mn-ea"/>
                <a:cs typeface="+mn-cs"/>
              </a:endParaRPr>
            </a:p>
          </p:txBody>
        </p:sp>
        <p:sp>
          <p:nvSpPr>
            <p:cNvPr id="159" name="Chad" descr="© INSCALE GmbH, 05.05.2010&#10;http://www.presentationload.com/"/>
            <p:cNvSpPr>
              <a:spLocks/>
            </p:cNvSpPr>
            <p:nvPr/>
          </p:nvSpPr>
          <p:spPr bwMode="gray">
            <a:xfrm>
              <a:off x="4775462" y="3717121"/>
              <a:ext cx="241890" cy="400506"/>
            </a:xfrm>
            <a:custGeom>
              <a:avLst/>
              <a:gdLst>
                <a:gd name="T0" fmla="*/ 2147483647 w 744"/>
                <a:gd name="T1" fmla="*/ 2147483647 h 1290"/>
                <a:gd name="T2" fmla="*/ 2147483647 w 744"/>
                <a:gd name="T3" fmla="*/ 0 h 1290"/>
                <a:gd name="T4" fmla="*/ 2147483647 w 744"/>
                <a:gd name="T5" fmla="*/ 2147483647 h 1290"/>
                <a:gd name="T6" fmla="*/ 2147483647 w 744"/>
                <a:gd name="T7" fmla="*/ 2147483647 h 1290"/>
                <a:gd name="T8" fmla="*/ 2147483647 w 744"/>
                <a:gd name="T9" fmla="*/ 2147483647 h 1290"/>
                <a:gd name="T10" fmla="*/ 2147483647 w 744"/>
                <a:gd name="T11" fmla="*/ 2147483647 h 1290"/>
                <a:gd name="T12" fmla="*/ 2147483647 w 744"/>
                <a:gd name="T13" fmla="*/ 2147483647 h 1290"/>
                <a:gd name="T14" fmla="*/ 2147483647 w 744"/>
                <a:gd name="T15" fmla="*/ 2147483647 h 1290"/>
                <a:gd name="T16" fmla="*/ 2147483647 w 744"/>
                <a:gd name="T17" fmla="*/ 2147483647 h 1290"/>
                <a:gd name="T18" fmla="*/ 0 w 744"/>
                <a:gd name="T19" fmla="*/ 2147483647 h 1290"/>
                <a:gd name="T20" fmla="*/ 2147483647 w 744"/>
                <a:gd name="T21" fmla="*/ 2147483647 h 1290"/>
                <a:gd name="T22" fmla="*/ 2147483647 w 744"/>
                <a:gd name="T23" fmla="*/ 2147483647 h 1290"/>
                <a:gd name="T24" fmla="*/ 2147483647 w 744"/>
                <a:gd name="T25" fmla="*/ 2147483647 h 1290"/>
                <a:gd name="T26" fmla="*/ 2147483647 w 744"/>
                <a:gd name="T27" fmla="*/ 2147483647 h 1290"/>
                <a:gd name="T28" fmla="*/ 2147483647 w 744"/>
                <a:gd name="T29" fmla="*/ 2147483647 h 1290"/>
                <a:gd name="T30" fmla="*/ 2147483647 w 744"/>
                <a:gd name="T31" fmla="*/ 2147483647 h 1290"/>
                <a:gd name="T32" fmla="*/ 2147483647 w 744"/>
                <a:gd name="T33" fmla="*/ 2147483647 h 1290"/>
                <a:gd name="T34" fmla="*/ 2147483647 w 744"/>
                <a:gd name="T35" fmla="*/ 2147483647 h 1290"/>
                <a:gd name="T36" fmla="*/ 2147483647 w 744"/>
                <a:gd name="T37" fmla="*/ 2147483647 h 1290"/>
                <a:gd name="T38" fmla="*/ 2147483647 w 744"/>
                <a:gd name="T39" fmla="*/ 2147483647 h 1290"/>
                <a:gd name="T40" fmla="*/ 2147483647 w 744"/>
                <a:gd name="T41" fmla="*/ 2147483647 h 1290"/>
                <a:gd name="T42" fmla="*/ 2147483647 w 744"/>
                <a:gd name="T43" fmla="*/ 2147483647 h 1290"/>
                <a:gd name="T44" fmla="*/ 2147483647 w 744"/>
                <a:gd name="T45" fmla="*/ 2147483647 h 1290"/>
                <a:gd name="T46" fmla="*/ 2147483647 w 744"/>
                <a:gd name="T47" fmla="*/ 2147483647 h 1290"/>
                <a:gd name="T48" fmla="*/ 2147483647 w 744"/>
                <a:gd name="T49" fmla="*/ 2147483647 h 1290"/>
                <a:gd name="T50" fmla="*/ 2147483647 w 744"/>
                <a:gd name="T51" fmla="*/ 2147483647 h 1290"/>
                <a:gd name="T52" fmla="*/ 2147483647 w 744"/>
                <a:gd name="T53" fmla="*/ 2147483647 h 1290"/>
                <a:gd name="T54" fmla="*/ 2147483647 w 744"/>
                <a:gd name="T55" fmla="*/ 2147483647 h 1290"/>
                <a:gd name="T56" fmla="*/ 2147483647 w 744"/>
                <a:gd name="T57" fmla="*/ 2147483647 h 1290"/>
                <a:gd name="T58" fmla="*/ 2147483647 w 744"/>
                <a:gd name="T59" fmla="*/ 2147483647 h 1290"/>
                <a:gd name="T60" fmla="*/ 2147483647 w 744"/>
                <a:gd name="T61" fmla="*/ 2147483647 h 1290"/>
                <a:gd name="T62" fmla="*/ 2147483647 w 744"/>
                <a:gd name="T63" fmla="*/ 2147483647 h 1290"/>
                <a:gd name="T64" fmla="*/ 2147483647 w 744"/>
                <a:gd name="T65" fmla="*/ 2147483647 h 1290"/>
                <a:gd name="T66" fmla="*/ 2147483647 w 744"/>
                <a:gd name="T67" fmla="*/ 2147483647 h 1290"/>
                <a:gd name="T68" fmla="*/ 2147483647 w 744"/>
                <a:gd name="T69" fmla="*/ 2147483647 h 1290"/>
                <a:gd name="T70" fmla="*/ 2147483647 w 744"/>
                <a:gd name="T71" fmla="*/ 2147483647 h 1290"/>
                <a:gd name="T72" fmla="*/ 2147483647 w 744"/>
                <a:gd name="T73" fmla="*/ 2147483647 h 1290"/>
                <a:gd name="T74" fmla="*/ 2147483647 w 744"/>
                <a:gd name="T75" fmla="*/ 2147483647 h 1290"/>
                <a:gd name="T76" fmla="*/ 2147483647 w 744"/>
                <a:gd name="T77" fmla="*/ 2147483647 h 1290"/>
                <a:gd name="T78" fmla="*/ 2147483647 w 744"/>
                <a:gd name="T79" fmla="*/ 2147483647 h 1290"/>
                <a:gd name="T80" fmla="*/ 2147483647 w 744"/>
                <a:gd name="T81" fmla="*/ 2147483647 h 1290"/>
                <a:gd name="T82" fmla="*/ 2147483647 w 744"/>
                <a:gd name="T83" fmla="*/ 2147483647 h 1290"/>
                <a:gd name="T84" fmla="*/ 2147483647 w 744"/>
                <a:gd name="T85" fmla="*/ 2147483647 h 1290"/>
                <a:gd name="T86" fmla="*/ 2147483647 w 744"/>
                <a:gd name="T87" fmla="*/ 2147483647 h 1290"/>
                <a:gd name="T88" fmla="*/ 2147483647 w 744"/>
                <a:gd name="T89" fmla="*/ 2147483647 h 1290"/>
                <a:gd name="T90" fmla="*/ 2147483647 w 744"/>
                <a:gd name="T91" fmla="*/ 2147483647 h 1290"/>
                <a:gd name="T92" fmla="*/ 2147483647 w 744"/>
                <a:gd name="T93" fmla="*/ 2147483647 h 1290"/>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744"/>
                <a:gd name="T142" fmla="*/ 0 h 1290"/>
                <a:gd name="T143" fmla="*/ 744 w 744"/>
                <a:gd name="T144" fmla="*/ 1290 h 1290"/>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744" h="1290">
                  <a:moveTo>
                    <a:pt x="678" y="624"/>
                  </a:moveTo>
                  <a:lnTo>
                    <a:pt x="720" y="624"/>
                  </a:lnTo>
                  <a:lnTo>
                    <a:pt x="732" y="630"/>
                  </a:lnTo>
                  <a:lnTo>
                    <a:pt x="744" y="630"/>
                  </a:lnTo>
                  <a:lnTo>
                    <a:pt x="738" y="324"/>
                  </a:lnTo>
                  <a:lnTo>
                    <a:pt x="180" y="0"/>
                  </a:lnTo>
                  <a:lnTo>
                    <a:pt x="156" y="12"/>
                  </a:lnTo>
                  <a:lnTo>
                    <a:pt x="144" y="24"/>
                  </a:lnTo>
                  <a:lnTo>
                    <a:pt x="126" y="30"/>
                  </a:lnTo>
                  <a:lnTo>
                    <a:pt x="108" y="42"/>
                  </a:lnTo>
                  <a:lnTo>
                    <a:pt x="126" y="108"/>
                  </a:lnTo>
                  <a:lnTo>
                    <a:pt x="114" y="156"/>
                  </a:lnTo>
                  <a:lnTo>
                    <a:pt x="144" y="192"/>
                  </a:lnTo>
                  <a:lnTo>
                    <a:pt x="150" y="216"/>
                  </a:lnTo>
                  <a:lnTo>
                    <a:pt x="180" y="252"/>
                  </a:lnTo>
                  <a:lnTo>
                    <a:pt x="162" y="288"/>
                  </a:lnTo>
                  <a:lnTo>
                    <a:pt x="144" y="534"/>
                  </a:lnTo>
                  <a:lnTo>
                    <a:pt x="138" y="540"/>
                  </a:lnTo>
                  <a:lnTo>
                    <a:pt x="120" y="564"/>
                  </a:lnTo>
                  <a:lnTo>
                    <a:pt x="96" y="588"/>
                  </a:lnTo>
                  <a:lnTo>
                    <a:pt x="72" y="618"/>
                  </a:lnTo>
                  <a:lnTo>
                    <a:pt x="54" y="636"/>
                  </a:lnTo>
                  <a:lnTo>
                    <a:pt x="48" y="648"/>
                  </a:lnTo>
                  <a:lnTo>
                    <a:pt x="36" y="666"/>
                  </a:lnTo>
                  <a:lnTo>
                    <a:pt x="30" y="678"/>
                  </a:lnTo>
                  <a:lnTo>
                    <a:pt x="24" y="696"/>
                  </a:lnTo>
                  <a:lnTo>
                    <a:pt x="24" y="708"/>
                  </a:lnTo>
                  <a:lnTo>
                    <a:pt x="18" y="714"/>
                  </a:lnTo>
                  <a:lnTo>
                    <a:pt x="18" y="720"/>
                  </a:lnTo>
                  <a:lnTo>
                    <a:pt x="0" y="726"/>
                  </a:lnTo>
                  <a:lnTo>
                    <a:pt x="6" y="786"/>
                  </a:lnTo>
                  <a:lnTo>
                    <a:pt x="18" y="786"/>
                  </a:lnTo>
                  <a:lnTo>
                    <a:pt x="48" y="834"/>
                  </a:lnTo>
                  <a:lnTo>
                    <a:pt x="48" y="846"/>
                  </a:lnTo>
                  <a:lnTo>
                    <a:pt x="48" y="840"/>
                  </a:lnTo>
                  <a:lnTo>
                    <a:pt x="72" y="834"/>
                  </a:lnTo>
                  <a:lnTo>
                    <a:pt x="72" y="852"/>
                  </a:lnTo>
                  <a:lnTo>
                    <a:pt x="78" y="864"/>
                  </a:lnTo>
                  <a:lnTo>
                    <a:pt x="84" y="870"/>
                  </a:lnTo>
                  <a:lnTo>
                    <a:pt x="96" y="870"/>
                  </a:lnTo>
                  <a:lnTo>
                    <a:pt x="102" y="876"/>
                  </a:lnTo>
                  <a:lnTo>
                    <a:pt x="108" y="876"/>
                  </a:lnTo>
                  <a:lnTo>
                    <a:pt x="102" y="912"/>
                  </a:lnTo>
                  <a:lnTo>
                    <a:pt x="114" y="918"/>
                  </a:lnTo>
                  <a:lnTo>
                    <a:pt x="120" y="930"/>
                  </a:lnTo>
                  <a:lnTo>
                    <a:pt x="120" y="966"/>
                  </a:lnTo>
                  <a:lnTo>
                    <a:pt x="114" y="966"/>
                  </a:lnTo>
                  <a:lnTo>
                    <a:pt x="114" y="1002"/>
                  </a:lnTo>
                  <a:lnTo>
                    <a:pt x="120" y="1020"/>
                  </a:lnTo>
                  <a:lnTo>
                    <a:pt x="120" y="1038"/>
                  </a:lnTo>
                  <a:lnTo>
                    <a:pt x="126" y="1050"/>
                  </a:lnTo>
                  <a:lnTo>
                    <a:pt x="138" y="1056"/>
                  </a:lnTo>
                  <a:lnTo>
                    <a:pt x="144" y="1068"/>
                  </a:lnTo>
                  <a:lnTo>
                    <a:pt x="162" y="1086"/>
                  </a:lnTo>
                  <a:lnTo>
                    <a:pt x="66" y="1086"/>
                  </a:lnTo>
                  <a:lnTo>
                    <a:pt x="54" y="1092"/>
                  </a:lnTo>
                  <a:lnTo>
                    <a:pt x="48" y="1098"/>
                  </a:lnTo>
                  <a:lnTo>
                    <a:pt x="48" y="1110"/>
                  </a:lnTo>
                  <a:lnTo>
                    <a:pt x="60" y="1134"/>
                  </a:lnTo>
                  <a:lnTo>
                    <a:pt x="72" y="1146"/>
                  </a:lnTo>
                  <a:lnTo>
                    <a:pt x="78" y="1158"/>
                  </a:lnTo>
                  <a:lnTo>
                    <a:pt x="90" y="1170"/>
                  </a:lnTo>
                  <a:lnTo>
                    <a:pt x="108" y="1182"/>
                  </a:lnTo>
                  <a:lnTo>
                    <a:pt x="120" y="1188"/>
                  </a:lnTo>
                  <a:lnTo>
                    <a:pt x="132" y="1200"/>
                  </a:lnTo>
                  <a:lnTo>
                    <a:pt x="144" y="1224"/>
                  </a:lnTo>
                  <a:lnTo>
                    <a:pt x="144" y="1242"/>
                  </a:lnTo>
                  <a:lnTo>
                    <a:pt x="150" y="1254"/>
                  </a:lnTo>
                  <a:lnTo>
                    <a:pt x="156" y="1272"/>
                  </a:lnTo>
                  <a:lnTo>
                    <a:pt x="156" y="1284"/>
                  </a:lnTo>
                  <a:lnTo>
                    <a:pt x="162" y="1284"/>
                  </a:lnTo>
                  <a:lnTo>
                    <a:pt x="168" y="1290"/>
                  </a:lnTo>
                  <a:lnTo>
                    <a:pt x="186" y="1290"/>
                  </a:lnTo>
                  <a:lnTo>
                    <a:pt x="198" y="1284"/>
                  </a:lnTo>
                  <a:lnTo>
                    <a:pt x="216" y="1266"/>
                  </a:lnTo>
                  <a:lnTo>
                    <a:pt x="228" y="1260"/>
                  </a:lnTo>
                  <a:lnTo>
                    <a:pt x="234" y="1254"/>
                  </a:lnTo>
                  <a:lnTo>
                    <a:pt x="234" y="1278"/>
                  </a:lnTo>
                  <a:lnTo>
                    <a:pt x="240" y="1284"/>
                  </a:lnTo>
                  <a:lnTo>
                    <a:pt x="246" y="1284"/>
                  </a:lnTo>
                  <a:lnTo>
                    <a:pt x="258" y="1278"/>
                  </a:lnTo>
                  <a:lnTo>
                    <a:pt x="270" y="1266"/>
                  </a:lnTo>
                  <a:lnTo>
                    <a:pt x="276" y="1254"/>
                  </a:lnTo>
                  <a:lnTo>
                    <a:pt x="282" y="1248"/>
                  </a:lnTo>
                  <a:lnTo>
                    <a:pt x="372" y="1248"/>
                  </a:lnTo>
                  <a:lnTo>
                    <a:pt x="378" y="1242"/>
                  </a:lnTo>
                  <a:lnTo>
                    <a:pt x="384" y="1230"/>
                  </a:lnTo>
                  <a:lnTo>
                    <a:pt x="390" y="1224"/>
                  </a:lnTo>
                  <a:lnTo>
                    <a:pt x="396" y="1212"/>
                  </a:lnTo>
                  <a:lnTo>
                    <a:pt x="402" y="1206"/>
                  </a:lnTo>
                  <a:lnTo>
                    <a:pt x="402" y="1194"/>
                  </a:lnTo>
                  <a:lnTo>
                    <a:pt x="390" y="1182"/>
                  </a:lnTo>
                  <a:lnTo>
                    <a:pt x="384" y="1182"/>
                  </a:lnTo>
                  <a:lnTo>
                    <a:pt x="402" y="1170"/>
                  </a:lnTo>
                  <a:lnTo>
                    <a:pt x="420" y="1170"/>
                  </a:lnTo>
                  <a:lnTo>
                    <a:pt x="462" y="1164"/>
                  </a:lnTo>
                  <a:lnTo>
                    <a:pt x="510" y="1146"/>
                  </a:lnTo>
                  <a:lnTo>
                    <a:pt x="528" y="1134"/>
                  </a:lnTo>
                  <a:lnTo>
                    <a:pt x="552" y="1110"/>
                  </a:lnTo>
                  <a:lnTo>
                    <a:pt x="552" y="1092"/>
                  </a:lnTo>
                  <a:lnTo>
                    <a:pt x="588" y="1068"/>
                  </a:lnTo>
                  <a:lnTo>
                    <a:pt x="594" y="1038"/>
                  </a:lnTo>
                  <a:lnTo>
                    <a:pt x="648" y="1008"/>
                  </a:lnTo>
                  <a:lnTo>
                    <a:pt x="672" y="1008"/>
                  </a:lnTo>
                  <a:lnTo>
                    <a:pt x="672" y="996"/>
                  </a:lnTo>
                  <a:lnTo>
                    <a:pt x="684" y="996"/>
                  </a:lnTo>
                  <a:lnTo>
                    <a:pt x="684" y="990"/>
                  </a:lnTo>
                  <a:lnTo>
                    <a:pt x="678" y="984"/>
                  </a:lnTo>
                  <a:lnTo>
                    <a:pt x="666" y="966"/>
                  </a:lnTo>
                  <a:lnTo>
                    <a:pt x="654" y="960"/>
                  </a:lnTo>
                  <a:lnTo>
                    <a:pt x="648" y="960"/>
                  </a:lnTo>
                  <a:lnTo>
                    <a:pt x="642" y="936"/>
                  </a:lnTo>
                  <a:lnTo>
                    <a:pt x="660" y="930"/>
                  </a:lnTo>
                  <a:lnTo>
                    <a:pt x="642" y="918"/>
                  </a:lnTo>
                  <a:lnTo>
                    <a:pt x="642" y="876"/>
                  </a:lnTo>
                  <a:lnTo>
                    <a:pt x="636" y="870"/>
                  </a:lnTo>
                  <a:lnTo>
                    <a:pt x="624" y="870"/>
                  </a:lnTo>
                  <a:lnTo>
                    <a:pt x="618" y="876"/>
                  </a:lnTo>
                  <a:lnTo>
                    <a:pt x="606" y="876"/>
                  </a:lnTo>
                  <a:lnTo>
                    <a:pt x="600" y="870"/>
                  </a:lnTo>
                  <a:lnTo>
                    <a:pt x="600" y="852"/>
                  </a:lnTo>
                  <a:lnTo>
                    <a:pt x="606" y="840"/>
                  </a:lnTo>
                  <a:lnTo>
                    <a:pt x="618" y="834"/>
                  </a:lnTo>
                  <a:lnTo>
                    <a:pt x="630" y="822"/>
                  </a:lnTo>
                  <a:lnTo>
                    <a:pt x="630" y="810"/>
                  </a:lnTo>
                  <a:lnTo>
                    <a:pt x="618" y="786"/>
                  </a:lnTo>
                  <a:lnTo>
                    <a:pt x="612" y="780"/>
                  </a:lnTo>
                  <a:lnTo>
                    <a:pt x="630" y="762"/>
                  </a:lnTo>
                  <a:lnTo>
                    <a:pt x="648" y="750"/>
                  </a:lnTo>
                  <a:lnTo>
                    <a:pt x="642" y="732"/>
                  </a:lnTo>
                  <a:lnTo>
                    <a:pt x="636" y="708"/>
                  </a:lnTo>
                  <a:lnTo>
                    <a:pt x="648" y="708"/>
                  </a:lnTo>
                  <a:lnTo>
                    <a:pt x="648" y="690"/>
                  </a:lnTo>
                  <a:lnTo>
                    <a:pt x="660" y="678"/>
                  </a:lnTo>
                  <a:lnTo>
                    <a:pt x="672" y="672"/>
                  </a:lnTo>
                  <a:lnTo>
                    <a:pt x="678" y="666"/>
                  </a:lnTo>
                  <a:lnTo>
                    <a:pt x="678" y="660"/>
                  </a:lnTo>
                  <a:lnTo>
                    <a:pt x="672" y="654"/>
                  </a:lnTo>
                  <a:lnTo>
                    <a:pt x="672" y="642"/>
                  </a:lnTo>
                  <a:lnTo>
                    <a:pt x="666" y="636"/>
                  </a:lnTo>
                  <a:lnTo>
                    <a:pt x="678" y="624"/>
                  </a:lnTo>
                  <a:close/>
                </a:path>
              </a:pathLst>
            </a:custGeom>
            <a:grpFill/>
            <a:ln w="3175">
              <a:solidFill>
                <a:schemeClr val="bg1"/>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de-DE" sz="1800" b="0" i="0" u="none" strike="noStrike" kern="1200" cap="none" spc="0" normalizeH="0" baseline="0" noProof="0">
                <a:ln>
                  <a:noFill/>
                </a:ln>
                <a:solidFill>
                  <a:srgbClr val="FFC000"/>
                </a:solidFill>
                <a:effectLst/>
                <a:uLnTx/>
                <a:uFillTx/>
                <a:latin typeface="Calibri" pitchFamily="34" charset="0"/>
                <a:ea typeface="+mn-ea"/>
                <a:cs typeface="+mn-cs"/>
              </a:endParaRPr>
            </a:p>
          </p:txBody>
        </p:sp>
        <p:sp>
          <p:nvSpPr>
            <p:cNvPr id="160" name="Canada" descr="© INSCALE GmbH, 05.05.2010&#10;http://www.presentationload.com/"/>
            <p:cNvSpPr>
              <a:spLocks noEditPoints="1"/>
            </p:cNvSpPr>
            <p:nvPr/>
          </p:nvSpPr>
          <p:spPr bwMode="gray">
            <a:xfrm>
              <a:off x="1904779" y="2358830"/>
              <a:ext cx="1808415" cy="896545"/>
            </a:xfrm>
            <a:custGeom>
              <a:avLst/>
              <a:gdLst>
                <a:gd name="T0" fmla="*/ 2147483647 w 5574"/>
                <a:gd name="T1" fmla="*/ 2147483647 h 2886"/>
                <a:gd name="T2" fmla="*/ 2147483647 w 5574"/>
                <a:gd name="T3" fmla="*/ 2147483647 h 2886"/>
                <a:gd name="T4" fmla="*/ 2147483647 w 5574"/>
                <a:gd name="T5" fmla="*/ 2147483647 h 2886"/>
                <a:gd name="T6" fmla="*/ 2147483647 w 5574"/>
                <a:gd name="T7" fmla="*/ 2147483647 h 2886"/>
                <a:gd name="T8" fmla="*/ 2147483647 w 5574"/>
                <a:gd name="T9" fmla="*/ 2147483647 h 2886"/>
                <a:gd name="T10" fmla="*/ 2147483647 w 5574"/>
                <a:gd name="T11" fmla="*/ 2147483647 h 2886"/>
                <a:gd name="T12" fmla="*/ 2147483647 w 5574"/>
                <a:gd name="T13" fmla="*/ 2147483647 h 2886"/>
                <a:gd name="T14" fmla="*/ 2147483647 w 5574"/>
                <a:gd name="T15" fmla="*/ 2147483647 h 2886"/>
                <a:gd name="T16" fmla="*/ 2147483647 w 5574"/>
                <a:gd name="T17" fmla="*/ 2147483647 h 2886"/>
                <a:gd name="T18" fmla="*/ 2147483647 w 5574"/>
                <a:gd name="T19" fmla="*/ 2147483647 h 2886"/>
                <a:gd name="T20" fmla="*/ 2147483647 w 5574"/>
                <a:gd name="T21" fmla="*/ 2147483647 h 2886"/>
                <a:gd name="T22" fmla="*/ 2147483647 w 5574"/>
                <a:gd name="T23" fmla="*/ 2147483647 h 2886"/>
                <a:gd name="T24" fmla="*/ 2147483647 w 5574"/>
                <a:gd name="T25" fmla="*/ 2147483647 h 2886"/>
                <a:gd name="T26" fmla="*/ 2147483647 w 5574"/>
                <a:gd name="T27" fmla="*/ 2147483647 h 2886"/>
                <a:gd name="T28" fmla="*/ 2147483647 w 5574"/>
                <a:gd name="T29" fmla="*/ 2147483647 h 2886"/>
                <a:gd name="T30" fmla="*/ 2147483647 w 5574"/>
                <a:gd name="T31" fmla="*/ 2147483647 h 2886"/>
                <a:gd name="T32" fmla="*/ 2147483647 w 5574"/>
                <a:gd name="T33" fmla="*/ 2147483647 h 2886"/>
                <a:gd name="T34" fmla="*/ 2147483647 w 5574"/>
                <a:gd name="T35" fmla="*/ 2147483647 h 2886"/>
                <a:gd name="T36" fmla="*/ 2147483647 w 5574"/>
                <a:gd name="T37" fmla="*/ 2147483647 h 2886"/>
                <a:gd name="T38" fmla="*/ 2147483647 w 5574"/>
                <a:gd name="T39" fmla="*/ 2147483647 h 2886"/>
                <a:gd name="T40" fmla="*/ 2147483647 w 5574"/>
                <a:gd name="T41" fmla="*/ 2147483647 h 2886"/>
                <a:gd name="T42" fmla="*/ 2147483647 w 5574"/>
                <a:gd name="T43" fmla="*/ 2147483647 h 2886"/>
                <a:gd name="T44" fmla="*/ 2147483647 w 5574"/>
                <a:gd name="T45" fmla="*/ 2147483647 h 2886"/>
                <a:gd name="T46" fmla="*/ 2147483647 w 5574"/>
                <a:gd name="T47" fmla="*/ 2147483647 h 2886"/>
                <a:gd name="T48" fmla="*/ 2147483647 w 5574"/>
                <a:gd name="T49" fmla="*/ 2147483647 h 2886"/>
                <a:gd name="T50" fmla="*/ 2147483647 w 5574"/>
                <a:gd name="T51" fmla="*/ 2147483647 h 2886"/>
                <a:gd name="T52" fmla="*/ 2147483647 w 5574"/>
                <a:gd name="T53" fmla="*/ 2147483647 h 2886"/>
                <a:gd name="T54" fmla="*/ 2147483647 w 5574"/>
                <a:gd name="T55" fmla="*/ 2147483647 h 2886"/>
                <a:gd name="T56" fmla="*/ 2147483647 w 5574"/>
                <a:gd name="T57" fmla="*/ 2147483647 h 2886"/>
                <a:gd name="T58" fmla="*/ 2147483647 w 5574"/>
                <a:gd name="T59" fmla="*/ 2147483647 h 2886"/>
                <a:gd name="T60" fmla="*/ 2147483647 w 5574"/>
                <a:gd name="T61" fmla="*/ 2147483647 h 2886"/>
                <a:gd name="T62" fmla="*/ 2147483647 w 5574"/>
                <a:gd name="T63" fmla="*/ 2147483647 h 2886"/>
                <a:gd name="T64" fmla="*/ 2147483647 w 5574"/>
                <a:gd name="T65" fmla="*/ 2147483647 h 2886"/>
                <a:gd name="T66" fmla="*/ 2147483647 w 5574"/>
                <a:gd name="T67" fmla="*/ 2147483647 h 2886"/>
                <a:gd name="T68" fmla="*/ 2147483647 w 5574"/>
                <a:gd name="T69" fmla="*/ 2147483647 h 2886"/>
                <a:gd name="T70" fmla="*/ 2147483647 w 5574"/>
                <a:gd name="T71" fmla="*/ 2147483647 h 2886"/>
                <a:gd name="T72" fmla="*/ 2147483647 w 5574"/>
                <a:gd name="T73" fmla="*/ 2147483647 h 2886"/>
                <a:gd name="T74" fmla="*/ 2147483647 w 5574"/>
                <a:gd name="T75" fmla="*/ 2147483647 h 2886"/>
                <a:gd name="T76" fmla="*/ 2147483647 w 5574"/>
                <a:gd name="T77" fmla="*/ 2147483647 h 2886"/>
                <a:gd name="T78" fmla="*/ 2147483647 w 5574"/>
                <a:gd name="T79" fmla="*/ 2147483647 h 2886"/>
                <a:gd name="T80" fmla="*/ 2147483647 w 5574"/>
                <a:gd name="T81" fmla="*/ 2147483647 h 2886"/>
                <a:gd name="T82" fmla="*/ 2147483647 w 5574"/>
                <a:gd name="T83" fmla="*/ 2147483647 h 2886"/>
                <a:gd name="T84" fmla="*/ 2147483647 w 5574"/>
                <a:gd name="T85" fmla="*/ 2147483647 h 2886"/>
                <a:gd name="T86" fmla="*/ 2147483647 w 5574"/>
                <a:gd name="T87" fmla="*/ 2147483647 h 2886"/>
                <a:gd name="T88" fmla="*/ 2147483647 w 5574"/>
                <a:gd name="T89" fmla="*/ 2147483647 h 2886"/>
                <a:gd name="T90" fmla="*/ 2147483647 w 5574"/>
                <a:gd name="T91" fmla="*/ 2147483647 h 2886"/>
                <a:gd name="T92" fmla="*/ 2147483647 w 5574"/>
                <a:gd name="T93" fmla="*/ 2147483647 h 2886"/>
                <a:gd name="T94" fmla="*/ 2147483647 w 5574"/>
                <a:gd name="T95" fmla="*/ 2147483647 h 2886"/>
                <a:gd name="T96" fmla="*/ 2147483647 w 5574"/>
                <a:gd name="T97" fmla="*/ 2147483647 h 2886"/>
                <a:gd name="T98" fmla="*/ 2147483647 w 5574"/>
                <a:gd name="T99" fmla="*/ 2147483647 h 2886"/>
                <a:gd name="T100" fmla="*/ 2147483647 w 5574"/>
                <a:gd name="T101" fmla="*/ 2147483647 h 2886"/>
                <a:gd name="T102" fmla="*/ 2147483647 w 5574"/>
                <a:gd name="T103" fmla="*/ 2147483647 h 2886"/>
                <a:gd name="T104" fmla="*/ 2147483647 w 5574"/>
                <a:gd name="T105" fmla="*/ 2147483647 h 2886"/>
                <a:gd name="T106" fmla="*/ 2147483647 w 5574"/>
                <a:gd name="T107" fmla="*/ 2147483647 h 2886"/>
                <a:gd name="T108" fmla="*/ 2147483647 w 5574"/>
                <a:gd name="T109" fmla="*/ 2147483647 h 2886"/>
                <a:gd name="T110" fmla="*/ 2147483647 w 5574"/>
                <a:gd name="T111" fmla="*/ 2147483647 h 2886"/>
                <a:gd name="T112" fmla="*/ 2147483647 w 5574"/>
                <a:gd name="T113" fmla="*/ 2147483647 h 2886"/>
                <a:gd name="T114" fmla="*/ 2147483647 w 5574"/>
                <a:gd name="T115" fmla="*/ 2147483647 h 2886"/>
                <a:gd name="T116" fmla="*/ 2147483647 w 5574"/>
                <a:gd name="T117" fmla="*/ 2147483647 h 2886"/>
                <a:gd name="T118" fmla="*/ 2147483647 w 5574"/>
                <a:gd name="T119" fmla="*/ 2147483647 h 2886"/>
                <a:gd name="T120" fmla="*/ 2147483647 w 5574"/>
                <a:gd name="T121" fmla="*/ 2147483647 h 2886"/>
                <a:gd name="T122" fmla="*/ 2147483647 w 5574"/>
                <a:gd name="T123" fmla="*/ 2147483647 h 2886"/>
                <a:gd name="T124" fmla="*/ 2147483647 w 5574"/>
                <a:gd name="T125" fmla="*/ 2147483647 h 288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5574"/>
                <a:gd name="T190" fmla="*/ 0 h 2886"/>
                <a:gd name="T191" fmla="*/ 5574 w 5574"/>
                <a:gd name="T192" fmla="*/ 2886 h 288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5574" h="2886">
                  <a:moveTo>
                    <a:pt x="3114" y="252"/>
                  </a:moveTo>
                  <a:lnTo>
                    <a:pt x="3138" y="252"/>
                  </a:lnTo>
                  <a:lnTo>
                    <a:pt x="3150" y="258"/>
                  </a:lnTo>
                  <a:lnTo>
                    <a:pt x="3168" y="258"/>
                  </a:lnTo>
                  <a:lnTo>
                    <a:pt x="3174" y="252"/>
                  </a:lnTo>
                  <a:lnTo>
                    <a:pt x="3174" y="246"/>
                  </a:lnTo>
                  <a:lnTo>
                    <a:pt x="3168" y="234"/>
                  </a:lnTo>
                  <a:lnTo>
                    <a:pt x="3156" y="228"/>
                  </a:lnTo>
                  <a:lnTo>
                    <a:pt x="3108" y="228"/>
                  </a:lnTo>
                  <a:lnTo>
                    <a:pt x="3066" y="234"/>
                  </a:lnTo>
                  <a:lnTo>
                    <a:pt x="3036" y="246"/>
                  </a:lnTo>
                  <a:lnTo>
                    <a:pt x="3018" y="246"/>
                  </a:lnTo>
                  <a:lnTo>
                    <a:pt x="3060" y="246"/>
                  </a:lnTo>
                  <a:lnTo>
                    <a:pt x="3096" y="252"/>
                  </a:lnTo>
                  <a:lnTo>
                    <a:pt x="3114" y="252"/>
                  </a:lnTo>
                  <a:close/>
                  <a:moveTo>
                    <a:pt x="2988" y="318"/>
                  </a:moveTo>
                  <a:lnTo>
                    <a:pt x="3036" y="318"/>
                  </a:lnTo>
                  <a:lnTo>
                    <a:pt x="3048" y="312"/>
                  </a:lnTo>
                  <a:lnTo>
                    <a:pt x="3060" y="312"/>
                  </a:lnTo>
                  <a:lnTo>
                    <a:pt x="3072" y="300"/>
                  </a:lnTo>
                  <a:lnTo>
                    <a:pt x="3072" y="294"/>
                  </a:lnTo>
                  <a:lnTo>
                    <a:pt x="3066" y="282"/>
                  </a:lnTo>
                  <a:lnTo>
                    <a:pt x="3138" y="270"/>
                  </a:lnTo>
                  <a:lnTo>
                    <a:pt x="3120" y="264"/>
                  </a:lnTo>
                  <a:lnTo>
                    <a:pt x="3054" y="264"/>
                  </a:lnTo>
                  <a:lnTo>
                    <a:pt x="3042" y="276"/>
                  </a:lnTo>
                  <a:lnTo>
                    <a:pt x="3030" y="276"/>
                  </a:lnTo>
                  <a:lnTo>
                    <a:pt x="2994" y="270"/>
                  </a:lnTo>
                  <a:lnTo>
                    <a:pt x="2958" y="270"/>
                  </a:lnTo>
                  <a:lnTo>
                    <a:pt x="2940" y="282"/>
                  </a:lnTo>
                  <a:lnTo>
                    <a:pt x="2940" y="294"/>
                  </a:lnTo>
                  <a:lnTo>
                    <a:pt x="2946" y="300"/>
                  </a:lnTo>
                  <a:lnTo>
                    <a:pt x="2970" y="312"/>
                  </a:lnTo>
                  <a:lnTo>
                    <a:pt x="2976" y="318"/>
                  </a:lnTo>
                  <a:lnTo>
                    <a:pt x="2988" y="318"/>
                  </a:lnTo>
                  <a:close/>
                  <a:moveTo>
                    <a:pt x="2682" y="384"/>
                  </a:moveTo>
                  <a:lnTo>
                    <a:pt x="2628" y="408"/>
                  </a:lnTo>
                  <a:lnTo>
                    <a:pt x="2634" y="408"/>
                  </a:lnTo>
                  <a:lnTo>
                    <a:pt x="2646" y="414"/>
                  </a:lnTo>
                  <a:lnTo>
                    <a:pt x="2652" y="414"/>
                  </a:lnTo>
                  <a:lnTo>
                    <a:pt x="2658" y="420"/>
                  </a:lnTo>
                  <a:lnTo>
                    <a:pt x="2658" y="426"/>
                  </a:lnTo>
                  <a:lnTo>
                    <a:pt x="2622" y="426"/>
                  </a:lnTo>
                  <a:lnTo>
                    <a:pt x="2586" y="432"/>
                  </a:lnTo>
                  <a:lnTo>
                    <a:pt x="2556" y="438"/>
                  </a:lnTo>
                  <a:lnTo>
                    <a:pt x="2544" y="438"/>
                  </a:lnTo>
                  <a:lnTo>
                    <a:pt x="2520" y="456"/>
                  </a:lnTo>
                  <a:lnTo>
                    <a:pt x="2580" y="450"/>
                  </a:lnTo>
                  <a:lnTo>
                    <a:pt x="2586" y="450"/>
                  </a:lnTo>
                  <a:lnTo>
                    <a:pt x="2592" y="456"/>
                  </a:lnTo>
                  <a:lnTo>
                    <a:pt x="2610" y="456"/>
                  </a:lnTo>
                  <a:lnTo>
                    <a:pt x="2628" y="462"/>
                  </a:lnTo>
                  <a:lnTo>
                    <a:pt x="2658" y="462"/>
                  </a:lnTo>
                  <a:lnTo>
                    <a:pt x="2694" y="450"/>
                  </a:lnTo>
                  <a:lnTo>
                    <a:pt x="2730" y="444"/>
                  </a:lnTo>
                  <a:lnTo>
                    <a:pt x="2742" y="438"/>
                  </a:lnTo>
                  <a:lnTo>
                    <a:pt x="2742" y="450"/>
                  </a:lnTo>
                  <a:lnTo>
                    <a:pt x="2760" y="450"/>
                  </a:lnTo>
                  <a:lnTo>
                    <a:pt x="2796" y="444"/>
                  </a:lnTo>
                  <a:lnTo>
                    <a:pt x="2856" y="444"/>
                  </a:lnTo>
                  <a:lnTo>
                    <a:pt x="2850" y="444"/>
                  </a:lnTo>
                  <a:lnTo>
                    <a:pt x="2844" y="450"/>
                  </a:lnTo>
                  <a:lnTo>
                    <a:pt x="2832" y="450"/>
                  </a:lnTo>
                  <a:lnTo>
                    <a:pt x="2790" y="456"/>
                  </a:lnTo>
                  <a:lnTo>
                    <a:pt x="2730" y="468"/>
                  </a:lnTo>
                  <a:lnTo>
                    <a:pt x="2706" y="468"/>
                  </a:lnTo>
                  <a:lnTo>
                    <a:pt x="2688" y="474"/>
                  </a:lnTo>
                  <a:lnTo>
                    <a:pt x="2670" y="474"/>
                  </a:lnTo>
                  <a:lnTo>
                    <a:pt x="2652" y="480"/>
                  </a:lnTo>
                  <a:lnTo>
                    <a:pt x="2646" y="486"/>
                  </a:lnTo>
                  <a:lnTo>
                    <a:pt x="2640" y="486"/>
                  </a:lnTo>
                  <a:lnTo>
                    <a:pt x="2658" y="486"/>
                  </a:lnTo>
                  <a:lnTo>
                    <a:pt x="2694" y="492"/>
                  </a:lnTo>
                  <a:lnTo>
                    <a:pt x="2760" y="498"/>
                  </a:lnTo>
                  <a:lnTo>
                    <a:pt x="2808" y="492"/>
                  </a:lnTo>
                  <a:lnTo>
                    <a:pt x="2850" y="480"/>
                  </a:lnTo>
                  <a:lnTo>
                    <a:pt x="2874" y="474"/>
                  </a:lnTo>
                  <a:lnTo>
                    <a:pt x="2886" y="468"/>
                  </a:lnTo>
                  <a:lnTo>
                    <a:pt x="2958" y="450"/>
                  </a:lnTo>
                  <a:lnTo>
                    <a:pt x="3000" y="450"/>
                  </a:lnTo>
                  <a:lnTo>
                    <a:pt x="3054" y="444"/>
                  </a:lnTo>
                  <a:lnTo>
                    <a:pt x="3096" y="438"/>
                  </a:lnTo>
                  <a:lnTo>
                    <a:pt x="3120" y="432"/>
                  </a:lnTo>
                  <a:lnTo>
                    <a:pt x="3138" y="420"/>
                  </a:lnTo>
                  <a:lnTo>
                    <a:pt x="3156" y="414"/>
                  </a:lnTo>
                  <a:lnTo>
                    <a:pt x="3168" y="408"/>
                  </a:lnTo>
                  <a:lnTo>
                    <a:pt x="3168" y="396"/>
                  </a:lnTo>
                  <a:lnTo>
                    <a:pt x="3156" y="384"/>
                  </a:lnTo>
                  <a:lnTo>
                    <a:pt x="3144" y="378"/>
                  </a:lnTo>
                  <a:lnTo>
                    <a:pt x="3120" y="378"/>
                  </a:lnTo>
                  <a:lnTo>
                    <a:pt x="3114" y="384"/>
                  </a:lnTo>
                  <a:lnTo>
                    <a:pt x="3108" y="384"/>
                  </a:lnTo>
                  <a:lnTo>
                    <a:pt x="3108" y="396"/>
                  </a:lnTo>
                  <a:lnTo>
                    <a:pt x="3072" y="396"/>
                  </a:lnTo>
                  <a:lnTo>
                    <a:pt x="3078" y="390"/>
                  </a:lnTo>
                  <a:lnTo>
                    <a:pt x="3078" y="378"/>
                  </a:lnTo>
                  <a:lnTo>
                    <a:pt x="3102" y="354"/>
                  </a:lnTo>
                  <a:lnTo>
                    <a:pt x="3102" y="342"/>
                  </a:lnTo>
                  <a:lnTo>
                    <a:pt x="3096" y="342"/>
                  </a:lnTo>
                  <a:lnTo>
                    <a:pt x="3054" y="348"/>
                  </a:lnTo>
                  <a:lnTo>
                    <a:pt x="2988" y="372"/>
                  </a:lnTo>
                  <a:lnTo>
                    <a:pt x="2976" y="378"/>
                  </a:lnTo>
                  <a:lnTo>
                    <a:pt x="3024" y="378"/>
                  </a:lnTo>
                  <a:lnTo>
                    <a:pt x="3018" y="408"/>
                  </a:lnTo>
                  <a:lnTo>
                    <a:pt x="2898" y="420"/>
                  </a:lnTo>
                  <a:lnTo>
                    <a:pt x="2898" y="414"/>
                  </a:lnTo>
                  <a:lnTo>
                    <a:pt x="2892" y="408"/>
                  </a:lnTo>
                  <a:lnTo>
                    <a:pt x="2892" y="372"/>
                  </a:lnTo>
                  <a:lnTo>
                    <a:pt x="2886" y="366"/>
                  </a:lnTo>
                  <a:lnTo>
                    <a:pt x="2874" y="366"/>
                  </a:lnTo>
                  <a:lnTo>
                    <a:pt x="2856" y="360"/>
                  </a:lnTo>
                  <a:lnTo>
                    <a:pt x="2814" y="360"/>
                  </a:lnTo>
                  <a:lnTo>
                    <a:pt x="2682" y="384"/>
                  </a:lnTo>
                  <a:close/>
                  <a:moveTo>
                    <a:pt x="2832" y="342"/>
                  </a:moveTo>
                  <a:lnTo>
                    <a:pt x="2844" y="330"/>
                  </a:lnTo>
                  <a:lnTo>
                    <a:pt x="2844" y="318"/>
                  </a:lnTo>
                  <a:lnTo>
                    <a:pt x="2838" y="312"/>
                  </a:lnTo>
                  <a:lnTo>
                    <a:pt x="2814" y="312"/>
                  </a:lnTo>
                  <a:lnTo>
                    <a:pt x="2802" y="318"/>
                  </a:lnTo>
                  <a:lnTo>
                    <a:pt x="2796" y="324"/>
                  </a:lnTo>
                  <a:lnTo>
                    <a:pt x="2796" y="330"/>
                  </a:lnTo>
                  <a:lnTo>
                    <a:pt x="2802" y="336"/>
                  </a:lnTo>
                  <a:lnTo>
                    <a:pt x="2814" y="336"/>
                  </a:lnTo>
                  <a:lnTo>
                    <a:pt x="2820" y="342"/>
                  </a:lnTo>
                  <a:lnTo>
                    <a:pt x="2832" y="342"/>
                  </a:lnTo>
                  <a:close/>
                  <a:moveTo>
                    <a:pt x="3012" y="564"/>
                  </a:moveTo>
                  <a:lnTo>
                    <a:pt x="2988" y="540"/>
                  </a:lnTo>
                  <a:lnTo>
                    <a:pt x="2958" y="540"/>
                  </a:lnTo>
                  <a:lnTo>
                    <a:pt x="2952" y="534"/>
                  </a:lnTo>
                  <a:lnTo>
                    <a:pt x="2946" y="534"/>
                  </a:lnTo>
                  <a:lnTo>
                    <a:pt x="2934" y="528"/>
                  </a:lnTo>
                  <a:lnTo>
                    <a:pt x="2916" y="528"/>
                  </a:lnTo>
                  <a:lnTo>
                    <a:pt x="2898" y="534"/>
                  </a:lnTo>
                  <a:lnTo>
                    <a:pt x="2892" y="540"/>
                  </a:lnTo>
                  <a:lnTo>
                    <a:pt x="2892" y="552"/>
                  </a:lnTo>
                  <a:lnTo>
                    <a:pt x="2928" y="570"/>
                  </a:lnTo>
                  <a:lnTo>
                    <a:pt x="2934" y="576"/>
                  </a:lnTo>
                  <a:lnTo>
                    <a:pt x="2946" y="582"/>
                  </a:lnTo>
                  <a:lnTo>
                    <a:pt x="3012" y="564"/>
                  </a:lnTo>
                  <a:close/>
                  <a:moveTo>
                    <a:pt x="2460" y="414"/>
                  </a:moveTo>
                  <a:lnTo>
                    <a:pt x="2442" y="420"/>
                  </a:lnTo>
                  <a:lnTo>
                    <a:pt x="2430" y="426"/>
                  </a:lnTo>
                  <a:lnTo>
                    <a:pt x="2430" y="438"/>
                  </a:lnTo>
                  <a:lnTo>
                    <a:pt x="2442" y="438"/>
                  </a:lnTo>
                  <a:lnTo>
                    <a:pt x="2472" y="432"/>
                  </a:lnTo>
                  <a:lnTo>
                    <a:pt x="2490" y="426"/>
                  </a:lnTo>
                  <a:lnTo>
                    <a:pt x="2502" y="420"/>
                  </a:lnTo>
                  <a:lnTo>
                    <a:pt x="2502" y="414"/>
                  </a:lnTo>
                  <a:lnTo>
                    <a:pt x="2496" y="408"/>
                  </a:lnTo>
                  <a:lnTo>
                    <a:pt x="2484" y="408"/>
                  </a:lnTo>
                  <a:lnTo>
                    <a:pt x="2460" y="414"/>
                  </a:lnTo>
                  <a:close/>
                  <a:moveTo>
                    <a:pt x="2970" y="858"/>
                  </a:moveTo>
                  <a:lnTo>
                    <a:pt x="2988" y="858"/>
                  </a:lnTo>
                  <a:lnTo>
                    <a:pt x="3006" y="864"/>
                  </a:lnTo>
                  <a:lnTo>
                    <a:pt x="3018" y="870"/>
                  </a:lnTo>
                  <a:lnTo>
                    <a:pt x="3036" y="876"/>
                  </a:lnTo>
                  <a:lnTo>
                    <a:pt x="3060" y="882"/>
                  </a:lnTo>
                  <a:lnTo>
                    <a:pt x="3096" y="882"/>
                  </a:lnTo>
                  <a:lnTo>
                    <a:pt x="3126" y="876"/>
                  </a:lnTo>
                  <a:lnTo>
                    <a:pt x="3138" y="876"/>
                  </a:lnTo>
                  <a:lnTo>
                    <a:pt x="3120" y="810"/>
                  </a:lnTo>
                  <a:lnTo>
                    <a:pt x="3018" y="792"/>
                  </a:lnTo>
                  <a:lnTo>
                    <a:pt x="2988" y="828"/>
                  </a:lnTo>
                  <a:lnTo>
                    <a:pt x="2958" y="828"/>
                  </a:lnTo>
                  <a:lnTo>
                    <a:pt x="2952" y="834"/>
                  </a:lnTo>
                  <a:lnTo>
                    <a:pt x="2952" y="846"/>
                  </a:lnTo>
                  <a:lnTo>
                    <a:pt x="2958" y="852"/>
                  </a:lnTo>
                  <a:lnTo>
                    <a:pt x="2970" y="858"/>
                  </a:lnTo>
                  <a:close/>
                  <a:moveTo>
                    <a:pt x="168" y="2034"/>
                  </a:moveTo>
                  <a:lnTo>
                    <a:pt x="168" y="2040"/>
                  </a:lnTo>
                  <a:lnTo>
                    <a:pt x="174" y="2046"/>
                  </a:lnTo>
                  <a:lnTo>
                    <a:pt x="192" y="2046"/>
                  </a:lnTo>
                  <a:lnTo>
                    <a:pt x="186" y="2070"/>
                  </a:lnTo>
                  <a:lnTo>
                    <a:pt x="216" y="2052"/>
                  </a:lnTo>
                  <a:lnTo>
                    <a:pt x="216" y="2028"/>
                  </a:lnTo>
                  <a:lnTo>
                    <a:pt x="174" y="2028"/>
                  </a:lnTo>
                  <a:lnTo>
                    <a:pt x="168" y="2034"/>
                  </a:lnTo>
                  <a:close/>
                  <a:moveTo>
                    <a:pt x="252" y="2298"/>
                  </a:moveTo>
                  <a:lnTo>
                    <a:pt x="252" y="2292"/>
                  </a:lnTo>
                  <a:lnTo>
                    <a:pt x="246" y="2286"/>
                  </a:lnTo>
                  <a:lnTo>
                    <a:pt x="246" y="2268"/>
                  </a:lnTo>
                  <a:lnTo>
                    <a:pt x="252" y="2256"/>
                  </a:lnTo>
                  <a:lnTo>
                    <a:pt x="252" y="2238"/>
                  </a:lnTo>
                  <a:lnTo>
                    <a:pt x="246" y="2226"/>
                  </a:lnTo>
                  <a:lnTo>
                    <a:pt x="228" y="2226"/>
                  </a:lnTo>
                  <a:lnTo>
                    <a:pt x="216" y="2220"/>
                  </a:lnTo>
                  <a:lnTo>
                    <a:pt x="204" y="2220"/>
                  </a:lnTo>
                  <a:lnTo>
                    <a:pt x="192" y="2214"/>
                  </a:lnTo>
                  <a:lnTo>
                    <a:pt x="186" y="2208"/>
                  </a:lnTo>
                  <a:lnTo>
                    <a:pt x="174" y="2202"/>
                  </a:lnTo>
                  <a:lnTo>
                    <a:pt x="150" y="2178"/>
                  </a:lnTo>
                  <a:lnTo>
                    <a:pt x="138" y="2172"/>
                  </a:lnTo>
                  <a:lnTo>
                    <a:pt x="126" y="2172"/>
                  </a:lnTo>
                  <a:lnTo>
                    <a:pt x="102" y="2184"/>
                  </a:lnTo>
                  <a:lnTo>
                    <a:pt x="96" y="2196"/>
                  </a:lnTo>
                  <a:lnTo>
                    <a:pt x="96" y="2202"/>
                  </a:lnTo>
                  <a:lnTo>
                    <a:pt x="108" y="2208"/>
                  </a:lnTo>
                  <a:lnTo>
                    <a:pt x="114" y="2214"/>
                  </a:lnTo>
                  <a:lnTo>
                    <a:pt x="120" y="2214"/>
                  </a:lnTo>
                  <a:lnTo>
                    <a:pt x="132" y="2202"/>
                  </a:lnTo>
                  <a:lnTo>
                    <a:pt x="144" y="2208"/>
                  </a:lnTo>
                  <a:lnTo>
                    <a:pt x="132" y="2220"/>
                  </a:lnTo>
                  <a:lnTo>
                    <a:pt x="120" y="2220"/>
                  </a:lnTo>
                  <a:lnTo>
                    <a:pt x="114" y="2226"/>
                  </a:lnTo>
                  <a:lnTo>
                    <a:pt x="102" y="2232"/>
                  </a:lnTo>
                  <a:lnTo>
                    <a:pt x="102" y="2244"/>
                  </a:lnTo>
                  <a:lnTo>
                    <a:pt x="108" y="2250"/>
                  </a:lnTo>
                  <a:lnTo>
                    <a:pt x="126" y="2250"/>
                  </a:lnTo>
                  <a:lnTo>
                    <a:pt x="138" y="2244"/>
                  </a:lnTo>
                  <a:lnTo>
                    <a:pt x="132" y="2262"/>
                  </a:lnTo>
                  <a:lnTo>
                    <a:pt x="150" y="2262"/>
                  </a:lnTo>
                  <a:lnTo>
                    <a:pt x="132" y="2280"/>
                  </a:lnTo>
                  <a:lnTo>
                    <a:pt x="168" y="2274"/>
                  </a:lnTo>
                  <a:lnTo>
                    <a:pt x="156" y="2280"/>
                  </a:lnTo>
                  <a:lnTo>
                    <a:pt x="144" y="2292"/>
                  </a:lnTo>
                  <a:lnTo>
                    <a:pt x="138" y="2292"/>
                  </a:lnTo>
                  <a:lnTo>
                    <a:pt x="138" y="2298"/>
                  </a:lnTo>
                  <a:lnTo>
                    <a:pt x="150" y="2298"/>
                  </a:lnTo>
                  <a:lnTo>
                    <a:pt x="162" y="2286"/>
                  </a:lnTo>
                  <a:lnTo>
                    <a:pt x="168" y="2286"/>
                  </a:lnTo>
                  <a:lnTo>
                    <a:pt x="174" y="2292"/>
                  </a:lnTo>
                  <a:lnTo>
                    <a:pt x="174" y="2304"/>
                  </a:lnTo>
                  <a:lnTo>
                    <a:pt x="162" y="2316"/>
                  </a:lnTo>
                  <a:lnTo>
                    <a:pt x="162" y="2328"/>
                  </a:lnTo>
                  <a:lnTo>
                    <a:pt x="210" y="2328"/>
                  </a:lnTo>
                  <a:lnTo>
                    <a:pt x="228" y="2316"/>
                  </a:lnTo>
                  <a:lnTo>
                    <a:pt x="210" y="2340"/>
                  </a:lnTo>
                  <a:lnTo>
                    <a:pt x="192" y="2340"/>
                  </a:lnTo>
                  <a:lnTo>
                    <a:pt x="186" y="2346"/>
                  </a:lnTo>
                  <a:lnTo>
                    <a:pt x="186" y="2352"/>
                  </a:lnTo>
                  <a:lnTo>
                    <a:pt x="210" y="2364"/>
                  </a:lnTo>
                  <a:lnTo>
                    <a:pt x="216" y="2364"/>
                  </a:lnTo>
                  <a:lnTo>
                    <a:pt x="228" y="2370"/>
                  </a:lnTo>
                  <a:lnTo>
                    <a:pt x="234" y="2376"/>
                  </a:lnTo>
                  <a:lnTo>
                    <a:pt x="246" y="2376"/>
                  </a:lnTo>
                  <a:lnTo>
                    <a:pt x="258" y="2382"/>
                  </a:lnTo>
                  <a:lnTo>
                    <a:pt x="270" y="2376"/>
                  </a:lnTo>
                  <a:lnTo>
                    <a:pt x="288" y="2358"/>
                  </a:lnTo>
                  <a:lnTo>
                    <a:pt x="294" y="2346"/>
                  </a:lnTo>
                  <a:lnTo>
                    <a:pt x="294" y="2340"/>
                  </a:lnTo>
                  <a:lnTo>
                    <a:pt x="288" y="2334"/>
                  </a:lnTo>
                  <a:lnTo>
                    <a:pt x="282" y="2322"/>
                  </a:lnTo>
                  <a:lnTo>
                    <a:pt x="270" y="2316"/>
                  </a:lnTo>
                  <a:lnTo>
                    <a:pt x="264" y="2304"/>
                  </a:lnTo>
                  <a:lnTo>
                    <a:pt x="252" y="2298"/>
                  </a:lnTo>
                  <a:close/>
                  <a:moveTo>
                    <a:pt x="2304" y="372"/>
                  </a:moveTo>
                  <a:lnTo>
                    <a:pt x="2316" y="372"/>
                  </a:lnTo>
                  <a:lnTo>
                    <a:pt x="2328" y="366"/>
                  </a:lnTo>
                  <a:lnTo>
                    <a:pt x="2376" y="366"/>
                  </a:lnTo>
                  <a:lnTo>
                    <a:pt x="2388" y="378"/>
                  </a:lnTo>
                  <a:lnTo>
                    <a:pt x="2388" y="390"/>
                  </a:lnTo>
                  <a:lnTo>
                    <a:pt x="2424" y="390"/>
                  </a:lnTo>
                  <a:lnTo>
                    <a:pt x="2442" y="384"/>
                  </a:lnTo>
                  <a:lnTo>
                    <a:pt x="2454" y="384"/>
                  </a:lnTo>
                  <a:lnTo>
                    <a:pt x="2466" y="390"/>
                  </a:lnTo>
                  <a:lnTo>
                    <a:pt x="2472" y="396"/>
                  </a:lnTo>
                  <a:lnTo>
                    <a:pt x="2490" y="396"/>
                  </a:lnTo>
                  <a:lnTo>
                    <a:pt x="2514" y="384"/>
                  </a:lnTo>
                  <a:lnTo>
                    <a:pt x="2520" y="372"/>
                  </a:lnTo>
                  <a:lnTo>
                    <a:pt x="2520" y="354"/>
                  </a:lnTo>
                  <a:lnTo>
                    <a:pt x="2550" y="354"/>
                  </a:lnTo>
                  <a:lnTo>
                    <a:pt x="2616" y="336"/>
                  </a:lnTo>
                  <a:lnTo>
                    <a:pt x="2580" y="366"/>
                  </a:lnTo>
                  <a:lnTo>
                    <a:pt x="2634" y="378"/>
                  </a:lnTo>
                  <a:lnTo>
                    <a:pt x="2688" y="354"/>
                  </a:lnTo>
                  <a:lnTo>
                    <a:pt x="2784" y="312"/>
                  </a:lnTo>
                  <a:lnTo>
                    <a:pt x="2778" y="312"/>
                  </a:lnTo>
                  <a:lnTo>
                    <a:pt x="2772" y="306"/>
                  </a:lnTo>
                  <a:lnTo>
                    <a:pt x="2754" y="300"/>
                  </a:lnTo>
                  <a:lnTo>
                    <a:pt x="2736" y="300"/>
                  </a:lnTo>
                  <a:lnTo>
                    <a:pt x="2724" y="294"/>
                  </a:lnTo>
                  <a:lnTo>
                    <a:pt x="2706" y="288"/>
                  </a:lnTo>
                  <a:lnTo>
                    <a:pt x="2676" y="288"/>
                  </a:lnTo>
                  <a:lnTo>
                    <a:pt x="2646" y="282"/>
                  </a:lnTo>
                  <a:lnTo>
                    <a:pt x="2604" y="282"/>
                  </a:lnTo>
                  <a:lnTo>
                    <a:pt x="2526" y="294"/>
                  </a:lnTo>
                  <a:lnTo>
                    <a:pt x="2526" y="318"/>
                  </a:lnTo>
                  <a:lnTo>
                    <a:pt x="2406" y="324"/>
                  </a:lnTo>
                  <a:lnTo>
                    <a:pt x="2400" y="324"/>
                  </a:lnTo>
                  <a:lnTo>
                    <a:pt x="2394" y="318"/>
                  </a:lnTo>
                  <a:lnTo>
                    <a:pt x="2334" y="318"/>
                  </a:lnTo>
                  <a:lnTo>
                    <a:pt x="2322" y="324"/>
                  </a:lnTo>
                  <a:lnTo>
                    <a:pt x="2310" y="324"/>
                  </a:lnTo>
                  <a:lnTo>
                    <a:pt x="2304" y="330"/>
                  </a:lnTo>
                  <a:lnTo>
                    <a:pt x="2304" y="372"/>
                  </a:lnTo>
                  <a:close/>
                  <a:moveTo>
                    <a:pt x="150" y="1980"/>
                  </a:moveTo>
                  <a:lnTo>
                    <a:pt x="162" y="2004"/>
                  </a:lnTo>
                  <a:lnTo>
                    <a:pt x="174" y="2010"/>
                  </a:lnTo>
                  <a:lnTo>
                    <a:pt x="186" y="1980"/>
                  </a:lnTo>
                  <a:lnTo>
                    <a:pt x="180" y="1974"/>
                  </a:lnTo>
                  <a:lnTo>
                    <a:pt x="174" y="1974"/>
                  </a:lnTo>
                  <a:lnTo>
                    <a:pt x="162" y="1968"/>
                  </a:lnTo>
                  <a:lnTo>
                    <a:pt x="156" y="1968"/>
                  </a:lnTo>
                  <a:lnTo>
                    <a:pt x="150" y="1974"/>
                  </a:lnTo>
                  <a:lnTo>
                    <a:pt x="150" y="1980"/>
                  </a:lnTo>
                  <a:close/>
                  <a:moveTo>
                    <a:pt x="126" y="1932"/>
                  </a:moveTo>
                  <a:lnTo>
                    <a:pt x="120" y="1932"/>
                  </a:lnTo>
                  <a:lnTo>
                    <a:pt x="108" y="1938"/>
                  </a:lnTo>
                  <a:lnTo>
                    <a:pt x="96" y="1938"/>
                  </a:lnTo>
                  <a:lnTo>
                    <a:pt x="84" y="1944"/>
                  </a:lnTo>
                  <a:lnTo>
                    <a:pt x="78" y="1944"/>
                  </a:lnTo>
                  <a:lnTo>
                    <a:pt x="78" y="1950"/>
                  </a:lnTo>
                  <a:lnTo>
                    <a:pt x="72" y="1962"/>
                  </a:lnTo>
                  <a:lnTo>
                    <a:pt x="66" y="1968"/>
                  </a:lnTo>
                  <a:lnTo>
                    <a:pt x="48" y="1968"/>
                  </a:lnTo>
                  <a:lnTo>
                    <a:pt x="42" y="1962"/>
                  </a:lnTo>
                  <a:lnTo>
                    <a:pt x="48" y="1956"/>
                  </a:lnTo>
                  <a:lnTo>
                    <a:pt x="60" y="1956"/>
                  </a:lnTo>
                  <a:lnTo>
                    <a:pt x="66" y="1950"/>
                  </a:lnTo>
                  <a:lnTo>
                    <a:pt x="72" y="1950"/>
                  </a:lnTo>
                  <a:lnTo>
                    <a:pt x="78" y="1944"/>
                  </a:lnTo>
                  <a:lnTo>
                    <a:pt x="84" y="1944"/>
                  </a:lnTo>
                  <a:lnTo>
                    <a:pt x="78" y="1938"/>
                  </a:lnTo>
                  <a:lnTo>
                    <a:pt x="54" y="1938"/>
                  </a:lnTo>
                  <a:lnTo>
                    <a:pt x="48" y="1944"/>
                  </a:lnTo>
                  <a:lnTo>
                    <a:pt x="48" y="1932"/>
                  </a:lnTo>
                  <a:lnTo>
                    <a:pt x="36" y="1932"/>
                  </a:lnTo>
                  <a:lnTo>
                    <a:pt x="24" y="1944"/>
                  </a:lnTo>
                  <a:lnTo>
                    <a:pt x="6" y="1980"/>
                  </a:lnTo>
                  <a:lnTo>
                    <a:pt x="6" y="2004"/>
                  </a:lnTo>
                  <a:lnTo>
                    <a:pt x="12" y="2004"/>
                  </a:lnTo>
                  <a:lnTo>
                    <a:pt x="12" y="2010"/>
                  </a:lnTo>
                  <a:lnTo>
                    <a:pt x="18" y="2016"/>
                  </a:lnTo>
                  <a:lnTo>
                    <a:pt x="0" y="2022"/>
                  </a:lnTo>
                  <a:lnTo>
                    <a:pt x="12" y="2076"/>
                  </a:lnTo>
                  <a:lnTo>
                    <a:pt x="12" y="2082"/>
                  </a:lnTo>
                  <a:lnTo>
                    <a:pt x="6" y="2082"/>
                  </a:lnTo>
                  <a:lnTo>
                    <a:pt x="12" y="2088"/>
                  </a:lnTo>
                  <a:lnTo>
                    <a:pt x="12" y="2094"/>
                  </a:lnTo>
                  <a:lnTo>
                    <a:pt x="30" y="2094"/>
                  </a:lnTo>
                  <a:lnTo>
                    <a:pt x="30" y="2070"/>
                  </a:lnTo>
                  <a:lnTo>
                    <a:pt x="24" y="2058"/>
                  </a:lnTo>
                  <a:lnTo>
                    <a:pt x="24" y="2040"/>
                  </a:lnTo>
                  <a:lnTo>
                    <a:pt x="36" y="2028"/>
                  </a:lnTo>
                  <a:lnTo>
                    <a:pt x="42" y="2028"/>
                  </a:lnTo>
                  <a:lnTo>
                    <a:pt x="48" y="2016"/>
                  </a:lnTo>
                  <a:lnTo>
                    <a:pt x="54" y="2010"/>
                  </a:lnTo>
                  <a:lnTo>
                    <a:pt x="54" y="1986"/>
                  </a:lnTo>
                  <a:lnTo>
                    <a:pt x="84" y="1956"/>
                  </a:lnTo>
                  <a:lnTo>
                    <a:pt x="108" y="1944"/>
                  </a:lnTo>
                  <a:lnTo>
                    <a:pt x="114" y="1944"/>
                  </a:lnTo>
                  <a:lnTo>
                    <a:pt x="126" y="1938"/>
                  </a:lnTo>
                  <a:lnTo>
                    <a:pt x="126" y="1932"/>
                  </a:lnTo>
                  <a:close/>
                  <a:moveTo>
                    <a:pt x="1896" y="678"/>
                  </a:moveTo>
                  <a:lnTo>
                    <a:pt x="1896" y="690"/>
                  </a:lnTo>
                  <a:lnTo>
                    <a:pt x="1884" y="702"/>
                  </a:lnTo>
                  <a:lnTo>
                    <a:pt x="1884" y="714"/>
                  </a:lnTo>
                  <a:lnTo>
                    <a:pt x="1902" y="714"/>
                  </a:lnTo>
                  <a:lnTo>
                    <a:pt x="1926" y="708"/>
                  </a:lnTo>
                  <a:lnTo>
                    <a:pt x="1944" y="708"/>
                  </a:lnTo>
                  <a:lnTo>
                    <a:pt x="1980" y="696"/>
                  </a:lnTo>
                  <a:lnTo>
                    <a:pt x="1986" y="690"/>
                  </a:lnTo>
                  <a:lnTo>
                    <a:pt x="1992" y="690"/>
                  </a:lnTo>
                  <a:lnTo>
                    <a:pt x="2034" y="702"/>
                  </a:lnTo>
                  <a:lnTo>
                    <a:pt x="2112" y="642"/>
                  </a:lnTo>
                  <a:lnTo>
                    <a:pt x="2244" y="600"/>
                  </a:lnTo>
                  <a:lnTo>
                    <a:pt x="2370" y="564"/>
                  </a:lnTo>
                  <a:lnTo>
                    <a:pt x="2466" y="546"/>
                  </a:lnTo>
                  <a:lnTo>
                    <a:pt x="2454" y="540"/>
                  </a:lnTo>
                  <a:lnTo>
                    <a:pt x="2448" y="528"/>
                  </a:lnTo>
                  <a:lnTo>
                    <a:pt x="2436" y="522"/>
                  </a:lnTo>
                  <a:lnTo>
                    <a:pt x="2424" y="510"/>
                  </a:lnTo>
                  <a:lnTo>
                    <a:pt x="2412" y="504"/>
                  </a:lnTo>
                  <a:lnTo>
                    <a:pt x="2400" y="492"/>
                  </a:lnTo>
                  <a:lnTo>
                    <a:pt x="2352" y="492"/>
                  </a:lnTo>
                  <a:lnTo>
                    <a:pt x="2340" y="498"/>
                  </a:lnTo>
                  <a:lnTo>
                    <a:pt x="2328" y="498"/>
                  </a:lnTo>
                  <a:lnTo>
                    <a:pt x="2262" y="504"/>
                  </a:lnTo>
                  <a:lnTo>
                    <a:pt x="2226" y="480"/>
                  </a:lnTo>
                  <a:lnTo>
                    <a:pt x="2142" y="486"/>
                  </a:lnTo>
                  <a:lnTo>
                    <a:pt x="2094" y="504"/>
                  </a:lnTo>
                  <a:lnTo>
                    <a:pt x="2076" y="522"/>
                  </a:lnTo>
                  <a:lnTo>
                    <a:pt x="2064" y="552"/>
                  </a:lnTo>
                  <a:lnTo>
                    <a:pt x="2010" y="564"/>
                  </a:lnTo>
                  <a:lnTo>
                    <a:pt x="1944" y="588"/>
                  </a:lnTo>
                  <a:lnTo>
                    <a:pt x="1962" y="600"/>
                  </a:lnTo>
                  <a:lnTo>
                    <a:pt x="1842" y="654"/>
                  </a:lnTo>
                  <a:lnTo>
                    <a:pt x="1854" y="654"/>
                  </a:lnTo>
                  <a:lnTo>
                    <a:pt x="1890" y="672"/>
                  </a:lnTo>
                  <a:lnTo>
                    <a:pt x="1896" y="678"/>
                  </a:lnTo>
                  <a:close/>
                  <a:moveTo>
                    <a:pt x="198" y="1968"/>
                  </a:moveTo>
                  <a:lnTo>
                    <a:pt x="192" y="1992"/>
                  </a:lnTo>
                  <a:lnTo>
                    <a:pt x="192" y="2010"/>
                  </a:lnTo>
                  <a:lnTo>
                    <a:pt x="216" y="1998"/>
                  </a:lnTo>
                  <a:lnTo>
                    <a:pt x="198" y="1968"/>
                  </a:lnTo>
                  <a:close/>
                  <a:moveTo>
                    <a:pt x="4182" y="600"/>
                  </a:moveTo>
                  <a:lnTo>
                    <a:pt x="4194" y="606"/>
                  </a:lnTo>
                  <a:lnTo>
                    <a:pt x="4206" y="600"/>
                  </a:lnTo>
                  <a:lnTo>
                    <a:pt x="4218" y="600"/>
                  </a:lnTo>
                  <a:lnTo>
                    <a:pt x="4242" y="588"/>
                  </a:lnTo>
                  <a:lnTo>
                    <a:pt x="4308" y="588"/>
                  </a:lnTo>
                  <a:lnTo>
                    <a:pt x="4314" y="594"/>
                  </a:lnTo>
                  <a:lnTo>
                    <a:pt x="4350" y="594"/>
                  </a:lnTo>
                  <a:lnTo>
                    <a:pt x="4356" y="588"/>
                  </a:lnTo>
                  <a:lnTo>
                    <a:pt x="4356" y="582"/>
                  </a:lnTo>
                  <a:lnTo>
                    <a:pt x="4344" y="558"/>
                  </a:lnTo>
                  <a:lnTo>
                    <a:pt x="4338" y="552"/>
                  </a:lnTo>
                  <a:lnTo>
                    <a:pt x="4326" y="546"/>
                  </a:lnTo>
                  <a:lnTo>
                    <a:pt x="4230" y="546"/>
                  </a:lnTo>
                  <a:lnTo>
                    <a:pt x="4224" y="540"/>
                  </a:lnTo>
                  <a:lnTo>
                    <a:pt x="4212" y="540"/>
                  </a:lnTo>
                  <a:lnTo>
                    <a:pt x="4200" y="534"/>
                  </a:lnTo>
                  <a:lnTo>
                    <a:pt x="4188" y="534"/>
                  </a:lnTo>
                  <a:lnTo>
                    <a:pt x="4176" y="540"/>
                  </a:lnTo>
                  <a:lnTo>
                    <a:pt x="4158" y="558"/>
                  </a:lnTo>
                  <a:lnTo>
                    <a:pt x="4158" y="564"/>
                  </a:lnTo>
                  <a:lnTo>
                    <a:pt x="4176" y="576"/>
                  </a:lnTo>
                  <a:lnTo>
                    <a:pt x="4170" y="582"/>
                  </a:lnTo>
                  <a:lnTo>
                    <a:pt x="4170" y="594"/>
                  </a:lnTo>
                  <a:lnTo>
                    <a:pt x="4176" y="594"/>
                  </a:lnTo>
                  <a:lnTo>
                    <a:pt x="4182" y="600"/>
                  </a:lnTo>
                  <a:close/>
                  <a:moveTo>
                    <a:pt x="3708" y="516"/>
                  </a:moveTo>
                  <a:lnTo>
                    <a:pt x="3678" y="516"/>
                  </a:lnTo>
                  <a:lnTo>
                    <a:pt x="3624" y="510"/>
                  </a:lnTo>
                  <a:lnTo>
                    <a:pt x="3564" y="504"/>
                  </a:lnTo>
                  <a:lnTo>
                    <a:pt x="3468" y="504"/>
                  </a:lnTo>
                  <a:lnTo>
                    <a:pt x="3468" y="516"/>
                  </a:lnTo>
                  <a:lnTo>
                    <a:pt x="3462" y="522"/>
                  </a:lnTo>
                  <a:lnTo>
                    <a:pt x="3426" y="540"/>
                  </a:lnTo>
                  <a:lnTo>
                    <a:pt x="3396" y="546"/>
                  </a:lnTo>
                  <a:lnTo>
                    <a:pt x="3378" y="552"/>
                  </a:lnTo>
                  <a:lnTo>
                    <a:pt x="3372" y="552"/>
                  </a:lnTo>
                  <a:lnTo>
                    <a:pt x="3372" y="558"/>
                  </a:lnTo>
                  <a:lnTo>
                    <a:pt x="3384" y="570"/>
                  </a:lnTo>
                  <a:lnTo>
                    <a:pt x="3390" y="582"/>
                  </a:lnTo>
                  <a:lnTo>
                    <a:pt x="3390" y="594"/>
                  </a:lnTo>
                  <a:lnTo>
                    <a:pt x="3372" y="618"/>
                  </a:lnTo>
                  <a:lnTo>
                    <a:pt x="3402" y="636"/>
                  </a:lnTo>
                  <a:lnTo>
                    <a:pt x="3480" y="606"/>
                  </a:lnTo>
                  <a:lnTo>
                    <a:pt x="3474" y="600"/>
                  </a:lnTo>
                  <a:lnTo>
                    <a:pt x="3468" y="600"/>
                  </a:lnTo>
                  <a:lnTo>
                    <a:pt x="3468" y="594"/>
                  </a:lnTo>
                  <a:lnTo>
                    <a:pt x="3474" y="588"/>
                  </a:lnTo>
                  <a:lnTo>
                    <a:pt x="3486" y="582"/>
                  </a:lnTo>
                  <a:lnTo>
                    <a:pt x="3522" y="582"/>
                  </a:lnTo>
                  <a:lnTo>
                    <a:pt x="3546" y="594"/>
                  </a:lnTo>
                  <a:lnTo>
                    <a:pt x="3552" y="600"/>
                  </a:lnTo>
                  <a:lnTo>
                    <a:pt x="3606" y="594"/>
                  </a:lnTo>
                  <a:lnTo>
                    <a:pt x="3600" y="570"/>
                  </a:lnTo>
                  <a:lnTo>
                    <a:pt x="3630" y="570"/>
                  </a:lnTo>
                  <a:lnTo>
                    <a:pt x="3648" y="564"/>
                  </a:lnTo>
                  <a:lnTo>
                    <a:pt x="3666" y="564"/>
                  </a:lnTo>
                  <a:lnTo>
                    <a:pt x="3690" y="552"/>
                  </a:lnTo>
                  <a:lnTo>
                    <a:pt x="3696" y="546"/>
                  </a:lnTo>
                  <a:lnTo>
                    <a:pt x="3702" y="534"/>
                  </a:lnTo>
                  <a:lnTo>
                    <a:pt x="3714" y="522"/>
                  </a:lnTo>
                  <a:lnTo>
                    <a:pt x="3720" y="522"/>
                  </a:lnTo>
                  <a:lnTo>
                    <a:pt x="3714" y="516"/>
                  </a:lnTo>
                  <a:lnTo>
                    <a:pt x="3708" y="516"/>
                  </a:lnTo>
                  <a:close/>
                  <a:moveTo>
                    <a:pt x="3792" y="150"/>
                  </a:moveTo>
                  <a:lnTo>
                    <a:pt x="3738" y="156"/>
                  </a:lnTo>
                  <a:lnTo>
                    <a:pt x="3756" y="180"/>
                  </a:lnTo>
                  <a:lnTo>
                    <a:pt x="3792" y="150"/>
                  </a:lnTo>
                  <a:close/>
                  <a:moveTo>
                    <a:pt x="3612" y="480"/>
                  </a:moveTo>
                  <a:lnTo>
                    <a:pt x="3636" y="468"/>
                  </a:lnTo>
                  <a:lnTo>
                    <a:pt x="3642" y="456"/>
                  </a:lnTo>
                  <a:lnTo>
                    <a:pt x="3654" y="450"/>
                  </a:lnTo>
                  <a:lnTo>
                    <a:pt x="3660" y="438"/>
                  </a:lnTo>
                  <a:lnTo>
                    <a:pt x="3660" y="432"/>
                  </a:lnTo>
                  <a:lnTo>
                    <a:pt x="3654" y="426"/>
                  </a:lnTo>
                  <a:lnTo>
                    <a:pt x="3642" y="426"/>
                  </a:lnTo>
                  <a:lnTo>
                    <a:pt x="3630" y="420"/>
                  </a:lnTo>
                  <a:lnTo>
                    <a:pt x="3588" y="420"/>
                  </a:lnTo>
                  <a:lnTo>
                    <a:pt x="3570" y="426"/>
                  </a:lnTo>
                  <a:lnTo>
                    <a:pt x="3552" y="426"/>
                  </a:lnTo>
                  <a:lnTo>
                    <a:pt x="3534" y="438"/>
                  </a:lnTo>
                  <a:lnTo>
                    <a:pt x="3516" y="444"/>
                  </a:lnTo>
                  <a:lnTo>
                    <a:pt x="3504" y="450"/>
                  </a:lnTo>
                  <a:lnTo>
                    <a:pt x="3504" y="462"/>
                  </a:lnTo>
                  <a:lnTo>
                    <a:pt x="3528" y="468"/>
                  </a:lnTo>
                  <a:lnTo>
                    <a:pt x="3600" y="480"/>
                  </a:lnTo>
                  <a:lnTo>
                    <a:pt x="3612" y="480"/>
                  </a:lnTo>
                  <a:close/>
                  <a:moveTo>
                    <a:pt x="3954" y="180"/>
                  </a:moveTo>
                  <a:lnTo>
                    <a:pt x="3900" y="192"/>
                  </a:lnTo>
                  <a:lnTo>
                    <a:pt x="3936" y="210"/>
                  </a:lnTo>
                  <a:lnTo>
                    <a:pt x="3924" y="216"/>
                  </a:lnTo>
                  <a:lnTo>
                    <a:pt x="3918" y="222"/>
                  </a:lnTo>
                  <a:lnTo>
                    <a:pt x="3918" y="228"/>
                  </a:lnTo>
                  <a:lnTo>
                    <a:pt x="3924" y="234"/>
                  </a:lnTo>
                  <a:lnTo>
                    <a:pt x="3936" y="240"/>
                  </a:lnTo>
                  <a:lnTo>
                    <a:pt x="3966" y="240"/>
                  </a:lnTo>
                  <a:lnTo>
                    <a:pt x="3942" y="252"/>
                  </a:lnTo>
                  <a:lnTo>
                    <a:pt x="3954" y="252"/>
                  </a:lnTo>
                  <a:lnTo>
                    <a:pt x="4002" y="276"/>
                  </a:lnTo>
                  <a:lnTo>
                    <a:pt x="4014" y="276"/>
                  </a:lnTo>
                  <a:lnTo>
                    <a:pt x="4026" y="270"/>
                  </a:lnTo>
                  <a:lnTo>
                    <a:pt x="4032" y="264"/>
                  </a:lnTo>
                  <a:lnTo>
                    <a:pt x="4044" y="258"/>
                  </a:lnTo>
                  <a:lnTo>
                    <a:pt x="4050" y="252"/>
                  </a:lnTo>
                  <a:lnTo>
                    <a:pt x="4074" y="246"/>
                  </a:lnTo>
                  <a:lnTo>
                    <a:pt x="4086" y="258"/>
                  </a:lnTo>
                  <a:lnTo>
                    <a:pt x="4092" y="270"/>
                  </a:lnTo>
                  <a:lnTo>
                    <a:pt x="4098" y="276"/>
                  </a:lnTo>
                  <a:lnTo>
                    <a:pt x="4104" y="270"/>
                  </a:lnTo>
                  <a:lnTo>
                    <a:pt x="4116" y="270"/>
                  </a:lnTo>
                  <a:lnTo>
                    <a:pt x="4128" y="264"/>
                  </a:lnTo>
                  <a:lnTo>
                    <a:pt x="4134" y="258"/>
                  </a:lnTo>
                  <a:lnTo>
                    <a:pt x="4146" y="258"/>
                  </a:lnTo>
                  <a:lnTo>
                    <a:pt x="4152" y="252"/>
                  </a:lnTo>
                  <a:lnTo>
                    <a:pt x="4158" y="252"/>
                  </a:lnTo>
                  <a:lnTo>
                    <a:pt x="4170" y="246"/>
                  </a:lnTo>
                  <a:lnTo>
                    <a:pt x="4176" y="234"/>
                  </a:lnTo>
                  <a:lnTo>
                    <a:pt x="4182" y="228"/>
                  </a:lnTo>
                  <a:lnTo>
                    <a:pt x="4194" y="246"/>
                  </a:lnTo>
                  <a:lnTo>
                    <a:pt x="4218" y="222"/>
                  </a:lnTo>
                  <a:lnTo>
                    <a:pt x="4218" y="216"/>
                  </a:lnTo>
                  <a:lnTo>
                    <a:pt x="4236" y="210"/>
                  </a:lnTo>
                  <a:lnTo>
                    <a:pt x="4326" y="210"/>
                  </a:lnTo>
                  <a:lnTo>
                    <a:pt x="4332" y="204"/>
                  </a:lnTo>
                  <a:lnTo>
                    <a:pt x="4332" y="192"/>
                  </a:lnTo>
                  <a:lnTo>
                    <a:pt x="4266" y="186"/>
                  </a:lnTo>
                  <a:lnTo>
                    <a:pt x="4302" y="174"/>
                  </a:lnTo>
                  <a:lnTo>
                    <a:pt x="4302" y="132"/>
                  </a:lnTo>
                  <a:lnTo>
                    <a:pt x="4278" y="132"/>
                  </a:lnTo>
                  <a:lnTo>
                    <a:pt x="4266" y="138"/>
                  </a:lnTo>
                  <a:lnTo>
                    <a:pt x="4260" y="144"/>
                  </a:lnTo>
                  <a:lnTo>
                    <a:pt x="4248" y="150"/>
                  </a:lnTo>
                  <a:lnTo>
                    <a:pt x="4242" y="126"/>
                  </a:lnTo>
                  <a:lnTo>
                    <a:pt x="4194" y="132"/>
                  </a:lnTo>
                  <a:lnTo>
                    <a:pt x="4194" y="120"/>
                  </a:lnTo>
                  <a:lnTo>
                    <a:pt x="4176" y="84"/>
                  </a:lnTo>
                  <a:lnTo>
                    <a:pt x="4140" y="84"/>
                  </a:lnTo>
                  <a:lnTo>
                    <a:pt x="4122" y="90"/>
                  </a:lnTo>
                  <a:lnTo>
                    <a:pt x="4110" y="96"/>
                  </a:lnTo>
                  <a:lnTo>
                    <a:pt x="4104" y="102"/>
                  </a:lnTo>
                  <a:lnTo>
                    <a:pt x="4098" y="102"/>
                  </a:lnTo>
                  <a:lnTo>
                    <a:pt x="4020" y="108"/>
                  </a:lnTo>
                  <a:lnTo>
                    <a:pt x="4044" y="126"/>
                  </a:lnTo>
                  <a:lnTo>
                    <a:pt x="3996" y="126"/>
                  </a:lnTo>
                  <a:lnTo>
                    <a:pt x="3984" y="132"/>
                  </a:lnTo>
                  <a:lnTo>
                    <a:pt x="3972" y="132"/>
                  </a:lnTo>
                  <a:lnTo>
                    <a:pt x="3966" y="138"/>
                  </a:lnTo>
                  <a:lnTo>
                    <a:pt x="3984" y="156"/>
                  </a:lnTo>
                  <a:lnTo>
                    <a:pt x="3972" y="156"/>
                  </a:lnTo>
                  <a:lnTo>
                    <a:pt x="3936" y="150"/>
                  </a:lnTo>
                  <a:lnTo>
                    <a:pt x="3906" y="156"/>
                  </a:lnTo>
                  <a:lnTo>
                    <a:pt x="3888" y="168"/>
                  </a:lnTo>
                  <a:lnTo>
                    <a:pt x="3888" y="174"/>
                  </a:lnTo>
                  <a:lnTo>
                    <a:pt x="3894" y="180"/>
                  </a:lnTo>
                  <a:lnTo>
                    <a:pt x="3954" y="180"/>
                  </a:lnTo>
                  <a:close/>
                  <a:moveTo>
                    <a:pt x="3972" y="294"/>
                  </a:moveTo>
                  <a:lnTo>
                    <a:pt x="3954" y="300"/>
                  </a:lnTo>
                  <a:lnTo>
                    <a:pt x="3942" y="306"/>
                  </a:lnTo>
                  <a:lnTo>
                    <a:pt x="3936" y="312"/>
                  </a:lnTo>
                  <a:lnTo>
                    <a:pt x="3936" y="318"/>
                  </a:lnTo>
                  <a:lnTo>
                    <a:pt x="3966" y="324"/>
                  </a:lnTo>
                  <a:lnTo>
                    <a:pt x="3972" y="324"/>
                  </a:lnTo>
                  <a:lnTo>
                    <a:pt x="3990" y="306"/>
                  </a:lnTo>
                  <a:lnTo>
                    <a:pt x="3990" y="300"/>
                  </a:lnTo>
                  <a:lnTo>
                    <a:pt x="3984" y="294"/>
                  </a:lnTo>
                  <a:lnTo>
                    <a:pt x="3972" y="294"/>
                  </a:lnTo>
                  <a:close/>
                  <a:moveTo>
                    <a:pt x="3738" y="336"/>
                  </a:moveTo>
                  <a:lnTo>
                    <a:pt x="3726" y="336"/>
                  </a:lnTo>
                  <a:lnTo>
                    <a:pt x="3720" y="330"/>
                  </a:lnTo>
                  <a:lnTo>
                    <a:pt x="3672" y="330"/>
                  </a:lnTo>
                  <a:lnTo>
                    <a:pt x="3636" y="336"/>
                  </a:lnTo>
                  <a:lnTo>
                    <a:pt x="3624" y="342"/>
                  </a:lnTo>
                  <a:lnTo>
                    <a:pt x="3642" y="360"/>
                  </a:lnTo>
                  <a:lnTo>
                    <a:pt x="3654" y="360"/>
                  </a:lnTo>
                  <a:lnTo>
                    <a:pt x="3660" y="378"/>
                  </a:lnTo>
                  <a:lnTo>
                    <a:pt x="3768" y="378"/>
                  </a:lnTo>
                  <a:lnTo>
                    <a:pt x="3768" y="390"/>
                  </a:lnTo>
                  <a:lnTo>
                    <a:pt x="3762" y="396"/>
                  </a:lnTo>
                  <a:lnTo>
                    <a:pt x="3762" y="408"/>
                  </a:lnTo>
                  <a:lnTo>
                    <a:pt x="3708" y="450"/>
                  </a:lnTo>
                  <a:lnTo>
                    <a:pt x="3732" y="456"/>
                  </a:lnTo>
                  <a:lnTo>
                    <a:pt x="3720" y="468"/>
                  </a:lnTo>
                  <a:lnTo>
                    <a:pt x="3714" y="468"/>
                  </a:lnTo>
                  <a:lnTo>
                    <a:pt x="3708" y="474"/>
                  </a:lnTo>
                  <a:lnTo>
                    <a:pt x="3708" y="480"/>
                  </a:lnTo>
                  <a:lnTo>
                    <a:pt x="3726" y="480"/>
                  </a:lnTo>
                  <a:lnTo>
                    <a:pt x="3738" y="474"/>
                  </a:lnTo>
                  <a:lnTo>
                    <a:pt x="3744" y="474"/>
                  </a:lnTo>
                  <a:lnTo>
                    <a:pt x="3756" y="468"/>
                  </a:lnTo>
                  <a:lnTo>
                    <a:pt x="3756" y="480"/>
                  </a:lnTo>
                  <a:lnTo>
                    <a:pt x="3792" y="480"/>
                  </a:lnTo>
                  <a:lnTo>
                    <a:pt x="3810" y="474"/>
                  </a:lnTo>
                  <a:lnTo>
                    <a:pt x="3822" y="468"/>
                  </a:lnTo>
                  <a:lnTo>
                    <a:pt x="3840" y="468"/>
                  </a:lnTo>
                  <a:lnTo>
                    <a:pt x="3846" y="462"/>
                  </a:lnTo>
                  <a:lnTo>
                    <a:pt x="3852" y="462"/>
                  </a:lnTo>
                  <a:lnTo>
                    <a:pt x="3858" y="486"/>
                  </a:lnTo>
                  <a:lnTo>
                    <a:pt x="3924" y="480"/>
                  </a:lnTo>
                  <a:lnTo>
                    <a:pt x="4002" y="498"/>
                  </a:lnTo>
                  <a:lnTo>
                    <a:pt x="4098" y="486"/>
                  </a:lnTo>
                  <a:lnTo>
                    <a:pt x="4128" y="468"/>
                  </a:lnTo>
                  <a:lnTo>
                    <a:pt x="4122" y="474"/>
                  </a:lnTo>
                  <a:lnTo>
                    <a:pt x="4122" y="486"/>
                  </a:lnTo>
                  <a:lnTo>
                    <a:pt x="4260" y="486"/>
                  </a:lnTo>
                  <a:lnTo>
                    <a:pt x="4272" y="468"/>
                  </a:lnTo>
                  <a:lnTo>
                    <a:pt x="4338" y="438"/>
                  </a:lnTo>
                  <a:lnTo>
                    <a:pt x="4320" y="432"/>
                  </a:lnTo>
                  <a:lnTo>
                    <a:pt x="4320" y="420"/>
                  </a:lnTo>
                  <a:lnTo>
                    <a:pt x="4314" y="420"/>
                  </a:lnTo>
                  <a:lnTo>
                    <a:pt x="4308" y="414"/>
                  </a:lnTo>
                  <a:lnTo>
                    <a:pt x="4290" y="414"/>
                  </a:lnTo>
                  <a:lnTo>
                    <a:pt x="4278" y="408"/>
                  </a:lnTo>
                  <a:lnTo>
                    <a:pt x="4260" y="408"/>
                  </a:lnTo>
                  <a:lnTo>
                    <a:pt x="4242" y="402"/>
                  </a:lnTo>
                  <a:lnTo>
                    <a:pt x="4206" y="402"/>
                  </a:lnTo>
                  <a:lnTo>
                    <a:pt x="4164" y="414"/>
                  </a:lnTo>
                  <a:lnTo>
                    <a:pt x="4116" y="420"/>
                  </a:lnTo>
                  <a:lnTo>
                    <a:pt x="4074" y="426"/>
                  </a:lnTo>
                  <a:lnTo>
                    <a:pt x="4038" y="438"/>
                  </a:lnTo>
                  <a:lnTo>
                    <a:pt x="4026" y="438"/>
                  </a:lnTo>
                  <a:lnTo>
                    <a:pt x="4014" y="432"/>
                  </a:lnTo>
                  <a:lnTo>
                    <a:pt x="4008" y="426"/>
                  </a:lnTo>
                  <a:lnTo>
                    <a:pt x="3996" y="420"/>
                  </a:lnTo>
                  <a:lnTo>
                    <a:pt x="3984" y="420"/>
                  </a:lnTo>
                  <a:lnTo>
                    <a:pt x="3972" y="426"/>
                  </a:lnTo>
                  <a:lnTo>
                    <a:pt x="3960" y="426"/>
                  </a:lnTo>
                  <a:lnTo>
                    <a:pt x="3948" y="432"/>
                  </a:lnTo>
                  <a:lnTo>
                    <a:pt x="3942" y="438"/>
                  </a:lnTo>
                  <a:lnTo>
                    <a:pt x="3936" y="438"/>
                  </a:lnTo>
                  <a:lnTo>
                    <a:pt x="3912" y="414"/>
                  </a:lnTo>
                  <a:lnTo>
                    <a:pt x="3894" y="426"/>
                  </a:lnTo>
                  <a:lnTo>
                    <a:pt x="3864" y="420"/>
                  </a:lnTo>
                  <a:lnTo>
                    <a:pt x="3894" y="408"/>
                  </a:lnTo>
                  <a:lnTo>
                    <a:pt x="3876" y="396"/>
                  </a:lnTo>
                  <a:lnTo>
                    <a:pt x="3822" y="408"/>
                  </a:lnTo>
                  <a:lnTo>
                    <a:pt x="3858" y="396"/>
                  </a:lnTo>
                  <a:lnTo>
                    <a:pt x="3858" y="390"/>
                  </a:lnTo>
                  <a:lnTo>
                    <a:pt x="3924" y="384"/>
                  </a:lnTo>
                  <a:lnTo>
                    <a:pt x="3888" y="372"/>
                  </a:lnTo>
                  <a:lnTo>
                    <a:pt x="3870" y="372"/>
                  </a:lnTo>
                  <a:lnTo>
                    <a:pt x="3876" y="366"/>
                  </a:lnTo>
                  <a:lnTo>
                    <a:pt x="3876" y="360"/>
                  </a:lnTo>
                  <a:lnTo>
                    <a:pt x="3870" y="354"/>
                  </a:lnTo>
                  <a:lnTo>
                    <a:pt x="3840" y="354"/>
                  </a:lnTo>
                  <a:lnTo>
                    <a:pt x="3822" y="360"/>
                  </a:lnTo>
                  <a:lnTo>
                    <a:pt x="3804" y="360"/>
                  </a:lnTo>
                  <a:lnTo>
                    <a:pt x="3786" y="366"/>
                  </a:lnTo>
                  <a:lnTo>
                    <a:pt x="3774" y="354"/>
                  </a:lnTo>
                  <a:lnTo>
                    <a:pt x="3762" y="348"/>
                  </a:lnTo>
                  <a:lnTo>
                    <a:pt x="3756" y="342"/>
                  </a:lnTo>
                  <a:lnTo>
                    <a:pt x="3744" y="336"/>
                  </a:lnTo>
                  <a:lnTo>
                    <a:pt x="3738" y="336"/>
                  </a:lnTo>
                  <a:close/>
                  <a:moveTo>
                    <a:pt x="3264" y="420"/>
                  </a:moveTo>
                  <a:lnTo>
                    <a:pt x="3282" y="420"/>
                  </a:lnTo>
                  <a:lnTo>
                    <a:pt x="3300" y="426"/>
                  </a:lnTo>
                  <a:lnTo>
                    <a:pt x="3318" y="426"/>
                  </a:lnTo>
                  <a:lnTo>
                    <a:pt x="3330" y="432"/>
                  </a:lnTo>
                  <a:lnTo>
                    <a:pt x="3342" y="432"/>
                  </a:lnTo>
                  <a:lnTo>
                    <a:pt x="3330" y="444"/>
                  </a:lnTo>
                  <a:lnTo>
                    <a:pt x="3324" y="444"/>
                  </a:lnTo>
                  <a:lnTo>
                    <a:pt x="3324" y="456"/>
                  </a:lnTo>
                  <a:lnTo>
                    <a:pt x="3438" y="456"/>
                  </a:lnTo>
                  <a:lnTo>
                    <a:pt x="3462" y="444"/>
                  </a:lnTo>
                  <a:lnTo>
                    <a:pt x="3462" y="432"/>
                  </a:lnTo>
                  <a:lnTo>
                    <a:pt x="3468" y="426"/>
                  </a:lnTo>
                  <a:lnTo>
                    <a:pt x="3480" y="426"/>
                  </a:lnTo>
                  <a:lnTo>
                    <a:pt x="3492" y="420"/>
                  </a:lnTo>
                  <a:lnTo>
                    <a:pt x="3504" y="420"/>
                  </a:lnTo>
                  <a:lnTo>
                    <a:pt x="3510" y="414"/>
                  </a:lnTo>
                  <a:lnTo>
                    <a:pt x="3510" y="408"/>
                  </a:lnTo>
                  <a:lnTo>
                    <a:pt x="3522" y="396"/>
                  </a:lnTo>
                  <a:lnTo>
                    <a:pt x="3534" y="390"/>
                  </a:lnTo>
                  <a:lnTo>
                    <a:pt x="3540" y="384"/>
                  </a:lnTo>
                  <a:lnTo>
                    <a:pt x="3552" y="378"/>
                  </a:lnTo>
                  <a:lnTo>
                    <a:pt x="3552" y="372"/>
                  </a:lnTo>
                  <a:lnTo>
                    <a:pt x="3546" y="366"/>
                  </a:lnTo>
                  <a:lnTo>
                    <a:pt x="3534" y="360"/>
                  </a:lnTo>
                  <a:lnTo>
                    <a:pt x="3510" y="360"/>
                  </a:lnTo>
                  <a:lnTo>
                    <a:pt x="3504" y="366"/>
                  </a:lnTo>
                  <a:lnTo>
                    <a:pt x="3492" y="366"/>
                  </a:lnTo>
                  <a:lnTo>
                    <a:pt x="3486" y="360"/>
                  </a:lnTo>
                  <a:lnTo>
                    <a:pt x="3474" y="360"/>
                  </a:lnTo>
                  <a:lnTo>
                    <a:pt x="3462" y="354"/>
                  </a:lnTo>
                  <a:lnTo>
                    <a:pt x="3450" y="354"/>
                  </a:lnTo>
                  <a:lnTo>
                    <a:pt x="3432" y="348"/>
                  </a:lnTo>
                  <a:lnTo>
                    <a:pt x="3426" y="354"/>
                  </a:lnTo>
                  <a:lnTo>
                    <a:pt x="3420" y="354"/>
                  </a:lnTo>
                  <a:lnTo>
                    <a:pt x="3414" y="366"/>
                  </a:lnTo>
                  <a:lnTo>
                    <a:pt x="3414" y="396"/>
                  </a:lnTo>
                  <a:lnTo>
                    <a:pt x="3396" y="378"/>
                  </a:lnTo>
                  <a:lnTo>
                    <a:pt x="3384" y="372"/>
                  </a:lnTo>
                  <a:lnTo>
                    <a:pt x="3366" y="372"/>
                  </a:lnTo>
                  <a:lnTo>
                    <a:pt x="3354" y="384"/>
                  </a:lnTo>
                  <a:lnTo>
                    <a:pt x="3348" y="396"/>
                  </a:lnTo>
                  <a:lnTo>
                    <a:pt x="3330" y="414"/>
                  </a:lnTo>
                  <a:lnTo>
                    <a:pt x="3324" y="414"/>
                  </a:lnTo>
                  <a:lnTo>
                    <a:pt x="3300" y="366"/>
                  </a:lnTo>
                  <a:lnTo>
                    <a:pt x="3288" y="360"/>
                  </a:lnTo>
                  <a:lnTo>
                    <a:pt x="3258" y="360"/>
                  </a:lnTo>
                  <a:lnTo>
                    <a:pt x="3246" y="366"/>
                  </a:lnTo>
                  <a:lnTo>
                    <a:pt x="3240" y="372"/>
                  </a:lnTo>
                  <a:lnTo>
                    <a:pt x="3240" y="396"/>
                  </a:lnTo>
                  <a:lnTo>
                    <a:pt x="3246" y="408"/>
                  </a:lnTo>
                  <a:lnTo>
                    <a:pt x="3258" y="414"/>
                  </a:lnTo>
                  <a:lnTo>
                    <a:pt x="3264" y="420"/>
                  </a:lnTo>
                  <a:close/>
                  <a:moveTo>
                    <a:pt x="3720" y="288"/>
                  </a:moveTo>
                  <a:lnTo>
                    <a:pt x="3726" y="288"/>
                  </a:lnTo>
                  <a:lnTo>
                    <a:pt x="3732" y="294"/>
                  </a:lnTo>
                  <a:lnTo>
                    <a:pt x="3738" y="306"/>
                  </a:lnTo>
                  <a:lnTo>
                    <a:pt x="3768" y="306"/>
                  </a:lnTo>
                  <a:lnTo>
                    <a:pt x="3780" y="300"/>
                  </a:lnTo>
                  <a:lnTo>
                    <a:pt x="3834" y="300"/>
                  </a:lnTo>
                  <a:lnTo>
                    <a:pt x="3834" y="294"/>
                  </a:lnTo>
                  <a:lnTo>
                    <a:pt x="3828" y="294"/>
                  </a:lnTo>
                  <a:lnTo>
                    <a:pt x="3822" y="288"/>
                  </a:lnTo>
                  <a:lnTo>
                    <a:pt x="3810" y="288"/>
                  </a:lnTo>
                  <a:lnTo>
                    <a:pt x="3804" y="282"/>
                  </a:lnTo>
                  <a:lnTo>
                    <a:pt x="3792" y="282"/>
                  </a:lnTo>
                  <a:lnTo>
                    <a:pt x="3804" y="270"/>
                  </a:lnTo>
                  <a:lnTo>
                    <a:pt x="3816" y="264"/>
                  </a:lnTo>
                  <a:lnTo>
                    <a:pt x="3822" y="264"/>
                  </a:lnTo>
                  <a:lnTo>
                    <a:pt x="3828" y="258"/>
                  </a:lnTo>
                  <a:lnTo>
                    <a:pt x="3822" y="258"/>
                  </a:lnTo>
                  <a:lnTo>
                    <a:pt x="3810" y="252"/>
                  </a:lnTo>
                  <a:lnTo>
                    <a:pt x="3738" y="228"/>
                  </a:lnTo>
                  <a:lnTo>
                    <a:pt x="3732" y="228"/>
                  </a:lnTo>
                  <a:lnTo>
                    <a:pt x="3726" y="234"/>
                  </a:lnTo>
                  <a:lnTo>
                    <a:pt x="3714" y="240"/>
                  </a:lnTo>
                  <a:lnTo>
                    <a:pt x="3702" y="240"/>
                  </a:lnTo>
                  <a:lnTo>
                    <a:pt x="3690" y="252"/>
                  </a:lnTo>
                  <a:lnTo>
                    <a:pt x="3690" y="258"/>
                  </a:lnTo>
                  <a:lnTo>
                    <a:pt x="3696" y="264"/>
                  </a:lnTo>
                  <a:lnTo>
                    <a:pt x="3702" y="276"/>
                  </a:lnTo>
                  <a:lnTo>
                    <a:pt x="3714" y="282"/>
                  </a:lnTo>
                  <a:lnTo>
                    <a:pt x="3720" y="288"/>
                  </a:lnTo>
                  <a:close/>
                  <a:moveTo>
                    <a:pt x="3288" y="504"/>
                  </a:moveTo>
                  <a:lnTo>
                    <a:pt x="3270" y="504"/>
                  </a:lnTo>
                  <a:lnTo>
                    <a:pt x="3234" y="510"/>
                  </a:lnTo>
                  <a:lnTo>
                    <a:pt x="3186" y="516"/>
                  </a:lnTo>
                  <a:lnTo>
                    <a:pt x="3144" y="528"/>
                  </a:lnTo>
                  <a:lnTo>
                    <a:pt x="3132" y="534"/>
                  </a:lnTo>
                  <a:lnTo>
                    <a:pt x="3126" y="540"/>
                  </a:lnTo>
                  <a:lnTo>
                    <a:pt x="3132" y="540"/>
                  </a:lnTo>
                  <a:lnTo>
                    <a:pt x="3150" y="558"/>
                  </a:lnTo>
                  <a:lnTo>
                    <a:pt x="3156" y="570"/>
                  </a:lnTo>
                  <a:lnTo>
                    <a:pt x="3156" y="576"/>
                  </a:lnTo>
                  <a:lnTo>
                    <a:pt x="3138" y="582"/>
                  </a:lnTo>
                  <a:lnTo>
                    <a:pt x="3120" y="570"/>
                  </a:lnTo>
                  <a:lnTo>
                    <a:pt x="3090" y="564"/>
                  </a:lnTo>
                  <a:lnTo>
                    <a:pt x="3048" y="570"/>
                  </a:lnTo>
                  <a:lnTo>
                    <a:pt x="3066" y="606"/>
                  </a:lnTo>
                  <a:lnTo>
                    <a:pt x="3072" y="612"/>
                  </a:lnTo>
                  <a:lnTo>
                    <a:pt x="3084" y="618"/>
                  </a:lnTo>
                  <a:lnTo>
                    <a:pt x="3102" y="624"/>
                  </a:lnTo>
                  <a:lnTo>
                    <a:pt x="3114" y="630"/>
                  </a:lnTo>
                  <a:lnTo>
                    <a:pt x="3120" y="642"/>
                  </a:lnTo>
                  <a:lnTo>
                    <a:pt x="3120" y="654"/>
                  </a:lnTo>
                  <a:lnTo>
                    <a:pt x="3126" y="666"/>
                  </a:lnTo>
                  <a:lnTo>
                    <a:pt x="3126" y="678"/>
                  </a:lnTo>
                  <a:lnTo>
                    <a:pt x="3144" y="678"/>
                  </a:lnTo>
                  <a:lnTo>
                    <a:pt x="3228" y="666"/>
                  </a:lnTo>
                  <a:lnTo>
                    <a:pt x="3264" y="660"/>
                  </a:lnTo>
                  <a:lnTo>
                    <a:pt x="3276" y="654"/>
                  </a:lnTo>
                  <a:lnTo>
                    <a:pt x="3282" y="642"/>
                  </a:lnTo>
                  <a:lnTo>
                    <a:pt x="3288" y="624"/>
                  </a:lnTo>
                  <a:lnTo>
                    <a:pt x="3300" y="600"/>
                  </a:lnTo>
                  <a:lnTo>
                    <a:pt x="3300" y="588"/>
                  </a:lnTo>
                  <a:lnTo>
                    <a:pt x="3228" y="576"/>
                  </a:lnTo>
                  <a:lnTo>
                    <a:pt x="3240" y="570"/>
                  </a:lnTo>
                  <a:lnTo>
                    <a:pt x="3348" y="534"/>
                  </a:lnTo>
                  <a:lnTo>
                    <a:pt x="3360" y="528"/>
                  </a:lnTo>
                  <a:lnTo>
                    <a:pt x="3354" y="522"/>
                  </a:lnTo>
                  <a:lnTo>
                    <a:pt x="3342" y="516"/>
                  </a:lnTo>
                  <a:lnTo>
                    <a:pt x="3324" y="510"/>
                  </a:lnTo>
                  <a:lnTo>
                    <a:pt x="3312" y="510"/>
                  </a:lnTo>
                  <a:lnTo>
                    <a:pt x="3300" y="504"/>
                  </a:lnTo>
                  <a:lnTo>
                    <a:pt x="3288" y="504"/>
                  </a:lnTo>
                  <a:close/>
                  <a:moveTo>
                    <a:pt x="2898" y="744"/>
                  </a:moveTo>
                  <a:lnTo>
                    <a:pt x="2880" y="738"/>
                  </a:lnTo>
                  <a:lnTo>
                    <a:pt x="2796" y="738"/>
                  </a:lnTo>
                  <a:lnTo>
                    <a:pt x="2874" y="696"/>
                  </a:lnTo>
                  <a:lnTo>
                    <a:pt x="2880" y="684"/>
                  </a:lnTo>
                  <a:lnTo>
                    <a:pt x="2886" y="654"/>
                  </a:lnTo>
                  <a:lnTo>
                    <a:pt x="2898" y="624"/>
                  </a:lnTo>
                  <a:lnTo>
                    <a:pt x="2898" y="588"/>
                  </a:lnTo>
                  <a:lnTo>
                    <a:pt x="2880" y="570"/>
                  </a:lnTo>
                  <a:lnTo>
                    <a:pt x="2850" y="570"/>
                  </a:lnTo>
                  <a:lnTo>
                    <a:pt x="2814" y="576"/>
                  </a:lnTo>
                  <a:lnTo>
                    <a:pt x="2796" y="582"/>
                  </a:lnTo>
                  <a:lnTo>
                    <a:pt x="2784" y="588"/>
                  </a:lnTo>
                  <a:lnTo>
                    <a:pt x="2784" y="594"/>
                  </a:lnTo>
                  <a:lnTo>
                    <a:pt x="2766" y="612"/>
                  </a:lnTo>
                  <a:lnTo>
                    <a:pt x="2760" y="630"/>
                  </a:lnTo>
                  <a:lnTo>
                    <a:pt x="2736" y="654"/>
                  </a:lnTo>
                  <a:lnTo>
                    <a:pt x="2718" y="666"/>
                  </a:lnTo>
                  <a:lnTo>
                    <a:pt x="2706" y="672"/>
                  </a:lnTo>
                  <a:lnTo>
                    <a:pt x="2700" y="672"/>
                  </a:lnTo>
                  <a:lnTo>
                    <a:pt x="2694" y="666"/>
                  </a:lnTo>
                  <a:lnTo>
                    <a:pt x="2694" y="660"/>
                  </a:lnTo>
                  <a:lnTo>
                    <a:pt x="2700" y="654"/>
                  </a:lnTo>
                  <a:lnTo>
                    <a:pt x="2706" y="642"/>
                  </a:lnTo>
                  <a:lnTo>
                    <a:pt x="2712" y="636"/>
                  </a:lnTo>
                  <a:lnTo>
                    <a:pt x="2718" y="624"/>
                  </a:lnTo>
                  <a:lnTo>
                    <a:pt x="2718" y="612"/>
                  </a:lnTo>
                  <a:lnTo>
                    <a:pt x="2724" y="606"/>
                  </a:lnTo>
                  <a:lnTo>
                    <a:pt x="2724" y="600"/>
                  </a:lnTo>
                  <a:lnTo>
                    <a:pt x="2706" y="594"/>
                  </a:lnTo>
                  <a:lnTo>
                    <a:pt x="2676" y="588"/>
                  </a:lnTo>
                  <a:lnTo>
                    <a:pt x="2628" y="588"/>
                  </a:lnTo>
                  <a:lnTo>
                    <a:pt x="2622" y="606"/>
                  </a:lnTo>
                  <a:lnTo>
                    <a:pt x="2610" y="612"/>
                  </a:lnTo>
                  <a:lnTo>
                    <a:pt x="2586" y="618"/>
                  </a:lnTo>
                  <a:lnTo>
                    <a:pt x="2550" y="624"/>
                  </a:lnTo>
                  <a:lnTo>
                    <a:pt x="2508" y="630"/>
                  </a:lnTo>
                  <a:lnTo>
                    <a:pt x="2490" y="630"/>
                  </a:lnTo>
                  <a:lnTo>
                    <a:pt x="2496" y="624"/>
                  </a:lnTo>
                  <a:lnTo>
                    <a:pt x="2508" y="618"/>
                  </a:lnTo>
                  <a:lnTo>
                    <a:pt x="2520" y="618"/>
                  </a:lnTo>
                  <a:lnTo>
                    <a:pt x="2538" y="612"/>
                  </a:lnTo>
                  <a:lnTo>
                    <a:pt x="2550" y="606"/>
                  </a:lnTo>
                  <a:lnTo>
                    <a:pt x="2586" y="594"/>
                  </a:lnTo>
                  <a:lnTo>
                    <a:pt x="2598" y="588"/>
                  </a:lnTo>
                  <a:lnTo>
                    <a:pt x="2604" y="588"/>
                  </a:lnTo>
                  <a:lnTo>
                    <a:pt x="2604" y="582"/>
                  </a:lnTo>
                  <a:lnTo>
                    <a:pt x="2592" y="576"/>
                  </a:lnTo>
                  <a:lnTo>
                    <a:pt x="2556" y="576"/>
                  </a:lnTo>
                  <a:lnTo>
                    <a:pt x="2496" y="594"/>
                  </a:lnTo>
                  <a:lnTo>
                    <a:pt x="2460" y="600"/>
                  </a:lnTo>
                  <a:lnTo>
                    <a:pt x="2466" y="594"/>
                  </a:lnTo>
                  <a:lnTo>
                    <a:pt x="2478" y="588"/>
                  </a:lnTo>
                  <a:lnTo>
                    <a:pt x="2490" y="576"/>
                  </a:lnTo>
                  <a:lnTo>
                    <a:pt x="2502" y="570"/>
                  </a:lnTo>
                  <a:lnTo>
                    <a:pt x="2514" y="558"/>
                  </a:lnTo>
                  <a:lnTo>
                    <a:pt x="2508" y="558"/>
                  </a:lnTo>
                  <a:lnTo>
                    <a:pt x="2508" y="552"/>
                  </a:lnTo>
                  <a:lnTo>
                    <a:pt x="2496" y="552"/>
                  </a:lnTo>
                  <a:lnTo>
                    <a:pt x="2346" y="600"/>
                  </a:lnTo>
                  <a:lnTo>
                    <a:pt x="2328" y="600"/>
                  </a:lnTo>
                  <a:lnTo>
                    <a:pt x="2244" y="624"/>
                  </a:lnTo>
                  <a:lnTo>
                    <a:pt x="2250" y="642"/>
                  </a:lnTo>
                  <a:lnTo>
                    <a:pt x="2190" y="660"/>
                  </a:lnTo>
                  <a:lnTo>
                    <a:pt x="2172" y="678"/>
                  </a:lnTo>
                  <a:lnTo>
                    <a:pt x="2202" y="690"/>
                  </a:lnTo>
                  <a:lnTo>
                    <a:pt x="2208" y="684"/>
                  </a:lnTo>
                  <a:lnTo>
                    <a:pt x="2220" y="678"/>
                  </a:lnTo>
                  <a:lnTo>
                    <a:pt x="2238" y="678"/>
                  </a:lnTo>
                  <a:lnTo>
                    <a:pt x="2244" y="684"/>
                  </a:lnTo>
                  <a:lnTo>
                    <a:pt x="2244" y="690"/>
                  </a:lnTo>
                  <a:lnTo>
                    <a:pt x="2238" y="696"/>
                  </a:lnTo>
                  <a:lnTo>
                    <a:pt x="2226" y="696"/>
                  </a:lnTo>
                  <a:lnTo>
                    <a:pt x="2208" y="702"/>
                  </a:lnTo>
                  <a:lnTo>
                    <a:pt x="2196" y="702"/>
                  </a:lnTo>
                  <a:lnTo>
                    <a:pt x="2160" y="720"/>
                  </a:lnTo>
                  <a:lnTo>
                    <a:pt x="2166" y="732"/>
                  </a:lnTo>
                  <a:lnTo>
                    <a:pt x="2196" y="732"/>
                  </a:lnTo>
                  <a:lnTo>
                    <a:pt x="2238" y="738"/>
                  </a:lnTo>
                  <a:lnTo>
                    <a:pt x="2322" y="738"/>
                  </a:lnTo>
                  <a:lnTo>
                    <a:pt x="2352" y="744"/>
                  </a:lnTo>
                  <a:lnTo>
                    <a:pt x="2352" y="750"/>
                  </a:lnTo>
                  <a:lnTo>
                    <a:pt x="2322" y="762"/>
                  </a:lnTo>
                  <a:lnTo>
                    <a:pt x="2280" y="762"/>
                  </a:lnTo>
                  <a:lnTo>
                    <a:pt x="2172" y="774"/>
                  </a:lnTo>
                  <a:lnTo>
                    <a:pt x="2136" y="774"/>
                  </a:lnTo>
                  <a:lnTo>
                    <a:pt x="2112" y="786"/>
                  </a:lnTo>
                  <a:lnTo>
                    <a:pt x="2106" y="792"/>
                  </a:lnTo>
                  <a:lnTo>
                    <a:pt x="2118" y="804"/>
                  </a:lnTo>
                  <a:lnTo>
                    <a:pt x="2130" y="810"/>
                  </a:lnTo>
                  <a:lnTo>
                    <a:pt x="2148" y="810"/>
                  </a:lnTo>
                  <a:lnTo>
                    <a:pt x="2160" y="816"/>
                  </a:lnTo>
                  <a:lnTo>
                    <a:pt x="2178" y="822"/>
                  </a:lnTo>
                  <a:lnTo>
                    <a:pt x="2190" y="828"/>
                  </a:lnTo>
                  <a:lnTo>
                    <a:pt x="2190" y="834"/>
                  </a:lnTo>
                  <a:lnTo>
                    <a:pt x="2184" y="840"/>
                  </a:lnTo>
                  <a:lnTo>
                    <a:pt x="2172" y="840"/>
                  </a:lnTo>
                  <a:lnTo>
                    <a:pt x="2154" y="858"/>
                  </a:lnTo>
                  <a:lnTo>
                    <a:pt x="2166" y="870"/>
                  </a:lnTo>
                  <a:lnTo>
                    <a:pt x="2322" y="870"/>
                  </a:lnTo>
                  <a:lnTo>
                    <a:pt x="2370" y="864"/>
                  </a:lnTo>
                  <a:lnTo>
                    <a:pt x="2436" y="858"/>
                  </a:lnTo>
                  <a:lnTo>
                    <a:pt x="2508" y="846"/>
                  </a:lnTo>
                  <a:lnTo>
                    <a:pt x="2574" y="840"/>
                  </a:lnTo>
                  <a:lnTo>
                    <a:pt x="2616" y="828"/>
                  </a:lnTo>
                  <a:lnTo>
                    <a:pt x="2652" y="828"/>
                  </a:lnTo>
                  <a:lnTo>
                    <a:pt x="2736" y="864"/>
                  </a:lnTo>
                  <a:lnTo>
                    <a:pt x="2778" y="876"/>
                  </a:lnTo>
                  <a:lnTo>
                    <a:pt x="2796" y="876"/>
                  </a:lnTo>
                  <a:lnTo>
                    <a:pt x="2814" y="870"/>
                  </a:lnTo>
                  <a:lnTo>
                    <a:pt x="2832" y="852"/>
                  </a:lnTo>
                  <a:lnTo>
                    <a:pt x="2838" y="840"/>
                  </a:lnTo>
                  <a:lnTo>
                    <a:pt x="2844" y="834"/>
                  </a:lnTo>
                  <a:lnTo>
                    <a:pt x="2844" y="822"/>
                  </a:lnTo>
                  <a:lnTo>
                    <a:pt x="2766" y="822"/>
                  </a:lnTo>
                  <a:lnTo>
                    <a:pt x="2802" y="798"/>
                  </a:lnTo>
                  <a:lnTo>
                    <a:pt x="2850" y="798"/>
                  </a:lnTo>
                  <a:lnTo>
                    <a:pt x="2898" y="792"/>
                  </a:lnTo>
                  <a:lnTo>
                    <a:pt x="2910" y="786"/>
                  </a:lnTo>
                  <a:lnTo>
                    <a:pt x="2916" y="786"/>
                  </a:lnTo>
                  <a:lnTo>
                    <a:pt x="2922" y="780"/>
                  </a:lnTo>
                  <a:lnTo>
                    <a:pt x="2916" y="768"/>
                  </a:lnTo>
                  <a:lnTo>
                    <a:pt x="2898" y="750"/>
                  </a:lnTo>
                  <a:lnTo>
                    <a:pt x="2898" y="744"/>
                  </a:lnTo>
                  <a:close/>
                  <a:moveTo>
                    <a:pt x="2868" y="882"/>
                  </a:moveTo>
                  <a:lnTo>
                    <a:pt x="2886" y="882"/>
                  </a:lnTo>
                  <a:lnTo>
                    <a:pt x="2904" y="876"/>
                  </a:lnTo>
                  <a:lnTo>
                    <a:pt x="2910" y="870"/>
                  </a:lnTo>
                  <a:lnTo>
                    <a:pt x="2910" y="864"/>
                  </a:lnTo>
                  <a:lnTo>
                    <a:pt x="2904" y="858"/>
                  </a:lnTo>
                  <a:lnTo>
                    <a:pt x="2880" y="858"/>
                  </a:lnTo>
                  <a:lnTo>
                    <a:pt x="2868" y="870"/>
                  </a:lnTo>
                  <a:lnTo>
                    <a:pt x="2868" y="882"/>
                  </a:lnTo>
                  <a:close/>
                  <a:moveTo>
                    <a:pt x="3276" y="330"/>
                  </a:moveTo>
                  <a:lnTo>
                    <a:pt x="3288" y="330"/>
                  </a:lnTo>
                  <a:lnTo>
                    <a:pt x="3294" y="324"/>
                  </a:lnTo>
                  <a:lnTo>
                    <a:pt x="3300" y="312"/>
                  </a:lnTo>
                  <a:lnTo>
                    <a:pt x="3300" y="306"/>
                  </a:lnTo>
                  <a:lnTo>
                    <a:pt x="3294" y="294"/>
                  </a:lnTo>
                  <a:lnTo>
                    <a:pt x="3288" y="288"/>
                  </a:lnTo>
                  <a:lnTo>
                    <a:pt x="3276" y="288"/>
                  </a:lnTo>
                  <a:lnTo>
                    <a:pt x="3270" y="300"/>
                  </a:lnTo>
                  <a:lnTo>
                    <a:pt x="3264" y="306"/>
                  </a:lnTo>
                  <a:lnTo>
                    <a:pt x="3264" y="324"/>
                  </a:lnTo>
                  <a:lnTo>
                    <a:pt x="3270" y="330"/>
                  </a:lnTo>
                  <a:lnTo>
                    <a:pt x="3276" y="330"/>
                  </a:lnTo>
                  <a:close/>
                  <a:moveTo>
                    <a:pt x="3462" y="228"/>
                  </a:moveTo>
                  <a:lnTo>
                    <a:pt x="3450" y="240"/>
                  </a:lnTo>
                  <a:lnTo>
                    <a:pt x="3450" y="252"/>
                  </a:lnTo>
                  <a:lnTo>
                    <a:pt x="3456" y="258"/>
                  </a:lnTo>
                  <a:lnTo>
                    <a:pt x="3528" y="258"/>
                  </a:lnTo>
                  <a:lnTo>
                    <a:pt x="3546" y="276"/>
                  </a:lnTo>
                  <a:lnTo>
                    <a:pt x="3558" y="282"/>
                  </a:lnTo>
                  <a:lnTo>
                    <a:pt x="3588" y="282"/>
                  </a:lnTo>
                  <a:lnTo>
                    <a:pt x="3612" y="270"/>
                  </a:lnTo>
                  <a:lnTo>
                    <a:pt x="3618" y="264"/>
                  </a:lnTo>
                  <a:lnTo>
                    <a:pt x="3606" y="252"/>
                  </a:lnTo>
                  <a:lnTo>
                    <a:pt x="3636" y="246"/>
                  </a:lnTo>
                  <a:lnTo>
                    <a:pt x="3594" y="210"/>
                  </a:lnTo>
                  <a:lnTo>
                    <a:pt x="3552" y="216"/>
                  </a:lnTo>
                  <a:lnTo>
                    <a:pt x="3534" y="198"/>
                  </a:lnTo>
                  <a:lnTo>
                    <a:pt x="3450" y="198"/>
                  </a:lnTo>
                  <a:lnTo>
                    <a:pt x="3438" y="204"/>
                  </a:lnTo>
                  <a:lnTo>
                    <a:pt x="3426" y="204"/>
                  </a:lnTo>
                  <a:lnTo>
                    <a:pt x="3420" y="210"/>
                  </a:lnTo>
                  <a:lnTo>
                    <a:pt x="3438" y="228"/>
                  </a:lnTo>
                  <a:lnTo>
                    <a:pt x="3462" y="228"/>
                  </a:lnTo>
                  <a:close/>
                  <a:moveTo>
                    <a:pt x="3432" y="1302"/>
                  </a:moveTo>
                  <a:lnTo>
                    <a:pt x="3408" y="1326"/>
                  </a:lnTo>
                  <a:lnTo>
                    <a:pt x="3408" y="1344"/>
                  </a:lnTo>
                  <a:lnTo>
                    <a:pt x="3438" y="1344"/>
                  </a:lnTo>
                  <a:lnTo>
                    <a:pt x="3462" y="1332"/>
                  </a:lnTo>
                  <a:lnTo>
                    <a:pt x="3468" y="1332"/>
                  </a:lnTo>
                  <a:lnTo>
                    <a:pt x="3480" y="1326"/>
                  </a:lnTo>
                  <a:lnTo>
                    <a:pt x="3486" y="1326"/>
                  </a:lnTo>
                  <a:lnTo>
                    <a:pt x="3504" y="1308"/>
                  </a:lnTo>
                  <a:lnTo>
                    <a:pt x="3516" y="1290"/>
                  </a:lnTo>
                  <a:lnTo>
                    <a:pt x="3516" y="1266"/>
                  </a:lnTo>
                  <a:lnTo>
                    <a:pt x="3510" y="1260"/>
                  </a:lnTo>
                  <a:lnTo>
                    <a:pt x="3498" y="1260"/>
                  </a:lnTo>
                  <a:lnTo>
                    <a:pt x="3480" y="1266"/>
                  </a:lnTo>
                  <a:lnTo>
                    <a:pt x="3432" y="1302"/>
                  </a:lnTo>
                  <a:close/>
                  <a:moveTo>
                    <a:pt x="4416" y="1392"/>
                  </a:moveTo>
                  <a:lnTo>
                    <a:pt x="4428" y="1380"/>
                  </a:lnTo>
                  <a:lnTo>
                    <a:pt x="4428" y="1374"/>
                  </a:lnTo>
                  <a:lnTo>
                    <a:pt x="4386" y="1374"/>
                  </a:lnTo>
                  <a:lnTo>
                    <a:pt x="4386" y="1380"/>
                  </a:lnTo>
                  <a:lnTo>
                    <a:pt x="4404" y="1398"/>
                  </a:lnTo>
                  <a:lnTo>
                    <a:pt x="4416" y="1392"/>
                  </a:lnTo>
                  <a:close/>
                  <a:moveTo>
                    <a:pt x="3120" y="2034"/>
                  </a:moveTo>
                  <a:lnTo>
                    <a:pt x="3132" y="2034"/>
                  </a:lnTo>
                  <a:lnTo>
                    <a:pt x="3138" y="2028"/>
                  </a:lnTo>
                  <a:lnTo>
                    <a:pt x="3132" y="2022"/>
                  </a:lnTo>
                  <a:lnTo>
                    <a:pt x="3120" y="2016"/>
                  </a:lnTo>
                  <a:lnTo>
                    <a:pt x="3114" y="2010"/>
                  </a:lnTo>
                  <a:lnTo>
                    <a:pt x="3108" y="2010"/>
                  </a:lnTo>
                  <a:lnTo>
                    <a:pt x="3090" y="2016"/>
                  </a:lnTo>
                  <a:lnTo>
                    <a:pt x="3078" y="2022"/>
                  </a:lnTo>
                  <a:lnTo>
                    <a:pt x="3072" y="2022"/>
                  </a:lnTo>
                  <a:lnTo>
                    <a:pt x="3072" y="2028"/>
                  </a:lnTo>
                  <a:lnTo>
                    <a:pt x="3078" y="2034"/>
                  </a:lnTo>
                  <a:lnTo>
                    <a:pt x="3120" y="2034"/>
                  </a:lnTo>
                  <a:close/>
                  <a:moveTo>
                    <a:pt x="4758" y="996"/>
                  </a:moveTo>
                  <a:lnTo>
                    <a:pt x="4746" y="996"/>
                  </a:lnTo>
                  <a:lnTo>
                    <a:pt x="4734" y="984"/>
                  </a:lnTo>
                  <a:lnTo>
                    <a:pt x="4704" y="1008"/>
                  </a:lnTo>
                  <a:lnTo>
                    <a:pt x="4704" y="978"/>
                  </a:lnTo>
                  <a:lnTo>
                    <a:pt x="4662" y="978"/>
                  </a:lnTo>
                  <a:lnTo>
                    <a:pt x="4668" y="978"/>
                  </a:lnTo>
                  <a:lnTo>
                    <a:pt x="4674" y="972"/>
                  </a:lnTo>
                  <a:lnTo>
                    <a:pt x="4686" y="972"/>
                  </a:lnTo>
                  <a:lnTo>
                    <a:pt x="4698" y="966"/>
                  </a:lnTo>
                  <a:lnTo>
                    <a:pt x="4704" y="954"/>
                  </a:lnTo>
                  <a:lnTo>
                    <a:pt x="4704" y="948"/>
                  </a:lnTo>
                  <a:lnTo>
                    <a:pt x="4698" y="942"/>
                  </a:lnTo>
                  <a:lnTo>
                    <a:pt x="4680" y="942"/>
                  </a:lnTo>
                  <a:lnTo>
                    <a:pt x="4668" y="936"/>
                  </a:lnTo>
                  <a:lnTo>
                    <a:pt x="4650" y="936"/>
                  </a:lnTo>
                  <a:lnTo>
                    <a:pt x="4632" y="930"/>
                  </a:lnTo>
                  <a:lnTo>
                    <a:pt x="4620" y="930"/>
                  </a:lnTo>
                  <a:lnTo>
                    <a:pt x="4614" y="918"/>
                  </a:lnTo>
                  <a:lnTo>
                    <a:pt x="4566" y="912"/>
                  </a:lnTo>
                  <a:lnTo>
                    <a:pt x="4500" y="870"/>
                  </a:lnTo>
                  <a:lnTo>
                    <a:pt x="4566" y="864"/>
                  </a:lnTo>
                  <a:lnTo>
                    <a:pt x="4536" y="840"/>
                  </a:lnTo>
                  <a:lnTo>
                    <a:pt x="4542" y="840"/>
                  </a:lnTo>
                  <a:lnTo>
                    <a:pt x="4548" y="834"/>
                  </a:lnTo>
                  <a:lnTo>
                    <a:pt x="4584" y="834"/>
                  </a:lnTo>
                  <a:lnTo>
                    <a:pt x="4596" y="840"/>
                  </a:lnTo>
                  <a:lnTo>
                    <a:pt x="4638" y="840"/>
                  </a:lnTo>
                  <a:lnTo>
                    <a:pt x="4638" y="834"/>
                  </a:lnTo>
                  <a:lnTo>
                    <a:pt x="4632" y="828"/>
                  </a:lnTo>
                  <a:lnTo>
                    <a:pt x="4614" y="822"/>
                  </a:lnTo>
                  <a:lnTo>
                    <a:pt x="4596" y="822"/>
                  </a:lnTo>
                  <a:lnTo>
                    <a:pt x="4578" y="816"/>
                  </a:lnTo>
                  <a:lnTo>
                    <a:pt x="4518" y="816"/>
                  </a:lnTo>
                  <a:lnTo>
                    <a:pt x="4536" y="816"/>
                  </a:lnTo>
                  <a:lnTo>
                    <a:pt x="4620" y="804"/>
                  </a:lnTo>
                  <a:lnTo>
                    <a:pt x="4638" y="798"/>
                  </a:lnTo>
                  <a:lnTo>
                    <a:pt x="4638" y="792"/>
                  </a:lnTo>
                  <a:lnTo>
                    <a:pt x="4632" y="792"/>
                  </a:lnTo>
                  <a:lnTo>
                    <a:pt x="4626" y="786"/>
                  </a:lnTo>
                  <a:lnTo>
                    <a:pt x="4608" y="786"/>
                  </a:lnTo>
                  <a:lnTo>
                    <a:pt x="4500" y="798"/>
                  </a:lnTo>
                  <a:lnTo>
                    <a:pt x="4560" y="762"/>
                  </a:lnTo>
                  <a:lnTo>
                    <a:pt x="4620" y="762"/>
                  </a:lnTo>
                  <a:lnTo>
                    <a:pt x="4626" y="756"/>
                  </a:lnTo>
                  <a:lnTo>
                    <a:pt x="4620" y="750"/>
                  </a:lnTo>
                  <a:lnTo>
                    <a:pt x="4584" y="738"/>
                  </a:lnTo>
                  <a:lnTo>
                    <a:pt x="4572" y="732"/>
                  </a:lnTo>
                  <a:lnTo>
                    <a:pt x="4554" y="732"/>
                  </a:lnTo>
                  <a:lnTo>
                    <a:pt x="4518" y="750"/>
                  </a:lnTo>
                  <a:lnTo>
                    <a:pt x="4500" y="744"/>
                  </a:lnTo>
                  <a:lnTo>
                    <a:pt x="4458" y="774"/>
                  </a:lnTo>
                  <a:lnTo>
                    <a:pt x="4464" y="756"/>
                  </a:lnTo>
                  <a:lnTo>
                    <a:pt x="4440" y="774"/>
                  </a:lnTo>
                  <a:lnTo>
                    <a:pt x="4464" y="744"/>
                  </a:lnTo>
                  <a:lnTo>
                    <a:pt x="4500" y="744"/>
                  </a:lnTo>
                  <a:lnTo>
                    <a:pt x="4506" y="738"/>
                  </a:lnTo>
                  <a:lnTo>
                    <a:pt x="4518" y="714"/>
                  </a:lnTo>
                  <a:lnTo>
                    <a:pt x="4518" y="708"/>
                  </a:lnTo>
                  <a:lnTo>
                    <a:pt x="4512" y="702"/>
                  </a:lnTo>
                  <a:lnTo>
                    <a:pt x="4506" y="708"/>
                  </a:lnTo>
                  <a:lnTo>
                    <a:pt x="4494" y="714"/>
                  </a:lnTo>
                  <a:lnTo>
                    <a:pt x="4488" y="726"/>
                  </a:lnTo>
                  <a:lnTo>
                    <a:pt x="4452" y="726"/>
                  </a:lnTo>
                  <a:lnTo>
                    <a:pt x="4428" y="738"/>
                  </a:lnTo>
                  <a:lnTo>
                    <a:pt x="4452" y="708"/>
                  </a:lnTo>
                  <a:lnTo>
                    <a:pt x="4482" y="708"/>
                  </a:lnTo>
                  <a:lnTo>
                    <a:pt x="4494" y="702"/>
                  </a:lnTo>
                  <a:lnTo>
                    <a:pt x="4500" y="702"/>
                  </a:lnTo>
                  <a:lnTo>
                    <a:pt x="4506" y="696"/>
                  </a:lnTo>
                  <a:lnTo>
                    <a:pt x="4506" y="690"/>
                  </a:lnTo>
                  <a:lnTo>
                    <a:pt x="4500" y="684"/>
                  </a:lnTo>
                  <a:lnTo>
                    <a:pt x="4458" y="684"/>
                  </a:lnTo>
                  <a:lnTo>
                    <a:pt x="4446" y="690"/>
                  </a:lnTo>
                  <a:lnTo>
                    <a:pt x="4428" y="696"/>
                  </a:lnTo>
                  <a:lnTo>
                    <a:pt x="4422" y="702"/>
                  </a:lnTo>
                  <a:lnTo>
                    <a:pt x="4416" y="702"/>
                  </a:lnTo>
                  <a:lnTo>
                    <a:pt x="4404" y="684"/>
                  </a:lnTo>
                  <a:lnTo>
                    <a:pt x="4380" y="702"/>
                  </a:lnTo>
                  <a:lnTo>
                    <a:pt x="4398" y="672"/>
                  </a:lnTo>
                  <a:lnTo>
                    <a:pt x="4344" y="696"/>
                  </a:lnTo>
                  <a:lnTo>
                    <a:pt x="4344" y="672"/>
                  </a:lnTo>
                  <a:lnTo>
                    <a:pt x="4350" y="672"/>
                  </a:lnTo>
                  <a:lnTo>
                    <a:pt x="4356" y="666"/>
                  </a:lnTo>
                  <a:lnTo>
                    <a:pt x="4368" y="666"/>
                  </a:lnTo>
                  <a:lnTo>
                    <a:pt x="4386" y="660"/>
                  </a:lnTo>
                  <a:lnTo>
                    <a:pt x="4392" y="660"/>
                  </a:lnTo>
                  <a:lnTo>
                    <a:pt x="4398" y="654"/>
                  </a:lnTo>
                  <a:lnTo>
                    <a:pt x="4356" y="654"/>
                  </a:lnTo>
                  <a:lnTo>
                    <a:pt x="4338" y="660"/>
                  </a:lnTo>
                  <a:lnTo>
                    <a:pt x="4326" y="660"/>
                  </a:lnTo>
                  <a:lnTo>
                    <a:pt x="4320" y="648"/>
                  </a:lnTo>
                  <a:lnTo>
                    <a:pt x="4332" y="648"/>
                  </a:lnTo>
                  <a:lnTo>
                    <a:pt x="4356" y="636"/>
                  </a:lnTo>
                  <a:lnTo>
                    <a:pt x="4368" y="636"/>
                  </a:lnTo>
                  <a:lnTo>
                    <a:pt x="4380" y="630"/>
                  </a:lnTo>
                  <a:lnTo>
                    <a:pt x="4386" y="624"/>
                  </a:lnTo>
                  <a:lnTo>
                    <a:pt x="4368" y="618"/>
                  </a:lnTo>
                  <a:lnTo>
                    <a:pt x="4326" y="612"/>
                  </a:lnTo>
                  <a:lnTo>
                    <a:pt x="4290" y="612"/>
                  </a:lnTo>
                  <a:lnTo>
                    <a:pt x="4266" y="606"/>
                  </a:lnTo>
                  <a:lnTo>
                    <a:pt x="4236" y="606"/>
                  </a:lnTo>
                  <a:lnTo>
                    <a:pt x="4230" y="612"/>
                  </a:lnTo>
                  <a:lnTo>
                    <a:pt x="4230" y="618"/>
                  </a:lnTo>
                  <a:lnTo>
                    <a:pt x="4236" y="624"/>
                  </a:lnTo>
                  <a:lnTo>
                    <a:pt x="4242" y="636"/>
                  </a:lnTo>
                  <a:lnTo>
                    <a:pt x="4206" y="630"/>
                  </a:lnTo>
                  <a:lnTo>
                    <a:pt x="4212" y="660"/>
                  </a:lnTo>
                  <a:lnTo>
                    <a:pt x="4194" y="636"/>
                  </a:lnTo>
                  <a:lnTo>
                    <a:pt x="4152" y="660"/>
                  </a:lnTo>
                  <a:lnTo>
                    <a:pt x="4158" y="654"/>
                  </a:lnTo>
                  <a:lnTo>
                    <a:pt x="4158" y="636"/>
                  </a:lnTo>
                  <a:lnTo>
                    <a:pt x="4152" y="630"/>
                  </a:lnTo>
                  <a:lnTo>
                    <a:pt x="4140" y="630"/>
                  </a:lnTo>
                  <a:lnTo>
                    <a:pt x="4122" y="636"/>
                  </a:lnTo>
                  <a:lnTo>
                    <a:pt x="4110" y="642"/>
                  </a:lnTo>
                  <a:lnTo>
                    <a:pt x="4098" y="642"/>
                  </a:lnTo>
                  <a:lnTo>
                    <a:pt x="4086" y="648"/>
                  </a:lnTo>
                  <a:lnTo>
                    <a:pt x="4080" y="654"/>
                  </a:lnTo>
                  <a:lnTo>
                    <a:pt x="4074" y="654"/>
                  </a:lnTo>
                  <a:lnTo>
                    <a:pt x="4092" y="618"/>
                  </a:lnTo>
                  <a:lnTo>
                    <a:pt x="4110" y="618"/>
                  </a:lnTo>
                  <a:lnTo>
                    <a:pt x="4122" y="612"/>
                  </a:lnTo>
                  <a:lnTo>
                    <a:pt x="4134" y="612"/>
                  </a:lnTo>
                  <a:lnTo>
                    <a:pt x="4146" y="606"/>
                  </a:lnTo>
                  <a:lnTo>
                    <a:pt x="4152" y="600"/>
                  </a:lnTo>
                  <a:lnTo>
                    <a:pt x="4152" y="594"/>
                  </a:lnTo>
                  <a:lnTo>
                    <a:pt x="4146" y="582"/>
                  </a:lnTo>
                  <a:lnTo>
                    <a:pt x="4134" y="570"/>
                  </a:lnTo>
                  <a:lnTo>
                    <a:pt x="4152" y="552"/>
                  </a:lnTo>
                  <a:lnTo>
                    <a:pt x="4152" y="540"/>
                  </a:lnTo>
                  <a:lnTo>
                    <a:pt x="4050" y="540"/>
                  </a:lnTo>
                  <a:lnTo>
                    <a:pt x="4026" y="558"/>
                  </a:lnTo>
                  <a:lnTo>
                    <a:pt x="3942" y="558"/>
                  </a:lnTo>
                  <a:lnTo>
                    <a:pt x="3948" y="576"/>
                  </a:lnTo>
                  <a:lnTo>
                    <a:pt x="3978" y="588"/>
                  </a:lnTo>
                  <a:lnTo>
                    <a:pt x="3936" y="576"/>
                  </a:lnTo>
                  <a:lnTo>
                    <a:pt x="3948" y="600"/>
                  </a:lnTo>
                  <a:lnTo>
                    <a:pt x="3936" y="594"/>
                  </a:lnTo>
                  <a:lnTo>
                    <a:pt x="3930" y="594"/>
                  </a:lnTo>
                  <a:lnTo>
                    <a:pt x="3918" y="588"/>
                  </a:lnTo>
                  <a:lnTo>
                    <a:pt x="3894" y="588"/>
                  </a:lnTo>
                  <a:lnTo>
                    <a:pt x="3882" y="594"/>
                  </a:lnTo>
                  <a:lnTo>
                    <a:pt x="3876" y="606"/>
                  </a:lnTo>
                  <a:lnTo>
                    <a:pt x="3882" y="612"/>
                  </a:lnTo>
                  <a:lnTo>
                    <a:pt x="3888" y="624"/>
                  </a:lnTo>
                  <a:lnTo>
                    <a:pt x="3894" y="630"/>
                  </a:lnTo>
                  <a:lnTo>
                    <a:pt x="3900" y="660"/>
                  </a:lnTo>
                  <a:lnTo>
                    <a:pt x="3894" y="660"/>
                  </a:lnTo>
                  <a:lnTo>
                    <a:pt x="3888" y="654"/>
                  </a:lnTo>
                  <a:lnTo>
                    <a:pt x="3864" y="642"/>
                  </a:lnTo>
                  <a:lnTo>
                    <a:pt x="3852" y="642"/>
                  </a:lnTo>
                  <a:lnTo>
                    <a:pt x="3828" y="666"/>
                  </a:lnTo>
                  <a:lnTo>
                    <a:pt x="3828" y="678"/>
                  </a:lnTo>
                  <a:lnTo>
                    <a:pt x="3846" y="678"/>
                  </a:lnTo>
                  <a:lnTo>
                    <a:pt x="3858" y="690"/>
                  </a:lnTo>
                  <a:lnTo>
                    <a:pt x="3810" y="714"/>
                  </a:lnTo>
                  <a:lnTo>
                    <a:pt x="3750" y="720"/>
                  </a:lnTo>
                  <a:lnTo>
                    <a:pt x="3762" y="720"/>
                  </a:lnTo>
                  <a:lnTo>
                    <a:pt x="3798" y="702"/>
                  </a:lnTo>
                  <a:lnTo>
                    <a:pt x="3810" y="690"/>
                  </a:lnTo>
                  <a:lnTo>
                    <a:pt x="3810" y="684"/>
                  </a:lnTo>
                  <a:lnTo>
                    <a:pt x="3804" y="684"/>
                  </a:lnTo>
                  <a:lnTo>
                    <a:pt x="3792" y="672"/>
                  </a:lnTo>
                  <a:lnTo>
                    <a:pt x="3786" y="672"/>
                  </a:lnTo>
                  <a:lnTo>
                    <a:pt x="3786" y="660"/>
                  </a:lnTo>
                  <a:lnTo>
                    <a:pt x="3804" y="642"/>
                  </a:lnTo>
                  <a:lnTo>
                    <a:pt x="3816" y="636"/>
                  </a:lnTo>
                  <a:lnTo>
                    <a:pt x="3828" y="636"/>
                  </a:lnTo>
                  <a:lnTo>
                    <a:pt x="3828" y="606"/>
                  </a:lnTo>
                  <a:lnTo>
                    <a:pt x="3840" y="600"/>
                  </a:lnTo>
                  <a:lnTo>
                    <a:pt x="3858" y="582"/>
                  </a:lnTo>
                  <a:lnTo>
                    <a:pt x="3876" y="576"/>
                  </a:lnTo>
                  <a:lnTo>
                    <a:pt x="3882" y="570"/>
                  </a:lnTo>
                  <a:lnTo>
                    <a:pt x="3894" y="564"/>
                  </a:lnTo>
                  <a:lnTo>
                    <a:pt x="3906" y="564"/>
                  </a:lnTo>
                  <a:lnTo>
                    <a:pt x="3918" y="558"/>
                  </a:lnTo>
                  <a:lnTo>
                    <a:pt x="3936" y="552"/>
                  </a:lnTo>
                  <a:lnTo>
                    <a:pt x="3954" y="552"/>
                  </a:lnTo>
                  <a:lnTo>
                    <a:pt x="3966" y="546"/>
                  </a:lnTo>
                  <a:lnTo>
                    <a:pt x="3972" y="540"/>
                  </a:lnTo>
                  <a:lnTo>
                    <a:pt x="3942" y="534"/>
                  </a:lnTo>
                  <a:lnTo>
                    <a:pt x="3852" y="534"/>
                  </a:lnTo>
                  <a:lnTo>
                    <a:pt x="3822" y="540"/>
                  </a:lnTo>
                  <a:lnTo>
                    <a:pt x="3786" y="558"/>
                  </a:lnTo>
                  <a:lnTo>
                    <a:pt x="3744" y="576"/>
                  </a:lnTo>
                  <a:lnTo>
                    <a:pt x="3720" y="594"/>
                  </a:lnTo>
                  <a:lnTo>
                    <a:pt x="3708" y="600"/>
                  </a:lnTo>
                  <a:lnTo>
                    <a:pt x="3702" y="600"/>
                  </a:lnTo>
                  <a:lnTo>
                    <a:pt x="3696" y="606"/>
                  </a:lnTo>
                  <a:lnTo>
                    <a:pt x="3684" y="606"/>
                  </a:lnTo>
                  <a:lnTo>
                    <a:pt x="3660" y="618"/>
                  </a:lnTo>
                  <a:lnTo>
                    <a:pt x="3654" y="618"/>
                  </a:lnTo>
                  <a:lnTo>
                    <a:pt x="3642" y="624"/>
                  </a:lnTo>
                  <a:lnTo>
                    <a:pt x="3630" y="636"/>
                  </a:lnTo>
                  <a:lnTo>
                    <a:pt x="3618" y="642"/>
                  </a:lnTo>
                  <a:lnTo>
                    <a:pt x="3600" y="660"/>
                  </a:lnTo>
                  <a:lnTo>
                    <a:pt x="3588" y="666"/>
                  </a:lnTo>
                  <a:lnTo>
                    <a:pt x="3582" y="678"/>
                  </a:lnTo>
                  <a:lnTo>
                    <a:pt x="3582" y="684"/>
                  </a:lnTo>
                  <a:lnTo>
                    <a:pt x="3588" y="690"/>
                  </a:lnTo>
                  <a:lnTo>
                    <a:pt x="3612" y="690"/>
                  </a:lnTo>
                  <a:lnTo>
                    <a:pt x="3648" y="696"/>
                  </a:lnTo>
                  <a:lnTo>
                    <a:pt x="3672" y="696"/>
                  </a:lnTo>
                  <a:lnTo>
                    <a:pt x="3684" y="708"/>
                  </a:lnTo>
                  <a:lnTo>
                    <a:pt x="3666" y="714"/>
                  </a:lnTo>
                  <a:lnTo>
                    <a:pt x="3594" y="726"/>
                  </a:lnTo>
                  <a:lnTo>
                    <a:pt x="3570" y="732"/>
                  </a:lnTo>
                  <a:lnTo>
                    <a:pt x="3576" y="738"/>
                  </a:lnTo>
                  <a:lnTo>
                    <a:pt x="3594" y="750"/>
                  </a:lnTo>
                  <a:lnTo>
                    <a:pt x="3630" y="762"/>
                  </a:lnTo>
                  <a:lnTo>
                    <a:pt x="3642" y="768"/>
                  </a:lnTo>
                  <a:lnTo>
                    <a:pt x="3648" y="768"/>
                  </a:lnTo>
                  <a:lnTo>
                    <a:pt x="3690" y="750"/>
                  </a:lnTo>
                  <a:lnTo>
                    <a:pt x="3690" y="762"/>
                  </a:lnTo>
                  <a:lnTo>
                    <a:pt x="3702" y="774"/>
                  </a:lnTo>
                  <a:lnTo>
                    <a:pt x="3744" y="774"/>
                  </a:lnTo>
                  <a:lnTo>
                    <a:pt x="3786" y="780"/>
                  </a:lnTo>
                  <a:lnTo>
                    <a:pt x="3834" y="786"/>
                  </a:lnTo>
                  <a:lnTo>
                    <a:pt x="3876" y="792"/>
                  </a:lnTo>
                  <a:lnTo>
                    <a:pt x="3894" y="792"/>
                  </a:lnTo>
                  <a:lnTo>
                    <a:pt x="3900" y="786"/>
                  </a:lnTo>
                  <a:lnTo>
                    <a:pt x="3894" y="780"/>
                  </a:lnTo>
                  <a:lnTo>
                    <a:pt x="3882" y="774"/>
                  </a:lnTo>
                  <a:lnTo>
                    <a:pt x="3876" y="768"/>
                  </a:lnTo>
                  <a:lnTo>
                    <a:pt x="3894" y="768"/>
                  </a:lnTo>
                  <a:lnTo>
                    <a:pt x="3930" y="774"/>
                  </a:lnTo>
                  <a:lnTo>
                    <a:pt x="3966" y="774"/>
                  </a:lnTo>
                  <a:lnTo>
                    <a:pt x="3990" y="780"/>
                  </a:lnTo>
                  <a:lnTo>
                    <a:pt x="4002" y="780"/>
                  </a:lnTo>
                  <a:lnTo>
                    <a:pt x="4020" y="786"/>
                  </a:lnTo>
                  <a:lnTo>
                    <a:pt x="4032" y="792"/>
                  </a:lnTo>
                  <a:lnTo>
                    <a:pt x="4050" y="792"/>
                  </a:lnTo>
                  <a:lnTo>
                    <a:pt x="4062" y="786"/>
                  </a:lnTo>
                  <a:lnTo>
                    <a:pt x="4062" y="774"/>
                  </a:lnTo>
                  <a:lnTo>
                    <a:pt x="4056" y="768"/>
                  </a:lnTo>
                  <a:lnTo>
                    <a:pt x="4050" y="756"/>
                  </a:lnTo>
                  <a:lnTo>
                    <a:pt x="4044" y="750"/>
                  </a:lnTo>
                  <a:lnTo>
                    <a:pt x="4092" y="738"/>
                  </a:lnTo>
                  <a:lnTo>
                    <a:pt x="4092" y="744"/>
                  </a:lnTo>
                  <a:lnTo>
                    <a:pt x="4098" y="750"/>
                  </a:lnTo>
                  <a:lnTo>
                    <a:pt x="4104" y="762"/>
                  </a:lnTo>
                  <a:lnTo>
                    <a:pt x="4104" y="768"/>
                  </a:lnTo>
                  <a:lnTo>
                    <a:pt x="4110" y="774"/>
                  </a:lnTo>
                  <a:lnTo>
                    <a:pt x="4116" y="774"/>
                  </a:lnTo>
                  <a:lnTo>
                    <a:pt x="4122" y="780"/>
                  </a:lnTo>
                  <a:lnTo>
                    <a:pt x="4134" y="786"/>
                  </a:lnTo>
                  <a:lnTo>
                    <a:pt x="4140" y="792"/>
                  </a:lnTo>
                  <a:lnTo>
                    <a:pt x="4170" y="786"/>
                  </a:lnTo>
                  <a:lnTo>
                    <a:pt x="4170" y="792"/>
                  </a:lnTo>
                  <a:lnTo>
                    <a:pt x="4164" y="798"/>
                  </a:lnTo>
                  <a:lnTo>
                    <a:pt x="4164" y="816"/>
                  </a:lnTo>
                  <a:lnTo>
                    <a:pt x="4170" y="816"/>
                  </a:lnTo>
                  <a:lnTo>
                    <a:pt x="4182" y="822"/>
                  </a:lnTo>
                  <a:lnTo>
                    <a:pt x="4200" y="822"/>
                  </a:lnTo>
                  <a:lnTo>
                    <a:pt x="4206" y="828"/>
                  </a:lnTo>
                  <a:lnTo>
                    <a:pt x="4212" y="828"/>
                  </a:lnTo>
                  <a:lnTo>
                    <a:pt x="4194" y="846"/>
                  </a:lnTo>
                  <a:lnTo>
                    <a:pt x="4194" y="858"/>
                  </a:lnTo>
                  <a:lnTo>
                    <a:pt x="4230" y="858"/>
                  </a:lnTo>
                  <a:lnTo>
                    <a:pt x="4224" y="882"/>
                  </a:lnTo>
                  <a:lnTo>
                    <a:pt x="4236" y="882"/>
                  </a:lnTo>
                  <a:lnTo>
                    <a:pt x="4248" y="888"/>
                  </a:lnTo>
                  <a:lnTo>
                    <a:pt x="4254" y="888"/>
                  </a:lnTo>
                  <a:lnTo>
                    <a:pt x="4278" y="900"/>
                  </a:lnTo>
                  <a:lnTo>
                    <a:pt x="4278" y="924"/>
                  </a:lnTo>
                  <a:lnTo>
                    <a:pt x="4266" y="948"/>
                  </a:lnTo>
                  <a:lnTo>
                    <a:pt x="4254" y="966"/>
                  </a:lnTo>
                  <a:lnTo>
                    <a:pt x="4248" y="978"/>
                  </a:lnTo>
                  <a:lnTo>
                    <a:pt x="4236" y="990"/>
                  </a:lnTo>
                  <a:lnTo>
                    <a:pt x="4218" y="996"/>
                  </a:lnTo>
                  <a:lnTo>
                    <a:pt x="4182" y="1014"/>
                  </a:lnTo>
                  <a:lnTo>
                    <a:pt x="4140" y="1026"/>
                  </a:lnTo>
                  <a:lnTo>
                    <a:pt x="4092" y="1050"/>
                  </a:lnTo>
                  <a:lnTo>
                    <a:pt x="4098" y="1056"/>
                  </a:lnTo>
                  <a:lnTo>
                    <a:pt x="4110" y="1062"/>
                  </a:lnTo>
                  <a:lnTo>
                    <a:pt x="4122" y="1074"/>
                  </a:lnTo>
                  <a:lnTo>
                    <a:pt x="4122" y="1080"/>
                  </a:lnTo>
                  <a:lnTo>
                    <a:pt x="4116" y="1086"/>
                  </a:lnTo>
                  <a:lnTo>
                    <a:pt x="4080" y="1098"/>
                  </a:lnTo>
                  <a:lnTo>
                    <a:pt x="4062" y="1098"/>
                  </a:lnTo>
                  <a:lnTo>
                    <a:pt x="3984" y="1110"/>
                  </a:lnTo>
                  <a:lnTo>
                    <a:pt x="3978" y="1128"/>
                  </a:lnTo>
                  <a:lnTo>
                    <a:pt x="3960" y="1110"/>
                  </a:lnTo>
                  <a:lnTo>
                    <a:pt x="3954" y="1110"/>
                  </a:lnTo>
                  <a:lnTo>
                    <a:pt x="3948" y="1104"/>
                  </a:lnTo>
                  <a:lnTo>
                    <a:pt x="3930" y="1104"/>
                  </a:lnTo>
                  <a:lnTo>
                    <a:pt x="3918" y="1098"/>
                  </a:lnTo>
                  <a:lnTo>
                    <a:pt x="3900" y="1098"/>
                  </a:lnTo>
                  <a:lnTo>
                    <a:pt x="3888" y="1104"/>
                  </a:lnTo>
                  <a:lnTo>
                    <a:pt x="3882" y="1110"/>
                  </a:lnTo>
                  <a:lnTo>
                    <a:pt x="3882" y="1122"/>
                  </a:lnTo>
                  <a:lnTo>
                    <a:pt x="3870" y="1122"/>
                  </a:lnTo>
                  <a:lnTo>
                    <a:pt x="3858" y="1128"/>
                  </a:lnTo>
                  <a:lnTo>
                    <a:pt x="3840" y="1134"/>
                  </a:lnTo>
                  <a:lnTo>
                    <a:pt x="3828" y="1140"/>
                  </a:lnTo>
                  <a:lnTo>
                    <a:pt x="3822" y="1146"/>
                  </a:lnTo>
                  <a:lnTo>
                    <a:pt x="3816" y="1158"/>
                  </a:lnTo>
                  <a:lnTo>
                    <a:pt x="3816" y="1170"/>
                  </a:lnTo>
                  <a:lnTo>
                    <a:pt x="3822" y="1182"/>
                  </a:lnTo>
                  <a:lnTo>
                    <a:pt x="3834" y="1188"/>
                  </a:lnTo>
                  <a:lnTo>
                    <a:pt x="3864" y="1188"/>
                  </a:lnTo>
                  <a:lnTo>
                    <a:pt x="3876" y="1182"/>
                  </a:lnTo>
                  <a:lnTo>
                    <a:pt x="3894" y="1182"/>
                  </a:lnTo>
                  <a:lnTo>
                    <a:pt x="3906" y="1176"/>
                  </a:lnTo>
                  <a:lnTo>
                    <a:pt x="3924" y="1170"/>
                  </a:lnTo>
                  <a:lnTo>
                    <a:pt x="3936" y="1164"/>
                  </a:lnTo>
                  <a:lnTo>
                    <a:pt x="3966" y="1164"/>
                  </a:lnTo>
                  <a:lnTo>
                    <a:pt x="3978" y="1176"/>
                  </a:lnTo>
                  <a:lnTo>
                    <a:pt x="3996" y="1176"/>
                  </a:lnTo>
                  <a:lnTo>
                    <a:pt x="4002" y="1170"/>
                  </a:lnTo>
                  <a:lnTo>
                    <a:pt x="4002" y="1152"/>
                  </a:lnTo>
                  <a:lnTo>
                    <a:pt x="4026" y="1128"/>
                  </a:lnTo>
                  <a:lnTo>
                    <a:pt x="4014" y="1140"/>
                  </a:lnTo>
                  <a:lnTo>
                    <a:pt x="4014" y="1146"/>
                  </a:lnTo>
                  <a:lnTo>
                    <a:pt x="4020" y="1152"/>
                  </a:lnTo>
                  <a:lnTo>
                    <a:pt x="4086" y="1152"/>
                  </a:lnTo>
                  <a:lnTo>
                    <a:pt x="4080" y="1158"/>
                  </a:lnTo>
                  <a:lnTo>
                    <a:pt x="4068" y="1164"/>
                  </a:lnTo>
                  <a:lnTo>
                    <a:pt x="4062" y="1170"/>
                  </a:lnTo>
                  <a:lnTo>
                    <a:pt x="4062" y="1176"/>
                  </a:lnTo>
                  <a:lnTo>
                    <a:pt x="4068" y="1182"/>
                  </a:lnTo>
                  <a:lnTo>
                    <a:pt x="4080" y="1182"/>
                  </a:lnTo>
                  <a:lnTo>
                    <a:pt x="4086" y="1188"/>
                  </a:lnTo>
                  <a:lnTo>
                    <a:pt x="4098" y="1188"/>
                  </a:lnTo>
                  <a:lnTo>
                    <a:pt x="4086" y="1200"/>
                  </a:lnTo>
                  <a:lnTo>
                    <a:pt x="4086" y="1206"/>
                  </a:lnTo>
                  <a:lnTo>
                    <a:pt x="4092" y="1212"/>
                  </a:lnTo>
                  <a:lnTo>
                    <a:pt x="4116" y="1224"/>
                  </a:lnTo>
                  <a:lnTo>
                    <a:pt x="4146" y="1224"/>
                  </a:lnTo>
                  <a:lnTo>
                    <a:pt x="4098" y="1242"/>
                  </a:lnTo>
                  <a:lnTo>
                    <a:pt x="4098" y="1248"/>
                  </a:lnTo>
                  <a:lnTo>
                    <a:pt x="4110" y="1260"/>
                  </a:lnTo>
                  <a:lnTo>
                    <a:pt x="4110" y="1266"/>
                  </a:lnTo>
                  <a:lnTo>
                    <a:pt x="4116" y="1272"/>
                  </a:lnTo>
                  <a:lnTo>
                    <a:pt x="4122" y="1266"/>
                  </a:lnTo>
                  <a:lnTo>
                    <a:pt x="4128" y="1266"/>
                  </a:lnTo>
                  <a:lnTo>
                    <a:pt x="4140" y="1260"/>
                  </a:lnTo>
                  <a:lnTo>
                    <a:pt x="4146" y="1272"/>
                  </a:lnTo>
                  <a:lnTo>
                    <a:pt x="4158" y="1284"/>
                  </a:lnTo>
                  <a:lnTo>
                    <a:pt x="4182" y="1284"/>
                  </a:lnTo>
                  <a:lnTo>
                    <a:pt x="4194" y="1290"/>
                  </a:lnTo>
                  <a:lnTo>
                    <a:pt x="4206" y="1290"/>
                  </a:lnTo>
                  <a:lnTo>
                    <a:pt x="4206" y="1308"/>
                  </a:lnTo>
                  <a:lnTo>
                    <a:pt x="4212" y="1314"/>
                  </a:lnTo>
                  <a:lnTo>
                    <a:pt x="4224" y="1320"/>
                  </a:lnTo>
                  <a:lnTo>
                    <a:pt x="4272" y="1320"/>
                  </a:lnTo>
                  <a:lnTo>
                    <a:pt x="4290" y="1326"/>
                  </a:lnTo>
                  <a:lnTo>
                    <a:pt x="4350" y="1356"/>
                  </a:lnTo>
                  <a:lnTo>
                    <a:pt x="4356" y="1362"/>
                  </a:lnTo>
                  <a:lnTo>
                    <a:pt x="4362" y="1362"/>
                  </a:lnTo>
                  <a:lnTo>
                    <a:pt x="4362" y="1356"/>
                  </a:lnTo>
                  <a:lnTo>
                    <a:pt x="4368" y="1350"/>
                  </a:lnTo>
                  <a:lnTo>
                    <a:pt x="4368" y="1320"/>
                  </a:lnTo>
                  <a:lnTo>
                    <a:pt x="4362" y="1308"/>
                  </a:lnTo>
                  <a:lnTo>
                    <a:pt x="4350" y="1296"/>
                  </a:lnTo>
                  <a:lnTo>
                    <a:pt x="4338" y="1290"/>
                  </a:lnTo>
                  <a:lnTo>
                    <a:pt x="4320" y="1272"/>
                  </a:lnTo>
                  <a:lnTo>
                    <a:pt x="4314" y="1272"/>
                  </a:lnTo>
                  <a:lnTo>
                    <a:pt x="4308" y="1260"/>
                  </a:lnTo>
                  <a:lnTo>
                    <a:pt x="4302" y="1254"/>
                  </a:lnTo>
                  <a:lnTo>
                    <a:pt x="4290" y="1230"/>
                  </a:lnTo>
                  <a:lnTo>
                    <a:pt x="4290" y="1224"/>
                  </a:lnTo>
                  <a:lnTo>
                    <a:pt x="4308" y="1224"/>
                  </a:lnTo>
                  <a:lnTo>
                    <a:pt x="4314" y="1230"/>
                  </a:lnTo>
                  <a:lnTo>
                    <a:pt x="4326" y="1236"/>
                  </a:lnTo>
                  <a:lnTo>
                    <a:pt x="4332" y="1242"/>
                  </a:lnTo>
                  <a:lnTo>
                    <a:pt x="4332" y="1212"/>
                  </a:lnTo>
                  <a:lnTo>
                    <a:pt x="4332" y="1218"/>
                  </a:lnTo>
                  <a:lnTo>
                    <a:pt x="4344" y="1230"/>
                  </a:lnTo>
                  <a:lnTo>
                    <a:pt x="4350" y="1242"/>
                  </a:lnTo>
                  <a:lnTo>
                    <a:pt x="4362" y="1254"/>
                  </a:lnTo>
                  <a:lnTo>
                    <a:pt x="4374" y="1254"/>
                  </a:lnTo>
                  <a:lnTo>
                    <a:pt x="4386" y="1248"/>
                  </a:lnTo>
                  <a:lnTo>
                    <a:pt x="4398" y="1248"/>
                  </a:lnTo>
                  <a:lnTo>
                    <a:pt x="4398" y="1272"/>
                  </a:lnTo>
                  <a:lnTo>
                    <a:pt x="4404" y="1278"/>
                  </a:lnTo>
                  <a:lnTo>
                    <a:pt x="4416" y="1278"/>
                  </a:lnTo>
                  <a:lnTo>
                    <a:pt x="4428" y="1290"/>
                  </a:lnTo>
                  <a:lnTo>
                    <a:pt x="4452" y="1272"/>
                  </a:lnTo>
                  <a:lnTo>
                    <a:pt x="4464" y="1284"/>
                  </a:lnTo>
                  <a:lnTo>
                    <a:pt x="4470" y="1284"/>
                  </a:lnTo>
                  <a:lnTo>
                    <a:pt x="4476" y="1278"/>
                  </a:lnTo>
                  <a:lnTo>
                    <a:pt x="4476" y="1260"/>
                  </a:lnTo>
                  <a:lnTo>
                    <a:pt x="4470" y="1254"/>
                  </a:lnTo>
                  <a:lnTo>
                    <a:pt x="4488" y="1212"/>
                  </a:lnTo>
                  <a:lnTo>
                    <a:pt x="4488" y="1236"/>
                  </a:lnTo>
                  <a:lnTo>
                    <a:pt x="4500" y="1248"/>
                  </a:lnTo>
                  <a:lnTo>
                    <a:pt x="4512" y="1236"/>
                  </a:lnTo>
                  <a:lnTo>
                    <a:pt x="4518" y="1218"/>
                  </a:lnTo>
                  <a:lnTo>
                    <a:pt x="4518" y="1206"/>
                  </a:lnTo>
                  <a:lnTo>
                    <a:pt x="4494" y="1182"/>
                  </a:lnTo>
                  <a:lnTo>
                    <a:pt x="4518" y="1176"/>
                  </a:lnTo>
                  <a:lnTo>
                    <a:pt x="4500" y="1164"/>
                  </a:lnTo>
                  <a:lnTo>
                    <a:pt x="4500" y="1146"/>
                  </a:lnTo>
                  <a:lnTo>
                    <a:pt x="4470" y="1146"/>
                  </a:lnTo>
                  <a:lnTo>
                    <a:pt x="4470" y="1134"/>
                  </a:lnTo>
                  <a:lnTo>
                    <a:pt x="4446" y="1134"/>
                  </a:lnTo>
                  <a:lnTo>
                    <a:pt x="4446" y="1080"/>
                  </a:lnTo>
                  <a:lnTo>
                    <a:pt x="4416" y="1086"/>
                  </a:lnTo>
                  <a:lnTo>
                    <a:pt x="4410" y="1080"/>
                  </a:lnTo>
                  <a:lnTo>
                    <a:pt x="4410" y="1056"/>
                  </a:lnTo>
                  <a:lnTo>
                    <a:pt x="4416" y="1050"/>
                  </a:lnTo>
                  <a:lnTo>
                    <a:pt x="4428" y="1050"/>
                  </a:lnTo>
                  <a:lnTo>
                    <a:pt x="4434" y="1056"/>
                  </a:lnTo>
                  <a:lnTo>
                    <a:pt x="4446" y="1062"/>
                  </a:lnTo>
                  <a:lnTo>
                    <a:pt x="4452" y="1068"/>
                  </a:lnTo>
                  <a:lnTo>
                    <a:pt x="4458" y="1068"/>
                  </a:lnTo>
                  <a:lnTo>
                    <a:pt x="4464" y="1062"/>
                  </a:lnTo>
                  <a:lnTo>
                    <a:pt x="4464" y="1026"/>
                  </a:lnTo>
                  <a:lnTo>
                    <a:pt x="4488" y="1032"/>
                  </a:lnTo>
                  <a:lnTo>
                    <a:pt x="4524" y="1014"/>
                  </a:lnTo>
                  <a:lnTo>
                    <a:pt x="4524" y="1026"/>
                  </a:lnTo>
                  <a:lnTo>
                    <a:pt x="4530" y="1038"/>
                  </a:lnTo>
                  <a:lnTo>
                    <a:pt x="4530" y="1044"/>
                  </a:lnTo>
                  <a:lnTo>
                    <a:pt x="4536" y="1050"/>
                  </a:lnTo>
                  <a:lnTo>
                    <a:pt x="4548" y="1044"/>
                  </a:lnTo>
                  <a:lnTo>
                    <a:pt x="4566" y="1044"/>
                  </a:lnTo>
                  <a:lnTo>
                    <a:pt x="4554" y="1062"/>
                  </a:lnTo>
                  <a:lnTo>
                    <a:pt x="4578" y="1062"/>
                  </a:lnTo>
                  <a:lnTo>
                    <a:pt x="4566" y="1092"/>
                  </a:lnTo>
                  <a:lnTo>
                    <a:pt x="4566" y="1098"/>
                  </a:lnTo>
                  <a:lnTo>
                    <a:pt x="4584" y="1116"/>
                  </a:lnTo>
                  <a:lnTo>
                    <a:pt x="4590" y="1128"/>
                  </a:lnTo>
                  <a:lnTo>
                    <a:pt x="4614" y="1140"/>
                  </a:lnTo>
                  <a:lnTo>
                    <a:pt x="4626" y="1134"/>
                  </a:lnTo>
                  <a:lnTo>
                    <a:pt x="4638" y="1122"/>
                  </a:lnTo>
                  <a:lnTo>
                    <a:pt x="4656" y="1086"/>
                  </a:lnTo>
                  <a:lnTo>
                    <a:pt x="4656" y="1080"/>
                  </a:lnTo>
                  <a:lnTo>
                    <a:pt x="4662" y="1068"/>
                  </a:lnTo>
                  <a:lnTo>
                    <a:pt x="4668" y="1074"/>
                  </a:lnTo>
                  <a:lnTo>
                    <a:pt x="4680" y="1080"/>
                  </a:lnTo>
                  <a:lnTo>
                    <a:pt x="4692" y="1080"/>
                  </a:lnTo>
                  <a:lnTo>
                    <a:pt x="4698" y="1086"/>
                  </a:lnTo>
                  <a:lnTo>
                    <a:pt x="4710" y="1080"/>
                  </a:lnTo>
                  <a:lnTo>
                    <a:pt x="4722" y="1068"/>
                  </a:lnTo>
                  <a:lnTo>
                    <a:pt x="4728" y="1056"/>
                  </a:lnTo>
                  <a:lnTo>
                    <a:pt x="4728" y="1038"/>
                  </a:lnTo>
                  <a:lnTo>
                    <a:pt x="4794" y="1038"/>
                  </a:lnTo>
                  <a:lnTo>
                    <a:pt x="4806" y="1026"/>
                  </a:lnTo>
                  <a:lnTo>
                    <a:pt x="4812" y="1014"/>
                  </a:lnTo>
                  <a:lnTo>
                    <a:pt x="4800" y="1002"/>
                  </a:lnTo>
                  <a:lnTo>
                    <a:pt x="4788" y="996"/>
                  </a:lnTo>
                  <a:lnTo>
                    <a:pt x="4758" y="996"/>
                  </a:lnTo>
                  <a:close/>
                  <a:moveTo>
                    <a:pt x="4476" y="1308"/>
                  </a:moveTo>
                  <a:lnTo>
                    <a:pt x="4446" y="1308"/>
                  </a:lnTo>
                  <a:lnTo>
                    <a:pt x="4440" y="1326"/>
                  </a:lnTo>
                  <a:lnTo>
                    <a:pt x="4476" y="1320"/>
                  </a:lnTo>
                  <a:lnTo>
                    <a:pt x="4476" y="1308"/>
                  </a:lnTo>
                  <a:close/>
                  <a:moveTo>
                    <a:pt x="4140" y="1290"/>
                  </a:moveTo>
                  <a:lnTo>
                    <a:pt x="4134" y="1290"/>
                  </a:lnTo>
                  <a:lnTo>
                    <a:pt x="4128" y="1296"/>
                  </a:lnTo>
                  <a:lnTo>
                    <a:pt x="4128" y="1308"/>
                  </a:lnTo>
                  <a:lnTo>
                    <a:pt x="4134" y="1314"/>
                  </a:lnTo>
                  <a:lnTo>
                    <a:pt x="4158" y="1314"/>
                  </a:lnTo>
                  <a:lnTo>
                    <a:pt x="4164" y="1308"/>
                  </a:lnTo>
                  <a:lnTo>
                    <a:pt x="4164" y="1296"/>
                  </a:lnTo>
                  <a:lnTo>
                    <a:pt x="4158" y="1290"/>
                  </a:lnTo>
                  <a:lnTo>
                    <a:pt x="4140" y="1290"/>
                  </a:lnTo>
                  <a:close/>
                  <a:moveTo>
                    <a:pt x="3834" y="1242"/>
                  </a:moveTo>
                  <a:lnTo>
                    <a:pt x="3840" y="1236"/>
                  </a:lnTo>
                  <a:lnTo>
                    <a:pt x="3834" y="1230"/>
                  </a:lnTo>
                  <a:lnTo>
                    <a:pt x="3828" y="1230"/>
                  </a:lnTo>
                  <a:lnTo>
                    <a:pt x="3822" y="1224"/>
                  </a:lnTo>
                  <a:lnTo>
                    <a:pt x="3810" y="1224"/>
                  </a:lnTo>
                  <a:lnTo>
                    <a:pt x="3810" y="1236"/>
                  </a:lnTo>
                  <a:lnTo>
                    <a:pt x="3816" y="1242"/>
                  </a:lnTo>
                  <a:lnTo>
                    <a:pt x="3816" y="1248"/>
                  </a:lnTo>
                  <a:lnTo>
                    <a:pt x="3828" y="1248"/>
                  </a:lnTo>
                  <a:lnTo>
                    <a:pt x="3834" y="1242"/>
                  </a:lnTo>
                  <a:close/>
                  <a:moveTo>
                    <a:pt x="4206" y="1452"/>
                  </a:moveTo>
                  <a:lnTo>
                    <a:pt x="4170" y="1452"/>
                  </a:lnTo>
                  <a:lnTo>
                    <a:pt x="4206" y="1476"/>
                  </a:lnTo>
                  <a:lnTo>
                    <a:pt x="4218" y="1470"/>
                  </a:lnTo>
                  <a:lnTo>
                    <a:pt x="4218" y="1458"/>
                  </a:lnTo>
                  <a:lnTo>
                    <a:pt x="4212" y="1458"/>
                  </a:lnTo>
                  <a:lnTo>
                    <a:pt x="4206" y="1452"/>
                  </a:lnTo>
                  <a:close/>
                  <a:moveTo>
                    <a:pt x="4170" y="870"/>
                  </a:moveTo>
                  <a:lnTo>
                    <a:pt x="4152" y="870"/>
                  </a:lnTo>
                  <a:lnTo>
                    <a:pt x="4152" y="876"/>
                  </a:lnTo>
                  <a:lnTo>
                    <a:pt x="4158" y="882"/>
                  </a:lnTo>
                  <a:lnTo>
                    <a:pt x="4164" y="882"/>
                  </a:lnTo>
                  <a:lnTo>
                    <a:pt x="4170" y="888"/>
                  </a:lnTo>
                  <a:lnTo>
                    <a:pt x="4182" y="882"/>
                  </a:lnTo>
                  <a:lnTo>
                    <a:pt x="4188" y="882"/>
                  </a:lnTo>
                  <a:lnTo>
                    <a:pt x="4194" y="876"/>
                  </a:lnTo>
                  <a:lnTo>
                    <a:pt x="4188" y="870"/>
                  </a:lnTo>
                  <a:lnTo>
                    <a:pt x="4170" y="870"/>
                  </a:lnTo>
                  <a:close/>
                  <a:moveTo>
                    <a:pt x="4170" y="936"/>
                  </a:moveTo>
                  <a:lnTo>
                    <a:pt x="4236" y="936"/>
                  </a:lnTo>
                  <a:lnTo>
                    <a:pt x="4236" y="918"/>
                  </a:lnTo>
                  <a:lnTo>
                    <a:pt x="4188" y="918"/>
                  </a:lnTo>
                  <a:lnTo>
                    <a:pt x="4170" y="936"/>
                  </a:lnTo>
                  <a:close/>
                  <a:moveTo>
                    <a:pt x="5574" y="36"/>
                  </a:moveTo>
                  <a:lnTo>
                    <a:pt x="5490" y="36"/>
                  </a:lnTo>
                  <a:lnTo>
                    <a:pt x="5496" y="24"/>
                  </a:lnTo>
                  <a:lnTo>
                    <a:pt x="5490" y="24"/>
                  </a:lnTo>
                  <a:lnTo>
                    <a:pt x="5484" y="18"/>
                  </a:lnTo>
                  <a:lnTo>
                    <a:pt x="5448" y="18"/>
                  </a:lnTo>
                  <a:lnTo>
                    <a:pt x="5430" y="12"/>
                  </a:lnTo>
                  <a:lnTo>
                    <a:pt x="5400" y="12"/>
                  </a:lnTo>
                  <a:lnTo>
                    <a:pt x="5364" y="18"/>
                  </a:lnTo>
                  <a:lnTo>
                    <a:pt x="5334" y="30"/>
                  </a:lnTo>
                  <a:lnTo>
                    <a:pt x="5304" y="36"/>
                  </a:lnTo>
                  <a:lnTo>
                    <a:pt x="5292" y="36"/>
                  </a:lnTo>
                  <a:lnTo>
                    <a:pt x="5346" y="12"/>
                  </a:lnTo>
                  <a:lnTo>
                    <a:pt x="5274" y="18"/>
                  </a:lnTo>
                  <a:lnTo>
                    <a:pt x="5268" y="18"/>
                  </a:lnTo>
                  <a:lnTo>
                    <a:pt x="5262" y="12"/>
                  </a:lnTo>
                  <a:lnTo>
                    <a:pt x="5250" y="12"/>
                  </a:lnTo>
                  <a:lnTo>
                    <a:pt x="5226" y="0"/>
                  </a:lnTo>
                  <a:lnTo>
                    <a:pt x="5196" y="0"/>
                  </a:lnTo>
                  <a:lnTo>
                    <a:pt x="5190" y="6"/>
                  </a:lnTo>
                  <a:lnTo>
                    <a:pt x="5184" y="18"/>
                  </a:lnTo>
                  <a:lnTo>
                    <a:pt x="5178" y="18"/>
                  </a:lnTo>
                  <a:lnTo>
                    <a:pt x="5172" y="12"/>
                  </a:lnTo>
                  <a:lnTo>
                    <a:pt x="5160" y="6"/>
                  </a:lnTo>
                  <a:lnTo>
                    <a:pt x="5148" y="6"/>
                  </a:lnTo>
                  <a:lnTo>
                    <a:pt x="5136" y="0"/>
                  </a:lnTo>
                  <a:lnTo>
                    <a:pt x="5124" y="0"/>
                  </a:lnTo>
                  <a:lnTo>
                    <a:pt x="5112" y="6"/>
                  </a:lnTo>
                  <a:lnTo>
                    <a:pt x="5106" y="12"/>
                  </a:lnTo>
                  <a:lnTo>
                    <a:pt x="5094" y="18"/>
                  </a:lnTo>
                  <a:lnTo>
                    <a:pt x="5088" y="24"/>
                  </a:lnTo>
                  <a:lnTo>
                    <a:pt x="5046" y="12"/>
                  </a:lnTo>
                  <a:lnTo>
                    <a:pt x="4938" y="6"/>
                  </a:lnTo>
                  <a:lnTo>
                    <a:pt x="4968" y="36"/>
                  </a:lnTo>
                  <a:lnTo>
                    <a:pt x="4902" y="12"/>
                  </a:lnTo>
                  <a:lnTo>
                    <a:pt x="4842" y="24"/>
                  </a:lnTo>
                  <a:lnTo>
                    <a:pt x="4830" y="24"/>
                  </a:lnTo>
                  <a:lnTo>
                    <a:pt x="4812" y="18"/>
                  </a:lnTo>
                  <a:lnTo>
                    <a:pt x="4746" y="18"/>
                  </a:lnTo>
                  <a:lnTo>
                    <a:pt x="4710" y="24"/>
                  </a:lnTo>
                  <a:lnTo>
                    <a:pt x="4686" y="36"/>
                  </a:lnTo>
                  <a:lnTo>
                    <a:pt x="4674" y="36"/>
                  </a:lnTo>
                  <a:lnTo>
                    <a:pt x="4764" y="60"/>
                  </a:lnTo>
                  <a:lnTo>
                    <a:pt x="4674" y="48"/>
                  </a:lnTo>
                  <a:lnTo>
                    <a:pt x="4662" y="48"/>
                  </a:lnTo>
                  <a:lnTo>
                    <a:pt x="4590" y="36"/>
                  </a:lnTo>
                  <a:lnTo>
                    <a:pt x="4542" y="36"/>
                  </a:lnTo>
                  <a:lnTo>
                    <a:pt x="4530" y="48"/>
                  </a:lnTo>
                  <a:lnTo>
                    <a:pt x="4530" y="60"/>
                  </a:lnTo>
                  <a:lnTo>
                    <a:pt x="4512" y="60"/>
                  </a:lnTo>
                  <a:lnTo>
                    <a:pt x="4482" y="54"/>
                  </a:lnTo>
                  <a:lnTo>
                    <a:pt x="4392" y="54"/>
                  </a:lnTo>
                  <a:lnTo>
                    <a:pt x="4350" y="60"/>
                  </a:lnTo>
                  <a:lnTo>
                    <a:pt x="4302" y="66"/>
                  </a:lnTo>
                  <a:lnTo>
                    <a:pt x="4260" y="66"/>
                  </a:lnTo>
                  <a:lnTo>
                    <a:pt x="4242" y="72"/>
                  </a:lnTo>
                  <a:lnTo>
                    <a:pt x="4260" y="72"/>
                  </a:lnTo>
                  <a:lnTo>
                    <a:pt x="4266" y="78"/>
                  </a:lnTo>
                  <a:lnTo>
                    <a:pt x="4278" y="78"/>
                  </a:lnTo>
                  <a:lnTo>
                    <a:pt x="4362" y="84"/>
                  </a:lnTo>
                  <a:lnTo>
                    <a:pt x="4278" y="96"/>
                  </a:lnTo>
                  <a:lnTo>
                    <a:pt x="4284" y="96"/>
                  </a:lnTo>
                  <a:lnTo>
                    <a:pt x="4290" y="102"/>
                  </a:lnTo>
                  <a:lnTo>
                    <a:pt x="4314" y="114"/>
                  </a:lnTo>
                  <a:lnTo>
                    <a:pt x="4338" y="114"/>
                  </a:lnTo>
                  <a:lnTo>
                    <a:pt x="4356" y="108"/>
                  </a:lnTo>
                  <a:lnTo>
                    <a:pt x="4392" y="108"/>
                  </a:lnTo>
                  <a:lnTo>
                    <a:pt x="4398" y="102"/>
                  </a:lnTo>
                  <a:lnTo>
                    <a:pt x="4410" y="102"/>
                  </a:lnTo>
                  <a:lnTo>
                    <a:pt x="4416" y="96"/>
                  </a:lnTo>
                  <a:lnTo>
                    <a:pt x="4440" y="96"/>
                  </a:lnTo>
                  <a:lnTo>
                    <a:pt x="4458" y="90"/>
                  </a:lnTo>
                  <a:lnTo>
                    <a:pt x="4500" y="90"/>
                  </a:lnTo>
                  <a:lnTo>
                    <a:pt x="4518" y="96"/>
                  </a:lnTo>
                  <a:lnTo>
                    <a:pt x="4536" y="96"/>
                  </a:lnTo>
                  <a:lnTo>
                    <a:pt x="4548" y="102"/>
                  </a:lnTo>
                  <a:lnTo>
                    <a:pt x="4560" y="102"/>
                  </a:lnTo>
                  <a:lnTo>
                    <a:pt x="4494" y="102"/>
                  </a:lnTo>
                  <a:lnTo>
                    <a:pt x="4482" y="108"/>
                  </a:lnTo>
                  <a:lnTo>
                    <a:pt x="4458" y="108"/>
                  </a:lnTo>
                  <a:lnTo>
                    <a:pt x="4446" y="114"/>
                  </a:lnTo>
                  <a:lnTo>
                    <a:pt x="4434" y="114"/>
                  </a:lnTo>
                  <a:lnTo>
                    <a:pt x="4422" y="120"/>
                  </a:lnTo>
                  <a:lnTo>
                    <a:pt x="4410" y="120"/>
                  </a:lnTo>
                  <a:lnTo>
                    <a:pt x="4404" y="126"/>
                  </a:lnTo>
                  <a:lnTo>
                    <a:pt x="4398" y="126"/>
                  </a:lnTo>
                  <a:lnTo>
                    <a:pt x="4434" y="126"/>
                  </a:lnTo>
                  <a:lnTo>
                    <a:pt x="4452" y="132"/>
                  </a:lnTo>
                  <a:lnTo>
                    <a:pt x="4488" y="132"/>
                  </a:lnTo>
                  <a:lnTo>
                    <a:pt x="4500" y="126"/>
                  </a:lnTo>
                  <a:lnTo>
                    <a:pt x="4506" y="126"/>
                  </a:lnTo>
                  <a:lnTo>
                    <a:pt x="4512" y="120"/>
                  </a:lnTo>
                  <a:lnTo>
                    <a:pt x="4638" y="120"/>
                  </a:lnTo>
                  <a:lnTo>
                    <a:pt x="4656" y="114"/>
                  </a:lnTo>
                  <a:lnTo>
                    <a:pt x="4680" y="114"/>
                  </a:lnTo>
                  <a:lnTo>
                    <a:pt x="4698" y="108"/>
                  </a:lnTo>
                  <a:lnTo>
                    <a:pt x="4710" y="108"/>
                  </a:lnTo>
                  <a:lnTo>
                    <a:pt x="4722" y="96"/>
                  </a:lnTo>
                  <a:lnTo>
                    <a:pt x="4734" y="96"/>
                  </a:lnTo>
                  <a:lnTo>
                    <a:pt x="4752" y="90"/>
                  </a:lnTo>
                  <a:lnTo>
                    <a:pt x="4770" y="90"/>
                  </a:lnTo>
                  <a:lnTo>
                    <a:pt x="4782" y="84"/>
                  </a:lnTo>
                  <a:lnTo>
                    <a:pt x="4830" y="84"/>
                  </a:lnTo>
                  <a:lnTo>
                    <a:pt x="4746" y="114"/>
                  </a:lnTo>
                  <a:lnTo>
                    <a:pt x="4782" y="114"/>
                  </a:lnTo>
                  <a:lnTo>
                    <a:pt x="4734" y="126"/>
                  </a:lnTo>
                  <a:lnTo>
                    <a:pt x="4716" y="126"/>
                  </a:lnTo>
                  <a:lnTo>
                    <a:pt x="4674" y="132"/>
                  </a:lnTo>
                  <a:lnTo>
                    <a:pt x="4620" y="132"/>
                  </a:lnTo>
                  <a:lnTo>
                    <a:pt x="4566" y="138"/>
                  </a:lnTo>
                  <a:lnTo>
                    <a:pt x="4536" y="138"/>
                  </a:lnTo>
                  <a:lnTo>
                    <a:pt x="4524" y="150"/>
                  </a:lnTo>
                  <a:lnTo>
                    <a:pt x="4524" y="156"/>
                  </a:lnTo>
                  <a:lnTo>
                    <a:pt x="4602" y="174"/>
                  </a:lnTo>
                  <a:lnTo>
                    <a:pt x="4596" y="174"/>
                  </a:lnTo>
                  <a:lnTo>
                    <a:pt x="4590" y="180"/>
                  </a:lnTo>
                  <a:lnTo>
                    <a:pt x="4578" y="180"/>
                  </a:lnTo>
                  <a:lnTo>
                    <a:pt x="4566" y="186"/>
                  </a:lnTo>
                  <a:lnTo>
                    <a:pt x="4542" y="186"/>
                  </a:lnTo>
                  <a:lnTo>
                    <a:pt x="4518" y="174"/>
                  </a:lnTo>
                  <a:lnTo>
                    <a:pt x="4500" y="162"/>
                  </a:lnTo>
                  <a:lnTo>
                    <a:pt x="4476" y="150"/>
                  </a:lnTo>
                  <a:lnTo>
                    <a:pt x="4470" y="144"/>
                  </a:lnTo>
                  <a:lnTo>
                    <a:pt x="4356" y="144"/>
                  </a:lnTo>
                  <a:lnTo>
                    <a:pt x="4350" y="150"/>
                  </a:lnTo>
                  <a:lnTo>
                    <a:pt x="4344" y="162"/>
                  </a:lnTo>
                  <a:lnTo>
                    <a:pt x="4338" y="168"/>
                  </a:lnTo>
                  <a:lnTo>
                    <a:pt x="4368" y="186"/>
                  </a:lnTo>
                  <a:lnTo>
                    <a:pt x="4386" y="204"/>
                  </a:lnTo>
                  <a:lnTo>
                    <a:pt x="4410" y="216"/>
                  </a:lnTo>
                  <a:lnTo>
                    <a:pt x="4458" y="216"/>
                  </a:lnTo>
                  <a:lnTo>
                    <a:pt x="4476" y="210"/>
                  </a:lnTo>
                  <a:lnTo>
                    <a:pt x="4488" y="210"/>
                  </a:lnTo>
                  <a:lnTo>
                    <a:pt x="4476" y="216"/>
                  </a:lnTo>
                  <a:lnTo>
                    <a:pt x="4470" y="228"/>
                  </a:lnTo>
                  <a:lnTo>
                    <a:pt x="4398" y="228"/>
                  </a:lnTo>
                  <a:lnTo>
                    <a:pt x="4380" y="222"/>
                  </a:lnTo>
                  <a:lnTo>
                    <a:pt x="4350" y="222"/>
                  </a:lnTo>
                  <a:lnTo>
                    <a:pt x="4314" y="228"/>
                  </a:lnTo>
                  <a:lnTo>
                    <a:pt x="4272" y="234"/>
                  </a:lnTo>
                  <a:lnTo>
                    <a:pt x="4230" y="234"/>
                  </a:lnTo>
                  <a:lnTo>
                    <a:pt x="4218" y="240"/>
                  </a:lnTo>
                  <a:lnTo>
                    <a:pt x="4200" y="246"/>
                  </a:lnTo>
                  <a:lnTo>
                    <a:pt x="4188" y="258"/>
                  </a:lnTo>
                  <a:lnTo>
                    <a:pt x="4176" y="264"/>
                  </a:lnTo>
                  <a:lnTo>
                    <a:pt x="4170" y="270"/>
                  </a:lnTo>
                  <a:lnTo>
                    <a:pt x="4164" y="270"/>
                  </a:lnTo>
                  <a:lnTo>
                    <a:pt x="4236" y="258"/>
                  </a:lnTo>
                  <a:lnTo>
                    <a:pt x="4236" y="276"/>
                  </a:lnTo>
                  <a:lnTo>
                    <a:pt x="4296" y="258"/>
                  </a:lnTo>
                  <a:lnTo>
                    <a:pt x="4224" y="288"/>
                  </a:lnTo>
                  <a:lnTo>
                    <a:pt x="4230" y="288"/>
                  </a:lnTo>
                  <a:lnTo>
                    <a:pt x="4236" y="294"/>
                  </a:lnTo>
                  <a:lnTo>
                    <a:pt x="4248" y="300"/>
                  </a:lnTo>
                  <a:lnTo>
                    <a:pt x="4278" y="300"/>
                  </a:lnTo>
                  <a:lnTo>
                    <a:pt x="4314" y="288"/>
                  </a:lnTo>
                  <a:lnTo>
                    <a:pt x="4326" y="288"/>
                  </a:lnTo>
                  <a:lnTo>
                    <a:pt x="4344" y="282"/>
                  </a:lnTo>
                  <a:lnTo>
                    <a:pt x="4350" y="276"/>
                  </a:lnTo>
                  <a:lnTo>
                    <a:pt x="4356" y="276"/>
                  </a:lnTo>
                  <a:lnTo>
                    <a:pt x="4254" y="312"/>
                  </a:lnTo>
                  <a:lnTo>
                    <a:pt x="4188" y="312"/>
                  </a:lnTo>
                  <a:lnTo>
                    <a:pt x="4176" y="288"/>
                  </a:lnTo>
                  <a:lnTo>
                    <a:pt x="4164" y="288"/>
                  </a:lnTo>
                  <a:lnTo>
                    <a:pt x="4146" y="282"/>
                  </a:lnTo>
                  <a:lnTo>
                    <a:pt x="4110" y="282"/>
                  </a:lnTo>
                  <a:lnTo>
                    <a:pt x="4104" y="288"/>
                  </a:lnTo>
                  <a:lnTo>
                    <a:pt x="4104" y="300"/>
                  </a:lnTo>
                  <a:lnTo>
                    <a:pt x="4110" y="312"/>
                  </a:lnTo>
                  <a:lnTo>
                    <a:pt x="4110" y="318"/>
                  </a:lnTo>
                  <a:lnTo>
                    <a:pt x="4116" y="324"/>
                  </a:lnTo>
                  <a:lnTo>
                    <a:pt x="4092" y="324"/>
                  </a:lnTo>
                  <a:lnTo>
                    <a:pt x="4074" y="330"/>
                  </a:lnTo>
                  <a:lnTo>
                    <a:pt x="4032" y="330"/>
                  </a:lnTo>
                  <a:lnTo>
                    <a:pt x="4020" y="336"/>
                  </a:lnTo>
                  <a:lnTo>
                    <a:pt x="4002" y="342"/>
                  </a:lnTo>
                  <a:lnTo>
                    <a:pt x="3990" y="348"/>
                  </a:lnTo>
                  <a:lnTo>
                    <a:pt x="3972" y="354"/>
                  </a:lnTo>
                  <a:lnTo>
                    <a:pt x="3936" y="354"/>
                  </a:lnTo>
                  <a:lnTo>
                    <a:pt x="3924" y="360"/>
                  </a:lnTo>
                  <a:lnTo>
                    <a:pt x="3918" y="360"/>
                  </a:lnTo>
                  <a:lnTo>
                    <a:pt x="3924" y="360"/>
                  </a:lnTo>
                  <a:lnTo>
                    <a:pt x="3936" y="366"/>
                  </a:lnTo>
                  <a:lnTo>
                    <a:pt x="3978" y="366"/>
                  </a:lnTo>
                  <a:lnTo>
                    <a:pt x="3990" y="360"/>
                  </a:lnTo>
                  <a:lnTo>
                    <a:pt x="3996" y="354"/>
                  </a:lnTo>
                  <a:lnTo>
                    <a:pt x="3984" y="372"/>
                  </a:lnTo>
                  <a:lnTo>
                    <a:pt x="4020" y="366"/>
                  </a:lnTo>
                  <a:lnTo>
                    <a:pt x="4044" y="354"/>
                  </a:lnTo>
                  <a:lnTo>
                    <a:pt x="4044" y="372"/>
                  </a:lnTo>
                  <a:lnTo>
                    <a:pt x="4074" y="366"/>
                  </a:lnTo>
                  <a:lnTo>
                    <a:pt x="4098" y="366"/>
                  </a:lnTo>
                  <a:lnTo>
                    <a:pt x="4098" y="372"/>
                  </a:lnTo>
                  <a:lnTo>
                    <a:pt x="4104" y="378"/>
                  </a:lnTo>
                  <a:lnTo>
                    <a:pt x="4122" y="378"/>
                  </a:lnTo>
                  <a:lnTo>
                    <a:pt x="4146" y="366"/>
                  </a:lnTo>
                  <a:lnTo>
                    <a:pt x="4152" y="366"/>
                  </a:lnTo>
                  <a:lnTo>
                    <a:pt x="4164" y="360"/>
                  </a:lnTo>
                  <a:lnTo>
                    <a:pt x="4170" y="372"/>
                  </a:lnTo>
                  <a:lnTo>
                    <a:pt x="4200" y="354"/>
                  </a:lnTo>
                  <a:lnTo>
                    <a:pt x="4206" y="360"/>
                  </a:lnTo>
                  <a:lnTo>
                    <a:pt x="4212" y="372"/>
                  </a:lnTo>
                  <a:lnTo>
                    <a:pt x="4224" y="372"/>
                  </a:lnTo>
                  <a:lnTo>
                    <a:pt x="4236" y="366"/>
                  </a:lnTo>
                  <a:lnTo>
                    <a:pt x="4242" y="360"/>
                  </a:lnTo>
                  <a:lnTo>
                    <a:pt x="4248" y="360"/>
                  </a:lnTo>
                  <a:lnTo>
                    <a:pt x="4254" y="366"/>
                  </a:lnTo>
                  <a:lnTo>
                    <a:pt x="4266" y="372"/>
                  </a:lnTo>
                  <a:lnTo>
                    <a:pt x="4284" y="372"/>
                  </a:lnTo>
                  <a:lnTo>
                    <a:pt x="4290" y="366"/>
                  </a:lnTo>
                  <a:lnTo>
                    <a:pt x="4290" y="360"/>
                  </a:lnTo>
                  <a:lnTo>
                    <a:pt x="4284" y="354"/>
                  </a:lnTo>
                  <a:lnTo>
                    <a:pt x="4338" y="372"/>
                  </a:lnTo>
                  <a:lnTo>
                    <a:pt x="4344" y="378"/>
                  </a:lnTo>
                  <a:lnTo>
                    <a:pt x="4350" y="390"/>
                  </a:lnTo>
                  <a:lnTo>
                    <a:pt x="4374" y="390"/>
                  </a:lnTo>
                  <a:lnTo>
                    <a:pt x="4410" y="378"/>
                  </a:lnTo>
                  <a:lnTo>
                    <a:pt x="4440" y="372"/>
                  </a:lnTo>
                  <a:lnTo>
                    <a:pt x="4476" y="372"/>
                  </a:lnTo>
                  <a:lnTo>
                    <a:pt x="4494" y="366"/>
                  </a:lnTo>
                  <a:lnTo>
                    <a:pt x="4506" y="360"/>
                  </a:lnTo>
                  <a:lnTo>
                    <a:pt x="4524" y="342"/>
                  </a:lnTo>
                  <a:lnTo>
                    <a:pt x="4464" y="342"/>
                  </a:lnTo>
                  <a:lnTo>
                    <a:pt x="4470" y="336"/>
                  </a:lnTo>
                  <a:lnTo>
                    <a:pt x="4470" y="330"/>
                  </a:lnTo>
                  <a:lnTo>
                    <a:pt x="4416" y="330"/>
                  </a:lnTo>
                  <a:lnTo>
                    <a:pt x="4362" y="318"/>
                  </a:lnTo>
                  <a:lnTo>
                    <a:pt x="4380" y="300"/>
                  </a:lnTo>
                  <a:lnTo>
                    <a:pt x="4440" y="318"/>
                  </a:lnTo>
                  <a:lnTo>
                    <a:pt x="4452" y="318"/>
                  </a:lnTo>
                  <a:lnTo>
                    <a:pt x="4488" y="312"/>
                  </a:lnTo>
                  <a:lnTo>
                    <a:pt x="4566" y="312"/>
                  </a:lnTo>
                  <a:lnTo>
                    <a:pt x="4578" y="300"/>
                  </a:lnTo>
                  <a:lnTo>
                    <a:pt x="4578" y="288"/>
                  </a:lnTo>
                  <a:lnTo>
                    <a:pt x="4584" y="288"/>
                  </a:lnTo>
                  <a:lnTo>
                    <a:pt x="4590" y="282"/>
                  </a:lnTo>
                  <a:lnTo>
                    <a:pt x="4608" y="282"/>
                  </a:lnTo>
                  <a:lnTo>
                    <a:pt x="4626" y="276"/>
                  </a:lnTo>
                  <a:lnTo>
                    <a:pt x="4662" y="276"/>
                  </a:lnTo>
                  <a:lnTo>
                    <a:pt x="4680" y="270"/>
                  </a:lnTo>
                  <a:lnTo>
                    <a:pt x="4710" y="270"/>
                  </a:lnTo>
                  <a:lnTo>
                    <a:pt x="4722" y="264"/>
                  </a:lnTo>
                  <a:lnTo>
                    <a:pt x="4728" y="264"/>
                  </a:lnTo>
                  <a:lnTo>
                    <a:pt x="4704" y="246"/>
                  </a:lnTo>
                  <a:lnTo>
                    <a:pt x="4746" y="246"/>
                  </a:lnTo>
                  <a:lnTo>
                    <a:pt x="4770" y="240"/>
                  </a:lnTo>
                  <a:lnTo>
                    <a:pt x="4782" y="234"/>
                  </a:lnTo>
                  <a:lnTo>
                    <a:pt x="4776" y="228"/>
                  </a:lnTo>
                  <a:lnTo>
                    <a:pt x="4770" y="228"/>
                  </a:lnTo>
                  <a:lnTo>
                    <a:pt x="4758" y="222"/>
                  </a:lnTo>
                  <a:lnTo>
                    <a:pt x="4746" y="222"/>
                  </a:lnTo>
                  <a:lnTo>
                    <a:pt x="4734" y="216"/>
                  </a:lnTo>
                  <a:lnTo>
                    <a:pt x="4686" y="216"/>
                  </a:lnTo>
                  <a:lnTo>
                    <a:pt x="4674" y="210"/>
                  </a:lnTo>
                  <a:lnTo>
                    <a:pt x="4662" y="210"/>
                  </a:lnTo>
                  <a:lnTo>
                    <a:pt x="4662" y="204"/>
                  </a:lnTo>
                  <a:lnTo>
                    <a:pt x="4674" y="198"/>
                  </a:lnTo>
                  <a:lnTo>
                    <a:pt x="4686" y="198"/>
                  </a:lnTo>
                  <a:lnTo>
                    <a:pt x="4704" y="192"/>
                  </a:lnTo>
                  <a:lnTo>
                    <a:pt x="4716" y="186"/>
                  </a:lnTo>
                  <a:lnTo>
                    <a:pt x="4764" y="186"/>
                  </a:lnTo>
                  <a:lnTo>
                    <a:pt x="4782" y="192"/>
                  </a:lnTo>
                  <a:lnTo>
                    <a:pt x="4860" y="192"/>
                  </a:lnTo>
                  <a:lnTo>
                    <a:pt x="4878" y="186"/>
                  </a:lnTo>
                  <a:lnTo>
                    <a:pt x="4902" y="186"/>
                  </a:lnTo>
                  <a:lnTo>
                    <a:pt x="4896" y="180"/>
                  </a:lnTo>
                  <a:lnTo>
                    <a:pt x="4878" y="180"/>
                  </a:lnTo>
                  <a:lnTo>
                    <a:pt x="4866" y="174"/>
                  </a:lnTo>
                  <a:lnTo>
                    <a:pt x="4872" y="168"/>
                  </a:lnTo>
                  <a:lnTo>
                    <a:pt x="4902" y="162"/>
                  </a:lnTo>
                  <a:lnTo>
                    <a:pt x="4944" y="168"/>
                  </a:lnTo>
                  <a:lnTo>
                    <a:pt x="4974" y="174"/>
                  </a:lnTo>
                  <a:lnTo>
                    <a:pt x="4986" y="174"/>
                  </a:lnTo>
                  <a:lnTo>
                    <a:pt x="4992" y="168"/>
                  </a:lnTo>
                  <a:lnTo>
                    <a:pt x="4992" y="150"/>
                  </a:lnTo>
                  <a:lnTo>
                    <a:pt x="5070" y="156"/>
                  </a:lnTo>
                  <a:lnTo>
                    <a:pt x="5070" y="132"/>
                  </a:lnTo>
                  <a:lnTo>
                    <a:pt x="5082" y="132"/>
                  </a:lnTo>
                  <a:lnTo>
                    <a:pt x="5094" y="138"/>
                  </a:lnTo>
                  <a:lnTo>
                    <a:pt x="5112" y="138"/>
                  </a:lnTo>
                  <a:lnTo>
                    <a:pt x="5136" y="126"/>
                  </a:lnTo>
                  <a:lnTo>
                    <a:pt x="5148" y="126"/>
                  </a:lnTo>
                  <a:lnTo>
                    <a:pt x="5154" y="120"/>
                  </a:lnTo>
                  <a:lnTo>
                    <a:pt x="5172" y="120"/>
                  </a:lnTo>
                  <a:lnTo>
                    <a:pt x="5208" y="114"/>
                  </a:lnTo>
                  <a:lnTo>
                    <a:pt x="5256" y="102"/>
                  </a:lnTo>
                  <a:lnTo>
                    <a:pt x="5298" y="96"/>
                  </a:lnTo>
                  <a:lnTo>
                    <a:pt x="5322" y="90"/>
                  </a:lnTo>
                  <a:lnTo>
                    <a:pt x="5340" y="90"/>
                  </a:lnTo>
                  <a:lnTo>
                    <a:pt x="5346" y="84"/>
                  </a:lnTo>
                  <a:lnTo>
                    <a:pt x="5238" y="84"/>
                  </a:lnTo>
                  <a:lnTo>
                    <a:pt x="5214" y="96"/>
                  </a:lnTo>
                  <a:lnTo>
                    <a:pt x="5142" y="96"/>
                  </a:lnTo>
                  <a:lnTo>
                    <a:pt x="5226" y="90"/>
                  </a:lnTo>
                  <a:lnTo>
                    <a:pt x="5220" y="78"/>
                  </a:lnTo>
                  <a:lnTo>
                    <a:pt x="5268" y="84"/>
                  </a:lnTo>
                  <a:lnTo>
                    <a:pt x="5274" y="78"/>
                  </a:lnTo>
                  <a:lnTo>
                    <a:pt x="5286" y="72"/>
                  </a:lnTo>
                  <a:lnTo>
                    <a:pt x="5358" y="72"/>
                  </a:lnTo>
                  <a:lnTo>
                    <a:pt x="5406" y="66"/>
                  </a:lnTo>
                  <a:lnTo>
                    <a:pt x="5454" y="66"/>
                  </a:lnTo>
                  <a:lnTo>
                    <a:pt x="5484" y="60"/>
                  </a:lnTo>
                  <a:lnTo>
                    <a:pt x="5496" y="60"/>
                  </a:lnTo>
                  <a:lnTo>
                    <a:pt x="5514" y="54"/>
                  </a:lnTo>
                  <a:lnTo>
                    <a:pt x="5532" y="54"/>
                  </a:lnTo>
                  <a:lnTo>
                    <a:pt x="5550" y="48"/>
                  </a:lnTo>
                  <a:lnTo>
                    <a:pt x="5562" y="42"/>
                  </a:lnTo>
                  <a:lnTo>
                    <a:pt x="5574" y="42"/>
                  </a:lnTo>
                  <a:lnTo>
                    <a:pt x="5574" y="36"/>
                  </a:lnTo>
                  <a:close/>
                  <a:moveTo>
                    <a:pt x="4032" y="966"/>
                  </a:moveTo>
                  <a:lnTo>
                    <a:pt x="4086" y="966"/>
                  </a:lnTo>
                  <a:lnTo>
                    <a:pt x="4134" y="942"/>
                  </a:lnTo>
                  <a:lnTo>
                    <a:pt x="4140" y="930"/>
                  </a:lnTo>
                  <a:lnTo>
                    <a:pt x="4134" y="918"/>
                  </a:lnTo>
                  <a:lnTo>
                    <a:pt x="4134" y="912"/>
                  </a:lnTo>
                  <a:lnTo>
                    <a:pt x="4122" y="906"/>
                  </a:lnTo>
                  <a:lnTo>
                    <a:pt x="4074" y="906"/>
                  </a:lnTo>
                  <a:lnTo>
                    <a:pt x="4062" y="912"/>
                  </a:lnTo>
                  <a:lnTo>
                    <a:pt x="4050" y="912"/>
                  </a:lnTo>
                  <a:lnTo>
                    <a:pt x="4026" y="924"/>
                  </a:lnTo>
                  <a:lnTo>
                    <a:pt x="4014" y="936"/>
                  </a:lnTo>
                  <a:lnTo>
                    <a:pt x="4002" y="942"/>
                  </a:lnTo>
                  <a:lnTo>
                    <a:pt x="4002" y="954"/>
                  </a:lnTo>
                  <a:lnTo>
                    <a:pt x="4014" y="960"/>
                  </a:lnTo>
                  <a:lnTo>
                    <a:pt x="4032" y="966"/>
                  </a:lnTo>
                  <a:close/>
                  <a:moveTo>
                    <a:pt x="4014" y="840"/>
                  </a:moveTo>
                  <a:lnTo>
                    <a:pt x="4002" y="840"/>
                  </a:lnTo>
                  <a:lnTo>
                    <a:pt x="3990" y="846"/>
                  </a:lnTo>
                  <a:lnTo>
                    <a:pt x="3984" y="852"/>
                  </a:lnTo>
                  <a:lnTo>
                    <a:pt x="3972" y="852"/>
                  </a:lnTo>
                  <a:lnTo>
                    <a:pt x="3990" y="852"/>
                  </a:lnTo>
                  <a:lnTo>
                    <a:pt x="4008" y="846"/>
                  </a:lnTo>
                  <a:lnTo>
                    <a:pt x="4026" y="846"/>
                  </a:lnTo>
                  <a:lnTo>
                    <a:pt x="4044" y="840"/>
                  </a:lnTo>
                  <a:lnTo>
                    <a:pt x="4050" y="834"/>
                  </a:lnTo>
                  <a:lnTo>
                    <a:pt x="4056" y="834"/>
                  </a:lnTo>
                  <a:lnTo>
                    <a:pt x="4068" y="822"/>
                  </a:lnTo>
                  <a:lnTo>
                    <a:pt x="4050" y="822"/>
                  </a:lnTo>
                  <a:lnTo>
                    <a:pt x="4044" y="828"/>
                  </a:lnTo>
                  <a:lnTo>
                    <a:pt x="4032" y="828"/>
                  </a:lnTo>
                  <a:lnTo>
                    <a:pt x="4020" y="834"/>
                  </a:lnTo>
                  <a:lnTo>
                    <a:pt x="4014" y="840"/>
                  </a:lnTo>
                  <a:close/>
                  <a:moveTo>
                    <a:pt x="4122" y="822"/>
                  </a:moveTo>
                  <a:lnTo>
                    <a:pt x="4104" y="822"/>
                  </a:lnTo>
                  <a:lnTo>
                    <a:pt x="4098" y="828"/>
                  </a:lnTo>
                  <a:lnTo>
                    <a:pt x="4098" y="840"/>
                  </a:lnTo>
                  <a:lnTo>
                    <a:pt x="4104" y="846"/>
                  </a:lnTo>
                  <a:lnTo>
                    <a:pt x="4110" y="840"/>
                  </a:lnTo>
                  <a:lnTo>
                    <a:pt x="4116" y="840"/>
                  </a:lnTo>
                  <a:lnTo>
                    <a:pt x="4128" y="828"/>
                  </a:lnTo>
                  <a:lnTo>
                    <a:pt x="4122" y="822"/>
                  </a:lnTo>
                  <a:close/>
                  <a:moveTo>
                    <a:pt x="3528" y="1062"/>
                  </a:moveTo>
                  <a:lnTo>
                    <a:pt x="3522" y="1062"/>
                  </a:lnTo>
                  <a:lnTo>
                    <a:pt x="3504" y="1080"/>
                  </a:lnTo>
                  <a:lnTo>
                    <a:pt x="3504" y="1086"/>
                  </a:lnTo>
                  <a:lnTo>
                    <a:pt x="3510" y="1092"/>
                  </a:lnTo>
                  <a:lnTo>
                    <a:pt x="3528" y="1092"/>
                  </a:lnTo>
                  <a:lnTo>
                    <a:pt x="3534" y="1086"/>
                  </a:lnTo>
                  <a:lnTo>
                    <a:pt x="3540" y="1074"/>
                  </a:lnTo>
                  <a:lnTo>
                    <a:pt x="3540" y="1068"/>
                  </a:lnTo>
                  <a:lnTo>
                    <a:pt x="3534" y="1062"/>
                  </a:lnTo>
                  <a:lnTo>
                    <a:pt x="3528" y="1062"/>
                  </a:lnTo>
                  <a:close/>
                  <a:moveTo>
                    <a:pt x="3588" y="1062"/>
                  </a:moveTo>
                  <a:lnTo>
                    <a:pt x="3582" y="1062"/>
                  </a:lnTo>
                  <a:lnTo>
                    <a:pt x="3576" y="1068"/>
                  </a:lnTo>
                  <a:lnTo>
                    <a:pt x="3576" y="1080"/>
                  </a:lnTo>
                  <a:lnTo>
                    <a:pt x="3582" y="1086"/>
                  </a:lnTo>
                  <a:lnTo>
                    <a:pt x="3594" y="1086"/>
                  </a:lnTo>
                  <a:lnTo>
                    <a:pt x="3600" y="1080"/>
                  </a:lnTo>
                  <a:lnTo>
                    <a:pt x="3600" y="1068"/>
                  </a:lnTo>
                  <a:lnTo>
                    <a:pt x="3588" y="1062"/>
                  </a:lnTo>
                  <a:close/>
                  <a:moveTo>
                    <a:pt x="3756" y="1242"/>
                  </a:moveTo>
                  <a:lnTo>
                    <a:pt x="3744" y="1248"/>
                  </a:lnTo>
                  <a:lnTo>
                    <a:pt x="3744" y="1260"/>
                  </a:lnTo>
                  <a:lnTo>
                    <a:pt x="3750" y="1266"/>
                  </a:lnTo>
                  <a:lnTo>
                    <a:pt x="3762" y="1272"/>
                  </a:lnTo>
                  <a:lnTo>
                    <a:pt x="3768" y="1272"/>
                  </a:lnTo>
                  <a:lnTo>
                    <a:pt x="3786" y="1254"/>
                  </a:lnTo>
                  <a:lnTo>
                    <a:pt x="3786" y="1242"/>
                  </a:lnTo>
                  <a:lnTo>
                    <a:pt x="3780" y="1236"/>
                  </a:lnTo>
                  <a:lnTo>
                    <a:pt x="3768" y="1236"/>
                  </a:lnTo>
                  <a:lnTo>
                    <a:pt x="3756" y="1242"/>
                  </a:lnTo>
                  <a:close/>
                  <a:moveTo>
                    <a:pt x="3984" y="2532"/>
                  </a:moveTo>
                  <a:lnTo>
                    <a:pt x="3948" y="2520"/>
                  </a:lnTo>
                  <a:lnTo>
                    <a:pt x="3942" y="2514"/>
                  </a:lnTo>
                  <a:lnTo>
                    <a:pt x="3936" y="2514"/>
                  </a:lnTo>
                  <a:lnTo>
                    <a:pt x="3924" y="2526"/>
                  </a:lnTo>
                  <a:lnTo>
                    <a:pt x="3930" y="2532"/>
                  </a:lnTo>
                  <a:lnTo>
                    <a:pt x="3942" y="2538"/>
                  </a:lnTo>
                  <a:lnTo>
                    <a:pt x="3948" y="2544"/>
                  </a:lnTo>
                  <a:lnTo>
                    <a:pt x="3954" y="2544"/>
                  </a:lnTo>
                  <a:lnTo>
                    <a:pt x="3960" y="2550"/>
                  </a:lnTo>
                  <a:lnTo>
                    <a:pt x="3996" y="2550"/>
                  </a:lnTo>
                  <a:lnTo>
                    <a:pt x="4008" y="2556"/>
                  </a:lnTo>
                  <a:lnTo>
                    <a:pt x="4020" y="2556"/>
                  </a:lnTo>
                  <a:lnTo>
                    <a:pt x="4038" y="2538"/>
                  </a:lnTo>
                  <a:lnTo>
                    <a:pt x="4008" y="2538"/>
                  </a:lnTo>
                  <a:lnTo>
                    <a:pt x="3984" y="2532"/>
                  </a:lnTo>
                  <a:close/>
                  <a:moveTo>
                    <a:pt x="4098" y="2280"/>
                  </a:moveTo>
                  <a:lnTo>
                    <a:pt x="4092" y="2280"/>
                  </a:lnTo>
                  <a:lnTo>
                    <a:pt x="4086" y="2274"/>
                  </a:lnTo>
                  <a:lnTo>
                    <a:pt x="4050" y="2274"/>
                  </a:lnTo>
                  <a:lnTo>
                    <a:pt x="4032" y="2268"/>
                  </a:lnTo>
                  <a:lnTo>
                    <a:pt x="3996" y="2268"/>
                  </a:lnTo>
                  <a:lnTo>
                    <a:pt x="4002" y="2274"/>
                  </a:lnTo>
                  <a:lnTo>
                    <a:pt x="4008" y="2274"/>
                  </a:lnTo>
                  <a:lnTo>
                    <a:pt x="4014" y="2280"/>
                  </a:lnTo>
                  <a:lnTo>
                    <a:pt x="4026" y="2286"/>
                  </a:lnTo>
                  <a:lnTo>
                    <a:pt x="4032" y="2286"/>
                  </a:lnTo>
                  <a:lnTo>
                    <a:pt x="4032" y="2304"/>
                  </a:lnTo>
                  <a:lnTo>
                    <a:pt x="4044" y="2304"/>
                  </a:lnTo>
                  <a:lnTo>
                    <a:pt x="4080" y="2310"/>
                  </a:lnTo>
                  <a:lnTo>
                    <a:pt x="4128" y="2316"/>
                  </a:lnTo>
                  <a:lnTo>
                    <a:pt x="4164" y="2316"/>
                  </a:lnTo>
                  <a:lnTo>
                    <a:pt x="4170" y="2310"/>
                  </a:lnTo>
                  <a:lnTo>
                    <a:pt x="4170" y="2304"/>
                  </a:lnTo>
                  <a:lnTo>
                    <a:pt x="4164" y="2304"/>
                  </a:lnTo>
                  <a:lnTo>
                    <a:pt x="4152" y="2292"/>
                  </a:lnTo>
                  <a:lnTo>
                    <a:pt x="4128" y="2286"/>
                  </a:lnTo>
                  <a:lnTo>
                    <a:pt x="4098" y="2280"/>
                  </a:lnTo>
                  <a:close/>
                  <a:moveTo>
                    <a:pt x="4194" y="2550"/>
                  </a:moveTo>
                  <a:lnTo>
                    <a:pt x="4164" y="2550"/>
                  </a:lnTo>
                  <a:lnTo>
                    <a:pt x="4152" y="2556"/>
                  </a:lnTo>
                  <a:lnTo>
                    <a:pt x="4146" y="2562"/>
                  </a:lnTo>
                  <a:lnTo>
                    <a:pt x="4182" y="2526"/>
                  </a:lnTo>
                  <a:lnTo>
                    <a:pt x="4176" y="2520"/>
                  </a:lnTo>
                  <a:lnTo>
                    <a:pt x="4152" y="2520"/>
                  </a:lnTo>
                  <a:lnTo>
                    <a:pt x="4140" y="2526"/>
                  </a:lnTo>
                  <a:lnTo>
                    <a:pt x="4128" y="2538"/>
                  </a:lnTo>
                  <a:lnTo>
                    <a:pt x="4104" y="2574"/>
                  </a:lnTo>
                  <a:lnTo>
                    <a:pt x="4164" y="2568"/>
                  </a:lnTo>
                  <a:lnTo>
                    <a:pt x="4176" y="2568"/>
                  </a:lnTo>
                  <a:lnTo>
                    <a:pt x="4182" y="2562"/>
                  </a:lnTo>
                  <a:lnTo>
                    <a:pt x="4194" y="2562"/>
                  </a:lnTo>
                  <a:lnTo>
                    <a:pt x="4200" y="2556"/>
                  </a:lnTo>
                  <a:lnTo>
                    <a:pt x="4200" y="2550"/>
                  </a:lnTo>
                  <a:lnTo>
                    <a:pt x="4194" y="2550"/>
                  </a:lnTo>
                  <a:close/>
                  <a:moveTo>
                    <a:pt x="4590" y="1962"/>
                  </a:moveTo>
                  <a:lnTo>
                    <a:pt x="4578" y="1974"/>
                  </a:lnTo>
                  <a:lnTo>
                    <a:pt x="4578" y="1980"/>
                  </a:lnTo>
                  <a:lnTo>
                    <a:pt x="4572" y="1986"/>
                  </a:lnTo>
                  <a:lnTo>
                    <a:pt x="4566" y="1986"/>
                  </a:lnTo>
                  <a:lnTo>
                    <a:pt x="4554" y="1974"/>
                  </a:lnTo>
                  <a:lnTo>
                    <a:pt x="4554" y="1962"/>
                  </a:lnTo>
                  <a:lnTo>
                    <a:pt x="4566" y="1962"/>
                  </a:lnTo>
                  <a:lnTo>
                    <a:pt x="4572" y="1956"/>
                  </a:lnTo>
                  <a:lnTo>
                    <a:pt x="4566" y="1932"/>
                  </a:lnTo>
                  <a:lnTo>
                    <a:pt x="4536" y="1926"/>
                  </a:lnTo>
                  <a:lnTo>
                    <a:pt x="4530" y="1926"/>
                  </a:lnTo>
                  <a:lnTo>
                    <a:pt x="4524" y="1932"/>
                  </a:lnTo>
                  <a:lnTo>
                    <a:pt x="4512" y="1938"/>
                  </a:lnTo>
                  <a:lnTo>
                    <a:pt x="4494" y="1944"/>
                  </a:lnTo>
                  <a:lnTo>
                    <a:pt x="4470" y="1956"/>
                  </a:lnTo>
                  <a:lnTo>
                    <a:pt x="4464" y="1962"/>
                  </a:lnTo>
                  <a:lnTo>
                    <a:pt x="4458" y="1962"/>
                  </a:lnTo>
                  <a:lnTo>
                    <a:pt x="4446" y="1968"/>
                  </a:lnTo>
                  <a:lnTo>
                    <a:pt x="4434" y="1968"/>
                  </a:lnTo>
                  <a:lnTo>
                    <a:pt x="4416" y="1974"/>
                  </a:lnTo>
                  <a:lnTo>
                    <a:pt x="4404" y="1974"/>
                  </a:lnTo>
                  <a:lnTo>
                    <a:pt x="4374" y="1998"/>
                  </a:lnTo>
                  <a:lnTo>
                    <a:pt x="4386" y="1974"/>
                  </a:lnTo>
                  <a:lnTo>
                    <a:pt x="4362" y="1956"/>
                  </a:lnTo>
                  <a:lnTo>
                    <a:pt x="4398" y="1968"/>
                  </a:lnTo>
                  <a:lnTo>
                    <a:pt x="4410" y="1956"/>
                  </a:lnTo>
                  <a:lnTo>
                    <a:pt x="4440" y="1950"/>
                  </a:lnTo>
                  <a:lnTo>
                    <a:pt x="4440" y="1932"/>
                  </a:lnTo>
                  <a:lnTo>
                    <a:pt x="4494" y="1932"/>
                  </a:lnTo>
                  <a:lnTo>
                    <a:pt x="4518" y="1920"/>
                  </a:lnTo>
                  <a:lnTo>
                    <a:pt x="4524" y="1914"/>
                  </a:lnTo>
                  <a:lnTo>
                    <a:pt x="4536" y="1908"/>
                  </a:lnTo>
                  <a:lnTo>
                    <a:pt x="4608" y="1908"/>
                  </a:lnTo>
                  <a:lnTo>
                    <a:pt x="4602" y="1902"/>
                  </a:lnTo>
                  <a:lnTo>
                    <a:pt x="4596" y="1902"/>
                  </a:lnTo>
                  <a:lnTo>
                    <a:pt x="4584" y="1896"/>
                  </a:lnTo>
                  <a:lnTo>
                    <a:pt x="4578" y="1890"/>
                  </a:lnTo>
                  <a:lnTo>
                    <a:pt x="4578" y="1866"/>
                  </a:lnTo>
                  <a:lnTo>
                    <a:pt x="4572" y="1866"/>
                  </a:lnTo>
                  <a:lnTo>
                    <a:pt x="4566" y="1872"/>
                  </a:lnTo>
                  <a:lnTo>
                    <a:pt x="4542" y="1872"/>
                  </a:lnTo>
                  <a:lnTo>
                    <a:pt x="4530" y="1878"/>
                  </a:lnTo>
                  <a:lnTo>
                    <a:pt x="4518" y="1878"/>
                  </a:lnTo>
                  <a:lnTo>
                    <a:pt x="4518" y="1866"/>
                  </a:lnTo>
                  <a:lnTo>
                    <a:pt x="4512" y="1860"/>
                  </a:lnTo>
                  <a:lnTo>
                    <a:pt x="4452" y="1878"/>
                  </a:lnTo>
                  <a:lnTo>
                    <a:pt x="4458" y="1848"/>
                  </a:lnTo>
                  <a:lnTo>
                    <a:pt x="4410" y="1860"/>
                  </a:lnTo>
                  <a:lnTo>
                    <a:pt x="4416" y="1854"/>
                  </a:lnTo>
                  <a:lnTo>
                    <a:pt x="4422" y="1842"/>
                  </a:lnTo>
                  <a:lnTo>
                    <a:pt x="4440" y="1824"/>
                  </a:lnTo>
                  <a:lnTo>
                    <a:pt x="4446" y="1812"/>
                  </a:lnTo>
                  <a:lnTo>
                    <a:pt x="4446" y="1800"/>
                  </a:lnTo>
                  <a:lnTo>
                    <a:pt x="4434" y="1800"/>
                  </a:lnTo>
                  <a:lnTo>
                    <a:pt x="4422" y="1794"/>
                  </a:lnTo>
                  <a:lnTo>
                    <a:pt x="4398" y="1794"/>
                  </a:lnTo>
                  <a:lnTo>
                    <a:pt x="4404" y="1770"/>
                  </a:lnTo>
                  <a:lnTo>
                    <a:pt x="4368" y="1770"/>
                  </a:lnTo>
                  <a:lnTo>
                    <a:pt x="4380" y="1752"/>
                  </a:lnTo>
                  <a:lnTo>
                    <a:pt x="4356" y="1728"/>
                  </a:lnTo>
                  <a:lnTo>
                    <a:pt x="4368" y="1728"/>
                  </a:lnTo>
                  <a:lnTo>
                    <a:pt x="4380" y="1734"/>
                  </a:lnTo>
                  <a:lnTo>
                    <a:pt x="4404" y="1734"/>
                  </a:lnTo>
                  <a:lnTo>
                    <a:pt x="4410" y="1728"/>
                  </a:lnTo>
                  <a:lnTo>
                    <a:pt x="4422" y="1722"/>
                  </a:lnTo>
                  <a:lnTo>
                    <a:pt x="4434" y="1710"/>
                  </a:lnTo>
                  <a:lnTo>
                    <a:pt x="4440" y="1710"/>
                  </a:lnTo>
                  <a:lnTo>
                    <a:pt x="4398" y="1686"/>
                  </a:lnTo>
                  <a:lnTo>
                    <a:pt x="4446" y="1656"/>
                  </a:lnTo>
                  <a:lnTo>
                    <a:pt x="4398" y="1632"/>
                  </a:lnTo>
                  <a:lnTo>
                    <a:pt x="4350" y="1638"/>
                  </a:lnTo>
                  <a:lnTo>
                    <a:pt x="4404" y="1614"/>
                  </a:lnTo>
                  <a:lnTo>
                    <a:pt x="4368" y="1608"/>
                  </a:lnTo>
                  <a:lnTo>
                    <a:pt x="4410" y="1584"/>
                  </a:lnTo>
                  <a:lnTo>
                    <a:pt x="4404" y="1560"/>
                  </a:lnTo>
                  <a:lnTo>
                    <a:pt x="4374" y="1560"/>
                  </a:lnTo>
                  <a:lnTo>
                    <a:pt x="4380" y="1554"/>
                  </a:lnTo>
                  <a:lnTo>
                    <a:pt x="4392" y="1530"/>
                  </a:lnTo>
                  <a:lnTo>
                    <a:pt x="4374" y="1494"/>
                  </a:lnTo>
                  <a:lnTo>
                    <a:pt x="4362" y="1494"/>
                  </a:lnTo>
                  <a:lnTo>
                    <a:pt x="4374" y="1470"/>
                  </a:lnTo>
                  <a:lnTo>
                    <a:pt x="4362" y="1476"/>
                  </a:lnTo>
                  <a:lnTo>
                    <a:pt x="4356" y="1482"/>
                  </a:lnTo>
                  <a:lnTo>
                    <a:pt x="4344" y="1488"/>
                  </a:lnTo>
                  <a:lnTo>
                    <a:pt x="4332" y="1500"/>
                  </a:lnTo>
                  <a:lnTo>
                    <a:pt x="4332" y="1518"/>
                  </a:lnTo>
                  <a:lnTo>
                    <a:pt x="4302" y="1506"/>
                  </a:lnTo>
                  <a:lnTo>
                    <a:pt x="4308" y="1542"/>
                  </a:lnTo>
                  <a:lnTo>
                    <a:pt x="4284" y="1542"/>
                  </a:lnTo>
                  <a:lnTo>
                    <a:pt x="4272" y="1560"/>
                  </a:lnTo>
                  <a:lnTo>
                    <a:pt x="4278" y="1572"/>
                  </a:lnTo>
                  <a:lnTo>
                    <a:pt x="4254" y="1572"/>
                  </a:lnTo>
                  <a:lnTo>
                    <a:pt x="4230" y="1614"/>
                  </a:lnTo>
                  <a:lnTo>
                    <a:pt x="4218" y="1614"/>
                  </a:lnTo>
                  <a:lnTo>
                    <a:pt x="4236" y="1578"/>
                  </a:lnTo>
                  <a:lnTo>
                    <a:pt x="4224" y="1566"/>
                  </a:lnTo>
                  <a:lnTo>
                    <a:pt x="4212" y="1566"/>
                  </a:lnTo>
                  <a:lnTo>
                    <a:pt x="4194" y="1584"/>
                  </a:lnTo>
                  <a:lnTo>
                    <a:pt x="4182" y="1590"/>
                  </a:lnTo>
                  <a:lnTo>
                    <a:pt x="4176" y="1596"/>
                  </a:lnTo>
                  <a:lnTo>
                    <a:pt x="4164" y="1602"/>
                  </a:lnTo>
                  <a:lnTo>
                    <a:pt x="4158" y="1608"/>
                  </a:lnTo>
                  <a:lnTo>
                    <a:pt x="4146" y="1614"/>
                  </a:lnTo>
                  <a:lnTo>
                    <a:pt x="4140" y="1620"/>
                  </a:lnTo>
                  <a:lnTo>
                    <a:pt x="4116" y="1632"/>
                  </a:lnTo>
                  <a:lnTo>
                    <a:pt x="4110" y="1638"/>
                  </a:lnTo>
                  <a:lnTo>
                    <a:pt x="4116" y="1614"/>
                  </a:lnTo>
                  <a:lnTo>
                    <a:pt x="4116" y="1596"/>
                  </a:lnTo>
                  <a:lnTo>
                    <a:pt x="4080" y="1632"/>
                  </a:lnTo>
                  <a:lnTo>
                    <a:pt x="4014" y="1644"/>
                  </a:lnTo>
                  <a:lnTo>
                    <a:pt x="4074" y="1626"/>
                  </a:lnTo>
                  <a:lnTo>
                    <a:pt x="4080" y="1620"/>
                  </a:lnTo>
                  <a:lnTo>
                    <a:pt x="4092" y="1596"/>
                  </a:lnTo>
                  <a:lnTo>
                    <a:pt x="4098" y="1590"/>
                  </a:lnTo>
                  <a:lnTo>
                    <a:pt x="4098" y="1578"/>
                  </a:lnTo>
                  <a:lnTo>
                    <a:pt x="4092" y="1572"/>
                  </a:lnTo>
                  <a:lnTo>
                    <a:pt x="4050" y="1572"/>
                  </a:lnTo>
                  <a:lnTo>
                    <a:pt x="4038" y="1578"/>
                  </a:lnTo>
                  <a:lnTo>
                    <a:pt x="4032" y="1578"/>
                  </a:lnTo>
                  <a:lnTo>
                    <a:pt x="4020" y="1584"/>
                  </a:lnTo>
                  <a:lnTo>
                    <a:pt x="4002" y="1584"/>
                  </a:lnTo>
                  <a:lnTo>
                    <a:pt x="4002" y="1578"/>
                  </a:lnTo>
                  <a:lnTo>
                    <a:pt x="4008" y="1572"/>
                  </a:lnTo>
                  <a:lnTo>
                    <a:pt x="4020" y="1566"/>
                  </a:lnTo>
                  <a:lnTo>
                    <a:pt x="4026" y="1560"/>
                  </a:lnTo>
                  <a:lnTo>
                    <a:pt x="4032" y="1560"/>
                  </a:lnTo>
                  <a:lnTo>
                    <a:pt x="4032" y="1572"/>
                  </a:lnTo>
                  <a:lnTo>
                    <a:pt x="4050" y="1560"/>
                  </a:lnTo>
                  <a:lnTo>
                    <a:pt x="4044" y="1536"/>
                  </a:lnTo>
                  <a:lnTo>
                    <a:pt x="4050" y="1530"/>
                  </a:lnTo>
                  <a:lnTo>
                    <a:pt x="4062" y="1524"/>
                  </a:lnTo>
                  <a:lnTo>
                    <a:pt x="4074" y="1512"/>
                  </a:lnTo>
                  <a:lnTo>
                    <a:pt x="4074" y="1506"/>
                  </a:lnTo>
                  <a:lnTo>
                    <a:pt x="4068" y="1500"/>
                  </a:lnTo>
                  <a:lnTo>
                    <a:pt x="4056" y="1494"/>
                  </a:lnTo>
                  <a:lnTo>
                    <a:pt x="4044" y="1494"/>
                  </a:lnTo>
                  <a:lnTo>
                    <a:pt x="4032" y="1488"/>
                  </a:lnTo>
                  <a:lnTo>
                    <a:pt x="4014" y="1488"/>
                  </a:lnTo>
                  <a:lnTo>
                    <a:pt x="4044" y="1488"/>
                  </a:lnTo>
                  <a:lnTo>
                    <a:pt x="4056" y="1482"/>
                  </a:lnTo>
                  <a:lnTo>
                    <a:pt x="4074" y="1482"/>
                  </a:lnTo>
                  <a:lnTo>
                    <a:pt x="4086" y="1470"/>
                  </a:lnTo>
                  <a:lnTo>
                    <a:pt x="4098" y="1446"/>
                  </a:lnTo>
                  <a:lnTo>
                    <a:pt x="4104" y="1440"/>
                  </a:lnTo>
                  <a:lnTo>
                    <a:pt x="4110" y="1440"/>
                  </a:lnTo>
                  <a:lnTo>
                    <a:pt x="4122" y="1434"/>
                  </a:lnTo>
                  <a:lnTo>
                    <a:pt x="4128" y="1434"/>
                  </a:lnTo>
                  <a:lnTo>
                    <a:pt x="4134" y="1428"/>
                  </a:lnTo>
                  <a:lnTo>
                    <a:pt x="4122" y="1416"/>
                  </a:lnTo>
                  <a:lnTo>
                    <a:pt x="4110" y="1422"/>
                  </a:lnTo>
                  <a:lnTo>
                    <a:pt x="4098" y="1434"/>
                  </a:lnTo>
                  <a:lnTo>
                    <a:pt x="4092" y="1404"/>
                  </a:lnTo>
                  <a:lnTo>
                    <a:pt x="4068" y="1404"/>
                  </a:lnTo>
                  <a:lnTo>
                    <a:pt x="4050" y="1410"/>
                  </a:lnTo>
                  <a:lnTo>
                    <a:pt x="4026" y="1410"/>
                  </a:lnTo>
                  <a:lnTo>
                    <a:pt x="4020" y="1404"/>
                  </a:lnTo>
                  <a:lnTo>
                    <a:pt x="4020" y="1386"/>
                  </a:lnTo>
                  <a:lnTo>
                    <a:pt x="4038" y="1368"/>
                  </a:lnTo>
                  <a:lnTo>
                    <a:pt x="4032" y="1362"/>
                  </a:lnTo>
                  <a:lnTo>
                    <a:pt x="4014" y="1362"/>
                  </a:lnTo>
                  <a:lnTo>
                    <a:pt x="4008" y="1368"/>
                  </a:lnTo>
                  <a:lnTo>
                    <a:pt x="4020" y="1344"/>
                  </a:lnTo>
                  <a:lnTo>
                    <a:pt x="3984" y="1350"/>
                  </a:lnTo>
                  <a:lnTo>
                    <a:pt x="3984" y="1326"/>
                  </a:lnTo>
                  <a:lnTo>
                    <a:pt x="3978" y="1314"/>
                  </a:lnTo>
                  <a:lnTo>
                    <a:pt x="3972" y="1308"/>
                  </a:lnTo>
                  <a:lnTo>
                    <a:pt x="3948" y="1308"/>
                  </a:lnTo>
                  <a:lnTo>
                    <a:pt x="3930" y="1314"/>
                  </a:lnTo>
                  <a:lnTo>
                    <a:pt x="3906" y="1326"/>
                  </a:lnTo>
                  <a:lnTo>
                    <a:pt x="3900" y="1332"/>
                  </a:lnTo>
                  <a:lnTo>
                    <a:pt x="3894" y="1332"/>
                  </a:lnTo>
                  <a:lnTo>
                    <a:pt x="3888" y="1326"/>
                  </a:lnTo>
                  <a:lnTo>
                    <a:pt x="3876" y="1320"/>
                  </a:lnTo>
                  <a:lnTo>
                    <a:pt x="3864" y="1320"/>
                  </a:lnTo>
                  <a:lnTo>
                    <a:pt x="3852" y="1326"/>
                  </a:lnTo>
                  <a:lnTo>
                    <a:pt x="3846" y="1326"/>
                  </a:lnTo>
                  <a:lnTo>
                    <a:pt x="3834" y="1332"/>
                  </a:lnTo>
                  <a:lnTo>
                    <a:pt x="3822" y="1326"/>
                  </a:lnTo>
                  <a:lnTo>
                    <a:pt x="3762" y="1302"/>
                  </a:lnTo>
                  <a:lnTo>
                    <a:pt x="3738" y="1302"/>
                  </a:lnTo>
                  <a:lnTo>
                    <a:pt x="3714" y="1314"/>
                  </a:lnTo>
                  <a:lnTo>
                    <a:pt x="3708" y="1326"/>
                  </a:lnTo>
                  <a:lnTo>
                    <a:pt x="3702" y="1326"/>
                  </a:lnTo>
                  <a:lnTo>
                    <a:pt x="3684" y="1344"/>
                  </a:lnTo>
                  <a:lnTo>
                    <a:pt x="3684" y="1350"/>
                  </a:lnTo>
                  <a:lnTo>
                    <a:pt x="3696" y="1356"/>
                  </a:lnTo>
                  <a:lnTo>
                    <a:pt x="3702" y="1362"/>
                  </a:lnTo>
                  <a:lnTo>
                    <a:pt x="3708" y="1374"/>
                  </a:lnTo>
                  <a:lnTo>
                    <a:pt x="3708" y="1380"/>
                  </a:lnTo>
                  <a:lnTo>
                    <a:pt x="3702" y="1386"/>
                  </a:lnTo>
                  <a:lnTo>
                    <a:pt x="3690" y="1392"/>
                  </a:lnTo>
                  <a:lnTo>
                    <a:pt x="3672" y="1410"/>
                  </a:lnTo>
                  <a:lnTo>
                    <a:pt x="3660" y="1416"/>
                  </a:lnTo>
                  <a:lnTo>
                    <a:pt x="3636" y="1422"/>
                  </a:lnTo>
                  <a:lnTo>
                    <a:pt x="3660" y="1440"/>
                  </a:lnTo>
                  <a:lnTo>
                    <a:pt x="3654" y="1446"/>
                  </a:lnTo>
                  <a:lnTo>
                    <a:pt x="3642" y="1446"/>
                  </a:lnTo>
                  <a:lnTo>
                    <a:pt x="3636" y="1452"/>
                  </a:lnTo>
                  <a:lnTo>
                    <a:pt x="3636" y="1470"/>
                  </a:lnTo>
                  <a:lnTo>
                    <a:pt x="3642" y="1482"/>
                  </a:lnTo>
                  <a:lnTo>
                    <a:pt x="3642" y="1488"/>
                  </a:lnTo>
                  <a:lnTo>
                    <a:pt x="3636" y="1500"/>
                  </a:lnTo>
                  <a:lnTo>
                    <a:pt x="3624" y="1506"/>
                  </a:lnTo>
                  <a:lnTo>
                    <a:pt x="3618" y="1512"/>
                  </a:lnTo>
                  <a:lnTo>
                    <a:pt x="3606" y="1512"/>
                  </a:lnTo>
                  <a:lnTo>
                    <a:pt x="3582" y="1524"/>
                  </a:lnTo>
                  <a:lnTo>
                    <a:pt x="3576" y="1536"/>
                  </a:lnTo>
                  <a:lnTo>
                    <a:pt x="3576" y="1548"/>
                  </a:lnTo>
                  <a:lnTo>
                    <a:pt x="3570" y="1548"/>
                  </a:lnTo>
                  <a:lnTo>
                    <a:pt x="3564" y="1554"/>
                  </a:lnTo>
                  <a:lnTo>
                    <a:pt x="3552" y="1554"/>
                  </a:lnTo>
                  <a:lnTo>
                    <a:pt x="3540" y="1560"/>
                  </a:lnTo>
                  <a:lnTo>
                    <a:pt x="3534" y="1566"/>
                  </a:lnTo>
                  <a:lnTo>
                    <a:pt x="3522" y="1572"/>
                  </a:lnTo>
                  <a:lnTo>
                    <a:pt x="3504" y="1590"/>
                  </a:lnTo>
                  <a:lnTo>
                    <a:pt x="3510" y="1596"/>
                  </a:lnTo>
                  <a:lnTo>
                    <a:pt x="3522" y="1602"/>
                  </a:lnTo>
                  <a:lnTo>
                    <a:pt x="3534" y="1614"/>
                  </a:lnTo>
                  <a:lnTo>
                    <a:pt x="3552" y="1620"/>
                  </a:lnTo>
                  <a:lnTo>
                    <a:pt x="3558" y="1632"/>
                  </a:lnTo>
                  <a:lnTo>
                    <a:pt x="3564" y="1638"/>
                  </a:lnTo>
                  <a:lnTo>
                    <a:pt x="3564" y="1662"/>
                  </a:lnTo>
                  <a:lnTo>
                    <a:pt x="3558" y="1698"/>
                  </a:lnTo>
                  <a:lnTo>
                    <a:pt x="3540" y="1746"/>
                  </a:lnTo>
                  <a:lnTo>
                    <a:pt x="3510" y="1776"/>
                  </a:lnTo>
                  <a:lnTo>
                    <a:pt x="3468" y="1800"/>
                  </a:lnTo>
                  <a:lnTo>
                    <a:pt x="3426" y="1830"/>
                  </a:lnTo>
                  <a:lnTo>
                    <a:pt x="3390" y="1854"/>
                  </a:lnTo>
                  <a:lnTo>
                    <a:pt x="3366" y="1860"/>
                  </a:lnTo>
                  <a:lnTo>
                    <a:pt x="3336" y="1860"/>
                  </a:lnTo>
                  <a:lnTo>
                    <a:pt x="3300" y="1866"/>
                  </a:lnTo>
                  <a:lnTo>
                    <a:pt x="3276" y="1872"/>
                  </a:lnTo>
                  <a:lnTo>
                    <a:pt x="3258" y="1878"/>
                  </a:lnTo>
                  <a:lnTo>
                    <a:pt x="3258" y="1902"/>
                  </a:lnTo>
                  <a:lnTo>
                    <a:pt x="3264" y="1914"/>
                  </a:lnTo>
                  <a:lnTo>
                    <a:pt x="3264" y="1926"/>
                  </a:lnTo>
                  <a:lnTo>
                    <a:pt x="3270" y="1938"/>
                  </a:lnTo>
                  <a:lnTo>
                    <a:pt x="3270" y="1950"/>
                  </a:lnTo>
                  <a:lnTo>
                    <a:pt x="3252" y="1968"/>
                  </a:lnTo>
                  <a:lnTo>
                    <a:pt x="3234" y="2004"/>
                  </a:lnTo>
                  <a:lnTo>
                    <a:pt x="3234" y="2076"/>
                  </a:lnTo>
                  <a:lnTo>
                    <a:pt x="3210" y="2088"/>
                  </a:lnTo>
                  <a:lnTo>
                    <a:pt x="3204" y="2094"/>
                  </a:lnTo>
                  <a:lnTo>
                    <a:pt x="3180" y="2106"/>
                  </a:lnTo>
                  <a:lnTo>
                    <a:pt x="3180" y="2142"/>
                  </a:lnTo>
                  <a:lnTo>
                    <a:pt x="3156" y="2166"/>
                  </a:lnTo>
                  <a:lnTo>
                    <a:pt x="3156" y="2154"/>
                  </a:lnTo>
                  <a:lnTo>
                    <a:pt x="3162" y="2148"/>
                  </a:lnTo>
                  <a:lnTo>
                    <a:pt x="3162" y="2142"/>
                  </a:lnTo>
                  <a:lnTo>
                    <a:pt x="3156" y="2130"/>
                  </a:lnTo>
                  <a:lnTo>
                    <a:pt x="3138" y="2130"/>
                  </a:lnTo>
                  <a:lnTo>
                    <a:pt x="3126" y="2136"/>
                  </a:lnTo>
                  <a:lnTo>
                    <a:pt x="3108" y="2154"/>
                  </a:lnTo>
                  <a:lnTo>
                    <a:pt x="3108" y="2166"/>
                  </a:lnTo>
                  <a:lnTo>
                    <a:pt x="3114" y="2178"/>
                  </a:lnTo>
                  <a:lnTo>
                    <a:pt x="3114" y="2190"/>
                  </a:lnTo>
                  <a:lnTo>
                    <a:pt x="3108" y="2196"/>
                  </a:lnTo>
                  <a:lnTo>
                    <a:pt x="3108" y="2178"/>
                  </a:lnTo>
                  <a:lnTo>
                    <a:pt x="3102" y="2166"/>
                  </a:lnTo>
                  <a:lnTo>
                    <a:pt x="3090" y="2154"/>
                  </a:lnTo>
                  <a:lnTo>
                    <a:pt x="3078" y="2154"/>
                  </a:lnTo>
                  <a:lnTo>
                    <a:pt x="3066" y="2160"/>
                  </a:lnTo>
                  <a:lnTo>
                    <a:pt x="3042" y="2160"/>
                  </a:lnTo>
                  <a:lnTo>
                    <a:pt x="3036" y="2166"/>
                  </a:lnTo>
                  <a:lnTo>
                    <a:pt x="3030" y="2166"/>
                  </a:lnTo>
                  <a:lnTo>
                    <a:pt x="3042" y="2160"/>
                  </a:lnTo>
                  <a:lnTo>
                    <a:pt x="3060" y="2142"/>
                  </a:lnTo>
                  <a:lnTo>
                    <a:pt x="3072" y="2136"/>
                  </a:lnTo>
                  <a:lnTo>
                    <a:pt x="3078" y="2124"/>
                  </a:lnTo>
                  <a:lnTo>
                    <a:pt x="3078" y="2118"/>
                  </a:lnTo>
                  <a:lnTo>
                    <a:pt x="3072" y="2106"/>
                  </a:lnTo>
                  <a:lnTo>
                    <a:pt x="3060" y="2100"/>
                  </a:lnTo>
                  <a:lnTo>
                    <a:pt x="3048" y="2088"/>
                  </a:lnTo>
                  <a:lnTo>
                    <a:pt x="3030" y="2088"/>
                  </a:lnTo>
                  <a:lnTo>
                    <a:pt x="3024" y="2082"/>
                  </a:lnTo>
                  <a:lnTo>
                    <a:pt x="3018" y="2082"/>
                  </a:lnTo>
                  <a:lnTo>
                    <a:pt x="3024" y="2082"/>
                  </a:lnTo>
                  <a:lnTo>
                    <a:pt x="3042" y="2064"/>
                  </a:lnTo>
                  <a:lnTo>
                    <a:pt x="3042" y="2058"/>
                  </a:lnTo>
                  <a:lnTo>
                    <a:pt x="3030" y="2034"/>
                  </a:lnTo>
                  <a:lnTo>
                    <a:pt x="3030" y="2028"/>
                  </a:lnTo>
                  <a:lnTo>
                    <a:pt x="3024" y="2016"/>
                  </a:lnTo>
                  <a:lnTo>
                    <a:pt x="3060" y="1992"/>
                  </a:lnTo>
                  <a:lnTo>
                    <a:pt x="3060" y="1968"/>
                  </a:lnTo>
                  <a:lnTo>
                    <a:pt x="3084" y="1956"/>
                  </a:lnTo>
                  <a:lnTo>
                    <a:pt x="3084" y="1914"/>
                  </a:lnTo>
                  <a:lnTo>
                    <a:pt x="3090" y="1914"/>
                  </a:lnTo>
                  <a:lnTo>
                    <a:pt x="3102" y="1902"/>
                  </a:lnTo>
                  <a:lnTo>
                    <a:pt x="3114" y="1896"/>
                  </a:lnTo>
                  <a:lnTo>
                    <a:pt x="3132" y="1878"/>
                  </a:lnTo>
                  <a:lnTo>
                    <a:pt x="3126" y="1866"/>
                  </a:lnTo>
                  <a:lnTo>
                    <a:pt x="3120" y="1860"/>
                  </a:lnTo>
                  <a:lnTo>
                    <a:pt x="3084" y="1848"/>
                  </a:lnTo>
                  <a:lnTo>
                    <a:pt x="2976" y="1848"/>
                  </a:lnTo>
                  <a:lnTo>
                    <a:pt x="2940" y="1860"/>
                  </a:lnTo>
                  <a:lnTo>
                    <a:pt x="2946" y="1848"/>
                  </a:lnTo>
                  <a:lnTo>
                    <a:pt x="2952" y="1842"/>
                  </a:lnTo>
                  <a:lnTo>
                    <a:pt x="2952" y="1830"/>
                  </a:lnTo>
                  <a:lnTo>
                    <a:pt x="2958" y="1824"/>
                  </a:lnTo>
                  <a:lnTo>
                    <a:pt x="2952" y="1818"/>
                  </a:lnTo>
                  <a:lnTo>
                    <a:pt x="2940" y="1812"/>
                  </a:lnTo>
                  <a:lnTo>
                    <a:pt x="2928" y="1812"/>
                  </a:lnTo>
                  <a:lnTo>
                    <a:pt x="2892" y="1800"/>
                  </a:lnTo>
                  <a:lnTo>
                    <a:pt x="2874" y="1800"/>
                  </a:lnTo>
                  <a:lnTo>
                    <a:pt x="2868" y="1794"/>
                  </a:lnTo>
                  <a:lnTo>
                    <a:pt x="2862" y="1794"/>
                  </a:lnTo>
                  <a:lnTo>
                    <a:pt x="2862" y="1770"/>
                  </a:lnTo>
                  <a:lnTo>
                    <a:pt x="2856" y="1752"/>
                  </a:lnTo>
                  <a:lnTo>
                    <a:pt x="2844" y="1740"/>
                  </a:lnTo>
                  <a:lnTo>
                    <a:pt x="2790" y="1722"/>
                  </a:lnTo>
                  <a:lnTo>
                    <a:pt x="2778" y="1722"/>
                  </a:lnTo>
                  <a:lnTo>
                    <a:pt x="2778" y="1716"/>
                  </a:lnTo>
                  <a:lnTo>
                    <a:pt x="2766" y="1704"/>
                  </a:lnTo>
                  <a:lnTo>
                    <a:pt x="2754" y="1704"/>
                  </a:lnTo>
                  <a:lnTo>
                    <a:pt x="2736" y="1698"/>
                  </a:lnTo>
                  <a:lnTo>
                    <a:pt x="2694" y="1698"/>
                  </a:lnTo>
                  <a:lnTo>
                    <a:pt x="2646" y="1704"/>
                  </a:lnTo>
                  <a:lnTo>
                    <a:pt x="2610" y="1716"/>
                  </a:lnTo>
                  <a:lnTo>
                    <a:pt x="2592" y="1716"/>
                  </a:lnTo>
                  <a:lnTo>
                    <a:pt x="2598" y="1716"/>
                  </a:lnTo>
                  <a:lnTo>
                    <a:pt x="2604" y="1710"/>
                  </a:lnTo>
                  <a:lnTo>
                    <a:pt x="2616" y="1710"/>
                  </a:lnTo>
                  <a:lnTo>
                    <a:pt x="2628" y="1704"/>
                  </a:lnTo>
                  <a:lnTo>
                    <a:pt x="2634" y="1692"/>
                  </a:lnTo>
                  <a:lnTo>
                    <a:pt x="2640" y="1686"/>
                  </a:lnTo>
                  <a:lnTo>
                    <a:pt x="2646" y="1662"/>
                  </a:lnTo>
                  <a:lnTo>
                    <a:pt x="2658" y="1632"/>
                  </a:lnTo>
                  <a:lnTo>
                    <a:pt x="2664" y="1602"/>
                  </a:lnTo>
                  <a:lnTo>
                    <a:pt x="2670" y="1590"/>
                  </a:lnTo>
                  <a:lnTo>
                    <a:pt x="2658" y="1590"/>
                  </a:lnTo>
                  <a:lnTo>
                    <a:pt x="2646" y="1584"/>
                  </a:lnTo>
                  <a:lnTo>
                    <a:pt x="2616" y="1584"/>
                  </a:lnTo>
                  <a:lnTo>
                    <a:pt x="2610" y="1590"/>
                  </a:lnTo>
                  <a:lnTo>
                    <a:pt x="2598" y="1596"/>
                  </a:lnTo>
                  <a:lnTo>
                    <a:pt x="2592" y="1602"/>
                  </a:lnTo>
                  <a:lnTo>
                    <a:pt x="2580" y="1608"/>
                  </a:lnTo>
                  <a:lnTo>
                    <a:pt x="2598" y="1578"/>
                  </a:lnTo>
                  <a:lnTo>
                    <a:pt x="2592" y="1560"/>
                  </a:lnTo>
                  <a:lnTo>
                    <a:pt x="2610" y="1542"/>
                  </a:lnTo>
                  <a:lnTo>
                    <a:pt x="2616" y="1530"/>
                  </a:lnTo>
                  <a:lnTo>
                    <a:pt x="2640" y="1506"/>
                  </a:lnTo>
                  <a:lnTo>
                    <a:pt x="2646" y="1494"/>
                  </a:lnTo>
                  <a:lnTo>
                    <a:pt x="2664" y="1476"/>
                  </a:lnTo>
                  <a:lnTo>
                    <a:pt x="2694" y="1452"/>
                  </a:lnTo>
                  <a:lnTo>
                    <a:pt x="2730" y="1428"/>
                  </a:lnTo>
                  <a:lnTo>
                    <a:pt x="2754" y="1410"/>
                  </a:lnTo>
                  <a:lnTo>
                    <a:pt x="2766" y="1404"/>
                  </a:lnTo>
                  <a:lnTo>
                    <a:pt x="2760" y="1392"/>
                  </a:lnTo>
                  <a:lnTo>
                    <a:pt x="2826" y="1368"/>
                  </a:lnTo>
                  <a:lnTo>
                    <a:pt x="2826" y="1350"/>
                  </a:lnTo>
                  <a:lnTo>
                    <a:pt x="2868" y="1344"/>
                  </a:lnTo>
                  <a:lnTo>
                    <a:pt x="2868" y="1326"/>
                  </a:lnTo>
                  <a:lnTo>
                    <a:pt x="2898" y="1320"/>
                  </a:lnTo>
                  <a:lnTo>
                    <a:pt x="2952" y="1284"/>
                  </a:lnTo>
                  <a:lnTo>
                    <a:pt x="3006" y="1284"/>
                  </a:lnTo>
                  <a:lnTo>
                    <a:pt x="3042" y="1278"/>
                  </a:lnTo>
                  <a:lnTo>
                    <a:pt x="3060" y="1266"/>
                  </a:lnTo>
                  <a:lnTo>
                    <a:pt x="3060" y="1254"/>
                  </a:lnTo>
                  <a:lnTo>
                    <a:pt x="3030" y="1224"/>
                  </a:lnTo>
                  <a:lnTo>
                    <a:pt x="2970" y="1230"/>
                  </a:lnTo>
                  <a:lnTo>
                    <a:pt x="2982" y="1218"/>
                  </a:lnTo>
                  <a:lnTo>
                    <a:pt x="2928" y="1194"/>
                  </a:lnTo>
                  <a:lnTo>
                    <a:pt x="2952" y="1188"/>
                  </a:lnTo>
                  <a:lnTo>
                    <a:pt x="3036" y="1212"/>
                  </a:lnTo>
                  <a:lnTo>
                    <a:pt x="3054" y="1230"/>
                  </a:lnTo>
                  <a:lnTo>
                    <a:pt x="3066" y="1236"/>
                  </a:lnTo>
                  <a:lnTo>
                    <a:pt x="3096" y="1236"/>
                  </a:lnTo>
                  <a:lnTo>
                    <a:pt x="3108" y="1230"/>
                  </a:lnTo>
                  <a:lnTo>
                    <a:pt x="3114" y="1218"/>
                  </a:lnTo>
                  <a:lnTo>
                    <a:pt x="3126" y="1206"/>
                  </a:lnTo>
                  <a:lnTo>
                    <a:pt x="3132" y="1194"/>
                  </a:lnTo>
                  <a:lnTo>
                    <a:pt x="3144" y="1188"/>
                  </a:lnTo>
                  <a:lnTo>
                    <a:pt x="3150" y="1182"/>
                  </a:lnTo>
                  <a:lnTo>
                    <a:pt x="3156" y="1182"/>
                  </a:lnTo>
                  <a:lnTo>
                    <a:pt x="3180" y="1194"/>
                  </a:lnTo>
                  <a:lnTo>
                    <a:pt x="3198" y="1200"/>
                  </a:lnTo>
                  <a:lnTo>
                    <a:pt x="3210" y="1200"/>
                  </a:lnTo>
                  <a:lnTo>
                    <a:pt x="3246" y="1182"/>
                  </a:lnTo>
                  <a:lnTo>
                    <a:pt x="3282" y="1170"/>
                  </a:lnTo>
                  <a:lnTo>
                    <a:pt x="3318" y="1152"/>
                  </a:lnTo>
                  <a:lnTo>
                    <a:pt x="3336" y="1146"/>
                  </a:lnTo>
                  <a:lnTo>
                    <a:pt x="3360" y="1134"/>
                  </a:lnTo>
                  <a:lnTo>
                    <a:pt x="3372" y="1122"/>
                  </a:lnTo>
                  <a:lnTo>
                    <a:pt x="3366" y="1116"/>
                  </a:lnTo>
                  <a:lnTo>
                    <a:pt x="3342" y="1110"/>
                  </a:lnTo>
                  <a:lnTo>
                    <a:pt x="3264" y="1110"/>
                  </a:lnTo>
                  <a:lnTo>
                    <a:pt x="3258" y="1086"/>
                  </a:lnTo>
                  <a:lnTo>
                    <a:pt x="3174" y="1056"/>
                  </a:lnTo>
                  <a:lnTo>
                    <a:pt x="3186" y="1056"/>
                  </a:lnTo>
                  <a:lnTo>
                    <a:pt x="3216" y="1050"/>
                  </a:lnTo>
                  <a:lnTo>
                    <a:pt x="3252" y="1050"/>
                  </a:lnTo>
                  <a:lnTo>
                    <a:pt x="3282" y="1056"/>
                  </a:lnTo>
                  <a:lnTo>
                    <a:pt x="3294" y="1062"/>
                  </a:lnTo>
                  <a:lnTo>
                    <a:pt x="3306" y="1074"/>
                  </a:lnTo>
                  <a:lnTo>
                    <a:pt x="3324" y="1086"/>
                  </a:lnTo>
                  <a:lnTo>
                    <a:pt x="3336" y="1098"/>
                  </a:lnTo>
                  <a:lnTo>
                    <a:pt x="3348" y="1104"/>
                  </a:lnTo>
                  <a:lnTo>
                    <a:pt x="3372" y="1098"/>
                  </a:lnTo>
                  <a:lnTo>
                    <a:pt x="3408" y="1080"/>
                  </a:lnTo>
                  <a:lnTo>
                    <a:pt x="3444" y="1068"/>
                  </a:lnTo>
                  <a:lnTo>
                    <a:pt x="3474" y="1050"/>
                  </a:lnTo>
                  <a:lnTo>
                    <a:pt x="3486" y="1044"/>
                  </a:lnTo>
                  <a:lnTo>
                    <a:pt x="3462" y="1032"/>
                  </a:lnTo>
                  <a:lnTo>
                    <a:pt x="3468" y="1026"/>
                  </a:lnTo>
                  <a:lnTo>
                    <a:pt x="3492" y="1014"/>
                  </a:lnTo>
                  <a:lnTo>
                    <a:pt x="3522" y="1014"/>
                  </a:lnTo>
                  <a:lnTo>
                    <a:pt x="3528" y="1020"/>
                  </a:lnTo>
                  <a:lnTo>
                    <a:pt x="3534" y="1032"/>
                  </a:lnTo>
                  <a:lnTo>
                    <a:pt x="3540" y="1038"/>
                  </a:lnTo>
                  <a:lnTo>
                    <a:pt x="3570" y="1050"/>
                  </a:lnTo>
                  <a:lnTo>
                    <a:pt x="3576" y="1026"/>
                  </a:lnTo>
                  <a:lnTo>
                    <a:pt x="3594" y="1044"/>
                  </a:lnTo>
                  <a:lnTo>
                    <a:pt x="3600" y="1038"/>
                  </a:lnTo>
                  <a:lnTo>
                    <a:pt x="3600" y="1026"/>
                  </a:lnTo>
                  <a:lnTo>
                    <a:pt x="3594" y="1014"/>
                  </a:lnTo>
                  <a:lnTo>
                    <a:pt x="3582" y="1002"/>
                  </a:lnTo>
                  <a:lnTo>
                    <a:pt x="3564" y="990"/>
                  </a:lnTo>
                  <a:lnTo>
                    <a:pt x="3606" y="984"/>
                  </a:lnTo>
                  <a:lnTo>
                    <a:pt x="3606" y="990"/>
                  </a:lnTo>
                  <a:lnTo>
                    <a:pt x="3612" y="996"/>
                  </a:lnTo>
                  <a:lnTo>
                    <a:pt x="3612" y="1008"/>
                  </a:lnTo>
                  <a:lnTo>
                    <a:pt x="3624" y="1032"/>
                  </a:lnTo>
                  <a:lnTo>
                    <a:pt x="3630" y="1038"/>
                  </a:lnTo>
                  <a:lnTo>
                    <a:pt x="3636" y="1038"/>
                  </a:lnTo>
                  <a:lnTo>
                    <a:pt x="3654" y="1032"/>
                  </a:lnTo>
                  <a:lnTo>
                    <a:pt x="3690" y="1026"/>
                  </a:lnTo>
                  <a:lnTo>
                    <a:pt x="3732" y="1008"/>
                  </a:lnTo>
                  <a:lnTo>
                    <a:pt x="3768" y="990"/>
                  </a:lnTo>
                  <a:lnTo>
                    <a:pt x="3798" y="972"/>
                  </a:lnTo>
                  <a:lnTo>
                    <a:pt x="3798" y="960"/>
                  </a:lnTo>
                  <a:lnTo>
                    <a:pt x="3786" y="942"/>
                  </a:lnTo>
                  <a:lnTo>
                    <a:pt x="3780" y="930"/>
                  </a:lnTo>
                  <a:lnTo>
                    <a:pt x="3774" y="912"/>
                  </a:lnTo>
                  <a:lnTo>
                    <a:pt x="3774" y="900"/>
                  </a:lnTo>
                  <a:lnTo>
                    <a:pt x="3780" y="894"/>
                  </a:lnTo>
                  <a:lnTo>
                    <a:pt x="3792" y="894"/>
                  </a:lnTo>
                  <a:lnTo>
                    <a:pt x="3804" y="888"/>
                  </a:lnTo>
                  <a:lnTo>
                    <a:pt x="3822" y="888"/>
                  </a:lnTo>
                  <a:lnTo>
                    <a:pt x="3840" y="882"/>
                  </a:lnTo>
                  <a:lnTo>
                    <a:pt x="3858" y="882"/>
                  </a:lnTo>
                  <a:lnTo>
                    <a:pt x="3864" y="876"/>
                  </a:lnTo>
                  <a:lnTo>
                    <a:pt x="3870" y="876"/>
                  </a:lnTo>
                  <a:lnTo>
                    <a:pt x="3870" y="858"/>
                  </a:lnTo>
                  <a:lnTo>
                    <a:pt x="3864" y="846"/>
                  </a:lnTo>
                  <a:lnTo>
                    <a:pt x="3864" y="840"/>
                  </a:lnTo>
                  <a:lnTo>
                    <a:pt x="3858" y="828"/>
                  </a:lnTo>
                  <a:lnTo>
                    <a:pt x="3840" y="804"/>
                  </a:lnTo>
                  <a:lnTo>
                    <a:pt x="3822" y="798"/>
                  </a:lnTo>
                  <a:lnTo>
                    <a:pt x="3786" y="792"/>
                  </a:lnTo>
                  <a:lnTo>
                    <a:pt x="3744" y="792"/>
                  </a:lnTo>
                  <a:lnTo>
                    <a:pt x="3708" y="804"/>
                  </a:lnTo>
                  <a:lnTo>
                    <a:pt x="3690" y="822"/>
                  </a:lnTo>
                  <a:lnTo>
                    <a:pt x="3690" y="840"/>
                  </a:lnTo>
                  <a:lnTo>
                    <a:pt x="3696" y="840"/>
                  </a:lnTo>
                  <a:lnTo>
                    <a:pt x="3702" y="846"/>
                  </a:lnTo>
                  <a:lnTo>
                    <a:pt x="3666" y="870"/>
                  </a:lnTo>
                  <a:lnTo>
                    <a:pt x="3642" y="870"/>
                  </a:lnTo>
                  <a:lnTo>
                    <a:pt x="3576" y="918"/>
                  </a:lnTo>
                  <a:lnTo>
                    <a:pt x="3552" y="930"/>
                  </a:lnTo>
                  <a:lnTo>
                    <a:pt x="3546" y="936"/>
                  </a:lnTo>
                  <a:lnTo>
                    <a:pt x="3540" y="948"/>
                  </a:lnTo>
                  <a:lnTo>
                    <a:pt x="3522" y="966"/>
                  </a:lnTo>
                  <a:lnTo>
                    <a:pt x="3492" y="966"/>
                  </a:lnTo>
                  <a:lnTo>
                    <a:pt x="3456" y="984"/>
                  </a:lnTo>
                  <a:lnTo>
                    <a:pt x="3456" y="972"/>
                  </a:lnTo>
                  <a:lnTo>
                    <a:pt x="3450" y="954"/>
                  </a:lnTo>
                  <a:lnTo>
                    <a:pt x="3450" y="918"/>
                  </a:lnTo>
                  <a:lnTo>
                    <a:pt x="3456" y="912"/>
                  </a:lnTo>
                  <a:lnTo>
                    <a:pt x="3480" y="900"/>
                  </a:lnTo>
                  <a:lnTo>
                    <a:pt x="3498" y="900"/>
                  </a:lnTo>
                  <a:lnTo>
                    <a:pt x="3510" y="894"/>
                  </a:lnTo>
                  <a:lnTo>
                    <a:pt x="3516" y="882"/>
                  </a:lnTo>
                  <a:lnTo>
                    <a:pt x="3516" y="870"/>
                  </a:lnTo>
                  <a:lnTo>
                    <a:pt x="3510" y="852"/>
                  </a:lnTo>
                  <a:lnTo>
                    <a:pt x="3504" y="846"/>
                  </a:lnTo>
                  <a:lnTo>
                    <a:pt x="3498" y="834"/>
                  </a:lnTo>
                  <a:lnTo>
                    <a:pt x="3486" y="834"/>
                  </a:lnTo>
                  <a:lnTo>
                    <a:pt x="3450" y="852"/>
                  </a:lnTo>
                  <a:lnTo>
                    <a:pt x="3432" y="858"/>
                  </a:lnTo>
                  <a:lnTo>
                    <a:pt x="3420" y="864"/>
                  </a:lnTo>
                  <a:lnTo>
                    <a:pt x="3414" y="870"/>
                  </a:lnTo>
                  <a:lnTo>
                    <a:pt x="3408" y="870"/>
                  </a:lnTo>
                  <a:lnTo>
                    <a:pt x="3378" y="900"/>
                  </a:lnTo>
                  <a:lnTo>
                    <a:pt x="3372" y="888"/>
                  </a:lnTo>
                  <a:lnTo>
                    <a:pt x="3396" y="858"/>
                  </a:lnTo>
                  <a:lnTo>
                    <a:pt x="3396" y="840"/>
                  </a:lnTo>
                  <a:lnTo>
                    <a:pt x="3438" y="822"/>
                  </a:lnTo>
                  <a:lnTo>
                    <a:pt x="3402" y="816"/>
                  </a:lnTo>
                  <a:lnTo>
                    <a:pt x="3408" y="804"/>
                  </a:lnTo>
                  <a:lnTo>
                    <a:pt x="3360" y="816"/>
                  </a:lnTo>
                  <a:lnTo>
                    <a:pt x="3336" y="804"/>
                  </a:lnTo>
                  <a:lnTo>
                    <a:pt x="3378" y="792"/>
                  </a:lnTo>
                  <a:lnTo>
                    <a:pt x="3378" y="774"/>
                  </a:lnTo>
                  <a:lnTo>
                    <a:pt x="3390" y="774"/>
                  </a:lnTo>
                  <a:lnTo>
                    <a:pt x="3396" y="780"/>
                  </a:lnTo>
                  <a:lnTo>
                    <a:pt x="3420" y="780"/>
                  </a:lnTo>
                  <a:lnTo>
                    <a:pt x="3426" y="774"/>
                  </a:lnTo>
                  <a:lnTo>
                    <a:pt x="3426" y="762"/>
                  </a:lnTo>
                  <a:lnTo>
                    <a:pt x="3420" y="756"/>
                  </a:lnTo>
                  <a:lnTo>
                    <a:pt x="3408" y="756"/>
                  </a:lnTo>
                  <a:lnTo>
                    <a:pt x="3396" y="744"/>
                  </a:lnTo>
                  <a:lnTo>
                    <a:pt x="3396" y="738"/>
                  </a:lnTo>
                  <a:lnTo>
                    <a:pt x="3420" y="690"/>
                  </a:lnTo>
                  <a:lnTo>
                    <a:pt x="3426" y="684"/>
                  </a:lnTo>
                  <a:lnTo>
                    <a:pt x="3426" y="672"/>
                  </a:lnTo>
                  <a:lnTo>
                    <a:pt x="3420" y="666"/>
                  </a:lnTo>
                  <a:lnTo>
                    <a:pt x="3414" y="666"/>
                  </a:lnTo>
                  <a:lnTo>
                    <a:pt x="3372" y="648"/>
                  </a:lnTo>
                  <a:lnTo>
                    <a:pt x="3348" y="660"/>
                  </a:lnTo>
                  <a:lnTo>
                    <a:pt x="3336" y="660"/>
                  </a:lnTo>
                  <a:lnTo>
                    <a:pt x="3318" y="666"/>
                  </a:lnTo>
                  <a:lnTo>
                    <a:pt x="3312" y="666"/>
                  </a:lnTo>
                  <a:lnTo>
                    <a:pt x="3306" y="672"/>
                  </a:lnTo>
                  <a:lnTo>
                    <a:pt x="3306" y="690"/>
                  </a:lnTo>
                  <a:lnTo>
                    <a:pt x="3240" y="690"/>
                  </a:lnTo>
                  <a:lnTo>
                    <a:pt x="3228" y="696"/>
                  </a:lnTo>
                  <a:lnTo>
                    <a:pt x="3222" y="702"/>
                  </a:lnTo>
                  <a:lnTo>
                    <a:pt x="3210" y="708"/>
                  </a:lnTo>
                  <a:lnTo>
                    <a:pt x="3198" y="720"/>
                  </a:lnTo>
                  <a:lnTo>
                    <a:pt x="3204" y="726"/>
                  </a:lnTo>
                  <a:lnTo>
                    <a:pt x="3216" y="732"/>
                  </a:lnTo>
                  <a:lnTo>
                    <a:pt x="3228" y="732"/>
                  </a:lnTo>
                  <a:lnTo>
                    <a:pt x="3234" y="738"/>
                  </a:lnTo>
                  <a:lnTo>
                    <a:pt x="3228" y="738"/>
                  </a:lnTo>
                  <a:lnTo>
                    <a:pt x="3222" y="744"/>
                  </a:lnTo>
                  <a:lnTo>
                    <a:pt x="3204" y="744"/>
                  </a:lnTo>
                  <a:lnTo>
                    <a:pt x="3180" y="756"/>
                  </a:lnTo>
                  <a:lnTo>
                    <a:pt x="3168" y="768"/>
                  </a:lnTo>
                  <a:lnTo>
                    <a:pt x="3168" y="774"/>
                  </a:lnTo>
                  <a:lnTo>
                    <a:pt x="3174" y="786"/>
                  </a:lnTo>
                  <a:lnTo>
                    <a:pt x="3186" y="798"/>
                  </a:lnTo>
                  <a:lnTo>
                    <a:pt x="3198" y="804"/>
                  </a:lnTo>
                  <a:lnTo>
                    <a:pt x="3204" y="810"/>
                  </a:lnTo>
                  <a:lnTo>
                    <a:pt x="3210" y="810"/>
                  </a:lnTo>
                  <a:lnTo>
                    <a:pt x="3234" y="798"/>
                  </a:lnTo>
                  <a:lnTo>
                    <a:pt x="3234" y="822"/>
                  </a:lnTo>
                  <a:lnTo>
                    <a:pt x="3240" y="828"/>
                  </a:lnTo>
                  <a:lnTo>
                    <a:pt x="3246" y="828"/>
                  </a:lnTo>
                  <a:lnTo>
                    <a:pt x="3258" y="822"/>
                  </a:lnTo>
                  <a:lnTo>
                    <a:pt x="3282" y="822"/>
                  </a:lnTo>
                  <a:lnTo>
                    <a:pt x="3276" y="828"/>
                  </a:lnTo>
                  <a:lnTo>
                    <a:pt x="3252" y="840"/>
                  </a:lnTo>
                  <a:lnTo>
                    <a:pt x="3246" y="840"/>
                  </a:lnTo>
                  <a:lnTo>
                    <a:pt x="3228" y="828"/>
                  </a:lnTo>
                  <a:lnTo>
                    <a:pt x="3222" y="846"/>
                  </a:lnTo>
                  <a:lnTo>
                    <a:pt x="3204" y="846"/>
                  </a:lnTo>
                  <a:lnTo>
                    <a:pt x="3192" y="852"/>
                  </a:lnTo>
                  <a:lnTo>
                    <a:pt x="3186" y="852"/>
                  </a:lnTo>
                  <a:lnTo>
                    <a:pt x="3180" y="858"/>
                  </a:lnTo>
                  <a:lnTo>
                    <a:pt x="3204" y="858"/>
                  </a:lnTo>
                  <a:lnTo>
                    <a:pt x="3228" y="846"/>
                  </a:lnTo>
                  <a:lnTo>
                    <a:pt x="3240" y="846"/>
                  </a:lnTo>
                  <a:lnTo>
                    <a:pt x="3240" y="852"/>
                  </a:lnTo>
                  <a:lnTo>
                    <a:pt x="3228" y="870"/>
                  </a:lnTo>
                  <a:lnTo>
                    <a:pt x="3210" y="882"/>
                  </a:lnTo>
                  <a:lnTo>
                    <a:pt x="3198" y="888"/>
                  </a:lnTo>
                  <a:lnTo>
                    <a:pt x="3180" y="894"/>
                  </a:lnTo>
                  <a:lnTo>
                    <a:pt x="3168" y="900"/>
                  </a:lnTo>
                  <a:lnTo>
                    <a:pt x="3162" y="906"/>
                  </a:lnTo>
                  <a:lnTo>
                    <a:pt x="3138" y="918"/>
                  </a:lnTo>
                  <a:lnTo>
                    <a:pt x="3132" y="924"/>
                  </a:lnTo>
                  <a:lnTo>
                    <a:pt x="3120" y="918"/>
                  </a:lnTo>
                  <a:lnTo>
                    <a:pt x="3114" y="918"/>
                  </a:lnTo>
                  <a:lnTo>
                    <a:pt x="3102" y="912"/>
                  </a:lnTo>
                  <a:lnTo>
                    <a:pt x="3090" y="912"/>
                  </a:lnTo>
                  <a:lnTo>
                    <a:pt x="3072" y="930"/>
                  </a:lnTo>
                  <a:lnTo>
                    <a:pt x="3060" y="936"/>
                  </a:lnTo>
                  <a:lnTo>
                    <a:pt x="3054" y="948"/>
                  </a:lnTo>
                  <a:lnTo>
                    <a:pt x="3054" y="972"/>
                  </a:lnTo>
                  <a:lnTo>
                    <a:pt x="3048" y="978"/>
                  </a:lnTo>
                  <a:lnTo>
                    <a:pt x="3042" y="966"/>
                  </a:lnTo>
                  <a:lnTo>
                    <a:pt x="3030" y="966"/>
                  </a:lnTo>
                  <a:lnTo>
                    <a:pt x="3018" y="960"/>
                  </a:lnTo>
                  <a:lnTo>
                    <a:pt x="3012" y="960"/>
                  </a:lnTo>
                  <a:lnTo>
                    <a:pt x="3006" y="954"/>
                  </a:lnTo>
                  <a:lnTo>
                    <a:pt x="3030" y="930"/>
                  </a:lnTo>
                  <a:lnTo>
                    <a:pt x="3042" y="924"/>
                  </a:lnTo>
                  <a:lnTo>
                    <a:pt x="3060" y="906"/>
                  </a:lnTo>
                  <a:lnTo>
                    <a:pt x="3072" y="900"/>
                  </a:lnTo>
                  <a:lnTo>
                    <a:pt x="3036" y="900"/>
                  </a:lnTo>
                  <a:lnTo>
                    <a:pt x="3030" y="888"/>
                  </a:lnTo>
                  <a:lnTo>
                    <a:pt x="3018" y="882"/>
                  </a:lnTo>
                  <a:lnTo>
                    <a:pt x="2994" y="882"/>
                  </a:lnTo>
                  <a:lnTo>
                    <a:pt x="2988" y="888"/>
                  </a:lnTo>
                  <a:lnTo>
                    <a:pt x="2946" y="888"/>
                  </a:lnTo>
                  <a:lnTo>
                    <a:pt x="2946" y="894"/>
                  </a:lnTo>
                  <a:lnTo>
                    <a:pt x="2940" y="906"/>
                  </a:lnTo>
                  <a:lnTo>
                    <a:pt x="2940" y="918"/>
                  </a:lnTo>
                  <a:lnTo>
                    <a:pt x="2946" y="918"/>
                  </a:lnTo>
                  <a:lnTo>
                    <a:pt x="2952" y="924"/>
                  </a:lnTo>
                  <a:lnTo>
                    <a:pt x="2964" y="924"/>
                  </a:lnTo>
                  <a:lnTo>
                    <a:pt x="2976" y="936"/>
                  </a:lnTo>
                  <a:lnTo>
                    <a:pt x="2982" y="936"/>
                  </a:lnTo>
                  <a:lnTo>
                    <a:pt x="2976" y="942"/>
                  </a:lnTo>
                  <a:lnTo>
                    <a:pt x="2958" y="942"/>
                  </a:lnTo>
                  <a:lnTo>
                    <a:pt x="2952" y="936"/>
                  </a:lnTo>
                  <a:lnTo>
                    <a:pt x="2940" y="930"/>
                  </a:lnTo>
                  <a:lnTo>
                    <a:pt x="2934" y="924"/>
                  </a:lnTo>
                  <a:lnTo>
                    <a:pt x="2916" y="912"/>
                  </a:lnTo>
                  <a:lnTo>
                    <a:pt x="2910" y="942"/>
                  </a:lnTo>
                  <a:lnTo>
                    <a:pt x="2904" y="942"/>
                  </a:lnTo>
                  <a:lnTo>
                    <a:pt x="2898" y="948"/>
                  </a:lnTo>
                  <a:lnTo>
                    <a:pt x="2862" y="948"/>
                  </a:lnTo>
                  <a:lnTo>
                    <a:pt x="2844" y="942"/>
                  </a:lnTo>
                  <a:lnTo>
                    <a:pt x="2826" y="942"/>
                  </a:lnTo>
                  <a:lnTo>
                    <a:pt x="2808" y="936"/>
                  </a:lnTo>
                  <a:lnTo>
                    <a:pt x="2718" y="936"/>
                  </a:lnTo>
                  <a:lnTo>
                    <a:pt x="2706" y="930"/>
                  </a:lnTo>
                  <a:lnTo>
                    <a:pt x="2700" y="918"/>
                  </a:lnTo>
                  <a:lnTo>
                    <a:pt x="2688" y="912"/>
                  </a:lnTo>
                  <a:lnTo>
                    <a:pt x="2628" y="918"/>
                  </a:lnTo>
                  <a:lnTo>
                    <a:pt x="2622" y="912"/>
                  </a:lnTo>
                  <a:lnTo>
                    <a:pt x="2616" y="900"/>
                  </a:lnTo>
                  <a:lnTo>
                    <a:pt x="2604" y="894"/>
                  </a:lnTo>
                  <a:lnTo>
                    <a:pt x="2598" y="894"/>
                  </a:lnTo>
                  <a:lnTo>
                    <a:pt x="2586" y="888"/>
                  </a:lnTo>
                  <a:lnTo>
                    <a:pt x="2568" y="888"/>
                  </a:lnTo>
                  <a:lnTo>
                    <a:pt x="2556" y="894"/>
                  </a:lnTo>
                  <a:lnTo>
                    <a:pt x="2538" y="900"/>
                  </a:lnTo>
                  <a:lnTo>
                    <a:pt x="2532" y="906"/>
                  </a:lnTo>
                  <a:lnTo>
                    <a:pt x="2526" y="906"/>
                  </a:lnTo>
                  <a:lnTo>
                    <a:pt x="2526" y="912"/>
                  </a:lnTo>
                  <a:lnTo>
                    <a:pt x="2484" y="912"/>
                  </a:lnTo>
                  <a:lnTo>
                    <a:pt x="2472" y="906"/>
                  </a:lnTo>
                  <a:lnTo>
                    <a:pt x="2442" y="906"/>
                  </a:lnTo>
                  <a:lnTo>
                    <a:pt x="2430" y="918"/>
                  </a:lnTo>
                  <a:lnTo>
                    <a:pt x="2430" y="930"/>
                  </a:lnTo>
                  <a:lnTo>
                    <a:pt x="2418" y="954"/>
                  </a:lnTo>
                  <a:lnTo>
                    <a:pt x="2412" y="960"/>
                  </a:lnTo>
                  <a:lnTo>
                    <a:pt x="2412" y="966"/>
                  </a:lnTo>
                  <a:lnTo>
                    <a:pt x="2400" y="996"/>
                  </a:lnTo>
                  <a:lnTo>
                    <a:pt x="2364" y="996"/>
                  </a:lnTo>
                  <a:lnTo>
                    <a:pt x="2358" y="1026"/>
                  </a:lnTo>
                  <a:lnTo>
                    <a:pt x="2334" y="978"/>
                  </a:lnTo>
                  <a:lnTo>
                    <a:pt x="2340" y="978"/>
                  </a:lnTo>
                  <a:lnTo>
                    <a:pt x="2352" y="984"/>
                  </a:lnTo>
                  <a:lnTo>
                    <a:pt x="2376" y="984"/>
                  </a:lnTo>
                  <a:lnTo>
                    <a:pt x="2388" y="972"/>
                  </a:lnTo>
                  <a:lnTo>
                    <a:pt x="2358" y="942"/>
                  </a:lnTo>
                  <a:lnTo>
                    <a:pt x="2340" y="942"/>
                  </a:lnTo>
                  <a:lnTo>
                    <a:pt x="2328" y="936"/>
                  </a:lnTo>
                  <a:lnTo>
                    <a:pt x="2316" y="936"/>
                  </a:lnTo>
                  <a:lnTo>
                    <a:pt x="2322" y="918"/>
                  </a:lnTo>
                  <a:lnTo>
                    <a:pt x="2304" y="924"/>
                  </a:lnTo>
                  <a:lnTo>
                    <a:pt x="2262" y="930"/>
                  </a:lnTo>
                  <a:lnTo>
                    <a:pt x="2208" y="936"/>
                  </a:lnTo>
                  <a:lnTo>
                    <a:pt x="2160" y="942"/>
                  </a:lnTo>
                  <a:lnTo>
                    <a:pt x="2112" y="942"/>
                  </a:lnTo>
                  <a:lnTo>
                    <a:pt x="2064" y="936"/>
                  </a:lnTo>
                  <a:lnTo>
                    <a:pt x="2034" y="930"/>
                  </a:lnTo>
                  <a:lnTo>
                    <a:pt x="2028" y="924"/>
                  </a:lnTo>
                  <a:lnTo>
                    <a:pt x="2052" y="918"/>
                  </a:lnTo>
                  <a:lnTo>
                    <a:pt x="2082" y="918"/>
                  </a:lnTo>
                  <a:lnTo>
                    <a:pt x="2118" y="912"/>
                  </a:lnTo>
                  <a:lnTo>
                    <a:pt x="2142" y="900"/>
                  </a:lnTo>
                  <a:lnTo>
                    <a:pt x="2142" y="888"/>
                  </a:lnTo>
                  <a:lnTo>
                    <a:pt x="2112" y="864"/>
                  </a:lnTo>
                  <a:lnTo>
                    <a:pt x="2082" y="852"/>
                  </a:lnTo>
                  <a:lnTo>
                    <a:pt x="2004" y="852"/>
                  </a:lnTo>
                  <a:lnTo>
                    <a:pt x="1968" y="840"/>
                  </a:lnTo>
                  <a:lnTo>
                    <a:pt x="1944" y="834"/>
                  </a:lnTo>
                  <a:lnTo>
                    <a:pt x="1938" y="828"/>
                  </a:lnTo>
                  <a:lnTo>
                    <a:pt x="1908" y="828"/>
                  </a:lnTo>
                  <a:lnTo>
                    <a:pt x="1896" y="822"/>
                  </a:lnTo>
                  <a:lnTo>
                    <a:pt x="1866" y="804"/>
                  </a:lnTo>
                  <a:lnTo>
                    <a:pt x="1836" y="792"/>
                  </a:lnTo>
                  <a:lnTo>
                    <a:pt x="1812" y="786"/>
                  </a:lnTo>
                  <a:lnTo>
                    <a:pt x="1800" y="792"/>
                  </a:lnTo>
                  <a:lnTo>
                    <a:pt x="1782" y="798"/>
                  </a:lnTo>
                  <a:lnTo>
                    <a:pt x="1770" y="804"/>
                  </a:lnTo>
                  <a:lnTo>
                    <a:pt x="1758" y="816"/>
                  </a:lnTo>
                  <a:lnTo>
                    <a:pt x="1734" y="828"/>
                  </a:lnTo>
                  <a:lnTo>
                    <a:pt x="1680" y="828"/>
                  </a:lnTo>
                  <a:lnTo>
                    <a:pt x="1710" y="810"/>
                  </a:lnTo>
                  <a:lnTo>
                    <a:pt x="1710" y="798"/>
                  </a:lnTo>
                  <a:lnTo>
                    <a:pt x="1734" y="768"/>
                  </a:lnTo>
                  <a:lnTo>
                    <a:pt x="1728" y="768"/>
                  </a:lnTo>
                  <a:lnTo>
                    <a:pt x="1722" y="774"/>
                  </a:lnTo>
                  <a:lnTo>
                    <a:pt x="1674" y="798"/>
                  </a:lnTo>
                  <a:lnTo>
                    <a:pt x="1650" y="822"/>
                  </a:lnTo>
                  <a:lnTo>
                    <a:pt x="1638" y="828"/>
                  </a:lnTo>
                  <a:lnTo>
                    <a:pt x="1620" y="834"/>
                  </a:lnTo>
                  <a:lnTo>
                    <a:pt x="1608" y="828"/>
                  </a:lnTo>
                  <a:lnTo>
                    <a:pt x="1602" y="816"/>
                  </a:lnTo>
                  <a:lnTo>
                    <a:pt x="1602" y="798"/>
                  </a:lnTo>
                  <a:lnTo>
                    <a:pt x="1614" y="774"/>
                  </a:lnTo>
                  <a:lnTo>
                    <a:pt x="1614" y="762"/>
                  </a:lnTo>
                  <a:lnTo>
                    <a:pt x="1608" y="750"/>
                  </a:lnTo>
                  <a:lnTo>
                    <a:pt x="1596" y="744"/>
                  </a:lnTo>
                  <a:lnTo>
                    <a:pt x="1590" y="738"/>
                  </a:lnTo>
                  <a:lnTo>
                    <a:pt x="1578" y="738"/>
                  </a:lnTo>
                  <a:lnTo>
                    <a:pt x="1572" y="744"/>
                  </a:lnTo>
                  <a:lnTo>
                    <a:pt x="1572" y="750"/>
                  </a:lnTo>
                  <a:lnTo>
                    <a:pt x="1578" y="762"/>
                  </a:lnTo>
                  <a:lnTo>
                    <a:pt x="1584" y="768"/>
                  </a:lnTo>
                  <a:lnTo>
                    <a:pt x="1542" y="768"/>
                  </a:lnTo>
                  <a:lnTo>
                    <a:pt x="1530" y="774"/>
                  </a:lnTo>
                  <a:lnTo>
                    <a:pt x="1512" y="780"/>
                  </a:lnTo>
                  <a:lnTo>
                    <a:pt x="1494" y="798"/>
                  </a:lnTo>
                  <a:lnTo>
                    <a:pt x="1446" y="798"/>
                  </a:lnTo>
                  <a:lnTo>
                    <a:pt x="1428" y="804"/>
                  </a:lnTo>
                  <a:lnTo>
                    <a:pt x="1416" y="804"/>
                  </a:lnTo>
                  <a:lnTo>
                    <a:pt x="1398" y="810"/>
                  </a:lnTo>
                  <a:lnTo>
                    <a:pt x="1380" y="810"/>
                  </a:lnTo>
                  <a:lnTo>
                    <a:pt x="1374" y="816"/>
                  </a:lnTo>
                  <a:lnTo>
                    <a:pt x="1368" y="816"/>
                  </a:lnTo>
                  <a:lnTo>
                    <a:pt x="1356" y="822"/>
                  </a:lnTo>
                  <a:lnTo>
                    <a:pt x="1350" y="828"/>
                  </a:lnTo>
                  <a:lnTo>
                    <a:pt x="1338" y="834"/>
                  </a:lnTo>
                  <a:lnTo>
                    <a:pt x="1314" y="816"/>
                  </a:lnTo>
                  <a:lnTo>
                    <a:pt x="1302" y="822"/>
                  </a:lnTo>
                  <a:lnTo>
                    <a:pt x="1296" y="828"/>
                  </a:lnTo>
                  <a:lnTo>
                    <a:pt x="1272" y="840"/>
                  </a:lnTo>
                  <a:lnTo>
                    <a:pt x="1260" y="840"/>
                  </a:lnTo>
                  <a:lnTo>
                    <a:pt x="1254" y="846"/>
                  </a:lnTo>
                  <a:lnTo>
                    <a:pt x="1242" y="846"/>
                  </a:lnTo>
                  <a:lnTo>
                    <a:pt x="1230" y="852"/>
                  </a:lnTo>
                  <a:lnTo>
                    <a:pt x="1224" y="858"/>
                  </a:lnTo>
                  <a:lnTo>
                    <a:pt x="1212" y="864"/>
                  </a:lnTo>
                  <a:lnTo>
                    <a:pt x="1176" y="864"/>
                  </a:lnTo>
                  <a:lnTo>
                    <a:pt x="1188" y="858"/>
                  </a:lnTo>
                  <a:lnTo>
                    <a:pt x="1194" y="846"/>
                  </a:lnTo>
                  <a:lnTo>
                    <a:pt x="1212" y="840"/>
                  </a:lnTo>
                  <a:lnTo>
                    <a:pt x="1236" y="828"/>
                  </a:lnTo>
                  <a:lnTo>
                    <a:pt x="1254" y="828"/>
                  </a:lnTo>
                  <a:lnTo>
                    <a:pt x="1266" y="822"/>
                  </a:lnTo>
                  <a:lnTo>
                    <a:pt x="1284" y="816"/>
                  </a:lnTo>
                  <a:lnTo>
                    <a:pt x="1290" y="810"/>
                  </a:lnTo>
                  <a:lnTo>
                    <a:pt x="1362" y="810"/>
                  </a:lnTo>
                  <a:lnTo>
                    <a:pt x="1386" y="798"/>
                  </a:lnTo>
                  <a:lnTo>
                    <a:pt x="1422" y="792"/>
                  </a:lnTo>
                  <a:lnTo>
                    <a:pt x="1458" y="780"/>
                  </a:lnTo>
                  <a:lnTo>
                    <a:pt x="1470" y="780"/>
                  </a:lnTo>
                  <a:lnTo>
                    <a:pt x="1476" y="774"/>
                  </a:lnTo>
                  <a:lnTo>
                    <a:pt x="1482" y="774"/>
                  </a:lnTo>
                  <a:lnTo>
                    <a:pt x="1476" y="768"/>
                  </a:lnTo>
                  <a:lnTo>
                    <a:pt x="1410" y="768"/>
                  </a:lnTo>
                  <a:lnTo>
                    <a:pt x="1398" y="774"/>
                  </a:lnTo>
                  <a:lnTo>
                    <a:pt x="1392" y="774"/>
                  </a:lnTo>
                  <a:lnTo>
                    <a:pt x="1380" y="780"/>
                  </a:lnTo>
                  <a:lnTo>
                    <a:pt x="1374" y="786"/>
                  </a:lnTo>
                  <a:lnTo>
                    <a:pt x="1368" y="786"/>
                  </a:lnTo>
                  <a:lnTo>
                    <a:pt x="1362" y="792"/>
                  </a:lnTo>
                  <a:lnTo>
                    <a:pt x="1278" y="792"/>
                  </a:lnTo>
                  <a:lnTo>
                    <a:pt x="1254" y="804"/>
                  </a:lnTo>
                  <a:lnTo>
                    <a:pt x="1248" y="810"/>
                  </a:lnTo>
                  <a:lnTo>
                    <a:pt x="1236" y="816"/>
                  </a:lnTo>
                  <a:lnTo>
                    <a:pt x="1230" y="822"/>
                  </a:lnTo>
                  <a:lnTo>
                    <a:pt x="1212" y="822"/>
                  </a:lnTo>
                  <a:lnTo>
                    <a:pt x="1158" y="846"/>
                  </a:lnTo>
                  <a:lnTo>
                    <a:pt x="1140" y="846"/>
                  </a:lnTo>
                  <a:lnTo>
                    <a:pt x="1128" y="858"/>
                  </a:lnTo>
                  <a:lnTo>
                    <a:pt x="1122" y="870"/>
                  </a:lnTo>
                  <a:lnTo>
                    <a:pt x="1122" y="876"/>
                  </a:lnTo>
                  <a:lnTo>
                    <a:pt x="1116" y="876"/>
                  </a:lnTo>
                  <a:lnTo>
                    <a:pt x="1110" y="870"/>
                  </a:lnTo>
                  <a:lnTo>
                    <a:pt x="1110" y="846"/>
                  </a:lnTo>
                  <a:lnTo>
                    <a:pt x="1116" y="846"/>
                  </a:lnTo>
                  <a:lnTo>
                    <a:pt x="1152" y="834"/>
                  </a:lnTo>
                  <a:lnTo>
                    <a:pt x="1176" y="822"/>
                  </a:lnTo>
                  <a:lnTo>
                    <a:pt x="1194" y="816"/>
                  </a:lnTo>
                  <a:lnTo>
                    <a:pt x="1188" y="810"/>
                  </a:lnTo>
                  <a:lnTo>
                    <a:pt x="1176" y="810"/>
                  </a:lnTo>
                  <a:lnTo>
                    <a:pt x="1164" y="804"/>
                  </a:lnTo>
                  <a:lnTo>
                    <a:pt x="1140" y="804"/>
                  </a:lnTo>
                  <a:lnTo>
                    <a:pt x="1122" y="822"/>
                  </a:lnTo>
                  <a:lnTo>
                    <a:pt x="1110" y="828"/>
                  </a:lnTo>
                  <a:lnTo>
                    <a:pt x="1092" y="828"/>
                  </a:lnTo>
                  <a:lnTo>
                    <a:pt x="1080" y="834"/>
                  </a:lnTo>
                  <a:lnTo>
                    <a:pt x="1068" y="834"/>
                  </a:lnTo>
                  <a:lnTo>
                    <a:pt x="1068" y="840"/>
                  </a:lnTo>
                  <a:lnTo>
                    <a:pt x="1062" y="846"/>
                  </a:lnTo>
                  <a:lnTo>
                    <a:pt x="1062" y="876"/>
                  </a:lnTo>
                  <a:lnTo>
                    <a:pt x="1038" y="858"/>
                  </a:lnTo>
                  <a:lnTo>
                    <a:pt x="972" y="852"/>
                  </a:lnTo>
                  <a:lnTo>
                    <a:pt x="960" y="846"/>
                  </a:lnTo>
                  <a:lnTo>
                    <a:pt x="948" y="834"/>
                  </a:lnTo>
                  <a:lnTo>
                    <a:pt x="936" y="834"/>
                  </a:lnTo>
                  <a:lnTo>
                    <a:pt x="936" y="828"/>
                  </a:lnTo>
                  <a:lnTo>
                    <a:pt x="942" y="822"/>
                  </a:lnTo>
                  <a:lnTo>
                    <a:pt x="942" y="810"/>
                  </a:lnTo>
                  <a:lnTo>
                    <a:pt x="948" y="804"/>
                  </a:lnTo>
                  <a:lnTo>
                    <a:pt x="834" y="804"/>
                  </a:lnTo>
                  <a:lnTo>
                    <a:pt x="852" y="804"/>
                  </a:lnTo>
                  <a:lnTo>
                    <a:pt x="78" y="1440"/>
                  </a:lnTo>
                  <a:lnTo>
                    <a:pt x="72" y="1446"/>
                  </a:lnTo>
                  <a:lnTo>
                    <a:pt x="60" y="1452"/>
                  </a:lnTo>
                  <a:lnTo>
                    <a:pt x="54" y="1464"/>
                  </a:lnTo>
                  <a:lnTo>
                    <a:pt x="54" y="1476"/>
                  </a:lnTo>
                  <a:lnTo>
                    <a:pt x="108" y="1476"/>
                  </a:lnTo>
                  <a:lnTo>
                    <a:pt x="120" y="1464"/>
                  </a:lnTo>
                  <a:lnTo>
                    <a:pt x="156" y="1464"/>
                  </a:lnTo>
                  <a:lnTo>
                    <a:pt x="132" y="1488"/>
                  </a:lnTo>
                  <a:lnTo>
                    <a:pt x="132" y="1494"/>
                  </a:lnTo>
                  <a:lnTo>
                    <a:pt x="138" y="1506"/>
                  </a:lnTo>
                  <a:lnTo>
                    <a:pt x="138" y="1524"/>
                  </a:lnTo>
                  <a:lnTo>
                    <a:pt x="144" y="1530"/>
                  </a:lnTo>
                  <a:lnTo>
                    <a:pt x="156" y="1536"/>
                  </a:lnTo>
                  <a:lnTo>
                    <a:pt x="162" y="1542"/>
                  </a:lnTo>
                  <a:lnTo>
                    <a:pt x="144" y="1560"/>
                  </a:lnTo>
                  <a:lnTo>
                    <a:pt x="144" y="1572"/>
                  </a:lnTo>
                  <a:lnTo>
                    <a:pt x="150" y="1572"/>
                  </a:lnTo>
                  <a:lnTo>
                    <a:pt x="156" y="1566"/>
                  </a:lnTo>
                  <a:lnTo>
                    <a:pt x="168" y="1560"/>
                  </a:lnTo>
                  <a:lnTo>
                    <a:pt x="174" y="1554"/>
                  </a:lnTo>
                  <a:lnTo>
                    <a:pt x="180" y="1554"/>
                  </a:lnTo>
                  <a:lnTo>
                    <a:pt x="186" y="1548"/>
                  </a:lnTo>
                  <a:lnTo>
                    <a:pt x="198" y="1548"/>
                  </a:lnTo>
                  <a:lnTo>
                    <a:pt x="210" y="1542"/>
                  </a:lnTo>
                  <a:lnTo>
                    <a:pt x="222" y="1542"/>
                  </a:lnTo>
                  <a:lnTo>
                    <a:pt x="234" y="1536"/>
                  </a:lnTo>
                  <a:lnTo>
                    <a:pt x="240" y="1530"/>
                  </a:lnTo>
                  <a:lnTo>
                    <a:pt x="258" y="1530"/>
                  </a:lnTo>
                  <a:lnTo>
                    <a:pt x="258" y="1518"/>
                  </a:lnTo>
                  <a:lnTo>
                    <a:pt x="264" y="1518"/>
                  </a:lnTo>
                  <a:lnTo>
                    <a:pt x="270" y="1512"/>
                  </a:lnTo>
                  <a:lnTo>
                    <a:pt x="282" y="1512"/>
                  </a:lnTo>
                  <a:lnTo>
                    <a:pt x="300" y="1506"/>
                  </a:lnTo>
                  <a:lnTo>
                    <a:pt x="312" y="1506"/>
                  </a:lnTo>
                  <a:lnTo>
                    <a:pt x="330" y="1512"/>
                  </a:lnTo>
                  <a:lnTo>
                    <a:pt x="336" y="1518"/>
                  </a:lnTo>
                  <a:lnTo>
                    <a:pt x="330" y="1524"/>
                  </a:lnTo>
                  <a:lnTo>
                    <a:pt x="324" y="1524"/>
                  </a:lnTo>
                  <a:lnTo>
                    <a:pt x="318" y="1530"/>
                  </a:lnTo>
                  <a:lnTo>
                    <a:pt x="318" y="1560"/>
                  </a:lnTo>
                  <a:lnTo>
                    <a:pt x="306" y="1572"/>
                  </a:lnTo>
                  <a:lnTo>
                    <a:pt x="324" y="1590"/>
                  </a:lnTo>
                  <a:lnTo>
                    <a:pt x="330" y="1602"/>
                  </a:lnTo>
                  <a:lnTo>
                    <a:pt x="330" y="1620"/>
                  </a:lnTo>
                  <a:lnTo>
                    <a:pt x="312" y="1656"/>
                  </a:lnTo>
                  <a:lnTo>
                    <a:pt x="312" y="1698"/>
                  </a:lnTo>
                  <a:lnTo>
                    <a:pt x="306" y="1704"/>
                  </a:lnTo>
                  <a:lnTo>
                    <a:pt x="300" y="1716"/>
                  </a:lnTo>
                  <a:lnTo>
                    <a:pt x="300" y="1728"/>
                  </a:lnTo>
                  <a:lnTo>
                    <a:pt x="294" y="1740"/>
                  </a:lnTo>
                  <a:lnTo>
                    <a:pt x="294" y="1746"/>
                  </a:lnTo>
                  <a:lnTo>
                    <a:pt x="300" y="1752"/>
                  </a:lnTo>
                  <a:lnTo>
                    <a:pt x="312" y="1758"/>
                  </a:lnTo>
                  <a:lnTo>
                    <a:pt x="318" y="1764"/>
                  </a:lnTo>
                  <a:lnTo>
                    <a:pt x="324" y="1764"/>
                  </a:lnTo>
                  <a:lnTo>
                    <a:pt x="330" y="1770"/>
                  </a:lnTo>
                  <a:lnTo>
                    <a:pt x="330" y="1776"/>
                  </a:lnTo>
                  <a:lnTo>
                    <a:pt x="348" y="1776"/>
                  </a:lnTo>
                  <a:lnTo>
                    <a:pt x="354" y="1782"/>
                  </a:lnTo>
                  <a:lnTo>
                    <a:pt x="354" y="1794"/>
                  </a:lnTo>
                  <a:lnTo>
                    <a:pt x="342" y="1800"/>
                  </a:lnTo>
                  <a:lnTo>
                    <a:pt x="330" y="1812"/>
                  </a:lnTo>
                  <a:lnTo>
                    <a:pt x="318" y="1818"/>
                  </a:lnTo>
                  <a:lnTo>
                    <a:pt x="318" y="1830"/>
                  </a:lnTo>
                  <a:lnTo>
                    <a:pt x="312" y="1842"/>
                  </a:lnTo>
                  <a:lnTo>
                    <a:pt x="294" y="1860"/>
                  </a:lnTo>
                  <a:lnTo>
                    <a:pt x="282" y="1866"/>
                  </a:lnTo>
                  <a:lnTo>
                    <a:pt x="270" y="1878"/>
                  </a:lnTo>
                  <a:lnTo>
                    <a:pt x="252" y="1884"/>
                  </a:lnTo>
                  <a:lnTo>
                    <a:pt x="234" y="1896"/>
                  </a:lnTo>
                  <a:lnTo>
                    <a:pt x="228" y="1902"/>
                  </a:lnTo>
                  <a:lnTo>
                    <a:pt x="222" y="1914"/>
                  </a:lnTo>
                  <a:lnTo>
                    <a:pt x="222" y="1926"/>
                  </a:lnTo>
                  <a:lnTo>
                    <a:pt x="216" y="1932"/>
                  </a:lnTo>
                  <a:lnTo>
                    <a:pt x="216" y="1944"/>
                  </a:lnTo>
                  <a:lnTo>
                    <a:pt x="204" y="1956"/>
                  </a:lnTo>
                  <a:lnTo>
                    <a:pt x="210" y="1962"/>
                  </a:lnTo>
                  <a:lnTo>
                    <a:pt x="216" y="1962"/>
                  </a:lnTo>
                  <a:lnTo>
                    <a:pt x="216" y="1974"/>
                  </a:lnTo>
                  <a:lnTo>
                    <a:pt x="228" y="1986"/>
                  </a:lnTo>
                  <a:lnTo>
                    <a:pt x="240" y="1980"/>
                  </a:lnTo>
                  <a:lnTo>
                    <a:pt x="246" y="1968"/>
                  </a:lnTo>
                  <a:lnTo>
                    <a:pt x="258" y="1962"/>
                  </a:lnTo>
                  <a:lnTo>
                    <a:pt x="276" y="1956"/>
                  </a:lnTo>
                  <a:lnTo>
                    <a:pt x="294" y="1938"/>
                  </a:lnTo>
                  <a:lnTo>
                    <a:pt x="306" y="1938"/>
                  </a:lnTo>
                  <a:lnTo>
                    <a:pt x="306" y="1944"/>
                  </a:lnTo>
                  <a:lnTo>
                    <a:pt x="300" y="1950"/>
                  </a:lnTo>
                  <a:lnTo>
                    <a:pt x="288" y="1956"/>
                  </a:lnTo>
                  <a:lnTo>
                    <a:pt x="282" y="1956"/>
                  </a:lnTo>
                  <a:lnTo>
                    <a:pt x="276" y="1962"/>
                  </a:lnTo>
                  <a:lnTo>
                    <a:pt x="276" y="1974"/>
                  </a:lnTo>
                  <a:lnTo>
                    <a:pt x="282" y="1986"/>
                  </a:lnTo>
                  <a:lnTo>
                    <a:pt x="294" y="1998"/>
                  </a:lnTo>
                  <a:lnTo>
                    <a:pt x="252" y="1992"/>
                  </a:lnTo>
                  <a:lnTo>
                    <a:pt x="246" y="1998"/>
                  </a:lnTo>
                  <a:lnTo>
                    <a:pt x="240" y="2010"/>
                  </a:lnTo>
                  <a:lnTo>
                    <a:pt x="234" y="2016"/>
                  </a:lnTo>
                  <a:lnTo>
                    <a:pt x="228" y="2028"/>
                  </a:lnTo>
                  <a:lnTo>
                    <a:pt x="228" y="2034"/>
                  </a:lnTo>
                  <a:lnTo>
                    <a:pt x="234" y="2034"/>
                  </a:lnTo>
                  <a:lnTo>
                    <a:pt x="240" y="2040"/>
                  </a:lnTo>
                  <a:lnTo>
                    <a:pt x="252" y="2040"/>
                  </a:lnTo>
                  <a:lnTo>
                    <a:pt x="258" y="2046"/>
                  </a:lnTo>
                  <a:lnTo>
                    <a:pt x="252" y="2052"/>
                  </a:lnTo>
                  <a:lnTo>
                    <a:pt x="252" y="2058"/>
                  </a:lnTo>
                  <a:lnTo>
                    <a:pt x="246" y="2070"/>
                  </a:lnTo>
                  <a:lnTo>
                    <a:pt x="246" y="2076"/>
                  </a:lnTo>
                  <a:lnTo>
                    <a:pt x="252" y="2070"/>
                  </a:lnTo>
                  <a:lnTo>
                    <a:pt x="288" y="2052"/>
                  </a:lnTo>
                  <a:lnTo>
                    <a:pt x="306" y="2034"/>
                  </a:lnTo>
                  <a:lnTo>
                    <a:pt x="318" y="2028"/>
                  </a:lnTo>
                  <a:lnTo>
                    <a:pt x="318" y="2040"/>
                  </a:lnTo>
                  <a:lnTo>
                    <a:pt x="288" y="2058"/>
                  </a:lnTo>
                  <a:lnTo>
                    <a:pt x="312" y="2064"/>
                  </a:lnTo>
                  <a:lnTo>
                    <a:pt x="312" y="2076"/>
                  </a:lnTo>
                  <a:lnTo>
                    <a:pt x="294" y="2094"/>
                  </a:lnTo>
                  <a:lnTo>
                    <a:pt x="276" y="2076"/>
                  </a:lnTo>
                  <a:lnTo>
                    <a:pt x="270" y="2076"/>
                  </a:lnTo>
                  <a:lnTo>
                    <a:pt x="264" y="2082"/>
                  </a:lnTo>
                  <a:lnTo>
                    <a:pt x="240" y="2094"/>
                  </a:lnTo>
                  <a:lnTo>
                    <a:pt x="228" y="2094"/>
                  </a:lnTo>
                  <a:lnTo>
                    <a:pt x="216" y="2106"/>
                  </a:lnTo>
                  <a:lnTo>
                    <a:pt x="210" y="2118"/>
                  </a:lnTo>
                  <a:lnTo>
                    <a:pt x="204" y="2124"/>
                  </a:lnTo>
                  <a:lnTo>
                    <a:pt x="210" y="2118"/>
                  </a:lnTo>
                  <a:lnTo>
                    <a:pt x="222" y="2118"/>
                  </a:lnTo>
                  <a:lnTo>
                    <a:pt x="228" y="2112"/>
                  </a:lnTo>
                  <a:lnTo>
                    <a:pt x="276" y="2112"/>
                  </a:lnTo>
                  <a:lnTo>
                    <a:pt x="270" y="2112"/>
                  </a:lnTo>
                  <a:lnTo>
                    <a:pt x="264" y="2118"/>
                  </a:lnTo>
                  <a:lnTo>
                    <a:pt x="252" y="2118"/>
                  </a:lnTo>
                  <a:lnTo>
                    <a:pt x="240" y="2124"/>
                  </a:lnTo>
                  <a:lnTo>
                    <a:pt x="228" y="2124"/>
                  </a:lnTo>
                  <a:lnTo>
                    <a:pt x="216" y="2130"/>
                  </a:lnTo>
                  <a:lnTo>
                    <a:pt x="210" y="2130"/>
                  </a:lnTo>
                  <a:lnTo>
                    <a:pt x="210" y="2148"/>
                  </a:lnTo>
                  <a:lnTo>
                    <a:pt x="204" y="2148"/>
                  </a:lnTo>
                  <a:lnTo>
                    <a:pt x="198" y="2142"/>
                  </a:lnTo>
                  <a:lnTo>
                    <a:pt x="174" y="2142"/>
                  </a:lnTo>
                  <a:lnTo>
                    <a:pt x="174" y="2154"/>
                  </a:lnTo>
                  <a:lnTo>
                    <a:pt x="180" y="2166"/>
                  </a:lnTo>
                  <a:lnTo>
                    <a:pt x="192" y="2172"/>
                  </a:lnTo>
                  <a:lnTo>
                    <a:pt x="198" y="2178"/>
                  </a:lnTo>
                  <a:lnTo>
                    <a:pt x="246" y="2160"/>
                  </a:lnTo>
                  <a:lnTo>
                    <a:pt x="264" y="2184"/>
                  </a:lnTo>
                  <a:lnTo>
                    <a:pt x="300" y="2166"/>
                  </a:lnTo>
                  <a:lnTo>
                    <a:pt x="294" y="2172"/>
                  </a:lnTo>
                  <a:lnTo>
                    <a:pt x="288" y="2184"/>
                  </a:lnTo>
                  <a:lnTo>
                    <a:pt x="276" y="2190"/>
                  </a:lnTo>
                  <a:lnTo>
                    <a:pt x="270" y="2196"/>
                  </a:lnTo>
                  <a:lnTo>
                    <a:pt x="264" y="2208"/>
                  </a:lnTo>
                  <a:lnTo>
                    <a:pt x="264" y="2214"/>
                  </a:lnTo>
                  <a:lnTo>
                    <a:pt x="276" y="2214"/>
                  </a:lnTo>
                  <a:lnTo>
                    <a:pt x="282" y="2208"/>
                  </a:lnTo>
                  <a:lnTo>
                    <a:pt x="300" y="2202"/>
                  </a:lnTo>
                  <a:lnTo>
                    <a:pt x="318" y="2184"/>
                  </a:lnTo>
                  <a:lnTo>
                    <a:pt x="330" y="2178"/>
                  </a:lnTo>
                  <a:lnTo>
                    <a:pt x="306" y="2202"/>
                  </a:lnTo>
                  <a:lnTo>
                    <a:pt x="300" y="2214"/>
                  </a:lnTo>
                  <a:lnTo>
                    <a:pt x="294" y="2220"/>
                  </a:lnTo>
                  <a:lnTo>
                    <a:pt x="300" y="2220"/>
                  </a:lnTo>
                  <a:lnTo>
                    <a:pt x="312" y="2214"/>
                  </a:lnTo>
                  <a:lnTo>
                    <a:pt x="324" y="2214"/>
                  </a:lnTo>
                  <a:lnTo>
                    <a:pt x="318" y="2220"/>
                  </a:lnTo>
                  <a:lnTo>
                    <a:pt x="306" y="2226"/>
                  </a:lnTo>
                  <a:lnTo>
                    <a:pt x="300" y="2238"/>
                  </a:lnTo>
                  <a:lnTo>
                    <a:pt x="282" y="2256"/>
                  </a:lnTo>
                  <a:lnTo>
                    <a:pt x="288" y="2262"/>
                  </a:lnTo>
                  <a:lnTo>
                    <a:pt x="294" y="2262"/>
                  </a:lnTo>
                  <a:lnTo>
                    <a:pt x="342" y="2238"/>
                  </a:lnTo>
                  <a:lnTo>
                    <a:pt x="348" y="2232"/>
                  </a:lnTo>
                  <a:lnTo>
                    <a:pt x="324" y="2256"/>
                  </a:lnTo>
                  <a:lnTo>
                    <a:pt x="318" y="2268"/>
                  </a:lnTo>
                  <a:lnTo>
                    <a:pt x="318" y="2274"/>
                  </a:lnTo>
                  <a:lnTo>
                    <a:pt x="330" y="2280"/>
                  </a:lnTo>
                  <a:lnTo>
                    <a:pt x="342" y="2280"/>
                  </a:lnTo>
                  <a:lnTo>
                    <a:pt x="354" y="2292"/>
                  </a:lnTo>
                  <a:lnTo>
                    <a:pt x="354" y="2298"/>
                  </a:lnTo>
                  <a:lnTo>
                    <a:pt x="348" y="2304"/>
                  </a:lnTo>
                  <a:lnTo>
                    <a:pt x="348" y="2340"/>
                  </a:lnTo>
                  <a:lnTo>
                    <a:pt x="2058" y="2340"/>
                  </a:lnTo>
                  <a:lnTo>
                    <a:pt x="2064" y="2328"/>
                  </a:lnTo>
                  <a:lnTo>
                    <a:pt x="2064" y="2322"/>
                  </a:lnTo>
                  <a:lnTo>
                    <a:pt x="2070" y="2310"/>
                  </a:lnTo>
                  <a:lnTo>
                    <a:pt x="2076" y="2304"/>
                  </a:lnTo>
                  <a:lnTo>
                    <a:pt x="2088" y="2298"/>
                  </a:lnTo>
                  <a:lnTo>
                    <a:pt x="2100" y="2310"/>
                  </a:lnTo>
                  <a:lnTo>
                    <a:pt x="2088" y="2322"/>
                  </a:lnTo>
                  <a:lnTo>
                    <a:pt x="2082" y="2334"/>
                  </a:lnTo>
                  <a:lnTo>
                    <a:pt x="2082" y="2346"/>
                  </a:lnTo>
                  <a:lnTo>
                    <a:pt x="2094" y="2352"/>
                  </a:lnTo>
                  <a:lnTo>
                    <a:pt x="2112" y="2358"/>
                  </a:lnTo>
                  <a:lnTo>
                    <a:pt x="2124" y="2358"/>
                  </a:lnTo>
                  <a:lnTo>
                    <a:pt x="2142" y="2376"/>
                  </a:lnTo>
                  <a:lnTo>
                    <a:pt x="2154" y="2376"/>
                  </a:lnTo>
                  <a:lnTo>
                    <a:pt x="2154" y="2370"/>
                  </a:lnTo>
                  <a:lnTo>
                    <a:pt x="2166" y="2358"/>
                  </a:lnTo>
                  <a:lnTo>
                    <a:pt x="2178" y="2358"/>
                  </a:lnTo>
                  <a:lnTo>
                    <a:pt x="2190" y="2364"/>
                  </a:lnTo>
                  <a:lnTo>
                    <a:pt x="2202" y="2376"/>
                  </a:lnTo>
                  <a:lnTo>
                    <a:pt x="2202" y="2382"/>
                  </a:lnTo>
                  <a:lnTo>
                    <a:pt x="2208" y="2388"/>
                  </a:lnTo>
                  <a:lnTo>
                    <a:pt x="2238" y="2388"/>
                  </a:lnTo>
                  <a:lnTo>
                    <a:pt x="2256" y="2406"/>
                  </a:lnTo>
                  <a:lnTo>
                    <a:pt x="2268" y="2406"/>
                  </a:lnTo>
                  <a:lnTo>
                    <a:pt x="2280" y="2394"/>
                  </a:lnTo>
                  <a:lnTo>
                    <a:pt x="2292" y="2388"/>
                  </a:lnTo>
                  <a:lnTo>
                    <a:pt x="2298" y="2382"/>
                  </a:lnTo>
                  <a:lnTo>
                    <a:pt x="2298" y="2400"/>
                  </a:lnTo>
                  <a:lnTo>
                    <a:pt x="2346" y="2394"/>
                  </a:lnTo>
                  <a:lnTo>
                    <a:pt x="2346" y="2400"/>
                  </a:lnTo>
                  <a:lnTo>
                    <a:pt x="2352" y="2400"/>
                  </a:lnTo>
                  <a:lnTo>
                    <a:pt x="2364" y="2406"/>
                  </a:lnTo>
                  <a:lnTo>
                    <a:pt x="2382" y="2406"/>
                  </a:lnTo>
                  <a:lnTo>
                    <a:pt x="2394" y="2394"/>
                  </a:lnTo>
                  <a:lnTo>
                    <a:pt x="2406" y="2388"/>
                  </a:lnTo>
                  <a:lnTo>
                    <a:pt x="2412" y="2376"/>
                  </a:lnTo>
                  <a:lnTo>
                    <a:pt x="2412" y="2370"/>
                  </a:lnTo>
                  <a:lnTo>
                    <a:pt x="2430" y="2370"/>
                  </a:lnTo>
                  <a:lnTo>
                    <a:pt x="2436" y="2376"/>
                  </a:lnTo>
                  <a:lnTo>
                    <a:pt x="2442" y="2376"/>
                  </a:lnTo>
                  <a:lnTo>
                    <a:pt x="2454" y="2364"/>
                  </a:lnTo>
                  <a:lnTo>
                    <a:pt x="2460" y="2352"/>
                  </a:lnTo>
                  <a:lnTo>
                    <a:pt x="2466" y="2346"/>
                  </a:lnTo>
                  <a:lnTo>
                    <a:pt x="2472" y="2346"/>
                  </a:lnTo>
                  <a:lnTo>
                    <a:pt x="2472" y="2352"/>
                  </a:lnTo>
                  <a:lnTo>
                    <a:pt x="2478" y="2358"/>
                  </a:lnTo>
                  <a:lnTo>
                    <a:pt x="2502" y="2352"/>
                  </a:lnTo>
                  <a:lnTo>
                    <a:pt x="2496" y="2346"/>
                  </a:lnTo>
                  <a:lnTo>
                    <a:pt x="2496" y="2334"/>
                  </a:lnTo>
                  <a:lnTo>
                    <a:pt x="2502" y="2328"/>
                  </a:lnTo>
                  <a:lnTo>
                    <a:pt x="2514" y="2322"/>
                  </a:lnTo>
                  <a:lnTo>
                    <a:pt x="2532" y="2340"/>
                  </a:lnTo>
                  <a:lnTo>
                    <a:pt x="2556" y="2340"/>
                  </a:lnTo>
                  <a:lnTo>
                    <a:pt x="2562" y="2346"/>
                  </a:lnTo>
                  <a:lnTo>
                    <a:pt x="2580" y="2346"/>
                  </a:lnTo>
                  <a:lnTo>
                    <a:pt x="2604" y="2358"/>
                  </a:lnTo>
                  <a:lnTo>
                    <a:pt x="2604" y="2370"/>
                  </a:lnTo>
                  <a:lnTo>
                    <a:pt x="2598" y="2382"/>
                  </a:lnTo>
                  <a:lnTo>
                    <a:pt x="2598" y="2388"/>
                  </a:lnTo>
                  <a:lnTo>
                    <a:pt x="2592" y="2400"/>
                  </a:lnTo>
                  <a:lnTo>
                    <a:pt x="2604" y="2412"/>
                  </a:lnTo>
                  <a:lnTo>
                    <a:pt x="2592" y="2436"/>
                  </a:lnTo>
                  <a:lnTo>
                    <a:pt x="2598" y="2436"/>
                  </a:lnTo>
                  <a:lnTo>
                    <a:pt x="2604" y="2430"/>
                  </a:lnTo>
                  <a:lnTo>
                    <a:pt x="2616" y="2424"/>
                  </a:lnTo>
                  <a:lnTo>
                    <a:pt x="2634" y="2418"/>
                  </a:lnTo>
                  <a:lnTo>
                    <a:pt x="2646" y="2412"/>
                  </a:lnTo>
                  <a:lnTo>
                    <a:pt x="2670" y="2412"/>
                  </a:lnTo>
                  <a:lnTo>
                    <a:pt x="2670" y="2424"/>
                  </a:lnTo>
                  <a:lnTo>
                    <a:pt x="2658" y="2430"/>
                  </a:lnTo>
                  <a:lnTo>
                    <a:pt x="2652" y="2436"/>
                  </a:lnTo>
                  <a:lnTo>
                    <a:pt x="2646" y="2436"/>
                  </a:lnTo>
                  <a:lnTo>
                    <a:pt x="2640" y="2442"/>
                  </a:lnTo>
                  <a:lnTo>
                    <a:pt x="2646" y="2448"/>
                  </a:lnTo>
                  <a:lnTo>
                    <a:pt x="2652" y="2448"/>
                  </a:lnTo>
                  <a:lnTo>
                    <a:pt x="2664" y="2460"/>
                  </a:lnTo>
                  <a:lnTo>
                    <a:pt x="2640" y="2484"/>
                  </a:lnTo>
                  <a:lnTo>
                    <a:pt x="2640" y="2490"/>
                  </a:lnTo>
                  <a:lnTo>
                    <a:pt x="2652" y="2490"/>
                  </a:lnTo>
                  <a:lnTo>
                    <a:pt x="2652" y="2502"/>
                  </a:lnTo>
                  <a:lnTo>
                    <a:pt x="2640" y="2514"/>
                  </a:lnTo>
                  <a:lnTo>
                    <a:pt x="2640" y="2526"/>
                  </a:lnTo>
                  <a:lnTo>
                    <a:pt x="2658" y="2526"/>
                  </a:lnTo>
                  <a:lnTo>
                    <a:pt x="2652" y="2544"/>
                  </a:lnTo>
                  <a:lnTo>
                    <a:pt x="2658" y="2544"/>
                  </a:lnTo>
                  <a:lnTo>
                    <a:pt x="2670" y="2550"/>
                  </a:lnTo>
                  <a:lnTo>
                    <a:pt x="2754" y="2550"/>
                  </a:lnTo>
                  <a:lnTo>
                    <a:pt x="2766" y="2556"/>
                  </a:lnTo>
                  <a:lnTo>
                    <a:pt x="2784" y="2568"/>
                  </a:lnTo>
                  <a:lnTo>
                    <a:pt x="2838" y="2568"/>
                  </a:lnTo>
                  <a:lnTo>
                    <a:pt x="2850" y="2574"/>
                  </a:lnTo>
                  <a:lnTo>
                    <a:pt x="2856" y="2580"/>
                  </a:lnTo>
                  <a:lnTo>
                    <a:pt x="2856" y="2610"/>
                  </a:lnTo>
                  <a:lnTo>
                    <a:pt x="2874" y="2610"/>
                  </a:lnTo>
                  <a:lnTo>
                    <a:pt x="2874" y="2628"/>
                  </a:lnTo>
                  <a:lnTo>
                    <a:pt x="2862" y="2640"/>
                  </a:lnTo>
                  <a:lnTo>
                    <a:pt x="2862" y="2652"/>
                  </a:lnTo>
                  <a:lnTo>
                    <a:pt x="2874" y="2664"/>
                  </a:lnTo>
                  <a:lnTo>
                    <a:pt x="2880" y="2664"/>
                  </a:lnTo>
                  <a:lnTo>
                    <a:pt x="2856" y="2658"/>
                  </a:lnTo>
                  <a:lnTo>
                    <a:pt x="2856" y="2670"/>
                  </a:lnTo>
                  <a:lnTo>
                    <a:pt x="2850" y="2676"/>
                  </a:lnTo>
                  <a:lnTo>
                    <a:pt x="2844" y="2688"/>
                  </a:lnTo>
                  <a:lnTo>
                    <a:pt x="2838" y="2694"/>
                  </a:lnTo>
                  <a:lnTo>
                    <a:pt x="2832" y="2688"/>
                  </a:lnTo>
                  <a:lnTo>
                    <a:pt x="2820" y="2682"/>
                  </a:lnTo>
                  <a:lnTo>
                    <a:pt x="2802" y="2670"/>
                  </a:lnTo>
                  <a:lnTo>
                    <a:pt x="2790" y="2664"/>
                  </a:lnTo>
                  <a:lnTo>
                    <a:pt x="2784" y="2652"/>
                  </a:lnTo>
                  <a:lnTo>
                    <a:pt x="2784" y="2628"/>
                  </a:lnTo>
                  <a:lnTo>
                    <a:pt x="2766" y="2622"/>
                  </a:lnTo>
                  <a:lnTo>
                    <a:pt x="2772" y="2640"/>
                  </a:lnTo>
                  <a:lnTo>
                    <a:pt x="2772" y="2646"/>
                  </a:lnTo>
                  <a:lnTo>
                    <a:pt x="2778" y="2652"/>
                  </a:lnTo>
                  <a:lnTo>
                    <a:pt x="2778" y="2664"/>
                  </a:lnTo>
                  <a:lnTo>
                    <a:pt x="2772" y="2676"/>
                  </a:lnTo>
                  <a:lnTo>
                    <a:pt x="2760" y="2688"/>
                  </a:lnTo>
                  <a:lnTo>
                    <a:pt x="2754" y="2700"/>
                  </a:lnTo>
                  <a:lnTo>
                    <a:pt x="2736" y="2706"/>
                  </a:lnTo>
                  <a:lnTo>
                    <a:pt x="2718" y="2724"/>
                  </a:lnTo>
                  <a:lnTo>
                    <a:pt x="2712" y="2742"/>
                  </a:lnTo>
                  <a:lnTo>
                    <a:pt x="2700" y="2760"/>
                  </a:lnTo>
                  <a:lnTo>
                    <a:pt x="2694" y="2778"/>
                  </a:lnTo>
                  <a:lnTo>
                    <a:pt x="2688" y="2784"/>
                  </a:lnTo>
                  <a:lnTo>
                    <a:pt x="2664" y="2796"/>
                  </a:lnTo>
                  <a:lnTo>
                    <a:pt x="2652" y="2796"/>
                  </a:lnTo>
                  <a:lnTo>
                    <a:pt x="2646" y="2790"/>
                  </a:lnTo>
                  <a:lnTo>
                    <a:pt x="2640" y="2802"/>
                  </a:lnTo>
                  <a:lnTo>
                    <a:pt x="2634" y="2808"/>
                  </a:lnTo>
                  <a:lnTo>
                    <a:pt x="2634" y="2832"/>
                  </a:lnTo>
                  <a:lnTo>
                    <a:pt x="2628" y="2838"/>
                  </a:lnTo>
                  <a:lnTo>
                    <a:pt x="2622" y="2838"/>
                  </a:lnTo>
                  <a:lnTo>
                    <a:pt x="2586" y="2856"/>
                  </a:lnTo>
                  <a:lnTo>
                    <a:pt x="2562" y="2880"/>
                  </a:lnTo>
                  <a:lnTo>
                    <a:pt x="2562" y="2886"/>
                  </a:lnTo>
                  <a:lnTo>
                    <a:pt x="2568" y="2886"/>
                  </a:lnTo>
                  <a:lnTo>
                    <a:pt x="2580" y="2880"/>
                  </a:lnTo>
                  <a:lnTo>
                    <a:pt x="2592" y="2880"/>
                  </a:lnTo>
                  <a:lnTo>
                    <a:pt x="2598" y="2886"/>
                  </a:lnTo>
                  <a:lnTo>
                    <a:pt x="2610" y="2880"/>
                  </a:lnTo>
                  <a:lnTo>
                    <a:pt x="2616" y="2868"/>
                  </a:lnTo>
                  <a:lnTo>
                    <a:pt x="2628" y="2862"/>
                  </a:lnTo>
                  <a:lnTo>
                    <a:pt x="2658" y="2862"/>
                  </a:lnTo>
                  <a:lnTo>
                    <a:pt x="2658" y="2856"/>
                  </a:lnTo>
                  <a:lnTo>
                    <a:pt x="2664" y="2844"/>
                  </a:lnTo>
                  <a:lnTo>
                    <a:pt x="2676" y="2838"/>
                  </a:lnTo>
                  <a:lnTo>
                    <a:pt x="2682" y="2832"/>
                  </a:lnTo>
                  <a:lnTo>
                    <a:pt x="2754" y="2832"/>
                  </a:lnTo>
                  <a:lnTo>
                    <a:pt x="2766" y="2838"/>
                  </a:lnTo>
                  <a:lnTo>
                    <a:pt x="2790" y="2820"/>
                  </a:lnTo>
                  <a:lnTo>
                    <a:pt x="2856" y="2820"/>
                  </a:lnTo>
                  <a:lnTo>
                    <a:pt x="2862" y="2814"/>
                  </a:lnTo>
                  <a:lnTo>
                    <a:pt x="2862" y="2790"/>
                  </a:lnTo>
                  <a:lnTo>
                    <a:pt x="2844" y="2796"/>
                  </a:lnTo>
                  <a:lnTo>
                    <a:pt x="2832" y="2796"/>
                  </a:lnTo>
                  <a:lnTo>
                    <a:pt x="2826" y="2790"/>
                  </a:lnTo>
                  <a:lnTo>
                    <a:pt x="2826" y="2784"/>
                  </a:lnTo>
                  <a:lnTo>
                    <a:pt x="2832" y="2772"/>
                  </a:lnTo>
                  <a:lnTo>
                    <a:pt x="2850" y="2754"/>
                  </a:lnTo>
                  <a:lnTo>
                    <a:pt x="2868" y="2742"/>
                  </a:lnTo>
                  <a:lnTo>
                    <a:pt x="2880" y="2736"/>
                  </a:lnTo>
                  <a:lnTo>
                    <a:pt x="2910" y="2736"/>
                  </a:lnTo>
                  <a:lnTo>
                    <a:pt x="2928" y="2730"/>
                  </a:lnTo>
                  <a:lnTo>
                    <a:pt x="2952" y="2730"/>
                  </a:lnTo>
                  <a:lnTo>
                    <a:pt x="2964" y="2724"/>
                  </a:lnTo>
                  <a:lnTo>
                    <a:pt x="2970" y="2724"/>
                  </a:lnTo>
                  <a:lnTo>
                    <a:pt x="2976" y="2718"/>
                  </a:lnTo>
                  <a:lnTo>
                    <a:pt x="2982" y="2718"/>
                  </a:lnTo>
                  <a:lnTo>
                    <a:pt x="2994" y="2724"/>
                  </a:lnTo>
                  <a:lnTo>
                    <a:pt x="3000" y="2724"/>
                  </a:lnTo>
                  <a:lnTo>
                    <a:pt x="3012" y="2730"/>
                  </a:lnTo>
                  <a:lnTo>
                    <a:pt x="3018" y="2736"/>
                  </a:lnTo>
                  <a:lnTo>
                    <a:pt x="3024" y="2736"/>
                  </a:lnTo>
                  <a:lnTo>
                    <a:pt x="3030" y="2730"/>
                  </a:lnTo>
                  <a:lnTo>
                    <a:pt x="3030" y="2712"/>
                  </a:lnTo>
                  <a:lnTo>
                    <a:pt x="3036" y="2706"/>
                  </a:lnTo>
                  <a:lnTo>
                    <a:pt x="3048" y="2700"/>
                  </a:lnTo>
                  <a:lnTo>
                    <a:pt x="3060" y="2700"/>
                  </a:lnTo>
                  <a:lnTo>
                    <a:pt x="3066" y="2706"/>
                  </a:lnTo>
                  <a:lnTo>
                    <a:pt x="3072" y="2706"/>
                  </a:lnTo>
                  <a:lnTo>
                    <a:pt x="3072" y="2700"/>
                  </a:lnTo>
                  <a:lnTo>
                    <a:pt x="3102" y="2700"/>
                  </a:lnTo>
                  <a:lnTo>
                    <a:pt x="3114" y="2688"/>
                  </a:lnTo>
                  <a:lnTo>
                    <a:pt x="3126" y="2682"/>
                  </a:lnTo>
                  <a:lnTo>
                    <a:pt x="3150" y="2658"/>
                  </a:lnTo>
                  <a:lnTo>
                    <a:pt x="3162" y="2652"/>
                  </a:lnTo>
                  <a:lnTo>
                    <a:pt x="3174" y="2640"/>
                  </a:lnTo>
                  <a:lnTo>
                    <a:pt x="3408" y="2640"/>
                  </a:lnTo>
                  <a:lnTo>
                    <a:pt x="3408" y="2634"/>
                  </a:lnTo>
                  <a:lnTo>
                    <a:pt x="3420" y="2622"/>
                  </a:lnTo>
                  <a:lnTo>
                    <a:pt x="3438" y="2622"/>
                  </a:lnTo>
                  <a:lnTo>
                    <a:pt x="3450" y="2616"/>
                  </a:lnTo>
                  <a:lnTo>
                    <a:pt x="3456" y="2616"/>
                  </a:lnTo>
                  <a:lnTo>
                    <a:pt x="3456" y="2610"/>
                  </a:lnTo>
                  <a:lnTo>
                    <a:pt x="3468" y="2598"/>
                  </a:lnTo>
                  <a:lnTo>
                    <a:pt x="3480" y="2592"/>
                  </a:lnTo>
                  <a:lnTo>
                    <a:pt x="3486" y="2586"/>
                  </a:lnTo>
                  <a:lnTo>
                    <a:pt x="3498" y="2586"/>
                  </a:lnTo>
                  <a:lnTo>
                    <a:pt x="3504" y="2592"/>
                  </a:lnTo>
                  <a:lnTo>
                    <a:pt x="3510" y="2592"/>
                  </a:lnTo>
                  <a:lnTo>
                    <a:pt x="3510" y="2568"/>
                  </a:lnTo>
                  <a:lnTo>
                    <a:pt x="3516" y="2556"/>
                  </a:lnTo>
                  <a:lnTo>
                    <a:pt x="3528" y="2544"/>
                  </a:lnTo>
                  <a:lnTo>
                    <a:pt x="3534" y="2544"/>
                  </a:lnTo>
                  <a:lnTo>
                    <a:pt x="3546" y="2532"/>
                  </a:lnTo>
                  <a:lnTo>
                    <a:pt x="3546" y="2508"/>
                  </a:lnTo>
                  <a:lnTo>
                    <a:pt x="3588" y="2484"/>
                  </a:lnTo>
                  <a:lnTo>
                    <a:pt x="3594" y="2472"/>
                  </a:lnTo>
                  <a:lnTo>
                    <a:pt x="3618" y="2448"/>
                  </a:lnTo>
                  <a:lnTo>
                    <a:pt x="3630" y="2448"/>
                  </a:lnTo>
                  <a:lnTo>
                    <a:pt x="3636" y="2454"/>
                  </a:lnTo>
                  <a:lnTo>
                    <a:pt x="3636" y="2460"/>
                  </a:lnTo>
                  <a:lnTo>
                    <a:pt x="3642" y="2466"/>
                  </a:lnTo>
                  <a:lnTo>
                    <a:pt x="3654" y="2466"/>
                  </a:lnTo>
                  <a:lnTo>
                    <a:pt x="3666" y="2460"/>
                  </a:lnTo>
                  <a:lnTo>
                    <a:pt x="3702" y="2460"/>
                  </a:lnTo>
                  <a:lnTo>
                    <a:pt x="3708" y="2466"/>
                  </a:lnTo>
                  <a:lnTo>
                    <a:pt x="3708" y="2472"/>
                  </a:lnTo>
                  <a:lnTo>
                    <a:pt x="3702" y="2496"/>
                  </a:lnTo>
                  <a:lnTo>
                    <a:pt x="3690" y="2520"/>
                  </a:lnTo>
                  <a:lnTo>
                    <a:pt x="3678" y="2550"/>
                  </a:lnTo>
                  <a:lnTo>
                    <a:pt x="3666" y="2574"/>
                  </a:lnTo>
                  <a:lnTo>
                    <a:pt x="3666" y="2586"/>
                  </a:lnTo>
                  <a:lnTo>
                    <a:pt x="3672" y="2592"/>
                  </a:lnTo>
                  <a:lnTo>
                    <a:pt x="3678" y="2592"/>
                  </a:lnTo>
                  <a:lnTo>
                    <a:pt x="3684" y="2598"/>
                  </a:lnTo>
                  <a:lnTo>
                    <a:pt x="3672" y="2610"/>
                  </a:lnTo>
                  <a:lnTo>
                    <a:pt x="3666" y="2622"/>
                  </a:lnTo>
                  <a:lnTo>
                    <a:pt x="3666" y="2628"/>
                  </a:lnTo>
                  <a:lnTo>
                    <a:pt x="3690" y="2628"/>
                  </a:lnTo>
                  <a:lnTo>
                    <a:pt x="3690" y="2634"/>
                  </a:lnTo>
                  <a:lnTo>
                    <a:pt x="3696" y="2640"/>
                  </a:lnTo>
                  <a:lnTo>
                    <a:pt x="3714" y="2640"/>
                  </a:lnTo>
                  <a:lnTo>
                    <a:pt x="3750" y="2622"/>
                  </a:lnTo>
                  <a:lnTo>
                    <a:pt x="3768" y="2604"/>
                  </a:lnTo>
                  <a:lnTo>
                    <a:pt x="3780" y="2622"/>
                  </a:lnTo>
                  <a:lnTo>
                    <a:pt x="3786" y="2622"/>
                  </a:lnTo>
                  <a:lnTo>
                    <a:pt x="3792" y="2616"/>
                  </a:lnTo>
                  <a:lnTo>
                    <a:pt x="3816" y="2604"/>
                  </a:lnTo>
                  <a:lnTo>
                    <a:pt x="3828" y="2604"/>
                  </a:lnTo>
                  <a:lnTo>
                    <a:pt x="3840" y="2592"/>
                  </a:lnTo>
                  <a:lnTo>
                    <a:pt x="3852" y="2592"/>
                  </a:lnTo>
                  <a:lnTo>
                    <a:pt x="3864" y="2580"/>
                  </a:lnTo>
                  <a:lnTo>
                    <a:pt x="3870" y="2580"/>
                  </a:lnTo>
                  <a:lnTo>
                    <a:pt x="3888" y="2586"/>
                  </a:lnTo>
                  <a:lnTo>
                    <a:pt x="3846" y="2616"/>
                  </a:lnTo>
                  <a:lnTo>
                    <a:pt x="3936" y="2610"/>
                  </a:lnTo>
                  <a:lnTo>
                    <a:pt x="3918" y="2610"/>
                  </a:lnTo>
                  <a:lnTo>
                    <a:pt x="3906" y="2616"/>
                  </a:lnTo>
                  <a:lnTo>
                    <a:pt x="3894" y="2616"/>
                  </a:lnTo>
                  <a:lnTo>
                    <a:pt x="3888" y="2622"/>
                  </a:lnTo>
                  <a:lnTo>
                    <a:pt x="3888" y="2634"/>
                  </a:lnTo>
                  <a:lnTo>
                    <a:pt x="3882" y="2640"/>
                  </a:lnTo>
                  <a:lnTo>
                    <a:pt x="3876" y="2640"/>
                  </a:lnTo>
                  <a:lnTo>
                    <a:pt x="3870" y="2634"/>
                  </a:lnTo>
                  <a:lnTo>
                    <a:pt x="3864" y="2634"/>
                  </a:lnTo>
                  <a:lnTo>
                    <a:pt x="3852" y="2628"/>
                  </a:lnTo>
                  <a:lnTo>
                    <a:pt x="3846" y="2628"/>
                  </a:lnTo>
                  <a:lnTo>
                    <a:pt x="3828" y="2634"/>
                  </a:lnTo>
                  <a:lnTo>
                    <a:pt x="3738" y="2688"/>
                  </a:lnTo>
                  <a:lnTo>
                    <a:pt x="3726" y="2700"/>
                  </a:lnTo>
                  <a:lnTo>
                    <a:pt x="3720" y="2712"/>
                  </a:lnTo>
                  <a:lnTo>
                    <a:pt x="3720" y="2748"/>
                  </a:lnTo>
                  <a:lnTo>
                    <a:pt x="3726" y="2748"/>
                  </a:lnTo>
                  <a:lnTo>
                    <a:pt x="3732" y="2742"/>
                  </a:lnTo>
                  <a:lnTo>
                    <a:pt x="3738" y="2742"/>
                  </a:lnTo>
                  <a:lnTo>
                    <a:pt x="3738" y="2754"/>
                  </a:lnTo>
                  <a:lnTo>
                    <a:pt x="3744" y="2760"/>
                  </a:lnTo>
                  <a:lnTo>
                    <a:pt x="3756" y="2760"/>
                  </a:lnTo>
                  <a:lnTo>
                    <a:pt x="3762" y="2754"/>
                  </a:lnTo>
                  <a:lnTo>
                    <a:pt x="3768" y="2742"/>
                  </a:lnTo>
                  <a:lnTo>
                    <a:pt x="3774" y="2736"/>
                  </a:lnTo>
                  <a:lnTo>
                    <a:pt x="3786" y="2736"/>
                  </a:lnTo>
                  <a:lnTo>
                    <a:pt x="3804" y="2730"/>
                  </a:lnTo>
                  <a:lnTo>
                    <a:pt x="3816" y="2724"/>
                  </a:lnTo>
                  <a:lnTo>
                    <a:pt x="3834" y="2718"/>
                  </a:lnTo>
                  <a:lnTo>
                    <a:pt x="3846" y="2706"/>
                  </a:lnTo>
                  <a:lnTo>
                    <a:pt x="3852" y="2694"/>
                  </a:lnTo>
                  <a:lnTo>
                    <a:pt x="3870" y="2676"/>
                  </a:lnTo>
                  <a:lnTo>
                    <a:pt x="3876" y="2664"/>
                  </a:lnTo>
                  <a:lnTo>
                    <a:pt x="3876" y="2670"/>
                  </a:lnTo>
                  <a:lnTo>
                    <a:pt x="3882" y="2682"/>
                  </a:lnTo>
                  <a:lnTo>
                    <a:pt x="3888" y="2688"/>
                  </a:lnTo>
                  <a:lnTo>
                    <a:pt x="3894" y="2688"/>
                  </a:lnTo>
                  <a:lnTo>
                    <a:pt x="3930" y="2676"/>
                  </a:lnTo>
                  <a:lnTo>
                    <a:pt x="3954" y="2664"/>
                  </a:lnTo>
                  <a:lnTo>
                    <a:pt x="3972" y="2658"/>
                  </a:lnTo>
                  <a:lnTo>
                    <a:pt x="3984" y="2652"/>
                  </a:lnTo>
                  <a:lnTo>
                    <a:pt x="4008" y="2646"/>
                  </a:lnTo>
                  <a:lnTo>
                    <a:pt x="4068" y="2634"/>
                  </a:lnTo>
                  <a:lnTo>
                    <a:pt x="4080" y="2628"/>
                  </a:lnTo>
                  <a:lnTo>
                    <a:pt x="4068" y="2616"/>
                  </a:lnTo>
                  <a:lnTo>
                    <a:pt x="4074" y="2598"/>
                  </a:lnTo>
                  <a:lnTo>
                    <a:pt x="4038" y="2604"/>
                  </a:lnTo>
                  <a:lnTo>
                    <a:pt x="4038" y="2580"/>
                  </a:lnTo>
                  <a:lnTo>
                    <a:pt x="4026" y="2586"/>
                  </a:lnTo>
                  <a:lnTo>
                    <a:pt x="4020" y="2586"/>
                  </a:lnTo>
                  <a:lnTo>
                    <a:pt x="4008" y="2592"/>
                  </a:lnTo>
                  <a:lnTo>
                    <a:pt x="4002" y="2598"/>
                  </a:lnTo>
                  <a:lnTo>
                    <a:pt x="3990" y="2598"/>
                  </a:lnTo>
                  <a:lnTo>
                    <a:pt x="3990" y="2580"/>
                  </a:lnTo>
                  <a:lnTo>
                    <a:pt x="3930" y="2580"/>
                  </a:lnTo>
                  <a:lnTo>
                    <a:pt x="3924" y="2574"/>
                  </a:lnTo>
                  <a:lnTo>
                    <a:pt x="3924" y="2568"/>
                  </a:lnTo>
                  <a:lnTo>
                    <a:pt x="3918" y="2562"/>
                  </a:lnTo>
                  <a:lnTo>
                    <a:pt x="3918" y="2556"/>
                  </a:lnTo>
                  <a:lnTo>
                    <a:pt x="3930" y="2556"/>
                  </a:lnTo>
                  <a:lnTo>
                    <a:pt x="3918" y="2544"/>
                  </a:lnTo>
                  <a:lnTo>
                    <a:pt x="3888" y="2544"/>
                  </a:lnTo>
                  <a:lnTo>
                    <a:pt x="3882" y="2532"/>
                  </a:lnTo>
                  <a:lnTo>
                    <a:pt x="3882" y="2526"/>
                  </a:lnTo>
                  <a:lnTo>
                    <a:pt x="3876" y="2514"/>
                  </a:lnTo>
                  <a:lnTo>
                    <a:pt x="3876" y="2502"/>
                  </a:lnTo>
                  <a:lnTo>
                    <a:pt x="3894" y="2484"/>
                  </a:lnTo>
                  <a:lnTo>
                    <a:pt x="3870" y="2484"/>
                  </a:lnTo>
                  <a:lnTo>
                    <a:pt x="3876" y="2478"/>
                  </a:lnTo>
                  <a:lnTo>
                    <a:pt x="3888" y="2472"/>
                  </a:lnTo>
                  <a:lnTo>
                    <a:pt x="3894" y="2460"/>
                  </a:lnTo>
                  <a:lnTo>
                    <a:pt x="3906" y="2454"/>
                  </a:lnTo>
                  <a:lnTo>
                    <a:pt x="3918" y="2442"/>
                  </a:lnTo>
                  <a:lnTo>
                    <a:pt x="3924" y="2430"/>
                  </a:lnTo>
                  <a:lnTo>
                    <a:pt x="3936" y="2424"/>
                  </a:lnTo>
                  <a:lnTo>
                    <a:pt x="3942" y="2412"/>
                  </a:lnTo>
                  <a:lnTo>
                    <a:pt x="3948" y="2406"/>
                  </a:lnTo>
                  <a:lnTo>
                    <a:pt x="3936" y="2400"/>
                  </a:lnTo>
                  <a:lnTo>
                    <a:pt x="3912" y="2430"/>
                  </a:lnTo>
                  <a:lnTo>
                    <a:pt x="3894" y="2418"/>
                  </a:lnTo>
                  <a:lnTo>
                    <a:pt x="3864" y="2436"/>
                  </a:lnTo>
                  <a:lnTo>
                    <a:pt x="3858" y="2418"/>
                  </a:lnTo>
                  <a:lnTo>
                    <a:pt x="3828" y="2406"/>
                  </a:lnTo>
                  <a:lnTo>
                    <a:pt x="3810" y="2412"/>
                  </a:lnTo>
                  <a:lnTo>
                    <a:pt x="3864" y="2394"/>
                  </a:lnTo>
                  <a:lnTo>
                    <a:pt x="3870" y="2400"/>
                  </a:lnTo>
                  <a:lnTo>
                    <a:pt x="3882" y="2406"/>
                  </a:lnTo>
                  <a:lnTo>
                    <a:pt x="3900" y="2406"/>
                  </a:lnTo>
                  <a:lnTo>
                    <a:pt x="3918" y="2388"/>
                  </a:lnTo>
                  <a:lnTo>
                    <a:pt x="3930" y="2382"/>
                  </a:lnTo>
                  <a:lnTo>
                    <a:pt x="3936" y="2376"/>
                  </a:lnTo>
                  <a:lnTo>
                    <a:pt x="3978" y="2376"/>
                  </a:lnTo>
                  <a:lnTo>
                    <a:pt x="3978" y="2364"/>
                  </a:lnTo>
                  <a:lnTo>
                    <a:pt x="3972" y="2358"/>
                  </a:lnTo>
                  <a:lnTo>
                    <a:pt x="3966" y="2346"/>
                  </a:lnTo>
                  <a:lnTo>
                    <a:pt x="3990" y="2346"/>
                  </a:lnTo>
                  <a:lnTo>
                    <a:pt x="3978" y="2334"/>
                  </a:lnTo>
                  <a:lnTo>
                    <a:pt x="3972" y="2322"/>
                  </a:lnTo>
                  <a:lnTo>
                    <a:pt x="3960" y="2316"/>
                  </a:lnTo>
                  <a:lnTo>
                    <a:pt x="3942" y="2310"/>
                  </a:lnTo>
                  <a:lnTo>
                    <a:pt x="3918" y="2310"/>
                  </a:lnTo>
                  <a:lnTo>
                    <a:pt x="3852" y="2316"/>
                  </a:lnTo>
                  <a:lnTo>
                    <a:pt x="3792" y="2334"/>
                  </a:lnTo>
                  <a:lnTo>
                    <a:pt x="3744" y="2352"/>
                  </a:lnTo>
                  <a:lnTo>
                    <a:pt x="3684" y="2376"/>
                  </a:lnTo>
                  <a:lnTo>
                    <a:pt x="3660" y="2388"/>
                  </a:lnTo>
                  <a:lnTo>
                    <a:pt x="3642" y="2400"/>
                  </a:lnTo>
                  <a:lnTo>
                    <a:pt x="3624" y="2418"/>
                  </a:lnTo>
                  <a:lnTo>
                    <a:pt x="3606" y="2430"/>
                  </a:lnTo>
                  <a:lnTo>
                    <a:pt x="3594" y="2442"/>
                  </a:lnTo>
                  <a:lnTo>
                    <a:pt x="3576" y="2454"/>
                  </a:lnTo>
                  <a:lnTo>
                    <a:pt x="3564" y="2466"/>
                  </a:lnTo>
                  <a:lnTo>
                    <a:pt x="3528" y="2484"/>
                  </a:lnTo>
                  <a:lnTo>
                    <a:pt x="3516" y="2484"/>
                  </a:lnTo>
                  <a:lnTo>
                    <a:pt x="3498" y="2490"/>
                  </a:lnTo>
                  <a:lnTo>
                    <a:pt x="3486" y="2490"/>
                  </a:lnTo>
                  <a:lnTo>
                    <a:pt x="3492" y="2490"/>
                  </a:lnTo>
                  <a:lnTo>
                    <a:pt x="3498" y="2484"/>
                  </a:lnTo>
                  <a:lnTo>
                    <a:pt x="3510" y="2478"/>
                  </a:lnTo>
                  <a:lnTo>
                    <a:pt x="3522" y="2466"/>
                  </a:lnTo>
                  <a:lnTo>
                    <a:pt x="3540" y="2460"/>
                  </a:lnTo>
                  <a:lnTo>
                    <a:pt x="3552" y="2448"/>
                  </a:lnTo>
                  <a:lnTo>
                    <a:pt x="3576" y="2436"/>
                  </a:lnTo>
                  <a:lnTo>
                    <a:pt x="3600" y="2412"/>
                  </a:lnTo>
                  <a:lnTo>
                    <a:pt x="3606" y="2400"/>
                  </a:lnTo>
                  <a:lnTo>
                    <a:pt x="3582" y="2388"/>
                  </a:lnTo>
                  <a:lnTo>
                    <a:pt x="3588" y="2388"/>
                  </a:lnTo>
                  <a:lnTo>
                    <a:pt x="3594" y="2394"/>
                  </a:lnTo>
                  <a:lnTo>
                    <a:pt x="3624" y="2394"/>
                  </a:lnTo>
                  <a:lnTo>
                    <a:pt x="3642" y="2382"/>
                  </a:lnTo>
                  <a:lnTo>
                    <a:pt x="3702" y="2334"/>
                  </a:lnTo>
                  <a:lnTo>
                    <a:pt x="3750" y="2310"/>
                  </a:lnTo>
                  <a:lnTo>
                    <a:pt x="3768" y="2304"/>
                  </a:lnTo>
                  <a:lnTo>
                    <a:pt x="3804" y="2304"/>
                  </a:lnTo>
                  <a:lnTo>
                    <a:pt x="3852" y="2256"/>
                  </a:lnTo>
                  <a:lnTo>
                    <a:pt x="3870" y="2244"/>
                  </a:lnTo>
                  <a:lnTo>
                    <a:pt x="3888" y="2238"/>
                  </a:lnTo>
                  <a:lnTo>
                    <a:pt x="3936" y="2232"/>
                  </a:lnTo>
                  <a:lnTo>
                    <a:pt x="3990" y="2232"/>
                  </a:lnTo>
                  <a:lnTo>
                    <a:pt x="4044" y="2226"/>
                  </a:lnTo>
                  <a:lnTo>
                    <a:pt x="4074" y="2226"/>
                  </a:lnTo>
                  <a:lnTo>
                    <a:pt x="4104" y="2232"/>
                  </a:lnTo>
                  <a:lnTo>
                    <a:pt x="4176" y="2244"/>
                  </a:lnTo>
                  <a:lnTo>
                    <a:pt x="4200" y="2250"/>
                  </a:lnTo>
                  <a:lnTo>
                    <a:pt x="4212" y="2244"/>
                  </a:lnTo>
                  <a:lnTo>
                    <a:pt x="4248" y="2232"/>
                  </a:lnTo>
                  <a:lnTo>
                    <a:pt x="4260" y="2226"/>
                  </a:lnTo>
                  <a:lnTo>
                    <a:pt x="4278" y="2226"/>
                  </a:lnTo>
                  <a:lnTo>
                    <a:pt x="4296" y="2220"/>
                  </a:lnTo>
                  <a:lnTo>
                    <a:pt x="4320" y="2214"/>
                  </a:lnTo>
                  <a:lnTo>
                    <a:pt x="4338" y="2208"/>
                  </a:lnTo>
                  <a:lnTo>
                    <a:pt x="4374" y="2172"/>
                  </a:lnTo>
                  <a:lnTo>
                    <a:pt x="4392" y="2166"/>
                  </a:lnTo>
                  <a:lnTo>
                    <a:pt x="4404" y="2154"/>
                  </a:lnTo>
                  <a:lnTo>
                    <a:pt x="4410" y="2154"/>
                  </a:lnTo>
                  <a:lnTo>
                    <a:pt x="4422" y="2148"/>
                  </a:lnTo>
                  <a:lnTo>
                    <a:pt x="4452" y="2148"/>
                  </a:lnTo>
                  <a:lnTo>
                    <a:pt x="4458" y="2142"/>
                  </a:lnTo>
                  <a:lnTo>
                    <a:pt x="4470" y="2136"/>
                  </a:lnTo>
                  <a:lnTo>
                    <a:pt x="4476" y="2130"/>
                  </a:lnTo>
                  <a:lnTo>
                    <a:pt x="4494" y="2130"/>
                  </a:lnTo>
                  <a:lnTo>
                    <a:pt x="4500" y="2136"/>
                  </a:lnTo>
                  <a:lnTo>
                    <a:pt x="4518" y="2136"/>
                  </a:lnTo>
                  <a:lnTo>
                    <a:pt x="4530" y="2130"/>
                  </a:lnTo>
                  <a:lnTo>
                    <a:pt x="4536" y="2130"/>
                  </a:lnTo>
                  <a:lnTo>
                    <a:pt x="4542" y="2124"/>
                  </a:lnTo>
                  <a:lnTo>
                    <a:pt x="4596" y="2106"/>
                  </a:lnTo>
                  <a:lnTo>
                    <a:pt x="4620" y="2094"/>
                  </a:lnTo>
                  <a:lnTo>
                    <a:pt x="4620" y="2088"/>
                  </a:lnTo>
                  <a:lnTo>
                    <a:pt x="4614" y="2076"/>
                  </a:lnTo>
                  <a:lnTo>
                    <a:pt x="4602" y="2070"/>
                  </a:lnTo>
                  <a:lnTo>
                    <a:pt x="4584" y="2052"/>
                  </a:lnTo>
                  <a:lnTo>
                    <a:pt x="4578" y="2052"/>
                  </a:lnTo>
                  <a:lnTo>
                    <a:pt x="4602" y="2052"/>
                  </a:lnTo>
                  <a:lnTo>
                    <a:pt x="4614" y="2046"/>
                  </a:lnTo>
                  <a:lnTo>
                    <a:pt x="4614" y="2028"/>
                  </a:lnTo>
                  <a:lnTo>
                    <a:pt x="4608" y="2022"/>
                  </a:lnTo>
                  <a:lnTo>
                    <a:pt x="4608" y="2010"/>
                  </a:lnTo>
                  <a:lnTo>
                    <a:pt x="4632" y="2010"/>
                  </a:lnTo>
                  <a:lnTo>
                    <a:pt x="4644" y="1998"/>
                  </a:lnTo>
                  <a:lnTo>
                    <a:pt x="4644" y="1992"/>
                  </a:lnTo>
                  <a:lnTo>
                    <a:pt x="4632" y="1980"/>
                  </a:lnTo>
                  <a:lnTo>
                    <a:pt x="4626" y="1968"/>
                  </a:lnTo>
                  <a:lnTo>
                    <a:pt x="4608" y="1962"/>
                  </a:lnTo>
                  <a:lnTo>
                    <a:pt x="4602" y="1956"/>
                  </a:lnTo>
                  <a:lnTo>
                    <a:pt x="4590" y="1962"/>
                  </a:lnTo>
                  <a:close/>
                </a:path>
              </a:pathLst>
            </a:custGeom>
            <a:grpFill/>
            <a:ln w="3175">
              <a:solidFill>
                <a:schemeClr val="bg1"/>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de-DE" sz="1800" b="0" i="0" u="none" strike="noStrike" kern="1200" cap="none" spc="0" normalizeH="0" baseline="0" noProof="0">
                <a:ln>
                  <a:noFill/>
                </a:ln>
                <a:solidFill>
                  <a:srgbClr val="FFC000"/>
                </a:solidFill>
                <a:effectLst/>
                <a:uLnTx/>
                <a:uFillTx/>
                <a:latin typeface="Calibri" pitchFamily="34" charset="0"/>
                <a:ea typeface="+mn-ea"/>
                <a:cs typeface="+mn-cs"/>
              </a:endParaRPr>
            </a:p>
          </p:txBody>
        </p:sp>
        <p:grpSp>
          <p:nvGrpSpPr>
            <p:cNvPr id="161" name="Group 160"/>
            <p:cNvGrpSpPr/>
            <p:nvPr/>
          </p:nvGrpSpPr>
          <p:grpSpPr>
            <a:xfrm>
              <a:off x="4664115" y="3975551"/>
              <a:ext cx="524734" cy="665061"/>
              <a:chOff x="4664115" y="3975551"/>
              <a:chExt cx="524734" cy="665061"/>
            </a:xfrm>
            <a:grpFill/>
          </p:grpSpPr>
          <p:sp>
            <p:nvSpPr>
              <p:cNvPr id="191" name="Congo" descr="© INSCALE GmbH, 05.05.2010&#10;http://www.presentationload.com/"/>
              <p:cNvSpPr>
                <a:spLocks/>
              </p:cNvSpPr>
              <p:nvPr/>
            </p:nvSpPr>
            <p:spPr bwMode="gray">
              <a:xfrm>
                <a:off x="4751144" y="4169068"/>
                <a:ext cx="437705" cy="471544"/>
              </a:xfrm>
              <a:custGeom>
                <a:avLst/>
                <a:gdLst>
                  <a:gd name="T0" fmla="*/ 2147483647 w 1350"/>
                  <a:gd name="T1" fmla="*/ 2147483647 h 1518"/>
                  <a:gd name="T2" fmla="*/ 2147483647 w 1350"/>
                  <a:gd name="T3" fmla="*/ 2147483647 h 1518"/>
                  <a:gd name="T4" fmla="*/ 2147483647 w 1350"/>
                  <a:gd name="T5" fmla="*/ 2147483647 h 1518"/>
                  <a:gd name="T6" fmla="*/ 2147483647 w 1350"/>
                  <a:gd name="T7" fmla="*/ 2147483647 h 1518"/>
                  <a:gd name="T8" fmla="*/ 2147483647 w 1350"/>
                  <a:gd name="T9" fmla="*/ 2147483647 h 1518"/>
                  <a:gd name="T10" fmla="*/ 2147483647 w 1350"/>
                  <a:gd name="T11" fmla="*/ 2147483647 h 1518"/>
                  <a:gd name="T12" fmla="*/ 2147483647 w 1350"/>
                  <a:gd name="T13" fmla="*/ 2147483647 h 1518"/>
                  <a:gd name="T14" fmla="*/ 2147483647 w 1350"/>
                  <a:gd name="T15" fmla="*/ 2147483647 h 1518"/>
                  <a:gd name="T16" fmla="*/ 2147483647 w 1350"/>
                  <a:gd name="T17" fmla="*/ 2147483647 h 1518"/>
                  <a:gd name="T18" fmla="*/ 2147483647 w 1350"/>
                  <a:gd name="T19" fmla="*/ 2147483647 h 1518"/>
                  <a:gd name="T20" fmla="*/ 2147483647 w 1350"/>
                  <a:gd name="T21" fmla="*/ 2147483647 h 1518"/>
                  <a:gd name="T22" fmla="*/ 2147483647 w 1350"/>
                  <a:gd name="T23" fmla="*/ 2147483647 h 1518"/>
                  <a:gd name="T24" fmla="*/ 2147483647 w 1350"/>
                  <a:gd name="T25" fmla="*/ 2147483647 h 1518"/>
                  <a:gd name="T26" fmla="*/ 2147483647 w 1350"/>
                  <a:gd name="T27" fmla="*/ 2147483647 h 1518"/>
                  <a:gd name="T28" fmla="*/ 2147483647 w 1350"/>
                  <a:gd name="T29" fmla="*/ 2147483647 h 1518"/>
                  <a:gd name="T30" fmla="*/ 2147483647 w 1350"/>
                  <a:gd name="T31" fmla="*/ 2147483647 h 1518"/>
                  <a:gd name="T32" fmla="*/ 2147483647 w 1350"/>
                  <a:gd name="T33" fmla="*/ 2147483647 h 1518"/>
                  <a:gd name="T34" fmla="*/ 2147483647 w 1350"/>
                  <a:gd name="T35" fmla="*/ 2147483647 h 1518"/>
                  <a:gd name="T36" fmla="*/ 2147483647 w 1350"/>
                  <a:gd name="T37" fmla="*/ 2147483647 h 1518"/>
                  <a:gd name="T38" fmla="*/ 2147483647 w 1350"/>
                  <a:gd name="T39" fmla="*/ 2147483647 h 1518"/>
                  <a:gd name="T40" fmla="*/ 2147483647 w 1350"/>
                  <a:gd name="T41" fmla="*/ 2147483647 h 1518"/>
                  <a:gd name="T42" fmla="*/ 2147483647 w 1350"/>
                  <a:gd name="T43" fmla="*/ 2147483647 h 1518"/>
                  <a:gd name="T44" fmla="*/ 2147483647 w 1350"/>
                  <a:gd name="T45" fmla="*/ 2147483647 h 1518"/>
                  <a:gd name="T46" fmla="*/ 2147483647 w 1350"/>
                  <a:gd name="T47" fmla="*/ 2147483647 h 1518"/>
                  <a:gd name="T48" fmla="*/ 2147483647 w 1350"/>
                  <a:gd name="T49" fmla="*/ 2147483647 h 1518"/>
                  <a:gd name="T50" fmla="*/ 2147483647 w 1350"/>
                  <a:gd name="T51" fmla="*/ 2147483647 h 1518"/>
                  <a:gd name="T52" fmla="*/ 2147483647 w 1350"/>
                  <a:gd name="T53" fmla="*/ 2147483647 h 1518"/>
                  <a:gd name="T54" fmla="*/ 2147483647 w 1350"/>
                  <a:gd name="T55" fmla="*/ 2147483647 h 1518"/>
                  <a:gd name="T56" fmla="*/ 2147483647 w 1350"/>
                  <a:gd name="T57" fmla="*/ 2147483647 h 1518"/>
                  <a:gd name="T58" fmla="*/ 2147483647 w 1350"/>
                  <a:gd name="T59" fmla="*/ 2147483647 h 1518"/>
                  <a:gd name="T60" fmla="*/ 2147483647 w 1350"/>
                  <a:gd name="T61" fmla="*/ 2147483647 h 1518"/>
                  <a:gd name="T62" fmla="*/ 2147483647 w 1350"/>
                  <a:gd name="T63" fmla="*/ 2147483647 h 1518"/>
                  <a:gd name="T64" fmla="*/ 2147483647 w 1350"/>
                  <a:gd name="T65" fmla="*/ 2147483647 h 1518"/>
                  <a:gd name="T66" fmla="*/ 2147483647 w 1350"/>
                  <a:gd name="T67" fmla="*/ 2147483647 h 1518"/>
                  <a:gd name="T68" fmla="*/ 2147483647 w 1350"/>
                  <a:gd name="T69" fmla="*/ 2147483647 h 1518"/>
                  <a:gd name="T70" fmla="*/ 2147483647 w 1350"/>
                  <a:gd name="T71" fmla="*/ 2147483647 h 1518"/>
                  <a:gd name="T72" fmla="*/ 2147483647 w 1350"/>
                  <a:gd name="T73" fmla="*/ 2147483647 h 1518"/>
                  <a:gd name="T74" fmla="*/ 2147483647 w 1350"/>
                  <a:gd name="T75" fmla="*/ 2147483647 h 1518"/>
                  <a:gd name="T76" fmla="*/ 2147483647 w 1350"/>
                  <a:gd name="T77" fmla="*/ 2147483647 h 1518"/>
                  <a:gd name="T78" fmla="*/ 2147483647 w 1350"/>
                  <a:gd name="T79" fmla="*/ 2147483647 h 1518"/>
                  <a:gd name="T80" fmla="*/ 2147483647 w 1350"/>
                  <a:gd name="T81" fmla="*/ 2147483647 h 1518"/>
                  <a:gd name="T82" fmla="*/ 2147483647 w 1350"/>
                  <a:gd name="T83" fmla="*/ 2147483647 h 1518"/>
                  <a:gd name="T84" fmla="*/ 2147483647 w 1350"/>
                  <a:gd name="T85" fmla="*/ 2147483647 h 1518"/>
                  <a:gd name="T86" fmla="*/ 2147483647 w 1350"/>
                  <a:gd name="T87" fmla="*/ 2147483647 h 1518"/>
                  <a:gd name="T88" fmla="*/ 2147483647 w 1350"/>
                  <a:gd name="T89" fmla="*/ 2147483647 h 1518"/>
                  <a:gd name="T90" fmla="*/ 2147483647 w 1350"/>
                  <a:gd name="T91" fmla="*/ 2147483647 h 1518"/>
                  <a:gd name="T92" fmla="*/ 2147483647 w 1350"/>
                  <a:gd name="T93" fmla="*/ 2147483647 h 1518"/>
                  <a:gd name="T94" fmla="*/ 2147483647 w 1350"/>
                  <a:gd name="T95" fmla="*/ 2147483647 h 1518"/>
                  <a:gd name="T96" fmla="*/ 2147483647 w 1350"/>
                  <a:gd name="T97" fmla="*/ 2147483647 h 1518"/>
                  <a:gd name="T98" fmla="*/ 2147483647 w 1350"/>
                  <a:gd name="T99" fmla="*/ 2147483647 h 1518"/>
                  <a:gd name="T100" fmla="*/ 2147483647 w 1350"/>
                  <a:gd name="T101" fmla="*/ 2147483647 h 1518"/>
                  <a:gd name="T102" fmla="*/ 2147483647 w 1350"/>
                  <a:gd name="T103" fmla="*/ 2147483647 h 1518"/>
                  <a:gd name="T104" fmla="*/ 2147483647 w 1350"/>
                  <a:gd name="T105" fmla="*/ 2147483647 h 1518"/>
                  <a:gd name="T106" fmla="*/ 2147483647 w 1350"/>
                  <a:gd name="T107" fmla="*/ 2147483647 h 1518"/>
                  <a:gd name="T108" fmla="*/ 2147483647 w 1350"/>
                  <a:gd name="T109" fmla="*/ 2147483647 h 1518"/>
                  <a:gd name="T110" fmla="*/ 2147483647 w 1350"/>
                  <a:gd name="T111" fmla="*/ 2147483647 h 1518"/>
                  <a:gd name="T112" fmla="*/ 2147483647 w 1350"/>
                  <a:gd name="T113" fmla="*/ 2147483647 h 1518"/>
                  <a:gd name="T114" fmla="*/ 2147483647 w 1350"/>
                  <a:gd name="T115" fmla="*/ 2147483647 h 1518"/>
                  <a:gd name="T116" fmla="*/ 2147483647 w 1350"/>
                  <a:gd name="T117" fmla="*/ 2147483647 h 1518"/>
                  <a:gd name="T118" fmla="*/ 2147483647 w 1350"/>
                  <a:gd name="T119" fmla="*/ 2147483647 h 1518"/>
                  <a:gd name="T120" fmla="*/ 2147483647 w 1350"/>
                  <a:gd name="T121" fmla="*/ 2147483647 h 1518"/>
                  <a:gd name="T122" fmla="*/ 2147483647 w 1350"/>
                  <a:gd name="T123" fmla="*/ 2147483647 h 1518"/>
                  <a:gd name="T124" fmla="*/ 2147483647 w 1350"/>
                  <a:gd name="T125" fmla="*/ 2147483647 h 1518"/>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1350"/>
                  <a:gd name="T190" fmla="*/ 0 h 1518"/>
                  <a:gd name="T191" fmla="*/ 1350 w 1350"/>
                  <a:gd name="T192" fmla="*/ 1518 h 1518"/>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1350" h="1518">
                    <a:moveTo>
                      <a:pt x="1242" y="468"/>
                    </a:moveTo>
                    <a:lnTo>
                      <a:pt x="1242" y="438"/>
                    </a:lnTo>
                    <a:lnTo>
                      <a:pt x="1260" y="366"/>
                    </a:lnTo>
                    <a:lnTo>
                      <a:pt x="1278" y="354"/>
                    </a:lnTo>
                    <a:lnTo>
                      <a:pt x="1278" y="342"/>
                    </a:lnTo>
                    <a:lnTo>
                      <a:pt x="1302" y="330"/>
                    </a:lnTo>
                    <a:lnTo>
                      <a:pt x="1308" y="318"/>
                    </a:lnTo>
                    <a:lnTo>
                      <a:pt x="1320" y="312"/>
                    </a:lnTo>
                    <a:lnTo>
                      <a:pt x="1332" y="288"/>
                    </a:lnTo>
                    <a:lnTo>
                      <a:pt x="1344" y="276"/>
                    </a:lnTo>
                    <a:lnTo>
                      <a:pt x="1350" y="264"/>
                    </a:lnTo>
                    <a:lnTo>
                      <a:pt x="1350" y="252"/>
                    </a:lnTo>
                    <a:lnTo>
                      <a:pt x="1344" y="246"/>
                    </a:lnTo>
                    <a:lnTo>
                      <a:pt x="1332" y="240"/>
                    </a:lnTo>
                    <a:lnTo>
                      <a:pt x="1320" y="240"/>
                    </a:lnTo>
                    <a:lnTo>
                      <a:pt x="1314" y="234"/>
                    </a:lnTo>
                    <a:lnTo>
                      <a:pt x="1314" y="222"/>
                    </a:lnTo>
                    <a:lnTo>
                      <a:pt x="1320" y="210"/>
                    </a:lnTo>
                    <a:lnTo>
                      <a:pt x="1326" y="204"/>
                    </a:lnTo>
                    <a:lnTo>
                      <a:pt x="1326" y="198"/>
                    </a:lnTo>
                    <a:lnTo>
                      <a:pt x="1320" y="192"/>
                    </a:lnTo>
                    <a:lnTo>
                      <a:pt x="1308" y="186"/>
                    </a:lnTo>
                    <a:lnTo>
                      <a:pt x="1326" y="168"/>
                    </a:lnTo>
                    <a:lnTo>
                      <a:pt x="1320" y="144"/>
                    </a:lnTo>
                    <a:lnTo>
                      <a:pt x="1302" y="144"/>
                    </a:lnTo>
                    <a:lnTo>
                      <a:pt x="1296" y="120"/>
                    </a:lnTo>
                    <a:lnTo>
                      <a:pt x="1290" y="120"/>
                    </a:lnTo>
                    <a:lnTo>
                      <a:pt x="1284" y="114"/>
                    </a:lnTo>
                    <a:lnTo>
                      <a:pt x="1272" y="108"/>
                    </a:lnTo>
                    <a:lnTo>
                      <a:pt x="1260" y="96"/>
                    </a:lnTo>
                    <a:lnTo>
                      <a:pt x="1254" y="84"/>
                    </a:lnTo>
                    <a:lnTo>
                      <a:pt x="1248" y="66"/>
                    </a:lnTo>
                    <a:lnTo>
                      <a:pt x="1236" y="60"/>
                    </a:lnTo>
                    <a:lnTo>
                      <a:pt x="1230" y="54"/>
                    </a:lnTo>
                    <a:lnTo>
                      <a:pt x="1218" y="66"/>
                    </a:lnTo>
                    <a:lnTo>
                      <a:pt x="1218" y="72"/>
                    </a:lnTo>
                    <a:lnTo>
                      <a:pt x="1206" y="84"/>
                    </a:lnTo>
                    <a:lnTo>
                      <a:pt x="1200" y="84"/>
                    </a:lnTo>
                    <a:lnTo>
                      <a:pt x="1188" y="78"/>
                    </a:lnTo>
                    <a:lnTo>
                      <a:pt x="1188" y="72"/>
                    </a:lnTo>
                    <a:lnTo>
                      <a:pt x="1176" y="66"/>
                    </a:lnTo>
                    <a:lnTo>
                      <a:pt x="1164" y="66"/>
                    </a:lnTo>
                    <a:lnTo>
                      <a:pt x="1158" y="72"/>
                    </a:lnTo>
                    <a:lnTo>
                      <a:pt x="1152" y="84"/>
                    </a:lnTo>
                    <a:lnTo>
                      <a:pt x="1146" y="90"/>
                    </a:lnTo>
                    <a:lnTo>
                      <a:pt x="1098" y="66"/>
                    </a:lnTo>
                    <a:lnTo>
                      <a:pt x="1098" y="42"/>
                    </a:lnTo>
                    <a:lnTo>
                      <a:pt x="1068" y="18"/>
                    </a:lnTo>
                    <a:lnTo>
                      <a:pt x="1062" y="6"/>
                    </a:lnTo>
                    <a:lnTo>
                      <a:pt x="1044" y="24"/>
                    </a:lnTo>
                    <a:lnTo>
                      <a:pt x="1026" y="30"/>
                    </a:lnTo>
                    <a:lnTo>
                      <a:pt x="1002" y="30"/>
                    </a:lnTo>
                    <a:lnTo>
                      <a:pt x="990" y="18"/>
                    </a:lnTo>
                    <a:lnTo>
                      <a:pt x="990" y="12"/>
                    </a:lnTo>
                    <a:lnTo>
                      <a:pt x="954" y="18"/>
                    </a:lnTo>
                    <a:lnTo>
                      <a:pt x="942" y="6"/>
                    </a:lnTo>
                    <a:lnTo>
                      <a:pt x="942" y="0"/>
                    </a:lnTo>
                    <a:lnTo>
                      <a:pt x="936" y="0"/>
                    </a:lnTo>
                    <a:lnTo>
                      <a:pt x="918" y="18"/>
                    </a:lnTo>
                    <a:lnTo>
                      <a:pt x="918" y="30"/>
                    </a:lnTo>
                    <a:lnTo>
                      <a:pt x="906" y="30"/>
                    </a:lnTo>
                    <a:lnTo>
                      <a:pt x="900" y="36"/>
                    </a:lnTo>
                    <a:lnTo>
                      <a:pt x="876" y="36"/>
                    </a:lnTo>
                    <a:lnTo>
                      <a:pt x="864" y="24"/>
                    </a:lnTo>
                    <a:lnTo>
                      <a:pt x="840" y="42"/>
                    </a:lnTo>
                    <a:lnTo>
                      <a:pt x="822" y="42"/>
                    </a:lnTo>
                    <a:lnTo>
                      <a:pt x="810" y="54"/>
                    </a:lnTo>
                    <a:lnTo>
                      <a:pt x="798" y="60"/>
                    </a:lnTo>
                    <a:lnTo>
                      <a:pt x="792" y="66"/>
                    </a:lnTo>
                    <a:lnTo>
                      <a:pt x="786" y="66"/>
                    </a:lnTo>
                    <a:lnTo>
                      <a:pt x="762" y="42"/>
                    </a:lnTo>
                    <a:lnTo>
                      <a:pt x="756" y="54"/>
                    </a:lnTo>
                    <a:lnTo>
                      <a:pt x="738" y="72"/>
                    </a:lnTo>
                    <a:lnTo>
                      <a:pt x="738" y="84"/>
                    </a:lnTo>
                    <a:lnTo>
                      <a:pt x="732" y="90"/>
                    </a:lnTo>
                    <a:lnTo>
                      <a:pt x="726" y="102"/>
                    </a:lnTo>
                    <a:lnTo>
                      <a:pt x="720" y="108"/>
                    </a:lnTo>
                    <a:lnTo>
                      <a:pt x="708" y="102"/>
                    </a:lnTo>
                    <a:lnTo>
                      <a:pt x="702" y="96"/>
                    </a:lnTo>
                    <a:lnTo>
                      <a:pt x="690" y="90"/>
                    </a:lnTo>
                    <a:lnTo>
                      <a:pt x="642" y="90"/>
                    </a:lnTo>
                    <a:lnTo>
                      <a:pt x="630" y="84"/>
                    </a:lnTo>
                    <a:lnTo>
                      <a:pt x="624" y="78"/>
                    </a:lnTo>
                    <a:lnTo>
                      <a:pt x="582" y="78"/>
                    </a:lnTo>
                    <a:lnTo>
                      <a:pt x="582" y="48"/>
                    </a:lnTo>
                    <a:lnTo>
                      <a:pt x="576" y="42"/>
                    </a:lnTo>
                    <a:lnTo>
                      <a:pt x="558" y="42"/>
                    </a:lnTo>
                    <a:lnTo>
                      <a:pt x="558" y="30"/>
                    </a:lnTo>
                    <a:lnTo>
                      <a:pt x="546" y="24"/>
                    </a:lnTo>
                    <a:lnTo>
                      <a:pt x="534" y="24"/>
                    </a:lnTo>
                    <a:lnTo>
                      <a:pt x="516" y="18"/>
                    </a:lnTo>
                    <a:lnTo>
                      <a:pt x="504" y="18"/>
                    </a:lnTo>
                    <a:lnTo>
                      <a:pt x="492" y="24"/>
                    </a:lnTo>
                    <a:lnTo>
                      <a:pt x="486" y="30"/>
                    </a:lnTo>
                    <a:lnTo>
                      <a:pt x="486" y="36"/>
                    </a:lnTo>
                    <a:lnTo>
                      <a:pt x="480" y="48"/>
                    </a:lnTo>
                    <a:lnTo>
                      <a:pt x="480" y="54"/>
                    </a:lnTo>
                    <a:lnTo>
                      <a:pt x="474" y="66"/>
                    </a:lnTo>
                    <a:lnTo>
                      <a:pt x="462" y="78"/>
                    </a:lnTo>
                    <a:lnTo>
                      <a:pt x="456" y="78"/>
                    </a:lnTo>
                    <a:lnTo>
                      <a:pt x="444" y="90"/>
                    </a:lnTo>
                    <a:lnTo>
                      <a:pt x="444" y="102"/>
                    </a:lnTo>
                    <a:lnTo>
                      <a:pt x="450" y="102"/>
                    </a:lnTo>
                    <a:lnTo>
                      <a:pt x="450" y="120"/>
                    </a:lnTo>
                    <a:lnTo>
                      <a:pt x="438" y="138"/>
                    </a:lnTo>
                    <a:lnTo>
                      <a:pt x="450" y="150"/>
                    </a:lnTo>
                    <a:lnTo>
                      <a:pt x="450" y="186"/>
                    </a:lnTo>
                    <a:lnTo>
                      <a:pt x="444" y="198"/>
                    </a:lnTo>
                    <a:lnTo>
                      <a:pt x="438" y="216"/>
                    </a:lnTo>
                    <a:lnTo>
                      <a:pt x="426" y="228"/>
                    </a:lnTo>
                    <a:lnTo>
                      <a:pt x="414" y="252"/>
                    </a:lnTo>
                    <a:lnTo>
                      <a:pt x="408" y="258"/>
                    </a:lnTo>
                    <a:lnTo>
                      <a:pt x="408" y="288"/>
                    </a:lnTo>
                    <a:lnTo>
                      <a:pt x="414" y="300"/>
                    </a:lnTo>
                    <a:lnTo>
                      <a:pt x="414" y="324"/>
                    </a:lnTo>
                    <a:lnTo>
                      <a:pt x="396" y="360"/>
                    </a:lnTo>
                    <a:lnTo>
                      <a:pt x="396" y="372"/>
                    </a:lnTo>
                    <a:lnTo>
                      <a:pt x="402" y="378"/>
                    </a:lnTo>
                    <a:lnTo>
                      <a:pt x="408" y="390"/>
                    </a:lnTo>
                    <a:lnTo>
                      <a:pt x="408" y="414"/>
                    </a:lnTo>
                    <a:lnTo>
                      <a:pt x="402" y="426"/>
                    </a:lnTo>
                    <a:lnTo>
                      <a:pt x="390" y="432"/>
                    </a:lnTo>
                    <a:lnTo>
                      <a:pt x="390" y="486"/>
                    </a:lnTo>
                    <a:lnTo>
                      <a:pt x="384" y="492"/>
                    </a:lnTo>
                    <a:lnTo>
                      <a:pt x="372" y="498"/>
                    </a:lnTo>
                    <a:lnTo>
                      <a:pt x="366" y="510"/>
                    </a:lnTo>
                    <a:lnTo>
                      <a:pt x="318" y="534"/>
                    </a:lnTo>
                    <a:lnTo>
                      <a:pt x="312" y="540"/>
                    </a:lnTo>
                    <a:lnTo>
                      <a:pt x="306" y="552"/>
                    </a:lnTo>
                    <a:lnTo>
                      <a:pt x="306" y="588"/>
                    </a:lnTo>
                    <a:lnTo>
                      <a:pt x="282" y="612"/>
                    </a:lnTo>
                    <a:lnTo>
                      <a:pt x="276" y="612"/>
                    </a:lnTo>
                    <a:lnTo>
                      <a:pt x="282" y="714"/>
                    </a:lnTo>
                    <a:lnTo>
                      <a:pt x="252" y="756"/>
                    </a:lnTo>
                    <a:lnTo>
                      <a:pt x="246" y="762"/>
                    </a:lnTo>
                    <a:lnTo>
                      <a:pt x="228" y="762"/>
                    </a:lnTo>
                    <a:lnTo>
                      <a:pt x="216" y="774"/>
                    </a:lnTo>
                    <a:lnTo>
                      <a:pt x="210" y="786"/>
                    </a:lnTo>
                    <a:lnTo>
                      <a:pt x="192" y="804"/>
                    </a:lnTo>
                    <a:lnTo>
                      <a:pt x="186" y="816"/>
                    </a:lnTo>
                    <a:lnTo>
                      <a:pt x="180" y="822"/>
                    </a:lnTo>
                    <a:lnTo>
                      <a:pt x="168" y="828"/>
                    </a:lnTo>
                    <a:lnTo>
                      <a:pt x="150" y="828"/>
                    </a:lnTo>
                    <a:lnTo>
                      <a:pt x="144" y="822"/>
                    </a:lnTo>
                    <a:lnTo>
                      <a:pt x="150" y="810"/>
                    </a:lnTo>
                    <a:lnTo>
                      <a:pt x="150" y="780"/>
                    </a:lnTo>
                    <a:lnTo>
                      <a:pt x="144" y="780"/>
                    </a:lnTo>
                    <a:lnTo>
                      <a:pt x="126" y="798"/>
                    </a:lnTo>
                    <a:lnTo>
                      <a:pt x="102" y="792"/>
                    </a:lnTo>
                    <a:lnTo>
                      <a:pt x="102" y="810"/>
                    </a:lnTo>
                    <a:lnTo>
                      <a:pt x="96" y="822"/>
                    </a:lnTo>
                    <a:lnTo>
                      <a:pt x="90" y="828"/>
                    </a:lnTo>
                    <a:lnTo>
                      <a:pt x="78" y="828"/>
                    </a:lnTo>
                    <a:lnTo>
                      <a:pt x="72" y="822"/>
                    </a:lnTo>
                    <a:lnTo>
                      <a:pt x="72" y="816"/>
                    </a:lnTo>
                    <a:lnTo>
                      <a:pt x="66" y="810"/>
                    </a:lnTo>
                    <a:lnTo>
                      <a:pt x="66" y="804"/>
                    </a:lnTo>
                    <a:lnTo>
                      <a:pt x="54" y="804"/>
                    </a:lnTo>
                    <a:lnTo>
                      <a:pt x="48" y="816"/>
                    </a:lnTo>
                    <a:lnTo>
                      <a:pt x="12" y="846"/>
                    </a:lnTo>
                    <a:lnTo>
                      <a:pt x="18" y="858"/>
                    </a:lnTo>
                    <a:lnTo>
                      <a:pt x="18" y="864"/>
                    </a:lnTo>
                    <a:lnTo>
                      <a:pt x="24" y="876"/>
                    </a:lnTo>
                    <a:lnTo>
                      <a:pt x="24" y="882"/>
                    </a:lnTo>
                    <a:lnTo>
                      <a:pt x="18" y="888"/>
                    </a:lnTo>
                    <a:lnTo>
                      <a:pt x="6" y="894"/>
                    </a:lnTo>
                    <a:lnTo>
                      <a:pt x="0" y="900"/>
                    </a:lnTo>
                    <a:lnTo>
                      <a:pt x="6" y="906"/>
                    </a:lnTo>
                    <a:lnTo>
                      <a:pt x="6" y="912"/>
                    </a:lnTo>
                    <a:lnTo>
                      <a:pt x="18" y="918"/>
                    </a:lnTo>
                    <a:lnTo>
                      <a:pt x="18" y="924"/>
                    </a:lnTo>
                    <a:lnTo>
                      <a:pt x="54" y="906"/>
                    </a:lnTo>
                    <a:lnTo>
                      <a:pt x="78" y="912"/>
                    </a:lnTo>
                    <a:lnTo>
                      <a:pt x="84" y="906"/>
                    </a:lnTo>
                    <a:lnTo>
                      <a:pt x="96" y="912"/>
                    </a:lnTo>
                    <a:lnTo>
                      <a:pt x="120" y="906"/>
                    </a:lnTo>
                    <a:lnTo>
                      <a:pt x="132" y="912"/>
                    </a:lnTo>
                    <a:lnTo>
                      <a:pt x="162" y="912"/>
                    </a:lnTo>
                    <a:lnTo>
                      <a:pt x="174" y="906"/>
                    </a:lnTo>
                    <a:lnTo>
                      <a:pt x="186" y="906"/>
                    </a:lnTo>
                    <a:lnTo>
                      <a:pt x="198" y="912"/>
                    </a:lnTo>
                    <a:lnTo>
                      <a:pt x="228" y="912"/>
                    </a:lnTo>
                    <a:lnTo>
                      <a:pt x="246" y="906"/>
                    </a:lnTo>
                    <a:lnTo>
                      <a:pt x="270" y="906"/>
                    </a:lnTo>
                    <a:lnTo>
                      <a:pt x="276" y="900"/>
                    </a:lnTo>
                    <a:lnTo>
                      <a:pt x="294" y="900"/>
                    </a:lnTo>
                    <a:lnTo>
                      <a:pt x="300" y="906"/>
                    </a:lnTo>
                    <a:lnTo>
                      <a:pt x="306" y="918"/>
                    </a:lnTo>
                    <a:lnTo>
                      <a:pt x="318" y="930"/>
                    </a:lnTo>
                    <a:lnTo>
                      <a:pt x="318" y="972"/>
                    </a:lnTo>
                    <a:lnTo>
                      <a:pt x="336" y="990"/>
                    </a:lnTo>
                    <a:lnTo>
                      <a:pt x="336" y="1014"/>
                    </a:lnTo>
                    <a:lnTo>
                      <a:pt x="330" y="1020"/>
                    </a:lnTo>
                    <a:lnTo>
                      <a:pt x="330" y="1026"/>
                    </a:lnTo>
                    <a:lnTo>
                      <a:pt x="336" y="1032"/>
                    </a:lnTo>
                    <a:lnTo>
                      <a:pt x="342" y="1032"/>
                    </a:lnTo>
                    <a:lnTo>
                      <a:pt x="354" y="1044"/>
                    </a:lnTo>
                    <a:lnTo>
                      <a:pt x="354" y="1056"/>
                    </a:lnTo>
                    <a:lnTo>
                      <a:pt x="360" y="1062"/>
                    </a:lnTo>
                    <a:lnTo>
                      <a:pt x="372" y="1086"/>
                    </a:lnTo>
                    <a:lnTo>
                      <a:pt x="402" y="1086"/>
                    </a:lnTo>
                    <a:lnTo>
                      <a:pt x="414" y="1092"/>
                    </a:lnTo>
                    <a:lnTo>
                      <a:pt x="420" y="1080"/>
                    </a:lnTo>
                    <a:lnTo>
                      <a:pt x="444" y="1080"/>
                    </a:lnTo>
                    <a:lnTo>
                      <a:pt x="456" y="1074"/>
                    </a:lnTo>
                    <a:lnTo>
                      <a:pt x="462" y="1080"/>
                    </a:lnTo>
                    <a:lnTo>
                      <a:pt x="504" y="1074"/>
                    </a:lnTo>
                    <a:lnTo>
                      <a:pt x="504" y="1056"/>
                    </a:lnTo>
                    <a:lnTo>
                      <a:pt x="510" y="1050"/>
                    </a:lnTo>
                    <a:lnTo>
                      <a:pt x="510" y="1044"/>
                    </a:lnTo>
                    <a:lnTo>
                      <a:pt x="522" y="1044"/>
                    </a:lnTo>
                    <a:lnTo>
                      <a:pt x="522" y="1032"/>
                    </a:lnTo>
                    <a:lnTo>
                      <a:pt x="516" y="1020"/>
                    </a:lnTo>
                    <a:lnTo>
                      <a:pt x="510" y="1014"/>
                    </a:lnTo>
                    <a:lnTo>
                      <a:pt x="510" y="1008"/>
                    </a:lnTo>
                    <a:lnTo>
                      <a:pt x="516" y="1002"/>
                    </a:lnTo>
                    <a:lnTo>
                      <a:pt x="564" y="1002"/>
                    </a:lnTo>
                    <a:lnTo>
                      <a:pt x="564" y="996"/>
                    </a:lnTo>
                    <a:lnTo>
                      <a:pt x="576" y="996"/>
                    </a:lnTo>
                    <a:lnTo>
                      <a:pt x="588" y="1002"/>
                    </a:lnTo>
                    <a:lnTo>
                      <a:pt x="588" y="1026"/>
                    </a:lnTo>
                    <a:lnTo>
                      <a:pt x="678" y="1026"/>
                    </a:lnTo>
                    <a:lnTo>
                      <a:pt x="678" y="1050"/>
                    </a:lnTo>
                    <a:lnTo>
                      <a:pt x="666" y="1068"/>
                    </a:lnTo>
                    <a:lnTo>
                      <a:pt x="672" y="1086"/>
                    </a:lnTo>
                    <a:lnTo>
                      <a:pt x="684" y="1098"/>
                    </a:lnTo>
                    <a:lnTo>
                      <a:pt x="690" y="1110"/>
                    </a:lnTo>
                    <a:lnTo>
                      <a:pt x="690" y="1122"/>
                    </a:lnTo>
                    <a:lnTo>
                      <a:pt x="684" y="1134"/>
                    </a:lnTo>
                    <a:lnTo>
                      <a:pt x="678" y="1140"/>
                    </a:lnTo>
                    <a:lnTo>
                      <a:pt x="684" y="1164"/>
                    </a:lnTo>
                    <a:lnTo>
                      <a:pt x="684" y="1176"/>
                    </a:lnTo>
                    <a:lnTo>
                      <a:pt x="678" y="1182"/>
                    </a:lnTo>
                    <a:lnTo>
                      <a:pt x="678" y="1194"/>
                    </a:lnTo>
                    <a:lnTo>
                      <a:pt x="684" y="1212"/>
                    </a:lnTo>
                    <a:lnTo>
                      <a:pt x="696" y="1230"/>
                    </a:lnTo>
                    <a:lnTo>
                      <a:pt x="708" y="1254"/>
                    </a:lnTo>
                    <a:lnTo>
                      <a:pt x="714" y="1260"/>
                    </a:lnTo>
                    <a:lnTo>
                      <a:pt x="714" y="1278"/>
                    </a:lnTo>
                    <a:lnTo>
                      <a:pt x="708" y="1290"/>
                    </a:lnTo>
                    <a:lnTo>
                      <a:pt x="708" y="1302"/>
                    </a:lnTo>
                    <a:lnTo>
                      <a:pt x="702" y="1308"/>
                    </a:lnTo>
                    <a:lnTo>
                      <a:pt x="702" y="1332"/>
                    </a:lnTo>
                    <a:lnTo>
                      <a:pt x="708" y="1338"/>
                    </a:lnTo>
                    <a:lnTo>
                      <a:pt x="714" y="1338"/>
                    </a:lnTo>
                    <a:lnTo>
                      <a:pt x="720" y="1344"/>
                    </a:lnTo>
                    <a:lnTo>
                      <a:pt x="726" y="1326"/>
                    </a:lnTo>
                    <a:lnTo>
                      <a:pt x="756" y="1332"/>
                    </a:lnTo>
                    <a:lnTo>
                      <a:pt x="780" y="1326"/>
                    </a:lnTo>
                    <a:lnTo>
                      <a:pt x="780" y="1314"/>
                    </a:lnTo>
                    <a:lnTo>
                      <a:pt x="792" y="1314"/>
                    </a:lnTo>
                    <a:lnTo>
                      <a:pt x="804" y="1326"/>
                    </a:lnTo>
                    <a:lnTo>
                      <a:pt x="828" y="1326"/>
                    </a:lnTo>
                    <a:lnTo>
                      <a:pt x="834" y="1308"/>
                    </a:lnTo>
                    <a:lnTo>
                      <a:pt x="840" y="1320"/>
                    </a:lnTo>
                    <a:lnTo>
                      <a:pt x="858" y="1320"/>
                    </a:lnTo>
                    <a:lnTo>
                      <a:pt x="858" y="1350"/>
                    </a:lnTo>
                    <a:lnTo>
                      <a:pt x="864" y="1356"/>
                    </a:lnTo>
                    <a:lnTo>
                      <a:pt x="882" y="1356"/>
                    </a:lnTo>
                    <a:lnTo>
                      <a:pt x="882" y="1350"/>
                    </a:lnTo>
                    <a:lnTo>
                      <a:pt x="876" y="1344"/>
                    </a:lnTo>
                    <a:lnTo>
                      <a:pt x="918" y="1338"/>
                    </a:lnTo>
                    <a:lnTo>
                      <a:pt x="918" y="1356"/>
                    </a:lnTo>
                    <a:lnTo>
                      <a:pt x="924" y="1368"/>
                    </a:lnTo>
                    <a:lnTo>
                      <a:pt x="930" y="1374"/>
                    </a:lnTo>
                    <a:lnTo>
                      <a:pt x="948" y="1386"/>
                    </a:lnTo>
                    <a:lnTo>
                      <a:pt x="984" y="1392"/>
                    </a:lnTo>
                    <a:lnTo>
                      <a:pt x="1014" y="1398"/>
                    </a:lnTo>
                    <a:lnTo>
                      <a:pt x="1032" y="1398"/>
                    </a:lnTo>
                    <a:lnTo>
                      <a:pt x="1032" y="1392"/>
                    </a:lnTo>
                    <a:lnTo>
                      <a:pt x="1038" y="1386"/>
                    </a:lnTo>
                    <a:lnTo>
                      <a:pt x="1038" y="1368"/>
                    </a:lnTo>
                    <a:lnTo>
                      <a:pt x="1044" y="1362"/>
                    </a:lnTo>
                    <a:lnTo>
                      <a:pt x="1050" y="1362"/>
                    </a:lnTo>
                    <a:lnTo>
                      <a:pt x="1062" y="1374"/>
                    </a:lnTo>
                    <a:lnTo>
                      <a:pt x="1062" y="1386"/>
                    </a:lnTo>
                    <a:lnTo>
                      <a:pt x="1068" y="1392"/>
                    </a:lnTo>
                    <a:lnTo>
                      <a:pt x="1080" y="1392"/>
                    </a:lnTo>
                    <a:lnTo>
                      <a:pt x="1080" y="1404"/>
                    </a:lnTo>
                    <a:lnTo>
                      <a:pt x="1074" y="1404"/>
                    </a:lnTo>
                    <a:lnTo>
                      <a:pt x="1074" y="1416"/>
                    </a:lnTo>
                    <a:lnTo>
                      <a:pt x="1104" y="1416"/>
                    </a:lnTo>
                    <a:lnTo>
                      <a:pt x="1110" y="1422"/>
                    </a:lnTo>
                    <a:lnTo>
                      <a:pt x="1110" y="1434"/>
                    </a:lnTo>
                    <a:lnTo>
                      <a:pt x="1122" y="1434"/>
                    </a:lnTo>
                    <a:lnTo>
                      <a:pt x="1128" y="1428"/>
                    </a:lnTo>
                    <a:lnTo>
                      <a:pt x="1134" y="1428"/>
                    </a:lnTo>
                    <a:lnTo>
                      <a:pt x="1140" y="1434"/>
                    </a:lnTo>
                    <a:lnTo>
                      <a:pt x="1146" y="1446"/>
                    </a:lnTo>
                    <a:lnTo>
                      <a:pt x="1146" y="1452"/>
                    </a:lnTo>
                    <a:lnTo>
                      <a:pt x="1152" y="1464"/>
                    </a:lnTo>
                    <a:lnTo>
                      <a:pt x="1164" y="1464"/>
                    </a:lnTo>
                    <a:lnTo>
                      <a:pt x="1176" y="1476"/>
                    </a:lnTo>
                    <a:lnTo>
                      <a:pt x="1176" y="1488"/>
                    </a:lnTo>
                    <a:lnTo>
                      <a:pt x="1182" y="1500"/>
                    </a:lnTo>
                    <a:lnTo>
                      <a:pt x="1182" y="1512"/>
                    </a:lnTo>
                    <a:lnTo>
                      <a:pt x="1200" y="1512"/>
                    </a:lnTo>
                    <a:lnTo>
                      <a:pt x="1218" y="1500"/>
                    </a:lnTo>
                    <a:lnTo>
                      <a:pt x="1224" y="1512"/>
                    </a:lnTo>
                    <a:lnTo>
                      <a:pt x="1224" y="1518"/>
                    </a:lnTo>
                    <a:lnTo>
                      <a:pt x="1230" y="1518"/>
                    </a:lnTo>
                    <a:lnTo>
                      <a:pt x="1236" y="1500"/>
                    </a:lnTo>
                    <a:lnTo>
                      <a:pt x="1242" y="1464"/>
                    </a:lnTo>
                    <a:lnTo>
                      <a:pt x="1242" y="1416"/>
                    </a:lnTo>
                    <a:lnTo>
                      <a:pt x="1218" y="1416"/>
                    </a:lnTo>
                    <a:lnTo>
                      <a:pt x="1218" y="1434"/>
                    </a:lnTo>
                    <a:lnTo>
                      <a:pt x="1212" y="1440"/>
                    </a:lnTo>
                    <a:lnTo>
                      <a:pt x="1206" y="1440"/>
                    </a:lnTo>
                    <a:lnTo>
                      <a:pt x="1194" y="1434"/>
                    </a:lnTo>
                    <a:lnTo>
                      <a:pt x="1164" y="1404"/>
                    </a:lnTo>
                    <a:lnTo>
                      <a:pt x="1158" y="1404"/>
                    </a:lnTo>
                    <a:lnTo>
                      <a:pt x="1158" y="1398"/>
                    </a:lnTo>
                    <a:lnTo>
                      <a:pt x="1152" y="1398"/>
                    </a:lnTo>
                    <a:lnTo>
                      <a:pt x="1140" y="1386"/>
                    </a:lnTo>
                    <a:lnTo>
                      <a:pt x="1140" y="1362"/>
                    </a:lnTo>
                    <a:lnTo>
                      <a:pt x="1146" y="1350"/>
                    </a:lnTo>
                    <a:lnTo>
                      <a:pt x="1152" y="1332"/>
                    </a:lnTo>
                    <a:lnTo>
                      <a:pt x="1158" y="1320"/>
                    </a:lnTo>
                    <a:lnTo>
                      <a:pt x="1170" y="1308"/>
                    </a:lnTo>
                    <a:lnTo>
                      <a:pt x="1170" y="1254"/>
                    </a:lnTo>
                    <a:lnTo>
                      <a:pt x="1164" y="1236"/>
                    </a:lnTo>
                    <a:lnTo>
                      <a:pt x="1164" y="1212"/>
                    </a:lnTo>
                    <a:lnTo>
                      <a:pt x="1158" y="1206"/>
                    </a:lnTo>
                    <a:lnTo>
                      <a:pt x="1158" y="1200"/>
                    </a:lnTo>
                    <a:lnTo>
                      <a:pt x="1152" y="1194"/>
                    </a:lnTo>
                    <a:lnTo>
                      <a:pt x="1152" y="1188"/>
                    </a:lnTo>
                    <a:lnTo>
                      <a:pt x="1140" y="1176"/>
                    </a:lnTo>
                    <a:lnTo>
                      <a:pt x="1146" y="1176"/>
                    </a:lnTo>
                    <a:lnTo>
                      <a:pt x="1152" y="1170"/>
                    </a:lnTo>
                    <a:lnTo>
                      <a:pt x="1164" y="1164"/>
                    </a:lnTo>
                    <a:lnTo>
                      <a:pt x="1182" y="1146"/>
                    </a:lnTo>
                    <a:lnTo>
                      <a:pt x="1182" y="1116"/>
                    </a:lnTo>
                    <a:lnTo>
                      <a:pt x="1194" y="1116"/>
                    </a:lnTo>
                    <a:lnTo>
                      <a:pt x="1212" y="1110"/>
                    </a:lnTo>
                    <a:lnTo>
                      <a:pt x="1230" y="1110"/>
                    </a:lnTo>
                    <a:lnTo>
                      <a:pt x="1242" y="1104"/>
                    </a:lnTo>
                    <a:lnTo>
                      <a:pt x="1260" y="1104"/>
                    </a:lnTo>
                    <a:lnTo>
                      <a:pt x="1284" y="1092"/>
                    </a:lnTo>
                    <a:lnTo>
                      <a:pt x="1290" y="1092"/>
                    </a:lnTo>
                    <a:lnTo>
                      <a:pt x="1290" y="1086"/>
                    </a:lnTo>
                    <a:lnTo>
                      <a:pt x="1284" y="1074"/>
                    </a:lnTo>
                    <a:lnTo>
                      <a:pt x="1272" y="1062"/>
                    </a:lnTo>
                    <a:lnTo>
                      <a:pt x="1272" y="1014"/>
                    </a:lnTo>
                    <a:lnTo>
                      <a:pt x="1248" y="1014"/>
                    </a:lnTo>
                    <a:lnTo>
                      <a:pt x="1248" y="1008"/>
                    </a:lnTo>
                    <a:lnTo>
                      <a:pt x="1242" y="996"/>
                    </a:lnTo>
                    <a:lnTo>
                      <a:pt x="1242" y="978"/>
                    </a:lnTo>
                    <a:lnTo>
                      <a:pt x="1236" y="972"/>
                    </a:lnTo>
                    <a:lnTo>
                      <a:pt x="1224" y="966"/>
                    </a:lnTo>
                    <a:lnTo>
                      <a:pt x="1218" y="960"/>
                    </a:lnTo>
                    <a:lnTo>
                      <a:pt x="1206" y="936"/>
                    </a:lnTo>
                    <a:lnTo>
                      <a:pt x="1206" y="906"/>
                    </a:lnTo>
                    <a:lnTo>
                      <a:pt x="1212" y="900"/>
                    </a:lnTo>
                    <a:lnTo>
                      <a:pt x="1212" y="876"/>
                    </a:lnTo>
                    <a:lnTo>
                      <a:pt x="1200" y="864"/>
                    </a:lnTo>
                    <a:lnTo>
                      <a:pt x="1194" y="852"/>
                    </a:lnTo>
                    <a:lnTo>
                      <a:pt x="1194" y="804"/>
                    </a:lnTo>
                    <a:lnTo>
                      <a:pt x="1200" y="780"/>
                    </a:lnTo>
                    <a:lnTo>
                      <a:pt x="1200" y="750"/>
                    </a:lnTo>
                    <a:lnTo>
                      <a:pt x="1212" y="738"/>
                    </a:lnTo>
                    <a:lnTo>
                      <a:pt x="1218" y="744"/>
                    </a:lnTo>
                    <a:lnTo>
                      <a:pt x="1218" y="732"/>
                    </a:lnTo>
                    <a:lnTo>
                      <a:pt x="1224" y="726"/>
                    </a:lnTo>
                    <a:lnTo>
                      <a:pt x="1224" y="696"/>
                    </a:lnTo>
                    <a:lnTo>
                      <a:pt x="1218" y="690"/>
                    </a:lnTo>
                    <a:lnTo>
                      <a:pt x="1206" y="684"/>
                    </a:lnTo>
                    <a:lnTo>
                      <a:pt x="1200" y="678"/>
                    </a:lnTo>
                    <a:lnTo>
                      <a:pt x="1188" y="648"/>
                    </a:lnTo>
                    <a:lnTo>
                      <a:pt x="1182" y="642"/>
                    </a:lnTo>
                    <a:lnTo>
                      <a:pt x="1176" y="642"/>
                    </a:lnTo>
                    <a:lnTo>
                      <a:pt x="1176" y="636"/>
                    </a:lnTo>
                    <a:lnTo>
                      <a:pt x="1182" y="624"/>
                    </a:lnTo>
                    <a:lnTo>
                      <a:pt x="1194" y="618"/>
                    </a:lnTo>
                    <a:lnTo>
                      <a:pt x="1206" y="606"/>
                    </a:lnTo>
                    <a:lnTo>
                      <a:pt x="1206" y="594"/>
                    </a:lnTo>
                    <a:lnTo>
                      <a:pt x="1200" y="588"/>
                    </a:lnTo>
                    <a:lnTo>
                      <a:pt x="1194" y="576"/>
                    </a:lnTo>
                    <a:lnTo>
                      <a:pt x="1194" y="570"/>
                    </a:lnTo>
                    <a:lnTo>
                      <a:pt x="1200" y="564"/>
                    </a:lnTo>
                    <a:lnTo>
                      <a:pt x="1224" y="552"/>
                    </a:lnTo>
                    <a:lnTo>
                      <a:pt x="1230" y="546"/>
                    </a:lnTo>
                    <a:lnTo>
                      <a:pt x="1236" y="546"/>
                    </a:lnTo>
                    <a:lnTo>
                      <a:pt x="1242" y="468"/>
                    </a:lnTo>
                    <a:close/>
                  </a:path>
                </a:pathLst>
              </a:custGeom>
              <a:grpFill/>
              <a:ln w="3175">
                <a:solidFill>
                  <a:schemeClr val="bg1"/>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de-DE" sz="1800" b="0" i="0" u="none" strike="noStrike" kern="1200" cap="none" spc="0" normalizeH="0" baseline="0" noProof="0">
                  <a:ln>
                    <a:noFill/>
                  </a:ln>
                  <a:solidFill>
                    <a:srgbClr val="FFC000"/>
                  </a:solidFill>
                  <a:effectLst/>
                  <a:uLnTx/>
                  <a:uFillTx/>
                  <a:latin typeface="Calibri" pitchFamily="34" charset="0"/>
                  <a:ea typeface="+mn-ea"/>
                  <a:cs typeface="+mn-cs"/>
                </a:endParaRPr>
              </a:p>
            </p:txBody>
          </p:sp>
          <p:sp>
            <p:nvSpPr>
              <p:cNvPr id="192" name="Congo (Brazzaville)" descr="© INSCALE GmbH, 05.05.2010&#10;http://www.presentationload.com/"/>
              <p:cNvSpPr>
                <a:spLocks/>
              </p:cNvSpPr>
              <p:nvPr/>
            </p:nvSpPr>
            <p:spPr bwMode="gray">
              <a:xfrm>
                <a:off x="4722988" y="4210711"/>
                <a:ext cx="174058" cy="218013"/>
              </a:xfrm>
              <a:custGeom>
                <a:avLst/>
                <a:gdLst>
                  <a:gd name="T0" fmla="*/ 2147483647 w 534"/>
                  <a:gd name="T1" fmla="*/ 2147483647 h 702"/>
                  <a:gd name="T2" fmla="*/ 2147483647 w 534"/>
                  <a:gd name="T3" fmla="*/ 2147483647 h 702"/>
                  <a:gd name="T4" fmla="*/ 2147483647 w 534"/>
                  <a:gd name="T5" fmla="*/ 2147483647 h 702"/>
                  <a:gd name="T6" fmla="*/ 2147483647 w 534"/>
                  <a:gd name="T7" fmla="*/ 2147483647 h 702"/>
                  <a:gd name="T8" fmla="*/ 2147483647 w 534"/>
                  <a:gd name="T9" fmla="*/ 2147483647 h 702"/>
                  <a:gd name="T10" fmla="*/ 2147483647 w 534"/>
                  <a:gd name="T11" fmla="*/ 2147483647 h 702"/>
                  <a:gd name="T12" fmla="*/ 2147483647 w 534"/>
                  <a:gd name="T13" fmla="*/ 2147483647 h 702"/>
                  <a:gd name="T14" fmla="*/ 2147483647 w 534"/>
                  <a:gd name="T15" fmla="*/ 2147483647 h 702"/>
                  <a:gd name="T16" fmla="*/ 2147483647 w 534"/>
                  <a:gd name="T17" fmla="*/ 2147483647 h 702"/>
                  <a:gd name="T18" fmla="*/ 2147483647 w 534"/>
                  <a:gd name="T19" fmla="*/ 2147483647 h 702"/>
                  <a:gd name="T20" fmla="*/ 2147483647 w 534"/>
                  <a:gd name="T21" fmla="*/ 2147483647 h 702"/>
                  <a:gd name="T22" fmla="*/ 2147483647 w 534"/>
                  <a:gd name="T23" fmla="*/ 2147483647 h 702"/>
                  <a:gd name="T24" fmla="*/ 2147483647 w 534"/>
                  <a:gd name="T25" fmla="*/ 2147483647 h 702"/>
                  <a:gd name="T26" fmla="*/ 2147483647 w 534"/>
                  <a:gd name="T27" fmla="*/ 2147483647 h 702"/>
                  <a:gd name="T28" fmla="*/ 2147483647 w 534"/>
                  <a:gd name="T29" fmla="*/ 2147483647 h 702"/>
                  <a:gd name="T30" fmla="*/ 2147483647 w 534"/>
                  <a:gd name="T31" fmla="*/ 2147483647 h 702"/>
                  <a:gd name="T32" fmla="*/ 2147483647 w 534"/>
                  <a:gd name="T33" fmla="*/ 2147483647 h 702"/>
                  <a:gd name="T34" fmla="*/ 2147483647 w 534"/>
                  <a:gd name="T35" fmla="*/ 2147483647 h 702"/>
                  <a:gd name="T36" fmla="*/ 2147483647 w 534"/>
                  <a:gd name="T37" fmla="*/ 2147483647 h 702"/>
                  <a:gd name="T38" fmla="*/ 2147483647 w 534"/>
                  <a:gd name="T39" fmla="*/ 2147483647 h 702"/>
                  <a:gd name="T40" fmla="*/ 2147483647 w 534"/>
                  <a:gd name="T41" fmla="*/ 2147483647 h 702"/>
                  <a:gd name="T42" fmla="*/ 2147483647 w 534"/>
                  <a:gd name="T43" fmla="*/ 2147483647 h 702"/>
                  <a:gd name="T44" fmla="*/ 2147483647 w 534"/>
                  <a:gd name="T45" fmla="*/ 2147483647 h 702"/>
                  <a:gd name="T46" fmla="*/ 2147483647 w 534"/>
                  <a:gd name="T47" fmla="*/ 2147483647 h 702"/>
                  <a:gd name="T48" fmla="*/ 2147483647 w 534"/>
                  <a:gd name="T49" fmla="*/ 2147483647 h 702"/>
                  <a:gd name="T50" fmla="*/ 0 w 534"/>
                  <a:gd name="T51" fmla="*/ 2147483647 h 702"/>
                  <a:gd name="T52" fmla="*/ 2147483647 w 534"/>
                  <a:gd name="T53" fmla="*/ 2147483647 h 702"/>
                  <a:gd name="T54" fmla="*/ 2147483647 w 534"/>
                  <a:gd name="T55" fmla="*/ 2147483647 h 702"/>
                  <a:gd name="T56" fmla="*/ 2147483647 w 534"/>
                  <a:gd name="T57" fmla="*/ 2147483647 h 702"/>
                  <a:gd name="T58" fmla="*/ 2147483647 w 534"/>
                  <a:gd name="T59" fmla="*/ 2147483647 h 702"/>
                  <a:gd name="T60" fmla="*/ 2147483647 w 534"/>
                  <a:gd name="T61" fmla="*/ 2147483647 h 702"/>
                  <a:gd name="T62" fmla="*/ 2147483647 w 534"/>
                  <a:gd name="T63" fmla="*/ 2147483647 h 702"/>
                  <a:gd name="T64" fmla="*/ 2147483647 w 534"/>
                  <a:gd name="T65" fmla="*/ 2147483647 h 702"/>
                  <a:gd name="T66" fmla="*/ 2147483647 w 534"/>
                  <a:gd name="T67" fmla="*/ 2147483647 h 702"/>
                  <a:gd name="T68" fmla="*/ 2147483647 w 534"/>
                  <a:gd name="T69" fmla="*/ 2147483647 h 702"/>
                  <a:gd name="T70" fmla="*/ 2147483647 w 534"/>
                  <a:gd name="T71" fmla="*/ 2147483647 h 702"/>
                  <a:gd name="T72" fmla="*/ 2147483647 w 534"/>
                  <a:gd name="T73" fmla="*/ 2147483647 h 702"/>
                  <a:gd name="T74" fmla="*/ 2147483647 w 534"/>
                  <a:gd name="T75" fmla="*/ 2147483647 h 702"/>
                  <a:gd name="T76" fmla="*/ 2147483647 w 534"/>
                  <a:gd name="T77" fmla="*/ 2147483647 h 702"/>
                  <a:gd name="T78" fmla="*/ 2147483647 w 534"/>
                  <a:gd name="T79" fmla="*/ 2147483647 h 702"/>
                  <a:gd name="T80" fmla="*/ 2147483647 w 534"/>
                  <a:gd name="T81" fmla="*/ 2147483647 h 702"/>
                  <a:gd name="T82" fmla="*/ 2147483647 w 534"/>
                  <a:gd name="T83" fmla="*/ 2147483647 h 702"/>
                  <a:gd name="T84" fmla="*/ 2147483647 w 534"/>
                  <a:gd name="T85" fmla="*/ 2147483647 h 702"/>
                  <a:gd name="T86" fmla="*/ 2147483647 w 534"/>
                  <a:gd name="T87" fmla="*/ 2147483647 h 702"/>
                  <a:gd name="T88" fmla="*/ 2147483647 w 534"/>
                  <a:gd name="T89" fmla="*/ 2147483647 h 702"/>
                  <a:gd name="T90" fmla="*/ 2147483647 w 534"/>
                  <a:gd name="T91" fmla="*/ 2147483647 h 702"/>
                  <a:gd name="T92" fmla="*/ 2147483647 w 534"/>
                  <a:gd name="T93" fmla="*/ 2147483647 h 702"/>
                  <a:gd name="T94" fmla="*/ 2147483647 w 534"/>
                  <a:gd name="T95" fmla="*/ 2147483647 h 702"/>
                  <a:gd name="T96" fmla="*/ 2147483647 w 534"/>
                  <a:gd name="T97" fmla="*/ 2147483647 h 702"/>
                  <a:gd name="T98" fmla="*/ 2147483647 w 534"/>
                  <a:gd name="T99" fmla="*/ 2147483647 h 702"/>
                  <a:gd name="T100" fmla="*/ 2147483647 w 534"/>
                  <a:gd name="T101" fmla="*/ 2147483647 h 702"/>
                  <a:gd name="T102" fmla="*/ 2147483647 w 534"/>
                  <a:gd name="T103" fmla="*/ 2147483647 h 702"/>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534"/>
                  <a:gd name="T157" fmla="*/ 0 h 702"/>
                  <a:gd name="T158" fmla="*/ 534 w 534"/>
                  <a:gd name="T159" fmla="*/ 702 h 702"/>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534" h="702">
                    <a:moveTo>
                      <a:pt x="366" y="120"/>
                    </a:moveTo>
                    <a:lnTo>
                      <a:pt x="360" y="126"/>
                    </a:lnTo>
                    <a:lnTo>
                      <a:pt x="354" y="168"/>
                    </a:lnTo>
                    <a:lnTo>
                      <a:pt x="330" y="144"/>
                    </a:lnTo>
                    <a:lnTo>
                      <a:pt x="294" y="144"/>
                    </a:lnTo>
                    <a:lnTo>
                      <a:pt x="288" y="138"/>
                    </a:lnTo>
                    <a:lnTo>
                      <a:pt x="276" y="138"/>
                    </a:lnTo>
                    <a:lnTo>
                      <a:pt x="270" y="132"/>
                    </a:lnTo>
                    <a:lnTo>
                      <a:pt x="258" y="126"/>
                    </a:lnTo>
                    <a:lnTo>
                      <a:pt x="210" y="126"/>
                    </a:lnTo>
                    <a:lnTo>
                      <a:pt x="192" y="132"/>
                    </a:lnTo>
                    <a:lnTo>
                      <a:pt x="162" y="132"/>
                    </a:lnTo>
                    <a:lnTo>
                      <a:pt x="144" y="162"/>
                    </a:lnTo>
                    <a:lnTo>
                      <a:pt x="150" y="198"/>
                    </a:lnTo>
                    <a:lnTo>
                      <a:pt x="156" y="204"/>
                    </a:lnTo>
                    <a:lnTo>
                      <a:pt x="180" y="204"/>
                    </a:lnTo>
                    <a:lnTo>
                      <a:pt x="186" y="198"/>
                    </a:lnTo>
                    <a:lnTo>
                      <a:pt x="186" y="180"/>
                    </a:lnTo>
                    <a:lnTo>
                      <a:pt x="204" y="180"/>
                    </a:lnTo>
                    <a:lnTo>
                      <a:pt x="210" y="186"/>
                    </a:lnTo>
                    <a:lnTo>
                      <a:pt x="222" y="186"/>
                    </a:lnTo>
                    <a:lnTo>
                      <a:pt x="222" y="192"/>
                    </a:lnTo>
                    <a:lnTo>
                      <a:pt x="228" y="198"/>
                    </a:lnTo>
                    <a:lnTo>
                      <a:pt x="228" y="216"/>
                    </a:lnTo>
                    <a:lnTo>
                      <a:pt x="240" y="222"/>
                    </a:lnTo>
                    <a:lnTo>
                      <a:pt x="240" y="234"/>
                    </a:lnTo>
                    <a:lnTo>
                      <a:pt x="234" y="240"/>
                    </a:lnTo>
                    <a:lnTo>
                      <a:pt x="228" y="252"/>
                    </a:lnTo>
                    <a:lnTo>
                      <a:pt x="222" y="258"/>
                    </a:lnTo>
                    <a:lnTo>
                      <a:pt x="210" y="258"/>
                    </a:lnTo>
                    <a:lnTo>
                      <a:pt x="198" y="282"/>
                    </a:lnTo>
                    <a:lnTo>
                      <a:pt x="198" y="318"/>
                    </a:lnTo>
                    <a:lnTo>
                      <a:pt x="216" y="324"/>
                    </a:lnTo>
                    <a:lnTo>
                      <a:pt x="222" y="342"/>
                    </a:lnTo>
                    <a:lnTo>
                      <a:pt x="240" y="342"/>
                    </a:lnTo>
                    <a:lnTo>
                      <a:pt x="246" y="348"/>
                    </a:lnTo>
                    <a:lnTo>
                      <a:pt x="246" y="360"/>
                    </a:lnTo>
                    <a:lnTo>
                      <a:pt x="240" y="366"/>
                    </a:lnTo>
                    <a:lnTo>
                      <a:pt x="240" y="414"/>
                    </a:lnTo>
                    <a:lnTo>
                      <a:pt x="234" y="426"/>
                    </a:lnTo>
                    <a:lnTo>
                      <a:pt x="240" y="450"/>
                    </a:lnTo>
                    <a:lnTo>
                      <a:pt x="234" y="456"/>
                    </a:lnTo>
                    <a:lnTo>
                      <a:pt x="222" y="462"/>
                    </a:lnTo>
                    <a:lnTo>
                      <a:pt x="222" y="486"/>
                    </a:lnTo>
                    <a:lnTo>
                      <a:pt x="216" y="498"/>
                    </a:lnTo>
                    <a:lnTo>
                      <a:pt x="210" y="504"/>
                    </a:lnTo>
                    <a:lnTo>
                      <a:pt x="198" y="504"/>
                    </a:lnTo>
                    <a:lnTo>
                      <a:pt x="192" y="498"/>
                    </a:lnTo>
                    <a:lnTo>
                      <a:pt x="192" y="468"/>
                    </a:lnTo>
                    <a:lnTo>
                      <a:pt x="186" y="468"/>
                    </a:lnTo>
                    <a:lnTo>
                      <a:pt x="180" y="474"/>
                    </a:lnTo>
                    <a:lnTo>
                      <a:pt x="174" y="486"/>
                    </a:lnTo>
                    <a:lnTo>
                      <a:pt x="168" y="492"/>
                    </a:lnTo>
                    <a:lnTo>
                      <a:pt x="138" y="492"/>
                    </a:lnTo>
                    <a:lnTo>
                      <a:pt x="120" y="450"/>
                    </a:lnTo>
                    <a:lnTo>
                      <a:pt x="90" y="450"/>
                    </a:lnTo>
                    <a:lnTo>
                      <a:pt x="90" y="456"/>
                    </a:lnTo>
                    <a:lnTo>
                      <a:pt x="108" y="474"/>
                    </a:lnTo>
                    <a:lnTo>
                      <a:pt x="96" y="480"/>
                    </a:lnTo>
                    <a:lnTo>
                      <a:pt x="90" y="492"/>
                    </a:lnTo>
                    <a:lnTo>
                      <a:pt x="84" y="498"/>
                    </a:lnTo>
                    <a:lnTo>
                      <a:pt x="66" y="498"/>
                    </a:lnTo>
                    <a:lnTo>
                      <a:pt x="54" y="492"/>
                    </a:lnTo>
                    <a:lnTo>
                      <a:pt x="42" y="492"/>
                    </a:lnTo>
                    <a:lnTo>
                      <a:pt x="36" y="486"/>
                    </a:lnTo>
                    <a:lnTo>
                      <a:pt x="30" y="486"/>
                    </a:lnTo>
                    <a:lnTo>
                      <a:pt x="30" y="504"/>
                    </a:lnTo>
                    <a:lnTo>
                      <a:pt x="36" y="510"/>
                    </a:lnTo>
                    <a:lnTo>
                      <a:pt x="36" y="522"/>
                    </a:lnTo>
                    <a:lnTo>
                      <a:pt x="24" y="522"/>
                    </a:lnTo>
                    <a:lnTo>
                      <a:pt x="54" y="540"/>
                    </a:lnTo>
                    <a:lnTo>
                      <a:pt x="36" y="552"/>
                    </a:lnTo>
                    <a:lnTo>
                      <a:pt x="54" y="564"/>
                    </a:lnTo>
                    <a:lnTo>
                      <a:pt x="54" y="600"/>
                    </a:lnTo>
                    <a:lnTo>
                      <a:pt x="48" y="606"/>
                    </a:lnTo>
                    <a:lnTo>
                      <a:pt x="30" y="588"/>
                    </a:lnTo>
                    <a:lnTo>
                      <a:pt x="6" y="600"/>
                    </a:lnTo>
                    <a:lnTo>
                      <a:pt x="0" y="618"/>
                    </a:lnTo>
                    <a:lnTo>
                      <a:pt x="54" y="666"/>
                    </a:lnTo>
                    <a:lnTo>
                      <a:pt x="54" y="684"/>
                    </a:lnTo>
                    <a:lnTo>
                      <a:pt x="72" y="702"/>
                    </a:lnTo>
                    <a:lnTo>
                      <a:pt x="72" y="690"/>
                    </a:lnTo>
                    <a:lnTo>
                      <a:pt x="90" y="690"/>
                    </a:lnTo>
                    <a:lnTo>
                      <a:pt x="90" y="672"/>
                    </a:lnTo>
                    <a:lnTo>
                      <a:pt x="102" y="666"/>
                    </a:lnTo>
                    <a:lnTo>
                      <a:pt x="108" y="660"/>
                    </a:lnTo>
                    <a:lnTo>
                      <a:pt x="120" y="654"/>
                    </a:lnTo>
                    <a:lnTo>
                      <a:pt x="126" y="648"/>
                    </a:lnTo>
                    <a:lnTo>
                      <a:pt x="132" y="654"/>
                    </a:lnTo>
                    <a:lnTo>
                      <a:pt x="132" y="660"/>
                    </a:lnTo>
                    <a:lnTo>
                      <a:pt x="138" y="666"/>
                    </a:lnTo>
                    <a:lnTo>
                      <a:pt x="138" y="672"/>
                    </a:lnTo>
                    <a:lnTo>
                      <a:pt x="150" y="672"/>
                    </a:lnTo>
                    <a:lnTo>
                      <a:pt x="150" y="678"/>
                    </a:lnTo>
                    <a:lnTo>
                      <a:pt x="156" y="684"/>
                    </a:lnTo>
                    <a:lnTo>
                      <a:pt x="156" y="690"/>
                    </a:lnTo>
                    <a:lnTo>
                      <a:pt x="162" y="696"/>
                    </a:lnTo>
                    <a:lnTo>
                      <a:pt x="174" y="696"/>
                    </a:lnTo>
                    <a:lnTo>
                      <a:pt x="180" y="690"/>
                    </a:lnTo>
                    <a:lnTo>
                      <a:pt x="186" y="678"/>
                    </a:lnTo>
                    <a:lnTo>
                      <a:pt x="186" y="660"/>
                    </a:lnTo>
                    <a:lnTo>
                      <a:pt x="210" y="666"/>
                    </a:lnTo>
                    <a:lnTo>
                      <a:pt x="228" y="648"/>
                    </a:lnTo>
                    <a:lnTo>
                      <a:pt x="234" y="648"/>
                    </a:lnTo>
                    <a:lnTo>
                      <a:pt x="234" y="678"/>
                    </a:lnTo>
                    <a:lnTo>
                      <a:pt x="228" y="690"/>
                    </a:lnTo>
                    <a:lnTo>
                      <a:pt x="234" y="696"/>
                    </a:lnTo>
                    <a:lnTo>
                      <a:pt x="252" y="696"/>
                    </a:lnTo>
                    <a:lnTo>
                      <a:pt x="264" y="690"/>
                    </a:lnTo>
                    <a:lnTo>
                      <a:pt x="270" y="684"/>
                    </a:lnTo>
                    <a:lnTo>
                      <a:pt x="276" y="672"/>
                    </a:lnTo>
                    <a:lnTo>
                      <a:pt x="294" y="654"/>
                    </a:lnTo>
                    <a:lnTo>
                      <a:pt x="300" y="642"/>
                    </a:lnTo>
                    <a:lnTo>
                      <a:pt x="312" y="630"/>
                    </a:lnTo>
                    <a:lnTo>
                      <a:pt x="330" y="630"/>
                    </a:lnTo>
                    <a:lnTo>
                      <a:pt x="336" y="624"/>
                    </a:lnTo>
                    <a:lnTo>
                      <a:pt x="366" y="582"/>
                    </a:lnTo>
                    <a:lnTo>
                      <a:pt x="360" y="480"/>
                    </a:lnTo>
                    <a:lnTo>
                      <a:pt x="366" y="480"/>
                    </a:lnTo>
                    <a:lnTo>
                      <a:pt x="390" y="456"/>
                    </a:lnTo>
                    <a:lnTo>
                      <a:pt x="390" y="420"/>
                    </a:lnTo>
                    <a:lnTo>
                      <a:pt x="396" y="408"/>
                    </a:lnTo>
                    <a:lnTo>
                      <a:pt x="402" y="402"/>
                    </a:lnTo>
                    <a:lnTo>
                      <a:pt x="450" y="378"/>
                    </a:lnTo>
                    <a:lnTo>
                      <a:pt x="456" y="366"/>
                    </a:lnTo>
                    <a:lnTo>
                      <a:pt x="468" y="360"/>
                    </a:lnTo>
                    <a:lnTo>
                      <a:pt x="474" y="354"/>
                    </a:lnTo>
                    <a:lnTo>
                      <a:pt x="474" y="300"/>
                    </a:lnTo>
                    <a:lnTo>
                      <a:pt x="486" y="294"/>
                    </a:lnTo>
                    <a:lnTo>
                      <a:pt x="492" y="282"/>
                    </a:lnTo>
                    <a:lnTo>
                      <a:pt x="492" y="258"/>
                    </a:lnTo>
                    <a:lnTo>
                      <a:pt x="486" y="246"/>
                    </a:lnTo>
                    <a:lnTo>
                      <a:pt x="480" y="240"/>
                    </a:lnTo>
                    <a:lnTo>
                      <a:pt x="480" y="228"/>
                    </a:lnTo>
                    <a:lnTo>
                      <a:pt x="498" y="192"/>
                    </a:lnTo>
                    <a:lnTo>
                      <a:pt x="498" y="168"/>
                    </a:lnTo>
                    <a:lnTo>
                      <a:pt x="492" y="156"/>
                    </a:lnTo>
                    <a:lnTo>
                      <a:pt x="492" y="126"/>
                    </a:lnTo>
                    <a:lnTo>
                      <a:pt x="498" y="120"/>
                    </a:lnTo>
                    <a:lnTo>
                      <a:pt x="510" y="96"/>
                    </a:lnTo>
                    <a:lnTo>
                      <a:pt x="522" y="84"/>
                    </a:lnTo>
                    <a:lnTo>
                      <a:pt x="528" y="66"/>
                    </a:lnTo>
                    <a:lnTo>
                      <a:pt x="534" y="54"/>
                    </a:lnTo>
                    <a:lnTo>
                      <a:pt x="534" y="18"/>
                    </a:lnTo>
                    <a:lnTo>
                      <a:pt x="522" y="6"/>
                    </a:lnTo>
                    <a:lnTo>
                      <a:pt x="510" y="18"/>
                    </a:lnTo>
                    <a:lnTo>
                      <a:pt x="498" y="18"/>
                    </a:lnTo>
                    <a:lnTo>
                      <a:pt x="462" y="0"/>
                    </a:lnTo>
                    <a:lnTo>
                      <a:pt x="444" y="0"/>
                    </a:lnTo>
                    <a:lnTo>
                      <a:pt x="426" y="18"/>
                    </a:lnTo>
                    <a:lnTo>
                      <a:pt x="396" y="18"/>
                    </a:lnTo>
                    <a:lnTo>
                      <a:pt x="378" y="48"/>
                    </a:lnTo>
                    <a:lnTo>
                      <a:pt x="390" y="60"/>
                    </a:lnTo>
                    <a:lnTo>
                      <a:pt x="390" y="84"/>
                    </a:lnTo>
                    <a:lnTo>
                      <a:pt x="384" y="96"/>
                    </a:lnTo>
                    <a:lnTo>
                      <a:pt x="378" y="102"/>
                    </a:lnTo>
                    <a:lnTo>
                      <a:pt x="372" y="114"/>
                    </a:lnTo>
                    <a:lnTo>
                      <a:pt x="366" y="120"/>
                    </a:lnTo>
                    <a:close/>
                  </a:path>
                </a:pathLst>
              </a:custGeom>
              <a:grpFill/>
              <a:ln w="3175">
                <a:solidFill>
                  <a:schemeClr val="bg1"/>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de-DE" sz="1800" b="0" i="0" u="none" strike="noStrike" kern="1200" cap="none" spc="0" normalizeH="0" baseline="0" noProof="0">
                  <a:ln>
                    <a:noFill/>
                  </a:ln>
                  <a:solidFill>
                    <a:srgbClr val="FFC000"/>
                  </a:solidFill>
                  <a:effectLst/>
                  <a:uLnTx/>
                  <a:uFillTx/>
                  <a:latin typeface="Calibri" pitchFamily="34" charset="0"/>
                  <a:ea typeface="+mn-ea"/>
                  <a:cs typeface="+mn-cs"/>
                </a:endParaRPr>
              </a:p>
            </p:txBody>
          </p:sp>
          <p:sp>
            <p:nvSpPr>
              <p:cNvPr id="193" name="Central African Republic" descr="© INSCALE GmbH, 05.05.2010&#10;http://www.presentationload.com/"/>
              <p:cNvSpPr>
                <a:spLocks/>
              </p:cNvSpPr>
              <p:nvPr/>
            </p:nvSpPr>
            <p:spPr bwMode="gray">
              <a:xfrm>
                <a:off x="4798499" y="4029442"/>
                <a:ext cx="296923" cy="218013"/>
              </a:xfrm>
              <a:custGeom>
                <a:avLst/>
                <a:gdLst>
                  <a:gd name="T0" fmla="*/ 2147483647 w 912"/>
                  <a:gd name="T1" fmla="*/ 2147483647 h 702"/>
                  <a:gd name="T2" fmla="*/ 2147483647 w 912"/>
                  <a:gd name="T3" fmla="*/ 2147483647 h 702"/>
                  <a:gd name="T4" fmla="*/ 2147483647 w 912"/>
                  <a:gd name="T5" fmla="*/ 2147483647 h 702"/>
                  <a:gd name="T6" fmla="*/ 2147483647 w 912"/>
                  <a:gd name="T7" fmla="*/ 2147483647 h 702"/>
                  <a:gd name="T8" fmla="*/ 2147483647 w 912"/>
                  <a:gd name="T9" fmla="*/ 2147483647 h 702"/>
                  <a:gd name="T10" fmla="*/ 2147483647 w 912"/>
                  <a:gd name="T11" fmla="*/ 2147483647 h 702"/>
                  <a:gd name="T12" fmla="*/ 2147483647 w 912"/>
                  <a:gd name="T13" fmla="*/ 2147483647 h 702"/>
                  <a:gd name="T14" fmla="*/ 2147483647 w 912"/>
                  <a:gd name="T15" fmla="*/ 2147483647 h 702"/>
                  <a:gd name="T16" fmla="*/ 2147483647 w 912"/>
                  <a:gd name="T17" fmla="*/ 2147483647 h 702"/>
                  <a:gd name="T18" fmla="*/ 2147483647 w 912"/>
                  <a:gd name="T19" fmla="*/ 2147483647 h 702"/>
                  <a:gd name="T20" fmla="*/ 2147483647 w 912"/>
                  <a:gd name="T21" fmla="*/ 2147483647 h 702"/>
                  <a:gd name="T22" fmla="*/ 2147483647 w 912"/>
                  <a:gd name="T23" fmla="*/ 2147483647 h 702"/>
                  <a:gd name="T24" fmla="*/ 2147483647 w 912"/>
                  <a:gd name="T25" fmla="*/ 2147483647 h 702"/>
                  <a:gd name="T26" fmla="*/ 2147483647 w 912"/>
                  <a:gd name="T27" fmla="*/ 2147483647 h 702"/>
                  <a:gd name="T28" fmla="*/ 2147483647 w 912"/>
                  <a:gd name="T29" fmla="*/ 2147483647 h 702"/>
                  <a:gd name="T30" fmla="*/ 2147483647 w 912"/>
                  <a:gd name="T31" fmla="*/ 0 h 702"/>
                  <a:gd name="T32" fmla="*/ 2147483647 w 912"/>
                  <a:gd name="T33" fmla="*/ 2147483647 h 702"/>
                  <a:gd name="T34" fmla="*/ 2147483647 w 912"/>
                  <a:gd name="T35" fmla="*/ 2147483647 h 702"/>
                  <a:gd name="T36" fmla="*/ 2147483647 w 912"/>
                  <a:gd name="T37" fmla="*/ 2147483647 h 702"/>
                  <a:gd name="T38" fmla="*/ 2147483647 w 912"/>
                  <a:gd name="T39" fmla="*/ 2147483647 h 702"/>
                  <a:gd name="T40" fmla="*/ 2147483647 w 912"/>
                  <a:gd name="T41" fmla="*/ 2147483647 h 702"/>
                  <a:gd name="T42" fmla="*/ 2147483647 w 912"/>
                  <a:gd name="T43" fmla="*/ 2147483647 h 702"/>
                  <a:gd name="T44" fmla="*/ 2147483647 w 912"/>
                  <a:gd name="T45" fmla="*/ 2147483647 h 702"/>
                  <a:gd name="T46" fmla="*/ 2147483647 w 912"/>
                  <a:gd name="T47" fmla="*/ 2147483647 h 702"/>
                  <a:gd name="T48" fmla="*/ 2147483647 w 912"/>
                  <a:gd name="T49" fmla="*/ 2147483647 h 702"/>
                  <a:gd name="T50" fmla="*/ 2147483647 w 912"/>
                  <a:gd name="T51" fmla="*/ 2147483647 h 702"/>
                  <a:gd name="T52" fmla="*/ 2147483647 w 912"/>
                  <a:gd name="T53" fmla="*/ 2147483647 h 702"/>
                  <a:gd name="T54" fmla="*/ 2147483647 w 912"/>
                  <a:gd name="T55" fmla="*/ 2147483647 h 702"/>
                  <a:gd name="T56" fmla="*/ 2147483647 w 912"/>
                  <a:gd name="T57" fmla="*/ 2147483647 h 702"/>
                  <a:gd name="T58" fmla="*/ 2147483647 w 912"/>
                  <a:gd name="T59" fmla="*/ 2147483647 h 702"/>
                  <a:gd name="T60" fmla="*/ 0 w 912"/>
                  <a:gd name="T61" fmla="*/ 2147483647 h 702"/>
                  <a:gd name="T62" fmla="*/ 2147483647 w 912"/>
                  <a:gd name="T63" fmla="*/ 2147483647 h 702"/>
                  <a:gd name="T64" fmla="*/ 2147483647 w 912"/>
                  <a:gd name="T65" fmla="*/ 2147483647 h 702"/>
                  <a:gd name="T66" fmla="*/ 2147483647 w 912"/>
                  <a:gd name="T67" fmla="*/ 2147483647 h 702"/>
                  <a:gd name="T68" fmla="*/ 2147483647 w 912"/>
                  <a:gd name="T69" fmla="*/ 2147483647 h 702"/>
                  <a:gd name="T70" fmla="*/ 2147483647 w 912"/>
                  <a:gd name="T71" fmla="*/ 2147483647 h 702"/>
                  <a:gd name="T72" fmla="*/ 2147483647 w 912"/>
                  <a:gd name="T73" fmla="*/ 2147483647 h 702"/>
                  <a:gd name="T74" fmla="*/ 2147483647 w 912"/>
                  <a:gd name="T75" fmla="*/ 2147483647 h 702"/>
                  <a:gd name="T76" fmla="*/ 2147483647 w 912"/>
                  <a:gd name="T77" fmla="*/ 2147483647 h 702"/>
                  <a:gd name="T78" fmla="*/ 2147483647 w 912"/>
                  <a:gd name="T79" fmla="*/ 2147483647 h 702"/>
                  <a:gd name="T80" fmla="*/ 2147483647 w 912"/>
                  <a:gd name="T81" fmla="*/ 2147483647 h 702"/>
                  <a:gd name="T82" fmla="*/ 2147483647 w 912"/>
                  <a:gd name="T83" fmla="*/ 2147483647 h 702"/>
                  <a:gd name="T84" fmla="*/ 2147483647 w 912"/>
                  <a:gd name="T85" fmla="*/ 2147483647 h 702"/>
                  <a:gd name="T86" fmla="*/ 2147483647 w 912"/>
                  <a:gd name="T87" fmla="*/ 2147483647 h 702"/>
                  <a:gd name="T88" fmla="*/ 2147483647 w 912"/>
                  <a:gd name="T89" fmla="*/ 2147483647 h 702"/>
                  <a:gd name="T90" fmla="*/ 2147483647 w 912"/>
                  <a:gd name="T91" fmla="*/ 2147483647 h 702"/>
                  <a:gd name="T92" fmla="*/ 2147483647 w 912"/>
                  <a:gd name="T93" fmla="*/ 2147483647 h 702"/>
                  <a:gd name="T94" fmla="*/ 2147483647 w 912"/>
                  <a:gd name="T95" fmla="*/ 2147483647 h 702"/>
                  <a:gd name="T96" fmla="*/ 2147483647 w 912"/>
                  <a:gd name="T97" fmla="*/ 2147483647 h 702"/>
                  <a:gd name="T98" fmla="*/ 2147483647 w 912"/>
                  <a:gd name="T99" fmla="*/ 2147483647 h 702"/>
                  <a:gd name="T100" fmla="*/ 2147483647 w 912"/>
                  <a:gd name="T101" fmla="*/ 2147483647 h 702"/>
                  <a:gd name="T102" fmla="*/ 2147483647 w 912"/>
                  <a:gd name="T103" fmla="*/ 2147483647 h 702"/>
                  <a:gd name="T104" fmla="*/ 2147483647 w 912"/>
                  <a:gd name="T105" fmla="*/ 2147483647 h 702"/>
                  <a:gd name="T106" fmla="*/ 2147483647 w 912"/>
                  <a:gd name="T107" fmla="*/ 2147483647 h 702"/>
                  <a:gd name="T108" fmla="*/ 2147483647 w 912"/>
                  <a:gd name="T109" fmla="*/ 2147483647 h 702"/>
                  <a:gd name="T110" fmla="*/ 2147483647 w 912"/>
                  <a:gd name="T111" fmla="*/ 2147483647 h 702"/>
                  <a:gd name="T112" fmla="*/ 2147483647 w 912"/>
                  <a:gd name="T113" fmla="*/ 2147483647 h 702"/>
                  <a:gd name="T114" fmla="*/ 2147483647 w 912"/>
                  <a:gd name="T115" fmla="*/ 2147483647 h 702"/>
                  <a:gd name="T116" fmla="*/ 2147483647 w 912"/>
                  <a:gd name="T117" fmla="*/ 2147483647 h 702"/>
                  <a:gd name="T118" fmla="*/ 2147483647 w 912"/>
                  <a:gd name="T119" fmla="*/ 2147483647 h 702"/>
                  <a:gd name="T120" fmla="*/ 2147483647 w 912"/>
                  <a:gd name="T121" fmla="*/ 2147483647 h 702"/>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912"/>
                  <a:gd name="T184" fmla="*/ 0 h 702"/>
                  <a:gd name="T185" fmla="*/ 912 w 912"/>
                  <a:gd name="T186" fmla="*/ 702 h 702"/>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912" h="702">
                    <a:moveTo>
                      <a:pt x="906" y="420"/>
                    </a:moveTo>
                    <a:lnTo>
                      <a:pt x="900" y="414"/>
                    </a:lnTo>
                    <a:lnTo>
                      <a:pt x="888" y="408"/>
                    </a:lnTo>
                    <a:lnTo>
                      <a:pt x="882" y="402"/>
                    </a:lnTo>
                    <a:lnTo>
                      <a:pt x="858" y="396"/>
                    </a:lnTo>
                    <a:lnTo>
                      <a:pt x="858" y="378"/>
                    </a:lnTo>
                    <a:lnTo>
                      <a:pt x="846" y="366"/>
                    </a:lnTo>
                    <a:lnTo>
                      <a:pt x="846" y="360"/>
                    </a:lnTo>
                    <a:lnTo>
                      <a:pt x="858" y="360"/>
                    </a:lnTo>
                    <a:lnTo>
                      <a:pt x="858" y="348"/>
                    </a:lnTo>
                    <a:lnTo>
                      <a:pt x="852" y="342"/>
                    </a:lnTo>
                    <a:lnTo>
                      <a:pt x="834" y="342"/>
                    </a:lnTo>
                    <a:lnTo>
                      <a:pt x="834" y="336"/>
                    </a:lnTo>
                    <a:lnTo>
                      <a:pt x="828" y="330"/>
                    </a:lnTo>
                    <a:lnTo>
                      <a:pt x="822" y="318"/>
                    </a:lnTo>
                    <a:lnTo>
                      <a:pt x="810" y="306"/>
                    </a:lnTo>
                    <a:lnTo>
                      <a:pt x="798" y="300"/>
                    </a:lnTo>
                    <a:lnTo>
                      <a:pt x="792" y="300"/>
                    </a:lnTo>
                    <a:lnTo>
                      <a:pt x="780" y="294"/>
                    </a:lnTo>
                    <a:lnTo>
                      <a:pt x="768" y="282"/>
                    </a:lnTo>
                    <a:lnTo>
                      <a:pt x="768" y="276"/>
                    </a:lnTo>
                    <a:lnTo>
                      <a:pt x="774" y="276"/>
                    </a:lnTo>
                    <a:lnTo>
                      <a:pt x="774" y="270"/>
                    </a:lnTo>
                    <a:lnTo>
                      <a:pt x="780" y="270"/>
                    </a:lnTo>
                    <a:lnTo>
                      <a:pt x="780" y="264"/>
                    </a:lnTo>
                    <a:lnTo>
                      <a:pt x="768" y="252"/>
                    </a:lnTo>
                    <a:lnTo>
                      <a:pt x="756" y="246"/>
                    </a:lnTo>
                    <a:lnTo>
                      <a:pt x="750" y="246"/>
                    </a:lnTo>
                    <a:lnTo>
                      <a:pt x="750" y="228"/>
                    </a:lnTo>
                    <a:lnTo>
                      <a:pt x="720" y="228"/>
                    </a:lnTo>
                    <a:lnTo>
                      <a:pt x="696" y="216"/>
                    </a:lnTo>
                    <a:lnTo>
                      <a:pt x="696" y="186"/>
                    </a:lnTo>
                    <a:lnTo>
                      <a:pt x="648" y="180"/>
                    </a:lnTo>
                    <a:lnTo>
                      <a:pt x="654" y="162"/>
                    </a:lnTo>
                    <a:lnTo>
                      <a:pt x="648" y="162"/>
                    </a:lnTo>
                    <a:lnTo>
                      <a:pt x="642" y="156"/>
                    </a:lnTo>
                    <a:lnTo>
                      <a:pt x="642" y="150"/>
                    </a:lnTo>
                    <a:lnTo>
                      <a:pt x="648" y="144"/>
                    </a:lnTo>
                    <a:lnTo>
                      <a:pt x="654" y="132"/>
                    </a:lnTo>
                    <a:lnTo>
                      <a:pt x="660" y="126"/>
                    </a:lnTo>
                    <a:lnTo>
                      <a:pt x="660" y="96"/>
                    </a:lnTo>
                    <a:lnTo>
                      <a:pt x="654" y="84"/>
                    </a:lnTo>
                    <a:lnTo>
                      <a:pt x="648" y="66"/>
                    </a:lnTo>
                    <a:lnTo>
                      <a:pt x="636" y="54"/>
                    </a:lnTo>
                    <a:lnTo>
                      <a:pt x="630" y="42"/>
                    </a:lnTo>
                    <a:lnTo>
                      <a:pt x="600" y="12"/>
                    </a:lnTo>
                    <a:lnTo>
                      <a:pt x="600" y="0"/>
                    </a:lnTo>
                    <a:lnTo>
                      <a:pt x="576" y="0"/>
                    </a:lnTo>
                    <a:lnTo>
                      <a:pt x="522" y="30"/>
                    </a:lnTo>
                    <a:lnTo>
                      <a:pt x="516" y="60"/>
                    </a:lnTo>
                    <a:lnTo>
                      <a:pt x="480" y="84"/>
                    </a:lnTo>
                    <a:lnTo>
                      <a:pt x="480" y="102"/>
                    </a:lnTo>
                    <a:lnTo>
                      <a:pt x="456" y="126"/>
                    </a:lnTo>
                    <a:lnTo>
                      <a:pt x="438" y="138"/>
                    </a:lnTo>
                    <a:lnTo>
                      <a:pt x="390" y="156"/>
                    </a:lnTo>
                    <a:lnTo>
                      <a:pt x="348" y="162"/>
                    </a:lnTo>
                    <a:lnTo>
                      <a:pt x="330" y="162"/>
                    </a:lnTo>
                    <a:lnTo>
                      <a:pt x="312" y="174"/>
                    </a:lnTo>
                    <a:lnTo>
                      <a:pt x="318" y="174"/>
                    </a:lnTo>
                    <a:lnTo>
                      <a:pt x="330" y="186"/>
                    </a:lnTo>
                    <a:lnTo>
                      <a:pt x="330" y="198"/>
                    </a:lnTo>
                    <a:lnTo>
                      <a:pt x="324" y="204"/>
                    </a:lnTo>
                    <a:lnTo>
                      <a:pt x="318" y="216"/>
                    </a:lnTo>
                    <a:lnTo>
                      <a:pt x="312" y="222"/>
                    </a:lnTo>
                    <a:lnTo>
                      <a:pt x="306" y="234"/>
                    </a:lnTo>
                    <a:lnTo>
                      <a:pt x="300" y="240"/>
                    </a:lnTo>
                    <a:lnTo>
                      <a:pt x="210" y="240"/>
                    </a:lnTo>
                    <a:lnTo>
                      <a:pt x="204" y="246"/>
                    </a:lnTo>
                    <a:lnTo>
                      <a:pt x="198" y="258"/>
                    </a:lnTo>
                    <a:lnTo>
                      <a:pt x="186" y="270"/>
                    </a:lnTo>
                    <a:lnTo>
                      <a:pt x="174" y="276"/>
                    </a:lnTo>
                    <a:lnTo>
                      <a:pt x="168" y="276"/>
                    </a:lnTo>
                    <a:lnTo>
                      <a:pt x="162" y="270"/>
                    </a:lnTo>
                    <a:lnTo>
                      <a:pt x="162" y="246"/>
                    </a:lnTo>
                    <a:lnTo>
                      <a:pt x="156" y="252"/>
                    </a:lnTo>
                    <a:lnTo>
                      <a:pt x="144" y="258"/>
                    </a:lnTo>
                    <a:lnTo>
                      <a:pt x="126" y="276"/>
                    </a:lnTo>
                    <a:lnTo>
                      <a:pt x="114" y="282"/>
                    </a:lnTo>
                    <a:lnTo>
                      <a:pt x="96" y="282"/>
                    </a:lnTo>
                    <a:lnTo>
                      <a:pt x="90" y="276"/>
                    </a:lnTo>
                    <a:lnTo>
                      <a:pt x="78" y="276"/>
                    </a:lnTo>
                    <a:lnTo>
                      <a:pt x="66" y="288"/>
                    </a:lnTo>
                    <a:lnTo>
                      <a:pt x="60" y="300"/>
                    </a:lnTo>
                    <a:lnTo>
                      <a:pt x="54" y="306"/>
                    </a:lnTo>
                    <a:lnTo>
                      <a:pt x="54" y="324"/>
                    </a:lnTo>
                    <a:lnTo>
                      <a:pt x="48" y="336"/>
                    </a:lnTo>
                    <a:lnTo>
                      <a:pt x="42" y="336"/>
                    </a:lnTo>
                    <a:lnTo>
                      <a:pt x="36" y="372"/>
                    </a:lnTo>
                    <a:lnTo>
                      <a:pt x="30" y="372"/>
                    </a:lnTo>
                    <a:lnTo>
                      <a:pt x="24" y="378"/>
                    </a:lnTo>
                    <a:lnTo>
                      <a:pt x="12" y="384"/>
                    </a:lnTo>
                    <a:lnTo>
                      <a:pt x="0" y="396"/>
                    </a:lnTo>
                    <a:lnTo>
                      <a:pt x="0" y="402"/>
                    </a:lnTo>
                    <a:lnTo>
                      <a:pt x="12" y="408"/>
                    </a:lnTo>
                    <a:lnTo>
                      <a:pt x="18" y="408"/>
                    </a:lnTo>
                    <a:lnTo>
                      <a:pt x="18" y="444"/>
                    </a:lnTo>
                    <a:lnTo>
                      <a:pt x="6" y="456"/>
                    </a:lnTo>
                    <a:lnTo>
                      <a:pt x="24" y="468"/>
                    </a:lnTo>
                    <a:lnTo>
                      <a:pt x="24" y="516"/>
                    </a:lnTo>
                    <a:lnTo>
                      <a:pt x="30" y="516"/>
                    </a:lnTo>
                    <a:lnTo>
                      <a:pt x="48" y="534"/>
                    </a:lnTo>
                    <a:lnTo>
                      <a:pt x="54" y="534"/>
                    </a:lnTo>
                    <a:lnTo>
                      <a:pt x="54" y="576"/>
                    </a:lnTo>
                    <a:lnTo>
                      <a:pt x="60" y="582"/>
                    </a:lnTo>
                    <a:lnTo>
                      <a:pt x="72" y="606"/>
                    </a:lnTo>
                    <a:lnTo>
                      <a:pt x="84" y="618"/>
                    </a:lnTo>
                    <a:lnTo>
                      <a:pt x="96" y="624"/>
                    </a:lnTo>
                    <a:lnTo>
                      <a:pt x="102" y="636"/>
                    </a:lnTo>
                    <a:lnTo>
                      <a:pt x="114" y="642"/>
                    </a:lnTo>
                    <a:lnTo>
                      <a:pt x="120" y="660"/>
                    </a:lnTo>
                    <a:lnTo>
                      <a:pt x="120" y="690"/>
                    </a:lnTo>
                    <a:lnTo>
                      <a:pt x="132" y="702"/>
                    </a:lnTo>
                    <a:lnTo>
                      <a:pt x="138" y="696"/>
                    </a:lnTo>
                    <a:lnTo>
                      <a:pt x="144" y="684"/>
                    </a:lnTo>
                    <a:lnTo>
                      <a:pt x="150" y="678"/>
                    </a:lnTo>
                    <a:lnTo>
                      <a:pt x="156" y="666"/>
                    </a:lnTo>
                    <a:lnTo>
                      <a:pt x="156" y="642"/>
                    </a:lnTo>
                    <a:lnTo>
                      <a:pt x="144" y="630"/>
                    </a:lnTo>
                    <a:lnTo>
                      <a:pt x="162" y="600"/>
                    </a:lnTo>
                    <a:lnTo>
                      <a:pt x="192" y="600"/>
                    </a:lnTo>
                    <a:lnTo>
                      <a:pt x="210" y="582"/>
                    </a:lnTo>
                    <a:lnTo>
                      <a:pt x="228" y="582"/>
                    </a:lnTo>
                    <a:lnTo>
                      <a:pt x="264" y="600"/>
                    </a:lnTo>
                    <a:lnTo>
                      <a:pt x="276" y="600"/>
                    </a:lnTo>
                    <a:lnTo>
                      <a:pt x="288" y="588"/>
                    </a:lnTo>
                    <a:lnTo>
                      <a:pt x="300" y="570"/>
                    </a:lnTo>
                    <a:lnTo>
                      <a:pt x="300" y="552"/>
                    </a:lnTo>
                    <a:lnTo>
                      <a:pt x="294" y="552"/>
                    </a:lnTo>
                    <a:lnTo>
                      <a:pt x="294" y="540"/>
                    </a:lnTo>
                    <a:lnTo>
                      <a:pt x="306" y="528"/>
                    </a:lnTo>
                    <a:lnTo>
                      <a:pt x="312" y="528"/>
                    </a:lnTo>
                    <a:lnTo>
                      <a:pt x="324" y="516"/>
                    </a:lnTo>
                    <a:lnTo>
                      <a:pt x="330" y="504"/>
                    </a:lnTo>
                    <a:lnTo>
                      <a:pt x="330" y="498"/>
                    </a:lnTo>
                    <a:lnTo>
                      <a:pt x="336" y="486"/>
                    </a:lnTo>
                    <a:lnTo>
                      <a:pt x="336" y="480"/>
                    </a:lnTo>
                    <a:lnTo>
                      <a:pt x="342" y="474"/>
                    </a:lnTo>
                    <a:lnTo>
                      <a:pt x="354" y="468"/>
                    </a:lnTo>
                    <a:lnTo>
                      <a:pt x="366" y="468"/>
                    </a:lnTo>
                    <a:lnTo>
                      <a:pt x="384" y="474"/>
                    </a:lnTo>
                    <a:lnTo>
                      <a:pt x="396" y="474"/>
                    </a:lnTo>
                    <a:lnTo>
                      <a:pt x="408" y="480"/>
                    </a:lnTo>
                    <a:lnTo>
                      <a:pt x="408" y="492"/>
                    </a:lnTo>
                    <a:lnTo>
                      <a:pt x="426" y="492"/>
                    </a:lnTo>
                    <a:lnTo>
                      <a:pt x="432" y="498"/>
                    </a:lnTo>
                    <a:lnTo>
                      <a:pt x="432" y="528"/>
                    </a:lnTo>
                    <a:lnTo>
                      <a:pt x="474" y="528"/>
                    </a:lnTo>
                    <a:lnTo>
                      <a:pt x="480" y="534"/>
                    </a:lnTo>
                    <a:lnTo>
                      <a:pt x="492" y="540"/>
                    </a:lnTo>
                    <a:lnTo>
                      <a:pt x="540" y="540"/>
                    </a:lnTo>
                    <a:lnTo>
                      <a:pt x="552" y="546"/>
                    </a:lnTo>
                    <a:lnTo>
                      <a:pt x="558" y="552"/>
                    </a:lnTo>
                    <a:lnTo>
                      <a:pt x="570" y="558"/>
                    </a:lnTo>
                    <a:lnTo>
                      <a:pt x="576" y="552"/>
                    </a:lnTo>
                    <a:lnTo>
                      <a:pt x="582" y="540"/>
                    </a:lnTo>
                    <a:lnTo>
                      <a:pt x="588" y="534"/>
                    </a:lnTo>
                    <a:lnTo>
                      <a:pt x="588" y="522"/>
                    </a:lnTo>
                    <a:lnTo>
                      <a:pt x="606" y="504"/>
                    </a:lnTo>
                    <a:lnTo>
                      <a:pt x="612" y="492"/>
                    </a:lnTo>
                    <a:lnTo>
                      <a:pt x="636" y="516"/>
                    </a:lnTo>
                    <a:lnTo>
                      <a:pt x="642" y="516"/>
                    </a:lnTo>
                    <a:lnTo>
                      <a:pt x="648" y="510"/>
                    </a:lnTo>
                    <a:lnTo>
                      <a:pt x="660" y="504"/>
                    </a:lnTo>
                    <a:lnTo>
                      <a:pt x="672" y="492"/>
                    </a:lnTo>
                    <a:lnTo>
                      <a:pt x="690" y="492"/>
                    </a:lnTo>
                    <a:lnTo>
                      <a:pt x="714" y="474"/>
                    </a:lnTo>
                    <a:lnTo>
                      <a:pt x="726" y="486"/>
                    </a:lnTo>
                    <a:lnTo>
                      <a:pt x="750" y="486"/>
                    </a:lnTo>
                    <a:lnTo>
                      <a:pt x="756" y="480"/>
                    </a:lnTo>
                    <a:lnTo>
                      <a:pt x="768" y="480"/>
                    </a:lnTo>
                    <a:lnTo>
                      <a:pt x="768" y="468"/>
                    </a:lnTo>
                    <a:lnTo>
                      <a:pt x="786" y="450"/>
                    </a:lnTo>
                    <a:lnTo>
                      <a:pt x="792" y="450"/>
                    </a:lnTo>
                    <a:lnTo>
                      <a:pt x="792" y="456"/>
                    </a:lnTo>
                    <a:lnTo>
                      <a:pt x="804" y="468"/>
                    </a:lnTo>
                    <a:lnTo>
                      <a:pt x="840" y="462"/>
                    </a:lnTo>
                    <a:lnTo>
                      <a:pt x="840" y="468"/>
                    </a:lnTo>
                    <a:lnTo>
                      <a:pt x="852" y="480"/>
                    </a:lnTo>
                    <a:lnTo>
                      <a:pt x="876" y="480"/>
                    </a:lnTo>
                    <a:lnTo>
                      <a:pt x="894" y="474"/>
                    </a:lnTo>
                    <a:lnTo>
                      <a:pt x="912" y="456"/>
                    </a:lnTo>
                    <a:lnTo>
                      <a:pt x="912" y="432"/>
                    </a:lnTo>
                    <a:lnTo>
                      <a:pt x="906" y="420"/>
                    </a:lnTo>
                    <a:close/>
                  </a:path>
                </a:pathLst>
              </a:custGeom>
              <a:grpFill/>
              <a:ln w="3175">
                <a:solidFill>
                  <a:schemeClr val="bg1"/>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de-DE" sz="1800" b="0" i="0" u="none" strike="noStrike" kern="1200" cap="none" spc="0" normalizeH="0" baseline="0" noProof="0">
                  <a:ln>
                    <a:noFill/>
                  </a:ln>
                  <a:solidFill>
                    <a:srgbClr val="FFC000"/>
                  </a:solidFill>
                  <a:effectLst/>
                  <a:uLnTx/>
                  <a:uFillTx/>
                  <a:latin typeface="Calibri" pitchFamily="34" charset="0"/>
                  <a:ea typeface="+mn-ea"/>
                  <a:cs typeface="+mn-cs"/>
                </a:endParaRPr>
              </a:p>
            </p:txBody>
          </p:sp>
          <p:sp>
            <p:nvSpPr>
              <p:cNvPr id="194" name="Cameroon" descr="© INSCALE GmbH, 05.05.2010&#10;http://www.presentationload.com/"/>
              <p:cNvSpPr>
                <a:spLocks/>
              </p:cNvSpPr>
              <p:nvPr/>
            </p:nvSpPr>
            <p:spPr bwMode="gray">
              <a:xfrm>
                <a:off x="4664115" y="3975551"/>
                <a:ext cx="177898" cy="287825"/>
              </a:xfrm>
              <a:custGeom>
                <a:avLst/>
                <a:gdLst>
                  <a:gd name="T0" fmla="*/ 2147483647 w 546"/>
                  <a:gd name="T1" fmla="*/ 0 h 924"/>
                  <a:gd name="T2" fmla="*/ 2147483647 w 546"/>
                  <a:gd name="T3" fmla="*/ 2147483647 h 924"/>
                  <a:gd name="T4" fmla="*/ 2147483647 w 546"/>
                  <a:gd name="T5" fmla="*/ 2147483647 h 924"/>
                  <a:gd name="T6" fmla="*/ 2147483647 w 546"/>
                  <a:gd name="T7" fmla="*/ 2147483647 h 924"/>
                  <a:gd name="T8" fmla="*/ 2147483647 w 546"/>
                  <a:gd name="T9" fmla="*/ 2147483647 h 924"/>
                  <a:gd name="T10" fmla="*/ 2147483647 w 546"/>
                  <a:gd name="T11" fmla="*/ 2147483647 h 924"/>
                  <a:gd name="T12" fmla="*/ 2147483647 w 546"/>
                  <a:gd name="T13" fmla="*/ 2147483647 h 924"/>
                  <a:gd name="T14" fmla="*/ 2147483647 w 546"/>
                  <a:gd name="T15" fmla="*/ 2147483647 h 924"/>
                  <a:gd name="T16" fmla="*/ 2147483647 w 546"/>
                  <a:gd name="T17" fmla="*/ 2147483647 h 924"/>
                  <a:gd name="T18" fmla="*/ 2147483647 w 546"/>
                  <a:gd name="T19" fmla="*/ 2147483647 h 924"/>
                  <a:gd name="T20" fmla="*/ 2147483647 w 546"/>
                  <a:gd name="T21" fmla="*/ 2147483647 h 924"/>
                  <a:gd name="T22" fmla="*/ 2147483647 w 546"/>
                  <a:gd name="T23" fmla="*/ 2147483647 h 924"/>
                  <a:gd name="T24" fmla="*/ 2147483647 w 546"/>
                  <a:gd name="T25" fmla="*/ 2147483647 h 924"/>
                  <a:gd name="T26" fmla="*/ 2147483647 w 546"/>
                  <a:gd name="T27" fmla="*/ 2147483647 h 924"/>
                  <a:gd name="T28" fmla="*/ 2147483647 w 546"/>
                  <a:gd name="T29" fmla="*/ 2147483647 h 924"/>
                  <a:gd name="T30" fmla="*/ 2147483647 w 546"/>
                  <a:gd name="T31" fmla="*/ 2147483647 h 924"/>
                  <a:gd name="T32" fmla="*/ 2147483647 w 546"/>
                  <a:gd name="T33" fmla="*/ 2147483647 h 924"/>
                  <a:gd name="T34" fmla="*/ 2147483647 w 546"/>
                  <a:gd name="T35" fmla="*/ 2147483647 h 924"/>
                  <a:gd name="T36" fmla="*/ 2147483647 w 546"/>
                  <a:gd name="T37" fmla="*/ 2147483647 h 924"/>
                  <a:gd name="T38" fmla="*/ 2147483647 w 546"/>
                  <a:gd name="T39" fmla="*/ 2147483647 h 924"/>
                  <a:gd name="T40" fmla="*/ 2147483647 w 546"/>
                  <a:gd name="T41" fmla="*/ 2147483647 h 924"/>
                  <a:gd name="T42" fmla="*/ 2147483647 w 546"/>
                  <a:gd name="T43" fmla="*/ 2147483647 h 924"/>
                  <a:gd name="T44" fmla="*/ 2147483647 w 546"/>
                  <a:gd name="T45" fmla="*/ 2147483647 h 924"/>
                  <a:gd name="T46" fmla="*/ 2147483647 w 546"/>
                  <a:gd name="T47" fmla="*/ 2147483647 h 924"/>
                  <a:gd name="T48" fmla="*/ 2147483647 w 546"/>
                  <a:gd name="T49" fmla="*/ 2147483647 h 924"/>
                  <a:gd name="T50" fmla="*/ 2147483647 w 546"/>
                  <a:gd name="T51" fmla="*/ 2147483647 h 924"/>
                  <a:gd name="T52" fmla="*/ 2147483647 w 546"/>
                  <a:gd name="T53" fmla="*/ 2147483647 h 924"/>
                  <a:gd name="T54" fmla="*/ 2147483647 w 546"/>
                  <a:gd name="T55" fmla="*/ 2147483647 h 924"/>
                  <a:gd name="T56" fmla="*/ 2147483647 w 546"/>
                  <a:gd name="T57" fmla="*/ 2147483647 h 924"/>
                  <a:gd name="T58" fmla="*/ 2147483647 w 546"/>
                  <a:gd name="T59" fmla="*/ 2147483647 h 924"/>
                  <a:gd name="T60" fmla="*/ 2147483647 w 546"/>
                  <a:gd name="T61" fmla="*/ 2147483647 h 924"/>
                  <a:gd name="T62" fmla="*/ 2147483647 w 546"/>
                  <a:gd name="T63" fmla="*/ 2147483647 h 924"/>
                  <a:gd name="T64" fmla="*/ 2147483647 w 546"/>
                  <a:gd name="T65" fmla="*/ 2147483647 h 924"/>
                  <a:gd name="T66" fmla="*/ 2147483647 w 546"/>
                  <a:gd name="T67" fmla="*/ 2147483647 h 924"/>
                  <a:gd name="T68" fmla="*/ 2147483647 w 546"/>
                  <a:gd name="T69" fmla="*/ 2147483647 h 924"/>
                  <a:gd name="T70" fmla="*/ 2147483647 w 546"/>
                  <a:gd name="T71" fmla="*/ 2147483647 h 924"/>
                  <a:gd name="T72" fmla="*/ 2147483647 w 546"/>
                  <a:gd name="T73" fmla="*/ 2147483647 h 924"/>
                  <a:gd name="T74" fmla="*/ 2147483647 w 546"/>
                  <a:gd name="T75" fmla="*/ 2147483647 h 924"/>
                  <a:gd name="T76" fmla="*/ 2147483647 w 546"/>
                  <a:gd name="T77" fmla="*/ 2147483647 h 924"/>
                  <a:gd name="T78" fmla="*/ 2147483647 w 546"/>
                  <a:gd name="T79" fmla="*/ 2147483647 h 924"/>
                  <a:gd name="T80" fmla="*/ 2147483647 w 546"/>
                  <a:gd name="T81" fmla="*/ 2147483647 h 924"/>
                  <a:gd name="T82" fmla="*/ 2147483647 w 546"/>
                  <a:gd name="T83" fmla="*/ 2147483647 h 924"/>
                  <a:gd name="T84" fmla="*/ 2147483647 w 546"/>
                  <a:gd name="T85" fmla="*/ 2147483647 h 924"/>
                  <a:gd name="T86" fmla="*/ 2147483647 w 546"/>
                  <a:gd name="T87" fmla="*/ 2147483647 h 924"/>
                  <a:gd name="T88" fmla="*/ 2147483647 w 546"/>
                  <a:gd name="T89" fmla="*/ 2147483647 h 924"/>
                  <a:gd name="T90" fmla="*/ 2147483647 w 546"/>
                  <a:gd name="T91" fmla="*/ 2147483647 h 924"/>
                  <a:gd name="T92" fmla="*/ 2147483647 w 546"/>
                  <a:gd name="T93" fmla="*/ 2147483647 h 924"/>
                  <a:gd name="T94" fmla="*/ 2147483647 w 546"/>
                  <a:gd name="T95" fmla="*/ 2147483647 h 924"/>
                  <a:gd name="T96" fmla="*/ 2147483647 w 546"/>
                  <a:gd name="T97" fmla="*/ 2147483647 h 924"/>
                  <a:gd name="T98" fmla="*/ 2147483647 w 546"/>
                  <a:gd name="T99" fmla="*/ 2147483647 h 924"/>
                  <a:gd name="T100" fmla="*/ 2147483647 w 546"/>
                  <a:gd name="T101" fmla="*/ 2147483647 h 924"/>
                  <a:gd name="T102" fmla="*/ 2147483647 w 546"/>
                  <a:gd name="T103" fmla="*/ 2147483647 h 924"/>
                  <a:gd name="T104" fmla="*/ 2147483647 w 546"/>
                  <a:gd name="T105" fmla="*/ 2147483647 h 924"/>
                  <a:gd name="T106" fmla="*/ 2147483647 w 546"/>
                  <a:gd name="T107" fmla="*/ 2147483647 h 924"/>
                  <a:gd name="T108" fmla="*/ 2147483647 w 546"/>
                  <a:gd name="T109" fmla="*/ 2147483647 h 924"/>
                  <a:gd name="T110" fmla="*/ 2147483647 w 546"/>
                  <a:gd name="T111" fmla="*/ 2147483647 h 924"/>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546"/>
                  <a:gd name="T169" fmla="*/ 0 h 924"/>
                  <a:gd name="T170" fmla="*/ 546 w 546"/>
                  <a:gd name="T171" fmla="*/ 924 h 924"/>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546" h="924">
                    <a:moveTo>
                      <a:pt x="420" y="30"/>
                    </a:moveTo>
                    <a:lnTo>
                      <a:pt x="414" y="18"/>
                    </a:lnTo>
                    <a:lnTo>
                      <a:pt x="414" y="0"/>
                    </a:lnTo>
                    <a:lnTo>
                      <a:pt x="390" y="6"/>
                    </a:lnTo>
                    <a:lnTo>
                      <a:pt x="390" y="54"/>
                    </a:lnTo>
                    <a:lnTo>
                      <a:pt x="396" y="60"/>
                    </a:lnTo>
                    <a:lnTo>
                      <a:pt x="396" y="66"/>
                    </a:lnTo>
                    <a:lnTo>
                      <a:pt x="426" y="66"/>
                    </a:lnTo>
                    <a:lnTo>
                      <a:pt x="426" y="96"/>
                    </a:lnTo>
                    <a:lnTo>
                      <a:pt x="420" y="102"/>
                    </a:lnTo>
                    <a:lnTo>
                      <a:pt x="420" y="108"/>
                    </a:lnTo>
                    <a:lnTo>
                      <a:pt x="426" y="114"/>
                    </a:lnTo>
                    <a:lnTo>
                      <a:pt x="426" y="126"/>
                    </a:lnTo>
                    <a:lnTo>
                      <a:pt x="408" y="144"/>
                    </a:lnTo>
                    <a:lnTo>
                      <a:pt x="396" y="150"/>
                    </a:lnTo>
                    <a:lnTo>
                      <a:pt x="384" y="150"/>
                    </a:lnTo>
                    <a:lnTo>
                      <a:pt x="384" y="156"/>
                    </a:lnTo>
                    <a:lnTo>
                      <a:pt x="378" y="162"/>
                    </a:lnTo>
                    <a:lnTo>
                      <a:pt x="378" y="168"/>
                    </a:lnTo>
                    <a:lnTo>
                      <a:pt x="372" y="174"/>
                    </a:lnTo>
                    <a:lnTo>
                      <a:pt x="372" y="180"/>
                    </a:lnTo>
                    <a:lnTo>
                      <a:pt x="360" y="192"/>
                    </a:lnTo>
                    <a:lnTo>
                      <a:pt x="354" y="204"/>
                    </a:lnTo>
                    <a:lnTo>
                      <a:pt x="348" y="234"/>
                    </a:lnTo>
                    <a:lnTo>
                      <a:pt x="342" y="240"/>
                    </a:lnTo>
                    <a:lnTo>
                      <a:pt x="342" y="270"/>
                    </a:lnTo>
                    <a:lnTo>
                      <a:pt x="336" y="288"/>
                    </a:lnTo>
                    <a:lnTo>
                      <a:pt x="330" y="294"/>
                    </a:lnTo>
                    <a:lnTo>
                      <a:pt x="312" y="294"/>
                    </a:lnTo>
                    <a:lnTo>
                      <a:pt x="312" y="324"/>
                    </a:lnTo>
                    <a:lnTo>
                      <a:pt x="306" y="342"/>
                    </a:lnTo>
                    <a:lnTo>
                      <a:pt x="306" y="354"/>
                    </a:lnTo>
                    <a:lnTo>
                      <a:pt x="300" y="360"/>
                    </a:lnTo>
                    <a:lnTo>
                      <a:pt x="288" y="366"/>
                    </a:lnTo>
                    <a:lnTo>
                      <a:pt x="282" y="372"/>
                    </a:lnTo>
                    <a:lnTo>
                      <a:pt x="270" y="378"/>
                    </a:lnTo>
                    <a:lnTo>
                      <a:pt x="258" y="426"/>
                    </a:lnTo>
                    <a:lnTo>
                      <a:pt x="234" y="456"/>
                    </a:lnTo>
                    <a:lnTo>
                      <a:pt x="234" y="486"/>
                    </a:lnTo>
                    <a:lnTo>
                      <a:pt x="228" y="492"/>
                    </a:lnTo>
                    <a:lnTo>
                      <a:pt x="216" y="498"/>
                    </a:lnTo>
                    <a:lnTo>
                      <a:pt x="210" y="510"/>
                    </a:lnTo>
                    <a:lnTo>
                      <a:pt x="210" y="522"/>
                    </a:lnTo>
                    <a:lnTo>
                      <a:pt x="192" y="540"/>
                    </a:lnTo>
                    <a:lnTo>
                      <a:pt x="186" y="540"/>
                    </a:lnTo>
                    <a:lnTo>
                      <a:pt x="180" y="534"/>
                    </a:lnTo>
                    <a:lnTo>
                      <a:pt x="174" y="522"/>
                    </a:lnTo>
                    <a:lnTo>
                      <a:pt x="174" y="516"/>
                    </a:lnTo>
                    <a:lnTo>
                      <a:pt x="168" y="504"/>
                    </a:lnTo>
                    <a:lnTo>
                      <a:pt x="156" y="492"/>
                    </a:lnTo>
                    <a:lnTo>
                      <a:pt x="150" y="480"/>
                    </a:lnTo>
                    <a:lnTo>
                      <a:pt x="138" y="480"/>
                    </a:lnTo>
                    <a:lnTo>
                      <a:pt x="144" y="486"/>
                    </a:lnTo>
                    <a:lnTo>
                      <a:pt x="144" y="498"/>
                    </a:lnTo>
                    <a:lnTo>
                      <a:pt x="138" y="504"/>
                    </a:lnTo>
                    <a:lnTo>
                      <a:pt x="132" y="504"/>
                    </a:lnTo>
                    <a:lnTo>
                      <a:pt x="120" y="498"/>
                    </a:lnTo>
                    <a:lnTo>
                      <a:pt x="114" y="492"/>
                    </a:lnTo>
                    <a:lnTo>
                      <a:pt x="108" y="492"/>
                    </a:lnTo>
                    <a:lnTo>
                      <a:pt x="102" y="498"/>
                    </a:lnTo>
                    <a:lnTo>
                      <a:pt x="90" y="522"/>
                    </a:lnTo>
                    <a:lnTo>
                      <a:pt x="84" y="528"/>
                    </a:lnTo>
                    <a:lnTo>
                      <a:pt x="84" y="534"/>
                    </a:lnTo>
                    <a:lnTo>
                      <a:pt x="18" y="588"/>
                    </a:lnTo>
                    <a:lnTo>
                      <a:pt x="18" y="642"/>
                    </a:lnTo>
                    <a:lnTo>
                      <a:pt x="12" y="654"/>
                    </a:lnTo>
                    <a:lnTo>
                      <a:pt x="12" y="666"/>
                    </a:lnTo>
                    <a:lnTo>
                      <a:pt x="6" y="672"/>
                    </a:lnTo>
                    <a:lnTo>
                      <a:pt x="6" y="678"/>
                    </a:lnTo>
                    <a:lnTo>
                      <a:pt x="0" y="690"/>
                    </a:lnTo>
                    <a:lnTo>
                      <a:pt x="24" y="684"/>
                    </a:lnTo>
                    <a:lnTo>
                      <a:pt x="24" y="708"/>
                    </a:lnTo>
                    <a:lnTo>
                      <a:pt x="36" y="732"/>
                    </a:lnTo>
                    <a:lnTo>
                      <a:pt x="60" y="744"/>
                    </a:lnTo>
                    <a:lnTo>
                      <a:pt x="66" y="750"/>
                    </a:lnTo>
                    <a:lnTo>
                      <a:pt x="84" y="726"/>
                    </a:lnTo>
                    <a:lnTo>
                      <a:pt x="66" y="756"/>
                    </a:lnTo>
                    <a:lnTo>
                      <a:pt x="84" y="786"/>
                    </a:lnTo>
                    <a:lnTo>
                      <a:pt x="102" y="792"/>
                    </a:lnTo>
                    <a:lnTo>
                      <a:pt x="102" y="840"/>
                    </a:lnTo>
                    <a:lnTo>
                      <a:pt x="90" y="840"/>
                    </a:lnTo>
                    <a:lnTo>
                      <a:pt x="90" y="870"/>
                    </a:lnTo>
                    <a:lnTo>
                      <a:pt x="102" y="882"/>
                    </a:lnTo>
                    <a:lnTo>
                      <a:pt x="198" y="882"/>
                    </a:lnTo>
                    <a:lnTo>
                      <a:pt x="216" y="864"/>
                    </a:lnTo>
                    <a:lnTo>
                      <a:pt x="228" y="882"/>
                    </a:lnTo>
                    <a:lnTo>
                      <a:pt x="258" y="882"/>
                    </a:lnTo>
                    <a:lnTo>
                      <a:pt x="270" y="870"/>
                    </a:lnTo>
                    <a:lnTo>
                      <a:pt x="276" y="870"/>
                    </a:lnTo>
                    <a:lnTo>
                      <a:pt x="288" y="876"/>
                    </a:lnTo>
                    <a:lnTo>
                      <a:pt x="294" y="876"/>
                    </a:lnTo>
                    <a:lnTo>
                      <a:pt x="342" y="870"/>
                    </a:lnTo>
                    <a:lnTo>
                      <a:pt x="342" y="888"/>
                    </a:lnTo>
                    <a:lnTo>
                      <a:pt x="372" y="888"/>
                    </a:lnTo>
                    <a:lnTo>
                      <a:pt x="390" y="882"/>
                    </a:lnTo>
                    <a:lnTo>
                      <a:pt x="438" y="882"/>
                    </a:lnTo>
                    <a:lnTo>
                      <a:pt x="450" y="888"/>
                    </a:lnTo>
                    <a:lnTo>
                      <a:pt x="456" y="894"/>
                    </a:lnTo>
                    <a:lnTo>
                      <a:pt x="468" y="894"/>
                    </a:lnTo>
                    <a:lnTo>
                      <a:pt x="474" y="900"/>
                    </a:lnTo>
                    <a:lnTo>
                      <a:pt x="510" y="900"/>
                    </a:lnTo>
                    <a:lnTo>
                      <a:pt x="534" y="924"/>
                    </a:lnTo>
                    <a:lnTo>
                      <a:pt x="540" y="882"/>
                    </a:lnTo>
                    <a:lnTo>
                      <a:pt x="546" y="876"/>
                    </a:lnTo>
                    <a:lnTo>
                      <a:pt x="534" y="864"/>
                    </a:lnTo>
                    <a:lnTo>
                      <a:pt x="534" y="834"/>
                    </a:lnTo>
                    <a:lnTo>
                      <a:pt x="528" y="816"/>
                    </a:lnTo>
                    <a:lnTo>
                      <a:pt x="516" y="810"/>
                    </a:lnTo>
                    <a:lnTo>
                      <a:pt x="510" y="798"/>
                    </a:lnTo>
                    <a:lnTo>
                      <a:pt x="498" y="792"/>
                    </a:lnTo>
                    <a:lnTo>
                      <a:pt x="486" y="780"/>
                    </a:lnTo>
                    <a:lnTo>
                      <a:pt x="474" y="756"/>
                    </a:lnTo>
                    <a:lnTo>
                      <a:pt x="468" y="750"/>
                    </a:lnTo>
                    <a:lnTo>
                      <a:pt x="468" y="708"/>
                    </a:lnTo>
                    <a:lnTo>
                      <a:pt x="462" y="708"/>
                    </a:lnTo>
                    <a:lnTo>
                      <a:pt x="444" y="690"/>
                    </a:lnTo>
                    <a:lnTo>
                      <a:pt x="438" y="690"/>
                    </a:lnTo>
                    <a:lnTo>
                      <a:pt x="438" y="642"/>
                    </a:lnTo>
                    <a:lnTo>
                      <a:pt x="420" y="630"/>
                    </a:lnTo>
                    <a:lnTo>
                      <a:pt x="432" y="618"/>
                    </a:lnTo>
                    <a:lnTo>
                      <a:pt x="432" y="582"/>
                    </a:lnTo>
                    <a:lnTo>
                      <a:pt x="426" y="582"/>
                    </a:lnTo>
                    <a:lnTo>
                      <a:pt x="414" y="576"/>
                    </a:lnTo>
                    <a:lnTo>
                      <a:pt x="414" y="570"/>
                    </a:lnTo>
                    <a:lnTo>
                      <a:pt x="426" y="558"/>
                    </a:lnTo>
                    <a:lnTo>
                      <a:pt x="438" y="552"/>
                    </a:lnTo>
                    <a:lnTo>
                      <a:pt x="444" y="546"/>
                    </a:lnTo>
                    <a:lnTo>
                      <a:pt x="450" y="546"/>
                    </a:lnTo>
                    <a:lnTo>
                      <a:pt x="456" y="510"/>
                    </a:lnTo>
                    <a:lnTo>
                      <a:pt x="462" y="510"/>
                    </a:lnTo>
                    <a:lnTo>
                      <a:pt x="468" y="498"/>
                    </a:lnTo>
                    <a:lnTo>
                      <a:pt x="468" y="480"/>
                    </a:lnTo>
                    <a:lnTo>
                      <a:pt x="474" y="474"/>
                    </a:lnTo>
                    <a:lnTo>
                      <a:pt x="480" y="462"/>
                    </a:lnTo>
                    <a:lnTo>
                      <a:pt x="492" y="450"/>
                    </a:lnTo>
                    <a:lnTo>
                      <a:pt x="498" y="450"/>
                    </a:lnTo>
                    <a:lnTo>
                      <a:pt x="498" y="438"/>
                    </a:lnTo>
                    <a:lnTo>
                      <a:pt x="492" y="420"/>
                    </a:lnTo>
                    <a:lnTo>
                      <a:pt x="486" y="408"/>
                    </a:lnTo>
                    <a:lnTo>
                      <a:pt x="486" y="390"/>
                    </a:lnTo>
                    <a:lnTo>
                      <a:pt x="474" y="366"/>
                    </a:lnTo>
                    <a:lnTo>
                      <a:pt x="462" y="354"/>
                    </a:lnTo>
                    <a:lnTo>
                      <a:pt x="450" y="348"/>
                    </a:lnTo>
                    <a:lnTo>
                      <a:pt x="432" y="336"/>
                    </a:lnTo>
                    <a:lnTo>
                      <a:pt x="420" y="324"/>
                    </a:lnTo>
                    <a:lnTo>
                      <a:pt x="414" y="312"/>
                    </a:lnTo>
                    <a:lnTo>
                      <a:pt x="402" y="300"/>
                    </a:lnTo>
                    <a:lnTo>
                      <a:pt x="390" y="276"/>
                    </a:lnTo>
                    <a:lnTo>
                      <a:pt x="390" y="264"/>
                    </a:lnTo>
                    <a:lnTo>
                      <a:pt x="396" y="258"/>
                    </a:lnTo>
                    <a:lnTo>
                      <a:pt x="408" y="252"/>
                    </a:lnTo>
                    <a:lnTo>
                      <a:pt x="504" y="252"/>
                    </a:lnTo>
                    <a:lnTo>
                      <a:pt x="486" y="234"/>
                    </a:lnTo>
                    <a:lnTo>
                      <a:pt x="480" y="222"/>
                    </a:lnTo>
                    <a:lnTo>
                      <a:pt x="468" y="216"/>
                    </a:lnTo>
                    <a:lnTo>
                      <a:pt x="462" y="204"/>
                    </a:lnTo>
                    <a:lnTo>
                      <a:pt x="462" y="186"/>
                    </a:lnTo>
                    <a:lnTo>
                      <a:pt x="456" y="168"/>
                    </a:lnTo>
                    <a:lnTo>
                      <a:pt x="456" y="132"/>
                    </a:lnTo>
                    <a:lnTo>
                      <a:pt x="462" y="132"/>
                    </a:lnTo>
                    <a:lnTo>
                      <a:pt x="462" y="96"/>
                    </a:lnTo>
                    <a:lnTo>
                      <a:pt x="456" y="84"/>
                    </a:lnTo>
                    <a:lnTo>
                      <a:pt x="444" y="78"/>
                    </a:lnTo>
                    <a:lnTo>
                      <a:pt x="450" y="42"/>
                    </a:lnTo>
                    <a:lnTo>
                      <a:pt x="444" y="42"/>
                    </a:lnTo>
                    <a:lnTo>
                      <a:pt x="438" y="36"/>
                    </a:lnTo>
                    <a:lnTo>
                      <a:pt x="426" y="36"/>
                    </a:lnTo>
                    <a:lnTo>
                      <a:pt x="420" y="30"/>
                    </a:lnTo>
                    <a:close/>
                  </a:path>
                </a:pathLst>
              </a:custGeom>
              <a:grpFill/>
              <a:ln w="3175">
                <a:solidFill>
                  <a:schemeClr val="bg1"/>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de-DE" sz="1800" b="0" i="0" u="none" strike="noStrike" kern="1200" cap="none" spc="0" normalizeH="0" baseline="0" noProof="0">
                  <a:ln>
                    <a:noFill/>
                  </a:ln>
                  <a:solidFill>
                    <a:srgbClr val="FFC000"/>
                  </a:solidFill>
                  <a:effectLst/>
                  <a:uLnTx/>
                  <a:uFillTx/>
                  <a:latin typeface="Calibri" pitchFamily="34" charset="0"/>
                  <a:ea typeface="+mn-ea"/>
                  <a:cs typeface="+mn-cs"/>
                </a:endParaRPr>
              </a:p>
            </p:txBody>
          </p:sp>
        </p:grpSp>
        <p:sp>
          <p:nvSpPr>
            <p:cNvPr id="162" name="Cambodia" descr="© INSCALE GmbH, 05.05.2010&#10;http://www.presentationload.com/"/>
            <p:cNvSpPr>
              <a:spLocks/>
            </p:cNvSpPr>
            <p:nvPr/>
          </p:nvSpPr>
          <p:spPr bwMode="gray">
            <a:xfrm>
              <a:off x="6815528" y="3940033"/>
              <a:ext cx="124145" cy="104107"/>
            </a:xfrm>
            <a:custGeom>
              <a:avLst/>
              <a:gdLst>
                <a:gd name="T0" fmla="*/ 2147483647 w 378"/>
                <a:gd name="T1" fmla="*/ 2147483647 h 336"/>
                <a:gd name="T2" fmla="*/ 2147483647 w 378"/>
                <a:gd name="T3" fmla="*/ 2147483647 h 336"/>
                <a:gd name="T4" fmla="*/ 2147483647 w 378"/>
                <a:gd name="T5" fmla="*/ 2147483647 h 336"/>
                <a:gd name="T6" fmla="*/ 2147483647 w 378"/>
                <a:gd name="T7" fmla="*/ 2147483647 h 336"/>
                <a:gd name="T8" fmla="*/ 2147483647 w 378"/>
                <a:gd name="T9" fmla="*/ 2147483647 h 336"/>
                <a:gd name="T10" fmla="*/ 2147483647 w 378"/>
                <a:gd name="T11" fmla="*/ 2147483647 h 336"/>
                <a:gd name="T12" fmla="*/ 2147483647 w 378"/>
                <a:gd name="T13" fmla="*/ 2147483647 h 336"/>
                <a:gd name="T14" fmla="*/ 2147483647 w 378"/>
                <a:gd name="T15" fmla="*/ 2147483647 h 336"/>
                <a:gd name="T16" fmla="*/ 2147483647 w 378"/>
                <a:gd name="T17" fmla="*/ 2147483647 h 336"/>
                <a:gd name="T18" fmla="*/ 2147483647 w 378"/>
                <a:gd name="T19" fmla="*/ 2147483647 h 336"/>
                <a:gd name="T20" fmla="*/ 2147483647 w 378"/>
                <a:gd name="T21" fmla="*/ 2147483647 h 336"/>
                <a:gd name="T22" fmla="*/ 2147483647 w 378"/>
                <a:gd name="T23" fmla="*/ 2147483647 h 336"/>
                <a:gd name="T24" fmla="*/ 2147483647 w 378"/>
                <a:gd name="T25" fmla="*/ 2147483647 h 336"/>
                <a:gd name="T26" fmla="*/ 2147483647 w 378"/>
                <a:gd name="T27" fmla="*/ 2147483647 h 336"/>
                <a:gd name="T28" fmla="*/ 0 w 378"/>
                <a:gd name="T29" fmla="*/ 2147483647 h 336"/>
                <a:gd name="T30" fmla="*/ 2147483647 w 378"/>
                <a:gd name="T31" fmla="*/ 2147483647 h 336"/>
                <a:gd name="T32" fmla="*/ 2147483647 w 378"/>
                <a:gd name="T33" fmla="*/ 2147483647 h 336"/>
                <a:gd name="T34" fmla="*/ 2147483647 w 378"/>
                <a:gd name="T35" fmla="*/ 2147483647 h 336"/>
                <a:gd name="T36" fmla="*/ 2147483647 w 378"/>
                <a:gd name="T37" fmla="*/ 2147483647 h 336"/>
                <a:gd name="T38" fmla="*/ 2147483647 w 378"/>
                <a:gd name="T39" fmla="*/ 2147483647 h 336"/>
                <a:gd name="T40" fmla="*/ 2147483647 w 378"/>
                <a:gd name="T41" fmla="*/ 2147483647 h 336"/>
                <a:gd name="T42" fmla="*/ 2147483647 w 378"/>
                <a:gd name="T43" fmla="*/ 2147483647 h 336"/>
                <a:gd name="T44" fmla="*/ 2147483647 w 378"/>
                <a:gd name="T45" fmla="*/ 2147483647 h 336"/>
                <a:gd name="T46" fmla="*/ 2147483647 w 378"/>
                <a:gd name="T47" fmla="*/ 2147483647 h 336"/>
                <a:gd name="T48" fmla="*/ 2147483647 w 378"/>
                <a:gd name="T49" fmla="*/ 2147483647 h 336"/>
                <a:gd name="T50" fmla="*/ 2147483647 w 378"/>
                <a:gd name="T51" fmla="*/ 2147483647 h 336"/>
                <a:gd name="T52" fmla="*/ 2147483647 w 378"/>
                <a:gd name="T53" fmla="*/ 2147483647 h 336"/>
                <a:gd name="T54" fmla="*/ 2147483647 w 378"/>
                <a:gd name="T55" fmla="*/ 2147483647 h 336"/>
                <a:gd name="T56" fmla="*/ 2147483647 w 378"/>
                <a:gd name="T57" fmla="*/ 2147483647 h 336"/>
                <a:gd name="T58" fmla="*/ 2147483647 w 378"/>
                <a:gd name="T59" fmla="*/ 2147483647 h 336"/>
                <a:gd name="T60" fmla="*/ 2147483647 w 378"/>
                <a:gd name="T61" fmla="*/ 2147483647 h 336"/>
                <a:gd name="T62" fmla="*/ 2147483647 w 378"/>
                <a:gd name="T63" fmla="*/ 2147483647 h 336"/>
                <a:gd name="T64" fmla="*/ 2147483647 w 378"/>
                <a:gd name="T65" fmla="*/ 2147483647 h 336"/>
                <a:gd name="T66" fmla="*/ 2147483647 w 378"/>
                <a:gd name="T67" fmla="*/ 2147483647 h 336"/>
                <a:gd name="T68" fmla="*/ 2147483647 w 378"/>
                <a:gd name="T69" fmla="*/ 2147483647 h 336"/>
                <a:gd name="T70" fmla="*/ 2147483647 w 378"/>
                <a:gd name="T71" fmla="*/ 2147483647 h 336"/>
                <a:gd name="T72" fmla="*/ 2147483647 w 378"/>
                <a:gd name="T73" fmla="*/ 2147483647 h 336"/>
                <a:gd name="T74" fmla="*/ 2147483647 w 378"/>
                <a:gd name="T75" fmla="*/ 2147483647 h 336"/>
                <a:gd name="T76" fmla="*/ 2147483647 w 378"/>
                <a:gd name="T77" fmla="*/ 2147483647 h 336"/>
                <a:gd name="T78" fmla="*/ 2147483647 w 378"/>
                <a:gd name="T79" fmla="*/ 2147483647 h 336"/>
                <a:gd name="T80" fmla="*/ 2147483647 w 378"/>
                <a:gd name="T81" fmla="*/ 2147483647 h 336"/>
                <a:gd name="T82" fmla="*/ 2147483647 w 378"/>
                <a:gd name="T83" fmla="*/ 2147483647 h 336"/>
                <a:gd name="T84" fmla="*/ 2147483647 w 378"/>
                <a:gd name="T85" fmla="*/ 2147483647 h 336"/>
                <a:gd name="T86" fmla="*/ 2147483647 w 378"/>
                <a:gd name="T87" fmla="*/ 2147483647 h 336"/>
                <a:gd name="T88" fmla="*/ 2147483647 w 378"/>
                <a:gd name="T89" fmla="*/ 2147483647 h 336"/>
                <a:gd name="T90" fmla="*/ 2147483647 w 378"/>
                <a:gd name="T91" fmla="*/ 2147483647 h 336"/>
                <a:gd name="T92" fmla="*/ 2147483647 w 378"/>
                <a:gd name="T93" fmla="*/ 2147483647 h 336"/>
                <a:gd name="T94" fmla="*/ 2147483647 w 378"/>
                <a:gd name="T95" fmla="*/ 0 h 3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378"/>
                <a:gd name="T145" fmla="*/ 0 h 336"/>
                <a:gd name="T146" fmla="*/ 378 w 378"/>
                <a:gd name="T147" fmla="*/ 336 h 3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378" h="336">
                  <a:moveTo>
                    <a:pt x="324" y="0"/>
                  </a:moveTo>
                  <a:lnTo>
                    <a:pt x="312" y="12"/>
                  </a:lnTo>
                  <a:lnTo>
                    <a:pt x="276" y="0"/>
                  </a:lnTo>
                  <a:lnTo>
                    <a:pt x="264" y="12"/>
                  </a:lnTo>
                  <a:lnTo>
                    <a:pt x="246" y="24"/>
                  </a:lnTo>
                  <a:lnTo>
                    <a:pt x="258" y="36"/>
                  </a:lnTo>
                  <a:lnTo>
                    <a:pt x="258" y="48"/>
                  </a:lnTo>
                  <a:lnTo>
                    <a:pt x="252" y="54"/>
                  </a:lnTo>
                  <a:lnTo>
                    <a:pt x="240" y="54"/>
                  </a:lnTo>
                  <a:lnTo>
                    <a:pt x="228" y="42"/>
                  </a:lnTo>
                  <a:lnTo>
                    <a:pt x="228" y="36"/>
                  </a:lnTo>
                  <a:lnTo>
                    <a:pt x="222" y="36"/>
                  </a:lnTo>
                  <a:lnTo>
                    <a:pt x="216" y="30"/>
                  </a:lnTo>
                  <a:lnTo>
                    <a:pt x="192" y="30"/>
                  </a:lnTo>
                  <a:lnTo>
                    <a:pt x="192" y="18"/>
                  </a:lnTo>
                  <a:lnTo>
                    <a:pt x="186" y="18"/>
                  </a:lnTo>
                  <a:lnTo>
                    <a:pt x="186" y="24"/>
                  </a:lnTo>
                  <a:lnTo>
                    <a:pt x="180" y="18"/>
                  </a:lnTo>
                  <a:lnTo>
                    <a:pt x="168" y="12"/>
                  </a:lnTo>
                  <a:lnTo>
                    <a:pt x="138" y="12"/>
                  </a:lnTo>
                  <a:lnTo>
                    <a:pt x="126" y="18"/>
                  </a:lnTo>
                  <a:lnTo>
                    <a:pt x="114" y="18"/>
                  </a:lnTo>
                  <a:lnTo>
                    <a:pt x="108" y="12"/>
                  </a:lnTo>
                  <a:lnTo>
                    <a:pt x="72" y="12"/>
                  </a:lnTo>
                  <a:lnTo>
                    <a:pt x="54" y="18"/>
                  </a:lnTo>
                  <a:lnTo>
                    <a:pt x="42" y="24"/>
                  </a:lnTo>
                  <a:lnTo>
                    <a:pt x="36" y="30"/>
                  </a:lnTo>
                  <a:lnTo>
                    <a:pt x="30" y="42"/>
                  </a:lnTo>
                  <a:lnTo>
                    <a:pt x="30" y="48"/>
                  </a:lnTo>
                  <a:lnTo>
                    <a:pt x="0" y="78"/>
                  </a:lnTo>
                  <a:lnTo>
                    <a:pt x="6" y="114"/>
                  </a:lnTo>
                  <a:lnTo>
                    <a:pt x="18" y="126"/>
                  </a:lnTo>
                  <a:lnTo>
                    <a:pt x="18" y="156"/>
                  </a:lnTo>
                  <a:lnTo>
                    <a:pt x="30" y="168"/>
                  </a:lnTo>
                  <a:lnTo>
                    <a:pt x="30" y="198"/>
                  </a:lnTo>
                  <a:lnTo>
                    <a:pt x="42" y="210"/>
                  </a:lnTo>
                  <a:lnTo>
                    <a:pt x="48" y="222"/>
                  </a:lnTo>
                  <a:lnTo>
                    <a:pt x="54" y="228"/>
                  </a:lnTo>
                  <a:lnTo>
                    <a:pt x="54" y="234"/>
                  </a:lnTo>
                  <a:lnTo>
                    <a:pt x="42" y="246"/>
                  </a:lnTo>
                  <a:lnTo>
                    <a:pt x="54" y="270"/>
                  </a:lnTo>
                  <a:lnTo>
                    <a:pt x="60" y="276"/>
                  </a:lnTo>
                  <a:lnTo>
                    <a:pt x="72" y="282"/>
                  </a:lnTo>
                  <a:lnTo>
                    <a:pt x="78" y="282"/>
                  </a:lnTo>
                  <a:lnTo>
                    <a:pt x="90" y="270"/>
                  </a:lnTo>
                  <a:lnTo>
                    <a:pt x="90" y="264"/>
                  </a:lnTo>
                  <a:lnTo>
                    <a:pt x="90" y="288"/>
                  </a:lnTo>
                  <a:lnTo>
                    <a:pt x="96" y="300"/>
                  </a:lnTo>
                  <a:lnTo>
                    <a:pt x="102" y="306"/>
                  </a:lnTo>
                  <a:lnTo>
                    <a:pt x="114" y="306"/>
                  </a:lnTo>
                  <a:lnTo>
                    <a:pt x="120" y="300"/>
                  </a:lnTo>
                  <a:lnTo>
                    <a:pt x="132" y="300"/>
                  </a:lnTo>
                  <a:lnTo>
                    <a:pt x="138" y="306"/>
                  </a:lnTo>
                  <a:lnTo>
                    <a:pt x="138" y="312"/>
                  </a:lnTo>
                  <a:lnTo>
                    <a:pt x="150" y="336"/>
                  </a:lnTo>
                  <a:lnTo>
                    <a:pt x="168" y="336"/>
                  </a:lnTo>
                  <a:lnTo>
                    <a:pt x="180" y="324"/>
                  </a:lnTo>
                  <a:lnTo>
                    <a:pt x="192" y="318"/>
                  </a:lnTo>
                  <a:lnTo>
                    <a:pt x="210" y="318"/>
                  </a:lnTo>
                  <a:lnTo>
                    <a:pt x="222" y="312"/>
                  </a:lnTo>
                  <a:lnTo>
                    <a:pt x="222" y="306"/>
                  </a:lnTo>
                  <a:lnTo>
                    <a:pt x="216" y="300"/>
                  </a:lnTo>
                  <a:lnTo>
                    <a:pt x="210" y="300"/>
                  </a:lnTo>
                  <a:lnTo>
                    <a:pt x="204" y="294"/>
                  </a:lnTo>
                  <a:lnTo>
                    <a:pt x="240" y="294"/>
                  </a:lnTo>
                  <a:lnTo>
                    <a:pt x="240" y="288"/>
                  </a:lnTo>
                  <a:lnTo>
                    <a:pt x="246" y="282"/>
                  </a:lnTo>
                  <a:lnTo>
                    <a:pt x="258" y="282"/>
                  </a:lnTo>
                  <a:lnTo>
                    <a:pt x="270" y="288"/>
                  </a:lnTo>
                  <a:lnTo>
                    <a:pt x="276" y="294"/>
                  </a:lnTo>
                  <a:lnTo>
                    <a:pt x="288" y="300"/>
                  </a:lnTo>
                  <a:lnTo>
                    <a:pt x="294" y="306"/>
                  </a:lnTo>
                  <a:lnTo>
                    <a:pt x="294" y="294"/>
                  </a:lnTo>
                  <a:lnTo>
                    <a:pt x="276" y="276"/>
                  </a:lnTo>
                  <a:lnTo>
                    <a:pt x="264" y="252"/>
                  </a:lnTo>
                  <a:lnTo>
                    <a:pt x="264" y="228"/>
                  </a:lnTo>
                  <a:lnTo>
                    <a:pt x="306" y="228"/>
                  </a:lnTo>
                  <a:lnTo>
                    <a:pt x="306" y="204"/>
                  </a:lnTo>
                  <a:lnTo>
                    <a:pt x="336" y="204"/>
                  </a:lnTo>
                  <a:lnTo>
                    <a:pt x="336" y="186"/>
                  </a:lnTo>
                  <a:lnTo>
                    <a:pt x="342" y="180"/>
                  </a:lnTo>
                  <a:lnTo>
                    <a:pt x="360" y="180"/>
                  </a:lnTo>
                  <a:lnTo>
                    <a:pt x="372" y="186"/>
                  </a:lnTo>
                  <a:lnTo>
                    <a:pt x="372" y="156"/>
                  </a:lnTo>
                  <a:lnTo>
                    <a:pt x="366" y="150"/>
                  </a:lnTo>
                  <a:lnTo>
                    <a:pt x="366" y="120"/>
                  </a:lnTo>
                  <a:lnTo>
                    <a:pt x="360" y="114"/>
                  </a:lnTo>
                  <a:lnTo>
                    <a:pt x="360" y="102"/>
                  </a:lnTo>
                  <a:lnTo>
                    <a:pt x="366" y="102"/>
                  </a:lnTo>
                  <a:lnTo>
                    <a:pt x="378" y="90"/>
                  </a:lnTo>
                  <a:lnTo>
                    <a:pt x="378" y="84"/>
                  </a:lnTo>
                  <a:lnTo>
                    <a:pt x="366" y="60"/>
                  </a:lnTo>
                  <a:lnTo>
                    <a:pt x="354" y="48"/>
                  </a:lnTo>
                  <a:lnTo>
                    <a:pt x="348" y="48"/>
                  </a:lnTo>
                  <a:lnTo>
                    <a:pt x="348" y="6"/>
                  </a:lnTo>
                  <a:lnTo>
                    <a:pt x="324" y="0"/>
                  </a:lnTo>
                  <a:close/>
                </a:path>
              </a:pathLst>
            </a:custGeom>
            <a:grpFill/>
            <a:ln w="3175">
              <a:solidFill>
                <a:schemeClr val="bg1"/>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de-DE" sz="1800" b="0" i="0" u="none" strike="noStrike" kern="1200" cap="none" spc="0" normalizeH="0" baseline="0" noProof="0">
                <a:ln>
                  <a:noFill/>
                </a:ln>
                <a:solidFill>
                  <a:srgbClr val="FFC000"/>
                </a:solidFill>
                <a:effectLst/>
                <a:uLnTx/>
                <a:uFillTx/>
                <a:latin typeface="Calibri" pitchFamily="34" charset="0"/>
                <a:ea typeface="+mn-ea"/>
                <a:cs typeface="+mn-cs"/>
              </a:endParaRPr>
            </a:p>
          </p:txBody>
        </p:sp>
        <p:sp>
          <p:nvSpPr>
            <p:cNvPr id="163" name="Burundi" descr="© INSCALE GmbH, 05.05.2010&#10;http://www.presentationload.com/"/>
            <p:cNvSpPr>
              <a:spLocks/>
            </p:cNvSpPr>
            <p:nvPr/>
          </p:nvSpPr>
          <p:spPr bwMode="gray">
            <a:xfrm>
              <a:off x="5136376" y="4365035"/>
              <a:ext cx="43515" cy="52666"/>
            </a:xfrm>
            <a:custGeom>
              <a:avLst/>
              <a:gdLst>
                <a:gd name="T0" fmla="*/ 2147483647 w 132"/>
                <a:gd name="T1" fmla="*/ 2147483647 h 168"/>
                <a:gd name="T2" fmla="*/ 2147483647 w 132"/>
                <a:gd name="T3" fmla="*/ 2147483647 h 168"/>
                <a:gd name="T4" fmla="*/ 2147483647 w 132"/>
                <a:gd name="T5" fmla="*/ 2147483647 h 168"/>
                <a:gd name="T6" fmla="*/ 2147483647 w 132"/>
                <a:gd name="T7" fmla="*/ 2147483647 h 168"/>
                <a:gd name="T8" fmla="*/ 2147483647 w 132"/>
                <a:gd name="T9" fmla="*/ 2147483647 h 168"/>
                <a:gd name="T10" fmla="*/ 2147483647 w 132"/>
                <a:gd name="T11" fmla="*/ 2147483647 h 168"/>
                <a:gd name="T12" fmla="*/ 2147483647 w 132"/>
                <a:gd name="T13" fmla="*/ 2147483647 h 168"/>
                <a:gd name="T14" fmla="*/ 2147483647 w 132"/>
                <a:gd name="T15" fmla="*/ 2147483647 h 168"/>
                <a:gd name="T16" fmla="*/ 2147483647 w 132"/>
                <a:gd name="T17" fmla="*/ 2147483647 h 168"/>
                <a:gd name="T18" fmla="*/ 2147483647 w 132"/>
                <a:gd name="T19" fmla="*/ 2147483647 h 168"/>
                <a:gd name="T20" fmla="*/ 2147483647 w 132"/>
                <a:gd name="T21" fmla="*/ 2147483647 h 168"/>
                <a:gd name="T22" fmla="*/ 2147483647 w 132"/>
                <a:gd name="T23" fmla="*/ 2147483647 h 168"/>
                <a:gd name="T24" fmla="*/ 2147483647 w 132"/>
                <a:gd name="T25" fmla="*/ 2147483647 h 168"/>
                <a:gd name="T26" fmla="*/ 2147483647 w 132"/>
                <a:gd name="T27" fmla="*/ 2147483647 h 168"/>
                <a:gd name="T28" fmla="*/ 2147483647 w 132"/>
                <a:gd name="T29" fmla="*/ 2147483647 h 168"/>
                <a:gd name="T30" fmla="*/ 2147483647 w 132"/>
                <a:gd name="T31" fmla="*/ 2147483647 h 168"/>
                <a:gd name="T32" fmla="*/ 2147483647 w 132"/>
                <a:gd name="T33" fmla="*/ 2147483647 h 168"/>
                <a:gd name="T34" fmla="*/ 2147483647 w 132"/>
                <a:gd name="T35" fmla="*/ 2147483647 h 168"/>
                <a:gd name="T36" fmla="*/ 2147483647 w 132"/>
                <a:gd name="T37" fmla="*/ 2147483647 h 168"/>
                <a:gd name="T38" fmla="*/ 2147483647 w 132"/>
                <a:gd name="T39" fmla="*/ 2147483647 h 168"/>
                <a:gd name="T40" fmla="*/ 2147483647 w 132"/>
                <a:gd name="T41" fmla="*/ 2147483647 h 168"/>
                <a:gd name="T42" fmla="*/ 2147483647 w 132"/>
                <a:gd name="T43" fmla="*/ 2147483647 h 168"/>
                <a:gd name="T44" fmla="*/ 2147483647 w 132"/>
                <a:gd name="T45" fmla="*/ 2147483647 h 168"/>
                <a:gd name="T46" fmla="*/ 2147483647 w 132"/>
                <a:gd name="T47" fmla="*/ 0 h 168"/>
                <a:gd name="T48" fmla="*/ 2147483647 w 132"/>
                <a:gd name="T49" fmla="*/ 0 h 168"/>
                <a:gd name="T50" fmla="*/ 2147483647 w 132"/>
                <a:gd name="T51" fmla="*/ 0 h 168"/>
                <a:gd name="T52" fmla="*/ 2147483647 w 132"/>
                <a:gd name="T53" fmla="*/ 2147483647 h 168"/>
                <a:gd name="T54" fmla="*/ 2147483647 w 132"/>
                <a:gd name="T55" fmla="*/ 2147483647 h 168"/>
                <a:gd name="T56" fmla="*/ 2147483647 w 132"/>
                <a:gd name="T57" fmla="*/ 2147483647 h 168"/>
                <a:gd name="T58" fmla="*/ 2147483647 w 132"/>
                <a:gd name="T59" fmla="*/ 2147483647 h 168"/>
                <a:gd name="T60" fmla="*/ 2147483647 w 132"/>
                <a:gd name="T61" fmla="*/ 2147483647 h 168"/>
                <a:gd name="T62" fmla="*/ 2147483647 w 132"/>
                <a:gd name="T63" fmla="*/ 2147483647 h 168"/>
                <a:gd name="T64" fmla="*/ 0 w 132"/>
                <a:gd name="T65" fmla="*/ 2147483647 h 168"/>
                <a:gd name="T66" fmla="*/ 2147483647 w 132"/>
                <a:gd name="T67" fmla="*/ 2147483647 h 168"/>
                <a:gd name="T68" fmla="*/ 2147483647 w 132"/>
                <a:gd name="T69" fmla="*/ 2147483647 h 168"/>
                <a:gd name="T70" fmla="*/ 2147483647 w 132"/>
                <a:gd name="T71" fmla="*/ 2147483647 h 168"/>
                <a:gd name="T72" fmla="*/ 2147483647 w 132"/>
                <a:gd name="T73" fmla="*/ 2147483647 h 168"/>
                <a:gd name="T74" fmla="*/ 2147483647 w 132"/>
                <a:gd name="T75" fmla="*/ 2147483647 h 168"/>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132"/>
                <a:gd name="T115" fmla="*/ 0 h 168"/>
                <a:gd name="T116" fmla="*/ 132 w 132"/>
                <a:gd name="T117" fmla="*/ 168 h 168"/>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132" h="168">
                  <a:moveTo>
                    <a:pt x="36" y="72"/>
                  </a:moveTo>
                  <a:lnTo>
                    <a:pt x="36" y="96"/>
                  </a:lnTo>
                  <a:lnTo>
                    <a:pt x="30" y="102"/>
                  </a:lnTo>
                  <a:lnTo>
                    <a:pt x="30" y="138"/>
                  </a:lnTo>
                  <a:lnTo>
                    <a:pt x="36" y="156"/>
                  </a:lnTo>
                  <a:lnTo>
                    <a:pt x="42" y="168"/>
                  </a:lnTo>
                  <a:lnTo>
                    <a:pt x="54" y="168"/>
                  </a:lnTo>
                  <a:lnTo>
                    <a:pt x="60" y="162"/>
                  </a:lnTo>
                  <a:lnTo>
                    <a:pt x="72" y="156"/>
                  </a:lnTo>
                  <a:lnTo>
                    <a:pt x="84" y="144"/>
                  </a:lnTo>
                  <a:lnTo>
                    <a:pt x="90" y="132"/>
                  </a:lnTo>
                  <a:lnTo>
                    <a:pt x="90" y="114"/>
                  </a:lnTo>
                  <a:lnTo>
                    <a:pt x="96" y="102"/>
                  </a:lnTo>
                  <a:lnTo>
                    <a:pt x="114" y="84"/>
                  </a:lnTo>
                  <a:lnTo>
                    <a:pt x="126" y="84"/>
                  </a:lnTo>
                  <a:lnTo>
                    <a:pt x="120" y="72"/>
                  </a:lnTo>
                  <a:lnTo>
                    <a:pt x="132" y="66"/>
                  </a:lnTo>
                  <a:lnTo>
                    <a:pt x="132" y="48"/>
                  </a:lnTo>
                  <a:lnTo>
                    <a:pt x="114" y="48"/>
                  </a:lnTo>
                  <a:lnTo>
                    <a:pt x="108" y="42"/>
                  </a:lnTo>
                  <a:lnTo>
                    <a:pt x="102" y="42"/>
                  </a:lnTo>
                  <a:lnTo>
                    <a:pt x="102" y="24"/>
                  </a:lnTo>
                  <a:lnTo>
                    <a:pt x="108" y="12"/>
                  </a:lnTo>
                  <a:lnTo>
                    <a:pt x="108" y="0"/>
                  </a:lnTo>
                  <a:lnTo>
                    <a:pt x="120" y="0"/>
                  </a:lnTo>
                  <a:lnTo>
                    <a:pt x="66" y="0"/>
                  </a:lnTo>
                  <a:lnTo>
                    <a:pt x="60" y="24"/>
                  </a:lnTo>
                  <a:lnTo>
                    <a:pt x="48" y="30"/>
                  </a:lnTo>
                  <a:lnTo>
                    <a:pt x="42" y="36"/>
                  </a:lnTo>
                  <a:lnTo>
                    <a:pt x="30" y="36"/>
                  </a:lnTo>
                  <a:lnTo>
                    <a:pt x="24" y="30"/>
                  </a:lnTo>
                  <a:lnTo>
                    <a:pt x="18" y="18"/>
                  </a:lnTo>
                  <a:lnTo>
                    <a:pt x="0" y="18"/>
                  </a:lnTo>
                  <a:lnTo>
                    <a:pt x="12" y="48"/>
                  </a:lnTo>
                  <a:lnTo>
                    <a:pt x="18" y="54"/>
                  </a:lnTo>
                  <a:lnTo>
                    <a:pt x="30" y="60"/>
                  </a:lnTo>
                  <a:lnTo>
                    <a:pt x="36" y="66"/>
                  </a:lnTo>
                  <a:lnTo>
                    <a:pt x="36" y="72"/>
                  </a:lnTo>
                  <a:close/>
                </a:path>
              </a:pathLst>
            </a:custGeom>
            <a:grpFill/>
            <a:ln w="3175">
              <a:solidFill>
                <a:schemeClr val="bg1"/>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de-DE" sz="1800" b="0" i="0" u="none" strike="noStrike" kern="1200" cap="none" spc="0" normalizeH="0" baseline="0" noProof="0">
                <a:ln>
                  <a:noFill/>
                </a:ln>
                <a:solidFill>
                  <a:srgbClr val="FFC000"/>
                </a:solidFill>
                <a:effectLst/>
                <a:uLnTx/>
                <a:uFillTx/>
                <a:latin typeface="Calibri" pitchFamily="34" charset="0"/>
                <a:ea typeface="+mn-ea"/>
                <a:cs typeface="+mn-cs"/>
              </a:endParaRPr>
            </a:p>
          </p:txBody>
        </p:sp>
        <p:sp>
          <p:nvSpPr>
            <p:cNvPr id="164" name="Burkina Faso" descr="© INSCALE GmbH, 05.05.2010&#10;http://www.presentationload.com/"/>
            <p:cNvSpPr>
              <a:spLocks/>
            </p:cNvSpPr>
            <p:nvPr/>
          </p:nvSpPr>
          <p:spPr bwMode="gray">
            <a:xfrm>
              <a:off x="4339036" y="3927785"/>
              <a:ext cx="185577" cy="139626"/>
            </a:xfrm>
            <a:custGeom>
              <a:avLst/>
              <a:gdLst>
                <a:gd name="T0" fmla="*/ 2147483647 w 570"/>
                <a:gd name="T1" fmla="*/ 2147483647 h 450"/>
                <a:gd name="T2" fmla="*/ 2147483647 w 570"/>
                <a:gd name="T3" fmla="*/ 2147483647 h 450"/>
                <a:gd name="T4" fmla="*/ 2147483647 w 570"/>
                <a:gd name="T5" fmla="*/ 2147483647 h 450"/>
                <a:gd name="T6" fmla="*/ 2147483647 w 570"/>
                <a:gd name="T7" fmla="*/ 2147483647 h 450"/>
                <a:gd name="T8" fmla="*/ 2147483647 w 570"/>
                <a:gd name="T9" fmla="*/ 2147483647 h 450"/>
                <a:gd name="T10" fmla="*/ 2147483647 w 570"/>
                <a:gd name="T11" fmla="*/ 2147483647 h 450"/>
                <a:gd name="T12" fmla="*/ 2147483647 w 570"/>
                <a:gd name="T13" fmla="*/ 2147483647 h 450"/>
                <a:gd name="T14" fmla="*/ 2147483647 w 570"/>
                <a:gd name="T15" fmla="*/ 2147483647 h 450"/>
                <a:gd name="T16" fmla="*/ 2147483647 w 570"/>
                <a:gd name="T17" fmla="*/ 2147483647 h 450"/>
                <a:gd name="T18" fmla="*/ 2147483647 w 570"/>
                <a:gd name="T19" fmla="*/ 2147483647 h 450"/>
                <a:gd name="T20" fmla="*/ 2147483647 w 570"/>
                <a:gd name="T21" fmla="*/ 2147483647 h 450"/>
                <a:gd name="T22" fmla="*/ 2147483647 w 570"/>
                <a:gd name="T23" fmla="*/ 2147483647 h 450"/>
                <a:gd name="T24" fmla="*/ 2147483647 w 570"/>
                <a:gd name="T25" fmla="*/ 2147483647 h 450"/>
                <a:gd name="T26" fmla="*/ 2147483647 w 570"/>
                <a:gd name="T27" fmla="*/ 2147483647 h 450"/>
                <a:gd name="T28" fmla="*/ 2147483647 w 570"/>
                <a:gd name="T29" fmla="*/ 2147483647 h 450"/>
                <a:gd name="T30" fmla="*/ 2147483647 w 570"/>
                <a:gd name="T31" fmla="*/ 2147483647 h 450"/>
                <a:gd name="T32" fmla="*/ 2147483647 w 570"/>
                <a:gd name="T33" fmla="*/ 2147483647 h 450"/>
                <a:gd name="T34" fmla="*/ 2147483647 w 570"/>
                <a:gd name="T35" fmla="*/ 2147483647 h 450"/>
                <a:gd name="T36" fmla="*/ 2147483647 w 570"/>
                <a:gd name="T37" fmla="*/ 2147483647 h 450"/>
                <a:gd name="T38" fmla="*/ 2147483647 w 570"/>
                <a:gd name="T39" fmla="*/ 2147483647 h 450"/>
                <a:gd name="T40" fmla="*/ 2147483647 w 570"/>
                <a:gd name="T41" fmla="*/ 2147483647 h 450"/>
                <a:gd name="T42" fmla="*/ 2147483647 w 570"/>
                <a:gd name="T43" fmla="*/ 2147483647 h 450"/>
                <a:gd name="T44" fmla="*/ 2147483647 w 570"/>
                <a:gd name="T45" fmla="*/ 2147483647 h 450"/>
                <a:gd name="T46" fmla="*/ 2147483647 w 570"/>
                <a:gd name="T47" fmla="*/ 2147483647 h 450"/>
                <a:gd name="T48" fmla="*/ 2147483647 w 570"/>
                <a:gd name="T49" fmla="*/ 2147483647 h 450"/>
                <a:gd name="T50" fmla="*/ 2147483647 w 570"/>
                <a:gd name="T51" fmla="*/ 2147483647 h 450"/>
                <a:gd name="T52" fmla="*/ 2147483647 w 570"/>
                <a:gd name="T53" fmla="*/ 2147483647 h 450"/>
                <a:gd name="T54" fmla="*/ 2147483647 w 570"/>
                <a:gd name="T55" fmla="*/ 2147483647 h 450"/>
                <a:gd name="T56" fmla="*/ 2147483647 w 570"/>
                <a:gd name="T57" fmla="*/ 2147483647 h 450"/>
                <a:gd name="T58" fmla="*/ 2147483647 w 570"/>
                <a:gd name="T59" fmla="*/ 2147483647 h 450"/>
                <a:gd name="T60" fmla="*/ 2147483647 w 570"/>
                <a:gd name="T61" fmla="*/ 2147483647 h 450"/>
                <a:gd name="T62" fmla="*/ 2147483647 w 570"/>
                <a:gd name="T63" fmla="*/ 2147483647 h 450"/>
                <a:gd name="T64" fmla="*/ 2147483647 w 570"/>
                <a:gd name="T65" fmla="*/ 2147483647 h 450"/>
                <a:gd name="T66" fmla="*/ 2147483647 w 570"/>
                <a:gd name="T67" fmla="*/ 0 h 450"/>
                <a:gd name="T68" fmla="*/ 2147483647 w 570"/>
                <a:gd name="T69" fmla="*/ 2147483647 h 450"/>
                <a:gd name="T70" fmla="*/ 2147483647 w 570"/>
                <a:gd name="T71" fmla="*/ 2147483647 h 450"/>
                <a:gd name="T72" fmla="*/ 2147483647 w 570"/>
                <a:gd name="T73" fmla="*/ 2147483647 h 450"/>
                <a:gd name="T74" fmla="*/ 2147483647 w 570"/>
                <a:gd name="T75" fmla="*/ 2147483647 h 450"/>
                <a:gd name="T76" fmla="*/ 2147483647 w 570"/>
                <a:gd name="T77" fmla="*/ 2147483647 h 450"/>
                <a:gd name="T78" fmla="*/ 2147483647 w 570"/>
                <a:gd name="T79" fmla="*/ 2147483647 h 450"/>
                <a:gd name="T80" fmla="*/ 2147483647 w 570"/>
                <a:gd name="T81" fmla="*/ 2147483647 h 450"/>
                <a:gd name="T82" fmla="*/ 2147483647 w 570"/>
                <a:gd name="T83" fmla="*/ 2147483647 h 450"/>
                <a:gd name="T84" fmla="*/ 2147483647 w 570"/>
                <a:gd name="T85" fmla="*/ 2147483647 h 450"/>
                <a:gd name="T86" fmla="*/ 2147483647 w 570"/>
                <a:gd name="T87" fmla="*/ 2147483647 h 450"/>
                <a:gd name="T88" fmla="*/ 2147483647 w 570"/>
                <a:gd name="T89" fmla="*/ 2147483647 h 450"/>
                <a:gd name="T90" fmla="*/ 2147483647 w 570"/>
                <a:gd name="T91" fmla="*/ 2147483647 h 450"/>
                <a:gd name="T92" fmla="*/ 2147483647 w 570"/>
                <a:gd name="T93" fmla="*/ 2147483647 h 450"/>
                <a:gd name="T94" fmla="*/ 2147483647 w 570"/>
                <a:gd name="T95" fmla="*/ 2147483647 h 450"/>
                <a:gd name="T96" fmla="*/ 2147483647 w 570"/>
                <a:gd name="T97" fmla="*/ 2147483647 h 450"/>
                <a:gd name="T98" fmla="*/ 2147483647 w 570"/>
                <a:gd name="T99" fmla="*/ 2147483647 h 450"/>
                <a:gd name="T100" fmla="*/ 2147483647 w 570"/>
                <a:gd name="T101" fmla="*/ 2147483647 h 450"/>
                <a:gd name="T102" fmla="*/ 2147483647 w 570"/>
                <a:gd name="T103" fmla="*/ 2147483647 h 450"/>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570"/>
                <a:gd name="T157" fmla="*/ 0 h 450"/>
                <a:gd name="T158" fmla="*/ 570 w 570"/>
                <a:gd name="T159" fmla="*/ 450 h 450"/>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570" h="450">
                  <a:moveTo>
                    <a:pt x="0" y="312"/>
                  </a:moveTo>
                  <a:lnTo>
                    <a:pt x="6" y="366"/>
                  </a:lnTo>
                  <a:lnTo>
                    <a:pt x="6" y="390"/>
                  </a:lnTo>
                  <a:lnTo>
                    <a:pt x="30" y="384"/>
                  </a:lnTo>
                  <a:lnTo>
                    <a:pt x="30" y="390"/>
                  </a:lnTo>
                  <a:lnTo>
                    <a:pt x="36" y="396"/>
                  </a:lnTo>
                  <a:lnTo>
                    <a:pt x="36" y="408"/>
                  </a:lnTo>
                  <a:lnTo>
                    <a:pt x="42" y="420"/>
                  </a:lnTo>
                  <a:lnTo>
                    <a:pt x="54" y="426"/>
                  </a:lnTo>
                  <a:lnTo>
                    <a:pt x="60" y="432"/>
                  </a:lnTo>
                  <a:lnTo>
                    <a:pt x="72" y="432"/>
                  </a:lnTo>
                  <a:lnTo>
                    <a:pt x="78" y="438"/>
                  </a:lnTo>
                  <a:lnTo>
                    <a:pt x="90" y="438"/>
                  </a:lnTo>
                  <a:lnTo>
                    <a:pt x="96" y="432"/>
                  </a:lnTo>
                  <a:lnTo>
                    <a:pt x="96" y="426"/>
                  </a:lnTo>
                  <a:lnTo>
                    <a:pt x="120" y="414"/>
                  </a:lnTo>
                  <a:lnTo>
                    <a:pt x="150" y="414"/>
                  </a:lnTo>
                  <a:lnTo>
                    <a:pt x="168" y="420"/>
                  </a:lnTo>
                  <a:lnTo>
                    <a:pt x="186" y="438"/>
                  </a:lnTo>
                  <a:lnTo>
                    <a:pt x="186" y="450"/>
                  </a:lnTo>
                  <a:lnTo>
                    <a:pt x="204" y="444"/>
                  </a:lnTo>
                  <a:lnTo>
                    <a:pt x="198" y="450"/>
                  </a:lnTo>
                  <a:lnTo>
                    <a:pt x="198" y="396"/>
                  </a:lnTo>
                  <a:lnTo>
                    <a:pt x="192" y="366"/>
                  </a:lnTo>
                  <a:lnTo>
                    <a:pt x="186" y="366"/>
                  </a:lnTo>
                  <a:lnTo>
                    <a:pt x="186" y="348"/>
                  </a:lnTo>
                  <a:lnTo>
                    <a:pt x="192" y="336"/>
                  </a:lnTo>
                  <a:lnTo>
                    <a:pt x="198" y="330"/>
                  </a:lnTo>
                  <a:lnTo>
                    <a:pt x="354" y="330"/>
                  </a:lnTo>
                  <a:lnTo>
                    <a:pt x="378" y="318"/>
                  </a:lnTo>
                  <a:lnTo>
                    <a:pt x="396" y="324"/>
                  </a:lnTo>
                  <a:lnTo>
                    <a:pt x="414" y="324"/>
                  </a:lnTo>
                  <a:lnTo>
                    <a:pt x="438" y="330"/>
                  </a:lnTo>
                  <a:lnTo>
                    <a:pt x="456" y="330"/>
                  </a:lnTo>
                  <a:lnTo>
                    <a:pt x="462" y="318"/>
                  </a:lnTo>
                  <a:lnTo>
                    <a:pt x="474" y="318"/>
                  </a:lnTo>
                  <a:lnTo>
                    <a:pt x="480" y="306"/>
                  </a:lnTo>
                  <a:lnTo>
                    <a:pt x="498" y="288"/>
                  </a:lnTo>
                  <a:lnTo>
                    <a:pt x="528" y="288"/>
                  </a:lnTo>
                  <a:lnTo>
                    <a:pt x="534" y="294"/>
                  </a:lnTo>
                  <a:lnTo>
                    <a:pt x="534" y="282"/>
                  </a:lnTo>
                  <a:lnTo>
                    <a:pt x="540" y="282"/>
                  </a:lnTo>
                  <a:lnTo>
                    <a:pt x="546" y="276"/>
                  </a:lnTo>
                  <a:lnTo>
                    <a:pt x="558" y="276"/>
                  </a:lnTo>
                  <a:lnTo>
                    <a:pt x="564" y="258"/>
                  </a:lnTo>
                  <a:lnTo>
                    <a:pt x="570" y="252"/>
                  </a:lnTo>
                  <a:lnTo>
                    <a:pt x="564" y="252"/>
                  </a:lnTo>
                  <a:lnTo>
                    <a:pt x="540" y="216"/>
                  </a:lnTo>
                  <a:lnTo>
                    <a:pt x="564" y="210"/>
                  </a:lnTo>
                  <a:lnTo>
                    <a:pt x="558" y="198"/>
                  </a:lnTo>
                  <a:lnTo>
                    <a:pt x="546" y="186"/>
                  </a:lnTo>
                  <a:lnTo>
                    <a:pt x="534" y="186"/>
                  </a:lnTo>
                  <a:lnTo>
                    <a:pt x="522" y="198"/>
                  </a:lnTo>
                  <a:lnTo>
                    <a:pt x="504" y="198"/>
                  </a:lnTo>
                  <a:lnTo>
                    <a:pt x="498" y="186"/>
                  </a:lnTo>
                  <a:lnTo>
                    <a:pt x="486" y="180"/>
                  </a:lnTo>
                  <a:lnTo>
                    <a:pt x="462" y="156"/>
                  </a:lnTo>
                  <a:lnTo>
                    <a:pt x="462" y="150"/>
                  </a:lnTo>
                  <a:lnTo>
                    <a:pt x="480" y="132"/>
                  </a:lnTo>
                  <a:lnTo>
                    <a:pt x="468" y="132"/>
                  </a:lnTo>
                  <a:lnTo>
                    <a:pt x="468" y="114"/>
                  </a:lnTo>
                  <a:lnTo>
                    <a:pt x="444" y="114"/>
                  </a:lnTo>
                  <a:lnTo>
                    <a:pt x="432" y="108"/>
                  </a:lnTo>
                  <a:lnTo>
                    <a:pt x="420" y="84"/>
                  </a:lnTo>
                  <a:lnTo>
                    <a:pt x="420" y="60"/>
                  </a:lnTo>
                  <a:lnTo>
                    <a:pt x="414" y="48"/>
                  </a:lnTo>
                  <a:lnTo>
                    <a:pt x="414" y="12"/>
                  </a:lnTo>
                  <a:lnTo>
                    <a:pt x="390" y="0"/>
                  </a:lnTo>
                  <a:lnTo>
                    <a:pt x="342" y="0"/>
                  </a:lnTo>
                  <a:lnTo>
                    <a:pt x="324" y="18"/>
                  </a:lnTo>
                  <a:lnTo>
                    <a:pt x="300" y="18"/>
                  </a:lnTo>
                  <a:lnTo>
                    <a:pt x="282" y="42"/>
                  </a:lnTo>
                  <a:lnTo>
                    <a:pt x="258" y="42"/>
                  </a:lnTo>
                  <a:lnTo>
                    <a:pt x="258" y="60"/>
                  </a:lnTo>
                  <a:lnTo>
                    <a:pt x="252" y="66"/>
                  </a:lnTo>
                  <a:lnTo>
                    <a:pt x="252" y="72"/>
                  </a:lnTo>
                  <a:lnTo>
                    <a:pt x="240" y="72"/>
                  </a:lnTo>
                  <a:lnTo>
                    <a:pt x="228" y="60"/>
                  </a:lnTo>
                  <a:lnTo>
                    <a:pt x="222" y="60"/>
                  </a:lnTo>
                  <a:lnTo>
                    <a:pt x="216" y="66"/>
                  </a:lnTo>
                  <a:lnTo>
                    <a:pt x="210" y="78"/>
                  </a:lnTo>
                  <a:lnTo>
                    <a:pt x="198" y="84"/>
                  </a:lnTo>
                  <a:lnTo>
                    <a:pt x="192" y="96"/>
                  </a:lnTo>
                  <a:lnTo>
                    <a:pt x="186" y="102"/>
                  </a:lnTo>
                  <a:lnTo>
                    <a:pt x="186" y="108"/>
                  </a:lnTo>
                  <a:lnTo>
                    <a:pt x="168" y="108"/>
                  </a:lnTo>
                  <a:lnTo>
                    <a:pt x="168" y="144"/>
                  </a:lnTo>
                  <a:lnTo>
                    <a:pt x="144" y="150"/>
                  </a:lnTo>
                  <a:lnTo>
                    <a:pt x="114" y="120"/>
                  </a:lnTo>
                  <a:lnTo>
                    <a:pt x="96" y="150"/>
                  </a:lnTo>
                  <a:lnTo>
                    <a:pt x="102" y="156"/>
                  </a:lnTo>
                  <a:lnTo>
                    <a:pt x="102" y="186"/>
                  </a:lnTo>
                  <a:lnTo>
                    <a:pt x="84" y="186"/>
                  </a:lnTo>
                  <a:lnTo>
                    <a:pt x="84" y="216"/>
                  </a:lnTo>
                  <a:lnTo>
                    <a:pt x="78" y="222"/>
                  </a:lnTo>
                  <a:lnTo>
                    <a:pt x="72" y="222"/>
                  </a:lnTo>
                  <a:lnTo>
                    <a:pt x="78" y="228"/>
                  </a:lnTo>
                  <a:lnTo>
                    <a:pt x="78" y="240"/>
                  </a:lnTo>
                  <a:lnTo>
                    <a:pt x="42" y="240"/>
                  </a:lnTo>
                  <a:lnTo>
                    <a:pt x="36" y="246"/>
                  </a:lnTo>
                  <a:lnTo>
                    <a:pt x="30" y="246"/>
                  </a:lnTo>
                  <a:lnTo>
                    <a:pt x="12" y="258"/>
                  </a:lnTo>
                  <a:lnTo>
                    <a:pt x="36" y="288"/>
                  </a:lnTo>
                  <a:lnTo>
                    <a:pt x="24" y="312"/>
                  </a:lnTo>
                  <a:lnTo>
                    <a:pt x="0" y="312"/>
                  </a:lnTo>
                  <a:close/>
                </a:path>
              </a:pathLst>
            </a:custGeom>
            <a:grpFill/>
            <a:ln w="3175">
              <a:solidFill>
                <a:schemeClr val="bg1"/>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de-DE" sz="1800" b="0" i="0" u="none" strike="noStrike" kern="1200" cap="none" spc="0" normalizeH="0" baseline="0" noProof="0">
                <a:ln>
                  <a:noFill/>
                </a:ln>
                <a:solidFill>
                  <a:srgbClr val="FFC000"/>
                </a:solidFill>
                <a:effectLst/>
                <a:uLnTx/>
                <a:uFillTx/>
                <a:latin typeface="Calibri" pitchFamily="34" charset="0"/>
                <a:ea typeface="+mn-ea"/>
                <a:cs typeface="+mn-cs"/>
              </a:endParaRPr>
            </a:p>
          </p:txBody>
        </p:sp>
        <p:sp>
          <p:nvSpPr>
            <p:cNvPr id="165" name="Bulgaria" descr="© INSCALE GmbH, 05.05.2010&#10;http://www.presentationload.com/"/>
            <p:cNvSpPr>
              <a:spLocks/>
            </p:cNvSpPr>
            <p:nvPr/>
          </p:nvSpPr>
          <p:spPr bwMode="gray">
            <a:xfrm>
              <a:off x="4957199" y="3200260"/>
              <a:ext cx="127984" cy="71038"/>
            </a:xfrm>
            <a:custGeom>
              <a:avLst/>
              <a:gdLst>
                <a:gd name="T0" fmla="*/ 2147483647 w 396"/>
                <a:gd name="T1" fmla="*/ 2147483647 h 228"/>
                <a:gd name="T2" fmla="*/ 2147483647 w 396"/>
                <a:gd name="T3" fmla="*/ 2147483647 h 228"/>
                <a:gd name="T4" fmla="*/ 2147483647 w 396"/>
                <a:gd name="T5" fmla="*/ 2147483647 h 228"/>
                <a:gd name="T6" fmla="*/ 2147483647 w 396"/>
                <a:gd name="T7" fmla="*/ 2147483647 h 228"/>
                <a:gd name="T8" fmla="*/ 2147483647 w 396"/>
                <a:gd name="T9" fmla="*/ 2147483647 h 228"/>
                <a:gd name="T10" fmla="*/ 2147483647 w 396"/>
                <a:gd name="T11" fmla="*/ 2147483647 h 228"/>
                <a:gd name="T12" fmla="*/ 2147483647 w 396"/>
                <a:gd name="T13" fmla="*/ 2147483647 h 228"/>
                <a:gd name="T14" fmla="*/ 2147483647 w 396"/>
                <a:gd name="T15" fmla="*/ 0 h 228"/>
                <a:gd name="T16" fmla="*/ 2147483647 w 396"/>
                <a:gd name="T17" fmla="*/ 2147483647 h 228"/>
                <a:gd name="T18" fmla="*/ 2147483647 w 396"/>
                <a:gd name="T19" fmla="*/ 2147483647 h 228"/>
                <a:gd name="T20" fmla="*/ 2147483647 w 396"/>
                <a:gd name="T21" fmla="*/ 2147483647 h 228"/>
                <a:gd name="T22" fmla="*/ 2147483647 w 396"/>
                <a:gd name="T23" fmla="*/ 2147483647 h 228"/>
                <a:gd name="T24" fmla="*/ 2147483647 w 396"/>
                <a:gd name="T25" fmla="*/ 2147483647 h 228"/>
                <a:gd name="T26" fmla="*/ 2147483647 w 396"/>
                <a:gd name="T27" fmla="*/ 2147483647 h 228"/>
                <a:gd name="T28" fmla="*/ 2147483647 w 396"/>
                <a:gd name="T29" fmla="*/ 2147483647 h 228"/>
                <a:gd name="T30" fmla="*/ 2147483647 w 396"/>
                <a:gd name="T31" fmla="*/ 2147483647 h 228"/>
                <a:gd name="T32" fmla="*/ 2147483647 w 396"/>
                <a:gd name="T33" fmla="*/ 2147483647 h 228"/>
                <a:gd name="T34" fmla="*/ 2147483647 w 396"/>
                <a:gd name="T35" fmla="*/ 2147483647 h 228"/>
                <a:gd name="T36" fmla="*/ 2147483647 w 396"/>
                <a:gd name="T37" fmla="*/ 2147483647 h 228"/>
                <a:gd name="T38" fmla="*/ 2147483647 w 396"/>
                <a:gd name="T39" fmla="*/ 2147483647 h 228"/>
                <a:gd name="T40" fmla="*/ 2147483647 w 396"/>
                <a:gd name="T41" fmla="*/ 2147483647 h 228"/>
                <a:gd name="T42" fmla="*/ 2147483647 w 396"/>
                <a:gd name="T43" fmla="*/ 0 h 228"/>
                <a:gd name="T44" fmla="*/ 0 w 396"/>
                <a:gd name="T45" fmla="*/ 2147483647 h 228"/>
                <a:gd name="T46" fmla="*/ 2147483647 w 396"/>
                <a:gd name="T47" fmla="*/ 2147483647 h 228"/>
                <a:gd name="T48" fmla="*/ 2147483647 w 396"/>
                <a:gd name="T49" fmla="*/ 2147483647 h 228"/>
                <a:gd name="T50" fmla="*/ 2147483647 w 396"/>
                <a:gd name="T51" fmla="*/ 2147483647 h 228"/>
                <a:gd name="T52" fmla="*/ 2147483647 w 396"/>
                <a:gd name="T53" fmla="*/ 2147483647 h 228"/>
                <a:gd name="T54" fmla="*/ 2147483647 w 396"/>
                <a:gd name="T55" fmla="*/ 2147483647 h 228"/>
                <a:gd name="T56" fmla="*/ 0 w 396"/>
                <a:gd name="T57" fmla="*/ 2147483647 h 228"/>
                <a:gd name="T58" fmla="*/ 2147483647 w 396"/>
                <a:gd name="T59" fmla="*/ 2147483647 h 228"/>
                <a:gd name="T60" fmla="*/ 2147483647 w 396"/>
                <a:gd name="T61" fmla="*/ 2147483647 h 228"/>
                <a:gd name="T62" fmla="*/ 2147483647 w 396"/>
                <a:gd name="T63" fmla="*/ 2147483647 h 228"/>
                <a:gd name="T64" fmla="*/ 2147483647 w 396"/>
                <a:gd name="T65" fmla="*/ 2147483647 h 228"/>
                <a:gd name="T66" fmla="*/ 2147483647 w 396"/>
                <a:gd name="T67" fmla="*/ 2147483647 h 228"/>
                <a:gd name="T68" fmla="*/ 2147483647 w 396"/>
                <a:gd name="T69" fmla="*/ 2147483647 h 228"/>
                <a:gd name="T70" fmla="*/ 2147483647 w 396"/>
                <a:gd name="T71" fmla="*/ 2147483647 h 228"/>
                <a:gd name="T72" fmla="*/ 2147483647 w 396"/>
                <a:gd name="T73" fmla="*/ 2147483647 h 228"/>
                <a:gd name="T74" fmla="*/ 2147483647 w 396"/>
                <a:gd name="T75" fmla="*/ 2147483647 h 228"/>
                <a:gd name="T76" fmla="*/ 2147483647 w 396"/>
                <a:gd name="T77" fmla="*/ 2147483647 h 228"/>
                <a:gd name="T78" fmla="*/ 2147483647 w 396"/>
                <a:gd name="T79" fmla="*/ 2147483647 h 228"/>
                <a:gd name="T80" fmla="*/ 2147483647 w 396"/>
                <a:gd name="T81" fmla="*/ 2147483647 h 228"/>
                <a:gd name="T82" fmla="*/ 2147483647 w 396"/>
                <a:gd name="T83" fmla="*/ 2147483647 h 228"/>
                <a:gd name="T84" fmla="*/ 2147483647 w 396"/>
                <a:gd name="T85" fmla="*/ 2147483647 h 228"/>
                <a:gd name="T86" fmla="*/ 2147483647 w 396"/>
                <a:gd name="T87" fmla="*/ 2147483647 h 228"/>
                <a:gd name="T88" fmla="*/ 2147483647 w 396"/>
                <a:gd name="T89" fmla="*/ 2147483647 h 228"/>
                <a:gd name="T90" fmla="*/ 2147483647 w 396"/>
                <a:gd name="T91" fmla="*/ 2147483647 h 228"/>
                <a:gd name="T92" fmla="*/ 2147483647 w 396"/>
                <a:gd name="T93" fmla="*/ 2147483647 h 228"/>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396"/>
                <a:gd name="T142" fmla="*/ 0 h 228"/>
                <a:gd name="T143" fmla="*/ 396 w 396"/>
                <a:gd name="T144" fmla="*/ 228 h 228"/>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396" h="228">
                  <a:moveTo>
                    <a:pt x="372" y="168"/>
                  </a:moveTo>
                  <a:lnTo>
                    <a:pt x="336" y="126"/>
                  </a:lnTo>
                  <a:lnTo>
                    <a:pt x="354" y="108"/>
                  </a:lnTo>
                  <a:lnTo>
                    <a:pt x="354" y="78"/>
                  </a:lnTo>
                  <a:lnTo>
                    <a:pt x="360" y="72"/>
                  </a:lnTo>
                  <a:lnTo>
                    <a:pt x="372" y="66"/>
                  </a:lnTo>
                  <a:lnTo>
                    <a:pt x="396" y="66"/>
                  </a:lnTo>
                  <a:lnTo>
                    <a:pt x="396" y="48"/>
                  </a:lnTo>
                  <a:lnTo>
                    <a:pt x="390" y="36"/>
                  </a:lnTo>
                  <a:lnTo>
                    <a:pt x="372" y="36"/>
                  </a:lnTo>
                  <a:lnTo>
                    <a:pt x="348" y="12"/>
                  </a:lnTo>
                  <a:lnTo>
                    <a:pt x="324" y="12"/>
                  </a:lnTo>
                  <a:lnTo>
                    <a:pt x="312" y="6"/>
                  </a:lnTo>
                  <a:lnTo>
                    <a:pt x="300" y="6"/>
                  </a:lnTo>
                  <a:lnTo>
                    <a:pt x="288" y="0"/>
                  </a:lnTo>
                  <a:lnTo>
                    <a:pt x="282" y="0"/>
                  </a:lnTo>
                  <a:lnTo>
                    <a:pt x="282" y="12"/>
                  </a:lnTo>
                  <a:lnTo>
                    <a:pt x="252" y="6"/>
                  </a:lnTo>
                  <a:lnTo>
                    <a:pt x="252" y="12"/>
                  </a:lnTo>
                  <a:lnTo>
                    <a:pt x="246" y="12"/>
                  </a:lnTo>
                  <a:lnTo>
                    <a:pt x="234" y="18"/>
                  </a:lnTo>
                  <a:lnTo>
                    <a:pt x="228" y="18"/>
                  </a:lnTo>
                  <a:lnTo>
                    <a:pt x="222" y="24"/>
                  </a:lnTo>
                  <a:lnTo>
                    <a:pt x="222" y="36"/>
                  </a:lnTo>
                  <a:lnTo>
                    <a:pt x="216" y="42"/>
                  </a:lnTo>
                  <a:lnTo>
                    <a:pt x="198" y="42"/>
                  </a:lnTo>
                  <a:lnTo>
                    <a:pt x="186" y="36"/>
                  </a:lnTo>
                  <a:lnTo>
                    <a:pt x="180" y="30"/>
                  </a:lnTo>
                  <a:lnTo>
                    <a:pt x="156" y="30"/>
                  </a:lnTo>
                  <a:lnTo>
                    <a:pt x="138" y="24"/>
                  </a:lnTo>
                  <a:lnTo>
                    <a:pt x="138" y="30"/>
                  </a:lnTo>
                  <a:lnTo>
                    <a:pt x="132" y="36"/>
                  </a:lnTo>
                  <a:lnTo>
                    <a:pt x="108" y="36"/>
                  </a:lnTo>
                  <a:lnTo>
                    <a:pt x="102" y="30"/>
                  </a:lnTo>
                  <a:lnTo>
                    <a:pt x="90" y="30"/>
                  </a:lnTo>
                  <a:lnTo>
                    <a:pt x="66" y="18"/>
                  </a:lnTo>
                  <a:lnTo>
                    <a:pt x="54" y="30"/>
                  </a:lnTo>
                  <a:lnTo>
                    <a:pt x="36" y="30"/>
                  </a:lnTo>
                  <a:lnTo>
                    <a:pt x="30" y="24"/>
                  </a:lnTo>
                  <a:lnTo>
                    <a:pt x="36" y="18"/>
                  </a:lnTo>
                  <a:lnTo>
                    <a:pt x="36" y="12"/>
                  </a:lnTo>
                  <a:lnTo>
                    <a:pt x="42" y="6"/>
                  </a:lnTo>
                  <a:lnTo>
                    <a:pt x="36" y="0"/>
                  </a:lnTo>
                  <a:lnTo>
                    <a:pt x="12" y="0"/>
                  </a:lnTo>
                  <a:lnTo>
                    <a:pt x="12" y="12"/>
                  </a:lnTo>
                  <a:lnTo>
                    <a:pt x="0" y="24"/>
                  </a:lnTo>
                  <a:lnTo>
                    <a:pt x="0" y="42"/>
                  </a:lnTo>
                  <a:lnTo>
                    <a:pt x="18" y="48"/>
                  </a:lnTo>
                  <a:lnTo>
                    <a:pt x="12" y="60"/>
                  </a:lnTo>
                  <a:lnTo>
                    <a:pt x="30" y="66"/>
                  </a:lnTo>
                  <a:lnTo>
                    <a:pt x="36" y="72"/>
                  </a:lnTo>
                  <a:lnTo>
                    <a:pt x="36" y="96"/>
                  </a:lnTo>
                  <a:lnTo>
                    <a:pt x="30" y="102"/>
                  </a:lnTo>
                  <a:lnTo>
                    <a:pt x="6" y="102"/>
                  </a:lnTo>
                  <a:lnTo>
                    <a:pt x="6" y="108"/>
                  </a:lnTo>
                  <a:lnTo>
                    <a:pt x="12" y="114"/>
                  </a:lnTo>
                  <a:lnTo>
                    <a:pt x="12" y="138"/>
                  </a:lnTo>
                  <a:lnTo>
                    <a:pt x="0" y="138"/>
                  </a:lnTo>
                  <a:lnTo>
                    <a:pt x="12" y="156"/>
                  </a:lnTo>
                  <a:lnTo>
                    <a:pt x="18" y="156"/>
                  </a:lnTo>
                  <a:lnTo>
                    <a:pt x="18" y="168"/>
                  </a:lnTo>
                  <a:lnTo>
                    <a:pt x="36" y="180"/>
                  </a:lnTo>
                  <a:lnTo>
                    <a:pt x="42" y="186"/>
                  </a:lnTo>
                  <a:lnTo>
                    <a:pt x="48" y="198"/>
                  </a:lnTo>
                  <a:lnTo>
                    <a:pt x="48" y="210"/>
                  </a:lnTo>
                  <a:lnTo>
                    <a:pt x="42" y="222"/>
                  </a:lnTo>
                  <a:lnTo>
                    <a:pt x="48" y="222"/>
                  </a:lnTo>
                  <a:lnTo>
                    <a:pt x="54" y="228"/>
                  </a:lnTo>
                  <a:lnTo>
                    <a:pt x="66" y="228"/>
                  </a:lnTo>
                  <a:lnTo>
                    <a:pt x="78" y="222"/>
                  </a:lnTo>
                  <a:lnTo>
                    <a:pt x="84" y="216"/>
                  </a:lnTo>
                  <a:lnTo>
                    <a:pt x="108" y="222"/>
                  </a:lnTo>
                  <a:lnTo>
                    <a:pt x="114" y="204"/>
                  </a:lnTo>
                  <a:lnTo>
                    <a:pt x="144" y="198"/>
                  </a:lnTo>
                  <a:lnTo>
                    <a:pt x="144" y="204"/>
                  </a:lnTo>
                  <a:lnTo>
                    <a:pt x="162" y="222"/>
                  </a:lnTo>
                  <a:lnTo>
                    <a:pt x="174" y="222"/>
                  </a:lnTo>
                  <a:lnTo>
                    <a:pt x="180" y="216"/>
                  </a:lnTo>
                  <a:lnTo>
                    <a:pt x="192" y="228"/>
                  </a:lnTo>
                  <a:lnTo>
                    <a:pt x="204" y="228"/>
                  </a:lnTo>
                  <a:lnTo>
                    <a:pt x="216" y="216"/>
                  </a:lnTo>
                  <a:lnTo>
                    <a:pt x="228" y="228"/>
                  </a:lnTo>
                  <a:lnTo>
                    <a:pt x="246" y="228"/>
                  </a:lnTo>
                  <a:lnTo>
                    <a:pt x="252" y="222"/>
                  </a:lnTo>
                  <a:lnTo>
                    <a:pt x="252" y="204"/>
                  </a:lnTo>
                  <a:lnTo>
                    <a:pt x="246" y="198"/>
                  </a:lnTo>
                  <a:lnTo>
                    <a:pt x="264" y="192"/>
                  </a:lnTo>
                  <a:lnTo>
                    <a:pt x="282" y="168"/>
                  </a:lnTo>
                  <a:lnTo>
                    <a:pt x="312" y="174"/>
                  </a:lnTo>
                  <a:lnTo>
                    <a:pt x="324" y="156"/>
                  </a:lnTo>
                  <a:lnTo>
                    <a:pt x="336" y="174"/>
                  </a:lnTo>
                  <a:lnTo>
                    <a:pt x="348" y="174"/>
                  </a:lnTo>
                  <a:lnTo>
                    <a:pt x="360" y="180"/>
                  </a:lnTo>
                  <a:lnTo>
                    <a:pt x="372" y="180"/>
                  </a:lnTo>
                  <a:lnTo>
                    <a:pt x="372" y="168"/>
                  </a:lnTo>
                  <a:close/>
                </a:path>
              </a:pathLst>
            </a:custGeom>
            <a:grpFill/>
            <a:ln w="3175">
              <a:solidFill>
                <a:schemeClr val="bg1"/>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de-DE" sz="1800" b="0" i="0" u="none" strike="noStrike" kern="1200" cap="none" spc="0" normalizeH="0" baseline="0" noProof="0">
                <a:ln>
                  <a:noFill/>
                </a:ln>
                <a:solidFill>
                  <a:srgbClr val="FFC000"/>
                </a:solidFill>
                <a:effectLst/>
                <a:uLnTx/>
                <a:uFillTx/>
                <a:latin typeface="Calibri" pitchFamily="34" charset="0"/>
                <a:ea typeface="+mn-ea"/>
                <a:cs typeface="+mn-cs"/>
              </a:endParaRPr>
            </a:p>
          </p:txBody>
        </p:sp>
        <p:sp>
          <p:nvSpPr>
            <p:cNvPr id="166" name="Brazil" descr="© INSCALE GmbH, 05.05.2010&#10;http://www.presentationload.com/"/>
            <p:cNvSpPr>
              <a:spLocks noEditPoints="1"/>
            </p:cNvSpPr>
            <p:nvPr/>
          </p:nvSpPr>
          <p:spPr bwMode="gray">
            <a:xfrm>
              <a:off x="2762271" y="4171517"/>
              <a:ext cx="903567" cy="978606"/>
            </a:xfrm>
            <a:custGeom>
              <a:avLst/>
              <a:gdLst>
                <a:gd name="T0" fmla="*/ 2147483647 w 2784"/>
                <a:gd name="T1" fmla="*/ 2147483647 h 3150"/>
                <a:gd name="T2" fmla="*/ 2147483647 w 2784"/>
                <a:gd name="T3" fmla="*/ 2147483647 h 3150"/>
                <a:gd name="T4" fmla="*/ 2147483647 w 2784"/>
                <a:gd name="T5" fmla="*/ 2147483647 h 3150"/>
                <a:gd name="T6" fmla="*/ 2147483647 w 2784"/>
                <a:gd name="T7" fmla="*/ 2147483647 h 3150"/>
                <a:gd name="T8" fmla="*/ 2147483647 w 2784"/>
                <a:gd name="T9" fmla="*/ 2147483647 h 3150"/>
                <a:gd name="T10" fmla="*/ 2147483647 w 2784"/>
                <a:gd name="T11" fmla="*/ 2147483647 h 3150"/>
                <a:gd name="T12" fmla="*/ 2147483647 w 2784"/>
                <a:gd name="T13" fmla="*/ 2147483647 h 3150"/>
                <a:gd name="T14" fmla="*/ 2147483647 w 2784"/>
                <a:gd name="T15" fmla="*/ 2147483647 h 3150"/>
                <a:gd name="T16" fmla="*/ 2147483647 w 2784"/>
                <a:gd name="T17" fmla="*/ 2147483647 h 3150"/>
                <a:gd name="T18" fmla="*/ 2147483647 w 2784"/>
                <a:gd name="T19" fmla="*/ 2147483647 h 3150"/>
                <a:gd name="T20" fmla="*/ 2147483647 w 2784"/>
                <a:gd name="T21" fmla="*/ 2147483647 h 3150"/>
                <a:gd name="T22" fmla="*/ 2147483647 w 2784"/>
                <a:gd name="T23" fmla="*/ 2147483647 h 3150"/>
                <a:gd name="T24" fmla="*/ 2147483647 w 2784"/>
                <a:gd name="T25" fmla="*/ 2147483647 h 3150"/>
                <a:gd name="T26" fmla="*/ 2147483647 w 2784"/>
                <a:gd name="T27" fmla="*/ 2147483647 h 3150"/>
                <a:gd name="T28" fmla="*/ 2147483647 w 2784"/>
                <a:gd name="T29" fmla="*/ 2147483647 h 3150"/>
                <a:gd name="T30" fmla="*/ 2147483647 w 2784"/>
                <a:gd name="T31" fmla="*/ 2147483647 h 3150"/>
                <a:gd name="T32" fmla="*/ 2147483647 w 2784"/>
                <a:gd name="T33" fmla="*/ 2147483647 h 3150"/>
                <a:gd name="T34" fmla="*/ 2147483647 w 2784"/>
                <a:gd name="T35" fmla="*/ 2147483647 h 3150"/>
                <a:gd name="T36" fmla="*/ 2147483647 w 2784"/>
                <a:gd name="T37" fmla="*/ 2147483647 h 3150"/>
                <a:gd name="T38" fmla="*/ 2147483647 w 2784"/>
                <a:gd name="T39" fmla="*/ 2147483647 h 3150"/>
                <a:gd name="T40" fmla="*/ 2147483647 w 2784"/>
                <a:gd name="T41" fmla="*/ 2147483647 h 3150"/>
                <a:gd name="T42" fmla="*/ 2147483647 w 2784"/>
                <a:gd name="T43" fmla="*/ 2147483647 h 3150"/>
                <a:gd name="T44" fmla="*/ 2147483647 w 2784"/>
                <a:gd name="T45" fmla="*/ 2147483647 h 3150"/>
                <a:gd name="T46" fmla="*/ 2147483647 w 2784"/>
                <a:gd name="T47" fmla="*/ 2147483647 h 3150"/>
                <a:gd name="T48" fmla="*/ 2147483647 w 2784"/>
                <a:gd name="T49" fmla="*/ 2147483647 h 3150"/>
                <a:gd name="T50" fmla="*/ 2147483647 w 2784"/>
                <a:gd name="T51" fmla="*/ 2147483647 h 3150"/>
                <a:gd name="T52" fmla="*/ 2147483647 w 2784"/>
                <a:gd name="T53" fmla="*/ 2147483647 h 3150"/>
                <a:gd name="T54" fmla="*/ 2147483647 w 2784"/>
                <a:gd name="T55" fmla="*/ 2147483647 h 3150"/>
                <a:gd name="T56" fmla="*/ 2147483647 w 2784"/>
                <a:gd name="T57" fmla="*/ 2147483647 h 3150"/>
                <a:gd name="T58" fmla="*/ 2147483647 w 2784"/>
                <a:gd name="T59" fmla="*/ 2147483647 h 3150"/>
                <a:gd name="T60" fmla="*/ 2147483647 w 2784"/>
                <a:gd name="T61" fmla="*/ 2147483647 h 3150"/>
                <a:gd name="T62" fmla="*/ 2147483647 w 2784"/>
                <a:gd name="T63" fmla="*/ 2147483647 h 3150"/>
                <a:gd name="T64" fmla="*/ 2147483647 w 2784"/>
                <a:gd name="T65" fmla="*/ 2147483647 h 3150"/>
                <a:gd name="T66" fmla="*/ 2147483647 w 2784"/>
                <a:gd name="T67" fmla="*/ 2147483647 h 3150"/>
                <a:gd name="T68" fmla="*/ 2147483647 w 2784"/>
                <a:gd name="T69" fmla="*/ 2147483647 h 3150"/>
                <a:gd name="T70" fmla="*/ 2147483647 w 2784"/>
                <a:gd name="T71" fmla="*/ 2147483647 h 3150"/>
                <a:gd name="T72" fmla="*/ 2147483647 w 2784"/>
                <a:gd name="T73" fmla="*/ 2147483647 h 3150"/>
                <a:gd name="T74" fmla="*/ 2147483647 w 2784"/>
                <a:gd name="T75" fmla="*/ 2147483647 h 3150"/>
                <a:gd name="T76" fmla="*/ 2147483647 w 2784"/>
                <a:gd name="T77" fmla="*/ 2147483647 h 3150"/>
                <a:gd name="T78" fmla="*/ 2147483647 w 2784"/>
                <a:gd name="T79" fmla="*/ 2147483647 h 3150"/>
                <a:gd name="T80" fmla="*/ 2147483647 w 2784"/>
                <a:gd name="T81" fmla="*/ 2147483647 h 3150"/>
                <a:gd name="T82" fmla="*/ 2147483647 w 2784"/>
                <a:gd name="T83" fmla="*/ 2147483647 h 3150"/>
                <a:gd name="T84" fmla="*/ 2147483647 w 2784"/>
                <a:gd name="T85" fmla="*/ 2147483647 h 3150"/>
                <a:gd name="T86" fmla="*/ 2147483647 w 2784"/>
                <a:gd name="T87" fmla="*/ 2147483647 h 3150"/>
                <a:gd name="T88" fmla="*/ 2147483647 w 2784"/>
                <a:gd name="T89" fmla="*/ 2147483647 h 3150"/>
                <a:gd name="T90" fmla="*/ 2147483647 w 2784"/>
                <a:gd name="T91" fmla="*/ 2147483647 h 3150"/>
                <a:gd name="T92" fmla="*/ 2147483647 w 2784"/>
                <a:gd name="T93" fmla="*/ 2147483647 h 3150"/>
                <a:gd name="T94" fmla="*/ 2147483647 w 2784"/>
                <a:gd name="T95" fmla="*/ 2147483647 h 3150"/>
                <a:gd name="T96" fmla="*/ 2147483647 w 2784"/>
                <a:gd name="T97" fmla="*/ 2147483647 h 3150"/>
                <a:gd name="T98" fmla="*/ 2147483647 w 2784"/>
                <a:gd name="T99" fmla="*/ 2147483647 h 3150"/>
                <a:gd name="T100" fmla="*/ 2147483647 w 2784"/>
                <a:gd name="T101" fmla="*/ 2147483647 h 3150"/>
                <a:gd name="T102" fmla="*/ 2147483647 w 2784"/>
                <a:gd name="T103" fmla="*/ 2147483647 h 3150"/>
                <a:gd name="T104" fmla="*/ 2147483647 w 2784"/>
                <a:gd name="T105" fmla="*/ 2147483647 h 3150"/>
                <a:gd name="T106" fmla="*/ 2147483647 w 2784"/>
                <a:gd name="T107" fmla="*/ 2147483647 h 3150"/>
                <a:gd name="T108" fmla="*/ 2147483647 w 2784"/>
                <a:gd name="T109" fmla="*/ 2147483647 h 3150"/>
                <a:gd name="T110" fmla="*/ 2147483647 w 2784"/>
                <a:gd name="T111" fmla="*/ 2147483647 h 3150"/>
                <a:gd name="T112" fmla="*/ 2147483647 w 2784"/>
                <a:gd name="T113" fmla="*/ 2147483647 h 3150"/>
                <a:gd name="T114" fmla="*/ 2147483647 w 2784"/>
                <a:gd name="T115" fmla="*/ 2147483647 h 3150"/>
                <a:gd name="T116" fmla="*/ 2147483647 w 2784"/>
                <a:gd name="T117" fmla="*/ 2147483647 h 3150"/>
                <a:gd name="T118" fmla="*/ 2147483647 w 2784"/>
                <a:gd name="T119" fmla="*/ 2147483647 h 3150"/>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2784"/>
                <a:gd name="T181" fmla="*/ 0 h 3150"/>
                <a:gd name="T182" fmla="*/ 2784 w 2784"/>
                <a:gd name="T183" fmla="*/ 3150 h 3150"/>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2784" h="3150">
                  <a:moveTo>
                    <a:pt x="1716" y="450"/>
                  </a:moveTo>
                  <a:lnTo>
                    <a:pt x="1710" y="450"/>
                  </a:lnTo>
                  <a:lnTo>
                    <a:pt x="1698" y="444"/>
                  </a:lnTo>
                  <a:lnTo>
                    <a:pt x="1680" y="444"/>
                  </a:lnTo>
                  <a:lnTo>
                    <a:pt x="1662" y="438"/>
                  </a:lnTo>
                  <a:lnTo>
                    <a:pt x="1650" y="438"/>
                  </a:lnTo>
                  <a:lnTo>
                    <a:pt x="1644" y="444"/>
                  </a:lnTo>
                  <a:lnTo>
                    <a:pt x="1644" y="450"/>
                  </a:lnTo>
                  <a:lnTo>
                    <a:pt x="1650" y="462"/>
                  </a:lnTo>
                  <a:lnTo>
                    <a:pt x="1650" y="468"/>
                  </a:lnTo>
                  <a:lnTo>
                    <a:pt x="1656" y="480"/>
                  </a:lnTo>
                  <a:lnTo>
                    <a:pt x="1638" y="480"/>
                  </a:lnTo>
                  <a:lnTo>
                    <a:pt x="1638" y="504"/>
                  </a:lnTo>
                  <a:lnTo>
                    <a:pt x="1656" y="516"/>
                  </a:lnTo>
                  <a:lnTo>
                    <a:pt x="1644" y="528"/>
                  </a:lnTo>
                  <a:lnTo>
                    <a:pt x="1644" y="540"/>
                  </a:lnTo>
                  <a:lnTo>
                    <a:pt x="1656" y="564"/>
                  </a:lnTo>
                  <a:lnTo>
                    <a:pt x="1668" y="570"/>
                  </a:lnTo>
                  <a:lnTo>
                    <a:pt x="1674" y="576"/>
                  </a:lnTo>
                  <a:lnTo>
                    <a:pt x="1686" y="576"/>
                  </a:lnTo>
                  <a:lnTo>
                    <a:pt x="1698" y="570"/>
                  </a:lnTo>
                  <a:lnTo>
                    <a:pt x="1710" y="570"/>
                  </a:lnTo>
                  <a:lnTo>
                    <a:pt x="1716" y="564"/>
                  </a:lnTo>
                  <a:lnTo>
                    <a:pt x="1716" y="558"/>
                  </a:lnTo>
                  <a:lnTo>
                    <a:pt x="1728" y="558"/>
                  </a:lnTo>
                  <a:lnTo>
                    <a:pt x="1740" y="552"/>
                  </a:lnTo>
                  <a:lnTo>
                    <a:pt x="1758" y="552"/>
                  </a:lnTo>
                  <a:lnTo>
                    <a:pt x="1770" y="546"/>
                  </a:lnTo>
                  <a:lnTo>
                    <a:pt x="1776" y="534"/>
                  </a:lnTo>
                  <a:lnTo>
                    <a:pt x="1788" y="492"/>
                  </a:lnTo>
                  <a:lnTo>
                    <a:pt x="1794" y="480"/>
                  </a:lnTo>
                  <a:lnTo>
                    <a:pt x="1794" y="474"/>
                  </a:lnTo>
                  <a:lnTo>
                    <a:pt x="1800" y="462"/>
                  </a:lnTo>
                  <a:lnTo>
                    <a:pt x="1800" y="444"/>
                  </a:lnTo>
                  <a:lnTo>
                    <a:pt x="1794" y="438"/>
                  </a:lnTo>
                  <a:lnTo>
                    <a:pt x="1752" y="438"/>
                  </a:lnTo>
                  <a:lnTo>
                    <a:pt x="1740" y="444"/>
                  </a:lnTo>
                  <a:lnTo>
                    <a:pt x="1734" y="444"/>
                  </a:lnTo>
                  <a:lnTo>
                    <a:pt x="1722" y="450"/>
                  </a:lnTo>
                  <a:lnTo>
                    <a:pt x="1716" y="450"/>
                  </a:lnTo>
                  <a:close/>
                  <a:moveTo>
                    <a:pt x="1716" y="438"/>
                  </a:moveTo>
                  <a:lnTo>
                    <a:pt x="1740" y="432"/>
                  </a:lnTo>
                  <a:lnTo>
                    <a:pt x="1722" y="414"/>
                  </a:lnTo>
                  <a:lnTo>
                    <a:pt x="1698" y="438"/>
                  </a:lnTo>
                  <a:lnTo>
                    <a:pt x="1716" y="438"/>
                  </a:lnTo>
                  <a:close/>
                  <a:moveTo>
                    <a:pt x="1686" y="408"/>
                  </a:moveTo>
                  <a:lnTo>
                    <a:pt x="1662" y="408"/>
                  </a:lnTo>
                  <a:lnTo>
                    <a:pt x="1662" y="426"/>
                  </a:lnTo>
                  <a:lnTo>
                    <a:pt x="1698" y="426"/>
                  </a:lnTo>
                  <a:lnTo>
                    <a:pt x="1716" y="402"/>
                  </a:lnTo>
                  <a:lnTo>
                    <a:pt x="1698" y="384"/>
                  </a:lnTo>
                  <a:lnTo>
                    <a:pt x="1686" y="408"/>
                  </a:lnTo>
                  <a:close/>
                  <a:moveTo>
                    <a:pt x="1572" y="492"/>
                  </a:moveTo>
                  <a:lnTo>
                    <a:pt x="1572" y="510"/>
                  </a:lnTo>
                  <a:lnTo>
                    <a:pt x="1554" y="546"/>
                  </a:lnTo>
                  <a:lnTo>
                    <a:pt x="1584" y="528"/>
                  </a:lnTo>
                  <a:lnTo>
                    <a:pt x="1590" y="516"/>
                  </a:lnTo>
                  <a:lnTo>
                    <a:pt x="1596" y="510"/>
                  </a:lnTo>
                  <a:lnTo>
                    <a:pt x="1608" y="486"/>
                  </a:lnTo>
                  <a:lnTo>
                    <a:pt x="1608" y="480"/>
                  </a:lnTo>
                  <a:lnTo>
                    <a:pt x="1602" y="474"/>
                  </a:lnTo>
                  <a:lnTo>
                    <a:pt x="1596" y="474"/>
                  </a:lnTo>
                  <a:lnTo>
                    <a:pt x="1584" y="480"/>
                  </a:lnTo>
                  <a:lnTo>
                    <a:pt x="1572" y="492"/>
                  </a:lnTo>
                  <a:close/>
                  <a:moveTo>
                    <a:pt x="1632" y="426"/>
                  </a:moveTo>
                  <a:lnTo>
                    <a:pt x="1608" y="450"/>
                  </a:lnTo>
                  <a:lnTo>
                    <a:pt x="1626" y="456"/>
                  </a:lnTo>
                  <a:lnTo>
                    <a:pt x="1644" y="432"/>
                  </a:lnTo>
                  <a:lnTo>
                    <a:pt x="1632" y="426"/>
                  </a:lnTo>
                  <a:close/>
                  <a:moveTo>
                    <a:pt x="2778" y="1002"/>
                  </a:moveTo>
                  <a:lnTo>
                    <a:pt x="2778" y="984"/>
                  </a:lnTo>
                  <a:lnTo>
                    <a:pt x="2772" y="972"/>
                  </a:lnTo>
                  <a:lnTo>
                    <a:pt x="2760" y="954"/>
                  </a:lnTo>
                  <a:lnTo>
                    <a:pt x="2754" y="936"/>
                  </a:lnTo>
                  <a:lnTo>
                    <a:pt x="2754" y="870"/>
                  </a:lnTo>
                  <a:lnTo>
                    <a:pt x="2724" y="840"/>
                  </a:lnTo>
                  <a:lnTo>
                    <a:pt x="2694" y="834"/>
                  </a:lnTo>
                  <a:lnTo>
                    <a:pt x="2646" y="840"/>
                  </a:lnTo>
                  <a:lnTo>
                    <a:pt x="2628" y="822"/>
                  </a:lnTo>
                  <a:lnTo>
                    <a:pt x="2610" y="822"/>
                  </a:lnTo>
                  <a:lnTo>
                    <a:pt x="2592" y="798"/>
                  </a:lnTo>
                  <a:lnTo>
                    <a:pt x="2568" y="798"/>
                  </a:lnTo>
                  <a:lnTo>
                    <a:pt x="2538" y="768"/>
                  </a:lnTo>
                  <a:lnTo>
                    <a:pt x="2526" y="750"/>
                  </a:lnTo>
                  <a:lnTo>
                    <a:pt x="2490" y="714"/>
                  </a:lnTo>
                  <a:lnTo>
                    <a:pt x="2418" y="666"/>
                  </a:lnTo>
                  <a:lnTo>
                    <a:pt x="2394" y="660"/>
                  </a:lnTo>
                  <a:lnTo>
                    <a:pt x="2316" y="660"/>
                  </a:lnTo>
                  <a:lnTo>
                    <a:pt x="2316" y="672"/>
                  </a:lnTo>
                  <a:lnTo>
                    <a:pt x="2310" y="672"/>
                  </a:lnTo>
                  <a:lnTo>
                    <a:pt x="2298" y="660"/>
                  </a:lnTo>
                  <a:lnTo>
                    <a:pt x="2286" y="654"/>
                  </a:lnTo>
                  <a:lnTo>
                    <a:pt x="2274" y="654"/>
                  </a:lnTo>
                  <a:lnTo>
                    <a:pt x="2262" y="648"/>
                  </a:lnTo>
                  <a:lnTo>
                    <a:pt x="2232" y="648"/>
                  </a:lnTo>
                  <a:lnTo>
                    <a:pt x="2226" y="642"/>
                  </a:lnTo>
                  <a:lnTo>
                    <a:pt x="2214" y="636"/>
                  </a:lnTo>
                  <a:lnTo>
                    <a:pt x="2196" y="630"/>
                  </a:lnTo>
                  <a:lnTo>
                    <a:pt x="2184" y="624"/>
                  </a:lnTo>
                  <a:lnTo>
                    <a:pt x="2166" y="618"/>
                  </a:lnTo>
                  <a:lnTo>
                    <a:pt x="2154" y="618"/>
                  </a:lnTo>
                  <a:lnTo>
                    <a:pt x="2142" y="624"/>
                  </a:lnTo>
                  <a:lnTo>
                    <a:pt x="2112" y="654"/>
                  </a:lnTo>
                  <a:lnTo>
                    <a:pt x="2106" y="666"/>
                  </a:lnTo>
                  <a:lnTo>
                    <a:pt x="2088" y="642"/>
                  </a:lnTo>
                  <a:lnTo>
                    <a:pt x="2088" y="678"/>
                  </a:lnTo>
                  <a:lnTo>
                    <a:pt x="2058" y="702"/>
                  </a:lnTo>
                  <a:lnTo>
                    <a:pt x="2076" y="636"/>
                  </a:lnTo>
                  <a:lnTo>
                    <a:pt x="2082" y="636"/>
                  </a:lnTo>
                  <a:lnTo>
                    <a:pt x="2094" y="624"/>
                  </a:lnTo>
                  <a:lnTo>
                    <a:pt x="2094" y="606"/>
                  </a:lnTo>
                  <a:lnTo>
                    <a:pt x="2088" y="600"/>
                  </a:lnTo>
                  <a:lnTo>
                    <a:pt x="2082" y="600"/>
                  </a:lnTo>
                  <a:lnTo>
                    <a:pt x="2064" y="618"/>
                  </a:lnTo>
                  <a:lnTo>
                    <a:pt x="2076" y="582"/>
                  </a:lnTo>
                  <a:lnTo>
                    <a:pt x="2070" y="582"/>
                  </a:lnTo>
                  <a:lnTo>
                    <a:pt x="2064" y="576"/>
                  </a:lnTo>
                  <a:lnTo>
                    <a:pt x="2064" y="570"/>
                  </a:lnTo>
                  <a:lnTo>
                    <a:pt x="2040" y="546"/>
                  </a:lnTo>
                  <a:lnTo>
                    <a:pt x="2034" y="546"/>
                  </a:lnTo>
                  <a:lnTo>
                    <a:pt x="2022" y="564"/>
                  </a:lnTo>
                  <a:lnTo>
                    <a:pt x="2016" y="552"/>
                  </a:lnTo>
                  <a:lnTo>
                    <a:pt x="2004" y="546"/>
                  </a:lnTo>
                  <a:lnTo>
                    <a:pt x="1998" y="534"/>
                  </a:lnTo>
                  <a:lnTo>
                    <a:pt x="1986" y="528"/>
                  </a:lnTo>
                  <a:lnTo>
                    <a:pt x="1980" y="522"/>
                  </a:lnTo>
                  <a:lnTo>
                    <a:pt x="1968" y="516"/>
                  </a:lnTo>
                  <a:lnTo>
                    <a:pt x="1944" y="516"/>
                  </a:lnTo>
                  <a:lnTo>
                    <a:pt x="1932" y="510"/>
                  </a:lnTo>
                  <a:lnTo>
                    <a:pt x="1926" y="510"/>
                  </a:lnTo>
                  <a:lnTo>
                    <a:pt x="1914" y="498"/>
                  </a:lnTo>
                  <a:lnTo>
                    <a:pt x="1902" y="492"/>
                  </a:lnTo>
                  <a:lnTo>
                    <a:pt x="1896" y="480"/>
                  </a:lnTo>
                  <a:lnTo>
                    <a:pt x="1884" y="474"/>
                  </a:lnTo>
                  <a:lnTo>
                    <a:pt x="1878" y="486"/>
                  </a:lnTo>
                  <a:lnTo>
                    <a:pt x="1824" y="486"/>
                  </a:lnTo>
                  <a:lnTo>
                    <a:pt x="1812" y="498"/>
                  </a:lnTo>
                  <a:lnTo>
                    <a:pt x="1806" y="510"/>
                  </a:lnTo>
                  <a:lnTo>
                    <a:pt x="1806" y="522"/>
                  </a:lnTo>
                  <a:lnTo>
                    <a:pt x="1800" y="528"/>
                  </a:lnTo>
                  <a:lnTo>
                    <a:pt x="1800" y="534"/>
                  </a:lnTo>
                  <a:lnTo>
                    <a:pt x="1812" y="552"/>
                  </a:lnTo>
                  <a:lnTo>
                    <a:pt x="1776" y="552"/>
                  </a:lnTo>
                  <a:lnTo>
                    <a:pt x="1770" y="564"/>
                  </a:lnTo>
                  <a:lnTo>
                    <a:pt x="1758" y="576"/>
                  </a:lnTo>
                  <a:lnTo>
                    <a:pt x="1752" y="588"/>
                  </a:lnTo>
                  <a:lnTo>
                    <a:pt x="1752" y="594"/>
                  </a:lnTo>
                  <a:lnTo>
                    <a:pt x="1746" y="600"/>
                  </a:lnTo>
                  <a:lnTo>
                    <a:pt x="1746" y="612"/>
                  </a:lnTo>
                  <a:lnTo>
                    <a:pt x="1740" y="624"/>
                  </a:lnTo>
                  <a:lnTo>
                    <a:pt x="1728" y="636"/>
                  </a:lnTo>
                  <a:lnTo>
                    <a:pt x="1722" y="636"/>
                  </a:lnTo>
                  <a:lnTo>
                    <a:pt x="1728" y="630"/>
                  </a:lnTo>
                  <a:lnTo>
                    <a:pt x="1728" y="618"/>
                  </a:lnTo>
                  <a:lnTo>
                    <a:pt x="1734" y="606"/>
                  </a:lnTo>
                  <a:lnTo>
                    <a:pt x="1734" y="600"/>
                  </a:lnTo>
                  <a:lnTo>
                    <a:pt x="1740" y="588"/>
                  </a:lnTo>
                  <a:lnTo>
                    <a:pt x="1740" y="582"/>
                  </a:lnTo>
                  <a:lnTo>
                    <a:pt x="1734" y="576"/>
                  </a:lnTo>
                  <a:lnTo>
                    <a:pt x="1728" y="576"/>
                  </a:lnTo>
                  <a:lnTo>
                    <a:pt x="1722" y="582"/>
                  </a:lnTo>
                  <a:lnTo>
                    <a:pt x="1716" y="582"/>
                  </a:lnTo>
                  <a:lnTo>
                    <a:pt x="1704" y="594"/>
                  </a:lnTo>
                  <a:lnTo>
                    <a:pt x="1692" y="588"/>
                  </a:lnTo>
                  <a:lnTo>
                    <a:pt x="1656" y="588"/>
                  </a:lnTo>
                  <a:lnTo>
                    <a:pt x="1644" y="582"/>
                  </a:lnTo>
                  <a:lnTo>
                    <a:pt x="1632" y="570"/>
                  </a:lnTo>
                  <a:lnTo>
                    <a:pt x="1632" y="522"/>
                  </a:lnTo>
                  <a:lnTo>
                    <a:pt x="1626" y="516"/>
                  </a:lnTo>
                  <a:lnTo>
                    <a:pt x="1626" y="504"/>
                  </a:lnTo>
                  <a:lnTo>
                    <a:pt x="1620" y="504"/>
                  </a:lnTo>
                  <a:lnTo>
                    <a:pt x="1614" y="510"/>
                  </a:lnTo>
                  <a:lnTo>
                    <a:pt x="1602" y="516"/>
                  </a:lnTo>
                  <a:lnTo>
                    <a:pt x="1596" y="522"/>
                  </a:lnTo>
                  <a:lnTo>
                    <a:pt x="1590" y="534"/>
                  </a:lnTo>
                  <a:lnTo>
                    <a:pt x="1584" y="540"/>
                  </a:lnTo>
                  <a:lnTo>
                    <a:pt x="1560" y="552"/>
                  </a:lnTo>
                  <a:lnTo>
                    <a:pt x="1554" y="558"/>
                  </a:lnTo>
                  <a:lnTo>
                    <a:pt x="1512" y="558"/>
                  </a:lnTo>
                  <a:lnTo>
                    <a:pt x="1500" y="552"/>
                  </a:lnTo>
                  <a:lnTo>
                    <a:pt x="1542" y="540"/>
                  </a:lnTo>
                  <a:lnTo>
                    <a:pt x="1548" y="528"/>
                  </a:lnTo>
                  <a:lnTo>
                    <a:pt x="1566" y="510"/>
                  </a:lnTo>
                  <a:lnTo>
                    <a:pt x="1566" y="492"/>
                  </a:lnTo>
                  <a:lnTo>
                    <a:pt x="1572" y="486"/>
                  </a:lnTo>
                  <a:lnTo>
                    <a:pt x="1590" y="450"/>
                  </a:lnTo>
                  <a:lnTo>
                    <a:pt x="1626" y="414"/>
                  </a:lnTo>
                  <a:lnTo>
                    <a:pt x="1638" y="408"/>
                  </a:lnTo>
                  <a:lnTo>
                    <a:pt x="1656" y="390"/>
                  </a:lnTo>
                  <a:lnTo>
                    <a:pt x="1656" y="378"/>
                  </a:lnTo>
                  <a:lnTo>
                    <a:pt x="1662" y="366"/>
                  </a:lnTo>
                  <a:lnTo>
                    <a:pt x="1674" y="354"/>
                  </a:lnTo>
                  <a:lnTo>
                    <a:pt x="1686" y="348"/>
                  </a:lnTo>
                  <a:lnTo>
                    <a:pt x="1692" y="342"/>
                  </a:lnTo>
                  <a:lnTo>
                    <a:pt x="1704" y="336"/>
                  </a:lnTo>
                  <a:lnTo>
                    <a:pt x="1680" y="330"/>
                  </a:lnTo>
                  <a:lnTo>
                    <a:pt x="1698" y="312"/>
                  </a:lnTo>
                  <a:lnTo>
                    <a:pt x="1698" y="294"/>
                  </a:lnTo>
                  <a:lnTo>
                    <a:pt x="1692" y="288"/>
                  </a:lnTo>
                  <a:lnTo>
                    <a:pt x="1680" y="282"/>
                  </a:lnTo>
                  <a:lnTo>
                    <a:pt x="1662" y="282"/>
                  </a:lnTo>
                  <a:lnTo>
                    <a:pt x="1650" y="276"/>
                  </a:lnTo>
                  <a:lnTo>
                    <a:pt x="1644" y="270"/>
                  </a:lnTo>
                  <a:lnTo>
                    <a:pt x="1638" y="252"/>
                  </a:lnTo>
                  <a:lnTo>
                    <a:pt x="1632" y="216"/>
                  </a:lnTo>
                  <a:lnTo>
                    <a:pt x="1626" y="168"/>
                  </a:lnTo>
                  <a:lnTo>
                    <a:pt x="1620" y="138"/>
                  </a:lnTo>
                  <a:lnTo>
                    <a:pt x="1614" y="114"/>
                  </a:lnTo>
                  <a:lnTo>
                    <a:pt x="1608" y="96"/>
                  </a:lnTo>
                  <a:lnTo>
                    <a:pt x="1602" y="84"/>
                  </a:lnTo>
                  <a:lnTo>
                    <a:pt x="1590" y="78"/>
                  </a:lnTo>
                  <a:lnTo>
                    <a:pt x="1584" y="78"/>
                  </a:lnTo>
                  <a:lnTo>
                    <a:pt x="1584" y="90"/>
                  </a:lnTo>
                  <a:lnTo>
                    <a:pt x="1590" y="96"/>
                  </a:lnTo>
                  <a:lnTo>
                    <a:pt x="1590" y="108"/>
                  </a:lnTo>
                  <a:lnTo>
                    <a:pt x="1572" y="108"/>
                  </a:lnTo>
                  <a:lnTo>
                    <a:pt x="1572" y="102"/>
                  </a:lnTo>
                  <a:lnTo>
                    <a:pt x="1566" y="108"/>
                  </a:lnTo>
                  <a:lnTo>
                    <a:pt x="1560" y="120"/>
                  </a:lnTo>
                  <a:lnTo>
                    <a:pt x="1560" y="126"/>
                  </a:lnTo>
                  <a:lnTo>
                    <a:pt x="1554" y="132"/>
                  </a:lnTo>
                  <a:lnTo>
                    <a:pt x="1548" y="144"/>
                  </a:lnTo>
                  <a:lnTo>
                    <a:pt x="1536" y="156"/>
                  </a:lnTo>
                  <a:lnTo>
                    <a:pt x="1518" y="192"/>
                  </a:lnTo>
                  <a:lnTo>
                    <a:pt x="1518" y="210"/>
                  </a:lnTo>
                  <a:lnTo>
                    <a:pt x="1494" y="246"/>
                  </a:lnTo>
                  <a:lnTo>
                    <a:pt x="1488" y="246"/>
                  </a:lnTo>
                  <a:lnTo>
                    <a:pt x="1482" y="252"/>
                  </a:lnTo>
                  <a:lnTo>
                    <a:pt x="1464" y="252"/>
                  </a:lnTo>
                  <a:lnTo>
                    <a:pt x="1452" y="240"/>
                  </a:lnTo>
                  <a:lnTo>
                    <a:pt x="1446" y="246"/>
                  </a:lnTo>
                  <a:lnTo>
                    <a:pt x="1434" y="246"/>
                  </a:lnTo>
                  <a:lnTo>
                    <a:pt x="1428" y="240"/>
                  </a:lnTo>
                  <a:lnTo>
                    <a:pt x="1416" y="240"/>
                  </a:lnTo>
                  <a:lnTo>
                    <a:pt x="1410" y="246"/>
                  </a:lnTo>
                  <a:lnTo>
                    <a:pt x="1410" y="252"/>
                  </a:lnTo>
                  <a:lnTo>
                    <a:pt x="1404" y="258"/>
                  </a:lnTo>
                  <a:lnTo>
                    <a:pt x="1380" y="258"/>
                  </a:lnTo>
                  <a:lnTo>
                    <a:pt x="1368" y="246"/>
                  </a:lnTo>
                  <a:lnTo>
                    <a:pt x="1368" y="240"/>
                  </a:lnTo>
                  <a:lnTo>
                    <a:pt x="1350" y="234"/>
                  </a:lnTo>
                  <a:lnTo>
                    <a:pt x="1344" y="228"/>
                  </a:lnTo>
                  <a:lnTo>
                    <a:pt x="1338" y="216"/>
                  </a:lnTo>
                  <a:lnTo>
                    <a:pt x="1332" y="216"/>
                  </a:lnTo>
                  <a:lnTo>
                    <a:pt x="1320" y="222"/>
                  </a:lnTo>
                  <a:lnTo>
                    <a:pt x="1314" y="228"/>
                  </a:lnTo>
                  <a:lnTo>
                    <a:pt x="1302" y="234"/>
                  </a:lnTo>
                  <a:lnTo>
                    <a:pt x="1278" y="234"/>
                  </a:lnTo>
                  <a:lnTo>
                    <a:pt x="1278" y="222"/>
                  </a:lnTo>
                  <a:lnTo>
                    <a:pt x="1272" y="222"/>
                  </a:lnTo>
                  <a:lnTo>
                    <a:pt x="1260" y="228"/>
                  </a:lnTo>
                  <a:lnTo>
                    <a:pt x="1260" y="252"/>
                  </a:lnTo>
                  <a:lnTo>
                    <a:pt x="1272" y="264"/>
                  </a:lnTo>
                  <a:lnTo>
                    <a:pt x="1272" y="270"/>
                  </a:lnTo>
                  <a:lnTo>
                    <a:pt x="1278" y="276"/>
                  </a:lnTo>
                  <a:lnTo>
                    <a:pt x="1272" y="282"/>
                  </a:lnTo>
                  <a:lnTo>
                    <a:pt x="1254" y="282"/>
                  </a:lnTo>
                  <a:lnTo>
                    <a:pt x="1230" y="270"/>
                  </a:lnTo>
                  <a:lnTo>
                    <a:pt x="1224" y="270"/>
                  </a:lnTo>
                  <a:lnTo>
                    <a:pt x="1212" y="264"/>
                  </a:lnTo>
                  <a:lnTo>
                    <a:pt x="1212" y="270"/>
                  </a:lnTo>
                  <a:lnTo>
                    <a:pt x="1206" y="276"/>
                  </a:lnTo>
                  <a:lnTo>
                    <a:pt x="1200" y="276"/>
                  </a:lnTo>
                  <a:lnTo>
                    <a:pt x="1188" y="264"/>
                  </a:lnTo>
                  <a:lnTo>
                    <a:pt x="1176" y="264"/>
                  </a:lnTo>
                  <a:lnTo>
                    <a:pt x="1158" y="282"/>
                  </a:lnTo>
                  <a:lnTo>
                    <a:pt x="1158" y="288"/>
                  </a:lnTo>
                  <a:lnTo>
                    <a:pt x="1128" y="288"/>
                  </a:lnTo>
                  <a:lnTo>
                    <a:pt x="1122" y="300"/>
                  </a:lnTo>
                  <a:lnTo>
                    <a:pt x="1104" y="300"/>
                  </a:lnTo>
                  <a:lnTo>
                    <a:pt x="1092" y="312"/>
                  </a:lnTo>
                  <a:lnTo>
                    <a:pt x="1092" y="324"/>
                  </a:lnTo>
                  <a:lnTo>
                    <a:pt x="1086" y="330"/>
                  </a:lnTo>
                  <a:lnTo>
                    <a:pt x="1050" y="330"/>
                  </a:lnTo>
                  <a:lnTo>
                    <a:pt x="1044" y="318"/>
                  </a:lnTo>
                  <a:lnTo>
                    <a:pt x="1032" y="318"/>
                  </a:lnTo>
                  <a:lnTo>
                    <a:pt x="1002" y="282"/>
                  </a:lnTo>
                  <a:lnTo>
                    <a:pt x="1002" y="252"/>
                  </a:lnTo>
                  <a:lnTo>
                    <a:pt x="978" y="228"/>
                  </a:lnTo>
                  <a:lnTo>
                    <a:pt x="972" y="216"/>
                  </a:lnTo>
                  <a:lnTo>
                    <a:pt x="972" y="210"/>
                  </a:lnTo>
                  <a:lnTo>
                    <a:pt x="978" y="198"/>
                  </a:lnTo>
                  <a:lnTo>
                    <a:pt x="978" y="192"/>
                  </a:lnTo>
                  <a:lnTo>
                    <a:pt x="984" y="180"/>
                  </a:lnTo>
                  <a:lnTo>
                    <a:pt x="996" y="138"/>
                  </a:lnTo>
                  <a:lnTo>
                    <a:pt x="1008" y="126"/>
                  </a:lnTo>
                  <a:lnTo>
                    <a:pt x="1014" y="114"/>
                  </a:lnTo>
                  <a:lnTo>
                    <a:pt x="1014" y="102"/>
                  </a:lnTo>
                  <a:lnTo>
                    <a:pt x="1008" y="102"/>
                  </a:lnTo>
                  <a:lnTo>
                    <a:pt x="1002" y="96"/>
                  </a:lnTo>
                  <a:lnTo>
                    <a:pt x="1002" y="66"/>
                  </a:lnTo>
                  <a:lnTo>
                    <a:pt x="996" y="66"/>
                  </a:lnTo>
                  <a:lnTo>
                    <a:pt x="984" y="72"/>
                  </a:lnTo>
                  <a:lnTo>
                    <a:pt x="978" y="72"/>
                  </a:lnTo>
                  <a:lnTo>
                    <a:pt x="972" y="66"/>
                  </a:lnTo>
                  <a:lnTo>
                    <a:pt x="972" y="60"/>
                  </a:lnTo>
                  <a:lnTo>
                    <a:pt x="978" y="54"/>
                  </a:lnTo>
                  <a:lnTo>
                    <a:pt x="984" y="42"/>
                  </a:lnTo>
                  <a:lnTo>
                    <a:pt x="984" y="24"/>
                  </a:lnTo>
                  <a:lnTo>
                    <a:pt x="978" y="12"/>
                  </a:lnTo>
                  <a:lnTo>
                    <a:pt x="966" y="0"/>
                  </a:lnTo>
                  <a:lnTo>
                    <a:pt x="960" y="12"/>
                  </a:lnTo>
                  <a:lnTo>
                    <a:pt x="936" y="6"/>
                  </a:lnTo>
                  <a:lnTo>
                    <a:pt x="936" y="42"/>
                  </a:lnTo>
                  <a:lnTo>
                    <a:pt x="930" y="48"/>
                  </a:lnTo>
                  <a:lnTo>
                    <a:pt x="918" y="48"/>
                  </a:lnTo>
                  <a:lnTo>
                    <a:pt x="918" y="60"/>
                  </a:lnTo>
                  <a:lnTo>
                    <a:pt x="894" y="60"/>
                  </a:lnTo>
                  <a:lnTo>
                    <a:pt x="882" y="66"/>
                  </a:lnTo>
                  <a:lnTo>
                    <a:pt x="858" y="90"/>
                  </a:lnTo>
                  <a:lnTo>
                    <a:pt x="846" y="96"/>
                  </a:lnTo>
                  <a:lnTo>
                    <a:pt x="828" y="96"/>
                  </a:lnTo>
                  <a:lnTo>
                    <a:pt x="822" y="90"/>
                  </a:lnTo>
                  <a:lnTo>
                    <a:pt x="804" y="90"/>
                  </a:lnTo>
                  <a:lnTo>
                    <a:pt x="798" y="96"/>
                  </a:lnTo>
                  <a:lnTo>
                    <a:pt x="798" y="108"/>
                  </a:lnTo>
                  <a:lnTo>
                    <a:pt x="792" y="120"/>
                  </a:lnTo>
                  <a:lnTo>
                    <a:pt x="792" y="138"/>
                  </a:lnTo>
                  <a:lnTo>
                    <a:pt x="786" y="144"/>
                  </a:lnTo>
                  <a:lnTo>
                    <a:pt x="774" y="138"/>
                  </a:lnTo>
                  <a:lnTo>
                    <a:pt x="762" y="126"/>
                  </a:lnTo>
                  <a:lnTo>
                    <a:pt x="756" y="114"/>
                  </a:lnTo>
                  <a:lnTo>
                    <a:pt x="750" y="108"/>
                  </a:lnTo>
                  <a:lnTo>
                    <a:pt x="738" y="108"/>
                  </a:lnTo>
                  <a:lnTo>
                    <a:pt x="732" y="114"/>
                  </a:lnTo>
                  <a:lnTo>
                    <a:pt x="720" y="108"/>
                  </a:lnTo>
                  <a:lnTo>
                    <a:pt x="708" y="114"/>
                  </a:lnTo>
                  <a:lnTo>
                    <a:pt x="696" y="114"/>
                  </a:lnTo>
                  <a:lnTo>
                    <a:pt x="696" y="96"/>
                  </a:lnTo>
                  <a:lnTo>
                    <a:pt x="690" y="90"/>
                  </a:lnTo>
                  <a:lnTo>
                    <a:pt x="648" y="90"/>
                  </a:lnTo>
                  <a:lnTo>
                    <a:pt x="648" y="84"/>
                  </a:lnTo>
                  <a:lnTo>
                    <a:pt x="642" y="78"/>
                  </a:lnTo>
                  <a:lnTo>
                    <a:pt x="642" y="108"/>
                  </a:lnTo>
                  <a:lnTo>
                    <a:pt x="660" y="126"/>
                  </a:lnTo>
                  <a:lnTo>
                    <a:pt x="672" y="132"/>
                  </a:lnTo>
                  <a:lnTo>
                    <a:pt x="678" y="138"/>
                  </a:lnTo>
                  <a:lnTo>
                    <a:pt x="678" y="168"/>
                  </a:lnTo>
                  <a:lnTo>
                    <a:pt x="672" y="174"/>
                  </a:lnTo>
                  <a:lnTo>
                    <a:pt x="684" y="186"/>
                  </a:lnTo>
                  <a:lnTo>
                    <a:pt x="690" y="198"/>
                  </a:lnTo>
                  <a:lnTo>
                    <a:pt x="690" y="228"/>
                  </a:lnTo>
                  <a:lnTo>
                    <a:pt x="738" y="234"/>
                  </a:lnTo>
                  <a:lnTo>
                    <a:pt x="744" y="240"/>
                  </a:lnTo>
                  <a:lnTo>
                    <a:pt x="744" y="246"/>
                  </a:lnTo>
                  <a:lnTo>
                    <a:pt x="738" y="258"/>
                  </a:lnTo>
                  <a:lnTo>
                    <a:pt x="732" y="264"/>
                  </a:lnTo>
                  <a:lnTo>
                    <a:pt x="690" y="264"/>
                  </a:lnTo>
                  <a:lnTo>
                    <a:pt x="690" y="294"/>
                  </a:lnTo>
                  <a:lnTo>
                    <a:pt x="684" y="306"/>
                  </a:lnTo>
                  <a:lnTo>
                    <a:pt x="648" y="324"/>
                  </a:lnTo>
                  <a:lnTo>
                    <a:pt x="642" y="330"/>
                  </a:lnTo>
                  <a:lnTo>
                    <a:pt x="624" y="330"/>
                  </a:lnTo>
                  <a:lnTo>
                    <a:pt x="612" y="342"/>
                  </a:lnTo>
                  <a:lnTo>
                    <a:pt x="600" y="366"/>
                  </a:lnTo>
                  <a:lnTo>
                    <a:pt x="588" y="378"/>
                  </a:lnTo>
                  <a:lnTo>
                    <a:pt x="582" y="378"/>
                  </a:lnTo>
                  <a:lnTo>
                    <a:pt x="582" y="354"/>
                  </a:lnTo>
                  <a:lnTo>
                    <a:pt x="576" y="348"/>
                  </a:lnTo>
                  <a:lnTo>
                    <a:pt x="570" y="354"/>
                  </a:lnTo>
                  <a:lnTo>
                    <a:pt x="558" y="360"/>
                  </a:lnTo>
                  <a:lnTo>
                    <a:pt x="552" y="366"/>
                  </a:lnTo>
                  <a:lnTo>
                    <a:pt x="540" y="372"/>
                  </a:lnTo>
                  <a:lnTo>
                    <a:pt x="534" y="372"/>
                  </a:lnTo>
                  <a:lnTo>
                    <a:pt x="522" y="366"/>
                  </a:lnTo>
                  <a:lnTo>
                    <a:pt x="516" y="366"/>
                  </a:lnTo>
                  <a:lnTo>
                    <a:pt x="504" y="354"/>
                  </a:lnTo>
                  <a:lnTo>
                    <a:pt x="504" y="348"/>
                  </a:lnTo>
                  <a:lnTo>
                    <a:pt x="498" y="336"/>
                  </a:lnTo>
                  <a:lnTo>
                    <a:pt x="492" y="330"/>
                  </a:lnTo>
                  <a:lnTo>
                    <a:pt x="468" y="330"/>
                  </a:lnTo>
                  <a:lnTo>
                    <a:pt x="468" y="300"/>
                  </a:lnTo>
                  <a:lnTo>
                    <a:pt x="462" y="288"/>
                  </a:lnTo>
                  <a:lnTo>
                    <a:pt x="462" y="276"/>
                  </a:lnTo>
                  <a:lnTo>
                    <a:pt x="456" y="270"/>
                  </a:lnTo>
                  <a:lnTo>
                    <a:pt x="456" y="258"/>
                  </a:lnTo>
                  <a:lnTo>
                    <a:pt x="450" y="258"/>
                  </a:lnTo>
                  <a:lnTo>
                    <a:pt x="420" y="288"/>
                  </a:lnTo>
                  <a:lnTo>
                    <a:pt x="396" y="264"/>
                  </a:lnTo>
                  <a:lnTo>
                    <a:pt x="390" y="264"/>
                  </a:lnTo>
                  <a:lnTo>
                    <a:pt x="384" y="270"/>
                  </a:lnTo>
                  <a:lnTo>
                    <a:pt x="384" y="288"/>
                  </a:lnTo>
                  <a:lnTo>
                    <a:pt x="318" y="294"/>
                  </a:lnTo>
                  <a:lnTo>
                    <a:pt x="306" y="282"/>
                  </a:lnTo>
                  <a:lnTo>
                    <a:pt x="288" y="282"/>
                  </a:lnTo>
                  <a:lnTo>
                    <a:pt x="282" y="288"/>
                  </a:lnTo>
                  <a:lnTo>
                    <a:pt x="276" y="300"/>
                  </a:lnTo>
                  <a:lnTo>
                    <a:pt x="276" y="312"/>
                  </a:lnTo>
                  <a:lnTo>
                    <a:pt x="282" y="324"/>
                  </a:lnTo>
                  <a:lnTo>
                    <a:pt x="282" y="336"/>
                  </a:lnTo>
                  <a:lnTo>
                    <a:pt x="306" y="348"/>
                  </a:lnTo>
                  <a:lnTo>
                    <a:pt x="318" y="342"/>
                  </a:lnTo>
                  <a:lnTo>
                    <a:pt x="330" y="354"/>
                  </a:lnTo>
                  <a:lnTo>
                    <a:pt x="330" y="360"/>
                  </a:lnTo>
                  <a:lnTo>
                    <a:pt x="336" y="366"/>
                  </a:lnTo>
                  <a:lnTo>
                    <a:pt x="336" y="372"/>
                  </a:lnTo>
                  <a:lnTo>
                    <a:pt x="330" y="378"/>
                  </a:lnTo>
                  <a:lnTo>
                    <a:pt x="300" y="378"/>
                  </a:lnTo>
                  <a:lnTo>
                    <a:pt x="294" y="372"/>
                  </a:lnTo>
                  <a:lnTo>
                    <a:pt x="264" y="378"/>
                  </a:lnTo>
                  <a:lnTo>
                    <a:pt x="258" y="444"/>
                  </a:lnTo>
                  <a:lnTo>
                    <a:pt x="264" y="444"/>
                  </a:lnTo>
                  <a:lnTo>
                    <a:pt x="276" y="456"/>
                  </a:lnTo>
                  <a:lnTo>
                    <a:pt x="288" y="462"/>
                  </a:lnTo>
                  <a:lnTo>
                    <a:pt x="294" y="468"/>
                  </a:lnTo>
                  <a:lnTo>
                    <a:pt x="294" y="492"/>
                  </a:lnTo>
                  <a:lnTo>
                    <a:pt x="300" y="498"/>
                  </a:lnTo>
                  <a:lnTo>
                    <a:pt x="300" y="504"/>
                  </a:lnTo>
                  <a:lnTo>
                    <a:pt x="312" y="516"/>
                  </a:lnTo>
                  <a:lnTo>
                    <a:pt x="318" y="528"/>
                  </a:lnTo>
                  <a:lnTo>
                    <a:pt x="318" y="540"/>
                  </a:lnTo>
                  <a:lnTo>
                    <a:pt x="312" y="552"/>
                  </a:lnTo>
                  <a:lnTo>
                    <a:pt x="300" y="564"/>
                  </a:lnTo>
                  <a:lnTo>
                    <a:pt x="306" y="612"/>
                  </a:lnTo>
                  <a:lnTo>
                    <a:pt x="288" y="660"/>
                  </a:lnTo>
                  <a:lnTo>
                    <a:pt x="282" y="732"/>
                  </a:lnTo>
                  <a:lnTo>
                    <a:pt x="282" y="762"/>
                  </a:lnTo>
                  <a:lnTo>
                    <a:pt x="276" y="774"/>
                  </a:lnTo>
                  <a:lnTo>
                    <a:pt x="270" y="780"/>
                  </a:lnTo>
                  <a:lnTo>
                    <a:pt x="252" y="780"/>
                  </a:lnTo>
                  <a:lnTo>
                    <a:pt x="252" y="774"/>
                  </a:lnTo>
                  <a:lnTo>
                    <a:pt x="240" y="762"/>
                  </a:lnTo>
                  <a:lnTo>
                    <a:pt x="222" y="762"/>
                  </a:lnTo>
                  <a:lnTo>
                    <a:pt x="216" y="768"/>
                  </a:lnTo>
                  <a:lnTo>
                    <a:pt x="210" y="780"/>
                  </a:lnTo>
                  <a:lnTo>
                    <a:pt x="204" y="786"/>
                  </a:lnTo>
                  <a:lnTo>
                    <a:pt x="174" y="780"/>
                  </a:lnTo>
                  <a:lnTo>
                    <a:pt x="168" y="792"/>
                  </a:lnTo>
                  <a:lnTo>
                    <a:pt x="138" y="792"/>
                  </a:lnTo>
                  <a:lnTo>
                    <a:pt x="126" y="798"/>
                  </a:lnTo>
                  <a:lnTo>
                    <a:pt x="120" y="804"/>
                  </a:lnTo>
                  <a:lnTo>
                    <a:pt x="108" y="810"/>
                  </a:lnTo>
                  <a:lnTo>
                    <a:pt x="96" y="822"/>
                  </a:lnTo>
                  <a:lnTo>
                    <a:pt x="96" y="828"/>
                  </a:lnTo>
                  <a:lnTo>
                    <a:pt x="90" y="834"/>
                  </a:lnTo>
                  <a:lnTo>
                    <a:pt x="90" y="840"/>
                  </a:lnTo>
                  <a:lnTo>
                    <a:pt x="66" y="840"/>
                  </a:lnTo>
                  <a:lnTo>
                    <a:pt x="66" y="894"/>
                  </a:lnTo>
                  <a:lnTo>
                    <a:pt x="48" y="912"/>
                  </a:lnTo>
                  <a:lnTo>
                    <a:pt x="48" y="924"/>
                  </a:lnTo>
                  <a:lnTo>
                    <a:pt x="54" y="930"/>
                  </a:lnTo>
                  <a:lnTo>
                    <a:pt x="54" y="948"/>
                  </a:lnTo>
                  <a:lnTo>
                    <a:pt x="60" y="954"/>
                  </a:lnTo>
                  <a:lnTo>
                    <a:pt x="54" y="954"/>
                  </a:lnTo>
                  <a:lnTo>
                    <a:pt x="48" y="948"/>
                  </a:lnTo>
                  <a:lnTo>
                    <a:pt x="18" y="978"/>
                  </a:lnTo>
                  <a:lnTo>
                    <a:pt x="12" y="990"/>
                  </a:lnTo>
                  <a:lnTo>
                    <a:pt x="12" y="1014"/>
                  </a:lnTo>
                  <a:lnTo>
                    <a:pt x="18" y="1020"/>
                  </a:lnTo>
                  <a:lnTo>
                    <a:pt x="6" y="1026"/>
                  </a:lnTo>
                  <a:lnTo>
                    <a:pt x="0" y="1032"/>
                  </a:lnTo>
                  <a:lnTo>
                    <a:pt x="0" y="1044"/>
                  </a:lnTo>
                  <a:lnTo>
                    <a:pt x="6" y="1050"/>
                  </a:lnTo>
                  <a:lnTo>
                    <a:pt x="18" y="1056"/>
                  </a:lnTo>
                  <a:lnTo>
                    <a:pt x="24" y="1080"/>
                  </a:lnTo>
                  <a:lnTo>
                    <a:pt x="24" y="1086"/>
                  </a:lnTo>
                  <a:lnTo>
                    <a:pt x="30" y="1092"/>
                  </a:lnTo>
                  <a:lnTo>
                    <a:pt x="42" y="1116"/>
                  </a:lnTo>
                  <a:lnTo>
                    <a:pt x="54" y="1128"/>
                  </a:lnTo>
                  <a:lnTo>
                    <a:pt x="66" y="1134"/>
                  </a:lnTo>
                  <a:lnTo>
                    <a:pt x="90" y="1158"/>
                  </a:lnTo>
                  <a:lnTo>
                    <a:pt x="84" y="1164"/>
                  </a:lnTo>
                  <a:lnTo>
                    <a:pt x="78" y="1176"/>
                  </a:lnTo>
                  <a:lnTo>
                    <a:pt x="66" y="1182"/>
                  </a:lnTo>
                  <a:lnTo>
                    <a:pt x="60" y="1188"/>
                  </a:lnTo>
                  <a:lnTo>
                    <a:pt x="102" y="1188"/>
                  </a:lnTo>
                  <a:lnTo>
                    <a:pt x="114" y="1194"/>
                  </a:lnTo>
                  <a:lnTo>
                    <a:pt x="120" y="1194"/>
                  </a:lnTo>
                  <a:lnTo>
                    <a:pt x="126" y="1200"/>
                  </a:lnTo>
                  <a:lnTo>
                    <a:pt x="126" y="1212"/>
                  </a:lnTo>
                  <a:lnTo>
                    <a:pt x="132" y="1224"/>
                  </a:lnTo>
                  <a:lnTo>
                    <a:pt x="138" y="1230"/>
                  </a:lnTo>
                  <a:lnTo>
                    <a:pt x="138" y="1236"/>
                  </a:lnTo>
                  <a:lnTo>
                    <a:pt x="198" y="1230"/>
                  </a:lnTo>
                  <a:lnTo>
                    <a:pt x="252" y="1182"/>
                  </a:lnTo>
                  <a:lnTo>
                    <a:pt x="252" y="1194"/>
                  </a:lnTo>
                  <a:lnTo>
                    <a:pt x="258" y="1206"/>
                  </a:lnTo>
                  <a:lnTo>
                    <a:pt x="258" y="1224"/>
                  </a:lnTo>
                  <a:lnTo>
                    <a:pt x="252" y="1230"/>
                  </a:lnTo>
                  <a:lnTo>
                    <a:pt x="252" y="1242"/>
                  </a:lnTo>
                  <a:lnTo>
                    <a:pt x="246" y="1254"/>
                  </a:lnTo>
                  <a:lnTo>
                    <a:pt x="246" y="1266"/>
                  </a:lnTo>
                  <a:lnTo>
                    <a:pt x="252" y="1284"/>
                  </a:lnTo>
                  <a:lnTo>
                    <a:pt x="252" y="1314"/>
                  </a:lnTo>
                  <a:lnTo>
                    <a:pt x="264" y="1308"/>
                  </a:lnTo>
                  <a:lnTo>
                    <a:pt x="264" y="1314"/>
                  </a:lnTo>
                  <a:lnTo>
                    <a:pt x="270" y="1320"/>
                  </a:lnTo>
                  <a:lnTo>
                    <a:pt x="282" y="1320"/>
                  </a:lnTo>
                  <a:lnTo>
                    <a:pt x="282" y="1314"/>
                  </a:lnTo>
                  <a:lnTo>
                    <a:pt x="288" y="1314"/>
                  </a:lnTo>
                  <a:lnTo>
                    <a:pt x="294" y="1308"/>
                  </a:lnTo>
                  <a:lnTo>
                    <a:pt x="324" y="1308"/>
                  </a:lnTo>
                  <a:lnTo>
                    <a:pt x="336" y="1314"/>
                  </a:lnTo>
                  <a:lnTo>
                    <a:pt x="366" y="1314"/>
                  </a:lnTo>
                  <a:lnTo>
                    <a:pt x="372" y="1320"/>
                  </a:lnTo>
                  <a:lnTo>
                    <a:pt x="372" y="1326"/>
                  </a:lnTo>
                  <a:lnTo>
                    <a:pt x="390" y="1326"/>
                  </a:lnTo>
                  <a:lnTo>
                    <a:pt x="414" y="1314"/>
                  </a:lnTo>
                  <a:lnTo>
                    <a:pt x="420" y="1308"/>
                  </a:lnTo>
                  <a:lnTo>
                    <a:pt x="432" y="1290"/>
                  </a:lnTo>
                  <a:lnTo>
                    <a:pt x="468" y="1290"/>
                  </a:lnTo>
                  <a:lnTo>
                    <a:pt x="474" y="1260"/>
                  </a:lnTo>
                  <a:lnTo>
                    <a:pt x="510" y="1260"/>
                  </a:lnTo>
                  <a:lnTo>
                    <a:pt x="510" y="1254"/>
                  </a:lnTo>
                  <a:lnTo>
                    <a:pt x="516" y="1248"/>
                  </a:lnTo>
                  <a:lnTo>
                    <a:pt x="522" y="1236"/>
                  </a:lnTo>
                  <a:lnTo>
                    <a:pt x="528" y="1230"/>
                  </a:lnTo>
                  <a:lnTo>
                    <a:pt x="540" y="1224"/>
                  </a:lnTo>
                  <a:lnTo>
                    <a:pt x="576" y="1224"/>
                  </a:lnTo>
                  <a:lnTo>
                    <a:pt x="588" y="1212"/>
                  </a:lnTo>
                  <a:lnTo>
                    <a:pt x="600" y="1224"/>
                  </a:lnTo>
                  <a:lnTo>
                    <a:pt x="606" y="1224"/>
                  </a:lnTo>
                  <a:lnTo>
                    <a:pt x="606" y="1218"/>
                  </a:lnTo>
                  <a:lnTo>
                    <a:pt x="618" y="1212"/>
                  </a:lnTo>
                  <a:lnTo>
                    <a:pt x="630" y="1212"/>
                  </a:lnTo>
                  <a:lnTo>
                    <a:pt x="630" y="1242"/>
                  </a:lnTo>
                  <a:lnTo>
                    <a:pt x="624" y="1248"/>
                  </a:lnTo>
                  <a:lnTo>
                    <a:pt x="624" y="1254"/>
                  </a:lnTo>
                  <a:lnTo>
                    <a:pt x="618" y="1260"/>
                  </a:lnTo>
                  <a:lnTo>
                    <a:pt x="618" y="1290"/>
                  </a:lnTo>
                  <a:lnTo>
                    <a:pt x="624" y="1296"/>
                  </a:lnTo>
                  <a:lnTo>
                    <a:pt x="630" y="1308"/>
                  </a:lnTo>
                  <a:lnTo>
                    <a:pt x="630" y="1326"/>
                  </a:lnTo>
                  <a:lnTo>
                    <a:pt x="624" y="1332"/>
                  </a:lnTo>
                  <a:lnTo>
                    <a:pt x="624" y="1344"/>
                  </a:lnTo>
                  <a:lnTo>
                    <a:pt x="636" y="1356"/>
                  </a:lnTo>
                  <a:lnTo>
                    <a:pt x="648" y="1362"/>
                  </a:lnTo>
                  <a:lnTo>
                    <a:pt x="654" y="1368"/>
                  </a:lnTo>
                  <a:lnTo>
                    <a:pt x="660" y="1398"/>
                  </a:lnTo>
                  <a:lnTo>
                    <a:pt x="684" y="1398"/>
                  </a:lnTo>
                  <a:lnTo>
                    <a:pt x="690" y="1404"/>
                  </a:lnTo>
                  <a:lnTo>
                    <a:pt x="690" y="1410"/>
                  </a:lnTo>
                  <a:lnTo>
                    <a:pt x="696" y="1422"/>
                  </a:lnTo>
                  <a:lnTo>
                    <a:pt x="696" y="1428"/>
                  </a:lnTo>
                  <a:lnTo>
                    <a:pt x="702" y="1434"/>
                  </a:lnTo>
                  <a:lnTo>
                    <a:pt x="714" y="1440"/>
                  </a:lnTo>
                  <a:lnTo>
                    <a:pt x="744" y="1440"/>
                  </a:lnTo>
                  <a:lnTo>
                    <a:pt x="750" y="1434"/>
                  </a:lnTo>
                  <a:lnTo>
                    <a:pt x="756" y="1446"/>
                  </a:lnTo>
                  <a:lnTo>
                    <a:pt x="768" y="1452"/>
                  </a:lnTo>
                  <a:lnTo>
                    <a:pt x="780" y="1452"/>
                  </a:lnTo>
                  <a:lnTo>
                    <a:pt x="786" y="1446"/>
                  </a:lnTo>
                  <a:lnTo>
                    <a:pt x="798" y="1446"/>
                  </a:lnTo>
                  <a:lnTo>
                    <a:pt x="798" y="1452"/>
                  </a:lnTo>
                  <a:lnTo>
                    <a:pt x="804" y="1464"/>
                  </a:lnTo>
                  <a:lnTo>
                    <a:pt x="816" y="1470"/>
                  </a:lnTo>
                  <a:lnTo>
                    <a:pt x="828" y="1482"/>
                  </a:lnTo>
                  <a:lnTo>
                    <a:pt x="840" y="1488"/>
                  </a:lnTo>
                  <a:lnTo>
                    <a:pt x="864" y="1488"/>
                  </a:lnTo>
                  <a:lnTo>
                    <a:pt x="864" y="1494"/>
                  </a:lnTo>
                  <a:lnTo>
                    <a:pt x="876" y="1506"/>
                  </a:lnTo>
                  <a:lnTo>
                    <a:pt x="888" y="1512"/>
                  </a:lnTo>
                  <a:lnTo>
                    <a:pt x="894" y="1518"/>
                  </a:lnTo>
                  <a:lnTo>
                    <a:pt x="954" y="1518"/>
                  </a:lnTo>
                  <a:lnTo>
                    <a:pt x="978" y="1530"/>
                  </a:lnTo>
                  <a:lnTo>
                    <a:pt x="984" y="1542"/>
                  </a:lnTo>
                  <a:lnTo>
                    <a:pt x="990" y="1548"/>
                  </a:lnTo>
                  <a:lnTo>
                    <a:pt x="990" y="1578"/>
                  </a:lnTo>
                  <a:lnTo>
                    <a:pt x="996" y="1590"/>
                  </a:lnTo>
                  <a:lnTo>
                    <a:pt x="1002" y="1596"/>
                  </a:lnTo>
                  <a:lnTo>
                    <a:pt x="1008" y="1608"/>
                  </a:lnTo>
                  <a:lnTo>
                    <a:pt x="1008" y="1638"/>
                  </a:lnTo>
                  <a:lnTo>
                    <a:pt x="990" y="1638"/>
                  </a:lnTo>
                  <a:lnTo>
                    <a:pt x="990" y="1644"/>
                  </a:lnTo>
                  <a:lnTo>
                    <a:pt x="996" y="1650"/>
                  </a:lnTo>
                  <a:lnTo>
                    <a:pt x="1002" y="1662"/>
                  </a:lnTo>
                  <a:lnTo>
                    <a:pt x="1014" y="1668"/>
                  </a:lnTo>
                  <a:lnTo>
                    <a:pt x="1020" y="1674"/>
                  </a:lnTo>
                  <a:lnTo>
                    <a:pt x="1014" y="1686"/>
                  </a:lnTo>
                  <a:lnTo>
                    <a:pt x="1014" y="1728"/>
                  </a:lnTo>
                  <a:lnTo>
                    <a:pt x="1020" y="1734"/>
                  </a:lnTo>
                  <a:lnTo>
                    <a:pt x="1050" y="1740"/>
                  </a:lnTo>
                  <a:lnTo>
                    <a:pt x="1098" y="1746"/>
                  </a:lnTo>
                  <a:lnTo>
                    <a:pt x="1158" y="1746"/>
                  </a:lnTo>
                  <a:lnTo>
                    <a:pt x="1158" y="1752"/>
                  </a:lnTo>
                  <a:lnTo>
                    <a:pt x="1152" y="1758"/>
                  </a:lnTo>
                  <a:lnTo>
                    <a:pt x="1152" y="1770"/>
                  </a:lnTo>
                  <a:lnTo>
                    <a:pt x="1146" y="1788"/>
                  </a:lnTo>
                  <a:lnTo>
                    <a:pt x="1146" y="1800"/>
                  </a:lnTo>
                  <a:lnTo>
                    <a:pt x="1152" y="1812"/>
                  </a:lnTo>
                  <a:lnTo>
                    <a:pt x="1164" y="1818"/>
                  </a:lnTo>
                  <a:lnTo>
                    <a:pt x="1170" y="1824"/>
                  </a:lnTo>
                  <a:lnTo>
                    <a:pt x="1194" y="1836"/>
                  </a:lnTo>
                  <a:lnTo>
                    <a:pt x="1206" y="1848"/>
                  </a:lnTo>
                  <a:lnTo>
                    <a:pt x="1212" y="1860"/>
                  </a:lnTo>
                  <a:lnTo>
                    <a:pt x="1224" y="1896"/>
                  </a:lnTo>
                  <a:lnTo>
                    <a:pt x="1224" y="1908"/>
                  </a:lnTo>
                  <a:lnTo>
                    <a:pt x="1218" y="1920"/>
                  </a:lnTo>
                  <a:lnTo>
                    <a:pt x="1218" y="1944"/>
                  </a:lnTo>
                  <a:lnTo>
                    <a:pt x="1212" y="1950"/>
                  </a:lnTo>
                  <a:lnTo>
                    <a:pt x="1212" y="1956"/>
                  </a:lnTo>
                  <a:lnTo>
                    <a:pt x="1218" y="1968"/>
                  </a:lnTo>
                  <a:lnTo>
                    <a:pt x="1212" y="1980"/>
                  </a:lnTo>
                  <a:lnTo>
                    <a:pt x="1206" y="1986"/>
                  </a:lnTo>
                  <a:lnTo>
                    <a:pt x="1200" y="1998"/>
                  </a:lnTo>
                  <a:lnTo>
                    <a:pt x="1200" y="2022"/>
                  </a:lnTo>
                  <a:lnTo>
                    <a:pt x="1206" y="2028"/>
                  </a:lnTo>
                  <a:lnTo>
                    <a:pt x="1218" y="2034"/>
                  </a:lnTo>
                  <a:lnTo>
                    <a:pt x="1212" y="2040"/>
                  </a:lnTo>
                  <a:lnTo>
                    <a:pt x="1200" y="2046"/>
                  </a:lnTo>
                  <a:lnTo>
                    <a:pt x="1194" y="2052"/>
                  </a:lnTo>
                  <a:lnTo>
                    <a:pt x="1194" y="2064"/>
                  </a:lnTo>
                  <a:lnTo>
                    <a:pt x="1200" y="2070"/>
                  </a:lnTo>
                  <a:lnTo>
                    <a:pt x="1212" y="2076"/>
                  </a:lnTo>
                  <a:lnTo>
                    <a:pt x="1212" y="2112"/>
                  </a:lnTo>
                  <a:lnTo>
                    <a:pt x="1224" y="2112"/>
                  </a:lnTo>
                  <a:lnTo>
                    <a:pt x="1224" y="2130"/>
                  </a:lnTo>
                  <a:lnTo>
                    <a:pt x="1218" y="2142"/>
                  </a:lnTo>
                  <a:lnTo>
                    <a:pt x="1218" y="2184"/>
                  </a:lnTo>
                  <a:lnTo>
                    <a:pt x="1224" y="2196"/>
                  </a:lnTo>
                  <a:lnTo>
                    <a:pt x="1230" y="2202"/>
                  </a:lnTo>
                  <a:lnTo>
                    <a:pt x="1266" y="2214"/>
                  </a:lnTo>
                  <a:lnTo>
                    <a:pt x="1308" y="2220"/>
                  </a:lnTo>
                  <a:lnTo>
                    <a:pt x="1380" y="2220"/>
                  </a:lnTo>
                  <a:lnTo>
                    <a:pt x="1392" y="2226"/>
                  </a:lnTo>
                  <a:lnTo>
                    <a:pt x="1398" y="2232"/>
                  </a:lnTo>
                  <a:lnTo>
                    <a:pt x="1398" y="2256"/>
                  </a:lnTo>
                  <a:lnTo>
                    <a:pt x="1404" y="2274"/>
                  </a:lnTo>
                  <a:lnTo>
                    <a:pt x="1404" y="2298"/>
                  </a:lnTo>
                  <a:lnTo>
                    <a:pt x="1410" y="2316"/>
                  </a:lnTo>
                  <a:lnTo>
                    <a:pt x="1410" y="2334"/>
                  </a:lnTo>
                  <a:lnTo>
                    <a:pt x="1422" y="2358"/>
                  </a:lnTo>
                  <a:lnTo>
                    <a:pt x="1434" y="2364"/>
                  </a:lnTo>
                  <a:lnTo>
                    <a:pt x="1446" y="2364"/>
                  </a:lnTo>
                  <a:lnTo>
                    <a:pt x="1464" y="2346"/>
                  </a:lnTo>
                  <a:lnTo>
                    <a:pt x="1476" y="2346"/>
                  </a:lnTo>
                  <a:lnTo>
                    <a:pt x="1488" y="2352"/>
                  </a:lnTo>
                  <a:lnTo>
                    <a:pt x="1500" y="2364"/>
                  </a:lnTo>
                  <a:lnTo>
                    <a:pt x="1506" y="2376"/>
                  </a:lnTo>
                  <a:lnTo>
                    <a:pt x="1506" y="2394"/>
                  </a:lnTo>
                  <a:lnTo>
                    <a:pt x="1500" y="2412"/>
                  </a:lnTo>
                  <a:lnTo>
                    <a:pt x="1500" y="2442"/>
                  </a:lnTo>
                  <a:lnTo>
                    <a:pt x="1494" y="2448"/>
                  </a:lnTo>
                  <a:lnTo>
                    <a:pt x="1494" y="2454"/>
                  </a:lnTo>
                  <a:lnTo>
                    <a:pt x="1488" y="2466"/>
                  </a:lnTo>
                  <a:lnTo>
                    <a:pt x="1488" y="2478"/>
                  </a:lnTo>
                  <a:lnTo>
                    <a:pt x="1494" y="2496"/>
                  </a:lnTo>
                  <a:lnTo>
                    <a:pt x="1506" y="2490"/>
                  </a:lnTo>
                  <a:lnTo>
                    <a:pt x="1512" y="2484"/>
                  </a:lnTo>
                  <a:lnTo>
                    <a:pt x="1530" y="2484"/>
                  </a:lnTo>
                  <a:lnTo>
                    <a:pt x="1536" y="2490"/>
                  </a:lnTo>
                  <a:lnTo>
                    <a:pt x="1548" y="2514"/>
                  </a:lnTo>
                  <a:lnTo>
                    <a:pt x="1548" y="2526"/>
                  </a:lnTo>
                  <a:lnTo>
                    <a:pt x="1554" y="2526"/>
                  </a:lnTo>
                  <a:lnTo>
                    <a:pt x="1560" y="2532"/>
                  </a:lnTo>
                  <a:lnTo>
                    <a:pt x="1560" y="2562"/>
                  </a:lnTo>
                  <a:lnTo>
                    <a:pt x="1566" y="2580"/>
                  </a:lnTo>
                  <a:lnTo>
                    <a:pt x="1566" y="2616"/>
                  </a:lnTo>
                  <a:lnTo>
                    <a:pt x="1512" y="2634"/>
                  </a:lnTo>
                  <a:lnTo>
                    <a:pt x="1506" y="2640"/>
                  </a:lnTo>
                  <a:lnTo>
                    <a:pt x="1500" y="2652"/>
                  </a:lnTo>
                  <a:lnTo>
                    <a:pt x="1500" y="2670"/>
                  </a:lnTo>
                  <a:lnTo>
                    <a:pt x="1464" y="2670"/>
                  </a:lnTo>
                  <a:lnTo>
                    <a:pt x="1464" y="2688"/>
                  </a:lnTo>
                  <a:lnTo>
                    <a:pt x="1458" y="2694"/>
                  </a:lnTo>
                  <a:lnTo>
                    <a:pt x="1452" y="2718"/>
                  </a:lnTo>
                  <a:lnTo>
                    <a:pt x="1428" y="2724"/>
                  </a:lnTo>
                  <a:lnTo>
                    <a:pt x="1428" y="2736"/>
                  </a:lnTo>
                  <a:lnTo>
                    <a:pt x="1422" y="2748"/>
                  </a:lnTo>
                  <a:lnTo>
                    <a:pt x="1422" y="2760"/>
                  </a:lnTo>
                  <a:lnTo>
                    <a:pt x="1404" y="2778"/>
                  </a:lnTo>
                  <a:lnTo>
                    <a:pt x="1392" y="2778"/>
                  </a:lnTo>
                  <a:lnTo>
                    <a:pt x="1392" y="2802"/>
                  </a:lnTo>
                  <a:lnTo>
                    <a:pt x="1386" y="2808"/>
                  </a:lnTo>
                  <a:lnTo>
                    <a:pt x="1380" y="2820"/>
                  </a:lnTo>
                  <a:lnTo>
                    <a:pt x="1374" y="2826"/>
                  </a:lnTo>
                  <a:lnTo>
                    <a:pt x="1356" y="2826"/>
                  </a:lnTo>
                  <a:lnTo>
                    <a:pt x="1350" y="2832"/>
                  </a:lnTo>
                  <a:lnTo>
                    <a:pt x="1350" y="2844"/>
                  </a:lnTo>
                  <a:lnTo>
                    <a:pt x="1344" y="2856"/>
                  </a:lnTo>
                  <a:lnTo>
                    <a:pt x="1344" y="2868"/>
                  </a:lnTo>
                  <a:lnTo>
                    <a:pt x="1368" y="2868"/>
                  </a:lnTo>
                  <a:lnTo>
                    <a:pt x="1374" y="2862"/>
                  </a:lnTo>
                  <a:lnTo>
                    <a:pt x="1386" y="2856"/>
                  </a:lnTo>
                  <a:lnTo>
                    <a:pt x="1398" y="2856"/>
                  </a:lnTo>
                  <a:lnTo>
                    <a:pt x="1404" y="2862"/>
                  </a:lnTo>
                  <a:lnTo>
                    <a:pt x="1428" y="2874"/>
                  </a:lnTo>
                  <a:lnTo>
                    <a:pt x="1434" y="2886"/>
                  </a:lnTo>
                  <a:lnTo>
                    <a:pt x="1446" y="2892"/>
                  </a:lnTo>
                  <a:lnTo>
                    <a:pt x="1452" y="2898"/>
                  </a:lnTo>
                  <a:lnTo>
                    <a:pt x="1458" y="2910"/>
                  </a:lnTo>
                  <a:lnTo>
                    <a:pt x="1470" y="2922"/>
                  </a:lnTo>
                  <a:lnTo>
                    <a:pt x="1470" y="2934"/>
                  </a:lnTo>
                  <a:lnTo>
                    <a:pt x="1482" y="2934"/>
                  </a:lnTo>
                  <a:lnTo>
                    <a:pt x="1482" y="2928"/>
                  </a:lnTo>
                  <a:lnTo>
                    <a:pt x="1494" y="2916"/>
                  </a:lnTo>
                  <a:lnTo>
                    <a:pt x="1500" y="2916"/>
                  </a:lnTo>
                  <a:lnTo>
                    <a:pt x="1512" y="2922"/>
                  </a:lnTo>
                  <a:lnTo>
                    <a:pt x="1518" y="2934"/>
                  </a:lnTo>
                  <a:lnTo>
                    <a:pt x="1536" y="2952"/>
                  </a:lnTo>
                  <a:lnTo>
                    <a:pt x="1554" y="2952"/>
                  </a:lnTo>
                  <a:lnTo>
                    <a:pt x="1572" y="2970"/>
                  </a:lnTo>
                  <a:lnTo>
                    <a:pt x="1578" y="2970"/>
                  </a:lnTo>
                  <a:lnTo>
                    <a:pt x="1578" y="2982"/>
                  </a:lnTo>
                  <a:lnTo>
                    <a:pt x="1584" y="2988"/>
                  </a:lnTo>
                  <a:lnTo>
                    <a:pt x="1596" y="2994"/>
                  </a:lnTo>
                  <a:lnTo>
                    <a:pt x="1614" y="3000"/>
                  </a:lnTo>
                  <a:lnTo>
                    <a:pt x="1626" y="3000"/>
                  </a:lnTo>
                  <a:lnTo>
                    <a:pt x="1632" y="3012"/>
                  </a:lnTo>
                  <a:lnTo>
                    <a:pt x="1638" y="3018"/>
                  </a:lnTo>
                  <a:lnTo>
                    <a:pt x="1644" y="3030"/>
                  </a:lnTo>
                  <a:lnTo>
                    <a:pt x="1662" y="3048"/>
                  </a:lnTo>
                  <a:lnTo>
                    <a:pt x="1668" y="3048"/>
                  </a:lnTo>
                  <a:lnTo>
                    <a:pt x="1680" y="3054"/>
                  </a:lnTo>
                  <a:lnTo>
                    <a:pt x="1686" y="3054"/>
                  </a:lnTo>
                  <a:lnTo>
                    <a:pt x="1686" y="3066"/>
                  </a:lnTo>
                  <a:lnTo>
                    <a:pt x="1674" y="3090"/>
                  </a:lnTo>
                  <a:lnTo>
                    <a:pt x="1668" y="3096"/>
                  </a:lnTo>
                  <a:lnTo>
                    <a:pt x="1668" y="3120"/>
                  </a:lnTo>
                  <a:lnTo>
                    <a:pt x="1674" y="3120"/>
                  </a:lnTo>
                  <a:lnTo>
                    <a:pt x="1674" y="3150"/>
                  </a:lnTo>
                  <a:lnTo>
                    <a:pt x="1692" y="3150"/>
                  </a:lnTo>
                  <a:lnTo>
                    <a:pt x="1692" y="3144"/>
                  </a:lnTo>
                  <a:lnTo>
                    <a:pt x="1698" y="3132"/>
                  </a:lnTo>
                  <a:lnTo>
                    <a:pt x="1710" y="3126"/>
                  </a:lnTo>
                  <a:lnTo>
                    <a:pt x="1716" y="3114"/>
                  </a:lnTo>
                  <a:lnTo>
                    <a:pt x="1728" y="3102"/>
                  </a:lnTo>
                  <a:lnTo>
                    <a:pt x="1734" y="3090"/>
                  </a:lnTo>
                  <a:lnTo>
                    <a:pt x="1734" y="3060"/>
                  </a:lnTo>
                  <a:lnTo>
                    <a:pt x="1728" y="3054"/>
                  </a:lnTo>
                  <a:lnTo>
                    <a:pt x="1728" y="3048"/>
                  </a:lnTo>
                  <a:lnTo>
                    <a:pt x="1746" y="3018"/>
                  </a:lnTo>
                  <a:lnTo>
                    <a:pt x="1734" y="3012"/>
                  </a:lnTo>
                  <a:lnTo>
                    <a:pt x="1728" y="3000"/>
                  </a:lnTo>
                  <a:lnTo>
                    <a:pt x="1728" y="2988"/>
                  </a:lnTo>
                  <a:lnTo>
                    <a:pt x="1740" y="2976"/>
                  </a:lnTo>
                  <a:lnTo>
                    <a:pt x="1746" y="2976"/>
                  </a:lnTo>
                  <a:lnTo>
                    <a:pt x="1746" y="2952"/>
                  </a:lnTo>
                  <a:lnTo>
                    <a:pt x="1764" y="2952"/>
                  </a:lnTo>
                  <a:lnTo>
                    <a:pt x="1776" y="2940"/>
                  </a:lnTo>
                  <a:lnTo>
                    <a:pt x="1776" y="2904"/>
                  </a:lnTo>
                  <a:lnTo>
                    <a:pt x="1782" y="2898"/>
                  </a:lnTo>
                  <a:lnTo>
                    <a:pt x="1788" y="2886"/>
                  </a:lnTo>
                  <a:lnTo>
                    <a:pt x="1800" y="2874"/>
                  </a:lnTo>
                  <a:lnTo>
                    <a:pt x="1812" y="2868"/>
                  </a:lnTo>
                  <a:lnTo>
                    <a:pt x="1818" y="2862"/>
                  </a:lnTo>
                  <a:lnTo>
                    <a:pt x="1824" y="2862"/>
                  </a:lnTo>
                  <a:lnTo>
                    <a:pt x="1824" y="2898"/>
                  </a:lnTo>
                  <a:lnTo>
                    <a:pt x="1818" y="2904"/>
                  </a:lnTo>
                  <a:lnTo>
                    <a:pt x="1818" y="2910"/>
                  </a:lnTo>
                  <a:lnTo>
                    <a:pt x="1812" y="2916"/>
                  </a:lnTo>
                  <a:lnTo>
                    <a:pt x="1812" y="2934"/>
                  </a:lnTo>
                  <a:lnTo>
                    <a:pt x="1800" y="2940"/>
                  </a:lnTo>
                  <a:lnTo>
                    <a:pt x="1800" y="2952"/>
                  </a:lnTo>
                  <a:lnTo>
                    <a:pt x="1776" y="2982"/>
                  </a:lnTo>
                  <a:lnTo>
                    <a:pt x="1746" y="3006"/>
                  </a:lnTo>
                  <a:lnTo>
                    <a:pt x="1752" y="3012"/>
                  </a:lnTo>
                  <a:lnTo>
                    <a:pt x="1770" y="3012"/>
                  </a:lnTo>
                  <a:lnTo>
                    <a:pt x="1770" y="2994"/>
                  </a:lnTo>
                  <a:lnTo>
                    <a:pt x="1776" y="2988"/>
                  </a:lnTo>
                  <a:lnTo>
                    <a:pt x="1788" y="2988"/>
                  </a:lnTo>
                  <a:lnTo>
                    <a:pt x="1794" y="2982"/>
                  </a:lnTo>
                  <a:lnTo>
                    <a:pt x="1800" y="2982"/>
                  </a:lnTo>
                  <a:lnTo>
                    <a:pt x="1812" y="2964"/>
                  </a:lnTo>
                  <a:lnTo>
                    <a:pt x="1824" y="2940"/>
                  </a:lnTo>
                  <a:lnTo>
                    <a:pt x="1848" y="2880"/>
                  </a:lnTo>
                  <a:lnTo>
                    <a:pt x="1860" y="2832"/>
                  </a:lnTo>
                  <a:lnTo>
                    <a:pt x="1872" y="2808"/>
                  </a:lnTo>
                  <a:lnTo>
                    <a:pt x="1878" y="2790"/>
                  </a:lnTo>
                  <a:lnTo>
                    <a:pt x="1884" y="2778"/>
                  </a:lnTo>
                  <a:lnTo>
                    <a:pt x="1896" y="2772"/>
                  </a:lnTo>
                  <a:lnTo>
                    <a:pt x="1902" y="2760"/>
                  </a:lnTo>
                  <a:lnTo>
                    <a:pt x="1926" y="2736"/>
                  </a:lnTo>
                  <a:lnTo>
                    <a:pt x="1926" y="2724"/>
                  </a:lnTo>
                  <a:lnTo>
                    <a:pt x="1920" y="2718"/>
                  </a:lnTo>
                  <a:lnTo>
                    <a:pt x="1938" y="2706"/>
                  </a:lnTo>
                  <a:lnTo>
                    <a:pt x="1932" y="2670"/>
                  </a:lnTo>
                  <a:lnTo>
                    <a:pt x="1938" y="2646"/>
                  </a:lnTo>
                  <a:lnTo>
                    <a:pt x="1926" y="2640"/>
                  </a:lnTo>
                  <a:lnTo>
                    <a:pt x="1932" y="2634"/>
                  </a:lnTo>
                  <a:lnTo>
                    <a:pt x="1938" y="2622"/>
                  </a:lnTo>
                  <a:lnTo>
                    <a:pt x="1938" y="2610"/>
                  </a:lnTo>
                  <a:lnTo>
                    <a:pt x="1932" y="2604"/>
                  </a:lnTo>
                  <a:lnTo>
                    <a:pt x="1920" y="2598"/>
                  </a:lnTo>
                  <a:lnTo>
                    <a:pt x="1914" y="2592"/>
                  </a:lnTo>
                  <a:lnTo>
                    <a:pt x="1914" y="2556"/>
                  </a:lnTo>
                  <a:lnTo>
                    <a:pt x="1896" y="2544"/>
                  </a:lnTo>
                  <a:lnTo>
                    <a:pt x="1920" y="2544"/>
                  </a:lnTo>
                  <a:lnTo>
                    <a:pt x="1914" y="2520"/>
                  </a:lnTo>
                  <a:lnTo>
                    <a:pt x="1902" y="2508"/>
                  </a:lnTo>
                  <a:lnTo>
                    <a:pt x="1908" y="2508"/>
                  </a:lnTo>
                  <a:lnTo>
                    <a:pt x="1920" y="2502"/>
                  </a:lnTo>
                  <a:lnTo>
                    <a:pt x="1920" y="2490"/>
                  </a:lnTo>
                  <a:lnTo>
                    <a:pt x="1914" y="2490"/>
                  </a:lnTo>
                  <a:lnTo>
                    <a:pt x="1902" y="2484"/>
                  </a:lnTo>
                  <a:lnTo>
                    <a:pt x="1896" y="2478"/>
                  </a:lnTo>
                  <a:lnTo>
                    <a:pt x="1920" y="2460"/>
                  </a:lnTo>
                  <a:lnTo>
                    <a:pt x="1932" y="2472"/>
                  </a:lnTo>
                  <a:lnTo>
                    <a:pt x="1944" y="2478"/>
                  </a:lnTo>
                  <a:lnTo>
                    <a:pt x="1950" y="2478"/>
                  </a:lnTo>
                  <a:lnTo>
                    <a:pt x="1950" y="2448"/>
                  </a:lnTo>
                  <a:lnTo>
                    <a:pt x="1962" y="2424"/>
                  </a:lnTo>
                  <a:lnTo>
                    <a:pt x="1974" y="2418"/>
                  </a:lnTo>
                  <a:lnTo>
                    <a:pt x="1980" y="2418"/>
                  </a:lnTo>
                  <a:lnTo>
                    <a:pt x="2004" y="2406"/>
                  </a:lnTo>
                  <a:lnTo>
                    <a:pt x="2010" y="2394"/>
                  </a:lnTo>
                  <a:lnTo>
                    <a:pt x="2010" y="2382"/>
                  </a:lnTo>
                  <a:lnTo>
                    <a:pt x="2016" y="2376"/>
                  </a:lnTo>
                  <a:lnTo>
                    <a:pt x="2028" y="2376"/>
                  </a:lnTo>
                  <a:lnTo>
                    <a:pt x="2034" y="2370"/>
                  </a:lnTo>
                  <a:lnTo>
                    <a:pt x="2046" y="2370"/>
                  </a:lnTo>
                  <a:lnTo>
                    <a:pt x="2046" y="2358"/>
                  </a:lnTo>
                  <a:lnTo>
                    <a:pt x="2070" y="2358"/>
                  </a:lnTo>
                  <a:lnTo>
                    <a:pt x="2070" y="2340"/>
                  </a:lnTo>
                  <a:lnTo>
                    <a:pt x="2118" y="2340"/>
                  </a:lnTo>
                  <a:lnTo>
                    <a:pt x="2124" y="2358"/>
                  </a:lnTo>
                  <a:lnTo>
                    <a:pt x="2136" y="2352"/>
                  </a:lnTo>
                  <a:lnTo>
                    <a:pt x="2118" y="2334"/>
                  </a:lnTo>
                  <a:lnTo>
                    <a:pt x="2136" y="2316"/>
                  </a:lnTo>
                  <a:lnTo>
                    <a:pt x="2142" y="2316"/>
                  </a:lnTo>
                  <a:lnTo>
                    <a:pt x="2154" y="2310"/>
                  </a:lnTo>
                  <a:lnTo>
                    <a:pt x="2178" y="2310"/>
                  </a:lnTo>
                  <a:lnTo>
                    <a:pt x="2160" y="2292"/>
                  </a:lnTo>
                  <a:lnTo>
                    <a:pt x="2172" y="2286"/>
                  </a:lnTo>
                  <a:lnTo>
                    <a:pt x="2178" y="2280"/>
                  </a:lnTo>
                  <a:lnTo>
                    <a:pt x="2190" y="2280"/>
                  </a:lnTo>
                  <a:lnTo>
                    <a:pt x="2190" y="2304"/>
                  </a:lnTo>
                  <a:lnTo>
                    <a:pt x="2196" y="2304"/>
                  </a:lnTo>
                  <a:lnTo>
                    <a:pt x="2196" y="2298"/>
                  </a:lnTo>
                  <a:lnTo>
                    <a:pt x="2202" y="2286"/>
                  </a:lnTo>
                  <a:lnTo>
                    <a:pt x="2208" y="2280"/>
                  </a:lnTo>
                  <a:lnTo>
                    <a:pt x="2244" y="2286"/>
                  </a:lnTo>
                  <a:lnTo>
                    <a:pt x="2244" y="2280"/>
                  </a:lnTo>
                  <a:lnTo>
                    <a:pt x="2250" y="2274"/>
                  </a:lnTo>
                  <a:lnTo>
                    <a:pt x="2250" y="2268"/>
                  </a:lnTo>
                  <a:lnTo>
                    <a:pt x="2256" y="2262"/>
                  </a:lnTo>
                  <a:lnTo>
                    <a:pt x="2268" y="2256"/>
                  </a:lnTo>
                  <a:lnTo>
                    <a:pt x="2274" y="2256"/>
                  </a:lnTo>
                  <a:lnTo>
                    <a:pt x="2280" y="2262"/>
                  </a:lnTo>
                  <a:lnTo>
                    <a:pt x="2280" y="2286"/>
                  </a:lnTo>
                  <a:lnTo>
                    <a:pt x="2346" y="2280"/>
                  </a:lnTo>
                  <a:lnTo>
                    <a:pt x="2352" y="2262"/>
                  </a:lnTo>
                  <a:lnTo>
                    <a:pt x="2346" y="2250"/>
                  </a:lnTo>
                  <a:lnTo>
                    <a:pt x="2352" y="2244"/>
                  </a:lnTo>
                  <a:lnTo>
                    <a:pt x="2358" y="2232"/>
                  </a:lnTo>
                  <a:lnTo>
                    <a:pt x="2370" y="2220"/>
                  </a:lnTo>
                  <a:lnTo>
                    <a:pt x="2406" y="2202"/>
                  </a:lnTo>
                  <a:lnTo>
                    <a:pt x="2418" y="2202"/>
                  </a:lnTo>
                  <a:lnTo>
                    <a:pt x="2412" y="2190"/>
                  </a:lnTo>
                  <a:lnTo>
                    <a:pt x="2412" y="2112"/>
                  </a:lnTo>
                  <a:lnTo>
                    <a:pt x="2442" y="2082"/>
                  </a:lnTo>
                  <a:lnTo>
                    <a:pt x="2442" y="2058"/>
                  </a:lnTo>
                  <a:lnTo>
                    <a:pt x="2460" y="2052"/>
                  </a:lnTo>
                  <a:lnTo>
                    <a:pt x="2460" y="2022"/>
                  </a:lnTo>
                  <a:lnTo>
                    <a:pt x="2466" y="2022"/>
                  </a:lnTo>
                  <a:lnTo>
                    <a:pt x="2472" y="2016"/>
                  </a:lnTo>
                  <a:lnTo>
                    <a:pt x="2478" y="2016"/>
                  </a:lnTo>
                  <a:lnTo>
                    <a:pt x="2478" y="2010"/>
                  </a:lnTo>
                  <a:lnTo>
                    <a:pt x="2484" y="2004"/>
                  </a:lnTo>
                  <a:lnTo>
                    <a:pt x="2484" y="1956"/>
                  </a:lnTo>
                  <a:lnTo>
                    <a:pt x="2478" y="1944"/>
                  </a:lnTo>
                  <a:lnTo>
                    <a:pt x="2478" y="1926"/>
                  </a:lnTo>
                  <a:lnTo>
                    <a:pt x="2472" y="1908"/>
                  </a:lnTo>
                  <a:lnTo>
                    <a:pt x="2484" y="1884"/>
                  </a:lnTo>
                  <a:lnTo>
                    <a:pt x="2514" y="1854"/>
                  </a:lnTo>
                  <a:lnTo>
                    <a:pt x="2514" y="1848"/>
                  </a:lnTo>
                  <a:lnTo>
                    <a:pt x="2508" y="1836"/>
                  </a:lnTo>
                  <a:lnTo>
                    <a:pt x="2508" y="1830"/>
                  </a:lnTo>
                  <a:lnTo>
                    <a:pt x="2502" y="1818"/>
                  </a:lnTo>
                  <a:lnTo>
                    <a:pt x="2508" y="1764"/>
                  </a:lnTo>
                  <a:lnTo>
                    <a:pt x="2508" y="1758"/>
                  </a:lnTo>
                  <a:lnTo>
                    <a:pt x="2514" y="1752"/>
                  </a:lnTo>
                  <a:lnTo>
                    <a:pt x="2514" y="1722"/>
                  </a:lnTo>
                  <a:lnTo>
                    <a:pt x="2520" y="1710"/>
                  </a:lnTo>
                  <a:lnTo>
                    <a:pt x="2520" y="1680"/>
                  </a:lnTo>
                  <a:lnTo>
                    <a:pt x="2508" y="1644"/>
                  </a:lnTo>
                  <a:lnTo>
                    <a:pt x="2502" y="1608"/>
                  </a:lnTo>
                  <a:lnTo>
                    <a:pt x="2502" y="1596"/>
                  </a:lnTo>
                  <a:lnTo>
                    <a:pt x="2508" y="1560"/>
                  </a:lnTo>
                  <a:lnTo>
                    <a:pt x="2508" y="1548"/>
                  </a:lnTo>
                  <a:lnTo>
                    <a:pt x="2502" y="1536"/>
                  </a:lnTo>
                  <a:lnTo>
                    <a:pt x="2502" y="1500"/>
                  </a:lnTo>
                  <a:lnTo>
                    <a:pt x="2508" y="1488"/>
                  </a:lnTo>
                  <a:lnTo>
                    <a:pt x="2520" y="1476"/>
                  </a:lnTo>
                  <a:lnTo>
                    <a:pt x="2508" y="1458"/>
                  </a:lnTo>
                  <a:lnTo>
                    <a:pt x="2520" y="1446"/>
                  </a:lnTo>
                  <a:lnTo>
                    <a:pt x="2532" y="1446"/>
                  </a:lnTo>
                  <a:lnTo>
                    <a:pt x="2532" y="1452"/>
                  </a:lnTo>
                  <a:lnTo>
                    <a:pt x="2538" y="1464"/>
                  </a:lnTo>
                  <a:lnTo>
                    <a:pt x="2544" y="1470"/>
                  </a:lnTo>
                  <a:lnTo>
                    <a:pt x="2556" y="1464"/>
                  </a:lnTo>
                  <a:lnTo>
                    <a:pt x="2562" y="1452"/>
                  </a:lnTo>
                  <a:lnTo>
                    <a:pt x="2574" y="1446"/>
                  </a:lnTo>
                  <a:lnTo>
                    <a:pt x="2580" y="1434"/>
                  </a:lnTo>
                  <a:lnTo>
                    <a:pt x="2586" y="1428"/>
                  </a:lnTo>
                  <a:lnTo>
                    <a:pt x="2592" y="1416"/>
                  </a:lnTo>
                  <a:lnTo>
                    <a:pt x="2592" y="1404"/>
                  </a:lnTo>
                  <a:lnTo>
                    <a:pt x="2598" y="1386"/>
                  </a:lnTo>
                  <a:lnTo>
                    <a:pt x="2598" y="1374"/>
                  </a:lnTo>
                  <a:lnTo>
                    <a:pt x="2604" y="1356"/>
                  </a:lnTo>
                  <a:lnTo>
                    <a:pt x="2604" y="1344"/>
                  </a:lnTo>
                  <a:lnTo>
                    <a:pt x="2610" y="1338"/>
                  </a:lnTo>
                  <a:lnTo>
                    <a:pt x="2616" y="1338"/>
                  </a:lnTo>
                  <a:lnTo>
                    <a:pt x="2628" y="1326"/>
                  </a:lnTo>
                  <a:lnTo>
                    <a:pt x="2634" y="1314"/>
                  </a:lnTo>
                  <a:lnTo>
                    <a:pt x="2640" y="1308"/>
                  </a:lnTo>
                  <a:lnTo>
                    <a:pt x="2640" y="1296"/>
                  </a:lnTo>
                  <a:lnTo>
                    <a:pt x="2652" y="1290"/>
                  </a:lnTo>
                  <a:lnTo>
                    <a:pt x="2658" y="1284"/>
                  </a:lnTo>
                  <a:lnTo>
                    <a:pt x="2670" y="1284"/>
                  </a:lnTo>
                  <a:lnTo>
                    <a:pt x="2682" y="1272"/>
                  </a:lnTo>
                  <a:lnTo>
                    <a:pt x="2682" y="1254"/>
                  </a:lnTo>
                  <a:lnTo>
                    <a:pt x="2688" y="1254"/>
                  </a:lnTo>
                  <a:lnTo>
                    <a:pt x="2724" y="1218"/>
                  </a:lnTo>
                  <a:lnTo>
                    <a:pt x="2736" y="1188"/>
                  </a:lnTo>
                  <a:lnTo>
                    <a:pt x="2754" y="1158"/>
                  </a:lnTo>
                  <a:lnTo>
                    <a:pt x="2760" y="1134"/>
                  </a:lnTo>
                  <a:lnTo>
                    <a:pt x="2766" y="1122"/>
                  </a:lnTo>
                  <a:lnTo>
                    <a:pt x="2772" y="1116"/>
                  </a:lnTo>
                  <a:lnTo>
                    <a:pt x="2778" y="1104"/>
                  </a:lnTo>
                  <a:lnTo>
                    <a:pt x="2784" y="1098"/>
                  </a:lnTo>
                  <a:lnTo>
                    <a:pt x="2784" y="1080"/>
                  </a:lnTo>
                  <a:lnTo>
                    <a:pt x="2778" y="1068"/>
                  </a:lnTo>
                  <a:lnTo>
                    <a:pt x="2778" y="1002"/>
                  </a:lnTo>
                  <a:close/>
                </a:path>
              </a:pathLst>
            </a:custGeom>
            <a:solidFill>
              <a:srgbClr val="E2583D"/>
            </a:solidFill>
            <a:ln w="3175">
              <a:solidFill>
                <a:schemeClr val="bg1"/>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de-DE" sz="1800" b="0" i="0" u="none" strike="noStrike" kern="1200" cap="none" spc="0" normalizeH="0" baseline="0" noProof="0">
                <a:ln>
                  <a:noFill/>
                </a:ln>
                <a:solidFill>
                  <a:srgbClr val="FFC000"/>
                </a:solidFill>
                <a:effectLst/>
                <a:uLnTx/>
                <a:uFillTx/>
                <a:latin typeface="Calibri" pitchFamily="34" charset="0"/>
                <a:ea typeface="+mn-ea"/>
                <a:cs typeface="+mn-cs"/>
              </a:endParaRPr>
            </a:p>
          </p:txBody>
        </p:sp>
        <p:sp>
          <p:nvSpPr>
            <p:cNvPr id="167" name="Botswana" descr="© INSCALE GmbH, 05.05.2010&#10;http://www.presentationload.com/"/>
            <p:cNvSpPr>
              <a:spLocks/>
            </p:cNvSpPr>
            <p:nvPr/>
          </p:nvSpPr>
          <p:spPr bwMode="gray">
            <a:xfrm>
              <a:off x="4921363" y="4748394"/>
              <a:ext cx="211174" cy="227811"/>
            </a:xfrm>
            <a:custGeom>
              <a:avLst/>
              <a:gdLst>
                <a:gd name="T0" fmla="*/ 2147483647 w 648"/>
                <a:gd name="T1" fmla="*/ 2147483647 h 732"/>
                <a:gd name="T2" fmla="*/ 2147483647 w 648"/>
                <a:gd name="T3" fmla="*/ 2147483647 h 732"/>
                <a:gd name="T4" fmla="*/ 2147483647 w 648"/>
                <a:gd name="T5" fmla="*/ 2147483647 h 732"/>
                <a:gd name="T6" fmla="*/ 2147483647 w 648"/>
                <a:gd name="T7" fmla="*/ 2147483647 h 732"/>
                <a:gd name="T8" fmla="*/ 2147483647 w 648"/>
                <a:gd name="T9" fmla="*/ 2147483647 h 732"/>
                <a:gd name="T10" fmla="*/ 2147483647 w 648"/>
                <a:gd name="T11" fmla="*/ 2147483647 h 732"/>
                <a:gd name="T12" fmla="*/ 2147483647 w 648"/>
                <a:gd name="T13" fmla="*/ 2147483647 h 732"/>
                <a:gd name="T14" fmla="*/ 2147483647 w 648"/>
                <a:gd name="T15" fmla="*/ 2147483647 h 732"/>
                <a:gd name="T16" fmla="*/ 2147483647 w 648"/>
                <a:gd name="T17" fmla="*/ 2147483647 h 732"/>
                <a:gd name="T18" fmla="*/ 2147483647 w 648"/>
                <a:gd name="T19" fmla="*/ 2147483647 h 732"/>
                <a:gd name="T20" fmla="*/ 2147483647 w 648"/>
                <a:gd name="T21" fmla="*/ 2147483647 h 732"/>
                <a:gd name="T22" fmla="*/ 2147483647 w 648"/>
                <a:gd name="T23" fmla="*/ 2147483647 h 732"/>
                <a:gd name="T24" fmla="*/ 2147483647 w 648"/>
                <a:gd name="T25" fmla="*/ 2147483647 h 732"/>
                <a:gd name="T26" fmla="*/ 2147483647 w 648"/>
                <a:gd name="T27" fmla="*/ 2147483647 h 732"/>
                <a:gd name="T28" fmla="*/ 2147483647 w 648"/>
                <a:gd name="T29" fmla="*/ 2147483647 h 732"/>
                <a:gd name="T30" fmla="*/ 2147483647 w 648"/>
                <a:gd name="T31" fmla="*/ 2147483647 h 732"/>
                <a:gd name="T32" fmla="*/ 2147483647 w 648"/>
                <a:gd name="T33" fmla="*/ 2147483647 h 732"/>
                <a:gd name="T34" fmla="*/ 2147483647 w 648"/>
                <a:gd name="T35" fmla="*/ 2147483647 h 732"/>
                <a:gd name="T36" fmla="*/ 2147483647 w 648"/>
                <a:gd name="T37" fmla="*/ 2147483647 h 732"/>
                <a:gd name="T38" fmla="*/ 2147483647 w 648"/>
                <a:gd name="T39" fmla="*/ 2147483647 h 732"/>
                <a:gd name="T40" fmla="*/ 2147483647 w 648"/>
                <a:gd name="T41" fmla="*/ 2147483647 h 732"/>
                <a:gd name="T42" fmla="*/ 2147483647 w 648"/>
                <a:gd name="T43" fmla="*/ 2147483647 h 732"/>
                <a:gd name="T44" fmla="*/ 2147483647 w 648"/>
                <a:gd name="T45" fmla="*/ 2147483647 h 732"/>
                <a:gd name="T46" fmla="*/ 2147483647 w 648"/>
                <a:gd name="T47" fmla="*/ 2147483647 h 732"/>
                <a:gd name="T48" fmla="*/ 2147483647 w 648"/>
                <a:gd name="T49" fmla="*/ 2147483647 h 732"/>
                <a:gd name="T50" fmla="*/ 2147483647 w 648"/>
                <a:gd name="T51" fmla="*/ 2147483647 h 732"/>
                <a:gd name="T52" fmla="*/ 2147483647 w 648"/>
                <a:gd name="T53" fmla="*/ 2147483647 h 732"/>
                <a:gd name="T54" fmla="*/ 2147483647 w 648"/>
                <a:gd name="T55" fmla="*/ 2147483647 h 732"/>
                <a:gd name="T56" fmla="*/ 2147483647 w 648"/>
                <a:gd name="T57" fmla="*/ 2147483647 h 732"/>
                <a:gd name="T58" fmla="*/ 2147483647 w 648"/>
                <a:gd name="T59" fmla="*/ 2147483647 h 732"/>
                <a:gd name="T60" fmla="*/ 2147483647 w 648"/>
                <a:gd name="T61" fmla="*/ 2147483647 h 732"/>
                <a:gd name="T62" fmla="*/ 2147483647 w 648"/>
                <a:gd name="T63" fmla="*/ 2147483647 h 732"/>
                <a:gd name="T64" fmla="*/ 2147483647 w 648"/>
                <a:gd name="T65" fmla="*/ 2147483647 h 732"/>
                <a:gd name="T66" fmla="*/ 2147483647 w 648"/>
                <a:gd name="T67" fmla="*/ 2147483647 h 732"/>
                <a:gd name="T68" fmla="*/ 2147483647 w 648"/>
                <a:gd name="T69" fmla="*/ 2147483647 h 732"/>
                <a:gd name="T70" fmla="*/ 2147483647 w 648"/>
                <a:gd name="T71" fmla="*/ 2147483647 h 732"/>
                <a:gd name="T72" fmla="*/ 2147483647 w 648"/>
                <a:gd name="T73" fmla="*/ 2147483647 h 732"/>
                <a:gd name="T74" fmla="*/ 2147483647 w 648"/>
                <a:gd name="T75" fmla="*/ 2147483647 h 732"/>
                <a:gd name="T76" fmla="*/ 2147483647 w 648"/>
                <a:gd name="T77" fmla="*/ 2147483647 h 732"/>
                <a:gd name="T78" fmla="*/ 2147483647 w 648"/>
                <a:gd name="T79" fmla="*/ 2147483647 h 732"/>
                <a:gd name="T80" fmla="*/ 2147483647 w 648"/>
                <a:gd name="T81" fmla="*/ 2147483647 h 732"/>
                <a:gd name="T82" fmla="*/ 2147483647 w 648"/>
                <a:gd name="T83" fmla="*/ 2147483647 h 732"/>
                <a:gd name="T84" fmla="*/ 2147483647 w 648"/>
                <a:gd name="T85" fmla="*/ 2147483647 h 732"/>
                <a:gd name="T86" fmla="*/ 2147483647 w 648"/>
                <a:gd name="T87" fmla="*/ 2147483647 h 732"/>
                <a:gd name="T88" fmla="*/ 2147483647 w 648"/>
                <a:gd name="T89" fmla="*/ 2147483647 h 732"/>
                <a:gd name="T90" fmla="*/ 2147483647 w 648"/>
                <a:gd name="T91" fmla="*/ 2147483647 h 732"/>
                <a:gd name="T92" fmla="*/ 2147483647 w 648"/>
                <a:gd name="T93" fmla="*/ 2147483647 h 732"/>
                <a:gd name="T94" fmla="*/ 2147483647 w 648"/>
                <a:gd name="T95" fmla="*/ 0 h 732"/>
                <a:gd name="T96" fmla="*/ 2147483647 w 648"/>
                <a:gd name="T97" fmla="*/ 2147483647 h 732"/>
                <a:gd name="T98" fmla="*/ 2147483647 w 648"/>
                <a:gd name="T99" fmla="*/ 2147483647 h 732"/>
                <a:gd name="T100" fmla="*/ 2147483647 w 648"/>
                <a:gd name="T101" fmla="*/ 2147483647 h 732"/>
                <a:gd name="T102" fmla="*/ 2147483647 w 648"/>
                <a:gd name="T103" fmla="*/ 2147483647 h 732"/>
                <a:gd name="T104" fmla="*/ 2147483647 w 648"/>
                <a:gd name="T105" fmla="*/ 2147483647 h 732"/>
                <a:gd name="T106" fmla="*/ 2147483647 w 648"/>
                <a:gd name="T107" fmla="*/ 2147483647 h 732"/>
                <a:gd name="T108" fmla="*/ 2147483647 w 648"/>
                <a:gd name="T109" fmla="*/ 2147483647 h 732"/>
                <a:gd name="T110" fmla="*/ 2147483647 w 648"/>
                <a:gd name="T111" fmla="*/ 2147483647 h 732"/>
                <a:gd name="T112" fmla="*/ 2147483647 w 648"/>
                <a:gd name="T113" fmla="*/ 2147483647 h 732"/>
                <a:gd name="T114" fmla="*/ 0 w 648"/>
                <a:gd name="T115" fmla="*/ 2147483647 h 732"/>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648"/>
                <a:gd name="T175" fmla="*/ 0 h 732"/>
                <a:gd name="T176" fmla="*/ 648 w 648"/>
                <a:gd name="T177" fmla="*/ 732 h 732"/>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648" h="732">
                  <a:moveTo>
                    <a:pt x="0" y="570"/>
                  </a:moveTo>
                  <a:lnTo>
                    <a:pt x="12" y="576"/>
                  </a:lnTo>
                  <a:lnTo>
                    <a:pt x="18" y="582"/>
                  </a:lnTo>
                  <a:lnTo>
                    <a:pt x="30" y="588"/>
                  </a:lnTo>
                  <a:lnTo>
                    <a:pt x="36" y="594"/>
                  </a:lnTo>
                  <a:lnTo>
                    <a:pt x="42" y="612"/>
                  </a:lnTo>
                  <a:lnTo>
                    <a:pt x="48" y="624"/>
                  </a:lnTo>
                  <a:lnTo>
                    <a:pt x="48" y="642"/>
                  </a:lnTo>
                  <a:lnTo>
                    <a:pt x="54" y="648"/>
                  </a:lnTo>
                  <a:lnTo>
                    <a:pt x="54" y="672"/>
                  </a:lnTo>
                  <a:lnTo>
                    <a:pt x="48" y="684"/>
                  </a:lnTo>
                  <a:lnTo>
                    <a:pt x="48" y="690"/>
                  </a:lnTo>
                  <a:lnTo>
                    <a:pt x="42" y="702"/>
                  </a:lnTo>
                  <a:lnTo>
                    <a:pt x="42" y="732"/>
                  </a:lnTo>
                  <a:lnTo>
                    <a:pt x="120" y="732"/>
                  </a:lnTo>
                  <a:lnTo>
                    <a:pt x="120" y="714"/>
                  </a:lnTo>
                  <a:lnTo>
                    <a:pt x="144" y="714"/>
                  </a:lnTo>
                  <a:lnTo>
                    <a:pt x="144" y="708"/>
                  </a:lnTo>
                  <a:lnTo>
                    <a:pt x="150" y="702"/>
                  </a:lnTo>
                  <a:lnTo>
                    <a:pt x="156" y="690"/>
                  </a:lnTo>
                  <a:lnTo>
                    <a:pt x="162" y="684"/>
                  </a:lnTo>
                  <a:lnTo>
                    <a:pt x="168" y="684"/>
                  </a:lnTo>
                  <a:lnTo>
                    <a:pt x="174" y="678"/>
                  </a:lnTo>
                  <a:lnTo>
                    <a:pt x="186" y="678"/>
                  </a:lnTo>
                  <a:lnTo>
                    <a:pt x="186" y="654"/>
                  </a:lnTo>
                  <a:lnTo>
                    <a:pt x="192" y="642"/>
                  </a:lnTo>
                  <a:lnTo>
                    <a:pt x="192" y="630"/>
                  </a:lnTo>
                  <a:lnTo>
                    <a:pt x="198" y="618"/>
                  </a:lnTo>
                  <a:lnTo>
                    <a:pt x="204" y="612"/>
                  </a:lnTo>
                  <a:lnTo>
                    <a:pt x="216" y="606"/>
                  </a:lnTo>
                  <a:lnTo>
                    <a:pt x="228" y="606"/>
                  </a:lnTo>
                  <a:lnTo>
                    <a:pt x="240" y="612"/>
                  </a:lnTo>
                  <a:lnTo>
                    <a:pt x="246" y="618"/>
                  </a:lnTo>
                  <a:lnTo>
                    <a:pt x="258" y="624"/>
                  </a:lnTo>
                  <a:lnTo>
                    <a:pt x="270" y="636"/>
                  </a:lnTo>
                  <a:lnTo>
                    <a:pt x="300" y="636"/>
                  </a:lnTo>
                  <a:lnTo>
                    <a:pt x="306" y="642"/>
                  </a:lnTo>
                  <a:lnTo>
                    <a:pt x="318" y="648"/>
                  </a:lnTo>
                  <a:lnTo>
                    <a:pt x="324" y="654"/>
                  </a:lnTo>
                  <a:lnTo>
                    <a:pt x="336" y="654"/>
                  </a:lnTo>
                  <a:lnTo>
                    <a:pt x="348" y="648"/>
                  </a:lnTo>
                  <a:lnTo>
                    <a:pt x="354" y="642"/>
                  </a:lnTo>
                  <a:lnTo>
                    <a:pt x="360" y="648"/>
                  </a:lnTo>
                  <a:lnTo>
                    <a:pt x="372" y="648"/>
                  </a:lnTo>
                  <a:lnTo>
                    <a:pt x="384" y="642"/>
                  </a:lnTo>
                  <a:lnTo>
                    <a:pt x="390" y="636"/>
                  </a:lnTo>
                  <a:lnTo>
                    <a:pt x="396" y="624"/>
                  </a:lnTo>
                  <a:lnTo>
                    <a:pt x="402" y="606"/>
                  </a:lnTo>
                  <a:lnTo>
                    <a:pt x="408" y="594"/>
                  </a:lnTo>
                  <a:lnTo>
                    <a:pt x="408" y="582"/>
                  </a:lnTo>
                  <a:lnTo>
                    <a:pt x="426" y="564"/>
                  </a:lnTo>
                  <a:lnTo>
                    <a:pt x="444" y="558"/>
                  </a:lnTo>
                  <a:lnTo>
                    <a:pt x="456" y="552"/>
                  </a:lnTo>
                  <a:lnTo>
                    <a:pt x="462" y="546"/>
                  </a:lnTo>
                  <a:lnTo>
                    <a:pt x="468" y="534"/>
                  </a:lnTo>
                  <a:lnTo>
                    <a:pt x="480" y="528"/>
                  </a:lnTo>
                  <a:lnTo>
                    <a:pt x="480" y="492"/>
                  </a:lnTo>
                  <a:lnTo>
                    <a:pt x="492" y="468"/>
                  </a:lnTo>
                  <a:lnTo>
                    <a:pt x="504" y="462"/>
                  </a:lnTo>
                  <a:lnTo>
                    <a:pt x="510" y="462"/>
                  </a:lnTo>
                  <a:lnTo>
                    <a:pt x="522" y="456"/>
                  </a:lnTo>
                  <a:lnTo>
                    <a:pt x="564" y="414"/>
                  </a:lnTo>
                  <a:lnTo>
                    <a:pt x="576" y="390"/>
                  </a:lnTo>
                  <a:lnTo>
                    <a:pt x="582" y="384"/>
                  </a:lnTo>
                  <a:lnTo>
                    <a:pt x="594" y="384"/>
                  </a:lnTo>
                  <a:lnTo>
                    <a:pt x="606" y="378"/>
                  </a:lnTo>
                  <a:lnTo>
                    <a:pt x="618" y="378"/>
                  </a:lnTo>
                  <a:lnTo>
                    <a:pt x="630" y="354"/>
                  </a:lnTo>
                  <a:lnTo>
                    <a:pt x="648" y="354"/>
                  </a:lnTo>
                  <a:lnTo>
                    <a:pt x="648" y="348"/>
                  </a:lnTo>
                  <a:lnTo>
                    <a:pt x="642" y="336"/>
                  </a:lnTo>
                  <a:lnTo>
                    <a:pt x="624" y="318"/>
                  </a:lnTo>
                  <a:lnTo>
                    <a:pt x="606" y="312"/>
                  </a:lnTo>
                  <a:lnTo>
                    <a:pt x="594" y="312"/>
                  </a:lnTo>
                  <a:lnTo>
                    <a:pt x="576" y="306"/>
                  </a:lnTo>
                  <a:lnTo>
                    <a:pt x="564" y="306"/>
                  </a:lnTo>
                  <a:lnTo>
                    <a:pt x="564" y="276"/>
                  </a:lnTo>
                  <a:lnTo>
                    <a:pt x="546" y="276"/>
                  </a:lnTo>
                  <a:lnTo>
                    <a:pt x="546" y="246"/>
                  </a:lnTo>
                  <a:lnTo>
                    <a:pt x="552" y="240"/>
                  </a:lnTo>
                  <a:lnTo>
                    <a:pt x="546" y="216"/>
                  </a:lnTo>
                  <a:lnTo>
                    <a:pt x="516" y="216"/>
                  </a:lnTo>
                  <a:lnTo>
                    <a:pt x="516" y="186"/>
                  </a:lnTo>
                  <a:lnTo>
                    <a:pt x="510" y="180"/>
                  </a:lnTo>
                  <a:lnTo>
                    <a:pt x="480" y="180"/>
                  </a:lnTo>
                  <a:lnTo>
                    <a:pt x="462" y="162"/>
                  </a:lnTo>
                  <a:lnTo>
                    <a:pt x="450" y="156"/>
                  </a:lnTo>
                  <a:lnTo>
                    <a:pt x="432" y="120"/>
                  </a:lnTo>
                  <a:lnTo>
                    <a:pt x="432" y="96"/>
                  </a:lnTo>
                  <a:lnTo>
                    <a:pt x="426" y="90"/>
                  </a:lnTo>
                  <a:lnTo>
                    <a:pt x="414" y="66"/>
                  </a:lnTo>
                  <a:lnTo>
                    <a:pt x="408" y="60"/>
                  </a:lnTo>
                  <a:lnTo>
                    <a:pt x="396" y="60"/>
                  </a:lnTo>
                  <a:lnTo>
                    <a:pt x="396" y="30"/>
                  </a:lnTo>
                  <a:lnTo>
                    <a:pt x="384" y="18"/>
                  </a:lnTo>
                  <a:lnTo>
                    <a:pt x="378" y="0"/>
                  </a:lnTo>
                  <a:lnTo>
                    <a:pt x="342" y="6"/>
                  </a:lnTo>
                  <a:lnTo>
                    <a:pt x="330" y="18"/>
                  </a:lnTo>
                  <a:lnTo>
                    <a:pt x="306" y="18"/>
                  </a:lnTo>
                  <a:lnTo>
                    <a:pt x="264" y="60"/>
                  </a:lnTo>
                  <a:lnTo>
                    <a:pt x="258" y="60"/>
                  </a:lnTo>
                  <a:lnTo>
                    <a:pt x="258" y="42"/>
                  </a:lnTo>
                  <a:lnTo>
                    <a:pt x="252" y="42"/>
                  </a:lnTo>
                  <a:lnTo>
                    <a:pt x="252" y="24"/>
                  </a:lnTo>
                  <a:lnTo>
                    <a:pt x="246" y="18"/>
                  </a:lnTo>
                  <a:lnTo>
                    <a:pt x="228" y="18"/>
                  </a:lnTo>
                  <a:lnTo>
                    <a:pt x="216" y="24"/>
                  </a:lnTo>
                  <a:lnTo>
                    <a:pt x="168" y="36"/>
                  </a:lnTo>
                  <a:lnTo>
                    <a:pt x="132" y="36"/>
                  </a:lnTo>
                  <a:lnTo>
                    <a:pt x="114" y="42"/>
                  </a:lnTo>
                  <a:lnTo>
                    <a:pt x="78" y="42"/>
                  </a:lnTo>
                  <a:lnTo>
                    <a:pt x="78" y="216"/>
                  </a:lnTo>
                  <a:lnTo>
                    <a:pt x="72" y="222"/>
                  </a:lnTo>
                  <a:lnTo>
                    <a:pt x="78" y="348"/>
                  </a:lnTo>
                  <a:lnTo>
                    <a:pt x="6" y="348"/>
                  </a:lnTo>
                  <a:lnTo>
                    <a:pt x="0" y="570"/>
                  </a:lnTo>
                  <a:close/>
                </a:path>
              </a:pathLst>
            </a:custGeom>
            <a:grpFill/>
            <a:ln w="3175">
              <a:solidFill>
                <a:schemeClr val="bg1"/>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de-DE" sz="1800" b="0" i="0" u="none" strike="noStrike" kern="1200" cap="none" spc="0" normalizeH="0" baseline="0" noProof="0">
                <a:ln>
                  <a:noFill/>
                </a:ln>
                <a:solidFill>
                  <a:srgbClr val="FFC000"/>
                </a:solidFill>
                <a:effectLst/>
                <a:uLnTx/>
                <a:uFillTx/>
                <a:latin typeface="Calibri" pitchFamily="34" charset="0"/>
                <a:ea typeface="+mn-ea"/>
                <a:cs typeface="+mn-cs"/>
              </a:endParaRPr>
            </a:p>
          </p:txBody>
        </p:sp>
        <p:sp>
          <p:nvSpPr>
            <p:cNvPr id="168" name="Bosnia and Herzegovina" descr="© INSCALE GmbH, 05.05.2010&#10;http://www.presentationload.com/"/>
            <p:cNvSpPr>
              <a:spLocks/>
            </p:cNvSpPr>
            <p:nvPr/>
          </p:nvSpPr>
          <p:spPr bwMode="gray">
            <a:xfrm>
              <a:off x="4812577" y="3172090"/>
              <a:ext cx="87029" cy="73487"/>
            </a:xfrm>
            <a:custGeom>
              <a:avLst/>
              <a:gdLst>
                <a:gd name="T0" fmla="*/ 2147483647 w 264"/>
                <a:gd name="T1" fmla="*/ 2147483647 h 234"/>
                <a:gd name="T2" fmla="*/ 2147483647 w 264"/>
                <a:gd name="T3" fmla="*/ 2147483647 h 234"/>
                <a:gd name="T4" fmla="*/ 2147483647 w 264"/>
                <a:gd name="T5" fmla="*/ 2147483647 h 234"/>
                <a:gd name="T6" fmla="*/ 2147483647 w 264"/>
                <a:gd name="T7" fmla="*/ 2147483647 h 234"/>
                <a:gd name="T8" fmla="*/ 2147483647 w 264"/>
                <a:gd name="T9" fmla="*/ 2147483647 h 234"/>
                <a:gd name="T10" fmla="*/ 2147483647 w 264"/>
                <a:gd name="T11" fmla="*/ 2147483647 h 234"/>
                <a:gd name="T12" fmla="*/ 2147483647 w 264"/>
                <a:gd name="T13" fmla="*/ 2147483647 h 234"/>
                <a:gd name="T14" fmla="*/ 2147483647 w 264"/>
                <a:gd name="T15" fmla="*/ 2147483647 h 234"/>
                <a:gd name="T16" fmla="*/ 2147483647 w 264"/>
                <a:gd name="T17" fmla="*/ 2147483647 h 234"/>
                <a:gd name="T18" fmla="*/ 2147483647 w 264"/>
                <a:gd name="T19" fmla="*/ 2147483647 h 234"/>
                <a:gd name="T20" fmla="*/ 2147483647 w 264"/>
                <a:gd name="T21" fmla="*/ 2147483647 h 234"/>
                <a:gd name="T22" fmla="*/ 2147483647 w 264"/>
                <a:gd name="T23" fmla="*/ 2147483647 h 234"/>
                <a:gd name="T24" fmla="*/ 2147483647 w 264"/>
                <a:gd name="T25" fmla="*/ 2147483647 h 234"/>
                <a:gd name="T26" fmla="*/ 2147483647 w 264"/>
                <a:gd name="T27" fmla="*/ 2147483647 h 234"/>
                <a:gd name="T28" fmla="*/ 2147483647 w 264"/>
                <a:gd name="T29" fmla="*/ 2147483647 h 234"/>
                <a:gd name="T30" fmla="*/ 2147483647 w 264"/>
                <a:gd name="T31" fmla="*/ 2147483647 h 234"/>
                <a:gd name="T32" fmla="*/ 2147483647 w 264"/>
                <a:gd name="T33" fmla="*/ 2147483647 h 234"/>
                <a:gd name="T34" fmla="*/ 2147483647 w 264"/>
                <a:gd name="T35" fmla="*/ 2147483647 h 234"/>
                <a:gd name="T36" fmla="*/ 2147483647 w 264"/>
                <a:gd name="T37" fmla="*/ 2147483647 h 234"/>
                <a:gd name="T38" fmla="*/ 2147483647 w 264"/>
                <a:gd name="T39" fmla="*/ 0 h 234"/>
                <a:gd name="T40" fmla="*/ 2147483647 w 264"/>
                <a:gd name="T41" fmla="*/ 0 h 234"/>
                <a:gd name="T42" fmla="*/ 2147483647 w 264"/>
                <a:gd name="T43" fmla="*/ 2147483647 h 234"/>
                <a:gd name="T44" fmla="*/ 0 w 264"/>
                <a:gd name="T45" fmla="*/ 2147483647 h 234"/>
                <a:gd name="T46" fmla="*/ 2147483647 w 264"/>
                <a:gd name="T47" fmla="*/ 2147483647 h 234"/>
                <a:gd name="T48" fmla="*/ 2147483647 w 264"/>
                <a:gd name="T49" fmla="*/ 2147483647 h 234"/>
                <a:gd name="T50" fmla="*/ 2147483647 w 264"/>
                <a:gd name="T51" fmla="*/ 2147483647 h 234"/>
                <a:gd name="T52" fmla="*/ 2147483647 w 264"/>
                <a:gd name="T53" fmla="*/ 2147483647 h 234"/>
                <a:gd name="T54" fmla="*/ 2147483647 w 264"/>
                <a:gd name="T55" fmla="*/ 2147483647 h 234"/>
                <a:gd name="T56" fmla="*/ 2147483647 w 264"/>
                <a:gd name="T57" fmla="*/ 2147483647 h 234"/>
                <a:gd name="T58" fmla="*/ 2147483647 w 264"/>
                <a:gd name="T59" fmla="*/ 2147483647 h 234"/>
                <a:gd name="T60" fmla="*/ 2147483647 w 264"/>
                <a:gd name="T61" fmla="*/ 2147483647 h 234"/>
                <a:gd name="T62" fmla="*/ 2147483647 w 264"/>
                <a:gd name="T63" fmla="*/ 2147483647 h 234"/>
                <a:gd name="T64" fmla="*/ 2147483647 w 264"/>
                <a:gd name="T65" fmla="*/ 2147483647 h 234"/>
                <a:gd name="T66" fmla="*/ 2147483647 w 264"/>
                <a:gd name="T67" fmla="*/ 2147483647 h 234"/>
                <a:gd name="T68" fmla="*/ 2147483647 w 264"/>
                <a:gd name="T69" fmla="*/ 2147483647 h 234"/>
                <a:gd name="T70" fmla="*/ 2147483647 w 264"/>
                <a:gd name="T71" fmla="*/ 2147483647 h 234"/>
                <a:gd name="T72" fmla="*/ 2147483647 w 264"/>
                <a:gd name="T73" fmla="*/ 2147483647 h 234"/>
                <a:gd name="T74" fmla="*/ 2147483647 w 264"/>
                <a:gd name="T75" fmla="*/ 2147483647 h 234"/>
                <a:gd name="T76" fmla="*/ 2147483647 w 264"/>
                <a:gd name="T77" fmla="*/ 2147483647 h 234"/>
                <a:gd name="T78" fmla="*/ 2147483647 w 264"/>
                <a:gd name="T79" fmla="*/ 2147483647 h 234"/>
                <a:gd name="T80" fmla="*/ 2147483647 w 264"/>
                <a:gd name="T81" fmla="*/ 2147483647 h 234"/>
                <a:gd name="T82" fmla="*/ 2147483647 w 264"/>
                <a:gd name="T83" fmla="*/ 2147483647 h 234"/>
                <a:gd name="T84" fmla="*/ 2147483647 w 264"/>
                <a:gd name="T85" fmla="*/ 2147483647 h 234"/>
                <a:gd name="T86" fmla="*/ 2147483647 w 264"/>
                <a:gd name="T87" fmla="*/ 2147483647 h 234"/>
                <a:gd name="T88" fmla="*/ 2147483647 w 264"/>
                <a:gd name="T89" fmla="*/ 2147483647 h 234"/>
                <a:gd name="T90" fmla="*/ 2147483647 w 264"/>
                <a:gd name="T91" fmla="*/ 2147483647 h 234"/>
                <a:gd name="T92" fmla="*/ 2147483647 w 264"/>
                <a:gd name="T93" fmla="*/ 2147483647 h 234"/>
                <a:gd name="T94" fmla="*/ 2147483647 w 264"/>
                <a:gd name="T95" fmla="*/ 2147483647 h 234"/>
                <a:gd name="T96" fmla="*/ 2147483647 w 264"/>
                <a:gd name="T97" fmla="*/ 2147483647 h 234"/>
                <a:gd name="T98" fmla="*/ 2147483647 w 264"/>
                <a:gd name="T99" fmla="*/ 2147483647 h 234"/>
                <a:gd name="T100" fmla="*/ 2147483647 w 264"/>
                <a:gd name="T101" fmla="*/ 2147483647 h 234"/>
                <a:gd name="T102" fmla="*/ 2147483647 w 264"/>
                <a:gd name="T103" fmla="*/ 2147483647 h 234"/>
                <a:gd name="T104" fmla="*/ 2147483647 w 264"/>
                <a:gd name="T105" fmla="*/ 2147483647 h 234"/>
                <a:gd name="T106" fmla="*/ 2147483647 w 264"/>
                <a:gd name="T107" fmla="*/ 2147483647 h 234"/>
                <a:gd name="T108" fmla="*/ 2147483647 w 264"/>
                <a:gd name="T109" fmla="*/ 2147483647 h 234"/>
                <a:gd name="T110" fmla="*/ 2147483647 w 264"/>
                <a:gd name="T111" fmla="*/ 2147483647 h 234"/>
                <a:gd name="T112" fmla="*/ 2147483647 w 264"/>
                <a:gd name="T113" fmla="*/ 2147483647 h 234"/>
                <a:gd name="T114" fmla="*/ 2147483647 w 264"/>
                <a:gd name="T115" fmla="*/ 2147483647 h 234"/>
                <a:gd name="T116" fmla="*/ 2147483647 w 264"/>
                <a:gd name="T117" fmla="*/ 2147483647 h 234"/>
                <a:gd name="T118" fmla="*/ 2147483647 w 264"/>
                <a:gd name="T119" fmla="*/ 2147483647 h 234"/>
                <a:gd name="T120" fmla="*/ 2147483647 w 264"/>
                <a:gd name="T121" fmla="*/ 2147483647 h 234"/>
                <a:gd name="T122" fmla="*/ 2147483647 w 264"/>
                <a:gd name="T123" fmla="*/ 2147483647 h 234"/>
                <a:gd name="T124" fmla="*/ 2147483647 w 264"/>
                <a:gd name="T125" fmla="*/ 2147483647 h 234"/>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264"/>
                <a:gd name="T190" fmla="*/ 0 h 234"/>
                <a:gd name="T191" fmla="*/ 264 w 264"/>
                <a:gd name="T192" fmla="*/ 234 h 234"/>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264" h="234">
                  <a:moveTo>
                    <a:pt x="246" y="78"/>
                  </a:moveTo>
                  <a:lnTo>
                    <a:pt x="228" y="78"/>
                  </a:lnTo>
                  <a:lnTo>
                    <a:pt x="228" y="60"/>
                  </a:lnTo>
                  <a:lnTo>
                    <a:pt x="246" y="42"/>
                  </a:lnTo>
                  <a:lnTo>
                    <a:pt x="246" y="30"/>
                  </a:lnTo>
                  <a:lnTo>
                    <a:pt x="234" y="30"/>
                  </a:lnTo>
                  <a:lnTo>
                    <a:pt x="222" y="36"/>
                  </a:lnTo>
                  <a:lnTo>
                    <a:pt x="216" y="36"/>
                  </a:lnTo>
                  <a:lnTo>
                    <a:pt x="216" y="30"/>
                  </a:lnTo>
                  <a:lnTo>
                    <a:pt x="204" y="30"/>
                  </a:lnTo>
                  <a:lnTo>
                    <a:pt x="192" y="12"/>
                  </a:lnTo>
                  <a:lnTo>
                    <a:pt x="138" y="12"/>
                  </a:lnTo>
                  <a:lnTo>
                    <a:pt x="132" y="6"/>
                  </a:lnTo>
                  <a:lnTo>
                    <a:pt x="120" y="6"/>
                  </a:lnTo>
                  <a:lnTo>
                    <a:pt x="108" y="12"/>
                  </a:lnTo>
                  <a:lnTo>
                    <a:pt x="90" y="6"/>
                  </a:lnTo>
                  <a:lnTo>
                    <a:pt x="66" y="6"/>
                  </a:lnTo>
                  <a:lnTo>
                    <a:pt x="42" y="12"/>
                  </a:lnTo>
                  <a:lnTo>
                    <a:pt x="30" y="6"/>
                  </a:lnTo>
                  <a:lnTo>
                    <a:pt x="24" y="0"/>
                  </a:lnTo>
                  <a:lnTo>
                    <a:pt x="18" y="0"/>
                  </a:lnTo>
                  <a:lnTo>
                    <a:pt x="18" y="24"/>
                  </a:lnTo>
                  <a:lnTo>
                    <a:pt x="0" y="30"/>
                  </a:lnTo>
                  <a:lnTo>
                    <a:pt x="12" y="42"/>
                  </a:lnTo>
                  <a:lnTo>
                    <a:pt x="30" y="48"/>
                  </a:lnTo>
                  <a:lnTo>
                    <a:pt x="30" y="60"/>
                  </a:lnTo>
                  <a:lnTo>
                    <a:pt x="36" y="60"/>
                  </a:lnTo>
                  <a:lnTo>
                    <a:pt x="42" y="66"/>
                  </a:lnTo>
                  <a:lnTo>
                    <a:pt x="42" y="84"/>
                  </a:lnTo>
                  <a:lnTo>
                    <a:pt x="60" y="90"/>
                  </a:lnTo>
                  <a:lnTo>
                    <a:pt x="72" y="120"/>
                  </a:lnTo>
                  <a:lnTo>
                    <a:pt x="84" y="132"/>
                  </a:lnTo>
                  <a:lnTo>
                    <a:pt x="96" y="138"/>
                  </a:lnTo>
                  <a:lnTo>
                    <a:pt x="114" y="150"/>
                  </a:lnTo>
                  <a:lnTo>
                    <a:pt x="126" y="156"/>
                  </a:lnTo>
                  <a:lnTo>
                    <a:pt x="132" y="168"/>
                  </a:lnTo>
                  <a:lnTo>
                    <a:pt x="132" y="174"/>
                  </a:lnTo>
                  <a:lnTo>
                    <a:pt x="126" y="180"/>
                  </a:lnTo>
                  <a:lnTo>
                    <a:pt x="138" y="180"/>
                  </a:lnTo>
                  <a:lnTo>
                    <a:pt x="156" y="198"/>
                  </a:lnTo>
                  <a:lnTo>
                    <a:pt x="162" y="210"/>
                  </a:lnTo>
                  <a:lnTo>
                    <a:pt x="174" y="216"/>
                  </a:lnTo>
                  <a:lnTo>
                    <a:pt x="192" y="234"/>
                  </a:lnTo>
                  <a:lnTo>
                    <a:pt x="210" y="204"/>
                  </a:lnTo>
                  <a:lnTo>
                    <a:pt x="198" y="198"/>
                  </a:lnTo>
                  <a:lnTo>
                    <a:pt x="192" y="198"/>
                  </a:lnTo>
                  <a:lnTo>
                    <a:pt x="186" y="192"/>
                  </a:lnTo>
                  <a:lnTo>
                    <a:pt x="186" y="186"/>
                  </a:lnTo>
                  <a:lnTo>
                    <a:pt x="192" y="180"/>
                  </a:lnTo>
                  <a:lnTo>
                    <a:pt x="198" y="180"/>
                  </a:lnTo>
                  <a:lnTo>
                    <a:pt x="204" y="168"/>
                  </a:lnTo>
                  <a:lnTo>
                    <a:pt x="204" y="162"/>
                  </a:lnTo>
                  <a:lnTo>
                    <a:pt x="210" y="156"/>
                  </a:lnTo>
                  <a:lnTo>
                    <a:pt x="228" y="156"/>
                  </a:lnTo>
                  <a:lnTo>
                    <a:pt x="228" y="132"/>
                  </a:lnTo>
                  <a:lnTo>
                    <a:pt x="258" y="132"/>
                  </a:lnTo>
                  <a:lnTo>
                    <a:pt x="258" y="126"/>
                  </a:lnTo>
                  <a:lnTo>
                    <a:pt x="252" y="114"/>
                  </a:lnTo>
                  <a:lnTo>
                    <a:pt x="240" y="102"/>
                  </a:lnTo>
                  <a:lnTo>
                    <a:pt x="264" y="96"/>
                  </a:lnTo>
                  <a:lnTo>
                    <a:pt x="258" y="84"/>
                  </a:lnTo>
                  <a:lnTo>
                    <a:pt x="252" y="78"/>
                  </a:lnTo>
                  <a:lnTo>
                    <a:pt x="246" y="78"/>
                  </a:lnTo>
                  <a:close/>
                </a:path>
              </a:pathLst>
            </a:custGeom>
            <a:grpFill/>
            <a:ln w="3175">
              <a:solidFill>
                <a:schemeClr val="bg1"/>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de-DE" sz="1800" b="0" i="0" u="none" strike="noStrike" kern="1200" cap="none" spc="0" normalizeH="0" baseline="0" noProof="0">
                <a:ln>
                  <a:noFill/>
                </a:ln>
                <a:solidFill>
                  <a:srgbClr val="FFC000"/>
                </a:solidFill>
                <a:effectLst/>
                <a:uLnTx/>
                <a:uFillTx/>
                <a:latin typeface="Calibri" pitchFamily="34" charset="0"/>
                <a:ea typeface="+mn-ea"/>
                <a:cs typeface="+mn-cs"/>
              </a:endParaRPr>
            </a:p>
          </p:txBody>
        </p:sp>
        <p:sp>
          <p:nvSpPr>
            <p:cNvPr id="169" name="Bolivia" descr="© INSCALE GmbH, 05.05.2010&#10;http://www.presentationload.com/"/>
            <p:cNvSpPr>
              <a:spLocks/>
            </p:cNvSpPr>
            <p:nvPr/>
          </p:nvSpPr>
          <p:spPr bwMode="gray">
            <a:xfrm>
              <a:off x="2869779" y="4547528"/>
              <a:ext cx="289244" cy="329468"/>
            </a:xfrm>
            <a:custGeom>
              <a:avLst/>
              <a:gdLst>
                <a:gd name="T0" fmla="*/ 2147483647 w 894"/>
                <a:gd name="T1" fmla="*/ 2147483647 h 1056"/>
                <a:gd name="T2" fmla="*/ 2147483647 w 894"/>
                <a:gd name="T3" fmla="*/ 2147483647 h 1056"/>
                <a:gd name="T4" fmla="*/ 2147483647 w 894"/>
                <a:gd name="T5" fmla="*/ 2147483647 h 1056"/>
                <a:gd name="T6" fmla="*/ 2147483647 w 894"/>
                <a:gd name="T7" fmla="*/ 2147483647 h 1056"/>
                <a:gd name="T8" fmla="*/ 2147483647 w 894"/>
                <a:gd name="T9" fmla="*/ 2147483647 h 1056"/>
                <a:gd name="T10" fmla="*/ 2147483647 w 894"/>
                <a:gd name="T11" fmla="*/ 2147483647 h 1056"/>
                <a:gd name="T12" fmla="*/ 2147483647 w 894"/>
                <a:gd name="T13" fmla="*/ 2147483647 h 1056"/>
                <a:gd name="T14" fmla="*/ 2147483647 w 894"/>
                <a:gd name="T15" fmla="*/ 2147483647 h 1056"/>
                <a:gd name="T16" fmla="*/ 2147483647 w 894"/>
                <a:gd name="T17" fmla="*/ 2147483647 h 1056"/>
                <a:gd name="T18" fmla="*/ 2147483647 w 894"/>
                <a:gd name="T19" fmla="*/ 2147483647 h 1056"/>
                <a:gd name="T20" fmla="*/ 2147483647 w 894"/>
                <a:gd name="T21" fmla="*/ 2147483647 h 1056"/>
                <a:gd name="T22" fmla="*/ 2147483647 w 894"/>
                <a:gd name="T23" fmla="*/ 2147483647 h 1056"/>
                <a:gd name="T24" fmla="*/ 2147483647 w 894"/>
                <a:gd name="T25" fmla="*/ 2147483647 h 1056"/>
                <a:gd name="T26" fmla="*/ 2147483647 w 894"/>
                <a:gd name="T27" fmla="*/ 2147483647 h 1056"/>
                <a:gd name="T28" fmla="*/ 2147483647 w 894"/>
                <a:gd name="T29" fmla="*/ 2147483647 h 1056"/>
                <a:gd name="T30" fmla="*/ 2147483647 w 894"/>
                <a:gd name="T31" fmla="*/ 2147483647 h 1056"/>
                <a:gd name="T32" fmla="*/ 2147483647 w 894"/>
                <a:gd name="T33" fmla="*/ 2147483647 h 1056"/>
                <a:gd name="T34" fmla="*/ 2147483647 w 894"/>
                <a:gd name="T35" fmla="*/ 2147483647 h 1056"/>
                <a:gd name="T36" fmla="*/ 2147483647 w 894"/>
                <a:gd name="T37" fmla="*/ 2147483647 h 1056"/>
                <a:gd name="T38" fmla="*/ 2147483647 w 894"/>
                <a:gd name="T39" fmla="*/ 2147483647 h 1056"/>
                <a:gd name="T40" fmla="*/ 2147483647 w 894"/>
                <a:gd name="T41" fmla="*/ 2147483647 h 1056"/>
                <a:gd name="T42" fmla="*/ 2147483647 w 894"/>
                <a:gd name="T43" fmla="*/ 2147483647 h 1056"/>
                <a:gd name="T44" fmla="*/ 2147483647 w 894"/>
                <a:gd name="T45" fmla="*/ 2147483647 h 1056"/>
                <a:gd name="T46" fmla="*/ 2147483647 w 894"/>
                <a:gd name="T47" fmla="*/ 2147483647 h 1056"/>
                <a:gd name="T48" fmla="*/ 0 w 894"/>
                <a:gd name="T49" fmla="*/ 2147483647 h 1056"/>
                <a:gd name="T50" fmla="*/ 2147483647 w 894"/>
                <a:gd name="T51" fmla="*/ 2147483647 h 1056"/>
                <a:gd name="T52" fmla="*/ 2147483647 w 894"/>
                <a:gd name="T53" fmla="*/ 2147483647 h 1056"/>
                <a:gd name="T54" fmla="*/ 2147483647 w 894"/>
                <a:gd name="T55" fmla="*/ 2147483647 h 1056"/>
                <a:gd name="T56" fmla="*/ 2147483647 w 894"/>
                <a:gd name="T57" fmla="*/ 2147483647 h 1056"/>
                <a:gd name="T58" fmla="*/ 2147483647 w 894"/>
                <a:gd name="T59" fmla="*/ 2147483647 h 1056"/>
                <a:gd name="T60" fmla="*/ 2147483647 w 894"/>
                <a:gd name="T61" fmla="*/ 2147483647 h 1056"/>
                <a:gd name="T62" fmla="*/ 2147483647 w 894"/>
                <a:gd name="T63" fmla="*/ 2147483647 h 1056"/>
                <a:gd name="T64" fmla="*/ 2147483647 w 894"/>
                <a:gd name="T65" fmla="*/ 2147483647 h 1056"/>
                <a:gd name="T66" fmla="*/ 2147483647 w 894"/>
                <a:gd name="T67" fmla="*/ 2147483647 h 1056"/>
                <a:gd name="T68" fmla="*/ 2147483647 w 894"/>
                <a:gd name="T69" fmla="*/ 2147483647 h 1056"/>
                <a:gd name="T70" fmla="*/ 2147483647 w 894"/>
                <a:gd name="T71" fmla="*/ 2147483647 h 1056"/>
                <a:gd name="T72" fmla="*/ 2147483647 w 894"/>
                <a:gd name="T73" fmla="*/ 2147483647 h 1056"/>
                <a:gd name="T74" fmla="*/ 2147483647 w 894"/>
                <a:gd name="T75" fmla="*/ 2147483647 h 1056"/>
                <a:gd name="T76" fmla="*/ 2147483647 w 894"/>
                <a:gd name="T77" fmla="*/ 2147483647 h 1056"/>
                <a:gd name="T78" fmla="*/ 2147483647 w 894"/>
                <a:gd name="T79" fmla="*/ 2147483647 h 1056"/>
                <a:gd name="T80" fmla="*/ 2147483647 w 894"/>
                <a:gd name="T81" fmla="*/ 2147483647 h 1056"/>
                <a:gd name="T82" fmla="*/ 2147483647 w 894"/>
                <a:gd name="T83" fmla="*/ 2147483647 h 1056"/>
                <a:gd name="T84" fmla="*/ 2147483647 w 894"/>
                <a:gd name="T85" fmla="*/ 2147483647 h 1056"/>
                <a:gd name="T86" fmla="*/ 2147483647 w 894"/>
                <a:gd name="T87" fmla="*/ 2147483647 h 1056"/>
                <a:gd name="T88" fmla="*/ 2147483647 w 894"/>
                <a:gd name="T89" fmla="*/ 2147483647 h 1056"/>
                <a:gd name="T90" fmla="*/ 2147483647 w 894"/>
                <a:gd name="T91" fmla="*/ 2147483647 h 1056"/>
                <a:gd name="T92" fmla="*/ 2147483647 w 894"/>
                <a:gd name="T93" fmla="*/ 2147483647 h 1056"/>
                <a:gd name="T94" fmla="*/ 2147483647 w 894"/>
                <a:gd name="T95" fmla="*/ 2147483647 h 1056"/>
                <a:gd name="T96" fmla="*/ 2147483647 w 894"/>
                <a:gd name="T97" fmla="*/ 2147483647 h 1056"/>
                <a:gd name="T98" fmla="*/ 2147483647 w 894"/>
                <a:gd name="T99" fmla="*/ 2147483647 h 1056"/>
                <a:gd name="T100" fmla="*/ 2147483647 w 894"/>
                <a:gd name="T101" fmla="*/ 2147483647 h 105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894"/>
                <a:gd name="T154" fmla="*/ 0 h 1056"/>
                <a:gd name="T155" fmla="*/ 894 w 894"/>
                <a:gd name="T156" fmla="*/ 1056 h 105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894" h="1056">
                  <a:moveTo>
                    <a:pt x="882" y="744"/>
                  </a:moveTo>
                  <a:lnTo>
                    <a:pt x="882" y="738"/>
                  </a:lnTo>
                  <a:lnTo>
                    <a:pt x="888" y="732"/>
                  </a:lnTo>
                  <a:lnTo>
                    <a:pt x="888" y="708"/>
                  </a:lnTo>
                  <a:lnTo>
                    <a:pt x="894" y="696"/>
                  </a:lnTo>
                  <a:lnTo>
                    <a:pt x="894" y="684"/>
                  </a:lnTo>
                  <a:lnTo>
                    <a:pt x="882" y="648"/>
                  </a:lnTo>
                  <a:lnTo>
                    <a:pt x="876" y="636"/>
                  </a:lnTo>
                  <a:lnTo>
                    <a:pt x="864" y="624"/>
                  </a:lnTo>
                  <a:lnTo>
                    <a:pt x="840" y="612"/>
                  </a:lnTo>
                  <a:lnTo>
                    <a:pt x="834" y="606"/>
                  </a:lnTo>
                  <a:lnTo>
                    <a:pt x="822" y="600"/>
                  </a:lnTo>
                  <a:lnTo>
                    <a:pt x="816" y="588"/>
                  </a:lnTo>
                  <a:lnTo>
                    <a:pt x="816" y="576"/>
                  </a:lnTo>
                  <a:lnTo>
                    <a:pt x="822" y="558"/>
                  </a:lnTo>
                  <a:lnTo>
                    <a:pt x="822" y="546"/>
                  </a:lnTo>
                  <a:lnTo>
                    <a:pt x="828" y="540"/>
                  </a:lnTo>
                  <a:lnTo>
                    <a:pt x="828" y="534"/>
                  </a:lnTo>
                  <a:lnTo>
                    <a:pt x="768" y="534"/>
                  </a:lnTo>
                  <a:lnTo>
                    <a:pt x="720" y="528"/>
                  </a:lnTo>
                  <a:lnTo>
                    <a:pt x="690" y="522"/>
                  </a:lnTo>
                  <a:lnTo>
                    <a:pt x="684" y="516"/>
                  </a:lnTo>
                  <a:lnTo>
                    <a:pt x="684" y="474"/>
                  </a:lnTo>
                  <a:lnTo>
                    <a:pt x="690" y="462"/>
                  </a:lnTo>
                  <a:lnTo>
                    <a:pt x="684" y="456"/>
                  </a:lnTo>
                  <a:lnTo>
                    <a:pt x="672" y="450"/>
                  </a:lnTo>
                  <a:lnTo>
                    <a:pt x="666" y="438"/>
                  </a:lnTo>
                  <a:lnTo>
                    <a:pt x="660" y="432"/>
                  </a:lnTo>
                  <a:lnTo>
                    <a:pt x="660" y="426"/>
                  </a:lnTo>
                  <a:lnTo>
                    <a:pt x="678" y="426"/>
                  </a:lnTo>
                  <a:lnTo>
                    <a:pt x="678" y="396"/>
                  </a:lnTo>
                  <a:lnTo>
                    <a:pt x="672" y="384"/>
                  </a:lnTo>
                  <a:lnTo>
                    <a:pt x="666" y="378"/>
                  </a:lnTo>
                  <a:lnTo>
                    <a:pt x="660" y="366"/>
                  </a:lnTo>
                  <a:lnTo>
                    <a:pt x="660" y="336"/>
                  </a:lnTo>
                  <a:lnTo>
                    <a:pt x="654" y="330"/>
                  </a:lnTo>
                  <a:lnTo>
                    <a:pt x="648" y="318"/>
                  </a:lnTo>
                  <a:lnTo>
                    <a:pt x="624" y="306"/>
                  </a:lnTo>
                  <a:lnTo>
                    <a:pt x="564" y="306"/>
                  </a:lnTo>
                  <a:lnTo>
                    <a:pt x="558" y="300"/>
                  </a:lnTo>
                  <a:lnTo>
                    <a:pt x="546" y="294"/>
                  </a:lnTo>
                  <a:lnTo>
                    <a:pt x="534" y="282"/>
                  </a:lnTo>
                  <a:lnTo>
                    <a:pt x="534" y="276"/>
                  </a:lnTo>
                  <a:lnTo>
                    <a:pt x="510" y="276"/>
                  </a:lnTo>
                  <a:lnTo>
                    <a:pt x="498" y="270"/>
                  </a:lnTo>
                  <a:lnTo>
                    <a:pt x="486" y="258"/>
                  </a:lnTo>
                  <a:lnTo>
                    <a:pt x="474" y="252"/>
                  </a:lnTo>
                  <a:lnTo>
                    <a:pt x="468" y="240"/>
                  </a:lnTo>
                  <a:lnTo>
                    <a:pt x="468" y="234"/>
                  </a:lnTo>
                  <a:lnTo>
                    <a:pt x="456" y="234"/>
                  </a:lnTo>
                  <a:lnTo>
                    <a:pt x="450" y="240"/>
                  </a:lnTo>
                  <a:lnTo>
                    <a:pt x="438" y="240"/>
                  </a:lnTo>
                  <a:lnTo>
                    <a:pt x="426" y="234"/>
                  </a:lnTo>
                  <a:lnTo>
                    <a:pt x="420" y="222"/>
                  </a:lnTo>
                  <a:lnTo>
                    <a:pt x="414" y="228"/>
                  </a:lnTo>
                  <a:lnTo>
                    <a:pt x="384" y="228"/>
                  </a:lnTo>
                  <a:lnTo>
                    <a:pt x="372" y="222"/>
                  </a:lnTo>
                  <a:lnTo>
                    <a:pt x="366" y="216"/>
                  </a:lnTo>
                  <a:lnTo>
                    <a:pt x="366" y="210"/>
                  </a:lnTo>
                  <a:lnTo>
                    <a:pt x="360" y="198"/>
                  </a:lnTo>
                  <a:lnTo>
                    <a:pt x="360" y="192"/>
                  </a:lnTo>
                  <a:lnTo>
                    <a:pt x="354" y="186"/>
                  </a:lnTo>
                  <a:lnTo>
                    <a:pt x="330" y="186"/>
                  </a:lnTo>
                  <a:lnTo>
                    <a:pt x="324" y="156"/>
                  </a:lnTo>
                  <a:lnTo>
                    <a:pt x="318" y="150"/>
                  </a:lnTo>
                  <a:lnTo>
                    <a:pt x="306" y="144"/>
                  </a:lnTo>
                  <a:lnTo>
                    <a:pt x="294" y="132"/>
                  </a:lnTo>
                  <a:lnTo>
                    <a:pt x="294" y="120"/>
                  </a:lnTo>
                  <a:lnTo>
                    <a:pt x="300" y="114"/>
                  </a:lnTo>
                  <a:lnTo>
                    <a:pt x="300" y="96"/>
                  </a:lnTo>
                  <a:lnTo>
                    <a:pt x="294" y="84"/>
                  </a:lnTo>
                  <a:lnTo>
                    <a:pt x="288" y="78"/>
                  </a:lnTo>
                  <a:lnTo>
                    <a:pt x="288" y="48"/>
                  </a:lnTo>
                  <a:lnTo>
                    <a:pt x="294" y="42"/>
                  </a:lnTo>
                  <a:lnTo>
                    <a:pt x="294" y="36"/>
                  </a:lnTo>
                  <a:lnTo>
                    <a:pt x="300" y="30"/>
                  </a:lnTo>
                  <a:lnTo>
                    <a:pt x="300" y="0"/>
                  </a:lnTo>
                  <a:lnTo>
                    <a:pt x="288" y="0"/>
                  </a:lnTo>
                  <a:lnTo>
                    <a:pt x="276" y="6"/>
                  </a:lnTo>
                  <a:lnTo>
                    <a:pt x="276" y="12"/>
                  </a:lnTo>
                  <a:lnTo>
                    <a:pt x="270" y="12"/>
                  </a:lnTo>
                  <a:lnTo>
                    <a:pt x="258" y="0"/>
                  </a:lnTo>
                  <a:lnTo>
                    <a:pt x="246" y="12"/>
                  </a:lnTo>
                  <a:lnTo>
                    <a:pt x="210" y="12"/>
                  </a:lnTo>
                  <a:lnTo>
                    <a:pt x="198" y="18"/>
                  </a:lnTo>
                  <a:lnTo>
                    <a:pt x="192" y="24"/>
                  </a:lnTo>
                  <a:lnTo>
                    <a:pt x="186" y="36"/>
                  </a:lnTo>
                  <a:lnTo>
                    <a:pt x="180" y="42"/>
                  </a:lnTo>
                  <a:lnTo>
                    <a:pt x="180" y="48"/>
                  </a:lnTo>
                  <a:lnTo>
                    <a:pt x="144" y="48"/>
                  </a:lnTo>
                  <a:lnTo>
                    <a:pt x="138" y="78"/>
                  </a:lnTo>
                  <a:lnTo>
                    <a:pt x="102" y="78"/>
                  </a:lnTo>
                  <a:lnTo>
                    <a:pt x="90" y="96"/>
                  </a:lnTo>
                  <a:lnTo>
                    <a:pt x="84" y="102"/>
                  </a:lnTo>
                  <a:lnTo>
                    <a:pt x="60" y="114"/>
                  </a:lnTo>
                  <a:lnTo>
                    <a:pt x="42" y="114"/>
                  </a:lnTo>
                  <a:lnTo>
                    <a:pt x="42" y="108"/>
                  </a:lnTo>
                  <a:lnTo>
                    <a:pt x="36" y="102"/>
                  </a:lnTo>
                  <a:lnTo>
                    <a:pt x="12" y="102"/>
                  </a:lnTo>
                  <a:lnTo>
                    <a:pt x="0" y="96"/>
                  </a:lnTo>
                  <a:lnTo>
                    <a:pt x="0" y="114"/>
                  </a:lnTo>
                  <a:lnTo>
                    <a:pt x="6" y="132"/>
                  </a:lnTo>
                  <a:lnTo>
                    <a:pt x="18" y="144"/>
                  </a:lnTo>
                  <a:lnTo>
                    <a:pt x="30" y="162"/>
                  </a:lnTo>
                  <a:lnTo>
                    <a:pt x="42" y="174"/>
                  </a:lnTo>
                  <a:lnTo>
                    <a:pt x="54" y="192"/>
                  </a:lnTo>
                  <a:lnTo>
                    <a:pt x="66" y="216"/>
                  </a:lnTo>
                  <a:lnTo>
                    <a:pt x="66" y="228"/>
                  </a:lnTo>
                  <a:lnTo>
                    <a:pt x="60" y="234"/>
                  </a:lnTo>
                  <a:lnTo>
                    <a:pt x="54" y="246"/>
                  </a:lnTo>
                  <a:lnTo>
                    <a:pt x="48" y="252"/>
                  </a:lnTo>
                  <a:lnTo>
                    <a:pt x="60" y="300"/>
                  </a:lnTo>
                  <a:lnTo>
                    <a:pt x="42" y="330"/>
                  </a:lnTo>
                  <a:lnTo>
                    <a:pt x="48" y="330"/>
                  </a:lnTo>
                  <a:lnTo>
                    <a:pt x="60" y="342"/>
                  </a:lnTo>
                  <a:lnTo>
                    <a:pt x="66" y="354"/>
                  </a:lnTo>
                  <a:lnTo>
                    <a:pt x="66" y="360"/>
                  </a:lnTo>
                  <a:lnTo>
                    <a:pt x="60" y="372"/>
                  </a:lnTo>
                  <a:lnTo>
                    <a:pt x="48" y="384"/>
                  </a:lnTo>
                  <a:lnTo>
                    <a:pt x="36" y="408"/>
                  </a:lnTo>
                  <a:lnTo>
                    <a:pt x="42" y="426"/>
                  </a:lnTo>
                  <a:lnTo>
                    <a:pt x="48" y="438"/>
                  </a:lnTo>
                  <a:lnTo>
                    <a:pt x="54" y="444"/>
                  </a:lnTo>
                  <a:lnTo>
                    <a:pt x="54" y="450"/>
                  </a:lnTo>
                  <a:lnTo>
                    <a:pt x="42" y="468"/>
                  </a:lnTo>
                  <a:lnTo>
                    <a:pt x="54" y="480"/>
                  </a:lnTo>
                  <a:lnTo>
                    <a:pt x="78" y="498"/>
                  </a:lnTo>
                  <a:lnTo>
                    <a:pt x="78" y="516"/>
                  </a:lnTo>
                  <a:lnTo>
                    <a:pt x="102" y="528"/>
                  </a:lnTo>
                  <a:lnTo>
                    <a:pt x="90" y="558"/>
                  </a:lnTo>
                  <a:lnTo>
                    <a:pt x="78" y="546"/>
                  </a:lnTo>
                  <a:lnTo>
                    <a:pt x="78" y="558"/>
                  </a:lnTo>
                  <a:lnTo>
                    <a:pt x="66" y="582"/>
                  </a:lnTo>
                  <a:lnTo>
                    <a:pt x="54" y="588"/>
                  </a:lnTo>
                  <a:lnTo>
                    <a:pt x="36" y="606"/>
                  </a:lnTo>
                  <a:lnTo>
                    <a:pt x="48" y="630"/>
                  </a:lnTo>
                  <a:lnTo>
                    <a:pt x="42" y="636"/>
                  </a:lnTo>
                  <a:lnTo>
                    <a:pt x="60" y="666"/>
                  </a:lnTo>
                  <a:lnTo>
                    <a:pt x="84" y="666"/>
                  </a:lnTo>
                  <a:lnTo>
                    <a:pt x="96" y="744"/>
                  </a:lnTo>
                  <a:lnTo>
                    <a:pt x="108" y="750"/>
                  </a:lnTo>
                  <a:lnTo>
                    <a:pt x="114" y="750"/>
                  </a:lnTo>
                  <a:lnTo>
                    <a:pt x="138" y="762"/>
                  </a:lnTo>
                  <a:lnTo>
                    <a:pt x="144" y="774"/>
                  </a:lnTo>
                  <a:lnTo>
                    <a:pt x="144" y="780"/>
                  </a:lnTo>
                  <a:lnTo>
                    <a:pt x="138" y="792"/>
                  </a:lnTo>
                  <a:lnTo>
                    <a:pt x="126" y="804"/>
                  </a:lnTo>
                  <a:lnTo>
                    <a:pt x="144" y="822"/>
                  </a:lnTo>
                  <a:lnTo>
                    <a:pt x="138" y="828"/>
                  </a:lnTo>
                  <a:lnTo>
                    <a:pt x="132" y="840"/>
                  </a:lnTo>
                  <a:lnTo>
                    <a:pt x="126" y="846"/>
                  </a:lnTo>
                  <a:lnTo>
                    <a:pt x="126" y="858"/>
                  </a:lnTo>
                  <a:lnTo>
                    <a:pt x="132" y="870"/>
                  </a:lnTo>
                  <a:lnTo>
                    <a:pt x="138" y="876"/>
                  </a:lnTo>
                  <a:lnTo>
                    <a:pt x="138" y="900"/>
                  </a:lnTo>
                  <a:lnTo>
                    <a:pt x="144" y="900"/>
                  </a:lnTo>
                  <a:lnTo>
                    <a:pt x="150" y="906"/>
                  </a:lnTo>
                  <a:lnTo>
                    <a:pt x="162" y="912"/>
                  </a:lnTo>
                  <a:lnTo>
                    <a:pt x="168" y="918"/>
                  </a:lnTo>
                  <a:lnTo>
                    <a:pt x="180" y="924"/>
                  </a:lnTo>
                  <a:lnTo>
                    <a:pt x="186" y="930"/>
                  </a:lnTo>
                  <a:lnTo>
                    <a:pt x="186" y="996"/>
                  </a:lnTo>
                  <a:lnTo>
                    <a:pt x="210" y="1020"/>
                  </a:lnTo>
                  <a:lnTo>
                    <a:pt x="210" y="1044"/>
                  </a:lnTo>
                  <a:lnTo>
                    <a:pt x="216" y="1056"/>
                  </a:lnTo>
                  <a:lnTo>
                    <a:pt x="270" y="1056"/>
                  </a:lnTo>
                  <a:lnTo>
                    <a:pt x="270" y="1026"/>
                  </a:lnTo>
                  <a:lnTo>
                    <a:pt x="282" y="1026"/>
                  </a:lnTo>
                  <a:lnTo>
                    <a:pt x="282" y="1008"/>
                  </a:lnTo>
                  <a:lnTo>
                    <a:pt x="306" y="1002"/>
                  </a:lnTo>
                  <a:lnTo>
                    <a:pt x="318" y="978"/>
                  </a:lnTo>
                  <a:lnTo>
                    <a:pt x="324" y="984"/>
                  </a:lnTo>
                  <a:lnTo>
                    <a:pt x="348" y="996"/>
                  </a:lnTo>
                  <a:lnTo>
                    <a:pt x="360" y="996"/>
                  </a:lnTo>
                  <a:lnTo>
                    <a:pt x="378" y="1002"/>
                  </a:lnTo>
                  <a:lnTo>
                    <a:pt x="432" y="1002"/>
                  </a:lnTo>
                  <a:lnTo>
                    <a:pt x="462" y="1050"/>
                  </a:lnTo>
                  <a:lnTo>
                    <a:pt x="474" y="996"/>
                  </a:lnTo>
                  <a:lnTo>
                    <a:pt x="546" y="990"/>
                  </a:lnTo>
                  <a:lnTo>
                    <a:pt x="582" y="1014"/>
                  </a:lnTo>
                  <a:lnTo>
                    <a:pt x="582" y="996"/>
                  </a:lnTo>
                  <a:lnTo>
                    <a:pt x="594" y="924"/>
                  </a:lnTo>
                  <a:lnTo>
                    <a:pt x="594" y="900"/>
                  </a:lnTo>
                  <a:lnTo>
                    <a:pt x="588" y="894"/>
                  </a:lnTo>
                  <a:lnTo>
                    <a:pt x="588" y="888"/>
                  </a:lnTo>
                  <a:lnTo>
                    <a:pt x="576" y="864"/>
                  </a:lnTo>
                  <a:lnTo>
                    <a:pt x="576" y="852"/>
                  </a:lnTo>
                  <a:lnTo>
                    <a:pt x="582" y="846"/>
                  </a:lnTo>
                  <a:lnTo>
                    <a:pt x="594" y="840"/>
                  </a:lnTo>
                  <a:lnTo>
                    <a:pt x="606" y="828"/>
                  </a:lnTo>
                  <a:lnTo>
                    <a:pt x="612" y="798"/>
                  </a:lnTo>
                  <a:lnTo>
                    <a:pt x="714" y="780"/>
                  </a:lnTo>
                  <a:lnTo>
                    <a:pt x="792" y="768"/>
                  </a:lnTo>
                  <a:lnTo>
                    <a:pt x="846" y="810"/>
                  </a:lnTo>
                  <a:lnTo>
                    <a:pt x="864" y="846"/>
                  </a:lnTo>
                  <a:lnTo>
                    <a:pt x="864" y="840"/>
                  </a:lnTo>
                  <a:lnTo>
                    <a:pt x="870" y="834"/>
                  </a:lnTo>
                  <a:lnTo>
                    <a:pt x="882" y="828"/>
                  </a:lnTo>
                  <a:lnTo>
                    <a:pt x="888" y="822"/>
                  </a:lnTo>
                  <a:lnTo>
                    <a:pt x="876" y="816"/>
                  </a:lnTo>
                  <a:lnTo>
                    <a:pt x="870" y="810"/>
                  </a:lnTo>
                  <a:lnTo>
                    <a:pt x="870" y="786"/>
                  </a:lnTo>
                  <a:lnTo>
                    <a:pt x="876" y="774"/>
                  </a:lnTo>
                  <a:lnTo>
                    <a:pt x="882" y="768"/>
                  </a:lnTo>
                  <a:lnTo>
                    <a:pt x="888" y="756"/>
                  </a:lnTo>
                  <a:lnTo>
                    <a:pt x="882" y="744"/>
                  </a:lnTo>
                  <a:close/>
                </a:path>
              </a:pathLst>
            </a:custGeom>
            <a:grpFill/>
            <a:ln w="3175">
              <a:solidFill>
                <a:schemeClr val="bg1"/>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de-DE" sz="1800" b="0" i="0" u="none" strike="noStrike" kern="1200" cap="none" spc="0" normalizeH="0" baseline="0" noProof="0">
                <a:ln>
                  <a:noFill/>
                </a:ln>
                <a:solidFill>
                  <a:srgbClr val="FFC000"/>
                </a:solidFill>
                <a:effectLst/>
                <a:uLnTx/>
                <a:uFillTx/>
                <a:latin typeface="Calibri" pitchFamily="34" charset="0"/>
                <a:ea typeface="+mn-ea"/>
                <a:cs typeface="+mn-cs"/>
              </a:endParaRPr>
            </a:p>
          </p:txBody>
        </p:sp>
        <p:sp>
          <p:nvSpPr>
            <p:cNvPr id="170" name="Bhutan" descr="© INSCALE GmbH, 05.05.2010&#10;http://www.presentationload.com/"/>
            <p:cNvSpPr>
              <a:spLocks/>
            </p:cNvSpPr>
            <p:nvPr/>
          </p:nvSpPr>
          <p:spPr bwMode="gray">
            <a:xfrm>
              <a:off x="6459732" y="3594642"/>
              <a:ext cx="75511" cy="41643"/>
            </a:xfrm>
            <a:custGeom>
              <a:avLst/>
              <a:gdLst>
                <a:gd name="T0" fmla="*/ 2147483647 w 234"/>
                <a:gd name="T1" fmla="*/ 2147483647 h 132"/>
                <a:gd name="T2" fmla="*/ 2147483647 w 234"/>
                <a:gd name="T3" fmla="*/ 2147483647 h 132"/>
                <a:gd name="T4" fmla="*/ 2147483647 w 234"/>
                <a:gd name="T5" fmla="*/ 2147483647 h 132"/>
                <a:gd name="T6" fmla="*/ 2147483647 w 234"/>
                <a:gd name="T7" fmla="*/ 2147483647 h 132"/>
                <a:gd name="T8" fmla="*/ 2147483647 w 234"/>
                <a:gd name="T9" fmla="*/ 2147483647 h 132"/>
                <a:gd name="T10" fmla="*/ 2147483647 w 234"/>
                <a:gd name="T11" fmla="*/ 2147483647 h 132"/>
                <a:gd name="T12" fmla="*/ 2147483647 w 234"/>
                <a:gd name="T13" fmla="*/ 2147483647 h 132"/>
                <a:gd name="T14" fmla="*/ 2147483647 w 234"/>
                <a:gd name="T15" fmla="*/ 2147483647 h 132"/>
                <a:gd name="T16" fmla="*/ 2147483647 w 234"/>
                <a:gd name="T17" fmla="*/ 2147483647 h 132"/>
                <a:gd name="T18" fmla="*/ 2147483647 w 234"/>
                <a:gd name="T19" fmla="*/ 2147483647 h 132"/>
                <a:gd name="T20" fmla="*/ 2147483647 w 234"/>
                <a:gd name="T21" fmla="*/ 2147483647 h 132"/>
                <a:gd name="T22" fmla="*/ 2147483647 w 234"/>
                <a:gd name="T23" fmla="*/ 2147483647 h 132"/>
                <a:gd name="T24" fmla="*/ 2147483647 w 234"/>
                <a:gd name="T25" fmla="*/ 2147483647 h 132"/>
                <a:gd name="T26" fmla="*/ 2147483647 w 234"/>
                <a:gd name="T27" fmla="*/ 2147483647 h 132"/>
                <a:gd name="T28" fmla="*/ 2147483647 w 234"/>
                <a:gd name="T29" fmla="*/ 2147483647 h 132"/>
                <a:gd name="T30" fmla="*/ 2147483647 w 234"/>
                <a:gd name="T31" fmla="*/ 2147483647 h 132"/>
                <a:gd name="T32" fmla="*/ 2147483647 w 234"/>
                <a:gd name="T33" fmla="*/ 2147483647 h 132"/>
                <a:gd name="T34" fmla="*/ 2147483647 w 234"/>
                <a:gd name="T35" fmla="*/ 2147483647 h 132"/>
                <a:gd name="T36" fmla="*/ 2147483647 w 234"/>
                <a:gd name="T37" fmla="*/ 2147483647 h 132"/>
                <a:gd name="T38" fmla="*/ 2147483647 w 234"/>
                <a:gd name="T39" fmla="*/ 2147483647 h 132"/>
                <a:gd name="T40" fmla="*/ 2147483647 w 234"/>
                <a:gd name="T41" fmla="*/ 2147483647 h 132"/>
                <a:gd name="T42" fmla="*/ 2147483647 w 234"/>
                <a:gd name="T43" fmla="*/ 2147483647 h 132"/>
                <a:gd name="T44" fmla="*/ 2147483647 w 234"/>
                <a:gd name="T45" fmla="*/ 2147483647 h 132"/>
                <a:gd name="T46" fmla="*/ 2147483647 w 234"/>
                <a:gd name="T47" fmla="*/ 2147483647 h 132"/>
                <a:gd name="T48" fmla="*/ 2147483647 w 234"/>
                <a:gd name="T49" fmla="*/ 2147483647 h 132"/>
                <a:gd name="T50" fmla="*/ 2147483647 w 234"/>
                <a:gd name="T51" fmla="*/ 2147483647 h 132"/>
                <a:gd name="T52" fmla="*/ 2147483647 w 234"/>
                <a:gd name="T53" fmla="*/ 2147483647 h 132"/>
                <a:gd name="T54" fmla="*/ 2147483647 w 234"/>
                <a:gd name="T55" fmla="*/ 2147483647 h 132"/>
                <a:gd name="T56" fmla="*/ 2147483647 w 234"/>
                <a:gd name="T57" fmla="*/ 2147483647 h 132"/>
                <a:gd name="T58" fmla="*/ 2147483647 w 234"/>
                <a:gd name="T59" fmla="*/ 0 h 132"/>
                <a:gd name="T60" fmla="*/ 2147483647 w 234"/>
                <a:gd name="T61" fmla="*/ 0 h 132"/>
                <a:gd name="T62" fmla="*/ 2147483647 w 234"/>
                <a:gd name="T63" fmla="*/ 2147483647 h 132"/>
                <a:gd name="T64" fmla="*/ 2147483647 w 234"/>
                <a:gd name="T65" fmla="*/ 2147483647 h 132"/>
                <a:gd name="T66" fmla="*/ 2147483647 w 234"/>
                <a:gd name="T67" fmla="*/ 2147483647 h 132"/>
                <a:gd name="T68" fmla="*/ 2147483647 w 234"/>
                <a:gd name="T69" fmla="*/ 2147483647 h 132"/>
                <a:gd name="T70" fmla="*/ 2147483647 w 234"/>
                <a:gd name="T71" fmla="*/ 2147483647 h 132"/>
                <a:gd name="T72" fmla="*/ 2147483647 w 234"/>
                <a:gd name="T73" fmla="*/ 2147483647 h 132"/>
                <a:gd name="T74" fmla="*/ 2147483647 w 234"/>
                <a:gd name="T75" fmla="*/ 2147483647 h 132"/>
                <a:gd name="T76" fmla="*/ 0 w 234"/>
                <a:gd name="T77" fmla="*/ 2147483647 h 132"/>
                <a:gd name="T78" fmla="*/ 0 w 234"/>
                <a:gd name="T79" fmla="*/ 2147483647 h 132"/>
                <a:gd name="T80" fmla="*/ 2147483647 w 234"/>
                <a:gd name="T81" fmla="*/ 2147483647 h 132"/>
                <a:gd name="T82" fmla="*/ 2147483647 w 234"/>
                <a:gd name="T83" fmla="*/ 2147483647 h 132"/>
                <a:gd name="T84" fmla="*/ 2147483647 w 234"/>
                <a:gd name="T85" fmla="*/ 2147483647 h 132"/>
                <a:gd name="T86" fmla="*/ 2147483647 w 234"/>
                <a:gd name="T87" fmla="*/ 2147483647 h 132"/>
                <a:gd name="T88" fmla="*/ 2147483647 w 234"/>
                <a:gd name="T89" fmla="*/ 2147483647 h 132"/>
                <a:gd name="T90" fmla="*/ 2147483647 w 234"/>
                <a:gd name="T91" fmla="*/ 2147483647 h 132"/>
                <a:gd name="T92" fmla="*/ 2147483647 w 234"/>
                <a:gd name="T93" fmla="*/ 2147483647 h 132"/>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234"/>
                <a:gd name="T142" fmla="*/ 0 h 132"/>
                <a:gd name="T143" fmla="*/ 234 w 234"/>
                <a:gd name="T144" fmla="*/ 132 h 132"/>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234" h="132">
                  <a:moveTo>
                    <a:pt x="78" y="132"/>
                  </a:moveTo>
                  <a:lnTo>
                    <a:pt x="90" y="132"/>
                  </a:lnTo>
                  <a:lnTo>
                    <a:pt x="102" y="126"/>
                  </a:lnTo>
                  <a:lnTo>
                    <a:pt x="108" y="120"/>
                  </a:lnTo>
                  <a:lnTo>
                    <a:pt x="126" y="120"/>
                  </a:lnTo>
                  <a:lnTo>
                    <a:pt x="138" y="126"/>
                  </a:lnTo>
                  <a:lnTo>
                    <a:pt x="168" y="126"/>
                  </a:lnTo>
                  <a:lnTo>
                    <a:pt x="180" y="120"/>
                  </a:lnTo>
                  <a:lnTo>
                    <a:pt x="192" y="120"/>
                  </a:lnTo>
                  <a:lnTo>
                    <a:pt x="198" y="126"/>
                  </a:lnTo>
                  <a:lnTo>
                    <a:pt x="210" y="126"/>
                  </a:lnTo>
                  <a:lnTo>
                    <a:pt x="234" y="114"/>
                  </a:lnTo>
                  <a:lnTo>
                    <a:pt x="234" y="108"/>
                  </a:lnTo>
                  <a:lnTo>
                    <a:pt x="222" y="96"/>
                  </a:lnTo>
                  <a:lnTo>
                    <a:pt x="222" y="72"/>
                  </a:lnTo>
                  <a:lnTo>
                    <a:pt x="198" y="72"/>
                  </a:lnTo>
                  <a:lnTo>
                    <a:pt x="192" y="66"/>
                  </a:lnTo>
                  <a:lnTo>
                    <a:pt x="192" y="42"/>
                  </a:lnTo>
                  <a:lnTo>
                    <a:pt x="186" y="30"/>
                  </a:lnTo>
                  <a:lnTo>
                    <a:pt x="174" y="18"/>
                  </a:lnTo>
                  <a:lnTo>
                    <a:pt x="162" y="12"/>
                  </a:lnTo>
                  <a:lnTo>
                    <a:pt x="150" y="12"/>
                  </a:lnTo>
                  <a:lnTo>
                    <a:pt x="138" y="18"/>
                  </a:lnTo>
                  <a:lnTo>
                    <a:pt x="126" y="18"/>
                  </a:lnTo>
                  <a:lnTo>
                    <a:pt x="114" y="24"/>
                  </a:lnTo>
                  <a:lnTo>
                    <a:pt x="108" y="30"/>
                  </a:lnTo>
                  <a:lnTo>
                    <a:pt x="102" y="30"/>
                  </a:lnTo>
                  <a:lnTo>
                    <a:pt x="102" y="6"/>
                  </a:lnTo>
                  <a:lnTo>
                    <a:pt x="78" y="6"/>
                  </a:lnTo>
                  <a:lnTo>
                    <a:pt x="66" y="0"/>
                  </a:lnTo>
                  <a:lnTo>
                    <a:pt x="54" y="0"/>
                  </a:lnTo>
                  <a:lnTo>
                    <a:pt x="48" y="12"/>
                  </a:lnTo>
                  <a:lnTo>
                    <a:pt x="36" y="24"/>
                  </a:lnTo>
                  <a:lnTo>
                    <a:pt x="30" y="36"/>
                  </a:lnTo>
                  <a:lnTo>
                    <a:pt x="18" y="54"/>
                  </a:lnTo>
                  <a:lnTo>
                    <a:pt x="12" y="66"/>
                  </a:lnTo>
                  <a:lnTo>
                    <a:pt x="6" y="72"/>
                  </a:lnTo>
                  <a:lnTo>
                    <a:pt x="6" y="78"/>
                  </a:lnTo>
                  <a:lnTo>
                    <a:pt x="0" y="78"/>
                  </a:lnTo>
                  <a:lnTo>
                    <a:pt x="0" y="90"/>
                  </a:lnTo>
                  <a:lnTo>
                    <a:pt x="18" y="108"/>
                  </a:lnTo>
                  <a:lnTo>
                    <a:pt x="42" y="120"/>
                  </a:lnTo>
                  <a:lnTo>
                    <a:pt x="54" y="120"/>
                  </a:lnTo>
                  <a:lnTo>
                    <a:pt x="54" y="114"/>
                  </a:lnTo>
                  <a:lnTo>
                    <a:pt x="54" y="120"/>
                  </a:lnTo>
                  <a:lnTo>
                    <a:pt x="66" y="132"/>
                  </a:lnTo>
                  <a:lnTo>
                    <a:pt x="78" y="132"/>
                  </a:lnTo>
                  <a:close/>
                </a:path>
              </a:pathLst>
            </a:custGeom>
            <a:grpFill/>
            <a:ln w="3175">
              <a:solidFill>
                <a:schemeClr val="bg1"/>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de-DE" sz="1800" b="0" i="0" u="none" strike="noStrike" kern="1200" cap="none" spc="0" normalizeH="0" baseline="0" noProof="0">
                <a:ln>
                  <a:noFill/>
                </a:ln>
                <a:solidFill>
                  <a:srgbClr val="FFC000"/>
                </a:solidFill>
                <a:effectLst/>
                <a:uLnTx/>
                <a:uFillTx/>
                <a:latin typeface="Calibri" pitchFamily="34" charset="0"/>
                <a:ea typeface="+mn-ea"/>
                <a:cs typeface="+mn-cs"/>
              </a:endParaRPr>
            </a:p>
          </p:txBody>
        </p:sp>
        <p:sp>
          <p:nvSpPr>
            <p:cNvPr id="171" name="Benin" descr="© INSCALE GmbH, 05.05.2010&#10;http://www.presentationload.com/"/>
            <p:cNvSpPr>
              <a:spLocks/>
            </p:cNvSpPr>
            <p:nvPr/>
          </p:nvSpPr>
          <p:spPr bwMode="gray">
            <a:xfrm>
              <a:off x="4484938" y="3995148"/>
              <a:ext cx="72951" cy="154324"/>
            </a:xfrm>
            <a:custGeom>
              <a:avLst/>
              <a:gdLst>
                <a:gd name="T0" fmla="*/ 2147483647 w 222"/>
                <a:gd name="T1" fmla="*/ 2147483647 h 498"/>
                <a:gd name="T2" fmla="*/ 2147483647 w 222"/>
                <a:gd name="T3" fmla="*/ 2147483647 h 498"/>
                <a:gd name="T4" fmla="*/ 2147483647 w 222"/>
                <a:gd name="T5" fmla="*/ 2147483647 h 498"/>
                <a:gd name="T6" fmla="*/ 2147483647 w 222"/>
                <a:gd name="T7" fmla="*/ 2147483647 h 498"/>
                <a:gd name="T8" fmla="*/ 2147483647 w 222"/>
                <a:gd name="T9" fmla="*/ 2147483647 h 498"/>
                <a:gd name="T10" fmla="*/ 2147483647 w 222"/>
                <a:gd name="T11" fmla="*/ 2147483647 h 498"/>
                <a:gd name="T12" fmla="*/ 2147483647 w 222"/>
                <a:gd name="T13" fmla="*/ 2147483647 h 498"/>
                <a:gd name="T14" fmla="*/ 2147483647 w 222"/>
                <a:gd name="T15" fmla="*/ 2147483647 h 498"/>
                <a:gd name="T16" fmla="*/ 2147483647 w 222"/>
                <a:gd name="T17" fmla="*/ 2147483647 h 498"/>
                <a:gd name="T18" fmla="*/ 2147483647 w 222"/>
                <a:gd name="T19" fmla="*/ 2147483647 h 498"/>
                <a:gd name="T20" fmla="*/ 2147483647 w 222"/>
                <a:gd name="T21" fmla="*/ 2147483647 h 498"/>
                <a:gd name="T22" fmla="*/ 2147483647 w 222"/>
                <a:gd name="T23" fmla="*/ 2147483647 h 498"/>
                <a:gd name="T24" fmla="*/ 2147483647 w 222"/>
                <a:gd name="T25" fmla="*/ 2147483647 h 498"/>
                <a:gd name="T26" fmla="*/ 2147483647 w 222"/>
                <a:gd name="T27" fmla="*/ 2147483647 h 498"/>
                <a:gd name="T28" fmla="*/ 2147483647 w 222"/>
                <a:gd name="T29" fmla="*/ 2147483647 h 498"/>
                <a:gd name="T30" fmla="*/ 2147483647 w 222"/>
                <a:gd name="T31" fmla="*/ 2147483647 h 498"/>
                <a:gd name="T32" fmla="*/ 2147483647 w 222"/>
                <a:gd name="T33" fmla="*/ 2147483647 h 498"/>
                <a:gd name="T34" fmla="*/ 2147483647 w 222"/>
                <a:gd name="T35" fmla="*/ 2147483647 h 498"/>
                <a:gd name="T36" fmla="*/ 2147483647 w 222"/>
                <a:gd name="T37" fmla="*/ 2147483647 h 498"/>
                <a:gd name="T38" fmla="*/ 2147483647 w 222"/>
                <a:gd name="T39" fmla="*/ 2147483647 h 498"/>
                <a:gd name="T40" fmla="*/ 2147483647 w 222"/>
                <a:gd name="T41" fmla="*/ 2147483647 h 498"/>
                <a:gd name="T42" fmla="*/ 2147483647 w 222"/>
                <a:gd name="T43" fmla="*/ 2147483647 h 498"/>
                <a:gd name="T44" fmla="*/ 2147483647 w 222"/>
                <a:gd name="T45" fmla="*/ 2147483647 h 498"/>
                <a:gd name="T46" fmla="*/ 0 w 222"/>
                <a:gd name="T47" fmla="*/ 2147483647 h 498"/>
                <a:gd name="T48" fmla="*/ 2147483647 w 222"/>
                <a:gd name="T49" fmla="*/ 2147483647 h 498"/>
                <a:gd name="T50" fmla="*/ 2147483647 w 222"/>
                <a:gd name="T51" fmla="*/ 2147483647 h 498"/>
                <a:gd name="T52" fmla="*/ 2147483647 w 222"/>
                <a:gd name="T53" fmla="*/ 2147483647 h 498"/>
                <a:gd name="T54" fmla="*/ 2147483647 w 222"/>
                <a:gd name="T55" fmla="*/ 2147483647 h 498"/>
                <a:gd name="T56" fmla="*/ 2147483647 w 222"/>
                <a:gd name="T57" fmla="*/ 2147483647 h 498"/>
                <a:gd name="T58" fmla="*/ 2147483647 w 222"/>
                <a:gd name="T59" fmla="*/ 2147483647 h 498"/>
                <a:gd name="T60" fmla="*/ 2147483647 w 222"/>
                <a:gd name="T61" fmla="*/ 2147483647 h 498"/>
                <a:gd name="T62" fmla="*/ 2147483647 w 222"/>
                <a:gd name="T63" fmla="*/ 2147483647 h 498"/>
                <a:gd name="T64" fmla="*/ 2147483647 w 222"/>
                <a:gd name="T65" fmla="*/ 2147483647 h 498"/>
                <a:gd name="T66" fmla="*/ 2147483647 w 222"/>
                <a:gd name="T67" fmla="*/ 2147483647 h 498"/>
                <a:gd name="T68" fmla="*/ 2147483647 w 222"/>
                <a:gd name="T69" fmla="*/ 2147483647 h 498"/>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222"/>
                <a:gd name="T106" fmla="*/ 0 h 498"/>
                <a:gd name="T107" fmla="*/ 222 w 222"/>
                <a:gd name="T108" fmla="*/ 498 h 498"/>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222" h="498">
                  <a:moveTo>
                    <a:pt x="138" y="372"/>
                  </a:moveTo>
                  <a:lnTo>
                    <a:pt x="144" y="342"/>
                  </a:lnTo>
                  <a:lnTo>
                    <a:pt x="138" y="306"/>
                  </a:lnTo>
                  <a:lnTo>
                    <a:pt x="144" y="276"/>
                  </a:lnTo>
                  <a:lnTo>
                    <a:pt x="162" y="276"/>
                  </a:lnTo>
                  <a:lnTo>
                    <a:pt x="174" y="252"/>
                  </a:lnTo>
                  <a:lnTo>
                    <a:pt x="174" y="222"/>
                  </a:lnTo>
                  <a:lnTo>
                    <a:pt x="180" y="216"/>
                  </a:lnTo>
                  <a:lnTo>
                    <a:pt x="186" y="204"/>
                  </a:lnTo>
                  <a:lnTo>
                    <a:pt x="198" y="198"/>
                  </a:lnTo>
                  <a:lnTo>
                    <a:pt x="198" y="156"/>
                  </a:lnTo>
                  <a:lnTo>
                    <a:pt x="210" y="150"/>
                  </a:lnTo>
                  <a:lnTo>
                    <a:pt x="216" y="150"/>
                  </a:lnTo>
                  <a:lnTo>
                    <a:pt x="222" y="144"/>
                  </a:lnTo>
                  <a:lnTo>
                    <a:pt x="222" y="132"/>
                  </a:lnTo>
                  <a:lnTo>
                    <a:pt x="216" y="126"/>
                  </a:lnTo>
                  <a:lnTo>
                    <a:pt x="216" y="114"/>
                  </a:lnTo>
                  <a:lnTo>
                    <a:pt x="210" y="102"/>
                  </a:lnTo>
                  <a:lnTo>
                    <a:pt x="204" y="96"/>
                  </a:lnTo>
                  <a:lnTo>
                    <a:pt x="192" y="72"/>
                  </a:lnTo>
                  <a:lnTo>
                    <a:pt x="198" y="66"/>
                  </a:lnTo>
                  <a:lnTo>
                    <a:pt x="198" y="60"/>
                  </a:lnTo>
                  <a:lnTo>
                    <a:pt x="204" y="48"/>
                  </a:lnTo>
                  <a:lnTo>
                    <a:pt x="198" y="42"/>
                  </a:lnTo>
                  <a:lnTo>
                    <a:pt x="186" y="36"/>
                  </a:lnTo>
                  <a:lnTo>
                    <a:pt x="180" y="36"/>
                  </a:lnTo>
                  <a:lnTo>
                    <a:pt x="174" y="30"/>
                  </a:lnTo>
                  <a:lnTo>
                    <a:pt x="168" y="30"/>
                  </a:lnTo>
                  <a:lnTo>
                    <a:pt x="162" y="24"/>
                  </a:lnTo>
                  <a:lnTo>
                    <a:pt x="156" y="12"/>
                  </a:lnTo>
                  <a:lnTo>
                    <a:pt x="144" y="0"/>
                  </a:lnTo>
                  <a:lnTo>
                    <a:pt x="114" y="12"/>
                  </a:lnTo>
                  <a:lnTo>
                    <a:pt x="114" y="36"/>
                  </a:lnTo>
                  <a:lnTo>
                    <a:pt x="120" y="36"/>
                  </a:lnTo>
                  <a:lnTo>
                    <a:pt x="114" y="42"/>
                  </a:lnTo>
                  <a:lnTo>
                    <a:pt x="108" y="60"/>
                  </a:lnTo>
                  <a:lnTo>
                    <a:pt x="96" y="60"/>
                  </a:lnTo>
                  <a:lnTo>
                    <a:pt x="90" y="66"/>
                  </a:lnTo>
                  <a:lnTo>
                    <a:pt x="84" y="66"/>
                  </a:lnTo>
                  <a:lnTo>
                    <a:pt x="84" y="78"/>
                  </a:lnTo>
                  <a:lnTo>
                    <a:pt x="78" y="72"/>
                  </a:lnTo>
                  <a:lnTo>
                    <a:pt x="48" y="72"/>
                  </a:lnTo>
                  <a:lnTo>
                    <a:pt x="30" y="90"/>
                  </a:lnTo>
                  <a:lnTo>
                    <a:pt x="24" y="102"/>
                  </a:lnTo>
                  <a:lnTo>
                    <a:pt x="12" y="102"/>
                  </a:lnTo>
                  <a:lnTo>
                    <a:pt x="6" y="114"/>
                  </a:lnTo>
                  <a:lnTo>
                    <a:pt x="0" y="132"/>
                  </a:lnTo>
                  <a:lnTo>
                    <a:pt x="0" y="162"/>
                  </a:lnTo>
                  <a:lnTo>
                    <a:pt x="12" y="168"/>
                  </a:lnTo>
                  <a:lnTo>
                    <a:pt x="42" y="198"/>
                  </a:lnTo>
                  <a:lnTo>
                    <a:pt x="42" y="240"/>
                  </a:lnTo>
                  <a:lnTo>
                    <a:pt x="54" y="252"/>
                  </a:lnTo>
                  <a:lnTo>
                    <a:pt x="60" y="264"/>
                  </a:lnTo>
                  <a:lnTo>
                    <a:pt x="60" y="294"/>
                  </a:lnTo>
                  <a:lnTo>
                    <a:pt x="66" y="306"/>
                  </a:lnTo>
                  <a:lnTo>
                    <a:pt x="54" y="318"/>
                  </a:lnTo>
                  <a:lnTo>
                    <a:pt x="54" y="378"/>
                  </a:lnTo>
                  <a:lnTo>
                    <a:pt x="66" y="390"/>
                  </a:lnTo>
                  <a:lnTo>
                    <a:pt x="54" y="396"/>
                  </a:lnTo>
                  <a:lnTo>
                    <a:pt x="60" y="462"/>
                  </a:lnTo>
                  <a:lnTo>
                    <a:pt x="60" y="468"/>
                  </a:lnTo>
                  <a:lnTo>
                    <a:pt x="72" y="480"/>
                  </a:lnTo>
                  <a:lnTo>
                    <a:pt x="72" y="492"/>
                  </a:lnTo>
                  <a:lnTo>
                    <a:pt x="84" y="492"/>
                  </a:lnTo>
                  <a:lnTo>
                    <a:pt x="96" y="498"/>
                  </a:lnTo>
                  <a:lnTo>
                    <a:pt x="108" y="498"/>
                  </a:lnTo>
                  <a:lnTo>
                    <a:pt x="120" y="474"/>
                  </a:lnTo>
                  <a:lnTo>
                    <a:pt x="126" y="480"/>
                  </a:lnTo>
                  <a:lnTo>
                    <a:pt x="138" y="486"/>
                  </a:lnTo>
                  <a:lnTo>
                    <a:pt x="138" y="372"/>
                  </a:lnTo>
                  <a:close/>
                </a:path>
              </a:pathLst>
            </a:custGeom>
            <a:grpFill/>
            <a:ln w="3175">
              <a:solidFill>
                <a:schemeClr val="bg1"/>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de-DE" sz="1800" b="0" i="0" u="none" strike="noStrike" kern="1200" cap="none" spc="0" normalizeH="0" baseline="0" noProof="0">
                <a:ln>
                  <a:noFill/>
                </a:ln>
                <a:solidFill>
                  <a:srgbClr val="FFC000"/>
                </a:solidFill>
                <a:effectLst/>
                <a:uLnTx/>
                <a:uFillTx/>
                <a:latin typeface="Calibri" pitchFamily="34" charset="0"/>
                <a:ea typeface="+mn-ea"/>
                <a:cs typeface="+mn-cs"/>
              </a:endParaRPr>
            </a:p>
          </p:txBody>
        </p:sp>
        <p:sp>
          <p:nvSpPr>
            <p:cNvPr id="172" name="Belize" descr="© INSCALE GmbH, 05.05.2010&#10;http://www.presentationload.com/"/>
            <p:cNvSpPr>
              <a:spLocks/>
            </p:cNvSpPr>
            <p:nvPr/>
          </p:nvSpPr>
          <p:spPr bwMode="gray">
            <a:xfrm>
              <a:off x="2429513" y="3842049"/>
              <a:ext cx="35835" cy="64914"/>
            </a:xfrm>
            <a:custGeom>
              <a:avLst/>
              <a:gdLst>
                <a:gd name="T0" fmla="*/ 2147483647 w 108"/>
                <a:gd name="T1" fmla="*/ 2147483647 h 210"/>
                <a:gd name="T2" fmla="*/ 2147483647 w 108"/>
                <a:gd name="T3" fmla="*/ 2147483647 h 210"/>
                <a:gd name="T4" fmla="*/ 2147483647 w 108"/>
                <a:gd name="T5" fmla="*/ 2147483647 h 210"/>
                <a:gd name="T6" fmla="*/ 2147483647 w 108"/>
                <a:gd name="T7" fmla="*/ 2147483647 h 210"/>
                <a:gd name="T8" fmla="*/ 2147483647 w 108"/>
                <a:gd name="T9" fmla="*/ 2147483647 h 210"/>
                <a:gd name="T10" fmla="*/ 2147483647 w 108"/>
                <a:gd name="T11" fmla="*/ 0 h 210"/>
                <a:gd name="T12" fmla="*/ 2147483647 w 108"/>
                <a:gd name="T13" fmla="*/ 2147483647 h 210"/>
                <a:gd name="T14" fmla="*/ 2147483647 w 108"/>
                <a:gd name="T15" fmla="*/ 2147483647 h 210"/>
                <a:gd name="T16" fmla="*/ 2147483647 w 108"/>
                <a:gd name="T17" fmla="*/ 2147483647 h 210"/>
                <a:gd name="T18" fmla="*/ 2147483647 w 108"/>
                <a:gd name="T19" fmla="*/ 2147483647 h 210"/>
                <a:gd name="T20" fmla="*/ 2147483647 w 108"/>
                <a:gd name="T21" fmla="*/ 2147483647 h 210"/>
                <a:gd name="T22" fmla="*/ 2147483647 w 108"/>
                <a:gd name="T23" fmla="*/ 2147483647 h 210"/>
                <a:gd name="T24" fmla="*/ 2147483647 w 108"/>
                <a:gd name="T25" fmla="*/ 2147483647 h 210"/>
                <a:gd name="T26" fmla="*/ 2147483647 w 108"/>
                <a:gd name="T27" fmla="*/ 2147483647 h 210"/>
                <a:gd name="T28" fmla="*/ 2147483647 w 108"/>
                <a:gd name="T29" fmla="*/ 2147483647 h 210"/>
                <a:gd name="T30" fmla="*/ 2147483647 w 108"/>
                <a:gd name="T31" fmla="*/ 2147483647 h 210"/>
                <a:gd name="T32" fmla="*/ 2147483647 w 108"/>
                <a:gd name="T33" fmla="*/ 2147483647 h 210"/>
                <a:gd name="T34" fmla="*/ 2147483647 w 108"/>
                <a:gd name="T35" fmla="*/ 2147483647 h 210"/>
                <a:gd name="T36" fmla="*/ 0 w 108"/>
                <a:gd name="T37" fmla="*/ 2147483647 h 210"/>
                <a:gd name="T38" fmla="*/ 2147483647 w 108"/>
                <a:gd name="T39" fmla="*/ 2147483647 h 210"/>
                <a:gd name="T40" fmla="*/ 2147483647 w 108"/>
                <a:gd name="T41" fmla="*/ 2147483647 h 210"/>
                <a:gd name="T42" fmla="*/ 2147483647 w 108"/>
                <a:gd name="T43" fmla="*/ 2147483647 h 210"/>
                <a:gd name="T44" fmla="*/ 2147483647 w 108"/>
                <a:gd name="T45" fmla="*/ 2147483647 h 210"/>
                <a:gd name="T46" fmla="*/ 2147483647 w 108"/>
                <a:gd name="T47" fmla="*/ 2147483647 h 210"/>
                <a:gd name="T48" fmla="*/ 2147483647 w 108"/>
                <a:gd name="T49" fmla="*/ 2147483647 h 210"/>
                <a:gd name="T50" fmla="*/ 2147483647 w 108"/>
                <a:gd name="T51" fmla="*/ 2147483647 h 210"/>
                <a:gd name="T52" fmla="*/ 2147483647 w 108"/>
                <a:gd name="T53" fmla="*/ 2147483647 h 210"/>
                <a:gd name="T54" fmla="*/ 2147483647 w 108"/>
                <a:gd name="T55" fmla="*/ 2147483647 h 210"/>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108"/>
                <a:gd name="T85" fmla="*/ 0 h 210"/>
                <a:gd name="T86" fmla="*/ 108 w 108"/>
                <a:gd name="T87" fmla="*/ 210 h 210"/>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108" h="210">
                  <a:moveTo>
                    <a:pt x="108" y="30"/>
                  </a:moveTo>
                  <a:lnTo>
                    <a:pt x="108" y="24"/>
                  </a:lnTo>
                  <a:lnTo>
                    <a:pt x="102" y="24"/>
                  </a:lnTo>
                  <a:lnTo>
                    <a:pt x="90" y="18"/>
                  </a:lnTo>
                  <a:lnTo>
                    <a:pt x="84" y="12"/>
                  </a:lnTo>
                  <a:lnTo>
                    <a:pt x="78" y="0"/>
                  </a:lnTo>
                  <a:lnTo>
                    <a:pt x="78" y="6"/>
                  </a:lnTo>
                  <a:lnTo>
                    <a:pt x="72" y="12"/>
                  </a:lnTo>
                  <a:lnTo>
                    <a:pt x="72" y="24"/>
                  </a:lnTo>
                  <a:lnTo>
                    <a:pt x="66" y="36"/>
                  </a:lnTo>
                  <a:lnTo>
                    <a:pt x="54" y="42"/>
                  </a:lnTo>
                  <a:lnTo>
                    <a:pt x="48" y="48"/>
                  </a:lnTo>
                  <a:lnTo>
                    <a:pt x="42" y="48"/>
                  </a:lnTo>
                  <a:lnTo>
                    <a:pt x="42" y="42"/>
                  </a:lnTo>
                  <a:lnTo>
                    <a:pt x="36" y="36"/>
                  </a:lnTo>
                  <a:lnTo>
                    <a:pt x="30" y="36"/>
                  </a:lnTo>
                  <a:lnTo>
                    <a:pt x="30" y="42"/>
                  </a:lnTo>
                  <a:lnTo>
                    <a:pt x="24" y="54"/>
                  </a:lnTo>
                  <a:lnTo>
                    <a:pt x="0" y="210"/>
                  </a:lnTo>
                  <a:lnTo>
                    <a:pt x="30" y="210"/>
                  </a:lnTo>
                  <a:lnTo>
                    <a:pt x="42" y="168"/>
                  </a:lnTo>
                  <a:lnTo>
                    <a:pt x="60" y="174"/>
                  </a:lnTo>
                  <a:lnTo>
                    <a:pt x="84" y="150"/>
                  </a:lnTo>
                  <a:lnTo>
                    <a:pt x="84" y="90"/>
                  </a:lnTo>
                  <a:lnTo>
                    <a:pt x="90" y="78"/>
                  </a:lnTo>
                  <a:lnTo>
                    <a:pt x="96" y="60"/>
                  </a:lnTo>
                  <a:lnTo>
                    <a:pt x="108" y="36"/>
                  </a:lnTo>
                  <a:lnTo>
                    <a:pt x="108" y="30"/>
                  </a:lnTo>
                  <a:close/>
                </a:path>
              </a:pathLst>
            </a:custGeom>
            <a:grpFill/>
            <a:ln w="3175">
              <a:solidFill>
                <a:schemeClr val="bg1"/>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de-DE" sz="1800" b="0" i="0" u="none" strike="noStrike" kern="1200" cap="none" spc="0" normalizeH="0" baseline="0" noProof="0">
                <a:ln>
                  <a:noFill/>
                </a:ln>
                <a:solidFill>
                  <a:srgbClr val="FFC000"/>
                </a:solidFill>
                <a:effectLst/>
                <a:uLnTx/>
                <a:uFillTx/>
                <a:latin typeface="Calibri" pitchFamily="34" charset="0"/>
                <a:ea typeface="+mn-ea"/>
                <a:cs typeface="+mn-cs"/>
              </a:endParaRPr>
            </a:p>
          </p:txBody>
        </p:sp>
        <p:sp>
          <p:nvSpPr>
            <p:cNvPr id="173" name="Belgium" descr="© INSCALE GmbH, 05.05.2010&#10;http://www.presentationload.com/"/>
            <p:cNvSpPr>
              <a:spLocks/>
            </p:cNvSpPr>
            <p:nvPr/>
          </p:nvSpPr>
          <p:spPr bwMode="gray">
            <a:xfrm>
              <a:off x="4554049" y="3022666"/>
              <a:ext cx="71671" cy="47766"/>
            </a:xfrm>
            <a:custGeom>
              <a:avLst/>
              <a:gdLst>
                <a:gd name="T0" fmla="*/ 0 w 222"/>
                <a:gd name="T1" fmla="*/ 2147483647 h 150"/>
                <a:gd name="T2" fmla="*/ 2147483647 w 222"/>
                <a:gd name="T3" fmla="*/ 2147483647 h 150"/>
                <a:gd name="T4" fmla="*/ 2147483647 w 222"/>
                <a:gd name="T5" fmla="*/ 2147483647 h 150"/>
                <a:gd name="T6" fmla="*/ 2147483647 w 222"/>
                <a:gd name="T7" fmla="*/ 2147483647 h 150"/>
                <a:gd name="T8" fmla="*/ 2147483647 w 222"/>
                <a:gd name="T9" fmla="*/ 2147483647 h 150"/>
                <a:gd name="T10" fmla="*/ 2147483647 w 222"/>
                <a:gd name="T11" fmla="*/ 2147483647 h 150"/>
                <a:gd name="T12" fmla="*/ 2147483647 w 222"/>
                <a:gd name="T13" fmla="*/ 2147483647 h 150"/>
                <a:gd name="T14" fmla="*/ 2147483647 w 222"/>
                <a:gd name="T15" fmla="*/ 2147483647 h 150"/>
                <a:gd name="T16" fmla="*/ 2147483647 w 222"/>
                <a:gd name="T17" fmla="*/ 2147483647 h 150"/>
                <a:gd name="T18" fmla="*/ 2147483647 w 222"/>
                <a:gd name="T19" fmla="*/ 2147483647 h 150"/>
                <a:gd name="T20" fmla="*/ 2147483647 w 222"/>
                <a:gd name="T21" fmla="*/ 2147483647 h 150"/>
                <a:gd name="T22" fmla="*/ 2147483647 w 222"/>
                <a:gd name="T23" fmla="*/ 2147483647 h 150"/>
                <a:gd name="T24" fmla="*/ 2147483647 w 222"/>
                <a:gd name="T25" fmla="*/ 2147483647 h 150"/>
                <a:gd name="T26" fmla="*/ 2147483647 w 222"/>
                <a:gd name="T27" fmla="*/ 2147483647 h 150"/>
                <a:gd name="T28" fmla="*/ 2147483647 w 222"/>
                <a:gd name="T29" fmla="*/ 2147483647 h 150"/>
                <a:gd name="T30" fmla="*/ 2147483647 w 222"/>
                <a:gd name="T31" fmla="*/ 2147483647 h 150"/>
                <a:gd name="T32" fmla="*/ 2147483647 w 222"/>
                <a:gd name="T33" fmla="*/ 2147483647 h 150"/>
                <a:gd name="T34" fmla="*/ 2147483647 w 222"/>
                <a:gd name="T35" fmla="*/ 2147483647 h 150"/>
                <a:gd name="T36" fmla="*/ 2147483647 w 222"/>
                <a:gd name="T37" fmla="*/ 2147483647 h 150"/>
                <a:gd name="T38" fmla="*/ 2147483647 w 222"/>
                <a:gd name="T39" fmla="*/ 2147483647 h 150"/>
                <a:gd name="T40" fmla="*/ 2147483647 w 222"/>
                <a:gd name="T41" fmla="*/ 2147483647 h 150"/>
                <a:gd name="T42" fmla="*/ 2147483647 w 222"/>
                <a:gd name="T43" fmla="*/ 2147483647 h 150"/>
                <a:gd name="T44" fmla="*/ 2147483647 w 222"/>
                <a:gd name="T45" fmla="*/ 2147483647 h 150"/>
                <a:gd name="T46" fmla="*/ 2147483647 w 222"/>
                <a:gd name="T47" fmla="*/ 2147483647 h 150"/>
                <a:gd name="T48" fmla="*/ 2147483647 w 222"/>
                <a:gd name="T49" fmla="*/ 2147483647 h 150"/>
                <a:gd name="T50" fmla="*/ 2147483647 w 222"/>
                <a:gd name="T51" fmla="*/ 2147483647 h 150"/>
                <a:gd name="T52" fmla="*/ 2147483647 w 222"/>
                <a:gd name="T53" fmla="*/ 2147483647 h 150"/>
                <a:gd name="T54" fmla="*/ 2147483647 w 222"/>
                <a:gd name="T55" fmla="*/ 2147483647 h 150"/>
                <a:gd name="T56" fmla="*/ 2147483647 w 222"/>
                <a:gd name="T57" fmla="*/ 2147483647 h 150"/>
                <a:gd name="T58" fmla="*/ 2147483647 w 222"/>
                <a:gd name="T59" fmla="*/ 2147483647 h 150"/>
                <a:gd name="T60" fmla="*/ 2147483647 w 222"/>
                <a:gd name="T61" fmla="*/ 2147483647 h 150"/>
                <a:gd name="T62" fmla="*/ 2147483647 w 222"/>
                <a:gd name="T63" fmla="*/ 2147483647 h 150"/>
                <a:gd name="T64" fmla="*/ 2147483647 w 222"/>
                <a:gd name="T65" fmla="*/ 2147483647 h 150"/>
                <a:gd name="T66" fmla="*/ 2147483647 w 222"/>
                <a:gd name="T67" fmla="*/ 2147483647 h 150"/>
                <a:gd name="T68" fmla="*/ 2147483647 w 222"/>
                <a:gd name="T69" fmla="*/ 2147483647 h 150"/>
                <a:gd name="T70" fmla="*/ 2147483647 w 222"/>
                <a:gd name="T71" fmla="*/ 2147483647 h 150"/>
                <a:gd name="T72" fmla="*/ 2147483647 w 222"/>
                <a:gd name="T73" fmla="*/ 2147483647 h 150"/>
                <a:gd name="T74" fmla="*/ 2147483647 w 222"/>
                <a:gd name="T75" fmla="*/ 2147483647 h 150"/>
                <a:gd name="T76" fmla="*/ 2147483647 w 222"/>
                <a:gd name="T77" fmla="*/ 2147483647 h 150"/>
                <a:gd name="T78" fmla="*/ 2147483647 w 222"/>
                <a:gd name="T79" fmla="*/ 2147483647 h 150"/>
                <a:gd name="T80" fmla="*/ 2147483647 w 222"/>
                <a:gd name="T81" fmla="*/ 0 h 150"/>
                <a:gd name="T82" fmla="*/ 2147483647 w 222"/>
                <a:gd name="T83" fmla="*/ 0 h 150"/>
                <a:gd name="T84" fmla="*/ 2147483647 w 222"/>
                <a:gd name="T85" fmla="*/ 2147483647 h 150"/>
                <a:gd name="T86" fmla="*/ 2147483647 w 222"/>
                <a:gd name="T87" fmla="*/ 0 h 150"/>
                <a:gd name="T88" fmla="*/ 2147483647 w 222"/>
                <a:gd name="T89" fmla="*/ 2147483647 h 150"/>
                <a:gd name="T90" fmla="*/ 2147483647 w 222"/>
                <a:gd name="T91" fmla="*/ 2147483647 h 150"/>
                <a:gd name="T92" fmla="*/ 2147483647 w 222"/>
                <a:gd name="T93" fmla="*/ 2147483647 h 150"/>
                <a:gd name="T94" fmla="*/ 2147483647 w 222"/>
                <a:gd name="T95" fmla="*/ 2147483647 h 150"/>
                <a:gd name="T96" fmla="*/ 2147483647 w 222"/>
                <a:gd name="T97" fmla="*/ 2147483647 h 150"/>
                <a:gd name="T98" fmla="*/ 2147483647 w 222"/>
                <a:gd name="T99" fmla="*/ 2147483647 h 150"/>
                <a:gd name="T100" fmla="*/ 2147483647 w 222"/>
                <a:gd name="T101" fmla="*/ 2147483647 h 150"/>
                <a:gd name="T102" fmla="*/ 0 w 222"/>
                <a:gd name="T103" fmla="*/ 2147483647 h 150"/>
                <a:gd name="T104" fmla="*/ 0 w 222"/>
                <a:gd name="T105" fmla="*/ 2147483647 h 15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222"/>
                <a:gd name="T160" fmla="*/ 0 h 150"/>
                <a:gd name="T161" fmla="*/ 222 w 222"/>
                <a:gd name="T162" fmla="*/ 150 h 150"/>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222" h="150">
                  <a:moveTo>
                    <a:pt x="0" y="42"/>
                  </a:moveTo>
                  <a:lnTo>
                    <a:pt x="6" y="60"/>
                  </a:lnTo>
                  <a:lnTo>
                    <a:pt x="30" y="66"/>
                  </a:lnTo>
                  <a:lnTo>
                    <a:pt x="42" y="78"/>
                  </a:lnTo>
                  <a:lnTo>
                    <a:pt x="66" y="78"/>
                  </a:lnTo>
                  <a:lnTo>
                    <a:pt x="78" y="84"/>
                  </a:lnTo>
                  <a:lnTo>
                    <a:pt x="84" y="90"/>
                  </a:lnTo>
                  <a:lnTo>
                    <a:pt x="84" y="114"/>
                  </a:lnTo>
                  <a:lnTo>
                    <a:pt x="108" y="114"/>
                  </a:lnTo>
                  <a:lnTo>
                    <a:pt x="120" y="102"/>
                  </a:lnTo>
                  <a:lnTo>
                    <a:pt x="120" y="126"/>
                  </a:lnTo>
                  <a:lnTo>
                    <a:pt x="132" y="126"/>
                  </a:lnTo>
                  <a:lnTo>
                    <a:pt x="144" y="132"/>
                  </a:lnTo>
                  <a:lnTo>
                    <a:pt x="150" y="132"/>
                  </a:lnTo>
                  <a:lnTo>
                    <a:pt x="162" y="144"/>
                  </a:lnTo>
                  <a:lnTo>
                    <a:pt x="180" y="144"/>
                  </a:lnTo>
                  <a:lnTo>
                    <a:pt x="192" y="150"/>
                  </a:lnTo>
                  <a:lnTo>
                    <a:pt x="192" y="144"/>
                  </a:lnTo>
                  <a:lnTo>
                    <a:pt x="186" y="132"/>
                  </a:lnTo>
                  <a:lnTo>
                    <a:pt x="174" y="120"/>
                  </a:lnTo>
                  <a:lnTo>
                    <a:pt x="174" y="114"/>
                  </a:lnTo>
                  <a:lnTo>
                    <a:pt x="180" y="114"/>
                  </a:lnTo>
                  <a:lnTo>
                    <a:pt x="192" y="108"/>
                  </a:lnTo>
                  <a:lnTo>
                    <a:pt x="198" y="102"/>
                  </a:lnTo>
                  <a:lnTo>
                    <a:pt x="204" y="102"/>
                  </a:lnTo>
                  <a:lnTo>
                    <a:pt x="204" y="96"/>
                  </a:lnTo>
                  <a:lnTo>
                    <a:pt x="210" y="90"/>
                  </a:lnTo>
                  <a:lnTo>
                    <a:pt x="222" y="90"/>
                  </a:lnTo>
                  <a:lnTo>
                    <a:pt x="216" y="84"/>
                  </a:lnTo>
                  <a:lnTo>
                    <a:pt x="216" y="66"/>
                  </a:lnTo>
                  <a:lnTo>
                    <a:pt x="204" y="54"/>
                  </a:lnTo>
                  <a:lnTo>
                    <a:pt x="180" y="54"/>
                  </a:lnTo>
                  <a:lnTo>
                    <a:pt x="180" y="42"/>
                  </a:lnTo>
                  <a:lnTo>
                    <a:pt x="186" y="36"/>
                  </a:lnTo>
                  <a:lnTo>
                    <a:pt x="186" y="18"/>
                  </a:lnTo>
                  <a:lnTo>
                    <a:pt x="180" y="12"/>
                  </a:lnTo>
                  <a:lnTo>
                    <a:pt x="174" y="12"/>
                  </a:lnTo>
                  <a:lnTo>
                    <a:pt x="162" y="18"/>
                  </a:lnTo>
                  <a:lnTo>
                    <a:pt x="150" y="18"/>
                  </a:lnTo>
                  <a:lnTo>
                    <a:pt x="144" y="12"/>
                  </a:lnTo>
                  <a:lnTo>
                    <a:pt x="144" y="0"/>
                  </a:lnTo>
                  <a:lnTo>
                    <a:pt x="108" y="0"/>
                  </a:lnTo>
                  <a:lnTo>
                    <a:pt x="108" y="6"/>
                  </a:lnTo>
                  <a:lnTo>
                    <a:pt x="96" y="0"/>
                  </a:lnTo>
                  <a:lnTo>
                    <a:pt x="96" y="12"/>
                  </a:lnTo>
                  <a:lnTo>
                    <a:pt x="78" y="6"/>
                  </a:lnTo>
                  <a:lnTo>
                    <a:pt x="72" y="18"/>
                  </a:lnTo>
                  <a:lnTo>
                    <a:pt x="66" y="12"/>
                  </a:lnTo>
                  <a:lnTo>
                    <a:pt x="42" y="12"/>
                  </a:lnTo>
                  <a:lnTo>
                    <a:pt x="36" y="6"/>
                  </a:lnTo>
                  <a:lnTo>
                    <a:pt x="24" y="6"/>
                  </a:lnTo>
                  <a:lnTo>
                    <a:pt x="0" y="24"/>
                  </a:lnTo>
                  <a:lnTo>
                    <a:pt x="0" y="42"/>
                  </a:lnTo>
                  <a:close/>
                </a:path>
              </a:pathLst>
            </a:custGeom>
            <a:grpFill/>
            <a:ln w="3175">
              <a:solidFill>
                <a:schemeClr val="bg1"/>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de-DE" sz="1800" b="0" i="0" u="none" strike="noStrike" kern="1200" cap="none" spc="0" normalizeH="0" baseline="0" noProof="0">
                <a:ln>
                  <a:noFill/>
                </a:ln>
                <a:solidFill>
                  <a:srgbClr val="FFC000"/>
                </a:solidFill>
                <a:effectLst/>
                <a:uLnTx/>
                <a:uFillTx/>
                <a:latin typeface="Calibri" pitchFamily="34" charset="0"/>
                <a:ea typeface="+mn-ea"/>
                <a:cs typeface="+mn-cs"/>
              </a:endParaRPr>
            </a:p>
          </p:txBody>
        </p:sp>
        <p:sp>
          <p:nvSpPr>
            <p:cNvPr id="174" name="Bangladesh" descr="© INSCALE GmbH, 05.05.2010&#10;http://www.presentationload.com/"/>
            <p:cNvSpPr>
              <a:spLocks/>
            </p:cNvSpPr>
            <p:nvPr/>
          </p:nvSpPr>
          <p:spPr bwMode="gray">
            <a:xfrm>
              <a:off x="6449494" y="3639959"/>
              <a:ext cx="121585" cy="132277"/>
            </a:xfrm>
            <a:custGeom>
              <a:avLst/>
              <a:gdLst>
                <a:gd name="T0" fmla="*/ 2147483647 w 372"/>
                <a:gd name="T1" fmla="*/ 2147483647 h 426"/>
                <a:gd name="T2" fmla="*/ 2147483647 w 372"/>
                <a:gd name="T3" fmla="*/ 2147483647 h 426"/>
                <a:gd name="T4" fmla="*/ 2147483647 w 372"/>
                <a:gd name="T5" fmla="*/ 2147483647 h 426"/>
                <a:gd name="T6" fmla="*/ 2147483647 w 372"/>
                <a:gd name="T7" fmla="*/ 2147483647 h 426"/>
                <a:gd name="T8" fmla="*/ 2147483647 w 372"/>
                <a:gd name="T9" fmla="*/ 2147483647 h 426"/>
                <a:gd name="T10" fmla="*/ 2147483647 w 372"/>
                <a:gd name="T11" fmla="*/ 2147483647 h 426"/>
                <a:gd name="T12" fmla="*/ 2147483647 w 372"/>
                <a:gd name="T13" fmla="*/ 2147483647 h 426"/>
                <a:gd name="T14" fmla="*/ 2147483647 w 372"/>
                <a:gd name="T15" fmla="*/ 2147483647 h 426"/>
                <a:gd name="T16" fmla="*/ 2147483647 w 372"/>
                <a:gd name="T17" fmla="*/ 2147483647 h 426"/>
                <a:gd name="T18" fmla="*/ 2147483647 w 372"/>
                <a:gd name="T19" fmla="*/ 2147483647 h 426"/>
                <a:gd name="T20" fmla="*/ 2147483647 w 372"/>
                <a:gd name="T21" fmla="*/ 2147483647 h 426"/>
                <a:gd name="T22" fmla="*/ 2147483647 w 372"/>
                <a:gd name="T23" fmla="*/ 2147483647 h 426"/>
                <a:gd name="T24" fmla="*/ 2147483647 w 372"/>
                <a:gd name="T25" fmla="*/ 2147483647 h 426"/>
                <a:gd name="T26" fmla="*/ 2147483647 w 372"/>
                <a:gd name="T27" fmla="*/ 2147483647 h 426"/>
                <a:gd name="T28" fmla="*/ 2147483647 w 372"/>
                <a:gd name="T29" fmla="*/ 2147483647 h 426"/>
                <a:gd name="T30" fmla="*/ 2147483647 w 372"/>
                <a:gd name="T31" fmla="*/ 2147483647 h 426"/>
                <a:gd name="T32" fmla="*/ 2147483647 w 372"/>
                <a:gd name="T33" fmla="*/ 2147483647 h 426"/>
                <a:gd name="T34" fmla="*/ 2147483647 w 372"/>
                <a:gd name="T35" fmla="*/ 2147483647 h 426"/>
                <a:gd name="T36" fmla="*/ 2147483647 w 372"/>
                <a:gd name="T37" fmla="*/ 2147483647 h 426"/>
                <a:gd name="T38" fmla="*/ 2147483647 w 372"/>
                <a:gd name="T39" fmla="*/ 2147483647 h 426"/>
                <a:gd name="T40" fmla="*/ 2147483647 w 372"/>
                <a:gd name="T41" fmla="*/ 2147483647 h 426"/>
                <a:gd name="T42" fmla="*/ 2147483647 w 372"/>
                <a:gd name="T43" fmla="*/ 2147483647 h 426"/>
                <a:gd name="T44" fmla="*/ 2147483647 w 372"/>
                <a:gd name="T45" fmla="*/ 2147483647 h 426"/>
                <a:gd name="T46" fmla="*/ 2147483647 w 372"/>
                <a:gd name="T47" fmla="*/ 2147483647 h 426"/>
                <a:gd name="T48" fmla="*/ 2147483647 w 372"/>
                <a:gd name="T49" fmla="*/ 2147483647 h 426"/>
                <a:gd name="T50" fmla="*/ 2147483647 w 372"/>
                <a:gd name="T51" fmla="*/ 2147483647 h 426"/>
                <a:gd name="T52" fmla="*/ 2147483647 w 372"/>
                <a:gd name="T53" fmla="*/ 2147483647 h 426"/>
                <a:gd name="T54" fmla="*/ 2147483647 w 372"/>
                <a:gd name="T55" fmla="*/ 2147483647 h 426"/>
                <a:gd name="T56" fmla="*/ 2147483647 w 372"/>
                <a:gd name="T57" fmla="*/ 2147483647 h 426"/>
                <a:gd name="T58" fmla="*/ 2147483647 w 372"/>
                <a:gd name="T59" fmla="*/ 2147483647 h 426"/>
                <a:gd name="T60" fmla="*/ 2147483647 w 372"/>
                <a:gd name="T61" fmla="*/ 2147483647 h 426"/>
                <a:gd name="T62" fmla="*/ 2147483647 w 372"/>
                <a:gd name="T63" fmla="*/ 2147483647 h 426"/>
                <a:gd name="T64" fmla="*/ 2147483647 w 372"/>
                <a:gd name="T65" fmla="*/ 2147483647 h 426"/>
                <a:gd name="T66" fmla="*/ 2147483647 w 372"/>
                <a:gd name="T67" fmla="*/ 2147483647 h 426"/>
                <a:gd name="T68" fmla="*/ 2147483647 w 372"/>
                <a:gd name="T69" fmla="*/ 2147483647 h 426"/>
                <a:gd name="T70" fmla="*/ 2147483647 w 372"/>
                <a:gd name="T71" fmla="*/ 2147483647 h 426"/>
                <a:gd name="T72" fmla="*/ 2147483647 w 372"/>
                <a:gd name="T73" fmla="*/ 2147483647 h 426"/>
                <a:gd name="T74" fmla="*/ 2147483647 w 372"/>
                <a:gd name="T75" fmla="*/ 2147483647 h 426"/>
                <a:gd name="T76" fmla="*/ 2147483647 w 372"/>
                <a:gd name="T77" fmla="*/ 2147483647 h 426"/>
                <a:gd name="T78" fmla="*/ 2147483647 w 372"/>
                <a:gd name="T79" fmla="*/ 2147483647 h 426"/>
                <a:gd name="T80" fmla="*/ 2147483647 w 372"/>
                <a:gd name="T81" fmla="*/ 2147483647 h 426"/>
                <a:gd name="T82" fmla="*/ 2147483647 w 372"/>
                <a:gd name="T83" fmla="*/ 2147483647 h 426"/>
                <a:gd name="T84" fmla="*/ 2147483647 w 372"/>
                <a:gd name="T85" fmla="*/ 0 h 426"/>
                <a:gd name="T86" fmla="*/ 2147483647 w 372"/>
                <a:gd name="T87" fmla="*/ 2147483647 h 426"/>
                <a:gd name="T88" fmla="*/ 0 w 372"/>
                <a:gd name="T89" fmla="*/ 2147483647 h 426"/>
                <a:gd name="T90" fmla="*/ 2147483647 w 372"/>
                <a:gd name="T91" fmla="*/ 2147483647 h 426"/>
                <a:gd name="T92" fmla="*/ 2147483647 w 372"/>
                <a:gd name="T93" fmla="*/ 2147483647 h 426"/>
                <a:gd name="T94" fmla="*/ 2147483647 w 372"/>
                <a:gd name="T95" fmla="*/ 2147483647 h 426"/>
                <a:gd name="T96" fmla="*/ 2147483647 w 372"/>
                <a:gd name="T97" fmla="*/ 2147483647 h 426"/>
                <a:gd name="T98" fmla="*/ 2147483647 w 372"/>
                <a:gd name="T99" fmla="*/ 2147483647 h 426"/>
                <a:gd name="T100" fmla="*/ 2147483647 w 372"/>
                <a:gd name="T101" fmla="*/ 2147483647 h 426"/>
                <a:gd name="T102" fmla="*/ 2147483647 w 372"/>
                <a:gd name="T103" fmla="*/ 2147483647 h 426"/>
                <a:gd name="T104" fmla="*/ 2147483647 w 372"/>
                <a:gd name="T105" fmla="*/ 2147483647 h 426"/>
                <a:gd name="T106" fmla="*/ 2147483647 w 372"/>
                <a:gd name="T107" fmla="*/ 2147483647 h 426"/>
                <a:gd name="T108" fmla="*/ 2147483647 w 372"/>
                <a:gd name="T109" fmla="*/ 2147483647 h 426"/>
                <a:gd name="T110" fmla="*/ 2147483647 w 372"/>
                <a:gd name="T111" fmla="*/ 2147483647 h 426"/>
                <a:gd name="T112" fmla="*/ 2147483647 w 372"/>
                <a:gd name="T113" fmla="*/ 2147483647 h 426"/>
                <a:gd name="T114" fmla="*/ 2147483647 w 372"/>
                <a:gd name="T115" fmla="*/ 2147483647 h 42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372"/>
                <a:gd name="T175" fmla="*/ 0 h 426"/>
                <a:gd name="T176" fmla="*/ 372 w 372"/>
                <a:gd name="T177" fmla="*/ 426 h 42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372" h="426">
                  <a:moveTo>
                    <a:pt x="132" y="414"/>
                  </a:moveTo>
                  <a:lnTo>
                    <a:pt x="138" y="354"/>
                  </a:lnTo>
                  <a:lnTo>
                    <a:pt x="144" y="354"/>
                  </a:lnTo>
                  <a:lnTo>
                    <a:pt x="150" y="360"/>
                  </a:lnTo>
                  <a:lnTo>
                    <a:pt x="162" y="360"/>
                  </a:lnTo>
                  <a:lnTo>
                    <a:pt x="174" y="366"/>
                  </a:lnTo>
                  <a:lnTo>
                    <a:pt x="192" y="372"/>
                  </a:lnTo>
                  <a:lnTo>
                    <a:pt x="216" y="372"/>
                  </a:lnTo>
                  <a:lnTo>
                    <a:pt x="210" y="366"/>
                  </a:lnTo>
                  <a:lnTo>
                    <a:pt x="210" y="348"/>
                  </a:lnTo>
                  <a:lnTo>
                    <a:pt x="204" y="342"/>
                  </a:lnTo>
                  <a:lnTo>
                    <a:pt x="222" y="342"/>
                  </a:lnTo>
                  <a:lnTo>
                    <a:pt x="258" y="360"/>
                  </a:lnTo>
                  <a:lnTo>
                    <a:pt x="270" y="360"/>
                  </a:lnTo>
                  <a:lnTo>
                    <a:pt x="282" y="348"/>
                  </a:lnTo>
                  <a:lnTo>
                    <a:pt x="282" y="336"/>
                  </a:lnTo>
                  <a:lnTo>
                    <a:pt x="270" y="300"/>
                  </a:lnTo>
                  <a:lnTo>
                    <a:pt x="318" y="354"/>
                  </a:lnTo>
                  <a:lnTo>
                    <a:pt x="318" y="360"/>
                  </a:lnTo>
                  <a:lnTo>
                    <a:pt x="312" y="366"/>
                  </a:lnTo>
                  <a:lnTo>
                    <a:pt x="312" y="390"/>
                  </a:lnTo>
                  <a:lnTo>
                    <a:pt x="306" y="402"/>
                  </a:lnTo>
                  <a:lnTo>
                    <a:pt x="306" y="414"/>
                  </a:lnTo>
                  <a:lnTo>
                    <a:pt x="312" y="420"/>
                  </a:lnTo>
                  <a:lnTo>
                    <a:pt x="324" y="420"/>
                  </a:lnTo>
                  <a:lnTo>
                    <a:pt x="330" y="426"/>
                  </a:lnTo>
                  <a:lnTo>
                    <a:pt x="336" y="414"/>
                  </a:lnTo>
                  <a:lnTo>
                    <a:pt x="336" y="408"/>
                  </a:lnTo>
                  <a:lnTo>
                    <a:pt x="372" y="414"/>
                  </a:lnTo>
                  <a:lnTo>
                    <a:pt x="360" y="354"/>
                  </a:lnTo>
                  <a:lnTo>
                    <a:pt x="360" y="348"/>
                  </a:lnTo>
                  <a:lnTo>
                    <a:pt x="354" y="342"/>
                  </a:lnTo>
                  <a:lnTo>
                    <a:pt x="348" y="330"/>
                  </a:lnTo>
                  <a:lnTo>
                    <a:pt x="342" y="312"/>
                  </a:lnTo>
                  <a:lnTo>
                    <a:pt x="336" y="300"/>
                  </a:lnTo>
                  <a:lnTo>
                    <a:pt x="336" y="288"/>
                  </a:lnTo>
                  <a:lnTo>
                    <a:pt x="330" y="276"/>
                  </a:lnTo>
                  <a:lnTo>
                    <a:pt x="330" y="270"/>
                  </a:lnTo>
                  <a:lnTo>
                    <a:pt x="324" y="258"/>
                  </a:lnTo>
                  <a:lnTo>
                    <a:pt x="324" y="240"/>
                  </a:lnTo>
                  <a:lnTo>
                    <a:pt x="318" y="234"/>
                  </a:lnTo>
                  <a:lnTo>
                    <a:pt x="306" y="228"/>
                  </a:lnTo>
                  <a:lnTo>
                    <a:pt x="288" y="228"/>
                  </a:lnTo>
                  <a:lnTo>
                    <a:pt x="288" y="252"/>
                  </a:lnTo>
                  <a:lnTo>
                    <a:pt x="282" y="288"/>
                  </a:lnTo>
                  <a:lnTo>
                    <a:pt x="264" y="264"/>
                  </a:lnTo>
                  <a:lnTo>
                    <a:pt x="258" y="264"/>
                  </a:lnTo>
                  <a:lnTo>
                    <a:pt x="240" y="246"/>
                  </a:lnTo>
                  <a:lnTo>
                    <a:pt x="234" y="234"/>
                  </a:lnTo>
                  <a:lnTo>
                    <a:pt x="234" y="216"/>
                  </a:lnTo>
                  <a:lnTo>
                    <a:pt x="240" y="204"/>
                  </a:lnTo>
                  <a:lnTo>
                    <a:pt x="252" y="192"/>
                  </a:lnTo>
                  <a:lnTo>
                    <a:pt x="258" y="192"/>
                  </a:lnTo>
                  <a:lnTo>
                    <a:pt x="270" y="186"/>
                  </a:lnTo>
                  <a:lnTo>
                    <a:pt x="276" y="186"/>
                  </a:lnTo>
                  <a:lnTo>
                    <a:pt x="282" y="180"/>
                  </a:lnTo>
                  <a:lnTo>
                    <a:pt x="288" y="168"/>
                  </a:lnTo>
                  <a:lnTo>
                    <a:pt x="294" y="150"/>
                  </a:lnTo>
                  <a:lnTo>
                    <a:pt x="294" y="138"/>
                  </a:lnTo>
                  <a:lnTo>
                    <a:pt x="300" y="138"/>
                  </a:lnTo>
                  <a:lnTo>
                    <a:pt x="306" y="132"/>
                  </a:lnTo>
                  <a:lnTo>
                    <a:pt x="306" y="126"/>
                  </a:lnTo>
                  <a:lnTo>
                    <a:pt x="282" y="102"/>
                  </a:lnTo>
                  <a:lnTo>
                    <a:pt x="276" y="102"/>
                  </a:lnTo>
                  <a:lnTo>
                    <a:pt x="228" y="114"/>
                  </a:lnTo>
                  <a:lnTo>
                    <a:pt x="210" y="114"/>
                  </a:lnTo>
                  <a:lnTo>
                    <a:pt x="198" y="108"/>
                  </a:lnTo>
                  <a:lnTo>
                    <a:pt x="138" y="108"/>
                  </a:lnTo>
                  <a:lnTo>
                    <a:pt x="132" y="102"/>
                  </a:lnTo>
                  <a:lnTo>
                    <a:pt x="126" y="102"/>
                  </a:lnTo>
                  <a:lnTo>
                    <a:pt x="126" y="66"/>
                  </a:lnTo>
                  <a:lnTo>
                    <a:pt x="120" y="66"/>
                  </a:lnTo>
                  <a:lnTo>
                    <a:pt x="120" y="36"/>
                  </a:lnTo>
                  <a:lnTo>
                    <a:pt x="114" y="30"/>
                  </a:lnTo>
                  <a:lnTo>
                    <a:pt x="108" y="30"/>
                  </a:lnTo>
                  <a:lnTo>
                    <a:pt x="102" y="24"/>
                  </a:lnTo>
                  <a:lnTo>
                    <a:pt x="96" y="42"/>
                  </a:lnTo>
                  <a:lnTo>
                    <a:pt x="90" y="36"/>
                  </a:lnTo>
                  <a:lnTo>
                    <a:pt x="78" y="36"/>
                  </a:lnTo>
                  <a:lnTo>
                    <a:pt x="72" y="30"/>
                  </a:lnTo>
                  <a:lnTo>
                    <a:pt x="66" y="18"/>
                  </a:lnTo>
                  <a:lnTo>
                    <a:pt x="66" y="12"/>
                  </a:lnTo>
                  <a:lnTo>
                    <a:pt x="60" y="0"/>
                  </a:lnTo>
                  <a:lnTo>
                    <a:pt x="42" y="6"/>
                  </a:lnTo>
                  <a:lnTo>
                    <a:pt x="48" y="12"/>
                  </a:lnTo>
                  <a:lnTo>
                    <a:pt x="24" y="0"/>
                  </a:lnTo>
                  <a:lnTo>
                    <a:pt x="6" y="0"/>
                  </a:lnTo>
                  <a:lnTo>
                    <a:pt x="18" y="18"/>
                  </a:lnTo>
                  <a:lnTo>
                    <a:pt x="6" y="30"/>
                  </a:lnTo>
                  <a:lnTo>
                    <a:pt x="0" y="42"/>
                  </a:lnTo>
                  <a:lnTo>
                    <a:pt x="0" y="48"/>
                  </a:lnTo>
                  <a:lnTo>
                    <a:pt x="6" y="60"/>
                  </a:lnTo>
                  <a:lnTo>
                    <a:pt x="18" y="66"/>
                  </a:lnTo>
                  <a:lnTo>
                    <a:pt x="30" y="78"/>
                  </a:lnTo>
                  <a:lnTo>
                    <a:pt x="36" y="78"/>
                  </a:lnTo>
                  <a:lnTo>
                    <a:pt x="66" y="96"/>
                  </a:lnTo>
                  <a:lnTo>
                    <a:pt x="66" y="108"/>
                  </a:lnTo>
                  <a:lnTo>
                    <a:pt x="30" y="108"/>
                  </a:lnTo>
                  <a:lnTo>
                    <a:pt x="30" y="138"/>
                  </a:lnTo>
                  <a:lnTo>
                    <a:pt x="24" y="138"/>
                  </a:lnTo>
                  <a:lnTo>
                    <a:pt x="12" y="150"/>
                  </a:lnTo>
                  <a:lnTo>
                    <a:pt x="24" y="162"/>
                  </a:lnTo>
                  <a:lnTo>
                    <a:pt x="36" y="168"/>
                  </a:lnTo>
                  <a:lnTo>
                    <a:pt x="54" y="168"/>
                  </a:lnTo>
                  <a:lnTo>
                    <a:pt x="66" y="174"/>
                  </a:lnTo>
                  <a:lnTo>
                    <a:pt x="72" y="180"/>
                  </a:lnTo>
                  <a:lnTo>
                    <a:pt x="72" y="186"/>
                  </a:lnTo>
                  <a:lnTo>
                    <a:pt x="66" y="204"/>
                  </a:lnTo>
                  <a:lnTo>
                    <a:pt x="60" y="210"/>
                  </a:lnTo>
                  <a:lnTo>
                    <a:pt x="54" y="222"/>
                  </a:lnTo>
                  <a:lnTo>
                    <a:pt x="66" y="252"/>
                  </a:lnTo>
                  <a:lnTo>
                    <a:pt x="96" y="276"/>
                  </a:lnTo>
                  <a:lnTo>
                    <a:pt x="96" y="306"/>
                  </a:lnTo>
                  <a:lnTo>
                    <a:pt x="114" y="348"/>
                  </a:lnTo>
                  <a:lnTo>
                    <a:pt x="108" y="378"/>
                  </a:lnTo>
                  <a:lnTo>
                    <a:pt x="132" y="414"/>
                  </a:lnTo>
                  <a:close/>
                </a:path>
              </a:pathLst>
            </a:custGeom>
            <a:grpFill/>
            <a:ln w="3175">
              <a:solidFill>
                <a:schemeClr val="bg1"/>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de-DE" sz="1800" b="0" i="0" u="none" strike="noStrike" kern="1200" cap="none" spc="0" normalizeH="0" baseline="0" noProof="0">
                <a:ln>
                  <a:noFill/>
                </a:ln>
                <a:solidFill>
                  <a:srgbClr val="FFC000"/>
                </a:solidFill>
                <a:effectLst/>
                <a:uLnTx/>
                <a:uFillTx/>
                <a:latin typeface="Calibri" pitchFamily="34" charset="0"/>
                <a:ea typeface="+mn-ea"/>
                <a:cs typeface="+mn-cs"/>
              </a:endParaRPr>
            </a:p>
          </p:txBody>
        </p:sp>
        <p:sp>
          <p:nvSpPr>
            <p:cNvPr id="175" name="Bahrain" descr="© INSCALE GmbH, 05.05.2010&#10;http://www.presentationload.com/"/>
            <p:cNvSpPr>
              <a:spLocks/>
            </p:cNvSpPr>
            <p:nvPr/>
          </p:nvSpPr>
          <p:spPr bwMode="gray">
            <a:xfrm>
              <a:off x="5608638" y="3642409"/>
              <a:ext cx="8959" cy="17147"/>
            </a:xfrm>
            <a:custGeom>
              <a:avLst/>
              <a:gdLst>
                <a:gd name="T0" fmla="*/ 2147483647 w 15"/>
                <a:gd name="T1" fmla="*/ 0 h 28"/>
                <a:gd name="T2" fmla="*/ 2147483647 w 15"/>
                <a:gd name="T3" fmla="*/ 2147483647 h 28"/>
                <a:gd name="T4" fmla="*/ 2147483647 w 15"/>
                <a:gd name="T5" fmla="*/ 2147483647 h 28"/>
                <a:gd name="T6" fmla="*/ 2033064304 w 15"/>
                <a:gd name="T7" fmla="*/ 2147483647 h 28"/>
                <a:gd name="T8" fmla="*/ 813445092 w 15"/>
                <a:gd name="T9" fmla="*/ 2147483647 h 28"/>
                <a:gd name="T10" fmla="*/ 2147483647 w 15"/>
                <a:gd name="T11" fmla="*/ 0 h 28"/>
                <a:gd name="T12" fmla="*/ 0 60000 65536"/>
                <a:gd name="T13" fmla="*/ 0 60000 65536"/>
                <a:gd name="T14" fmla="*/ 0 60000 65536"/>
                <a:gd name="T15" fmla="*/ 0 60000 65536"/>
                <a:gd name="T16" fmla="*/ 0 60000 65536"/>
                <a:gd name="T17" fmla="*/ 0 60000 65536"/>
                <a:gd name="T18" fmla="*/ 0 w 15"/>
                <a:gd name="T19" fmla="*/ 0 h 28"/>
                <a:gd name="T20" fmla="*/ 15 w 15"/>
                <a:gd name="T21" fmla="*/ 28 h 28"/>
              </a:gdLst>
              <a:ahLst/>
              <a:cxnLst>
                <a:cxn ang="T12">
                  <a:pos x="T0" y="T1"/>
                </a:cxn>
                <a:cxn ang="T13">
                  <a:pos x="T2" y="T3"/>
                </a:cxn>
                <a:cxn ang="T14">
                  <a:pos x="T4" y="T5"/>
                </a:cxn>
                <a:cxn ang="T15">
                  <a:pos x="T6" y="T7"/>
                </a:cxn>
                <a:cxn ang="T16">
                  <a:pos x="T8" y="T9"/>
                </a:cxn>
                <a:cxn ang="T17">
                  <a:pos x="T10" y="T11"/>
                </a:cxn>
              </a:cxnLst>
              <a:rect l="T18" t="T19" r="T20" b="T21"/>
              <a:pathLst>
                <a:path w="15" h="28">
                  <a:moveTo>
                    <a:pt x="9" y="0"/>
                  </a:moveTo>
                  <a:cubicBezTo>
                    <a:pt x="14" y="0"/>
                    <a:pt x="15" y="10"/>
                    <a:pt x="14" y="14"/>
                  </a:cubicBezTo>
                  <a:cubicBezTo>
                    <a:pt x="13" y="18"/>
                    <a:pt x="15" y="28"/>
                    <a:pt x="9" y="28"/>
                  </a:cubicBezTo>
                  <a:cubicBezTo>
                    <a:pt x="4" y="27"/>
                    <a:pt x="5" y="21"/>
                    <a:pt x="5" y="18"/>
                  </a:cubicBezTo>
                  <a:cubicBezTo>
                    <a:pt x="5" y="14"/>
                    <a:pt x="0" y="14"/>
                    <a:pt x="2" y="8"/>
                  </a:cubicBezTo>
                  <a:close/>
                </a:path>
              </a:pathLst>
            </a:custGeom>
            <a:grpFill/>
            <a:ln w="3175">
              <a:solidFill>
                <a:schemeClr val="bg1"/>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de-DE" sz="1800" b="0" i="0" u="none" strike="noStrike" kern="1200" cap="none" spc="0" normalizeH="0" baseline="0" noProof="0">
                <a:ln>
                  <a:noFill/>
                </a:ln>
                <a:solidFill>
                  <a:srgbClr val="FFC000"/>
                </a:solidFill>
                <a:effectLst/>
                <a:uLnTx/>
                <a:uFillTx/>
                <a:latin typeface="Calibri" pitchFamily="34" charset="0"/>
                <a:ea typeface="+mn-ea"/>
                <a:cs typeface="+mn-cs"/>
              </a:endParaRPr>
            </a:p>
          </p:txBody>
        </p:sp>
        <p:sp>
          <p:nvSpPr>
            <p:cNvPr id="176" name="Belarus" descr="© INSCALE GmbH, 05.05.2010&#10;http://www.presentationload.com/"/>
            <p:cNvSpPr>
              <a:spLocks/>
            </p:cNvSpPr>
            <p:nvPr/>
          </p:nvSpPr>
          <p:spPr bwMode="gray">
            <a:xfrm>
              <a:off x="4958479" y="2909985"/>
              <a:ext cx="185577" cy="115130"/>
            </a:xfrm>
            <a:custGeom>
              <a:avLst/>
              <a:gdLst>
                <a:gd name="T0" fmla="*/ 2147483647 w 570"/>
                <a:gd name="T1" fmla="*/ 2147483647 h 372"/>
                <a:gd name="T2" fmla="*/ 2147483647 w 570"/>
                <a:gd name="T3" fmla="*/ 2147483647 h 372"/>
                <a:gd name="T4" fmla="*/ 2147483647 w 570"/>
                <a:gd name="T5" fmla="*/ 2147483647 h 372"/>
                <a:gd name="T6" fmla="*/ 2147483647 w 570"/>
                <a:gd name="T7" fmla="*/ 2147483647 h 372"/>
                <a:gd name="T8" fmla="*/ 2147483647 w 570"/>
                <a:gd name="T9" fmla="*/ 2147483647 h 372"/>
                <a:gd name="T10" fmla="*/ 2147483647 w 570"/>
                <a:gd name="T11" fmla="*/ 2147483647 h 372"/>
                <a:gd name="T12" fmla="*/ 2147483647 w 570"/>
                <a:gd name="T13" fmla="*/ 2147483647 h 372"/>
                <a:gd name="T14" fmla="*/ 2147483647 w 570"/>
                <a:gd name="T15" fmla="*/ 2147483647 h 372"/>
                <a:gd name="T16" fmla="*/ 2147483647 w 570"/>
                <a:gd name="T17" fmla="*/ 2147483647 h 372"/>
                <a:gd name="T18" fmla="*/ 2147483647 w 570"/>
                <a:gd name="T19" fmla="*/ 2147483647 h 372"/>
                <a:gd name="T20" fmla="*/ 2147483647 w 570"/>
                <a:gd name="T21" fmla="*/ 2147483647 h 372"/>
                <a:gd name="T22" fmla="*/ 2147483647 w 570"/>
                <a:gd name="T23" fmla="*/ 2147483647 h 372"/>
                <a:gd name="T24" fmla="*/ 2147483647 w 570"/>
                <a:gd name="T25" fmla="*/ 2147483647 h 372"/>
                <a:gd name="T26" fmla="*/ 2147483647 w 570"/>
                <a:gd name="T27" fmla="*/ 2147483647 h 372"/>
                <a:gd name="T28" fmla="*/ 2147483647 w 570"/>
                <a:gd name="T29" fmla="*/ 2147483647 h 372"/>
                <a:gd name="T30" fmla="*/ 2147483647 w 570"/>
                <a:gd name="T31" fmla="*/ 2147483647 h 372"/>
                <a:gd name="T32" fmla="*/ 2147483647 w 570"/>
                <a:gd name="T33" fmla="*/ 2147483647 h 372"/>
                <a:gd name="T34" fmla="*/ 2147483647 w 570"/>
                <a:gd name="T35" fmla="*/ 2147483647 h 372"/>
                <a:gd name="T36" fmla="*/ 2147483647 w 570"/>
                <a:gd name="T37" fmla="*/ 2147483647 h 372"/>
                <a:gd name="T38" fmla="*/ 2147483647 w 570"/>
                <a:gd name="T39" fmla="*/ 2147483647 h 372"/>
                <a:gd name="T40" fmla="*/ 2147483647 w 570"/>
                <a:gd name="T41" fmla="*/ 2147483647 h 372"/>
                <a:gd name="T42" fmla="*/ 2147483647 w 570"/>
                <a:gd name="T43" fmla="*/ 2147483647 h 372"/>
                <a:gd name="T44" fmla="*/ 2147483647 w 570"/>
                <a:gd name="T45" fmla="*/ 2147483647 h 372"/>
                <a:gd name="T46" fmla="*/ 2147483647 w 570"/>
                <a:gd name="T47" fmla="*/ 2147483647 h 372"/>
                <a:gd name="T48" fmla="*/ 2147483647 w 570"/>
                <a:gd name="T49" fmla="*/ 2147483647 h 372"/>
                <a:gd name="T50" fmla="*/ 2147483647 w 570"/>
                <a:gd name="T51" fmla="*/ 2147483647 h 372"/>
                <a:gd name="T52" fmla="*/ 2147483647 w 570"/>
                <a:gd name="T53" fmla="*/ 2147483647 h 372"/>
                <a:gd name="T54" fmla="*/ 2147483647 w 570"/>
                <a:gd name="T55" fmla="*/ 2147483647 h 372"/>
                <a:gd name="T56" fmla="*/ 2147483647 w 570"/>
                <a:gd name="T57" fmla="*/ 0 h 372"/>
                <a:gd name="T58" fmla="*/ 2147483647 w 570"/>
                <a:gd name="T59" fmla="*/ 2147483647 h 372"/>
                <a:gd name="T60" fmla="*/ 2147483647 w 570"/>
                <a:gd name="T61" fmla="*/ 2147483647 h 372"/>
                <a:gd name="T62" fmla="*/ 2147483647 w 570"/>
                <a:gd name="T63" fmla="*/ 2147483647 h 372"/>
                <a:gd name="T64" fmla="*/ 2147483647 w 570"/>
                <a:gd name="T65" fmla="*/ 2147483647 h 372"/>
                <a:gd name="T66" fmla="*/ 2147483647 w 570"/>
                <a:gd name="T67" fmla="*/ 2147483647 h 372"/>
                <a:gd name="T68" fmla="*/ 2147483647 w 570"/>
                <a:gd name="T69" fmla="*/ 2147483647 h 372"/>
                <a:gd name="T70" fmla="*/ 2147483647 w 570"/>
                <a:gd name="T71" fmla="*/ 2147483647 h 372"/>
                <a:gd name="T72" fmla="*/ 2147483647 w 570"/>
                <a:gd name="T73" fmla="*/ 2147483647 h 372"/>
                <a:gd name="T74" fmla="*/ 2147483647 w 570"/>
                <a:gd name="T75" fmla="*/ 2147483647 h 372"/>
                <a:gd name="T76" fmla="*/ 2147483647 w 570"/>
                <a:gd name="T77" fmla="*/ 2147483647 h 372"/>
                <a:gd name="T78" fmla="*/ 2147483647 w 570"/>
                <a:gd name="T79" fmla="*/ 2147483647 h 372"/>
                <a:gd name="T80" fmla="*/ 2147483647 w 570"/>
                <a:gd name="T81" fmla="*/ 2147483647 h 372"/>
                <a:gd name="T82" fmla="*/ 2147483647 w 570"/>
                <a:gd name="T83" fmla="*/ 2147483647 h 372"/>
                <a:gd name="T84" fmla="*/ 2147483647 w 570"/>
                <a:gd name="T85" fmla="*/ 2147483647 h 372"/>
                <a:gd name="T86" fmla="*/ 2147483647 w 570"/>
                <a:gd name="T87" fmla="*/ 2147483647 h 372"/>
                <a:gd name="T88" fmla="*/ 2147483647 w 570"/>
                <a:gd name="T89" fmla="*/ 2147483647 h 372"/>
                <a:gd name="T90" fmla="*/ 2147483647 w 570"/>
                <a:gd name="T91" fmla="*/ 2147483647 h 372"/>
                <a:gd name="T92" fmla="*/ 2147483647 w 570"/>
                <a:gd name="T93" fmla="*/ 2147483647 h 372"/>
                <a:gd name="T94" fmla="*/ 2147483647 w 570"/>
                <a:gd name="T95" fmla="*/ 2147483647 h 372"/>
                <a:gd name="T96" fmla="*/ 2147483647 w 570"/>
                <a:gd name="T97" fmla="*/ 2147483647 h 372"/>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570"/>
                <a:gd name="T148" fmla="*/ 0 h 372"/>
                <a:gd name="T149" fmla="*/ 570 w 570"/>
                <a:gd name="T150" fmla="*/ 372 h 372"/>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570" h="372">
                  <a:moveTo>
                    <a:pt x="24" y="312"/>
                  </a:moveTo>
                  <a:lnTo>
                    <a:pt x="24" y="342"/>
                  </a:lnTo>
                  <a:lnTo>
                    <a:pt x="30" y="354"/>
                  </a:lnTo>
                  <a:lnTo>
                    <a:pt x="36" y="360"/>
                  </a:lnTo>
                  <a:lnTo>
                    <a:pt x="48" y="360"/>
                  </a:lnTo>
                  <a:lnTo>
                    <a:pt x="60" y="354"/>
                  </a:lnTo>
                  <a:lnTo>
                    <a:pt x="72" y="342"/>
                  </a:lnTo>
                  <a:lnTo>
                    <a:pt x="72" y="336"/>
                  </a:lnTo>
                  <a:lnTo>
                    <a:pt x="108" y="336"/>
                  </a:lnTo>
                  <a:lnTo>
                    <a:pt x="120" y="330"/>
                  </a:lnTo>
                  <a:lnTo>
                    <a:pt x="126" y="324"/>
                  </a:lnTo>
                  <a:lnTo>
                    <a:pt x="174" y="324"/>
                  </a:lnTo>
                  <a:lnTo>
                    <a:pt x="174" y="330"/>
                  </a:lnTo>
                  <a:lnTo>
                    <a:pt x="180" y="336"/>
                  </a:lnTo>
                  <a:lnTo>
                    <a:pt x="216" y="336"/>
                  </a:lnTo>
                  <a:lnTo>
                    <a:pt x="240" y="342"/>
                  </a:lnTo>
                  <a:lnTo>
                    <a:pt x="258" y="354"/>
                  </a:lnTo>
                  <a:lnTo>
                    <a:pt x="264" y="348"/>
                  </a:lnTo>
                  <a:lnTo>
                    <a:pt x="282" y="360"/>
                  </a:lnTo>
                  <a:lnTo>
                    <a:pt x="294" y="348"/>
                  </a:lnTo>
                  <a:lnTo>
                    <a:pt x="300" y="360"/>
                  </a:lnTo>
                  <a:lnTo>
                    <a:pt x="318" y="354"/>
                  </a:lnTo>
                  <a:lnTo>
                    <a:pt x="324" y="360"/>
                  </a:lnTo>
                  <a:lnTo>
                    <a:pt x="336" y="354"/>
                  </a:lnTo>
                  <a:lnTo>
                    <a:pt x="348" y="366"/>
                  </a:lnTo>
                  <a:lnTo>
                    <a:pt x="348" y="360"/>
                  </a:lnTo>
                  <a:lnTo>
                    <a:pt x="354" y="354"/>
                  </a:lnTo>
                  <a:lnTo>
                    <a:pt x="372" y="354"/>
                  </a:lnTo>
                  <a:lnTo>
                    <a:pt x="378" y="360"/>
                  </a:lnTo>
                  <a:lnTo>
                    <a:pt x="378" y="372"/>
                  </a:lnTo>
                  <a:lnTo>
                    <a:pt x="384" y="372"/>
                  </a:lnTo>
                  <a:lnTo>
                    <a:pt x="396" y="366"/>
                  </a:lnTo>
                  <a:lnTo>
                    <a:pt x="420" y="366"/>
                  </a:lnTo>
                  <a:lnTo>
                    <a:pt x="426" y="372"/>
                  </a:lnTo>
                  <a:lnTo>
                    <a:pt x="444" y="372"/>
                  </a:lnTo>
                  <a:lnTo>
                    <a:pt x="450" y="366"/>
                  </a:lnTo>
                  <a:lnTo>
                    <a:pt x="450" y="354"/>
                  </a:lnTo>
                  <a:lnTo>
                    <a:pt x="444" y="348"/>
                  </a:lnTo>
                  <a:lnTo>
                    <a:pt x="450" y="336"/>
                  </a:lnTo>
                  <a:lnTo>
                    <a:pt x="456" y="330"/>
                  </a:lnTo>
                  <a:lnTo>
                    <a:pt x="468" y="324"/>
                  </a:lnTo>
                  <a:lnTo>
                    <a:pt x="474" y="312"/>
                  </a:lnTo>
                  <a:lnTo>
                    <a:pt x="498" y="312"/>
                  </a:lnTo>
                  <a:lnTo>
                    <a:pt x="516" y="318"/>
                  </a:lnTo>
                  <a:lnTo>
                    <a:pt x="516" y="300"/>
                  </a:lnTo>
                  <a:lnTo>
                    <a:pt x="510" y="288"/>
                  </a:lnTo>
                  <a:lnTo>
                    <a:pt x="504" y="282"/>
                  </a:lnTo>
                  <a:lnTo>
                    <a:pt x="504" y="264"/>
                  </a:lnTo>
                  <a:lnTo>
                    <a:pt x="480" y="240"/>
                  </a:lnTo>
                  <a:lnTo>
                    <a:pt x="480" y="234"/>
                  </a:lnTo>
                  <a:lnTo>
                    <a:pt x="486" y="228"/>
                  </a:lnTo>
                  <a:lnTo>
                    <a:pt x="510" y="228"/>
                  </a:lnTo>
                  <a:lnTo>
                    <a:pt x="510" y="234"/>
                  </a:lnTo>
                  <a:lnTo>
                    <a:pt x="516" y="234"/>
                  </a:lnTo>
                  <a:lnTo>
                    <a:pt x="522" y="240"/>
                  </a:lnTo>
                  <a:lnTo>
                    <a:pt x="528" y="240"/>
                  </a:lnTo>
                  <a:lnTo>
                    <a:pt x="552" y="228"/>
                  </a:lnTo>
                  <a:lnTo>
                    <a:pt x="558" y="216"/>
                  </a:lnTo>
                  <a:lnTo>
                    <a:pt x="570" y="210"/>
                  </a:lnTo>
                  <a:lnTo>
                    <a:pt x="546" y="198"/>
                  </a:lnTo>
                  <a:lnTo>
                    <a:pt x="552" y="192"/>
                  </a:lnTo>
                  <a:lnTo>
                    <a:pt x="552" y="186"/>
                  </a:lnTo>
                  <a:lnTo>
                    <a:pt x="546" y="186"/>
                  </a:lnTo>
                  <a:lnTo>
                    <a:pt x="540" y="180"/>
                  </a:lnTo>
                  <a:lnTo>
                    <a:pt x="504" y="180"/>
                  </a:lnTo>
                  <a:lnTo>
                    <a:pt x="504" y="156"/>
                  </a:lnTo>
                  <a:lnTo>
                    <a:pt x="474" y="144"/>
                  </a:lnTo>
                  <a:lnTo>
                    <a:pt x="474" y="132"/>
                  </a:lnTo>
                  <a:lnTo>
                    <a:pt x="456" y="114"/>
                  </a:lnTo>
                  <a:lnTo>
                    <a:pt x="444" y="108"/>
                  </a:lnTo>
                  <a:lnTo>
                    <a:pt x="438" y="102"/>
                  </a:lnTo>
                  <a:lnTo>
                    <a:pt x="444" y="84"/>
                  </a:lnTo>
                  <a:lnTo>
                    <a:pt x="432" y="66"/>
                  </a:lnTo>
                  <a:lnTo>
                    <a:pt x="438" y="60"/>
                  </a:lnTo>
                  <a:lnTo>
                    <a:pt x="438" y="48"/>
                  </a:lnTo>
                  <a:lnTo>
                    <a:pt x="432" y="42"/>
                  </a:lnTo>
                  <a:lnTo>
                    <a:pt x="396" y="24"/>
                  </a:lnTo>
                  <a:lnTo>
                    <a:pt x="390" y="18"/>
                  </a:lnTo>
                  <a:lnTo>
                    <a:pt x="384" y="18"/>
                  </a:lnTo>
                  <a:lnTo>
                    <a:pt x="354" y="36"/>
                  </a:lnTo>
                  <a:lnTo>
                    <a:pt x="348" y="18"/>
                  </a:lnTo>
                  <a:lnTo>
                    <a:pt x="312" y="12"/>
                  </a:lnTo>
                  <a:lnTo>
                    <a:pt x="300" y="18"/>
                  </a:lnTo>
                  <a:lnTo>
                    <a:pt x="300" y="12"/>
                  </a:lnTo>
                  <a:lnTo>
                    <a:pt x="294" y="6"/>
                  </a:lnTo>
                  <a:lnTo>
                    <a:pt x="276" y="6"/>
                  </a:lnTo>
                  <a:lnTo>
                    <a:pt x="270" y="0"/>
                  </a:lnTo>
                  <a:lnTo>
                    <a:pt x="258" y="0"/>
                  </a:lnTo>
                  <a:lnTo>
                    <a:pt x="252" y="6"/>
                  </a:lnTo>
                  <a:lnTo>
                    <a:pt x="246" y="18"/>
                  </a:lnTo>
                  <a:lnTo>
                    <a:pt x="240" y="24"/>
                  </a:lnTo>
                  <a:lnTo>
                    <a:pt x="234" y="24"/>
                  </a:lnTo>
                  <a:lnTo>
                    <a:pt x="228" y="30"/>
                  </a:lnTo>
                  <a:lnTo>
                    <a:pt x="222" y="24"/>
                  </a:lnTo>
                  <a:lnTo>
                    <a:pt x="198" y="24"/>
                  </a:lnTo>
                  <a:lnTo>
                    <a:pt x="192" y="30"/>
                  </a:lnTo>
                  <a:lnTo>
                    <a:pt x="180" y="36"/>
                  </a:lnTo>
                  <a:lnTo>
                    <a:pt x="174" y="42"/>
                  </a:lnTo>
                  <a:lnTo>
                    <a:pt x="174" y="54"/>
                  </a:lnTo>
                  <a:lnTo>
                    <a:pt x="192" y="72"/>
                  </a:lnTo>
                  <a:lnTo>
                    <a:pt x="186" y="78"/>
                  </a:lnTo>
                  <a:lnTo>
                    <a:pt x="168" y="78"/>
                  </a:lnTo>
                  <a:lnTo>
                    <a:pt x="162" y="72"/>
                  </a:lnTo>
                  <a:lnTo>
                    <a:pt x="156" y="72"/>
                  </a:lnTo>
                  <a:lnTo>
                    <a:pt x="162" y="90"/>
                  </a:lnTo>
                  <a:lnTo>
                    <a:pt x="144" y="90"/>
                  </a:lnTo>
                  <a:lnTo>
                    <a:pt x="138" y="96"/>
                  </a:lnTo>
                  <a:lnTo>
                    <a:pt x="138" y="102"/>
                  </a:lnTo>
                  <a:lnTo>
                    <a:pt x="144" y="114"/>
                  </a:lnTo>
                  <a:lnTo>
                    <a:pt x="144" y="120"/>
                  </a:lnTo>
                  <a:lnTo>
                    <a:pt x="132" y="120"/>
                  </a:lnTo>
                  <a:lnTo>
                    <a:pt x="132" y="126"/>
                  </a:lnTo>
                  <a:lnTo>
                    <a:pt x="138" y="132"/>
                  </a:lnTo>
                  <a:lnTo>
                    <a:pt x="138" y="144"/>
                  </a:lnTo>
                  <a:lnTo>
                    <a:pt x="144" y="150"/>
                  </a:lnTo>
                  <a:lnTo>
                    <a:pt x="144" y="156"/>
                  </a:lnTo>
                  <a:lnTo>
                    <a:pt x="132" y="156"/>
                  </a:lnTo>
                  <a:lnTo>
                    <a:pt x="138" y="150"/>
                  </a:lnTo>
                  <a:lnTo>
                    <a:pt x="138" y="144"/>
                  </a:lnTo>
                  <a:lnTo>
                    <a:pt x="120" y="144"/>
                  </a:lnTo>
                  <a:lnTo>
                    <a:pt x="108" y="150"/>
                  </a:lnTo>
                  <a:lnTo>
                    <a:pt x="102" y="156"/>
                  </a:lnTo>
                  <a:lnTo>
                    <a:pt x="96" y="168"/>
                  </a:lnTo>
                  <a:lnTo>
                    <a:pt x="84" y="156"/>
                  </a:lnTo>
                  <a:lnTo>
                    <a:pt x="84" y="174"/>
                  </a:lnTo>
                  <a:lnTo>
                    <a:pt x="54" y="174"/>
                  </a:lnTo>
                  <a:lnTo>
                    <a:pt x="54" y="168"/>
                  </a:lnTo>
                  <a:lnTo>
                    <a:pt x="48" y="162"/>
                  </a:lnTo>
                  <a:lnTo>
                    <a:pt x="42" y="162"/>
                  </a:lnTo>
                  <a:lnTo>
                    <a:pt x="30" y="168"/>
                  </a:lnTo>
                  <a:lnTo>
                    <a:pt x="18" y="168"/>
                  </a:lnTo>
                  <a:lnTo>
                    <a:pt x="12" y="174"/>
                  </a:lnTo>
                  <a:lnTo>
                    <a:pt x="6" y="174"/>
                  </a:lnTo>
                  <a:lnTo>
                    <a:pt x="12" y="186"/>
                  </a:lnTo>
                  <a:lnTo>
                    <a:pt x="18" y="192"/>
                  </a:lnTo>
                  <a:lnTo>
                    <a:pt x="18" y="204"/>
                  </a:lnTo>
                  <a:lnTo>
                    <a:pt x="24" y="210"/>
                  </a:lnTo>
                  <a:lnTo>
                    <a:pt x="36" y="234"/>
                  </a:lnTo>
                  <a:lnTo>
                    <a:pt x="42" y="240"/>
                  </a:lnTo>
                  <a:lnTo>
                    <a:pt x="42" y="246"/>
                  </a:lnTo>
                  <a:lnTo>
                    <a:pt x="36" y="252"/>
                  </a:lnTo>
                  <a:lnTo>
                    <a:pt x="36" y="264"/>
                  </a:lnTo>
                  <a:lnTo>
                    <a:pt x="12" y="270"/>
                  </a:lnTo>
                  <a:lnTo>
                    <a:pt x="12" y="288"/>
                  </a:lnTo>
                  <a:lnTo>
                    <a:pt x="0" y="288"/>
                  </a:lnTo>
                  <a:lnTo>
                    <a:pt x="0" y="294"/>
                  </a:lnTo>
                  <a:lnTo>
                    <a:pt x="6" y="300"/>
                  </a:lnTo>
                  <a:lnTo>
                    <a:pt x="12" y="300"/>
                  </a:lnTo>
                  <a:lnTo>
                    <a:pt x="24" y="312"/>
                  </a:lnTo>
                  <a:close/>
                </a:path>
              </a:pathLst>
            </a:custGeom>
            <a:grpFill/>
            <a:ln w="3175">
              <a:solidFill>
                <a:schemeClr val="bg1"/>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de-DE" sz="1800" b="0" i="0" u="none" strike="noStrike" kern="1200" cap="none" spc="0" normalizeH="0" baseline="0" noProof="0">
                <a:ln>
                  <a:noFill/>
                </a:ln>
                <a:solidFill>
                  <a:srgbClr val="FFC000"/>
                </a:solidFill>
                <a:effectLst/>
                <a:uLnTx/>
                <a:uFillTx/>
                <a:latin typeface="Calibri" pitchFamily="34" charset="0"/>
                <a:ea typeface="+mn-ea"/>
                <a:cs typeface="+mn-cs"/>
              </a:endParaRPr>
            </a:p>
          </p:txBody>
        </p:sp>
        <p:sp>
          <p:nvSpPr>
            <p:cNvPr id="177" name="Azerbaijan" descr="© INSCALE GmbH, 05.05.2010&#10;http://www.presentationload.com/"/>
            <p:cNvSpPr>
              <a:spLocks noEditPoints="1"/>
            </p:cNvSpPr>
            <p:nvPr/>
          </p:nvSpPr>
          <p:spPr bwMode="gray">
            <a:xfrm>
              <a:off x="5439699" y="3256600"/>
              <a:ext cx="116465" cy="89410"/>
            </a:xfrm>
            <a:custGeom>
              <a:avLst/>
              <a:gdLst>
                <a:gd name="T0" fmla="*/ 2147483647 w 360"/>
                <a:gd name="T1" fmla="*/ 2147483647 h 288"/>
                <a:gd name="T2" fmla="*/ 2147483647 w 360"/>
                <a:gd name="T3" fmla="*/ 2147483647 h 288"/>
                <a:gd name="T4" fmla="*/ 2147483647 w 360"/>
                <a:gd name="T5" fmla="*/ 2147483647 h 288"/>
                <a:gd name="T6" fmla="*/ 2147483647 w 360"/>
                <a:gd name="T7" fmla="*/ 2147483647 h 288"/>
                <a:gd name="T8" fmla="*/ 2147483647 w 360"/>
                <a:gd name="T9" fmla="*/ 2147483647 h 288"/>
                <a:gd name="T10" fmla="*/ 2147483647 w 360"/>
                <a:gd name="T11" fmla="*/ 2147483647 h 288"/>
                <a:gd name="T12" fmla="*/ 2147483647 w 360"/>
                <a:gd name="T13" fmla="*/ 2147483647 h 288"/>
                <a:gd name="T14" fmla="*/ 2147483647 w 360"/>
                <a:gd name="T15" fmla="*/ 2147483647 h 288"/>
                <a:gd name="T16" fmla="*/ 2147483647 w 360"/>
                <a:gd name="T17" fmla="*/ 2147483647 h 288"/>
                <a:gd name="T18" fmla="*/ 2147483647 w 360"/>
                <a:gd name="T19" fmla="*/ 2147483647 h 288"/>
                <a:gd name="T20" fmla="*/ 2147483647 w 360"/>
                <a:gd name="T21" fmla="*/ 2147483647 h 288"/>
                <a:gd name="T22" fmla="*/ 2147483647 w 360"/>
                <a:gd name="T23" fmla="*/ 2147483647 h 288"/>
                <a:gd name="T24" fmla="*/ 2147483647 w 360"/>
                <a:gd name="T25" fmla="*/ 2147483647 h 288"/>
                <a:gd name="T26" fmla="*/ 2147483647 w 360"/>
                <a:gd name="T27" fmla="*/ 0 h 288"/>
                <a:gd name="T28" fmla="*/ 2147483647 w 360"/>
                <a:gd name="T29" fmla="*/ 2147483647 h 288"/>
                <a:gd name="T30" fmla="*/ 2147483647 w 360"/>
                <a:gd name="T31" fmla="*/ 2147483647 h 288"/>
                <a:gd name="T32" fmla="*/ 2147483647 w 360"/>
                <a:gd name="T33" fmla="*/ 2147483647 h 288"/>
                <a:gd name="T34" fmla="*/ 2147483647 w 360"/>
                <a:gd name="T35" fmla="*/ 2147483647 h 288"/>
                <a:gd name="T36" fmla="*/ 2147483647 w 360"/>
                <a:gd name="T37" fmla="*/ 2147483647 h 288"/>
                <a:gd name="T38" fmla="*/ 2147483647 w 360"/>
                <a:gd name="T39" fmla="*/ 0 h 288"/>
                <a:gd name="T40" fmla="*/ 2147483647 w 360"/>
                <a:gd name="T41" fmla="*/ 2147483647 h 288"/>
                <a:gd name="T42" fmla="*/ 2147483647 w 360"/>
                <a:gd name="T43" fmla="*/ 2147483647 h 288"/>
                <a:gd name="T44" fmla="*/ 2147483647 w 360"/>
                <a:gd name="T45" fmla="*/ 2147483647 h 288"/>
                <a:gd name="T46" fmla="*/ 2147483647 w 360"/>
                <a:gd name="T47" fmla="*/ 2147483647 h 288"/>
                <a:gd name="T48" fmla="*/ 2147483647 w 360"/>
                <a:gd name="T49" fmla="*/ 2147483647 h 288"/>
                <a:gd name="T50" fmla="*/ 2147483647 w 360"/>
                <a:gd name="T51" fmla="*/ 2147483647 h 288"/>
                <a:gd name="T52" fmla="*/ 2147483647 w 360"/>
                <a:gd name="T53" fmla="*/ 2147483647 h 288"/>
                <a:gd name="T54" fmla="*/ 0 w 360"/>
                <a:gd name="T55" fmla="*/ 2147483647 h 288"/>
                <a:gd name="T56" fmla="*/ 2147483647 w 360"/>
                <a:gd name="T57" fmla="*/ 2147483647 h 288"/>
                <a:gd name="T58" fmla="*/ 2147483647 w 360"/>
                <a:gd name="T59" fmla="*/ 2147483647 h 288"/>
                <a:gd name="T60" fmla="*/ 2147483647 w 360"/>
                <a:gd name="T61" fmla="*/ 2147483647 h 288"/>
                <a:gd name="T62" fmla="*/ 2147483647 w 360"/>
                <a:gd name="T63" fmla="*/ 2147483647 h 288"/>
                <a:gd name="T64" fmla="*/ 2147483647 w 360"/>
                <a:gd name="T65" fmla="*/ 2147483647 h 288"/>
                <a:gd name="T66" fmla="*/ 2147483647 w 360"/>
                <a:gd name="T67" fmla="*/ 2147483647 h 288"/>
                <a:gd name="T68" fmla="*/ 2147483647 w 360"/>
                <a:gd name="T69" fmla="*/ 2147483647 h 288"/>
                <a:gd name="T70" fmla="*/ 2147483647 w 360"/>
                <a:gd name="T71" fmla="*/ 2147483647 h 288"/>
                <a:gd name="T72" fmla="*/ 2147483647 w 360"/>
                <a:gd name="T73" fmla="*/ 2147483647 h 288"/>
                <a:gd name="T74" fmla="*/ 2147483647 w 360"/>
                <a:gd name="T75" fmla="*/ 2147483647 h 288"/>
                <a:gd name="T76" fmla="*/ 2147483647 w 360"/>
                <a:gd name="T77" fmla="*/ 2147483647 h 288"/>
                <a:gd name="T78" fmla="*/ 2147483647 w 360"/>
                <a:gd name="T79" fmla="*/ 2147483647 h 288"/>
                <a:gd name="T80" fmla="*/ 2147483647 w 360"/>
                <a:gd name="T81" fmla="*/ 2147483647 h 288"/>
                <a:gd name="T82" fmla="*/ 2147483647 w 360"/>
                <a:gd name="T83" fmla="*/ 2147483647 h 288"/>
                <a:gd name="T84" fmla="*/ 2147483647 w 360"/>
                <a:gd name="T85" fmla="*/ 2147483647 h 288"/>
                <a:gd name="T86" fmla="*/ 2147483647 w 360"/>
                <a:gd name="T87" fmla="*/ 2147483647 h 288"/>
                <a:gd name="T88" fmla="*/ 2147483647 w 360"/>
                <a:gd name="T89" fmla="*/ 2147483647 h 288"/>
                <a:gd name="T90" fmla="*/ 2147483647 w 360"/>
                <a:gd name="T91" fmla="*/ 2147483647 h 288"/>
                <a:gd name="T92" fmla="*/ 2147483647 w 360"/>
                <a:gd name="T93" fmla="*/ 2147483647 h 288"/>
                <a:gd name="T94" fmla="*/ 2147483647 w 360"/>
                <a:gd name="T95" fmla="*/ 2147483647 h 288"/>
                <a:gd name="T96" fmla="*/ 2147483647 w 360"/>
                <a:gd name="T97" fmla="*/ 2147483647 h 288"/>
                <a:gd name="T98" fmla="*/ 2147483647 w 360"/>
                <a:gd name="T99" fmla="*/ 2147483647 h 288"/>
                <a:gd name="T100" fmla="*/ 2147483647 w 360"/>
                <a:gd name="T101" fmla="*/ 2147483647 h 288"/>
                <a:gd name="T102" fmla="*/ 2147483647 w 360"/>
                <a:gd name="T103" fmla="*/ 2147483647 h 288"/>
                <a:gd name="T104" fmla="*/ 2147483647 w 360"/>
                <a:gd name="T105" fmla="*/ 2147483647 h 288"/>
                <a:gd name="T106" fmla="*/ 2147483647 w 360"/>
                <a:gd name="T107" fmla="*/ 2147483647 h 288"/>
                <a:gd name="T108" fmla="*/ 2147483647 w 360"/>
                <a:gd name="T109" fmla="*/ 2147483647 h 288"/>
                <a:gd name="T110" fmla="*/ 2147483647 w 360"/>
                <a:gd name="T111" fmla="*/ 2147483647 h 288"/>
                <a:gd name="T112" fmla="*/ 2147483647 w 360"/>
                <a:gd name="T113" fmla="*/ 2147483647 h 288"/>
                <a:gd name="T114" fmla="*/ 2147483647 w 360"/>
                <a:gd name="T115" fmla="*/ 2147483647 h 288"/>
                <a:gd name="T116" fmla="*/ 2147483647 w 360"/>
                <a:gd name="T117" fmla="*/ 2147483647 h 288"/>
                <a:gd name="T118" fmla="*/ 2147483647 w 360"/>
                <a:gd name="T119" fmla="*/ 2147483647 h 288"/>
                <a:gd name="T120" fmla="*/ 2147483647 w 360"/>
                <a:gd name="T121" fmla="*/ 2147483647 h 288"/>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360"/>
                <a:gd name="T184" fmla="*/ 0 h 288"/>
                <a:gd name="T185" fmla="*/ 360 w 360"/>
                <a:gd name="T186" fmla="*/ 288 h 288"/>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360" h="288">
                  <a:moveTo>
                    <a:pt x="66" y="186"/>
                  </a:moveTo>
                  <a:lnTo>
                    <a:pt x="36" y="186"/>
                  </a:lnTo>
                  <a:lnTo>
                    <a:pt x="24" y="174"/>
                  </a:lnTo>
                  <a:lnTo>
                    <a:pt x="6" y="174"/>
                  </a:lnTo>
                  <a:lnTo>
                    <a:pt x="12" y="186"/>
                  </a:lnTo>
                  <a:lnTo>
                    <a:pt x="12" y="192"/>
                  </a:lnTo>
                  <a:lnTo>
                    <a:pt x="18" y="204"/>
                  </a:lnTo>
                  <a:lnTo>
                    <a:pt x="36" y="222"/>
                  </a:lnTo>
                  <a:lnTo>
                    <a:pt x="48" y="228"/>
                  </a:lnTo>
                  <a:lnTo>
                    <a:pt x="84" y="240"/>
                  </a:lnTo>
                  <a:lnTo>
                    <a:pt x="90" y="240"/>
                  </a:lnTo>
                  <a:lnTo>
                    <a:pt x="84" y="234"/>
                  </a:lnTo>
                  <a:lnTo>
                    <a:pt x="84" y="222"/>
                  </a:lnTo>
                  <a:lnTo>
                    <a:pt x="78" y="216"/>
                  </a:lnTo>
                  <a:lnTo>
                    <a:pt x="78" y="204"/>
                  </a:lnTo>
                  <a:lnTo>
                    <a:pt x="72" y="198"/>
                  </a:lnTo>
                  <a:lnTo>
                    <a:pt x="72" y="186"/>
                  </a:lnTo>
                  <a:lnTo>
                    <a:pt x="66" y="186"/>
                  </a:lnTo>
                  <a:close/>
                  <a:moveTo>
                    <a:pt x="354" y="108"/>
                  </a:moveTo>
                  <a:lnTo>
                    <a:pt x="348" y="102"/>
                  </a:lnTo>
                  <a:lnTo>
                    <a:pt x="330" y="102"/>
                  </a:lnTo>
                  <a:lnTo>
                    <a:pt x="318" y="108"/>
                  </a:lnTo>
                  <a:lnTo>
                    <a:pt x="306" y="108"/>
                  </a:lnTo>
                  <a:lnTo>
                    <a:pt x="288" y="90"/>
                  </a:lnTo>
                  <a:lnTo>
                    <a:pt x="288" y="84"/>
                  </a:lnTo>
                  <a:lnTo>
                    <a:pt x="264" y="54"/>
                  </a:lnTo>
                  <a:lnTo>
                    <a:pt x="264" y="42"/>
                  </a:lnTo>
                  <a:lnTo>
                    <a:pt x="216" y="0"/>
                  </a:lnTo>
                  <a:lnTo>
                    <a:pt x="216" y="30"/>
                  </a:lnTo>
                  <a:lnTo>
                    <a:pt x="210" y="36"/>
                  </a:lnTo>
                  <a:lnTo>
                    <a:pt x="192" y="36"/>
                  </a:lnTo>
                  <a:lnTo>
                    <a:pt x="192" y="48"/>
                  </a:lnTo>
                  <a:lnTo>
                    <a:pt x="186" y="54"/>
                  </a:lnTo>
                  <a:lnTo>
                    <a:pt x="162" y="54"/>
                  </a:lnTo>
                  <a:lnTo>
                    <a:pt x="156" y="48"/>
                  </a:lnTo>
                  <a:lnTo>
                    <a:pt x="144" y="42"/>
                  </a:lnTo>
                  <a:lnTo>
                    <a:pt x="138" y="30"/>
                  </a:lnTo>
                  <a:lnTo>
                    <a:pt x="120" y="12"/>
                  </a:lnTo>
                  <a:lnTo>
                    <a:pt x="84" y="0"/>
                  </a:lnTo>
                  <a:lnTo>
                    <a:pt x="72" y="0"/>
                  </a:lnTo>
                  <a:lnTo>
                    <a:pt x="60" y="12"/>
                  </a:lnTo>
                  <a:lnTo>
                    <a:pt x="78" y="30"/>
                  </a:lnTo>
                  <a:lnTo>
                    <a:pt x="84" y="30"/>
                  </a:lnTo>
                  <a:lnTo>
                    <a:pt x="90" y="36"/>
                  </a:lnTo>
                  <a:lnTo>
                    <a:pt x="96" y="48"/>
                  </a:lnTo>
                  <a:lnTo>
                    <a:pt x="102" y="54"/>
                  </a:lnTo>
                  <a:lnTo>
                    <a:pt x="108" y="66"/>
                  </a:lnTo>
                  <a:lnTo>
                    <a:pt x="102" y="72"/>
                  </a:lnTo>
                  <a:lnTo>
                    <a:pt x="84" y="54"/>
                  </a:lnTo>
                  <a:lnTo>
                    <a:pt x="72" y="54"/>
                  </a:lnTo>
                  <a:lnTo>
                    <a:pt x="60" y="60"/>
                  </a:lnTo>
                  <a:lnTo>
                    <a:pt x="42" y="42"/>
                  </a:lnTo>
                  <a:lnTo>
                    <a:pt x="42" y="36"/>
                  </a:lnTo>
                  <a:lnTo>
                    <a:pt x="36" y="30"/>
                  </a:lnTo>
                  <a:lnTo>
                    <a:pt x="12" y="30"/>
                  </a:lnTo>
                  <a:lnTo>
                    <a:pt x="0" y="42"/>
                  </a:lnTo>
                  <a:lnTo>
                    <a:pt x="0" y="48"/>
                  </a:lnTo>
                  <a:lnTo>
                    <a:pt x="6" y="48"/>
                  </a:lnTo>
                  <a:lnTo>
                    <a:pt x="12" y="54"/>
                  </a:lnTo>
                  <a:lnTo>
                    <a:pt x="12" y="66"/>
                  </a:lnTo>
                  <a:lnTo>
                    <a:pt x="30" y="66"/>
                  </a:lnTo>
                  <a:lnTo>
                    <a:pt x="36" y="72"/>
                  </a:lnTo>
                  <a:lnTo>
                    <a:pt x="36" y="96"/>
                  </a:lnTo>
                  <a:lnTo>
                    <a:pt x="30" y="102"/>
                  </a:lnTo>
                  <a:lnTo>
                    <a:pt x="36" y="102"/>
                  </a:lnTo>
                  <a:lnTo>
                    <a:pt x="42" y="108"/>
                  </a:lnTo>
                  <a:lnTo>
                    <a:pt x="66" y="120"/>
                  </a:lnTo>
                  <a:lnTo>
                    <a:pt x="72" y="126"/>
                  </a:lnTo>
                  <a:lnTo>
                    <a:pt x="72" y="132"/>
                  </a:lnTo>
                  <a:lnTo>
                    <a:pt x="54" y="150"/>
                  </a:lnTo>
                  <a:lnTo>
                    <a:pt x="42" y="150"/>
                  </a:lnTo>
                  <a:lnTo>
                    <a:pt x="72" y="162"/>
                  </a:lnTo>
                  <a:lnTo>
                    <a:pt x="84" y="180"/>
                  </a:lnTo>
                  <a:lnTo>
                    <a:pt x="114" y="186"/>
                  </a:lnTo>
                  <a:lnTo>
                    <a:pt x="114" y="198"/>
                  </a:lnTo>
                  <a:lnTo>
                    <a:pt x="120" y="210"/>
                  </a:lnTo>
                  <a:lnTo>
                    <a:pt x="120" y="240"/>
                  </a:lnTo>
                  <a:lnTo>
                    <a:pt x="132" y="240"/>
                  </a:lnTo>
                  <a:lnTo>
                    <a:pt x="138" y="228"/>
                  </a:lnTo>
                  <a:lnTo>
                    <a:pt x="144" y="222"/>
                  </a:lnTo>
                  <a:lnTo>
                    <a:pt x="144" y="216"/>
                  </a:lnTo>
                  <a:lnTo>
                    <a:pt x="156" y="204"/>
                  </a:lnTo>
                  <a:lnTo>
                    <a:pt x="174" y="192"/>
                  </a:lnTo>
                  <a:lnTo>
                    <a:pt x="186" y="186"/>
                  </a:lnTo>
                  <a:lnTo>
                    <a:pt x="198" y="174"/>
                  </a:lnTo>
                  <a:lnTo>
                    <a:pt x="210" y="168"/>
                  </a:lnTo>
                  <a:lnTo>
                    <a:pt x="222" y="168"/>
                  </a:lnTo>
                  <a:lnTo>
                    <a:pt x="228" y="180"/>
                  </a:lnTo>
                  <a:lnTo>
                    <a:pt x="234" y="186"/>
                  </a:lnTo>
                  <a:lnTo>
                    <a:pt x="234" y="204"/>
                  </a:lnTo>
                  <a:lnTo>
                    <a:pt x="228" y="210"/>
                  </a:lnTo>
                  <a:lnTo>
                    <a:pt x="228" y="222"/>
                  </a:lnTo>
                  <a:lnTo>
                    <a:pt x="234" y="222"/>
                  </a:lnTo>
                  <a:lnTo>
                    <a:pt x="240" y="228"/>
                  </a:lnTo>
                  <a:lnTo>
                    <a:pt x="240" y="234"/>
                  </a:lnTo>
                  <a:lnTo>
                    <a:pt x="234" y="240"/>
                  </a:lnTo>
                  <a:lnTo>
                    <a:pt x="222" y="240"/>
                  </a:lnTo>
                  <a:lnTo>
                    <a:pt x="222" y="246"/>
                  </a:lnTo>
                  <a:lnTo>
                    <a:pt x="234" y="258"/>
                  </a:lnTo>
                  <a:lnTo>
                    <a:pt x="246" y="264"/>
                  </a:lnTo>
                  <a:lnTo>
                    <a:pt x="252" y="270"/>
                  </a:lnTo>
                  <a:lnTo>
                    <a:pt x="258" y="270"/>
                  </a:lnTo>
                  <a:lnTo>
                    <a:pt x="264" y="276"/>
                  </a:lnTo>
                  <a:lnTo>
                    <a:pt x="264" y="282"/>
                  </a:lnTo>
                  <a:lnTo>
                    <a:pt x="282" y="282"/>
                  </a:lnTo>
                  <a:lnTo>
                    <a:pt x="282" y="288"/>
                  </a:lnTo>
                  <a:lnTo>
                    <a:pt x="288" y="282"/>
                  </a:lnTo>
                  <a:lnTo>
                    <a:pt x="288" y="258"/>
                  </a:lnTo>
                  <a:lnTo>
                    <a:pt x="282" y="252"/>
                  </a:lnTo>
                  <a:lnTo>
                    <a:pt x="276" y="252"/>
                  </a:lnTo>
                  <a:lnTo>
                    <a:pt x="270" y="246"/>
                  </a:lnTo>
                  <a:lnTo>
                    <a:pt x="288" y="240"/>
                  </a:lnTo>
                  <a:lnTo>
                    <a:pt x="288" y="210"/>
                  </a:lnTo>
                  <a:lnTo>
                    <a:pt x="300" y="222"/>
                  </a:lnTo>
                  <a:lnTo>
                    <a:pt x="306" y="222"/>
                  </a:lnTo>
                  <a:lnTo>
                    <a:pt x="318" y="210"/>
                  </a:lnTo>
                  <a:lnTo>
                    <a:pt x="300" y="192"/>
                  </a:lnTo>
                  <a:lnTo>
                    <a:pt x="300" y="138"/>
                  </a:lnTo>
                  <a:lnTo>
                    <a:pt x="318" y="138"/>
                  </a:lnTo>
                  <a:lnTo>
                    <a:pt x="330" y="126"/>
                  </a:lnTo>
                  <a:lnTo>
                    <a:pt x="360" y="132"/>
                  </a:lnTo>
                  <a:lnTo>
                    <a:pt x="360" y="120"/>
                  </a:lnTo>
                  <a:lnTo>
                    <a:pt x="354" y="108"/>
                  </a:lnTo>
                  <a:close/>
                </a:path>
              </a:pathLst>
            </a:custGeom>
            <a:grpFill/>
            <a:ln w="3175">
              <a:solidFill>
                <a:schemeClr val="bg1"/>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de-DE" sz="1800" b="0" i="0" u="none" strike="noStrike" kern="1200" cap="none" spc="0" normalizeH="0" baseline="0" noProof="0">
                <a:ln>
                  <a:noFill/>
                </a:ln>
                <a:solidFill>
                  <a:srgbClr val="FFC000"/>
                </a:solidFill>
                <a:effectLst/>
                <a:uLnTx/>
                <a:uFillTx/>
                <a:latin typeface="Calibri" pitchFamily="34" charset="0"/>
                <a:ea typeface="+mn-ea"/>
                <a:cs typeface="+mn-cs"/>
              </a:endParaRPr>
            </a:p>
          </p:txBody>
        </p:sp>
        <p:sp>
          <p:nvSpPr>
            <p:cNvPr id="178" name="Austria" descr="© INSCALE GmbH, 05.05.2010&#10;http://www.presentationload.com/"/>
            <p:cNvSpPr>
              <a:spLocks/>
            </p:cNvSpPr>
            <p:nvPr/>
          </p:nvSpPr>
          <p:spPr bwMode="gray">
            <a:xfrm>
              <a:off x="4689712" y="3081456"/>
              <a:ext cx="148462" cy="63689"/>
            </a:xfrm>
            <a:custGeom>
              <a:avLst/>
              <a:gdLst>
                <a:gd name="T0" fmla="*/ 2147483647 w 456"/>
                <a:gd name="T1" fmla="*/ 2147483647 h 204"/>
                <a:gd name="T2" fmla="*/ 2147483647 w 456"/>
                <a:gd name="T3" fmla="*/ 2147483647 h 204"/>
                <a:gd name="T4" fmla="*/ 2147483647 w 456"/>
                <a:gd name="T5" fmla="*/ 2147483647 h 204"/>
                <a:gd name="T6" fmla="*/ 2147483647 w 456"/>
                <a:gd name="T7" fmla="*/ 2147483647 h 204"/>
                <a:gd name="T8" fmla="*/ 2147483647 w 456"/>
                <a:gd name="T9" fmla="*/ 2147483647 h 204"/>
                <a:gd name="T10" fmla="*/ 2147483647 w 456"/>
                <a:gd name="T11" fmla="*/ 2147483647 h 204"/>
                <a:gd name="T12" fmla="*/ 2147483647 w 456"/>
                <a:gd name="T13" fmla="*/ 2147483647 h 204"/>
                <a:gd name="T14" fmla="*/ 2147483647 w 456"/>
                <a:gd name="T15" fmla="*/ 0 h 204"/>
                <a:gd name="T16" fmla="*/ 2147483647 w 456"/>
                <a:gd name="T17" fmla="*/ 2147483647 h 204"/>
                <a:gd name="T18" fmla="*/ 2147483647 w 456"/>
                <a:gd name="T19" fmla="*/ 2147483647 h 204"/>
                <a:gd name="T20" fmla="*/ 2147483647 w 456"/>
                <a:gd name="T21" fmla="*/ 2147483647 h 204"/>
                <a:gd name="T22" fmla="*/ 2147483647 w 456"/>
                <a:gd name="T23" fmla="*/ 2147483647 h 204"/>
                <a:gd name="T24" fmla="*/ 2147483647 w 456"/>
                <a:gd name="T25" fmla="*/ 2147483647 h 204"/>
                <a:gd name="T26" fmla="*/ 2147483647 w 456"/>
                <a:gd name="T27" fmla="*/ 2147483647 h 204"/>
                <a:gd name="T28" fmla="*/ 2147483647 w 456"/>
                <a:gd name="T29" fmla="*/ 2147483647 h 204"/>
                <a:gd name="T30" fmla="*/ 2147483647 w 456"/>
                <a:gd name="T31" fmla="*/ 2147483647 h 204"/>
                <a:gd name="T32" fmla="*/ 2147483647 w 456"/>
                <a:gd name="T33" fmla="*/ 2147483647 h 204"/>
                <a:gd name="T34" fmla="*/ 2147483647 w 456"/>
                <a:gd name="T35" fmla="*/ 2147483647 h 204"/>
                <a:gd name="T36" fmla="*/ 2147483647 w 456"/>
                <a:gd name="T37" fmla="*/ 2147483647 h 204"/>
                <a:gd name="T38" fmla="*/ 2147483647 w 456"/>
                <a:gd name="T39" fmla="*/ 2147483647 h 204"/>
                <a:gd name="T40" fmla="*/ 2147483647 w 456"/>
                <a:gd name="T41" fmla="*/ 2147483647 h 204"/>
                <a:gd name="T42" fmla="*/ 2147483647 w 456"/>
                <a:gd name="T43" fmla="*/ 2147483647 h 204"/>
                <a:gd name="T44" fmla="*/ 2147483647 w 456"/>
                <a:gd name="T45" fmla="*/ 2147483647 h 204"/>
                <a:gd name="T46" fmla="*/ 2147483647 w 456"/>
                <a:gd name="T47" fmla="*/ 2147483647 h 204"/>
                <a:gd name="T48" fmla="*/ 2147483647 w 456"/>
                <a:gd name="T49" fmla="*/ 2147483647 h 204"/>
                <a:gd name="T50" fmla="*/ 2147483647 w 456"/>
                <a:gd name="T51" fmla="*/ 2147483647 h 204"/>
                <a:gd name="T52" fmla="*/ 2147483647 w 456"/>
                <a:gd name="T53" fmla="*/ 2147483647 h 204"/>
                <a:gd name="T54" fmla="*/ 0 w 456"/>
                <a:gd name="T55" fmla="*/ 2147483647 h 204"/>
                <a:gd name="T56" fmla="*/ 2147483647 w 456"/>
                <a:gd name="T57" fmla="*/ 2147483647 h 204"/>
                <a:gd name="T58" fmla="*/ 2147483647 w 456"/>
                <a:gd name="T59" fmla="*/ 2147483647 h 204"/>
                <a:gd name="T60" fmla="*/ 2147483647 w 456"/>
                <a:gd name="T61" fmla="*/ 2147483647 h 204"/>
                <a:gd name="T62" fmla="*/ 2147483647 w 456"/>
                <a:gd name="T63" fmla="*/ 2147483647 h 204"/>
                <a:gd name="T64" fmla="*/ 2147483647 w 456"/>
                <a:gd name="T65" fmla="*/ 2147483647 h 204"/>
                <a:gd name="T66" fmla="*/ 2147483647 w 456"/>
                <a:gd name="T67" fmla="*/ 2147483647 h 204"/>
                <a:gd name="T68" fmla="*/ 2147483647 w 456"/>
                <a:gd name="T69" fmla="*/ 2147483647 h 204"/>
                <a:gd name="T70" fmla="*/ 2147483647 w 456"/>
                <a:gd name="T71" fmla="*/ 2147483647 h 204"/>
                <a:gd name="T72" fmla="*/ 2147483647 w 456"/>
                <a:gd name="T73" fmla="*/ 2147483647 h 204"/>
                <a:gd name="T74" fmla="*/ 2147483647 w 456"/>
                <a:gd name="T75" fmla="*/ 2147483647 h 204"/>
                <a:gd name="T76" fmla="*/ 2147483647 w 456"/>
                <a:gd name="T77" fmla="*/ 2147483647 h 204"/>
                <a:gd name="T78" fmla="*/ 2147483647 w 456"/>
                <a:gd name="T79" fmla="*/ 2147483647 h 204"/>
                <a:gd name="T80" fmla="*/ 2147483647 w 456"/>
                <a:gd name="T81" fmla="*/ 2147483647 h 204"/>
                <a:gd name="T82" fmla="*/ 2147483647 w 456"/>
                <a:gd name="T83" fmla="*/ 2147483647 h 204"/>
                <a:gd name="T84" fmla="*/ 2147483647 w 456"/>
                <a:gd name="T85" fmla="*/ 2147483647 h 204"/>
                <a:gd name="T86" fmla="*/ 2147483647 w 456"/>
                <a:gd name="T87" fmla="*/ 2147483647 h 204"/>
                <a:gd name="T88" fmla="*/ 2147483647 w 456"/>
                <a:gd name="T89" fmla="*/ 2147483647 h 204"/>
                <a:gd name="T90" fmla="*/ 2147483647 w 456"/>
                <a:gd name="T91" fmla="*/ 2147483647 h 204"/>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456"/>
                <a:gd name="T139" fmla="*/ 0 h 204"/>
                <a:gd name="T140" fmla="*/ 456 w 456"/>
                <a:gd name="T141" fmla="*/ 204 h 204"/>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456" h="204">
                  <a:moveTo>
                    <a:pt x="456" y="102"/>
                  </a:moveTo>
                  <a:lnTo>
                    <a:pt x="456" y="60"/>
                  </a:lnTo>
                  <a:lnTo>
                    <a:pt x="450" y="60"/>
                  </a:lnTo>
                  <a:lnTo>
                    <a:pt x="450" y="48"/>
                  </a:lnTo>
                  <a:lnTo>
                    <a:pt x="456" y="24"/>
                  </a:lnTo>
                  <a:lnTo>
                    <a:pt x="444" y="18"/>
                  </a:lnTo>
                  <a:lnTo>
                    <a:pt x="438" y="18"/>
                  </a:lnTo>
                  <a:lnTo>
                    <a:pt x="432" y="12"/>
                  </a:lnTo>
                  <a:lnTo>
                    <a:pt x="420" y="12"/>
                  </a:lnTo>
                  <a:lnTo>
                    <a:pt x="414" y="18"/>
                  </a:lnTo>
                  <a:lnTo>
                    <a:pt x="402" y="24"/>
                  </a:lnTo>
                  <a:lnTo>
                    <a:pt x="390" y="12"/>
                  </a:lnTo>
                  <a:lnTo>
                    <a:pt x="378" y="18"/>
                  </a:lnTo>
                  <a:lnTo>
                    <a:pt x="366" y="6"/>
                  </a:lnTo>
                  <a:lnTo>
                    <a:pt x="354" y="0"/>
                  </a:lnTo>
                  <a:lnTo>
                    <a:pt x="336" y="0"/>
                  </a:lnTo>
                  <a:lnTo>
                    <a:pt x="330" y="6"/>
                  </a:lnTo>
                  <a:lnTo>
                    <a:pt x="324" y="18"/>
                  </a:lnTo>
                  <a:lnTo>
                    <a:pt x="318" y="18"/>
                  </a:lnTo>
                  <a:lnTo>
                    <a:pt x="318" y="36"/>
                  </a:lnTo>
                  <a:lnTo>
                    <a:pt x="306" y="30"/>
                  </a:lnTo>
                  <a:lnTo>
                    <a:pt x="300" y="30"/>
                  </a:lnTo>
                  <a:lnTo>
                    <a:pt x="288" y="36"/>
                  </a:lnTo>
                  <a:lnTo>
                    <a:pt x="276" y="36"/>
                  </a:lnTo>
                  <a:lnTo>
                    <a:pt x="258" y="18"/>
                  </a:lnTo>
                  <a:lnTo>
                    <a:pt x="252" y="36"/>
                  </a:lnTo>
                  <a:lnTo>
                    <a:pt x="234" y="36"/>
                  </a:lnTo>
                  <a:lnTo>
                    <a:pt x="240" y="48"/>
                  </a:lnTo>
                  <a:lnTo>
                    <a:pt x="240" y="66"/>
                  </a:lnTo>
                  <a:lnTo>
                    <a:pt x="234" y="66"/>
                  </a:lnTo>
                  <a:lnTo>
                    <a:pt x="228" y="60"/>
                  </a:lnTo>
                  <a:lnTo>
                    <a:pt x="210" y="60"/>
                  </a:lnTo>
                  <a:lnTo>
                    <a:pt x="204" y="66"/>
                  </a:lnTo>
                  <a:lnTo>
                    <a:pt x="204" y="72"/>
                  </a:lnTo>
                  <a:lnTo>
                    <a:pt x="198" y="78"/>
                  </a:lnTo>
                  <a:lnTo>
                    <a:pt x="198" y="84"/>
                  </a:lnTo>
                  <a:lnTo>
                    <a:pt x="210" y="84"/>
                  </a:lnTo>
                  <a:lnTo>
                    <a:pt x="210" y="126"/>
                  </a:lnTo>
                  <a:lnTo>
                    <a:pt x="204" y="126"/>
                  </a:lnTo>
                  <a:lnTo>
                    <a:pt x="192" y="114"/>
                  </a:lnTo>
                  <a:lnTo>
                    <a:pt x="174" y="108"/>
                  </a:lnTo>
                  <a:lnTo>
                    <a:pt x="162" y="102"/>
                  </a:lnTo>
                  <a:lnTo>
                    <a:pt x="144" y="114"/>
                  </a:lnTo>
                  <a:lnTo>
                    <a:pt x="126" y="114"/>
                  </a:lnTo>
                  <a:lnTo>
                    <a:pt x="108" y="126"/>
                  </a:lnTo>
                  <a:lnTo>
                    <a:pt x="102" y="132"/>
                  </a:lnTo>
                  <a:lnTo>
                    <a:pt x="84" y="132"/>
                  </a:lnTo>
                  <a:lnTo>
                    <a:pt x="66" y="114"/>
                  </a:lnTo>
                  <a:lnTo>
                    <a:pt x="48" y="114"/>
                  </a:lnTo>
                  <a:lnTo>
                    <a:pt x="48" y="126"/>
                  </a:lnTo>
                  <a:lnTo>
                    <a:pt x="42" y="132"/>
                  </a:lnTo>
                  <a:lnTo>
                    <a:pt x="30" y="132"/>
                  </a:lnTo>
                  <a:lnTo>
                    <a:pt x="30" y="126"/>
                  </a:lnTo>
                  <a:lnTo>
                    <a:pt x="24" y="120"/>
                  </a:lnTo>
                  <a:lnTo>
                    <a:pt x="0" y="120"/>
                  </a:lnTo>
                  <a:lnTo>
                    <a:pt x="0" y="156"/>
                  </a:lnTo>
                  <a:lnTo>
                    <a:pt x="18" y="156"/>
                  </a:lnTo>
                  <a:lnTo>
                    <a:pt x="18" y="174"/>
                  </a:lnTo>
                  <a:lnTo>
                    <a:pt x="24" y="174"/>
                  </a:lnTo>
                  <a:lnTo>
                    <a:pt x="42" y="156"/>
                  </a:lnTo>
                  <a:lnTo>
                    <a:pt x="48" y="156"/>
                  </a:lnTo>
                  <a:lnTo>
                    <a:pt x="60" y="168"/>
                  </a:lnTo>
                  <a:lnTo>
                    <a:pt x="60" y="174"/>
                  </a:lnTo>
                  <a:lnTo>
                    <a:pt x="72" y="174"/>
                  </a:lnTo>
                  <a:lnTo>
                    <a:pt x="84" y="180"/>
                  </a:lnTo>
                  <a:lnTo>
                    <a:pt x="96" y="162"/>
                  </a:lnTo>
                  <a:lnTo>
                    <a:pt x="138" y="162"/>
                  </a:lnTo>
                  <a:lnTo>
                    <a:pt x="138" y="156"/>
                  </a:lnTo>
                  <a:lnTo>
                    <a:pt x="144" y="150"/>
                  </a:lnTo>
                  <a:lnTo>
                    <a:pt x="162" y="150"/>
                  </a:lnTo>
                  <a:lnTo>
                    <a:pt x="168" y="156"/>
                  </a:lnTo>
                  <a:lnTo>
                    <a:pt x="168" y="174"/>
                  </a:lnTo>
                  <a:lnTo>
                    <a:pt x="180" y="174"/>
                  </a:lnTo>
                  <a:lnTo>
                    <a:pt x="186" y="192"/>
                  </a:lnTo>
                  <a:lnTo>
                    <a:pt x="240" y="192"/>
                  </a:lnTo>
                  <a:lnTo>
                    <a:pt x="240" y="204"/>
                  </a:lnTo>
                  <a:lnTo>
                    <a:pt x="258" y="204"/>
                  </a:lnTo>
                  <a:lnTo>
                    <a:pt x="264" y="198"/>
                  </a:lnTo>
                  <a:lnTo>
                    <a:pt x="282" y="198"/>
                  </a:lnTo>
                  <a:lnTo>
                    <a:pt x="288" y="204"/>
                  </a:lnTo>
                  <a:lnTo>
                    <a:pt x="318" y="204"/>
                  </a:lnTo>
                  <a:lnTo>
                    <a:pt x="318" y="192"/>
                  </a:lnTo>
                  <a:lnTo>
                    <a:pt x="366" y="192"/>
                  </a:lnTo>
                  <a:lnTo>
                    <a:pt x="378" y="186"/>
                  </a:lnTo>
                  <a:lnTo>
                    <a:pt x="402" y="192"/>
                  </a:lnTo>
                  <a:lnTo>
                    <a:pt x="414" y="156"/>
                  </a:lnTo>
                  <a:lnTo>
                    <a:pt x="432" y="156"/>
                  </a:lnTo>
                  <a:lnTo>
                    <a:pt x="432" y="132"/>
                  </a:lnTo>
                  <a:lnTo>
                    <a:pt x="444" y="114"/>
                  </a:lnTo>
                  <a:lnTo>
                    <a:pt x="432" y="114"/>
                  </a:lnTo>
                  <a:lnTo>
                    <a:pt x="438" y="102"/>
                  </a:lnTo>
                  <a:lnTo>
                    <a:pt x="456" y="102"/>
                  </a:lnTo>
                  <a:close/>
                </a:path>
              </a:pathLst>
            </a:custGeom>
            <a:grpFill/>
            <a:ln w="3175">
              <a:solidFill>
                <a:schemeClr val="bg1"/>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de-DE" sz="1800" b="0" i="0" u="none" strike="noStrike" kern="1200" cap="none" spc="0" normalizeH="0" baseline="0" noProof="0">
                <a:ln>
                  <a:noFill/>
                </a:ln>
                <a:solidFill>
                  <a:srgbClr val="FFC000"/>
                </a:solidFill>
                <a:effectLst/>
                <a:uLnTx/>
                <a:uFillTx/>
                <a:latin typeface="Calibri" pitchFamily="34" charset="0"/>
                <a:ea typeface="+mn-ea"/>
                <a:cs typeface="+mn-cs"/>
              </a:endParaRPr>
            </a:p>
          </p:txBody>
        </p:sp>
        <p:sp>
          <p:nvSpPr>
            <p:cNvPr id="179" name="Australia" descr="© INSCALE GmbH, 05.05.2010&#10;http://www.presentationload.com/"/>
            <p:cNvSpPr>
              <a:spLocks noEditPoints="1"/>
            </p:cNvSpPr>
            <p:nvPr/>
          </p:nvSpPr>
          <p:spPr bwMode="gray">
            <a:xfrm>
              <a:off x="6979347" y="4570799"/>
              <a:ext cx="921486" cy="826733"/>
            </a:xfrm>
            <a:custGeom>
              <a:avLst/>
              <a:gdLst>
                <a:gd name="T0" fmla="*/ 2147483647 w 2838"/>
                <a:gd name="T1" fmla="*/ 2147483647 h 2664"/>
                <a:gd name="T2" fmla="*/ 2147483647 w 2838"/>
                <a:gd name="T3" fmla="*/ 2147483647 h 2664"/>
                <a:gd name="T4" fmla="*/ 2147483647 w 2838"/>
                <a:gd name="T5" fmla="*/ 2147483647 h 2664"/>
                <a:gd name="T6" fmla="*/ 2147483647 w 2838"/>
                <a:gd name="T7" fmla="*/ 2147483647 h 2664"/>
                <a:gd name="T8" fmla="*/ 2147483647 w 2838"/>
                <a:gd name="T9" fmla="*/ 2147483647 h 2664"/>
                <a:gd name="T10" fmla="*/ 2147483647 w 2838"/>
                <a:gd name="T11" fmla="*/ 2147483647 h 2664"/>
                <a:gd name="T12" fmla="*/ 2147483647 w 2838"/>
                <a:gd name="T13" fmla="*/ 2147483647 h 2664"/>
                <a:gd name="T14" fmla="*/ 2147483647 w 2838"/>
                <a:gd name="T15" fmla="*/ 2147483647 h 2664"/>
                <a:gd name="T16" fmla="*/ 2147483647 w 2838"/>
                <a:gd name="T17" fmla="*/ 2147483647 h 2664"/>
                <a:gd name="T18" fmla="*/ 2147483647 w 2838"/>
                <a:gd name="T19" fmla="*/ 2147483647 h 2664"/>
                <a:gd name="T20" fmla="*/ 2147483647 w 2838"/>
                <a:gd name="T21" fmla="*/ 2147483647 h 2664"/>
                <a:gd name="T22" fmla="*/ 2147483647 w 2838"/>
                <a:gd name="T23" fmla="*/ 2147483647 h 2664"/>
                <a:gd name="T24" fmla="*/ 2147483647 w 2838"/>
                <a:gd name="T25" fmla="*/ 2147483647 h 2664"/>
                <a:gd name="T26" fmla="*/ 2147483647 w 2838"/>
                <a:gd name="T27" fmla="*/ 2147483647 h 2664"/>
                <a:gd name="T28" fmla="*/ 2147483647 w 2838"/>
                <a:gd name="T29" fmla="*/ 2147483647 h 2664"/>
                <a:gd name="T30" fmla="*/ 2147483647 w 2838"/>
                <a:gd name="T31" fmla="*/ 2147483647 h 2664"/>
                <a:gd name="T32" fmla="*/ 2147483647 w 2838"/>
                <a:gd name="T33" fmla="*/ 2147483647 h 2664"/>
                <a:gd name="T34" fmla="*/ 2147483647 w 2838"/>
                <a:gd name="T35" fmla="*/ 2147483647 h 2664"/>
                <a:gd name="T36" fmla="*/ 2147483647 w 2838"/>
                <a:gd name="T37" fmla="*/ 2147483647 h 2664"/>
                <a:gd name="T38" fmla="*/ 2147483647 w 2838"/>
                <a:gd name="T39" fmla="*/ 2147483647 h 2664"/>
                <a:gd name="T40" fmla="*/ 2147483647 w 2838"/>
                <a:gd name="T41" fmla="*/ 2147483647 h 2664"/>
                <a:gd name="T42" fmla="*/ 2147483647 w 2838"/>
                <a:gd name="T43" fmla="*/ 2147483647 h 2664"/>
                <a:gd name="T44" fmla="*/ 2147483647 w 2838"/>
                <a:gd name="T45" fmla="*/ 2147483647 h 2664"/>
                <a:gd name="T46" fmla="*/ 2147483647 w 2838"/>
                <a:gd name="T47" fmla="*/ 2147483647 h 2664"/>
                <a:gd name="T48" fmla="*/ 2147483647 w 2838"/>
                <a:gd name="T49" fmla="*/ 2147483647 h 2664"/>
                <a:gd name="T50" fmla="*/ 2147483647 w 2838"/>
                <a:gd name="T51" fmla="*/ 2147483647 h 2664"/>
                <a:gd name="T52" fmla="*/ 2147483647 w 2838"/>
                <a:gd name="T53" fmla="*/ 2147483647 h 2664"/>
                <a:gd name="T54" fmla="*/ 2147483647 w 2838"/>
                <a:gd name="T55" fmla="*/ 2147483647 h 2664"/>
                <a:gd name="T56" fmla="*/ 2147483647 w 2838"/>
                <a:gd name="T57" fmla="*/ 2147483647 h 2664"/>
                <a:gd name="T58" fmla="*/ 2147483647 w 2838"/>
                <a:gd name="T59" fmla="*/ 2147483647 h 2664"/>
                <a:gd name="T60" fmla="*/ 2147483647 w 2838"/>
                <a:gd name="T61" fmla="*/ 2147483647 h 2664"/>
                <a:gd name="T62" fmla="*/ 2147483647 w 2838"/>
                <a:gd name="T63" fmla="*/ 2147483647 h 2664"/>
                <a:gd name="T64" fmla="*/ 2147483647 w 2838"/>
                <a:gd name="T65" fmla="*/ 2147483647 h 2664"/>
                <a:gd name="T66" fmla="*/ 2147483647 w 2838"/>
                <a:gd name="T67" fmla="*/ 2147483647 h 2664"/>
                <a:gd name="T68" fmla="*/ 2147483647 w 2838"/>
                <a:gd name="T69" fmla="*/ 2147483647 h 2664"/>
                <a:gd name="T70" fmla="*/ 2147483647 w 2838"/>
                <a:gd name="T71" fmla="*/ 2147483647 h 2664"/>
                <a:gd name="T72" fmla="*/ 2147483647 w 2838"/>
                <a:gd name="T73" fmla="*/ 2147483647 h 2664"/>
                <a:gd name="T74" fmla="*/ 2147483647 w 2838"/>
                <a:gd name="T75" fmla="*/ 2147483647 h 2664"/>
                <a:gd name="T76" fmla="*/ 2147483647 w 2838"/>
                <a:gd name="T77" fmla="*/ 2147483647 h 2664"/>
                <a:gd name="T78" fmla="*/ 2147483647 w 2838"/>
                <a:gd name="T79" fmla="*/ 2147483647 h 2664"/>
                <a:gd name="T80" fmla="*/ 2147483647 w 2838"/>
                <a:gd name="T81" fmla="*/ 2147483647 h 2664"/>
                <a:gd name="T82" fmla="*/ 2147483647 w 2838"/>
                <a:gd name="T83" fmla="*/ 2147483647 h 2664"/>
                <a:gd name="T84" fmla="*/ 2147483647 w 2838"/>
                <a:gd name="T85" fmla="*/ 2147483647 h 2664"/>
                <a:gd name="T86" fmla="*/ 2147483647 w 2838"/>
                <a:gd name="T87" fmla="*/ 2147483647 h 2664"/>
                <a:gd name="T88" fmla="*/ 2147483647 w 2838"/>
                <a:gd name="T89" fmla="*/ 2147483647 h 2664"/>
                <a:gd name="T90" fmla="*/ 2147483647 w 2838"/>
                <a:gd name="T91" fmla="*/ 2147483647 h 2664"/>
                <a:gd name="T92" fmla="*/ 2147483647 w 2838"/>
                <a:gd name="T93" fmla="*/ 2147483647 h 2664"/>
                <a:gd name="T94" fmla="*/ 2147483647 w 2838"/>
                <a:gd name="T95" fmla="*/ 2147483647 h 2664"/>
                <a:gd name="T96" fmla="*/ 2147483647 w 2838"/>
                <a:gd name="T97" fmla="*/ 2147483647 h 2664"/>
                <a:gd name="T98" fmla="*/ 2147483647 w 2838"/>
                <a:gd name="T99" fmla="*/ 2147483647 h 2664"/>
                <a:gd name="T100" fmla="*/ 2147483647 w 2838"/>
                <a:gd name="T101" fmla="*/ 2147483647 h 2664"/>
                <a:gd name="T102" fmla="*/ 2147483647 w 2838"/>
                <a:gd name="T103" fmla="*/ 2147483647 h 2664"/>
                <a:gd name="T104" fmla="*/ 2147483647 w 2838"/>
                <a:gd name="T105" fmla="*/ 2147483647 h 2664"/>
                <a:gd name="T106" fmla="*/ 2147483647 w 2838"/>
                <a:gd name="T107" fmla="*/ 2147483647 h 2664"/>
                <a:gd name="T108" fmla="*/ 2147483647 w 2838"/>
                <a:gd name="T109" fmla="*/ 2147483647 h 2664"/>
                <a:gd name="T110" fmla="*/ 2147483647 w 2838"/>
                <a:gd name="T111" fmla="*/ 2147483647 h 2664"/>
                <a:gd name="T112" fmla="*/ 2147483647 w 2838"/>
                <a:gd name="T113" fmla="*/ 2147483647 h 2664"/>
                <a:gd name="T114" fmla="*/ 2147483647 w 2838"/>
                <a:gd name="T115" fmla="*/ 2147483647 h 2664"/>
                <a:gd name="T116" fmla="*/ 2147483647 w 2838"/>
                <a:gd name="T117" fmla="*/ 2147483647 h 2664"/>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2838"/>
                <a:gd name="T178" fmla="*/ 0 h 2664"/>
                <a:gd name="T179" fmla="*/ 2838 w 2838"/>
                <a:gd name="T180" fmla="*/ 2664 h 2664"/>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2838" h="2664">
                  <a:moveTo>
                    <a:pt x="1530" y="66"/>
                  </a:moveTo>
                  <a:lnTo>
                    <a:pt x="1524" y="60"/>
                  </a:lnTo>
                  <a:lnTo>
                    <a:pt x="1518" y="60"/>
                  </a:lnTo>
                  <a:lnTo>
                    <a:pt x="1506" y="66"/>
                  </a:lnTo>
                  <a:lnTo>
                    <a:pt x="1500" y="72"/>
                  </a:lnTo>
                  <a:lnTo>
                    <a:pt x="1494" y="84"/>
                  </a:lnTo>
                  <a:lnTo>
                    <a:pt x="1494" y="102"/>
                  </a:lnTo>
                  <a:lnTo>
                    <a:pt x="1506" y="102"/>
                  </a:lnTo>
                  <a:lnTo>
                    <a:pt x="1512" y="90"/>
                  </a:lnTo>
                  <a:lnTo>
                    <a:pt x="1524" y="78"/>
                  </a:lnTo>
                  <a:lnTo>
                    <a:pt x="1530" y="66"/>
                  </a:lnTo>
                  <a:close/>
                  <a:moveTo>
                    <a:pt x="1476" y="2016"/>
                  </a:moveTo>
                  <a:lnTo>
                    <a:pt x="1464" y="2016"/>
                  </a:lnTo>
                  <a:lnTo>
                    <a:pt x="1440" y="2028"/>
                  </a:lnTo>
                  <a:lnTo>
                    <a:pt x="1440" y="2034"/>
                  </a:lnTo>
                  <a:lnTo>
                    <a:pt x="1452" y="2046"/>
                  </a:lnTo>
                  <a:lnTo>
                    <a:pt x="1452" y="2052"/>
                  </a:lnTo>
                  <a:lnTo>
                    <a:pt x="1470" y="2052"/>
                  </a:lnTo>
                  <a:lnTo>
                    <a:pt x="1482" y="2046"/>
                  </a:lnTo>
                  <a:lnTo>
                    <a:pt x="1488" y="2040"/>
                  </a:lnTo>
                  <a:lnTo>
                    <a:pt x="1506" y="2040"/>
                  </a:lnTo>
                  <a:lnTo>
                    <a:pt x="1512" y="2034"/>
                  </a:lnTo>
                  <a:lnTo>
                    <a:pt x="1530" y="2034"/>
                  </a:lnTo>
                  <a:lnTo>
                    <a:pt x="1536" y="2028"/>
                  </a:lnTo>
                  <a:lnTo>
                    <a:pt x="1512" y="2028"/>
                  </a:lnTo>
                  <a:lnTo>
                    <a:pt x="1500" y="2016"/>
                  </a:lnTo>
                  <a:lnTo>
                    <a:pt x="1476" y="2016"/>
                  </a:lnTo>
                  <a:close/>
                  <a:moveTo>
                    <a:pt x="2802" y="1164"/>
                  </a:moveTo>
                  <a:lnTo>
                    <a:pt x="2802" y="1134"/>
                  </a:lnTo>
                  <a:lnTo>
                    <a:pt x="2796" y="1116"/>
                  </a:lnTo>
                  <a:lnTo>
                    <a:pt x="2796" y="1092"/>
                  </a:lnTo>
                  <a:lnTo>
                    <a:pt x="2790" y="1086"/>
                  </a:lnTo>
                  <a:lnTo>
                    <a:pt x="2778" y="1086"/>
                  </a:lnTo>
                  <a:lnTo>
                    <a:pt x="2772" y="1080"/>
                  </a:lnTo>
                  <a:lnTo>
                    <a:pt x="2760" y="1080"/>
                  </a:lnTo>
                  <a:lnTo>
                    <a:pt x="2760" y="1062"/>
                  </a:lnTo>
                  <a:lnTo>
                    <a:pt x="2742" y="1050"/>
                  </a:lnTo>
                  <a:lnTo>
                    <a:pt x="2742" y="1014"/>
                  </a:lnTo>
                  <a:lnTo>
                    <a:pt x="2736" y="1008"/>
                  </a:lnTo>
                  <a:lnTo>
                    <a:pt x="2724" y="1002"/>
                  </a:lnTo>
                  <a:lnTo>
                    <a:pt x="2718" y="996"/>
                  </a:lnTo>
                  <a:lnTo>
                    <a:pt x="2706" y="996"/>
                  </a:lnTo>
                  <a:lnTo>
                    <a:pt x="2712" y="996"/>
                  </a:lnTo>
                  <a:lnTo>
                    <a:pt x="2718" y="990"/>
                  </a:lnTo>
                  <a:lnTo>
                    <a:pt x="2730" y="990"/>
                  </a:lnTo>
                  <a:lnTo>
                    <a:pt x="2742" y="984"/>
                  </a:lnTo>
                  <a:lnTo>
                    <a:pt x="2760" y="966"/>
                  </a:lnTo>
                  <a:lnTo>
                    <a:pt x="2754" y="954"/>
                  </a:lnTo>
                  <a:lnTo>
                    <a:pt x="2736" y="936"/>
                  </a:lnTo>
                  <a:lnTo>
                    <a:pt x="2730" y="936"/>
                  </a:lnTo>
                  <a:lnTo>
                    <a:pt x="2730" y="930"/>
                  </a:lnTo>
                  <a:lnTo>
                    <a:pt x="2712" y="912"/>
                  </a:lnTo>
                  <a:lnTo>
                    <a:pt x="2700" y="906"/>
                  </a:lnTo>
                  <a:lnTo>
                    <a:pt x="2694" y="912"/>
                  </a:lnTo>
                  <a:lnTo>
                    <a:pt x="2694" y="936"/>
                  </a:lnTo>
                  <a:lnTo>
                    <a:pt x="2670" y="930"/>
                  </a:lnTo>
                  <a:lnTo>
                    <a:pt x="2670" y="924"/>
                  </a:lnTo>
                  <a:lnTo>
                    <a:pt x="2676" y="918"/>
                  </a:lnTo>
                  <a:lnTo>
                    <a:pt x="2676" y="906"/>
                  </a:lnTo>
                  <a:lnTo>
                    <a:pt x="2682" y="894"/>
                  </a:lnTo>
                  <a:lnTo>
                    <a:pt x="2688" y="876"/>
                  </a:lnTo>
                  <a:lnTo>
                    <a:pt x="2688" y="858"/>
                  </a:lnTo>
                  <a:lnTo>
                    <a:pt x="2682" y="852"/>
                  </a:lnTo>
                  <a:lnTo>
                    <a:pt x="2676" y="840"/>
                  </a:lnTo>
                  <a:lnTo>
                    <a:pt x="2670" y="840"/>
                  </a:lnTo>
                  <a:lnTo>
                    <a:pt x="2652" y="822"/>
                  </a:lnTo>
                  <a:lnTo>
                    <a:pt x="2652" y="816"/>
                  </a:lnTo>
                  <a:lnTo>
                    <a:pt x="2658" y="804"/>
                  </a:lnTo>
                  <a:lnTo>
                    <a:pt x="2658" y="792"/>
                  </a:lnTo>
                  <a:lnTo>
                    <a:pt x="2664" y="774"/>
                  </a:lnTo>
                  <a:lnTo>
                    <a:pt x="2664" y="762"/>
                  </a:lnTo>
                  <a:lnTo>
                    <a:pt x="2652" y="750"/>
                  </a:lnTo>
                  <a:lnTo>
                    <a:pt x="2628" y="732"/>
                  </a:lnTo>
                  <a:lnTo>
                    <a:pt x="2598" y="720"/>
                  </a:lnTo>
                  <a:lnTo>
                    <a:pt x="2580" y="708"/>
                  </a:lnTo>
                  <a:lnTo>
                    <a:pt x="2568" y="702"/>
                  </a:lnTo>
                  <a:lnTo>
                    <a:pt x="2556" y="708"/>
                  </a:lnTo>
                  <a:lnTo>
                    <a:pt x="2550" y="696"/>
                  </a:lnTo>
                  <a:lnTo>
                    <a:pt x="2538" y="684"/>
                  </a:lnTo>
                  <a:lnTo>
                    <a:pt x="2532" y="672"/>
                  </a:lnTo>
                  <a:lnTo>
                    <a:pt x="2520" y="660"/>
                  </a:lnTo>
                  <a:lnTo>
                    <a:pt x="2514" y="642"/>
                  </a:lnTo>
                  <a:lnTo>
                    <a:pt x="2514" y="594"/>
                  </a:lnTo>
                  <a:lnTo>
                    <a:pt x="2520" y="576"/>
                  </a:lnTo>
                  <a:lnTo>
                    <a:pt x="2526" y="564"/>
                  </a:lnTo>
                  <a:lnTo>
                    <a:pt x="2526" y="546"/>
                  </a:lnTo>
                  <a:lnTo>
                    <a:pt x="2520" y="504"/>
                  </a:lnTo>
                  <a:lnTo>
                    <a:pt x="2502" y="462"/>
                  </a:lnTo>
                  <a:lnTo>
                    <a:pt x="2490" y="426"/>
                  </a:lnTo>
                  <a:lnTo>
                    <a:pt x="2490" y="402"/>
                  </a:lnTo>
                  <a:lnTo>
                    <a:pt x="2496" y="390"/>
                  </a:lnTo>
                  <a:lnTo>
                    <a:pt x="2502" y="384"/>
                  </a:lnTo>
                  <a:lnTo>
                    <a:pt x="2502" y="324"/>
                  </a:lnTo>
                  <a:lnTo>
                    <a:pt x="2496" y="312"/>
                  </a:lnTo>
                  <a:lnTo>
                    <a:pt x="2496" y="300"/>
                  </a:lnTo>
                  <a:lnTo>
                    <a:pt x="2472" y="294"/>
                  </a:lnTo>
                  <a:lnTo>
                    <a:pt x="2460" y="288"/>
                  </a:lnTo>
                  <a:lnTo>
                    <a:pt x="2454" y="276"/>
                  </a:lnTo>
                  <a:lnTo>
                    <a:pt x="2442" y="270"/>
                  </a:lnTo>
                  <a:lnTo>
                    <a:pt x="2424" y="270"/>
                  </a:lnTo>
                  <a:lnTo>
                    <a:pt x="2418" y="282"/>
                  </a:lnTo>
                  <a:lnTo>
                    <a:pt x="2412" y="288"/>
                  </a:lnTo>
                  <a:lnTo>
                    <a:pt x="2412" y="282"/>
                  </a:lnTo>
                  <a:lnTo>
                    <a:pt x="2406" y="276"/>
                  </a:lnTo>
                  <a:lnTo>
                    <a:pt x="2400" y="264"/>
                  </a:lnTo>
                  <a:lnTo>
                    <a:pt x="2400" y="228"/>
                  </a:lnTo>
                  <a:lnTo>
                    <a:pt x="2406" y="216"/>
                  </a:lnTo>
                  <a:lnTo>
                    <a:pt x="2406" y="204"/>
                  </a:lnTo>
                  <a:lnTo>
                    <a:pt x="2388" y="180"/>
                  </a:lnTo>
                  <a:lnTo>
                    <a:pt x="2394" y="96"/>
                  </a:lnTo>
                  <a:lnTo>
                    <a:pt x="2382" y="90"/>
                  </a:lnTo>
                  <a:lnTo>
                    <a:pt x="2364" y="72"/>
                  </a:lnTo>
                  <a:lnTo>
                    <a:pt x="2364" y="66"/>
                  </a:lnTo>
                  <a:lnTo>
                    <a:pt x="2370" y="48"/>
                  </a:lnTo>
                  <a:lnTo>
                    <a:pt x="2370" y="24"/>
                  </a:lnTo>
                  <a:lnTo>
                    <a:pt x="2364" y="18"/>
                  </a:lnTo>
                  <a:lnTo>
                    <a:pt x="2346" y="18"/>
                  </a:lnTo>
                  <a:lnTo>
                    <a:pt x="2346" y="0"/>
                  </a:lnTo>
                  <a:lnTo>
                    <a:pt x="2316" y="12"/>
                  </a:lnTo>
                  <a:lnTo>
                    <a:pt x="2310" y="30"/>
                  </a:lnTo>
                  <a:lnTo>
                    <a:pt x="2298" y="36"/>
                  </a:lnTo>
                  <a:lnTo>
                    <a:pt x="2292" y="42"/>
                  </a:lnTo>
                  <a:lnTo>
                    <a:pt x="2280" y="48"/>
                  </a:lnTo>
                  <a:lnTo>
                    <a:pt x="2280" y="66"/>
                  </a:lnTo>
                  <a:lnTo>
                    <a:pt x="2286" y="78"/>
                  </a:lnTo>
                  <a:lnTo>
                    <a:pt x="2286" y="90"/>
                  </a:lnTo>
                  <a:lnTo>
                    <a:pt x="2292" y="102"/>
                  </a:lnTo>
                  <a:lnTo>
                    <a:pt x="2292" y="114"/>
                  </a:lnTo>
                  <a:lnTo>
                    <a:pt x="2286" y="126"/>
                  </a:lnTo>
                  <a:lnTo>
                    <a:pt x="2274" y="138"/>
                  </a:lnTo>
                  <a:lnTo>
                    <a:pt x="2268" y="150"/>
                  </a:lnTo>
                  <a:lnTo>
                    <a:pt x="2238" y="180"/>
                  </a:lnTo>
                  <a:lnTo>
                    <a:pt x="2256" y="192"/>
                  </a:lnTo>
                  <a:lnTo>
                    <a:pt x="2256" y="198"/>
                  </a:lnTo>
                  <a:lnTo>
                    <a:pt x="2250" y="204"/>
                  </a:lnTo>
                  <a:lnTo>
                    <a:pt x="2238" y="228"/>
                  </a:lnTo>
                  <a:lnTo>
                    <a:pt x="2232" y="234"/>
                  </a:lnTo>
                  <a:lnTo>
                    <a:pt x="2232" y="264"/>
                  </a:lnTo>
                  <a:lnTo>
                    <a:pt x="2238" y="276"/>
                  </a:lnTo>
                  <a:lnTo>
                    <a:pt x="2238" y="288"/>
                  </a:lnTo>
                  <a:lnTo>
                    <a:pt x="2232" y="300"/>
                  </a:lnTo>
                  <a:lnTo>
                    <a:pt x="2214" y="408"/>
                  </a:lnTo>
                  <a:lnTo>
                    <a:pt x="2208" y="432"/>
                  </a:lnTo>
                  <a:lnTo>
                    <a:pt x="2202" y="438"/>
                  </a:lnTo>
                  <a:lnTo>
                    <a:pt x="2190" y="462"/>
                  </a:lnTo>
                  <a:lnTo>
                    <a:pt x="2178" y="474"/>
                  </a:lnTo>
                  <a:lnTo>
                    <a:pt x="2172" y="486"/>
                  </a:lnTo>
                  <a:lnTo>
                    <a:pt x="2166" y="492"/>
                  </a:lnTo>
                  <a:lnTo>
                    <a:pt x="2166" y="516"/>
                  </a:lnTo>
                  <a:lnTo>
                    <a:pt x="2160" y="534"/>
                  </a:lnTo>
                  <a:lnTo>
                    <a:pt x="2154" y="546"/>
                  </a:lnTo>
                  <a:lnTo>
                    <a:pt x="2142" y="552"/>
                  </a:lnTo>
                  <a:lnTo>
                    <a:pt x="2088" y="570"/>
                  </a:lnTo>
                  <a:lnTo>
                    <a:pt x="2076" y="570"/>
                  </a:lnTo>
                  <a:lnTo>
                    <a:pt x="2064" y="576"/>
                  </a:lnTo>
                  <a:lnTo>
                    <a:pt x="2058" y="576"/>
                  </a:lnTo>
                  <a:lnTo>
                    <a:pt x="2058" y="570"/>
                  </a:lnTo>
                  <a:lnTo>
                    <a:pt x="2052" y="564"/>
                  </a:lnTo>
                  <a:lnTo>
                    <a:pt x="2028" y="516"/>
                  </a:lnTo>
                  <a:lnTo>
                    <a:pt x="2022" y="510"/>
                  </a:lnTo>
                  <a:lnTo>
                    <a:pt x="1998" y="492"/>
                  </a:lnTo>
                  <a:lnTo>
                    <a:pt x="1956" y="474"/>
                  </a:lnTo>
                  <a:lnTo>
                    <a:pt x="1920" y="462"/>
                  </a:lnTo>
                  <a:lnTo>
                    <a:pt x="1908" y="456"/>
                  </a:lnTo>
                  <a:lnTo>
                    <a:pt x="1896" y="438"/>
                  </a:lnTo>
                  <a:lnTo>
                    <a:pt x="1884" y="426"/>
                  </a:lnTo>
                  <a:lnTo>
                    <a:pt x="1872" y="402"/>
                  </a:lnTo>
                  <a:lnTo>
                    <a:pt x="1866" y="396"/>
                  </a:lnTo>
                  <a:lnTo>
                    <a:pt x="1830" y="396"/>
                  </a:lnTo>
                  <a:lnTo>
                    <a:pt x="1806" y="348"/>
                  </a:lnTo>
                  <a:lnTo>
                    <a:pt x="1824" y="330"/>
                  </a:lnTo>
                  <a:lnTo>
                    <a:pt x="1824" y="306"/>
                  </a:lnTo>
                  <a:lnTo>
                    <a:pt x="1830" y="294"/>
                  </a:lnTo>
                  <a:lnTo>
                    <a:pt x="1836" y="288"/>
                  </a:lnTo>
                  <a:lnTo>
                    <a:pt x="1848" y="282"/>
                  </a:lnTo>
                  <a:lnTo>
                    <a:pt x="1854" y="276"/>
                  </a:lnTo>
                  <a:lnTo>
                    <a:pt x="1848" y="228"/>
                  </a:lnTo>
                  <a:lnTo>
                    <a:pt x="1866" y="210"/>
                  </a:lnTo>
                  <a:lnTo>
                    <a:pt x="1872" y="216"/>
                  </a:lnTo>
                  <a:lnTo>
                    <a:pt x="1884" y="216"/>
                  </a:lnTo>
                  <a:lnTo>
                    <a:pt x="1890" y="222"/>
                  </a:lnTo>
                  <a:lnTo>
                    <a:pt x="1896" y="222"/>
                  </a:lnTo>
                  <a:lnTo>
                    <a:pt x="1902" y="216"/>
                  </a:lnTo>
                  <a:lnTo>
                    <a:pt x="1908" y="204"/>
                  </a:lnTo>
                  <a:lnTo>
                    <a:pt x="1908" y="180"/>
                  </a:lnTo>
                  <a:lnTo>
                    <a:pt x="1944" y="144"/>
                  </a:lnTo>
                  <a:lnTo>
                    <a:pt x="1938" y="132"/>
                  </a:lnTo>
                  <a:lnTo>
                    <a:pt x="1914" y="108"/>
                  </a:lnTo>
                  <a:lnTo>
                    <a:pt x="1890" y="108"/>
                  </a:lnTo>
                  <a:lnTo>
                    <a:pt x="1872" y="114"/>
                  </a:lnTo>
                  <a:lnTo>
                    <a:pt x="1848" y="126"/>
                  </a:lnTo>
                  <a:lnTo>
                    <a:pt x="1842" y="138"/>
                  </a:lnTo>
                  <a:lnTo>
                    <a:pt x="1842" y="120"/>
                  </a:lnTo>
                  <a:lnTo>
                    <a:pt x="1812" y="126"/>
                  </a:lnTo>
                  <a:lnTo>
                    <a:pt x="1794" y="138"/>
                  </a:lnTo>
                  <a:lnTo>
                    <a:pt x="1788" y="120"/>
                  </a:lnTo>
                  <a:lnTo>
                    <a:pt x="1752" y="114"/>
                  </a:lnTo>
                  <a:lnTo>
                    <a:pt x="1746" y="108"/>
                  </a:lnTo>
                  <a:lnTo>
                    <a:pt x="1734" y="102"/>
                  </a:lnTo>
                  <a:lnTo>
                    <a:pt x="1728" y="96"/>
                  </a:lnTo>
                  <a:lnTo>
                    <a:pt x="1716" y="90"/>
                  </a:lnTo>
                  <a:lnTo>
                    <a:pt x="1674" y="90"/>
                  </a:lnTo>
                  <a:lnTo>
                    <a:pt x="1662" y="84"/>
                  </a:lnTo>
                  <a:lnTo>
                    <a:pt x="1650" y="84"/>
                  </a:lnTo>
                  <a:lnTo>
                    <a:pt x="1650" y="78"/>
                  </a:lnTo>
                  <a:lnTo>
                    <a:pt x="1644" y="72"/>
                  </a:lnTo>
                  <a:lnTo>
                    <a:pt x="1632" y="48"/>
                  </a:lnTo>
                  <a:lnTo>
                    <a:pt x="1626" y="42"/>
                  </a:lnTo>
                  <a:lnTo>
                    <a:pt x="1620" y="42"/>
                  </a:lnTo>
                  <a:lnTo>
                    <a:pt x="1620" y="54"/>
                  </a:lnTo>
                  <a:lnTo>
                    <a:pt x="1614" y="60"/>
                  </a:lnTo>
                  <a:lnTo>
                    <a:pt x="1602" y="54"/>
                  </a:lnTo>
                  <a:lnTo>
                    <a:pt x="1596" y="54"/>
                  </a:lnTo>
                  <a:lnTo>
                    <a:pt x="1584" y="48"/>
                  </a:lnTo>
                  <a:lnTo>
                    <a:pt x="1566" y="48"/>
                  </a:lnTo>
                  <a:lnTo>
                    <a:pt x="1566" y="60"/>
                  </a:lnTo>
                  <a:lnTo>
                    <a:pt x="1572" y="66"/>
                  </a:lnTo>
                  <a:lnTo>
                    <a:pt x="1554" y="66"/>
                  </a:lnTo>
                  <a:lnTo>
                    <a:pt x="1548" y="72"/>
                  </a:lnTo>
                  <a:lnTo>
                    <a:pt x="1548" y="78"/>
                  </a:lnTo>
                  <a:lnTo>
                    <a:pt x="1554" y="84"/>
                  </a:lnTo>
                  <a:lnTo>
                    <a:pt x="1566" y="84"/>
                  </a:lnTo>
                  <a:lnTo>
                    <a:pt x="1590" y="96"/>
                  </a:lnTo>
                  <a:lnTo>
                    <a:pt x="1596" y="96"/>
                  </a:lnTo>
                  <a:lnTo>
                    <a:pt x="1608" y="90"/>
                  </a:lnTo>
                  <a:lnTo>
                    <a:pt x="1614" y="84"/>
                  </a:lnTo>
                  <a:lnTo>
                    <a:pt x="1644" y="102"/>
                  </a:lnTo>
                  <a:lnTo>
                    <a:pt x="1638" y="102"/>
                  </a:lnTo>
                  <a:lnTo>
                    <a:pt x="1632" y="108"/>
                  </a:lnTo>
                  <a:lnTo>
                    <a:pt x="1596" y="126"/>
                  </a:lnTo>
                  <a:lnTo>
                    <a:pt x="1572" y="126"/>
                  </a:lnTo>
                  <a:lnTo>
                    <a:pt x="1554" y="132"/>
                  </a:lnTo>
                  <a:lnTo>
                    <a:pt x="1512" y="132"/>
                  </a:lnTo>
                  <a:lnTo>
                    <a:pt x="1500" y="138"/>
                  </a:lnTo>
                  <a:lnTo>
                    <a:pt x="1482" y="144"/>
                  </a:lnTo>
                  <a:lnTo>
                    <a:pt x="1470" y="156"/>
                  </a:lnTo>
                  <a:lnTo>
                    <a:pt x="1452" y="162"/>
                  </a:lnTo>
                  <a:lnTo>
                    <a:pt x="1440" y="168"/>
                  </a:lnTo>
                  <a:lnTo>
                    <a:pt x="1434" y="174"/>
                  </a:lnTo>
                  <a:lnTo>
                    <a:pt x="1428" y="174"/>
                  </a:lnTo>
                  <a:lnTo>
                    <a:pt x="1428" y="186"/>
                  </a:lnTo>
                  <a:lnTo>
                    <a:pt x="1422" y="204"/>
                  </a:lnTo>
                  <a:lnTo>
                    <a:pt x="1422" y="228"/>
                  </a:lnTo>
                  <a:lnTo>
                    <a:pt x="1428" y="234"/>
                  </a:lnTo>
                  <a:lnTo>
                    <a:pt x="1440" y="240"/>
                  </a:lnTo>
                  <a:lnTo>
                    <a:pt x="1446" y="246"/>
                  </a:lnTo>
                  <a:lnTo>
                    <a:pt x="1452" y="246"/>
                  </a:lnTo>
                  <a:lnTo>
                    <a:pt x="1398" y="246"/>
                  </a:lnTo>
                  <a:lnTo>
                    <a:pt x="1368" y="282"/>
                  </a:lnTo>
                  <a:lnTo>
                    <a:pt x="1368" y="312"/>
                  </a:lnTo>
                  <a:lnTo>
                    <a:pt x="1362" y="324"/>
                  </a:lnTo>
                  <a:lnTo>
                    <a:pt x="1362" y="330"/>
                  </a:lnTo>
                  <a:lnTo>
                    <a:pt x="1368" y="336"/>
                  </a:lnTo>
                  <a:lnTo>
                    <a:pt x="1380" y="336"/>
                  </a:lnTo>
                  <a:lnTo>
                    <a:pt x="1404" y="348"/>
                  </a:lnTo>
                  <a:lnTo>
                    <a:pt x="1410" y="354"/>
                  </a:lnTo>
                  <a:lnTo>
                    <a:pt x="1410" y="390"/>
                  </a:lnTo>
                  <a:lnTo>
                    <a:pt x="1386" y="366"/>
                  </a:lnTo>
                  <a:lnTo>
                    <a:pt x="1356" y="366"/>
                  </a:lnTo>
                  <a:lnTo>
                    <a:pt x="1344" y="390"/>
                  </a:lnTo>
                  <a:lnTo>
                    <a:pt x="1308" y="354"/>
                  </a:lnTo>
                  <a:lnTo>
                    <a:pt x="1302" y="384"/>
                  </a:lnTo>
                  <a:lnTo>
                    <a:pt x="1278" y="396"/>
                  </a:lnTo>
                  <a:lnTo>
                    <a:pt x="1284" y="420"/>
                  </a:lnTo>
                  <a:lnTo>
                    <a:pt x="1254" y="414"/>
                  </a:lnTo>
                  <a:lnTo>
                    <a:pt x="1284" y="354"/>
                  </a:lnTo>
                  <a:lnTo>
                    <a:pt x="1278" y="348"/>
                  </a:lnTo>
                  <a:lnTo>
                    <a:pt x="1272" y="336"/>
                  </a:lnTo>
                  <a:lnTo>
                    <a:pt x="1272" y="324"/>
                  </a:lnTo>
                  <a:lnTo>
                    <a:pt x="1266" y="318"/>
                  </a:lnTo>
                  <a:lnTo>
                    <a:pt x="1254" y="312"/>
                  </a:lnTo>
                  <a:lnTo>
                    <a:pt x="1236" y="312"/>
                  </a:lnTo>
                  <a:lnTo>
                    <a:pt x="1224" y="282"/>
                  </a:lnTo>
                  <a:lnTo>
                    <a:pt x="1224" y="276"/>
                  </a:lnTo>
                  <a:lnTo>
                    <a:pt x="1230" y="270"/>
                  </a:lnTo>
                  <a:lnTo>
                    <a:pt x="1230" y="258"/>
                  </a:lnTo>
                  <a:lnTo>
                    <a:pt x="1224" y="246"/>
                  </a:lnTo>
                  <a:lnTo>
                    <a:pt x="1218" y="240"/>
                  </a:lnTo>
                  <a:lnTo>
                    <a:pt x="1206" y="234"/>
                  </a:lnTo>
                  <a:lnTo>
                    <a:pt x="1194" y="240"/>
                  </a:lnTo>
                  <a:lnTo>
                    <a:pt x="1188" y="246"/>
                  </a:lnTo>
                  <a:lnTo>
                    <a:pt x="1176" y="252"/>
                  </a:lnTo>
                  <a:lnTo>
                    <a:pt x="1176" y="264"/>
                  </a:lnTo>
                  <a:lnTo>
                    <a:pt x="1182" y="270"/>
                  </a:lnTo>
                  <a:lnTo>
                    <a:pt x="1182" y="282"/>
                  </a:lnTo>
                  <a:lnTo>
                    <a:pt x="1146" y="276"/>
                  </a:lnTo>
                  <a:lnTo>
                    <a:pt x="1152" y="306"/>
                  </a:lnTo>
                  <a:lnTo>
                    <a:pt x="1134" y="300"/>
                  </a:lnTo>
                  <a:lnTo>
                    <a:pt x="1116" y="306"/>
                  </a:lnTo>
                  <a:lnTo>
                    <a:pt x="1122" y="312"/>
                  </a:lnTo>
                  <a:lnTo>
                    <a:pt x="1122" y="330"/>
                  </a:lnTo>
                  <a:lnTo>
                    <a:pt x="1116" y="342"/>
                  </a:lnTo>
                  <a:lnTo>
                    <a:pt x="1110" y="348"/>
                  </a:lnTo>
                  <a:lnTo>
                    <a:pt x="1098" y="354"/>
                  </a:lnTo>
                  <a:lnTo>
                    <a:pt x="1092" y="360"/>
                  </a:lnTo>
                  <a:lnTo>
                    <a:pt x="1104" y="324"/>
                  </a:lnTo>
                  <a:lnTo>
                    <a:pt x="1080" y="348"/>
                  </a:lnTo>
                  <a:lnTo>
                    <a:pt x="1062" y="348"/>
                  </a:lnTo>
                  <a:lnTo>
                    <a:pt x="1056" y="360"/>
                  </a:lnTo>
                  <a:lnTo>
                    <a:pt x="1050" y="366"/>
                  </a:lnTo>
                  <a:lnTo>
                    <a:pt x="1050" y="378"/>
                  </a:lnTo>
                  <a:lnTo>
                    <a:pt x="1056" y="390"/>
                  </a:lnTo>
                  <a:lnTo>
                    <a:pt x="1056" y="396"/>
                  </a:lnTo>
                  <a:lnTo>
                    <a:pt x="1062" y="408"/>
                  </a:lnTo>
                  <a:lnTo>
                    <a:pt x="1014" y="384"/>
                  </a:lnTo>
                  <a:lnTo>
                    <a:pt x="1008" y="420"/>
                  </a:lnTo>
                  <a:lnTo>
                    <a:pt x="996" y="426"/>
                  </a:lnTo>
                  <a:lnTo>
                    <a:pt x="1008" y="450"/>
                  </a:lnTo>
                  <a:lnTo>
                    <a:pt x="1032" y="450"/>
                  </a:lnTo>
                  <a:lnTo>
                    <a:pt x="1026" y="468"/>
                  </a:lnTo>
                  <a:lnTo>
                    <a:pt x="954" y="474"/>
                  </a:lnTo>
                  <a:lnTo>
                    <a:pt x="948" y="468"/>
                  </a:lnTo>
                  <a:lnTo>
                    <a:pt x="936" y="462"/>
                  </a:lnTo>
                  <a:lnTo>
                    <a:pt x="930" y="462"/>
                  </a:lnTo>
                  <a:lnTo>
                    <a:pt x="918" y="468"/>
                  </a:lnTo>
                  <a:lnTo>
                    <a:pt x="912" y="474"/>
                  </a:lnTo>
                  <a:lnTo>
                    <a:pt x="918" y="486"/>
                  </a:lnTo>
                  <a:lnTo>
                    <a:pt x="918" y="492"/>
                  </a:lnTo>
                  <a:lnTo>
                    <a:pt x="924" y="504"/>
                  </a:lnTo>
                  <a:lnTo>
                    <a:pt x="930" y="510"/>
                  </a:lnTo>
                  <a:lnTo>
                    <a:pt x="930" y="540"/>
                  </a:lnTo>
                  <a:lnTo>
                    <a:pt x="924" y="564"/>
                  </a:lnTo>
                  <a:lnTo>
                    <a:pt x="930" y="600"/>
                  </a:lnTo>
                  <a:lnTo>
                    <a:pt x="912" y="600"/>
                  </a:lnTo>
                  <a:lnTo>
                    <a:pt x="906" y="522"/>
                  </a:lnTo>
                  <a:lnTo>
                    <a:pt x="888" y="510"/>
                  </a:lnTo>
                  <a:lnTo>
                    <a:pt x="888" y="480"/>
                  </a:lnTo>
                  <a:lnTo>
                    <a:pt x="870" y="480"/>
                  </a:lnTo>
                  <a:lnTo>
                    <a:pt x="852" y="504"/>
                  </a:lnTo>
                  <a:lnTo>
                    <a:pt x="822" y="534"/>
                  </a:lnTo>
                  <a:lnTo>
                    <a:pt x="804" y="546"/>
                  </a:lnTo>
                  <a:lnTo>
                    <a:pt x="792" y="558"/>
                  </a:lnTo>
                  <a:lnTo>
                    <a:pt x="786" y="570"/>
                  </a:lnTo>
                  <a:lnTo>
                    <a:pt x="786" y="600"/>
                  </a:lnTo>
                  <a:lnTo>
                    <a:pt x="792" y="606"/>
                  </a:lnTo>
                  <a:lnTo>
                    <a:pt x="792" y="618"/>
                  </a:lnTo>
                  <a:lnTo>
                    <a:pt x="798" y="618"/>
                  </a:lnTo>
                  <a:lnTo>
                    <a:pt x="816" y="636"/>
                  </a:lnTo>
                  <a:lnTo>
                    <a:pt x="810" y="648"/>
                  </a:lnTo>
                  <a:lnTo>
                    <a:pt x="792" y="654"/>
                  </a:lnTo>
                  <a:lnTo>
                    <a:pt x="774" y="666"/>
                  </a:lnTo>
                  <a:lnTo>
                    <a:pt x="750" y="678"/>
                  </a:lnTo>
                  <a:lnTo>
                    <a:pt x="750" y="696"/>
                  </a:lnTo>
                  <a:lnTo>
                    <a:pt x="720" y="726"/>
                  </a:lnTo>
                  <a:lnTo>
                    <a:pt x="702" y="732"/>
                  </a:lnTo>
                  <a:lnTo>
                    <a:pt x="690" y="744"/>
                  </a:lnTo>
                  <a:lnTo>
                    <a:pt x="666" y="756"/>
                  </a:lnTo>
                  <a:lnTo>
                    <a:pt x="630" y="762"/>
                  </a:lnTo>
                  <a:lnTo>
                    <a:pt x="600" y="768"/>
                  </a:lnTo>
                  <a:lnTo>
                    <a:pt x="588" y="768"/>
                  </a:lnTo>
                  <a:lnTo>
                    <a:pt x="534" y="762"/>
                  </a:lnTo>
                  <a:lnTo>
                    <a:pt x="492" y="780"/>
                  </a:lnTo>
                  <a:lnTo>
                    <a:pt x="438" y="786"/>
                  </a:lnTo>
                  <a:lnTo>
                    <a:pt x="432" y="798"/>
                  </a:lnTo>
                  <a:lnTo>
                    <a:pt x="414" y="798"/>
                  </a:lnTo>
                  <a:lnTo>
                    <a:pt x="402" y="804"/>
                  </a:lnTo>
                  <a:lnTo>
                    <a:pt x="396" y="810"/>
                  </a:lnTo>
                  <a:lnTo>
                    <a:pt x="384" y="816"/>
                  </a:lnTo>
                  <a:lnTo>
                    <a:pt x="372" y="828"/>
                  </a:lnTo>
                  <a:lnTo>
                    <a:pt x="342" y="828"/>
                  </a:lnTo>
                  <a:lnTo>
                    <a:pt x="324" y="834"/>
                  </a:lnTo>
                  <a:lnTo>
                    <a:pt x="312" y="840"/>
                  </a:lnTo>
                  <a:lnTo>
                    <a:pt x="306" y="852"/>
                  </a:lnTo>
                  <a:lnTo>
                    <a:pt x="294" y="858"/>
                  </a:lnTo>
                  <a:lnTo>
                    <a:pt x="288" y="870"/>
                  </a:lnTo>
                  <a:lnTo>
                    <a:pt x="282" y="876"/>
                  </a:lnTo>
                  <a:lnTo>
                    <a:pt x="282" y="882"/>
                  </a:lnTo>
                  <a:lnTo>
                    <a:pt x="276" y="882"/>
                  </a:lnTo>
                  <a:lnTo>
                    <a:pt x="270" y="888"/>
                  </a:lnTo>
                  <a:lnTo>
                    <a:pt x="252" y="888"/>
                  </a:lnTo>
                  <a:lnTo>
                    <a:pt x="240" y="894"/>
                  </a:lnTo>
                  <a:lnTo>
                    <a:pt x="228" y="894"/>
                  </a:lnTo>
                  <a:lnTo>
                    <a:pt x="216" y="900"/>
                  </a:lnTo>
                  <a:lnTo>
                    <a:pt x="210" y="906"/>
                  </a:lnTo>
                  <a:lnTo>
                    <a:pt x="198" y="912"/>
                  </a:lnTo>
                  <a:lnTo>
                    <a:pt x="192" y="930"/>
                  </a:lnTo>
                  <a:lnTo>
                    <a:pt x="150" y="972"/>
                  </a:lnTo>
                  <a:lnTo>
                    <a:pt x="150" y="978"/>
                  </a:lnTo>
                  <a:lnTo>
                    <a:pt x="162" y="912"/>
                  </a:lnTo>
                  <a:lnTo>
                    <a:pt x="144" y="918"/>
                  </a:lnTo>
                  <a:lnTo>
                    <a:pt x="120" y="978"/>
                  </a:lnTo>
                  <a:lnTo>
                    <a:pt x="90" y="1038"/>
                  </a:lnTo>
                  <a:lnTo>
                    <a:pt x="90" y="1056"/>
                  </a:lnTo>
                  <a:lnTo>
                    <a:pt x="96" y="1062"/>
                  </a:lnTo>
                  <a:lnTo>
                    <a:pt x="108" y="1068"/>
                  </a:lnTo>
                  <a:lnTo>
                    <a:pt x="114" y="1068"/>
                  </a:lnTo>
                  <a:lnTo>
                    <a:pt x="108" y="1080"/>
                  </a:lnTo>
                  <a:lnTo>
                    <a:pt x="96" y="1086"/>
                  </a:lnTo>
                  <a:lnTo>
                    <a:pt x="90" y="1098"/>
                  </a:lnTo>
                  <a:lnTo>
                    <a:pt x="66" y="1122"/>
                  </a:lnTo>
                  <a:lnTo>
                    <a:pt x="66" y="1134"/>
                  </a:lnTo>
                  <a:lnTo>
                    <a:pt x="72" y="1152"/>
                  </a:lnTo>
                  <a:lnTo>
                    <a:pt x="72" y="1164"/>
                  </a:lnTo>
                  <a:lnTo>
                    <a:pt x="84" y="1188"/>
                  </a:lnTo>
                  <a:lnTo>
                    <a:pt x="84" y="1200"/>
                  </a:lnTo>
                  <a:lnTo>
                    <a:pt x="102" y="1236"/>
                  </a:lnTo>
                  <a:lnTo>
                    <a:pt x="108" y="1254"/>
                  </a:lnTo>
                  <a:lnTo>
                    <a:pt x="114" y="1266"/>
                  </a:lnTo>
                  <a:lnTo>
                    <a:pt x="114" y="1278"/>
                  </a:lnTo>
                  <a:lnTo>
                    <a:pt x="108" y="1278"/>
                  </a:lnTo>
                  <a:lnTo>
                    <a:pt x="96" y="1266"/>
                  </a:lnTo>
                  <a:lnTo>
                    <a:pt x="90" y="1254"/>
                  </a:lnTo>
                  <a:lnTo>
                    <a:pt x="72" y="1236"/>
                  </a:lnTo>
                  <a:lnTo>
                    <a:pt x="66" y="1224"/>
                  </a:lnTo>
                  <a:lnTo>
                    <a:pt x="48" y="1218"/>
                  </a:lnTo>
                  <a:lnTo>
                    <a:pt x="66" y="1266"/>
                  </a:lnTo>
                  <a:lnTo>
                    <a:pt x="30" y="1236"/>
                  </a:lnTo>
                  <a:lnTo>
                    <a:pt x="30" y="1290"/>
                  </a:lnTo>
                  <a:lnTo>
                    <a:pt x="60" y="1350"/>
                  </a:lnTo>
                  <a:lnTo>
                    <a:pt x="66" y="1356"/>
                  </a:lnTo>
                  <a:lnTo>
                    <a:pt x="66" y="1368"/>
                  </a:lnTo>
                  <a:lnTo>
                    <a:pt x="60" y="1374"/>
                  </a:lnTo>
                  <a:lnTo>
                    <a:pt x="54" y="1386"/>
                  </a:lnTo>
                  <a:lnTo>
                    <a:pt x="54" y="1398"/>
                  </a:lnTo>
                  <a:lnTo>
                    <a:pt x="48" y="1410"/>
                  </a:lnTo>
                  <a:lnTo>
                    <a:pt x="54" y="1416"/>
                  </a:lnTo>
                  <a:lnTo>
                    <a:pt x="60" y="1428"/>
                  </a:lnTo>
                  <a:lnTo>
                    <a:pt x="78" y="1446"/>
                  </a:lnTo>
                  <a:lnTo>
                    <a:pt x="84" y="1458"/>
                  </a:lnTo>
                  <a:lnTo>
                    <a:pt x="90" y="1464"/>
                  </a:lnTo>
                  <a:lnTo>
                    <a:pt x="96" y="1476"/>
                  </a:lnTo>
                  <a:lnTo>
                    <a:pt x="96" y="1506"/>
                  </a:lnTo>
                  <a:lnTo>
                    <a:pt x="90" y="1518"/>
                  </a:lnTo>
                  <a:lnTo>
                    <a:pt x="84" y="1524"/>
                  </a:lnTo>
                  <a:lnTo>
                    <a:pt x="90" y="1542"/>
                  </a:lnTo>
                  <a:lnTo>
                    <a:pt x="90" y="1554"/>
                  </a:lnTo>
                  <a:lnTo>
                    <a:pt x="96" y="1572"/>
                  </a:lnTo>
                  <a:lnTo>
                    <a:pt x="96" y="1590"/>
                  </a:lnTo>
                  <a:lnTo>
                    <a:pt x="102" y="1596"/>
                  </a:lnTo>
                  <a:lnTo>
                    <a:pt x="102" y="1602"/>
                  </a:lnTo>
                  <a:lnTo>
                    <a:pt x="96" y="1602"/>
                  </a:lnTo>
                  <a:lnTo>
                    <a:pt x="78" y="1620"/>
                  </a:lnTo>
                  <a:lnTo>
                    <a:pt x="84" y="1626"/>
                  </a:lnTo>
                  <a:lnTo>
                    <a:pt x="84" y="1638"/>
                  </a:lnTo>
                  <a:lnTo>
                    <a:pt x="90" y="1650"/>
                  </a:lnTo>
                  <a:lnTo>
                    <a:pt x="90" y="1662"/>
                  </a:lnTo>
                  <a:lnTo>
                    <a:pt x="96" y="1668"/>
                  </a:lnTo>
                  <a:lnTo>
                    <a:pt x="96" y="1674"/>
                  </a:lnTo>
                  <a:lnTo>
                    <a:pt x="102" y="1674"/>
                  </a:lnTo>
                  <a:lnTo>
                    <a:pt x="108" y="1680"/>
                  </a:lnTo>
                  <a:lnTo>
                    <a:pt x="126" y="1716"/>
                  </a:lnTo>
                  <a:lnTo>
                    <a:pt x="126" y="1728"/>
                  </a:lnTo>
                  <a:lnTo>
                    <a:pt x="108" y="1764"/>
                  </a:lnTo>
                  <a:lnTo>
                    <a:pt x="90" y="1782"/>
                  </a:lnTo>
                  <a:lnTo>
                    <a:pt x="90" y="1824"/>
                  </a:lnTo>
                  <a:lnTo>
                    <a:pt x="84" y="1842"/>
                  </a:lnTo>
                  <a:lnTo>
                    <a:pt x="60" y="1866"/>
                  </a:lnTo>
                  <a:lnTo>
                    <a:pt x="42" y="1866"/>
                  </a:lnTo>
                  <a:lnTo>
                    <a:pt x="30" y="1872"/>
                  </a:lnTo>
                  <a:lnTo>
                    <a:pt x="18" y="1866"/>
                  </a:lnTo>
                  <a:lnTo>
                    <a:pt x="6" y="1866"/>
                  </a:lnTo>
                  <a:lnTo>
                    <a:pt x="0" y="1920"/>
                  </a:lnTo>
                  <a:lnTo>
                    <a:pt x="12" y="1920"/>
                  </a:lnTo>
                  <a:lnTo>
                    <a:pt x="24" y="1926"/>
                  </a:lnTo>
                  <a:lnTo>
                    <a:pt x="42" y="1926"/>
                  </a:lnTo>
                  <a:lnTo>
                    <a:pt x="54" y="1932"/>
                  </a:lnTo>
                  <a:lnTo>
                    <a:pt x="72" y="1950"/>
                  </a:lnTo>
                  <a:lnTo>
                    <a:pt x="78" y="1962"/>
                  </a:lnTo>
                  <a:lnTo>
                    <a:pt x="108" y="1956"/>
                  </a:lnTo>
                  <a:lnTo>
                    <a:pt x="114" y="1968"/>
                  </a:lnTo>
                  <a:lnTo>
                    <a:pt x="138" y="1980"/>
                  </a:lnTo>
                  <a:lnTo>
                    <a:pt x="174" y="1980"/>
                  </a:lnTo>
                  <a:lnTo>
                    <a:pt x="210" y="1968"/>
                  </a:lnTo>
                  <a:lnTo>
                    <a:pt x="234" y="1968"/>
                  </a:lnTo>
                  <a:lnTo>
                    <a:pt x="234" y="1950"/>
                  </a:lnTo>
                  <a:lnTo>
                    <a:pt x="228" y="1944"/>
                  </a:lnTo>
                  <a:lnTo>
                    <a:pt x="264" y="1950"/>
                  </a:lnTo>
                  <a:lnTo>
                    <a:pt x="276" y="1932"/>
                  </a:lnTo>
                  <a:lnTo>
                    <a:pt x="318" y="1926"/>
                  </a:lnTo>
                  <a:lnTo>
                    <a:pt x="354" y="1890"/>
                  </a:lnTo>
                  <a:lnTo>
                    <a:pt x="366" y="1884"/>
                  </a:lnTo>
                  <a:lnTo>
                    <a:pt x="372" y="1884"/>
                  </a:lnTo>
                  <a:lnTo>
                    <a:pt x="420" y="1908"/>
                  </a:lnTo>
                  <a:lnTo>
                    <a:pt x="426" y="1902"/>
                  </a:lnTo>
                  <a:lnTo>
                    <a:pt x="474" y="1878"/>
                  </a:lnTo>
                  <a:lnTo>
                    <a:pt x="480" y="1872"/>
                  </a:lnTo>
                  <a:lnTo>
                    <a:pt x="486" y="1872"/>
                  </a:lnTo>
                  <a:lnTo>
                    <a:pt x="498" y="1878"/>
                  </a:lnTo>
                  <a:lnTo>
                    <a:pt x="504" y="1884"/>
                  </a:lnTo>
                  <a:lnTo>
                    <a:pt x="516" y="1884"/>
                  </a:lnTo>
                  <a:lnTo>
                    <a:pt x="528" y="1890"/>
                  </a:lnTo>
                  <a:lnTo>
                    <a:pt x="534" y="1890"/>
                  </a:lnTo>
                  <a:lnTo>
                    <a:pt x="552" y="1884"/>
                  </a:lnTo>
                  <a:lnTo>
                    <a:pt x="576" y="1872"/>
                  </a:lnTo>
                  <a:lnTo>
                    <a:pt x="582" y="1872"/>
                  </a:lnTo>
                  <a:lnTo>
                    <a:pt x="594" y="1878"/>
                  </a:lnTo>
                  <a:lnTo>
                    <a:pt x="606" y="1878"/>
                  </a:lnTo>
                  <a:lnTo>
                    <a:pt x="624" y="1884"/>
                  </a:lnTo>
                  <a:lnTo>
                    <a:pt x="636" y="1884"/>
                  </a:lnTo>
                  <a:lnTo>
                    <a:pt x="648" y="1878"/>
                  </a:lnTo>
                  <a:lnTo>
                    <a:pt x="654" y="1872"/>
                  </a:lnTo>
                  <a:lnTo>
                    <a:pt x="654" y="1848"/>
                  </a:lnTo>
                  <a:lnTo>
                    <a:pt x="666" y="1848"/>
                  </a:lnTo>
                  <a:lnTo>
                    <a:pt x="672" y="1842"/>
                  </a:lnTo>
                  <a:lnTo>
                    <a:pt x="678" y="1842"/>
                  </a:lnTo>
                  <a:lnTo>
                    <a:pt x="684" y="1836"/>
                  </a:lnTo>
                  <a:lnTo>
                    <a:pt x="690" y="1824"/>
                  </a:lnTo>
                  <a:lnTo>
                    <a:pt x="702" y="1788"/>
                  </a:lnTo>
                  <a:lnTo>
                    <a:pt x="714" y="1776"/>
                  </a:lnTo>
                  <a:lnTo>
                    <a:pt x="726" y="1770"/>
                  </a:lnTo>
                  <a:lnTo>
                    <a:pt x="744" y="1764"/>
                  </a:lnTo>
                  <a:lnTo>
                    <a:pt x="756" y="1764"/>
                  </a:lnTo>
                  <a:lnTo>
                    <a:pt x="774" y="1770"/>
                  </a:lnTo>
                  <a:lnTo>
                    <a:pt x="798" y="1770"/>
                  </a:lnTo>
                  <a:lnTo>
                    <a:pt x="822" y="1758"/>
                  </a:lnTo>
                  <a:lnTo>
                    <a:pt x="840" y="1752"/>
                  </a:lnTo>
                  <a:lnTo>
                    <a:pt x="858" y="1740"/>
                  </a:lnTo>
                  <a:lnTo>
                    <a:pt x="876" y="1734"/>
                  </a:lnTo>
                  <a:lnTo>
                    <a:pt x="912" y="1734"/>
                  </a:lnTo>
                  <a:lnTo>
                    <a:pt x="918" y="1740"/>
                  </a:lnTo>
                  <a:lnTo>
                    <a:pt x="930" y="1740"/>
                  </a:lnTo>
                  <a:lnTo>
                    <a:pt x="942" y="1746"/>
                  </a:lnTo>
                  <a:lnTo>
                    <a:pt x="972" y="1740"/>
                  </a:lnTo>
                  <a:lnTo>
                    <a:pt x="1044" y="1704"/>
                  </a:lnTo>
                  <a:lnTo>
                    <a:pt x="1074" y="1692"/>
                  </a:lnTo>
                  <a:lnTo>
                    <a:pt x="1098" y="1686"/>
                  </a:lnTo>
                  <a:lnTo>
                    <a:pt x="1140" y="1680"/>
                  </a:lnTo>
                  <a:lnTo>
                    <a:pt x="1176" y="1674"/>
                  </a:lnTo>
                  <a:lnTo>
                    <a:pt x="1224" y="1674"/>
                  </a:lnTo>
                  <a:lnTo>
                    <a:pt x="1236" y="1662"/>
                  </a:lnTo>
                  <a:lnTo>
                    <a:pt x="1254" y="1680"/>
                  </a:lnTo>
                  <a:lnTo>
                    <a:pt x="1266" y="1686"/>
                  </a:lnTo>
                  <a:lnTo>
                    <a:pt x="1278" y="1698"/>
                  </a:lnTo>
                  <a:lnTo>
                    <a:pt x="1302" y="1710"/>
                  </a:lnTo>
                  <a:lnTo>
                    <a:pt x="1320" y="1716"/>
                  </a:lnTo>
                  <a:lnTo>
                    <a:pt x="1332" y="1716"/>
                  </a:lnTo>
                  <a:lnTo>
                    <a:pt x="1338" y="1710"/>
                  </a:lnTo>
                  <a:lnTo>
                    <a:pt x="1338" y="1716"/>
                  </a:lnTo>
                  <a:lnTo>
                    <a:pt x="1344" y="1722"/>
                  </a:lnTo>
                  <a:lnTo>
                    <a:pt x="1350" y="1734"/>
                  </a:lnTo>
                  <a:lnTo>
                    <a:pt x="1356" y="1740"/>
                  </a:lnTo>
                  <a:lnTo>
                    <a:pt x="1374" y="1740"/>
                  </a:lnTo>
                  <a:lnTo>
                    <a:pt x="1380" y="1734"/>
                  </a:lnTo>
                  <a:lnTo>
                    <a:pt x="1380" y="1752"/>
                  </a:lnTo>
                  <a:lnTo>
                    <a:pt x="1392" y="1752"/>
                  </a:lnTo>
                  <a:lnTo>
                    <a:pt x="1398" y="1758"/>
                  </a:lnTo>
                  <a:lnTo>
                    <a:pt x="1398" y="1770"/>
                  </a:lnTo>
                  <a:lnTo>
                    <a:pt x="1386" y="1794"/>
                  </a:lnTo>
                  <a:lnTo>
                    <a:pt x="1380" y="1800"/>
                  </a:lnTo>
                  <a:lnTo>
                    <a:pt x="1374" y="1812"/>
                  </a:lnTo>
                  <a:lnTo>
                    <a:pt x="1392" y="1842"/>
                  </a:lnTo>
                  <a:lnTo>
                    <a:pt x="1410" y="1830"/>
                  </a:lnTo>
                  <a:lnTo>
                    <a:pt x="1428" y="1866"/>
                  </a:lnTo>
                  <a:lnTo>
                    <a:pt x="1428" y="1872"/>
                  </a:lnTo>
                  <a:lnTo>
                    <a:pt x="1434" y="1878"/>
                  </a:lnTo>
                  <a:lnTo>
                    <a:pt x="1434" y="1902"/>
                  </a:lnTo>
                  <a:lnTo>
                    <a:pt x="1440" y="1914"/>
                  </a:lnTo>
                  <a:lnTo>
                    <a:pt x="1440" y="1926"/>
                  </a:lnTo>
                  <a:lnTo>
                    <a:pt x="1422" y="1926"/>
                  </a:lnTo>
                  <a:lnTo>
                    <a:pt x="1410" y="1920"/>
                  </a:lnTo>
                  <a:lnTo>
                    <a:pt x="1404" y="1920"/>
                  </a:lnTo>
                  <a:lnTo>
                    <a:pt x="1410" y="1956"/>
                  </a:lnTo>
                  <a:lnTo>
                    <a:pt x="1446" y="1956"/>
                  </a:lnTo>
                  <a:lnTo>
                    <a:pt x="1452" y="1962"/>
                  </a:lnTo>
                  <a:lnTo>
                    <a:pt x="1452" y="1968"/>
                  </a:lnTo>
                  <a:lnTo>
                    <a:pt x="1470" y="1968"/>
                  </a:lnTo>
                  <a:lnTo>
                    <a:pt x="1470" y="1956"/>
                  </a:lnTo>
                  <a:lnTo>
                    <a:pt x="1464" y="1938"/>
                  </a:lnTo>
                  <a:lnTo>
                    <a:pt x="1464" y="1926"/>
                  </a:lnTo>
                  <a:lnTo>
                    <a:pt x="1470" y="1914"/>
                  </a:lnTo>
                  <a:lnTo>
                    <a:pt x="1476" y="1908"/>
                  </a:lnTo>
                  <a:lnTo>
                    <a:pt x="1500" y="1896"/>
                  </a:lnTo>
                  <a:lnTo>
                    <a:pt x="1512" y="1896"/>
                  </a:lnTo>
                  <a:lnTo>
                    <a:pt x="1518" y="1890"/>
                  </a:lnTo>
                  <a:lnTo>
                    <a:pt x="1530" y="1884"/>
                  </a:lnTo>
                  <a:lnTo>
                    <a:pt x="1542" y="1872"/>
                  </a:lnTo>
                  <a:lnTo>
                    <a:pt x="1548" y="1860"/>
                  </a:lnTo>
                  <a:lnTo>
                    <a:pt x="1566" y="1842"/>
                  </a:lnTo>
                  <a:lnTo>
                    <a:pt x="1566" y="1836"/>
                  </a:lnTo>
                  <a:lnTo>
                    <a:pt x="1590" y="1842"/>
                  </a:lnTo>
                  <a:lnTo>
                    <a:pt x="1608" y="1788"/>
                  </a:lnTo>
                  <a:lnTo>
                    <a:pt x="1638" y="1788"/>
                  </a:lnTo>
                  <a:lnTo>
                    <a:pt x="1650" y="1782"/>
                  </a:lnTo>
                  <a:lnTo>
                    <a:pt x="1662" y="1770"/>
                  </a:lnTo>
                  <a:lnTo>
                    <a:pt x="1668" y="1752"/>
                  </a:lnTo>
                  <a:lnTo>
                    <a:pt x="1668" y="1740"/>
                  </a:lnTo>
                  <a:lnTo>
                    <a:pt x="1668" y="1746"/>
                  </a:lnTo>
                  <a:lnTo>
                    <a:pt x="1674" y="1752"/>
                  </a:lnTo>
                  <a:lnTo>
                    <a:pt x="1674" y="1764"/>
                  </a:lnTo>
                  <a:lnTo>
                    <a:pt x="1680" y="1776"/>
                  </a:lnTo>
                  <a:lnTo>
                    <a:pt x="1680" y="1782"/>
                  </a:lnTo>
                  <a:lnTo>
                    <a:pt x="1668" y="1794"/>
                  </a:lnTo>
                  <a:lnTo>
                    <a:pt x="1662" y="1806"/>
                  </a:lnTo>
                  <a:lnTo>
                    <a:pt x="1650" y="1812"/>
                  </a:lnTo>
                  <a:lnTo>
                    <a:pt x="1644" y="1818"/>
                  </a:lnTo>
                  <a:lnTo>
                    <a:pt x="1620" y="1818"/>
                  </a:lnTo>
                  <a:lnTo>
                    <a:pt x="1614" y="1830"/>
                  </a:lnTo>
                  <a:lnTo>
                    <a:pt x="1632" y="1866"/>
                  </a:lnTo>
                  <a:lnTo>
                    <a:pt x="1620" y="1866"/>
                  </a:lnTo>
                  <a:lnTo>
                    <a:pt x="1614" y="1872"/>
                  </a:lnTo>
                  <a:lnTo>
                    <a:pt x="1602" y="1878"/>
                  </a:lnTo>
                  <a:lnTo>
                    <a:pt x="1566" y="1914"/>
                  </a:lnTo>
                  <a:lnTo>
                    <a:pt x="1566" y="1926"/>
                  </a:lnTo>
                  <a:lnTo>
                    <a:pt x="1560" y="1932"/>
                  </a:lnTo>
                  <a:lnTo>
                    <a:pt x="1554" y="1944"/>
                  </a:lnTo>
                  <a:lnTo>
                    <a:pt x="1542" y="1956"/>
                  </a:lnTo>
                  <a:lnTo>
                    <a:pt x="1518" y="1968"/>
                  </a:lnTo>
                  <a:lnTo>
                    <a:pt x="1512" y="1974"/>
                  </a:lnTo>
                  <a:lnTo>
                    <a:pt x="1512" y="1980"/>
                  </a:lnTo>
                  <a:lnTo>
                    <a:pt x="1518" y="1986"/>
                  </a:lnTo>
                  <a:lnTo>
                    <a:pt x="1548" y="1986"/>
                  </a:lnTo>
                  <a:lnTo>
                    <a:pt x="1560" y="1980"/>
                  </a:lnTo>
                  <a:lnTo>
                    <a:pt x="1572" y="1980"/>
                  </a:lnTo>
                  <a:lnTo>
                    <a:pt x="1584" y="1968"/>
                  </a:lnTo>
                  <a:lnTo>
                    <a:pt x="1602" y="1932"/>
                  </a:lnTo>
                  <a:lnTo>
                    <a:pt x="1608" y="1926"/>
                  </a:lnTo>
                  <a:lnTo>
                    <a:pt x="1614" y="1914"/>
                  </a:lnTo>
                  <a:lnTo>
                    <a:pt x="1626" y="1908"/>
                  </a:lnTo>
                  <a:lnTo>
                    <a:pt x="1632" y="1902"/>
                  </a:lnTo>
                  <a:lnTo>
                    <a:pt x="1632" y="1920"/>
                  </a:lnTo>
                  <a:lnTo>
                    <a:pt x="1638" y="1932"/>
                  </a:lnTo>
                  <a:lnTo>
                    <a:pt x="1638" y="1956"/>
                  </a:lnTo>
                  <a:lnTo>
                    <a:pt x="1626" y="1968"/>
                  </a:lnTo>
                  <a:lnTo>
                    <a:pt x="1614" y="1974"/>
                  </a:lnTo>
                  <a:lnTo>
                    <a:pt x="1602" y="1986"/>
                  </a:lnTo>
                  <a:lnTo>
                    <a:pt x="1602" y="2004"/>
                  </a:lnTo>
                  <a:lnTo>
                    <a:pt x="1608" y="2010"/>
                  </a:lnTo>
                  <a:lnTo>
                    <a:pt x="1614" y="2010"/>
                  </a:lnTo>
                  <a:lnTo>
                    <a:pt x="1632" y="2016"/>
                  </a:lnTo>
                  <a:lnTo>
                    <a:pt x="1662" y="2016"/>
                  </a:lnTo>
                  <a:lnTo>
                    <a:pt x="1668" y="2028"/>
                  </a:lnTo>
                  <a:lnTo>
                    <a:pt x="1644" y="2052"/>
                  </a:lnTo>
                  <a:lnTo>
                    <a:pt x="1644" y="2058"/>
                  </a:lnTo>
                  <a:lnTo>
                    <a:pt x="1650" y="2064"/>
                  </a:lnTo>
                  <a:lnTo>
                    <a:pt x="1668" y="2100"/>
                  </a:lnTo>
                  <a:lnTo>
                    <a:pt x="1674" y="2106"/>
                  </a:lnTo>
                  <a:lnTo>
                    <a:pt x="1674" y="2118"/>
                  </a:lnTo>
                  <a:lnTo>
                    <a:pt x="1626" y="2166"/>
                  </a:lnTo>
                  <a:lnTo>
                    <a:pt x="1626" y="2178"/>
                  </a:lnTo>
                  <a:lnTo>
                    <a:pt x="1638" y="2190"/>
                  </a:lnTo>
                  <a:lnTo>
                    <a:pt x="1644" y="2202"/>
                  </a:lnTo>
                  <a:lnTo>
                    <a:pt x="1668" y="2214"/>
                  </a:lnTo>
                  <a:lnTo>
                    <a:pt x="1680" y="2226"/>
                  </a:lnTo>
                  <a:lnTo>
                    <a:pt x="1692" y="2232"/>
                  </a:lnTo>
                  <a:lnTo>
                    <a:pt x="1716" y="2256"/>
                  </a:lnTo>
                  <a:lnTo>
                    <a:pt x="1728" y="2262"/>
                  </a:lnTo>
                  <a:lnTo>
                    <a:pt x="1800" y="2262"/>
                  </a:lnTo>
                  <a:lnTo>
                    <a:pt x="1824" y="2286"/>
                  </a:lnTo>
                  <a:lnTo>
                    <a:pt x="1842" y="2292"/>
                  </a:lnTo>
                  <a:lnTo>
                    <a:pt x="1872" y="2286"/>
                  </a:lnTo>
                  <a:lnTo>
                    <a:pt x="1902" y="2274"/>
                  </a:lnTo>
                  <a:lnTo>
                    <a:pt x="1932" y="2256"/>
                  </a:lnTo>
                  <a:lnTo>
                    <a:pt x="1944" y="2250"/>
                  </a:lnTo>
                  <a:lnTo>
                    <a:pt x="1944" y="2226"/>
                  </a:lnTo>
                  <a:lnTo>
                    <a:pt x="1956" y="2214"/>
                  </a:lnTo>
                  <a:lnTo>
                    <a:pt x="1962" y="2214"/>
                  </a:lnTo>
                  <a:lnTo>
                    <a:pt x="1974" y="2226"/>
                  </a:lnTo>
                  <a:lnTo>
                    <a:pt x="1974" y="2256"/>
                  </a:lnTo>
                  <a:lnTo>
                    <a:pt x="1992" y="2256"/>
                  </a:lnTo>
                  <a:lnTo>
                    <a:pt x="1980" y="2280"/>
                  </a:lnTo>
                  <a:lnTo>
                    <a:pt x="1998" y="2280"/>
                  </a:lnTo>
                  <a:lnTo>
                    <a:pt x="1998" y="2292"/>
                  </a:lnTo>
                  <a:lnTo>
                    <a:pt x="2004" y="2298"/>
                  </a:lnTo>
                  <a:lnTo>
                    <a:pt x="2010" y="2310"/>
                  </a:lnTo>
                  <a:lnTo>
                    <a:pt x="2016" y="2316"/>
                  </a:lnTo>
                  <a:lnTo>
                    <a:pt x="2028" y="2316"/>
                  </a:lnTo>
                  <a:lnTo>
                    <a:pt x="2040" y="2304"/>
                  </a:lnTo>
                  <a:lnTo>
                    <a:pt x="2046" y="2304"/>
                  </a:lnTo>
                  <a:lnTo>
                    <a:pt x="2052" y="2298"/>
                  </a:lnTo>
                  <a:lnTo>
                    <a:pt x="2070" y="2292"/>
                  </a:lnTo>
                  <a:lnTo>
                    <a:pt x="2082" y="2286"/>
                  </a:lnTo>
                  <a:lnTo>
                    <a:pt x="2088" y="2280"/>
                  </a:lnTo>
                  <a:lnTo>
                    <a:pt x="2100" y="2274"/>
                  </a:lnTo>
                  <a:lnTo>
                    <a:pt x="2124" y="2250"/>
                  </a:lnTo>
                  <a:lnTo>
                    <a:pt x="2136" y="2244"/>
                  </a:lnTo>
                  <a:lnTo>
                    <a:pt x="2148" y="2232"/>
                  </a:lnTo>
                  <a:lnTo>
                    <a:pt x="2160" y="2226"/>
                  </a:lnTo>
                  <a:lnTo>
                    <a:pt x="2154" y="2214"/>
                  </a:lnTo>
                  <a:lnTo>
                    <a:pt x="2190" y="2202"/>
                  </a:lnTo>
                  <a:lnTo>
                    <a:pt x="2202" y="2214"/>
                  </a:lnTo>
                  <a:lnTo>
                    <a:pt x="2220" y="2214"/>
                  </a:lnTo>
                  <a:lnTo>
                    <a:pt x="2256" y="2208"/>
                  </a:lnTo>
                  <a:lnTo>
                    <a:pt x="2298" y="2196"/>
                  </a:lnTo>
                  <a:lnTo>
                    <a:pt x="2316" y="2178"/>
                  </a:lnTo>
                  <a:lnTo>
                    <a:pt x="2328" y="2148"/>
                  </a:lnTo>
                  <a:lnTo>
                    <a:pt x="2334" y="2118"/>
                  </a:lnTo>
                  <a:lnTo>
                    <a:pt x="2340" y="2100"/>
                  </a:lnTo>
                  <a:lnTo>
                    <a:pt x="2346" y="2088"/>
                  </a:lnTo>
                  <a:lnTo>
                    <a:pt x="2376" y="2058"/>
                  </a:lnTo>
                  <a:lnTo>
                    <a:pt x="2382" y="2058"/>
                  </a:lnTo>
                  <a:lnTo>
                    <a:pt x="2382" y="2034"/>
                  </a:lnTo>
                  <a:lnTo>
                    <a:pt x="2388" y="2034"/>
                  </a:lnTo>
                  <a:lnTo>
                    <a:pt x="2394" y="2028"/>
                  </a:lnTo>
                  <a:lnTo>
                    <a:pt x="2406" y="2022"/>
                  </a:lnTo>
                  <a:lnTo>
                    <a:pt x="2418" y="2010"/>
                  </a:lnTo>
                  <a:lnTo>
                    <a:pt x="2424" y="1998"/>
                  </a:lnTo>
                  <a:lnTo>
                    <a:pt x="2442" y="1980"/>
                  </a:lnTo>
                  <a:lnTo>
                    <a:pt x="2442" y="1956"/>
                  </a:lnTo>
                  <a:lnTo>
                    <a:pt x="2448" y="1944"/>
                  </a:lnTo>
                  <a:lnTo>
                    <a:pt x="2454" y="1926"/>
                  </a:lnTo>
                  <a:lnTo>
                    <a:pt x="2460" y="1914"/>
                  </a:lnTo>
                  <a:lnTo>
                    <a:pt x="2490" y="1884"/>
                  </a:lnTo>
                  <a:lnTo>
                    <a:pt x="2502" y="1866"/>
                  </a:lnTo>
                  <a:lnTo>
                    <a:pt x="2526" y="1842"/>
                  </a:lnTo>
                  <a:lnTo>
                    <a:pt x="2538" y="1836"/>
                  </a:lnTo>
                  <a:lnTo>
                    <a:pt x="2550" y="1824"/>
                  </a:lnTo>
                  <a:lnTo>
                    <a:pt x="2556" y="1812"/>
                  </a:lnTo>
                  <a:lnTo>
                    <a:pt x="2556" y="1800"/>
                  </a:lnTo>
                  <a:lnTo>
                    <a:pt x="2562" y="1788"/>
                  </a:lnTo>
                  <a:lnTo>
                    <a:pt x="2562" y="1782"/>
                  </a:lnTo>
                  <a:lnTo>
                    <a:pt x="2586" y="1782"/>
                  </a:lnTo>
                  <a:lnTo>
                    <a:pt x="2610" y="1770"/>
                  </a:lnTo>
                  <a:lnTo>
                    <a:pt x="2622" y="1752"/>
                  </a:lnTo>
                  <a:lnTo>
                    <a:pt x="2646" y="1728"/>
                  </a:lnTo>
                  <a:lnTo>
                    <a:pt x="2670" y="1698"/>
                  </a:lnTo>
                  <a:lnTo>
                    <a:pt x="2688" y="1674"/>
                  </a:lnTo>
                  <a:lnTo>
                    <a:pt x="2700" y="1662"/>
                  </a:lnTo>
                  <a:lnTo>
                    <a:pt x="2700" y="1656"/>
                  </a:lnTo>
                  <a:lnTo>
                    <a:pt x="2706" y="1638"/>
                  </a:lnTo>
                  <a:lnTo>
                    <a:pt x="2706" y="1614"/>
                  </a:lnTo>
                  <a:lnTo>
                    <a:pt x="2712" y="1596"/>
                  </a:lnTo>
                  <a:lnTo>
                    <a:pt x="2718" y="1590"/>
                  </a:lnTo>
                  <a:lnTo>
                    <a:pt x="2730" y="1572"/>
                  </a:lnTo>
                  <a:lnTo>
                    <a:pt x="2754" y="1542"/>
                  </a:lnTo>
                  <a:lnTo>
                    <a:pt x="2772" y="1494"/>
                  </a:lnTo>
                  <a:lnTo>
                    <a:pt x="2796" y="1458"/>
                  </a:lnTo>
                  <a:lnTo>
                    <a:pt x="2808" y="1428"/>
                  </a:lnTo>
                  <a:lnTo>
                    <a:pt x="2814" y="1416"/>
                  </a:lnTo>
                  <a:lnTo>
                    <a:pt x="2814" y="1386"/>
                  </a:lnTo>
                  <a:lnTo>
                    <a:pt x="2802" y="1362"/>
                  </a:lnTo>
                  <a:lnTo>
                    <a:pt x="2820" y="1308"/>
                  </a:lnTo>
                  <a:lnTo>
                    <a:pt x="2832" y="1290"/>
                  </a:lnTo>
                  <a:lnTo>
                    <a:pt x="2838" y="1266"/>
                  </a:lnTo>
                  <a:lnTo>
                    <a:pt x="2838" y="1224"/>
                  </a:lnTo>
                  <a:lnTo>
                    <a:pt x="2832" y="1194"/>
                  </a:lnTo>
                  <a:lnTo>
                    <a:pt x="2832" y="1176"/>
                  </a:lnTo>
                  <a:lnTo>
                    <a:pt x="2802" y="1164"/>
                  </a:lnTo>
                  <a:close/>
                  <a:moveTo>
                    <a:pt x="2016" y="2436"/>
                  </a:moveTo>
                  <a:lnTo>
                    <a:pt x="2022" y="2442"/>
                  </a:lnTo>
                  <a:lnTo>
                    <a:pt x="2028" y="2442"/>
                  </a:lnTo>
                  <a:lnTo>
                    <a:pt x="2040" y="2436"/>
                  </a:lnTo>
                  <a:lnTo>
                    <a:pt x="2046" y="2430"/>
                  </a:lnTo>
                  <a:lnTo>
                    <a:pt x="2034" y="2418"/>
                  </a:lnTo>
                  <a:lnTo>
                    <a:pt x="2016" y="2436"/>
                  </a:lnTo>
                  <a:close/>
                  <a:moveTo>
                    <a:pt x="1992" y="2454"/>
                  </a:moveTo>
                  <a:lnTo>
                    <a:pt x="1974" y="2454"/>
                  </a:lnTo>
                  <a:lnTo>
                    <a:pt x="1962" y="2466"/>
                  </a:lnTo>
                  <a:lnTo>
                    <a:pt x="1962" y="2472"/>
                  </a:lnTo>
                  <a:lnTo>
                    <a:pt x="1962" y="2460"/>
                  </a:lnTo>
                  <a:lnTo>
                    <a:pt x="1938" y="2460"/>
                  </a:lnTo>
                  <a:lnTo>
                    <a:pt x="1926" y="2466"/>
                  </a:lnTo>
                  <a:lnTo>
                    <a:pt x="1914" y="2466"/>
                  </a:lnTo>
                  <a:lnTo>
                    <a:pt x="1908" y="2478"/>
                  </a:lnTo>
                  <a:lnTo>
                    <a:pt x="1890" y="2460"/>
                  </a:lnTo>
                  <a:lnTo>
                    <a:pt x="1854" y="2460"/>
                  </a:lnTo>
                  <a:lnTo>
                    <a:pt x="1830" y="2430"/>
                  </a:lnTo>
                  <a:lnTo>
                    <a:pt x="1824" y="2436"/>
                  </a:lnTo>
                  <a:lnTo>
                    <a:pt x="1818" y="2436"/>
                  </a:lnTo>
                  <a:lnTo>
                    <a:pt x="1812" y="2442"/>
                  </a:lnTo>
                  <a:lnTo>
                    <a:pt x="1806" y="2442"/>
                  </a:lnTo>
                  <a:lnTo>
                    <a:pt x="1776" y="2412"/>
                  </a:lnTo>
                  <a:lnTo>
                    <a:pt x="1776" y="2424"/>
                  </a:lnTo>
                  <a:lnTo>
                    <a:pt x="1782" y="2448"/>
                  </a:lnTo>
                  <a:lnTo>
                    <a:pt x="1782" y="2472"/>
                  </a:lnTo>
                  <a:lnTo>
                    <a:pt x="1776" y="2478"/>
                  </a:lnTo>
                  <a:lnTo>
                    <a:pt x="1776" y="2484"/>
                  </a:lnTo>
                  <a:lnTo>
                    <a:pt x="1770" y="2490"/>
                  </a:lnTo>
                  <a:lnTo>
                    <a:pt x="1770" y="2502"/>
                  </a:lnTo>
                  <a:lnTo>
                    <a:pt x="1776" y="2514"/>
                  </a:lnTo>
                  <a:lnTo>
                    <a:pt x="1776" y="2532"/>
                  </a:lnTo>
                  <a:lnTo>
                    <a:pt x="1764" y="2538"/>
                  </a:lnTo>
                  <a:lnTo>
                    <a:pt x="1758" y="2544"/>
                  </a:lnTo>
                  <a:lnTo>
                    <a:pt x="1752" y="2544"/>
                  </a:lnTo>
                  <a:lnTo>
                    <a:pt x="1740" y="2532"/>
                  </a:lnTo>
                  <a:lnTo>
                    <a:pt x="1740" y="2538"/>
                  </a:lnTo>
                  <a:lnTo>
                    <a:pt x="1734" y="2544"/>
                  </a:lnTo>
                  <a:lnTo>
                    <a:pt x="1734" y="2556"/>
                  </a:lnTo>
                  <a:lnTo>
                    <a:pt x="1728" y="2574"/>
                  </a:lnTo>
                  <a:lnTo>
                    <a:pt x="1728" y="2586"/>
                  </a:lnTo>
                  <a:lnTo>
                    <a:pt x="1740" y="2610"/>
                  </a:lnTo>
                  <a:lnTo>
                    <a:pt x="1740" y="2616"/>
                  </a:lnTo>
                  <a:lnTo>
                    <a:pt x="1746" y="2628"/>
                  </a:lnTo>
                  <a:lnTo>
                    <a:pt x="1770" y="2628"/>
                  </a:lnTo>
                  <a:lnTo>
                    <a:pt x="1752" y="2640"/>
                  </a:lnTo>
                  <a:lnTo>
                    <a:pt x="1758" y="2664"/>
                  </a:lnTo>
                  <a:lnTo>
                    <a:pt x="1770" y="2658"/>
                  </a:lnTo>
                  <a:lnTo>
                    <a:pt x="1776" y="2658"/>
                  </a:lnTo>
                  <a:lnTo>
                    <a:pt x="1782" y="2652"/>
                  </a:lnTo>
                  <a:lnTo>
                    <a:pt x="1794" y="2652"/>
                  </a:lnTo>
                  <a:lnTo>
                    <a:pt x="1800" y="2658"/>
                  </a:lnTo>
                  <a:lnTo>
                    <a:pt x="1818" y="2658"/>
                  </a:lnTo>
                  <a:lnTo>
                    <a:pt x="1830" y="2652"/>
                  </a:lnTo>
                  <a:lnTo>
                    <a:pt x="1836" y="2646"/>
                  </a:lnTo>
                  <a:lnTo>
                    <a:pt x="1842" y="2634"/>
                  </a:lnTo>
                  <a:lnTo>
                    <a:pt x="1854" y="2634"/>
                  </a:lnTo>
                  <a:lnTo>
                    <a:pt x="1860" y="2640"/>
                  </a:lnTo>
                  <a:lnTo>
                    <a:pt x="1860" y="2646"/>
                  </a:lnTo>
                  <a:lnTo>
                    <a:pt x="1848" y="2658"/>
                  </a:lnTo>
                  <a:lnTo>
                    <a:pt x="1866" y="2664"/>
                  </a:lnTo>
                  <a:lnTo>
                    <a:pt x="1884" y="2646"/>
                  </a:lnTo>
                  <a:lnTo>
                    <a:pt x="1890" y="2634"/>
                  </a:lnTo>
                  <a:lnTo>
                    <a:pt x="1902" y="2628"/>
                  </a:lnTo>
                  <a:lnTo>
                    <a:pt x="1908" y="2616"/>
                  </a:lnTo>
                  <a:lnTo>
                    <a:pt x="1920" y="2604"/>
                  </a:lnTo>
                  <a:lnTo>
                    <a:pt x="1914" y="2604"/>
                  </a:lnTo>
                  <a:lnTo>
                    <a:pt x="1902" y="2592"/>
                  </a:lnTo>
                  <a:lnTo>
                    <a:pt x="1920" y="2562"/>
                  </a:lnTo>
                  <a:lnTo>
                    <a:pt x="1950" y="2562"/>
                  </a:lnTo>
                  <a:lnTo>
                    <a:pt x="1962" y="2538"/>
                  </a:lnTo>
                  <a:lnTo>
                    <a:pt x="1962" y="2514"/>
                  </a:lnTo>
                  <a:lnTo>
                    <a:pt x="1968" y="2502"/>
                  </a:lnTo>
                  <a:lnTo>
                    <a:pt x="1980" y="2496"/>
                  </a:lnTo>
                  <a:lnTo>
                    <a:pt x="1986" y="2484"/>
                  </a:lnTo>
                  <a:lnTo>
                    <a:pt x="1992" y="2478"/>
                  </a:lnTo>
                  <a:lnTo>
                    <a:pt x="1998" y="2466"/>
                  </a:lnTo>
                  <a:lnTo>
                    <a:pt x="1998" y="2460"/>
                  </a:lnTo>
                  <a:lnTo>
                    <a:pt x="1992" y="2454"/>
                  </a:lnTo>
                  <a:close/>
                  <a:moveTo>
                    <a:pt x="1902" y="246"/>
                  </a:moveTo>
                  <a:lnTo>
                    <a:pt x="1890" y="258"/>
                  </a:lnTo>
                  <a:lnTo>
                    <a:pt x="1890" y="270"/>
                  </a:lnTo>
                  <a:lnTo>
                    <a:pt x="1884" y="282"/>
                  </a:lnTo>
                  <a:lnTo>
                    <a:pt x="1884" y="294"/>
                  </a:lnTo>
                  <a:lnTo>
                    <a:pt x="1896" y="300"/>
                  </a:lnTo>
                  <a:lnTo>
                    <a:pt x="1920" y="300"/>
                  </a:lnTo>
                  <a:lnTo>
                    <a:pt x="1926" y="294"/>
                  </a:lnTo>
                  <a:lnTo>
                    <a:pt x="1932" y="294"/>
                  </a:lnTo>
                  <a:lnTo>
                    <a:pt x="1926" y="282"/>
                  </a:lnTo>
                  <a:lnTo>
                    <a:pt x="1932" y="252"/>
                  </a:lnTo>
                  <a:lnTo>
                    <a:pt x="1920" y="252"/>
                  </a:lnTo>
                  <a:lnTo>
                    <a:pt x="1908" y="246"/>
                  </a:lnTo>
                  <a:lnTo>
                    <a:pt x="1902" y="246"/>
                  </a:lnTo>
                  <a:close/>
                  <a:moveTo>
                    <a:pt x="1770" y="2334"/>
                  </a:moveTo>
                  <a:lnTo>
                    <a:pt x="1758" y="2376"/>
                  </a:lnTo>
                  <a:lnTo>
                    <a:pt x="1812" y="2328"/>
                  </a:lnTo>
                  <a:lnTo>
                    <a:pt x="1770" y="2334"/>
                  </a:lnTo>
                  <a:close/>
                  <a:moveTo>
                    <a:pt x="2034" y="2400"/>
                  </a:moveTo>
                  <a:lnTo>
                    <a:pt x="2016" y="2358"/>
                  </a:lnTo>
                  <a:lnTo>
                    <a:pt x="1998" y="2376"/>
                  </a:lnTo>
                  <a:lnTo>
                    <a:pt x="1998" y="2394"/>
                  </a:lnTo>
                  <a:lnTo>
                    <a:pt x="2010" y="2406"/>
                  </a:lnTo>
                  <a:lnTo>
                    <a:pt x="2028" y="2406"/>
                  </a:lnTo>
                  <a:lnTo>
                    <a:pt x="2034" y="2400"/>
                  </a:lnTo>
                  <a:close/>
                </a:path>
              </a:pathLst>
            </a:custGeom>
            <a:grpFill/>
            <a:ln w="3175">
              <a:solidFill>
                <a:schemeClr val="bg1"/>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de-DE" sz="1800" b="0" i="0" u="none" strike="noStrike" kern="1200" cap="none" spc="0" normalizeH="0" baseline="0" noProof="0">
                <a:ln>
                  <a:noFill/>
                </a:ln>
                <a:solidFill>
                  <a:srgbClr val="FFC000"/>
                </a:solidFill>
                <a:effectLst/>
                <a:uLnTx/>
                <a:uFillTx/>
                <a:latin typeface="Calibri" pitchFamily="34" charset="0"/>
                <a:ea typeface="+mn-ea"/>
                <a:cs typeface="+mn-cs"/>
              </a:endParaRPr>
            </a:p>
          </p:txBody>
        </p:sp>
        <p:sp>
          <p:nvSpPr>
            <p:cNvPr id="180" name="Armenia" descr="© INSCALE GmbH, 05.05.2010&#10;http://www.presentationload.com/"/>
            <p:cNvSpPr>
              <a:spLocks/>
            </p:cNvSpPr>
            <p:nvPr/>
          </p:nvSpPr>
          <p:spPr bwMode="gray">
            <a:xfrm>
              <a:off x="5406423" y="3270073"/>
              <a:ext cx="72951" cy="64914"/>
            </a:xfrm>
            <a:custGeom>
              <a:avLst/>
              <a:gdLst>
                <a:gd name="T0" fmla="*/ 2147483647 w 222"/>
                <a:gd name="T1" fmla="*/ 2147483647 h 210"/>
                <a:gd name="T2" fmla="*/ 2147483647 w 222"/>
                <a:gd name="T3" fmla="*/ 2147483647 h 210"/>
                <a:gd name="T4" fmla="*/ 2147483647 w 222"/>
                <a:gd name="T5" fmla="*/ 2147483647 h 210"/>
                <a:gd name="T6" fmla="*/ 2147483647 w 222"/>
                <a:gd name="T7" fmla="*/ 2147483647 h 210"/>
                <a:gd name="T8" fmla="*/ 2147483647 w 222"/>
                <a:gd name="T9" fmla="*/ 2147483647 h 210"/>
                <a:gd name="T10" fmla="*/ 2147483647 w 222"/>
                <a:gd name="T11" fmla="*/ 2147483647 h 210"/>
                <a:gd name="T12" fmla="*/ 2147483647 w 222"/>
                <a:gd name="T13" fmla="*/ 2147483647 h 210"/>
                <a:gd name="T14" fmla="*/ 2147483647 w 222"/>
                <a:gd name="T15" fmla="*/ 2147483647 h 210"/>
                <a:gd name="T16" fmla="*/ 2147483647 w 222"/>
                <a:gd name="T17" fmla="*/ 2147483647 h 210"/>
                <a:gd name="T18" fmla="*/ 2147483647 w 222"/>
                <a:gd name="T19" fmla="*/ 2147483647 h 210"/>
                <a:gd name="T20" fmla="*/ 2147483647 w 222"/>
                <a:gd name="T21" fmla="*/ 2147483647 h 210"/>
                <a:gd name="T22" fmla="*/ 2147483647 w 222"/>
                <a:gd name="T23" fmla="*/ 2147483647 h 210"/>
                <a:gd name="T24" fmla="*/ 2147483647 w 222"/>
                <a:gd name="T25" fmla="*/ 2147483647 h 210"/>
                <a:gd name="T26" fmla="*/ 2147483647 w 222"/>
                <a:gd name="T27" fmla="*/ 2147483647 h 210"/>
                <a:gd name="T28" fmla="*/ 2147483647 w 222"/>
                <a:gd name="T29" fmla="*/ 2147483647 h 210"/>
                <a:gd name="T30" fmla="*/ 2147483647 w 222"/>
                <a:gd name="T31" fmla="*/ 2147483647 h 210"/>
                <a:gd name="T32" fmla="*/ 2147483647 w 222"/>
                <a:gd name="T33" fmla="*/ 2147483647 h 210"/>
                <a:gd name="T34" fmla="*/ 2147483647 w 222"/>
                <a:gd name="T35" fmla="*/ 2147483647 h 210"/>
                <a:gd name="T36" fmla="*/ 2147483647 w 222"/>
                <a:gd name="T37" fmla="*/ 2147483647 h 210"/>
                <a:gd name="T38" fmla="*/ 2147483647 w 222"/>
                <a:gd name="T39" fmla="*/ 0 h 210"/>
                <a:gd name="T40" fmla="*/ 2147483647 w 222"/>
                <a:gd name="T41" fmla="*/ 0 h 210"/>
                <a:gd name="T42" fmla="*/ 2147483647 w 222"/>
                <a:gd name="T43" fmla="*/ 2147483647 h 210"/>
                <a:gd name="T44" fmla="*/ 2147483647 w 222"/>
                <a:gd name="T45" fmla="*/ 2147483647 h 210"/>
                <a:gd name="T46" fmla="*/ 2147483647 w 222"/>
                <a:gd name="T47" fmla="*/ 2147483647 h 210"/>
                <a:gd name="T48" fmla="*/ 0 w 222"/>
                <a:gd name="T49" fmla="*/ 2147483647 h 210"/>
                <a:gd name="T50" fmla="*/ 2147483647 w 222"/>
                <a:gd name="T51" fmla="*/ 2147483647 h 210"/>
                <a:gd name="T52" fmla="*/ 2147483647 w 222"/>
                <a:gd name="T53" fmla="*/ 2147483647 h 210"/>
                <a:gd name="T54" fmla="*/ 2147483647 w 222"/>
                <a:gd name="T55" fmla="*/ 2147483647 h 210"/>
                <a:gd name="T56" fmla="*/ 2147483647 w 222"/>
                <a:gd name="T57" fmla="*/ 2147483647 h 210"/>
                <a:gd name="T58" fmla="*/ 2147483647 w 222"/>
                <a:gd name="T59" fmla="*/ 2147483647 h 210"/>
                <a:gd name="T60" fmla="*/ 2147483647 w 222"/>
                <a:gd name="T61" fmla="*/ 2147483647 h 210"/>
                <a:gd name="T62" fmla="*/ 2147483647 w 222"/>
                <a:gd name="T63" fmla="*/ 2147483647 h 210"/>
                <a:gd name="T64" fmla="*/ 2147483647 w 222"/>
                <a:gd name="T65" fmla="*/ 2147483647 h 210"/>
                <a:gd name="T66" fmla="*/ 2147483647 w 222"/>
                <a:gd name="T67" fmla="*/ 2147483647 h 210"/>
                <a:gd name="T68" fmla="*/ 2147483647 w 222"/>
                <a:gd name="T69" fmla="*/ 2147483647 h 210"/>
                <a:gd name="T70" fmla="*/ 2147483647 w 222"/>
                <a:gd name="T71" fmla="*/ 2147483647 h 210"/>
                <a:gd name="T72" fmla="*/ 2147483647 w 222"/>
                <a:gd name="T73" fmla="*/ 2147483647 h 210"/>
                <a:gd name="T74" fmla="*/ 2147483647 w 222"/>
                <a:gd name="T75" fmla="*/ 2147483647 h 210"/>
                <a:gd name="T76" fmla="*/ 2147483647 w 222"/>
                <a:gd name="T77" fmla="*/ 2147483647 h 210"/>
                <a:gd name="T78" fmla="*/ 2147483647 w 222"/>
                <a:gd name="T79" fmla="*/ 2147483647 h 210"/>
                <a:gd name="T80" fmla="*/ 2147483647 w 222"/>
                <a:gd name="T81" fmla="*/ 2147483647 h 210"/>
                <a:gd name="T82" fmla="*/ 2147483647 w 222"/>
                <a:gd name="T83" fmla="*/ 2147483647 h 210"/>
                <a:gd name="T84" fmla="*/ 2147483647 w 222"/>
                <a:gd name="T85" fmla="*/ 2147483647 h 210"/>
                <a:gd name="T86" fmla="*/ 2147483647 w 222"/>
                <a:gd name="T87" fmla="*/ 2147483647 h 210"/>
                <a:gd name="T88" fmla="*/ 2147483647 w 222"/>
                <a:gd name="T89" fmla="*/ 2147483647 h 210"/>
                <a:gd name="T90" fmla="*/ 2147483647 w 222"/>
                <a:gd name="T91" fmla="*/ 2147483647 h 210"/>
                <a:gd name="T92" fmla="*/ 2147483647 w 222"/>
                <a:gd name="T93" fmla="*/ 2147483647 h 210"/>
                <a:gd name="T94" fmla="*/ 2147483647 w 222"/>
                <a:gd name="T95" fmla="*/ 2147483647 h 210"/>
                <a:gd name="T96" fmla="*/ 2147483647 w 222"/>
                <a:gd name="T97" fmla="*/ 2147483647 h 210"/>
                <a:gd name="T98" fmla="*/ 2147483647 w 222"/>
                <a:gd name="T99" fmla="*/ 2147483647 h 210"/>
                <a:gd name="T100" fmla="*/ 2147483647 w 222"/>
                <a:gd name="T101" fmla="*/ 2147483647 h 210"/>
                <a:gd name="T102" fmla="*/ 2147483647 w 222"/>
                <a:gd name="T103" fmla="*/ 2147483647 h 210"/>
                <a:gd name="T104" fmla="*/ 2147483647 w 222"/>
                <a:gd name="T105" fmla="*/ 2147483647 h 210"/>
                <a:gd name="T106" fmla="*/ 2147483647 w 222"/>
                <a:gd name="T107" fmla="*/ 2147483647 h 210"/>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222"/>
                <a:gd name="T163" fmla="*/ 0 h 210"/>
                <a:gd name="T164" fmla="*/ 222 w 222"/>
                <a:gd name="T165" fmla="*/ 210 h 210"/>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222" h="210">
                  <a:moveTo>
                    <a:pt x="222" y="168"/>
                  </a:moveTo>
                  <a:lnTo>
                    <a:pt x="216" y="156"/>
                  </a:lnTo>
                  <a:lnTo>
                    <a:pt x="216" y="144"/>
                  </a:lnTo>
                  <a:lnTo>
                    <a:pt x="186" y="138"/>
                  </a:lnTo>
                  <a:lnTo>
                    <a:pt x="174" y="120"/>
                  </a:lnTo>
                  <a:lnTo>
                    <a:pt x="144" y="108"/>
                  </a:lnTo>
                  <a:lnTo>
                    <a:pt x="156" y="108"/>
                  </a:lnTo>
                  <a:lnTo>
                    <a:pt x="174" y="90"/>
                  </a:lnTo>
                  <a:lnTo>
                    <a:pt x="174" y="84"/>
                  </a:lnTo>
                  <a:lnTo>
                    <a:pt x="168" y="78"/>
                  </a:lnTo>
                  <a:lnTo>
                    <a:pt x="144" y="66"/>
                  </a:lnTo>
                  <a:lnTo>
                    <a:pt x="138" y="60"/>
                  </a:lnTo>
                  <a:lnTo>
                    <a:pt x="132" y="60"/>
                  </a:lnTo>
                  <a:lnTo>
                    <a:pt x="138" y="54"/>
                  </a:lnTo>
                  <a:lnTo>
                    <a:pt x="138" y="30"/>
                  </a:lnTo>
                  <a:lnTo>
                    <a:pt x="132" y="24"/>
                  </a:lnTo>
                  <a:lnTo>
                    <a:pt x="114" y="24"/>
                  </a:lnTo>
                  <a:lnTo>
                    <a:pt x="114" y="12"/>
                  </a:lnTo>
                  <a:lnTo>
                    <a:pt x="102" y="6"/>
                  </a:lnTo>
                  <a:lnTo>
                    <a:pt x="96" y="0"/>
                  </a:lnTo>
                  <a:lnTo>
                    <a:pt x="84" y="0"/>
                  </a:lnTo>
                  <a:lnTo>
                    <a:pt x="84" y="18"/>
                  </a:lnTo>
                  <a:lnTo>
                    <a:pt x="30" y="12"/>
                  </a:lnTo>
                  <a:lnTo>
                    <a:pt x="24" y="18"/>
                  </a:lnTo>
                  <a:lnTo>
                    <a:pt x="0" y="24"/>
                  </a:lnTo>
                  <a:lnTo>
                    <a:pt x="6" y="30"/>
                  </a:lnTo>
                  <a:lnTo>
                    <a:pt x="6" y="42"/>
                  </a:lnTo>
                  <a:lnTo>
                    <a:pt x="18" y="78"/>
                  </a:lnTo>
                  <a:lnTo>
                    <a:pt x="18" y="90"/>
                  </a:lnTo>
                  <a:lnTo>
                    <a:pt x="24" y="102"/>
                  </a:lnTo>
                  <a:lnTo>
                    <a:pt x="30" y="108"/>
                  </a:lnTo>
                  <a:lnTo>
                    <a:pt x="42" y="114"/>
                  </a:lnTo>
                  <a:lnTo>
                    <a:pt x="54" y="114"/>
                  </a:lnTo>
                  <a:lnTo>
                    <a:pt x="66" y="108"/>
                  </a:lnTo>
                  <a:lnTo>
                    <a:pt x="72" y="108"/>
                  </a:lnTo>
                  <a:lnTo>
                    <a:pt x="72" y="114"/>
                  </a:lnTo>
                  <a:lnTo>
                    <a:pt x="78" y="120"/>
                  </a:lnTo>
                  <a:lnTo>
                    <a:pt x="78" y="132"/>
                  </a:lnTo>
                  <a:lnTo>
                    <a:pt x="84" y="144"/>
                  </a:lnTo>
                  <a:lnTo>
                    <a:pt x="84" y="150"/>
                  </a:lnTo>
                  <a:lnTo>
                    <a:pt x="90" y="156"/>
                  </a:lnTo>
                  <a:lnTo>
                    <a:pt x="108" y="132"/>
                  </a:lnTo>
                  <a:lnTo>
                    <a:pt x="126" y="132"/>
                  </a:lnTo>
                  <a:lnTo>
                    <a:pt x="138" y="144"/>
                  </a:lnTo>
                  <a:lnTo>
                    <a:pt x="174" y="144"/>
                  </a:lnTo>
                  <a:lnTo>
                    <a:pt x="174" y="156"/>
                  </a:lnTo>
                  <a:lnTo>
                    <a:pt x="180" y="162"/>
                  </a:lnTo>
                  <a:lnTo>
                    <a:pt x="180" y="174"/>
                  </a:lnTo>
                  <a:lnTo>
                    <a:pt x="186" y="186"/>
                  </a:lnTo>
                  <a:lnTo>
                    <a:pt x="186" y="198"/>
                  </a:lnTo>
                  <a:lnTo>
                    <a:pt x="192" y="204"/>
                  </a:lnTo>
                  <a:lnTo>
                    <a:pt x="192" y="210"/>
                  </a:lnTo>
                  <a:lnTo>
                    <a:pt x="222" y="210"/>
                  </a:lnTo>
                  <a:lnTo>
                    <a:pt x="222" y="168"/>
                  </a:lnTo>
                  <a:close/>
                </a:path>
              </a:pathLst>
            </a:custGeom>
            <a:grpFill/>
            <a:ln w="3175">
              <a:solidFill>
                <a:schemeClr val="bg1"/>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de-DE" sz="1800" b="0" i="0" u="none" strike="noStrike" kern="1200" cap="none" spc="0" normalizeH="0" baseline="0" noProof="0">
                <a:ln>
                  <a:noFill/>
                </a:ln>
                <a:solidFill>
                  <a:srgbClr val="FFC000"/>
                </a:solidFill>
                <a:effectLst/>
                <a:uLnTx/>
                <a:uFillTx/>
                <a:latin typeface="Calibri" pitchFamily="34" charset="0"/>
                <a:ea typeface="+mn-ea"/>
                <a:cs typeface="+mn-cs"/>
              </a:endParaRPr>
            </a:p>
          </p:txBody>
        </p:sp>
        <p:sp>
          <p:nvSpPr>
            <p:cNvPr id="181" name="Argentina" descr="© INSCALE GmbH, 05.05.2010&#10;http://www.presentationload.com/"/>
            <p:cNvSpPr>
              <a:spLocks noEditPoints="1"/>
            </p:cNvSpPr>
            <p:nvPr/>
          </p:nvSpPr>
          <p:spPr bwMode="gray">
            <a:xfrm>
              <a:off x="2917132" y="4852500"/>
              <a:ext cx="354515" cy="758145"/>
            </a:xfrm>
            <a:custGeom>
              <a:avLst/>
              <a:gdLst>
                <a:gd name="T0" fmla="*/ 2147483647 w 1092"/>
                <a:gd name="T1" fmla="*/ 2147483647 h 2442"/>
                <a:gd name="T2" fmla="*/ 2147483647 w 1092"/>
                <a:gd name="T3" fmla="*/ 2147483647 h 2442"/>
                <a:gd name="T4" fmla="*/ 2147483647 w 1092"/>
                <a:gd name="T5" fmla="*/ 2147483647 h 2442"/>
                <a:gd name="T6" fmla="*/ 2147483647 w 1092"/>
                <a:gd name="T7" fmla="*/ 2147483647 h 2442"/>
                <a:gd name="T8" fmla="*/ 2147483647 w 1092"/>
                <a:gd name="T9" fmla="*/ 2147483647 h 2442"/>
                <a:gd name="T10" fmla="*/ 2147483647 w 1092"/>
                <a:gd name="T11" fmla="*/ 2147483647 h 2442"/>
                <a:gd name="T12" fmla="*/ 2147483647 w 1092"/>
                <a:gd name="T13" fmla="*/ 2147483647 h 2442"/>
                <a:gd name="T14" fmla="*/ 2147483647 w 1092"/>
                <a:gd name="T15" fmla="*/ 2147483647 h 2442"/>
                <a:gd name="T16" fmla="*/ 2147483647 w 1092"/>
                <a:gd name="T17" fmla="*/ 2147483647 h 2442"/>
                <a:gd name="T18" fmla="*/ 2147483647 w 1092"/>
                <a:gd name="T19" fmla="*/ 2147483647 h 2442"/>
                <a:gd name="T20" fmla="*/ 2147483647 w 1092"/>
                <a:gd name="T21" fmla="*/ 0 h 2442"/>
                <a:gd name="T22" fmla="*/ 2147483647 w 1092"/>
                <a:gd name="T23" fmla="*/ 2147483647 h 2442"/>
                <a:gd name="T24" fmla="*/ 2147483647 w 1092"/>
                <a:gd name="T25" fmla="*/ 2147483647 h 2442"/>
                <a:gd name="T26" fmla="*/ 2147483647 w 1092"/>
                <a:gd name="T27" fmla="*/ 2147483647 h 2442"/>
                <a:gd name="T28" fmla="*/ 2147483647 w 1092"/>
                <a:gd name="T29" fmla="*/ 2147483647 h 2442"/>
                <a:gd name="T30" fmla="*/ 2147483647 w 1092"/>
                <a:gd name="T31" fmla="*/ 2147483647 h 2442"/>
                <a:gd name="T32" fmla="*/ 2147483647 w 1092"/>
                <a:gd name="T33" fmla="*/ 2147483647 h 2442"/>
                <a:gd name="T34" fmla="*/ 2147483647 w 1092"/>
                <a:gd name="T35" fmla="*/ 2147483647 h 2442"/>
                <a:gd name="T36" fmla="*/ 2147483647 w 1092"/>
                <a:gd name="T37" fmla="*/ 2147483647 h 2442"/>
                <a:gd name="T38" fmla="*/ 2147483647 w 1092"/>
                <a:gd name="T39" fmla="*/ 2147483647 h 2442"/>
                <a:gd name="T40" fmla="*/ 2147483647 w 1092"/>
                <a:gd name="T41" fmla="*/ 2147483647 h 2442"/>
                <a:gd name="T42" fmla="*/ 2147483647 w 1092"/>
                <a:gd name="T43" fmla="*/ 2147483647 h 2442"/>
                <a:gd name="T44" fmla="*/ 2147483647 w 1092"/>
                <a:gd name="T45" fmla="*/ 2147483647 h 2442"/>
                <a:gd name="T46" fmla="*/ 2147483647 w 1092"/>
                <a:gd name="T47" fmla="*/ 2147483647 h 2442"/>
                <a:gd name="T48" fmla="*/ 2147483647 w 1092"/>
                <a:gd name="T49" fmla="*/ 2147483647 h 2442"/>
                <a:gd name="T50" fmla="*/ 2147483647 w 1092"/>
                <a:gd name="T51" fmla="*/ 2147483647 h 2442"/>
                <a:gd name="T52" fmla="*/ 2147483647 w 1092"/>
                <a:gd name="T53" fmla="*/ 2147483647 h 2442"/>
                <a:gd name="T54" fmla="*/ 2147483647 w 1092"/>
                <a:gd name="T55" fmla="*/ 2147483647 h 2442"/>
                <a:gd name="T56" fmla="*/ 2147483647 w 1092"/>
                <a:gd name="T57" fmla="*/ 2147483647 h 2442"/>
                <a:gd name="T58" fmla="*/ 2147483647 w 1092"/>
                <a:gd name="T59" fmla="*/ 2147483647 h 2442"/>
                <a:gd name="T60" fmla="*/ 2147483647 w 1092"/>
                <a:gd name="T61" fmla="*/ 2147483647 h 2442"/>
                <a:gd name="T62" fmla="*/ 2147483647 w 1092"/>
                <a:gd name="T63" fmla="*/ 2147483647 h 2442"/>
                <a:gd name="T64" fmla="*/ 2147483647 w 1092"/>
                <a:gd name="T65" fmla="*/ 2147483647 h 2442"/>
                <a:gd name="T66" fmla="*/ 2147483647 w 1092"/>
                <a:gd name="T67" fmla="*/ 2147483647 h 2442"/>
                <a:gd name="T68" fmla="*/ 2147483647 w 1092"/>
                <a:gd name="T69" fmla="*/ 2147483647 h 2442"/>
                <a:gd name="T70" fmla="*/ 2147483647 w 1092"/>
                <a:gd name="T71" fmla="*/ 2147483647 h 2442"/>
                <a:gd name="T72" fmla="*/ 2147483647 w 1092"/>
                <a:gd name="T73" fmla="*/ 2147483647 h 2442"/>
                <a:gd name="T74" fmla="*/ 2147483647 w 1092"/>
                <a:gd name="T75" fmla="*/ 2147483647 h 2442"/>
                <a:gd name="T76" fmla="*/ 2147483647 w 1092"/>
                <a:gd name="T77" fmla="*/ 2147483647 h 2442"/>
                <a:gd name="T78" fmla="*/ 2147483647 w 1092"/>
                <a:gd name="T79" fmla="*/ 2147483647 h 2442"/>
                <a:gd name="T80" fmla="*/ 2147483647 w 1092"/>
                <a:gd name="T81" fmla="*/ 2147483647 h 2442"/>
                <a:gd name="T82" fmla="*/ 2147483647 w 1092"/>
                <a:gd name="T83" fmla="*/ 2147483647 h 2442"/>
                <a:gd name="T84" fmla="*/ 2147483647 w 1092"/>
                <a:gd name="T85" fmla="*/ 2147483647 h 2442"/>
                <a:gd name="T86" fmla="*/ 2147483647 w 1092"/>
                <a:gd name="T87" fmla="*/ 2147483647 h 2442"/>
                <a:gd name="T88" fmla="*/ 2147483647 w 1092"/>
                <a:gd name="T89" fmla="*/ 2147483647 h 2442"/>
                <a:gd name="T90" fmla="*/ 2147483647 w 1092"/>
                <a:gd name="T91" fmla="*/ 2147483647 h 2442"/>
                <a:gd name="T92" fmla="*/ 2147483647 w 1092"/>
                <a:gd name="T93" fmla="*/ 2147483647 h 2442"/>
                <a:gd name="T94" fmla="*/ 2147483647 w 1092"/>
                <a:gd name="T95" fmla="*/ 2147483647 h 2442"/>
                <a:gd name="T96" fmla="*/ 2147483647 w 1092"/>
                <a:gd name="T97" fmla="*/ 2147483647 h 2442"/>
                <a:gd name="T98" fmla="*/ 2147483647 w 1092"/>
                <a:gd name="T99" fmla="*/ 2147483647 h 2442"/>
                <a:gd name="T100" fmla="*/ 2147483647 w 1092"/>
                <a:gd name="T101" fmla="*/ 2147483647 h 2442"/>
                <a:gd name="T102" fmla="*/ 2147483647 w 1092"/>
                <a:gd name="T103" fmla="*/ 2147483647 h 2442"/>
                <a:gd name="T104" fmla="*/ 2147483647 w 1092"/>
                <a:gd name="T105" fmla="*/ 2147483647 h 2442"/>
                <a:gd name="T106" fmla="*/ 2147483647 w 1092"/>
                <a:gd name="T107" fmla="*/ 2147483647 h 2442"/>
                <a:gd name="T108" fmla="*/ 2147483647 w 1092"/>
                <a:gd name="T109" fmla="*/ 2147483647 h 2442"/>
                <a:gd name="T110" fmla="*/ 2147483647 w 1092"/>
                <a:gd name="T111" fmla="*/ 2147483647 h 2442"/>
                <a:gd name="T112" fmla="*/ 2147483647 w 1092"/>
                <a:gd name="T113" fmla="*/ 2147483647 h 2442"/>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1092"/>
                <a:gd name="T172" fmla="*/ 0 h 2442"/>
                <a:gd name="T173" fmla="*/ 1092 w 1092"/>
                <a:gd name="T174" fmla="*/ 2442 h 2442"/>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1092" h="2442">
                  <a:moveTo>
                    <a:pt x="954" y="534"/>
                  </a:moveTo>
                  <a:lnTo>
                    <a:pt x="978" y="528"/>
                  </a:lnTo>
                  <a:lnTo>
                    <a:pt x="984" y="504"/>
                  </a:lnTo>
                  <a:lnTo>
                    <a:pt x="990" y="498"/>
                  </a:lnTo>
                  <a:lnTo>
                    <a:pt x="990" y="480"/>
                  </a:lnTo>
                  <a:lnTo>
                    <a:pt x="1026" y="480"/>
                  </a:lnTo>
                  <a:lnTo>
                    <a:pt x="1026" y="462"/>
                  </a:lnTo>
                  <a:lnTo>
                    <a:pt x="1032" y="450"/>
                  </a:lnTo>
                  <a:lnTo>
                    <a:pt x="1038" y="444"/>
                  </a:lnTo>
                  <a:lnTo>
                    <a:pt x="1092" y="426"/>
                  </a:lnTo>
                  <a:lnTo>
                    <a:pt x="1092" y="390"/>
                  </a:lnTo>
                  <a:lnTo>
                    <a:pt x="1086" y="372"/>
                  </a:lnTo>
                  <a:lnTo>
                    <a:pt x="1086" y="342"/>
                  </a:lnTo>
                  <a:lnTo>
                    <a:pt x="1080" y="336"/>
                  </a:lnTo>
                  <a:lnTo>
                    <a:pt x="1074" y="336"/>
                  </a:lnTo>
                  <a:lnTo>
                    <a:pt x="1074" y="324"/>
                  </a:lnTo>
                  <a:lnTo>
                    <a:pt x="1062" y="300"/>
                  </a:lnTo>
                  <a:lnTo>
                    <a:pt x="1056" y="294"/>
                  </a:lnTo>
                  <a:lnTo>
                    <a:pt x="1038" y="294"/>
                  </a:lnTo>
                  <a:lnTo>
                    <a:pt x="1032" y="300"/>
                  </a:lnTo>
                  <a:lnTo>
                    <a:pt x="1020" y="306"/>
                  </a:lnTo>
                  <a:lnTo>
                    <a:pt x="1020" y="384"/>
                  </a:lnTo>
                  <a:lnTo>
                    <a:pt x="1008" y="390"/>
                  </a:lnTo>
                  <a:lnTo>
                    <a:pt x="1002" y="402"/>
                  </a:lnTo>
                  <a:lnTo>
                    <a:pt x="990" y="408"/>
                  </a:lnTo>
                  <a:lnTo>
                    <a:pt x="984" y="414"/>
                  </a:lnTo>
                  <a:lnTo>
                    <a:pt x="978" y="414"/>
                  </a:lnTo>
                  <a:lnTo>
                    <a:pt x="966" y="426"/>
                  </a:lnTo>
                  <a:lnTo>
                    <a:pt x="954" y="450"/>
                  </a:lnTo>
                  <a:lnTo>
                    <a:pt x="948" y="456"/>
                  </a:lnTo>
                  <a:lnTo>
                    <a:pt x="948" y="450"/>
                  </a:lnTo>
                  <a:lnTo>
                    <a:pt x="942" y="444"/>
                  </a:lnTo>
                  <a:lnTo>
                    <a:pt x="930" y="444"/>
                  </a:lnTo>
                  <a:lnTo>
                    <a:pt x="924" y="450"/>
                  </a:lnTo>
                  <a:lnTo>
                    <a:pt x="924" y="468"/>
                  </a:lnTo>
                  <a:lnTo>
                    <a:pt x="912" y="450"/>
                  </a:lnTo>
                  <a:lnTo>
                    <a:pt x="852" y="450"/>
                  </a:lnTo>
                  <a:lnTo>
                    <a:pt x="834" y="444"/>
                  </a:lnTo>
                  <a:lnTo>
                    <a:pt x="822" y="438"/>
                  </a:lnTo>
                  <a:lnTo>
                    <a:pt x="816" y="432"/>
                  </a:lnTo>
                  <a:lnTo>
                    <a:pt x="804" y="426"/>
                  </a:lnTo>
                  <a:lnTo>
                    <a:pt x="798" y="426"/>
                  </a:lnTo>
                  <a:lnTo>
                    <a:pt x="786" y="432"/>
                  </a:lnTo>
                  <a:lnTo>
                    <a:pt x="762" y="432"/>
                  </a:lnTo>
                  <a:lnTo>
                    <a:pt x="756" y="426"/>
                  </a:lnTo>
                  <a:lnTo>
                    <a:pt x="756" y="414"/>
                  </a:lnTo>
                  <a:lnTo>
                    <a:pt x="762" y="402"/>
                  </a:lnTo>
                  <a:lnTo>
                    <a:pt x="768" y="396"/>
                  </a:lnTo>
                  <a:lnTo>
                    <a:pt x="774" y="384"/>
                  </a:lnTo>
                  <a:lnTo>
                    <a:pt x="780" y="378"/>
                  </a:lnTo>
                  <a:lnTo>
                    <a:pt x="780" y="342"/>
                  </a:lnTo>
                  <a:lnTo>
                    <a:pt x="798" y="342"/>
                  </a:lnTo>
                  <a:lnTo>
                    <a:pt x="804" y="336"/>
                  </a:lnTo>
                  <a:lnTo>
                    <a:pt x="804" y="330"/>
                  </a:lnTo>
                  <a:lnTo>
                    <a:pt x="798" y="318"/>
                  </a:lnTo>
                  <a:lnTo>
                    <a:pt x="792" y="312"/>
                  </a:lnTo>
                  <a:lnTo>
                    <a:pt x="798" y="300"/>
                  </a:lnTo>
                  <a:lnTo>
                    <a:pt x="804" y="294"/>
                  </a:lnTo>
                  <a:lnTo>
                    <a:pt x="804" y="282"/>
                  </a:lnTo>
                  <a:lnTo>
                    <a:pt x="810" y="276"/>
                  </a:lnTo>
                  <a:lnTo>
                    <a:pt x="804" y="270"/>
                  </a:lnTo>
                  <a:lnTo>
                    <a:pt x="792" y="264"/>
                  </a:lnTo>
                  <a:lnTo>
                    <a:pt x="774" y="258"/>
                  </a:lnTo>
                  <a:lnTo>
                    <a:pt x="762" y="252"/>
                  </a:lnTo>
                  <a:lnTo>
                    <a:pt x="750" y="252"/>
                  </a:lnTo>
                  <a:lnTo>
                    <a:pt x="744" y="246"/>
                  </a:lnTo>
                  <a:lnTo>
                    <a:pt x="708" y="228"/>
                  </a:lnTo>
                  <a:lnTo>
                    <a:pt x="690" y="216"/>
                  </a:lnTo>
                  <a:lnTo>
                    <a:pt x="678" y="210"/>
                  </a:lnTo>
                  <a:lnTo>
                    <a:pt x="672" y="204"/>
                  </a:lnTo>
                  <a:lnTo>
                    <a:pt x="666" y="204"/>
                  </a:lnTo>
                  <a:lnTo>
                    <a:pt x="660" y="198"/>
                  </a:lnTo>
                  <a:lnTo>
                    <a:pt x="648" y="192"/>
                  </a:lnTo>
                  <a:lnTo>
                    <a:pt x="642" y="186"/>
                  </a:lnTo>
                  <a:lnTo>
                    <a:pt x="630" y="180"/>
                  </a:lnTo>
                  <a:lnTo>
                    <a:pt x="600" y="180"/>
                  </a:lnTo>
                  <a:lnTo>
                    <a:pt x="564" y="162"/>
                  </a:lnTo>
                  <a:lnTo>
                    <a:pt x="558" y="156"/>
                  </a:lnTo>
                  <a:lnTo>
                    <a:pt x="552" y="156"/>
                  </a:lnTo>
                  <a:lnTo>
                    <a:pt x="546" y="138"/>
                  </a:lnTo>
                  <a:lnTo>
                    <a:pt x="534" y="132"/>
                  </a:lnTo>
                  <a:lnTo>
                    <a:pt x="516" y="114"/>
                  </a:lnTo>
                  <a:lnTo>
                    <a:pt x="492" y="102"/>
                  </a:lnTo>
                  <a:lnTo>
                    <a:pt x="486" y="96"/>
                  </a:lnTo>
                  <a:lnTo>
                    <a:pt x="480" y="84"/>
                  </a:lnTo>
                  <a:lnTo>
                    <a:pt x="468" y="78"/>
                  </a:lnTo>
                  <a:lnTo>
                    <a:pt x="462" y="66"/>
                  </a:lnTo>
                  <a:lnTo>
                    <a:pt x="456" y="60"/>
                  </a:lnTo>
                  <a:lnTo>
                    <a:pt x="456" y="54"/>
                  </a:lnTo>
                  <a:lnTo>
                    <a:pt x="438" y="36"/>
                  </a:lnTo>
                  <a:lnTo>
                    <a:pt x="402" y="12"/>
                  </a:lnTo>
                  <a:lnTo>
                    <a:pt x="330" y="18"/>
                  </a:lnTo>
                  <a:lnTo>
                    <a:pt x="318" y="72"/>
                  </a:lnTo>
                  <a:lnTo>
                    <a:pt x="288" y="24"/>
                  </a:lnTo>
                  <a:lnTo>
                    <a:pt x="234" y="24"/>
                  </a:lnTo>
                  <a:lnTo>
                    <a:pt x="216" y="18"/>
                  </a:lnTo>
                  <a:lnTo>
                    <a:pt x="204" y="18"/>
                  </a:lnTo>
                  <a:lnTo>
                    <a:pt x="180" y="6"/>
                  </a:lnTo>
                  <a:lnTo>
                    <a:pt x="174" y="0"/>
                  </a:lnTo>
                  <a:lnTo>
                    <a:pt x="162" y="24"/>
                  </a:lnTo>
                  <a:lnTo>
                    <a:pt x="138" y="30"/>
                  </a:lnTo>
                  <a:lnTo>
                    <a:pt x="138" y="48"/>
                  </a:lnTo>
                  <a:lnTo>
                    <a:pt x="126" y="48"/>
                  </a:lnTo>
                  <a:lnTo>
                    <a:pt x="126" y="78"/>
                  </a:lnTo>
                  <a:lnTo>
                    <a:pt x="114" y="78"/>
                  </a:lnTo>
                  <a:lnTo>
                    <a:pt x="126" y="96"/>
                  </a:lnTo>
                  <a:lnTo>
                    <a:pt x="114" y="180"/>
                  </a:lnTo>
                  <a:lnTo>
                    <a:pt x="108" y="180"/>
                  </a:lnTo>
                  <a:lnTo>
                    <a:pt x="102" y="186"/>
                  </a:lnTo>
                  <a:lnTo>
                    <a:pt x="90" y="192"/>
                  </a:lnTo>
                  <a:lnTo>
                    <a:pt x="72" y="198"/>
                  </a:lnTo>
                  <a:lnTo>
                    <a:pt x="60" y="210"/>
                  </a:lnTo>
                  <a:lnTo>
                    <a:pt x="48" y="216"/>
                  </a:lnTo>
                  <a:lnTo>
                    <a:pt x="42" y="228"/>
                  </a:lnTo>
                  <a:lnTo>
                    <a:pt x="36" y="234"/>
                  </a:lnTo>
                  <a:lnTo>
                    <a:pt x="36" y="240"/>
                  </a:lnTo>
                  <a:lnTo>
                    <a:pt x="42" y="246"/>
                  </a:lnTo>
                  <a:lnTo>
                    <a:pt x="54" y="252"/>
                  </a:lnTo>
                  <a:lnTo>
                    <a:pt x="66" y="252"/>
                  </a:lnTo>
                  <a:lnTo>
                    <a:pt x="66" y="258"/>
                  </a:lnTo>
                  <a:lnTo>
                    <a:pt x="42" y="282"/>
                  </a:lnTo>
                  <a:lnTo>
                    <a:pt x="42" y="300"/>
                  </a:lnTo>
                  <a:lnTo>
                    <a:pt x="48" y="306"/>
                  </a:lnTo>
                  <a:lnTo>
                    <a:pt x="60" y="312"/>
                  </a:lnTo>
                  <a:lnTo>
                    <a:pt x="72" y="324"/>
                  </a:lnTo>
                  <a:lnTo>
                    <a:pt x="78" y="336"/>
                  </a:lnTo>
                  <a:lnTo>
                    <a:pt x="72" y="342"/>
                  </a:lnTo>
                  <a:lnTo>
                    <a:pt x="66" y="354"/>
                  </a:lnTo>
                  <a:lnTo>
                    <a:pt x="54" y="366"/>
                  </a:lnTo>
                  <a:lnTo>
                    <a:pt x="48" y="366"/>
                  </a:lnTo>
                  <a:lnTo>
                    <a:pt x="54" y="366"/>
                  </a:lnTo>
                  <a:lnTo>
                    <a:pt x="60" y="372"/>
                  </a:lnTo>
                  <a:lnTo>
                    <a:pt x="84" y="384"/>
                  </a:lnTo>
                  <a:lnTo>
                    <a:pt x="90" y="396"/>
                  </a:lnTo>
                  <a:lnTo>
                    <a:pt x="90" y="408"/>
                  </a:lnTo>
                  <a:lnTo>
                    <a:pt x="78" y="414"/>
                  </a:lnTo>
                  <a:lnTo>
                    <a:pt x="72" y="420"/>
                  </a:lnTo>
                  <a:lnTo>
                    <a:pt x="54" y="420"/>
                  </a:lnTo>
                  <a:lnTo>
                    <a:pt x="54" y="432"/>
                  </a:lnTo>
                  <a:lnTo>
                    <a:pt x="48" y="450"/>
                  </a:lnTo>
                  <a:lnTo>
                    <a:pt x="48" y="462"/>
                  </a:lnTo>
                  <a:lnTo>
                    <a:pt x="42" y="474"/>
                  </a:lnTo>
                  <a:lnTo>
                    <a:pt x="42" y="486"/>
                  </a:lnTo>
                  <a:lnTo>
                    <a:pt x="30" y="498"/>
                  </a:lnTo>
                  <a:lnTo>
                    <a:pt x="24" y="510"/>
                  </a:lnTo>
                  <a:lnTo>
                    <a:pt x="18" y="516"/>
                  </a:lnTo>
                  <a:lnTo>
                    <a:pt x="18" y="582"/>
                  </a:lnTo>
                  <a:lnTo>
                    <a:pt x="6" y="594"/>
                  </a:lnTo>
                  <a:lnTo>
                    <a:pt x="6" y="606"/>
                  </a:lnTo>
                  <a:lnTo>
                    <a:pt x="18" y="630"/>
                  </a:lnTo>
                  <a:lnTo>
                    <a:pt x="30" y="666"/>
                  </a:lnTo>
                  <a:lnTo>
                    <a:pt x="36" y="678"/>
                  </a:lnTo>
                  <a:lnTo>
                    <a:pt x="36" y="684"/>
                  </a:lnTo>
                  <a:lnTo>
                    <a:pt x="12" y="684"/>
                  </a:lnTo>
                  <a:lnTo>
                    <a:pt x="18" y="738"/>
                  </a:lnTo>
                  <a:lnTo>
                    <a:pt x="6" y="744"/>
                  </a:lnTo>
                  <a:lnTo>
                    <a:pt x="0" y="744"/>
                  </a:lnTo>
                  <a:lnTo>
                    <a:pt x="0" y="768"/>
                  </a:lnTo>
                  <a:lnTo>
                    <a:pt x="6" y="774"/>
                  </a:lnTo>
                  <a:lnTo>
                    <a:pt x="6" y="780"/>
                  </a:lnTo>
                  <a:lnTo>
                    <a:pt x="18" y="786"/>
                  </a:lnTo>
                  <a:lnTo>
                    <a:pt x="36" y="804"/>
                  </a:lnTo>
                  <a:lnTo>
                    <a:pt x="36" y="816"/>
                  </a:lnTo>
                  <a:lnTo>
                    <a:pt x="30" y="822"/>
                  </a:lnTo>
                  <a:lnTo>
                    <a:pt x="30" y="828"/>
                  </a:lnTo>
                  <a:lnTo>
                    <a:pt x="48" y="846"/>
                  </a:lnTo>
                  <a:lnTo>
                    <a:pt x="60" y="876"/>
                  </a:lnTo>
                  <a:lnTo>
                    <a:pt x="66" y="888"/>
                  </a:lnTo>
                  <a:lnTo>
                    <a:pt x="60" y="894"/>
                  </a:lnTo>
                  <a:lnTo>
                    <a:pt x="60" y="906"/>
                  </a:lnTo>
                  <a:lnTo>
                    <a:pt x="72" y="918"/>
                  </a:lnTo>
                  <a:lnTo>
                    <a:pt x="96" y="918"/>
                  </a:lnTo>
                  <a:lnTo>
                    <a:pt x="102" y="960"/>
                  </a:lnTo>
                  <a:lnTo>
                    <a:pt x="108" y="972"/>
                  </a:lnTo>
                  <a:lnTo>
                    <a:pt x="114" y="978"/>
                  </a:lnTo>
                  <a:lnTo>
                    <a:pt x="120" y="990"/>
                  </a:lnTo>
                  <a:lnTo>
                    <a:pt x="120" y="996"/>
                  </a:lnTo>
                  <a:lnTo>
                    <a:pt x="102" y="1014"/>
                  </a:lnTo>
                  <a:lnTo>
                    <a:pt x="102" y="1038"/>
                  </a:lnTo>
                  <a:lnTo>
                    <a:pt x="96" y="1056"/>
                  </a:lnTo>
                  <a:lnTo>
                    <a:pt x="96" y="1086"/>
                  </a:lnTo>
                  <a:lnTo>
                    <a:pt x="84" y="1086"/>
                  </a:lnTo>
                  <a:lnTo>
                    <a:pt x="90" y="1092"/>
                  </a:lnTo>
                  <a:lnTo>
                    <a:pt x="96" y="1104"/>
                  </a:lnTo>
                  <a:lnTo>
                    <a:pt x="102" y="1110"/>
                  </a:lnTo>
                  <a:lnTo>
                    <a:pt x="108" y="1122"/>
                  </a:lnTo>
                  <a:lnTo>
                    <a:pt x="114" y="1128"/>
                  </a:lnTo>
                  <a:lnTo>
                    <a:pt x="114" y="1140"/>
                  </a:lnTo>
                  <a:lnTo>
                    <a:pt x="108" y="1152"/>
                  </a:lnTo>
                  <a:lnTo>
                    <a:pt x="108" y="1158"/>
                  </a:lnTo>
                  <a:lnTo>
                    <a:pt x="102" y="1176"/>
                  </a:lnTo>
                  <a:lnTo>
                    <a:pt x="78" y="1182"/>
                  </a:lnTo>
                  <a:lnTo>
                    <a:pt x="78" y="1188"/>
                  </a:lnTo>
                  <a:lnTo>
                    <a:pt x="84" y="1194"/>
                  </a:lnTo>
                  <a:lnTo>
                    <a:pt x="84" y="1206"/>
                  </a:lnTo>
                  <a:lnTo>
                    <a:pt x="90" y="1224"/>
                  </a:lnTo>
                  <a:lnTo>
                    <a:pt x="96" y="1236"/>
                  </a:lnTo>
                  <a:lnTo>
                    <a:pt x="96" y="1284"/>
                  </a:lnTo>
                  <a:lnTo>
                    <a:pt x="126" y="1308"/>
                  </a:lnTo>
                  <a:lnTo>
                    <a:pt x="126" y="1326"/>
                  </a:lnTo>
                  <a:lnTo>
                    <a:pt x="132" y="1326"/>
                  </a:lnTo>
                  <a:lnTo>
                    <a:pt x="150" y="1344"/>
                  </a:lnTo>
                  <a:lnTo>
                    <a:pt x="150" y="1350"/>
                  </a:lnTo>
                  <a:lnTo>
                    <a:pt x="144" y="1362"/>
                  </a:lnTo>
                  <a:lnTo>
                    <a:pt x="132" y="1368"/>
                  </a:lnTo>
                  <a:lnTo>
                    <a:pt x="126" y="1374"/>
                  </a:lnTo>
                  <a:lnTo>
                    <a:pt x="120" y="1374"/>
                  </a:lnTo>
                  <a:lnTo>
                    <a:pt x="132" y="1416"/>
                  </a:lnTo>
                  <a:lnTo>
                    <a:pt x="114" y="1428"/>
                  </a:lnTo>
                  <a:lnTo>
                    <a:pt x="132" y="1446"/>
                  </a:lnTo>
                  <a:lnTo>
                    <a:pt x="132" y="1452"/>
                  </a:lnTo>
                  <a:lnTo>
                    <a:pt x="126" y="1464"/>
                  </a:lnTo>
                  <a:lnTo>
                    <a:pt x="126" y="1470"/>
                  </a:lnTo>
                  <a:lnTo>
                    <a:pt x="144" y="1482"/>
                  </a:lnTo>
                  <a:lnTo>
                    <a:pt x="144" y="1494"/>
                  </a:lnTo>
                  <a:lnTo>
                    <a:pt x="138" y="1500"/>
                  </a:lnTo>
                  <a:lnTo>
                    <a:pt x="138" y="1530"/>
                  </a:lnTo>
                  <a:lnTo>
                    <a:pt x="144" y="1536"/>
                  </a:lnTo>
                  <a:lnTo>
                    <a:pt x="150" y="1548"/>
                  </a:lnTo>
                  <a:lnTo>
                    <a:pt x="150" y="1572"/>
                  </a:lnTo>
                  <a:lnTo>
                    <a:pt x="156" y="1584"/>
                  </a:lnTo>
                  <a:lnTo>
                    <a:pt x="174" y="1602"/>
                  </a:lnTo>
                  <a:lnTo>
                    <a:pt x="186" y="1608"/>
                  </a:lnTo>
                  <a:lnTo>
                    <a:pt x="198" y="1620"/>
                  </a:lnTo>
                  <a:lnTo>
                    <a:pt x="192" y="1620"/>
                  </a:lnTo>
                  <a:lnTo>
                    <a:pt x="180" y="1626"/>
                  </a:lnTo>
                  <a:lnTo>
                    <a:pt x="174" y="1632"/>
                  </a:lnTo>
                  <a:lnTo>
                    <a:pt x="174" y="1644"/>
                  </a:lnTo>
                  <a:lnTo>
                    <a:pt x="180" y="1656"/>
                  </a:lnTo>
                  <a:lnTo>
                    <a:pt x="180" y="1674"/>
                  </a:lnTo>
                  <a:lnTo>
                    <a:pt x="186" y="1686"/>
                  </a:lnTo>
                  <a:lnTo>
                    <a:pt x="186" y="1698"/>
                  </a:lnTo>
                  <a:lnTo>
                    <a:pt x="192" y="1704"/>
                  </a:lnTo>
                  <a:lnTo>
                    <a:pt x="216" y="1716"/>
                  </a:lnTo>
                  <a:lnTo>
                    <a:pt x="210" y="1746"/>
                  </a:lnTo>
                  <a:lnTo>
                    <a:pt x="216" y="1746"/>
                  </a:lnTo>
                  <a:lnTo>
                    <a:pt x="228" y="1752"/>
                  </a:lnTo>
                  <a:lnTo>
                    <a:pt x="234" y="1758"/>
                  </a:lnTo>
                  <a:lnTo>
                    <a:pt x="234" y="1764"/>
                  </a:lnTo>
                  <a:lnTo>
                    <a:pt x="240" y="1776"/>
                  </a:lnTo>
                  <a:lnTo>
                    <a:pt x="240" y="1806"/>
                  </a:lnTo>
                  <a:lnTo>
                    <a:pt x="252" y="1818"/>
                  </a:lnTo>
                  <a:lnTo>
                    <a:pt x="282" y="1818"/>
                  </a:lnTo>
                  <a:lnTo>
                    <a:pt x="294" y="1824"/>
                  </a:lnTo>
                  <a:lnTo>
                    <a:pt x="294" y="1830"/>
                  </a:lnTo>
                  <a:lnTo>
                    <a:pt x="288" y="1836"/>
                  </a:lnTo>
                  <a:lnTo>
                    <a:pt x="276" y="1836"/>
                  </a:lnTo>
                  <a:lnTo>
                    <a:pt x="264" y="1842"/>
                  </a:lnTo>
                  <a:lnTo>
                    <a:pt x="246" y="1842"/>
                  </a:lnTo>
                  <a:lnTo>
                    <a:pt x="252" y="1848"/>
                  </a:lnTo>
                  <a:lnTo>
                    <a:pt x="258" y="1848"/>
                  </a:lnTo>
                  <a:lnTo>
                    <a:pt x="270" y="1854"/>
                  </a:lnTo>
                  <a:lnTo>
                    <a:pt x="276" y="1860"/>
                  </a:lnTo>
                  <a:lnTo>
                    <a:pt x="288" y="1860"/>
                  </a:lnTo>
                  <a:lnTo>
                    <a:pt x="312" y="1884"/>
                  </a:lnTo>
                  <a:lnTo>
                    <a:pt x="306" y="1890"/>
                  </a:lnTo>
                  <a:lnTo>
                    <a:pt x="300" y="1902"/>
                  </a:lnTo>
                  <a:lnTo>
                    <a:pt x="288" y="1914"/>
                  </a:lnTo>
                  <a:lnTo>
                    <a:pt x="312" y="1932"/>
                  </a:lnTo>
                  <a:lnTo>
                    <a:pt x="306" y="1956"/>
                  </a:lnTo>
                  <a:lnTo>
                    <a:pt x="330" y="1980"/>
                  </a:lnTo>
                  <a:lnTo>
                    <a:pt x="324" y="2016"/>
                  </a:lnTo>
                  <a:lnTo>
                    <a:pt x="336" y="2040"/>
                  </a:lnTo>
                  <a:lnTo>
                    <a:pt x="324" y="2046"/>
                  </a:lnTo>
                  <a:lnTo>
                    <a:pt x="318" y="2088"/>
                  </a:lnTo>
                  <a:lnTo>
                    <a:pt x="324" y="2088"/>
                  </a:lnTo>
                  <a:lnTo>
                    <a:pt x="348" y="2112"/>
                  </a:lnTo>
                  <a:lnTo>
                    <a:pt x="348" y="2118"/>
                  </a:lnTo>
                  <a:lnTo>
                    <a:pt x="342" y="2118"/>
                  </a:lnTo>
                  <a:lnTo>
                    <a:pt x="330" y="2124"/>
                  </a:lnTo>
                  <a:lnTo>
                    <a:pt x="324" y="2130"/>
                  </a:lnTo>
                  <a:lnTo>
                    <a:pt x="348" y="2154"/>
                  </a:lnTo>
                  <a:lnTo>
                    <a:pt x="348" y="2160"/>
                  </a:lnTo>
                  <a:lnTo>
                    <a:pt x="342" y="2166"/>
                  </a:lnTo>
                  <a:lnTo>
                    <a:pt x="336" y="2166"/>
                  </a:lnTo>
                  <a:lnTo>
                    <a:pt x="330" y="2172"/>
                  </a:lnTo>
                  <a:lnTo>
                    <a:pt x="324" y="2172"/>
                  </a:lnTo>
                  <a:lnTo>
                    <a:pt x="324" y="2196"/>
                  </a:lnTo>
                  <a:lnTo>
                    <a:pt x="312" y="2202"/>
                  </a:lnTo>
                  <a:lnTo>
                    <a:pt x="312" y="2214"/>
                  </a:lnTo>
                  <a:lnTo>
                    <a:pt x="318" y="2226"/>
                  </a:lnTo>
                  <a:lnTo>
                    <a:pt x="324" y="2232"/>
                  </a:lnTo>
                  <a:lnTo>
                    <a:pt x="324" y="2268"/>
                  </a:lnTo>
                  <a:lnTo>
                    <a:pt x="354" y="2274"/>
                  </a:lnTo>
                  <a:lnTo>
                    <a:pt x="354" y="2280"/>
                  </a:lnTo>
                  <a:lnTo>
                    <a:pt x="360" y="2286"/>
                  </a:lnTo>
                  <a:lnTo>
                    <a:pt x="360" y="2298"/>
                  </a:lnTo>
                  <a:lnTo>
                    <a:pt x="366" y="2304"/>
                  </a:lnTo>
                  <a:lnTo>
                    <a:pt x="378" y="2310"/>
                  </a:lnTo>
                  <a:lnTo>
                    <a:pt x="384" y="2310"/>
                  </a:lnTo>
                  <a:lnTo>
                    <a:pt x="396" y="2298"/>
                  </a:lnTo>
                  <a:lnTo>
                    <a:pt x="414" y="2298"/>
                  </a:lnTo>
                  <a:lnTo>
                    <a:pt x="426" y="2304"/>
                  </a:lnTo>
                  <a:lnTo>
                    <a:pt x="438" y="2316"/>
                  </a:lnTo>
                  <a:lnTo>
                    <a:pt x="438" y="2340"/>
                  </a:lnTo>
                  <a:lnTo>
                    <a:pt x="456" y="2364"/>
                  </a:lnTo>
                  <a:lnTo>
                    <a:pt x="468" y="2382"/>
                  </a:lnTo>
                  <a:lnTo>
                    <a:pt x="504" y="2400"/>
                  </a:lnTo>
                  <a:lnTo>
                    <a:pt x="522" y="2418"/>
                  </a:lnTo>
                  <a:lnTo>
                    <a:pt x="534" y="2418"/>
                  </a:lnTo>
                  <a:lnTo>
                    <a:pt x="546" y="2412"/>
                  </a:lnTo>
                  <a:lnTo>
                    <a:pt x="642" y="2412"/>
                  </a:lnTo>
                  <a:lnTo>
                    <a:pt x="666" y="2430"/>
                  </a:lnTo>
                  <a:lnTo>
                    <a:pt x="660" y="2442"/>
                  </a:lnTo>
                  <a:lnTo>
                    <a:pt x="666" y="2424"/>
                  </a:lnTo>
                  <a:lnTo>
                    <a:pt x="672" y="2418"/>
                  </a:lnTo>
                  <a:lnTo>
                    <a:pt x="684" y="2418"/>
                  </a:lnTo>
                  <a:lnTo>
                    <a:pt x="690" y="2424"/>
                  </a:lnTo>
                  <a:lnTo>
                    <a:pt x="702" y="2424"/>
                  </a:lnTo>
                  <a:lnTo>
                    <a:pt x="714" y="2430"/>
                  </a:lnTo>
                  <a:lnTo>
                    <a:pt x="720" y="2436"/>
                  </a:lnTo>
                  <a:lnTo>
                    <a:pt x="678" y="2382"/>
                  </a:lnTo>
                  <a:lnTo>
                    <a:pt x="660" y="2382"/>
                  </a:lnTo>
                  <a:lnTo>
                    <a:pt x="666" y="2370"/>
                  </a:lnTo>
                  <a:lnTo>
                    <a:pt x="630" y="2340"/>
                  </a:lnTo>
                  <a:lnTo>
                    <a:pt x="630" y="2310"/>
                  </a:lnTo>
                  <a:lnTo>
                    <a:pt x="618" y="2298"/>
                  </a:lnTo>
                  <a:lnTo>
                    <a:pt x="624" y="2286"/>
                  </a:lnTo>
                  <a:lnTo>
                    <a:pt x="630" y="2286"/>
                  </a:lnTo>
                  <a:lnTo>
                    <a:pt x="642" y="2274"/>
                  </a:lnTo>
                  <a:lnTo>
                    <a:pt x="642" y="2268"/>
                  </a:lnTo>
                  <a:lnTo>
                    <a:pt x="636" y="2268"/>
                  </a:lnTo>
                  <a:lnTo>
                    <a:pt x="624" y="2262"/>
                  </a:lnTo>
                  <a:lnTo>
                    <a:pt x="606" y="2262"/>
                  </a:lnTo>
                  <a:lnTo>
                    <a:pt x="618" y="2250"/>
                  </a:lnTo>
                  <a:lnTo>
                    <a:pt x="618" y="2232"/>
                  </a:lnTo>
                  <a:lnTo>
                    <a:pt x="636" y="2256"/>
                  </a:lnTo>
                  <a:lnTo>
                    <a:pt x="648" y="2262"/>
                  </a:lnTo>
                  <a:lnTo>
                    <a:pt x="666" y="2262"/>
                  </a:lnTo>
                  <a:lnTo>
                    <a:pt x="672" y="2256"/>
                  </a:lnTo>
                  <a:lnTo>
                    <a:pt x="678" y="2244"/>
                  </a:lnTo>
                  <a:lnTo>
                    <a:pt x="678" y="2226"/>
                  </a:lnTo>
                  <a:lnTo>
                    <a:pt x="672" y="2208"/>
                  </a:lnTo>
                  <a:lnTo>
                    <a:pt x="666" y="2196"/>
                  </a:lnTo>
                  <a:lnTo>
                    <a:pt x="666" y="2178"/>
                  </a:lnTo>
                  <a:lnTo>
                    <a:pt x="678" y="2154"/>
                  </a:lnTo>
                  <a:lnTo>
                    <a:pt x="690" y="2142"/>
                  </a:lnTo>
                  <a:lnTo>
                    <a:pt x="708" y="2130"/>
                  </a:lnTo>
                  <a:lnTo>
                    <a:pt x="738" y="2100"/>
                  </a:lnTo>
                  <a:lnTo>
                    <a:pt x="726" y="2088"/>
                  </a:lnTo>
                  <a:lnTo>
                    <a:pt x="702" y="2088"/>
                  </a:lnTo>
                  <a:lnTo>
                    <a:pt x="726" y="2082"/>
                  </a:lnTo>
                  <a:lnTo>
                    <a:pt x="726" y="2064"/>
                  </a:lnTo>
                  <a:lnTo>
                    <a:pt x="714" y="2040"/>
                  </a:lnTo>
                  <a:lnTo>
                    <a:pt x="708" y="2034"/>
                  </a:lnTo>
                  <a:lnTo>
                    <a:pt x="696" y="2028"/>
                  </a:lnTo>
                  <a:lnTo>
                    <a:pt x="690" y="2028"/>
                  </a:lnTo>
                  <a:lnTo>
                    <a:pt x="684" y="2034"/>
                  </a:lnTo>
                  <a:lnTo>
                    <a:pt x="672" y="2016"/>
                  </a:lnTo>
                  <a:lnTo>
                    <a:pt x="642" y="2016"/>
                  </a:lnTo>
                  <a:lnTo>
                    <a:pt x="636" y="2010"/>
                  </a:lnTo>
                  <a:lnTo>
                    <a:pt x="624" y="2004"/>
                  </a:lnTo>
                  <a:lnTo>
                    <a:pt x="606" y="1992"/>
                  </a:lnTo>
                  <a:lnTo>
                    <a:pt x="582" y="1968"/>
                  </a:lnTo>
                  <a:lnTo>
                    <a:pt x="570" y="1950"/>
                  </a:lnTo>
                  <a:lnTo>
                    <a:pt x="564" y="1938"/>
                  </a:lnTo>
                  <a:lnTo>
                    <a:pt x="564" y="1926"/>
                  </a:lnTo>
                  <a:lnTo>
                    <a:pt x="570" y="1914"/>
                  </a:lnTo>
                  <a:lnTo>
                    <a:pt x="570" y="1908"/>
                  </a:lnTo>
                  <a:lnTo>
                    <a:pt x="576" y="1908"/>
                  </a:lnTo>
                  <a:lnTo>
                    <a:pt x="582" y="1902"/>
                  </a:lnTo>
                  <a:lnTo>
                    <a:pt x="594" y="1878"/>
                  </a:lnTo>
                  <a:lnTo>
                    <a:pt x="606" y="1878"/>
                  </a:lnTo>
                  <a:lnTo>
                    <a:pt x="612" y="1860"/>
                  </a:lnTo>
                  <a:lnTo>
                    <a:pt x="666" y="1860"/>
                  </a:lnTo>
                  <a:lnTo>
                    <a:pt x="654" y="1848"/>
                  </a:lnTo>
                  <a:lnTo>
                    <a:pt x="654" y="1824"/>
                  </a:lnTo>
                  <a:lnTo>
                    <a:pt x="666" y="1824"/>
                  </a:lnTo>
                  <a:lnTo>
                    <a:pt x="666" y="1794"/>
                  </a:lnTo>
                  <a:lnTo>
                    <a:pt x="660" y="1788"/>
                  </a:lnTo>
                  <a:lnTo>
                    <a:pt x="654" y="1776"/>
                  </a:lnTo>
                  <a:lnTo>
                    <a:pt x="642" y="1764"/>
                  </a:lnTo>
                  <a:lnTo>
                    <a:pt x="642" y="1746"/>
                  </a:lnTo>
                  <a:lnTo>
                    <a:pt x="648" y="1728"/>
                  </a:lnTo>
                  <a:lnTo>
                    <a:pt x="654" y="1716"/>
                  </a:lnTo>
                  <a:lnTo>
                    <a:pt x="666" y="1710"/>
                  </a:lnTo>
                  <a:lnTo>
                    <a:pt x="672" y="1704"/>
                  </a:lnTo>
                  <a:lnTo>
                    <a:pt x="684" y="1704"/>
                  </a:lnTo>
                  <a:lnTo>
                    <a:pt x="684" y="1692"/>
                  </a:lnTo>
                  <a:lnTo>
                    <a:pt x="660" y="1692"/>
                  </a:lnTo>
                  <a:lnTo>
                    <a:pt x="648" y="1686"/>
                  </a:lnTo>
                  <a:lnTo>
                    <a:pt x="642" y="1680"/>
                  </a:lnTo>
                  <a:lnTo>
                    <a:pt x="642" y="1674"/>
                  </a:lnTo>
                  <a:lnTo>
                    <a:pt x="654" y="1668"/>
                  </a:lnTo>
                  <a:lnTo>
                    <a:pt x="666" y="1668"/>
                  </a:lnTo>
                  <a:lnTo>
                    <a:pt x="702" y="1686"/>
                  </a:lnTo>
                  <a:lnTo>
                    <a:pt x="708" y="1692"/>
                  </a:lnTo>
                  <a:lnTo>
                    <a:pt x="714" y="1692"/>
                  </a:lnTo>
                  <a:lnTo>
                    <a:pt x="720" y="1686"/>
                  </a:lnTo>
                  <a:lnTo>
                    <a:pt x="732" y="1680"/>
                  </a:lnTo>
                  <a:lnTo>
                    <a:pt x="732" y="1656"/>
                  </a:lnTo>
                  <a:lnTo>
                    <a:pt x="726" y="1644"/>
                  </a:lnTo>
                  <a:lnTo>
                    <a:pt x="708" y="1626"/>
                  </a:lnTo>
                  <a:lnTo>
                    <a:pt x="696" y="1626"/>
                  </a:lnTo>
                  <a:lnTo>
                    <a:pt x="690" y="1632"/>
                  </a:lnTo>
                  <a:lnTo>
                    <a:pt x="690" y="1650"/>
                  </a:lnTo>
                  <a:lnTo>
                    <a:pt x="684" y="1656"/>
                  </a:lnTo>
                  <a:lnTo>
                    <a:pt x="666" y="1656"/>
                  </a:lnTo>
                  <a:lnTo>
                    <a:pt x="654" y="1650"/>
                  </a:lnTo>
                  <a:lnTo>
                    <a:pt x="648" y="1644"/>
                  </a:lnTo>
                  <a:lnTo>
                    <a:pt x="648" y="1638"/>
                  </a:lnTo>
                  <a:lnTo>
                    <a:pt x="612" y="1638"/>
                  </a:lnTo>
                  <a:lnTo>
                    <a:pt x="606" y="1632"/>
                  </a:lnTo>
                  <a:lnTo>
                    <a:pt x="606" y="1572"/>
                  </a:lnTo>
                  <a:lnTo>
                    <a:pt x="600" y="1566"/>
                  </a:lnTo>
                  <a:lnTo>
                    <a:pt x="594" y="1554"/>
                  </a:lnTo>
                  <a:lnTo>
                    <a:pt x="588" y="1536"/>
                  </a:lnTo>
                  <a:lnTo>
                    <a:pt x="588" y="1524"/>
                  </a:lnTo>
                  <a:lnTo>
                    <a:pt x="594" y="1518"/>
                  </a:lnTo>
                  <a:lnTo>
                    <a:pt x="600" y="1518"/>
                  </a:lnTo>
                  <a:lnTo>
                    <a:pt x="606" y="1524"/>
                  </a:lnTo>
                  <a:lnTo>
                    <a:pt x="618" y="1524"/>
                  </a:lnTo>
                  <a:lnTo>
                    <a:pt x="624" y="1530"/>
                  </a:lnTo>
                  <a:lnTo>
                    <a:pt x="636" y="1536"/>
                  </a:lnTo>
                  <a:lnTo>
                    <a:pt x="672" y="1548"/>
                  </a:lnTo>
                  <a:lnTo>
                    <a:pt x="690" y="1560"/>
                  </a:lnTo>
                  <a:lnTo>
                    <a:pt x="708" y="1560"/>
                  </a:lnTo>
                  <a:lnTo>
                    <a:pt x="726" y="1554"/>
                  </a:lnTo>
                  <a:lnTo>
                    <a:pt x="738" y="1542"/>
                  </a:lnTo>
                  <a:lnTo>
                    <a:pt x="750" y="1536"/>
                  </a:lnTo>
                  <a:lnTo>
                    <a:pt x="768" y="1530"/>
                  </a:lnTo>
                  <a:lnTo>
                    <a:pt x="774" y="1524"/>
                  </a:lnTo>
                  <a:lnTo>
                    <a:pt x="774" y="1512"/>
                  </a:lnTo>
                  <a:lnTo>
                    <a:pt x="762" y="1506"/>
                  </a:lnTo>
                  <a:lnTo>
                    <a:pt x="750" y="1494"/>
                  </a:lnTo>
                  <a:lnTo>
                    <a:pt x="738" y="1488"/>
                  </a:lnTo>
                  <a:lnTo>
                    <a:pt x="738" y="1464"/>
                  </a:lnTo>
                  <a:lnTo>
                    <a:pt x="744" y="1452"/>
                  </a:lnTo>
                  <a:lnTo>
                    <a:pt x="750" y="1446"/>
                  </a:lnTo>
                  <a:lnTo>
                    <a:pt x="750" y="1434"/>
                  </a:lnTo>
                  <a:lnTo>
                    <a:pt x="756" y="1422"/>
                  </a:lnTo>
                  <a:lnTo>
                    <a:pt x="744" y="1410"/>
                  </a:lnTo>
                  <a:lnTo>
                    <a:pt x="726" y="1410"/>
                  </a:lnTo>
                  <a:lnTo>
                    <a:pt x="720" y="1386"/>
                  </a:lnTo>
                  <a:lnTo>
                    <a:pt x="714" y="1380"/>
                  </a:lnTo>
                  <a:lnTo>
                    <a:pt x="714" y="1368"/>
                  </a:lnTo>
                  <a:lnTo>
                    <a:pt x="720" y="1362"/>
                  </a:lnTo>
                  <a:lnTo>
                    <a:pt x="726" y="1362"/>
                  </a:lnTo>
                  <a:lnTo>
                    <a:pt x="732" y="1374"/>
                  </a:lnTo>
                  <a:lnTo>
                    <a:pt x="738" y="1380"/>
                  </a:lnTo>
                  <a:lnTo>
                    <a:pt x="738" y="1386"/>
                  </a:lnTo>
                  <a:lnTo>
                    <a:pt x="744" y="1398"/>
                  </a:lnTo>
                  <a:lnTo>
                    <a:pt x="756" y="1398"/>
                  </a:lnTo>
                  <a:lnTo>
                    <a:pt x="750" y="1380"/>
                  </a:lnTo>
                  <a:lnTo>
                    <a:pt x="828" y="1386"/>
                  </a:lnTo>
                  <a:lnTo>
                    <a:pt x="834" y="1380"/>
                  </a:lnTo>
                  <a:lnTo>
                    <a:pt x="840" y="1380"/>
                  </a:lnTo>
                  <a:lnTo>
                    <a:pt x="846" y="1374"/>
                  </a:lnTo>
                  <a:lnTo>
                    <a:pt x="864" y="1368"/>
                  </a:lnTo>
                  <a:lnTo>
                    <a:pt x="894" y="1362"/>
                  </a:lnTo>
                  <a:lnTo>
                    <a:pt x="930" y="1350"/>
                  </a:lnTo>
                  <a:lnTo>
                    <a:pt x="972" y="1338"/>
                  </a:lnTo>
                  <a:lnTo>
                    <a:pt x="1002" y="1326"/>
                  </a:lnTo>
                  <a:lnTo>
                    <a:pt x="1014" y="1320"/>
                  </a:lnTo>
                  <a:lnTo>
                    <a:pt x="1014" y="1284"/>
                  </a:lnTo>
                  <a:lnTo>
                    <a:pt x="1032" y="1272"/>
                  </a:lnTo>
                  <a:lnTo>
                    <a:pt x="1044" y="1218"/>
                  </a:lnTo>
                  <a:lnTo>
                    <a:pt x="1038" y="1194"/>
                  </a:lnTo>
                  <a:lnTo>
                    <a:pt x="1038" y="1170"/>
                  </a:lnTo>
                  <a:lnTo>
                    <a:pt x="1032" y="1170"/>
                  </a:lnTo>
                  <a:lnTo>
                    <a:pt x="1026" y="1164"/>
                  </a:lnTo>
                  <a:lnTo>
                    <a:pt x="1002" y="1152"/>
                  </a:lnTo>
                  <a:lnTo>
                    <a:pt x="990" y="1152"/>
                  </a:lnTo>
                  <a:lnTo>
                    <a:pt x="984" y="1146"/>
                  </a:lnTo>
                  <a:lnTo>
                    <a:pt x="978" y="1146"/>
                  </a:lnTo>
                  <a:lnTo>
                    <a:pt x="972" y="1140"/>
                  </a:lnTo>
                  <a:lnTo>
                    <a:pt x="990" y="1122"/>
                  </a:lnTo>
                  <a:lnTo>
                    <a:pt x="990" y="1092"/>
                  </a:lnTo>
                  <a:lnTo>
                    <a:pt x="984" y="1080"/>
                  </a:lnTo>
                  <a:lnTo>
                    <a:pt x="978" y="1074"/>
                  </a:lnTo>
                  <a:lnTo>
                    <a:pt x="954" y="1062"/>
                  </a:lnTo>
                  <a:lnTo>
                    <a:pt x="918" y="1050"/>
                  </a:lnTo>
                  <a:lnTo>
                    <a:pt x="906" y="1044"/>
                  </a:lnTo>
                  <a:lnTo>
                    <a:pt x="888" y="1032"/>
                  </a:lnTo>
                  <a:lnTo>
                    <a:pt x="876" y="1020"/>
                  </a:lnTo>
                  <a:lnTo>
                    <a:pt x="876" y="1002"/>
                  </a:lnTo>
                  <a:lnTo>
                    <a:pt x="882" y="990"/>
                  </a:lnTo>
                  <a:lnTo>
                    <a:pt x="888" y="990"/>
                  </a:lnTo>
                  <a:lnTo>
                    <a:pt x="888" y="984"/>
                  </a:lnTo>
                  <a:lnTo>
                    <a:pt x="858" y="948"/>
                  </a:lnTo>
                  <a:lnTo>
                    <a:pt x="858" y="900"/>
                  </a:lnTo>
                  <a:lnTo>
                    <a:pt x="882" y="900"/>
                  </a:lnTo>
                  <a:lnTo>
                    <a:pt x="888" y="894"/>
                  </a:lnTo>
                  <a:lnTo>
                    <a:pt x="894" y="894"/>
                  </a:lnTo>
                  <a:lnTo>
                    <a:pt x="894" y="888"/>
                  </a:lnTo>
                  <a:lnTo>
                    <a:pt x="888" y="876"/>
                  </a:lnTo>
                  <a:lnTo>
                    <a:pt x="876" y="870"/>
                  </a:lnTo>
                  <a:lnTo>
                    <a:pt x="870" y="858"/>
                  </a:lnTo>
                  <a:lnTo>
                    <a:pt x="864" y="852"/>
                  </a:lnTo>
                  <a:lnTo>
                    <a:pt x="876" y="834"/>
                  </a:lnTo>
                  <a:lnTo>
                    <a:pt x="864" y="822"/>
                  </a:lnTo>
                  <a:lnTo>
                    <a:pt x="858" y="810"/>
                  </a:lnTo>
                  <a:lnTo>
                    <a:pt x="852" y="804"/>
                  </a:lnTo>
                  <a:lnTo>
                    <a:pt x="864" y="792"/>
                  </a:lnTo>
                  <a:lnTo>
                    <a:pt x="882" y="792"/>
                  </a:lnTo>
                  <a:lnTo>
                    <a:pt x="858" y="774"/>
                  </a:lnTo>
                  <a:lnTo>
                    <a:pt x="858" y="738"/>
                  </a:lnTo>
                  <a:lnTo>
                    <a:pt x="882" y="726"/>
                  </a:lnTo>
                  <a:lnTo>
                    <a:pt x="876" y="726"/>
                  </a:lnTo>
                  <a:lnTo>
                    <a:pt x="852" y="702"/>
                  </a:lnTo>
                  <a:lnTo>
                    <a:pt x="852" y="696"/>
                  </a:lnTo>
                  <a:lnTo>
                    <a:pt x="870" y="678"/>
                  </a:lnTo>
                  <a:lnTo>
                    <a:pt x="870" y="666"/>
                  </a:lnTo>
                  <a:lnTo>
                    <a:pt x="876" y="654"/>
                  </a:lnTo>
                  <a:lnTo>
                    <a:pt x="876" y="642"/>
                  </a:lnTo>
                  <a:lnTo>
                    <a:pt x="882" y="636"/>
                  </a:lnTo>
                  <a:lnTo>
                    <a:pt x="900" y="636"/>
                  </a:lnTo>
                  <a:lnTo>
                    <a:pt x="906" y="630"/>
                  </a:lnTo>
                  <a:lnTo>
                    <a:pt x="912" y="618"/>
                  </a:lnTo>
                  <a:lnTo>
                    <a:pt x="918" y="612"/>
                  </a:lnTo>
                  <a:lnTo>
                    <a:pt x="918" y="588"/>
                  </a:lnTo>
                  <a:lnTo>
                    <a:pt x="930" y="588"/>
                  </a:lnTo>
                  <a:lnTo>
                    <a:pt x="948" y="570"/>
                  </a:lnTo>
                  <a:lnTo>
                    <a:pt x="948" y="558"/>
                  </a:lnTo>
                  <a:lnTo>
                    <a:pt x="954" y="546"/>
                  </a:lnTo>
                  <a:lnTo>
                    <a:pt x="954" y="534"/>
                  </a:lnTo>
                  <a:close/>
                  <a:moveTo>
                    <a:pt x="930" y="1020"/>
                  </a:moveTo>
                  <a:lnTo>
                    <a:pt x="942" y="1020"/>
                  </a:lnTo>
                  <a:lnTo>
                    <a:pt x="930" y="1014"/>
                  </a:lnTo>
                  <a:lnTo>
                    <a:pt x="930" y="1020"/>
                  </a:lnTo>
                  <a:close/>
                </a:path>
              </a:pathLst>
            </a:custGeom>
            <a:grpFill/>
            <a:ln w="3175">
              <a:solidFill>
                <a:schemeClr val="bg1"/>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de-DE" sz="1800" b="0" i="0" u="none" strike="noStrike" kern="1200" cap="none" spc="0" normalizeH="0" baseline="0" noProof="0">
                <a:ln>
                  <a:noFill/>
                </a:ln>
                <a:solidFill>
                  <a:srgbClr val="FFC000"/>
                </a:solidFill>
                <a:effectLst/>
                <a:uLnTx/>
                <a:uFillTx/>
                <a:latin typeface="Calibri" pitchFamily="34" charset="0"/>
                <a:ea typeface="+mn-ea"/>
                <a:cs typeface="+mn-cs"/>
              </a:endParaRPr>
            </a:p>
          </p:txBody>
        </p:sp>
        <p:sp>
          <p:nvSpPr>
            <p:cNvPr id="182" name="Angola" descr="© INSCALE GmbH, 05.05.2010&#10;http://www.presentationload.com/"/>
            <p:cNvSpPr>
              <a:spLocks noEditPoints="1"/>
            </p:cNvSpPr>
            <p:nvPr/>
          </p:nvSpPr>
          <p:spPr bwMode="gray">
            <a:xfrm>
              <a:off x="4735786" y="4411577"/>
              <a:ext cx="287965" cy="342941"/>
            </a:xfrm>
            <a:custGeom>
              <a:avLst/>
              <a:gdLst>
                <a:gd name="T0" fmla="*/ 2147483647 w 888"/>
                <a:gd name="T1" fmla="*/ 2147483647 h 1104"/>
                <a:gd name="T2" fmla="*/ 2147483647 w 888"/>
                <a:gd name="T3" fmla="*/ 2147483647 h 1104"/>
                <a:gd name="T4" fmla="*/ 2147483647 w 888"/>
                <a:gd name="T5" fmla="*/ 2147483647 h 1104"/>
                <a:gd name="T6" fmla="*/ 2147483647 w 888"/>
                <a:gd name="T7" fmla="*/ 0 h 1104"/>
                <a:gd name="T8" fmla="*/ 2147483647 w 888"/>
                <a:gd name="T9" fmla="*/ 2147483647 h 1104"/>
                <a:gd name="T10" fmla="*/ 2147483647 w 888"/>
                <a:gd name="T11" fmla="*/ 2147483647 h 1104"/>
                <a:gd name="T12" fmla="*/ 2147483647 w 888"/>
                <a:gd name="T13" fmla="*/ 2147483647 h 1104"/>
                <a:gd name="T14" fmla="*/ 2147483647 w 888"/>
                <a:gd name="T15" fmla="*/ 2147483647 h 1104"/>
                <a:gd name="T16" fmla="*/ 2147483647 w 888"/>
                <a:gd name="T17" fmla="*/ 2147483647 h 1104"/>
                <a:gd name="T18" fmla="*/ 2147483647 w 888"/>
                <a:gd name="T19" fmla="*/ 2147483647 h 1104"/>
                <a:gd name="T20" fmla="*/ 2147483647 w 888"/>
                <a:gd name="T21" fmla="*/ 2147483647 h 1104"/>
                <a:gd name="T22" fmla="*/ 2147483647 w 888"/>
                <a:gd name="T23" fmla="*/ 2147483647 h 1104"/>
                <a:gd name="T24" fmla="*/ 2147483647 w 888"/>
                <a:gd name="T25" fmla="*/ 2147483647 h 1104"/>
                <a:gd name="T26" fmla="*/ 2147483647 w 888"/>
                <a:gd name="T27" fmla="*/ 2147483647 h 1104"/>
                <a:gd name="T28" fmla="*/ 2147483647 w 888"/>
                <a:gd name="T29" fmla="*/ 2147483647 h 1104"/>
                <a:gd name="T30" fmla="*/ 2147483647 w 888"/>
                <a:gd name="T31" fmla="*/ 2147483647 h 1104"/>
                <a:gd name="T32" fmla="*/ 2147483647 w 888"/>
                <a:gd name="T33" fmla="*/ 2147483647 h 1104"/>
                <a:gd name="T34" fmla="*/ 2147483647 w 888"/>
                <a:gd name="T35" fmla="*/ 2147483647 h 1104"/>
                <a:gd name="T36" fmla="*/ 2147483647 w 888"/>
                <a:gd name="T37" fmla="*/ 2147483647 h 1104"/>
                <a:gd name="T38" fmla="*/ 2147483647 w 888"/>
                <a:gd name="T39" fmla="*/ 2147483647 h 1104"/>
                <a:gd name="T40" fmla="*/ 2147483647 w 888"/>
                <a:gd name="T41" fmla="*/ 2147483647 h 1104"/>
                <a:gd name="T42" fmla="*/ 2147483647 w 888"/>
                <a:gd name="T43" fmla="*/ 2147483647 h 1104"/>
                <a:gd name="T44" fmla="*/ 2147483647 w 888"/>
                <a:gd name="T45" fmla="*/ 2147483647 h 1104"/>
                <a:gd name="T46" fmla="*/ 2147483647 w 888"/>
                <a:gd name="T47" fmla="*/ 2147483647 h 1104"/>
                <a:gd name="T48" fmla="*/ 2147483647 w 888"/>
                <a:gd name="T49" fmla="*/ 2147483647 h 1104"/>
                <a:gd name="T50" fmla="*/ 2147483647 w 888"/>
                <a:gd name="T51" fmla="*/ 2147483647 h 1104"/>
                <a:gd name="T52" fmla="*/ 2147483647 w 888"/>
                <a:gd name="T53" fmla="*/ 2147483647 h 1104"/>
                <a:gd name="T54" fmla="*/ 2147483647 w 888"/>
                <a:gd name="T55" fmla="*/ 2147483647 h 1104"/>
                <a:gd name="T56" fmla="*/ 2147483647 w 888"/>
                <a:gd name="T57" fmla="*/ 2147483647 h 1104"/>
                <a:gd name="T58" fmla="*/ 2147483647 w 888"/>
                <a:gd name="T59" fmla="*/ 2147483647 h 1104"/>
                <a:gd name="T60" fmla="*/ 2147483647 w 888"/>
                <a:gd name="T61" fmla="*/ 2147483647 h 1104"/>
                <a:gd name="T62" fmla="*/ 2147483647 w 888"/>
                <a:gd name="T63" fmla="*/ 2147483647 h 1104"/>
                <a:gd name="T64" fmla="*/ 2147483647 w 888"/>
                <a:gd name="T65" fmla="*/ 2147483647 h 1104"/>
                <a:gd name="T66" fmla="*/ 2147483647 w 888"/>
                <a:gd name="T67" fmla="*/ 2147483647 h 1104"/>
                <a:gd name="T68" fmla="*/ 2147483647 w 888"/>
                <a:gd name="T69" fmla="*/ 2147483647 h 1104"/>
                <a:gd name="T70" fmla="*/ 2147483647 w 888"/>
                <a:gd name="T71" fmla="*/ 2147483647 h 1104"/>
                <a:gd name="T72" fmla="*/ 2147483647 w 888"/>
                <a:gd name="T73" fmla="*/ 2147483647 h 1104"/>
                <a:gd name="T74" fmla="*/ 0 w 888"/>
                <a:gd name="T75" fmla="*/ 2147483647 h 1104"/>
                <a:gd name="T76" fmla="*/ 2147483647 w 888"/>
                <a:gd name="T77" fmla="*/ 2147483647 h 1104"/>
                <a:gd name="T78" fmla="*/ 2147483647 w 888"/>
                <a:gd name="T79" fmla="*/ 2147483647 h 1104"/>
                <a:gd name="T80" fmla="*/ 2147483647 w 888"/>
                <a:gd name="T81" fmla="*/ 2147483647 h 1104"/>
                <a:gd name="T82" fmla="*/ 2147483647 w 888"/>
                <a:gd name="T83" fmla="*/ 2147483647 h 1104"/>
                <a:gd name="T84" fmla="*/ 2147483647 w 888"/>
                <a:gd name="T85" fmla="*/ 2147483647 h 1104"/>
                <a:gd name="T86" fmla="*/ 2147483647 w 888"/>
                <a:gd name="T87" fmla="*/ 2147483647 h 1104"/>
                <a:gd name="T88" fmla="*/ 2147483647 w 888"/>
                <a:gd name="T89" fmla="*/ 2147483647 h 1104"/>
                <a:gd name="T90" fmla="*/ 2147483647 w 888"/>
                <a:gd name="T91" fmla="*/ 2147483647 h 1104"/>
                <a:gd name="T92" fmla="*/ 2147483647 w 888"/>
                <a:gd name="T93" fmla="*/ 2147483647 h 1104"/>
                <a:gd name="T94" fmla="*/ 2147483647 w 888"/>
                <a:gd name="T95" fmla="*/ 2147483647 h 1104"/>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888"/>
                <a:gd name="T145" fmla="*/ 0 h 1104"/>
                <a:gd name="T146" fmla="*/ 888 w 888"/>
                <a:gd name="T147" fmla="*/ 1104 h 1104"/>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888" h="1104">
                  <a:moveTo>
                    <a:pt x="42" y="114"/>
                  </a:moveTo>
                  <a:lnTo>
                    <a:pt x="42" y="120"/>
                  </a:lnTo>
                  <a:lnTo>
                    <a:pt x="48" y="120"/>
                  </a:lnTo>
                  <a:lnTo>
                    <a:pt x="54" y="114"/>
                  </a:lnTo>
                  <a:lnTo>
                    <a:pt x="66" y="108"/>
                  </a:lnTo>
                  <a:lnTo>
                    <a:pt x="72" y="102"/>
                  </a:lnTo>
                  <a:lnTo>
                    <a:pt x="72" y="96"/>
                  </a:lnTo>
                  <a:lnTo>
                    <a:pt x="66" y="84"/>
                  </a:lnTo>
                  <a:lnTo>
                    <a:pt x="66" y="78"/>
                  </a:lnTo>
                  <a:lnTo>
                    <a:pt x="60" y="66"/>
                  </a:lnTo>
                  <a:lnTo>
                    <a:pt x="96" y="36"/>
                  </a:lnTo>
                  <a:lnTo>
                    <a:pt x="102" y="24"/>
                  </a:lnTo>
                  <a:lnTo>
                    <a:pt x="102" y="18"/>
                  </a:lnTo>
                  <a:lnTo>
                    <a:pt x="96" y="12"/>
                  </a:lnTo>
                  <a:lnTo>
                    <a:pt x="96" y="6"/>
                  </a:lnTo>
                  <a:lnTo>
                    <a:pt x="90" y="0"/>
                  </a:lnTo>
                  <a:lnTo>
                    <a:pt x="84" y="6"/>
                  </a:lnTo>
                  <a:lnTo>
                    <a:pt x="72" y="12"/>
                  </a:lnTo>
                  <a:lnTo>
                    <a:pt x="66" y="18"/>
                  </a:lnTo>
                  <a:lnTo>
                    <a:pt x="54" y="24"/>
                  </a:lnTo>
                  <a:lnTo>
                    <a:pt x="54" y="42"/>
                  </a:lnTo>
                  <a:lnTo>
                    <a:pt x="36" y="42"/>
                  </a:lnTo>
                  <a:lnTo>
                    <a:pt x="36" y="60"/>
                  </a:lnTo>
                  <a:lnTo>
                    <a:pt x="42" y="114"/>
                  </a:lnTo>
                  <a:close/>
                  <a:moveTo>
                    <a:pt x="876" y="546"/>
                  </a:moveTo>
                  <a:lnTo>
                    <a:pt x="852" y="546"/>
                  </a:lnTo>
                  <a:lnTo>
                    <a:pt x="840" y="534"/>
                  </a:lnTo>
                  <a:lnTo>
                    <a:pt x="828" y="534"/>
                  </a:lnTo>
                  <a:lnTo>
                    <a:pt x="828" y="546"/>
                  </a:lnTo>
                  <a:lnTo>
                    <a:pt x="804" y="552"/>
                  </a:lnTo>
                  <a:lnTo>
                    <a:pt x="774" y="546"/>
                  </a:lnTo>
                  <a:lnTo>
                    <a:pt x="768" y="564"/>
                  </a:lnTo>
                  <a:lnTo>
                    <a:pt x="762" y="558"/>
                  </a:lnTo>
                  <a:lnTo>
                    <a:pt x="756" y="558"/>
                  </a:lnTo>
                  <a:lnTo>
                    <a:pt x="750" y="552"/>
                  </a:lnTo>
                  <a:lnTo>
                    <a:pt x="750" y="528"/>
                  </a:lnTo>
                  <a:lnTo>
                    <a:pt x="756" y="522"/>
                  </a:lnTo>
                  <a:lnTo>
                    <a:pt x="756" y="510"/>
                  </a:lnTo>
                  <a:lnTo>
                    <a:pt x="762" y="498"/>
                  </a:lnTo>
                  <a:lnTo>
                    <a:pt x="762" y="480"/>
                  </a:lnTo>
                  <a:lnTo>
                    <a:pt x="756" y="474"/>
                  </a:lnTo>
                  <a:lnTo>
                    <a:pt x="744" y="450"/>
                  </a:lnTo>
                  <a:lnTo>
                    <a:pt x="732" y="432"/>
                  </a:lnTo>
                  <a:lnTo>
                    <a:pt x="726" y="414"/>
                  </a:lnTo>
                  <a:lnTo>
                    <a:pt x="726" y="402"/>
                  </a:lnTo>
                  <a:lnTo>
                    <a:pt x="732" y="396"/>
                  </a:lnTo>
                  <a:lnTo>
                    <a:pt x="732" y="384"/>
                  </a:lnTo>
                  <a:lnTo>
                    <a:pt x="726" y="360"/>
                  </a:lnTo>
                  <a:lnTo>
                    <a:pt x="732" y="354"/>
                  </a:lnTo>
                  <a:lnTo>
                    <a:pt x="738" y="342"/>
                  </a:lnTo>
                  <a:lnTo>
                    <a:pt x="738" y="330"/>
                  </a:lnTo>
                  <a:lnTo>
                    <a:pt x="732" y="318"/>
                  </a:lnTo>
                  <a:lnTo>
                    <a:pt x="720" y="306"/>
                  </a:lnTo>
                  <a:lnTo>
                    <a:pt x="714" y="288"/>
                  </a:lnTo>
                  <a:lnTo>
                    <a:pt x="726" y="270"/>
                  </a:lnTo>
                  <a:lnTo>
                    <a:pt x="726" y="246"/>
                  </a:lnTo>
                  <a:lnTo>
                    <a:pt x="636" y="246"/>
                  </a:lnTo>
                  <a:lnTo>
                    <a:pt x="636" y="222"/>
                  </a:lnTo>
                  <a:lnTo>
                    <a:pt x="624" y="216"/>
                  </a:lnTo>
                  <a:lnTo>
                    <a:pt x="612" y="216"/>
                  </a:lnTo>
                  <a:lnTo>
                    <a:pt x="612" y="222"/>
                  </a:lnTo>
                  <a:lnTo>
                    <a:pt x="564" y="222"/>
                  </a:lnTo>
                  <a:lnTo>
                    <a:pt x="558" y="228"/>
                  </a:lnTo>
                  <a:lnTo>
                    <a:pt x="558" y="234"/>
                  </a:lnTo>
                  <a:lnTo>
                    <a:pt x="564" y="240"/>
                  </a:lnTo>
                  <a:lnTo>
                    <a:pt x="570" y="252"/>
                  </a:lnTo>
                  <a:lnTo>
                    <a:pt x="570" y="264"/>
                  </a:lnTo>
                  <a:lnTo>
                    <a:pt x="558" y="264"/>
                  </a:lnTo>
                  <a:lnTo>
                    <a:pt x="558" y="270"/>
                  </a:lnTo>
                  <a:lnTo>
                    <a:pt x="552" y="276"/>
                  </a:lnTo>
                  <a:lnTo>
                    <a:pt x="552" y="294"/>
                  </a:lnTo>
                  <a:lnTo>
                    <a:pt x="510" y="300"/>
                  </a:lnTo>
                  <a:lnTo>
                    <a:pt x="504" y="294"/>
                  </a:lnTo>
                  <a:lnTo>
                    <a:pt x="492" y="300"/>
                  </a:lnTo>
                  <a:lnTo>
                    <a:pt x="468" y="300"/>
                  </a:lnTo>
                  <a:lnTo>
                    <a:pt x="462" y="312"/>
                  </a:lnTo>
                  <a:lnTo>
                    <a:pt x="450" y="306"/>
                  </a:lnTo>
                  <a:lnTo>
                    <a:pt x="420" y="306"/>
                  </a:lnTo>
                  <a:lnTo>
                    <a:pt x="408" y="282"/>
                  </a:lnTo>
                  <a:lnTo>
                    <a:pt x="402" y="276"/>
                  </a:lnTo>
                  <a:lnTo>
                    <a:pt x="402" y="264"/>
                  </a:lnTo>
                  <a:lnTo>
                    <a:pt x="390" y="252"/>
                  </a:lnTo>
                  <a:lnTo>
                    <a:pt x="384" y="252"/>
                  </a:lnTo>
                  <a:lnTo>
                    <a:pt x="378" y="246"/>
                  </a:lnTo>
                  <a:lnTo>
                    <a:pt x="378" y="240"/>
                  </a:lnTo>
                  <a:lnTo>
                    <a:pt x="384" y="234"/>
                  </a:lnTo>
                  <a:lnTo>
                    <a:pt x="384" y="210"/>
                  </a:lnTo>
                  <a:lnTo>
                    <a:pt x="366" y="192"/>
                  </a:lnTo>
                  <a:lnTo>
                    <a:pt x="366" y="150"/>
                  </a:lnTo>
                  <a:lnTo>
                    <a:pt x="354" y="138"/>
                  </a:lnTo>
                  <a:lnTo>
                    <a:pt x="348" y="126"/>
                  </a:lnTo>
                  <a:lnTo>
                    <a:pt x="342" y="120"/>
                  </a:lnTo>
                  <a:lnTo>
                    <a:pt x="324" y="120"/>
                  </a:lnTo>
                  <a:lnTo>
                    <a:pt x="318" y="126"/>
                  </a:lnTo>
                  <a:lnTo>
                    <a:pt x="294" y="126"/>
                  </a:lnTo>
                  <a:lnTo>
                    <a:pt x="276" y="132"/>
                  </a:lnTo>
                  <a:lnTo>
                    <a:pt x="246" y="132"/>
                  </a:lnTo>
                  <a:lnTo>
                    <a:pt x="234" y="126"/>
                  </a:lnTo>
                  <a:lnTo>
                    <a:pt x="222" y="126"/>
                  </a:lnTo>
                  <a:lnTo>
                    <a:pt x="210" y="132"/>
                  </a:lnTo>
                  <a:lnTo>
                    <a:pt x="180" y="132"/>
                  </a:lnTo>
                  <a:lnTo>
                    <a:pt x="168" y="126"/>
                  </a:lnTo>
                  <a:lnTo>
                    <a:pt x="144" y="132"/>
                  </a:lnTo>
                  <a:lnTo>
                    <a:pt x="132" y="126"/>
                  </a:lnTo>
                  <a:lnTo>
                    <a:pt x="126" y="132"/>
                  </a:lnTo>
                  <a:lnTo>
                    <a:pt x="102" y="126"/>
                  </a:lnTo>
                  <a:lnTo>
                    <a:pt x="54" y="150"/>
                  </a:lnTo>
                  <a:lnTo>
                    <a:pt x="48" y="156"/>
                  </a:lnTo>
                  <a:lnTo>
                    <a:pt x="54" y="168"/>
                  </a:lnTo>
                  <a:lnTo>
                    <a:pt x="60" y="174"/>
                  </a:lnTo>
                  <a:lnTo>
                    <a:pt x="66" y="186"/>
                  </a:lnTo>
                  <a:lnTo>
                    <a:pt x="90" y="210"/>
                  </a:lnTo>
                  <a:lnTo>
                    <a:pt x="84" y="234"/>
                  </a:lnTo>
                  <a:lnTo>
                    <a:pt x="90" y="246"/>
                  </a:lnTo>
                  <a:lnTo>
                    <a:pt x="108" y="270"/>
                  </a:lnTo>
                  <a:lnTo>
                    <a:pt x="120" y="300"/>
                  </a:lnTo>
                  <a:lnTo>
                    <a:pt x="126" y="330"/>
                  </a:lnTo>
                  <a:lnTo>
                    <a:pt x="120" y="354"/>
                  </a:lnTo>
                  <a:lnTo>
                    <a:pt x="108" y="378"/>
                  </a:lnTo>
                  <a:lnTo>
                    <a:pt x="102" y="384"/>
                  </a:lnTo>
                  <a:lnTo>
                    <a:pt x="102" y="408"/>
                  </a:lnTo>
                  <a:lnTo>
                    <a:pt x="114" y="408"/>
                  </a:lnTo>
                  <a:lnTo>
                    <a:pt x="114" y="438"/>
                  </a:lnTo>
                  <a:lnTo>
                    <a:pt x="126" y="474"/>
                  </a:lnTo>
                  <a:lnTo>
                    <a:pt x="150" y="510"/>
                  </a:lnTo>
                  <a:lnTo>
                    <a:pt x="162" y="552"/>
                  </a:lnTo>
                  <a:lnTo>
                    <a:pt x="162" y="582"/>
                  </a:lnTo>
                  <a:lnTo>
                    <a:pt x="156" y="594"/>
                  </a:lnTo>
                  <a:lnTo>
                    <a:pt x="150" y="612"/>
                  </a:lnTo>
                  <a:lnTo>
                    <a:pt x="144" y="618"/>
                  </a:lnTo>
                  <a:lnTo>
                    <a:pt x="138" y="630"/>
                  </a:lnTo>
                  <a:lnTo>
                    <a:pt x="144" y="642"/>
                  </a:lnTo>
                  <a:lnTo>
                    <a:pt x="144" y="660"/>
                  </a:lnTo>
                  <a:lnTo>
                    <a:pt x="138" y="666"/>
                  </a:lnTo>
                  <a:lnTo>
                    <a:pt x="126" y="672"/>
                  </a:lnTo>
                  <a:lnTo>
                    <a:pt x="108" y="672"/>
                  </a:lnTo>
                  <a:lnTo>
                    <a:pt x="96" y="690"/>
                  </a:lnTo>
                  <a:lnTo>
                    <a:pt x="102" y="714"/>
                  </a:lnTo>
                  <a:lnTo>
                    <a:pt x="78" y="714"/>
                  </a:lnTo>
                  <a:lnTo>
                    <a:pt x="66" y="720"/>
                  </a:lnTo>
                  <a:lnTo>
                    <a:pt x="66" y="750"/>
                  </a:lnTo>
                  <a:lnTo>
                    <a:pt x="60" y="762"/>
                  </a:lnTo>
                  <a:lnTo>
                    <a:pt x="60" y="774"/>
                  </a:lnTo>
                  <a:lnTo>
                    <a:pt x="48" y="786"/>
                  </a:lnTo>
                  <a:lnTo>
                    <a:pt x="48" y="858"/>
                  </a:lnTo>
                  <a:lnTo>
                    <a:pt x="36" y="864"/>
                  </a:lnTo>
                  <a:lnTo>
                    <a:pt x="30" y="870"/>
                  </a:lnTo>
                  <a:lnTo>
                    <a:pt x="30" y="912"/>
                  </a:lnTo>
                  <a:lnTo>
                    <a:pt x="6" y="930"/>
                  </a:lnTo>
                  <a:lnTo>
                    <a:pt x="6" y="966"/>
                  </a:lnTo>
                  <a:lnTo>
                    <a:pt x="18" y="984"/>
                  </a:lnTo>
                  <a:lnTo>
                    <a:pt x="0" y="1002"/>
                  </a:lnTo>
                  <a:lnTo>
                    <a:pt x="0" y="1044"/>
                  </a:lnTo>
                  <a:lnTo>
                    <a:pt x="18" y="1044"/>
                  </a:lnTo>
                  <a:lnTo>
                    <a:pt x="36" y="1038"/>
                  </a:lnTo>
                  <a:lnTo>
                    <a:pt x="42" y="1044"/>
                  </a:lnTo>
                  <a:lnTo>
                    <a:pt x="72" y="1044"/>
                  </a:lnTo>
                  <a:lnTo>
                    <a:pt x="90" y="1026"/>
                  </a:lnTo>
                  <a:lnTo>
                    <a:pt x="90" y="1020"/>
                  </a:lnTo>
                  <a:lnTo>
                    <a:pt x="120" y="1020"/>
                  </a:lnTo>
                  <a:lnTo>
                    <a:pt x="126" y="1026"/>
                  </a:lnTo>
                  <a:lnTo>
                    <a:pt x="132" y="1038"/>
                  </a:lnTo>
                  <a:lnTo>
                    <a:pt x="156" y="1050"/>
                  </a:lnTo>
                  <a:lnTo>
                    <a:pt x="168" y="1050"/>
                  </a:lnTo>
                  <a:lnTo>
                    <a:pt x="174" y="1056"/>
                  </a:lnTo>
                  <a:lnTo>
                    <a:pt x="480" y="1056"/>
                  </a:lnTo>
                  <a:lnTo>
                    <a:pt x="480" y="1062"/>
                  </a:lnTo>
                  <a:lnTo>
                    <a:pt x="504" y="1086"/>
                  </a:lnTo>
                  <a:lnTo>
                    <a:pt x="540" y="1086"/>
                  </a:lnTo>
                  <a:lnTo>
                    <a:pt x="546" y="1098"/>
                  </a:lnTo>
                  <a:lnTo>
                    <a:pt x="618" y="1092"/>
                  </a:lnTo>
                  <a:lnTo>
                    <a:pt x="624" y="1104"/>
                  </a:lnTo>
                  <a:lnTo>
                    <a:pt x="696" y="1104"/>
                  </a:lnTo>
                  <a:lnTo>
                    <a:pt x="732" y="1098"/>
                  </a:lnTo>
                  <a:lnTo>
                    <a:pt x="780" y="1092"/>
                  </a:lnTo>
                  <a:lnTo>
                    <a:pt x="816" y="1080"/>
                  </a:lnTo>
                  <a:lnTo>
                    <a:pt x="828" y="1074"/>
                  </a:lnTo>
                  <a:lnTo>
                    <a:pt x="738" y="984"/>
                  </a:lnTo>
                  <a:lnTo>
                    <a:pt x="738" y="966"/>
                  </a:lnTo>
                  <a:lnTo>
                    <a:pt x="732" y="954"/>
                  </a:lnTo>
                  <a:lnTo>
                    <a:pt x="732" y="702"/>
                  </a:lnTo>
                  <a:lnTo>
                    <a:pt x="858" y="708"/>
                  </a:lnTo>
                  <a:lnTo>
                    <a:pt x="864" y="708"/>
                  </a:lnTo>
                  <a:lnTo>
                    <a:pt x="876" y="696"/>
                  </a:lnTo>
                  <a:lnTo>
                    <a:pt x="876" y="672"/>
                  </a:lnTo>
                  <a:lnTo>
                    <a:pt x="870" y="666"/>
                  </a:lnTo>
                  <a:lnTo>
                    <a:pt x="870" y="660"/>
                  </a:lnTo>
                  <a:lnTo>
                    <a:pt x="888" y="654"/>
                  </a:lnTo>
                  <a:lnTo>
                    <a:pt x="876" y="642"/>
                  </a:lnTo>
                  <a:lnTo>
                    <a:pt x="876" y="588"/>
                  </a:lnTo>
                  <a:lnTo>
                    <a:pt x="882" y="588"/>
                  </a:lnTo>
                  <a:lnTo>
                    <a:pt x="888" y="582"/>
                  </a:lnTo>
                  <a:lnTo>
                    <a:pt x="888" y="564"/>
                  </a:lnTo>
                  <a:lnTo>
                    <a:pt x="876" y="552"/>
                  </a:lnTo>
                  <a:lnTo>
                    <a:pt x="876" y="546"/>
                  </a:lnTo>
                  <a:close/>
                </a:path>
              </a:pathLst>
            </a:custGeom>
            <a:grpFill/>
            <a:ln w="3175">
              <a:solidFill>
                <a:schemeClr val="bg1"/>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de-DE" sz="1800" b="0" i="0" u="none" strike="noStrike" kern="1200" cap="none" spc="0" normalizeH="0" baseline="0" noProof="0">
                <a:ln>
                  <a:noFill/>
                </a:ln>
                <a:solidFill>
                  <a:srgbClr val="FFC000"/>
                </a:solidFill>
                <a:effectLst/>
                <a:uLnTx/>
                <a:uFillTx/>
                <a:latin typeface="Calibri" pitchFamily="34" charset="0"/>
                <a:ea typeface="+mn-ea"/>
                <a:cs typeface="+mn-cs"/>
              </a:endParaRPr>
            </a:p>
          </p:txBody>
        </p:sp>
        <p:sp>
          <p:nvSpPr>
            <p:cNvPr id="183" name="Andorra" descr="© INSCALE GmbH, 05.05.2010&#10;http://www.presentationload.com/"/>
            <p:cNvSpPr>
              <a:spLocks/>
            </p:cNvSpPr>
            <p:nvPr/>
          </p:nvSpPr>
          <p:spPr bwMode="gray">
            <a:xfrm>
              <a:off x="4516933" y="3238228"/>
              <a:ext cx="10239" cy="4899"/>
            </a:xfrm>
            <a:custGeom>
              <a:avLst/>
              <a:gdLst>
                <a:gd name="T0" fmla="*/ 2147483647 w 30"/>
                <a:gd name="T1" fmla="*/ 2147483647 h 18"/>
                <a:gd name="T2" fmla="*/ 2147483647 w 30"/>
                <a:gd name="T3" fmla="*/ 2147483647 h 18"/>
                <a:gd name="T4" fmla="*/ 2147483647 w 30"/>
                <a:gd name="T5" fmla="*/ 2147483647 h 18"/>
                <a:gd name="T6" fmla="*/ 2147483647 w 30"/>
                <a:gd name="T7" fmla="*/ 0 h 18"/>
                <a:gd name="T8" fmla="*/ 0 w 30"/>
                <a:gd name="T9" fmla="*/ 0 h 18"/>
                <a:gd name="T10" fmla="*/ 2147483647 w 30"/>
                <a:gd name="T11" fmla="*/ 2147483647 h 18"/>
                <a:gd name="T12" fmla="*/ 0 60000 65536"/>
                <a:gd name="T13" fmla="*/ 0 60000 65536"/>
                <a:gd name="T14" fmla="*/ 0 60000 65536"/>
                <a:gd name="T15" fmla="*/ 0 60000 65536"/>
                <a:gd name="T16" fmla="*/ 0 60000 65536"/>
                <a:gd name="T17" fmla="*/ 0 60000 65536"/>
                <a:gd name="T18" fmla="*/ 0 w 30"/>
                <a:gd name="T19" fmla="*/ 0 h 18"/>
                <a:gd name="T20" fmla="*/ 30 w 30"/>
                <a:gd name="T21" fmla="*/ 18 h 18"/>
              </a:gdLst>
              <a:ahLst/>
              <a:cxnLst>
                <a:cxn ang="T12">
                  <a:pos x="T0" y="T1"/>
                </a:cxn>
                <a:cxn ang="T13">
                  <a:pos x="T2" y="T3"/>
                </a:cxn>
                <a:cxn ang="T14">
                  <a:pos x="T4" y="T5"/>
                </a:cxn>
                <a:cxn ang="T15">
                  <a:pos x="T6" y="T7"/>
                </a:cxn>
                <a:cxn ang="T16">
                  <a:pos x="T8" y="T9"/>
                </a:cxn>
                <a:cxn ang="T17">
                  <a:pos x="T10" y="T11"/>
                </a:cxn>
              </a:cxnLst>
              <a:rect l="T18" t="T19" r="T20" b="T21"/>
              <a:pathLst>
                <a:path w="30" h="18">
                  <a:moveTo>
                    <a:pt x="6" y="18"/>
                  </a:moveTo>
                  <a:lnTo>
                    <a:pt x="18" y="12"/>
                  </a:lnTo>
                  <a:lnTo>
                    <a:pt x="30" y="12"/>
                  </a:lnTo>
                  <a:lnTo>
                    <a:pt x="30" y="0"/>
                  </a:lnTo>
                  <a:lnTo>
                    <a:pt x="0" y="0"/>
                  </a:lnTo>
                  <a:lnTo>
                    <a:pt x="6" y="18"/>
                  </a:lnTo>
                  <a:close/>
                </a:path>
              </a:pathLst>
            </a:custGeom>
            <a:grpFill/>
            <a:ln w="3175">
              <a:solidFill>
                <a:schemeClr val="bg1"/>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de-DE" sz="1800" b="0" i="0" u="none" strike="noStrike" kern="1200" cap="none" spc="0" normalizeH="0" baseline="0" noProof="0">
                <a:ln>
                  <a:noFill/>
                </a:ln>
                <a:solidFill>
                  <a:srgbClr val="FFC000"/>
                </a:solidFill>
                <a:effectLst/>
                <a:uLnTx/>
                <a:uFillTx/>
                <a:latin typeface="Calibri" pitchFamily="34" charset="0"/>
                <a:ea typeface="+mn-ea"/>
                <a:cs typeface="+mn-cs"/>
              </a:endParaRPr>
            </a:p>
          </p:txBody>
        </p:sp>
        <p:sp>
          <p:nvSpPr>
            <p:cNvPr id="184" name="Algeria" descr="© INSCALE GmbH, 05.05.2010&#10;http://www.presentationload.com/"/>
            <p:cNvSpPr>
              <a:spLocks/>
            </p:cNvSpPr>
            <p:nvPr/>
          </p:nvSpPr>
          <p:spPr bwMode="gray">
            <a:xfrm>
              <a:off x="4263525" y="3374180"/>
              <a:ext cx="479940" cy="454396"/>
            </a:xfrm>
            <a:custGeom>
              <a:avLst/>
              <a:gdLst>
                <a:gd name="T0" fmla="*/ 2147483647 w 1476"/>
                <a:gd name="T1" fmla="*/ 2147483647 h 1464"/>
                <a:gd name="T2" fmla="*/ 2147483647 w 1476"/>
                <a:gd name="T3" fmla="*/ 2147483647 h 1464"/>
                <a:gd name="T4" fmla="*/ 2147483647 w 1476"/>
                <a:gd name="T5" fmla="*/ 2147483647 h 1464"/>
                <a:gd name="T6" fmla="*/ 2147483647 w 1476"/>
                <a:gd name="T7" fmla="*/ 2147483647 h 1464"/>
                <a:gd name="T8" fmla="*/ 2147483647 w 1476"/>
                <a:gd name="T9" fmla="*/ 2147483647 h 1464"/>
                <a:gd name="T10" fmla="*/ 2147483647 w 1476"/>
                <a:gd name="T11" fmla="*/ 2147483647 h 1464"/>
                <a:gd name="T12" fmla="*/ 2147483647 w 1476"/>
                <a:gd name="T13" fmla="*/ 2147483647 h 1464"/>
                <a:gd name="T14" fmla="*/ 2147483647 w 1476"/>
                <a:gd name="T15" fmla="*/ 2147483647 h 1464"/>
                <a:gd name="T16" fmla="*/ 2147483647 w 1476"/>
                <a:gd name="T17" fmla="*/ 2147483647 h 1464"/>
                <a:gd name="T18" fmla="*/ 2147483647 w 1476"/>
                <a:gd name="T19" fmla="*/ 2147483647 h 1464"/>
                <a:gd name="T20" fmla="*/ 2147483647 w 1476"/>
                <a:gd name="T21" fmla="*/ 2147483647 h 1464"/>
                <a:gd name="T22" fmla="*/ 2147483647 w 1476"/>
                <a:gd name="T23" fmla="*/ 2147483647 h 1464"/>
                <a:gd name="T24" fmla="*/ 2147483647 w 1476"/>
                <a:gd name="T25" fmla="*/ 2147483647 h 1464"/>
                <a:gd name="T26" fmla="*/ 2147483647 w 1476"/>
                <a:gd name="T27" fmla="*/ 2147483647 h 1464"/>
                <a:gd name="T28" fmla="*/ 2147483647 w 1476"/>
                <a:gd name="T29" fmla="*/ 2147483647 h 1464"/>
                <a:gd name="T30" fmla="*/ 2147483647 w 1476"/>
                <a:gd name="T31" fmla="*/ 2147483647 h 1464"/>
                <a:gd name="T32" fmla="*/ 2147483647 w 1476"/>
                <a:gd name="T33" fmla="*/ 2147483647 h 1464"/>
                <a:gd name="T34" fmla="*/ 2147483647 w 1476"/>
                <a:gd name="T35" fmla="*/ 2147483647 h 1464"/>
                <a:gd name="T36" fmla="*/ 2147483647 w 1476"/>
                <a:gd name="T37" fmla="*/ 2147483647 h 1464"/>
                <a:gd name="T38" fmla="*/ 2147483647 w 1476"/>
                <a:gd name="T39" fmla="*/ 2147483647 h 1464"/>
                <a:gd name="T40" fmla="*/ 2147483647 w 1476"/>
                <a:gd name="T41" fmla="*/ 2147483647 h 1464"/>
                <a:gd name="T42" fmla="*/ 2147483647 w 1476"/>
                <a:gd name="T43" fmla="*/ 2147483647 h 1464"/>
                <a:gd name="T44" fmla="*/ 2147483647 w 1476"/>
                <a:gd name="T45" fmla="*/ 2147483647 h 1464"/>
                <a:gd name="T46" fmla="*/ 2147483647 w 1476"/>
                <a:gd name="T47" fmla="*/ 2147483647 h 1464"/>
                <a:gd name="T48" fmla="*/ 2147483647 w 1476"/>
                <a:gd name="T49" fmla="*/ 2147483647 h 1464"/>
                <a:gd name="T50" fmla="*/ 2147483647 w 1476"/>
                <a:gd name="T51" fmla="*/ 2147483647 h 1464"/>
                <a:gd name="T52" fmla="*/ 2147483647 w 1476"/>
                <a:gd name="T53" fmla="*/ 2147483647 h 1464"/>
                <a:gd name="T54" fmla="*/ 2147483647 w 1476"/>
                <a:gd name="T55" fmla="*/ 2147483647 h 1464"/>
                <a:gd name="T56" fmla="*/ 2147483647 w 1476"/>
                <a:gd name="T57" fmla="*/ 2147483647 h 1464"/>
                <a:gd name="T58" fmla="*/ 2147483647 w 1476"/>
                <a:gd name="T59" fmla="*/ 2147483647 h 1464"/>
                <a:gd name="T60" fmla="*/ 2147483647 w 1476"/>
                <a:gd name="T61" fmla="*/ 2147483647 h 1464"/>
                <a:gd name="T62" fmla="*/ 2147483647 w 1476"/>
                <a:gd name="T63" fmla="*/ 2147483647 h 1464"/>
                <a:gd name="T64" fmla="*/ 2147483647 w 1476"/>
                <a:gd name="T65" fmla="*/ 2147483647 h 1464"/>
                <a:gd name="T66" fmla="*/ 2147483647 w 1476"/>
                <a:gd name="T67" fmla="*/ 2147483647 h 1464"/>
                <a:gd name="T68" fmla="*/ 2147483647 w 1476"/>
                <a:gd name="T69" fmla="*/ 2147483647 h 1464"/>
                <a:gd name="T70" fmla="*/ 2147483647 w 1476"/>
                <a:gd name="T71" fmla="*/ 2147483647 h 1464"/>
                <a:gd name="T72" fmla="*/ 2147483647 w 1476"/>
                <a:gd name="T73" fmla="*/ 2147483647 h 1464"/>
                <a:gd name="T74" fmla="*/ 2147483647 w 1476"/>
                <a:gd name="T75" fmla="*/ 2147483647 h 1464"/>
                <a:gd name="T76" fmla="*/ 2147483647 w 1476"/>
                <a:gd name="T77" fmla="*/ 2147483647 h 1464"/>
                <a:gd name="T78" fmla="*/ 2147483647 w 1476"/>
                <a:gd name="T79" fmla="*/ 2147483647 h 1464"/>
                <a:gd name="T80" fmla="*/ 2147483647 w 1476"/>
                <a:gd name="T81" fmla="*/ 2147483647 h 1464"/>
                <a:gd name="T82" fmla="*/ 2147483647 w 1476"/>
                <a:gd name="T83" fmla="*/ 2147483647 h 1464"/>
                <a:gd name="T84" fmla="*/ 2147483647 w 1476"/>
                <a:gd name="T85" fmla="*/ 2147483647 h 1464"/>
                <a:gd name="T86" fmla="*/ 2147483647 w 1476"/>
                <a:gd name="T87" fmla="*/ 2147483647 h 1464"/>
                <a:gd name="T88" fmla="*/ 2147483647 w 1476"/>
                <a:gd name="T89" fmla="*/ 2147483647 h 1464"/>
                <a:gd name="T90" fmla="*/ 2147483647 w 1476"/>
                <a:gd name="T91" fmla="*/ 2147483647 h 1464"/>
                <a:gd name="T92" fmla="*/ 2147483647 w 1476"/>
                <a:gd name="T93" fmla="*/ 2147483647 h 1464"/>
                <a:gd name="T94" fmla="*/ 2147483647 w 1476"/>
                <a:gd name="T95" fmla="*/ 2147483647 h 1464"/>
                <a:gd name="T96" fmla="*/ 2147483647 w 1476"/>
                <a:gd name="T97" fmla="*/ 2147483647 h 1464"/>
                <a:gd name="T98" fmla="*/ 2147483647 w 1476"/>
                <a:gd name="T99" fmla="*/ 2147483647 h 1464"/>
                <a:gd name="T100" fmla="*/ 2147483647 w 1476"/>
                <a:gd name="T101" fmla="*/ 2147483647 h 1464"/>
                <a:gd name="T102" fmla="*/ 2147483647 w 1476"/>
                <a:gd name="T103" fmla="*/ 2147483647 h 1464"/>
                <a:gd name="T104" fmla="*/ 2147483647 w 1476"/>
                <a:gd name="T105" fmla="*/ 2147483647 h 1464"/>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1476"/>
                <a:gd name="T160" fmla="*/ 0 h 1464"/>
                <a:gd name="T161" fmla="*/ 1476 w 1476"/>
                <a:gd name="T162" fmla="*/ 1464 h 1464"/>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1476" h="1464">
                  <a:moveTo>
                    <a:pt x="360" y="534"/>
                  </a:moveTo>
                  <a:lnTo>
                    <a:pt x="318" y="534"/>
                  </a:lnTo>
                  <a:lnTo>
                    <a:pt x="312" y="546"/>
                  </a:lnTo>
                  <a:lnTo>
                    <a:pt x="306" y="552"/>
                  </a:lnTo>
                  <a:lnTo>
                    <a:pt x="294" y="576"/>
                  </a:lnTo>
                  <a:lnTo>
                    <a:pt x="282" y="588"/>
                  </a:lnTo>
                  <a:lnTo>
                    <a:pt x="258" y="588"/>
                  </a:lnTo>
                  <a:lnTo>
                    <a:pt x="246" y="582"/>
                  </a:lnTo>
                  <a:lnTo>
                    <a:pt x="234" y="582"/>
                  </a:lnTo>
                  <a:lnTo>
                    <a:pt x="228" y="594"/>
                  </a:lnTo>
                  <a:lnTo>
                    <a:pt x="204" y="600"/>
                  </a:lnTo>
                  <a:lnTo>
                    <a:pt x="204" y="606"/>
                  </a:lnTo>
                  <a:lnTo>
                    <a:pt x="198" y="618"/>
                  </a:lnTo>
                  <a:lnTo>
                    <a:pt x="186" y="618"/>
                  </a:lnTo>
                  <a:lnTo>
                    <a:pt x="180" y="612"/>
                  </a:lnTo>
                  <a:lnTo>
                    <a:pt x="168" y="606"/>
                  </a:lnTo>
                  <a:lnTo>
                    <a:pt x="138" y="624"/>
                  </a:lnTo>
                  <a:lnTo>
                    <a:pt x="120" y="624"/>
                  </a:lnTo>
                  <a:lnTo>
                    <a:pt x="120" y="630"/>
                  </a:lnTo>
                  <a:lnTo>
                    <a:pt x="90" y="660"/>
                  </a:lnTo>
                  <a:lnTo>
                    <a:pt x="78" y="666"/>
                  </a:lnTo>
                  <a:lnTo>
                    <a:pt x="72" y="672"/>
                  </a:lnTo>
                  <a:lnTo>
                    <a:pt x="60" y="678"/>
                  </a:lnTo>
                  <a:lnTo>
                    <a:pt x="54" y="708"/>
                  </a:lnTo>
                  <a:lnTo>
                    <a:pt x="54" y="768"/>
                  </a:lnTo>
                  <a:lnTo>
                    <a:pt x="0" y="768"/>
                  </a:lnTo>
                  <a:lnTo>
                    <a:pt x="54" y="768"/>
                  </a:lnTo>
                  <a:lnTo>
                    <a:pt x="54" y="804"/>
                  </a:lnTo>
                  <a:lnTo>
                    <a:pt x="312" y="984"/>
                  </a:lnTo>
                  <a:lnTo>
                    <a:pt x="720" y="1296"/>
                  </a:lnTo>
                  <a:lnTo>
                    <a:pt x="720" y="1320"/>
                  </a:lnTo>
                  <a:lnTo>
                    <a:pt x="744" y="1320"/>
                  </a:lnTo>
                  <a:lnTo>
                    <a:pt x="750" y="1326"/>
                  </a:lnTo>
                  <a:lnTo>
                    <a:pt x="750" y="1344"/>
                  </a:lnTo>
                  <a:lnTo>
                    <a:pt x="762" y="1356"/>
                  </a:lnTo>
                  <a:lnTo>
                    <a:pt x="798" y="1356"/>
                  </a:lnTo>
                  <a:lnTo>
                    <a:pt x="804" y="1386"/>
                  </a:lnTo>
                  <a:lnTo>
                    <a:pt x="810" y="1386"/>
                  </a:lnTo>
                  <a:lnTo>
                    <a:pt x="816" y="1380"/>
                  </a:lnTo>
                  <a:lnTo>
                    <a:pt x="846" y="1380"/>
                  </a:lnTo>
                  <a:lnTo>
                    <a:pt x="858" y="1386"/>
                  </a:lnTo>
                  <a:lnTo>
                    <a:pt x="870" y="1410"/>
                  </a:lnTo>
                  <a:lnTo>
                    <a:pt x="870" y="1428"/>
                  </a:lnTo>
                  <a:lnTo>
                    <a:pt x="852" y="1446"/>
                  </a:lnTo>
                  <a:lnTo>
                    <a:pt x="852" y="1452"/>
                  </a:lnTo>
                  <a:lnTo>
                    <a:pt x="858" y="1458"/>
                  </a:lnTo>
                  <a:lnTo>
                    <a:pt x="870" y="1464"/>
                  </a:lnTo>
                  <a:lnTo>
                    <a:pt x="900" y="1464"/>
                  </a:lnTo>
                  <a:lnTo>
                    <a:pt x="906" y="1458"/>
                  </a:lnTo>
                  <a:lnTo>
                    <a:pt x="924" y="1458"/>
                  </a:lnTo>
                  <a:lnTo>
                    <a:pt x="954" y="1452"/>
                  </a:lnTo>
                  <a:lnTo>
                    <a:pt x="984" y="1440"/>
                  </a:lnTo>
                  <a:lnTo>
                    <a:pt x="1020" y="1434"/>
                  </a:lnTo>
                  <a:lnTo>
                    <a:pt x="1038" y="1434"/>
                  </a:lnTo>
                  <a:lnTo>
                    <a:pt x="1062" y="1416"/>
                  </a:lnTo>
                  <a:lnTo>
                    <a:pt x="1098" y="1386"/>
                  </a:lnTo>
                  <a:lnTo>
                    <a:pt x="1128" y="1350"/>
                  </a:lnTo>
                  <a:lnTo>
                    <a:pt x="1158" y="1326"/>
                  </a:lnTo>
                  <a:lnTo>
                    <a:pt x="1182" y="1314"/>
                  </a:lnTo>
                  <a:lnTo>
                    <a:pt x="1224" y="1284"/>
                  </a:lnTo>
                  <a:lnTo>
                    <a:pt x="1272" y="1248"/>
                  </a:lnTo>
                  <a:lnTo>
                    <a:pt x="1332" y="1206"/>
                  </a:lnTo>
                  <a:lnTo>
                    <a:pt x="1386" y="1170"/>
                  </a:lnTo>
                  <a:lnTo>
                    <a:pt x="1434" y="1134"/>
                  </a:lnTo>
                  <a:lnTo>
                    <a:pt x="1464" y="1110"/>
                  </a:lnTo>
                  <a:lnTo>
                    <a:pt x="1476" y="1104"/>
                  </a:lnTo>
                  <a:lnTo>
                    <a:pt x="1476" y="1098"/>
                  </a:lnTo>
                  <a:lnTo>
                    <a:pt x="1470" y="1092"/>
                  </a:lnTo>
                  <a:lnTo>
                    <a:pt x="1464" y="1080"/>
                  </a:lnTo>
                  <a:lnTo>
                    <a:pt x="1458" y="1062"/>
                  </a:lnTo>
                  <a:lnTo>
                    <a:pt x="1452" y="1050"/>
                  </a:lnTo>
                  <a:lnTo>
                    <a:pt x="1452" y="1044"/>
                  </a:lnTo>
                  <a:lnTo>
                    <a:pt x="1440" y="1032"/>
                  </a:lnTo>
                  <a:lnTo>
                    <a:pt x="1428" y="1032"/>
                  </a:lnTo>
                  <a:lnTo>
                    <a:pt x="1392" y="1014"/>
                  </a:lnTo>
                  <a:lnTo>
                    <a:pt x="1386" y="1014"/>
                  </a:lnTo>
                  <a:lnTo>
                    <a:pt x="1362" y="1026"/>
                  </a:lnTo>
                  <a:lnTo>
                    <a:pt x="1338" y="1002"/>
                  </a:lnTo>
                  <a:lnTo>
                    <a:pt x="1338" y="960"/>
                  </a:lnTo>
                  <a:lnTo>
                    <a:pt x="1332" y="954"/>
                  </a:lnTo>
                  <a:lnTo>
                    <a:pt x="1326" y="942"/>
                  </a:lnTo>
                  <a:lnTo>
                    <a:pt x="1314" y="930"/>
                  </a:lnTo>
                  <a:lnTo>
                    <a:pt x="1308" y="912"/>
                  </a:lnTo>
                  <a:lnTo>
                    <a:pt x="1296" y="900"/>
                  </a:lnTo>
                  <a:lnTo>
                    <a:pt x="1290" y="888"/>
                  </a:lnTo>
                  <a:lnTo>
                    <a:pt x="1290" y="882"/>
                  </a:lnTo>
                  <a:lnTo>
                    <a:pt x="1296" y="876"/>
                  </a:lnTo>
                  <a:lnTo>
                    <a:pt x="1308" y="876"/>
                  </a:lnTo>
                  <a:lnTo>
                    <a:pt x="1320" y="870"/>
                  </a:lnTo>
                  <a:lnTo>
                    <a:pt x="1326" y="864"/>
                  </a:lnTo>
                  <a:lnTo>
                    <a:pt x="1332" y="852"/>
                  </a:lnTo>
                  <a:lnTo>
                    <a:pt x="1332" y="840"/>
                  </a:lnTo>
                  <a:lnTo>
                    <a:pt x="1326" y="834"/>
                  </a:lnTo>
                  <a:lnTo>
                    <a:pt x="1326" y="828"/>
                  </a:lnTo>
                  <a:lnTo>
                    <a:pt x="1320" y="774"/>
                  </a:lnTo>
                  <a:lnTo>
                    <a:pt x="1332" y="750"/>
                  </a:lnTo>
                  <a:lnTo>
                    <a:pt x="1326" y="732"/>
                  </a:lnTo>
                  <a:lnTo>
                    <a:pt x="1326" y="726"/>
                  </a:lnTo>
                  <a:lnTo>
                    <a:pt x="1332" y="720"/>
                  </a:lnTo>
                  <a:lnTo>
                    <a:pt x="1332" y="690"/>
                  </a:lnTo>
                  <a:lnTo>
                    <a:pt x="1338" y="678"/>
                  </a:lnTo>
                  <a:lnTo>
                    <a:pt x="1338" y="672"/>
                  </a:lnTo>
                  <a:lnTo>
                    <a:pt x="1326" y="648"/>
                  </a:lnTo>
                  <a:lnTo>
                    <a:pt x="1302" y="588"/>
                  </a:lnTo>
                  <a:lnTo>
                    <a:pt x="1290" y="570"/>
                  </a:lnTo>
                  <a:lnTo>
                    <a:pt x="1296" y="564"/>
                  </a:lnTo>
                  <a:lnTo>
                    <a:pt x="1308" y="558"/>
                  </a:lnTo>
                  <a:lnTo>
                    <a:pt x="1296" y="528"/>
                  </a:lnTo>
                  <a:lnTo>
                    <a:pt x="1284" y="480"/>
                  </a:lnTo>
                  <a:lnTo>
                    <a:pt x="1278" y="438"/>
                  </a:lnTo>
                  <a:lnTo>
                    <a:pt x="1272" y="414"/>
                  </a:lnTo>
                  <a:lnTo>
                    <a:pt x="1266" y="408"/>
                  </a:lnTo>
                  <a:lnTo>
                    <a:pt x="1260" y="396"/>
                  </a:lnTo>
                  <a:lnTo>
                    <a:pt x="1236" y="384"/>
                  </a:lnTo>
                  <a:lnTo>
                    <a:pt x="1230" y="378"/>
                  </a:lnTo>
                  <a:lnTo>
                    <a:pt x="1224" y="378"/>
                  </a:lnTo>
                  <a:lnTo>
                    <a:pt x="1224" y="336"/>
                  </a:lnTo>
                  <a:lnTo>
                    <a:pt x="1212" y="324"/>
                  </a:lnTo>
                  <a:lnTo>
                    <a:pt x="1194" y="318"/>
                  </a:lnTo>
                  <a:lnTo>
                    <a:pt x="1182" y="318"/>
                  </a:lnTo>
                  <a:lnTo>
                    <a:pt x="1182" y="288"/>
                  </a:lnTo>
                  <a:lnTo>
                    <a:pt x="1170" y="288"/>
                  </a:lnTo>
                  <a:lnTo>
                    <a:pt x="1170" y="246"/>
                  </a:lnTo>
                  <a:lnTo>
                    <a:pt x="1194" y="222"/>
                  </a:lnTo>
                  <a:lnTo>
                    <a:pt x="1218" y="204"/>
                  </a:lnTo>
                  <a:lnTo>
                    <a:pt x="1218" y="198"/>
                  </a:lnTo>
                  <a:lnTo>
                    <a:pt x="1224" y="192"/>
                  </a:lnTo>
                  <a:lnTo>
                    <a:pt x="1224" y="180"/>
                  </a:lnTo>
                  <a:lnTo>
                    <a:pt x="1230" y="168"/>
                  </a:lnTo>
                  <a:lnTo>
                    <a:pt x="1230" y="126"/>
                  </a:lnTo>
                  <a:lnTo>
                    <a:pt x="1224" y="114"/>
                  </a:lnTo>
                  <a:lnTo>
                    <a:pt x="1224" y="78"/>
                  </a:lnTo>
                  <a:lnTo>
                    <a:pt x="1230" y="66"/>
                  </a:lnTo>
                  <a:lnTo>
                    <a:pt x="1230" y="54"/>
                  </a:lnTo>
                  <a:lnTo>
                    <a:pt x="1212" y="48"/>
                  </a:lnTo>
                  <a:lnTo>
                    <a:pt x="1254" y="30"/>
                  </a:lnTo>
                  <a:lnTo>
                    <a:pt x="1254" y="18"/>
                  </a:lnTo>
                  <a:lnTo>
                    <a:pt x="1242" y="18"/>
                  </a:lnTo>
                  <a:lnTo>
                    <a:pt x="1236" y="12"/>
                  </a:lnTo>
                  <a:lnTo>
                    <a:pt x="1224" y="12"/>
                  </a:lnTo>
                  <a:lnTo>
                    <a:pt x="1206" y="24"/>
                  </a:lnTo>
                  <a:lnTo>
                    <a:pt x="1170" y="6"/>
                  </a:lnTo>
                  <a:lnTo>
                    <a:pt x="1152" y="6"/>
                  </a:lnTo>
                  <a:lnTo>
                    <a:pt x="1152" y="18"/>
                  </a:lnTo>
                  <a:lnTo>
                    <a:pt x="1116" y="18"/>
                  </a:lnTo>
                  <a:lnTo>
                    <a:pt x="1092" y="0"/>
                  </a:lnTo>
                  <a:lnTo>
                    <a:pt x="1086" y="30"/>
                  </a:lnTo>
                  <a:lnTo>
                    <a:pt x="1056" y="18"/>
                  </a:lnTo>
                  <a:lnTo>
                    <a:pt x="1026" y="42"/>
                  </a:lnTo>
                  <a:lnTo>
                    <a:pt x="1002" y="30"/>
                  </a:lnTo>
                  <a:lnTo>
                    <a:pt x="984" y="30"/>
                  </a:lnTo>
                  <a:lnTo>
                    <a:pt x="966" y="24"/>
                  </a:lnTo>
                  <a:lnTo>
                    <a:pt x="948" y="24"/>
                  </a:lnTo>
                  <a:lnTo>
                    <a:pt x="924" y="30"/>
                  </a:lnTo>
                  <a:lnTo>
                    <a:pt x="906" y="30"/>
                  </a:lnTo>
                  <a:lnTo>
                    <a:pt x="900" y="36"/>
                  </a:lnTo>
                  <a:lnTo>
                    <a:pt x="888" y="36"/>
                  </a:lnTo>
                  <a:lnTo>
                    <a:pt x="876" y="42"/>
                  </a:lnTo>
                  <a:lnTo>
                    <a:pt x="816" y="42"/>
                  </a:lnTo>
                  <a:lnTo>
                    <a:pt x="810" y="48"/>
                  </a:lnTo>
                  <a:lnTo>
                    <a:pt x="750" y="48"/>
                  </a:lnTo>
                  <a:lnTo>
                    <a:pt x="744" y="54"/>
                  </a:lnTo>
                  <a:lnTo>
                    <a:pt x="726" y="54"/>
                  </a:lnTo>
                  <a:lnTo>
                    <a:pt x="714" y="60"/>
                  </a:lnTo>
                  <a:lnTo>
                    <a:pt x="696" y="66"/>
                  </a:lnTo>
                  <a:lnTo>
                    <a:pt x="684" y="78"/>
                  </a:lnTo>
                  <a:lnTo>
                    <a:pt x="678" y="90"/>
                  </a:lnTo>
                  <a:lnTo>
                    <a:pt x="666" y="102"/>
                  </a:lnTo>
                  <a:lnTo>
                    <a:pt x="666" y="108"/>
                  </a:lnTo>
                  <a:lnTo>
                    <a:pt x="636" y="108"/>
                  </a:lnTo>
                  <a:lnTo>
                    <a:pt x="624" y="114"/>
                  </a:lnTo>
                  <a:lnTo>
                    <a:pt x="606" y="114"/>
                  </a:lnTo>
                  <a:lnTo>
                    <a:pt x="594" y="120"/>
                  </a:lnTo>
                  <a:lnTo>
                    <a:pt x="588" y="126"/>
                  </a:lnTo>
                  <a:lnTo>
                    <a:pt x="588" y="132"/>
                  </a:lnTo>
                  <a:lnTo>
                    <a:pt x="558" y="162"/>
                  </a:lnTo>
                  <a:lnTo>
                    <a:pt x="546" y="168"/>
                  </a:lnTo>
                  <a:lnTo>
                    <a:pt x="522" y="168"/>
                  </a:lnTo>
                  <a:lnTo>
                    <a:pt x="528" y="174"/>
                  </a:lnTo>
                  <a:lnTo>
                    <a:pt x="534" y="186"/>
                  </a:lnTo>
                  <a:lnTo>
                    <a:pt x="546" y="192"/>
                  </a:lnTo>
                  <a:lnTo>
                    <a:pt x="540" y="198"/>
                  </a:lnTo>
                  <a:lnTo>
                    <a:pt x="540" y="210"/>
                  </a:lnTo>
                  <a:lnTo>
                    <a:pt x="552" y="210"/>
                  </a:lnTo>
                  <a:lnTo>
                    <a:pt x="546" y="276"/>
                  </a:lnTo>
                  <a:lnTo>
                    <a:pt x="558" y="294"/>
                  </a:lnTo>
                  <a:lnTo>
                    <a:pt x="546" y="324"/>
                  </a:lnTo>
                  <a:lnTo>
                    <a:pt x="564" y="324"/>
                  </a:lnTo>
                  <a:lnTo>
                    <a:pt x="564" y="354"/>
                  </a:lnTo>
                  <a:lnTo>
                    <a:pt x="588" y="372"/>
                  </a:lnTo>
                  <a:lnTo>
                    <a:pt x="570" y="390"/>
                  </a:lnTo>
                  <a:lnTo>
                    <a:pt x="570" y="402"/>
                  </a:lnTo>
                  <a:lnTo>
                    <a:pt x="516" y="408"/>
                  </a:lnTo>
                  <a:lnTo>
                    <a:pt x="504" y="402"/>
                  </a:lnTo>
                  <a:lnTo>
                    <a:pt x="486" y="402"/>
                  </a:lnTo>
                  <a:lnTo>
                    <a:pt x="486" y="408"/>
                  </a:lnTo>
                  <a:lnTo>
                    <a:pt x="480" y="414"/>
                  </a:lnTo>
                  <a:lnTo>
                    <a:pt x="474" y="408"/>
                  </a:lnTo>
                  <a:lnTo>
                    <a:pt x="462" y="408"/>
                  </a:lnTo>
                  <a:lnTo>
                    <a:pt x="462" y="414"/>
                  </a:lnTo>
                  <a:lnTo>
                    <a:pt x="456" y="420"/>
                  </a:lnTo>
                  <a:lnTo>
                    <a:pt x="456" y="432"/>
                  </a:lnTo>
                  <a:lnTo>
                    <a:pt x="432" y="432"/>
                  </a:lnTo>
                  <a:lnTo>
                    <a:pt x="420" y="438"/>
                  </a:lnTo>
                  <a:lnTo>
                    <a:pt x="396" y="438"/>
                  </a:lnTo>
                  <a:lnTo>
                    <a:pt x="390" y="444"/>
                  </a:lnTo>
                  <a:lnTo>
                    <a:pt x="390" y="456"/>
                  </a:lnTo>
                  <a:lnTo>
                    <a:pt x="396" y="462"/>
                  </a:lnTo>
                  <a:lnTo>
                    <a:pt x="402" y="474"/>
                  </a:lnTo>
                  <a:lnTo>
                    <a:pt x="414" y="492"/>
                  </a:lnTo>
                  <a:lnTo>
                    <a:pt x="390" y="504"/>
                  </a:lnTo>
                  <a:lnTo>
                    <a:pt x="390" y="510"/>
                  </a:lnTo>
                  <a:lnTo>
                    <a:pt x="378" y="522"/>
                  </a:lnTo>
                  <a:lnTo>
                    <a:pt x="366" y="528"/>
                  </a:lnTo>
                  <a:lnTo>
                    <a:pt x="360" y="534"/>
                  </a:lnTo>
                  <a:close/>
                </a:path>
              </a:pathLst>
            </a:custGeom>
            <a:solidFill>
              <a:srgbClr val="E2583D"/>
            </a:solidFill>
            <a:ln w="3175">
              <a:solidFill>
                <a:schemeClr val="bg1"/>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de-DE" sz="1800" b="0" i="0" u="none" strike="noStrike" kern="1200" cap="none" spc="0" normalizeH="0" baseline="0" noProof="0">
                <a:ln>
                  <a:noFill/>
                </a:ln>
                <a:solidFill>
                  <a:srgbClr val="FFC000"/>
                </a:solidFill>
                <a:effectLst/>
                <a:uLnTx/>
                <a:uFillTx/>
                <a:latin typeface="Calibri" pitchFamily="34" charset="0"/>
                <a:ea typeface="+mn-ea"/>
                <a:cs typeface="+mn-cs"/>
              </a:endParaRPr>
            </a:p>
          </p:txBody>
        </p:sp>
        <p:sp>
          <p:nvSpPr>
            <p:cNvPr id="185" name="Albania" descr="© INSCALE GmbH, 05.05.2010&#10;http://www.presentationload.com/"/>
            <p:cNvSpPr>
              <a:spLocks/>
            </p:cNvSpPr>
            <p:nvPr/>
          </p:nvSpPr>
          <p:spPr bwMode="gray">
            <a:xfrm>
              <a:off x="4886808" y="3238228"/>
              <a:ext cx="46075" cy="75937"/>
            </a:xfrm>
            <a:custGeom>
              <a:avLst/>
              <a:gdLst>
                <a:gd name="T0" fmla="*/ 2147483647 w 144"/>
                <a:gd name="T1" fmla="*/ 2147483647 h 246"/>
                <a:gd name="T2" fmla="*/ 2147483647 w 144"/>
                <a:gd name="T3" fmla="*/ 2147483647 h 246"/>
                <a:gd name="T4" fmla="*/ 2147483647 w 144"/>
                <a:gd name="T5" fmla="*/ 2147483647 h 246"/>
                <a:gd name="T6" fmla="*/ 2147483647 w 144"/>
                <a:gd name="T7" fmla="*/ 2147483647 h 246"/>
                <a:gd name="T8" fmla="*/ 2147483647 w 144"/>
                <a:gd name="T9" fmla="*/ 2147483647 h 246"/>
                <a:gd name="T10" fmla="*/ 2147483647 w 144"/>
                <a:gd name="T11" fmla="*/ 2147483647 h 246"/>
                <a:gd name="T12" fmla="*/ 2147483647 w 144"/>
                <a:gd name="T13" fmla="*/ 2147483647 h 246"/>
                <a:gd name="T14" fmla="*/ 2147483647 w 144"/>
                <a:gd name="T15" fmla="*/ 2147483647 h 246"/>
                <a:gd name="T16" fmla="*/ 2147483647 w 144"/>
                <a:gd name="T17" fmla="*/ 2147483647 h 246"/>
                <a:gd name="T18" fmla="*/ 2147483647 w 144"/>
                <a:gd name="T19" fmla="*/ 2147483647 h 246"/>
                <a:gd name="T20" fmla="*/ 2147483647 w 144"/>
                <a:gd name="T21" fmla="*/ 2147483647 h 246"/>
                <a:gd name="T22" fmla="*/ 2147483647 w 144"/>
                <a:gd name="T23" fmla="*/ 2147483647 h 246"/>
                <a:gd name="T24" fmla="*/ 2147483647 w 144"/>
                <a:gd name="T25" fmla="*/ 2147483647 h 246"/>
                <a:gd name="T26" fmla="*/ 2147483647 w 144"/>
                <a:gd name="T27" fmla="*/ 2147483647 h 246"/>
                <a:gd name="T28" fmla="*/ 2147483647 w 144"/>
                <a:gd name="T29" fmla="*/ 2147483647 h 246"/>
                <a:gd name="T30" fmla="*/ 2147483647 w 144"/>
                <a:gd name="T31" fmla="*/ 2147483647 h 246"/>
                <a:gd name="T32" fmla="*/ 2147483647 w 144"/>
                <a:gd name="T33" fmla="*/ 2147483647 h 246"/>
                <a:gd name="T34" fmla="*/ 2147483647 w 144"/>
                <a:gd name="T35" fmla="*/ 2147483647 h 246"/>
                <a:gd name="T36" fmla="*/ 2147483647 w 144"/>
                <a:gd name="T37" fmla="*/ 2147483647 h 246"/>
                <a:gd name="T38" fmla="*/ 2147483647 w 144"/>
                <a:gd name="T39" fmla="*/ 0 h 246"/>
                <a:gd name="T40" fmla="*/ 2147483647 w 144"/>
                <a:gd name="T41" fmla="*/ 2147483647 h 246"/>
                <a:gd name="T42" fmla="*/ 2147483647 w 144"/>
                <a:gd name="T43" fmla="*/ 2147483647 h 246"/>
                <a:gd name="T44" fmla="*/ 0 w 144"/>
                <a:gd name="T45" fmla="*/ 2147483647 h 246"/>
                <a:gd name="T46" fmla="*/ 2147483647 w 144"/>
                <a:gd name="T47" fmla="*/ 2147483647 h 246"/>
                <a:gd name="T48" fmla="*/ 2147483647 w 144"/>
                <a:gd name="T49" fmla="*/ 2147483647 h 246"/>
                <a:gd name="T50" fmla="*/ 2147483647 w 144"/>
                <a:gd name="T51" fmla="*/ 2147483647 h 246"/>
                <a:gd name="T52" fmla="*/ 2147483647 w 144"/>
                <a:gd name="T53" fmla="*/ 2147483647 h 246"/>
                <a:gd name="T54" fmla="*/ 2147483647 w 144"/>
                <a:gd name="T55" fmla="*/ 2147483647 h 246"/>
                <a:gd name="T56" fmla="*/ 2147483647 w 144"/>
                <a:gd name="T57" fmla="*/ 2147483647 h 246"/>
                <a:gd name="T58" fmla="*/ 2147483647 w 144"/>
                <a:gd name="T59" fmla="*/ 2147483647 h 246"/>
                <a:gd name="T60" fmla="*/ 2147483647 w 144"/>
                <a:gd name="T61" fmla="*/ 2147483647 h 246"/>
                <a:gd name="T62" fmla="*/ 2147483647 w 144"/>
                <a:gd name="T63" fmla="*/ 2147483647 h 246"/>
                <a:gd name="T64" fmla="*/ 2147483647 w 144"/>
                <a:gd name="T65" fmla="*/ 2147483647 h 246"/>
                <a:gd name="T66" fmla="*/ 2147483647 w 144"/>
                <a:gd name="T67" fmla="*/ 2147483647 h 246"/>
                <a:gd name="T68" fmla="*/ 2147483647 w 144"/>
                <a:gd name="T69" fmla="*/ 2147483647 h 246"/>
                <a:gd name="T70" fmla="*/ 2147483647 w 144"/>
                <a:gd name="T71" fmla="*/ 2147483647 h 246"/>
                <a:gd name="T72" fmla="*/ 2147483647 w 144"/>
                <a:gd name="T73" fmla="*/ 2147483647 h 246"/>
                <a:gd name="T74" fmla="*/ 2147483647 w 144"/>
                <a:gd name="T75" fmla="*/ 2147483647 h 246"/>
                <a:gd name="T76" fmla="*/ 2147483647 w 144"/>
                <a:gd name="T77" fmla="*/ 2147483647 h 246"/>
                <a:gd name="T78" fmla="*/ 2147483647 w 144"/>
                <a:gd name="T79" fmla="*/ 2147483647 h 246"/>
                <a:gd name="T80" fmla="*/ 2147483647 w 144"/>
                <a:gd name="T81" fmla="*/ 2147483647 h 246"/>
                <a:gd name="T82" fmla="*/ 2147483647 w 144"/>
                <a:gd name="T83" fmla="*/ 2147483647 h 246"/>
                <a:gd name="T84" fmla="*/ 2147483647 w 144"/>
                <a:gd name="T85" fmla="*/ 2147483647 h 246"/>
                <a:gd name="T86" fmla="*/ 2147483647 w 144"/>
                <a:gd name="T87" fmla="*/ 2147483647 h 246"/>
                <a:gd name="T88" fmla="*/ 2147483647 w 144"/>
                <a:gd name="T89" fmla="*/ 2147483647 h 24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144"/>
                <a:gd name="T136" fmla="*/ 0 h 246"/>
                <a:gd name="T137" fmla="*/ 144 w 144"/>
                <a:gd name="T138" fmla="*/ 246 h 24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144" h="246">
                  <a:moveTo>
                    <a:pt x="96" y="210"/>
                  </a:moveTo>
                  <a:lnTo>
                    <a:pt x="96" y="204"/>
                  </a:lnTo>
                  <a:lnTo>
                    <a:pt x="108" y="204"/>
                  </a:lnTo>
                  <a:lnTo>
                    <a:pt x="120" y="198"/>
                  </a:lnTo>
                  <a:lnTo>
                    <a:pt x="120" y="174"/>
                  </a:lnTo>
                  <a:lnTo>
                    <a:pt x="138" y="174"/>
                  </a:lnTo>
                  <a:lnTo>
                    <a:pt x="144" y="168"/>
                  </a:lnTo>
                  <a:lnTo>
                    <a:pt x="144" y="138"/>
                  </a:lnTo>
                  <a:lnTo>
                    <a:pt x="120" y="144"/>
                  </a:lnTo>
                  <a:lnTo>
                    <a:pt x="120" y="126"/>
                  </a:lnTo>
                  <a:lnTo>
                    <a:pt x="114" y="126"/>
                  </a:lnTo>
                  <a:lnTo>
                    <a:pt x="108" y="120"/>
                  </a:lnTo>
                  <a:lnTo>
                    <a:pt x="108" y="96"/>
                  </a:lnTo>
                  <a:lnTo>
                    <a:pt x="102" y="84"/>
                  </a:lnTo>
                  <a:lnTo>
                    <a:pt x="102" y="42"/>
                  </a:lnTo>
                  <a:lnTo>
                    <a:pt x="96" y="24"/>
                  </a:lnTo>
                  <a:lnTo>
                    <a:pt x="84" y="24"/>
                  </a:lnTo>
                  <a:lnTo>
                    <a:pt x="72" y="6"/>
                  </a:lnTo>
                  <a:lnTo>
                    <a:pt x="66" y="12"/>
                  </a:lnTo>
                  <a:lnTo>
                    <a:pt x="36" y="0"/>
                  </a:lnTo>
                  <a:lnTo>
                    <a:pt x="36" y="18"/>
                  </a:lnTo>
                  <a:lnTo>
                    <a:pt x="24" y="24"/>
                  </a:lnTo>
                  <a:lnTo>
                    <a:pt x="0" y="24"/>
                  </a:lnTo>
                  <a:lnTo>
                    <a:pt x="18" y="36"/>
                  </a:lnTo>
                  <a:lnTo>
                    <a:pt x="24" y="30"/>
                  </a:lnTo>
                  <a:lnTo>
                    <a:pt x="30" y="48"/>
                  </a:lnTo>
                  <a:lnTo>
                    <a:pt x="18" y="60"/>
                  </a:lnTo>
                  <a:lnTo>
                    <a:pt x="24" y="66"/>
                  </a:lnTo>
                  <a:lnTo>
                    <a:pt x="48" y="66"/>
                  </a:lnTo>
                  <a:lnTo>
                    <a:pt x="48" y="84"/>
                  </a:lnTo>
                  <a:lnTo>
                    <a:pt x="42" y="96"/>
                  </a:lnTo>
                  <a:lnTo>
                    <a:pt x="42" y="114"/>
                  </a:lnTo>
                  <a:lnTo>
                    <a:pt x="36" y="132"/>
                  </a:lnTo>
                  <a:lnTo>
                    <a:pt x="36" y="156"/>
                  </a:lnTo>
                  <a:lnTo>
                    <a:pt x="24" y="180"/>
                  </a:lnTo>
                  <a:lnTo>
                    <a:pt x="24" y="186"/>
                  </a:lnTo>
                  <a:lnTo>
                    <a:pt x="42" y="204"/>
                  </a:lnTo>
                  <a:lnTo>
                    <a:pt x="54" y="210"/>
                  </a:lnTo>
                  <a:lnTo>
                    <a:pt x="60" y="216"/>
                  </a:lnTo>
                  <a:lnTo>
                    <a:pt x="60" y="234"/>
                  </a:lnTo>
                  <a:lnTo>
                    <a:pt x="66" y="240"/>
                  </a:lnTo>
                  <a:lnTo>
                    <a:pt x="84" y="240"/>
                  </a:lnTo>
                  <a:lnTo>
                    <a:pt x="90" y="246"/>
                  </a:lnTo>
                  <a:lnTo>
                    <a:pt x="96" y="246"/>
                  </a:lnTo>
                  <a:lnTo>
                    <a:pt x="96" y="210"/>
                  </a:lnTo>
                  <a:close/>
                </a:path>
              </a:pathLst>
            </a:custGeom>
            <a:grpFill/>
            <a:ln w="3175">
              <a:solidFill>
                <a:schemeClr val="bg1"/>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de-DE" sz="1800" b="0" i="0" u="none" strike="noStrike" kern="1200" cap="none" spc="0" normalizeH="0" baseline="0" noProof="0">
                <a:ln>
                  <a:noFill/>
                </a:ln>
                <a:solidFill>
                  <a:srgbClr val="FFC000"/>
                </a:solidFill>
                <a:effectLst/>
                <a:uLnTx/>
                <a:uFillTx/>
                <a:latin typeface="Calibri" pitchFamily="34" charset="0"/>
                <a:ea typeface="+mn-ea"/>
                <a:cs typeface="+mn-cs"/>
              </a:endParaRPr>
            </a:p>
          </p:txBody>
        </p:sp>
        <p:sp>
          <p:nvSpPr>
            <p:cNvPr id="186" name="South Africa" descr="© INSCALE GmbH, 05.05.2010&#10;http://www.presentationload.com/"/>
            <p:cNvSpPr>
              <a:spLocks noEditPoints="1"/>
            </p:cNvSpPr>
            <p:nvPr/>
          </p:nvSpPr>
          <p:spPr bwMode="gray">
            <a:xfrm>
              <a:off x="4842013" y="4859849"/>
              <a:ext cx="367315" cy="317220"/>
            </a:xfrm>
            <a:custGeom>
              <a:avLst/>
              <a:gdLst>
                <a:gd name="T0" fmla="*/ 2147483647 w 1134"/>
                <a:gd name="T1" fmla="*/ 2147483647 h 1020"/>
                <a:gd name="T2" fmla="*/ 2147483647 w 1134"/>
                <a:gd name="T3" fmla="*/ 2147483647 h 1020"/>
                <a:gd name="T4" fmla="*/ 2147483647 w 1134"/>
                <a:gd name="T5" fmla="*/ 2147483647 h 1020"/>
                <a:gd name="T6" fmla="*/ 2147483647 w 1134"/>
                <a:gd name="T7" fmla="*/ 2147483647 h 1020"/>
                <a:gd name="T8" fmla="*/ 2147483647 w 1134"/>
                <a:gd name="T9" fmla="*/ 2147483647 h 1020"/>
                <a:gd name="T10" fmla="*/ 2147483647 w 1134"/>
                <a:gd name="T11" fmla="*/ 2147483647 h 1020"/>
                <a:gd name="T12" fmla="*/ 2147483647 w 1134"/>
                <a:gd name="T13" fmla="*/ 2147483647 h 1020"/>
                <a:gd name="T14" fmla="*/ 2147483647 w 1134"/>
                <a:gd name="T15" fmla="*/ 2147483647 h 1020"/>
                <a:gd name="T16" fmla="*/ 2147483647 w 1134"/>
                <a:gd name="T17" fmla="*/ 2147483647 h 1020"/>
                <a:gd name="T18" fmla="*/ 2147483647 w 1134"/>
                <a:gd name="T19" fmla="*/ 2147483647 h 1020"/>
                <a:gd name="T20" fmla="*/ 2147483647 w 1134"/>
                <a:gd name="T21" fmla="*/ 2147483647 h 1020"/>
                <a:gd name="T22" fmla="*/ 2147483647 w 1134"/>
                <a:gd name="T23" fmla="*/ 2147483647 h 1020"/>
                <a:gd name="T24" fmla="*/ 2147483647 w 1134"/>
                <a:gd name="T25" fmla="*/ 2147483647 h 1020"/>
                <a:gd name="T26" fmla="*/ 2147483647 w 1134"/>
                <a:gd name="T27" fmla="*/ 2147483647 h 1020"/>
                <a:gd name="T28" fmla="*/ 2147483647 w 1134"/>
                <a:gd name="T29" fmla="*/ 2147483647 h 1020"/>
                <a:gd name="T30" fmla="*/ 2147483647 w 1134"/>
                <a:gd name="T31" fmla="*/ 2147483647 h 1020"/>
                <a:gd name="T32" fmla="*/ 2147483647 w 1134"/>
                <a:gd name="T33" fmla="*/ 2147483647 h 1020"/>
                <a:gd name="T34" fmla="*/ 2147483647 w 1134"/>
                <a:gd name="T35" fmla="*/ 2147483647 h 1020"/>
                <a:gd name="T36" fmla="*/ 2147483647 w 1134"/>
                <a:gd name="T37" fmla="*/ 2147483647 h 1020"/>
                <a:gd name="T38" fmla="*/ 2147483647 w 1134"/>
                <a:gd name="T39" fmla="*/ 2147483647 h 1020"/>
                <a:gd name="T40" fmla="*/ 2147483647 w 1134"/>
                <a:gd name="T41" fmla="*/ 2147483647 h 1020"/>
                <a:gd name="T42" fmla="*/ 2147483647 w 1134"/>
                <a:gd name="T43" fmla="*/ 2147483647 h 1020"/>
                <a:gd name="T44" fmla="*/ 2147483647 w 1134"/>
                <a:gd name="T45" fmla="*/ 2147483647 h 1020"/>
                <a:gd name="T46" fmla="*/ 2147483647 w 1134"/>
                <a:gd name="T47" fmla="*/ 2147483647 h 1020"/>
                <a:gd name="T48" fmla="*/ 2147483647 w 1134"/>
                <a:gd name="T49" fmla="*/ 2147483647 h 1020"/>
                <a:gd name="T50" fmla="*/ 2147483647 w 1134"/>
                <a:gd name="T51" fmla="*/ 2147483647 h 1020"/>
                <a:gd name="T52" fmla="*/ 2147483647 w 1134"/>
                <a:gd name="T53" fmla="*/ 2147483647 h 1020"/>
                <a:gd name="T54" fmla="*/ 2147483647 w 1134"/>
                <a:gd name="T55" fmla="*/ 2147483647 h 1020"/>
                <a:gd name="T56" fmla="*/ 2147483647 w 1134"/>
                <a:gd name="T57" fmla="*/ 2147483647 h 1020"/>
                <a:gd name="T58" fmla="*/ 2147483647 w 1134"/>
                <a:gd name="T59" fmla="*/ 2147483647 h 1020"/>
                <a:gd name="T60" fmla="*/ 2147483647 w 1134"/>
                <a:gd name="T61" fmla="*/ 2147483647 h 1020"/>
                <a:gd name="T62" fmla="*/ 0 w 1134"/>
                <a:gd name="T63" fmla="*/ 2147483647 h 1020"/>
                <a:gd name="T64" fmla="*/ 2147483647 w 1134"/>
                <a:gd name="T65" fmla="*/ 2147483647 h 1020"/>
                <a:gd name="T66" fmla="*/ 2147483647 w 1134"/>
                <a:gd name="T67" fmla="*/ 2147483647 h 1020"/>
                <a:gd name="T68" fmla="*/ 2147483647 w 1134"/>
                <a:gd name="T69" fmla="*/ 2147483647 h 1020"/>
                <a:gd name="T70" fmla="*/ 2147483647 w 1134"/>
                <a:gd name="T71" fmla="*/ 2147483647 h 1020"/>
                <a:gd name="T72" fmla="*/ 2147483647 w 1134"/>
                <a:gd name="T73" fmla="*/ 2147483647 h 1020"/>
                <a:gd name="T74" fmla="*/ 2147483647 w 1134"/>
                <a:gd name="T75" fmla="*/ 2147483647 h 1020"/>
                <a:gd name="T76" fmla="*/ 2147483647 w 1134"/>
                <a:gd name="T77" fmla="*/ 2147483647 h 1020"/>
                <a:gd name="T78" fmla="*/ 2147483647 w 1134"/>
                <a:gd name="T79" fmla="*/ 2147483647 h 1020"/>
                <a:gd name="T80" fmla="*/ 2147483647 w 1134"/>
                <a:gd name="T81" fmla="*/ 2147483647 h 1020"/>
                <a:gd name="T82" fmla="*/ 2147483647 w 1134"/>
                <a:gd name="T83" fmla="*/ 2147483647 h 1020"/>
                <a:gd name="T84" fmla="*/ 2147483647 w 1134"/>
                <a:gd name="T85" fmla="*/ 2147483647 h 1020"/>
                <a:gd name="T86" fmla="*/ 2147483647 w 1134"/>
                <a:gd name="T87" fmla="*/ 2147483647 h 1020"/>
                <a:gd name="T88" fmla="*/ 2147483647 w 1134"/>
                <a:gd name="T89" fmla="*/ 2147483647 h 1020"/>
                <a:gd name="T90" fmla="*/ 2147483647 w 1134"/>
                <a:gd name="T91" fmla="*/ 2147483647 h 1020"/>
                <a:gd name="T92" fmla="*/ 2147483647 w 1134"/>
                <a:gd name="T93" fmla="*/ 2147483647 h 1020"/>
                <a:gd name="T94" fmla="*/ 2147483647 w 1134"/>
                <a:gd name="T95" fmla="*/ 2147483647 h 1020"/>
                <a:gd name="T96" fmla="*/ 2147483647 w 1134"/>
                <a:gd name="T97" fmla="*/ 2147483647 h 1020"/>
                <a:gd name="T98" fmla="*/ 2147483647 w 1134"/>
                <a:gd name="T99" fmla="*/ 2147483647 h 1020"/>
                <a:gd name="T100" fmla="*/ 2147483647 w 1134"/>
                <a:gd name="T101" fmla="*/ 2147483647 h 1020"/>
                <a:gd name="T102" fmla="*/ 2147483647 w 1134"/>
                <a:gd name="T103" fmla="*/ 2147483647 h 1020"/>
                <a:gd name="T104" fmla="*/ 2147483647 w 1134"/>
                <a:gd name="T105" fmla="*/ 2147483647 h 1020"/>
                <a:gd name="T106" fmla="*/ 2147483647 w 1134"/>
                <a:gd name="T107" fmla="*/ 2147483647 h 1020"/>
                <a:gd name="T108" fmla="*/ 2147483647 w 1134"/>
                <a:gd name="T109" fmla="*/ 2147483647 h 1020"/>
                <a:gd name="T110" fmla="*/ 2147483647 w 1134"/>
                <a:gd name="T111" fmla="*/ 2147483647 h 1020"/>
                <a:gd name="T112" fmla="*/ 2147483647 w 1134"/>
                <a:gd name="T113" fmla="*/ 2147483647 h 1020"/>
                <a:gd name="T114" fmla="*/ 2147483647 w 1134"/>
                <a:gd name="T115" fmla="*/ 2147483647 h 1020"/>
                <a:gd name="T116" fmla="*/ 2147483647 w 1134"/>
                <a:gd name="T117" fmla="*/ 2147483647 h 1020"/>
                <a:gd name="T118" fmla="*/ 2147483647 w 1134"/>
                <a:gd name="T119" fmla="*/ 2147483647 h 1020"/>
                <a:gd name="T120" fmla="*/ 2147483647 w 1134"/>
                <a:gd name="T121" fmla="*/ 2147483647 h 1020"/>
                <a:gd name="T122" fmla="*/ 2147483647 w 1134"/>
                <a:gd name="T123" fmla="*/ 2147483647 h 1020"/>
                <a:gd name="T124" fmla="*/ 2147483647 w 1134"/>
                <a:gd name="T125" fmla="*/ 2147483647 h 1020"/>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1134"/>
                <a:gd name="T190" fmla="*/ 0 h 1020"/>
                <a:gd name="T191" fmla="*/ 1134 w 1134"/>
                <a:gd name="T192" fmla="*/ 1020 h 1020"/>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1134" h="1020">
                  <a:moveTo>
                    <a:pt x="1116" y="372"/>
                  </a:moveTo>
                  <a:lnTo>
                    <a:pt x="1098" y="372"/>
                  </a:lnTo>
                  <a:lnTo>
                    <a:pt x="1092" y="378"/>
                  </a:lnTo>
                  <a:lnTo>
                    <a:pt x="1086" y="378"/>
                  </a:lnTo>
                  <a:lnTo>
                    <a:pt x="1074" y="420"/>
                  </a:lnTo>
                  <a:lnTo>
                    <a:pt x="1062" y="420"/>
                  </a:lnTo>
                  <a:lnTo>
                    <a:pt x="1050" y="414"/>
                  </a:lnTo>
                  <a:lnTo>
                    <a:pt x="1032" y="414"/>
                  </a:lnTo>
                  <a:lnTo>
                    <a:pt x="1020" y="402"/>
                  </a:lnTo>
                  <a:lnTo>
                    <a:pt x="1008" y="396"/>
                  </a:lnTo>
                  <a:lnTo>
                    <a:pt x="996" y="372"/>
                  </a:lnTo>
                  <a:lnTo>
                    <a:pt x="996" y="348"/>
                  </a:lnTo>
                  <a:lnTo>
                    <a:pt x="1002" y="336"/>
                  </a:lnTo>
                  <a:lnTo>
                    <a:pt x="1014" y="324"/>
                  </a:lnTo>
                  <a:lnTo>
                    <a:pt x="1014" y="312"/>
                  </a:lnTo>
                  <a:lnTo>
                    <a:pt x="1020" y="300"/>
                  </a:lnTo>
                  <a:lnTo>
                    <a:pt x="1032" y="288"/>
                  </a:lnTo>
                  <a:lnTo>
                    <a:pt x="1038" y="288"/>
                  </a:lnTo>
                  <a:lnTo>
                    <a:pt x="1050" y="294"/>
                  </a:lnTo>
                  <a:lnTo>
                    <a:pt x="1062" y="306"/>
                  </a:lnTo>
                  <a:lnTo>
                    <a:pt x="1086" y="270"/>
                  </a:lnTo>
                  <a:lnTo>
                    <a:pt x="1086" y="180"/>
                  </a:lnTo>
                  <a:lnTo>
                    <a:pt x="1056" y="120"/>
                  </a:lnTo>
                  <a:lnTo>
                    <a:pt x="1056" y="102"/>
                  </a:lnTo>
                  <a:lnTo>
                    <a:pt x="1050" y="90"/>
                  </a:lnTo>
                  <a:lnTo>
                    <a:pt x="1050" y="72"/>
                  </a:lnTo>
                  <a:lnTo>
                    <a:pt x="1044" y="54"/>
                  </a:lnTo>
                  <a:lnTo>
                    <a:pt x="1044" y="24"/>
                  </a:lnTo>
                  <a:lnTo>
                    <a:pt x="1026" y="12"/>
                  </a:lnTo>
                  <a:lnTo>
                    <a:pt x="966" y="12"/>
                  </a:lnTo>
                  <a:lnTo>
                    <a:pt x="954" y="6"/>
                  </a:lnTo>
                  <a:lnTo>
                    <a:pt x="948" y="6"/>
                  </a:lnTo>
                  <a:lnTo>
                    <a:pt x="936" y="0"/>
                  </a:lnTo>
                  <a:lnTo>
                    <a:pt x="876" y="0"/>
                  </a:lnTo>
                  <a:lnTo>
                    <a:pt x="864" y="24"/>
                  </a:lnTo>
                  <a:lnTo>
                    <a:pt x="852" y="24"/>
                  </a:lnTo>
                  <a:lnTo>
                    <a:pt x="840" y="30"/>
                  </a:lnTo>
                  <a:lnTo>
                    <a:pt x="828" y="30"/>
                  </a:lnTo>
                  <a:lnTo>
                    <a:pt x="822" y="36"/>
                  </a:lnTo>
                  <a:lnTo>
                    <a:pt x="810" y="60"/>
                  </a:lnTo>
                  <a:lnTo>
                    <a:pt x="768" y="102"/>
                  </a:lnTo>
                  <a:lnTo>
                    <a:pt x="756" y="108"/>
                  </a:lnTo>
                  <a:lnTo>
                    <a:pt x="750" y="108"/>
                  </a:lnTo>
                  <a:lnTo>
                    <a:pt x="738" y="114"/>
                  </a:lnTo>
                  <a:lnTo>
                    <a:pt x="726" y="138"/>
                  </a:lnTo>
                  <a:lnTo>
                    <a:pt x="726" y="174"/>
                  </a:lnTo>
                  <a:lnTo>
                    <a:pt x="714" y="180"/>
                  </a:lnTo>
                  <a:lnTo>
                    <a:pt x="708" y="192"/>
                  </a:lnTo>
                  <a:lnTo>
                    <a:pt x="702" y="198"/>
                  </a:lnTo>
                  <a:lnTo>
                    <a:pt x="690" y="204"/>
                  </a:lnTo>
                  <a:lnTo>
                    <a:pt x="672" y="210"/>
                  </a:lnTo>
                  <a:lnTo>
                    <a:pt x="654" y="228"/>
                  </a:lnTo>
                  <a:lnTo>
                    <a:pt x="654" y="240"/>
                  </a:lnTo>
                  <a:lnTo>
                    <a:pt x="648" y="252"/>
                  </a:lnTo>
                  <a:lnTo>
                    <a:pt x="642" y="270"/>
                  </a:lnTo>
                  <a:lnTo>
                    <a:pt x="636" y="282"/>
                  </a:lnTo>
                  <a:lnTo>
                    <a:pt x="630" y="288"/>
                  </a:lnTo>
                  <a:lnTo>
                    <a:pt x="618" y="294"/>
                  </a:lnTo>
                  <a:lnTo>
                    <a:pt x="606" y="294"/>
                  </a:lnTo>
                  <a:lnTo>
                    <a:pt x="600" y="288"/>
                  </a:lnTo>
                  <a:lnTo>
                    <a:pt x="594" y="294"/>
                  </a:lnTo>
                  <a:lnTo>
                    <a:pt x="582" y="300"/>
                  </a:lnTo>
                  <a:lnTo>
                    <a:pt x="570" y="300"/>
                  </a:lnTo>
                  <a:lnTo>
                    <a:pt x="564" y="294"/>
                  </a:lnTo>
                  <a:lnTo>
                    <a:pt x="552" y="288"/>
                  </a:lnTo>
                  <a:lnTo>
                    <a:pt x="546" y="282"/>
                  </a:lnTo>
                  <a:lnTo>
                    <a:pt x="516" y="282"/>
                  </a:lnTo>
                  <a:lnTo>
                    <a:pt x="504" y="270"/>
                  </a:lnTo>
                  <a:lnTo>
                    <a:pt x="492" y="264"/>
                  </a:lnTo>
                  <a:lnTo>
                    <a:pt x="486" y="258"/>
                  </a:lnTo>
                  <a:lnTo>
                    <a:pt x="474" y="252"/>
                  </a:lnTo>
                  <a:lnTo>
                    <a:pt x="462" y="252"/>
                  </a:lnTo>
                  <a:lnTo>
                    <a:pt x="450" y="258"/>
                  </a:lnTo>
                  <a:lnTo>
                    <a:pt x="444" y="264"/>
                  </a:lnTo>
                  <a:lnTo>
                    <a:pt x="438" y="276"/>
                  </a:lnTo>
                  <a:lnTo>
                    <a:pt x="438" y="288"/>
                  </a:lnTo>
                  <a:lnTo>
                    <a:pt x="432" y="300"/>
                  </a:lnTo>
                  <a:lnTo>
                    <a:pt x="432" y="324"/>
                  </a:lnTo>
                  <a:lnTo>
                    <a:pt x="420" y="324"/>
                  </a:lnTo>
                  <a:lnTo>
                    <a:pt x="414" y="330"/>
                  </a:lnTo>
                  <a:lnTo>
                    <a:pt x="408" y="330"/>
                  </a:lnTo>
                  <a:lnTo>
                    <a:pt x="402" y="336"/>
                  </a:lnTo>
                  <a:lnTo>
                    <a:pt x="396" y="348"/>
                  </a:lnTo>
                  <a:lnTo>
                    <a:pt x="390" y="354"/>
                  </a:lnTo>
                  <a:lnTo>
                    <a:pt x="390" y="360"/>
                  </a:lnTo>
                  <a:lnTo>
                    <a:pt x="366" y="360"/>
                  </a:lnTo>
                  <a:lnTo>
                    <a:pt x="366" y="378"/>
                  </a:lnTo>
                  <a:lnTo>
                    <a:pt x="288" y="378"/>
                  </a:lnTo>
                  <a:lnTo>
                    <a:pt x="288" y="348"/>
                  </a:lnTo>
                  <a:lnTo>
                    <a:pt x="294" y="336"/>
                  </a:lnTo>
                  <a:lnTo>
                    <a:pt x="294" y="330"/>
                  </a:lnTo>
                  <a:lnTo>
                    <a:pt x="300" y="318"/>
                  </a:lnTo>
                  <a:lnTo>
                    <a:pt x="300" y="294"/>
                  </a:lnTo>
                  <a:lnTo>
                    <a:pt x="294" y="288"/>
                  </a:lnTo>
                  <a:lnTo>
                    <a:pt x="294" y="270"/>
                  </a:lnTo>
                  <a:lnTo>
                    <a:pt x="288" y="258"/>
                  </a:lnTo>
                  <a:lnTo>
                    <a:pt x="282" y="240"/>
                  </a:lnTo>
                  <a:lnTo>
                    <a:pt x="276" y="234"/>
                  </a:lnTo>
                  <a:lnTo>
                    <a:pt x="264" y="228"/>
                  </a:lnTo>
                  <a:lnTo>
                    <a:pt x="258" y="222"/>
                  </a:lnTo>
                  <a:lnTo>
                    <a:pt x="246" y="216"/>
                  </a:lnTo>
                  <a:lnTo>
                    <a:pt x="240" y="510"/>
                  </a:lnTo>
                  <a:lnTo>
                    <a:pt x="222" y="510"/>
                  </a:lnTo>
                  <a:lnTo>
                    <a:pt x="210" y="516"/>
                  </a:lnTo>
                  <a:lnTo>
                    <a:pt x="204" y="522"/>
                  </a:lnTo>
                  <a:lnTo>
                    <a:pt x="204" y="528"/>
                  </a:lnTo>
                  <a:lnTo>
                    <a:pt x="192" y="528"/>
                  </a:lnTo>
                  <a:lnTo>
                    <a:pt x="192" y="552"/>
                  </a:lnTo>
                  <a:lnTo>
                    <a:pt x="168" y="552"/>
                  </a:lnTo>
                  <a:lnTo>
                    <a:pt x="156" y="540"/>
                  </a:lnTo>
                  <a:lnTo>
                    <a:pt x="144" y="540"/>
                  </a:lnTo>
                  <a:lnTo>
                    <a:pt x="132" y="552"/>
                  </a:lnTo>
                  <a:lnTo>
                    <a:pt x="108" y="552"/>
                  </a:lnTo>
                  <a:lnTo>
                    <a:pt x="102" y="546"/>
                  </a:lnTo>
                  <a:lnTo>
                    <a:pt x="102" y="540"/>
                  </a:lnTo>
                  <a:lnTo>
                    <a:pt x="96" y="534"/>
                  </a:lnTo>
                  <a:lnTo>
                    <a:pt x="72" y="534"/>
                  </a:lnTo>
                  <a:lnTo>
                    <a:pt x="66" y="528"/>
                  </a:lnTo>
                  <a:lnTo>
                    <a:pt x="60" y="516"/>
                  </a:lnTo>
                  <a:lnTo>
                    <a:pt x="60" y="492"/>
                  </a:lnTo>
                  <a:lnTo>
                    <a:pt x="42" y="474"/>
                  </a:lnTo>
                  <a:lnTo>
                    <a:pt x="36" y="474"/>
                  </a:lnTo>
                  <a:lnTo>
                    <a:pt x="30" y="480"/>
                  </a:lnTo>
                  <a:lnTo>
                    <a:pt x="30" y="486"/>
                  </a:lnTo>
                  <a:lnTo>
                    <a:pt x="24" y="498"/>
                  </a:lnTo>
                  <a:lnTo>
                    <a:pt x="18" y="504"/>
                  </a:lnTo>
                  <a:lnTo>
                    <a:pt x="18" y="510"/>
                  </a:lnTo>
                  <a:lnTo>
                    <a:pt x="0" y="522"/>
                  </a:lnTo>
                  <a:lnTo>
                    <a:pt x="0" y="516"/>
                  </a:lnTo>
                  <a:lnTo>
                    <a:pt x="0" y="528"/>
                  </a:lnTo>
                  <a:lnTo>
                    <a:pt x="6" y="540"/>
                  </a:lnTo>
                  <a:lnTo>
                    <a:pt x="6" y="552"/>
                  </a:lnTo>
                  <a:lnTo>
                    <a:pt x="36" y="582"/>
                  </a:lnTo>
                  <a:lnTo>
                    <a:pt x="42" y="600"/>
                  </a:lnTo>
                  <a:lnTo>
                    <a:pt x="42" y="648"/>
                  </a:lnTo>
                  <a:lnTo>
                    <a:pt x="48" y="672"/>
                  </a:lnTo>
                  <a:lnTo>
                    <a:pt x="54" y="690"/>
                  </a:lnTo>
                  <a:lnTo>
                    <a:pt x="72" y="714"/>
                  </a:lnTo>
                  <a:lnTo>
                    <a:pt x="96" y="738"/>
                  </a:lnTo>
                  <a:lnTo>
                    <a:pt x="114" y="762"/>
                  </a:lnTo>
                  <a:lnTo>
                    <a:pt x="120" y="786"/>
                  </a:lnTo>
                  <a:lnTo>
                    <a:pt x="120" y="834"/>
                  </a:lnTo>
                  <a:lnTo>
                    <a:pt x="114" y="846"/>
                  </a:lnTo>
                  <a:lnTo>
                    <a:pt x="114" y="852"/>
                  </a:lnTo>
                  <a:lnTo>
                    <a:pt x="90" y="852"/>
                  </a:lnTo>
                  <a:lnTo>
                    <a:pt x="90" y="876"/>
                  </a:lnTo>
                  <a:lnTo>
                    <a:pt x="96" y="888"/>
                  </a:lnTo>
                  <a:lnTo>
                    <a:pt x="108" y="906"/>
                  </a:lnTo>
                  <a:lnTo>
                    <a:pt x="114" y="918"/>
                  </a:lnTo>
                  <a:lnTo>
                    <a:pt x="114" y="960"/>
                  </a:lnTo>
                  <a:lnTo>
                    <a:pt x="120" y="972"/>
                  </a:lnTo>
                  <a:lnTo>
                    <a:pt x="120" y="978"/>
                  </a:lnTo>
                  <a:lnTo>
                    <a:pt x="126" y="978"/>
                  </a:lnTo>
                  <a:lnTo>
                    <a:pt x="126" y="972"/>
                  </a:lnTo>
                  <a:lnTo>
                    <a:pt x="132" y="966"/>
                  </a:lnTo>
                  <a:lnTo>
                    <a:pt x="144" y="966"/>
                  </a:lnTo>
                  <a:lnTo>
                    <a:pt x="150" y="972"/>
                  </a:lnTo>
                  <a:lnTo>
                    <a:pt x="180" y="984"/>
                  </a:lnTo>
                  <a:lnTo>
                    <a:pt x="180" y="996"/>
                  </a:lnTo>
                  <a:lnTo>
                    <a:pt x="204" y="1020"/>
                  </a:lnTo>
                  <a:lnTo>
                    <a:pt x="216" y="1020"/>
                  </a:lnTo>
                  <a:lnTo>
                    <a:pt x="240" y="1008"/>
                  </a:lnTo>
                  <a:lnTo>
                    <a:pt x="246" y="996"/>
                  </a:lnTo>
                  <a:lnTo>
                    <a:pt x="252" y="990"/>
                  </a:lnTo>
                  <a:lnTo>
                    <a:pt x="264" y="984"/>
                  </a:lnTo>
                  <a:lnTo>
                    <a:pt x="294" y="984"/>
                  </a:lnTo>
                  <a:lnTo>
                    <a:pt x="306" y="990"/>
                  </a:lnTo>
                  <a:lnTo>
                    <a:pt x="354" y="990"/>
                  </a:lnTo>
                  <a:lnTo>
                    <a:pt x="354" y="984"/>
                  </a:lnTo>
                  <a:lnTo>
                    <a:pt x="360" y="978"/>
                  </a:lnTo>
                  <a:lnTo>
                    <a:pt x="360" y="966"/>
                  </a:lnTo>
                  <a:lnTo>
                    <a:pt x="366" y="960"/>
                  </a:lnTo>
                  <a:lnTo>
                    <a:pt x="378" y="954"/>
                  </a:lnTo>
                  <a:lnTo>
                    <a:pt x="408" y="954"/>
                  </a:lnTo>
                  <a:lnTo>
                    <a:pt x="420" y="960"/>
                  </a:lnTo>
                  <a:lnTo>
                    <a:pt x="432" y="960"/>
                  </a:lnTo>
                  <a:lnTo>
                    <a:pt x="438" y="966"/>
                  </a:lnTo>
                  <a:lnTo>
                    <a:pt x="444" y="960"/>
                  </a:lnTo>
                  <a:lnTo>
                    <a:pt x="456" y="960"/>
                  </a:lnTo>
                  <a:lnTo>
                    <a:pt x="468" y="954"/>
                  </a:lnTo>
                  <a:lnTo>
                    <a:pt x="504" y="954"/>
                  </a:lnTo>
                  <a:lnTo>
                    <a:pt x="522" y="960"/>
                  </a:lnTo>
                  <a:lnTo>
                    <a:pt x="534" y="966"/>
                  </a:lnTo>
                  <a:lnTo>
                    <a:pt x="552" y="966"/>
                  </a:lnTo>
                  <a:lnTo>
                    <a:pt x="558" y="960"/>
                  </a:lnTo>
                  <a:lnTo>
                    <a:pt x="570" y="954"/>
                  </a:lnTo>
                  <a:lnTo>
                    <a:pt x="606" y="954"/>
                  </a:lnTo>
                  <a:lnTo>
                    <a:pt x="618" y="948"/>
                  </a:lnTo>
                  <a:lnTo>
                    <a:pt x="624" y="942"/>
                  </a:lnTo>
                  <a:lnTo>
                    <a:pt x="636" y="936"/>
                  </a:lnTo>
                  <a:lnTo>
                    <a:pt x="684" y="936"/>
                  </a:lnTo>
                  <a:lnTo>
                    <a:pt x="708" y="924"/>
                  </a:lnTo>
                  <a:lnTo>
                    <a:pt x="720" y="912"/>
                  </a:lnTo>
                  <a:lnTo>
                    <a:pt x="738" y="900"/>
                  </a:lnTo>
                  <a:lnTo>
                    <a:pt x="774" y="864"/>
                  </a:lnTo>
                  <a:lnTo>
                    <a:pt x="786" y="858"/>
                  </a:lnTo>
                  <a:lnTo>
                    <a:pt x="804" y="846"/>
                  </a:lnTo>
                  <a:lnTo>
                    <a:pt x="900" y="750"/>
                  </a:lnTo>
                  <a:lnTo>
                    <a:pt x="918" y="750"/>
                  </a:lnTo>
                  <a:lnTo>
                    <a:pt x="924" y="744"/>
                  </a:lnTo>
                  <a:lnTo>
                    <a:pt x="960" y="696"/>
                  </a:lnTo>
                  <a:lnTo>
                    <a:pt x="972" y="672"/>
                  </a:lnTo>
                  <a:lnTo>
                    <a:pt x="984" y="654"/>
                  </a:lnTo>
                  <a:lnTo>
                    <a:pt x="990" y="642"/>
                  </a:lnTo>
                  <a:lnTo>
                    <a:pt x="1002" y="606"/>
                  </a:lnTo>
                  <a:lnTo>
                    <a:pt x="1014" y="588"/>
                  </a:lnTo>
                  <a:lnTo>
                    <a:pt x="1020" y="576"/>
                  </a:lnTo>
                  <a:lnTo>
                    <a:pt x="1026" y="570"/>
                  </a:lnTo>
                  <a:lnTo>
                    <a:pt x="1038" y="564"/>
                  </a:lnTo>
                  <a:lnTo>
                    <a:pt x="1050" y="552"/>
                  </a:lnTo>
                  <a:lnTo>
                    <a:pt x="1068" y="546"/>
                  </a:lnTo>
                  <a:lnTo>
                    <a:pt x="1086" y="534"/>
                  </a:lnTo>
                  <a:lnTo>
                    <a:pt x="1098" y="510"/>
                  </a:lnTo>
                  <a:lnTo>
                    <a:pt x="1098" y="498"/>
                  </a:lnTo>
                  <a:lnTo>
                    <a:pt x="1104" y="486"/>
                  </a:lnTo>
                  <a:lnTo>
                    <a:pt x="1110" y="468"/>
                  </a:lnTo>
                  <a:lnTo>
                    <a:pt x="1116" y="456"/>
                  </a:lnTo>
                  <a:lnTo>
                    <a:pt x="1122" y="450"/>
                  </a:lnTo>
                  <a:lnTo>
                    <a:pt x="1122" y="438"/>
                  </a:lnTo>
                  <a:lnTo>
                    <a:pt x="1128" y="432"/>
                  </a:lnTo>
                  <a:lnTo>
                    <a:pt x="1128" y="414"/>
                  </a:lnTo>
                  <a:lnTo>
                    <a:pt x="1134" y="396"/>
                  </a:lnTo>
                  <a:lnTo>
                    <a:pt x="1128" y="384"/>
                  </a:lnTo>
                  <a:lnTo>
                    <a:pt x="1116" y="372"/>
                  </a:lnTo>
                  <a:close/>
                  <a:moveTo>
                    <a:pt x="870" y="624"/>
                  </a:moveTo>
                  <a:lnTo>
                    <a:pt x="858" y="630"/>
                  </a:lnTo>
                  <a:lnTo>
                    <a:pt x="852" y="636"/>
                  </a:lnTo>
                  <a:lnTo>
                    <a:pt x="840" y="642"/>
                  </a:lnTo>
                  <a:lnTo>
                    <a:pt x="822" y="642"/>
                  </a:lnTo>
                  <a:lnTo>
                    <a:pt x="810" y="648"/>
                  </a:lnTo>
                  <a:lnTo>
                    <a:pt x="804" y="654"/>
                  </a:lnTo>
                  <a:lnTo>
                    <a:pt x="798" y="666"/>
                  </a:lnTo>
                  <a:lnTo>
                    <a:pt x="792" y="672"/>
                  </a:lnTo>
                  <a:lnTo>
                    <a:pt x="792" y="684"/>
                  </a:lnTo>
                  <a:lnTo>
                    <a:pt x="774" y="684"/>
                  </a:lnTo>
                  <a:lnTo>
                    <a:pt x="744" y="654"/>
                  </a:lnTo>
                  <a:lnTo>
                    <a:pt x="744" y="636"/>
                  </a:lnTo>
                  <a:lnTo>
                    <a:pt x="720" y="600"/>
                  </a:lnTo>
                  <a:lnTo>
                    <a:pt x="744" y="600"/>
                  </a:lnTo>
                  <a:lnTo>
                    <a:pt x="750" y="582"/>
                  </a:lnTo>
                  <a:lnTo>
                    <a:pt x="768" y="564"/>
                  </a:lnTo>
                  <a:lnTo>
                    <a:pt x="768" y="546"/>
                  </a:lnTo>
                  <a:lnTo>
                    <a:pt x="774" y="540"/>
                  </a:lnTo>
                  <a:lnTo>
                    <a:pt x="798" y="540"/>
                  </a:lnTo>
                  <a:lnTo>
                    <a:pt x="798" y="528"/>
                  </a:lnTo>
                  <a:lnTo>
                    <a:pt x="810" y="522"/>
                  </a:lnTo>
                  <a:lnTo>
                    <a:pt x="846" y="522"/>
                  </a:lnTo>
                  <a:lnTo>
                    <a:pt x="852" y="528"/>
                  </a:lnTo>
                  <a:lnTo>
                    <a:pt x="858" y="540"/>
                  </a:lnTo>
                  <a:lnTo>
                    <a:pt x="864" y="546"/>
                  </a:lnTo>
                  <a:lnTo>
                    <a:pt x="870" y="558"/>
                  </a:lnTo>
                  <a:lnTo>
                    <a:pt x="882" y="564"/>
                  </a:lnTo>
                  <a:lnTo>
                    <a:pt x="888" y="588"/>
                  </a:lnTo>
                  <a:lnTo>
                    <a:pt x="864" y="606"/>
                  </a:lnTo>
                  <a:lnTo>
                    <a:pt x="870" y="624"/>
                  </a:lnTo>
                  <a:close/>
                </a:path>
              </a:pathLst>
            </a:custGeom>
            <a:grpFill/>
            <a:ln w="3175">
              <a:solidFill>
                <a:schemeClr val="bg1"/>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de-DE" sz="1800" b="0" i="0" u="none" strike="noStrike" kern="1200" cap="none" spc="0" normalizeH="0" baseline="0" noProof="0">
                <a:ln>
                  <a:noFill/>
                </a:ln>
                <a:solidFill>
                  <a:srgbClr val="FFC000"/>
                </a:solidFill>
                <a:effectLst/>
                <a:uLnTx/>
                <a:uFillTx/>
                <a:latin typeface="Calibri" pitchFamily="34" charset="0"/>
                <a:ea typeface="+mn-ea"/>
                <a:cs typeface="+mn-cs"/>
              </a:endParaRPr>
            </a:p>
          </p:txBody>
        </p:sp>
        <p:sp>
          <p:nvSpPr>
            <p:cNvPr id="187" name="Afghanistan" descr="© INSCALE GmbH, 05.05.2010&#10;http://www.presentationload.com/"/>
            <p:cNvSpPr>
              <a:spLocks/>
            </p:cNvSpPr>
            <p:nvPr/>
          </p:nvSpPr>
          <p:spPr bwMode="gray">
            <a:xfrm>
              <a:off x="5799334" y="3339886"/>
              <a:ext cx="294364" cy="230260"/>
            </a:xfrm>
            <a:custGeom>
              <a:avLst/>
              <a:gdLst>
                <a:gd name="T0" fmla="*/ 2147483647 w 906"/>
                <a:gd name="T1" fmla="*/ 2147483647 h 738"/>
                <a:gd name="T2" fmla="*/ 2147483647 w 906"/>
                <a:gd name="T3" fmla="*/ 2147483647 h 738"/>
                <a:gd name="T4" fmla="*/ 2147483647 w 906"/>
                <a:gd name="T5" fmla="*/ 2147483647 h 738"/>
                <a:gd name="T6" fmla="*/ 2147483647 w 906"/>
                <a:gd name="T7" fmla="*/ 2147483647 h 738"/>
                <a:gd name="T8" fmla="*/ 2147483647 w 906"/>
                <a:gd name="T9" fmla="*/ 2147483647 h 738"/>
                <a:gd name="T10" fmla="*/ 2147483647 w 906"/>
                <a:gd name="T11" fmla="*/ 0 h 738"/>
                <a:gd name="T12" fmla="*/ 2147483647 w 906"/>
                <a:gd name="T13" fmla="*/ 2147483647 h 738"/>
                <a:gd name="T14" fmla="*/ 2147483647 w 906"/>
                <a:gd name="T15" fmla="*/ 2147483647 h 738"/>
                <a:gd name="T16" fmla="*/ 2147483647 w 906"/>
                <a:gd name="T17" fmla="*/ 2147483647 h 738"/>
                <a:gd name="T18" fmla="*/ 2147483647 w 906"/>
                <a:gd name="T19" fmla="*/ 2147483647 h 738"/>
                <a:gd name="T20" fmla="*/ 2147483647 w 906"/>
                <a:gd name="T21" fmla="*/ 2147483647 h 738"/>
                <a:gd name="T22" fmla="*/ 2147483647 w 906"/>
                <a:gd name="T23" fmla="*/ 2147483647 h 738"/>
                <a:gd name="T24" fmla="*/ 2147483647 w 906"/>
                <a:gd name="T25" fmla="*/ 2147483647 h 738"/>
                <a:gd name="T26" fmla="*/ 2147483647 w 906"/>
                <a:gd name="T27" fmla="*/ 2147483647 h 738"/>
                <a:gd name="T28" fmla="*/ 2147483647 w 906"/>
                <a:gd name="T29" fmla="*/ 2147483647 h 738"/>
                <a:gd name="T30" fmla="*/ 2147483647 w 906"/>
                <a:gd name="T31" fmla="*/ 2147483647 h 738"/>
                <a:gd name="T32" fmla="*/ 2147483647 w 906"/>
                <a:gd name="T33" fmla="*/ 2147483647 h 738"/>
                <a:gd name="T34" fmla="*/ 2147483647 w 906"/>
                <a:gd name="T35" fmla="*/ 2147483647 h 738"/>
                <a:gd name="T36" fmla="*/ 2147483647 w 906"/>
                <a:gd name="T37" fmla="*/ 2147483647 h 738"/>
                <a:gd name="T38" fmla="*/ 2147483647 w 906"/>
                <a:gd name="T39" fmla="*/ 2147483647 h 738"/>
                <a:gd name="T40" fmla="*/ 2147483647 w 906"/>
                <a:gd name="T41" fmla="*/ 2147483647 h 738"/>
                <a:gd name="T42" fmla="*/ 2147483647 w 906"/>
                <a:gd name="T43" fmla="*/ 2147483647 h 738"/>
                <a:gd name="T44" fmla="*/ 2147483647 w 906"/>
                <a:gd name="T45" fmla="*/ 2147483647 h 738"/>
                <a:gd name="T46" fmla="*/ 0 w 906"/>
                <a:gd name="T47" fmla="*/ 2147483647 h 738"/>
                <a:gd name="T48" fmla="*/ 2147483647 w 906"/>
                <a:gd name="T49" fmla="*/ 2147483647 h 738"/>
                <a:gd name="T50" fmla="*/ 2147483647 w 906"/>
                <a:gd name="T51" fmla="*/ 2147483647 h 738"/>
                <a:gd name="T52" fmla="*/ 2147483647 w 906"/>
                <a:gd name="T53" fmla="*/ 2147483647 h 738"/>
                <a:gd name="T54" fmla="*/ 2147483647 w 906"/>
                <a:gd name="T55" fmla="*/ 2147483647 h 738"/>
                <a:gd name="T56" fmla="*/ 2147483647 w 906"/>
                <a:gd name="T57" fmla="*/ 2147483647 h 738"/>
                <a:gd name="T58" fmla="*/ 2147483647 w 906"/>
                <a:gd name="T59" fmla="*/ 2147483647 h 738"/>
                <a:gd name="T60" fmla="*/ 2147483647 w 906"/>
                <a:gd name="T61" fmla="*/ 2147483647 h 738"/>
                <a:gd name="T62" fmla="*/ 2147483647 w 906"/>
                <a:gd name="T63" fmla="*/ 2147483647 h 738"/>
                <a:gd name="T64" fmla="*/ 2147483647 w 906"/>
                <a:gd name="T65" fmla="*/ 2147483647 h 738"/>
                <a:gd name="T66" fmla="*/ 2147483647 w 906"/>
                <a:gd name="T67" fmla="*/ 2147483647 h 738"/>
                <a:gd name="T68" fmla="*/ 2147483647 w 906"/>
                <a:gd name="T69" fmla="*/ 2147483647 h 738"/>
                <a:gd name="T70" fmla="*/ 2147483647 w 906"/>
                <a:gd name="T71" fmla="*/ 2147483647 h 738"/>
                <a:gd name="T72" fmla="*/ 2147483647 w 906"/>
                <a:gd name="T73" fmla="*/ 2147483647 h 738"/>
                <a:gd name="T74" fmla="*/ 2147483647 w 906"/>
                <a:gd name="T75" fmla="*/ 2147483647 h 738"/>
                <a:gd name="T76" fmla="*/ 2147483647 w 906"/>
                <a:gd name="T77" fmla="*/ 2147483647 h 738"/>
                <a:gd name="T78" fmla="*/ 2147483647 w 906"/>
                <a:gd name="T79" fmla="*/ 2147483647 h 738"/>
                <a:gd name="T80" fmla="*/ 2147483647 w 906"/>
                <a:gd name="T81" fmla="*/ 2147483647 h 738"/>
                <a:gd name="T82" fmla="*/ 2147483647 w 906"/>
                <a:gd name="T83" fmla="*/ 2147483647 h 738"/>
                <a:gd name="T84" fmla="*/ 2147483647 w 906"/>
                <a:gd name="T85" fmla="*/ 2147483647 h 738"/>
                <a:gd name="T86" fmla="*/ 2147483647 w 906"/>
                <a:gd name="T87" fmla="*/ 2147483647 h 738"/>
                <a:gd name="T88" fmla="*/ 2147483647 w 906"/>
                <a:gd name="T89" fmla="*/ 2147483647 h 738"/>
                <a:gd name="T90" fmla="*/ 2147483647 w 906"/>
                <a:gd name="T91" fmla="*/ 2147483647 h 738"/>
                <a:gd name="T92" fmla="*/ 2147483647 w 906"/>
                <a:gd name="T93" fmla="*/ 2147483647 h 738"/>
                <a:gd name="T94" fmla="*/ 2147483647 w 906"/>
                <a:gd name="T95" fmla="*/ 2147483647 h 738"/>
                <a:gd name="T96" fmla="*/ 2147483647 w 906"/>
                <a:gd name="T97" fmla="*/ 2147483647 h 738"/>
                <a:gd name="T98" fmla="*/ 2147483647 w 906"/>
                <a:gd name="T99" fmla="*/ 2147483647 h 738"/>
                <a:gd name="T100" fmla="*/ 2147483647 w 906"/>
                <a:gd name="T101" fmla="*/ 2147483647 h 738"/>
                <a:gd name="T102" fmla="*/ 2147483647 w 906"/>
                <a:gd name="T103" fmla="*/ 2147483647 h 738"/>
                <a:gd name="T104" fmla="*/ 2147483647 w 906"/>
                <a:gd name="T105" fmla="*/ 2147483647 h 738"/>
                <a:gd name="T106" fmla="*/ 2147483647 w 906"/>
                <a:gd name="T107" fmla="*/ 2147483647 h 738"/>
                <a:gd name="T108" fmla="*/ 2147483647 w 906"/>
                <a:gd name="T109" fmla="*/ 2147483647 h 738"/>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906"/>
                <a:gd name="T166" fmla="*/ 0 h 738"/>
                <a:gd name="T167" fmla="*/ 906 w 906"/>
                <a:gd name="T168" fmla="*/ 738 h 738"/>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906" h="738">
                  <a:moveTo>
                    <a:pt x="894" y="108"/>
                  </a:moveTo>
                  <a:lnTo>
                    <a:pt x="894" y="96"/>
                  </a:lnTo>
                  <a:lnTo>
                    <a:pt x="906" y="96"/>
                  </a:lnTo>
                  <a:lnTo>
                    <a:pt x="900" y="90"/>
                  </a:lnTo>
                  <a:lnTo>
                    <a:pt x="876" y="90"/>
                  </a:lnTo>
                  <a:lnTo>
                    <a:pt x="840" y="102"/>
                  </a:lnTo>
                  <a:lnTo>
                    <a:pt x="840" y="84"/>
                  </a:lnTo>
                  <a:lnTo>
                    <a:pt x="816" y="84"/>
                  </a:lnTo>
                  <a:lnTo>
                    <a:pt x="792" y="96"/>
                  </a:lnTo>
                  <a:lnTo>
                    <a:pt x="786" y="102"/>
                  </a:lnTo>
                  <a:lnTo>
                    <a:pt x="780" y="114"/>
                  </a:lnTo>
                  <a:lnTo>
                    <a:pt x="774" y="120"/>
                  </a:lnTo>
                  <a:lnTo>
                    <a:pt x="756" y="120"/>
                  </a:lnTo>
                  <a:lnTo>
                    <a:pt x="750" y="126"/>
                  </a:lnTo>
                  <a:lnTo>
                    <a:pt x="744" y="138"/>
                  </a:lnTo>
                  <a:lnTo>
                    <a:pt x="732" y="144"/>
                  </a:lnTo>
                  <a:lnTo>
                    <a:pt x="726" y="150"/>
                  </a:lnTo>
                  <a:lnTo>
                    <a:pt x="720" y="150"/>
                  </a:lnTo>
                  <a:lnTo>
                    <a:pt x="690" y="120"/>
                  </a:lnTo>
                  <a:lnTo>
                    <a:pt x="690" y="114"/>
                  </a:lnTo>
                  <a:lnTo>
                    <a:pt x="678" y="48"/>
                  </a:lnTo>
                  <a:lnTo>
                    <a:pt x="660" y="48"/>
                  </a:lnTo>
                  <a:lnTo>
                    <a:pt x="660" y="18"/>
                  </a:lnTo>
                  <a:lnTo>
                    <a:pt x="642" y="0"/>
                  </a:lnTo>
                  <a:lnTo>
                    <a:pt x="624" y="0"/>
                  </a:lnTo>
                  <a:lnTo>
                    <a:pt x="618" y="6"/>
                  </a:lnTo>
                  <a:lnTo>
                    <a:pt x="618" y="30"/>
                  </a:lnTo>
                  <a:lnTo>
                    <a:pt x="612" y="36"/>
                  </a:lnTo>
                  <a:lnTo>
                    <a:pt x="606" y="36"/>
                  </a:lnTo>
                  <a:lnTo>
                    <a:pt x="594" y="48"/>
                  </a:lnTo>
                  <a:lnTo>
                    <a:pt x="594" y="54"/>
                  </a:lnTo>
                  <a:lnTo>
                    <a:pt x="600" y="60"/>
                  </a:lnTo>
                  <a:lnTo>
                    <a:pt x="606" y="60"/>
                  </a:lnTo>
                  <a:lnTo>
                    <a:pt x="600" y="84"/>
                  </a:lnTo>
                  <a:lnTo>
                    <a:pt x="588" y="72"/>
                  </a:lnTo>
                  <a:lnTo>
                    <a:pt x="570" y="72"/>
                  </a:lnTo>
                  <a:lnTo>
                    <a:pt x="558" y="78"/>
                  </a:lnTo>
                  <a:lnTo>
                    <a:pt x="546" y="90"/>
                  </a:lnTo>
                  <a:lnTo>
                    <a:pt x="546" y="120"/>
                  </a:lnTo>
                  <a:lnTo>
                    <a:pt x="540" y="120"/>
                  </a:lnTo>
                  <a:lnTo>
                    <a:pt x="534" y="114"/>
                  </a:lnTo>
                  <a:lnTo>
                    <a:pt x="528" y="102"/>
                  </a:lnTo>
                  <a:lnTo>
                    <a:pt x="522" y="96"/>
                  </a:lnTo>
                  <a:lnTo>
                    <a:pt x="510" y="96"/>
                  </a:lnTo>
                  <a:lnTo>
                    <a:pt x="504" y="102"/>
                  </a:lnTo>
                  <a:lnTo>
                    <a:pt x="492" y="108"/>
                  </a:lnTo>
                  <a:lnTo>
                    <a:pt x="474" y="126"/>
                  </a:lnTo>
                  <a:lnTo>
                    <a:pt x="468" y="126"/>
                  </a:lnTo>
                  <a:lnTo>
                    <a:pt x="456" y="114"/>
                  </a:lnTo>
                  <a:lnTo>
                    <a:pt x="444" y="108"/>
                  </a:lnTo>
                  <a:lnTo>
                    <a:pt x="438" y="102"/>
                  </a:lnTo>
                  <a:lnTo>
                    <a:pt x="426" y="102"/>
                  </a:lnTo>
                  <a:lnTo>
                    <a:pt x="414" y="108"/>
                  </a:lnTo>
                  <a:lnTo>
                    <a:pt x="396" y="84"/>
                  </a:lnTo>
                  <a:lnTo>
                    <a:pt x="384" y="96"/>
                  </a:lnTo>
                  <a:lnTo>
                    <a:pt x="342" y="96"/>
                  </a:lnTo>
                  <a:lnTo>
                    <a:pt x="330" y="90"/>
                  </a:lnTo>
                  <a:lnTo>
                    <a:pt x="324" y="84"/>
                  </a:lnTo>
                  <a:lnTo>
                    <a:pt x="312" y="78"/>
                  </a:lnTo>
                  <a:lnTo>
                    <a:pt x="300" y="78"/>
                  </a:lnTo>
                  <a:lnTo>
                    <a:pt x="300" y="102"/>
                  </a:lnTo>
                  <a:lnTo>
                    <a:pt x="264" y="102"/>
                  </a:lnTo>
                  <a:lnTo>
                    <a:pt x="252" y="108"/>
                  </a:lnTo>
                  <a:lnTo>
                    <a:pt x="246" y="120"/>
                  </a:lnTo>
                  <a:lnTo>
                    <a:pt x="246" y="180"/>
                  </a:lnTo>
                  <a:lnTo>
                    <a:pt x="234" y="180"/>
                  </a:lnTo>
                  <a:lnTo>
                    <a:pt x="222" y="186"/>
                  </a:lnTo>
                  <a:lnTo>
                    <a:pt x="216" y="198"/>
                  </a:lnTo>
                  <a:lnTo>
                    <a:pt x="180" y="216"/>
                  </a:lnTo>
                  <a:lnTo>
                    <a:pt x="168" y="216"/>
                  </a:lnTo>
                  <a:lnTo>
                    <a:pt x="168" y="228"/>
                  </a:lnTo>
                  <a:lnTo>
                    <a:pt x="156" y="252"/>
                  </a:lnTo>
                  <a:lnTo>
                    <a:pt x="150" y="258"/>
                  </a:lnTo>
                  <a:lnTo>
                    <a:pt x="138" y="264"/>
                  </a:lnTo>
                  <a:lnTo>
                    <a:pt x="114" y="264"/>
                  </a:lnTo>
                  <a:lnTo>
                    <a:pt x="90" y="240"/>
                  </a:lnTo>
                  <a:lnTo>
                    <a:pt x="84" y="240"/>
                  </a:lnTo>
                  <a:lnTo>
                    <a:pt x="78" y="246"/>
                  </a:lnTo>
                  <a:lnTo>
                    <a:pt x="66" y="246"/>
                  </a:lnTo>
                  <a:lnTo>
                    <a:pt x="60" y="240"/>
                  </a:lnTo>
                  <a:lnTo>
                    <a:pt x="48" y="240"/>
                  </a:lnTo>
                  <a:lnTo>
                    <a:pt x="42" y="234"/>
                  </a:lnTo>
                  <a:lnTo>
                    <a:pt x="36" y="240"/>
                  </a:lnTo>
                  <a:lnTo>
                    <a:pt x="30" y="252"/>
                  </a:lnTo>
                  <a:lnTo>
                    <a:pt x="30" y="258"/>
                  </a:lnTo>
                  <a:lnTo>
                    <a:pt x="36" y="270"/>
                  </a:lnTo>
                  <a:lnTo>
                    <a:pt x="36" y="294"/>
                  </a:lnTo>
                  <a:lnTo>
                    <a:pt x="42" y="300"/>
                  </a:lnTo>
                  <a:lnTo>
                    <a:pt x="42" y="306"/>
                  </a:lnTo>
                  <a:lnTo>
                    <a:pt x="18" y="312"/>
                  </a:lnTo>
                  <a:lnTo>
                    <a:pt x="30" y="330"/>
                  </a:lnTo>
                  <a:lnTo>
                    <a:pt x="24" y="330"/>
                  </a:lnTo>
                  <a:lnTo>
                    <a:pt x="18" y="336"/>
                  </a:lnTo>
                  <a:lnTo>
                    <a:pt x="6" y="342"/>
                  </a:lnTo>
                  <a:lnTo>
                    <a:pt x="0" y="348"/>
                  </a:lnTo>
                  <a:lnTo>
                    <a:pt x="0" y="354"/>
                  </a:lnTo>
                  <a:lnTo>
                    <a:pt x="12" y="366"/>
                  </a:lnTo>
                  <a:lnTo>
                    <a:pt x="12" y="396"/>
                  </a:lnTo>
                  <a:lnTo>
                    <a:pt x="36" y="396"/>
                  </a:lnTo>
                  <a:lnTo>
                    <a:pt x="42" y="402"/>
                  </a:lnTo>
                  <a:lnTo>
                    <a:pt x="42" y="408"/>
                  </a:lnTo>
                  <a:lnTo>
                    <a:pt x="24" y="426"/>
                  </a:lnTo>
                  <a:lnTo>
                    <a:pt x="18" y="438"/>
                  </a:lnTo>
                  <a:lnTo>
                    <a:pt x="30" y="462"/>
                  </a:lnTo>
                  <a:lnTo>
                    <a:pt x="42" y="480"/>
                  </a:lnTo>
                  <a:lnTo>
                    <a:pt x="54" y="504"/>
                  </a:lnTo>
                  <a:lnTo>
                    <a:pt x="60" y="510"/>
                  </a:lnTo>
                  <a:lnTo>
                    <a:pt x="60" y="564"/>
                  </a:lnTo>
                  <a:lnTo>
                    <a:pt x="66" y="570"/>
                  </a:lnTo>
                  <a:lnTo>
                    <a:pt x="72" y="570"/>
                  </a:lnTo>
                  <a:lnTo>
                    <a:pt x="84" y="576"/>
                  </a:lnTo>
                  <a:lnTo>
                    <a:pt x="120" y="576"/>
                  </a:lnTo>
                  <a:lnTo>
                    <a:pt x="126" y="582"/>
                  </a:lnTo>
                  <a:lnTo>
                    <a:pt x="138" y="606"/>
                  </a:lnTo>
                  <a:lnTo>
                    <a:pt x="114" y="654"/>
                  </a:lnTo>
                  <a:lnTo>
                    <a:pt x="108" y="660"/>
                  </a:lnTo>
                  <a:lnTo>
                    <a:pt x="102" y="672"/>
                  </a:lnTo>
                  <a:lnTo>
                    <a:pt x="84" y="690"/>
                  </a:lnTo>
                  <a:lnTo>
                    <a:pt x="84" y="702"/>
                  </a:lnTo>
                  <a:lnTo>
                    <a:pt x="120" y="702"/>
                  </a:lnTo>
                  <a:lnTo>
                    <a:pt x="132" y="708"/>
                  </a:lnTo>
                  <a:lnTo>
                    <a:pt x="150" y="720"/>
                  </a:lnTo>
                  <a:lnTo>
                    <a:pt x="168" y="726"/>
                  </a:lnTo>
                  <a:lnTo>
                    <a:pt x="192" y="738"/>
                  </a:lnTo>
                  <a:lnTo>
                    <a:pt x="210" y="738"/>
                  </a:lnTo>
                  <a:lnTo>
                    <a:pt x="228" y="732"/>
                  </a:lnTo>
                  <a:lnTo>
                    <a:pt x="234" y="732"/>
                  </a:lnTo>
                  <a:lnTo>
                    <a:pt x="240" y="726"/>
                  </a:lnTo>
                  <a:lnTo>
                    <a:pt x="294" y="726"/>
                  </a:lnTo>
                  <a:lnTo>
                    <a:pt x="294" y="732"/>
                  </a:lnTo>
                  <a:lnTo>
                    <a:pt x="318" y="732"/>
                  </a:lnTo>
                  <a:lnTo>
                    <a:pt x="324" y="726"/>
                  </a:lnTo>
                  <a:lnTo>
                    <a:pt x="348" y="726"/>
                  </a:lnTo>
                  <a:lnTo>
                    <a:pt x="366" y="720"/>
                  </a:lnTo>
                  <a:lnTo>
                    <a:pt x="396" y="720"/>
                  </a:lnTo>
                  <a:lnTo>
                    <a:pt x="444" y="696"/>
                  </a:lnTo>
                  <a:lnTo>
                    <a:pt x="450" y="696"/>
                  </a:lnTo>
                  <a:lnTo>
                    <a:pt x="456" y="690"/>
                  </a:lnTo>
                  <a:lnTo>
                    <a:pt x="456" y="660"/>
                  </a:lnTo>
                  <a:lnTo>
                    <a:pt x="450" y="654"/>
                  </a:lnTo>
                  <a:lnTo>
                    <a:pt x="450" y="636"/>
                  </a:lnTo>
                  <a:lnTo>
                    <a:pt x="444" y="624"/>
                  </a:lnTo>
                  <a:lnTo>
                    <a:pt x="444" y="606"/>
                  </a:lnTo>
                  <a:lnTo>
                    <a:pt x="450" y="594"/>
                  </a:lnTo>
                  <a:lnTo>
                    <a:pt x="462" y="588"/>
                  </a:lnTo>
                  <a:lnTo>
                    <a:pt x="468" y="576"/>
                  </a:lnTo>
                  <a:lnTo>
                    <a:pt x="486" y="576"/>
                  </a:lnTo>
                  <a:lnTo>
                    <a:pt x="486" y="588"/>
                  </a:lnTo>
                  <a:lnTo>
                    <a:pt x="528" y="588"/>
                  </a:lnTo>
                  <a:lnTo>
                    <a:pt x="534" y="582"/>
                  </a:lnTo>
                  <a:lnTo>
                    <a:pt x="534" y="576"/>
                  </a:lnTo>
                  <a:lnTo>
                    <a:pt x="528" y="570"/>
                  </a:lnTo>
                  <a:lnTo>
                    <a:pt x="522" y="570"/>
                  </a:lnTo>
                  <a:lnTo>
                    <a:pt x="522" y="564"/>
                  </a:lnTo>
                  <a:lnTo>
                    <a:pt x="528" y="558"/>
                  </a:lnTo>
                  <a:lnTo>
                    <a:pt x="534" y="558"/>
                  </a:lnTo>
                  <a:lnTo>
                    <a:pt x="546" y="552"/>
                  </a:lnTo>
                  <a:lnTo>
                    <a:pt x="552" y="546"/>
                  </a:lnTo>
                  <a:lnTo>
                    <a:pt x="564" y="540"/>
                  </a:lnTo>
                  <a:lnTo>
                    <a:pt x="594" y="540"/>
                  </a:lnTo>
                  <a:lnTo>
                    <a:pt x="594" y="552"/>
                  </a:lnTo>
                  <a:lnTo>
                    <a:pt x="600" y="558"/>
                  </a:lnTo>
                  <a:lnTo>
                    <a:pt x="612" y="558"/>
                  </a:lnTo>
                  <a:lnTo>
                    <a:pt x="624" y="552"/>
                  </a:lnTo>
                  <a:lnTo>
                    <a:pt x="630" y="540"/>
                  </a:lnTo>
                  <a:lnTo>
                    <a:pt x="636" y="534"/>
                  </a:lnTo>
                  <a:lnTo>
                    <a:pt x="636" y="528"/>
                  </a:lnTo>
                  <a:lnTo>
                    <a:pt x="630" y="522"/>
                  </a:lnTo>
                  <a:lnTo>
                    <a:pt x="630" y="510"/>
                  </a:lnTo>
                  <a:lnTo>
                    <a:pt x="624" y="498"/>
                  </a:lnTo>
                  <a:lnTo>
                    <a:pt x="624" y="480"/>
                  </a:lnTo>
                  <a:lnTo>
                    <a:pt x="630" y="474"/>
                  </a:lnTo>
                  <a:lnTo>
                    <a:pt x="636" y="474"/>
                  </a:lnTo>
                  <a:lnTo>
                    <a:pt x="636" y="438"/>
                  </a:lnTo>
                  <a:lnTo>
                    <a:pt x="642" y="432"/>
                  </a:lnTo>
                  <a:lnTo>
                    <a:pt x="660" y="432"/>
                  </a:lnTo>
                  <a:lnTo>
                    <a:pt x="690" y="414"/>
                  </a:lnTo>
                  <a:lnTo>
                    <a:pt x="684" y="414"/>
                  </a:lnTo>
                  <a:lnTo>
                    <a:pt x="672" y="408"/>
                  </a:lnTo>
                  <a:lnTo>
                    <a:pt x="672" y="402"/>
                  </a:lnTo>
                  <a:lnTo>
                    <a:pt x="666" y="396"/>
                  </a:lnTo>
                  <a:lnTo>
                    <a:pt x="666" y="390"/>
                  </a:lnTo>
                  <a:lnTo>
                    <a:pt x="654" y="384"/>
                  </a:lnTo>
                  <a:lnTo>
                    <a:pt x="642" y="372"/>
                  </a:lnTo>
                  <a:lnTo>
                    <a:pt x="642" y="360"/>
                  </a:lnTo>
                  <a:lnTo>
                    <a:pt x="660" y="360"/>
                  </a:lnTo>
                  <a:lnTo>
                    <a:pt x="666" y="366"/>
                  </a:lnTo>
                  <a:lnTo>
                    <a:pt x="684" y="372"/>
                  </a:lnTo>
                  <a:lnTo>
                    <a:pt x="690" y="372"/>
                  </a:lnTo>
                  <a:lnTo>
                    <a:pt x="696" y="366"/>
                  </a:lnTo>
                  <a:lnTo>
                    <a:pt x="714" y="366"/>
                  </a:lnTo>
                  <a:lnTo>
                    <a:pt x="714" y="336"/>
                  </a:lnTo>
                  <a:lnTo>
                    <a:pt x="708" y="330"/>
                  </a:lnTo>
                  <a:lnTo>
                    <a:pt x="708" y="318"/>
                  </a:lnTo>
                  <a:lnTo>
                    <a:pt x="714" y="306"/>
                  </a:lnTo>
                  <a:lnTo>
                    <a:pt x="738" y="282"/>
                  </a:lnTo>
                  <a:lnTo>
                    <a:pt x="738" y="276"/>
                  </a:lnTo>
                  <a:lnTo>
                    <a:pt x="732" y="264"/>
                  </a:lnTo>
                  <a:lnTo>
                    <a:pt x="726" y="258"/>
                  </a:lnTo>
                  <a:lnTo>
                    <a:pt x="726" y="228"/>
                  </a:lnTo>
                  <a:lnTo>
                    <a:pt x="696" y="198"/>
                  </a:lnTo>
                  <a:lnTo>
                    <a:pt x="696" y="192"/>
                  </a:lnTo>
                  <a:lnTo>
                    <a:pt x="702" y="186"/>
                  </a:lnTo>
                  <a:lnTo>
                    <a:pt x="708" y="174"/>
                  </a:lnTo>
                  <a:lnTo>
                    <a:pt x="714" y="168"/>
                  </a:lnTo>
                  <a:lnTo>
                    <a:pt x="738" y="156"/>
                  </a:lnTo>
                  <a:lnTo>
                    <a:pt x="744" y="150"/>
                  </a:lnTo>
                  <a:lnTo>
                    <a:pt x="768" y="138"/>
                  </a:lnTo>
                  <a:lnTo>
                    <a:pt x="774" y="138"/>
                  </a:lnTo>
                  <a:lnTo>
                    <a:pt x="780" y="132"/>
                  </a:lnTo>
                  <a:lnTo>
                    <a:pt x="822" y="132"/>
                  </a:lnTo>
                  <a:lnTo>
                    <a:pt x="828" y="126"/>
                  </a:lnTo>
                  <a:lnTo>
                    <a:pt x="852" y="126"/>
                  </a:lnTo>
                  <a:lnTo>
                    <a:pt x="864" y="132"/>
                  </a:lnTo>
                  <a:lnTo>
                    <a:pt x="876" y="132"/>
                  </a:lnTo>
                  <a:lnTo>
                    <a:pt x="882" y="126"/>
                  </a:lnTo>
                  <a:lnTo>
                    <a:pt x="894" y="126"/>
                  </a:lnTo>
                  <a:lnTo>
                    <a:pt x="900" y="120"/>
                  </a:lnTo>
                  <a:lnTo>
                    <a:pt x="894" y="114"/>
                  </a:lnTo>
                  <a:lnTo>
                    <a:pt x="894" y="108"/>
                  </a:lnTo>
                  <a:close/>
                </a:path>
              </a:pathLst>
            </a:custGeom>
            <a:grpFill/>
            <a:ln w="3175">
              <a:solidFill>
                <a:schemeClr val="bg1"/>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de-DE" sz="1800" b="0" i="0" u="none" strike="noStrike" kern="1200" cap="none" spc="0" normalizeH="0" baseline="0" noProof="0">
                <a:ln>
                  <a:noFill/>
                </a:ln>
                <a:solidFill>
                  <a:srgbClr val="FFC000"/>
                </a:solidFill>
                <a:effectLst/>
                <a:uLnTx/>
                <a:uFillTx/>
                <a:latin typeface="Calibri" pitchFamily="34" charset="0"/>
                <a:ea typeface="+mn-ea"/>
                <a:cs typeface="+mn-cs"/>
              </a:endParaRPr>
            </a:p>
          </p:txBody>
        </p:sp>
        <p:grpSp>
          <p:nvGrpSpPr>
            <p:cNvPr id="188" name="Group 198"/>
            <p:cNvGrpSpPr>
              <a:grpSpLocks/>
            </p:cNvGrpSpPr>
            <p:nvPr/>
          </p:nvGrpSpPr>
          <p:grpSpPr bwMode="auto">
            <a:xfrm>
              <a:off x="4880408" y="3150044"/>
              <a:ext cx="89589" cy="105332"/>
              <a:chOff x="2184" y="1242"/>
              <a:chExt cx="257" cy="316"/>
            </a:xfrm>
            <a:grpFill/>
          </p:grpSpPr>
          <p:sp>
            <p:nvSpPr>
              <p:cNvPr id="189" name="Freeform 199" descr="© INSCALE GmbH, 05.05.2010&#10;http://www.presentationload.com/"/>
              <p:cNvSpPr>
                <a:spLocks/>
              </p:cNvSpPr>
              <p:nvPr/>
            </p:nvSpPr>
            <p:spPr bwMode="gray">
              <a:xfrm>
                <a:off x="2184" y="1242"/>
                <a:ext cx="257" cy="282"/>
              </a:xfrm>
              <a:custGeom>
                <a:avLst/>
                <a:gdLst/>
                <a:ahLst/>
                <a:cxnLst>
                  <a:cxn ang="0">
                    <a:pos x="464" y="374"/>
                  </a:cxn>
                  <a:cxn ang="0">
                    <a:pos x="453" y="310"/>
                  </a:cxn>
                  <a:cxn ang="0">
                    <a:pos x="453" y="235"/>
                  </a:cxn>
                  <a:cxn ang="0">
                    <a:pos x="378" y="224"/>
                  </a:cxn>
                  <a:cxn ang="0">
                    <a:pos x="302" y="171"/>
                  </a:cxn>
                  <a:cxn ang="0">
                    <a:pos x="291" y="118"/>
                  </a:cxn>
                  <a:cxn ang="0">
                    <a:pos x="259" y="128"/>
                  </a:cxn>
                  <a:cxn ang="0">
                    <a:pos x="216" y="53"/>
                  </a:cxn>
                  <a:cxn ang="0">
                    <a:pos x="87" y="0"/>
                  </a:cxn>
                  <a:cxn ang="0">
                    <a:pos x="0" y="43"/>
                  </a:cxn>
                  <a:cxn ang="0">
                    <a:pos x="32" y="96"/>
                  </a:cxn>
                  <a:cxn ang="0">
                    <a:pos x="65" y="139"/>
                  </a:cxn>
                  <a:cxn ang="0">
                    <a:pos x="54" y="150"/>
                  </a:cxn>
                  <a:cxn ang="0">
                    <a:pos x="32" y="181"/>
                  </a:cxn>
                  <a:cxn ang="0">
                    <a:pos x="32" y="192"/>
                  </a:cxn>
                  <a:cxn ang="0">
                    <a:pos x="76" y="203"/>
                  </a:cxn>
                  <a:cxn ang="0">
                    <a:pos x="87" y="267"/>
                  </a:cxn>
                  <a:cxn ang="0">
                    <a:pos x="65" y="310"/>
                  </a:cxn>
                  <a:cxn ang="0">
                    <a:pos x="98" y="363"/>
                  </a:cxn>
                  <a:cxn ang="0">
                    <a:pos x="119" y="395"/>
                  </a:cxn>
                  <a:cxn ang="0">
                    <a:pos x="157" y="442"/>
                  </a:cxn>
                  <a:cxn ang="0">
                    <a:pos x="173" y="438"/>
                  </a:cxn>
                  <a:cxn ang="0">
                    <a:pos x="180" y="444"/>
                  </a:cxn>
                  <a:cxn ang="0">
                    <a:pos x="230" y="446"/>
                  </a:cxn>
                  <a:cxn ang="0">
                    <a:pos x="237" y="431"/>
                  </a:cxn>
                  <a:cxn ang="0">
                    <a:pos x="258" y="416"/>
                  </a:cxn>
                  <a:cxn ang="0">
                    <a:pos x="266" y="418"/>
                  </a:cxn>
                  <a:cxn ang="0">
                    <a:pos x="268" y="407"/>
                  </a:cxn>
                  <a:cxn ang="0">
                    <a:pos x="267" y="399"/>
                  </a:cxn>
                  <a:cxn ang="0">
                    <a:pos x="254" y="388"/>
                  </a:cxn>
                  <a:cxn ang="0">
                    <a:pos x="262" y="387"/>
                  </a:cxn>
                  <a:cxn ang="0">
                    <a:pos x="279" y="380"/>
                  </a:cxn>
                  <a:cxn ang="0">
                    <a:pos x="288" y="372"/>
                  </a:cxn>
                  <a:cxn ang="0">
                    <a:pos x="298" y="389"/>
                  </a:cxn>
                  <a:cxn ang="0">
                    <a:pos x="292" y="399"/>
                  </a:cxn>
                  <a:cxn ang="0">
                    <a:pos x="309" y="402"/>
                  </a:cxn>
                  <a:cxn ang="0">
                    <a:pos x="321" y="404"/>
                  </a:cxn>
                  <a:cxn ang="0">
                    <a:pos x="326" y="408"/>
                  </a:cxn>
                  <a:cxn ang="0">
                    <a:pos x="328" y="433"/>
                  </a:cxn>
                  <a:cxn ang="0">
                    <a:pos x="334" y="429"/>
                  </a:cxn>
                  <a:cxn ang="0">
                    <a:pos x="335" y="448"/>
                  </a:cxn>
                  <a:cxn ang="0">
                    <a:pos x="348" y="452"/>
                  </a:cxn>
                  <a:cxn ang="0">
                    <a:pos x="356" y="467"/>
                  </a:cxn>
                  <a:cxn ang="0">
                    <a:pos x="354" y="478"/>
                  </a:cxn>
                  <a:cxn ang="0">
                    <a:pos x="356" y="482"/>
                  </a:cxn>
                  <a:cxn ang="0">
                    <a:pos x="369" y="485"/>
                  </a:cxn>
                  <a:cxn ang="0">
                    <a:pos x="381" y="492"/>
                  </a:cxn>
                  <a:cxn ang="0">
                    <a:pos x="390" y="496"/>
                  </a:cxn>
                  <a:cxn ang="0">
                    <a:pos x="399" y="501"/>
                  </a:cxn>
                  <a:cxn ang="0">
                    <a:pos x="392" y="513"/>
                  </a:cxn>
                  <a:cxn ang="0">
                    <a:pos x="384" y="528"/>
                  </a:cxn>
                  <a:cxn ang="0">
                    <a:pos x="376" y="542"/>
                  </a:cxn>
                  <a:cxn ang="0">
                    <a:pos x="453" y="492"/>
                  </a:cxn>
                  <a:cxn ang="0">
                    <a:pos x="486" y="470"/>
                  </a:cxn>
                  <a:cxn ang="0">
                    <a:pos x="486" y="406"/>
                  </a:cxn>
                </a:cxnLst>
                <a:rect l="0" t="0" r="r" b="b"/>
                <a:pathLst>
                  <a:path w="496" h="542">
                    <a:moveTo>
                      <a:pt x="486" y="406"/>
                    </a:moveTo>
                    <a:cubicBezTo>
                      <a:pt x="453" y="395"/>
                      <a:pt x="453" y="395"/>
                      <a:pt x="453" y="395"/>
                    </a:cubicBezTo>
                    <a:cubicBezTo>
                      <a:pt x="464" y="374"/>
                      <a:pt x="464" y="374"/>
                      <a:pt x="464" y="374"/>
                    </a:cubicBezTo>
                    <a:cubicBezTo>
                      <a:pt x="432" y="363"/>
                      <a:pt x="432" y="363"/>
                      <a:pt x="432" y="363"/>
                    </a:cubicBezTo>
                    <a:cubicBezTo>
                      <a:pt x="432" y="331"/>
                      <a:pt x="432" y="331"/>
                      <a:pt x="432" y="331"/>
                    </a:cubicBezTo>
                    <a:cubicBezTo>
                      <a:pt x="453" y="310"/>
                      <a:pt x="453" y="310"/>
                      <a:pt x="453" y="310"/>
                    </a:cubicBezTo>
                    <a:cubicBezTo>
                      <a:pt x="453" y="267"/>
                      <a:pt x="453" y="267"/>
                      <a:pt x="453" y="267"/>
                    </a:cubicBezTo>
                    <a:cubicBezTo>
                      <a:pt x="442" y="256"/>
                      <a:pt x="442" y="256"/>
                      <a:pt x="442" y="256"/>
                    </a:cubicBezTo>
                    <a:cubicBezTo>
                      <a:pt x="453" y="235"/>
                      <a:pt x="453" y="235"/>
                      <a:pt x="453" y="235"/>
                    </a:cubicBezTo>
                    <a:cubicBezTo>
                      <a:pt x="464" y="224"/>
                      <a:pt x="464" y="224"/>
                      <a:pt x="464" y="224"/>
                    </a:cubicBezTo>
                    <a:cubicBezTo>
                      <a:pt x="421" y="213"/>
                      <a:pt x="421" y="213"/>
                      <a:pt x="421" y="213"/>
                    </a:cubicBezTo>
                    <a:cubicBezTo>
                      <a:pt x="378" y="224"/>
                      <a:pt x="378" y="224"/>
                      <a:pt x="378" y="224"/>
                    </a:cubicBezTo>
                    <a:cubicBezTo>
                      <a:pt x="367" y="213"/>
                      <a:pt x="367" y="213"/>
                      <a:pt x="367" y="213"/>
                    </a:cubicBezTo>
                    <a:cubicBezTo>
                      <a:pt x="324" y="203"/>
                      <a:pt x="324" y="203"/>
                      <a:pt x="324" y="203"/>
                    </a:cubicBezTo>
                    <a:cubicBezTo>
                      <a:pt x="302" y="171"/>
                      <a:pt x="302" y="171"/>
                      <a:pt x="302" y="171"/>
                    </a:cubicBezTo>
                    <a:cubicBezTo>
                      <a:pt x="313" y="160"/>
                      <a:pt x="313" y="160"/>
                      <a:pt x="313" y="160"/>
                    </a:cubicBezTo>
                    <a:cubicBezTo>
                      <a:pt x="313" y="128"/>
                      <a:pt x="313" y="128"/>
                      <a:pt x="313" y="128"/>
                    </a:cubicBezTo>
                    <a:cubicBezTo>
                      <a:pt x="291" y="118"/>
                      <a:pt x="291" y="118"/>
                      <a:pt x="291" y="118"/>
                    </a:cubicBezTo>
                    <a:cubicBezTo>
                      <a:pt x="280" y="118"/>
                      <a:pt x="280" y="118"/>
                      <a:pt x="280" y="118"/>
                    </a:cubicBezTo>
                    <a:cubicBezTo>
                      <a:pt x="270" y="128"/>
                      <a:pt x="270" y="128"/>
                      <a:pt x="270" y="128"/>
                    </a:cubicBezTo>
                    <a:cubicBezTo>
                      <a:pt x="259" y="128"/>
                      <a:pt x="259" y="128"/>
                      <a:pt x="259" y="128"/>
                    </a:cubicBezTo>
                    <a:cubicBezTo>
                      <a:pt x="249" y="118"/>
                      <a:pt x="249" y="118"/>
                      <a:pt x="249" y="118"/>
                    </a:cubicBezTo>
                    <a:cubicBezTo>
                      <a:pt x="227" y="53"/>
                      <a:pt x="227" y="53"/>
                      <a:pt x="227" y="53"/>
                    </a:cubicBezTo>
                    <a:cubicBezTo>
                      <a:pt x="216" y="53"/>
                      <a:pt x="216" y="53"/>
                      <a:pt x="216" y="53"/>
                    </a:cubicBezTo>
                    <a:cubicBezTo>
                      <a:pt x="173" y="21"/>
                      <a:pt x="173" y="21"/>
                      <a:pt x="173" y="21"/>
                    </a:cubicBezTo>
                    <a:cubicBezTo>
                      <a:pt x="129" y="0"/>
                      <a:pt x="129" y="0"/>
                      <a:pt x="129" y="0"/>
                    </a:cubicBezTo>
                    <a:cubicBezTo>
                      <a:pt x="87" y="0"/>
                      <a:pt x="87" y="0"/>
                      <a:pt x="87" y="0"/>
                    </a:cubicBezTo>
                    <a:cubicBezTo>
                      <a:pt x="54" y="32"/>
                      <a:pt x="54" y="32"/>
                      <a:pt x="54" y="32"/>
                    </a:cubicBezTo>
                    <a:cubicBezTo>
                      <a:pt x="11" y="32"/>
                      <a:pt x="11" y="32"/>
                      <a:pt x="11" y="32"/>
                    </a:cubicBezTo>
                    <a:cubicBezTo>
                      <a:pt x="0" y="43"/>
                      <a:pt x="0" y="43"/>
                      <a:pt x="0" y="43"/>
                    </a:cubicBezTo>
                    <a:cubicBezTo>
                      <a:pt x="11" y="43"/>
                      <a:pt x="11" y="43"/>
                      <a:pt x="11" y="43"/>
                    </a:cubicBezTo>
                    <a:cubicBezTo>
                      <a:pt x="22" y="96"/>
                      <a:pt x="22" y="96"/>
                      <a:pt x="22" y="96"/>
                    </a:cubicBezTo>
                    <a:cubicBezTo>
                      <a:pt x="32" y="96"/>
                      <a:pt x="32" y="96"/>
                      <a:pt x="32" y="96"/>
                    </a:cubicBezTo>
                    <a:cubicBezTo>
                      <a:pt x="22" y="128"/>
                      <a:pt x="22" y="128"/>
                      <a:pt x="22" y="128"/>
                    </a:cubicBezTo>
                    <a:cubicBezTo>
                      <a:pt x="43" y="128"/>
                      <a:pt x="43" y="128"/>
                      <a:pt x="43" y="128"/>
                    </a:cubicBezTo>
                    <a:cubicBezTo>
                      <a:pt x="65" y="139"/>
                      <a:pt x="65" y="139"/>
                      <a:pt x="65" y="139"/>
                    </a:cubicBezTo>
                    <a:cubicBezTo>
                      <a:pt x="76" y="139"/>
                      <a:pt x="76" y="139"/>
                      <a:pt x="76" y="139"/>
                    </a:cubicBezTo>
                    <a:cubicBezTo>
                      <a:pt x="65" y="150"/>
                      <a:pt x="65" y="150"/>
                      <a:pt x="65" y="150"/>
                    </a:cubicBezTo>
                    <a:cubicBezTo>
                      <a:pt x="54" y="150"/>
                      <a:pt x="54" y="150"/>
                      <a:pt x="54" y="150"/>
                    </a:cubicBezTo>
                    <a:cubicBezTo>
                      <a:pt x="43" y="160"/>
                      <a:pt x="43" y="160"/>
                      <a:pt x="43" y="160"/>
                    </a:cubicBezTo>
                    <a:cubicBezTo>
                      <a:pt x="32" y="160"/>
                      <a:pt x="32" y="160"/>
                      <a:pt x="32" y="160"/>
                    </a:cubicBezTo>
                    <a:cubicBezTo>
                      <a:pt x="32" y="181"/>
                      <a:pt x="32" y="181"/>
                      <a:pt x="32" y="181"/>
                    </a:cubicBezTo>
                    <a:cubicBezTo>
                      <a:pt x="22" y="181"/>
                      <a:pt x="22" y="181"/>
                      <a:pt x="22" y="181"/>
                    </a:cubicBezTo>
                    <a:cubicBezTo>
                      <a:pt x="22" y="192"/>
                      <a:pt x="22" y="192"/>
                      <a:pt x="22" y="192"/>
                    </a:cubicBezTo>
                    <a:cubicBezTo>
                      <a:pt x="32" y="192"/>
                      <a:pt x="32" y="192"/>
                      <a:pt x="32" y="192"/>
                    </a:cubicBezTo>
                    <a:cubicBezTo>
                      <a:pt x="54" y="181"/>
                      <a:pt x="54" y="181"/>
                      <a:pt x="54" y="181"/>
                    </a:cubicBezTo>
                    <a:cubicBezTo>
                      <a:pt x="76" y="181"/>
                      <a:pt x="76" y="181"/>
                      <a:pt x="76" y="181"/>
                    </a:cubicBezTo>
                    <a:cubicBezTo>
                      <a:pt x="76" y="203"/>
                      <a:pt x="76" y="203"/>
                      <a:pt x="76" y="203"/>
                    </a:cubicBezTo>
                    <a:cubicBezTo>
                      <a:pt x="43" y="235"/>
                      <a:pt x="43" y="235"/>
                      <a:pt x="43" y="235"/>
                    </a:cubicBezTo>
                    <a:cubicBezTo>
                      <a:pt x="43" y="267"/>
                      <a:pt x="43" y="267"/>
                      <a:pt x="43" y="267"/>
                    </a:cubicBezTo>
                    <a:cubicBezTo>
                      <a:pt x="87" y="267"/>
                      <a:pt x="87" y="267"/>
                      <a:pt x="87" y="267"/>
                    </a:cubicBezTo>
                    <a:cubicBezTo>
                      <a:pt x="98" y="278"/>
                      <a:pt x="98" y="278"/>
                      <a:pt x="98" y="278"/>
                    </a:cubicBezTo>
                    <a:cubicBezTo>
                      <a:pt x="108" y="299"/>
                      <a:pt x="108" y="299"/>
                      <a:pt x="108" y="299"/>
                    </a:cubicBezTo>
                    <a:cubicBezTo>
                      <a:pt x="65" y="310"/>
                      <a:pt x="65" y="310"/>
                      <a:pt x="65" y="310"/>
                    </a:cubicBezTo>
                    <a:cubicBezTo>
                      <a:pt x="87" y="331"/>
                      <a:pt x="87" y="331"/>
                      <a:pt x="87" y="331"/>
                    </a:cubicBezTo>
                    <a:cubicBezTo>
                      <a:pt x="98" y="353"/>
                      <a:pt x="98" y="353"/>
                      <a:pt x="98" y="353"/>
                    </a:cubicBezTo>
                    <a:cubicBezTo>
                      <a:pt x="98" y="363"/>
                      <a:pt x="98" y="363"/>
                      <a:pt x="98" y="363"/>
                    </a:cubicBezTo>
                    <a:cubicBezTo>
                      <a:pt x="87" y="363"/>
                      <a:pt x="87" y="363"/>
                      <a:pt x="87" y="363"/>
                    </a:cubicBezTo>
                    <a:cubicBezTo>
                      <a:pt x="87" y="374"/>
                      <a:pt x="87" y="374"/>
                      <a:pt x="87" y="374"/>
                    </a:cubicBezTo>
                    <a:cubicBezTo>
                      <a:pt x="119" y="395"/>
                      <a:pt x="119" y="395"/>
                      <a:pt x="119" y="395"/>
                    </a:cubicBezTo>
                    <a:cubicBezTo>
                      <a:pt x="140" y="417"/>
                      <a:pt x="140" y="417"/>
                      <a:pt x="140" y="417"/>
                    </a:cubicBezTo>
                    <a:cubicBezTo>
                      <a:pt x="157" y="442"/>
                      <a:pt x="157" y="442"/>
                      <a:pt x="157" y="442"/>
                    </a:cubicBezTo>
                    <a:cubicBezTo>
                      <a:pt x="157" y="442"/>
                      <a:pt x="157" y="442"/>
                      <a:pt x="157" y="442"/>
                    </a:cubicBezTo>
                    <a:cubicBezTo>
                      <a:pt x="159" y="442"/>
                      <a:pt x="161" y="443"/>
                      <a:pt x="166" y="444"/>
                    </a:cubicBezTo>
                    <a:cubicBezTo>
                      <a:pt x="166" y="444"/>
                      <a:pt x="166" y="444"/>
                      <a:pt x="167" y="444"/>
                    </a:cubicBezTo>
                    <a:cubicBezTo>
                      <a:pt x="173" y="438"/>
                      <a:pt x="173" y="438"/>
                      <a:pt x="173" y="438"/>
                    </a:cubicBezTo>
                    <a:cubicBezTo>
                      <a:pt x="173" y="447"/>
                      <a:pt x="173" y="447"/>
                      <a:pt x="173" y="447"/>
                    </a:cubicBezTo>
                    <a:cubicBezTo>
                      <a:pt x="174" y="448"/>
                      <a:pt x="175" y="448"/>
                      <a:pt x="176" y="449"/>
                    </a:cubicBezTo>
                    <a:cubicBezTo>
                      <a:pt x="176" y="449"/>
                      <a:pt x="176" y="449"/>
                      <a:pt x="180" y="444"/>
                    </a:cubicBezTo>
                    <a:cubicBezTo>
                      <a:pt x="180" y="444"/>
                      <a:pt x="180" y="444"/>
                      <a:pt x="199" y="447"/>
                    </a:cubicBezTo>
                    <a:cubicBezTo>
                      <a:pt x="199" y="447"/>
                      <a:pt x="199" y="447"/>
                      <a:pt x="212" y="446"/>
                    </a:cubicBezTo>
                    <a:cubicBezTo>
                      <a:pt x="212" y="446"/>
                      <a:pt x="212" y="446"/>
                      <a:pt x="230" y="446"/>
                    </a:cubicBezTo>
                    <a:cubicBezTo>
                      <a:pt x="230" y="446"/>
                      <a:pt x="230" y="446"/>
                      <a:pt x="240" y="443"/>
                    </a:cubicBezTo>
                    <a:cubicBezTo>
                      <a:pt x="240" y="443"/>
                      <a:pt x="240" y="443"/>
                      <a:pt x="239" y="437"/>
                    </a:cubicBezTo>
                    <a:cubicBezTo>
                      <a:pt x="239" y="437"/>
                      <a:pt x="239" y="437"/>
                      <a:pt x="237" y="431"/>
                    </a:cubicBezTo>
                    <a:cubicBezTo>
                      <a:pt x="237" y="431"/>
                      <a:pt x="237" y="431"/>
                      <a:pt x="245" y="425"/>
                    </a:cubicBezTo>
                    <a:cubicBezTo>
                      <a:pt x="245" y="425"/>
                      <a:pt x="245" y="425"/>
                      <a:pt x="255" y="417"/>
                    </a:cubicBezTo>
                    <a:cubicBezTo>
                      <a:pt x="255" y="417"/>
                      <a:pt x="255" y="417"/>
                      <a:pt x="258" y="416"/>
                    </a:cubicBezTo>
                    <a:cubicBezTo>
                      <a:pt x="258" y="416"/>
                      <a:pt x="258" y="416"/>
                      <a:pt x="258" y="421"/>
                    </a:cubicBezTo>
                    <a:cubicBezTo>
                      <a:pt x="258" y="421"/>
                      <a:pt x="258" y="421"/>
                      <a:pt x="262" y="419"/>
                    </a:cubicBezTo>
                    <a:cubicBezTo>
                      <a:pt x="262" y="419"/>
                      <a:pt x="262" y="419"/>
                      <a:pt x="266" y="418"/>
                    </a:cubicBezTo>
                    <a:cubicBezTo>
                      <a:pt x="266" y="418"/>
                      <a:pt x="266" y="418"/>
                      <a:pt x="263" y="414"/>
                    </a:cubicBezTo>
                    <a:cubicBezTo>
                      <a:pt x="263" y="414"/>
                      <a:pt x="263" y="414"/>
                      <a:pt x="267" y="412"/>
                    </a:cubicBezTo>
                    <a:cubicBezTo>
                      <a:pt x="267" y="412"/>
                      <a:pt x="267" y="412"/>
                      <a:pt x="268" y="407"/>
                    </a:cubicBezTo>
                    <a:cubicBezTo>
                      <a:pt x="268" y="407"/>
                      <a:pt x="268" y="407"/>
                      <a:pt x="264" y="405"/>
                    </a:cubicBezTo>
                    <a:cubicBezTo>
                      <a:pt x="264" y="405"/>
                      <a:pt x="264" y="405"/>
                      <a:pt x="264" y="402"/>
                    </a:cubicBezTo>
                    <a:cubicBezTo>
                      <a:pt x="264" y="402"/>
                      <a:pt x="264" y="402"/>
                      <a:pt x="267" y="399"/>
                    </a:cubicBezTo>
                    <a:cubicBezTo>
                      <a:pt x="267" y="399"/>
                      <a:pt x="267" y="399"/>
                      <a:pt x="266" y="396"/>
                    </a:cubicBezTo>
                    <a:cubicBezTo>
                      <a:pt x="266" y="396"/>
                      <a:pt x="266" y="396"/>
                      <a:pt x="258" y="394"/>
                    </a:cubicBezTo>
                    <a:cubicBezTo>
                      <a:pt x="258" y="394"/>
                      <a:pt x="258" y="394"/>
                      <a:pt x="254" y="388"/>
                    </a:cubicBezTo>
                    <a:cubicBezTo>
                      <a:pt x="254" y="388"/>
                      <a:pt x="254" y="388"/>
                      <a:pt x="256" y="385"/>
                    </a:cubicBezTo>
                    <a:cubicBezTo>
                      <a:pt x="256" y="385"/>
                      <a:pt x="256" y="385"/>
                      <a:pt x="259" y="389"/>
                    </a:cubicBezTo>
                    <a:cubicBezTo>
                      <a:pt x="259" y="389"/>
                      <a:pt x="259" y="389"/>
                      <a:pt x="262" y="387"/>
                    </a:cubicBezTo>
                    <a:cubicBezTo>
                      <a:pt x="262" y="387"/>
                      <a:pt x="262" y="387"/>
                      <a:pt x="267" y="388"/>
                    </a:cubicBezTo>
                    <a:cubicBezTo>
                      <a:pt x="267" y="388"/>
                      <a:pt x="267" y="388"/>
                      <a:pt x="271" y="385"/>
                    </a:cubicBezTo>
                    <a:cubicBezTo>
                      <a:pt x="271" y="385"/>
                      <a:pt x="271" y="385"/>
                      <a:pt x="279" y="380"/>
                    </a:cubicBezTo>
                    <a:cubicBezTo>
                      <a:pt x="279" y="380"/>
                      <a:pt x="279" y="380"/>
                      <a:pt x="282" y="378"/>
                    </a:cubicBezTo>
                    <a:cubicBezTo>
                      <a:pt x="282" y="378"/>
                      <a:pt x="282" y="378"/>
                      <a:pt x="283" y="374"/>
                    </a:cubicBezTo>
                    <a:cubicBezTo>
                      <a:pt x="283" y="374"/>
                      <a:pt x="283" y="374"/>
                      <a:pt x="288" y="372"/>
                    </a:cubicBezTo>
                    <a:cubicBezTo>
                      <a:pt x="288" y="372"/>
                      <a:pt x="288" y="372"/>
                      <a:pt x="293" y="377"/>
                    </a:cubicBezTo>
                    <a:cubicBezTo>
                      <a:pt x="293" y="377"/>
                      <a:pt x="293" y="377"/>
                      <a:pt x="297" y="384"/>
                    </a:cubicBezTo>
                    <a:cubicBezTo>
                      <a:pt x="297" y="384"/>
                      <a:pt x="297" y="384"/>
                      <a:pt x="298" y="389"/>
                    </a:cubicBezTo>
                    <a:cubicBezTo>
                      <a:pt x="298" y="389"/>
                      <a:pt x="298" y="389"/>
                      <a:pt x="298" y="392"/>
                    </a:cubicBezTo>
                    <a:cubicBezTo>
                      <a:pt x="298" y="392"/>
                      <a:pt x="298" y="392"/>
                      <a:pt x="291" y="396"/>
                    </a:cubicBezTo>
                    <a:cubicBezTo>
                      <a:pt x="291" y="396"/>
                      <a:pt x="291" y="396"/>
                      <a:pt x="292" y="399"/>
                    </a:cubicBezTo>
                    <a:cubicBezTo>
                      <a:pt x="292" y="399"/>
                      <a:pt x="292" y="399"/>
                      <a:pt x="299" y="400"/>
                    </a:cubicBezTo>
                    <a:cubicBezTo>
                      <a:pt x="299" y="400"/>
                      <a:pt x="299" y="400"/>
                      <a:pt x="303" y="404"/>
                    </a:cubicBezTo>
                    <a:cubicBezTo>
                      <a:pt x="303" y="404"/>
                      <a:pt x="303" y="404"/>
                      <a:pt x="309" y="402"/>
                    </a:cubicBezTo>
                    <a:cubicBezTo>
                      <a:pt x="309" y="402"/>
                      <a:pt x="309" y="402"/>
                      <a:pt x="314" y="404"/>
                    </a:cubicBezTo>
                    <a:cubicBezTo>
                      <a:pt x="314" y="404"/>
                      <a:pt x="314" y="404"/>
                      <a:pt x="319" y="401"/>
                    </a:cubicBezTo>
                    <a:cubicBezTo>
                      <a:pt x="319" y="401"/>
                      <a:pt x="319" y="401"/>
                      <a:pt x="321" y="404"/>
                    </a:cubicBezTo>
                    <a:cubicBezTo>
                      <a:pt x="321" y="404"/>
                      <a:pt x="321" y="404"/>
                      <a:pt x="318" y="408"/>
                    </a:cubicBezTo>
                    <a:cubicBezTo>
                      <a:pt x="318" y="408"/>
                      <a:pt x="318" y="408"/>
                      <a:pt x="324" y="407"/>
                    </a:cubicBezTo>
                    <a:cubicBezTo>
                      <a:pt x="324" y="407"/>
                      <a:pt x="324" y="407"/>
                      <a:pt x="326" y="408"/>
                    </a:cubicBezTo>
                    <a:cubicBezTo>
                      <a:pt x="326" y="408"/>
                      <a:pt x="326" y="408"/>
                      <a:pt x="324" y="425"/>
                    </a:cubicBezTo>
                    <a:cubicBezTo>
                      <a:pt x="324" y="425"/>
                      <a:pt x="324" y="425"/>
                      <a:pt x="324" y="432"/>
                    </a:cubicBezTo>
                    <a:cubicBezTo>
                      <a:pt x="324" y="432"/>
                      <a:pt x="324" y="432"/>
                      <a:pt x="328" y="433"/>
                    </a:cubicBezTo>
                    <a:cubicBezTo>
                      <a:pt x="328" y="433"/>
                      <a:pt x="328" y="433"/>
                      <a:pt x="330" y="431"/>
                    </a:cubicBezTo>
                    <a:cubicBezTo>
                      <a:pt x="330" y="431"/>
                      <a:pt x="330" y="431"/>
                      <a:pt x="331" y="428"/>
                    </a:cubicBezTo>
                    <a:cubicBezTo>
                      <a:pt x="331" y="428"/>
                      <a:pt x="331" y="428"/>
                      <a:pt x="334" y="429"/>
                    </a:cubicBezTo>
                    <a:cubicBezTo>
                      <a:pt x="334" y="429"/>
                      <a:pt x="334" y="429"/>
                      <a:pt x="336" y="433"/>
                    </a:cubicBezTo>
                    <a:cubicBezTo>
                      <a:pt x="336" y="433"/>
                      <a:pt x="336" y="433"/>
                      <a:pt x="336" y="443"/>
                    </a:cubicBezTo>
                    <a:cubicBezTo>
                      <a:pt x="336" y="443"/>
                      <a:pt x="336" y="443"/>
                      <a:pt x="335" y="448"/>
                    </a:cubicBezTo>
                    <a:cubicBezTo>
                      <a:pt x="335" y="448"/>
                      <a:pt x="335" y="448"/>
                      <a:pt x="339" y="450"/>
                    </a:cubicBezTo>
                    <a:cubicBezTo>
                      <a:pt x="339" y="450"/>
                      <a:pt x="339" y="450"/>
                      <a:pt x="344" y="450"/>
                    </a:cubicBezTo>
                    <a:cubicBezTo>
                      <a:pt x="344" y="450"/>
                      <a:pt x="344" y="450"/>
                      <a:pt x="348" y="452"/>
                    </a:cubicBezTo>
                    <a:cubicBezTo>
                      <a:pt x="348" y="452"/>
                      <a:pt x="348" y="452"/>
                      <a:pt x="353" y="456"/>
                    </a:cubicBezTo>
                    <a:cubicBezTo>
                      <a:pt x="353" y="456"/>
                      <a:pt x="353" y="456"/>
                      <a:pt x="357" y="457"/>
                    </a:cubicBezTo>
                    <a:cubicBezTo>
                      <a:pt x="357" y="457"/>
                      <a:pt x="357" y="457"/>
                      <a:pt x="356" y="467"/>
                    </a:cubicBezTo>
                    <a:cubicBezTo>
                      <a:pt x="356" y="467"/>
                      <a:pt x="356" y="467"/>
                      <a:pt x="356" y="472"/>
                    </a:cubicBezTo>
                    <a:cubicBezTo>
                      <a:pt x="356" y="472"/>
                      <a:pt x="356" y="472"/>
                      <a:pt x="352" y="473"/>
                    </a:cubicBezTo>
                    <a:cubicBezTo>
                      <a:pt x="352" y="473"/>
                      <a:pt x="352" y="473"/>
                      <a:pt x="354" y="478"/>
                    </a:cubicBezTo>
                    <a:cubicBezTo>
                      <a:pt x="354" y="478"/>
                      <a:pt x="354" y="478"/>
                      <a:pt x="351" y="482"/>
                    </a:cubicBezTo>
                    <a:cubicBezTo>
                      <a:pt x="351" y="482"/>
                      <a:pt x="351" y="482"/>
                      <a:pt x="353" y="483"/>
                    </a:cubicBezTo>
                    <a:cubicBezTo>
                      <a:pt x="353" y="483"/>
                      <a:pt x="353" y="483"/>
                      <a:pt x="356" y="482"/>
                    </a:cubicBezTo>
                    <a:cubicBezTo>
                      <a:pt x="356" y="482"/>
                      <a:pt x="356" y="482"/>
                      <a:pt x="361" y="485"/>
                    </a:cubicBezTo>
                    <a:cubicBezTo>
                      <a:pt x="361" y="485"/>
                      <a:pt x="361" y="485"/>
                      <a:pt x="364" y="483"/>
                    </a:cubicBezTo>
                    <a:cubicBezTo>
                      <a:pt x="364" y="483"/>
                      <a:pt x="364" y="483"/>
                      <a:pt x="369" y="485"/>
                    </a:cubicBezTo>
                    <a:cubicBezTo>
                      <a:pt x="369" y="485"/>
                      <a:pt x="369" y="485"/>
                      <a:pt x="372" y="485"/>
                    </a:cubicBezTo>
                    <a:cubicBezTo>
                      <a:pt x="372" y="485"/>
                      <a:pt x="372" y="485"/>
                      <a:pt x="377" y="489"/>
                    </a:cubicBezTo>
                    <a:cubicBezTo>
                      <a:pt x="377" y="489"/>
                      <a:pt x="377" y="489"/>
                      <a:pt x="381" y="492"/>
                    </a:cubicBezTo>
                    <a:cubicBezTo>
                      <a:pt x="381" y="492"/>
                      <a:pt x="381" y="492"/>
                      <a:pt x="383" y="496"/>
                    </a:cubicBezTo>
                    <a:cubicBezTo>
                      <a:pt x="383" y="496"/>
                      <a:pt x="383" y="496"/>
                      <a:pt x="385" y="499"/>
                    </a:cubicBezTo>
                    <a:cubicBezTo>
                      <a:pt x="385" y="499"/>
                      <a:pt x="385" y="499"/>
                      <a:pt x="390" y="496"/>
                    </a:cubicBezTo>
                    <a:cubicBezTo>
                      <a:pt x="390" y="496"/>
                      <a:pt x="390" y="496"/>
                      <a:pt x="394" y="494"/>
                    </a:cubicBezTo>
                    <a:cubicBezTo>
                      <a:pt x="394" y="494"/>
                      <a:pt x="394" y="494"/>
                      <a:pt x="398" y="496"/>
                    </a:cubicBezTo>
                    <a:cubicBezTo>
                      <a:pt x="398" y="496"/>
                      <a:pt x="398" y="496"/>
                      <a:pt x="399" y="501"/>
                    </a:cubicBezTo>
                    <a:cubicBezTo>
                      <a:pt x="399" y="501"/>
                      <a:pt x="399" y="501"/>
                      <a:pt x="395" y="505"/>
                    </a:cubicBezTo>
                    <a:cubicBezTo>
                      <a:pt x="395" y="505"/>
                      <a:pt x="395" y="505"/>
                      <a:pt x="395" y="509"/>
                    </a:cubicBezTo>
                    <a:cubicBezTo>
                      <a:pt x="395" y="509"/>
                      <a:pt x="395" y="509"/>
                      <a:pt x="392" y="513"/>
                    </a:cubicBezTo>
                    <a:cubicBezTo>
                      <a:pt x="392" y="513"/>
                      <a:pt x="392" y="513"/>
                      <a:pt x="392" y="516"/>
                    </a:cubicBezTo>
                    <a:cubicBezTo>
                      <a:pt x="392" y="516"/>
                      <a:pt x="392" y="516"/>
                      <a:pt x="386" y="519"/>
                    </a:cubicBezTo>
                    <a:cubicBezTo>
                      <a:pt x="386" y="519"/>
                      <a:pt x="386" y="519"/>
                      <a:pt x="384" y="528"/>
                    </a:cubicBezTo>
                    <a:cubicBezTo>
                      <a:pt x="384" y="528"/>
                      <a:pt x="384" y="528"/>
                      <a:pt x="379" y="531"/>
                    </a:cubicBezTo>
                    <a:cubicBezTo>
                      <a:pt x="379" y="531"/>
                      <a:pt x="379" y="531"/>
                      <a:pt x="376" y="535"/>
                    </a:cubicBezTo>
                    <a:cubicBezTo>
                      <a:pt x="376" y="535"/>
                      <a:pt x="376" y="535"/>
                      <a:pt x="376" y="542"/>
                    </a:cubicBezTo>
                    <a:cubicBezTo>
                      <a:pt x="432" y="535"/>
                      <a:pt x="432" y="535"/>
                      <a:pt x="432" y="535"/>
                    </a:cubicBezTo>
                    <a:cubicBezTo>
                      <a:pt x="453" y="535"/>
                      <a:pt x="453" y="535"/>
                      <a:pt x="453" y="535"/>
                    </a:cubicBezTo>
                    <a:cubicBezTo>
                      <a:pt x="453" y="492"/>
                      <a:pt x="453" y="492"/>
                      <a:pt x="453" y="492"/>
                    </a:cubicBezTo>
                    <a:cubicBezTo>
                      <a:pt x="442" y="481"/>
                      <a:pt x="442" y="481"/>
                      <a:pt x="442" y="481"/>
                    </a:cubicBezTo>
                    <a:cubicBezTo>
                      <a:pt x="442" y="470"/>
                      <a:pt x="442" y="470"/>
                      <a:pt x="442" y="470"/>
                    </a:cubicBezTo>
                    <a:cubicBezTo>
                      <a:pt x="486" y="470"/>
                      <a:pt x="486" y="470"/>
                      <a:pt x="486" y="470"/>
                    </a:cubicBezTo>
                    <a:cubicBezTo>
                      <a:pt x="496" y="460"/>
                      <a:pt x="496" y="460"/>
                      <a:pt x="496" y="460"/>
                    </a:cubicBezTo>
                    <a:cubicBezTo>
                      <a:pt x="496" y="417"/>
                      <a:pt x="496" y="417"/>
                      <a:pt x="496" y="417"/>
                    </a:cubicBezTo>
                    <a:lnTo>
                      <a:pt x="486" y="406"/>
                    </a:lnTo>
                    <a:close/>
                  </a:path>
                </a:pathLst>
              </a:custGeom>
              <a:grpFill/>
              <a:ln w="3175">
                <a:solidFill>
                  <a:schemeClr val="bg1"/>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de-DE" sz="1800" b="0" i="0" u="none" strike="noStrike" kern="1200" cap="none" spc="0" normalizeH="0" baseline="0" noProof="0">
                  <a:ln>
                    <a:noFill/>
                  </a:ln>
                  <a:solidFill>
                    <a:srgbClr val="FFC000"/>
                  </a:solidFill>
                  <a:effectLst/>
                  <a:uLnTx/>
                  <a:uFillTx/>
                  <a:latin typeface="Calibri" pitchFamily="34" charset="0"/>
                  <a:ea typeface="+mn-ea"/>
                  <a:cs typeface="+mn-cs"/>
                </a:endParaRPr>
              </a:p>
            </p:txBody>
          </p:sp>
          <p:sp>
            <p:nvSpPr>
              <p:cNvPr id="190" name="Freeform 200" descr="© INSCALE GmbH, 05.05.2010&#10;http://www.presentationload.com/"/>
              <p:cNvSpPr>
                <a:spLocks noEditPoints="1"/>
              </p:cNvSpPr>
              <p:nvPr/>
            </p:nvSpPr>
            <p:spPr bwMode="gray">
              <a:xfrm>
                <a:off x="2268" y="1436"/>
                <a:ext cx="121" cy="122"/>
              </a:xfrm>
              <a:custGeom>
                <a:avLst/>
                <a:gdLst/>
                <a:ahLst/>
                <a:cxnLst>
                  <a:cxn ang="0">
                    <a:pos x="6" y="75"/>
                  </a:cxn>
                  <a:cxn ang="0">
                    <a:pos x="0" y="72"/>
                  </a:cxn>
                  <a:cxn ang="0">
                    <a:pos x="227" y="122"/>
                  </a:cxn>
                  <a:cxn ang="0">
                    <a:pos x="218" y="127"/>
                  </a:cxn>
                  <a:cxn ang="0">
                    <a:pos x="214" y="120"/>
                  </a:cxn>
                  <a:cxn ang="0">
                    <a:pos x="206" y="113"/>
                  </a:cxn>
                  <a:cxn ang="0">
                    <a:pos x="197" y="111"/>
                  </a:cxn>
                  <a:cxn ang="0">
                    <a:pos x="190" y="110"/>
                  </a:cxn>
                  <a:cxn ang="0">
                    <a:pos x="185" y="110"/>
                  </a:cxn>
                  <a:cxn ang="0">
                    <a:pos x="185" y="101"/>
                  </a:cxn>
                  <a:cxn ang="0">
                    <a:pos x="189" y="95"/>
                  </a:cxn>
                  <a:cxn ang="0">
                    <a:pos x="187" y="84"/>
                  </a:cxn>
                  <a:cxn ang="0">
                    <a:pos x="177" y="78"/>
                  </a:cxn>
                  <a:cxn ang="0">
                    <a:pos x="169" y="76"/>
                  </a:cxn>
                  <a:cxn ang="0">
                    <a:pos x="170" y="61"/>
                  </a:cxn>
                  <a:cxn ang="0">
                    <a:pos x="165" y="56"/>
                  </a:cxn>
                  <a:cxn ang="0">
                    <a:pos x="161" y="61"/>
                  </a:cxn>
                  <a:cxn ang="0">
                    <a:pos x="157" y="53"/>
                  </a:cxn>
                  <a:cxn ang="0">
                    <a:pos x="158" y="35"/>
                  </a:cxn>
                  <a:cxn ang="0">
                    <a:pos x="154" y="32"/>
                  </a:cxn>
                  <a:cxn ang="0">
                    <a:pos x="147" y="32"/>
                  </a:cxn>
                  <a:cxn ang="0">
                    <a:pos x="137" y="32"/>
                  </a:cxn>
                  <a:cxn ang="0">
                    <a:pos x="126" y="27"/>
                  </a:cxn>
                  <a:cxn ang="0">
                    <a:pos x="131" y="20"/>
                  </a:cxn>
                  <a:cxn ang="0">
                    <a:pos x="130" y="12"/>
                  </a:cxn>
                  <a:cxn ang="0">
                    <a:pos x="122" y="0"/>
                  </a:cxn>
                  <a:cxn ang="0">
                    <a:pos x="115" y="6"/>
                  </a:cxn>
                  <a:cxn ang="0">
                    <a:pos x="104" y="13"/>
                  </a:cxn>
                  <a:cxn ang="0">
                    <a:pos x="96" y="15"/>
                  </a:cxn>
                  <a:cxn ang="0">
                    <a:pos x="89" y="13"/>
                  </a:cxn>
                  <a:cxn ang="0">
                    <a:pos x="91" y="22"/>
                  </a:cxn>
                  <a:cxn ang="0">
                    <a:pos x="101" y="27"/>
                  </a:cxn>
                  <a:cxn ang="0">
                    <a:pos x="97" y="33"/>
                  </a:cxn>
                  <a:cxn ang="0">
                    <a:pos x="100" y="40"/>
                  </a:cxn>
                  <a:cxn ang="0">
                    <a:pos x="99" y="46"/>
                  </a:cxn>
                  <a:cxn ang="0">
                    <a:pos x="92" y="49"/>
                  </a:cxn>
                  <a:cxn ang="0">
                    <a:pos x="88" y="45"/>
                  </a:cxn>
                  <a:cxn ang="0">
                    <a:pos x="70" y="59"/>
                  </a:cxn>
                  <a:cxn ang="0">
                    <a:pos x="73" y="71"/>
                  </a:cxn>
                  <a:cxn ang="0">
                    <a:pos x="45" y="74"/>
                  </a:cxn>
                  <a:cxn ang="0">
                    <a:pos x="14" y="72"/>
                  </a:cxn>
                  <a:cxn ang="0">
                    <a:pos x="6" y="75"/>
                  </a:cxn>
                  <a:cxn ang="0">
                    <a:pos x="6" y="141"/>
                  </a:cxn>
                  <a:cxn ang="0">
                    <a:pos x="14" y="155"/>
                  </a:cxn>
                  <a:cxn ang="0">
                    <a:pos x="27" y="173"/>
                  </a:cxn>
                  <a:cxn ang="0">
                    <a:pos x="50" y="175"/>
                  </a:cxn>
                  <a:cxn ang="0">
                    <a:pos x="60" y="211"/>
                  </a:cxn>
                  <a:cxn ang="0">
                    <a:pos x="60" y="237"/>
                  </a:cxn>
                  <a:cxn ang="0">
                    <a:pos x="92" y="226"/>
                  </a:cxn>
                  <a:cxn ang="0">
                    <a:pos x="138" y="205"/>
                  </a:cxn>
                  <a:cxn ang="0">
                    <a:pos x="146" y="184"/>
                  </a:cxn>
                  <a:cxn ang="0">
                    <a:pos x="189" y="173"/>
                  </a:cxn>
                  <a:cxn ang="0">
                    <a:pos x="209" y="163"/>
                  </a:cxn>
                  <a:cxn ang="0">
                    <a:pos x="217" y="156"/>
                  </a:cxn>
                  <a:cxn ang="0">
                    <a:pos x="225" y="144"/>
                  </a:cxn>
                  <a:cxn ang="0">
                    <a:pos x="228" y="137"/>
                  </a:cxn>
                  <a:cxn ang="0">
                    <a:pos x="232" y="129"/>
                  </a:cxn>
                </a:cxnLst>
                <a:rect l="0" t="0" r="r" b="b"/>
                <a:pathLst>
                  <a:path w="232" h="237">
                    <a:moveTo>
                      <a:pt x="0" y="72"/>
                    </a:moveTo>
                    <a:cubicBezTo>
                      <a:pt x="1" y="72"/>
                      <a:pt x="2" y="73"/>
                      <a:pt x="6" y="75"/>
                    </a:cubicBezTo>
                    <a:cubicBezTo>
                      <a:pt x="6" y="66"/>
                      <a:pt x="6" y="66"/>
                      <a:pt x="6" y="66"/>
                    </a:cubicBezTo>
                    <a:lnTo>
                      <a:pt x="0" y="72"/>
                    </a:lnTo>
                    <a:close/>
                    <a:moveTo>
                      <a:pt x="231" y="124"/>
                    </a:moveTo>
                    <a:cubicBezTo>
                      <a:pt x="227" y="122"/>
                      <a:pt x="227" y="122"/>
                      <a:pt x="227" y="122"/>
                    </a:cubicBezTo>
                    <a:cubicBezTo>
                      <a:pt x="223" y="124"/>
                      <a:pt x="223" y="124"/>
                      <a:pt x="223" y="124"/>
                    </a:cubicBezTo>
                    <a:cubicBezTo>
                      <a:pt x="218" y="127"/>
                      <a:pt x="218" y="127"/>
                      <a:pt x="218" y="127"/>
                    </a:cubicBezTo>
                    <a:cubicBezTo>
                      <a:pt x="216" y="124"/>
                      <a:pt x="216" y="124"/>
                      <a:pt x="216" y="124"/>
                    </a:cubicBezTo>
                    <a:cubicBezTo>
                      <a:pt x="214" y="120"/>
                      <a:pt x="214" y="120"/>
                      <a:pt x="214" y="120"/>
                    </a:cubicBezTo>
                    <a:cubicBezTo>
                      <a:pt x="210" y="117"/>
                      <a:pt x="210" y="117"/>
                      <a:pt x="210" y="117"/>
                    </a:cubicBezTo>
                    <a:cubicBezTo>
                      <a:pt x="206" y="113"/>
                      <a:pt x="206" y="113"/>
                      <a:pt x="206" y="113"/>
                    </a:cubicBezTo>
                    <a:cubicBezTo>
                      <a:pt x="202" y="113"/>
                      <a:pt x="202" y="113"/>
                      <a:pt x="202" y="113"/>
                    </a:cubicBezTo>
                    <a:cubicBezTo>
                      <a:pt x="197" y="111"/>
                      <a:pt x="197" y="111"/>
                      <a:pt x="197" y="111"/>
                    </a:cubicBezTo>
                    <a:cubicBezTo>
                      <a:pt x="195" y="113"/>
                      <a:pt x="195" y="113"/>
                      <a:pt x="195" y="113"/>
                    </a:cubicBezTo>
                    <a:cubicBezTo>
                      <a:pt x="190" y="110"/>
                      <a:pt x="190" y="110"/>
                      <a:pt x="190" y="110"/>
                    </a:cubicBezTo>
                    <a:cubicBezTo>
                      <a:pt x="186" y="111"/>
                      <a:pt x="186" y="111"/>
                      <a:pt x="186" y="111"/>
                    </a:cubicBezTo>
                    <a:cubicBezTo>
                      <a:pt x="185" y="110"/>
                      <a:pt x="185" y="110"/>
                      <a:pt x="185" y="110"/>
                    </a:cubicBezTo>
                    <a:cubicBezTo>
                      <a:pt x="187" y="106"/>
                      <a:pt x="187" y="106"/>
                      <a:pt x="187" y="106"/>
                    </a:cubicBezTo>
                    <a:cubicBezTo>
                      <a:pt x="185" y="101"/>
                      <a:pt x="185" y="101"/>
                      <a:pt x="185" y="101"/>
                    </a:cubicBezTo>
                    <a:cubicBezTo>
                      <a:pt x="189" y="100"/>
                      <a:pt x="189" y="100"/>
                      <a:pt x="189" y="100"/>
                    </a:cubicBezTo>
                    <a:cubicBezTo>
                      <a:pt x="189" y="95"/>
                      <a:pt x="189" y="95"/>
                      <a:pt x="189" y="95"/>
                    </a:cubicBezTo>
                    <a:cubicBezTo>
                      <a:pt x="191" y="85"/>
                      <a:pt x="191" y="85"/>
                      <a:pt x="191" y="85"/>
                    </a:cubicBezTo>
                    <a:cubicBezTo>
                      <a:pt x="187" y="84"/>
                      <a:pt x="187" y="84"/>
                      <a:pt x="187" y="84"/>
                    </a:cubicBezTo>
                    <a:cubicBezTo>
                      <a:pt x="182" y="80"/>
                      <a:pt x="182" y="80"/>
                      <a:pt x="182" y="80"/>
                    </a:cubicBezTo>
                    <a:cubicBezTo>
                      <a:pt x="177" y="78"/>
                      <a:pt x="177" y="78"/>
                      <a:pt x="177" y="78"/>
                    </a:cubicBezTo>
                    <a:cubicBezTo>
                      <a:pt x="172" y="78"/>
                      <a:pt x="172" y="78"/>
                      <a:pt x="172" y="78"/>
                    </a:cubicBezTo>
                    <a:cubicBezTo>
                      <a:pt x="169" y="76"/>
                      <a:pt x="169" y="76"/>
                      <a:pt x="169" y="76"/>
                    </a:cubicBezTo>
                    <a:cubicBezTo>
                      <a:pt x="169" y="71"/>
                      <a:pt x="169" y="71"/>
                      <a:pt x="169" y="71"/>
                    </a:cubicBezTo>
                    <a:cubicBezTo>
                      <a:pt x="170" y="61"/>
                      <a:pt x="170" y="61"/>
                      <a:pt x="170" y="61"/>
                    </a:cubicBezTo>
                    <a:cubicBezTo>
                      <a:pt x="167" y="57"/>
                      <a:pt x="167" y="57"/>
                      <a:pt x="167" y="57"/>
                    </a:cubicBezTo>
                    <a:cubicBezTo>
                      <a:pt x="165" y="56"/>
                      <a:pt x="165" y="56"/>
                      <a:pt x="165" y="56"/>
                    </a:cubicBezTo>
                    <a:cubicBezTo>
                      <a:pt x="163" y="59"/>
                      <a:pt x="163" y="59"/>
                      <a:pt x="163" y="59"/>
                    </a:cubicBezTo>
                    <a:cubicBezTo>
                      <a:pt x="161" y="61"/>
                      <a:pt x="161" y="61"/>
                      <a:pt x="161" y="61"/>
                    </a:cubicBezTo>
                    <a:cubicBezTo>
                      <a:pt x="158" y="60"/>
                      <a:pt x="158" y="60"/>
                      <a:pt x="158" y="60"/>
                    </a:cubicBezTo>
                    <a:cubicBezTo>
                      <a:pt x="157" y="53"/>
                      <a:pt x="157" y="53"/>
                      <a:pt x="157" y="53"/>
                    </a:cubicBezTo>
                    <a:cubicBezTo>
                      <a:pt x="159" y="36"/>
                      <a:pt x="159" y="36"/>
                      <a:pt x="159" y="36"/>
                    </a:cubicBezTo>
                    <a:cubicBezTo>
                      <a:pt x="158" y="35"/>
                      <a:pt x="158" y="35"/>
                      <a:pt x="158" y="35"/>
                    </a:cubicBezTo>
                    <a:cubicBezTo>
                      <a:pt x="151" y="36"/>
                      <a:pt x="151" y="36"/>
                      <a:pt x="151" y="36"/>
                    </a:cubicBezTo>
                    <a:cubicBezTo>
                      <a:pt x="154" y="32"/>
                      <a:pt x="154" y="32"/>
                      <a:pt x="154" y="32"/>
                    </a:cubicBezTo>
                    <a:cubicBezTo>
                      <a:pt x="152" y="29"/>
                      <a:pt x="152" y="29"/>
                      <a:pt x="152" y="29"/>
                    </a:cubicBezTo>
                    <a:cubicBezTo>
                      <a:pt x="147" y="32"/>
                      <a:pt x="147" y="32"/>
                      <a:pt x="147" y="32"/>
                    </a:cubicBezTo>
                    <a:cubicBezTo>
                      <a:pt x="142" y="30"/>
                      <a:pt x="142" y="30"/>
                      <a:pt x="142" y="30"/>
                    </a:cubicBezTo>
                    <a:cubicBezTo>
                      <a:pt x="137" y="32"/>
                      <a:pt x="137" y="32"/>
                      <a:pt x="137" y="32"/>
                    </a:cubicBezTo>
                    <a:cubicBezTo>
                      <a:pt x="132" y="28"/>
                      <a:pt x="132" y="28"/>
                      <a:pt x="132" y="28"/>
                    </a:cubicBezTo>
                    <a:cubicBezTo>
                      <a:pt x="126" y="27"/>
                      <a:pt x="126" y="27"/>
                      <a:pt x="126" y="27"/>
                    </a:cubicBezTo>
                    <a:cubicBezTo>
                      <a:pt x="125" y="24"/>
                      <a:pt x="125" y="24"/>
                      <a:pt x="125" y="24"/>
                    </a:cubicBezTo>
                    <a:cubicBezTo>
                      <a:pt x="131" y="20"/>
                      <a:pt x="131" y="20"/>
                      <a:pt x="131" y="20"/>
                    </a:cubicBezTo>
                    <a:cubicBezTo>
                      <a:pt x="131" y="17"/>
                      <a:pt x="131" y="17"/>
                      <a:pt x="131" y="17"/>
                    </a:cubicBezTo>
                    <a:cubicBezTo>
                      <a:pt x="130" y="12"/>
                      <a:pt x="130" y="12"/>
                      <a:pt x="130" y="12"/>
                    </a:cubicBezTo>
                    <a:cubicBezTo>
                      <a:pt x="126" y="5"/>
                      <a:pt x="126" y="5"/>
                      <a:pt x="126" y="5"/>
                    </a:cubicBezTo>
                    <a:cubicBezTo>
                      <a:pt x="122" y="0"/>
                      <a:pt x="122" y="0"/>
                      <a:pt x="122" y="0"/>
                    </a:cubicBezTo>
                    <a:cubicBezTo>
                      <a:pt x="116" y="2"/>
                      <a:pt x="116" y="2"/>
                      <a:pt x="116" y="2"/>
                    </a:cubicBezTo>
                    <a:cubicBezTo>
                      <a:pt x="115" y="6"/>
                      <a:pt x="115" y="6"/>
                      <a:pt x="115" y="6"/>
                    </a:cubicBezTo>
                    <a:cubicBezTo>
                      <a:pt x="112" y="8"/>
                      <a:pt x="112" y="8"/>
                      <a:pt x="112" y="8"/>
                    </a:cubicBezTo>
                    <a:cubicBezTo>
                      <a:pt x="104" y="13"/>
                      <a:pt x="104" y="13"/>
                      <a:pt x="104" y="13"/>
                    </a:cubicBezTo>
                    <a:cubicBezTo>
                      <a:pt x="100" y="16"/>
                      <a:pt x="100" y="16"/>
                      <a:pt x="100" y="16"/>
                    </a:cubicBezTo>
                    <a:cubicBezTo>
                      <a:pt x="96" y="15"/>
                      <a:pt x="96" y="15"/>
                      <a:pt x="96" y="15"/>
                    </a:cubicBezTo>
                    <a:cubicBezTo>
                      <a:pt x="92" y="17"/>
                      <a:pt x="92" y="17"/>
                      <a:pt x="92" y="17"/>
                    </a:cubicBezTo>
                    <a:cubicBezTo>
                      <a:pt x="89" y="13"/>
                      <a:pt x="89" y="13"/>
                      <a:pt x="89" y="13"/>
                    </a:cubicBezTo>
                    <a:cubicBezTo>
                      <a:pt x="88" y="16"/>
                      <a:pt x="88" y="16"/>
                      <a:pt x="88" y="16"/>
                    </a:cubicBezTo>
                    <a:cubicBezTo>
                      <a:pt x="91" y="22"/>
                      <a:pt x="91" y="22"/>
                      <a:pt x="91" y="22"/>
                    </a:cubicBezTo>
                    <a:cubicBezTo>
                      <a:pt x="99" y="24"/>
                      <a:pt x="99" y="24"/>
                      <a:pt x="99" y="24"/>
                    </a:cubicBezTo>
                    <a:cubicBezTo>
                      <a:pt x="101" y="27"/>
                      <a:pt x="101" y="27"/>
                      <a:pt x="101" y="27"/>
                    </a:cubicBezTo>
                    <a:cubicBezTo>
                      <a:pt x="97" y="30"/>
                      <a:pt x="97" y="30"/>
                      <a:pt x="97" y="30"/>
                    </a:cubicBezTo>
                    <a:cubicBezTo>
                      <a:pt x="97" y="33"/>
                      <a:pt x="97" y="33"/>
                      <a:pt x="97" y="33"/>
                    </a:cubicBezTo>
                    <a:cubicBezTo>
                      <a:pt x="101" y="35"/>
                      <a:pt x="101" y="35"/>
                      <a:pt x="101" y="35"/>
                    </a:cubicBezTo>
                    <a:cubicBezTo>
                      <a:pt x="100" y="40"/>
                      <a:pt x="100" y="40"/>
                      <a:pt x="100" y="40"/>
                    </a:cubicBezTo>
                    <a:cubicBezTo>
                      <a:pt x="97" y="42"/>
                      <a:pt x="97" y="42"/>
                      <a:pt x="97" y="42"/>
                    </a:cubicBezTo>
                    <a:cubicBezTo>
                      <a:pt x="99" y="46"/>
                      <a:pt x="99" y="46"/>
                      <a:pt x="99" y="46"/>
                    </a:cubicBezTo>
                    <a:cubicBezTo>
                      <a:pt x="96" y="47"/>
                      <a:pt x="96" y="47"/>
                      <a:pt x="96" y="47"/>
                    </a:cubicBezTo>
                    <a:cubicBezTo>
                      <a:pt x="92" y="49"/>
                      <a:pt x="92" y="49"/>
                      <a:pt x="92" y="49"/>
                    </a:cubicBezTo>
                    <a:cubicBezTo>
                      <a:pt x="91" y="44"/>
                      <a:pt x="91" y="44"/>
                      <a:pt x="91" y="44"/>
                    </a:cubicBezTo>
                    <a:cubicBezTo>
                      <a:pt x="88" y="45"/>
                      <a:pt x="88" y="45"/>
                      <a:pt x="88" y="45"/>
                    </a:cubicBezTo>
                    <a:cubicBezTo>
                      <a:pt x="78" y="53"/>
                      <a:pt x="78" y="53"/>
                      <a:pt x="78" y="53"/>
                    </a:cubicBezTo>
                    <a:cubicBezTo>
                      <a:pt x="70" y="59"/>
                      <a:pt x="70" y="59"/>
                      <a:pt x="70" y="59"/>
                    </a:cubicBezTo>
                    <a:cubicBezTo>
                      <a:pt x="72" y="65"/>
                      <a:pt x="72" y="65"/>
                      <a:pt x="72" y="65"/>
                    </a:cubicBezTo>
                    <a:cubicBezTo>
                      <a:pt x="73" y="71"/>
                      <a:pt x="73" y="71"/>
                      <a:pt x="73" y="71"/>
                    </a:cubicBezTo>
                    <a:cubicBezTo>
                      <a:pt x="63" y="74"/>
                      <a:pt x="63" y="74"/>
                      <a:pt x="63" y="74"/>
                    </a:cubicBezTo>
                    <a:cubicBezTo>
                      <a:pt x="45" y="74"/>
                      <a:pt x="45" y="74"/>
                      <a:pt x="45" y="74"/>
                    </a:cubicBezTo>
                    <a:cubicBezTo>
                      <a:pt x="32" y="75"/>
                      <a:pt x="32" y="75"/>
                      <a:pt x="32" y="75"/>
                    </a:cubicBezTo>
                    <a:cubicBezTo>
                      <a:pt x="14" y="72"/>
                      <a:pt x="14" y="72"/>
                      <a:pt x="14" y="72"/>
                    </a:cubicBezTo>
                    <a:cubicBezTo>
                      <a:pt x="9" y="77"/>
                      <a:pt x="9" y="77"/>
                      <a:pt x="9" y="77"/>
                    </a:cubicBezTo>
                    <a:cubicBezTo>
                      <a:pt x="8" y="76"/>
                      <a:pt x="7" y="76"/>
                      <a:pt x="6" y="75"/>
                    </a:cubicBezTo>
                    <a:cubicBezTo>
                      <a:pt x="6" y="116"/>
                      <a:pt x="6" y="116"/>
                      <a:pt x="6" y="116"/>
                    </a:cubicBezTo>
                    <a:cubicBezTo>
                      <a:pt x="6" y="141"/>
                      <a:pt x="6" y="141"/>
                      <a:pt x="6" y="141"/>
                    </a:cubicBezTo>
                    <a:cubicBezTo>
                      <a:pt x="14" y="153"/>
                      <a:pt x="14" y="153"/>
                      <a:pt x="14" y="153"/>
                    </a:cubicBezTo>
                    <a:cubicBezTo>
                      <a:pt x="14" y="154"/>
                      <a:pt x="14" y="155"/>
                      <a:pt x="14" y="155"/>
                    </a:cubicBezTo>
                    <a:cubicBezTo>
                      <a:pt x="14" y="155"/>
                      <a:pt x="15" y="155"/>
                      <a:pt x="16" y="156"/>
                    </a:cubicBezTo>
                    <a:cubicBezTo>
                      <a:pt x="27" y="173"/>
                      <a:pt x="27" y="173"/>
                      <a:pt x="27" y="173"/>
                    </a:cubicBezTo>
                    <a:cubicBezTo>
                      <a:pt x="48" y="173"/>
                      <a:pt x="48" y="173"/>
                      <a:pt x="48" y="173"/>
                    </a:cubicBezTo>
                    <a:cubicBezTo>
                      <a:pt x="48" y="173"/>
                      <a:pt x="49" y="174"/>
                      <a:pt x="50" y="175"/>
                    </a:cubicBezTo>
                    <a:cubicBezTo>
                      <a:pt x="59" y="201"/>
                      <a:pt x="59" y="201"/>
                      <a:pt x="59" y="201"/>
                    </a:cubicBezTo>
                    <a:cubicBezTo>
                      <a:pt x="59" y="205"/>
                      <a:pt x="60" y="208"/>
                      <a:pt x="60" y="211"/>
                    </a:cubicBezTo>
                    <a:cubicBezTo>
                      <a:pt x="60" y="229"/>
                      <a:pt x="60" y="229"/>
                      <a:pt x="60" y="229"/>
                    </a:cubicBezTo>
                    <a:cubicBezTo>
                      <a:pt x="60" y="237"/>
                      <a:pt x="60" y="237"/>
                      <a:pt x="60" y="237"/>
                    </a:cubicBezTo>
                    <a:cubicBezTo>
                      <a:pt x="76" y="232"/>
                      <a:pt x="76" y="232"/>
                      <a:pt x="76" y="232"/>
                    </a:cubicBezTo>
                    <a:cubicBezTo>
                      <a:pt x="92" y="226"/>
                      <a:pt x="92" y="226"/>
                      <a:pt x="92" y="226"/>
                    </a:cubicBezTo>
                    <a:cubicBezTo>
                      <a:pt x="103" y="205"/>
                      <a:pt x="103" y="205"/>
                      <a:pt x="103" y="205"/>
                    </a:cubicBezTo>
                    <a:cubicBezTo>
                      <a:pt x="138" y="205"/>
                      <a:pt x="138" y="205"/>
                      <a:pt x="138" y="205"/>
                    </a:cubicBezTo>
                    <a:cubicBezTo>
                      <a:pt x="146" y="205"/>
                      <a:pt x="146" y="205"/>
                      <a:pt x="146" y="205"/>
                    </a:cubicBezTo>
                    <a:cubicBezTo>
                      <a:pt x="146" y="184"/>
                      <a:pt x="146" y="184"/>
                      <a:pt x="146" y="184"/>
                    </a:cubicBezTo>
                    <a:cubicBezTo>
                      <a:pt x="178" y="184"/>
                      <a:pt x="178" y="184"/>
                      <a:pt x="178" y="184"/>
                    </a:cubicBezTo>
                    <a:cubicBezTo>
                      <a:pt x="189" y="173"/>
                      <a:pt x="189" y="173"/>
                      <a:pt x="189" y="173"/>
                    </a:cubicBezTo>
                    <a:cubicBezTo>
                      <a:pt x="210" y="170"/>
                      <a:pt x="210" y="170"/>
                      <a:pt x="210" y="170"/>
                    </a:cubicBezTo>
                    <a:cubicBezTo>
                      <a:pt x="209" y="163"/>
                      <a:pt x="209" y="163"/>
                      <a:pt x="209" y="163"/>
                    </a:cubicBezTo>
                    <a:cubicBezTo>
                      <a:pt x="213" y="159"/>
                      <a:pt x="213" y="159"/>
                      <a:pt x="213" y="159"/>
                    </a:cubicBezTo>
                    <a:cubicBezTo>
                      <a:pt x="217" y="156"/>
                      <a:pt x="217" y="156"/>
                      <a:pt x="217" y="156"/>
                    </a:cubicBezTo>
                    <a:cubicBezTo>
                      <a:pt x="219" y="147"/>
                      <a:pt x="219" y="147"/>
                      <a:pt x="219" y="147"/>
                    </a:cubicBezTo>
                    <a:cubicBezTo>
                      <a:pt x="225" y="144"/>
                      <a:pt x="225" y="144"/>
                      <a:pt x="225" y="144"/>
                    </a:cubicBezTo>
                    <a:cubicBezTo>
                      <a:pt x="225" y="141"/>
                      <a:pt x="225" y="141"/>
                      <a:pt x="225" y="141"/>
                    </a:cubicBezTo>
                    <a:cubicBezTo>
                      <a:pt x="228" y="137"/>
                      <a:pt x="228" y="137"/>
                      <a:pt x="228" y="137"/>
                    </a:cubicBezTo>
                    <a:cubicBezTo>
                      <a:pt x="229" y="133"/>
                      <a:pt x="229" y="133"/>
                      <a:pt x="229" y="133"/>
                    </a:cubicBezTo>
                    <a:cubicBezTo>
                      <a:pt x="232" y="129"/>
                      <a:pt x="232" y="129"/>
                      <a:pt x="232" y="129"/>
                    </a:cubicBezTo>
                    <a:cubicBezTo>
                      <a:pt x="231" y="124"/>
                      <a:pt x="231" y="124"/>
                      <a:pt x="231" y="124"/>
                    </a:cubicBezTo>
                    <a:close/>
                  </a:path>
                </a:pathLst>
              </a:custGeom>
              <a:grpFill/>
              <a:ln w="3175">
                <a:solidFill>
                  <a:schemeClr val="bg1"/>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de-DE" sz="1800" b="0" i="0" u="none" strike="noStrike" kern="1200" cap="none" spc="0" normalizeH="0" baseline="0" noProof="0">
                  <a:ln>
                    <a:noFill/>
                  </a:ln>
                  <a:solidFill>
                    <a:srgbClr val="FFC000"/>
                  </a:solidFill>
                  <a:effectLst/>
                  <a:uLnTx/>
                  <a:uFillTx/>
                  <a:latin typeface="Calibri" pitchFamily="34" charset="0"/>
                  <a:ea typeface="+mn-ea"/>
                  <a:cs typeface="+mn-cs"/>
                </a:endParaRPr>
              </a:p>
            </p:txBody>
          </p:sp>
        </p:grpSp>
      </p:grpSp>
      <p:grpSp>
        <p:nvGrpSpPr>
          <p:cNvPr id="7" name="Group 6"/>
          <p:cNvGrpSpPr/>
          <p:nvPr/>
        </p:nvGrpSpPr>
        <p:grpSpPr>
          <a:xfrm>
            <a:off x="2303427" y="3740816"/>
            <a:ext cx="4190090" cy="2206895"/>
            <a:chOff x="4476319" y="1314512"/>
            <a:chExt cx="4190090" cy="2206895"/>
          </a:xfrm>
        </p:grpSpPr>
        <p:grpSp>
          <p:nvGrpSpPr>
            <p:cNvPr id="8" name="Group 7"/>
            <p:cNvGrpSpPr/>
            <p:nvPr/>
          </p:nvGrpSpPr>
          <p:grpSpPr>
            <a:xfrm>
              <a:off x="4476319" y="1314512"/>
              <a:ext cx="4190090" cy="615553"/>
              <a:chOff x="4476319" y="1314512"/>
              <a:chExt cx="4190090" cy="615553"/>
            </a:xfrm>
          </p:grpSpPr>
          <p:sp>
            <p:nvSpPr>
              <p:cNvPr id="21" name="TextBox 20"/>
              <p:cNvSpPr txBox="1"/>
              <p:nvPr/>
            </p:nvSpPr>
            <p:spPr>
              <a:xfrm>
                <a:off x="5540776" y="1391456"/>
                <a:ext cx="3125633" cy="461665"/>
              </a:xfrm>
              <a:prstGeom prst="rect">
                <a:avLst/>
              </a:prstGeom>
              <a:noFill/>
              <a:ln w="6350">
                <a:noFill/>
                <a:prstDash val="dash"/>
              </a:ln>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effectLst/>
                    <a:uLnTx/>
                    <a:uFillTx/>
                    <a:ea typeface="+mn-ea"/>
                    <a:cs typeface="+mn-cs"/>
                  </a:rPr>
                  <a:t>LOREM IPSUM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err="1">
                    <a:ln>
                      <a:noFill/>
                    </a:ln>
                    <a:effectLst/>
                    <a:uLnTx/>
                    <a:uFillTx/>
                    <a:ea typeface="+mn-ea"/>
                    <a:cs typeface="+mn-cs"/>
                  </a:rPr>
                  <a:t>Lorem</a:t>
                </a:r>
                <a:r>
                  <a:rPr kumimoji="0" lang="en-US" sz="1000" b="0" i="0" u="none" strike="noStrike" kern="1200" cap="none" spc="0" normalizeH="0" baseline="0" noProof="0" dirty="0">
                    <a:ln>
                      <a:noFill/>
                    </a:ln>
                    <a:effectLst/>
                    <a:uLnTx/>
                    <a:uFillTx/>
                    <a:ea typeface="+mn-ea"/>
                    <a:cs typeface="+mn-cs"/>
                  </a:rPr>
                  <a:t> </a:t>
                </a:r>
                <a:r>
                  <a:rPr kumimoji="0" lang="en-US" sz="1000" b="0" i="0" u="none" strike="noStrike" kern="1200" cap="none" spc="0" normalizeH="0" baseline="0" noProof="0" dirty="0" err="1">
                    <a:ln>
                      <a:noFill/>
                    </a:ln>
                    <a:effectLst/>
                    <a:uLnTx/>
                    <a:uFillTx/>
                    <a:ea typeface="+mn-ea"/>
                    <a:cs typeface="+mn-cs"/>
                  </a:rPr>
                  <a:t>Ipsum</a:t>
                </a:r>
                <a:r>
                  <a:rPr kumimoji="0" lang="en-US" sz="1000" b="0" i="0" u="none" strike="noStrike" kern="1200" cap="none" spc="0" normalizeH="0" baseline="0" noProof="0" dirty="0">
                    <a:ln>
                      <a:noFill/>
                    </a:ln>
                    <a:effectLst/>
                    <a:uLnTx/>
                    <a:uFillTx/>
                    <a:ea typeface="+mn-ea"/>
                    <a:cs typeface="+mn-cs"/>
                  </a:rPr>
                  <a:t> is simply dummy text of the printing and typesetting industry. </a:t>
                </a:r>
                <a:r>
                  <a:rPr kumimoji="0" lang="en-US" sz="1000" b="0" i="0" u="none" strike="noStrike" kern="1200" cap="none" spc="0" normalizeH="0" baseline="0" noProof="0" dirty="0" err="1">
                    <a:ln>
                      <a:noFill/>
                    </a:ln>
                    <a:effectLst/>
                    <a:uLnTx/>
                    <a:uFillTx/>
                    <a:ea typeface="+mn-ea"/>
                    <a:cs typeface="+mn-cs"/>
                  </a:rPr>
                  <a:t>Lorem</a:t>
                </a:r>
                <a:r>
                  <a:rPr kumimoji="0" lang="en-US" sz="1000" b="0" i="0" u="none" strike="noStrike" kern="1200" cap="none" spc="0" normalizeH="0" baseline="0" noProof="0" dirty="0">
                    <a:ln>
                      <a:noFill/>
                    </a:ln>
                    <a:effectLst/>
                    <a:uLnTx/>
                    <a:uFillTx/>
                    <a:ea typeface="+mn-ea"/>
                    <a:cs typeface="+mn-cs"/>
                  </a:rPr>
                  <a:t> </a:t>
                </a:r>
                <a:r>
                  <a:rPr kumimoji="0" lang="en-US" sz="1000" b="0" i="0" u="none" strike="noStrike" kern="1200" cap="none" spc="0" normalizeH="0" baseline="0" noProof="0" dirty="0" err="1">
                    <a:ln>
                      <a:noFill/>
                    </a:ln>
                    <a:effectLst/>
                    <a:uLnTx/>
                    <a:uFillTx/>
                    <a:ea typeface="+mn-ea"/>
                    <a:cs typeface="+mn-cs"/>
                  </a:rPr>
                  <a:t>Ipsum</a:t>
                </a:r>
                <a:r>
                  <a:rPr kumimoji="0" lang="en-US" sz="1000" b="0" i="0" u="none" strike="noStrike" kern="1200" cap="none" spc="0" normalizeH="0" baseline="0" noProof="0" dirty="0">
                    <a:ln>
                      <a:noFill/>
                    </a:ln>
                    <a:effectLst/>
                    <a:uLnTx/>
                    <a:uFillTx/>
                    <a:ea typeface="+mn-ea"/>
                    <a:cs typeface="+mn-cs"/>
                  </a:rPr>
                  <a:t> has been the industry's.</a:t>
                </a:r>
              </a:p>
            </p:txBody>
          </p:sp>
          <p:sp>
            <p:nvSpPr>
              <p:cNvPr id="22" name="TextBox 21"/>
              <p:cNvSpPr txBox="1"/>
              <p:nvPr/>
            </p:nvSpPr>
            <p:spPr>
              <a:xfrm>
                <a:off x="4476319" y="1314512"/>
                <a:ext cx="925545" cy="615553"/>
              </a:xfrm>
              <a:prstGeom prst="rect">
                <a:avLst/>
              </a:prstGeom>
              <a:noFill/>
              <a:ln w="6350">
                <a:noFill/>
                <a:prstDash val="dash"/>
              </a:ln>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0" b="1" i="0" u="none" strike="noStrike" kern="1200" cap="none" spc="0" normalizeH="0" baseline="0" noProof="0" dirty="0">
                    <a:ln>
                      <a:noFill/>
                    </a:ln>
                    <a:solidFill>
                      <a:srgbClr val="E2583D"/>
                    </a:solidFill>
                    <a:effectLst/>
                    <a:uLnTx/>
                    <a:uFillTx/>
                    <a:ea typeface="+mn-ea"/>
                    <a:cs typeface="+mn-cs"/>
                  </a:rPr>
                  <a:t>97%</a:t>
                </a:r>
              </a:p>
            </p:txBody>
          </p:sp>
        </p:grpSp>
        <p:cxnSp>
          <p:nvCxnSpPr>
            <p:cNvPr id="9" name="Straight Connector 8"/>
            <p:cNvCxnSpPr/>
            <p:nvPr/>
          </p:nvCxnSpPr>
          <p:spPr>
            <a:xfrm>
              <a:off x="4476319" y="1997646"/>
              <a:ext cx="4124654" cy="0"/>
            </a:xfrm>
            <a:prstGeom prst="line">
              <a:avLst/>
            </a:prstGeom>
            <a:ln>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grpSp>
          <p:nvGrpSpPr>
            <p:cNvPr id="10" name="Group 9"/>
            <p:cNvGrpSpPr/>
            <p:nvPr/>
          </p:nvGrpSpPr>
          <p:grpSpPr>
            <a:xfrm>
              <a:off x="4476319" y="2065228"/>
              <a:ext cx="4170205" cy="660508"/>
              <a:chOff x="4496204" y="2062321"/>
              <a:chExt cx="4170205" cy="660508"/>
            </a:xfrm>
          </p:grpSpPr>
          <p:sp>
            <p:nvSpPr>
              <p:cNvPr id="17" name="TextBox 16"/>
              <p:cNvSpPr txBox="1"/>
              <p:nvPr/>
            </p:nvSpPr>
            <p:spPr>
              <a:xfrm>
                <a:off x="5540776" y="2161743"/>
                <a:ext cx="3125633" cy="461665"/>
              </a:xfrm>
              <a:prstGeom prst="rect">
                <a:avLst/>
              </a:prstGeom>
              <a:noFill/>
              <a:ln w="6350">
                <a:noFill/>
                <a:prstDash val="dash"/>
              </a:ln>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effectLst/>
                    <a:uLnTx/>
                    <a:uFillTx/>
                    <a:ea typeface="+mn-ea"/>
                    <a:cs typeface="+mn-cs"/>
                  </a:rPr>
                  <a:t>LOREM IPSUM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err="1">
                    <a:ln>
                      <a:noFill/>
                    </a:ln>
                    <a:effectLst/>
                    <a:uLnTx/>
                    <a:uFillTx/>
                    <a:ea typeface="+mn-ea"/>
                    <a:cs typeface="+mn-cs"/>
                  </a:rPr>
                  <a:t>Lorem</a:t>
                </a:r>
                <a:r>
                  <a:rPr kumimoji="0" lang="en-US" sz="1000" b="0" i="0" u="none" strike="noStrike" kern="1200" cap="none" spc="0" normalizeH="0" baseline="0" noProof="0" dirty="0">
                    <a:ln>
                      <a:noFill/>
                    </a:ln>
                    <a:effectLst/>
                    <a:uLnTx/>
                    <a:uFillTx/>
                    <a:ea typeface="+mn-ea"/>
                    <a:cs typeface="+mn-cs"/>
                  </a:rPr>
                  <a:t> </a:t>
                </a:r>
                <a:r>
                  <a:rPr kumimoji="0" lang="en-US" sz="1000" b="0" i="0" u="none" strike="noStrike" kern="1200" cap="none" spc="0" normalizeH="0" baseline="0" noProof="0" dirty="0" err="1">
                    <a:ln>
                      <a:noFill/>
                    </a:ln>
                    <a:effectLst/>
                    <a:uLnTx/>
                    <a:uFillTx/>
                    <a:ea typeface="+mn-ea"/>
                    <a:cs typeface="+mn-cs"/>
                  </a:rPr>
                  <a:t>Ipsum</a:t>
                </a:r>
                <a:r>
                  <a:rPr kumimoji="0" lang="en-US" sz="1000" b="0" i="0" u="none" strike="noStrike" kern="1200" cap="none" spc="0" normalizeH="0" baseline="0" noProof="0" dirty="0">
                    <a:ln>
                      <a:noFill/>
                    </a:ln>
                    <a:effectLst/>
                    <a:uLnTx/>
                    <a:uFillTx/>
                    <a:ea typeface="+mn-ea"/>
                    <a:cs typeface="+mn-cs"/>
                  </a:rPr>
                  <a:t> is simply dummy text of the printing and typesetting industry. </a:t>
                </a:r>
                <a:r>
                  <a:rPr kumimoji="0" lang="en-US" sz="1000" b="0" i="0" u="none" strike="noStrike" kern="1200" cap="none" spc="0" normalizeH="0" baseline="0" noProof="0" dirty="0" err="1">
                    <a:ln>
                      <a:noFill/>
                    </a:ln>
                    <a:effectLst/>
                    <a:uLnTx/>
                    <a:uFillTx/>
                    <a:ea typeface="+mn-ea"/>
                    <a:cs typeface="+mn-cs"/>
                  </a:rPr>
                  <a:t>Lorem</a:t>
                </a:r>
                <a:r>
                  <a:rPr kumimoji="0" lang="en-US" sz="1000" b="0" i="0" u="none" strike="noStrike" kern="1200" cap="none" spc="0" normalizeH="0" baseline="0" noProof="0" dirty="0">
                    <a:ln>
                      <a:noFill/>
                    </a:ln>
                    <a:effectLst/>
                    <a:uLnTx/>
                    <a:uFillTx/>
                    <a:ea typeface="+mn-ea"/>
                    <a:cs typeface="+mn-cs"/>
                  </a:rPr>
                  <a:t> </a:t>
                </a:r>
                <a:r>
                  <a:rPr kumimoji="0" lang="en-US" sz="1000" b="0" i="0" u="none" strike="noStrike" kern="1200" cap="none" spc="0" normalizeH="0" baseline="0" noProof="0" dirty="0" err="1">
                    <a:ln>
                      <a:noFill/>
                    </a:ln>
                    <a:effectLst/>
                    <a:uLnTx/>
                    <a:uFillTx/>
                    <a:ea typeface="+mn-ea"/>
                    <a:cs typeface="+mn-cs"/>
                  </a:rPr>
                  <a:t>Ipsum</a:t>
                </a:r>
                <a:r>
                  <a:rPr kumimoji="0" lang="en-US" sz="1000" b="0" i="0" u="none" strike="noStrike" kern="1200" cap="none" spc="0" normalizeH="0" baseline="0" noProof="0" dirty="0">
                    <a:ln>
                      <a:noFill/>
                    </a:ln>
                    <a:effectLst/>
                    <a:uLnTx/>
                    <a:uFillTx/>
                    <a:ea typeface="+mn-ea"/>
                    <a:cs typeface="+mn-cs"/>
                  </a:rPr>
                  <a:t> has been the industry's.</a:t>
                </a:r>
              </a:p>
            </p:txBody>
          </p:sp>
          <p:grpSp>
            <p:nvGrpSpPr>
              <p:cNvPr id="18" name="Group 17"/>
              <p:cNvGrpSpPr/>
              <p:nvPr/>
            </p:nvGrpSpPr>
            <p:grpSpPr>
              <a:xfrm>
                <a:off x="4496204" y="2062321"/>
                <a:ext cx="885775" cy="660508"/>
                <a:chOff x="4505304" y="2062321"/>
                <a:chExt cx="885775" cy="660508"/>
              </a:xfrm>
            </p:grpSpPr>
            <p:sp>
              <p:nvSpPr>
                <p:cNvPr id="19" name="TextBox 18"/>
                <p:cNvSpPr txBox="1"/>
                <p:nvPr/>
              </p:nvSpPr>
              <p:spPr>
                <a:xfrm>
                  <a:off x="4522818" y="2062321"/>
                  <a:ext cx="850746" cy="615553"/>
                </a:xfrm>
                <a:prstGeom prst="rect">
                  <a:avLst/>
                </a:prstGeom>
                <a:noFill/>
                <a:ln w="6350">
                  <a:noFill/>
                  <a:prstDash val="dash"/>
                </a:ln>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0" b="1" i="0" u="none" strike="noStrike" kern="1200" cap="none" spc="0" normalizeH="0" baseline="0" noProof="0" dirty="0">
                      <a:ln>
                        <a:noFill/>
                      </a:ln>
                      <a:solidFill>
                        <a:srgbClr val="78D2D2"/>
                      </a:solidFill>
                      <a:effectLst/>
                      <a:uLnTx/>
                      <a:uFillTx/>
                      <a:ea typeface="+mn-ea"/>
                      <a:cs typeface="+mn-cs"/>
                    </a:rPr>
                    <a:t>780</a:t>
                  </a:r>
                </a:p>
              </p:txBody>
            </p:sp>
            <p:sp>
              <p:nvSpPr>
                <p:cNvPr id="20" name="TextBox 19"/>
                <p:cNvSpPr txBox="1"/>
                <p:nvPr/>
              </p:nvSpPr>
              <p:spPr>
                <a:xfrm>
                  <a:off x="4505304" y="2568941"/>
                  <a:ext cx="885775" cy="153888"/>
                </a:xfrm>
                <a:prstGeom prst="rect">
                  <a:avLst/>
                </a:prstGeom>
                <a:noFill/>
                <a:ln w="6350">
                  <a:noFill/>
                  <a:prstDash val="dash"/>
                </a:ln>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78D2D2"/>
                      </a:solidFill>
                      <a:effectLst/>
                      <a:uLnTx/>
                      <a:uFillTx/>
                      <a:ea typeface="+mn-ea"/>
                      <a:cs typeface="+mn-cs"/>
                    </a:rPr>
                    <a:t>MILLION PEOPLE</a:t>
                  </a:r>
                  <a:r>
                    <a:rPr kumimoji="0" lang="en-US" sz="1000" b="0" i="0" u="none" strike="noStrike" kern="1200" cap="none" spc="0" normalizeH="0" baseline="0" noProof="0" dirty="0">
                      <a:ln>
                        <a:noFill/>
                      </a:ln>
                      <a:solidFill>
                        <a:srgbClr val="78D2D2"/>
                      </a:solidFill>
                      <a:effectLst/>
                      <a:uLnTx/>
                      <a:uFillTx/>
                      <a:ea typeface="+mn-ea"/>
                      <a:cs typeface="+mn-cs"/>
                    </a:rPr>
                    <a:t> </a:t>
                  </a:r>
                </a:p>
              </p:txBody>
            </p:sp>
          </p:grpSp>
        </p:grpSp>
        <p:grpSp>
          <p:nvGrpSpPr>
            <p:cNvPr id="11" name="Group 10"/>
            <p:cNvGrpSpPr/>
            <p:nvPr/>
          </p:nvGrpSpPr>
          <p:grpSpPr>
            <a:xfrm>
              <a:off x="4476319" y="2860899"/>
              <a:ext cx="4170205" cy="660508"/>
              <a:chOff x="4496204" y="2062321"/>
              <a:chExt cx="4170205" cy="660508"/>
            </a:xfrm>
          </p:grpSpPr>
          <p:sp>
            <p:nvSpPr>
              <p:cNvPr id="13" name="TextBox 12"/>
              <p:cNvSpPr txBox="1"/>
              <p:nvPr/>
            </p:nvSpPr>
            <p:spPr>
              <a:xfrm>
                <a:off x="5540776" y="2161743"/>
                <a:ext cx="3125633" cy="461665"/>
              </a:xfrm>
              <a:prstGeom prst="rect">
                <a:avLst/>
              </a:prstGeom>
              <a:noFill/>
              <a:ln w="6350">
                <a:noFill/>
                <a:prstDash val="dash"/>
              </a:ln>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effectLst/>
                    <a:uLnTx/>
                    <a:uFillTx/>
                    <a:ea typeface="+mn-ea"/>
                    <a:cs typeface="+mn-cs"/>
                  </a:rPr>
                  <a:t>LOREM IPSUM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err="1">
                    <a:ln>
                      <a:noFill/>
                    </a:ln>
                    <a:effectLst/>
                    <a:uLnTx/>
                    <a:uFillTx/>
                    <a:ea typeface="+mn-ea"/>
                    <a:cs typeface="+mn-cs"/>
                  </a:rPr>
                  <a:t>Lorem</a:t>
                </a:r>
                <a:r>
                  <a:rPr kumimoji="0" lang="en-US" sz="1000" b="0" i="0" u="none" strike="noStrike" kern="1200" cap="none" spc="0" normalizeH="0" baseline="0" noProof="0" dirty="0">
                    <a:ln>
                      <a:noFill/>
                    </a:ln>
                    <a:effectLst/>
                    <a:uLnTx/>
                    <a:uFillTx/>
                    <a:ea typeface="+mn-ea"/>
                    <a:cs typeface="+mn-cs"/>
                  </a:rPr>
                  <a:t> </a:t>
                </a:r>
                <a:r>
                  <a:rPr kumimoji="0" lang="en-US" sz="1000" b="0" i="0" u="none" strike="noStrike" kern="1200" cap="none" spc="0" normalizeH="0" baseline="0" noProof="0" dirty="0" err="1">
                    <a:ln>
                      <a:noFill/>
                    </a:ln>
                    <a:effectLst/>
                    <a:uLnTx/>
                    <a:uFillTx/>
                    <a:ea typeface="+mn-ea"/>
                    <a:cs typeface="+mn-cs"/>
                  </a:rPr>
                  <a:t>Ipsum</a:t>
                </a:r>
                <a:r>
                  <a:rPr kumimoji="0" lang="en-US" sz="1000" b="0" i="0" u="none" strike="noStrike" kern="1200" cap="none" spc="0" normalizeH="0" baseline="0" noProof="0" dirty="0">
                    <a:ln>
                      <a:noFill/>
                    </a:ln>
                    <a:effectLst/>
                    <a:uLnTx/>
                    <a:uFillTx/>
                    <a:ea typeface="+mn-ea"/>
                    <a:cs typeface="+mn-cs"/>
                  </a:rPr>
                  <a:t> is simply dummy text of the printing and typesetting industry. </a:t>
                </a:r>
                <a:r>
                  <a:rPr kumimoji="0" lang="en-US" sz="1000" b="0" i="0" u="none" strike="noStrike" kern="1200" cap="none" spc="0" normalizeH="0" baseline="0" noProof="0" dirty="0" err="1">
                    <a:ln>
                      <a:noFill/>
                    </a:ln>
                    <a:effectLst/>
                    <a:uLnTx/>
                    <a:uFillTx/>
                    <a:ea typeface="+mn-ea"/>
                    <a:cs typeface="+mn-cs"/>
                  </a:rPr>
                  <a:t>Lorem</a:t>
                </a:r>
                <a:r>
                  <a:rPr kumimoji="0" lang="en-US" sz="1000" b="0" i="0" u="none" strike="noStrike" kern="1200" cap="none" spc="0" normalizeH="0" baseline="0" noProof="0" dirty="0">
                    <a:ln>
                      <a:noFill/>
                    </a:ln>
                    <a:effectLst/>
                    <a:uLnTx/>
                    <a:uFillTx/>
                    <a:ea typeface="+mn-ea"/>
                    <a:cs typeface="+mn-cs"/>
                  </a:rPr>
                  <a:t> </a:t>
                </a:r>
                <a:r>
                  <a:rPr kumimoji="0" lang="en-US" sz="1000" b="0" i="0" u="none" strike="noStrike" kern="1200" cap="none" spc="0" normalizeH="0" baseline="0" noProof="0" dirty="0" err="1">
                    <a:ln>
                      <a:noFill/>
                    </a:ln>
                    <a:effectLst/>
                    <a:uLnTx/>
                    <a:uFillTx/>
                    <a:ea typeface="+mn-ea"/>
                    <a:cs typeface="+mn-cs"/>
                  </a:rPr>
                  <a:t>Ipsum</a:t>
                </a:r>
                <a:r>
                  <a:rPr kumimoji="0" lang="en-US" sz="1000" b="0" i="0" u="none" strike="noStrike" kern="1200" cap="none" spc="0" normalizeH="0" baseline="0" noProof="0" dirty="0">
                    <a:ln>
                      <a:noFill/>
                    </a:ln>
                    <a:effectLst/>
                    <a:uLnTx/>
                    <a:uFillTx/>
                    <a:ea typeface="+mn-ea"/>
                    <a:cs typeface="+mn-cs"/>
                  </a:rPr>
                  <a:t> has been the industry's.</a:t>
                </a:r>
              </a:p>
            </p:txBody>
          </p:sp>
          <p:grpSp>
            <p:nvGrpSpPr>
              <p:cNvPr id="14" name="Group 13"/>
              <p:cNvGrpSpPr/>
              <p:nvPr/>
            </p:nvGrpSpPr>
            <p:grpSpPr>
              <a:xfrm>
                <a:off x="4496204" y="2062321"/>
                <a:ext cx="885775" cy="660508"/>
                <a:chOff x="4505304" y="2062321"/>
                <a:chExt cx="885775" cy="660508"/>
              </a:xfrm>
            </p:grpSpPr>
            <p:sp>
              <p:nvSpPr>
                <p:cNvPr id="15" name="TextBox 14"/>
                <p:cNvSpPr txBox="1"/>
                <p:nvPr/>
              </p:nvSpPr>
              <p:spPr>
                <a:xfrm>
                  <a:off x="4522818" y="2062321"/>
                  <a:ext cx="850746" cy="615553"/>
                </a:xfrm>
                <a:prstGeom prst="rect">
                  <a:avLst/>
                </a:prstGeom>
                <a:noFill/>
                <a:ln w="6350">
                  <a:noFill/>
                  <a:prstDash val="dash"/>
                </a:ln>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0" b="1" i="0" u="none" strike="noStrike" kern="1200" cap="none" spc="0" normalizeH="0" baseline="0" noProof="0" dirty="0">
                      <a:ln>
                        <a:noFill/>
                      </a:ln>
                      <a:solidFill>
                        <a:srgbClr val="3B3939"/>
                      </a:solidFill>
                      <a:effectLst/>
                      <a:uLnTx/>
                      <a:uFillTx/>
                      <a:ea typeface="+mn-ea"/>
                      <a:cs typeface="+mn-cs"/>
                    </a:rPr>
                    <a:t>2.5</a:t>
                  </a:r>
                </a:p>
              </p:txBody>
            </p:sp>
            <p:sp>
              <p:nvSpPr>
                <p:cNvPr id="16" name="TextBox 15"/>
                <p:cNvSpPr txBox="1"/>
                <p:nvPr/>
              </p:nvSpPr>
              <p:spPr>
                <a:xfrm>
                  <a:off x="4505304" y="2568941"/>
                  <a:ext cx="885775" cy="153888"/>
                </a:xfrm>
                <a:prstGeom prst="rect">
                  <a:avLst/>
                </a:prstGeom>
                <a:noFill/>
                <a:ln w="6350">
                  <a:noFill/>
                  <a:prstDash val="dash"/>
                </a:ln>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3B3939"/>
                      </a:solidFill>
                      <a:effectLst/>
                      <a:uLnTx/>
                      <a:uFillTx/>
                      <a:ea typeface="+mn-ea"/>
                      <a:cs typeface="+mn-cs"/>
                    </a:rPr>
                    <a:t>BILLION PEOPLE</a:t>
                  </a:r>
                  <a:r>
                    <a:rPr kumimoji="0" lang="en-US" sz="1000" b="0" i="0" u="none" strike="noStrike" kern="1200" cap="none" spc="0" normalizeH="0" baseline="0" noProof="0" dirty="0">
                      <a:ln>
                        <a:noFill/>
                      </a:ln>
                      <a:solidFill>
                        <a:srgbClr val="3B3939"/>
                      </a:solidFill>
                      <a:effectLst/>
                      <a:uLnTx/>
                      <a:uFillTx/>
                      <a:ea typeface="+mn-ea"/>
                      <a:cs typeface="+mn-cs"/>
                    </a:rPr>
                    <a:t> </a:t>
                  </a:r>
                </a:p>
              </p:txBody>
            </p:sp>
          </p:grpSp>
        </p:grpSp>
        <p:cxnSp>
          <p:nvCxnSpPr>
            <p:cNvPr id="12" name="Straight Connector 11"/>
            <p:cNvCxnSpPr/>
            <p:nvPr/>
          </p:nvCxnSpPr>
          <p:spPr>
            <a:xfrm>
              <a:off x="4476319" y="2793317"/>
              <a:ext cx="4124654" cy="0"/>
            </a:xfrm>
            <a:prstGeom prst="line">
              <a:avLst/>
            </a:prstGeom>
            <a:ln>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grpSp>
      <p:grpSp>
        <p:nvGrpSpPr>
          <p:cNvPr id="203" name="Group 202"/>
          <p:cNvGrpSpPr/>
          <p:nvPr/>
        </p:nvGrpSpPr>
        <p:grpSpPr>
          <a:xfrm>
            <a:off x="6810034" y="4637056"/>
            <a:ext cx="3539336" cy="1129952"/>
            <a:chOff x="5058564" y="3757281"/>
            <a:chExt cx="3539336" cy="1129952"/>
          </a:xfrm>
        </p:grpSpPr>
        <p:sp>
          <p:nvSpPr>
            <p:cNvPr id="238" name="TextBox 237"/>
            <p:cNvSpPr txBox="1"/>
            <p:nvPr/>
          </p:nvSpPr>
          <p:spPr>
            <a:xfrm>
              <a:off x="5058564" y="3757281"/>
              <a:ext cx="3125633" cy="153888"/>
            </a:xfrm>
            <a:prstGeom prst="rect">
              <a:avLst/>
            </a:prstGeom>
            <a:noFill/>
            <a:ln w="6350">
              <a:noFill/>
              <a:prstDash val="dash"/>
            </a:ln>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effectLst/>
                  <a:uLnTx/>
                  <a:uFillTx/>
                  <a:ea typeface="+mn-ea"/>
                  <a:cs typeface="+mn-cs"/>
                </a:rPr>
                <a:t>TOP DEVICE</a:t>
              </a:r>
              <a:endParaRPr kumimoji="0" lang="en-US" sz="1000" b="0" i="0" u="none" strike="noStrike" kern="1200" cap="none" spc="0" normalizeH="0" baseline="0" noProof="0" dirty="0">
                <a:ln>
                  <a:noFill/>
                </a:ln>
                <a:effectLst/>
                <a:uLnTx/>
                <a:uFillTx/>
                <a:ea typeface="+mn-ea"/>
                <a:cs typeface="+mn-cs"/>
              </a:endParaRPr>
            </a:p>
          </p:txBody>
        </p:sp>
        <p:sp>
          <p:nvSpPr>
            <p:cNvPr id="239" name="TextBox 238"/>
            <p:cNvSpPr txBox="1"/>
            <p:nvPr/>
          </p:nvSpPr>
          <p:spPr>
            <a:xfrm>
              <a:off x="5058564" y="3912607"/>
              <a:ext cx="3539336" cy="974626"/>
            </a:xfrm>
            <a:prstGeom prst="rect">
              <a:avLst/>
            </a:prstGeom>
            <a:noFill/>
            <a:ln w="6350">
              <a:noFill/>
              <a:prstDash val="dash"/>
            </a:ln>
          </p:spPr>
          <p:txBody>
            <a:bodyPr wrap="square" lIns="0" tIns="0" rIns="0" bIns="0" rtlCol="0">
              <a:spAutoFit/>
            </a:bodyPr>
            <a:lstStyle/>
            <a:p>
              <a:pPr marL="172800" marR="0" lvl="0" indent="-172800" algn="l" defTabSz="914400" rtl="0" eaLnBrk="1" fontAlgn="auto" latinLnBrk="0" hangingPunct="1">
                <a:lnSpc>
                  <a:spcPct val="100000"/>
                </a:lnSpc>
                <a:spcBef>
                  <a:spcPts val="0"/>
                </a:spcBef>
                <a:spcAft>
                  <a:spcPts val="400"/>
                </a:spcAft>
                <a:buClrTx/>
                <a:buSzTx/>
                <a:buFont typeface="+mj-lt"/>
                <a:buAutoNum type="arabicPeriod"/>
                <a:tabLst/>
                <a:defRPr/>
              </a:pPr>
              <a:r>
                <a:rPr kumimoji="0" lang="en-US" sz="1000" b="0" i="0" u="none" strike="noStrike" kern="1200" cap="none" spc="0" normalizeH="0" baseline="0" noProof="0" dirty="0">
                  <a:ln>
                    <a:noFill/>
                  </a:ln>
                  <a:effectLst/>
                  <a:uLnTx/>
                  <a:uFillTx/>
                  <a:ea typeface="+mn-ea"/>
                  <a:cs typeface="+mn-cs"/>
                </a:rPr>
                <a:t>Lorem </a:t>
              </a:r>
              <a:r>
                <a:rPr kumimoji="0" lang="en-US" sz="1000" b="0" i="0" u="none" strike="noStrike" kern="1200" cap="none" spc="0" normalizeH="0" baseline="0" noProof="0" dirty="0" err="1">
                  <a:ln>
                    <a:noFill/>
                  </a:ln>
                  <a:effectLst/>
                  <a:uLnTx/>
                  <a:uFillTx/>
                  <a:ea typeface="+mn-ea"/>
                  <a:cs typeface="+mn-cs"/>
                </a:rPr>
                <a:t>Ipsum</a:t>
              </a:r>
              <a:r>
                <a:rPr kumimoji="0" lang="en-US" sz="1000" b="0" i="0" u="none" strike="noStrike" kern="1200" cap="none" spc="0" normalizeH="0" baseline="0" noProof="0" dirty="0">
                  <a:ln>
                    <a:noFill/>
                  </a:ln>
                  <a:effectLst/>
                  <a:uLnTx/>
                  <a:uFillTx/>
                  <a:ea typeface="+mn-ea"/>
                  <a:cs typeface="+mn-cs"/>
                </a:rPr>
                <a:t> is simply dummy text of the printing</a:t>
              </a:r>
            </a:p>
            <a:p>
              <a:pPr marL="172800" marR="0" lvl="0" indent="-172800" algn="l" defTabSz="914400" rtl="0" eaLnBrk="1" fontAlgn="auto" latinLnBrk="0" hangingPunct="1">
                <a:lnSpc>
                  <a:spcPct val="100000"/>
                </a:lnSpc>
                <a:spcBef>
                  <a:spcPts val="0"/>
                </a:spcBef>
                <a:spcAft>
                  <a:spcPts val="400"/>
                </a:spcAft>
                <a:buClrTx/>
                <a:buSzTx/>
                <a:buFont typeface="+mj-lt"/>
                <a:buAutoNum type="arabicPeriod"/>
                <a:tabLst/>
                <a:defRPr/>
              </a:pPr>
              <a:r>
                <a:rPr kumimoji="0" lang="en-US" sz="1000" b="0" i="0" u="none" strike="noStrike" kern="1200" cap="none" spc="0" normalizeH="0" baseline="0" noProof="0" dirty="0">
                  <a:ln>
                    <a:noFill/>
                  </a:ln>
                  <a:effectLst/>
                  <a:uLnTx/>
                  <a:uFillTx/>
                  <a:ea typeface="+mn-ea"/>
                  <a:cs typeface="+mn-cs"/>
                </a:rPr>
                <a:t>Lorem </a:t>
              </a:r>
              <a:r>
                <a:rPr kumimoji="0" lang="en-US" sz="1000" b="0" i="0" u="none" strike="noStrike" kern="1200" cap="none" spc="0" normalizeH="0" baseline="0" noProof="0" dirty="0" err="1">
                  <a:ln>
                    <a:noFill/>
                  </a:ln>
                  <a:effectLst/>
                  <a:uLnTx/>
                  <a:uFillTx/>
                  <a:ea typeface="+mn-ea"/>
                  <a:cs typeface="+mn-cs"/>
                </a:rPr>
                <a:t>Ipsum</a:t>
              </a:r>
              <a:r>
                <a:rPr kumimoji="0" lang="en-US" sz="1000" b="0" i="0" u="none" strike="noStrike" kern="1200" cap="none" spc="0" normalizeH="0" baseline="0" noProof="0" dirty="0">
                  <a:ln>
                    <a:noFill/>
                  </a:ln>
                  <a:effectLst/>
                  <a:uLnTx/>
                  <a:uFillTx/>
                  <a:ea typeface="+mn-ea"/>
                  <a:cs typeface="+mn-cs"/>
                </a:rPr>
                <a:t> is simply dummy text of the printing</a:t>
              </a:r>
            </a:p>
            <a:p>
              <a:pPr marL="172800" marR="0" lvl="0" indent="-172800" algn="l" defTabSz="914400" rtl="0" eaLnBrk="1" fontAlgn="auto" latinLnBrk="0" hangingPunct="1">
                <a:lnSpc>
                  <a:spcPct val="100000"/>
                </a:lnSpc>
                <a:spcBef>
                  <a:spcPts val="0"/>
                </a:spcBef>
                <a:spcAft>
                  <a:spcPts val="400"/>
                </a:spcAft>
                <a:buClrTx/>
                <a:buSzTx/>
                <a:buFont typeface="+mj-lt"/>
                <a:buAutoNum type="arabicPeriod"/>
                <a:tabLst/>
                <a:defRPr/>
              </a:pPr>
              <a:r>
                <a:rPr kumimoji="0" lang="en-US" sz="1000" b="0" i="0" u="none" strike="noStrike" kern="1200" cap="none" spc="0" normalizeH="0" baseline="0" noProof="0" dirty="0">
                  <a:ln>
                    <a:noFill/>
                  </a:ln>
                  <a:effectLst/>
                  <a:uLnTx/>
                  <a:uFillTx/>
                  <a:ea typeface="+mn-ea"/>
                  <a:cs typeface="+mn-cs"/>
                </a:rPr>
                <a:t>Lorem </a:t>
              </a:r>
              <a:r>
                <a:rPr kumimoji="0" lang="en-US" sz="1000" b="0" i="0" u="none" strike="noStrike" kern="1200" cap="none" spc="0" normalizeH="0" baseline="0" noProof="0" dirty="0" err="1">
                  <a:ln>
                    <a:noFill/>
                  </a:ln>
                  <a:effectLst/>
                  <a:uLnTx/>
                  <a:uFillTx/>
                  <a:ea typeface="+mn-ea"/>
                  <a:cs typeface="+mn-cs"/>
                </a:rPr>
                <a:t>Ipsum</a:t>
              </a:r>
              <a:r>
                <a:rPr kumimoji="0" lang="en-US" sz="1000" b="0" i="0" u="none" strike="noStrike" kern="1200" cap="none" spc="0" normalizeH="0" baseline="0" noProof="0" dirty="0">
                  <a:ln>
                    <a:noFill/>
                  </a:ln>
                  <a:effectLst/>
                  <a:uLnTx/>
                  <a:uFillTx/>
                  <a:ea typeface="+mn-ea"/>
                  <a:cs typeface="+mn-cs"/>
                </a:rPr>
                <a:t> is simply dummy text of the printing</a:t>
              </a:r>
            </a:p>
            <a:p>
              <a:pPr marL="172800" marR="0" lvl="0" indent="-172800" algn="l" defTabSz="914400" rtl="0" eaLnBrk="1" fontAlgn="auto" latinLnBrk="0" hangingPunct="1">
                <a:lnSpc>
                  <a:spcPct val="100000"/>
                </a:lnSpc>
                <a:spcBef>
                  <a:spcPts val="0"/>
                </a:spcBef>
                <a:spcAft>
                  <a:spcPts val="400"/>
                </a:spcAft>
                <a:buClrTx/>
                <a:buSzTx/>
                <a:buFont typeface="+mj-lt"/>
                <a:buAutoNum type="arabicPeriod"/>
                <a:tabLst/>
                <a:defRPr/>
              </a:pPr>
              <a:r>
                <a:rPr kumimoji="0" lang="en-US" sz="1000" b="0" i="0" u="none" strike="noStrike" kern="1200" cap="none" spc="0" normalizeH="0" baseline="0" noProof="0" dirty="0">
                  <a:ln>
                    <a:noFill/>
                  </a:ln>
                  <a:effectLst/>
                  <a:uLnTx/>
                  <a:uFillTx/>
                  <a:ea typeface="+mn-ea"/>
                  <a:cs typeface="+mn-cs"/>
                </a:rPr>
                <a:t>Lorem </a:t>
              </a:r>
              <a:r>
                <a:rPr kumimoji="0" lang="en-US" sz="1000" b="0" i="0" u="none" strike="noStrike" kern="1200" cap="none" spc="0" normalizeH="0" baseline="0" noProof="0" dirty="0" err="1">
                  <a:ln>
                    <a:noFill/>
                  </a:ln>
                  <a:effectLst/>
                  <a:uLnTx/>
                  <a:uFillTx/>
                  <a:ea typeface="+mn-ea"/>
                  <a:cs typeface="+mn-cs"/>
                </a:rPr>
                <a:t>Ipsum</a:t>
              </a:r>
              <a:r>
                <a:rPr kumimoji="0" lang="en-US" sz="1000" b="0" i="0" u="none" strike="noStrike" kern="1200" cap="none" spc="0" normalizeH="0" baseline="0" noProof="0" dirty="0">
                  <a:ln>
                    <a:noFill/>
                  </a:ln>
                  <a:effectLst/>
                  <a:uLnTx/>
                  <a:uFillTx/>
                  <a:ea typeface="+mn-ea"/>
                  <a:cs typeface="+mn-cs"/>
                </a:rPr>
                <a:t> is simply dummy text of the printing</a:t>
              </a:r>
            </a:p>
            <a:p>
              <a:pPr marL="172800" marR="0" lvl="0" indent="-172800" algn="l" defTabSz="914400" rtl="0" eaLnBrk="1" fontAlgn="auto" latinLnBrk="0" hangingPunct="1">
                <a:lnSpc>
                  <a:spcPct val="100000"/>
                </a:lnSpc>
                <a:spcBef>
                  <a:spcPts val="0"/>
                </a:spcBef>
                <a:spcAft>
                  <a:spcPts val="400"/>
                </a:spcAft>
                <a:buClrTx/>
                <a:buSzTx/>
                <a:buFont typeface="+mj-lt"/>
                <a:buAutoNum type="arabicPeriod"/>
                <a:tabLst/>
                <a:defRPr/>
              </a:pPr>
              <a:r>
                <a:rPr kumimoji="0" lang="en-US" sz="1000" b="0" i="0" u="none" strike="noStrike" kern="1200" cap="none" spc="0" normalizeH="0" baseline="0" noProof="0" dirty="0">
                  <a:ln>
                    <a:noFill/>
                  </a:ln>
                  <a:effectLst/>
                  <a:uLnTx/>
                  <a:uFillTx/>
                  <a:ea typeface="+mn-ea"/>
                  <a:cs typeface="+mn-cs"/>
                </a:rPr>
                <a:t>Lorem </a:t>
              </a:r>
              <a:r>
                <a:rPr kumimoji="0" lang="en-US" sz="1000" b="0" i="0" u="none" strike="noStrike" kern="1200" cap="none" spc="0" normalizeH="0" baseline="0" noProof="0" dirty="0" err="1">
                  <a:ln>
                    <a:noFill/>
                  </a:ln>
                  <a:effectLst/>
                  <a:uLnTx/>
                  <a:uFillTx/>
                  <a:ea typeface="+mn-ea"/>
                  <a:cs typeface="+mn-cs"/>
                </a:rPr>
                <a:t>Ipsum</a:t>
              </a:r>
              <a:r>
                <a:rPr kumimoji="0" lang="en-US" sz="1000" b="0" i="0" u="none" strike="noStrike" kern="1200" cap="none" spc="0" normalizeH="0" baseline="0" noProof="0" dirty="0">
                  <a:ln>
                    <a:noFill/>
                  </a:ln>
                  <a:effectLst/>
                  <a:uLnTx/>
                  <a:uFillTx/>
                  <a:ea typeface="+mn-ea"/>
                  <a:cs typeface="+mn-cs"/>
                </a:rPr>
                <a:t> is simply dummy text of the printing</a:t>
              </a:r>
            </a:p>
          </p:txBody>
        </p:sp>
      </p:grpSp>
      <p:grpSp>
        <p:nvGrpSpPr>
          <p:cNvPr id="241" name="Group 240"/>
          <p:cNvGrpSpPr/>
          <p:nvPr/>
        </p:nvGrpSpPr>
        <p:grpSpPr>
          <a:xfrm>
            <a:off x="6738166" y="4049296"/>
            <a:ext cx="360000" cy="360000"/>
            <a:chOff x="6738166" y="4049296"/>
            <a:chExt cx="360000" cy="360000"/>
          </a:xfrm>
        </p:grpSpPr>
        <p:sp>
          <p:nvSpPr>
            <p:cNvPr id="235" name="Oval 234"/>
            <p:cNvSpPr>
              <a:spLocks noChangeAspect="1"/>
            </p:cNvSpPr>
            <p:nvPr/>
          </p:nvSpPr>
          <p:spPr>
            <a:xfrm>
              <a:off x="6738166" y="4049296"/>
              <a:ext cx="360000" cy="360000"/>
            </a:xfrm>
            <a:prstGeom prst="ellipse">
              <a:avLst/>
            </a:prstGeom>
            <a:noFill/>
            <a:ln w="19050">
              <a:solidFill>
                <a:srgbClr val="AFABA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Calibri"/>
                <a:ea typeface="+mn-ea"/>
                <a:cs typeface="+mn-cs"/>
              </a:endParaRPr>
            </a:p>
          </p:txBody>
        </p:sp>
        <p:sp>
          <p:nvSpPr>
            <p:cNvPr id="236" name="Arc 235"/>
            <p:cNvSpPr>
              <a:spLocks noChangeAspect="1"/>
            </p:cNvSpPr>
            <p:nvPr/>
          </p:nvSpPr>
          <p:spPr>
            <a:xfrm>
              <a:off x="6738166" y="4049296"/>
              <a:ext cx="360000" cy="360000"/>
            </a:xfrm>
            <a:prstGeom prst="arc">
              <a:avLst>
                <a:gd name="adj1" fmla="val 16200000"/>
                <a:gd name="adj2" fmla="val 7056389"/>
              </a:avLst>
            </a:prstGeom>
            <a:noFill/>
            <a:ln w="19050">
              <a:solidFill>
                <a:srgbClr val="E2583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Calibri"/>
                <a:ea typeface="+mn-ea"/>
                <a:cs typeface="+mn-cs"/>
              </a:endParaRPr>
            </a:p>
          </p:txBody>
        </p:sp>
      </p:grpSp>
      <p:sp>
        <p:nvSpPr>
          <p:cNvPr id="237" name="TextBox 236"/>
          <p:cNvSpPr txBox="1"/>
          <p:nvPr/>
        </p:nvSpPr>
        <p:spPr>
          <a:xfrm>
            <a:off x="6783156" y="4162052"/>
            <a:ext cx="293445" cy="153888"/>
          </a:xfrm>
          <a:prstGeom prst="rect">
            <a:avLst/>
          </a:prstGeom>
          <a:noFill/>
          <a:ln w="6350">
            <a:noFill/>
            <a:prstDash val="dash"/>
          </a:ln>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E2583D"/>
                </a:solidFill>
                <a:effectLst/>
                <a:uLnTx/>
                <a:uFillTx/>
                <a:ea typeface="+mn-ea"/>
                <a:cs typeface="+mn-cs"/>
              </a:rPr>
              <a:t>65%</a:t>
            </a:r>
          </a:p>
        </p:txBody>
      </p:sp>
      <p:grpSp>
        <p:nvGrpSpPr>
          <p:cNvPr id="230" name="Group 229"/>
          <p:cNvGrpSpPr/>
          <p:nvPr/>
        </p:nvGrpSpPr>
        <p:grpSpPr>
          <a:xfrm>
            <a:off x="7184661" y="4048412"/>
            <a:ext cx="598620" cy="361768"/>
            <a:chOff x="5638712" y="3032968"/>
            <a:chExt cx="598620" cy="361768"/>
          </a:xfrm>
        </p:grpSpPr>
        <p:grpSp>
          <p:nvGrpSpPr>
            <p:cNvPr id="231" name="Group 230"/>
            <p:cNvGrpSpPr/>
            <p:nvPr/>
          </p:nvGrpSpPr>
          <p:grpSpPr>
            <a:xfrm>
              <a:off x="5638712" y="3032968"/>
              <a:ext cx="598620" cy="215444"/>
              <a:chOff x="5638712" y="3032968"/>
              <a:chExt cx="598620" cy="215444"/>
            </a:xfrm>
          </p:grpSpPr>
          <p:sp>
            <p:nvSpPr>
              <p:cNvPr id="233" name="Freeform 8"/>
              <p:cNvSpPr>
                <a:spLocks noChangeAspect="1"/>
              </p:cNvSpPr>
              <p:nvPr/>
            </p:nvSpPr>
            <p:spPr bwMode="auto">
              <a:xfrm flipV="1">
                <a:off x="6095514" y="3091599"/>
                <a:ext cx="141818" cy="98182"/>
              </a:xfrm>
              <a:custGeom>
                <a:avLst/>
                <a:gdLst>
                  <a:gd name="T0" fmla="*/ 95 w 96"/>
                  <a:gd name="T1" fmla="*/ 9 h 66"/>
                  <a:gd name="T2" fmla="*/ 85 w 96"/>
                  <a:gd name="T3" fmla="*/ 0 h 66"/>
                  <a:gd name="T4" fmla="*/ 84 w 96"/>
                  <a:gd name="T5" fmla="*/ 0 h 66"/>
                  <a:gd name="T6" fmla="*/ 82 w 96"/>
                  <a:gd name="T7" fmla="*/ 1 h 66"/>
                  <a:gd name="T8" fmla="*/ 48 w 96"/>
                  <a:gd name="T9" fmla="*/ 41 h 66"/>
                  <a:gd name="T10" fmla="*/ 14 w 96"/>
                  <a:gd name="T11" fmla="*/ 1 h 66"/>
                  <a:gd name="T12" fmla="*/ 13 w 96"/>
                  <a:gd name="T13" fmla="*/ 0 h 66"/>
                  <a:gd name="T14" fmla="*/ 11 w 96"/>
                  <a:gd name="T15" fmla="*/ 0 h 66"/>
                  <a:gd name="T16" fmla="*/ 1 w 96"/>
                  <a:gd name="T17" fmla="*/ 9 h 66"/>
                  <a:gd name="T18" fmla="*/ 0 w 96"/>
                  <a:gd name="T19" fmla="*/ 11 h 66"/>
                  <a:gd name="T20" fmla="*/ 1 w 96"/>
                  <a:gd name="T21" fmla="*/ 12 h 66"/>
                  <a:gd name="T22" fmla="*/ 47 w 96"/>
                  <a:gd name="T23" fmla="*/ 65 h 66"/>
                  <a:gd name="T24" fmla="*/ 48 w 96"/>
                  <a:gd name="T25" fmla="*/ 66 h 66"/>
                  <a:gd name="T26" fmla="*/ 50 w 96"/>
                  <a:gd name="T27" fmla="*/ 65 h 66"/>
                  <a:gd name="T28" fmla="*/ 96 w 96"/>
                  <a:gd name="T29" fmla="*/ 12 h 66"/>
                  <a:gd name="T30" fmla="*/ 96 w 96"/>
                  <a:gd name="T31" fmla="*/ 11 h 66"/>
                  <a:gd name="T32" fmla="*/ 95 w 96"/>
                  <a:gd name="T33" fmla="*/ 9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6" h="66">
                    <a:moveTo>
                      <a:pt x="95" y="9"/>
                    </a:moveTo>
                    <a:cubicBezTo>
                      <a:pt x="85" y="0"/>
                      <a:pt x="85" y="0"/>
                      <a:pt x="85" y="0"/>
                    </a:cubicBezTo>
                    <a:cubicBezTo>
                      <a:pt x="85" y="0"/>
                      <a:pt x="84" y="0"/>
                      <a:pt x="84" y="0"/>
                    </a:cubicBezTo>
                    <a:cubicBezTo>
                      <a:pt x="83" y="0"/>
                      <a:pt x="83" y="0"/>
                      <a:pt x="82" y="1"/>
                    </a:cubicBezTo>
                    <a:cubicBezTo>
                      <a:pt x="48" y="41"/>
                      <a:pt x="48" y="41"/>
                      <a:pt x="48" y="41"/>
                    </a:cubicBezTo>
                    <a:cubicBezTo>
                      <a:pt x="14" y="1"/>
                      <a:pt x="14" y="1"/>
                      <a:pt x="14" y="1"/>
                    </a:cubicBezTo>
                    <a:cubicBezTo>
                      <a:pt x="14" y="0"/>
                      <a:pt x="13" y="0"/>
                      <a:pt x="13" y="0"/>
                    </a:cubicBezTo>
                    <a:cubicBezTo>
                      <a:pt x="12" y="0"/>
                      <a:pt x="11" y="0"/>
                      <a:pt x="11" y="0"/>
                    </a:cubicBezTo>
                    <a:cubicBezTo>
                      <a:pt x="1" y="9"/>
                      <a:pt x="1" y="9"/>
                      <a:pt x="1" y="9"/>
                    </a:cubicBezTo>
                    <a:cubicBezTo>
                      <a:pt x="0" y="10"/>
                      <a:pt x="0" y="10"/>
                      <a:pt x="0" y="11"/>
                    </a:cubicBezTo>
                    <a:cubicBezTo>
                      <a:pt x="0" y="11"/>
                      <a:pt x="0" y="12"/>
                      <a:pt x="1" y="12"/>
                    </a:cubicBezTo>
                    <a:cubicBezTo>
                      <a:pt x="47" y="65"/>
                      <a:pt x="47" y="65"/>
                      <a:pt x="47" y="65"/>
                    </a:cubicBezTo>
                    <a:cubicBezTo>
                      <a:pt x="47" y="66"/>
                      <a:pt x="47" y="66"/>
                      <a:pt x="48" y="66"/>
                    </a:cubicBezTo>
                    <a:cubicBezTo>
                      <a:pt x="49" y="66"/>
                      <a:pt x="49" y="66"/>
                      <a:pt x="50" y="65"/>
                    </a:cubicBezTo>
                    <a:cubicBezTo>
                      <a:pt x="96" y="12"/>
                      <a:pt x="96" y="12"/>
                      <a:pt x="96" y="12"/>
                    </a:cubicBezTo>
                    <a:cubicBezTo>
                      <a:pt x="96" y="12"/>
                      <a:pt x="96" y="11"/>
                      <a:pt x="96" y="11"/>
                    </a:cubicBezTo>
                    <a:cubicBezTo>
                      <a:pt x="96" y="10"/>
                      <a:pt x="96" y="10"/>
                      <a:pt x="95" y="9"/>
                    </a:cubicBezTo>
                    <a:close/>
                  </a:path>
                </a:pathLst>
              </a:custGeom>
              <a:solidFill>
                <a:srgbClr val="E2583D"/>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34" name="TextBox 233"/>
              <p:cNvSpPr txBox="1"/>
              <p:nvPr/>
            </p:nvSpPr>
            <p:spPr>
              <a:xfrm>
                <a:off x="5638712" y="3032968"/>
                <a:ext cx="455807" cy="215444"/>
              </a:xfrm>
              <a:prstGeom prst="rect">
                <a:avLst/>
              </a:prstGeom>
              <a:noFill/>
              <a:ln w="6350">
                <a:noFill/>
                <a:prstDash val="dash"/>
              </a:ln>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effectLst/>
                    <a:uLnTx/>
                    <a:uFillTx/>
                    <a:ea typeface="+mn-ea"/>
                    <a:cs typeface="+mn-cs"/>
                  </a:rPr>
                  <a:t>6,327</a:t>
                </a:r>
                <a:endParaRPr kumimoji="0" lang="en-US" sz="1400" b="0" i="0" u="none" strike="noStrike" kern="1200" cap="none" spc="0" normalizeH="0" baseline="0" noProof="0" dirty="0">
                  <a:ln>
                    <a:noFill/>
                  </a:ln>
                  <a:effectLst/>
                  <a:uLnTx/>
                  <a:uFillTx/>
                  <a:ea typeface="+mn-ea"/>
                  <a:cs typeface="+mn-cs"/>
                </a:endParaRPr>
              </a:p>
            </p:txBody>
          </p:sp>
        </p:grpSp>
        <p:sp>
          <p:nvSpPr>
            <p:cNvPr id="232" name="TextBox 231"/>
            <p:cNvSpPr txBox="1"/>
            <p:nvPr/>
          </p:nvSpPr>
          <p:spPr>
            <a:xfrm>
              <a:off x="5670496" y="3240848"/>
              <a:ext cx="535053" cy="153888"/>
            </a:xfrm>
            <a:prstGeom prst="rect">
              <a:avLst/>
            </a:prstGeom>
            <a:noFill/>
            <a:ln w="6350">
              <a:noFill/>
              <a:prstDash val="dash"/>
            </a:ln>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effectLst/>
                  <a:uLnTx/>
                  <a:uFillTx/>
                  <a:ea typeface="+mn-ea"/>
                  <a:cs typeface="+mn-cs"/>
                </a:rPr>
                <a:t>download</a:t>
              </a:r>
            </a:p>
          </p:txBody>
        </p:sp>
      </p:grpSp>
      <p:grpSp>
        <p:nvGrpSpPr>
          <p:cNvPr id="242" name="Group 241"/>
          <p:cNvGrpSpPr/>
          <p:nvPr/>
        </p:nvGrpSpPr>
        <p:grpSpPr>
          <a:xfrm>
            <a:off x="8027898" y="4049296"/>
            <a:ext cx="360000" cy="360000"/>
            <a:chOff x="8027898" y="4049296"/>
            <a:chExt cx="360000" cy="360000"/>
          </a:xfrm>
        </p:grpSpPr>
        <p:sp>
          <p:nvSpPr>
            <p:cNvPr id="226" name="Oval 225"/>
            <p:cNvSpPr>
              <a:spLocks noChangeAspect="1"/>
            </p:cNvSpPr>
            <p:nvPr/>
          </p:nvSpPr>
          <p:spPr>
            <a:xfrm>
              <a:off x="8027898" y="4049296"/>
              <a:ext cx="360000" cy="360000"/>
            </a:xfrm>
            <a:prstGeom prst="ellipse">
              <a:avLst/>
            </a:prstGeom>
            <a:noFill/>
            <a:ln w="19050">
              <a:solidFill>
                <a:srgbClr val="AFABA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Calibri"/>
                <a:ea typeface="+mn-ea"/>
                <a:cs typeface="+mn-cs"/>
              </a:endParaRPr>
            </a:p>
          </p:txBody>
        </p:sp>
        <p:sp>
          <p:nvSpPr>
            <p:cNvPr id="227" name="Arc 226"/>
            <p:cNvSpPr>
              <a:spLocks noChangeAspect="1"/>
            </p:cNvSpPr>
            <p:nvPr/>
          </p:nvSpPr>
          <p:spPr>
            <a:xfrm>
              <a:off x="8027898" y="4049296"/>
              <a:ext cx="360000" cy="360000"/>
            </a:xfrm>
            <a:prstGeom prst="arc">
              <a:avLst>
                <a:gd name="adj1" fmla="val 16200000"/>
                <a:gd name="adj2" fmla="val 3719116"/>
              </a:avLst>
            </a:prstGeom>
            <a:noFill/>
            <a:ln w="19050">
              <a:solidFill>
                <a:srgbClr val="78D2D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Calibri"/>
                <a:ea typeface="+mn-ea"/>
                <a:cs typeface="+mn-cs"/>
              </a:endParaRPr>
            </a:p>
          </p:txBody>
        </p:sp>
      </p:grpSp>
      <p:sp>
        <p:nvSpPr>
          <p:cNvPr id="228" name="TextBox 227"/>
          <p:cNvSpPr txBox="1"/>
          <p:nvPr/>
        </p:nvSpPr>
        <p:spPr>
          <a:xfrm>
            <a:off x="8072888" y="4162052"/>
            <a:ext cx="293445" cy="153888"/>
          </a:xfrm>
          <a:prstGeom prst="rect">
            <a:avLst/>
          </a:prstGeom>
          <a:noFill/>
          <a:ln w="6350">
            <a:noFill/>
            <a:prstDash val="dash"/>
          </a:ln>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78D2D2"/>
                </a:solidFill>
                <a:effectLst/>
                <a:uLnTx/>
                <a:uFillTx/>
                <a:ea typeface="+mn-ea"/>
                <a:cs typeface="+mn-cs"/>
              </a:rPr>
              <a:t>45%</a:t>
            </a:r>
          </a:p>
        </p:txBody>
      </p:sp>
      <p:grpSp>
        <p:nvGrpSpPr>
          <p:cNvPr id="221" name="Group 220"/>
          <p:cNvGrpSpPr/>
          <p:nvPr/>
        </p:nvGrpSpPr>
        <p:grpSpPr>
          <a:xfrm>
            <a:off x="8474393" y="4048412"/>
            <a:ext cx="598620" cy="361768"/>
            <a:chOff x="5638712" y="3032968"/>
            <a:chExt cx="598620" cy="361768"/>
          </a:xfrm>
        </p:grpSpPr>
        <p:grpSp>
          <p:nvGrpSpPr>
            <p:cNvPr id="222" name="Group 221"/>
            <p:cNvGrpSpPr/>
            <p:nvPr/>
          </p:nvGrpSpPr>
          <p:grpSpPr>
            <a:xfrm>
              <a:off x="5638712" y="3032968"/>
              <a:ext cx="598620" cy="215444"/>
              <a:chOff x="5638712" y="3032968"/>
              <a:chExt cx="598620" cy="215444"/>
            </a:xfrm>
          </p:grpSpPr>
          <p:sp>
            <p:nvSpPr>
              <p:cNvPr id="224" name="Freeform 8"/>
              <p:cNvSpPr>
                <a:spLocks noChangeAspect="1"/>
              </p:cNvSpPr>
              <p:nvPr/>
            </p:nvSpPr>
            <p:spPr bwMode="auto">
              <a:xfrm flipV="1">
                <a:off x="6095514" y="3091599"/>
                <a:ext cx="141818" cy="98182"/>
              </a:xfrm>
              <a:custGeom>
                <a:avLst/>
                <a:gdLst>
                  <a:gd name="T0" fmla="*/ 95 w 96"/>
                  <a:gd name="T1" fmla="*/ 9 h 66"/>
                  <a:gd name="T2" fmla="*/ 85 w 96"/>
                  <a:gd name="T3" fmla="*/ 0 h 66"/>
                  <a:gd name="T4" fmla="*/ 84 w 96"/>
                  <a:gd name="T5" fmla="*/ 0 h 66"/>
                  <a:gd name="T6" fmla="*/ 82 w 96"/>
                  <a:gd name="T7" fmla="*/ 1 h 66"/>
                  <a:gd name="T8" fmla="*/ 48 w 96"/>
                  <a:gd name="T9" fmla="*/ 41 h 66"/>
                  <a:gd name="T10" fmla="*/ 14 w 96"/>
                  <a:gd name="T11" fmla="*/ 1 h 66"/>
                  <a:gd name="T12" fmla="*/ 13 w 96"/>
                  <a:gd name="T13" fmla="*/ 0 h 66"/>
                  <a:gd name="T14" fmla="*/ 11 w 96"/>
                  <a:gd name="T15" fmla="*/ 0 h 66"/>
                  <a:gd name="T16" fmla="*/ 1 w 96"/>
                  <a:gd name="T17" fmla="*/ 9 h 66"/>
                  <a:gd name="T18" fmla="*/ 0 w 96"/>
                  <a:gd name="T19" fmla="*/ 11 h 66"/>
                  <a:gd name="T20" fmla="*/ 1 w 96"/>
                  <a:gd name="T21" fmla="*/ 12 h 66"/>
                  <a:gd name="T22" fmla="*/ 47 w 96"/>
                  <a:gd name="T23" fmla="*/ 65 h 66"/>
                  <a:gd name="T24" fmla="*/ 48 w 96"/>
                  <a:gd name="T25" fmla="*/ 66 h 66"/>
                  <a:gd name="T26" fmla="*/ 50 w 96"/>
                  <a:gd name="T27" fmla="*/ 65 h 66"/>
                  <a:gd name="T28" fmla="*/ 96 w 96"/>
                  <a:gd name="T29" fmla="*/ 12 h 66"/>
                  <a:gd name="T30" fmla="*/ 96 w 96"/>
                  <a:gd name="T31" fmla="*/ 11 h 66"/>
                  <a:gd name="T32" fmla="*/ 95 w 96"/>
                  <a:gd name="T33" fmla="*/ 9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6" h="66">
                    <a:moveTo>
                      <a:pt x="95" y="9"/>
                    </a:moveTo>
                    <a:cubicBezTo>
                      <a:pt x="85" y="0"/>
                      <a:pt x="85" y="0"/>
                      <a:pt x="85" y="0"/>
                    </a:cubicBezTo>
                    <a:cubicBezTo>
                      <a:pt x="85" y="0"/>
                      <a:pt x="84" y="0"/>
                      <a:pt x="84" y="0"/>
                    </a:cubicBezTo>
                    <a:cubicBezTo>
                      <a:pt x="83" y="0"/>
                      <a:pt x="83" y="0"/>
                      <a:pt x="82" y="1"/>
                    </a:cubicBezTo>
                    <a:cubicBezTo>
                      <a:pt x="48" y="41"/>
                      <a:pt x="48" y="41"/>
                      <a:pt x="48" y="41"/>
                    </a:cubicBezTo>
                    <a:cubicBezTo>
                      <a:pt x="14" y="1"/>
                      <a:pt x="14" y="1"/>
                      <a:pt x="14" y="1"/>
                    </a:cubicBezTo>
                    <a:cubicBezTo>
                      <a:pt x="14" y="0"/>
                      <a:pt x="13" y="0"/>
                      <a:pt x="13" y="0"/>
                    </a:cubicBezTo>
                    <a:cubicBezTo>
                      <a:pt x="12" y="0"/>
                      <a:pt x="11" y="0"/>
                      <a:pt x="11" y="0"/>
                    </a:cubicBezTo>
                    <a:cubicBezTo>
                      <a:pt x="1" y="9"/>
                      <a:pt x="1" y="9"/>
                      <a:pt x="1" y="9"/>
                    </a:cubicBezTo>
                    <a:cubicBezTo>
                      <a:pt x="0" y="10"/>
                      <a:pt x="0" y="10"/>
                      <a:pt x="0" y="11"/>
                    </a:cubicBezTo>
                    <a:cubicBezTo>
                      <a:pt x="0" y="11"/>
                      <a:pt x="0" y="12"/>
                      <a:pt x="1" y="12"/>
                    </a:cubicBezTo>
                    <a:cubicBezTo>
                      <a:pt x="47" y="65"/>
                      <a:pt x="47" y="65"/>
                      <a:pt x="47" y="65"/>
                    </a:cubicBezTo>
                    <a:cubicBezTo>
                      <a:pt x="47" y="66"/>
                      <a:pt x="47" y="66"/>
                      <a:pt x="48" y="66"/>
                    </a:cubicBezTo>
                    <a:cubicBezTo>
                      <a:pt x="49" y="66"/>
                      <a:pt x="49" y="66"/>
                      <a:pt x="50" y="65"/>
                    </a:cubicBezTo>
                    <a:cubicBezTo>
                      <a:pt x="96" y="12"/>
                      <a:pt x="96" y="12"/>
                      <a:pt x="96" y="12"/>
                    </a:cubicBezTo>
                    <a:cubicBezTo>
                      <a:pt x="96" y="12"/>
                      <a:pt x="96" y="11"/>
                      <a:pt x="96" y="11"/>
                    </a:cubicBezTo>
                    <a:cubicBezTo>
                      <a:pt x="96" y="10"/>
                      <a:pt x="96" y="10"/>
                      <a:pt x="95" y="9"/>
                    </a:cubicBezTo>
                    <a:close/>
                  </a:path>
                </a:pathLst>
              </a:custGeom>
              <a:solidFill>
                <a:srgbClr val="78D2D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25" name="TextBox 224"/>
              <p:cNvSpPr txBox="1"/>
              <p:nvPr/>
            </p:nvSpPr>
            <p:spPr>
              <a:xfrm>
                <a:off x="5638712" y="3032968"/>
                <a:ext cx="455807" cy="215444"/>
              </a:xfrm>
              <a:prstGeom prst="rect">
                <a:avLst/>
              </a:prstGeom>
              <a:noFill/>
              <a:ln w="6350">
                <a:noFill/>
                <a:prstDash val="dash"/>
              </a:ln>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effectLst/>
                    <a:uLnTx/>
                    <a:uFillTx/>
                    <a:ea typeface="+mn-ea"/>
                    <a:cs typeface="+mn-cs"/>
                  </a:rPr>
                  <a:t>2,576</a:t>
                </a:r>
                <a:endParaRPr kumimoji="0" lang="en-US" sz="1400" b="0" i="0" u="none" strike="noStrike" kern="1200" cap="none" spc="0" normalizeH="0" baseline="0" noProof="0" dirty="0">
                  <a:ln>
                    <a:noFill/>
                  </a:ln>
                  <a:effectLst/>
                  <a:uLnTx/>
                  <a:uFillTx/>
                  <a:ea typeface="+mn-ea"/>
                  <a:cs typeface="+mn-cs"/>
                </a:endParaRPr>
              </a:p>
            </p:txBody>
          </p:sp>
        </p:grpSp>
        <p:sp>
          <p:nvSpPr>
            <p:cNvPr id="223" name="TextBox 222"/>
            <p:cNvSpPr txBox="1"/>
            <p:nvPr/>
          </p:nvSpPr>
          <p:spPr>
            <a:xfrm>
              <a:off x="5670496" y="3240848"/>
              <a:ext cx="535053" cy="153888"/>
            </a:xfrm>
            <a:prstGeom prst="rect">
              <a:avLst/>
            </a:prstGeom>
            <a:noFill/>
            <a:ln w="6350">
              <a:noFill/>
              <a:prstDash val="dash"/>
            </a:ln>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effectLst/>
                  <a:uLnTx/>
                  <a:uFillTx/>
                  <a:ea typeface="+mn-ea"/>
                  <a:cs typeface="+mn-cs"/>
                </a:rPr>
                <a:t>download</a:t>
              </a:r>
            </a:p>
          </p:txBody>
        </p:sp>
      </p:grpSp>
      <p:grpSp>
        <p:nvGrpSpPr>
          <p:cNvPr id="243" name="Group 242"/>
          <p:cNvGrpSpPr/>
          <p:nvPr/>
        </p:nvGrpSpPr>
        <p:grpSpPr>
          <a:xfrm>
            <a:off x="9317631" y="4049296"/>
            <a:ext cx="360000" cy="360000"/>
            <a:chOff x="9317631" y="4049296"/>
            <a:chExt cx="360000" cy="360000"/>
          </a:xfrm>
        </p:grpSpPr>
        <p:sp>
          <p:nvSpPr>
            <p:cNvPr id="217" name="Oval 216"/>
            <p:cNvSpPr>
              <a:spLocks noChangeAspect="1"/>
            </p:cNvSpPr>
            <p:nvPr/>
          </p:nvSpPr>
          <p:spPr>
            <a:xfrm>
              <a:off x="9317631" y="4049296"/>
              <a:ext cx="360000" cy="360000"/>
            </a:xfrm>
            <a:prstGeom prst="ellipse">
              <a:avLst/>
            </a:prstGeom>
            <a:noFill/>
            <a:ln w="19050">
              <a:solidFill>
                <a:srgbClr val="AFABA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Calibri"/>
                <a:ea typeface="+mn-ea"/>
                <a:cs typeface="+mn-cs"/>
              </a:endParaRPr>
            </a:p>
          </p:txBody>
        </p:sp>
        <p:sp>
          <p:nvSpPr>
            <p:cNvPr id="218" name="Arc 217"/>
            <p:cNvSpPr>
              <a:spLocks noChangeAspect="1"/>
            </p:cNvSpPr>
            <p:nvPr/>
          </p:nvSpPr>
          <p:spPr>
            <a:xfrm>
              <a:off x="9317631" y="4049296"/>
              <a:ext cx="360000" cy="360000"/>
            </a:xfrm>
            <a:prstGeom prst="arc">
              <a:avLst>
                <a:gd name="adj1" fmla="val 16200000"/>
                <a:gd name="adj2" fmla="val 371458"/>
              </a:avLst>
            </a:prstGeom>
            <a:noFill/>
            <a:ln w="19050">
              <a:solidFill>
                <a:srgbClr val="3B393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Calibri"/>
                <a:ea typeface="+mn-ea"/>
                <a:cs typeface="+mn-cs"/>
              </a:endParaRPr>
            </a:p>
          </p:txBody>
        </p:sp>
      </p:grpSp>
      <p:sp>
        <p:nvSpPr>
          <p:cNvPr id="219" name="TextBox 218"/>
          <p:cNvSpPr txBox="1"/>
          <p:nvPr/>
        </p:nvSpPr>
        <p:spPr>
          <a:xfrm>
            <a:off x="9362621" y="4162052"/>
            <a:ext cx="293445" cy="153888"/>
          </a:xfrm>
          <a:prstGeom prst="rect">
            <a:avLst/>
          </a:prstGeom>
          <a:noFill/>
          <a:ln w="6350">
            <a:noFill/>
            <a:prstDash val="dash"/>
          </a:ln>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3B3939"/>
                </a:solidFill>
                <a:effectLst/>
                <a:uLnTx/>
                <a:uFillTx/>
                <a:ea typeface="+mn-ea"/>
                <a:cs typeface="+mn-cs"/>
              </a:rPr>
              <a:t>25%</a:t>
            </a:r>
          </a:p>
        </p:txBody>
      </p:sp>
      <p:grpSp>
        <p:nvGrpSpPr>
          <p:cNvPr id="212" name="Group 211"/>
          <p:cNvGrpSpPr/>
          <p:nvPr/>
        </p:nvGrpSpPr>
        <p:grpSpPr>
          <a:xfrm>
            <a:off x="9764126" y="4048412"/>
            <a:ext cx="598620" cy="361768"/>
            <a:chOff x="5638712" y="3032968"/>
            <a:chExt cx="598620" cy="361768"/>
          </a:xfrm>
        </p:grpSpPr>
        <p:grpSp>
          <p:nvGrpSpPr>
            <p:cNvPr id="213" name="Group 212"/>
            <p:cNvGrpSpPr/>
            <p:nvPr/>
          </p:nvGrpSpPr>
          <p:grpSpPr>
            <a:xfrm>
              <a:off x="5638712" y="3032968"/>
              <a:ext cx="598620" cy="215444"/>
              <a:chOff x="5638712" y="3032968"/>
              <a:chExt cx="598620" cy="215444"/>
            </a:xfrm>
          </p:grpSpPr>
          <p:sp>
            <p:nvSpPr>
              <p:cNvPr id="215" name="Freeform 8"/>
              <p:cNvSpPr>
                <a:spLocks noChangeAspect="1"/>
              </p:cNvSpPr>
              <p:nvPr/>
            </p:nvSpPr>
            <p:spPr bwMode="auto">
              <a:xfrm>
                <a:off x="6095514" y="3091599"/>
                <a:ext cx="141818" cy="98182"/>
              </a:xfrm>
              <a:custGeom>
                <a:avLst/>
                <a:gdLst>
                  <a:gd name="T0" fmla="*/ 95 w 96"/>
                  <a:gd name="T1" fmla="*/ 9 h 66"/>
                  <a:gd name="T2" fmla="*/ 85 w 96"/>
                  <a:gd name="T3" fmla="*/ 0 h 66"/>
                  <a:gd name="T4" fmla="*/ 84 w 96"/>
                  <a:gd name="T5" fmla="*/ 0 h 66"/>
                  <a:gd name="T6" fmla="*/ 82 w 96"/>
                  <a:gd name="T7" fmla="*/ 1 h 66"/>
                  <a:gd name="T8" fmla="*/ 48 w 96"/>
                  <a:gd name="T9" fmla="*/ 41 h 66"/>
                  <a:gd name="T10" fmla="*/ 14 w 96"/>
                  <a:gd name="T11" fmla="*/ 1 h 66"/>
                  <a:gd name="T12" fmla="*/ 13 w 96"/>
                  <a:gd name="T13" fmla="*/ 0 h 66"/>
                  <a:gd name="T14" fmla="*/ 11 w 96"/>
                  <a:gd name="T15" fmla="*/ 0 h 66"/>
                  <a:gd name="T16" fmla="*/ 1 w 96"/>
                  <a:gd name="T17" fmla="*/ 9 h 66"/>
                  <a:gd name="T18" fmla="*/ 0 w 96"/>
                  <a:gd name="T19" fmla="*/ 11 h 66"/>
                  <a:gd name="T20" fmla="*/ 1 w 96"/>
                  <a:gd name="T21" fmla="*/ 12 h 66"/>
                  <a:gd name="T22" fmla="*/ 47 w 96"/>
                  <a:gd name="T23" fmla="*/ 65 h 66"/>
                  <a:gd name="T24" fmla="*/ 48 w 96"/>
                  <a:gd name="T25" fmla="*/ 66 h 66"/>
                  <a:gd name="T26" fmla="*/ 50 w 96"/>
                  <a:gd name="T27" fmla="*/ 65 h 66"/>
                  <a:gd name="T28" fmla="*/ 96 w 96"/>
                  <a:gd name="T29" fmla="*/ 12 h 66"/>
                  <a:gd name="T30" fmla="*/ 96 w 96"/>
                  <a:gd name="T31" fmla="*/ 11 h 66"/>
                  <a:gd name="T32" fmla="*/ 95 w 96"/>
                  <a:gd name="T33" fmla="*/ 9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6" h="66">
                    <a:moveTo>
                      <a:pt x="95" y="9"/>
                    </a:moveTo>
                    <a:cubicBezTo>
                      <a:pt x="85" y="0"/>
                      <a:pt x="85" y="0"/>
                      <a:pt x="85" y="0"/>
                    </a:cubicBezTo>
                    <a:cubicBezTo>
                      <a:pt x="85" y="0"/>
                      <a:pt x="84" y="0"/>
                      <a:pt x="84" y="0"/>
                    </a:cubicBezTo>
                    <a:cubicBezTo>
                      <a:pt x="83" y="0"/>
                      <a:pt x="83" y="0"/>
                      <a:pt x="82" y="1"/>
                    </a:cubicBezTo>
                    <a:cubicBezTo>
                      <a:pt x="48" y="41"/>
                      <a:pt x="48" y="41"/>
                      <a:pt x="48" y="41"/>
                    </a:cubicBezTo>
                    <a:cubicBezTo>
                      <a:pt x="14" y="1"/>
                      <a:pt x="14" y="1"/>
                      <a:pt x="14" y="1"/>
                    </a:cubicBezTo>
                    <a:cubicBezTo>
                      <a:pt x="14" y="0"/>
                      <a:pt x="13" y="0"/>
                      <a:pt x="13" y="0"/>
                    </a:cubicBezTo>
                    <a:cubicBezTo>
                      <a:pt x="12" y="0"/>
                      <a:pt x="11" y="0"/>
                      <a:pt x="11" y="0"/>
                    </a:cubicBezTo>
                    <a:cubicBezTo>
                      <a:pt x="1" y="9"/>
                      <a:pt x="1" y="9"/>
                      <a:pt x="1" y="9"/>
                    </a:cubicBezTo>
                    <a:cubicBezTo>
                      <a:pt x="0" y="10"/>
                      <a:pt x="0" y="10"/>
                      <a:pt x="0" y="11"/>
                    </a:cubicBezTo>
                    <a:cubicBezTo>
                      <a:pt x="0" y="11"/>
                      <a:pt x="0" y="12"/>
                      <a:pt x="1" y="12"/>
                    </a:cubicBezTo>
                    <a:cubicBezTo>
                      <a:pt x="47" y="65"/>
                      <a:pt x="47" y="65"/>
                      <a:pt x="47" y="65"/>
                    </a:cubicBezTo>
                    <a:cubicBezTo>
                      <a:pt x="47" y="66"/>
                      <a:pt x="47" y="66"/>
                      <a:pt x="48" y="66"/>
                    </a:cubicBezTo>
                    <a:cubicBezTo>
                      <a:pt x="49" y="66"/>
                      <a:pt x="49" y="66"/>
                      <a:pt x="50" y="65"/>
                    </a:cubicBezTo>
                    <a:cubicBezTo>
                      <a:pt x="96" y="12"/>
                      <a:pt x="96" y="12"/>
                      <a:pt x="96" y="12"/>
                    </a:cubicBezTo>
                    <a:cubicBezTo>
                      <a:pt x="96" y="12"/>
                      <a:pt x="96" y="11"/>
                      <a:pt x="96" y="11"/>
                    </a:cubicBezTo>
                    <a:cubicBezTo>
                      <a:pt x="96" y="10"/>
                      <a:pt x="96" y="10"/>
                      <a:pt x="95" y="9"/>
                    </a:cubicBezTo>
                    <a:close/>
                  </a:path>
                </a:pathLst>
              </a:custGeom>
              <a:solidFill>
                <a:srgbClr val="3B3939"/>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16" name="TextBox 215"/>
              <p:cNvSpPr txBox="1"/>
              <p:nvPr/>
            </p:nvSpPr>
            <p:spPr>
              <a:xfrm>
                <a:off x="5638712" y="3032968"/>
                <a:ext cx="455807" cy="215444"/>
              </a:xfrm>
              <a:prstGeom prst="rect">
                <a:avLst/>
              </a:prstGeom>
              <a:noFill/>
              <a:ln w="6350">
                <a:noFill/>
                <a:prstDash val="dash"/>
              </a:ln>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effectLst/>
                    <a:uLnTx/>
                    <a:uFillTx/>
                    <a:ea typeface="+mn-ea"/>
                    <a:cs typeface="+mn-cs"/>
                  </a:rPr>
                  <a:t>339</a:t>
                </a:r>
                <a:endParaRPr kumimoji="0" lang="en-US" sz="1400" b="0" i="0" u="none" strike="noStrike" kern="1200" cap="none" spc="0" normalizeH="0" baseline="0" noProof="0" dirty="0">
                  <a:ln>
                    <a:noFill/>
                  </a:ln>
                  <a:effectLst/>
                  <a:uLnTx/>
                  <a:uFillTx/>
                  <a:ea typeface="+mn-ea"/>
                  <a:cs typeface="+mn-cs"/>
                </a:endParaRPr>
              </a:p>
            </p:txBody>
          </p:sp>
        </p:grpSp>
        <p:sp>
          <p:nvSpPr>
            <p:cNvPr id="214" name="TextBox 213"/>
            <p:cNvSpPr txBox="1"/>
            <p:nvPr/>
          </p:nvSpPr>
          <p:spPr>
            <a:xfrm>
              <a:off x="5670496" y="3240848"/>
              <a:ext cx="535053" cy="153888"/>
            </a:xfrm>
            <a:prstGeom prst="rect">
              <a:avLst/>
            </a:prstGeom>
            <a:noFill/>
            <a:ln w="6350">
              <a:noFill/>
              <a:prstDash val="dash"/>
            </a:ln>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effectLst/>
                  <a:uLnTx/>
                  <a:uFillTx/>
                  <a:ea typeface="+mn-ea"/>
                  <a:cs typeface="+mn-cs"/>
                </a:rPr>
                <a:t>download</a:t>
              </a:r>
            </a:p>
          </p:txBody>
        </p:sp>
      </p:grpSp>
      <p:grpSp>
        <p:nvGrpSpPr>
          <p:cNvPr id="205" name="Group 204"/>
          <p:cNvGrpSpPr/>
          <p:nvPr/>
        </p:nvGrpSpPr>
        <p:grpSpPr>
          <a:xfrm>
            <a:off x="6738166" y="1485843"/>
            <a:ext cx="3624580" cy="2335694"/>
            <a:chOff x="4986696" y="606068"/>
            <a:chExt cx="3624580" cy="2335694"/>
          </a:xfrm>
        </p:grpSpPr>
        <p:graphicFrame>
          <p:nvGraphicFramePr>
            <p:cNvPr id="206" name="Chart 205"/>
            <p:cNvGraphicFramePr/>
            <p:nvPr>
              <p:extLst>
                <p:ext uri="{D42A27DB-BD31-4B8C-83A1-F6EECF244321}">
                  <p14:modId xmlns:p14="http://schemas.microsoft.com/office/powerpoint/2010/main" val="702502959"/>
                </p:ext>
              </p:extLst>
            </p:nvPr>
          </p:nvGraphicFramePr>
          <p:xfrm>
            <a:off x="4986696" y="800223"/>
            <a:ext cx="3624580" cy="2141539"/>
          </p:xfrm>
          <a:graphic>
            <a:graphicData uri="http://schemas.openxmlformats.org/drawingml/2006/chart">
              <c:chart xmlns:c="http://schemas.openxmlformats.org/drawingml/2006/chart" xmlns:r="http://schemas.openxmlformats.org/officeDocument/2006/relationships" r:id="rId2"/>
            </a:graphicData>
          </a:graphic>
        </p:graphicFrame>
        <p:sp>
          <p:nvSpPr>
            <p:cNvPr id="207" name="TextBox 206"/>
            <p:cNvSpPr txBox="1"/>
            <p:nvPr/>
          </p:nvSpPr>
          <p:spPr>
            <a:xfrm>
              <a:off x="4986696" y="606068"/>
              <a:ext cx="3125633" cy="153888"/>
            </a:xfrm>
            <a:prstGeom prst="rect">
              <a:avLst/>
            </a:prstGeom>
            <a:noFill/>
            <a:ln w="6350">
              <a:noFill/>
              <a:prstDash val="dash"/>
            </a:ln>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lumMod val="65000"/>
                      <a:lumOff val="35000"/>
                    </a:prstClr>
                  </a:solidFill>
                  <a:effectLst/>
                  <a:uLnTx/>
                  <a:uFillTx/>
                  <a:latin typeface="Calibri"/>
                  <a:ea typeface="+mn-ea"/>
                  <a:cs typeface="+mn-cs"/>
                </a:rPr>
                <a:t>STATISTICS</a:t>
              </a:r>
              <a:endParaRPr kumimoji="0" lang="en-US" sz="1000" b="0" i="0" u="none" strike="noStrike" kern="1200" cap="none" spc="0" normalizeH="0" baseline="0" noProof="0" dirty="0">
                <a:ln>
                  <a:noFill/>
                </a:ln>
                <a:solidFill>
                  <a:prstClr val="black">
                    <a:lumMod val="65000"/>
                    <a:lumOff val="35000"/>
                  </a:prstClr>
                </a:solidFill>
                <a:effectLst/>
                <a:uLnTx/>
                <a:uFillTx/>
                <a:latin typeface="Calibri"/>
                <a:ea typeface="+mn-ea"/>
                <a:cs typeface="+mn-cs"/>
              </a:endParaRPr>
            </a:p>
          </p:txBody>
        </p:sp>
      </p:grpSp>
    </p:spTree>
    <p:extLst>
      <p:ext uri="{BB962C8B-B14F-4D97-AF65-F5344CB8AC3E}">
        <p14:creationId xmlns:p14="http://schemas.microsoft.com/office/powerpoint/2010/main" val="228891943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en-US" dirty="0"/>
              <a:t>PowerPoint Presentation</a:t>
            </a:r>
          </a:p>
        </p:txBody>
      </p:sp>
      <p:sp>
        <p:nvSpPr>
          <p:cNvPr id="3" name="Date Placeholder 2"/>
          <p:cNvSpPr>
            <a:spLocks noGrp="1"/>
          </p:cNvSpPr>
          <p:nvPr>
            <p:ph type="dt" sz="half" idx="10"/>
          </p:nvPr>
        </p:nvSpPr>
        <p:spPr/>
        <p:txBody>
          <a:bodyPr/>
          <a:lstStyle/>
          <a:p>
            <a:fld id="{C9852138-FCC6-44DD-9FFC-1C789392E7AA}" type="datetime1">
              <a:rPr lang="en-US" smtClean="0"/>
              <a:t>10/28/2022</a:t>
            </a:fld>
            <a:endParaRPr lang="en-US"/>
          </a:p>
        </p:txBody>
      </p:sp>
      <p:sp>
        <p:nvSpPr>
          <p:cNvPr id="4" name="Slide Number Placeholder 3"/>
          <p:cNvSpPr>
            <a:spLocks noGrp="1"/>
          </p:cNvSpPr>
          <p:nvPr>
            <p:ph type="sldNum" sz="quarter" idx="12"/>
          </p:nvPr>
        </p:nvSpPr>
        <p:spPr/>
        <p:txBody>
          <a:bodyPr/>
          <a:lstStyle/>
          <a:p>
            <a:fld id="{03206E70-9524-410D-AE9B-78D656EAA14D}" type="slidenum">
              <a:rPr lang="en-US" smtClean="0"/>
              <a:pPr/>
              <a:t>14</a:t>
            </a:fld>
            <a:endParaRPr lang="en-US"/>
          </a:p>
        </p:txBody>
      </p:sp>
      <p:cxnSp>
        <p:nvCxnSpPr>
          <p:cNvPr id="6" name="Straight Connector 5"/>
          <p:cNvCxnSpPr/>
          <p:nvPr/>
        </p:nvCxnSpPr>
        <p:spPr>
          <a:xfrm>
            <a:off x="4430539" y="1853370"/>
            <a:ext cx="902378" cy="0"/>
          </a:xfrm>
          <a:prstGeom prst="line">
            <a:avLst/>
          </a:prstGeom>
          <a:ln w="12700">
            <a:solidFill>
              <a:schemeClr val="tx1">
                <a:lumMod val="75000"/>
                <a:lumOff val="25000"/>
              </a:schemeClr>
            </a:solidFill>
            <a:tailEnd type="oval"/>
          </a:ln>
        </p:spPr>
        <p:style>
          <a:lnRef idx="1">
            <a:schemeClr val="accent1"/>
          </a:lnRef>
          <a:fillRef idx="0">
            <a:schemeClr val="accent1"/>
          </a:fillRef>
          <a:effectRef idx="0">
            <a:schemeClr val="accent1"/>
          </a:effectRef>
          <a:fontRef idx="minor">
            <a:schemeClr val="tx1"/>
          </a:fontRef>
        </p:style>
      </p:cxnSp>
      <p:grpSp>
        <p:nvGrpSpPr>
          <p:cNvPr id="7" name="Group 6"/>
          <p:cNvGrpSpPr/>
          <p:nvPr/>
        </p:nvGrpSpPr>
        <p:grpSpPr>
          <a:xfrm>
            <a:off x="5476234" y="1699997"/>
            <a:ext cx="2608885" cy="648645"/>
            <a:chOff x="3922909" y="1906532"/>
            <a:chExt cx="2608885" cy="648645"/>
          </a:xfrm>
        </p:grpSpPr>
        <p:sp>
          <p:nvSpPr>
            <p:cNvPr id="78" name="TextBox 77"/>
            <p:cNvSpPr txBox="1"/>
            <p:nvPr/>
          </p:nvSpPr>
          <p:spPr>
            <a:xfrm>
              <a:off x="3922909" y="2093512"/>
              <a:ext cx="2608885" cy="461665"/>
            </a:xfrm>
            <a:prstGeom prst="rect">
              <a:avLst/>
            </a:prstGeom>
            <a:noFill/>
            <a:ln w="6350">
              <a:noFill/>
              <a:prstDash val="dash"/>
            </a:ln>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effectLst/>
                  <a:uLnTx/>
                  <a:uFillTx/>
                  <a:ea typeface="+mn-ea"/>
                  <a:cs typeface="+mn-cs"/>
                </a:rPr>
                <a:t>Lorem </a:t>
              </a:r>
              <a:r>
                <a:rPr kumimoji="0" lang="en-US" sz="1000" b="0" i="0" u="none" strike="noStrike" kern="1200" cap="none" spc="0" normalizeH="0" baseline="0" noProof="0" dirty="0" err="1">
                  <a:ln>
                    <a:noFill/>
                  </a:ln>
                  <a:effectLst/>
                  <a:uLnTx/>
                  <a:uFillTx/>
                  <a:ea typeface="+mn-ea"/>
                  <a:cs typeface="+mn-cs"/>
                </a:rPr>
                <a:t>Ipsum</a:t>
              </a:r>
              <a:r>
                <a:rPr kumimoji="0" lang="en-US" sz="1000" b="0" i="0" u="none" strike="noStrike" kern="1200" cap="none" spc="0" normalizeH="0" baseline="0" noProof="0" dirty="0">
                  <a:ln>
                    <a:noFill/>
                  </a:ln>
                  <a:effectLst/>
                  <a:uLnTx/>
                  <a:uFillTx/>
                  <a:ea typeface="+mn-ea"/>
                  <a:cs typeface="+mn-cs"/>
                </a:rPr>
                <a:t> is simply dummy text of the printing and typesetting industry. Lorem </a:t>
              </a:r>
              <a:r>
                <a:rPr kumimoji="0" lang="en-US" sz="1000" b="0" i="0" u="none" strike="noStrike" kern="1200" cap="none" spc="0" normalizeH="0" baseline="0" noProof="0" dirty="0" err="1">
                  <a:ln>
                    <a:noFill/>
                  </a:ln>
                  <a:effectLst/>
                  <a:uLnTx/>
                  <a:uFillTx/>
                  <a:ea typeface="+mn-ea"/>
                  <a:cs typeface="+mn-cs"/>
                </a:rPr>
                <a:t>Ipsum</a:t>
              </a:r>
              <a:r>
                <a:rPr kumimoji="0" lang="en-US" sz="1000" b="0" i="0" u="none" strike="noStrike" kern="1200" cap="none" spc="0" normalizeH="0" baseline="0" noProof="0" dirty="0">
                  <a:ln>
                    <a:noFill/>
                  </a:ln>
                  <a:effectLst/>
                  <a:uLnTx/>
                  <a:uFillTx/>
                  <a:ea typeface="+mn-ea"/>
                  <a:cs typeface="+mn-cs"/>
                </a:rPr>
                <a:t> has been the industry's standard dummy text.</a:t>
              </a:r>
            </a:p>
          </p:txBody>
        </p:sp>
        <p:sp>
          <p:nvSpPr>
            <p:cNvPr id="79" name="TextBox 78"/>
            <p:cNvSpPr txBox="1"/>
            <p:nvPr/>
          </p:nvSpPr>
          <p:spPr>
            <a:xfrm>
              <a:off x="3922909" y="1906532"/>
              <a:ext cx="1099884" cy="184666"/>
            </a:xfrm>
            <a:prstGeom prst="rect">
              <a:avLst/>
            </a:prstGeom>
            <a:noFill/>
            <a:ln w="6350">
              <a:noFill/>
              <a:prstDash val="dash"/>
            </a:ln>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E2583D"/>
                  </a:solidFill>
                  <a:effectLst/>
                  <a:uLnTx/>
                  <a:uFillTx/>
                  <a:ea typeface="+mn-ea"/>
                  <a:cs typeface="+mn-cs"/>
                </a:rPr>
                <a:t>LOREM IPSUM</a:t>
              </a:r>
            </a:p>
          </p:txBody>
        </p:sp>
      </p:grpSp>
      <p:cxnSp>
        <p:nvCxnSpPr>
          <p:cNvPr id="8" name="Straight Connector 7"/>
          <p:cNvCxnSpPr/>
          <p:nvPr/>
        </p:nvCxnSpPr>
        <p:spPr>
          <a:xfrm>
            <a:off x="4997630" y="2813734"/>
            <a:ext cx="902378" cy="0"/>
          </a:xfrm>
          <a:prstGeom prst="line">
            <a:avLst/>
          </a:prstGeom>
          <a:ln w="12700">
            <a:solidFill>
              <a:schemeClr val="tx1">
                <a:lumMod val="75000"/>
                <a:lumOff val="25000"/>
              </a:schemeClr>
            </a:solidFill>
            <a:tailEnd type="oval"/>
          </a:ln>
        </p:spPr>
        <p:style>
          <a:lnRef idx="1">
            <a:schemeClr val="accent1"/>
          </a:lnRef>
          <a:fillRef idx="0">
            <a:schemeClr val="accent1"/>
          </a:fillRef>
          <a:effectRef idx="0">
            <a:schemeClr val="accent1"/>
          </a:effectRef>
          <a:fontRef idx="minor">
            <a:schemeClr val="tx1"/>
          </a:fontRef>
        </p:style>
      </p:cxnSp>
      <p:grpSp>
        <p:nvGrpSpPr>
          <p:cNvPr id="9" name="Group 8"/>
          <p:cNvGrpSpPr/>
          <p:nvPr/>
        </p:nvGrpSpPr>
        <p:grpSpPr>
          <a:xfrm>
            <a:off x="6043325" y="2660361"/>
            <a:ext cx="2608885" cy="648645"/>
            <a:chOff x="4490000" y="2866896"/>
            <a:chExt cx="2608885" cy="648645"/>
          </a:xfrm>
        </p:grpSpPr>
        <p:sp>
          <p:nvSpPr>
            <p:cNvPr id="76" name="TextBox 75"/>
            <p:cNvSpPr txBox="1"/>
            <p:nvPr/>
          </p:nvSpPr>
          <p:spPr>
            <a:xfrm>
              <a:off x="4490000" y="3053876"/>
              <a:ext cx="2608885" cy="461665"/>
            </a:xfrm>
            <a:prstGeom prst="rect">
              <a:avLst/>
            </a:prstGeom>
            <a:noFill/>
            <a:ln w="6350">
              <a:noFill/>
              <a:prstDash val="dash"/>
            </a:ln>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effectLst/>
                  <a:uLnTx/>
                  <a:uFillTx/>
                  <a:ea typeface="+mn-ea"/>
                  <a:cs typeface="+mn-cs"/>
                </a:rPr>
                <a:t>Lorem </a:t>
              </a:r>
              <a:r>
                <a:rPr kumimoji="0" lang="en-US" sz="1000" b="0" i="0" u="none" strike="noStrike" kern="1200" cap="none" spc="0" normalizeH="0" baseline="0" noProof="0" dirty="0" err="1">
                  <a:ln>
                    <a:noFill/>
                  </a:ln>
                  <a:effectLst/>
                  <a:uLnTx/>
                  <a:uFillTx/>
                  <a:ea typeface="+mn-ea"/>
                  <a:cs typeface="+mn-cs"/>
                </a:rPr>
                <a:t>Ipsum</a:t>
              </a:r>
              <a:r>
                <a:rPr kumimoji="0" lang="en-US" sz="1000" b="0" i="0" u="none" strike="noStrike" kern="1200" cap="none" spc="0" normalizeH="0" baseline="0" noProof="0" dirty="0">
                  <a:ln>
                    <a:noFill/>
                  </a:ln>
                  <a:effectLst/>
                  <a:uLnTx/>
                  <a:uFillTx/>
                  <a:ea typeface="+mn-ea"/>
                  <a:cs typeface="+mn-cs"/>
                </a:rPr>
                <a:t> is simply dummy text of the printing and typesetting industry. Lorem </a:t>
              </a:r>
              <a:r>
                <a:rPr kumimoji="0" lang="en-US" sz="1000" b="0" i="0" u="none" strike="noStrike" kern="1200" cap="none" spc="0" normalizeH="0" baseline="0" noProof="0" dirty="0" err="1">
                  <a:ln>
                    <a:noFill/>
                  </a:ln>
                  <a:effectLst/>
                  <a:uLnTx/>
                  <a:uFillTx/>
                  <a:ea typeface="+mn-ea"/>
                  <a:cs typeface="+mn-cs"/>
                </a:rPr>
                <a:t>Ipsum</a:t>
              </a:r>
              <a:r>
                <a:rPr kumimoji="0" lang="en-US" sz="1000" b="0" i="0" u="none" strike="noStrike" kern="1200" cap="none" spc="0" normalizeH="0" baseline="0" noProof="0" dirty="0">
                  <a:ln>
                    <a:noFill/>
                  </a:ln>
                  <a:effectLst/>
                  <a:uLnTx/>
                  <a:uFillTx/>
                  <a:ea typeface="+mn-ea"/>
                  <a:cs typeface="+mn-cs"/>
                </a:rPr>
                <a:t> has been the industry's standard dummy text.</a:t>
              </a:r>
            </a:p>
          </p:txBody>
        </p:sp>
        <p:sp>
          <p:nvSpPr>
            <p:cNvPr id="77" name="TextBox 76"/>
            <p:cNvSpPr txBox="1"/>
            <p:nvPr/>
          </p:nvSpPr>
          <p:spPr>
            <a:xfrm>
              <a:off x="4490000" y="2866896"/>
              <a:ext cx="1099884" cy="184666"/>
            </a:xfrm>
            <a:prstGeom prst="rect">
              <a:avLst/>
            </a:prstGeom>
            <a:noFill/>
            <a:ln w="6350">
              <a:noFill/>
              <a:prstDash val="dash"/>
            </a:ln>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AFABAB"/>
                  </a:solidFill>
                  <a:effectLst/>
                  <a:uLnTx/>
                  <a:uFillTx/>
                  <a:ea typeface="+mn-ea"/>
                  <a:cs typeface="+mn-cs"/>
                </a:rPr>
                <a:t>LOREM IPSUM</a:t>
              </a:r>
            </a:p>
          </p:txBody>
        </p:sp>
      </p:grpSp>
      <p:cxnSp>
        <p:nvCxnSpPr>
          <p:cNvPr id="10" name="Straight Connector 9"/>
          <p:cNvCxnSpPr/>
          <p:nvPr/>
        </p:nvCxnSpPr>
        <p:spPr>
          <a:xfrm>
            <a:off x="5474211" y="3681052"/>
            <a:ext cx="902378" cy="0"/>
          </a:xfrm>
          <a:prstGeom prst="line">
            <a:avLst/>
          </a:prstGeom>
          <a:ln w="12700">
            <a:solidFill>
              <a:schemeClr val="tx1">
                <a:lumMod val="75000"/>
                <a:lumOff val="25000"/>
              </a:schemeClr>
            </a:solidFill>
            <a:tailEnd type="oval"/>
          </a:ln>
        </p:spPr>
        <p:style>
          <a:lnRef idx="1">
            <a:schemeClr val="accent1"/>
          </a:lnRef>
          <a:fillRef idx="0">
            <a:schemeClr val="accent1"/>
          </a:fillRef>
          <a:effectRef idx="0">
            <a:schemeClr val="accent1"/>
          </a:effectRef>
          <a:fontRef idx="minor">
            <a:schemeClr val="tx1"/>
          </a:fontRef>
        </p:style>
      </p:cxnSp>
      <p:grpSp>
        <p:nvGrpSpPr>
          <p:cNvPr id="11" name="Group 10"/>
          <p:cNvGrpSpPr/>
          <p:nvPr/>
        </p:nvGrpSpPr>
        <p:grpSpPr>
          <a:xfrm>
            <a:off x="6519906" y="3527679"/>
            <a:ext cx="2608885" cy="648645"/>
            <a:chOff x="4966581" y="3734214"/>
            <a:chExt cx="2608885" cy="648645"/>
          </a:xfrm>
        </p:grpSpPr>
        <p:sp>
          <p:nvSpPr>
            <p:cNvPr id="74" name="TextBox 73"/>
            <p:cNvSpPr txBox="1"/>
            <p:nvPr/>
          </p:nvSpPr>
          <p:spPr>
            <a:xfrm>
              <a:off x="4966581" y="3921194"/>
              <a:ext cx="2608885" cy="461665"/>
            </a:xfrm>
            <a:prstGeom prst="rect">
              <a:avLst/>
            </a:prstGeom>
            <a:noFill/>
            <a:ln w="6350">
              <a:noFill/>
              <a:prstDash val="dash"/>
            </a:ln>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effectLst/>
                  <a:uLnTx/>
                  <a:uFillTx/>
                  <a:ea typeface="+mn-ea"/>
                  <a:cs typeface="+mn-cs"/>
                </a:rPr>
                <a:t>Lorem </a:t>
              </a:r>
              <a:r>
                <a:rPr kumimoji="0" lang="en-US" sz="1000" b="0" i="0" u="none" strike="noStrike" kern="1200" cap="none" spc="0" normalizeH="0" baseline="0" noProof="0" dirty="0" err="1">
                  <a:ln>
                    <a:noFill/>
                  </a:ln>
                  <a:effectLst/>
                  <a:uLnTx/>
                  <a:uFillTx/>
                  <a:ea typeface="+mn-ea"/>
                  <a:cs typeface="+mn-cs"/>
                </a:rPr>
                <a:t>Ipsum</a:t>
              </a:r>
              <a:r>
                <a:rPr kumimoji="0" lang="en-US" sz="1000" b="0" i="0" u="none" strike="noStrike" kern="1200" cap="none" spc="0" normalizeH="0" baseline="0" noProof="0" dirty="0">
                  <a:ln>
                    <a:noFill/>
                  </a:ln>
                  <a:effectLst/>
                  <a:uLnTx/>
                  <a:uFillTx/>
                  <a:ea typeface="+mn-ea"/>
                  <a:cs typeface="+mn-cs"/>
                </a:rPr>
                <a:t> is simply dummy text of the printing and typesetting industry. Lorem </a:t>
              </a:r>
              <a:r>
                <a:rPr kumimoji="0" lang="en-US" sz="1000" b="0" i="0" u="none" strike="noStrike" kern="1200" cap="none" spc="0" normalizeH="0" baseline="0" noProof="0" dirty="0" err="1">
                  <a:ln>
                    <a:noFill/>
                  </a:ln>
                  <a:effectLst/>
                  <a:uLnTx/>
                  <a:uFillTx/>
                  <a:ea typeface="+mn-ea"/>
                  <a:cs typeface="+mn-cs"/>
                </a:rPr>
                <a:t>Ipsum</a:t>
              </a:r>
              <a:r>
                <a:rPr kumimoji="0" lang="en-US" sz="1000" b="0" i="0" u="none" strike="noStrike" kern="1200" cap="none" spc="0" normalizeH="0" baseline="0" noProof="0" dirty="0">
                  <a:ln>
                    <a:noFill/>
                  </a:ln>
                  <a:effectLst/>
                  <a:uLnTx/>
                  <a:uFillTx/>
                  <a:ea typeface="+mn-ea"/>
                  <a:cs typeface="+mn-cs"/>
                </a:rPr>
                <a:t> has been the industry's standard dummy text.</a:t>
              </a:r>
            </a:p>
          </p:txBody>
        </p:sp>
        <p:sp>
          <p:nvSpPr>
            <p:cNvPr id="75" name="TextBox 74"/>
            <p:cNvSpPr txBox="1"/>
            <p:nvPr/>
          </p:nvSpPr>
          <p:spPr>
            <a:xfrm>
              <a:off x="4966581" y="3734214"/>
              <a:ext cx="1099884" cy="184666"/>
            </a:xfrm>
            <a:prstGeom prst="rect">
              <a:avLst/>
            </a:prstGeom>
            <a:noFill/>
            <a:ln w="6350">
              <a:noFill/>
              <a:prstDash val="dash"/>
            </a:ln>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78D2D2"/>
                  </a:solidFill>
                  <a:effectLst/>
                  <a:uLnTx/>
                  <a:uFillTx/>
                  <a:ea typeface="+mn-ea"/>
                  <a:cs typeface="+mn-cs"/>
                </a:rPr>
                <a:t>LOREM IPSUM</a:t>
              </a:r>
            </a:p>
          </p:txBody>
        </p:sp>
      </p:grpSp>
      <p:cxnSp>
        <p:nvCxnSpPr>
          <p:cNvPr id="12" name="Straight Connector 11"/>
          <p:cNvCxnSpPr/>
          <p:nvPr/>
        </p:nvCxnSpPr>
        <p:spPr>
          <a:xfrm>
            <a:off x="5997058" y="4642225"/>
            <a:ext cx="902378" cy="0"/>
          </a:xfrm>
          <a:prstGeom prst="line">
            <a:avLst/>
          </a:prstGeom>
          <a:ln w="12700">
            <a:solidFill>
              <a:schemeClr val="tx1">
                <a:lumMod val="75000"/>
                <a:lumOff val="25000"/>
              </a:schemeClr>
            </a:solidFill>
            <a:tailEnd type="oval"/>
          </a:ln>
        </p:spPr>
        <p:style>
          <a:lnRef idx="1">
            <a:schemeClr val="accent1"/>
          </a:lnRef>
          <a:fillRef idx="0">
            <a:schemeClr val="accent1"/>
          </a:fillRef>
          <a:effectRef idx="0">
            <a:schemeClr val="accent1"/>
          </a:effectRef>
          <a:fontRef idx="minor">
            <a:schemeClr val="tx1"/>
          </a:fontRef>
        </p:style>
      </p:cxnSp>
      <p:grpSp>
        <p:nvGrpSpPr>
          <p:cNvPr id="13" name="Group 12"/>
          <p:cNvGrpSpPr/>
          <p:nvPr/>
        </p:nvGrpSpPr>
        <p:grpSpPr>
          <a:xfrm>
            <a:off x="7042753" y="4488852"/>
            <a:ext cx="2608885" cy="648645"/>
            <a:chOff x="5489428" y="4695387"/>
            <a:chExt cx="2608885" cy="648645"/>
          </a:xfrm>
        </p:grpSpPr>
        <p:sp>
          <p:nvSpPr>
            <p:cNvPr id="72" name="TextBox 71"/>
            <p:cNvSpPr txBox="1"/>
            <p:nvPr/>
          </p:nvSpPr>
          <p:spPr>
            <a:xfrm>
              <a:off x="5489428" y="4882367"/>
              <a:ext cx="2608885" cy="461665"/>
            </a:xfrm>
            <a:prstGeom prst="rect">
              <a:avLst/>
            </a:prstGeom>
            <a:noFill/>
            <a:ln w="6350">
              <a:noFill/>
              <a:prstDash val="dash"/>
            </a:ln>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effectLst/>
                  <a:uLnTx/>
                  <a:uFillTx/>
                  <a:ea typeface="+mn-ea"/>
                  <a:cs typeface="+mn-cs"/>
                </a:rPr>
                <a:t>Lorem </a:t>
              </a:r>
              <a:r>
                <a:rPr kumimoji="0" lang="en-US" sz="1000" b="0" i="0" u="none" strike="noStrike" kern="1200" cap="none" spc="0" normalizeH="0" baseline="0" noProof="0" dirty="0" err="1">
                  <a:ln>
                    <a:noFill/>
                  </a:ln>
                  <a:effectLst/>
                  <a:uLnTx/>
                  <a:uFillTx/>
                  <a:ea typeface="+mn-ea"/>
                  <a:cs typeface="+mn-cs"/>
                </a:rPr>
                <a:t>Ipsum</a:t>
              </a:r>
              <a:r>
                <a:rPr kumimoji="0" lang="en-US" sz="1000" b="0" i="0" u="none" strike="noStrike" kern="1200" cap="none" spc="0" normalizeH="0" baseline="0" noProof="0" dirty="0">
                  <a:ln>
                    <a:noFill/>
                  </a:ln>
                  <a:effectLst/>
                  <a:uLnTx/>
                  <a:uFillTx/>
                  <a:ea typeface="+mn-ea"/>
                  <a:cs typeface="+mn-cs"/>
                </a:rPr>
                <a:t> is simply dummy text of the printing and typesetting industry. Lorem </a:t>
              </a:r>
              <a:r>
                <a:rPr kumimoji="0" lang="en-US" sz="1000" b="0" i="0" u="none" strike="noStrike" kern="1200" cap="none" spc="0" normalizeH="0" baseline="0" noProof="0" dirty="0" err="1">
                  <a:ln>
                    <a:noFill/>
                  </a:ln>
                  <a:effectLst/>
                  <a:uLnTx/>
                  <a:uFillTx/>
                  <a:ea typeface="+mn-ea"/>
                  <a:cs typeface="+mn-cs"/>
                </a:rPr>
                <a:t>Ipsum</a:t>
              </a:r>
              <a:r>
                <a:rPr kumimoji="0" lang="en-US" sz="1000" b="0" i="0" u="none" strike="noStrike" kern="1200" cap="none" spc="0" normalizeH="0" baseline="0" noProof="0" dirty="0">
                  <a:ln>
                    <a:noFill/>
                  </a:ln>
                  <a:effectLst/>
                  <a:uLnTx/>
                  <a:uFillTx/>
                  <a:ea typeface="+mn-ea"/>
                  <a:cs typeface="+mn-cs"/>
                </a:rPr>
                <a:t> has been the industry's standard dummy text.</a:t>
              </a:r>
            </a:p>
          </p:txBody>
        </p:sp>
        <p:sp>
          <p:nvSpPr>
            <p:cNvPr id="73" name="TextBox 72"/>
            <p:cNvSpPr txBox="1"/>
            <p:nvPr/>
          </p:nvSpPr>
          <p:spPr>
            <a:xfrm>
              <a:off x="5489428" y="4695387"/>
              <a:ext cx="1099884" cy="184666"/>
            </a:xfrm>
            <a:prstGeom prst="rect">
              <a:avLst/>
            </a:prstGeom>
            <a:noFill/>
            <a:ln w="6350">
              <a:noFill/>
              <a:prstDash val="dash"/>
            </a:ln>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3B3939"/>
                  </a:solidFill>
                  <a:effectLst/>
                  <a:uLnTx/>
                  <a:uFillTx/>
                  <a:ea typeface="+mn-ea"/>
                  <a:cs typeface="+mn-cs"/>
                </a:rPr>
                <a:t>LOREM IPSUM</a:t>
              </a:r>
            </a:p>
          </p:txBody>
        </p:sp>
      </p:grpSp>
      <p:cxnSp>
        <p:nvCxnSpPr>
          <p:cNvPr id="14" name="Straight Connector 13"/>
          <p:cNvCxnSpPr/>
          <p:nvPr/>
        </p:nvCxnSpPr>
        <p:spPr>
          <a:xfrm>
            <a:off x="6555931" y="5605725"/>
            <a:ext cx="902378" cy="0"/>
          </a:xfrm>
          <a:prstGeom prst="line">
            <a:avLst/>
          </a:prstGeom>
          <a:ln w="12700">
            <a:solidFill>
              <a:schemeClr val="tx1">
                <a:lumMod val="75000"/>
                <a:lumOff val="25000"/>
              </a:schemeClr>
            </a:solidFill>
            <a:tailEnd type="oval"/>
          </a:ln>
        </p:spPr>
        <p:style>
          <a:lnRef idx="1">
            <a:schemeClr val="accent1"/>
          </a:lnRef>
          <a:fillRef idx="0">
            <a:schemeClr val="accent1"/>
          </a:fillRef>
          <a:effectRef idx="0">
            <a:schemeClr val="accent1"/>
          </a:effectRef>
          <a:fontRef idx="minor">
            <a:schemeClr val="tx1"/>
          </a:fontRef>
        </p:style>
      </p:cxnSp>
      <p:grpSp>
        <p:nvGrpSpPr>
          <p:cNvPr id="15" name="Group 14"/>
          <p:cNvGrpSpPr/>
          <p:nvPr/>
        </p:nvGrpSpPr>
        <p:grpSpPr>
          <a:xfrm>
            <a:off x="7601626" y="5452352"/>
            <a:ext cx="2608885" cy="648645"/>
            <a:chOff x="6048301" y="5658887"/>
            <a:chExt cx="2608885" cy="648645"/>
          </a:xfrm>
        </p:grpSpPr>
        <p:sp>
          <p:nvSpPr>
            <p:cNvPr id="70" name="TextBox 69"/>
            <p:cNvSpPr txBox="1"/>
            <p:nvPr/>
          </p:nvSpPr>
          <p:spPr>
            <a:xfrm>
              <a:off x="6048301" y="5845867"/>
              <a:ext cx="2608885" cy="461665"/>
            </a:xfrm>
            <a:prstGeom prst="rect">
              <a:avLst/>
            </a:prstGeom>
            <a:noFill/>
            <a:ln w="6350">
              <a:noFill/>
              <a:prstDash val="dash"/>
            </a:ln>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effectLst/>
                  <a:uLnTx/>
                  <a:uFillTx/>
                  <a:ea typeface="+mn-ea"/>
                  <a:cs typeface="+mn-cs"/>
                </a:rPr>
                <a:t>Lorem </a:t>
              </a:r>
              <a:r>
                <a:rPr kumimoji="0" lang="en-US" sz="1000" b="0" i="0" u="none" strike="noStrike" kern="1200" cap="none" spc="0" normalizeH="0" baseline="0" noProof="0" dirty="0" err="1">
                  <a:ln>
                    <a:noFill/>
                  </a:ln>
                  <a:effectLst/>
                  <a:uLnTx/>
                  <a:uFillTx/>
                  <a:ea typeface="+mn-ea"/>
                  <a:cs typeface="+mn-cs"/>
                </a:rPr>
                <a:t>Ipsum</a:t>
              </a:r>
              <a:r>
                <a:rPr kumimoji="0" lang="en-US" sz="1000" b="0" i="0" u="none" strike="noStrike" kern="1200" cap="none" spc="0" normalizeH="0" baseline="0" noProof="0" dirty="0">
                  <a:ln>
                    <a:noFill/>
                  </a:ln>
                  <a:effectLst/>
                  <a:uLnTx/>
                  <a:uFillTx/>
                  <a:ea typeface="+mn-ea"/>
                  <a:cs typeface="+mn-cs"/>
                </a:rPr>
                <a:t> is simply dummy text of the printing and typesetting industry. Lorem </a:t>
              </a:r>
              <a:r>
                <a:rPr kumimoji="0" lang="en-US" sz="1000" b="0" i="0" u="none" strike="noStrike" kern="1200" cap="none" spc="0" normalizeH="0" baseline="0" noProof="0" dirty="0" err="1">
                  <a:ln>
                    <a:noFill/>
                  </a:ln>
                  <a:effectLst/>
                  <a:uLnTx/>
                  <a:uFillTx/>
                  <a:ea typeface="+mn-ea"/>
                  <a:cs typeface="+mn-cs"/>
                </a:rPr>
                <a:t>Ipsum</a:t>
              </a:r>
              <a:r>
                <a:rPr kumimoji="0" lang="en-US" sz="1000" b="0" i="0" u="none" strike="noStrike" kern="1200" cap="none" spc="0" normalizeH="0" baseline="0" noProof="0" dirty="0">
                  <a:ln>
                    <a:noFill/>
                  </a:ln>
                  <a:effectLst/>
                  <a:uLnTx/>
                  <a:uFillTx/>
                  <a:ea typeface="+mn-ea"/>
                  <a:cs typeface="+mn-cs"/>
                </a:rPr>
                <a:t> has been the industry's standard dummy text.</a:t>
              </a:r>
            </a:p>
          </p:txBody>
        </p:sp>
        <p:sp>
          <p:nvSpPr>
            <p:cNvPr id="71" name="TextBox 70"/>
            <p:cNvSpPr txBox="1"/>
            <p:nvPr/>
          </p:nvSpPr>
          <p:spPr>
            <a:xfrm>
              <a:off x="6048301" y="5658887"/>
              <a:ext cx="1099884" cy="184666"/>
            </a:xfrm>
            <a:prstGeom prst="rect">
              <a:avLst/>
            </a:prstGeom>
            <a:noFill/>
            <a:ln w="6350">
              <a:noFill/>
              <a:prstDash val="dash"/>
            </a:ln>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E2583D"/>
                  </a:solidFill>
                  <a:effectLst/>
                  <a:uLnTx/>
                  <a:uFillTx/>
                  <a:ea typeface="+mn-ea"/>
                  <a:cs typeface="+mn-cs"/>
                </a:rPr>
                <a:t>LOREM IPSUM</a:t>
              </a:r>
            </a:p>
          </p:txBody>
        </p:sp>
      </p:grpSp>
      <p:grpSp>
        <p:nvGrpSpPr>
          <p:cNvPr id="16" name="Group 15"/>
          <p:cNvGrpSpPr/>
          <p:nvPr/>
        </p:nvGrpSpPr>
        <p:grpSpPr>
          <a:xfrm>
            <a:off x="3873303" y="1482564"/>
            <a:ext cx="920138" cy="1098905"/>
            <a:chOff x="2303504" y="1689099"/>
            <a:chExt cx="920138" cy="1098905"/>
          </a:xfrm>
        </p:grpSpPr>
        <p:sp>
          <p:nvSpPr>
            <p:cNvPr id="67" name="Freeform 5"/>
            <p:cNvSpPr>
              <a:spLocks/>
            </p:cNvSpPr>
            <p:nvPr/>
          </p:nvSpPr>
          <p:spPr bwMode="auto">
            <a:xfrm>
              <a:off x="2303504" y="2308609"/>
              <a:ext cx="920138" cy="479395"/>
            </a:xfrm>
            <a:custGeom>
              <a:avLst/>
              <a:gdLst>
                <a:gd name="T0" fmla="*/ 0 w 725"/>
                <a:gd name="T1" fmla="*/ 123 h 378"/>
                <a:gd name="T2" fmla="*/ 725 w 725"/>
                <a:gd name="T3" fmla="*/ 214 h 378"/>
                <a:gd name="T4" fmla="*/ 177 w 725"/>
                <a:gd name="T5" fmla="*/ 0 h 378"/>
                <a:gd name="T6" fmla="*/ 0 w 725"/>
                <a:gd name="T7" fmla="*/ 123 h 378"/>
                <a:gd name="T8" fmla="*/ 0 w 725"/>
                <a:gd name="T9" fmla="*/ 123 h 378"/>
              </a:gdLst>
              <a:ahLst/>
              <a:cxnLst>
                <a:cxn ang="0">
                  <a:pos x="T0" y="T1"/>
                </a:cxn>
                <a:cxn ang="0">
                  <a:pos x="T2" y="T3"/>
                </a:cxn>
                <a:cxn ang="0">
                  <a:pos x="T4" y="T5"/>
                </a:cxn>
                <a:cxn ang="0">
                  <a:pos x="T6" y="T7"/>
                </a:cxn>
                <a:cxn ang="0">
                  <a:pos x="T8" y="T9"/>
                </a:cxn>
              </a:cxnLst>
              <a:rect l="0" t="0" r="r" b="b"/>
              <a:pathLst>
                <a:path w="725" h="378">
                  <a:moveTo>
                    <a:pt x="0" y="123"/>
                  </a:moveTo>
                  <a:cubicBezTo>
                    <a:pt x="0" y="123"/>
                    <a:pt x="301" y="378"/>
                    <a:pt x="725" y="214"/>
                  </a:cubicBezTo>
                  <a:cubicBezTo>
                    <a:pt x="177" y="0"/>
                    <a:pt x="177" y="0"/>
                    <a:pt x="177" y="0"/>
                  </a:cubicBezTo>
                  <a:cubicBezTo>
                    <a:pt x="0" y="123"/>
                    <a:pt x="0" y="123"/>
                    <a:pt x="0" y="123"/>
                  </a:cubicBezTo>
                  <a:cubicBezTo>
                    <a:pt x="0" y="123"/>
                    <a:pt x="0" y="123"/>
                    <a:pt x="0" y="123"/>
                  </a:cubicBezTo>
                  <a:close/>
                </a:path>
              </a:pathLst>
            </a:custGeom>
            <a:solidFill>
              <a:srgbClr val="D63E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68" name="Freeform 6"/>
            <p:cNvSpPr>
              <a:spLocks/>
            </p:cNvSpPr>
            <p:nvPr/>
          </p:nvSpPr>
          <p:spPr bwMode="auto">
            <a:xfrm>
              <a:off x="2303504" y="1689099"/>
              <a:ext cx="420343" cy="775729"/>
            </a:xfrm>
            <a:custGeom>
              <a:avLst/>
              <a:gdLst>
                <a:gd name="T0" fmla="*/ 0 w 331"/>
                <a:gd name="T1" fmla="*/ 611 h 611"/>
                <a:gd name="T2" fmla="*/ 153 w 331"/>
                <a:gd name="T3" fmla="*/ 578 h 611"/>
                <a:gd name="T4" fmla="*/ 330 w 331"/>
                <a:gd name="T5" fmla="*/ 0 h 611"/>
                <a:gd name="T6" fmla="*/ 0 w 331"/>
                <a:gd name="T7" fmla="*/ 611 h 611"/>
                <a:gd name="T8" fmla="*/ 0 w 331"/>
                <a:gd name="T9" fmla="*/ 611 h 611"/>
              </a:gdLst>
              <a:ahLst/>
              <a:cxnLst>
                <a:cxn ang="0">
                  <a:pos x="T0" y="T1"/>
                </a:cxn>
                <a:cxn ang="0">
                  <a:pos x="T2" y="T3"/>
                </a:cxn>
                <a:cxn ang="0">
                  <a:pos x="T4" y="T5"/>
                </a:cxn>
                <a:cxn ang="0">
                  <a:pos x="T6" y="T7"/>
                </a:cxn>
                <a:cxn ang="0">
                  <a:pos x="T8" y="T9"/>
                </a:cxn>
              </a:cxnLst>
              <a:rect l="0" t="0" r="r" b="b"/>
              <a:pathLst>
                <a:path w="331" h="611">
                  <a:moveTo>
                    <a:pt x="0" y="611"/>
                  </a:moveTo>
                  <a:cubicBezTo>
                    <a:pt x="0" y="611"/>
                    <a:pt x="112" y="611"/>
                    <a:pt x="153" y="578"/>
                  </a:cubicBezTo>
                  <a:cubicBezTo>
                    <a:pt x="331" y="1"/>
                    <a:pt x="330" y="0"/>
                    <a:pt x="330" y="0"/>
                  </a:cubicBezTo>
                  <a:cubicBezTo>
                    <a:pt x="0" y="611"/>
                    <a:pt x="0" y="611"/>
                    <a:pt x="0" y="611"/>
                  </a:cubicBezTo>
                  <a:cubicBezTo>
                    <a:pt x="0" y="611"/>
                    <a:pt x="0" y="611"/>
                    <a:pt x="0" y="611"/>
                  </a:cubicBezTo>
                  <a:close/>
                </a:path>
              </a:pathLst>
            </a:custGeom>
            <a:solidFill>
              <a:srgbClr val="E2583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69" name="Freeform 7"/>
            <p:cNvSpPr>
              <a:spLocks/>
            </p:cNvSpPr>
            <p:nvPr/>
          </p:nvSpPr>
          <p:spPr bwMode="auto">
            <a:xfrm>
              <a:off x="2497839" y="1689099"/>
              <a:ext cx="725803" cy="1001201"/>
            </a:xfrm>
            <a:custGeom>
              <a:avLst/>
              <a:gdLst>
                <a:gd name="T0" fmla="*/ 572 w 572"/>
                <a:gd name="T1" fmla="*/ 702 h 789"/>
                <a:gd name="T2" fmla="*/ 177 w 572"/>
                <a:gd name="T3" fmla="*/ 0 h 789"/>
                <a:gd name="T4" fmla="*/ 0 w 572"/>
                <a:gd name="T5" fmla="*/ 578 h 789"/>
                <a:gd name="T6" fmla="*/ 572 w 572"/>
                <a:gd name="T7" fmla="*/ 702 h 789"/>
              </a:gdLst>
              <a:ahLst/>
              <a:cxnLst>
                <a:cxn ang="0">
                  <a:pos x="T0" y="T1"/>
                </a:cxn>
                <a:cxn ang="0">
                  <a:pos x="T2" y="T3"/>
                </a:cxn>
                <a:cxn ang="0">
                  <a:pos x="T4" y="T5"/>
                </a:cxn>
                <a:cxn ang="0">
                  <a:pos x="T6" y="T7"/>
                </a:cxn>
              </a:cxnLst>
              <a:rect l="0" t="0" r="r" b="b"/>
              <a:pathLst>
                <a:path w="572" h="789">
                  <a:moveTo>
                    <a:pt x="572" y="702"/>
                  </a:moveTo>
                  <a:cubicBezTo>
                    <a:pt x="177" y="0"/>
                    <a:pt x="177" y="0"/>
                    <a:pt x="177" y="0"/>
                  </a:cubicBezTo>
                  <a:cubicBezTo>
                    <a:pt x="0" y="578"/>
                    <a:pt x="0" y="578"/>
                    <a:pt x="0" y="578"/>
                  </a:cubicBezTo>
                  <a:cubicBezTo>
                    <a:pt x="0" y="578"/>
                    <a:pt x="317" y="789"/>
                    <a:pt x="572" y="702"/>
                  </a:cubicBezTo>
                  <a:close/>
                </a:path>
              </a:pathLst>
            </a:custGeom>
            <a:solidFill>
              <a:srgbClr val="E878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grpSp>
      <p:grpSp>
        <p:nvGrpSpPr>
          <p:cNvPr id="17" name="Group 16"/>
          <p:cNvGrpSpPr/>
          <p:nvPr/>
        </p:nvGrpSpPr>
        <p:grpSpPr>
          <a:xfrm>
            <a:off x="3401423" y="2296409"/>
            <a:ext cx="1906308" cy="1485964"/>
            <a:chOff x="1831624" y="2502944"/>
            <a:chExt cx="1906308" cy="1485964"/>
          </a:xfrm>
        </p:grpSpPr>
        <p:sp>
          <p:nvSpPr>
            <p:cNvPr id="64" name="Freeform 8"/>
            <p:cNvSpPr>
              <a:spLocks/>
            </p:cNvSpPr>
            <p:nvPr/>
          </p:nvSpPr>
          <p:spPr bwMode="auto">
            <a:xfrm>
              <a:off x="1831624" y="3059643"/>
              <a:ext cx="1906308" cy="929265"/>
            </a:xfrm>
            <a:custGeom>
              <a:avLst/>
              <a:gdLst>
                <a:gd name="T0" fmla="*/ 10 w 1502"/>
                <a:gd name="T1" fmla="*/ 207 h 732"/>
                <a:gd name="T2" fmla="*/ 1502 w 1502"/>
                <a:gd name="T3" fmla="*/ 348 h 732"/>
                <a:gd name="T4" fmla="*/ 751 w 1502"/>
                <a:gd name="T5" fmla="*/ 58 h 732"/>
                <a:gd name="T6" fmla="*/ 219 w 1502"/>
                <a:gd name="T7" fmla="*/ 0 h 732"/>
                <a:gd name="T8" fmla="*/ 10 w 1502"/>
                <a:gd name="T9" fmla="*/ 207 h 732"/>
                <a:gd name="T10" fmla="*/ 0 w 1502"/>
                <a:gd name="T11" fmla="*/ 207 h 732"/>
                <a:gd name="T12" fmla="*/ 10 w 1502"/>
                <a:gd name="T13" fmla="*/ 207 h 732"/>
              </a:gdLst>
              <a:ahLst/>
              <a:cxnLst>
                <a:cxn ang="0">
                  <a:pos x="T0" y="T1"/>
                </a:cxn>
                <a:cxn ang="0">
                  <a:pos x="T2" y="T3"/>
                </a:cxn>
                <a:cxn ang="0">
                  <a:pos x="T4" y="T5"/>
                </a:cxn>
                <a:cxn ang="0">
                  <a:pos x="T6" y="T7"/>
                </a:cxn>
                <a:cxn ang="0">
                  <a:pos x="T8" y="T9"/>
                </a:cxn>
                <a:cxn ang="0">
                  <a:pos x="T10" y="T11"/>
                </a:cxn>
                <a:cxn ang="0">
                  <a:pos x="T12" y="T13"/>
                </a:cxn>
              </a:cxnLst>
              <a:rect l="0" t="0" r="r" b="b"/>
              <a:pathLst>
                <a:path w="1502" h="732">
                  <a:moveTo>
                    <a:pt x="10" y="207"/>
                  </a:moveTo>
                  <a:cubicBezTo>
                    <a:pt x="10" y="207"/>
                    <a:pt x="796" y="732"/>
                    <a:pt x="1502" y="348"/>
                  </a:cubicBezTo>
                  <a:cubicBezTo>
                    <a:pt x="751" y="58"/>
                    <a:pt x="751" y="58"/>
                    <a:pt x="751" y="58"/>
                  </a:cubicBezTo>
                  <a:cubicBezTo>
                    <a:pt x="219" y="0"/>
                    <a:pt x="219" y="0"/>
                    <a:pt x="219" y="0"/>
                  </a:cubicBezTo>
                  <a:cubicBezTo>
                    <a:pt x="10" y="207"/>
                    <a:pt x="10" y="207"/>
                    <a:pt x="10" y="207"/>
                  </a:cubicBezTo>
                  <a:cubicBezTo>
                    <a:pt x="0" y="207"/>
                    <a:pt x="0" y="207"/>
                    <a:pt x="0" y="207"/>
                  </a:cubicBezTo>
                  <a:lnTo>
                    <a:pt x="10" y="207"/>
                  </a:lnTo>
                  <a:close/>
                </a:path>
              </a:pathLst>
            </a:custGeom>
            <a:solidFill>
              <a:srgbClr val="76717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65" name="Freeform 9"/>
            <p:cNvSpPr>
              <a:spLocks/>
            </p:cNvSpPr>
            <p:nvPr/>
          </p:nvSpPr>
          <p:spPr bwMode="auto">
            <a:xfrm>
              <a:off x="1844508" y="2502944"/>
              <a:ext cx="638299" cy="819750"/>
            </a:xfrm>
            <a:custGeom>
              <a:avLst/>
              <a:gdLst>
                <a:gd name="T0" fmla="*/ 330 w 503"/>
                <a:gd name="T1" fmla="*/ 45 h 646"/>
                <a:gd name="T2" fmla="*/ 503 w 503"/>
                <a:gd name="T3" fmla="*/ 0 h 646"/>
                <a:gd name="T4" fmla="*/ 330 w 503"/>
                <a:gd name="T5" fmla="*/ 568 h 646"/>
                <a:gd name="T6" fmla="*/ 0 w 503"/>
                <a:gd name="T7" fmla="*/ 646 h 646"/>
                <a:gd name="T8" fmla="*/ 330 w 503"/>
                <a:gd name="T9" fmla="*/ 45 h 646"/>
                <a:gd name="T10" fmla="*/ 330 w 503"/>
                <a:gd name="T11" fmla="*/ 45 h 646"/>
              </a:gdLst>
              <a:ahLst/>
              <a:cxnLst>
                <a:cxn ang="0">
                  <a:pos x="T0" y="T1"/>
                </a:cxn>
                <a:cxn ang="0">
                  <a:pos x="T2" y="T3"/>
                </a:cxn>
                <a:cxn ang="0">
                  <a:pos x="T4" y="T5"/>
                </a:cxn>
                <a:cxn ang="0">
                  <a:pos x="T6" y="T7"/>
                </a:cxn>
                <a:cxn ang="0">
                  <a:pos x="T8" y="T9"/>
                </a:cxn>
                <a:cxn ang="0">
                  <a:pos x="T10" y="T11"/>
                </a:cxn>
              </a:cxnLst>
              <a:rect l="0" t="0" r="r" b="b"/>
              <a:pathLst>
                <a:path w="503" h="646">
                  <a:moveTo>
                    <a:pt x="330" y="45"/>
                  </a:moveTo>
                  <a:cubicBezTo>
                    <a:pt x="503" y="0"/>
                    <a:pt x="503" y="0"/>
                    <a:pt x="503" y="0"/>
                  </a:cubicBezTo>
                  <a:cubicBezTo>
                    <a:pt x="330" y="568"/>
                    <a:pt x="330" y="568"/>
                    <a:pt x="330" y="568"/>
                  </a:cubicBezTo>
                  <a:cubicBezTo>
                    <a:pt x="330" y="568"/>
                    <a:pt x="41" y="646"/>
                    <a:pt x="0" y="646"/>
                  </a:cubicBezTo>
                  <a:cubicBezTo>
                    <a:pt x="330" y="45"/>
                    <a:pt x="330" y="45"/>
                    <a:pt x="330" y="45"/>
                  </a:cubicBezTo>
                  <a:cubicBezTo>
                    <a:pt x="330" y="45"/>
                    <a:pt x="330" y="45"/>
                    <a:pt x="330" y="45"/>
                  </a:cubicBezTo>
                  <a:close/>
                </a:path>
              </a:pathLst>
            </a:custGeom>
            <a:solidFill>
              <a:srgbClr val="AFABA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66" name="Freeform 10"/>
            <p:cNvSpPr>
              <a:spLocks/>
            </p:cNvSpPr>
            <p:nvPr/>
          </p:nvSpPr>
          <p:spPr bwMode="auto">
            <a:xfrm>
              <a:off x="2261631" y="2502944"/>
              <a:ext cx="1476301" cy="1233114"/>
            </a:xfrm>
            <a:custGeom>
              <a:avLst/>
              <a:gdLst>
                <a:gd name="T0" fmla="*/ 787 w 1163"/>
                <a:gd name="T1" fmla="*/ 128 h 972"/>
                <a:gd name="T2" fmla="*/ 1163 w 1163"/>
                <a:gd name="T3" fmla="*/ 787 h 972"/>
                <a:gd name="T4" fmla="*/ 0 w 1163"/>
                <a:gd name="T5" fmla="*/ 569 h 972"/>
                <a:gd name="T6" fmla="*/ 173 w 1163"/>
                <a:gd name="T7" fmla="*/ 0 h 972"/>
                <a:gd name="T8" fmla="*/ 787 w 1163"/>
                <a:gd name="T9" fmla="*/ 128 h 972"/>
              </a:gdLst>
              <a:ahLst/>
              <a:cxnLst>
                <a:cxn ang="0">
                  <a:pos x="T0" y="T1"/>
                </a:cxn>
                <a:cxn ang="0">
                  <a:pos x="T2" y="T3"/>
                </a:cxn>
                <a:cxn ang="0">
                  <a:pos x="T4" y="T5"/>
                </a:cxn>
                <a:cxn ang="0">
                  <a:pos x="T6" y="T7"/>
                </a:cxn>
                <a:cxn ang="0">
                  <a:pos x="T8" y="T9"/>
                </a:cxn>
              </a:cxnLst>
              <a:rect l="0" t="0" r="r" b="b"/>
              <a:pathLst>
                <a:path w="1163" h="972">
                  <a:moveTo>
                    <a:pt x="787" y="128"/>
                  </a:moveTo>
                  <a:cubicBezTo>
                    <a:pt x="1163" y="787"/>
                    <a:pt x="1163" y="787"/>
                    <a:pt x="1163" y="787"/>
                  </a:cubicBezTo>
                  <a:cubicBezTo>
                    <a:pt x="1163" y="787"/>
                    <a:pt x="528" y="972"/>
                    <a:pt x="0" y="569"/>
                  </a:cubicBezTo>
                  <a:cubicBezTo>
                    <a:pt x="173" y="0"/>
                    <a:pt x="173" y="0"/>
                    <a:pt x="173" y="0"/>
                  </a:cubicBezTo>
                  <a:cubicBezTo>
                    <a:pt x="173" y="0"/>
                    <a:pt x="511" y="218"/>
                    <a:pt x="787" y="128"/>
                  </a:cubicBezTo>
                  <a:close/>
                </a:path>
              </a:pathLst>
            </a:custGeom>
            <a:solidFill>
              <a:srgbClr val="E7E6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grpSp>
      <p:grpSp>
        <p:nvGrpSpPr>
          <p:cNvPr id="18" name="Group 17"/>
          <p:cNvGrpSpPr/>
          <p:nvPr/>
        </p:nvGrpSpPr>
        <p:grpSpPr>
          <a:xfrm>
            <a:off x="2935449" y="3074285"/>
            <a:ext cx="2889793" cy="1785519"/>
            <a:chOff x="1365650" y="3280820"/>
            <a:chExt cx="2889793" cy="1785519"/>
          </a:xfrm>
        </p:grpSpPr>
        <p:sp>
          <p:nvSpPr>
            <p:cNvPr id="61" name="Freeform 11"/>
            <p:cNvSpPr>
              <a:spLocks/>
            </p:cNvSpPr>
            <p:nvPr/>
          </p:nvSpPr>
          <p:spPr bwMode="auto">
            <a:xfrm>
              <a:off x="1365650" y="3908919"/>
              <a:ext cx="2889793" cy="1157420"/>
            </a:xfrm>
            <a:custGeom>
              <a:avLst/>
              <a:gdLst>
                <a:gd name="T0" fmla="*/ 0 w 2277"/>
                <a:gd name="T1" fmla="*/ 239 h 912"/>
                <a:gd name="T2" fmla="*/ 2277 w 2277"/>
                <a:gd name="T3" fmla="*/ 367 h 912"/>
                <a:gd name="T4" fmla="*/ 549 w 2277"/>
                <a:gd name="T5" fmla="*/ 0 h 912"/>
                <a:gd name="T6" fmla="*/ 0 w 2277"/>
                <a:gd name="T7" fmla="*/ 239 h 912"/>
                <a:gd name="T8" fmla="*/ 0 w 2277"/>
                <a:gd name="T9" fmla="*/ 239 h 912"/>
              </a:gdLst>
              <a:ahLst/>
              <a:cxnLst>
                <a:cxn ang="0">
                  <a:pos x="T0" y="T1"/>
                </a:cxn>
                <a:cxn ang="0">
                  <a:pos x="T2" y="T3"/>
                </a:cxn>
                <a:cxn ang="0">
                  <a:pos x="T4" y="T5"/>
                </a:cxn>
                <a:cxn ang="0">
                  <a:pos x="T6" y="T7"/>
                </a:cxn>
                <a:cxn ang="0">
                  <a:pos x="T8" y="T9"/>
                </a:cxn>
              </a:cxnLst>
              <a:rect l="0" t="0" r="r" b="b"/>
              <a:pathLst>
                <a:path w="2277" h="912">
                  <a:moveTo>
                    <a:pt x="0" y="239"/>
                  </a:moveTo>
                  <a:cubicBezTo>
                    <a:pt x="0" y="239"/>
                    <a:pt x="1345" y="912"/>
                    <a:pt x="2277" y="367"/>
                  </a:cubicBezTo>
                  <a:cubicBezTo>
                    <a:pt x="549" y="0"/>
                    <a:pt x="549" y="0"/>
                    <a:pt x="549" y="0"/>
                  </a:cubicBezTo>
                  <a:cubicBezTo>
                    <a:pt x="0" y="239"/>
                    <a:pt x="0" y="239"/>
                    <a:pt x="0" y="239"/>
                  </a:cubicBezTo>
                  <a:cubicBezTo>
                    <a:pt x="0" y="239"/>
                    <a:pt x="0" y="239"/>
                    <a:pt x="0" y="239"/>
                  </a:cubicBezTo>
                  <a:close/>
                </a:path>
              </a:pathLst>
            </a:custGeom>
            <a:solidFill>
              <a:srgbClr val="4CC7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62" name="Freeform 12"/>
            <p:cNvSpPr>
              <a:spLocks/>
            </p:cNvSpPr>
            <p:nvPr/>
          </p:nvSpPr>
          <p:spPr bwMode="auto">
            <a:xfrm>
              <a:off x="1365650" y="3280820"/>
              <a:ext cx="880949" cy="932486"/>
            </a:xfrm>
            <a:custGeom>
              <a:avLst/>
              <a:gdLst>
                <a:gd name="T0" fmla="*/ 330 w 694"/>
                <a:gd name="T1" fmla="*/ 120 h 735"/>
                <a:gd name="T2" fmla="*/ 0 w 694"/>
                <a:gd name="T3" fmla="*/ 735 h 735"/>
                <a:gd name="T4" fmla="*/ 525 w 694"/>
                <a:gd name="T5" fmla="*/ 594 h 735"/>
                <a:gd name="T6" fmla="*/ 694 w 694"/>
                <a:gd name="T7" fmla="*/ 0 h 735"/>
                <a:gd name="T8" fmla="*/ 330 w 694"/>
                <a:gd name="T9" fmla="*/ 120 h 735"/>
              </a:gdLst>
              <a:ahLst/>
              <a:cxnLst>
                <a:cxn ang="0">
                  <a:pos x="T0" y="T1"/>
                </a:cxn>
                <a:cxn ang="0">
                  <a:pos x="T2" y="T3"/>
                </a:cxn>
                <a:cxn ang="0">
                  <a:pos x="T4" y="T5"/>
                </a:cxn>
                <a:cxn ang="0">
                  <a:pos x="T6" y="T7"/>
                </a:cxn>
                <a:cxn ang="0">
                  <a:pos x="T8" y="T9"/>
                </a:cxn>
              </a:cxnLst>
              <a:rect l="0" t="0" r="r" b="b"/>
              <a:pathLst>
                <a:path w="694" h="735">
                  <a:moveTo>
                    <a:pt x="330" y="120"/>
                  </a:moveTo>
                  <a:cubicBezTo>
                    <a:pt x="0" y="735"/>
                    <a:pt x="0" y="735"/>
                    <a:pt x="0" y="735"/>
                  </a:cubicBezTo>
                  <a:cubicBezTo>
                    <a:pt x="0" y="735"/>
                    <a:pt x="484" y="606"/>
                    <a:pt x="525" y="594"/>
                  </a:cubicBezTo>
                  <a:cubicBezTo>
                    <a:pt x="694" y="0"/>
                    <a:pt x="694" y="0"/>
                    <a:pt x="694" y="0"/>
                  </a:cubicBezTo>
                  <a:cubicBezTo>
                    <a:pt x="694" y="0"/>
                    <a:pt x="372" y="112"/>
                    <a:pt x="330" y="120"/>
                  </a:cubicBezTo>
                  <a:close/>
                </a:path>
              </a:pathLst>
            </a:custGeom>
            <a:solidFill>
              <a:srgbClr val="78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63" name="Freeform 13"/>
            <p:cNvSpPr>
              <a:spLocks/>
            </p:cNvSpPr>
            <p:nvPr/>
          </p:nvSpPr>
          <p:spPr bwMode="auto">
            <a:xfrm>
              <a:off x="2032401" y="3280820"/>
              <a:ext cx="2223042" cy="1517638"/>
            </a:xfrm>
            <a:custGeom>
              <a:avLst/>
              <a:gdLst>
                <a:gd name="T0" fmla="*/ 1381 w 1752"/>
                <a:gd name="T1" fmla="*/ 235 h 1196"/>
                <a:gd name="T2" fmla="*/ 1752 w 1752"/>
                <a:gd name="T3" fmla="*/ 862 h 1196"/>
                <a:gd name="T4" fmla="*/ 0 w 1752"/>
                <a:gd name="T5" fmla="*/ 594 h 1196"/>
                <a:gd name="T6" fmla="*/ 169 w 1752"/>
                <a:gd name="T7" fmla="*/ 0 h 1196"/>
                <a:gd name="T8" fmla="*/ 1381 w 1752"/>
                <a:gd name="T9" fmla="*/ 235 h 1196"/>
              </a:gdLst>
              <a:ahLst/>
              <a:cxnLst>
                <a:cxn ang="0">
                  <a:pos x="T0" y="T1"/>
                </a:cxn>
                <a:cxn ang="0">
                  <a:pos x="T2" y="T3"/>
                </a:cxn>
                <a:cxn ang="0">
                  <a:pos x="T4" y="T5"/>
                </a:cxn>
                <a:cxn ang="0">
                  <a:pos x="T6" y="T7"/>
                </a:cxn>
                <a:cxn ang="0">
                  <a:pos x="T8" y="T9"/>
                </a:cxn>
              </a:cxnLst>
              <a:rect l="0" t="0" r="r" b="b"/>
              <a:pathLst>
                <a:path w="1752" h="1196">
                  <a:moveTo>
                    <a:pt x="1381" y="235"/>
                  </a:moveTo>
                  <a:cubicBezTo>
                    <a:pt x="1752" y="862"/>
                    <a:pt x="1752" y="862"/>
                    <a:pt x="1752" y="862"/>
                  </a:cubicBezTo>
                  <a:cubicBezTo>
                    <a:pt x="1752" y="862"/>
                    <a:pt x="990" y="1196"/>
                    <a:pt x="0" y="594"/>
                  </a:cubicBezTo>
                  <a:cubicBezTo>
                    <a:pt x="169" y="0"/>
                    <a:pt x="169" y="0"/>
                    <a:pt x="169" y="0"/>
                  </a:cubicBezTo>
                  <a:cubicBezTo>
                    <a:pt x="169" y="0"/>
                    <a:pt x="730" y="446"/>
                    <a:pt x="1381" y="235"/>
                  </a:cubicBezTo>
                  <a:close/>
                </a:path>
              </a:pathLst>
            </a:custGeom>
            <a:solidFill>
              <a:srgbClr val="8EDC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grpSp>
      <p:grpSp>
        <p:nvGrpSpPr>
          <p:cNvPr id="19" name="Group 18"/>
          <p:cNvGrpSpPr/>
          <p:nvPr/>
        </p:nvGrpSpPr>
        <p:grpSpPr>
          <a:xfrm>
            <a:off x="2476454" y="3901551"/>
            <a:ext cx="3808321" cy="2268135"/>
            <a:chOff x="906655" y="4108086"/>
            <a:chExt cx="3808321" cy="2268135"/>
          </a:xfrm>
        </p:grpSpPr>
        <p:sp>
          <p:nvSpPr>
            <p:cNvPr id="58" name="Freeform 14"/>
            <p:cNvSpPr>
              <a:spLocks/>
            </p:cNvSpPr>
            <p:nvPr/>
          </p:nvSpPr>
          <p:spPr bwMode="auto">
            <a:xfrm>
              <a:off x="906655" y="4737795"/>
              <a:ext cx="3808321" cy="1638426"/>
            </a:xfrm>
            <a:custGeom>
              <a:avLst/>
              <a:gdLst>
                <a:gd name="T0" fmla="*/ 0 w 3001"/>
                <a:gd name="T1" fmla="*/ 272 h 1291"/>
                <a:gd name="T2" fmla="*/ 3001 w 3001"/>
                <a:gd name="T3" fmla="*/ 400 h 1291"/>
                <a:gd name="T4" fmla="*/ 709 w 3001"/>
                <a:gd name="T5" fmla="*/ 0 h 1291"/>
                <a:gd name="T6" fmla="*/ 0 w 3001"/>
                <a:gd name="T7" fmla="*/ 272 h 1291"/>
                <a:gd name="T8" fmla="*/ 0 w 3001"/>
                <a:gd name="T9" fmla="*/ 272 h 1291"/>
              </a:gdLst>
              <a:ahLst/>
              <a:cxnLst>
                <a:cxn ang="0">
                  <a:pos x="T0" y="T1"/>
                </a:cxn>
                <a:cxn ang="0">
                  <a:pos x="T2" y="T3"/>
                </a:cxn>
                <a:cxn ang="0">
                  <a:pos x="T4" y="T5"/>
                </a:cxn>
                <a:cxn ang="0">
                  <a:pos x="T6" y="T7"/>
                </a:cxn>
                <a:cxn ang="0">
                  <a:pos x="T8" y="T9"/>
                </a:cxn>
              </a:cxnLst>
              <a:rect l="0" t="0" r="r" b="b"/>
              <a:pathLst>
                <a:path w="3001" h="1291">
                  <a:moveTo>
                    <a:pt x="0" y="272"/>
                  </a:moveTo>
                  <a:cubicBezTo>
                    <a:pt x="0" y="272"/>
                    <a:pt x="1575" y="1291"/>
                    <a:pt x="3001" y="400"/>
                  </a:cubicBezTo>
                  <a:cubicBezTo>
                    <a:pt x="709" y="0"/>
                    <a:pt x="709" y="0"/>
                    <a:pt x="709" y="0"/>
                  </a:cubicBezTo>
                  <a:cubicBezTo>
                    <a:pt x="0" y="272"/>
                    <a:pt x="0" y="272"/>
                    <a:pt x="0" y="272"/>
                  </a:cubicBezTo>
                  <a:cubicBezTo>
                    <a:pt x="0" y="272"/>
                    <a:pt x="0" y="272"/>
                    <a:pt x="0" y="272"/>
                  </a:cubicBezTo>
                  <a:close/>
                </a:path>
              </a:pathLst>
            </a:custGeom>
            <a:solidFill>
              <a:srgbClr val="2523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59" name="Freeform 15"/>
            <p:cNvSpPr>
              <a:spLocks/>
            </p:cNvSpPr>
            <p:nvPr/>
          </p:nvSpPr>
          <p:spPr bwMode="auto">
            <a:xfrm>
              <a:off x="1774720" y="4108086"/>
              <a:ext cx="2940256" cy="1723246"/>
            </a:xfrm>
            <a:custGeom>
              <a:avLst/>
              <a:gdLst>
                <a:gd name="T0" fmla="*/ 1987 w 2317"/>
                <a:gd name="T1" fmla="*/ 293 h 1358"/>
                <a:gd name="T2" fmla="*/ 185 w 2317"/>
                <a:gd name="T3" fmla="*/ 0 h 1358"/>
                <a:gd name="T4" fmla="*/ 0 w 2317"/>
                <a:gd name="T5" fmla="*/ 289 h 1358"/>
                <a:gd name="T6" fmla="*/ 0 w 2317"/>
                <a:gd name="T7" fmla="*/ 578 h 1358"/>
                <a:gd name="T8" fmla="*/ 2317 w 2317"/>
                <a:gd name="T9" fmla="*/ 895 h 1358"/>
                <a:gd name="T10" fmla="*/ 1987 w 2317"/>
                <a:gd name="T11" fmla="*/ 293 h 1358"/>
                <a:gd name="T12" fmla="*/ 1987 w 2317"/>
                <a:gd name="T13" fmla="*/ 293 h 1358"/>
              </a:gdLst>
              <a:ahLst/>
              <a:cxnLst>
                <a:cxn ang="0">
                  <a:pos x="T0" y="T1"/>
                </a:cxn>
                <a:cxn ang="0">
                  <a:pos x="T2" y="T3"/>
                </a:cxn>
                <a:cxn ang="0">
                  <a:pos x="T4" y="T5"/>
                </a:cxn>
                <a:cxn ang="0">
                  <a:pos x="T6" y="T7"/>
                </a:cxn>
                <a:cxn ang="0">
                  <a:pos x="T8" y="T9"/>
                </a:cxn>
                <a:cxn ang="0">
                  <a:pos x="T10" y="T11"/>
                </a:cxn>
                <a:cxn ang="0">
                  <a:pos x="T12" y="T13"/>
                </a:cxn>
              </a:cxnLst>
              <a:rect l="0" t="0" r="r" b="b"/>
              <a:pathLst>
                <a:path w="2317" h="1358">
                  <a:moveTo>
                    <a:pt x="1987" y="293"/>
                  </a:moveTo>
                  <a:cubicBezTo>
                    <a:pt x="1987" y="293"/>
                    <a:pt x="1142" y="611"/>
                    <a:pt x="185" y="0"/>
                  </a:cubicBezTo>
                  <a:cubicBezTo>
                    <a:pt x="0" y="289"/>
                    <a:pt x="0" y="289"/>
                    <a:pt x="0" y="289"/>
                  </a:cubicBezTo>
                  <a:cubicBezTo>
                    <a:pt x="0" y="578"/>
                    <a:pt x="0" y="578"/>
                    <a:pt x="0" y="578"/>
                  </a:cubicBezTo>
                  <a:cubicBezTo>
                    <a:pt x="0" y="578"/>
                    <a:pt x="1286" y="1358"/>
                    <a:pt x="2317" y="895"/>
                  </a:cubicBezTo>
                  <a:cubicBezTo>
                    <a:pt x="1987" y="293"/>
                    <a:pt x="1987" y="293"/>
                    <a:pt x="1987" y="293"/>
                  </a:cubicBezTo>
                  <a:cubicBezTo>
                    <a:pt x="1987" y="293"/>
                    <a:pt x="1987" y="293"/>
                    <a:pt x="1987" y="293"/>
                  </a:cubicBezTo>
                  <a:close/>
                </a:path>
              </a:pathLst>
            </a:custGeom>
            <a:solidFill>
              <a:srgbClr val="5553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60" name="Freeform 16"/>
            <p:cNvSpPr>
              <a:spLocks/>
            </p:cNvSpPr>
            <p:nvPr/>
          </p:nvSpPr>
          <p:spPr bwMode="auto">
            <a:xfrm>
              <a:off x="906655" y="4108086"/>
              <a:ext cx="1103737" cy="974896"/>
            </a:xfrm>
            <a:custGeom>
              <a:avLst/>
              <a:gdLst>
                <a:gd name="T0" fmla="*/ 314 w 870"/>
                <a:gd name="T1" fmla="*/ 169 h 768"/>
                <a:gd name="T2" fmla="*/ 870 w 870"/>
                <a:gd name="T3" fmla="*/ 0 h 768"/>
                <a:gd name="T4" fmla="*/ 685 w 870"/>
                <a:gd name="T5" fmla="*/ 578 h 768"/>
                <a:gd name="T6" fmla="*/ 0 w 870"/>
                <a:gd name="T7" fmla="*/ 768 h 768"/>
                <a:gd name="T8" fmla="*/ 314 w 870"/>
                <a:gd name="T9" fmla="*/ 169 h 768"/>
                <a:gd name="T10" fmla="*/ 314 w 870"/>
                <a:gd name="T11" fmla="*/ 169 h 768"/>
              </a:gdLst>
              <a:ahLst/>
              <a:cxnLst>
                <a:cxn ang="0">
                  <a:pos x="T0" y="T1"/>
                </a:cxn>
                <a:cxn ang="0">
                  <a:pos x="T2" y="T3"/>
                </a:cxn>
                <a:cxn ang="0">
                  <a:pos x="T4" y="T5"/>
                </a:cxn>
                <a:cxn ang="0">
                  <a:pos x="T6" y="T7"/>
                </a:cxn>
                <a:cxn ang="0">
                  <a:pos x="T8" y="T9"/>
                </a:cxn>
                <a:cxn ang="0">
                  <a:pos x="T10" y="T11"/>
                </a:cxn>
              </a:cxnLst>
              <a:rect l="0" t="0" r="r" b="b"/>
              <a:pathLst>
                <a:path w="870" h="768">
                  <a:moveTo>
                    <a:pt x="314" y="169"/>
                  </a:moveTo>
                  <a:cubicBezTo>
                    <a:pt x="870" y="0"/>
                    <a:pt x="870" y="0"/>
                    <a:pt x="870" y="0"/>
                  </a:cubicBezTo>
                  <a:cubicBezTo>
                    <a:pt x="685" y="578"/>
                    <a:pt x="685" y="578"/>
                    <a:pt x="685" y="578"/>
                  </a:cubicBezTo>
                  <a:cubicBezTo>
                    <a:pt x="685" y="578"/>
                    <a:pt x="66" y="768"/>
                    <a:pt x="0" y="768"/>
                  </a:cubicBezTo>
                  <a:cubicBezTo>
                    <a:pt x="314" y="169"/>
                    <a:pt x="314" y="169"/>
                    <a:pt x="314" y="169"/>
                  </a:cubicBezTo>
                  <a:cubicBezTo>
                    <a:pt x="314" y="169"/>
                    <a:pt x="314" y="169"/>
                    <a:pt x="314" y="169"/>
                  </a:cubicBezTo>
                  <a:close/>
                </a:path>
              </a:pathLst>
            </a:custGeom>
            <a:solidFill>
              <a:srgbClr val="3B39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grpSp>
      <p:grpSp>
        <p:nvGrpSpPr>
          <p:cNvPr id="20" name="Group 19"/>
          <p:cNvGrpSpPr>
            <a:grpSpLocks noChangeAspect="1"/>
          </p:cNvGrpSpPr>
          <p:nvPr/>
        </p:nvGrpSpPr>
        <p:grpSpPr>
          <a:xfrm>
            <a:off x="4201579" y="1864128"/>
            <a:ext cx="302079" cy="288000"/>
            <a:chOff x="6472238" y="-822326"/>
            <a:chExt cx="374650" cy="357188"/>
          </a:xfrm>
          <a:solidFill>
            <a:schemeClr val="bg1"/>
          </a:solidFill>
        </p:grpSpPr>
        <p:sp>
          <p:nvSpPr>
            <p:cNvPr id="52" name="Freeform 26"/>
            <p:cNvSpPr>
              <a:spLocks noEditPoints="1"/>
            </p:cNvSpPr>
            <p:nvPr/>
          </p:nvSpPr>
          <p:spPr bwMode="auto">
            <a:xfrm>
              <a:off x="6507163" y="-774701"/>
              <a:ext cx="309562" cy="309563"/>
            </a:xfrm>
            <a:custGeom>
              <a:avLst/>
              <a:gdLst>
                <a:gd name="T0" fmla="*/ 40 w 80"/>
                <a:gd name="T1" fmla="*/ 80 h 80"/>
                <a:gd name="T2" fmla="*/ 0 w 80"/>
                <a:gd name="T3" fmla="*/ 40 h 80"/>
                <a:gd name="T4" fmla="*/ 40 w 80"/>
                <a:gd name="T5" fmla="*/ 0 h 80"/>
                <a:gd name="T6" fmla="*/ 80 w 80"/>
                <a:gd name="T7" fmla="*/ 40 h 80"/>
                <a:gd name="T8" fmla="*/ 40 w 80"/>
                <a:gd name="T9" fmla="*/ 80 h 80"/>
                <a:gd name="T10" fmla="*/ 40 w 80"/>
                <a:gd name="T11" fmla="*/ 4 h 80"/>
                <a:gd name="T12" fmla="*/ 4 w 80"/>
                <a:gd name="T13" fmla="*/ 40 h 80"/>
                <a:gd name="T14" fmla="*/ 40 w 80"/>
                <a:gd name="T15" fmla="*/ 76 h 80"/>
                <a:gd name="T16" fmla="*/ 76 w 80"/>
                <a:gd name="T17" fmla="*/ 40 h 80"/>
                <a:gd name="T18" fmla="*/ 40 w 80"/>
                <a:gd name="T19" fmla="*/ 4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0" h="80">
                  <a:moveTo>
                    <a:pt x="40" y="80"/>
                  </a:moveTo>
                  <a:cubicBezTo>
                    <a:pt x="18" y="80"/>
                    <a:pt x="0" y="62"/>
                    <a:pt x="0" y="40"/>
                  </a:cubicBezTo>
                  <a:cubicBezTo>
                    <a:pt x="0" y="18"/>
                    <a:pt x="18" y="0"/>
                    <a:pt x="40" y="0"/>
                  </a:cubicBezTo>
                  <a:cubicBezTo>
                    <a:pt x="62" y="0"/>
                    <a:pt x="80" y="18"/>
                    <a:pt x="80" y="40"/>
                  </a:cubicBezTo>
                  <a:cubicBezTo>
                    <a:pt x="80" y="62"/>
                    <a:pt x="62" y="80"/>
                    <a:pt x="40" y="80"/>
                  </a:cubicBezTo>
                  <a:close/>
                  <a:moveTo>
                    <a:pt x="40" y="4"/>
                  </a:moveTo>
                  <a:cubicBezTo>
                    <a:pt x="20" y="4"/>
                    <a:pt x="4" y="20"/>
                    <a:pt x="4" y="40"/>
                  </a:cubicBezTo>
                  <a:cubicBezTo>
                    <a:pt x="4" y="60"/>
                    <a:pt x="20" y="76"/>
                    <a:pt x="40" y="76"/>
                  </a:cubicBezTo>
                  <a:cubicBezTo>
                    <a:pt x="60" y="76"/>
                    <a:pt x="76" y="60"/>
                    <a:pt x="76" y="40"/>
                  </a:cubicBezTo>
                  <a:cubicBezTo>
                    <a:pt x="76" y="20"/>
                    <a:pt x="60" y="4"/>
                    <a:pt x="40"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53" name="Freeform 27"/>
            <p:cNvSpPr>
              <a:spLocks/>
            </p:cNvSpPr>
            <p:nvPr/>
          </p:nvSpPr>
          <p:spPr bwMode="auto">
            <a:xfrm>
              <a:off x="6545263" y="-508001"/>
              <a:ext cx="42862" cy="42863"/>
            </a:xfrm>
            <a:custGeom>
              <a:avLst/>
              <a:gdLst>
                <a:gd name="T0" fmla="*/ 2 w 11"/>
                <a:gd name="T1" fmla="*/ 11 h 11"/>
                <a:gd name="T2" fmla="*/ 0 w 11"/>
                <a:gd name="T3" fmla="*/ 10 h 11"/>
                <a:gd name="T4" fmla="*/ 0 w 11"/>
                <a:gd name="T5" fmla="*/ 8 h 11"/>
                <a:gd name="T6" fmla="*/ 7 w 11"/>
                <a:gd name="T7" fmla="*/ 1 h 11"/>
                <a:gd name="T8" fmla="*/ 10 w 11"/>
                <a:gd name="T9" fmla="*/ 1 h 11"/>
                <a:gd name="T10" fmla="*/ 10 w 11"/>
                <a:gd name="T11" fmla="*/ 4 h 11"/>
                <a:gd name="T12" fmla="*/ 3 w 11"/>
                <a:gd name="T13" fmla="*/ 10 h 11"/>
                <a:gd name="T14" fmla="*/ 2 w 11"/>
                <a:gd name="T15" fmla="*/ 11 h 1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11">
                  <a:moveTo>
                    <a:pt x="2" y="11"/>
                  </a:moveTo>
                  <a:cubicBezTo>
                    <a:pt x="1" y="11"/>
                    <a:pt x="1" y="11"/>
                    <a:pt x="0" y="10"/>
                  </a:cubicBezTo>
                  <a:cubicBezTo>
                    <a:pt x="0" y="10"/>
                    <a:pt x="0" y="8"/>
                    <a:pt x="0" y="8"/>
                  </a:cubicBezTo>
                  <a:cubicBezTo>
                    <a:pt x="7" y="1"/>
                    <a:pt x="7" y="1"/>
                    <a:pt x="7" y="1"/>
                  </a:cubicBezTo>
                  <a:cubicBezTo>
                    <a:pt x="8" y="0"/>
                    <a:pt x="9" y="0"/>
                    <a:pt x="10" y="1"/>
                  </a:cubicBezTo>
                  <a:cubicBezTo>
                    <a:pt x="11" y="2"/>
                    <a:pt x="11" y="3"/>
                    <a:pt x="10" y="4"/>
                  </a:cubicBezTo>
                  <a:cubicBezTo>
                    <a:pt x="3" y="10"/>
                    <a:pt x="3" y="10"/>
                    <a:pt x="3" y="10"/>
                  </a:cubicBezTo>
                  <a:cubicBezTo>
                    <a:pt x="3" y="11"/>
                    <a:pt x="2" y="11"/>
                    <a:pt x="2"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54" name="Freeform 28"/>
            <p:cNvSpPr>
              <a:spLocks/>
            </p:cNvSpPr>
            <p:nvPr/>
          </p:nvSpPr>
          <p:spPr bwMode="auto">
            <a:xfrm>
              <a:off x="6735763" y="-508001"/>
              <a:ext cx="41275" cy="42863"/>
            </a:xfrm>
            <a:custGeom>
              <a:avLst/>
              <a:gdLst>
                <a:gd name="T0" fmla="*/ 9 w 11"/>
                <a:gd name="T1" fmla="*/ 11 h 11"/>
                <a:gd name="T2" fmla="*/ 7 w 11"/>
                <a:gd name="T3" fmla="*/ 10 h 11"/>
                <a:gd name="T4" fmla="*/ 1 w 11"/>
                <a:gd name="T5" fmla="*/ 4 h 11"/>
                <a:gd name="T6" fmla="*/ 1 w 11"/>
                <a:gd name="T7" fmla="*/ 1 h 11"/>
                <a:gd name="T8" fmla="*/ 4 w 11"/>
                <a:gd name="T9" fmla="*/ 1 h 11"/>
                <a:gd name="T10" fmla="*/ 10 w 11"/>
                <a:gd name="T11" fmla="*/ 8 h 11"/>
                <a:gd name="T12" fmla="*/ 10 w 11"/>
                <a:gd name="T13" fmla="*/ 10 h 11"/>
                <a:gd name="T14" fmla="*/ 9 w 11"/>
                <a:gd name="T15" fmla="*/ 11 h 1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11">
                  <a:moveTo>
                    <a:pt x="9" y="11"/>
                  </a:moveTo>
                  <a:cubicBezTo>
                    <a:pt x="8" y="11"/>
                    <a:pt x="8" y="11"/>
                    <a:pt x="7" y="10"/>
                  </a:cubicBezTo>
                  <a:cubicBezTo>
                    <a:pt x="1" y="4"/>
                    <a:pt x="1" y="4"/>
                    <a:pt x="1" y="4"/>
                  </a:cubicBezTo>
                  <a:cubicBezTo>
                    <a:pt x="0" y="3"/>
                    <a:pt x="0" y="2"/>
                    <a:pt x="1" y="1"/>
                  </a:cubicBezTo>
                  <a:cubicBezTo>
                    <a:pt x="1" y="0"/>
                    <a:pt x="3" y="0"/>
                    <a:pt x="4" y="1"/>
                  </a:cubicBezTo>
                  <a:cubicBezTo>
                    <a:pt x="10" y="8"/>
                    <a:pt x="10" y="8"/>
                    <a:pt x="10" y="8"/>
                  </a:cubicBezTo>
                  <a:cubicBezTo>
                    <a:pt x="11" y="8"/>
                    <a:pt x="11" y="10"/>
                    <a:pt x="10" y="10"/>
                  </a:cubicBezTo>
                  <a:cubicBezTo>
                    <a:pt x="10" y="11"/>
                    <a:pt x="9" y="11"/>
                    <a:pt x="9"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55" name="Freeform 29"/>
            <p:cNvSpPr>
              <a:spLocks/>
            </p:cNvSpPr>
            <p:nvPr/>
          </p:nvSpPr>
          <p:spPr bwMode="auto">
            <a:xfrm>
              <a:off x="6599238" y="-712788"/>
              <a:ext cx="77787" cy="107950"/>
            </a:xfrm>
            <a:custGeom>
              <a:avLst/>
              <a:gdLst>
                <a:gd name="T0" fmla="*/ 18 w 20"/>
                <a:gd name="T1" fmla="*/ 28 h 28"/>
                <a:gd name="T2" fmla="*/ 2 w 20"/>
                <a:gd name="T3" fmla="*/ 28 h 28"/>
                <a:gd name="T4" fmla="*/ 0 w 20"/>
                <a:gd name="T5" fmla="*/ 26 h 28"/>
                <a:gd name="T6" fmla="*/ 2 w 20"/>
                <a:gd name="T7" fmla="*/ 24 h 28"/>
                <a:gd name="T8" fmla="*/ 16 w 20"/>
                <a:gd name="T9" fmla="*/ 24 h 28"/>
                <a:gd name="T10" fmla="*/ 16 w 20"/>
                <a:gd name="T11" fmla="*/ 2 h 28"/>
                <a:gd name="T12" fmla="*/ 18 w 20"/>
                <a:gd name="T13" fmla="*/ 0 h 28"/>
                <a:gd name="T14" fmla="*/ 20 w 20"/>
                <a:gd name="T15" fmla="*/ 2 h 28"/>
                <a:gd name="T16" fmla="*/ 20 w 20"/>
                <a:gd name="T17" fmla="*/ 26 h 28"/>
                <a:gd name="T18" fmla="*/ 18 w 20"/>
                <a:gd name="T19"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 h="28">
                  <a:moveTo>
                    <a:pt x="18" y="28"/>
                  </a:moveTo>
                  <a:cubicBezTo>
                    <a:pt x="2" y="28"/>
                    <a:pt x="2" y="28"/>
                    <a:pt x="2" y="28"/>
                  </a:cubicBezTo>
                  <a:cubicBezTo>
                    <a:pt x="1" y="28"/>
                    <a:pt x="0" y="27"/>
                    <a:pt x="0" y="26"/>
                  </a:cubicBezTo>
                  <a:cubicBezTo>
                    <a:pt x="0" y="25"/>
                    <a:pt x="1" y="24"/>
                    <a:pt x="2" y="24"/>
                  </a:cubicBezTo>
                  <a:cubicBezTo>
                    <a:pt x="16" y="24"/>
                    <a:pt x="16" y="24"/>
                    <a:pt x="16" y="24"/>
                  </a:cubicBezTo>
                  <a:cubicBezTo>
                    <a:pt x="16" y="2"/>
                    <a:pt x="16" y="2"/>
                    <a:pt x="16" y="2"/>
                  </a:cubicBezTo>
                  <a:cubicBezTo>
                    <a:pt x="16" y="1"/>
                    <a:pt x="17" y="0"/>
                    <a:pt x="18" y="0"/>
                  </a:cubicBezTo>
                  <a:cubicBezTo>
                    <a:pt x="19" y="0"/>
                    <a:pt x="20" y="1"/>
                    <a:pt x="20" y="2"/>
                  </a:cubicBezTo>
                  <a:cubicBezTo>
                    <a:pt x="20" y="26"/>
                    <a:pt x="20" y="26"/>
                    <a:pt x="20" y="26"/>
                  </a:cubicBezTo>
                  <a:cubicBezTo>
                    <a:pt x="20" y="27"/>
                    <a:pt x="19" y="28"/>
                    <a:pt x="1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56" name="Freeform 30"/>
            <p:cNvSpPr>
              <a:spLocks/>
            </p:cNvSpPr>
            <p:nvPr/>
          </p:nvSpPr>
          <p:spPr bwMode="auto">
            <a:xfrm>
              <a:off x="6472238" y="-822326"/>
              <a:ext cx="127000" cy="123825"/>
            </a:xfrm>
            <a:custGeom>
              <a:avLst/>
              <a:gdLst>
                <a:gd name="T0" fmla="*/ 9 w 33"/>
                <a:gd name="T1" fmla="*/ 32 h 32"/>
                <a:gd name="T2" fmla="*/ 7 w 33"/>
                <a:gd name="T3" fmla="*/ 31 h 32"/>
                <a:gd name="T4" fmla="*/ 7 w 33"/>
                <a:gd name="T5" fmla="*/ 7 h 32"/>
                <a:gd name="T6" fmla="*/ 32 w 33"/>
                <a:gd name="T7" fmla="*/ 7 h 32"/>
                <a:gd name="T8" fmla="*/ 32 w 33"/>
                <a:gd name="T9" fmla="*/ 9 h 32"/>
                <a:gd name="T10" fmla="*/ 29 w 33"/>
                <a:gd name="T11" fmla="*/ 9 h 32"/>
                <a:gd name="T12" fmla="*/ 10 w 33"/>
                <a:gd name="T13" fmla="*/ 9 h 32"/>
                <a:gd name="T14" fmla="*/ 10 w 33"/>
                <a:gd name="T15" fmla="*/ 29 h 32"/>
                <a:gd name="T16" fmla="*/ 10 w 33"/>
                <a:gd name="T17" fmla="*/ 31 h 32"/>
                <a:gd name="T18" fmla="*/ 9 w 33"/>
                <a:gd name="T19"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 h="32">
                  <a:moveTo>
                    <a:pt x="9" y="32"/>
                  </a:moveTo>
                  <a:cubicBezTo>
                    <a:pt x="8" y="32"/>
                    <a:pt x="8" y="32"/>
                    <a:pt x="7" y="31"/>
                  </a:cubicBezTo>
                  <a:cubicBezTo>
                    <a:pt x="0" y="24"/>
                    <a:pt x="0" y="14"/>
                    <a:pt x="7" y="7"/>
                  </a:cubicBezTo>
                  <a:cubicBezTo>
                    <a:pt x="14" y="0"/>
                    <a:pt x="25" y="0"/>
                    <a:pt x="32" y="7"/>
                  </a:cubicBezTo>
                  <a:cubicBezTo>
                    <a:pt x="33" y="7"/>
                    <a:pt x="33" y="9"/>
                    <a:pt x="32" y="9"/>
                  </a:cubicBezTo>
                  <a:cubicBezTo>
                    <a:pt x="31" y="10"/>
                    <a:pt x="30" y="10"/>
                    <a:pt x="29" y="9"/>
                  </a:cubicBezTo>
                  <a:cubicBezTo>
                    <a:pt x="24" y="4"/>
                    <a:pt x="15" y="4"/>
                    <a:pt x="10" y="9"/>
                  </a:cubicBezTo>
                  <a:cubicBezTo>
                    <a:pt x="5" y="15"/>
                    <a:pt x="5" y="23"/>
                    <a:pt x="10" y="29"/>
                  </a:cubicBezTo>
                  <a:cubicBezTo>
                    <a:pt x="11" y="29"/>
                    <a:pt x="11" y="31"/>
                    <a:pt x="10" y="31"/>
                  </a:cubicBezTo>
                  <a:cubicBezTo>
                    <a:pt x="10" y="32"/>
                    <a:pt x="9" y="32"/>
                    <a:pt x="9" y="3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57" name="Freeform 31"/>
            <p:cNvSpPr>
              <a:spLocks/>
            </p:cNvSpPr>
            <p:nvPr/>
          </p:nvSpPr>
          <p:spPr bwMode="auto">
            <a:xfrm>
              <a:off x="6723063" y="-822326"/>
              <a:ext cx="123825" cy="123825"/>
            </a:xfrm>
            <a:custGeom>
              <a:avLst/>
              <a:gdLst>
                <a:gd name="T0" fmla="*/ 24 w 32"/>
                <a:gd name="T1" fmla="*/ 32 h 32"/>
                <a:gd name="T2" fmla="*/ 22 w 32"/>
                <a:gd name="T3" fmla="*/ 31 h 32"/>
                <a:gd name="T4" fmla="*/ 22 w 32"/>
                <a:gd name="T5" fmla="*/ 29 h 32"/>
                <a:gd name="T6" fmla="*/ 22 w 32"/>
                <a:gd name="T7" fmla="*/ 9 h 32"/>
                <a:gd name="T8" fmla="*/ 3 w 32"/>
                <a:gd name="T9" fmla="*/ 9 h 32"/>
                <a:gd name="T10" fmla="*/ 0 w 32"/>
                <a:gd name="T11" fmla="*/ 9 h 32"/>
                <a:gd name="T12" fmla="*/ 0 w 32"/>
                <a:gd name="T13" fmla="*/ 7 h 32"/>
                <a:gd name="T14" fmla="*/ 25 w 32"/>
                <a:gd name="T15" fmla="*/ 7 h 32"/>
                <a:gd name="T16" fmla="*/ 25 w 32"/>
                <a:gd name="T17" fmla="*/ 31 h 32"/>
                <a:gd name="T18" fmla="*/ 24 w 32"/>
                <a:gd name="T19"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2">
                  <a:moveTo>
                    <a:pt x="24" y="32"/>
                  </a:moveTo>
                  <a:cubicBezTo>
                    <a:pt x="23" y="32"/>
                    <a:pt x="23" y="32"/>
                    <a:pt x="22" y="31"/>
                  </a:cubicBezTo>
                  <a:cubicBezTo>
                    <a:pt x="22" y="31"/>
                    <a:pt x="22" y="29"/>
                    <a:pt x="22" y="29"/>
                  </a:cubicBezTo>
                  <a:cubicBezTo>
                    <a:pt x="28" y="23"/>
                    <a:pt x="28" y="15"/>
                    <a:pt x="22" y="9"/>
                  </a:cubicBezTo>
                  <a:cubicBezTo>
                    <a:pt x="17" y="4"/>
                    <a:pt x="8" y="4"/>
                    <a:pt x="3" y="9"/>
                  </a:cubicBezTo>
                  <a:cubicBezTo>
                    <a:pt x="2" y="10"/>
                    <a:pt x="1" y="10"/>
                    <a:pt x="0" y="9"/>
                  </a:cubicBezTo>
                  <a:cubicBezTo>
                    <a:pt x="0" y="9"/>
                    <a:pt x="0" y="7"/>
                    <a:pt x="0" y="7"/>
                  </a:cubicBezTo>
                  <a:cubicBezTo>
                    <a:pt x="7" y="0"/>
                    <a:pt x="18" y="0"/>
                    <a:pt x="25" y="7"/>
                  </a:cubicBezTo>
                  <a:cubicBezTo>
                    <a:pt x="32" y="14"/>
                    <a:pt x="32" y="24"/>
                    <a:pt x="25" y="31"/>
                  </a:cubicBezTo>
                  <a:cubicBezTo>
                    <a:pt x="25" y="32"/>
                    <a:pt x="24" y="32"/>
                    <a:pt x="24" y="3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grpSp>
      <p:grpSp>
        <p:nvGrpSpPr>
          <p:cNvPr id="21" name="Group 20"/>
          <p:cNvGrpSpPr>
            <a:grpSpLocks noChangeAspect="1"/>
          </p:cNvGrpSpPr>
          <p:nvPr/>
        </p:nvGrpSpPr>
        <p:grpSpPr>
          <a:xfrm>
            <a:off x="4271073" y="2701075"/>
            <a:ext cx="342366" cy="288000"/>
            <a:chOff x="9577388" y="1355725"/>
            <a:chExt cx="369887" cy="311151"/>
          </a:xfrm>
          <a:solidFill>
            <a:srgbClr val="3B3939"/>
          </a:solidFill>
        </p:grpSpPr>
        <p:sp>
          <p:nvSpPr>
            <p:cNvPr id="49" name="Freeform 35"/>
            <p:cNvSpPr>
              <a:spLocks/>
            </p:cNvSpPr>
            <p:nvPr/>
          </p:nvSpPr>
          <p:spPr bwMode="auto">
            <a:xfrm>
              <a:off x="9685338" y="1417638"/>
              <a:ext cx="77787" cy="249238"/>
            </a:xfrm>
            <a:custGeom>
              <a:avLst/>
              <a:gdLst>
                <a:gd name="T0" fmla="*/ 18 w 20"/>
                <a:gd name="T1" fmla="*/ 64 h 64"/>
                <a:gd name="T2" fmla="*/ 17 w 20"/>
                <a:gd name="T3" fmla="*/ 64 h 64"/>
                <a:gd name="T4" fmla="*/ 0 w 20"/>
                <a:gd name="T5" fmla="*/ 36 h 64"/>
                <a:gd name="T6" fmla="*/ 0 w 20"/>
                <a:gd name="T7" fmla="*/ 2 h 64"/>
                <a:gd name="T8" fmla="*/ 2 w 20"/>
                <a:gd name="T9" fmla="*/ 0 h 64"/>
                <a:gd name="T10" fmla="*/ 4 w 20"/>
                <a:gd name="T11" fmla="*/ 2 h 64"/>
                <a:gd name="T12" fmla="*/ 4 w 20"/>
                <a:gd name="T13" fmla="*/ 36 h 64"/>
                <a:gd name="T14" fmla="*/ 19 w 20"/>
                <a:gd name="T15" fmla="*/ 60 h 64"/>
                <a:gd name="T16" fmla="*/ 20 w 20"/>
                <a:gd name="T17" fmla="*/ 63 h 64"/>
                <a:gd name="T18" fmla="*/ 18 w 20"/>
                <a:gd name="T19"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 h="64">
                  <a:moveTo>
                    <a:pt x="18" y="64"/>
                  </a:moveTo>
                  <a:cubicBezTo>
                    <a:pt x="18" y="64"/>
                    <a:pt x="17" y="64"/>
                    <a:pt x="17" y="64"/>
                  </a:cubicBezTo>
                  <a:cubicBezTo>
                    <a:pt x="7" y="59"/>
                    <a:pt x="0" y="48"/>
                    <a:pt x="0" y="36"/>
                  </a:cubicBezTo>
                  <a:cubicBezTo>
                    <a:pt x="0" y="2"/>
                    <a:pt x="0" y="2"/>
                    <a:pt x="0" y="2"/>
                  </a:cubicBezTo>
                  <a:cubicBezTo>
                    <a:pt x="0" y="1"/>
                    <a:pt x="1" y="0"/>
                    <a:pt x="2" y="0"/>
                  </a:cubicBezTo>
                  <a:cubicBezTo>
                    <a:pt x="3" y="0"/>
                    <a:pt x="4" y="1"/>
                    <a:pt x="4" y="2"/>
                  </a:cubicBezTo>
                  <a:cubicBezTo>
                    <a:pt x="4" y="36"/>
                    <a:pt x="4" y="36"/>
                    <a:pt x="4" y="36"/>
                  </a:cubicBezTo>
                  <a:cubicBezTo>
                    <a:pt x="4" y="46"/>
                    <a:pt x="10" y="56"/>
                    <a:pt x="19" y="60"/>
                  </a:cubicBezTo>
                  <a:cubicBezTo>
                    <a:pt x="20" y="61"/>
                    <a:pt x="20" y="62"/>
                    <a:pt x="20" y="63"/>
                  </a:cubicBezTo>
                  <a:cubicBezTo>
                    <a:pt x="19" y="64"/>
                    <a:pt x="19" y="64"/>
                    <a:pt x="18" y="6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50" name="Freeform 36"/>
            <p:cNvSpPr>
              <a:spLocks noEditPoints="1"/>
            </p:cNvSpPr>
            <p:nvPr/>
          </p:nvSpPr>
          <p:spPr bwMode="auto">
            <a:xfrm>
              <a:off x="9901238" y="1447800"/>
              <a:ext cx="46037" cy="77788"/>
            </a:xfrm>
            <a:custGeom>
              <a:avLst/>
              <a:gdLst>
                <a:gd name="T0" fmla="*/ 4 w 12"/>
                <a:gd name="T1" fmla="*/ 20 h 20"/>
                <a:gd name="T2" fmla="*/ 2 w 12"/>
                <a:gd name="T3" fmla="*/ 20 h 20"/>
                <a:gd name="T4" fmla="*/ 0 w 12"/>
                <a:gd name="T5" fmla="*/ 18 h 20"/>
                <a:gd name="T6" fmla="*/ 0 w 12"/>
                <a:gd name="T7" fmla="*/ 2 h 20"/>
                <a:gd name="T8" fmla="*/ 2 w 12"/>
                <a:gd name="T9" fmla="*/ 0 h 20"/>
                <a:gd name="T10" fmla="*/ 4 w 12"/>
                <a:gd name="T11" fmla="*/ 0 h 20"/>
                <a:gd name="T12" fmla="*/ 12 w 12"/>
                <a:gd name="T13" fmla="*/ 8 h 20"/>
                <a:gd name="T14" fmla="*/ 12 w 12"/>
                <a:gd name="T15" fmla="*/ 12 h 20"/>
                <a:gd name="T16" fmla="*/ 4 w 12"/>
                <a:gd name="T17" fmla="*/ 20 h 20"/>
                <a:gd name="T18" fmla="*/ 4 w 12"/>
                <a:gd name="T19" fmla="*/ 4 h 20"/>
                <a:gd name="T20" fmla="*/ 4 w 12"/>
                <a:gd name="T21" fmla="*/ 16 h 20"/>
                <a:gd name="T22" fmla="*/ 8 w 12"/>
                <a:gd name="T23" fmla="*/ 12 h 20"/>
                <a:gd name="T24" fmla="*/ 8 w 12"/>
                <a:gd name="T25" fmla="*/ 8 h 20"/>
                <a:gd name="T26" fmla="*/ 4 w 12"/>
                <a:gd name="T27" fmla="*/ 4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 h="20">
                  <a:moveTo>
                    <a:pt x="4" y="20"/>
                  </a:moveTo>
                  <a:cubicBezTo>
                    <a:pt x="2" y="20"/>
                    <a:pt x="2" y="20"/>
                    <a:pt x="2" y="20"/>
                  </a:cubicBezTo>
                  <a:cubicBezTo>
                    <a:pt x="1" y="20"/>
                    <a:pt x="0" y="19"/>
                    <a:pt x="0" y="18"/>
                  </a:cubicBezTo>
                  <a:cubicBezTo>
                    <a:pt x="0" y="2"/>
                    <a:pt x="0" y="2"/>
                    <a:pt x="0" y="2"/>
                  </a:cubicBezTo>
                  <a:cubicBezTo>
                    <a:pt x="0" y="1"/>
                    <a:pt x="1" y="0"/>
                    <a:pt x="2" y="0"/>
                  </a:cubicBezTo>
                  <a:cubicBezTo>
                    <a:pt x="4" y="0"/>
                    <a:pt x="4" y="0"/>
                    <a:pt x="4" y="0"/>
                  </a:cubicBezTo>
                  <a:cubicBezTo>
                    <a:pt x="8" y="0"/>
                    <a:pt x="12" y="4"/>
                    <a:pt x="12" y="8"/>
                  </a:cubicBezTo>
                  <a:cubicBezTo>
                    <a:pt x="12" y="12"/>
                    <a:pt x="12" y="12"/>
                    <a:pt x="12" y="12"/>
                  </a:cubicBezTo>
                  <a:cubicBezTo>
                    <a:pt x="12" y="16"/>
                    <a:pt x="8" y="20"/>
                    <a:pt x="4" y="20"/>
                  </a:cubicBezTo>
                  <a:close/>
                  <a:moveTo>
                    <a:pt x="4" y="4"/>
                  </a:moveTo>
                  <a:cubicBezTo>
                    <a:pt x="4" y="16"/>
                    <a:pt x="4" y="16"/>
                    <a:pt x="4" y="16"/>
                  </a:cubicBezTo>
                  <a:cubicBezTo>
                    <a:pt x="6" y="16"/>
                    <a:pt x="8" y="14"/>
                    <a:pt x="8" y="12"/>
                  </a:cubicBezTo>
                  <a:cubicBezTo>
                    <a:pt x="8" y="8"/>
                    <a:pt x="8" y="8"/>
                    <a:pt x="8" y="8"/>
                  </a:cubicBezTo>
                  <a:cubicBezTo>
                    <a:pt x="8" y="6"/>
                    <a:pt x="6" y="4"/>
                    <a:pt x="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51" name="Freeform 37"/>
            <p:cNvSpPr>
              <a:spLocks noEditPoints="1"/>
            </p:cNvSpPr>
            <p:nvPr/>
          </p:nvSpPr>
          <p:spPr bwMode="auto">
            <a:xfrm>
              <a:off x="9577388" y="1355725"/>
              <a:ext cx="339725" cy="263525"/>
            </a:xfrm>
            <a:custGeom>
              <a:avLst/>
              <a:gdLst>
                <a:gd name="T0" fmla="*/ 86 w 88"/>
                <a:gd name="T1" fmla="*/ 68 h 68"/>
                <a:gd name="T2" fmla="*/ 85 w 88"/>
                <a:gd name="T3" fmla="*/ 68 h 68"/>
                <a:gd name="T4" fmla="*/ 81 w 88"/>
                <a:gd name="T5" fmla="*/ 66 h 68"/>
                <a:gd name="T6" fmla="*/ 18 w 88"/>
                <a:gd name="T7" fmla="*/ 52 h 68"/>
                <a:gd name="T8" fmla="*/ 14 w 88"/>
                <a:gd name="T9" fmla="*/ 52 h 68"/>
                <a:gd name="T10" fmla="*/ 0 w 88"/>
                <a:gd name="T11" fmla="*/ 38 h 68"/>
                <a:gd name="T12" fmla="*/ 0 w 88"/>
                <a:gd name="T13" fmla="*/ 30 h 68"/>
                <a:gd name="T14" fmla="*/ 14 w 88"/>
                <a:gd name="T15" fmla="*/ 16 h 68"/>
                <a:gd name="T16" fmla="*/ 18 w 88"/>
                <a:gd name="T17" fmla="*/ 16 h 68"/>
                <a:gd name="T18" fmla="*/ 81 w 88"/>
                <a:gd name="T19" fmla="*/ 2 h 68"/>
                <a:gd name="T20" fmla="*/ 85 w 88"/>
                <a:gd name="T21" fmla="*/ 0 h 68"/>
                <a:gd name="T22" fmla="*/ 87 w 88"/>
                <a:gd name="T23" fmla="*/ 0 h 68"/>
                <a:gd name="T24" fmla="*/ 88 w 88"/>
                <a:gd name="T25" fmla="*/ 2 h 68"/>
                <a:gd name="T26" fmla="*/ 88 w 88"/>
                <a:gd name="T27" fmla="*/ 66 h 68"/>
                <a:gd name="T28" fmla="*/ 87 w 88"/>
                <a:gd name="T29" fmla="*/ 68 h 68"/>
                <a:gd name="T30" fmla="*/ 86 w 88"/>
                <a:gd name="T31" fmla="*/ 68 h 68"/>
                <a:gd name="T32" fmla="*/ 14 w 88"/>
                <a:gd name="T33" fmla="*/ 20 h 68"/>
                <a:gd name="T34" fmla="*/ 4 w 88"/>
                <a:gd name="T35" fmla="*/ 30 h 68"/>
                <a:gd name="T36" fmla="*/ 4 w 88"/>
                <a:gd name="T37" fmla="*/ 38 h 68"/>
                <a:gd name="T38" fmla="*/ 14 w 88"/>
                <a:gd name="T39" fmla="*/ 48 h 68"/>
                <a:gd name="T40" fmla="*/ 18 w 88"/>
                <a:gd name="T41" fmla="*/ 48 h 68"/>
                <a:gd name="T42" fmla="*/ 83 w 88"/>
                <a:gd name="T43" fmla="*/ 62 h 68"/>
                <a:gd name="T44" fmla="*/ 84 w 88"/>
                <a:gd name="T45" fmla="*/ 63 h 68"/>
                <a:gd name="T46" fmla="*/ 84 w 88"/>
                <a:gd name="T47" fmla="*/ 5 h 68"/>
                <a:gd name="T48" fmla="*/ 83 w 88"/>
                <a:gd name="T49" fmla="*/ 6 h 68"/>
                <a:gd name="T50" fmla="*/ 18 w 88"/>
                <a:gd name="T51" fmla="*/ 20 h 68"/>
                <a:gd name="T52" fmla="*/ 14 w 88"/>
                <a:gd name="T53" fmla="*/ 2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8" h="68">
                  <a:moveTo>
                    <a:pt x="86" y="68"/>
                  </a:moveTo>
                  <a:cubicBezTo>
                    <a:pt x="86" y="68"/>
                    <a:pt x="85" y="68"/>
                    <a:pt x="85" y="68"/>
                  </a:cubicBezTo>
                  <a:cubicBezTo>
                    <a:pt x="81" y="66"/>
                    <a:pt x="81" y="66"/>
                    <a:pt x="81" y="66"/>
                  </a:cubicBezTo>
                  <a:cubicBezTo>
                    <a:pt x="66" y="59"/>
                    <a:pt x="51" y="52"/>
                    <a:pt x="18" y="52"/>
                  </a:cubicBezTo>
                  <a:cubicBezTo>
                    <a:pt x="14" y="52"/>
                    <a:pt x="14" y="52"/>
                    <a:pt x="14" y="52"/>
                  </a:cubicBezTo>
                  <a:cubicBezTo>
                    <a:pt x="6" y="52"/>
                    <a:pt x="0" y="46"/>
                    <a:pt x="0" y="38"/>
                  </a:cubicBezTo>
                  <a:cubicBezTo>
                    <a:pt x="0" y="30"/>
                    <a:pt x="0" y="30"/>
                    <a:pt x="0" y="30"/>
                  </a:cubicBezTo>
                  <a:cubicBezTo>
                    <a:pt x="0" y="22"/>
                    <a:pt x="6" y="16"/>
                    <a:pt x="14" y="16"/>
                  </a:cubicBezTo>
                  <a:cubicBezTo>
                    <a:pt x="18" y="16"/>
                    <a:pt x="18" y="16"/>
                    <a:pt x="18" y="16"/>
                  </a:cubicBezTo>
                  <a:cubicBezTo>
                    <a:pt x="51" y="16"/>
                    <a:pt x="66" y="9"/>
                    <a:pt x="81" y="2"/>
                  </a:cubicBezTo>
                  <a:cubicBezTo>
                    <a:pt x="85" y="0"/>
                    <a:pt x="85" y="0"/>
                    <a:pt x="85" y="0"/>
                  </a:cubicBezTo>
                  <a:cubicBezTo>
                    <a:pt x="86" y="0"/>
                    <a:pt x="87" y="0"/>
                    <a:pt x="87" y="0"/>
                  </a:cubicBezTo>
                  <a:cubicBezTo>
                    <a:pt x="88" y="1"/>
                    <a:pt x="88" y="1"/>
                    <a:pt x="88" y="2"/>
                  </a:cubicBezTo>
                  <a:cubicBezTo>
                    <a:pt x="88" y="66"/>
                    <a:pt x="88" y="66"/>
                    <a:pt x="88" y="66"/>
                  </a:cubicBezTo>
                  <a:cubicBezTo>
                    <a:pt x="88" y="67"/>
                    <a:pt x="88" y="67"/>
                    <a:pt x="87" y="68"/>
                  </a:cubicBezTo>
                  <a:cubicBezTo>
                    <a:pt x="87" y="68"/>
                    <a:pt x="86" y="68"/>
                    <a:pt x="86" y="68"/>
                  </a:cubicBezTo>
                  <a:close/>
                  <a:moveTo>
                    <a:pt x="14" y="20"/>
                  </a:moveTo>
                  <a:cubicBezTo>
                    <a:pt x="8" y="20"/>
                    <a:pt x="4" y="24"/>
                    <a:pt x="4" y="30"/>
                  </a:cubicBezTo>
                  <a:cubicBezTo>
                    <a:pt x="4" y="38"/>
                    <a:pt x="4" y="38"/>
                    <a:pt x="4" y="38"/>
                  </a:cubicBezTo>
                  <a:cubicBezTo>
                    <a:pt x="4" y="44"/>
                    <a:pt x="8" y="48"/>
                    <a:pt x="14" y="48"/>
                  </a:cubicBezTo>
                  <a:cubicBezTo>
                    <a:pt x="18" y="48"/>
                    <a:pt x="18" y="48"/>
                    <a:pt x="18" y="48"/>
                  </a:cubicBezTo>
                  <a:cubicBezTo>
                    <a:pt x="52" y="48"/>
                    <a:pt x="67" y="55"/>
                    <a:pt x="83" y="62"/>
                  </a:cubicBezTo>
                  <a:cubicBezTo>
                    <a:pt x="84" y="63"/>
                    <a:pt x="84" y="63"/>
                    <a:pt x="84" y="63"/>
                  </a:cubicBezTo>
                  <a:cubicBezTo>
                    <a:pt x="84" y="5"/>
                    <a:pt x="84" y="5"/>
                    <a:pt x="84" y="5"/>
                  </a:cubicBezTo>
                  <a:cubicBezTo>
                    <a:pt x="83" y="6"/>
                    <a:pt x="83" y="6"/>
                    <a:pt x="83" y="6"/>
                  </a:cubicBezTo>
                  <a:cubicBezTo>
                    <a:pt x="67" y="13"/>
                    <a:pt x="52" y="20"/>
                    <a:pt x="18" y="20"/>
                  </a:cubicBezTo>
                  <a:lnTo>
                    <a:pt x="14" y="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grpSp>
      <p:grpSp>
        <p:nvGrpSpPr>
          <p:cNvPr id="22" name="Group 21"/>
          <p:cNvGrpSpPr>
            <a:grpSpLocks noChangeAspect="1"/>
          </p:cNvGrpSpPr>
          <p:nvPr/>
        </p:nvGrpSpPr>
        <p:grpSpPr>
          <a:xfrm>
            <a:off x="4425721" y="3664345"/>
            <a:ext cx="288000" cy="288000"/>
            <a:chOff x="9459913" y="2638425"/>
            <a:chExt cx="371475" cy="371475"/>
          </a:xfrm>
          <a:solidFill>
            <a:schemeClr val="bg1"/>
          </a:solidFill>
        </p:grpSpPr>
        <p:sp>
          <p:nvSpPr>
            <p:cNvPr id="47" name="Freeform 41"/>
            <p:cNvSpPr>
              <a:spLocks noEditPoints="1"/>
            </p:cNvSpPr>
            <p:nvPr/>
          </p:nvSpPr>
          <p:spPr bwMode="auto">
            <a:xfrm>
              <a:off x="9459913" y="2638425"/>
              <a:ext cx="371475" cy="371475"/>
            </a:xfrm>
            <a:custGeom>
              <a:avLst/>
              <a:gdLst>
                <a:gd name="T0" fmla="*/ 48 w 96"/>
                <a:gd name="T1" fmla="*/ 96 h 96"/>
                <a:gd name="T2" fmla="*/ 0 w 96"/>
                <a:gd name="T3" fmla="*/ 48 h 96"/>
                <a:gd name="T4" fmla="*/ 48 w 96"/>
                <a:gd name="T5" fmla="*/ 0 h 96"/>
                <a:gd name="T6" fmla="*/ 96 w 96"/>
                <a:gd name="T7" fmla="*/ 48 h 96"/>
                <a:gd name="T8" fmla="*/ 48 w 96"/>
                <a:gd name="T9" fmla="*/ 96 h 96"/>
                <a:gd name="T10" fmla="*/ 48 w 96"/>
                <a:gd name="T11" fmla="*/ 4 h 96"/>
                <a:gd name="T12" fmla="*/ 4 w 96"/>
                <a:gd name="T13" fmla="*/ 48 h 96"/>
                <a:gd name="T14" fmla="*/ 48 w 96"/>
                <a:gd name="T15" fmla="*/ 92 h 96"/>
                <a:gd name="T16" fmla="*/ 92 w 96"/>
                <a:gd name="T17" fmla="*/ 48 h 96"/>
                <a:gd name="T18" fmla="*/ 48 w 96"/>
                <a:gd name="T19" fmla="*/ 4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6">
                  <a:moveTo>
                    <a:pt x="48" y="96"/>
                  </a:moveTo>
                  <a:cubicBezTo>
                    <a:pt x="22" y="96"/>
                    <a:pt x="0" y="74"/>
                    <a:pt x="0" y="48"/>
                  </a:cubicBezTo>
                  <a:cubicBezTo>
                    <a:pt x="0" y="22"/>
                    <a:pt x="22" y="0"/>
                    <a:pt x="48" y="0"/>
                  </a:cubicBezTo>
                  <a:cubicBezTo>
                    <a:pt x="74" y="0"/>
                    <a:pt x="96" y="22"/>
                    <a:pt x="96" y="48"/>
                  </a:cubicBezTo>
                  <a:cubicBezTo>
                    <a:pt x="96" y="74"/>
                    <a:pt x="74" y="96"/>
                    <a:pt x="48" y="96"/>
                  </a:cubicBezTo>
                  <a:close/>
                  <a:moveTo>
                    <a:pt x="48" y="4"/>
                  </a:moveTo>
                  <a:cubicBezTo>
                    <a:pt x="24" y="4"/>
                    <a:pt x="4" y="24"/>
                    <a:pt x="4" y="48"/>
                  </a:cubicBezTo>
                  <a:cubicBezTo>
                    <a:pt x="4" y="72"/>
                    <a:pt x="24" y="92"/>
                    <a:pt x="48" y="92"/>
                  </a:cubicBezTo>
                  <a:cubicBezTo>
                    <a:pt x="72" y="92"/>
                    <a:pt x="92" y="72"/>
                    <a:pt x="92" y="48"/>
                  </a:cubicBezTo>
                  <a:cubicBezTo>
                    <a:pt x="92" y="24"/>
                    <a:pt x="72" y="4"/>
                    <a:pt x="48"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48" name="Freeform 42"/>
            <p:cNvSpPr>
              <a:spLocks/>
            </p:cNvSpPr>
            <p:nvPr/>
          </p:nvSpPr>
          <p:spPr bwMode="auto">
            <a:xfrm>
              <a:off x="9521826" y="2646363"/>
              <a:ext cx="263525" cy="309563"/>
            </a:xfrm>
            <a:custGeom>
              <a:avLst/>
              <a:gdLst>
                <a:gd name="T0" fmla="*/ 20 w 68"/>
                <a:gd name="T1" fmla="*/ 68 h 80"/>
                <a:gd name="T2" fmla="*/ 22 w 68"/>
                <a:gd name="T3" fmla="*/ 62 h 80"/>
                <a:gd name="T4" fmla="*/ 18 w 68"/>
                <a:gd name="T5" fmla="*/ 56 h 80"/>
                <a:gd name="T6" fmla="*/ 11 w 68"/>
                <a:gd name="T7" fmla="*/ 52 h 80"/>
                <a:gd name="T8" fmla="*/ 0 w 68"/>
                <a:gd name="T9" fmla="*/ 42 h 80"/>
                <a:gd name="T10" fmla="*/ 22 w 68"/>
                <a:gd name="T11" fmla="*/ 25 h 80"/>
                <a:gd name="T12" fmla="*/ 33 w 68"/>
                <a:gd name="T13" fmla="*/ 27 h 80"/>
                <a:gd name="T14" fmla="*/ 36 w 68"/>
                <a:gd name="T15" fmla="*/ 18 h 80"/>
                <a:gd name="T16" fmla="*/ 26 w 68"/>
                <a:gd name="T17" fmla="*/ 12 h 80"/>
                <a:gd name="T18" fmla="*/ 47 w 68"/>
                <a:gd name="T19" fmla="*/ 2 h 80"/>
                <a:gd name="T20" fmla="*/ 30 w 68"/>
                <a:gd name="T21" fmla="*/ 12 h 80"/>
                <a:gd name="T22" fmla="*/ 35 w 68"/>
                <a:gd name="T23" fmla="*/ 14 h 80"/>
                <a:gd name="T24" fmla="*/ 40 w 68"/>
                <a:gd name="T25" fmla="*/ 28 h 80"/>
                <a:gd name="T26" fmla="*/ 34 w 68"/>
                <a:gd name="T27" fmla="*/ 31 h 80"/>
                <a:gd name="T28" fmla="*/ 20 w 68"/>
                <a:gd name="T29" fmla="*/ 28 h 80"/>
                <a:gd name="T30" fmla="*/ 4 w 68"/>
                <a:gd name="T31" fmla="*/ 42 h 80"/>
                <a:gd name="T32" fmla="*/ 11 w 68"/>
                <a:gd name="T33" fmla="*/ 48 h 80"/>
                <a:gd name="T34" fmla="*/ 22 w 68"/>
                <a:gd name="T35" fmla="*/ 55 h 80"/>
                <a:gd name="T36" fmla="*/ 25 w 68"/>
                <a:gd name="T37" fmla="*/ 66 h 80"/>
                <a:gd name="T38" fmla="*/ 28 w 68"/>
                <a:gd name="T39" fmla="*/ 76 h 80"/>
                <a:gd name="T40" fmla="*/ 39 w 68"/>
                <a:gd name="T41" fmla="*/ 66 h 80"/>
                <a:gd name="T42" fmla="*/ 45 w 68"/>
                <a:gd name="T43" fmla="*/ 62 h 80"/>
                <a:gd name="T44" fmla="*/ 42 w 68"/>
                <a:gd name="T45" fmla="*/ 58 h 80"/>
                <a:gd name="T46" fmla="*/ 51 w 68"/>
                <a:gd name="T47" fmla="*/ 44 h 80"/>
                <a:gd name="T48" fmla="*/ 44 w 68"/>
                <a:gd name="T49" fmla="*/ 42 h 80"/>
                <a:gd name="T50" fmla="*/ 40 w 68"/>
                <a:gd name="T51" fmla="*/ 35 h 80"/>
                <a:gd name="T52" fmla="*/ 56 w 68"/>
                <a:gd name="T53" fmla="*/ 28 h 80"/>
                <a:gd name="T54" fmla="*/ 66 w 68"/>
                <a:gd name="T55" fmla="*/ 13 h 80"/>
                <a:gd name="T56" fmla="*/ 57 w 68"/>
                <a:gd name="T57" fmla="*/ 32 h 80"/>
                <a:gd name="T58" fmla="*/ 45 w 68"/>
                <a:gd name="T59" fmla="*/ 34 h 80"/>
                <a:gd name="T60" fmla="*/ 51 w 68"/>
                <a:gd name="T61" fmla="*/ 40 h 80"/>
                <a:gd name="T62" fmla="*/ 48 w 68"/>
                <a:gd name="T63" fmla="*/ 56 h 80"/>
                <a:gd name="T64" fmla="*/ 47 w 68"/>
                <a:gd name="T65" fmla="*/ 58 h 80"/>
                <a:gd name="T66" fmla="*/ 47 w 68"/>
                <a:gd name="T67" fmla="*/ 65 h 80"/>
                <a:gd name="T68" fmla="*/ 28 w 68"/>
                <a:gd name="T69" fmla="*/ 8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8" h="80">
                  <a:moveTo>
                    <a:pt x="28" y="80"/>
                  </a:moveTo>
                  <a:cubicBezTo>
                    <a:pt x="24" y="80"/>
                    <a:pt x="20" y="70"/>
                    <a:pt x="20" y="68"/>
                  </a:cubicBezTo>
                  <a:cubicBezTo>
                    <a:pt x="20" y="67"/>
                    <a:pt x="21" y="65"/>
                    <a:pt x="21" y="64"/>
                  </a:cubicBezTo>
                  <a:cubicBezTo>
                    <a:pt x="22" y="63"/>
                    <a:pt x="22" y="63"/>
                    <a:pt x="22" y="62"/>
                  </a:cubicBezTo>
                  <a:cubicBezTo>
                    <a:pt x="22" y="61"/>
                    <a:pt x="20" y="59"/>
                    <a:pt x="19" y="57"/>
                  </a:cubicBezTo>
                  <a:cubicBezTo>
                    <a:pt x="18" y="57"/>
                    <a:pt x="18" y="57"/>
                    <a:pt x="18" y="56"/>
                  </a:cubicBezTo>
                  <a:cubicBezTo>
                    <a:pt x="18" y="54"/>
                    <a:pt x="18" y="53"/>
                    <a:pt x="17" y="53"/>
                  </a:cubicBezTo>
                  <a:cubicBezTo>
                    <a:pt x="16" y="52"/>
                    <a:pt x="14" y="52"/>
                    <a:pt x="11" y="52"/>
                  </a:cubicBezTo>
                  <a:cubicBezTo>
                    <a:pt x="10" y="52"/>
                    <a:pt x="9" y="52"/>
                    <a:pt x="8" y="52"/>
                  </a:cubicBezTo>
                  <a:cubicBezTo>
                    <a:pt x="2" y="52"/>
                    <a:pt x="0" y="45"/>
                    <a:pt x="0" y="42"/>
                  </a:cubicBezTo>
                  <a:cubicBezTo>
                    <a:pt x="0" y="41"/>
                    <a:pt x="0" y="26"/>
                    <a:pt x="12" y="24"/>
                  </a:cubicBezTo>
                  <a:cubicBezTo>
                    <a:pt x="17" y="23"/>
                    <a:pt x="20" y="23"/>
                    <a:pt x="22" y="25"/>
                  </a:cubicBezTo>
                  <a:cubicBezTo>
                    <a:pt x="23" y="26"/>
                    <a:pt x="24" y="26"/>
                    <a:pt x="24" y="27"/>
                  </a:cubicBezTo>
                  <a:cubicBezTo>
                    <a:pt x="26" y="28"/>
                    <a:pt x="30" y="28"/>
                    <a:pt x="33" y="27"/>
                  </a:cubicBezTo>
                  <a:cubicBezTo>
                    <a:pt x="34" y="27"/>
                    <a:pt x="35" y="26"/>
                    <a:pt x="36" y="26"/>
                  </a:cubicBezTo>
                  <a:cubicBezTo>
                    <a:pt x="37" y="23"/>
                    <a:pt x="37" y="20"/>
                    <a:pt x="36" y="18"/>
                  </a:cubicBezTo>
                  <a:cubicBezTo>
                    <a:pt x="34" y="19"/>
                    <a:pt x="31" y="19"/>
                    <a:pt x="29" y="18"/>
                  </a:cubicBezTo>
                  <a:cubicBezTo>
                    <a:pt x="27" y="17"/>
                    <a:pt x="26" y="15"/>
                    <a:pt x="26" y="12"/>
                  </a:cubicBezTo>
                  <a:cubicBezTo>
                    <a:pt x="25" y="5"/>
                    <a:pt x="42" y="1"/>
                    <a:pt x="45" y="0"/>
                  </a:cubicBezTo>
                  <a:cubicBezTo>
                    <a:pt x="46" y="0"/>
                    <a:pt x="47" y="1"/>
                    <a:pt x="47" y="2"/>
                  </a:cubicBezTo>
                  <a:cubicBezTo>
                    <a:pt x="48" y="3"/>
                    <a:pt x="47" y="4"/>
                    <a:pt x="46" y="4"/>
                  </a:cubicBezTo>
                  <a:cubicBezTo>
                    <a:pt x="38" y="6"/>
                    <a:pt x="30" y="9"/>
                    <a:pt x="30" y="12"/>
                  </a:cubicBezTo>
                  <a:cubicBezTo>
                    <a:pt x="30" y="13"/>
                    <a:pt x="30" y="14"/>
                    <a:pt x="31" y="15"/>
                  </a:cubicBezTo>
                  <a:cubicBezTo>
                    <a:pt x="32" y="15"/>
                    <a:pt x="34" y="15"/>
                    <a:pt x="35" y="14"/>
                  </a:cubicBezTo>
                  <a:cubicBezTo>
                    <a:pt x="36" y="14"/>
                    <a:pt x="38" y="14"/>
                    <a:pt x="38" y="14"/>
                  </a:cubicBezTo>
                  <a:cubicBezTo>
                    <a:pt x="41" y="16"/>
                    <a:pt x="41" y="23"/>
                    <a:pt x="40" y="28"/>
                  </a:cubicBezTo>
                  <a:cubicBezTo>
                    <a:pt x="40" y="29"/>
                    <a:pt x="39" y="30"/>
                    <a:pt x="38" y="30"/>
                  </a:cubicBezTo>
                  <a:cubicBezTo>
                    <a:pt x="37" y="30"/>
                    <a:pt x="36" y="30"/>
                    <a:pt x="34" y="31"/>
                  </a:cubicBezTo>
                  <a:cubicBezTo>
                    <a:pt x="30" y="32"/>
                    <a:pt x="24" y="33"/>
                    <a:pt x="21" y="29"/>
                  </a:cubicBezTo>
                  <a:cubicBezTo>
                    <a:pt x="20" y="29"/>
                    <a:pt x="20" y="29"/>
                    <a:pt x="20" y="28"/>
                  </a:cubicBezTo>
                  <a:cubicBezTo>
                    <a:pt x="20" y="28"/>
                    <a:pt x="18" y="27"/>
                    <a:pt x="12" y="28"/>
                  </a:cubicBezTo>
                  <a:cubicBezTo>
                    <a:pt x="4" y="30"/>
                    <a:pt x="4" y="42"/>
                    <a:pt x="4" y="42"/>
                  </a:cubicBezTo>
                  <a:cubicBezTo>
                    <a:pt x="4" y="42"/>
                    <a:pt x="4" y="48"/>
                    <a:pt x="8" y="48"/>
                  </a:cubicBezTo>
                  <a:cubicBezTo>
                    <a:pt x="9" y="48"/>
                    <a:pt x="10" y="48"/>
                    <a:pt x="11" y="48"/>
                  </a:cubicBezTo>
                  <a:cubicBezTo>
                    <a:pt x="14" y="48"/>
                    <a:pt x="18" y="48"/>
                    <a:pt x="20" y="50"/>
                  </a:cubicBezTo>
                  <a:cubicBezTo>
                    <a:pt x="21" y="51"/>
                    <a:pt x="22" y="53"/>
                    <a:pt x="22" y="55"/>
                  </a:cubicBezTo>
                  <a:cubicBezTo>
                    <a:pt x="24" y="57"/>
                    <a:pt x="26" y="60"/>
                    <a:pt x="26" y="62"/>
                  </a:cubicBezTo>
                  <a:cubicBezTo>
                    <a:pt x="26" y="63"/>
                    <a:pt x="25" y="65"/>
                    <a:pt x="25" y="66"/>
                  </a:cubicBezTo>
                  <a:cubicBezTo>
                    <a:pt x="24" y="67"/>
                    <a:pt x="24" y="67"/>
                    <a:pt x="24" y="68"/>
                  </a:cubicBezTo>
                  <a:cubicBezTo>
                    <a:pt x="24" y="69"/>
                    <a:pt x="27" y="75"/>
                    <a:pt x="28" y="76"/>
                  </a:cubicBezTo>
                  <a:cubicBezTo>
                    <a:pt x="35" y="76"/>
                    <a:pt x="38" y="73"/>
                    <a:pt x="38" y="68"/>
                  </a:cubicBezTo>
                  <a:cubicBezTo>
                    <a:pt x="38" y="67"/>
                    <a:pt x="39" y="66"/>
                    <a:pt x="39" y="66"/>
                  </a:cubicBezTo>
                  <a:cubicBezTo>
                    <a:pt x="39" y="66"/>
                    <a:pt x="42" y="65"/>
                    <a:pt x="45" y="63"/>
                  </a:cubicBezTo>
                  <a:cubicBezTo>
                    <a:pt x="45" y="62"/>
                    <a:pt x="45" y="62"/>
                    <a:pt x="45" y="62"/>
                  </a:cubicBezTo>
                  <a:cubicBezTo>
                    <a:pt x="45" y="62"/>
                    <a:pt x="44" y="62"/>
                    <a:pt x="44" y="61"/>
                  </a:cubicBezTo>
                  <a:cubicBezTo>
                    <a:pt x="43" y="61"/>
                    <a:pt x="42" y="60"/>
                    <a:pt x="42" y="58"/>
                  </a:cubicBezTo>
                  <a:cubicBezTo>
                    <a:pt x="42" y="57"/>
                    <a:pt x="43" y="55"/>
                    <a:pt x="45" y="53"/>
                  </a:cubicBezTo>
                  <a:cubicBezTo>
                    <a:pt x="48" y="50"/>
                    <a:pt x="51" y="47"/>
                    <a:pt x="51" y="44"/>
                  </a:cubicBezTo>
                  <a:cubicBezTo>
                    <a:pt x="49" y="45"/>
                    <a:pt x="47" y="45"/>
                    <a:pt x="45" y="43"/>
                  </a:cubicBezTo>
                  <a:cubicBezTo>
                    <a:pt x="44" y="43"/>
                    <a:pt x="44" y="43"/>
                    <a:pt x="44" y="42"/>
                  </a:cubicBezTo>
                  <a:cubicBezTo>
                    <a:pt x="43" y="40"/>
                    <a:pt x="42" y="37"/>
                    <a:pt x="42" y="36"/>
                  </a:cubicBezTo>
                  <a:cubicBezTo>
                    <a:pt x="41" y="36"/>
                    <a:pt x="40" y="35"/>
                    <a:pt x="40" y="35"/>
                  </a:cubicBezTo>
                  <a:cubicBezTo>
                    <a:pt x="40" y="34"/>
                    <a:pt x="39" y="33"/>
                    <a:pt x="40" y="32"/>
                  </a:cubicBezTo>
                  <a:cubicBezTo>
                    <a:pt x="42" y="30"/>
                    <a:pt x="49" y="27"/>
                    <a:pt x="56" y="28"/>
                  </a:cubicBezTo>
                  <a:cubicBezTo>
                    <a:pt x="62" y="24"/>
                    <a:pt x="64" y="15"/>
                    <a:pt x="64" y="15"/>
                  </a:cubicBezTo>
                  <a:cubicBezTo>
                    <a:pt x="64" y="14"/>
                    <a:pt x="65" y="13"/>
                    <a:pt x="66" y="13"/>
                  </a:cubicBezTo>
                  <a:cubicBezTo>
                    <a:pt x="67" y="13"/>
                    <a:pt x="68" y="14"/>
                    <a:pt x="68" y="15"/>
                  </a:cubicBezTo>
                  <a:cubicBezTo>
                    <a:pt x="68" y="16"/>
                    <a:pt x="66" y="27"/>
                    <a:pt x="57" y="32"/>
                  </a:cubicBezTo>
                  <a:cubicBezTo>
                    <a:pt x="56" y="32"/>
                    <a:pt x="56" y="32"/>
                    <a:pt x="56" y="32"/>
                  </a:cubicBezTo>
                  <a:cubicBezTo>
                    <a:pt x="51" y="31"/>
                    <a:pt x="47" y="32"/>
                    <a:pt x="45" y="34"/>
                  </a:cubicBezTo>
                  <a:cubicBezTo>
                    <a:pt x="46" y="35"/>
                    <a:pt x="47" y="37"/>
                    <a:pt x="48" y="41"/>
                  </a:cubicBezTo>
                  <a:cubicBezTo>
                    <a:pt x="49" y="41"/>
                    <a:pt x="50" y="41"/>
                    <a:pt x="51" y="40"/>
                  </a:cubicBezTo>
                  <a:cubicBezTo>
                    <a:pt x="52" y="40"/>
                    <a:pt x="53" y="40"/>
                    <a:pt x="53" y="41"/>
                  </a:cubicBezTo>
                  <a:cubicBezTo>
                    <a:pt x="58" y="45"/>
                    <a:pt x="52" y="52"/>
                    <a:pt x="48" y="56"/>
                  </a:cubicBezTo>
                  <a:cubicBezTo>
                    <a:pt x="48" y="57"/>
                    <a:pt x="47" y="57"/>
                    <a:pt x="46" y="58"/>
                  </a:cubicBezTo>
                  <a:cubicBezTo>
                    <a:pt x="46" y="58"/>
                    <a:pt x="47" y="58"/>
                    <a:pt x="47" y="58"/>
                  </a:cubicBezTo>
                  <a:cubicBezTo>
                    <a:pt x="48" y="59"/>
                    <a:pt x="49" y="60"/>
                    <a:pt x="49" y="62"/>
                  </a:cubicBezTo>
                  <a:cubicBezTo>
                    <a:pt x="49" y="63"/>
                    <a:pt x="48" y="64"/>
                    <a:pt x="47" y="65"/>
                  </a:cubicBezTo>
                  <a:cubicBezTo>
                    <a:pt x="45" y="67"/>
                    <a:pt x="43" y="69"/>
                    <a:pt x="42" y="69"/>
                  </a:cubicBezTo>
                  <a:cubicBezTo>
                    <a:pt x="41" y="76"/>
                    <a:pt x="36" y="80"/>
                    <a:pt x="28"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grpSp>
      <p:grpSp>
        <p:nvGrpSpPr>
          <p:cNvPr id="23" name="Group 22"/>
          <p:cNvGrpSpPr>
            <a:grpSpLocks noChangeAspect="1"/>
          </p:cNvGrpSpPr>
          <p:nvPr/>
        </p:nvGrpSpPr>
        <p:grpSpPr>
          <a:xfrm>
            <a:off x="4559254" y="4559325"/>
            <a:ext cx="287999" cy="288000"/>
            <a:chOff x="9682163" y="2754313"/>
            <a:chExt cx="371475" cy="371476"/>
          </a:xfrm>
          <a:solidFill>
            <a:schemeClr val="bg1"/>
          </a:solidFill>
        </p:grpSpPr>
        <p:sp>
          <p:nvSpPr>
            <p:cNvPr id="35" name="Freeform 46"/>
            <p:cNvSpPr>
              <a:spLocks/>
            </p:cNvSpPr>
            <p:nvPr/>
          </p:nvSpPr>
          <p:spPr bwMode="auto">
            <a:xfrm>
              <a:off x="9682163" y="3109913"/>
              <a:ext cx="371475" cy="15875"/>
            </a:xfrm>
            <a:custGeom>
              <a:avLst/>
              <a:gdLst>
                <a:gd name="T0" fmla="*/ 94 w 96"/>
                <a:gd name="T1" fmla="*/ 4 h 4"/>
                <a:gd name="T2" fmla="*/ 2 w 96"/>
                <a:gd name="T3" fmla="*/ 4 h 4"/>
                <a:gd name="T4" fmla="*/ 0 w 96"/>
                <a:gd name="T5" fmla="*/ 2 h 4"/>
                <a:gd name="T6" fmla="*/ 2 w 96"/>
                <a:gd name="T7" fmla="*/ 0 h 4"/>
                <a:gd name="T8" fmla="*/ 94 w 96"/>
                <a:gd name="T9" fmla="*/ 0 h 4"/>
                <a:gd name="T10" fmla="*/ 96 w 96"/>
                <a:gd name="T11" fmla="*/ 2 h 4"/>
                <a:gd name="T12" fmla="*/ 94 w 96"/>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96" h="4">
                  <a:moveTo>
                    <a:pt x="94" y="4"/>
                  </a:moveTo>
                  <a:cubicBezTo>
                    <a:pt x="2" y="4"/>
                    <a:pt x="2" y="4"/>
                    <a:pt x="2" y="4"/>
                  </a:cubicBezTo>
                  <a:cubicBezTo>
                    <a:pt x="1" y="4"/>
                    <a:pt x="0" y="3"/>
                    <a:pt x="0" y="2"/>
                  </a:cubicBezTo>
                  <a:cubicBezTo>
                    <a:pt x="0" y="1"/>
                    <a:pt x="1" y="0"/>
                    <a:pt x="2" y="0"/>
                  </a:cubicBezTo>
                  <a:cubicBezTo>
                    <a:pt x="94" y="0"/>
                    <a:pt x="94" y="0"/>
                    <a:pt x="94" y="0"/>
                  </a:cubicBezTo>
                  <a:cubicBezTo>
                    <a:pt x="95" y="0"/>
                    <a:pt x="96" y="1"/>
                    <a:pt x="96" y="2"/>
                  </a:cubicBezTo>
                  <a:cubicBezTo>
                    <a:pt x="96" y="3"/>
                    <a:pt x="95" y="4"/>
                    <a:pt x="9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36" name="Freeform 47"/>
            <p:cNvSpPr>
              <a:spLocks noEditPoints="1"/>
            </p:cNvSpPr>
            <p:nvPr/>
          </p:nvSpPr>
          <p:spPr bwMode="auto">
            <a:xfrm>
              <a:off x="9698038" y="3033713"/>
              <a:ext cx="61913" cy="92075"/>
            </a:xfrm>
            <a:custGeom>
              <a:avLst/>
              <a:gdLst>
                <a:gd name="T0" fmla="*/ 14 w 16"/>
                <a:gd name="T1" fmla="*/ 24 h 24"/>
                <a:gd name="T2" fmla="*/ 2 w 16"/>
                <a:gd name="T3" fmla="*/ 24 h 24"/>
                <a:gd name="T4" fmla="*/ 0 w 16"/>
                <a:gd name="T5" fmla="*/ 22 h 24"/>
                <a:gd name="T6" fmla="*/ 0 w 16"/>
                <a:gd name="T7" fmla="*/ 2 h 24"/>
                <a:gd name="T8" fmla="*/ 2 w 16"/>
                <a:gd name="T9" fmla="*/ 0 h 24"/>
                <a:gd name="T10" fmla="*/ 14 w 16"/>
                <a:gd name="T11" fmla="*/ 0 h 24"/>
                <a:gd name="T12" fmla="*/ 16 w 16"/>
                <a:gd name="T13" fmla="*/ 2 h 24"/>
                <a:gd name="T14" fmla="*/ 16 w 16"/>
                <a:gd name="T15" fmla="*/ 22 h 24"/>
                <a:gd name="T16" fmla="*/ 14 w 16"/>
                <a:gd name="T17" fmla="*/ 24 h 24"/>
                <a:gd name="T18" fmla="*/ 4 w 16"/>
                <a:gd name="T19" fmla="*/ 20 h 24"/>
                <a:gd name="T20" fmla="*/ 12 w 16"/>
                <a:gd name="T21" fmla="*/ 20 h 24"/>
                <a:gd name="T22" fmla="*/ 12 w 16"/>
                <a:gd name="T23" fmla="*/ 4 h 24"/>
                <a:gd name="T24" fmla="*/ 4 w 16"/>
                <a:gd name="T25" fmla="*/ 4 h 24"/>
                <a:gd name="T26" fmla="*/ 4 w 16"/>
                <a:gd name="T27" fmla="*/ 2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 h="24">
                  <a:moveTo>
                    <a:pt x="14" y="24"/>
                  </a:moveTo>
                  <a:cubicBezTo>
                    <a:pt x="2" y="24"/>
                    <a:pt x="2" y="24"/>
                    <a:pt x="2" y="24"/>
                  </a:cubicBezTo>
                  <a:cubicBezTo>
                    <a:pt x="1" y="24"/>
                    <a:pt x="0" y="23"/>
                    <a:pt x="0" y="22"/>
                  </a:cubicBezTo>
                  <a:cubicBezTo>
                    <a:pt x="0" y="2"/>
                    <a:pt x="0" y="2"/>
                    <a:pt x="0" y="2"/>
                  </a:cubicBezTo>
                  <a:cubicBezTo>
                    <a:pt x="0" y="1"/>
                    <a:pt x="1" y="0"/>
                    <a:pt x="2" y="0"/>
                  </a:cubicBezTo>
                  <a:cubicBezTo>
                    <a:pt x="14" y="0"/>
                    <a:pt x="14" y="0"/>
                    <a:pt x="14" y="0"/>
                  </a:cubicBezTo>
                  <a:cubicBezTo>
                    <a:pt x="15" y="0"/>
                    <a:pt x="16" y="1"/>
                    <a:pt x="16" y="2"/>
                  </a:cubicBezTo>
                  <a:cubicBezTo>
                    <a:pt x="16" y="22"/>
                    <a:pt x="16" y="22"/>
                    <a:pt x="16" y="22"/>
                  </a:cubicBezTo>
                  <a:cubicBezTo>
                    <a:pt x="16" y="23"/>
                    <a:pt x="15" y="24"/>
                    <a:pt x="14" y="24"/>
                  </a:cubicBezTo>
                  <a:close/>
                  <a:moveTo>
                    <a:pt x="4" y="20"/>
                  </a:moveTo>
                  <a:cubicBezTo>
                    <a:pt x="12" y="20"/>
                    <a:pt x="12" y="20"/>
                    <a:pt x="12" y="20"/>
                  </a:cubicBezTo>
                  <a:cubicBezTo>
                    <a:pt x="12" y="4"/>
                    <a:pt x="12" y="4"/>
                    <a:pt x="12" y="4"/>
                  </a:cubicBezTo>
                  <a:cubicBezTo>
                    <a:pt x="4" y="4"/>
                    <a:pt x="4" y="4"/>
                    <a:pt x="4" y="4"/>
                  </a:cubicBezTo>
                  <a:lnTo>
                    <a:pt x="4" y="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37" name="Freeform 48"/>
            <p:cNvSpPr>
              <a:spLocks noEditPoints="1"/>
            </p:cNvSpPr>
            <p:nvPr/>
          </p:nvSpPr>
          <p:spPr bwMode="auto">
            <a:xfrm>
              <a:off x="9790113" y="2955926"/>
              <a:ext cx="61913" cy="169863"/>
            </a:xfrm>
            <a:custGeom>
              <a:avLst/>
              <a:gdLst>
                <a:gd name="T0" fmla="*/ 14 w 16"/>
                <a:gd name="T1" fmla="*/ 44 h 44"/>
                <a:gd name="T2" fmla="*/ 2 w 16"/>
                <a:gd name="T3" fmla="*/ 44 h 44"/>
                <a:gd name="T4" fmla="*/ 0 w 16"/>
                <a:gd name="T5" fmla="*/ 42 h 44"/>
                <a:gd name="T6" fmla="*/ 0 w 16"/>
                <a:gd name="T7" fmla="*/ 2 h 44"/>
                <a:gd name="T8" fmla="*/ 2 w 16"/>
                <a:gd name="T9" fmla="*/ 0 h 44"/>
                <a:gd name="T10" fmla="*/ 14 w 16"/>
                <a:gd name="T11" fmla="*/ 0 h 44"/>
                <a:gd name="T12" fmla="*/ 16 w 16"/>
                <a:gd name="T13" fmla="*/ 2 h 44"/>
                <a:gd name="T14" fmla="*/ 16 w 16"/>
                <a:gd name="T15" fmla="*/ 42 h 44"/>
                <a:gd name="T16" fmla="*/ 14 w 16"/>
                <a:gd name="T17" fmla="*/ 44 h 44"/>
                <a:gd name="T18" fmla="*/ 4 w 16"/>
                <a:gd name="T19" fmla="*/ 40 h 44"/>
                <a:gd name="T20" fmla="*/ 12 w 16"/>
                <a:gd name="T21" fmla="*/ 40 h 44"/>
                <a:gd name="T22" fmla="*/ 12 w 16"/>
                <a:gd name="T23" fmla="*/ 4 h 44"/>
                <a:gd name="T24" fmla="*/ 4 w 16"/>
                <a:gd name="T25" fmla="*/ 4 h 44"/>
                <a:gd name="T26" fmla="*/ 4 w 16"/>
                <a:gd name="T27" fmla="*/ 4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 h="44">
                  <a:moveTo>
                    <a:pt x="14" y="44"/>
                  </a:moveTo>
                  <a:cubicBezTo>
                    <a:pt x="2" y="44"/>
                    <a:pt x="2" y="44"/>
                    <a:pt x="2" y="44"/>
                  </a:cubicBezTo>
                  <a:cubicBezTo>
                    <a:pt x="1" y="44"/>
                    <a:pt x="0" y="43"/>
                    <a:pt x="0" y="42"/>
                  </a:cubicBezTo>
                  <a:cubicBezTo>
                    <a:pt x="0" y="2"/>
                    <a:pt x="0" y="2"/>
                    <a:pt x="0" y="2"/>
                  </a:cubicBezTo>
                  <a:cubicBezTo>
                    <a:pt x="0" y="1"/>
                    <a:pt x="1" y="0"/>
                    <a:pt x="2" y="0"/>
                  </a:cubicBezTo>
                  <a:cubicBezTo>
                    <a:pt x="14" y="0"/>
                    <a:pt x="14" y="0"/>
                    <a:pt x="14" y="0"/>
                  </a:cubicBezTo>
                  <a:cubicBezTo>
                    <a:pt x="15" y="0"/>
                    <a:pt x="16" y="1"/>
                    <a:pt x="16" y="2"/>
                  </a:cubicBezTo>
                  <a:cubicBezTo>
                    <a:pt x="16" y="42"/>
                    <a:pt x="16" y="42"/>
                    <a:pt x="16" y="42"/>
                  </a:cubicBezTo>
                  <a:cubicBezTo>
                    <a:pt x="16" y="43"/>
                    <a:pt x="15" y="44"/>
                    <a:pt x="14" y="44"/>
                  </a:cubicBezTo>
                  <a:close/>
                  <a:moveTo>
                    <a:pt x="4" y="40"/>
                  </a:moveTo>
                  <a:cubicBezTo>
                    <a:pt x="12" y="40"/>
                    <a:pt x="12" y="40"/>
                    <a:pt x="12" y="40"/>
                  </a:cubicBezTo>
                  <a:cubicBezTo>
                    <a:pt x="12" y="4"/>
                    <a:pt x="12" y="4"/>
                    <a:pt x="12" y="4"/>
                  </a:cubicBezTo>
                  <a:cubicBezTo>
                    <a:pt x="4" y="4"/>
                    <a:pt x="4" y="4"/>
                    <a:pt x="4" y="4"/>
                  </a:cubicBezTo>
                  <a:lnTo>
                    <a:pt x="4" y="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38" name="Freeform 49"/>
            <p:cNvSpPr>
              <a:spLocks noEditPoints="1"/>
            </p:cNvSpPr>
            <p:nvPr/>
          </p:nvSpPr>
          <p:spPr bwMode="auto">
            <a:xfrm>
              <a:off x="9883776" y="2986088"/>
              <a:ext cx="61913" cy="139700"/>
            </a:xfrm>
            <a:custGeom>
              <a:avLst/>
              <a:gdLst>
                <a:gd name="T0" fmla="*/ 14 w 16"/>
                <a:gd name="T1" fmla="*/ 36 h 36"/>
                <a:gd name="T2" fmla="*/ 2 w 16"/>
                <a:gd name="T3" fmla="*/ 36 h 36"/>
                <a:gd name="T4" fmla="*/ 0 w 16"/>
                <a:gd name="T5" fmla="*/ 34 h 36"/>
                <a:gd name="T6" fmla="*/ 0 w 16"/>
                <a:gd name="T7" fmla="*/ 2 h 36"/>
                <a:gd name="T8" fmla="*/ 2 w 16"/>
                <a:gd name="T9" fmla="*/ 0 h 36"/>
                <a:gd name="T10" fmla="*/ 14 w 16"/>
                <a:gd name="T11" fmla="*/ 0 h 36"/>
                <a:gd name="T12" fmla="*/ 16 w 16"/>
                <a:gd name="T13" fmla="*/ 2 h 36"/>
                <a:gd name="T14" fmla="*/ 16 w 16"/>
                <a:gd name="T15" fmla="*/ 34 h 36"/>
                <a:gd name="T16" fmla="*/ 14 w 16"/>
                <a:gd name="T17" fmla="*/ 36 h 36"/>
                <a:gd name="T18" fmla="*/ 4 w 16"/>
                <a:gd name="T19" fmla="*/ 32 h 36"/>
                <a:gd name="T20" fmla="*/ 12 w 16"/>
                <a:gd name="T21" fmla="*/ 32 h 36"/>
                <a:gd name="T22" fmla="*/ 12 w 16"/>
                <a:gd name="T23" fmla="*/ 4 h 36"/>
                <a:gd name="T24" fmla="*/ 4 w 16"/>
                <a:gd name="T25" fmla="*/ 4 h 36"/>
                <a:gd name="T26" fmla="*/ 4 w 16"/>
                <a:gd name="T27" fmla="*/ 32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 h="36">
                  <a:moveTo>
                    <a:pt x="14" y="36"/>
                  </a:moveTo>
                  <a:cubicBezTo>
                    <a:pt x="2" y="36"/>
                    <a:pt x="2" y="36"/>
                    <a:pt x="2" y="36"/>
                  </a:cubicBezTo>
                  <a:cubicBezTo>
                    <a:pt x="1" y="36"/>
                    <a:pt x="0" y="35"/>
                    <a:pt x="0" y="34"/>
                  </a:cubicBezTo>
                  <a:cubicBezTo>
                    <a:pt x="0" y="2"/>
                    <a:pt x="0" y="2"/>
                    <a:pt x="0" y="2"/>
                  </a:cubicBezTo>
                  <a:cubicBezTo>
                    <a:pt x="0" y="1"/>
                    <a:pt x="1" y="0"/>
                    <a:pt x="2" y="0"/>
                  </a:cubicBezTo>
                  <a:cubicBezTo>
                    <a:pt x="14" y="0"/>
                    <a:pt x="14" y="0"/>
                    <a:pt x="14" y="0"/>
                  </a:cubicBezTo>
                  <a:cubicBezTo>
                    <a:pt x="15" y="0"/>
                    <a:pt x="16" y="1"/>
                    <a:pt x="16" y="2"/>
                  </a:cubicBezTo>
                  <a:cubicBezTo>
                    <a:pt x="16" y="34"/>
                    <a:pt x="16" y="34"/>
                    <a:pt x="16" y="34"/>
                  </a:cubicBezTo>
                  <a:cubicBezTo>
                    <a:pt x="16" y="35"/>
                    <a:pt x="15" y="36"/>
                    <a:pt x="14" y="36"/>
                  </a:cubicBezTo>
                  <a:close/>
                  <a:moveTo>
                    <a:pt x="4" y="32"/>
                  </a:moveTo>
                  <a:cubicBezTo>
                    <a:pt x="12" y="32"/>
                    <a:pt x="12" y="32"/>
                    <a:pt x="12" y="32"/>
                  </a:cubicBezTo>
                  <a:cubicBezTo>
                    <a:pt x="12" y="4"/>
                    <a:pt x="12" y="4"/>
                    <a:pt x="12" y="4"/>
                  </a:cubicBezTo>
                  <a:cubicBezTo>
                    <a:pt x="4" y="4"/>
                    <a:pt x="4" y="4"/>
                    <a:pt x="4" y="4"/>
                  </a:cubicBezTo>
                  <a:lnTo>
                    <a:pt x="4"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39" name="Freeform 50"/>
            <p:cNvSpPr>
              <a:spLocks noEditPoints="1"/>
            </p:cNvSpPr>
            <p:nvPr/>
          </p:nvSpPr>
          <p:spPr bwMode="auto">
            <a:xfrm>
              <a:off x="9975851" y="2878138"/>
              <a:ext cx="61913" cy="247650"/>
            </a:xfrm>
            <a:custGeom>
              <a:avLst/>
              <a:gdLst>
                <a:gd name="T0" fmla="*/ 14 w 16"/>
                <a:gd name="T1" fmla="*/ 64 h 64"/>
                <a:gd name="T2" fmla="*/ 2 w 16"/>
                <a:gd name="T3" fmla="*/ 64 h 64"/>
                <a:gd name="T4" fmla="*/ 0 w 16"/>
                <a:gd name="T5" fmla="*/ 62 h 64"/>
                <a:gd name="T6" fmla="*/ 0 w 16"/>
                <a:gd name="T7" fmla="*/ 2 h 64"/>
                <a:gd name="T8" fmla="*/ 2 w 16"/>
                <a:gd name="T9" fmla="*/ 0 h 64"/>
                <a:gd name="T10" fmla="*/ 14 w 16"/>
                <a:gd name="T11" fmla="*/ 0 h 64"/>
                <a:gd name="T12" fmla="*/ 16 w 16"/>
                <a:gd name="T13" fmla="*/ 2 h 64"/>
                <a:gd name="T14" fmla="*/ 16 w 16"/>
                <a:gd name="T15" fmla="*/ 62 h 64"/>
                <a:gd name="T16" fmla="*/ 14 w 16"/>
                <a:gd name="T17" fmla="*/ 64 h 64"/>
                <a:gd name="T18" fmla="*/ 4 w 16"/>
                <a:gd name="T19" fmla="*/ 60 h 64"/>
                <a:gd name="T20" fmla="*/ 12 w 16"/>
                <a:gd name="T21" fmla="*/ 60 h 64"/>
                <a:gd name="T22" fmla="*/ 12 w 16"/>
                <a:gd name="T23" fmla="*/ 4 h 64"/>
                <a:gd name="T24" fmla="*/ 4 w 16"/>
                <a:gd name="T25" fmla="*/ 4 h 64"/>
                <a:gd name="T26" fmla="*/ 4 w 16"/>
                <a:gd name="T2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 h="64">
                  <a:moveTo>
                    <a:pt x="14" y="64"/>
                  </a:moveTo>
                  <a:cubicBezTo>
                    <a:pt x="2" y="64"/>
                    <a:pt x="2" y="64"/>
                    <a:pt x="2" y="64"/>
                  </a:cubicBezTo>
                  <a:cubicBezTo>
                    <a:pt x="1" y="64"/>
                    <a:pt x="0" y="63"/>
                    <a:pt x="0" y="62"/>
                  </a:cubicBezTo>
                  <a:cubicBezTo>
                    <a:pt x="0" y="2"/>
                    <a:pt x="0" y="2"/>
                    <a:pt x="0" y="2"/>
                  </a:cubicBezTo>
                  <a:cubicBezTo>
                    <a:pt x="0" y="1"/>
                    <a:pt x="1" y="0"/>
                    <a:pt x="2" y="0"/>
                  </a:cubicBezTo>
                  <a:cubicBezTo>
                    <a:pt x="14" y="0"/>
                    <a:pt x="14" y="0"/>
                    <a:pt x="14" y="0"/>
                  </a:cubicBezTo>
                  <a:cubicBezTo>
                    <a:pt x="15" y="0"/>
                    <a:pt x="16" y="1"/>
                    <a:pt x="16" y="2"/>
                  </a:cubicBezTo>
                  <a:cubicBezTo>
                    <a:pt x="16" y="62"/>
                    <a:pt x="16" y="62"/>
                    <a:pt x="16" y="62"/>
                  </a:cubicBezTo>
                  <a:cubicBezTo>
                    <a:pt x="16" y="63"/>
                    <a:pt x="15" y="64"/>
                    <a:pt x="14" y="64"/>
                  </a:cubicBezTo>
                  <a:close/>
                  <a:moveTo>
                    <a:pt x="4" y="60"/>
                  </a:moveTo>
                  <a:cubicBezTo>
                    <a:pt x="12" y="60"/>
                    <a:pt x="12" y="60"/>
                    <a:pt x="12" y="60"/>
                  </a:cubicBezTo>
                  <a:cubicBezTo>
                    <a:pt x="12" y="4"/>
                    <a:pt x="12" y="4"/>
                    <a:pt x="12" y="4"/>
                  </a:cubicBezTo>
                  <a:cubicBezTo>
                    <a:pt x="4" y="4"/>
                    <a:pt x="4" y="4"/>
                    <a:pt x="4" y="4"/>
                  </a:cubicBezTo>
                  <a:lnTo>
                    <a:pt x="4"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40" name="Freeform 51"/>
            <p:cNvSpPr>
              <a:spLocks noEditPoints="1"/>
            </p:cNvSpPr>
            <p:nvPr/>
          </p:nvSpPr>
          <p:spPr bwMode="auto">
            <a:xfrm>
              <a:off x="9705976" y="2909888"/>
              <a:ext cx="46038" cy="46038"/>
            </a:xfrm>
            <a:custGeom>
              <a:avLst/>
              <a:gdLst>
                <a:gd name="T0" fmla="*/ 6 w 12"/>
                <a:gd name="T1" fmla="*/ 12 h 12"/>
                <a:gd name="T2" fmla="*/ 0 w 12"/>
                <a:gd name="T3" fmla="*/ 6 h 12"/>
                <a:gd name="T4" fmla="*/ 6 w 12"/>
                <a:gd name="T5" fmla="*/ 0 h 12"/>
                <a:gd name="T6" fmla="*/ 12 w 12"/>
                <a:gd name="T7" fmla="*/ 6 h 12"/>
                <a:gd name="T8" fmla="*/ 6 w 12"/>
                <a:gd name="T9" fmla="*/ 12 h 12"/>
                <a:gd name="T10" fmla="*/ 6 w 12"/>
                <a:gd name="T11" fmla="*/ 4 h 12"/>
                <a:gd name="T12" fmla="*/ 4 w 12"/>
                <a:gd name="T13" fmla="*/ 6 h 12"/>
                <a:gd name="T14" fmla="*/ 6 w 12"/>
                <a:gd name="T15" fmla="*/ 8 h 12"/>
                <a:gd name="T16" fmla="*/ 8 w 12"/>
                <a:gd name="T17" fmla="*/ 6 h 12"/>
                <a:gd name="T18" fmla="*/ 6 w 12"/>
                <a:gd name="T19" fmla="*/ 4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 h="12">
                  <a:moveTo>
                    <a:pt x="6" y="12"/>
                  </a:moveTo>
                  <a:cubicBezTo>
                    <a:pt x="3" y="12"/>
                    <a:pt x="0" y="9"/>
                    <a:pt x="0" y="6"/>
                  </a:cubicBezTo>
                  <a:cubicBezTo>
                    <a:pt x="0" y="3"/>
                    <a:pt x="3" y="0"/>
                    <a:pt x="6" y="0"/>
                  </a:cubicBezTo>
                  <a:cubicBezTo>
                    <a:pt x="9" y="0"/>
                    <a:pt x="12" y="3"/>
                    <a:pt x="12" y="6"/>
                  </a:cubicBezTo>
                  <a:cubicBezTo>
                    <a:pt x="12" y="9"/>
                    <a:pt x="9" y="12"/>
                    <a:pt x="6" y="12"/>
                  </a:cubicBezTo>
                  <a:close/>
                  <a:moveTo>
                    <a:pt x="6" y="4"/>
                  </a:moveTo>
                  <a:cubicBezTo>
                    <a:pt x="5" y="4"/>
                    <a:pt x="4" y="5"/>
                    <a:pt x="4" y="6"/>
                  </a:cubicBezTo>
                  <a:cubicBezTo>
                    <a:pt x="4" y="7"/>
                    <a:pt x="5" y="8"/>
                    <a:pt x="6" y="8"/>
                  </a:cubicBezTo>
                  <a:cubicBezTo>
                    <a:pt x="7" y="8"/>
                    <a:pt x="8" y="7"/>
                    <a:pt x="8" y="6"/>
                  </a:cubicBezTo>
                  <a:cubicBezTo>
                    <a:pt x="8" y="5"/>
                    <a:pt x="7" y="4"/>
                    <a:pt x="6"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41" name="Freeform 52"/>
            <p:cNvSpPr>
              <a:spLocks noEditPoints="1"/>
            </p:cNvSpPr>
            <p:nvPr/>
          </p:nvSpPr>
          <p:spPr bwMode="auto">
            <a:xfrm>
              <a:off x="9798051" y="2832101"/>
              <a:ext cx="46038" cy="46038"/>
            </a:xfrm>
            <a:custGeom>
              <a:avLst/>
              <a:gdLst>
                <a:gd name="T0" fmla="*/ 6 w 12"/>
                <a:gd name="T1" fmla="*/ 12 h 12"/>
                <a:gd name="T2" fmla="*/ 0 w 12"/>
                <a:gd name="T3" fmla="*/ 6 h 12"/>
                <a:gd name="T4" fmla="*/ 6 w 12"/>
                <a:gd name="T5" fmla="*/ 0 h 12"/>
                <a:gd name="T6" fmla="*/ 12 w 12"/>
                <a:gd name="T7" fmla="*/ 6 h 12"/>
                <a:gd name="T8" fmla="*/ 6 w 12"/>
                <a:gd name="T9" fmla="*/ 12 h 12"/>
                <a:gd name="T10" fmla="*/ 6 w 12"/>
                <a:gd name="T11" fmla="*/ 4 h 12"/>
                <a:gd name="T12" fmla="*/ 4 w 12"/>
                <a:gd name="T13" fmla="*/ 6 h 12"/>
                <a:gd name="T14" fmla="*/ 6 w 12"/>
                <a:gd name="T15" fmla="*/ 8 h 12"/>
                <a:gd name="T16" fmla="*/ 8 w 12"/>
                <a:gd name="T17" fmla="*/ 6 h 12"/>
                <a:gd name="T18" fmla="*/ 6 w 12"/>
                <a:gd name="T19" fmla="*/ 4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 h="12">
                  <a:moveTo>
                    <a:pt x="6" y="12"/>
                  </a:moveTo>
                  <a:cubicBezTo>
                    <a:pt x="3" y="12"/>
                    <a:pt x="0" y="9"/>
                    <a:pt x="0" y="6"/>
                  </a:cubicBezTo>
                  <a:cubicBezTo>
                    <a:pt x="0" y="3"/>
                    <a:pt x="3" y="0"/>
                    <a:pt x="6" y="0"/>
                  </a:cubicBezTo>
                  <a:cubicBezTo>
                    <a:pt x="9" y="0"/>
                    <a:pt x="12" y="3"/>
                    <a:pt x="12" y="6"/>
                  </a:cubicBezTo>
                  <a:cubicBezTo>
                    <a:pt x="12" y="9"/>
                    <a:pt x="9" y="12"/>
                    <a:pt x="6" y="12"/>
                  </a:cubicBezTo>
                  <a:close/>
                  <a:moveTo>
                    <a:pt x="6" y="4"/>
                  </a:moveTo>
                  <a:cubicBezTo>
                    <a:pt x="5" y="4"/>
                    <a:pt x="4" y="5"/>
                    <a:pt x="4" y="6"/>
                  </a:cubicBezTo>
                  <a:cubicBezTo>
                    <a:pt x="4" y="7"/>
                    <a:pt x="5" y="8"/>
                    <a:pt x="6" y="8"/>
                  </a:cubicBezTo>
                  <a:cubicBezTo>
                    <a:pt x="7" y="8"/>
                    <a:pt x="8" y="7"/>
                    <a:pt x="8" y="6"/>
                  </a:cubicBezTo>
                  <a:cubicBezTo>
                    <a:pt x="8" y="5"/>
                    <a:pt x="7" y="4"/>
                    <a:pt x="6"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42" name="Freeform 53"/>
            <p:cNvSpPr>
              <a:spLocks noEditPoints="1"/>
            </p:cNvSpPr>
            <p:nvPr/>
          </p:nvSpPr>
          <p:spPr bwMode="auto">
            <a:xfrm>
              <a:off x="9891713" y="2862263"/>
              <a:ext cx="46038" cy="47625"/>
            </a:xfrm>
            <a:custGeom>
              <a:avLst/>
              <a:gdLst>
                <a:gd name="T0" fmla="*/ 6 w 12"/>
                <a:gd name="T1" fmla="*/ 12 h 12"/>
                <a:gd name="T2" fmla="*/ 0 w 12"/>
                <a:gd name="T3" fmla="*/ 6 h 12"/>
                <a:gd name="T4" fmla="*/ 6 w 12"/>
                <a:gd name="T5" fmla="*/ 0 h 12"/>
                <a:gd name="T6" fmla="*/ 12 w 12"/>
                <a:gd name="T7" fmla="*/ 6 h 12"/>
                <a:gd name="T8" fmla="*/ 6 w 12"/>
                <a:gd name="T9" fmla="*/ 12 h 12"/>
                <a:gd name="T10" fmla="*/ 6 w 12"/>
                <a:gd name="T11" fmla="*/ 4 h 12"/>
                <a:gd name="T12" fmla="*/ 4 w 12"/>
                <a:gd name="T13" fmla="*/ 6 h 12"/>
                <a:gd name="T14" fmla="*/ 6 w 12"/>
                <a:gd name="T15" fmla="*/ 8 h 12"/>
                <a:gd name="T16" fmla="*/ 8 w 12"/>
                <a:gd name="T17" fmla="*/ 6 h 12"/>
                <a:gd name="T18" fmla="*/ 6 w 12"/>
                <a:gd name="T19" fmla="*/ 4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 h="12">
                  <a:moveTo>
                    <a:pt x="6" y="12"/>
                  </a:moveTo>
                  <a:cubicBezTo>
                    <a:pt x="3" y="12"/>
                    <a:pt x="0" y="9"/>
                    <a:pt x="0" y="6"/>
                  </a:cubicBezTo>
                  <a:cubicBezTo>
                    <a:pt x="0" y="3"/>
                    <a:pt x="3" y="0"/>
                    <a:pt x="6" y="0"/>
                  </a:cubicBezTo>
                  <a:cubicBezTo>
                    <a:pt x="9" y="0"/>
                    <a:pt x="12" y="3"/>
                    <a:pt x="12" y="6"/>
                  </a:cubicBezTo>
                  <a:cubicBezTo>
                    <a:pt x="12" y="9"/>
                    <a:pt x="9" y="12"/>
                    <a:pt x="6" y="12"/>
                  </a:cubicBezTo>
                  <a:close/>
                  <a:moveTo>
                    <a:pt x="6" y="4"/>
                  </a:moveTo>
                  <a:cubicBezTo>
                    <a:pt x="5" y="4"/>
                    <a:pt x="4" y="5"/>
                    <a:pt x="4" y="6"/>
                  </a:cubicBezTo>
                  <a:cubicBezTo>
                    <a:pt x="4" y="7"/>
                    <a:pt x="5" y="8"/>
                    <a:pt x="6" y="8"/>
                  </a:cubicBezTo>
                  <a:cubicBezTo>
                    <a:pt x="7" y="8"/>
                    <a:pt x="8" y="7"/>
                    <a:pt x="8" y="6"/>
                  </a:cubicBezTo>
                  <a:cubicBezTo>
                    <a:pt x="8" y="5"/>
                    <a:pt x="7" y="4"/>
                    <a:pt x="6"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43" name="Freeform 54"/>
            <p:cNvSpPr>
              <a:spLocks noEditPoints="1"/>
            </p:cNvSpPr>
            <p:nvPr/>
          </p:nvSpPr>
          <p:spPr bwMode="auto">
            <a:xfrm>
              <a:off x="9983788" y="2754313"/>
              <a:ext cx="46038" cy="46038"/>
            </a:xfrm>
            <a:custGeom>
              <a:avLst/>
              <a:gdLst>
                <a:gd name="T0" fmla="*/ 6 w 12"/>
                <a:gd name="T1" fmla="*/ 12 h 12"/>
                <a:gd name="T2" fmla="*/ 0 w 12"/>
                <a:gd name="T3" fmla="*/ 6 h 12"/>
                <a:gd name="T4" fmla="*/ 6 w 12"/>
                <a:gd name="T5" fmla="*/ 0 h 12"/>
                <a:gd name="T6" fmla="*/ 12 w 12"/>
                <a:gd name="T7" fmla="*/ 6 h 12"/>
                <a:gd name="T8" fmla="*/ 6 w 12"/>
                <a:gd name="T9" fmla="*/ 12 h 12"/>
                <a:gd name="T10" fmla="*/ 6 w 12"/>
                <a:gd name="T11" fmla="*/ 4 h 12"/>
                <a:gd name="T12" fmla="*/ 4 w 12"/>
                <a:gd name="T13" fmla="*/ 6 h 12"/>
                <a:gd name="T14" fmla="*/ 6 w 12"/>
                <a:gd name="T15" fmla="*/ 8 h 12"/>
                <a:gd name="T16" fmla="*/ 8 w 12"/>
                <a:gd name="T17" fmla="*/ 6 h 12"/>
                <a:gd name="T18" fmla="*/ 6 w 12"/>
                <a:gd name="T19" fmla="*/ 4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 h="12">
                  <a:moveTo>
                    <a:pt x="6" y="12"/>
                  </a:moveTo>
                  <a:cubicBezTo>
                    <a:pt x="3" y="12"/>
                    <a:pt x="0" y="9"/>
                    <a:pt x="0" y="6"/>
                  </a:cubicBezTo>
                  <a:cubicBezTo>
                    <a:pt x="0" y="3"/>
                    <a:pt x="3" y="0"/>
                    <a:pt x="6" y="0"/>
                  </a:cubicBezTo>
                  <a:cubicBezTo>
                    <a:pt x="9" y="0"/>
                    <a:pt x="12" y="3"/>
                    <a:pt x="12" y="6"/>
                  </a:cubicBezTo>
                  <a:cubicBezTo>
                    <a:pt x="12" y="9"/>
                    <a:pt x="9" y="12"/>
                    <a:pt x="6" y="12"/>
                  </a:cubicBezTo>
                  <a:close/>
                  <a:moveTo>
                    <a:pt x="6" y="4"/>
                  </a:moveTo>
                  <a:cubicBezTo>
                    <a:pt x="5" y="4"/>
                    <a:pt x="4" y="5"/>
                    <a:pt x="4" y="6"/>
                  </a:cubicBezTo>
                  <a:cubicBezTo>
                    <a:pt x="4" y="7"/>
                    <a:pt x="5" y="8"/>
                    <a:pt x="6" y="8"/>
                  </a:cubicBezTo>
                  <a:cubicBezTo>
                    <a:pt x="7" y="8"/>
                    <a:pt x="8" y="7"/>
                    <a:pt x="8" y="6"/>
                  </a:cubicBezTo>
                  <a:cubicBezTo>
                    <a:pt x="8" y="5"/>
                    <a:pt x="7" y="4"/>
                    <a:pt x="6"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44" name="Freeform 55"/>
            <p:cNvSpPr>
              <a:spLocks/>
            </p:cNvSpPr>
            <p:nvPr/>
          </p:nvSpPr>
          <p:spPr bwMode="auto">
            <a:xfrm>
              <a:off x="9732963" y="2854326"/>
              <a:ext cx="84138" cy="74613"/>
            </a:xfrm>
            <a:custGeom>
              <a:avLst/>
              <a:gdLst>
                <a:gd name="T0" fmla="*/ 2 w 22"/>
                <a:gd name="T1" fmla="*/ 19 h 19"/>
                <a:gd name="T2" fmla="*/ 1 w 22"/>
                <a:gd name="T3" fmla="*/ 19 h 19"/>
                <a:gd name="T4" fmla="*/ 1 w 22"/>
                <a:gd name="T5" fmla="*/ 16 h 19"/>
                <a:gd name="T6" fmla="*/ 19 w 22"/>
                <a:gd name="T7" fmla="*/ 1 h 19"/>
                <a:gd name="T8" fmla="*/ 21 w 22"/>
                <a:gd name="T9" fmla="*/ 1 h 19"/>
                <a:gd name="T10" fmla="*/ 21 w 22"/>
                <a:gd name="T11" fmla="*/ 4 h 19"/>
                <a:gd name="T12" fmla="*/ 3 w 22"/>
                <a:gd name="T13" fmla="*/ 19 h 19"/>
                <a:gd name="T14" fmla="*/ 2 w 22"/>
                <a:gd name="T15" fmla="*/ 19 h 1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19">
                  <a:moveTo>
                    <a:pt x="2" y="19"/>
                  </a:moveTo>
                  <a:cubicBezTo>
                    <a:pt x="2" y="19"/>
                    <a:pt x="1" y="19"/>
                    <a:pt x="1" y="19"/>
                  </a:cubicBezTo>
                  <a:cubicBezTo>
                    <a:pt x="0" y="18"/>
                    <a:pt x="0" y="17"/>
                    <a:pt x="1" y="16"/>
                  </a:cubicBezTo>
                  <a:cubicBezTo>
                    <a:pt x="19" y="1"/>
                    <a:pt x="19" y="1"/>
                    <a:pt x="19" y="1"/>
                  </a:cubicBezTo>
                  <a:cubicBezTo>
                    <a:pt x="19" y="0"/>
                    <a:pt x="21" y="0"/>
                    <a:pt x="21" y="1"/>
                  </a:cubicBezTo>
                  <a:cubicBezTo>
                    <a:pt x="22" y="2"/>
                    <a:pt x="22" y="3"/>
                    <a:pt x="21" y="4"/>
                  </a:cubicBezTo>
                  <a:cubicBezTo>
                    <a:pt x="3" y="19"/>
                    <a:pt x="3" y="19"/>
                    <a:pt x="3" y="19"/>
                  </a:cubicBezTo>
                  <a:cubicBezTo>
                    <a:pt x="3" y="19"/>
                    <a:pt x="3" y="19"/>
                    <a:pt x="2"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45" name="Freeform 56"/>
            <p:cNvSpPr>
              <a:spLocks/>
            </p:cNvSpPr>
            <p:nvPr/>
          </p:nvSpPr>
          <p:spPr bwMode="auto">
            <a:xfrm>
              <a:off x="9832976" y="2851151"/>
              <a:ext cx="69850" cy="38100"/>
            </a:xfrm>
            <a:custGeom>
              <a:avLst/>
              <a:gdLst>
                <a:gd name="T0" fmla="*/ 42 w 44"/>
                <a:gd name="T1" fmla="*/ 24 h 24"/>
                <a:gd name="T2" fmla="*/ 0 w 44"/>
                <a:gd name="T3" fmla="*/ 10 h 24"/>
                <a:gd name="T4" fmla="*/ 3 w 44"/>
                <a:gd name="T5" fmla="*/ 0 h 24"/>
                <a:gd name="T6" fmla="*/ 44 w 44"/>
                <a:gd name="T7" fmla="*/ 15 h 24"/>
                <a:gd name="T8" fmla="*/ 42 w 44"/>
                <a:gd name="T9" fmla="*/ 24 h 24"/>
              </a:gdLst>
              <a:ahLst/>
              <a:cxnLst>
                <a:cxn ang="0">
                  <a:pos x="T0" y="T1"/>
                </a:cxn>
                <a:cxn ang="0">
                  <a:pos x="T2" y="T3"/>
                </a:cxn>
                <a:cxn ang="0">
                  <a:pos x="T4" y="T5"/>
                </a:cxn>
                <a:cxn ang="0">
                  <a:pos x="T6" y="T7"/>
                </a:cxn>
                <a:cxn ang="0">
                  <a:pos x="T8" y="T9"/>
                </a:cxn>
              </a:cxnLst>
              <a:rect l="0" t="0" r="r" b="b"/>
              <a:pathLst>
                <a:path w="44" h="24">
                  <a:moveTo>
                    <a:pt x="42" y="24"/>
                  </a:moveTo>
                  <a:lnTo>
                    <a:pt x="0" y="10"/>
                  </a:lnTo>
                  <a:lnTo>
                    <a:pt x="3" y="0"/>
                  </a:lnTo>
                  <a:lnTo>
                    <a:pt x="44" y="15"/>
                  </a:lnTo>
                  <a:lnTo>
                    <a:pt x="42"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46" name="Freeform 57"/>
            <p:cNvSpPr>
              <a:spLocks/>
            </p:cNvSpPr>
            <p:nvPr/>
          </p:nvSpPr>
          <p:spPr bwMode="auto">
            <a:xfrm>
              <a:off x="9913938" y="2781301"/>
              <a:ext cx="93663" cy="100013"/>
            </a:xfrm>
            <a:custGeom>
              <a:avLst/>
              <a:gdLst>
                <a:gd name="T0" fmla="*/ 3 w 24"/>
                <a:gd name="T1" fmla="*/ 26 h 26"/>
                <a:gd name="T2" fmla="*/ 1 w 24"/>
                <a:gd name="T3" fmla="*/ 25 h 26"/>
                <a:gd name="T4" fmla="*/ 1 w 24"/>
                <a:gd name="T5" fmla="*/ 23 h 26"/>
                <a:gd name="T6" fmla="*/ 20 w 24"/>
                <a:gd name="T7" fmla="*/ 1 h 26"/>
                <a:gd name="T8" fmla="*/ 23 w 24"/>
                <a:gd name="T9" fmla="*/ 1 h 26"/>
                <a:gd name="T10" fmla="*/ 23 w 24"/>
                <a:gd name="T11" fmla="*/ 3 h 26"/>
                <a:gd name="T12" fmla="*/ 4 w 24"/>
                <a:gd name="T13" fmla="*/ 25 h 26"/>
                <a:gd name="T14" fmla="*/ 3 w 24"/>
                <a:gd name="T15" fmla="*/ 26 h 2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 h="26">
                  <a:moveTo>
                    <a:pt x="3" y="26"/>
                  </a:moveTo>
                  <a:cubicBezTo>
                    <a:pt x="2" y="26"/>
                    <a:pt x="2" y="26"/>
                    <a:pt x="1" y="25"/>
                  </a:cubicBezTo>
                  <a:cubicBezTo>
                    <a:pt x="0" y="25"/>
                    <a:pt x="0" y="23"/>
                    <a:pt x="1" y="23"/>
                  </a:cubicBezTo>
                  <a:cubicBezTo>
                    <a:pt x="20" y="1"/>
                    <a:pt x="20" y="1"/>
                    <a:pt x="20" y="1"/>
                  </a:cubicBezTo>
                  <a:cubicBezTo>
                    <a:pt x="21" y="0"/>
                    <a:pt x="22" y="0"/>
                    <a:pt x="23" y="1"/>
                  </a:cubicBezTo>
                  <a:cubicBezTo>
                    <a:pt x="24" y="1"/>
                    <a:pt x="24" y="2"/>
                    <a:pt x="23" y="3"/>
                  </a:cubicBezTo>
                  <a:cubicBezTo>
                    <a:pt x="4" y="25"/>
                    <a:pt x="4" y="25"/>
                    <a:pt x="4" y="25"/>
                  </a:cubicBezTo>
                  <a:cubicBezTo>
                    <a:pt x="4" y="26"/>
                    <a:pt x="3" y="26"/>
                    <a:pt x="3" y="2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grpSp>
      <p:grpSp>
        <p:nvGrpSpPr>
          <p:cNvPr id="24" name="Group 23"/>
          <p:cNvGrpSpPr/>
          <p:nvPr/>
        </p:nvGrpSpPr>
        <p:grpSpPr>
          <a:xfrm>
            <a:off x="1981490" y="4719153"/>
            <a:ext cx="4791806" cy="2303030"/>
            <a:chOff x="411691" y="4925688"/>
            <a:chExt cx="4791806" cy="2303030"/>
          </a:xfrm>
        </p:grpSpPr>
        <p:sp>
          <p:nvSpPr>
            <p:cNvPr id="32" name="Freeform 17"/>
            <p:cNvSpPr>
              <a:spLocks/>
            </p:cNvSpPr>
            <p:nvPr/>
          </p:nvSpPr>
          <p:spPr bwMode="auto">
            <a:xfrm>
              <a:off x="411691" y="5700880"/>
              <a:ext cx="4791806" cy="1527838"/>
            </a:xfrm>
            <a:custGeom>
              <a:avLst/>
              <a:gdLst>
                <a:gd name="T0" fmla="*/ 3776 w 3776"/>
                <a:gd name="T1" fmla="*/ 310 h 1204"/>
                <a:gd name="T2" fmla="*/ 0 w 3776"/>
                <a:gd name="T3" fmla="*/ 235 h 1204"/>
                <a:gd name="T4" fmla="*/ 886 w 3776"/>
                <a:gd name="T5" fmla="*/ 0 h 1204"/>
                <a:gd name="T6" fmla="*/ 3776 w 3776"/>
                <a:gd name="T7" fmla="*/ 310 h 1204"/>
                <a:gd name="T8" fmla="*/ 3776 w 3776"/>
                <a:gd name="T9" fmla="*/ 310 h 1204"/>
              </a:gdLst>
              <a:ahLst/>
              <a:cxnLst>
                <a:cxn ang="0">
                  <a:pos x="T0" y="T1"/>
                </a:cxn>
                <a:cxn ang="0">
                  <a:pos x="T2" y="T3"/>
                </a:cxn>
                <a:cxn ang="0">
                  <a:pos x="T4" y="T5"/>
                </a:cxn>
                <a:cxn ang="0">
                  <a:pos x="T6" y="T7"/>
                </a:cxn>
                <a:cxn ang="0">
                  <a:pos x="T8" y="T9"/>
                </a:cxn>
              </a:cxnLst>
              <a:rect l="0" t="0" r="r" b="b"/>
              <a:pathLst>
                <a:path w="3776" h="1204">
                  <a:moveTo>
                    <a:pt x="3776" y="310"/>
                  </a:moveTo>
                  <a:cubicBezTo>
                    <a:pt x="3776" y="310"/>
                    <a:pt x="1859" y="1204"/>
                    <a:pt x="0" y="235"/>
                  </a:cubicBezTo>
                  <a:cubicBezTo>
                    <a:pt x="886" y="0"/>
                    <a:pt x="886" y="0"/>
                    <a:pt x="886" y="0"/>
                  </a:cubicBezTo>
                  <a:cubicBezTo>
                    <a:pt x="3776" y="310"/>
                    <a:pt x="3776" y="310"/>
                    <a:pt x="3776" y="310"/>
                  </a:cubicBezTo>
                  <a:cubicBezTo>
                    <a:pt x="3776" y="310"/>
                    <a:pt x="3776" y="310"/>
                    <a:pt x="3776" y="310"/>
                  </a:cubicBezTo>
                  <a:close/>
                </a:path>
              </a:pathLst>
            </a:custGeom>
            <a:solidFill>
              <a:srgbClr val="D63E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33" name="Freeform 18"/>
            <p:cNvSpPr>
              <a:spLocks/>
            </p:cNvSpPr>
            <p:nvPr/>
          </p:nvSpPr>
          <p:spPr bwMode="auto">
            <a:xfrm>
              <a:off x="411691" y="4925688"/>
              <a:ext cx="1363029" cy="1073137"/>
            </a:xfrm>
            <a:custGeom>
              <a:avLst/>
              <a:gdLst>
                <a:gd name="T0" fmla="*/ 0 w 1074"/>
                <a:gd name="T1" fmla="*/ 846 h 846"/>
                <a:gd name="T2" fmla="*/ 885 w 1074"/>
                <a:gd name="T3" fmla="*/ 611 h 846"/>
                <a:gd name="T4" fmla="*/ 1012 w 1074"/>
                <a:gd name="T5" fmla="*/ 437 h 846"/>
                <a:gd name="T6" fmla="*/ 1074 w 1074"/>
                <a:gd name="T7" fmla="*/ 0 h 846"/>
                <a:gd name="T8" fmla="*/ 333 w 1074"/>
                <a:gd name="T9" fmla="*/ 227 h 846"/>
                <a:gd name="T10" fmla="*/ 0 w 1074"/>
                <a:gd name="T11" fmla="*/ 846 h 846"/>
                <a:gd name="T12" fmla="*/ 0 w 1074"/>
                <a:gd name="T13" fmla="*/ 846 h 846"/>
              </a:gdLst>
              <a:ahLst/>
              <a:cxnLst>
                <a:cxn ang="0">
                  <a:pos x="T0" y="T1"/>
                </a:cxn>
                <a:cxn ang="0">
                  <a:pos x="T2" y="T3"/>
                </a:cxn>
                <a:cxn ang="0">
                  <a:pos x="T4" y="T5"/>
                </a:cxn>
                <a:cxn ang="0">
                  <a:pos x="T6" y="T7"/>
                </a:cxn>
                <a:cxn ang="0">
                  <a:pos x="T8" y="T9"/>
                </a:cxn>
                <a:cxn ang="0">
                  <a:pos x="T10" y="T11"/>
                </a:cxn>
                <a:cxn ang="0">
                  <a:pos x="T12" y="T13"/>
                </a:cxn>
              </a:cxnLst>
              <a:rect l="0" t="0" r="r" b="b"/>
              <a:pathLst>
                <a:path w="1074" h="846">
                  <a:moveTo>
                    <a:pt x="0" y="846"/>
                  </a:moveTo>
                  <a:cubicBezTo>
                    <a:pt x="885" y="611"/>
                    <a:pt x="885" y="611"/>
                    <a:pt x="885" y="611"/>
                  </a:cubicBezTo>
                  <a:cubicBezTo>
                    <a:pt x="1012" y="437"/>
                    <a:pt x="1012" y="437"/>
                    <a:pt x="1012" y="437"/>
                  </a:cubicBezTo>
                  <a:cubicBezTo>
                    <a:pt x="1074" y="0"/>
                    <a:pt x="1074" y="0"/>
                    <a:pt x="1074" y="0"/>
                  </a:cubicBezTo>
                  <a:cubicBezTo>
                    <a:pt x="1074" y="0"/>
                    <a:pt x="568" y="156"/>
                    <a:pt x="333" y="227"/>
                  </a:cubicBezTo>
                  <a:cubicBezTo>
                    <a:pt x="0" y="846"/>
                    <a:pt x="0" y="846"/>
                    <a:pt x="0" y="846"/>
                  </a:cubicBezTo>
                  <a:cubicBezTo>
                    <a:pt x="0" y="846"/>
                    <a:pt x="0" y="846"/>
                    <a:pt x="0" y="846"/>
                  </a:cubicBezTo>
                  <a:close/>
                </a:path>
              </a:pathLst>
            </a:custGeom>
            <a:solidFill>
              <a:srgbClr val="E2583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34" name="Freeform 19"/>
            <p:cNvSpPr>
              <a:spLocks/>
            </p:cNvSpPr>
            <p:nvPr/>
          </p:nvSpPr>
          <p:spPr bwMode="auto">
            <a:xfrm>
              <a:off x="1534754" y="4925688"/>
              <a:ext cx="3668743" cy="1895571"/>
            </a:xfrm>
            <a:custGeom>
              <a:avLst/>
              <a:gdLst>
                <a:gd name="T0" fmla="*/ 189 w 2891"/>
                <a:gd name="T1" fmla="*/ 0 h 1494"/>
                <a:gd name="T2" fmla="*/ 0 w 2891"/>
                <a:gd name="T3" fmla="*/ 610 h 1494"/>
                <a:gd name="T4" fmla="*/ 2891 w 2891"/>
                <a:gd name="T5" fmla="*/ 920 h 1494"/>
                <a:gd name="T6" fmla="*/ 2553 w 2891"/>
                <a:gd name="T7" fmla="*/ 338 h 1494"/>
                <a:gd name="T8" fmla="*/ 189 w 2891"/>
                <a:gd name="T9" fmla="*/ 0 h 1494"/>
              </a:gdLst>
              <a:ahLst/>
              <a:cxnLst>
                <a:cxn ang="0">
                  <a:pos x="T0" y="T1"/>
                </a:cxn>
                <a:cxn ang="0">
                  <a:pos x="T2" y="T3"/>
                </a:cxn>
                <a:cxn ang="0">
                  <a:pos x="T4" y="T5"/>
                </a:cxn>
                <a:cxn ang="0">
                  <a:pos x="T6" y="T7"/>
                </a:cxn>
                <a:cxn ang="0">
                  <a:pos x="T8" y="T9"/>
                </a:cxn>
              </a:cxnLst>
              <a:rect l="0" t="0" r="r" b="b"/>
              <a:pathLst>
                <a:path w="2891" h="1494">
                  <a:moveTo>
                    <a:pt x="189" y="0"/>
                  </a:moveTo>
                  <a:cubicBezTo>
                    <a:pt x="0" y="610"/>
                    <a:pt x="0" y="610"/>
                    <a:pt x="0" y="610"/>
                  </a:cubicBezTo>
                  <a:cubicBezTo>
                    <a:pt x="0" y="610"/>
                    <a:pt x="1567" y="1494"/>
                    <a:pt x="2891" y="920"/>
                  </a:cubicBezTo>
                  <a:cubicBezTo>
                    <a:pt x="2553" y="338"/>
                    <a:pt x="2553" y="338"/>
                    <a:pt x="2553" y="338"/>
                  </a:cubicBezTo>
                  <a:cubicBezTo>
                    <a:pt x="2553" y="338"/>
                    <a:pt x="1452" y="776"/>
                    <a:pt x="189" y="0"/>
                  </a:cubicBezTo>
                  <a:close/>
                </a:path>
              </a:pathLst>
            </a:custGeom>
            <a:solidFill>
              <a:srgbClr val="E878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grpSp>
      <p:grpSp>
        <p:nvGrpSpPr>
          <p:cNvPr id="25" name="Group 24"/>
          <p:cNvGrpSpPr>
            <a:grpSpLocks noChangeAspect="1"/>
          </p:cNvGrpSpPr>
          <p:nvPr/>
        </p:nvGrpSpPr>
        <p:grpSpPr>
          <a:xfrm>
            <a:off x="4659760" y="5520010"/>
            <a:ext cx="195296" cy="288000"/>
            <a:chOff x="9321800" y="3751263"/>
            <a:chExt cx="250825" cy="369887"/>
          </a:xfrm>
          <a:solidFill>
            <a:schemeClr val="bg1"/>
          </a:solidFill>
        </p:grpSpPr>
        <p:sp>
          <p:nvSpPr>
            <p:cNvPr id="26" name="Freeform 61"/>
            <p:cNvSpPr>
              <a:spLocks/>
            </p:cNvSpPr>
            <p:nvPr/>
          </p:nvSpPr>
          <p:spPr bwMode="auto">
            <a:xfrm>
              <a:off x="9423400" y="3959225"/>
              <a:ext cx="61912" cy="107950"/>
            </a:xfrm>
            <a:custGeom>
              <a:avLst/>
              <a:gdLst>
                <a:gd name="T0" fmla="*/ 8 w 16"/>
                <a:gd name="T1" fmla="*/ 28 h 28"/>
                <a:gd name="T2" fmla="*/ 0 w 16"/>
                <a:gd name="T3" fmla="*/ 20 h 28"/>
                <a:gd name="T4" fmla="*/ 2 w 16"/>
                <a:gd name="T5" fmla="*/ 18 h 28"/>
                <a:gd name="T6" fmla="*/ 4 w 16"/>
                <a:gd name="T7" fmla="*/ 20 h 28"/>
                <a:gd name="T8" fmla="*/ 8 w 16"/>
                <a:gd name="T9" fmla="*/ 24 h 28"/>
                <a:gd name="T10" fmla="*/ 12 w 16"/>
                <a:gd name="T11" fmla="*/ 20 h 28"/>
                <a:gd name="T12" fmla="*/ 8 w 16"/>
                <a:gd name="T13" fmla="*/ 16 h 28"/>
                <a:gd name="T14" fmla="*/ 0 w 16"/>
                <a:gd name="T15" fmla="*/ 8 h 28"/>
                <a:gd name="T16" fmla="*/ 8 w 16"/>
                <a:gd name="T17" fmla="*/ 0 h 28"/>
                <a:gd name="T18" fmla="*/ 16 w 16"/>
                <a:gd name="T19" fmla="*/ 8 h 28"/>
                <a:gd name="T20" fmla="*/ 14 w 16"/>
                <a:gd name="T21" fmla="*/ 10 h 28"/>
                <a:gd name="T22" fmla="*/ 12 w 16"/>
                <a:gd name="T23" fmla="*/ 8 h 28"/>
                <a:gd name="T24" fmla="*/ 8 w 16"/>
                <a:gd name="T25" fmla="*/ 4 h 28"/>
                <a:gd name="T26" fmla="*/ 4 w 16"/>
                <a:gd name="T27" fmla="*/ 8 h 28"/>
                <a:gd name="T28" fmla="*/ 8 w 16"/>
                <a:gd name="T29" fmla="*/ 12 h 28"/>
                <a:gd name="T30" fmla="*/ 16 w 16"/>
                <a:gd name="T31" fmla="*/ 20 h 28"/>
                <a:gd name="T32" fmla="*/ 8 w 16"/>
                <a:gd name="T33"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 h="28">
                  <a:moveTo>
                    <a:pt x="8" y="28"/>
                  </a:moveTo>
                  <a:cubicBezTo>
                    <a:pt x="4" y="28"/>
                    <a:pt x="0" y="24"/>
                    <a:pt x="0" y="20"/>
                  </a:cubicBezTo>
                  <a:cubicBezTo>
                    <a:pt x="0" y="19"/>
                    <a:pt x="1" y="18"/>
                    <a:pt x="2" y="18"/>
                  </a:cubicBezTo>
                  <a:cubicBezTo>
                    <a:pt x="3" y="18"/>
                    <a:pt x="4" y="19"/>
                    <a:pt x="4" y="20"/>
                  </a:cubicBezTo>
                  <a:cubicBezTo>
                    <a:pt x="4" y="22"/>
                    <a:pt x="6" y="24"/>
                    <a:pt x="8" y="24"/>
                  </a:cubicBezTo>
                  <a:cubicBezTo>
                    <a:pt x="10" y="24"/>
                    <a:pt x="12" y="22"/>
                    <a:pt x="12" y="20"/>
                  </a:cubicBezTo>
                  <a:cubicBezTo>
                    <a:pt x="12" y="18"/>
                    <a:pt x="10" y="16"/>
                    <a:pt x="8" y="16"/>
                  </a:cubicBezTo>
                  <a:cubicBezTo>
                    <a:pt x="4" y="16"/>
                    <a:pt x="0" y="12"/>
                    <a:pt x="0" y="8"/>
                  </a:cubicBezTo>
                  <a:cubicBezTo>
                    <a:pt x="0" y="4"/>
                    <a:pt x="4" y="0"/>
                    <a:pt x="8" y="0"/>
                  </a:cubicBezTo>
                  <a:cubicBezTo>
                    <a:pt x="12" y="0"/>
                    <a:pt x="16" y="4"/>
                    <a:pt x="16" y="8"/>
                  </a:cubicBezTo>
                  <a:cubicBezTo>
                    <a:pt x="16" y="9"/>
                    <a:pt x="15" y="10"/>
                    <a:pt x="14" y="10"/>
                  </a:cubicBezTo>
                  <a:cubicBezTo>
                    <a:pt x="13" y="10"/>
                    <a:pt x="12" y="9"/>
                    <a:pt x="12" y="8"/>
                  </a:cubicBezTo>
                  <a:cubicBezTo>
                    <a:pt x="12" y="6"/>
                    <a:pt x="10" y="4"/>
                    <a:pt x="8" y="4"/>
                  </a:cubicBezTo>
                  <a:cubicBezTo>
                    <a:pt x="6" y="4"/>
                    <a:pt x="4" y="6"/>
                    <a:pt x="4" y="8"/>
                  </a:cubicBezTo>
                  <a:cubicBezTo>
                    <a:pt x="4" y="10"/>
                    <a:pt x="6" y="12"/>
                    <a:pt x="8" y="12"/>
                  </a:cubicBezTo>
                  <a:cubicBezTo>
                    <a:pt x="12" y="12"/>
                    <a:pt x="16" y="16"/>
                    <a:pt x="16" y="20"/>
                  </a:cubicBezTo>
                  <a:cubicBezTo>
                    <a:pt x="16" y="24"/>
                    <a:pt x="12" y="28"/>
                    <a:pt x="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7" name="Freeform 62"/>
            <p:cNvSpPr>
              <a:spLocks/>
            </p:cNvSpPr>
            <p:nvPr/>
          </p:nvSpPr>
          <p:spPr bwMode="auto">
            <a:xfrm>
              <a:off x="9447213" y="4051300"/>
              <a:ext cx="14287" cy="31750"/>
            </a:xfrm>
            <a:custGeom>
              <a:avLst/>
              <a:gdLst>
                <a:gd name="T0" fmla="*/ 2 w 4"/>
                <a:gd name="T1" fmla="*/ 8 h 8"/>
                <a:gd name="T2" fmla="*/ 0 w 4"/>
                <a:gd name="T3" fmla="*/ 6 h 8"/>
                <a:gd name="T4" fmla="*/ 0 w 4"/>
                <a:gd name="T5" fmla="*/ 2 h 8"/>
                <a:gd name="T6" fmla="*/ 2 w 4"/>
                <a:gd name="T7" fmla="*/ 0 h 8"/>
                <a:gd name="T8" fmla="*/ 4 w 4"/>
                <a:gd name="T9" fmla="*/ 2 h 8"/>
                <a:gd name="T10" fmla="*/ 4 w 4"/>
                <a:gd name="T11" fmla="*/ 6 h 8"/>
                <a:gd name="T12" fmla="*/ 2 w 4"/>
                <a:gd name="T13" fmla="*/ 8 h 8"/>
              </a:gdLst>
              <a:ahLst/>
              <a:cxnLst>
                <a:cxn ang="0">
                  <a:pos x="T0" y="T1"/>
                </a:cxn>
                <a:cxn ang="0">
                  <a:pos x="T2" y="T3"/>
                </a:cxn>
                <a:cxn ang="0">
                  <a:pos x="T4" y="T5"/>
                </a:cxn>
                <a:cxn ang="0">
                  <a:pos x="T6" y="T7"/>
                </a:cxn>
                <a:cxn ang="0">
                  <a:pos x="T8" y="T9"/>
                </a:cxn>
                <a:cxn ang="0">
                  <a:pos x="T10" y="T11"/>
                </a:cxn>
                <a:cxn ang="0">
                  <a:pos x="T12" y="T13"/>
                </a:cxn>
              </a:cxnLst>
              <a:rect l="0" t="0" r="r" b="b"/>
              <a:pathLst>
                <a:path w="4" h="8">
                  <a:moveTo>
                    <a:pt x="2" y="8"/>
                  </a:moveTo>
                  <a:cubicBezTo>
                    <a:pt x="1" y="8"/>
                    <a:pt x="0" y="7"/>
                    <a:pt x="0" y="6"/>
                  </a:cubicBezTo>
                  <a:cubicBezTo>
                    <a:pt x="0" y="2"/>
                    <a:pt x="0" y="2"/>
                    <a:pt x="0" y="2"/>
                  </a:cubicBezTo>
                  <a:cubicBezTo>
                    <a:pt x="0" y="1"/>
                    <a:pt x="1" y="0"/>
                    <a:pt x="2" y="0"/>
                  </a:cubicBezTo>
                  <a:cubicBezTo>
                    <a:pt x="3" y="0"/>
                    <a:pt x="4" y="1"/>
                    <a:pt x="4" y="2"/>
                  </a:cubicBezTo>
                  <a:cubicBezTo>
                    <a:pt x="4" y="6"/>
                    <a:pt x="4" y="6"/>
                    <a:pt x="4" y="6"/>
                  </a:cubicBezTo>
                  <a:cubicBezTo>
                    <a:pt x="4" y="7"/>
                    <a:pt x="3" y="8"/>
                    <a:pt x="2"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8" name="Freeform 63"/>
            <p:cNvSpPr>
              <a:spLocks/>
            </p:cNvSpPr>
            <p:nvPr/>
          </p:nvSpPr>
          <p:spPr bwMode="auto">
            <a:xfrm>
              <a:off x="9447213" y="3943350"/>
              <a:ext cx="14287" cy="31750"/>
            </a:xfrm>
            <a:custGeom>
              <a:avLst/>
              <a:gdLst>
                <a:gd name="T0" fmla="*/ 2 w 4"/>
                <a:gd name="T1" fmla="*/ 8 h 8"/>
                <a:gd name="T2" fmla="*/ 0 w 4"/>
                <a:gd name="T3" fmla="*/ 6 h 8"/>
                <a:gd name="T4" fmla="*/ 0 w 4"/>
                <a:gd name="T5" fmla="*/ 2 h 8"/>
                <a:gd name="T6" fmla="*/ 2 w 4"/>
                <a:gd name="T7" fmla="*/ 0 h 8"/>
                <a:gd name="T8" fmla="*/ 4 w 4"/>
                <a:gd name="T9" fmla="*/ 2 h 8"/>
                <a:gd name="T10" fmla="*/ 4 w 4"/>
                <a:gd name="T11" fmla="*/ 6 h 8"/>
                <a:gd name="T12" fmla="*/ 2 w 4"/>
                <a:gd name="T13" fmla="*/ 8 h 8"/>
              </a:gdLst>
              <a:ahLst/>
              <a:cxnLst>
                <a:cxn ang="0">
                  <a:pos x="T0" y="T1"/>
                </a:cxn>
                <a:cxn ang="0">
                  <a:pos x="T2" y="T3"/>
                </a:cxn>
                <a:cxn ang="0">
                  <a:pos x="T4" y="T5"/>
                </a:cxn>
                <a:cxn ang="0">
                  <a:pos x="T6" y="T7"/>
                </a:cxn>
                <a:cxn ang="0">
                  <a:pos x="T8" y="T9"/>
                </a:cxn>
                <a:cxn ang="0">
                  <a:pos x="T10" y="T11"/>
                </a:cxn>
                <a:cxn ang="0">
                  <a:pos x="T12" y="T13"/>
                </a:cxn>
              </a:cxnLst>
              <a:rect l="0" t="0" r="r" b="b"/>
              <a:pathLst>
                <a:path w="4" h="8">
                  <a:moveTo>
                    <a:pt x="2" y="8"/>
                  </a:moveTo>
                  <a:cubicBezTo>
                    <a:pt x="1" y="8"/>
                    <a:pt x="0" y="7"/>
                    <a:pt x="0" y="6"/>
                  </a:cubicBezTo>
                  <a:cubicBezTo>
                    <a:pt x="0" y="2"/>
                    <a:pt x="0" y="2"/>
                    <a:pt x="0" y="2"/>
                  </a:cubicBezTo>
                  <a:cubicBezTo>
                    <a:pt x="0" y="1"/>
                    <a:pt x="1" y="0"/>
                    <a:pt x="2" y="0"/>
                  </a:cubicBezTo>
                  <a:cubicBezTo>
                    <a:pt x="3" y="0"/>
                    <a:pt x="4" y="1"/>
                    <a:pt x="4" y="2"/>
                  </a:cubicBezTo>
                  <a:cubicBezTo>
                    <a:pt x="4" y="6"/>
                    <a:pt x="4" y="6"/>
                    <a:pt x="4" y="6"/>
                  </a:cubicBezTo>
                  <a:cubicBezTo>
                    <a:pt x="4" y="7"/>
                    <a:pt x="3" y="8"/>
                    <a:pt x="2"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9" name="Freeform 64"/>
            <p:cNvSpPr>
              <a:spLocks noEditPoints="1"/>
            </p:cNvSpPr>
            <p:nvPr/>
          </p:nvSpPr>
          <p:spPr bwMode="auto">
            <a:xfrm>
              <a:off x="9321800" y="3905250"/>
              <a:ext cx="250825" cy="215900"/>
            </a:xfrm>
            <a:custGeom>
              <a:avLst/>
              <a:gdLst>
                <a:gd name="T0" fmla="*/ 32 w 64"/>
                <a:gd name="T1" fmla="*/ 56 h 56"/>
                <a:gd name="T2" fmla="*/ 0 w 64"/>
                <a:gd name="T3" fmla="*/ 32 h 56"/>
                <a:gd name="T4" fmla="*/ 20 w 64"/>
                <a:gd name="T5" fmla="*/ 0 h 56"/>
                <a:gd name="T6" fmla="*/ 21 w 64"/>
                <a:gd name="T7" fmla="*/ 0 h 56"/>
                <a:gd name="T8" fmla="*/ 43 w 64"/>
                <a:gd name="T9" fmla="*/ 0 h 56"/>
                <a:gd name="T10" fmla="*/ 44 w 64"/>
                <a:gd name="T11" fmla="*/ 0 h 56"/>
                <a:gd name="T12" fmla="*/ 64 w 64"/>
                <a:gd name="T13" fmla="*/ 32 h 56"/>
                <a:gd name="T14" fmla="*/ 32 w 64"/>
                <a:gd name="T15" fmla="*/ 56 h 56"/>
                <a:gd name="T16" fmla="*/ 22 w 64"/>
                <a:gd name="T17" fmla="*/ 4 h 56"/>
                <a:gd name="T18" fmla="*/ 4 w 64"/>
                <a:gd name="T19" fmla="*/ 32 h 56"/>
                <a:gd name="T20" fmla="*/ 32 w 64"/>
                <a:gd name="T21" fmla="*/ 52 h 56"/>
                <a:gd name="T22" fmla="*/ 60 w 64"/>
                <a:gd name="T23" fmla="*/ 32 h 56"/>
                <a:gd name="T24" fmla="*/ 42 w 64"/>
                <a:gd name="T25" fmla="*/ 4 h 56"/>
                <a:gd name="T26" fmla="*/ 22 w 64"/>
                <a:gd name="T27" fmla="*/ 4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4" h="56">
                  <a:moveTo>
                    <a:pt x="32" y="56"/>
                  </a:moveTo>
                  <a:cubicBezTo>
                    <a:pt x="10" y="56"/>
                    <a:pt x="0" y="48"/>
                    <a:pt x="0" y="32"/>
                  </a:cubicBezTo>
                  <a:cubicBezTo>
                    <a:pt x="0" y="21"/>
                    <a:pt x="10" y="8"/>
                    <a:pt x="20" y="0"/>
                  </a:cubicBezTo>
                  <a:cubicBezTo>
                    <a:pt x="20" y="0"/>
                    <a:pt x="20" y="0"/>
                    <a:pt x="21" y="0"/>
                  </a:cubicBezTo>
                  <a:cubicBezTo>
                    <a:pt x="43" y="0"/>
                    <a:pt x="43" y="0"/>
                    <a:pt x="43" y="0"/>
                  </a:cubicBezTo>
                  <a:cubicBezTo>
                    <a:pt x="44" y="0"/>
                    <a:pt x="44" y="0"/>
                    <a:pt x="44" y="0"/>
                  </a:cubicBezTo>
                  <a:cubicBezTo>
                    <a:pt x="54" y="8"/>
                    <a:pt x="64" y="21"/>
                    <a:pt x="64" y="32"/>
                  </a:cubicBezTo>
                  <a:cubicBezTo>
                    <a:pt x="64" y="48"/>
                    <a:pt x="54" y="56"/>
                    <a:pt x="32" y="56"/>
                  </a:cubicBezTo>
                  <a:close/>
                  <a:moveTo>
                    <a:pt x="22" y="4"/>
                  </a:moveTo>
                  <a:cubicBezTo>
                    <a:pt x="13" y="11"/>
                    <a:pt x="4" y="23"/>
                    <a:pt x="4" y="32"/>
                  </a:cubicBezTo>
                  <a:cubicBezTo>
                    <a:pt x="4" y="42"/>
                    <a:pt x="7" y="52"/>
                    <a:pt x="32" y="52"/>
                  </a:cubicBezTo>
                  <a:cubicBezTo>
                    <a:pt x="57" y="52"/>
                    <a:pt x="60" y="42"/>
                    <a:pt x="60" y="32"/>
                  </a:cubicBezTo>
                  <a:cubicBezTo>
                    <a:pt x="60" y="23"/>
                    <a:pt x="51" y="11"/>
                    <a:pt x="42" y="4"/>
                  </a:cubicBezTo>
                  <a:lnTo>
                    <a:pt x="22"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30" name="Freeform 65"/>
            <p:cNvSpPr>
              <a:spLocks/>
            </p:cNvSpPr>
            <p:nvPr/>
          </p:nvSpPr>
          <p:spPr bwMode="auto">
            <a:xfrm>
              <a:off x="9383713" y="3875088"/>
              <a:ext cx="125412" cy="14287"/>
            </a:xfrm>
            <a:custGeom>
              <a:avLst/>
              <a:gdLst>
                <a:gd name="T0" fmla="*/ 30 w 32"/>
                <a:gd name="T1" fmla="*/ 4 h 4"/>
                <a:gd name="T2" fmla="*/ 2 w 32"/>
                <a:gd name="T3" fmla="*/ 4 h 4"/>
                <a:gd name="T4" fmla="*/ 0 w 32"/>
                <a:gd name="T5" fmla="*/ 2 h 4"/>
                <a:gd name="T6" fmla="*/ 2 w 32"/>
                <a:gd name="T7" fmla="*/ 0 h 4"/>
                <a:gd name="T8" fmla="*/ 30 w 32"/>
                <a:gd name="T9" fmla="*/ 0 h 4"/>
                <a:gd name="T10" fmla="*/ 32 w 32"/>
                <a:gd name="T11" fmla="*/ 2 h 4"/>
                <a:gd name="T12" fmla="*/ 30 w 32"/>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32" h="4">
                  <a:moveTo>
                    <a:pt x="30" y="4"/>
                  </a:moveTo>
                  <a:cubicBezTo>
                    <a:pt x="2" y="4"/>
                    <a:pt x="2" y="4"/>
                    <a:pt x="2" y="4"/>
                  </a:cubicBezTo>
                  <a:cubicBezTo>
                    <a:pt x="1" y="4"/>
                    <a:pt x="0" y="3"/>
                    <a:pt x="0" y="2"/>
                  </a:cubicBezTo>
                  <a:cubicBezTo>
                    <a:pt x="0" y="1"/>
                    <a:pt x="1" y="0"/>
                    <a:pt x="2" y="0"/>
                  </a:cubicBezTo>
                  <a:cubicBezTo>
                    <a:pt x="30" y="0"/>
                    <a:pt x="30" y="0"/>
                    <a:pt x="30" y="0"/>
                  </a:cubicBezTo>
                  <a:cubicBezTo>
                    <a:pt x="31" y="0"/>
                    <a:pt x="32" y="1"/>
                    <a:pt x="32" y="2"/>
                  </a:cubicBezTo>
                  <a:cubicBezTo>
                    <a:pt x="32" y="3"/>
                    <a:pt x="31" y="4"/>
                    <a:pt x="30"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31" name="Freeform 66"/>
            <p:cNvSpPr>
              <a:spLocks noEditPoints="1"/>
            </p:cNvSpPr>
            <p:nvPr/>
          </p:nvSpPr>
          <p:spPr bwMode="auto">
            <a:xfrm>
              <a:off x="9367838" y="3751263"/>
              <a:ext cx="157162" cy="107950"/>
            </a:xfrm>
            <a:custGeom>
              <a:avLst/>
              <a:gdLst>
                <a:gd name="T0" fmla="*/ 30 w 40"/>
                <a:gd name="T1" fmla="*/ 28 h 28"/>
                <a:gd name="T2" fmla="*/ 10 w 40"/>
                <a:gd name="T3" fmla="*/ 28 h 28"/>
                <a:gd name="T4" fmla="*/ 8 w 40"/>
                <a:gd name="T5" fmla="*/ 26 h 28"/>
                <a:gd name="T6" fmla="*/ 0 w 40"/>
                <a:gd name="T7" fmla="*/ 7 h 28"/>
                <a:gd name="T8" fmla="*/ 0 w 40"/>
                <a:gd name="T9" fmla="*/ 5 h 28"/>
                <a:gd name="T10" fmla="*/ 3 w 40"/>
                <a:gd name="T11" fmla="*/ 4 h 28"/>
                <a:gd name="T12" fmla="*/ 15 w 40"/>
                <a:gd name="T13" fmla="*/ 9 h 28"/>
                <a:gd name="T14" fmla="*/ 18 w 40"/>
                <a:gd name="T15" fmla="*/ 1 h 28"/>
                <a:gd name="T16" fmla="*/ 22 w 40"/>
                <a:gd name="T17" fmla="*/ 1 h 28"/>
                <a:gd name="T18" fmla="*/ 25 w 40"/>
                <a:gd name="T19" fmla="*/ 9 h 28"/>
                <a:gd name="T20" fmla="*/ 37 w 40"/>
                <a:gd name="T21" fmla="*/ 4 h 28"/>
                <a:gd name="T22" fmla="*/ 40 w 40"/>
                <a:gd name="T23" fmla="*/ 5 h 28"/>
                <a:gd name="T24" fmla="*/ 40 w 40"/>
                <a:gd name="T25" fmla="*/ 7 h 28"/>
                <a:gd name="T26" fmla="*/ 32 w 40"/>
                <a:gd name="T27" fmla="*/ 26 h 28"/>
                <a:gd name="T28" fmla="*/ 30 w 40"/>
                <a:gd name="T29" fmla="*/ 28 h 28"/>
                <a:gd name="T30" fmla="*/ 12 w 40"/>
                <a:gd name="T31" fmla="*/ 24 h 28"/>
                <a:gd name="T32" fmla="*/ 28 w 40"/>
                <a:gd name="T33" fmla="*/ 24 h 28"/>
                <a:gd name="T34" fmla="*/ 33 w 40"/>
                <a:gd name="T35" fmla="*/ 10 h 28"/>
                <a:gd name="T36" fmla="*/ 25 w 40"/>
                <a:gd name="T37" fmla="*/ 14 h 28"/>
                <a:gd name="T38" fmla="*/ 23 w 40"/>
                <a:gd name="T39" fmla="*/ 14 h 28"/>
                <a:gd name="T40" fmla="*/ 22 w 40"/>
                <a:gd name="T41" fmla="*/ 13 h 28"/>
                <a:gd name="T42" fmla="*/ 20 w 40"/>
                <a:gd name="T43" fmla="*/ 7 h 28"/>
                <a:gd name="T44" fmla="*/ 18 w 40"/>
                <a:gd name="T45" fmla="*/ 13 h 28"/>
                <a:gd name="T46" fmla="*/ 17 w 40"/>
                <a:gd name="T47" fmla="*/ 14 h 28"/>
                <a:gd name="T48" fmla="*/ 15 w 40"/>
                <a:gd name="T49" fmla="*/ 14 h 28"/>
                <a:gd name="T50" fmla="*/ 7 w 40"/>
                <a:gd name="T51" fmla="*/ 10 h 28"/>
                <a:gd name="T52" fmla="*/ 12 w 40"/>
                <a:gd name="T53" fmla="*/ 24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0" h="28">
                  <a:moveTo>
                    <a:pt x="30" y="28"/>
                  </a:moveTo>
                  <a:cubicBezTo>
                    <a:pt x="10" y="28"/>
                    <a:pt x="10" y="28"/>
                    <a:pt x="10" y="28"/>
                  </a:cubicBezTo>
                  <a:cubicBezTo>
                    <a:pt x="9" y="28"/>
                    <a:pt x="8" y="27"/>
                    <a:pt x="8" y="26"/>
                  </a:cubicBezTo>
                  <a:cubicBezTo>
                    <a:pt x="8" y="19"/>
                    <a:pt x="0" y="7"/>
                    <a:pt x="0" y="7"/>
                  </a:cubicBezTo>
                  <a:cubicBezTo>
                    <a:pt x="0" y="6"/>
                    <a:pt x="0" y="5"/>
                    <a:pt x="0" y="5"/>
                  </a:cubicBezTo>
                  <a:cubicBezTo>
                    <a:pt x="1" y="4"/>
                    <a:pt x="2" y="4"/>
                    <a:pt x="3" y="4"/>
                  </a:cubicBezTo>
                  <a:cubicBezTo>
                    <a:pt x="15" y="9"/>
                    <a:pt x="15" y="9"/>
                    <a:pt x="15" y="9"/>
                  </a:cubicBezTo>
                  <a:cubicBezTo>
                    <a:pt x="18" y="1"/>
                    <a:pt x="18" y="1"/>
                    <a:pt x="18" y="1"/>
                  </a:cubicBezTo>
                  <a:cubicBezTo>
                    <a:pt x="19" y="0"/>
                    <a:pt x="21" y="0"/>
                    <a:pt x="22" y="1"/>
                  </a:cubicBezTo>
                  <a:cubicBezTo>
                    <a:pt x="25" y="9"/>
                    <a:pt x="25" y="9"/>
                    <a:pt x="25" y="9"/>
                  </a:cubicBezTo>
                  <a:cubicBezTo>
                    <a:pt x="37" y="4"/>
                    <a:pt x="37" y="4"/>
                    <a:pt x="37" y="4"/>
                  </a:cubicBezTo>
                  <a:cubicBezTo>
                    <a:pt x="38" y="4"/>
                    <a:pt x="39" y="4"/>
                    <a:pt x="40" y="5"/>
                  </a:cubicBezTo>
                  <a:cubicBezTo>
                    <a:pt x="40" y="5"/>
                    <a:pt x="40" y="6"/>
                    <a:pt x="40" y="7"/>
                  </a:cubicBezTo>
                  <a:cubicBezTo>
                    <a:pt x="40" y="7"/>
                    <a:pt x="32" y="19"/>
                    <a:pt x="32" y="26"/>
                  </a:cubicBezTo>
                  <a:cubicBezTo>
                    <a:pt x="32" y="27"/>
                    <a:pt x="31" y="28"/>
                    <a:pt x="30" y="28"/>
                  </a:cubicBezTo>
                  <a:close/>
                  <a:moveTo>
                    <a:pt x="12" y="24"/>
                  </a:moveTo>
                  <a:cubicBezTo>
                    <a:pt x="28" y="24"/>
                    <a:pt x="28" y="24"/>
                    <a:pt x="28" y="24"/>
                  </a:cubicBezTo>
                  <a:cubicBezTo>
                    <a:pt x="29" y="19"/>
                    <a:pt x="31" y="14"/>
                    <a:pt x="33" y="10"/>
                  </a:cubicBezTo>
                  <a:cubicBezTo>
                    <a:pt x="25" y="14"/>
                    <a:pt x="25" y="14"/>
                    <a:pt x="25" y="14"/>
                  </a:cubicBezTo>
                  <a:cubicBezTo>
                    <a:pt x="24" y="14"/>
                    <a:pt x="24" y="14"/>
                    <a:pt x="23" y="14"/>
                  </a:cubicBezTo>
                  <a:cubicBezTo>
                    <a:pt x="23" y="14"/>
                    <a:pt x="22" y="13"/>
                    <a:pt x="22" y="13"/>
                  </a:cubicBezTo>
                  <a:cubicBezTo>
                    <a:pt x="20" y="7"/>
                    <a:pt x="20" y="7"/>
                    <a:pt x="20" y="7"/>
                  </a:cubicBezTo>
                  <a:cubicBezTo>
                    <a:pt x="18" y="13"/>
                    <a:pt x="18" y="13"/>
                    <a:pt x="18" y="13"/>
                  </a:cubicBezTo>
                  <a:cubicBezTo>
                    <a:pt x="18" y="13"/>
                    <a:pt x="17" y="14"/>
                    <a:pt x="17" y="14"/>
                  </a:cubicBezTo>
                  <a:cubicBezTo>
                    <a:pt x="16" y="14"/>
                    <a:pt x="16" y="14"/>
                    <a:pt x="15" y="14"/>
                  </a:cubicBezTo>
                  <a:cubicBezTo>
                    <a:pt x="7" y="10"/>
                    <a:pt x="7" y="10"/>
                    <a:pt x="7" y="10"/>
                  </a:cubicBezTo>
                  <a:cubicBezTo>
                    <a:pt x="9" y="14"/>
                    <a:pt x="11" y="19"/>
                    <a:pt x="12" y="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grpSp>
      <p:sp>
        <p:nvSpPr>
          <p:cNvPr id="80" name="Rectangle 79"/>
          <p:cNvSpPr/>
          <p:nvPr/>
        </p:nvSpPr>
        <p:spPr>
          <a:xfrm>
            <a:off x="12344400" y="0"/>
            <a:ext cx="469900" cy="469900"/>
          </a:xfrm>
          <a:prstGeom prst="rect">
            <a:avLst/>
          </a:prstGeom>
          <a:solidFill>
            <a:srgbClr val="E7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1" name="Rectangle 80"/>
          <p:cNvSpPr/>
          <p:nvPr/>
        </p:nvSpPr>
        <p:spPr>
          <a:xfrm>
            <a:off x="12344400" y="649557"/>
            <a:ext cx="469900" cy="469900"/>
          </a:xfrm>
          <a:prstGeom prst="rect">
            <a:avLst/>
          </a:prstGeom>
          <a:solidFill>
            <a:srgbClr val="AFABA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2" name="Rectangle 81"/>
          <p:cNvSpPr/>
          <p:nvPr/>
        </p:nvSpPr>
        <p:spPr>
          <a:xfrm>
            <a:off x="12344400" y="1299114"/>
            <a:ext cx="469900" cy="469900"/>
          </a:xfrm>
          <a:prstGeom prst="rect">
            <a:avLst/>
          </a:prstGeom>
          <a:solidFill>
            <a:srgbClr val="76717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3" name="Rectangle 82"/>
          <p:cNvSpPr/>
          <p:nvPr/>
        </p:nvSpPr>
        <p:spPr>
          <a:xfrm>
            <a:off x="12966699" y="0"/>
            <a:ext cx="469900" cy="469900"/>
          </a:xfrm>
          <a:prstGeom prst="rect">
            <a:avLst/>
          </a:prstGeom>
          <a:solidFill>
            <a:srgbClr val="E8786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4" name="Rectangle 83"/>
          <p:cNvSpPr/>
          <p:nvPr/>
        </p:nvSpPr>
        <p:spPr>
          <a:xfrm>
            <a:off x="12966699" y="649557"/>
            <a:ext cx="469900" cy="469900"/>
          </a:xfrm>
          <a:prstGeom prst="rect">
            <a:avLst/>
          </a:prstGeom>
          <a:solidFill>
            <a:srgbClr val="E258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5" name="Rectangle 84"/>
          <p:cNvSpPr/>
          <p:nvPr/>
        </p:nvSpPr>
        <p:spPr>
          <a:xfrm>
            <a:off x="12966699" y="1299114"/>
            <a:ext cx="469900" cy="469900"/>
          </a:xfrm>
          <a:prstGeom prst="rect">
            <a:avLst/>
          </a:prstGeom>
          <a:solidFill>
            <a:srgbClr val="D63E2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6" name="Rectangle 85"/>
          <p:cNvSpPr/>
          <p:nvPr/>
        </p:nvSpPr>
        <p:spPr>
          <a:xfrm>
            <a:off x="13588998" y="0"/>
            <a:ext cx="469900" cy="469900"/>
          </a:xfrm>
          <a:prstGeom prst="rect">
            <a:avLst/>
          </a:prstGeom>
          <a:solidFill>
            <a:srgbClr val="8EDCD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7" name="Rectangle 86"/>
          <p:cNvSpPr/>
          <p:nvPr/>
        </p:nvSpPr>
        <p:spPr>
          <a:xfrm>
            <a:off x="13588998" y="649557"/>
            <a:ext cx="469900" cy="469900"/>
          </a:xfrm>
          <a:prstGeom prst="rect">
            <a:avLst/>
          </a:prstGeom>
          <a:solidFill>
            <a:srgbClr val="78D2D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8" name="Rectangle 87"/>
          <p:cNvSpPr/>
          <p:nvPr/>
        </p:nvSpPr>
        <p:spPr>
          <a:xfrm>
            <a:off x="13588998" y="1299114"/>
            <a:ext cx="469900" cy="469900"/>
          </a:xfrm>
          <a:prstGeom prst="rect">
            <a:avLst/>
          </a:prstGeom>
          <a:solidFill>
            <a:srgbClr val="4CC7C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9" name="Rectangle 88"/>
          <p:cNvSpPr/>
          <p:nvPr/>
        </p:nvSpPr>
        <p:spPr>
          <a:xfrm>
            <a:off x="14211297" y="0"/>
            <a:ext cx="469900" cy="469900"/>
          </a:xfrm>
          <a:prstGeom prst="rect">
            <a:avLst/>
          </a:prstGeom>
          <a:solidFill>
            <a:srgbClr val="55535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0" name="Rectangle 89"/>
          <p:cNvSpPr/>
          <p:nvPr/>
        </p:nvSpPr>
        <p:spPr>
          <a:xfrm>
            <a:off x="14211297" y="649557"/>
            <a:ext cx="469900" cy="469900"/>
          </a:xfrm>
          <a:prstGeom prst="rect">
            <a:avLst/>
          </a:prstGeom>
          <a:solidFill>
            <a:srgbClr val="3B393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1" name="Rectangle 90"/>
          <p:cNvSpPr/>
          <p:nvPr/>
        </p:nvSpPr>
        <p:spPr>
          <a:xfrm>
            <a:off x="14211297" y="1299114"/>
            <a:ext cx="469900" cy="469900"/>
          </a:xfrm>
          <a:prstGeom prst="rect">
            <a:avLst/>
          </a:prstGeom>
          <a:solidFill>
            <a:srgbClr val="25232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60964874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en-US" dirty="0"/>
              <a:t>PowerPoint Presentation</a:t>
            </a:r>
          </a:p>
        </p:txBody>
      </p:sp>
      <p:sp>
        <p:nvSpPr>
          <p:cNvPr id="3" name="Date Placeholder 2"/>
          <p:cNvSpPr>
            <a:spLocks noGrp="1"/>
          </p:cNvSpPr>
          <p:nvPr>
            <p:ph type="dt" sz="half" idx="10"/>
          </p:nvPr>
        </p:nvSpPr>
        <p:spPr/>
        <p:txBody>
          <a:bodyPr/>
          <a:lstStyle/>
          <a:p>
            <a:fld id="{C9852138-FCC6-44DD-9FFC-1C789392E7AA}" type="datetime1">
              <a:rPr lang="en-US" smtClean="0"/>
              <a:t>10/28/2022</a:t>
            </a:fld>
            <a:endParaRPr lang="en-US"/>
          </a:p>
        </p:txBody>
      </p:sp>
      <p:sp>
        <p:nvSpPr>
          <p:cNvPr id="4" name="Slide Number Placeholder 3"/>
          <p:cNvSpPr>
            <a:spLocks noGrp="1"/>
          </p:cNvSpPr>
          <p:nvPr>
            <p:ph type="sldNum" sz="quarter" idx="12"/>
          </p:nvPr>
        </p:nvSpPr>
        <p:spPr/>
        <p:txBody>
          <a:bodyPr/>
          <a:lstStyle/>
          <a:p>
            <a:fld id="{03206E70-9524-410D-AE9B-78D656EAA14D}" type="slidenum">
              <a:rPr lang="en-US" smtClean="0"/>
              <a:pPr/>
              <a:t>15</a:t>
            </a:fld>
            <a:endParaRPr lang="en-US"/>
          </a:p>
        </p:txBody>
      </p:sp>
      <p:sp>
        <p:nvSpPr>
          <p:cNvPr id="80" name="Rectangle 79"/>
          <p:cNvSpPr/>
          <p:nvPr/>
        </p:nvSpPr>
        <p:spPr>
          <a:xfrm>
            <a:off x="12344400" y="0"/>
            <a:ext cx="469900" cy="469900"/>
          </a:xfrm>
          <a:prstGeom prst="rect">
            <a:avLst/>
          </a:prstGeom>
          <a:solidFill>
            <a:srgbClr val="E7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1" name="Rectangle 80"/>
          <p:cNvSpPr/>
          <p:nvPr/>
        </p:nvSpPr>
        <p:spPr>
          <a:xfrm>
            <a:off x="12344400" y="649557"/>
            <a:ext cx="469900" cy="469900"/>
          </a:xfrm>
          <a:prstGeom prst="rect">
            <a:avLst/>
          </a:prstGeom>
          <a:solidFill>
            <a:srgbClr val="AFABA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2" name="Rectangle 81"/>
          <p:cNvSpPr/>
          <p:nvPr/>
        </p:nvSpPr>
        <p:spPr>
          <a:xfrm>
            <a:off x="12344400" y="1299114"/>
            <a:ext cx="469900" cy="469900"/>
          </a:xfrm>
          <a:prstGeom prst="rect">
            <a:avLst/>
          </a:prstGeom>
          <a:solidFill>
            <a:srgbClr val="76717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3" name="Rectangle 82"/>
          <p:cNvSpPr/>
          <p:nvPr/>
        </p:nvSpPr>
        <p:spPr>
          <a:xfrm>
            <a:off x="12966699" y="0"/>
            <a:ext cx="469900" cy="469900"/>
          </a:xfrm>
          <a:prstGeom prst="rect">
            <a:avLst/>
          </a:prstGeom>
          <a:solidFill>
            <a:srgbClr val="E8786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4" name="Rectangle 83"/>
          <p:cNvSpPr/>
          <p:nvPr/>
        </p:nvSpPr>
        <p:spPr>
          <a:xfrm>
            <a:off x="12966699" y="649557"/>
            <a:ext cx="469900" cy="469900"/>
          </a:xfrm>
          <a:prstGeom prst="rect">
            <a:avLst/>
          </a:prstGeom>
          <a:solidFill>
            <a:srgbClr val="E258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5" name="Rectangle 84"/>
          <p:cNvSpPr/>
          <p:nvPr/>
        </p:nvSpPr>
        <p:spPr>
          <a:xfrm>
            <a:off x="12966699" y="1299114"/>
            <a:ext cx="469900" cy="469900"/>
          </a:xfrm>
          <a:prstGeom prst="rect">
            <a:avLst/>
          </a:prstGeom>
          <a:solidFill>
            <a:srgbClr val="D63E2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6" name="Rectangle 85"/>
          <p:cNvSpPr/>
          <p:nvPr/>
        </p:nvSpPr>
        <p:spPr>
          <a:xfrm>
            <a:off x="13588998" y="0"/>
            <a:ext cx="469900" cy="469900"/>
          </a:xfrm>
          <a:prstGeom prst="rect">
            <a:avLst/>
          </a:prstGeom>
          <a:solidFill>
            <a:srgbClr val="8EDCD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7" name="Rectangle 86"/>
          <p:cNvSpPr/>
          <p:nvPr/>
        </p:nvSpPr>
        <p:spPr>
          <a:xfrm>
            <a:off x="13588998" y="649557"/>
            <a:ext cx="469900" cy="469900"/>
          </a:xfrm>
          <a:prstGeom prst="rect">
            <a:avLst/>
          </a:prstGeom>
          <a:solidFill>
            <a:srgbClr val="78D2D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8" name="Rectangle 87"/>
          <p:cNvSpPr/>
          <p:nvPr/>
        </p:nvSpPr>
        <p:spPr>
          <a:xfrm>
            <a:off x="13588998" y="1299114"/>
            <a:ext cx="469900" cy="469900"/>
          </a:xfrm>
          <a:prstGeom prst="rect">
            <a:avLst/>
          </a:prstGeom>
          <a:solidFill>
            <a:srgbClr val="4CC7C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9" name="Rectangle 88"/>
          <p:cNvSpPr/>
          <p:nvPr/>
        </p:nvSpPr>
        <p:spPr>
          <a:xfrm>
            <a:off x="14211297" y="0"/>
            <a:ext cx="469900" cy="469900"/>
          </a:xfrm>
          <a:prstGeom prst="rect">
            <a:avLst/>
          </a:prstGeom>
          <a:solidFill>
            <a:srgbClr val="55535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0" name="Rectangle 89"/>
          <p:cNvSpPr/>
          <p:nvPr/>
        </p:nvSpPr>
        <p:spPr>
          <a:xfrm>
            <a:off x="14211297" y="649557"/>
            <a:ext cx="469900" cy="469900"/>
          </a:xfrm>
          <a:prstGeom prst="rect">
            <a:avLst/>
          </a:prstGeom>
          <a:solidFill>
            <a:srgbClr val="3B393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1" name="Rectangle 90"/>
          <p:cNvSpPr/>
          <p:nvPr/>
        </p:nvSpPr>
        <p:spPr>
          <a:xfrm>
            <a:off x="14211297" y="1299114"/>
            <a:ext cx="469900" cy="469900"/>
          </a:xfrm>
          <a:prstGeom prst="rect">
            <a:avLst/>
          </a:prstGeom>
          <a:solidFill>
            <a:srgbClr val="25232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5" name="Group 4"/>
          <p:cNvGrpSpPr/>
          <p:nvPr/>
        </p:nvGrpSpPr>
        <p:grpSpPr>
          <a:xfrm>
            <a:off x="1650469" y="1161050"/>
            <a:ext cx="8891062" cy="5175485"/>
            <a:chOff x="378108" y="1603366"/>
            <a:chExt cx="8438322" cy="4911945"/>
          </a:xfrm>
        </p:grpSpPr>
        <p:grpSp>
          <p:nvGrpSpPr>
            <p:cNvPr id="92" name="Group 91"/>
            <p:cNvGrpSpPr/>
            <p:nvPr/>
          </p:nvGrpSpPr>
          <p:grpSpPr>
            <a:xfrm>
              <a:off x="395288" y="1603366"/>
              <a:ext cx="8421142" cy="3873499"/>
              <a:chOff x="395288" y="1498601"/>
              <a:chExt cx="8421142" cy="3873499"/>
            </a:xfrm>
          </p:grpSpPr>
          <p:graphicFrame>
            <p:nvGraphicFramePr>
              <p:cNvPr id="93" name="Chart 92"/>
              <p:cNvGraphicFramePr/>
              <p:nvPr>
                <p:extLst>
                  <p:ext uri="{D42A27DB-BD31-4B8C-83A1-F6EECF244321}">
                    <p14:modId xmlns:p14="http://schemas.microsoft.com/office/powerpoint/2010/main" val="2879865570"/>
                  </p:ext>
                </p:extLst>
              </p:nvPr>
            </p:nvGraphicFramePr>
            <p:xfrm>
              <a:off x="395288" y="1498601"/>
              <a:ext cx="8421142" cy="3873499"/>
            </p:xfrm>
            <a:graphic>
              <a:graphicData uri="http://schemas.openxmlformats.org/drawingml/2006/chart">
                <c:chart xmlns:c="http://schemas.openxmlformats.org/drawingml/2006/chart" xmlns:r="http://schemas.openxmlformats.org/officeDocument/2006/relationships" r:id="rId2"/>
              </a:graphicData>
            </a:graphic>
          </p:graphicFrame>
          <p:sp>
            <p:nvSpPr>
              <p:cNvPr id="94" name="TextBox 93"/>
              <p:cNvSpPr txBox="1"/>
              <p:nvPr/>
            </p:nvSpPr>
            <p:spPr>
              <a:xfrm flipH="1">
                <a:off x="830996" y="2166185"/>
                <a:ext cx="1416407" cy="292105"/>
              </a:xfrm>
              <a:prstGeom prst="rect">
                <a:avLst/>
              </a:prstGeom>
              <a:noFill/>
              <a:ln w="6350">
                <a:noFill/>
                <a:prstDash val="dash"/>
              </a:ln>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effectLst/>
                    <a:uLnTx/>
                    <a:uFillTx/>
                    <a:ea typeface="+mn-ea"/>
                    <a:cs typeface="+mn-cs"/>
                  </a:rPr>
                  <a:t>Lorem </a:t>
                </a:r>
                <a:r>
                  <a:rPr kumimoji="0" lang="en-US" sz="1000" b="0" i="0" u="none" strike="noStrike" kern="1200" cap="none" spc="0" normalizeH="0" baseline="0" noProof="0" dirty="0" err="1">
                    <a:ln>
                      <a:noFill/>
                    </a:ln>
                    <a:effectLst/>
                    <a:uLnTx/>
                    <a:uFillTx/>
                    <a:ea typeface="+mn-ea"/>
                    <a:cs typeface="+mn-cs"/>
                  </a:rPr>
                  <a:t>Ipsum</a:t>
                </a:r>
                <a:r>
                  <a:rPr kumimoji="0" lang="en-US" sz="1000" b="0" i="0" u="none" strike="noStrike" kern="1200" cap="none" spc="0" normalizeH="0" baseline="0" noProof="0" dirty="0">
                    <a:ln>
                      <a:noFill/>
                    </a:ln>
                    <a:effectLst/>
                    <a:uLnTx/>
                    <a:uFillTx/>
                    <a:ea typeface="+mn-ea"/>
                    <a:cs typeface="+mn-cs"/>
                  </a:rPr>
                  <a:t> is simply dummy text of the printing.</a:t>
                </a:r>
              </a:p>
            </p:txBody>
          </p:sp>
          <p:sp>
            <p:nvSpPr>
              <p:cNvPr id="95" name="TextBox 94"/>
              <p:cNvSpPr txBox="1"/>
              <p:nvPr/>
            </p:nvSpPr>
            <p:spPr>
              <a:xfrm flipH="1">
                <a:off x="1284974" y="2014231"/>
                <a:ext cx="962430" cy="146052"/>
              </a:xfrm>
              <a:prstGeom prst="rect">
                <a:avLst/>
              </a:prstGeom>
              <a:noFill/>
              <a:ln w="6350">
                <a:noFill/>
                <a:prstDash val="dash"/>
              </a:ln>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E2583D"/>
                    </a:solidFill>
                    <a:effectLst/>
                    <a:uLnTx/>
                    <a:uFillTx/>
                    <a:ea typeface="+mn-ea"/>
                    <a:cs typeface="+mn-cs"/>
                  </a:rPr>
                  <a:t>LOREM IPSUM</a:t>
                </a:r>
              </a:p>
            </p:txBody>
          </p:sp>
          <p:grpSp>
            <p:nvGrpSpPr>
              <p:cNvPr id="96" name="Group 95"/>
              <p:cNvGrpSpPr/>
              <p:nvPr/>
            </p:nvGrpSpPr>
            <p:grpSpPr>
              <a:xfrm>
                <a:off x="1929673" y="1674940"/>
                <a:ext cx="320085" cy="320085"/>
                <a:chOff x="2462682" y="1738419"/>
                <a:chExt cx="515499" cy="515499"/>
              </a:xfrm>
            </p:grpSpPr>
            <p:sp>
              <p:nvSpPr>
                <p:cNvPr id="135" name="Oval 134"/>
                <p:cNvSpPr/>
                <p:nvPr/>
              </p:nvSpPr>
              <p:spPr>
                <a:xfrm>
                  <a:off x="2462682" y="1738419"/>
                  <a:ext cx="515499" cy="515499"/>
                </a:xfrm>
                <a:prstGeom prst="ellipse">
                  <a:avLst/>
                </a:prstGeom>
                <a:solidFill>
                  <a:srgbClr val="E2583D"/>
                </a:solidFill>
                <a:ln>
                  <a:noFill/>
                </a:ln>
                <a:effectLst>
                  <a:outerShdw blurRad="25400" dist="254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grpSp>
              <p:nvGrpSpPr>
                <p:cNvPr id="136" name="Group 135"/>
                <p:cNvGrpSpPr>
                  <a:grpSpLocks noChangeAspect="1"/>
                </p:cNvGrpSpPr>
                <p:nvPr/>
              </p:nvGrpSpPr>
              <p:grpSpPr>
                <a:xfrm>
                  <a:off x="2571670" y="1847408"/>
                  <a:ext cx="297523" cy="297521"/>
                  <a:chOff x="1204913" y="5033963"/>
                  <a:chExt cx="371476" cy="371475"/>
                </a:xfrm>
                <a:solidFill>
                  <a:schemeClr val="bg1"/>
                </a:solidFill>
              </p:grpSpPr>
              <p:sp>
                <p:nvSpPr>
                  <p:cNvPr id="137" name="Freeform 6"/>
                  <p:cNvSpPr>
                    <a:spLocks noEditPoints="1"/>
                  </p:cNvSpPr>
                  <p:nvPr/>
                </p:nvSpPr>
                <p:spPr bwMode="auto">
                  <a:xfrm>
                    <a:off x="1282701" y="5219701"/>
                    <a:ext cx="107950" cy="107950"/>
                  </a:xfrm>
                  <a:custGeom>
                    <a:avLst/>
                    <a:gdLst>
                      <a:gd name="T0" fmla="*/ 14 w 28"/>
                      <a:gd name="T1" fmla="*/ 28 h 28"/>
                      <a:gd name="T2" fmla="*/ 0 w 28"/>
                      <a:gd name="T3" fmla="*/ 14 h 28"/>
                      <a:gd name="T4" fmla="*/ 14 w 28"/>
                      <a:gd name="T5" fmla="*/ 0 h 28"/>
                      <a:gd name="T6" fmla="*/ 28 w 28"/>
                      <a:gd name="T7" fmla="*/ 14 h 28"/>
                      <a:gd name="T8" fmla="*/ 14 w 28"/>
                      <a:gd name="T9" fmla="*/ 28 h 28"/>
                      <a:gd name="T10" fmla="*/ 14 w 28"/>
                      <a:gd name="T11" fmla="*/ 4 h 28"/>
                      <a:gd name="T12" fmla="*/ 4 w 28"/>
                      <a:gd name="T13" fmla="*/ 14 h 28"/>
                      <a:gd name="T14" fmla="*/ 14 w 28"/>
                      <a:gd name="T15" fmla="*/ 24 h 28"/>
                      <a:gd name="T16" fmla="*/ 24 w 28"/>
                      <a:gd name="T17" fmla="*/ 14 h 28"/>
                      <a:gd name="T18" fmla="*/ 14 w 28"/>
                      <a:gd name="T19" fmla="*/ 4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 h="28">
                        <a:moveTo>
                          <a:pt x="14" y="28"/>
                        </a:moveTo>
                        <a:cubicBezTo>
                          <a:pt x="6" y="28"/>
                          <a:pt x="0" y="22"/>
                          <a:pt x="0" y="14"/>
                        </a:cubicBezTo>
                        <a:cubicBezTo>
                          <a:pt x="0" y="6"/>
                          <a:pt x="6" y="0"/>
                          <a:pt x="14" y="0"/>
                        </a:cubicBezTo>
                        <a:cubicBezTo>
                          <a:pt x="22" y="0"/>
                          <a:pt x="28" y="6"/>
                          <a:pt x="28" y="14"/>
                        </a:cubicBezTo>
                        <a:cubicBezTo>
                          <a:pt x="28" y="22"/>
                          <a:pt x="22" y="28"/>
                          <a:pt x="14" y="28"/>
                        </a:cubicBezTo>
                        <a:close/>
                        <a:moveTo>
                          <a:pt x="14" y="4"/>
                        </a:moveTo>
                        <a:cubicBezTo>
                          <a:pt x="8" y="4"/>
                          <a:pt x="4" y="8"/>
                          <a:pt x="4" y="14"/>
                        </a:cubicBezTo>
                        <a:cubicBezTo>
                          <a:pt x="4" y="20"/>
                          <a:pt x="8" y="24"/>
                          <a:pt x="14" y="24"/>
                        </a:cubicBezTo>
                        <a:cubicBezTo>
                          <a:pt x="20" y="24"/>
                          <a:pt x="24" y="20"/>
                          <a:pt x="24" y="14"/>
                        </a:cubicBezTo>
                        <a:cubicBezTo>
                          <a:pt x="24" y="8"/>
                          <a:pt x="20" y="4"/>
                          <a:pt x="1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38" name="Freeform 7"/>
                  <p:cNvSpPr>
                    <a:spLocks noEditPoints="1"/>
                  </p:cNvSpPr>
                  <p:nvPr/>
                </p:nvSpPr>
                <p:spPr bwMode="auto">
                  <a:xfrm>
                    <a:off x="1204913" y="5141913"/>
                    <a:ext cx="263525" cy="263525"/>
                  </a:xfrm>
                  <a:custGeom>
                    <a:avLst/>
                    <a:gdLst>
                      <a:gd name="T0" fmla="*/ 26 w 68"/>
                      <a:gd name="T1" fmla="*/ 68 h 68"/>
                      <a:gd name="T2" fmla="*/ 24 w 68"/>
                      <a:gd name="T3" fmla="*/ 60 h 68"/>
                      <a:gd name="T4" fmla="*/ 11 w 68"/>
                      <a:gd name="T5" fmla="*/ 59 h 68"/>
                      <a:gd name="T6" fmla="*/ 1 w 68"/>
                      <a:gd name="T7" fmla="*/ 44 h 68"/>
                      <a:gd name="T8" fmla="*/ 1 w 68"/>
                      <a:gd name="T9" fmla="*/ 41 h 68"/>
                      <a:gd name="T10" fmla="*/ 6 w 68"/>
                      <a:gd name="T11" fmla="*/ 30 h 68"/>
                      <a:gd name="T12" fmla="*/ 1 w 68"/>
                      <a:gd name="T13" fmla="*/ 24 h 68"/>
                      <a:gd name="T14" fmla="*/ 10 w 68"/>
                      <a:gd name="T15" fmla="*/ 9 h 68"/>
                      <a:gd name="T16" fmla="*/ 16 w 68"/>
                      <a:gd name="T17" fmla="*/ 12 h 68"/>
                      <a:gd name="T18" fmla="*/ 24 w 68"/>
                      <a:gd name="T19" fmla="*/ 2 h 68"/>
                      <a:gd name="T20" fmla="*/ 42 w 68"/>
                      <a:gd name="T21" fmla="*/ 0 h 68"/>
                      <a:gd name="T22" fmla="*/ 44 w 68"/>
                      <a:gd name="T23" fmla="*/ 8 h 68"/>
                      <a:gd name="T24" fmla="*/ 57 w 68"/>
                      <a:gd name="T25" fmla="*/ 9 h 68"/>
                      <a:gd name="T26" fmla="*/ 67 w 68"/>
                      <a:gd name="T27" fmla="*/ 24 h 68"/>
                      <a:gd name="T28" fmla="*/ 62 w 68"/>
                      <a:gd name="T29" fmla="*/ 30 h 68"/>
                      <a:gd name="T30" fmla="*/ 67 w 68"/>
                      <a:gd name="T31" fmla="*/ 41 h 68"/>
                      <a:gd name="T32" fmla="*/ 67 w 68"/>
                      <a:gd name="T33" fmla="*/ 44 h 68"/>
                      <a:gd name="T34" fmla="*/ 58 w 68"/>
                      <a:gd name="T35" fmla="*/ 59 h 68"/>
                      <a:gd name="T36" fmla="*/ 52 w 68"/>
                      <a:gd name="T37" fmla="*/ 56 h 68"/>
                      <a:gd name="T38" fmla="*/ 44 w 68"/>
                      <a:gd name="T39" fmla="*/ 66 h 68"/>
                      <a:gd name="T40" fmla="*/ 28 w 68"/>
                      <a:gd name="T41" fmla="*/ 64 h 68"/>
                      <a:gd name="T42" fmla="*/ 40 w 68"/>
                      <a:gd name="T43" fmla="*/ 59 h 68"/>
                      <a:gd name="T44" fmla="*/ 50 w 68"/>
                      <a:gd name="T45" fmla="*/ 52 h 68"/>
                      <a:gd name="T46" fmla="*/ 57 w 68"/>
                      <a:gd name="T47" fmla="*/ 54 h 68"/>
                      <a:gd name="T48" fmla="*/ 58 w 68"/>
                      <a:gd name="T49" fmla="*/ 41 h 68"/>
                      <a:gd name="T50" fmla="*/ 57 w 68"/>
                      <a:gd name="T51" fmla="*/ 29 h 68"/>
                      <a:gd name="T52" fmla="*/ 63 w 68"/>
                      <a:gd name="T53" fmla="*/ 24 h 68"/>
                      <a:gd name="T54" fmla="*/ 52 w 68"/>
                      <a:gd name="T55" fmla="*/ 16 h 68"/>
                      <a:gd name="T56" fmla="*/ 41 w 68"/>
                      <a:gd name="T57" fmla="*/ 11 h 68"/>
                      <a:gd name="T58" fmla="*/ 40 w 68"/>
                      <a:gd name="T59" fmla="*/ 4 h 68"/>
                      <a:gd name="T60" fmla="*/ 28 w 68"/>
                      <a:gd name="T61" fmla="*/ 9 h 68"/>
                      <a:gd name="T62" fmla="*/ 18 w 68"/>
                      <a:gd name="T63" fmla="*/ 16 h 68"/>
                      <a:gd name="T64" fmla="*/ 11 w 68"/>
                      <a:gd name="T65" fmla="*/ 14 h 68"/>
                      <a:gd name="T66" fmla="*/ 10 w 68"/>
                      <a:gd name="T67" fmla="*/ 27 h 68"/>
                      <a:gd name="T68" fmla="*/ 11 w 68"/>
                      <a:gd name="T69" fmla="*/ 39 h 68"/>
                      <a:gd name="T70" fmla="*/ 5 w 68"/>
                      <a:gd name="T71" fmla="*/ 44 h 68"/>
                      <a:gd name="T72" fmla="*/ 16 w 68"/>
                      <a:gd name="T73" fmla="*/ 52 h 68"/>
                      <a:gd name="T74" fmla="*/ 27 w 68"/>
                      <a:gd name="T75" fmla="*/ 57 h 68"/>
                      <a:gd name="T76" fmla="*/ 28 w 68"/>
                      <a:gd name="T77" fmla="*/ 64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68" h="68">
                        <a:moveTo>
                          <a:pt x="42" y="68"/>
                        </a:moveTo>
                        <a:cubicBezTo>
                          <a:pt x="26" y="68"/>
                          <a:pt x="26" y="68"/>
                          <a:pt x="26" y="68"/>
                        </a:cubicBezTo>
                        <a:cubicBezTo>
                          <a:pt x="25" y="68"/>
                          <a:pt x="24" y="67"/>
                          <a:pt x="24" y="66"/>
                        </a:cubicBezTo>
                        <a:cubicBezTo>
                          <a:pt x="24" y="60"/>
                          <a:pt x="24" y="60"/>
                          <a:pt x="24" y="60"/>
                        </a:cubicBezTo>
                        <a:cubicBezTo>
                          <a:pt x="21" y="59"/>
                          <a:pt x="19" y="58"/>
                          <a:pt x="16" y="56"/>
                        </a:cubicBezTo>
                        <a:cubicBezTo>
                          <a:pt x="11" y="59"/>
                          <a:pt x="11" y="59"/>
                          <a:pt x="11" y="59"/>
                        </a:cubicBezTo>
                        <a:cubicBezTo>
                          <a:pt x="10" y="59"/>
                          <a:pt x="9" y="59"/>
                          <a:pt x="9" y="58"/>
                        </a:cubicBezTo>
                        <a:cubicBezTo>
                          <a:pt x="1" y="44"/>
                          <a:pt x="1" y="44"/>
                          <a:pt x="1" y="44"/>
                        </a:cubicBezTo>
                        <a:cubicBezTo>
                          <a:pt x="0" y="44"/>
                          <a:pt x="0" y="43"/>
                          <a:pt x="0" y="43"/>
                        </a:cubicBezTo>
                        <a:cubicBezTo>
                          <a:pt x="0" y="42"/>
                          <a:pt x="1" y="42"/>
                          <a:pt x="1" y="41"/>
                        </a:cubicBezTo>
                        <a:cubicBezTo>
                          <a:pt x="6" y="38"/>
                          <a:pt x="6" y="38"/>
                          <a:pt x="6" y="38"/>
                        </a:cubicBezTo>
                        <a:cubicBezTo>
                          <a:pt x="6" y="35"/>
                          <a:pt x="6" y="33"/>
                          <a:pt x="6" y="30"/>
                        </a:cubicBezTo>
                        <a:cubicBezTo>
                          <a:pt x="1" y="27"/>
                          <a:pt x="1" y="27"/>
                          <a:pt x="1" y="27"/>
                        </a:cubicBezTo>
                        <a:cubicBezTo>
                          <a:pt x="0" y="26"/>
                          <a:pt x="0" y="25"/>
                          <a:pt x="1" y="24"/>
                        </a:cubicBezTo>
                        <a:cubicBezTo>
                          <a:pt x="9" y="10"/>
                          <a:pt x="9" y="10"/>
                          <a:pt x="9" y="10"/>
                        </a:cubicBezTo>
                        <a:cubicBezTo>
                          <a:pt x="9" y="10"/>
                          <a:pt x="9" y="9"/>
                          <a:pt x="10" y="9"/>
                        </a:cubicBezTo>
                        <a:cubicBezTo>
                          <a:pt x="10" y="9"/>
                          <a:pt x="11" y="9"/>
                          <a:pt x="11" y="9"/>
                        </a:cubicBezTo>
                        <a:cubicBezTo>
                          <a:pt x="16" y="12"/>
                          <a:pt x="16" y="12"/>
                          <a:pt x="16" y="12"/>
                        </a:cubicBezTo>
                        <a:cubicBezTo>
                          <a:pt x="19" y="10"/>
                          <a:pt x="21" y="9"/>
                          <a:pt x="24" y="8"/>
                        </a:cubicBezTo>
                        <a:cubicBezTo>
                          <a:pt x="24" y="2"/>
                          <a:pt x="24" y="2"/>
                          <a:pt x="24" y="2"/>
                        </a:cubicBezTo>
                        <a:cubicBezTo>
                          <a:pt x="24" y="1"/>
                          <a:pt x="25" y="0"/>
                          <a:pt x="26" y="0"/>
                        </a:cubicBezTo>
                        <a:cubicBezTo>
                          <a:pt x="42" y="0"/>
                          <a:pt x="42" y="0"/>
                          <a:pt x="42" y="0"/>
                        </a:cubicBezTo>
                        <a:cubicBezTo>
                          <a:pt x="43" y="0"/>
                          <a:pt x="44" y="1"/>
                          <a:pt x="44" y="2"/>
                        </a:cubicBezTo>
                        <a:cubicBezTo>
                          <a:pt x="44" y="8"/>
                          <a:pt x="44" y="8"/>
                          <a:pt x="44" y="8"/>
                        </a:cubicBezTo>
                        <a:cubicBezTo>
                          <a:pt x="47" y="9"/>
                          <a:pt x="49" y="10"/>
                          <a:pt x="52" y="12"/>
                        </a:cubicBezTo>
                        <a:cubicBezTo>
                          <a:pt x="57" y="9"/>
                          <a:pt x="57" y="9"/>
                          <a:pt x="57" y="9"/>
                        </a:cubicBezTo>
                        <a:cubicBezTo>
                          <a:pt x="58" y="9"/>
                          <a:pt x="59" y="9"/>
                          <a:pt x="59" y="10"/>
                        </a:cubicBezTo>
                        <a:cubicBezTo>
                          <a:pt x="67" y="24"/>
                          <a:pt x="67" y="24"/>
                          <a:pt x="67" y="24"/>
                        </a:cubicBezTo>
                        <a:cubicBezTo>
                          <a:pt x="68" y="25"/>
                          <a:pt x="68" y="26"/>
                          <a:pt x="67" y="27"/>
                        </a:cubicBezTo>
                        <a:cubicBezTo>
                          <a:pt x="62" y="30"/>
                          <a:pt x="62" y="30"/>
                          <a:pt x="62" y="30"/>
                        </a:cubicBezTo>
                        <a:cubicBezTo>
                          <a:pt x="62" y="33"/>
                          <a:pt x="62" y="35"/>
                          <a:pt x="62" y="38"/>
                        </a:cubicBezTo>
                        <a:cubicBezTo>
                          <a:pt x="67" y="41"/>
                          <a:pt x="67" y="41"/>
                          <a:pt x="67" y="41"/>
                        </a:cubicBezTo>
                        <a:cubicBezTo>
                          <a:pt x="67" y="42"/>
                          <a:pt x="68" y="42"/>
                          <a:pt x="68" y="43"/>
                        </a:cubicBezTo>
                        <a:cubicBezTo>
                          <a:pt x="68" y="43"/>
                          <a:pt x="68" y="44"/>
                          <a:pt x="67" y="44"/>
                        </a:cubicBezTo>
                        <a:cubicBezTo>
                          <a:pt x="59" y="58"/>
                          <a:pt x="59" y="58"/>
                          <a:pt x="59" y="58"/>
                        </a:cubicBezTo>
                        <a:cubicBezTo>
                          <a:pt x="59" y="58"/>
                          <a:pt x="59" y="59"/>
                          <a:pt x="58" y="59"/>
                        </a:cubicBezTo>
                        <a:cubicBezTo>
                          <a:pt x="58" y="59"/>
                          <a:pt x="57" y="59"/>
                          <a:pt x="57" y="59"/>
                        </a:cubicBezTo>
                        <a:cubicBezTo>
                          <a:pt x="52" y="56"/>
                          <a:pt x="52" y="56"/>
                          <a:pt x="52" y="56"/>
                        </a:cubicBezTo>
                        <a:cubicBezTo>
                          <a:pt x="49" y="58"/>
                          <a:pt x="47" y="59"/>
                          <a:pt x="44" y="60"/>
                        </a:cubicBezTo>
                        <a:cubicBezTo>
                          <a:pt x="44" y="66"/>
                          <a:pt x="44" y="66"/>
                          <a:pt x="44" y="66"/>
                        </a:cubicBezTo>
                        <a:cubicBezTo>
                          <a:pt x="44" y="67"/>
                          <a:pt x="43" y="68"/>
                          <a:pt x="42" y="68"/>
                        </a:cubicBezTo>
                        <a:close/>
                        <a:moveTo>
                          <a:pt x="28" y="64"/>
                        </a:moveTo>
                        <a:cubicBezTo>
                          <a:pt x="40" y="64"/>
                          <a:pt x="40" y="64"/>
                          <a:pt x="40" y="64"/>
                        </a:cubicBezTo>
                        <a:cubicBezTo>
                          <a:pt x="40" y="59"/>
                          <a:pt x="40" y="59"/>
                          <a:pt x="40" y="59"/>
                        </a:cubicBezTo>
                        <a:cubicBezTo>
                          <a:pt x="40" y="58"/>
                          <a:pt x="41" y="57"/>
                          <a:pt x="41" y="57"/>
                        </a:cubicBezTo>
                        <a:cubicBezTo>
                          <a:pt x="45" y="56"/>
                          <a:pt x="48" y="54"/>
                          <a:pt x="50" y="52"/>
                        </a:cubicBezTo>
                        <a:cubicBezTo>
                          <a:pt x="51" y="51"/>
                          <a:pt x="52" y="51"/>
                          <a:pt x="52" y="52"/>
                        </a:cubicBezTo>
                        <a:cubicBezTo>
                          <a:pt x="57" y="54"/>
                          <a:pt x="57" y="54"/>
                          <a:pt x="57" y="54"/>
                        </a:cubicBezTo>
                        <a:cubicBezTo>
                          <a:pt x="63" y="44"/>
                          <a:pt x="63" y="44"/>
                          <a:pt x="63" y="44"/>
                        </a:cubicBezTo>
                        <a:cubicBezTo>
                          <a:pt x="58" y="41"/>
                          <a:pt x="58" y="41"/>
                          <a:pt x="58" y="41"/>
                        </a:cubicBezTo>
                        <a:cubicBezTo>
                          <a:pt x="58" y="41"/>
                          <a:pt x="57" y="40"/>
                          <a:pt x="57" y="39"/>
                        </a:cubicBezTo>
                        <a:cubicBezTo>
                          <a:pt x="58" y="36"/>
                          <a:pt x="58" y="32"/>
                          <a:pt x="57" y="29"/>
                        </a:cubicBezTo>
                        <a:cubicBezTo>
                          <a:pt x="57" y="28"/>
                          <a:pt x="58" y="27"/>
                          <a:pt x="58" y="27"/>
                        </a:cubicBezTo>
                        <a:cubicBezTo>
                          <a:pt x="63" y="24"/>
                          <a:pt x="63" y="24"/>
                          <a:pt x="63" y="24"/>
                        </a:cubicBezTo>
                        <a:cubicBezTo>
                          <a:pt x="57" y="14"/>
                          <a:pt x="57" y="14"/>
                          <a:pt x="57" y="14"/>
                        </a:cubicBezTo>
                        <a:cubicBezTo>
                          <a:pt x="52" y="16"/>
                          <a:pt x="52" y="16"/>
                          <a:pt x="52" y="16"/>
                        </a:cubicBezTo>
                        <a:cubicBezTo>
                          <a:pt x="52" y="17"/>
                          <a:pt x="51" y="17"/>
                          <a:pt x="50" y="16"/>
                        </a:cubicBezTo>
                        <a:cubicBezTo>
                          <a:pt x="48" y="14"/>
                          <a:pt x="45" y="12"/>
                          <a:pt x="41" y="11"/>
                        </a:cubicBezTo>
                        <a:cubicBezTo>
                          <a:pt x="41" y="11"/>
                          <a:pt x="40" y="10"/>
                          <a:pt x="40" y="9"/>
                        </a:cubicBezTo>
                        <a:cubicBezTo>
                          <a:pt x="40" y="4"/>
                          <a:pt x="40" y="4"/>
                          <a:pt x="40" y="4"/>
                        </a:cubicBezTo>
                        <a:cubicBezTo>
                          <a:pt x="28" y="4"/>
                          <a:pt x="28" y="4"/>
                          <a:pt x="28" y="4"/>
                        </a:cubicBezTo>
                        <a:cubicBezTo>
                          <a:pt x="28" y="9"/>
                          <a:pt x="28" y="9"/>
                          <a:pt x="28" y="9"/>
                        </a:cubicBezTo>
                        <a:cubicBezTo>
                          <a:pt x="28" y="10"/>
                          <a:pt x="27" y="11"/>
                          <a:pt x="27" y="11"/>
                        </a:cubicBezTo>
                        <a:cubicBezTo>
                          <a:pt x="23" y="12"/>
                          <a:pt x="20" y="14"/>
                          <a:pt x="18" y="16"/>
                        </a:cubicBezTo>
                        <a:cubicBezTo>
                          <a:pt x="17" y="17"/>
                          <a:pt x="16" y="17"/>
                          <a:pt x="16" y="16"/>
                        </a:cubicBezTo>
                        <a:cubicBezTo>
                          <a:pt x="11" y="14"/>
                          <a:pt x="11" y="14"/>
                          <a:pt x="11" y="14"/>
                        </a:cubicBezTo>
                        <a:cubicBezTo>
                          <a:pt x="5" y="24"/>
                          <a:pt x="5" y="24"/>
                          <a:pt x="5" y="24"/>
                        </a:cubicBezTo>
                        <a:cubicBezTo>
                          <a:pt x="10" y="27"/>
                          <a:pt x="10" y="27"/>
                          <a:pt x="10" y="27"/>
                        </a:cubicBezTo>
                        <a:cubicBezTo>
                          <a:pt x="10" y="27"/>
                          <a:pt x="11" y="28"/>
                          <a:pt x="11" y="29"/>
                        </a:cubicBezTo>
                        <a:cubicBezTo>
                          <a:pt x="10" y="32"/>
                          <a:pt x="10" y="36"/>
                          <a:pt x="11" y="39"/>
                        </a:cubicBezTo>
                        <a:cubicBezTo>
                          <a:pt x="11" y="40"/>
                          <a:pt x="10" y="41"/>
                          <a:pt x="10" y="41"/>
                        </a:cubicBezTo>
                        <a:cubicBezTo>
                          <a:pt x="5" y="44"/>
                          <a:pt x="5" y="44"/>
                          <a:pt x="5" y="44"/>
                        </a:cubicBezTo>
                        <a:cubicBezTo>
                          <a:pt x="11" y="54"/>
                          <a:pt x="11" y="54"/>
                          <a:pt x="11" y="54"/>
                        </a:cubicBezTo>
                        <a:cubicBezTo>
                          <a:pt x="16" y="52"/>
                          <a:pt x="16" y="52"/>
                          <a:pt x="16" y="52"/>
                        </a:cubicBezTo>
                        <a:cubicBezTo>
                          <a:pt x="16" y="51"/>
                          <a:pt x="17" y="51"/>
                          <a:pt x="18" y="52"/>
                        </a:cubicBezTo>
                        <a:cubicBezTo>
                          <a:pt x="20" y="54"/>
                          <a:pt x="23" y="56"/>
                          <a:pt x="27" y="57"/>
                        </a:cubicBezTo>
                        <a:cubicBezTo>
                          <a:pt x="27" y="57"/>
                          <a:pt x="28" y="58"/>
                          <a:pt x="28" y="59"/>
                        </a:cubicBezTo>
                        <a:lnTo>
                          <a:pt x="28" y="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39" name="Freeform 8"/>
                  <p:cNvSpPr>
                    <a:spLocks noEditPoints="1"/>
                  </p:cNvSpPr>
                  <p:nvPr/>
                </p:nvSpPr>
                <p:spPr bwMode="auto">
                  <a:xfrm>
                    <a:off x="1468438" y="5080001"/>
                    <a:ext cx="61913" cy="61913"/>
                  </a:xfrm>
                  <a:custGeom>
                    <a:avLst/>
                    <a:gdLst>
                      <a:gd name="T0" fmla="*/ 8 w 16"/>
                      <a:gd name="T1" fmla="*/ 16 h 16"/>
                      <a:gd name="T2" fmla="*/ 0 w 16"/>
                      <a:gd name="T3" fmla="*/ 8 h 16"/>
                      <a:gd name="T4" fmla="*/ 8 w 16"/>
                      <a:gd name="T5" fmla="*/ 0 h 16"/>
                      <a:gd name="T6" fmla="*/ 16 w 16"/>
                      <a:gd name="T7" fmla="*/ 8 h 16"/>
                      <a:gd name="T8" fmla="*/ 8 w 16"/>
                      <a:gd name="T9" fmla="*/ 16 h 16"/>
                      <a:gd name="T10" fmla="*/ 8 w 16"/>
                      <a:gd name="T11" fmla="*/ 4 h 16"/>
                      <a:gd name="T12" fmla="*/ 4 w 16"/>
                      <a:gd name="T13" fmla="*/ 8 h 16"/>
                      <a:gd name="T14" fmla="*/ 8 w 16"/>
                      <a:gd name="T15" fmla="*/ 12 h 16"/>
                      <a:gd name="T16" fmla="*/ 12 w 16"/>
                      <a:gd name="T17" fmla="*/ 8 h 16"/>
                      <a:gd name="T18" fmla="*/ 8 w 16"/>
                      <a:gd name="T19" fmla="*/ 4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 h="16">
                        <a:moveTo>
                          <a:pt x="8" y="16"/>
                        </a:moveTo>
                        <a:cubicBezTo>
                          <a:pt x="4" y="16"/>
                          <a:pt x="0" y="12"/>
                          <a:pt x="0" y="8"/>
                        </a:cubicBezTo>
                        <a:cubicBezTo>
                          <a:pt x="0" y="4"/>
                          <a:pt x="4" y="0"/>
                          <a:pt x="8" y="0"/>
                        </a:cubicBezTo>
                        <a:cubicBezTo>
                          <a:pt x="12" y="0"/>
                          <a:pt x="16" y="4"/>
                          <a:pt x="16" y="8"/>
                        </a:cubicBezTo>
                        <a:cubicBezTo>
                          <a:pt x="16" y="12"/>
                          <a:pt x="12" y="16"/>
                          <a:pt x="8" y="16"/>
                        </a:cubicBezTo>
                        <a:close/>
                        <a:moveTo>
                          <a:pt x="8" y="4"/>
                        </a:moveTo>
                        <a:cubicBezTo>
                          <a:pt x="6" y="4"/>
                          <a:pt x="4" y="6"/>
                          <a:pt x="4" y="8"/>
                        </a:cubicBezTo>
                        <a:cubicBezTo>
                          <a:pt x="4" y="10"/>
                          <a:pt x="6" y="12"/>
                          <a:pt x="8" y="12"/>
                        </a:cubicBezTo>
                        <a:cubicBezTo>
                          <a:pt x="10" y="12"/>
                          <a:pt x="12" y="10"/>
                          <a:pt x="12" y="8"/>
                        </a:cubicBezTo>
                        <a:cubicBezTo>
                          <a:pt x="12" y="6"/>
                          <a:pt x="10" y="4"/>
                          <a:pt x="8"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40" name="Freeform 9"/>
                  <p:cNvSpPr>
                    <a:spLocks noEditPoints="1"/>
                  </p:cNvSpPr>
                  <p:nvPr/>
                </p:nvSpPr>
                <p:spPr bwMode="auto">
                  <a:xfrm>
                    <a:off x="1422401" y="5033963"/>
                    <a:ext cx="153988" cy="155575"/>
                  </a:xfrm>
                  <a:custGeom>
                    <a:avLst/>
                    <a:gdLst>
                      <a:gd name="T0" fmla="*/ 16 w 40"/>
                      <a:gd name="T1" fmla="*/ 40 h 40"/>
                      <a:gd name="T2" fmla="*/ 14 w 40"/>
                      <a:gd name="T3" fmla="*/ 35 h 40"/>
                      <a:gd name="T4" fmla="*/ 7 w 40"/>
                      <a:gd name="T5" fmla="*/ 34 h 40"/>
                      <a:gd name="T6" fmla="*/ 5 w 40"/>
                      <a:gd name="T7" fmla="*/ 33 h 40"/>
                      <a:gd name="T8" fmla="*/ 1 w 40"/>
                      <a:gd name="T9" fmla="*/ 24 h 40"/>
                      <a:gd name="T10" fmla="*/ 4 w 40"/>
                      <a:gd name="T11" fmla="*/ 18 h 40"/>
                      <a:gd name="T12" fmla="*/ 0 w 40"/>
                      <a:gd name="T13" fmla="*/ 15 h 40"/>
                      <a:gd name="T14" fmla="*/ 5 w 40"/>
                      <a:gd name="T15" fmla="*/ 7 h 40"/>
                      <a:gd name="T16" fmla="*/ 7 w 40"/>
                      <a:gd name="T17" fmla="*/ 6 h 40"/>
                      <a:gd name="T18" fmla="*/ 14 w 40"/>
                      <a:gd name="T19" fmla="*/ 5 h 40"/>
                      <a:gd name="T20" fmla="*/ 16 w 40"/>
                      <a:gd name="T21" fmla="*/ 0 h 40"/>
                      <a:gd name="T22" fmla="*/ 26 w 40"/>
                      <a:gd name="T23" fmla="*/ 2 h 40"/>
                      <a:gd name="T24" fmla="*/ 30 w 40"/>
                      <a:gd name="T25" fmla="*/ 7 h 40"/>
                      <a:gd name="T26" fmla="*/ 34 w 40"/>
                      <a:gd name="T27" fmla="*/ 6 h 40"/>
                      <a:gd name="T28" fmla="*/ 39 w 40"/>
                      <a:gd name="T29" fmla="*/ 13 h 40"/>
                      <a:gd name="T30" fmla="*/ 36 w 40"/>
                      <a:gd name="T31" fmla="*/ 18 h 40"/>
                      <a:gd name="T32" fmla="*/ 39 w 40"/>
                      <a:gd name="T33" fmla="*/ 24 h 40"/>
                      <a:gd name="T34" fmla="*/ 35 w 40"/>
                      <a:gd name="T35" fmla="*/ 33 h 40"/>
                      <a:gd name="T36" fmla="*/ 33 w 40"/>
                      <a:gd name="T37" fmla="*/ 34 h 40"/>
                      <a:gd name="T38" fmla="*/ 26 w 40"/>
                      <a:gd name="T39" fmla="*/ 35 h 40"/>
                      <a:gd name="T40" fmla="*/ 24 w 40"/>
                      <a:gd name="T41" fmla="*/ 40 h 40"/>
                      <a:gd name="T42" fmla="*/ 22 w 40"/>
                      <a:gd name="T43" fmla="*/ 36 h 40"/>
                      <a:gd name="T44" fmla="*/ 23 w 40"/>
                      <a:gd name="T45" fmla="*/ 31 h 40"/>
                      <a:gd name="T46" fmla="*/ 31 w 40"/>
                      <a:gd name="T47" fmla="*/ 28 h 40"/>
                      <a:gd name="T48" fmla="*/ 35 w 40"/>
                      <a:gd name="T49" fmla="*/ 26 h 40"/>
                      <a:gd name="T50" fmla="*/ 32 w 40"/>
                      <a:gd name="T51" fmla="*/ 23 h 40"/>
                      <a:gd name="T52" fmla="*/ 33 w 40"/>
                      <a:gd name="T53" fmla="*/ 15 h 40"/>
                      <a:gd name="T54" fmla="*/ 33 w 40"/>
                      <a:gd name="T55" fmla="*/ 10 h 40"/>
                      <a:gd name="T56" fmla="*/ 28 w 40"/>
                      <a:gd name="T57" fmla="*/ 11 h 40"/>
                      <a:gd name="T58" fmla="*/ 22 w 40"/>
                      <a:gd name="T59" fmla="*/ 7 h 40"/>
                      <a:gd name="T60" fmla="*/ 18 w 40"/>
                      <a:gd name="T61" fmla="*/ 4 h 40"/>
                      <a:gd name="T62" fmla="*/ 17 w 40"/>
                      <a:gd name="T63" fmla="*/ 9 h 40"/>
                      <a:gd name="T64" fmla="*/ 9 w 40"/>
                      <a:gd name="T65" fmla="*/ 12 h 40"/>
                      <a:gd name="T66" fmla="*/ 5 w 40"/>
                      <a:gd name="T67" fmla="*/ 14 h 40"/>
                      <a:gd name="T68" fmla="*/ 8 w 40"/>
                      <a:gd name="T69" fmla="*/ 17 h 40"/>
                      <a:gd name="T70" fmla="*/ 7 w 40"/>
                      <a:gd name="T71" fmla="*/ 25 h 40"/>
                      <a:gd name="T72" fmla="*/ 7 w 40"/>
                      <a:gd name="T73" fmla="*/ 30 h 40"/>
                      <a:gd name="T74" fmla="*/ 12 w 40"/>
                      <a:gd name="T75" fmla="*/ 29 h 40"/>
                      <a:gd name="T76" fmla="*/ 18 w 40"/>
                      <a:gd name="T77" fmla="*/ 33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0" h="40">
                        <a:moveTo>
                          <a:pt x="24" y="40"/>
                        </a:moveTo>
                        <a:cubicBezTo>
                          <a:pt x="16" y="40"/>
                          <a:pt x="16" y="40"/>
                          <a:pt x="16" y="40"/>
                        </a:cubicBezTo>
                        <a:cubicBezTo>
                          <a:pt x="15" y="40"/>
                          <a:pt x="14" y="39"/>
                          <a:pt x="14" y="38"/>
                        </a:cubicBezTo>
                        <a:cubicBezTo>
                          <a:pt x="14" y="35"/>
                          <a:pt x="14" y="35"/>
                          <a:pt x="14" y="35"/>
                        </a:cubicBezTo>
                        <a:cubicBezTo>
                          <a:pt x="13" y="34"/>
                          <a:pt x="11" y="34"/>
                          <a:pt x="10" y="33"/>
                        </a:cubicBezTo>
                        <a:cubicBezTo>
                          <a:pt x="7" y="34"/>
                          <a:pt x="7" y="34"/>
                          <a:pt x="7" y="34"/>
                        </a:cubicBezTo>
                        <a:cubicBezTo>
                          <a:pt x="7" y="34"/>
                          <a:pt x="6" y="35"/>
                          <a:pt x="6" y="34"/>
                        </a:cubicBezTo>
                        <a:cubicBezTo>
                          <a:pt x="5" y="34"/>
                          <a:pt x="5" y="34"/>
                          <a:pt x="5" y="33"/>
                        </a:cubicBezTo>
                        <a:cubicBezTo>
                          <a:pt x="1" y="27"/>
                          <a:pt x="1" y="27"/>
                          <a:pt x="1" y="27"/>
                        </a:cubicBezTo>
                        <a:cubicBezTo>
                          <a:pt x="0" y="26"/>
                          <a:pt x="0" y="24"/>
                          <a:pt x="1" y="24"/>
                        </a:cubicBezTo>
                        <a:cubicBezTo>
                          <a:pt x="4" y="22"/>
                          <a:pt x="4" y="22"/>
                          <a:pt x="4" y="22"/>
                        </a:cubicBezTo>
                        <a:cubicBezTo>
                          <a:pt x="4" y="21"/>
                          <a:pt x="4" y="19"/>
                          <a:pt x="4" y="18"/>
                        </a:cubicBezTo>
                        <a:cubicBezTo>
                          <a:pt x="1" y="16"/>
                          <a:pt x="1" y="16"/>
                          <a:pt x="1" y="16"/>
                        </a:cubicBezTo>
                        <a:cubicBezTo>
                          <a:pt x="1" y="16"/>
                          <a:pt x="1" y="15"/>
                          <a:pt x="0" y="15"/>
                        </a:cubicBezTo>
                        <a:cubicBezTo>
                          <a:pt x="0" y="14"/>
                          <a:pt x="0" y="14"/>
                          <a:pt x="1" y="13"/>
                        </a:cubicBezTo>
                        <a:cubicBezTo>
                          <a:pt x="5" y="7"/>
                          <a:pt x="5" y="7"/>
                          <a:pt x="5" y="7"/>
                        </a:cubicBezTo>
                        <a:cubicBezTo>
                          <a:pt x="5" y="6"/>
                          <a:pt x="5" y="6"/>
                          <a:pt x="6" y="6"/>
                        </a:cubicBezTo>
                        <a:cubicBezTo>
                          <a:pt x="6" y="5"/>
                          <a:pt x="7" y="6"/>
                          <a:pt x="7" y="6"/>
                        </a:cubicBezTo>
                        <a:cubicBezTo>
                          <a:pt x="10" y="7"/>
                          <a:pt x="10" y="7"/>
                          <a:pt x="10" y="7"/>
                        </a:cubicBezTo>
                        <a:cubicBezTo>
                          <a:pt x="11" y="7"/>
                          <a:pt x="13" y="6"/>
                          <a:pt x="14" y="5"/>
                        </a:cubicBezTo>
                        <a:cubicBezTo>
                          <a:pt x="14" y="2"/>
                          <a:pt x="14" y="2"/>
                          <a:pt x="14" y="2"/>
                        </a:cubicBezTo>
                        <a:cubicBezTo>
                          <a:pt x="14" y="1"/>
                          <a:pt x="15" y="0"/>
                          <a:pt x="16" y="0"/>
                        </a:cubicBezTo>
                        <a:cubicBezTo>
                          <a:pt x="24" y="0"/>
                          <a:pt x="24" y="0"/>
                          <a:pt x="24" y="0"/>
                        </a:cubicBezTo>
                        <a:cubicBezTo>
                          <a:pt x="25" y="0"/>
                          <a:pt x="26" y="1"/>
                          <a:pt x="26" y="2"/>
                        </a:cubicBezTo>
                        <a:cubicBezTo>
                          <a:pt x="26" y="5"/>
                          <a:pt x="26" y="5"/>
                          <a:pt x="26" y="5"/>
                        </a:cubicBezTo>
                        <a:cubicBezTo>
                          <a:pt x="27" y="6"/>
                          <a:pt x="29" y="6"/>
                          <a:pt x="30" y="7"/>
                        </a:cubicBezTo>
                        <a:cubicBezTo>
                          <a:pt x="33" y="6"/>
                          <a:pt x="33" y="6"/>
                          <a:pt x="33" y="6"/>
                        </a:cubicBezTo>
                        <a:cubicBezTo>
                          <a:pt x="33" y="6"/>
                          <a:pt x="34" y="5"/>
                          <a:pt x="34" y="6"/>
                        </a:cubicBezTo>
                        <a:cubicBezTo>
                          <a:pt x="35" y="6"/>
                          <a:pt x="35" y="6"/>
                          <a:pt x="35" y="7"/>
                        </a:cubicBezTo>
                        <a:cubicBezTo>
                          <a:pt x="39" y="13"/>
                          <a:pt x="39" y="13"/>
                          <a:pt x="39" y="13"/>
                        </a:cubicBezTo>
                        <a:cubicBezTo>
                          <a:pt x="40" y="14"/>
                          <a:pt x="40" y="16"/>
                          <a:pt x="39" y="16"/>
                        </a:cubicBezTo>
                        <a:cubicBezTo>
                          <a:pt x="36" y="18"/>
                          <a:pt x="36" y="18"/>
                          <a:pt x="36" y="18"/>
                        </a:cubicBezTo>
                        <a:cubicBezTo>
                          <a:pt x="36" y="19"/>
                          <a:pt x="36" y="21"/>
                          <a:pt x="36" y="22"/>
                        </a:cubicBezTo>
                        <a:cubicBezTo>
                          <a:pt x="39" y="24"/>
                          <a:pt x="39" y="24"/>
                          <a:pt x="39" y="24"/>
                        </a:cubicBezTo>
                        <a:cubicBezTo>
                          <a:pt x="40" y="24"/>
                          <a:pt x="40" y="26"/>
                          <a:pt x="39" y="27"/>
                        </a:cubicBezTo>
                        <a:cubicBezTo>
                          <a:pt x="35" y="33"/>
                          <a:pt x="35" y="33"/>
                          <a:pt x="35" y="33"/>
                        </a:cubicBezTo>
                        <a:cubicBezTo>
                          <a:pt x="35" y="34"/>
                          <a:pt x="35" y="34"/>
                          <a:pt x="34" y="34"/>
                        </a:cubicBezTo>
                        <a:cubicBezTo>
                          <a:pt x="34" y="35"/>
                          <a:pt x="33" y="34"/>
                          <a:pt x="33" y="34"/>
                        </a:cubicBezTo>
                        <a:cubicBezTo>
                          <a:pt x="30" y="33"/>
                          <a:pt x="30" y="33"/>
                          <a:pt x="30" y="33"/>
                        </a:cubicBezTo>
                        <a:cubicBezTo>
                          <a:pt x="29" y="33"/>
                          <a:pt x="27" y="34"/>
                          <a:pt x="26" y="35"/>
                        </a:cubicBezTo>
                        <a:cubicBezTo>
                          <a:pt x="26" y="38"/>
                          <a:pt x="26" y="38"/>
                          <a:pt x="26" y="38"/>
                        </a:cubicBezTo>
                        <a:cubicBezTo>
                          <a:pt x="26" y="39"/>
                          <a:pt x="25" y="40"/>
                          <a:pt x="24" y="40"/>
                        </a:cubicBezTo>
                        <a:close/>
                        <a:moveTo>
                          <a:pt x="18" y="36"/>
                        </a:moveTo>
                        <a:cubicBezTo>
                          <a:pt x="22" y="36"/>
                          <a:pt x="22" y="36"/>
                          <a:pt x="22" y="36"/>
                        </a:cubicBezTo>
                        <a:cubicBezTo>
                          <a:pt x="22" y="33"/>
                          <a:pt x="22" y="33"/>
                          <a:pt x="22" y="33"/>
                        </a:cubicBezTo>
                        <a:cubicBezTo>
                          <a:pt x="22" y="32"/>
                          <a:pt x="23" y="32"/>
                          <a:pt x="23" y="31"/>
                        </a:cubicBezTo>
                        <a:cubicBezTo>
                          <a:pt x="25" y="31"/>
                          <a:pt x="27" y="30"/>
                          <a:pt x="28" y="29"/>
                        </a:cubicBezTo>
                        <a:cubicBezTo>
                          <a:pt x="29" y="28"/>
                          <a:pt x="30" y="28"/>
                          <a:pt x="31" y="28"/>
                        </a:cubicBezTo>
                        <a:cubicBezTo>
                          <a:pt x="33" y="30"/>
                          <a:pt x="33" y="30"/>
                          <a:pt x="33" y="30"/>
                        </a:cubicBezTo>
                        <a:cubicBezTo>
                          <a:pt x="35" y="26"/>
                          <a:pt x="35" y="26"/>
                          <a:pt x="35" y="26"/>
                        </a:cubicBezTo>
                        <a:cubicBezTo>
                          <a:pt x="33" y="25"/>
                          <a:pt x="33" y="25"/>
                          <a:pt x="33" y="25"/>
                        </a:cubicBezTo>
                        <a:cubicBezTo>
                          <a:pt x="32" y="25"/>
                          <a:pt x="31" y="24"/>
                          <a:pt x="32" y="23"/>
                        </a:cubicBezTo>
                        <a:cubicBezTo>
                          <a:pt x="32" y="21"/>
                          <a:pt x="32" y="19"/>
                          <a:pt x="32" y="17"/>
                        </a:cubicBezTo>
                        <a:cubicBezTo>
                          <a:pt x="31" y="16"/>
                          <a:pt x="32" y="15"/>
                          <a:pt x="33" y="15"/>
                        </a:cubicBezTo>
                        <a:cubicBezTo>
                          <a:pt x="35" y="14"/>
                          <a:pt x="35" y="14"/>
                          <a:pt x="35" y="14"/>
                        </a:cubicBezTo>
                        <a:cubicBezTo>
                          <a:pt x="33" y="10"/>
                          <a:pt x="33" y="10"/>
                          <a:pt x="33" y="10"/>
                        </a:cubicBezTo>
                        <a:cubicBezTo>
                          <a:pt x="31" y="12"/>
                          <a:pt x="31" y="12"/>
                          <a:pt x="31" y="12"/>
                        </a:cubicBezTo>
                        <a:cubicBezTo>
                          <a:pt x="30" y="12"/>
                          <a:pt x="29" y="12"/>
                          <a:pt x="28" y="11"/>
                        </a:cubicBezTo>
                        <a:cubicBezTo>
                          <a:pt x="27" y="10"/>
                          <a:pt x="25" y="9"/>
                          <a:pt x="23" y="9"/>
                        </a:cubicBezTo>
                        <a:cubicBezTo>
                          <a:pt x="23" y="8"/>
                          <a:pt x="22" y="8"/>
                          <a:pt x="22" y="7"/>
                        </a:cubicBezTo>
                        <a:cubicBezTo>
                          <a:pt x="22" y="4"/>
                          <a:pt x="22" y="4"/>
                          <a:pt x="22" y="4"/>
                        </a:cubicBezTo>
                        <a:cubicBezTo>
                          <a:pt x="18" y="4"/>
                          <a:pt x="18" y="4"/>
                          <a:pt x="18" y="4"/>
                        </a:cubicBezTo>
                        <a:cubicBezTo>
                          <a:pt x="18" y="7"/>
                          <a:pt x="18" y="7"/>
                          <a:pt x="18" y="7"/>
                        </a:cubicBezTo>
                        <a:cubicBezTo>
                          <a:pt x="18" y="8"/>
                          <a:pt x="17" y="8"/>
                          <a:pt x="17" y="9"/>
                        </a:cubicBezTo>
                        <a:cubicBezTo>
                          <a:pt x="15" y="9"/>
                          <a:pt x="13" y="10"/>
                          <a:pt x="12" y="11"/>
                        </a:cubicBezTo>
                        <a:cubicBezTo>
                          <a:pt x="11" y="12"/>
                          <a:pt x="10" y="12"/>
                          <a:pt x="9" y="12"/>
                        </a:cubicBezTo>
                        <a:cubicBezTo>
                          <a:pt x="7" y="10"/>
                          <a:pt x="7" y="10"/>
                          <a:pt x="7" y="10"/>
                        </a:cubicBezTo>
                        <a:cubicBezTo>
                          <a:pt x="5" y="14"/>
                          <a:pt x="5" y="14"/>
                          <a:pt x="5" y="14"/>
                        </a:cubicBezTo>
                        <a:cubicBezTo>
                          <a:pt x="7" y="15"/>
                          <a:pt x="7" y="15"/>
                          <a:pt x="7" y="15"/>
                        </a:cubicBezTo>
                        <a:cubicBezTo>
                          <a:pt x="8" y="15"/>
                          <a:pt x="9" y="16"/>
                          <a:pt x="8" y="17"/>
                        </a:cubicBezTo>
                        <a:cubicBezTo>
                          <a:pt x="8" y="19"/>
                          <a:pt x="8" y="21"/>
                          <a:pt x="8" y="23"/>
                        </a:cubicBezTo>
                        <a:cubicBezTo>
                          <a:pt x="9" y="24"/>
                          <a:pt x="8" y="24"/>
                          <a:pt x="7" y="25"/>
                        </a:cubicBezTo>
                        <a:cubicBezTo>
                          <a:pt x="5" y="26"/>
                          <a:pt x="5" y="26"/>
                          <a:pt x="5" y="26"/>
                        </a:cubicBezTo>
                        <a:cubicBezTo>
                          <a:pt x="7" y="30"/>
                          <a:pt x="7" y="30"/>
                          <a:pt x="7" y="30"/>
                        </a:cubicBezTo>
                        <a:cubicBezTo>
                          <a:pt x="9" y="28"/>
                          <a:pt x="9" y="28"/>
                          <a:pt x="9" y="28"/>
                        </a:cubicBezTo>
                        <a:cubicBezTo>
                          <a:pt x="10" y="28"/>
                          <a:pt x="11" y="28"/>
                          <a:pt x="12" y="29"/>
                        </a:cubicBezTo>
                        <a:cubicBezTo>
                          <a:pt x="13" y="30"/>
                          <a:pt x="15" y="31"/>
                          <a:pt x="17" y="31"/>
                        </a:cubicBezTo>
                        <a:cubicBezTo>
                          <a:pt x="17" y="32"/>
                          <a:pt x="18" y="33"/>
                          <a:pt x="18" y="33"/>
                        </a:cubicBezTo>
                        <a:lnTo>
                          <a:pt x="18" y="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grpSp>
          </p:grpSp>
          <p:sp>
            <p:nvSpPr>
              <p:cNvPr id="99" name="TextBox 98"/>
              <p:cNvSpPr txBox="1"/>
              <p:nvPr/>
            </p:nvSpPr>
            <p:spPr>
              <a:xfrm flipH="1">
                <a:off x="3275153" y="3843778"/>
                <a:ext cx="1186941" cy="438157"/>
              </a:xfrm>
              <a:prstGeom prst="rect">
                <a:avLst/>
              </a:prstGeom>
              <a:noFill/>
              <a:ln w="6350">
                <a:noFill/>
                <a:prstDash val="dash"/>
              </a:ln>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effectLst/>
                    <a:uLnTx/>
                    <a:uFillTx/>
                    <a:ea typeface="+mn-ea"/>
                    <a:cs typeface="+mn-cs"/>
                  </a:rPr>
                  <a:t>Lorem </a:t>
                </a:r>
                <a:r>
                  <a:rPr kumimoji="0" lang="en-US" sz="1000" b="0" i="0" u="none" strike="noStrike" kern="1200" cap="none" spc="0" normalizeH="0" baseline="0" noProof="0" dirty="0" err="1">
                    <a:ln>
                      <a:noFill/>
                    </a:ln>
                    <a:effectLst/>
                    <a:uLnTx/>
                    <a:uFillTx/>
                    <a:ea typeface="+mn-ea"/>
                    <a:cs typeface="+mn-cs"/>
                  </a:rPr>
                  <a:t>Ipsum</a:t>
                </a:r>
                <a:r>
                  <a:rPr kumimoji="0" lang="en-US" sz="1000" b="0" i="0" u="none" strike="noStrike" kern="1200" cap="none" spc="0" normalizeH="0" baseline="0" noProof="0" dirty="0">
                    <a:ln>
                      <a:noFill/>
                    </a:ln>
                    <a:effectLst/>
                    <a:uLnTx/>
                    <a:uFillTx/>
                    <a:ea typeface="+mn-ea"/>
                    <a:cs typeface="+mn-cs"/>
                  </a:rPr>
                  <a:t> is simply dummy text of the printing.</a:t>
                </a:r>
              </a:p>
            </p:txBody>
          </p:sp>
          <p:sp>
            <p:nvSpPr>
              <p:cNvPr id="100" name="TextBox 99"/>
              <p:cNvSpPr txBox="1"/>
              <p:nvPr/>
            </p:nvSpPr>
            <p:spPr>
              <a:xfrm flipH="1">
                <a:off x="3492521" y="3705890"/>
                <a:ext cx="962430" cy="146052"/>
              </a:xfrm>
              <a:prstGeom prst="rect">
                <a:avLst/>
              </a:prstGeom>
              <a:noFill/>
              <a:ln w="6350">
                <a:noFill/>
                <a:prstDash val="dash"/>
              </a:ln>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AFABAB"/>
                    </a:solidFill>
                    <a:effectLst/>
                    <a:uLnTx/>
                    <a:uFillTx/>
                    <a:ea typeface="+mn-ea"/>
                    <a:cs typeface="+mn-cs"/>
                  </a:rPr>
                  <a:t>LOREM IPSUM</a:t>
                </a:r>
              </a:p>
            </p:txBody>
          </p:sp>
          <p:sp>
            <p:nvSpPr>
              <p:cNvPr id="101" name="Oval 100"/>
              <p:cNvSpPr/>
              <p:nvPr/>
            </p:nvSpPr>
            <p:spPr>
              <a:xfrm flipH="1">
                <a:off x="4140685" y="3336258"/>
                <a:ext cx="320085" cy="320085"/>
              </a:xfrm>
              <a:prstGeom prst="ellipse">
                <a:avLst/>
              </a:prstGeom>
              <a:solidFill>
                <a:srgbClr val="AFABAB"/>
              </a:solidFill>
              <a:ln>
                <a:noFill/>
              </a:ln>
              <a:effectLst>
                <a:outerShdw blurRad="25400" dist="254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104" name="TextBox 103"/>
              <p:cNvSpPr txBox="1"/>
              <p:nvPr/>
            </p:nvSpPr>
            <p:spPr>
              <a:xfrm flipH="1">
                <a:off x="5255377" y="2843692"/>
                <a:ext cx="1416407" cy="292105"/>
              </a:xfrm>
              <a:prstGeom prst="rect">
                <a:avLst/>
              </a:prstGeom>
              <a:noFill/>
              <a:ln w="6350">
                <a:noFill/>
                <a:prstDash val="dash"/>
              </a:ln>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effectLst/>
                    <a:uLnTx/>
                    <a:uFillTx/>
                    <a:ea typeface="+mn-ea"/>
                    <a:cs typeface="+mn-cs"/>
                  </a:rPr>
                  <a:t>Lorem </a:t>
                </a:r>
                <a:r>
                  <a:rPr kumimoji="0" lang="en-US" sz="1000" b="0" i="0" u="none" strike="noStrike" kern="1200" cap="none" spc="0" normalizeH="0" baseline="0" noProof="0" dirty="0" err="1">
                    <a:ln>
                      <a:noFill/>
                    </a:ln>
                    <a:effectLst/>
                    <a:uLnTx/>
                    <a:uFillTx/>
                    <a:ea typeface="+mn-ea"/>
                    <a:cs typeface="+mn-cs"/>
                  </a:rPr>
                  <a:t>Ipsum</a:t>
                </a:r>
                <a:r>
                  <a:rPr kumimoji="0" lang="en-US" sz="1000" b="0" i="0" u="none" strike="noStrike" kern="1200" cap="none" spc="0" normalizeH="0" baseline="0" noProof="0" dirty="0">
                    <a:ln>
                      <a:noFill/>
                    </a:ln>
                    <a:effectLst/>
                    <a:uLnTx/>
                    <a:uFillTx/>
                    <a:ea typeface="+mn-ea"/>
                    <a:cs typeface="+mn-cs"/>
                  </a:rPr>
                  <a:t> is simply dummy text of the printing.</a:t>
                </a:r>
              </a:p>
            </p:txBody>
          </p:sp>
          <p:sp>
            <p:nvSpPr>
              <p:cNvPr id="105" name="TextBox 104"/>
              <p:cNvSpPr txBox="1"/>
              <p:nvPr/>
            </p:nvSpPr>
            <p:spPr>
              <a:xfrm flipH="1">
                <a:off x="5709355" y="2691738"/>
                <a:ext cx="962430" cy="146052"/>
              </a:xfrm>
              <a:prstGeom prst="rect">
                <a:avLst/>
              </a:prstGeom>
              <a:noFill/>
              <a:ln w="6350">
                <a:noFill/>
                <a:prstDash val="dash"/>
              </a:ln>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78D2D2"/>
                    </a:solidFill>
                    <a:effectLst/>
                    <a:uLnTx/>
                    <a:uFillTx/>
                    <a:ea typeface="+mn-ea"/>
                    <a:cs typeface="+mn-cs"/>
                  </a:rPr>
                  <a:t>LOREM IPSUM</a:t>
                </a:r>
              </a:p>
            </p:txBody>
          </p:sp>
          <p:sp>
            <p:nvSpPr>
              <p:cNvPr id="106" name="Oval 105"/>
              <p:cNvSpPr/>
              <p:nvPr/>
            </p:nvSpPr>
            <p:spPr>
              <a:xfrm>
                <a:off x="6354054" y="2352447"/>
                <a:ext cx="320085" cy="320085"/>
              </a:xfrm>
              <a:prstGeom prst="ellipse">
                <a:avLst/>
              </a:prstGeom>
              <a:solidFill>
                <a:srgbClr val="78D2D2"/>
              </a:solidFill>
              <a:ln>
                <a:noFill/>
              </a:ln>
              <a:effectLst>
                <a:outerShdw blurRad="25400" dist="254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109" name="TextBox 108"/>
              <p:cNvSpPr txBox="1"/>
              <p:nvPr/>
            </p:nvSpPr>
            <p:spPr>
              <a:xfrm flipH="1">
                <a:off x="7015616" y="4018955"/>
                <a:ext cx="1416407" cy="292105"/>
              </a:xfrm>
              <a:prstGeom prst="rect">
                <a:avLst/>
              </a:prstGeom>
              <a:noFill/>
              <a:ln w="6350">
                <a:noFill/>
                <a:prstDash val="dash"/>
              </a:ln>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effectLst/>
                    <a:uLnTx/>
                    <a:uFillTx/>
                    <a:ea typeface="+mn-ea"/>
                    <a:cs typeface="+mn-cs"/>
                  </a:rPr>
                  <a:t>Lorem </a:t>
                </a:r>
                <a:r>
                  <a:rPr kumimoji="0" lang="en-US" sz="1000" b="0" i="0" u="none" strike="noStrike" kern="1200" cap="none" spc="0" normalizeH="0" baseline="0" noProof="0" dirty="0" err="1">
                    <a:ln>
                      <a:noFill/>
                    </a:ln>
                    <a:effectLst/>
                    <a:uLnTx/>
                    <a:uFillTx/>
                    <a:ea typeface="+mn-ea"/>
                    <a:cs typeface="+mn-cs"/>
                  </a:rPr>
                  <a:t>Ipsum</a:t>
                </a:r>
                <a:r>
                  <a:rPr kumimoji="0" lang="en-US" sz="1000" b="0" i="0" u="none" strike="noStrike" kern="1200" cap="none" spc="0" normalizeH="0" baseline="0" noProof="0" dirty="0">
                    <a:ln>
                      <a:noFill/>
                    </a:ln>
                    <a:effectLst/>
                    <a:uLnTx/>
                    <a:uFillTx/>
                    <a:ea typeface="+mn-ea"/>
                    <a:cs typeface="+mn-cs"/>
                  </a:rPr>
                  <a:t> is simply dummy text of the printing.</a:t>
                </a:r>
              </a:p>
            </p:txBody>
          </p:sp>
          <p:sp>
            <p:nvSpPr>
              <p:cNvPr id="110" name="TextBox 109"/>
              <p:cNvSpPr txBox="1"/>
              <p:nvPr/>
            </p:nvSpPr>
            <p:spPr>
              <a:xfrm flipH="1">
                <a:off x="7469594" y="3867001"/>
                <a:ext cx="962430" cy="146052"/>
              </a:xfrm>
              <a:prstGeom prst="rect">
                <a:avLst/>
              </a:prstGeom>
              <a:noFill/>
              <a:ln w="6350">
                <a:noFill/>
                <a:prstDash val="dash"/>
              </a:ln>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3B3939"/>
                    </a:solidFill>
                    <a:effectLst/>
                    <a:uLnTx/>
                    <a:uFillTx/>
                    <a:ea typeface="+mn-ea"/>
                    <a:cs typeface="+mn-cs"/>
                  </a:rPr>
                  <a:t>LOREM IPSUM</a:t>
                </a:r>
              </a:p>
            </p:txBody>
          </p:sp>
          <p:sp>
            <p:nvSpPr>
              <p:cNvPr id="111" name="Oval 110"/>
              <p:cNvSpPr/>
              <p:nvPr/>
            </p:nvSpPr>
            <p:spPr>
              <a:xfrm>
                <a:off x="8114293" y="3527710"/>
                <a:ext cx="320085" cy="320085"/>
              </a:xfrm>
              <a:prstGeom prst="ellipse">
                <a:avLst/>
              </a:prstGeom>
              <a:solidFill>
                <a:srgbClr val="3B3939"/>
              </a:solidFill>
              <a:ln>
                <a:noFill/>
              </a:ln>
              <a:effectLst>
                <a:outerShdw blurRad="25400" dist="254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grpSp>
            <p:nvGrpSpPr>
              <p:cNvPr id="112" name="Group 111"/>
              <p:cNvGrpSpPr>
                <a:grpSpLocks noChangeAspect="1"/>
              </p:cNvGrpSpPr>
              <p:nvPr/>
            </p:nvGrpSpPr>
            <p:grpSpPr>
              <a:xfrm>
                <a:off x="4195941" y="3404500"/>
                <a:ext cx="209573" cy="183600"/>
                <a:chOff x="2738438" y="4754563"/>
                <a:chExt cx="371475" cy="325437"/>
              </a:xfrm>
              <a:solidFill>
                <a:schemeClr val="bg1"/>
              </a:solidFill>
            </p:grpSpPr>
            <p:sp>
              <p:nvSpPr>
                <p:cNvPr id="130" name="Freeform 13"/>
                <p:cNvSpPr>
                  <a:spLocks noEditPoints="1"/>
                </p:cNvSpPr>
                <p:nvPr/>
              </p:nvSpPr>
              <p:spPr bwMode="auto">
                <a:xfrm>
                  <a:off x="2738438" y="4754563"/>
                  <a:ext cx="371475" cy="293688"/>
                </a:xfrm>
                <a:custGeom>
                  <a:avLst/>
                  <a:gdLst>
                    <a:gd name="T0" fmla="*/ 88 w 96"/>
                    <a:gd name="T1" fmla="*/ 76 h 76"/>
                    <a:gd name="T2" fmla="*/ 8 w 96"/>
                    <a:gd name="T3" fmla="*/ 76 h 76"/>
                    <a:gd name="T4" fmla="*/ 0 w 96"/>
                    <a:gd name="T5" fmla="*/ 68 h 76"/>
                    <a:gd name="T6" fmla="*/ 0 w 96"/>
                    <a:gd name="T7" fmla="*/ 8 h 76"/>
                    <a:gd name="T8" fmla="*/ 8 w 96"/>
                    <a:gd name="T9" fmla="*/ 0 h 76"/>
                    <a:gd name="T10" fmla="*/ 88 w 96"/>
                    <a:gd name="T11" fmla="*/ 0 h 76"/>
                    <a:gd name="T12" fmla="*/ 96 w 96"/>
                    <a:gd name="T13" fmla="*/ 8 h 76"/>
                    <a:gd name="T14" fmla="*/ 96 w 96"/>
                    <a:gd name="T15" fmla="*/ 68 h 76"/>
                    <a:gd name="T16" fmla="*/ 88 w 96"/>
                    <a:gd name="T17" fmla="*/ 76 h 76"/>
                    <a:gd name="T18" fmla="*/ 8 w 96"/>
                    <a:gd name="T19" fmla="*/ 4 h 76"/>
                    <a:gd name="T20" fmla="*/ 4 w 96"/>
                    <a:gd name="T21" fmla="*/ 8 h 76"/>
                    <a:gd name="T22" fmla="*/ 4 w 96"/>
                    <a:gd name="T23" fmla="*/ 68 h 76"/>
                    <a:gd name="T24" fmla="*/ 8 w 96"/>
                    <a:gd name="T25" fmla="*/ 72 h 76"/>
                    <a:gd name="T26" fmla="*/ 88 w 96"/>
                    <a:gd name="T27" fmla="*/ 72 h 76"/>
                    <a:gd name="T28" fmla="*/ 92 w 96"/>
                    <a:gd name="T29" fmla="*/ 68 h 76"/>
                    <a:gd name="T30" fmla="*/ 92 w 96"/>
                    <a:gd name="T31" fmla="*/ 8 h 76"/>
                    <a:gd name="T32" fmla="*/ 88 w 96"/>
                    <a:gd name="T33" fmla="*/ 4 h 76"/>
                    <a:gd name="T34" fmla="*/ 8 w 96"/>
                    <a:gd name="T35" fmla="*/ 4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6" h="76">
                      <a:moveTo>
                        <a:pt x="88" y="76"/>
                      </a:moveTo>
                      <a:cubicBezTo>
                        <a:pt x="8" y="76"/>
                        <a:pt x="8" y="76"/>
                        <a:pt x="8" y="76"/>
                      </a:cubicBezTo>
                      <a:cubicBezTo>
                        <a:pt x="4" y="76"/>
                        <a:pt x="0" y="72"/>
                        <a:pt x="0" y="68"/>
                      </a:cubicBezTo>
                      <a:cubicBezTo>
                        <a:pt x="0" y="8"/>
                        <a:pt x="0" y="8"/>
                        <a:pt x="0" y="8"/>
                      </a:cubicBezTo>
                      <a:cubicBezTo>
                        <a:pt x="0" y="4"/>
                        <a:pt x="4" y="0"/>
                        <a:pt x="8" y="0"/>
                      </a:cubicBezTo>
                      <a:cubicBezTo>
                        <a:pt x="88" y="0"/>
                        <a:pt x="88" y="0"/>
                        <a:pt x="88" y="0"/>
                      </a:cubicBezTo>
                      <a:cubicBezTo>
                        <a:pt x="92" y="0"/>
                        <a:pt x="96" y="4"/>
                        <a:pt x="96" y="8"/>
                      </a:cubicBezTo>
                      <a:cubicBezTo>
                        <a:pt x="96" y="68"/>
                        <a:pt x="96" y="68"/>
                        <a:pt x="96" y="68"/>
                      </a:cubicBezTo>
                      <a:cubicBezTo>
                        <a:pt x="96" y="72"/>
                        <a:pt x="92" y="76"/>
                        <a:pt x="88" y="76"/>
                      </a:cubicBezTo>
                      <a:close/>
                      <a:moveTo>
                        <a:pt x="8" y="4"/>
                      </a:moveTo>
                      <a:cubicBezTo>
                        <a:pt x="6" y="4"/>
                        <a:pt x="4" y="6"/>
                        <a:pt x="4" y="8"/>
                      </a:cubicBezTo>
                      <a:cubicBezTo>
                        <a:pt x="4" y="68"/>
                        <a:pt x="4" y="68"/>
                        <a:pt x="4" y="68"/>
                      </a:cubicBezTo>
                      <a:cubicBezTo>
                        <a:pt x="4" y="70"/>
                        <a:pt x="6" y="72"/>
                        <a:pt x="8" y="72"/>
                      </a:cubicBezTo>
                      <a:cubicBezTo>
                        <a:pt x="88" y="72"/>
                        <a:pt x="88" y="72"/>
                        <a:pt x="88" y="72"/>
                      </a:cubicBezTo>
                      <a:cubicBezTo>
                        <a:pt x="90" y="72"/>
                        <a:pt x="92" y="70"/>
                        <a:pt x="92" y="68"/>
                      </a:cubicBezTo>
                      <a:cubicBezTo>
                        <a:pt x="92" y="8"/>
                        <a:pt x="92" y="8"/>
                        <a:pt x="92" y="8"/>
                      </a:cubicBezTo>
                      <a:cubicBezTo>
                        <a:pt x="92" y="6"/>
                        <a:pt x="90" y="4"/>
                        <a:pt x="88" y="4"/>
                      </a:cubicBezTo>
                      <a:lnTo>
                        <a:pt x="8"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31" name="Freeform 14"/>
                <p:cNvSpPr>
                  <a:spLocks/>
                </p:cNvSpPr>
                <p:nvPr/>
              </p:nvSpPr>
              <p:spPr bwMode="auto">
                <a:xfrm>
                  <a:off x="2808288" y="5064125"/>
                  <a:ext cx="231775" cy="15875"/>
                </a:xfrm>
                <a:custGeom>
                  <a:avLst/>
                  <a:gdLst>
                    <a:gd name="T0" fmla="*/ 58 w 60"/>
                    <a:gd name="T1" fmla="*/ 4 h 4"/>
                    <a:gd name="T2" fmla="*/ 2 w 60"/>
                    <a:gd name="T3" fmla="*/ 4 h 4"/>
                    <a:gd name="T4" fmla="*/ 0 w 60"/>
                    <a:gd name="T5" fmla="*/ 2 h 4"/>
                    <a:gd name="T6" fmla="*/ 2 w 60"/>
                    <a:gd name="T7" fmla="*/ 0 h 4"/>
                    <a:gd name="T8" fmla="*/ 58 w 60"/>
                    <a:gd name="T9" fmla="*/ 0 h 4"/>
                    <a:gd name="T10" fmla="*/ 60 w 60"/>
                    <a:gd name="T11" fmla="*/ 2 h 4"/>
                    <a:gd name="T12" fmla="*/ 58 w 60"/>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60" h="4">
                      <a:moveTo>
                        <a:pt x="58" y="4"/>
                      </a:moveTo>
                      <a:cubicBezTo>
                        <a:pt x="2" y="4"/>
                        <a:pt x="2" y="4"/>
                        <a:pt x="2" y="4"/>
                      </a:cubicBezTo>
                      <a:cubicBezTo>
                        <a:pt x="1" y="4"/>
                        <a:pt x="0" y="3"/>
                        <a:pt x="0" y="2"/>
                      </a:cubicBezTo>
                      <a:cubicBezTo>
                        <a:pt x="0" y="1"/>
                        <a:pt x="1" y="0"/>
                        <a:pt x="2" y="0"/>
                      </a:cubicBezTo>
                      <a:cubicBezTo>
                        <a:pt x="58" y="0"/>
                        <a:pt x="58" y="0"/>
                        <a:pt x="58" y="0"/>
                      </a:cubicBezTo>
                      <a:cubicBezTo>
                        <a:pt x="59" y="0"/>
                        <a:pt x="60" y="1"/>
                        <a:pt x="60" y="2"/>
                      </a:cubicBezTo>
                      <a:cubicBezTo>
                        <a:pt x="60" y="3"/>
                        <a:pt x="59" y="4"/>
                        <a:pt x="58"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32" name="Freeform 15"/>
                <p:cNvSpPr>
                  <a:spLocks/>
                </p:cNvSpPr>
                <p:nvPr/>
              </p:nvSpPr>
              <p:spPr bwMode="auto">
                <a:xfrm>
                  <a:off x="2916238" y="5032375"/>
                  <a:ext cx="15875" cy="47625"/>
                </a:xfrm>
                <a:custGeom>
                  <a:avLst/>
                  <a:gdLst>
                    <a:gd name="T0" fmla="*/ 2 w 4"/>
                    <a:gd name="T1" fmla="*/ 12 h 12"/>
                    <a:gd name="T2" fmla="*/ 0 w 4"/>
                    <a:gd name="T3" fmla="*/ 10 h 12"/>
                    <a:gd name="T4" fmla="*/ 0 w 4"/>
                    <a:gd name="T5" fmla="*/ 2 h 12"/>
                    <a:gd name="T6" fmla="*/ 2 w 4"/>
                    <a:gd name="T7" fmla="*/ 0 h 12"/>
                    <a:gd name="T8" fmla="*/ 4 w 4"/>
                    <a:gd name="T9" fmla="*/ 2 h 12"/>
                    <a:gd name="T10" fmla="*/ 4 w 4"/>
                    <a:gd name="T11" fmla="*/ 10 h 12"/>
                    <a:gd name="T12" fmla="*/ 2 w 4"/>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4" h="12">
                      <a:moveTo>
                        <a:pt x="2" y="12"/>
                      </a:moveTo>
                      <a:cubicBezTo>
                        <a:pt x="1" y="12"/>
                        <a:pt x="0" y="11"/>
                        <a:pt x="0" y="10"/>
                      </a:cubicBezTo>
                      <a:cubicBezTo>
                        <a:pt x="0" y="2"/>
                        <a:pt x="0" y="2"/>
                        <a:pt x="0" y="2"/>
                      </a:cubicBezTo>
                      <a:cubicBezTo>
                        <a:pt x="0" y="1"/>
                        <a:pt x="1" y="0"/>
                        <a:pt x="2" y="0"/>
                      </a:cubicBezTo>
                      <a:cubicBezTo>
                        <a:pt x="3" y="0"/>
                        <a:pt x="4" y="1"/>
                        <a:pt x="4" y="2"/>
                      </a:cubicBezTo>
                      <a:cubicBezTo>
                        <a:pt x="4" y="10"/>
                        <a:pt x="4" y="10"/>
                        <a:pt x="4" y="10"/>
                      </a:cubicBezTo>
                      <a:cubicBezTo>
                        <a:pt x="4" y="11"/>
                        <a:pt x="3" y="12"/>
                        <a:pt x="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33" name="Oval 16"/>
                <p:cNvSpPr>
                  <a:spLocks noChangeArrowheads="1"/>
                </p:cNvSpPr>
                <p:nvPr/>
              </p:nvSpPr>
              <p:spPr bwMode="auto">
                <a:xfrm>
                  <a:off x="2908301" y="4994275"/>
                  <a:ext cx="31750" cy="3016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34" name="Rectangle 17"/>
                <p:cNvSpPr>
                  <a:spLocks noChangeArrowheads="1"/>
                </p:cNvSpPr>
                <p:nvPr/>
              </p:nvSpPr>
              <p:spPr bwMode="auto">
                <a:xfrm>
                  <a:off x="2746376" y="4970463"/>
                  <a:ext cx="355600" cy="158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grpSp>
          <p:grpSp>
            <p:nvGrpSpPr>
              <p:cNvPr id="113" name="Group 112"/>
              <p:cNvGrpSpPr>
                <a:grpSpLocks noChangeAspect="1"/>
              </p:cNvGrpSpPr>
              <p:nvPr/>
            </p:nvGrpSpPr>
            <p:grpSpPr>
              <a:xfrm>
                <a:off x="6420496" y="2422489"/>
                <a:ext cx="187200" cy="180000"/>
                <a:chOff x="4568825" y="5810250"/>
                <a:chExt cx="371475" cy="357188"/>
              </a:xfrm>
              <a:solidFill>
                <a:schemeClr val="bg1"/>
              </a:solidFill>
            </p:grpSpPr>
            <p:sp>
              <p:nvSpPr>
                <p:cNvPr id="123" name="Freeform 21"/>
                <p:cNvSpPr>
                  <a:spLocks/>
                </p:cNvSpPr>
                <p:nvPr/>
              </p:nvSpPr>
              <p:spPr bwMode="auto">
                <a:xfrm>
                  <a:off x="4568825" y="6151563"/>
                  <a:ext cx="371475" cy="15875"/>
                </a:xfrm>
                <a:custGeom>
                  <a:avLst/>
                  <a:gdLst>
                    <a:gd name="T0" fmla="*/ 94 w 96"/>
                    <a:gd name="T1" fmla="*/ 4 h 4"/>
                    <a:gd name="T2" fmla="*/ 2 w 96"/>
                    <a:gd name="T3" fmla="*/ 4 h 4"/>
                    <a:gd name="T4" fmla="*/ 0 w 96"/>
                    <a:gd name="T5" fmla="*/ 2 h 4"/>
                    <a:gd name="T6" fmla="*/ 2 w 96"/>
                    <a:gd name="T7" fmla="*/ 0 h 4"/>
                    <a:gd name="T8" fmla="*/ 94 w 96"/>
                    <a:gd name="T9" fmla="*/ 0 h 4"/>
                    <a:gd name="T10" fmla="*/ 96 w 96"/>
                    <a:gd name="T11" fmla="*/ 2 h 4"/>
                    <a:gd name="T12" fmla="*/ 94 w 96"/>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96" h="4">
                      <a:moveTo>
                        <a:pt x="94" y="4"/>
                      </a:moveTo>
                      <a:cubicBezTo>
                        <a:pt x="2" y="4"/>
                        <a:pt x="2" y="4"/>
                        <a:pt x="2" y="4"/>
                      </a:cubicBezTo>
                      <a:cubicBezTo>
                        <a:pt x="1" y="4"/>
                        <a:pt x="0" y="3"/>
                        <a:pt x="0" y="2"/>
                      </a:cubicBezTo>
                      <a:cubicBezTo>
                        <a:pt x="0" y="1"/>
                        <a:pt x="1" y="0"/>
                        <a:pt x="2" y="0"/>
                      </a:cubicBezTo>
                      <a:cubicBezTo>
                        <a:pt x="94" y="0"/>
                        <a:pt x="94" y="0"/>
                        <a:pt x="94" y="0"/>
                      </a:cubicBezTo>
                      <a:cubicBezTo>
                        <a:pt x="95" y="0"/>
                        <a:pt x="96" y="1"/>
                        <a:pt x="96" y="2"/>
                      </a:cubicBezTo>
                      <a:cubicBezTo>
                        <a:pt x="96" y="3"/>
                        <a:pt x="95" y="4"/>
                        <a:pt x="9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24" name="Freeform 22"/>
                <p:cNvSpPr>
                  <a:spLocks/>
                </p:cNvSpPr>
                <p:nvPr/>
              </p:nvSpPr>
              <p:spPr bwMode="auto">
                <a:xfrm>
                  <a:off x="4584700" y="6073775"/>
                  <a:ext cx="61913" cy="93663"/>
                </a:xfrm>
                <a:custGeom>
                  <a:avLst/>
                  <a:gdLst>
                    <a:gd name="T0" fmla="*/ 14 w 16"/>
                    <a:gd name="T1" fmla="*/ 24 h 24"/>
                    <a:gd name="T2" fmla="*/ 12 w 16"/>
                    <a:gd name="T3" fmla="*/ 22 h 24"/>
                    <a:gd name="T4" fmla="*/ 12 w 16"/>
                    <a:gd name="T5" fmla="*/ 4 h 24"/>
                    <a:gd name="T6" fmla="*/ 4 w 16"/>
                    <a:gd name="T7" fmla="*/ 4 h 24"/>
                    <a:gd name="T8" fmla="*/ 4 w 16"/>
                    <a:gd name="T9" fmla="*/ 22 h 24"/>
                    <a:gd name="T10" fmla="*/ 2 w 16"/>
                    <a:gd name="T11" fmla="*/ 24 h 24"/>
                    <a:gd name="T12" fmla="*/ 0 w 16"/>
                    <a:gd name="T13" fmla="*/ 22 h 24"/>
                    <a:gd name="T14" fmla="*/ 0 w 16"/>
                    <a:gd name="T15" fmla="*/ 2 h 24"/>
                    <a:gd name="T16" fmla="*/ 2 w 16"/>
                    <a:gd name="T17" fmla="*/ 0 h 24"/>
                    <a:gd name="T18" fmla="*/ 14 w 16"/>
                    <a:gd name="T19" fmla="*/ 0 h 24"/>
                    <a:gd name="T20" fmla="*/ 16 w 16"/>
                    <a:gd name="T21" fmla="*/ 2 h 24"/>
                    <a:gd name="T22" fmla="*/ 16 w 16"/>
                    <a:gd name="T23" fmla="*/ 22 h 24"/>
                    <a:gd name="T24" fmla="*/ 14 w 16"/>
                    <a:gd name="T25"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4">
                      <a:moveTo>
                        <a:pt x="14" y="24"/>
                      </a:moveTo>
                      <a:cubicBezTo>
                        <a:pt x="13" y="24"/>
                        <a:pt x="12" y="23"/>
                        <a:pt x="12" y="22"/>
                      </a:cubicBezTo>
                      <a:cubicBezTo>
                        <a:pt x="12" y="4"/>
                        <a:pt x="12" y="4"/>
                        <a:pt x="12" y="4"/>
                      </a:cubicBezTo>
                      <a:cubicBezTo>
                        <a:pt x="4" y="4"/>
                        <a:pt x="4" y="4"/>
                        <a:pt x="4" y="4"/>
                      </a:cubicBezTo>
                      <a:cubicBezTo>
                        <a:pt x="4" y="22"/>
                        <a:pt x="4" y="22"/>
                        <a:pt x="4" y="22"/>
                      </a:cubicBezTo>
                      <a:cubicBezTo>
                        <a:pt x="4" y="23"/>
                        <a:pt x="3" y="24"/>
                        <a:pt x="2" y="24"/>
                      </a:cubicBezTo>
                      <a:cubicBezTo>
                        <a:pt x="1" y="24"/>
                        <a:pt x="0" y="23"/>
                        <a:pt x="0" y="22"/>
                      </a:cubicBezTo>
                      <a:cubicBezTo>
                        <a:pt x="0" y="2"/>
                        <a:pt x="0" y="2"/>
                        <a:pt x="0" y="2"/>
                      </a:cubicBezTo>
                      <a:cubicBezTo>
                        <a:pt x="0" y="1"/>
                        <a:pt x="1" y="0"/>
                        <a:pt x="2" y="0"/>
                      </a:cubicBezTo>
                      <a:cubicBezTo>
                        <a:pt x="14" y="0"/>
                        <a:pt x="14" y="0"/>
                        <a:pt x="14" y="0"/>
                      </a:cubicBezTo>
                      <a:cubicBezTo>
                        <a:pt x="15" y="0"/>
                        <a:pt x="16" y="1"/>
                        <a:pt x="16" y="2"/>
                      </a:cubicBezTo>
                      <a:cubicBezTo>
                        <a:pt x="16" y="22"/>
                        <a:pt x="16" y="22"/>
                        <a:pt x="16" y="22"/>
                      </a:cubicBezTo>
                      <a:cubicBezTo>
                        <a:pt x="16" y="23"/>
                        <a:pt x="15" y="24"/>
                        <a:pt x="14" y="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25" name="Freeform 23"/>
                <p:cNvSpPr>
                  <a:spLocks/>
                </p:cNvSpPr>
                <p:nvPr/>
              </p:nvSpPr>
              <p:spPr bwMode="auto">
                <a:xfrm>
                  <a:off x="4676775" y="5995988"/>
                  <a:ext cx="61913" cy="171450"/>
                </a:xfrm>
                <a:custGeom>
                  <a:avLst/>
                  <a:gdLst>
                    <a:gd name="T0" fmla="*/ 14 w 16"/>
                    <a:gd name="T1" fmla="*/ 44 h 44"/>
                    <a:gd name="T2" fmla="*/ 12 w 16"/>
                    <a:gd name="T3" fmla="*/ 42 h 44"/>
                    <a:gd name="T4" fmla="*/ 12 w 16"/>
                    <a:gd name="T5" fmla="*/ 4 h 44"/>
                    <a:gd name="T6" fmla="*/ 4 w 16"/>
                    <a:gd name="T7" fmla="*/ 4 h 44"/>
                    <a:gd name="T8" fmla="*/ 4 w 16"/>
                    <a:gd name="T9" fmla="*/ 42 h 44"/>
                    <a:gd name="T10" fmla="*/ 2 w 16"/>
                    <a:gd name="T11" fmla="*/ 44 h 44"/>
                    <a:gd name="T12" fmla="*/ 0 w 16"/>
                    <a:gd name="T13" fmla="*/ 42 h 44"/>
                    <a:gd name="T14" fmla="*/ 0 w 16"/>
                    <a:gd name="T15" fmla="*/ 2 h 44"/>
                    <a:gd name="T16" fmla="*/ 2 w 16"/>
                    <a:gd name="T17" fmla="*/ 0 h 44"/>
                    <a:gd name="T18" fmla="*/ 14 w 16"/>
                    <a:gd name="T19" fmla="*/ 0 h 44"/>
                    <a:gd name="T20" fmla="*/ 16 w 16"/>
                    <a:gd name="T21" fmla="*/ 2 h 44"/>
                    <a:gd name="T22" fmla="*/ 16 w 16"/>
                    <a:gd name="T23" fmla="*/ 42 h 44"/>
                    <a:gd name="T24" fmla="*/ 14 w 16"/>
                    <a:gd name="T25"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44">
                      <a:moveTo>
                        <a:pt x="14" y="44"/>
                      </a:moveTo>
                      <a:cubicBezTo>
                        <a:pt x="13" y="44"/>
                        <a:pt x="12" y="43"/>
                        <a:pt x="12" y="42"/>
                      </a:cubicBezTo>
                      <a:cubicBezTo>
                        <a:pt x="12" y="4"/>
                        <a:pt x="12" y="4"/>
                        <a:pt x="12" y="4"/>
                      </a:cubicBezTo>
                      <a:cubicBezTo>
                        <a:pt x="4" y="4"/>
                        <a:pt x="4" y="4"/>
                        <a:pt x="4" y="4"/>
                      </a:cubicBezTo>
                      <a:cubicBezTo>
                        <a:pt x="4" y="42"/>
                        <a:pt x="4" y="42"/>
                        <a:pt x="4" y="42"/>
                      </a:cubicBezTo>
                      <a:cubicBezTo>
                        <a:pt x="4" y="43"/>
                        <a:pt x="3" y="44"/>
                        <a:pt x="2" y="44"/>
                      </a:cubicBezTo>
                      <a:cubicBezTo>
                        <a:pt x="1" y="44"/>
                        <a:pt x="0" y="43"/>
                        <a:pt x="0" y="42"/>
                      </a:cubicBezTo>
                      <a:cubicBezTo>
                        <a:pt x="0" y="2"/>
                        <a:pt x="0" y="2"/>
                        <a:pt x="0" y="2"/>
                      </a:cubicBezTo>
                      <a:cubicBezTo>
                        <a:pt x="0" y="1"/>
                        <a:pt x="1" y="0"/>
                        <a:pt x="2" y="0"/>
                      </a:cubicBezTo>
                      <a:cubicBezTo>
                        <a:pt x="14" y="0"/>
                        <a:pt x="14" y="0"/>
                        <a:pt x="14" y="0"/>
                      </a:cubicBezTo>
                      <a:cubicBezTo>
                        <a:pt x="15" y="0"/>
                        <a:pt x="16" y="1"/>
                        <a:pt x="16" y="2"/>
                      </a:cubicBezTo>
                      <a:cubicBezTo>
                        <a:pt x="16" y="42"/>
                        <a:pt x="16" y="42"/>
                        <a:pt x="16" y="42"/>
                      </a:cubicBezTo>
                      <a:cubicBezTo>
                        <a:pt x="16" y="43"/>
                        <a:pt x="15" y="44"/>
                        <a:pt x="14"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26" name="Freeform 24"/>
                <p:cNvSpPr>
                  <a:spLocks/>
                </p:cNvSpPr>
                <p:nvPr/>
              </p:nvSpPr>
              <p:spPr bwMode="auto">
                <a:xfrm>
                  <a:off x="4770438" y="6027738"/>
                  <a:ext cx="61913" cy="139700"/>
                </a:xfrm>
                <a:custGeom>
                  <a:avLst/>
                  <a:gdLst>
                    <a:gd name="T0" fmla="*/ 14 w 16"/>
                    <a:gd name="T1" fmla="*/ 36 h 36"/>
                    <a:gd name="T2" fmla="*/ 12 w 16"/>
                    <a:gd name="T3" fmla="*/ 34 h 36"/>
                    <a:gd name="T4" fmla="*/ 12 w 16"/>
                    <a:gd name="T5" fmla="*/ 4 h 36"/>
                    <a:gd name="T6" fmla="*/ 4 w 16"/>
                    <a:gd name="T7" fmla="*/ 4 h 36"/>
                    <a:gd name="T8" fmla="*/ 4 w 16"/>
                    <a:gd name="T9" fmla="*/ 34 h 36"/>
                    <a:gd name="T10" fmla="*/ 2 w 16"/>
                    <a:gd name="T11" fmla="*/ 36 h 36"/>
                    <a:gd name="T12" fmla="*/ 0 w 16"/>
                    <a:gd name="T13" fmla="*/ 34 h 36"/>
                    <a:gd name="T14" fmla="*/ 0 w 16"/>
                    <a:gd name="T15" fmla="*/ 2 h 36"/>
                    <a:gd name="T16" fmla="*/ 2 w 16"/>
                    <a:gd name="T17" fmla="*/ 0 h 36"/>
                    <a:gd name="T18" fmla="*/ 14 w 16"/>
                    <a:gd name="T19" fmla="*/ 0 h 36"/>
                    <a:gd name="T20" fmla="*/ 16 w 16"/>
                    <a:gd name="T21" fmla="*/ 2 h 36"/>
                    <a:gd name="T22" fmla="*/ 16 w 16"/>
                    <a:gd name="T23" fmla="*/ 34 h 36"/>
                    <a:gd name="T24" fmla="*/ 14 w 16"/>
                    <a:gd name="T25"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36">
                      <a:moveTo>
                        <a:pt x="14" y="36"/>
                      </a:moveTo>
                      <a:cubicBezTo>
                        <a:pt x="13" y="36"/>
                        <a:pt x="12" y="35"/>
                        <a:pt x="12" y="34"/>
                      </a:cubicBezTo>
                      <a:cubicBezTo>
                        <a:pt x="12" y="4"/>
                        <a:pt x="12" y="4"/>
                        <a:pt x="12" y="4"/>
                      </a:cubicBezTo>
                      <a:cubicBezTo>
                        <a:pt x="4" y="4"/>
                        <a:pt x="4" y="4"/>
                        <a:pt x="4" y="4"/>
                      </a:cubicBezTo>
                      <a:cubicBezTo>
                        <a:pt x="4" y="34"/>
                        <a:pt x="4" y="34"/>
                        <a:pt x="4" y="34"/>
                      </a:cubicBezTo>
                      <a:cubicBezTo>
                        <a:pt x="4" y="35"/>
                        <a:pt x="3" y="36"/>
                        <a:pt x="2" y="36"/>
                      </a:cubicBezTo>
                      <a:cubicBezTo>
                        <a:pt x="1" y="36"/>
                        <a:pt x="0" y="35"/>
                        <a:pt x="0" y="34"/>
                      </a:cubicBezTo>
                      <a:cubicBezTo>
                        <a:pt x="0" y="2"/>
                        <a:pt x="0" y="2"/>
                        <a:pt x="0" y="2"/>
                      </a:cubicBezTo>
                      <a:cubicBezTo>
                        <a:pt x="0" y="1"/>
                        <a:pt x="1" y="0"/>
                        <a:pt x="2" y="0"/>
                      </a:cubicBezTo>
                      <a:cubicBezTo>
                        <a:pt x="14" y="0"/>
                        <a:pt x="14" y="0"/>
                        <a:pt x="14" y="0"/>
                      </a:cubicBezTo>
                      <a:cubicBezTo>
                        <a:pt x="15" y="0"/>
                        <a:pt x="16" y="1"/>
                        <a:pt x="16" y="2"/>
                      </a:cubicBezTo>
                      <a:cubicBezTo>
                        <a:pt x="16" y="34"/>
                        <a:pt x="16" y="34"/>
                        <a:pt x="16" y="34"/>
                      </a:cubicBezTo>
                      <a:cubicBezTo>
                        <a:pt x="16" y="35"/>
                        <a:pt x="15" y="36"/>
                        <a:pt x="1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27" name="Freeform 25"/>
                <p:cNvSpPr>
                  <a:spLocks/>
                </p:cNvSpPr>
                <p:nvPr/>
              </p:nvSpPr>
              <p:spPr bwMode="auto">
                <a:xfrm>
                  <a:off x="4862513" y="5918200"/>
                  <a:ext cx="61913" cy="249238"/>
                </a:xfrm>
                <a:custGeom>
                  <a:avLst/>
                  <a:gdLst>
                    <a:gd name="T0" fmla="*/ 14 w 16"/>
                    <a:gd name="T1" fmla="*/ 64 h 64"/>
                    <a:gd name="T2" fmla="*/ 12 w 16"/>
                    <a:gd name="T3" fmla="*/ 62 h 64"/>
                    <a:gd name="T4" fmla="*/ 12 w 16"/>
                    <a:gd name="T5" fmla="*/ 4 h 64"/>
                    <a:gd name="T6" fmla="*/ 4 w 16"/>
                    <a:gd name="T7" fmla="*/ 4 h 64"/>
                    <a:gd name="T8" fmla="*/ 4 w 16"/>
                    <a:gd name="T9" fmla="*/ 62 h 64"/>
                    <a:gd name="T10" fmla="*/ 2 w 16"/>
                    <a:gd name="T11" fmla="*/ 64 h 64"/>
                    <a:gd name="T12" fmla="*/ 0 w 16"/>
                    <a:gd name="T13" fmla="*/ 62 h 64"/>
                    <a:gd name="T14" fmla="*/ 0 w 16"/>
                    <a:gd name="T15" fmla="*/ 2 h 64"/>
                    <a:gd name="T16" fmla="*/ 2 w 16"/>
                    <a:gd name="T17" fmla="*/ 0 h 64"/>
                    <a:gd name="T18" fmla="*/ 14 w 16"/>
                    <a:gd name="T19" fmla="*/ 0 h 64"/>
                    <a:gd name="T20" fmla="*/ 16 w 16"/>
                    <a:gd name="T21" fmla="*/ 2 h 64"/>
                    <a:gd name="T22" fmla="*/ 16 w 16"/>
                    <a:gd name="T23" fmla="*/ 62 h 64"/>
                    <a:gd name="T24" fmla="*/ 14 w 16"/>
                    <a:gd name="T25"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64">
                      <a:moveTo>
                        <a:pt x="14" y="64"/>
                      </a:moveTo>
                      <a:cubicBezTo>
                        <a:pt x="13" y="64"/>
                        <a:pt x="12" y="63"/>
                        <a:pt x="12" y="62"/>
                      </a:cubicBezTo>
                      <a:cubicBezTo>
                        <a:pt x="12" y="4"/>
                        <a:pt x="12" y="4"/>
                        <a:pt x="12" y="4"/>
                      </a:cubicBezTo>
                      <a:cubicBezTo>
                        <a:pt x="4" y="4"/>
                        <a:pt x="4" y="4"/>
                        <a:pt x="4" y="4"/>
                      </a:cubicBezTo>
                      <a:cubicBezTo>
                        <a:pt x="4" y="62"/>
                        <a:pt x="4" y="62"/>
                        <a:pt x="4" y="62"/>
                      </a:cubicBezTo>
                      <a:cubicBezTo>
                        <a:pt x="4" y="63"/>
                        <a:pt x="3" y="64"/>
                        <a:pt x="2" y="64"/>
                      </a:cubicBezTo>
                      <a:cubicBezTo>
                        <a:pt x="1" y="64"/>
                        <a:pt x="0" y="63"/>
                        <a:pt x="0" y="62"/>
                      </a:cubicBezTo>
                      <a:cubicBezTo>
                        <a:pt x="0" y="2"/>
                        <a:pt x="0" y="2"/>
                        <a:pt x="0" y="2"/>
                      </a:cubicBezTo>
                      <a:cubicBezTo>
                        <a:pt x="0" y="1"/>
                        <a:pt x="1" y="0"/>
                        <a:pt x="2" y="0"/>
                      </a:cubicBezTo>
                      <a:cubicBezTo>
                        <a:pt x="14" y="0"/>
                        <a:pt x="14" y="0"/>
                        <a:pt x="14" y="0"/>
                      </a:cubicBezTo>
                      <a:cubicBezTo>
                        <a:pt x="15" y="0"/>
                        <a:pt x="16" y="1"/>
                        <a:pt x="16" y="2"/>
                      </a:cubicBezTo>
                      <a:cubicBezTo>
                        <a:pt x="16" y="62"/>
                        <a:pt x="16" y="62"/>
                        <a:pt x="16" y="62"/>
                      </a:cubicBezTo>
                      <a:cubicBezTo>
                        <a:pt x="16" y="63"/>
                        <a:pt x="15" y="64"/>
                        <a:pt x="14" y="6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28" name="Freeform 26"/>
                <p:cNvSpPr>
                  <a:spLocks/>
                </p:cNvSpPr>
                <p:nvPr/>
              </p:nvSpPr>
              <p:spPr bwMode="auto">
                <a:xfrm>
                  <a:off x="4606925" y="5810250"/>
                  <a:ext cx="303213" cy="169863"/>
                </a:xfrm>
                <a:custGeom>
                  <a:avLst/>
                  <a:gdLst>
                    <a:gd name="T0" fmla="*/ 2 w 78"/>
                    <a:gd name="T1" fmla="*/ 44 h 44"/>
                    <a:gd name="T2" fmla="*/ 0 w 78"/>
                    <a:gd name="T3" fmla="*/ 43 h 44"/>
                    <a:gd name="T4" fmla="*/ 1 w 78"/>
                    <a:gd name="T5" fmla="*/ 40 h 44"/>
                    <a:gd name="T6" fmla="*/ 25 w 78"/>
                    <a:gd name="T7" fmla="*/ 20 h 44"/>
                    <a:gd name="T8" fmla="*/ 27 w 78"/>
                    <a:gd name="T9" fmla="*/ 20 h 44"/>
                    <a:gd name="T10" fmla="*/ 49 w 78"/>
                    <a:gd name="T11" fmla="*/ 28 h 44"/>
                    <a:gd name="T12" fmla="*/ 75 w 78"/>
                    <a:gd name="T13" fmla="*/ 1 h 44"/>
                    <a:gd name="T14" fmla="*/ 77 w 78"/>
                    <a:gd name="T15" fmla="*/ 1 h 44"/>
                    <a:gd name="T16" fmla="*/ 77 w 78"/>
                    <a:gd name="T17" fmla="*/ 3 h 44"/>
                    <a:gd name="T18" fmla="*/ 51 w 78"/>
                    <a:gd name="T19" fmla="*/ 31 h 44"/>
                    <a:gd name="T20" fmla="*/ 49 w 78"/>
                    <a:gd name="T21" fmla="*/ 32 h 44"/>
                    <a:gd name="T22" fmla="*/ 26 w 78"/>
                    <a:gd name="T23" fmla="*/ 24 h 44"/>
                    <a:gd name="T24" fmla="*/ 3 w 78"/>
                    <a:gd name="T25" fmla="*/ 44 h 44"/>
                    <a:gd name="T26" fmla="*/ 2 w 78"/>
                    <a:gd name="T27"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8" h="44">
                      <a:moveTo>
                        <a:pt x="2" y="44"/>
                      </a:moveTo>
                      <a:cubicBezTo>
                        <a:pt x="1" y="44"/>
                        <a:pt x="1" y="44"/>
                        <a:pt x="0" y="43"/>
                      </a:cubicBezTo>
                      <a:cubicBezTo>
                        <a:pt x="0" y="42"/>
                        <a:pt x="0" y="41"/>
                        <a:pt x="1" y="40"/>
                      </a:cubicBezTo>
                      <a:cubicBezTo>
                        <a:pt x="25" y="20"/>
                        <a:pt x="25" y="20"/>
                        <a:pt x="25" y="20"/>
                      </a:cubicBezTo>
                      <a:cubicBezTo>
                        <a:pt x="25" y="20"/>
                        <a:pt x="26" y="20"/>
                        <a:pt x="27" y="20"/>
                      </a:cubicBezTo>
                      <a:cubicBezTo>
                        <a:pt x="49" y="28"/>
                        <a:pt x="49" y="28"/>
                        <a:pt x="49" y="28"/>
                      </a:cubicBezTo>
                      <a:cubicBezTo>
                        <a:pt x="75" y="1"/>
                        <a:pt x="75" y="1"/>
                        <a:pt x="75" y="1"/>
                      </a:cubicBezTo>
                      <a:cubicBezTo>
                        <a:pt x="75" y="0"/>
                        <a:pt x="77" y="0"/>
                        <a:pt x="77" y="1"/>
                      </a:cubicBezTo>
                      <a:cubicBezTo>
                        <a:pt x="78" y="1"/>
                        <a:pt x="78" y="3"/>
                        <a:pt x="77" y="3"/>
                      </a:cubicBezTo>
                      <a:cubicBezTo>
                        <a:pt x="51" y="31"/>
                        <a:pt x="51" y="31"/>
                        <a:pt x="51" y="31"/>
                      </a:cubicBezTo>
                      <a:cubicBezTo>
                        <a:pt x="51" y="32"/>
                        <a:pt x="50" y="32"/>
                        <a:pt x="49" y="32"/>
                      </a:cubicBezTo>
                      <a:cubicBezTo>
                        <a:pt x="26" y="24"/>
                        <a:pt x="26" y="24"/>
                        <a:pt x="26" y="24"/>
                      </a:cubicBezTo>
                      <a:cubicBezTo>
                        <a:pt x="3" y="44"/>
                        <a:pt x="3" y="44"/>
                        <a:pt x="3" y="44"/>
                      </a:cubicBezTo>
                      <a:cubicBezTo>
                        <a:pt x="3" y="44"/>
                        <a:pt x="2" y="44"/>
                        <a:pt x="2"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29" name="Freeform 27"/>
                <p:cNvSpPr>
                  <a:spLocks/>
                </p:cNvSpPr>
                <p:nvPr/>
              </p:nvSpPr>
              <p:spPr bwMode="auto">
                <a:xfrm>
                  <a:off x="4832350" y="5810250"/>
                  <a:ext cx="77788" cy="77788"/>
                </a:xfrm>
                <a:custGeom>
                  <a:avLst/>
                  <a:gdLst>
                    <a:gd name="T0" fmla="*/ 18 w 20"/>
                    <a:gd name="T1" fmla="*/ 20 h 20"/>
                    <a:gd name="T2" fmla="*/ 16 w 20"/>
                    <a:gd name="T3" fmla="*/ 18 h 20"/>
                    <a:gd name="T4" fmla="*/ 16 w 20"/>
                    <a:gd name="T5" fmla="*/ 4 h 20"/>
                    <a:gd name="T6" fmla="*/ 2 w 20"/>
                    <a:gd name="T7" fmla="*/ 4 h 20"/>
                    <a:gd name="T8" fmla="*/ 0 w 20"/>
                    <a:gd name="T9" fmla="*/ 2 h 20"/>
                    <a:gd name="T10" fmla="*/ 2 w 20"/>
                    <a:gd name="T11" fmla="*/ 0 h 20"/>
                    <a:gd name="T12" fmla="*/ 18 w 20"/>
                    <a:gd name="T13" fmla="*/ 0 h 20"/>
                    <a:gd name="T14" fmla="*/ 20 w 20"/>
                    <a:gd name="T15" fmla="*/ 2 h 20"/>
                    <a:gd name="T16" fmla="*/ 20 w 20"/>
                    <a:gd name="T17" fmla="*/ 18 h 20"/>
                    <a:gd name="T18" fmla="*/ 18 w 20"/>
                    <a:gd name="T19" fmla="*/ 2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 h="20">
                      <a:moveTo>
                        <a:pt x="18" y="20"/>
                      </a:moveTo>
                      <a:cubicBezTo>
                        <a:pt x="17" y="20"/>
                        <a:pt x="16" y="19"/>
                        <a:pt x="16" y="18"/>
                      </a:cubicBezTo>
                      <a:cubicBezTo>
                        <a:pt x="16" y="4"/>
                        <a:pt x="16" y="4"/>
                        <a:pt x="16" y="4"/>
                      </a:cubicBezTo>
                      <a:cubicBezTo>
                        <a:pt x="2" y="4"/>
                        <a:pt x="2" y="4"/>
                        <a:pt x="2" y="4"/>
                      </a:cubicBezTo>
                      <a:cubicBezTo>
                        <a:pt x="1" y="4"/>
                        <a:pt x="0" y="3"/>
                        <a:pt x="0" y="2"/>
                      </a:cubicBezTo>
                      <a:cubicBezTo>
                        <a:pt x="0" y="1"/>
                        <a:pt x="1" y="0"/>
                        <a:pt x="2" y="0"/>
                      </a:cubicBezTo>
                      <a:cubicBezTo>
                        <a:pt x="18" y="0"/>
                        <a:pt x="18" y="0"/>
                        <a:pt x="18" y="0"/>
                      </a:cubicBezTo>
                      <a:cubicBezTo>
                        <a:pt x="19" y="0"/>
                        <a:pt x="20" y="1"/>
                        <a:pt x="20" y="2"/>
                      </a:cubicBezTo>
                      <a:cubicBezTo>
                        <a:pt x="20" y="18"/>
                        <a:pt x="20" y="18"/>
                        <a:pt x="20" y="18"/>
                      </a:cubicBezTo>
                      <a:cubicBezTo>
                        <a:pt x="20" y="19"/>
                        <a:pt x="19" y="20"/>
                        <a:pt x="18" y="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grpSp>
          <p:grpSp>
            <p:nvGrpSpPr>
              <p:cNvPr id="114" name="Group 113"/>
              <p:cNvGrpSpPr>
                <a:grpSpLocks noChangeAspect="1"/>
              </p:cNvGrpSpPr>
              <p:nvPr/>
            </p:nvGrpSpPr>
            <p:grpSpPr>
              <a:xfrm>
                <a:off x="8182141" y="3595952"/>
                <a:ext cx="184388" cy="183600"/>
                <a:chOff x="6505575" y="5688013"/>
                <a:chExt cx="371475" cy="369887"/>
              </a:xfrm>
              <a:solidFill>
                <a:schemeClr val="bg1"/>
              </a:solidFill>
            </p:grpSpPr>
            <p:sp>
              <p:nvSpPr>
                <p:cNvPr id="115" name="Freeform 31"/>
                <p:cNvSpPr>
                  <a:spLocks noEditPoints="1"/>
                </p:cNvSpPr>
                <p:nvPr/>
              </p:nvSpPr>
              <p:spPr bwMode="auto">
                <a:xfrm>
                  <a:off x="6629400" y="5688013"/>
                  <a:ext cx="247650" cy="246062"/>
                </a:xfrm>
                <a:custGeom>
                  <a:avLst/>
                  <a:gdLst>
                    <a:gd name="T0" fmla="*/ 32 w 64"/>
                    <a:gd name="T1" fmla="*/ 64 h 64"/>
                    <a:gd name="T2" fmla="*/ 0 w 64"/>
                    <a:gd name="T3" fmla="*/ 32 h 64"/>
                    <a:gd name="T4" fmla="*/ 32 w 64"/>
                    <a:gd name="T5" fmla="*/ 0 h 64"/>
                    <a:gd name="T6" fmla="*/ 64 w 64"/>
                    <a:gd name="T7" fmla="*/ 32 h 64"/>
                    <a:gd name="T8" fmla="*/ 32 w 64"/>
                    <a:gd name="T9" fmla="*/ 64 h 64"/>
                    <a:gd name="T10" fmla="*/ 32 w 64"/>
                    <a:gd name="T11" fmla="*/ 4 h 64"/>
                    <a:gd name="T12" fmla="*/ 4 w 64"/>
                    <a:gd name="T13" fmla="*/ 32 h 64"/>
                    <a:gd name="T14" fmla="*/ 32 w 64"/>
                    <a:gd name="T15" fmla="*/ 60 h 64"/>
                    <a:gd name="T16" fmla="*/ 60 w 64"/>
                    <a:gd name="T17" fmla="*/ 32 h 64"/>
                    <a:gd name="T18" fmla="*/ 32 w 64"/>
                    <a:gd name="T19" fmla="*/ 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14" y="64"/>
                        <a:pt x="0" y="50"/>
                        <a:pt x="0" y="32"/>
                      </a:cubicBezTo>
                      <a:cubicBezTo>
                        <a:pt x="0" y="14"/>
                        <a:pt x="14" y="0"/>
                        <a:pt x="32" y="0"/>
                      </a:cubicBezTo>
                      <a:cubicBezTo>
                        <a:pt x="50" y="0"/>
                        <a:pt x="64" y="14"/>
                        <a:pt x="64" y="32"/>
                      </a:cubicBezTo>
                      <a:cubicBezTo>
                        <a:pt x="64" y="50"/>
                        <a:pt x="50" y="64"/>
                        <a:pt x="32" y="64"/>
                      </a:cubicBezTo>
                      <a:close/>
                      <a:moveTo>
                        <a:pt x="32" y="4"/>
                      </a:moveTo>
                      <a:cubicBezTo>
                        <a:pt x="17" y="4"/>
                        <a:pt x="4" y="17"/>
                        <a:pt x="4" y="32"/>
                      </a:cubicBezTo>
                      <a:cubicBezTo>
                        <a:pt x="4" y="47"/>
                        <a:pt x="17" y="60"/>
                        <a:pt x="32" y="60"/>
                      </a:cubicBezTo>
                      <a:cubicBezTo>
                        <a:pt x="47" y="60"/>
                        <a:pt x="60" y="47"/>
                        <a:pt x="60" y="32"/>
                      </a:cubicBezTo>
                      <a:cubicBezTo>
                        <a:pt x="60" y="17"/>
                        <a:pt x="47" y="4"/>
                        <a:pt x="32"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16" name="Freeform 32"/>
                <p:cNvSpPr>
                  <a:spLocks/>
                </p:cNvSpPr>
                <p:nvPr/>
              </p:nvSpPr>
              <p:spPr bwMode="auto">
                <a:xfrm>
                  <a:off x="6737350" y="5849938"/>
                  <a:ext cx="15875" cy="30162"/>
                </a:xfrm>
                <a:custGeom>
                  <a:avLst/>
                  <a:gdLst>
                    <a:gd name="T0" fmla="*/ 2 w 4"/>
                    <a:gd name="T1" fmla="*/ 8 h 8"/>
                    <a:gd name="T2" fmla="*/ 0 w 4"/>
                    <a:gd name="T3" fmla="*/ 6 h 8"/>
                    <a:gd name="T4" fmla="*/ 0 w 4"/>
                    <a:gd name="T5" fmla="*/ 2 h 8"/>
                    <a:gd name="T6" fmla="*/ 2 w 4"/>
                    <a:gd name="T7" fmla="*/ 0 h 8"/>
                    <a:gd name="T8" fmla="*/ 4 w 4"/>
                    <a:gd name="T9" fmla="*/ 2 h 8"/>
                    <a:gd name="T10" fmla="*/ 4 w 4"/>
                    <a:gd name="T11" fmla="*/ 6 h 8"/>
                    <a:gd name="T12" fmla="*/ 2 w 4"/>
                    <a:gd name="T13" fmla="*/ 8 h 8"/>
                  </a:gdLst>
                  <a:ahLst/>
                  <a:cxnLst>
                    <a:cxn ang="0">
                      <a:pos x="T0" y="T1"/>
                    </a:cxn>
                    <a:cxn ang="0">
                      <a:pos x="T2" y="T3"/>
                    </a:cxn>
                    <a:cxn ang="0">
                      <a:pos x="T4" y="T5"/>
                    </a:cxn>
                    <a:cxn ang="0">
                      <a:pos x="T6" y="T7"/>
                    </a:cxn>
                    <a:cxn ang="0">
                      <a:pos x="T8" y="T9"/>
                    </a:cxn>
                    <a:cxn ang="0">
                      <a:pos x="T10" y="T11"/>
                    </a:cxn>
                    <a:cxn ang="0">
                      <a:pos x="T12" y="T13"/>
                    </a:cxn>
                  </a:cxnLst>
                  <a:rect l="0" t="0" r="r" b="b"/>
                  <a:pathLst>
                    <a:path w="4" h="8">
                      <a:moveTo>
                        <a:pt x="2" y="8"/>
                      </a:moveTo>
                      <a:cubicBezTo>
                        <a:pt x="1" y="8"/>
                        <a:pt x="0" y="7"/>
                        <a:pt x="0" y="6"/>
                      </a:cubicBezTo>
                      <a:cubicBezTo>
                        <a:pt x="0" y="2"/>
                        <a:pt x="0" y="2"/>
                        <a:pt x="0" y="2"/>
                      </a:cubicBezTo>
                      <a:cubicBezTo>
                        <a:pt x="0" y="1"/>
                        <a:pt x="1" y="0"/>
                        <a:pt x="2" y="0"/>
                      </a:cubicBezTo>
                      <a:cubicBezTo>
                        <a:pt x="3" y="0"/>
                        <a:pt x="4" y="1"/>
                        <a:pt x="4" y="2"/>
                      </a:cubicBezTo>
                      <a:cubicBezTo>
                        <a:pt x="4" y="6"/>
                        <a:pt x="4" y="6"/>
                        <a:pt x="4" y="6"/>
                      </a:cubicBezTo>
                      <a:cubicBezTo>
                        <a:pt x="4" y="7"/>
                        <a:pt x="3" y="8"/>
                        <a:pt x="2"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17" name="Freeform 33"/>
                <p:cNvSpPr>
                  <a:spLocks/>
                </p:cNvSpPr>
                <p:nvPr/>
              </p:nvSpPr>
              <p:spPr bwMode="auto">
                <a:xfrm>
                  <a:off x="6737350" y="5741988"/>
                  <a:ext cx="15875" cy="30162"/>
                </a:xfrm>
                <a:custGeom>
                  <a:avLst/>
                  <a:gdLst>
                    <a:gd name="T0" fmla="*/ 2 w 4"/>
                    <a:gd name="T1" fmla="*/ 8 h 8"/>
                    <a:gd name="T2" fmla="*/ 0 w 4"/>
                    <a:gd name="T3" fmla="*/ 6 h 8"/>
                    <a:gd name="T4" fmla="*/ 0 w 4"/>
                    <a:gd name="T5" fmla="*/ 2 h 8"/>
                    <a:gd name="T6" fmla="*/ 2 w 4"/>
                    <a:gd name="T7" fmla="*/ 0 h 8"/>
                    <a:gd name="T8" fmla="*/ 4 w 4"/>
                    <a:gd name="T9" fmla="*/ 2 h 8"/>
                    <a:gd name="T10" fmla="*/ 4 w 4"/>
                    <a:gd name="T11" fmla="*/ 6 h 8"/>
                    <a:gd name="T12" fmla="*/ 2 w 4"/>
                    <a:gd name="T13" fmla="*/ 8 h 8"/>
                  </a:gdLst>
                  <a:ahLst/>
                  <a:cxnLst>
                    <a:cxn ang="0">
                      <a:pos x="T0" y="T1"/>
                    </a:cxn>
                    <a:cxn ang="0">
                      <a:pos x="T2" y="T3"/>
                    </a:cxn>
                    <a:cxn ang="0">
                      <a:pos x="T4" y="T5"/>
                    </a:cxn>
                    <a:cxn ang="0">
                      <a:pos x="T6" y="T7"/>
                    </a:cxn>
                    <a:cxn ang="0">
                      <a:pos x="T8" y="T9"/>
                    </a:cxn>
                    <a:cxn ang="0">
                      <a:pos x="T10" y="T11"/>
                    </a:cxn>
                    <a:cxn ang="0">
                      <a:pos x="T12" y="T13"/>
                    </a:cxn>
                  </a:cxnLst>
                  <a:rect l="0" t="0" r="r" b="b"/>
                  <a:pathLst>
                    <a:path w="4" h="8">
                      <a:moveTo>
                        <a:pt x="2" y="8"/>
                      </a:moveTo>
                      <a:cubicBezTo>
                        <a:pt x="1" y="8"/>
                        <a:pt x="0" y="7"/>
                        <a:pt x="0" y="6"/>
                      </a:cubicBezTo>
                      <a:cubicBezTo>
                        <a:pt x="0" y="2"/>
                        <a:pt x="0" y="2"/>
                        <a:pt x="0" y="2"/>
                      </a:cubicBezTo>
                      <a:cubicBezTo>
                        <a:pt x="0" y="1"/>
                        <a:pt x="1" y="0"/>
                        <a:pt x="2" y="0"/>
                      </a:cubicBezTo>
                      <a:cubicBezTo>
                        <a:pt x="3" y="0"/>
                        <a:pt x="4" y="1"/>
                        <a:pt x="4" y="2"/>
                      </a:cubicBezTo>
                      <a:cubicBezTo>
                        <a:pt x="4" y="6"/>
                        <a:pt x="4" y="6"/>
                        <a:pt x="4" y="6"/>
                      </a:cubicBezTo>
                      <a:cubicBezTo>
                        <a:pt x="4" y="7"/>
                        <a:pt x="3" y="8"/>
                        <a:pt x="2"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18" name="Freeform 34"/>
                <p:cNvSpPr>
                  <a:spLocks/>
                </p:cNvSpPr>
                <p:nvPr/>
              </p:nvSpPr>
              <p:spPr bwMode="auto">
                <a:xfrm>
                  <a:off x="6715125" y="5757863"/>
                  <a:ext cx="61913" cy="107950"/>
                </a:xfrm>
                <a:custGeom>
                  <a:avLst/>
                  <a:gdLst>
                    <a:gd name="T0" fmla="*/ 8 w 16"/>
                    <a:gd name="T1" fmla="*/ 28 h 28"/>
                    <a:gd name="T2" fmla="*/ 0 w 16"/>
                    <a:gd name="T3" fmla="*/ 20 h 28"/>
                    <a:gd name="T4" fmla="*/ 2 w 16"/>
                    <a:gd name="T5" fmla="*/ 18 h 28"/>
                    <a:gd name="T6" fmla="*/ 4 w 16"/>
                    <a:gd name="T7" fmla="*/ 20 h 28"/>
                    <a:gd name="T8" fmla="*/ 8 w 16"/>
                    <a:gd name="T9" fmla="*/ 24 h 28"/>
                    <a:gd name="T10" fmla="*/ 12 w 16"/>
                    <a:gd name="T11" fmla="*/ 20 h 28"/>
                    <a:gd name="T12" fmla="*/ 8 w 16"/>
                    <a:gd name="T13" fmla="*/ 16 h 28"/>
                    <a:gd name="T14" fmla="*/ 0 w 16"/>
                    <a:gd name="T15" fmla="*/ 8 h 28"/>
                    <a:gd name="T16" fmla="*/ 8 w 16"/>
                    <a:gd name="T17" fmla="*/ 0 h 28"/>
                    <a:gd name="T18" fmla="*/ 16 w 16"/>
                    <a:gd name="T19" fmla="*/ 8 h 28"/>
                    <a:gd name="T20" fmla="*/ 14 w 16"/>
                    <a:gd name="T21" fmla="*/ 10 h 28"/>
                    <a:gd name="T22" fmla="*/ 12 w 16"/>
                    <a:gd name="T23" fmla="*/ 8 h 28"/>
                    <a:gd name="T24" fmla="*/ 8 w 16"/>
                    <a:gd name="T25" fmla="*/ 4 h 28"/>
                    <a:gd name="T26" fmla="*/ 4 w 16"/>
                    <a:gd name="T27" fmla="*/ 8 h 28"/>
                    <a:gd name="T28" fmla="*/ 8 w 16"/>
                    <a:gd name="T29" fmla="*/ 12 h 28"/>
                    <a:gd name="T30" fmla="*/ 16 w 16"/>
                    <a:gd name="T31" fmla="*/ 20 h 28"/>
                    <a:gd name="T32" fmla="*/ 8 w 16"/>
                    <a:gd name="T33"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 h="28">
                      <a:moveTo>
                        <a:pt x="8" y="28"/>
                      </a:moveTo>
                      <a:cubicBezTo>
                        <a:pt x="4" y="28"/>
                        <a:pt x="0" y="24"/>
                        <a:pt x="0" y="20"/>
                      </a:cubicBezTo>
                      <a:cubicBezTo>
                        <a:pt x="0" y="19"/>
                        <a:pt x="1" y="18"/>
                        <a:pt x="2" y="18"/>
                      </a:cubicBezTo>
                      <a:cubicBezTo>
                        <a:pt x="3" y="18"/>
                        <a:pt x="4" y="19"/>
                        <a:pt x="4" y="20"/>
                      </a:cubicBezTo>
                      <a:cubicBezTo>
                        <a:pt x="4" y="22"/>
                        <a:pt x="6" y="24"/>
                        <a:pt x="8" y="24"/>
                      </a:cubicBezTo>
                      <a:cubicBezTo>
                        <a:pt x="10" y="24"/>
                        <a:pt x="12" y="22"/>
                        <a:pt x="12" y="20"/>
                      </a:cubicBezTo>
                      <a:cubicBezTo>
                        <a:pt x="12" y="18"/>
                        <a:pt x="10" y="16"/>
                        <a:pt x="8" y="16"/>
                      </a:cubicBezTo>
                      <a:cubicBezTo>
                        <a:pt x="4" y="16"/>
                        <a:pt x="0" y="12"/>
                        <a:pt x="0" y="8"/>
                      </a:cubicBezTo>
                      <a:cubicBezTo>
                        <a:pt x="0" y="4"/>
                        <a:pt x="4" y="0"/>
                        <a:pt x="8" y="0"/>
                      </a:cubicBezTo>
                      <a:cubicBezTo>
                        <a:pt x="12" y="0"/>
                        <a:pt x="16" y="4"/>
                        <a:pt x="16" y="8"/>
                      </a:cubicBezTo>
                      <a:cubicBezTo>
                        <a:pt x="16" y="9"/>
                        <a:pt x="15" y="10"/>
                        <a:pt x="14" y="10"/>
                      </a:cubicBezTo>
                      <a:cubicBezTo>
                        <a:pt x="13" y="10"/>
                        <a:pt x="12" y="9"/>
                        <a:pt x="12" y="8"/>
                      </a:cubicBezTo>
                      <a:cubicBezTo>
                        <a:pt x="12" y="6"/>
                        <a:pt x="10" y="4"/>
                        <a:pt x="8" y="4"/>
                      </a:cubicBezTo>
                      <a:cubicBezTo>
                        <a:pt x="6" y="4"/>
                        <a:pt x="4" y="6"/>
                        <a:pt x="4" y="8"/>
                      </a:cubicBezTo>
                      <a:cubicBezTo>
                        <a:pt x="4" y="10"/>
                        <a:pt x="6" y="12"/>
                        <a:pt x="8" y="12"/>
                      </a:cubicBezTo>
                      <a:cubicBezTo>
                        <a:pt x="12" y="12"/>
                        <a:pt x="16" y="16"/>
                        <a:pt x="16" y="20"/>
                      </a:cubicBezTo>
                      <a:cubicBezTo>
                        <a:pt x="16" y="24"/>
                        <a:pt x="12" y="28"/>
                        <a:pt x="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19" name="Freeform 35"/>
                <p:cNvSpPr>
                  <a:spLocks/>
                </p:cNvSpPr>
                <p:nvPr/>
              </p:nvSpPr>
              <p:spPr bwMode="auto">
                <a:xfrm>
                  <a:off x="6613525" y="5973763"/>
                  <a:ext cx="15875" cy="30162"/>
                </a:xfrm>
                <a:custGeom>
                  <a:avLst/>
                  <a:gdLst>
                    <a:gd name="T0" fmla="*/ 2 w 4"/>
                    <a:gd name="T1" fmla="*/ 8 h 8"/>
                    <a:gd name="T2" fmla="*/ 0 w 4"/>
                    <a:gd name="T3" fmla="*/ 6 h 8"/>
                    <a:gd name="T4" fmla="*/ 0 w 4"/>
                    <a:gd name="T5" fmla="*/ 2 h 8"/>
                    <a:gd name="T6" fmla="*/ 2 w 4"/>
                    <a:gd name="T7" fmla="*/ 0 h 8"/>
                    <a:gd name="T8" fmla="*/ 4 w 4"/>
                    <a:gd name="T9" fmla="*/ 2 h 8"/>
                    <a:gd name="T10" fmla="*/ 4 w 4"/>
                    <a:gd name="T11" fmla="*/ 6 h 8"/>
                    <a:gd name="T12" fmla="*/ 2 w 4"/>
                    <a:gd name="T13" fmla="*/ 8 h 8"/>
                  </a:gdLst>
                  <a:ahLst/>
                  <a:cxnLst>
                    <a:cxn ang="0">
                      <a:pos x="T0" y="T1"/>
                    </a:cxn>
                    <a:cxn ang="0">
                      <a:pos x="T2" y="T3"/>
                    </a:cxn>
                    <a:cxn ang="0">
                      <a:pos x="T4" y="T5"/>
                    </a:cxn>
                    <a:cxn ang="0">
                      <a:pos x="T6" y="T7"/>
                    </a:cxn>
                    <a:cxn ang="0">
                      <a:pos x="T8" y="T9"/>
                    </a:cxn>
                    <a:cxn ang="0">
                      <a:pos x="T10" y="T11"/>
                    </a:cxn>
                    <a:cxn ang="0">
                      <a:pos x="T12" y="T13"/>
                    </a:cxn>
                  </a:cxnLst>
                  <a:rect l="0" t="0" r="r" b="b"/>
                  <a:pathLst>
                    <a:path w="4" h="8">
                      <a:moveTo>
                        <a:pt x="2" y="8"/>
                      </a:moveTo>
                      <a:cubicBezTo>
                        <a:pt x="1" y="8"/>
                        <a:pt x="0" y="7"/>
                        <a:pt x="0" y="6"/>
                      </a:cubicBezTo>
                      <a:cubicBezTo>
                        <a:pt x="0" y="2"/>
                        <a:pt x="0" y="2"/>
                        <a:pt x="0" y="2"/>
                      </a:cubicBezTo>
                      <a:cubicBezTo>
                        <a:pt x="0" y="1"/>
                        <a:pt x="1" y="0"/>
                        <a:pt x="2" y="0"/>
                      </a:cubicBezTo>
                      <a:cubicBezTo>
                        <a:pt x="3" y="0"/>
                        <a:pt x="4" y="1"/>
                        <a:pt x="4" y="2"/>
                      </a:cubicBezTo>
                      <a:cubicBezTo>
                        <a:pt x="4" y="6"/>
                        <a:pt x="4" y="6"/>
                        <a:pt x="4" y="6"/>
                      </a:cubicBezTo>
                      <a:cubicBezTo>
                        <a:pt x="4" y="7"/>
                        <a:pt x="3" y="8"/>
                        <a:pt x="2"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20" name="Freeform 36"/>
                <p:cNvSpPr>
                  <a:spLocks/>
                </p:cNvSpPr>
                <p:nvPr/>
              </p:nvSpPr>
              <p:spPr bwMode="auto">
                <a:xfrm>
                  <a:off x="6613525" y="5865813"/>
                  <a:ext cx="15875" cy="30162"/>
                </a:xfrm>
                <a:custGeom>
                  <a:avLst/>
                  <a:gdLst>
                    <a:gd name="T0" fmla="*/ 2 w 4"/>
                    <a:gd name="T1" fmla="*/ 8 h 8"/>
                    <a:gd name="T2" fmla="*/ 0 w 4"/>
                    <a:gd name="T3" fmla="*/ 6 h 8"/>
                    <a:gd name="T4" fmla="*/ 0 w 4"/>
                    <a:gd name="T5" fmla="*/ 2 h 8"/>
                    <a:gd name="T6" fmla="*/ 2 w 4"/>
                    <a:gd name="T7" fmla="*/ 0 h 8"/>
                    <a:gd name="T8" fmla="*/ 4 w 4"/>
                    <a:gd name="T9" fmla="*/ 2 h 8"/>
                    <a:gd name="T10" fmla="*/ 4 w 4"/>
                    <a:gd name="T11" fmla="*/ 6 h 8"/>
                    <a:gd name="T12" fmla="*/ 2 w 4"/>
                    <a:gd name="T13" fmla="*/ 8 h 8"/>
                  </a:gdLst>
                  <a:ahLst/>
                  <a:cxnLst>
                    <a:cxn ang="0">
                      <a:pos x="T0" y="T1"/>
                    </a:cxn>
                    <a:cxn ang="0">
                      <a:pos x="T2" y="T3"/>
                    </a:cxn>
                    <a:cxn ang="0">
                      <a:pos x="T4" y="T5"/>
                    </a:cxn>
                    <a:cxn ang="0">
                      <a:pos x="T6" y="T7"/>
                    </a:cxn>
                    <a:cxn ang="0">
                      <a:pos x="T8" y="T9"/>
                    </a:cxn>
                    <a:cxn ang="0">
                      <a:pos x="T10" y="T11"/>
                    </a:cxn>
                    <a:cxn ang="0">
                      <a:pos x="T12" y="T13"/>
                    </a:cxn>
                  </a:cxnLst>
                  <a:rect l="0" t="0" r="r" b="b"/>
                  <a:pathLst>
                    <a:path w="4" h="8">
                      <a:moveTo>
                        <a:pt x="2" y="8"/>
                      </a:moveTo>
                      <a:cubicBezTo>
                        <a:pt x="1" y="8"/>
                        <a:pt x="0" y="7"/>
                        <a:pt x="0" y="6"/>
                      </a:cubicBezTo>
                      <a:cubicBezTo>
                        <a:pt x="0" y="2"/>
                        <a:pt x="0" y="2"/>
                        <a:pt x="0" y="2"/>
                      </a:cubicBezTo>
                      <a:cubicBezTo>
                        <a:pt x="0" y="1"/>
                        <a:pt x="1" y="0"/>
                        <a:pt x="2" y="0"/>
                      </a:cubicBezTo>
                      <a:cubicBezTo>
                        <a:pt x="3" y="0"/>
                        <a:pt x="4" y="1"/>
                        <a:pt x="4" y="2"/>
                      </a:cubicBezTo>
                      <a:cubicBezTo>
                        <a:pt x="4" y="6"/>
                        <a:pt x="4" y="6"/>
                        <a:pt x="4" y="6"/>
                      </a:cubicBezTo>
                      <a:cubicBezTo>
                        <a:pt x="4" y="7"/>
                        <a:pt x="3" y="8"/>
                        <a:pt x="2"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21" name="Freeform 37"/>
                <p:cNvSpPr>
                  <a:spLocks/>
                </p:cNvSpPr>
                <p:nvPr/>
              </p:nvSpPr>
              <p:spPr bwMode="auto">
                <a:xfrm>
                  <a:off x="6591300" y="5880100"/>
                  <a:ext cx="61913" cy="107950"/>
                </a:xfrm>
                <a:custGeom>
                  <a:avLst/>
                  <a:gdLst>
                    <a:gd name="T0" fmla="*/ 8 w 16"/>
                    <a:gd name="T1" fmla="*/ 28 h 28"/>
                    <a:gd name="T2" fmla="*/ 0 w 16"/>
                    <a:gd name="T3" fmla="*/ 20 h 28"/>
                    <a:gd name="T4" fmla="*/ 2 w 16"/>
                    <a:gd name="T5" fmla="*/ 18 h 28"/>
                    <a:gd name="T6" fmla="*/ 4 w 16"/>
                    <a:gd name="T7" fmla="*/ 20 h 28"/>
                    <a:gd name="T8" fmla="*/ 8 w 16"/>
                    <a:gd name="T9" fmla="*/ 24 h 28"/>
                    <a:gd name="T10" fmla="*/ 12 w 16"/>
                    <a:gd name="T11" fmla="*/ 20 h 28"/>
                    <a:gd name="T12" fmla="*/ 8 w 16"/>
                    <a:gd name="T13" fmla="*/ 16 h 28"/>
                    <a:gd name="T14" fmla="*/ 0 w 16"/>
                    <a:gd name="T15" fmla="*/ 8 h 28"/>
                    <a:gd name="T16" fmla="*/ 8 w 16"/>
                    <a:gd name="T17" fmla="*/ 0 h 28"/>
                    <a:gd name="T18" fmla="*/ 16 w 16"/>
                    <a:gd name="T19" fmla="*/ 8 h 28"/>
                    <a:gd name="T20" fmla="*/ 14 w 16"/>
                    <a:gd name="T21" fmla="*/ 10 h 28"/>
                    <a:gd name="T22" fmla="*/ 12 w 16"/>
                    <a:gd name="T23" fmla="*/ 8 h 28"/>
                    <a:gd name="T24" fmla="*/ 8 w 16"/>
                    <a:gd name="T25" fmla="*/ 4 h 28"/>
                    <a:gd name="T26" fmla="*/ 4 w 16"/>
                    <a:gd name="T27" fmla="*/ 8 h 28"/>
                    <a:gd name="T28" fmla="*/ 8 w 16"/>
                    <a:gd name="T29" fmla="*/ 12 h 28"/>
                    <a:gd name="T30" fmla="*/ 16 w 16"/>
                    <a:gd name="T31" fmla="*/ 20 h 28"/>
                    <a:gd name="T32" fmla="*/ 8 w 16"/>
                    <a:gd name="T33"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 h="28">
                      <a:moveTo>
                        <a:pt x="8" y="28"/>
                      </a:moveTo>
                      <a:cubicBezTo>
                        <a:pt x="4" y="28"/>
                        <a:pt x="0" y="24"/>
                        <a:pt x="0" y="20"/>
                      </a:cubicBezTo>
                      <a:cubicBezTo>
                        <a:pt x="0" y="19"/>
                        <a:pt x="1" y="18"/>
                        <a:pt x="2" y="18"/>
                      </a:cubicBezTo>
                      <a:cubicBezTo>
                        <a:pt x="3" y="18"/>
                        <a:pt x="4" y="19"/>
                        <a:pt x="4" y="20"/>
                      </a:cubicBezTo>
                      <a:cubicBezTo>
                        <a:pt x="4" y="22"/>
                        <a:pt x="6" y="24"/>
                        <a:pt x="8" y="24"/>
                      </a:cubicBezTo>
                      <a:cubicBezTo>
                        <a:pt x="10" y="24"/>
                        <a:pt x="12" y="22"/>
                        <a:pt x="12" y="20"/>
                      </a:cubicBezTo>
                      <a:cubicBezTo>
                        <a:pt x="12" y="18"/>
                        <a:pt x="10" y="16"/>
                        <a:pt x="8" y="16"/>
                      </a:cubicBezTo>
                      <a:cubicBezTo>
                        <a:pt x="4" y="16"/>
                        <a:pt x="0" y="12"/>
                        <a:pt x="0" y="8"/>
                      </a:cubicBezTo>
                      <a:cubicBezTo>
                        <a:pt x="0" y="4"/>
                        <a:pt x="4" y="0"/>
                        <a:pt x="8" y="0"/>
                      </a:cubicBezTo>
                      <a:cubicBezTo>
                        <a:pt x="12" y="0"/>
                        <a:pt x="16" y="4"/>
                        <a:pt x="16" y="8"/>
                      </a:cubicBezTo>
                      <a:cubicBezTo>
                        <a:pt x="16" y="9"/>
                        <a:pt x="15" y="10"/>
                        <a:pt x="14" y="10"/>
                      </a:cubicBezTo>
                      <a:cubicBezTo>
                        <a:pt x="13" y="10"/>
                        <a:pt x="12" y="9"/>
                        <a:pt x="12" y="8"/>
                      </a:cubicBezTo>
                      <a:cubicBezTo>
                        <a:pt x="12" y="6"/>
                        <a:pt x="10" y="4"/>
                        <a:pt x="8" y="4"/>
                      </a:cubicBezTo>
                      <a:cubicBezTo>
                        <a:pt x="6" y="4"/>
                        <a:pt x="4" y="6"/>
                        <a:pt x="4" y="8"/>
                      </a:cubicBezTo>
                      <a:cubicBezTo>
                        <a:pt x="4" y="10"/>
                        <a:pt x="6" y="12"/>
                        <a:pt x="8" y="12"/>
                      </a:cubicBezTo>
                      <a:cubicBezTo>
                        <a:pt x="12" y="12"/>
                        <a:pt x="16" y="16"/>
                        <a:pt x="16" y="20"/>
                      </a:cubicBezTo>
                      <a:cubicBezTo>
                        <a:pt x="16" y="24"/>
                        <a:pt x="12" y="28"/>
                        <a:pt x="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22" name="Freeform 38"/>
                <p:cNvSpPr>
                  <a:spLocks/>
                </p:cNvSpPr>
                <p:nvPr/>
              </p:nvSpPr>
              <p:spPr bwMode="auto">
                <a:xfrm>
                  <a:off x="6505575" y="5811838"/>
                  <a:ext cx="247650" cy="246062"/>
                </a:xfrm>
                <a:custGeom>
                  <a:avLst/>
                  <a:gdLst>
                    <a:gd name="T0" fmla="*/ 32 w 64"/>
                    <a:gd name="T1" fmla="*/ 64 h 64"/>
                    <a:gd name="T2" fmla="*/ 0 w 64"/>
                    <a:gd name="T3" fmla="*/ 32 h 64"/>
                    <a:gd name="T4" fmla="*/ 10 w 64"/>
                    <a:gd name="T5" fmla="*/ 9 h 64"/>
                    <a:gd name="T6" fmla="*/ 34 w 64"/>
                    <a:gd name="T7" fmla="*/ 0 h 64"/>
                    <a:gd name="T8" fmla="*/ 36 w 64"/>
                    <a:gd name="T9" fmla="*/ 2 h 64"/>
                    <a:gd name="T10" fmla="*/ 34 w 64"/>
                    <a:gd name="T11" fmla="*/ 4 h 64"/>
                    <a:gd name="T12" fmla="*/ 13 w 64"/>
                    <a:gd name="T13" fmla="*/ 12 h 64"/>
                    <a:gd name="T14" fmla="*/ 4 w 64"/>
                    <a:gd name="T15" fmla="*/ 32 h 64"/>
                    <a:gd name="T16" fmla="*/ 32 w 64"/>
                    <a:gd name="T17" fmla="*/ 60 h 64"/>
                    <a:gd name="T18" fmla="*/ 52 w 64"/>
                    <a:gd name="T19" fmla="*/ 51 h 64"/>
                    <a:gd name="T20" fmla="*/ 60 w 64"/>
                    <a:gd name="T21" fmla="*/ 30 h 64"/>
                    <a:gd name="T22" fmla="*/ 62 w 64"/>
                    <a:gd name="T23" fmla="*/ 28 h 64"/>
                    <a:gd name="T24" fmla="*/ 64 w 64"/>
                    <a:gd name="T25" fmla="*/ 30 h 64"/>
                    <a:gd name="T26" fmla="*/ 55 w 64"/>
                    <a:gd name="T27" fmla="*/ 54 h 64"/>
                    <a:gd name="T28" fmla="*/ 32 w 64"/>
                    <a:gd name="T29"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4" h="64">
                      <a:moveTo>
                        <a:pt x="32" y="64"/>
                      </a:moveTo>
                      <a:cubicBezTo>
                        <a:pt x="14" y="64"/>
                        <a:pt x="0" y="50"/>
                        <a:pt x="0" y="32"/>
                      </a:cubicBezTo>
                      <a:cubicBezTo>
                        <a:pt x="0" y="23"/>
                        <a:pt x="4" y="15"/>
                        <a:pt x="10" y="9"/>
                      </a:cubicBezTo>
                      <a:cubicBezTo>
                        <a:pt x="17" y="3"/>
                        <a:pt x="25" y="0"/>
                        <a:pt x="34" y="0"/>
                      </a:cubicBezTo>
                      <a:cubicBezTo>
                        <a:pt x="35" y="0"/>
                        <a:pt x="36" y="1"/>
                        <a:pt x="36" y="2"/>
                      </a:cubicBezTo>
                      <a:cubicBezTo>
                        <a:pt x="36" y="3"/>
                        <a:pt x="35" y="4"/>
                        <a:pt x="34" y="4"/>
                      </a:cubicBezTo>
                      <a:cubicBezTo>
                        <a:pt x="26" y="4"/>
                        <a:pt x="19" y="6"/>
                        <a:pt x="13" y="12"/>
                      </a:cubicBezTo>
                      <a:cubicBezTo>
                        <a:pt x="7" y="17"/>
                        <a:pt x="4" y="24"/>
                        <a:pt x="4" y="32"/>
                      </a:cubicBezTo>
                      <a:cubicBezTo>
                        <a:pt x="4" y="47"/>
                        <a:pt x="17" y="60"/>
                        <a:pt x="32" y="60"/>
                      </a:cubicBezTo>
                      <a:cubicBezTo>
                        <a:pt x="40" y="60"/>
                        <a:pt x="47" y="57"/>
                        <a:pt x="52" y="51"/>
                      </a:cubicBezTo>
                      <a:cubicBezTo>
                        <a:pt x="58" y="45"/>
                        <a:pt x="60" y="38"/>
                        <a:pt x="60" y="30"/>
                      </a:cubicBezTo>
                      <a:cubicBezTo>
                        <a:pt x="60" y="29"/>
                        <a:pt x="61" y="28"/>
                        <a:pt x="62" y="28"/>
                      </a:cubicBezTo>
                      <a:cubicBezTo>
                        <a:pt x="63" y="28"/>
                        <a:pt x="64" y="29"/>
                        <a:pt x="64" y="30"/>
                      </a:cubicBezTo>
                      <a:cubicBezTo>
                        <a:pt x="64" y="39"/>
                        <a:pt x="61" y="47"/>
                        <a:pt x="55" y="54"/>
                      </a:cubicBezTo>
                      <a:cubicBezTo>
                        <a:pt x="49" y="60"/>
                        <a:pt x="41" y="64"/>
                        <a:pt x="32" y="6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grpSp>
        </p:grpSp>
        <p:grpSp>
          <p:nvGrpSpPr>
            <p:cNvPr id="141" name="Group 140"/>
            <p:cNvGrpSpPr/>
            <p:nvPr/>
          </p:nvGrpSpPr>
          <p:grpSpPr>
            <a:xfrm>
              <a:off x="378108" y="5838359"/>
              <a:ext cx="8378543" cy="676952"/>
              <a:chOff x="378108" y="5838359"/>
              <a:chExt cx="8378543" cy="676952"/>
            </a:xfrm>
          </p:grpSpPr>
          <p:grpSp>
            <p:nvGrpSpPr>
              <p:cNvPr id="142" name="Group 141"/>
              <p:cNvGrpSpPr/>
              <p:nvPr/>
            </p:nvGrpSpPr>
            <p:grpSpPr>
              <a:xfrm>
                <a:off x="1046253" y="6012385"/>
                <a:ext cx="7042253" cy="502926"/>
                <a:chOff x="1324276" y="5837125"/>
                <a:chExt cx="7042253" cy="502926"/>
              </a:xfrm>
            </p:grpSpPr>
            <p:sp>
              <p:nvSpPr>
                <p:cNvPr id="144" name="TextBox 143"/>
                <p:cNvSpPr txBox="1"/>
                <p:nvPr/>
              </p:nvSpPr>
              <p:spPr>
                <a:xfrm>
                  <a:off x="2542219" y="5867159"/>
                  <a:ext cx="5824310" cy="438157"/>
                </a:xfrm>
                <a:prstGeom prst="rect">
                  <a:avLst/>
                </a:prstGeom>
                <a:noFill/>
                <a:ln w="6350">
                  <a:noFill/>
                  <a:prstDash val="dash"/>
                </a:ln>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effectLst/>
                      <a:uLnTx/>
                      <a:uFillTx/>
                      <a:ea typeface="+mn-ea"/>
                      <a:cs typeface="+mn-cs"/>
                    </a:rPr>
                    <a:t>Lorem </a:t>
                  </a:r>
                  <a:r>
                    <a:rPr kumimoji="0" lang="en-US" sz="1000" b="0" i="0" u="none" strike="noStrike" kern="1200" cap="none" spc="0" normalizeH="0" baseline="0" noProof="0" dirty="0" err="1">
                      <a:ln>
                        <a:noFill/>
                      </a:ln>
                      <a:effectLst/>
                      <a:uLnTx/>
                      <a:uFillTx/>
                      <a:ea typeface="+mn-ea"/>
                      <a:cs typeface="+mn-cs"/>
                    </a:rPr>
                    <a:t>Ipsum</a:t>
                  </a:r>
                  <a:r>
                    <a:rPr kumimoji="0" lang="en-US" sz="1000" b="0" i="0" u="none" strike="noStrike" kern="1200" cap="none" spc="0" normalizeH="0" baseline="0" noProof="0" dirty="0">
                      <a:ln>
                        <a:noFill/>
                      </a:ln>
                      <a:effectLst/>
                      <a:uLnTx/>
                      <a:uFillTx/>
                      <a:ea typeface="+mn-ea"/>
                      <a:cs typeface="+mn-cs"/>
                    </a:rPr>
                    <a:t> is simply dummy text of the printing and typesetting industry. Lorem </a:t>
                  </a:r>
                  <a:r>
                    <a:rPr kumimoji="0" lang="en-US" sz="1000" b="0" i="0" u="none" strike="noStrike" kern="1200" cap="none" spc="0" normalizeH="0" baseline="0" noProof="0" dirty="0" err="1">
                      <a:ln>
                        <a:noFill/>
                      </a:ln>
                      <a:effectLst/>
                      <a:uLnTx/>
                      <a:uFillTx/>
                      <a:ea typeface="+mn-ea"/>
                      <a:cs typeface="+mn-cs"/>
                    </a:rPr>
                    <a:t>Ipsum</a:t>
                  </a:r>
                  <a:r>
                    <a:rPr kumimoji="0" lang="en-US" sz="1000" b="0" i="0" u="none" strike="noStrike" kern="1200" cap="none" spc="0" normalizeH="0" baseline="0" noProof="0" dirty="0">
                      <a:ln>
                        <a:noFill/>
                      </a:ln>
                      <a:effectLst/>
                      <a:uLnTx/>
                      <a:uFillTx/>
                      <a:ea typeface="+mn-ea"/>
                      <a:cs typeface="+mn-cs"/>
                    </a:rPr>
                    <a:t> has been the industry's standard dummy text ever since the 1500s, when an unknown printer took a galley of type and scrambled it to make a type specimen book. </a:t>
                  </a:r>
                </a:p>
              </p:txBody>
            </p:sp>
            <p:grpSp>
              <p:nvGrpSpPr>
                <p:cNvPr id="145" name="Group 144"/>
                <p:cNvGrpSpPr/>
                <p:nvPr/>
              </p:nvGrpSpPr>
              <p:grpSpPr>
                <a:xfrm>
                  <a:off x="1324276" y="5837125"/>
                  <a:ext cx="1005964" cy="502926"/>
                  <a:chOff x="1030067" y="5837125"/>
                  <a:chExt cx="1005964" cy="502926"/>
                </a:xfrm>
              </p:grpSpPr>
              <p:grpSp>
                <p:nvGrpSpPr>
                  <p:cNvPr id="146" name="Group 145"/>
                  <p:cNvGrpSpPr/>
                  <p:nvPr/>
                </p:nvGrpSpPr>
                <p:grpSpPr>
                  <a:xfrm>
                    <a:off x="1346836" y="5837125"/>
                    <a:ext cx="372427" cy="146052"/>
                    <a:chOff x="1094423" y="5837125"/>
                    <a:chExt cx="372427" cy="146052"/>
                  </a:xfrm>
                </p:grpSpPr>
                <p:grpSp>
                  <p:nvGrpSpPr>
                    <p:cNvPr id="148" name="Group 147"/>
                    <p:cNvGrpSpPr/>
                    <p:nvPr/>
                  </p:nvGrpSpPr>
                  <p:grpSpPr>
                    <a:xfrm flipV="1">
                      <a:off x="1094423" y="5849531"/>
                      <a:ext cx="156454" cy="129076"/>
                      <a:chOff x="1094423" y="5849531"/>
                      <a:chExt cx="156454" cy="129076"/>
                    </a:xfrm>
                    <a:solidFill>
                      <a:schemeClr val="tx1">
                        <a:lumMod val="65000"/>
                        <a:lumOff val="35000"/>
                      </a:schemeClr>
                    </a:solidFill>
                  </p:grpSpPr>
                  <p:sp>
                    <p:nvSpPr>
                      <p:cNvPr id="150" name="Freeform 38"/>
                      <p:cNvSpPr>
                        <a:spLocks/>
                      </p:cNvSpPr>
                      <p:nvPr/>
                    </p:nvSpPr>
                    <p:spPr bwMode="auto">
                      <a:xfrm flipV="1">
                        <a:off x="1094423" y="5895327"/>
                        <a:ext cx="156454" cy="83280"/>
                      </a:xfrm>
                      <a:custGeom>
                        <a:avLst/>
                        <a:gdLst>
                          <a:gd name="T0" fmla="*/ 0 w 351"/>
                          <a:gd name="T1" fmla="*/ 176 h 187"/>
                          <a:gd name="T2" fmla="*/ 11 w 351"/>
                          <a:gd name="T3" fmla="*/ 187 h 187"/>
                          <a:gd name="T4" fmla="*/ 340 w 351"/>
                          <a:gd name="T5" fmla="*/ 187 h 187"/>
                          <a:gd name="T6" fmla="*/ 351 w 351"/>
                          <a:gd name="T7" fmla="*/ 176 h 187"/>
                          <a:gd name="T8" fmla="*/ 351 w 351"/>
                          <a:gd name="T9" fmla="*/ 103 h 187"/>
                          <a:gd name="T10" fmla="*/ 341 w 351"/>
                          <a:gd name="T11" fmla="*/ 87 h 187"/>
                          <a:gd name="T12" fmla="*/ 186 w 351"/>
                          <a:gd name="T13" fmla="*/ 3 h 187"/>
                          <a:gd name="T14" fmla="*/ 166 w 351"/>
                          <a:gd name="T15" fmla="*/ 3 h 187"/>
                          <a:gd name="T16" fmla="*/ 10 w 351"/>
                          <a:gd name="T17" fmla="*/ 87 h 187"/>
                          <a:gd name="T18" fmla="*/ 0 w 351"/>
                          <a:gd name="T19" fmla="*/ 104 h 187"/>
                          <a:gd name="T20" fmla="*/ 0 w 351"/>
                          <a:gd name="T21" fmla="*/ 176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51" h="187">
                            <a:moveTo>
                              <a:pt x="0" y="176"/>
                            </a:moveTo>
                            <a:cubicBezTo>
                              <a:pt x="0" y="182"/>
                              <a:pt x="5" y="187"/>
                              <a:pt x="11" y="187"/>
                            </a:cubicBezTo>
                            <a:cubicBezTo>
                              <a:pt x="340" y="187"/>
                              <a:pt x="340" y="187"/>
                              <a:pt x="340" y="187"/>
                            </a:cubicBezTo>
                            <a:cubicBezTo>
                              <a:pt x="346" y="187"/>
                              <a:pt x="351" y="182"/>
                              <a:pt x="351" y="176"/>
                            </a:cubicBezTo>
                            <a:cubicBezTo>
                              <a:pt x="351" y="103"/>
                              <a:pt x="351" y="103"/>
                              <a:pt x="351" y="103"/>
                            </a:cubicBezTo>
                            <a:cubicBezTo>
                              <a:pt x="351" y="97"/>
                              <a:pt x="347" y="90"/>
                              <a:pt x="341" y="87"/>
                            </a:cubicBezTo>
                            <a:cubicBezTo>
                              <a:pt x="186" y="3"/>
                              <a:pt x="186" y="3"/>
                              <a:pt x="186" y="3"/>
                            </a:cubicBezTo>
                            <a:cubicBezTo>
                              <a:pt x="180" y="0"/>
                              <a:pt x="171" y="0"/>
                              <a:pt x="166" y="3"/>
                            </a:cubicBezTo>
                            <a:cubicBezTo>
                              <a:pt x="10" y="87"/>
                              <a:pt x="10" y="87"/>
                              <a:pt x="10" y="87"/>
                            </a:cubicBezTo>
                            <a:cubicBezTo>
                              <a:pt x="5" y="90"/>
                              <a:pt x="0" y="98"/>
                              <a:pt x="0" y="104"/>
                            </a:cubicBezTo>
                            <a:lnTo>
                              <a:pt x="0" y="176"/>
                            </a:lnTo>
                            <a:close/>
                          </a:path>
                        </a:pathLst>
                      </a:custGeom>
                      <a:solidFill>
                        <a:srgbClr val="3B3939"/>
                      </a:solidFill>
                      <a:ln w="15875"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51" name="Freeform 38"/>
                      <p:cNvSpPr>
                        <a:spLocks/>
                      </p:cNvSpPr>
                      <p:nvPr/>
                    </p:nvSpPr>
                    <p:spPr bwMode="auto">
                      <a:xfrm flipV="1">
                        <a:off x="1094423" y="5849531"/>
                        <a:ext cx="156454" cy="32107"/>
                      </a:xfrm>
                      <a:prstGeom prst="roundRect">
                        <a:avLst/>
                      </a:prstGeom>
                      <a:solidFill>
                        <a:srgbClr val="3B3939"/>
                      </a:solidFill>
                      <a:ln w="15875"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grpSp>
                <p:sp>
                  <p:nvSpPr>
                    <p:cNvPr id="149" name="TextBox 148"/>
                    <p:cNvSpPr txBox="1"/>
                    <p:nvPr/>
                  </p:nvSpPr>
                  <p:spPr>
                    <a:xfrm>
                      <a:off x="1294448" y="5837125"/>
                      <a:ext cx="172402" cy="146052"/>
                    </a:xfrm>
                    <a:prstGeom prst="rect">
                      <a:avLst/>
                    </a:prstGeom>
                    <a:noFill/>
                    <a:ln w="6350">
                      <a:noFill/>
                      <a:prstDash val="dash"/>
                    </a:ln>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3B3939"/>
                          </a:solidFill>
                          <a:effectLst/>
                          <a:uLnTx/>
                          <a:uFillTx/>
                          <a:ea typeface="+mn-ea"/>
                          <a:cs typeface="+mn-cs"/>
                        </a:rPr>
                        <a:t>UP</a:t>
                      </a:r>
                    </a:p>
                  </p:txBody>
                </p:sp>
              </p:grpSp>
              <p:sp>
                <p:nvSpPr>
                  <p:cNvPr id="147" name="TextBox 146"/>
                  <p:cNvSpPr txBox="1"/>
                  <p:nvPr/>
                </p:nvSpPr>
                <p:spPr>
                  <a:xfrm>
                    <a:off x="1030067" y="5989525"/>
                    <a:ext cx="1005964" cy="350526"/>
                  </a:xfrm>
                  <a:prstGeom prst="rect">
                    <a:avLst/>
                  </a:prstGeom>
                  <a:noFill/>
                  <a:ln w="6350">
                    <a:noFill/>
                    <a:prstDash val="dash"/>
                  </a:ln>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3B3939"/>
                        </a:solidFill>
                        <a:effectLst/>
                        <a:uLnTx/>
                        <a:uFillTx/>
                        <a:ea typeface="+mn-ea"/>
                        <a:cs typeface="+mn-cs"/>
                      </a:rPr>
                      <a:t>14.44 %</a:t>
                    </a:r>
                  </a:p>
                </p:txBody>
              </p:sp>
            </p:grpSp>
          </p:grpSp>
          <p:cxnSp>
            <p:nvCxnSpPr>
              <p:cNvPr id="143" name="Straight Connector 142"/>
              <p:cNvCxnSpPr/>
              <p:nvPr/>
            </p:nvCxnSpPr>
            <p:spPr>
              <a:xfrm>
                <a:off x="378108" y="5838359"/>
                <a:ext cx="8378543" cy="0"/>
              </a:xfrm>
              <a:prstGeom prst="line">
                <a:avLst/>
              </a:prstGeom>
              <a:ln w="12700">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356124088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en-US" dirty="0"/>
              <a:t>PowerPoint Presentation</a:t>
            </a:r>
          </a:p>
        </p:txBody>
      </p:sp>
      <p:sp>
        <p:nvSpPr>
          <p:cNvPr id="3" name="Date Placeholder 2"/>
          <p:cNvSpPr>
            <a:spLocks noGrp="1"/>
          </p:cNvSpPr>
          <p:nvPr>
            <p:ph type="dt" sz="half" idx="10"/>
          </p:nvPr>
        </p:nvSpPr>
        <p:spPr/>
        <p:txBody>
          <a:bodyPr/>
          <a:lstStyle/>
          <a:p>
            <a:fld id="{C9852138-FCC6-44DD-9FFC-1C789392E7AA}" type="datetime1">
              <a:rPr lang="en-US" smtClean="0"/>
              <a:t>10/28/2022</a:t>
            </a:fld>
            <a:endParaRPr lang="en-US"/>
          </a:p>
        </p:txBody>
      </p:sp>
      <p:sp>
        <p:nvSpPr>
          <p:cNvPr id="4" name="Slide Number Placeholder 3"/>
          <p:cNvSpPr>
            <a:spLocks noGrp="1"/>
          </p:cNvSpPr>
          <p:nvPr>
            <p:ph type="sldNum" sz="quarter" idx="12"/>
          </p:nvPr>
        </p:nvSpPr>
        <p:spPr/>
        <p:txBody>
          <a:bodyPr/>
          <a:lstStyle/>
          <a:p>
            <a:fld id="{03206E70-9524-410D-AE9B-78D656EAA14D}" type="slidenum">
              <a:rPr lang="en-US" smtClean="0"/>
              <a:pPr/>
              <a:t>16</a:t>
            </a:fld>
            <a:endParaRPr lang="en-US"/>
          </a:p>
        </p:txBody>
      </p:sp>
      <p:sp>
        <p:nvSpPr>
          <p:cNvPr id="80" name="Rectangle 79"/>
          <p:cNvSpPr/>
          <p:nvPr/>
        </p:nvSpPr>
        <p:spPr>
          <a:xfrm>
            <a:off x="12344400" y="0"/>
            <a:ext cx="469900" cy="469900"/>
          </a:xfrm>
          <a:prstGeom prst="rect">
            <a:avLst/>
          </a:prstGeom>
          <a:solidFill>
            <a:srgbClr val="E7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1" name="Rectangle 80"/>
          <p:cNvSpPr/>
          <p:nvPr/>
        </p:nvSpPr>
        <p:spPr>
          <a:xfrm>
            <a:off x="12344400" y="649557"/>
            <a:ext cx="469900" cy="469900"/>
          </a:xfrm>
          <a:prstGeom prst="rect">
            <a:avLst/>
          </a:prstGeom>
          <a:solidFill>
            <a:srgbClr val="AFABA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2" name="Rectangle 81"/>
          <p:cNvSpPr/>
          <p:nvPr/>
        </p:nvSpPr>
        <p:spPr>
          <a:xfrm>
            <a:off x="12344400" y="1299114"/>
            <a:ext cx="469900" cy="469900"/>
          </a:xfrm>
          <a:prstGeom prst="rect">
            <a:avLst/>
          </a:prstGeom>
          <a:solidFill>
            <a:srgbClr val="76717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3" name="Rectangle 82"/>
          <p:cNvSpPr/>
          <p:nvPr/>
        </p:nvSpPr>
        <p:spPr>
          <a:xfrm>
            <a:off x="12966699" y="0"/>
            <a:ext cx="469900" cy="469900"/>
          </a:xfrm>
          <a:prstGeom prst="rect">
            <a:avLst/>
          </a:prstGeom>
          <a:solidFill>
            <a:srgbClr val="E8786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4" name="Rectangle 83"/>
          <p:cNvSpPr/>
          <p:nvPr/>
        </p:nvSpPr>
        <p:spPr>
          <a:xfrm>
            <a:off x="12966699" y="649557"/>
            <a:ext cx="469900" cy="469900"/>
          </a:xfrm>
          <a:prstGeom prst="rect">
            <a:avLst/>
          </a:prstGeom>
          <a:solidFill>
            <a:srgbClr val="E258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5" name="Rectangle 84"/>
          <p:cNvSpPr/>
          <p:nvPr/>
        </p:nvSpPr>
        <p:spPr>
          <a:xfrm>
            <a:off x="12966699" y="1299114"/>
            <a:ext cx="469900" cy="469900"/>
          </a:xfrm>
          <a:prstGeom prst="rect">
            <a:avLst/>
          </a:prstGeom>
          <a:solidFill>
            <a:srgbClr val="D63E2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6" name="Rectangle 85"/>
          <p:cNvSpPr/>
          <p:nvPr/>
        </p:nvSpPr>
        <p:spPr>
          <a:xfrm>
            <a:off x="13588998" y="0"/>
            <a:ext cx="469900" cy="469900"/>
          </a:xfrm>
          <a:prstGeom prst="rect">
            <a:avLst/>
          </a:prstGeom>
          <a:solidFill>
            <a:srgbClr val="8EDCD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7" name="Rectangle 86"/>
          <p:cNvSpPr/>
          <p:nvPr/>
        </p:nvSpPr>
        <p:spPr>
          <a:xfrm>
            <a:off x="13588998" y="649557"/>
            <a:ext cx="469900" cy="469900"/>
          </a:xfrm>
          <a:prstGeom prst="rect">
            <a:avLst/>
          </a:prstGeom>
          <a:solidFill>
            <a:srgbClr val="78D2D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8" name="Rectangle 87"/>
          <p:cNvSpPr/>
          <p:nvPr/>
        </p:nvSpPr>
        <p:spPr>
          <a:xfrm>
            <a:off x="13588998" y="1299114"/>
            <a:ext cx="469900" cy="469900"/>
          </a:xfrm>
          <a:prstGeom prst="rect">
            <a:avLst/>
          </a:prstGeom>
          <a:solidFill>
            <a:srgbClr val="4CC7C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9" name="Rectangle 88"/>
          <p:cNvSpPr/>
          <p:nvPr/>
        </p:nvSpPr>
        <p:spPr>
          <a:xfrm>
            <a:off x="14211297" y="0"/>
            <a:ext cx="469900" cy="469900"/>
          </a:xfrm>
          <a:prstGeom prst="rect">
            <a:avLst/>
          </a:prstGeom>
          <a:solidFill>
            <a:srgbClr val="55535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0" name="Rectangle 89"/>
          <p:cNvSpPr/>
          <p:nvPr/>
        </p:nvSpPr>
        <p:spPr>
          <a:xfrm>
            <a:off x="14211297" y="649557"/>
            <a:ext cx="469900" cy="469900"/>
          </a:xfrm>
          <a:prstGeom prst="rect">
            <a:avLst/>
          </a:prstGeom>
          <a:solidFill>
            <a:srgbClr val="3B393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1" name="Rectangle 90"/>
          <p:cNvSpPr/>
          <p:nvPr/>
        </p:nvSpPr>
        <p:spPr>
          <a:xfrm>
            <a:off x="14211297" y="1299114"/>
            <a:ext cx="469900" cy="469900"/>
          </a:xfrm>
          <a:prstGeom prst="rect">
            <a:avLst/>
          </a:prstGeom>
          <a:solidFill>
            <a:srgbClr val="25232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72" name="Table 71"/>
          <p:cNvGraphicFramePr>
            <a:graphicFrameLocks noGrp="1"/>
          </p:cNvGraphicFramePr>
          <p:nvPr>
            <p:extLst>
              <p:ext uri="{D42A27DB-BD31-4B8C-83A1-F6EECF244321}">
                <p14:modId xmlns:p14="http://schemas.microsoft.com/office/powerpoint/2010/main" val="1207827013"/>
              </p:ext>
            </p:extLst>
          </p:nvPr>
        </p:nvGraphicFramePr>
        <p:xfrm>
          <a:off x="2232865" y="4270387"/>
          <a:ext cx="8264592" cy="1929216"/>
        </p:xfrm>
        <a:graphic>
          <a:graphicData uri="http://schemas.openxmlformats.org/drawingml/2006/table">
            <a:tbl>
              <a:tblPr firstRow="1" bandRow="1">
                <a:tableStyleId>{5C22544A-7EE6-4342-B048-85BDC9FD1C3A}</a:tableStyleId>
              </a:tblPr>
              <a:tblGrid>
                <a:gridCol w="1377432">
                  <a:extLst>
                    <a:ext uri="{9D8B030D-6E8A-4147-A177-3AD203B41FA5}">
                      <a16:colId xmlns:a16="http://schemas.microsoft.com/office/drawing/2014/main" val="20000"/>
                    </a:ext>
                  </a:extLst>
                </a:gridCol>
                <a:gridCol w="1377432">
                  <a:extLst>
                    <a:ext uri="{9D8B030D-6E8A-4147-A177-3AD203B41FA5}">
                      <a16:colId xmlns:a16="http://schemas.microsoft.com/office/drawing/2014/main" val="20001"/>
                    </a:ext>
                  </a:extLst>
                </a:gridCol>
                <a:gridCol w="1377432">
                  <a:extLst>
                    <a:ext uri="{9D8B030D-6E8A-4147-A177-3AD203B41FA5}">
                      <a16:colId xmlns:a16="http://schemas.microsoft.com/office/drawing/2014/main" val="20002"/>
                    </a:ext>
                  </a:extLst>
                </a:gridCol>
                <a:gridCol w="1377432">
                  <a:extLst>
                    <a:ext uri="{9D8B030D-6E8A-4147-A177-3AD203B41FA5}">
                      <a16:colId xmlns:a16="http://schemas.microsoft.com/office/drawing/2014/main" val="20003"/>
                    </a:ext>
                  </a:extLst>
                </a:gridCol>
                <a:gridCol w="1377432">
                  <a:extLst>
                    <a:ext uri="{9D8B030D-6E8A-4147-A177-3AD203B41FA5}">
                      <a16:colId xmlns:a16="http://schemas.microsoft.com/office/drawing/2014/main" val="20004"/>
                    </a:ext>
                  </a:extLst>
                </a:gridCol>
                <a:gridCol w="1377432">
                  <a:extLst>
                    <a:ext uri="{9D8B030D-6E8A-4147-A177-3AD203B41FA5}">
                      <a16:colId xmlns:a16="http://schemas.microsoft.com/office/drawing/2014/main" val="20005"/>
                    </a:ext>
                  </a:extLst>
                </a:gridCol>
              </a:tblGrid>
              <a:tr h="252000">
                <a:tc>
                  <a:txBody>
                    <a:bodyPr/>
                    <a:lstStyle/>
                    <a:p>
                      <a:pPr algn="l"/>
                      <a:r>
                        <a:rPr lang="en-US" sz="1200" dirty="0">
                          <a:solidFill>
                            <a:schemeClr val="tx1"/>
                          </a:solidFill>
                        </a:rPr>
                        <a:t>LOREM IPSUM </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solidFill>
                  </a:tcPr>
                </a:tc>
                <a:tc>
                  <a:txBody>
                    <a:bodyPr/>
                    <a:lstStyle/>
                    <a:p>
                      <a:pPr algn="l"/>
                      <a:r>
                        <a:rPr lang="en-US" sz="1200" dirty="0">
                          <a:solidFill>
                            <a:schemeClr val="tx1"/>
                          </a:solidFill>
                        </a:rPr>
                        <a:t>LOREM IPSUM </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solidFill>
                  </a:tcPr>
                </a:tc>
                <a:tc>
                  <a:txBody>
                    <a:bodyPr/>
                    <a:lstStyle/>
                    <a:p>
                      <a:pPr algn="l"/>
                      <a:r>
                        <a:rPr lang="en-US" sz="1200" dirty="0">
                          <a:solidFill>
                            <a:schemeClr val="tx1"/>
                          </a:solidFill>
                        </a:rPr>
                        <a:t>LOREM IPSUM </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solidFill>
                  </a:tcPr>
                </a:tc>
                <a:tc>
                  <a:txBody>
                    <a:bodyPr/>
                    <a:lstStyle/>
                    <a:p>
                      <a:pPr algn="l"/>
                      <a:r>
                        <a:rPr lang="en-US" sz="1200" dirty="0">
                          <a:solidFill>
                            <a:schemeClr val="tx1"/>
                          </a:solidFill>
                        </a:rPr>
                        <a:t>LOREM IPSUM </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solidFill>
                  </a:tcPr>
                </a:tc>
                <a:tc>
                  <a:txBody>
                    <a:bodyPr/>
                    <a:lstStyle/>
                    <a:p>
                      <a:pPr algn="l"/>
                      <a:r>
                        <a:rPr lang="en-US" sz="1200" dirty="0">
                          <a:solidFill>
                            <a:schemeClr val="tx1"/>
                          </a:solidFill>
                        </a:rPr>
                        <a:t>LOREM IPSUM </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solidFill>
                  </a:tcPr>
                </a:tc>
                <a:tc>
                  <a:txBody>
                    <a:bodyPr/>
                    <a:lstStyle/>
                    <a:p>
                      <a:pPr algn="l"/>
                      <a:r>
                        <a:rPr lang="en-US" sz="1200" dirty="0">
                          <a:solidFill>
                            <a:schemeClr val="tx1"/>
                          </a:solidFill>
                        </a:rPr>
                        <a:t>LOREM IPSUM </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0"/>
                  </a:ext>
                </a:extLst>
              </a:tr>
              <a:tr h="413724">
                <a:tc>
                  <a:txBody>
                    <a:bodyPr/>
                    <a:lstStyle/>
                    <a:p>
                      <a:pPr algn="l"/>
                      <a:r>
                        <a:rPr lang="en-US" sz="1000" dirty="0">
                          <a:solidFill>
                            <a:schemeClr val="tx1"/>
                          </a:solidFill>
                        </a:rPr>
                        <a:t>Lorem </a:t>
                      </a:r>
                      <a:r>
                        <a:rPr lang="en-US" sz="1000" dirty="0" err="1">
                          <a:solidFill>
                            <a:schemeClr val="tx1"/>
                          </a:solidFill>
                        </a:rPr>
                        <a:t>Ipsum</a:t>
                      </a:r>
                      <a:r>
                        <a:rPr lang="en-US" sz="1000" dirty="0">
                          <a:solidFill>
                            <a:schemeClr val="tx1"/>
                          </a:solidFill>
                        </a:rPr>
                        <a:t> </a:t>
                      </a:r>
                    </a:p>
                  </a:txBody>
                  <a:tcPr marL="216000"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a:r>
                        <a:rPr lang="en-US" sz="1000" dirty="0">
                          <a:solidFill>
                            <a:schemeClr val="tx1"/>
                          </a:solidFill>
                        </a:rPr>
                        <a:t>simply dummy </a:t>
                      </a:r>
                    </a:p>
                  </a:txBody>
                  <a:tcPr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a:r>
                        <a:rPr lang="en-US" sz="1000" dirty="0">
                          <a:solidFill>
                            <a:schemeClr val="tx1"/>
                          </a:solidFill>
                        </a:rPr>
                        <a:t>20%</a:t>
                      </a:r>
                    </a:p>
                  </a:txBody>
                  <a:tcPr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r"/>
                      <a:r>
                        <a:rPr lang="en-US" sz="1000" dirty="0">
                          <a:solidFill>
                            <a:schemeClr val="tx1"/>
                          </a:solidFill>
                        </a:rPr>
                        <a:t>80%</a:t>
                      </a:r>
                    </a:p>
                  </a:txBody>
                  <a:tcPr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a:r>
                        <a:rPr lang="en-US" sz="1000" dirty="0">
                          <a:solidFill>
                            <a:schemeClr val="tx1"/>
                          </a:solidFill>
                        </a:rPr>
                        <a:t>simply dummy </a:t>
                      </a:r>
                    </a:p>
                  </a:txBody>
                  <a:tcPr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a:r>
                        <a:rPr lang="en-US" sz="1000" dirty="0">
                          <a:solidFill>
                            <a:schemeClr val="tx1"/>
                          </a:solidFill>
                        </a:rPr>
                        <a:t>simply dummy </a:t>
                      </a:r>
                    </a:p>
                  </a:txBody>
                  <a:tcPr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1"/>
                  </a:ext>
                </a:extLst>
              </a:tr>
              <a:tr h="413724">
                <a:tc>
                  <a:txBody>
                    <a:bodyPr/>
                    <a:lstStyle/>
                    <a:p>
                      <a:pPr algn="l"/>
                      <a:r>
                        <a:rPr lang="en-US" sz="1000" dirty="0">
                          <a:solidFill>
                            <a:schemeClr val="tx1"/>
                          </a:solidFill>
                        </a:rPr>
                        <a:t>Lorem </a:t>
                      </a:r>
                      <a:r>
                        <a:rPr lang="en-US" sz="1000" dirty="0" err="1">
                          <a:solidFill>
                            <a:schemeClr val="tx1"/>
                          </a:solidFill>
                        </a:rPr>
                        <a:t>Ipsum</a:t>
                      </a:r>
                      <a:r>
                        <a:rPr lang="en-US" sz="1000" dirty="0">
                          <a:solidFill>
                            <a:schemeClr val="tx1"/>
                          </a:solidFill>
                        </a:rPr>
                        <a:t> </a:t>
                      </a:r>
                    </a:p>
                  </a:txBody>
                  <a:tcPr marL="21600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l"/>
                      <a:r>
                        <a:rPr lang="en-US" sz="1000" dirty="0">
                          <a:solidFill>
                            <a:schemeClr val="tx1"/>
                          </a:solidFill>
                        </a:rPr>
                        <a:t>simply dummy </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l"/>
                      <a:r>
                        <a:rPr lang="en-US" sz="1000" dirty="0">
                          <a:solidFill>
                            <a:schemeClr val="tx1"/>
                          </a:solidFill>
                        </a:rPr>
                        <a:t>30%</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r"/>
                      <a:r>
                        <a:rPr lang="en-US" sz="1000" dirty="0">
                          <a:solidFill>
                            <a:schemeClr val="tx1"/>
                          </a:solidFill>
                        </a:rPr>
                        <a:t>60%</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l"/>
                      <a:r>
                        <a:rPr lang="en-US" sz="1000" dirty="0">
                          <a:solidFill>
                            <a:schemeClr val="tx1"/>
                          </a:solidFill>
                        </a:rPr>
                        <a:t>simply dummy </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l"/>
                      <a:r>
                        <a:rPr lang="en-US" sz="1000" dirty="0">
                          <a:solidFill>
                            <a:schemeClr val="tx1"/>
                          </a:solidFill>
                        </a:rPr>
                        <a:t>simply dummy </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2"/>
                  </a:ext>
                </a:extLst>
              </a:tr>
              <a:tr h="413724">
                <a:tc>
                  <a:txBody>
                    <a:bodyPr/>
                    <a:lstStyle/>
                    <a:p>
                      <a:pPr algn="l"/>
                      <a:r>
                        <a:rPr lang="en-US" sz="1000" dirty="0">
                          <a:solidFill>
                            <a:schemeClr val="tx1"/>
                          </a:solidFill>
                        </a:rPr>
                        <a:t>Lorem </a:t>
                      </a:r>
                      <a:r>
                        <a:rPr lang="en-US" sz="1000" dirty="0" err="1">
                          <a:solidFill>
                            <a:schemeClr val="tx1"/>
                          </a:solidFill>
                        </a:rPr>
                        <a:t>Ipsum</a:t>
                      </a:r>
                      <a:r>
                        <a:rPr lang="en-US" sz="1000" dirty="0">
                          <a:solidFill>
                            <a:schemeClr val="tx1"/>
                          </a:solidFill>
                        </a:rPr>
                        <a:t> </a:t>
                      </a:r>
                    </a:p>
                  </a:txBody>
                  <a:tcPr marL="21600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a:r>
                        <a:rPr lang="en-US" sz="1000" dirty="0">
                          <a:solidFill>
                            <a:schemeClr val="tx1"/>
                          </a:solidFill>
                        </a:rPr>
                        <a:t>simply dummy </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a:r>
                        <a:rPr lang="en-US" sz="1000" dirty="0">
                          <a:solidFill>
                            <a:schemeClr val="tx1"/>
                          </a:solidFill>
                        </a:rPr>
                        <a:t>45%</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r"/>
                      <a:r>
                        <a:rPr lang="en-US" sz="1000" dirty="0">
                          <a:solidFill>
                            <a:schemeClr val="tx1"/>
                          </a:solidFill>
                        </a:rPr>
                        <a:t>40%</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a:r>
                        <a:rPr lang="en-US" sz="1000" dirty="0">
                          <a:solidFill>
                            <a:schemeClr val="tx1"/>
                          </a:solidFill>
                        </a:rPr>
                        <a:t>simply dummy </a:t>
                      </a:r>
                    </a:p>
                    <a:p>
                      <a:pPr algn="l"/>
                      <a:endParaRPr lang="en-US" sz="1000" dirty="0">
                        <a:solidFill>
                          <a:schemeClr val="tx1"/>
                        </a:solidFill>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a:r>
                        <a:rPr lang="en-US" sz="1000" dirty="0">
                          <a:solidFill>
                            <a:schemeClr val="tx1"/>
                          </a:solidFill>
                        </a:rPr>
                        <a:t>simply dummy </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3"/>
                  </a:ext>
                </a:extLst>
              </a:tr>
              <a:tr h="413724">
                <a:tc>
                  <a:txBody>
                    <a:bodyPr/>
                    <a:lstStyle/>
                    <a:p>
                      <a:pPr algn="l"/>
                      <a:r>
                        <a:rPr lang="en-US" sz="1000" dirty="0">
                          <a:solidFill>
                            <a:schemeClr val="tx1"/>
                          </a:solidFill>
                        </a:rPr>
                        <a:t>Lorem </a:t>
                      </a:r>
                      <a:r>
                        <a:rPr lang="en-US" sz="1000" dirty="0" err="1">
                          <a:solidFill>
                            <a:schemeClr val="tx1"/>
                          </a:solidFill>
                        </a:rPr>
                        <a:t>Ipsum</a:t>
                      </a:r>
                      <a:r>
                        <a:rPr lang="en-US" sz="1000" dirty="0">
                          <a:solidFill>
                            <a:schemeClr val="tx1"/>
                          </a:solidFill>
                        </a:rPr>
                        <a:t> </a:t>
                      </a:r>
                    </a:p>
                  </a:txBody>
                  <a:tcPr marL="21600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l"/>
                      <a:r>
                        <a:rPr lang="en-US" sz="1000" dirty="0">
                          <a:solidFill>
                            <a:schemeClr val="tx1"/>
                          </a:solidFill>
                        </a:rPr>
                        <a:t>simply dummy </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l"/>
                      <a:r>
                        <a:rPr lang="en-US" sz="1000" dirty="0">
                          <a:solidFill>
                            <a:schemeClr val="tx1"/>
                          </a:solidFill>
                        </a:rPr>
                        <a:t>20%</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r"/>
                      <a:r>
                        <a:rPr lang="en-US" sz="1000" dirty="0">
                          <a:solidFill>
                            <a:schemeClr val="tx1"/>
                          </a:solidFill>
                        </a:rPr>
                        <a:t>70%</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l"/>
                      <a:r>
                        <a:rPr lang="en-US" sz="1000" dirty="0">
                          <a:solidFill>
                            <a:schemeClr val="tx1"/>
                          </a:solidFill>
                        </a:rPr>
                        <a:t>simply dummy </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l"/>
                      <a:r>
                        <a:rPr lang="en-US" sz="1000" dirty="0">
                          <a:solidFill>
                            <a:schemeClr val="tx1"/>
                          </a:solidFill>
                        </a:rPr>
                        <a:t>simply dummy </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4"/>
                  </a:ext>
                </a:extLst>
              </a:tr>
            </a:tbl>
          </a:graphicData>
        </a:graphic>
      </p:graphicFrame>
      <p:graphicFrame>
        <p:nvGraphicFramePr>
          <p:cNvPr id="157" name="Chart 156"/>
          <p:cNvGraphicFramePr/>
          <p:nvPr>
            <p:extLst>
              <p:ext uri="{D42A27DB-BD31-4B8C-83A1-F6EECF244321}">
                <p14:modId xmlns:p14="http://schemas.microsoft.com/office/powerpoint/2010/main" val="1340445979"/>
              </p:ext>
            </p:extLst>
          </p:nvPr>
        </p:nvGraphicFramePr>
        <p:xfrm>
          <a:off x="1702808" y="1090484"/>
          <a:ext cx="4580015" cy="3053343"/>
        </p:xfrm>
        <a:graphic>
          <a:graphicData uri="http://schemas.openxmlformats.org/drawingml/2006/chart">
            <c:chart xmlns:c="http://schemas.openxmlformats.org/drawingml/2006/chart" xmlns:r="http://schemas.openxmlformats.org/officeDocument/2006/relationships" r:id="rId2"/>
          </a:graphicData>
        </a:graphic>
      </p:graphicFrame>
      <p:sp>
        <p:nvSpPr>
          <p:cNvPr id="159" name="Oval 158"/>
          <p:cNvSpPr/>
          <p:nvPr/>
        </p:nvSpPr>
        <p:spPr>
          <a:xfrm>
            <a:off x="2676889" y="1698269"/>
            <a:ext cx="1895253" cy="1895253"/>
          </a:xfrm>
          <a:prstGeom prst="ellipse">
            <a:avLst/>
          </a:prstGeom>
          <a:solidFill>
            <a:schemeClr val="bg1"/>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163" name="TextBox 162"/>
          <p:cNvSpPr txBox="1"/>
          <p:nvPr/>
        </p:nvSpPr>
        <p:spPr>
          <a:xfrm>
            <a:off x="3239167" y="2571502"/>
            <a:ext cx="770697" cy="153888"/>
          </a:xfrm>
          <a:prstGeom prst="rect">
            <a:avLst/>
          </a:prstGeom>
          <a:noFill/>
          <a:ln w="6350">
            <a:noFill/>
            <a:prstDash val="dash"/>
          </a:ln>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effectLst/>
                <a:uLnTx/>
                <a:uFillTx/>
                <a:ea typeface="+mn-ea"/>
                <a:cs typeface="+mn-cs"/>
              </a:rPr>
              <a:t>LOREM IPSUM</a:t>
            </a:r>
          </a:p>
        </p:txBody>
      </p:sp>
      <p:grpSp>
        <p:nvGrpSpPr>
          <p:cNvPr id="164" name="Group 163"/>
          <p:cNvGrpSpPr>
            <a:grpSpLocks noChangeAspect="1"/>
          </p:cNvGrpSpPr>
          <p:nvPr/>
        </p:nvGrpSpPr>
        <p:grpSpPr>
          <a:xfrm>
            <a:off x="3442061" y="2117361"/>
            <a:ext cx="364908" cy="416528"/>
            <a:chOff x="6089650" y="1606550"/>
            <a:chExt cx="325438" cy="371476"/>
          </a:xfrm>
          <a:solidFill>
            <a:schemeClr val="accent4"/>
          </a:solidFill>
        </p:grpSpPr>
        <p:sp>
          <p:nvSpPr>
            <p:cNvPr id="165" name="Freeform 6"/>
            <p:cNvSpPr>
              <a:spLocks noEditPoints="1"/>
            </p:cNvSpPr>
            <p:nvPr/>
          </p:nvSpPr>
          <p:spPr bwMode="auto">
            <a:xfrm>
              <a:off x="6135688" y="1652588"/>
              <a:ext cx="231775" cy="233363"/>
            </a:xfrm>
            <a:custGeom>
              <a:avLst/>
              <a:gdLst>
                <a:gd name="T0" fmla="*/ 30 w 60"/>
                <a:gd name="T1" fmla="*/ 60 h 60"/>
                <a:gd name="T2" fmla="*/ 0 w 60"/>
                <a:gd name="T3" fmla="*/ 30 h 60"/>
                <a:gd name="T4" fmla="*/ 30 w 60"/>
                <a:gd name="T5" fmla="*/ 0 h 60"/>
                <a:gd name="T6" fmla="*/ 60 w 60"/>
                <a:gd name="T7" fmla="*/ 30 h 60"/>
                <a:gd name="T8" fmla="*/ 30 w 60"/>
                <a:gd name="T9" fmla="*/ 60 h 60"/>
                <a:gd name="T10" fmla="*/ 30 w 60"/>
                <a:gd name="T11" fmla="*/ 4 h 60"/>
                <a:gd name="T12" fmla="*/ 4 w 60"/>
                <a:gd name="T13" fmla="*/ 30 h 60"/>
                <a:gd name="T14" fmla="*/ 30 w 60"/>
                <a:gd name="T15" fmla="*/ 56 h 60"/>
                <a:gd name="T16" fmla="*/ 56 w 60"/>
                <a:gd name="T17" fmla="*/ 30 h 60"/>
                <a:gd name="T18" fmla="*/ 30 w 60"/>
                <a:gd name="T19" fmla="*/ 4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0">
                  <a:moveTo>
                    <a:pt x="30" y="60"/>
                  </a:moveTo>
                  <a:cubicBezTo>
                    <a:pt x="13" y="60"/>
                    <a:pt x="0" y="47"/>
                    <a:pt x="0" y="30"/>
                  </a:cubicBezTo>
                  <a:cubicBezTo>
                    <a:pt x="0" y="13"/>
                    <a:pt x="13" y="0"/>
                    <a:pt x="30" y="0"/>
                  </a:cubicBezTo>
                  <a:cubicBezTo>
                    <a:pt x="47" y="0"/>
                    <a:pt x="60" y="13"/>
                    <a:pt x="60" y="30"/>
                  </a:cubicBezTo>
                  <a:cubicBezTo>
                    <a:pt x="60" y="47"/>
                    <a:pt x="47" y="60"/>
                    <a:pt x="30" y="60"/>
                  </a:cubicBezTo>
                  <a:close/>
                  <a:moveTo>
                    <a:pt x="30" y="4"/>
                  </a:moveTo>
                  <a:cubicBezTo>
                    <a:pt x="16" y="4"/>
                    <a:pt x="4" y="16"/>
                    <a:pt x="4" y="30"/>
                  </a:cubicBezTo>
                  <a:cubicBezTo>
                    <a:pt x="4" y="44"/>
                    <a:pt x="16" y="56"/>
                    <a:pt x="30" y="56"/>
                  </a:cubicBezTo>
                  <a:cubicBezTo>
                    <a:pt x="44" y="56"/>
                    <a:pt x="56" y="44"/>
                    <a:pt x="56" y="30"/>
                  </a:cubicBezTo>
                  <a:cubicBezTo>
                    <a:pt x="56" y="16"/>
                    <a:pt x="44" y="4"/>
                    <a:pt x="30"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66" name="Freeform 7"/>
            <p:cNvSpPr>
              <a:spLocks/>
            </p:cNvSpPr>
            <p:nvPr/>
          </p:nvSpPr>
          <p:spPr bwMode="auto">
            <a:xfrm>
              <a:off x="6197600" y="1870075"/>
              <a:ext cx="107950" cy="46038"/>
            </a:xfrm>
            <a:custGeom>
              <a:avLst/>
              <a:gdLst>
                <a:gd name="T0" fmla="*/ 26 w 28"/>
                <a:gd name="T1" fmla="*/ 12 h 12"/>
                <a:gd name="T2" fmla="*/ 2 w 28"/>
                <a:gd name="T3" fmla="*/ 12 h 12"/>
                <a:gd name="T4" fmla="*/ 0 w 28"/>
                <a:gd name="T5" fmla="*/ 10 h 12"/>
                <a:gd name="T6" fmla="*/ 0 w 28"/>
                <a:gd name="T7" fmla="*/ 0 h 12"/>
                <a:gd name="T8" fmla="*/ 4 w 28"/>
                <a:gd name="T9" fmla="*/ 0 h 12"/>
                <a:gd name="T10" fmla="*/ 4 w 28"/>
                <a:gd name="T11" fmla="*/ 8 h 12"/>
                <a:gd name="T12" fmla="*/ 24 w 28"/>
                <a:gd name="T13" fmla="*/ 8 h 12"/>
                <a:gd name="T14" fmla="*/ 24 w 28"/>
                <a:gd name="T15" fmla="*/ 0 h 12"/>
                <a:gd name="T16" fmla="*/ 28 w 28"/>
                <a:gd name="T17" fmla="*/ 0 h 12"/>
                <a:gd name="T18" fmla="*/ 28 w 28"/>
                <a:gd name="T19" fmla="*/ 10 h 12"/>
                <a:gd name="T20" fmla="*/ 26 w 28"/>
                <a:gd name="T21"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8" h="12">
                  <a:moveTo>
                    <a:pt x="26" y="12"/>
                  </a:moveTo>
                  <a:cubicBezTo>
                    <a:pt x="2" y="12"/>
                    <a:pt x="2" y="12"/>
                    <a:pt x="2" y="12"/>
                  </a:cubicBezTo>
                  <a:cubicBezTo>
                    <a:pt x="1" y="12"/>
                    <a:pt x="0" y="11"/>
                    <a:pt x="0" y="10"/>
                  </a:cubicBezTo>
                  <a:cubicBezTo>
                    <a:pt x="0" y="0"/>
                    <a:pt x="0" y="0"/>
                    <a:pt x="0" y="0"/>
                  </a:cubicBezTo>
                  <a:cubicBezTo>
                    <a:pt x="4" y="0"/>
                    <a:pt x="4" y="0"/>
                    <a:pt x="4" y="0"/>
                  </a:cubicBezTo>
                  <a:cubicBezTo>
                    <a:pt x="4" y="8"/>
                    <a:pt x="4" y="8"/>
                    <a:pt x="4" y="8"/>
                  </a:cubicBezTo>
                  <a:cubicBezTo>
                    <a:pt x="24" y="8"/>
                    <a:pt x="24" y="8"/>
                    <a:pt x="24" y="8"/>
                  </a:cubicBezTo>
                  <a:cubicBezTo>
                    <a:pt x="24" y="0"/>
                    <a:pt x="24" y="0"/>
                    <a:pt x="24" y="0"/>
                  </a:cubicBezTo>
                  <a:cubicBezTo>
                    <a:pt x="28" y="0"/>
                    <a:pt x="28" y="0"/>
                    <a:pt x="28" y="0"/>
                  </a:cubicBezTo>
                  <a:cubicBezTo>
                    <a:pt x="28" y="10"/>
                    <a:pt x="28" y="10"/>
                    <a:pt x="28" y="10"/>
                  </a:cubicBezTo>
                  <a:cubicBezTo>
                    <a:pt x="28" y="11"/>
                    <a:pt x="27" y="12"/>
                    <a:pt x="2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67" name="Freeform 8"/>
            <p:cNvSpPr>
              <a:spLocks noEditPoints="1"/>
            </p:cNvSpPr>
            <p:nvPr/>
          </p:nvSpPr>
          <p:spPr bwMode="auto">
            <a:xfrm>
              <a:off x="6213475" y="1900238"/>
              <a:ext cx="76200" cy="47625"/>
            </a:xfrm>
            <a:custGeom>
              <a:avLst/>
              <a:gdLst>
                <a:gd name="T0" fmla="*/ 18 w 20"/>
                <a:gd name="T1" fmla="*/ 12 h 12"/>
                <a:gd name="T2" fmla="*/ 2 w 20"/>
                <a:gd name="T3" fmla="*/ 12 h 12"/>
                <a:gd name="T4" fmla="*/ 0 w 20"/>
                <a:gd name="T5" fmla="*/ 10 h 12"/>
                <a:gd name="T6" fmla="*/ 0 w 20"/>
                <a:gd name="T7" fmla="*/ 2 h 12"/>
                <a:gd name="T8" fmla="*/ 2 w 20"/>
                <a:gd name="T9" fmla="*/ 0 h 12"/>
                <a:gd name="T10" fmla="*/ 18 w 20"/>
                <a:gd name="T11" fmla="*/ 0 h 12"/>
                <a:gd name="T12" fmla="*/ 20 w 20"/>
                <a:gd name="T13" fmla="*/ 2 h 12"/>
                <a:gd name="T14" fmla="*/ 20 w 20"/>
                <a:gd name="T15" fmla="*/ 10 h 12"/>
                <a:gd name="T16" fmla="*/ 18 w 20"/>
                <a:gd name="T17" fmla="*/ 12 h 12"/>
                <a:gd name="T18" fmla="*/ 4 w 20"/>
                <a:gd name="T19" fmla="*/ 8 h 12"/>
                <a:gd name="T20" fmla="*/ 16 w 20"/>
                <a:gd name="T21" fmla="*/ 8 h 12"/>
                <a:gd name="T22" fmla="*/ 16 w 20"/>
                <a:gd name="T23" fmla="*/ 4 h 12"/>
                <a:gd name="T24" fmla="*/ 4 w 20"/>
                <a:gd name="T25" fmla="*/ 4 h 12"/>
                <a:gd name="T26" fmla="*/ 4 w 20"/>
                <a:gd name="T27" fmla="*/ 8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 h="12">
                  <a:moveTo>
                    <a:pt x="18" y="12"/>
                  </a:moveTo>
                  <a:cubicBezTo>
                    <a:pt x="2" y="12"/>
                    <a:pt x="2" y="12"/>
                    <a:pt x="2" y="12"/>
                  </a:cubicBezTo>
                  <a:cubicBezTo>
                    <a:pt x="1" y="12"/>
                    <a:pt x="0" y="11"/>
                    <a:pt x="0" y="10"/>
                  </a:cubicBezTo>
                  <a:cubicBezTo>
                    <a:pt x="0" y="2"/>
                    <a:pt x="0" y="2"/>
                    <a:pt x="0" y="2"/>
                  </a:cubicBezTo>
                  <a:cubicBezTo>
                    <a:pt x="0" y="1"/>
                    <a:pt x="1" y="0"/>
                    <a:pt x="2" y="0"/>
                  </a:cubicBezTo>
                  <a:cubicBezTo>
                    <a:pt x="18" y="0"/>
                    <a:pt x="18" y="0"/>
                    <a:pt x="18" y="0"/>
                  </a:cubicBezTo>
                  <a:cubicBezTo>
                    <a:pt x="19" y="0"/>
                    <a:pt x="20" y="1"/>
                    <a:pt x="20" y="2"/>
                  </a:cubicBezTo>
                  <a:cubicBezTo>
                    <a:pt x="20" y="10"/>
                    <a:pt x="20" y="10"/>
                    <a:pt x="20" y="10"/>
                  </a:cubicBezTo>
                  <a:cubicBezTo>
                    <a:pt x="20" y="11"/>
                    <a:pt x="19" y="12"/>
                    <a:pt x="18" y="12"/>
                  </a:cubicBezTo>
                  <a:close/>
                  <a:moveTo>
                    <a:pt x="4" y="8"/>
                  </a:moveTo>
                  <a:cubicBezTo>
                    <a:pt x="16" y="8"/>
                    <a:pt x="16" y="8"/>
                    <a:pt x="16" y="8"/>
                  </a:cubicBezTo>
                  <a:cubicBezTo>
                    <a:pt x="16" y="4"/>
                    <a:pt x="16" y="4"/>
                    <a:pt x="16" y="4"/>
                  </a:cubicBezTo>
                  <a:cubicBezTo>
                    <a:pt x="4" y="4"/>
                    <a:pt x="4" y="4"/>
                    <a:pt x="4" y="4"/>
                  </a:cubicBezTo>
                  <a:lnTo>
                    <a:pt x="4"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68" name="Freeform 9"/>
            <p:cNvSpPr>
              <a:spLocks/>
            </p:cNvSpPr>
            <p:nvPr/>
          </p:nvSpPr>
          <p:spPr bwMode="auto">
            <a:xfrm>
              <a:off x="6243638" y="1931988"/>
              <a:ext cx="15875" cy="46038"/>
            </a:xfrm>
            <a:custGeom>
              <a:avLst/>
              <a:gdLst>
                <a:gd name="T0" fmla="*/ 2 w 4"/>
                <a:gd name="T1" fmla="*/ 12 h 12"/>
                <a:gd name="T2" fmla="*/ 0 w 4"/>
                <a:gd name="T3" fmla="*/ 10 h 12"/>
                <a:gd name="T4" fmla="*/ 0 w 4"/>
                <a:gd name="T5" fmla="*/ 2 h 12"/>
                <a:gd name="T6" fmla="*/ 2 w 4"/>
                <a:gd name="T7" fmla="*/ 0 h 12"/>
                <a:gd name="T8" fmla="*/ 4 w 4"/>
                <a:gd name="T9" fmla="*/ 2 h 12"/>
                <a:gd name="T10" fmla="*/ 4 w 4"/>
                <a:gd name="T11" fmla="*/ 10 h 12"/>
                <a:gd name="T12" fmla="*/ 2 w 4"/>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4" h="12">
                  <a:moveTo>
                    <a:pt x="2" y="12"/>
                  </a:moveTo>
                  <a:cubicBezTo>
                    <a:pt x="1" y="12"/>
                    <a:pt x="0" y="11"/>
                    <a:pt x="0" y="10"/>
                  </a:cubicBezTo>
                  <a:cubicBezTo>
                    <a:pt x="0" y="2"/>
                    <a:pt x="0" y="2"/>
                    <a:pt x="0" y="2"/>
                  </a:cubicBezTo>
                  <a:cubicBezTo>
                    <a:pt x="0" y="1"/>
                    <a:pt x="1" y="0"/>
                    <a:pt x="2" y="0"/>
                  </a:cubicBezTo>
                  <a:cubicBezTo>
                    <a:pt x="3" y="0"/>
                    <a:pt x="4" y="1"/>
                    <a:pt x="4" y="2"/>
                  </a:cubicBezTo>
                  <a:cubicBezTo>
                    <a:pt x="4" y="10"/>
                    <a:pt x="4" y="10"/>
                    <a:pt x="4" y="10"/>
                  </a:cubicBezTo>
                  <a:cubicBezTo>
                    <a:pt x="4" y="11"/>
                    <a:pt x="3" y="12"/>
                    <a:pt x="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69" name="Freeform 10"/>
            <p:cNvSpPr>
              <a:spLocks/>
            </p:cNvSpPr>
            <p:nvPr/>
          </p:nvSpPr>
          <p:spPr bwMode="auto">
            <a:xfrm>
              <a:off x="6243638" y="1606550"/>
              <a:ext cx="15875" cy="31750"/>
            </a:xfrm>
            <a:custGeom>
              <a:avLst/>
              <a:gdLst>
                <a:gd name="T0" fmla="*/ 2 w 4"/>
                <a:gd name="T1" fmla="*/ 8 h 8"/>
                <a:gd name="T2" fmla="*/ 0 w 4"/>
                <a:gd name="T3" fmla="*/ 6 h 8"/>
                <a:gd name="T4" fmla="*/ 0 w 4"/>
                <a:gd name="T5" fmla="*/ 2 h 8"/>
                <a:gd name="T6" fmla="*/ 2 w 4"/>
                <a:gd name="T7" fmla="*/ 0 h 8"/>
                <a:gd name="T8" fmla="*/ 4 w 4"/>
                <a:gd name="T9" fmla="*/ 2 h 8"/>
                <a:gd name="T10" fmla="*/ 4 w 4"/>
                <a:gd name="T11" fmla="*/ 6 h 8"/>
                <a:gd name="T12" fmla="*/ 2 w 4"/>
                <a:gd name="T13" fmla="*/ 8 h 8"/>
              </a:gdLst>
              <a:ahLst/>
              <a:cxnLst>
                <a:cxn ang="0">
                  <a:pos x="T0" y="T1"/>
                </a:cxn>
                <a:cxn ang="0">
                  <a:pos x="T2" y="T3"/>
                </a:cxn>
                <a:cxn ang="0">
                  <a:pos x="T4" y="T5"/>
                </a:cxn>
                <a:cxn ang="0">
                  <a:pos x="T6" y="T7"/>
                </a:cxn>
                <a:cxn ang="0">
                  <a:pos x="T8" y="T9"/>
                </a:cxn>
                <a:cxn ang="0">
                  <a:pos x="T10" y="T11"/>
                </a:cxn>
                <a:cxn ang="0">
                  <a:pos x="T12" y="T13"/>
                </a:cxn>
              </a:cxnLst>
              <a:rect l="0" t="0" r="r" b="b"/>
              <a:pathLst>
                <a:path w="4" h="8">
                  <a:moveTo>
                    <a:pt x="2" y="8"/>
                  </a:moveTo>
                  <a:cubicBezTo>
                    <a:pt x="1" y="8"/>
                    <a:pt x="0" y="7"/>
                    <a:pt x="0" y="6"/>
                  </a:cubicBezTo>
                  <a:cubicBezTo>
                    <a:pt x="0" y="2"/>
                    <a:pt x="0" y="2"/>
                    <a:pt x="0" y="2"/>
                  </a:cubicBezTo>
                  <a:cubicBezTo>
                    <a:pt x="0" y="1"/>
                    <a:pt x="1" y="0"/>
                    <a:pt x="2" y="0"/>
                  </a:cubicBezTo>
                  <a:cubicBezTo>
                    <a:pt x="3" y="0"/>
                    <a:pt x="4" y="1"/>
                    <a:pt x="4" y="2"/>
                  </a:cubicBezTo>
                  <a:cubicBezTo>
                    <a:pt x="4" y="6"/>
                    <a:pt x="4" y="6"/>
                    <a:pt x="4" y="6"/>
                  </a:cubicBezTo>
                  <a:cubicBezTo>
                    <a:pt x="4" y="7"/>
                    <a:pt x="3" y="8"/>
                    <a:pt x="2"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70" name="Freeform 11"/>
            <p:cNvSpPr>
              <a:spLocks/>
            </p:cNvSpPr>
            <p:nvPr/>
          </p:nvSpPr>
          <p:spPr bwMode="auto">
            <a:xfrm>
              <a:off x="6340475" y="1652588"/>
              <a:ext cx="26988" cy="26988"/>
            </a:xfrm>
            <a:custGeom>
              <a:avLst/>
              <a:gdLst>
                <a:gd name="T0" fmla="*/ 2 w 7"/>
                <a:gd name="T1" fmla="*/ 7 h 7"/>
                <a:gd name="T2" fmla="*/ 1 w 7"/>
                <a:gd name="T3" fmla="*/ 6 h 7"/>
                <a:gd name="T4" fmla="*/ 1 w 7"/>
                <a:gd name="T5" fmla="*/ 3 h 7"/>
                <a:gd name="T6" fmla="*/ 4 w 7"/>
                <a:gd name="T7" fmla="*/ 0 h 7"/>
                <a:gd name="T8" fmla="*/ 7 w 7"/>
                <a:gd name="T9" fmla="*/ 0 h 7"/>
                <a:gd name="T10" fmla="*/ 7 w 7"/>
                <a:gd name="T11" fmla="*/ 3 h 7"/>
                <a:gd name="T12" fmla="*/ 4 w 7"/>
                <a:gd name="T13" fmla="*/ 6 h 7"/>
                <a:gd name="T14" fmla="*/ 2 w 7"/>
                <a:gd name="T15" fmla="*/ 7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 h="7">
                  <a:moveTo>
                    <a:pt x="2" y="7"/>
                  </a:moveTo>
                  <a:cubicBezTo>
                    <a:pt x="2" y="7"/>
                    <a:pt x="1" y="6"/>
                    <a:pt x="1" y="6"/>
                  </a:cubicBezTo>
                  <a:cubicBezTo>
                    <a:pt x="0" y="5"/>
                    <a:pt x="0" y="4"/>
                    <a:pt x="1" y="3"/>
                  </a:cubicBezTo>
                  <a:cubicBezTo>
                    <a:pt x="4" y="0"/>
                    <a:pt x="4" y="0"/>
                    <a:pt x="4" y="0"/>
                  </a:cubicBezTo>
                  <a:cubicBezTo>
                    <a:pt x="5" y="0"/>
                    <a:pt x="6" y="0"/>
                    <a:pt x="7" y="0"/>
                  </a:cubicBezTo>
                  <a:cubicBezTo>
                    <a:pt x="7" y="1"/>
                    <a:pt x="7" y="2"/>
                    <a:pt x="7" y="3"/>
                  </a:cubicBezTo>
                  <a:cubicBezTo>
                    <a:pt x="4" y="6"/>
                    <a:pt x="4" y="6"/>
                    <a:pt x="4" y="6"/>
                  </a:cubicBezTo>
                  <a:cubicBezTo>
                    <a:pt x="3" y="6"/>
                    <a:pt x="3" y="7"/>
                    <a:pt x="2"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71" name="Freeform 12"/>
            <p:cNvSpPr>
              <a:spLocks/>
            </p:cNvSpPr>
            <p:nvPr/>
          </p:nvSpPr>
          <p:spPr bwMode="auto">
            <a:xfrm>
              <a:off x="6383338" y="1762125"/>
              <a:ext cx="31750" cy="14288"/>
            </a:xfrm>
            <a:custGeom>
              <a:avLst/>
              <a:gdLst>
                <a:gd name="T0" fmla="*/ 6 w 8"/>
                <a:gd name="T1" fmla="*/ 4 h 4"/>
                <a:gd name="T2" fmla="*/ 2 w 8"/>
                <a:gd name="T3" fmla="*/ 4 h 4"/>
                <a:gd name="T4" fmla="*/ 0 w 8"/>
                <a:gd name="T5" fmla="*/ 2 h 4"/>
                <a:gd name="T6" fmla="*/ 2 w 8"/>
                <a:gd name="T7" fmla="*/ 0 h 4"/>
                <a:gd name="T8" fmla="*/ 6 w 8"/>
                <a:gd name="T9" fmla="*/ 0 h 4"/>
                <a:gd name="T10" fmla="*/ 8 w 8"/>
                <a:gd name="T11" fmla="*/ 2 h 4"/>
                <a:gd name="T12" fmla="*/ 6 w 8"/>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8" h="4">
                  <a:moveTo>
                    <a:pt x="6" y="4"/>
                  </a:moveTo>
                  <a:cubicBezTo>
                    <a:pt x="2" y="4"/>
                    <a:pt x="2" y="4"/>
                    <a:pt x="2" y="4"/>
                  </a:cubicBezTo>
                  <a:cubicBezTo>
                    <a:pt x="1" y="4"/>
                    <a:pt x="0" y="3"/>
                    <a:pt x="0" y="2"/>
                  </a:cubicBezTo>
                  <a:cubicBezTo>
                    <a:pt x="0" y="1"/>
                    <a:pt x="1" y="0"/>
                    <a:pt x="2" y="0"/>
                  </a:cubicBezTo>
                  <a:cubicBezTo>
                    <a:pt x="6" y="0"/>
                    <a:pt x="6" y="0"/>
                    <a:pt x="6" y="0"/>
                  </a:cubicBezTo>
                  <a:cubicBezTo>
                    <a:pt x="7" y="0"/>
                    <a:pt x="8" y="1"/>
                    <a:pt x="8" y="2"/>
                  </a:cubicBezTo>
                  <a:cubicBezTo>
                    <a:pt x="8" y="3"/>
                    <a:pt x="7" y="4"/>
                    <a:pt x="6"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72" name="Freeform 13"/>
            <p:cNvSpPr>
              <a:spLocks/>
            </p:cNvSpPr>
            <p:nvPr/>
          </p:nvSpPr>
          <p:spPr bwMode="auto">
            <a:xfrm>
              <a:off x="6340475" y="1857375"/>
              <a:ext cx="26988" cy="28575"/>
            </a:xfrm>
            <a:custGeom>
              <a:avLst/>
              <a:gdLst>
                <a:gd name="T0" fmla="*/ 5 w 7"/>
                <a:gd name="T1" fmla="*/ 7 h 7"/>
                <a:gd name="T2" fmla="*/ 4 w 7"/>
                <a:gd name="T3" fmla="*/ 7 h 7"/>
                <a:gd name="T4" fmla="*/ 1 w 7"/>
                <a:gd name="T5" fmla="*/ 4 h 7"/>
                <a:gd name="T6" fmla="*/ 1 w 7"/>
                <a:gd name="T7" fmla="*/ 1 h 7"/>
                <a:gd name="T8" fmla="*/ 4 w 7"/>
                <a:gd name="T9" fmla="*/ 1 h 7"/>
                <a:gd name="T10" fmla="*/ 7 w 7"/>
                <a:gd name="T11" fmla="*/ 4 h 7"/>
                <a:gd name="T12" fmla="*/ 7 w 7"/>
                <a:gd name="T13" fmla="*/ 7 h 7"/>
                <a:gd name="T14" fmla="*/ 5 w 7"/>
                <a:gd name="T15" fmla="*/ 7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 h="7">
                  <a:moveTo>
                    <a:pt x="5" y="7"/>
                  </a:moveTo>
                  <a:cubicBezTo>
                    <a:pt x="5" y="7"/>
                    <a:pt x="4" y="7"/>
                    <a:pt x="4" y="7"/>
                  </a:cubicBezTo>
                  <a:cubicBezTo>
                    <a:pt x="1" y="4"/>
                    <a:pt x="1" y="4"/>
                    <a:pt x="1" y="4"/>
                  </a:cubicBezTo>
                  <a:cubicBezTo>
                    <a:pt x="0" y="3"/>
                    <a:pt x="0" y="2"/>
                    <a:pt x="1" y="1"/>
                  </a:cubicBezTo>
                  <a:cubicBezTo>
                    <a:pt x="2" y="0"/>
                    <a:pt x="3" y="0"/>
                    <a:pt x="4" y="1"/>
                  </a:cubicBezTo>
                  <a:cubicBezTo>
                    <a:pt x="7" y="4"/>
                    <a:pt x="7" y="4"/>
                    <a:pt x="7" y="4"/>
                  </a:cubicBezTo>
                  <a:cubicBezTo>
                    <a:pt x="7" y="5"/>
                    <a:pt x="7" y="6"/>
                    <a:pt x="7" y="7"/>
                  </a:cubicBezTo>
                  <a:cubicBezTo>
                    <a:pt x="6" y="7"/>
                    <a:pt x="6" y="7"/>
                    <a:pt x="5"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73" name="Freeform 14"/>
            <p:cNvSpPr>
              <a:spLocks/>
            </p:cNvSpPr>
            <p:nvPr/>
          </p:nvSpPr>
          <p:spPr bwMode="auto">
            <a:xfrm>
              <a:off x="6135688" y="1652588"/>
              <a:ext cx="26988" cy="26988"/>
            </a:xfrm>
            <a:custGeom>
              <a:avLst/>
              <a:gdLst>
                <a:gd name="T0" fmla="*/ 5 w 7"/>
                <a:gd name="T1" fmla="*/ 7 h 7"/>
                <a:gd name="T2" fmla="*/ 3 w 7"/>
                <a:gd name="T3" fmla="*/ 6 h 7"/>
                <a:gd name="T4" fmla="*/ 0 w 7"/>
                <a:gd name="T5" fmla="*/ 3 h 7"/>
                <a:gd name="T6" fmla="*/ 0 w 7"/>
                <a:gd name="T7" fmla="*/ 0 h 7"/>
                <a:gd name="T8" fmla="*/ 3 w 7"/>
                <a:gd name="T9" fmla="*/ 0 h 7"/>
                <a:gd name="T10" fmla="*/ 6 w 7"/>
                <a:gd name="T11" fmla="*/ 3 h 7"/>
                <a:gd name="T12" fmla="*/ 6 w 7"/>
                <a:gd name="T13" fmla="*/ 6 h 7"/>
                <a:gd name="T14" fmla="*/ 5 w 7"/>
                <a:gd name="T15" fmla="*/ 7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 h="7">
                  <a:moveTo>
                    <a:pt x="5" y="7"/>
                  </a:moveTo>
                  <a:cubicBezTo>
                    <a:pt x="4" y="7"/>
                    <a:pt x="4" y="6"/>
                    <a:pt x="3" y="6"/>
                  </a:cubicBezTo>
                  <a:cubicBezTo>
                    <a:pt x="0" y="3"/>
                    <a:pt x="0" y="3"/>
                    <a:pt x="0" y="3"/>
                  </a:cubicBezTo>
                  <a:cubicBezTo>
                    <a:pt x="0" y="2"/>
                    <a:pt x="0" y="1"/>
                    <a:pt x="0" y="0"/>
                  </a:cubicBezTo>
                  <a:cubicBezTo>
                    <a:pt x="1" y="0"/>
                    <a:pt x="2" y="0"/>
                    <a:pt x="3" y="0"/>
                  </a:cubicBezTo>
                  <a:cubicBezTo>
                    <a:pt x="6" y="3"/>
                    <a:pt x="6" y="3"/>
                    <a:pt x="6" y="3"/>
                  </a:cubicBezTo>
                  <a:cubicBezTo>
                    <a:pt x="7" y="4"/>
                    <a:pt x="7" y="5"/>
                    <a:pt x="6" y="6"/>
                  </a:cubicBezTo>
                  <a:cubicBezTo>
                    <a:pt x="6" y="6"/>
                    <a:pt x="5" y="7"/>
                    <a:pt x="5"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74" name="Freeform 15"/>
            <p:cNvSpPr>
              <a:spLocks/>
            </p:cNvSpPr>
            <p:nvPr/>
          </p:nvSpPr>
          <p:spPr bwMode="auto">
            <a:xfrm>
              <a:off x="6089650" y="1762125"/>
              <a:ext cx="30163" cy="14288"/>
            </a:xfrm>
            <a:custGeom>
              <a:avLst/>
              <a:gdLst>
                <a:gd name="T0" fmla="*/ 6 w 8"/>
                <a:gd name="T1" fmla="*/ 4 h 4"/>
                <a:gd name="T2" fmla="*/ 2 w 8"/>
                <a:gd name="T3" fmla="*/ 4 h 4"/>
                <a:gd name="T4" fmla="*/ 0 w 8"/>
                <a:gd name="T5" fmla="*/ 2 h 4"/>
                <a:gd name="T6" fmla="*/ 2 w 8"/>
                <a:gd name="T7" fmla="*/ 0 h 4"/>
                <a:gd name="T8" fmla="*/ 6 w 8"/>
                <a:gd name="T9" fmla="*/ 0 h 4"/>
                <a:gd name="T10" fmla="*/ 8 w 8"/>
                <a:gd name="T11" fmla="*/ 2 h 4"/>
                <a:gd name="T12" fmla="*/ 6 w 8"/>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8" h="4">
                  <a:moveTo>
                    <a:pt x="6" y="4"/>
                  </a:moveTo>
                  <a:cubicBezTo>
                    <a:pt x="2" y="4"/>
                    <a:pt x="2" y="4"/>
                    <a:pt x="2" y="4"/>
                  </a:cubicBezTo>
                  <a:cubicBezTo>
                    <a:pt x="1" y="4"/>
                    <a:pt x="0" y="3"/>
                    <a:pt x="0" y="2"/>
                  </a:cubicBezTo>
                  <a:cubicBezTo>
                    <a:pt x="0" y="1"/>
                    <a:pt x="1" y="0"/>
                    <a:pt x="2" y="0"/>
                  </a:cubicBezTo>
                  <a:cubicBezTo>
                    <a:pt x="6" y="0"/>
                    <a:pt x="6" y="0"/>
                    <a:pt x="6" y="0"/>
                  </a:cubicBezTo>
                  <a:cubicBezTo>
                    <a:pt x="7" y="0"/>
                    <a:pt x="8" y="1"/>
                    <a:pt x="8" y="2"/>
                  </a:cubicBezTo>
                  <a:cubicBezTo>
                    <a:pt x="8" y="3"/>
                    <a:pt x="7" y="4"/>
                    <a:pt x="6"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75" name="Freeform 16"/>
            <p:cNvSpPr>
              <a:spLocks/>
            </p:cNvSpPr>
            <p:nvPr/>
          </p:nvSpPr>
          <p:spPr bwMode="auto">
            <a:xfrm>
              <a:off x="6135688" y="1857375"/>
              <a:ext cx="26988" cy="28575"/>
            </a:xfrm>
            <a:custGeom>
              <a:avLst/>
              <a:gdLst>
                <a:gd name="T0" fmla="*/ 2 w 7"/>
                <a:gd name="T1" fmla="*/ 7 h 7"/>
                <a:gd name="T2" fmla="*/ 0 w 7"/>
                <a:gd name="T3" fmla="*/ 7 h 7"/>
                <a:gd name="T4" fmla="*/ 0 w 7"/>
                <a:gd name="T5" fmla="*/ 4 h 7"/>
                <a:gd name="T6" fmla="*/ 3 w 7"/>
                <a:gd name="T7" fmla="*/ 1 h 7"/>
                <a:gd name="T8" fmla="*/ 6 w 7"/>
                <a:gd name="T9" fmla="*/ 1 h 7"/>
                <a:gd name="T10" fmla="*/ 6 w 7"/>
                <a:gd name="T11" fmla="*/ 4 h 7"/>
                <a:gd name="T12" fmla="*/ 3 w 7"/>
                <a:gd name="T13" fmla="*/ 7 h 7"/>
                <a:gd name="T14" fmla="*/ 2 w 7"/>
                <a:gd name="T15" fmla="*/ 7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 h="7">
                  <a:moveTo>
                    <a:pt x="2" y="7"/>
                  </a:moveTo>
                  <a:cubicBezTo>
                    <a:pt x="1" y="7"/>
                    <a:pt x="1" y="7"/>
                    <a:pt x="0" y="7"/>
                  </a:cubicBezTo>
                  <a:cubicBezTo>
                    <a:pt x="0" y="6"/>
                    <a:pt x="0" y="5"/>
                    <a:pt x="0" y="4"/>
                  </a:cubicBezTo>
                  <a:cubicBezTo>
                    <a:pt x="3" y="1"/>
                    <a:pt x="3" y="1"/>
                    <a:pt x="3" y="1"/>
                  </a:cubicBezTo>
                  <a:cubicBezTo>
                    <a:pt x="4" y="0"/>
                    <a:pt x="5" y="0"/>
                    <a:pt x="6" y="1"/>
                  </a:cubicBezTo>
                  <a:cubicBezTo>
                    <a:pt x="7" y="2"/>
                    <a:pt x="7" y="3"/>
                    <a:pt x="6" y="4"/>
                  </a:cubicBezTo>
                  <a:cubicBezTo>
                    <a:pt x="3" y="7"/>
                    <a:pt x="3" y="7"/>
                    <a:pt x="3" y="7"/>
                  </a:cubicBezTo>
                  <a:cubicBezTo>
                    <a:pt x="3" y="7"/>
                    <a:pt x="2" y="7"/>
                    <a:pt x="2"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76" name="Freeform 17"/>
            <p:cNvSpPr>
              <a:spLocks noEditPoints="1"/>
            </p:cNvSpPr>
            <p:nvPr/>
          </p:nvSpPr>
          <p:spPr bwMode="auto">
            <a:xfrm>
              <a:off x="6181725" y="1762125"/>
              <a:ext cx="139700" cy="115888"/>
            </a:xfrm>
            <a:custGeom>
              <a:avLst/>
              <a:gdLst>
                <a:gd name="T0" fmla="*/ 20 w 36"/>
                <a:gd name="T1" fmla="*/ 30 h 30"/>
                <a:gd name="T2" fmla="*/ 20 w 36"/>
                <a:gd name="T3" fmla="*/ 30 h 30"/>
                <a:gd name="T4" fmla="*/ 18 w 36"/>
                <a:gd name="T5" fmla="*/ 28 h 30"/>
                <a:gd name="T6" fmla="*/ 16 w 36"/>
                <a:gd name="T7" fmla="*/ 30 h 30"/>
                <a:gd name="T8" fmla="*/ 14 w 36"/>
                <a:gd name="T9" fmla="*/ 28 h 30"/>
                <a:gd name="T10" fmla="*/ 10 w 36"/>
                <a:gd name="T11" fmla="*/ 12 h 30"/>
                <a:gd name="T12" fmla="*/ 6 w 36"/>
                <a:gd name="T13" fmla="*/ 12 h 30"/>
                <a:gd name="T14" fmla="*/ 0 w 36"/>
                <a:gd name="T15" fmla="*/ 6 h 30"/>
                <a:gd name="T16" fmla="*/ 6 w 36"/>
                <a:gd name="T17" fmla="*/ 0 h 30"/>
                <a:gd name="T18" fmla="*/ 13 w 36"/>
                <a:gd name="T19" fmla="*/ 5 h 30"/>
                <a:gd name="T20" fmla="*/ 13 w 36"/>
                <a:gd name="T21" fmla="*/ 8 h 30"/>
                <a:gd name="T22" fmla="*/ 23 w 36"/>
                <a:gd name="T23" fmla="*/ 8 h 30"/>
                <a:gd name="T24" fmla="*/ 23 w 36"/>
                <a:gd name="T25" fmla="*/ 5 h 30"/>
                <a:gd name="T26" fmla="*/ 30 w 36"/>
                <a:gd name="T27" fmla="*/ 0 h 30"/>
                <a:gd name="T28" fmla="*/ 36 w 36"/>
                <a:gd name="T29" fmla="*/ 6 h 30"/>
                <a:gd name="T30" fmla="*/ 30 w 36"/>
                <a:gd name="T31" fmla="*/ 12 h 30"/>
                <a:gd name="T32" fmla="*/ 26 w 36"/>
                <a:gd name="T33" fmla="*/ 12 h 30"/>
                <a:gd name="T34" fmla="*/ 22 w 36"/>
                <a:gd name="T35" fmla="*/ 28 h 30"/>
                <a:gd name="T36" fmla="*/ 20 w 36"/>
                <a:gd name="T37" fmla="*/ 30 h 30"/>
                <a:gd name="T38" fmla="*/ 14 w 36"/>
                <a:gd name="T39" fmla="*/ 12 h 30"/>
                <a:gd name="T40" fmla="*/ 18 w 36"/>
                <a:gd name="T41" fmla="*/ 28 h 30"/>
                <a:gd name="T42" fmla="*/ 18 w 36"/>
                <a:gd name="T43" fmla="*/ 28 h 30"/>
                <a:gd name="T44" fmla="*/ 18 w 36"/>
                <a:gd name="T45" fmla="*/ 28 h 30"/>
                <a:gd name="T46" fmla="*/ 22 w 36"/>
                <a:gd name="T47" fmla="*/ 12 h 30"/>
                <a:gd name="T48" fmla="*/ 14 w 36"/>
                <a:gd name="T49" fmla="*/ 12 h 30"/>
                <a:gd name="T50" fmla="*/ 27 w 36"/>
                <a:gd name="T51" fmla="*/ 8 h 30"/>
                <a:gd name="T52" fmla="*/ 30 w 36"/>
                <a:gd name="T53" fmla="*/ 8 h 30"/>
                <a:gd name="T54" fmla="*/ 32 w 36"/>
                <a:gd name="T55" fmla="*/ 6 h 30"/>
                <a:gd name="T56" fmla="*/ 30 w 36"/>
                <a:gd name="T57" fmla="*/ 4 h 30"/>
                <a:gd name="T58" fmla="*/ 27 w 36"/>
                <a:gd name="T59" fmla="*/ 6 h 30"/>
                <a:gd name="T60" fmla="*/ 27 w 36"/>
                <a:gd name="T61" fmla="*/ 8 h 30"/>
                <a:gd name="T62" fmla="*/ 6 w 36"/>
                <a:gd name="T63" fmla="*/ 4 h 30"/>
                <a:gd name="T64" fmla="*/ 4 w 36"/>
                <a:gd name="T65" fmla="*/ 6 h 30"/>
                <a:gd name="T66" fmla="*/ 6 w 36"/>
                <a:gd name="T67" fmla="*/ 8 h 30"/>
                <a:gd name="T68" fmla="*/ 9 w 36"/>
                <a:gd name="T69" fmla="*/ 8 h 30"/>
                <a:gd name="T70" fmla="*/ 9 w 36"/>
                <a:gd name="T71" fmla="*/ 6 h 30"/>
                <a:gd name="T72" fmla="*/ 6 w 36"/>
                <a:gd name="T73" fmla="*/ 4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6" h="30">
                  <a:moveTo>
                    <a:pt x="20" y="30"/>
                  </a:moveTo>
                  <a:cubicBezTo>
                    <a:pt x="20" y="30"/>
                    <a:pt x="20" y="30"/>
                    <a:pt x="20" y="30"/>
                  </a:cubicBezTo>
                  <a:cubicBezTo>
                    <a:pt x="19" y="30"/>
                    <a:pt x="18" y="29"/>
                    <a:pt x="18" y="28"/>
                  </a:cubicBezTo>
                  <a:cubicBezTo>
                    <a:pt x="18" y="29"/>
                    <a:pt x="17" y="30"/>
                    <a:pt x="16" y="30"/>
                  </a:cubicBezTo>
                  <a:cubicBezTo>
                    <a:pt x="15" y="30"/>
                    <a:pt x="14" y="30"/>
                    <a:pt x="14" y="28"/>
                  </a:cubicBezTo>
                  <a:cubicBezTo>
                    <a:pt x="10" y="12"/>
                    <a:pt x="10" y="12"/>
                    <a:pt x="10" y="12"/>
                  </a:cubicBezTo>
                  <a:cubicBezTo>
                    <a:pt x="6" y="12"/>
                    <a:pt x="6" y="12"/>
                    <a:pt x="6" y="12"/>
                  </a:cubicBezTo>
                  <a:cubicBezTo>
                    <a:pt x="3" y="12"/>
                    <a:pt x="0" y="9"/>
                    <a:pt x="0" y="6"/>
                  </a:cubicBezTo>
                  <a:cubicBezTo>
                    <a:pt x="0" y="3"/>
                    <a:pt x="3" y="0"/>
                    <a:pt x="6" y="0"/>
                  </a:cubicBezTo>
                  <a:cubicBezTo>
                    <a:pt x="9" y="0"/>
                    <a:pt x="12" y="2"/>
                    <a:pt x="13" y="5"/>
                  </a:cubicBezTo>
                  <a:cubicBezTo>
                    <a:pt x="13" y="8"/>
                    <a:pt x="13" y="8"/>
                    <a:pt x="13" y="8"/>
                  </a:cubicBezTo>
                  <a:cubicBezTo>
                    <a:pt x="23" y="8"/>
                    <a:pt x="23" y="8"/>
                    <a:pt x="23" y="8"/>
                  </a:cubicBezTo>
                  <a:cubicBezTo>
                    <a:pt x="23" y="5"/>
                    <a:pt x="23" y="5"/>
                    <a:pt x="23" y="5"/>
                  </a:cubicBezTo>
                  <a:cubicBezTo>
                    <a:pt x="24" y="2"/>
                    <a:pt x="27" y="0"/>
                    <a:pt x="30" y="0"/>
                  </a:cubicBezTo>
                  <a:cubicBezTo>
                    <a:pt x="33" y="0"/>
                    <a:pt x="36" y="3"/>
                    <a:pt x="36" y="6"/>
                  </a:cubicBezTo>
                  <a:cubicBezTo>
                    <a:pt x="36" y="9"/>
                    <a:pt x="33" y="12"/>
                    <a:pt x="30" y="12"/>
                  </a:cubicBezTo>
                  <a:cubicBezTo>
                    <a:pt x="26" y="12"/>
                    <a:pt x="26" y="12"/>
                    <a:pt x="26" y="12"/>
                  </a:cubicBezTo>
                  <a:cubicBezTo>
                    <a:pt x="22" y="28"/>
                    <a:pt x="22" y="28"/>
                    <a:pt x="22" y="28"/>
                  </a:cubicBezTo>
                  <a:cubicBezTo>
                    <a:pt x="22" y="29"/>
                    <a:pt x="21" y="30"/>
                    <a:pt x="20" y="30"/>
                  </a:cubicBezTo>
                  <a:close/>
                  <a:moveTo>
                    <a:pt x="14" y="12"/>
                  </a:moveTo>
                  <a:cubicBezTo>
                    <a:pt x="18" y="28"/>
                    <a:pt x="18" y="28"/>
                    <a:pt x="18" y="28"/>
                  </a:cubicBezTo>
                  <a:cubicBezTo>
                    <a:pt x="18" y="28"/>
                    <a:pt x="18" y="28"/>
                    <a:pt x="18" y="28"/>
                  </a:cubicBezTo>
                  <a:cubicBezTo>
                    <a:pt x="18" y="28"/>
                    <a:pt x="18" y="28"/>
                    <a:pt x="18" y="28"/>
                  </a:cubicBezTo>
                  <a:cubicBezTo>
                    <a:pt x="22" y="12"/>
                    <a:pt x="22" y="12"/>
                    <a:pt x="22" y="12"/>
                  </a:cubicBezTo>
                  <a:lnTo>
                    <a:pt x="14" y="12"/>
                  </a:lnTo>
                  <a:close/>
                  <a:moveTo>
                    <a:pt x="27" y="8"/>
                  </a:moveTo>
                  <a:cubicBezTo>
                    <a:pt x="30" y="8"/>
                    <a:pt x="30" y="8"/>
                    <a:pt x="30" y="8"/>
                  </a:cubicBezTo>
                  <a:cubicBezTo>
                    <a:pt x="31" y="8"/>
                    <a:pt x="32" y="7"/>
                    <a:pt x="32" y="6"/>
                  </a:cubicBezTo>
                  <a:cubicBezTo>
                    <a:pt x="32" y="5"/>
                    <a:pt x="31" y="4"/>
                    <a:pt x="30" y="4"/>
                  </a:cubicBezTo>
                  <a:cubicBezTo>
                    <a:pt x="29" y="4"/>
                    <a:pt x="27" y="5"/>
                    <a:pt x="27" y="6"/>
                  </a:cubicBezTo>
                  <a:lnTo>
                    <a:pt x="27" y="8"/>
                  </a:lnTo>
                  <a:close/>
                  <a:moveTo>
                    <a:pt x="6" y="4"/>
                  </a:moveTo>
                  <a:cubicBezTo>
                    <a:pt x="5" y="4"/>
                    <a:pt x="4" y="5"/>
                    <a:pt x="4" y="6"/>
                  </a:cubicBezTo>
                  <a:cubicBezTo>
                    <a:pt x="4" y="7"/>
                    <a:pt x="5" y="8"/>
                    <a:pt x="6" y="8"/>
                  </a:cubicBezTo>
                  <a:cubicBezTo>
                    <a:pt x="9" y="8"/>
                    <a:pt x="9" y="8"/>
                    <a:pt x="9" y="8"/>
                  </a:cubicBezTo>
                  <a:cubicBezTo>
                    <a:pt x="9" y="6"/>
                    <a:pt x="9" y="6"/>
                    <a:pt x="9" y="6"/>
                  </a:cubicBezTo>
                  <a:cubicBezTo>
                    <a:pt x="9" y="5"/>
                    <a:pt x="7" y="4"/>
                    <a:pt x="6"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grpSp>
      <p:sp>
        <p:nvSpPr>
          <p:cNvPr id="162" name="TextBox 161"/>
          <p:cNvSpPr txBox="1"/>
          <p:nvPr/>
        </p:nvSpPr>
        <p:spPr>
          <a:xfrm>
            <a:off x="2793597" y="2712765"/>
            <a:ext cx="1661836" cy="461665"/>
          </a:xfrm>
          <a:prstGeom prst="rect">
            <a:avLst/>
          </a:prstGeom>
          <a:noFill/>
          <a:ln w="6350">
            <a:noFill/>
            <a:prstDash val="dash"/>
          </a:ln>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effectLst/>
                <a:uLnTx/>
                <a:uFillTx/>
                <a:ea typeface="+mn-ea"/>
                <a:cs typeface="+mn-cs"/>
              </a:rPr>
              <a:t>Lorem </a:t>
            </a:r>
            <a:r>
              <a:rPr kumimoji="0" lang="en-US" sz="1000" b="0" i="0" u="none" strike="noStrike" kern="1200" cap="none" spc="0" normalizeH="0" baseline="0" noProof="0" dirty="0" err="1">
                <a:ln>
                  <a:noFill/>
                </a:ln>
                <a:effectLst/>
                <a:uLnTx/>
                <a:uFillTx/>
                <a:ea typeface="+mn-ea"/>
                <a:cs typeface="+mn-cs"/>
              </a:rPr>
              <a:t>Ipsum</a:t>
            </a:r>
            <a:r>
              <a:rPr kumimoji="0" lang="en-US" sz="1000" b="0" i="0" u="none" strike="noStrike" kern="1200" cap="none" spc="0" normalizeH="0" baseline="0" noProof="0" dirty="0">
                <a:ln>
                  <a:noFill/>
                </a:ln>
                <a:effectLst/>
                <a:uLnTx/>
                <a:uFillTx/>
                <a:ea typeface="+mn-ea"/>
                <a:cs typeface="+mn-cs"/>
              </a:rPr>
              <a:t> is simply dummy text of the printing and typesetting industry.</a:t>
            </a:r>
          </a:p>
        </p:txBody>
      </p:sp>
      <p:grpSp>
        <p:nvGrpSpPr>
          <p:cNvPr id="76" name="Group 75"/>
          <p:cNvGrpSpPr/>
          <p:nvPr/>
        </p:nvGrpSpPr>
        <p:grpSpPr>
          <a:xfrm>
            <a:off x="6627049" y="2747037"/>
            <a:ext cx="3833219" cy="600016"/>
            <a:chOff x="4834319" y="3090238"/>
            <a:chExt cx="3833219" cy="600016"/>
          </a:xfrm>
        </p:grpSpPr>
        <p:grpSp>
          <p:nvGrpSpPr>
            <p:cNvPr id="97" name="Group 96"/>
            <p:cNvGrpSpPr/>
            <p:nvPr/>
          </p:nvGrpSpPr>
          <p:grpSpPr>
            <a:xfrm>
              <a:off x="4834319" y="3097859"/>
              <a:ext cx="904101" cy="584775"/>
              <a:chOff x="6206913" y="761576"/>
              <a:chExt cx="904101" cy="584775"/>
            </a:xfrm>
          </p:grpSpPr>
          <p:sp>
            <p:nvSpPr>
              <p:cNvPr id="155" name="TextBox 154"/>
              <p:cNvSpPr txBox="1"/>
              <p:nvPr/>
            </p:nvSpPr>
            <p:spPr>
              <a:xfrm>
                <a:off x="6261521" y="761576"/>
                <a:ext cx="794884" cy="153888"/>
              </a:xfrm>
              <a:prstGeom prst="rect">
                <a:avLst/>
              </a:prstGeom>
              <a:noFill/>
              <a:ln w="6350">
                <a:noFill/>
                <a:prstDash val="dash"/>
              </a:ln>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effectLst/>
                    <a:uLnTx/>
                    <a:uFillTx/>
                    <a:ea typeface="+mn-ea"/>
                    <a:cs typeface="+mn-cs"/>
                  </a:rPr>
                  <a:t>ORDERS</a:t>
                </a:r>
              </a:p>
            </p:txBody>
          </p:sp>
          <p:sp>
            <p:nvSpPr>
              <p:cNvPr id="156" name="TextBox 155"/>
              <p:cNvSpPr txBox="1"/>
              <p:nvPr/>
            </p:nvSpPr>
            <p:spPr>
              <a:xfrm>
                <a:off x="6206913" y="915464"/>
                <a:ext cx="904101" cy="430887"/>
              </a:xfrm>
              <a:prstGeom prst="rect">
                <a:avLst/>
              </a:prstGeom>
              <a:noFill/>
              <a:ln w="6350">
                <a:noFill/>
                <a:prstDash val="dash"/>
              </a:ln>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effectLst/>
                    <a:uLnTx/>
                    <a:uFillTx/>
                    <a:ea typeface="+mn-ea"/>
                    <a:cs typeface="+mn-cs"/>
                  </a:rPr>
                  <a:t>2.100</a:t>
                </a:r>
              </a:p>
            </p:txBody>
          </p:sp>
        </p:grpSp>
        <p:grpSp>
          <p:nvGrpSpPr>
            <p:cNvPr id="98" name="Group 97"/>
            <p:cNvGrpSpPr/>
            <p:nvPr/>
          </p:nvGrpSpPr>
          <p:grpSpPr>
            <a:xfrm>
              <a:off x="6156836" y="3097859"/>
              <a:ext cx="1046144" cy="584775"/>
              <a:chOff x="6135892" y="761576"/>
              <a:chExt cx="1046144" cy="584775"/>
            </a:xfrm>
          </p:grpSpPr>
          <p:sp>
            <p:nvSpPr>
              <p:cNvPr id="153" name="TextBox 152"/>
              <p:cNvSpPr txBox="1"/>
              <p:nvPr/>
            </p:nvSpPr>
            <p:spPr>
              <a:xfrm>
                <a:off x="6261521" y="761576"/>
                <a:ext cx="794884" cy="153888"/>
              </a:xfrm>
              <a:prstGeom prst="rect">
                <a:avLst/>
              </a:prstGeom>
              <a:noFill/>
              <a:ln w="6350">
                <a:noFill/>
                <a:prstDash val="dash"/>
              </a:ln>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E2583D"/>
                    </a:solidFill>
                    <a:effectLst/>
                    <a:uLnTx/>
                    <a:uFillTx/>
                    <a:ea typeface="+mn-ea"/>
                    <a:cs typeface="+mn-cs"/>
                  </a:rPr>
                  <a:t>EARNINGS</a:t>
                </a:r>
              </a:p>
            </p:txBody>
          </p:sp>
          <p:sp>
            <p:nvSpPr>
              <p:cNvPr id="154" name="TextBox 153"/>
              <p:cNvSpPr txBox="1"/>
              <p:nvPr/>
            </p:nvSpPr>
            <p:spPr>
              <a:xfrm>
                <a:off x="6135892" y="915464"/>
                <a:ext cx="1046144" cy="430887"/>
              </a:xfrm>
              <a:prstGeom prst="rect">
                <a:avLst/>
              </a:prstGeom>
              <a:noFill/>
              <a:ln w="6350">
                <a:noFill/>
                <a:prstDash val="dash"/>
              </a:ln>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srgbClr val="E2583D"/>
                    </a:solidFill>
                    <a:effectLst/>
                    <a:uLnTx/>
                    <a:uFillTx/>
                    <a:ea typeface="+mn-ea"/>
                    <a:cs typeface="+mn-cs"/>
                  </a:rPr>
                  <a:t>$1.500</a:t>
                </a:r>
              </a:p>
            </p:txBody>
          </p:sp>
        </p:grpSp>
        <p:grpSp>
          <p:nvGrpSpPr>
            <p:cNvPr id="102" name="Group 101"/>
            <p:cNvGrpSpPr/>
            <p:nvPr/>
          </p:nvGrpSpPr>
          <p:grpSpPr>
            <a:xfrm>
              <a:off x="7621394" y="3097859"/>
              <a:ext cx="1046144" cy="584775"/>
              <a:chOff x="6135892" y="761576"/>
              <a:chExt cx="1046144" cy="584775"/>
            </a:xfrm>
          </p:grpSpPr>
          <p:sp>
            <p:nvSpPr>
              <p:cNvPr id="108" name="TextBox 107"/>
              <p:cNvSpPr txBox="1"/>
              <p:nvPr/>
            </p:nvSpPr>
            <p:spPr>
              <a:xfrm>
                <a:off x="6261521" y="761576"/>
                <a:ext cx="794884" cy="153888"/>
              </a:xfrm>
              <a:prstGeom prst="rect">
                <a:avLst/>
              </a:prstGeom>
              <a:noFill/>
              <a:ln w="6350">
                <a:noFill/>
                <a:prstDash val="dash"/>
              </a:ln>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effectLst/>
                    <a:uLnTx/>
                    <a:uFillTx/>
                    <a:ea typeface="+mn-ea"/>
                    <a:cs typeface="+mn-cs"/>
                  </a:rPr>
                  <a:t>SALES</a:t>
                </a:r>
              </a:p>
            </p:txBody>
          </p:sp>
          <p:sp>
            <p:nvSpPr>
              <p:cNvPr id="152" name="TextBox 151"/>
              <p:cNvSpPr txBox="1"/>
              <p:nvPr/>
            </p:nvSpPr>
            <p:spPr>
              <a:xfrm>
                <a:off x="6135892" y="915464"/>
                <a:ext cx="1046144" cy="430887"/>
              </a:xfrm>
              <a:prstGeom prst="rect">
                <a:avLst/>
              </a:prstGeom>
              <a:noFill/>
              <a:ln w="6350">
                <a:noFill/>
                <a:prstDash val="dash"/>
              </a:ln>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effectLst/>
                    <a:uLnTx/>
                    <a:uFillTx/>
                    <a:ea typeface="+mn-ea"/>
                    <a:cs typeface="+mn-cs"/>
                  </a:rPr>
                  <a:t>95.5%</a:t>
                </a:r>
              </a:p>
            </p:txBody>
          </p:sp>
        </p:grpSp>
        <p:cxnSp>
          <p:nvCxnSpPr>
            <p:cNvPr id="103" name="Straight Connector 102"/>
            <p:cNvCxnSpPr/>
            <p:nvPr/>
          </p:nvCxnSpPr>
          <p:spPr>
            <a:xfrm>
              <a:off x="5947628" y="3090238"/>
              <a:ext cx="0" cy="600016"/>
            </a:xfrm>
            <a:prstGeom prst="line">
              <a:avLst/>
            </a:prstGeom>
            <a:ln w="317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07" name="Straight Connector 106"/>
            <p:cNvCxnSpPr/>
            <p:nvPr/>
          </p:nvCxnSpPr>
          <p:spPr>
            <a:xfrm>
              <a:off x="7412188" y="3090238"/>
              <a:ext cx="0" cy="600016"/>
            </a:xfrm>
            <a:prstGeom prst="line">
              <a:avLst/>
            </a:prstGeom>
            <a:ln w="3175">
              <a:solidFill>
                <a:schemeClr val="bg2"/>
              </a:solidFill>
            </a:ln>
          </p:spPr>
          <p:style>
            <a:lnRef idx="1">
              <a:schemeClr val="accent1"/>
            </a:lnRef>
            <a:fillRef idx="0">
              <a:schemeClr val="accent1"/>
            </a:fillRef>
            <a:effectRef idx="0">
              <a:schemeClr val="accent1"/>
            </a:effectRef>
            <a:fontRef idx="minor">
              <a:schemeClr val="tx1"/>
            </a:fontRef>
          </p:style>
        </p:cxnSp>
      </p:grpSp>
      <p:grpSp>
        <p:nvGrpSpPr>
          <p:cNvPr id="77" name="Group 76"/>
          <p:cNvGrpSpPr/>
          <p:nvPr/>
        </p:nvGrpSpPr>
        <p:grpSpPr>
          <a:xfrm>
            <a:off x="6589857" y="1887257"/>
            <a:ext cx="3907602" cy="672586"/>
            <a:chOff x="4804598" y="2095628"/>
            <a:chExt cx="3907602" cy="672586"/>
          </a:xfrm>
        </p:grpSpPr>
        <p:sp>
          <p:nvSpPr>
            <p:cNvPr id="78" name="TextBox 77"/>
            <p:cNvSpPr txBox="1"/>
            <p:nvPr/>
          </p:nvSpPr>
          <p:spPr>
            <a:xfrm>
              <a:off x="4804598" y="2306549"/>
              <a:ext cx="3907602" cy="461665"/>
            </a:xfrm>
            <a:prstGeom prst="rect">
              <a:avLst/>
            </a:prstGeom>
            <a:noFill/>
            <a:ln w="6350">
              <a:noFill/>
              <a:prstDash val="dash"/>
            </a:ln>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effectLst/>
                  <a:uLnTx/>
                  <a:uFillTx/>
                  <a:ea typeface="+mn-ea"/>
                  <a:cs typeface="+mn-cs"/>
                </a:rPr>
                <a:t>Lorem </a:t>
              </a:r>
              <a:r>
                <a:rPr kumimoji="0" lang="en-US" sz="1000" b="0" i="0" u="none" strike="noStrike" kern="1200" cap="none" spc="0" normalizeH="0" baseline="0" noProof="0" dirty="0" err="1">
                  <a:ln>
                    <a:noFill/>
                  </a:ln>
                  <a:effectLst/>
                  <a:uLnTx/>
                  <a:uFillTx/>
                  <a:ea typeface="+mn-ea"/>
                  <a:cs typeface="+mn-cs"/>
                </a:rPr>
                <a:t>Ipsum</a:t>
              </a:r>
              <a:r>
                <a:rPr kumimoji="0" lang="en-US" sz="1000" b="0" i="0" u="none" strike="noStrike" kern="1200" cap="none" spc="0" normalizeH="0" baseline="0" noProof="0" dirty="0">
                  <a:ln>
                    <a:noFill/>
                  </a:ln>
                  <a:effectLst/>
                  <a:uLnTx/>
                  <a:uFillTx/>
                  <a:ea typeface="+mn-ea"/>
                  <a:cs typeface="+mn-cs"/>
                </a:rPr>
                <a:t> is simply dummy text of the printing and typesetting industry. Lorem </a:t>
              </a:r>
              <a:r>
                <a:rPr kumimoji="0" lang="en-US" sz="1000" b="0" i="0" u="none" strike="noStrike" kern="1200" cap="none" spc="0" normalizeH="0" baseline="0" noProof="0" dirty="0" err="1">
                  <a:ln>
                    <a:noFill/>
                  </a:ln>
                  <a:effectLst/>
                  <a:uLnTx/>
                  <a:uFillTx/>
                  <a:ea typeface="+mn-ea"/>
                  <a:cs typeface="+mn-cs"/>
                </a:rPr>
                <a:t>Ipsum</a:t>
              </a:r>
              <a:r>
                <a:rPr kumimoji="0" lang="en-US" sz="1000" b="0" i="0" u="none" strike="noStrike" kern="1200" cap="none" spc="0" normalizeH="0" baseline="0" noProof="0" dirty="0">
                  <a:ln>
                    <a:noFill/>
                  </a:ln>
                  <a:effectLst/>
                  <a:uLnTx/>
                  <a:uFillTx/>
                  <a:ea typeface="+mn-ea"/>
                  <a:cs typeface="+mn-cs"/>
                </a:rPr>
                <a:t> has been the industry's standard dummy text ever since the 1500s, when an unknown printer took a galley of type.</a:t>
              </a:r>
            </a:p>
          </p:txBody>
        </p:sp>
        <p:sp>
          <p:nvSpPr>
            <p:cNvPr id="79" name="TextBox 78"/>
            <p:cNvSpPr txBox="1"/>
            <p:nvPr/>
          </p:nvSpPr>
          <p:spPr>
            <a:xfrm>
              <a:off x="4804598" y="2095628"/>
              <a:ext cx="3907602" cy="184666"/>
            </a:xfrm>
            <a:prstGeom prst="rect">
              <a:avLst/>
            </a:prstGeom>
            <a:noFill/>
            <a:ln w="6350">
              <a:noFill/>
              <a:prstDash val="dash"/>
            </a:ln>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effectLst/>
                  <a:uLnTx/>
                  <a:uFillTx/>
                  <a:ea typeface="+mn-ea"/>
                  <a:cs typeface="+mn-cs"/>
                </a:rPr>
                <a:t>LOREM IPSUM</a:t>
              </a:r>
            </a:p>
          </p:txBody>
        </p:sp>
      </p:grpSp>
      <p:grpSp>
        <p:nvGrpSpPr>
          <p:cNvPr id="177" name="Group 176"/>
          <p:cNvGrpSpPr/>
          <p:nvPr/>
        </p:nvGrpSpPr>
        <p:grpSpPr>
          <a:xfrm>
            <a:off x="2292826" y="4653928"/>
            <a:ext cx="5088372" cy="1447407"/>
            <a:chOff x="507567" y="4653928"/>
            <a:chExt cx="5088372" cy="1447407"/>
          </a:xfrm>
        </p:grpSpPr>
        <p:sp>
          <p:nvSpPr>
            <p:cNvPr id="178" name="Oval 177"/>
            <p:cNvSpPr/>
            <p:nvPr/>
          </p:nvSpPr>
          <p:spPr>
            <a:xfrm>
              <a:off x="507567" y="4707202"/>
              <a:ext cx="86591" cy="86591"/>
            </a:xfrm>
            <a:prstGeom prst="ellipse">
              <a:avLst/>
            </a:prstGeom>
            <a:solidFill>
              <a:srgbClr val="E258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179" name="Oval 178"/>
            <p:cNvSpPr/>
            <p:nvPr/>
          </p:nvSpPr>
          <p:spPr>
            <a:xfrm>
              <a:off x="507567" y="5125292"/>
              <a:ext cx="86591" cy="86591"/>
            </a:xfrm>
            <a:prstGeom prst="ellipse">
              <a:avLst/>
            </a:prstGeom>
            <a:solidFill>
              <a:srgbClr val="AFABA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180" name="Oval 179"/>
            <p:cNvSpPr/>
            <p:nvPr/>
          </p:nvSpPr>
          <p:spPr>
            <a:xfrm>
              <a:off x="507567" y="5543382"/>
              <a:ext cx="86591" cy="86591"/>
            </a:xfrm>
            <a:prstGeom prst="ellipse">
              <a:avLst/>
            </a:prstGeom>
            <a:solidFill>
              <a:srgbClr val="78D2D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181" name="Oval 180"/>
            <p:cNvSpPr/>
            <p:nvPr/>
          </p:nvSpPr>
          <p:spPr>
            <a:xfrm>
              <a:off x="507567" y="5961472"/>
              <a:ext cx="86591" cy="86591"/>
            </a:xfrm>
            <a:prstGeom prst="ellipse">
              <a:avLst/>
            </a:prstGeom>
            <a:solidFill>
              <a:srgbClr val="3B393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grpSp>
          <p:nvGrpSpPr>
            <p:cNvPr id="182" name="Group 181"/>
            <p:cNvGrpSpPr/>
            <p:nvPr/>
          </p:nvGrpSpPr>
          <p:grpSpPr>
            <a:xfrm>
              <a:off x="4676775" y="4653928"/>
              <a:ext cx="919164" cy="1447407"/>
              <a:chOff x="4676774" y="4697470"/>
              <a:chExt cx="1014507" cy="1447407"/>
            </a:xfrm>
          </p:grpSpPr>
          <p:sp>
            <p:nvSpPr>
              <p:cNvPr id="187" name="Rectangle 186"/>
              <p:cNvSpPr/>
              <p:nvPr/>
            </p:nvSpPr>
            <p:spPr>
              <a:xfrm>
                <a:off x="4676774" y="4697470"/>
                <a:ext cx="1014507" cy="193137"/>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188" name="Rectangle 187"/>
              <p:cNvSpPr/>
              <p:nvPr/>
            </p:nvSpPr>
            <p:spPr>
              <a:xfrm>
                <a:off x="4676774" y="5951740"/>
                <a:ext cx="1014507" cy="193137"/>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189" name="Rectangle 188"/>
              <p:cNvSpPr/>
              <p:nvPr/>
            </p:nvSpPr>
            <p:spPr>
              <a:xfrm>
                <a:off x="4676774" y="5115560"/>
                <a:ext cx="1014507" cy="193137"/>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190" name="Rectangle 189"/>
              <p:cNvSpPr/>
              <p:nvPr/>
            </p:nvSpPr>
            <p:spPr>
              <a:xfrm>
                <a:off x="4676774" y="5533650"/>
                <a:ext cx="1014507" cy="193137"/>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grpSp>
        <p:sp>
          <p:nvSpPr>
            <p:cNvPr id="183" name="Rectangle 182"/>
            <p:cNvSpPr/>
            <p:nvPr/>
          </p:nvSpPr>
          <p:spPr>
            <a:xfrm>
              <a:off x="4676774" y="4653928"/>
              <a:ext cx="704851" cy="193137"/>
            </a:xfrm>
            <a:prstGeom prst="rect">
              <a:avLst/>
            </a:prstGeom>
            <a:solidFill>
              <a:srgbClr val="E258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184" name="Rectangle 183"/>
            <p:cNvSpPr/>
            <p:nvPr/>
          </p:nvSpPr>
          <p:spPr>
            <a:xfrm>
              <a:off x="4676775" y="5908198"/>
              <a:ext cx="652464" cy="193137"/>
            </a:xfrm>
            <a:prstGeom prst="rect">
              <a:avLst/>
            </a:prstGeom>
            <a:solidFill>
              <a:srgbClr val="3B393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185" name="Rectangle 184"/>
            <p:cNvSpPr/>
            <p:nvPr/>
          </p:nvSpPr>
          <p:spPr>
            <a:xfrm>
              <a:off x="4676775" y="5072018"/>
              <a:ext cx="614364" cy="193137"/>
            </a:xfrm>
            <a:prstGeom prst="rect">
              <a:avLst/>
            </a:prstGeom>
            <a:solidFill>
              <a:srgbClr val="AFABA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186" name="Rectangle 185"/>
            <p:cNvSpPr/>
            <p:nvPr/>
          </p:nvSpPr>
          <p:spPr>
            <a:xfrm>
              <a:off x="4676775" y="5490108"/>
              <a:ext cx="447676" cy="193137"/>
            </a:xfrm>
            <a:prstGeom prst="rect">
              <a:avLst/>
            </a:prstGeom>
            <a:solidFill>
              <a:srgbClr val="78D2D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grpSp>
    </p:spTree>
    <p:extLst>
      <p:ext uri="{BB962C8B-B14F-4D97-AF65-F5344CB8AC3E}">
        <p14:creationId xmlns:p14="http://schemas.microsoft.com/office/powerpoint/2010/main" val="333196679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Placeholder 6"/>
          <p:cNvPicPr>
            <a:picLocks noGrp="1" noChangeAspect="1"/>
          </p:cNvPicPr>
          <p:nvPr>
            <p:ph type="pic" sz="quarter" idx="11"/>
          </p:nvPr>
        </p:nvPicPr>
        <p:blipFill>
          <a:blip r:embed="rId2">
            <a:extLst>
              <a:ext uri="{28A0092B-C50C-407E-A947-70E740481C1C}">
                <a14:useLocalDpi xmlns:a14="http://schemas.microsoft.com/office/drawing/2010/main" val="0"/>
              </a:ext>
            </a:extLst>
          </a:blip>
          <a:srcRect l="15293" r="15293"/>
          <a:stretch>
            <a:fillRect/>
          </a:stretch>
        </p:blipFill>
        <p:spPr/>
      </p:pic>
      <p:sp>
        <p:nvSpPr>
          <p:cNvPr id="105" name="Rectangle 104"/>
          <p:cNvSpPr/>
          <p:nvPr/>
        </p:nvSpPr>
        <p:spPr>
          <a:xfrm>
            <a:off x="5050971" y="0"/>
            <a:ext cx="7141029" cy="6858000"/>
          </a:xfrm>
          <a:prstGeom prst="rect">
            <a:avLst/>
          </a:prstGeom>
          <a:solidFill>
            <a:schemeClr val="tx1">
              <a:alpha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Calibri"/>
            </a:endParaRPr>
          </a:p>
        </p:txBody>
      </p:sp>
      <p:sp>
        <p:nvSpPr>
          <p:cNvPr id="3" name="Date Placeholder 2"/>
          <p:cNvSpPr>
            <a:spLocks noGrp="1"/>
          </p:cNvSpPr>
          <p:nvPr>
            <p:ph type="dt" sz="half" idx="10"/>
          </p:nvPr>
        </p:nvSpPr>
        <p:spPr/>
        <p:txBody>
          <a:bodyPr/>
          <a:lstStyle/>
          <a:p>
            <a:fld id="{C9852138-FCC6-44DD-9FFC-1C789392E7AA}" type="datetime1">
              <a:rPr lang="en-US" smtClean="0"/>
              <a:t>10/28/2022</a:t>
            </a:fld>
            <a:endParaRPr lang="en-US"/>
          </a:p>
        </p:txBody>
      </p:sp>
      <p:sp>
        <p:nvSpPr>
          <p:cNvPr id="80" name="Rectangle 79"/>
          <p:cNvSpPr/>
          <p:nvPr/>
        </p:nvSpPr>
        <p:spPr>
          <a:xfrm>
            <a:off x="12344400" y="0"/>
            <a:ext cx="469900" cy="469900"/>
          </a:xfrm>
          <a:prstGeom prst="rect">
            <a:avLst/>
          </a:prstGeom>
          <a:solidFill>
            <a:srgbClr val="E7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1" name="Rectangle 80"/>
          <p:cNvSpPr/>
          <p:nvPr/>
        </p:nvSpPr>
        <p:spPr>
          <a:xfrm>
            <a:off x="12344400" y="649557"/>
            <a:ext cx="469900" cy="469900"/>
          </a:xfrm>
          <a:prstGeom prst="rect">
            <a:avLst/>
          </a:prstGeom>
          <a:solidFill>
            <a:srgbClr val="AFABA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2" name="Rectangle 81"/>
          <p:cNvSpPr/>
          <p:nvPr/>
        </p:nvSpPr>
        <p:spPr>
          <a:xfrm>
            <a:off x="12344400" y="1299114"/>
            <a:ext cx="469900" cy="469900"/>
          </a:xfrm>
          <a:prstGeom prst="rect">
            <a:avLst/>
          </a:prstGeom>
          <a:solidFill>
            <a:srgbClr val="76717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3" name="Rectangle 82"/>
          <p:cNvSpPr/>
          <p:nvPr/>
        </p:nvSpPr>
        <p:spPr>
          <a:xfrm>
            <a:off x="12966699" y="0"/>
            <a:ext cx="469900" cy="469900"/>
          </a:xfrm>
          <a:prstGeom prst="rect">
            <a:avLst/>
          </a:prstGeom>
          <a:solidFill>
            <a:srgbClr val="E8786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4" name="Rectangle 83"/>
          <p:cNvSpPr/>
          <p:nvPr/>
        </p:nvSpPr>
        <p:spPr>
          <a:xfrm>
            <a:off x="12966699" y="649557"/>
            <a:ext cx="469900" cy="469900"/>
          </a:xfrm>
          <a:prstGeom prst="rect">
            <a:avLst/>
          </a:prstGeom>
          <a:solidFill>
            <a:srgbClr val="E258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5" name="Rectangle 84"/>
          <p:cNvSpPr/>
          <p:nvPr/>
        </p:nvSpPr>
        <p:spPr>
          <a:xfrm>
            <a:off x="12966699" y="1299114"/>
            <a:ext cx="469900" cy="469900"/>
          </a:xfrm>
          <a:prstGeom prst="rect">
            <a:avLst/>
          </a:prstGeom>
          <a:solidFill>
            <a:srgbClr val="D63E2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6" name="Rectangle 85"/>
          <p:cNvSpPr/>
          <p:nvPr/>
        </p:nvSpPr>
        <p:spPr>
          <a:xfrm>
            <a:off x="13588998" y="0"/>
            <a:ext cx="469900" cy="469900"/>
          </a:xfrm>
          <a:prstGeom prst="rect">
            <a:avLst/>
          </a:prstGeom>
          <a:solidFill>
            <a:srgbClr val="8EDCD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7" name="Rectangle 86"/>
          <p:cNvSpPr/>
          <p:nvPr/>
        </p:nvSpPr>
        <p:spPr>
          <a:xfrm>
            <a:off x="13588998" y="649557"/>
            <a:ext cx="469900" cy="469900"/>
          </a:xfrm>
          <a:prstGeom prst="rect">
            <a:avLst/>
          </a:prstGeom>
          <a:solidFill>
            <a:srgbClr val="78D2D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8" name="Rectangle 87"/>
          <p:cNvSpPr/>
          <p:nvPr/>
        </p:nvSpPr>
        <p:spPr>
          <a:xfrm>
            <a:off x="13588998" y="1299114"/>
            <a:ext cx="469900" cy="469900"/>
          </a:xfrm>
          <a:prstGeom prst="rect">
            <a:avLst/>
          </a:prstGeom>
          <a:solidFill>
            <a:srgbClr val="4CC7C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9" name="Rectangle 88"/>
          <p:cNvSpPr/>
          <p:nvPr/>
        </p:nvSpPr>
        <p:spPr>
          <a:xfrm>
            <a:off x="14211297" y="0"/>
            <a:ext cx="469900" cy="469900"/>
          </a:xfrm>
          <a:prstGeom prst="rect">
            <a:avLst/>
          </a:prstGeom>
          <a:solidFill>
            <a:srgbClr val="55535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0" name="Rectangle 89"/>
          <p:cNvSpPr/>
          <p:nvPr/>
        </p:nvSpPr>
        <p:spPr>
          <a:xfrm>
            <a:off x="14211297" y="649557"/>
            <a:ext cx="469900" cy="469900"/>
          </a:xfrm>
          <a:prstGeom prst="rect">
            <a:avLst/>
          </a:prstGeom>
          <a:solidFill>
            <a:srgbClr val="3B393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1" name="Rectangle 90"/>
          <p:cNvSpPr/>
          <p:nvPr/>
        </p:nvSpPr>
        <p:spPr>
          <a:xfrm>
            <a:off x="14211297" y="1299114"/>
            <a:ext cx="469900" cy="469900"/>
          </a:xfrm>
          <a:prstGeom prst="rect">
            <a:avLst/>
          </a:prstGeom>
          <a:solidFill>
            <a:srgbClr val="25232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8" name="Group 7"/>
          <p:cNvGrpSpPr/>
          <p:nvPr/>
        </p:nvGrpSpPr>
        <p:grpSpPr>
          <a:xfrm>
            <a:off x="1423837" y="793418"/>
            <a:ext cx="3165322" cy="5271164"/>
            <a:chOff x="1423837" y="524453"/>
            <a:chExt cx="3165322" cy="5271164"/>
          </a:xfrm>
        </p:grpSpPr>
        <p:sp>
          <p:nvSpPr>
            <p:cNvPr id="64" name="Oval 63"/>
            <p:cNvSpPr>
              <a:spLocks noChangeAspect="1"/>
            </p:cNvSpPr>
            <p:nvPr/>
          </p:nvSpPr>
          <p:spPr>
            <a:xfrm>
              <a:off x="4301159" y="4681193"/>
              <a:ext cx="288000" cy="288000"/>
            </a:xfrm>
            <a:prstGeom prst="ellipse">
              <a:avLst/>
            </a:prstGeom>
            <a:solidFill>
              <a:srgbClr val="E258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Calibri"/>
              </a:endParaRPr>
            </a:p>
          </p:txBody>
        </p:sp>
        <p:sp>
          <p:nvSpPr>
            <p:cNvPr id="65" name="Oval 64"/>
            <p:cNvSpPr>
              <a:spLocks noChangeAspect="1"/>
            </p:cNvSpPr>
            <p:nvPr/>
          </p:nvSpPr>
          <p:spPr>
            <a:xfrm>
              <a:off x="2341266" y="5507617"/>
              <a:ext cx="288000" cy="288000"/>
            </a:xfrm>
            <a:prstGeom prst="ellipse">
              <a:avLst/>
            </a:prstGeom>
            <a:solidFill>
              <a:srgbClr val="E258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Calibri"/>
              </a:endParaRPr>
            </a:p>
          </p:txBody>
        </p:sp>
        <p:sp>
          <p:nvSpPr>
            <p:cNvPr id="66" name="Oval 65"/>
            <p:cNvSpPr>
              <a:spLocks noChangeAspect="1"/>
            </p:cNvSpPr>
            <p:nvPr/>
          </p:nvSpPr>
          <p:spPr>
            <a:xfrm>
              <a:off x="2793277" y="4271748"/>
              <a:ext cx="288000" cy="288000"/>
            </a:xfrm>
            <a:prstGeom prst="ellipse">
              <a:avLst/>
            </a:prstGeom>
            <a:solidFill>
              <a:srgbClr val="E258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Calibri"/>
              </a:endParaRPr>
            </a:p>
          </p:txBody>
        </p:sp>
        <p:grpSp>
          <p:nvGrpSpPr>
            <p:cNvPr id="68" name="Group 67"/>
            <p:cNvGrpSpPr/>
            <p:nvPr/>
          </p:nvGrpSpPr>
          <p:grpSpPr>
            <a:xfrm>
              <a:off x="1437845" y="3102150"/>
              <a:ext cx="3149152" cy="2661951"/>
              <a:chOff x="427318" y="2287670"/>
              <a:chExt cx="3149152" cy="2661951"/>
            </a:xfrm>
          </p:grpSpPr>
          <p:sp>
            <p:nvSpPr>
              <p:cNvPr id="92" name="TextBox 91"/>
              <p:cNvSpPr txBox="1"/>
              <p:nvPr/>
            </p:nvSpPr>
            <p:spPr>
              <a:xfrm>
                <a:off x="427318" y="2287670"/>
                <a:ext cx="586142" cy="215444"/>
              </a:xfrm>
              <a:prstGeom prst="rect">
                <a:avLst/>
              </a:prstGeom>
              <a:noFill/>
              <a:ln w="6350">
                <a:noFill/>
                <a:prstDash val="dash"/>
              </a:ln>
            </p:spPr>
            <p:txBody>
              <a:bodyPr wrap="square" lIns="0" tIns="0" rIns="0" bIns="0" rtlCol="0">
                <a:spAutoFit/>
              </a:bodyPr>
              <a:lstStyle/>
              <a:p>
                <a:r>
                  <a:rPr lang="en-US" sz="1400" b="1" dirty="0"/>
                  <a:t>JUNE</a:t>
                </a:r>
              </a:p>
            </p:txBody>
          </p:sp>
          <p:grpSp>
            <p:nvGrpSpPr>
              <p:cNvPr id="93" name="Group 92"/>
              <p:cNvGrpSpPr/>
              <p:nvPr/>
            </p:nvGrpSpPr>
            <p:grpSpPr>
              <a:xfrm>
                <a:off x="427318" y="2687463"/>
                <a:ext cx="3149152" cy="2262158"/>
                <a:chOff x="427318" y="1609538"/>
                <a:chExt cx="3149152" cy="2262158"/>
              </a:xfrm>
            </p:grpSpPr>
            <p:sp>
              <p:nvSpPr>
                <p:cNvPr id="94" name="TextBox 93"/>
                <p:cNvSpPr txBox="1"/>
                <p:nvPr/>
              </p:nvSpPr>
              <p:spPr>
                <a:xfrm>
                  <a:off x="427318" y="1609538"/>
                  <a:ext cx="220382" cy="2262158"/>
                </a:xfrm>
                <a:prstGeom prst="rect">
                  <a:avLst/>
                </a:prstGeom>
                <a:noFill/>
                <a:ln w="6350">
                  <a:noFill/>
                  <a:prstDash val="dash"/>
                </a:ln>
              </p:spPr>
              <p:txBody>
                <a:bodyPr wrap="square" lIns="0" tIns="0" rIns="0" bIns="0" rtlCol="0">
                  <a:spAutoFit/>
                </a:bodyPr>
                <a:lstStyle/>
                <a:p>
                  <a:pPr>
                    <a:spcAft>
                      <a:spcPts val="1800"/>
                    </a:spcAft>
                  </a:pPr>
                  <a:r>
                    <a:rPr lang="en-US" sz="1200" dirty="0"/>
                    <a:t>S</a:t>
                  </a:r>
                </a:p>
                <a:p>
                  <a:pPr>
                    <a:spcAft>
                      <a:spcPts val="1800"/>
                    </a:spcAft>
                  </a:pPr>
                  <a:endParaRPr lang="en-US" sz="1200" dirty="0"/>
                </a:p>
                <a:p>
                  <a:pPr>
                    <a:spcAft>
                      <a:spcPts val="1800"/>
                    </a:spcAft>
                  </a:pPr>
                  <a:r>
                    <a:rPr lang="en-US" sz="1200" dirty="0"/>
                    <a:t>4</a:t>
                  </a:r>
                </a:p>
                <a:p>
                  <a:pPr>
                    <a:spcAft>
                      <a:spcPts val="1800"/>
                    </a:spcAft>
                  </a:pPr>
                  <a:r>
                    <a:rPr lang="en-US" sz="1200" dirty="0"/>
                    <a:t>11</a:t>
                  </a:r>
                </a:p>
                <a:p>
                  <a:pPr>
                    <a:spcAft>
                      <a:spcPts val="1800"/>
                    </a:spcAft>
                  </a:pPr>
                  <a:r>
                    <a:rPr lang="en-US" sz="1200" dirty="0"/>
                    <a:t>18</a:t>
                  </a:r>
                </a:p>
                <a:p>
                  <a:pPr>
                    <a:spcAft>
                      <a:spcPts val="1800"/>
                    </a:spcAft>
                  </a:pPr>
                  <a:r>
                    <a:rPr lang="en-US" sz="1200" dirty="0"/>
                    <a:t>25</a:t>
                  </a:r>
                </a:p>
              </p:txBody>
            </p:sp>
            <p:sp>
              <p:nvSpPr>
                <p:cNvPr id="95" name="TextBox 94"/>
                <p:cNvSpPr txBox="1"/>
                <p:nvPr/>
              </p:nvSpPr>
              <p:spPr>
                <a:xfrm>
                  <a:off x="915446" y="1609538"/>
                  <a:ext cx="220382" cy="2262158"/>
                </a:xfrm>
                <a:prstGeom prst="rect">
                  <a:avLst/>
                </a:prstGeom>
                <a:noFill/>
                <a:ln w="6350">
                  <a:noFill/>
                  <a:prstDash val="dash"/>
                </a:ln>
              </p:spPr>
              <p:txBody>
                <a:bodyPr wrap="square" lIns="0" tIns="0" rIns="0" bIns="0" rtlCol="0">
                  <a:spAutoFit/>
                </a:bodyPr>
                <a:lstStyle/>
                <a:p>
                  <a:pPr>
                    <a:spcAft>
                      <a:spcPts val="1800"/>
                    </a:spcAft>
                  </a:pPr>
                  <a:r>
                    <a:rPr lang="en-US" sz="1200" dirty="0"/>
                    <a:t>M</a:t>
                  </a:r>
                </a:p>
                <a:p>
                  <a:pPr>
                    <a:spcAft>
                      <a:spcPts val="1800"/>
                    </a:spcAft>
                  </a:pPr>
                  <a:endParaRPr lang="en-US" sz="1200" dirty="0"/>
                </a:p>
                <a:p>
                  <a:pPr>
                    <a:spcAft>
                      <a:spcPts val="1800"/>
                    </a:spcAft>
                  </a:pPr>
                  <a:r>
                    <a:rPr lang="en-US" sz="1200" dirty="0"/>
                    <a:t>5</a:t>
                  </a:r>
                </a:p>
                <a:p>
                  <a:pPr>
                    <a:spcAft>
                      <a:spcPts val="1800"/>
                    </a:spcAft>
                  </a:pPr>
                  <a:r>
                    <a:rPr lang="en-US" sz="1200" dirty="0"/>
                    <a:t>12</a:t>
                  </a:r>
                </a:p>
                <a:p>
                  <a:pPr>
                    <a:spcAft>
                      <a:spcPts val="1800"/>
                    </a:spcAft>
                  </a:pPr>
                  <a:r>
                    <a:rPr lang="en-US" sz="1200" dirty="0"/>
                    <a:t>19</a:t>
                  </a:r>
                </a:p>
                <a:p>
                  <a:pPr>
                    <a:spcAft>
                      <a:spcPts val="1800"/>
                    </a:spcAft>
                  </a:pPr>
                  <a:r>
                    <a:rPr lang="en-US" sz="1200" dirty="0"/>
                    <a:t>26</a:t>
                  </a:r>
                </a:p>
              </p:txBody>
            </p:sp>
            <p:sp>
              <p:nvSpPr>
                <p:cNvPr id="96" name="TextBox 95"/>
                <p:cNvSpPr txBox="1"/>
                <p:nvPr/>
              </p:nvSpPr>
              <p:spPr>
                <a:xfrm>
                  <a:off x="1403574" y="1609538"/>
                  <a:ext cx="220382" cy="2262158"/>
                </a:xfrm>
                <a:prstGeom prst="rect">
                  <a:avLst/>
                </a:prstGeom>
                <a:noFill/>
                <a:ln w="6350">
                  <a:noFill/>
                  <a:prstDash val="dash"/>
                </a:ln>
              </p:spPr>
              <p:txBody>
                <a:bodyPr wrap="square" lIns="0" tIns="0" rIns="0" bIns="0" rtlCol="0">
                  <a:spAutoFit/>
                </a:bodyPr>
                <a:lstStyle/>
                <a:p>
                  <a:pPr>
                    <a:spcAft>
                      <a:spcPts val="1800"/>
                    </a:spcAft>
                  </a:pPr>
                  <a:r>
                    <a:rPr lang="en-US" sz="1200" dirty="0"/>
                    <a:t>T</a:t>
                  </a:r>
                </a:p>
                <a:p>
                  <a:pPr>
                    <a:spcAft>
                      <a:spcPts val="1800"/>
                    </a:spcAft>
                  </a:pPr>
                  <a:endParaRPr lang="en-US" sz="1200" dirty="0"/>
                </a:p>
                <a:p>
                  <a:pPr>
                    <a:spcAft>
                      <a:spcPts val="1800"/>
                    </a:spcAft>
                  </a:pPr>
                  <a:r>
                    <a:rPr lang="en-US" sz="1200" dirty="0"/>
                    <a:t>6</a:t>
                  </a:r>
                </a:p>
                <a:p>
                  <a:pPr>
                    <a:spcAft>
                      <a:spcPts val="1800"/>
                    </a:spcAft>
                  </a:pPr>
                  <a:r>
                    <a:rPr lang="en-US" sz="1200" dirty="0"/>
                    <a:t>13</a:t>
                  </a:r>
                </a:p>
                <a:p>
                  <a:pPr>
                    <a:spcAft>
                      <a:spcPts val="1800"/>
                    </a:spcAft>
                  </a:pPr>
                  <a:r>
                    <a:rPr lang="en-US" sz="1200" dirty="0"/>
                    <a:t>20</a:t>
                  </a:r>
                </a:p>
                <a:p>
                  <a:pPr>
                    <a:spcAft>
                      <a:spcPts val="1800"/>
                    </a:spcAft>
                  </a:pPr>
                  <a:r>
                    <a:rPr lang="en-US" sz="1200" b="1" dirty="0">
                      <a:solidFill>
                        <a:schemeClr val="bg1"/>
                      </a:solidFill>
                    </a:rPr>
                    <a:t>27</a:t>
                  </a:r>
                </a:p>
              </p:txBody>
            </p:sp>
            <p:sp>
              <p:nvSpPr>
                <p:cNvPr id="99" name="TextBox 98"/>
                <p:cNvSpPr txBox="1"/>
                <p:nvPr/>
              </p:nvSpPr>
              <p:spPr>
                <a:xfrm>
                  <a:off x="1891702" y="1609538"/>
                  <a:ext cx="220382" cy="2262158"/>
                </a:xfrm>
                <a:prstGeom prst="rect">
                  <a:avLst/>
                </a:prstGeom>
                <a:noFill/>
                <a:ln w="6350">
                  <a:noFill/>
                  <a:prstDash val="dash"/>
                </a:ln>
              </p:spPr>
              <p:txBody>
                <a:bodyPr wrap="square" lIns="0" tIns="0" rIns="0" bIns="0" rtlCol="0">
                  <a:spAutoFit/>
                </a:bodyPr>
                <a:lstStyle/>
                <a:p>
                  <a:pPr>
                    <a:spcAft>
                      <a:spcPts val="1800"/>
                    </a:spcAft>
                  </a:pPr>
                  <a:r>
                    <a:rPr lang="en-US" sz="1200" dirty="0"/>
                    <a:t>W</a:t>
                  </a:r>
                </a:p>
                <a:p>
                  <a:pPr>
                    <a:spcAft>
                      <a:spcPts val="1800"/>
                    </a:spcAft>
                  </a:pPr>
                  <a:endParaRPr lang="en-US" sz="1200" dirty="0"/>
                </a:p>
                <a:p>
                  <a:pPr>
                    <a:spcAft>
                      <a:spcPts val="1800"/>
                    </a:spcAft>
                  </a:pPr>
                  <a:r>
                    <a:rPr lang="en-US" sz="1200" b="1" dirty="0">
                      <a:solidFill>
                        <a:schemeClr val="bg1"/>
                      </a:solidFill>
                    </a:rPr>
                    <a:t>7</a:t>
                  </a:r>
                </a:p>
                <a:p>
                  <a:pPr>
                    <a:spcAft>
                      <a:spcPts val="1800"/>
                    </a:spcAft>
                  </a:pPr>
                  <a:r>
                    <a:rPr lang="en-US" sz="1200" dirty="0"/>
                    <a:t>14</a:t>
                  </a:r>
                </a:p>
                <a:p>
                  <a:pPr>
                    <a:spcAft>
                      <a:spcPts val="1800"/>
                    </a:spcAft>
                  </a:pPr>
                  <a:r>
                    <a:rPr lang="en-US" sz="1200" dirty="0"/>
                    <a:t>21</a:t>
                  </a:r>
                </a:p>
                <a:p>
                  <a:pPr>
                    <a:spcAft>
                      <a:spcPts val="1800"/>
                    </a:spcAft>
                  </a:pPr>
                  <a:r>
                    <a:rPr lang="en-US" sz="1200" dirty="0"/>
                    <a:t>28</a:t>
                  </a:r>
                </a:p>
              </p:txBody>
            </p:sp>
            <p:sp>
              <p:nvSpPr>
                <p:cNvPr id="100" name="TextBox 99"/>
                <p:cNvSpPr txBox="1"/>
                <p:nvPr/>
              </p:nvSpPr>
              <p:spPr>
                <a:xfrm>
                  <a:off x="2379830" y="1609538"/>
                  <a:ext cx="220382" cy="2262158"/>
                </a:xfrm>
                <a:prstGeom prst="rect">
                  <a:avLst/>
                </a:prstGeom>
                <a:noFill/>
                <a:ln w="6350">
                  <a:noFill/>
                  <a:prstDash val="dash"/>
                </a:ln>
              </p:spPr>
              <p:txBody>
                <a:bodyPr wrap="square" lIns="0" tIns="0" rIns="0" bIns="0" rtlCol="0">
                  <a:spAutoFit/>
                </a:bodyPr>
                <a:lstStyle/>
                <a:p>
                  <a:pPr>
                    <a:spcAft>
                      <a:spcPts val="1800"/>
                    </a:spcAft>
                  </a:pPr>
                  <a:r>
                    <a:rPr lang="en-US" sz="1200" dirty="0"/>
                    <a:t>T</a:t>
                  </a:r>
                </a:p>
                <a:p>
                  <a:pPr>
                    <a:spcAft>
                      <a:spcPts val="1800"/>
                    </a:spcAft>
                  </a:pPr>
                  <a:r>
                    <a:rPr lang="en-US" sz="1200" dirty="0"/>
                    <a:t>1</a:t>
                  </a:r>
                </a:p>
                <a:p>
                  <a:pPr>
                    <a:spcAft>
                      <a:spcPts val="1800"/>
                    </a:spcAft>
                  </a:pPr>
                  <a:r>
                    <a:rPr lang="en-US" sz="1200" dirty="0"/>
                    <a:t>8</a:t>
                  </a:r>
                </a:p>
                <a:p>
                  <a:pPr>
                    <a:spcAft>
                      <a:spcPts val="1800"/>
                    </a:spcAft>
                  </a:pPr>
                  <a:r>
                    <a:rPr lang="en-US" sz="1200" dirty="0"/>
                    <a:t>15</a:t>
                  </a:r>
                </a:p>
                <a:p>
                  <a:pPr>
                    <a:spcAft>
                      <a:spcPts val="1800"/>
                    </a:spcAft>
                  </a:pPr>
                  <a:r>
                    <a:rPr lang="en-US" sz="1200" dirty="0"/>
                    <a:t>22</a:t>
                  </a:r>
                </a:p>
                <a:p>
                  <a:pPr>
                    <a:spcAft>
                      <a:spcPts val="1800"/>
                    </a:spcAft>
                  </a:pPr>
                  <a:r>
                    <a:rPr lang="en-US" sz="1200" dirty="0"/>
                    <a:t>29</a:t>
                  </a:r>
                </a:p>
              </p:txBody>
            </p:sp>
            <p:sp>
              <p:nvSpPr>
                <p:cNvPr id="101" name="TextBox 100"/>
                <p:cNvSpPr txBox="1"/>
                <p:nvPr/>
              </p:nvSpPr>
              <p:spPr>
                <a:xfrm>
                  <a:off x="2867958" y="1609538"/>
                  <a:ext cx="220382" cy="2262158"/>
                </a:xfrm>
                <a:prstGeom prst="rect">
                  <a:avLst/>
                </a:prstGeom>
                <a:noFill/>
                <a:ln w="6350">
                  <a:noFill/>
                  <a:prstDash val="dash"/>
                </a:ln>
              </p:spPr>
              <p:txBody>
                <a:bodyPr wrap="square" lIns="0" tIns="0" rIns="0" bIns="0" rtlCol="0">
                  <a:spAutoFit/>
                </a:bodyPr>
                <a:lstStyle/>
                <a:p>
                  <a:pPr>
                    <a:spcAft>
                      <a:spcPts val="1800"/>
                    </a:spcAft>
                  </a:pPr>
                  <a:r>
                    <a:rPr lang="en-US" sz="1200" dirty="0"/>
                    <a:t>F</a:t>
                  </a:r>
                </a:p>
                <a:p>
                  <a:pPr>
                    <a:spcAft>
                      <a:spcPts val="1800"/>
                    </a:spcAft>
                  </a:pPr>
                  <a:r>
                    <a:rPr lang="en-US" sz="1200" dirty="0"/>
                    <a:t>2</a:t>
                  </a:r>
                </a:p>
                <a:p>
                  <a:pPr>
                    <a:spcAft>
                      <a:spcPts val="1800"/>
                    </a:spcAft>
                  </a:pPr>
                  <a:r>
                    <a:rPr lang="en-US" sz="1200" dirty="0"/>
                    <a:t>9</a:t>
                  </a:r>
                </a:p>
                <a:p>
                  <a:pPr>
                    <a:spcAft>
                      <a:spcPts val="1800"/>
                    </a:spcAft>
                  </a:pPr>
                  <a:r>
                    <a:rPr lang="en-US" sz="1200" dirty="0"/>
                    <a:t>16</a:t>
                  </a:r>
                </a:p>
                <a:p>
                  <a:pPr>
                    <a:spcAft>
                      <a:spcPts val="1800"/>
                    </a:spcAft>
                  </a:pPr>
                  <a:r>
                    <a:rPr lang="en-US" sz="1200" dirty="0"/>
                    <a:t>23</a:t>
                  </a:r>
                </a:p>
                <a:p>
                  <a:pPr>
                    <a:spcAft>
                      <a:spcPts val="1800"/>
                    </a:spcAft>
                  </a:pPr>
                  <a:r>
                    <a:rPr lang="en-US" sz="1200" dirty="0"/>
                    <a:t>30</a:t>
                  </a:r>
                </a:p>
              </p:txBody>
            </p:sp>
            <p:sp>
              <p:nvSpPr>
                <p:cNvPr id="104" name="TextBox 103"/>
                <p:cNvSpPr txBox="1"/>
                <p:nvPr/>
              </p:nvSpPr>
              <p:spPr>
                <a:xfrm>
                  <a:off x="3356088" y="1609538"/>
                  <a:ext cx="220382" cy="1846659"/>
                </a:xfrm>
                <a:prstGeom prst="rect">
                  <a:avLst/>
                </a:prstGeom>
                <a:noFill/>
                <a:ln w="6350">
                  <a:noFill/>
                  <a:prstDash val="dash"/>
                </a:ln>
              </p:spPr>
              <p:txBody>
                <a:bodyPr wrap="square" lIns="0" tIns="0" rIns="0" bIns="0" rtlCol="0">
                  <a:spAutoFit/>
                </a:bodyPr>
                <a:lstStyle/>
                <a:p>
                  <a:pPr>
                    <a:spcAft>
                      <a:spcPts val="1800"/>
                    </a:spcAft>
                  </a:pPr>
                  <a:r>
                    <a:rPr lang="en-US" sz="1200" dirty="0"/>
                    <a:t>S</a:t>
                  </a:r>
                </a:p>
                <a:p>
                  <a:pPr>
                    <a:spcAft>
                      <a:spcPts val="1800"/>
                    </a:spcAft>
                  </a:pPr>
                  <a:r>
                    <a:rPr lang="en-US" sz="1200" dirty="0"/>
                    <a:t>3</a:t>
                  </a:r>
                </a:p>
                <a:p>
                  <a:pPr>
                    <a:spcAft>
                      <a:spcPts val="1800"/>
                    </a:spcAft>
                  </a:pPr>
                  <a:r>
                    <a:rPr lang="en-US" sz="1200" dirty="0"/>
                    <a:t>10</a:t>
                  </a:r>
                </a:p>
                <a:p>
                  <a:pPr>
                    <a:spcAft>
                      <a:spcPts val="1800"/>
                    </a:spcAft>
                  </a:pPr>
                  <a:r>
                    <a:rPr lang="en-US" sz="1200" b="1" dirty="0">
                      <a:solidFill>
                        <a:schemeClr val="bg1"/>
                      </a:solidFill>
                    </a:rPr>
                    <a:t>17</a:t>
                  </a:r>
                </a:p>
                <a:p>
                  <a:pPr>
                    <a:spcAft>
                      <a:spcPts val="1800"/>
                    </a:spcAft>
                  </a:pPr>
                  <a:r>
                    <a:rPr lang="en-US" sz="1200" dirty="0"/>
                    <a:t>24</a:t>
                  </a:r>
                </a:p>
              </p:txBody>
            </p:sp>
          </p:grpSp>
        </p:grpSp>
        <p:cxnSp>
          <p:nvCxnSpPr>
            <p:cNvPr id="69" name="Straight Connector 68"/>
            <p:cNvCxnSpPr/>
            <p:nvPr/>
          </p:nvCxnSpPr>
          <p:spPr>
            <a:xfrm>
              <a:off x="1437845" y="2882551"/>
              <a:ext cx="3149152"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nvGrpSpPr>
            <p:cNvPr id="70" name="Group 69"/>
            <p:cNvGrpSpPr/>
            <p:nvPr/>
          </p:nvGrpSpPr>
          <p:grpSpPr>
            <a:xfrm>
              <a:off x="1423837" y="524453"/>
              <a:ext cx="3163160" cy="2138499"/>
              <a:chOff x="422835" y="-89838"/>
              <a:chExt cx="3163160" cy="2138499"/>
            </a:xfrm>
          </p:grpSpPr>
          <p:sp>
            <p:nvSpPr>
              <p:cNvPr id="74" name="TextBox 73"/>
              <p:cNvSpPr txBox="1"/>
              <p:nvPr/>
            </p:nvSpPr>
            <p:spPr>
              <a:xfrm>
                <a:off x="422835" y="-89838"/>
                <a:ext cx="2726405" cy="984885"/>
              </a:xfrm>
              <a:prstGeom prst="rect">
                <a:avLst/>
              </a:prstGeom>
              <a:noFill/>
              <a:ln>
                <a:noFill/>
              </a:ln>
            </p:spPr>
            <p:txBody>
              <a:bodyPr wrap="square" lIns="0" tIns="0" rIns="0" bIns="0" rtlCol="0" anchor="ctr">
                <a:spAutoFit/>
              </a:bodyPr>
              <a:lstStyle/>
              <a:p>
                <a:r>
                  <a:rPr lang="en-US" sz="3200" dirty="0">
                    <a:latin typeface="+mj-lt"/>
                  </a:rPr>
                  <a:t>PowerPoint Template</a:t>
                </a:r>
              </a:p>
            </p:txBody>
          </p:sp>
          <p:sp>
            <p:nvSpPr>
              <p:cNvPr id="73" name="TextBox 72"/>
              <p:cNvSpPr txBox="1"/>
              <p:nvPr/>
            </p:nvSpPr>
            <p:spPr>
              <a:xfrm>
                <a:off x="422835" y="971443"/>
                <a:ext cx="3163160" cy="1077218"/>
              </a:xfrm>
              <a:prstGeom prst="rect">
                <a:avLst/>
              </a:prstGeom>
              <a:noFill/>
              <a:ln w="6350">
                <a:noFill/>
                <a:prstDash val="dash"/>
              </a:ln>
            </p:spPr>
            <p:txBody>
              <a:bodyPr wrap="square" lIns="0" tIns="0" rIns="0" bIns="0" rtlCol="0">
                <a:spAutoFit/>
              </a:bodyPr>
              <a:lstStyle/>
              <a:p>
                <a:r>
                  <a:rPr lang="en-US" sz="1000" dirty="0"/>
                  <a:t>Lorem </a:t>
                </a:r>
                <a:r>
                  <a:rPr lang="en-US" sz="1000" dirty="0" err="1"/>
                  <a:t>Ipsum</a:t>
                </a:r>
                <a:r>
                  <a:rPr lang="en-US" sz="1000" dirty="0"/>
                  <a:t> is simply dummy text of the printing and typesetting industry. Lorem </a:t>
                </a:r>
                <a:r>
                  <a:rPr lang="en-US" sz="1000" dirty="0" err="1"/>
                  <a:t>Ipsum</a:t>
                </a:r>
                <a:r>
                  <a:rPr lang="en-US" sz="1000" dirty="0"/>
                  <a:t>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p:txBody>
          </p:sp>
        </p:grpSp>
      </p:grpSp>
      <p:grpSp>
        <p:nvGrpSpPr>
          <p:cNvPr id="106" name="Group 105"/>
          <p:cNvGrpSpPr/>
          <p:nvPr/>
        </p:nvGrpSpPr>
        <p:grpSpPr>
          <a:xfrm>
            <a:off x="8207972" y="595520"/>
            <a:ext cx="2914252" cy="1089991"/>
            <a:chOff x="5797948" y="501072"/>
            <a:chExt cx="2914252" cy="1089991"/>
          </a:xfrm>
        </p:grpSpPr>
        <p:sp>
          <p:nvSpPr>
            <p:cNvPr id="109" name="TextBox 108"/>
            <p:cNvSpPr txBox="1"/>
            <p:nvPr/>
          </p:nvSpPr>
          <p:spPr>
            <a:xfrm>
              <a:off x="5797948" y="501072"/>
              <a:ext cx="931465" cy="153888"/>
            </a:xfrm>
            <a:prstGeom prst="rect">
              <a:avLst/>
            </a:prstGeom>
            <a:noFill/>
            <a:ln w="6350">
              <a:noFill/>
              <a:prstDash val="dash"/>
            </a:ln>
          </p:spPr>
          <p:txBody>
            <a:bodyPr wrap="square" lIns="0" tIns="0" rIns="0" bIns="0" rtlCol="0">
              <a:spAutoFit/>
            </a:bodyPr>
            <a:lstStyle/>
            <a:p>
              <a:r>
                <a:rPr lang="en-US" sz="1000" b="1" dirty="0">
                  <a:solidFill>
                    <a:prstClr val="white"/>
                  </a:solidFill>
                </a:rPr>
                <a:t>07 JUNE 2017</a:t>
              </a:r>
            </a:p>
          </p:txBody>
        </p:sp>
        <p:sp>
          <p:nvSpPr>
            <p:cNvPr id="110" name="TextBox 109"/>
            <p:cNvSpPr txBox="1"/>
            <p:nvPr/>
          </p:nvSpPr>
          <p:spPr>
            <a:xfrm>
              <a:off x="5797948" y="1129398"/>
              <a:ext cx="2914252" cy="461665"/>
            </a:xfrm>
            <a:prstGeom prst="rect">
              <a:avLst/>
            </a:prstGeom>
            <a:noFill/>
            <a:ln w="6350">
              <a:noFill/>
              <a:prstDash val="dash"/>
            </a:ln>
          </p:spPr>
          <p:txBody>
            <a:bodyPr wrap="square" lIns="0" tIns="0" rIns="0" bIns="0" rtlCol="0">
              <a:spAutoFit/>
            </a:bodyPr>
            <a:lstStyle/>
            <a:p>
              <a:r>
                <a:rPr lang="en-US" sz="1000" dirty="0">
                  <a:solidFill>
                    <a:prstClr val="white"/>
                  </a:solidFill>
                </a:rPr>
                <a:t>Lorem </a:t>
              </a:r>
              <a:r>
                <a:rPr lang="en-US" sz="1000" dirty="0" err="1">
                  <a:solidFill>
                    <a:prstClr val="white"/>
                  </a:solidFill>
                </a:rPr>
                <a:t>Ipsum</a:t>
              </a:r>
              <a:r>
                <a:rPr lang="en-US" sz="1000" dirty="0">
                  <a:solidFill>
                    <a:prstClr val="white"/>
                  </a:solidFill>
                </a:rPr>
                <a:t> is simply dummy text of the printing and typesetting industry. Lorem </a:t>
              </a:r>
              <a:r>
                <a:rPr lang="en-US" sz="1000" dirty="0" err="1">
                  <a:solidFill>
                    <a:prstClr val="white"/>
                  </a:solidFill>
                </a:rPr>
                <a:t>Ipsum</a:t>
              </a:r>
              <a:r>
                <a:rPr lang="en-US" sz="1000" dirty="0">
                  <a:solidFill>
                    <a:prstClr val="white"/>
                  </a:solidFill>
                </a:rPr>
                <a:t> has been the industry's standard dummy text ever since the 1500s.</a:t>
              </a:r>
            </a:p>
          </p:txBody>
        </p:sp>
        <p:sp>
          <p:nvSpPr>
            <p:cNvPr id="111" name="TextBox 110"/>
            <p:cNvSpPr txBox="1"/>
            <p:nvPr/>
          </p:nvSpPr>
          <p:spPr>
            <a:xfrm>
              <a:off x="5797948" y="925199"/>
              <a:ext cx="2914252" cy="184666"/>
            </a:xfrm>
            <a:prstGeom prst="rect">
              <a:avLst/>
            </a:prstGeom>
            <a:noFill/>
            <a:ln w="6350">
              <a:noFill/>
              <a:prstDash val="dash"/>
            </a:ln>
          </p:spPr>
          <p:txBody>
            <a:bodyPr wrap="square" lIns="0" tIns="0" rIns="0" bIns="0" rtlCol="0">
              <a:spAutoFit/>
            </a:bodyPr>
            <a:lstStyle/>
            <a:p>
              <a:r>
                <a:rPr lang="en-US" sz="1200" b="1" dirty="0">
                  <a:solidFill>
                    <a:srgbClr val="E2583D"/>
                  </a:solidFill>
                </a:rPr>
                <a:t>LOREM IPSUM</a:t>
              </a:r>
            </a:p>
          </p:txBody>
        </p:sp>
      </p:grpSp>
      <p:cxnSp>
        <p:nvCxnSpPr>
          <p:cNvPr id="112" name="Straight Connector 111"/>
          <p:cNvCxnSpPr/>
          <p:nvPr/>
        </p:nvCxnSpPr>
        <p:spPr>
          <a:xfrm>
            <a:off x="6096000" y="2051491"/>
            <a:ext cx="493589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0" name="Oval 9"/>
          <p:cNvSpPr/>
          <p:nvPr/>
        </p:nvSpPr>
        <p:spPr>
          <a:xfrm>
            <a:off x="6583955" y="586274"/>
            <a:ext cx="1108482" cy="1108482"/>
          </a:xfrm>
          <a:prstGeom prst="ellipse">
            <a:avLst/>
          </a:prstGeom>
          <a:solidFill>
            <a:schemeClr val="bg1"/>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3" name="Oval 112"/>
          <p:cNvSpPr/>
          <p:nvPr/>
        </p:nvSpPr>
        <p:spPr>
          <a:xfrm>
            <a:off x="6659106" y="661425"/>
            <a:ext cx="958180" cy="958180"/>
          </a:xfrm>
          <a:prstGeom prst="ellipse">
            <a:avLst/>
          </a:prstGeom>
          <a:solidFill>
            <a:srgbClr val="E2583D"/>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14" name="Group 113"/>
          <p:cNvGrpSpPr/>
          <p:nvPr/>
        </p:nvGrpSpPr>
        <p:grpSpPr>
          <a:xfrm>
            <a:off x="6923092" y="925411"/>
            <a:ext cx="430208" cy="430208"/>
            <a:chOff x="885825" y="1925638"/>
            <a:chExt cx="287338" cy="287338"/>
          </a:xfrm>
          <a:solidFill>
            <a:schemeClr val="bg1"/>
          </a:solidFill>
        </p:grpSpPr>
        <p:sp>
          <p:nvSpPr>
            <p:cNvPr id="115" name="Freeform 50"/>
            <p:cNvSpPr>
              <a:spLocks noEditPoints="1"/>
            </p:cNvSpPr>
            <p:nvPr/>
          </p:nvSpPr>
          <p:spPr bwMode="auto">
            <a:xfrm>
              <a:off x="885825" y="1925638"/>
              <a:ext cx="228600" cy="287338"/>
            </a:xfrm>
            <a:custGeom>
              <a:avLst/>
              <a:gdLst>
                <a:gd name="T0" fmla="*/ 230 w 722"/>
                <a:gd name="T1" fmla="*/ 221 h 905"/>
                <a:gd name="T2" fmla="*/ 252 w 722"/>
                <a:gd name="T3" fmla="*/ 167 h 905"/>
                <a:gd name="T4" fmla="*/ 252 w 722"/>
                <a:gd name="T5" fmla="*/ 105 h 905"/>
                <a:gd name="T6" fmla="*/ 227 w 722"/>
                <a:gd name="T7" fmla="*/ 52 h 905"/>
                <a:gd name="T8" fmla="*/ 598 w 722"/>
                <a:gd name="T9" fmla="*/ 30 h 905"/>
                <a:gd name="T10" fmla="*/ 635 w 722"/>
                <a:gd name="T11" fmla="*/ 43 h 905"/>
                <a:gd name="T12" fmla="*/ 668 w 722"/>
                <a:gd name="T13" fmla="*/ 70 h 905"/>
                <a:gd name="T14" fmla="*/ 688 w 722"/>
                <a:gd name="T15" fmla="*/ 106 h 905"/>
                <a:gd name="T16" fmla="*/ 692 w 722"/>
                <a:gd name="T17" fmla="*/ 145 h 905"/>
                <a:gd name="T18" fmla="*/ 679 w 722"/>
                <a:gd name="T19" fmla="*/ 184 h 905"/>
                <a:gd name="T20" fmla="*/ 652 w 722"/>
                <a:gd name="T21" fmla="*/ 216 h 905"/>
                <a:gd name="T22" fmla="*/ 617 w 722"/>
                <a:gd name="T23" fmla="*/ 236 h 905"/>
                <a:gd name="T24" fmla="*/ 587 w 722"/>
                <a:gd name="T25" fmla="*/ 241 h 905"/>
                <a:gd name="T26" fmla="*/ 572 w 722"/>
                <a:gd name="T27" fmla="*/ 271 h 905"/>
                <a:gd name="T28" fmla="*/ 217 w 722"/>
                <a:gd name="T29" fmla="*/ 181 h 905"/>
                <a:gd name="T30" fmla="*/ 191 w 722"/>
                <a:gd name="T31" fmla="*/ 220 h 905"/>
                <a:gd name="T32" fmla="*/ 150 w 722"/>
                <a:gd name="T33" fmla="*/ 240 h 905"/>
                <a:gd name="T34" fmla="*/ 30 w 722"/>
                <a:gd name="T35" fmla="*/ 125 h 905"/>
                <a:gd name="T36" fmla="*/ 42 w 722"/>
                <a:gd name="T37" fmla="*/ 86 h 905"/>
                <a:gd name="T38" fmla="*/ 66 w 722"/>
                <a:gd name="T39" fmla="*/ 55 h 905"/>
                <a:gd name="T40" fmla="*/ 100 w 722"/>
                <a:gd name="T41" fmla="*/ 35 h 905"/>
                <a:gd name="T42" fmla="*/ 138 w 722"/>
                <a:gd name="T43" fmla="*/ 30 h 905"/>
                <a:gd name="T44" fmla="*/ 174 w 722"/>
                <a:gd name="T45" fmla="*/ 43 h 905"/>
                <a:gd name="T46" fmla="*/ 203 w 722"/>
                <a:gd name="T47" fmla="*/ 69 h 905"/>
                <a:gd name="T48" fmla="*/ 221 w 722"/>
                <a:gd name="T49" fmla="*/ 105 h 905"/>
                <a:gd name="T50" fmla="*/ 225 w 722"/>
                <a:gd name="T51" fmla="*/ 143 h 905"/>
                <a:gd name="T52" fmla="*/ 129 w 722"/>
                <a:gd name="T53" fmla="*/ 152 h 905"/>
                <a:gd name="T54" fmla="*/ 121 w 722"/>
                <a:gd name="T55" fmla="*/ 160 h 905"/>
                <a:gd name="T56" fmla="*/ 120 w 722"/>
                <a:gd name="T57" fmla="*/ 604 h 905"/>
                <a:gd name="T58" fmla="*/ 720 w 722"/>
                <a:gd name="T59" fmla="*/ 110 h 905"/>
                <a:gd name="T60" fmla="*/ 699 w 722"/>
                <a:gd name="T61" fmla="*/ 62 h 905"/>
                <a:gd name="T62" fmla="*/ 661 w 722"/>
                <a:gd name="T63" fmla="*/ 24 h 905"/>
                <a:gd name="T64" fmla="*/ 614 w 722"/>
                <a:gd name="T65" fmla="*/ 3 h 905"/>
                <a:gd name="T66" fmla="*/ 134 w 722"/>
                <a:gd name="T67" fmla="*/ 0 h 905"/>
                <a:gd name="T68" fmla="*/ 116 w 722"/>
                <a:gd name="T69" fmla="*/ 1 h 905"/>
                <a:gd name="T70" fmla="*/ 67 w 722"/>
                <a:gd name="T71" fmla="*/ 16 h 905"/>
                <a:gd name="T72" fmla="*/ 29 w 722"/>
                <a:gd name="T73" fmla="*/ 50 h 905"/>
                <a:gd name="T74" fmla="*/ 5 w 722"/>
                <a:gd name="T75" fmla="*/ 96 h 905"/>
                <a:gd name="T76" fmla="*/ 0 w 722"/>
                <a:gd name="T77" fmla="*/ 619 h 905"/>
                <a:gd name="T78" fmla="*/ 4 w 722"/>
                <a:gd name="T79" fmla="*/ 629 h 905"/>
                <a:gd name="T80" fmla="*/ 15 w 722"/>
                <a:gd name="T81" fmla="*/ 634 h 905"/>
                <a:gd name="T82" fmla="*/ 121 w 722"/>
                <a:gd name="T83" fmla="*/ 895 h 905"/>
                <a:gd name="T84" fmla="*/ 129 w 722"/>
                <a:gd name="T85" fmla="*/ 904 h 905"/>
                <a:gd name="T86" fmla="*/ 590 w 722"/>
                <a:gd name="T87" fmla="*/ 905 h 905"/>
                <a:gd name="T88" fmla="*/ 600 w 722"/>
                <a:gd name="T89" fmla="*/ 898 h 905"/>
                <a:gd name="T90" fmla="*/ 602 w 722"/>
                <a:gd name="T91" fmla="*/ 270 h 905"/>
                <a:gd name="T92" fmla="*/ 648 w 722"/>
                <a:gd name="T93" fmla="*/ 255 h 905"/>
                <a:gd name="T94" fmla="*/ 687 w 722"/>
                <a:gd name="T95" fmla="*/ 225 h 905"/>
                <a:gd name="T96" fmla="*/ 713 w 722"/>
                <a:gd name="T97" fmla="*/ 183 h 905"/>
                <a:gd name="T98" fmla="*/ 722 w 722"/>
                <a:gd name="T99" fmla="*/ 136 h 9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722" h="905">
                  <a:moveTo>
                    <a:pt x="587" y="241"/>
                  </a:moveTo>
                  <a:lnTo>
                    <a:pt x="211" y="241"/>
                  </a:lnTo>
                  <a:lnTo>
                    <a:pt x="221" y="231"/>
                  </a:lnTo>
                  <a:lnTo>
                    <a:pt x="230" y="221"/>
                  </a:lnTo>
                  <a:lnTo>
                    <a:pt x="237" y="209"/>
                  </a:lnTo>
                  <a:lnTo>
                    <a:pt x="244" y="195"/>
                  </a:lnTo>
                  <a:lnTo>
                    <a:pt x="249" y="182"/>
                  </a:lnTo>
                  <a:lnTo>
                    <a:pt x="252" y="167"/>
                  </a:lnTo>
                  <a:lnTo>
                    <a:pt x="254" y="152"/>
                  </a:lnTo>
                  <a:lnTo>
                    <a:pt x="256" y="136"/>
                  </a:lnTo>
                  <a:lnTo>
                    <a:pt x="254" y="120"/>
                  </a:lnTo>
                  <a:lnTo>
                    <a:pt x="252" y="105"/>
                  </a:lnTo>
                  <a:lnTo>
                    <a:pt x="248" y="91"/>
                  </a:lnTo>
                  <a:lnTo>
                    <a:pt x="243" y="77"/>
                  </a:lnTo>
                  <a:lnTo>
                    <a:pt x="235" y="64"/>
                  </a:lnTo>
                  <a:lnTo>
                    <a:pt x="227" y="52"/>
                  </a:lnTo>
                  <a:lnTo>
                    <a:pt x="218" y="40"/>
                  </a:lnTo>
                  <a:lnTo>
                    <a:pt x="207" y="30"/>
                  </a:lnTo>
                  <a:lnTo>
                    <a:pt x="587" y="30"/>
                  </a:lnTo>
                  <a:lnTo>
                    <a:pt x="598" y="30"/>
                  </a:lnTo>
                  <a:lnTo>
                    <a:pt x="607" y="33"/>
                  </a:lnTo>
                  <a:lnTo>
                    <a:pt x="617" y="36"/>
                  </a:lnTo>
                  <a:lnTo>
                    <a:pt x="627" y="39"/>
                  </a:lnTo>
                  <a:lnTo>
                    <a:pt x="635" y="43"/>
                  </a:lnTo>
                  <a:lnTo>
                    <a:pt x="645" y="50"/>
                  </a:lnTo>
                  <a:lnTo>
                    <a:pt x="652" y="56"/>
                  </a:lnTo>
                  <a:lnTo>
                    <a:pt x="660" y="63"/>
                  </a:lnTo>
                  <a:lnTo>
                    <a:pt x="668" y="70"/>
                  </a:lnTo>
                  <a:lnTo>
                    <a:pt x="674" y="79"/>
                  </a:lnTo>
                  <a:lnTo>
                    <a:pt x="679" y="87"/>
                  </a:lnTo>
                  <a:lnTo>
                    <a:pt x="684" y="96"/>
                  </a:lnTo>
                  <a:lnTo>
                    <a:pt x="688" y="106"/>
                  </a:lnTo>
                  <a:lnTo>
                    <a:pt x="690" y="115"/>
                  </a:lnTo>
                  <a:lnTo>
                    <a:pt x="692" y="126"/>
                  </a:lnTo>
                  <a:lnTo>
                    <a:pt x="692" y="136"/>
                  </a:lnTo>
                  <a:lnTo>
                    <a:pt x="692" y="145"/>
                  </a:lnTo>
                  <a:lnTo>
                    <a:pt x="690" y="156"/>
                  </a:lnTo>
                  <a:lnTo>
                    <a:pt x="688" y="166"/>
                  </a:lnTo>
                  <a:lnTo>
                    <a:pt x="684" y="176"/>
                  </a:lnTo>
                  <a:lnTo>
                    <a:pt x="679" y="184"/>
                  </a:lnTo>
                  <a:lnTo>
                    <a:pt x="674" y="193"/>
                  </a:lnTo>
                  <a:lnTo>
                    <a:pt x="668" y="201"/>
                  </a:lnTo>
                  <a:lnTo>
                    <a:pt x="660" y="209"/>
                  </a:lnTo>
                  <a:lnTo>
                    <a:pt x="652" y="216"/>
                  </a:lnTo>
                  <a:lnTo>
                    <a:pt x="645" y="222"/>
                  </a:lnTo>
                  <a:lnTo>
                    <a:pt x="635" y="228"/>
                  </a:lnTo>
                  <a:lnTo>
                    <a:pt x="627" y="233"/>
                  </a:lnTo>
                  <a:lnTo>
                    <a:pt x="617" y="236"/>
                  </a:lnTo>
                  <a:lnTo>
                    <a:pt x="607" y="239"/>
                  </a:lnTo>
                  <a:lnTo>
                    <a:pt x="598" y="241"/>
                  </a:lnTo>
                  <a:lnTo>
                    <a:pt x="587" y="241"/>
                  </a:lnTo>
                  <a:lnTo>
                    <a:pt x="587" y="241"/>
                  </a:lnTo>
                  <a:close/>
                  <a:moveTo>
                    <a:pt x="572" y="874"/>
                  </a:moveTo>
                  <a:lnTo>
                    <a:pt x="150" y="874"/>
                  </a:lnTo>
                  <a:lnTo>
                    <a:pt x="150" y="271"/>
                  </a:lnTo>
                  <a:lnTo>
                    <a:pt x="572" y="271"/>
                  </a:lnTo>
                  <a:lnTo>
                    <a:pt x="572" y="874"/>
                  </a:lnTo>
                  <a:close/>
                  <a:moveTo>
                    <a:pt x="150" y="240"/>
                  </a:moveTo>
                  <a:lnTo>
                    <a:pt x="150" y="181"/>
                  </a:lnTo>
                  <a:lnTo>
                    <a:pt x="217" y="181"/>
                  </a:lnTo>
                  <a:lnTo>
                    <a:pt x="211" y="192"/>
                  </a:lnTo>
                  <a:lnTo>
                    <a:pt x="206" y="201"/>
                  </a:lnTo>
                  <a:lnTo>
                    <a:pt x="199" y="211"/>
                  </a:lnTo>
                  <a:lnTo>
                    <a:pt x="191" y="220"/>
                  </a:lnTo>
                  <a:lnTo>
                    <a:pt x="182" y="226"/>
                  </a:lnTo>
                  <a:lnTo>
                    <a:pt x="172" y="233"/>
                  </a:lnTo>
                  <a:lnTo>
                    <a:pt x="161" y="237"/>
                  </a:lnTo>
                  <a:lnTo>
                    <a:pt x="150" y="240"/>
                  </a:lnTo>
                  <a:lnTo>
                    <a:pt x="150" y="240"/>
                  </a:lnTo>
                  <a:close/>
                  <a:moveTo>
                    <a:pt x="30" y="604"/>
                  </a:moveTo>
                  <a:lnTo>
                    <a:pt x="30" y="136"/>
                  </a:lnTo>
                  <a:lnTo>
                    <a:pt x="30" y="125"/>
                  </a:lnTo>
                  <a:lnTo>
                    <a:pt x="32" y="115"/>
                  </a:lnTo>
                  <a:lnTo>
                    <a:pt x="34" y="105"/>
                  </a:lnTo>
                  <a:lnTo>
                    <a:pt x="37" y="96"/>
                  </a:lnTo>
                  <a:lnTo>
                    <a:pt x="42" y="86"/>
                  </a:lnTo>
                  <a:lnTo>
                    <a:pt x="47" y="78"/>
                  </a:lnTo>
                  <a:lnTo>
                    <a:pt x="52" y="69"/>
                  </a:lnTo>
                  <a:lnTo>
                    <a:pt x="59" y="62"/>
                  </a:lnTo>
                  <a:lnTo>
                    <a:pt x="66" y="55"/>
                  </a:lnTo>
                  <a:lnTo>
                    <a:pt x="74" y="49"/>
                  </a:lnTo>
                  <a:lnTo>
                    <a:pt x="82" y="43"/>
                  </a:lnTo>
                  <a:lnTo>
                    <a:pt x="91" y="39"/>
                  </a:lnTo>
                  <a:lnTo>
                    <a:pt x="100" y="35"/>
                  </a:lnTo>
                  <a:lnTo>
                    <a:pt x="109" y="33"/>
                  </a:lnTo>
                  <a:lnTo>
                    <a:pt x="119" y="30"/>
                  </a:lnTo>
                  <a:lnTo>
                    <a:pt x="129" y="30"/>
                  </a:lnTo>
                  <a:lnTo>
                    <a:pt x="138" y="30"/>
                  </a:lnTo>
                  <a:lnTo>
                    <a:pt x="148" y="33"/>
                  </a:lnTo>
                  <a:lnTo>
                    <a:pt x="157" y="35"/>
                  </a:lnTo>
                  <a:lnTo>
                    <a:pt x="165" y="39"/>
                  </a:lnTo>
                  <a:lnTo>
                    <a:pt x="174" y="43"/>
                  </a:lnTo>
                  <a:lnTo>
                    <a:pt x="182" y="49"/>
                  </a:lnTo>
                  <a:lnTo>
                    <a:pt x="190" y="55"/>
                  </a:lnTo>
                  <a:lnTo>
                    <a:pt x="196" y="62"/>
                  </a:lnTo>
                  <a:lnTo>
                    <a:pt x="203" y="69"/>
                  </a:lnTo>
                  <a:lnTo>
                    <a:pt x="208" y="78"/>
                  </a:lnTo>
                  <a:lnTo>
                    <a:pt x="214" y="86"/>
                  </a:lnTo>
                  <a:lnTo>
                    <a:pt x="218" y="95"/>
                  </a:lnTo>
                  <a:lnTo>
                    <a:pt x="221" y="105"/>
                  </a:lnTo>
                  <a:lnTo>
                    <a:pt x="223" y="115"/>
                  </a:lnTo>
                  <a:lnTo>
                    <a:pt x="224" y="125"/>
                  </a:lnTo>
                  <a:lnTo>
                    <a:pt x="225" y="136"/>
                  </a:lnTo>
                  <a:lnTo>
                    <a:pt x="225" y="143"/>
                  </a:lnTo>
                  <a:lnTo>
                    <a:pt x="224" y="151"/>
                  </a:lnTo>
                  <a:lnTo>
                    <a:pt x="135" y="151"/>
                  </a:lnTo>
                  <a:lnTo>
                    <a:pt x="132" y="151"/>
                  </a:lnTo>
                  <a:lnTo>
                    <a:pt x="129" y="152"/>
                  </a:lnTo>
                  <a:lnTo>
                    <a:pt x="126" y="153"/>
                  </a:lnTo>
                  <a:lnTo>
                    <a:pt x="124" y="155"/>
                  </a:lnTo>
                  <a:lnTo>
                    <a:pt x="122" y="157"/>
                  </a:lnTo>
                  <a:lnTo>
                    <a:pt x="121" y="160"/>
                  </a:lnTo>
                  <a:lnTo>
                    <a:pt x="120" y="163"/>
                  </a:lnTo>
                  <a:lnTo>
                    <a:pt x="120" y="166"/>
                  </a:lnTo>
                  <a:lnTo>
                    <a:pt x="120" y="256"/>
                  </a:lnTo>
                  <a:lnTo>
                    <a:pt x="120" y="604"/>
                  </a:lnTo>
                  <a:lnTo>
                    <a:pt x="30" y="604"/>
                  </a:lnTo>
                  <a:close/>
                  <a:moveTo>
                    <a:pt x="722" y="136"/>
                  </a:moveTo>
                  <a:lnTo>
                    <a:pt x="722" y="123"/>
                  </a:lnTo>
                  <a:lnTo>
                    <a:pt x="720" y="110"/>
                  </a:lnTo>
                  <a:lnTo>
                    <a:pt x="717" y="97"/>
                  </a:lnTo>
                  <a:lnTo>
                    <a:pt x="712" y="84"/>
                  </a:lnTo>
                  <a:lnTo>
                    <a:pt x="706" y="72"/>
                  </a:lnTo>
                  <a:lnTo>
                    <a:pt x="699" y="62"/>
                  </a:lnTo>
                  <a:lnTo>
                    <a:pt x="691" y="51"/>
                  </a:lnTo>
                  <a:lnTo>
                    <a:pt x="682" y="41"/>
                  </a:lnTo>
                  <a:lnTo>
                    <a:pt x="672" y="33"/>
                  </a:lnTo>
                  <a:lnTo>
                    <a:pt x="661" y="24"/>
                  </a:lnTo>
                  <a:lnTo>
                    <a:pt x="650" y="17"/>
                  </a:lnTo>
                  <a:lnTo>
                    <a:pt x="638" y="11"/>
                  </a:lnTo>
                  <a:lnTo>
                    <a:pt x="626" y="7"/>
                  </a:lnTo>
                  <a:lnTo>
                    <a:pt x="614" y="3"/>
                  </a:lnTo>
                  <a:lnTo>
                    <a:pt x="601" y="1"/>
                  </a:lnTo>
                  <a:lnTo>
                    <a:pt x="587" y="0"/>
                  </a:lnTo>
                  <a:lnTo>
                    <a:pt x="135" y="0"/>
                  </a:lnTo>
                  <a:lnTo>
                    <a:pt x="134" y="0"/>
                  </a:lnTo>
                  <a:lnTo>
                    <a:pt x="133" y="0"/>
                  </a:lnTo>
                  <a:lnTo>
                    <a:pt x="131" y="0"/>
                  </a:lnTo>
                  <a:lnTo>
                    <a:pt x="129" y="0"/>
                  </a:lnTo>
                  <a:lnTo>
                    <a:pt x="116" y="1"/>
                  </a:lnTo>
                  <a:lnTo>
                    <a:pt x="103" y="2"/>
                  </a:lnTo>
                  <a:lnTo>
                    <a:pt x="90" y="7"/>
                  </a:lnTo>
                  <a:lnTo>
                    <a:pt x="78" y="11"/>
                  </a:lnTo>
                  <a:lnTo>
                    <a:pt x="67" y="16"/>
                  </a:lnTo>
                  <a:lnTo>
                    <a:pt x="57" y="24"/>
                  </a:lnTo>
                  <a:lnTo>
                    <a:pt x="47" y="31"/>
                  </a:lnTo>
                  <a:lnTo>
                    <a:pt x="37" y="40"/>
                  </a:lnTo>
                  <a:lnTo>
                    <a:pt x="29" y="50"/>
                  </a:lnTo>
                  <a:lnTo>
                    <a:pt x="21" y="60"/>
                  </a:lnTo>
                  <a:lnTo>
                    <a:pt x="15" y="71"/>
                  </a:lnTo>
                  <a:lnTo>
                    <a:pt x="9" y="83"/>
                  </a:lnTo>
                  <a:lnTo>
                    <a:pt x="5" y="96"/>
                  </a:lnTo>
                  <a:lnTo>
                    <a:pt x="2" y="109"/>
                  </a:lnTo>
                  <a:lnTo>
                    <a:pt x="0" y="122"/>
                  </a:lnTo>
                  <a:lnTo>
                    <a:pt x="0" y="136"/>
                  </a:lnTo>
                  <a:lnTo>
                    <a:pt x="0" y="619"/>
                  </a:lnTo>
                  <a:lnTo>
                    <a:pt x="0" y="621"/>
                  </a:lnTo>
                  <a:lnTo>
                    <a:pt x="1" y="624"/>
                  </a:lnTo>
                  <a:lnTo>
                    <a:pt x="2" y="626"/>
                  </a:lnTo>
                  <a:lnTo>
                    <a:pt x="4" y="629"/>
                  </a:lnTo>
                  <a:lnTo>
                    <a:pt x="6" y="630"/>
                  </a:lnTo>
                  <a:lnTo>
                    <a:pt x="8" y="633"/>
                  </a:lnTo>
                  <a:lnTo>
                    <a:pt x="11" y="633"/>
                  </a:lnTo>
                  <a:lnTo>
                    <a:pt x="15" y="634"/>
                  </a:lnTo>
                  <a:lnTo>
                    <a:pt x="120" y="634"/>
                  </a:lnTo>
                  <a:lnTo>
                    <a:pt x="120" y="890"/>
                  </a:lnTo>
                  <a:lnTo>
                    <a:pt x="120" y="893"/>
                  </a:lnTo>
                  <a:lnTo>
                    <a:pt x="121" y="895"/>
                  </a:lnTo>
                  <a:lnTo>
                    <a:pt x="122" y="898"/>
                  </a:lnTo>
                  <a:lnTo>
                    <a:pt x="124" y="900"/>
                  </a:lnTo>
                  <a:lnTo>
                    <a:pt x="126" y="902"/>
                  </a:lnTo>
                  <a:lnTo>
                    <a:pt x="129" y="904"/>
                  </a:lnTo>
                  <a:lnTo>
                    <a:pt x="132" y="905"/>
                  </a:lnTo>
                  <a:lnTo>
                    <a:pt x="135" y="905"/>
                  </a:lnTo>
                  <a:lnTo>
                    <a:pt x="587" y="905"/>
                  </a:lnTo>
                  <a:lnTo>
                    <a:pt x="590" y="905"/>
                  </a:lnTo>
                  <a:lnTo>
                    <a:pt x="593" y="904"/>
                  </a:lnTo>
                  <a:lnTo>
                    <a:pt x="595" y="902"/>
                  </a:lnTo>
                  <a:lnTo>
                    <a:pt x="598" y="900"/>
                  </a:lnTo>
                  <a:lnTo>
                    <a:pt x="600" y="898"/>
                  </a:lnTo>
                  <a:lnTo>
                    <a:pt x="601" y="895"/>
                  </a:lnTo>
                  <a:lnTo>
                    <a:pt x="602" y="893"/>
                  </a:lnTo>
                  <a:lnTo>
                    <a:pt x="602" y="890"/>
                  </a:lnTo>
                  <a:lnTo>
                    <a:pt x="602" y="270"/>
                  </a:lnTo>
                  <a:lnTo>
                    <a:pt x="615" y="268"/>
                  </a:lnTo>
                  <a:lnTo>
                    <a:pt x="626" y="265"/>
                  </a:lnTo>
                  <a:lnTo>
                    <a:pt x="637" y="260"/>
                  </a:lnTo>
                  <a:lnTo>
                    <a:pt x="648" y="255"/>
                  </a:lnTo>
                  <a:lnTo>
                    <a:pt x="659" y="249"/>
                  </a:lnTo>
                  <a:lnTo>
                    <a:pt x="669" y="241"/>
                  </a:lnTo>
                  <a:lnTo>
                    <a:pt x="678" y="234"/>
                  </a:lnTo>
                  <a:lnTo>
                    <a:pt x="687" y="225"/>
                  </a:lnTo>
                  <a:lnTo>
                    <a:pt x="694" y="215"/>
                  </a:lnTo>
                  <a:lnTo>
                    <a:pt x="702" y="206"/>
                  </a:lnTo>
                  <a:lnTo>
                    <a:pt x="708" y="195"/>
                  </a:lnTo>
                  <a:lnTo>
                    <a:pt x="713" y="183"/>
                  </a:lnTo>
                  <a:lnTo>
                    <a:pt x="717" y="172"/>
                  </a:lnTo>
                  <a:lnTo>
                    <a:pt x="720" y="160"/>
                  </a:lnTo>
                  <a:lnTo>
                    <a:pt x="722" y="148"/>
                  </a:lnTo>
                  <a:lnTo>
                    <a:pt x="722" y="136"/>
                  </a:lnTo>
                  <a:lnTo>
                    <a:pt x="722" y="1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6" name="Freeform 51"/>
            <p:cNvSpPr>
              <a:spLocks/>
            </p:cNvSpPr>
            <p:nvPr/>
          </p:nvSpPr>
          <p:spPr bwMode="auto">
            <a:xfrm>
              <a:off x="995363" y="2051050"/>
              <a:ext cx="57150" cy="9525"/>
            </a:xfrm>
            <a:custGeom>
              <a:avLst/>
              <a:gdLst>
                <a:gd name="T0" fmla="*/ 15 w 181"/>
                <a:gd name="T1" fmla="*/ 30 h 30"/>
                <a:gd name="T2" fmla="*/ 166 w 181"/>
                <a:gd name="T3" fmla="*/ 30 h 30"/>
                <a:gd name="T4" fmla="*/ 169 w 181"/>
                <a:gd name="T5" fmla="*/ 30 h 30"/>
                <a:gd name="T6" fmla="*/ 172 w 181"/>
                <a:gd name="T7" fmla="*/ 29 h 30"/>
                <a:gd name="T8" fmla="*/ 174 w 181"/>
                <a:gd name="T9" fmla="*/ 28 h 30"/>
                <a:gd name="T10" fmla="*/ 176 w 181"/>
                <a:gd name="T11" fmla="*/ 25 h 30"/>
                <a:gd name="T12" fmla="*/ 178 w 181"/>
                <a:gd name="T13" fmla="*/ 23 h 30"/>
                <a:gd name="T14" fmla="*/ 180 w 181"/>
                <a:gd name="T15" fmla="*/ 21 h 30"/>
                <a:gd name="T16" fmla="*/ 181 w 181"/>
                <a:gd name="T17" fmla="*/ 18 h 30"/>
                <a:gd name="T18" fmla="*/ 181 w 181"/>
                <a:gd name="T19" fmla="*/ 15 h 30"/>
                <a:gd name="T20" fmla="*/ 181 w 181"/>
                <a:gd name="T21" fmla="*/ 13 h 30"/>
                <a:gd name="T22" fmla="*/ 180 w 181"/>
                <a:gd name="T23" fmla="*/ 9 h 30"/>
                <a:gd name="T24" fmla="*/ 178 w 181"/>
                <a:gd name="T25" fmla="*/ 7 h 30"/>
                <a:gd name="T26" fmla="*/ 176 w 181"/>
                <a:gd name="T27" fmla="*/ 4 h 30"/>
                <a:gd name="T28" fmla="*/ 174 w 181"/>
                <a:gd name="T29" fmla="*/ 3 h 30"/>
                <a:gd name="T30" fmla="*/ 172 w 181"/>
                <a:gd name="T31" fmla="*/ 1 h 30"/>
                <a:gd name="T32" fmla="*/ 169 w 181"/>
                <a:gd name="T33" fmla="*/ 1 h 30"/>
                <a:gd name="T34" fmla="*/ 166 w 181"/>
                <a:gd name="T35" fmla="*/ 0 h 30"/>
                <a:gd name="T36" fmla="*/ 15 w 181"/>
                <a:gd name="T37" fmla="*/ 0 h 30"/>
                <a:gd name="T38" fmla="*/ 12 w 181"/>
                <a:gd name="T39" fmla="*/ 1 h 30"/>
                <a:gd name="T40" fmla="*/ 10 w 181"/>
                <a:gd name="T41" fmla="*/ 1 h 30"/>
                <a:gd name="T42" fmla="*/ 6 w 181"/>
                <a:gd name="T43" fmla="*/ 3 h 30"/>
                <a:gd name="T44" fmla="*/ 4 w 181"/>
                <a:gd name="T45" fmla="*/ 4 h 30"/>
                <a:gd name="T46" fmla="*/ 2 w 181"/>
                <a:gd name="T47" fmla="*/ 7 h 30"/>
                <a:gd name="T48" fmla="*/ 1 w 181"/>
                <a:gd name="T49" fmla="*/ 9 h 30"/>
                <a:gd name="T50" fmla="*/ 0 w 181"/>
                <a:gd name="T51" fmla="*/ 13 h 30"/>
                <a:gd name="T52" fmla="*/ 0 w 181"/>
                <a:gd name="T53" fmla="*/ 15 h 30"/>
                <a:gd name="T54" fmla="*/ 0 w 181"/>
                <a:gd name="T55" fmla="*/ 18 h 30"/>
                <a:gd name="T56" fmla="*/ 1 w 181"/>
                <a:gd name="T57" fmla="*/ 21 h 30"/>
                <a:gd name="T58" fmla="*/ 2 w 181"/>
                <a:gd name="T59" fmla="*/ 23 h 30"/>
                <a:gd name="T60" fmla="*/ 4 w 181"/>
                <a:gd name="T61" fmla="*/ 25 h 30"/>
                <a:gd name="T62" fmla="*/ 6 w 181"/>
                <a:gd name="T63" fmla="*/ 28 h 30"/>
                <a:gd name="T64" fmla="*/ 10 w 181"/>
                <a:gd name="T65" fmla="*/ 29 h 30"/>
                <a:gd name="T66" fmla="*/ 12 w 181"/>
                <a:gd name="T67" fmla="*/ 30 h 30"/>
                <a:gd name="T68" fmla="*/ 15 w 181"/>
                <a:gd name="T69"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1" h="30">
                  <a:moveTo>
                    <a:pt x="15" y="30"/>
                  </a:moveTo>
                  <a:lnTo>
                    <a:pt x="166" y="30"/>
                  </a:lnTo>
                  <a:lnTo>
                    <a:pt x="169" y="30"/>
                  </a:lnTo>
                  <a:lnTo>
                    <a:pt x="172" y="29"/>
                  </a:lnTo>
                  <a:lnTo>
                    <a:pt x="174" y="28"/>
                  </a:lnTo>
                  <a:lnTo>
                    <a:pt x="176" y="25"/>
                  </a:lnTo>
                  <a:lnTo>
                    <a:pt x="178" y="23"/>
                  </a:lnTo>
                  <a:lnTo>
                    <a:pt x="180" y="21"/>
                  </a:lnTo>
                  <a:lnTo>
                    <a:pt x="181" y="18"/>
                  </a:lnTo>
                  <a:lnTo>
                    <a:pt x="181" y="15"/>
                  </a:lnTo>
                  <a:lnTo>
                    <a:pt x="181" y="13"/>
                  </a:lnTo>
                  <a:lnTo>
                    <a:pt x="180" y="9"/>
                  </a:lnTo>
                  <a:lnTo>
                    <a:pt x="178" y="7"/>
                  </a:lnTo>
                  <a:lnTo>
                    <a:pt x="176" y="4"/>
                  </a:lnTo>
                  <a:lnTo>
                    <a:pt x="174" y="3"/>
                  </a:lnTo>
                  <a:lnTo>
                    <a:pt x="172" y="1"/>
                  </a:lnTo>
                  <a:lnTo>
                    <a:pt x="169" y="1"/>
                  </a:lnTo>
                  <a:lnTo>
                    <a:pt x="166" y="0"/>
                  </a:lnTo>
                  <a:lnTo>
                    <a:pt x="15" y="0"/>
                  </a:lnTo>
                  <a:lnTo>
                    <a:pt x="12" y="1"/>
                  </a:lnTo>
                  <a:lnTo>
                    <a:pt x="10" y="1"/>
                  </a:lnTo>
                  <a:lnTo>
                    <a:pt x="6" y="3"/>
                  </a:lnTo>
                  <a:lnTo>
                    <a:pt x="4" y="4"/>
                  </a:lnTo>
                  <a:lnTo>
                    <a:pt x="2" y="7"/>
                  </a:lnTo>
                  <a:lnTo>
                    <a:pt x="1" y="9"/>
                  </a:lnTo>
                  <a:lnTo>
                    <a:pt x="0" y="13"/>
                  </a:lnTo>
                  <a:lnTo>
                    <a:pt x="0" y="15"/>
                  </a:lnTo>
                  <a:lnTo>
                    <a:pt x="0" y="18"/>
                  </a:lnTo>
                  <a:lnTo>
                    <a:pt x="1" y="21"/>
                  </a:lnTo>
                  <a:lnTo>
                    <a:pt x="2" y="23"/>
                  </a:lnTo>
                  <a:lnTo>
                    <a:pt x="4" y="25"/>
                  </a:lnTo>
                  <a:lnTo>
                    <a:pt x="6" y="28"/>
                  </a:lnTo>
                  <a:lnTo>
                    <a:pt x="10" y="29"/>
                  </a:lnTo>
                  <a:lnTo>
                    <a:pt x="12" y="30"/>
                  </a:lnTo>
                  <a:lnTo>
                    <a:pt x="15" y="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7" name="Freeform 52"/>
            <p:cNvSpPr>
              <a:spLocks/>
            </p:cNvSpPr>
            <p:nvPr/>
          </p:nvSpPr>
          <p:spPr bwMode="auto">
            <a:xfrm>
              <a:off x="995363" y="2098675"/>
              <a:ext cx="57150" cy="9525"/>
            </a:xfrm>
            <a:custGeom>
              <a:avLst/>
              <a:gdLst>
                <a:gd name="T0" fmla="*/ 15 w 181"/>
                <a:gd name="T1" fmla="*/ 31 h 31"/>
                <a:gd name="T2" fmla="*/ 166 w 181"/>
                <a:gd name="T3" fmla="*/ 31 h 31"/>
                <a:gd name="T4" fmla="*/ 169 w 181"/>
                <a:gd name="T5" fmla="*/ 30 h 31"/>
                <a:gd name="T6" fmla="*/ 172 w 181"/>
                <a:gd name="T7" fmla="*/ 30 h 31"/>
                <a:gd name="T8" fmla="*/ 174 w 181"/>
                <a:gd name="T9" fmla="*/ 28 h 31"/>
                <a:gd name="T10" fmla="*/ 176 w 181"/>
                <a:gd name="T11" fmla="*/ 27 h 31"/>
                <a:gd name="T12" fmla="*/ 178 w 181"/>
                <a:gd name="T13" fmla="*/ 24 h 31"/>
                <a:gd name="T14" fmla="*/ 180 w 181"/>
                <a:gd name="T15" fmla="*/ 22 h 31"/>
                <a:gd name="T16" fmla="*/ 181 w 181"/>
                <a:gd name="T17" fmla="*/ 19 h 31"/>
                <a:gd name="T18" fmla="*/ 181 w 181"/>
                <a:gd name="T19" fmla="*/ 16 h 31"/>
                <a:gd name="T20" fmla="*/ 181 w 181"/>
                <a:gd name="T21" fmla="*/ 13 h 31"/>
                <a:gd name="T22" fmla="*/ 180 w 181"/>
                <a:gd name="T23" fmla="*/ 10 h 31"/>
                <a:gd name="T24" fmla="*/ 178 w 181"/>
                <a:gd name="T25" fmla="*/ 8 h 31"/>
                <a:gd name="T26" fmla="*/ 176 w 181"/>
                <a:gd name="T27" fmla="*/ 6 h 31"/>
                <a:gd name="T28" fmla="*/ 174 w 181"/>
                <a:gd name="T29" fmla="*/ 3 h 31"/>
                <a:gd name="T30" fmla="*/ 172 w 181"/>
                <a:gd name="T31" fmla="*/ 2 h 31"/>
                <a:gd name="T32" fmla="*/ 169 w 181"/>
                <a:gd name="T33" fmla="*/ 1 h 31"/>
                <a:gd name="T34" fmla="*/ 166 w 181"/>
                <a:gd name="T35" fmla="*/ 1 h 31"/>
                <a:gd name="T36" fmla="*/ 15 w 181"/>
                <a:gd name="T37" fmla="*/ 0 h 31"/>
                <a:gd name="T38" fmla="*/ 12 w 181"/>
                <a:gd name="T39" fmla="*/ 1 h 31"/>
                <a:gd name="T40" fmla="*/ 10 w 181"/>
                <a:gd name="T41" fmla="*/ 2 h 31"/>
                <a:gd name="T42" fmla="*/ 6 w 181"/>
                <a:gd name="T43" fmla="*/ 3 h 31"/>
                <a:gd name="T44" fmla="*/ 4 w 181"/>
                <a:gd name="T45" fmla="*/ 6 h 31"/>
                <a:gd name="T46" fmla="*/ 2 w 181"/>
                <a:gd name="T47" fmla="*/ 8 h 31"/>
                <a:gd name="T48" fmla="*/ 1 w 181"/>
                <a:gd name="T49" fmla="*/ 10 h 31"/>
                <a:gd name="T50" fmla="*/ 0 w 181"/>
                <a:gd name="T51" fmla="*/ 13 h 31"/>
                <a:gd name="T52" fmla="*/ 0 w 181"/>
                <a:gd name="T53" fmla="*/ 16 h 31"/>
                <a:gd name="T54" fmla="*/ 0 w 181"/>
                <a:gd name="T55" fmla="*/ 19 h 31"/>
                <a:gd name="T56" fmla="*/ 1 w 181"/>
                <a:gd name="T57" fmla="*/ 22 h 31"/>
                <a:gd name="T58" fmla="*/ 2 w 181"/>
                <a:gd name="T59" fmla="*/ 24 h 31"/>
                <a:gd name="T60" fmla="*/ 4 w 181"/>
                <a:gd name="T61" fmla="*/ 27 h 31"/>
                <a:gd name="T62" fmla="*/ 6 w 181"/>
                <a:gd name="T63" fmla="*/ 28 h 31"/>
                <a:gd name="T64" fmla="*/ 10 w 181"/>
                <a:gd name="T65" fmla="*/ 30 h 31"/>
                <a:gd name="T66" fmla="*/ 12 w 181"/>
                <a:gd name="T67" fmla="*/ 30 h 31"/>
                <a:gd name="T68" fmla="*/ 15 w 181"/>
                <a:gd name="T69"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1" h="31">
                  <a:moveTo>
                    <a:pt x="15" y="31"/>
                  </a:moveTo>
                  <a:lnTo>
                    <a:pt x="166" y="31"/>
                  </a:lnTo>
                  <a:lnTo>
                    <a:pt x="169" y="30"/>
                  </a:lnTo>
                  <a:lnTo>
                    <a:pt x="172" y="30"/>
                  </a:lnTo>
                  <a:lnTo>
                    <a:pt x="174" y="28"/>
                  </a:lnTo>
                  <a:lnTo>
                    <a:pt x="176" y="27"/>
                  </a:lnTo>
                  <a:lnTo>
                    <a:pt x="178" y="24"/>
                  </a:lnTo>
                  <a:lnTo>
                    <a:pt x="180" y="22"/>
                  </a:lnTo>
                  <a:lnTo>
                    <a:pt x="181" y="19"/>
                  </a:lnTo>
                  <a:lnTo>
                    <a:pt x="181" y="16"/>
                  </a:lnTo>
                  <a:lnTo>
                    <a:pt x="181" y="13"/>
                  </a:lnTo>
                  <a:lnTo>
                    <a:pt x="180" y="10"/>
                  </a:lnTo>
                  <a:lnTo>
                    <a:pt x="178" y="8"/>
                  </a:lnTo>
                  <a:lnTo>
                    <a:pt x="176" y="6"/>
                  </a:lnTo>
                  <a:lnTo>
                    <a:pt x="174" y="3"/>
                  </a:lnTo>
                  <a:lnTo>
                    <a:pt x="172" y="2"/>
                  </a:lnTo>
                  <a:lnTo>
                    <a:pt x="169" y="1"/>
                  </a:lnTo>
                  <a:lnTo>
                    <a:pt x="166" y="1"/>
                  </a:lnTo>
                  <a:lnTo>
                    <a:pt x="15" y="0"/>
                  </a:lnTo>
                  <a:lnTo>
                    <a:pt x="12" y="1"/>
                  </a:lnTo>
                  <a:lnTo>
                    <a:pt x="10" y="2"/>
                  </a:lnTo>
                  <a:lnTo>
                    <a:pt x="6" y="3"/>
                  </a:lnTo>
                  <a:lnTo>
                    <a:pt x="4" y="6"/>
                  </a:lnTo>
                  <a:lnTo>
                    <a:pt x="2" y="8"/>
                  </a:lnTo>
                  <a:lnTo>
                    <a:pt x="1" y="10"/>
                  </a:lnTo>
                  <a:lnTo>
                    <a:pt x="0" y="13"/>
                  </a:lnTo>
                  <a:lnTo>
                    <a:pt x="0" y="16"/>
                  </a:lnTo>
                  <a:lnTo>
                    <a:pt x="0" y="19"/>
                  </a:lnTo>
                  <a:lnTo>
                    <a:pt x="1" y="22"/>
                  </a:lnTo>
                  <a:lnTo>
                    <a:pt x="2" y="24"/>
                  </a:lnTo>
                  <a:lnTo>
                    <a:pt x="4" y="27"/>
                  </a:lnTo>
                  <a:lnTo>
                    <a:pt x="6" y="28"/>
                  </a:lnTo>
                  <a:lnTo>
                    <a:pt x="10" y="30"/>
                  </a:lnTo>
                  <a:lnTo>
                    <a:pt x="12" y="30"/>
                  </a:lnTo>
                  <a:lnTo>
                    <a:pt x="15"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8" name="Freeform 53"/>
            <p:cNvSpPr>
              <a:spLocks/>
            </p:cNvSpPr>
            <p:nvPr/>
          </p:nvSpPr>
          <p:spPr bwMode="auto">
            <a:xfrm>
              <a:off x="995363" y="2146300"/>
              <a:ext cx="57150" cy="9525"/>
            </a:xfrm>
            <a:custGeom>
              <a:avLst/>
              <a:gdLst>
                <a:gd name="T0" fmla="*/ 15 w 181"/>
                <a:gd name="T1" fmla="*/ 30 h 30"/>
                <a:gd name="T2" fmla="*/ 166 w 181"/>
                <a:gd name="T3" fmla="*/ 30 h 30"/>
                <a:gd name="T4" fmla="*/ 169 w 181"/>
                <a:gd name="T5" fmla="*/ 30 h 30"/>
                <a:gd name="T6" fmla="*/ 172 w 181"/>
                <a:gd name="T7" fmla="*/ 29 h 30"/>
                <a:gd name="T8" fmla="*/ 174 w 181"/>
                <a:gd name="T9" fmla="*/ 27 h 30"/>
                <a:gd name="T10" fmla="*/ 176 w 181"/>
                <a:gd name="T11" fmla="*/ 26 h 30"/>
                <a:gd name="T12" fmla="*/ 178 w 181"/>
                <a:gd name="T13" fmla="*/ 23 h 30"/>
                <a:gd name="T14" fmla="*/ 180 w 181"/>
                <a:gd name="T15" fmla="*/ 20 h 30"/>
                <a:gd name="T16" fmla="*/ 181 w 181"/>
                <a:gd name="T17" fmla="*/ 18 h 30"/>
                <a:gd name="T18" fmla="*/ 181 w 181"/>
                <a:gd name="T19" fmla="*/ 15 h 30"/>
                <a:gd name="T20" fmla="*/ 181 w 181"/>
                <a:gd name="T21" fmla="*/ 12 h 30"/>
                <a:gd name="T22" fmla="*/ 180 w 181"/>
                <a:gd name="T23" fmla="*/ 8 h 30"/>
                <a:gd name="T24" fmla="*/ 178 w 181"/>
                <a:gd name="T25" fmla="*/ 6 h 30"/>
                <a:gd name="T26" fmla="*/ 176 w 181"/>
                <a:gd name="T27" fmla="*/ 4 h 30"/>
                <a:gd name="T28" fmla="*/ 174 w 181"/>
                <a:gd name="T29" fmla="*/ 2 h 30"/>
                <a:gd name="T30" fmla="*/ 172 w 181"/>
                <a:gd name="T31" fmla="*/ 1 h 30"/>
                <a:gd name="T32" fmla="*/ 169 w 181"/>
                <a:gd name="T33" fmla="*/ 0 h 30"/>
                <a:gd name="T34" fmla="*/ 166 w 181"/>
                <a:gd name="T35" fmla="*/ 0 h 30"/>
                <a:gd name="T36" fmla="*/ 15 w 181"/>
                <a:gd name="T37" fmla="*/ 0 h 30"/>
                <a:gd name="T38" fmla="*/ 12 w 181"/>
                <a:gd name="T39" fmla="*/ 0 h 30"/>
                <a:gd name="T40" fmla="*/ 10 w 181"/>
                <a:gd name="T41" fmla="*/ 1 h 30"/>
                <a:gd name="T42" fmla="*/ 6 w 181"/>
                <a:gd name="T43" fmla="*/ 2 h 30"/>
                <a:gd name="T44" fmla="*/ 4 w 181"/>
                <a:gd name="T45" fmla="*/ 4 h 30"/>
                <a:gd name="T46" fmla="*/ 2 w 181"/>
                <a:gd name="T47" fmla="*/ 6 h 30"/>
                <a:gd name="T48" fmla="*/ 1 w 181"/>
                <a:gd name="T49" fmla="*/ 8 h 30"/>
                <a:gd name="T50" fmla="*/ 0 w 181"/>
                <a:gd name="T51" fmla="*/ 12 h 30"/>
                <a:gd name="T52" fmla="*/ 0 w 181"/>
                <a:gd name="T53" fmla="*/ 15 h 30"/>
                <a:gd name="T54" fmla="*/ 0 w 181"/>
                <a:gd name="T55" fmla="*/ 18 h 30"/>
                <a:gd name="T56" fmla="*/ 1 w 181"/>
                <a:gd name="T57" fmla="*/ 20 h 30"/>
                <a:gd name="T58" fmla="*/ 2 w 181"/>
                <a:gd name="T59" fmla="*/ 23 h 30"/>
                <a:gd name="T60" fmla="*/ 4 w 181"/>
                <a:gd name="T61" fmla="*/ 26 h 30"/>
                <a:gd name="T62" fmla="*/ 6 w 181"/>
                <a:gd name="T63" fmla="*/ 27 h 30"/>
                <a:gd name="T64" fmla="*/ 10 w 181"/>
                <a:gd name="T65" fmla="*/ 29 h 30"/>
                <a:gd name="T66" fmla="*/ 12 w 181"/>
                <a:gd name="T67" fmla="*/ 30 h 30"/>
                <a:gd name="T68" fmla="*/ 15 w 181"/>
                <a:gd name="T69"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1" h="30">
                  <a:moveTo>
                    <a:pt x="15" y="30"/>
                  </a:moveTo>
                  <a:lnTo>
                    <a:pt x="166" y="30"/>
                  </a:lnTo>
                  <a:lnTo>
                    <a:pt x="169" y="30"/>
                  </a:lnTo>
                  <a:lnTo>
                    <a:pt x="172" y="29"/>
                  </a:lnTo>
                  <a:lnTo>
                    <a:pt x="174" y="27"/>
                  </a:lnTo>
                  <a:lnTo>
                    <a:pt x="176" y="26"/>
                  </a:lnTo>
                  <a:lnTo>
                    <a:pt x="178" y="23"/>
                  </a:lnTo>
                  <a:lnTo>
                    <a:pt x="180" y="20"/>
                  </a:lnTo>
                  <a:lnTo>
                    <a:pt x="181" y="18"/>
                  </a:lnTo>
                  <a:lnTo>
                    <a:pt x="181" y="15"/>
                  </a:lnTo>
                  <a:lnTo>
                    <a:pt x="181" y="12"/>
                  </a:lnTo>
                  <a:lnTo>
                    <a:pt x="180" y="8"/>
                  </a:lnTo>
                  <a:lnTo>
                    <a:pt x="178" y="6"/>
                  </a:lnTo>
                  <a:lnTo>
                    <a:pt x="176" y="4"/>
                  </a:lnTo>
                  <a:lnTo>
                    <a:pt x="174" y="2"/>
                  </a:lnTo>
                  <a:lnTo>
                    <a:pt x="172" y="1"/>
                  </a:lnTo>
                  <a:lnTo>
                    <a:pt x="169" y="0"/>
                  </a:lnTo>
                  <a:lnTo>
                    <a:pt x="166" y="0"/>
                  </a:lnTo>
                  <a:lnTo>
                    <a:pt x="15" y="0"/>
                  </a:lnTo>
                  <a:lnTo>
                    <a:pt x="12" y="0"/>
                  </a:lnTo>
                  <a:lnTo>
                    <a:pt x="10" y="1"/>
                  </a:lnTo>
                  <a:lnTo>
                    <a:pt x="6" y="2"/>
                  </a:lnTo>
                  <a:lnTo>
                    <a:pt x="4" y="4"/>
                  </a:lnTo>
                  <a:lnTo>
                    <a:pt x="2" y="6"/>
                  </a:lnTo>
                  <a:lnTo>
                    <a:pt x="1" y="8"/>
                  </a:lnTo>
                  <a:lnTo>
                    <a:pt x="0" y="12"/>
                  </a:lnTo>
                  <a:lnTo>
                    <a:pt x="0" y="15"/>
                  </a:lnTo>
                  <a:lnTo>
                    <a:pt x="0" y="18"/>
                  </a:lnTo>
                  <a:lnTo>
                    <a:pt x="1" y="20"/>
                  </a:lnTo>
                  <a:lnTo>
                    <a:pt x="2" y="23"/>
                  </a:lnTo>
                  <a:lnTo>
                    <a:pt x="4" y="26"/>
                  </a:lnTo>
                  <a:lnTo>
                    <a:pt x="6" y="27"/>
                  </a:lnTo>
                  <a:lnTo>
                    <a:pt x="10" y="29"/>
                  </a:lnTo>
                  <a:lnTo>
                    <a:pt x="12" y="30"/>
                  </a:lnTo>
                  <a:lnTo>
                    <a:pt x="15" y="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9" name="Freeform 54"/>
            <p:cNvSpPr>
              <a:spLocks/>
            </p:cNvSpPr>
            <p:nvPr/>
          </p:nvSpPr>
          <p:spPr bwMode="auto">
            <a:xfrm>
              <a:off x="947738" y="2022475"/>
              <a:ext cx="38100" cy="33338"/>
            </a:xfrm>
            <a:custGeom>
              <a:avLst/>
              <a:gdLst>
                <a:gd name="T0" fmla="*/ 20 w 121"/>
                <a:gd name="T1" fmla="*/ 101 h 106"/>
                <a:gd name="T2" fmla="*/ 22 w 121"/>
                <a:gd name="T3" fmla="*/ 104 h 106"/>
                <a:gd name="T4" fmla="*/ 25 w 121"/>
                <a:gd name="T5" fmla="*/ 105 h 106"/>
                <a:gd name="T6" fmla="*/ 27 w 121"/>
                <a:gd name="T7" fmla="*/ 106 h 106"/>
                <a:gd name="T8" fmla="*/ 30 w 121"/>
                <a:gd name="T9" fmla="*/ 106 h 106"/>
                <a:gd name="T10" fmla="*/ 36 w 121"/>
                <a:gd name="T11" fmla="*/ 105 h 106"/>
                <a:gd name="T12" fmla="*/ 41 w 121"/>
                <a:gd name="T13" fmla="*/ 101 h 106"/>
                <a:gd name="T14" fmla="*/ 116 w 121"/>
                <a:gd name="T15" fmla="*/ 26 h 106"/>
                <a:gd name="T16" fmla="*/ 119 w 121"/>
                <a:gd name="T17" fmla="*/ 24 h 106"/>
                <a:gd name="T18" fmla="*/ 120 w 121"/>
                <a:gd name="T19" fmla="*/ 21 h 106"/>
                <a:gd name="T20" fmla="*/ 121 w 121"/>
                <a:gd name="T21" fmla="*/ 19 h 106"/>
                <a:gd name="T22" fmla="*/ 121 w 121"/>
                <a:gd name="T23" fmla="*/ 15 h 106"/>
                <a:gd name="T24" fmla="*/ 121 w 121"/>
                <a:gd name="T25" fmla="*/ 13 h 106"/>
                <a:gd name="T26" fmla="*/ 120 w 121"/>
                <a:gd name="T27" fmla="*/ 10 h 106"/>
                <a:gd name="T28" fmla="*/ 119 w 121"/>
                <a:gd name="T29" fmla="*/ 8 h 106"/>
                <a:gd name="T30" fmla="*/ 116 w 121"/>
                <a:gd name="T31" fmla="*/ 5 h 106"/>
                <a:gd name="T32" fmla="*/ 114 w 121"/>
                <a:gd name="T33" fmla="*/ 4 h 106"/>
                <a:gd name="T34" fmla="*/ 111 w 121"/>
                <a:gd name="T35" fmla="*/ 1 h 106"/>
                <a:gd name="T36" fmla="*/ 109 w 121"/>
                <a:gd name="T37" fmla="*/ 0 h 106"/>
                <a:gd name="T38" fmla="*/ 106 w 121"/>
                <a:gd name="T39" fmla="*/ 0 h 106"/>
                <a:gd name="T40" fmla="*/ 103 w 121"/>
                <a:gd name="T41" fmla="*/ 0 h 106"/>
                <a:gd name="T42" fmla="*/ 100 w 121"/>
                <a:gd name="T43" fmla="*/ 1 h 106"/>
                <a:gd name="T44" fmla="*/ 97 w 121"/>
                <a:gd name="T45" fmla="*/ 4 h 106"/>
                <a:gd name="T46" fmla="*/ 95 w 121"/>
                <a:gd name="T47" fmla="*/ 5 h 106"/>
                <a:gd name="T48" fmla="*/ 30 w 121"/>
                <a:gd name="T49" fmla="*/ 69 h 106"/>
                <a:gd name="T50" fmla="*/ 26 w 121"/>
                <a:gd name="T51" fmla="*/ 65 h 106"/>
                <a:gd name="T52" fmla="*/ 24 w 121"/>
                <a:gd name="T53" fmla="*/ 64 h 106"/>
                <a:gd name="T54" fmla="*/ 21 w 121"/>
                <a:gd name="T55" fmla="*/ 62 h 106"/>
                <a:gd name="T56" fmla="*/ 18 w 121"/>
                <a:gd name="T57" fmla="*/ 62 h 106"/>
                <a:gd name="T58" fmla="*/ 15 w 121"/>
                <a:gd name="T59" fmla="*/ 61 h 106"/>
                <a:gd name="T60" fmla="*/ 12 w 121"/>
                <a:gd name="T61" fmla="*/ 62 h 106"/>
                <a:gd name="T62" fmla="*/ 10 w 121"/>
                <a:gd name="T63" fmla="*/ 62 h 106"/>
                <a:gd name="T64" fmla="*/ 7 w 121"/>
                <a:gd name="T65" fmla="*/ 64 h 106"/>
                <a:gd name="T66" fmla="*/ 5 w 121"/>
                <a:gd name="T67" fmla="*/ 65 h 106"/>
                <a:gd name="T68" fmla="*/ 2 w 121"/>
                <a:gd name="T69" fmla="*/ 68 h 106"/>
                <a:gd name="T70" fmla="*/ 1 w 121"/>
                <a:gd name="T71" fmla="*/ 70 h 106"/>
                <a:gd name="T72" fmla="*/ 0 w 121"/>
                <a:gd name="T73" fmla="*/ 73 h 106"/>
                <a:gd name="T74" fmla="*/ 0 w 121"/>
                <a:gd name="T75" fmla="*/ 76 h 106"/>
                <a:gd name="T76" fmla="*/ 0 w 121"/>
                <a:gd name="T77" fmla="*/ 79 h 106"/>
                <a:gd name="T78" fmla="*/ 1 w 121"/>
                <a:gd name="T79" fmla="*/ 82 h 106"/>
                <a:gd name="T80" fmla="*/ 2 w 121"/>
                <a:gd name="T81" fmla="*/ 84 h 106"/>
                <a:gd name="T82" fmla="*/ 5 w 121"/>
                <a:gd name="T83" fmla="*/ 86 h 106"/>
                <a:gd name="T84" fmla="*/ 20 w 121"/>
                <a:gd name="T85" fmla="*/ 101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21" h="106">
                  <a:moveTo>
                    <a:pt x="20" y="101"/>
                  </a:moveTo>
                  <a:lnTo>
                    <a:pt x="22" y="104"/>
                  </a:lnTo>
                  <a:lnTo>
                    <a:pt x="25" y="105"/>
                  </a:lnTo>
                  <a:lnTo>
                    <a:pt x="27" y="106"/>
                  </a:lnTo>
                  <a:lnTo>
                    <a:pt x="30" y="106"/>
                  </a:lnTo>
                  <a:lnTo>
                    <a:pt x="36" y="105"/>
                  </a:lnTo>
                  <a:lnTo>
                    <a:pt x="41" y="101"/>
                  </a:lnTo>
                  <a:lnTo>
                    <a:pt x="116" y="26"/>
                  </a:lnTo>
                  <a:lnTo>
                    <a:pt x="119" y="24"/>
                  </a:lnTo>
                  <a:lnTo>
                    <a:pt x="120" y="21"/>
                  </a:lnTo>
                  <a:lnTo>
                    <a:pt x="121" y="19"/>
                  </a:lnTo>
                  <a:lnTo>
                    <a:pt x="121" y="15"/>
                  </a:lnTo>
                  <a:lnTo>
                    <a:pt x="121" y="13"/>
                  </a:lnTo>
                  <a:lnTo>
                    <a:pt x="120" y="10"/>
                  </a:lnTo>
                  <a:lnTo>
                    <a:pt x="119" y="8"/>
                  </a:lnTo>
                  <a:lnTo>
                    <a:pt x="116" y="5"/>
                  </a:lnTo>
                  <a:lnTo>
                    <a:pt x="114" y="4"/>
                  </a:lnTo>
                  <a:lnTo>
                    <a:pt x="111" y="1"/>
                  </a:lnTo>
                  <a:lnTo>
                    <a:pt x="109" y="0"/>
                  </a:lnTo>
                  <a:lnTo>
                    <a:pt x="106" y="0"/>
                  </a:lnTo>
                  <a:lnTo>
                    <a:pt x="103" y="0"/>
                  </a:lnTo>
                  <a:lnTo>
                    <a:pt x="100" y="1"/>
                  </a:lnTo>
                  <a:lnTo>
                    <a:pt x="97" y="4"/>
                  </a:lnTo>
                  <a:lnTo>
                    <a:pt x="95" y="5"/>
                  </a:lnTo>
                  <a:lnTo>
                    <a:pt x="30" y="69"/>
                  </a:lnTo>
                  <a:lnTo>
                    <a:pt x="26" y="65"/>
                  </a:lnTo>
                  <a:lnTo>
                    <a:pt x="24" y="64"/>
                  </a:lnTo>
                  <a:lnTo>
                    <a:pt x="21" y="62"/>
                  </a:lnTo>
                  <a:lnTo>
                    <a:pt x="18" y="62"/>
                  </a:lnTo>
                  <a:lnTo>
                    <a:pt x="15" y="61"/>
                  </a:lnTo>
                  <a:lnTo>
                    <a:pt x="12" y="62"/>
                  </a:lnTo>
                  <a:lnTo>
                    <a:pt x="10" y="62"/>
                  </a:lnTo>
                  <a:lnTo>
                    <a:pt x="7" y="64"/>
                  </a:lnTo>
                  <a:lnTo>
                    <a:pt x="5" y="65"/>
                  </a:lnTo>
                  <a:lnTo>
                    <a:pt x="2" y="68"/>
                  </a:lnTo>
                  <a:lnTo>
                    <a:pt x="1" y="70"/>
                  </a:lnTo>
                  <a:lnTo>
                    <a:pt x="0" y="73"/>
                  </a:lnTo>
                  <a:lnTo>
                    <a:pt x="0" y="76"/>
                  </a:lnTo>
                  <a:lnTo>
                    <a:pt x="0" y="79"/>
                  </a:lnTo>
                  <a:lnTo>
                    <a:pt x="1" y="82"/>
                  </a:lnTo>
                  <a:lnTo>
                    <a:pt x="2" y="84"/>
                  </a:lnTo>
                  <a:lnTo>
                    <a:pt x="5" y="86"/>
                  </a:lnTo>
                  <a:lnTo>
                    <a:pt x="20" y="1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0" name="Freeform 55"/>
            <p:cNvSpPr>
              <a:spLocks/>
            </p:cNvSpPr>
            <p:nvPr/>
          </p:nvSpPr>
          <p:spPr bwMode="auto">
            <a:xfrm>
              <a:off x="947738" y="2070100"/>
              <a:ext cx="38100" cy="33338"/>
            </a:xfrm>
            <a:custGeom>
              <a:avLst/>
              <a:gdLst>
                <a:gd name="T0" fmla="*/ 20 w 121"/>
                <a:gd name="T1" fmla="*/ 101 h 106"/>
                <a:gd name="T2" fmla="*/ 22 w 121"/>
                <a:gd name="T3" fmla="*/ 103 h 106"/>
                <a:gd name="T4" fmla="*/ 25 w 121"/>
                <a:gd name="T5" fmla="*/ 105 h 106"/>
                <a:gd name="T6" fmla="*/ 27 w 121"/>
                <a:gd name="T7" fmla="*/ 105 h 106"/>
                <a:gd name="T8" fmla="*/ 30 w 121"/>
                <a:gd name="T9" fmla="*/ 106 h 106"/>
                <a:gd name="T10" fmla="*/ 34 w 121"/>
                <a:gd name="T11" fmla="*/ 105 h 106"/>
                <a:gd name="T12" fmla="*/ 36 w 121"/>
                <a:gd name="T13" fmla="*/ 105 h 106"/>
                <a:gd name="T14" fmla="*/ 39 w 121"/>
                <a:gd name="T15" fmla="*/ 103 h 106"/>
                <a:gd name="T16" fmla="*/ 41 w 121"/>
                <a:gd name="T17" fmla="*/ 102 h 106"/>
                <a:gd name="T18" fmla="*/ 116 w 121"/>
                <a:gd name="T19" fmla="*/ 26 h 106"/>
                <a:gd name="T20" fmla="*/ 119 w 121"/>
                <a:gd name="T21" fmla="*/ 24 h 106"/>
                <a:gd name="T22" fmla="*/ 120 w 121"/>
                <a:gd name="T23" fmla="*/ 21 h 106"/>
                <a:gd name="T24" fmla="*/ 121 w 121"/>
                <a:gd name="T25" fmla="*/ 18 h 106"/>
                <a:gd name="T26" fmla="*/ 121 w 121"/>
                <a:gd name="T27" fmla="*/ 15 h 106"/>
                <a:gd name="T28" fmla="*/ 121 w 121"/>
                <a:gd name="T29" fmla="*/ 13 h 106"/>
                <a:gd name="T30" fmla="*/ 120 w 121"/>
                <a:gd name="T31" fmla="*/ 10 h 106"/>
                <a:gd name="T32" fmla="*/ 119 w 121"/>
                <a:gd name="T33" fmla="*/ 7 h 106"/>
                <a:gd name="T34" fmla="*/ 116 w 121"/>
                <a:gd name="T35" fmla="*/ 5 h 106"/>
                <a:gd name="T36" fmla="*/ 114 w 121"/>
                <a:gd name="T37" fmla="*/ 3 h 106"/>
                <a:gd name="T38" fmla="*/ 111 w 121"/>
                <a:gd name="T39" fmla="*/ 1 h 106"/>
                <a:gd name="T40" fmla="*/ 109 w 121"/>
                <a:gd name="T41" fmla="*/ 1 h 106"/>
                <a:gd name="T42" fmla="*/ 106 w 121"/>
                <a:gd name="T43" fmla="*/ 0 h 106"/>
                <a:gd name="T44" fmla="*/ 103 w 121"/>
                <a:gd name="T45" fmla="*/ 1 h 106"/>
                <a:gd name="T46" fmla="*/ 100 w 121"/>
                <a:gd name="T47" fmla="*/ 1 h 106"/>
                <a:gd name="T48" fmla="*/ 97 w 121"/>
                <a:gd name="T49" fmla="*/ 3 h 106"/>
                <a:gd name="T50" fmla="*/ 95 w 121"/>
                <a:gd name="T51" fmla="*/ 5 h 106"/>
                <a:gd name="T52" fmla="*/ 30 w 121"/>
                <a:gd name="T53" fmla="*/ 70 h 106"/>
                <a:gd name="T54" fmla="*/ 26 w 121"/>
                <a:gd name="T55" fmla="*/ 65 h 106"/>
                <a:gd name="T56" fmla="*/ 24 w 121"/>
                <a:gd name="T57" fmla="*/ 63 h 106"/>
                <a:gd name="T58" fmla="*/ 21 w 121"/>
                <a:gd name="T59" fmla="*/ 61 h 106"/>
                <a:gd name="T60" fmla="*/ 18 w 121"/>
                <a:gd name="T61" fmla="*/ 61 h 106"/>
                <a:gd name="T62" fmla="*/ 15 w 121"/>
                <a:gd name="T63" fmla="*/ 60 h 106"/>
                <a:gd name="T64" fmla="*/ 12 w 121"/>
                <a:gd name="T65" fmla="*/ 61 h 106"/>
                <a:gd name="T66" fmla="*/ 10 w 121"/>
                <a:gd name="T67" fmla="*/ 62 h 106"/>
                <a:gd name="T68" fmla="*/ 7 w 121"/>
                <a:gd name="T69" fmla="*/ 63 h 106"/>
                <a:gd name="T70" fmla="*/ 5 w 121"/>
                <a:gd name="T71" fmla="*/ 65 h 106"/>
                <a:gd name="T72" fmla="*/ 2 w 121"/>
                <a:gd name="T73" fmla="*/ 68 h 106"/>
                <a:gd name="T74" fmla="*/ 1 w 121"/>
                <a:gd name="T75" fmla="*/ 70 h 106"/>
                <a:gd name="T76" fmla="*/ 0 w 121"/>
                <a:gd name="T77" fmla="*/ 73 h 106"/>
                <a:gd name="T78" fmla="*/ 0 w 121"/>
                <a:gd name="T79" fmla="*/ 76 h 106"/>
                <a:gd name="T80" fmla="*/ 0 w 121"/>
                <a:gd name="T81" fmla="*/ 78 h 106"/>
                <a:gd name="T82" fmla="*/ 1 w 121"/>
                <a:gd name="T83" fmla="*/ 82 h 106"/>
                <a:gd name="T84" fmla="*/ 2 w 121"/>
                <a:gd name="T85" fmla="*/ 84 h 106"/>
                <a:gd name="T86" fmla="*/ 5 w 121"/>
                <a:gd name="T87" fmla="*/ 87 h 106"/>
                <a:gd name="T88" fmla="*/ 20 w 121"/>
                <a:gd name="T89" fmla="*/ 101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21" h="106">
                  <a:moveTo>
                    <a:pt x="20" y="101"/>
                  </a:moveTo>
                  <a:lnTo>
                    <a:pt x="22" y="103"/>
                  </a:lnTo>
                  <a:lnTo>
                    <a:pt x="25" y="105"/>
                  </a:lnTo>
                  <a:lnTo>
                    <a:pt x="27" y="105"/>
                  </a:lnTo>
                  <a:lnTo>
                    <a:pt x="30" y="106"/>
                  </a:lnTo>
                  <a:lnTo>
                    <a:pt x="34" y="105"/>
                  </a:lnTo>
                  <a:lnTo>
                    <a:pt x="36" y="105"/>
                  </a:lnTo>
                  <a:lnTo>
                    <a:pt x="39" y="103"/>
                  </a:lnTo>
                  <a:lnTo>
                    <a:pt x="41" y="102"/>
                  </a:lnTo>
                  <a:lnTo>
                    <a:pt x="116" y="26"/>
                  </a:lnTo>
                  <a:lnTo>
                    <a:pt x="119" y="24"/>
                  </a:lnTo>
                  <a:lnTo>
                    <a:pt x="120" y="21"/>
                  </a:lnTo>
                  <a:lnTo>
                    <a:pt x="121" y="18"/>
                  </a:lnTo>
                  <a:lnTo>
                    <a:pt x="121" y="15"/>
                  </a:lnTo>
                  <a:lnTo>
                    <a:pt x="121" y="13"/>
                  </a:lnTo>
                  <a:lnTo>
                    <a:pt x="120" y="10"/>
                  </a:lnTo>
                  <a:lnTo>
                    <a:pt x="119" y="7"/>
                  </a:lnTo>
                  <a:lnTo>
                    <a:pt x="116" y="5"/>
                  </a:lnTo>
                  <a:lnTo>
                    <a:pt x="114" y="3"/>
                  </a:lnTo>
                  <a:lnTo>
                    <a:pt x="111" y="1"/>
                  </a:lnTo>
                  <a:lnTo>
                    <a:pt x="109" y="1"/>
                  </a:lnTo>
                  <a:lnTo>
                    <a:pt x="106" y="0"/>
                  </a:lnTo>
                  <a:lnTo>
                    <a:pt x="103" y="1"/>
                  </a:lnTo>
                  <a:lnTo>
                    <a:pt x="100" y="1"/>
                  </a:lnTo>
                  <a:lnTo>
                    <a:pt x="97" y="3"/>
                  </a:lnTo>
                  <a:lnTo>
                    <a:pt x="95" y="5"/>
                  </a:lnTo>
                  <a:lnTo>
                    <a:pt x="30" y="70"/>
                  </a:lnTo>
                  <a:lnTo>
                    <a:pt x="26" y="65"/>
                  </a:lnTo>
                  <a:lnTo>
                    <a:pt x="24" y="63"/>
                  </a:lnTo>
                  <a:lnTo>
                    <a:pt x="21" y="61"/>
                  </a:lnTo>
                  <a:lnTo>
                    <a:pt x="18" y="61"/>
                  </a:lnTo>
                  <a:lnTo>
                    <a:pt x="15" y="60"/>
                  </a:lnTo>
                  <a:lnTo>
                    <a:pt x="12" y="61"/>
                  </a:lnTo>
                  <a:lnTo>
                    <a:pt x="10" y="62"/>
                  </a:lnTo>
                  <a:lnTo>
                    <a:pt x="7" y="63"/>
                  </a:lnTo>
                  <a:lnTo>
                    <a:pt x="5" y="65"/>
                  </a:lnTo>
                  <a:lnTo>
                    <a:pt x="2" y="68"/>
                  </a:lnTo>
                  <a:lnTo>
                    <a:pt x="1" y="70"/>
                  </a:lnTo>
                  <a:lnTo>
                    <a:pt x="0" y="73"/>
                  </a:lnTo>
                  <a:lnTo>
                    <a:pt x="0" y="76"/>
                  </a:lnTo>
                  <a:lnTo>
                    <a:pt x="0" y="78"/>
                  </a:lnTo>
                  <a:lnTo>
                    <a:pt x="1" y="82"/>
                  </a:lnTo>
                  <a:lnTo>
                    <a:pt x="2" y="84"/>
                  </a:lnTo>
                  <a:lnTo>
                    <a:pt x="5" y="87"/>
                  </a:lnTo>
                  <a:lnTo>
                    <a:pt x="20" y="1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1" name="Freeform 56"/>
            <p:cNvSpPr>
              <a:spLocks noEditPoints="1"/>
            </p:cNvSpPr>
            <p:nvPr/>
          </p:nvSpPr>
          <p:spPr bwMode="auto">
            <a:xfrm>
              <a:off x="1104900" y="1993900"/>
              <a:ext cx="68263" cy="219075"/>
            </a:xfrm>
            <a:custGeom>
              <a:avLst/>
              <a:gdLst>
                <a:gd name="T0" fmla="*/ 120 w 212"/>
                <a:gd name="T1" fmla="*/ 659 h 694"/>
                <a:gd name="T2" fmla="*/ 99 w 212"/>
                <a:gd name="T3" fmla="*/ 643 h 694"/>
                <a:gd name="T4" fmla="*/ 92 w 212"/>
                <a:gd name="T5" fmla="*/ 618 h 694"/>
                <a:gd name="T6" fmla="*/ 181 w 212"/>
                <a:gd name="T7" fmla="*/ 616 h 694"/>
                <a:gd name="T8" fmla="*/ 167 w 212"/>
                <a:gd name="T9" fmla="*/ 647 h 694"/>
                <a:gd name="T10" fmla="*/ 144 w 212"/>
                <a:gd name="T11" fmla="*/ 662 h 694"/>
                <a:gd name="T12" fmla="*/ 145 w 212"/>
                <a:gd name="T13" fmla="*/ 31 h 694"/>
                <a:gd name="T14" fmla="*/ 168 w 212"/>
                <a:gd name="T15" fmla="*/ 43 h 694"/>
                <a:gd name="T16" fmla="*/ 181 w 212"/>
                <a:gd name="T17" fmla="*/ 57 h 694"/>
                <a:gd name="T18" fmla="*/ 92 w 212"/>
                <a:gd name="T19" fmla="*/ 331 h 694"/>
                <a:gd name="T20" fmla="*/ 95 w 212"/>
                <a:gd name="T21" fmla="*/ 53 h 694"/>
                <a:gd name="T22" fmla="*/ 112 w 212"/>
                <a:gd name="T23" fmla="*/ 38 h 694"/>
                <a:gd name="T24" fmla="*/ 137 w 212"/>
                <a:gd name="T25" fmla="*/ 30 h 694"/>
                <a:gd name="T26" fmla="*/ 182 w 212"/>
                <a:gd name="T27" fmla="*/ 362 h 694"/>
                <a:gd name="T28" fmla="*/ 92 w 212"/>
                <a:gd name="T29" fmla="*/ 362 h 694"/>
                <a:gd name="T30" fmla="*/ 113 w 212"/>
                <a:gd name="T31" fmla="*/ 4 h 694"/>
                <a:gd name="T32" fmla="*/ 84 w 212"/>
                <a:gd name="T33" fmla="*/ 22 h 694"/>
                <a:gd name="T34" fmla="*/ 65 w 212"/>
                <a:gd name="T35" fmla="*/ 46 h 694"/>
                <a:gd name="T36" fmla="*/ 36 w 212"/>
                <a:gd name="T37" fmla="*/ 55 h 694"/>
                <a:gd name="T38" fmla="*/ 21 w 212"/>
                <a:gd name="T39" fmla="*/ 67 h 694"/>
                <a:gd name="T40" fmla="*/ 9 w 212"/>
                <a:gd name="T41" fmla="*/ 82 h 694"/>
                <a:gd name="T42" fmla="*/ 2 w 212"/>
                <a:gd name="T43" fmla="*/ 103 h 694"/>
                <a:gd name="T44" fmla="*/ 0 w 212"/>
                <a:gd name="T45" fmla="*/ 394 h 694"/>
                <a:gd name="T46" fmla="*/ 3 w 212"/>
                <a:gd name="T47" fmla="*/ 402 h 694"/>
                <a:gd name="T48" fmla="*/ 10 w 212"/>
                <a:gd name="T49" fmla="*/ 408 h 694"/>
                <a:gd name="T50" fmla="*/ 19 w 212"/>
                <a:gd name="T51" fmla="*/ 409 h 694"/>
                <a:gd name="T52" fmla="*/ 26 w 212"/>
                <a:gd name="T53" fmla="*/ 404 h 694"/>
                <a:gd name="T54" fmla="*/ 30 w 212"/>
                <a:gd name="T55" fmla="*/ 397 h 694"/>
                <a:gd name="T56" fmla="*/ 31 w 212"/>
                <a:gd name="T57" fmla="*/ 111 h 694"/>
                <a:gd name="T58" fmla="*/ 40 w 212"/>
                <a:gd name="T59" fmla="*/ 89 h 694"/>
                <a:gd name="T60" fmla="*/ 55 w 212"/>
                <a:gd name="T61" fmla="*/ 79 h 694"/>
                <a:gd name="T62" fmla="*/ 62 w 212"/>
                <a:gd name="T63" fmla="*/ 626 h 694"/>
                <a:gd name="T64" fmla="*/ 67 w 212"/>
                <a:gd name="T65" fmla="*/ 647 h 694"/>
                <a:gd name="T66" fmla="*/ 79 w 212"/>
                <a:gd name="T67" fmla="*/ 666 h 694"/>
                <a:gd name="T68" fmla="*/ 95 w 212"/>
                <a:gd name="T69" fmla="*/ 681 h 694"/>
                <a:gd name="T70" fmla="*/ 114 w 212"/>
                <a:gd name="T71" fmla="*/ 690 h 694"/>
                <a:gd name="T72" fmla="*/ 137 w 212"/>
                <a:gd name="T73" fmla="*/ 694 h 694"/>
                <a:gd name="T74" fmla="*/ 157 w 212"/>
                <a:gd name="T75" fmla="*/ 690 h 694"/>
                <a:gd name="T76" fmla="*/ 177 w 212"/>
                <a:gd name="T77" fmla="*/ 680 h 694"/>
                <a:gd name="T78" fmla="*/ 193 w 212"/>
                <a:gd name="T79" fmla="*/ 663 h 694"/>
                <a:gd name="T80" fmla="*/ 206 w 212"/>
                <a:gd name="T81" fmla="*/ 641 h 694"/>
                <a:gd name="T82" fmla="*/ 211 w 212"/>
                <a:gd name="T83" fmla="*/ 613 h 694"/>
                <a:gd name="T84" fmla="*/ 211 w 212"/>
                <a:gd name="T85" fmla="*/ 56 h 694"/>
                <a:gd name="T86" fmla="*/ 206 w 212"/>
                <a:gd name="T87" fmla="*/ 41 h 694"/>
                <a:gd name="T88" fmla="*/ 177 w 212"/>
                <a:gd name="T89" fmla="*/ 13 h 694"/>
                <a:gd name="T90" fmla="*/ 151 w 212"/>
                <a:gd name="T91" fmla="*/ 2 h 694"/>
                <a:gd name="T92" fmla="*/ 137 w 212"/>
                <a:gd name="T93" fmla="*/ 0 h 6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12" h="694">
                  <a:moveTo>
                    <a:pt x="137" y="663"/>
                  </a:moveTo>
                  <a:lnTo>
                    <a:pt x="128" y="662"/>
                  </a:lnTo>
                  <a:lnTo>
                    <a:pt x="120" y="659"/>
                  </a:lnTo>
                  <a:lnTo>
                    <a:pt x="112" y="655"/>
                  </a:lnTo>
                  <a:lnTo>
                    <a:pt x="105" y="650"/>
                  </a:lnTo>
                  <a:lnTo>
                    <a:pt x="99" y="643"/>
                  </a:lnTo>
                  <a:lnTo>
                    <a:pt x="95" y="636"/>
                  </a:lnTo>
                  <a:lnTo>
                    <a:pt x="92" y="627"/>
                  </a:lnTo>
                  <a:lnTo>
                    <a:pt x="92" y="618"/>
                  </a:lnTo>
                  <a:lnTo>
                    <a:pt x="92" y="603"/>
                  </a:lnTo>
                  <a:lnTo>
                    <a:pt x="182" y="603"/>
                  </a:lnTo>
                  <a:lnTo>
                    <a:pt x="181" y="616"/>
                  </a:lnTo>
                  <a:lnTo>
                    <a:pt x="178" y="628"/>
                  </a:lnTo>
                  <a:lnTo>
                    <a:pt x="173" y="639"/>
                  </a:lnTo>
                  <a:lnTo>
                    <a:pt x="167" y="647"/>
                  </a:lnTo>
                  <a:lnTo>
                    <a:pt x="161" y="654"/>
                  </a:lnTo>
                  <a:lnTo>
                    <a:pt x="153" y="659"/>
                  </a:lnTo>
                  <a:lnTo>
                    <a:pt x="144" y="662"/>
                  </a:lnTo>
                  <a:lnTo>
                    <a:pt x="137" y="663"/>
                  </a:lnTo>
                  <a:close/>
                  <a:moveTo>
                    <a:pt x="137" y="30"/>
                  </a:moveTo>
                  <a:lnTo>
                    <a:pt x="145" y="31"/>
                  </a:lnTo>
                  <a:lnTo>
                    <a:pt x="153" y="34"/>
                  </a:lnTo>
                  <a:lnTo>
                    <a:pt x="161" y="38"/>
                  </a:lnTo>
                  <a:lnTo>
                    <a:pt x="168" y="43"/>
                  </a:lnTo>
                  <a:lnTo>
                    <a:pt x="173" y="47"/>
                  </a:lnTo>
                  <a:lnTo>
                    <a:pt x="178" y="53"/>
                  </a:lnTo>
                  <a:lnTo>
                    <a:pt x="181" y="57"/>
                  </a:lnTo>
                  <a:lnTo>
                    <a:pt x="182" y="60"/>
                  </a:lnTo>
                  <a:lnTo>
                    <a:pt x="182" y="331"/>
                  </a:lnTo>
                  <a:lnTo>
                    <a:pt x="92" y="331"/>
                  </a:lnTo>
                  <a:lnTo>
                    <a:pt x="92" y="60"/>
                  </a:lnTo>
                  <a:lnTo>
                    <a:pt x="93" y="57"/>
                  </a:lnTo>
                  <a:lnTo>
                    <a:pt x="95" y="53"/>
                  </a:lnTo>
                  <a:lnTo>
                    <a:pt x="99" y="48"/>
                  </a:lnTo>
                  <a:lnTo>
                    <a:pt x="106" y="43"/>
                  </a:lnTo>
                  <a:lnTo>
                    <a:pt x="112" y="38"/>
                  </a:lnTo>
                  <a:lnTo>
                    <a:pt x="120" y="34"/>
                  </a:lnTo>
                  <a:lnTo>
                    <a:pt x="127" y="31"/>
                  </a:lnTo>
                  <a:lnTo>
                    <a:pt x="137" y="30"/>
                  </a:lnTo>
                  <a:lnTo>
                    <a:pt x="137" y="30"/>
                  </a:lnTo>
                  <a:close/>
                  <a:moveTo>
                    <a:pt x="92" y="362"/>
                  </a:moveTo>
                  <a:lnTo>
                    <a:pt x="182" y="362"/>
                  </a:lnTo>
                  <a:lnTo>
                    <a:pt x="182" y="573"/>
                  </a:lnTo>
                  <a:lnTo>
                    <a:pt x="92" y="573"/>
                  </a:lnTo>
                  <a:lnTo>
                    <a:pt x="92" y="362"/>
                  </a:lnTo>
                  <a:close/>
                  <a:moveTo>
                    <a:pt x="137" y="0"/>
                  </a:moveTo>
                  <a:lnTo>
                    <a:pt x="125" y="1"/>
                  </a:lnTo>
                  <a:lnTo>
                    <a:pt x="113" y="4"/>
                  </a:lnTo>
                  <a:lnTo>
                    <a:pt x="102" y="9"/>
                  </a:lnTo>
                  <a:lnTo>
                    <a:pt x="93" y="15"/>
                  </a:lnTo>
                  <a:lnTo>
                    <a:pt x="84" y="22"/>
                  </a:lnTo>
                  <a:lnTo>
                    <a:pt x="76" y="29"/>
                  </a:lnTo>
                  <a:lnTo>
                    <a:pt x="69" y="38"/>
                  </a:lnTo>
                  <a:lnTo>
                    <a:pt x="65" y="46"/>
                  </a:lnTo>
                  <a:lnTo>
                    <a:pt x="53" y="48"/>
                  </a:lnTo>
                  <a:lnTo>
                    <a:pt x="41" y="53"/>
                  </a:lnTo>
                  <a:lnTo>
                    <a:pt x="36" y="55"/>
                  </a:lnTo>
                  <a:lnTo>
                    <a:pt x="30" y="58"/>
                  </a:lnTo>
                  <a:lnTo>
                    <a:pt x="25" y="62"/>
                  </a:lnTo>
                  <a:lnTo>
                    <a:pt x="21" y="67"/>
                  </a:lnTo>
                  <a:lnTo>
                    <a:pt x="16" y="71"/>
                  </a:lnTo>
                  <a:lnTo>
                    <a:pt x="12" y="76"/>
                  </a:lnTo>
                  <a:lnTo>
                    <a:pt x="9" y="82"/>
                  </a:lnTo>
                  <a:lnTo>
                    <a:pt x="6" y="88"/>
                  </a:lnTo>
                  <a:lnTo>
                    <a:pt x="3" y="96"/>
                  </a:lnTo>
                  <a:lnTo>
                    <a:pt x="2" y="103"/>
                  </a:lnTo>
                  <a:lnTo>
                    <a:pt x="1" y="112"/>
                  </a:lnTo>
                  <a:lnTo>
                    <a:pt x="0" y="120"/>
                  </a:lnTo>
                  <a:lnTo>
                    <a:pt x="0" y="394"/>
                  </a:lnTo>
                  <a:lnTo>
                    <a:pt x="1" y="397"/>
                  </a:lnTo>
                  <a:lnTo>
                    <a:pt x="2" y="399"/>
                  </a:lnTo>
                  <a:lnTo>
                    <a:pt x="3" y="402"/>
                  </a:lnTo>
                  <a:lnTo>
                    <a:pt x="6" y="404"/>
                  </a:lnTo>
                  <a:lnTo>
                    <a:pt x="8" y="406"/>
                  </a:lnTo>
                  <a:lnTo>
                    <a:pt x="10" y="408"/>
                  </a:lnTo>
                  <a:lnTo>
                    <a:pt x="13" y="409"/>
                  </a:lnTo>
                  <a:lnTo>
                    <a:pt x="15" y="409"/>
                  </a:lnTo>
                  <a:lnTo>
                    <a:pt x="19" y="409"/>
                  </a:lnTo>
                  <a:lnTo>
                    <a:pt x="22" y="408"/>
                  </a:lnTo>
                  <a:lnTo>
                    <a:pt x="24" y="406"/>
                  </a:lnTo>
                  <a:lnTo>
                    <a:pt x="26" y="404"/>
                  </a:lnTo>
                  <a:lnTo>
                    <a:pt x="28" y="402"/>
                  </a:lnTo>
                  <a:lnTo>
                    <a:pt x="29" y="399"/>
                  </a:lnTo>
                  <a:lnTo>
                    <a:pt x="30" y="397"/>
                  </a:lnTo>
                  <a:lnTo>
                    <a:pt x="30" y="394"/>
                  </a:lnTo>
                  <a:lnTo>
                    <a:pt x="30" y="120"/>
                  </a:lnTo>
                  <a:lnTo>
                    <a:pt x="31" y="111"/>
                  </a:lnTo>
                  <a:lnTo>
                    <a:pt x="34" y="102"/>
                  </a:lnTo>
                  <a:lnTo>
                    <a:pt x="36" y="96"/>
                  </a:lnTo>
                  <a:lnTo>
                    <a:pt x="40" y="89"/>
                  </a:lnTo>
                  <a:lnTo>
                    <a:pt x="44" y="85"/>
                  </a:lnTo>
                  <a:lnTo>
                    <a:pt x="50" y="82"/>
                  </a:lnTo>
                  <a:lnTo>
                    <a:pt x="55" y="79"/>
                  </a:lnTo>
                  <a:lnTo>
                    <a:pt x="62" y="77"/>
                  </a:lnTo>
                  <a:lnTo>
                    <a:pt x="62" y="618"/>
                  </a:lnTo>
                  <a:lnTo>
                    <a:pt x="62" y="626"/>
                  </a:lnTo>
                  <a:lnTo>
                    <a:pt x="63" y="633"/>
                  </a:lnTo>
                  <a:lnTo>
                    <a:pt x="65" y="640"/>
                  </a:lnTo>
                  <a:lnTo>
                    <a:pt x="67" y="647"/>
                  </a:lnTo>
                  <a:lnTo>
                    <a:pt x="70" y="654"/>
                  </a:lnTo>
                  <a:lnTo>
                    <a:pt x="74" y="660"/>
                  </a:lnTo>
                  <a:lnTo>
                    <a:pt x="79" y="666"/>
                  </a:lnTo>
                  <a:lnTo>
                    <a:pt x="84" y="671"/>
                  </a:lnTo>
                  <a:lnTo>
                    <a:pt x="90" y="676"/>
                  </a:lnTo>
                  <a:lnTo>
                    <a:pt x="95" y="681"/>
                  </a:lnTo>
                  <a:lnTo>
                    <a:pt x="101" y="684"/>
                  </a:lnTo>
                  <a:lnTo>
                    <a:pt x="108" y="687"/>
                  </a:lnTo>
                  <a:lnTo>
                    <a:pt x="114" y="690"/>
                  </a:lnTo>
                  <a:lnTo>
                    <a:pt x="122" y="693"/>
                  </a:lnTo>
                  <a:lnTo>
                    <a:pt x="129" y="694"/>
                  </a:lnTo>
                  <a:lnTo>
                    <a:pt x="137" y="694"/>
                  </a:lnTo>
                  <a:lnTo>
                    <a:pt x="143" y="694"/>
                  </a:lnTo>
                  <a:lnTo>
                    <a:pt x="150" y="693"/>
                  </a:lnTo>
                  <a:lnTo>
                    <a:pt x="157" y="690"/>
                  </a:lnTo>
                  <a:lnTo>
                    <a:pt x="164" y="687"/>
                  </a:lnTo>
                  <a:lnTo>
                    <a:pt x="170" y="684"/>
                  </a:lnTo>
                  <a:lnTo>
                    <a:pt x="177" y="680"/>
                  </a:lnTo>
                  <a:lnTo>
                    <a:pt x="182" y="675"/>
                  </a:lnTo>
                  <a:lnTo>
                    <a:pt x="187" y="669"/>
                  </a:lnTo>
                  <a:lnTo>
                    <a:pt x="193" y="663"/>
                  </a:lnTo>
                  <a:lnTo>
                    <a:pt x="197" y="656"/>
                  </a:lnTo>
                  <a:lnTo>
                    <a:pt x="201" y="648"/>
                  </a:lnTo>
                  <a:lnTo>
                    <a:pt x="206" y="641"/>
                  </a:lnTo>
                  <a:lnTo>
                    <a:pt x="208" y="632"/>
                  </a:lnTo>
                  <a:lnTo>
                    <a:pt x="210" y="623"/>
                  </a:lnTo>
                  <a:lnTo>
                    <a:pt x="211" y="613"/>
                  </a:lnTo>
                  <a:lnTo>
                    <a:pt x="212" y="603"/>
                  </a:lnTo>
                  <a:lnTo>
                    <a:pt x="212" y="60"/>
                  </a:lnTo>
                  <a:lnTo>
                    <a:pt x="211" y="56"/>
                  </a:lnTo>
                  <a:lnTo>
                    <a:pt x="210" y="51"/>
                  </a:lnTo>
                  <a:lnTo>
                    <a:pt x="208" y="45"/>
                  </a:lnTo>
                  <a:lnTo>
                    <a:pt x="206" y="41"/>
                  </a:lnTo>
                  <a:lnTo>
                    <a:pt x="198" y="30"/>
                  </a:lnTo>
                  <a:lnTo>
                    <a:pt x="188" y="20"/>
                  </a:lnTo>
                  <a:lnTo>
                    <a:pt x="177" y="13"/>
                  </a:lnTo>
                  <a:lnTo>
                    <a:pt x="164" y="6"/>
                  </a:lnTo>
                  <a:lnTo>
                    <a:pt x="157" y="3"/>
                  </a:lnTo>
                  <a:lnTo>
                    <a:pt x="151" y="2"/>
                  </a:lnTo>
                  <a:lnTo>
                    <a:pt x="143" y="1"/>
                  </a:lnTo>
                  <a:lnTo>
                    <a:pt x="137" y="0"/>
                  </a:lnTo>
                  <a:lnTo>
                    <a:pt x="13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38" name="Group 137"/>
          <p:cNvGrpSpPr/>
          <p:nvPr/>
        </p:nvGrpSpPr>
        <p:grpSpPr>
          <a:xfrm>
            <a:off x="8207972" y="2705638"/>
            <a:ext cx="2914252" cy="1089991"/>
            <a:chOff x="5797948" y="501072"/>
            <a:chExt cx="2914252" cy="1089991"/>
          </a:xfrm>
        </p:grpSpPr>
        <p:sp>
          <p:nvSpPr>
            <p:cNvPr id="150" name="TextBox 149"/>
            <p:cNvSpPr txBox="1"/>
            <p:nvPr/>
          </p:nvSpPr>
          <p:spPr>
            <a:xfrm>
              <a:off x="5797948" y="501072"/>
              <a:ext cx="931465" cy="153888"/>
            </a:xfrm>
            <a:prstGeom prst="rect">
              <a:avLst/>
            </a:prstGeom>
            <a:noFill/>
            <a:ln w="6350">
              <a:noFill/>
              <a:prstDash val="dash"/>
            </a:ln>
          </p:spPr>
          <p:txBody>
            <a:bodyPr wrap="square" lIns="0" tIns="0" rIns="0" bIns="0" rtlCol="0">
              <a:spAutoFit/>
            </a:bodyPr>
            <a:lstStyle/>
            <a:p>
              <a:r>
                <a:rPr lang="en-US" sz="1000" b="1" dirty="0">
                  <a:solidFill>
                    <a:prstClr val="white"/>
                  </a:solidFill>
                </a:rPr>
                <a:t>17 JUNE 2017</a:t>
              </a:r>
            </a:p>
          </p:txBody>
        </p:sp>
        <p:sp>
          <p:nvSpPr>
            <p:cNvPr id="151" name="TextBox 150"/>
            <p:cNvSpPr txBox="1"/>
            <p:nvPr/>
          </p:nvSpPr>
          <p:spPr>
            <a:xfrm>
              <a:off x="5797948" y="1129398"/>
              <a:ext cx="2914252" cy="461665"/>
            </a:xfrm>
            <a:prstGeom prst="rect">
              <a:avLst/>
            </a:prstGeom>
            <a:noFill/>
            <a:ln w="6350">
              <a:noFill/>
              <a:prstDash val="dash"/>
            </a:ln>
          </p:spPr>
          <p:txBody>
            <a:bodyPr wrap="square" lIns="0" tIns="0" rIns="0" bIns="0" rtlCol="0">
              <a:spAutoFit/>
            </a:bodyPr>
            <a:lstStyle/>
            <a:p>
              <a:r>
                <a:rPr lang="en-US" sz="1000" dirty="0">
                  <a:solidFill>
                    <a:prstClr val="white"/>
                  </a:solidFill>
                </a:rPr>
                <a:t>Lorem </a:t>
              </a:r>
              <a:r>
                <a:rPr lang="en-US" sz="1000" dirty="0" err="1">
                  <a:solidFill>
                    <a:prstClr val="white"/>
                  </a:solidFill>
                </a:rPr>
                <a:t>Ipsum</a:t>
              </a:r>
              <a:r>
                <a:rPr lang="en-US" sz="1000" dirty="0">
                  <a:solidFill>
                    <a:prstClr val="white"/>
                  </a:solidFill>
                </a:rPr>
                <a:t> is simply dummy text of the printing and typesetting industry. Lorem </a:t>
              </a:r>
              <a:r>
                <a:rPr lang="en-US" sz="1000" dirty="0" err="1">
                  <a:solidFill>
                    <a:prstClr val="white"/>
                  </a:solidFill>
                </a:rPr>
                <a:t>Ipsum</a:t>
              </a:r>
              <a:r>
                <a:rPr lang="en-US" sz="1000" dirty="0">
                  <a:solidFill>
                    <a:prstClr val="white"/>
                  </a:solidFill>
                </a:rPr>
                <a:t> has been the industry's standard dummy text ever since the 1500s.</a:t>
              </a:r>
            </a:p>
          </p:txBody>
        </p:sp>
        <p:sp>
          <p:nvSpPr>
            <p:cNvPr id="158" name="TextBox 157"/>
            <p:cNvSpPr txBox="1"/>
            <p:nvPr/>
          </p:nvSpPr>
          <p:spPr>
            <a:xfrm>
              <a:off x="5797948" y="925199"/>
              <a:ext cx="2914252" cy="184666"/>
            </a:xfrm>
            <a:prstGeom prst="rect">
              <a:avLst/>
            </a:prstGeom>
            <a:noFill/>
            <a:ln w="6350">
              <a:noFill/>
              <a:prstDash val="dash"/>
            </a:ln>
          </p:spPr>
          <p:txBody>
            <a:bodyPr wrap="square" lIns="0" tIns="0" rIns="0" bIns="0" rtlCol="0">
              <a:spAutoFit/>
            </a:bodyPr>
            <a:lstStyle/>
            <a:p>
              <a:r>
                <a:rPr lang="en-US" sz="1200" b="1" dirty="0">
                  <a:solidFill>
                    <a:srgbClr val="E2583D"/>
                  </a:solidFill>
                </a:rPr>
                <a:t>LOREM IPSUM</a:t>
              </a:r>
            </a:p>
          </p:txBody>
        </p:sp>
      </p:grpSp>
      <p:cxnSp>
        <p:nvCxnSpPr>
          <p:cNvPr id="139" name="Straight Connector 138"/>
          <p:cNvCxnSpPr/>
          <p:nvPr/>
        </p:nvCxnSpPr>
        <p:spPr>
          <a:xfrm>
            <a:off x="6096000" y="4161609"/>
            <a:ext cx="493589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40" name="Oval 139"/>
          <p:cNvSpPr/>
          <p:nvPr/>
        </p:nvSpPr>
        <p:spPr>
          <a:xfrm>
            <a:off x="6583955" y="2696392"/>
            <a:ext cx="1108482" cy="1108482"/>
          </a:xfrm>
          <a:prstGeom prst="ellipse">
            <a:avLst/>
          </a:prstGeom>
          <a:solidFill>
            <a:schemeClr val="bg1"/>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1" name="Oval 140"/>
          <p:cNvSpPr/>
          <p:nvPr/>
        </p:nvSpPr>
        <p:spPr>
          <a:xfrm>
            <a:off x="6659106" y="2771543"/>
            <a:ext cx="958180" cy="958180"/>
          </a:xfrm>
          <a:prstGeom prst="ellipse">
            <a:avLst/>
          </a:prstGeom>
          <a:solidFill>
            <a:srgbClr val="E2583D"/>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61" name="Group 160"/>
          <p:cNvGrpSpPr/>
          <p:nvPr/>
        </p:nvGrpSpPr>
        <p:grpSpPr>
          <a:xfrm>
            <a:off x="8207972" y="4815756"/>
            <a:ext cx="2914252" cy="1089991"/>
            <a:chOff x="5797948" y="501072"/>
            <a:chExt cx="2914252" cy="1089991"/>
          </a:xfrm>
        </p:grpSpPr>
        <p:sp>
          <p:nvSpPr>
            <p:cNvPr id="202" name="TextBox 201"/>
            <p:cNvSpPr txBox="1"/>
            <p:nvPr/>
          </p:nvSpPr>
          <p:spPr>
            <a:xfrm>
              <a:off x="5797948" y="501072"/>
              <a:ext cx="931465" cy="153888"/>
            </a:xfrm>
            <a:prstGeom prst="rect">
              <a:avLst/>
            </a:prstGeom>
            <a:noFill/>
            <a:ln w="6350">
              <a:noFill/>
              <a:prstDash val="dash"/>
            </a:ln>
          </p:spPr>
          <p:txBody>
            <a:bodyPr wrap="square" lIns="0" tIns="0" rIns="0" bIns="0" rtlCol="0">
              <a:spAutoFit/>
            </a:bodyPr>
            <a:lstStyle/>
            <a:p>
              <a:r>
                <a:rPr lang="en-US" sz="1000" b="1" dirty="0">
                  <a:solidFill>
                    <a:prstClr val="white"/>
                  </a:solidFill>
                </a:rPr>
                <a:t>27 JUNE 2017</a:t>
              </a:r>
            </a:p>
          </p:txBody>
        </p:sp>
        <p:sp>
          <p:nvSpPr>
            <p:cNvPr id="203" name="TextBox 202"/>
            <p:cNvSpPr txBox="1"/>
            <p:nvPr/>
          </p:nvSpPr>
          <p:spPr>
            <a:xfrm>
              <a:off x="5797948" y="1129398"/>
              <a:ext cx="2914252" cy="461665"/>
            </a:xfrm>
            <a:prstGeom prst="rect">
              <a:avLst/>
            </a:prstGeom>
            <a:noFill/>
            <a:ln w="6350">
              <a:noFill/>
              <a:prstDash val="dash"/>
            </a:ln>
          </p:spPr>
          <p:txBody>
            <a:bodyPr wrap="square" lIns="0" tIns="0" rIns="0" bIns="0" rtlCol="0">
              <a:spAutoFit/>
            </a:bodyPr>
            <a:lstStyle/>
            <a:p>
              <a:r>
                <a:rPr lang="en-US" sz="1000" dirty="0">
                  <a:solidFill>
                    <a:prstClr val="white"/>
                  </a:solidFill>
                </a:rPr>
                <a:t>Lorem </a:t>
              </a:r>
              <a:r>
                <a:rPr lang="en-US" sz="1000" dirty="0" err="1">
                  <a:solidFill>
                    <a:prstClr val="white"/>
                  </a:solidFill>
                </a:rPr>
                <a:t>Ipsum</a:t>
              </a:r>
              <a:r>
                <a:rPr lang="en-US" sz="1000" dirty="0">
                  <a:solidFill>
                    <a:prstClr val="white"/>
                  </a:solidFill>
                </a:rPr>
                <a:t> is simply dummy text of the printing and typesetting industry. Lorem </a:t>
              </a:r>
              <a:r>
                <a:rPr lang="en-US" sz="1000" dirty="0" err="1">
                  <a:solidFill>
                    <a:prstClr val="white"/>
                  </a:solidFill>
                </a:rPr>
                <a:t>Ipsum</a:t>
              </a:r>
              <a:r>
                <a:rPr lang="en-US" sz="1000" dirty="0">
                  <a:solidFill>
                    <a:prstClr val="white"/>
                  </a:solidFill>
                </a:rPr>
                <a:t> has been the industry's standard dummy text ever since the 1500s.</a:t>
              </a:r>
            </a:p>
          </p:txBody>
        </p:sp>
        <p:sp>
          <p:nvSpPr>
            <p:cNvPr id="204" name="TextBox 203"/>
            <p:cNvSpPr txBox="1"/>
            <p:nvPr/>
          </p:nvSpPr>
          <p:spPr>
            <a:xfrm>
              <a:off x="5797948" y="925199"/>
              <a:ext cx="2914252" cy="184666"/>
            </a:xfrm>
            <a:prstGeom prst="rect">
              <a:avLst/>
            </a:prstGeom>
            <a:noFill/>
            <a:ln w="6350">
              <a:noFill/>
              <a:prstDash val="dash"/>
            </a:ln>
          </p:spPr>
          <p:txBody>
            <a:bodyPr wrap="square" lIns="0" tIns="0" rIns="0" bIns="0" rtlCol="0">
              <a:spAutoFit/>
            </a:bodyPr>
            <a:lstStyle/>
            <a:p>
              <a:r>
                <a:rPr lang="en-US" sz="1200" b="1" dirty="0">
                  <a:solidFill>
                    <a:srgbClr val="E2583D"/>
                  </a:solidFill>
                </a:rPr>
                <a:t>LOREM IPSUM</a:t>
              </a:r>
            </a:p>
          </p:txBody>
        </p:sp>
      </p:grpSp>
      <p:sp>
        <p:nvSpPr>
          <p:cNvPr id="192" name="Oval 191"/>
          <p:cNvSpPr/>
          <p:nvPr/>
        </p:nvSpPr>
        <p:spPr>
          <a:xfrm>
            <a:off x="6583955" y="4806510"/>
            <a:ext cx="1108482" cy="1108482"/>
          </a:xfrm>
          <a:prstGeom prst="ellipse">
            <a:avLst/>
          </a:prstGeom>
          <a:solidFill>
            <a:schemeClr val="bg1"/>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3" name="Oval 192"/>
          <p:cNvSpPr/>
          <p:nvPr/>
        </p:nvSpPr>
        <p:spPr>
          <a:xfrm>
            <a:off x="6659106" y="4881661"/>
            <a:ext cx="958180" cy="958180"/>
          </a:xfrm>
          <a:prstGeom prst="ellipse">
            <a:avLst/>
          </a:prstGeom>
          <a:solidFill>
            <a:srgbClr val="E2583D"/>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05" name="Group 204"/>
          <p:cNvGrpSpPr/>
          <p:nvPr/>
        </p:nvGrpSpPr>
        <p:grpSpPr>
          <a:xfrm>
            <a:off x="6921729" y="3034166"/>
            <a:ext cx="432934" cy="432934"/>
            <a:chOff x="11601450" y="1933576"/>
            <a:chExt cx="285750" cy="285750"/>
          </a:xfrm>
          <a:solidFill>
            <a:schemeClr val="bg1"/>
          </a:solidFill>
        </p:grpSpPr>
        <p:sp>
          <p:nvSpPr>
            <p:cNvPr id="206" name="Freeform 293"/>
            <p:cNvSpPr>
              <a:spLocks noEditPoints="1"/>
            </p:cNvSpPr>
            <p:nvPr/>
          </p:nvSpPr>
          <p:spPr bwMode="auto">
            <a:xfrm>
              <a:off x="11744325" y="1933576"/>
              <a:ext cx="142875" cy="190500"/>
            </a:xfrm>
            <a:custGeom>
              <a:avLst/>
              <a:gdLst>
                <a:gd name="T0" fmla="*/ 29 w 450"/>
                <a:gd name="T1" fmla="*/ 570 h 600"/>
                <a:gd name="T2" fmla="*/ 29 w 450"/>
                <a:gd name="T3" fmla="*/ 30 h 600"/>
                <a:gd name="T4" fmla="*/ 270 w 450"/>
                <a:gd name="T5" fmla="*/ 30 h 600"/>
                <a:gd name="T6" fmla="*/ 270 w 450"/>
                <a:gd name="T7" fmla="*/ 165 h 600"/>
                <a:gd name="T8" fmla="*/ 270 w 450"/>
                <a:gd name="T9" fmla="*/ 168 h 600"/>
                <a:gd name="T10" fmla="*/ 271 w 450"/>
                <a:gd name="T11" fmla="*/ 171 h 600"/>
                <a:gd name="T12" fmla="*/ 272 w 450"/>
                <a:gd name="T13" fmla="*/ 173 h 600"/>
                <a:gd name="T14" fmla="*/ 275 w 450"/>
                <a:gd name="T15" fmla="*/ 175 h 600"/>
                <a:gd name="T16" fmla="*/ 277 w 450"/>
                <a:gd name="T17" fmla="*/ 178 h 600"/>
                <a:gd name="T18" fmla="*/ 279 w 450"/>
                <a:gd name="T19" fmla="*/ 179 h 600"/>
                <a:gd name="T20" fmla="*/ 282 w 450"/>
                <a:gd name="T21" fmla="*/ 180 h 600"/>
                <a:gd name="T22" fmla="*/ 285 w 450"/>
                <a:gd name="T23" fmla="*/ 180 h 600"/>
                <a:gd name="T24" fmla="*/ 420 w 450"/>
                <a:gd name="T25" fmla="*/ 180 h 600"/>
                <a:gd name="T26" fmla="*/ 420 w 450"/>
                <a:gd name="T27" fmla="*/ 570 h 600"/>
                <a:gd name="T28" fmla="*/ 29 w 450"/>
                <a:gd name="T29" fmla="*/ 570 h 600"/>
                <a:gd name="T30" fmla="*/ 300 w 450"/>
                <a:gd name="T31" fmla="*/ 52 h 600"/>
                <a:gd name="T32" fmla="*/ 399 w 450"/>
                <a:gd name="T33" fmla="*/ 150 h 600"/>
                <a:gd name="T34" fmla="*/ 300 w 450"/>
                <a:gd name="T35" fmla="*/ 150 h 600"/>
                <a:gd name="T36" fmla="*/ 300 w 450"/>
                <a:gd name="T37" fmla="*/ 52 h 600"/>
                <a:gd name="T38" fmla="*/ 446 w 450"/>
                <a:gd name="T39" fmla="*/ 154 h 600"/>
                <a:gd name="T40" fmla="*/ 296 w 450"/>
                <a:gd name="T41" fmla="*/ 4 h 600"/>
                <a:gd name="T42" fmla="*/ 293 w 450"/>
                <a:gd name="T43" fmla="*/ 2 h 600"/>
                <a:gd name="T44" fmla="*/ 291 w 450"/>
                <a:gd name="T45" fmla="*/ 1 h 600"/>
                <a:gd name="T46" fmla="*/ 287 w 450"/>
                <a:gd name="T47" fmla="*/ 0 h 600"/>
                <a:gd name="T48" fmla="*/ 285 w 450"/>
                <a:gd name="T49" fmla="*/ 0 h 600"/>
                <a:gd name="T50" fmla="*/ 15 w 450"/>
                <a:gd name="T51" fmla="*/ 0 h 600"/>
                <a:gd name="T52" fmla="*/ 11 w 450"/>
                <a:gd name="T53" fmla="*/ 0 h 600"/>
                <a:gd name="T54" fmla="*/ 8 w 450"/>
                <a:gd name="T55" fmla="*/ 1 h 600"/>
                <a:gd name="T56" fmla="*/ 6 w 450"/>
                <a:gd name="T57" fmla="*/ 2 h 600"/>
                <a:gd name="T58" fmla="*/ 4 w 450"/>
                <a:gd name="T59" fmla="*/ 4 h 600"/>
                <a:gd name="T60" fmla="*/ 2 w 450"/>
                <a:gd name="T61" fmla="*/ 6 h 600"/>
                <a:gd name="T62" fmla="*/ 1 w 450"/>
                <a:gd name="T63" fmla="*/ 10 h 600"/>
                <a:gd name="T64" fmla="*/ 0 w 450"/>
                <a:gd name="T65" fmla="*/ 12 h 600"/>
                <a:gd name="T66" fmla="*/ 0 w 450"/>
                <a:gd name="T67" fmla="*/ 15 h 600"/>
                <a:gd name="T68" fmla="*/ 0 w 450"/>
                <a:gd name="T69" fmla="*/ 585 h 600"/>
                <a:gd name="T70" fmla="*/ 0 w 450"/>
                <a:gd name="T71" fmla="*/ 589 h 600"/>
                <a:gd name="T72" fmla="*/ 1 w 450"/>
                <a:gd name="T73" fmla="*/ 592 h 600"/>
                <a:gd name="T74" fmla="*/ 2 w 450"/>
                <a:gd name="T75" fmla="*/ 594 h 600"/>
                <a:gd name="T76" fmla="*/ 4 w 450"/>
                <a:gd name="T77" fmla="*/ 596 h 600"/>
                <a:gd name="T78" fmla="*/ 6 w 450"/>
                <a:gd name="T79" fmla="*/ 598 h 600"/>
                <a:gd name="T80" fmla="*/ 8 w 450"/>
                <a:gd name="T81" fmla="*/ 599 h 600"/>
                <a:gd name="T82" fmla="*/ 11 w 450"/>
                <a:gd name="T83" fmla="*/ 600 h 600"/>
                <a:gd name="T84" fmla="*/ 15 w 450"/>
                <a:gd name="T85" fmla="*/ 600 h 600"/>
                <a:gd name="T86" fmla="*/ 435 w 450"/>
                <a:gd name="T87" fmla="*/ 600 h 600"/>
                <a:gd name="T88" fmla="*/ 438 w 450"/>
                <a:gd name="T89" fmla="*/ 600 h 600"/>
                <a:gd name="T90" fmla="*/ 440 w 450"/>
                <a:gd name="T91" fmla="*/ 599 h 600"/>
                <a:gd name="T92" fmla="*/ 444 w 450"/>
                <a:gd name="T93" fmla="*/ 598 h 600"/>
                <a:gd name="T94" fmla="*/ 446 w 450"/>
                <a:gd name="T95" fmla="*/ 596 h 600"/>
                <a:gd name="T96" fmla="*/ 448 w 450"/>
                <a:gd name="T97" fmla="*/ 594 h 600"/>
                <a:gd name="T98" fmla="*/ 449 w 450"/>
                <a:gd name="T99" fmla="*/ 592 h 600"/>
                <a:gd name="T100" fmla="*/ 450 w 450"/>
                <a:gd name="T101" fmla="*/ 589 h 600"/>
                <a:gd name="T102" fmla="*/ 450 w 450"/>
                <a:gd name="T103" fmla="*/ 585 h 600"/>
                <a:gd name="T104" fmla="*/ 450 w 450"/>
                <a:gd name="T105" fmla="*/ 165 h 600"/>
                <a:gd name="T106" fmla="*/ 449 w 450"/>
                <a:gd name="T107" fmla="*/ 159 h 600"/>
                <a:gd name="T108" fmla="*/ 446 w 450"/>
                <a:gd name="T109" fmla="*/ 154 h 6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50" h="600">
                  <a:moveTo>
                    <a:pt x="29" y="570"/>
                  </a:moveTo>
                  <a:lnTo>
                    <a:pt x="29" y="30"/>
                  </a:lnTo>
                  <a:lnTo>
                    <a:pt x="270" y="30"/>
                  </a:lnTo>
                  <a:lnTo>
                    <a:pt x="270" y="165"/>
                  </a:lnTo>
                  <a:lnTo>
                    <a:pt x="270" y="168"/>
                  </a:lnTo>
                  <a:lnTo>
                    <a:pt x="271" y="171"/>
                  </a:lnTo>
                  <a:lnTo>
                    <a:pt x="272" y="173"/>
                  </a:lnTo>
                  <a:lnTo>
                    <a:pt x="275" y="175"/>
                  </a:lnTo>
                  <a:lnTo>
                    <a:pt x="277" y="178"/>
                  </a:lnTo>
                  <a:lnTo>
                    <a:pt x="279" y="179"/>
                  </a:lnTo>
                  <a:lnTo>
                    <a:pt x="282" y="180"/>
                  </a:lnTo>
                  <a:lnTo>
                    <a:pt x="285" y="180"/>
                  </a:lnTo>
                  <a:lnTo>
                    <a:pt x="420" y="180"/>
                  </a:lnTo>
                  <a:lnTo>
                    <a:pt x="420" y="570"/>
                  </a:lnTo>
                  <a:lnTo>
                    <a:pt x="29" y="570"/>
                  </a:lnTo>
                  <a:close/>
                  <a:moveTo>
                    <a:pt x="300" y="52"/>
                  </a:moveTo>
                  <a:lnTo>
                    <a:pt x="399" y="150"/>
                  </a:lnTo>
                  <a:lnTo>
                    <a:pt x="300" y="150"/>
                  </a:lnTo>
                  <a:lnTo>
                    <a:pt x="300" y="52"/>
                  </a:lnTo>
                  <a:close/>
                  <a:moveTo>
                    <a:pt x="446" y="154"/>
                  </a:moveTo>
                  <a:lnTo>
                    <a:pt x="296" y="4"/>
                  </a:lnTo>
                  <a:lnTo>
                    <a:pt x="293" y="2"/>
                  </a:lnTo>
                  <a:lnTo>
                    <a:pt x="291" y="1"/>
                  </a:lnTo>
                  <a:lnTo>
                    <a:pt x="287" y="0"/>
                  </a:lnTo>
                  <a:lnTo>
                    <a:pt x="285" y="0"/>
                  </a:lnTo>
                  <a:lnTo>
                    <a:pt x="15" y="0"/>
                  </a:lnTo>
                  <a:lnTo>
                    <a:pt x="11" y="0"/>
                  </a:lnTo>
                  <a:lnTo>
                    <a:pt x="8" y="1"/>
                  </a:lnTo>
                  <a:lnTo>
                    <a:pt x="6" y="2"/>
                  </a:lnTo>
                  <a:lnTo>
                    <a:pt x="4" y="4"/>
                  </a:lnTo>
                  <a:lnTo>
                    <a:pt x="2" y="6"/>
                  </a:lnTo>
                  <a:lnTo>
                    <a:pt x="1" y="10"/>
                  </a:lnTo>
                  <a:lnTo>
                    <a:pt x="0" y="12"/>
                  </a:lnTo>
                  <a:lnTo>
                    <a:pt x="0" y="15"/>
                  </a:lnTo>
                  <a:lnTo>
                    <a:pt x="0" y="585"/>
                  </a:lnTo>
                  <a:lnTo>
                    <a:pt x="0" y="589"/>
                  </a:lnTo>
                  <a:lnTo>
                    <a:pt x="1" y="592"/>
                  </a:lnTo>
                  <a:lnTo>
                    <a:pt x="2" y="594"/>
                  </a:lnTo>
                  <a:lnTo>
                    <a:pt x="4" y="596"/>
                  </a:lnTo>
                  <a:lnTo>
                    <a:pt x="6" y="598"/>
                  </a:lnTo>
                  <a:lnTo>
                    <a:pt x="8" y="599"/>
                  </a:lnTo>
                  <a:lnTo>
                    <a:pt x="11" y="600"/>
                  </a:lnTo>
                  <a:lnTo>
                    <a:pt x="15" y="600"/>
                  </a:lnTo>
                  <a:lnTo>
                    <a:pt x="435" y="600"/>
                  </a:lnTo>
                  <a:lnTo>
                    <a:pt x="438" y="600"/>
                  </a:lnTo>
                  <a:lnTo>
                    <a:pt x="440" y="599"/>
                  </a:lnTo>
                  <a:lnTo>
                    <a:pt x="444" y="598"/>
                  </a:lnTo>
                  <a:lnTo>
                    <a:pt x="446" y="596"/>
                  </a:lnTo>
                  <a:lnTo>
                    <a:pt x="448" y="594"/>
                  </a:lnTo>
                  <a:lnTo>
                    <a:pt x="449" y="592"/>
                  </a:lnTo>
                  <a:lnTo>
                    <a:pt x="450" y="589"/>
                  </a:lnTo>
                  <a:lnTo>
                    <a:pt x="450" y="585"/>
                  </a:lnTo>
                  <a:lnTo>
                    <a:pt x="450" y="165"/>
                  </a:lnTo>
                  <a:lnTo>
                    <a:pt x="449" y="159"/>
                  </a:lnTo>
                  <a:lnTo>
                    <a:pt x="446" y="15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Freeform 294"/>
            <p:cNvSpPr>
              <a:spLocks noEditPoints="1"/>
            </p:cNvSpPr>
            <p:nvPr/>
          </p:nvSpPr>
          <p:spPr bwMode="auto">
            <a:xfrm>
              <a:off x="11601450" y="2124076"/>
              <a:ext cx="261938" cy="95250"/>
            </a:xfrm>
            <a:custGeom>
              <a:avLst/>
              <a:gdLst>
                <a:gd name="T0" fmla="*/ 298 w 825"/>
                <a:gd name="T1" fmla="*/ 60 h 301"/>
                <a:gd name="T2" fmla="*/ 354 w 825"/>
                <a:gd name="T3" fmla="*/ 77 h 301"/>
                <a:gd name="T4" fmla="*/ 396 w 825"/>
                <a:gd name="T5" fmla="*/ 103 h 301"/>
                <a:gd name="T6" fmla="*/ 261 w 825"/>
                <a:gd name="T7" fmla="*/ 120 h 301"/>
                <a:gd name="T8" fmla="*/ 253 w 825"/>
                <a:gd name="T9" fmla="*/ 123 h 301"/>
                <a:gd name="T10" fmla="*/ 247 w 825"/>
                <a:gd name="T11" fmla="*/ 130 h 301"/>
                <a:gd name="T12" fmla="*/ 246 w 825"/>
                <a:gd name="T13" fmla="*/ 138 h 301"/>
                <a:gd name="T14" fmla="*/ 250 w 825"/>
                <a:gd name="T15" fmla="*/ 147 h 301"/>
                <a:gd name="T16" fmla="*/ 258 w 825"/>
                <a:gd name="T17" fmla="*/ 150 h 301"/>
                <a:gd name="T18" fmla="*/ 546 w 825"/>
                <a:gd name="T19" fmla="*/ 151 h 301"/>
                <a:gd name="T20" fmla="*/ 604 w 825"/>
                <a:gd name="T21" fmla="*/ 155 h 301"/>
                <a:gd name="T22" fmla="*/ 658 w 825"/>
                <a:gd name="T23" fmla="*/ 165 h 301"/>
                <a:gd name="T24" fmla="*/ 706 w 825"/>
                <a:gd name="T25" fmla="*/ 180 h 301"/>
                <a:gd name="T26" fmla="*/ 747 w 825"/>
                <a:gd name="T27" fmla="*/ 199 h 301"/>
                <a:gd name="T28" fmla="*/ 777 w 825"/>
                <a:gd name="T29" fmla="*/ 221 h 301"/>
                <a:gd name="T30" fmla="*/ 182 w 825"/>
                <a:gd name="T31" fmla="*/ 241 h 301"/>
                <a:gd name="T32" fmla="*/ 30 w 825"/>
                <a:gd name="T33" fmla="*/ 30 h 301"/>
                <a:gd name="T34" fmla="*/ 532 w 825"/>
                <a:gd name="T35" fmla="*/ 120 h 301"/>
                <a:gd name="T36" fmla="*/ 458 w 825"/>
                <a:gd name="T37" fmla="*/ 120 h 301"/>
                <a:gd name="T38" fmla="*/ 444 w 825"/>
                <a:gd name="T39" fmla="*/ 107 h 301"/>
                <a:gd name="T40" fmla="*/ 401 w 825"/>
                <a:gd name="T41" fmla="*/ 70 h 301"/>
                <a:gd name="T42" fmla="*/ 369 w 825"/>
                <a:gd name="T43" fmla="*/ 52 h 301"/>
                <a:gd name="T44" fmla="*/ 331 w 825"/>
                <a:gd name="T45" fmla="*/ 37 h 301"/>
                <a:gd name="T46" fmla="*/ 300 w 825"/>
                <a:gd name="T47" fmla="*/ 30 h 301"/>
                <a:gd name="T48" fmla="*/ 182 w 825"/>
                <a:gd name="T49" fmla="*/ 15 h 301"/>
                <a:gd name="T50" fmla="*/ 179 w 825"/>
                <a:gd name="T51" fmla="*/ 8 h 301"/>
                <a:gd name="T52" fmla="*/ 172 w 825"/>
                <a:gd name="T53" fmla="*/ 1 h 301"/>
                <a:gd name="T54" fmla="*/ 15 w 825"/>
                <a:gd name="T55" fmla="*/ 0 h 301"/>
                <a:gd name="T56" fmla="*/ 6 w 825"/>
                <a:gd name="T57" fmla="*/ 3 h 301"/>
                <a:gd name="T58" fmla="*/ 1 w 825"/>
                <a:gd name="T59" fmla="*/ 10 h 301"/>
                <a:gd name="T60" fmla="*/ 0 w 825"/>
                <a:gd name="T61" fmla="*/ 286 h 301"/>
                <a:gd name="T62" fmla="*/ 2 w 825"/>
                <a:gd name="T63" fmla="*/ 295 h 301"/>
                <a:gd name="T64" fmla="*/ 9 w 825"/>
                <a:gd name="T65" fmla="*/ 300 h 301"/>
                <a:gd name="T66" fmla="*/ 167 w 825"/>
                <a:gd name="T67" fmla="*/ 301 h 301"/>
                <a:gd name="T68" fmla="*/ 174 w 825"/>
                <a:gd name="T69" fmla="*/ 299 h 301"/>
                <a:gd name="T70" fmla="*/ 180 w 825"/>
                <a:gd name="T71" fmla="*/ 292 h 301"/>
                <a:gd name="T72" fmla="*/ 182 w 825"/>
                <a:gd name="T73" fmla="*/ 271 h 301"/>
                <a:gd name="T74" fmla="*/ 816 w 825"/>
                <a:gd name="T75" fmla="*/ 270 h 301"/>
                <a:gd name="T76" fmla="*/ 823 w 825"/>
                <a:gd name="T77" fmla="*/ 265 h 301"/>
                <a:gd name="T78" fmla="*/ 825 w 825"/>
                <a:gd name="T79" fmla="*/ 256 h 301"/>
                <a:gd name="T80" fmla="*/ 822 w 825"/>
                <a:gd name="T81" fmla="*/ 235 h 301"/>
                <a:gd name="T82" fmla="*/ 810 w 825"/>
                <a:gd name="T83" fmla="*/ 213 h 301"/>
                <a:gd name="T84" fmla="*/ 789 w 825"/>
                <a:gd name="T85" fmla="*/ 192 h 301"/>
                <a:gd name="T86" fmla="*/ 752 w 825"/>
                <a:gd name="T87" fmla="*/ 167 h 301"/>
                <a:gd name="T88" fmla="*/ 706 w 825"/>
                <a:gd name="T89" fmla="*/ 148 h 301"/>
                <a:gd name="T90" fmla="*/ 653 w 825"/>
                <a:gd name="T91" fmla="*/ 133 h 301"/>
                <a:gd name="T92" fmla="*/ 594 w 825"/>
                <a:gd name="T93" fmla="*/ 123 h 301"/>
                <a:gd name="T94" fmla="*/ 532 w 825"/>
                <a:gd name="T95" fmla="*/ 120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825" h="301">
                  <a:moveTo>
                    <a:pt x="182" y="241"/>
                  </a:moveTo>
                  <a:lnTo>
                    <a:pt x="182" y="60"/>
                  </a:lnTo>
                  <a:lnTo>
                    <a:pt x="298" y="60"/>
                  </a:lnTo>
                  <a:lnTo>
                    <a:pt x="319" y="65"/>
                  </a:lnTo>
                  <a:lnTo>
                    <a:pt x="337" y="71"/>
                  </a:lnTo>
                  <a:lnTo>
                    <a:pt x="354" y="77"/>
                  </a:lnTo>
                  <a:lnTo>
                    <a:pt x="370" y="86"/>
                  </a:lnTo>
                  <a:lnTo>
                    <a:pt x="384" y="94"/>
                  </a:lnTo>
                  <a:lnTo>
                    <a:pt x="396" y="103"/>
                  </a:lnTo>
                  <a:lnTo>
                    <a:pt x="407" y="112"/>
                  </a:lnTo>
                  <a:lnTo>
                    <a:pt x="416" y="120"/>
                  </a:lnTo>
                  <a:lnTo>
                    <a:pt x="261" y="120"/>
                  </a:lnTo>
                  <a:lnTo>
                    <a:pt x="258" y="121"/>
                  </a:lnTo>
                  <a:lnTo>
                    <a:pt x="255" y="122"/>
                  </a:lnTo>
                  <a:lnTo>
                    <a:pt x="253" y="123"/>
                  </a:lnTo>
                  <a:lnTo>
                    <a:pt x="250" y="126"/>
                  </a:lnTo>
                  <a:lnTo>
                    <a:pt x="248" y="128"/>
                  </a:lnTo>
                  <a:lnTo>
                    <a:pt x="247" y="130"/>
                  </a:lnTo>
                  <a:lnTo>
                    <a:pt x="246" y="133"/>
                  </a:lnTo>
                  <a:lnTo>
                    <a:pt x="246" y="135"/>
                  </a:lnTo>
                  <a:lnTo>
                    <a:pt x="246" y="138"/>
                  </a:lnTo>
                  <a:lnTo>
                    <a:pt x="247" y="142"/>
                  </a:lnTo>
                  <a:lnTo>
                    <a:pt x="248" y="145"/>
                  </a:lnTo>
                  <a:lnTo>
                    <a:pt x="250" y="147"/>
                  </a:lnTo>
                  <a:lnTo>
                    <a:pt x="253" y="148"/>
                  </a:lnTo>
                  <a:lnTo>
                    <a:pt x="255" y="149"/>
                  </a:lnTo>
                  <a:lnTo>
                    <a:pt x="258" y="150"/>
                  </a:lnTo>
                  <a:lnTo>
                    <a:pt x="261" y="151"/>
                  </a:lnTo>
                  <a:lnTo>
                    <a:pt x="527" y="150"/>
                  </a:lnTo>
                  <a:lnTo>
                    <a:pt x="546" y="151"/>
                  </a:lnTo>
                  <a:lnTo>
                    <a:pt x="565" y="151"/>
                  </a:lnTo>
                  <a:lnTo>
                    <a:pt x="584" y="153"/>
                  </a:lnTo>
                  <a:lnTo>
                    <a:pt x="604" y="155"/>
                  </a:lnTo>
                  <a:lnTo>
                    <a:pt x="623" y="158"/>
                  </a:lnTo>
                  <a:lnTo>
                    <a:pt x="641" y="161"/>
                  </a:lnTo>
                  <a:lnTo>
                    <a:pt x="658" y="165"/>
                  </a:lnTo>
                  <a:lnTo>
                    <a:pt x="675" y="169"/>
                  </a:lnTo>
                  <a:lnTo>
                    <a:pt x="691" y="175"/>
                  </a:lnTo>
                  <a:lnTo>
                    <a:pt x="706" y="180"/>
                  </a:lnTo>
                  <a:lnTo>
                    <a:pt x="721" y="185"/>
                  </a:lnTo>
                  <a:lnTo>
                    <a:pt x="735" y="192"/>
                  </a:lnTo>
                  <a:lnTo>
                    <a:pt x="747" y="199"/>
                  </a:lnTo>
                  <a:lnTo>
                    <a:pt x="759" y="206"/>
                  </a:lnTo>
                  <a:lnTo>
                    <a:pt x="768" y="213"/>
                  </a:lnTo>
                  <a:lnTo>
                    <a:pt x="777" y="221"/>
                  </a:lnTo>
                  <a:lnTo>
                    <a:pt x="785" y="231"/>
                  </a:lnTo>
                  <a:lnTo>
                    <a:pt x="792" y="241"/>
                  </a:lnTo>
                  <a:lnTo>
                    <a:pt x="182" y="241"/>
                  </a:lnTo>
                  <a:close/>
                  <a:moveTo>
                    <a:pt x="151" y="271"/>
                  </a:moveTo>
                  <a:lnTo>
                    <a:pt x="30" y="271"/>
                  </a:lnTo>
                  <a:lnTo>
                    <a:pt x="30" y="30"/>
                  </a:lnTo>
                  <a:lnTo>
                    <a:pt x="151" y="30"/>
                  </a:lnTo>
                  <a:lnTo>
                    <a:pt x="151" y="271"/>
                  </a:lnTo>
                  <a:close/>
                  <a:moveTo>
                    <a:pt x="532" y="120"/>
                  </a:moveTo>
                  <a:lnTo>
                    <a:pt x="529" y="120"/>
                  </a:lnTo>
                  <a:lnTo>
                    <a:pt x="527" y="120"/>
                  </a:lnTo>
                  <a:lnTo>
                    <a:pt x="458" y="120"/>
                  </a:lnTo>
                  <a:lnTo>
                    <a:pt x="456" y="119"/>
                  </a:lnTo>
                  <a:lnTo>
                    <a:pt x="454" y="118"/>
                  </a:lnTo>
                  <a:lnTo>
                    <a:pt x="444" y="107"/>
                  </a:lnTo>
                  <a:lnTo>
                    <a:pt x="432" y="96"/>
                  </a:lnTo>
                  <a:lnTo>
                    <a:pt x="418" y="83"/>
                  </a:lnTo>
                  <a:lnTo>
                    <a:pt x="401" y="70"/>
                  </a:lnTo>
                  <a:lnTo>
                    <a:pt x="392" y="63"/>
                  </a:lnTo>
                  <a:lnTo>
                    <a:pt x="381" y="58"/>
                  </a:lnTo>
                  <a:lnTo>
                    <a:pt x="369" y="52"/>
                  </a:lnTo>
                  <a:lnTo>
                    <a:pt x="357" y="46"/>
                  </a:lnTo>
                  <a:lnTo>
                    <a:pt x="345" y="42"/>
                  </a:lnTo>
                  <a:lnTo>
                    <a:pt x="331" y="37"/>
                  </a:lnTo>
                  <a:lnTo>
                    <a:pt x="317" y="33"/>
                  </a:lnTo>
                  <a:lnTo>
                    <a:pt x="301" y="30"/>
                  </a:lnTo>
                  <a:lnTo>
                    <a:pt x="300" y="30"/>
                  </a:lnTo>
                  <a:lnTo>
                    <a:pt x="299" y="30"/>
                  </a:lnTo>
                  <a:lnTo>
                    <a:pt x="182" y="30"/>
                  </a:lnTo>
                  <a:lnTo>
                    <a:pt x="182" y="15"/>
                  </a:lnTo>
                  <a:lnTo>
                    <a:pt x="181" y="13"/>
                  </a:lnTo>
                  <a:lnTo>
                    <a:pt x="180" y="10"/>
                  </a:lnTo>
                  <a:lnTo>
                    <a:pt x="179" y="8"/>
                  </a:lnTo>
                  <a:lnTo>
                    <a:pt x="177" y="6"/>
                  </a:lnTo>
                  <a:lnTo>
                    <a:pt x="174" y="3"/>
                  </a:lnTo>
                  <a:lnTo>
                    <a:pt x="172" y="1"/>
                  </a:lnTo>
                  <a:lnTo>
                    <a:pt x="169" y="0"/>
                  </a:lnTo>
                  <a:lnTo>
                    <a:pt x="167" y="0"/>
                  </a:lnTo>
                  <a:lnTo>
                    <a:pt x="15" y="0"/>
                  </a:lnTo>
                  <a:lnTo>
                    <a:pt x="12" y="0"/>
                  </a:lnTo>
                  <a:lnTo>
                    <a:pt x="9" y="1"/>
                  </a:lnTo>
                  <a:lnTo>
                    <a:pt x="6" y="3"/>
                  </a:lnTo>
                  <a:lnTo>
                    <a:pt x="4" y="6"/>
                  </a:lnTo>
                  <a:lnTo>
                    <a:pt x="2" y="8"/>
                  </a:lnTo>
                  <a:lnTo>
                    <a:pt x="1" y="10"/>
                  </a:lnTo>
                  <a:lnTo>
                    <a:pt x="0" y="13"/>
                  </a:lnTo>
                  <a:lnTo>
                    <a:pt x="0" y="15"/>
                  </a:lnTo>
                  <a:lnTo>
                    <a:pt x="0" y="286"/>
                  </a:lnTo>
                  <a:lnTo>
                    <a:pt x="0" y="289"/>
                  </a:lnTo>
                  <a:lnTo>
                    <a:pt x="1" y="292"/>
                  </a:lnTo>
                  <a:lnTo>
                    <a:pt x="2" y="295"/>
                  </a:lnTo>
                  <a:lnTo>
                    <a:pt x="4" y="297"/>
                  </a:lnTo>
                  <a:lnTo>
                    <a:pt x="6" y="299"/>
                  </a:lnTo>
                  <a:lnTo>
                    <a:pt x="9" y="300"/>
                  </a:lnTo>
                  <a:lnTo>
                    <a:pt x="12" y="301"/>
                  </a:lnTo>
                  <a:lnTo>
                    <a:pt x="15" y="301"/>
                  </a:lnTo>
                  <a:lnTo>
                    <a:pt x="167" y="301"/>
                  </a:lnTo>
                  <a:lnTo>
                    <a:pt x="169" y="301"/>
                  </a:lnTo>
                  <a:lnTo>
                    <a:pt x="172" y="300"/>
                  </a:lnTo>
                  <a:lnTo>
                    <a:pt x="174" y="299"/>
                  </a:lnTo>
                  <a:lnTo>
                    <a:pt x="177" y="297"/>
                  </a:lnTo>
                  <a:lnTo>
                    <a:pt x="179" y="295"/>
                  </a:lnTo>
                  <a:lnTo>
                    <a:pt x="180" y="292"/>
                  </a:lnTo>
                  <a:lnTo>
                    <a:pt x="181" y="289"/>
                  </a:lnTo>
                  <a:lnTo>
                    <a:pt x="182" y="286"/>
                  </a:lnTo>
                  <a:lnTo>
                    <a:pt x="182" y="271"/>
                  </a:lnTo>
                  <a:lnTo>
                    <a:pt x="810" y="271"/>
                  </a:lnTo>
                  <a:lnTo>
                    <a:pt x="813" y="271"/>
                  </a:lnTo>
                  <a:lnTo>
                    <a:pt x="816" y="270"/>
                  </a:lnTo>
                  <a:lnTo>
                    <a:pt x="819" y="269"/>
                  </a:lnTo>
                  <a:lnTo>
                    <a:pt x="821" y="267"/>
                  </a:lnTo>
                  <a:lnTo>
                    <a:pt x="823" y="265"/>
                  </a:lnTo>
                  <a:lnTo>
                    <a:pt x="824" y="261"/>
                  </a:lnTo>
                  <a:lnTo>
                    <a:pt x="825" y="259"/>
                  </a:lnTo>
                  <a:lnTo>
                    <a:pt x="825" y="256"/>
                  </a:lnTo>
                  <a:lnTo>
                    <a:pt x="825" y="249"/>
                  </a:lnTo>
                  <a:lnTo>
                    <a:pt x="824" y="241"/>
                  </a:lnTo>
                  <a:lnTo>
                    <a:pt x="822" y="235"/>
                  </a:lnTo>
                  <a:lnTo>
                    <a:pt x="819" y="227"/>
                  </a:lnTo>
                  <a:lnTo>
                    <a:pt x="814" y="221"/>
                  </a:lnTo>
                  <a:lnTo>
                    <a:pt x="810" y="213"/>
                  </a:lnTo>
                  <a:lnTo>
                    <a:pt x="805" y="207"/>
                  </a:lnTo>
                  <a:lnTo>
                    <a:pt x="798" y="200"/>
                  </a:lnTo>
                  <a:lnTo>
                    <a:pt x="789" y="192"/>
                  </a:lnTo>
                  <a:lnTo>
                    <a:pt x="778" y="183"/>
                  </a:lnTo>
                  <a:lnTo>
                    <a:pt x="765" y="175"/>
                  </a:lnTo>
                  <a:lnTo>
                    <a:pt x="752" y="167"/>
                  </a:lnTo>
                  <a:lnTo>
                    <a:pt x="738" y="161"/>
                  </a:lnTo>
                  <a:lnTo>
                    <a:pt x="722" y="154"/>
                  </a:lnTo>
                  <a:lnTo>
                    <a:pt x="706" y="148"/>
                  </a:lnTo>
                  <a:lnTo>
                    <a:pt x="689" y="143"/>
                  </a:lnTo>
                  <a:lnTo>
                    <a:pt x="671" y="137"/>
                  </a:lnTo>
                  <a:lnTo>
                    <a:pt x="653" y="133"/>
                  </a:lnTo>
                  <a:lnTo>
                    <a:pt x="634" y="130"/>
                  </a:lnTo>
                  <a:lnTo>
                    <a:pt x="613" y="127"/>
                  </a:lnTo>
                  <a:lnTo>
                    <a:pt x="594" y="123"/>
                  </a:lnTo>
                  <a:lnTo>
                    <a:pt x="574" y="122"/>
                  </a:lnTo>
                  <a:lnTo>
                    <a:pt x="552" y="121"/>
                  </a:lnTo>
                  <a:lnTo>
                    <a:pt x="532" y="1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Freeform 295"/>
            <p:cNvSpPr>
              <a:spLocks/>
            </p:cNvSpPr>
            <p:nvPr/>
          </p:nvSpPr>
          <p:spPr bwMode="auto">
            <a:xfrm>
              <a:off x="11623675" y="2184401"/>
              <a:ext cx="12700" cy="12700"/>
            </a:xfrm>
            <a:custGeom>
              <a:avLst/>
              <a:gdLst>
                <a:gd name="T0" fmla="*/ 19 w 37"/>
                <a:gd name="T1" fmla="*/ 0 h 39"/>
                <a:gd name="T2" fmla="*/ 15 w 37"/>
                <a:gd name="T3" fmla="*/ 1 h 39"/>
                <a:gd name="T4" fmla="*/ 12 w 37"/>
                <a:gd name="T5" fmla="*/ 2 h 39"/>
                <a:gd name="T6" fmla="*/ 8 w 37"/>
                <a:gd name="T7" fmla="*/ 4 h 39"/>
                <a:gd name="T8" fmla="*/ 5 w 37"/>
                <a:gd name="T9" fmla="*/ 6 h 39"/>
                <a:gd name="T10" fmla="*/ 3 w 37"/>
                <a:gd name="T11" fmla="*/ 9 h 39"/>
                <a:gd name="T12" fmla="*/ 1 w 37"/>
                <a:gd name="T13" fmla="*/ 13 h 39"/>
                <a:gd name="T14" fmla="*/ 0 w 37"/>
                <a:gd name="T15" fmla="*/ 16 h 39"/>
                <a:gd name="T16" fmla="*/ 0 w 37"/>
                <a:gd name="T17" fmla="*/ 20 h 39"/>
                <a:gd name="T18" fmla="*/ 0 w 37"/>
                <a:gd name="T19" fmla="*/ 23 h 39"/>
                <a:gd name="T20" fmla="*/ 1 w 37"/>
                <a:gd name="T21" fmla="*/ 28 h 39"/>
                <a:gd name="T22" fmla="*/ 3 w 37"/>
                <a:gd name="T23" fmla="*/ 31 h 39"/>
                <a:gd name="T24" fmla="*/ 5 w 37"/>
                <a:gd name="T25" fmla="*/ 33 h 39"/>
                <a:gd name="T26" fmla="*/ 8 w 37"/>
                <a:gd name="T27" fmla="*/ 36 h 39"/>
                <a:gd name="T28" fmla="*/ 12 w 37"/>
                <a:gd name="T29" fmla="*/ 37 h 39"/>
                <a:gd name="T30" fmla="*/ 15 w 37"/>
                <a:gd name="T31" fmla="*/ 39 h 39"/>
                <a:gd name="T32" fmla="*/ 19 w 37"/>
                <a:gd name="T33" fmla="*/ 39 h 39"/>
                <a:gd name="T34" fmla="*/ 22 w 37"/>
                <a:gd name="T35" fmla="*/ 38 h 39"/>
                <a:gd name="T36" fmla="*/ 27 w 37"/>
                <a:gd name="T37" fmla="*/ 37 h 39"/>
                <a:gd name="T38" fmla="*/ 30 w 37"/>
                <a:gd name="T39" fmla="*/ 36 h 39"/>
                <a:gd name="T40" fmla="*/ 32 w 37"/>
                <a:gd name="T41" fmla="*/ 33 h 39"/>
                <a:gd name="T42" fmla="*/ 34 w 37"/>
                <a:gd name="T43" fmla="*/ 31 h 39"/>
                <a:gd name="T44" fmla="*/ 36 w 37"/>
                <a:gd name="T45" fmla="*/ 28 h 39"/>
                <a:gd name="T46" fmla="*/ 37 w 37"/>
                <a:gd name="T47" fmla="*/ 23 h 39"/>
                <a:gd name="T48" fmla="*/ 37 w 37"/>
                <a:gd name="T49" fmla="*/ 20 h 39"/>
                <a:gd name="T50" fmla="*/ 37 w 37"/>
                <a:gd name="T51" fmla="*/ 16 h 39"/>
                <a:gd name="T52" fmla="*/ 36 w 37"/>
                <a:gd name="T53" fmla="*/ 13 h 39"/>
                <a:gd name="T54" fmla="*/ 34 w 37"/>
                <a:gd name="T55" fmla="*/ 9 h 39"/>
                <a:gd name="T56" fmla="*/ 32 w 37"/>
                <a:gd name="T57" fmla="*/ 6 h 39"/>
                <a:gd name="T58" fmla="*/ 30 w 37"/>
                <a:gd name="T59" fmla="*/ 4 h 39"/>
                <a:gd name="T60" fmla="*/ 27 w 37"/>
                <a:gd name="T61" fmla="*/ 2 h 39"/>
                <a:gd name="T62" fmla="*/ 22 w 37"/>
                <a:gd name="T63" fmla="*/ 1 h 39"/>
                <a:gd name="T64" fmla="*/ 19 w 37"/>
                <a:gd name="T65" fmla="*/ 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7" h="39">
                  <a:moveTo>
                    <a:pt x="19" y="0"/>
                  </a:moveTo>
                  <a:lnTo>
                    <a:pt x="15" y="1"/>
                  </a:lnTo>
                  <a:lnTo>
                    <a:pt x="12" y="2"/>
                  </a:lnTo>
                  <a:lnTo>
                    <a:pt x="8" y="4"/>
                  </a:lnTo>
                  <a:lnTo>
                    <a:pt x="5" y="6"/>
                  </a:lnTo>
                  <a:lnTo>
                    <a:pt x="3" y="9"/>
                  </a:lnTo>
                  <a:lnTo>
                    <a:pt x="1" y="13"/>
                  </a:lnTo>
                  <a:lnTo>
                    <a:pt x="0" y="16"/>
                  </a:lnTo>
                  <a:lnTo>
                    <a:pt x="0" y="20"/>
                  </a:lnTo>
                  <a:lnTo>
                    <a:pt x="0" y="23"/>
                  </a:lnTo>
                  <a:lnTo>
                    <a:pt x="1" y="28"/>
                  </a:lnTo>
                  <a:lnTo>
                    <a:pt x="3" y="31"/>
                  </a:lnTo>
                  <a:lnTo>
                    <a:pt x="5" y="33"/>
                  </a:lnTo>
                  <a:lnTo>
                    <a:pt x="8" y="36"/>
                  </a:lnTo>
                  <a:lnTo>
                    <a:pt x="12" y="37"/>
                  </a:lnTo>
                  <a:lnTo>
                    <a:pt x="15" y="39"/>
                  </a:lnTo>
                  <a:lnTo>
                    <a:pt x="19" y="39"/>
                  </a:lnTo>
                  <a:lnTo>
                    <a:pt x="22" y="38"/>
                  </a:lnTo>
                  <a:lnTo>
                    <a:pt x="27" y="37"/>
                  </a:lnTo>
                  <a:lnTo>
                    <a:pt x="30" y="36"/>
                  </a:lnTo>
                  <a:lnTo>
                    <a:pt x="32" y="33"/>
                  </a:lnTo>
                  <a:lnTo>
                    <a:pt x="34" y="31"/>
                  </a:lnTo>
                  <a:lnTo>
                    <a:pt x="36" y="28"/>
                  </a:lnTo>
                  <a:lnTo>
                    <a:pt x="37" y="23"/>
                  </a:lnTo>
                  <a:lnTo>
                    <a:pt x="37" y="20"/>
                  </a:lnTo>
                  <a:lnTo>
                    <a:pt x="37" y="16"/>
                  </a:lnTo>
                  <a:lnTo>
                    <a:pt x="36" y="13"/>
                  </a:lnTo>
                  <a:lnTo>
                    <a:pt x="34" y="9"/>
                  </a:lnTo>
                  <a:lnTo>
                    <a:pt x="32" y="6"/>
                  </a:lnTo>
                  <a:lnTo>
                    <a:pt x="30" y="4"/>
                  </a:lnTo>
                  <a:lnTo>
                    <a:pt x="27" y="2"/>
                  </a:lnTo>
                  <a:lnTo>
                    <a:pt x="22" y="1"/>
                  </a:lnTo>
                  <a:lnTo>
                    <a:pt x="1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09" name="Group 208"/>
          <p:cNvGrpSpPr/>
          <p:nvPr/>
        </p:nvGrpSpPr>
        <p:grpSpPr>
          <a:xfrm>
            <a:off x="6923092" y="5174168"/>
            <a:ext cx="430208" cy="373166"/>
            <a:chOff x="8736013" y="2536825"/>
            <a:chExt cx="287338" cy="249238"/>
          </a:xfrm>
          <a:solidFill>
            <a:schemeClr val="bg1"/>
          </a:solidFill>
        </p:grpSpPr>
        <p:sp>
          <p:nvSpPr>
            <p:cNvPr id="210" name="Freeform 219"/>
            <p:cNvSpPr>
              <a:spLocks noEditPoints="1"/>
            </p:cNvSpPr>
            <p:nvPr/>
          </p:nvSpPr>
          <p:spPr bwMode="auto">
            <a:xfrm>
              <a:off x="8793163" y="2632075"/>
              <a:ext cx="230188" cy="153988"/>
            </a:xfrm>
            <a:custGeom>
              <a:avLst/>
              <a:gdLst>
                <a:gd name="T0" fmla="*/ 621 w 722"/>
                <a:gd name="T1" fmla="*/ 368 h 481"/>
                <a:gd name="T2" fmla="*/ 588 w 722"/>
                <a:gd name="T3" fmla="*/ 338 h 481"/>
                <a:gd name="T4" fmla="*/ 557 w 722"/>
                <a:gd name="T5" fmla="*/ 331 h 481"/>
                <a:gd name="T6" fmla="*/ 525 w 722"/>
                <a:gd name="T7" fmla="*/ 338 h 481"/>
                <a:gd name="T8" fmla="*/ 493 w 722"/>
                <a:gd name="T9" fmla="*/ 368 h 481"/>
                <a:gd name="T10" fmla="*/ 451 w 722"/>
                <a:gd name="T11" fmla="*/ 391 h 481"/>
                <a:gd name="T12" fmla="*/ 557 w 722"/>
                <a:gd name="T13" fmla="*/ 451 h 481"/>
                <a:gd name="T14" fmla="*/ 520 w 722"/>
                <a:gd name="T15" fmla="*/ 432 h 481"/>
                <a:gd name="T16" fmla="*/ 515 w 722"/>
                <a:gd name="T17" fmla="*/ 389 h 481"/>
                <a:gd name="T18" fmla="*/ 547 w 722"/>
                <a:gd name="T19" fmla="*/ 362 h 481"/>
                <a:gd name="T20" fmla="*/ 588 w 722"/>
                <a:gd name="T21" fmla="*/ 374 h 481"/>
                <a:gd name="T22" fmla="*/ 601 w 722"/>
                <a:gd name="T23" fmla="*/ 415 h 481"/>
                <a:gd name="T24" fmla="*/ 574 w 722"/>
                <a:gd name="T25" fmla="*/ 448 h 481"/>
                <a:gd name="T26" fmla="*/ 451 w 722"/>
                <a:gd name="T27" fmla="*/ 241 h 481"/>
                <a:gd name="T28" fmla="*/ 163 w 722"/>
                <a:gd name="T29" fmla="*/ 448 h 481"/>
                <a:gd name="T30" fmla="*/ 136 w 722"/>
                <a:gd name="T31" fmla="*/ 415 h 481"/>
                <a:gd name="T32" fmla="*/ 149 w 722"/>
                <a:gd name="T33" fmla="*/ 374 h 481"/>
                <a:gd name="T34" fmla="*/ 190 w 722"/>
                <a:gd name="T35" fmla="*/ 362 h 481"/>
                <a:gd name="T36" fmla="*/ 222 w 722"/>
                <a:gd name="T37" fmla="*/ 389 h 481"/>
                <a:gd name="T38" fmla="*/ 219 w 722"/>
                <a:gd name="T39" fmla="*/ 431 h 481"/>
                <a:gd name="T40" fmla="*/ 181 w 722"/>
                <a:gd name="T41" fmla="*/ 451 h 481"/>
                <a:gd name="T42" fmla="*/ 565 w 722"/>
                <a:gd name="T43" fmla="*/ 94 h 481"/>
                <a:gd name="T44" fmla="*/ 451 w 722"/>
                <a:gd name="T45" fmla="*/ 15 h 481"/>
                <a:gd name="T46" fmla="*/ 445 w 722"/>
                <a:gd name="T47" fmla="*/ 3 h 481"/>
                <a:gd name="T48" fmla="*/ 253 w 722"/>
                <a:gd name="T49" fmla="*/ 0 h 481"/>
                <a:gd name="T50" fmla="*/ 242 w 722"/>
                <a:gd name="T51" fmla="*/ 10 h 481"/>
                <a:gd name="T52" fmla="*/ 243 w 722"/>
                <a:gd name="T53" fmla="*/ 24 h 481"/>
                <a:gd name="T54" fmla="*/ 256 w 722"/>
                <a:gd name="T55" fmla="*/ 30 h 481"/>
                <a:gd name="T56" fmla="*/ 251 w 722"/>
                <a:gd name="T57" fmla="*/ 378 h 481"/>
                <a:gd name="T58" fmla="*/ 224 w 722"/>
                <a:gd name="T59" fmla="*/ 344 h 481"/>
                <a:gd name="T60" fmla="*/ 194 w 722"/>
                <a:gd name="T61" fmla="*/ 332 h 481"/>
                <a:gd name="T62" fmla="*/ 161 w 722"/>
                <a:gd name="T63" fmla="*/ 334 h 481"/>
                <a:gd name="T64" fmla="*/ 133 w 722"/>
                <a:gd name="T65" fmla="*/ 349 h 481"/>
                <a:gd name="T66" fmla="*/ 108 w 722"/>
                <a:gd name="T67" fmla="*/ 385 h 481"/>
                <a:gd name="T68" fmla="*/ 29 w 722"/>
                <a:gd name="T69" fmla="*/ 115 h 481"/>
                <a:gd name="T70" fmla="*/ 18 w 722"/>
                <a:gd name="T71" fmla="*/ 106 h 481"/>
                <a:gd name="T72" fmla="*/ 4 w 722"/>
                <a:gd name="T73" fmla="*/ 110 h 481"/>
                <a:gd name="T74" fmla="*/ 0 w 722"/>
                <a:gd name="T75" fmla="*/ 406 h 481"/>
                <a:gd name="T76" fmla="*/ 6 w 722"/>
                <a:gd name="T77" fmla="*/ 419 h 481"/>
                <a:gd name="T78" fmla="*/ 108 w 722"/>
                <a:gd name="T79" fmla="*/ 428 h 481"/>
                <a:gd name="T80" fmla="*/ 133 w 722"/>
                <a:gd name="T81" fmla="*/ 464 h 481"/>
                <a:gd name="T82" fmla="*/ 161 w 722"/>
                <a:gd name="T83" fmla="*/ 479 h 481"/>
                <a:gd name="T84" fmla="*/ 194 w 722"/>
                <a:gd name="T85" fmla="*/ 480 h 481"/>
                <a:gd name="T86" fmla="*/ 224 w 722"/>
                <a:gd name="T87" fmla="*/ 468 h 481"/>
                <a:gd name="T88" fmla="*/ 251 w 722"/>
                <a:gd name="T89" fmla="*/ 434 h 481"/>
                <a:gd name="T90" fmla="*/ 484 w 722"/>
                <a:gd name="T91" fmla="*/ 428 h 481"/>
                <a:gd name="T92" fmla="*/ 509 w 722"/>
                <a:gd name="T93" fmla="*/ 464 h 481"/>
                <a:gd name="T94" fmla="*/ 537 w 722"/>
                <a:gd name="T95" fmla="*/ 479 h 481"/>
                <a:gd name="T96" fmla="*/ 570 w 722"/>
                <a:gd name="T97" fmla="*/ 480 h 481"/>
                <a:gd name="T98" fmla="*/ 599 w 722"/>
                <a:gd name="T99" fmla="*/ 468 h 481"/>
                <a:gd name="T100" fmla="*/ 627 w 722"/>
                <a:gd name="T101" fmla="*/ 434 h 481"/>
                <a:gd name="T102" fmla="*/ 712 w 722"/>
                <a:gd name="T103" fmla="*/ 420 h 481"/>
                <a:gd name="T104" fmla="*/ 722 w 722"/>
                <a:gd name="T105" fmla="*/ 410 h 481"/>
                <a:gd name="T106" fmla="*/ 721 w 722"/>
                <a:gd name="T107" fmla="*/ 250 h 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722" h="481">
                  <a:moveTo>
                    <a:pt x="630" y="391"/>
                  </a:moveTo>
                  <a:lnTo>
                    <a:pt x="629" y="385"/>
                  </a:lnTo>
                  <a:lnTo>
                    <a:pt x="627" y="378"/>
                  </a:lnTo>
                  <a:lnTo>
                    <a:pt x="623" y="373"/>
                  </a:lnTo>
                  <a:lnTo>
                    <a:pt x="621" y="368"/>
                  </a:lnTo>
                  <a:lnTo>
                    <a:pt x="614" y="357"/>
                  </a:lnTo>
                  <a:lnTo>
                    <a:pt x="604" y="349"/>
                  </a:lnTo>
                  <a:lnTo>
                    <a:pt x="599" y="344"/>
                  </a:lnTo>
                  <a:lnTo>
                    <a:pt x="593" y="341"/>
                  </a:lnTo>
                  <a:lnTo>
                    <a:pt x="588" y="338"/>
                  </a:lnTo>
                  <a:lnTo>
                    <a:pt x="583" y="336"/>
                  </a:lnTo>
                  <a:lnTo>
                    <a:pt x="576" y="334"/>
                  </a:lnTo>
                  <a:lnTo>
                    <a:pt x="570" y="332"/>
                  </a:lnTo>
                  <a:lnTo>
                    <a:pt x="563" y="331"/>
                  </a:lnTo>
                  <a:lnTo>
                    <a:pt x="557" y="331"/>
                  </a:lnTo>
                  <a:lnTo>
                    <a:pt x="550" y="331"/>
                  </a:lnTo>
                  <a:lnTo>
                    <a:pt x="543" y="332"/>
                  </a:lnTo>
                  <a:lnTo>
                    <a:pt x="537" y="334"/>
                  </a:lnTo>
                  <a:lnTo>
                    <a:pt x="530" y="336"/>
                  </a:lnTo>
                  <a:lnTo>
                    <a:pt x="525" y="338"/>
                  </a:lnTo>
                  <a:lnTo>
                    <a:pt x="520" y="341"/>
                  </a:lnTo>
                  <a:lnTo>
                    <a:pt x="514" y="344"/>
                  </a:lnTo>
                  <a:lnTo>
                    <a:pt x="509" y="349"/>
                  </a:lnTo>
                  <a:lnTo>
                    <a:pt x="499" y="357"/>
                  </a:lnTo>
                  <a:lnTo>
                    <a:pt x="493" y="368"/>
                  </a:lnTo>
                  <a:lnTo>
                    <a:pt x="490" y="373"/>
                  </a:lnTo>
                  <a:lnTo>
                    <a:pt x="486" y="378"/>
                  </a:lnTo>
                  <a:lnTo>
                    <a:pt x="484" y="385"/>
                  </a:lnTo>
                  <a:lnTo>
                    <a:pt x="483" y="391"/>
                  </a:lnTo>
                  <a:lnTo>
                    <a:pt x="451" y="391"/>
                  </a:lnTo>
                  <a:lnTo>
                    <a:pt x="451" y="271"/>
                  </a:lnTo>
                  <a:lnTo>
                    <a:pt x="692" y="271"/>
                  </a:lnTo>
                  <a:lnTo>
                    <a:pt x="692" y="391"/>
                  </a:lnTo>
                  <a:lnTo>
                    <a:pt x="630" y="391"/>
                  </a:lnTo>
                  <a:close/>
                  <a:moveTo>
                    <a:pt x="557" y="451"/>
                  </a:moveTo>
                  <a:lnTo>
                    <a:pt x="547" y="450"/>
                  </a:lnTo>
                  <a:lnTo>
                    <a:pt x="539" y="448"/>
                  </a:lnTo>
                  <a:lnTo>
                    <a:pt x="531" y="444"/>
                  </a:lnTo>
                  <a:lnTo>
                    <a:pt x="525" y="438"/>
                  </a:lnTo>
                  <a:lnTo>
                    <a:pt x="520" y="432"/>
                  </a:lnTo>
                  <a:lnTo>
                    <a:pt x="515" y="423"/>
                  </a:lnTo>
                  <a:lnTo>
                    <a:pt x="512" y="415"/>
                  </a:lnTo>
                  <a:lnTo>
                    <a:pt x="511" y="406"/>
                  </a:lnTo>
                  <a:lnTo>
                    <a:pt x="512" y="398"/>
                  </a:lnTo>
                  <a:lnTo>
                    <a:pt x="515" y="389"/>
                  </a:lnTo>
                  <a:lnTo>
                    <a:pt x="520" y="381"/>
                  </a:lnTo>
                  <a:lnTo>
                    <a:pt x="525" y="374"/>
                  </a:lnTo>
                  <a:lnTo>
                    <a:pt x="531" y="369"/>
                  </a:lnTo>
                  <a:lnTo>
                    <a:pt x="539" y="365"/>
                  </a:lnTo>
                  <a:lnTo>
                    <a:pt x="547" y="362"/>
                  </a:lnTo>
                  <a:lnTo>
                    <a:pt x="557" y="361"/>
                  </a:lnTo>
                  <a:lnTo>
                    <a:pt x="566" y="362"/>
                  </a:lnTo>
                  <a:lnTo>
                    <a:pt x="574" y="365"/>
                  </a:lnTo>
                  <a:lnTo>
                    <a:pt x="582" y="369"/>
                  </a:lnTo>
                  <a:lnTo>
                    <a:pt x="588" y="374"/>
                  </a:lnTo>
                  <a:lnTo>
                    <a:pt x="593" y="381"/>
                  </a:lnTo>
                  <a:lnTo>
                    <a:pt x="598" y="389"/>
                  </a:lnTo>
                  <a:lnTo>
                    <a:pt x="601" y="398"/>
                  </a:lnTo>
                  <a:lnTo>
                    <a:pt x="602" y="406"/>
                  </a:lnTo>
                  <a:lnTo>
                    <a:pt x="601" y="415"/>
                  </a:lnTo>
                  <a:lnTo>
                    <a:pt x="598" y="423"/>
                  </a:lnTo>
                  <a:lnTo>
                    <a:pt x="593" y="431"/>
                  </a:lnTo>
                  <a:lnTo>
                    <a:pt x="588" y="438"/>
                  </a:lnTo>
                  <a:lnTo>
                    <a:pt x="582" y="444"/>
                  </a:lnTo>
                  <a:lnTo>
                    <a:pt x="574" y="448"/>
                  </a:lnTo>
                  <a:lnTo>
                    <a:pt x="566" y="450"/>
                  </a:lnTo>
                  <a:lnTo>
                    <a:pt x="557" y="451"/>
                  </a:lnTo>
                  <a:close/>
                  <a:moveTo>
                    <a:pt x="551" y="120"/>
                  </a:moveTo>
                  <a:lnTo>
                    <a:pt x="671" y="241"/>
                  </a:lnTo>
                  <a:lnTo>
                    <a:pt x="451" y="241"/>
                  </a:lnTo>
                  <a:lnTo>
                    <a:pt x="451" y="120"/>
                  </a:lnTo>
                  <a:lnTo>
                    <a:pt x="551" y="120"/>
                  </a:lnTo>
                  <a:close/>
                  <a:moveTo>
                    <a:pt x="181" y="451"/>
                  </a:moveTo>
                  <a:lnTo>
                    <a:pt x="171" y="450"/>
                  </a:lnTo>
                  <a:lnTo>
                    <a:pt x="163" y="448"/>
                  </a:lnTo>
                  <a:lnTo>
                    <a:pt x="155" y="444"/>
                  </a:lnTo>
                  <a:lnTo>
                    <a:pt x="149" y="438"/>
                  </a:lnTo>
                  <a:lnTo>
                    <a:pt x="144" y="432"/>
                  </a:lnTo>
                  <a:lnTo>
                    <a:pt x="139" y="423"/>
                  </a:lnTo>
                  <a:lnTo>
                    <a:pt x="136" y="415"/>
                  </a:lnTo>
                  <a:lnTo>
                    <a:pt x="136" y="406"/>
                  </a:lnTo>
                  <a:lnTo>
                    <a:pt x="136" y="398"/>
                  </a:lnTo>
                  <a:lnTo>
                    <a:pt x="139" y="389"/>
                  </a:lnTo>
                  <a:lnTo>
                    <a:pt x="144" y="381"/>
                  </a:lnTo>
                  <a:lnTo>
                    <a:pt x="149" y="374"/>
                  </a:lnTo>
                  <a:lnTo>
                    <a:pt x="155" y="369"/>
                  </a:lnTo>
                  <a:lnTo>
                    <a:pt x="163" y="365"/>
                  </a:lnTo>
                  <a:lnTo>
                    <a:pt x="171" y="362"/>
                  </a:lnTo>
                  <a:lnTo>
                    <a:pt x="181" y="361"/>
                  </a:lnTo>
                  <a:lnTo>
                    <a:pt x="190" y="362"/>
                  </a:lnTo>
                  <a:lnTo>
                    <a:pt x="198" y="365"/>
                  </a:lnTo>
                  <a:lnTo>
                    <a:pt x="206" y="369"/>
                  </a:lnTo>
                  <a:lnTo>
                    <a:pt x="212" y="374"/>
                  </a:lnTo>
                  <a:lnTo>
                    <a:pt x="219" y="381"/>
                  </a:lnTo>
                  <a:lnTo>
                    <a:pt x="222" y="389"/>
                  </a:lnTo>
                  <a:lnTo>
                    <a:pt x="225" y="398"/>
                  </a:lnTo>
                  <a:lnTo>
                    <a:pt x="226" y="406"/>
                  </a:lnTo>
                  <a:lnTo>
                    <a:pt x="225" y="415"/>
                  </a:lnTo>
                  <a:lnTo>
                    <a:pt x="222" y="423"/>
                  </a:lnTo>
                  <a:lnTo>
                    <a:pt x="219" y="431"/>
                  </a:lnTo>
                  <a:lnTo>
                    <a:pt x="212" y="438"/>
                  </a:lnTo>
                  <a:lnTo>
                    <a:pt x="206" y="444"/>
                  </a:lnTo>
                  <a:lnTo>
                    <a:pt x="198" y="448"/>
                  </a:lnTo>
                  <a:lnTo>
                    <a:pt x="190" y="450"/>
                  </a:lnTo>
                  <a:lnTo>
                    <a:pt x="181" y="451"/>
                  </a:lnTo>
                  <a:close/>
                  <a:moveTo>
                    <a:pt x="721" y="250"/>
                  </a:moveTo>
                  <a:lnTo>
                    <a:pt x="720" y="248"/>
                  </a:lnTo>
                  <a:lnTo>
                    <a:pt x="718" y="246"/>
                  </a:lnTo>
                  <a:lnTo>
                    <a:pt x="568" y="95"/>
                  </a:lnTo>
                  <a:lnTo>
                    <a:pt x="565" y="94"/>
                  </a:lnTo>
                  <a:lnTo>
                    <a:pt x="562" y="91"/>
                  </a:lnTo>
                  <a:lnTo>
                    <a:pt x="559" y="91"/>
                  </a:lnTo>
                  <a:lnTo>
                    <a:pt x="557" y="90"/>
                  </a:lnTo>
                  <a:lnTo>
                    <a:pt x="451" y="90"/>
                  </a:lnTo>
                  <a:lnTo>
                    <a:pt x="451" y="15"/>
                  </a:lnTo>
                  <a:lnTo>
                    <a:pt x="451" y="12"/>
                  </a:lnTo>
                  <a:lnTo>
                    <a:pt x="450" y="10"/>
                  </a:lnTo>
                  <a:lnTo>
                    <a:pt x="449" y="7"/>
                  </a:lnTo>
                  <a:lnTo>
                    <a:pt x="447" y="5"/>
                  </a:lnTo>
                  <a:lnTo>
                    <a:pt x="445" y="3"/>
                  </a:lnTo>
                  <a:lnTo>
                    <a:pt x="442" y="1"/>
                  </a:lnTo>
                  <a:lnTo>
                    <a:pt x="439" y="0"/>
                  </a:lnTo>
                  <a:lnTo>
                    <a:pt x="436" y="0"/>
                  </a:lnTo>
                  <a:lnTo>
                    <a:pt x="256" y="0"/>
                  </a:lnTo>
                  <a:lnTo>
                    <a:pt x="253" y="0"/>
                  </a:lnTo>
                  <a:lnTo>
                    <a:pt x="250" y="1"/>
                  </a:lnTo>
                  <a:lnTo>
                    <a:pt x="247" y="3"/>
                  </a:lnTo>
                  <a:lnTo>
                    <a:pt x="245" y="5"/>
                  </a:lnTo>
                  <a:lnTo>
                    <a:pt x="243" y="7"/>
                  </a:lnTo>
                  <a:lnTo>
                    <a:pt x="242" y="10"/>
                  </a:lnTo>
                  <a:lnTo>
                    <a:pt x="241" y="12"/>
                  </a:lnTo>
                  <a:lnTo>
                    <a:pt x="241" y="15"/>
                  </a:lnTo>
                  <a:lnTo>
                    <a:pt x="241" y="19"/>
                  </a:lnTo>
                  <a:lnTo>
                    <a:pt x="242" y="22"/>
                  </a:lnTo>
                  <a:lnTo>
                    <a:pt x="243" y="24"/>
                  </a:lnTo>
                  <a:lnTo>
                    <a:pt x="245" y="26"/>
                  </a:lnTo>
                  <a:lnTo>
                    <a:pt x="247" y="28"/>
                  </a:lnTo>
                  <a:lnTo>
                    <a:pt x="250" y="29"/>
                  </a:lnTo>
                  <a:lnTo>
                    <a:pt x="253" y="30"/>
                  </a:lnTo>
                  <a:lnTo>
                    <a:pt x="256" y="30"/>
                  </a:lnTo>
                  <a:lnTo>
                    <a:pt x="421" y="30"/>
                  </a:lnTo>
                  <a:lnTo>
                    <a:pt x="421" y="391"/>
                  </a:lnTo>
                  <a:lnTo>
                    <a:pt x="254" y="391"/>
                  </a:lnTo>
                  <a:lnTo>
                    <a:pt x="253" y="385"/>
                  </a:lnTo>
                  <a:lnTo>
                    <a:pt x="251" y="378"/>
                  </a:lnTo>
                  <a:lnTo>
                    <a:pt x="249" y="373"/>
                  </a:lnTo>
                  <a:lnTo>
                    <a:pt x="245" y="368"/>
                  </a:lnTo>
                  <a:lnTo>
                    <a:pt x="238" y="357"/>
                  </a:lnTo>
                  <a:lnTo>
                    <a:pt x="228" y="349"/>
                  </a:lnTo>
                  <a:lnTo>
                    <a:pt x="224" y="344"/>
                  </a:lnTo>
                  <a:lnTo>
                    <a:pt x="219" y="341"/>
                  </a:lnTo>
                  <a:lnTo>
                    <a:pt x="212" y="338"/>
                  </a:lnTo>
                  <a:lnTo>
                    <a:pt x="207" y="336"/>
                  </a:lnTo>
                  <a:lnTo>
                    <a:pt x="200" y="334"/>
                  </a:lnTo>
                  <a:lnTo>
                    <a:pt x="194" y="332"/>
                  </a:lnTo>
                  <a:lnTo>
                    <a:pt x="187" y="331"/>
                  </a:lnTo>
                  <a:lnTo>
                    <a:pt x="181" y="331"/>
                  </a:lnTo>
                  <a:lnTo>
                    <a:pt x="174" y="331"/>
                  </a:lnTo>
                  <a:lnTo>
                    <a:pt x="167" y="332"/>
                  </a:lnTo>
                  <a:lnTo>
                    <a:pt x="161" y="334"/>
                  </a:lnTo>
                  <a:lnTo>
                    <a:pt x="155" y="336"/>
                  </a:lnTo>
                  <a:lnTo>
                    <a:pt x="149" y="338"/>
                  </a:lnTo>
                  <a:lnTo>
                    <a:pt x="144" y="341"/>
                  </a:lnTo>
                  <a:lnTo>
                    <a:pt x="138" y="344"/>
                  </a:lnTo>
                  <a:lnTo>
                    <a:pt x="133" y="349"/>
                  </a:lnTo>
                  <a:lnTo>
                    <a:pt x="124" y="357"/>
                  </a:lnTo>
                  <a:lnTo>
                    <a:pt x="117" y="368"/>
                  </a:lnTo>
                  <a:lnTo>
                    <a:pt x="114" y="373"/>
                  </a:lnTo>
                  <a:lnTo>
                    <a:pt x="110" y="378"/>
                  </a:lnTo>
                  <a:lnTo>
                    <a:pt x="108" y="385"/>
                  </a:lnTo>
                  <a:lnTo>
                    <a:pt x="107" y="391"/>
                  </a:lnTo>
                  <a:lnTo>
                    <a:pt x="30" y="391"/>
                  </a:lnTo>
                  <a:lnTo>
                    <a:pt x="30" y="120"/>
                  </a:lnTo>
                  <a:lnTo>
                    <a:pt x="30" y="117"/>
                  </a:lnTo>
                  <a:lnTo>
                    <a:pt x="29" y="115"/>
                  </a:lnTo>
                  <a:lnTo>
                    <a:pt x="28" y="112"/>
                  </a:lnTo>
                  <a:lnTo>
                    <a:pt x="26" y="110"/>
                  </a:lnTo>
                  <a:lnTo>
                    <a:pt x="24" y="109"/>
                  </a:lnTo>
                  <a:lnTo>
                    <a:pt x="21" y="106"/>
                  </a:lnTo>
                  <a:lnTo>
                    <a:pt x="18" y="106"/>
                  </a:lnTo>
                  <a:lnTo>
                    <a:pt x="15" y="105"/>
                  </a:lnTo>
                  <a:lnTo>
                    <a:pt x="12" y="106"/>
                  </a:lnTo>
                  <a:lnTo>
                    <a:pt x="10" y="106"/>
                  </a:lnTo>
                  <a:lnTo>
                    <a:pt x="6" y="109"/>
                  </a:lnTo>
                  <a:lnTo>
                    <a:pt x="4" y="110"/>
                  </a:lnTo>
                  <a:lnTo>
                    <a:pt x="3" y="112"/>
                  </a:lnTo>
                  <a:lnTo>
                    <a:pt x="1" y="115"/>
                  </a:lnTo>
                  <a:lnTo>
                    <a:pt x="1" y="117"/>
                  </a:lnTo>
                  <a:lnTo>
                    <a:pt x="0" y="120"/>
                  </a:lnTo>
                  <a:lnTo>
                    <a:pt x="0" y="406"/>
                  </a:lnTo>
                  <a:lnTo>
                    <a:pt x="1" y="410"/>
                  </a:lnTo>
                  <a:lnTo>
                    <a:pt x="1" y="412"/>
                  </a:lnTo>
                  <a:lnTo>
                    <a:pt x="3" y="415"/>
                  </a:lnTo>
                  <a:lnTo>
                    <a:pt x="4" y="417"/>
                  </a:lnTo>
                  <a:lnTo>
                    <a:pt x="6" y="419"/>
                  </a:lnTo>
                  <a:lnTo>
                    <a:pt x="10" y="420"/>
                  </a:lnTo>
                  <a:lnTo>
                    <a:pt x="12" y="421"/>
                  </a:lnTo>
                  <a:lnTo>
                    <a:pt x="15" y="421"/>
                  </a:lnTo>
                  <a:lnTo>
                    <a:pt x="107" y="421"/>
                  </a:lnTo>
                  <a:lnTo>
                    <a:pt x="108" y="428"/>
                  </a:lnTo>
                  <a:lnTo>
                    <a:pt x="110" y="434"/>
                  </a:lnTo>
                  <a:lnTo>
                    <a:pt x="114" y="440"/>
                  </a:lnTo>
                  <a:lnTo>
                    <a:pt x="117" y="445"/>
                  </a:lnTo>
                  <a:lnTo>
                    <a:pt x="124" y="456"/>
                  </a:lnTo>
                  <a:lnTo>
                    <a:pt x="133" y="464"/>
                  </a:lnTo>
                  <a:lnTo>
                    <a:pt x="138" y="468"/>
                  </a:lnTo>
                  <a:lnTo>
                    <a:pt x="144" y="472"/>
                  </a:lnTo>
                  <a:lnTo>
                    <a:pt x="149" y="475"/>
                  </a:lnTo>
                  <a:lnTo>
                    <a:pt x="155" y="477"/>
                  </a:lnTo>
                  <a:lnTo>
                    <a:pt x="161" y="479"/>
                  </a:lnTo>
                  <a:lnTo>
                    <a:pt x="167" y="480"/>
                  </a:lnTo>
                  <a:lnTo>
                    <a:pt x="174" y="481"/>
                  </a:lnTo>
                  <a:lnTo>
                    <a:pt x="181" y="481"/>
                  </a:lnTo>
                  <a:lnTo>
                    <a:pt x="187" y="481"/>
                  </a:lnTo>
                  <a:lnTo>
                    <a:pt x="194" y="480"/>
                  </a:lnTo>
                  <a:lnTo>
                    <a:pt x="200" y="479"/>
                  </a:lnTo>
                  <a:lnTo>
                    <a:pt x="207" y="477"/>
                  </a:lnTo>
                  <a:lnTo>
                    <a:pt x="212" y="475"/>
                  </a:lnTo>
                  <a:lnTo>
                    <a:pt x="219" y="472"/>
                  </a:lnTo>
                  <a:lnTo>
                    <a:pt x="224" y="468"/>
                  </a:lnTo>
                  <a:lnTo>
                    <a:pt x="228" y="464"/>
                  </a:lnTo>
                  <a:lnTo>
                    <a:pt x="238" y="456"/>
                  </a:lnTo>
                  <a:lnTo>
                    <a:pt x="245" y="445"/>
                  </a:lnTo>
                  <a:lnTo>
                    <a:pt x="249" y="440"/>
                  </a:lnTo>
                  <a:lnTo>
                    <a:pt x="251" y="434"/>
                  </a:lnTo>
                  <a:lnTo>
                    <a:pt x="253" y="428"/>
                  </a:lnTo>
                  <a:lnTo>
                    <a:pt x="254" y="421"/>
                  </a:lnTo>
                  <a:lnTo>
                    <a:pt x="436" y="421"/>
                  </a:lnTo>
                  <a:lnTo>
                    <a:pt x="483" y="421"/>
                  </a:lnTo>
                  <a:lnTo>
                    <a:pt x="484" y="428"/>
                  </a:lnTo>
                  <a:lnTo>
                    <a:pt x="486" y="434"/>
                  </a:lnTo>
                  <a:lnTo>
                    <a:pt x="490" y="440"/>
                  </a:lnTo>
                  <a:lnTo>
                    <a:pt x="493" y="445"/>
                  </a:lnTo>
                  <a:lnTo>
                    <a:pt x="499" y="456"/>
                  </a:lnTo>
                  <a:lnTo>
                    <a:pt x="509" y="464"/>
                  </a:lnTo>
                  <a:lnTo>
                    <a:pt x="514" y="468"/>
                  </a:lnTo>
                  <a:lnTo>
                    <a:pt x="520" y="472"/>
                  </a:lnTo>
                  <a:lnTo>
                    <a:pt x="525" y="475"/>
                  </a:lnTo>
                  <a:lnTo>
                    <a:pt x="530" y="477"/>
                  </a:lnTo>
                  <a:lnTo>
                    <a:pt x="537" y="479"/>
                  </a:lnTo>
                  <a:lnTo>
                    <a:pt x="543" y="480"/>
                  </a:lnTo>
                  <a:lnTo>
                    <a:pt x="550" y="481"/>
                  </a:lnTo>
                  <a:lnTo>
                    <a:pt x="557" y="481"/>
                  </a:lnTo>
                  <a:lnTo>
                    <a:pt x="563" y="481"/>
                  </a:lnTo>
                  <a:lnTo>
                    <a:pt x="570" y="480"/>
                  </a:lnTo>
                  <a:lnTo>
                    <a:pt x="576" y="479"/>
                  </a:lnTo>
                  <a:lnTo>
                    <a:pt x="583" y="477"/>
                  </a:lnTo>
                  <a:lnTo>
                    <a:pt x="588" y="475"/>
                  </a:lnTo>
                  <a:lnTo>
                    <a:pt x="593" y="472"/>
                  </a:lnTo>
                  <a:lnTo>
                    <a:pt x="599" y="468"/>
                  </a:lnTo>
                  <a:lnTo>
                    <a:pt x="604" y="464"/>
                  </a:lnTo>
                  <a:lnTo>
                    <a:pt x="614" y="456"/>
                  </a:lnTo>
                  <a:lnTo>
                    <a:pt x="621" y="445"/>
                  </a:lnTo>
                  <a:lnTo>
                    <a:pt x="623" y="440"/>
                  </a:lnTo>
                  <a:lnTo>
                    <a:pt x="627" y="434"/>
                  </a:lnTo>
                  <a:lnTo>
                    <a:pt x="629" y="428"/>
                  </a:lnTo>
                  <a:lnTo>
                    <a:pt x="630" y="421"/>
                  </a:lnTo>
                  <a:lnTo>
                    <a:pt x="707" y="421"/>
                  </a:lnTo>
                  <a:lnTo>
                    <a:pt x="710" y="421"/>
                  </a:lnTo>
                  <a:lnTo>
                    <a:pt x="712" y="420"/>
                  </a:lnTo>
                  <a:lnTo>
                    <a:pt x="716" y="419"/>
                  </a:lnTo>
                  <a:lnTo>
                    <a:pt x="718" y="417"/>
                  </a:lnTo>
                  <a:lnTo>
                    <a:pt x="720" y="415"/>
                  </a:lnTo>
                  <a:lnTo>
                    <a:pt x="721" y="412"/>
                  </a:lnTo>
                  <a:lnTo>
                    <a:pt x="722" y="410"/>
                  </a:lnTo>
                  <a:lnTo>
                    <a:pt x="722" y="406"/>
                  </a:lnTo>
                  <a:lnTo>
                    <a:pt x="722" y="256"/>
                  </a:lnTo>
                  <a:lnTo>
                    <a:pt x="722" y="253"/>
                  </a:lnTo>
                  <a:lnTo>
                    <a:pt x="721" y="250"/>
                  </a:lnTo>
                  <a:lnTo>
                    <a:pt x="721" y="25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Freeform 220"/>
            <p:cNvSpPr>
              <a:spLocks/>
            </p:cNvSpPr>
            <p:nvPr/>
          </p:nvSpPr>
          <p:spPr bwMode="auto">
            <a:xfrm>
              <a:off x="8793163" y="2565400"/>
              <a:ext cx="28575" cy="38100"/>
            </a:xfrm>
            <a:custGeom>
              <a:avLst/>
              <a:gdLst>
                <a:gd name="T0" fmla="*/ 15 w 90"/>
                <a:gd name="T1" fmla="*/ 120 h 120"/>
                <a:gd name="T2" fmla="*/ 75 w 90"/>
                <a:gd name="T3" fmla="*/ 120 h 120"/>
                <a:gd name="T4" fmla="*/ 78 w 90"/>
                <a:gd name="T5" fmla="*/ 120 h 120"/>
                <a:gd name="T6" fmla="*/ 81 w 90"/>
                <a:gd name="T7" fmla="*/ 119 h 120"/>
                <a:gd name="T8" fmla="*/ 84 w 90"/>
                <a:gd name="T9" fmla="*/ 117 h 120"/>
                <a:gd name="T10" fmla="*/ 86 w 90"/>
                <a:gd name="T11" fmla="*/ 116 h 120"/>
                <a:gd name="T12" fmla="*/ 88 w 90"/>
                <a:gd name="T13" fmla="*/ 114 h 120"/>
                <a:gd name="T14" fmla="*/ 89 w 90"/>
                <a:gd name="T15" fmla="*/ 111 h 120"/>
                <a:gd name="T16" fmla="*/ 90 w 90"/>
                <a:gd name="T17" fmla="*/ 109 h 120"/>
                <a:gd name="T18" fmla="*/ 90 w 90"/>
                <a:gd name="T19" fmla="*/ 105 h 120"/>
                <a:gd name="T20" fmla="*/ 90 w 90"/>
                <a:gd name="T21" fmla="*/ 102 h 120"/>
                <a:gd name="T22" fmla="*/ 89 w 90"/>
                <a:gd name="T23" fmla="*/ 99 h 120"/>
                <a:gd name="T24" fmla="*/ 88 w 90"/>
                <a:gd name="T25" fmla="*/ 97 h 120"/>
                <a:gd name="T26" fmla="*/ 86 w 90"/>
                <a:gd name="T27" fmla="*/ 95 h 120"/>
                <a:gd name="T28" fmla="*/ 84 w 90"/>
                <a:gd name="T29" fmla="*/ 93 h 120"/>
                <a:gd name="T30" fmla="*/ 81 w 90"/>
                <a:gd name="T31" fmla="*/ 91 h 120"/>
                <a:gd name="T32" fmla="*/ 78 w 90"/>
                <a:gd name="T33" fmla="*/ 90 h 120"/>
                <a:gd name="T34" fmla="*/ 75 w 90"/>
                <a:gd name="T35" fmla="*/ 90 h 120"/>
                <a:gd name="T36" fmla="*/ 30 w 90"/>
                <a:gd name="T37" fmla="*/ 90 h 120"/>
                <a:gd name="T38" fmla="*/ 30 w 90"/>
                <a:gd name="T39" fmla="*/ 15 h 120"/>
                <a:gd name="T40" fmla="*/ 30 w 90"/>
                <a:gd name="T41" fmla="*/ 12 h 120"/>
                <a:gd name="T42" fmla="*/ 29 w 90"/>
                <a:gd name="T43" fmla="*/ 9 h 120"/>
                <a:gd name="T44" fmla="*/ 28 w 90"/>
                <a:gd name="T45" fmla="*/ 7 h 120"/>
                <a:gd name="T46" fmla="*/ 26 w 90"/>
                <a:gd name="T47" fmla="*/ 5 h 120"/>
                <a:gd name="T48" fmla="*/ 24 w 90"/>
                <a:gd name="T49" fmla="*/ 3 h 120"/>
                <a:gd name="T50" fmla="*/ 21 w 90"/>
                <a:gd name="T51" fmla="*/ 1 h 120"/>
                <a:gd name="T52" fmla="*/ 18 w 90"/>
                <a:gd name="T53" fmla="*/ 0 h 120"/>
                <a:gd name="T54" fmla="*/ 15 w 90"/>
                <a:gd name="T55" fmla="*/ 0 h 120"/>
                <a:gd name="T56" fmla="*/ 12 w 90"/>
                <a:gd name="T57" fmla="*/ 0 h 120"/>
                <a:gd name="T58" fmla="*/ 10 w 90"/>
                <a:gd name="T59" fmla="*/ 1 h 120"/>
                <a:gd name="T60" fmla="*/ 6 w 90"/>
                <a:gd name="T61" fmla="*/ 3 h 120"/>
                <a:gd name="T62" fmla="*/ 4 w 90"/>
                <a:gd name="T63" fmla="*/ 5 h 120"/>
                <a:gd name="T64" fmla="*/ 3 w 90"/>
                <a:gd name="T65" fmla="*/ 7 h 120"/>
                <a:gd name="T66" fmla="*/ 1 w 90"/>
                <a:gd name="T67" fmla="*/ 9 h 120"/>
                <a:gd name="T68" fmla="*/ 1 w 90"/>
                <a:gd name="T69" fmla="*/ 12 h 120"/>
                <a:gd name="T70" fmla="*/ 0 w 90"/>
                <a:gd name="T71" fmla="*/ 15 h 120"/>
                <a:gd name="T72" fmla="*/ 0 w 90"/>
                <a:gd name="T73" fmla="*/ 105 h 120"/>
                <a:gd name="T74" fmla="*/ 1 w 90"/>
                <a:gd name="T75" fmla="*/ 109 h 120"/>
                <a:gd name="T76" fmla="*/ 1 w 90"/>
                <a:gd name="T77" fmla="*/ 111 h 120"/>
                <a:gd name="T78" fmla="*/ 3 w 90"/>
                <a:gd name="T79" fmla="*/ 114 h 120"/>
                <a:gd name="T80" fmla="*/ 4 w 90"/>
                <a:gd name="T81" fmla="*/ 116 h 120"/>
                <a:gd name="T82" fmla="*/ 6 w 90"/>
                <a:gd name="T83" fmla="*/ 117 h 120"/>
                <a:gd name="T84" fmla="*/ 10 w 90"/>
                <a:gd name="T85" fmla="*/ 119 h 120"/>
                <a:gd name="T86" fmla="*/ 13 w 90"/>
                <a:gd name="T87" fmla="*/ 120 h 120"/>
                <a:gd name="T88" fmla="*/ 15 w 90"/>
                <a:gd name="T89" fmla="*/ 12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90" h="120">
                  <a:moveTo>
                    <a:pt x="15" y="120"/>
                  </a:moveTo>
                  <a:lnTo>
                    <a:pt x="75" y="120"/>
                  </a:lnTo>
                  <a:lnTo>
                    <a:pt x="78" y="120"/>
                  </a:lnTo>
                  <a:lnTo>
                    <a:pt x="81" y="119"/>
                  </a:lnTo>
                  <a:lnTo>
                    <a:pt x="84" y="117"/>
                  </a:lnTo>
                  <a:lnTo>
                    <a:pt x="86" y="116"/>
                  </a:lnTo>
                  <a:lnTo>
                    <a:pt x="88" y="114"/>
                  </a:lnTo>
                  <a:lnTo>
                    <a:pt x="89" y="111"/>
                  </a:lnTo>
                  <a:lnTo>
                    <a:pt x="90" y="109"/>
                  </a:lnTo>
                  <a:lnTo>
                    <a:pt x="90" y="105"/>
                  </a:lnTo>
                  <a:lnTo>
                    <a:pt x="90" y="102"/>
                  </a:lnTo>
                  <a:lnTo>
                    <a:pt x="89" y="99"/>
                  </a:lnTo>
                  <a:lnTo>
                    <a:pt x="88" y="97"/>
                  </a:lnTo>
                  <a:lnTo>
                    <a:pt x="86" y="95"/>
                  </a:lnTo>
                  <a:lnTo>
                    <a:pt x="84" y="93"/>
                  </a:lnTo>
                  <a:lnTo>
                    <a:pt x="81" y="91"/>
                  </a:lnTo>
                  <a:lnTo>
                    <a:pt x="78" y="90"/>
                  </a:lnTo>
                  <a:lnTo>
                    <a:pt x="75" y="90"/>
                  </a:lnTo>
                  <a:lnTo>
                    <a:pt x="30" y="90"/>
                  </a:lnTo>
                  <a:lnTo>
                    <a:pt x="30" y="15"/>
                  </a:lnTo>
                  <a:lnTo>
                    <a:pt x="30" y="12"/>
                  </a:lnTo>
                  <a:lnTo>
                    <a:pt x="29" y="9"/>
                  </a:lnTo>
                  <a:lnTo>
                    <a:pt x="28" y="7"/>
                  </a:lnTo>
                  <a:lnTo>
                    <a:pt x="26" y="5"/>
                  </a:lnTo>
                  <a:lnTo>
                    <a:pt x="24" y="3"/>
                  </a:lnTo>
                  <a:lnTo>
                    <a:pt x="21" y="1"/>
                  </a:lnTo>
                  <a:lnTo>
                    <a:pt x="18" y="0"/>
                  </a:lnTo>
                  <a:lnTo>
                    <a:pt x="15" y="0"/>
                  </a:lnTo>
                  <a:lnTo>
                    <a:pt x="12" y="0"/>
                  </a:lnTo>
                  <a:lnTo>
                    <a:pt x="10" y="1"/>
                  </a:lnTo>
                  <a:lnTo>
                    <a:pt x="6" y="3"/>
                  </a:lnTo>
                  <a:lnTo>
                    <a:pt x="4" y="5"/>
                  </a:lnTo>
                  <a:lnTo>
                    <a:pt x="3" y="7"/>
                  </a:lnTo>
                  <a:lnTo>
                    <a:pt x="1" y="9"/>
                  </a:lnTo>
                  <a:lnTo>
                    <a:pt x="1" y="12"/>
                  </a:lnTo>
                  <a:lnTo>
                    <a:pt x="0" y="15"/>
                  </a:lnTo>
                  <a:lnTo>
                    <a:pt x="0" y="105"/>
                  </a:lnTo>
                  <a:lnTo>
                    <a:pt x="1" y="109"/>
                  </a:lnTo>
                  <a:lnTo>
                    <a:pt x="1" y="111"/>
                  </a:lnTo>
                  <a:lnTo>
                    <a:pt x="3" y="114"/>
                  </a:lnTo>
                  <a:lnTo>
                    <a:pt x="4" y="116"/>
                  </a:lnTo>
                  <a:lnTo>
                    <a:pt x="6" y="117"/>
                  </a:lnTo>
                  <a:lnTo>
                    <a:pt x="10" y="119"/>
                  </a:lnTo>
                  <a:lnTo>
                    <a:pt x="13" y="120"/>
                  </a:lnTo>
                  <a:lnTo>
                    <a:pt x="15" y="1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Freeform 221"/>
            <p:cNvSpPr>
              <a:spLocks/>
            </p:cNvSpPr>
            <p:nvPr/>
          </p:nvSpPr>
          <p:spPr bwMode="auto">
            <a:xfrm>
              <a:off x="8736013" y="2698750"/>
              <a:ext cx="47625" cy="11113"/>
            </a:xfrm>
            <a:custGeom>
              <a:avLst/>
              <a:gdLst>
                <a:gd name="T0" fmla="*/ 135 w 150"/>
                <a:gd name="T1" fmla="*/ 0 h 31"/>
                <a:gd name="T2" fmla="*/ 15 w 150"/>
                <a:gd name="T3" fmla="*/ 0 h 31"/>
                <a:gd name="T4" fmla="*/ 12 w 150"/>
                <a:gd name="T5" fmla="*/ 1 h 31"/>
                <a:gd name="T6" fmla="*/ 9 w 150"/>
                <a:gd name="T7" fmla="*/ 2 h 31"/>
                <a:gd name="T8" fmla="*/ 6 w 150"/>
                <a:gd name="T9" fmla="*/ 4 h 31"/>
                <a:gd name="T10" fmla="*/ 4 w 150"/>
                <a:gd name="T11" fmla="*/ 6 h 31"/>
                <a:gd name="T12" fmla="*/ 2 w 150"/>
                <a:gd name="T13" fmla="*/ 8 h 31"/>
                <a:gd name="T14" fmla="*/ 1 w 150"/>
                <a:gd name="T15" fmla="*/ 10 h 31"/>
                <a:gd name="T16" fmla="*/ 0 w 150"/>
                <a:gd name="T17" fmla="*/ 13 h 31"/>
                <a:gd name="T18" fmla="*/ 0 w 150"/>
                <a:gd name="T19" fmla="*/ 16 h 31"/>
                <a:gd name="T20" fmla="*/ 0 w 150"/>
                <a:gd name="T21" fmla="*/ 19 h 31"/>
                <a:gd name="T22" fmla="*/ 1 w 150"/>
                <a:gd name="T23" fmla="*/ 22 h 31"/>
                <a:gd name="T24" fmla="*/ 2 w 150"/>
                <a:gd name="T25" fmla="*/ 24 h 31"/>
                <a:gd name="T26" fmla="*/ 4 w 150"/>
                <a:gd name="T27" fmla="*/ 26 h 31"/>
                <a:gd name="T28" fmla="*/ 6 w 150"/>
                <a:gd name="T29" fmla="*/ 28 h 31"/>
                <a:gd name="T30" fmla="*/ 9 w 150"/>
                <a:gd name="T31" fmla="*/ 29 h 31"/>
                <a:gd name="T32" fmla="*/ 12 w 150"/>
                <a:gd name="T33" fmla="*/ 30 h 31"/>
                <a:gd name="T34" fmla="*/ 15 w 150"/>
                <a:gd name="T35" fmla="*/ 31 h 31"/>
                <a:gd name="T36" fmla="*/ 135 w 150"/>
                <a:gd name="T37" fmla="*/ 31 h 31"/>
                <a:gd name="T38" fmla="*/ 138 w 150"/>
                <a:gd name="T39" fmla="*/ 30 h 31"/>
                <a:gd name="T40" fmla="*/ 141 w 150"/>
                <a:gd name="T41" fmla="*/ 29 h 31"/>
                <a:gd name="T42" fmla="*/ 144 w 150"/>
                <a:gd name="T43" fmla="*/ 28 h 31"/>
                <a:gd name="T44" fmla="*/ 146 w 150"/>
                <a:gd name="T45" fmla="*/ 26 h 31"/>
                <a:gd name="T46" fmla="*/ 148 w 150"/>
                <a:gd name="T47" fmla="*/ 24 h 31"/>
                <a:gd name="T48" fmla="*/ 149 w 150"/>
                <a:gd name="T49" fmla="*/ 22 h 31"/>
                <a:gd name="T50" fmla="*/ 150 w 150"/>
                <a:gd name="T51" fmla="*/ 19 h 31"/>
                <a:gd name="T52" fmla="*/ 150 w 150"/>
                <a:gd name="T53" fmla="*/ 16 h 31"/>
                <a:gd name="T54" fmla="*/ 150 w 150"/>
                <a:gd name="T55" fmla="*/ 13 h 31"/>
                <a:gd name="T56" fmla="*/ 149 w 150"/>
                <a:gd name="T57" fmla="*/ 10 h 31"/>
                <a:gd name="T58" fmla="*/ 148 w 150"/>
                <a:gd name="T59" fmla="*/ 8 h 31"/>
                <a:gd name="T60" fmla="*/ 146 w 150"/>
                <a:gd name="T61" fmla="*/ 6 h 31"/>
                <a:gd name="T62" fmla="*/ 144 w 150"/>
                <a:gd name="T63" fmla="*/ 4 h 31"/>
                <a:gd name="T64" fmla="*/ 141 w 150"/>
                <a:gd name="T65" fmla="*/ 2 h 31"/>
                <a:gd name="T66" fmla="*/ 138 w 150"/>
                <a:gd name="T67" fmla="*/ 1 h 31"/>
                <a:gd name="T68" fmla="*/ 135 w 150"/>
                <a:gd name="T69"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50" h="31">
                  <a:moveTo>
                    <a:pt x="135" y="0"/>
                  </a:moveTo>
                  <a:lnTo>
                    <a:pt x="15" y="0"/>
                  </a:lnTo>
                  <a:lnTo>
                    <a:pt x="12" y="1"/>
                  </a:lnTo>
                  <a:lnTo>
                    <a:pt x="9" y="2"/>
                  </a:lnTo>
                  <a:lnTo>
                    <a:pt x="6" y="4"/>
                  </a:lnTo>
                  <a:lnTo>
                    <a:pt x="4" y="6"/>
                  </a:lnTo>
                  <a:lnTo>
                    <a:pt x="2" y="8"/>
                  </a:lnTo>
                  <a:lnTo>
                    <a:pt x="1" y="10"/>
                  </a:lnTo>
                  <a:lnTo>
                    <a:pt x="0" y="13"/>
                  </a:lnTo>
                  <a:lnTo>
                    <a:pt x="0" y="16"/>
                  </a:lnTo>
                  <a:lnTo>
                    <a:pt x="0" y="19"/>
                  </a:lnTo>
                  <a:lnTo>
                    <a:pt x="1" y="22"/>
                  </a:lnTo>
                  <a:lnTo>
                    <a:pt x="2" y="24"/>
                  </a:lnTo>
                  <a:lnTo>
                    <a:pt x="4" y="26"/>
                  </a:lnTo>
                  <a:lnTo>
                    <a:pt x="6" y="28"/>
                  </a:lnTo>
                  <a:lnTo>
                    <a:pt x="9" y="29"/>
                  </a:lnTo>
                  <a:lnTo>
                    <a:pt x="12" y="30"/>
                  </a:lnTo>
                  <a:lnTo>
                    <a:pt x="15" y="31"/>
                  </a:lnTo>
                  <a:lnTo>
                    <a:pt x="135" y="31"/>
                  </a:lnTo>
                  <a:lnTo>
                    <a:pt x="138" y="30"/>
                  </a:lnTo>
                  <a:lnTo>
                    <a:pt x="141" y="29"/>
                  </a:lnTo>
                  <a:lnTo>
                    <a:pt x="144" y="28"/>
                  </a:lnTo>
                  <a:lnTo>
                    <a:pt x="146" y="26"/>
                  </a:lnTo>
                  <a:lnTo>
                    <a:pt x="148" y="24"/>
                  </a:lnTo>
                  <a:lnTo>
                    <a:pt x="149" y="22"/>
                  </a:lnTo>
                  <a:lnTo>
                    <a:pt x="150" y="19"/>
                  </a:lnTo>
                  <a:lnTo>
                    <a:pt x="150" y="16"/>
                  </a:lnTo>
                  <a:lnTo>
                    <a:pt x="150" y="13"/>
                  </a:lnTo>
                  <a:lnTo>
                    <a:pt x="149" y="10"/>
                  </a:lnTo>
                  <a:lnTo>
                    <a:pt x="148" y="8"/>
                  </a:lnTo>
                  <a:lnTo>
                    <a:pt x="146" y="6"/>
                  </a:lnTo>
                  <a:lnTo>
                    <a:pt x="144" y="4"/>
                  </a:lnTo>
                  <a:lnTo>
                    <a:pt x="141" y="2"/>
                  </a:lnTo>
                  <a:lnTo>
                    <a:pt x="138" y="1"/>
                  </a:lnTo>
                  <a:lnTo>
                    <a:pt x="13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3" name="Freeform 222"/>
            <p:cNvSpPr>
              <a:spLocks/>
            </p:cNvSpPr>
            <p:nvPr/>
          </p:nvSpPr>
          <p:spPr bwMode="auto">
            <a:xfrm>
              <a:off x="8755063" y="2719388"/>
              <a:ext cx="28575" cy="9525"/>
            </a:xfrm>
            <a:custGeom>
              <a:avLst/>
              <a:gdLst>
                <a:gd name="T0" fmla="*/ 75 w 90"/>
                <a:gd name="T1" fmla="*/ 0 h 30"/>
                <a:gd name="T2" fmla="*/ 15 w 90"/>
                <a:gd name="T3" fmla="*/ 0 h 30"/>
                <a:gd name="T4" fmla="*/ 12 w 90"/>
                <a:gd name="T5" fmla="*/ 0 h 30"/>
                <a:gd name="T6" fmla="*/ 10 w 90"/>
                <a:gd name="T7" fmla="*/ 1 h 30"/>
                <a:gd name="T8" fmla="*/ 6 w 90"/>
                <a:gd name="T9" fmla="*/ 3 h 30"/>
                <a:gd name="T10" fmla="*/ 4 w 90"/>
                <a:gd name="T11" fmla="*/ 5 h 30"/>
                <a:gd name="T12" fmla="*/ 2 w 90"/>
                <a:gd name="T13" fmla="*/ 7 h 30"/>
                <a:gd name="T14" fmla="*/ 1 w 90"/>
                <a:gd name="T15" fmla="*/ 9 h 30"/>
                <a:gd name="T16" fmla="*/ 0 w 90"/>
                <a:gd name="T17" fmla="*/ 12 h 30"/>
                <a:gd name="T18" fmla="*/ 0 w 90"/>
                <a:gd name="T19" fmla="*/ 15 h 30"/>
                <a:gd name="T20" fmla="*/ 0 w 90"/>
                <a:gd name="T21" fmla="*/ 19 h 30"/>
                <a:gd name="T22" fmla="*/ 1 w 90"/>
                <a:gd name="T23" fmla="*/ 21 h 30"/>
                <a:gd name="T24" fmla="*/ 2 w 90"/>
                <a:gd name="T25" fmla="*/ 24 h 30"/>
                <a:gd name="T26" fmla="*/ 4 w 90"/>
                <a:gd name="T27" fmla="*/ 26 h 30"/>
                <a:gd name="T28" fmla="*/ 6 w 90"/>
                <a:gd name="T29" fmla="*/ 27 h 30"/>
                <a:gd name="T30" fmla="*/ 10 w 90"/>
                <a:gd name="T31" fmla="*/ 29 h 30"/>
                <a:gd name="T32" fmla="*/ 12 w 90"/>
                <a:gd name="T33" fmla="*/ 29 h 30"/>
                <a:gd name="T34" fmla="*/ 15 w 90"/>
                <a:gd name="T35" fmla="*/ 30 h 30"/>
                <a:gd name="T36" fmla="*/ 75 w 90"/>
                <a:gd name="T37" fmla="*/ 30 h 30"/>
                <a:gd name="T38" fmla="*/ 78 w 90"/>
                <a:gd name="T39" fmla="*/ 29 h 30"/>
                <a:gd name="T40" fmla="*/ 81 w 90"/>
                <a:gd name="T41" fmla="*/ 29 h 30"/>
                <a:gd name="T42" fmla="*/ 84 w 90"/>
                <a:gd name="T43" fmla="*/ 27 h 30"/>
                <a:gd name="T44" fmla="*/ 86 w 90"/>
                <a:gd name="T45" fmla="*/ 26 h 30"/>
                <a:gd name="T46" fmla="*/ 88 w 90"/>
                <a:gd name="T47" fmla="*/ 24 h 30"/>
                <a:gd name="T48" fmla="*/ 89 w 90"/>
                <a:gd name="T49" fmla="*/ 21 h 30"/>
                <a:gd name="T50" fmla="*/ 90 w 90"/>
                <a:gd name="T51" fmla="*/ 19 h 30"/>
                <a:gd name="T52" fmla="*/ 90 w 90"/>
                <a:gd name="T53" fmla="*/ 15 h 30"/>
                <a:gd name="T54" fmla="*/ 90 w 90"/>
                <a:gd name="T55" fmla="*/ 12 h 30"/>
                <a:gd name="T56" fmla="*/ 89 w 90"/>
                <a:gd name="T57" fmla="*/ 9 h 30"/>
                <a:gd name="T58" fmla="*/ 88 w 90"/>
                <a:gd name="T59" fmla="*/ 7 h 30"/>
                <a:gd name="T60" fmla="*/ 86 w 90"/>
                <a:gd name="T61" fmla="*/ 5 h 30"/>
                <a:gd name="T62" fmla="*/ 84 w 90"/>
                <a:gd name="T63" fmla="*/ 3 h 30"/>
                <a:gd name="T64" fmla="*/ 81 w 90"/>
                <a:gd name="T65" fmla="*/ 1 h 30"/>
                <a:gd name="T66" fmla="*/ 78 w 90"/>
                <a:gd name="T67" fmla="*/ 0 h 30"/>
                <a:gd name="T68" fmla="*/ 75 w 90"/>
                <a:gd name="T69" fmla="*/ 0 h 30"/>
                <a:gd name="T70" fmla="*/ 75 w 90"/>
                <a:gd name="T7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0" h="30">
                  <a:moveTo>
                    <a:pt x="75" y="0"/>
                  </a:moveTo>
                  <a:lnTo>
                    <a:pt x="15" y="0"/>
                  </a:lnTo>
                  <a:lnTo>
                    <a:pt x="12" y="0"/>
                  </a:lnTo>
                  <a:lnTo>
                    <a:pt x="10" y="1"/>
                  </a:lnTo>
                  <a:lnTo>
                    <a:pt x="6" y="3"/>
                  </a:lnTo>
                  <a:lnTo>
                    <a:pt x="4" y="5"/>
                  </a:lnTo>
                  <a:lnTo>
                    <a:pt x="2" y="7"/>
                  </a:lnTo>
                  <a:lnTo>
                    <a:pt x="1" y="9"/>
                  </a:lnTo>
                  <a:lnTo>
                    <a:pt x="0" y="12"/>
                  </a:lnTo>
                  <a:lnTo>
                    <a:pt x="0" y="15"/>
                  </a:lnTo>
                  <a:lnTo>
                    <a:pt x="0" y="19"/>
                  </a:lnTo>
                  <a:lnTo>
                    <a:pt x="1" y="21"/>
                  </a:lnTo>
                  <a:lnTo>
                    <a:pt x="2" y="24"/>
                  </a:lnTo>
                  <a:lnTo>
                    <a:pt x="4" y="26"/>
                  </a:lnTo>
                  <a:lnTo>
                    <a:pt x="6" y="27"/>
                  </a:lnTo>
                  <a:lnTo>
                    <a:pt x="10" y="29"/>
                  </a:lnTo>
                  <a:lnTo>
                    <a:pt x="12" y="29"/>
                  </a:lnTo>
                  <a:lnTo>
                    <a:pt x="15" y="30"/>
                  </a:lnTo>
                  <a:lnTo>
                    <a:pt x="75" y="30"/>
                  </a:lnTo>
                  <a:lnTo>
                    <a:pt x="78" y="29"/>
                  </a:lnTo>
                  <a:lnTo>
                    <a:pt x="81" y="29"/>
                  </a:lnTo>
                  <a:lnTo>
                    <a:pt x="84" y="27"/>
                  </a:lnTo>
                  <a:lnTo>
                    <a:pt x="86" y="26"/>
                  </a:lnTo>
                  <a:lnTo>
                    <a:pt x="88" y="24"/>
                  </a:lnTo>
                  <a:lnTo>
                    <a:pt x="89" y="21"/>
                  </a:lnTo>
                  <a:lnTo>
                    <a:pt x="90" y="19"/>
                  </a:lnTo>
                  <a:lnTo>
                    <a:pt x="90" y="15"/>
                  </a:lnTo>
                  <a:lnTo>
                    <a:pt x="90" y="12"/>
                  </a:lnTo>
                  <a:lnTo>
                    <a:pt x="89" y="9"/>
                  </a:lnTo>
                  <a:lnTo>
                    <a:pt x="88" y="7"/>
                  </a:lnTo>
                  <a:lnTo>
                    <a:pt x="86" y="5"/>
                  </a:lnTo>
                  <a:lnTo>
                    <a:pt x="84" y="3"/>
                  </a:lnTo>
                  <a:lnTo>
                    <a:pt x="81" y="1"/>
                  </a:lnTo>
                  <a:lnTo>
                    <a:pt x="78" y="0"/>
                  </a:lnTo>
                  <a:lnTo>
                    <a:pt x="75" y="0"/>
                  </a:lnTo>
                  <a:lnTo>
                    <a:pt x="7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4" name="Freeform 223"/>
            <p:cNvSpPr>
              <a:spLocks/>
            </p:cNvSpPr>
            <p:nvPr/>
          </p:nvSpPr>
          <p:spPr bwMode="auto">
            <a:xfrm>
              <a:off x="8764588" y="2738438"/>
              <a:ext cx="19050" cy="9525"/>
            </a:xfrm>
            <a:custGeom>
              <a:avLst/>
              <a:gdLst>
                <a:gd name="T0" fmla="*/ 45 w 60"/>
                <a:gd name="T1" fmla="*/ 0 h 30"/>
                <a:gd name="T2" fmla="*/ 15 w 60"/>
                <a:gd name="T3" fmla="*/ 0 h 30"/>
                <a:gd name="T4" fmla="*/ 12 w 60"/>
                <a:gd name="T5" fmla="*/ 0 h 30"/>
                <a:gd name="T6" fmla="*/ 10 w 60"/>
                <a:gd name="T7" fmla="*/ 1 h 30"/>
                <a:gd name="T8" fmla="*/ 6 w 60"/>
                <a:gd name="T9" fmla="*/ 3 h 30"/>
                <a:gd name="T10" fmla="*/ 4 w 60"/>
                <a:gd name="T11" fmla="*/ 5 h 30"/>
                <a:gd name="T12" fmla="*/ 2 w 60"/>
                <a:gd name="T13" fmla="*/ 7 h 30"/>
                <a:gd name="T14" fmla="*/ 1 w 60"/>
                <a:gd name="T15" fmla="*/ 9 h 30"/>
                <a:gd name="T16" fmla="*/ 0 w 60"/>
                <a:gd name="T17" fmla="*/ 12 h 30"/>
                <a:gd name="T18" fmla="*/ 0 w 60"/>
                <a:gd name="T19" fmla="*/ 15 h 30"/>
                <a:gd name="T20" fmla="*/ 0 w 60"/>
                <a:gd name="T21" fmla="*/ 19 h 30"/>
                <a:gd name="T22" fmla="*/ 1 w 60"/>
                <a:gd name="T23" fmla="*/ 21 h 30"/>
                <a:gd name="T24" fmla="*/ 2 w 60"/>
                <a:gd name="T25" fmla="*/ 24 h 30"/>
                <a:gd name="T26" fmla="*/ 4 w 60"/>
                <a:gd name="T27" fmla="*/ 26 h 30"/>
                <a:gd name="T28" fmla="*/ 6 w 60"/>
                <a:gd name="T29" fmla="*/ 27 h 30"/>
                <a:gd name="T30" fmla="*/ 10 w 60"/>
                <a:gd name="T31" fmla="*/ 29 h 30"/>
                <a:gd name="T32" fmla="*/ 12 w 60"/>
                <a:gd name="T33" fmla="*/ 30 h 30"/>
                <a:gd name="T34" fmla="*/ 15 w 60"/>
                <a:gd name="T35" fmla="*/ 30 h 30"/>
                <a:gd name="T36" fmla="*/ 45 w 60"/>
                <a:gd name="T37" fmla="*/ 30 h 30"/>
                <a:gd name="T38" fmla="*/ 48 w 60"/>
                <a:gd name="T39" fmla="*/ 30 h 30"/>
                <a:gd name="T40" fmla="*/ 51 w 60"/>
                <a:gd name="T41" fmla="*/ 29 h 30"/>
                <a:gd name="T42" fmla="*/ 54 w 60"/>
                <a:gd name="T43" fmla="*/ 27 h 30"/>
                <a:gd name="T44" fmla="*/ 56 w 60"/>
                <a:gd name="T45" fmla="*/ 26 h 30"/>
                <a:gd name="T46" fmla="*/ 58 w 60"/>
                <a:gd name="T47" fmla="*/ 24 h 30"/>
                <a:gd name="T48" fmla="*/ 59 w 60"/>
                <a:gd name="T49" fmla="*/ 21 h 30"/>
                <a:gd name="T50" fmla="*/ 60 w 60"/>
                <a:gd name="T51" fmla="*/ 19 h 30"/>
                <a:gd name="T52" fmla="*/ 60 w 60"/>
                <a:gd name="T53" fmla="*/ 15 h 30"/>
                <a:gd name="T54" fmla="*/ 60 w 60"/>
                <a:gd name="T55" fmla="*/ 12 h 30"/>
                <a:gd name="T56" fmla="*/ 59 w 60"/>
                <a:gd name="T57" fmla="*/ 9 h 30"/>
                <a:gd name="T58" fmla="*/ 58 w 60"/>
                <a:gd name="T59" fmla="*/ 7 h 30"/>
                <a:gd name="T60" fmla="*/ 56 w 60"/>
                <a:gd name="T61" fmla="*/ 5 h 30"/>
                <a:gd name="T62" fmla="*/ 54 w 60"/>
                <a:gd name="T63" fmla="*/ 3 h 30"/>
                <a:gd name="T64" fmla="*/ 51 w 60"/>
                <a:gd name="T65" fmla="*/ 1 h 30"/>
                <a:gd name="T66" fmla="*/ 48 w 60"/>
                <a:gd name="T67" fmla="*/ 0 h 30"/>
                <a:gd name="T68" fmla="*/ 45 w 60"/>
                <a:gd name="T69"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0" h="30">
                  <a:moveTo>
                    <a:pt x="45" y="0"/>
                  </a:moveTo>
                  <a:lnTo>
                    <a:pt x="15" y="0"/>
                  </a:lnTo>
                  <a:lnTo>
                    <a:pt x="12" y="0"/>
                  </a:lnTo>
                  <a:lnTo>
                    <a:pt x="10" y="1"/>
                  </a:lnTo>
                  <a:lnTo>
                    <a:pt x="6" y="3"/>
                  </a:lnTo>
                  <a:lnTo>
                    <a:pt x="4" y="5"/>
                  </a:lnTo>
                  <a:lnTo>
                    <a:pt x="2" y="7"/>
                  </a:lnTo>
                  <a:lnTo>
                    <a:pt x="1" y="9"/>
                  </a:lnTo>
                  <a:lnTo>
                    <a:pt x="0" y="12"/>
                  </a:lnTo>
                  <a:lnTo>
                    <a:pt x="0" y="15"/>
                  </a:lnTo>
                  <a:lnTo>
                    <a:pt x="0" y="19"/>
                  </a:lnTo>
                  <a:lnTo>
                    <a:pt x="1" y="21"/>
                  </a:lnTo>
                  <a:lnTo>
                    <a:pt x="2" y="24"/>
                  </a:lnTo>
                  <a:lnTo>
                    <a:pt x="4" y="26"/>
                  </a:lnTo>
                  <a:lnTo>
                    <a:pt x="6" y="27"/>
                  </a:lnTo>
                  <a:lnTo>
                    <a:pt x="10" y="29"/>
                  </a:lnTo>
                  <a:lnTo>
                    <a:pt x="12" y="30"/>
                  </a:lnTo>
                  <a:lnTo>
                    <a:pt x="15" y="30"/>
                  </a:lnTo>
                  <a:lnTo>
                    <a:pt x="45" y="30"/>
                  </a:lnTo>
                  <a:lnTo>
                    <a:pt x="48" y="30"/>
                  </a:lnTo>
                  <a:lnTo>
                    <a:pt x="51" y="29"/>
                  </a:lnTo>
                  <a:lnTo>
                    <a:pt x="54" y="27"/>
                  </a:lnTo>
                  <a:lnTo>
                    <a:pt x="56" y="26"/>
                  </a:lnTo>
                  <a:lnTo>
                    <a:pt x="58" y="24"/>
                  </a:lnTo>
                  <a:lnTo>
                    <a:pt x="59" y="21"/>
                  </a:lnTo>
                  <a:lnTo>
                    <a:pt x="60" y="19"/>
                  </a:lnTo>
                  <a:lnTo>
                    <a:pt x="60" y="15"/>
                  </a:lnTo>
                  <a:lnTo>
                    <a:pt x="60" y="12"/>
                  </a:lnTo>
                  <a:lnTo>
                    <a:pt x="59" y="9"/>
                  </a:lnTo>
                  <a:lnTo>
                    <a:pt x="58" y="7"/>
                  </a:lnTo>
                  <a:lnTo>
                    <a:pt x="56" y="5"/>
                  </a:lnTo>
                  <a:lnTo>
                    <a:pt x="54" y="3"/>
                  </a:lnTo>
                  <a:lnTo>
                    <a:pt x="51" y="1"/>
                  </a:lnTo>
                  <a:lnTo>
                    <a:pt x="48" y="0"/>
                  </a:lnTo>
                  <a:lnTo>
                    <a:pt x="4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5" name="Freeform 224"/>
            <p:cNvSpPr>
              <a:spLocks noEditPoints="1"/>
            </p:cNvSpPr>
            <p:nvPr/>
          </p:nvSpPr>
          <p:spPr bwMode="auto">
            <a:xfrm>
              <a:off x="8740775" y="2536825"/>
              <a:ext cx="115888" cy="114300"/>
            </a:xfrm>
            <a:custGeom>
              <a:avLst/>
              <a:gdLst>
                <a:gd name="T0" fmla="*/ 211 w 361"/>
                <a:gd name="T1" fmla="*/ 34 h 361"/>
                <a:gd name="T2" fmla="*/ 252 w 361"/>
                <a:gd name="T3" fmla="*/ 49 h 361"/>
                <a:gd name="T4" fmla="*/ 286 w 361"/>
                <a:gd name="T5" fmla="*/ 75 h 361"/>
                <a:gd name="T6" fmla="*/ 313 w 361"/>
                <a:gd name="T7" fmla="*/ 110 h 361"/>
                <a:gd name="T8" fmla="*/ 328 w 361"/>
                <a:gd name="T9" fmla="*/ 151 h 361"/>
                <a:gd name="T10" fmla="*/ 330 w 361"/>
                <a:gd name="T11" fmla="*/ 196 h 361"/>
                <a:gd name="T12" fmla="*/ 319 w 361"/>
                <a:gd name="T13" fmla="*/ 239 h 361"/>
                <a:gd name="T14" fmla="*/ 297 w 361"/>
                <a:gd name="T15" fmla="*/ 277 h 361"/>
                <a:gd name="T16" fmla="*/ 265 w 361"/>
                <a:gd name="T17" fmla="*/ 306 h 361"/>
                <a:gd name="T18" fmla="*/ 225 w 361"/>
                <a:gd name="T19" fmla="*/ 325 h 361"/>
                <a:gd name="T20" fmla="*/ 180 w 361"/>
                <a:gd name="T21" fmla="*/ 331 h 361"/>
                <a:gd name="T22" fmla="*/ 136 w 361"/>
                <a:gd name="T23" fmla="*/ 325 h 361"/>
                <a:gd name="T24" fmla="*/ 96 w 361"/>
                <a:gd name="T25" fmla="*/ 306 h 361"/>
                <a:gd name="T26" fmla="*/ 64 w 361"/>
                <a:gd name="T27" fmla="*/ 277 h 361"/>
                <a:gd name="T28" fmla="*/ 42 w 361"/>
                <a:gd name="T29" fmla="*/ 239 h 361"/>
                <a:gd name="T30" fmla="*/ 31 w 361"/>
                <a:gd name="T31" fmla="*/ 196 h 361"/>
                <a:gd name="T32" fmla="*/ 33 w 361"/>
                <a:gd name="T33" fmla="*/ 151 h 361"/>
                <a:gd name="T34" fmla="*/ 48 w 361"/>
                <a:gd name="T35" fmla="*/ 110 h 361"/>
                <a:gd name="T36" fmla="*/ 74 w 361"/>
                <a:gd name="T37" fmla="*/ 75 h 361"/>
                <a:gd name="T38" fmla="*/ 108 w 361"/>
                <a:gd name="T39" fmla="*/ 49 h 361"/>
                <a:gd name="T40" fmla="*/ 150 w 361"/>
                <a:gd name="T41" fmla="*/ 34 h 361"/>
                <a:gd name="T42" fmla="*/ 180 w 361"/>
                <a:gd name="T43" fmla="*/ 30 h 361"/>
                <a:gd name="T44" fmla="*/ 216 w 361"/>
                <a:gd name="T45" fmla="*/ 358 h 361"/>
                <a:gd name="T46" fmla="*/ 267 w 361"/>
                <a:gd name="T47" fmla="*/ 340 h 361"/>
                <a:gd name="T48" fmla="*/ 307 w 361"/>
                <a:gd name="T49" fmla="*/ 309 h 361"/>
                <a:gd name="T50" fmla="*/ 339 w 361"/>
                <a:gd name="T51" fmla="*/ 267 h 361"/>
                <a:gd name="T52" fmla="*/ 357 w 361"/>
                <a:gd name="T53" fmla="*/ 218 h 361"/>
                <a:gd name="T54" fmla="*/ 360 w 361"/>
                <a:gd name="T55" fmla="*/ 163 h 361"/>
                <a:gd name="T56" fmla="*/ 346 w 361"/>
                <a:gd name="T57" fmla="*/ 111 h 361"/>
                <a:gd name="T58" fmla="*/ 319 w 361"/>
                <a:gd name="T59" fmla="*/ 67 h 361"/>
                <a:gd name="T60" fmla="*/ 281 w 361"/>
                <a:gd name="T61" fmla="*/ 31 h 361"/>
                <a:gd name="T62" fmla="*/ 234 w 361"/>
                <a:gd name="T63" fmla="*/ 9 h 361"/>
                <a:gd name="T64" fmla="*/ 180 w 361"/>
                <a:gd name="T65" fmla="*/ 0 h 361"/>
                <a:gd name="T66" fmla="*/ 126 w 361"/>
                <a:gd name="T67" fmla="*/ 9 h 361"/>
                <a:gd name="T68" fmla="*/ 79 w 361"/>
                <a:gd name="T69" fmla="*/ 31 h 361"/>
                <a:gd name="T70" fmla="*/ 41 w 361"/>
                <a:gd name="T71" fmla="*/ 67 h 361"/>
                <a:gd name="T72" fmla="*/ 14 w 361"/>
                <a:gd name="T73" fmla="*/ 111 h 361"/>
                <a:gd name="T74" fmla="*/ 1 w 361"/>
                <a:gd name="T75" fmla="*/ 163 h 361"/>
                <a:gd name="T76" fmla="*/ 3 w 361"/>
                <a:gd name="T77" fmla="*/ 218 h 361"/>
                <a:gd name="T78" fmla="*/ 21 w 361"/>
                <a:gd name="T79" fmla="*/ 267 h 361"/>
                <a:gd name="T80" fmla="*/ 53 w 361"/>
                <a:gd name="T81" fmla="*/ 309 h 361"/>
                <a:gd name="T82" fmla="*/ 94 w 361"/>
                <a:gd name="T83" fmla="*/ 340 h 361"/>
                <a:gd name="T84" fmla="*/ 144 w 361"/>
                <a:gd name="T85" fmla="*/ 358 h 3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61" h="361">
                  <a:moveTo>
                    <a:pt x="180" y="30"/>
                  </a:moveTo>
                  <a:lnTo>
                    <a:pt x="196" y="31"/>
                  </a:lnTo>
                  <a:lnTo>
                    <a:pt x="211" y="34"/>
                  </a:lnTo>
                  <a:lnTo>
                    <a:pt x="225" y="38"/>
                  </a:lnTo>
                  <a:lnTo>
                    <a:pt x="239" y="42"/>
                  </a:lnTo>
                  <a:lnTo>
                    <a:pt x="252" y="49"/>
                  </a:lnTo>
                  <a:lnTo>
                    <a:pt x="265" y="56"/>
                  </a:lnTo>
                  <a:lnTo>
                    <a:pt x="276" y="65"/>
                  </a:lnTo>
                  <a:lnTo>
                    <a:pt x="286" y="75"/>
                  </a:lnTo>
                  <a:lnTo>
                    <a:pt x="297" y="85"/>
                  </a:lnTo>
                  <a:lnTo>
                    <a:pt x="305" y="97"/>
                  </a:lnTo>
                  <a:lnTo>
                    <a:pt x="313" y="110"/>
                  </a:lnTo>
                  <a:lnTo>
                    <a:pt x="319" y="122"/>
                  </a:lnTo>
                  <a:lnTo>
                    <a:pt x="324" y="136"/>
                  </a:lnTo>
                  <a:lnTo>
                    <a:pt x="328" y="151"/>
                  </a:lnTo>
                  <a:lnTo>
                    <a:pt x="330" y="165"/>
                  </a:lnTo>
                  <a:lnTo>
                    <a:pt x="331" y="181"/>
                  </a:lnTo>
                  <a:lnTo>
                    <a:pt x="330" y="196"/>
                  </a:lnTo>
                  <a:lnTo>
                    <a:pt x="328" y="211"/>
                  </a:lnTo>
                  <a:lnTo>
                    <a:pt x="324" y="225"/>
                  </a:lnTo>
                  <a:lnTo>
                    <a:pt x="319" y="239"/>
                  </a:lnTo>
                  <a:lnTo>
                    <a:pt x="313" y="253"/>
                  </a:lnTo>
                  <a:lnTo>
                    <a:pt x="305" y="265"/>
                  </a:lnTo>
                  <a:lnTo>
                    <a:pt x="297" y="277"/>
                  </a:lnTo>
                  <a:lnTo>
                    <a:pt x="286" y="287"/>
                  </a:lnTo>
                  <a:lnTo>
                    <a:pt x="276" y="297"/>
                  </a:lnTo>
                  <a:lnTo>
                    <a:pt x="265" y="306"/>
                  </a:lnTo>
                  <a:lnTo>
                    <a:pt x="252" y="313"/>
                  </a:lnTo>
                  <a:lnTo>
                    <a:pt x="239" y="320"/>
                  </a:lnTo>
                  <a:lnTo>
                    <a:pt x="225" y="325"/>
                  </a:lnTo>
                  <a:lnTo>
                    <a:pt x="211" y="328"/>
                  </a:lnTo>
                  <a:lnTo>
                    <a:pt x="196" y="330"/>
                  </a:lnTo>
                  <a:lnTo>
                    <a:pt x="180" y="331"/>
                  </a:lnTo>
                  <a:lnTo>
                    <a:pt x="165" y="330"/>
                  </a:lnTo>
                  <a:lnTo>
                    <a:pt x="150" y="328"/>
                  </a:lnTo>
                  <a:lnTo>
                    <a:pt x="136" y="325"/>
                  </a:lnTo>
                  <a:lnTo>
                    <a:pt x="122" y="320"/>
                  </a:lnTo>
                  <a:lnTo>
                    <a:pt x="108" y="313"/>
                  </a:lnTo>
                  <a:lnTo>
                    <a:pt x="96" y="306"/>
                  </a:lnTo>
                  <a:lnTo>
                    <a:pt x="85" y="297"/>
                  </a:lnTo>
                  <a:lnTo>
                    <a:pt x="74" y="287"/>
                  </a:lnTo>
                  <a:lnTo>
                    <a:pt x="64" y="277"/>
                  </a:lnTo>
                  <a:lnTo>
                    <a:pt x="56" y="265"/>
                  </a:lnTo>
                  <a:lnTo>
                    <a:pt x="48" y="253"/>
                  </a:lnTo>
                  <a:lnTo>
                    <a:pt x="42" y="239"/>
                  </a:lnTo>
                  <a:lnTo>
                    <a:pt x="36" y="225"/>
                  </a:lnTo>
                  <a:lnTo>
                    <a:pt x="33" y="211"/>
                  </a:lnTo>
                  <a:lnTo>
                    <a:pt x="31" y="196"/>
                  </a:lnTo>
                  <a:lnTo>
                    <a:pt x="30" y="181"/>
                  </a:lnTo>
                  <a:lnTo>
                    <a:pt x="31" y="165"/>
                  </a:lnTo>
                  <a:lnTo>
                    <a:pt x="33" y="151"/>
                  </a:lnTo>
                  <a:lnTo>
                    <a:pt x="36" y="136"/>
                  </a:lnTo>
                  <a:lnTo>
                    <a:pt x="42" y="122"/>
                  </a:lnTo>
                  <a:lnTo>
                    <a:pt x="48" y="110"/>
                  </a:lnTo>
                  <a:lnTo>
                    <a:pt x="56" y="97"/>
                  </a:lnTo>
                  <a:lnTo>
                    <a:pt x="64" y="86"/>
                  </a:lnTo>
                  <a:lnTo>
                    <a:pt x="74" y="75"/>
                  </a:lnTo>
                  <a:lnTo>
                    <a:pt x="85" y="65"/>
                  </a:lnTo>
                  <a:lnTo>
                    <a:pt x="96" y="56"/>
                  </a:lnTo>
                  <a:lnTo>
                    <a:pt x="108" y="49"/>
                  </a:lnTo>
                  <a:lnTo>
                    <a:pt x="122" y="42"/>
                  </a:lnTo>
                  <a:lnTo>
                    <a:pt x="136" y="38"/>
                  </a:lnTo>
                  <a:lnTo>
                    <a:pt x="150" y="34"/>
                  </a:lnTo>
                  <a:lnTo>
                    <a:pt x="165" y="31"/>
                  </a:lnTo>
                  <a:lnTo>
                    <a:pt x="180" y="30"/>
                  </a:lnTo>
                  <a:lnTo>
                    <a:pt x="180" y="30"/>
                  </a:lnTo>
                  <a:close/>
                  <a:moveTo>
                    <a:pt x="180" y="361"/>
                  </a:moveTo>
                  <a:lnTo>
                    <a:pt x="199" y="360"/>
                  </a:lnTo>
                  <a:lnTo>
                    <a:pt x="216" y="358"/>
                  </a:lnTo>
                  <a:lnTo>
                    <a:pt x="234" y="354"/>
                  </a:lnTo>
                  <a:lnTo>
                    <a:pt x="251" y="347"/>
                  </a:lnTo>
                  <a:lnTo>
                    <a:pt x="267" y="340"/>
                  </a:lnTo>
                  <a:lnTo>
                    <a:pt x="281" y="330"/>
                  </a:lnTo>
                  <a:lnTo>
                    <a:pt x="295" y="321"/>
                  </a:lnTo>
                  <a:lnTo>
                    <a:pt x="307" y="309"/>
                  </a:lnTo>
                  <a:lnTo>
                    <a:pt x="319" y="296"/>
                  </a:lnTo>
                  <a:lnTo>
                    <a:pt x="330" y="282"/>
                  </a:lnTo>
                  <a:lnTo>
                    <a:pt x="339" y="267"/>
                  </a:lnTo>
                  <a:lnTo>
                    <a:pt x="346" y="251"/>
                  </a:lnTo>
                  <a:lnTo>
                    <a:pt x="352" y="235"/>
                  </a:lnTo>
                  <a:lnTo>
                    <a:pt x="357" y="218"/>
                  </a:lnTo>
                  <a:lnTo>
                    <a:pt x="360" y="200"/>
                  </a:lnTo>
                  <a:lnTo>
                    <a:pt x="361" y="181"/>
                  </a:lnTo>
                  <a:lnTo>
                    <a:pt x="360" y="163"/>
                  </a:lnTo>
                  <a:lnTo>
                    <a:pt x="357" y="145"/>
                  </a:lnTo>
                  <a:lnTo>
                    <a:pt x="352" y="128"/>
                  </a:lnTo>
                  <a:lnTo>
                    <a:pt x="346" y="111"/>
                  </a:lnTo>
                  <a:lnTo>
                    <a:pt x="339" y="96"/>
                  </a:lnTo>
                  <a:lnTo>
                    <a:pt x="330" y="81"/>
                  </a:lnTo>
                  <a:lnTo>
                    <a:pt x="319" y="67"/>
                  </a:lnTo>
                  <a:lnTo>
                    <a:pt x="307" y="54"/>
                  </a:lnTo>
                  <a:lnTo>
                    <a:pt x="295" y="42"/>
                  </a:lnTo>
                  <a:lnTo>
                    <a:pt x="281" y="31"/>
                  </a:lnTo>
                  <a:lnTo>
                    <a:pt x="267" y="23"/>
                  </a:lnTo>
                  <a:lnTo>
                    <a:pt x="251" y="15"/>
                  </a:lnTo>
                  <a:lnTo>
                    <a:pt x="234" y="9"/>
                  </a:lnTo>
                  <a:lnTo>
                    <a:pt x="216" y="5"/>
                  </a:lnTo>
                  <a:lnTo>
                    <a:pt x="199" y="1"/>
                  </a:lnTo>
                  <a:lnTo>
                    <a:pt x="180" y="0"/>
                  </a:lnTo>
                  <a:lnTo>
                    <a:pt x="162" y="1"/>
                  </a:lnTo>
                  <a:lnTo>
                    <a:pt x="144" y="5"/>
                  </a:lnTo>
                  <a:lnTo>
                    <a:pt x="126" y="9"/>
                  </a:lnTo>
                  <a:lnTo>
                    <a:pt x="110" y="15"/>
                  </a:lnTo>
                  <a:lnTo>
                    <a:pt x="94" y="23"/>
                  </a:lnTo>
                  <a:lnTo>
                    <a:pt x="79" y="31"/>
                  </a:lnTo>
                  <a:lnTo>
                    <a:pt x="65" y="42"/>
                  </a:lnTo>
                  <a:lnTo>
                    <a:pt x="53" y="54"/>
                  </a:lnTo>
                  <a:lnTo>
                    <a:pt x="41" y="67"/>
                  </a:lnTo>
                  <a:lnTo>
                    <a:pt x="31" y="81"/>
                  </a:lnTo>
                  <a:lnTo>
                    <a:pt x="21" y="96"/>
                  </a:lnTo>
                  <a:lnTo>
                    <a:pt x="14" y="111"/>
                  </a:lnTo>
                  <a:lnTo>
                    <a:pt x="8" y="128"/>
                  </a:lnTo>
                  <a:lnTo>
                    <a:pt x="3" y="145"/>
                  </a:lnTo>
                  <a:lnTo>
                    <a:pt x="1" y="163"/>
                  </a:lnTo>
                  <a:lnTo>
                    <a:pt x="0" y="181"/>
                  </a:lnTo>
                  <a:lnTo>
                    <a:pt x="1" y="200"/>
                  </a:lnTo>
                  <a:lnTo>
                    <a:pt x="3" y="218"/>
                  </a:lnTo>
                  <a:lnTo>
                    <a:pt x="8" y="235"/>
                  </a:lnTo>
                  <a:lnTo>
                    <a:pt x="14" y="251"/>
                  </a:lnTo>
                  <a:lnTo>
                    <a:pt x="21" y="267"/>
                  </a:lnTo>
                  <a:lnTo>
                    <a:pt x="31" y="282"/>
                  </a:lnTo>
                  <a:lnTo>
                    <a:pt x="41" y="296"/>
                  </a:lnTo>
                  <a:lnTo>
                    <a:pt x="53" y="309"/>
                  </a:lnTo>
                  <a:lnTo>
                    <a:pt x="65" y="321"/>
                  </a:lnTo>
                  <a:lnTo>
                    <a:pt x="79" y="330"/>
                  </a:lnTo>
                  <a:lnTo>
                    <a:pt x="94" y="340"/>
                  </a:lnTo>
                  <a:lnTo>
                    <a:pt x="110" y="347"/>
                  </a:lnTo>
                  <a:lnTo>
                    <a:pt x="126" y="354"/>
                  </a:lnTo>
                  <a:lnTo>
                    <a:pt x="144" y="358"/>
                  </a:lnTo>
                  <a:lnTo>
                    <a:pt x="162" y="360"/>
                  </a:lnTo>
                  <a:lnTo>
                    <a:pt x="180" y="3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74465037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3" name="Rectangle 102"/>
          <p:cNvSpPr/>
          <p:nvPr/>
        </p:nvSpPr>
        <p:spPr>
          <a:xfrm>
            <a:off x="12344400" y="0"/>
            <a:ext cx="469900" cy="469900"/>
          </a:xfrm>
          <a:prstGeom prst="rect">
            <a:avLst/>
          </a:prstGeom>
          <a:solidFill>
            <a:srgbClr val="E7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4" name="Rectangle 103"/>
          <p:cNvSpPr/>
          <p:nvPr/>
        </p:nvSpPr>
        <p:spPr>
          <a:xfrm>
            <a:off x="12344400" y="649557"/>
            <a:ext cx="469900" cy="469900"/>
          </a:xfrm>
          <a:prstGeom prst="rect">
            <a:avLst/>
          </a:prstGeom>
          <a:solidFill>
            <a:srgbClr val="AFABA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5" name="Rectangle 104"/>
          <p:cNvSpPr/>
          <p:nvPr/>
        </p:nvSpPr>
        <p:spPr>
          <a:xfrm>
            <a:off x="12344400" y="1299114"/>
            <a:ext cx="469900" cy="469900"/>
          </a:xfrm>
          <a:prstGeom prst="rect">
            <a:avLst/>
          </a:prstGeom>
          <a:solidFill>
            <a:srgbClr val="76717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7" name="Rectangle 106"/>
          <p:cNvSpPr/>
          <p:nvPr/>
        </p:nvSpPr>
        <p:spPr>
          <a:xfrm>
            <a:off x="12966699" y="0"/>
            <a:ext cx="469900" cy="469900"/>
          </a:xfrm>
          <a:prstGeom prst="rect">
            <a:avLst/>
          </a:prstGeom>
          <a:solidFill>
            <a:srgbClr val="E8786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8" name="Rectangle 107"/>
          <p:cNvSpPr/>
          <p:nvPr/>
        </p:nvSpPr>
        <p:spPr>
          <a:xfrm>
            <a:off x="12966699" y="649557"/>
            <a:ext cx="469900" cy="469900"/>
          </a:xfrm>
          <a:prstGeom prst="rect">
            <a:avLst/>
          </a:prstGeom>
          <a:solidFill>
            <a:srgbClr val="E258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9" name="Rectangle 108"/>
          <p:cNvSpPr/>
          <p:nvPr/>
        </p:nvSpPr>
        <p:spPr>
          <a:xfrm>
            <a:off x="12966699" y="1299114"/>
            <a:ext cx="469900" cy="469900"/>
          </a:xfrm>
          <a:prstGeom prst="rect">
            <a:avLst/>
          </a:prstGeom>
          <a:solidFill>
            <a:srgbClr val="D63E2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0" name="Rectangle 109"/>
          <p:cNvSpPr/>
          <p:nvPr/>
        </p:nvSpPr>
        <p:spPr>
          <a:xfrm>
            <a:off x="13588998" y="0"/>
            <a:ext cx="469900" cy="469900"/>
          </a:xfrm>
          <a:prstGeom prst="rect">
            <a:avLst/>
          </a:prstGeom>
          <a:solidFill>
            <a:srgbClr val="8EDCD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1" name="Rectangle 110"/>
          <p:cNvSpPr/>
          <p:nvPr/>
        </p:nvSpPr>
        <p:spPr>
          <a:xfrm>
            <a:off x="13588998" y="649557"/>
            <a:ext cx="469900" cy="469900"/>
          </a:xfrm>
          <a:prstGeom prst="rect">
            <a:avLst/>
          </a:prstGeom>
          <a:solidFill>
            <a:srgbClr val="78D2D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2" name="Rectangle 111"/>
          <p:cNvSpPr/>
          <p:nvPr/>
        </p:nvSpPr>
        <p:spPr>
          <a:xfrm>
            <a:off x="13588998" y="1299114"/>
            <a:ext cx="469900" cy="469900"/>
          </a:xfrm>
          <a:prstGeom prst="rect">
            <a:avLst/>
          </a:prstGeom>
          <a:solidFill>
            <a:srgbClr val="4CC7C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3" name="Rectangle 112"/>
          <p:cNvSpPr/>
          <p:nvPr/>
        </p:nvSpPr>
        <p:spPr>
          <a:xfrm>
            <a:off x="14211297" y="0"/>
            <a:ext cx="469900" cy="469900"/>
          </a:xfrm>
          <a:prstGeom prst="rect">
            <a:avLst/>
          </a:prstGeom>
          <a:solidFill>
            <a:srgbClr val="55535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4" name="Rectangle 113"/>
          <p:cNvSpPr/>
          <p:nvPr/>
        </p:nvSpPr>
        <p:spPr>
          <a:xfrm>
            <a:off x="14211297" y="649557"/>
            <a:ext cx="469900" cy="469900"/>
          </a:xfrm>
          <a:prstGeom prst="rect">
            <a:avLst/>
          </a:prstGeom>
          <a:solidFill>
            <a:srgbClr val="3B393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5" name="Rectangle 114"/>
          <p:cNvSpPr/>
          <p:nvPr/>
        </p:nvSpPr>
        <p:spPr>
          <a:xfrm>
            <a:off x="14211297" y="1299114"/>
            <a:ext cx="469900" cy="469900"/>
          </a:xfrm>
          <a:prstGeom prst="rect">
            <a:avLst/>
          </a:prstGeom>
          <a:solidFill>
            <a:srgbClr val="25232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0" name="Text Placeholder 119"/>
          <p:cNvSpPr>
            <a:spLocks noGrp="1"/>
          </p:cNvSpPr>
          <p:nvPr>
            <p:ph type="body" sz="quarter" idx="13"/>
          </p:nvPr>
        </p:nvSpPr>
        <p:spPr>
          <a:xfrm>
            <a:off x="3107788" y="360971"/>
            <a:ext cx="5976424" cy="535531"/>
          </a:xfrm>
        </p:spPr>
        <p:txBody>
          <a:bodyPr/>
          <a:lstStyle/>
          <a:p>
            <a:r>
              <a:rPr lang="en-US" sz="3200" dirty="0"/>
              <a:t>PowerPoint Presentation</a:t>
            </a:r>
          </a:p>
        </p:txBody>
      </p:sp>
      <p:sp>
        <p:nvSpPr>
          <p:cNvPr id="116" name="Date Placeholder 115"/>
          <p:cNvSpPr>
            <a:spLocks noGrp="1"/>
          </p:cNvSpPr>
          <p:nvPr>
            <p:ph type="dt" sz="half" idx="10"/>
          </p:nvPr>
        </p:nvSpPr>
        <p:spPr/>
        <p:txBody>
          <a:bodyPr/>
          <a:lstStyle/>
          <a:p>
            <a:fld id="{56E1B330-CB56-448E-9C70-830A2B9C05C8}" type="datetime1">
              <a:rPr lang="en-US" smtClean="0"/>
              <a:t>10/28/2022</a:t>
            </a:fld>
            <a:endParaRPr lang="en-US"/>
          </a:p>
        </p:txBody>
      </p:sp>
      <p:sp>
        <p:nvSpPr>
          <p:cNvPr id="117" name="Slide Number Placeholder 116"/>
          <p:cNvSpPr>
            <a:spLocks noGrp="1"/>
          </p:cNvSpPr>
          <p:nvPr>
            <p:ph type="sldNum" sz="quarter" idx="12"/>
          </p:nvPr>
        </p:nvSpPr>
        <p:spPr/>
        <p:txBody>
          <a:bodyPr/>
          <a:lstStyle/>
          <a:p>
            <a:fld id="{03206E70-9524-410D-AE9B-78D656EAA14D}" type="slidenum">
              <a:rPr lang="en-US" smtClean="0"/>
              <a:pPr/>
              <a:t>18</a:t>
            </a:fld>
            <a:endParaRPr lang="en-US"/>
          </a:p>
        </p:txBody>
      </p:sp>
      <p:sp>
        <p:nvSpPr>
          <p:cNvPr id="2" name="Text Placeholder 1"/>
          <p:cNvSpPr>
            <a:spLocks noGrp="1"/>
          </p:cNvSpPr>
          <p:nvPr>
            <p:ph type="body" sz="quarter" idx="14"/>
          </p:nvPr>
        </p:nvSpPr>
        <p:spPr>
          <a:xfrm>
            <a:off x="1857375" y="1014880"/>
            <a:ext cx="8380505" cy="400110"/>
          </a:xfrm>
        </p:spPr>
        <p:txBody>
          <a:bodyPr/>
          <a:lstStyle/>
          <a:p>
            <a:r>
              <a:rPr lang="en-US" dirty="0"/>
              <a:t>Lorem Ipsum is simply dummy text of the printing and typesetting industry. Lorem Ipsum has been the industry's standard dummy text ever since the 1500s, when an unknown printer took a galley of type and scrambled it to make a type specimen book. </a:t>
            </a:r>
          </a:p>
        </p:txBody>
      </p:sp>
      <p:grpSp>
        <p:nvGrpSpPr>
          <p:cNvPr id="3" name="Group 2"/>
          <p:cNvGrpSpPr/>
          <p:nvPr/>
        </p:nvGrpSpPr>
        <p:grpSpPr>
          <a:xfrm>
            <a:off x="1980992" y="1610058"/>
            <a:ext cx="8230017" cy="4551224"/>
            <a:chOff x="449630" y="1232169"/>
            <a:chExt cx="8230017" cy="4551224"/>
          </a:xfrm>
        </p:grpSpPr>
        <p:grpSp>
          <p:nvGrpSpPr>
            <p:cNvPr id="118" name="Group 117"/>
            <p:cNvGrpSpPr/>
            <p:nvPr/>
          </p:nvGrpSpPr>
          <p:grpSpPr>
            <a:xfrm>
              <a:off x="2260934" y="1232169"/>
              <a:ext cx="2076776" cy="492108"/>
              <a:chOff x="2260934" y="1232169"/>
              <a:chExt cx="2076776" cy="492108"/>
            </a:xfrm>
          </p:grpSpPr>
          <p:sp>
            <p:nvSpPr>
              <p:cNvPr id="119" name="Rectangle 118"/>
              <p:cNvSpPr/>
              <p:nvPr/>
            </p:nvSpPr>
            <p:spPr>
              <a:xfrm>
                <a:off x="2260934" y="1232169"/>
                <a:ext cx="2076776" cy="492108"/>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122" name="TextBox 121"/>
              <p:cNvSpPr txBox="1"/>
              <p:nvPr/>
            </p:nvSpPr>
            <p:spPr>
              <a:xfrm>
                <a:off x="2920084" y="1293443"/>
                <a:ext cx="758472" cy="184666"/>
              </a:xfrm>
              <a:prstGeom prst="rect">
                <a:avLst/>
              </a:prstGeom>
              <a:noFill/>
              <a:ln w="6350">
                <a:noFill/>
                <a:prstDash val="dash"/>
              </a:ln>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effectLst/>
                    <a:uLnTx/>
                    <a:uFillTx/>
                    <a:ea typeface="+mn-ea"/>
                    <a:cs typeface="+mn-cs"/>
                  </a:rPr>
                  <a:t>MONTH 1</a:t>
                </a:r>
              </a:p>
            </p:txBody>
          </p:sp>
          <p:grpSp>
            <p:nvGrpSpPr>
              <p:cNvPr id="123" name="Group 122"/>
              <p:cNvGrpSpPr/>
              <p:nvPr/>
            </p:nvGrpSpPr>
            <p:grpSpPr>
              <a:xfrm>
                <a:off x="2307570" y="1509115"/>
                <a:ext cx="1983504" cy="153888"/>
                <a:chOff x="2314713" y="1509115"/>
                <a:chExt cx="1983504" cy="153888"/>
              </a:xfrm>
            </p:grpSpPr>
            <p:sp>
              <p:nvSpPr>
                <p:cNvPr id="124" name="TextBox 123"/>
                <p:cNvSpPr txBox="1"/>
                <p:nvPr/>
              </p:nvSpPr>
              <p:spPr>
                <a:xfrm>
                  <a:off x="2314713" y="1509115"/>
                  <a:ext cx="441962" cy="153888"/>
                </a:xfrm>
                <a:prstGeom prst="rect">
                  <a:avLst/>
                </a:prstGeom>
                <a:noFill/>
                <a:ln w="6350">
                  <a:noFill/>
                  <a:prstDash val="dash"/>
                </a:ln>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effectLst/>
                      <a:uLnTx/>
                      <a:uFillTx/>
                      <a:ea typeface="+mn-ea"/>
                      <a:cs typeface="+mn-cs"/>
                    </a:rPr>
                    <a:t>Week 1</a:t>
                  </a:r>
                </a:p>
              </p:txBody>
            </p:sp>
            <p:sp>
              <p:nvSpPr>
                <p:cNvPr id="125" name="TextBox 124"/>
                <p:cNvSpPr txBox="1"/>
                <p:nvPr/>
              </p:nvSpPr>
              <p:spPr>
                <a:xfrm>
                  <a:off x="2828561" y="1509115"/>
                  <a:ext cx="441962" cy="153888"/>
                </a:xfrm>
                <a:prstGeom prst="rect">
                  <a:avLst/>
                </a:prstGeom>
                <a:noFill/>
                <a:ln w="6350">
                  <a:noFill/>
                  <a:prstDash val="dash"/>
                </a:ln>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effectLst/>
                      <a:uLnTx/>
                      <a:uFillTx/>
                      <a:ea typeface="+mn-ea"/>
                      <a:cs typeface="+mn-cs"/>
                    </a:rPr>
                    <a:t>Week 2</a:t>
                  </a:r>
                </a:p>
              </p:txBody>
            </p:sp>
            <p:sp>
              <p:nvSpPr>
                <p:cNvPr id="126" name="TextBox 125"/>
                <p:cNvSpPr txBox="1"/>
                <p:nvPr/>
              </p:nvSpPr>
              <p:spPr>
                <a:xfrm>
                  <a:off x="3342409" y="1509115"/>
                  <a:ext cx="441962" cy="153888"/>
                </a:xfrm>
                <a:prstGeom prst="rect">
                  <a:avLst/>
                </a:prstGeom>
                <a:noFill/>
                <a:ln w="6350">
                  <a:noFill/>
                  <a:prstDash val="dash"/>
                </a:ln>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effectLst/>
                      <a:uLnTx/>
                      <a:uFillTx/>
                      <a:ea typeface="+mn-ea"/>
                      <a:cs typeface="+mn-cs"/>
                    </a:rPr>
                    <a:t>Week 3</a:t>
                  </a:r>
                </a:p>
              </p:txBody>
            </p:sp>
            <p:sp>
              <p:nvSpPr>
                <p:cNvPr id="127" name="TextBox 126"/>
                <p:cNvSpPr txBox="1"/>
                <p:nvPr/>
              </p:nvSpPr>
              <p:spPr>
                <a:xfrm>
                  <a:off x="3856255" y="1509115"/>
                  <a:ext cx="441962" cy="153888"/>
                </a:xfrm>
                <a:prstGeom prst="rect">
                  <a:avLst/>
                </a:prstGeom>
                <a:noFill/>
                <a:ln w="6350">
                  <a:noFill/>
                  <a:prstDash val="dash"/>
                </a:ln>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effectLst/>
                      <a:uLnTx/>
                      <a:uFillTx/>
                      <a:ea typeface="+mn-ea"/>
                      <a:cs typeface="+mn-cs"/>
                    </a:rPr>
                    <a:t>Week 4</a:t>
                  </a:r>
                </a:p>
              </p:txBody>
            </p:sp>
            <p:cxnSp>
              <p:nvCxnSpPr>
                <p:cNvPr id="128" name="Straight Connector 127"/>
                <p:cNvCxnSpPr/>
                <p:nvPr/>
              </p:nvCxnSpPr>
              <p:spPr>
                <a:xfrm>
                  <a:off x="2792618" y="1522469"/>
                  <a:ext cx="0" cy="127180"/>
                </a:xfrm>
                <a:prstGeom prst="line">
                  <a:avLst/>
                </a:prstGeom>
                <a:ln w="6350">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cxnSp>
              <p:nvCxnSpPr>
                <p:cNvPr id="129" name="Straight Connector 128"/>
                <p:cNvCxnSpPr/>
                <p:nvPr/>
              </p:nvCxnSpPr>
              <p:spPr>
                <a:xfrm>
                  <a:off x="3306466" y="1522469"/>
                  <a:ext cx="0" cy="127180"/>
                </a:xfrm>
                <a:prstGeom prst="line">
                  <a:avLst/>
                </a:prstGeom>
                <a:ln w="6350">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cxnSp>
              <p:nvCxnSpPr>
                <p:cNvPr id="130" name="Straight Connector 129"/>
                <p:cNvCxnSpPr/>
                <p:nvPr/>
              </p:nvCxnSpPr>
              <p:spPr>
                <a:xfrm>
                  <a:off x="3820314" y="1522469"/>
                  <a:ext cx="0" cy="127180"/>
                </a:xfrm>
                <a:prstGeom prst="line">
                  <a:avLst/>
                </a:prstGeom>
                <a:ln w="6350">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grpSp>
        </p:grpSp>
        <p:grpSp>
          <p:nvGrpSpPr>
            <p:cNvPr id="131" name="Group 130"/>
            <p:cNvGrpSpPr/>
            <p:nvPr/>
          </p:nvGrpSpPr>
          <p:grpSpPr>
            <a:xfrm>
              <a:off x="449630" y="1929456"/>
              <a:ext cx="4360694" cy="693106"/>
              <a:chOff x="428696" y="949325"/>
              <a:chExt cx="4360694" cy="693106"/>
            </a:xfrm>
          </p:grpSpPr>
          <p:sp>
            <p:nvSpPr>
              <p:cNvPr id="132" name="Rectangle 131"/>
              <p:cNvSpPr/>
              <p:nvPr/>
            </p:nvSpPr>
            <p:spPr>
              <a:xfrm>
                <a:off x="428696" y="949325"/>
                <a:ext cx="1811303" cy="693106"/>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grpSp>
            <p:nvGrpSpPr>
              <p:cNvPr id="133" name="Group 132"/>
              <p:cNvGrpSpPr/>
              <p:nvPr/>
            </p:nvGrpSpPr>
            <p:grpSpPr>
              <a:xfrm>
                <a:off x="2317589" y="949325"/>
                <a:ext cx="2471801" cy="596240"/>
                <a:chOff x="2108577" y="948956"/>
                <a:chExt cx="2471801" cy="596240"/>
              </a:xfrm>
            </p:grpSpPr>
            <p:sp>
              <p:nvSpPr>
                <p:cNvPr id="183" name="Line 6"/>
                <p:cNvSpPr>
                  <a:spLocks noChangeShapeType="1"/>
                </p:cNvSpPr>
                <p:nvPr/>
              </p:nvSpPr>
              <p:spPr bwMode="auto">
                <a:xfrm>
                  <a:off x="2591472" y="1300216"/>
                  <a:ext cx="1988906" cy="0"/>
                </a:xfrm>
                <a:prstGeom prst="line">
                  <a:avLst/>
                </a:prstGeom>
                <a:noFill/>
                <a:ln w="19050" cap="rnd">
                  <a:solidFill>
                    <a:srgbClr val="E2583D"/>
                  </a:solidFill>
                  <a:prstDash val="solid"/>
                  <a:round/>
                  <a:headEnd/>
                  <a:tailEnd type="oval"/>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grpSp>
              <p:nvGrpSpPr>
                <p:cNvPr id="184" name="Group 183"/>
                <p:cNvGrpSpPr/>
                <p:nvPr/>
              </p:nvGrpSpPr>
              <p:grpSpPr>
                <a:xfrm>
                  <a:off x="2108577" y="1053427"/>
                  <a:ext cx="491769" cy="491769"/>
                  <a:chOff x="2152274" y="1053427"/>
                  <a:chExt cx="491769" cy="491769"/>
                </a:xfrm>
              </p:grpSpPr>
              <p:sp>
                <p:nvSpPr>
                  <p:cNvPr id="188" name="Oval 187"/>
                  <p:cNvSpPr>
                    <a:spLocks noChangeAspect="1"/>
                  </p:cNvSpPr>
                  <p:nvPr/>
                </p:nvSpPr>
                <p:spPr>
                  <a:xfrm>
                    <a:off x="2152274" y="1053427"/>
                    <a:ext cx="491769" cy="491769"/>
                  </a:xfrm>
                  <a:prstGeom prst="ellipse">
                    <a:avLst/>
                  </a:prstGeom>
                  <a:solidFill>
                    <a:srgbClr val="E2583D"/>
                  </a:solidFill>
                  <a:ln>
                    <a:noFill/>
                  </a:ln>
                  <a:effectLst>
                    <a:outerShdw blurRad="25400" dist="254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grpSp>
                <p:nvGrpSpPr>
                  <p:cNvPr id="189" name="Group 188"/>
                  <p:cNvGrpSpPr>
                    <a:grpSpLocks noChangeAspect="1"/>
                  </p:cNvGrpSpPr>
                  <p:nvPr/>
                </p:nvGrpSpPr>
                <p:grpSpPr>
                  <a:xfrm>
                    <a:off x="2272005" y="1155311"/>
                    <a:ext cx="252307" cy="288000"/>
                    <a:chOff x="2947988" y="5462588"/>
                    <a:chExt cx="325437" cy="371476"/>
                  </a:xfrm>
                  <a:solidFill>
                    <a:schemeClr val="bg1"/>
                  </a:solidFill>
                </p:grpSpPr>
                <p:sp>
                  <p:nvSpPr>
                    <p:cNvPr id="190" name="Freeform 5"/>
                    <p:cNvSpPr>
                      <a:spLocks noEditPoints="1"/>
                    </p:cNvSpPr>
                    <p:nvPr/>
                  </p:nvSpPr>
                  <p:spPr bwMode="auto">
                    <a:xfrm>
                      <a:off x="2994025" y="5508626"/>
                      <a:ext cx="231775" cy="233363"/>
                    </a:xfrm>
                    <a:custGeom>
                      <a:avLst/>
                      <a:gdLst>
                        <a:gd name="T0" fmla="*/ 30 w 60"/>
                        <a:gd name="T1" fmla="*/ 60 h 60"/>
                        <a:gd name="T2" fmla="*/ 0 w 60"/>
                        <a:gd name="T3" fmla="*/ 30 h 60"/>
                        <a:gd name="T4" fmla="*/ 30 w 60"/>
                        <a:gd name="T5" fmla="*/ 0 h 60"/>
                        <a:gd name="T6" fmla="*/ 60 w 60"/>
                        <a:gd name="T7" fmla="*/ 30 h 60"/>
                        <a:gd name="T8" fmla="*/ 30 w 60"/>
                        <a:gd name="T9" fmla="*/ 60 h 60"/>
                        <a:gd name="T10" fmla="*/ 30 w 60"/>
                        <a:gd name="T11" fmla="*/ 4 h 60"/>
                        <a:gd name="T12" fmla="*/ 4 w 60"/>
                        <a:gd name="T13" fmla="*/ 30 h 60"/>
                        <a:gd name="T14" fmla="*/ 30 w 60"/>
                        <a:gd name="T15" fmla="*/ 56 h 60"/>
                        <a:gd name="T16" fmla="*/ 56 w 60"/>
                        <a:gd name="T17" fmla="*/ 30 h 60"/>
                        <a:gd name="T18" fmla="*/ 30 w 60"/>
                        <a:gd name="T19" fmla="*/ 4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0">
                          <a:moveTo>
                            <a:pt x="30" y="60"/>
                          </a:moveTo>
                          <a:cubicBezTo>
                            <a:pt x="13" y="60"/>
                            <a:pt x="0" y="47"/>
                            <a:pt x="0" y="30"/>
                          </a:cubicBezTo>
                          <a:cubicBezTo>
                            <a:pt x="0" y="13"/>
                            <a:pt x="13" y="0"/>
                            <a:pt x="30" y="0"/>
                          </a:cubicBezTo>
                          <a:cubicBezTo>
                            <a:pt x="47" y="0"/>
                            <a:pt x="60" y="13"/>
                            <a:pt x="60" y="30"/>
                          </a:cubicBezTo>
                          <a:cubicBezTo>
                            <a:pt x="60" y="47"/>
                            <a:pt x="47" y="60"/>
                            <a:pt x="30" y="60"/>
                          </a:cubicBezTo>
                          <a:close/>
                          <a:moveTo>
                            <a:pt x="30" y="4"/>
                          </a:moveTo>
                          <a:cubicBezTo>
                            <a:pt x="16" y="4"/>
                            <a:pt x="4" y="16"/>
                            <a:pt x="4" y="30"/>
                          </a:cubicBezTo>
                          <a:cubicBezTo>
                            <a:pt x="4" y="44"/>
                            <a:pt x="16" y="56"/>
                            <a:pt x="30" y="56"/>
                          </a:cubicBezTo>
                          <a:cubicBezTo>
                            <a:pt x="44" y="56"/>
                            <a:pt x="56" y="44"/>
                            <a:pt x="56" y="30"/>
                          </a:cubicBezTo>
                          <a:cubicBezTo>
                            <a:pt x="56" y="16"/>
                            <a:pt x="44" y="4"/>
                            <a:pt x="30"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91" name="Freeform 6"/>
                    <p:cNvSpPr>
                      <a:spLocks/>
                    </p:cNvSpPr>
                    <p:nvPr/>
                  </p:nvSpPr>
                  <p:spPr bwMode="auto">
                    <a:xfrm>
                      <a:off x="3055938" y="5726113"/>
                      <a:ext cx="107950" cy="46038"/>
                    </a:xfrm>
                    <a:custGeom>
                      <a:avLst/>
                      <a:gdLst>
                        <a:gd name="T0" fmla="*/ 26 w 28"/>
                        <a:gd name="T1" fmla="*/ 12 h 12"/>
                        <a:gd name="T2" fmla="*/ 2 w 28"/>
                        <a:gd name="T3" fmla="*/ 12 h 12"/>
                        <a:gd name="T4" fmla="*/ 0 w 28"/>
                        <a:gd name="T5" fmla="*/ 10 h 12"/>
                        <a:gd name="T6" fmla="*/ 0 w 28"/>
                        <a:gd name="T7" fmla="*/ 0 h 12"/>
                        <a:gd name="T8" fmla="*/ 4 w 28"/>
                        <a:gd name="T9" fmla="*/ 0 h 12"/>
                        <a:gd name="T10" fmla="*/ 4 w 28"/>
                        <a:gd name="T11" fmla="*/ 8 h 12"/>
                        <a:gd name="T12" fmla="*/ 24 w 28"/>
                        <a:gd name="T13" fmla="*/ 8 h 12"/>
                        <a:gd name="T14" fmla="*/ 24 w 28"/>
                        <a:gd name="T15" fmla="*/ 0 h 12"/>
                        <a:gd name="T16" fmla="*/ 28 w 28"/>
                        <a:gd name="T17" fmla="*/ 0 h 12"/>
                        <a:gd name="T18" fmla="*/ 28 w 28"/>
                        <a:gd name="T19" fmla="*/ 10 h 12"/>
                        <a:gd name="T20" fmla="*/ 26 w 28"/>
                        <a:gd name="T21"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8" h="12">
                          <a:moveTo>
                            <a:pt x="26" y="12"/>
                          </a:moveTo>
                          <a:cubicBezTo>
                            <a:pt x="2" y="12"/>
                            <a:pt x="2" y="12"/>
                            <a:pt x="2" y="12"/>
                          </a:cubicBezTo>
                          <a:cubicBezTo>
                            <a:pt x="1" y="12"/>
                            <a:pt x="0" y="11"/>
                            <a:pt x="0" y="10"/>
                          </a:cubicBezTo>
                          <a:cubicBezTo>
                            <a:pt x="0" y="0"/>
                            <a:pt x="0" y="0"/>
                            <a:pt x="0" y="0"/>
                          </a:cubicBezTo>
                          <a:cubicBezTo>
                            <a:pt x="4" y="0"/>
                            <a:pt x="4" y="0"/>
                            <a:pt x="4" y="0"/>
                          </a:cubicBezTo>
                          <a:cubicBezTo>
                            <a:pt x="4" y="8"/>
                            <a:pt x="4" y="8"/>
                            <a:pt x="4" y="8"/>
                          </a:cubicBezTo>
                          <a:cubicBezTo>
                            <a:pt x="24" y="8"/>
                            <a:pt x="24" y="8"/>
                            <a:pt x="24" y="8"/>
                          </a:cubicBezTo>
                          <a:cubicBezTo>
                            <a:pt x="24" y="0"/>
                            <a:pt x="24" y="0"/>
                            <a:pt x="24" y="0"/>
                          </a:cubicBezTo>
                          <a:cubicBezTo>
                            <a:pt x="28" y="0"/>
                            <a:pt x="28" y="0"/>
                            <a:pt x="28" y="0"/>
                          </a:cubicBezTo>
                          <a:cubicBezTo>
                            <a:pt x="28" y="10"/>
                            <a:pt x="28" y="10"/>
                            <a:pt x="28" y="10"/>
                          </a:cubicBezTo>
                          <a:cubicBezTo>
                            <a:pt x="28" y="11"/>
                            <a:pt x="27" y="12"/>
                            <a:pt x="2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92" name="Freeform 7"/>
                    <p:cNvSpPr>
                      <a:spLocks noEditPoints="1"/>
                    </p:cNvSpPr>
                    <p:nvPr/>
                  </p:nvSpPr>
                  <p:spPr bwMode="auto">
                    <a:xfrm>
                      <a:off x="3071813" y="5756276"/>
                      <a:ext cx="76200" cy="47625"/>
                    </a:xfrm>
                    <a:custGeom>
                      <a:avLst/>
                      <a:gdLst>
                        <a:gd name="T0" fmla="*/ 18 w 20"/>
                        <a:gd name="T1" fmla="*/ 12 h 12"/>
                        <a:gd name="T2" fmla="*/ 2 w 20"/>
                        <a:gd name="T3" fmla="*/ 12 h 12"/>
                        <a:gd name="T4" fmla="*/ 0 w 20"/>
                        <a:gd name="T5" fmla="*/ 10 h 12"/>
                        <a:gd name="T6" fmla="*/ 0 w 20"/>
                        <a:gd name="T7" fmla="*/ 2 h 12"/>
                        <a:gd name="T8" fmla="*/ 2 w 20"/>
                        <a:gd name="T9" fmla="*/ 0 h 12"/>
                        <a:gd name="T10" fmla="*/ 18 w 20"/>
                        <a:gd name="T11" fmla="*/ 0 h 12"/>
                        <a:gd name="T12" fmla="*/ 20 w 20"/>
                        <a:gd name="T13" fmla="*/ 2 h 12"/>
                        <a:gd name="T14" fmla="*/ 20 w 20"/>
                        <a:gd name="T15" fmla="*/ 10 h 12"/>
                        <a:gd name="T16" fmla="*/ 18 w 20"/>
                        <a:gd name="T17" fmla="*/ 12 h 12"/>
                        <a:gd name="T18" fmla="*/ 4 w 20"/>
                        <a:gd name="T19" fmla="*/ 8 h 12"/>
                        <a:gd name="T20" fmla="*/ 16 w 20"/>
                        <a:gd name="T21" fmla="*/ 8 h 12"/>
                        <a:gd name="T22" fmla="*/ 16 w 20"/>
                        <a:gd name="T23" fmla="*/ 4 h 12"/>
                        <a:gd name="T24" fmla="*/ 4 w 20"/>
                        <a:gd name="T25" fmla="*/ 4 h 12"/>
                        <a:gd name="T26" fmla="*/ 4 w 20"/>
                        <a:gd name="T27" fmla="*/ 8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 h="12">
                          <a:moveTo>
                            <a:pt x="18" y="12"/>
                          </a:moveTo>
                          <a:cubicBezTo>
                            <a:pt x="2" y="12"/>
                            <a:pt x="2" y="12"/>
                            <a:pt x="2" y="12"/>
                          </a:cubicBezTo>
                          <a:cubicBezTo>
                            <a:pt x="1" y="12"/>
                            <a:pt x="0" y="11"/>
                            <a:pt x="0" y="10"/>
                          </a:cubicBezTo>
                          <a:cubicBezTo>
                            <a:pt x="0" y="2"/>
                            <a:pt x="0" y="2"/>
                            <a:pt x="0" y="2"/>
                          </a:cubicBezTo>
                          <a:cubicBezTo>
                            <a:pt x="0" y="1"/>
                            <a:pt x="1" y="0"/>
                            <a:pt x="2" y="0"/>
                          </a:cubicBezTo>
                          <a:cubicBezTo>
                            <a:pt x="18" y="0"/>
                            <a:pt x="18" y="0"/>
                            <a:pt x="18" y="0"/>
                          </a:cubicBezTo>
                          <a:cubicBezTo>
                            <a:pt x="19" y="0"/>
                            <a:pt x="20" y="1"/>
                            <a:pt x="20" y="2"/>
                          </a:cubicBezTo>
                          <a:cubicBezTo>
                            <a:pt x="20" y="10"/>
                            <a:pt x="20" y="10"/>
                            <a:pt x="20" y="10"/>
                          </a:cubicBezTo>
                          <a:cubicBezTo>
                            <a:pt x="20" y="11"/>
                            <a:pt x="19" y="12"/>
                            <a:pt x="18" y="12"/>
                          </a:cubicBezTo>
                          <a:close/>
                          <a:moveTo>
                            <a:pt x="4" y="8"/>
                          </a:moveTo>
                          <a:cubicBezTo>
                            <a:pt x="16" y="8"/>
                            <a:pt x="16" y="8"/>
                            <a:pt x="16" y="8"/>
                          </a:cubicBezTo>
                          <a:cubicBezTo>
                            <a:pt x="16" y="4"/>
                            <a:pt x="16" y="4"/>
                            <a:pt x="16" y="4"/>
                          </a:cubicBezTo>
                          <a:cubicBezTo>
                            <a:pt x="4" y="4"/>
                            <a:pt x="4" y="4"/>
                            <a:pt x="4" y="4"/>
                          </a:cubicBezTo>
                          <a:lnTo>
                            <a:pt x="4"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93" name="Freeform 8"/>
                    <p:cNvSpPr>
                      <a:spLocks/>
                    </p:cNvSpPr>
                    <p:nvPr/>
                  </p:nvSpPr>
                  <p:spPr bwMode="auto">
                    <a:xfrm>
                      <a:off x="3101975" y="5788026"/>
                      <a:ext cx="15875" cy="46038"/>
                    </a:xfrm>
                    <a:custGeom>
                      <a:avLst/>
                      <a:gdLst>
                        <a:gd name="T0" fmla="*/ 2 w 4"/>
                        <a:gd name="T1" fmla="*/ 12 h 12"/>
                        <a:gd name="T2" fmla="*/ 0 w 4"/>
                        <a:gd name="T3" fmla="*/ 10 h 12"/>
                        <a:gd name="T4" fmla="*/ 0 w 4"/>
                        <a:gd name="T5" fmla="*/ 2 h 12"/>
                        <a:gd name="T6" fmla="*/ 2 w 4"/>
                        <a:gd name="T7" fmla="*/ 0 h 12"/>
                        <a:gd name="T8" fmla="*/ 4 w 4"/>
                        <a:gd name="T9" fmla="*/ 2 h 12"/>
                        <a:gd name="T10" fmla="*/ 4 w 4"/>
                        <a:gd name="T11" fmla="*/ 10 h 12"/>
                        <a:gd name="T12" fmla="*/ 2 w 4"/>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4" h="12">
                          <a:moveTo>
                            <a:pt x="2" y="12"/>
                          </a:moveTo>
                          <a:cubicBezTo>
                            <a:pt x="1" y="12"/>
                            <a:pt x="0" y="11"/>
                            <a:pt x="0" y="10"/>
                          </a:cubicBezTo>
                          <a:cubicBezTo>
                            <a:pt x="0" y="2"/>
                            <a:pt x="0" y="2"/>
                            <a:pt x="0" y="2"/>
                          </a:cubicBezTo>
                          <a:cubicBezTo>
                            <a:pt x="0" y="1"/>
                            <a:pt x="1" y="0"/>
                            <a:pt x="2" y="0"/>
                          </a:cubicBezTo>
                          <a:cubicBezTo>
                            <a:pt x="3" y="0"/>
                            <a:pt x="4" y="1"/>
                            <a:pt x="4" y="2"/>
                          </a:cubicBezTo>
                          <a:cubicBezTo>
                            <a:pt x="4" y="10"/>
                            <a:pt x="4" y="10"/>
                            <a:pt x="4" y="10"/>
                          </a:cubicBezTo>
                          <a:cubicBezTo>
                            <a:pt x="4" y="11"/>
                            <a:pt x="3" y="12"/>
                            <a:pt x="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94" name="Freeform 9"/>
                    <p:cNvSpPr>
                      <a:spLocks/>
                    </p:cNvSpPr>
                    <p:nvPr/>
                  </p:nvSpPr>
                  <p:spPr bwMode="auto">
                    <a:xfrm>
                      <a:off x="3101975" y="5462588"/>
                      <a:ext cx="15875" cy="31750"/>
                    </a:xfrm>
                    <a:custGeom>
                      <a:avLst/>
                      <a:gdLst>
                        <a:gd name="T0" fmla="*/ 2 w 4"/>
                        <a:gd name="T1" fmla="*/ 8 h 8"/>
                        <a:gd name="T2" fmla="*/ 0 w 4"/>
                        <a:gd name="T3" fmla="*/ 6 h 8"/>
                        <a:gd name="T4" fmla="*/ 0 w 4"/>
                        <a:gd name="T5" fmla="*/ 2 h 8"/>
                        <a:gd name="T6" fmla="*/ 2 w 4"/>
                        <a:gd name="T7" fmla="*/ 0 h 8"/>
                        <a:gd name="T8" fmla="*/ 4 w 4"/>
                        <a:gd name="T9" fmla="*/ 2 h 8"/>
                        <a:gd name="T10" fmla="*/ 4 w 4"/>
                        <a:gd name="T11" fmla="*/ 6 h 8"/>
                        <a:gd name="T12" fmla="*/ 2 w 4"/>
                        <a:gd name="T13" fmla="*/ 8 h 8"/>
                      </a:gdLst>
                      <a:ahLst/>
                      <a:cxnLst>
                        <a:cxn ang="0">
                          <a:pos x="T0" y="T1"/>
                        </a:cxn>
                        <a:cxn ang="0">
                          <a:pos x="T2" y="T3"/>
                        </a:cxn>
                        <a:cxn ang="0">
                          <a:pos x="T4" y="T5"/>
                        </a:cxn>
                        <a:cxn ang="0">
                          <a:pos x="T6" y="T7"/>
                        </a:cxn>
                        <a:cxn ang="0">
                          <a:pos x="T8" y="T9"/>
                        </a:cxn>
                        <a:cxn ang="0">
                          <a:pos x="T10" y="T11"/>
                        </a:cxn>
                        <a:cxn ang="0">
                          <a:pos x="T12" y="T13"/>
                        </a:cxn>
                      </a:cxnLst>
                      <a:rect l="0" t="0" r="r" b="b"/>
                      <a:pathLst>
                        <a:path w="4" h="8">
                          <a:moveTo>
                            <a:pt x="2" y="8"/>
                          </a:moveTo>
                          <a:cubicBezTo>
                            <a:pt x="1" y="8"/>
                            <a:pt x="0" y="7"/>
                            <a:pt x="0" y="6"/>
                          </a:cubicBezTo>
                          <a:cubicBezTo>
                            <a:pt x="0" y="2"/>
                            <a:pt x="0" y="2"/>
                            <a:pt x="0" y="2"/>
                          </a:cubicBezTo>
                          <a:cubicBezTo>
                            <a:pt x="0" y="1"/>
                            <a:pt x="1" y="0"/>
                            <a:pt x="2" y="0"/>
                          </a:cubicBezTo>
                          <a:cubicBezTo>
                            <a:pt x="3" y="0"/>
                            <a:pt x="4" y="1"/>
                            <a:pt x="4" y="2"/>
                          </a:cubicBezTo>
                          <a:cubicBezTo>
                            <a:pt x="4" y="6"/>
                            <a:pt x="4" y="6"/>
                            <a:pt x="4" y="6"/>
                          </a:cubicBezTo>
                          <a:cubicBezTo>
                            <a:pt x="4" y="7"/>
                            <a:pt x="3" y="8"/>
                            <a:pt x="2"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95" name="Freeform 10"/>
                    <p:cNvSpPr>
                      <a:spLocks/>
                    </p:cNvSpPr>
                    <p:nvPr/>
                  </p:nvSpPr>
                  <p:spPr bwMode="auto">
                    <a:xfrm>
                      <a:off x="3198813" y="5508626"/>
                      <a:ext cx="26987" cy="26988"/>
                    </a:xfrm>
                    <a:custGeom>
                      <a:avLst/>
                      <a:gdLst>
                        <a:gd name="T0" fmla="*/ 2 w 7"/>
                        <a:gd name="T1" fmla="*/ 7 h 7"/>
                        <a:gd name="T2" fmla="*/ 1 w 7"/>
                        <a:gd name="T3" fmla="*/ 6 h 7"/>
                        <a:gd name="T4" fmla="*/ 1 w 7"/>
                        <a:gd name="T5" fmla="*/ 3 h 7"/>
                        <a:gd name="T6" fmla="*/ 4 w 7"/>
                        <a:gd name="T7" fmla="*/ 0 h 7"/>
                        <a:gd name="T8" fmla="*/ 7 w 7"/>
                        <a:gd name="T9" fmla="*/ 0 h 7"/>
                        <a:gd name="T10" fmla="*/ 7 w 7"/>
                        <a:gd name="T11" fmla="*/ 3 h 7"/>
                        <a:gd name="T12" fmla="*/ 4 w 7"/>
                        <a:gd name="T13" fmla="*/ 6 h 7"/>
                        <a:gd name="T14" fmla="*/ 2 w 7"/>
                        <a:gd name="T15" fmla="*/ 7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 h="7">
                          <a:moveTo>
                            <a:pt x="2" y="7"/>
                          </a:moveTo>
                          <a:cubicBezTo>
                            <a:pt x="2" y="7"/>
                            <a:pt x="1" y="6"/>
                            <a:pt x="1" y="6"/>
                          </a:cubicBezTo>
                          <a:cubicBezTo>
                            <a:pt x="0" y="5"/>
                            <a:pt x="0" y="4"/>
                            <a:pt x="1" y="3"/>
                          </a:cubicBezTo>
                          <a:cubicBezTo>
                            <a:pt x="4" y="0"/>
                            <a:pt x="4" y="0"/>
                            <a:pt x="4" y="0"/>
                          </a:cubicBezTo>
                          <a:cubicBezTo>
                            <a:pt x="5" y="0"/>
                            <a:pt x="6" y="0"/>
                            <a:pt x="7" y="0"/>
                          </a:cubicBezTo>
                          <a:cubicBezTo>
                            <a:pt x="7" y="1"/>
                            <a:pt x="7" y="2"/>
                            <a:pt x="7" y="3"/>
                          </a:cubicBezTo>
                          <a:cubicBezTo>
                            <a:pt x="4" y="6"/>
                            <a:pt x="4" y="6"/>
                            <a:pt x="4" y="6"/>
                          </a:cubicBezTo>
                          <a:cubicBezTo>
                            <a:pt x="3" y="6"/>
                            <a:pt x="3" y="7"/>
                            <a:pt x="2"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96" name="Freeform 11"/>
                    <p:cNvSpPr>
                      <a:spLocks/>
                    </p:cNvSpPr>
                    <p:nvPr/>
                  </p:nvSpPr>
                  <p:spPr bwMode="auto">
                    <a:xfrm>
                      <a:off x="3241675" y="5618163"/>
                      <a:ext cx="31750" cy="14288"/>
                    </a:xfrm>
                    <a:custGeom>
                      <a:avLst/>
                      <a:gdLst>
                        <a:gd name="T0" fmla="*/ 6 w 8"/>
                        <a:gd name="T1" fmla="*/ 4 h 4"/>
                        <a:gd name="T2" fmla="*/ 2 w 8"/>
                        <a:gd name="T3" fmla="*/ 4 h 4"/>
                        <a:gd name="T4" fmla="*/ 0 w 8"/>
                        <a:gd name="T5" fmla="*/ 2 h 4"/>
                        <a:gd name="T6" fmla="*/ 2 w 8"/>
                        <a:gd name="T7" fmla="*/ 0 h 4"/>
                        <a:gd name="T8" fmla="*/ 6 w 8"/>
                        <a:gd name="T9" fmla="*/ 0 h 4"/>
                        <a:gd name="T10" fmla="*/ 8 w 8"/>
                        <a:gd name="T11" fmla="*/ 2 h 4"/>
                        <a:gd name="T12" fmla="*/ 6 w 8"/>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8" h="4">
                          <a:moveTo>
                            <a:pt x="6" y="4"/>
                          </a:moveTo>
                          <a:cubicBezTo>
                            <a:pt x="2" y="4"/>
                            <a:pt x="2" y="4"/>
                            <a:pt x="2" y="4"/>
                          </a:cubicBezTo>
                          <a:cubicBezTo>
                            <a:pt x="1" y="4"/>
                            <a:pt x="0" y="3"/>
                            <a:pt x="0" y="2"/>
                          </a:cubicBezTo>
                          <a:cubicBezTo>
                            <a:pt x="0" y="1"/>
                            <a:pt x="1" y="0"/>
                            <a:pt x="2" y="0"/>
                          </a:cubicBezTo>
                          <a:cubicBezTo>
                            <a:pt x="6" y="0"/>
                            <a:pt x="6" y="0"/>
                            <a:pt x="6" y="0"/>
                          </a:cubicBezTo>
                          <a:cubicBezTo>
                            <a:pt x="7" y="0"/>
                            <a:pt x="8" y="1"/>
                            <a:pt x="8" y="2"/>
                          </a:cubicBezTo>
                          <a:cubicBezTo>
                            <a:pt x="8" y="3"/>
                            <a:pt x="7" y="4"/>
                            <a:pt x="6"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97" name="Freeform 12"/>
                    <p:cNvSpPr>
                      <a:spLocks/>
                    </p:cNvSpPr>
                    <p:nvPr/>
                  </p:nvSpPr>
                  <p:spPr bwMode="auto">
                    <a:xfrm>
                      <a:off x="3198813" y="5713413"/>
                      <a:ext cx="26987" cy="28575"/>
                    </a:xfrm>
                    <a:custGeom>
                      <a:avLst/>
                      <a:gdLst>
                        <a:gd name="T0" fmla="*/ 5 w 7"/>
                        <a:gd name="T1" fmla="*/ 7 h 7"/>
                        <a:gd name="T2" fmla="*/ 4 w 7"/>
                        <a:gd name="T3" fmla="*/ 7 h 7"/>
                        <a:gd name="T4" fmla="*/ 1 w 7"/>
                        <a:gd name="T5" fmla="*/ 4 h 7"/>
                        <a:gd name="T6" fmla="*/ 1 w 7"/>
                        <a:gd name="T7" fmla="*/ 1 h 7"/>
                        <a:gd name="T8" fmla="*/ 4 w 7"/>
                        <a:gd name="T9" fmla="*/ 1 h 7"/>
                        <a:gd name="T10" fmla="*/ 7 w 7"/>
                        <a:gd name="T11" fmla="*/ 4 h 7"/>
                        <a:gd name="T12" fmla="*/ 7 w 7"/>
                        <a:gd name="T13" fmla="*/ 7 h 7"/>
                        <a:gd name="T14" fmla="*/ 5 w 7"/>
                        <a:gd name="T15" fmla="*/ 7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 h="7">
                          <a:moveTo>
                            <a:pt x="5" y="7"/>
                          </a:moveTo>
                          <a:cubicBezTo>
                            <a:pt x="5" y="7"/>
                            <a:pt x="4" y="7"/>
                            <a:pt x="4" y="7"/>
                          </a:cubicBezTo>
                          <a:cubicBezTo>
                            <a:pt x="1" y="4"/>
                            <a:pt x="1" y="4"/>
                            <a:pt x="1" y="4"/>
                          </a:cubicBezTo>
                          <a:cubicBezTo>
                            <a:pt x="0" y="3"/>
                            <a:pt x="0" y="2"/>
                            <a:pt x="1" y="1"/>
                          </a:cubicBezTo>
                          <a:cubicBezTo>
                            <a:pt x="2" y="0"/>
                            <a:pt x="3" y="0"/>
                            <a:pt x="4" y="1"/>
                          </a:cubicBezTo>
                          <a:cubicBezTo>
                            <a:pt x="7" y="4"/>
                            <a:pt x="7" y="4"/>
                            <a:pt x="7" y="4"/>
                          </a:cubicBezTo>
                          <a:cubicBezTo>
                            <a:pt x="7" y="5"/>
                            <a:pt x="7" y="6"/>
                            <a:pt x="7" y="7"/>
                          </a:cubicBezTo>
                          <a:cubicBezTo>
                            <a:pt x="6" y="7"/>
                            <a:pt x="6" y="7"/>
                            <a:pt x="5"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98" name="Freeform 13"/>
                    <p:cNvSpPr>
                      <a:spLocks/>
                    </p:cNvSpPr>
                    <p:nvPr/>
                  </p:nvSpPr>
                  <p:spPr bwMode="auto">
                    <a:xfrm>
                      <a:off x="2994025" y="5508626"/>
                      <a:ext cx="26987" cy="26988"/>
                    </a:xfrm>
                    <a:custGeom>
                      <a:avLst/>
                      <a:gdLst>
                        <a:gd name="T0" fmla="*/ 5 w 7"/>
                        <a:gd name="T1" fmla="*/ 7 h 7"/>
                        <a:gd name="T2" fmla="*/ 3 w 7"/>
                        <a:gd name="T3" fmla="*/ 6 h 7"/>
                        <a:gd name="T4" fmla="*/ 0 w 7"/>
                        <a:gd name="T5" fmla="*/ 3 h 7"/>
                        <a:gd name="T6" fmla="*/ 0 w 7"/>
                        <a:gd name="T7" fmla="*/ 0 h 7"/>
                        <a:gd name="T8" fmla="*/ 3 w 7"/>
                        <a:gd name="T9" fmla="*/ 0 h 7"/>
                        <a:gd name="T10" fmla="*/ 6 w 7"/>
                        <a:gd name="T11" fmla="*/ 3 h 7"/>
                        <a:gd name="T12" fmla="*/ 6 w 7"/>
                        <a:gd name="T13" fmla="*/ 6 h 7"/>
                        <a:gd name="T14" fmla="*/ 5 w 7"/>
                        <a:gd name="T15" fmla="*/ 7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 h="7">
                          <a:moveTo>
                            <a:pt x="5" y="7"/>
                          </a:moveTo>
                          <a:cubicBezTo>
                            <a:pt x="4" y="7"/>
                            <a:pt x="4" y="6"/>
                            <a:pt x="3" y="6"/>
                          </a:cubicBezTo>
                          <a:cubicBezTo>
                            <a:pt x="0" y="3"/>
                            <a:pt x="0" y="3"/>
                            <a:pt x="0" y="3"/>
                          </a:cubicBezTo>
                          <a:cubicBezTo>
                            <a:pt x="0" y="2"/>
                            <a:pt x="0" y="1"/>
                            <a:pt x="0" y="0"/>
                          </a:cubicBezTo>
                          <a:cubicBezTo>
                            <a:pt x="1" y="0"/>
                            <a:pt x="2" y="0"/>
                            <a:pt x="3" y="0"/>
                          </a:cubicBezTo>
                          <a:cubicBezTo>
                            <a:pt x="6" y="3"/>
                            <a:pt x="6" y="3"/>
                            <a:pt x="6" y="3"/>
                          </a:cubicBezTo>
                          <a:cubicBezTo>
                            <a:pt x="7" y="4"/>
                            <a:pt x="7" y="5"/>
                            <a:pt x="6" y="6"/>
                          </a:cubicBezTo>
                          <a:cubicBezTo>
                            <a:pt x="6" y="6"/>
                            <a:pt x="5" y="7"/>
                            <a:pt x="5"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99" name="Freeform 14"/>
                    <p:cNvSpPr>
                      <a:spLocks/>
                    </p:cNvSpPr>
                    <p:nvPr/>
                  </p:nvSpPr>
                  <p:spPr bwMode="auto">
                    <a:xfrm>
                      <a:off x="2947988" y="5618163"/>
                      <a:ext cx="30162" cy="14288"/>
                    </a:xfrm>
                    <a:custGeom>
                      <a:avLst/>
                      <a:gdLst>
                        <a:gd name="T0" fmla="*/ 6 w 8"/>
                        <a:gd name="T1" fmla="*/ 4 h 4"/>
                        <a:gd name="T2" fmla="*/ 2 w 8"/>
                        <a:gd name="T3" fmla="*/ 4 h 4"/>
                        <a:gd name="T4" fmla="*/ 0 w 8"/>
                        <a:gd name="T5" fmla="*/ 2 h 4"/>
                        <a:gd name="T6" fmla="*/ 2 w 8"/>
                        <a:gd name="T7" fmla="*/ 0 h 4"/>
                        <a:gd name="T8" fmla="*/ 6 w 8"/>
                        <a:gd name="T9" fmla="*/ 0 h 4"/>
                        <a:gd name="T10" fmla="*/ 8 w 8"/>
                        <a:gd name="T11" fmla="*/ 2 h 4"/>
                        <a:gd name="T12" fmla="*/ 6 w 8"/>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8" h="4">
                          <a:moveTo>
                            <a:pt x="6" y="4"/>
                          </a:moveTo>
                          <a:cubicBezTo>
                            <a:pt x="2" y="4"/>
                            <a:pt x="2" y="4"/>
                            <a:pt x="2" y="4"/>
                          </a:cubicBezTo>
                          <a:cubicBezTo>
                            <a:pt x="1" y="4"/>
                            <a:pt x="0" y="3"/>
                            <a:pt x="0" y="2"/>
                          </a:cubicBezTo>
                          <a:cubicBezTo>
                            <a:pt x="0" y="1"/>
                            <a:pt x="1" y="0"/>
                            <a:pt x="2" y="0"/>
                          </a:cubicBezTo>
                          <a:cubicBezTo>
                            <a:pt x="6" y="0"/>
                            <a:pt x="6" y="0"/>
                            <a:pt x="6" y="0"/>
                          </a:cubicBezTo>
                          <a:cubicBezTo>
                            <a:pt x="7" y="0"/>
                            <a:pt x="8" y="1"/>
                            <a:pt x="8" y="2"/>
                          </a:cubicBezTo>
                          <a:cubicBezTo>
                            <a:pt x="8" y="3"/>
                            <a:pt x="7" y="4"/>
                            <a:pt x="6"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00" name="Freeform 15"/>
                    <p:cNvSpPr>
                      <a:spLocks/>
                    </p:cNvSpPr>
                    <p:nvPr/>
                  </p:nvSpPr>
                  <p:spPr bwMode="auto">
                    <a:xfrm>
                      <a:off x="2994025" y="5713413"/>
                      <a:ext cx="26987" cy="28575"/>
                    </a:xfrm>
                    <a:custGeom>
                      <a:avLst/>
                      <a:gdLst>
                        <a:gd name="T0" fmla="*/ 2 w 7"/>
                        <a:gd name="T1" fmla="*/ 7 h 7"/>
                        <a:gd name="T2" fmla="*/ 0 w 7"/>
                        <a:gd name="T3" fmla="*/ 7 h 7"/>
                        <a:gd name="T4" fmla="*/ 0 w 7"/>
                        <a:gd name="T5" fmla="*/ 4 h 7"/>
                        <a:gd name="T6" fmla="*/ 3 w 7"/>
                        <a:gd name="T7" fmla="*/ 1 h 7"/>
                        <a:gd name="T8" fmla="*/ 6 w 7"/>
                        <a:gd name="T9" fmla="*/ 1 h 7"/>
                        <a:gd name="T10" fmla="*/ 6 w 7"/>
                        <a:gd name="T11" fmla="*/ 4 h 7"/>
                        <a:gd name="T12" fmla="*/ 3 w 7"/>
                        <a:gd name="T13" fmla="*/ 7 h 7"/>
                        <a:gd name="T14" fmla="*/ 2 w 7"/>
                        <a:gd name="T15" fmla="*/ 7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 h="7">
                          <a:moveTo>
                            <a:pt x="2" y="7"/>
                          </a:moveTo>
                          <a:cubicBezTo>
                            <a:pt x="1" y="7"/>
                            <a:pt x="1" y="7"/>
                            <a:pt x="0" y="7"/>
                          </a:cubicBezTo>
                          <a:cubicBezTo>
                            <a:pt x="0" y="6"/>
                            <a:pt x="0" y="5"/>
                            <a:pt x="0" y="4"/>
                          </a:cubicBezTo>
                          <a:cubicBezTo>
                            <a:pt x="3" y="1"/>
                            <a:pt x="3" y="1"/>
                            <a:pt x="3" y="1"/>
                          </a:cubicBezTo>
                          <a:cubicBezTo>
                            <a:pt x="4" y="0"/>
                            <a:pt x="5" y="0"/>
                            <a:pt x="6" y="1"/>
                          </a:cubicBezTo>
                          <a:cubicBezTo>
                            <a:pt x="7" y="2"/>
                            <a:pt x="7" y="3"/>
                            <a:pt x="6" y="4"/>
                          </a:cubicBezTo>
                          <a:cubicBezTo>
                            <a:pt x="3" y="7"/>
                            <a:pt x="3" y="7"/>
                            <a:pt x="3" y="7"/>
                          </a:cubicBezTo>
                          <a:cubicBezTo>
                            <a:pt x="3" y="7"/>
                            <a:pt x="2" y="7"/>
                            <a:pt x="2"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01" name="Freeform 16"/>
                    <p:cNvSpPr>
                      <a:spLocks noEditPoints="1"/>
                    </p:cNvSpPr>
                    <p:nvPr/>
                  </p:nvSpPr>
                  <p:spPr bwMode="auto">
                    <a:xfrm>
                      <a:off x="3040063" y="5618163"/>
                      <a:ext cx="139700" cy="115888"/>
                    </a:xfrm>
                    <a:custGeom>
                      <a:avLst/>
                      <a:gdLst>
                        <a:gd name="T0" fmla="*/ 20 w 36"/>
                        <a:gd name="T1" fmla="*/ 30 h 30"/>
                        <a:gd name="T2" fmla="*/ 20 w 36"/>
                        <a:gd name="T3" fmla="*/ 30 h 30"/>
                        <a:gd name="T4" fmla="*/ 18 w 36"/>
                        <a:gd name="T5" fmla="*/ 28 h 30"/>
                        <a:gd name="T6" fmla="*/ 16 w 36"/>
                        <a:gd name="T7" fmla="*/ 30 h 30"/>
                        <a:gd name="T8" fmla="*/ 14 w 36"/>
                        <a:gd name="T9" fmla="*/ 28 h 30"/>
                        <a:gd name="T10" fmla="*/ 10 w 36"/>
                        <a:gd name="T11" fmla="*/ 12 h 30"/>
                        <a:gd name="T12" fmla="*/ 6 w 36"/>
                        <a:gd name="T13" fmla="*/ 12 h 30"/>
                        <a:gd name="T14" fmla="*/ 0 w 36"/>
                        <a:gd name="T15" fmla="*/ 6 h 30"/>
                        <a:gd name="T16" fmla="*/ 6 w 36"/>
                        <a:gd name="T17" fmla="*/ 0 h 30"/>
                        <a:gd name="T18" fmla="*/ 13 w 36"/>
                        <a:gd name="T19" fmla="*/ 5 h 30"/>
                        <a:gd name="T20" fmla="*/ 13 w 36"/>
                        <a:gd name="T21" fmla="*/ 8 h 30"/>
                        <a:gd name="T22" fmla="*/ 23 w 36"/>
                        <a:gd name="T23" fmla="*/ 8 h 30"/>
                        <a:gd name="T24" fmla="*/ 23 w 36"/>
                        <a:gd name="T25" fmla="*/ 5 h 30"/>
                        <a:gd name="T26" fmla="*/ 30 w 36"/>
                        <a:gd name="T27" fmla="*/ 0 h 30"/>
                        <a:gd name="T28" fmla="*/ 36 w 36"/>
                        <a:gd name="T29" fmla="*/ 6 h 30"/>
                        <a:gd name="T30" fmla="*/ 30 w 36"/>
                        <a:gd name="T31" fmla="*/ 12 h 30"/>
                        <a:gd name="T32" fmla="*/ 26 w 36"/>
                        <a:gd name="T33" fmla="*/ 12 h 30"/>
                        <a:gd name="T34" fmla="*/ 22 w 36"/>
                        <a:gd name="T35" fmla="*/ 28 h 30"/>
                        <a:gd name="T36" fmla="*/ 20 w 36"/>
                        <a:gd name="T37" fmla="*/ 30 h 30"/>
                        <a:gd name="T38" fmla="*/ 14 w 36"/>
                        <a:gd name="T39" fmla="*/ 12 h 30"/>
                        <a:gd name="T40" fmla="*/ 18 w 36"/>
                        <a:gd name="T41" fmla="*/ 28 h 30"/>
                        <a:gd name="T42" fmla="*/ 18 w 36"/>
                        <a:gd name="T43" fmla="*/ 28 h 30"/>
                        <a:gd name="T44" fmla="*/ 18 w 36"/>
                        <a:gd name="T45" fmla="*/ 28 h 30"/>
                        <a:gd name="T46" fmla="*/ 22 w 36"/>
                        <a:gd name="T47" fmla="*/ 12 h 30"/>
                        <a:gd name="T48" fmla="*/ 14 w 36"/>
                        <a:gd name="T49" fmla="*/ 12 h 30"/>
                        <a:gd name="T50" fmla="*/ 27 w 36"/>
                        <a:gd name="T51" fmla="*/ 8 h 30"/>
                        <a:gd name="T52" fmla="*/ 30 w 36"/>
                        <a:gd name="T53" fmla="*/ 8 h 30"/>
                        <a:gd name="T54" fmla="*/ 32 w 36"/>
                        <a:gd name="T55" fmla="*/ 6 h 30"/>
                        <a:gd name="T56" fmla="*/ 30 w 36"/>
                        <a:gd name="T57" fmla="*/ 4 h 30"/>
                        <a:gd name="T58" fmla="*/ 27 w 36"/>
                        <a:gd name="T59" fmla="*/ 6 h 30"/>
                        <a:gd name="T60" fmla="*/ 27 w 36"/>
                        <a:gd name="T61" fmla="*/ 8 h 30"/>
                        <a:gd name="T62" fmla="*/ 6 w 36"/>
                        <a:gd name="T63" fmla="*/ 4 h 30"/>
                        <a:gd name="T64" fmla="*/ 4 w 36"/>
                        <a:gd name="T65" fmla="*/ 6 h 30"/>
                        <a:gd name="T66" fmla="*/ 6 w 36"/>
                        <a:gd name="T67" fmla="*/ 8 h 30"/>
                        <a:gd name="T68" fmla="*/ 9 w 36"/>
                        <a:gd name="T69" fmla="*/ 8 h 30"/>
                        <a:gd name="T70" fmla="*/ 9 w 36"/>
                        <a:gd name="T71" fmla="*/ 6 h 30"/>
                        <a:gd name="T72" fmla="*/ 6 w 36"/>
                        <a:gd name="T73" fmla="*/ 4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6" h="30">
                          <a:moveTo>
                            <a:pt x="20" y="30"/>
                          </a:moveTo>
                          <a:cubicBezTo>
                            <a:pt x="20" y="30"/>
                            <a:pt x="20" y="30"/>
                            <a:pt x="20" y="30"/>
                          </a:cubicBezTo>
                          <a:cubicBezTo>
                            <a:pt x="19" y="30"/>
                            <a:pt x="18" y="29"/>
                            <a:pt x="18" y="28"/>
                          </a:cubicBezTo>
                          <a:cubicBezTo>
                            <a:pt x="18" y="29"/>
                            <a:pt x="17" y="30"/>
                            <a:pt x="16" y="30"/>
                          </a:cubicBezTo>
                          <a:cubicBezTo>
                            <a:pt x="15" y="30"/>
                            <a:pt x="14" y="30"/>
                            <a:pt x="14" y="28"/>
                          </a:cubicBezTo>
                          <a:cubicBezTo>
                            <a:pt x="10" y="12"/>
                            <a:pt x="10" y="12"/>
                            <a:pt x="10" y="12"/>
                          </a:cubicBezTo>
                          <a:cubicBezTo>
                            <a:pt x="6" y="12"/>
                            <a:pt x="6" y="12"/>
                            <a:pt x="6" y="12"/>
                          </a:cubicBezTo>
                          <a:cubicBezTo>
                            <a:pt x="3" y="12"/>
                            <a:pt x="0" y="9"/>
                            <a:pt x="0" y="6"/>
                          </a:cubicBezTo>
                          <a:cubicBezTo>
                            <a:pt x="0" y="3"/>
                            <a:pt x="3" y="0"/>
                            <a:pt x="6" y="0"/>
                          </a:cubicBezTo>
                          <a:cubicBezTo>
                            <a:pt x="9" y="0"/>
                            <a:pt x="12" y="2"/>
                            <a:pt x="13" y="5"/>
                          </a:cubicBezTo>
                          <a:cubicBezTo>
                            <a:pt x="13" y="8"/>
                            <a:pt x="13" y="8"/>
                            <a:pt x="13" y="8"/>
                          </a:cubicBezTo>
                          <a:cubicBezTo>
                            <a:pt x="23" y="8"/>
                            <a:pt x="23" y="8"/>
                            <a:pt x="23" y="8"/>
                          </a:cubicBezTo>
                          <a:cubicBezTo>
                            <a:pt x="23" y="5"/>
                            <a:pt x="23" y="5"/>
                            <a:pt x="23" y="5"/>
                          </a:cubicBezTo>
                          <a:cubicBezTo>
                            <a:pt x="24" y="2"/>
                            <a:pt x="27" y="0"/>
                            <a:pt x="30" y="0"/>
                          </a:cubicBezTo>
                          <a:cubicBezTo>
                            <a:pt x="33" y="0"/>
                            <a:pt x="36" y="3"/>
                            <a:pt x="36" y="6"/>
                          </a:cubicBezTo>
                          <a:cubicBezTo>
                            <a:pt x="36" y="9"/>
                            <a:pt x="33" y="12"/>
                            <a:pt x="30" y="12"/>
                          </a:cubicBezTo>
                          <a:cubicBezTo>
                            <a:pt x="26" y="12"/>
                            <a:pt x="26" y="12"/>
                            <a:pt x="26" y="12"/>
                          </a:cubicBezTo>
                          <a:cubicBezTo>
                            <a:pt x="22" y="28"/>
                            <a:pt x="22" y="28"/>
                            <a:pt x="22" y="28"/>
                          </a:cubicBezTo>
                          <a:cubicBezTo>
                            <a:pt x="22" y="29"/>
                            <a:pt x="21" y="30"/>
                            <a:pt x="20" y="30"/>
                          </a:cubicBezTo>
                          <a:close/>
                          <a:moveTo>
                            <a:pt x="14" y="12"/>
                          </a:moveTo>
                          <a:cubicBezTo>
                            <a:pt x="18" y="28"/>
                            <a:pt x="18" y="28"/>
                            <a:pt x="18" y="28"/>
                          </a:cubicBezTo>
                          <a:cubicBezTo>
                            <a:pt x="18" y="28"/>
                            <a:pt x="18" y="28"/>
                            <a:pt x="18" y="28"/>
                          </a:cubicBezTo>
                          <a:cubicBezTo>
                            <a:pt x="18" y="28"/>
                            <a:pt x="18" y="28"/>
                            <a:pt x="18" y="28"/>
                          </a:cubicBezTo>
                          <a:cubicBezTo>
                            <a:pt x="22" y="12"/>
                            <a:pt x="22" y="12"/>
                            <a:pt x="22" y="12"/>
                          </a:cubicBezTo>
                          <a:lnTo>
                            <a:pt x="14" y="12"/>
                          </a:lnTo>
                          <a:close/>
                          <a:moveTo>
                            <a:pt x="27" y="8"/>
                          </a:moveTo>
                          <a:cubicBezTo>
                            <a:pt x="30" y="8"/>
                            <a:pt x="30" y="8"/>
                            <a:pt x="30" y="8"/>
                          </a:cubicBezTo>
                          <a:cubicBezTo>
                            <a:pt x="31" y="8"/>
                            <a:pt x="32" y="7"/>
                            <a:pt x="32" y="6"/>
                          </a:cubicBezTo>
                          <a:cubicBezTo>
                            <a:pt x="32" y="5"/>
                            <a:pt x="31" y="4"/>
                            <a:pt x="30" y="4"/>
                          </a:cubicBezTo>
                          <a:cubicBezTo>
                            <a:pt x="29" y="4"/>
                            <a:pt x="27" y="5"/>
                            <a:pt x="27" y="6"/>
                          </a:cubicBezTo>
                          <a:lnTo>
                            <a:pt x="27" y="8"/>
                          </a:lnTo>
                          <a:close/>
                          <a:moveTo>
                            <a:pt x="6" y="4"/>
                          </a:moveTo>
                          <a:cubicBezTo>
                            <a:pt x="5" y="4"/>
                            <a:pt x="4" y="5"/>
                            <a:pt x="4" y="6"/>
                          </a:cubicBezTo>
                          <a:cubicBezTo>
                            <a:pt x="4" y="7"/>
                            <a:pt x="5" y="8"/>
                            <a:pt x="6" y="8"/>
                          </a:cubicBezTo>
                          <a:cubicBezTo>
                            <a:pt x="9" y="8"/>
                            <a:pt x="9" y="8"/>
                            <a:pt x="9" y="8"/>
                          </a:cubicBezTo>
                          <a:cubicBezTo>
                            <a:pt x="9" y="6"/>
                            <a:pt x="9" y="6"/>
                            <a:pt x="9" y="6"/>
                          </a:cubicBezTo>
                          <a:cubicBezTo>
                            <a:pt x="9" y="5"/>
                            <a:pt x="7" y="4"/>
                            <a:pt x="6"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grpSp>
            </p:grpSp>
            <p:grpSp>
              <p:nvGrpSpPr>
                <p:cNvPr id="185" name="Group 184"/>
                <p:cNvGrpSpPr/>
                <p:nvPr/>
              </p:nvGrpSpPr>
              <p:grpSpPr>
                <a:xfrm>
                  <a:off x="2637412" y="948956"/>
                  <a:ext cx="1819595" cy="303026"/>
                  <a:chOff x="2637412" y="816342"/>
                  <a:chExt cx="1819595" cy="303026"/>
                </a:xfrm>
              </p:grpSpPr>
              <p:sp>
                <p:nvSpPr>
                  <p:cNvPr id="186" name="TextBox 185"/>
                  <p:cNvSpPr txBox="1"/>
                  <p:nvPr/>
                </p:nvSpPr>
                <p:spPr>
                  <a:xfrm>
                    <a:off x="2637413" y="816342"/>
                    <a:ext cx="1447670" cy="153888"/>
                  </a:xfrm>
                  <a:prstGeom prst="rect">
                    <a:avLst/>
                  </a:prstGeom>
                  <a:noFill/>
                  <a:ln w="6350">
                    <a:noFill/>
                    <a:prstDash val="dash"/>
                  </a:ln>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E2583D"/>
                        </a:solidFill>
                        <a:effectLst/>
                        <a:uLnTx/>
                        <a:uFillTx/>
                        <a:ea typeface="+mn-ea"/>
                        <a:cs typeface="+mn-cs"/>
                      </a:rPr>
                      <a:t>START – FINISH DATE</a:t>
                    </a:r>
                  </a:p>
                </p:txBody>
              </p:sp>
              <p:sp>
                <p:nvSpPr>
                  <p:cNvPr id="187" name="TextBox 186"/>
                  <p:cNvSpPr txBox="1"/>
                  <p:nvPr/>
                </p:nvSpPr>
                <p:spPr>
                  <a:xfrm>
                    <a:off x="2637412" y="965480"/>
                    <a:ext cx="1819595" cy="153888"/>
                  </a:xfrm>
                  <a:prstGeom prst="rect">
                    <a:avLst/>
                  </a:prstGeom>
                  <a:noFill/>
                  <a:ln w="6350">
                    <a:noFill/>
                    <a:prstDash val="dash"/>
                  </a:ln>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effectLst/>
                        <a:uLnTx/>
                        <a:uFillTx/>
                        <a:ea typeface="+mn-ea"/>
                        <a:cs typeface="+mn-cs"/>
                      </a:rPr>
                      <a:t>Lorem </a:t>
                    </a:r>
                    <a:r>
                      <a:rPr kumimoji="0" lang="en-US" sz="1000" b="0" i="0" u="none" strike="noStrike" kern="1200" cap="none" spc="0" normalizeH="0" baseline="0" noProof="0" dirty="0" err="1">
                        <a:ln>
                          <a:noFill/>
                        </a:ln>
                        <a:effectLst/>
                        <a:uLnTx/>
                        <a:uFillTx/>
                        <a:ea typeface="+mn-ea"/>
                        <a:cs typeface="+mn-cs"/>
                      </a:rPr>
                      <a:t>Ipsum</a:t>
                    </a:r>
                    <a:r>
                      <a:rPr kumimoji="0" lang="en-US" sz="1000" b="0" i="0" u="none" strike="noStrike" kern="1200" cap="none" spc="0" normalizeH="0" baseline="0" noProof="0" dirty="0">
                        <a:ln>
                          <a:noFill/>
                        </a:ln>
                        <a:effectLst/>
                        <a:uLnTx/>
                        <a:uFillTx/>
                        <a:ea typeface="+mn-ea"/>
                        <a:cs typeface="+mn-cs"/>
                      </a:rPr>
                      <a:t> is simply dummy text</a:t>
                    </a:r>
                  </a:p>
                </p:txBody>
              </p:sp>
            </p:grpSp>
          </p:grpSp>
          <p:grpSp>
            <p:nvGrpSpPr>
              <p:cNvPr id="134" name="Group 133"/>
              <p:cNvGrpSpPr/>
              <p:nvPr/>
            </p:nvGrpSpPr>
            <p:grpSpPr>
              <a:xfrm>
                <a:off x="610512" y="1062887"/>
                <a:ext cx="1447670" cy="465983"/>
                <a:chOff x="431800" y="990281"/>
                <a:chExt cx="1447670" cy="465983"/>
              </a:xfrm>
            </p:grpSpPr>
            <p:sp>
              <p:nvSpPr>
                <p:cNvPr id="135" name="TextBox 134"/>
                <p:cNvSpPr txBox="1"/>
                <p:nvPr/>
              </p:nvSpPr>
              <p:spPr>
                <a:xfrm>
                  <a:off x="431800" y="990281"/>
                  <a:ext cx="371789" cy="153888"/>
                </a:xfrm>
                <a:prstGeom prst="rect">
                  <a:avLst/>
                </a:prstGeom>
                <a:noFill/>
                <a:ln w="6350">
                  <a:noFill/>
                  <a:prstDash val="dash"/>
                </a:ln>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effectLst/>
                      <a:uLnTx/>
                      <a:uFillTx/>
                      <a:ea typeface="+mn-ea"/>
                      <a:cs typeface="+mn-cs"/>
                    </a:rPr>
                    <a:t>TASK 1</a:t>
                  </a:r>
                </a:p>
              </p:txBody>
            </p:sp>
            <p:sp>
              <p:nvSpPr>
                <p:cNvPr id="182" name="TextBox 181"/>
                <p:cNvSpPr txBox="1"/>
                <p:nvPr/>
              </p:nvSpPr>
              <p:spPr>
                <a:xfrm>
                  <a:off x="431800" y="1148487"/>
                  <a:ext cx="1447670" cy="307777"/>
                </a:xfrm>
                <a:prstGeom prst="rect">
                  <a:avLst/>
                </a:prstGeom>
                <a:noFill/>
                <a:ln w="6350">
                  <a:noFill/>
                  <a:prstDash val="dash"/>
                </a:ln>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effectLst/>
                      <a:uLnTx/>
                      <a:uFillTx/>
                      <a:ea typeface="+mn-ea"/>
                      <a:cs typeface="+mn-cs"/>
                    </a:rPr>
                    <a:t>Lorem </a:t>
                  </a:r>
                  <a:r>
                    <a:rPr kumimoji="0" lang="en-US" sz="1000" b="0" i="0" u="none" strike="noStrike" kern="1200" cap="none" spc="0" normalizeH="0" baseline="0" noProof="0" dirty="0" err="1">
                      <a:ln>
                        <a:noFill/>
                      </a:ln>
                      <a:effectLst/>
                      <a:uLnTx/>
                      <a:uFillTx/>
                      <a:ea typeface="+mn-ea"/>
                      <a:cs typeface="+mn-cs"/>
                    </a:rPr>
                    <a:t>Ipsum</a:t>
                  </a:r>
                  <a:r>
                    <a:rPr kumimoji="0" lang="en-US" sz="1000" b="0" i="0" u="none" strike="noStrike" kern="1200" cap="none" spc="0" normalizeH="0" baseline="0" noProof="0" dirty="0">
                      <a:ln>
                        <a:noFill/>
                      </a:ln>
                      <a:effectLst/>
                      <a:uLnTx/>
                      <a:uFillTx/>
                      <a:ea typeface="+mn-ea"/>
                      <a:cs typeface="+mn-cs"/>
                    </a:rPr>
                    <a:t> is simply dummy text of the printing</a:t>
                  </a:r>
                </a:p>
              </p:txBody>
            </p:sp>
          </p:grpSp>
        </p:grpSp>
        <p:grpSp>
          <p:nvGrpSpPr>
            <p:cNvPr id="202" name="Group 201"/>
            <p:cNvGrpSpPr/>
            <p:nvPr/>
          </p:nvGrpSpPr>
          <p:grpSpPr>
            <a:xfrm>
              <a:off x="449630" y="2719664"/>
              <a:ext cx="5421678" cy="693106"/>
              <a:chOff x="428696" y="1784011"/>
              <a:chExt cx="5421678" cy="693106"/>
            </a:xfrm>
          </p:grpSpPr>
          <p:grpSp>
            <p:nvGrpSpPr>
              <p:cNvPr id="203" name="Group 202"/>
              <p:cNvGrpSpPr/>
              <p:nvPr/>
            </p:nvGrpSpPr>
            <p:grpSpPr>
              <a:xfrm>
                <a:off x="3306235" y="1784011"/>
                <a:ext cx="2544139" cy="596240"/>
                <a:chOff x="3169543" y="1832279"/>
                <a:chExt cx="2544139" cy="596240"/>
              </a:xfrm>
            </p:grpSpPr>
            <p:sp>
              <p:nvSpPr>
                <p:cNvPr id="209" name="Line 6"/>
                <p:cNvSpPr>
                  <a:spLocks noChangeShapeType="1"/>
                </p:cNvSpPr>
                <p:nvPr/>
              </p:nvSpPr>
              <p:spPr bwMode="auto">
                <a:xfrm>
                  <a:off x="3619602" y="2183660"/>
                  <a:ext cx="2094080" cy="0"/>
                </a:xfrm>
                <a:prstGeom prst="line">
                  <a:avLst/>
                </a:prstGeom>
                <a:noFill/>
                <a:ln w="19050" cap="rnd">
                  <a:solidFill>
                    <a:srgbClr val="AFABAB"/>
                  </a:solidFill>
                  <a:prstDash val="solid"/>
                  <a:round/>
                  <a:headEnd/>
                  <a:tailEnd type="oval"/>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10" name="Oval 209"/>
                <p:cNvSpPr>
                  <a:spLocks noChangeAspect="1"/>
                </p:cNvSpPr>
                <p:nvPr/>
              </p:nvSpPr>
              <p:spPr>
                <a:xfrm>
                  <a:off x="3169543" y="1936750"/>
                  <a:ext cx="491769" cy="491769"/>
                </a:xfrm>
                <a:prstGeom prst="ellipse">
                  <a:avLst/>
                </a:prstGeom>
                <a:solidFill>
                  <a:srgbClr val="AFABAB"/>
                </a:solidFill>
                <a:ln>
                  <a:noFill/>
                </a:ln>
                <a:effectLst>
                  <a:outerShdw blurRad="25400" dist="254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grpSp>
              <p:nvGrpSpPr>
                <p:cNvPr id="211" name="Group 210"/>
                <p:cNvGrpSpPr/>
                <p:nvPr/>
              </p:nvGrpSpPr>
              <p:grpSpPr>
                <a:xfrm>
                  <a:off x="3698378" y="1832279"/>
                  <a:ext cx="1819595" cy="303026"/>
                  <a:chOff x="2637412" y="816342"/>
                  <a:chExt cx="1819595" cy="303026"/>
                </a:xfrm>
              </p:grpSpPr>
              <p:sp>
                <p:nvSpPr>
                  <p:cNvPr id="267" name="TextBox 266"/>
                  <p:cNvSpPr txBox="1"/>
                  <p:nvPr/>
                </p:nvSpPr>
                <p:spPr>
                  <a:xfrm>
                    <a:off x="2637413" y="816342"/>
                    <a:ext cx="1447670" cy="153888"/>
                  </a:xfrm>
                  <a:prstGeom prst="rect">
                    <a:avLst/>
                  </a:prstGeom>
                  <a:noFill/>
                  <a:ln w="6350">
                    <a:noFill/>
                    <a:prstDash val="dash"/>
                  </a:ln>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AFABAB"/>
                        </a:solidFill>
                        <a:effectLst/>
                        <a:uLnTx/>
                        <a:uFillTx/>
                        <a:ea typeface="+mn-ea"/>
                        <a:cs typeface="+mn-cs"/>
                      </a:rPr>
                      <a:t>START – FINISH DATE</a:t>
                    </a:r>
                  </a:p>
                </p:txBody>
              </p:sp>
              <p:sp>
                <p:nvSpPr>
                  <p:cNvPr id="268" name="TextBox 267"/>
                  <p:cNvSpPr txBox="1"/>
                  <p:nvPr/>
                </p:nvSpPr>
                <p:spPr>
                  <a:xfrm>
                    <a:off x="2637412" y="965480"/>
                    <a:ext cx="1819595" cy="153888"/>
                  </a:xfrm>
                  <a:prstGeom prst="rect">
                    <a:avLst/>
                  </a:prstGeom>
                  <a:noFill/>
                  <a:ln w="6350">
                    <a:noFill/>
                    <a:prstDash val="dash"/>
                  </a:ln>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effectLst/>
                        <a:uLnTx/>
                        <a:uFillTx/>
                        <a:ea typeface="+mn-ea"/>
                        <a:cs typeface="+mn-cs"/>
                      </a:rPr>
                      <a:t>Lorem </a:t>
                    </a:r>
                    <a:r>
                      <a:rPr kumimoji="0" lang="en-US" sz="1000" b="0" i="0" u="none" strike="noStrike" kern="1200" cap="none" spc="0" normalizeH="0" baseline="0" noProof="0" dirty="0" err="1">
                        <a:ln>
                          <a:noFill/>
                        </a:ln>
                        <a:effectLst/>
                        <a:uLnTx/>
                        <a:uFillTx/>
                        <a:ea typeface="+mn-ea"/>
                        <a:cs typeface="+mn-cs"/>
                      </a:rPr>
                      <a:t>Ipsum</a:t>
                    </a:r>
                    <a:r>
                      <a:rPr kumimoji="0" lang="en-US" sz="1000" b="0" i="0" u="none" strike="noStrike" kern="1200" cap="none" spc="0" normalizeH="0" baseline="0" noProof="0" dirty="0">
                        <a:ln>
                          <a:noFill/>
                        </a:ln>
                        <a:effectLst/>
                        <a:uLnTx/>
                        <a:uFillTx/>
                        <a:ea typeface="+mn-ea"/>
                        <a:cs typeface="+mn-cs"/>
                      </a:rPr>
                      <a:t> is simply dummy text</a:t>
                    </a:r>
                  </a:p>
                </p:txBody>
              </p:sp>
            </p:grpSp>
            <p:grpSp>
              <p:nvGrpSpPr>
                <p:cNvPr id="212" name="Group 211"/>
                <p:cNvGrpSpPr>
                  <a:grpSpLocks noChangeAspect="1"/>
                </p:cNvGrpSpPr>
                <p:nvPr/>
              </p:nvGrpSpPr>
              <p:grpSpPr>
                <a:xfrm>
                  <a:off x="3289428" y="2056634"/>
                  <a:ext cx="251999" cy="252001"/>
                  <a:chOff x="2089154" y="4705365"/>
                  <a:chExt cx="371475" cy="371479"/>
                </a:xfrm>
                <a:solidFill>
                  <a:schemeClr val="bg1"/>
                </a:solidFill>
              </p:grpSpPr>
              <p:sp>
                <p:nvSpPr>
                  <p:cNvPr id="228" name="Freeform 20"/>
                  <p:cNvSpPr>
                    <a:spLocks noEditPoints="1"/>
                  </p:cNvSpPr>
                  <p:nvPr/>
                </p:nvSpPr>
                <p:spPr bwMode="auto">
                  <a:xfrm>
                    <a:off x="2120903" y="4791095"/>
                    <a:ext cx="254000" cy="255588"/>
                  </a:xfrm>
                  <a:custGeom>
                    <a:avLst/>
                    <a:gdLst>
                      <a:gd name="T0" fmla="*/ 14 w 66"/>
                      <a:gd name="T1" fmla="*/ 66 h 66"/>
                      <a:gd name="T2" fmla="*/ 13 w 66"/>
                      <a:gd name="T3" fmla="*/ 65 h 66"/>
                      <a:gd name="T4" fmla="*/ 1 w 66"/>
                      <a:gd name="T5" fmla="*/ 53 h 66"/>
                      <a:gd name="T6" fmla="*/ 0 w 66"/>
                      <a:gd name="T7" fmla="*/ 52 h 66"/>
                      <a:gd name="T8" fmla="*/ 1 w 66"/>
                      <a:gd name="T9" fmla="*/ 51 h 66"/>
                      <a:gd name="T10" fmla="*/ 51 w 66"/>
                      <a:gd name="T11" fmla="*/ 1 h 66"/>
                      <a:gd name="T12" fmla="*/ 52 w 66"/>
                      <a:gd name="T13" fmla="*/ 0 h 66"/>
                      <a:gd name="T14" fmla="*/ 52 w 66"/>
                      <a:gd name="T15" fmla="*/ 0 h 66"/>
                      <a:gd name="T16" fmla="*/ 53 w 66"/>
                      <a:gd name="T17" fmla="*/ 1 h 66"/>
                      <a:gd name="T18" fmla="*/ 65 w 66"/>
                      <a:gd name="T19" fmla="*/ 13 h 66"/>
                      <a:gd name="T20" fmla="*/ 65 w 66"/>
                      <a:gd name="T21" fmla="*/ 15 h 66"/>
                      <a:gd name="T22" fmla="*/ 15 w 66"/>
                      <a:gd name="T23" fmla="*/ 65 h 66"/>
                      <a:gd name="T24" fmla="*/ 14 w 66"/>
                      <a:gd name="T25" fmla="*/ 66 h 66"/>
                      <a:gd name="T26" fmla="*/ 5 w 66"/>
                      <a:gd name="T27" fmla="*/ 52 h 66"/>
                      <a:gd name="T28" fmla="*/ 14 w 66"/>
                      <a:gd name="T29" fmla="*/ 61 h 66"/>
                      <a:gd name="T30" fmla="*/ 61 w 66"/>
                      <a:gd name="T31" fmla="*/ 14 h 66"/>
                      <a:gd name="T32" fmla="*/ 52 w 66"/>
                      <a:gd name="T33" fmla="*/ 5 h 66"/>
                      <a:gd name="T34" fmla="*/ 5 w 66"/>
                      <a:gd name="T35" fmla="*/ 5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6" h="66">
                        <a:moveTo>
                          <a:pt x="14" y="66"/>
                        </a:moveTo>
                        <a:cubicBezTo>
                          <a:pt x="13" y="66"/>
                          <a:pt x="13" y="66"/>
                          <a:pt x="13" y="65"/>
                        </a:cubicBezTo>
                        <a:cubicBezTo>
                          <a:pt x="1" y="53"/>
                          <a:pt x="1" y="53"/>
                          <a:pt x="1" y="53"/>
                        </a:cubicBezTo>
                        <a:cubicBezTo>
                          <a:pt x="0" y="53"/>
                          <a:pt x="0" y="53"/>
                          <a:pt x="0" y="52"/>
                        </a:cubicBezTo>
                        <a:cubicBezTo>
                          <a:pt x="0" y="51"/>
                          <a:pt x="0" y="51"/>
                          <a:pt x="1" y="51"/>
                        </a:cubicBezTo>
                        <a:cubicBezTo>
                          <a:pt x="51" y="1"/>
                          <a:pt x="51" y="1"/>
                          <a:pt x="51" y="1"/>
                        </a:cubicBezTo>
                        <a:cubicBezTo>
                          <a:pt x="51" y="0"/>
                          <a:pt x="51" y="0"/>
                          <a:pt x="52" y="0"/>
                        </a:cubicBezTo>
                        <a:cubicBezTo>
                          <a:pt x="52" y="0"/>
                          <a:pt x="52" y="0"/>
                          <a:pt x="52" y="0"/>
                        </a:cubicBezTo>
                        <a:cubicBezTo>
                          <a:pt x="53" y="0"/>
                          <a:pt x="53" y="0"/>
                          <a:pt x="53" y="1"/>
                        </a:cubicBezTo>
                        <a:cubicBezTo>
                          <a:pt x="65" y="13"/>
                          <a:pt x="65" y="13"/>
                          <a:pt x="65" y="13"/>
                        </a:cubicBezTo>
                        <a:cubicBezTo>
                          <a:pt x="66" y="13"/>
                          <a:pt x="66" y="15"/>
                          <a:pt x="65" y="15"/>
                        </a:cubicBezTo>
                        <a:cubicBezTo>
                          <a:pt x="15" y="65"/>
                          <a:pt x="15" y="65"/>
                          <a:pt x="15" y="65"/>
                        </a:cubicBezTo>
                        <a:cubicBezTo>
                          <a:pt x="15" y="66"/>
                          <a:pt x="15" y="66"/>
                          <a:pt x="14" y="66"/>
                        </a:cubicBezTo>
                        <a:close/>
                        <a:moveTo>
                          <a:pt x="5" y="52"/>
                        </a:moveTo>
                        <a:cubicBezTo>
                          <a:pt x="14" y="61"/>
                          <a:pt x="14" y="61"/>
                          <a:pt x="14" y="61"/>
                        </a:cubicBezTo>
                        <a:cubicBezTo>
                          <a:pt x="61" y="14"/>
                          <a:pt x="61" y="14"/>
                          <a:pt x="61" y="14"/>
                        </a:cubicBezTo>
                        <a:cubicBezTo>
                          <a:pt x="52" y="5"/>
                          <a:pt x="52" y="5"/>
                          <a:pt x="52" y="5"/>
                        </a:cubicBezTo>
                        <a:lnTo>
                          <a:pt x="5"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54" name="Freeform 21"/>
                  <p:cNvSpPr>
                    <a:spLocks/>
                  </p:cNvSpPr>
                  <p:nvPr/>
                </p:nvSpPr>
                <p:spPr bwMode="auto">
                  <a:xfrm>
                    <a:off x="2263779" y="4902219"/>
                    <a:ext cx="196850" cy="174625"/>
                  </a:xfrm>
                  <a:custGeom>
                    <a:avLst/>
                    <a:gdLst>
                      <a:gd name="T0" fmla="*/ 41 w 51"/>
                      <a:gd name="T1" fmla="*/ 45 h 45"/>
                      <a:gd name="T2" fmla="*/ 40 w 51"/>
                      <a:gd name="T3" fmla="*/ 45 h 45"/>
                      <a:gd name="T4" fmla="*/ 39 w 51"/>
                      <a:gd name="T5" fmla="*/ 45 h 45"/>
                      <a:gd name="T6" fmla="*/ 38 w 51"/>
                      <a:gd name="T7" fmla="*/ 44 h 45"/>
                      <a:gd name="T8" fmla="*/ 1 w 51"/>
                      <a:gd name="T9" fmla="*/ 11 h 45"/>
                      <a:gd name="T10" fmla="*/ 1 w 51"/>
                      <a:gd name="T11" fmla="*/ 8 h 45"/>
                      <a:gd name="T12" fmla="*/ 4 w 51"/>
                      <a:gd name="T13" fmla="*/ 8 h 45"/>
                      <a:gd name="T14" fmla="*/ 40 w 51"/>
                      <a:gd name="T15" fmla="*/ 41 h 45"/>
                      <a:gd name="T16" fmla="*/ 40 w 51"/>
                      <a:gd name="T17" fmla="*/ 41 h 45"/>
                      <a:gd name="T18" fmla="*/ 46 w 51"/>
                      <a:gd name="T19" fmla="*/ 40 h 45"/>
                      <a:gd name="T20" fmla="*/ 47 w 51"/>
                      <a:gd name="T21" fmla="*/ 34 h 45"/>
                      <a:gd name="T22" fmla="*/ 9 w 51"/>
                      <a:gd name="T23" fmla="*/ 4 h 45"/>
                      <a:gd name="T24" fmla="*/ 8 w 51"/>
                      <a:gd name="T25" fmla="*/ 1 h 45"/>
                      <a:gd name="T26" fmla="*/ 11 w 51"/>
                      <a:gd name="T27" fmla="*/ 0 h 45"/>
                      <a:gd name="T28" fmla="*/ 50 w 51"/>
                      <a:gd name="T29" fmla="*/ 31 h 45"/>
                      <a:gd name="T30" fmla="*/ 51 w 51"/>
                      <a:gd name="T31" fmla="*/ 33 h 45"/>
                      <a:gd name="T32" fmla="*/ 48 w 51"/>
                      <a:gd name="T33" fmla="*/ 43 h 45"/>
                      <a:gd name="T34" fmla="*/ 41 w 51"/>
                      <a:gd name="T35" fmla="*/ 45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1" h="45">
                        <a:moveTo>
                          <a:pt x="41" y="45"/>
                        </a:moveTo>
                        <a:cubicBezTo>
                          <a:pt x="41" y="45"/>
                          <a:pt x="41" y="45"/>
                          <a:pt x="40" y="45"/>
                        </a:cubicBezTo>
                        <a:cubicBezTo>
                          <a:pt x="39" y="45"/>
                          <a:pt x="39" y="45"/>
                          <a:pt x="39" y="45"/>
                        </a:cubicBezTo>
                        <a:cubicBezTo>
                          <a:pt x="38" y="45"/>
                          <a:pt x="38" y="45"/>
                          <a:pt x="38" y="44"/>
                        </a:cubicBezTo>
                        <a:cubicBezTo>
                          <a:pt x="1" y="11"/>
                          <a:pt x="1" y="11"/>
                          <a:pt x="1" y="11"/>
                        </a:cubicBezTo>
                        <a:cubicBezTo>
                          <a:pt x="1" y="10"/>
                          <a:pt x="0" y="9"/>
                          <a:pt x="1" y="8"/>
                        </a:cubicBezTo>
                        <a:cubicBezTo>
                          <a:pt x="2" y="7"/>
                          <a:pt x="3" y="7"/>
                          <a:pt x="4" y="8"/>
                        </a:cubicBezTo>
                        <a:cubicBezTo>
                          <a:pt x="40" y="41"/>
                          <a:pt x="40" y="41"/>
                          <a:pt x="40" y="41"/>
                        </a:cubicBezTo>
                        <a:cubicBezTo>
                          <a:pt x="40" y="41"/>
                          <a:pt x="40" y="41"/>
                          <a:pt x="40" y="41"/>
                        </a:cubicBezTo>
                        <a:cubicBezTo>
                          <a:pt x="43" y="41"/>
                          <a:pt x="45" y="41"/>
                          <a:pt x="46" y="40"/>
                        </a:cubicBezTo>
                        <a:cubicBezTo>
                          <a:pt x="46" y="39"/>
                          <a:pt x="47" y="37"/>
                          <a:pt x="47" y="34"/>
                        </a:cubicBezTo>
                        <a:cubicBezTo>
                          <a:pt x="9" y="4"/>
                          <a:pt x="9" y="4"/>
                          <a:pt x="9" y="4"/>
                        </a:cubicBezTo>
                        <a:cubicBezTo>
                          <a:pt x="8" y="3"/>
                          <a:pt x="8" y="2"/>
                          <a:pt x="8" y="1"/>
                        </a:cubicBezTo>
                        <a:cubicBezTo>
                          <a:pt x="9" y="0"/>
                          <a:pt x="10" y="0"/>
                          <a:pt x="11" y="0"/>
                        </a:cubicBezTo>
                        <a:cubicBezTo>
                          <a:pt x="50" y="31"/>
                          <a:pt x="50" y="31"/>
                          <a:pt x="50" y="31"/>
                        </a:cubicBezTo>
                        <a:cubicBezTo>
                          <a:pt x="51" y="32"/>
                          <a:pt x="51" y="32"/>
                          <a:pt x="51" y="33"/>
                        </a:cubicBezTo>
                        <a:cubicBezTo>
                          <a:pt x="51" y="38"/>
                          <a:pt x="50" y="41"/>
                          <a:pt x="48" y="43"/>
                        </a:cubicBezTo>
                        <a:cubicBezTo>
                          <a:pt x="47" y="45"/>
                          <a:pt x="44" y="45"/>
                          <a:pt x="41" y="4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61" name="Freeform 22"/>
                  <p:cNvSpPr>
                    <a:spLocks/>
                  </p:cNvSpPr>
                  <p:nvPr/>
                </p:nvSpPr>
                <p:spPr bwMode="auto">
                  <a:xfrm>
                    <a:off x="2352680" y="4767281"/>
                    <a:ext cx="100013" cy="139701"/>
                  </a:xfrm>
                  <a:custGeom>
                    <a:avLst/>
                    <a:gdLst>
                      <a:gd name="T0" fmla="*/ 2 w 26"/>
                      <a:gd name="T1" fmla="*/ 36 h 36"/>
                      <a:gd name="T2" fmla="*/ 1 w 26"/>
                      <a:gd name="T3" fmla="*/ 35 h 36"/>
                      <a:gd name="T4" fmla="*/ 1 w 26"/>
                      <a:gd name="T5" fmla="*/ 33 h 36"/>
                      <a:gd name="T6" fmla="*/ 21 w 26"/>
                      <a:gd name="T7" fmla="*/ 13 h 36"/>
                      <a:gd name="T8" fmla="*/ 22 w 26"/>
                      <a:gd name="T9" fmla="*/ 8 h 36"/>
                      <a:gd name="T10" fmla="*/ 21 w 26"/>
                      <a:gd name="T11" fmla="*/ 3 h 36"/>
                      <a:gd name="T12" fmla="*/ 21 w 26"/>
                      <a:gd name="T13" fmla="*/ 1 h 36"/>
                      <a:gd name="T14" fmla="*/ 23 w 26"/>
                      <a:gd name="T15" fmla="*/ 1 h 36"/>
                      <a:gd name="T16" fmla="*/ 26 w 26"/>
                      <a:gd name="T17" fmla="*/ 8 h 36"/>
                      <a:gd name="T18" fmla="*/ 23 w 26"/>
                      <a:gd name="T19" fmla="*/ 15 h 36"/>
                      <a:gd name="T20" fmla="*/ 3 w 26"/>
                      <a:gd name="T21" fmla="*/ 35 h 36"/>
                      <a:gd name="T22" fmla="*/ 2 w 26"/>
                      <a:gd name="T23"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36">
                        <a:moveTo>
                          <a:pt x="2" y="36"/>
                        </a:moveTo>
                        <a:cubicBezTo>
                          <a:pt x="1" y="36"/>
                          <a:pt x="1" y="36"/>
                          <a:pt x="1" y="35"/>
                        </a:cubicBezTo>
                        <a:cubicBezTo>
                          <a:pt x="0" y="35"/>
                          <a:pt x="0" y="33"/>
                          <a:pt x="1" y="33"/>
                        </a:cubicBezTo>
                        <a:cubicBezTo>
                          <a:pt x="21" y="13"/>
                          <a:pt x="21" y="13"/>
                          <a:pt x="21" y="13"/>
                        </a:cubicBezTo>
                        <a:cubicBezTo>
                          <a:pt x="22" y="11"/>
                          <a:pt x="22" y="10"/>
                          <a:pt x="22" y="8"/>
                        </a:cubicBezTo>
                        <a:cubicBezTo>
                          <a:pt x="22" y="6"/>
                          <a:pt x="22" y="5"/>
                          <a:pt x="21" y="3"/>
                        </a:cubicBezTo>
                        <a:cubicBezTo>
                          <a:pt x="20" y="3"/>
                          <a:pt x="20" y="1"/>
                          <a:pt x="21" y="1"/>
                        </a:cubicBezTo>
                        <a:cubicBezTo>
                          <a:pt x="21" y="0"/>
                          <a:pt x="23" y="0"/>
                          <a:pt x="23" y="1"/>
                        </a:cubicBezTo>
                        <a:cubicBezTo>
                          <a:pt x="25" y="2"/>
                          <a:pt x="26" y="5"/>
                          <a:pt x="26" y="8"/>
                        </a:cubicBezTo>
                        <a:cubicBezTo>
                          <a:pt x="26" y="11"/>
                          <a:pt x="25" y="14"/>
                          <a:pt x="23" y="15"/>
                        </a:cubicBezTo>
                        <a:cubicBezTo>
                          <a:pt x="3" y="35"/>
                          <a:pt x="3" y="35"/>
                          <a:pt x="3" y="35"/>
                        </a:cubicBezTo>
                        <a:cubicBezTo>
                          <a:pt x="3" y="36"/>
                          <a:pt x="3" y="36"/>
                          <a:pt x="2"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62" name="Freeform 23"/>
                  <p:cNvSpPr>
                    <a:spLocks/>
                  </p:cNvSpPr>
                  <p:nvPr/>
                </p:nvSpPr>
                <p:spPr bwMode="auto">
                  <a:xfrm>
                    <a:off x="2089154" y="5033975"/>
                    <a:ext cx="42863" cy="42863"/>
                  </a:xfrm>
                  <a:custGeom>
                    <a:avLst/>
                    <a:gdLst>
                      <a:gd name="T0" fmla="*/ 2 w 11"/>
                      <a:gd name="T1" fmla="*/ 11 h 11"/>
                      <a:gd name="T2" fmla="*/ 1 w 11"/>
                      <a:gd name="T3" fmla="*/ 10 h 11"/>
                      <a:gd name="T4" fmla="*/ 1 w 11"/>
                      <a:gd name="T5" fmla="*/ 8 h 11"/>
                      <a:gd name="T6" fmla="*/ 8 w 11"/>
                      <a:gd name="T7" fmla="*/ 1 h 11"/>
                      <a:gd name="T8" fmla="*/ 10 w 11"/>
                      <a:gd name="T9" fmla="*/ 1 h 11"/>
                      <a:gd name="T10" fmla="*/ 10 w 11"/>
                      <a:gd name="T11" fmla="*/ 3 h 11"/>
                      <a:gd name="T12" fmla="*/ 3 w 11"/>
                      <a:gd name="T13" fmla="*/ 10 h 11"/>
                      <a:gd name="T14" fmla="*/ 2 w 11"/>
                      <a:gd name="T15" fmla="*/ 11 h 1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11">
                        <a:moveTo>
                          <a:pt x="2" y="11"/>
                        </a:moveTo>
                        <a:cubicBezTo>
                          <a:pt x="1" y="11"/>
                          <a:pt x="1" y="11"/>
                          <a:pt x="1" y="10"/>
                        </a:cubicBezTo>
                        <a:cubicBezTo>
                          <a:pt x="0" y="10"/>
                          <a:pt x="0" y="8"/>
                          <a:pt x="1" y="8"/>
                        </a:cubicBezTo>
                        <a:cubicBezTo>
                          <a:pt x="8" y="1"/>
                          <a:pt x="8" y="1"/>
                          <a:pt x="8" y="1"/>
                        </a:cubicBezTo>
                        <a:cubicBezTo>
                          <a:pt x="8" y="0"/>
                          <a:pt x="10" y="0"/>
                          <a:pt x="10" y="1"/>
                        </a:cubicBezTo>
                        <a:cubicBezTo>
                          <a:pt x="11" y="1"/>
                          <a:pt x="11" y="3"/>
                          <a:pt x="10" y="3"/>
                        </a:cubicBezTo>
                        <a:cubicBezTo>
                          <a:pt x="3" y="10"/>
                          <a:pt x="3" y="10"/>
                          <a:pt x="3" y="10"/>
                        </a:cubicBezTo>
                        <a:cubicBezTo>
                          <a:pt x="3" y="11"/>
                          <a:pt x="3" y="11"/>
                          <a:pt x="2"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63" name="Freeform 24"/>
                  <p:cNvSpPr>
                    <a:spLocks noEditPoints="1"/>
                  </p:cNvSpPr>
                  <p:nvPr/>
                </p:nvSpPr>
                <p:spPr bwMode="auto">
                  <a:xfrm>
                    <a:off x="2312991" y="4705365"/>
                    <a:ext cx="147638" cy="147639"/>
                  </a:xfrm>
                  <a:custGeom>
                    <a:avLst/>
                    <a:gdLst>
                      <a:gd name="T0" fmla="*/ 14 w 38"/>
                      <a:gd name="T1" fmla="*/ 38 h 38"/>
                      <a:gd name="T2" fmla="*/ 13 w 38"/>
                      <a:gd name="T3" fmla="*/ 37 h 38"/>
                      <a:gd name="T4" fmla="*/ 1 w 38"/>
                      <a:gd name="T5" fmla="*/ 25 h 38"/>
                      <a:gd name="T6" fmla="*/ 1 w 38"/>
                      <a:gd name="T7" fmla="*/ 23 h 38"/>
                      <a:gd name="T8" fmla="*/ 23 w 38"/>
                      <a:gd name="T9" fmla="*/ 1 h 38"/>
                      <a:gd name="T10" fmla="*/ 25 w 38"/>
                      <a:gd name="T11" fmla="*/ 1 h 38"/>
                      <a:gd name="T12" fmla="*/ 37 w 38"/>
                      <a:gd name="T13" fmla="*/ 13 h 38"/>
                      <a:gd name="T14" fmla="*/ 37 w 38"/>
                      <a:gd name="T15" fmla="*/ 15 h 38"/>
                      <a:gd name="T16" fmla="*/ 15 w 38"/>
                      <a:gd name="T17" fmla="*/ 37 h 38"/>
                      <a:gd name="T18" fmla="*/ 14 w 38"/>
                      <a:gd name="T19" fmla="*/ 38 h 38"/>
                      <a:gd name="T20" fmla="*/ 5 w 38"/>
                      <a:gd name="T21" fmla="*/ 24 h 38"/>
                      <a:gd name="T22" fmla="*/ 14 w 38"/>
                      <a:gd name="T23" fmla="*/ 33 h 38"/>
                      <a:gd name="T24" fmla="*/ 33 w 38"/>
                      <a:gd name="T25" fmla="*/ 14 h 38"/>
                      <a:gd name="T26" fmla="*/ 24 w 38"/>
                      <a:gd name="T27" fmla="*/ 5 h 38"/>
                      <a:gd name="T28" fmla="*/ 5 w 38"/>
                      <a:gd name="T29" fmla="*/ 24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8" h="38">
                        <a:moveTo>
                          <a:pt x="14" y="38"/>
                        </a:moveTo>
                        <a:cubicBezTo>
                          <a:pt x="13" y="38"/>
                          <a:pt x="13" y="38"/>
                          <a:pt x="13" y="37"/>
                        </a:cubicBezTo>
                        <a:cubicBezTo>
                          <a:pt x="1" y="25"/>
                          <a:pt x="1" y="25"/>
                          <a:pt x="1" y="25"/>
                        </a:cubicBezTo>
                        <a:cubicBezTo>
                          <a:pt x="0" y="25"/>
                          <a:pt x="0" y="23"/>
                          <a:pt x="1" y="23"/>
                        </a:cubicBezTo>
                        <a:cubicBezTo>
                          <a:pt x="23" y="1"/>
                          <a:pt x="23" y="1"/>
                          <a:pt x="23" y="1"/>
                        </a:cubicBezTo>
                        <a:cubicBezTo>
                          <a:pt x="23" y="0"/>
                          <a:pt x="25" y="0"/>
                          <a:pt x="25" y="1"/>
                        </a:cubicBezTo>
                        <a:cubicBezTo>
                          <a:pt x="37" y="13"/>
                          <a:pt x="37" y="13"/>
                          <a:pt x="37" y="13"/>
                        </a:cubicBezTo>
                        <a:cubicBezTo>
                          <a:pt x="38" y="13"/>
                          <a:pt x="38" y="15"/>
                          <a:pt x="37" y="15"/>
                        </a:cubicBezTo>
                        <a:cubicBezTo>
                          <a:pt x="15" y="37"/>
                          <a:pt x="15" y="37"/>
                          <a:pt x="15" y="37"/>
                        </a:cubicBezTo>
                        <a:cubicBezTo>
                          <a:pt x="15" y="38"/>
                          <a:pt x="15" y="38"/>
                          <a:pt x="14" y="38"/>
                        </a:cubicBezTo>
                        <a:close/>
                        <a:moveTo>
                          <a:pt x="5" y="24"/>
                        </a:moveTo>
                        <a:cubicBezTo>
                          <a:pt x="14" y="33"/>
                          <a:pt x="14" y="33"/>
                          <a:pt x="14" y="33"/>
                        </a:cubicBezTo>
                        <a:cubicBezTo>
                          <a:pt x="33" y="14"/>
                          <a:pt x="33" y="14"/>
                          <a:pt x="33" y="14"/>
                        </a:cubicBezTo>
                        <a:cubicBezTo>
                          <a:pt x="24" y="5"/>
                          <a:pt x="24" y="5"/>
                          <a:pt x="24" y="5"/>
                        </a:cubicBezTo>
                        <a:lnTo>
                          <a:pt x="5"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64" name="Freeform 25"/>
                  <p:cNvSpPr>
                    <a:spLocks/>
                  </p:cNvSpPr>
                  <p:nvPr/>
                </p:nvSpPr>
                <p:spPr bwMode="auto">
                  <a:xfrm>
                    <a:off x="2105027" y="4995882"/>
                    <a:ext cx="65088" cy="65088"/>
                  </a:xfrm>
                  <a:custGeom>
                    <a:avLst/>
                    <a:gdLst>
                      <a:gd name="T0" fmla="*/ 8 w 17"/>
                      <a:gd name="T1" fmla="*/ 17 h 17"/>
                      <a:gd name="T2" fmla="*/ 8 w 17"/>
                      <a:gd name="T3" fmla="*/ 17 h 17"/>
                      <a:gd name="T4" fmla="*/ 7 w 17"/>
                      <a:gd name="T5" fmla="*/ 16 h 17"/>
                      <a:gd name="T6" fmla="*/ 1 w 17"/>
                      <a:gd name="T7" fmla="*/ 10 h 17"/>
                      <a:gd name="T8" fmla="*/ 1 w 17"/>
                      <a:gd name="T9" fmla="*/ 8 h 17"/>
                      <a:gd name="T10" fmla="*/ 8 w 17"/>
                      <a:gd name="T11" fmla="*/ 1 h 17"/>
                      <a:gd name="T12" fmla="*/ 10 w 17"/>
                      <a:gd name="T13" fmla="*/ 1 h 17"/>
                      <a:gd name="T14" fmla="*/ 10 w 17"/>
                      <a:gd name="T15" fmla="*/ 3 h 17"/>
                      <a:gd name="T16" fmla="*/ 5 w 17"/>
                      <a:gd name="T17" fmla="*/ 9 h 17"/>
                      <a:gd name="T18" fmla="*/ 8 w 17"/>
                      <a:gd name="T19" fmla="*/ 12 h 17"/>
                      <a:gd name="T20" fmla="*/ 14 w 17"/>
                      <a:gd name="T21" fmla="*/ 7 h 17"/>
                      <a:gd name="T22" fmla="*/ 16 w 17"/>
                      <a:gd name="T23" fmla="*/ 7 h 17"/>
                      <a:gd name="T24" fmla="*/ 16 w 17"/>
                      <a:gd name="T25" fmla="*/ 9 h 17"/>
                      <a:gd name="T26" fmla="*/ 9 w 17"/>
                      <a:gd name="T27" fmla="*/ 16 h 17"/>
                      <a:gd name="T28" fmla="*/ 8 w 17"/>
                      <a:gd name="T29" fmla="*/ 1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7" h="17">
                        <a:moveTo>
                          <a:pt x="8" y="17"/>
                        </a:moveTo>
                        <a:cubicBezTo>
                          <a:pt x="8" y="17"/>
                          <a:pt x="8" y="17"/>
                          <a:pt x="8" y="17"/>
                        </a:cubicBezTo>
                        <a:cubicBezTo>
                          <a:pt x="7" y="17"/>
                          <a:pt x="7" y="17"/>
                          <a:pt x="7" y="16"/>
                        </a:cubicBezTo>
                        <a:cubicBezTo>
                          <a:pt x="1" y="10"/>
                          <a:pt x="1" y="10"/>
                          <a:pt x="1" y="10"/>
                        </a:cubicBezTo>
                        <a:cubicBezTo>
                          <a:pt x="0" y="10"/>
                          <a:pt x="0" y="8"/>
                          <a:pt x="1" y="8"/>
                        </a:cubicBezTo>
                        <a:cubicBezTo>
                          <a:pt x="8" y="1"/>
                          <a:pt x="8" y="1"/>
                          <a:pt x="8" y="1"/>
                        </a:cubicBezTo>
                        <a:cubicBezTo>
                          <a:pt x="8" y="0"/>
                          <a:pt x="10" y="0"/>
                          <a:pt x="10" y="1"/>
                        </a:cubicBezTo>
                        <a:cubicBezTo>
                          <a:pt x="11" y="1"/>
                          <a:pt x="11" y="3"/>
                          <a:pt x="10" y="3"/>
                        </a:cubicBezTo>
                        <a:cubicBezTo>
                          <a:pt x="5" y="9"/>
                          <a:pt x="5" y="9"/>
                          <a:pt x="5" y="9"/>
                        </a:cubicBezTo>
                        <a:cubicBezTo>
                          <a:pt x="8" y="12"/>
                          <a:pt x="8" y="12"/>
                          <a:pt x="8" y="12"/>
                        </a:cubicBezTo>
                        <a:cubicBezTo>
                          <a:pt x="14" y="7"/>
                          <a:pt x="14" y="7"/>
                          <a:pt x="14" y="7"/>
                        </a:cubicBezTo>
                        <a:cubicBezTo>
                          <a:pt x="14" y="6"/>
                          <a:pt x="16" y="6"/>
                          <a:pt x="16" y="7"/>
                        </a:cubicBezTo>
                        <a:cubicBezTo>
                          <a:pt x="17" y="7"/>
                          <a:pt x="17" y="9"/>
                          <a:pt x="16" y="9"/>
                        </a:cubicBezTo>
                        <a:cubicBezTo>
                          <a:pt x="9" y="16"/>
                          <a:pt x="9" y="16"/>
                          <a:pt x="9" y="16"/>
                        </a:cubicBezTo>
                        <a:cubicBezTo>
                          <a:pt x="9" y="17"/>
                          <a:pt x="9" y="17"/>
                          <a:pt x="8" y="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65" name="Freeform 26"/>
                  <p:cNvSpPr>
                    <a:spLocks noEditPoints="1"/>
                  </p:cNvSpPr>
                  <p:nvPr/>
                </p:nvSpPr>
                <p:spPr bwMode="auto">
                  <a:xfrm>
                    <a:off x="2089154" y="4705375"/>
                    <a:ext cx="150814" cy="182564"/>
                  </a:xfrm>
                  <a:custGeom>
                    <a:avLst/>
                    <a:gdLst>
                      <a:gd name="T0" fmla="*/ 23 w 39"/>
                      <a:gd name="T1" fmla="*/ 47 h 47"/>
                      <a:gd name="T2" fmla="*/ 4 w 39"/>
                      <a:gd name="T3" fmla="*/ 32 h 47"/>
                      <a:gd name="T4" fmla="*/ 11 w 39"/>
                      <a:gd name="T5" fmla="*/ 1 h 47"/>
                      <a:gd name="T6" fmla="*/ 13 w 39"/>
                      <a:gd name="T7" fmla="*/ 0 h 47"/>
                      <a:gd name="T8" fmla="*/ 14 w 39"/>
                      <a:gd name="T9" fmla="*/ 2 h 47"/>
                      <a:gd name="T10" fmla="*/ 25 w 39"/>
                      <a:gd name="T11" fmla="*/ 15 h 47"/>
                      <a:gd name="T12" fmla="*/ 32 w 39"/>
                      <a:gd name="T13" fmla="*/ 18 h 47"/>
                      <a:gd name="T14" fmla="*/ 38 w 39"/>
                      <a:gd name="T15" fmla="*/ 28 h 47"/>
                      <a:gd name="T16" fmla="*/ 35 w 39"/>
                      <a:gd name="T17" fmla="*/ 40 h 47"/>
                      <a:gd name="T18" fmla="*/ 23 w 39"/>
                      <a:gd name="T19" fmla="*/ 47 h 47"/>
                      <a:gd name="T20" fmla="*/ 10 w 39"/>
                      <a:gd name="T21" fmla="*/ 7 h 47"/>
                      <a:gd name="T22" fmla="*/ 8 w 39"/>
                      <a:gd name="T23" fmla="*/ 30 h 47"/>
                      <a:gd name="T24" fmla="*/ 23 w 39"/>
                      <a:gd name="T25" fmla="*/ 43 h 47"/>
                      <a:gd name="T26" fmla="*/ 32 w 39"/>
                      <a:gd name="T27" fmla="*/ 38 h 47"/>
                      <a:gd name="T28" fmla="*/ 34 w 39"/>
                      <a:gd name="T29" fmla="*/ 29 h 47"/>
                      <a:gd name="T30" fmla="*/ 30 w 39"/>
                      <a:gd name="T31" fmla="*/ 21 h 47"/>
                      <a:gd name="T32" fmla="*/ 24 w 39"/>
                      <a:gd name="T33" fmla="*/ 19 h 47"/>
                      <a:gd name="T34" fmla="*/ 10 w 39"/>
                      <a:gd name="T35" fmla="*/ 7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9" h="47">
                        <a:moveTo>
                          <a:pt x="23" y="47"/>
                        </a:moveTo>
                        <a:cubicBezTo>
                          <a:pt x="16" y="47"/>
                          <a:pt x="8" y="41"/>
                          <a:pt x="4" y="32"/>
                        </a:cubicBezTo>
                        <a:cubicBezTo>
                          <a:pt x="0" y="20"/>
                          <a:pt x="2" y="9"/>
                          <a:pt x="11" y="1"/>
                        </a:cubicBezTo>
                        <a:cubicBezTo>
                          <a:pt x="11" y="0"/>
                          <a:pt x="12" y="0"/>
                          <a:pt x="13" y="0"/>
                        </a:cubicBezTo>
                        <a:cubicBezTo>
                          <a:pt x="14" y="1"/>
                          <a:pt x="14" y="1"/>
                          <a:pt x="14" y="2"/>
                        </a:cubicBezTo>
                        <a:cubicBezTo>
                          <a:pt x="14" y="11"/>
                          <a:pt x="19" y="13"/>
                          <a:pt x="25" y="15"/>
                        </a:cubicBezTo>
                        <a:cubicBezTo>
                          <a:pt x="27" y="16"/>
                          <a:pt x="30" y="16"/>
                          <a:pt x="32" y="18"/>
                        </a:cubicBezTo>
                        <a:cubicBezTo>
                          <a:pt x="35" y="20"/>
                          <a:pt x="38" y="24"/>
                          <a:pt x="38" y="28"/>
                        </a:cubicBezTo>
                        <a:cubicBezTo>
                          <a:pt x="39" y="33"/>
                          <a:pt x="38" y="37"/>
                          <a:pt x="35" y="40"/>
                        </a:cubicBezTo>
                        <a:cubicBezTo>
                          <a:pt x="31" y="46"/>
                          <a:pt x="26" y="47"/>
                          <a:pt x="23" y="47"/>
                        </a:cubicBezTo>
                        <a:close/>
                        <a:moveTo>
                          <a:pt x="10" y="7"/>
                        </a:moveTo>
                        <a:cubicBezTo>
                          <a:pt x="5" y="14"/>
                          <a:pt x="4" y="22"/>
                          <a:pt x="8" y="30"/>
                        </a:cubicBezTo>
                        <a:cubicBezTo>
                          <a:pt x="11" y="38"/>
                          <a:pt x="17" y="43"/>
                          <a:pt x="23" y="43"/>
                        </a:cubicBezTo>
                        <a:cubicBezTo>
                          <a:pt x="26" y="43"/>
                          <a:pt x="29" y="41"/>
                          <a:pt x="32" y="38"/>
                        </a:cubicBezTo>
                        <a:cubicBezTo>
                          <a:pt x="34" y="36"/>
                          <a:pt x="35" y="32"/>
                          <a:pt x="34" y="29"/>
                        </a:cubicBezTo>
                        <a:cubicBezTo>
                          <a:pt x="34" y="26"/>
                          <a:pt x="32" y="23"/>
                          <a:pt x="30" y="21"/>
                        </a:cubicBezTo>
                        <a:cubicBezTo>
                          <a:pt x="28" y="20"/>
                          <a:pt x="26" y="19"/>
                          <a:pt x="24" y="19"/>
                        </a:cubicBezTo>
                        <a:cubicBezTo>
                          <a:pt x="19" y="17"/>
                          <a:pt x="12" y="15"/>
                          <a:pt x="10"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66" name="Freeform 27"/>
                  <p:cNvSpPr>
                    <a:spLocks/>
                  </p:cNvSpPr>
                  <p:nvPr/>
                </p:nvSpPr>
                <p:spPr bwMode="auto">
                  <a:xfrm>
                    <a:off x="2193925" y="4840289"/>
                    <a:ext cx="65088" cy="61913"/>
                  </a:xfrm>
                  <a:custGeom>
                    <a:avLst/>
                    <a:gdLst>
                      <a:gd name="T0" fmla="*/ 8 w 17"/>
                      <a:gd name="T1" fmla="*/ 16 h 16"/>
                      <a:gd name="T2" fmla="*/ 7 w 17"/>
                      <a:gd name="T3" fmla="*/ 15 h 16"/>
                      <a:gd name="T4" fmla="*/ 1 w 17"/>
                      <a:gd name="T5" fmla="*/ 10 h 16"/>
                      <a:gd name="T6" fmla="*/ 0 w 17"/>
                      <a:gd name="T7" fmla="*/ 8 h 16"/>
                      <a:gd name="T8" fmla="*/ 1 w 17"/>
                      <a:gd name="T9" fmla="*/ 7 h 16"/>
                      <a:gd name="T10" fmla="*/ 5 w 17"/>
                      <a:gd name="T11" fmla="*/ 3 h 16"/>
                      <a:gd name="T12" fmla="*/ 6 w 17"/>
                      <a:gd name="T13" fmla="*/ 1 h 16"/>
                      <a:gd name="T14" fmla="*/ 6 w 17"/>
                      <a:gd name="T15" fmla="*/ 1 h 16"/>
                      <a:gd name="T16" fmla="*/ 9 w 17"/>
                      <a:gd name="T17" fmla="*/ 1 h 16"/>
                      <a:gd name="T18" fmla="*/ 16 w 17"/>
                      <a:gd name="T19" fmla="*/ 6 h 16"/>
                      <a:gd name="T20" fmla="*/ 16 w 17"/>
                      <a:gd name="T21" fmla="*/ 9 h 16"/>
                      <a:gd name="T22" fmla="*/ 13 w 17"/>
                      <a:gd name="T23" fmla="*/ 9 h 16"/>
                      <a:gd name="T24" fmla="*/ 8 w 17"/>
                      <a:gd name="T25" fmla="*/ 5 h 16"/>
                      <a:gd name="T26" fmla="*/ 8 w 17"/>
                      <a:gd name="T27" fmla="*/ 5 h 16"/>
                      <a:gd name="T28" fmla="*/ 5 w 17"/>
                      <a:gd name="T29" fmla="*/ 8 h 16"/>
                      <a:gd name="T30" fmla="*/ 10 w 17"/>
                      <a:gd name="T31" fmla="*/ 12 h 16"/>
                      <a:gd name="T32" fmla="*/ 10 w 17"/>
                      <a:gd name="T33" fmla="*/ 15 h 16"/>
                      <a:gd name="T34" fmla="*/ 8 w 17"/>
                      <a:gd name="T35" fmla="*/ 1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 h="16">
                        <a:moveTo>
                          <a:pt x="8" y="16"/>
                        </a:moveTo>
                        <a:cubicBezTo>
                          <a:pt x="8" y="16"/>
                          <a:pt x="7" y="16"/>
                          <a:pt x="7" y="15"/>
                        </a:cubicBezTo>
                        <a:cubicBezTo>
                          <a:pt x="1" y="10"/>
                          <a:pt x="1" y="10"/>
                          <a:pt x="1" y="10"/>
                        </a:cubicBezTo>
                        <a:cubicBezTo>
                          <a:pt x="1" y="9"/>
                          <a:pt x="0" y="9"/>
                          <a:pt x="0" y="8"/>
                        </a:cubicBezTo>
                        <a:cubicBezTo>
                          <a:pt x="0" y="8"/>
                          <a:pt x="1" y="7"/>
                          <a:pt x="1" y="7"/>
                        </a:cubicBezTo>
                        <a:cubicBezTo>
                          <a:pt x="3" y="6"/>
                          <a:pt x="4" y="5"/>
                          <a:pt x="5" y="3"/>
                        </a:cubicBezTo>
                        <a:cubicBezTo>
                          <a:pt x="5" y="3"/>
                          <a:pt x="6" y="2"/>
                          <a:pt x="6" y="1"/>
                        </a:cubicBezTo>
                        <a:cubicBezTo>
                          <a:pt x="6" y="1"/>
                          <a:pt x="6" y="1"/>
                          <a:pt x="6" y="1"/>
                        </a:cubicBezTo>
                        <a:cubicBezTo>
                          <a:pt x="7" y="0"/>
                          <a:pt x="8" y="0"/>
                          <a:pt x="9" y="1"/>
                        </a:cubicBezTo>
                        <a:cubicBezTo>
                          <a:pt x="16" y="6"/>
                          <a:pt x="16" y="6"/>
                          <a:pt x="16" y="6"/>
                        </a:cubicBezTo>
                        <a:cubicBezTo>
                          <a:pt x="17" y="7"/>
                          <a:pt x="17" y="8"/>
                          <a:pt x="16" y="9"/>
                        </a:cubicBezTo>
                        <a:cubicBezTo>
                          <a:pt x="15" y="10"/>
                          <a:pt x="14" y="10"/>
                          <a:pt x="13" y="9"/>
                        </a:cubicBezTo>
                        <a:cubicBezTo>
                          <a:pt x="8" y="5"/>
                          <a:pt x="8" y="5"/>
                          <a:pt x="8" y="5"/>
                        </a:cubicBezTo>
                        <a:cubicBezTo>
                          <a:pt x="8" y="5"/>
                          <a:pt x="8" y="5"/>
                          <a:pt x="8" y="5"/>
                        </a:cubicBezTo>
                        <a:cubicBezTo>
                          <a:pt x="7" y="7"/>
                          <a:pt x="6" y="8"/>
                          <a:pt x="5" y="8"/>
                        </a:cubicBezTo>
                        <a:cubicBezTo>
                          <a:pt x="10" y="12"/>
                          <a:pt x="10" y="12"/>
                          <a:pt x="10" y="12"/>
                        </a:cubicBezTo>
                        <a:cubicBezTo>
                          <a:pt x="10" y="13"/>
                          <a:pt x="10" y="14"/>
                          <a:pt x="10" y="15"/>
                        </a:cubicBezTo>
                        <a:cubicBezTo>
                          <a:pt x="9" y="16"/>
                          <a:pt x="9" y="16"/>
                          <a:pt x="8"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grpSp>
          </p:grpSp>
          <p:grpSp>
            <p:nvGrpSpPr>
              <p:cNvPr id="204" name="Group 203"/>
              <p:cNvGrpSpPr/>
              <p:nvPr/>
            </p:nvGrpSpPr>
            <p:grpSpPr>
              <a:xfrm>
                <a:off x="428696" y="1784011"/>
                <a:ext cx="1811303" cy="693106"/>
                <a:chOff x="428696" y="1837130"/>
                <a:chExt cx="1811303" cy="693106"/>
              </a:xfrm>
            </p:grpSpPr>
            <p:sp>
              <p:nvSpPr>
                <p:cNvPr id="205" name="Rectangle 204"/>
                <p:cNvSpPr/>
                <p:nvPr/>
              </p:nvSpPr>
              <p:spPr>
                <a:xfrm>
                  <a:off x="428696" y="1837130"/>
                  <a:ext cx="1811303" cy="693106"/>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grpSp>
              <p:nvGrpSpPr>
                <p:cNvPr id="206" name="Group 205"/>
                <p:cNvGrpSpPr/>
                <p:nvPr/>
              </p:nvGrpSpPr>
              <p:grpSpPr>
                <a:xfrm>
                  <a:off x="610512" y="1950692"/>
                  <a:ext cx="1447670" cy="465983"/>
                  <a:chOff x="431800" y="990281"/>
                  <a:chExt cx="1447670" cy="465983"/>
                </a:xfrm>
              </p:grpSpPr>
              <p:sp>
                <p:nvSpPr>
                  <p:cNvPr id="207" name="TextBox 206"/>
                  <p:cNvSpPr txBox="1"/>
                  <p:nvPr/>
                </p:nvSpPr>
                <p:spPr>
                  <a:xfrm>
                    <a:off x="431800" y="990281"/>
                    <a:ext cx="371789" cy="153888"/>
                  </a:xfrm>
                  <a:prstGeom prst="rect">
                    <a:avLst/>
                  </a:prstGeom>
                  <a:noFill/>
                  <a:ln w="6350">
                    <a:noFill/>
                    <a:prstDash val="dash"/>
                  </a:ln>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effectLst/>
                        <a:uLnTx/>
                        <a:uFillTx/>
                        <a:ea typeface="+mn-ea"/>
                        <a:cs typeface="+mn-cs"/>
                      </a:rPr>
                      <a:t>TASK 2</a:t>
                    </a:r>
                  </a:p>
                </p:txBody>
              </p:sp>
              <p:sp>
                <p:nvSpPr>
                  <p:cNvPr id="208" name="TextBox 207"/>
                  <p:cNvSpPr txBox="1"/>
                  <p:nvPr/>
                </p:nvSpPr>
                <p:spPr>
                  <a:xfrm>
                    <a:off x="431800" y="1148487"/>
                    <a:ext cx="1447670" cy="307777"/>
                  </a:xfrm>
                  <a:prstGeom prst="rect">
                    <a:avLst/>
                  </a:prstGeom>
                  <a:noFill/>
                  <a:ln w="6350">
                    <a:noFill/>
                    <a:prstDash val="dash"/>
                  </a:ln>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effectLst/>
                        <a:uLnTx/>
                        <a:uFillTx/>
                        <a:ea typeface="+mn-ea"/>
                        <a:cs typeface="+mn-cs"/>
                      </a:rPr>
                      <a:t>Lorem </a:t>
                    </a:r>
                    <a:r>
                      <a:rPr kumimoji="0" lang="en-US" sz="1000" b="0" i="0" u="none" strike="noStrike" kern="1200" cap="none" spc="0" normalizeH="0" baseline="0" noProof="0" dirty="0" err="1">
                        <a:ln>
                          <a:noFill/>
                        </a:ln>
                        <a:effectLst/>
                        <a:uLnTx/>
                        <a:uFillTx/>
                        <a:ea typeface="+mn-ea"/>
                        <a:cs typeface="+mn-cs"/>
                      </a:rPr>
                      <a:t>Ipsum</a:t>
                    </a:r>
                    <a:r>
                      <a:rPr kumimoji="0" lang="en-US" sz="1000" b="0" i="0" u="none" strike="noStrike" kern="1200" cap="none" spc="0" normalizeH="0" baseline="0" noProof="0" dirty="0">
                        <a:ln>
                          <a:noFill/>
                        </a:ln>
                        <a:effectLst/>
                        <a:uLnTx/>
                        <a:uFillTx/>
                        <a:ea typeface="+mn-ea"/>
                        <a:cs typeface="+mn-cs"/>
                      </a:rPr>
                      <a:t> is simply dummy text of the printing</a:t>
                    </a:r>
                  </a:p>
                </p:txBody>
              </p:sp>
            </p:grpSp>
          </p:grpSp>
        </p:grpSp>
        <p:grpSp>
          <p:nvGrpSpPr>
            <p:cNvPr id="269" name="Group 268"/>
            <p:cNvGrpSpPr/>
            <p:nvPr/>
          </p:nvGrpSpPr>
          <p:grpSpPr>
            <a:xfrm>
              <a:off x="449630" y="5090287"/>
              <a:ext cx="4697233" cy="693106"/>
              <a:chOff x="428696" y="4288071"/>
              <a:chExt cx="4697233" cy="693106"/>
            </a:xfrm>
          </p:grpSpPr>
          <p:grpSp>
            <p:nvGrpSpPr>
              <p:cNvPr id="270" name="Group 269"/>
              <p:cNvGrpSpPr/>
              <p:nvPr/>
            </p:nvGrpSpPr>
            <p:grpSpPr>
              <a:xfrm>
                <a:off x="2753363" y="4288071"/>
                <a:ext cx="2372566" cy="596240"/>
                <a:chOff x="2616671" y="4481679"/>
                <a:chExt cx="2372566" cy="596240"/>
              </a:xfrm>
            </p:grpSpPr>
            <p:sp>
              <p:nvSpPr>
                <p:cNvPr id="276" name="Line 6"/>
                <p:cNvSpPr>
                  <a:spLocks noChangeShapeType="1"/>
                </p:cNvSpPr>
                <p:nvPr/>
              </p:nvSpPr>
              <p:spPr bwMode="auto">
                <a:xfrm>
                  <a:off x="2649785" y="4833991"/>
                  <a:ext cx="2339452" cy="0"/>
                </a:xfrm>
                <a:prstGeom prst="line">
                  <a:avLst/>
                </a:prstGeom>
                <a:noFill/>
                <a:ln w="19050" cap="rnd">
                  <a:solidFill>
                    <a:srgbClr val="E2583D"/>
                  </a:solidFill>
                  <a:prstDash val="solid"/>
                  <a:round/>
                  <a:headEnd/>
                  <a:tailEnd type="oval"/>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77" name="Oval 276"/>
                <p:cNvSpPr>
                  <a:spLocks noChangeAspect="1"/>
                </p:cNvSpPr>
                <p:nvPr/>
              </p:nvSpPr>
              <p:spPr>
                <a:xfrm>
                  <a:off x="2616671" y="4586150"/>
                  <a:ext cx="491769" cy="491769"/>
                </a:xfrm>
                <a:prstGeom prst="ellipse">
                  <a:avLst/>
                </a:prstGeom>
                <a:solidFill>
                  <a:srgbClr val="E2583D"/>
                </a:solidFill>
                <a:ln>
                  <a:noFill/>
                </a:ln>
                <a:effectLst>
                  <a:outerShdw blurRad="25400" dist="254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grpSp>
              <p:nvGrpSpPr>
                <p:cNvPr id="278" name="Group 277"/>
                <p:cNvGrpSpPr/>
                <p:nvPr/>
              </p:nvGrpSpPr>
              <p:grpSpPr>
                <a:xfrm>
                  <a:off x="3145506" y="4481679"/>
                  <a:ext cx="1819595" cy="303026"/>
                  <a:chOff x="2637412" y="816342"/>
                  <a:chExt cx="1819595" cy="303026"/>
                </a:xfrm>
              </p:grpSpPr>
              <p:sp>
                <p:nvSpPr>
                  <p:cNvPr id="285" name="TextBox 284"/>
                  <p:cNvSpPr txBox="1"/>
                  <p:nvPr/>
                </p:nvSpPr>
                <p:spPr>
                  <a:xfrm>
                    <a:off x="2637413" y="816342"/>
                    <a:ext cx="1447670" cy="153888"/>
                  </a:xfrm>
                  <a:prstGeom prst="rect">
                    <a:avLst/>
                  </a:prstGeom>
                  <a:noFill/>
                  <a:ln w="6350">
                    <a:noFill/>
                    <a:prstDash val="dash"/>
                  </a:ln>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E2583D"/>
                        </a:solidFill>
                        <a:effectLst/>
                        <a:uLnTx/>
                        <a:uFillTx/>
                        <a:ea typeface="+mn-ea"/>
                        <a:cs typeface="+mn-cs"/>
                      </a:rPr>
                      <a:t>START – FINISH DATE</a:t>
                    </a:r>
                  </a:p>
                </p:txBody>
              </p:sp>
              <p:sp>
                <p:nvSpPr>
                  <p:cNvPr id="286" name="TextBox 285"/>
                  <p:cNvSpPr txBox="1"/>
                  <p:nvPr/>
                </p:nvSpPr>
                <p:spPr>
                  <a:xfrm>
                    <a:off x="2637412" y="965480"/>
                    <a:ext cx="1819595" cy="153888"/>
                  </a:xfrm>
                  <a:prstGeom prst="rect">
                    <a:avLst/>
                  </a:prstGeom>
                  <a:noFill/>
                  <a:ln w="6350">
                    <a:noFill/>
                    <a:prstDash val="dash"/>
                  </a:ln>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3B3939"/>
                        </a:solidFill>
                        <a:effectLst/>
                        <a:uLnTx/>
                        <a:uFillTx/>
                        <a:ea typeface="+mn-ea"/>
                        <a:cs typeface="+mn-cs"/>
                      </a:rPr>
                      <a:t>Lorem </a:t>
                    </a:r>
                    <a:r>
                      <a:rPr kumimoji="0" lang="en-US" sz="1000" b="0" i="0" u="none" strike="noStrike" kern="1200" cap="none" spc="0" normalizeH="0" baseline="0" noProof="0" dirty="0" err="1">
                        <a:ln>
                          <a:noFill/>
                        </a:ln>
                        <a:solidFill>
                          <a:srgbClr val="3B3939"/>
                        </a:solidFill>
                        <a:effectLst/>
                        <a:uLnTx/>
                        <a:uFillTx/>
                        <a:ea typeface="+mn-ea"/>
                        <a:cs typeface="+mn-cs"/>
                      </a:rPr>
                      <a:t>Ipsum</a:t>
                    </a:r>
                    <a:r>
                      <a:rPr kumimoji="0" lang="en-US" sz="1000" b="0" i="0" u="none" strike="noStrike" kern="1200" cap="none" spc="0" normalizeH="0" baseline="0" noProof="0" dirty="0">
                        <a:ln>
                          <a:noFill/>
                        </a:ln>
                        <a:solidFill>
                          <a:srgbClr val="3B3939"/>
                        </a:solidFill>
                        <a:effectLst/>
                        <a:uLnTx/>
                        <a:uFillTx/>
                        <a:ea typeface="+mn-ea"/>
                        <a:cs typeface="+mn-cs"/>
                      </a:rPr>
                      <a:t> is simply dummy text</a:t>
                    </a:r>
                  </a:p>
                </p:txBody>
              </p:sp>
            </p:grpSp>
            <p:grpSp>
              <p:nvGrpSpPr>
                <p:cNvPr id="279" name="Group 278"/>
                <p:cNvGrpSpPr>
                  <a:grpSpLocks noChangeAspect="1"/>
                </p:cNvGrpSpPr>
                <p:nvPr/>
              </p:nvGrpSpPr>
              <p:grpSpPr>
                <a:xfrm>
                  <a:off x="2737094" y="4706035"/>
                  <a:ext cx="250923" cy="251999"/>
                  <a:chOff x="5218112" y="4595827"/>
                  <a:chExt cx="369887" cy="371475"/>
                </a:xfrm>
                <a:solidFill>
                  <a:schemeClr val="bg1"/>
                </a:solidFill>
              </p:grpSpPr>
              <p:sp>
                <p:nvSpPr>
                  <p:cNvPr id="280" name="Freeform 31"/>
                  <p:cNvSpPr>
                    <a:spLocks noEditPoints="1"/>
                  </p:cNvSpPr>
                  <p:nvPr/>
                </p:nvSpPr>
                <p:spPr bwMode="auto">
                  <a:xfrm>
                    <a:off x="5218112" y="4595827"/>
                    <a:ext cx="369887" cy="247651"/>
                  </a:xfrm>
                  <a:custGeom>
                    <a:avLst/>
                    <a:gdLst>
                      <a:gd name="T0" fmla="*/ 94 w 96"/>
                      <a:gd name="T1" fmla="*/ 64 h 64"/>
                      <a:gd name="T2" fmla="*/ 2 w 96"/>
                      <a:gd name="T3" fmla="*/ 64 h 64"/>
                      <a:gd name="T4" fmla="*/ 0 w 96"/>
                      <a:gd name="T5" fmla="*/ 62 h 64"/>
                      <a:gd name="T6" fmla="*/ 0 w 96"/>
                      <a:gd name="T7" fmla="*/ 2 h 64"/>
                      <a:gd name="T8" fmla="*/ 2 w 96"/>
                      <a:gd name="T9" fmla="*/ 0 h 64"/>
                      <a:gd name="T10" fmla="*/ 94 w 96"/>
                      <a:gd name="T11" fmla="*/ 0 h 64"/>
                      <a:gd name="T12" fmla="*/ 96 w 96"/>
                      <a:gd name="T13" fmla="*/ 2 h 64"/>
                      <a:gd name="T14" fmla="*/ 96 w 96"/>
                      <a:gd name="T15" fmla="*/ 62 h 64"/>
                      <a:gd name="T16" fmla="*/ 94 w 96"/>
                      <a:gd name="T17" fmla="*/ 64 h 64"/>
                      <a:gd name="T18" fmla="*/ 4 w 96"/>
                      <a:gd name="T19" fmla="*/ 60 h 64"/>
                      <a:gd name="T20" fmla="*/ 92 w 96"/>
                      <a:gd name="T21" fmla="*/ 60 h 64"/>
                      <a:gd name="T22" fmla="*/ 92 w 96"/>
                      <a:gd name="T23" fmla="*/ 4 h 64"/>
                      <a:gd name="T24" fmla="*/ 4 w 96"/>
                      <a:gd name="T25" fmla="*/ 4 h 64"/>
                      <a:gd name="T26" fmla="*/ 4 w 96"/>
                      <a:gd name="T2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6" h="64">
                        <a:moveTo>
                          <a:pt x="94" y="64"/>
                        </a:moveTo>
                        <a:cubicBezTo>
                          <a:pt x="2" y="64"/>
                          <a:pt x="2" y="64"/>
                          <a:pt x="2" y="64"/>
                        </a:cubicBezTo>
                        <a:cubicBezTo>
                          <a:pt x="1" y="64"/>
                          <a:pt x="0" y="63"/>
                          <a:pt x="0" y="62"/>
                        </a:cubicBezTo>
                        <a:cubicBezTo>
                          <a:pt x="0" y="2"/>
                          <a:pt x="0" y="2"/>
                          <a:pt x="0" y="2"/>
                        </a:cubicBezTo>
                        <a:cubicBezTo>
                          <a:pt x="0" y="1"/>
                          <a:pt x="1" y="0"/>
                          <a:pt x="2" y="0"/>
                        </a:cubicBezTo>
                        <a:cubicBezTo>
                          <a:pt x="94" y="0"/>
                          <a:pt x="94" y="0"/>
                          <a:pt x="94" y="0"/>
                        </a:cubicBezTo>
                        <a:cubicBezTo>
                          <a:pt x="95" y="0"/>
                          <a:pt x="96" y="1"/>
                          <a:pt x="96" y="2"/>
                        </a:cubicBezTo>
                        <a:cubicBezTo>
                          <a:pt x="96" y="62"/>
                          <a:pt x="96" y="62"/>
                          <a:pt x="96" y="62"/>
                        </a:cubicBezTo>
                        <a:cubicBezTo>
                          <a:pt x="96" y="63"/>
                          <a:pt x="95" y="64"/>
                          <a:pt x="94" y="64"/>
                        </a:cubicBezTo>
                        <a:close/>
                        <a:moveTo>
                          <a:pt x="4" y="60"/>
                        </a:moveTo>
                        <a:cubicBezTo>
                          <a:pt x="92" y="60"/>
                          <a:pt x="92" y="60"/>
                          <a:pt x="92" y="60"/>
                        </a:cubicBezTo>
                        <a:cubicBezTo>
                          <a:pt x="92" y="4"/>
                          <a:pt x="92" y="4"/>
                          <a:pt x="92" y="4"/>
                        </a:cubicBezTo>
                        <a:cubicBezTo>
                          <a:pt x="4" y="4"/>
                          <a:pt x="4" y="4"/>
                          <a:pt x="4" y="4"/>
                        </a:cubicBezTo>
                        <a:lnTo>
                          <a:pt x="4"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81" name="Freeform 32"/>
                  <p:cNvSpPr>
                    <a:spLocks/>
                  </p:cNvSpPr>
                  <p:nvPr/>
                </p:nvSpPr>
                <p:spPr bwMode="auto">
                  <a:xfrm>
                    <a:off x="5387974" y="4827603"/>
                    <a:ext cx="15875" cy="61913"/>
                  </a:xfrm>
                  <a:custGeom>
                    <a:avLst/>
                    <a:gdLst>
                      <a:gd name="T0" fmla="*/ 2 w 4"/>
                      <a:gd name="T1" fmla="*/ 16 h 16"/>
                      <a:gd name="T2" fmla="*/ 0 w 4"/>
                      <a:gd name="T3" fmla="*/ 14 h 16"/>
                      <a:gd name="T4" fmla="*/ 0 w 4"/>
                      <a:gd name="T5" fmla="*/ 2 h 16"/>
                      <a:gd name="T6" fmla="*/ 2 w 4"/>
                      <a:gd name="T7" fmla="*/ 0 h 16"/>
                      <a:gd name="T8" fmla="*/ 4 w 4"/>
                      <a:gd name="T9" fmla="*/ 2 h 16"/>
                      <a:gd name="T10" fmla="*/ 4 w 4"/>
                      <a:gd name="T11" fmla="*/ 14 h 16"/>
                      <a:gd name="T12" fmla="*/ 2 w 4"/>
                      <a:gd name="T13" fmla="*/ 16 h 16"/>
                    </a:gdLst>
                    <a:ahLst/>
                    <a:cxnLst>
                      <a:cxn ang="0">
                        <a:pos x="T0" y="T1"/>
                      </a:cxn>
                      <a:cxn ang="0">
                        <a:pos x="T2" y="T3"/>
                      </a:cxn>
                      <a:cxn ang="0">
                        <a:pos x="T4" y="T5"/>
                      </a:cxn>
                      <a:cxn ang="0">
                        <a:pos x="T6" y="T7"/>
                      </a:cxn>
                      <a:cxn ang="0">
                        <a:pos x="T8" y="T9"/>
                      </a:cxn>
                      <a:cxn ang="0">
                        <a:pos x="T10" y="T11"/>
                      </a:cxn>
                      <a:cxn ang="0">
                        <a:pos x="T12" y="T13"/>
                      </a:cxn>
                    </a:cxnLst>
                    <a:rect l="0" t="0" r="r" b="b"/>
                    <a:pathLst>
                      <a:path w="4" h="16">
                        <a:moveTo>
                          <a:pt x="2" y="16"/>
                        </a:moveTo>
                        <a:cubicBezTo>
                          <a:pt x="1" y="16"/>
                          <a:pt x="0" y="15"/>
                          <a:pt x="0" y="14"/>
                        </a:cubicBezTo>
                        <a:cubicBezTo>
                          <a:pt x="0" y="2"/>
                          <a:pt x="0" y="2"/>
                          <a:pt x="0" y="2"/>
                        </a:cubicBezTo>
                        <a:cubicBezTo>
                          <a:pt x="0" y="1"/>
                          <a:pt x="1" y="0"/>
                          <a:pt x="2" y="0"/>
                        </a:cubicBezTo>
                        <a:cubicBezTo>
                          <a:pt x="3" y="0"/>
                          <a:pt x="4" y="1"/>
                          <a:pt x="4" y="2"/>
                        </a:cubicBezTo>
                        <a:cubicBezTo>
                          <a:pt x="4" y="14"/>
                          <a:pt x="4" y="14"/>
                          <a:pt x="4" y="14"/>
                        </a:cubicBezTo>
                        <a:cubicBezTo>
                          <a:pt x="4" y="15"/>
                          <a:pt x="3" y="16"/>
                          <a:pt x="2"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82" name="Freeform 33"/>
                  <p:cNvSpPr>
                    <a:spLocks/>
                  </p:cNvSpPr>
                  <p:nvPr/>
                </p:nvSpPr>
                <p:spPr bwMode="auto">
                  <a:xfrm>
                    <a:off x="5310187" y="4875226"/>
                    <a:ext cx="169863" cy="92076"/>
                  </a:xfrm>
                  <a:custGeom>
                    <a:avLst/>
                    <a:gdLst>
                      <a:gd name="T0" fmla="*/ 42 w 44"/>
                      <a:gd name="T1" fmla="*/ 24 h 24"/>
                      <a:gd name="T2" fmla="*/ 41 w 44"/>
                      <a:gd name="T3" fmla="*/ 23 h 24"/>
                      <a:gd name="T4" fmla="*/ 22 w 44"/>
                      <a:gd name="T5" fmla="*/ 5 h 24"/>
                      <a:gd name="T6" fmla="*/ 3 w 44"/>
                      <a:gd name="T7" fmla="*/ 23 h 24"/>
                      <a:gd name="T8" fmla="*/ 1 w 44"/>
                      <a:gd name="T9" fmla="*/ 23 h 24"/>
                      <a:gd name="T10" fmla="*/ 1 w 44"/>
                      <a:gd name="T11" fmla="*/ 21 h 24"/>
                      <a:gd name="T12" fmla="*/ 21 w 44"/>
                      <a:gd name="T13" fmla="*/ 1 h 24"/>
                      <a:gd name="T14" fmla="*/ 23 w 44"/>
                      <a:gd name="T15" fmla="*/ 1 h 24"/>
                      <a:gd name="T16" fmla="*/ 43 w 44"/>
                      <a:gd name="T17" fmla="*/ 21 h 24"/>
                      <a:gd name="T18" fmla="*/ 43 w 44"/>
                      <a:gd name="T19" fmla="*/ 23 h 24"/>
                      <a:gd name="T20" fmla="*/ 42 w 44"/>
                      <a:gd name="T21"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4" h="24">
                        <a:moveTo>
                          <a:pt x="42" y="24"/>
                        </a:moveTo>
                        <a:cubicBezTo>
                          <a:pt x="41" y="24"/>
                          <a:pt x="41" y="24"/>
                          <a:pt x="41" y="23"/>
                        </a:cubicBezTo>
                        <a:cubicBezTo>
                          <a:pt x="22" y="5"/>
                          <a:pt x="22" y="5"/>
                          <a:pt x="22" y="5"/>
                        </a:cubicBezTo>
                        <a:cubicBezTo>
                          <a:pt x="3" y="23"/>
                          <a:pt x="3" y="23"/>
                          <a:pt x="3" y="23"/>
                        </a:cubicBezTo>
                        <a:cubicBezTo>
                          <a:pt x="3" y="24"/>
                          <a:pt x="1" y="24"/>
                          <a:pt x="1" y="23"/>
                        </a:cubicBezTo>
                        <a:cubicBezTo>
                          <a:pt x="0" y="23"/>
                          <a:pt x="0" y="21"/>
                          <a:pt x="1" y="21"/>
                        </a:cubicBezTo>
                        <a:cubicBezTo>
                          <a:pt x="21" y="1"/>
                          <a:pt x="21" y="1"/>
                          <a:pt x="21" y="1"/>
                        </a:cubicBezTo>
                        <a:cubicBezTo>
                          <a:pt x="21" y="0"/>
                          <a:pt x="23" y="0"/>
                          <a:pt x="23" y="1"/>
                        </a:cubicBezTo>
                        <a:cubicBezTo>
                          <a:pt x="43" y="21"/>
                          <a:pt x="43" y="21"/>
                          <a:pt x="43" y="21"/>
                        </a:cubicBezTo>
                        <a:cubicBezTo>
                          <a:pt x="44" y="21"/>
                          <a:pt x="44" y="23"/>
                          <a:pt x="43" y="23"/>
                        </a:cubicBezTo>
                        <a:cubicBezTo>
                          <a:pt x="43" y="24"/>
                          <a:pt x="43" y="24"/>
                          <a:pt x="42" y="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83" name="Freeform 34"/>
                  <p:cNvSpPr>
                    <a:spLocks/>
                  </p:cNvSpPr>
                  <p:nvPr/>
                </p:nvSpPr>
                <p:spPr bwMode="auto">
                  <a:xfrm>
                    <a:off x="5248272" y="4657739"/>
                    <a:ext cx="263524" cy="107951"/>
                  </a:xfrm>
                  <a:custGeom>
                    <a:avLst/>
                    <a:gdLst>
                      <a:gd name="T0" fmla="*/ 34 w 68"/>
                      <a:gd name="T1" fmla="*/ 28 h 28"/>
                      <a:gd name="T2" fmla="*/ 34 w 68"/>
                      <a:gd name="T3" fmla="*/ 28 h 28"/>
                      <a:gd name="T4" fmla="*/ 32 w 68"/>
                      <a:gd name="T5" fmla="*/ 27 h 28"/>
                      <a:gd name="T6" fmla="*/ 26 w 68"/>
                      <a:gd name="T7" fmla="*/ 12 h 28"/>
                      <a:gd name="T8" fmla="*/ 20 w 68"/>
                      <a:gd name="T9" fmla="*/ 19 h 28"/>
                      <a:gd name="T10" fmla="*/ 18 w 68"/>
                      <a:gd name="T11" fmla="*/ 20 h 28"/>
                      <a:gd name="T12" fmla="*/ 2 w 68"/>
                      <a:gd name="T13" fmla="*/ 20 h 28"/>
                      <a:gd name="T14" fmla="*/ 0 w 68"/>
                      <a:gd name="T15" fmla="*/ 18 h 28"/>
                      <a:gd name="T16" fmla="*/ 2 w 68"/>
                      <a:gd name="T17" fmla="*/ 16 h 28"/>
                      <a:gd name="T18" fmla="*/ 17 w 68"/>
                      <a:gd name="T19" fmla="*/ 16 h 28"/>
                      <a:gd name="T20" fmla="*/ 24 w 68"/>
                      <a:gd name="T21" fmla="*/ 7 h 28"/>
                      <a:gd name="T22" fmla="*/ 26 w 68"/>
                      <a:gd name="T23" fmla="*/ 6 h 28"/>
                      <a:gd name="T24" fmla="*/ 28 w 68"/>
                      <a:gd name="T25" fmla="*/ 7 h 28"/>
                      <a:gd name="T26" fmla="*/ 35 w 68"/>
                      <a:gd name="T27" fmla="*/ 22 h 28"/>
                      <a:gd name="T28" fmla="*/ 42 w 68"/>
                      <a:gd name="T29" fmla="*/ 13 h 28"/>
                      <a:gd name="T30" fmla="*/ 44 w 68"/>
                      <a:gd name="T31" fmla="*/ 12 h 28"/>
                      <a:gd name="T32" fmla="*/ 45 w 68"/>
                      <a:gd name="T33" fmla="*/ 13 h 28"/>
                      <a:gd name="T34" fmla="*/ 52 w 68"/>
                      <a:gd name="T35" fmla="*/ 19 h 28"/>
                      <a:gd name="T36" fmla="*/ 64 w 68"/>
                      <a:gd name="T37" fmla="*/ 1 h 28"/>
                      <a:gd name="T38" fmla="*/ 67 w 68"/>
                      <a:gd name="T39" fmla="*/ 0 h 28"/>
                      <a:gd name="T40" fmla="*/ 68 w 68"/>
                      <a:gd name="T41" fmla="*/ 3 h 28"/>
                      <a:gd name="T42" fmla="*/ 54 w 68"/>
                      <a:gd name="T43" fmla="*/ 23 h 28"/>
                      <a:gd name="T44" fmla="*/ 52 w 68"/>
                      <a:gd name="T45" fmla="*/ 24 h 28"/>
                      <a:gd name="T46" fmla="*/ 51 w 68"/>
                      <a:gd name="T47" fmla="*/ 23 h 28"/>
                      <a:gd name="T48" fmla="*/ 44 w 68"/>
                      <a:gd name="T49" fmla="*/ 17 h 28"/>
                      <a:gd name="T50" fmla="*/ 36 w 68"/>
                      <a:gd name="T51" fmla="*/ 27 h 28"/>
                      <a:gd name="T52" fmla="*/ 34 w 68"/>
                      <a:gd name="T53"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8" h="28">
                        <a:moveTo>
                          <a:pt x="34" y="28"/>
                        </a:moveTo>
                        <a:cubicBezTo>
                          <a:pt x="34" y="28"/>
                          <a:pt x="34" y="28"/>
                          <a:pt x="34" y="28"/>
                        </a:cubicBezTo>
                        <a:cubicBezTo>
                          <a:pt x="33" y="28"/>
                          <a:pt x="32" y="27"/>
                          <a:pt x="32" y="27"/>
                        </a:cubicBezTo>
                        <a:cubicBezTo>
                          <a:pt x="26" y="12"/>
                          <a:pt x="26" y="12"/>
                          <a:pt x="26" y="12"/>
                        </a:cubicBezTo>
                        <a:cubicBezTo>
                          <a:pt x="20" y="19"/>
                          <a:pt x="20" y="19"/>
                          <a:pt x="20" y="19"/>
                        </a:cubicBezTo>
                        <a:cubicBezTo>
                          <a:pt x="19" y="20"/>
                          <a:pt x="19" y="20"/>
                          <a:pt x="18" y="20"/>
                        </a:cubicBezTo>
                        <a:cubicBezTo>
                          <a:pt x="2" y="20"/>
                          <a:pt x="2" y="20"/>
                          <a:pt x="2" y="20"/>
                        </a:cubicBezTo>
                        <a:cubicBezTo>
                          <a:pt x="1" y="20"/>
                          <a:pt x="0" y="19"/>
                          <a:pt x="0" y="18"/>
                        </a:cubicBezTo>
                        <a:cubicBezTo>
                          <a:pt x="0" y="17"/>
                          <a:pt x="1" y="16"/>
                          <a:pt x="2" y="16"/>
                        </a:cubicBezTo>
                        <a:cubicBezTo>
                          <a:pt x="17" y="16"/>
                          <a:pt x="17" y="16"/>
                          <a:pt x="17" y="16"/>
                        </a:cubicBezTo>
                        <a:cubicBezTo>
                          <a:pt x="24" y="7"/>
                          <a:pt x="24" y="7"/>
                          <a:pt x="24" y="7"/>
                        </a:cubicBezTo>
                        <a:cubicBezTo>
                          <a:pt x="25" y="6"/>
                          <a:pt x="26" y="6"/>
                          <a:pt x="26" y="6"/>
                        </a:cubicBezTo>
                        <a:cubicBezTo>
                          <a:pt x="27" y="6"/>
                          <a:pt x="28" y="7"/>
                          <a:pt x="28" y="7"/>
                        </a:cubicBezTo>
                        <a:cubicBezTo>
                          <a:pt x="35" y="22"/>
                          <a:pt x="35" y="22"/>
                          <a:pt x="35" y="22"/>
                        </a:cubicBezTo>
                        <a:cubicBezTo>
                          <a:pt x="42" y="13"/>
                          <a:pt x="42" y="13"/>
                          <a:pt x="42" y="13"/>
                        </a:cubicBezTo>
                        <a:cubicBezTo>
                          <a:pt x="43" y="12"/>
                          <a:pt x="43" y="12"/>
                          <a:pt x="44" y="12"/>
                        </a:cubicBezTo>
                        <a:cubicBezTo>
                          <a:pt x="44" y="12"/>
                          <a:pt x="45" y="12"/>
                          <a:pt x="45" y="13"/>
                        </a:cubicBezTo>
                        <a:cubicBezTo>
                          <a:pt x="52" y="19"/>
                          <a:pt x="52" y="19"/>
                          <a:pt x="52" y="19"/>
                        </a:cubicBezTo>
                        <a:cubicBezTo>
                          <a:pt x="64" y="1"/>
                          <a:pt x="64" y="1"/>
                          <a:pt x="64" y="1"/>
                        </a:cubicBezTo>
                        <a:cubicBezTo>
                          <a:pt x="65" y="0"/>
                          <a:pt x="66" y="0"/>
                          <a:pt x="67" y="0"/>
                        </a:cubicBezTo>
                        <a:cubicBezTo>
                          <a:pt x="68" y="1"/>
                          <a:pt x="68" y="2"/>
                          <a:pt x="68" y="3"/>
                        </a:cubicBezTo>
                        <a:cubicBezTo>
                          <a:pt x="54" y="23"/>
                          <a:pt x="54" y="23"/>
                          <a:pt x="54" y="23"/>
                        </a:cubicBezTo>
                        <a:cubicBezTo>
                          <a:pt x="53" y="24"/>
                          <a:pt x="53" y="24"/>
                          <a:pt x="52" y="24"/>
                        </a:cubicBezTo>
                        <a:cubicBezTo>
                          <a:pt x="52" y="24"/>
                          <a:pt x="51" y="24"/>
                          <a:pt x="51" y="23"/>
                        </a:cubicBezTo>
                        <a:cubicBezTo>
                          <a:pt x="44" y="17"/>
                          <a:pt x="44" y="17"/>
                          <a:pt x="44" y="17"/>
                        </a:cubicBezTo>
                        <a:cubicBezTo>
                          <a:pt x="36" y="27"/>
                          <a:pt x="36" y="27"/>
                          <a:pt x="36" y="27"/>
                        </a:cubicBezTo>
                        <a:cubicBezTo>
                          <a:pt x="35" y="28"/>
                          <a:pt x="35" y="28"/>
                          <a:pt x="34"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84" name="Freeform 35"/>
                  <p:cNvSpPr>
                    <a:spLocks noEditPoints="1"/>
                  </p:cNvSpPr>
                  <p:nvPr/>
                </p:nvSpPr>
                <p:spPr bwMode="auto">
                  <a:xfrm>
                    <a:off x="5248275" y="4627562"/>
                    <a:ext cx="309562" cy="185738"/>
                  </a:xfrm>
                  <a:custGeom>
                    <a:avLst/>
                    <a:gdLst>
                      <a:gd name="T0" fmla="*/ 78 w 80"/>
                      <a:gd name="T1" fmla="*/ 48 h 48"/>
                      <a:gd name="T2" fmla="*/ 2 w 80"/>
                      <a:gd name="T3" fmla="*/ 48 h 48"/>
                      <a:gd name="T4" fmla="*/ 0 w 80"/>
                      <a:gd name="T5" fmla="*/ 46 h 48"/>
                      <a:gd name="T6" fmla="*/ 0 w 80"/>
                      <a:gd name="T7" fmla="*/ 2 h 48"/>
                      <a:gd name="T8" fmla="*/ 2 w 80"/>
                      <a:gd name="T9" fmla="*/ 0 h 48"/>
                      <a:gd name="T10" fmla="*/ 78 w 80"/>
                      <a:gd name="T11" fmla="*/ 0 h 48"/>
                      <a:gd name="T12" fmla="*/ 80 w 80"/>
                      <a:gd name="T13" fmla="*/ 2 h 48"/>
                      <a:gd name="T14" fmla="*/ 80 w 80"/>
                      <a:gd name="T15" fmla="*/ 46 h 48"/>
                      <a:gd name="T16" fmla="*/ 78 w 80"/>
                      <a:gd name="T17" fmla="*/ 48 h 48"/>
                      <a:gd name="T18" fmla="*/ 4 w 80"/>
                      <a:gd name="T19" fmla="*/ 44 h 48"/>
                      <a:gd name="T20" fmla="*/ 76 w 80"/>
                      <a:gd name="T21" fmla="*/ 44 h 48"/>
                      <a:gd name="T22" fmla="*/ 76 w 80"/>
                      <a:gd name="T23" fmla="*/ 4 h 48"/>
                      <a:gd name="T24" fmla="*/ 4 w 80"/>
                      <a:gd name="T25" fmla="*/ 4 h 48"/>
                      <a:gd name="T26" fmla="*/ 4 w 80"/>
                      <a:gd name="T27" fmla="*/ 44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0" h="48">
                        <a:moveTo>
                          <a:pt x="78" y="48"/>
                        </a:moveTo>
                        <a:cubicBezTo>
                          <a:pt x="2" y="48"/>
                          <a:pt x="2" y="48"/>
                          <a:pt x="2" y="48"/>
                        </a:cubicBezTo>
                        <a:cubicBezTo>
                          <a:pt x="1" y="48"/>
                          <a:pt x="0" y="47"/>
                          <a:pt x="0" y="46"/>
                        </a:cubicBezTo>
                        <a:cubicBezTo>
                          <a:pt x="0" y="2"/>
                          <a:pt x="0" y="2"/>
                          <a:pt x="0" y="2"/>
                        </a:cubicBezTo>
                        <a:cubicBezTo>
                          <a:pt x="0" y="1"/>
                          <a:pt x="1" y="0"/>
                          <a:pt x="2" y="0"/>
                        </a:cubicBezTo>
                        <a:cubicBezTo>
                          <a:pt x="78" y="0"/>
                          <a:pt x="78" y="0"/>
                          <a:pt x="78" y="0"/>
                        </a:cubicBezTo>
                        <a:cubicBezTo>
                          <a:pt x="79" y="0"/>
                          <a:pt x="80" y="1"/>
                          <a:pt x="80" y="2"/>
                        </a:cubicBezTo>
                        <a:cubicBezTo>
                          <a:pt x="80" y="46"/>
                          <a:pt x="80" y="46"/>
                          <a:pt x="80" y="46"/>
                        </a:cubicBezTo>
                        <a:cubicBezTo>
                          <a:pt x="80" y="47"/>
                          <a:pt x="79" y="48"/>
                          <a:pt x="78" y="48"/>
                        </a:cubicBezTo>
                        <a:close/>
                        <a:moveTo>
                          <a:pt x="4" y="44"/>
                        </a:moveTo>
                        <a:cubicBezTo>
                          <a:pt x="76" y="44"/>
                          <a:pt x="76" y="44"/>
                          <a:pt x="76" y="44"/>
                        </a:cubicBezTo>
                        <a:cubicBezTo>
                          <a:pt x="76" y="4"/>
                          <a:pt x="76" y="4"/>
                          <a:pt x="76" y="4"/>
                        </a:cubicBezTo>
                        <a:cubicBezTo>
                          <a:pt x="4" y="4"/>
                          <a:pt x="4" y="4"/>
                          <a:pt x="4" y="4"/>
                        </a:cubicBezTo>
                        <a:lnTo>
                          <a:pt x="4" y="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grpSp>
          </p:grpSp>
          <p:grpSp>
            <p:nvGrpSpPr>
              <p:cNvPr id="271" name="Group 270"/>
              <p:cNvGrpSpPr/>
              <p:nvPr/>
            </p:nvGrpSpPr>
            <p:grpSpPr>
              <a:xfrm>
                <a:off x="428696" y="4288071"/>
                <a:ext cx="1811303" cy="693106"/>
                <a:chOff x="428696" y="4288071"/>
                <a:chExt cx="1811303" cy="693106"/>
              </a:xfrm>
            </p:grpSpPr>
            <p:sp>
              <p:nvSpPr>
                <p:cNvPr id="272" name="Rectangle 271"/>
                <p:cNvSpPr/>
                <p:nvPr/>
              </p:nvSpPr>
              <p:spPr>
                <a:xfrm>
                  <a:off x="428696" y="4288071"/>
                  <a:ext cx="1811303" cy="693106"/>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grpSp>
              <p:nvGrpSpPr>
                <p:cNvPr id="273" name="Group 272"/>
                <p:cNvGrpSpPr/>
                <p:nvPr/>
              </p:nvGrpSpPr>
              <p:grpSpPr>
                <a:xfrm>
                  <a:off x="610512" y="4401633"/>
                  <a:ext cx="1447670" cy="465983"/>
                  <a:chOff x="431800" y="990281"/>
                  <a:chExt cx="1447670" cy="465983"/>
                </a:xfrm>
              </p:grpSpPr>
              <p:sp>
                <p:nvSpPr>
                  <p:cNvPr id="274" name="TextBox 273"/>
                  <p:cNvSpPr txBox="1"/>
                  <p:nvPr/>
                </p:nvSpPr>
                <p:spPr>
                  <a:xfrm>
                    <a:off x="431800" y="990281"/>
                    <a:ext cx="371789" cy="153888"/>
                  </a:xfrm>
                  <a:prstGeom prst="rect">
                    <a:avLst/>
                  </a:prstGeom>
                  <a:noFill/>
                  <a:ln w="6350">
                    <a:noFill/>
                    <a:prstDash val="dash"/>
                  </a:ln>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effectLst/>
                        <a:uLnTx/>
                        <a:uFillTx/>
                        <a:ea typeface="+mn-ea"/>
                        <a:cs typeface="+mn-cs"/>
                      </a:rPr>
                      <a:t>TASK 5</a:t>
                    </a:r>
                  </a:p>
                </p:txBody>
              </p:sp>
              <p:sp>
                <p:nvSpPr>
                  <p:cNvPr id="275" name="TextBox 274"/>
                  <p:cNvSpPr txBox="1"/>
                  <p:nvPr/>
                </p:nvSpPr>
                <p:spPr>
                  <a:xfrm>
                    <a:off x="431800" y="1148487"/>
                    <a:ext cx="1447670" cy="307777"/>
                  </a:xfrm>
                  <a:prstGeom prst="rect">
                    <a:avLst/>
                  </a:prstGeom>
                  <a:noFill/>
                  <a:ln w="6350">
                    <a:noFill/>
                    <a:prstDash val="dash"/>
                  </a:ln>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effectLst/>
                        <a:uLnTx/>
                        <a:uFillTx/>
                        <a:ea typeface="+mn-ea"/>
                        <a:cs typeface="+mn-cs"/>
                      </a:rPr>
                      <a:t>Lorem </a:t>
                    </a:r>
                    <a:r>
                      <a:rPr kumimoji="0" lang="en-US" sz="1000" b="0" i="0" u="none" strike="noStrike" kern="1200" cap="none" spc="0" normalizeH="0" baseline="0" noProof="0" dirty="0" err="1">
                        <a:ln>
                          <a:noFill/>
                        </a:ln>
                        <a:effectLst/>
                        <a:uLnTx/>
                        <a:uFillTx/>
                        <a:ea typeface="+mn-ea"/>
                        <a:cs typeface="+mn-cs"/>
                      </a:rPr>
                      <a:t>Ipsum</a:t>
                    </a:r>
                    <a:r>
                      <a:rPr kumimoji="0" lang="en-US" sz="1000" b="0" i="0" u="none" strike="noStrike" kern="1200" cap="none" spc="0" normalizeH="0" baseline="0" noProof="0" dirty="0">
                        <a:ln>
                          <a:noFill/>
                        </a:ln>
                        <a:effectLst/>
                        <a:uLnTx/>
                        <a:uFillTx/>
                        <a:ea typeface="+mn-ea"/>
                        <a:cs typeface="+mn-cs"/>
                      </a:rPr>
                      <a:t> is simply dummy text of the printing</a:t>
                    </a:r>
                  </a:p>
                </p:txBody>
              </p:sp>
            </p:grpSp>
          </p:grpSp>
        </p:grpSp>
        <p:grpSp>
          <p:nvGrpSpPr>
            <p:cNvPr id="287" name="Group 286"/>
            <p:cNvGrpSpPr/>
            <p:nvPr/>
          </p:nvGrpSpPr>
          <p:grpSpPr>
            <a:xfrm>
              <a:off x="449630" y="3509872"/>
              <a:ext cx="8112433" cy="693106"/>
              <a:chOff x="428696" y="2618697"/>
              <a:chExt cx="8112433" cy="693106"/>
            </a:xfrm>
          </p:grpSpPr>
          <p:grpSp>
            <p:nvGrpSpPr>
              <p:cNvPr id="288" name="Group 287"/>
              <p:cNvGrpSpPr/>
              <p:nvPr/>
            </p:nvGrpSpPr>
            <p:grpSpPr>
              <a:xfrm>
                <a:off x="6010933" y="2618697"/>
                <a:ext cx="2530196" cy="596240"/>
                <a:chOff x="6010933" y="2719532"/>
                <a:chExt cx="2530196" cy="596240"/>
              </a:xfrm>
            </p:grpSpPr>
            <p:sp>
              <p:nvSpPr>
                <p:cNvPr id="294" name="Oval 293"/>
                <p:cNvSpPr>
                  <a:spLocks noChangeAspect="1"/>
                </p:cNvSpPr>
                <p:nvPr/>
              </p:nvSpPr>
              <p:spPr>
                <a:xfrm>
                  <a:off x="6010933" y="2824003"/>
                  <a:ext cx="491769" cy="491769"/>
                </a:xfrm>
                <a:prstGeom prst="ellipse">
                  <a:avLst/>
                </a:prstGeom>
                <a:solidFill>
                  <a:srgbClr val="78D2D2"/>
                </a:solidFill>
                <a:ln>
                  <a:noFill/>
                </a:ln>
                <a:effectLst>
                  <a:outerShdw blurRad="25400" dist="254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grpSp>
              <p:nvGrpSpPr>
                <p:cNvPr id="295" name="Group 294"/>
                <p:cNvGrpSpPr/>
                <p:nvPr/>
              </p:nvGrpSpPr>
              <p:grpSpPr>
                <a:xfrm>
                  <a:off x="6131362" y="2719532"/>
                  <a:ext cx="2409767" cy="476352"/>
                  <a:chOff x="6131362" y="2719532"/>
                  <a:chExt cx="2409767" cy="476352"/>
                </a:xfrm>
              </p:grpSpPr>
              <p:sp>
                <p:nvSpPr>
                  <p:cNvPr id="296" name="Line 6"/>
                  <p:cNvSpPr>
                    <a:spLocks noChangeShapeType="1"/>
                  </p:cNvSpPr>
                  <p:nvPr/>
                </p:nvSpPr>
                <p:spPr bwMode="auto">
                  <a:xfrm>
                    <a:off x="6441109" y="3067104"/>
                    <a:ext cx="2100020" cy="0"/>
                  </a:xfrm>
                  <a:prstGeom prst="line">
                    <a:avLst/>
                  </a:prstGeom>
                  <a:noFill/>
                  <a:ln w="19050" cap="rnd">
                    <a:solidFill>
                      <a:srgbClr val="78D2D2"/>
                    </a:solidFill>
                    <a:prstDash val="solid"/>
                    <a:round/>
                    <a:headEnd/>
                    <a:tailEnd type="oval"/>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grpSp>
                <p:nvGrpSpPr>
                  <p:cNvPr id="297" name="Group 296"/>
                  <p:cNvGrpSpPr/>
                  <p:nvPr/>
                </p:nvGrpSpPr>
                <p:grpSpPr>
                  <a:xfrm>
                    <a:off x="6539768" y="2719532"/>
                    <a:ext cx="1819595" cy="303026"/>
                    <a:chOff x="2637412" y="816342"/>
                    <a:chExt cx="1819595" cy="303026"/>
                  </a:xfrm>
                </p:grpSpPr>
                <p:sp>
                  <p:nvSpPr>
                    <p:cNvPr id="303" name="TextBox 302"/>
                    <p:cNvSpPr txBox="1"/>
                    <p:nvPr/>
                  </p:nvSpPr>
                  <p:spPr>
                    <a:xfrm>
                      <a:off x="2637413" y="816342"/>
                      <a:ext cx="1447670" cy="153888"/>
                    </a:xfrm>
                    <a:prstGeom prst="rect">
                      <a:avLst/>
                    </a:prstGeom>
                    <a:noFill/>
                    <a:ln w="6350">
                      <a:noFill/>
                      <a:prstDash val="dash"/>
                    </a:ln>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78D2D2"/>
                          </a:solidFill>
                          <a:effectLst/>
                          <a:uLnTx/>
                          <a:uFillTx/>
                          <a:ea typeface="+mn-ea"/>
                          <a:cs typeface="+mn-cs"/>
                        </a:rPr>
                        <a:t>START – FINISH DATE</a:t>
                      </a:r>
                    </a:p>
                  </p:txBody>
                </p:sp>
                <p:sp>
                  <p:nvSpPr>
                    <p:cNvPr id="304" name="TextBox 303"/>
                    <p:cNvSpPr txBox="1"/>
                    <p:nvPr/>
                  </p:nvSpPr>
                  <p:spPr>
                    <a:xfrm>
                      <a:off x="2637412" y="965480"/>
                      <a:ext cx="1819595" cy="153888"/>
                    </a:xfrm>
                    <a:prstGeom prst="rect">
                      <a:avLst/>
                    </a:prstGeom>
                    <a:noFill/>
                    <a:ln w="6350">
                      <a:noFill/>
                      <a:prstDash val="dash"/>
                    </a:ln>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effectLst/>
                          <a:uLnTx/>
                          <a:uFillTx/>
                          <a:ea typeface="+mn-ea"/>
                          <a:cs typeface="+mn-cs"/>
                        </a:rPr>
                        <a:t>Lorem </a:t>
                      </a:r>
                      <a:r>
                        <a:rPr kumimoji="0" lang="en-US" sz="1000" b="0" i="0" u="none" strike="noStrike" kern="1200" cap="none" spc="0" normalizeH="0" baseline="0" noProof="0" dirty="0" err="1">
                          <a:ln>
                            <a:noFill/>
                          </a:ln>
                          <a:effectLst/>
                          <a:uLnTx/>
                          <a:uFillTx/>
                          <a:ea typeface="+mn-ea"/>
                          <a:cs typeface="+mn-cs"/>
                        </a:rPr>
                        <a:t>Ipsum</a:t>
                      </a:r>
                      <a:r>
                        <a:rPr kumimoji="0" lang="en-US" sz="1000" b="0" i="0" u="none" strike="noStrike" kern="1200" cap="none" spc="0" normalizeH="0" baseline="0" noProof="0" dirty="0">
                          <a:ln>
                            <a:noFill/>
                          </a:ln>
                          <a:effectLst/>
                          <a:uLnTx/>
                          <a:uFillTx/>
                          <a:ea typeface="+mn-ea"/>
                          <a:cs typeface="+mn-cs"/>
                        </a:rPr>
                        <a:t> is simply dummy text</a:t>
                      </a:r>
                    </a:p>
                  </p:txBody>
                </p:sp>
              </p:grpSp>
              <p:grpSp>
                <p:nvGrpSpPr>
                  <p:cNvPr id="298" name="Group 297"/>
                  <p:cNvGrpSpPr>
                    <a:grpSpLocks noChangeAspect="1"/>
                  </p:cNvGrpSpPr>
                  <p:nvPr/>
                </p:nvGrpSpPr>
                <p:grpSpPr>
                  <a:xfrm>
                    <a:off x="6131362" y="2943890"/>
                    <a:ext cx="250911" cy="251994"/>
                    <a:chOff x="5418155" y="4657725"/>
                    <a:chExt cx="369870" cy="371465"/>
                  </a:xfrm>
                  <a:solidFill>
                    <a:schemeClr val="bg1"/>
                  </a:solidFill>
                </p:grpSpPr>
                <p:sp>
                  <p:nvSpPr>
                    <p:cNvPr id="299" name="Freeform 39"/>
                    <p:cNvSpPr>
                      <a:spLocks noEditPoints="1"/>
                    </p:cNvSpPr>
                    <p:nvPr/>
                  </p:nvSpPr>
                  <p:spPr bwMode="auto">
                    <a:xfrm>
                      <a:off x="5495936" y="4843449"/>
                      <a:ext cx="107950" cy="107950"/>
                    </a:xfrm>
                    <a:custGeom>
                      <a:avLst/>
                      <a:gdLst>
                        <a:gd name="T0" fmla="*/ 14 w 28"/>
                        <a:gd name="T1" fmla="*/ 28 h 28"/>
                        <a:gd name="T2" fmla="*/ 0 w 28"/>
                        <a:gd name="T3" fmla="*/ 14 h 28"/>
                        <a:gd name="T4" fmla="*/ 14 w 28"/>
                        <a:gd name="T5" fmla="*/ 0 h 28"/>
                        <a:gd name="T6" fmla="*/ 28 w 28"/>
                        <a:gd name="T7" fmla="*/ 14 h 28"/>
                        <a:gd name="T8" fmla="*/ 14 w 28"/>
                        <a:gd name="T9" fmla="*/ 28 h 28"/>
                        <a:gd name="T10" fmla="*/ 14 w 28"/>
                        <a:gd name="T11" fmla="*/ 4 h 28"/>
                        <a:gd name="T12" fmla="*/ 4 w 28"/>
                        <a:gd name="T13" fmla="*/ 14 h 28"/>
                        <a:gd name="T14" fmla="*/ 14 w 28"/>
                        <a:gd name="T15" fmla="*/ 24 h 28"/>
                        <a:gd name="T16" fmla="*/ 24 w 28"/>
                        <a:gd name="T17" fmla="*/ 14 h 28"/>
                        <a:gd name="T18" fmla="*/ 14 w 28"/>
                        <a:gd name="T19" fmla="*/ 4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 h="28">
                          <a:moveTo>
                            <a:pt x="14" y="28"/>
                          </a:moveTo>
                          <a:cubicBezTo>
                            <a:pt x="6" y="28"/>
                            <a:pt x="0" y="22"/>
                            <a:pt x="0" y="14"/>
                          </a:cubicBezTo>
                          <a:cubicBezTo>
                            <a:pt x="0" y="6"/>
                            <a:pt x="6" y="0"/>
                            <a:pt x="14" y="0"/>
                          </a:cubicBezTo>
                          <a:cubicBezTo>
                            <a:pt x="22" y="0"/>
                            <a:pt x="28" y="6"/>
                            <a:pt x="28" y="14"/>
                          </a:cubicBezTo>
                          <a:cubicBezTo>
                            <a:pt x="28" y="22"/>
                            <a:pt x="22" y="28"/>
                            <a:pt x="14" y="28"/>
                          </a:cubicBezTo>
                          <a:close/>
                          <a:moveTo>
                            <a:pt x="14" y="4"/>
                          </a:moveTo>
                          <a:cubicBezTo>
                            <a:pt x="8" y="4"/>
                            <a:pt x="4" y="8"/>
                            <a:pt x="4" y="14"/>
                          </a:cubicBezTo>
                          <a:cubicBezTo>
                            <a:pt x="4" y="20"/>
                            <a:pt x="8" y="24"/>
                            <a:pt x="14" y="24"/>
                          </a:cubicBezTo>
                          <a:cubicBezTo>
                            <a:pt x="20" y="24"/>
                            <a:pt x="24" y="20"/>
                            <a:pt x="24" y="14"/>
                          </a:cubicBezTo>
                          <a:cubicBezTo>
                            <a:pt x="24" y="8"/>
                            <a:pt x="20" y="4"/>
                            <a:pt x="1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300" name="Freeform 40"/>
                    <p:cNvSpPr>
                      <a:spLocks noEditPoints="1"/>
                    </p:cNvSpPr>
                    <p:nvPr/>
                  </p:nvSpPr>
                  <p:spPr bwMode="auto">
                    <a:xfrm>
                      <a:off x="5418155" y="4765666"/>
                      <a:ext cx="261938" cy="263524"/>
                    </a:xfrm>
                    <a:custGeom>
                      <a:avLst/>
                      <a:gdLst>
                        <a:gd name="T0" fmla="*/ 26 w 68"/>
                        <a:gd name="T1" fmla="*/ 68 h 68"/>
                        <a:gd name="T2" fmla="*/ 24 w 68"/>
                        <a:gd name="T3" fmla="*/ 60 h 68"/>
                        <a:gd name="T4" fmla="*/ 11 w 68"/>
                        <a:gd name="T5" fmla="*/ 59 h 68"/>
                        <a:gd name="T6" fmla="*/ 1 w 68"/>
                        <a:gd name="T7" fmla="*/ 44 h 68"/>
                        <a:gd name="T8" fmla="*/ 1 w 68"/>
                        <a:gd name="T9" fmla="*/ 41 h 68"/>
                        <a:gd name="T10" fmla="*/ 6 w 68"/>
                        <a:gd name="T11" fmla="*/ 30 h 68"/>
                        <a:gd name="T12" fmla="*/ 1 w 68"/>
                        <a:gd name="T13" fmla="*/ 24 h 68"/>
                        <a:gd name="T14" fmla="*/ 10 w 68"/>
                        <a:gd name="T15" fmla="*/ 9 h 68"/>
                        <a:gd name="T16" fmla="*/ 16 w 68"/>
                        <a:gd name="T17" fmla="*/ 12 h 68"/>
                        <a:gd name="T18" fmla="*/ 24 w 68"/>
                        <a:gd name="T19" fmla="*/ 2 h 68"/>
                        <a:gd name="T20" fmla="*/ 42 w 68"/>
                        <a:gd name="T21" fmla="*/ 0 h 68"/>
                        <a:gd name="T22" fmla="*/ 44 w 68"/>
                        <a:gd name="T23" fmla="*/ 8 h 68"/>
                        <a:gd name="T24" fmla="*/ 57 w 68"/>
                        <a:gd name="T25" fmla="*/ 9 h 68"/>
                        <a:gd name="T26" fmla="*/ 67 w 68"/>
                        <a:gd name="T27" fmla="*/ 24 h 68"/>
                        <a:gd name="T28" fmla="*/ 62 w 68"/>
                        <a:gd name="T29" fmla="*/ 30 h 68"/>
                        <a:gd name="T30" fmla="*/ 67 w 68"/>
                        <a:gd name="T31" fmla="*/ 41 h 68"/>
                        <a:gd name="T32" fmla="*/ 67 w 68"/>
                        <a:gd name="T33" fmla="*/ 44 h 68"/>
                        <a:gd name="T34" fmla="*/ 58 w 68"/>
                        <a:gd name="T35" fmla="*/ 59 h 68"/>
                        <a:gd name="T36" fmla="*/ 52 w 68"/>
                        <a:gd name="T37" fmla="*/ 56 h 68"/>
                        <a:gd name="T38" fmla="*/ 44 w 68"/>
                        <a:gd name="T39" fmla="*/ 66 h 68"/>
                        <a:gd name="T40" fmla="*/ 28 w 68"/>
                        <a:gd name="T41" fmla="*/ 64 h 68"/>
                        <a:gd name="T42" fmla="*/ 40 w 68"/>
                        <a:gd name="T43" fmla="*/ 59 h 68"/>
                        <a:gd name="T44" fmla="*/ 50 w 68"/>
                        <a:gd name="T45" fmla="*/ 52 h 68"/>
                        <a:gd name="T46" fmla="*/ 57 w 68"/>
                        <a:gd name="T47" fmla="*/ 54 h 68"/>
                        <a:gd name="T48" fmla="*/ 58 w 68"/>
                        <a:gd name="T49" fmla="*/ 41 h 68"/>
                        <a:gd name="T50" fmla="*/ 57 w 68"/>
                        <a:gd name="T51" fmla="*/ 29 h 68"/>
                        <a:gd name="T52" fmla="*/ 63 w 68"/>
                        <a:gd name="T53" fmla="*/ 24 h 68"/>
                        <a:gd name="T54" fmla="*/ 52 w 68"/>
                        <a:gd name="T55" fmla="*/ 16 h 68"/>
                        <a:gd name="T56" fmla="*/ 41 w 68"/>
                        <a:gd name="T57" fmla="*/ 11 h 68"/>
                        <a:gd name="T58" fmla="*/ 40 w 68"/>
                        <a:gd name="T59" fmla="*/ 4 h 68"/>
                        <a:gd name="T60" fmla="*/ 28 w 68"/>
                        <a:gd name="T61" fmla="*/ 9 h 68"/>
                        <a:gd name="T62" fmla="*/ 18 w 68"/>
                        <a:gd name="T63" fmla="*/ 16 h 68"/>
                        <a:gd name="T64" fmla="*/ 11 w 68"/>
                        <a:gd name="T65" fmla="*/ 14 h 68"/>
                        <a:gd name="T66" fmla="*/ 10 w 68"/>
                        <a:gd name="T67" fmla="*/ 27 h 68"/>
                        <a:gd name="T68" fmla="*/ 11 w 68"/>
                        <a:gd name="T69" fmla="*/ 39 h 68"/>
                        <a:gd name="T70" fmla="*/ 5 w 68"/>
                        <a:gd name="T71" fmla="*/ 44 h 68"/>
                        <a:gd name="T72" fmla="*/ 16 w 68"/>
                        <a:gd name="T73" fmla="*/ 52 h 68"/>
                        <a:gd name="T74" fmla="*/ 27 w 68"/>
                        <a:gd name="T75" fmla="*/ 57 h 68"/>
                        <a:gd name="T76" fmla="*/ 28 w 68"/>
                        <a:gd name="T77" fmla="*/ 64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68" h="68">
                          <a:moveTo>
                            <a:pt x="42" y="68"/>
                          </a:moveTo>
                          <a:cubicBezTo>
                            <a:pt x="26" y="68"/>
                            <a:pt x="26" y="68"/>
                            <a:pt x="26" y="68"/>
                          </a:cubicBezTo>
                          <a:cubicBezTo>
                            <a:pt x="25" y="68"/>
                            <a:pt x="24" y="67"/>
                            <a:pt x="24" y="66"/>
                          </a:cubicBezTo>
                          <a:cubicBezTo>
                            <a:pt x="24" y="60"/>
                            <a:pt x="24" y="60"/>
                            <a:pt x="24" y="60"/>
                          </a:cubicBezTo>
                          <a:cubicBezTo>
                            <a:pt x="21" y="59"/>
                            <a:pt x="19" y="58"/>
                            <a:pt x="16" y="56"/>
                          </a:cubicBezTo>
                          <a:cubicBezTo>
                            <a:pt x="11" y="59"/>
                            <a:pt x="11" y="59"/>
                            <a:pt x="11" y="59"/>
                          </a:cubicBezTo>
                          <a:cubicBezTo>
                            <a:pt x="10" y="59"/>
                            <a:pt x="9" y="59"/>
                            <a:pt x="9" y="58"/>
                          </a:cubicBezTo>
                          <a:cubicBezTo>
                            <a:pt x="1" y="44"/>
                            <a:pt x="1" y="44"/>
                            <a:pt x="1" y="44"/>
                          </a:cubicBezTo>
                          <a:cubicBezTo>
                            <a:pt x="0" y="44"/>
                            <a:pt x="0" y="43"/>
                            <a:pt x="0" y="43"/>
                          </a:cubicBezTo>
                          <a:cubicBezTo>
                            <a:pt x="0" y="42"/>
                            <a:pt x="1" y="42"/>
                            <a:pt x="1" y="41"/>
                          </a:cubicBezTo>
                          <a:cubicBezTo>
                            <a:pt x="6" y="38"/>
                            <a:pt x="6" y="38"/>
                            <a:pt x="6" y="38"/>
                          </a:cubicBezTo>
                          <a:cubicBezTo>
                            <a:pt x="6" y="35"/>
                            <a:pt x="6" y="33"/>
                            <a:pt x="6" y="30"/>
                          </a:cubicBezTo>
                          <a:cubicBezTo>
                            <a:pt x="1" y="27"/>
                            <a:pt x="1" y="27"/>
                            <a:pt x="1" y="27"/>
                          </a:cubicBezTo>
                          <a:cubicBezTo>
                            <a:pt x="0" y="26"/>
                            <a:pt x="0" y="25"/>
                            <a:pt x="1" y="24"/>
                          </a:cubicBezTo>
                          <a:cubicBezTo>
                            <a:pt x="9" y="10"/>
                            <a:pt x="9" y="10"/>
                            <a:pt x="9" y="10"/>
                          </a:cubicBezTo>
                          <a:cubicBezTo>
                            <a:pt x="9" y="10"/>
                            <a:pt x="9" y="9"/>
                            <a:pt x="10" y="9"/>
                          </a:cubicBezTo>
                          <a:cubicBezTo>
                            <a:pt x="10" y="9"/>
                            <a:pt x="11" y="9"/>
                            <a:pt x="11" y="9"/>
                          </a:cubicBezTo>
                          <a:cubicBezTo>
                            <a:pt x="16" y="12"/>
                            <a:pt x="16" y="12"/>
                            <a:pt x="16" y="12"/>
                          </a:cubicBezTo>
                          <a:cubicBezTo>
                            <a:pt x="19" y="10"/>
                            <a:pt x="21" y="9"/>
                            <a:pt x="24" y="8"/>
                          </a:cubicBezTo>
                          <a:cubicBezTo>
                            <a:pt x="24" y="2"/>
                            <a:pt x="24" y="2"/>
                            <a:pt x="24" y="2"/>
                          </a:cubicBezTo>
                          <a:cubicBezTo>
                            <a:pt x="24" y="1"/>
                            <a:pt x="25" y="0"/>
                            <a:pt x="26" y="0"/>
                          </a:cubicBezTo>
                          <a:cubicBezTo>
                            <a:pt x="42" y="0"/>
                            <a:pt x="42" y="0"/>
                            <a:pt x="42" y="0"/>
                          </a:cubicBezTo>
                          <a:cubicBezTo>
                            <a:pt x="43" y="0"/>
                            <a:pt x="44" y="1"/>
                            <a:pt x="44" y="2"/>
                          </a:cubicBezTo>
                          <a:cubicBezTo>
                            <a:pt x="44" y="8"/>
                            <a:pt x="44" y="8"/>
                            <a:pt x="44" y="8"/>
                          </a:cubicBezTo>
                          <a:cubicBezTo>
                            <a:pt x="47" y="9"/>
                            <a:pt x="49" y="10"/>
                            <a:pt x="52" y="12"/>
                          </a:cubicBezTo>
                          <a:cubicBezTo>
                            <a:pt x="57" y="9"/>
                            <a:pt x="57" y="9"/>
                            <a:pt x="57" y="9"/>
                          </a:cubicBezTo>
                          <a:cubicBezTo>
                            <a:pt x="58" y="9"/>
                            <a:pt x="59" y="9"/>
                            <a:pt x="59" y="10"/>
                          </a:cubicBezTo>
                          <a:cubicBezTo>
                            <a:pt x="67" y="24"/>
                            <a:pt x="67" y="24"/>
                            <a:pt x="67" y="24"/>
                          </a:cubicBezTo>
                          <a:cubicBezTo>
                            <a:pt x="68" y="25"/>
                            <a:pt x="68" y="26"/>
                            <a:pt x="67" y="27"/>
                          </a:cubicBezTo>
                          <a:cubicBezTo>
                            <a:pt x="62" y="30"/>
                            <a:pt x="62" y="30"/>
                            <a:pt x="62" y="30"/>
                          </a:cubicBezTo>
                          <a:cubicBezTo>
                            <a:pt x="62" y="33"/>
                            <a:pt x="62" y="35"/>
                            <a:pt x="62" y="38"/>
                          </a:cubicBezTo>
                          <a:cubicBezTo>
                            <a:pt x="67" y="41"/>
                            <a:pt x="67" y="41"/>
                            <a:pt x="67" y="41"/>
                          </a:cubicBezTo>
                          <a:cubicBezTo>
                            <a:pt x="67" y="42"/>
                            <a:pt x="68" y="42"/>
                            <a:pt x="68" y="43"/>
                          </a:cubicBezTo>
                          <a:cubicBezTo>
                            <a:pt x="68" y="43"/>
                            <a:pt x="68" y="44"/>
                            <a:pt x="67" y="44"/>
                          </a:cubicBezTo>
                          <a:cubicBezTo>
                            <a:pt x="59" y="58"/>
                            <a:pt x="59" y="58"/>
                            <a:pt x="59" y="58"/>
                          </a:cubicBezTo>
                          <a:cubicBezTo>
                            <a:pt x="59" y="58"/>
                            <a:pt x="59" y="59"/>
                            <a:pt x="58" y="59"/>
                          </a:cubicBezTo>
                          <a:cubicBezTo>
                            <a:pt x="58" y="59"/>
                            <a:pt x="57" y="59"/>
                            <a:pt x="57" y="59"/>
                          </a:cubicBezTo>
                          <a:cubicBezTo>
                            <a:pt x="52" y="56"/>
                            <a:pt x="52" y="56"/>
                            <a:pt x="52" y="56"/>
                          </a:cubicBezTo>
                          <a:cubicBezTo>
                            <a:pt x="49" y="58"/>
                            <a:pt x="47" y="59"/>
                            <a:pt x="44" y="60"/>
                          </a:cubicBezTo>
                          <a:cubicBezTo>
                            <a:pt x="44" y="66"/>
                            <a:pt x="44" y="66"/>
                            <a:pt x="44" y="66"/>
                          </a:cubicBezTo>
                          <a:cubicBezTo>
                            <a:pt x="44" y="67"/>
                            <a:pt x="43" y="68"/>
                            <a:pt x="42" y="68"/>
                          </a:cubicBezTo>
                          <a:close/>
                          <a:moveTo>
                            <a:pt x="28" y="64"/>
                          </a:moveTo>
                          <a:cubicBezTo>
                            <a:pt x="40" y="64"/>
                            <a:pt x="40" y="64"/>
                            <a:pt x="40" y="64"/>
                          </a:cubicBezTo>
                          <a:cubicBezTo>
                            <a:pt x="40" y="59"/>
                            <a:pt x="40" y="59"/>
                            <a:pt x="40" y="59"/>
                          </a:cubicBezTo>
                          <a:cubicBezTo>
                            <a:pt x="40" y="58"/>
                            <a:pt x="41" y="57"/>
                            <a:pt x="41" y="57"/>
                          </a:cubicBezTo>
                          <a:cubicBezTo>
                            <a:pt x="45" y="56"/>
                            <a:pt x="48" y="54"/>
                            <a:pt x="50" y="52"/>
                          </a:cubicBezTo>
                          <a:cubicBezTo>
                            <a:pt x="51" y="51"/>
                            <a:pt x="52" y="51"/>
                            <a:pt x="52" y="52"/>
                          </a:cubicBezTo>
                          <a:cubicBezTo>
                            <a:pt x="57" y="54"/>
                            <a:pt x="57" y="54"/>
                            <a:pt x="57" y="54"/>
                          </a:cubicBezTo>
                          <a:cubicBezTo>
                            <a:pt x="63" y="44"/>
                            <a:pt x="63" y="44"/>
                            <a:pt x="63" y="44"/>
                          </a:cubicBezTo>
                          <a:cubicBezTo>
                            <a:pt x="58" y="41"/>
                            <a:pt x="58" y="41"/>
                            <a:pt x="58" y="41"/>
                          </a:cubicBezTo>
                          <a:cubicBezTo>
                            <a:pt x="58" y="41"/>
                            <a:pt x="57" y="40"/>
                            <a:pt x="57" y="39"/>
                          </a:cubicBezTo>
                          <a:cubicBezTo>
                            <a:pt x="58" y="36"/>
                            <a:pt x="58" y="32"/>
                            <a:pt x="57" y="29"/>
                          </a:cubicBezTo>
                          <a:cubicBezTo>
                            <a:pt x="57" y="28"/>
                            <a:pt x="58" y="27"/>
                            <a:pt x="58" y="27"/>
                          </a:cubicBezTo>
                          <a:cubicBezTo>
                            <a:pt x="63" y="24"/>
                            <a:pt x="63" y="24"/>
                            <a:pt x="63" y="24"/>
                          </a:cubicBezTo>
                          <a:cubicBezTo>
                            <a:pt x="57" y="14"/>
                            <a:pt x="57" y="14"/>
                            <a:pt x="57" y="14"/>
                          </a:cubicBezTo>
                          <a:cubicBezTo>
                            <a:pt x="52" y="16"/>
                            <a:pt x="52" y="16"/>
                            <a:pt x="52" y="16"/>
                          </a:cubicBezTo>
                          <a:cubicBezTo>
                            <a:pt x="52" y="17"/>
                            <a:pt x="51" y="17"/>
                            <a:pt x="50" y="16"/>
                          </a:cubicBezTo>
                          <a:cubicBezTo>
                            <a:pt x="48" y="14"/>
                            <a:pt x="45" y="12"/>
                            <a:pt x="41" y="11"/>
                          </a:cubicBezTo>
                          <a:cubicBezTo>
                            <a:pt x="41" y="11"/>
                            <a:pt x="40" y="10"/>
                            <a:pt x="40" y="9"/>
                          </a:cubicBezTo>
                          <a:cubicBezTo>
                            <a:pt x="40" y="4"/>
                            <a:pt x="40" y="4"/>
                            <a:pt x="40" y="4"/>
                          </a:cubicBezTo>
                          <a:cubicBezTo>
                            <a:pt x="28" y="4"/>
                            <a:pt x="28" y="4"/>
                            <a:pt x="28" y="4"/>
                          </a:cubicBezTo>
                          <a:cubicBezTo>
                            <a:pt x="28" y="9"/>
                            <a:pt x="28" y="9"/>
                            <a:pt x="28" y="9"/>
                          </a:cubicBezTo>
                          <a:cubicBezTo>
                            <a:pt x="28" y="10"/>
                            <a:pt x="27" y="11"/>
                            <a:pt x="27" y="11"/>
                          </a:cubicBezTo>
                          <a:cubicBezTo>
                            <a:pt x="23" y="12"/>
                            <a:pt x="20" y="14"/>
                            <a:pt x="18" y="16"/>
                          </a:cubicBezTo>
                          <a:cubicBezTo>
                            <a:pt x="17" y="17"/>
                            <a:pt x="16" y="17"/>
                            <a:pt x="16" y="16"/>
                          </a:cubicBezTo>
                          <a:cubicBezTo>
                            <a:pt x="11" y="14"/>
                            <a:pt x="11" y="14"/>
                            <a:pt x="11" y="14"/>
                          </a:cubicBezTo>
                          <a:cubicBezTo>
                            <a:pt x="5" y="24"/>
                            <a:pt x="5" y="24"/>
                            <a:pt x="5" y="24"/>
                          </a:cubicBezTo>
                          <a:cubicBezTo>
                            <a:pt x="10" y="27"/>
                            <a:pt x="10" y="27"/>
                            <a:pt x="10" y="27"/>
                          </a:cubicBezTo>
                          <a:cubicBezTo>
                            <a:pt x="10" y="27"/>
                            <a:pt x="11" y="28"/>
                            <a:pt x="11" y="29"/>
                          </a:cubicBezTo>
                          <a:cubicBezTo>
                            <a:pt x="10" y="32"/>
                            <a:pt x="10" y="36"/>
                            <a:pt x="11" y="39"/>
                          </a:cubicBezTo>
                          <a:cubicBezTo>
                            <a:pt x="11" y="40"/>
                            <a:pt x="10" y="41"/>
                            <a:pt x="10" y="41"/>
                          </a:cubicBezTo>
                          <a:cubicBezTo>
                            <a:pt x="5" y="44"/>
                            <a:pt x="5" y="44"/>
                            <a:pt x="5" y="44"/>
                          </a:cubicBezTo>
                          <a:cubicBezTo>
                            <a:pt x="11" y="54"/>
                            <a:pt x="11" y="54"/>
                            <a:pt x="11" y="54"/>
                          </a:cubicBezTo>
                          <a:cubicBezTo>
                            <a:pt x="16" y="52"/>
                            <a:pt x="16" y="52"/>
                            <a:pt x="16" y="52"/>
                          </a:cubicBezTo>
                          <a:cubicBezTo>
                            <a:pt x="16" y="51"/>
                            <a:pt x="17" y="51"/>
                            <a:pt x="18" y="52"/>
                          </a:cubicBezTo>
                          <a:cubicBezTo>
                            <a:pt x="20" y="54"/>
                            <a:pt x="23" y="56"/>
                            <a:pt x="27" y="57"/>
                          </a:cubicBezTo>
                          <a:cubicBezTo>
                            <a:pt x="27" y="57"/>
                            <a:pt x="28" y="58"/>
                            <a:pt x="28" y="59"/>
                          </a:cubicBezTo>
                          <a:lnTo>
                            <a:pt x="28" y="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301" name="Freeform 41"/>
                    <p:cNvSpPr>
                      <a:spLocks noEditPoints="1"/>
                    </p:cNvSpPr>
                    <p:nvPr/>
                  </p:nvSpPr>
                  <p:spPr bwMode="auto">
                    <a:xfrm>
                      <a:off x="5680092" y="4703754"/>
                      <a:ext cx="61913" cy="61912"/>
                    </a:xfrm>
                    <a:custGeom>
                      <a:avLst/>
                      <a:gdLst>
                        <a:gd name="T0" fmla="*/ 8 w 16"/>
                        <a:gd name="T1" fmla="*/ 16 h 16"/>
                        <a:gd name="T2" fmla="*/ 0 w 16"/>
                        <a:gd name="T3" fmla="*/ 8 h 16"/>
                        <a:gd name="T4" fmla="*/ 8 w 16"/>
                        <a:gd name="T5" fmla="*/ 0 h 16"/>
                        <a:gd name="T6" fmla="*/ 16 w 16"/>
                        <a:gd name="T7" fmla="*/ 8 h 16"/>
                        <a:gd name="T8" fmla="*/ 8 w 16"/>
                        <a:gd name="T9" fmla="*/ 16 h 16"/>
                        <a:gd name="T10" fmla="*/ 8 w 16"/>
                        <a:gd name="T11" fmla="*/ 4 h 16"/>
                        <a:gd name="T12" fmla="*/ 4 w 16"/>
                        <a:gd name="T13" fmla="*/ 8 h 16"/>
                        <a:gd name="T14" fmla="*/ 8 w 16"/>
                        <a:gd name="T15" fmla="*/ 12 h 16"/>
                        <a:gd name="T16" fmla="*/ 12 w 16"/>
                        <a:gd name="T17" fmla="*/ 8 h 16"/>
                        <a:gd name="T18" fmla="*/ 8 w 16"/>
                        <a:gd name="T19" fmla="*/ 4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 h="16">
                          <a:moveTo>
                            <a:pt x="8" y="16"/>
                          </a:moveTo>
                          <a:cubicBezTo>
                            <a:pt x="4" y="16"/>
                            <a:pt x="0" y="12"/>
                            <a:pt x="0" y="8"/>
                          </a:cubicBezTo>
                          <a:cubicBezTo>
                            <a:pt x="0" y="4"/>
                            <a:pt x="4" y="0"/>
                            <a:pt x="8" y="0"/>
                          </a:cubicBezTo>
                          <a:cubicBezTo>
                            <a:pt x="12" y="0"/>
                            <a:pt x="16" y="4"/>
                            <a:pt x="16" y="8"/>
                          </a:cubicBezTo>
                          <a:cubicBezTo>
                            <a:pt x="16" y="12"/>
                            <a:pt x="12" y="16"/>
                            <a:pt x="8" y="16"/>
                          </a:cubicBezTo>
                          <a:close/>
                          <a:moveTo>
                            <a:pt x="8" y="4"/>
                          </a:moveTo>
                          <a:cubicBezTo>
                            <a:pt x="6" y="4"/>
                            <a:pt x="4" y="6"/>
                            <a:pt x="4" y="8"/>
                          </a:cubicBezTo>
                          <a:cubicBezTo>
                            <a:pt x="4" y="10"/>
                            <a:pt x="6" y="12"/>
                            <a:pt x="8" y="12"/>
                          </a:cubicBezTo>
                          <a:cubicBezTo>
                            <a:pt x="10" y="12"/>
                            <a:pt x="12" y="10"/>
                            <a:pt x="12" y="8"/>
                          </a:cubicBezTo>
                          <a:cubicBezTo>
                            <a:pt x="12" y="6"/>
                            <a:pt x="10" y="4"/>
                            <a:pt x="8"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302" name="Freeform 42"/>
                    <p:cNvSpPr>
                      <a:spLocks noEditPoints="1"/>
                    </p:cNvSpPr>
                    <p:nvPr/>
                  </p:nvSpPr>
                  <p:spPr bwMode="auto">
                    <a:xfrm>
                      <a:off x="5634038" y="4657725"/>
                      <a:ext cx="153987" cy="155574"/>
                    </a:xfrm>
                    <a:custGeom>
                      <a:avLst/>
                      <a:gdLst>
                        <a:gd name="T0" fmla="*/ 16 w 40"/>
                        <a:gd name="T1" fmla="*/ 40 h 40"/>
                        <a:gd name="T2" fmla="*/ 14 w 40"/>
                        <a:gd name="T3" fmla="*/ 35 h 40"/>
                        <a:gd name="T4" fmla="*/ 7 w 40"/>
                        <a:gd name="T5" fmla="*/ 34 h 40"/>
                        <a:gd name="T6" fmla="*/ 5 w 40"/>
                        <a:gd name="T7" fmla="*/ 33 h 40"/>
                        <a:gd name="T8" fmla="*/ 1 w 40"/>
                        <a:gd name="T9" fmla="*/ 24 h 40"/>
                        <a:gd name="T10" fmla="*/ 4 w 40"/>
                        <a:gd name="T11" fmla="*/ 18 h 40"/>
                        <a:gd name="T12" fmla="*/ 0 w 40"/>
                        <a:gd name="T13" fmla="*/ 15 h 40"/>
                        <a:gd name="T14" fmla="*/ 5 w 40"/>
                        <a:gd name="T15" fmla="*/ 7 h 40"/>
                        <a:gd name="T16" fmla="*/ 7 w 40"/>
                        <a:gd name="T17" fmla="*/ 6 h 40"/>
                        <a:gd name="T18" fmla="*/ 14 w 40"/>
                        <a:gd name="T19" fmla="*/ 5 h 40"/>
                        <a:gd name="T20" fmla="*/ 16 w 40"/>
                        <a:gd name="T21" fmla="*/ 0 h 40"/>
                        <a:gd name="T22" fmla="*/ 26 w 40"/>
                        <a:gd name="T23" fmla="*/ 2 h 40"/>
                        <a:gd name="T24" fmla="*/ 30 w 40"/>
                        <a:gd name="T25" fmla="*/ 7 h 40"/>
                        <a:gd name="T26" fmla="*/ 34 w 40"/>
                        <a:gd name="T27" fmla="*/ 6 h 40"/>
                        <a:gd name="T28" fmla="*/ 39 w 40"/>
                        <a:gd name="T29" fmla="*/ 13 h 40"/>
                        <a:gd name="T30" fmla="*/ 36 w 40"/>
                        <a:gd name="T31" fmla="*/ 18 h 40"/>
                        <a:gd name="T32" fmla="*/ 39 w 40"/>
                        <a:gd name="T33" fmla="*/ 24 h 40"/>
                        <a:gd name="T34" fmla="*/ 35 w 40"/>
                        <a:gd name="T35" fmla="*/ 33 h 40"/>
                        <a:gd name="T36" fmla="*/ 33 w 40"/>
                        <a:gd name="T37" fmla="*/ 34 h 40"/>
                        <a:gd name="T38" fmla="*/ 26 w 40"/>
                        <a:gd name="T39" fmla="*/ 35 h 40"/>
                        <a:gd name="T40" fmla="*/ 24 w 40"/>
                        <a:gd name="T41" fmla="*/ 40 h 40"/>
                        <a:gd name="T42" fmla="*/ 22 w 40"/>
                        <a:gd name="T43" fmla="*/ 36 h 40"/>
                        <a:gd name="T44" fmla="*/ 23 w 40"/>
                        <a:gd name="T45" fmla="*/ 31 h 40"/>
                        <a:gd name="T46" fmla="*/ 31 w 40"/>
                        <a:gd name="T47" fmla="*/ 28 h 40"/>
                        <a:gd name="T48" fmla="*/ 35 w 40"/>
                        <a:gd name="T49" fmla="*/ 26 h 40"/>
                        <a:gd name="T50" fmla="*/ 32 w 40"/>
                        <a:gd name="T51" fmla="*/ 23 h 40"/>
                        <a:gd name="T52" fmla="*/ 33 w 40"/>
                        <a:gd name="T53" fmla="*/ 15 h 40"/>
                        <a:gd name="T54" fmla="*/ 33 w 40"/>
                        <a:gd name="T55" fmla="*/ 10 h 40"/>
                        <a:gd name="T56" fmla="*/ 28 w 40"/>
                        <a:gd name="T57" fmla="*/ 11 h 40"/>
                        <a:gd name="T58" fmla="*/ 22 w 40"/>
                        <a:gd name="T59" fmla="*/ 7 h 40"/>
                        <a:gd name="T60" fmla="*/ 18 w 40"/>
                        <a:gd name="T61" fmla="*/ 4 h 40"/>
                        <a:gd name="T62" fmla="*/ 17 w 40"/>
                        <a:gd name="T63" fmla="*/ 9 h 40"/>
                        <a:gd name="T64" fmla="*/ 9 w 40"/>
                        <a:gd name="T65" fmla="*/ 12 h 40"/>
                        <a:gd name="T66" fmla="*/ 5 w 40"/>
                        <a:gd name="T67" fmla="*/ 14 h 40"/>
                        <a:gd name="T68" fmla="*/ 8 w 40"/>
                        <a:gd name="T69" fmla="*/ 17 h 40"/>
                        <a:gd name="T70" fmla="*/ 7 w 40"/>
                        <a:gd name="T71" fmla="*/ 25 h 40"/>
                        <a:gd name="T72" fmla="*/ 7 w 40"/>
                        <a:gd name="T73" fmla="*/ 30 h 40"/>
                        <a:gd name="T74" fmla="*/ 12 w 40"/>
                        <a:gd name="T75" fmla="*/ 29 h 40"/>
                        <a:gd name="T76" fmla="*/ 18 w 40"/>
                        <a:gd name="T77" fmla="*/ 33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0" h="40">
                          <a:moveTo>
                            <a:pt x="24" y="40"/>
                          </a:moveTo>
                          <a:cubicBezTo>
                            <a:pt x="16" y="40"/>
                            <a:pt x="16" y="40"/>
                            <a:pt x="16" y="40"/>
                          </a:cubicBezTo>
                          <a:cubicBezTo>
                            <a:pt x="15" y="40"/>
                            <a:pt x="14" y="39"/>
                            <a:pt x="14" y="38"/>
                          </a:cubicBezTo>
                          <a:cubicBezTo>
                            <a:pt x="14" y="35"/>
                            <a:pt x="14" y="35"/>
                            <a:pt x="14" y="35"/>
                          </a:cubicBezTo>
                          <a:cubicBezTo>
                            <a:pt x="13" y="34"/>
                            <a:pt x="11" y="34"/>
                            <a:pt x="10" y="33"/>
                          </a:cubicBezTo>
                          <a:cubicBezTo>
                            <a:pt x="7" y="34"/>
                            <a:pt x="7" y="34"/>
                            <a:pt x="7" y="34"/>
                          </a:cubicBezTo>
                          <a:cubicBezTo>
                            <a:pt x="7" y="34"/>
                            <a:pt x="6" y="35"/>
                            <a:pt x="6" y="34"/>
                          </a:cubicBezTo>
                          <a:cubicBezTo>
                            <a:pt x="5" y="34"/>
                            <a:pt x="5" y="34"/>
                            <a:pt x="5" y="33"/>
                          </a:cubicBezTo>
                          <a:cubicBezTo>
                            <a:pt x="1" y="27"/>
                            <a:pt x="1" y="27"/>
                            <a:pt x="1" y="27"/>
                          </a:cubicBezTo>
                          <a:cubicBezTo>
                            <a:pt x="0" y="26"/>
                            <a:pt x="0" y="24"/>
                            <a:pt x="1" y="24"/>
                          </a:cubicBezTo>
                          <a:cubicBezTo>
                            <a:pt x="4" y="22"/>
                            <a:pt x="4" y="22"/>
                            <a:pt x="4" y="22"/>
                          </a:cubicBezTo>
                          <a:cubicBezTo>
                            <a:pt x="4" y="21"/>
                            <a:pt x="4" y="19"/>
                            <a:pt x="4" y="18"/>
                          </a:cubicBezTo>
                          <a:cubicBezTo>
                            <a:pt x="1" y="16"/>
                            <a:pt x="1" y="16"/>
                            <a:pt x="1" y="16"/>
                          </a:cubicBezTo>
                          <a:cubicBezTo>
                            <a:pt x="1" y="16"/>
                            <a:pt x="1" y="15"/>
                            <a:pt x="0" y="15"/>
                          </a:cubicBezTo>
                          <a:cubicBezTo>
                            <a:pt x="0" y="14"/>
                            <a:pt x="0" y="14"/>
                            <a:pt x="1" y="13"/>
                          </a:cubicBezTo>
                          <a:cubicBezTo>
                            <a:pt x="5" y="7"/>
                            <a:pt x="5" y="7"/>
                            <a:pt x="5" y="7"/>
                          </a:cubicBezTo>
                          <a:cubicBezTo>
                            <a:pt x="5" y="6"/>
                            <a:pt x="5" y="6"/>
                            <a:pt x="6" y="6"/>
                          </a:cubicBezTo>
                          <a:cubicBezTo>
                            <a:pt x="6" y="5"/>
                            <a:pt x="7" y="6"/>
                            <a:pt x="7" y="6"/>
                          </a:cubicBezTo>
                          <a:cubicBezTo>
                            <a:pt x="10" y="7"/>
                            <a:pt x="10" y="7"/>
                            <a:pt x="10" y="7"/>
                          </a:cubicBezTo>
                          <a:cubicBezTo>
                            <a:pt x="11" y="7"/>
                            <a:pt x="13" y="6"/>
                            <a:pt x="14" y="5"/>
                          </a:cubicBezTo>
                          <a:cubicBezTo>
                            <a:pt x="14" y="2"/>
                            <a:pt x="14" y="2"/>
                            <a:pt x="14" y="2"/>
                          </a:cubicBezTo>
                          <a:cubicBezTo>
                            <a:pt x="14" y="1"/>
                            <a:pt x="15" y="0"/>
                            <a:pt x="16" y="0"/>
                          </a:cubicBezTo>
                          <a:cubicBezTo>
                            <a:pt x="24" y="0"/>
                            <a:pt x="24" y="0"/>
                            <a:pt x="24" y="0"/>
                          </a:cubicBezTo>
                          <a:cubicBezTo>
                            <a:pt x="25" y="0"/>
                            <a:pt x="26" y="1"/>
                            <a:pt x="26" y="2"/>
                          </a:cubicBezTo>
                          <a:cubicBezTo>
                            <a:pt x="26" y="5"/>
                            <a:pt x="26" y="5"/>
                            <a:pt x="26" y="5"/>
                          </a:cubicBezTo>
                          <a:cubicBezTo>
                            <a:pt x="27" y="6"/>
                            <a:pt x="29" y="6"/>
                            <a:pt x="30" y="7"/>
                          </a:cubicBezTo>
                          <a:cubicBezTo>
                            <a:pt x="33" y="6"/>
                            <a:pt x="33" y="6"/>
                            <a:pt x="33" y="6"/>
                          </a:cubicBezTo>
                          <a:cubicBezTo>
                            <a:pt x="33" y="6"/>
                            <a:pt x="34" y="5"/>
                            <a:pt x="34" y="6"/>
                          </a:cubicBezTo>
                          <a:cubicBezTo>
                            <a:pt x="35" y="6"/>
                            <a:pt x="35" y="6"/>
                            <a:pt x="35" y="7"/>
                          </a:cubicBezTo>
                          <a:cubicBezTo>
                            <a:pt x="39" y="13"/>
                            <a:pt x="39" y="13"/>
                            <a:pt x="39" y="13"/>
                          </a:cubicBezTo>
                          <a:cubicBezTo>
                            <a:pt x="40" y="14"/>
                            <a:pt x="40" y="16"/>
                            <a:pt x="39" y="16"/>
                          </a:cubicBezTo>
                          <a:cubicBezTo>
                            <a:pt x="36" y="18"/>
                            <a:pt x="36" y="18"/>
                            <a:pt x="36" y="18"/>
                          </a:cubicBezTo>
                          <a:cubicBezTo>
                            <a:pt x="36" y="19"/>
                            <a:pt x="36" y="21"/>
                            <a:pt x="36" y="22"/>
                          </a:cubicBezTo>
                          <a:cubicBezTo>
                            <a:pt x="39" y="24"/>
                            <a:pt x="39" y="24"/>
                            <a:pt x="39" y="24"/>
                          </a:cubicBezTo>
                          <a:cubicBezTo>
                            <a:pt x="40" y="24"/>
                            <a:pt x="40" y="26"/>
                            <a:pt x="39" y="27"/>
                          </a:cubicBezTo>
                          <a:cubicBezTo>
                            <a:pt x="35" y="33"/>
                            <a:pt x="35" y="33"/>
                            <a:pt x="35" y="33"/>
                          </a:cubicBezTo>
                          <a:cubicBezTo>
                            <a:pt x="35" y="34"/>
                            <a:pt x="35" y="34"/>
                            <a:pt x="34" y="34"/>
                          </a:cubicBezTo>
                          <a:cubicBezTo>
                            <a:pt x="34" y="35"/>
                            <a:pt x="33" y="34"/>
                            <a:pt x="33" y="34"/>
                          </a:cubicBezTo>
                          <a:cubicBezTo>
                            <a:pt x="30" y="33"/>
                            <a:pt x="30" y="33"/>
                            <a:pt x="30" y="33"/>
                          </a:cubicBezTo>
                          <a:cubicBezTo>
                            <a:pt x="29" y="33"/>
                            <a:pt x="27" y="34"/>
                            <a:pt x="26" y="35"/>
                          </a:cubicBezTo>
                          <a:cubicBezTo>
                            <a:pt x="26" y="38"/>
                            <a:pt x="26" y="38"/>
                            <a:pt x="26" y="38"/>
                          </a:cubicBezTo>
                          <a:cubicBezTo>
                            <a:pt x="26" y="39"/>
                            <a:pt x="25" y="40"/>
                            <a:pt x="24" y="40"/>
                          </a:cubicBezTo>
                          <a:close/>
                          <a:moveTo>
                            <a:pt x="18" y="36"/>
                          </a:moveTo>
                          <a:cubicBezTo>
                            <a:pt x="22" y="36"/>
                            <a:pt x="22" y="36"/>
                            <a:pt x="22" y="36"/>
                          </a:cubicBezTo>
                          <a:cubicBezTo>
                            <a:pt x="22" y="33"/>
                            <a:pt x="22" y="33"/>
                            <a:pt x="22" y="33"/>
                          </a:cubicBezTo>
                          <a:cubicBezTo>
                            <a:pt x="22" y="32"/>
                            <a:pt x="23" y="32"/>
                            <a:pt x="23" y="31"/>
                          </a:cubicBezTo>
                          <a:cubicBezTo>
                            <a:pt x="25" y="31"/>
                            <a:pt x="27" y="30"/>
                            <a:pt x="28" y="29"/>
                          </a:cubicBezTo>
                          <a:cubicBezTo>
                            <a:pt x="29" y="28"/>
                            <a:pt x="30" y="28"/>
                            <a:pt x="31" y="28"/>
                          </a:cubicBezTo>
                          <a:cubicBezTo>
                            <a:pt x="33" y="30"/>
                            <a:pt x="33" y="30"/>
                            <a:pt x="33" y="30"/>
                          </a:cubicBezTo>
                          <a:cubicBezTo>
                            <a:pt x="35" y="26"/>
                            <a:pt x="35" y="26"/>
                            <a:pt x="35" y="26"/>
                          </a:cubicBezTo>
                          <a:cubicBezTo>
                            <a:pt x="33" y="25"/>
                            <a:pt x="33" y="25"/>
                            <a:pt x="33" y="25"/>
                          </a:cubicBezTo>
                          <a:cubicBezTo>
                            <a:pt x="32" y="25"/>
                            <a:pt x="31" y="24"/>
                            <a:pt x="32" y="23"/>
                          </a:cubicBezTo>
                          <a:cubicBezTo>
                            <a:pt x="32" y="21"/>
                            <a:pt x="32" y="19"/>
                            <a:pt x="32" y="17"/>
                          </a:cubicBezTo>
                          <a:cubicBezTo>
                            <a:pt x="31" y="16"/>
                            <a:pt x="32" y="15"/>
                            <a:pt x="33" y="15"/>
                          </a:cubicBezTo>
                          <a:cubicBezTo>
                            <a:pt x="35" y="14"/>
                            <a:pt x="35" y="14"/>
                            <a:pt x="35" y="14"/>
                          </a:cubicBezTo>
                          <a:cubicBezTo>
                            <a:pt x="33" y="10"/>
                            <a:pt x="33" y="10"/>
                            <a:pt x="33" y="10"/>
                          </a:cubicBezTo>
                          <a:cubicBezTo>
                            <a:pt x="31" y="12"/>
                            <a:pt x="31" y="12"/>
                            <a:pt x="31" y="12"/>
                          </a:cubicBezTo>
                          <a:cubicBezTo>
                            <a:pt x="30" y="12"/>
                            <a:pt x="29" y="12"/>
                            <a:pt x="28" y="11"/>
                          </a:cubicBezTo>
                          <a:cubicBezTo>
                            <a:pt x="27" y="10"/>
                            <a:pt x="25" y="9"/>
                            <a:pt x="23" y="9"/>
                          </a:cubicBezTo>
                          <a:cubicBezTo>
                            <a:pt x="23" y="8"/>
                            <a:pt x="22" y="8"/>
                            <a:pt x="22" y="7"/>
                          </a:cubicBezTo>
                          <a:cubicBezTo>
                            <a:pt x="22" y="4"/>
                            <a:pt x="22" y="4"/>
                            <a:pt x="22" y="4"/>
                          </a:cubicBezTo>
                          <a:cubicBezTo>
                            <a:pt x="18" y="4"/>
                            <a:pt x="18" y="4"/>
                            <a:pt x="18" y="4"/>
                          </a:cubicBezTo>
                          <a:cubicBezTo>
                            <a:pt x="18" y="7"/>
                            <a:pt x="18" y="7"/>
                            <a:pt x="18" y="7"/>
                          </a:cubicBezTo>
                          <a:cubicBezTo>
                            <a:pt x="18" y="8"/>
                            <a:pt x="17" y="8"/>
                            <a:pt x="17" y="9"/>
                          </a:cubicBezTo>
                          <a:cubicBezTo>
                            <a:pt x="15" y="9"/>
                            <a:pt x="13" y="10"/>
                            <a:pt x="12" y="11"/>
                          </a:cubicBezTo>
                          <a:cubicBezTo>
                            <a:pt x="11" y="12"/>
                            <a:pt x="10" y="12"/>
                            <a:pt x="9" y="12"/>
                          </a:cubicBezTo>
                          <a:cubicBezTo>
                            <a:pt x="7" y="10"/>
                            <a:pt x="7" y="10"/>
                            <a:pt x="7" y="10"/>
                          </a:cubicBezTo>
                          <a:cubicBezTo>
                            <a:pt x="5" y="14"/>
                            <a:pt x="5" y="14"/>
                            <a:pt x="5" y="14"/>
                          </a:cubicBezTo>
                          <a:cubicBezTo>
                            <a:pt x="7" y="15"/>
                            <a:pt x="7" y="15"/>
                            <a:pt x="7" y="15"/>
                          </a:cubicBezTo>
                          <a:cubicBezTo>
                            <a:pt x="8" y="15"/>
                            <a:pt x="9" y="16"/>
                            <a:pt x="8" y="17"/>
                          </a:cubicBezTo>
                          <a:cubicBezTo>
                            <a:pt x="8" y="19"/>
                            <a:pt x="8" y="21"/>
                            <a:pt x="8" y="23"/>
                          </a:cubicBezTo>
                          <a:cubicBezTo>
                            <a:pt x="9" y="24"/>
                            <a:pt x="8" y="24"/>
                            <a:pt x="7" y="25"/>
                          </a:cubicBezTo>
                          <a:cubicBezTo>
                            <a:pt x="5" y="26"/>
                            <a:pt x="5" y="26"/>
                            <a:pt x="5" y="26"/>
                          </a:cubicBezTo>
                          <a:cubicBezTo>
                            <a:pt x="7" y="30"/>
                            <a:pt x="7" y="30"/>
                            <a:pt x="7" y="30"/>
                          </a:cubicBezTo>
                          <a:cubicBezTo>
                            <a:pt x="9" y="28"/>
                            <a:pt x="9" y="28"/>
                            <a:pt x="9" y="28"/>
                          </a:cubicBezTo>
                          <a:cubicBezTo>
                            <a:pt x="10" y="28"/>
                            <a:pt x="11" y="28"/>
                            <a:pt x="12" y="29"/>
                          </a:cubicBezTo>
                          <a:cubicBezTo>
                            <a:pt x="13" y="30"/>
                            <a:pt x="15" y="31"/>
                            <a:pt x="17" y="31"/>
                          </a:cubicBezTo>
                          <a:cubicBezTo>
                            <a:pt x="17" y="32"/>
                            <a:pt x="18" y="33"/>
                            <a:pt x="18" y="33"/>
                          </a:cubicBezTo>
                          <a:lnTo>
                            <a:pt x="18" y="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grpSp>
            </p:grpSp>
          </p:grpSp>
          <p:grpSp>
            <p:nvGrpSpPr>
              <p:cNvPr id="289" name="Group 288"/>
              <p:cNvGrpSpPr/>
              <p:nvPr/>
            </p:nvGrpSpPr>
            <p:grpSpPr>
              <a:xfrm>
                <a:off x="428696" y="2618697"/>
                <a:ext cx="1811303" cy="693106"/>
                <a:chOff x="428696" y="2663174"/>
                <a:chExt cx="1811303" cy="693106"/>
              </a:xfrm>
            </p:grpSpPr>
            <p:sp>
              <p:nvSpPr>
                <p:cNvPr id="290" name="Rectangle 289"/>
                <p:cNvSpPr/>
                <p:nvPr/>
              </p:nvSpPr>
              <p:spPr>
                <a:xfrm>
                  <a:off x="428696" y="2663174"/>
                  <a:ext cx="1811303" cy="693106"/>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grpSp>
              <p:nvGrpSpPr>
                <p:cNvPr id="291" name="Group 290"/>
                <p:cNvGrpSpPr/>
                <p:nvPr/>
              </p:nvGrpSpPr>
              <p:grpSpPr>
                <a:xfrm>
                  <a:off x="610512" y="2776736"/>
                  <a:ext cx="1447670" cy="465983"/>
                  <a:chOff x="431800" y="990281"/>
                  <a:chExt cx="1447670" cy="465983"/>
                </a:xfrm>
              </p:grpSpPr>
              <p:sp>
                <p:nvSpPr>
                  <p:cNvPr id="292" name="TextBox 291"/>
                  <p:cNvSpPr txBox="1"/>
                  <p:nvPr/>
                </p:nvSpPr>
                <p:spPr>
                  <a:xfrm>
                    <a:off x="431800" y="990281"/>
                    <a:ext cx="371789" cy="153888"/>
                  </a:xfrm>
                  <a:prstGeom prst="rect">
                    <a:avLst/>
                  </a:prstGeom>
                  <a:noFill/>
                  <a:ln w="6350">
                    <a:noFill/>
                    <a:prstDash val="dash"/>
                  </a:ln>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effectLst/>
                        <a:uLnTx/>
                        <a:uFillTx/>
                        <a:ea typeface="+mn-ea"/>
                        <a:cs typeface="+mn-cs"/>
                      </a:rPr>
                      <a:t>TASK 3</a:t>
                    </a:r>
                  </a:p>
                </p:txBody>
              </p:sp>
              <p:sp>
                <p:nvSpPr>
                  <p:cNvPr id="293" name="TextBox 292"/>
                  <p:cNvSpPr txBox="1"/>
                  <p:nvPr/>
                </p:nvSpPr>
                <p:spPr>
                  <a:xfrm>
                    <a:off x="431800" y="1148487"/>
                    <a:ext cx="1447670" cy="307777"/>
                  </a:xfrm>
                  <a:prstGeom prst="rect">
                    <a:avLst/>
                  </a:prstGeom>
                  <a:noFill/>
                  <a:ln w="6350">
                    <a:noFill/>
                    <a:prstDash val="dash"/>
                  </a:ln>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effectLst/>
                        <a:uLnTx/>
                        <a:uFillTx/>
                        <a:ea typeface="+mn-ea"/>
                        <a:cs typeface="+mn-cs"/>
                      </a:rPr>
                      <a:t>Lorem </a:t>
                    </a:r>
                    <a:r>
                      <a:rPr kumimoji="0" lang="en-US" sz="1000" b="0" i="0" u="none" strike="noStrike" kern="1200" cap="none" spc="0" normalizeH="0" baseline="0" noProof="0" dirty="0" err="1">
                        <a:ln>
                          <a:noFill/>
                        </a:ln>
                        <a:effectLst/>
                        <a:uLnTx/>
                        <a:uFillTx/>
                        <a:ea typeface="+mn-ea"/>
                        <a:cs typeface="+mn-cs"/>
                      </a:rPr>
                      <a:t>Ipsum</a:t>
                    </a:r>
                    <a:r>
                      <a:rPr kumimoji="0" lang="en-US" sz="1000" b="0" i="0" u="none" strike="noStrike" kern="1200" cap="none" spc="0" normalizeH="0" baseline="0" noProof="0" dirty="0">
                        <a:ln>
                          <a:noFill/>
                        </a:ln>
                        <a:effectLst/>
                        <a:uLnTx/>
                        <a:uFillTx/>
                        <a:ea typeface="+mn-ea"/>
                        <a:cs typeface="+mn-cs"/>
                      </a:rPr>
                      <a:t> is simply dummy text of the printing</a:t>
                    </a:r>
                  </a:p>
                </p:txBody>
              </p:sp>
            </p:grpSp>
          </p:grpSp>
        </p:grpSp>
        <p:grpSp>
          <p:nvGrpSpPr>
            <p:cNvPr id="305" name="Group 304"/>
            <p:cNvGrpSpPr/>
            <p:nvPr/>
          </p:nvGrpSpPr>
          <p:grpSpPr>
            <a:xfrm>
              <a:off x="449630" y="4300080"/>
              <a:ext cx="7229404" cy="693106"/>
              <a:chOff x="428696" y="3453383"/>
              <a:chExt cx="7229404" cy="693106"/>
            </a:xfrm>
          </p:grpSpPr>
          <p:grpSp>
            <p:nvGrpSpPr>
              <p:cNvPr id="306" name="Group 305"/>
              <p:cNvGrpSpPr/>
              <p:nvPr/>
            </p:nvGrpSpPr>
            <p:grpSpPr>
              <a:xfrm>
                <a:off x="428696" y="3453383"/>
                <a:ext cx="1811303" cy="693106"/>
                <a:chOff x="428696" y="3630644"/>
                <a:chExt cx="1811303" cy="693106"/>
              </a:xfrm>
            </p:grpSpPr>
            <p:sp>
              <p:nvSpPr>
                <p:cNvPr id="319" name="Rectangle 318"/>
                <p:cNvSpPr/>
                <p:nvPr/>
              </p:nvSpPr>
              <p:spPr>
                <a:xfrm>
                  <a:off x="428696" y="3630644"/>
                  <a:ext cx="1811303" cy="693106"/>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grpSp>
              <p:nvGrpSpPr>
                <p:cNvPr id="320" name="Group 319"/>
                <p:cNvGrpSpPr/>
                <p:nvPr/>
              </p:nvGrpSpPr>
              <p:grpSpPr>
                <a:xfrm>
                  <a:off x="610512" y="3744206"/>
                  <a:ext cx="1447670" cy="465983"/>
                  <a:chOff x="431800" y="990281"/>
                  <a:chExt cx="1447670" cy="465983"/>
                </a:xfrm>
              </p:grpSpPr>
              <p:sp>
                <p:nvSpPr>
                  <p:cNvPr id="321" name="TextBox 320"/>
                  <p:cNvSpPr txBox="1"/>
                  <p:nvPr/>
                </p:nvSpPr>
                <p:spPr>
                  <a:xfrm>
                    <a:off x="431800" y="990281"/>
                    <a:ext cx="371789" cy="153888"/>
                  </a:xfrm>
                  <a:prstGeom prst="rect">
                    <a:avLst/>
                  </a:prstGeom>
                  <a:noFill/>
                  <a:ln w="6350">
                    <a:noFill/>
                    <a:prstDash val="dash"/>
                  </a:ln>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effectLst/>
                        <a:uLnTx/>
                        <a:uFillTx/>
                        <a:ea typeface="+mn-ea"/>
                        <a:cs typeface="+mn-cs"/>
                      </a:rPr>
                      <a:t>TASK 4</a:t>
                    </a:r>
                  </a:p>
                </p:txBody>
              </p:sp>
              <p:sp>
                <p:nvSpPr>
                  <p:cNvPr id="322" name="TextBox 321"/>
                  <p:cNvSpPr txBox="1"/>
                  <p:nvPr/>
                </p:nvSpPr>
                <p:spPr>
                  <a:xfrm>
                    <a:off x="431800" y="1148487"/>
                    <a:ext cx="1447670" cy="307777"/>
                  </a:xfrm>
                  <a:prstGeom prst="rect">
                    <a:avLst/>
                  </a:prstGeom>
                  <a:noFill/>
                  <a:ln w="6350">
                    <a:noFill/>
                    <a:prstDash val="dash"/>
                  </a:ln>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effectLst/>
                        <a:uLnTx/>
                        <a:uFillTx/>
                        <a:ea typeface="+mn-ea"/>
                        <a:cs typeface="+mn-cs"/>
                      </a:rPr>
                      <a:t>Lorem </a:t>
                    </a:r>
                    <a:r>
                      <a:rPr kumimoji="0" lang="en-US" sz="1000" b="0" i="0" u="none" strike="noStrike" kern="1200" cap="none" spc="0" normalizeH="0" baseline="0" noProof="0" dirty="0" err="1">
                        <a:ln>
                          <a:noFill/>
                        </a:ln>
                        <a:effectLst/>
                        <a:uLnTx/>
                        <a:uFillTx/>
                        <a:ea typeface="+mn-ea"/>
                        <a:cs typeface="+mn-cs"/>
                      </a:rPr>
                      <a:t>Ipsum</a:t>
                    </a:r>
                    <a:r>
                      <a:rPr kumimoji="0" lang="en-US" sz="1000" b="0" i="0" u="none" strike="noStrike" kern="1200" cap="none" spc="0" normalizeH="0" baseline="0" noProof="0" dirty="0">
                        <a:ln>
                          <a:noFill/>
                        </a:ln>
                        <a:effectLst/>
                        <a:uLnTx/>
                        <a:uFillTx/>
                        <a:ea typeface="+mn-ea"/>
                        <a:cs typeface="+mn-cs"/>
                      </a:rPr>
                      <a:t> is simply dummy text of the printing</a:t>
                    </a:r>
                  </a:p>
                </p:txBody>
              </p:sp>
            </p:grpSp>
          </p:grpSp>
          <p:grpSp>
            <p:nvGrpSpPr>
              <p:cNvPr id="307" name="Group 306"/>
              <p:cNvGrpSpPr/>
              <p:nvPr/>
            </p:nvGrpSpPr>
            <p:grpSpPr>
              <a:xfrm>
                <a:off x="5184847" y="3453383"/>
                <a:ext cx="2473253" cy="596240"/>
                <a:chOff x="5184847" y="3596549"/>
                <a:chExt cx="2473253" cy="596240"/>
              </a:xfrm>
            </p:grpSpPr>
            <p:sp>
              <p:nvSpPr>
                <p:cNvPr id="308" name="Line 6"/>
                <p:cNvSpPr>
                  <a:spLocks noChangeShapeType="1"/>
                </p:cNvSpPr>
                <p:nvPr/>
              </p:nvSpPr>
              <p:spPr bwMode="auto">
                <a:xfrm>
                  <a:off x="5654665" y="3950548"/>
                  <a:ext cx="2003435" cy="0"/>
                </a:xfrm>
                <a:prstGeom prst="line">
                  <a:avLst/>
                </a:prstGeom>
                <a:noFill/>
                <a:ln w="19050" cap="rnd">
                  <a:solidFill>
                    <a:srgbClr val="3B3939"/>
                  </a:solidFill>
                  <a:prstDash val="solid"/>
                  <a:round/>
                  <a:headEnd/>
                  <a:tailEnd type="oval"/>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309" name="Oval 308"/>
                <p:cNvSpPr>
                  <a:spLocks noChangeAspect="1"/>
                </p:cNvSpPr>
                <p:nvPr/>
              </p:nvSpPr>
              <p:spPr>
                <a:xfrm>
                  <a:off x="5184847" y="3701020"/>
                  <a:ext cx="491769" cy="491769"/>
                </a:xfrm>
                <a:prstGeom prst="ellipse">
                  <a:avLst/>
                </a:prstGeom>
                <a:solidFill>
                  <a:srgbClr val="3B3939"/>
                </a:solidFill>
                <a:ln>
                  <a:noFill/>
                </a:ln>
                <a:effectLst>
                  <a:outerShdw blurRad="25400" dist="254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grpSp>
              <p:nvGrpSpPr>
                <p:cNvPr id="310" name="Group 309"/>
                <p:cNvGrpSpPr/>
                <p:nvPr/>
              </p:nvGrpSpPr>
              <p:grpSpPr>
                <a:xfrm>
                  <a:off x="5713682" y="3596549"/>
                  <a:ext cx="1819595" cy="303026"/>
                  <a:chOff x="2637412" y="816342"/>
                  <a:chExt cx="1819595" cy="303026"/>
                </a:xfrm>
              </p:grpSpPr>
              <p:sp>
                <p:nvSpPr>
                  <p:cNvPr id="317" name="TextBox 316"/>
                  <p:cNvSpPr txBox="1"/>
                  <p:nvPr/>
                </p:nvSpPr>
                <p:spPr>
                  <a:xfrm>
                    <a:off x="2637413" y="816342"/>
                    <a:ext cx="1447670" cy="153888"/>
                  </a:xfrm>
                  <a:prstGeom prst="rect">
                    <a:avLst/>
                  </a:prstGeom>
                  <a:noFill/>
                  <a:ln w="6350">
                    <a:noFill/>
                    <a:prstDash val="dash"/>
                  </a:ln>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3B3939"/>
                        </a:solidFill>
                        <a:effectLst/>
                        <a:uLnTx/>
                        <a:uFillTx/>
                        <a:ea typeface="+mn-ea"/>
                        <a:cs typeface="+mn-cs"/>
                      </a:rPr>
                      <a:t>START – FINISH DATE</a:t>
                    </a:r>
                  </a:p>
                </p:txBody>
              </p:sp>
              <p:sp>
                <p:nvSpPr>
                  <p:cNvPr id="318" name="TextBox 317"/>
                  <p:cNvSpPr txBox="1"/>
                  <p:nvPr/>
                </p:nvSpPr>
                <p:spPr>
                  <a:xfrm>
                    <a:off x="2637412" y="965480"/>
                    <a:ext cx="1819595" cy="153888"/>
                  </a:xfrm>
                  <a:prstGeom prst="rect">
                    <a:avLst/>
                  </a:prstGeom>
                  <a:noFill/>
                  <a:ln w="6350">
                    <a:noFill/>
                    <a:prstDash val="dash"/>
                  </a:ln>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effectLst/>
                        <a:uLnTx/>
                        <a:uFillTx/>
                        <a:ea typeface="+mn-ea"/>
                        <a:cs typeface="+mn-cs"/>
                      </a:rPr>
                      <a:t>Lorem </a:t>
                    </a:r>
                    <a:r>
                      <a:rPr kumimoji="0" lang="en-US" sz="1000" b="0" i="0" u="none" strike="noStrike" kern="1200" cap="none" spc="0" normalizeH="0" baseline="0" noProof="0" dirty="0" err="1">
                        <a:ln>
                          <a:noFill/>
                        </a:ln>
                        <a:effectLst/>
                        <a:uLnTx/>
                        <a:uFillTx/>
                        <a:ea typeface="+mn-ea"/>
                        <a:cs typeface="+mn-cs"/>
                      </a:rPr>
                      <a:t>Ipsum</a:t>
                    </a:r>
                    <a:r>
                      <a:rPr kumimoji="0" lang="en-US" sz="1000" b="0" i="0" u="none" strike="noStrike" kern="1200" cap="none" spc="0" normalizeH="0" baseline="0" noProof="0" dirty="0">
                        <a:ln>
                          <a:noFill/>
                        </a:ln>
                        <a:effectLst/>
                        <a:uLnTx/>
                        <a:uFillTx/>
                        <a:ea typeface="+mn-ea"/>
                        <a:cs typeface="+mn-cs"/>
                      </a:rPr>
                      <a:t> is simply dummy text</a:t>
                    </a:r>
                  </a:p>
                </p:txBody>
              </p:sp>
            </p:grpSp>
            <p:grpSp>
              <p:nvGrpSpPr>
                <p:cNvPr id="311" name="Group 310"/>
                <p:cNvGrpSpPr>
                  <a:grpSpLocks noChangeAspect="1"/>
                </p:cNvGrpSpPr>
                <p:nvPr/>
              </p:nvGrpSpPr>
              <p:grpSpPr>
                <a:xfrm>
                  <a:off x="5287605" y="3820897"/>
                  <a:ext cx="286252" cy="252014"/>
                  <a:chOff x="5227638" y="4597393"/>
                  <a:chExt cx="371475" cy="327043"/>
                </a:xfrm>
                <a:solidFill>
                  <a:schemeClr val="bg1"/>
                </a:solidFill>
              </p:grpSpPr>
              <p:sp>
                <p:nvSpPr>
                  <p:cNvPr id="312" name="Freeform 46"/>
                  <p:cNvSpPr>
                    <a:spLocks noEditPoints="1"/>
                  </p:cNvSpPr>
                  <p:nvPr/>
                </p:nvSpPr>
                <p:spPr bwMode="auto">
                  <a:xfrm>
                    <a:off x="5227638" y="4597393"/>
                    <a:ext cx="371475" cy="295275"/>
                  </a:xfrm>
                  <a:custGeom>
                    <a:avLst/>
                    <a:gdLst>
                      <a:gd name="T0" fmla="*/ 88 w 96"/>
                      <a:gd name="T1" fmla="*/ 76 h 76"/>
                      <a:gd name="T2" fmla="*/ 8 w 96"/>
                      <a:gd name="T3" fmla="*/ 76 h 76"/>
                      <a:gd name="T4" fmla="*/ 0 w 96"/>
                      <a:gd name="T5" fmla="*/ 68 h 76"/>
                      <a:gd name="T6" fmla="*/ 0 w 96"/>
                      <a:gd name="T7" fmla="*/ 8 h 76"/>
                      <a:gd name="T8" fmla="*/ 8 w 96"/>
                      <a:gd name="T9" fmla="*/ 0 h 76"/>
                      <a:gd name="T10" fmla="*/ 88 w 96"/>
                      <a:gd name="T11" fmla="*/ 0 h 76"/>
                      <a:gd name="T12" fmla="*/ 96 w 96"/>
                      <a:gd name="T13" fmla="*/ 8 h 76"/>
                      <a:gd name="T14" fmla="*/ 96 w 96"/>
                      <a:gd name="T15" fmla="*/ 68 h 76"/>
                      <a:gd name="T16" fmla="*/ 88 w 96"/>
                      <a:gd name="T17" fmla="*/ 76 h 76"/>
                      <a:gd name="T18" fmla="*/ 8 w 96"/>
                      <a:gd name="T19" fmla="*/ 4 h 76"/>
                      <a:gd name="T20" fmla="*/ 4 w 96"/>
                      <a:gd name="T21" fmla="*/ 8 h 76"/>
                      <a:gd name="T22" fmla="*/ 4 w 96"/>
                      <a:gd name="T23" fmla="*/ 68 h 76"/>
                      <a:gd name="T24" fmla="*/ 8 w 96"/>
                      <a:gd name="T25" fmla="*/ 72 h 76"/>
                      <a:gd name="T26" fmla="*/ 88 w 96"/>
                      <a:gd name="T27" fmla="*/ 72 h 76"/>
                      <a:gd name="T28" fmla="*/ 92 w 96"/>
                      <a:gd name="T29" fmla="*/ 68 h 76"/>
                      <a:gd name="T30" fmla="*/ 92 w 96"/>
                      <a:gd name="T31" fmla="*/ 8 h 76"/>
                      <a:gd name="T32" fmla="*/ 88 w 96"/>
                      <a:gd name="T33" fmla="*/ 4 h 76"/>
                      <a:gd name="T34" fmla="*/ 8 w 96"/>
                      <a:gd name="T35" fmla="*/ 4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6" h="76">
                        <a:moveTo>
                          <a:pt x="88" y="76"/>
                        </a:moveTo>
                        <a:cubicBezTo>
                          <a:pt x="8" y="76"/>
                          <a:pt x="8" y="76"/>
                          <a:pt x="8" y="76"/>
                        </a:cubicBezTo>
                        <a:cubicBezTo>
                          <a:pt x="4" y="76"/>
                          <a:pt x="0" y="72"/>
                          <a:pt x="0" y="68"/>
                        </a:cubicBezTo>
                        <a:cubicBezTo>
                          <a:pt x="0" y="8"/>
                          <a:pt x="0" y="8"/>
                          <a:pt x="0" y="8"/>
                        </a:cubicBezTo>
                        <a:cubicBezTo>
                          <a:pt x="0" y="4"/>
                          <a:pt x="4" y="0"/>
                          <a:pt x="8" y="0"/>
                        </a:cubicBezTo>
                        <a:cubicBezTo>
                          <a:pt x="88" y="0"/>
                          <a:pt x="88" y="0"/>
                          <a:pt x="88" y="0"/>
                        </a:cubicBezTo>
                        <a:cubicBezTo>
                          <a:pt x="92" y="0"/>
                          <a:pt x="96" y="4"/>
                          <a:pt x="96" y="8"/>
                        </a:cubicBezTo>
                        <a:cubicBezTo>
                          <a:pt x="96" y="68"/>
                          <a:pt x="96" y="68"/>
                          <a:pt x="96" y="68"/>
                        </a:cubicBezTo>
                        <a:cubicBezTo>
                          <a:pt x="96" y="72"/>
                          <a:pt x="92" y="76"/>
                          <a:pt x="88" y="76"/>
                        </a:cubicBezTo>
                        <a:close/>
                        <a:moveTo>
                          <a:pt x="8" y="4"/>
                        </a:moveTo>
                        <a:cubicBezTo>
                          <a:pt x="6" y="4"/>
                          <a:pt x="4" y="6"/>
                          <a:pt x="4" y="8"/>
                        </a:cubicBezTo>
                        <a:cubicBezTo>
                          <a:pt x="4" y="68"/>
                          <a:pt x="4" y="68"/>
                          <a:pt x="4" y="68"/>
                        </a:cubicBezTo>
                        <a:cubicBezTo>
                          <a:pt x="4" y="70"/>
                          <a:pt x="6" y="72"/>
                          <a:pt x="8" y="72"/>
                        </a:cubicBezTo>
                        <a:cubicBezTo>
                          <a:pt x="88" y="72"/>
                          <a:pt x="88" y="72"/>
                          <a:pt x="88" y="72"/>
                        </a:cubicBezTo>
                        <a:cubicBezTo>
                          <a:pt x="90" y="72"/>
                          <a:pt x="92" y="70"/>
                          <a:pt x="92" y="68"/>
                        </a:cubicBezTo>
                        <a:cubicBezTo>
                          <a:pt x="92" y="8"/>
                          <a:pt x="92" y="8"/>
                          <a:pt x="92" y="8"/>
                        </a:cubicBezTo>
                        <a:cubicBezTo>
                          <a:pt x="92" y="6"/>
                          <a:pt x="90" y="4"/>
                          <a:pt x="88" y="4"/>
                        </a:cubicBezTo>
                        <a:lnTo>
                          <a:pt x="8"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313" name="Freeform 47"/>
                  <p:cNvSpPr>
                    <a:spLocks/>
                  </p:cNvSpPr>
                  <p:nvPr/>
                </p:nvSpPr>
                <p:spPr bwMode="auto">
                  <a:xfrm>
                    <a:off x="5297488" y="4908543"/>
                    <a:ext cx="231775" cy="15875"/>
                  </a:xfrm>
                  <a:custGeom>
                    <a:avLst/>
                    <a:gdLst>
                      <a:gd name="T0" fmla="*/ 58 w 60"/>
                      <a:gd name="T1" fmla="*/ 4 h 4"/>
                      <a:gd name="T2" fmla="*/ 2 w 60"/>
                      <a:gd name="T3" fmla="*/ 4 h 4"/>
                      <a:gd name="T4" fmla="*/ 0 w 60"/>
                      <a:gd name="T5" fmla="*/ 2 h 4"/>
                      <a:gd name="T6" fmla="*/ 2 w 60"/>
                      <a:gd name="T7" fmla="*/ 0 h 4"/>
                      <a:gd name="T8" fmla="*/ 58 w 60"/>
                      <a:gd name="T9" fmla="*/ 0 h 4"/>
                      <a:gd name="T10" fmla="*/ 60 w 60"/>
                      <a:gd name="T11" fmla="*/ 2 h 4"/>
                      <a:gd name="T12" fmla="*/ 58 w 60"/>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60" h="4">
                        <a:moveTo>
                          <a:pt x="58" y="4"/>
                        </a:moveTo>
                        <a:cubicBezTo>
                          <a:pt x="2" y="4"/>
                          <a:pt x="2" y="4"/>
                          <a:pt x="2" y="4"/>
                        </a:cubicBezTo>
                        <a:cubicBezTo>
                          <a:pt x="1" y="4"/>
                          <a:pt x="0" y="3"/>
                          <a:pt x="0" y="2"/>
                        </a:cubicBezTo>
                        <a:cubicBezTo>
                          <a:pt x="0" y="1"/>
                          <a:pt x="1" y="0"/>
                          <a:pt x="2" y="0"/>
                        </a:cubicBezTo>
                        <a:cubicBezTo>
                          <a:pt x="58" y="0"/>
                          <a:pt x="58" y="0"/>
                          <a:pt x="58" y="0"/>
                        </a:cubicBezTo>
                        <a:cubicBezTo>
                          <a:pt x="59" y="0"/>
                          <a:pt x="60" y="1"/>
                          <a:pt x="60" y="2"/>
                        </a:cubicBezTo>
                        <a:cubicBezTo>
                          <a:pt x="60" y="3"/>
                          <a:pt x="59" y="4"/>
                          <a:pt x="58"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314" name="Freeform 48"/>
                  <p:cNvSpPr>
                    <a:spLocks/>
                  </p:cNvSpPr>
                  <p:nvPr/>
                </p:nvSpPr>
                <p:spPr bwMode="auto">
                  <a:xfrm>
                    <a:off x="5405438" y="4876811"/>
                    <a:ext cx="15875" cy="47625"/>
                  </a:xfrm>
                  <a:custGeom>
                    <a:avLst/>
                    <a:gdLst>
                      <a:gd name="T0" fmla="*/ 2 w 4"/>
                      <a:gd name="T1" fmla="*/ 12 h 12"/>
                      <a:gd name="T2" fmla="*/ 0 w 4"/>
                      <a:gd name="T3" fmla="*/ 10 h 12"/>
                      <a:gd name="T4" fmla="*/ 0 w 4"/>
                      <a:gd name="T5" fmla="*/ 2 h 12"/>
                      <a:gd name="T6" fmla="*/ 2 w 4"/>
                      <a:gd name="T7" fmla="*/ 0 h 12"/>
                      <a:gd name="T8" fmla="*/ 4 w 4"/>
                      <a:gd name="T9" fmla="*/ 2 h 12"/>
                      <a:gd name="T10" fmla="*/ 4 w 4"/>
                      <a:gd name="T11" fmla="*/ 10 h 12"/>
                      <a:gd name="T12" fmla="*/ 2 w 4"/>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4" h="12">
                        <a:moveTo>
                          <a:pt x="2" y="12"/>
                        </a:moveTo>
                        <a:cubicBezTo>
                          <a:pt x="1" y="12"/>
                          <a:pt x="0" y="11"/>
                          <a:pt x="0" y="10"/>
                        </a:cubicBezTo>
                        <a:cubicBezTo>
                          <a:pt x="0" y="2"/>
                          <a:pt x="0" y="2"/>
                          <a:pt x="0" y="2"/>
                        </a:cubicBezTo>
                        <a:cubicBezTo>
                          <a:pt x="0" y="1"/>
                          <a:pt x="1" y="0"/>
                          <a:pt x="2" y="0"/>
                        </a:cubicBezTo>
                        <a:cubicBezTo>
                          <a:pt x="3" y="0"/>
                          <a:pt x="4" y="1"/>
                          <a:pt x="4" y="2"/>
                        </a:cubicBezTo>
                        <a:cubicBezTo>
                          <a:pt x="4" y="10"/>
                          <a:pt x="4" y="10"/>
                          <a:pt x="4" y="10"/>
                        </a:cubicBezTo>
                        <a:cubicBezTo>
                          <a:pt x="4" y="11"/>
                          <a:pt x="3" y="12"/>
                          <a:pt x="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315" name="Oval 49"/>
                  <p:cNvSpPr>
                    <a:spLocks noChangeArrowheads="1"/>
                  </p:cNvSpPr>
                  <p:nvPr/>
                </p:nvSpPr>
                <p:spPr bwMode="auto">
                  <a:xfrm>
                    <a:off x="5397500" y="4838705"/>
                    <a:ext cx="31750" cy="3016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316" name="Rectangle 50"/>
                  <p:cNvSpPr>
                    <a:spLocks noChangeArrowheads="1"/>
                  </p:cNvSpPr>
                  <p:nvPr/>
                </p:nvSpPr>
                <p:spPr bwMode="auto">
                  <a:xfrm>
                    <a:off x="5235576" y="4814888"/>
                    <a:ext cx="355600" cy="158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grpSp>
          </p:grpSp>
        </p:grpSp>
        <p:grpSp>
          <p:nvGrpSpPr>
            <p:cNvPr id="323" name="Group 322"/>
            <p:cNvGrpSpPr/>
            <p:nvPr/>
          </p:nvGrpSpPr>
          <p:grpSpPr>
            <a:xfrm>
              <a:off x="4431903" y="1232169"/>
              <a:ext cx="2076776" cy="492108"/>
              <a:chOff x="2260934" y="1232169"/>
              <a:chExt cx="2076776" cy="492108"/>
            </a:xfrm>
          </p:grpSpPr>
          <p:sp>
            <p:nvSpPr>
              <p:cNvPr id="324" name="Rectangle 323"/>
              <p:cNvSpPr/>
              <p:nvPr/>
            </p:nvSpPr>
            <p:spPr>
              <a:xfrm>
                <a:off x="2260934" y="1232169"/>
                <a:ext cx="2076776" cy="492108"/>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325" name="TextBox 324"/>
              <p:cNvSpPr txBox="1"/>
              <p:nvPr/>
            </p:nvSpPr>
            <p:spPr>
              <a:xfrm>
                <a:off x="2920084" y="1293443"/>
                <a:ext cx="758472" cy="184666"/>
              </a:xfrm>
              <a:prstGeom prst="rect">
                <a:avLst/>
              </a:prstGeom>
              <a:noFill/>
              <a:ln w="6350">
                <a:noFill/>
                <a:prstDash val="dash"/>
              </a:ln>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effectLst/>
                    <a:uLnTx/>
                    <a:uFillTx/>
                    <a:ea typeface="+mn-ea"/>
                    <a:cs typeface="+mn-cs"/>
                  </a:rPr>
                  <a:t>MONTH 2</a:t>
                </a:r>
              </a:p>
            </p:txBody>
          </p:sp>
          <p:grpSp>
            <p:nvGrpSpPr>
              <p:cNvPr id="326" name="Group 325"/>
              <p:cNvGrpSpPr/>
              <p:nvPr/>
            </p:nvGrpSpPr>
            <p:grpSpPr>
              <a:xfrm>
                <a:off x="2307570" y="1509115"/>
                <a:ext cx="1983504" cy="153888"/>
                <a:chOff x="2314713" y="1509115"/>
                <a:chExt cx="1983504" cy="153888"/>
              </a:xfrm>
            </p:grpSpPr>
            <p:sp>
              <p:nvSpPr>
                <p:cNvPr id="327" name="TextBox 326"/>
                <p:cNvSpPr txBox="1"/>
                <p:nvPr/>
              </p:nvSpPr>
              <p:spPr>
                <a:xfrm>
                  <a:off x="2314713" y="1509115"/>
                  <a:ext cx="441962" cy="153888"/>
                </a:xfrm>
                <a:prstGeom prst="rect">
                  <a:avLst/>
                </a:prstGeom>
                <a:noFill/>
                <a:ln w="6350">
                  <a:noFill/>
                  <a:prstDash val="dash"/>
                </a:ln>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effectLst/>
                      <a:uLnTx/>
                      <a:uFillTx/>
                      <a:ea typeface="+mn-ea"/>
                      <a:cs typeface="+mn-cs"/>
                    </a:rPr>
                    <a:t>Week 1</a:t>
                  </a:r>
                </a:p>
              </p:txBody>
            </p:sp>
            <p:sp>
              <p:nvSpPr>
                <p:cNvPr id="328" name="TextBox 327"/>
                <p:cNvSpPr txBox="1"/>
                <p:nvPr/>
              </p:nvSpPr>
              <p:spPr>
                <a:xfrm>
                  <a:off x="2828561" y="1509115"/>
                  <a:ext cx="441962" cy="153888"/>
                </a:xfrm>
                <a:prstGeom prst="rect">
                  <a:avLst/>
                </a:prstGeom>
                <a:noFill/>
                <a:ln w="6350">
                  <a:noFill/>
                  <a:prstDash val="dash"/>
                </a:ln>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effectLst/>
                      <a:uLnTx/>
                      <a:uFillTx/>
                      <a:ea typeface="+mn-ea"/>
                      <a:cs typeface="+mn-cs"/>
                    </a:rPr>
                    <a:t>Week 2</a:t>
                  </a:r>
                </a:p>
              </p:txBody>
            </p:sp>
            <p:sp>
              <p:nvSpPr>
                <p:cNvPr id="329" name="TextBox 328"/>
                <p:cNvSpPr txBox="1"/>
                <p:nvPr/>
              </p:nvSpPr>
              <p:spPr>
                <a:xfrm>
                  <a:off x="3342409" y="1509115"/>
                  <a:ext cx="441962" cy="153888"/>
                </a:xfrm>
                <a:prstGeom prst="rect">
                  <a:avLst/>
                </a:prstGeom>
                <a:noFill/>
                <a:ln w="6350">
                  <a:noFill/>
                  <a:prstDash val="dash"/>
                </a:ln>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effectLst/>
                      <a:uLnTx/>
                      <a:uFillTx/>
                      <a:ea typeface="+mn-ea"/>
                      <a:cs typeface="+mn-cs"/>
                    </a:rPr>
                    <a:t>Week 3</a:t>
                  </a:r>
                </a:p>
              </p:txBody>
            </p:sp>
            <p:sp>
              <p:nvSpPr>
                <p:cNvPr id="330" name="TextBox 329"/>
                <p:cNvSpPr txBox="1"/>
                <p:nvPr/>
              </p:nvSpPr>
              <p:spPr>
                <a:xfrm>
                  <a:off x="3856255" y="1509115"/>
                  <a:ext cx="441962" cy="153888"/>
                </a:xfrm>
                <a:prstGeom prst="rect">
                  <a:avLst/>
                </a:prstGeom>
                <a:noFill/>
                <a:ln w="6350">
                  <a:noFill/>
                  <a:prstDash val="dash"/>
                </a:ln>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effectLst/>
                      <a:uLnTx/>
                      <a:uFillTx/>
                      <a:ea typeface="+mn-ea"/>
                      <a:cs typeface="+mn-cs"/>
                    </a:rPr>
                    <a:t>Week 4</a:t>
                  </a:r>
                </a:p>
              </p:txBody>
            </p:sp>
            <p:cxnSp>
              <p:nvCxnSpPr>
                <p:cNvPr id="331" name="Straight Connector 330"/>
                <p:cNvCxnSpPr/>
                <p:nvPr/>
              </p:nvCxnSpPr>
              <p:spPr>
                <a:xfrm>
                  <a:off x="2792618" y="1522469"/>
                  <a:ext cx="0" cy="127180"/>
                </a:xfrm>
                <a:prstGeom prst="line">
                  <a:avLst/>
                </a:prstGeom>
                <a:ln w="6350">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cxnSp>
              <p:nvCxnSpPr>
                <p:cNvPr id="332" name="Straight Connector 331"/>
                <p:cNvCxnSpPr/>
                <p:nvPr/>
              </p:nvCxnSpPr>
              <p:spPr>
                <a:xfrm>
                  <a:off x="3306466" y="1522469"/>
                  <a:ext cx="0" cy="127180"/>
                </a:xfrm>
                <a:prstGeom prst="line">
                  <a:avLst/>
                </a:prstGeom>
                <a:ln w="6350">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cxnSp>
              <p:nvCxnSpPr>
                <p:cNvPr id="333" name="Straight Connector 332"/>
                <p:cNvCxnSpPr/>
                <p:nvPr/>
              </p:nvCxnSpPr>
              <p:spPr>
                <a:xfrm>
                  <a:off x="3820314" y="1522469"/>
                  <a:ext cx="0" cy="127180"/>
                </a:xfrm>
                <a:prstGeom prst="line">
                  <a:avLst/>
                </a:prstGeom>
                <a:ln w="6350">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grpSp>
        </p:grpSp>
        <p:grpSp>
          <p:nvGrpSpPr>
            <p:cNvPr id="334" name="Group 333"/>
            <p:cNvGrpSpPr/>
            <p:nvPr/>
          </p:nvGrpSpPr>
          <p:grpSpPr>
            <a:xfrm>
              <a:off x="6602871" y="1232169"/>
              <a:ext cx="2076776" cy="492108"/>
              <a:chOff x="2260934" y="1232169"/>
              <a:chExt cx="2076776" cy="492108"/>
            </a:xfrm>
          </p:grpSpPr>
          <p:sp>
            <p:nvSpPr>
              <p:cNvPr id="335" name="Rectangle 334"/>
              <p:cNvSpPr/>
              <p:nvPr/>
            </p:nvSpPr>
            <p:spPr>
              <a:xfrm>
                <a:off x="2260934" y="1232169"/>
                <a:ext cx="2076776" cy="492108"/>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336" name="TextBox 335"/>
              <p:cNvSpPr txBox="1"/>
              <p:nvPr/>
            </p:nvSpPr>
            <p:spPr>
              <a:xfrm>
                <a:off x="2920084" y="1293443"/>
                <a:ext cx="758472" cy="184666"/>
              </a:xfrm>
              <a:prstGeom prst="rect">
                <a:avLst/>
              </a:prstGeom>
              <a:noFill/>
              <a:ln w="6350">
                <a:noFill/>
                <a:prstDash val="dash"/>
              </a:ln>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effectLst/>
                    <a:uLnTx/>
                    <a:uFillTx/>
                    <a:ea typeface="+mn-ea"/>
                    <a:cs typeface="+mn-cs"/>
                  </a:rPr>
                  <a:t>MONTH </a:t>
                </a:r>
                <a:r>
                  <a:rPr lang="en-US" sz="1200" b="1" dirty="0"/>
                  <a:t>3</a:t>
                </a:r>
                <a:endParaRPr kumimoji="0" lang="en-US" sz="1200" b="1" i="0" u="none" strike="noStrike" kern="1200" cap="none" spc="0" normalizeH="0" baseline="0" noProof="0" dirty="0">
                  <a:ln>
                    <a:noFill/>
                  </a:ln>
                  <a:effectLst/>
                  <a:uLnTx/>
                  <a:uFillTx/>
                  <a:ea typeface="+mn-ea"/>
                  <a:cs typeface="+mn-cs"/>
                </a:endParaRPr>
              </a:p>
            </p:txBody>
          </p:sp>
          <p:grpSp>
            <p:nvGrpSpPr>
              <p:cNvPr id="337" name="Group 336"/>
              <p:cNvGrpSpPr/>
              <p:nvPr/>
            </p:nvGrpSpPr>
            <p:grpSpPr>
              <a:xfrm>
                <a:off x="2307570" y="1509115"/>
                <a:ext cx="1983504" cy="153888"/>
                <a:chOff x="2314713" y="1509115"/>
                <a:chExt cx="1983504" cy="153888"/>
              </a:xfrm>
            </p:grpSpPr>
            <p:sp>
              <p:nvSpPr>
                <p:cNvPr id="338" name="TextBox 337"/>
                <p:cNvSpPr txBox="1"/>
                <p:nvPr/>
              </p:nvSpPr>
              <p:spPr>
                <a:xfrm>
                  <a:off x="2314713" y="1509115"/>
                  <a:ext cx="441962" cy="153888"/>
                </a:xfrm>
                <a:prstGeom prst="rect">
                  <a:avLst/>
                </a:prstGeom>
                <a:noFill/>
                <a:ln w="6350">
                  <a:noFill/>
                  <a:prstDash val="dash"/>
                </a:ln>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effectLst/>
                      <a:uLnTx/>
                      <a:uFillTx/>
                      <a:ea typeface="+mn-ea"/>
                      <a:cs typeface="+mn-cs"/>
                    </a:rPr>
                    <a:t>Week 1</a:t>
                  </a:r>
                </a:p>
              </p:txBody>
            </p:sp>
            <p:sp>
              <p:nvSpPr>
                <p:cNvPr id="339" name="TextBox 338"/>
                <p:cNvSpPr txBox="1"/>
                <p:nvPr/>
              </p:nvSpPr>
              <p:spPr>
                <a:xfrm>
                  <a:off x="2828561" y="1509115"/>
                  <a:ext cx="441962" cy="153888"/>
                </a:xfrm>
                <a:prstGeom prst="rect">
                  <a:avLst/>
                </a:prstGeom>
                <a:noFill/>
                <a:ln w="6350">
                  <a:noFill/>
                  <a:prstDash val="dash"/>
                </a:ln>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effectLst/>
                      <a:uLnTx/>
                      <a:uFillTx/>
                      <a:ea typeface="+mn-ea"/>
                      <a:cs typeface="+mn-cs"/>
                    </a:rPr>
                    <a:t>Week 2</a:t>
                  </a:r>
                </a:p>
              </p:txBody>
            </p:sp>
            <p:sp>
              <p:nvSpPr>
                <p:cNvPr id="340" name="TextBox 339"/>
                <p:cNvSpPr txBox="1"/>
                <p:nvPr/>
              </p:nvSpPr>
              <p:spPr>
                <a:xfrm>
                  <a:off x="3342409" y="1509115"/>
                  <a:ext cx="441962" cy="153888"/>
                </a:xfrm>
                <a:prstGeom prst="rect">
                  <a:avLst/>
                </a:prstGeom>
                <a:noFill/>
                <a:ln w="6350">
                  <a:noFill/>
                  <a:prstDash val="dash"/>
                </a:ln>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effectLst/>
                      <a:uLnTx/>
                      <a:uFillTx/>
                      <a:ea typeface="+mn-ea"/>
                      <a:cs typeface="+mn-cs"/>
                    </a:rPr>
                    <a:t>Week 3</a:t>
                  </a:r>
                </a:p>
              </p:txBody>
            </p:sp>
            <p:sp>
              <p:nvSpPr>
                <p:cNvPr id="341" name="TextBox 340"/>
                <p:cNvSpPr txBox="1"/>
                <p:nvPr/>
              </p:nvSpPr>
              <p:spPr>
                <a:xfrm>
                  <a:off x="3856255" y="1509115"/>
                  <a:ext cx="441962" cy="153888"/>
                </a:xfrm>
                <a:prstGeom prst="rect">
                  <a:avLst/>
                </a:prstGeom>
                <a:noFill/>
                <a:ln w="6350">
                  <a:noFill/>
                  <a:prstDash val="dash"/>
                </a:ln>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effectLst/>
                      <a:uLnTx/>
                      <a:uFillTx/>
                      <a:ea typeface="+mn-ea"/>
                      <a:cs typeface="+mn-cs"/>
                    </a:rPr>
                    <a:t>Week 4</a:t>
                  </a:r>
                </a:p>
              </p:txBody>
            </p:sp>
            <p:cxnSp>
              <p:nvCxnSpPr>
                <p:cNvPr id="342" name="Straight Connector 341"/>
                <p:cNvCxnSpPr/>
                <p:nvPr/>
              </p:nvCxnSpPr>
              <p:spPr>
                <a:xfrm>
                  <a:off x="2792618" y="1522469"/>
                  <a:ext cx="0" cy="127180"/>
                </a:xfrm>
                <a:prstGeom prst="line">
                  <a:avLst/>
                </a:prstGeom>
                <a:ln w="6350">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cxnSp>
              <p:nvCxnSpPr>
                <p:cNvPr id="343" name="Straight Connector 342"/>
                <p:cNvCxnSpPr/>
                <p:nvPr/>
              </p:nvCxnSpPr>
              <p:spPr>
                <a:xfrm>
                  <a:off x="3306466" y="1522469"/>
                  <a:ext cx="0" cy="127180"/>
                </a:xfrm>
                <a:prstGeom prst="line">
                  <a:avLst/>
                </a:prstGeom>
                <a:ln w="6350">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cxnSp>
              <p:nvCxnSpPr>
                <p:cNvPr id="344" name="Straight Connector 343"/>
                <p:cNvCxnSpPr/>
                <p:nvPr/>
              </p:nvCxnSpPr>
              <p:spPr>
                <a:xfrm>
                  <a:off x="3820314" y="1522469"/>
                  <a:ext cx="0" cy="127180"/>
                </a:xfrm>
                <a:prstGeom prst="line">
                  <a:avLst/>
                </a:prstGeom>
                <a:ln w="6350">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grpSp>
        </p:grpSp>
      </p:grpSp>
    </p:spTree>
    <p:extLst>
      <p:ext uri="{BB962C8B-B14F-4D97-AF65-F5344CB8AC3E}">
        <p14:creationId xmlns:p14="http://schemas.microsoft.com/office/powerpoint/2010/main" val="277344534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3" name="Rectangle 102"/>
          <p:cNvSpPr/>
          <p:nvPr/>
        </p:nvSpPr>
        <p:spPr>
          <a:xfrm>
            <a:off x="12344400" y="0"/>
            <a:ext cx="469900" cy="469900"/>
          </a:xfrm>
          <a:prstGeom prst="rect">
            <a:avLst/>
          </a:prstGeom>
          <a:solidFill>
            <a:srgbClr val="E7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4" name="Rectangle 103"/>
          <p:cNvSpPr/>
          <p:nvPr/>
        </p:nvSpPr>
        <p:spPr>
          <a:xfrm>
            <a:off x="12344400" y="649557"/>
            <a:ext cx="469900" cy="469900"/>
          </a:xfrm>
          <a:prstGeom prst="rect">
            <a:avLst/>
          </a:prstGeom>
          <a:solidFill>
            <a:srgbClr val="AFABA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5" name="Rectangle 104"/>
          <p:cNvSpPr/>
          <p:nvPr/>
        </p:nvSpPr>
        <p:spPr>
          <a:xfrm>
            <a:off x="12344400" y="1299114"/>
            <a:ext cx="469900" cy="469900"/>
          </a:xfrm>
          <a:prstGeom prst="rect">
            <a:avLst/>
          </a:prstGeom>
          <a:solidFill>
            <a:srgbClr val="76717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7" name="Rectangle 106"/>
          <p:cNvSpPr/>
          <p:nvPr/>
        </p:nvSpPr>
        <p:spPr>
          <a:xfrm>
            <a:off x="12966699" y="0"/>
            <a:ext cx="469900" cy="469900"/>
          </a:xfrm>
          <a:prstGeom prst="rect">
            <a:avLst/>
          </a:prstGeom>
          <a:solidFill>
            <a:srgbClr val="E8786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8" name="Rectangle 107"/>
          <p:cNvSpPr/>
          <p:nvPr/>
        </p:nvSpPr>
        <p:spPr>
          <a:xfrm>
            <a:off x="12966699" y="649557"/>
            <a:ext cx="469900" cy="469900"/>
          </a:xfrm>
          <a:prstGeom prst="rect">
            <a:avLst/>
          </a:prstGeom>
          <a:solidFill>
            <a:srgbClr val="E258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9" name="Rectangle 108"/>
          <p:cNvSpPr/>
          <p:nvPr/>
        </p:nvSpPr>
        <p:spPr>
          <a:xfrm>
            <a:off x="12966699" y="1299114"/>
            <a:ext cx="469900" cy="469900"/>
          </a:xfrm>
          <a:prstGeom prst="rect">
            <a:avLst/>
          </a:prstGeom>
          <a:solidFill>
            <a:srgbClr val="D63E2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0" name="Rectangle 109"/>
          <p:cNvSpPr/>
          <p:nvPr/>
        </p:nvSpPr>
        <p:spPr>
          <a:xfrm>
            <a:off x="13588998" y="0"/>
            <a:ext cx="469900" cy="469900"/>
          </a:xfrm>
          <a:prstGeom prst="rect">
            <a:avLst/>
          </a:prstGeom>
          <a:solidFill>
            <a:srgbClr val="8EDCD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1" name="Rectangle 110"/>
          <p:cNvSpPr/>
          <p:nvPr/>
        </p:nvSpPr>
        <p:spPr>
          <a:xfrm>
            <a:off x="13588998" y="649557"/>
            <a:ext cx="469900" cy="469900"/>
          </a:xfrm>
          <a:prstGeom prst="rect">
            <a:avLst/>
          </a:prstGeom>
          <a:solidFill>
            <a:srgbClr val="78D2D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2" name="Rectangle 111"/>
          <p:cNvSpPr/>
          <p:nvPr/>
        </p:nvSpPr>
        <p:spPr>
          <a:xfrm>
            <a:off x="13588998" y="1299114"/>
            <a:ext cx="469900" cy="469900"/>
          </a:xfrm>
          <a:prstGeom prst="rect">
            <a:avLst/>
          </a:prstGeom>
          <a:solidFill>
            <a:srgbClr val="4CC7C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3" name="Rectangle 112"/>
          <p:cNvSpPr/>
          <p:nvPr/>
        </p:nvSpPr>
        <p:spPr>
          <a:xfrm>
            <a:off x="14211297" y="0"/>
            <a:ext cx="469900" cy="469900"/>
          </a:xfrm>
          <a:prstGeom prst="rect">
            <a:avLst/>
          </a:prstGeom>
          <a:solidFill>
            <a:srgbClr val="55535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4" name="Rectangle 113"/>
          <p:cNvSpPr/>
          <p:nvPr/>
        </p:nvSpPr>
        <p:spPr>
          <a:xfrm>
            <a:off x="14211297" y="649557"/>
            <a:ext cx="469900" cy="469900"/>
          </a:xfrm>
          <a:prstGeom prst="rect">
            <a:avLst/>
          </a:prstGeom>
          <a:solidFill>
            <a:srgbClr val="3B393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5" name="Rectangle 114"/>
          <p:cNvSpPr/>
          <p:nvPr/>
        </p:nvSpPr>
        <p:spPr>
          <a:xfrm>
            <a:off x="14211297" y="1299114"/>
            <a:ext cx="469900" cy="469900"/>
          </a:xfrm>
          <a:prstGeom prst="rect">
            <a:avLst/>
          </a:prstGeom>
          <a:solidFill>
            <a:srgbClr val="25232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0" name="Text Placeholder 119"/>
          <p:cNvSpPr>
            <a:spLocks noGrp="1"/>
          </p:cNvSpPr>
          <p:nvPr>
            <p:ph type="body" sz="quarter" idx="13"/>
          </p:nvPr>
        </p:nvSpPr>
        <p:spPr/>
        <p:txBody>
          <a:bodyPr/>
          <a:lstStyle/>
          <a:p>
            <a:r>
              <a:rPr lang="en-US" sz="3200" dirty="0"/>
              <a:t>PowerPoint Presentation</a:t>
            </a:r>
          </a:p>
        </p:txBody>
      </p:sp>
      <p:sp>
        <p:nvSpPr>
          <p:cNvPr id="116" name="Date Placeholder 115"/>
          <p:cNvSpPr>
            <a:spLocks noGrp="1"/>
          </p:cNvSpPr>
          <p:nvPr>
            <p:ph type="dt" sz="half" idx="10"/>
          </p:nvPr>
        </p:nvSpPr>
        <p:spPr/>
        <p:txBody>
          <a:bodyPr/>
          <a:lstStyle/>
          <a:p>
            <a:fld id="{56E1B330-CB56-448E-9C70-830A2B9C05C8}" type="datetime1">
              <a:rPr lang="en-US" smtClean="0"/>
              <a:t>10/28/2022</a:t>
            </a:fld>
            <a:endParaRPr lang="en-US"/>
          </a:p>
        </p:txBody>
      </p:sp>
      <p:sp>
        <p:nvSpPr>
          <p:cNvPr id="117" name="Slide Number Placeholder 116"/>
          <p:cNvSpPr>
            <a:spLocks noGrp="1"/>
          </p:cNvSpPr>
          <p:nvPr>
            <p:ph type="sldNum" sz="quarter" idx="12"/>
          </p:nvPr>
        </p:nvSpPr>
        <p:spPr/>
        <p:txBody>
          <a:bodyPr/>
          <a:lstStyle/>
          <a:p>
            <a:fld id="{03206E70-9524-410D-AE9B-78D656EAA14D}" type="slidenum">
              <a:rPr lang="en-US" smtClean="0"/>
              <a:pPr/>
              <a:t>19</a:t>
            </a:fld>
            <a:endParaRPr lang="en-US"/>
          </a:p>
        </p:txBody>
      </p:sp>
      <p:grpSp>
        <p:nvGrpSpPr>
          <p:cNvPr id="157" name="Group 156"/>
          <p:cNvGrpSpPr/>
          <p:nvPr/>
        </p:nvGrpSpPr>
        <p:grpSpPr>
          <a:xfrm>
            <a:off x="4349223" y="2980291"/>
            <a:ext cx="182065" cy="334998"/>
            <a:chOff x="3192684" y="2819400"/>
            <a:chExt cx="313671" cy="577151"/>
          </a:xfrm>
          <a:solidFill>
            <a:srgbClr val="3B3939"/>
          </a:solidFill>
        </p:grpSpPr>
        <p:sp>
          <p:nvSpPr>
            <p:cNvPr id="176" name="Freeform 175"/>
            <p:cNvSpPr/>
            <p:nvPr/>
          </p:nvSpPr>
          <p:spPr>
            <a:xfrm flipH="1">
              <a:off x="3237988" y="2819400"/>
              <a:ext cx="268367" cy="577151"/>
            </a:xfrm>
            <a:custGeom>
              <a:avLst/>
              <a:gdLst>
                <a:gd name="connsiteX0" fmla="*/ 477498 w 521150"/>
                <a:gd name="connsiteY0" fmla="*/ 0 h 954995"/>
                <a:gd name="connsiteX1" fmla="*/ 521150 w 521150"/>
                <a:gd name="connsiteY1" fmla="*/ 43652 h 954995"/>
                <a:gd name="connsiteX2" fmla="*/ 87303 w 521150"/>
                <a:gd name="connsiteY2" fmla="*/ 477498 h 954995"/>
                <a:gd name="connsiteX3" fmla="*/ 521150 w 521150"/>
                <a:gd name="connsiteY3" fmla="*/ 911344 h 954995"/>
                <a:gd name="connsiteX4" fmla="*/ 477498 w 521150"/>
                <a:gd name="connsiteY4" fmla="*/ 954995 h 954995"/>
                <a:gd name="connsiteX5" fmla="*/ 0 w 521150"/>
                <a:gd name="connsiteY5" fmla="*/ 477498 h 9549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21150" h="954995">
                  <a:moveTo>
                    <a:pt x="477498" y="0"/>
                  </a:moveTo>
                  <a:lnTo>
                    <a:pt x="521150" y="43652"/>
                  </a:lnTo>
                  <a:lnTo>
                    <a:pt x="87303" y="477498"/>
                  </a:lnTo>
                  <a:lnTo>
                    <a:pt x="521150" y="911344"/>
                  </a:lnTo>
                  <a:lnTo>
                    <a:pt x="477498" y="954995"/>
                  </a:lnTo>
                  <a:lnTo>
                    <a:pt x="0" y="477498"/>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177" name="Freeform 176"/>
            <p:cNvSpPr/>
            <p:nvPr/>
          </p:nvSpPr>
          <p:spPr>
            <a:xfrm flipH="1">
              <a:off x="3192684" y="2891164"/>
              <a:ext cx="201628" cy="433623"/>
            </a:xfrm>
            <a:custGeom>
              <a:avLst/>
              <a:gdLst>
                <a:gd name="connsiteX0" fmla="*/ 477498 w 521150"/>
                <a:gd name="connsiteY0" fmla="*/ 0 h 954995"/>
                <a:gd name="connsiteX1" fmla="*/ 521150 w 521150"/>
                <a:gd name="connsiteY1" fmla="*/ 43652 h 954995"/>
                <a:gd name="connsiteX2" fmla="*/ 87303 w 521150"/>
                <a:gd name="connsiteY2" fmla="*/ 477498 h 954995"/>
                <a:gd name="connsiteX3" fmla="*/ 521150 w 521150"/>
                <a:gd name="connsiteY3" fmla="*/ 911344 h 954995"/>
                <a:gd name="connsiteX4" fmla="*/ 477498 w 521150"/>
                <a:gd name="connsiteY4" fmla="*/ 954995 h 954995"/>
                <a:gd name="connsiteX5" fmla="*/ 0 w 521150"/>
                <a:gd name="connsiteY5" fmla="*/ 477498 h 9549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21150" h="954995">
                  <a:moveTo>
                    <a:pt x="477498" y="0"/>
                  </a:moveTo>
                  <a:lnTo>
                    <a:pt x="521150" y="43652"/>
                  </a:lnTo>
                  <a:lnTo>
                    <a:pt x="87303" y="477498"/>
                  </a:lnTo>
                  <a:lnTo>
                    <a:pt x="521150" y="911344"/>
                  </a:lnTo>
                  <a:lnTo>
                    <a:pt x="477498" y="954995"/>
                  </a:lnTo>
                  <a:lnTo>
                    <a:pt x="0" y="477498"/>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grpSp>
      <p:grpSp>
        <p:nvGrpSpPr>
          <p:cNvPr id="158" name="Group 157"/>
          <p:cNvGrpSpPr/>
          <p:nvPr/>
        </p:nvGrpSpPr>
        <p:grpSpPr>
          <a:xfrm>
            <a:off x="7808553" y="2980290"/>
            <a:ext cx="182065" cy="334998"/>
            <a:chOff x="3192684" y="2819400"/>
            <a:chExt cx="313671" cy="577151"/>
          </a:xfrm>
          <a:solidFill>
            <a:srgbClr val="3B3939"/>
          </a:solidFill>
        </p:grpSpPr>
        <p:sp>
          <p:nvSpPr>
            <p:cNvPr id="174" name="Freeform 173"/>
            <p:cNvSpPr/>
            <p:nvPr/>
          </p:nvSpPr>
          <p:spPr>
            <a:xfrm flipH="1">
              <a:off x="3237988" y="2819400"/>
              <a:ext cx="268367" cy="577151"/>
            </a:xfrm>
            <a:custGeom>
              <a:avLst/>
              <a:gdLst>
                <a:gd name="connsiteX0" fmla="*/ 477498 w 521150"/>
                <a:gd name="connsiteY0" fmla="*/ 0 h 954995"/>
                <a:gd name="connsiteX1" fmla="*/ 521150 w 521150"/>
                <a:gd name="connsiteY1" fmla="*/ 43652 h 954995"/>
                <a:gd name="connsiteX2" fmla="*/ 87303 w 521150"/>
                <a:gd name="connsiteY2" fmla="*/ 477498 h 954995"/>
                <a:gd name="connsiteX3" fmla="*/ 521150 w 521150"/>
                <a:gd name="connsiteY3" fmla="*/ 911344 h 954995"/>
                <a:gd name="connsiteX4" fmla="*/ 477498 w 521150"/>
                <a:gd name="connsiteY4" fmla="*/ 954995 h 954995"/>
                <a:gd name="connsiteX5" fmla="*/ 0 w 521150"/>
                <a:gd name="connsiteY5" fmla="*/ 477498 h 9549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21150" h="954995">
                  <a:moveTo>
                    <a:pt x="477498" y="0"/>
                  </a:moveTo>
                  <a:lnTo>
                    <a:pt x="521150" y="43652"/>
                  </a:lnTo>
                  <a:lnTo>
                    <a:pt x="87303" y="477498"/>
                  </a:lnTo>
                  <a:lnTo>
                    <a:pt x="521150" y="911344"/>
                  </a:lnTo>
                  <a:lnTo>
                    <a:pt x="477498" y="954995"/>
                  </a:lnTo>
                  <a:lnTo>
                    <a:pt x="0" y="477498"/>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175" name="Freeform 174"/>
            <p:cNvSpPr/>
            <p:nvPr/>
          </p:nvSpPr>
          <p:spPr>
            <a:xfrm flipH="1">
              <a:off x="3192684" y="2891164"/>
              <a:ext cx="201628" cy="433623"/>
            </a:xfrm>
            <a:custGeom>
              <a:avLst/>
              <a:gdLst>
                <a:gd name="connsiteX0" fmla="*/ 477498 w 521150"/>
                <a:gd name="connsiteY0" fmla="*/ 0 h 954995"/>
                <a:gd name="connsiteX1" fmla="*/ 521150 w 521150"/>
                <a:gd name="connsiteY1" fmla="*/ 43652 h 954995"/>
                <a:gd name="connsiteX2" fmla="*/ 87303 w 521150"/>
                <a:gd name="connsiteY2" fmla="*/ 477498 h 954995"/>
                <a:gd name="connsiteX3" fmla="*/ 521150 w 521150"/>
                <a:gd name="connsiteY3" fmla="*/ 911344 h 954995"/>
                <a:gd name="connsiteX4" fmla="*/ 477498 w 521150"/>
                <a:gd name="connsiteY4" fmla="*/ 954995 h 954995"/>
                <a:gd name="connsiteX5" fmla="*/ 0 w 521150"/>
                <a:gd name="connsiteY5" fmla="*/ 477498 h 9549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21150" h="954995">
                  <a:moveTo>
                    <a:pt x="477498" y="0"/>
                  </a:moveTo>
                  <a:lnTo>
                    <a:pt x="521150" y="43652"/>
                  </a:lnTo>
                  <a:lnTo>
                    <a:pt x="87303" y="477498"/>
                  </a:lnTo>
                  <a:lnTo>
                    <a:pt x="521150" y="911344"/>
                  </a:lnTo>
                  <a:lnTo>
                    <a:pt x="477498" y="954995"/>
                  </a:lnTo>
                  <a:lnTo>
                    <a:pt x="0" y="477498"/>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grpSp>
      <p:grpSp>
        <p:nvGrpSpPr>
          <p:cNvPr id="156" name="Group 155"/>
          <p:cNvGrpSpPr/>
          <p:nvPr/>
        </p:nvGrpSpPr>
        <p:grpSpPr>
          <a:xfrm>
            <a:off x="1669584" y="1598476"/>
            <a:ext cx="1981826" cy="3533294"/>
            <a:chOff x="974962" y="1606563"/>
            <a:chExt cx="2120072" cy="3779767"/>
          </a:xfrm>
        </p:grpSpPr>
        <p:sp>
          <p:nvSpPr>
            <p:cNvPr id="178" name="Rounded Rectangle 177"/>
            <p:cNvSpPr/>
            <p:nvPr/>
          </p:nvSpPr>
          <p:spPr>
            <a:xfrm>
              <a:off x="984668" y="1621478"/>
              <a:ext cx="2096676" cy="3755059"/>
            </a:xfrm>
            <a:prstGeom prst="roundRect">
              <a:avLst>
                <a:gd name="adj" fmla="val 14441"/>
              </a:avLst>
            </a:prstGeom>
            <a:solidFill>
              <a:schemeClr val="tx1"/>
            </a:solidFill>
            <a:ln w="38100">
              <a:gradFill flip="none" rotWithShape="1">
                <a:gsLst>
                  <a:gs pos="0">
                    <a:schemeClr val="bg1">
                      <a:lumMod val="79000"/>
                    </a:schemeClr>
                  </a:gs>
                  <a:gs pos="100000">
                    <a:schemeClr val="bg1">
                      <a:lumMod val="87000"/>
                    </a:schemeClr>
                  </a:gs>
                  <a:gs pos="51000">
                    <a:schemeClr val="bg1">
                      <a:lumMod val="95000"/>
                    </a:schemeClr>
                  </a:gs>
                </a:gsLst>
                <a:lin ang="13500000" scaled="1"/>
                <a:tileRect/>
              </a:gradFill>
            </a:ln>
            <a:effectLst>
              <a:outerShdw blurRad="25400" dist="12700" dir="2700000" algn="tl" rotWithShape="0">
                <a:prstClr val="black">
                  <a:alpha val="35000"/>
                </a:prstClr>
              </a:outerShdw>
            </a:effectLst>
            <a:scene3d>
              <a:camera prst="orthographicFront"/>
              <a:lightRig rig="threePt" dir="t"/>
            </a:scene3d>
            <a:sp3d>
              <a:bevelT w="50800" h="50800" prst="relaxedInse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179" name="Rectangle 178"/>
            <p:cNvSpPr/>
            <p:nvPr/>
          </p:nvSpPr>
          <p:spPr>
            <a:xfrm>
              <a:off x="1151071" y="2078174"/>
              <a:ext cx="1770527" cy="2662855"/>
            </a:xfrm>
            <a:prstGeom prst="rect">
              <a:avLst/>
            </a:prstGeom>
            <a:gradFill flip="none" rotWithShape="1">
              <a:gsLst>
                <a:gs pos="0">
                  <a:schemeClr val="bg1">
                    <a:lumMod val="85000"/>
                  </a:schemeClr>
                </a:gs>
                <a:gs pos="99000">
                  <a:schemeClr val="bg1">
                    <a:lumMod val="73000"/>
                  </a:schemeClr>
                </a:gs>
              </a:gsLst>
              <a:lin ang="5400000" scaled="1"/>
              <a:tileRect/>
            </a:gradFill>
            <a:ln>
              <a:noFill/>
            </a:ln>
            <a:effectLst>
              <a:innerShdw blurRad="88900">
                <a:prstClr val="black"/>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180" name="Rounded Rectangle 10"/>
            <p:cNvSpPr/>
            <p:nvPr/>
          </p:nvSpPr>
          <p:spPr>
            <a:xfrm>
              <a:off x="1988080" y="1667430"/>
              <a:ext cx="1056285" cy="3718900"/>
            </a:xfrm>
            <a:custGeom>
              <a:avLst/>
              <a:gdLst>
                <a:gd name="connsiteX0" fmla="*/ 0 w 3429000"/>
                <a:gd name="connsiteY0" fmla="*/ 495182 h 5638800"/>
                <a:gd name="connsiteX1" fmla="*/ 495182 w 3429000"/>
                <a:gd name="connsiteY1" fmla="*/ 0 h 5638800"/>
                <a:gd name="connsiteX2" fmla="*/ 2933818 w 3429000"/>
                <a:gd name="connsiteY2" fmla="*/ 0 h 5638800"/>
                <a:gd name="connsiteX3" fmla="*/ 3429000 w 3429000"/>
                <a:gd name="connsiteY3" fmla="*/ 495182 h 5638800"/>
                <a:gd name="connsiteX4" fmla="*/ 3429000 w 3429000"/>
                <a:gd name="connsiteY4" fmla="*/ 5143618 h 5638800"/>
                <a:gd name="connsiteX5" fmla="*/ 2933818 w 3429000"/>
                <a:gd name="connsiteY5" fmla="*/ 5638800 h 5638800"/>
                <a:gd name="connsiteX6" fmla="*/ 495182 w 3429000"/>
                <a:gd name="connsiteY6" fmla="*/ 5638800 h 5638800"/>
                <a:gd name="connsiteX7" fmla="*/ 0 w 3429000"/>
                <a:gd name="connsiteY7" fmla="*/ 5143618 h 5638800"/>
                <a:gd name="connsiteX8" fmla="*/ 0 w 3429000"/>
                <a:gd name="connsiteY8" fmla="*/ 495182 h 5638800"/>
                <a:gd name="connsiteX0" fmla="*/ 0 w 3429000"/>
                <a:gd name="connsiteY0" fmla="*/ 495182 h 5638800"/>
                <a:gd name="connsiteX1" fmla="*/ 495182 w 3429000"/>
                <a:gd name="connsiteY1" fmla="*/ 0 h 5638800"/>
                <a:gd name="connsiteX2" fmla="*/ 2933818 w 3429000"/>
                <a:gd name="connsiteY2" fmla="*/ 0 h 5638800"/>
                <a:gd name="connsiteX3" fmla="*/ 3429000 w 3429000"/>
                <a:gd name="connsiteY3" fmla="*/ 495182 h 5638800"/>
                <a:gd name="connsiteX4" fmla="*/ 3429000 w 3429000"/>
                <a:gd name="connsiteY4" fmla="*/ 5143618 h 5638800"/>
                <a:gd name="connsiteX5" fmla="*/ 2933818 w 3429000"/>
                <a:gd name="connsiteY5" fmla="*/ 5638800 h 5638800"/>
                <a:gd name="connsiteX6" fmla="*/ 495182 w 3429000"/>
                <a:gd name="connsiteY6" fmla="*/ 5638800 h 5638800"/>
                <a:gd name="connsiteX7" fmla="*/ 0 w 3429000"/>
                <a:gd name="connsiteY7" fmla="*/ 495182 h 5638800"/>
                <a:gd name="connsiteX0" fmla="*/ 0 w 3429000"/>
                <a:gd name="connsiteY0" fmla="*/ 495182 h 5638800"/>
                <a:gd name="connsiteX1" fmla="*/ 495182 w 3429000"/>
                <a:gd name="connsiteY1" fmla="*/ 0 h 5638800"/>
                <a:gd name="connsiteX2" fmla="*/ 2933818 w 3429000"/>
                <a:gd name="connsiteY2" fmla="*/ 0 h 5638800"/>
                <a:gd name="connsiteX3" fmla="*/ 3429000 w 3429000"/>
                <a:gd name="connsiteY3" fmla="*/ 495182 h 5638800"/>
                <a:gd name="connsiteX4" fmla="*/ 3429000 w 3429000"/>
                <a:gd name="connsiteY4" fmla="*/ 5143618 h 5638800"/>
                <a:gd name="connsiteX5" fmla="*/ 2933818 w 3429000"/>
                <a:gd name="connsiteY5" fmla="*/ 5638800 h 5638800"/>
                <a:gd name="connsiteX6" fmla="*/ 0 w 3429000"/>
                <a:gd name="connsiteY6" fmla="*/ 495182 h 5638800"/>
                <a:gd name="connsiteX0" fmla="*/ 2438636 w 2933818"/>
                <a:gd name="connsiteY0" fmla="*/ 5638800 h 5638800"/>
                <a:gd name="connsiteX1" fmla="*/ 0 w 2933818"/>
                <a:gd name="connsiteY1" fmla="*/ 0 h 5638800"/>
                <a:gd name="connsiteX2" fmla="*/ 2438636 w 2933818"/>
                <a:gd name="connsiteY2" fmla="*/ 0 h 5638800"/>
                <a:gd name="connsiteX3" fmla="*/ 2933818 w 2933818"/>
                <a:gd name="connsiteY3" fmla="*/ 495182 h 5638800"/>
                <a:gd name="connsiteX4" fmla="*/ 2933818 w 2933818"/>
                <a:gd name="connsiteY4" fmla="*/ 5143618 h 5638800"/>
                <a:gd name="connsiteX5" fmla="*/ 2438636 w 2933818"/>
                <a:gd name="connsiteY5" fmla="*/ 5638800 h 5638800"/>
                <a:gd name="connsiteX0" fmla="*/ 2933818 w 2933818"/>
                <a:gd name="connsiteY0" fmla="*/ 5143618 h 5143618"/>
                <a:gd name="connsiteX1" fmla="*/ 0 w 2933818"/>
                <a:gd name="connsiteY1" fmla="*/ 0 h 5143618"/>
                <a:gd name="connsiteX2" fmla="*/ 2438636 w 2933818"/>
                <a:gd name="connsiteY2" fmla="*/ 0 h 5143618"/>
                <a:gd name="connsiteX3" fmla="*/ 2933818 w 2933818"/>
                <a:gd name="connsiteY3" fmla="*/ 495182 h 5143618"/>
                <a:gd name="connsiteX4" fmla="*/ 2933818 w 2933818"/>
                <a:gd name="connsiteY4" fmla="*/ 5143618 h 5143618"/>
                <a:gd name="connsiteX0" fmla="*/ 2933818 w 2933818"/>
                <a:gd name="connsiteY0" fmla="*/ 5143618 h 5143618"/>
                <a:gd name="connsiteX1" fmla="*/ 0 w 2933818"/>
                <a:gd name="connsiteY1" fmla="*/ 0 h 5143618"/>
                <a:gd name="connsiteX2" fmla="*/ 2438636 w 2933818"/>
                <a:gd name="connsiteY2" fmla="*/ 0 h 5143618"/>
                <a:gd name="connsiteX3" fmla="*/ 2933818 w 2933818"/>
                <a:gd name="connsiteY3" fmla="*/ 495182 h 5143618"/>
                <a:gd name="connsiteX4" fmla="*/ 2933818 w 2933818"/>
                <a:gd name="connsiteY4" fmla="*/ 5143618 h 5143618"/>
                <a:gd name="connsiteX0" fmla="*/ 2933818 w 2933818"/>
                <a:gd name="connsiteY0" fmla="*/ 5143618 h 5143618"/>
                <a:gd name="connsiteX1" fmla="*/ 0 w 2933818"/>
                <a:gd name="connsiteY1" fmla="*/ 0 h 5143618"/>
                <a:gd name="connsiteX2" fmla="*/ 2438636 w 2933818"/>
                <a:gd name="connsiteY2" fmla="*/ 0 h 5143618"/>
                <a:gd name="connsiteX3" fmla="*/ 2933818 w 2933818"/>
                <a:gd name="connsiteY3" fmla="*/ 495182 h 5143618"/>
                <a:gd name="connsiteX4" fmla="*/ 2933818 w 2933818"/>
                <a:gd name="connsiteY4" fmla="*/ 5143618 h 5143618"/>
                <a:gd name="connsiteX0" fmla="*/ 2933818 w 2933818"/>
                <a:gd name="connsiteY0" fmla="*/ 5143618 h 5143618"/>
                <a:gd name="connsiteX1" fmla="*/ 0 w 2933818"/>
                <a:gd name="connsiteY1" fmla="*/ 0 h 5143618"/>
                <a:gd name="connsiteX2" fmla="*/ 2438636 w 2933818"/>
                <a:gd name="connsiteY2" fmla="*/ 0 h 5143618"/>
                <a:gd name="connsiteX3" fmla="*/ 2933818 w 2933818"/>
                <a:gd name="connsiteY3" fmla="*/ 495182 h 5143618"/>
                <a:gd name="connsiteX4" fmla="*/ 2933818 w 2933818"/>
                <a:gd name="connsiteY4" fmla="*/ 5143618 h 5143618"/>
                <a:gd name="connsiteX0" fmla="*/ 2933818 w 2933818"/>
                <a:gd name="connsiteY0" fmla="*/ 5153143 h 5153143"/>
                <a:gd name="connsiteX1" fmla="*/ 0 w 2933818"/>
                <a:gd name="connsiteY1" fmla="*/ 9525 h 5153143"/>
                <a:gd name="connsiteX2" fmla="*/ 2324300 w 2933818"/>
                <a:gd name="connsiteY2" fmla="*/ 0 h 5153143"/>
                <a:gd name="connsiteX3" fmla="*/ 2933818 w 2933818"/>
                <a:gd name="connsiteY3" fmla="*/ 504707 h 5153143"/>
                <a:gd name="connsiteX4" fmla="*/ 2933818 w 2933818"/>
                <a:gd name="connsiteY4" fmla="*/ 5153143 h 5153143"/>
                <a:gd name="connsiteX0" fmla="*/ 2933818 w 2933818"/>
                <a:gd name="connsiteY0" fmla="*/ 5153143 h 5153143"/>
                <a:gd name="connsiteX1" fmla="*/ 0 w 2933818"/>
                <a:gd name="connsiteY1" fmla="*/ 9525 h 5153143"/>
                <a:gd name="connsiteX2" fmla="*/ 2193631 w 2933818"/>
                <a:gd name="connsiteY2" fmla="*/ 0 h 5153143"/>
                <a:gd name="connsiteX3" fmla="*/ 2933818 w 2933818"/>
                <a:gd name="connsiteY3" fmla="*/ 504707 h 5153143"/>
                <a:gd name="connsiteX4" fmla="*/ 2933818 w 2933818"/>
                <a:gd name="connsiteY4" fmla="*/ 5153143 h 5153143"/>
                <a:gd name="connsiteX0" fmla="*/ 2933818 w 2950152"/>
                <a:gd name="connsiteY0" fmla="*/ 5153143 h 5153143"/>
                <a:gd name="connsiteX1" fmla="*/ 0 w 2950152"/>
                <a:gd name="connsiteY1" fmla="*/ 9525 h 5153143"/>
                <a:gd name="connsiteX2" fmla="*/ 2193631 w 2950152"/>
                <a:gd name="connsiteY2" fmla="*/ 0 h 5153143"/>
                <a:gd name="connsiteX3" fmla="*/ 2950152 w 2950152"/>
                <a:gd name="connsiteY3" fmla="*/ 457082 h 5153143"/>
                <a:gd name="connsiteX4" fmla="*/ 2933818 w 2950152"/>
                <a:gd name="connsiteY4" fmla="*/ 5153143 h 5153143"/>
                <a:gd name="connsiteX0" fmla="*/ 2944707 w 2961041"/>
                <a:gd name="connsiteY0" fmla="*/ 5161224 h 5161224"/>
                <a:gd name="connsiteX1" fmla="*/ 0 w 2961041"/>
                <a:gd name="connsiteY1" fmla="*/ 0 h 5161224"/>
                <a:gd name="connsiteX2" fmla="*/ 2204520 w 2961041"/>
                <a:gd name="connsiteY2" fmla="*/ 8081 h 5161224"/>
                <a:gd name="connsiteX3" fmla="*/ 2961041 w 2961041"/>
                <a:gd name="connsiteY3" fmla="*/ 465163 h 5161224"/>
                <a:gd name="connsiteX4" fmla="*/ 2944707 w 2961041"/>
                <a:gd name="connsiteY4" fmla="*/ 5161224 h 5161224"/>
                <a:gd name="connsiteX0" fmla="*/ 2944707 w 2961041"/>
                <a:gd name="connsiteY0" fmla="*/ 5161224 h 5161224"/>
                <a:gd name="connsiteX1" fmla="*/ 0 w 2961041"/>
                <a:gd name="connsiteY1" fmla="*/ 0 h 5161224"/>
                <a:gd name="connsiteX2" fmla="*/ 2204520 w 2961041"/>
                <a:gd name="connsiteY2" fmla="*/ 8081 h 5161224"/>
                <a:gd name="connsiteX3" fmla="*/ 2961041 w 2961041"/>
                <a:gd name="connsiteY3" fmla="*/ 465163 h 5161224"/>
                <a:gd name="connsiteX4" fmla="*/ 2944707 w 2961041"/>
                <a:gd name="connsiteY4" fmla="*/ 5161224 h 5161224"/>
                <a:gd name="connsiteX0" fmla="*/ 2944707 w 2961041"/>
                <a:gd name="connsiteY0" fmla="*/ 5161224 h 5161224"/>
                <a:gd name="connsiteX1" fmla="*/ 0 w 2961041"/>
                <a:gd name="connsiteY1" fmla="*/ 0 h 5161224"/>
                <a:gd name="connsiteX2" fmla="*/ 2204520 w 2961041"/>
                <a:gd name="connsiteY2" fmla="*/ 8081 h 5161224"/>
                <a:gd name="connsiteX3" fmla="*/ 2961041 w 2961041"/>
                <a:gd name="connsiteY3" fmla="*/ 465163 h 5161224"/>
                <a:gd name="connsiteX4" fmla="*/ 2944707 w 2961041"/>
                <a:gd name="connsiteY4" fmla="*/ 5161224 h 5161224"/>
                <a:gd name="connsiteX0" fmla="*/ 2944707 w 2962227"/>
                <a:gd name="connsiteY0" fmla="*/ 5161224 h 5161224"/>
                <a:gd name="connsiteX1" fmla="*/ 0 w 2962227"/>
                <a:gd name="connsiteY1" fmla="*/ 0 h 5161224"/>
                <a:gd name="connsiteX2" fmla="*/ 2204520 w 2962227"/>
                <a:gd name="connsiteY2" fmla="*/ 8081 h 5161224"/>
                <a:gd name="connsiteX3" fmla="*/ 2961041 w 2962227"/>
                <a:gd name="connsiteY3" fmla="*/ 465163 h 5161224"/>
                <a:gd name="connsiteX4" fmla="*/ 2944707 w 2962227"/>
                <a:gd name="connsiteY4" fmla="*/ 5161224 h 5161224"/>
                <a:gd name="connsiteX0" fmla="*/ 2944707 w 2962340"/>
                <a:gd name="connsiteY0" fmla="*/ 5161224 h 5161224"/>
                <a:gd name="connsiteX1" fmla="*/ 0 w 2962340"/>
                <a:gd name="connsiteY1" fmla="*/ 0 h 5161224"/>
                <a:gd name="connsiteX2" fmla="*/ 2204520 w 2962340"/>
                <a:gd name="connsiteY2" fmla="*/ 8081 h 5161224"/>
                <a:gd name="connsiteX3" fmla="*/ 2961041 w 2962340"/>
                <a:gd name="connsiteY3" fmla="*/ 465163 h 5161224"/>
                <a:gd name="connsiteX4" fmla="*/ 2944707 w 2962340"/>
                <a:gd name="connsiteY4" fmla="*/ 5161224 h 51612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62340" h="5161224">
                  <a:moveTo>
                    <a:pt x="2944707" y="5161224"/>
                  </a:moveTo>
                  <a:lnTo>
                    <a:pt x="0" y="0"/>
                  </a:lnTo>
                  <a:lnTo>
                    <a:pt x="2204520" y="8081"/>
                  </a:lnTo>
                  <a:cubicBezTo>
                    <a:pt x="2594469" y="1443"/>
                    <a:pt x="2987869" y="147523"/>
                    <a:pt x="2961041" y="465163"/>
                  </a:cubicBezTo>
                  <a:cubicBezTo>
                    <a:pt x="2955596" y="2030517"/>
                    <a:pt x="2950152" y="3595870"/>
                    <a:pt x="2944707" y="5161224"/>
                  </a:cubicBezTo>
                  <a:close/>
                </a:path>
              </a:pathLst>
            </a:custGeom>
            <a:gradFill flip="none" rotWithShape="1">
              <a:gsLst>
                <a:gs pos="38000">
                  <a:schemeClr val="bg1">
                    <a:alpha val="1000"/>
                  </a:schemeClr>
                </a:gs>
                <a:gs pos="100000">
                  <a:schemeClr val="bg1">
                    <a:alpha val="32000"/>
                  </a:schemeClr>
                </a:gs>
              </a:gsLst>
              <a:lin ang="162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181" name="Rounded Rectangle 180"/>
            <p:cNvSpPr/>
            <p:nvPr/>
          </p:nvSpPr>
          <p:spPr>
            <a:xfrm>
              <a:off x="1805867" y="1824453"/>
              <a:ext cx="493107" cy="101488"/>
            </a:xfrm>
            <a:prstGeom prst="roundRect">
              <a:avLst>
                <a:gd name="adj" fmla="val 50000"/>
              </a:avLst>
            </a:prstGeom>
            <a:solidFill>
              <a:schemeClr val="bg1">
                <a:lumMod val="50000"/>
              </a:schemeClr>
            </a:solidFill>
            <a:ln>
              <a:gradFill flip="none" rotWithShape="1">
                <a:gsLst>
                  <a:gs pos="0">
                    <a:schemeClr val="tx1">
                      <a:lumMod val="85000"/>
                      <a:lumOff val="15000"/>
                    </a:schemeClr>
                  </a:gs>
                  <a:gs pos="100000">
                    <a:schemeClr val="tx1">
                      <a:lumMod val="85000"/>
                      <a:lumOff val="15000"/>
                    </a:schemeClr>
                  </a:gs>
                  <a:gs pos="40000">
                    <a:srgbClr val="2D2D2D"/>
                  </a:gs>
                  <a:gs pos="51000">
                    <a:schemeClr val="tx1">
                      <a:lumMod val="65000"/>
                      <a:lumOff val="35000"/>
                    </a:schemeClr>
                  </a:gs>
                </a:gsLst>
                <a:lin ang="8100000" scaled="1"/>
                <a:tileRect/>
              </a:gradFill>
            </a:ln>
            <a:effectLst>
              <a:innerShdw blurRad="63500">
                <a:prstClr val="black"/>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cxnSp>
          <p:nvCxnSpPr>
            <p:cNvPr id="213" name="Straight Connector 212"/>
            <p:cNvCxnSpPr/>
            <p:nvPr/>
          </p:nvCxnSpPr>
          <p:spPr>
            <a:xfrm>
              <a:off x="1680649" y="1606563"/>
              <a:ext cx="0" cy="36160"/>
            </a:xfrm>
            <a:prstGeom prst="line">
              <a:avLst/>
            </a:prstGeom>
            <a:ln w="25400">
              <a:solidFill>
                <a:schemeClr val="tx1">
                  <a:lumMod val="95000"/>
                  <a:lumOff val="5000"/>
                </a:schemeClr>
              </a:solidFill>
            </a:ln>
          </p:spPr>
          <p:style>
            <a:lnRef idx="1">
              <a:schemeClr val="accent1"/>
            </a:lnRef>
            <a:fillRef idx="0">
              <a:schemeClr val="accent1"/>
            </a:fillRef>
            <a:effectRef idx="0">
              <a:schemeClr val="accent1"/>
            </a:effectRef>
            <a:fontRef idx="minor">
              <a:schemeClr val="tx1"/>
            </a:fontRef>
          </p:style>
        </p:cxnSp>
        <p:cxnSp>
          <p:nvCxnSpPr>
            <p:cNvPr id="214" name="Straight Connector 213"/>
            <p:cNvCxnSpPr/>
            <p:nvPr/>
          </p:nvCxnSpPr>
          <p:spPr>
            <a:xfrm rot="16200000">
              <a:off x="991563" y="4903239"/>
              <a:ext cx="0" cy="33202"/>
            </a:xfrm>
            <a:prstGeom prst="line">
              <a:avLst/>
            </a:prstGeom>
            <a:ln w="25400">
              <a:solidFill>
                <a:srgbClr val="303030"/>
              </a:solidFill>
            </a:ln>
          </p:spPr>
          <p:style>
            <a:lnRef idx="1">
              <a:schemeClr val="accent1"/>
            </a:lnRef>
            <a:fillRef idx="0">
              <a:schemeClr val="accent1"/>
            </a:fillRef>
            <a:effectRef idx="0">
              <a:schemeClr val="accent1"/>
            </a:effectRef>
            <a:fontRef idx="minor">
              <a:schemeClr val="tx1"/>
            </a:fontRef>
          </p:style>
        </p:cxnSp>
        <p:cxnSp>
          <p:nvCxnSpPr>
            <p:cNvPr id="215" name="Straight Connector 214"/>
            <p:cNvCxnSpPr/>
            <p:nvPr/>
          </p:nvCxnSpPr>
          <p:spPr>
            <a:xfrm rot="16200000">
              <a:off x="3078433" y="4903239"/>
              <a:ext cx="0" cy="33202"/>
            </a:xfrm>
            <a:prstGeom prst="line">
              <a:avLst/>
            </a:prstGeom>
            <a:ln w="25400">
              <a:solidFill>
                <a:srgbClr val="303030"/>
              </a:solidFill>
            </a:ln>
          </p:spPr>
          <p:style>
            <a:lnRef idx="1">
              <a:schemeClr val="accent1"/>
            </a:lnRef>
            <a:fillRef idx="0">
              <a:schemeClr val="accent1"/>
            </a:fillRef>
            <a:effectRef idx="0">
              <a:schemeClr val="accent1"/>
            </a:effectRef>
            <a:fontRef idx="minor">
              <a:schemeClr val="tx1"/>
            </a:fontRef>
          </p:style>
        </p:cxnSp>
        <p:sp>
          <p:nvSpPr>
            <p:cNvPr id="216" name="Oval 215"/>
            <p:cNvSpPr/>
            <p:nvPr/>
          </p:nvSpPr>
          <p:spPr>
            <a:xfrm>
              <a:off x="1935469" y="4884889"/>
              <a:ext cx="333659" cy="333659"/>
            </a:xfrm>
            <a:prstGeom prst="ellipse">
              <a:avLst/>
            </a:prstGeom>
            <a:gradFill flip="none" rotWithShape="1">
              <a:gsLst>
                <a:gs pos="0">
                  <a:schemeClr val="bg1">
                    <a:lumMod val="50000"/>
                  </a:schemeClr>
                </a:gs>
                <a:gs pos="56000">
                  <a:srgbClr val="333333"/>
                </a:gs>
                <a:gs pos="100000">
                  <a:schemeClr val="tx1">
                    <a:lumMod val="85000"/>
                    <a:lumOff val="15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217" name="Rounded Rectangle 216"/>
            <p:cNvSpPr/>
            <p:nvPr/>
          </p:nvSpPr>
          <p:spPr>
            <a:xfrm>
              <a:off x="2025063" y="4986840"/>
              <a:ext cx="129756" cy="129756"/>
            </a:xfrm>
            <a:prstGeom prst="roundRect">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grpSp>
          <p:nvGrpSpPr>
            <p:cNvPr id="218" name="Group 217"/>
            <p:cNvGrpSpPr/>
            <p:nvPr/>
          </p:nvGrpSpPr>
          <p:grpSpPr>
            <a:xfrm>
              <a:off x="1638770" y="1828484"/>
              <a:ext cx="91367" cy="89792"/>
              <a:chOff x="3850992" y="1240759"/>
              <a:chExt cx="79021" cy="77659"/>
            </a:xfrm>
          </p:grpSpPr>
          <p:sp>
            <p:nvSpPr>
              <p:cNvPr id="219" name="Freeform 29"/>
              <p:cNvSpPr>
                <a:spLocks/>
              </p:cNvSpPr>
              <p:nvPr/>
            </p:nvSpPr>
            <p:spPr bwMode="auto">
              <a:xfrm>
                <a:off x="3850992" y="1240759"/>
                <a:ext cx="79021" cy="77659"/>
              </a:xfrm>
              <a:custGeom>
                <a:avLst/>
                <a:gdLst>
                  <a:gd name="T0" fmla="*/ 189 w 345"/>
                  <a:gd name="T1" fmla="*/ 1 h 344"/>
                  <a:gd name="T2" fmla="*/ 224 w 345"/>
                  <a:gd name="T3" fmla="*/ 8 h 344"/>
                  <a:gd name="T4" fmla="*/ 254 w 345"/>
                  <a:gd name="T5" fmla="*/ 21 h 344"/>
                  <a:gd name="T6" fmla="*/ 282 w 345"/>
                  <a:gd name="T7" fmla="*/ 39 h 344"/>
                  <a:gd name="T8" fmla="*/ 305 w 345"/>
                  <a:gd name="T9" fmla="*/ 63 h 344"/>
                  <a:gd name="T10" fmla="*/ 324 w 345"/>
                  <a:gd name="T11" fmla="*/ 90 h 344"/>
                  <a:gd name="T12" fmla="*/ 337 w 345"/>
                  <a:gd name="T13" fmla="*/ 121 h 344"/>
                  <a:gd name="T14" fmla="*/ 343 w 345"/>
                  <a:gd name="T15" fmla="*/ 154 h 344"/>
                  <a:gd name="T16" fmla="*/ 343 w 345"/>
                  <a:gd name="T17" fmla="*/ 189 h 344"/>
                  <a:gd name="T18" fmla="*/ 337 w 345"/>
                  <a:gd name="T19" fmla="*/ 224 h 344"/>
                  <a:gd name="T20" fmla="*/ 324 w 345"/>
                  <a:gd name="T21" fmla="*/ 254 h 344"/>
                  <a:gd name="T22" fmla="*/ 305 w 345"/>
                  <a:gd name="T23" fmla="*/ 282 h 344"/>
                  <a:gd name="T24" fmla="*/ 282 w 345"/>
                  <a:gd name="T25" fmla="*/ 304 h 344"/>
                  <a:gd name="T26" fmla="*/ 254 w 345"/>
                  <a:gd name="T27" fmla="*/ 324 h 344"/>
                  <a:gd name="T28" fmla="*/ 224 w 345"/>
                  <a:gd name="T29" fmla="*/ 336 h 344"/>
                  <a:gd name="T30" fmla="*/ 189 w 345"/>
                  <a:gd name="T31" fmla="*/ 343 h 344"/>
                  <a:gd name="T32" fmla="*/ 155 w 345"/>
                  <a:gd name="T33" fmla="*/ 343 h 344"/>
                  <a:gd name="T34" fmla="*/ 121 w 345"/>
                  <a:gd name="T35" fmla="*/ 336 h 344"/>
                  <a:gd name="T36" fmla="*/ 90 w 345"/>
                  <a:gd name="T37" fmla="*/ 324 h 344"/>
                  <a:gd name="T38" fmla="*/ 63 w 345"/>
                  <a:gd name="T39" fmla="*/ 304 h 344"/>
                  <a:gd name="T40" fmla="*/ 39 w 345"/>
                  <a:gd name="T41" fmla="*/ 282 h 344"/>
                  <a:gd name="T42" fmla="*/ 21 w 345"/>
                  <a:gd name="T43" fmla="*/ 254 h 344"/>
                  <a:gd name="T44" fmla="*/ 8 w 345"/>
                  <a:gd name="T45" fmla="*/ 224 h 344"/>
                  <a:gd name="T46" fmla="*/ 1 w 345"/>
                  <a:gd name="T47" fmla="*/ 189 h 344"/>
                  <a:gd name="T48" fmla="*/ 1 w 345"/>
                  <a:gd name="T49" fmla="*/ 154 h 344"/>
                  <a:gd name="T50" fmla="*/ 8 w 345"/>
                  <a:gd name="T51" fmla="*/ 121 h 344"/>
                  <a:gd name="T52" fmla="*/ 21 w 345"/>
                  <a:gd name="T53" fmla="*/ 90 h 344"/>
                  <a:gd name="T54" fmla="*/ 39 w 345"/>
                  <a:gd name="T55" fmla="*/ 63 h 344"/>
                  <a:gd name="T56" fmla="*/ 63 w 345"/>
                  <a:gd name="T57" fmla="*/ 39 h 344"/>
                  <a:gd name="T58" fmla="*/ 90 w 345"/>
                  <a:gd name="T59" fmla="*/ 21 h 344"/>
                  <a:gd name="T60" fmla="*/ 121 w 345"/>
                  <a:gd name="T61" fmla="*/ 8 h 344"/>
                  <a:gd name="T62" fmla="*/ 155 w 345"/>
                  <a:gd name="T63" fmla="*/ 1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45" h="344">
                    <a:moveTo>
                      <a:pt x="172" y="0"/>
                    </a:moveTo>
                    <a:lnTo>
                      <a:pt x="189" y="1"/>
                    </a:lnTo>
                    <a:lnTo>
                      <a:pt x="207" y="3"/>
                    </a:lnTo>
                    <a:lnTo>
                      <a:pt x="224" y="8"/>
                    </a:lnTo>
                    <a:lnTo>
                      <a:pt x="240" y="14"/>
                    </a:lnTo>
                    <a:lnTo>
                      <a:pt x="254" y="21"/>
                    </a:lnTo>
                    <a:lnTo>
                      <a:pt x="268" y="30"/>
                    </a:lnTo>
                    <a:lnTo>
                      <a:pt x="282" y="39"/>
                    </a:lnTo>
                    <a:lnTo>
                      <a:pt x="294" y="50"/>
                    </a:lnTo>
                    <a:lnTo>
                      <a:pt x="305" y="63"/>
                    </a:lnTo>
                    <a:lnTo>
                      <a:pt x="315" y="75"/>
                    </a:lnTo>
                    <a:lnTo>
                      <a:pt x="324" y="90"/>
                    </a:lnTo>
                    <a:lnTo>
                      <a:pt x="331" y="105"/>
                    </a:lnTo>
                    <a:lnTo>
                      <a:pt x="337" y="121"/>
                    </a:lnTo>
                    <a:lnTo>
                      <a:pt x="341" y="137"/>
                    </a:lnTo>
                    <a:lnTo>
                      <a:pt x="343" y="154"/>
                    </a:lnTo>
                    <a:lnTo>
                      <a:pt x="345" y="172"/>
                    </a:lnTo>
                    <a:lnTo>
                      <a:pt x="343" y="189"/>
                    </a:lnTo>
                    <a:lnTo>
                      <a:pt x="341" y="206"/>
                    </a:lnTo>
                    <a:lnTo>
                      <a:pt x="337" y="224"/>
                    </a:lnTo>
                    <a:lnTo>
                      <a:pt x="331" y="239"/>
                    </a:lnTo>
                    <a:lnTo>
                      <a:pt x="324" y="254"/>
                    </a:lnTo>
                    <a:lnTo>
                      <a:pt x="315" y="268"/>
                    </a:lnTo>
                    <a:lnTo>
                      <a:pt x="305" y="282"/>
                    </a:lnTo>
                    <a:lnTo>
                      <a:pt x="294" y="294"/>
                    </a:lnTo>
                    <a:lnTo>
                      <a:pt x="282" y="304"/>
                    </a:lnTo>
                    <a:lnTo>
                      <a:pt x="268" y="315"/>
                    </a:lnTo>
                    <a:lnTo>
                      <a:pt x="254" y="324"/>
                    </a:lnTo>
                    <a:lnTo>
                      <a:pt x="240" y="331"/>
                    </a:lnTo>
                    <a:lnTo>
                      <a:pt x="224" y="336"/>
                    </a:lnTo>
                    <a:lnTo>
                      <a:pt x="207" y="341"/>
                    </a:lnTo>
                    <a:lnTo>
                      <a:pt x="189" y="343"/>
                    </a:lnTo>
                    <a:lnTo>
                      <a:pt x="172" y="344"/>
                    </a:lnTo>
                    <a:lnTo>
                      <a:pt x="155" y="343"/>
                    </a:lnTo>
                    <a:lnTo>
                      <a:pt x="138" y="341"/>
                    </a:lnTo>
                    <a:lnTo>
                      <a:pt x="121" y="336"/>
                    </a:lnTo>
                    <a:lnTo>
                      <a:pt x="105" y="331"/>
                    </a:lnTo>
                    <a:lnTo>
                      <a:pt x="90" y="324"/>
                    </a:lnTo>
                    <a:lnTo>
                      <a:pt x="76" y="315"/>
                    </a:lnTo>
                    <a:lnTo>
                      <a:pt x="63" y="304"/>
                    </a:lnTo>
                    <a:lnTo>
                      <a:pt x="50" y="294"/>
                    </a:lnTo>
                    <a:lnTo>
                      <a:pt x="39" y="282"/>
                    </a:lnTo>
                    <a:lnTo>
                      <a:pt x="30" y="268"/>
                    </a:lnTo>
                    <a:lnTo>
                      <a:pt x="21" y="254"/>
                    </a:lnTo>
                    <a:lnTo>
                      <a:pt x="14" y="239"/>
                    </a:lnTo>
                    <a:lnTo>
                      <a:pt x="8" y="224"/>
                    </a:lnTo>
                    <a:lnTo>
                      <a:pt x="3" y="206"/>
                    </a:lnTo>
                    <a:lnTo>
                      <a:pt x="1" y="189"/>
                    </a:lnTo>
                    <a:lnTo>
                      <a:pt x="0" y="172"/>
                    </a:lnTo>
                    <a:lnTo>
                      <a:pt x="1" y="154"/>
                    </a:lnTo>
                    <a:lnTo>
                      <a:pt x="3" y="137"/>
                    </a:lnTo>
                    <a:lnTo>
                      <a:pt x="8" y="121"/>
                    </a:lnTo>
                    <a:lnTo>
                      <a:pt x="14" y="105"/>
                    </a:lnTo>
                    <a:lnTo>
                      <a:pt x="21" y="90"/>
                    </a:lnTo>
                    <a:lnTo>
                      <a:pt x="30" y="75"/>
                    </a:lnTo>
                    <a:lnTo>
                      <a:pt x="39" y="63"/>
                    </a:lnTo>
                    <a:lnTo>
                      <a:pt x="50" y="50"/>
                    </a:lnTo>
                    <a:lnTo>
                      <a:pt x="63" y="39"/>
                    </a:lnTo>
                    <a:lnTo>
                      <a:pt x="76" y="30"/>
                    </a:lnTo>
                    <a:lnTo>
                      <a:pt x="90" y="21"/>
                    </a:lnTo>
                    <a:lnTo>
                      <a:pt x="105" y="14"/>
                    </a:lnTo>
                    <a:lnTo>
                      <a:pt x="121" y="8"/>
                    </a:lnTo>
                    <a:lnTo>
                      <a:pt x="138" y="3"/>
                    </a:lnTo>
                    <a:lnTo>
                      <a:pt x="155" y="1"/>
                    </a:lnTo>
                    <a:lnTo>
                      <a:pt x="172" y="0"/>
                    </a:lnTo>
                    <a:close/>
                  </a:path>
                </a:pathLst>
              </a:custGeom>
              <a:gradFill flip="none" rotWithShape="1">
                <a:gsLst>
                  <a:gs pos="65000">
                    <a:schemeClr val="tx1">
                      <a:lumMod val="75000"/>
                      <a:lumOff val="25000"/>
                    </a:schemeClr>
                  </a:gs>
                  <a:gs pos="0">
                    <a:schemeClr val="tx1"/>
                  </a:gs>
                </a:gsLst>
                <a:path path="circle">
                  <a:fillToRect l="50000" t="50000" r="50000" b="50000"/>
                </a:path>
                <a:tileRect/>
              </a:gra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20" name="Freeform 30"/>
              <p:cNvSpPr>
                <a:spLocks/>
              </p:cNvSpPr>
              <p:nvPr/>
            </p:nvSpPr>
            <p:spPr bwMode="auto">
              <a:xfrm>
                <a:off x="3871448" y="1259831"/>
                <a:ext cx="38148" cy="38148"/>
              </a:xfrm>
              <a:custGeom>
                <a:avLst/>
                <a:gdLst>
                  <a:gd name="T0" fmla="*/ 93 w 169"/>
                  <a:gd name="T1" fmla="*/ 0 h 169"/>
                  <a:gd name="T2" fmla="*/ 109 w 169"/>
                  <a:gd name="T3" fmla="*/ 3 h 169"/>
                  <a:gd name="T4" fmla="*/ 124 w 169"/>
                  <a:gd name="T5" fmla="*/ 10 h 169"/>
                  <a:gd name="T6" fmla="*/ 138 w 169"/>
                  <a:gd name="T7" fmla="*/ 19 h 169"/>
                  <a:gd name="T8" fmla="*/ 149 w 169"/>
                  <a:gd name="T9" fmla="*/ 31 h 169"/>
                  <a:gd name="T10" fmla="*/ 158 w 169"/>
                  <a:gd name="T11" fmla="*/ 43 h 169"/>
                  <a:gd name="T12" fmla="*/ 165 w 169"/>
                  <a:gd name="T13" fmla="*/ 59 h 169"/>
                  <a:gd name="T14" fmla="*/ 169 w 169"/>
                  <a:gd name="T15" fmla="*/ 75 h 169"/>
                  <a:gd name="T16" fmla="*/ 169 w 169"/>
                  <a:gd name="T17" fmla="*/ 92 h 169"/>
                  <a:gd name="T18" fmla="*/ 165 w 169"/>
                  <a:gd name="T19" fmla="*/ 109 h 169"/>
                  <a:gd name="T20" fmla="*/ 158 w 169"/>
                  <a:gd name="T21" fmla="*/ 124 h 169"/>
                  <a:gd name="T22" fmla="*/ 149 w 169"/>
                  <a:gd name="T23" fmla="*/ 138 h 169"/>
                  <a:gd name="T24" fmla="*/ 138 w 169"/>
                  <a:gd name="T25" fmla="*/ 149 h 169"/>
                  <a:gd name="T26" fmla="*/ 124 w 169"/>
                  <a:gd name="T27" fmla="*/ 158 h 169"/>
                  <a:gd name="T28" fmla="*/ 109 w 169"/>
                  <a:gd name="T29" fmla="*/ 165 h 169"/>
                  <a:gd name="T30" fmla="*/ 93 w 169"/>
                  <a:gd name="T31" fmla="*/ 169 h 169"/>
                  <a:gd name="T32" fmla="*/ 75 w 169"/>
                  <a:gd name="T33" fmla="*/ 169 h 169"/>
                  <a:gd name="T34" fmla="*/ 59 w 169"/>
                  <a:gd name="T35" fmla="*/ 165 h 169"/>
                  <a:gd name="T36" fmla="*/ 44 w 169"/>
                  <a:gd name="T37" fmla="*/ 158 h 169"/>
                  <a:gd name="T38" fmla="*/ 31 w 169"/>
                  <a:gd name="T39" fmla="*/ 149 h 169"/>
                  <a:gd name="T40" fmla="*/ 19 w 169"/>
                  <a:gd name="T41" fmla="*/ 138 h 169"/>
                  <a:gd name="T42" fmla="*/ 10 w 169"/>
                  <a:gd name="T43" fmla="*/ 124 h 169"/>
                  <a:gd name="T44" fmla="*/ 3 w 169"/>
                  <a:gd name="T45" fmla="*/ 109 h 169"/>
                  <a:gd name="T46" fmla="*/ 0 w 169"/>
                  <a:gd name="T47" fmla="*/ 92 h 169"/>
                  <a:gd name="T48" fmla="*/ 0 w 169"/>
                  <a:gd name="T49" fmla="*/ 75 h 169"/>
                  <a:gd name="T50" fmla="*/ 3 w 169"/>
                  <a:gd name="T51" fmla="*/ 59 h 169"/>
                  <a:gd name="T52" fmla="*/ 10 w 169"/>
                  <a:gd name="T53" fmla="*/ 43 h 169"/>
                  <a:gd name="T54" fmla="*/ 19 w 169"/>
                  <a:gd name="T55" fmla="*/ 31 h 169"/>
                  <a:gd name="T56" fmla="*/ 31 w 169"/>
                  <a:gd name="T57" fmla="*/ 19 h 169"/>
                  <a:gd name="T58" fmla="*/ 44 w 169"/>
                  <a:gd name="T59" fmla="*/ 10 h 169"/>
                  <a:gd name="T60" fmla="*/ 59 w 169"/>
                  <a:gd name="T61" fmla="*/ 3 h 169"/>
                  <a:gd name="T62" fmla="*/ 75 w 169"/>
                  <a:gd name="T63" fmla="*/ 0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69" h="169">
                    <a:moveTo>
                      <a:pt x="84" y="0"/>
                    </a:moveTo>
                    <a:lnTo>
                      <a:pt x="93" y="0"/>
                    </a:lnTo>
                    <a:lnTo>
                      <a:pt x="101" y="1"/>
                    </a:lnTo>
                    <a:lnTo>
                      <a:pt x="109" y="3"/>
                    </a:lnTo>
                    <a:lnTo>
                      <a:pt x="117" y="6"/>
                    </a:lnTo>
                    <a:lnTo>
                      <a:pt x="124" y="10"/>
                    </a:lnTo>
                    <a:lnTo>
                      <a:pt x="132" y="14"/>
                    </a:lnTo>
                    <a:lnTo>
                      <a:pt x="138" y="19"/>
                    </a:lnTo>
                    <a:lnTo>
                      <a:pt x="145" y="24"/>
                    </a:lnTo>
                    <a:lnTo>
                      <a:pt x="149" y="31"/>
                    </a:lnTo>
                    <a:lnTo>
                      <a:pt x="155" y="36"/>
                    </a:lnTo>
                    <a:lnTo>
                      <a:pt x="158" y="43"/>
                    </a:lnTo>
                    <a:lnTo>
                      <a:pt x="162" y="51"/>
                    </a:lnTo>
                    <a:lnTo>
                      <a:pt x="165" y="59"/>
                    </a:lnTo>
                    <a:lnTo>
                      <a:pt x="168" y="67"/>
                    </a:lnTo>
                    <a:lnTo>
                      <a:pt x="169" y="75"/>
                    </a:lnTo>
                    <a:lnTo>
                      <a:pt x="169" y="84"/>
                    </a:lnTo>
                    <a:lnTo>
                      <a:pt x="169" y="92"/>
                    </a:lnTo>
                    <a:lnTo>
                      <a:pt x="168" y="101"/>
                    </a:lnTo>
                    <a:lnTo>
                      <a:pt x="165" y="109"/>
                    </a:lnTo>
                    <a:lnTo>
                      <a:pt x="162" y="117"/>
                    </a:lnTo>
                    <a:lnTo>
                      <a:pt x="158" y="124"/>
                    </a:lnTo>
                    <a:lnTo>
                      <a:pt x="155" y="131"/>
                    </a:lnTo>
                    <a:lnTo>
                      <a:pt x="149" y="138"/>
                    </a:lnTo>
                    <a:lnTo>
                      <a:pt x="145" y="143"/>
                    </a:lnTo>
                    <a:lnTo>
                      <a:pt x="138" y="149"/>
                    </a:lnTo>
                    <a:lnTo>
                      <a:pt x="132" y="155"/>
                    </a:lnTo>
                    <a:lnTo>
                      <a:pt x="124" y="158"/>
                    </a:lnTo>
                    <a:lnTo>
                      <a:pt x="117" y="162"/>
                    </a:lnTo>
                    <a:lnTo>
                      <a:pt x="109" y="165"/>
                    </a:lnTo>
                    <a:lnTo>
                      <a:pt x="101" y="167"/>
                    </a:lnTo>
                    <a:lnTo>
                      <a:pt x="93" y="169"/>
                    </a:lnTo>
                    <a:lnTo>
                      <a:pt x="84" y="169"/>
                    </a:lnTo>
                    <a:lnTo>
                      <a:pt x="75" y="169"/>
                    </a:lnTo>
                    <a:lnTo>
                      <a:pt x="67" y="167"/>
                    </a:lnTo>
                    <a:lnTo>
                      <a:pt x="59" y="165"/>
                    </a:lnTo>
                    <a:lnTo>
                      <a:pt x="51" y="162"/>
                    </a:lnTo>
                    <a:lnTo>
                      <a:pt x="44" y="158"/>
                    </a:lnTo>
                    <a:lnTo>
                      <a:pt x="36" y="155"/>
                    </a:lnTo>
                    <a:lnTo>
                      <a:pt x="31" y="149"/>
                    </a:lnTo>
                    <a:lnTo>
                      <a:pt x="24" y="143"/>
                    </a:lnTo>
                    <a:lnTo>
                      <a:pt x="19" y="138"/>
                    </a:lnTo>
                    <a:lnTo>
                      <a:pt x="14" y="131"/>
                    </a:lnTo>
                    <a:lnTo>
                      <a:pt x="10" y="124"/>
                    </a:lnTo>
                    <a:lnTo>
                      <a:pt x="6" y="117"/>
                    </a:lnTo>
                    <a:lnTo>
                      <a:pt x="3" y="109"/>
                    </a:lnTo>
                    <a:lnTo>
                      <a:pt x="1" y="101"/>
                    </a:lnTo>
                    <a:lnTo>
                      <a:pt x="0" y="92"/>
                    </a:lnTo>
                    <a:lnTo>
                      <a:pt x="0" y="84"/>
                    </a:lnTo>
                    <a:lnTo>
                      <a:pt x="0" y="75"/>
                    </a:lnTo>
                    <a:lnTo>
                      <a:pt x="1" y="67"/>
                    </a:lnTo>
                    <a:lnTo>
                      <a:pt x="3" y="59"/>
                    </a:lnTo>
                    <a:lnTo>
                      <a:pt x="6" y="51"/>
                    </a:lnTo>
                    <a:lnTo>
                      <a:pt x="10" y="43"/>
                    </a:lnTo>
                    <a:lnTo>
                      <a:pt x="14" y="36"/>
                    </a:lnTo>
                    <a:lnTo>
                      <a:pt x="19" y="31"/>
                    </a:lnTo>
                    <a:lnTo>
                      <a:pt x="24" y="24"/>
                    </a:lnTo>
                    <a:lnTo>
                      <a:pt x="31" y="19"/>
                    </a:lnTo>
                    <a:lnTo>
                      <a:pt x="36" y="14"/>
                    </a:lnTo>
                    <a:lnTo>
                      <a:pt x="44" y="10"/>
                    </a:lnTo>
                    <a:lnTo>
                      <a:pt x="51" y="6"/>
                    </a:lnTo>
                    <a:lnTo>
                      <a:pt x="59" y="3"/>
                    </a:lnTo>
                    <a:lnTo>
                      <a:pt x="67" y="1"/>
                    </a:lnTo>
                    <a:lnTo>
                      <a:pt x="75" y="0"/>
                    </a:lnTo>
                    <a:lnTo>
                      <a:pt x="84" y="0"/>
                    </a:lnTo>
                    <a:close/>
                  </a:path>
                </a:pathLst>
              </a:custGeom>
              <a:gradFill flip="none" rotWithShape="1">
                <a:gsLst>
                  <a:gs pos="0">
                    <a:srgbClr val="00B0F0"/>
                  </a:gs>
                  <a:gs pos="74000">
                    <a:srgbClr val="002060"/>
                  </a:gs>
                </a:gsLst>
                <a:path path="circle">
                  <a:fillToRect l="50000" t="50000" r="50000" b="50000"/>
                </a:path>
                <a:tileRect/>
              </a:gra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21" name="Freeform 31"/>
              <p:cNvSpPr>
                <a:spLocks/>
              </p:cNvSpPr>
              <p:nvPr/>
            </p:nvSpPr>
            <p:spPr bwMode="auto">
              <a:xfrm>
                <a:off x="3876892" y="1274820"/>
                <a:ext cx="10899" cy="10899"/>
              </a:xfrm>
              <a:custGeom>
                <a:avLst/>
                <a:gdLst>
                  <a:gd name="T0" fmla="*/ 23 w 46"/>
                  <a:gd name="T1" fmla="*/ 0 h 47"/>
                  <a:gd name="T2" fmla="*/ 27 w 46"/>
                  <a:gd name="T3" fmla="*/ 1 h 47"/>
                  <a:gd name="T4" fmla="*/ 32 w 46"/>
                  <a:gd name="T5" fmla="*/ 2 h 47"/>
                  <a:gd name="T6" fmla="*/ 35 w 46"/>
                  <a:gd name="T7" fmla="*/ 5 h 47"/>
                  <a:gd name="T8" fmla="*/ 39 w 46"/>
                  <a:gd name="T9" fmla="*/ 7 h 47"/>
                  <a:gd name="T10" fmla="*/ 42 w 46"/>
                  <a:gd name="T11" fmla="*/ 10 h 47"/>
                  <a:gd name="T12" fmla="*/ 45 w 46"/>
                  <a:gd name="T13" fmla="*/ 15 h 47"/>
                  <a:gd name="T14" fmla="*/ 46 w 46"/>
                  <a:gd name="T15" fmla="*/ 18 h 47"/>
                  <a:gd name="T16" fmla="*/ 46 w 46"/>
                  <a:gd name="T17" fmla="*/ 24 h 47"/>
                  <a:gd name="T18" fmla="*/ 46 w 46"/>
                  <a:gd name="T19" fmla="*/ 28 h 47"/>
                  <a:gd name="T20" fmla="*/ 45 w 46"/>
                  <a:gd name="T21" fmla="*/ 32 h 47"/>
                  <a:gd name="T22" fmla="*/ 42 w 46"/>
                  <a:gd name="T23" fmla="*/ 36 h 47"/>
                  <a:gd name="T24" fmla="*/ 39 w 46"/>
                  <a:gd name="T25" fmla="*/ 40 h 47"/>
                  <a:gd name="T26" fmla="*/ 35 w 46"/>
                  <a:gd name="T27" fmla="*/ 42 h 47"/>
                  <a:gd name="T28" fmla="*/ 32 w 46"/>
                  <a:gd name="T29" fmla="*/ 44 h 47"/>
                  <a:gd name="T30" fmla="*/ 27 w 46"/>
                  <a:gd name="T31" fmla="*/ 46 h 47"/>
                  <a:gd name="T32" fmla="*/ 23 w 46"/>
                  <a:gd name="T33" fmla="*/ 47 h 47"/>
                  <a:gd name="T34" fmla="*/ 18 w 46"/>
                  <a:gd name="T35" fmla="*/ 46 h 47"/>
                  <a:gd name="T36" fmla="*/ 14 w 46"/>
                  <a:gd name="T37" fmla="*/ 44 h 47"/>
                  <a:gd name="T38" fmla="*/ 10 w 46"/>
                  <a:gd name="T39" fmla="*/ 42 h 47"/>
                  <a:gd name="T40" fmla="*/ 7 w 46"/>
                  <a:gd name="T41" fmla="*/ 40 h 47"/>
                  <a:gd name="T42" fmla="*/ 4 w 46"/>
                  <a:gd name="T43" fmla="*/ 36 h 47"/>
                  <a:gd name="T44" fmla="*/ 1 w 46"/>
                  <a:gd name="T45" fmla="*/ 32 h 47"/>
                  <a:gd name="T46" fmla="*/ 0 w 46"/>
                  <a:gd name="T47" fmla="*/ 28 h 47"/>
                  <a:gd name="T48" fmla="*/ 0 w 46"/>
                  <a:gd name="T49" fmla="*/ 24 h 47"/>
                  <a:gd name="T50" fmla="*/ 0 w 46"/>
                  <a:gd name="T51" fmla="*/ 18 h 47"/>
                  <a:gd name="T52" fmla="*/ 1 w 46"/>
                  <a:gd name="T53" fmla="*/ 15 h 47"/>
                  <a:gd name="T54" fmla="*/ 4 w 46"/>
                  <a:gd name="T55" fmla="*/ 10 h 47"/>
                  <a:gd name="T56" fmla="*/ 7 w 46"/>
                  <a:gd name="T57" fmla="*/ 7 h 47"/>
                  <a:gd name="T58" fmla="*/ 10 w 46"/>
                  <a:gd name="T59" fmla="*/ 5 h 47"/>
                  <a:gd name="T60" fmla="*/ 14 w 46"/>
                  <a:gd name="T61" fmla="*/ 2 h 47"/>
                  <a:gd name="T62" fmla="*/ 18 w 46"/>
                  <a:gd name="T63" fmla="*/ 1 h 47"/>
                  <a:gd name="T64" fmla="*/ 23 w 46"/>
                  <a:gd name="T65"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6" h="47">
                    <a:moveTo>
                      <a:pt x="23" y="0"/>
                    </a:moveTo>
                    <a:lnTo>
                      <a:pt x="27" y="1"/>
                    </a:lnTo>
                    <a:lnTo>
                      <a:pt x="32" y="2"/>
                    </a:lnTo>
                    <a:lnTo>
                      <a:pt x="35" y="5"/>
                    </a:lnTo>
                    <a:lnTo>
                      <a:pt x="39" y="7"/>
                    </a:lnTo>
                    <a:lnTo>
                      <a:pt x="42" y="10"/>
                    </a:lnTo>
                    <a:lnTo>
                      <a:pt x="45" y="15"/>
                    </a:lnTo>
                    <a:lnTo>
                      <a:pt x="46" y="18"/>
                    </a:lnTo>
                    <a:lnTo>
                      <a:pt x="46" y="24"/>
                    </a:lnTo>
                    <a:lnTo>
                      <a:pt x="46" y="28"/>
                    </a:lnTo>
                    <a:lnTo>
                      <a:pt x="45" y="32"/>
                    </a:lnTo>
                    <a:lnTo>
                      <a:pt x="42" y="36"/>
                    </a:lnTo>
                    <a:lnTo>
                      <a:pt x="39" y="40"/>
                    </a:lnTo>
                    <a:lnTo>
                      <a:pt x="35" y="42"/>
                    </a:lnTo>
                    <a:lnTo>
                      <a:pt x="32" y="44"/>
                    </a:lnTo>
                    <a:lnTo>
                      <a:pt x="27" y="46"/>
                    </a:lnTo>
                    <a:lnTo>
                      <a:pt x="23" y="47"/>
                    </a:lnTo>
                    <a:lnTo>
                      <a:pt x="18" y="46"/>
                    </a:lnTo>
                    <a:lnTo>
                      <a:pt x="14" y="44"/>
                    </a:lnTo>
                    <a:lnTo>
                      <a:pt x="10" y="42"/>
                    </a:lnTo>
                    <a:lnTo>
                      <a:pt x="7" y="40"/>
                    </a:lnTo>
                    <a:lnTo>
                      <a:pt x="4" y="36"/>
                    </a:lnTo>
                    <a:lnTo>
                      <a:pt x="1" y="32"/>
                    </a:lnTo>
                    <a:lnTo>
                      <a:pt x="0" y="28"/>
                    </a:lnTo>
                    <a:lnTo>
                      <a:pt x="0" y="24"/>
                    </a:lnTo>
                    <a:lnTo>
                      <a:pt x="0" y="18"/>
                    </a:lnTo>
                    <a:lnTo>
                      <a:pt x="1" y="15"/>
                    </a:lnTo>
                    <a:lnTo>
                      <a:pt x="4" y="10"/>
                    </a:lnTo>
                    <a:lnTo>
                      <a:pt x="7" y="7"/>
                    </a:lnTo>
                    <a:lnTo>
                      <a:pt x="10" y="5"/>
                    </a:lnTo>
                    <a:lnTo>
                      <a:pt x="14" y="2"/>
                    </a:lnTo>
                    <a:lnTo>
                      <a:pt x="18" y="1"/>
                    </a:lnTo>
                    <a:lnTo>
                      <a:pt x="23" y="0"/>
                    </a:lnTo>
                    <a:close/>
                  </a:path>
                </a:pathLst>
              </a:custGeom>
              <a:solidFill>
                <a:srgbClr val="E6E7E8">
                  <a:alpha val="50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22" name="Freeform 32"/>
              <p:cNvSpPr>
                <a:spLocks/>
              </p:cNvSpPr>
              <p:nvPr/>
            </p:nvSpPr>
            <p:spPr bwMode="auto">
              <a:xfrm>
                <a:off x="3894775" y="1269392"/>
                <a:ext cx="6813" cy="6813"/>
              </a:xfrm>
              <a:custGeom>
                <a:avLst/>
                <a:gdLst>
                  <a:gd name="T0" fmla="*/ 15 w 30"/>
                  <a:gd name="T1" fmla="*/ 0 h 31"/>
                  <a:gd name="T2" fmla="*/ 18 w 30"/>
                  <a:gd name="T3" fmla="*/ 0 h 31"/>
                  <a:gd name="T4" fmla="*/ 20 w 30"/>
                  <a:gd name="T5" fmla="*/ 1 h 31"/>
                  <a:gd name="T6" fmla="*/ 24 w 30"/>
                  <a:gd name="T7" fmla="*/ 2 h 31"/>
                  <a:gd name="T8" fmla="*/ 26 w 30"/>
                  <a:gd name="T9" fmla="*/ 4 h 31"/>
                  <a:gd name="T10" fmla="*/ 27 w 30"/>
                  <a:gd name="T11" fmla="*/ 7 h 31"/>
                  <a:gd name="T12" fmla="*/ 29 w 30"/>
                  <a:gd name="T13" fmla="*/ 9 h 31"/>
                  <a:gd name="T14" fmla="*/ 29 w 30"/>
                  <a:gd name="T15" fmla="*/ 11 h 31"/>
                  <a:gd name="T16" fmla="*/ 30 w 30"/>
                  <a:gd name="T17" fmla="*/ 15 h 31"/>
                  <a:gd name="T18" fmla="*/ 29 w 30"/>
                  <a:gd name="T19" fmla="*/ 18 h 31"/>
                  <a:gd name="T20" fmla="*/ 29 w 30"/>
                  <a:gd name="T21" fmla="*/ 20 h 31"/>
                  <a:gd name="T22" fmla="*/ 27 w 30"/>
                  <a:gd name="T23" fmla="*/ 24 h 31"/>
                  <a:gd name="T24" fmla="*/ 26 w 30"/>
                  <a:gd name="T25" fmla="*/ 26 h 31"/>
                  <a:gd name="T26" fmla="*/ 24 w 30"/>
                  <a:gd name="T27" fmla="*/ 27 h 31"/>
                  <a:gd name="T28" fmla="*/ 20 w 30"/>
                  <a:gd name="T29" fmla="*/ 28 h 31"/>
                  <a:gd name="T30" fmla="*/ 18 w 30"/>
                  <a:gd name="T31" fmla="*/ 30 h 31"/>
                  <a:gd name="T32" fmla="*/ 15 w 30"/>
                  <a:gd name="T33" fmla="*/ 31 h 31"/>
                  <a:gd name="T34" fmla="*/ 11 w 30"/>
                  <a:gd name="T35" fmla="*/ 30 h 31"/>
                  <a:gd name="T36" fmla="*/ 9 w 30"/>
                  <a:gd name="T37" fmla="*/ 28 h 31"/>
                  <a:gd name="T38" fmla="*/ 7 w 30"/>
                  <a:gd name="T39" fmla="*/ 27 h 31"/>
                  <a:gd name="T40" fmla="*/ 4 w 30"/>
                  <a:gd name="T41" fmla="*/ 26 h 31"/>
                  <a:gd name="T42" fmla="*/ 2 w 30"/>
                  <a:gd name="T43" fmla="*/ 24 h 31"/>
                  <a:gd name="T44" fmla="*/ 1 w 30"/>
                  <a:gd name="T45" fmla="*/ 20 h 31"/>
                  <a:gd name="T46" fmla="*/ 0 w 30"/>
                  <a:gd name="T47" fmla="*/ 18 h 31"/>
                  <a:gd name="T48" fmla="*/ 0 w 30"/>
                  <a:gd name="T49" fmla="*/ 15 h 31"/>
                  <a:gd name="T50" fmla="*/ 0 w 30"/>
                  <a:gd name="T51" fmla="*/ 11 h 31"/>
                  <a:gd name="T52" fmla="*/ 1 w 30"/>
                  <a:gd name="T53" fmla="*/ 9 h 31"/>
                  <a:gd name="T54" fmla="*/ 2 w 30"/>
                  <a:gd name="T55" fmla="*/ 7 h 31"/>
                  <a:gd name="T56" fmla="*/ 4 w 30"/>
                  <a:gd name="T57" fmla="*/ 4 h 31"/>
                  <a:gd name="T58" fmla="*/ 7 w 30"/>
                  <a:gd name="T59" fmla="*/ 2 h 31"/>
                  <a:gd name="T60" fmla="*/ 9 w 30"/>
                  <a:gd name="T61" fmla="*/ 1 h 31"/>
                  <a:gd name="T62" fmla="*/ 11 w 30"/>
                  <a:gd name="T63" fmla="*/ 0 h 31"/>
                  <a:gd name="T64" fmla="*/ 15 w 30"/>
                  <a:gd name="T65"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0" h="31">
                    <a:moveTo>
                      <a:pt x="15" y="0"/>
                    </a:moveTo>
                    <a:lnTo>
                      <a:pt x="18" y="0"/>
                    </a:lnTo>
                    <a:lnTo>
                      <a:pt x="20" y="1"/>
                    </a:lnTo>
                    <a:lnTo>
                      <a:pt x="24" y="2"/>
                    </a:lnTo>
                    <a:lnTo>
                      <a:pt x="26" y="4"/>
                    </a:lnTo>
                    <a:lnTo>
                      <a:pt x="27" y="7"/>
                    </a:lnTo>
                    <a:lnTo>
                      <a:pt x="29" y="9"/>
                    </a:lnTo>
                    <a:lnTo>
                      <a:pt x="29" y="11"/>
                    </a:lnTo>
                    <a:lnTo>
                      <a:pt x="30" y="15"/>
                    </a:lnTo>
                    <a:lnTo>
                      <a:pt x="29" y="18"/>
                    </a:lnTo>
                    <a:lnTo>
                      <a:pt x="29" y="20"/>
                    </a:lnTo>
                    <a:lnTo>
                      <a:pt x="27" y="24"/>
                    </a:lnTo>
                    <a:lnTo>
                      <a:pt x="26" y="26"/>
                    </a:lnTo>
                    <a:lnTo>
                      <a:pt x="24" y="27"/>
                    </a:lnTo>
                    <a:lnTo>
                      <a:pt x="20" y="28"/>
                    </a:lnTo>
                    <a:lnTo>
                      <a:pt x="18" y="30"/>
                    </a:lnTo>
                    <a:lnTo>
                      <a:pt x="15" y="31"/>
                    </a:lnTo>
                    <a:lnTo>
                      <a:pt x="11" y="30"/>
                    </a:lnTo>
                    <a:lnTo>
                      <a:pt x="9" y="28"/>
                    </a:lnTo>
                    <a:lnTo>
                      <a:pt x="7" y="27"/>
                    </a:lnTo>
                    <a:lnTo>
                      <a:pt x="4" y="26"/>
                    </a:lnTo>
                    <a:lnTo>
                      <a:pt x="2" y="24"/>
                    </a:lnTo>
                    <a:lnTo>
                      <a:pt x="1" y="20"/>
                    </a:lnTo>
                    <a:lnTo>
                      <a:pt x="0" y="18"/>
                    </a:lnTo>
                    <a:lnTo>
                      <a:pt x="0" y="15"/>
                    </a:lnTo>
                    <a:lnTo>
                      <a:pt x="0" y="11"/>
                    </a:lnTo>
                    <a:lnTo>
                      <a:pt x="1" y="9"/>
                    </a:lnTo>
                    <a:lnTo>
                      <a:pt x="2" y="7"/>
                    </a:lnTo>
                    <a:lnTo>
                      <a:pt x="4" y="4"/>
                    </a:lnTo>
                    <a:lnTo>
                      <a:pt x="7" y="2"/>
                    </a:lnTo>
                    <a:lnTo>
                      <a:pt x="9" y="1"/>
                    </a:lnTo>
                    <a:lnTo>
                      <a:pt x="11" y="0"/>
                    </a:lnTo>
                    <a:lnTo>
                      <a:pt x="15" y="0"/>
                    </a:lnTo>
                    <a:close/>
                  </a:path>
                </a:pathLst>
              </a:custGeom>
              <a:solidFill>
                <a:srgbClr val="E6E7E8">
                  <a:alpha val="50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grpSp>
      </p:grpSp>
      <p:grpSp>
        <p:nvGrpSpPr>
          <p:cNvPr id="159" name="Group 158"/>
          <p:cNvGrpSpPr/>
          <p:nvPr/>
        </p:nvGrpSpPr>
        <p:grpSpPr>
          <a:xfrm>
            <a:off x="1859808" y="5309527"/>
            <a:ext cx="1513661" cy="822510"/>
            <a:chOff x="990251" y="5414562"/>
            <a:chExt cx="1619250" cy="879886"/>
          </a:xfrm>
        </p:grpSpPr>
        <p:cxnSp>
          <p:nvCxnSpPr>
            <p:cNvPr id="171" name="Straight Connector 170"/>
            <p:cNvCxnSpPr/>
            <p:nvPr/>
          </p:nvCxnSpPr>
          <p:spPr>
            <a:xfrm>
              <a:off x="1706415" y="5676343"/>
              <a:ext cx="186922" cy="0"/>
            </a:xfrm>
            <a:prstGeom prst="line">
              <a:avLst/>
            </a:prstGeom>
            <a:ln w="28575">
              <a:solidFill>
                <a:srgbClr val="E2583D"/>
              </a:solidFill>
            </a:ln>
          </p:spPr>
          <p:style>
            <a:lnRef idx="1">
              <a:schemeClr val="accent1"/>
            </a:lnRef>
            <a:fillRef idx="0">
              <a:schemeClr val="accent1"/>
            </a:fillRef>
            <a:effectRef idx="0">
              <a:schemeClr val="accent1"/>
            </a:effectRef>
            <a:fontRef idx="minor">
              <a:schemeClr val="tx1"/>
            </a:fontRef>
          </p:style>
        </p:cxnSp>
        <p:sp>
          <p:nvSpPr>
            <p:cNvPr id="172" name="TextBox 171"/>
            <p:cNvSpPr txBox="1"/>
            <p:nvPr/>
          </p:nvSpPr>
          <p:spPr>
            <a:xfrm>
              <a:off x="990251" y="5800578"/>
              <a:ext cx="1619250" cy="493870"/>
            </a:xfrm>
            <a:prstGeom prst="rect">
              <a:avLst/>
            </a:prstGeom>
            <a:noFill/>
            <a:ln w="6350">
              <a:noFill/>
              <a:prstDash val="dash"/>
            </a:ln>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err="1">
                  <a:ln>
                    <a:noFill/>
                  </a:ln>
                  <a:effectLst/>
                  <a:uLnTx/>
                  <a:uFillTx/>
                  <a:ea typeface="+mn-ea"/>
                  <a:cs typeface="+mn-cs"/>
                </a:rPr>
                <a:t>Lorem</a:t>
              </a:r>
              <a:r>
                <a:rPr kumimoji="0" lang="en-US" sz="1000" b="0" i="0" u="none" strike="noStrike" kern="1200" cap="none" spc="0" normalizeH="0" baseline="0" noProof="0" dirty="0">
                  <a:ln>
                    <a:noFill/>
                  </a:ln>
                  <a:effectLst/>
                  <a:uLnTx/>
                  <a:uFillTx/>
                  <a:ea typeface="+mn-ea"/>
                  <a:cs typeface="+mn-cs"/>
                </a:rPr>
                <a:t> </a:t>
              </a:r>
              <a:r>
                <a:rPr kumimoji="0" lang="en-US" sz="1000" b="0" i="0" u="none" strike="noStrike" kern="1200" cap="none" spc="0" normalizeH="0" baseline="0" noProof="0" dirty="0" err="1">
                  <a:ln>
                    <a:noFill/>
                  </a:ln>
                  <a:effectLst/>
                  <a:uLnTx/>
                  <a:uFillTx/>
                  <a:ea typeface="+mn-ea"/>
                  <a:cs typeface="+mn-cs"/>
                </a:rPr>
                <a:t>Ipsum</a:t>
              </a:r>
              <a:r>
                <a:rPr kumimoji="0" lang="en-US" sz="1000" b="0" i="0" u="none" strike="noStrike" kern="1200" cap="none" spc="0" normalizeH="0" baseline="0" noProof="0" dirty="0">
                  <a:ln>
                    <a:noFill/>
                  </a:ln>
                  <a:effectLst/>
                  <a:uLnTx/>
                  <a:uFillTx/>
                  <a:ea typeface="+mn-ea"/>
                  <a:cs typeface="+mn-cs"/>
                </a:rPr>
                <a:t> is simply dummy text of the printing and typesetting industry. </a:t>
              </a:r>
            </a:p>
          </p:txBody>
        </p:sp>
        <p:sp>
          <p:nvSpPr>
            <p:cNvPr id="173" name="TextBox 172"/>
            <p:cNvSpPr txBox="1"/>
            <p:nvPr/>
          </p:nvSpPr>
          <p:spPr>
            <a:xfrm>
              <a:off x="990251" y="5414562"/>
              <a:ext cx="1619250" cy="230473"/>
            </a:xfrm>
            <a:prstGeom prst="rect">
              <a:avLst/>
            </a:prstGeom>
            <a:noFill/>
            <a:ln w="6350">
              <a:noFill/>
              <a:prstDash val="dash"/>
            </a:ln>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E2583D"/>
                  </a:solidFill>
                  <a:effectLst/>
                  <a:uLnTx/>
                  <a:uFillTx/>
                  <a:ea typeface="+mn-ea"/>
                  <a:cs typeface="+mn-cs"/>
                </a:rPr>
                <a:t>2009</a:t>
              </a:r>
            </a:p>
          </p:txBody>
        </p:sp>
      </p:grpSp>
      <p:sp>
        <p:nvSpPr>
          <p:cNvPr id="162" name="Rounded Rectangle 161"/>
          <p:cNvSpPr/>
          <p:nvPr/>
        </p:nvSpPr>
        <p:spPr>
          <a:xfrm>
            <a:off x="2244573" y="6191560"/>
            <a:ext cx="744131" cy="139636"/>
          </a:xfrm>
          <a:prstGeom prst="roundRect">
            <a:avLst/>
          </a:prstGeom>
          <a:solidFill>
            <a:srgbClr val="E2583D"/>
          </a:solidFill>
          <a:ln>
            <a:noFill/>
          </a:ln>
        </p:spPr>
        <p:style>
          <a:lnRef idx="2">
            <a:schemeClr val="accent1">
              <a:shade val="50000"/>
            </a:schemeClr>
          </a:lnRef>
          <a:fillRef idx="1">
            <a:schemeClr val="accent1"/>
          </a:fillRef>
          <a:effectRef idx="0">
            <a:schemeClr val="accent1"/>
          </a:effectRef>
          <a:fontRef idx="minor">
            <a:schemeClr val="lt1"/>
          </a:fontRef>
        </p:style>
        <p:txBody>
          <a:bodyPr lIns="46800" tIns="46800" rIns="46800" bIns="468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prstClr val="white"/>
                </a:solidFill>
                <a:effectLst/>
                <a:uLnTx/>
                <a:uFillTx/>
                <a:latin typeface="Calibri"/>
                <a:ea typeface="+mn-ea"/>
                <a:cs typeface="+mn-cs"/>
              </a:rPr>
              <a:t>READ MORE</a:t>
            </a:r>
          </a:p>
        </p:txBody>
      </p:sp>
      <p:pic>
        <p:nvPicPr>
          <p:cNvPr id="383" name="Picture Placeholder 122"/>
          <p:cNvPicPr>
            <a:picLocks noChangeAspect="1"/>
          </p:cNvPicPr>
          <p:nvPr/>
        </p:nvPicPr>
        <p:blipFill>
          <a:blip r:embed="rId3" cstate="screen">
            <a:extLst>
              <a:ext uri="{28A0092B-C50C-407E-A947-70E740481C1C}">
                <a14:useLocalDpi xmlns:a14="http://schemas.microsoft.com/office/drawing/2010/main"/>
              </a:ext>
            </a:extLst>
          </a:blip>
          <a:srcRect/>
          <a:stretch>
            <a:fillRect/>
          </a:stretch>
        </p:blipFill>
        <p:spPr>
          <a:xfrm>
            <a:off x="1842326" y="2026902"/>
            <a:ext cx="1644252" cy="2499025"/>
          </a:xfrm>
          <a:prstGeom prst="rect">
            <a:avLst/>
          </a:prstGeom>
        </p:spPr>
      </p:pic>
      <p:grpSp>
        <p:nvGrpSpPr>
          <p:cNvPr id="155" name="Group 154"/>
          <p:cNvGrpSpPr/>
          <p:nvPr/>
        </p:nvGrpSpPr>
        <p:grpSpPr>
          <a:xfrm>
            <a:off x="5229102" y="1455662"/>
            <a:ext cx="1881637" cy="3691515"/>
            <a:chOff x="3334776" y="1453789"/>
            <a:chExt cx="2012894" cy="3949026"/>
          </a:xfrm>
        </p:grpSpPr>
        <p:sp>
          <p:nvSpPr>
            <p:cNvPr id="223" name="Rounded Rectangle 222"/>
            <p:cNvSpPr/>
            <p:nvPr/>
          </p:nvSpPr>
          <p:spPr>
            <a:xfrm>
              <a:off x="3334776" y="1804788"/>
              <a:ext cx="46197" cy="179843"/>
            </a:xfrm>
            <a:prstGeom prst="roundRect">
              <a:avLst/>
            </a:prstGeom>
            <a:gradFill flip="none" rotWithShape="1">
              <a:gsLst>
                <a:gs pos="52888">
                  <a:schemeClr val="bg1">
                    <a:lumMod val="50000"/>
                  </a:schemeClr>
                </a:gs>
                <a:gs pos="4000">
                  <a:schemeClr val="bg1">
                    <a:lumMod val="75000"/>
                  </a:schemeClr>
                </a:gs>
                <a:gs pos="100000">
                  <a:schemeClr val="bg1">
                    <a:lumMod val="50000"/>
                  </a:schemeClr>
                </a:gs>
                <a:gs pos="97000">
                  <a:schemeClr val="bg1">
                    <a:lumMod val="75000"/>
                  </a:schemeClr>
                </a:gs>
                <a:gs pos="84000">
                  <a:schemeClr val="tx1">
                    <a:lumMod val="75000"/>
                    <a:lumOff val="25000"/>
                  </a:schemeClr>
                </a:gs>
                <a:gs pos="20000">
                  <a:schemeClr val="tx1">
                    <a:lumMod val="75000"/>
                    <a:lumOff val="25000"/>
                  </a:schemeClr>
                </a:gs>
                <a:gs pos="0">
                  <a:schemeClr val="bg1">
                    <a:lumMod val="50000"/>
                  </a:schemeClr>
                </a:gs>
              </a:gsLst>
              <a:lin ang="5400000" scaled="1"/>
              <a:tileRect/>
            </a:gra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24" name="Rounded Rectangle 223"/>
            <p:cNvSpPr/>
            <p:nvPr/>
          </p:nvSpPr>
          <p:spPr>
            <a:xfrm>
              <a:off x="3334776" y="2245086"/>
              <a:ext cx="48579" cy="130072"/>
            </a:xfrm>
            <a:prstGeom prst="roundRect">
              <a:avLst/>
            </a:prstGeom>
            <a:gradFill flip="none" rotWithShape="1">
              <a:gsLst>
                <a:gs pos="52888">
                  <a:schemeClr val="bg1">
                    <a:lumMod val="50000"/>
                  </a:schemeClr>
                </a:gs>
                <a:gs pos="4000">
                  <a:schemeClr val="bg1">
                    <a:lumMod val="75000"/>
                  </a:schemeClr>
                </a:gs>
                <a:gs pos="100000">
                  <a:schemeClr val="bg1">
                    <a:lumMod val="50000"/>
                  </a:schemeClr>
                </a:gs>
                <a:gs pos="97000">
                  <a:schemeClr val="bg1">
                    <a:lumMod val="75000"/>
                  </a:schemeClr>
                </a:gs>
                <a:gs pos="84000">
                  <a:schemeClr val="tx1">
                    <a:lumMod val="75000"/>
                    <a:lumOff val="25000"/>
                  </a:schemeClr>
                </a:gs>
                <a:gs pos="20000">
                  <a:schemeClr val="tx1">
                    <a:lumMod val="75000"/>
                    <a:lumOff val="25000"/>
                  </a:schemeClr>
                </a:gs>
                <a:gs pos="0">
                  <a:schemeClr val="bg1">
                    <a:lumMod val="50000"/>
                  </a:schemeClr>
                </a:gs>
              </a:gsLst>
              <a:lin ang="5400000" scaled="1"/>
              <a:tileRect/>
            </a:gra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25" name="Rounded Rectangle 224"/>
            <p:cNvSpPr/>
            <p:nvPr/>
          </p:nvSpPr>
          <p:spPr>
            <a:xfrm>
              <a:off x="3334776" y="2528506"/>
              <a:ext cx="48579" cy="130072"/>
            </a:xfrm>
            <a:prstGeom prst="roundRect">
              <a:avLst/>
            </a:prstGeom>
            <a:gradFill flip="none" rotWithShape="1">
              <a:gsLst>
                <a:gs pos="52888">
                  <a:schemeClr val="bg1">
                    <a:lumMod val="50000"/>
                  </a:schemeClr>
                </a:gs>
                <a:gs pos="4000">
                  <a:schemeClr val="bg1">
                    <a:lumMod val="75000"/>
                  </a:schemeClr>
                </a:gs>
                <a:gs pos="100000">
                  <a:schemeClr val="bg1">
                    <a:lumMod val="50000"/>
                  </a:schemeClr>
                </a:gs>
                <a:gs pos="97000">
                  <a:schemeClr val="bg1">
                    <a:lumMod val="75000"/>
                  </a:schemeClr>
                </a:gs>
                <a:gs pos="84000">
                  <a:schemeClr val="tx1">
                    <a:lumMod val="75000"/>
                    <a:lumOff val="25000"/>
                  </a:schemeClr>
                </a:gs>
                <a:gs pos="20000">
                  <a:schemeClr val="tx1">
                    <a:lumMod val="75000"/>
                    <a:lumOff val="25000"/>
                  </a:schemeClr>
                </a:gs>
                <a:gs pos="0">
                  <a:schemeClr val="bg1">
                    <a:lumMod val="50000"/>
                  </a:schemeClr>
                </a:gs>
              </a:gsLst>
              <a:lin ang="5400000" scaled="1"/>
              <a:tileRect/>
            </a:gra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26" name="Freeform 225"/>
            <p:cNvSpPr>
              <a:spLocks/>
            </p:cNvSpPr>
            <p:nvPr/>
          </p:nvSpPr>
          <p:spPr bwMode="auto">
            <a:xfrm rot="16200000">
              <a:off x="4785702" y="1300704"/>
              <a:ext cx="45719" cy="351890"/>
            </a:xfrm>
            <a:custGeom>
              <a:avLst/>
              <a:gdLst>
                <a:gd name="T0" fmla="*/ 28 w 106"/>
                <a:gd name="T1" fmla="*/ 0 h 1172"/>
                <a:gd name="T2" fmla="*/ 79 w 106"/>
                <a:gd name="T3" fmla="*/ 0 h 1172"/>
                <a:gd name="T4" fmla="*/ 84 w 106"/>
                <a:gd name="T5" fmla="*/ 0 h 1172"/>
                <a:gd name="T6" fmla="*/ 90 w 106"/>
                <a:gd name="T7" fmla="*/ 3 h 1172"/>
                <a:gd name="T8" fmla="*/ 94 w 106"/>
                <a:gd name="T9" fmla="*/ 5 h 1172"/>
                <a:gd name="T10" fmla="*/ 99 w 106"/>
                <a:gd name="T11" fmla="*/ 9 h 1172"/>
                <a:gd name="T12" fmla="*/ 101 w 106"/>
                <a:gd name="T13" fmla="*/ 13 h 1172"/>
                <a:gd name="T14" fmla="*/ 104 w 106"/>
                <a:gd name="T15" fmla="*/ 18 h 1172"/>
                <a:gd name="T16" fmla="*/ 106 w 106"/>
                <a:gd name="T17" fmla="*/ 22 h 1172"/>
                <a:gd name="T18" fmla="*/ 106 w 106"/>
                <a:gd name="T19" fmla="*/ 27 h 1172"/>
                <a:gd name="T20" fmla="*/ 106 w 106"/>
                <a:gd name="T21" fmla="*/ 1145 h 1172"/>
                <a:gd name="T22" fmla="*/ 106 w 106"/>
                <a:gd name="T23" fmla="*/ 1151 h 1172"/>
                <a:gd name="T24" fmla="*/ 104 w 106"/>
                <a:gd name="T25" fmla="*/ 1156 h 1172"/>
                <a:gd name="T26" fmla="*/ 101 w 106"/>
                <a:gd name="T27" fmla="*/ 1161 h 1172"/>
                <a:gd name="T28" fmla="*/ 99 w 106"/>
                <a:gd name="T29" fmla="*/ 1165 h 1172"/>
                <a:gd name="T30" fmla="*/ 94 w 106"/>
                <a:gd name="T31" fmla="*/ 1169 h 1172"/>
                <a:gd name="T32" fmla="*/ 90 w 106"/>
                <a:gd name="T33" fmla="*/ 1171 h 1172"/>
                <a:gd name="T34" fmla="*/ 84 w 106"/>
                <a:gd name="T35" fmla="*/ 1172 h 1172"/>
                <a:gd name="T36" fmla="*/ 79 w 106"/>
                <a:gd name="T37" fmla="*/ 1172 h 1172"/>
                <a:gd name="T38" fmla="*/ 28 w 106"/>
                <a:gd name="T39" fmla="*/ 1172 h 1172"/>
                <a:gd name="T40" fmla="*/ 22 w 106"/>
                <a:gd name="T41" fmla="*/ 1172 h 1172"/>
                <a:gd name="T42" fmla="*/ 17 w 106"/>
                <a:gd name="T43" fmla="*/ 1171 h 1172"/>
                <a:gd name="T44" fmla="*/ 12 w 106"/>
                <a:gd name="T45" fmla="*/ 1169 h 1172"/>
                <a:gd name="T46" fmla="*/ 9 w 106"/>
                <a:gd name="T47" fmla="*/ 1165 h 1172"/>
                <a:gd name="T48" fmla="*/ 5 w 106"/>
                <a:gd name="T49" fmla="*/ 1161 h 1172"/>
                <a:gd name="T50" fmla="*/ 3 w 106"/>
                <a:gd name="T51" fmla="*/ 1156 h 1172"/>
                <a:gd name="T52" fmla="*/ 1 w 106"/>
                <a:gd name="T53" fmla="*/ 1151 h 1172"/>
                <a:gd name="T54" fmla="*/ 0 w 106"/>
                <a:gd name="T55" fmla="*/ 1145 h 1172"/>
                <a:gd name="T56" fmla="*/ 0 w 106"/>
                <a:gd name="T57" fmla="*/ 27 h 1172"/>
                <a:gd name="T58" fmla="*/ 1 w 106"/>
                <a:gd name="T59" fmla="*/ 22 h 1172"/>
                <a:gd name="T60" fmla="*/ 3 w 106"/>
                <a:gd name="T61" fmla="*/ 18 h 1172"/>
                <a:gd name="T62" fmla="*/ 5 w 106"/>
                <a:gd name="T63" fmla="*/ 13 h 1172"/>
                <a:gd name="T64" fmla="*/ 9 w 106"/>
                <a:gd name="T65" fmla="*/ 9 h 1172"/>
                <a:gd name="T66" fmla="*/ 12 w 106"/>
                <a:gd name="T67" fmla="*/ 5 h 1172"/>
                <a:gd name="T68" fmla="*/ 17 w 106"/>
                <a:gd name="T69" fmla="*/ 3 h 1172"/>
                <a:gd name="T70" fmla="*/ 22 w 106"/>
                <a:gd name="T71" fmla="*/ 0 h 1172"/>
                <a:gd name="T72" fmla="*/ 28 w 106"/>
                <a:gd name="T73" fmla="*/ 0 h 1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6" h="1172">
                  <a:moveTo>
                    <a:pt x="28" y="0"/>
                  </a:moveTo>
                  <a:lnTo>
                    <a:pt x="79" y="0"/>
                  </a:lnTo>
                  <a:lnTo>
                    <a:pt x="84" y="0"/>
                  </a:lnTo>
                  <a:lnTo>
                    <a:pt x="90" y="3"/>
                  </a:lnTo>
                  <a:lnTo>
                    <a:pt x="94" y="5"/>
                  </a:lnTo>
                  <a:lnTo>
                    <a:pt x="99" y="9"/>
                  </a:lnTo>
                  <a:lnTo>
                    <a:pt x="101" y="13"/>
                  </a:lnTo>
                  <a:lnTo>
                    <a:pt x="104" y="18"/>
                  </a:lnTo>
                  <a:lnTo>
                    <a:pt x="106" y="22"/>
                  </a:lnTo>
                  <a:lnTo>
                    <a:pt x="106" y="27"/>
                  </a:lnTo>
                  <a:lnTo>
                    <a:pt x="106" y="1145"/>
                  </a:lnTo>
                  <a:lnTo>
                    <a:pt x="106" y="1151"/>
                  </a:lnTo>
                  <a:lnTo>
                    <a:pt x="104" y="1156"/>
                  </a:lnTo>
                  <a:lnTo>
                    <a:pt x="101" y="1161"/>
                  </a:lnTo>
                  <a:lnTo>
                    <a:pt x="99" y="1165"/>
                  </a:lnTo>
                  <a:lnTo>
                    <a:pt x="94" y="1169"/>
                  </a:lnTo>
                  <a:lnTo>
                    <a:pt x="90" y="1171"/>
                  </a:lnTo>
                  <a:lnTo>
                    <a:pt x="84" y="1172"/>
                  </a:lnTo>
                  <a:lnTo>
                    <a:pt x="79" y="1172"/>
                  </a:lnTo>
                  <a:lnTo>
                    <a:pt x="28" y="1172"/>
                  </a:lnTo>
                  <a:lnTo>
                    <a:pt x="22" y="1172"/>
                  </a:lnTo>
                  <a:lnTo>
                    <a:pt x="17" y="1171"/>
                  </a:lnTo>
                  <a:lnTo>
                    <a:pt x="12" y="1169"/>
                  </a:lnTo>
                  <a:lnTo>
                    <a:pt x="9" y="1165"/>
                  </a:lnTo>
                  <a:lnTo>
                    <a:pt x="5" y="1161"/>
                  </a:lnTo>
                  <a:lnTo>
                    <a:pt x="3" y="1156"/>
                  </a:lnTo>
                  <a:lnTo>
                    <a:pt x="1" y="1151"/>
                  </a:lnTo>
                  <a:lnTo>
                    <a:pt x="0" y="1145"/>
                  </a:lnTo>
                  <a:lnTo>
                    <a:pt x="0" y="27"/>
                  </a:lnTo>
                  <a:lnTo>
                    <a:pt x="1" y="22"/>
                  </a:lnTo>
                  <a:lnTo>
                    <a:pt x="3" y="18"/>
                  </a:lnTo>
                  <a:lnTo>
                    <a:pt x="5" y="13"/>
                  </a:lnTo>
                  <a:lnTo>
                    <a:pt x="9" y="9"/>
                  </a:lnTo>
                  <a:lnTo>
                    <a:pt x="12" y="5"/>
                  </a:lnTo>
                  <a:lnTo>
                    <a:pt x="17" y="3"/>
                  </a:lnTo>
                  <a:lnTo>
                    <a:pt x="22" y="0"/>
                  </a:lnTo>
                  <a:lnTo>
                    <a:pt x="28" y="0"/>
                  </a:lnTo>
                  <a:close/>
                </a:path>
              </a:pathLst>
            </a:custGeom>
            <a:gradFill flip="none" rotWithShape="1">
              <a:gsLst>
                <a:gs pos="52888">
                  <a:schemeClr val="bg1">
                    <a:lumMod val="50000"/>
                  </a:schemeClr>
                </a:gs>
                <a:gs pos="4000">
                  <a:schemeClr val="bg1">
                    <a:lumMod val="75000"/>
                  </a:schemeClr>
                </a:gs>
                <a:gs pos="100000">
                  <a:schemeClr val="bg1">
                    <a:lumMod val="50000"/>
                  </a:schemeClr>
                </a:gs>
                <a:gs pos="97000">
                  <a:schemeClr val="bg1">
                    <a:lumMod val="75000"/>
                  </a:schemeClr>
                </a:gs>
                <a:gs pos="84000">
                  <a:schemeClr val="tx1">
                    <a:lumMod val="75000"/>
                    <a:lumOff val="25000"/>
                  </a:schemeClr>
                </a:gs>
                <a:gs pos="20000">
                  <a:schemeClr val="tx1">
                    <a:lumMod val="75000"/>
                    <a:lumOff val="25000"/>
                  </a:schemeClr>
                </a:gs>
                <a:gs pos="0">
                  <a:schemeClr val="bg1">
                    <a:lumMod val="50000"/>
                  </a:schemeClr>
                </a:gs>
              </a:gsLst>
              <a:lin ang="5400000" scaled="1"/>
              <a:tileRect/>
            </a:gra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27" name="Freeform 25"/>
            <p:cNvSpPr>
              <a:spLocks/>
            </p:cNvSpPr>
            <p:nvPr/>
          </p:nvSpPr>
          <p:spPr bwMode="auto">
            <a:xfrm>
              <a:off x="3351008" y="1478743"/>
              <a:ext cx="1994281" cy="3924072"/>
            </a:xfrm>
            <a:custGeom>
              <a:avLst/>
              <a:gdLst>
                <a:gd name="T0" fmla="*/ 1358 w 1606"/>
                <a:gd name="T1" fmla="*/ 0 h 3162"/>
                <a:gd name="T2" fmla="*/ 1384 w 1606"/>
                <a:gd name="T3" fmla="*/ 1 h 3162"/>
                <a:gd name="T4" fmla="*/ 1408 w 1606"/>
                <a:gd name="T5" fmla="*/ 5 h 3162"/>
                <a:gd name="T6" fmla="*/ 1432 w 1606"/>
                <a:gd name="T7" fmla="*/ 12 h 3162"/>
                <a:gd name="T8" fmla="*/ 1454 w 1606"/>
                <a:gd name="T9" fmla="*/ 20 h 3162"/>
                <a:gd name="T10" fmla="*/ 1476 w 1606"/>
                <a:gd name="T11" fmla="*/ 30 h 3162"/>
                <a:gd name="T12" fmla="*/ 1497 w 1606"/>
                <a:gd name="T13" fmla="*/ 43 h 3162"/>
                <a:gd name="T14" fmla="*/ 1533 w 1606"/>
                <a:gd name="T15" fmla="*/ 73 h 3162"/>
                <a:gd name="T16" fmla="*/ 1563 w 1606"/>
                <a:gd name="T17" fmla="*/ 110 h 3162"/>
                <a:gd name="T18" fmla="*/ 1576 w 1606"/>
                <a:gd name="T19" fmla="*/ 130 h 3162"/>
                <a:gd name="T20" fmla="*/ 1586 w 1606"/>
                <a:gd name="T21" fmla="*/ 152 h 3162"/>
                <a:gd name="T22" fmla="*/ 1594 w 1606"/>
                <a:gd name="T23" fmla="*/ 175 h 3162"/>
                <a:gd name="T24" fmla="*/ 1601 w 1606"/>
                <a:gd name="T25" fmla="*/ 198 h 3162"/>
                <a:gd name="T26" fmla="*/ 1605 w 1606"/>
                <a:gd name="T27" fmla="*/ 223 h 3162"/>
                <a:gd name="T28" fmla="*/ 1606 w 1606"/>
                <a:gd name="T29" fmla="*/ 248 h 3162"/>
                <a:gd name="T30" fmla="*/ 1606 w 1606"/>
                <a:gd name="T31" fmla="*/ 2927 h 3162"/>
                <a:gd name="T32" fmla="*/ 1604 w 1606"/>
                <a:gd name="T33" fmla="*/ 2953 h 3162"/>
                <a:gd name="T34" fmla="*/ 1598 w 1606"/>
                <a:gd name="T35" fmla="*/ 2977 h 3162"/>
                <a:gd name="T36" fmla="*/ 1591 w 1606"/>
                <a:gd name="T37" fmla="*/ 3000 h 3162"/>
                <a:gd name="T38" fmla="*/ 1582 w 1606"/>
                <a:gd name="T39" fmla="*/ 3022 h 3162"/>
                <a:gd name="T40" fmla="*/ 1570 w 1606"/>
                <a:gd name="T41" fmla="*/ 3043 h 3162"/>
                <a:gd name="T42" fmla="*/ 1549 w 1606"/>
                <a:gd name="T43" fmla="*/ 3072 h 3162"/>
                <a:gd name="T44" fmla="*/ 1516 w 1606"/>
                <a:gd name="T45" fmla="*/ 3105 h 3162"/>
                <a:gd name="T46" fmla="*/ 1487 w 1606"/>
                <a:gd name="T47" fmla="*/ 3126 h 3162"/>
                <a:gd name="T48" fmla="*/ 1466 w 1606"/>
                <a:gd name="T49" fmla="*/ 3138 h 3162"/>
                <a:gd name="T50" fmla="*/ 1444 w 1606"/>
                <a:gd name="T51" fmla="*/ 3147 h 3162"/>
                <a:gd name="T52" fmla="*/ 1421 w 1606"/>
                <a:gd name="T53" fmla="*/ 3155 h 3162"/>
                <a:gd name="T54" fmla="*/ 1397 w 1606"/>
                <a:gd name="T55" fmla="*/ 3160 h 3162"/>
                <a:gd name="T56" fmla="*/ 1371 w 1606"/>
                <a:gd name="T57" fmla="*/ 3162 h 3162"/>
                <a:gd name="T58" fmla="*/ 248 w 1606"/>
                <a:gd name="T59" fmla="*/ 3162 h 3162"/>
                <a:gd name="T60" fmla="*/ 223 w 1606"/>
                <a:gd name="T61" fmla="*/ 3161 h 3162"/>
                <a:gd name="T62" fmla="*/ 198 w 1606"/>
                <a:gd name="T63" fmla="*/ 3158 h 3162"/>
                <a:gd name="T64" fmla="*/ 175 w 1606"/>
                <a:gd name="T65" fmla="*/ 3152 h 3162"/>
                <a:gd name="T66" fmla="*/ 152 w 1606"/>
                <a:gd name="T67" fmla="*/ 3143 h 3162"/>
                <a:gd name="T68" fmla="*/ 130 w 1606"/>
                <a:gd name="T69" fmla="*/ 3132 h 3162"/>
                <a:gd name="T70" fmla="*/ 110 w 1606"/>
                <a:gd name="T71" fmla="*/ 3121 h 3162"/>
                <a:gd name="T72" fmla="*/ 73 w 1606"/>
                <a:gd name="T73" fmla="*/ 3090 h 3162"/>
                <a:gd name="T74" fmla="*/ 43 w 1606"/>
                <a:gd name="T75" fmla="*/ 3053 h 3162"/>
                <a:gd name="T76" fmla="*/ 30 w 1606"/>
                <a:gd name="T77" fmla="*/ 3033 h 3162"/>
                <a:gd name="T78" fmla="*/ 20 w 1606"/>
                <a:gd name="T79" fmla="*/ 3012 h 3162"/>
                <a:gd name="T80" fmla="*/ 12 w 1606"/>
                <a:gd name="T81" fmla="*/ 2989 h 3162"/>
                <a:gd name="T82" fmla="*/ 5 w 1606"/>
                <a:gd name="T83" fmla="*/ 2964 h 3162"/>
                <a:gd name="T84" fmla="*/ 1 w 1606"/>
                <a:gd name="T85" fmla="*/ 2940 h 3162"/>
                <a:gd name="T86" fmla="*/ 0 w 1606"/>
                <a:gd name="T87" fmla="*/ 2914 h 3162"/>
                <a:gd name="T88" fmla="*/ 0 w 1606"/>
                <a:gd name="T89" fmla="*/ 235 h 3162"/>
                <a:gd name="T90" fmla="*/ 4 w 1606"/>
                <a:gd name="T91" fmla="*/ 210 h 3162"/>
                <a:gd name="T92" fmla="*/ 8 w 1606"/>
                <a:gd name="T93" fmla="*/ 187 h 3162"/>
                <a:gd name="T94" fmla="*/ 15 w 1606"/>
                <a:gd name="T95" fmla="*/ 164 h 3162"/>
                <a:gd name="T96" fmla="*/ 25 w 1606"/>
                <a:gd name="T97" fmla="*/ 140 h 3162"/>
                <a:gd name="T98" fmla="*/ 36 w 1606"/>
                <a:gd name="T99" fmla="*/ 120 h 3162"/>
                <a:gd name="T100" fmla="*/ 57 w 1606"/>
                <a:gd name="T101" fmla="*/ 91 h 3162"/>
                <a:gd name="T102" fmla="*/ 91 w 1606"/>
                <a:gd name="T103" fmla="*/ 57 h 3162"/>
                <a:gd name="T104" fmla="*/ 120 w 1606"/>
                <a:gd name="T105" fmla="*/ 36 h 3162"/>
                <a:gd name="T106" fmla="*/ 140 w 1606"/>
                <a:gd name="T107" fmla="*/ 25 h 3162"/>
                <a:gd name="T108" fmla="*/ 164 w 1606"/>
                <a:gd name="T109" fmla="*/ 15 h 3162"/>
                <a:gd name="T110" fmla="*/ 187 w 1606"/>
                <a:gd name="T111" fmla="*/ 8 h 3162"/>
                <a:gd name="T112" fmla="*/ 210 w 1606"/>
                <a:gd name="T113" fmla="*/ 4 h 3162"/>
                <a:gd name="T114" fmla="*/ 235 w 1606"/>
                <a:gd name="T115" fmla="*/ 0 h 3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606" h="3162">
                  <a:moveTo>
                    <a:pt x="248" y="0"/>
                  </a:moveTo>
                  <a:lnTo>
                    <a:pt x="1358" y="0"/>
                  </a:lnTo>
                  <a:lnTo>
                    <a:pt x="1371" y="0"/>
                  </a:lnTo>
                  <a:lnTo>
                    <a:pt x="1384" y="1"/>
                  </a:lnTo>
                  <a:lnTo>
                    <a:pt x="1397" y="4"/>
                  </a:lnTo>
                  <a:lnTo>
                    <a:pt x="1408" y="5"/>
                  </a:lnTo>
                  <a:lnTo>
                    <a:pt x="1421" y="8"/>
                  </a:lnTo>
                  <a:lnTo>
                    <a:pt x="1432" y="12"/>
                  </a:lnTo>
                  <a:lnTo>
                    <a:pt x="1444" y="15"/>
                  </a:lnTo>
                  <a:lnTo>
                    <a:pt x="1454" y="20"/>
                  </a:lnTo>
                  <a:lnTo>
                    <a:pt x="1466" y="25"/>
                  </a:lnTo>
                  <a:lnTo>
                    <a:pt x="1476" y="30"/>
                  </a:lnTo>
                  <a:lnTo>
                    <a:pt x="1487" y="36"/>
                  </a:lnTo>
                  <a:lnTo>
                    <a:pt x="1497" y="43"/>
                  </a:lnTo>
                  <a:lnTo>
                    <a:pt x="1516" y="57"/>
                  </a:lnTo>
                  <a:lnTo>
                    <a:pt x="1533" y="73"/>
                  </a:lnTo>
                  <a:lnTo>
                    <a:pt x="1549" y="91"/>
                  </a:lnTo>
                  <a:lnTo>
                    <a:pt x="1563" y="110"/>
                  </a:lnTo>
                  <a:lnTo>
                    <a:pt x="1570" y="120"/>
                  </a:lnTo>
                  <a:lnTo>
                    <a:pt x="1576" y="130"/>
                  </a:lnTo>
                  <a:lnTo>
                    <a:pt x="1582" y="140"/>
                  </a:lnTo>
                  <a:lnTo>
                    <a:pt x="1586" y="152"/>
                  </a:lnTo>
                  <a:lnTo>
                    <a:pt x="1591" y="164"/>
                  </a:lnTo>
                  <a:lnTo>
                    <a:pt x="1594" y="175"/>
                  </a:lnTo>
                  <a:lnTo>
                    <a:pt x="1598" y="187"/>
                  </a:lnTo>
                  <a:lnTo>
                    <a:pt x="1601" y="198"/>
                  </a:lnTo>
                  <a:lnTo>
                    <a:pt x="1604" y="210"/>
                  </a:lnTo>
                  <a:lnTo>
                    <a:pt x="1605" y="223"/>
                  </a:lnTo>
                  <a:lnTo>
                    <a:pt x="1606" y="235"/>
                  </a:lnTo>
                  <a:lnTo>
                    <a:pt x="1606" y="248"/>
                  </a:lnTo>
                  <a:lnTo>
                    <a:pt x="1606" y="2914"/>
                  </a:lnTo>
                  <a:lnTo>
                    <a:pt x="1606" y="2927"/>
                  </a:lnTo>
                  <a:lnTo>
                    <a:pt x="1605" y="2940"/>
                  </a:lnTo>
                  <a:lnTo>
                    <a:pt x="1604" y="2953"/>
                  </a:lnTo>
                  <a:lnTo>
                    <a:pt x="1601" y="2964"/>
                  </a:lnTo>
                  <a:lnTo>
                    <a:pt x="1598" y="2977"/>
                  </a:lnTo>
                  <a:lnTo>
                    <a:pt x="1594" y="2989"/>
                  </a:lnTo>
                  <a:lnTo>
                    <a:pt x="1591" y="3000"/>
                  </a:lnTo>
                  <a:lnTo>
                    <a:pt x="1586" y="3012"/>
                  </a:lnTo>
                  <a:lnTo>
                    <a:pt x="1582" y="3022"/>
                  </a:lnTo>
                  <a:lnTo>
                    <a:pt x="1576" y="3033"/>
                  </a:lnTo>
                  <a:lnTo>
                    <a:pt x="1570" y="3043"/>
                  </a:lnTo>
                  <a:lnTo>
                    <a:pt x="1563" y="3053"/>
                  </a:lnTo>
                  <a:lnTo>
                    <a:pt x="1549" y="3072"/>
                  </a:lnTo>
                  <a:lnTo>
                    <a:pt x="1533" y="3090"/>
                  </a:lnTo>
                  <a:lnTo>
                    <a:pt x="1516" y="3105"/>
                  </a:lnTo>
                  <a:lnTo>
                    <a:pt x="1497" y="3121"/>
                  </a:lnTo>
                  <a:lnTo>
                    <a:pt x="1487" y="3126"/>
                  </a:lnTo>
                  <a:lnTo>
                    <a:pt x="1476" y="3132"/>
                  </a:lnTo>
                  <a:lnTo>
                    <a:pt x="1466" y="3138"/>
                  </a:lnTo>
                  <a:lnTo>
                    <a:pt x="1454" y="3143"/>
                  </a:lnTo>
                  <a:lnTo>
                    <a:pt x="1444" y="3147"/>
                  </a:lnTo>
                  <a:lnTo>
                    <a:pt x="1432" y="3152"/>
                  </a:lnTo>
                  <a:lnTo>
                    <a:pt x="1421" y="3155"/>
                  </a:lnTo>
                  <a:lnTo>
                    <a:pt x="1408" y="3158"/>
                  </a:lnTo>
                  <a:lnTo>
                    <a:pt x="1397" y="3160"/>
                  </a:lnTo>
                  <a:lnTo>
                    <a:pt x="1384" y="3161"/>
                  </a:lnTo>
                  <a:lnTo>
                    <a:pt x="1371" y="3162"/>
                  </a:lnTo>
                  <a:lnTo>
                    <a:pt x="1358" y="3162"/>
                  </a:lnTo>
                  <a:lnTo>
                    <a:pt x="248" y="3162"/>
                  </a:lnTo>
                  <a:lnTo>
                    <a:pt x="235" y="3162"/>
                  </a:lnTo>
                  <a:lnTo>
                    <a:pt x="223" y="3161"/>
                  </a:lnTo>
                  <a:lnTo>
                    <a:pt x="210" y="3160"/>
                  </a:lnTo>
                  <a:lnTo>
                    <a:pt x="198" y="3158"/>
                  </a:lnTo>
                  <a:lnTo>
                    <a:pt x="187" y="3155"/>
                  </a:lnTo>
                  <a:lnTo>
                    <a:pt x="175" y="3152"/>
                  </a:lnTo>
                  <a:lnTo>
                    <a:pt x="164" y="3147"/>
                  </a:lnTo>
                  <a:lnTo>
                    <a:pt x="152" y="3143"/>
                  </a:lnTo>
                  <a:lnTo>
                    <a:pt x="140" y="3138"/>
                  </a:lnTo>
                  <a:lnTo>
                    <a:pt x="130" y="3132"/>
                  </a:lnTo>
                  <a:lnTo>
                    <a:pt x="120" y="3126"/>
                  </a:lnTo>
                  <a:lnTo>
                    <a:pt x="110" y="3121"/>
                  </a:lnTo>
                  <a:lnTo>
                    <a:pt x="91" y="3105"/>
                  </a:lnTo>
                  <a:lnTo>
                    <a:pt x="73" y="3090"/>
                  </a:lnTo>
                  <a:lnTo>
                    <a:pt x="57" y="3072"/>
                  </a:lnTo>
                  <a:lnTo>
                    <a:pt x="43" y="3053"/>
                  </a:lnTo>
                  <a:lnTo>
                    <a:pt x="36" y="3043"/>
                  </a:lnTo>
                  <a:lnTo>
                    <a:pt x="30" y="3033"/>
                  </a:lnTo>
                  <a:lnTo>
                    <a:pt x="25" y="3022"/>
                  </a:lnTo>
                  <a:lnTo>
                    <a:pt x="20" y="3012"/>
                  </a:lnTo>
                  <a:lnTo>
                    <a:pt x="15" y="3000"/>
                  </a:lnTo>
                  <a:lnTo>
                    <a:pt x="12" y="2989"/>
                  </a:lnTo>
                  <a:lnTo>
                    <a:pt x="8" y="2977"/>
                  </a:lnTo>
                  <a:lnTo>
                    <a:pt x="5" y="2964"/>
                  </a:lnTo>
                  <a:lnTo>
                    <a:pt x="4" y="2953"/>
                  </a:lnTo>
                  <a:lnTo>
                    <a:pt x="1" y="2940"/>
                  </a:lnTo>
                  <a:lnTo>
                    <a:pt x="0" y="2927"/>
                  </a:lnTo>
                  <a:lnTo>
                    <a:pt x="0" y="2914"/>
                  </a:lnTo>
                  <a:lnTo>
                    <a:pt x="0" y="248"/>
                  </a:lnTo>
                  <a:lnTo>
                    <a:pt x="0" y="235"/>
                  </a:lnTo>
                  <a:lnTo>
                    <a:pt x="1" y="223"/>
                  </a:lnTo>
                  <a:lnTo>
                    <a:pt x="4" y="210"/>
                  </a:lnTo>
                  <a:lnTo>
                    <a:pt x="5" y="198"/>
                  </a:lnTo>
                  <a:lnTo>
                    <a:pt x="8" y="187"/>
                  </a:lnTo>
                  <a:lnTo>
                    <a:pt x="12" y="175"/>
                  </a:lnTo>
                  <a:lnTo>
                    <a:pt x="15" y="164"/>
                  </a:lnTo>
                  <a:lnTo>
                    <a:pt x="20" y="152"/>
                  </a:lnTo>
                  <a:lnTo>
                    <a:pt x="25" y="140"/>
                  </a:lnTo>
                  <a:lnTo>
                    <a:pt x="30" y="130"/>
                  </a:lnTo>
                  <a:lnTo>
                    <a:pt x="36" y="120"/>
                  </a:lnTo>
                  <a:lnTo>
                    <a:pt x="43" y="110"/>
                  </a:lnTo>
                  <a:lnTo>
                    <a:pt x="57" y="91"/>
                  </a:lnTo>
                  <a:lnTo>
                    <a:pt x="73" y="73"/>
                  </a:lnTo>
                  <a:lnTo>
                    <a:pt x="91" y="57"/>
                  </a:lnTo>
                  <a:lnTo>
                    <a:pt x="110" y="43"/>
                  </a:lnTo>
                  <a:lnTo>
                    <a:pt x="120" y="36"/>
                  </a:lnTo>
                  <a:lnTo>
                    <a:pt x="130" y="30"/>
                  </a:lnTo>
                  <a:lnTo>
                    <a:pt x="140" y="25"/>
                  </a:lnTo>
                  <a:lnTo>
                    <a:pt x="152" y="20"/>
                  </a:lnTo>
                  <a:lnTo>
                    <a:pt x="164" y="15"/>
                  </a:lnTo>
                  <a:lnTo>
                    <a:pt x="175" y="12"/>
                  </a:lnTo>
                  <a:lnTo>
                    <a:pt x="187" y="8"/>
                  </a:lnTo>
                  <a:lnTo>
                    <a:pt x="198" y="5"/>
                  </a:lnTo>
                  <a:lnTo>
                    <a:pt x="210" y="4"/>
                  </a:lnTo>
                  <a:lnTo>
                    <a:pt x="223" y="1"/>
                  </a:lnTo>
                  <a:lnTo>
                    <a:pt x="235" y="0"/>
                  </a:lnTo>
                  <a:lnTo>
                    <a:pt x="248" y="0"/>
                  </a:lnTo>
                  <a:close/>
                </a:path>
              </a:pathLst>
            </a:custGeom>
            <a:solidFill>
              <a:schemeClr val="bg1">
                <a:lumMod val="85000"/>
              </a:schemeClr>
            </a:solidFill>
            <a:ln>
              <a:solidFill>
                <a:schemeClr val="bg1">
                  <a:lumMod val="65000"/>
                </a:schemeClr>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29" name="Freeform 26"/>
            <p:cNvSpPr>
              <a:spLocks/>
            </p:cNvSpPr>
            <p:nvPr/>
          </p:nvSpPr>
          <p:spPr bwMode="auto">
            <a:xfrm>
              <a:off x="3370851" y="1503546"/>
              <a:ext cx="1954593" cy="3874463"/>
            </a:xfrm>
            <a:custGeom>
              <a:avLst/>
              <a:gdLst>
                <a:gd name="T0" fmla="*/ 1335 w 1578"/>
                <a:gd name="T1" fmla="*/ 0 h 3122"/>
                <a:gd name="T2" fmla="*/ 1359 w 1578"/>
                <a:gd name="T3" fmla="*/ 1 h 3122"/>
                <a:gd name="T4" fmla="*/ 1384 w 1578"/>
                <a:gd name="T5" fmla="*/ 5 h 3122"/>
                <a:gd name="T6" fmla="*/ 1407 w 1578"/>
                <a:gd name="T7" fmla="*/ 11 h 3122"/>
                <a:gd name="T8" fmla="*/ 1429 w 1578"/>
                <a:gd name="T9" fmla="*/ 19 h 3122"/>
                <a:gd name="T10" fmla="*/ 1471 w 1578"/>
                <a:gd name="T11" fmla="*/ 42 h 3122"/>
                <a:gd name="T12" fmla="*/ 1506 w 1578"/>
                <a:gd name="T13" fmla="*/ 71 h 3122"/>
                <a:gd name="T14" fmla="*/ 1536 w 1578"/>
                <a:gd name="T15" fmla="*/ 107 h 3122"/>
                <a:gd name="T16" fmla="*/ 1558 w 1578"/>
                <a:gd name="T17" fmla="*/ 148 h 3122"/>
                <a:gd name="T18" fmla="*/ 1567 w 1578"/>
                <a:gd name="T19" fmla="*/ 170 h 3122"/>
                <a:gd name="T20" fmla="*/ 1574 w 1578"/>
                <a:gd name="T21" fmla="*/ 193 h 3122"/>
                <a:gd name="T22" fmla="*/ 1577 w 1578"/>
                <a:gd name="T23" fmla="*/ 218 h 3122"/>
                <a:gd name="T24" fmla="*/ 1578 w 1578"/>
                <a:gd name="T25" fmla="*/ 243 h 3122"/>
                <a:gd name="T26" fmla="*/ 1578 w 1578"/>
                <a:gd name="T27" fmla="*/ 2891 h 3122"/>
                <a:gd name="T28" fmla="*/ 1575 w 1578"/>
                <a:gd name="T29" fmla="*/ 2915 h 3122"/>
                <a:gd name="T30" fmla="*/ 1570 w 1578"/>
                <a:gd name="T31" fmla="*/ 2939 h 3122"/>
                <a:gd name="T32" fmla="*/ 1563 w 1578"/>
                <a:gd name="T33" fmla="*/ 2962 h 3122"/>
                <a:gd name="T34" fmla="*/ 1548 w 1578"/>
                <a:gd name="T35" fmla="*/ 2994 h 3122"/>
                <a:gd name="T36" fmla="*/ 1523 w 1578"/>
                <a:gd name="T37" fmla="*/ 3032 h 3122"/>
                <a:gd name="T38" fmla="*/ 1489 w 1578"/>
                <a:gd name="T39" fmla="*/ 3066 h 3122"/>
                <a:gd name="T40" fmla="*/ 1451 w 1578"/>
                <a:gd name="T41" fmla="*/ 3091 h 3122"/>
                <a:gd name="T42" fmla="*/ 1418 w 1578"/>
                <a:gd name="T43" fmla="*/ 3106 h 3122"/>
                <a:gd name="T44" fmla="*/ 1395 w 1578"/>
                <a:gd name="T45" fmla="*/ 3113 h 3122"/>
                <a:gd name="T46" fmla="*/ 1372 w 1578"/>
                <a:gd name="T47" fmla="*/ 3118 h 3122"/>
                <a:gd name="T48" fmla="*/ 1348 w 1578"/>
                <a:gd name="T49" fmla="*/ 3122 h 3122"/>
                <a:gd name="T50" fmla="*/ 243 w 1578"/>
                <a:gd name="T51" fmla="*/ 3122 h 3122"/>
                <a:gd name="T52" fmla="*/ 219 w 1578"/>
                <a:gd name="T53" fmla="*/ 3120 h 3122"/>
                <a:gd name="T54" fmla="*/ 195 w 1578"/>
                <a:gd name="T55" fmla="*/ 3117 h 3122"/>
                <a:gd name="T56" fmla="*/ 172 w 1578"/>
                <a:gd name="T57" fmla="*/ 3110 h 3122"/>
                <a:gd name="T58" fmla="*/ 150 w 1578"/>
                <a:gd name="T59" fmla="*/ 3102 h 3122"/>
                <a:gd name="T60" fmla="*/ 108 w 1578"/>
                <a:gd name="T61" fmla="*/ 3080 h 3122"/>
                <a:gd name="T62" fmla="*/ 72 w 1578"/>
                <a:gd name="T63" fmla="*/ 3050 h 3122"/>
                <a:gd name="T64" fmla="*/ 42 w 1578"/>
                <a:gd name="T65" fmla="*/ 3014 h 3122"/>
                <a:gd name="T66" fmla="*/ 20 w 1578"/>
                <a:gd name="T67" fmla="*/ 2972 h 3122"/>
                <a:gd name="T68" fmla="*/ 12 w 1578"/>
                <a:gd name="T69" fmla="*/ 2950 h 3122"/>
                <a:gd name="T70" fmla="*/ 6 w 1578"/>
                <a:gd name="T71" fmla="*/ 2927 h 3122"/>
                <a:gd name="T72" fmla="*/ 1 w 1578"/>
                <a:gd name="T73" fmla="*/ 2903 h 3122"/>
                <a:gd name="T74" fmla="*/ 0 w 1578"/>
                <a:gd name="T75" fmla="*/ 2878 h 3122"/>
                <a:gd name="T76" fmla="*/ 1 w 1578"/>
                <a:gd name="T77" fmla="*/ 231 h 3122"/>
                <a:gd name="T78" fmla="*/ 4 w 1578"/>
                <a:gd name="T79" fmla="*/ 206 h 3122"/>
                <a:gd name="T80" fmla="*/ 8 w 1578"/>
                <a:gd name="T81" fmla="*/ 182 h 3122"/>
                <a:gd name="T82" fmla="*/ 15 w 1578"/>
                <a:gd name="T83" fmla="*/ 160 h 3122"/>
                <a:gd name="T84" fmla="*/ 30 w 1578"/>
                <a:gd name="T85" fmla="*/ 127 h 3122"/>
                <a:gd name="T86" fmla="*/ 56 w 1578"/>
                <a:gd name="T87" fmla="*/ 88 h 3122"/>
                <a:gd name="T88" fmla="*/ 89 w 1578"/>
                <a:gd name="T89" fmla="*/ 56 h 3122"/>
                <a:gd name="T90" fmla="*/ 128 w 1578"/>
                <a:gd name="T91" fmla="*/ 29 h 3122"/>
                <a:gd name="T92" fmla="*/ 160 w 1578"/>
                <a:gd name="T93" fmla="*/ 14 h 3122"/>
                <a:gd name="T94" fmla="*/ 183 w 1578"/>
                <a:gd name="T95" fmla="*/ 7 h 3122"/>
                <a:gd name="T96" fmla="*/ 206 w 1578"/>
                <a:gd name="T97" fmla="*/ 2 h 3122"/>
                <a:gd name="T98" fmla="*/ 232 w 1578"/>
                <a:gd name="T99" fmla="*/ 0 h 3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578" h="3122">
                  <a:moveTo>
                    <a:pt x="243" y="0"/>
                  </a:moveTo>
                  <a:lnTo>
                    <a:pt x="1335" y="0"/>
                  </a:lnTo>
                  <a:lnTo>
                    <a:pt x="1348" y="0"/>
                  </a:lnTo>
                  <a:lnTo>
                    <a:pt x="1359" y="1"/>
                  </a:lnTo>
                  <a:lnTo>
                    <a:pt x="1372" y="2"/>
                  </a:lnTo>
                  <a:lnTo>
                    <a:pt x="1384" y="5"/>
                  </a:lnTo>
                  <a:lnTo>
                    <a:pt x="1395" y="7"/>
                  </a:lnTo>
                  <a:lnTo>
                    <a:pt x="1407" y="11"/>
                  </a:lnTo>
                  <a:lnTo>
                    <a:pt x="1418" y="14"/>
                  </a:lnTo>
                  <a:lnTo>
                    <a:pt x="1429" y="19"/>
                  </a:lnTo>
                  <a:lnTo>
                    <a:pt x="1451" y="29"/>
                  </a:lnTo>
                  <a:lnTo>
                    <a:pt x="1471" y="42"/>
                  </a:lnTo>
                  <a:lnTo>
                    <a:pt x="1489" y="56"/>
                  </a:lnTo>
                  <a:lnTo>
                    <a:pt x="1506" y="71"/>
                  </a:lnTo>
                  <a:lnTo>
                    <a:pt x="1523" y="88"/>
                  </a:lnTo>
                  <a:lnTo>
                    <a:pt x="1536" y="107"/>
                  </a:lnTo>
                  <a:lnTo>
                    <a:pt x="1548" y="127"/>
                  </a:lnTo>
                  <a:lnTo>
                    <a:pt x="1558" y="148"/>
                  </a:lnTo>
                  <a:lnTo>
                    <a:pt x="1563" y="160"/>
                  </a:lnTo>
                  <a:lnTo>
                    <a:pt x="1567" y="170"/>
                  </a:lnTo>
                  <a:lnTo>
                    <a:pt x="1570" y="182"/>
                  </a:lnTo>
                  <a:lnTo>
                    <a:pt x="1574" y="193"/>
                  </a:lnTo>
                  <a:lnTo>
                    <a:pt x="1575" y="206"/>
                  </a:lnTo>
                  <a:lnTo>
                    <a:pt x="1577" y="218"/>
                  </a:lnTo>
                  <a:lnTo>
                    <a:pt x="1578" y="231"/>
                  </a:lnTo>
                  <a:lnTo>
                    <a:pt x="1578" y="243"/>
                  </a:lnTo>
                  <a:lnTo>
                    <a:pt x="1578" y="2878"/>
                  </a:lnTo>
                  <a:lnTo>
                    <a:pt x="1578" y="2891"/>
                  </a:lnTo>
                  <a:lnTo>
                    <a:pt x="1577" y="2903"/>
                  </a:lnTo>
                  <a:lnTo>
                    <a:pt x="1575" y="2915"/>
                  </a:lnTo>
                  <a:lnTo>
                    <a:pt x="1574" y="2927"/>
                  </a:lnTo>
                  <a:lnTo>
                    <a:pt x="1570" y="2939"/>
                  </a:lnTo>
                  <a:lnTo>
                    <a:pt x="1567" y="2950"/>
                  </a:lnTo>
                  <a:lnTo>
                    <a:pt x="1563" y="2962"/>
                  </a:lnTo>
                  <a:lnTo>
                    <a:pt x="1558" y="2972"/>
                  </a:lnTo>
                  <a:lnTo>
                    <a:pt x="1548" y="2994"/>
                  </a:lnTo>
                  <a:lnTo>
                    <a:pt x="1536" y="3014"/>
                  </a:lnTo>
                  <a:lnTo>
                    <a:pt x="1523" y="3032"/>
                  </a:lnTo>
                  <a:lnTo>
                    <a:pt x="1506" y="3050"/>
                  </a:lnTo>
                  <a:lnTo>
                    <a:pt x="1489" y="3066"/>
                  </a:lnTo>
                  <a:lnTo>
                    <a:pt x="1471" y="3080"/>
                  </a:lnTo>
                  <a:lnTo>
                    <a:pt x="1451" y="3091"/>
                  </a:lnTo>
                  <a:lnTo>
                    <a:pt x="1429" y="3102"/>
                  </a:lnTo>
                  <a:lnTo>
                    <a:pt x="1418" y="3106"/>
                  </a:lnTo>
                  <a:lnTo>
                    <a:pt x="1407" y="3110"/>
                  </a:lnTo>
                  <a:lnTo>
                    <a:pt x="1395" y="3113"/>
                  </a:lnTo>
                  <a:lnTo>
                    <a:pt x="1384" y="3117"/>
                  </a:lnTo>
                  <a:lnTo>
                    <a:pt x="1372" y="3118"/>
                  </a:lnTo>
                  <a:lnTo>
                    <a:pt x="1359" y="3120"/>
                  </a:lnTo>
                  <a:lnTo>
                    <a:pt x="1348" y="3122"/>
                  </a:lnTo>
                  <a:lnTo>
                    <a:pt x="1335" y="3122"/>
                  </a:lnTo>
                  <a:lnTo>
                    <a:pt x="243" y="3122"/>
                  </a:lnTo>
                  <a:lnTo>
                    <a:pt x="232" y="3122"/>
                  </a:lnTo>
                  <a:lnTo>
                    <a:pt x="219" y="3120"/>
                  </a:lnTo>
                  <a:lnTo>
                    <a:pt x="206" y="3118"/>
                  </a:lnTo>
                  <a:lnTo>
                    <a:pt x="195" y="3117"/>
                  </a:lnTo>
                  <a:lnTo>
                    <a:pt x="183" y="3113"/>
                  </a:lnTo>
                  <a:lnTo>
                    <a:pt x="172" y="3110"/>
                  </a:lnTo>
                  <a:lnTo>
                    <a:pt x="160" y="3106"/>
                  </a:lnTo>
                  <a:lnTo>
                    <a:pt x="150" y="3102"/>
                  </a:lnTo>
                  <a:lnTo>
                    <a:pt x="128" y="3091"/>
                  </a:lnTo>
                  <a:lnTo>
                    <a:pt x="108" y="3080"/>
                  </a:lnTo>
                  <a:lnTo>
                    <a:pt x="89" y="3066"/>
                  </a:lnTo>
                  <a:lnTo>
                    <a:pt x="72" y="3050"/>
                  </a:lnTo>
                  <a:lnTo>
                    <a:pt x="56" y="3032"/>
                  </a:lnTo>
                  <a:lnTo>
                    <a:pt x="42" y="3014"/>
                  </a:lnTo>
                  <a:lnTo>
                    <a:pt x="30" y="2994"/>
                  </a:lnTo>
                  <a:lnTo>
                    <a:pt x="20" y="2972"/>
                  </a:lnTo>
                  <a:lnTo>
                    <a:pt x="15" y="2962"/>
                  </a:lnTo>
                  <a:lnTo>
                    <a:pt x="12" y="2950"/>
                  </a:lnTo>
                  <a:lnTo>
                    <a:pt x="8" y="2939"/>
                  </a:lnTo>
                  <a:lnTo>
                    <a:pt x="6" y="2927"/>
                  </a:lnTo>
                  <a:lnTo>
                    <a:pt x="4" y="2915"/>
                  </a:lnTo>
                  <a:lnTo>
                    <a:pt x="1" y="2903"/>
                  </a:lnTo>
                  <a:lnTo>
                    <a:pt x="1" y="2891"/>
                  </a:lnTo>
                  <a:lnTo>
                    <a:pt x="0" y="2878"/>
                  </a:lnTo>
                  <a:lnTo>
                    <a:pt x="0" y="243"/>
                  </a:lnTo>
                  <a:lnTo>
                    <a:pt x="1" y="231"/>
                  </a:lnTo>
                  <a:lnTo>
                    <a:pt x="1" y="218"/>
                  </a:lnTo>
                  <a:lnTo>
                    <a:pt x="4" y="206"/>
                  </a:lnTo>
                  <a:lnTo>
                    <a:pt x="6" y="193"/>
                  </a:lnTo>
                  <a:lnTo>
                    <a:pt x="8" y="182"/>
                  </a:lnTo>
                  <a:lnTo>
                    <a:pt x="12" y="170"/>
                  </a:lnTo>
                  <a:lnTo>
                    <a:pt x="15" y="160"/>
                  </a:lnTo>
                  <a:lnTo>
                    <a:pt x="20" y="148"/>
                  </a:lnTo>
                  <a:lnTo>
                    <a:pt x="30" y="127"/>
                  </a:lnTo>
                  <a:lnTo>
                    <a:pt x="42" y="107"/>
                  </a:lnTo>
                  <a:lnTo>
                    <a:pt x="56" y="88"/>
                  </a:lnTo>
                  <a:lnTo>
                    <a:pt x="72" y="71"/>
                  </a:lnTo>
                  <a:lnTo>
                    <a:pt x="89" y="56"/>
                  </a:lnTo>
                  <a:lnTo>
                    <a:pt x="108" y="42"/>
                  </a:lnTo>
                  <a:lnTo>
                    <a:pt x="128" y="29"/>
                  </a:lnTo>
                  <a:lnTo>
                    <a:pt x="150" y="19"/>
                  </a:lnTo>
                  <a:lnTo>
                    <a:pt x="160" y="14"/>
                  </a:lnTo>
                  <a:lnTo>
                    <a:pt x="172" y="11"/>
                  </a:lnTo>
                  <a:lnTo>
                    <a:pt x="183" y="7"/>
                  </a:lnTo>
                  <a:lnTo>
                    <a:pt x="195" y="5"/>
                  </a:lnTo>
                  <a:lnTo>
                    <a:pt x="206" y="2"/>
                  </a:lnTo>
                  <a:lnTo>
                    <a:pt x="219" y="1"/>
                  </a:lnTo>
                  <a:lnTo>
                    <a:pt x="232" y="0"/>
                  </a:lnTo>
                  <a:lnTo>
                    <a:pt x="243"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30" name="Rectangle 30"/>
            <p:cNvSpPr>
              <a:spLocks noChangeArrowheads="1"/>
            </p:cNvSpPr>
            <p:nvPr/>
          </p:nvSpPr>
          <p:spPr bwMode="auto">
            <a:xfrm>
              <a:off x="3499835" y="2148463"/>
              <a:ext cx="1696627" cy="2535020"/>
            </a:xfrm>
            <a:prstGeom prst="rect">
              <a:avLst/>
            </a:prstGeom>
            <a:gradFill flip="none" rotWithShape="1">
              <a:gsLst>
                <a:gs pos="0">
                  <a:schemeClr val="bg1">
                    <a:lumMod val="75000"/>
                    <a:tint val="66000"/>
                    <a:satMod val="160000"/>
                  </a:schemeClr>
                </a:gs>
                <a:gs pos="50000">
                  <a:schemeClr val="bg1">
                    <a:lumMod val="75000"/>
                    <a:tint val="44500"/>
                    <a:satMod val="160000"/>
                  </a:schemeClr>
                </a:gs>
                <a:gs pos="100000">
                  <a:schemeClr val="bg1">
                    <a:lumMod val="75000"/>
                    <a:tint val="23500"/>
                    <a:satMod val="160000"/>
                  </a:schemeClr>
                </a:gs>
              </a:gsLst>
              <a:lin ang="5400000" scaled="1"/>
              <a:tileRect/>
            </a:gra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31" name="Rectangle 31"/>
            <p:cNvSpPr>
              <a:spLocks noChangeArrowheads="1"/>
            </p:cNvSpPr>
            <p:nvPr/>
          </p:nvSpPr>
          <p:spPr bwMode="auto">
            <a:xfrm>
              <a:off x="3499835" y="2148463"/>
              <a:ext cx="1696627" cy="114103"/>
            </a:xfrm>
            <a:prstGeom prst="rect">
              <a:avLst/>
            </a:prstGeom>
            <a:gradFill>
              <a:gsLst>
                <a:gs pos="100000">
                  <a:schemeClr val="tx1">
                    <a:lumMod val="65000"/>
                    <a:lumOff val="35000"/>
                  </a:schemeClr>
                </a:gs>
                <a:gs pos="0">
                  <a:schemeClr val="bg1">
                    <a:lumMod val="50000"/>
                  </a:schemeClr>
                </a:gs>
              </a:gsLst>
              <a:lin ang="5400000" scaled="1"/>
            </a:gra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32" name="Rectangle 32"/>
            <p:cNvSpPr>
              <a:spLocks noChangeArrowheads="1"/>
            </p:cNvSpPr>
            <p:nvPr/>
          </p:nvSpPr>
          <p:spPr bwMode="auto">
            <a:xfrm>
              <a:off x="3534563" y="2217915"/>
              <a:ext cx="9922" cy="19843"/>
            </a:xfrm>
            <a:prstGeom prst="rect">
              <a:avLst/>
            </a:prstGeom>
            <a:solidFill>
              <a:srgbClr val="37343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33" name="Rectangle 33"/>
            <p:cNvSpPr>
              <a:spLocks noChangeArrowheads="1"/>
            </p:cNvSpPr>
            <p:nvPr/>
          </p:nvSpPr>
          <p:spPr bwMode="auto">
            <a:xfrm>
              <a:off x="3554406" y="2207994"/>
              <a:ext cx="9922" cy="29765"/>
            </a:xfrm>
            <a:prstGeom prst="rect">
              <a:avLst/>
            </a:prstGeom>
            <a:solidFill>
              <a:srgbClr val="37343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34" name="Rectangle 34"/>
            <p:cNvSpPr>
              <a:spLocks noChangeArrowheads="1"/>
            </p:cNvSpPr>
            <p:nvPr/>
          </p:nvSpPr>
          <p:spPr bwMode="auto">
            <a:xfrm>
              <a:off x="3579209" y="2203034"/>
              <a:ext cx="9922" cy="34728"/>
            </a:xfrm>
            <a:prstGeom prst="rect">
              <a:avLst/>
            </a:prstGeom>
            <a:solidFill>
              <a:srgbClr val="37343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35" name="Rectangle 35"/>
            <p:cNvSpPr>
              <a:spLocks noChangeArrowheads="1"/>
            </p:cNvSpPr>
            <p:nvPr/>
          </p:nvSpPr>
          <p:spPr bwMode="auto">
            <a:xfrm>
              <a:off x="3599053" y="2193112"/>
              <a:ext cx="9922" cy="44650"/>
            </a:xfrm>
            <a:prstGeom prst="rect">
              <a:avLst/>
            </a:prstGeom>
            <a:solidFill>
              <a:srgbClr val="37343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36" name="Rectangle 36"/>
            <p:cNvSpPr>
              <a:spLocks noChangeArrowheads="1"/>
            </p:cNvSpPr>
            <p:nvPr/>
          </p:nvSpPr>
          <p:spPr bwMode="auto">
            <a:xfrm>
              <a:off x="3618897" y="2183190"/>
              <a:ext cx="14884" cy="54572"/>
            </a:xfrm>
            <a:prstGeom prst="rect">
              <a:avLst/>
            </a:prstGeom>
            <a:solidFill>
              <a:srgbClr val="37343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37" name="Freeform 37"/>
            <p:cNvSpPr>
              <a:spLocks/>
            </p:cNvSpPr>
            <p:nvPr/>
          </p:nvSpPr>
          <p:spPr bwMode="auto">
            <a:xfrm>
              <a:off x="5072441" y="2183190"/>
              <a:ext cx="104180" cy="54572"/>
            </a:xfrm>
            <a:custGeom>
              <a:avLst/>
              <a:gdLst>
                <a:gd name="T0" fmla="*/ 10 w 84"/>
                <a:gd name="T1" fmla="*/ 0 h 40"/>
                <a:gd name="T2" fmla="*/ 75 w 84"/>
                <a:gd name="T3" fmla="*/ 0 h 40"/>
                <a:gd name="T4" fmla="*/ 78 w 84"/>
                <a:gd name="T5" fmla="*/ 1 h 40"/>
                <a:gd name="T6" fmla="*/ 81 w 84"/>
                <a:gd name="T7" fmla="*/ 2 h 40"/>
                <a:gd name="T8" fmla="*/ 83 w 84"/>
                <a:gd name="T9" fmla="*/ 6 h 40"/>
                <a:gd name="T10" fmla="*/ 84 w 84"/>
                <a:gd name="T11" fmla="*/ 9 h 40"/>
                <a:gd name="T12" fmla="*/ 84 w 84"/>
                <a:gd name="T13" fmla="*/ 31 h 40"/>
                <a:gd name="T14" fmla="*/ 83 w 84"/>
                <a:gd name="T15" fmla="*/ 35 h 40"/>
                <a:gd name="T16" fmla="*/ 81 w 84"/>
                <a:gd name="T17" fmla="*/ 38 h 40"/>
                <a:gd name="T18" fmla="*/ 78 w 84"/>
                <a:gd name="T19" fmla="*/ 40 h 40"/>
                <a:gd name="T20" fmla="*/ 75 w 84"/>
                <a:gd name="T21" fmla="*/ 40 h 40"/>
                <a:gd name="T22" fmla="*/ 10 w 84"/>
                <a:gd name="T23" fmla="*/ 40 h 40"/>
                <a:gd name="T24" fmla="*/ 6 w 84"/>
                <a:gd name="T25" fmla="*/ 40 h 40"/>
                <a:gd name="T26" fmla="*/ 3 w 84"/>
                <a:gd name="T27" fmla="*/ 38 h 40"/>
                <a:gd name="T28" fmla="*/ 2 w 84"/>
                <a:gd name="T29" fmla="*/ 35 h 40"/>
                <a:gd name="T30" fmla="*/ 0 w 84"/>
                <a:gd name="T31" fmla="*/ 31 h 40"/>
                <a:gd name="T32" fmla="*/ 0 w 84"/>
                <a:gd name="T33" fmla="*/ 9 h 40"/>
                <a:gd name="T34" fmla="*/ 2 w 84"/>
                <a:gd name="T35" fmla="*/ 6 h 40"/>
                <a:gd name="T36" fmla="*/ 3 w 84"/>
                <a:gd name="T37" fmla="*/ 2 h 40"/>
                <a:gd name="T38" fmla="*/ 6 w 84"/>
                <a:gd name="T39" fmla="*/ 1 h 40"/>
                <a:gd name="T40" fmla="*/ 10 w 84"/>
                <a:gd name="T41"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4" h="40">
                  <a:moveTo>
                    <a:pt x="10" y="0"/>
                  </a:moveTo>
                  <a:lnTo>
                    <a:pt x="75" y="0"/>
                  </a:lnTo>
                  <a:lnTo>
                    <a:pt x="78" y="1"/>
                  </a:lnTo>
                  <a:lnTo>
                    <a:pt x="81" y="2"/>
                  </a:lnTo>
                  <a:lnTo>
                    <a:pt x="83" y="6"/>
                  </a:lnTo>
                  <a:lnTo>
                    <a:pt x="84" y="9"/>
                  </a:lnTo>
                  <a:lnTo>
                    <a:pt x="84" y="31"/>
                  </a:lnTo>
                  <a:lnTo>
                    <a:pt x="83" y="35"/>
                  </a:lnTo>
                  <a:lnTo>
                    <a:pt x="81" y="38"/>
                  </a:lnTo>
                  <a:lnTo>
                    <a:pt x="78" y="40"/>
                  </a:lnTo>
                  <a:lnTo>
                    <a:pt x="75" y="40"/>
                  </a:lnTo>
                  <a:lnTo>
                    <a:pt x="10" y="40"/>
                  </a:lnTo>
                  <a:lnTo>
                    <a:pt x="6" y="40"/>
                  </a:lnTo>
                  <a:lnTo>
                    <a:pt x="3" y="38"/>
                  </a:lnTo>
                  <a:lnTo>
                    <a:pt x="2" y="35"/>
                  </a:lnTo>
                  <a:lnTo>
                    <a:pt x="0" y="31"/>
                  </a:lnTo>
                  <a:lnTo>
                    <a:pt x="0" y="9"/>
                  </a:lnTo>
                  <a:lnTo>
                    <a:pt x="2" y="6"/>
                  </a:lnTo>
                  <a:lnTo>
                    <a:pt x="3" y="2"/>
                  </a:lnTo>
                  <a:lnTo>
                    <a:pt x="6" y="1"/>
                  </a:lnTo>
                  <a:lnTo>
                    <a:pt x="10" y="0"/>
                  </a:lnTo>
                  <a:close/>
                </a:path>
              </a:pathLst>
            </a:custGeom>
            <a:solidFill>
              <a:srgbClr val="4B4B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38" name="Rectangle 38"/>
            <p:cNvSpPr>
              <a:spLocks noChangeArrowheads="1"/>
            </p:cNvSpPr>
            <p:nvPr/>
          </p:nvSpPr>
          <p:spPr bwMode="auto">
            <a:xfrm>
              <a:off x="5082363" y="2198072"/>
              <a:ext cx="84337" cy="24806"/>
            </a:xfrm>
            <a:prstGeom prst="rect">
              <a:avLst/>
            </a:prstGeom>
            <a:solidFill>
              <a:srgbClr val="84868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39" name="Rectangle 39"/>
            <p:cNvSpPr>
              <a:spLocks noChangeArrowheads="1"/>
            </p:cNvSpPr>
            <p:nvPr/>
          </p:nvSpPr>
          <p:spPr bwMode="auto">
            <a:xfrm>
              <a:off x="5176618" y="2198072"/>
              <a:ext cx="9922" cy="24806"/>
            </a:xfrm>
            <a:prstGeom prst="rect">
              <a:avLst/>
            </a:prstGeom>
            <a:solidFill>
              <a:srgbClr val="84868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40" name="Rectangle 64"/>
            <p:cNvSpPr>
              <a:spLocks noChangeArrowheads="1"/>
            </p:cNvSpPr>
            <p:nvPr/>
          </p:nvSpPr>
          <p:spPr bwMode="auto">
            <a:xfrm>
              <a:off x="5082363" y="2198072"/>
              <a:ext cx="69452" cy="24806"/>
            </a:xfrm>
            <a:prstGeom prst="rect">
              <a:avLst/>
            </a:prstGeom>
            <a:solidFill>
              <a:srgbClr val="92D050"/>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41" name="Freeform 65"/>
            <p:cNvSpPr>
              <a:spLocks/>
            </p:cNvSpPr>
            <p:nvPr/>
          </p:nvSpPr>
          <p:spPr bwMode="auto">
            <a:xfrm>
              <a:off x="4290921" y="1515978"/>
              <a:ext cx="1016986" cy="3113728"/>
            </a:xfrm>
            <a:custGeom>
              <a:avLst/>
              <a:gdLst>
                <a:gd name="T0" fmla="*/ 0 w 820"/>
                <a:gd name="T1" fmla="*/ 0 h 2530"/>
                <a:gd name="T2" fmla="*/ 572 w 820"/>
                <a:gd name="T3" fmla="*/ 0 h 2530"/>
                <a:gd name="T4" fmla="*/ 585 w 820"/>
                <a:gd name="T5" fmla="*/ 0 h 2530"/>
                <a:gd name="T6" fmla="*/ 598 w 820"/>
                <a:gd name="T7" fmla="*/ 1 h 2530"/>
                <a:gd name="T8" fmla="*/ 609 w 820"/>
                <a:gd name="T9" fmla="*/ 2 h 2530"/>
                <a:gd name="T10" fmla="*/ 621 w 820"/>
                <a:gd name="T11" fmla="*/ 5 h 2530"/>
                <a:gd name="T12" fmla="*/ 633 w 820"/>
                <a:gd name="T13" fmla="*/ 8 h 2530"/>
                <a:gd name="T14" fmla="*/ 645 w 820"/>
                <a:gd name="T15" fmla="*/ 12 h 2530"/>
                <a:gd name="T16" fmla="*/ 656 w 820"/>
                <a:gd name="T17" fmla="*/ 15 h 2530"/>
                <a:gd name="T18" fmla="*/ 667 w 820"/>
                <a:gd name="T19" fmla="*/ 20 h 2530"/>
                <a:gd name="T20" fmla="*/ 689 w 820"/>
                <a:gd name="T21" fmla="*/ 30 h 2530"/>
                <a:gd name="T22" fmla="*/ 709 w 820"/>
                <a:gd name="T23" fmla="*/ 43 h 2530"/>
                <a:gd name="T24" fmla="*/ 729 w 820"/>
                <a:gd name="T25" fmla="*/ 58 h 2530"/>
                <a:gd name="T26" fmla="*/ 746 w 820"/>
                <a:gd name="T27" fmla="*/ 74 h 2530"/>
                <a:gd name="T28" fmla="*/ 762 w 820"/>
                <a:gd name="T29" fmla="*/ 92 h 2530"/>
                <a:gd name="T30" fmla="*/ 777 w 820"/>
                <a:gd name="T31" fmla="*/ 111 h 2530"/>
                <a:gd name="T32" fmla="*/ 790 w 820"/>
                <a:gd name="T33" fmla="*/ 132 h 2530"/>
                <a:gd name="T34" fmla="*/ 800 w 820"/>
                <a:gd name="T35" fmla="*/ 153 h 2530"/>
                <a:gd name="T36" fmla="*/ 805 w 820"/>
                <a:gd name="T37" fmla="*/ 164 h 2530"/>
                <a:gd name="T38" fmla="*/ 808 w 820"/>
                <a:gd name="T39" fmla="*/ 176 h 2530"/>
                <a:gd name="T40" fmla="*/ 812 w 820"/>
                <a:gd name="T41" fmla="*/ 188 h 2530"/>
                <a:gd name="T42" fmla="*/ 815 w 820"/>
                <a:gd name="T43" fmla="*/ 199 h 2530"/>
                <a:gd name="T44" fmla="*/ 818 w 820"/>
                <a:gd name="T45" fmla="*/ 212 h 2530"/>
                <a:gd name="T46" fmla="*/ 819 w 820"/>
                <a:gd name="T47" fmla="*/ 224 h 2530"/>
                <a:gd name="T48" fmla="*/ 820 w 820"/>
                <a:gd name="T49" fmla="*/ 236 h 2530"/>
                <a:gd name="T50" fmla="*/ 820 w 820"/>
                <a:gd name="T51" fmla="*/ 248 h 2530"/>
                <a:gd name="T52" fmla="*/ 820 w 820"/>
                <a:gd name="T53" fmla="*/ 2530 h 2530"/>
                <a:gd name="T54" fmla="*/ 0 w 820"/>
                <a:gd name="T55" fmla="*/ 0 h 25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820" h="2530">
                  <a:moveTo>
                    <a:pt x="0" y="0"/>
                  </a:moveTo>
                  <a:lnTo>
                    <a:pt x="572" y="0"/>
                  </a:lnTo>
                  <a:lnTo>
                    <a:pt x="585" y="0"/>
                  </a:lnTo>
                  <a:lnTo>
                    <a:pt x="598" y="1"/>
                  </a:lnTo>
                  <a:lnTo>
                    <a:pt x="609" y="2"/>
                  </a:lnTo>
                  <a:lnTo>
                    <a:pt x="621" y="5"/>
                  </a:lnTo>
                  <a:lnTo>
                    <a:pt x="633" y="8"/>
                  </a:lnTo>
                  <a:lnTo>
                    <a:pt x="645" y="12"/>
                  </a:lnTo>
                  <a:lnTo>
                    <a:pt x="656" y="15"/>
                  </a:lnTo>
                  <a:lnTo>
                    <a:pt x="667" y="20"/>
                  </a:lnTo>
                  <a:lnTo>
                    <a:pt x="689" y="30"/>
                  </a:lnTo>
                  <a:lnTo>
                    <a:pt x="709" y="43"/>
                  </a:lnTo>
                  <a:lnTo>
                    <a:pt x="729" y="58"/>
                  </a:lnTo>
                  <a:lnTo>
                    <a:pt x="746" y="74"/>
                  </a:lnTo>
                  <a:lnTo>
                    <a:pt x="762" y="92"/>
                  </a:lnTo>
                  <a:lnTo>
                    <a:pt x="777" y="111"/>
                  </a:lnTo>
                  <a:lnTo>
                    <a:pt x="790" y="132"/>
                  </a:lnTo>
                  <a:lnTo>
                    <a:pt x="800" y="153"/>
                  </a:lnTo>
                  <a:lnTo>
                    <a:pt x="805" y="164"/>
                  </a:lnTo>
                  <a:lnTo>
                    <a:pt x="808" y="176"/>
                  </a:lnTo>
                  <a:lnTo>
                    <a:pt x="812" y="188"/>
                  </a:lnTo>
                  <a:lnTo>
                    <a:pt x="815" y="199"/>
                  </a:lnTo>
                  <a:lnTo>
                    <a:pt x="818" y="212"/>
                  </a:lnTo>
                  <a:lnTo>
                    <a:pt x="819" y="224"/>
                  </a:lnTo>
                  <a:lnTo>
                    <a:pt x="820" y="236"/>
                  </a:lnTo>
                  <a:lnTo>
                    <a:pt x="820" y="248"/>
                  </a:lnTo>
                  <a:lnTo>
                    <a:pt x="820" y="2530"/>
                  </a:lnTo>
                  <a:lnTo>
                    <a:pt x="0" y="0"/>
                  </a:lnTo>
                  <a:close/>
                </a:path>
              </a:pathLst>
            </a:custGeom>
            <a:gradFill flip="none" rotWithShape="1">
              <a:gsLst>
                <a:gs pos="65000">
                  <a:schemeClr val="bg1">
                    <a:alpha val="0"/>
                  </a:schemeClr>
                </a:gs>
                <a:gs pos="0">
                  <a:schemeClr val="bg1">
                    <a:alpha val="50000"/>
                  </a:schemeClr>
                </a:gs>
              </a:gsLst>
              <a:lin ang="5400000" scaled="1"/>
              <a:tileRect/>
            </a:gra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42" name="Freeform 27"/>
            <p:cNvSpPr>
              <a:spLocks/>
            </p:cNvSpPr>
            <p:nvPr/>
          </p:nvSpPr>
          <p:spPr bwMode="auto">
            <a:xfrm>
              <a:off x="4164595" y="1781356"/>
              <a:ext cx="367106" cy="84337"/>
            </a:xfrm>
            <a:custGeom>
              <a:avLst/>
              <a:gdLst>
                <a:gd name="T0" fmla="*/ 34 w 296"/>
                <a:gd name="T1" fmla="*/ 0 h 71"/>
                <a:gd name="T2" fmla="*/ 261 w 296"/>
                <a:gd name="T3" fmla="*/ 0 h 71"/>
                <a:gd name="T4" fmla="*/ 268 w 296"/>
                <a:gd name="T5" fmla="*/ 1 h 71"/>
                <a:gd name="T6" fmla="*/ 275 w 296"/>
                <a:gd name="T7" fmla="*/ 4 h 71"/>
                <a:gd name="T8" fmla="*/ 281 w 296"/>
                <a:gd name="T9" fmla="*/ 7 h 71"/>
                <a:gd name="T10" fmla="*/ 286 w 296"/>
                <a:gd name="T11" fmla="*/ 11 h 71"/>
                <a:gd name="T12" fmla="*/ 290 w 296"/>
                <a:gd name="T13" fmla="*/ 16 h 71"/>
                <a:gd name="T14" fmla="*/ 294 w 296"/>
                <a:gd name="T15" fmla="*/ 22 h 71"/>
                <a:gd name="T16" fmla="*/ 296 w 296"/>
                <a:gd name="T17" fmla="*/ 29 h 71"/>
                <a:gd name="T18" fmla="*/ 296 w 296"/>
                <a:gd name="T19" fmla="*/ 36 h 71"/>
                <a:gd name="T20" fmla="*/ 296 w 296"/>
                <a:gd name="T21" fmla="*/ 36 h 71"/>
                <a:gd name="T22" fmla="*/ 296 w 296"/>
                <a:gd name="T23" fmla="*/ 43 h 71"/>
                <a:gd name="T24" fmla="*/ 294 w 296"/>
                <a:gd name="T25" fmla="*/ 50 h 71"/>
                <a:gd name="T26" fmla="*/ 290 w 296"/>
                <a:gd name="T27" fmla="*/ 56 h 71"/>
                <a:gd name="T28" fmla="*/ 286 w 296"/>
                <a:gd name="T29" fmla="*/ 62 h 71"/>
                <a:gd name="T30" fmla="*/ 281 w 296"/>
                <a:gd name="T31" fmla="*/ 65 h 71"/>
                <a:gd name="T32" fmla="*/ 275 w 296"/>
                <a:gd name="T33" fmla="*/ 69 h 71"/>
                <a:gd name="T34" fmla="*/ 268 w 296"/>
                <a:gd name="T35" fmla="*/ 71 h 71"/>
                <a:gd name="T36" fmla="*/ 261 w 296"/>
                <a:gd name="T37" fmla="*/ 71 h 71"/>
                <a:gd name="T38" fmla="*/ 34 w 296"/>
                <a:gd name="T39" fmla="*/ 71 h 71"/>
                <a:gd name="T40" fmla="*/ 28 w 296"/>
                <a:gd name="T41" fmla="*/ 71 h 71"/>
                <a:gd name="T42" fmla="*/ 21 w 296"/>
                <a:gd name="T43" fmla="*/ 69 h 71"/>
                <a:gd name="T44" fmla="*/ 15 w 296"/>
                <a:gd name="T45" fmla="*/ 65 h 71"/>
                <a:gd name="T46" fmla="*/ 10 w 296"/>
                <a:gd name="T47" fmla="*/ 62 h 71"/>
                <a:gd name="T48" fmla="*/ 6 w 296"/>
                <a:gd name="T49" fmla="*/ 56 h 71"/>
                <a:gd name="T50" fmla="*/ 2 w 296"/>
                <a:gd name="T51" fmla="*/ 50 h 71"/>
                <a:gd name="T52" fmla="*/ 0 w 296"/>
                <a:gd name="T53" fmla="*/ 43 h 71"/>
                <a:gd name="T54" fmla="*/ 0 w 296"/>
                <a:gd name="T55" fmla="*/ 36 h 71"/>
                <a:gd name="T56" fmla="*/ 0 w 296"/>
                <a:gd name="T57" fmla="*/ 36 h 71"/>
                <a:gd name="T58" fmla="*/ 0 w 296"/>
                <a:gd name="T59" fmla="*/ 29 h 71"/>
                <a:gd name="T60" fmla="*/ 2 w 296"/>
                <a:gd name="T61" fmla="*/ 22 h 71"/>
                <a:gd name="T62" fmla="*/ 6 w 296"/>
                <a:gd name="T63" fmla="*/ 16 h 71"/>
                <a:gd name="T64" fmla="*/ 10 w 296"/>
                <a:gd name="T65" fmla="*/ 11 h 71"/>
                <a:gd name="T66" fmla="*/ 15 w 296"/>
                <a:gd name="T67" fmla="*/ 7 h 71"/>
                <a:gd name="T68" fmla="*/ 21 w 296"/>
                <a:gd name="T69" fmla="*/ 4 h 71"/>
                <a:gd name="T70" fmla="*/ 28 w 296"/>
                <a:gd name="T71" fmla="*/ 1 h 71"/>
                <a:gd name="T72" fmla="*/ 34 w 296"/>
                <a:gd name="T73"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96" h="71">
                  <a:moveTo>
                    <a:pt x="34" y="0"/>
                  </a:moveTo>
                  <a:lnTo>
                    <a:pt x="261" y="0"/>
                  </a:lnTo>
                  <a:lnTo>
                    <a:pt x="268" y="1"/>
                  </a:lnTo>
                  <a:lnTo>
                    <a:pt x="275" y="4"/>
                  </a:lnTo>
                  <a:lnTo>
                    <a:pt x="281" y="7"/>
                  </a:lnTo>
                  <a:lnTo>
                    <a:pt x="286" y="11"/>
                  </a:lnTo>
                  <a:lnTo>
                    <a:pt x="290" y="16"/>
                  </a:lnTo>
                  <a:lnTo>
                    <a:pt x="294" y="22"/>
                  </a:lnTo>
                  <a:lnTo>
                    <a:pt x="296" y="29"/>
                  </a:lnTo>
                  <a:lnTo>
                    <a:pt x="296" y="36"/>
                  </a:lnTo>
                  <a:lnTo>
                    <a:pt x="296" y="36"/>
                  </a:lnTo>
                  <a:lnTo>
                    <a:pt x="296" y="43"/>
                  </a:lnTo>
                  <a:lnTo>
                    <a:pt x="294" y="50"/>
                  </a:lnTo>
                  <a:lnTo>
                    <a:pt x="290" y="56"/>
                  </a:lnTo>
                  <a:lnTo>
                    <a:pt x="286" y="62"/>
                  </a:lnTo>
                  <a:lnTo>
                    <a:pt x="281" y="65"/>
                  </a:lnTo>
                  <a:lnTo>
                    <a:pt x="275" y="69"/>
                  </a:lnTo>
                  <a:lnTo>
                    <a:pt x="268" y="71"/>
                  </a:lnTo>
                  <a:lnTo>
                    <a:pt x="261" y="71"/>
                  </a:lnTo>
                  <a:lnTo>
                    <a:pt x="34" y="71"/>
                  </a:lnTo>
                  <a:lnTo>
                    <a:pt x="28" y="71"/>
                  </a:lnTo>
                  <a:lnTo>
                    <a:pt x="21" y="69"/>
                  </a:lnTo>
                  <a:lnTo>
                    <a:pt x="15" y="65"/>
                  </a:lnTo>
                  <a:lnTo>
                    <a:pt x="10" y="62"/>
                  </a:lnTo>
                  <a:lnTo>
                    <a:pt x="6" y="56"/>
                  </a:lnTo>
                  <a:lnTo>
                    <a:pt x="2" y="50"/>
                  </a:lnTo>
                  <a:lnTo>
                    <a:pt x="0" y="43"/>
                  </a:lnTo>
                  <a:lnTo>
                    <a:pt x="0" y="36"/>
                  </a:lnTo>
                  <a:lnTo>
                    <a:pt x="0" y="36"/>
                  </a:lnTo>
                  <a:lnTo>
                    <a:pt x="0" y="29"/>
                  </a:lnTo>
                  <a:lnTo>
                    <a:pt x="2" y="22"/>
                  </a:lnTo>
                  <a:lnTo>
                    <a:pt x="6" y="16"/>
                  </a:lnTo>
                  <a:lnTo>
                    <a:pt x="10" y="11"/>
                  </a:lnTo>
                  <a:lnTo>
                    <a:pt x="15" y="7"/>
                  </a:lnTo>
                  <a:lnTo>
                    <a:pt x="21" y="4"/>
                  </a:lnTo>
                  <a:lnTo>
                    <a:pt x="28" y="1"/>
                  </a:lnTo>
                  <a:lnTo>
                    <a:pt x="34" y="0"/>
                  </a:lnTo>
                  <a:close/>
                </a:path>
              </a:pathLst>
            </a:custGeom>
            <a:gradFill flip="none" rotWithShape="1">
              <a:gsLst>
                <a:gs pos="100000">
                  <a:srgbClr val="060606"/>
                </a:gs>
                <a:gs pos="62000">
                  <a:srgbClr val="3C3C3C"/>
                </a:gs>
                <a:gs pos="45000">
                  <a:schemeClr val="tx1">
                    <a:lumMod val="75000"/>
                    <a:lumOff val="25000"/>
                  </a:schemeClr>
                </a:gs>
                <a:gs pos="0">
                  <a:schemeClr val="tx1"/>
                </a:gs>
              </a:gsLst>
              <a:lin ang="5400000" scaled="1"/>
              <a:tileRect/>
            </a:gra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43" name="Freeform 28"/>
            <p:cNvSpPr>
              <a:spLocks/>
            </p:cNvSpPr>
            <p:nvPr/>
          </p:nvSpPr>
          <p:spPr bwMode="auto">
            <a:xfrm>
              <a:off x="4189401" y="1806163"/>
              <a:ext cx="322460" cy="34728"/>
            </a:xfrm>
            <a:custGeom>
              <a:avLst/>
              <a:gdLst>
                <a:gd name="T0" fmla="*/ 14 w 262"/>
                <a:gd name="T1" fmla="*/ 0 h 28"/>
                <a:gd name="T2" fmla="*/ 248 w 262"/>
                <a:gd name="T3" fmla="*/ 0 h 28"/>
                <a:gd name="T4" fmla="*/ 254 w 262"/>
                <a:gd name="T5" fmla="*/ 1 h 28"/>
                <a:gd name="T6" fmla="*/ 258 w 262"/>
                <a:gd name="T7" fmla="*/ 4 h 28"/>
                <a:gd name="T8" fmla="*/ 261 w 262"/>
                <a:gd name="T9" fmla="*/ 8 h 28"/>
                <a:gd name="T10" fmla="*/ 262 w 262"/>
                <a:gd name="T11" fmla="*/ 14 h 28"/>
                <a:gd name="T12" fmla="*/ 261 w 262"/>
                <a:gd name="T13" fmla="*/ 20 h 28"/>
                <a:gd name="T14" fmla="*/ 258 w 262"/>
                <a:gd name="T15" fmla="*/ 25 h 28"/>
                <a:gd name="T16" fmla="*/ 254 w 262"/>
                <a:gd name="T17" fmla="*/ 27 h 28"/>
                <a:gd name="T18" fmla="*/ 248 w 262"/>
                <a:gd name="T19" fmla="*/ 28 h 28"/>
                <a:gd name="T20" fmla="*/ 14 w 262"/>
                <a:gd name="T21" fmla="*/ 28 h 28"/>
                <a:gd name="T22" fmla="*/ 9 w 262"/>
                <a:gd name="T23" fmla="*/ 27 h 28"/>
                <a:gd name="T24" fmla="*/ 5 w 262"/>
                <a:gd name="T25" fmla="*/ 25 h 28"/>
                <a:gd name="T26" fmla="*/ 1 w 262"/>
                <a:gd name="T27" fmla="*/ 20 h 28"/>
                <a:gd name="T28" fmla="*/ 0 w 262"/>
                <a:gd name="T29" fmla="*/ 14 h 28"/>
                <a:gd name="T30" fmla="*/ 1 w 262"/>
                <a:gd name="T31" fmla="*/ 8 h 28"/>
                <a:gd name="T32" fmla="*/ 5 w 262"/>
                <a:gd name="T33" fmla="*/ 4 h 28"/>
                <a:gd name="T34" fmla="*/ 9 w 262"/>
                <a:gd name="T35" fmla="*/ 1 h 28"/>
                <a:gd name="T36" fmla="*/ 14 w 262"/>
                <a:gd name="T37"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62" h="28">
                  <a:moveTo>
                    <a:pt x="14" y="0"/>
                  </a:moveTo>
                  <a:lnTo>
                    <a:pt x="248" y="0"/>
                  </a:lnTo>
                  <a:lnTo>
                    <a:pt x="254" y="1"/>
                  </a:lnTo>
                  <a:lnTo>
                    <a:pt x="258" y="4"/>
                  </a:lnTo>
                  <a:lnTo>
                    <a:pt x="261" y="8"/>
                  </a:lnTo>
                  <a:lnTo>
                    <a:pt x="262" y="14"/>
                  </a:lnTo>
                  <a:lnTo>
                    <a:pt x="261" y="20"/>
                  </a:lnTo>
                  <a:lnTo>
                    <a:pt x="258" y="25"/>
                  </a:lnTo>
                  <a:lnTo>
                    <a:pt x="254" y="27"/>
                  </a:lnTo>
                  <a:lnTo>
                    <a:pt x="248" y="28"/>
                  </a:lnTo>
                  <a:lnTo>
                    <a:pt x="14" y="28"/>
                  </a:lnTo>
                  <a:lnTo>
                    <a:pt x="9" y="27"/>
                  </a:lnTo>
                  <a:lnTo>
                    <a:pt x="5" y="25"/>
                  </a:lnTo>
                  <a:lnTo>
                    <a:pt x="1" y="20"/>
                  </a:lnTo>
                  <a:lnTo>
                    <a:pt x="0" y="14"/>
                  </a:lnTo>
                  <a:lnTo>
                    <a:pt x="1" y="8"/>
                  </a:lnTo>
                  <a:lnTo>
                    <a:pt x="5" y="4"/>
                  </a:lnTo>
                  <a:lnTo>
                    <a:pt x="9" y="1"/>
                  </a:lnTo>
                  <a:lnTo>
                    <a:pt x="14" y="0"/>
                  </a:lnTo>
                  <a:close/>
                </a:path>
              </a:pathLst>
            </a:custGeom>
            <a:pattFill prst="pct60">
              <a:fgClr>
                <a:schemeClr val="tx1">
                  <a:lumMod val="65000"/>
                  <a:lumOff val="35000"/>
                </a:schemeClr>
              </a:fgClr>
              <a:bgClr>
                <a:schemeClr val="tx1">
                  <a:lumMod val="85000"/>
                  <a:lumOff val="15000"/>
                </a:schemeClr>
              </a:bgClr>
            </a:patt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grpSp>
          <p:nvGrpSpPr>
            <p:cNvPr id="244" name="Group 243"/>
            <p:cNvGrpSpPr/>
            <p:nvPr/>
          </p:nvGrpSpPr>
          <p:grpSpPr>
            <a:xfrm>
              <a:off x="3983538" y="1774785"/>
              <a:ext cx="91367" cy="89792"/>
              <a:chOff x="3850992" y="1240759"/>
              <a:chExt cx="79021" cy="77659"/>
            </a:xfrm>
          </p:grpSpPr>
          <p:sp>
            <p:nvSpPr>
              <p:cNvPr id="252" name="Freeform 29"/>
              <p:cNvSpPr>
                <a:spLocks/>
              </p:cNvSpPr>
              <p:nvPr/>
            </p:nvSpPr>
            <p:spPr bwMode="auto">
              <a:xfrm>
                <a:off x="3850992" y="1240759"/>
                <a:ext cx="79021" cy="77659"/>
              </a:xfrm>
              <a:custGeom>
                <a:avLst/>
                <a:gdLst>
                  <a:gd name="T0" fmla="*/ 189 w 345"/>
                  <a:gd name="T1" fmla="*/ 1 h 344"/>
                  <a:gd name="T2" fmla="*/ 224 w 345"/>
                  <a:gd name="T3" fmla="*/ 8 h 344"/>
                  <a:gd name="T4" fmla="*/ 254 w 345"/>
                  <a:gd name="T5" fmla="*/ 21 h 344"/>
                  <a:gd name="T6" fmla="*/ 282 w 345"/>
                  <a:gd name="T7" fmla="*/ 39 h 344"/>
                  <a:gd name="T8" fmla="*/ 305 w 345"/>
                  <a:gd name="T9" fmla="*/ 63 h 344"/>
                  <a:gd name="T10" fmla="*/ 324 w 345"/>
                  <a:gd name="T11" fmla="*/ 90 h 344"/>
                  <a:gd name="T12" fmla="*/ 337 w 345"/>
                  <a:gd name="T13" fmla="*/ 121 h 344"/>
                  <a:gd name="T14" fmla="*/ 343 w 345"/>
                  <a:gd name="T15" fmla="*/ 154 h 344"/>
                  <a:gd name="T16" fmla="*/ 343 w 345"/>
                  <a:gd name="T17" fmla="*/ 189 h 344"/>
                  <a:gd name="T18" fmla="*/ 337 w 345"/>
                  <a:gd name="T19" fmla="*/ 224 h 344"/>
                  <a:gd name="T20" fmla="*/ 324 w 345"/>
                  <a:gd name="T21" fmla="*/ 254 h 344"/>
                  <a:gd name="T22" fmla="*/ 305 w 345"/>
                  <a:gd name="T23" fmla="*/ 282 h 344"/>
                  <a:gd name="T24" fmla="*/ 282 w 345"/>
                  <a:gd name="T25" fmla="*/ 304 h 344"/>
                  <a:gd name="T26" fmla="*/ 254 w 345"/>
                  <a:gd name="T27" fmla="*/ 324 h 344"/>
                  <a:gd name="T28" fmla="*/ 224 w 345"/>
                  <a:gd name="T29" fmla="*/ 336 h 344"/>
                  <a:gd name="T30" fmla="*/ 189 w 345"/>
                  <a:gd name="T31" fmla="*/ 343 h 344"/>
                  <a:gd name="T32" fmla="*/ 155 w 345"/>
                  <a:gd name="T33" fmla="*/ 343 h 344"/>
                  <a:gd name="T34" fmla="*/ 121 w 345"/>
                  <a:gd name="T35" fmla="*/ 336 h 344"/>
                  <a:gd name="T36" fmla="*/ 90 w 345"/>
                  <a:gd name="T37" fmla="*/ 324 h 344"/>
                  <a:gd name="T38" fmla="*/ 63 w 345"/>
                  <a:gd name="T39" fmla="*/ 304 h 344"/>
                  <a:gd name="T40" fmla="*/ 39 w 345"/>
                  <a:gd name="T41" fmla="*/ 282 h 344"/>
                  <a:gd name="T42" fmla="*/ 21 w 345"/>
                  <a:gd name="T43" fmla="*/ 254 h 344"/>
                  <a:gd name="T44" fmla="*/ 8 w 345"/>
                  <a:gd name="T45" fmla="*/ 224 h 344"/>
                  <a:gd name="T46" fmla="*/ 1 w 345"/>
                  <a:gd name="T47" fmla="*/ 189 h 344"/>
                  <a:gd name="T48" fmla="*/ 1 w 345"/>
                  <a:gd name="T49" fmla="*/ 154 h 344"/>
                  <a:gd name="T50" fmla="*/ 8 w 345"/>
                  <a:gd name="T51" fmla="*/ 121 h 344"/>
                  <a:gd name="T52" fmla="*/ 21 w 345"/>
                  <a:gd name="T53" fmla="*/ 90 h 344"/>
                  <a:gd name="T54" fmla="*/ 39 w 345"/>
                  <a:gd name="T55" fmla="*/ 63 h 344"/>
                  <a:gd name="T56" fmla="*/ 63 w 345"/>
                  <a:gd name="T57" fmla="*/ 39 h 344"/>
                  <a:gd name="T58" fmla="*/ 90 w 345"/>
                  <a:gd name="T59" fmla="*/ 21 h 344"/>
                  <a:gd name="T60" fmla="*/ 121 w 345"/>
                  <a:gd name="T61" fmla="*/ 8 h 344"/>
                  <a:gd name="T62" fmla="*/ 155 w 345"/>
                  <a:gd name="T63" fmla="*/ 1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45" h="344">
                    <a:moveTo>
                      <a:pt x="172" y="0"/>
                    </a:moveTo>
                    <a:lnTo>
                      <a:pt x="189" y="1"/>
                    </a:lnTo>
                    <a:lnTo>
                      <a:pt x="207" y="3"/>
                    </a:lnTo>
                    <a:lnTo>
                      <a:pt x="224" y="8"/>
                    </a:lnTo>
                    <a:lnTo>
                      <a:pt x="240" y="14"/>
                    </a:lnTo>
                    <a:lnTo>
                      <a:pt x="254" y="21"/>
                    </a:lnTo>
                    <a:lnTo>
                      <a:pt x="268" y="30"/>
                    </a:lnTo>
                    <a:lnTo>
                      <a:pt x="282" y="39"/>
                    </a:lnTo>
                    <a:lnTo>
                      <a:pt x="294" y="50"/>
                    </a:lnTo>
                    <a:lnTo>
                      <a:pt x="305" y="63"/>
                    </a:lnTo>
                    <a:lnTo>
                      <a:pt x="315" y="75"/>
                    </a:lnTo>
                    <a:lnTo>
                      <a:pt x="324" y="90"/>
                    </a:lnTo>
                    <a:lnTo>
                      <a:pt x="331" y="105"/>
                    </a:lnTo>
                    <a:lnTo>
                      <a:pt x="337" y="121"/>
                    </a:lnTo>
                    <a:lnTo>
                      <a:pt x="341" y="137"/>
                    </a:lnTo>
                    <a:lnTo>
                      <a:pt x="343" y="154"/>
                    </a:lnTo>
                    <a:lnTo>
                      <a:pt x="345" y="172"/>
                    </a:lnTo>
                    <a:lnTo>
                      <a:pt x="343" y="189"/>
                    </a:lnTo>
                    <a:lnTo>
                      <a:pt x="341" y="206"/>
                    </a:lnTo>
                    <a:lnTo>
                      <a:pt x="337" y="224"/>
                    </a:lnTo>
                    <a:lnTo>
                      <a:pt x="331" y="239"/>
                    </a:lnTo>
                    <a:lnTo>
                      <a:pt x="324" y="254"/>
                    </a:lnTo>
                    <a:lnTo>
                      <a:pt x="315" y="268"/>
                    </a:lnTo>
                    <a:lnTo>
                      <a:pt x="305" y="282"/>
                    </a:lnTo>
                    <a:lnTo>
                      <a:pt x="294" y="294"/>
                    </a:lnTo>
                    <a:lnTo>
                      <a:pt x="282" y="304"/>
                    </a:lnTo>
                    <a:lnTo>
                      <a:pt x="268" y="315"/>
                    </a:lnTo>
                    <a:lnTo>
                      <a:pt x="254" y="324"/>
                    </a:lnTo>
                    <a:lnTo>
                      <a:pt x="240" y="331"/>
                    </a:lnTo>
                    <a:lnTo>
                      <a:pt x="224" y="336"/>
                    </a:lnTo>
                    <a:lnTo>
                      <a:pt x="207" y="341"/>
                    </a:lnTo>
                    <a:lnTo>
                      <a:pt x="189" y="343"/>
                    </a:lnTo>
                    <a:lnTo>
                      <a:pt x="172" y="344"/>
                    </a:lnTo>
                    <a:lnTo>
                      <a:pt x="155" y="343"/>
                    </a:lnTo>
                    <a:lnTo>
                      <a:pt x="138" y="341"/>
                    </a:lnTo>
                    <a:lnTo>
                      <a:pt x="121" y="336"/>
                    </a:lnTo>
                    <a:lnTo>
                      <a:pt x="105" y="331"/>
                    </a:lnTo>
                    <a:lnTo>
                      <a:pt x="90" y="324"/>
                    </a:lnTo>
                    <a:lnTo>
                      <a:pt x="76" y="315"/>
                    </a:lnTo>
                    <a:lnTo>
                      <a:pt x="63" y="304"/>
                    </a:lnTo>
                    <a:lnTo>
                      <a:pt x="50" y="294"/>
                    </a:lnTo>
                    <a:lnTo>
                      <a:pt x="39" y="282"/>
                    </a:lnTo>
                    <a:lnTo>
                      <a:pt x="30" y="268"/>
                    </a:lnTo>
                    <a:lnTo>
                      <a:pt x="21" y="254"/>
                    </a:lnTo>
                    <a:lnTo>
                      <a:pt x="14" y="239"/>
                    </a:lnTo>
                    <a:lnTo>
                      <a:pt x="8" y="224"/>
                    </a:lnTo>
                    <a:lnTo>
                      <a:pt x="3" y="206"/>
                    </a:lnTo>
                    <a:lnTo>
                      <a:pt x="1" y="189"/>
                    </a:lnTo>
                    <a:lnTo>
                      <a:pt x="0" y="172"/>
                    </a:lnTo>
                    <a:lnTo>
                      <a:pt x="1" y="154"/>
                    </a:lnTo>
                    <a:lnTo>
                      <a:pt x="3" y="137"/>
                    </a:lnTo>
                    <a:lnTo>
                      <a:pt x="8" y="121"/>
                    </a:lnTo>
                    <a:lnTo>
                      <a:pt x="14" y="105"/>
                    </a:lnTo>
                    <a:lnTo>
                      <a:pt x="21" y="90"/>
                    </a:lnTo>
                    <a:lnTo>
                      <a:pt x="30" y="75"/>
                    </a:lnTo>
                    <a:lnTo>
                      <a:pt x="39" y="63"/>
                    </a:lnTo>
                    <a:lnTo>
                      <a:pt x="50" y="50"/>
                    </a:lnTo>
                    <a:lnTo>
                      <a:pt x="63" y="39"/>
                    </a:lnTo>
                    <a:lnTo>
                      <a:pt x="76" y="30"/>
                    </a:lnTo>
                    <a:lnTo>
                      <a:pt x="90" y="21"/>
                    </a:lnTo>
                    <a:lnTo>
                      <a:pt x="105" y="14"/>
                    </a:lnTo>
                    <a:lnTo>
                      <a:pt x="121" y="8"/>
                    </a:lnTo>
                    <a:lnTo>
                      <a:pt x="138" y="3"/>
                    </a:lnTo>
                    <a:lnTo>
                      <a:pt x="155" y="1"/>
                    </a:lnTo>
                    <a:lnTo>
                      <a:pt x="172" y="0"/>
                    </a:lnTo>
                    <a:close/>
                  </a:path>
                </a:pathLst>
              </a:custGeom>
              <a:gradFill flip="none" rotWithShape="1">
                <a:gsLst>
                  <a:gs pos="65000">
                    <a:schemeClr val="tx1">
                      <a:lumMod val="75000"/>
                      <a:lumOff val="25000"/>
                    </a:schemeClr>
                  </a:gs>
                  <a:gs pos="0">
                    <a:schemeClr val="tx1"/>
                  </a:gs>
                </a:gsLst>
                <a:path path="circle">
                  <a:fillToRect l="50000" t="50000" r="50000" b="50000"/>
                </a:path>
                <a:tileRect/>
              </a:gra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53" name="Freeform 30"/>
              <p:cNvSpPr>
                <a:spLocks/>
              </p:cNvSpPr>
              <p:nvPr/>
            </p:nvSpPr>
            <p:spPr bwMode="auto">
              <a:xfrm>
                <a:off x="3871448" y="1259831"/>
                <a:ext cx="38148" cy="38148"/>
              </a:xfrm>
              <a:custGeom>
                <a:avLst/>
                <a:gdLst>
                  <a:gd name="T0" fmla="*/ 93 w 169"/>
                  <a:gd name="T1" fmla="*/ 0 h 169"/>
                  <a:gd name="T2" fmla="*/ 109 w 169"/>
                  <a:gd name="T3" fmla="*/ 3 h 169"/>
                  <a:gd name="T4" fmla="*/ 124 w 169"/>
                  <a:gd name="T5" fmla="*/ 10 h 169"/>
                  <a:gd name="T6" fmla="*/ 138 w 169"/>
                  <a:gd name="T7" fmla="*/ 19 h 169"/>
                  <a:gd name="T8" fmla="*/ 149 w 169"/>
                  <a:gd name="T9" fmla="*/ 31 h 169"/>
                  <a:gd name="T10" fmla="*/ 158 w 169"/>
                  <a:gd name="T11" fmla="*/ 43 h 169"/>
                  <a:gd name="T12" fmla="*/ 165 w 169"/>
                  <a:gd name="T13" fmla="*/ 59 h 169"/>
                  <a:gd name="T14" fmla="*/ 169 w 169"/>
                  <a:gd name="T15" fmla="*/ 75 h 169"/>
                  <a:gd name="T16" fmla="*/ 169 w 169"/>
                  <a:gd name="T17" fmla="*/ 92 h 169"/>
                  <a:gd name="T18" fmla="*/ 165 w 169"/>
                  <a:gd name="T19" fmla="*/ 109 h 169"/>
                  <a:gd name="T20" fmla="*/ 158 w 169"/>
                  <a:gd name="T21" fmla="*/ 124 h 169"/>
                  <a:gd name="T22" fmla="*/ 149 w 169"/>
                  <a:gd name="T23" fmla="*/ 138 h 169"/>
                  <a:gd name="T24" fmla="*/ 138 w 169"/>
                  <a:gd name="T25" fmla="*/ 149 h 169"/>
                  <a:gd name="T26" fmla="*/ 124 w 169"/>
                  <a:gd name="T27" fmla="*/ 158 h 169"/>
                  <a:gd name="T28" fmla="*/ 109 w 169"/>
                  <a:gd name="T29" fmla="*/ 165 h 169"/>
                  <a:gd name="T30" fmla="*/ 93 w 169"/>
                  <a:gd name="T31" fmla="*/ 169 h 169"/>
                  <a:gd name="T32" fmla="*/ 75 w 169"/>
                  <a:gd name="T33" fmla="*/ 169 h 169"/>
                  <a:gd name="T34" fmla="*/ 59 w 169"/>
                  <a:gd name="T35" fmla="*/ 165 h 169"/>
                  <a:gd name="T36" fmla="*/ 44 w 169"/>
                  <a:gd name="T37" fmla="*/ 158 h 169"/>
                  <a:gd name="T38" fmla="*/ 31 w 169"/>
                  <a:gd name="T39" fmla="*/ 149 h 169"/>
                  <a:gd name="T40" fmla="*/ 19 w 169"/>
                  <a:gd name="T41" fmla="*/ 138 h 169"/>
                  <a:gd name="T42" fmla="*/ 10 w 169"/>
                  <a:gd name="T43" fmla="*/ 124 h 169"/>
                  <a:gd name="T44" fmla="*/ 3 w 169"/>
                  <a:gd name="T45" fmla="*/ 109 h 169"/>
                  <a:gd name="T46" fmla="*/ 0 w 169"/>
                  <a:gd name="T47" fmla="*/ 92 h 169"/>
                  <a:gd name="T48" fmla="*/ 0 w 169"/>
                  <a:gd name="T49" fmla="*/ 75 h 169"/>
                  <a:gd name="T50" fmla="*/ 3 w 169"/>
                  <a:gd name="T51" fmla="*/ 59 h 169"/>
                  <a:gd name="T52" fmla="*/ 10 w 169"/>
                  <a:gd name="T53" fmla="*/ 43 h 169"/>
                  <a:gd name="T54" fmla="*/ 19 w 169"/>
                  <a:gd name="T55" fmla="*/ 31 h 169"/>
                  <a:gd name="T56" fmla="*/ 31 w 169"/>
                  <a:gd name="T57" fmla="*/ 19 h 169"/>
                  <a:gd name="T58" fmla="*/ 44 w 169"/>
                  <a:gd name="T59" fmla="*/ 10 h 169"/>
                  <a:gd name="T60" fmla="*/ 59 w 169"/>
                  <a:gd name="T61" fmla="*/ 3 h 169"/>
                  <a:gd name="T62" fmla="*/ 75 w 169"/>
                  <a:gd name="T63" fmla="*/ 0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69" h="169">
                    <a:moveTo>
                      <a:pt x="84" y="0"/>
                    </a:moveTo>
                    <a:lnTo>
                      <a:pt x="93" y="0"/>
                    </a:lnTo>
                    <a:lnTo>
                      <a:pt x="101" y="1"/>
                    </a:lnTo>
                    <a:lnTo>
                      <a:pt x="109" y="3"/>
                    </a:lnTo>
                    <a:lnTo>
                      <a:pt x="117" y="6"/>
                    </a:lnTo>
                    <a:lnTo>
                      <a:pt x="124" y="10"/>
                    </a:lnTo>
                    <a:lnTo>
                      <a:pt x="132" y="14"/>
                    </a:lnTo>
                    <a:lnTo>
                      <a:pt x="138" y="19"/>
                    </a:lnTo>
                    <a:lnTo>
                      <a:pt x="145" y="24"/>
                    </a:lnTo>
                    <a:lnTo>
                      <a:pt x="149" y="31"/>
                    </a:lnTo>
                    <a:lnTo>
                      <a:pt x="155" y="36"/>
                    </a:lnTo>
                    <a:lnTo>
                      <a:pt x="158" y="43"/>
                    </a:lnTo>
                    <a:lnTo>
                      <a:pt x="162" y="51"/>
                    </a:lnTo>
                    <a:lnTo>
                      <a:pt x="165" y="59"/>
                    </a:lnTo>
                    <a:lnTo>
                      <a:pt x="168" y="67"/>
                    </a:lnTo>
                    <a:lnTo>
                      <a:pt x="169" y="75"/>
                    </a:lnTo>
                    <a:lnTo>
                      <a:pt x="169" y="84"/>
                    </a:lnTo>
                    <a:lnTo>
                      <a:pt x="169" y="92"/>
                    </a:lnTo>
                    <a:lnTo>
                      <a:pt x="168" y="101"/>
                    </a:lnTo>
                    <a:lnTo>
                      <a:pt x="165" y="109"/>
                    </a:lnTo>
                    <a:lnTo>
                      <a:pt x="162" y="117"/>
                    </a:lnTo>
                    <a:lnTo>
                      <a:pt x="158" y="124"/>
                    </a:lnTo>
                    <a:lnTo>
                      <a:pt x="155" y="131"/>
                    </a:lnTo>
                    <a:lnTo>
                      <a:pt x="149" y="138"/>
                    </a:lnTo>
                    <a:lnTo>
                      <a:pt x="145" y="143"/>
                    </a:lnTo>
                    <a:lnTo>
                      <a:pt x="138" y="149"/>
                    </a:lnTo>
                    <a:lnTo>
                      <a:pt x="132" y="155"/>
                    </a:lnTo>
                    <a:lnTo>
                      <a:pt x="124" y="158"/>
                    </a:lnTo>
                    <a:lnTo>
                      <a:pt x="117" y="162"/>
                    </a:lnTo>
                    <a:lnTo>
                      <a:pt x="109" y="165"/>
                    </a:lnTo>
                    <a:lnTo>
                      <a:pt x="101" y="167"/>
                    </a:lnTo>
                    <a:lnTo>
                      <a:pt x="93" y="169"/>
                    </a:lnTo>
                    <a:lnTo>
                      <a:pt x="84" y="169"/>
                    </a:lnTo>
                    <a:lnTo>
                      <a:pt x="75" y="169"/>
                    </a:lnTo>
                    <a:lnTo>
                      <a:pt x="67" y="167"/>
                    </a:lnTo>
                    <a:lnTo>
                      <a:pt x="59" y="165"/>
                    </a:lnTo>
                    <a:lnTo>
                      <a:pt x="51" y="162"/>
                    </a:lnTo>
                    <a:lnTo>
                      <a:pt x="44" y="158"/>
                    </a:lnTo>
                    <a:lnTo>
                      <a:pt x="36" y="155"/>
                    </a:lnTo>
                    <a:lnTo>
                      <a:pt x="31" y="149"/>
                    </a:lnTo>
                    <a:lnTo>
                      <a:pt x="24" y="143"/>
                    </a:lnTo>
                    <a:lnTo>
                      <a:pt x="19" y="138"/>
                    </a:lnTo>
                    <a:lnTo>
                      <a:pt x="14" y="131"/>
                    </a:lnTo>
                    <a:lnTo>
                      <a:pt x="10" y="124"/>
                    </a:lnTo>
                    <a:lnTo>
                      <a:pt x="6" y="117"/>
                    </a:lnTo>
                    <a:lnTo>
                      <a:pt x="3" y="109"/>
                    </a:lnTo>
                    <a:lnTo>
                      <a:pt x="1" y="101"/>
                    </a:lnTo>
                    <a:lnTo>
                      <a:pt x="0" y="92"/>
                    </a:lnTo>
                    <a:lnTo>
                      <a:pt x="0" y="84"/>
                    </a:lnTo>
                    <a:lnTo>
                      <a:pt x="0" y="75"/>
                    </a:lnTo>
                    <a:lnTo>
                      <a:pt x="1" y="67"/>
                    </a:lnTo>
                    <a:lnTo>
                      <a:pt x="3" y="59"/>
                    </a:lnTo>
                    <a:lnTo>
                      <a:pt x="6" y="51"/>
                    </a:lnTo>
                    <a:lnTo>
                      <a:pt x="10" y="43"/>
                    </a:lnTo>
                    <a:lnTo>
                      <a:pt x="14" y="36"/>
                    </a:lnTo>
                    <a:lnTo>
                      <a:pt x="19" y="31"/>
                    </a:lnTo>
                    <a:lnTo>
                      <a:pt x="24" y="24"/>
                    </a:lnTo>
                    <a:lnTo>
                      <a:pt x="31" y="19"/>
                    </a:lnTo>
                    <a:lnTo>
                      <a:pt x="36" y="14"/>
                    </a:lnTo>
                    <a:lnTo>
                      <a:pt x="44" y="10"/>
                    </a:lnTo>
                    <a:lnTo>
                      <a:pt x="51" y="6"/>
                    </a:lnTo>
                    <a:lnTo>
                      <a:pt x="59" y="3"/>
                    </a:lnTo>
                    <a:lnTo>
                      <a:pt x="67" y="1"/>
                    </a:lnTo>
                    <a:lnTo>
                      <a:pt x="75" y="0"/>
                    </a:lnTo>
                    <a:lnTo>
                      <a:pt x="84" y="0"/>
                    </a:lnTo>
                    <a:close/>
                  </a:path>
                </a:pathLst>
              </a:custGeom>
              <a:gradFill flip="none" rotWithShape="1">
                <a:gsLst>
                  <a:gs pos="0">
                    <a:srgbClr val="00B0F0"/>
                  </a:gs>
                  <a:gs pos="74000">
                    <a:srgbClr val="002060"/>
                  </a:gs>
                </a:gsLst>
                <a:path path="circle">
                  <a:fillToRect l="50000" t="50000" r="50000" b="50000"/>
                </a:path>
                <a:tileRect/>
              </a:gra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55" name="Freeform 31"/>
              <p:cNvSpPr>
                <a:spLocks/>
              </p:cNvSpPr>
              <p:nvPr/>
            </p:nvSpPr>
            <p:spPr bwMode="auto">
              <a:xfrm>
                <a:off x="3876892" y="1274820"/>
                <a:ext cx="10899" cy="10899"/>
              </a:xfrm>
              <a:custGeom>
                <a:avLst/>
                <a:gdLst>
                  <a:gd name="T0" fmla="*/ 23 w 46"/>
                  <a:gd name="T1" fmla="*/ 0 h 47"/>
                  <a:gd name="T2" fmla="*/ 27 w 46"/>
                  <a:gd name="T3" fmla="*/ 1 h 47"/>
                  <a:gd name="T4" fmla="*/ 32 w 46"/>
                  <a:gd name="T5" fmla="*/ 2 h 47"/>
                  <a:gd name="T6" fmla="*/ 35 w 46"/>
                  <a:gd name="T7" fmla="*/ 5 h 47"/>
                  <a:gd name="T8" fmla="*/ 39 w 46"/>
                  <a:gd name="T9" fmla="*/ 7 h 47"/>
                  <a:gd name="T10" fmla="*/ 42 w 46"/>
                  <a:gd name="T11" fmla="*/ 10 h 47"/>
                  <a:gd name="T12" fmla="*/ 45 w 46"/>
                  <a:gd name="T13" fmla="*/ 15 h 47"/>
                  <a:gd name="T14" fmla="*/ 46 w 46"/>
                  <a:gd name="T15" fmla="*/ 18 h 47"/>
                  <a:gd name="T16" fmla="*/ 46 w 46"/>
                  <a:gd name="T17" fmla="*/ 24 h 47"/>
                  <a:gd name="T18" fmla="*/ 46 w 46"/>
                  <a:gd name="T19" fmla="*/ 28 h 47"/>
                  <a:gd name="T20" fmla="*/ 45 w 46"/>
                  <a:gd name="T21" fmla="*/ 32 h 47"/>
                  <a:gd name="T22" fmla="*/ 42 w 46"/>
                  <a:gd name="T23" fmla="*/ 36 h 47"/>
                  <a:gd name="T24" fmla="*/ 39 w 46"/>
                  <a:gd name="T25" fmla="*/ 40 h 47"/>
                  <a:gd name="T26" fmla="*/ 35 w 46"/>
                  <a:gd name="T27" fmla="*/ 42 h 47"/>
                  <a:gd name="T28" fmla="*/ 32 w 46"/>
                  <a:gd name="T29" fmla="*/ 44 h 47"/>
                  <a:gd name="T30" fmla="*/ 27 w 46"/>
                  <a:gd name="T31" fmla="*/ 46 h 47"/>
                  <a:gd name="T32" fmla="*/ 23 w 46"/>
                  <a:gd name="T33" fmla="*/ 47 h 47"/>
                  <a:gd name="T34" fmla="*/ 18 w 46"/>
                  <a:gd name="T35" fmla="*/ 46 h 47"/>
                  <a:gd name="T36" fmla="*/ 14 w 46"/>
                  <a:gd name="T37" fmla="*/ 44 h 47"/>
                  <a:gd name="T38" fmla="*/ 10 w 46"/>
                  <a:gd name="T39" fmla="*/ 42 h 47"/>
                  <a:gd name="T40" fmla="*/ 7 w 46"/>
                  <a:gd name="T41" fmla="*/ 40 h 47"/>
                  <a:gd name="T42" fmla="*/ 4 w 46"/>
                  <a:gd name="T43" fmla="*/ 36 h 47"/>
                  <a:gd name="T44" fmla="*/ 1 w 46"/>
                  <a:gd name="T45" fmla="*/ 32 h 47"/>
                  <a:gd name="T46" fmla="*/ 0 w 46"/>
                  <a:gd name="T47" fmla="*/ 28 h 47"/>
                  <a:gd name="T48" fmla="*/ 0 w 46"/>
                  <a:gd name="T49" fmla="*/ 24 h 47"/>
                  <a:gd name="T50" fmla="*/ 0 w 46"/>
                  <a:gd name="T51" fmla="*/ 18 h 47"/>
                  <a:gd name="T52" fmla="*/ 1 w 46"/>
                  <a:gd name="T53" fmla="*/ 15 h 47"/>
                  <a:gd name="T54" fmla="*/ 4 w 46"/>
                  <a:gd name="T55" fmla="*/ 10 h 47"/>
                  <a:gd name="T56" fmla="*/ 7 w 46"/>
                  <a:gd name="T57" fmla="*/ 7 h 47"/>
                  <a:gd name="T58" fmla="*/ 10 w 46"/>
                  <a:gd name="T59" fmla="*/ 5 h 47"/>
                  <a:gd name="T60" fmla="*/ 14 w 46"/>
                  <a:gd name="T61" fmla="*/ 2 h 47"/>
                  <a:gd name="T62" fmla="*/ 18 w 46"/>
                  <a:gd name="T63" fmla="*/ 1 h 47"/>
                  <a:gd name="T64" fmla="*/ 23 w 46"/>
                  <a:gd name="T65"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6" h="47">
                    <a:moveTo>
                      <a:pt x="23" y="0"/>
                    </a:moveTo>
                    <a:lnTo>
                      <a:pt x="27" y="1"/>
                    </a:lnTo>
                    <a:lnTo>
                      <a:pt x="32" y="2"/>
                    </a:lnTo>
                    <a:lnTo>
                      <a:pt x="35" y="5"/>
                    </a:lnTo>
                    <a:lnTo>
                      <a:pt x="39" y="7"/>
                    </a:lnTo>
                    <a:lnTo>
                      <a:pt x="42" y="10"/>
                    </a:lnTo>
                    <a:lnTo>
                      <a:pt x="45" y="15"/>
                    </a:lnTo>
                    <a:lnTo>
                      <a:pt x="46" y="18"/>
                    </a:lnTo>
                    <a:lnTo>
                      <a:pt x="46" y="24"/>
                    </a:lnTo>
                    <a:lnTo>
                      <a:pt x="46" y="28"/>
                    </a:lnTo>
                    <a:lnTo>
                      <a:pt x="45" y="32"/>
                    </a:lnTo>
                    <a:lnTo>
                      <a:pt x="42" y="36"/>
                    </a:lnTo>
                    <a:lnTo>
                      <a:pt x="39" y="40"/>
                    </a:lnTo>
                    <a:lnTo>
                      <a:pt x="35" y="42"/>
                    </a:lnTo>
                    <a:lnTo>
                      <a:pt x="32" y="44"/>
                    </a:lnTo>
                    <a:lnTo>
                      <a:pt x="27" y="46"/>
                    </a:lnTo>
                    <a:lnTo>
                      <a:pt x="23" y="47"/>
                    </a:lnTo>
                    <a:lnTo>
                      <a:pt x="18" y="46"/>
                    </a:lnTo>
                    <a:lnTo>
                      <a:pt x="14" y="44"/>
                    </a:lnTo>
                    <a:lnTo>
                      <a:pt x="10" y="42"/>
                    </a:lnTo>
                    <a:lnTo>
                      <a:pt x="7" y="40"/>
                    </a:lnTo>
                    <a:lnTo>
                      <a:pt x="4" y="36"/>
                    </a:lnTo>
                    <a:lnTo>
                      <a:pt x="1" y="32"/>
                    </a:lnTo>
                    <a:lnTo>
                      <a:pt x="0" y="28"/>
                    </a:lnTo>
                    <a:lnTo>
                      <a:pt x="0" y="24"/>
                    </a:lnTo>
                    <a:lnTo>
                      <a:pt x="0" y="18"/>
                    </a:lnTo>
                    <a:lnTo>
                      <a:pt x="1" y="15"/>
                    </a:lnTo>
                    <a:lnTo>
                      <a:pt x="4" y="10"/>
                    </a:lnTo>
                    <a:lnTo>
                      <a:pt x="7" y="7"/>
                    </a:lnTo>
                    <a:lnTo>
                      <a:pt x="10" y="5"/>
                    </a:lnTo>
                    <a:lnTo>
                      <a:pt x="14" y="2"/>
                    </a:lnTo>
                    <a:lnTo>
                      <a:pt x="18" y="1"/>
                    </a:lnTo>
                    <a:lnTo>
                      <a:pt x="23" y="0"/>
                    </a:lnTo>
                    <a:close/>
                  </a:path>
                </a:pathLst>
              </a:custGeom>
              <a:solidFill>
                <a:srgbClr val="E6E7E8">
                  <a:alpha val="50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56" name="Freeform 32"/>
              <p:cNvSpPr>
                <a:spLocks/>
              </p:cNvSpPr>
              <p:nvPr/>
            </p:nvSpPr>
            <p:spPr bwMode="auto">
              <a:xfrm>
                <a:off x="3894775" y="1269392"/>
                <a:ext cx="6813" cy="6813"/>
              </a:xfrm>
              <a:custGeom>
                <a:avLst/>
                <a:gdLst>
                  <a:gd name="T0" fmla="*/ 15 w 30"/>
                  <a:gd name="T1" fmla="*/ 0 h 31"/>
                  <a:gd name="T2" fmla="*/ 18 w 30"/>
                  <a:gd name="T3" fmla="*/ 0 h 31"/>
                  <a:gd name="T4" fmla="*/ 20 w 30"/>
                  <a:gd name="T5" fmla="*/ 1 h 31"/>
                  <a:gd name="T6" fmla="*/ 24 w 30"/>
                  <a:gd name="T7" fmla="*/ 2 h 31"/>
                  <a:gd name="T8" fmla="*/ 26 w 30"/>
                  <a:gd name="T9" fmla="*/ 4 h 31"/>
                  <a:gd name="T10" fmla="*/ 27 w 30"/>
                  <a:gd name="T11" fmla="*/ 7 h 31"/>
                  <a:gd name="T12" fmla="*/ 29 w 30"/>
                  <a:gd name="T13" fmla="*/ 9 h 31"/>
                  <a:gd name="T14" fmla="*/ 29 w 30"/>
                  <a:gd name="T15" fmla="*/ 11 h 31"/>
                  <a:gd name="T16" fmla="*/ 30 w 30"/>
                  <a:gd name="T17" fmla="*/ 15 h 31"/>
                  <a:gd name="T18" fmla="*/ 29 w 30"/>
                  <a:gd name="T19" fmla="*/ 18 h 31"/>
                  <a:gd name="T20" fmla="*/ 29 w 30"/>
                  <a:gd name="T21" fmla="*/ 20 h 31"/>
                  <a:gd name="T22" fmla="*/ 27 w 30"/>
                  <a:gd name="T23" fmla="*/ 24 h 31"/>
                  <a:gd name="T24" fmla="*/ 26 w 30"/>
                  <a:gd name="T25" fmla="*/ 26 h 31"/>
                  <a:gd name="T26" fmla="*/ 24 w 30"/>
                  <a:gd name="T27" fmla="*/ 27 h 31"/>
                  <a:gd name="T28" fmla="*/ 20 w 30"/>
                  <a:gd name="T29" fmla="*/ 28 h 31"/>
                  <a:gd name="T30" fmla="*/ 18 w 30"/>
                  <a:gd name="T31" fmla="*/ 30 h 31"/>
                  <a:gd name="T32" fmla="*/ 15 w 30"/>
                  <a:gd name="T33" fmla="*/ 31 h 31"/>
                  <a:gd name="T34" fmla="*/ 11 w 30"/>
                  <a:gd name="T35" fmla="*/ 30 h 31"/>
                  <a:gd name="T36" fmla="*/ 9 w 30"/>
                  <a:gd name="T37" fmla="*/ 28 h 31"/>
                  <a:gd name="T38" fmla="*/ 7 w 30"/>
                  <a:gd name="T39" fmla="*/ 27 h 31"/>
                  <a:gd name="T40" fmla="*/ 4 w 30"/>
                  <a:gd name="T41" fmla="*/ 26 h 31"/>
                  <a:gd name="T42" fmla="*/ 2 w 30"/>
                  <a:gd name="T43" fmla="*/ 24 h 31"/>
                  <a:gd name="T44" fmla="*/ 1 w 30"/>
                  <a:gd name="T45" fmla="*/ 20 h 31"/>
                  <a:gd name="T46" fmla="*/ 0 w 30"/>
                  <a:gd name="T47" fmla="*/ 18 h 31"/>
                  <a:gd name="T48" fmla="*/ 0 w 30"/>
                  <a:gd name="T49" fmla="*/ 15 h 31"/>
                  <a:gd name="T50" fmla="*/ 0 w 30"/>
                  <a:gd name="T51" fmla="*/ 11 h 31"/>
                  <a:gd name="T52" fmla="*/ 1 w 30"/>
                  <a:gd name="T53" fmla="*/ 9 h 31"/>
                  <a:gd name="T54" fmla="*/ 2 w 30"/>
                  <a:gd name="T55" fmla="*/ 7 h 31"/>
                  <a:gd name="T56" fmla="*/ 4 w 30"/>
                  <a:gd name="T57" fmla="*/ 4 h 31"/>
                  <a:gd name="T58" fmla="*/ 7 w 30"/>
                  <a:gd name="T59" fmla="*/ 2 h 31"/>
                  <a:gd name="T60" fmla="*/ 9 w 30"/>
                  <a:gd name="T61" fmla="*/ 1 h 31"/>
                  <a:gd name="T62" fmla="*/ 11 w 30"/>
                  <a:gd name="T63" fmla="*/ 0 h 31"/>
                  <a:gd name="T64" fmla="*/ 15 w 30"/>
                  <a:gd name="T65"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0" h="31">
                    <a:moveTo>
                      <a:pt x="15" y="0"/>
                    </a:moveTo>
                    <a:lnTo>
                      <a:pt x="18" y="0"/>
                    </a:lnTo>
                    <a:lnTo>
                      <a:pt x="20" y="1"/>
                    </a:lnTo>
                    <a:lnTo>
                      <a:pt x="24" y="2"/>
                    </a:lnTo>
                    <a:lnTo>
                      <a:pt x="26" y="4"/>
                    </a:lnTo>
                    <a:lnTo>
                      <a:pt x="27" y="7"/>
                    </a:lnTo>
                    <a:lnTo>
                      <a:pt x="29" y="9"/>
                    </a:lnTo>
                    <a:lnTo>
                      <a:pt x="29" y="11"/>
                    </a:lnTo>
                    <a:lnTo>
                      <a:pt x="30" y="15"/>
                    </a:lnTo>
                    <a:lnTo>
                      <a:pt x="29" y="18"/>
                    </a:lnTo>
                    <a:lnTo>
                      <a:pt x="29" y="20"/>
                    </a:lnTo>
                    <a:lnTo>
                      <a:pt x="27" y="24"/>
                    </a:lnTo>
                    <a:lnTo>
                      <a:pt x="26" y="26"/>
                    </a:lnTo>
                    <a:lnTo>
                      <a:pt x="24" y="27"/>
                    </a:lnTo>
                    <a:lnTo>
                      <a:pt x="20" y="28"/>
                    </a:lnTo>
                    <a:lnTo>
                      <a:pt x="18" y="30"/>
                    </a:lnTo>
                    <a:lnTo>
                      <a:pt x="15" y="31"/>
                    </a:lnTo>
                    <a:lnTo>
                      <a:pt x="11" y="30"/>
                    </a:lnTo>
                    <a:lnTo>
                      <a:pt x="9" y="28"/>
                    </a:lnTo>
                    <a:lnTo>
                      <a:pt x="7" y="27"/>
                    </a:lnTo>
                    <a:lnTo>
                      <a:pt x="4" y="26"/>
                    </a:lnTo>
                    <a:lnTo>
                      <a:pt x="2" y="24"/>
                    </a:lnTo>
                    <a:lnTo>
                      <a:pt x="1" y="20"/>
                    </a:lnTo>
                    <a:lnTo>
                      <a:pt x="0" y="18"/>
                    </a:lnTo>
                    <a:lnTo>
                      <a:pt x="0" y="15"/>
                    </a:lnTo>
                    <a:lnTo>
                      <a:pt x="0" y="11"/>
                    </a:lnTo>
                    <a:lnTo>
                      <a:pt x="1" y="9"/>
                    </a:lnTo>
                    <a:lnTo>
                      <a:pt x="2" y="7"/>
                    </a:lnTo>
                    <a:lnTo>
                      <a:pt x="4" y="4"/>
                    </a:lnTo>
                    <a:lnTo>
                      <a:pt x="7" y="2"/>
                    </a:lnTo>
                    <a:lnTo>
                      <a:pt x="9" y="1"/>
                    </a:lnTo>
                    <a:lnTo>
                      <a:pt x="11" y="0"/>
                    </a:lnTo>
                    <a:lnTo>
                      <a:pt x="15" y="0"/>
                    </a:lnTo>
                    <a:close/>
                  </a:path>
                </a:pathLst>
              </a:custGeom>
              <a:solidFill>
                <a:srgbClr val="E6E7E8">
                  <a:alpha val="50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grpSp>
        <p:grpSp>
          <p:nvGrpSpPr>
            <p:cNvPr id="245" name="Group 244"/>
            <p:cNvGrpSpPr/>
            <p:nvPr/>
          </p:nvGrpSpPr>
          <p:grpSpPr>
            <a:xfrm>
              <a:off x="4169297" y="4842232"/>
              <a:ext cx="387467" cy="387467"/>
              <a:chOff x="5940539" y="5094371"/>
              <a:chExt cx="371944" cy="371944"/>
            </a:xfrm>
          </p:grpSpPr>
          <p:sp>
            <p:nvSpPr>
              <p:cNvPr id="249" name="Freeform 33"/>
              <p:cNvSpPr>
                <a:spLocks/>
              </p:cNvSpPr>
              <p:nvPr/>
            </p:nvSpPr>
            <p:spPr bwMode="auto">
              <a:xfrm>
                <a:off x="5940539" y="5094371"/>
                <a:ext cx="371944" cy="371944"/>
              </a:xfrm>
              <a:custGeom>
                <a:avLst/>
                <a:gdLst>
                  <a:gd name="T0" fmla="*/ 904 w 1639"/>
                  <a:gd name="T1" fmla="*/ 5 h 1638"/>
                  <a:gd name="T2" fmla="*/ 1025 w 1639"/>
                  <a:gd name="T3" fmla="*/ 27 h 1638"/>
                  <a:gd name="T4" fmla="*/ 1139 w 1639"/>
                  <a:gd name="T5" fmla="*/ 64 h 1638"/>
                  <a:gd name="T6" fmla="*/ 1245 w 1639"/>
                  <a:gd name="T7" fmla="*/ 119 h 1638"/>
                  <a:gd name="T8" fmla="*/ 1342 w 1639"/>
                  <a:gd name="T9" fmla="*/ 187 h 1638"/>
                  <a:gd name="T10" fmla="*/ 1427 w 1639"/>
                  <a:gd name="T11" fmla="*/ 268 h 1638"/>
                  <a:gd name="T12" fmla="*/ 1500 w 1639"/>
                  <a:gd name="T13" fmla="*/ 362 h 1638"/>
                  <a:gd name="T14" fmla="*/ 1560 w 1639"/>
                  <a:gd name="T15" fmla="*/ 464 h 1638"/>
                  <a:gd name="T16" fmla="*/ 1603 w 1639"/>
                  <a:gd name="T17" fmla="*/ 576 h 1638"/>
                  <a:gd name="T18" fmla="*/ 1630 w 1639"/>
                  <a:gd name="T19" fmla="*/ 695 h 1638"/>
                  <a:gd name="T20" fmla="*/ 1639 w 1639"/>
                  <a:gd name="T21" fmla="*/ 820 h 1638"/>
                  <a:gd name="T22" fmla="*/ 1630 w 1639"/>
                  <a:gd name="T23" fmla="*/ 944 h 1638"/>
                  <a:gd name="T24" fmla="*/ 1603 w 1639"/>
                  <a:gd name="T25" fmla="*/ 1063 h 1638"/>
                  <a:gd name="T26" fmla="*/ 1560 w 1639"/>
                  <a:gd name="T27" fmla="*/ 1174 h 1638"/>
                  <a:gd name="T28" fmla="*/ 1500 w 1639"/>
                  <a:gd name="T29" fmla="*/ 1278 h 1638"/>
                  <a:gd name="T30" fmla="*/ 1427 w 1639"/>
                  <a:gd name="T31" fmla="*/ 1371 h 1638"/>
                  <a:gd name="T32" fmla="*/ 1342 w 1639"/>
                  <a:gd name="T33" fmla="*/ 1452 h 1638"/>
                  <a:gd name="T34" fmla="*/ 1245 w 1639"/>
                  <a:gd name="T35" fmla="*/ 1520 h 1638"/>
                  <a:gd name="T36" fmla="*/ 1139 w 1639"/>
                  <a:gd name="T37" fmla="*/ 1575 h 1638"/>
                  <a:gd name="T38" fmla="*/ 1025 w 1639"/>
                  <a:gd name="T39" fmla="*/ 1613 h 1638"/>
                  <a:gd name="T40" fmla="*/ 904 w 1639"/>
                  <a:gd name="T41" fmla="*/ 1635 h 1638"/>
                  <a:gd name="T42" fmla="*/ 778 w 1639"/>
                  <a:gd name="T43" fmla="*/ 1637 h 1638"/>
                  <a:gd name="T44" fmla="*/ 655 w 1639"/>
                  <a:gd name="T45" fmla="*/ 1623 h 1638"/>
                  <a:gd name="T46" fmla="*/ 539 w 1639"/>
                  <a:gd name="T47" fmla="*/ 1589 h 1638"/>
                  <a:gd name="T48" fmla="*/ 429 w 1639"/>
                  <a:gd name="T49" fmla="*/ 1540 h 1638"/>
                  <a:gd name="T50" fmla="*/ 330 w 1639"/>
                  <a:gd name="T51" fmla="*/ 1477 h 1638"/>
                  <a:gd name="T52" fmla="*/ 241 w 1639"/>
                  <a:gd name="T53" fmla="*/ 1399 h 1638"/>
                  <a:gd name="T54" fmla="*/ 163 w 1639"/>
                  <a:gd name="T55" fmla="*/ 1310 h 1638"/>
                  <a:gd name="T56" fmla="*/ 100 w 1639"/>
                  <a:gd name="T57" fmla="*/ 1210 h 1638"/>
                  <a:gd name="T58" fmla="*/ 51 w 1639"/>
                  <a:gd name="T59" fmla="*/ 1102 h 1638"/>
                  <a:gd name="T60" fmla="*/ 17 w 1639"/>
                  <a:gd name="T61" fmla="*/ 985 h 1638"/>
                  <a:gd name="T62" fmla="*/ 1 w 1639"/>
                  <a:gd name="T63" fmla="*/ 862 h 1638"/>
                  <a:gd name="T64" fmla="*/ 5 w 1639"/>
                  <a:gd name="T65" fmla="*/ 736 h 1638"/>
                  <a:gd name="T66" fmla="*/ 27 w 1639"/>
                  <a:gd name="T67" fmla="*/ 615 h 1638"/>
                  <a:gd name="T68" fmla="*/ 65 w 1639"/>
                  <a:gd name="T69" fmla="*/ 501 h 1638"/>
                  <a:gd name="T70" fmla="*/ 119 w 1639"/>
                  <a:gd name="T71" fmla="*/ 395 h 1638"/>
                  <a:gd name="T72" fmla="*/ 187 w 1639"/>
                  <a:gd name="T73" fmla="*/ 299 h 1638"/>
                  <a:gd name="T74" fmla="*/ 270 w 1639"/>
                  <a:gd name="T75" fmla="*/ 213 h 1638"/>
                  <a:gd name="T76" fmla="*/ 362 w 1639"/>
                  <a:gd name="T77" fmla="*/ 141 h 1638"/>
                  <a:gd name="T78" fmla="*/ 465 w 1639"/>
                  <a:gd name="T79" fmla="*/ 81 h 1638"/>
                  <a:gd name="T80" fmla="*/ 576 w 1639"/>
                  <a:gd name="T81" fmla="*/ 37 h 1638"/>
                  <a:gd name="T82" fmla="*/ 695 w 1639"/>
                  <a:gd name="T83" fmla="*/ 9 h 1638"/>
                  <a:gd name="T84" fmla="*/ 820 w 1639"/>
                  <a:gd name="T85" fmla="*/ 0 h 16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39" h="1638">
                    <a:moveTo>
                      <a:pt x="820" y="0"/>
                    </a:moveTo>
                    <a:lnTo>
                      <a:pt x="863" y="1"/>
                    </a:lnTo>
                    <a:lnTo>
                      <a:pt x="904" y="5"/>
                    </a:lnTo>
                    <a:lnTo>
                      <a:pt x="945" y="9"/>
                    </a:lnTo>
                    <a:lnTo>
                      <a:pt x="986" y="17"/>
                    </a:lnTo>
                    <a:lnTo>
                      <a:pt x="1025" y="27"/>
                    </a:lnTo>
                    <a:lnTo>
                      <a:pt x="1063" y="37"/>
                    </a:lnTo>
                    <a:lnTo>
                      <a:pt x="1102" y="50"/>
                    </a:lnTo>
                    <a:lnTo>
                      <a:pt x="1139" y="64"/>
                    </a:lnTo>
                    <a:lnTo>
                      <a:pt x="1175" y="81"/>
                    </a:lnTo>
                    <a:lnTo>
                      <a:pt x="1211" y="99"/>
                    </a:lnTo>
                    <a:lnTo>
                      <a:pt x="1245" y="119"/>
                    </a:lnTo>
                    <a:lnTo>
                      <a:pt x="1279" y="141"/>
                    </a:lnTo>
                    <a:lnTo>
                      <a:pt x="1311" y="163"/>
                    </a:lnTo>
                    <a:lnTo>
                      <a:pt x="1342" y="187"/>
                    </a:lnTo>
                    <a:lnTo>
                      <a:pt x="1371" y="213"/>
                    </a:lnTo>
                    <a:lnTo>
                      <a:pt x="1400" y="240"/>
                    </a:lnTo>
                    <a:lnTo>
                      <a:pt x="1427" y="268"/>
                    </a:lnTo>
                    <a:lnTo>
                      <a:pt x="1452" y="299"/>
                    </a:lnTo>
                    <a:lnTo>
                      <a:pt x="1477" y="330"/>
                    </a:lnTo>
                    <a:lnTo>
                      <a:pt x="1500" y="362"/>
                    </a:lnTo>
                    <a:lnTo>
                      <a:pt x="1521" y="395"/>
                    </a:lnTo>
                    <a:lnTo>
                      <a:pt x="1541" y="429"/>
                    </a:lnTo>
                    <a:lnTo>
                      <a:pt x="1560" y="464"/>
                    </a:lnTo>
                    <a:lnTo>
                      <a:pt x="1576" y="501"/>
                    </a:lnTo>
                    <a:lnTo>
                      <a:pt x="1590" y="538"/>
                    </a:lnTo>
                    <a:lnTo>
                      <a:pt x="1603" y="576"/>
                    </a:lnTo>
                    <a:lnTo>
                      <a:pt x="1614" y="615"/>
                    </a:lnTo>
                    <a:lnTo>
                      <a:pt x="1623" y="655"/>
                    </a:lnTo>
                    <a:lnTo>
                      <a:pt x="1630" y="695"/>
                    </a:lnTo>
                    <a:lnTo>
                      <a:pt x="1636" y="736"/>
                    </a:lnTo>
                    <a:lnTo>
                      <a:pt x="1638" y="778"/>
                    </a:lnTo>
                    <a:lnTo>
                      <a:pt x="1639" y="820"/>
                    </a:lnTo>
                    <a:lnTo>
                      <a:pt x="1638" y="862"/>
                    </a:lnTo>
                    <a:lnTo>
                      <a:pt x="1636" y="903"/>
                    </a:lnTo>
                    <a:lnTo>
                      <a:pt x="1630" y="944"/>
                    </a:lnTo>
                    <a:lnTo>
                      <a:pt x="1623" y="985"/>
                    </a:lnTo>
                    <a:lnTo>
                      <a:pt x="1614" y="1024"/>
                    </a:lnTo>
                    <a:lnTo>
                      <a:pt x="1603" y="1063"/>
                    </a:lnTo>
                    <a:lnTo>
                      <a:pt x="1590" y="1102"/>
                    </a:lnTo>
                    <a:lnTo>
                      <a:pt x="1576" y="1138"/>
                    </a:lnTo>
                    <a:lnTo>
                      <a:pt x="1560" y="1174"/>
                    </a:lnTo>
                    <a:lnTo>
                      <a:pt x="1541" y="1210"/>
                    </a:lnTo>
                    <a:lnTo>
                      <a:pt x="1521" y="1244"/>
                    </a:lnTo>
                    <a:lnTo>
                      <a:pt x="1500" y="1278"/>
                    </a:lnTo>
                    <a:lnTo>
                      <a:pt x="1477" y="1310"/>
                    </a:lnTo>
                    <a:lnTo>
                      <a:pt x="1452" y="1341"/>
                    </a:lnTo>
                    <a:lnTo>
                      <a:pt x="1427" y="1371"/>
                    </a:lnTo>
                    <a:lnTo>
                      <a:pt x="1400" y="1399"/>
                    </a:lnTo>
                    <a:lnTo>
                      <a:pt x="1371" y="1426"/>
                    </a:lnTo>
                    <a:lnTo>
                      <a:pt x="1342" y="1452"/>
                    </a:lnTo>
                    <a:lnTo>
                      <a:pt x="1311" y="1477"/>
                    </a:lnTo>
                    <a:lnTo>
                      <a:pt x="1279" y="1499"/>
                    </a:lnTo>
                    <a:lnTo>
                      <a:pt x="1245" y="1520"/>
                    </a:lnTo>
                    <a:lnTo>
                      <a:pt x="1211" y="1540"/>
                    </a:lnTo>
                    <a:lnTo>
                      <a:pt x="1175" y="1558"/>
                    </a:lnTo>
                    <a:lnTo>
                      <a:pt x="1139" y="1575"/>
                    </a:lnTo>
                    <a:lnTo>
                      <a:pt x="1102" y="1589"/>
                    </a:lnTo>
                    <a:lnTo>
                      <a:pt x="1063" y="1602"/>
                    </a:lnTo>
                    <a:lnTo>
                      <a:pt x="1025" y="1613"/>
                    </a:lnTo>
                    <a:lnTo>
                      <a:pt x="986" y="1623"/>
                    </a:lnTo>
                    <a:lnTo>
                      <a:pt x="945" y="1629"/>
                    </a:lnTo>
                    <a:lnTo>
                      <a:pt x="904" y="1635"/>
                    </a:lnTo>
                    <a:lnTo>
                      <a:pt x="863" y="1637"/>
                    </a:lnTo>
                    <a:lnTo>
                      <a:pt x="820" y="1638"/>
                    </a:lnTo>
                    <a:lnTo>
                      <a:pt x="778" y="1637"/>
                    </a:lnTo>
                    <a:lnTo>
                      <a:pt x="736" y="1635"/>
                    </a:lnTo>
                    <a:lnTo>
                      <a:pt x="695" y="1629"/>
                    </a:lnTo>
                    <a:lnTo>
                      <a:pt x="655" y="1623"/>
                    </a:lnTo>
                    <a:lnTo>
                      <a:pt x="615" y="1613"/>
                    </a:lnTo>
                    <a:lnTo>
                      <a:pt x="576" y="1602"/>
                    </a:lnTo>
                    <a:lnTo>
                      <a:pt x="539" y="1589"/>
                    </a:lnTo>
                    <a:lnTo>
                      <a:pt x="501" y="1575"/>
                    </a:lnTo>
                    <a:lnTo>
                      <a:pt x="465" y="1558"/>
                    </a:lnTo>
                    <a:lnTo>
                      <a:pt x="429" y="1540"/>
                    </a:lnTo>
                    <a:lnTo>
                      <a:pt x="395" y="1520"/>
                    </a:lnTo>
                    <a:lnTo>
                      <a:pt x="362" y="1499"/>
                    </a:lnTo>
                    <a:lnTo>
                      <a:pt x="330" y="1477"/>
                    </a:lnTo>
                    <a:lnTo>
                      <a:pt x="299" y="1452"/>
                    </a:lnTo>
                    <a:lnTo>
                      <a:pt x="270" y="1426"/>
                    </a:lnTo>
                    <a:lnTo>
                      <a:pt x="241" y="1399"/>
                    </a:lnTo>
                    <a:lnTo>
                      <a:pt x="214" y="1371"/>
                    </a:lnTo>
                    <a:lnTo>
                      <a:pt x="187" y="1341"/>
                    </a:lnTo>
                    <a:lnTo>
                      <a:pt x="163" y="1310"/>
                    </a:lnTo>
                    <a:lnTo>
                      <a:pt x="141" y="1278"/>
                    </a:lnTo>
                    <a:lnTo>
                      <a:pt x="119" y="1244"/>
                    </a:lnTo>
                    <a:lnTo>
                      <a:pt x="100" y="1210"/>
                    </a:lnTo>
                    <a:lnTo>
                      <a:pt x="81" y="1174"/>
                    </a:lnTo>
                    <a:lnTo>
                      <a:pt x="65" y="1138"/>
                    </a:lnTo>
                    <a:lnTo>
                      <a:pt x="51" y="1102"/>
                    </a:lnTo>
                    <a:lnTo>
                      <a:pt x="37" y="1063"/>
                    </a:lnTo>
                    <a:lnTo>
                      <a:pt x="27" y="1024"/>
                    </a:lnTo>
                    <a:lnTo>
                      <a:pt x="17" y="985"/>
                    </a:lnTo>
                    <a:lnTo>
                      <a:pt x="9" y="944"/>
                    </a:lnTo>
                    <a:lnTo>
                      <a:pt x="5" y="903"/>
                    </a:lnTo>
                    <a:lnTo>
                      <a:pt x="1" y="862"/>
                    </a:lnTo>
                    <a:lnTo>
                      <a:pt x="0" y="820"/>
                    </a:lnTo>
                    <a:lnTo>
                      <a:pt x="1" y="778"/>
                    </a:lnTo>
                    <a:lnTo>
                      <a:pt x="5" y="736"/>
                    </a:lnTo>
                    <a:lnTo>
                      <a:pt x="9" y="695"/>
                    </a:lnTo>
                    <a:lnTo>
                      <a:pt x="17" y="655"/>
                    </a:lnTo>
                    <a:lnTo>
                      <a:pt x="27" y="615"/>
                    </a:lnTo>
                    <a:lnTo>
                      <a:pt x="37" y="576"/>
                    </a:lnTo>
                    <a:lnTo>
                      <a:pt x="51" y="538"/>
                    </a:lnTo>
                    <a:lnTo>
                      <a:pt x="65" y="501"/>
                    </a:lnTo>
                    <a:lnTo>
                      <a:pt x="81" y="464"/>
                    </a:lnTo>
                    <a:lnTo>
                      <a:pt x="100" y="429"/>
                    </a:lnTo>
                    <a:lnTo>
                      <a:pt x="119" y="395"/>
                    </a:lnTo>
                    <a:lnTo>
                      <a:pt x="141" y="362"/>
                    </a:lnTo>
                    <a:lnTo>
                      <a:pt x="163" y="330"/>
                    </a:lnTo>
                    <a:lnTo>
                      <a:pt x="187" y="299"/>
                    </a:lnTo>
                    <a:lnTo>
                      <a:pt x="214" y="268"/>
                    </a:lnTo>
                    <a:lnTo>
                      <a:pt x="241" y="240"/>
                    </a:lnTo>
                    <a:lnTo>
                      <a:pt x="270" y="213"/>
                    </a:lnTo>
                    <a:lnTo>
                      <a:pt x="299" y="187"/>
                    </a:lnTo>
                    <a:lnTo>
                      <a:pt x="330" y="163"/>
                    </a:lnTo>
                    <a:lnTo>
                      <a:pt x="362" y="141"/>
                    </a:lnTo>
                    <a:lnTo>
                      <a:pt x="395" y="119"/>
                    </a:lnTo>
                    <a:lnTo>
                      <a:pt x="429" y="99"/>
                    </a:lnTo>
                    <a:lnTo>
                      <a:pt x="465" y="81"/>
                    </a:lnTo>
                    <a:lnTo>
                      <a:pt x="501" y="64"/>
                    </a:lnTo>
                    <a:lnTo>
                      <a:pt x="539" y="50"/>
                    </a:lnTo>
                    <a:lnTo>
                      <a:pt x="576" y="37"/>
                    </a:lnTo>
                    <a:lnTo>
                      <a:pt x="615" y="27"/>
                    </a:lnTo>
                    <a:lnTo>
                      <a:pt x="655" y="17"/>
                    </a:lnTo>
                    <a:lnTo>
                      <a:pt x="695" y="9"/>
                    </a:lnTo>
                    <a:lnTo>
                      <a:pt x="736" y="5"/>
                    </a:lnTo>
                    <a:lnTo>
                      <a:pt x="778" y="1"/>
                    </a:lnTo>
                    <a:lnTo>
                      <a:pt x="820" y="0"/>
                    </a:lnTo>
                    <a:close/>
                  </a:path>
                </a:pathLst>
              </a:custGeom>
              <a:solidFill>
                <a:schemeClr val="tx1">
                  <a:lumMod val="85000"/>
                  <a:lumOff val="1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50" name="Freeform 34"/>
              <p:cNvSpPr>
                <a:spLocks/>
              </p:cNvSpPr>
              <p:nvPr/>
            </p:nvSpPr>
            <p:spPr bwMode="auto">
              <a:xfrm>
                <a:off x="5951439" y="5105271"/>
                <a:ext cx="351507" cy="351507"/>
              </a:xfrm>
              <a:custGeom>
                <a:avLst/>
                <a:gdLst>
                  <a:gd name="T0" fmla="*/ 853 w 1548"/>
                  <a:gd name="T1" fmla="*/ 4 h 1547"/>
                  <a:gd name="T2" fmla="*/ 967 w 1548"/>
                  <a:gd name="T3" fmla="*/ 25 h 1547"/>
                  <a:gd name="T4" fmla="*/ 1076 w 1548"/>
                  <a:gd name="T5" fmla="*/ 61 h 1547"/>
                  <a:gd name="T6" fmla="*/ 1176 w 1548"/>
                  <a:gd name="T7" fmla="*/ 112 h 1547"/>
                  <a:gd name="T8" fmla="*/ 1266 w 1548"/>
                  <a:gd name="T9" fmla="*/ 177 h 1547"/>
                  <a:gd name="T10" fmla="*/ 1347 w 1548"/>
                  <a:gd name="T11" fmla="*/ 254 h 1547"/>
                  <a:gd name="T12" fmla="*/ 1415 w 1548"/>
                  <a:gd name="T13" fmla="*/ 341 h 1547"/>
                  <a:gd name="T14" fmla="*/ 1471 w 1548"/>
                  <a:gd name="T15" fmla="*/ 439 h 1547"/>
                  <a:gd name="T16" fmla="*/ 1514 w 1548"/>
                  <a:gd name="T17" fmla="*/ 544 h 1547"/>
                  <a:gd name="T18" fmla="*/ 1539 w 1548"/>
                  <a:gd name="T19" fmla="*/ 655 h 1547"/>
                  <a:gd name="T20" fmla="*/ 1548 w 1548"/>
                  <a:gd name="T21" fmla="*/ 774 h 1547"/>
                  <a:gd name="T22" fmla="*/ 1539 w 1548"/>
                  <a:gd name="T23" fmla="*/ 891 h 1547"/>
                  <a:gd name="T24" fmla="*/ 1514 w 1548"/>
                  <a:gd name="T25" fmla="*/ 1003 h 1547"/>
                  <a:gd name="T26" fmla="*/ 1471 w 1548"/>
                  <a:gd name="T27" fmla="*/ 1109 h 1547"/>
                  <a:gd name="T28" fmla="*/ 1415 w 1548"/>
                  <a:gd name="T29" fmla="*/ 1206 h 1547"/>
                  <a:gd name="T30" fmla="*/ 1347 w 1548"/>
                  <a:gd name="T31" fmla="*/ 1294 h 1547"/>
                  <a:gd name="T32" fmla="*/ 1266 w 1548"/>
                  <a:gd name="T33" fmla="*/ 1370 h 1547"/>
                  <a:gd name="T34" fmla="*/ 1176 w 1548"/>
                  <a:gd name="T35" fmla="*/ 1435 h 1547"/>
                  <a:gd name="T36" fmla="*/ 1076 w 1548"/>
                  <a:gd name="T37" fmla="*/ 1486 h 1547"/>
                  <a:gd name="T38" fmla="*/ 967 w 1548"/>
                  <a:gd name="T39" fmla="*/ 1523 h 1547"/>
                  <a:gd name="T40" fmla="*/ 853 w 1548"/>
                  <a:gd name="T41" fmla="*/ 1543 h 1547"/>
                  <a:gd name="T42" fmla="*/ 735 w 1548"/>
                  <a:gd name="T43" fmla="*/ 1546 h 1547"/>
                  <a:gd name="T44" fmla="*/ 618 w 1548"/>
                  <a:gd name="T45" fmla="*/ 1531 h 1547"/>
                  <a:gd name="T46" fmla="*/ 509 w 1548"/>
                  <a:gd name="T47" fmla="*/ 1500 h 1547"/>
                  <a:gd name="T48" fmla="*/ 405 w 1548"/>
                  <a:gd name="T49" fmla="*/ 1453 h 1547"/>
                  <a:gd name="T50" fmla="*/ 311 w 1548"/>
                  <a:gd name="T51" fmla="*/ 1393 h 1547"/>
                  <a:gd name="T52" fmla="*/ 227 w 1548"/>
                  <a:gd name="T53" fmla="*/ 1320 h 1547"/>
                  <a:gd name="T54" fmla="*/ 154 w 1548"/>
                  <a:gd name="T55" fmla="*/ 1237 h 1547"/>
                  <a:gd name="T56" fmla="*/ 94 w 1548"/>
                  <a:gd name="T57" fmla="*/ 1142 h 1547"/>
                  <a:gd name="T58" fmla="*/ 48 w 1548"/>
                  <a:gd name="T59" fmla="*/ 1040 h 1547"/>
                  <a:gd name="T60" fmla="*/ 16 w 1548"/>
                  <a:gd name="T61" fmla="*/ 929 h 1547"/>
                  <a:gd name="T62" fmla="*/ 1 w 1548"/>
                  <a:gd name="T63" fmla="*/ 814 h 1547"/>
                  <a:gd name="T64" fmla="*/ 5 w 1548"/>
                  <a:gd name="T65" fmla="*/ 694 h 1547"/>
                  <a:gd name="T66" fmla="*/ 25 w 1548"/>
                  <a:gd name="T67" fmla="*/ 580 h 1547"/>
                  <a:gd name="T68" fmla="*/ 62 w 1548"/>
                  <a:gd name="T69" fmla="*/ 473 h 1547"/>
                  <a:gd name="T70" fmla="*/ 113 w 1548"/>
                  <a:gd name="T71" fmla="*/ 373 h 1547"/>
                  <a:gd name="T72" fmla="*/ 177 w 1548"/>
                  <a:gd name="T73" fmla="*/ 281 h 1547"/>
                  <a:gd name="T74" fmla="*/ 254 w 1548"/>
                  <a:gd name="T75" fmla="*/ 202 h 1547"/>
                  <a:gd name="T76" fmla="*/ 341 w 1548"/>
                  <a:gd name="T77" fmla="*/ 132 h 1547"/>
                  <a:gd name="T78" fmla="*/ 439 w 1548"/>
                  <a:gd name="T79" fmla="*/ 76 h 1547"/>
                  <a:gd name="T80" fmla="*/ 544 w 1548"/>
                  <a:gd name="T81" fmla="*/ 35 h 1547"/>
                  <a:gd name="T82" fmla="*/ 656 w 1548"/>
                  <a:gd name="T83" fmla="*/ 9 h 1547"/>
                  <a:gd name="T84" fmla="*/ 774 w 1548"/>
                  <a:gd name="T85" fmla="*/ 0 h 15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548" h="1547">
                    <a:moveTo>
                      <a:pt x="774" y="0"/>
                    </a:moveTo>
                    <a:lnTo>
                      <a:pt x="814" y="1"/>
                    </a:lnTo>
                    <a:lnTo>
                      <a:pt x="853" y="4"/>
                    </a:lnTo>
                    <a:lnTo>
                      <a:pt x="892" y="9"/>
                    </a:lnTo>
                    <a:lnTo>
                      <a:pt x="930" y="16"/>
                    </a:lnTo>
                    <a:lnTo>
                      <a:pt x="967" y="25"/>
                    </a:lnTo>
                    <a:lnTo>
                      <a:pt x="1004" y="35"/>
                    </a:lnTo>
                    <a:lnTo>
                      <a:pt x="1040" y="47"/>
                    </a:lnTo>
                    <a:lnTo>
                      <a:pt x="1076" y="61"/>
                    </a:lnTo>
                    <a:lnTo>
                      <a:pt x="1110" y="76"/>
                    </a:lnTo>
                    <a:lnTo>
                      <a:pt x="1143" y="93"/>
                    </a:lnTo>
                    <a:lnTo>
                      <a:pt x="1176" y="112"/>
                    </a:lnTo>
                    <a:lnTo>
                      <a:pt x="1207" y="132"/>
                    </a:lnTo>
                    <a:lnTo>
                      <a:pt x="1238" y="154"/>
                    </a:lnTo>
                    <a:lnTo>
                      <a:pt x="1266" y="177"/>
                    </a:lnTo>
                    <a:lnTo>
                      <a:pt x="1295" y="202"/>
                    </a:lnTo>
                    <a:lnTo>
                      <a:pt x="1321" y="227"/>
                    </a:lnTo>
                    <a:lnTo>
                      <a:pt x="1347" y="254"/>
                    </a:lnTo>
                    <a:lnTo>
                      <a:pt x="1371" y="281"/>
                    </a:lnTo>
                    <a:lnTo>
                      <a:pt x="1394" y="311"/>
                    </a:lnTo>
                    <a:lnTo>
                      <a:pt x="1415" y="341"/>
                    </a:lnTo>
                    <a:lnTo>
                      <a:pt x="1436" y="373"/>
                    </a:lnTo>
                    <a:lnTo>
                      <a:pt x="1454" y="405"/>
                    </a:lnTo>
                    <a:lnTo>
                      <a:pt x="1471" y="439"/>
                    </a:lnTo>
                    <a:lnTo>
                      <a:pt x="1487" y="473"/>
                    </a:lnTo>
                    <a:lnTo>
                      <a:pt x="1501" y="507"/>
                    </a:lnTo>
                    <a:lnTo>
                      <a:pt x="1514" y="544"/>
                    </a:lnTo>
                    <a:lnTo>
                      <a:pt x="1524" y="580"/>
                    </a:lnTo>
                    <a:lnTo>
                      <a:pt x="1532" y="618"/>
                    </a:lnTo>
                    <a:lnTo>
                      <a:pt x="1539" y="655"/>
                    </a:lnTo>
                    <a:lnTo>
                      <a:pt x="1544" y="694"/>
                    </a:lnTo>
                    <a:lnTo>
                      <a:pt x="1547" y="734"/>
                    </a:lnTo>
                    <a:lnTo>
                      <a:pt x="1548" y="774"/>
                    </a:lnTo>
                    <a:lnTo>
                      <a:pt x="1547" y="814"/>
                    </a:lnTo>
                    <a:lnTo>
                      <a:pt x="1544" y="853"/>
                    </a:lnTo>
                    <a:lnTo>
                      <a:pt x="1539" y="891"/>
                    </a:lnTo>
                    <a:lnTo>
                      <a:pt x="1532" y="929"/>
                    </a:lnTo>
                    <a:lnTo>
                      <a:pt x="1524" y="967"/>
                    </a:lnTo>
                    <a:lnTo>
                      <a:pt x="1514" y="1003"/>
                    </a:lnTo>
                    <a:lnTo>
                      <a:pt x="1501" y="1040"/>
                    </a:lnTo>
                    <a:lnTo>
                      <a:pt x="1487" y="1075"/>
                    </a:lnTo>
                    <a:lnTo>
                      <a:pt x="1471" y="1109"/>
                    </a:lnTo>
                    <a:lnTo>
                      <a:pt x="1454" y="1142"/>
                    </a:lnTo>
                    <a:lnTo>
                      <a:pt x="1436" y="1174"/>
                    </a:lnTo>
                    <a:lnTo>
                      <a:pt x="1415" y="1206"/>
                    </a:lnTo>
                    <a:lnTo>
                      <a:pt x="1394" y="1237"/>
                    </a:lnTo>
                    <a:lnTo>
                      <a:pt x="1371" y="1265"/>
                    </a:lnTo>
                    <a:lnTo>
                      <a:pt x="1347" y="1294"/>
                    </a:lnTo>
                    <a:lnTo>
                      <a:pt x="1321" y="1320"/>
                    </a:lnTo>
                    <a:lnTo>
                      <a:pt x="1295" y="1346"/>
                    </a:lnTo>
                    <a:lnTo>
                      <a:pt x="1266" y="1370"/>
                    </a:lnTo>
                    <a:lnTo>
                      <a:pt x="1238" y="1393"/>
                    </a:lnTo>
                    <a:lnTo>
                      <a:pt x="1207" y="1415"/>
                    </a:lnTo>
                    <a:lnTo>
                      <a:pt x="1176" y="1435"/>
                    </a:lnTo>
                    <a:lnTo>
                      <a:pt x="1143" y="1453"/>
                    </a:lnTo>
                    <a:lnTo>
                      <a:pt x="1110" y="1470"/>
                    </a:lnTo>
                    <a:lnTo>
                      <a:pt x="1076" y="1486"/>
                    </a:lnTo>
                    <a:lnTo>
                      <a:pt x="1040" y="1500"/>
                    </a:lnTo>
                    <a:lnTo>
                      <a:pt x="1004" y="1513"/>
                    </a:lnTo>
                    <a:lnTo>
                      <a:pt x="967" y="1523"/>
                    </a:lnTo>
                    <a:lnTo>
                      <a:pt x="930" y="1531"/>
                    </a:lnTo>
                    <a:lnTo>
                      <a:pt x="892" y="1538"/>
                    </a:lnTo>
                    <a:lnTo>
                      <a:pt x="853" y="1543"/>
                    </a:lnTo>
                    <a:lnTo>
                      <a:pt x="814" y="1546"/>
                    </a:lnTo>
                    <a:lnTo>
                      <a:pt x="774" y="1547"/>
                    </a:lnTo>
                    <a:lnTo>
                      <a:pt x="735" y="1546"/>
                    </a:lnTo>
                    <a:lnTo>
                      <a:pt x="695" y="1543"/>
                    </a:lnTo>
                    <a:lnTo>
                      <a:pt x="656" y="1538"/>
                    </a:lnTo>
                    <a:lnTo>
                      <a:pt x="618" y="1531"/>
                    </a:lnTo>
                    <a:lnTo>
                      <a:pt x="581" y="1523"/>
                    </a:lnTo>
                    <a:lnTo>
                      <a:pt x="544" y="1513"/>
                    </a:lnTo>
                    <a:lnTo>
                      <a:pt x="509" y="1500"/>
                    </a:lnTo>
                    <a:lnTo>
                      <a:pt x="473" y="1486"/>
                    </a:lnTo>
                    <a:lnTo>
                      <a:pt x="439" y="1470"/>
                    </a:lnTo>
                    <a:lnTo>
                      <a:pt x="405" y="1453"/>
                    </a:lnTo>
                    <a:lnTo>
                      <a:pt x="373" y="1435"/>
                    </a:lnTo>
                    <a:lnTo>
                      <a:pt x="341" y="1415"/>
                    </a:lnTo>
                    <a:lnTo>
                      <a:pt x="311" y="1393"/>
                    </a:lnTo>
                    <a:lnTo>
                      <a:pt x="282" y="1370"/>
                    </a:lnTo>
                    <a:lnTo>
                      <a:pt x="254" y="1346"/>
                    </a:lnTo>
                    <a:lnTo>
                      <a:pt x="227" y="1320"/>
                    </a:lnTo>
                    <a:lnTo>
                      <a:pt x="202" y="1294"/>
                    </a:lnTo>
                    <a:lnTo>
                      <a:pt x="177" y="1265"/>
                    </a:lnTo>
                    <a:lnTo>
                      <a:pt x="154" y="1237"/>
                    </a:lnTo>
                    <a:lnTo>
                      <a:pt x="132" y="1206"/>
                    </a:lnTo>
                    <a:lnTo>
                      <a:pt x="113" y="1174"/>
                    </a:lnTo>
                    <a:lnTo>
                      <a:pt x="94" y="1142"/>
                    </a:lnTo>
                    <a:lnTo>
                      <a:pt x="76" y="1109"/>
                    </a:lnTo>
                    <a:lnTo>
                      <a:pt x="62" y="1075"/>
                    </a:lnTo>
                    <a:lnTo>
                      <a:pt x="48" y="1040"/>
                    </a:lnTo>
                    <a:lnTo>
                      <a:pt x="35" y="1003"/>
                    </a:lnTo>
                    <a:lnTo>
                      <a:pt x="25" y="967"/>
                    </a:lnTo>
                    <a:lnTo>
                      <a:pt x="16" y="929"/>
                    </a:lnTo>
                    <a:lnTo>
                      <a:pt x="9" y="891"/>
                    </a:lnTo>
                    <a:lnTo>
                      <a:pt x="5" y="853"/>
                    </a:lnTo>
                    <a:lnTo>
                      <a:pt x="1" y="814"/>
                    </a:lnTo>
                    <a:lnTo>
                      <a:pt x="0" y="774"/>
                    </a:lnTo>
                    <a:lnTo>
                      <a:pt x="1" y="734"/>
                    </a:lnTo>
                    <a:lnTo>
                      <a:pt x="5" y="694"/>
                    </a:lnTo>
                    <a:lnTo>
                      <a:pt x="9" y="655"/>
                    </a:lnTo>
                    <a:lnTo>
                      <a:pt x="16" y="618"/>
                    </a:lnTo>
                    <a:lnTo>
                      <a:pt x="25" y="580"/>
                    </a:lnTo>
                    <a:lnTo>
                      <a:pt x="35" y="544"/>
                    </a:lnTo>
                    <a:lnTo>
                      <a:pt x="48" y="507"/>
                    </a:lnTo>
                    <a:lnTo>
                      <a:pt x="62" y="473"/>
                    </a:lnTo>
                    <a:lnTo>
                      <a:pt x="76" y="439"/>
                    </a:lnTo>
                    <a:lnTo>
                      <a:pt x="94" y="405"/>
                    </a:lnTo>
                    <a:lnTo>
                      <a:pt x="113" y="373"/>
                    </a:lnTo>
                    <a:lnTo>
                      <a:pt x="132" y="341"/>
                    </a:lnTo>
                    <a:lnTo>
                      <a:pt x="154" y="311"/>
                    </a:lnTo>
                    <a:lnTo>
                      <a:pt x="177" y="281"/>
                    </a:lnTo>
                    <a:lnTo>
                      <a:pt x="202" y="254"/>
                    </a:lnTo>
                    <a:lnTo>
                      <a:pt x="227" y="227"/>
                    </a:lnTo>
                    <a:lnTo>
                      <a:pt x="254" y="202"/>
                    </a:lnTo>
                    <a:lnTo>
                      <a:pt x="282" y="177"/>
                    </a:lnTo>
                    <a:lnTo>
                      <a:pt x="311" y="154"/>
                    </a:lnTo>
                    <a:lnTo>
                      <a:pt x="341" y="132"/>
                    </a:lnTo>
                    <a:lnTo>
                      <a:pt x="373" y="112"/>
                    </a:lnTo>
                    <a:lnTo>
                      <a:pt x="405" y="93"/>
                    </a:lnTo>
                    <a:lnTo>
                      <a:pt x="439" y="76"/>
                    </a:lnTo>
                    <a:lnTo>
                      <a:pt x="473" y="61"/>
                    </a:lnTo>
                    <a:lnTo>
                      <a:pt x="509" y="47"/>
                    </a:lnTo>
                    <a:lnTo>
                      <a:pt x="544" y="35"/>
                    </a:lnTo>
                    <a:lnTo>
                      <a:pt x="581" y="25"/>
                    </a:lnTo>
                    <a:lnTo>
                      <a:pt x="618" y="16"/>
                    </a:lnTo>
                    <a:lnTo>
                      <a:pt x="656" y="9"/>
                    </a:lnTo>
                    <a:lnTo>
                      <a:pt x="695" y="4"/>
                    </a:lnTo>
                    <a:lnTo>
                      <a:pt x="735" y="1"/>
                    </a:lnTo>
                    <a:lnTo>
                      <a:pt x="774" y="0"/>
                    </a:lnTo>
                    <a:close/>
                  </a:path>
                </a:pathLst>
              </a:custGeom>
              <a:gradFill>
                <a:gsLst>
                  <a:gs pos="67000">
                    <a:schemeClr val="tx1"/>
                  </a:gs>
                  <a:gs pos="8000">
                    <a:schemeClr val="tx1">
                      <a:lumMod val="65000"/>
                      <a:lumOff val="35000"/>
                    </a:schemeClr>
                  </a:gs>
                </a:gsLst>
                <a:lin ang="0" scaled="1"/>
              </a:gra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51" name="Freeform 35"/>
              <p:cNvSpPr>
                <a:spLocks noEditPoints="1"/>
              </p:cNvSpPr>
              <p:nvPr/>
            </p:nvSpPr>
            <p:spPr bwMode="auto">
              <a:xfrm>
                <a:off x="6059071" y="5211540"/>
                <a:ext cx="137606" cy="137606"/>
              </a:xfrm>
              <a:custGeom>
                <a:avLst/>
                <a:gdLst>
                  <a:gd name="T0" fmla="*/ 470 w 608"/>
                  <a:gd name="T1" fmla="*/ 1 h 609"/>
                  <a:gd name="T2" fmla="*/ 514 w 608"/>
                  <a:gd name="T3" fmla="*/ 13 h 609"/>
                  <a:gd name="T4" fmla="*/ 552 w 608"/>
                  <a:gd name="T5" fmla="*/ 36 h 609"/>
                  <a:gd name="T6" fmla="*/ 563 w 608"/>
                  <a:gd name="T7" fmla="*/ 46 h 609"/>
                  <a:gd name="T8" fmla="*/ 589 w 608"/>
                  <a:gd name="T9" fmla="*/ 81 h 609"/>
                  <a:gd name="T10" fmla="*/ 604 w 608"/>
                  <a:gd name="T11" fmla="*/ 123 h 609"/>
                  <a:gd name="T12" fmla="*/ 608 w 608"/>
                  <a:gd name="T13" fmla="*/ 455 h 609"/>
                  <a:gd name="T14" fmla="*/ 601 w 608"/>
                  <a:gd name="T15" fmla="*/ 501 h 609"/>
                  <a:gd name="T16" fmla="*/ 581 w 608"/>
                  <a:gd name="T17" fmla="*/ 541 h 609"/>
                  <a:gd name="T18" fmla="*/ 552 w 608"/>
                  <a:gd name="T19" fmla="*/ 574 h 609"/>
                  <a:gd name="T20" fmla="*/ 514 w 608"/>
                  <a:gd name="T21" fmla="*/ 597 h 609"/>
                  <a:gd name="T22" fmla="*/ 470 w 608"/>
                  <a:gd name="T23" fmla="*/ 608 h 609"/>
                  <a:gd name="T24" fmla="*/ 138 w 608"/>
                  <a:gd name="T25" fmla="*/ 608 h 609"/>
                  <a:gd name="T26" fmla="*/ 93 w 608"/>
                  <a:gd name="T27" fmla="*/ 597 h 609"/>
                  <a:gd name="T28" fmla="*/ 55 w 608"/>
                  <a:gd name="T29" fmla="*/ 574 h 609"/>
                  <a:gd name="T30" fmla="*/ 35 w 608"/>
                  <a:gd name="T31" fmla="*/ 553 h 609"/>
                  <a:gd name="T32" fmla="*/ 11 w 608"/>
                  <a:gd name="T33" fmla="*/ 514 h 609"/>
                  <a:gd name="T34" fmla="*/ 0 w 608"/>
                  <a:gd name="T35" fmla="*/ 471 h 609"/>
                  <a:gd name="T36" fmla="*/ 0 w 608"/>
                  <a:gd name="T37" fmla="*/ 138 h 609"/>
                  <a:gd name="T38" fmla="*/ 11 w 608"/>
                  <a:gd name="T39" fmla="*/ 95 h 609"/>
                  <a:gd name="T40" fmla="*/ 35 w 608"/>
                  <a:gd name="T41" fmla="*/ 57 h 609"/>
                  <a:gd name="T42" fmla="*/ 67 w 608"/>
                  <a:gd name="T43" fmla="*/ 28 h 609"/>
                  <a:gd name="T44" fmla="*/ 107 w 608"/>
                  <a:gd name="T45" fmla="*/ 8 h 609"/>
                  <a:gd name="T46" fmla="*/ 152 w 608"/>
                  <a:gd name="T47" fmla="*/ 0 h 609"/>
                  <a:gd name="T48" fmla="*/ 143 w 608"/>
                  <a:gd name="T49" fmla="*/ 61 h 609"/>
                  <a:gd name="T50" fmla="*/ 116 w 608"/>
                  <a:gd name="T51" fmla="*/ 68 h 609"/>
                  <a:gd name="T52" fmla="*/ 93 w 608"/>
                  <a:gd name="T53" fmla="*/ 81 h 609"/>
                  <a:gd name="T54" fmla="*/ 75 w 608"/>
                  <a:gd name="T55" fmla="*/ 102 h 609"/>
                  <a:gd name="T56" fmla="*/ 62 w 608"/>
                  <a:gd name="T57" fmla="*/ 127 h 609"/>
                  <a:gd name="T58" fmla="*/ 58 w 608"/>
                  <a:gd name="T59" fmla="*/ 154 h 609"/>
                  <a:gd name="T60" fmla="*/ 60 w 608"/>
                  <a:gd name="T61" fmla="*/ 475 h 609"/>
                  <a:gd name="T62" fmla="*/ 69 w 608"/>
                  <a:gd name="T63" fmla="*/ 501 h 609"/>
                  <a:gd name="T64" fmla="*/ 86 w 608"/>
                  <a:gd name="T65" fmla="*/ 522 h 609"/>
                  <a:gd name="T66" fmla="*/ 108 w 608"/>
                  <a:gd name="T67" fmla="*/ 538 h 609"/>
                  <a:gd name="T68" fmla="*/ 134 w 608"/>
                  <a:gd name="T69" fmla="*/ 547 h 609"/>
                  <a:gd name="T70" fmla="*/ 454 w 608"/>
                  <a:gd name="T71" fmla="*/ 550 h 609"/>
                  <a:gd name="T72" fmla="*/ 482 w 608"/>
                  <a:gd name="T73" fmla="*/ 545 h 609"/>
                  <a:gd name="T74" fmla="*/ 507 w 608"/>
                  <a:gd name="T75" fmla="*/ 534 h 609"/>
                  <a:gd name="T76" fmla="*/ 527 w 608"/>
                  <a:gd name="T77" fmla="*/ 516 h 609"/>
                  <a:gd name="T78" fmla="*/ 541 w 608"/>
                  <a:gd name="T79" fmla="*/ 492 h 609"/>
                  <a:gd name="T80" fmla="*/ 548 w 608"/>
                  <a:gd name="T81" fmla="*/ 465 h 609"/>
                  <a:gd name="T82" fmla="*/ 548 w 608"/>
                  <a:gd name="T83" fmla="*/ 145 h 609"/>
                  <a:gd name="T84" fmla="*/ 541 w 608"/>
                  <a:gd name="T85" fmla="*/ 118 h 609"/>
                  <a:gd name="T86" fmla="*/ 527 w 608"/>
                  <a:gd name="T87" fmla="*/ 94 h 609"/>
                  <a:gd name="T88" fmla="*/ 514 w 608"/>
                  <a:gd name="T89" fmla="*/ 81 h 609"/>
                  <a:gd name="T90" fmla="*/ 491 w 608"/>
                  <a:gd name="T91" fmla="*/ 68 h 609"/>
                  <a:gd name="T92" fmla="*/ 464 w 608"/>
                  <a:gd name="T93" fmla="*/ 61 h 6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608" h="609">
                    <a:moveTo>
                      <a:pt x="152" y="0"/>
                    </a:moveTo>
                    <a:lnTo>
                      <a:pt x="454" y="0"/>
                    </a:lnTo>
                    <a:lnTo>
                      <a:pt x="470" y="1"/>
                    </a:lnTo>
                    <a:lnTo>
                      <a:pt x="484" y="4"/>
                    </a:lnTo>
                    <a:lnTo>
                      <a:pt x="499" y="8"/>
                    </a:lnTo>
                    <a:lnTo>
                      <a:pt x="514" y="13"/>
                    </a:lnTo>
                    <a:lnTo>
                      <a:pt x="527" y="20"/>
                    </a:lnTo>
                    <a:lnTo>
                      <a:pt x="539" y="28"/>
                    </a:lnTo>
                    <a:lnTo>
                      <a:pt x="552" y="36"/>
                    </a:lnTo>
                    <a:lnTo>
                      <a:pt x="562" y="46"/>
                    </a:lnTo>
                    <a:lnTo>
                      <a:pt x="562" y="46"/>
                    </a:lnTo>
                    <a:lnTo>
                      <a:pt x="563" y="46"/>
                    </a:lnTo>
                    <a:lnTo>
                      <a:pt x="572" y="57"/>
                    </a:lnTo>
                    <a:lnTo>
                      <a:pt x="581" y="69"/>
                    </a:lnTo>
                    <a:lnTo>
                      <a:pt x="589" y="81"/>
                    </a:lnTo>
                    <a:lnTo>
                      <a:pt x="595" y="95"/>
                    </a:lnTo>
                    <a:lnTo>
                      <a:pt x="601" y="109"/>
                    </a:lnTo>
                    <a:lnTo>
                      <a:pt x="604" y="123"/>
                    </a:lnTo>
                    <a:lnTo>
                      <a:pt x="606" y="138"/>
                    </a:lnTo>
                    <a:lnTo>
                      <a:pt x="608" y="154"/>
                    </a:lnTo>
                    <a:lnTo>
                      <a:pt x="608" y="455"/>
                    </a:lnTo>
                    <a:lnTo>
                      <a:pt x="606" y="471"/>
                    </a:lnTo>
                    <a:lnTo>
                      <a:pt x="604" y="486"/>
                    </a:lnTo>
                    <a:lnTo>
                      <a:pt x="601" y="501"/>
                    </a:lnTo>
                    <a:lnTo>
                      <a:pt x="595" y="514"/>
                    </a:lnTo>
                    <a:lnTo>
                      <a:pt x="589" y="528"/>
                    </a:lnTo>
                    <a:lnTo>
                      <a:pt x="581" y="541"/>
                    </a:lnTo>
                    <a:lnTo>
                      <a:pt x="572" y="553"/>
                    </a:lnTo>
                    <a:lnTo>
                      <a:pt x="563" y="563"/>
                    </a:lnTo>
                    <a:lnTo>
                      <a:pt x="552" y="574"/>
                    </a:lnTo>
                    <a:lnTo>
                      <a:pt x="540" y="583"/>
                    </a:lnTo>
                    <a:lnTo>
                      <a:pt x="527" y="590"/>
                    </a:lnTo>
                    <a:lnTo>
                      <a:pt x="514" y="597"/>
                    </a:lnTo>
                    <a:lnTo>
                      <a:pt x="499" y="602"/>
                    </a:lnTo>
                    <a:lnTo>
                      <a:pt x="484" y="606"/>
                    </a:lnTo>
                    <a:lnTo>
                      <a:pt x="470" y="608"/>
                    </a:lnTo>
                    <a:lnTo>
                      <a:pt x="454" y="609"/>
                    </a:lnTo>
                    <a:lnTo>
                      <a:pt x="152" y="609"/>
                    </a:lnTo>
                    <a:lnTo>
                      <a:pt x="138" y="608"/>
                    </a:lnTo>
                    <a:lnTo>
                      <a:pt x="122" y="606"/>
                    </a:lnTo>
                    <a:lnTo>
                      <a:pt x="108" y="602"/>
                    </a:lnTo>
                    <a:lnTo>
                      <a:pt x="93" y="597"/>
                    </a:lnTo>
                    <a:lnTo>
                      <a:pt x="79" y="590"/>
                    </a:lnTo>
                    <a:lnTo>
                      <a:pt x="67" y="583"/>
                    </a:lnTo>
                    <a:lnTo>
                      <a:pt x="55" y="574"/>
                    </a:lnTo>
                    <a:lnTo>
                      <a:pt x="44" y="563"/>
                    </a:lnTo>
                    <a:lnTo>
                      <a:pt x="44" y="563"/>
                    </a:lnTo>
                    <a:lnTo>
                      <a:pt x="35" y="553"/>
                    </a:lnTo>
                    <a:lnTo>
                      <a:pt x="26" y="541"/>
                    </a:lnTo>
                    <a:lnTo>
                      <a:pt x="18" y="528"/>
                    </a:lnTo>
                    <a:lnTo>
                      <a:pt x="11" y="514"/>
                    </a:lnTo>
                    <a:lnTo>
                      <a:pt x="6" y="501"/>
                    </a:lnTo>
                    <a:lnTo>
                      <a:pt x="2" y="486"/>
                    </a:lnTo>
                    <a:lnTo>
                      <a:pt x="0" y="471"/>
                    </a:lnTo>
                    <a:lnTo>
                      <a:pt x="0" y="455"/>
                    </a:lnTo>
                    <a:lnTo>
                      <a:pt x="0" y="154"/>
                    </a:lnTo>
                    <a:lnTo>
                      <a:pt x="0" y="138"/>
                    </a:lnTo>
                    <a:lnTo>
                      <a:pt x="2" y="123"/>
                    </a:lnTo>
                    <a:lnTo>
                      <a:pt x="6" y="109"/>
                    </a:lnTo>
                    <a:lnTo>
                      <a:pt x="11" y="95"/>
                    </a:lnTo>
                    <a:lnTo>
                      <a:pt x="18" y="81"/>
                    </a:lnTo>
                    <a:lnTo>
                      <a:pt x="26" y="69"/>
                    </a:lnTo>
                    <a:lnTo>
                      <a:pt x="35" y="57"/>
                    </a:lnTo>
                    <a:lnTo>
                      <a:pt x="44" y="46"/>
                    </a:lnTo>
                    <a:lnTo>
                      <a:pt x="55" y="36"/>
                    </a:lnTo>
                    <a:lnTo>
                      <a:pt x="67" y="28"/>
                    </a:lnTo>
                    <a:lnTo>
                      <a:pt x="79" y="20"/>
                    </a:lnTo>
                    <a:lnTo>
                      <a:pt x="93" y="13"/>
                    </a:lnTo>
                    <a:lnTo>
                      <a:pt x="107" y="8"/>
                    </a:lnTo>
                    <a:lnTo>
                      <a:pt x="122" y="4"/>
                    </a:lnTo>
                    <a:lnTo>
                      <a:pt x="138" y="1"/>
                    </a:lnTo>
                    <a:lnTo>
                      <a:pt x="152" y="0"/>
                    </a:lnTo>
                    <a:close/>
                    <a:moveTo>
                      <a:pt x="454" y="60"/>
                    </a:moveTo>
                    <a:lnTo>
                      <a:pt x="152" y="60"/>
                    </a:lnTo>
                    <a:lnTo>
                      <a:pt x="143" y="61"/>
                    </a:lnTo>
                    <a:lnTo>
                      <a:pt x="134" y="62"/>
                    </a:lnTo>
                    <a:lnTo>
                      <a:pt x="125" y="64"/>
                    </a:lnTo>
                    <a:lnTo>
                      <a:pt x="116" y="68"/>
                    </a:lnTo>
                    <a:lnTo>
                      <a:pt x="108" y="71"/>
                    </a:lnTo>
                    <a:lnTo>
                      <a:pt x="100" y="76"/>
                    </a:lnTo>
                    <a:lnTo>
                      <a:pt x="93" y="81"/>
                    </a:lnTo>
                    <a:lnTo>
                      <a:pt x="86" y="88"/>
                    </a:lnTo>
                    <a:lnTo>
                      <a:pt x="79" y="94"/>
                    </a:lnTo>
                    <a:lnTo>
                      <a:pt x="75" y="102"/>
                    </a:lnTo>
                    <a:lnTo>
                      <a:pt x="69" y="110"/>
                    </a:lnTo>
                    <a:lnTo>
                      <a:pt x="66" y="118"/>
                    </a:lnTo>
                    <a:lnTo>
                      <a:pt x="62" y="127"/>
                    </a:lnTo>
                    <a:lnTo>
                      <a:pt x="60" y="135"/>
                    </a:lnTo>
                    <a:lnTo>
                      <a:pt x="59" y="145"/>
                    </a:lnTo>
                    <a:lnTo>
                      <a:pt x="58" y="154"/>
                    </a:lnTo>
                    <a:lnTo>
                      <a:pt x="58" y="455"/>
                    </a:lnTo>
                    <a:lnTo>
                      <a:pt x="59" y="465"/>
                    </a:lnTo>
                    <a:lnTo>
                      <a:pt x="60" y="475"/>
                    </a:lnTo>
                    <a:lnTo>
                      <a:pt x="62" y="484"/>
                    </a:lnTo>
                    <a:lnTo>
                      <a:pt x="66" y="492"/>
                    </a:lnTo>
                    <a:lnTo>
                      <a:pt x="69" y="501"/>
                    </a:lnTo>
                    <a:lnTo>
                      <a:pt x="75" y="509"/>
                    </a:lnTo>
                    <a:lnTo>
                      <a:pt x="79" y="516"/>
                    </a:lnTo>
                    <a:lnTo>
                      <a:pt x="86" y="522"/>
                    </a:lnTo>
                    <a:lnTo>
                      <a:pt x="93" y="528"/>
                    </a:lnTo>
                    <a:lnTo>
                      <a:pt x="100" y="534"/>
                    </a:lnTo>
                    <a:lnTo>
                      <a:pt x="108" y="538"/>
                    </a:lnTo>
                    <a:lnTo>
                      <a:pt x="116" y="543"/>
                    </a:lnTo>
                    <a:lnTo>
                      <a:pt x="125" y="545"/>
                    </a:lnTo>
                    <a:lnTo>
                      <a:pt x="134" y="547"/>
                    </a:lnTo>
                    <a:lnTo>
                      <a:pt x="143" y="550"/>
                    </a:lnTo>
                    <a:lnTo>
                      <a:pt x="152" y="550"/>
                    </a:lnTo>
                    <a:lnTo>
                      <a:pt x="454" y="550"/>
                    </a:lnTo>
                    <a:lnTo>
                      <a:pt x="464" y="550"/>
                    </a:lnTo>
                    <a:lnTo>
                      <a:pt x="473" y="547"/>
                    </a:lnTo>
                    <a:lnTo>
                      <a:pt x="482" y="545"/>
                    </a:lnTo>
                    <a:lnTo>
                      <a:pt x="491" y="543"/>
                    </a:lnTo>
                    <a:lnTo>
                      <a:pt x="499" y="538"/>
                    </a:lnTo>
                    <a:lnTo>
                      <a:pt x="507" y="534"/>
                    </a:lnTo>
                    <a:lnTo>
                      <a:pt x="514" y="528"/>
                    </a:lnTo>
                    <a:lnTo>
                      <a:pt x="521" y="522"/>
                    </a:lnTo>
                    <a:lnTo>
                      <a:pt x="527" y="516"/>
                    </a:lnTo>
                    <a:lnTo>
                      <a:pt x="532" y="508"/>
                    </a:lnTo>
                    <a:lnTo>
                      <a:pt x="537" y="501"/>
                    </a:lnTo>
                    <a:lnTo>
                      <a:pt x="541" y="492"/>
                    </a:lnTo>
                    <a:lnTo>
                      <a:pt x="545" y="484"/>
                    </a:lnTo>
                    <a:lnTo>
                      <a:pt x="547" y="475"/>
                    </a:lnTo>
                    <a:lnTo>
                      <a:pt x="548" y="465"/>
                    </a:lnTo>
                    <a:lnTo>
                      <a:pt x="548" y="455"/>
                    </a:lnTo>
                    <a:lnTo>
                      <a:pt x="548" y="154"/>
                    </a:lnTo>
                    <a:lnTo>
                      <a:pt x="548" y="145"/>
                    </a:lnTo>
                    <a:lnTo>
                      <a:pt x="547" y="135"/>
                    </a:lnTo>
                    <a:lnTo>
                      <a:pt x="545" y="126"/>
                    </a:lnTo>
                    <a:lnTo>
                      <a:pt x="541" y="118"/>
                    </a:lnTo>
                    <a:lnTo>
                      <a:pt x="537" y="110"/>
                    </a:lnTo>
                    <a:lnTo>
                      <a:pt x="532" y="102"/>
                    </a:lnTo>
                    <a:lnTo>
                      <a:pt x="527" y="94"/>
                    </a:lnTo>
                    <a:lnTo>
                      <a:pt x="521" y="88"/>
                    </a:lnTo>
                    <a:lnTo>
                      <a:pt x="521" y="87"/>
                    </a:lnTo>
                    <a:lnTo>
                      <a:pt x="514" y="81"/>
                    </a:lnTo>
                    <a:lnTo>
                      <a:pt x="507" y="76"/>
                    </a:lnTo>
                    <a:lnTo>
                      <a:pt x="499" y="71"/>
                    </a:lnTo>
                    <a:lnTo>
                      <a:pt x="491" y="68"/>
                    </a:lnTo>
                    <a:lnTo>
                      <a:pt x="482" y="64"/>
                    </a:lnTo>
                    <a:lnTo>
                      <a:pt x="473" y="62"/>
                    </a:lnTo>
                    <a:lnTo>
                      <a:pt x="464" y="61"/>
                    </a:lnTo>
                    <a:lnTo>
                      <a:pt x="454" y="60"/>
                    </a:lnTo>
                    <a:close/>
                  </a:path>
                </a:pathLst>
              </a:custGeom>
              <a:gradFill flip="none" rotWithShape="1">
                <a:gsLst>
                  <a:gs pos="46000">
                    <a:srgbClr val="FFFFFF"/>
                  </a:gs>
                  <a:gs pos="56000">
                    <a:schemeClr val="bg1">
                      <a:alpha val="45000"/>
                    </a:schemeClr>
                  </a:gs>
                  <a:gs pos="100000">
                    <a:srgbClr val="FFFFFF"/>
                  </a:gs>
                  <a:gs pos="0">
                    <a:schemeClr val="bg1">
                      <a:alpha val="97000"/>
                    </a:schemeClr>
                  </a:gs>
                </a:gsLst>
                <a:lin ang="18900000" scaled="1"/>
                <a:tileRect/>
              </a:gra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grpSp>
        <p:sp>
          <p:nvSpPr>
            <p:cNvPr id="246" name="Freeform 12"/>
            <p:cNvSpPr>
              <a:spLocks/>
            </p:cNvSpPr>
            <p:nvPr/>
          </p:nvSpPr>
          <p:spPr bwMode="auto">
            <a:xfrm rot="5400000">
              <a:off x="3965798" y="1513909"/>
              <a:ext cx="95372" cy="16349"/>
            </a:xfrm>
            <a:custGeom>
              <a:avLst/>
              <a:gdLst/>
              <a:ahLst/>
              <a:cxnLst/>
              <a:rect l="l" t="t" r="r" b="b"/>
              <a:pathLst>
                <a:path w="95372" h="16349">
                  <a:moveTo>
                    <a:pt x="0" y="16349"/>
                  </a:moveTo>
                  <a:lnTo>
                    <a:pt x="0" y="0"/>
                  </a:lnTo>
                  <a:lnTo>
                    <a:pt x="95372" y="0"/>
                  </a:lnTo>
                  <a:lnTo>
                    <a:pt x="95372" y="16349"/>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47" name="Freeform 12"/>
            <p:cNvSpPr>
              <a:spLocks/>
            </p:cNvSpPr>
            <p:nvPr/>
          </p:nvSpPr>
          <p:spPr bwMode="auto">
            <a:xfrm>
              <a:off x="3347199" y="4919840"/>
              <a:ext cx="95372" cy="16349"/>
            </a:xfrm>
            <a:custGeom>
              <a:avLst/>
              <a:gdLst/>
              <a:ahLst/>
              <a:cxnLst/>
              <a:rect l="l" t="t" r="r" b="b"/>
              <a:pathLst>
                <a:path w="95372" h="16349">
                  <a:moveTo>
                    <a:pt x="0" y="16349"/>
                  </a:moveTo>
                  <a:lnTo>
                    <a:pt x="0" y="0"/>
                  </a:lnTo>
                  <a:lnTo>
                    <a:pt x="95372" y="0"/>
                  </a:lnTo>
                  <a:lnTo>
                    <a:pt x="95372" y="16349"/>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48" name="Freeform 12"/>
            <p:cNvSpPr>
              <a:spLocks/>
            </p:cNvSpPr>
            <p:nvPr/>
          </p:nvSpPr>
          <p:spPr bwMode="auto">
            <a:xfrm>
              <a:off x="5252298" y="4919840"/>
              <a:ext cx="95372" cy="16349"/>
            </a:xfrm>
            <a:custGeom>
              <a:avLst/>
              <a:gdLst/>
              <a:ahLst/>
              <a:cxnLst/>
              <a:rect l="l" t="t" r="r" b="b"/>
              <a:pathLst>
                <a:path w="95372" h="16349">
                  <a:moveTo>
                    <a:pt x="0" y="16349"/>
                  </a:moveTo>
                  <a:lnTo>
                    <a:pt x="0" y="0"/>
                  </a:lnTo>
                  <a:lnTo>
                    <a:pt x="95372" y="0"/>
                  </a:lnTo>
                  <a:lnTo>
                    <a:pt x="95372" y="16349"/>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grpSp>
      <p:grpSp>
        <p:nvGrpSpPr>
          <p:cNvPr id="160" name="Group 159"/>
          <p:cNvGrpSpPr/>
          <p:nvPr/>
        </p:nvGrpSpPr>
        <p:grpSpPr>
          <a:xfrm>
            <a:off x="5413089" y="5309528"/>
            <a:ext cx="1513661" cy="822510"/>
            <a:chOff x="990251" y="5414562"/>
            <a:chExt cx="1619250" cy="879886"/>
          </a:xfrm>
        </p:grpSpPr>
        <p:cxnSp>
          <p:nvCxnSpPr>
            <p:cNvPr id="168" name="Straight Connector 167"/>
            <p:cNvCxnSpPr/>
            <p:nvPr/>
          </p:nvCxnSpPr>
          <p:spPr>
            <a:xfrm>
              <a:off x="1706415" y="5676343"/>
              <a:ext cx="186922" cy="0"/>
            </a:xfrm>
            <a:prstGeom prst="line">
              <a:avLst/>
            </a:prstGeom>
            <a:ln w="28575">
              <a:solidFill>
                <a:srgbClr val="78D2D2"/>
              </a:solidFill>
            </a:ln>
          </p:spPr>
          <p:style>
            <a:lnRef idx="1">
              <a:schemeClr val="accent1"/>
            </a:lnRef>
            <a:fillRef idx="0">
              <a:schemeClr val="accent1"/>
            </a:fillRef>
            <a:effectRef idx="0">
              <a:schemeClr val="accent1"/>
            </a:effectRef>
            <a:fontRef idx="minor">
              <a:schemeClr val="tx1"/>
            </a:fontRef>
          </p:style>
        </p:cxnSp>
        <p:sp>
          <p:nvSpPr>
            <p:cNvPr id="169" name="TextBox 168"/>
            <p:cNvSpPr txBox="1"/>
            <p:nvPr/>
          </p:nvSpPr>
          <p:spPr>
            <a:xfrm>
              <a:off x="990251" y="5800578"/>
              <a:ext cx="1619250" cy="493870"/>
            </a:xfrm>
            <a:prstGeom prst="rect">
              <a:avLst/>
            </a:prstGeom>
            <a:noFill/>
            <a:ln w="6350">
              <a:noFill/>
              <a:prstDash val="dash"/>
            </a:ln>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err="1">
                  <a:ln>
                    <a:noFill/>
                  </a:ln>
                  <a:effectLst/>
                  <a:uLnTx/>
                  <a:uFillTx/>
                  <a:ea typeface="+mn-ea"/>
                  <a:cs typeface="+mn-cs"/>
                </a:rPr>
                <a:t>Lorem</a:t>
              </a:r>
              <a:r>
                <a:rPr kumimoji="0" lang="en-US" sz="1000" b="0" i="0" u="none" strike="noStrike" kern="1200" cap="none" spc="0" normalizeH="0" baseline="0" noProof="0" dirty="0">
                  <a:ln>
                    <a:noFill/>
                  </a:ln>
                  <a:effectLst/>
                  <a:uLnTx/>
                  <a:uFillTx/>
                  <a:ea typeface="+mn-ea"/>
                  <a:cs typeface="+mn-cs"/>
                </a:rPr>
                <a:t> </a:t>
              </a:r>
              <a:r>
                <a:rPr kumimoji="0" lang="en-US" sz="1000" b="0" i="0" u="none" strike="noStrike" kern="1200" cap="none" spc="0" normalizeH="0" baseline="0" noProof="0" dirty="0" err="1">
                  <a:ln>
                    <a:noFill/>
                  </a:ln>
                  <a:effectLst/>
                  <a:uLnTx/>
                  <a:uFillTx/>
                  <a:ea typeface="+mn-ea"/>
                  <a:cs typeface="+mn-cs"/>
                </a:rPr>
                <a:t>Ipsum</a:t>
              </a:r>
              <a:r>
                <a:rPr kumimoji="0" lang="en-US" sz="1000" b="0" i="0" u="none" strike="noStrike" kern="1200" cap="none" spc="0" normalizeH="0" baseline="0" noProof="0" dirty="0">
                  <a:ln>
                    <a:noFill/>
                  </a:ln>
                  <a:effectLst/>
                  <a:uLnTx/>
                  <a:uFillTx/>
                  <a:ea typeface="+mn-ea"/>
                  <a:cs typeface="+mn-cs"/>
                </a:rPr>
                <a:t> is simply dummy text of the printing and typesetting industry. </a:t>
              </a:r>
            </a:p>
          </p:txBody>
        </p:sp>
        <p:sp>
          <p:nvSpPr>
            <p:cNvPr id="170" name="TextBox 169"/>
            <p:cNvSpPr txBox="1"/>
            <p:nvPr/>
          </p:nvSpPr>
          <p:spPr>
            <a:xfrm>
              <a:off x="990251" y="5414562"/>
              <a:ext cx="1619250" cy="230473"/>
            </a:xfrm>
            <a:prstGeom prst="rect">
              <a:avLst/>
            </a:prstGeom>
            <a:noFill/>
            <a:ln w="6350">
              <a:noFill/>
              <a:prstDash val="dash"/>
            </a:ln>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78D2D2"/>
                  </a:solidFill>
                  <a:effectLst/>
                  <a:uLnTx/>
                  <a:uFillTx/>
                  <a:ea typeface="+mn-ea"/>
                  <a:cs typeface="+mn-cs"/>
                </a:rPr>
                <a:t>2011</a:t>
              </a:r>
            </a:p>
          </p:txBody>
        </p:sp>
      </p:grpSp>
      <p:sp>
        <p:nvSpPr>
          <p:cNvPr id="163" name="Rounded Rectangle 162"/>
          <p:cNvSpPr/>
          <p:nvPr/>
        </p:nvSpPr>
        <p:spPr>
          <a:xfrm>
            <a:off x="5797854" y="6191560"/>
            <a:ext cx="744131" cy="139636"/>
          </a:xfrm>
          <a:prstGeom prst="roundRect">
            <a:avLst/>
          </a:prstGeom>
          <a:solidFill>
            <a:srgbClr val="78D2D2"/>
          </a:solidFill>
          <a:ln>
            <a:noFill/>
          </a:ln>
        </p:spPr>
        <p:style>
          <a:lnRef idx="2">
            <a:schemeClr val="accent1">
              <a:shade val="50000"/>
            </a:schemeClr>
          </a:lnRef>
          <a:fillRef idx="1">
            <a:schemeClr val="accent1"/>
          </a:fillRef>
          <a:effectRef idx="0">
            <a:schemeClr val="accent1"/>
          </a:effectRef>
          <a:fontRef idx="minor">
            <a:schemeClr val="lt1"/>
          </a:fontRef>
        </p:style>
        <p:txBody>
          <a:bodyPr lIns="46800" tIns="46800" rIns="46800" bIns="468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prstClr val="white"/>
                </a:solidFill>
                <a:effectLst/>
                <a:uLnTx/>
                <a:uFillTx/>
                <a:latin typeface="Calibri"/>
                <a:ea typeface="+mn-ea"/>
                <a:cs typeface="+mn-cs"/>
              </a:rPr>
              <a:t>READ MORE</a:t>
            </a:r>
          </a:p>
        </p:txBody>
      </p:sp>
      <p:pic>
        <p:nvPicPr>
          <p:cNvPr id="384" name="Picture Placeholder 123"/>
          <p:cNvPicPr>
            <a:picLocks noChangeAspect="1"/>
          </p:cNvPicPr>
          <p:nvPr/>
        </p:nvPicPr>
        <p:blipFill>
          <a:blip r:embed="rId4" cstate="screen">
            <a:extLst>
              <a:ext uri="{28A0092B-C50C-407E-A947-70E740481C1C}">
                <a14:useLocalDpi xmlns:a14="http://schemas.microsoft.com/office/drawing/2010/main"/>
              </a:ext>
            </a:extLst>
          </a:blip>
          <a:srcRect/>
          <a:stretch>
            <a:fillRect/>
          </a:stretch>
        </p:blipFill>
        <p:spPr>
          <a:xfrm>
            <a:off x="5384112" y="2206812"/>
            <a:ext cx="1585279" cy="2271714"/>
          </a:xfrm>
          <a:prstGeom prst="rect">
            <a:avLst/>
          </a:prstGeom>
        </p:spPr>
      </p:pic>
      <p:grpSp>
        <p:nvGrpSpPr>
          <p:cNvPr id="154" name="Group 153"/>
          <p:cNvGrpSpPr/>
          <p:nvPr/>
        </p:nvGrpSpPr>
        <p:grpSpPr>
          <a:xfrm>
            <a:off x="8688431" y="1211935"/>
            <a:ext cx="1833986" cy="3871706"/>
            <a:chOff x="5131235" y="1444422"/>
            <a:chExt cx="1961921" cy="4141786"/>
          </a:xfrm>
        </p:grpSpPr>
        <p:grpSp>
          <p:nvGrpSpPr>
            <p:cNvPr id="257" name="Group 256"/>
            <p:cNvGrpSpPr/>
            <p:nvPr/>
          </p:nvGrpSpPr>
          <p:grpSpPr>
            <a:xfrm>
              <a:off x="6459626" y="1444422"/>
              <a:ext cx="317447" cy="25885"/>
              <a:chOff x="3605213" y="133352"/>
              <a:chExt cx="369888" cy="30161"/>
            </a:xfrm>
          </p:grpSpPr>
          <p:sp>
            <p:nvSpPr>
              <p:cNvPr id="381" name="Freeform 12"/>
              <p:cNvSpPr>
                <a:spLocks/>
              </p:cNvSpPr>
              <p:nvPr/>
            </p:nvSpPr>
            <p:spPr bwMode="auto">
              <a:xfrm>
                <a:off x="3617912" y="133352"/>
                <a:ext cx="346075" cy="19050"/>
              </a:xfrm>
              <a:custGeom>
                <a:avLst/>
                <a:gdLst>
                  <a:gd name="T0" fmla="*/ 36 w 1309"/>
                  <a:gd name="T1" fmla="*/ 0 h 74"/>
                  <a:gd name="T2" fmla="*/ 1272 w 1309"/>
                  <a:gd name="T3" fmla="*/ 0 h 74"/>
                  <a:gd name="T4" fmla="*/ 1280 w 1309"/>
                  <a:gd name="T5" fmla="*/ 1 h 74"/>
                  <a:gd name="T6" fmla="*/ 1286 w 1309"/>
                  <a:gd name="T7" fmla="*/ 3 h 74"/>
                  <a:gd name="T8" fmla="*/ 1292 w 1309"/>
                  <a:gd name="T9" fmla="*/ 7 h 74"/>
                  <a:gd name="T10" fmla="*/ 1298 w 1309"/>
                  <a:gd name="T11" fmla="*/ 11 h 74"/>
                  <a:gd name="T12" fmla="*/ 1302 w 1309"/>
                  <a:gd name="T13" fmla="*/ 16 h 74"/>
                  <a:gd name="T14" fmla="*/ 1306 w 1309"/>
                  <a:gd name="T15" fmla="*/ 23 h 74"/>
                  <a:gd name="T16" fmla="*/ 1308 w 1309"/>
                  <a:gd name="T17" fmla="*/ 30 h 74"/>
                  <a:gd name="T18" fmla="*/ 1309 w 1309"/>
                  <a:gd name="T19" fmla="*/ 38 h 74"/>
                  <a:gd name="T20" fmla="*/ 1309 w 1309"/>
                  <a:gd name="T21" fmla="*/ 38 h 74"/>
                  <a:gd name="T22" fmla="*/ 1308 w 1309"/>
                  <a:gd name="T23" fmla="*/ 44 h 74"/>
                  <a:gd name="T24" fmla="*/ 1306 w 1309"/>
                  <a:gd name="T25" fmla="*/ 51 h 74"/>
                  <a:gd name="T26" fmla="*/ 1302 w 1309"/>
                  <a:gd name="T27" fmla="*/ 58 h 74"/>
                  <a:gd name="T28" fmla="*/ 1298 w 1309"/>
                  <a:gd name="T29" fmla="*/ 64 h 74"/>
                  <a:gd name="T30" fmla="*/ 1292 w 1309"/>
                  <a:gd name="T31" fmla="*/ 67 h 74"/>
                  <a:gd name="T32" fmla="*/ 1286 w 1309"/>
                  <a:gd name="T33" fmla="*/ 71 h 74"/>
                  <a:gd name="T34" fmla="*/ 1280 w 1309"/>
                  <a:gd name="T35" fmla="*/ 73 h 74"/>
                  <a:gd name="T36" fmla="*/ 1272 w 1309"/>
                  <a:gd name="T37" fmla="*/ 74 h 74"/>
                  <a:gd name="T38" fmla="*/ 36 w 1309"/>
                  <a:gd name="T39" fmla="*/ 74 h 74"/>
                  <a:gd name="T40" fmla="*/ 30 w 1309"/>
                  <a:gd name="T41" fmla="*/ 73 h 74"/>
                  <a:gd name="T42" fmla="*/ 23 w 1309"/>
                  <a:gd name="T43" fmla="*/ 71 h 74"/>
                  <a:gd name="T44" fmla="*/ 16 w 1309"/>
                  <a:gd name="T45" fmla="*/ 67 h 74"/>
                  <a:gd name="T46" fmla="*/ 10 w 1309"/>
                  <a:gd name="T47" fmla="*/ 64 h 74"/>
                  <a:gd name="T48" fmla="*/ 6 w 1309"/>
                  <a:gd name="T49" fmla="*/ 58 h 74"/>
                  <a:gd name="T50" fmla="*/ 2 w 1309"/>
                  <a:gd name="T51" fmla="*/ 51 h 74"/>
                  <a:gd name="T52" fmla="*/ 1 w 1309"/>
                  <a:gd name="T53" fmla="*/ 44 h 74"/>
                  <a:gd name="T54" fmla="*/ 0 w 1309"/>
                  <a:gd name="T55" fmla="*/ 38 h 74"/>
                  <a:gd name="T56" fmla="*/ 0 w 1309"/>
                  <a:gd name="T57" fmla="*/ 38 h 74"/>
                  <a:gd name="T58" fmla="*/ 1 w 1309"/>
                  <a:gd name="T59" fmla="*/ 30 h 74"/>
                  <a:gd name="T60" fmla="*/ 2 w 1309"/>
                  <a:gd name="T61" fmla="*/ 23 h 74"/>
                  <a:gd name="T62" fmla="*/ 6 w 1309"/>
                  <a:gd name="T63" fmla="*/ 16 h 74"/>
                  <a:gd name="T64" fmla="*/ 10 w 1309"/>
                  <a:gd name="T65" fmla="*/ 11 h 74"/>
                  <a:gd name="T66" fmla="*/ 16 w 1309"/>
                  <a:gd name="T67" fmla="*/ 7 h 74"/>
                  <a:gd name="T68" fmla="*/ 23 w 1309"/>
                  <a:gd name="T69" fmla="*/ 3 h 74"/>
                  <a:gd name="T70" fmla="*/ 30 w 1309"/>
                  <a:gd name="T71" fmla="*/ 1 h 74"/>
                  <a:gd name="T72" fmla="*/ 36 w 1309"/>
                  <a:gd name="T73" fmla="*/ 0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309" h="74">
                    <a:moveTo>
                      <a:pt x="36" y="0"/>
                    </a:moveTo>
                    <a:lnTo>
                      <a:pt x="1272" y="0"/>
                    </a:lnTo>
                    <a:lnTo>
                      <a:pt x="1280" y="1"/>
                    </a:lnTo>
                    <a:lnTo>
                      <a:pt x="1286" y="3"/>
                    </a:lnTo>
                    <a:lnTo>
                      <a:pt x="1292" y="7"/>
                    </a:lnTo>
                    <a:lnTo>
                      <a:pt x="1298" y="11"/>
                    </a:lnTo>
                    <a:lnTo>
                      <a:pt x="1302" y="16"/>
                    </a:lnTo>
                    <a:lnTo>
                      <a:pt x="1306" y="23"/>
                    </a:lnTo>
                    <a:lnTo>
                      <a:pt x="1308" y="30"/>
                    </a:lnTo>
                    <a:lnTo>
                      <a:pt x="1309" y="38"/>
                    </a:lnTo>
                    <a:lnTo>
                      <a:pt x="1309" y="38"/>
                    </a:lnTo>
                    <a:lnTo>
                      <a:pt x="1308" y="44"/>
                    </a:lnTo>
                    <a:lnTo>
                      <a:pt x="1306" y="51"/>
                    </a:lnTo>
                    <a:lnTo>
                      <a:pt x="1302" y="58"/>
                    </a:lnTo>
                    <a:lnTo>
                      <a:pt x="1298" y="64"/>
                    </a:lnTo>
                    <a:lnTo>
                      <a:pt x="1292" y="67"/>
                    </a:lnTo>
                    <a:lnTo>
                      <a:pt x="1286" y="71"/>
                    </a:lnTo>
                    <a:lnTo>
                      <a:pt x="1280" y="73"/>
                    </a:lnTo>
                    <a:lnTo>
                      <a:pt x="1272" y="74"/>
                    </a:lnTo>
                    <a:lnTo>
                      <a:pt x="36" y="74"/>
                    </a:lnTo>
                    <a:lnTo>
                      <a:pt x="30" y="73"/>
                    </a:lnTo>
                    <a:lnTo>
                      <a:pt x="23" y="71"/>
                    </a:lnTo>
                    <a:lnTo>
                      <a:pt x="16" y="67"/>
                    </a:lnTo>
                    <a:lnTo>
                      <a:pt x="10" y="64"/>
                    </a:lnTo>
                    <a:lnTo>
                      <a:pt x="6" y="58"/>
                    </a:lnTo>
                    <a:lnTo>
                      <a:pt x="2" y="51"/>
                    </a:lnTo>
                    <a:lnTo>
                      <a:pt x="1" y="44"/>
                    </a:lnTo>
                    <a:lnTo>
                      <a:pt x="0" y="38"/>
                    </a:lnTo>
                    <a:lnTo>
                      <a:pt x="0" y="38"/>
                    </a:lnTo>
                    <a:lnTo>
                      <a:pt x="1" y="30"/>
                    </a:lnTo>
                    <a:lnTo>
                      <a:pt x="2" y="23"/>
                    </a:lnTo>
                    <a:lnTo>
                      <a:pt x="6" y="16"/>
                    </a:lnTo>
                    <a:lnTo>
                      <a:pt x="10" y="11"/>
                    </a:lnTo>
                    <a:lnTo>
                      <a:pt x="16" y="7"/>
                    </a:lnTo>
                    <a:lnTo>
                      <a:pt x="23" y="3"/>
                    </a:lnTo>
                    <a:lnTo>
                      <a:pt x="30" y="1"/>
                    </a:lnTo>
                    <a:lnTo>
                      <a:pt x="36" y="0"/>
                    </a:lnTo>
                    <a:close/>
                  </a:path>
                </a:pathLst>
              </a:custGeom>
              <a:gradFill flip="none" rotWithShape="1">
                <a:gsLst>
                  <a:gs pos="28744">
                    <a:schemeClr val="bg1">
                      <a:lumMod val="75000"/>
                    </a:schemeClr>
                  </a:gs>
                  <a:gs pos="78000">
                    <a:srgbClr val="060606"/>
                  </a:gs>
                  <a:gs pos="100000">
                    <a:srgbClr val="3C3C3C"/>
                  </a:gs>
                  <a:gs pos="10000">
                    <a:schemeClr val="bg1">
                      <a:lumMod val="50000"/>
                    </a:schemeClr>
                  </a:gs>
                  <a:gs pos="54000">
                    <a:schemeClr val="tx1"/>
                  </a:gs>
                </a:gsLst>
                <a:lin ang="5400000" scaled="1"/>
                <a:tileRect/>
              </a:gra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382" name="Rectangle 13"/>
              <p:cNvSpPr>
                <a:spLocks noChangeArrowheads="1"/>
              </p:cNvSpPr>
              <p:nvPr/>
            </p:nvSpPr>
            <p:spPr bwMode="auto">
              <a:xfrm>
                <a:off x="3605213" y="142875"/>
                <a:ext cx="369888" cy="20638"/>
              </a:xfrm>
              <a:prstGeom prst="rect">
                <a:avLst/>
              </a:prstGeom>
              <a:gradFill flip="none" rotWithShape="1">
                <a:gsLst>
                  <a:gs pos="78000">
                    <a:schemeClr val="tx1">
                      <a:lumMod val="75000"/>
                      <a:lumOff val="25000"/>
                    </a:schemeClr>
                  </a:gs>
                  <a:gs pos="100000">
                    <a:srgbClr val="3C3C3C"/>
                  </a:gs>
                  <a:gs pos="0">
                    <a:schemeClr val="tx1">
                      <a:lumMod val="75000"/>
                      <a:lumOff val="25000"/>
                    </a:schemeClr>
                  </a:gs>
                  <a:gs pos="13000">
                    <a:schemeClr val="tx1">
                      <a:lumMod val="85000"/>
                      <a:lumOff val="15000"/>
                    </a:schemeClr>
                  </a:gs>
                </a:gsLst>
                <a:lin ang="0" scaled="1"/>
                <a:tileRect/>
              </a:gra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grpSp>
        <p:grpSp>
          <p:nvGrpSpPr>
            <p:cNvPr id="258" name="Group 257"/>
            <p:cNvGrpSpPr/>
            <p:nvPr/>
          </p:nvGrpSpPr>
          <p:grpSpPr>
            <a:xfrm>
              <a:off x="5131235" y="2035717"/>
              <a:ext cx="25874" cy="870588"/>
              <a:chOff x="2057454" y="822328"/>
              <a:chExt cx="30149" cy="1014410"/>
            </a:xfrm>
          </p:grpSpPr>
          <p:sp>
            <p:nvSpPr>
              <p:cNvPr id="375" name="Freeform 6"/>
              <p:cNvSpPr>
                <a:spLocks/>
              </p:cNvSpPr>
              <p:nvPr/>
            </p:nvSpPr>
            <p:spPr bwMode="auto">
              <a:xfrm>
                <a:off x="2057478" y="828677"/>
                <a:ext cx="19050" cy="200025"/>
              </a:xfrm>
              <a:custGeom>
                <a:avLst/>
                <a:gdLst>
                  <a:gd name="T0" fmla="*/ 0 w 74"/>
                  <a:gd name="T1" fmla="*/ 723 h 760"/>
                  <a:gd name="T2" fmla="*/ 0 w 74"/>
                  <a:gd name="T3" fmla="*/ 37 h 760"/>
                  <a:gd name="T4" fmla="*/ 1 w 74"/>
                  <a:gd name="T5" fmla="*/ 29 h 760"/>
                  <a:gd name="T6" fmla="*/ 3 w 74"/>
                  <a:gd name="T7" fmla="*/ 22 h 760"/>
                  <a:gd name="T8" fmla="*/ 7 w 74"/>
                  <a:gd name="T9" fmla="*/ 16 h 760"/>
                  <a:gd name="T10" fmla="*/ 11 w 74"/>
                  <a:gd name="T11" fmla="*/ 11 h 760"/>
                  <a:gd name="T12" fmla="*/ 16 w 74"/>
                  <a:gd name="T13" fmla="*/ 6 h 760"/>
                  <a:gd name="T14" fmla="*/ 23 w 74"/>
                  <a:gd name="T15" fmla="*/ 3 h 760"/>
                  <a:gd name="T16" fmla="*/ 30 w 74"/>
                  <a:gd name="T17" fmla="*/ 1 h 760"/>
                  <a:gd name="T18" fmla="*/ 38 w 74"/>
                  <a:gd name="T19" fmla="*/ 0 h 760"/>
                  <a:gd name="T20" fmla="*/ 38 w 74"/>
                  <a:gd name="T21" fmla="*/ 0 h 760"/>
                  <a:gd name="T22" fmla="*/ 44 w 74"/>
                  <a:gd name="T23" fmla="*/ 1 h 760"/>
                  <a:gd name="T24" fmla="*/ 51 w 74"/>
                  <a:gd name="T25" fmla="*/ 3 h 760"/>
                  <a:gd name="T26" fmla="*/ 58 w 74"/>
                  <a:gd name="T27" fmla="*/ 6 h 760"/>
                  <a:gd name="T28" fmla="*/ 63 w 74"/>
                  <a:gd name="T29" fmla="*/ 11 h 760"/>
                  <a:gd name="T30" fmla="*/ 67 w 74"/>
                  <a:gd name="T31" fmla="*/ 16 h 760"/>
                  <a:gd name="T32" fmla="*/ 71 w 74"/>
                  <a:gd name="T33" fmla="*/ 22 h 760"/>
                  <a:gd name="T34" fmla="*/ 73 w 74"/>
                  <a:gd name="T35" fmla="*/ 29 h 760"/>
                  <a:gd name="T36" fmla="*/ 74 w 74"/>
                  <a:gd name="T37" fmla="*/ 37 h 760"/>
                  <a:gd name="T38" fmla="*/ 74 w 74"/>
                  <a:gd name="T39" fmla="*/ 723 h 760"/>
                  <a:gd name="T40" fmla="*/ 73 w 74"/>
                  <a:gd name="T41" fmla="*/ 730 h 760"/>
                  <a:gd name="T42" fmla="*/ 71 w 74"/>
                  <a:gd name="T43" fmla="*/ 738 h 760"/>
                  <a:gd name="T44" fmla="*/ 67 w 74"/>
                  <a:gd name="T45" fmla="*/ 744 h 760"/>
                  <a:gd name="T46" fmla="*/ 63 w 74"/>
                  <a:gd name="T47" fmla="*/ 750 h 760"/>
                  <a:gd name="T48" fmla="*/ 58 w 74"/>
                  <a:gd name="T49" fmla="*/ 754 h 760"/>
                  <a:gd name="T50" fmla="*/ 51 w 74"/>
                  <a:gd name="T51" fmla="*/ 758 h 760"/>
                  <a:gd name="T52" fmla="*/ 44 w 74"/>
                  <a:gd name="T53" fmla="*/ 760 h 760"/>
                  <a:gd name="T54" fmla="*/ 38 w 74"/>
                  <a:gd name="T55" fmla="*/ 760 h 760"/>
                  <a:gd name="T56" fmla="*/ 38 w 74"/>
                  <a:gd name="T57" fmla="*/ 760 h 760"/>
                  <a:gd name="T58" fmla="*/ 30 w 74"/>
                  <a:gd name="T59" fmla="*/ 760 h 760"/>
                  <a:gd name="T60" fmla="*/ 23 w 74"/>
                  <a:gd name="T61" fmla="*/ 758 h 760"/>
                  <a:gd name="T62" fmla="*/ 16 w 74"/>
                  <a:gd name="T63" fmla="*/ 754 h 760"/>
                  <a:gd name="T64" fmla="*/ 11 w 74"/>
                  <a:gd name="T65" fmla="*/ 750 h 760"/>
                  <a:gd name="T66" fmla="*/ 7 w 74"/>
                  <a:gd name="T67" fmla="*/ 744 h 760"/>
                  <a:gd name="T68" fmla="*/ 3 w 74"/>
                  <a:gd name="T69" fmla="*/ 738 h 760"/>
                  <a:gd name="T70" fmla="*/ 1 w 74"/>
                  <a:gd name="T71" fmla="*/ 730 h 760"/>
                  <a:gd name="T72" fmla="*/ 0 w 74"/>
                  <a:gd name="T73" fmla="*/ 723 h 7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4" h="760">
                    <a:moveTo>
                      <a:pt x="0" y="723"/>
                    </a:moveTo>
                    <a:lnTo>
                      <a:pt x="0" y="37"/>
                    </a:lnTo>
                    <a:lnTo>
                      <a:pt x="1" y="29"/>
                    </a:lnTo>
                    <a:lnTo>
                      <a:pt x="3" y="22"/>
                    </a:lnTo>
                    <a:lnTo>
                      <a:pt x="7" y="16"/>
                    </a:lnTo>
                    <a:lnTo>
                      <a:pt x="11" y="11"/>
                    </a:lnTo>
                    <a:lnTo>
                      <a:pt x="16" y="6"/>
                    </a:lnTo>
                    <a:lnTo>
                      <a:pt x="23" y="3"/>
                    </a:lnTo>
                    <a:lnTo>
                      <a:pt x="30" y="1"/>
                    </a:lnTo>
                    <a:lnTo>
                      <a:pt x="38" y="0"/>
                    </a:lnTo>
                    <a:lnTo>
                      <a:pt x="38" y="0"/>
                    </a:lnTo>
                    <a:lnTo>
                      <a:pt x="44" y="1"/>
                    </a:lnTo>
                    <a:lnTo>
                      <a:pt x="51" y="3"/>
                    </a:lnTo>
                    <a:lnTo>
                      <a:pt x="58" y="6"/>
                    </a:lnTo>
                    <a:lnTo>
                      <a:pt x="63" y="11"/>
                    </a:lnTo>
                    <a:lnTo>
                      <a:pt x="67" y="16"/>
                    </a:lnTo>
                    <a:lnTo>
                      <a:pt x="71" y="22"/>
                    </a:lnTo>
                    <a:lnTo>
                      <a:pt x="73" y="29"/>
                    </a:lnTo>
                    <a:lnTo>
                      <a:pt x="74" y="37"/>
                    </a:lnTo>
                    <a:lnTo>
                      <a:pt x="74" y="723"/>
                    </a:lnTo>
                    <a:lnTo>
                      <a:pt x="73" y="730"/>
                    </a:lnTo>
                    <a:lnTo>
                      <a:pt x="71" y="738"/>
                    </a:lnTo>
                    <a:lnTo>
                      <a:pt x="67" y="744"/>
                    </a:lnTo>
                    <a:lnTo>
                      <a:pt x="63" y="750"/>
                    </a:lnTo>
                    <a:lnTo>
                      <a:pt x="58" y="754"/>
                    </a:lnTo>
                    <a:lnTo>
                      <a:pt x="51" y="758"/>
                    </a:lnTo>
                    <a:lnTo>
                      <a:pt x="44" y="760"/>
                    </a:lnTo>
                    <a:lnTo>
                      <a:pt x="38" y="760"/>
                    </a:lnTo>
                    <a:lnTo>
                      <a:pt x="38" y="760"/>
                    </a:lnTo>
                    <a:lnTo>
                      <a:pt x="30" y="760"/>
                    </a:lnTo>
                    <a:lnTo>
                      <a:pt x="23" y="758"/>
                    </a:lnTo>
                    <a:lnTo>
                      <a:pt x="16" y="754"/>
                    </a:lnTo>
                    <a:lnTo>
                      <a:pt x="11" y="750"/>
                    </a:lnTo>
                    <a:lnTo>
                      <a:pt x="7" y="744"/>
                    </a:lnTo>
                    <a:lnTo>
                      <a:pt x="3" y="738"/>
                    </a:lnTo>
                    <a:lnTo>
                      <a:pt x="1" y="730"/>
                    </a:lnTo>
                    <a:lnTo>
                      <a:pt x="0" y="723"/>
                    </a:lnTo>
                    <a:close/>
                  </a:path>
                </a:pathLst>
              </a:custGeom>
              <a:gradFill flip="none" rotWithShape="1">
                <a:gsLst>
                  <a:gs pos="28744">
                    <a:schemeClr val="bg1">
                      <a:lumMod val="75000"/>
                    </a:schemeClr>
                  </a:gs>
                  <a:gs pos="78000">
                    <a:srgbClr val="060606"/>
                  </a:gs>
                  <a:gs pos="100000">
                    <a:srgbClr val="3C3C3C"/>
                  </a:gs>
                  <a:gs pos="10000">
                    <a:schemeClr val="bg1">
                      <a:lumMod val="50000"/>
                    </a:schemeClr>
                  </a:gs>
                  <a:gs pos="54000">
                    <a:schemeClr val="tx1"/>
                  </a:gs>
                </a:gsLst>
                <a:lin ang="0" scaled="1"/>
                <a:tileRect/>
              </a:gra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376" name="Freeform 7"/>
              <p:cNvSpPr>
                <a:spLocks/>
              </p:cNvSpPr>
              <p:nvPr/>
            </p:nvSpPr>
            <p:spPr bwMode="auto">
              <a:xfrm>
                <a:off x="2057454" y="1281117"/>
                <a:ext cx="19050" cy="155575"/>
              </a:xfrm>
              <a:custGeom>
                <a:avLst/>
                <a:gdLst>
                  <a:gd name="T0" fmla="*/ 0 w 74"/>
                  <a:gd name="T1" fmla="*/ 550 h 588"/>
                  <a:gd name="T2" fmla="*/ 0 w 74"/>
                  <a:gd name="T3" fmla="*/ 37 h 588"/>
                  <a:gd name="T4" fmla="*/ 1 w 74"/>
                  <a:gd name="T5" fmla="*/ 29 h 588"/>
                  <a:gd name="T6" fmla="*/ 3 w 74"/>
                  <a:gd name="T7" fmla="*/ 22 h 588"/>
                  <a:gd name="T8" fmla="*/ 7 w 74"/>
                  <a:gd name="T9" fmla="*/ 17 h 588"/>
                  <a:gd name="T10" fmla="*/ 11 w 74"/>
                  <a:gd name="T11" fmla="*/ 11 h 588"/>
                  <a:gd name="T12" fmla="*/ 16 w 74"/>
                  <a:gd name="T13" fmla="*/ 6 h 588"/>
                  <a:gd name="T14" fmla="*/ 23 w 74"/>
                  <a:gd name="T15" fmla="*/ 3 h 588"/>
                  <a:gd name="T16" fmla="*/ 30 w 74"/>
                  <a:gd name="T17" fmla="*/ 1 h 588"/>
                  <a:gd name="T18" fmla="*/ 38 w 74"/>
                  <a:gd name="T19" fmla="*/ 0 h 588"/>
                  <a:gd name="T20" fmla="*/ 38 w 74"/>
                  <a:gd name="T21" fmla="*/ 0 h 588"/>
                  <a:gd name="T22" fmla="*/ 44 w 74"/>
                  <a:gd name="T23" fmla="*/ 1 h 588"/>
                  <a:gd name="T24" fmla="*/ 51 w 74"/>
                  <a:gd name="T25" fmla="*/ 3 h 588"/>
                  <a:gd name="T26" fmla="*/ 58 w 74"/>
                  <a:gd name="T27" fmla="*/ 6 h 588"/>
                  <a:gd name="T28" fmla="*/ 63 w 74"/>
                  <a:gd name="T29" fmla="*/ 11 h 588"/>
                  <a:gd name="T30" fmla="*/ 67 w 74"/>
                  <a:gd name="T31" fmla="*/ 17 h 588"/>
                  <a:gd name="T32" fmla="*/ 71 w 74"/>
                  <a:gd name="T33" fmla="*/ 22 h 588"/>
                  <a:gd name="T34" fmla="*/ 73 w 74"/>
                  <a:gd name="T35" fmla="*/ 29 h 588"/>
                  <a:gd name="T36" fmla="*/ 74 w 74"/>
                  <a:gd name="T37" fmla="*/ 37 h 588"/>
                  <a:gd name="T38" fmla="*/ 74 w 74"/>
                  <a:gd name="T39" fmla="*/ 550 h 588"/>
                  <a:gd name="T40" fmla="*/ 73 w 74"/>
                  <a:gd name="T41" fmla="*/ 558 h 588"/>
                  <a:gd name="T42" fmla="*/ 71 w 74"/>
                  <a:gd name="T43" fmla="*/ 565 h 588"/>
                  <a:gd name="T44" fmla="*/ 67 w 74"/>
                  <a:gd name="T45" fmla="*/ 571 h 588"/>
                  <a:gd name="T46" fmla="*/ 63 w 74"/>
                  <a:gd name="T47" fmla="*/ 576 h 588"/>
                  <a:gd name="T48" fmla="*/ 58 w 74"/>
                  <a:gd name="T49" fmla="*/ 581 h 588"/>
                  <a:gd name="T50" fmla="*/ 51 w 74"/>
                  <a:gd name="T51" fmla="*/ 584 h 588"/>
                  <a:gd name="T52" fmla="*/ 44 w 74"/>
                  <a:gd name="T53" fmla="*/ 587 h 588"/>
                  <a:gd name="T54" fmla="*/ 38 w 74"/>
                  <a:gd name="T55" fmla="*/ 588 h 588"/>
                  <a:gd name="T56" fmla="*/ 38 w 74"/>
                  <a:gd name="T57" fmla="*/ 588 h 588"/>
                  <a:gd name="T58" fmla="*/ 30 w 74"/>
                  <a:gd name="T59" fmla="*/ 587 h 588"/>
                  <a:gd name="T60" fmla="*/ 23 w 74"/>
                  <a:gd name="T61" fmla="*/ 584 h 588"/>
                  <a:gd name="T62" fmla="*/ 16 w 74"/>
                  <a:gd name="T63" fmla="*/ 581 h 588"/>
                  <a:gd name="T64" fmla="*/ 11 w 74"/>
                  <a:gd name="T65" fmla="*/ 576 h 588"/>
                  <a:gd name="T66" fmla="*/ 7 w 74"/>
                  <a:gd name="T67" fmla="*/ 571 h 588"/>
                  <a:gd name="T68" fmla="*/ 3 w 74"/>
                  <a:gd name="T69" fmla="*/ 565 h 588"/>
                  <a:gd name="T70" fmla="*/ 1 w 74"/>
                  <a:gd name="T71" fmla="*/ 558 h 588"/>
                  <a:gd name="T72" fmla="*/ 0 w 74"/>
                  <a:gd name="T73" fmla="*/ 550 h 5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4" h="588">
                    <a:moveTo>
                      <a:pt x="0" y="550"/>
                    </a:moveTo>
                    <a:lnTo>
                      <a:pt x="0" y="37"/>
                    </a:lnTo>
                    <a:lnTo>
                      <a:pt x="1" y="29"/>
                    </a:lnTo>
                    <a:lnTo>
                      <a:pt x="3" y="22"/>
                    </a:lnTo>
                    <a:lnTo>
                      <a:pt x="7" y="17"/>
                    </a:lnTo>
                    <a:lnTo>
                      <a:pt x="11" y="11"/>
                    </a:lnTo>
                    <a:lnTo>
                      <a:pt x="16" y="6"/>
                    </a:lnTo>
                    <a:lnTo>
                      <a:pt x="23" y="3"/>
                    </a:lnTo>
                    <a:lnTo>
                      <a:pt x="30" y="1"/>
                    </a:lnTo>
                    <a:lnTo>
                      <a:pt x="38" y="0"/>
                    </a:lnTo>
                    <a:lnTo>
                      <a:pt x="38" y="0"/>
                    </a:lnTo>
                    <a:lnTo>
                      <a:pt x="44" y="1"/>
                    </a:lnTo>
                    <a:lnTo>
                      <a:pt x="51" y="3"/>
                    </a:lnTo>
                    <a:lnTo>
                      <a:pt x="58" y="6"/>
                    </a:lnTo>
                    <a:lnTo>
                      <a:pt x="63" y="11"/>
                    </a:lnTo>
                    <a:lnTo>
                      <a:pt x="67" y="17"/>
                    </a:lnTo>
                    <a:lnTo>
                      <a:pt x="71" y="22"/>
                    </a:lnTo>
                    <a:lnTo>
                      <a:pt x="73" y="29"/>
                    </a:lnTo>
                    <a:lnTo>
                      <a:pt x="74" y="37"/>
                    </a:lnTo>
                    <a:lnTo>
                      <a:pt x="74" y="550"/>
                    </a:lnTo>
                    <a:lnTo>
                      <a:pt x="73" y="558"/>
                    </a:lnTo>
                    <a:lnTo>
                      <a:pt x="71" y="565"/>
                    </a:lnTo>
                    <a:lnTo>
                      <a:pt x="67" y="571"/>
                    </a:lnTo>
                    <a:lnTo>
                      <a:pt x="63" y="576"/>
                    </a:lnTo>
                    <a:lnTo>
                      <a:pt x="58" y="581"/>
                    </a:lnTo>
                    <a:lnTo>
                      <a:pt x="51" y="584"/>
                    </a:lnTo>
                    <a:lnTo>
                      <a:pt x="44" y="587"/>
                    </a:lnTo>
                    <a:lnTo>
                      <a:pt x="38" y="588"/>
                    </a:lnTo>
                    <a:lnTo>
                      <a:pt x="38" y="588"/>
                    </a:lnTo>
                    <a:lnTo>
                      <a:pt x="30" y="587"/>
                    </a:lnTo>
                    <a:lnTo>
                      <a:pt x="23" y="584"/>
                    </a:lnTo>
                    <a:lnTo>
                      <a:pt x="16" y="581"/>
                    </a:lnTo>
                    <a:lnTo>
                      <a:pt x="11" y="576"/>
                    </a:lnTo>
                    <a:lnTo>
                      <a:pt x="7" y="571"/>
                    </a:lnTo>
                    <a:lnTo>
                      <a:pt x="3" y="565"/>
                    </a:lnTo>
                    <a:lnTo>
                      <a:pt x="1" y="558"/>
                    </a:lnTo>
                    <a:lnTo>
                      <a:pt x="0" y="550"/>
                    </a:lnTo>
                    <a:close/>
                  </a:path>
                </a:pathLst>
              </a:custGeom>
              <a:gradFill flip="none" rotWithShape="1">
                <a:gsLst>
                  <a:gs pos="28744">
                    <a:schemeClr val="bg1">
                      <a:lumMod val="75000"/>
                    </a:schemeClr>
                  </a:gs>
                  <a:gs pos="78000">
                    <a:srgbClr val="060606"/>
                  </a:gs>
                  <a:gs pos="100000">
                    <a:srgbClr val="3C3C3C"/>
                  </a:gs>
                  <a:gs pos="10000">
                    <a:schemeClr val="bg1">
                      <a:lumMod val="50000"/>
                    </a:schemeClr>
                  </a:gs>
                  <a:gs pos="54000">
                    <a:schemeClr val="tx1"/>
                  </a:gs>
                </a:gsLst>
                <a:lin ang="0" scaled="1"/>
                <a:tileRect/>
              </a:gra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377" name="Freeform 8"/>
              <p:cNvSpPr>
                <a:spLocks/>
              </p:cNvSpPr>
              <p:nvPr/>
            </p:nvSpPr>
            <p:spPr bwMode="auto">
              <a:xfrm>
                <a:off x="2057473" y="1676404"/>
                <a:ext cx="19050" cy="155575"/>
              </a:xfrm>
              <a:custGeom>
                <a:avLst/>
                <a:gdLst>
                  <a:gd name="T0" fmla="*/ 0 w 74"/>
                  <a:gd name="T1" fmla="*/ 551 h 587"/>
                  <a:gd name="T2" fmla="*/ 0 w 74"/>
                  <a:gd name="T3" fmla="*/ 38 h 587"/>
                  <a:gd name="T4" fmla="*/ 1 w 74"/>
                  <a:gd name="T5" fmla="*/ 30 h 587"/>
                  <a:gd name="T6" fmla="*/ 3 w 74"/>
                  <a:gd name="T7" fmla="*/ 23 h 587"/>
                  <a:gd name="T8" fmla="*/ 7 w 74"/>
                  <a:gd name="T9" fmla="*/ 16 h 587"/>
                  <a:gd name="T10" fmla="*/ 11 w 74"/>
                  <a:gd name="T11" fmla="*/ 11 h 587"/>
                  <a:gd name="T12" fmla="*/ 16 w 74"/>
                  <a:gd name="T13" fmla="*/ 7 h 587"/>
                  <a:gd name="T14" fmla="*/ 23 w 74"/>
                  <a:gd name="T15" fmla="*/ 3 h 587"/>
                  <a:gd name="T16" fmla="*/ 30 w 74"/>
                  <a:gd name="T17" fmla="*/ 1 h 587"/>
                  <a:gd name="T18" fmla="*/ 38 w 74"/>
                  <a:gd name="T19" fmla="*/ 0 h 587"/>
                  <a:gd name="T20" fmla="*/ 38 w 74"/>
                  <a:gd name="T21" fmla="*/ 0 h 587"/>
                  <a:gd name="T22" fmla="*/ 44 w 74"/>
                  <a:gd name="T23" fmla="*/ 1 h 587"/>
                  <a:gd name="T24" fmla="*/ 51 w 74"/>
                  <a:gd name="T25" fmla="*/ 3 h 587"/>
                  <a:gd name="T26" fmla="*/ 58 w 74"/>
                  <a:gd name="T27" fmla="*/ 7 h 587"/>
                  <a:gd name="T28" fmla="*/ 63 w 74"/>
                  <a:gd name="T29" fmla="*/ 11 h 587"/>
                  <a:gd name="T30" fmla="*/ 67 w 74"/>
                  <a:gd name="T31" fmla="*/ 16 h 587"/>
                  <a:gd name="T32" fmla="*/ 71 w 74"/>
                  <a:gd name="T33" fmla="*/ 23 h 587"/>
                  <a:gd name="T34" fmla="*/ 73 w 74"/>
                  <a:gd name="T35" fmla="*/ 30 h 587"/>
                  <a:gd name="T36" fmla="*/ 74 w 74"/>
                  <a:gd name="T37" fmla="*/ 38 h 587"/>
                  <a:gd name="T38" fmla="*/ 74 w 74"/>
                  <a:gd name="T39" fmla="*/ 551 h 587"/>
                  <a:gd name="T40" fmla="*/ 73 w 74"/>
                  <a:gd name="T41" fmla="*/ 557 h 587"/>
                  <a:gd name="T42" fmla="*/ 71 w 74"/>
                  <a:gd name="T43" fmla="*/ 564 h 587"/>
                  <a:gd name="T44" fmla="*/ 67 w 74"/>
                  <a:gd name="T45" fmla="*/ 571 h 587"/>
                  <a:gd name="T46" fmla="*/ 63 w 74"/>
                  <a:gd name="T47" fmla="*/ 577 h 587"/>
                  <a:gd name="T48" fmla="*/ 58 w 74"/>
                  <a:gd name="T49" fmla="*/ 581 h 587"/>
                  <a:gd name="T50" fmla="*/ 51 w 74"/>
                  <a:gd name="T51" fmla="*/ 585 h 587"/>
                  <a:gd name="T52" fmla="*/ 44 w 74"/>
                  <a:gd name="T53" fmla="*/ 586 h 587"/>
                  <a:gd name="T54" fmla="*/ 38 w 74"/>
                  <a:gd name="T55" fmla="*/ 587 h 587"/>
                  <a:gd name="T56" fmla="*/ 38 w 74"/>
                  <a:gd name="T57" fmla="*/ 587 h 587"/>
                  <a:gd name="T58" fmla="*/ 30 w 74"/>
                  <a:gd name="T59" fmla="*/ 586 h 587"/>
                  <a:gd name="T60" fmla="*/ 23 w 74"/>
                  <a:gd name="T61" fmla="*/ 585 h 587"/>
                  <a:gd name="T62" fmla="*/ 16 w 74"/>
                  <a:gd name="T63" fmla="*/ 581 h 587"/>
                  <a:gd name="T64" fmla="*/ 11 w 74"/>
                  <a:gd name="T65" fmla="*/ 577 h 587"/>
                  <a:gd name="T66" fmla="*/ 7 w 74"/>
                  <a:gd name="T67" fmla="*/ 571 h 587"/>
                  <a:gd name="T68" fmla="*/ 3 w 74"/>
                  <a:gd name="T69" fmla="*/ 564 h 587"/>
                  <a:gd name="T70" fmla="*/ 1 w 74"/>
                  <a:gd name="T71" fmla="*/ 557 h 587"/>
                  <a:gd name="T72" fmla="*/ 0 w 74"/>
                  <a:gd name="T73" fmla="*/ 551 h 5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4" h="587">
                    <a:moveTo>
                      <a:pt x="0" y="551"/>
                    </a:moveTo>
                    <a:lnTo>
                      <a:pt x="0" y="38"/>
                    </a:lnTo>
                    <a:lnTo>
                      <a:pt x="1" y="30"/>
                    </a:lnTo>
                    <a:lnTo>
                      <a:pt x="3" y="23"/>
                    </a:lnTo>
                    <a:lnTo>
                      <a:pt x="7" y="16"/>
                    </a:lnTo>
                    <a:lnTo>
                      <a:pt x="11" y="11"/>
                    </a:lnTo>
                    <a:lnTo>
                      <a:pt x="16" y="7"/>
                    </a:lnTo>
                    <a:lnTo>
                      <a:pt x="23" y="3"/>
                    </a:lnTo>
                    <a:lnTo>
                      <a:pt x="30" y="1"/>
                    </a:lnTo>
                    <a:lnTo>
                      <a:pt x="38" y="0"/>
                    </a:lnTo>
                    <a:lnTo>
                      <a:pt x="38" y="0"/>
                    </a:lnTo>
                    <a:lnTo>
                      <a:pt x="44" y="1"/>
                    </a:lnTo>
                    <a:lnTo>
                      <a:pt x="51" y="3"/>
                    </a:lnTo>
                    <a:lnTo>
                      <a:pt x="58" y="7"/>
                    </a:lnTo>
                    <a:lnTo>
                      <a:pt x="63" y="11"/>
                    </a:lnTo>
                    <a:lnTo>
                      <a:pt x="67" y="16"/>
                    </a:lnTo>
                    <a:lnTo>
                      <a:pt x="71" y="23"/>
                    </a:lnTo>
                    <a:lnTo>
                      <a:pt x="73" y="30"/>
                    </a:lnTo>
                    <a:lnTo>
                      <a:pt x="74" y="38"/>
                    </a:lnTo>
                    <a:lnTo>
                      <a:pt x="74" y="551"/>
                    </a:lnTo>
                    <a:lnTo>
                      <a:pt x="73" y="557"/>
                    </a:lnTo>
                    <a:lnTo>
                      <a:pt x="71" y="564"/>
                    </a:lnTo>
                    <a:lnTo>
                      <a:pt x="67" y="571"/>
                    </a:lnTo>
                    <a:lnTo>
                      <a:pt x="63" y="577"/>
                    </a:lnTo>
                    <a:lnTo>
                      <a:pt x="58" y="581"/>
                    </a:lnTo>
                    <a:lnTo>
                      <a:pt x="51" y="585"/>
                    </a:lnTo>
                    <a:lnTo>
                      <a:pt x="44" y="586"/>
                    </a:lnTo>
                    <a:lnTo>
                      <a:pt x="38" y="587"/>
                    </a:lnTo>
                    <a:lnTo>
                      <a:pt x="38" y="587"/>
                    </a:lnTo>
                    <a:lnTo>
                      <a:pt x="30" y="586"/>
                    </a:lnTo>
                    <a:lnTo>
                      <a:pt x="23" y="585"/>
                    </a:lnTo>
                    <a:lnTo>
                      <a:pt x="16" y="581"/>
                    </a:lnTo>
                    <a:lnTo>
                      <a:pt x="11" y="577"/>
                    </a:lnTo>
                    <a:lnTo>
                      <a:pt x="7" y="571"/>
                    </a:lnTo>
                    <a:lnTo>
                      <a:pt x="3" y="564"/>
                    </a:lnTo>
                    <a:lnTo>
                      <a:pt x="1" y="557"/>
                    </a:lnTo>
                    <a:lnTo>
                      <a:pt x="0" y="551"/>
                    </a:lnTo>
                    <a:close/>
                  </a:path>
                </a:pathLst>
              </a:custGeom>
              <a:gradFill flip="none" rotWithShape="1">
                <a:gsLst>
                  <a:gs pos="28744">
                    <a:schemeClr val="bg1">
                      <a:lumMod val="75000"/>
                    </a:schemeClr>
                  </a:gs>
                  <a:gs pos="78000">
                    <a:srgbClr val="060606"/>
                  </a:gs>
                  <a:gs pos="100000">
                    <a:srgbClr val="3C3C3C"/>
                  </a:gs>
                  <a:gs pos="10000">
                    <a:schemeClr val="bg1">
                      <a:lumMod val="50000"/>
                    </a:schemeClr>
                  </a:gs>
                  <a:gs pos="54000">
                    <a:schemeClr val="tx1"/>
                  </a:gs>
                </a:gsLst>
                <a:lin ang="0" scaled="1"/>
                <a:tileRect/>
              </a:gra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378" name="Rectangle 9"/>
              <p:cNvSpPr>
                <a:spLocks noChangeArrowheads="1"/>
              </p:cNvSpPr>
              <p:nvPr/>
            </p:nvSpPr>
            <p:spPr bwMode="auto">
              <a:xfrm>
                <a:off x="2066965" y="822328"/>
                <a:ext cx="20638" cy="214313"/>
              </a:xfrm>
              <a:prstGeom prst="rect">
                <a:avLst/>
              </a:prstGeom>
              <a:gradFill flip="none" rotWithShape="1">
                <a:gsLst>
                  <a:gs pos="78000">
                    <a:schemeClr val="tx1">
                      <a:lumMod val="75000"/>
                      <a:lumOff val="25000"/>
                    </a:schemeClr>
                  </a:gs>
                  <a:gs pos="100000">
                    <a:srgbClr val="3C3C3C"/>
                  </a:gs>
                  <a:gs pos="0">
                    <a:schemeClr val="tx1">
                      <a:lumMod val="75000"/>
                      <a:lumOff val="25000"/>
                    </a:schemeClr>
                  </a:gs>
                  <a:gs pos="13000">
                    <a:schemeClr val="tx1">
                      <a:lumMod val="85000"/>
                      <a:lumOff val="15000"/>
                    </a:schemeClr>
                  </a:gs>
                </a:gsLst>
                <a:lin ang="16200000" scaled="1"/>
                <a:tileRect/>
              </a:gra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379" name="Rectangle 10"/>
              <p:cNvSpPr>
                <a:spLocks noChangeArrowheads="1"/>
              </p:cNvSpPr>
              <p:nvPr/>
            </p:nvSpPr>
            <p:spPr bwMode="auto">
              <a:xfrm>
                <a:off x="2066960" y="1276353"/>
                <a:ext cx="20638" cy="165101"/>
              </a:xfrm>
              <a:prstGeom prst="rect">
                <a:avLst/>
              </a:prstGeom>
              <a:gradFill flip="none" rotWithShape="1">
                <a:gsLst>
                  <a:gs pos="78000">
                    <a:schemeClr val="tx1">
                      <a:lumMod val="75000"/>
                      <a:lumOff val="25000"/>
                    </a:schemeClr>
                  </a:gs>
                  <a:gs pos="100000">
                    <a:srgbClr val="3C3C3C"/>
                  </a:gs>
                  <a:gs pos="0">
                    <a:schemeClr val="tx1">
                      <a:lumMod val="75000"/>
                      <a:lumOff val="25000"/>
                    </a:schemeClr>
                  </a:gs>
                  <a:gs pos="13000">
                    <a:schemeClr val="tx1">
                      <a:lumMod val="85000"/>
                      <a:lumOff val="15000"/>
                    </a:schemeClr>
                  </a:gs>
                </a:gsLst>
                <a:lin ang="16200000" scaled="1"/>
                <a:tileRect/>
              </a:gra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380" name="Rectangle 11"/>
              <p:cNvSpPr>
                <a:spLocks noChangeArrowheads="1"/>
              </p:cNvSpPr>
              <p:nvPr/>
            </p:nvSpPr>
            <p:spPr bwMode="auto">
              <a:xfrm>
                <a:off x="2066925" y="1670049"/>
                <a:ext cx="20638" cy="166689"/>
              </a:xfrm>
              <a:prstGeom prst="rect">
                <a:avLst/>
              </a:prstGeom>
              <a:gradFill flip="none" rotWithShape="1">
                <a:gsLst>
                  <a:gs pos="78000">
                    <a:schemeClr val="tx1">
                      <a:lumMod val="75000"/>
                      <a:lumOff val="25000"/>
                    </a:schemeClr>
                  </a:gs>
                  <a:gs pos="100000">
                    <a:srgbClr val="3C3C3C"/>
                  </a:gs>
                  <a:gs pos="0">
                    <a:schemeClr val="tx1">
                      <a:lumMod val="75000"/>
                      <a:lumOff val="25000"/>
                    </a:schemeClr>
                  </a:gs>
                  <a:gs pos="13000">
                    <a:schemeClr val="tx1">
                      <a:lumMod val="85000"/>
                      <a:lumOff val="15000"/>
                    </a:schemeClr>
                  </a:gs>
                </a:gsLst>
                <a:lin ang="16200000" scaled="1"/>
                <a:tileRect/>
              </a:gra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grpSp>
        <p:sp>
          <p:nvSpPr>
            <p:cNvPr id="259" name="Freeform 14"/>
            <p:cNvSpPr>
              <a:spLocks/>
            </p:cNvSpPr>
            <p:nvPr/>
          </p:nvSpPr>
          <p:spPr bwMode="auto">
            <a:xfrm>
              <a:off x="5154418" y="1466220"/>
              <a:ext cx="1938738" cy="4119988"/>
            </a:xfrm>
            <a:custGeom>
              <a:avLst/>
              <a:gdLst>
                <a:gd name="T0" fmla="*/ 7316 w 8536"/>
                <a:gd name="T1" fmla="*/ 1 h 18144"/>
                <a:gd name="T2" fmla="*/ 7508 w 8536"/>
                <a:gd name="T3" fmla="*/ 26 h 18144"/>
                <a:gd name="T4" fmla="*/ 7691 w 8536"/>
                <a:gd name="T5" fmla="*/ 77 h 18144"/>
                <a:gd name="T6" fmla="*/ 7862 w 8536"/>
                <a:gd name="T7" fmla="*/ 155 h 18144"/>
                <a:gd name="T8" fmla="*/ 8018 w 8536"/>
                <a:gd name="T9" fmla="*/ 255 h 18144"/>
                <a:gd name="T10" fmla="*/ 8158 w 8536"/>
                <a:gd name="T11" fmla="*/ 377 h 18144"/>
                <a:gd name="T12" fmla="*/ 8279 w 8536"/>
                <a:gd name="T13" fmla="*/ 517 h 18144"/>
                <a:gd name="T14" fmla="*/ 8380 w 8536"/>
                <a:gd name="T15" fmla="*/ 674 h 18144"/>
                <a:gd name="T16" fmla="*/ 8457 w 8536"/>
                <a:gd name="T17" fmla="*/ 845 h 18144"/>
                <a:gd name="T18" fmla="*/ 8510 w 8536"/>
                <a:gd name="T19" fmla="*/ 1027 h 18144"/>
                <a:gd name="T20" fmla="*/ 8535 w 8536"/>
                <a:gd name="T21" fmla="*/ 1218 h 18144"/>
                <a:gd name="T22" fmla="*/ 8535 w 8536"/>
                <a:gd name="T23" fmla="*/ 16924 h 18144"/>
                <a:gd name="T24" fmla="*/ 8510 w 8536"/>
                <a:gd name="T25" fmla="*/ 17117 h 18144"/>
                <a:gd name="T26" fmla="*/ 8457 w 8536"/>
                <a:gd name="T27" fmla="*/ 17299 h 18144"/>
                <a:gd name="T28" fmla="*/ 8380 w 8536"/>
                <a:gd name="T29" fmla="*/ 17470 h 18144"/>
                <a:gd name="T30" fmla="*/ 8279 w 8536"/>
                <a:gd name="T31" fmla="*/ 17626 h 18144"/>
                <a:gd name="T32" fmla="*/ 8158 w 8536"/>
                <a:gd name="T33" fmla="*/ 17767 h 18144"/>
                <a:gd name="T34" fmla="*/ 8018 w 8536"/>
                <a:gd name="T35" fmla="*/ 17888 h 18144"/>
                <a:gd name="T36" fmla="*/ 7862 w 8536"/>
                <a:gd name="T37" fmla="*/ 17988 h 18144"/>
                <a:gd name="T38" fmla="*/ 7691 w 8536"/>
                <a:gd name="T39" fmla="*/ 18065 h 18144"/>
                <a:gd name="T40" fmla="*/ 7508 w 8536"/>
                <a:gd name="T41" fmla="*/ 18118 h 18144"/>
                <a:gd name="T42" fmla="*/ 7316 w 8536"/>
                <a:gd name="T43" fmla="*/ 18143 h 18144"/>
                <a:gd name="T44" fmla="*/ 1220 w 8536"/>
                <a:gd name="T45" fmla="*/ 18143 h 18144"/>
                <a:gd name="T46" fmla="*/ 1027 w 8536"/>
                <a:gd name="T47" fmla="*/ 18118 h 18144"/>
                <a:gd name="T48" fmla="*/ 845 w 8536"/>
                <a:gd name="T49" fmla="*/ 18065 h 18144"/>
                <a:gd name="T50" fmla="*/ 674 w 8536"/>
                <a:gd name="T51" fmla="*/ 17988 h 18144"/>
                <a:gd name="T52" fmla="*/ 518 w 8536"/>
                <a:gd name="T53" fmla="*/ 17888 h 18144"/>
                <a:gd name="T54" fmla="*/ 377 w 8536"/>
                <a:gd name="T55" fmla="*/ 17767 h 18144"/>
                <a:gd name="T56" fmla="*/ 256 w 8536"/>
                <a:gd name="T57" fmla="*/ 17626 h 18144"/>
                <a:gd name="T58" fmla="*/ 156 w 8536"/>
                <a:gd name="T59" fmla="*/ 17470 h 18144"/>
                <a:gd name="T60" fmla="*/ 78 w 8536"/>
                <a:gd name="T61" fmla="*/ 17299 h 18144"/>
                <a:gd name="T62" fmla="*/ 26 w 8536"/>
                <a:gd name="T63" fmla="*/ 17117 h 18144"/>
                <a:gd name="T64" fmla="*/ 2 w 8536"/>
                <a:gd name="T65" fmla="*/ 16924 h 18144"/>
                <a:gd name="T66" fmla="*/ 2 w 8536"/>
                <a:gd name="T67" fmla="*/ 1218 h 18144"/>
                <a:gd name="T68" fmla="*/ 26 w 8536"/>
                <a:gd name="T69" fmla="*/ 1027 h 18144"/>
                <a:gd name="T70" fmla="*/ 78 w 8536"/>
                <a:gd name="T71" fmla="*/ 845 h 18144"/>
                <a:gd name="T72" fmla="*/ 156 w 8536"/>
                <a:gd name="T73" fmla="*/ 674 h 18144"/>
                <a:gd name="T74" fmla="*/ 256 w 8536"/>
                <a:gd name="T75" fmla="*/ 517 h 18144"/>
                <a:gd name="T76" fmla="*/ 377 w 8536"/>
                <a:gd name="T77" fmla="*/ 377 h 18144"/>
                <a:gd name="T78" fmla="*/ 518 w 8536"/>
                <a:gd name="T79" fmla="*/ 255 h 18144"/>
                <a:gd name="T80" fmla="*/ 674 w 8536"/>
                <a:gd name="T81" fmla="*/ 155 h 18144"/>
                <a:gd name="T82" fmla="*/ 845 w 8536"/>
                <a:gd name="T83" fmla="*/ 77 h 18144"/>
                <a:gd name="T84" fmla="*/ 1027 w 8536"/>
                <a:gd name="T85" fmla="*/ 26 h 18144"/>
                <a:gd name="T86" fmla="*/ 1220 w 8536"/>
                <a:gd name="T87" fmla="*/ 1 h 18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8536" h="18144">
                  <a:moveTo>
                    <a:pt x="1286" y="0"/>
                  </a:moveTo>
                  <a:lnTo>
                    <a:pt x="7249" y="0"/>
                  </a:lnTo>
                  <a:lnTo>
                    <a:pt x="7316" y="1"/>
                  </a:lnTo>
                  <a:lnTo>
                    <a:pt x="7381" y="5"/>
                  </a:lnTo>
                  <a:lnTo>
                    <a:pt x="7446" y="15"/>
                  </a:lnTo>
                  <a:lnTo>
                    <a:pt x="7508" y="26"/>
                  </a:lnTo>
                  <a:lnTo>
                    <a:pt x="7570" y="40"/>
                  </a:lnTo>
                  <a:lnTo>
                    <a:pt x="7632" y="58"/>
                  </a:lnTo>
                  <a:lnTo>
                    <a:pt x="7691" y="77"/>
                  </a:lnTo>
                  <a:lnTo>
                    <a:pt x="7749" y="101"/>
                  </a:lnTo>
                  <a:lnTo>
                    <a:pt x="7806" y="126"/>
                  </a:lnTo>
                  <a:lnTo>
                    <a:pt x="7862" y="155"/>
                  </a:lnTo>
                  <a:lnTo>
                    <a:pt x="7916" y="186"/>
                  </a:lnTo>
                  <a:lnTo>
                    <a:pt x="7968" y="220"/>
                  </a:lnTo>
                  <a:lnTo>
                    <a:pt x="8018" y="255"/>
                  </a:lnTo>
                  <a:lnTo>
                    <a:pt x="8067" y="294"/>
                  </a:lnTo>
                  <a:lnTo>
                    <a:pt x="8114" y="334"/>
                  </a:lnTo>
                  <a:lnTo>
                    <a:pt x="8158" y="377"/>
                  </a:lnTo>
                  <a:lnTo>
                    <a:pt x="8201" y="422"/>
                  </a:lnTo>
                  <a:lnTo>
                    <a:pt x="8242" y="468"/>
                  </a:lnTo>
                  <a:lnTo>
                    <a:pt x="8279" y="517"/>
                  </a:lnTo>
                  <a:lnTo>
                    <a:pt x="8316" y="567"/>
                  </a:lnTo>
                  <a:lnTo>
                    <a:pt x="8349" y="620"/>
                  </a:lnTo>
                  <a:lnTo>
                    <a:pt x="8380" y="674"/>
                  </a:lnTo>
                  <a:lnTo>
                    <a:pt x="8408" y="728"/>
                  </a:lnTo>
                  <a:lnTo>
                    <a:pt x="8434" y="785"/>
                  </a:lnTo>
                  <a:lnTo>
                    <a:pt x="8457" y="845"/>
                  </a:lnTo>
                  <a:lnTo>
                    <a:pt x="8478" y="904"/>
                  </a:lnTo>
                  <a:lnTo>
                    <a:pt x="8495" y="964"/>
                  </a:lnTo>
                  <a:lnTo>
                    <a:pt x="8510" y="1027"/>
                  </a:lnTo>
                  <a:lnTo>
                    <a:pt x="8521" y="1090"/>
                  </a:lnTo>
                  <a:lnTo>
                    <a:pt x="8529" y="1153"/>
                  </a:lnTo>
                  <a:lnTo>
                    <a:pt x="8535" y="1218"/>
                  </a:lnTo>
                  <a:lnTo>
                    <a:pt x="8536" y="1285"/>
                  </a:lnTo>
                  <a:lnTo>
                    <a:pt x="8536" y="16858"/>
                  </a:lnTo>
                  <a:lnTo>
                    <a:pt x="8535" y="16924"/>
                  </a:lnTo>
                  <a:lnTo>
                    <a:pt x="8529" y="16989"/>
                  </a:lnTo>
                  <a:lnTo>
                    <a:pt x="8521" y="17054"/>
                  </a:lnTo>
                  <a:lnTo>
                    <a:pt x="8510" y="17117"/>
                  </a:lnTo>
                  <a:lnTo>
                    <a:pt x="8495" y="17178"/>
                  </a:lnTo>
                  <a:lnTo>
                    <a:pt x="8478" y="17240"/>
                  </a:lnTo>
                  <a:lnTo>
                    <a:pt x="8457" y="17299"/>
                  </a:lnTo>
                  <a:lnTo>
                    <a:pt x="8434" y="17357"/>
                  </a:lnTo>
                  <a:lnTo>
                    <a:pt x="8408" y="17414"/>
                  </a:lnTo>
                  <a:lnTo>
                    <a:pt x="8380" y="17470"/>
                  </a:lnTo>
                  <a:lnTo>
                    <a:pt x="8349" y="17524"/>
                  </a:lnTo>
                  <a:lnTo>
                    <a:pt x="8316" y="17576"/>
                  </a:lnTo>
                  <a:lnTo>
                    <a:pt x="8279" y="17626"/>
                  </a:lnTo>
                  <a:lnTo>
                    <a:pt x="8242" y="17675"/>
                  </a:lnTo>
                  <a:lnTo>
                    <a:pt x="8201" y="17722"/>
                  </a:lnTo>
                  <a:lnTo>
                    <a:pt x="8158" y="17767"/>
                  </a:lnTo>
                  <a:lnTo>
                    <a:pt x="8114" y="17809"/>
                  </a:lnTo>
                  <a:lnTo>
                    <a:pt x="8067" y="17850"/>
                  </a:lnTo>
                  <a:lnTo>
                    <a:pt x="8018" y="17888"/>
                  </a:lnTo>
                  <a:lnTo>
                    <a:pt x="7968" y="17924"/>
                  </a:lnTo>
                  <a:lnTo>
                    <a:pt x="7916" y="17957"/>
                  </a:lnTo>
                  <a:lnTo>
                    <a:pt x="7862" y="17988"/>
                  </a:lnTo>
                  <a:lnTo>
                    <a:pt x="7806" y="18016"/>
                  </a:lnTo>
                  <a:lnTo>
                    <a:pt x="7749" y="18043"/>
                  </a:lnTo>
                  <a:lnTo>
                    <a:pt x="7691" y="18065"/>
                  </a:lnTo>
                  <a:lnTo>
                    <a:pt x="7632" y="18086"/>
                  </a:lnTo>
                  <a:lnTo>
                    <a:pt x="7570" y="18103"/>
                  </a:lnTo>
                  <a:lnTo>
                    <a:pt x="7508" y="18118"/>
                  </a:lnTo>
                  <a:lnTo>
                    <a:pt x="7446" y="18129"/>
                  </a:lnTo>
                  <a:lnTo>
                    <a:pt x="7381" y="18137"/>
                  </a:lnTo>
                  <a:lnTo>
                    <a:pt x="7316" y="18143"/>
                  </a:lnTo>
                  <a:lnTo>
                    <a:pt x="7249" y="18144"/>
                  </a:lnTo>
                  <a:lnTo>
                    <a:pt x="1286" y="18144"/>
                  </a:lnTo>
                  <a:lnTo>
                    <a:pt x="1220" y="18143"/>
                  </a:lnTo>
                  <a:lnTo>
                    <a:pt x="1155" y="18137"/>
                  </a:lnTo>
                  <a:lnTo>
                    <a:pt x="1091" y="18129"/>
                  </a:lnTo>
                  <a:lnTo>
                    <a:pt x="1027" y="18118"/>
                  </a:lnTo>
                  <a:lnTo>
                    <a:pt x="966" y="18103"/>
                  </a:lnTo>
                  <a:lnTo>
                    <a:pt x="904" y="18086"/>
                  </a:lnTo>
                  <a:lnTo>
                    <a:pt x="845" y="18065"/>
                  </a:lnTo>
                  <a:lnTo>
                    <a:pt x="787" y="18043"/>
                  </a:lnTo>
                  <a:lnTo>
                    <a:pt x="730" y="18016"/>
                  </a:lnTo>
                  <a:lnTo>
                    <a:pt x="674" y="17988"/>
                  </a:lnTo>
                  <a:lnTo>
                    <a:pt x="620" y="17957"/>
                  </a:lnTo>
                  <a:lnTo>
                    <a:pt x="569" y="17924"/>
                  </a:lnTo>
                  <a:lnTo>
                    <a:pt x="518" y="17888"/>
                  </a:lnTo>
                  <a:lnTo>
                    <a:pt x="470" y="17850"/>
                  </a:lnTo>
                  <a:lnTo>
                    <a:pt x="423" y="17809"/>
                  </a:lnTo>
                  <a:lnTo>
                    <a:pt x="377" y="17767"/>
                  </a:lnTo>
                  <a:lnTo>
                    <a:pt x="335" y="17722"/>
                  </a:lnTo>
                  <a:lnTo>
                    <a:pt x="295" y="17675"/>
                  </a:lnTo>
                  <a:lnTo>
                    <a:pt x="256" y="17626"/>
                  </a:lnTo>
                  <a:lnTo>
                    <a:pt x="221" y="17576"/>
                  </a:lnTo>
                  <a:lnTo>
                    <a:pt x="187" y="17524"/>
                  </a:lnTo>
                  <a:lnTo>
                    <a:pt x="156" y="17470"/>
                  </a:lnTo>
                  <a:lnTo>
                    <a:pt x="128" y="17414"/>
                  </a:lnTo>
                  <a:lnTo>
                    <a:pt x="101" y="17357"/>
                  </a:lnTo>
                  <a:lnTo>
                    <a:pt x="78" y="17299"/>
                  </a:lnTo>
                  <a:lnTo>
                    <a:pt x="58" y="17240"/>
                  </a:lnTo>
                  <a:lnTo>
                    <a:pt x="41" y="17178"/>
                  </a:lnTo>
                  <a:lnTo>
                    <a:pt x="26" y="17117"/>
                  </a:lnTo>
                  <a:lnTo>
                    <a:pt x="15" y="17054"/>
                  </a:lnTo>
                  <a:lnTo>
                    <a:pt x="7" y="16989"/>
                  </a:lnTo>
                  <a:lnTo>
                    <a:pt x="2" y="16924"/>
                  </a:lnTo>
                  <a:lnTo>
                    <a:pt x="0" y="16858"/>
                  </a:lnTo>
                  <a:lnTo>
                    <a:pt x="0" y="1285"/>
                  </a:lnTo>
                  <a:lnTo>
                    <a:pt x="2" y="1218"/>
                  </a:lnTo>
                  <a:lnTo>
                    <a:pt x="7" y="1153"/>
                  </a:lnTo>
                  <a:lnTo>
                    <a:pt x="15" y="1090"/>
                  </a:lnTo>
                  <a:lnTo>
                    <a:pt x="26" y="1027"/>
                  </a:lnTo>
                  <a:lnTo>
                    <a:pt x="41" y="964"/>
                  </a:lnTo>
                  <a:lnTo>
                    <a:pt x="58" y="904"/>
                  </a:lnTo>
                  <a:lnTo>
                    <a:pt x="78" y="845"/>
                  </a:lnTo>
                  <a:lnTo>
                    <a:pt x="101" y="785"/>
                  </a:lnTo>
                  <a:lnTo>
                    <a:pt x="128" y="728"/>
                  </a:lnTo>
                  <a:lnTo>
                    <a:pt x="156" y="674"/>
                  </a:lnTo>
                  <a:lnTo>
                    <a:pt x="187" y="620"/>
                  </a:lnTo>
                  <a:lnTo>
                    <a:pt x="221" y="567"/>
                  </a:lnTo>
                  <a:lnTo>
                    <a:pt x="256" y="517"/>
                  </a:lnTo>
                  <a:lnTo>
                    <a:pt x="295" y="468"/>
                  </a:lnTo>
                  <a:lnTo>
                    <a:pt x="335" y="422"/>
                  </a:lnTo>
                  <a:lnTo>
                    <a:pt x="377" y="377"/>
                  </a:lnTo>
                  <a:lnTo>
                    <a:pt x="423" y="334"/>
                  </a:lnTo>
                  <a:lnTo>
                    <a:pt x="470" y="294"/>
                  </a:lnTo>
                  <a:lnTo>
                    <a:pt x="518" y="255"/>
                  </a:lnTo>
                  <a:lnTo>
                    <a:pt x="569" y="220"/>
                  </a:lnTo>
                  <a:lnTo>
                    <a:pt x="620" y="186"/>
                  </a:lnTo>
                  <a:lnTo>
                    <a:pt x="674" y="155"/>
                  </a:lnTo>
                  <a:lnTo>
                    <a:pt x="730" y="126"/>
                  </a:lnTo>
                  <a:lnTo>
                    <a:pt x="787" y="101"/>
                  </a:lnTo>
                  <a:lnTo>
                    <a:pt x="845" y="77"/>
                  </a:lnTo>
                  <a:lnTo>
                    <a:pt x="904" y="58"/>
                  </a:lnTo>
                  <a:lnTo>
                    <a:pt x="966" y="40"/>
                  </a:lnTo>
                  <a:lnTo>
                    <a:pt x="1027" y="26"/>
                  </a:lnTo>
                  <a:lnTo>
                    <a:pt x="1091" y="15"/>
                  </a:lnTo>
                  <a:lnTo>
                    <a:pt x="1155" y="5"/>
                  </a:lnTo>
                  <a:lnTo>
                    <a:pt x="1220" y="1"/>
                  </a:lnTo>
                  <a:lnTo>
                    <a:pt x="1286" y="0"/>
                  </a:lnTo>
                  <a:close/>
                </a:path>
              </a:pathLst>
            </a:custGeom>
            <a:solidFill>
              <a:schemeClr val="tx1">
                <a:lumMod val="85000"/>
                <a:lumOff val="1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60" name="Freeform 15"/>
            <p:cNvSpPr>
              <a:spLocks/>
            </p:cNvSpPr>
            <p:nvPr/>
          </p:nvSpPr>
          <p:spPr bwMode="auto">
            <a:xfrm>
              <a:off x="5173492" y="1485294"/>
              <a:ext cx="1900590" cy="4081840"/>
            </a:xfrm>
            <a:custGeom>
              <a:avLst/>
              <a:gdLst>
                <a:gd name="T0" fmla="*/ 7245 w 8370"/>
                <a:gd name="T1" fmla="*/ 2 h 17971"/>
                <a:gd name="T2" fmla="*/ 7422 w 8370"/>
                <a:gd name="T3" fmla="*/ 24 h 17971"/>
                <a:gd name="T4" fmla="*/ 7591 w 8370"/>
                <a:gd name="T5" fmla="*/ 72 h 17971"/>
                <a:gd name="T6" fmla="*/ 7748 w 8370"/>
                <a:gd name="T7" fmla="*/ 143 h 17971"/>
                <a:gd name="T8" fmla="*/ 7892 w 8370"/>
                <a:gd name="T9" fmla="*/ 236 h 17971"/>
                <a:gd name="T10" fmla="*/ 8022 w 8370"/>
                <a:gd name="T11" fmla="*/ 348 h 17971"/>
                <a:gd name="T12" fmla="*/ 8134 w 8370"/>
                <a:gd name="T13" fmla="*/ 477 h 17971"/>
                <a:gd name="T14" fmla="*/ 8226 w 8370"/>
                <a:gd name="T15" fmla="*/ 622 h 17971"/>
                <a:gd name="T16" fmla="*/ 8298 w 8370"/>
                <a:gd name="T17" fmla="*/ 779 h 17971"/>
                <a:gd name="T18" fmla="*/ 8346 w 8370"/>
                <a:gd name="T19" fmla="*/ 947 h 17971"/>
                <a:gd name="T20" fmla="*/ 8369 w 8370"/>
                <a:gd name="T21" fmla="*/ 1124 h 17971"/>
                <a:gd name="T22" fmla="*/ 8369 w 8370"/>
                <a:gd name="T23" fmla="*/ 16847 h 17971"/>
                <a:gd name="T24" fmla="*/ 8346 w 8370"/>
                <a:gd name="T25" fmla="*/ 17024 h 17971"/>
                <a:gd name="T26" fmla="*/ 8298 w 8370"/>
                <a:gd name="T27" fmla="*/ 17193 h 17971"/>
                <a:gd name="T28" fmla="*/ 8226 w 8370"/>
                <a:gd name="T29" fmla="*/ 17350 h 17971"/>
                <a:gd name="T30" fmla="*/ 8134 w 8370"/>
                <a:gd name="T31" fmla="*/ 17494 h 17971"/>
                <a:gd name="T32" fmla="*/ 8022 w 8370"/>
                <a:gd name="T33" fmla="*/ 17624 h 17971"/>
                <a:gd name="T34" fmla="*/ 7892 w 8370"/>
                <a:gd name="T35" fmla="*/ 17735 h 17971"/>
                <a:gd name="T36" fmla="*/ 7748 w 8370"/>
                <a:gd name="T37" fmla="*/ 17828 h 17971"/>
                <a:gd name="T38" fmla="*/ 7591 w 8370"/>
                <a:gd name="T39" fmla="*/ 17900 h 17971"/>
                <a:gd name="T40" fmla="*/ 7422 w 8370"/>
                <a:gd name="T41" fmla="*/ 17947 h 17971"/>
                <a:gd name="T42" fmla="*/ 7245 w 8370"/>
                <a:gd name="T43" fmla="*/ 17970 h 17971"/>
                <a:gd name="T44" fmla="*/ 1125 w 8370"/>
                <a:gd name="T45" fmla="*/ 17970 h 17971"/>
                <a:gd name="T46" fmla="*/ 948 w 8370"/>
                <a:gd name="T47" fmla="*/ 17947 h 17971"/>
                <a:gd name="T48" fmla="*/ 779 w 8370"/>
                <a:gd name="T49" fmla="*/ 17900 h 17971"/>
                <a:gd name="T50" fmla="*/ 622 w 8370"/>
                <a:gd name="T51" fmla="*/ 17828 h 17971"/>
                <a:gd name="T52" fmla="*/ 478 w 8370"/>
                <a:gd name="T53" fmla="*/ 17735 h 17971"/>
                <a:gd name="T54" fmla="*/ 349 w 8370"/>
                <a:gd name="T55" fmla="*/ 17624 h 17971"/>
                <a:gd name="T56" fmla="*/ 236 w 8370"/>
                <a:gd name="T57" fmla="*/ 17494 h 17971"/>
                <a:gd name="T58" fmla="*/ 144 w 8370"/>
                <a:gd name="T59" fmla="*/ 17350 h 17971"/>
                <a:gd name="T60" fmla="*/ 73 w 8370"/>
                <a:gd name="T61" fmla="*/ 17193 h 17971"/>
                <a:gd name="T62" fmla="*/ 24 w 8370"/>
                <a:gd name="T63" fmla="*/ 17024 h 17971"/>
                <a:gd name="T64" fmla="*/ 2 w 8370"/>
                <a:gd name="T65" fmla="*/ 16847 h 17971"/>
                <a:gd name="T66" fmla="*/ 2 w 8370"/>
                <a:gd name="T67" fmla="*/ 1124 h 17971"/>
                <a:gd name="T68" fmla="*/ 24 w 8370"/>
                <a:gd name="T69" fmla="*/ 947 h 17971"/>
                <a:gd name="T70" fmla="*/ 73 w 8370"/>
                <a:gd name="T71" fmla="*/ 779 h 17971"/>
                <a:gd name="T72" fmla="*/ 144 w 8370"/>
                <a:gd name="T73" fmla="*/ 622 h 17971"/>
                <a:gd name="T74" fmla="*/ 236 w 8370"/>
                <a:gd name="T75" fmla="*/ 477 h 17971"/>
                <a:gd name="T76" fmla="*/ 349 w 8370"/>
                <a:gd name="T77" fmla="*/ 348 h 17971"/>
                <a:gd name="T78" fmla="*/ 478 w 8370"/>
                <a:gd name="T79" fmla="*/ 236 h 17971"/>
                <a:gd name="T80" fmla="*/ 622 w 8370"/>
                <a:gd name="T81" fmla="*/ 143 h 17971"/>
                <a:gd name="T82" fmla="*/ 779 w 8370"/>
                <a:gd name="T83" fmla="*/ 72 h 17971"/>
                <a:gd name="T84" fmla="*/ 948 w 8370"/>
                <a:gd name="T85" fmla="*/ 24 h 17971"/>
                <a:gd name="T86" fmla="*/ 1125 w 8370"/>
                <a:gd name="T87" fmla="*/ 2 h 179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8370" h="17971">
                  <a:moveTo>
                    <a:pt x="1186" y="0"/>
                  </a:moveTo>
                  <a:lnTo>
                    <a:pt x="7184" y="0"/>
                  </a:lnTo>
                  <a:lnTo>
                    <a:pt x="7245" y="2"/>
                  </a:lnTo>
                  <a:lnTo>
                    <a:pt x="7304" y="6"/>
                  </a:lnTo>
                  <a:lnTo>
                    <a:pt x="7364" y="14"/>
                  </a:lnTo>
                  <a:lnTo>
                    <a:pt x="7422" y="24"/>
                  </a:lnTo>
                  <a:lnTo>
                    <a:pt x="7480" y="37"/>
                  </a:lnTo>
                  <a:lnTo>
                    <a:pt x="7536" y="53"/>
                  </a:lnTo>
                  <a:lnTo>
                    <a:pt x="7591" y="72"/>
                  </a:lnTo>
                  <a:lnTo>
                    <a:pt x="7644" y="94"/>
                  </a:lnTo>
                  <a:lnTo>
                    <a:pt x="7697" y="117"/>
                  </a:lnTo>
                  <a:lnTo>
                    <a:pt x="7748" y="143"/>
                  </a:lnTo>
                  <a:lnTo>
                    <a:pt x="7798" y="173"/>
                  </a:lnTo>
                  <a:lnTo>
                    <a:pt x="7846" y="203"/>
                  </a:lnTo>
                  <a:lnTo>
                    <a:pt x="7892" y="236"/>
                  </a:lnTo>
                  <a:lnTo>
                    <a:pt x="7937" y="272"/>
                  </a:lnTo>
                  <a:lnTo>
                    <a:pt x="7981" y="308"/>
                  </a:lnTo>
                  <a:lnTo>
                    <a:pt x="8022" y="348"/>
                  </a:lnTo>
                  <a:lnTo>
                    <a:pt x="8061" y="389"/>
                  </a:lnTo>
                  <a:lnTo>
                    <a:pt x="8098" y="432"/>
                  </a:lnTo>
                  <a:lnTo>
                    <a:pt x="8134" y="477"/>
                  </a:lnTo>
                  <a:lnTo>
                    <a:pt x="8167" y="524"/>
                  </a:lnTo>
                  <a:lnTo>
                    <a:pt x="8198" y="572"/>
                  </a:lnTo>
                  <a:lnTo>
                    <a:pt x="8226" y="622"/>
                  </a:lnTo>
                  <a:lnTo>
                    <a:pt x="8252" y="673"/>
                  </a:lnTo>
                  <a:lnTo>
                    <a:pt x="8276" y="725"/>
                  </a:lnTo>
                  <a:lnTo>
                    <a:pt x="8298" y="779"/>
                  </a:lnTo>
                  <a:lnTo>
                    <a:pt x="8316" y="834"/>
                  </a:lnTo>
                  <a:lnTo>
                    <a:pt x="8332" y="890"/>
                  </a:lnTo>
                  <a:lnTo>
                    <a:pt x="8346" y="947"/>
                  </a:lnTo>
                  <a:lnTo>
                    <a:pt x="8356" y="1005"/>
                  </a:lnTo>
                  <a:lnTo>
                    <a:pt x="8364" y="1064"/>
                  </a:lnTo>
                  <a:lnTo>
                    <a:pt x="8369" y="1124"/>
                  </a:lnTo>
                  <a:lnTo>
                    <a:pt x="8370" y="1185"/>
                  </a:lnTo>
                  <a:lnTo>
                    <a:pt x="8370" y="16786"/>
                  </a:lnTo>
                  <a:lnTo>
                    <a:pt x="8369" y="16847"/>
                  </a:lnTo>
                  <a:lnTo>
                    <a:pt x="8364" y="16907"/>
                  </a:lnTo>
                  <a:lnTo>
                    <a:pt x="8356" y="16966"/>
                  </a:lnTo>
                  <a:lnTo>
                    <a:pt x="8346" y="17024"/>
                  </a:lnTo>
                  <a:lnTo>
                    <a:pt x="8332" y="17081"/>
                  </a:lnTo>
                  <a:lnTo>
                    <a:pt x="8316" y="17138"/>
                  </a:lnTo>
                  <a:lnTo>
                    <a:pt x="8298" y="17193"/>
                  </a:lnTo>
                  <a:lnTo>
                    <a:pt x="8276" y="17246"/>
                  </a:lnTo>
                  <a:lnTo>
                    <a:pt x="8252" y="17299"/>
                  </a:lnTo>
                  <a:lnTo>
                    <a:pt x="8226" y="17350"/>
                  </a:lnTo>
                  <a:lnTo>
                    <a:pt x="8198" y="17399"/>
                  </a:lnTo>
                  <a:lnTo>
                    <a:pt x="8167" y="17448"/>
                  </a:lnTo>
                  <a:lnTo>
                    <a:pt x="8134" y="17494"/>
                  </a:lnTo>
                  <a:lnTo>
                    <a:pt x="8098" y="17539"/>
                  </a:lnTo>
                  <a:lnTo>
                    <a:pt x="8061" y="17583"/>
                  </a:lnTo>
                  <a:lnTo>
                    <a:pt x="8022" y="17624"/>
                  </a:lnTo>
                  <a:lnTo>
                    <a:pt x="7981" y="17662"/>
                  </a:lnTo>
                  <a:lnTo>
                    <a:pt x="7937" y="17700"/>
                  </a:lnTo>
                  <a:lnTo>
                    <a:pt x="7892" y="17735"/>
                  </a:lnTo>
                  <a:lnTo>
                    <a:pt x="7846" y="17768"/>
                  </a:lnTo>
                  <a:lnTo>
                    <a:pt x="7798" y="17799"/>
                  </a:lnTo>
                  <a:lnTo>
                    <a:pt x="7748" y="17828"/>
                  </a:lnTo>
                  <a:lnTo>
                    <a:pt x="7697" y="17854"/>
                  </a:lnTo>
                  <a:lnTo>
                    <a:pt x="7644" y="17878"/>
                  </a:lnTo>
                  <a:lnTo>
                    <a:pt x="7591" y="17900"/>
                  </a:lnTo>
                  <a:lnTo>
                    <a:pt x="7536" y="17918"/>
                  </a:lnTo>
                  <a:lnTo>
                    <a:pt x="7480" y="17934"/>
                  </a:lnTo>
                  <a:lnTo>
                    <a:pt x="7422" y="17947"/>
                  </a:lnTo>
                  <a:lnTo>
                    <a:pt x="7364" y="17958"/>
                  </a:lnTo>
                  <a:lnTo>
                    <a:pt x="7304" y="17966"/>
                  </a:lnTo>
                  <a:lnTo>
                    <a:pt x="7245" y="17970"/>
                  </a:lnTo>
                  <a:lnTo>
                    <a:pt x="7184" y="17971"/>
                  </a:lnTo>
                  <a:lnTo>
                    <a:pt x="1186" y="17971"/>
                  </a:lnTo>
                  <a:lnTo>
                    <a:pt x="1125" y="17970"/>
                  </a:lnTo>
                  <a:lnTo>
                    <a:pt x="1065" y="17966"/>
                  </a:lnTo>
                  <a:lnTo>
                    <a:pt x="1006" y="17958"/>
                  </a:lnTo>
                  <a:lnTo>
                    <a:pt x="948" y="17947"/>
                  </a:lnTo>
                  <a:lnTo>
                    <a:pt x="891" y="17934"/>
                  </a:lnTo>
                  <a:lnTo>
                    <a:pt x="835" y="17918"/>
                  </a:lnTo>
                  <a:lnTo>
                    <a:pt x="779" y="17900"/>
                  </a:lnTo>
                  <a:lnTo>
                    <a:pt x="725" y="17878"/>
                  </a:lnTo>
                  <a:lnTo>
                    <a:pt x="673" y="17854"/>
                  </a:lnTo>
                  <a:lnTo>
                    <a:pt x="622" y="17828"/>
                  </a:lnTo>
                  <a:lnTo>
                    <a:pt x="573" y="17799"/>
                  </a:lnTo>
                  <a:lnTo>
                    <a:pt x="525" y="17768"/>
                  </a:lnTo>
                  <a:lnTo>
                    <a:pt x="478" y="17735"/>
                  </a:lnTo>
                  <a:lnTo>
                    <a:pt x="432" y="17700"/>
                  </a:lnTo>
                  <a:lnTo>
                    <a:pt x="390" y="17662"/>
                  </a:lnTo>
                  <a:lnTo>
                    <a:pt x="349" y="17624"/>
                  </a:lnTo>
                  <a:lnTo>
                    <a:pt x="309" y="17583"/>
                  </a:lnTo>
                  <a:lnTo>
                    <a:pt x="272" y="17539"/>
                  </a:lnTo>
                  <a:lnTo>
                    <a:pt x="236" y="17494"/>
                  </a:lnTo>
                  <a:lnTo>
                    <a:pt x="203" y="17448"/>
                  </a:lnTo>
                  <a:lnTo>
                    <a:pt x="172" y="17399"/>
                  </a:lnTo>
                  <a:lnTo>
                    <a:pt x="144" y="17350"/>
                  </a:lnTo>
                  <a:lnTo>
                    <a:pt x="118" y="17299"/>
                  </a:lnTo>
                  <a:lnTo>
                    <a:pt x="94" y="17246"/>
                  </a:lnTo>
                  <a:lnTo>
                    <a:pt x="73" y="17193"/>
                  </a:lnTo>
                  <a:lnTo>
                    <a:pt x="54" y="17138"/>
                  </a:lnTo>
                  <a:lnTo>
                    <a:pt x="38" y="17081"/>
                  </a:lnTo>
                  <a:lnTo>
                    <a:pt x="24" y="17024"/>
                  </a:lnTo>
                  <a:lnTo>
                    <a:pt x="14" y="16966"/>
                  </a:lnTo>
                  <a:lnTo>
                    <a:pt x="7" y="16907"/>
                  </a:lnTo>
                  <a:lnTo>
                    <a:pt x="2" y="16847"/>
                  </a:lnTo>
                  <a:lnTo>
                    <a:pt x="0" y="16786"/>
                  </a:lnTo>
                  <a:lnTo>
                    <a:pt x="0" y="1185"/>
                  </a:lnTo>
                  <a:lnTo>
                    <a:pt x="2" y="1124"/>
                  </a:lnTo>
                  <a:lnTo>
                    <a:pt x="7" y="1064"/>
                  </a:lnTo>
                  <a:lnTo>
                    <a:pt x="14" y="1005"/>
                  </a:lnTo>
                  <a:lnTo>
                    <a:pt x="24" y="947"/>
                  </a:lnTo>
                  <a:lnTo>
                    <a:pt x="38" y="890"/>
                  </a:lnTo>
                  <a:lnTo>
                    <a:pt x="54" y="834"/>
                  </a:lnTo>
                  <a:lnTo>
                    <a:pt x="73" y="779"/>
                  </a:lnTo>
                  <a:lnTo>
                    <a:pt x="94" y="725"/>
                  </a:lnTo>
                  <a:lnTo>
                    <a:pt x="118" y="673"/>
                  </a:lnTo>
                  <a:lnTo>
                    <a:pt x="144" y="622"/>
                  </a:lnTo>
                  <a:lnTo>
                    <a:pt x="172" y="572"/>
                  </a:lnTo>
                  <a:lnTo>
                    <a:pt x="203" y="524"/>
                  </a:lnTo>
                  <a:lnTo>
                    <a:pt x="236" y="477"/>
                  </a:lnTo>
                  <a:lnTo>
                    <a:pt x="272" y="432"/>
                  </a:lnTo>
                  <a:lnTo>
                    <a:pt x="309" y="389"/>
                  </a:lnTo>
                  <a:lnTo>
                    <a:pt x="349" y="348"/>
                  </a:lnTo>
                  <a:lnTo>
                    <a:pt x="390" y="308"/>
                  </a:lnTo>
                  <a:lnTo>
                    <a:pt x="432" y="272"/>
                  </a:lnTo>
                  <a:lnTo>
                    <a:pt x="478" y="236"/>
                  </a:lnTo>
                  <a:lnTo>
                    <a:pt x="525" y="203"/>
                  </a:lnTo>
                  <a:lnTo>
                    <a:pt x="573" y="173"/>
                  </a:lnTo>
                  <a:lnTo>
                    <a:pt x="622" y="143"/>
                  </a:lnTo>
                  <a:lnTo>
                    <a:pt x="673" y="117"/>
                  </a:lnTo>
                  <a:lnTo>
                    <a:pt x="725" y="94"/>
                  </a:lnTo>
                  <a:lnTo>
                    <a:pt x="779" y="72"/>
                  </a:lnTo>
                  <a:lnTo>
                    <a:pt x="835" y="53"/>
                  </a:lnTo>
                  <a:lnTo>
                    <a:pt x="891" y="37"/>
                  </a:lnTo>
                  <a:lnTo>
                    <a:pt x="948" y="24"/>
                  </a:lnTo>
                  <a:lnTo>
                    <a:pt x="1006" y="14"/>
                  </a:lnTo>
                  <a:lnTo>
                    <a:pt x="1065" y="6"/>
                  </a:lnTo>
                  <a:lnTo>
                    <a:pt x="1125" y="2"/>
                  </a:lnTo>
                  <a:lnTo>
                    <a:pt x="1186" y="0"/>
                  </a:lnTo>
                  <a:close/>
                </a:path>
              </a:pathLst>
            </a:custGeom>
            <a:solidFill>
              <a:srgbClr val="686A7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345" name="Freeform 16"/>
            <p:cNvSpPr>
              <a:spLocks/>
            </p:cNvSpPr>
            <p:nvPr/>
          </p:nvSpPr>
          <p:spPr bwMode="auto">
            <a:xfrm>
              <a:off x="5184391" y="1497556"/>
              <a:ext cx="1880153" cy="4057316"/>
            </a:xfrm>
            <a:custGeom>
              <a:avLst/>
              <a:gdLst>
                <a:gd name="T0" fmla="*/ 7193 w 8280"/>
                <a:gd name="T1" fmla="*/ 2 h 17873"/>
                <a:gd name="T2" fmla="*/ 7364 w 8280"/>
                <a:gd name="T3" fmla="*/ 23 h 17873"/>
                <a:gd name="T4" fmla="*/ 7527 w 8280"/>
                <a:gd name="T5" fmla="*/ 70 h 17873"/>
                <a:gd name="T6" fmla="*/ 7679 w 8280"/>
                <a:gd name="T7" fmla="*/ 140 h 17873"/>
                <a:gd name="T8" fmla="*/ 7819 w 8280"/>
                <a:gd name="T9" fmla="*/ 228 h 17873"/>
                <a:gd name="T10" fmla="*/ 7944 w 8280"/>
                <a:gd name="T11" fmla="*/ 337 h 17873"/>
                <a:gd name="T12" fmla="*/ 8052 w 8280"/>
                <a:gd name="T13" fmla="*/ 462 h 17873"/>
                <a:gd name="T14" fmla="*/ 8142 w 8280"/>
                <a:gd name="T15" fmla="*/ 601 h 17873"/>
                <a:gd name="T16" fmla="*/ 8211 w 8280"/>
                <a:gd name="T17" fmla="*/ 754 h 17873"/>
                <a:gd name="T18" fmla="*/ 8257 w 8280"/>
                <a:gd name="T19" fmla="*/ 916 h 17873"/>
                <a:gd name="T20" fmla="*/ 8279 w 8280"/>
                <a:gd name="T21" fmla="*/ 1088 h 17873"/>
                <a:gd name="T22" fmla="*/ 8279 w 8280"/>
                <a:gd name="T23" fmla="*/ 16786 h 17873"/>
                <a:gd name="T24" fmla="*/ 8257 w 8280"/>
                <a:gd name="T25" fmla="*/ 16957 h 17873"/>
                <a:gd name="T26" fmla="*/ 8211 w 8280"/>
                <a:gd name="T27" fmla="*/ 17120 h 17873"/>
                <a:gd name="T28" fmla="*/ 8142 w 8280"/>
                <a:gd name="T29" fmla="*/ 17273 h 17873"/>
                <a:gd name="T30" fmla="*/ 8052 w 8280"/>
                <a:gd name="T31" fmla="*/ 17412 h 17873"/>
                <a:gd name="T32" fmla="*/ 7944 w 8280"/>
                <a:gd name="T33" fmla="*/ 17536 h 17873"/>
                <a:gd name="T34" fmla="*/ 7819 w 8280"/>
                <a:gd name="T35" fmla="*/ 17644 h 17873"/>
                <a:gd name="T36" fmla="*/ 7679 w 8280"/>
                <a:gd name="T37" fmla="*/ 17734 h 17873"/>
                <a:gd name="T38" fmla="*/ 7527 w 8280"/>
                <a:gd name="T39" fmla="*/ 17803 h 17873"/>
                <a:gd name="T40" fmla="*/ 7364 w 8280"/>
                <a:gd name="T41" fmla="*/ 17849 h 17873"/>
                <a:gd name="T42" fmla="*/ 7193 w 8280"/>
                <a:gd name="T43" fmla="*/ 17871 h 17873"/>
                <a:gd name="T44" fmla="*/ 1088 w 8280"/>
                <a:gd name="T45" fmla="*/ 17871 h 17873"/>
                <a:gd name="T46" fmla="*/ 915 w 8280"/>
                <a:gd name="T47" fmla="*/ 17849 h 17873"/>
                <a:gd name="T48" fmla="*/ 752 w 8280"/>
                <a:gd name="T49" fmla="*/ 17803 h 17873"/>
                <a:gd name="T50" fmla="*/ 601 w 8280"/>
                <a:gd name="T51" fmla="*/ 17734 h 17873"/>
                <a:gd name="T52" fmla="*/ 461 w 8280"/>
                <a:gd name="T53" fmla="*/ 17644 h 17873"/>
                <a:gd name="T54" fmla="*/ 336 w 8280"/>
                <a:gd name="T55" fmla="*/ 17536 h 17873"/>
                <a:gd name="T56" fmla="*/ 228 w 8280"/>
                <a:gd name="T57" fmla="*/ 17412 h 17873"/>
                <a:gd name="T58" fmla="*/ 139 w 8280"/>
                <a:gd name="T59" fmla="*/ 17273 h 17873"/>
                <a:gd name="T60" fmla="*/ 69 w 8280"/>
                <a:gd name="T61" fmla="*/ 17120 h 17873"/>
                <a:gd name="T62" fmla="*/ 22 w 8280"/>
                <a:gd name="T63" fmla="*/ 16957 h 17873"/>
                <a:gd name="T64" fmla="*/ 1 w 8280"/>
                <a:gd name="T65" fmla="*/ 16786 h 17873"/>
                <a:gd name="T66" fmla="*/ 1 w 8280"/>
                <a:gd name="T67" fmla="*/ 1088 h 17873"/>
                <a:gd name="T68" fmla="*/ 22 w 8280"/>
                <a:gd name="T69" fmla="*/ 916 h 17873"/>
                <a:gd name="T70" fmla="*/ 69 w 8280"/>
                <a:gd name="T71" fmla="*/ 754 h 17873"/>
                <a:gd name="T72" fmla="*/ 139 w 8280"/>
                <a:gd name="T73" fmla="*/ 601 h 17873"/>
                <a:gd name="T74" fmla="*/ 228 w 8280"/>
                <a:gd name="T75" fmla="*/ 462 h 17873"/>
                <a:gd name="T76" fmla="*/ 336 w 8280"/>
                <a:gd name="T77" fmla="*/ 337 h 17873"/>
                <a:gd name="T78" fmla="*/ 461 w 8280"/>
                <a:gd name="T79" fmla="*/ 228 h 17873"/>
                <a:gd name="T80" fmla="*/ 601 w 8280"/>
                <a:gd name="T81" fmla="*/ 140 h 17873"/>
                <a:gd name="T82" fmla="*/ 752 w 8280"/>
                <a:gd name="T83" fmla="*/ 70 h 17873"/>
                <a:gd name="T84" fmla="*/ 915 w 8280"/>
                <a:gd name="T85" fmla="*/ 23 h 17873"/>
                <a:gd name="T86" fmla="*/ 1088 w 8280"/>
                <a:gd name="T87" fmla="*/ 2 h 178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8280" h="17873">
                  <a:moveTo>
                    <a:pt x="1146" y="0"/>
                  </a:moveTo>
                  <a:lnTo>
                    <a:pt x="7134" y="0"/>
                  </a:lnTo>
                  <a:lnTo>
                    <a:pt x="7193" y="2"/>
                  </a:lnTo>
                  <a:lnTo>
                    <a:pt x="7250" y="6"/>
                  </a:lnTo>
                  <a:lnTo>
                    <a:pt x="7308" y="14"/>
                  </a:lnTo>
                  <a:lnTo>
                    <a:pt x="7364" y="23"/>
                  </a:lnTo>
                  <a:lnTo>
                    <a:pt x="7420" y="37"/>
                  </a:lnTo>
                  <a:lnTo>
                    <a:pt x="7474" y="52"/>
                  </a:lnTo>
                  <a:lnTo>
                    <a:pt x="7527" y="70"/>
                  </a:lnTo>
                  <a:lnTo>
                    <a:pt x="7579" y="90"/>
                  </a:lnTo>
                  <a:lnTo>
                    <a:pt x="7630" y="113"/>
                  </a:lnTo>
                  <a:lnTo>
                    <a:pt x="7679" y="140"/>
                  </a:lnTo>
                  <a:lnTo>
                    <a:pt x="7727" y="167"/>
                  </a:lnTo>
                  <a:lnTo>
                    <a:pt x="7774" y="197"/>
                  </a:lnTo>
                  <a:lnTo>
                    <a:pt x="7819" y="228"/>
                  </a:lnTo>
                  <a:lnTo>
                    <a:pt x="7863" y="263"/>
                  </a:lnTo>
                  <a:lnTo>
                    <a:pt x="7904" y="299"/>
                  </a:lnTo>
                  <a:lnTo>
                    <a:pt x="7944" y="337"/>
                  </a:lnTo>
                  <a:lnTo>
                    <a:pt x="7981" y="377"/>
                  </a:lnTo>
                  <a:lnTo>
                    <a:pt x="8018" y="419"/>
                  </a:lnTo>
                  <a:lnTo>
                    <a:pt x="8052" y="462"/>
                  </a:lnTo>
                  <a:lnTo>
                    <a:pt x="8084" y="507"/>
                  </a:lnTo>
                  <a:lnTo>
                    <a:pt x="8114" y="553"/>
                  </a:lnTo>
                  <a:lnTo>
                    <a:pt x="8142" y="601"/>
                  </a:lnTo>
                  <a:lnTo>
                    <a:pt x="8167" y="650"/>
                  </a:lnTo>
                  <a:lnTo>
                    <a:pt x="8190" y="702"/>
                  </a:lnTo>
                  <a:lnTo>
                    <a:pt x="8211" y="754"/>
                  </a:lnTo>
                  <a:lnTo>
                    <a:pt x="8229" y="806"/>
                  </a:lnTo>
                  <a:lnTo>
                    <a:pt x="8245" y="861"/>
                  </a:lnTo>
                  <a:lnTo>
                    <a:pt x="8257" y="916"/>
                  </a:lnTo>
                  <a:lnTo>
                    <a:pt x="8268" y="973"/>
                  </a:lnTo>
                  <a:lnTo>
                    <a:pt x="8275" y="1030"/>
                  </a:lnTo>
                  <a:lnTo>
                    <a:pt x="8279" y="1088"/>
                  </a:lnTo>
                  <a:lnTo>
                    <a:pt x="8280" y="1146"/>
                  </a:lnTo>
                  <a:lnTo>
                    <a:pt x="8280" y="16727"/>
                  </a:lnTo>
                  <a:lnTo>
                    <a:pt x="8279" y="16786"/>
                  </a:lnTo>
                  <a:lnTo>
                    <a:pt x="8275" y="16844"/>
                  </a:lnTo>
                  <a:lnTo>
                    <a:pt x="8268" y="16901"/>
                  </a:lnTo>
                  <a:lnTo>
                    <a:pt x="8257" y="16957"/>
                  </a:lnTo>
                  <a:lnTo>
                    <a:pt x="8245" y="17013"/>
                  </a:lnTo>
                  <a:lnTo>
                    <a:pt x="8229" y="17066"/>
                  </a:lnTo>
                  <a:lnTo>
                    <a:pt x="8211" y="17120"/>
                  </a:lnTo>
                  <a:lnTo>
                    <a:pt x="8190" y="17172"/>
                  </a:lnTo>
                  <a:lnTo>
                    <a:pt x="8167" y="17222"/>
                  </a:lnTo>
                  <a:lnTo>
                    <a:pt x="8142" y="17273"/>
                  </a:lnTo>
                  <a:lnTo>
                    <a:pt x="8114" y="17320"/>
                  </a:lnTo>
                  <a:lnTo>
                    <a:pt x="8084" y="17366"/>
                  </a:lnTo>
                  <a:lnTo>
                    <a:pt x="8052" y="17412"/>
                  </a:lnTo>
                  <a:lnTo>
                    <a:pt x="8018" y="17455"/>
                  </a:lnTo>
                  <a:lnTo>
                    <a:pt x="7981" y="17496"/>
                  </a:lnTo>
                  <a:lnTo>
                    <a:pt x="7944" y="17536"/>
                  </a:lnTo>
                  <a:lnTo>
                    <a:pt x="7904" y="17575"/>
                  </a:lnTo>
                  <a:lnTo>
                    <a:pt x="7863" y="17610"/>
                  </a:lnTo>
                  <a:lnTo>
                    <a:pt x="7819" y="17644"/>
                  </a:lnTo>
                  <a:lnTo>
                    <a:pt x="7774" y="17676"/>
                  </a:lnTo>
                  <a:lnTo>
                    <a:pt x="7727" y="17707"/>
                  </a:lnTo>
                  <a:lnTo>
                    <a:pt x="7679" y="17734"/>
                  </a:lnTo>
                  <a:lnTo>
                    <a:pt x="7630" y="17759"/>
                  </a:lnTo>
                  <a:lnTo>
                    <a:pt x="7579" y="17782"/>
                  </a:lnTo>
                  <a:lnTo>
                    <a:pt x="7527" y="17803"/>
                  </a:lnTo>
                  <a:lnTo>
                    <a:pt x="7474" y="17821"/>
                  </a:lnTo>
                  <a:lnTo>
                    <a:pt x="7420" y="17837"/>
                  </a:lnTo>
                  <a:lnTo>
                    <a:pt x="7364" y="17849"/>
                  </a:lnTo>
                  <a:lnTo>
                    <a:pt x="7308" y="17860"/>
                  </a:lnTo>
                  <a:lnTo>
                    <a:pt x="7250" y="17868"/>
                  </a:lnTo>
                  <a:lnTo>
                    <a:pt x="7193" y="17871"/>
                  </a:lnTo>
                  <a:lnTo>
                    <a:pt x="7134" y="17873"/>
                  </a:lnTo>
                  <a:lnTo>
                    <a:pt x="1146" y="17873"/>
                  </a:lnTo>
                  <a:lnTo>
                    <a:pt x="1088" y="17871"/>
                  </a:lnTo>
                  <a:lnTo>
                    <a:pt x="1029" y="17868"/>
                  </a:lnTo>
                  <a:lnTo>
                    <a:pt x="972" y="17860"/>
                  </a:lnTo>
                  <a:lnTo>
                    <a:pt x="915" y="17849"/>
                  </a:lnTo>
                  <a:lnTo>
                    <a:pt x="861" y="17837"/>
                  </a:lnTo>
                  <a:lnTo>
                    <a:pt x="806" y="17821"/>
                  </a:lnTo>
                  <a:lnTo>
                    <a:pt x="752" y="17803"/>
                  </a:lnTo>
                  <a:lnTo>
                    <a:pt x="701" y="17782"/>
                  </a:lnTo>
                  <a:lnTo>
                    <a:pt x="650" y="17759"/>
                  </a:lnTo>
                  <a:lnTo>
                    <a:pt x="601" y="17734"/>
                  </a:lnTo>
                  <a:lnTo>
                    <a:pt x="553" y="17707"/>
                  </a:lnTo>
                  <a:lnTo>
                    <a:pt x="506" y="17676"/>
                  </a:lnTo>
                  <a:lnTo>
                    <a:pt x="461" y="17644"/>
                  </a:lnTo>
                  <a:lnTo>
                    <a:pt x="418" y="17610"/>
                  </a:lnTo>
                  <a:lnTo>
                    <a:pt x="376" y="17575"/>
                  </a:lnTo>
                  <a:lnTo>
                    <a:pt x="336" y="17536"/>
                  </a:lnTo>
                  <a:lnTo>
                    <a:pt x="298" y="17496"/>
                  </a:lnTo>
                  <a:lnTo>
                    <a:pt x="262" y="17455"/>
                  </a:lnTo>
                  <a:lnTo>
                    <a:pt x="228" y="17412"/>
                  </a:lnTo>
                  <a:lnTo>
                    <a:pt x="196" y="17366"/>
                  </a:lnTo>
                  <a:lnTo>
                    <a:pt x="166" y="17320"/>
                  </a:lnTo>
                  <a:lnTo>
                    <a:pt x="139" y="17273"/>
                  </a:lnTo>
                  <a:lnTo>
                    <a:pt x="112" y="17222"/>
                  </a:lnTo>
                  <a:lnTo>
                    <a:pt x="90" y="17172"/>
                  </a:lnTo>
                  <a:lnTo>
                    <a:pt x="69" y="17120"/>
                  </a:lnTo>
                  <a:lnTo>
                    <a:pt x="51" y="17066"/>
                  </a:lnTo>
                  <a:lnTo>
                    <a:pt x="36" y="17013"/>
                  </a:lnTo>
                  <a:lnTo>
                    <a:pt x="22" y="16957"/>
                  </a:lnTo>
                  <a:lnTo>
                    <a:pt x="13" y="16901"/>
                  </a:lnTo>
                  <a:lnTo>
                    <a:pt x="5" y="16844"/>
                  </a:lnTo>
                  <a:lnTo>
                    <a:pt x="1" y="16786"/>
                  </a:lnTo>
                  <a:lnTo>
                    <a:pt x="0" y="16727"/>
                  </a:lnTo>
                  <a:lnTo>
                    <a:pt x="0" y="1146"/>
                  </a:lnTo>
                  <a:lnTo>
                    <a:pt x="1" y="1088"/>
                  </a:lnTo>
                  <a:lnTo>
                    <a:pt x="5" y="1030"/>
                  </a:lnTo>
                  <a:lnTo>
                    <a:pt x="13" y="973"/>
                  </a:lnTo>
                  <a:lnTo>
                    <a:pt x="22" y="916"/>
                  </a:lnTo>
                  <a:lnTo>
                    <a:pt x="36" y="861"/>
                  </a:lnTo>
                  <a:lnTo>
                    <a:pt x="51" y="806"/>
                  </a:lnTo>
                  <a:lnTo>
                    <a:pt x="69" y="754"/>
                  </a:lnTo>
                  <a:lnTo>
                    <a:pt x="90" y="702"/>
                  </a:lnTo>
                  <a:lnTo>
                    <a:pt x="112" y="650"/>
                  </a:lnTo>
                  <a:lnTo>
                    <a:pt x="139" y="601"/>
                  </a:lnTo>
                  <a:lnTo>
                    <a:pt x="166" y="553"/>
                  </a:lnTo>
                  <a:lnTo>
                    <a:pt x="196" y="507"/>
                  </a:lnTo>
                  <a:lnTo>
                    <a:pt x="228" y="462"/>
                  </a:lnTo>
                  <a:lnTo>
                    <a:pt x="262" y="419"/>
                  </a:lnTo>
                  <a:lnTo>
                    <a:pt x="298" y="377"/>
                  </a:lnTo>
                  <a:lnTo>
                    <a:pt x="336" y="337"/>
                  </a:lnTo>
                  <a:lnTo>
                    <a:pt x="376" y="299"/>
                  </a:lnTo>
                  <a:lnTo>
                    <a:pt x="418" y="263"/>
                  </a:lnTo>
                  <a:lnTo>
                    <a:pt x="461" y="228"/>
                  </a:lnTo>
                  <a:lnTo>
                    <a:pt x="506" y="197"/>
                  </a:lnTo>
                  <a:lnTo>
                    <a:pt x="553" y="167"/>
                  </a:lnTo>
                  <a:lnTo>
                    <a:pt x="601" y="140"/>
                  </a:lnTo>
                  <a:lnTo>
                    <a:pt x="650" y="113"/>
                  </a:lnTo>
                  <a:lnTo>
                    <a:pt x="701" y="90"/>
                  </a:lnTo>
                  <a:lnTo>
                    <a:pt x="752" y="70"/>
                  </a:lnTo>
                  <a:lnTo>
                    <a:pt x="806" y="52"/>
                  </a:lnTo>
                  <a:lnTo>
                    <a:pt x="861" y="37"/>
                  </a:lnTo>
                  <a:lnTo>
                    <a:pt x="915" y="23"/>
                  </a:lnTo>
                  <a:lnTo>
                    <a:pt x="972" y="14"/>
                  </a:lnTo>
                  <a:lnTo>
                    <a:pt x="1029" y="6"/>
                  </a:lnTo>
                  <a:lnTo>
                    <a:pt x="1088" y="2"/>
                  </a:lnTo>
                  <a:lnTo>
                    <a:pt x="1146" y="0"/>
                  </a:lnTo>
                  <a:close/>
                </a:path>
              </a:pathLst>
            </a:custGeom>
            <a:solidFill>
              <a:srgbClr val="999BA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346" name="Freeform 17"/>
            <p:cNvSpPr>
              <a:spLocks/>
            </p:cNvSpPr>
            <p:nvPr/>
          </p:nvSpPr>
          <p:spPr bwMode="auto">
            <a:xfrm>
              <a:off x="5198015" y="1511180"/>
              <a:ext cx="1851543" cy="4030068"/>
            </a:xfrm>
            <a:custGeom>
              <a:avLst/>
              <a:gdLst>
                <a:gd name="T0" fmla="*/ 7129 w 8158"/>
                <a:gd name="T1" fmla="*/ 1 h 17752"/>
                <a:gd name="T2" fmla="*/ 7291 w 8158"/>
                <a:gd name="T3" fmla="*/ 22 h 17752"/>
                <a:gd name="T4" fmla="*/ 7445 w 8158"/>
                <a:gd name="T5" fmla="*/ 66 h 17752"/>
                <a:gd name="T6" fmla="*/ 7589 w 8158"/>
                <a:gd name="T7" fmla="*/ 131 h 17752"/>
                <a:gd name="T8" fmla="*/ 7721 w 8158"/>
                <a:gd name="T9" fmla="*/ 215 h 17752"/>
                <a:gd name="T10" fmla="*/ 7839 w 8158"/>
                <a:gd name="T11" fmla="*/ 318 h 17752"/>
                <a:gd name="T12" fmla="*/ 7942 w 8158"/>
                <a:gd name="T13" fmla="*/ 436 h 17752"/>
                <a:gd name="T14" fmla="*/ 8026 w 8158"/>
                <a:gd name="T15" fmla="*/ 568 h 17752"/>
                <a:gd name="T16" fmla="*/ 8092 w 8158"/>
                <a:gd name="T17" fmla="*/ 712 h 17752"/>
                <a:gd name="T18" fmla="*/ 8136 w 8158"/>
                <a:gd name="T19" fmla="*/ 866 h 17752"/>
                <a:gd name="T20" fmla="*/ 8157 w 8158"/>
                <a:gd name="T21" fmla="*/ 1028 h 17752"/>
                <a:gd name="T22" fmla="*/ 8157 w 8158"/>
                <a:gd name="T23" fmla="*/ 16724 h 17752"/>
                <a:gd name="T24" fmla="*/ 8136 w 8158"/>
                <a:gd name="T25" fmla="*/ 16886 h 17752"/>
                <a:gd name="T26" fmla="*/ 8092 w 8158"/>
                <a:gd name="T27" fmla="*/ 17039 h 17752"/>
                <a:gd name="T28" fmla="*/ 8026 w 8158"/>
                <a:gd name="T29" fmla="*/ 17183 h 17752"/>
                <a:gd name="T30" fmla="*/ 7942 w 8158"/>
                <a:gd name="T31" fmla="*/ 17315 h 17752"/>
                <a:gd name="T32" fmla="*/ 7839 w 8158"/>
                <a:gd name="T33" fmla="*/ 17434 h 17752"/>
                <a:gd name="T34" fmla="*/ 7721 w 8158"/>
                <a:gd name="T35" fmla="*/ 17535 h 17752"/>
                <a:gd name="T36" fmla="*/ 7589 w 8158"/>
                <a:gd name="T37" fmla="*/ 17621 h 17752"/>
                <a:gd name="T38" fmla="*/ 7445 w 8158"/>
                <a:gd name="T39" fmla="*/ 17686 h 17752"/>
                <a:gd name="T40" fmla="*/ 7291 w 8158"/>
                <a:gd name="T41" fmla="*/ 17730 h 17752"/>
                <a:gd name="T42" fmla="*/ 7129 w 8158"/>
                <a:gd name="T43" fmla="*/ 17751 h 17752"/>
                <a:gd name="T44" fmla="*/ 1030 w 8158"/>
                <a:gd name="T45" fmla="*/ 17751 h 17752"/>
                <a:gd name="T46" fmla="*/ 867 w 8158"/>
                <a:gd name="T47" fmla="*/ 17730 h 17752"/>
                <a:gd name="T48" fmla="*/ 713 w 8158"/>
                <a:gd name="T49" fmla="*/ 17686 h 17752"/>
                <a:gd name="T50" fmla="*/ 569 w 8158"/>
                <a:gd name="T51" fmla="*/ 17621 h 17752"/>
                <a:gd name="T52" fmla="*/ 437 w 8158"/>
                <a:gd name="T53" fmla="*/ 17535 h 17752"/>
                <a:gd name="T54" fmla="*/ 319 w 8158"/>
                <a:gd name="T55" fmla="*/ 17434 h 17752"/>
                <a:gd name="T56" fmla="*/ 217 w 8158"/>
                <a:gd name="T57" fmla="*/ 17315 h 17752"/>
                <a:gd name="T58" fmla="*/ 131 w 8158"/>
                <a:gd name="T59" fmla="*/ 17183 h 17752"/>
                <a:gd name="T60" fmla="*/ 66 w 8158"/>
                <a:gd name="T61" fmla="*/ 17039 h 17752"/>
                <a:gd name="T62" fmla="*/ 22 w 8158"/>
                <a:gd name="T63" fmla="*/ 16886 h 17752"/>
                <a:gd name="T64" fmla="*/ 1 w 8158"/>
                <a:gd name="T65" fmla="*/ 16724 h 17752"/>
                <a:gd name="T66" fmla="*/ 1 w 8158"/>
                <a:gd name="T67" fmla="*/ 1028 h 17752"/>
                <a:gd name="T68" fmla="*/ 22 w 8158"/>
                <a:gd name="T69" fmla="*/ 866 h 17752"/>
                <a:gd name="T70" fmla="*/ 66 w 8158"/>
                <a:gd name="T71" fmla="*/ 712 h 17752"/>
                <a:gd name="T72" fmla="*/ 131 w 8158"/>
                <a:gd name="T73" fmla="*/ 568 h 17752"/>
                <a:gd name="T74" fmla="*/ 217 w 8158"/>
                <a:gd name="T75" fmla="*/ 436 h 17752"/>
                <a:gd name="T76" fmla="*/ 319 w 8158"/>
                <a:gd name="T77" fmla="*/ 318 h 17752"/>
                <a:gd name="T78" fmla="*/ 437 w 8158"/>
                <a:gd name="T79" fmla="*/ 215 h 17752"/>
                <a:gd name="T80" fmla="*/ 569 w 8158"/>
                <a:gd name="T81" fmla="*/ 131 h 17752"/>
                <a:gd name="T82" fmla="*/ 713 w 8158"/>
                <a:gd name="T83" fmla="*/ 66 h 17752"/>
                <a:gd name="T84" fmla="*/ 867 w 8158"/>
                <a:gd name="T85" fmla="*/ 22 h 17752"/>
                <a:gd name="T86" fmla="*/ 1030 w 8158"/>
                <a:gd name="T87" fmla="*/ 1 h 177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8158" h="17752">
                  <a:moveTo>
                    <a:pt x="1085" y="0"/>
                  </a:moveTo>
                  <a:lnTo>
                    <a:pt x="7073" y="0"/>
                  </a:lnTo>
                  <a:lnTo>
                    <a:pt x="7129" y="1"/>
                  </a:lnTo>
                  <a:lnTo>
                    <a:pt x="7184" y="4"/>
                  </a:lnTo>
                  <a:lnTo>
                    <a:pt x="7237" y="12"/>
                  </a:lnTo>
                  <a:lnTo>
                    <a:pt x="7291" y="22"/>
                  </a:lnTo>
                  <a:lnTo>
                    <a:pt x="7343" y="34"/>
                  </a:lnTo>
                  <a:lnTo>
                    <a:pt x="7395" y="49"/>
                  </a:lnTo>
                  <a:lnTo>
                    <a:pt x="7445" y="66"/>
                  </a:lnTo>
                  <a:lnTo>
                    <a:pt x="7494" y="85"/>
                  </a:lnTo>
                  <a:lnTo>
                    <a:pt x="7542" y="107"/>
                  </a:lnTo>
                  <a:lnTo>
                    <a:pt x="7589" y="131"/>
                  </a:lnTo>
                  <a:lnTo>
                    <a:pt x="7634" y="157"/>
                  </a:lnTo>
                  <a:lnTo>
                    <a:pt x="7679" y="186"/>
                  </a:lnTo>
                  <a:lnTo>
                    <a:pt x="7721" y="215"/>
                  </a:lnTo>
                  <a:lnTo>
                    <a:pt x="7762" y="247"/>
                  </a:lnTo>
                  <a:lnTo>
                    <a:pt x="7802" y="281"/>
                  </a:lnTo>
                  <a:lnTo>
                    <a:pt x="7839" y="318"/>
                  </a:lnTo>
                  <a:lnTo>
                    <a:pt x="7875" y="356"/>
                  </a:lnTo>
                  <a:lnTo>
                    <a:pt x="7909" y="395"/>
                  </a:lnTo>
                  <a:lnTo>
                    <a:pt x="7942" y="436"/>
                  </a:lnTo>
                  <a:lnTo>
                    <a:pt x="7972" y="479"/>
                  </a:lnTo>
                  <a:lnTo>
                    <a:pt x="8000" y="523"/>
                  </a:lnTo>
                  <a:lnTo>
                    <a:pt x="8026" y="568"/>
                  </a:lnTo>
                  <a:lnTo>
                    <a:pt x="8050" y="614"/>
                  </a:lnTo>
                  <a:lnTo>
                    <a:pt x="8072" y="662"/>
                  </a:lnTo>
                  <a:lnTo>
                    <a:pt x="8092" y="712"/>
                  </a:lnTo>
                  <a:lnTo>
                    <a:pt x="8109" y="763"/>
                  </a:lnTo>
                  <a:lnTo>
                    <a:pt x="8123" y="814"/>
                  </a:lnTo>
                  <a:lnTo>
                    <a:pt x="8136" y="866"/>
                  </a:lnTo>
                  <a:lnTo>
                    <a:pt x="8145" y="919"/>
                  </a:lnTo>
                  <a:lnTo>
                    <a:pt x="8152" y="973"/>
                  </a:lnTo>
                  <a:lnTo>
                    <a:pt x="8157" y="1028"/>
                  </a:lnTo>
                  <a:lnTo>
                    <a:pt x="8158" y="1084"/>
                  </a:lnTo>
                  <a:lnTo>
                    <a:pt x="8158" y="16668"/>
                  </a:lnTo>
                  <a:lnTo>
                    <a:pt x="8157" y="16724"/>
                  </a:lnTo>
                  <a:lnTo>
                    <a:pt x="8152" y="16778"/>
                  </a:lnTo>
                  <a:lnTo>
                    <a:pt x="8145" y="16832"/>
                  </a:lnTo>
                  <a:lnTo>
                    <a:pt x="8136" y="16886"/>
                  </a:lnTo>
                  <a:lnTo>
                    <a:pt x="8123" y="16938"/>
                  </a:lnTo>
                  <a:lnTo>
                    <a:pt x="8109" y="16989"/>
                  </a:lnTo>
                  <a:lnTo>
                    <a:pt x="8092" y="17039"/>
                  </a:lnTo>
                  <a:lnTo>
                    <a:pt x="8072" y="17088"/>
                  </a:lnTo>
                  <a:lnTo>
                    <a:pt x="8050" y="17136"/>
                  </a:lnTo>
                  <a:lnTo>
                    <a:pt x="8026" y="17183"/>
                  </a:lnTo>
                  <a:lnTo>
                    <a:pt x="8000" y="17229"/>
                  </a:lnTo>
                  <a:lnTo>
                    <a:pt x="7972" y="17273"/>
                  </a:lnTo>
                  <a:lnTo>
                    <a:pt x="7942" y="17315"/>
                  </a:lnTo>
                  <a:lnTo>
                    <a:pt x="7909" y="17356"/>
                  </a:lnTo>
                  <a:lnTo>
                    <a:pt x="7875" y="17396"/>
                  </a:lnTo>
                  <a:lnTo>
                    <a:pt x="7839" y="17434"/>
                  </a:lnTo>
                  <a:lnTo>
                    <a:pt x="7802" y="17469"/>
                  </a:lnTo>
                  <a:lnTo>
                    <a:pt x="7762" y="17503"/>
                  </a:lnTo>
                  <a:lnTo>
                    <a:pt x="7721" y="17535"/>
                  </a:lnTo>
                  <a:lnTo>
                    <a:pt x="7679" y="17566"/>
                  </a:lnTo>
                  <a:lnTo>
                    <a:pt x="7634" y="17595"/>
                  </a:lnTo>
                  <a:lnTo>
                    <a:pt x="7589" y="17621"/>
                  </a:lnTo>
                  <a:lnTo>
                    <a:pt x="7542" y="17645"/>
                  </a:lnTo>
                  <a:lnTo>
                    <a:pt x="7494" y="17666"/>
                  </a:lnTo>
                  <a:lnTo>
                    <a:pt x="7445" y="17686"/>
                  </a:lnTo>
                  <a:lnTo>
                    <a:pt x="7395" y="17703"/>
                  </a:lnTo>
                  <a:lnTo>
                    <a:pt x="7343" y="17718"/>
                  </a:lnTo>
                  <a:lnTo>
                    <a:pt x="7291" y="17730"/>
                  </a:lnTo>
                  <a:lnTo>
                    <a:pt x="7237" y="17739"/>
                  </a:lnTo>
                  <a:lnTo>
                    <a:pt x="7184" y="17746"/>
                  </a:lnTo>
                  <a:lnTo>
                    <a:pt x="7129" y="17751"/>
                  </a:lnTo>
                  <a:lnTo>
                    <a:pt x="7073" y="17752"/>
                  </a:lnTo>
                  <a:lnTo>
                    <a:pt x="1085" y="17752"/>
                  </a:lnTo>
                  <a:lnTo>
                    <a:pt x="1030" y="17751"/>
                  </a:lnTo>
                  <a:lnTo>
                    <a:pt x="974" y="17746"/>
                  </a:lnTo>
                  <a:lnTo>
                    <a:pt x="921" y="17739"/>
                  </a:lnTo>
                  <a:lnTo>
                    <a:pt x="867" y="17730"/>
                  </a:lnTo>
                  <a:lnTo>
                    <a:pt x="815" y="17718"/>
                  </a:lnTo>
                  <a:lnTo>
                    <a:pt x="763" y="17703"/>
                  </a:lnTo>
                  <a:lnTo>
                    <a:pt x="713" y="17686"/>
                  </a:lnTo>
                  <a:lnTo>
                    <a:pt x="664" y="17666"/>
                  </a:lnTo>
                  <a:lnTo>
                    <a:pt x="616" y="17645"/>
                  </a:lnTo>
                  <a:lnTo>
                    <a:pt x="569" y="17621"/>
                  </a:lnTo>
                  <a:lnTo>
                    <a:pt x="524" y="17595"/>
                  </a:lnTo>
                  <a:lnTo>
                    <a:pt x="479" y="17566"/>
                  </a:lnTo>
                  <a:lnTo>
                    <a:pt x="437" y="17535"/>
                  </a:lnTo>
                  <a:lnTo>
                    <a:pt x="396" y="17503"/>
                  </a:lnTo>
                  <a:lnTo>
                    <a:pt x="357" y="17469"/>
                  </a:lnTo>
                  <a:lnTo>
                    <a:pt x="319" y="17434"/>
                  </a:lnTo>
                  <a:lnTo>
                    <a:pt x="283" y="17396"/>
                  </a:lnTo>
                  <a:lnTo>
                    <a:pt x="249" y="17356"/>
                  </a:lnTo>
                  <a:lnTo>
                    <a:pt x="217" y="17315"/>
                  </a:lnTo>
                  <a:lnTo>
                    <a:pt x="186" y="17273"/>
                  </a:lnTo>
                  <a:lnTo>
                    <a:pt x="158" y="17229"/>
                  </a:lnTo>
                  <a:lnTo>
                    <a:pt x="131" y="17183"/>
                  </a:lnTo>
                  <a:lnTo>
                    <a:pt x="107" y="17136"/>
                  </a:lnTo>
                  <a:lnTo>
                    <a:pt x="86" y="17088"/>
                  </a:lnTo>
                  <a:lnTo>
                    <a:pt x="66" y="17039"/>
                  </a:lnTo>
                  <a:lnTo>
                    <a:pt x="49" y="16989"/>
                  </a:lnTo>
                  <a:lnTo>
                    <a:pt x="34" y="16938"/>
                  </a:lnTo>
                  <a:lnTo>
                    <a:pt x="22" y="16886"/>
                  </a:lnTo>
                  <a:lnTo>
                    <a:pt x="13" y="16832"/>
                  </a:lnTo>
                  <a:lnTo>
                    <a:pt x="6" y="16778"/>
                  </a:lnTo>
                  <a:lnTo>
                    <a:pt x="1" y="16724"/>
                  </a:lnTo>
                  <a:lnTo>
                    <a:pt x="0" y="16668"/>
                  </a:lnTo>
                  <a:lnTo>
                    <a:pt x="0" y="1084"/>
                  </a:lnTo>
                  <a:lnTo>
                    <a:pt x="1" y="1028"/>
                  </a:lnTo>
                  <a:lnTo>
                    <a:pt x="6" y="973"/>
                  </a:lnTo>
                  <a:lnTo>
                    <a:pt x="13" y="919"/>
                  </a:lnTo>
                  <a:lnTo>
                    <a:pt x="22" y="866"/>
                  </a:lnTo>
                  <a:lnTo>
                    <a:pt x="34" y="814"/>
                  </a:lnTo>
                  <a:lnTo>
                    <a:pt x="49" y="763"/>
                  </a:lnTo>
                  <a:lnTo>
                    <a:pt x="66" y="712"/>
                  </a:lnTo>
                  <a:lnTo>
                    <a:pt x="86" y="662"/>
                  </a:lnTo>
                  <a:lnTo>
                    <a:pt x="107" y="614"/>
                  </a:lnTo>
                  <a:lnTo>
                    <a:pt x="131" y="568"/>
                  </a:lnTo>
                  <a:lnTo>
                    <a:pt x="158" y="523"/>
                  </a:lnTo>
                  <a:lnTo>
                    <a:pt x="186" y="479"/>
                  </a:lnTo>
                  <a:lnTo>
                    <a:pt x="217" y="436"/>
                  </a:lnTo>
                  <a:lnTo>
                    <a:pt x="249" y="395"/>
                  </a:lnTo>
                  <a:lnTo>
                    <a:pt x="283" y="356"/>
                  </a:lnTo>
                  <a:lnTo>
                    <a:pt x="319" y="318"/>
                  </a:lnTo>
                  <a:lnTo>
                    <a:pt x="357" y="281"/>
                  </a:lnTo>
                  <a:lnTo>
                    <a:pt x="396" y="247"/>
                  </a:lnTo>
                  <a:lnTo>
                    <a:pt x="437" y="215"/>
                  </a:lnTo>
                  <a:lnTo>
                    <a:pt x="479" y="186"/>
                  </a:lnTo>
                  <a:lnTo>
                    <a:pt x="524" y="157"/>
                  </a:lnTo>
                  <a:lnTo>
                    <a:pt x="569" y="131"/>
                  </a:lnTo>
                  <a:lnTo>
                    <a:pt x="616" y="107"/>
                  </a:lnTo>
                  <a:lnTo>
                    <a:pt x="664" y="85"/>
                  </a:lnTo>
                  <a:lnTo>
                    <a:pt x="713" y="66"/>
                  </a:lnTo>
                  <a:lnTo>
                    <a:pt x="763" y="49"/>
                  </a:lnTo>
                  <a:lnTo>
                    <a:pt x="815" y="34"/>
                  </a:lnTo>
                  <a:lnTo>
                    <a:pt x="867" y="22"/>
                  </a:lnTo>
                  <a:lnTo>
                    <a:pt x="921" y="12"/>
                  </a:lnTo>
                  <a:lnTo>
                    <a:pt x="974" y="4"/>
                  </a:lnTo>
                  <a:lnTo>
                    <a:pt x="1030" y="1"/>
                  </a:lnTo>
                  <a:lnTo>
                    <a:pt x="1085" y="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347" name="Freeform 18"/>
            <p:cNvSpPr>
              <a:spLocks/>
            </p:cNvSpPr>
            <p:nvPr/>
          </p:nvSpPr>
          <p:spPr bwMode="auto">
            <a:xfrm>
              <a:off x="5275674" y="2031629"/>
              <a:ext cx="1704400" cy="3002796"/>
            </a:xfrm>
            <a:custGeom>
              <a:avLst/>
              <a:gdLst>
                <a:gd name="T0" fmla="*/ 60 w 7504"/>
                <a:gd name="T1" fmla="*/ 0 h 13222"/>
                <a:gd name="T2" fmla="*/ 7444 w 7504"/>
                <a:gd name="T3" fmla="*/ 0 h 13222"/>
                <a:gd name="T4" fmla="*/ 7451 w 7504"/>
                <a:gd name="T5" fmla="*/ 0 h 13222"/>
                <a:gd name="T6" fmla="*/ 7457 w 7504"/>
                <a:gd name="T7" fmla="*/ 1 h 13222"/>
                <a:gd name="T8" fmla="*/ 7462 w 7504"/>
                <a:gd name="T9" fmla="*/ 2 h 13222"/>
                <a:gd name="T10" fmla="*/ 7468 w 7504"/>
                <a:gd name="T11" fmla="*/ 5 h 13222"/>
                <a:gd name="T12" fmla="*/ 7478 w 7504"/>
                <a:gd name="T13" fmla="*/ 10 h 13222"/>
                <a:gd name="T14" fmla="*/ 7486 w 7504"/>
                <a:gd name="T15" fmla="*/ 17 h 13222"/>
                <a:gd name="T16" fmla="*/ 7494 w 7504"/>
                <a:gd name="T17" fmla="*/ 26 h 13222"/>
                <a:gd name="T18" fmla="*/ 7500 w 7504"/>
                <a:gd name="T19" fmla="*/ 36 h 13222"/>
                <a:gd name="T20" fmla="*/ 7501 w 7504"/>
                <a:gd name="T21" fmla="*/ 42 h 13222"/>
                <a:gd name="T22" fmla="*/ 7503 w 7504"/>
                <a:gd name="T23" fmla="*/ 48 h 13222"/>
                <a:gd name="T24" fmla="*/ 7504 w 7504"/>
                <a:gd name="T25" fmla="*/ 54 h 13222"/>
                <a:gd name="T26" fmla="*/ 7504 w 7504"/>
                <a:gd name="T27" fmla="*/ 59 h 13222"/>
                <a:gd name="T28" fmla="*/ 7504 w 7504"/>
                <a:gd name="T29" fmla="*/ 13161 h 13222"/>
                <a:gd name="T30" fmla="*/ 7504 w 7504"/>
                <a:gd name="T31" fmla="*/ 13167 h 13222"/>
                <a:gd name="T32" fmla="*/ 7503 w 7504"/>
                <a:gd name="T33" fmla="*/ 13174 h 13222"/>
                <a:gd name="T34" fmla="*/ 7501 w 7504"/>
                <a:gd name="T35" fmla="*/ 13179 h 13222"/>
                <a:gd name="T36" fmla="*/ 7500 w 7504"/>
                <a:gd name="T37" fmla="*/ 13185 h 13222"/>
                <a:gd name="T38" fmla="*/ 7494 w 7504"/>
                <a:gd name="T39" fmla="*/ 13195 h 13222"/>
                <a:gd name="T40" fmla="*/ 7486 w 7504"/>
                <a:gd name="T41" fmla="*/ 13203 h 13222"/>
                <a:gd name="T42" fmla="*/ 7478 w 7504"/>
                <a:gd name="T43" fmla="*/ 13211 h 13222"/>
                <a:gd name="T44" fmla="*/ 7468 w 7504"/>
                <a:gd name="T45" fmla="*/ 13217 h 13222"/>
                <a:gd name="T46" fmla="*/ 7462 w 7504"/>
                <a:gd name="T47" fmla="*/ 13218 h 13222"/>
                <a:gd name="T48" fmla="*/ 7457 w 7504"/>
                <a:gd name="T49" fmla="*/ 13221 h 13222"/>
                <a:gd name="T50" fmla="*/ 7451 w 7504"/>
                <a:gd name="T51" fmla="*/ 13222 h 13222"/>
                <a:gd name="T52" fmla="*/ 7444 w 7504"/>
                <a:gd name="T53" fmla="*/ 13222 h 13222"/>
                <a:gd name="T54" fmla="*/ 60 w 7504"/>
                <a:gd name="T55" fmla="*/ 13222 h 13222"/>
                <a:gd name="T56" fmla="*/ 54 w 7504"/>
                <a:gd name="T57" fmla="*/ 13222 h 13222"/>
                <a:gd name="T58" fmla="*/ 48 w 7504"/>
                <a:gd name="T59" fmla="*/ 13221 h 13222"/>
                <a:gd name="T60" fmla="*/ 43 w 7504"/>
                <a:gd name="T61" fmla="*/ 13218 h 13222"/>
                <a:gd name="T62" fmla="*/ 37 w 7504"/>
                <a:gd name="T63" fmla="*/ 13217 h 13222"/>
                <a:gd name="T64" fmla="*/ 27 w 7504"/>
                <a:gd name="T65" fmla="*/ 13211 h 13222"/>
                <a:gd name="T66" fmla="*/ 18 w 7504"/>
                <a:gd name="T67" fmla="*/ 13203 h 13222"/>
                <a:gd name="T68" fmla="*/ 11 w 7504"/>
                <a:gd name="T69" fmla="*/ 13195 h 13222"/>
                <a:gd name="T70" fmla="*/ 5 w 7504"/>
                <a:gd name="T71" fmla="*/ 13185 h 13222"/>
                <a:gd name="T72" fmla="*/ 3 w 7504"/>
                <a:gd name="T73" fmla="*/ 13179 h 13222"/>
                <a:gd name="T74" fmla="*/ 2 w 7504"/>
                <a:gd name="T75" fmla="*/ 13174 h 13222"/>
                <a:gd name="T76" fmla="*/ 0 w 7504"/>
                <a:gd name="T77" fmla="*/ 13167 h 13222"/>
                <a:gd name="T78" fmla="*/ 0 w 7504"/>
                <a:gd name="T79" fmla="*/ 13161 h 13222"/>
                <a:gd name="T80" fmla="*/ 0 w 7504"/>
                <a:gd name="T81" fmla="*/ 59 h 13222"/>
                <a:gd name="T82" fmla="*/ 0 w 7504"/>
                <a:gd name="T83" fmla="*/ 54 h 13222"/>
                <a:gd name="T84" fmla="*/ 2 w 7504"/>
                <a:gd name="T85" fmla="*/ 48 h 13222"/>
                <a:gd name="T86" fmla="*/ 3 w 7504"/>
                <a:gd name="T87" fmla="*/ 42 h 13222"/>
                <a:gd name="T88" fmla="*/ 5 w 7504"/>
                <a:gd name="T89" fmla="*/ 36 h 13222"/>
                <a:gd name="T90" fmla="*/ 11 w 7504"/>
                <a:gd name="T91" fmla="*/ 26 h 13222"/>
                <a:gd name="T92" fmla="*/ 18 w 7504"/>
                <a:gd name="T93" fmla="*/ 17 h 13222"/>
                <a:gd name="T94" fmla="*/ 27 w 7504"/>
                <a:gd name="T95" fmla="*/ 10 h 13222"/>
                <a:gd name="T96" fmla="*/ 37 w 7504"/>
                <a:gd name="T97" fmla="*/ 5 h 13222"/>
                <a:gd name="T98" fmla="*/ 43 w 7504"/>
                <a:gd name="T99" fmla="*/ 2 h 13222"/>
                <a:gd name="T100" fmla="*/ 48 w 7504"/>
                <a:gd name="T101" fmla="*/ 1 h 13222"/>
                <a:gd name="T102" fmla="*/ 54 w 7504"/>
                <a:gd name="T103" fmla="*/ 0 h 13222"/>
                <a:gd name="T104" fmla="*/ 60 w 7504"/>
                <a:gd name="T105" fmla="*/ 0 h 13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7504" h="13222">
                  <a:moveTo>
                    <a:pt x="60" y="0"/>
                  </a:moveTo>
                  <a:lnTo>
                    <a:pt x="7444" y="0"/>
                  </a:lnTo>
                  <a:lnTo>
                    <a:pt x="7451" y="0"/>
                  </a:lnTo>
                  <a:lnTo>
                    <a:pt x="7457" y="1"/>
                  </a:lnTo>
                  <a:lnTo>
                    <a:pt x="7462" y="2"/>
                  </a:lnTo>
                  <a:lnTo>
                    <a:pt x="7468" y="5"/>
                  </a:lnTo>
                  <a:lnTo>
                    <a:pt x="7478" y="10"/>
                  </a:lnTo>
                  <a:lnTo>
                    <a:pt x="7486" y="17"/>
                  </a:lnTo>
                  <a:lnTo>
                    <a:pt x="7494" y="26"/>
                  </a:lnTo>
                  <a:lnTo>
                    <a:pt x="7500" y="36"/>
                  </a:lnTo>
                  <a:lnTo>
                    <a:pt x="7501" y="42"/>
                  </a:lnTo>
                  <a:lnTo>
                    <a:pt x="7503" y="48"/>
                  </a:lnTo>
                  <a:lnTo>
                    <a:pt x="7504" y="54"/>
                  </a:lnTo>
                  <a:lnTo>
                    <a:pt x="7504" y="59"/>
                  </a:lnTo>
                  <a:lnTo>
                    <a:pt x="7504" y="13161"/>
                  </a:lnTo>
                  <a:lnTo>
                    <a:pt x="7504" y="13167"/>
                  </a:lnTo>
                  <a:lnTo>
                    <a:pt x="7503" y="13174"/>
                  </a:lnTo>
                  <a:lnTo>
                    <a:pt x="7501" y="13179"/>
                  </a:lnTo>
                  <a:lnTo>
                    <a:pt x="7500" y="13185"/>
                  </a:lnTo>
                  <a:lnTo>
                    <a:pt x="7494" y="13195"/>
                  </a:lnTo>
                  <a:lnTo>
                    <a:pt x="7486" y="13203"/>
                  </a:lnTo>
                  <a:lnTo>
                    <a:pt x="7478" y="13211"/>
                  </a:lnTo>
                  <a:lnTo>
                    <a:pt x="7468" y="13217"/>
                  </a:lnTo>
                  <a:lnTo>
                    <a:pt x="7462" y="13218"/>
                  </a:lnTo>
                  <a:lnTo>
                    <a:pt x="7457" y="13221"/>
                  </a:lnTo>
                  <a:lnTo>
                    <a:pt x="7451" y="13222"/>
                  </a:lnTo>
                  <a:lnTo>
                    <a:pt x="7444" y="13222"/>
                  </a:lnTo>
                  <a:lnTo>
                    <a:pt x="60" y="13222"/>
                  </a:lnTo>
                  <a:lnTo>
                    <a:pt x="54" y="13222"/>
                  </a:lnTo>
                  <a:lnTo>
                    <a:pt x="48" y="13221"/>
                  </a:lnTo>
                  <a:lnTo>
                    <a:pt x="43" y="13218"/>
                  </a:lnTo>
                  <a:lnTo>
                    <a:pt x="37" y="13217"/>
                  </a:lnTo>
                  <a:lnTo>
                    <a:pt x="27" y="13211"/>
                  </a:lnTo>
                  <a:lnTo>
                    <a:pt x="18" y="13203"/>
                  </a:lnTo>
                  <a:lnTo>
                    <a:pt x="11" y="13195"/>
                  </a:lnTo>
                  <a:lnTo>
                    <a:pt x="5" y="13185"/>
                  </a:lnTo>
                  <a:lnTo>
                    <a:pt x="3" y="13179"/>
                  </a:lnTo>
                  <a:lnTo>
                    <a:pt x="2" y="13174"/>
                  </a:lnTo>
                  <a:lnTo>
                    <a:pt x="0" y="13167"/>
                  </a:lnTo>
                  <a:lnTo>
                    <a:pt x="0" y="13161"/>
                  </a:lnTo>
                  <a:lnTo>
                    <a:pt x="0" y="59"/>
                  </a:lnTo>
                  <a:lnTo>
                    <a:pt x="0" y="54"/>
                  </a:lnTo>
                  <a:lnTo>
                    <a:pt x="2" y="48"/>
                  </a:lnTo>
                  <a:lnTo>
                    <a:pt x="3" y="42"/>
                  </a:lnTo>
                  <a:lnTo>
                    <a:pt x="5" y="36"/>
                  </a:lnTo>
                  <a:lnTo>
                    <a:pt x="11" y="26"/>
                  </a:lnTo>
                  <a:lnTo>
                    <a:pt x="18" y="17"/>
                  </a:lnTo>
                  <a:lnTo>
                    <a:pt x="27" y="10"/>
                  </a:lnTo>
                  <a:lnTo>
                    <a:pt x="37" y="5"/>
                  </a:lnTo>
                  <a:lnTo>
                    <a:pt x="43" y="2"/>
                  </a:lnTo>
                  <a:lnTo>
                    <a:pt x="48" y="1"/>
                  </a:lnTo>
                  <a:lnTo>
                    <a:pt x="54" y="0"/>
                  </a:lnTo>
                  <a:lnTo>
                    <a:pt x="60" y="0"/>
                  </a:lnTo>
                  <a:close/>
                </a:path>
              </a:pathLst>
            </a:custGeom>
            <a:solidFill>
              <a:schemeClr val="tx1">
                <a:lumMod val="85000"/>
                <a:lumOff val="1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348" name="Rectangle 19"/>
            <p:cNvSpPr>
              <a:spLocks noChangeArrowheads="1"/>
            </p:cNvSpPr>
            <p:nvPr/>
          </p:nvSpPr>
          <p:spPr bwMode="auto">
            <a:xfrm>
              <a:off x="5298835" y="2056152"/>
              <a:ext cx="1656715" cy="2953748"/>
            </a:xfrm>
            <a:prstGeom prst="rect">
              <a:avLst/>
            </a:prstGeom>
            <a:gradFill flip="none" rotWithShape="1">
              <a:gsLst>
                <a:gs pos="0">
                  <a:schemeClr val="bg1">
                    <a:lumMod val="75000"/>
                    <a:tint val="66000"/>
                    <a:satMod val="160000"/>
                  </a:schemeClr>
                </a:gs>
                <a:gs pos="50000">
                  <a:schemeClr val="bg1">
                    <a:lumMod val="75000"/>
                    <a:tint val="44500"/>
                    <a:satMod val="160000"/>
                  </a:schemeClr>
                </a:gs>
                <a:gs pos="100000">
                  <a:schemeClr val="bg1">
                    <a:lumMod val="75000"/>
                    <a:tint val="23500"/>
                    <a:satMod val="160000"/>
                  </a:schemeClr>
                </a:gs>
              </a:gsLst>
              <a:lin ang="5400000" scaled="1"/>
              <a:tileRect/>
            </a:gra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grpSp>
          <p:nvGrpSpPr>
            <p:cNvPr id="349" name="Group 348"/>
            <p:cNvGrpSpPr/>
            <p:nvPr/>
          </p:nvGrpSpPr>
          <p:grpSpPr>
            <a:xfrm>
              <a:off x="5298835" y="2056150"/>
              <a:ext cx="1656715" cy="108994"/>
              <a:chOff x="2252642" y="846142"/>
              <a:chExt cx="1930382" cy="127001"/>
            </a:xfrm>
          </p:grpSpPr>
          <p:sp>
            <p:nvSpPr>
              <p:cNvPr id="363" name="Rectangle 20"/>
              <p:cNvSpPr>
                <a:spLocks noChangeArrowheads="1"/>
              </p:cNvSpPr>
              <p:nvPr/>
            </p:nvSpPr>
            <p:spPr bwMode="auto">
              <a:xfrm>
                <a:off x="2252642" y="846142"/>
                <a:ext cx="1930382" cy="127001"/>
              </a:xfrm>
              <a:prstGeom prst="rect">
                <a:avLst/>
              </a:prstGeom>
              <a:gradFill>
                <a:gsLst>
                  <a:gs pos="100000">
                    <a:schemeClr val="tx1">
                      <a:lumMod val="65000"/>
                      <a:lumOff val="35000"/>
                    </a:schemeClr>
                  </a:gs>
                  <a:gs pos="0">
                    <a:schemeClr val="bg1">
                      <a:lumMod val="50000"/>
                    </a:schemeClr>
                  </a:gs>
                </a:gsLst>
                <a:lin ang="5400000" scaled="1"/>
              </a:gra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364" name="Rectangle 21"/>
              <p:cNvSpPr>
                <a:spLocks noChangeArrowheads="1"/>
              </p:cNvSpPr>
              <p:nvPr/>
            </p:nvSpPr>
            <p:spPr bwMode="auto">
              <a:xfrm>
                <a:off x="2278042" y="912817"/>
                <a:ext cx="19050" cy="25400"/>
              </a:xfrm>
              <a:prstGeom prst="rect">
                <a:avLst/>
              </a:pr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365" name="Rectangle 22"/>
              <p:cNvSpPr>
                <a:spLocks noChangeArrowheads="1"/>
              </p:cNvSpPr>
              <p:nvPr/>
            </p:nvSpPr>
            <p:spPr bwMode="auto">
              <a:xfrm>
                <a:off x="2301854" y="908054"/>
                <a:ext cx="19050" cy="30164"/>
              </a:xfrm>
              <a:prstGeom prst="rect">
                <a:avLst/>
              </a:pr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366" name="Rectangle 23"/>
              <p:cNvSpPr>
                <a:spLocks noChangeArrowheads="1"/>
              </p:cNvSpPr>
              <p:nvPr/>
            </p:nvSpPr>
            <p:spPr bwMode="auto">
              <a:xfrm>
                <a:off x="2327254" y="898529"/>
                <a:ext cx="17463" cy="39688"/>
              </a:xfrm>
              <a:prstGeom prst="rect">
                <a:avLst/>
              </a:pr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367" name="Rectangle 24"/>
              <p:cNvSpPr>
                <a:spLocks noChangeArrowheads="1"/>
              </p:cNvSpPr>
              <p:nvPr/>
            </p:nvSpPr>
            <p:spPr bwMode="auto">
              <a:xfrm>
                <a:off x="2351066" y="890592"/>
                <a:ext cx="17463" cy="47625"/>
              </a:xfrm>
              <a:prstGeom prst="rect">
                <a:avLst/>
              </a:pr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368" name="Rectangle 25"/>
              <p:cNvSpPr>
                <a:spLocks noChangeArrowheads="1"/>
              </p:cNvSpPr>
              <p:nvPr/>
            </p:nvSpPr>
            <p:spPr bwMode="auto">
              <a:xfrm>
                <a:off x="2374878" y="877891"/>
                <a:ext cx="17463" cy="60325"/>
              </a:xfrm>
              <a:prstGeom prst="rect">
                <a:avLst/>
              </a:pr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369" name="Freeform 36"/>
              <p:cNvSpPr>
                <a:spLocks/>
              </p:cNvSpPr>
              <p:nvPr/>
            </p:nvSpPr>
            <p:spPr bwMode="auto">
              <a:xfrm>
                <a:off x="2432028" y="873129"/>
                <a:ext cx="96837" cy="34925"/>
              </a:xfrm>
              <a:custGeom>
                <a:avLst/>
                <a:gdLst>
                  <a:gd name="T0" fmla="*/ 195 w 362"/>
                  <a:gd name="T1" fmla="*/ 0 h 133"/>
                  <a:gd name="T2" fmla="*/ 222 w 362"/>
                  <a:gd name="T3" fmla="*/ 3 h 133"/>
                  <a:gd name="T4" fmla="*/ 248 w 362"/>
                  <a:gd name="T5" fmla="*/ 10 h 133"/>
                  <a:gd name="T6" fmla="*/ 274 w 362"/>
                  <a:gd name="T7" fmla="*/ 19 h 133"/>
                  <a:gd name="T8" fmla="*/ 296 w 362"/>
                  <a:gd name="T9" fmla="*/ 31 h 133"/>
                  <a:gd name="T10" fmla="*/ 318 w 362"/>
                  <a:gd name="T11" fmla="*/ 46 h 133"/>
                  <a:gd name="T12" fmla="*/ 337 w 362"/>
                  <a:gd name="T13" fmla="*/ 63 h 133"/>
                  <a:gd name="T14" fmla="*/ 356 w 362"/>
                  <a:gd name="T15" fmla="*/ 83 h 133"/>
                  <a:gd name="T16" fmla="*/ 321 w 362"/>
                  <a:gd name="T17" fmla="*/ 133 h 133"/>
                  <a:gd name="T18" fmla="*/ 309 w 362"/>
                  <a:gd name="T19" fmla="*/ 116 h 133"/>
                  <a:gd name="T20" fmla="*/ 295 w 362"/>
                  <a:gd name="T21" fmla="*/ 101 h 133"/>
                  <a:gd name="T22" fmla="*/ 279 w 362"/>
                  <a:gd name="T23" fmla="*/ 87 h 133"/>
                  <a:gd name="T24" fmla="*/ 262 w 362"/>
                  <a:gd name="T25" fmla="*/ 77 h 133"/>
                  <a:gd name="T26" fmla="*/ 244 w 362"/>
                  <a:gd name="T27" fmla="*/ 68 h 133"/>
                  <a:gd name="T28" fmla="*/ 223 w 362"/>
                  <a:gd name="T29" fmla="*/ 61 h 133"/>
                  <a:gd name="T30" fmla="*/ 203 w 362"/>
                  <a:gd name="T31" fmla="*/ 57 h 133"/>
                  <a:gd name="T32" fmla="*/ 181 w 362"/>
                  <a:gd name="T33" fmla="*/ 55 h 133"/>
                  <a:gd name="T34" fmla="*/ 159 w 362"/>
                  <a:gd name="T35" fmla="*/ 57 h 133"/>
                  <a:gd name="T36" fmla="*/ 139 w 362"/>
                  <a:gd name="T37" fmla="*/ 61 h 133"/>
                  <a:gd name="T38" fmla="*/ 118 w 362"/>
                  <a:gd name="T39" fmla="*/ 68 h 133"/>
                  <a:gd name="T40" fmla="*/ 100 w 362"/>
                  <a:gd name="T41" fmla="*/ 77 h 133"/>
                  <a:gd name="T42" fmla="*/ 83 w 362"/>
                  <a:gd name="T43" fmla="*/ 87 h 133"/>
                  <a:gd name="T44" fmla="*/ 67 w 362"/>
                  <a:gd name="T45" fmla="*/ 101 h 133"/>
                  <a:gd name="T46" fmla="*/ 53 w 362"/>
                  <a:gd name="T47" fmla="*/ 116 h 133"/>
                  <a:gd name="T48" fmla="*/ 41 w 362"/>
                  <a:gd name="T49" fmla="*/ 133 h 133"/>
                  <a:gd name="T50" fmla="*/ 7 w 362"/>
                  <a:gd name="T51" fmla="*/ 83 h 133"/>
                  <a:gd name="T52" fmla="*/ 25 w 362"/>
                  <a:gd name="T53" fmla="*/ 63 h 133"/>
                  <a:gd name="T54" fmla="*/ 44 w 362"/>
                  <a:gd name="T55" fmla="*/ 46 h 133"/>
                  <a:gd name="T56" fmla="*/ 66 w 362"/>
                  <a:gd name="T57" fmla="*/ 31 h 133"/>
                  <a:gd name="T58" fmla="*/ 89 w 362"/>
                  <a:gd name="T59" fmla="*/ 19 h 133"/>
                  <a:gd name="T60" fmla="*/ 114 w 362"/>
                  <a:gd name="T61" fmla="*/ 10 h 133"/>
                  <a:gd name="T62" fmla="*/ 140 w 362"/>
                  <a:gd name="T63" fmla="*/ 3 h 133"/>
                  <a:gd name="T64" fmla="*/ 167 w 362"/>
                  <a:gd name="T65" fmla="*/ 0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62" h="133">
                    <a:moveTo>
                      <a:pt x="181" y="0"/>
                    </a:moveTo>
                    <a:lnTo>
                      <a:pt x="195" y="0"/>
                    </a:lnTo>
                    <a:lnTo>
                      <a:pt x="208" y="1"/>
                    </a:lnTo>
                    <a:lnTo>
                      <a:pt x="222" y="3"/>
                    </a:lnTo>
                    <a:lnTo>
                      <a:pt x="236" y="5"/>
                    </a:lnTo>
                    <a:lnTo>
                      <a:pt x="248" y="10"/>
                    </a:lnTo>
                    <a:lnTo>
                      <a:pt x="261" y="14"/>
                    </a:lnTo>
                    <a:lnTo>
                      <a:pt x="274" y="19"/>
                    </a:lnTo>
                    <a:lnTo>
                      <a:pt x="285" y="25"/>
                    </a:lnTo>
                    <a:lnTo>
                      <a:pt x="296" y="31"/>
                    </a:lnTo>
                    <a:lnTo>
                      <a:pt x="308" y="38"/>
                    </a:lnTo>
                    <a:lnTo>
                      <a:pt x="318" y="46"/>
                    </a:lnTo>
                    <a:lnTo>
                      <a:pt x="328" y="54"/>
                    </a:lnTo>
                    <a:lnTo>
                      <a:pt x="337" y="63"/>
                    </a:lnTo>
                    <a:lnTo>
                      <a:pt x="346" y="73"/>
                    </a:lnTo>
                    <a:lnTo>
                      <a:pt x="356" y="83"/>
                    </a:lnTo>
                    <a:lnTo>
                      <a:pt x="362" y="93"/>
                    </a:lnTo>
                    <a:lnTo>
                      <a:pt x="321" y="133"/>
                    </a:lnTo>
                    <a:lnTo>
                      <a:pt x="316" y="124"/>
                    </a:lnTo>
                    <a:lnTo>
                      <a:pt x="309" y="116"/>
                    </a:lnTo>
                    <a:lnTo>
                      <a:pt x="302" y="108"/>
                    </a:lnTo>
                    <a:lnTo>
                      <a:pt x="295" y="101"/>
                    </a:lnTo>
                    <a:lnTo>
                      <a:pt x="287" y="94"/>
                    </a:lnTo>
                    <a:lnTo>
                      <a:pt x="279" y="87"/>
                    </a:lnTo>
                    <a:lnTo>
                      <a:pt x="271" y="82"/>
                    </a:lnTo>
                    <a:lnTo>
                      <a:pt x="262" y="77"/>
                    </a:lnTo>
                    <a:lnTo>
                      <a:pt x="253" y="71"/>
                    </a:lnTo>
                    <a:lnTo>
                      <a:pt x="244" y="68"/>
                    </a:lnTo>
                    <a:lnTo>
                      <a:pt x="234" y="65"/>
                    </a:lnTo>
                    <a:lnTo>
                      <a:pt x="223" y="61"/>
                    </a:lnTo>
                    <a:lnTo>
                      <a:pt x="213" y="59"/>
                    </a:lnTo>
                    <a:lnTo>
                      <a:pt x="203" y="57"/>
                    </a:lnTo>
                    <a:lnTo>
                      <a:pt x="193" y="55"/>
                    </a:lnTo>
                    <a:lnTo>
                      <a:pt x="181" y="55"/>
                    </a:lnTo>
                    <a:lnTo>
                      <a:pt x="170" y="55"/>
                    </a:lnTo>
                    <a:lnTo>
                      <a:pt x="159" y="57"/>
                    </a:lnTo>
                    <a:lnTo>
                      <a:pt x="149" y="59"/>
                    </a:lnTo>
                    <a:lnTo>
                      <a:pt x="139" y="61"/>
                    </a:lnTo>
                    <a:lnTo>
                      <a:pt x="129" y="65"/>
                    </a:lnTo>
                    <a:lnTo>
                      <a:pt x="118" y="68"/>
                    </a:lnTo>
                    <a:lnTo>
                      <a:pt x="109" y="71"/>
                    </a:lnTo>
                    <a:lnTo>
                      <a:pt x="100" y="77"/>
                    </a:lnTo>
                    <a:lnTo>
                      <a:pt x="91" y="82"/>
                    </a:lnTo>
                    <a:lnTo>
                      <a:pt x="83" y="87"/>
                    </a:lnTo>
                    <a:lnTo>
                      <a:pt x="75" y="94"/>
                    </a:lnTo>
                    <a:lnTo>
                      <a:pt x="67" y="101"/>
                    </a:lnTo>
                    <a:lnTo>
                      <a:pt x="60" y="108"/>
                    </a:lnTo>
                    <a:lnTo>
                      <a:pt x="53" y="116"/>
                    </a:lnTo>
                    <a:lnTo>
                      <a:pt x="47" y="124"/>
                    </a:lnTo>
                    <a:lnTo>
                      <a:pt x="41" y="133"/>
                    </a:lnTo>
                    <a:lnTo>
                      <a:pt x="0" y="93"/>
                    </a:lnTo>
                    <a:lnTo>
                      <a:pt x="7" y="83"/>
                    </a:lnTo>
                    <a:lnTo>
                      <a:pt x="16" y="73"/>
                    </a:lnTo>
                    <a:lnTo>
                      <a:pt x="25" y="63"/>
                    </a:lnTo>
                    <a:lnTo>
                      <a:pt x="34" y="54"/>
                    </a:lnTo>
                    <a:lnTo>
                      <a:pt x="44" y="46"/>
                    </a:lnTo>
                    <a:lnTo>
                      <a:pt x="55" y="38"/>
                    </a:lnTo>
                    <a:lnTo>
                      <a:pt x="66" y="31"/>
                    </a:lnTo>
                    <a:lnTo>
                      <a:pt x="77" y="25"/>
                    </a:lnTo>
                    <a:lnTo>
                      <a:pt x="89" y="19"/>
                    </a:lnTo>
                    <a:lnTo>
                      <a:pt x="101" y="14"/>
                    </a:lnTo>
                    <a:lnTo>
                      <a:pt x="114" y="10"/>
                    </a:lnTo>
                    <a:lnTo>
                      <a:pt x="126" y="5"/>
                    </a:lnTo>
                    <a:lnTo>
                      <a:pt x="140" y="3"/>
                    </a:lnTo>
                    <a:lnTo>
                      <a:pt x="154" y="1"/>
                    </a:lnTo>
                    <a:lnTo>
                      <a:pt x="167" y="0"/>
                    </a:lnTo>
                    <a:lnTo>
                      <a:pt x="181"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370" name="Freeform 37"/>
              <p:cNvSpPr>
                <a:spLocks/>
              </p:cNvSpPr>
              <p:nvPr/>
            </p:nvSpPr>
            <p:spPr bwMode="auto">
              <a:xfrm>
                <a:off x="2449489" y="896942"/>
                <a:ext cx="61912" cy="28576"/>
              </a:xfrm>
              <a:custGeom>
                <a:avLst/>
                <a:gdLst>
                  <a:gd name="T0" fmla="*/ 117 w 235"/>
                  <a:gd name="T1" fmla="*/ 0 h 111"/>
                  <a:gd name="T2" fmla="*/ 126 w 235"/>
                  <a:gd name="T3" fmla="*/ 1 h 111"/>
                  <a:gd name="T4" fmla="*/ 135 w 235"/>
                  <a:gd name="T5" fmla="*/ 2 h 111"/>
                  <a:gd name="T6" fmla="*/ 144 w 235"/>
                  <a:gd name="T7" fmla="*/ 3 h 111"/>
                  <a:gd name="T8" fmla="*/ 154 w 235"/>
                  <a:gd name="T9" fmla="*/ 6 h 111"/>
                  <a:gd name="T10" fmla="*/ 162 w 235"/>
                  <a:gd name="T11" fmla="*/ 8 h 111"/>
                  <a:gd name="T12" fmla="*/ 171 w 235"/>
                  <a:gd name="T13" fmla="*/ 11 h 111"/>
                  <a:gd name="T14" fmla="*/ 179 w 235"/>
                  <a:gd name="T15" fmla="*/ 15 h 111"/>
                  <a:gd name="T16" fmla="*/ 186 w 235"/>
                  <a:gd name="T17" fmla="*/ 19 h 111"/>
                  <a:gd name="T18" fmla="*/ 200 w 235"/>
                  <a:gd name="T19" fmla="*/ 30 h 111"/>
                  <a:gd name="T20" fmla="*/ 214 w 235"/>
                  <a:gd name="T21" fmla="*/ 41 h 111"/>
                  <a:gd name="T22" fmla="*/ 225 w 235"/>
                  <a:gd name="T23" fmla="*/ 54 h 111"/>
                  <a:gd name="T24" fmla="*/ 235 w 235"/>
                  <a:gd name="T25" fmla="*/ 68 h 111"/>
                  <a:gd name="T26" fmla="*/ 190 w 235"/>
                  <a:gd name="T27" fmla="*/ 111 h 111"/>
                  <a:gd name="T28" fmla="*/ 186 w 235"/>
                  <a:gd name="T29" fmla="*/ 99 h 111"/>
                  <a:gd name="T30" fmla="*/ 179 w 235"/>
                  <a:gd name="T31" fmla="*/ 90 h 111"/>
                  <a:gd name="T32" fmla="*/ 172 w 235"/>
                  <a:gd name="T33" fmla="*/ 81 h 111"/>
                  <a:gd name="T34" fmla="*/ 163 w 235"/>
                  <a:gd name="T35" fmla="*/ 73 h 111"/>
                  <a:gd name="T36" fmla="*/ 152 w 235"/>
                  <a:gd name="T37" fmla="*/ 67 h 111"/>
                  <a:gd name="T38" fmla="*/ 141 w 235"/>
                  <a:gd name="T39" fmla="*/ 63 h 111"/>
                  <a:gd name="T40" fmla="*/ 130 w 235"/>
                  <a:gd name="T41" fmla="*/ 59 h 111"/>
                  <a:gd name="T42" fmla="*/ 117 w 235"/>
                  <a:gd name="T43" fmla="*/ 59 h 111"/>
                  <a:gd name="T44" fmla="*/ 105 w 235"/>
                  <a:gd name="T45" fmla="*/ 59 h 111"/>
                  <a:gd name="T46" fmla="*/ 93 w 235"/>
                  <a:gd name="T47" fmla="*/ 63 h 111"/>
                  <a:gd name="T48" fmla="*/ 82 w 235"/>
                  <a:gd name="T49" fmla="*/ 67 h 111"/>
                  <a:gd name="T50" fmla="*/ 71 w 235"/>
                  <a:gd name="T51" fmla="*/ 73 h 111"/>
                  <a:gd name="T52" fmla="*/ 64 w 235"/>
                  <a:gd name="T53" fmla="*/ 81 h 111"/>
                  <a:gd name="T54" fmla="*/ 56 w 235"/>
                  <a:gd name="T55" fmla="*/ 90 h 111"/>
                  <a:gd name="T56" fmla="*/ 49 w 235"/>
                  <a:gd name="T57" fmla="*/ 99 h 111"/>
                  <a:gd name="T58" fmla="*/ 44 w 235"/>
                  <a:gd name="T59" fmla="*/ 111 h 111"/>
                  <a:gd name="T60" fmla="*/ 0 w 235"/>
                  <a:gd name="T61" fmla="*/ 68 h 111"/>
                  <a:gd name="T62" fmla="*/ 9 w 235"/>
                  <a:gd name="T63" fmla="*/ 54 h 111"/>
                  <a:gd name="T64" fmla="*/ 20 w 235"/>
                  <a:gd name="T65" fmla="*/ 41 h 111"/>
                  <a:gd name="T66" fmla="*/ 34 w 235"/>
                  <a:gd name="T67" fmla="*/ 30 h 111"/>
                  <a:gd name="T68" fmla="*/ 49 w 235"/>
                  <a:gd name="T69" fmla="*/ 19 h 111"/>
                  <a:gd name="T70" fmla="*/ 56 w 235"/>
                  <a:gd name="T71" fmla="*/ 15 h 111"/>
                  <a:gd name="T72" fmla="*/ 64 w 235"/>
                  <a:gd name="T73" fmla="*/ 11 h 111"/>
                  <a:gd name="T74" fmla="*/ 73 w 235"/>
                  <a:gd name="T75" fmla="*/ 8 h 111"/>
                  <a:gd name="T76" fmla="*/ 81 w 235"/>
                  <a:gd name="T77" fmla="*/ 6 h 111"/>
                  <a:gd name="T78" fmla="*/ 90 w 235"/>
                  <a:gd name="T79" fmla="*/ 3 h 111"/>
                  <a:gd name="T80" fmla="*/ 99 w 235"/>
                  <a:gd name="T81" fmla="*/ 2 h 111"/>
                  <a:gd name="T82" fmla="*/ 108 w 235"/>
                  <a:gd name="T83" fmla="*/ 1 h 111"/>
                  <a:gd name="T84" fmla="*/ 117 w 235"/>
                  <a:gd name="T85" fmla="*/ 0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35" h="111">
                    <a:moveTo>
                      <a:pt x="117" y="0"/>
                    </a:moveTo>
                    <a:lnTo>
                      <a:pt x="126" y="1"/>
                    </a:lnTo>
                    <a:lnTo>
                      <a:pt x="135" y="2"/>
                    </a:lnTo>
                    <a:lnTo>
                      <a:pt x="144" y="3"/>
                    </a:lnTo>
                    <a:lnTo>
                      <a:pt x="154" y="6"/>
                    </a:lnTo>
                    <a:lnTo>
                      <a:pt x="162" y="8"/>
                    </a:lnTo>
                    <a:lnTo>
                      <a:pt x="171" y="11"/>
                    </a:lnTo>
                    <a:lnTo>
                      <a:pt x="179" y="15"/>
                    </a:lnTo>
                    <a:lnTo>
                      <a:pt x="186" y="19"/>
                    </a:lnTo>
                    <a:lnTo>
                      <a:pt x="200" y="30"/>
                    </a:lnTo>
                    <a:lnTo>
                      <a:pt x="214" y="41"/>
                    </a:lnTo>
                    <a:lnTo>
                      <a:pt x="225" y="54"/>
                    </a:lnTo>
                    <a:lnTo>
                      <a:pt x="235" y="68"/>
                    </a:lnTo>
                    <a:lnTo>
                      <a:pt x="190" y="111"/>
                    </a:lnTo>
                    <a:lnTo>
                      <a:pt x="186" y="99"/>
                    </a:lnTo>
                    <a:lnTo>
                      <a:pt x="179" y="90"/>
                    </a:lnTo>
                    <a:lnTo>
                      <a:pt x="172" y="81"/>
                    </a:lnTo>
                    <a:lnTo>
                      <a:pt x="163" y="73"/>
                    </a:lnTo>
                    <a:lnTo>
                      <a:pt x="152" y="67"/>
                    </a:lnTo>
                    <a:lnTo>
                      <a:pt x="141" y="63"/>
                    </a:lnTo>
                    <a:lnTo>
                      <a:pt x="130" y="59"/>
                    </a:lnTo>
                    <a:lnTo>
                      <a:pt x="117" y="59"/>
                    </a:lnTo>
                    <a:lnTo>
                      <a:pt x="105" y="59"/>
                    </a:lnTo>
                    <a:lnTo>
                      <a:pt x="93" y="63"/>
                    </a:lnTo>
                    <a:lnTo>
                      <a:pt x="82" y="67"/>
                    </a:lnTo>
                    <a:lnTo>
                      <a:pt x="71" y="73"/>
                    </a:lnTo>
                    <a:lnTo>
                      <a:pt x="64" y="81"/>
                    </a:lnTo>
                    <a:lnTo>
                      <a:pt x="56" y="90"/>
                    </a:lnTo>
                    <a:lnTo>
                      <a:pt x="49" y="99"/>
                    </a:lnTo>
                    <a:lnTo>
                      <a:pt x="44" y="111"/>
                    </a:lnTo>
                    <a:lnTo>
                      <a:pt x="0" y="68"/>
                    </a:lnTo>
                    <a:lnTo>
                      <a:pt x="9" y="54"/>
                    </a:lnTo>
                    <a:lnTo>
                      <a:pt x="20" y="41"/>
                    </a:lnTo>
                    <a:lnTo>
                      <a:pt x="34" y="30"/>
                    </a:lnTo>
                    <a:lnTo>
                      <a:pt x="49" y="19"/>
                    </a:lnTo>
                    <a:lnTo>
                      <a:pt x="56" y="15"/>
                    </a:lnTo>
                    <a:lnTo>
                      <a:pt x="64" y="11"/>
                    </a:lnTo>
                    <a:lnTo>
                      <a:pt x="73" y="8"/>
                    </a:lnTo>
                    <a:lnTo>
                      <a:pt x="81" y="6"/>
                    </a:lnTo>
                    <a:lnTo>
                      <a:pt x="90" y="3"/>
                    </a:lnTo>
                    <a:lnTo>
                      <a:pt x="99" y="2"/>
                    </a:lnTo>
                    <a:lnTo>
                      <a:pt x="108" y="1"/>
                    </a:lnTo>
                    <a:lnTo>
                      <a:pt x="11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371" name="Freeform 38"/>
              <p:cNvSpPr>
                <a:spLocks/>
              </p:cNvSpPr>
              <p:nvPr/>
            </p:nvSpPr>
            <p:spPr bwMode="auto">
              <a:xfrm>
                <a:off x="2468539" y="920755"/>
                <a:ext cx="23813" cy="22225"/>
              </a:xfrm>
              <a:custGeom>
                <a:avLst/>
                <a:gdLst>
                  <a:gd name="T0" fmla="*/ 42 w 84"/>
                  <a:gd name="T1" fmla="*/ 0 h 84"/>
                  <a:gd name="T2" fmla="*/ 51 w 84"/>
                  <a:gd name="T3" fmla="*/ 0 h 84"/>
                  <a:gd name="T4" fmla="*/ 59 w 84"/>
                  <a:gd name="T5" fmla="*/ 2 h 84"/>
                  <a:gd name="T6" fmla="*/ 66 w 84"/>
                  <a:gd name="T7" fmla="*/ 7 h 84"/>
                  <a:gd name="T8" fmla="*/ 72 w 84"/>
                  <a:gd name="T9" fmla="*/ 11 h 84"/>
                  <a:gd name="T10" fmla="*/ 77 w 84"/>
                  <a:gd name="T11" fmla="*/ 18 h 84"/>
                  <a:gd name="T12" fmla="*/ 81 w 84"/>
                  <a:gd name="T13" fmla="*/ 25 h 84"/>
                  <a:gd name="T14" fmla="*/ 83 w 84"/>
                  <a:gd name="T15" fmla="*/ 33 h 84"/>
                  <a:gd name="T16" fmla="*/ 84 w 84"/>
                  <a:gd name="T17" fmla="*/ 42 h 84"/>
                  <a:gd name="T18" fmla="*/ 84 w 84"/>
                  <a:gd name="T19" fmla="*/ 43 h 84"/>
                  <a:gd name="T20" fmla="*/ 84 w 84"/>
                  <a:gd name="T21" fmla="*/ 44 h 84"/>
                  <a:gd name="T22" fmla="*/ 42 w 84"/>
                  <a:gd name="T23" fmla="*/ 84 h 84"/>
                  <a:gd name="T24" fmla="*/ 0 w 84"/>
                  <a:gd name="T25" fmla="*/ 44 h 84"/>
                  <a:gd name="T26" fmla="*/ 0 w 84"/>
                  <a:gd name="T27" fmla="*/ 43 h 84"/>
                  <a:gd name="T28" fmla="*/ 0 w 84"/>
                  <a:gd name="T29" fmla="*/ 42 h 84"/>
                  <a:gd name="T30" fmla="*/ 1 w 84"/>
                  <a:gd name="T31" fmla="*/ 33 h 84"/>
                  <a:gd name="T32" fmla="*/ 3 w 84"/>
                  <a:gd name="T33" fmla="*/ 25 h 84"/>
                  <a:gd name="T34" fmla="*/ 7 w 84"/>
                  <a:gd name="T35" fmla="*/ 18 h 84"/>
                  <a:gd name="T36" fmla="*/ 12 w 84"/>
                  <a:gd name="T37" fmla="*/ 11 h 84"/>
                  <a:gd name="T38" fmla="*/ 18 w 84"/>
                  <a:gd name="T39" fmla="*/ 7 h 84"/>
                  <a:gd name="T40" fmla="*/ 26 w 84"/>
                  <a:gd name="T41" fmla="*/ 2 h 84"/>
                  <a:gd name="T42" fmla="*/ 34 w 84"/>
                  <a:gd name="T43" fmla="*/ 0 h 84"/>
                  <a:gd name="T44" fmla="*/ 42 w 84"/>
                  <a:gd name="T45" fmla="*/ 0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84" h="84">
                    <a:moveTo>
                      <a:pt x="42" y="0"/>
                    </a:moveTo>
                    <a:lnTo>
                      <a:pt x="51" y="0"/>
                    </a:lnTo>
                    <a:lnTo>
                      <a:pt x="59" y="2"/>
                    </a:lnTo>
                    <a:lnTo>
                      <a:pt x="66" y="7"/>
                    </a:lnTo>
                    <a:lnTo>
                      <a:pt x="72" y="11"/>
                    </a:lnTo>
                    <a:lnTo>
                      <a:pt x="77" y="18"/>
                    </a:lnTo>
                    <a:lnTo>
                      <a:pt x="81" y="25"/>
                    </a:lnTo>
                    <a:lnTo>
                      <a:pt x="83" y="33"/>
                    </a:lnTo>
                    <a:lnTo>
                      <a:pt x="84" y="42"/>
                    </a:lnTo>
                    <a:lnTo>
                      <a:pt x="84" y="43"/>
                    </a:lnTo>
                    <a:lnTo>
                      <a:pt x="84" y="44"/>
                    </a:lnTo>
                    <a:lnTo>
                      <a:pt x="42" y="84"/>
                    </a:lnTo>
                    <a:lnTo>
                      <a:pt x="0" y="44"/>
                    </a:lnTo>
                    <a:lnTo>
                      <a:pt x="0" y="43"/>
                    </a:lnTo>
                    <a:lnTo>
                      <a:pt x="0" y="42"/>
                    </a:lnTo>
                    <a:lnTo>
                      <a:pt x="1" y="33"/>
                    </a:lnTo>
                    <a:lnTo>
                      <a:pt x="3" y="25"/>
                    </a:lnTo>
                    <a:lnTo>
                      <a:pt x="7" y="18"/>
                    </a:lnTo>
                    <a:lnTo>
                      <a:pt x="12" y="11"/>
                    </a:lnTo>
                    <a:lnTo>
                      <a:pt x="18" y="7"/>
                    </a:lnTo>
                    <a:lnTo>
                      <a:pt x="26" y="2"/>
                    </a:lnTo>
                    <a:lnTo>
                      <a:pt x="34" y="0"/>
                    </a:lnTo>
                    <a:lnTo>
                      <a:pt x="42"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372" name="Freeform 39"/>
              <p:cNvSpPr>
                <a:spLocks noEditPoints="1"/>
              </p:cNvSpPr>
              <p:nvPr/>
            </p:nvSpPr>
            <p:spPr bwMode="auto">
              <a:xfrm>
                <a:off x="4035385" y="876304"/>
                <a:ext cx="130173" cy="61913"/>
              </a:xfrm>
              <a:custGeom>
                <a:avLst/>
                <a:gdLst>
                  <a:gd name="T0" fmla="*/ 418 w 492"/>
                  <a:gd name="T1" fmla="*/ 0 h 235"/>
                  <a:gd name="T2" fmla="*/ 430 w 492"/>
                  <a:gd name="T3" fmla="*/ 2 h 235"/>
                  <a:gd name="T4" fmla="*/ 440 w 492"/>
                  <a:gd name="T5" fmla="*/ 9 h 235"/>
                  <a:gd name="T6" fmla="*/ 446 w 492"/>
                  <a:gd name="T7" fmla="*/ 19 h 235"/>
                  <a:gd name="T8" fmla="*/ 448 w 492"/>
                  <a:gd name="T9" fmla="*/ 31 h 235"/>
                  <a:gd name="T10" fmla="*/ 470 w 492"/>
                  <a:gd name="T11" fmla="*/ 58 h 235"/>
                  <a:gd name="T12" fmla="*/ 479 w 492"/>
                  <a:gd name="T13" fmla="*/ 60 h 235"/>
                  <a:gd name="T14" fmla="*/ 487 w 492"/>
                  <a:gd name="T15" fmla="*/ 65 h 235"/>
                  <a:gd name="T16" fmla="*/ 491 w 492"/>
                  <a:gd name="T17" fmla="*/ 73 h 235"/>
                  <a:gd name="T18" fmla="*/ 492 w 492"/>
                  <a:gd name="T19" fmla="*/ 82 h 235"/>
                  <a:gd name="T20" fmla="*/ 492 w 492"/>
                  <a:gd name="T21" fmla="*/ 158 h 235"/>
                  <a:gd name="T22" fmla="*/ 489 w 492"/>
                  <a:gd name="T23" fmla="*/ 166 h 235"/>
                  <a:gd name="T24" fmla="*/ 483 w 492"/>
                  <a:gd name="T25" fmla="*/ 173 h 235"/>
                  <a:gd name="T26" fmla="*/ 474 w 492"/>
                  <a:gd name="T27" fmla="*/ 177 h 235"/>
                  <a:gd name="T28" fmla="*/ 448 w 492"/>
                  <a:gd name="T29" fmla="*/ 177 h 235"/>
                  <a:gd name="T30" fmla="*/ 448 w 492"/>
                  <a:gd name="T31" fmla="*/ 211 h 235"/>
                  <a:gd name="T32" fmla="*/ 443 w 492"/>
                  <a:gd name="T33" fmla="*/ 222 h 235"/>
                  <a:gd name="T34" fmla="*/ 435 w 492"/>
                  <a:gd name="T35" fmla="*/ 230 h 235"/>
                  <a:gd name="T36" fmla="*/ 424 w 492"/>
                  <a:gd name="T37" fmla="*/ 235 h 235"/>
                  <a:gd name="T38" fmla="*/ 29 w 492"/>
                  <a:gd name="T39" fmla="*/ 235 h 235"/>
                  <a:gd name="T40" fmla="*/ 18 w 492"/>
                  <a:gd name="T41" fmla="*/ 233 h 235"/>
                  <a:gd name="T42" fmla="*/ 9 w 492"/>
                  <a:gd name="T43" fmla="*/ 227 h 235"/>
                  <a:gd name="T44" fmla="*/ 2 w 492"/>
                  <a:gd name="T45" fmla="*/ 217 h 235"/>
                  <a:gd name="T46" fmla="*/ 0 w 492"/>
                  <a:gd name="T47" fmla="*/ 205 h 235"/>
                  <a:gd name="T48" fmla="*/ 1 w 492"/>
                  <a:gd name="T49" fmla="*/ 24 h 235"/>
                  <a:gd name="T50" fmla="*/ 5 w 492"/>
                  <a:gd name="T51" fmla="*/ 14 h 235"/>
                  <a:gd name="T52" fmla="*/ 13 w 492"/>
                  <a:gd name="T53" fmla="*/ 6 h 235"/>
                  <a:gd name="T54" fmla="*/ 24 w 492"/>
                  <a:gd name="T55" fmla="*/ 1 h 235"/>
                  <a:gd name="T56" fmla="*/ 448 w 492"/>
                  <a:gd name="T57" fmla="*/ 93 h 235"/>
                  <a:gd name="T58" fmla="*/ 457 w 492"/>
                  <a:gd name="T59" fmla="*/ 141 h 235"/>
                  <a:gd name="T60" fmla="*/ 448 w 492"/>
                  <a:gd name="T61" fmla="*/ 93 h 235"/>
                  <a:gd name="T62" fmla="*/ 35 w 492"/>
                  <a:gd name="T63" fmla="*/ 35 h 235"/>
                  <a:gd name="T64" fmla="*/ 413 w 492"/>
                  <a:gd name="T65" fmla="*/ 199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92" h="235">
                    <a:moveTo>
                      <a:pt x="29" y="0"/>
                    </a:moveTo>
                    <a:lnTo>
                      <a:pt x="418" y="0"/>
                    </a:lnTo>
                    <a:lnTo>
                      <a:pt x="424" y="1"/>
                    </a:lnTo>
                    <a:lnTo>
                      <a:pt x="430" y="2"/>
                    </a:lnTo>
                    <a:lnTo>
                      <a:pt x="435" y="6"/>
                    </a:lnTo>
                    <a:lnTo>
                      <a:pt x="440" y="9"/>
                    </a:lnTo>
                    <a:lnTo>
                      <a:pt x="443" y="14"/>
                    </a:lnTo>
                    <a:lnTo>
                      <a:pt x="446" y="19"/>
                    </a:lnTo>
                    <a:lnTo>
                      <a:pt x="448" y="24"/>
                    </a:lnTo>
                    <a:lnTo>
                      <a:pt x="448" y="31"/>
                    </a:lnTo>
                    <a:lnTo>
                      <a:pt x="448" y="58"/>
                    </a:lnTo>
                    <a:lnTo>
                      <a:pt x="470" y="58"/>
                    </a:lnTo>
                    <a:lnTo>
                      <a:pt x="474" y="59"/>
                    </a:lnTo>
                    <a:lnTo>
                      <a:pt x="479" y="60"/>
                    </a:lnTo>
                    <a:lnTo>
                      <a:pt x="483" y="63"/>
                    </a:lnTo>
                    <a:lnTo>
                      <a:pt x="487" y="65"/>
                    </a:lnTo>
                    <a:lnTo>
                      <a:pt x="489" y="68"/>
                    </a:lnTo>
                    <a:lnTo>
                      <a:pt x="491" y="73"/>
                    </a:lnTo>
                    <a:lnTo>
                      <a:pt x="492" y="76"/>
                    </a:lnTo>
                    <a:lnTo>
                      <a:pt x="492" y="82"/>
                    </a:lnTo>
                    <a:lnTo>
                      <a:pt x="492" y="154"/>
                    </a:lnTo>
                    <a:lnTo>
                      <a:pt x="492" y="158"/>
                    </a:lnTo>
                    <a:lnTo>
                      <a:pt x="491" y="163"/>
                    </a:lnTo>
                    <a:lnTo>
                      <a:pt x="489" y="166"/>
                    </a:lnTo>
                    <a:lnTo>
                      <a:pt x="487" y="170"/>
                    </a:lnTo>
                    <a:lnTo>
                      <a:pt x="483" y="173"/>
                    </a:lnTo>
                    <a:lnTo>
                      <a:pt x="479" y="176"/>
                    </a:lnTo>
                    <a:lnTo>
                      <a:pt x="474" y="177"/>
                    </a:lnTo>
                    <a:lnTo>
                      <a:pt x="470" y="177"/>
                    </a:lnTo>
                    <a:lnTo>
                      <a:pt x="448" y="177"/>
                    </a:lnTo>
                    <a:lnTo>
                      <a:pt x="448" y="205"/>
                    </a:lnTo>
                    <a:lnTo>
                      <a:pt x="448" y="211"/>
                    </a:lnTo>
                    <a:lnTo>
                      <a:pt x="446" y="217"/>
                    </a:lnTo>
                    <a:lnTo>
                      <a:pt x="443" y="222"/>
                    </a:lnTo>
                    <a:lnTo>
                      <a:pt x="440" y="227"/>
                    </a:lnTo>
                    <a:lnTo>
                      <a:pt x="435" y="230"/>
                    </a:lnTo>
                    <a:lnTo>
                      <a:pt x="430" y="233"/>
                    </a:lnTo>
                    <a:lnTo>
                      <a:pt x="424" y="235"/>
                    </a:lnTo>
                    <a:lnTo>
                      <a:pt x="418" y="235"/>
                    </a:lnTo>
                    <a:lnTo>
                      <a:pt x="29" y="235"/>
                    </a:lnTo>
                    <a:lnTo>
                      <a:pt x="24" y="235"/>
                    </a:lnTo>
                    <a:lnTo>
                      <a:pt x="18" y="233"/>
                    </a:lnTo>
                    <a:lnTo>
                      <a:pt x="13" y="230"/>
                    </a:lnTo>
                    <a:lnTo>
                      <a:pt x="9" y="227"/>
                    </a:lnTo>
                    <a:lnTo>
                      <a:pt x="5" y="222"/>
                    </a:lnTo>
                    <a:lnTo>
                      <a:pt x="2" y="217"/>
                    </a:lnTo>
                    <a:lnTo>
                      <a:pt x="1" y="211"/>
                    </a:lnTo>
                    <a:lnTo>
                      <a:pt x="0" y="205"/>
                    </a:lnTo>
                    <a:lnTo>
                      <a:pt x="0" y="31"/>
                    </a:lnTo>
                    <a:lnTo>
                      <a:pt x="1" y="24"/>
                    </a:lnTo>
                    <a:lnTo>
                      <a:pt x="2" y="19"/>
                    </a:lnTo>
                    <a:lnTo>
                      <a:pt x="5" y="14"/>
                    </a:lnTo>
                    <a:lnTo>
                      <a:pt x="9" y="9"/>
                    </a:lnTo>
                    <a:lnTo>
                      <a:pt x="13" y="6"/>
                    </a:lnTo>
                    <a:lnTo>
                      <a:pt x="18" y="2"/>
                    </a:lnTo>
                    <a:lnTo>
                      <a:pt x="24" y="1"/>
                    </a:lnTo>
                    <a:lnTo>
                      <a:pt x="29" y="0"/>
                    </a:lnTo>
                    <a:close/>
                    <a:moveTo>
                      <a:pt x="448" y="93"/>
                    </a:moveTo>
                    <a:lnTo>
                      <a:pt x="448" y="141"/>
                    </a:lnTo>
                    <a:lnTo>
                      <a:pt x="457" y="141"/>
                    </a:lnTo>
                    <a:lnTo>
                      <a:pt x="457" y="93"/>
                    </a:lnTo>
                    <a:lnTo>
                      <a:pt x="448" y="93"/>
                    </a:lnTo>
                    <a:close/>
                    <a:moveTo>
                      <a:pt x="413" y="35"/>
                    </a:moveTo>
                    <a:lnTo>
                      <a:pt x="35" y="35"/>
                    </a:lnTo>
                    <a:lnTo>
                      <a:pt x="35" y="199"/>
                    </a:lnTo>
                    <a:lnTo>
                      <a:pt x="413" y="199"/>
                    </a:lnTo>
                    <a:lnTo>
                      <a:pt x="413" y="35"/>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373" name="Rectangle 40"/>
              <p:cNvSpPr>
                <a:spLocks noChangeArrowheads="1"/>
              </p:cNvSpPr>
              <p:nvPr/>
            </p:nvSpPr>
            <p:spPr bwMode="auto">
              <a:xfrm>
                <a:off x="4051266" y="890592"/>
                <a:ext cx="87312" cy="34925"/>
              </a:xfrm>
              <a:prstGeom prst="rect">
                <a:avLst/>
              </a:pr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374" name="Freeform 41"/>
              <p:cNvSpPr>
                <a:spLocks noEditPoints="1"/>
              </p:cNvSpPr>
              <p:nvPr/>
            </p:nvSpPr>
            <p:spPr bwMode="auto">
              <a:xfrm>
                <a:off x="3944937" y="862013"/>
                <a:ext cx="52388" cy="96838"/>
              </a:xfrm>
              <a:custGeom>
                <a:avLst/>
                <a:gdLst>
                  <a:gd name="T0" fmla="*/ 25 w 200"/>
                  <a:gd name="T1" fmla="*/ 73 h 367"/>
                  <a:gd name="T2" fmla="*/ 79 w 200"/>
                  <a:gd name="T3" fmla="*/ 127 h 367"/>
                  <a:gd name="T4" fmla="*/ 80 w 200"/>
                  <a:gd name="T5" fmla="*/ 0 h 367"/>
                  <a:gd name="T6" fmla="*/ 184 w 200"/>
                  <a:gd name="T7" fmla="*/ 102 h 367"/>
                  <a:gd name="T8" fmla="*/ 196 w 200"/>
                  <a:gd name="T9" fmla="*/ 114 h 367"/>
                  <a:gd name="T10" fmla="*/ 184 w 200"/>
                  <a:gd name="T11" fmla="*/ 127 h 367"/>
                  <a:gd name="T12" fmla="*/ 131 w 200"/>
                  <a:gd name="T13" fmla="*/ 179 h 367"/>
                  <a:gd name="T14" fmla="*/ 187 w 200"/>
                  <a:gd name="T15" fmla="*/ 235 h 367"/>
                  <a:gd name="T16" fmla="*/ 200 w 200"/>
                  <a:gd name="T17" fmla="*/ 246 h 367"/>
                  <a:gd name="T18" fmla="*/ 187 w 200"/>
                  <a:gd name="T19" fmla="*/ 259 h 367"/>
                  <a:gd name="T20" fmla="*/ 110 w 200"/>
                  <a:gd name="T21" fmla="*/ 338 h 367"/>
                  <a:gd name="T22" fmla="*/ 79 w 200"/>
                  <a:gd name="T23" fmla="*/ 367 h 367"/>
                  <a:gd name="T24" fmla="*/ 79 w 200"/>
                  <a:gd name="T25" fmla="*/ 325 h 367"/>
                  <a:gd name="T26" fmla="*/ 79 w 200"/>
                  <a:gd name="T27" fmla="*/ 232 h 367"/>
                  <a:gd name="T28" fmla="*/ 29 w 200"/>
                  <a:gd name="T29" fmla="*/ 283 h 367"/>
                  <a:gd name="T30" fmla="*/ 4 w 200"/>
                  <a:gd name="T31" fmla="*/ 258 h 367"/>
                  <a:gd name="T32" fmla="*/ 79 w 200"/>
                  <a:gd name="T33" fmla="*/ 182 h 367"/>
                  <a:gd name="T34" fmla="*/ 79 w 200"/>
                  <a:gd name="T35" fmla="*/ 177 h 367"/>
                  <a:gd name="T36" fmla="*/ 0 w 200"/>
                  <a:gd name="T37" fmla="*/ 98 h 367"/>
                  <a:gd name="T38" fmla="*/ 25 w 200"/>
                  <a:gd name="T39" fmla="*/ 73 h 367"/>
                  <a:gd name="T40" fmla="*/ 150 w 200"/>
                  <a:gd name="T41" fmla="*/ 246 h 367"/>
                  <a:gd name="T42" fmla="*/ 114 w 200"/>
                  <a:gd name="T43" fmla="*/ 212 h 367"/>
                  <a:gd name="T44" fmla="*/ 114 w 200"/>
                  <a:gd name="T45" fmla="*/ 282 h 367"/>
                  <a:gd name="T46" fmla="*/ 150 w 200"/>
                  <a:gd name="T47" fmla="*/ 246 h 367"/>
                  <a:gd name="T48" fmla="*/ 114 w 200"/>
                  <a:gd name="T49" fmla="*/ 82 h 367"/>
                  <a:gd name="T50" fmla="*/ 114 w 200"/>
                  <a:gd name="T51" fmla="*/ 146 h 367"/>
                  <a:gd name="T52" fmla="*/ 146 w 200"/>
                  <a:gd name="T53" fmla="*/ 114 h 367"/>
                  <a:gd name="T54" fmla="*/ 114 w 200"/>
                  <a:gd name="T55" fmla="*/ 82 h 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0" h="367">
                    <a:moveTo>
                      <a:pt x="25" y="73"/>
                    </a:moveTo>
                    <a:lnTo>
                      <a:pt x="79" y="127"/>
                    </a:lnTo>
                    <a:lnTo>
                      <a:pt x="80" y="0"/>
                    </a:lnTo>
                    <a:lnTo>
                      <a:pt x="184" y="102"/>
                    </a:lnTo>
                    <a:lnTo>
                      <a:pt x="196" y="114"/>
                    </a:lnTo>
                    <a:lnTo>
                      <a:pt x="184" y="127"/>
                    </a:lnTo>
                    <a:lnTo>
                      <a:pt x="131" y="179"/>
                    </a:lnTo>
                    <a:lnTo>
                      <a:pt x="187" y="235"/>
                    </a:lnTo>
                    <a:lnTo>
                      <a:pt x="200" y="246"/>
                    </a:lnTo>
                    <a:lnTo>
                      <a:pt x="187" y="259"/>
                    </a:lnTo>
                    <a:lnTo>
                      <a:pt x="110" y="338"/>
                    </a:lnTo>
                    <a:lnTo>
                      <a:pt x="79" y="367"/>
                    </a:lnTo>
                    <a:lnTo>
                      <a:pt x="79" y="325"/>
                    </a:lnTo>
                    <a:lnTo>
                      <a:pt x="79" y="232"/>
                    </a:lnTo>
                    <a:lnTo>
                      <a:pt x="29" y="283"/>
                    </a:lnTo>
                    <a:lnTo>
                      <a:pt x="4" y="258"/>
                    </a:lnTo>
                    <a:lnTo>
                      <a:pt x="79" y="182"/>
                    </a:lnTo>
                    <a:lnTo>
                      <a:pt x="79" y="177"/>
                    </a:lnTo>
                    <a:lnTo>
                      <a:pt x="0" y="98"/>
                    </a:lnTo>
                    <a:lnTo>
                      <a:pt x="25" y="73"/>
                    </a:lnTo>
                    <a:close/>
                    <a:moveTo>
                      <a:pt x="150" y="246"/>
                    </a:moveTo>
                    <a:lnTo>
                      <a:pt x="114" y="212"/>
                    </a:lnTo>
                    <a:lnTo>
                      <a:pt x="114" y="282"/>
                    </a:lnTo>
                    <a:lnTo>
                      <a:pt x="150" y="246"/>
                    </a:lnTo>
                    <a:close/>
                    <a:moveTo>
                      <a:pt x="114" y="82"/>
                    </a:moveTo>
                    <a:lnTo>
                      <a:pt x="114" y="146"/>
                    </a:lnTo>
                    <a:lnTo>
                      <a:pt x="146" y="114"/>
                    </a:lnTo>
                    <a:lnTo>
                      <a:pt x="114" y="82"/>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grpSp>
        <p:grpSp>
          <p:nvGrpSpPr>
            <p:cNvPr id="350" name="Group 349"/>
            <p:cNvGrpSpPr/>
            <p:nvPr/>
          </p:nvGrpSpPr>
          <p:grpSpPr>
            <a:xfrm>
              <a:off x="5940539" y="5094371"/>
              <a:ext cx="371944" cy="371944"/>
              <a:chOff x="5940539" y="5094371"/>
              <a:chExt cx="371944" cy="371944"/>
            </a:xfrm>
          </p:grpSpPr>
          <p:sp>
            <p:nvSpPr>
              <p:cNvPr id="359" name="Freeform 33"/>
              <p:cNvSpPr>
                <a:spLocks/>
              </p:cNvSpPr>
              <p:nvPr/>
            </p:nvSpPr>
            <p:spPr bwMode="auto">
              <a:xfrm>
                <a:off x="5940539" y="5094371"/>
                <a:ext cx="371944" cy="371944"/>
              </a:xfrm>
              <a:custGeom>
                <a:avLst/>
                <a:gdLst>
                  <a:gd name="T0" fmla="*/ 904 w 1639"/>
                  <a:gd name="T1" fmla="*/ 5 h 1638"/>
                  <a:gd name="T2" fmla="*/ 1025 w 1639"/>
                  <a:gd name="T3" fmla="*/ 27 h 1638"/>
                  <a:gd name="T4" fmla="*/ 1139 w 1639"/>
                  <a:gd name="T5" fmla="*/ 64 h 1638"/>
                  <a:gd name="T6" fmla="*/ 1245 w 1639"/>
                  <a:gd name="T7" fmla="*/ 119 h 1638"/>
                  <a:gd name="T8" fmla="*/ 1342 w 1639"/>
                  <a:gd name="T9" fmla="*/ 187 h 1638"/>
                  <a:gd name="T10" fmla="*/ 1427 w 1639"/>
                  <a:gd name="T11" fmla="*/ 268 h 1638"/>
                  <a:gd name="T12" fmla="*/ 1500 w 1639"/>
                  <a:gd name="T13" fmla="*/ 362 h 1638"/>
                  <a:gd name="T14" fmla="*/ 1560 w 1639"/>
                  <a:gd name="T15" fmla="*/ 464 h 1638"/>
                  <a:gd name="T16" fmla="*/ 1603 w 1639"/>
                  <a:gd name="T17" fmla="*/ 576 h 1638"/>
                  <a:gd name="T18" fmla="*/ 1630 w 1639"/>
                  <a:gd name="T19" fmla="*/ 695 h 1638"/>
                  <a:gd name="T20" fmla="*/ 1639 w 1639"/>
                  <a:gd name="T21" fmla="*/ 820 h 1638"/>
                  <a:gd name="T22" fmla="*/ 1630 w 1639"/>
                  <a:gd name="T23" fmla="*/ 944 h 1638"/>
                  <a:gd name="T24" fmla="*/ 1603 w 1639"/>
                  <a:gd name="T25" fmla="*/ 1063 h 1638"/>
                  <a:gd name="T26" fmla="*/ 1560 w 1639"/>
                  <a:gd name="T27" fmla="*/ 1174 h 1638"/>
                  <a:gd name="T28" fmla="*/ 1500 w 1639"/>
                  <a:gd name="T29" fmla="*/ 1278 h 1638"/>
                  <a:gd name="T30" fmla="*/ 1427 w 1639"/>
                  <a:gd name="T31" fmla="*/ 1371 h 1638"/>
                  <a:gd name="T32" fmla="*/ 1342 w 1639"/>
                  <a:gd name="T33" fmla="*/ 1452 h 1638"/>
                  <a:gd name="T34" fmla="*/ 1245 w 1639"/>
                  <a:gd name="T35" fmla="*/ 1520 h 1638"/>
                  <a:gd name="T36" fmla="*/ 1139 w 1639"/>
                  <a:gd name="T37" fmla="*/ 1575 h 1638"/>
                  <a:gd name="T38" fmla="*/ 1025 w 1639"/>
                  <a:gd name="T39" fmla="*/ 1613 h 1638"/>
                  <a:gd name="T40" fmla="*/ 904 w 1639"/>
                  <a:gd name="T41" fmla="*/ 1635 h 1638"/>
                  <a:gd name="T42" fmla="*/ 778 w 1639"/>
                  <a:gd name="T43" fmla="*/ 1637 h 1638"/>
                  <a:gd name="T44" fmla="*/ 655 w 1639"/>
                  <a:gd name="T45" fmla="*/ 1623 h 1638"/>
                  <a:gd name="T46" fmla="*/ 539 w 1639"/>
                  <a:gd name="T47" fmla="*/ 1589 h 1638"/>
                  <a:gd name="T48" fmla="*/ 429 w 1639"/>
                  <a:gd name="T49" fmla="*/ 1540 h 1638"/>
                  <a:gd name="T50" fmla="*/ 330 w 1639"/>
                  <a:gd name="T51" fmla="*/ 1477 h 1638"/>
                  <a:gd name="T52" fmla="*/ 241 w 1639"/>
                  <a:gd name="T53" fmla="*/ 1399 h 1638"/>
                  <a:gd name="T54" fmla="*/ 163 w 1639"/>
                  <a:gd name="T55" fmla="*/ 1310 h 1638"/>
                  <a:gd name="T56" fmla="*/ 100 w 1639"/>
                  <a:gd name="T57" fmla="*/ 1210 h 1638"/>
                  <a:gd name="T58" fmla="*/ 51 w 1639"/>
                  <a:gd name="T59" fmla="*/ 1102 h 1638"/>
                  <a:gd name="T60" fmla="*/ 17 w 1639"/>
                  <a:gd name="T61" fmla="*/ 985 h 1638"/>
                  <a:gd name="T62" fmla="*/ 1 w 1639"/>
                  <a:gd name="T63" fmla="*/ 862 h 1638"/>
                  <a:gd name="T64" fmla="*/ 5 w 1639"/>
                  <a:gd name="T65" fmla="*/ 736 h 1638"/>
                  <a:gd name="T66" fmla="*/ 27 w 1639"/>
                  <a:gd name="T67" fmla="*/ 615 h 1638"/>
                  <a:gd name="T68" fmla="*/ 65 w 1639"/>
                  <a:gd name="T69" fmla="*/ 501 h 1638"/>
                  <a:gd name="T70" fmla="*/ 119 w 1639"/>
                  <a:gd name="T71" fmla="*/ 395 h 1638"/>
                  <a:gd name="T72" fmla="*/ 187 w 1639"/>
                  <a:gd name="T73" fmla="*/ 299 h 1638"/>
                  <a:gd name="T74" fmla="*/ 270 w 1639"/>
                  <a:gd name="T75" fmla="*/ 213 h 1638"/>
                  <a:gd name="T76" fmla="*/ 362 w 1639"/>
                  <a:gd name="T77" fmla="*/ 141 h 1638"/>
                  <a:gd name="T78" fmla="*/ 465 w 1639"/>
                  <a:gd name="T79" fmla="*/ 81 h 1638"/>
                  <a:gd name="T80" fmla="*/ 576 w 1639"/>
                  <a:gd name="T81" fmla="*/ 37 h 1638"/>
                  <a:gd name="T82" fmla="*/ 695 w 1639"/>
                  <a:gd name="T83" fmla="*/ 9 h 1638"/>
                  <a:gd name="T84" fmla="*/ 820 w 1639"/>
                  <a:gd name="T85" fmla="*/ 0 h 16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39" h="1638">
                    <a:moveTo>
                      <a:pt x="820" y="0"/>
                    </a:moveTo>
                    <a:lnTo>
                      <a:pt x="863" y="1"/>
                    </a:lnTo>
                    <a:lnTo>
                      <a:pt x="904" y="5"/>
                    </a:lnTo>
                    <a:lnTo>
                      <a:pt x="945" y="9"/>
                    </a:lnTo>
                    <a:lnTo>
                      <a:pt x="986" y="17"/>
                    </a:lnTo>
                    <a:lnTo>
                      <a:pt x="1025" y="27"/>
                    </a:lnTo>
                    <a:lnTo>
                      <a:pt x="1063" y="37"/>
                    </a:lnTo>
                    <a:lnTo>
                      <a:pt x="1102" y="50"/>
                    </a:lnTo>
                    <a:lnTo>
                      <a:pt x="1139" y="64"/>
                    </a:lnTo>
                    <a:lnTo>
                      <a:pt x="1175" y="81"/>
                    </a:lnTo>
                    <a:lnTo>
                      <a:pt x="1211" y="99"/>
                    </a:lnTo>
                    <a:lnTo>
                      <a:pt x="1245" y="119"/>
                    </a:lnTo>
                    <a:lnTo>
                      <a:pt x="1279" y="141"/>
                    </a:lnTo>
                    <a:lnTo>
                      <a:pt x="1311" y="163"/>
                    </a:lnTo>
                    <a:lnTo>
                      <a:pt x="1342" y="187"/>
                    </a:lnTo>
                    <a:lnTo>
                      <a:pt x="1371" y="213"/>
                    </a:lnTo>
                    <a:lnTo>
                      <a:pt x="1400" y="240"/>
                    </a:lnTo>
                    <a:lnTo>
                      <a:pt x="1427" y="268"/>
                    </a:lnTo>
                    <a:lnTo>
                      <a:pt x="1452" y="299"/>
                    </a:lnTo>
                    <a:lnTo>
                      <a:pt x="1477" y="330"/>
                    </a:lnTo>
                    <a:lnTo>
                      <a:pt x="1500" y="362"/>
                    </a:lnTo>
                    <a:lnTo>
                      <a:pt x="1521" y="395"/>
                    </a:lnTo>
                    <a:lnTo>
                      <a:pt x="1541" y="429"/>
                    </a:lnTo>
                    <a:lnTo>
                      <a:pt x="1560" y="464"/>
                    </a:lnTo>
                    <a:lnTo>
                      <a:pt x="1576" y="501"/>
                    </a:lnTo>
                    <a:lnTo>
                      <a:pt x="1590" y="538"/>
                    </a:lnTo>
                    <a:lnTo>
                      <a:pt x="1603" y="576"/>
                    </a:lnTo>
                    <a:lnTo>
                      <a:pt x="1614" y="615"/>
                    </a:lnTo>
                    <a:lnTo>
                      <a:pt x="1623" y="655"/>
                    </a:lnTo>
                    <a:lnTo>
                      <a:pt x="1630" y="695"/>
                    </a:lnTo>
                    <a:lnTo>
                      <a:pt x="1636" y="736"/>
                    </a:lnTo>
                    <a:lnTo>
                      <a:pt x="1638" y="778"/>
                    </a:lnTo>
                    <a:lnTo>
                      <a:pt x="1639" y="820"/>
                    </a:lnTo>
                    <a:lnTo>
                      <a:pt x="1638" y="862"/>
                    </a:lnTo>
                    <a:lnTo>
                      <a:pt x="1636" y="903"/>
                    </a:lnTo>
                    <a:lnTo>
                      <a:pt x="1630" y="944"/>
                    </a:lnTo>
                    <a:lnTo>
                      <a:pt x="1623" y="985"/>
                    </a:lnTo>
                    <a:lnTo>
                      <a:pt x="1614" y="1024"/>
                    </a:lnTo>
                    <a:lnTo>
                      <a:pt x="1603" y="1063"/>
                    </a:lnTo>
                    <a:lnTo>
                      <a:pt x="1590" y="1102"/>
                    </a:lnTo>
                    <a:lnTo>
                      <a:pt x="1576" y="1138"/>
                    </a:lnTo>
                    <a:lnTo>
                      <a:pt x="1560" y="1174"/>
                    </a:lnTo>
                    <a:lnTo>
                      <a:pt x="1541" y="1210"/>
                    </a:lnTo>
                    <a:lnTo>
                      <a:pt x="1521" y="1244"/>
                    </a:lnTo>
                    <a:lnTo>
                      <a:pt x="1500" y="1278"/>
                    </a:lnTo>
                    <a:lnTo>
                      <a:pt x="1477" y="1310"/>
                    </a:lnTo>
                    <a:lnTo>
                      <a:pt x="1452" y="1341"/>
                    </a:lnTo>
                    <a:lnTo>
                      <a:pt x="1427" y="1371"/>
                    </a:lnTo>
                    <a:lnTo>
                      <a:pt x="1400" y="1399"/>
                    </a:lnTo>
                    <a:lnTo>
                      <a:pt x="1371" y="1426"/>
                    </a:lnTo>
                    <a:lnTo>
                      <a:pt x="1342" y="1452"/>
                    </a:lnTo>
                    <a:lnTo>
                      <a:pt x="1311" y="1477"/>
                    </a:lnTo>
                    <a:lnTo>
                      <a:pt x="1279" y="1499"/>
                    </a:lnTo>
                    <a:lnTo>
                      <a:pt x="1245" y="1520"/>
                    </a:lnTo>
                    <a:lnTo>
                      <a:pt x="1211" y="1540"/>
                    </a:lnTo>
                    <a:lnTo>
                      <a:pt x="1175" y="1558"/>
                    </a:lnTo>
                    <a:lnTo>
                      <a:pt x="1139" y="1575"/>
                    </a:lnTo>
                    <a:lnTo>
                      <a:pt x="1102" y="1589"/>
                    </a:lnTo>
                    <a:lnTo>
                      <a:pt x="1063" y="1602"/>
                    </a:lnTo>
                    <a:lnTo>
                      <a:pt x="1025" y="1613"/>
                    </a:lnTo>
                    <a:lnTo>
                      <a:pt x="986" y="1623"/>
                    </a:lnTo>
                    <a:lnTo>
                      <a:pt x="945" y="1629"/>
                    </a:lnTo>
                    <a:lnTo>
                      <a:pt x="904" y="1635"/>
                    </a:lnTo>
                    <a:lnTo>
                      <a:pt x="863" y="1637"/>
                    </a:lnTo>
                    <a:lnTo>
                      <a:pt x="820" y="1638"/>
                    </a:lnTo>
                    <a:lnTo>
                      <a:pt x="778" y="1637"/>
                    </a:lnTo>
                    <a:lnTo>
                      <a:pt x="736" y="1635"/>
                    </a:lnTo>
                    <a:lnTo>
                      <a:pt x="695" y="1629"/>
                    </a:lnTo>
                    <a:lnTo>
                      <a:pt x="655" y="1623"/>
                    </a:lnTo>
                    <a:lnTo>
                      <a:pt x="615" y="1613"/>
                    </a:lnTo>
                    <a:lnTo>
                      <a:pt x="576" y="1602"/>
                    </a:lnTo>
                    <a:lnTo>
                      <a:pt x="539" y="1589"/>
                    </a:lnTo>
                    <a:lnTo>
                      <a:pt x="501" y="1575"/>
                    </a:lnTo>
                    <a:lnTo>
                      <a:pt x="465" y="1558"/>
                    </a:lnTo>
                    <a:lnTo>
                      <a:pt x="429" y="1540"/>
                    </a:lnTo>
                    <a:lnTo>
                      <a:pt x="395" y="1520"/>
                    </a:lnTo>
                    <a:lnTo>
                      <a:pt x="362" y="1499"/>
                    </a:lnTo>
                    <a:lnTo>
                      <a:pt x="330" y="1477"/>
                    </a:lnTo>
                    <a:lnTo>
                      <a:pt x="299" y="1452"/>
                    </a:lnTo>
                    <a:lnTo>
                      <a:pt x="270" y="1426"/>
                    </a:lnTo>
                    <a:lnTo>
                      <a:pt x="241" y="1399"/>
                    </a:lnTo>
                    <a:lnTo>
                      <a:pt x="214" y="1371"/>
                    </a:lnTo>
                    <a:lnTo>
                      <a:pt x="187" y="1341"/>
                    </a:lnTo>
                    <a:lnTo>
                      <a:pt x="163" y="1310"/>
                    </a:lnTo>
                    <a:lnTo>
                      <a:pt x="141" y="1278"/>
                    </a:lnTo>
                    <a:lnTo>
                      <a:pt x="119" y="1244"/>
                    </a:lnTo>
                    <a:lnTo>
                      <a:pt x="100" y="1210"/>
                    </a:lnTo>
                    <a:lnTo>
                      <a:pt x="81" y="1174"/>
                    </a:lnTo>
                    <a:lnTo>
                      <a:pt x="65" y="1138"/>
                    </a:lnTo>
                    <a:lnTo>
                      <a:pt x="51" y="1102"/>
                    </a:lnTo>
                    <a:lnTo>
                      <a:pt x="37" y="1063"/>
                    </a:lnTo>
                    <a:lnTo>
                      <a:pt x="27" y="1024"/>
                    </a:lnTo>
                    <a:lnTo>
                      <a:pt x="17" y="985"/>
                    </a:lnTo>
                    <a:lnTo>
                      <a:pt x="9" y="944"/>
                    </a:lnTo>
                    <a:lnTo>
                      <a:pt x="5" y="903"/>
                    </a:lnTo>
                    <a:lnTo>
                      <a:pt x="1" y="862"/>
                    </a:lnTo>
                    <a:lnTo>
                      <a:pt x="0" y="820"/>
                    </a:lnTo>
                    <a:lnTo>
                      <a:pt x="1" y="778"/>
                    </a:lnTo>
                    <a:lnTo>
                      <a:pt x="5" y="736"/>
                    </a:lnTo>
                    <a:lnTo>
                      <a:pt x="9" y="695"/>
                    </a:lnTo>
                    <a:lnTo>
                      <a:pt x="17" y="655"/>
                    </a:lnTo>
                    <a:lnTo>
                      <a:pt x="27" y="615"/>
                    </a:lnTo>
                    <a:lnTo>
                      <a:pt x="37" y="576"/>
                    </a:lnTo>
                    <a:lnTo>
                      <a:pt x="51" y="538"/>
                    </a:lnTo>
                    <a:lnTo>
                      <a:pt x="65" y="501"/>
                    </a:lnTo>
                    <a:lnTo>
                      <a:pt x="81" y="464"/>
                    </a:lnTo>
                    <a:lnTo>
                      <a:pt x="100" y="429"/>
                    </a:lnTo>
                    <a:lnTo>
                      <a:pt x="119" y="395"/>
                    </a:lnTo>
                    <a:lnTo>
                      <a:pt x="141" y="362"/>
                    </a:lnTo>
                    <a:lnTo>
                      <a:pt x="163" y="330"/>
                    </a:lnTo>
                    <a:lnTo>
                      <a:pt x="187" y="299"/>
                    </a:lnTo>
                    <a:lnTo>
                      <a:pt x="214" y="268"/>
                    </a:lnTo>
                    <a:lnTo>
                      <a:pt x="241" y="240"/>
                    </a:lnTo>
                    <a:lnTo>
                      <a:pt x="270" y="213"/>
                    </a:lnTo>
                    <a:lnTo>
                      <a:pt x="299" y="187"/>
                    </a:lnTo>
                    <a:lnTo>
                      <a:pt x="330" y="163"/>
                    </a:lnTo>
                    <a:lnTo>
                      <a:pt x="362" y="141"/>
                    </a:lnTo>
                    <a:lnTo>
                      <a:pt x="395" y="119"/>
                    </a:lnTo>
                    <a:lnTo>
                      <a:pt x="429" y="99"/>
                    </a:lnTo>
                    <a:lnTo>
                      <a:pt x="465" y="81"/>
                    </a:lnTo>
                    <a:lnTo>
                      <a:pt x="501" y="64"/>
                    </a:lnTo>
                    <a:lnTo>
                      <a:pt x="539" y="50"/>
                    </a:lnTo>
                    <a:lnTo>
                      <a:pt x="576" y="37"/>
                    </a:lnTo>
                    <a:lnTo>
                      <a:pt x="615" y="27"/>
                    </a:lnTo>
                    <a:lnTo>
                      <a:pt x="655" y="17"/>
                    </a:lnTo>
                    <a:lnTo>
                      <a:pt x="695" y="9"/>
                    </a:lnTo>
                    <a:lnTo>
                      <a:pt x="736" y="5"/>
                    </a:lnTo>
                    <a:lnTo>
                      <a:pt x="778" y="1"/>
                    </a:lnTo>
                    <a:lnTo>
                      <a:pt x="820" y="0"/>
                    </a:lnTo>
                    <a:close/>
                  </a:path>
                </a:pathLst>
              </a:custGeom>
              <a:gradFill flip="none" rotWithShape="1">
                <a:gsLst>
                  <a:gs pos="100000">
                    <a:schemeClr val="bg1">
                      <a:alpha val="0"/>
                    </a:schemeClr>
                  </a:gs>
                  <a:gs pos="0">
                    <a:schemeClr val="bg1">
                      <a:alpha val="46000"/>
                    </a:schemeClr>
                  </a:gs>
                </a:gsLst>
                <a:lin ang="5400000" scaled="1"/>
                <a:tileRect/>
              </a:gra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360" name="Freeform 34"/>
              <p:cNvSpPr>
                <a:spLocks/>
              </p:cNvSpPr>
              <p:nvPr/>
            </p:nvSpPr>
            <p:spPr bwMode="auto">
              <a:xfrm>
                <a:off x="5951439" y="5105271"/>
                <a:ext cx="351507" cy="351507"/>
              </a:xfrm>
              <a:custGeom>
                <a:avLst/>
                <a:gdLst>
                  <a:gd name="T0" fmla="*/ 853 w 1548"/>
                  <a:gd name="T1" fmla="*/ 4 h 1547"/>
                  <a:gd name="T2" fmla="*/ 967 w 1548"/>
                  <a:gd name="T3" fmla="*/ 25 h 1547"/>
                  <a:gd name="T4" fmla="*/ 1076 w 1548"/>
                  <a:gd name="T5" fmla="*/ 61 h 1547"/>
                  <a:gd name="T6" fmla="*/ 1176 w 1548"/>
                  <a:gd name="T7" fmla="*/ 112 h 1547"/>
                  <a:gd name="T8" fmla="*/ 1266 w 1548"/>
                  <a:gd name="T9" fmla="*/ 177 h 1547"/>
                  <a:gd name="T10" fmla="*/ 1347 w 1548"/>
                  <a:gd name="T11" fmla="*/ 254 h 1547"/>
                  <a:gd name="T12" fmla="*/ 1415 w 1548"/>
                  <a:gd name="T13" fmla="*/ 341 h 1547"/>
                  <a:gd name="T14" fmla="*/ 1471 w 1548"/>
                  <a:gd name="T15" fmla="*/ 439 h 1547"/>
                  <a:gd name="T16" fmla="*/ 1514 w 1548"/>
                  <a:gd name="T17" fmla="*/ 544 h 1547"/>
                  <a:gd name="T18" fmla="*/ 1539 w 1548"/>
                  <a:gd name="T19" fmla="*/ 655 h 1547"/>
                  <a:gd name="T20" fmla="*/ 1548 w 1548"/>
                  <a:gd name="T21" fmla="*/ 774 h 1547"/>
                  <a:gd name="T22" fmla="*/ 1539 w 1548"/>
                  <a:gd name="T23" fmla="*/ 891 h 1547"/>
                  <a:gd name="T24" fmla="*/ 1514 w 1548"/>
                  <a:gd name="T25" fmla="*/ 1003 h 1547"/>
                  <a:gd name="T26" fmla="*/ 1471 w 1548"/>
                  <a:gd name="T27" fmla="*/ 1109 h 1547"/>
                  <a:gd name="T28" fmla="*/ 1415 w 1548"/>
                  <a:gd name="T29" fmla="*/ 1206 h 1547"/>
                  <a:gd name="T30" fmla="*/ 1347 w 1548"/>
                  <a:gd name="T31" fmla="*/ 1294 h 1547"/>
                  <a:gd name="T32" fmla="*/ 1266 w 1548"/>
                  <a:gd name="T33" fmla="*/ 1370 h 1547"/>
                  <a:gd name="T34" fmla="*/ 1176 w 1548"/>
                  <a:gd name="T35" fmla="*/ 1435 h 1547"/>
                  <a:gd name="T36" fmla="*/ 1076 w 1548"/>
                  <a:gd name="T37" fmla="*/ 1486 h 1547"/>
                  <a:gd name="T38" fmla="*/ 967 w 1548"/>
                  <a:gd name="T39" fmla="*/ 1523 h 1547"/>
                  <a:gd name="T40" fmla="*/ 853 w 1548"/>
                  <a:gd name="T41" fmla="*/ 1543 h 1547"/>
                  <a:gd name="T42" fmla="*/ 735 w 1548"/>
                  <a:gd name="T43" fmla="*/ 1546 h 1547"/>
                  <a:gd name="T44" fmla="*/ 618 w 1548"/>
                  <a:gd name="T45" fmla="*/ 1531 h 1547"/>
                  <a:gd name="T46" fmla="*/ 509 w 1548"/>
                  <a:gd name="T47" fmla="*/ 1500 h 1547"/>
                  <a:gd name="T48" fmla="*/ 405 w 1548"/>
                  <a:gd name="T49" fmla="*/ 1453 h 1547"/>
                  <a:gd name="T50" fmla="*/ 311 w 1548"/>
                  <a:gd name="T51" fmla="*/ 1393 h 1547"/>
                  <a:gd name="T52" fmla="*/ 227 w 1548"/>
                  <a:gd name="T53" fmla="*/ 1320 h 1547"/>
                  <a:gd name="T54" fmla="*/ 154 w 1548"/>
                  <a:gd name="T55" fmla="*/ 1237 h 1547"/>
                  <a:gd name="T56" fmla="*/ 94 w 1548"/>
                  <a:gd name="T57" fmla="*/ 1142 h 1547"/>
                  <a:gd name="T58" fmla="*/ 48 w 1548"/>
                  <a:gd name="T59" fmla="*/ 1040 h 1547"/>
                  <a:gd name="T60" fmla="*/ 16 w 1548"/>
                  <a:gd name="T61" fmla="*/ 929 h 1547"/>
                  <a:gd name="T62" fmla="*/ 1 w 1548"/>
                  <a:gd name="T63" fmla="*/ 814 h 1547"/>
                  <a:gd name="T64" fmla="*/ 5 w 1548"/>
                  <a:gd name="T65" fmla="*/ 694 h 1547"/>
                  <a:gd name="T66" fmla="*/ 25 w 1548"/>
                  <a:gd name="T67" fmla="*/ 580 h 1547"/>
                  <a:gd name="T68" fmla="*/ 62 w 1548"/>
                  <a:gd name="T69" fmla="*/ 473 h 1547"/>
                  <a:gd name="T70" fmla="*/ 113 w 1548"/>
                  <a:gd name="T71" fmla="*/ 373 h 1547"/>
                  <a:gd name="T72" fmla="*/ 177 w 1548"/>
                  <a:gd name="T73" fmla="*/ 281 h 1547"/>
                  <a:gd name="T74" fmla="*/ 254 w 1548"/>
                  <a:gd name="T75" fmla="*/ 202 h 1547"/>
                  <a:gd name="T76" fmla="*/ 341 w 1548"/>
                  <a:gd name="T77" fmla="*/ 132 h 1547"/>
                  <a:gd name="T78" fmla="*/ 439 w 1548"/>
                  <a:gd name="T79" fmla="*/ 76 h 1547"/>
                  <a:gd name="T80" fmla="*/ 544 w 1548"/>
                  <a:gd name="T81" fmla="*/ 35 h 1547"/>
                  <a:gd name="T82" fmla="*/ 656 w 1548"/>
                  <a:gd name="T83" fmla="*/ 9 h 1547"/>
                  <a:gd name="T84" fmla="*/ 774 w 1548"/>
                  <a:gd name="T85" fmla="*/ 0 h 15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548" h="1547">
                    <a:moveTo>
                      <a:pt x="774" y="0"/>
                    </a:moveTo>
                    <a:lnTo>
                      <a:pt x="814" y="1"/>
                    </a:lnTo>
                    <a:lnTo>
                      <a:pt x="853" y="4"/>
                    </a:lnTo>
                    <a:lnTo>
                      <a:pt x="892" y="9"/>
                    </a:lnTo>
                    <a:lnTo>
                      <a:pt x="930" y="16"/>
                    </a:lnTo>
                    <a:lnTo>
                      <a:pt x="967" y="25"/>
                    </a:lnTo>
                    <a:lnTo>
                      <a:pt x="1004" y="35"/>
                    </a:lnTo>
                    <a:lnTo>
                      <a:pt x="1040" y="47"/>
                    </a:lnTo>
                    <a:lnTo>
                      <a:pt x="1076" y="61"/>
                    </a:lnTo>
                    <a:lnTo>
                      <a:pt x="1110" y="76"/>
                    </a:lnTo>
                    <a:lnTo>
                      <a:pt x="1143" y="93"/>
                    </a:lnTo>
                    <a:lnTo>
                      <a:pt x="1176" y="112"/>
                    </a:lnTo>
                    <a:lnTo>
                      <a:pt x="1207" y="132"/>
                    </a:lnTo>
                    <a:lnTo>
                      <a:pt x="1238" y="154"/>
                    </a:lnTo>
                    <a:lnTo>
                      <a:pt x="1266" y="177"/>
                    </a:lnTo>
                    <a:lnTo>
                      <a:pt x="1295" y="202"/>
                    </a:lnTo>
                    <a:lnTo>
                      <a:pt x="1321" y="227"/>
                    </a:lnTo>
                    <a:lnTo>
                      <a:pt x="1347" y="254"/>
                    </a:lnTo>
                    <a:lnTo>
                      <a:pt x="1371" y="281"/>
                    </a:lnTo>
                    <a:lnTo>
                      <a:pt x="1394" y="311"/>
                    </a:lnTo>
                    <a:lnTo>
                      <a:pt x="1415" y="341"/>
                    </a:lnTo>
                    <a:lnTo>
                      <a:pt x="1436" y="373"/>
                    </a:lnTo>
                    <a:lnTo>
                      <a:pt x="1454" y="405"/>
                    </a:lnTo>
                    <a:lnTo>
                      <a:pt x="1471" y="439"/>
                    </a:lnTo>
                    <a:lnTo>
                      <a:pt x="1487" y="473"/>
                    </a:lnTo>
                    <a:lnTo>
                      <a:pt x="1501" y="507"/>
                    </a:lnTo>
                    <a:lnTo>
                      <a:pt x="1514" y="544"/>
                    </a:lnTo>
                    <a:lnTo>
                      <a:pt x="1524" y="580"/>
                    </a:lnTo>
                    <a:lnTo>
                      <a:pt x="1532" y="618"/>
                    </a:lnTo>
                    <a:lnTo>
                      <a:pt x="1539" y="655"/>
                    </a:lnTo>
                    <a:lnTo>
                      <a:pt x="1544" y="694"/>
                    </a:lnTo>
                    <a:lnTo>
                      <a:pt x="1547" y="734"/>
                    </a:lnTo>
                    <a:lnTo>
                      <a:pt x="1548" y="774"/>
                    </a:lnTo>
                    <a:lnTo>
                      <a:pt x="1547" y="814"/>
                    </a:lnTo>
                    <a:lnTo>
                      <a:pt x="1544" y="853"/>
                    </a:lnTo>
                    <a:lnTo>
                      <a:pt x="1539" y="891"/>
                    </a:lnTo>
                    <a:lnTo>
                      <a:pt x="1532" y="929"/>
                    </a:lnTo>
                    <a:lnTo>
                      <a:pt x="1524" y="967"/>
                    </a:lnTo>
                    <a:lnTo>
                      <a:pt x="1514" y="1003"/>
                    </a:lnTo>
                    <a:lnTo>
                      <a:pt x="1501" y="1040"/>
                    </a:lnTo>
                    <a:lnTo>
                      <a:pt x="1487" y="1075"/>
                    </a:lnTo>
                    <a:lnTo>
                      <a:pt x="1471" y="1109"/>
                    </a:lnTo>
                    <a:lnTo>
                      <a:pt x="1454" y="1142"/>
                    </a:lnTo>
                    <a:lnTo>
                      <a:pt x="1436" y="1174"/>
                    </a:lnTo>
                    <a:lnTo>
                      <a:pt x="1415" y="1206"/>
                    </a:lnTo>
                    <a:lnTo>
                      <a:pt x="1394" y="1237"/>
                    </a:lnTo>
                    <a:lnTo>
                      <a:pt x="1371" y="1265"/>
                    </a:lnTo>
                    <a:lnTo>
                      <a:pt x="1347" y="1294"/>
                    </a:lnTo>
                    <a:lnTo>
                      <a:pt x="1321" y="1320"/>
                    </a:lnTo>
                    <a:lnTo>
                      <a:pt x="1295" y="1346"/>
                    </a:lnTo>
                    <a:lnTo>
                      <a:pt x="1266" y="1370"/>
                    </a:lnTo>
                    <a:lnTo>
                      <a:pt x="1238" y="1393"/>
                    </a:lnTo>
                    <a:lnTo>
                      <a:pt x="1207" y="1415"/>
                    </a:lnTo>
                    <a:lnTo>
                      <a:pt x="1176" y="1435"/>
                    </a:lnTo>
                    <a:lnTo>
                      <a:pt x="1143" y="1453"/>
                    </a:lnTo>
                    <a:lnTo>
                      <a:pt x="1110" y="1470"/>
                    </a:lnTo>
                    <a:lnTo>
                      <a:pt x="1076" y="1486"/>
                    </a:lnTo>
                    <a:lnTo>
                      <a:pt x="1040" y="1500"/>
                    </a:lnTo>
                    <a:lnTo>
                      <a:pt x="1004" y="1513"/>
                    </a:lnTo>
                    <a:lnTo>
                      <a:pt x="967" y="1523"/>
                    </a:lnTo>
                    <a:lnTo>
                      <a:pt x="930" y="1531"/>
                    </a:lnTo>
                    <a:lnTo>
                      <a:pt x="892" y="1538"/>
                    </a:lnTo>
                    <a:lnTo>
                      <a:pt x="853" y="1543"/>
                    </a:lnTo>
                    <a:lnTo>
                      <a:pt x="814" y="1546"/>
                    </a:lnTo>
                    <a:lnTo>
                      <a:pt x="774" y="1547"/>
                    </a:lnTo>
                    <a:lnTo>
                      <a:pt x="735" y="1546"/>
                    </a:lnTo>
                    <a:lnTo>
                      <a:pt x="695" y="1543"/>
                    </a:lnTo>
                    <a:lnTo>
                      <a:pt x="656" y="1538"/>
                    </a:lnTo>
                    <a:lnTo>
                      <a:pt x="618" y="1531"/>
                    </a:lnTo>
                    <a:lnTo>
                      <a:pt x="581" y="1523"/>
                    </a:lnTo>
                    <a:lnTo>
                      <a:pt x="544" y="1513"/>
                    </a:lnTo>
                    <a:lnTo>
                      <a:pt x="509" y="1500"/>
                    </a:lnTo>
                    <a:lnTo>
                      <a:pt x="473" y="1486"/>
                    </a:lnTo>
                    <a:lnTo>
                      <a:pt x="439" y="1470"/>
                    </a:lnTo>
                    <a:lnTo>
                      <a:pt x="405" y="1453"/>
                    </a:lnTo>
                    <a:lnTo>
                      <a:pt x="373" y="1435"/>
                    </a:lnTo>
                    <a:lnTo>
                      <a:pt x="341" y="1415"/>
                    </a:lnTo>
                    <a:lnTo>
                      <a:pt x="311" y="1393"/>
                    </a:lnTo>
                    <a:lnTo>
                      <a:pt x="282" y="1370"/>
                    </a:lnTo>
                    <a:lnTo>
                      <a:pt x="254" y="1346"/>
                    </a:lnTo>
                    <a:lnTo>
                      <a:pt x="227" y="1320"/>
                    </a:lnTo>
                    <a:lnTo>
                      <a:pt x="202" y="1294"/>
                    </a:lnTo>
                    <a:lnTo>
                      <a:pt x="177" y="1265"/>
                    </a:lnTo>
                    <a:lnTo>
                      <a:pt x="154" y="1237"/>
                    </a:lnTo>
                    <a:lnTo>
                      <a:pt x="132" y="1206"/>
                    </a:lnTo>
                    <a:lnTo>
                      <a:pt x="113" y="1174"/>
                    </a:lnTo>
                    <a:lnTo>
                      <a:pt x="94" y="1142"/>
                    </a:lnTo>
                    <a:lnTo>
                      <a:pt x="76" y="1109"/>
                    </a:lnTo>
                    <a:lnTo>
                      <a:pt x="62" y="1075"/>
                    </a:lnTo>
                    <a:lnTo>
                      <a:pt x="48" y="1040"/>
                    </a:lnTo>
                    <a:lnTo>
                      <a:pt x="35" y="1003"/>
                    </a:lnTo>
                    <a:lnTo>
                      <a:pt x="25" y="967"/>
                    </a:lnTo>
                    <a:lnTo>
                      <a:pt x="16" y="929"/>
                    </a:lnTo>
                    <a:lnTo>
                      <a:pt x="9" y="891"/>
                    </a:lnTo>
                    <a:lnTo>
                      <a:pt x="5" y="853"/>
                    </a:lnTo>
                    <a:lnTo>
                      <a:pt x="1" y="814"/>
                    </a:lnTo>
                    <a:lnTo>
                      <a:pt x="0" y="774"/>
                    </a:lnTo>
                    <a:lnTo>
                      <a:pt x="1" y="734"/>
                    </a:lnTo>
                    <a:lnTo>
                      <a:pt x="5" y="694"/>
                    </a:lnTo>
                    <a:lnTo>
                      <a:pt x="9" y="655"/>
                    </a:lnTo>
                    <a:lnTo>
                      <a:pt x="16" y="618"/>
                    </a:lnTo>
                    <a:lnTo>
                      <a:pt x="25" y="580"/>
                    </a:lnTo>
                    <a:lnTo>
                      <a:pt x="35" y="544"/>
                    </a:lnTo>
                    <a:lnTo>
                      <a:pt x="48" y="507"/>
                    </a:lnTo>
                    <a:lnTo>
                      <a:pt x="62" y="473"/>
                    </a:lnTo>
                    <a:lnTo>
                      <a:pt x="76" y="439"/>
                    </a:lnTo>
                    <a:lnTo>
                      <a:pt x="94" y="405"/>
                    </a:lnTo>
                    <a:lnTo>
                      <a:pt x="113" y="373"/>
                    </a:lnTo>
                    <a:lnTo>
                      <a:pt x="132" y="341"/>
                    </a:lnTo>
                    <a:lnTo>
                      <a:pt x="154" y="311"/>
                    </a:lnTo>
                    <a:lnTo>
                      <a:pt x="177" y="281"/>
                    </a:lnTo>
                    <a:lnTo>
                      <a:pt x="202" y="254"/>
                    </a:lnTo>
                    <a:lnTo>
                      <a:pt x="227" y="227"/>
                    </a:lnTo>
                    <a:lnTo>
                      <a:pt x="254" y="202"/>
                    </a:lnTo>
                    <a:lnTo>
                      <a:pt x="282" y="177"/>
                    </a:lnTo>
                    <a:lnTo>
                      <a:pt x="311" y="154"/>
                    </a:lnTo>
                    <a:lnTo>
                      <a:pt x="341" y="132"/>
                    </a:lnTo>
                    <a:lnTo>
                      <a:pt x="373" y="112"/>
                    </a:lnTo>
                    <a:lnTo>
                      <a:pt x="405" y="93"/>
                    </a:lnTo>
                    <a:lnTo>
                      <a:pt x="439" y="76"/>
                    </a:lnTo>
                    <a:lnTo>
                      <a:pt x="473" y="61"/>
                    </a:lnTo>
                    <a:lnTo>
                      <a:pt x="509" y="47"/>
                    </a:lnTo>
                    <a:lnTo>
                      <a:pt x="544" y="35"/>
                    </a:lnTo>
                    <a:lnTo>
                      <a:pt x="581" y="25"/>
                    </a:lnTo>
                    <a:lnTo>
                      <a:pt x="618" y="16"/>
                    </a:lnTo>
                    <a:lnTo>
                      <a:pt x="656" y="9"/>
                    </a:lnTo>
                    <a:lnTo>
                      <a:pt x="695" y="4"/>
                    </a:lnTo>
                    <a:lnTo>
                      <a:pt x="735" y="1"/>
                    </a:lnTo>
                    <a:lnTo>
                      <a:pt x="774" y="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361" name="Freeform 35"/>
              <p:cNvSpPr>
                <a:spLocks noEditPoints="1"/>
              </p:cNvSpPr>
              <p:nvPr/>
            </p:nvSpPr>
            <p:spPr bwMode="auto">
              <a:xfrm>
                <a:off x="6059071" y="5211540"/>
                <a:ext cx="137606" cy="137606"/>
              </a:xfrm>
              <a:custGeom>
                <a:avLst/>
                <a:gdLst>
                  <a:gd name="T0" fmla="*/ 470 w 608"/>
                  <a:gd name="T1" fmla="*/ 1 h 609"/>
                  <a:gd name="T2" fmla="*/ 514 w 608"/>
                  <a:gd name="T3" fmla="*/ 13 h 609"/>
                  <a:gd name="T4" fmla="*/ 552 w 608"/>
                  <a:gd name="T5" fmla="*/ 36 h 609"/>
                  <a:gd name="T6" fmla="*/ 563 w 608"/>
                  <a:gd name="T7" fmla="*/ 46 h 609"/>
                  <a:gd name="T8" fmla="*/ 589 w 608"/>
                  <a:gd name="T9" fmla="*/ 81 h 609"/>
                  <a:gd name="T10" fmla="*/ 604 w 608"/>
                  <a:gd name="T11" fmla="*/ 123 h 609"/>
                  <a:gd name="T12" fmla="*/ 608 w 608"/>
                  <a:gd name="T13" fmla="*/ 455 h 609"/>
                  <a:gd name="T14" fmla="*/ 601 w 608"/>
                  <a:gd name="T15" fmla="*/ 501 h 609"/>
                  <a:gd name="T16" fmla="*/ 581 w 608"/>
                  <a:gd name="T17" fmla="*/ 541 h 609"/>
                  <a:gd name="T18" fmla="*/ 552 w 608"/>
                  <a:gd name="T19" fmla="*/ 574 h 609"/>
                  <a:gd name="T20" fmla="*/ 514 w 608"/>
                  <a:gd name="T21" fmla="*/ 597 h 609"/>
                  <a:gd name="T22" fmla="*/ 470 w 608"/>
                  <a:gd name="T23" fmla="*/ 608 h 609"/>
                  <a:gd name="T24" fmla="*/ 138 w 608"/>
                  <a:gd name="T25" fmla="*/ 608 h 609"/>
                  <a:gd name="T26" fmla="*/ 93 w 608"/>
                  <a:gd name="T27" fmla="*/ 597 h 609"/>
                  <a:gd name="T28" fmla="*/ 55 w 608"/>
                  <a:gd name="T29" fmla="*/ 574 h 609"/>
                  <a:gd name="T30" fmla="*/ 35 w 608"/>
                  <a:gd name="T31" fmla="*/ 553 h 609"/>
                  <a:gd name="T32" fmla="*/ 11 w 608"/>
                  <a:gd name="T33" fmla="*/ 514 h 609"/>
                  <a:gd name="T34" fmla="*/ 0 w 608"/>
                  <a:gd name="T35" fmla="*/ 471 h 609"/>
                  <a:gd name="T36" fmla="*/ 0 w 608"/>
                  <a:gd name="T37" fmla="*/ 138 h 609"/>
                  <a:gd name="T38" fmla="*/ 11 w 608"/>
                  <a:gd name="T39" fmla="*/ 95 h 609"/>
                  <a:gd name="T40" fmla="*/ 35 w 608"/>
                  <a:gd name="T41" fmla="*/ 57 h 609"/>
                  <a:gd name="T42" fmla="*/ 67 w 608"/>
                  <a:gd name="T43" fmla="*/ 28 h 609"/>
                  <a:gd name="T44" fmla="*/ 107 w 608"/>
                  <a:gd name="T45" fmla="*/ 8 h 609"/>
                  <a:gd name="T46" fmla="*/ 152 w 608"/>
                  <a:gd name="T47" fmla="*/ 0 h 609"/>
                  <a:gd name="T48" fmla="*/ 143 w 608"/>
                  <a:gd name="T49" fmla="*/ 61 h 609"/>
                  <a:gd name="T50" fmla="*/ 116 w 608"/>
                  <a:gd name="T51" fmla="*/ 68 h 609"/>
                  <a:gd name="T52" fmla="*/ 93 w 608"/>
                  <a:gd name="T53" fmla="*/ 81 h 609"/>
                  <a:gd name="T54" fmla="*/ 75 w 608"/>
                  <a:gd name="T55" fmla="*/ 102 h 609"/>
                  <a:gd name="T56" fmla="*/ 62 w 608"/>
                  <a:gd name="T57" fmla="*/ 127 h 609"/>
                  <a:gd name="T58" fmla="*/ 58 w 608"/>
                  <a:gd name="T59" fmla="*/ 154 h 609"/>
                  <a:gd name="T60" fmla="*/ 60 w 608"/>
                  <a:gd name="T61" fmla="*/ 475 h 609"/>
                  <a:gd name="T62" fmla="*/ 69 w 608"/>
                  <a:gd name="T63" fmla="*/ 501 h 609"/>
                  <a:gd name="T64" fmla="*/ 86 w 608"/>
                  <a:gd name="T65" fmla="*/ 522 h 609"/>
                  <a:gd name="T66" fmla="*/ 108 w 608"/>
                  <a:gd name="T67" fmla="*/ 538 h 609"/>
                  <a:gd name="T68" fmla="*/ 134 w 608"/>
                  <a:gd name="T69" fmla="*/ 547 h 609"/>
                  <a:gd name="T70" fmla="*/ 454 w 608"/>
                  <a:gd name="T71" fmla="*/ 550 h 609"/>
                  <a:gd name="T72" fmla="*/ 482 w 608"/>
                  <a:gd name="T73" fmla="*/ 545 h 609"/>
                  <a:gd name="T74" fmla="*/ 507 w 608"/>
                  <a:gd name="T75" fmla="*/ 534 h 609"/>
                  <a:gd name="T76" fmla="*/ 527 w 608"/>
                  <a:gd name="T77" fmla="*/ 516 h 609"/>
                  <a:gd name="T78" fmla="*/ 541 w 608"/>
                  <a:gd name="T79" fmla="*/ 492 h 609"/>
                  <a:gd name="T80" fmla="*/ 548 w 608"/>
                  <a:gd name="T81" fmla="*/ 465 h 609"/>
                  <a:gd name="T82" fmla="*/ 548 w 608"/>
                  <a:gd name="T83" fmla="*/ 145 h 609"/>
                  <a:gd name="T84" fmla="*/ 541 w 608"/>
                  <a:gd name="T85" fmla="*/ 118 h 609"/>
                  <a:gd name="T86" fmla="*/ 527 w 608"/>
                  <a:gd name="T87" fmla="*/ 94 h 609"/>
                  <a:gd name="T88" fmla="*/ 514 w 608"/>
                  <a:gd name="T89" fmla="*/ 81 h 609"/>
                  <a:gd name="T90" fmla="*/ 491 w 608"/>
                  <a:gd name="T91" fmla="*/ 68 h 609"/>
                  <a:gd name="T92" fmla="*/ 464 w 608"/>
                  <a:gd name="T93" fmla="*/ 61 h 6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608" h="609">
                    <a:moveTo>
                      <a:pt x="152" y="0"/>
                    </a:moveTo>
                    <a:lnTo>
                      <a:pt x="454" y="0"/>
                    </a:lnTo>
                    <a:lnTo>
                      <a:pt x="470" y="1"/>
                    </a:lnTo>
                    <a:lnTo>
                      <a:pt x="484" y="4"/>
                    </a:lnTo>
                    <a:lnTo>
                      <a:pt x="499" y="8"/>
                    </a:lnTo>
                    <a:lnTo>
                      <a:pt x="514" y="13"/>
                    </a:lnTo>
                    <a:lnTo>
                      <a:pt x="527" y="20"/>
                    </a:lnTo>
                    <a:lnTo>
                      <a:pt x="539" y="28"/>
                    </a:lnTo>
                    <a:lnTo>
                      <a:pt x="552" y="36"/>
                    </a:lnTo>
                    <a:lnTo>
                      <a:pt x="562" y="46"/>
                    </a:lnTo>
                    <a:lnTo>
                      <a:pt x="562" y="46"/>
                    </a:lnTo>
                    <a:lnTo>
                      <a:pt x="563" y="46"/>
                    </a:lnTo>
                    <a:lnTo>
                      <a:pt x="572" y="57"/>
                    </a:lnTo>
                    <a:lnTo>
                      <a:pt x="581" y="69"/>
                    </a:lnTo>
                    <a:lnTo>
                      <a:pt x="589" y="81"/>
                    </a:lnTo>
                    <a:lnTo>
                      <a:pt x="595" y="95"/>
                    </a:lnTo>
                    <a:lnTo>
                      <a:pt x="601" y="109"/>
                    </a:lnTo>
                    <a:lnTo>
                      <a:pt x="604" y="123"/>
                    </a:lnTo>
                    <a:lnTo>
                      <a:pt x="606" y="138"/>
                    </a:lnTo>
                    <a:lnTo>
                      <a:pt x="608" y="154"/>
                    </a:lnTo>
                    <a:lnTo>
                      <a:pt x="608" y="455"/>
                    </a:lnTo>
                    <a:lnTo>
                      <a:pt x="606" y="471"/>
                    </a:lnTo>
                    <a:lnTo>
                      <a:pt x="604" y="486"/>
                    </a:lnTo>
                    <a:lnTo>
                      <a:pt x="601" y="501"/>
                    </a:lnTo>
                    <a:lnTo>
                      <a:pt x="595" y="514"/>
                    </a:lnTo>
                    <a:lnTo>
                      <a:pt x="589" y="528"/>
                    </a:lnTo>
                    <a:lnTo>
                      <a:pt x="581" y="541"/>
                    </a:lnTo>
                    <a:lnTo>
                      <a:pt x="572" y="553"/>
                    </a:lnTo>
                    <a:lnTo>
                      <a:pt x="563" y="563"/>
                    </a:lnTo>
                    <a:lnTo>
                      <a:pt x="552" y="574"/>
                    </a:lnTo>
                    <a:lnTo>
                      <a:pt x="540" y="583"/>
                    </a:lnTo>
                    <a:lnTo>
                      <a:pt x="527" y="590"/>
                    </a:lnTo>
                    <a:lnTo>
                      <a:pt x="514" y="597"/>
                    </a:lnTo>
                    <a:lnTo>
                      <a:pt x="499" y="602"/>
                    </a:lnTo>
                    <a:lnTo>
                      <a:pt x="484" y="606"/>
                    </a:lnTo>
                    <a:lnTo>
                      <a:pt x="470" y="608"/>
                    </a:lnTo>
                    <a:lnTo>
                      <a:pt x="454" y="609"/>
                    </a:lnTo>
                    <a:lnTo>
                      <a:pt x="152" y="609"/>
                    </a:lnTo>
                    <a:lnTo>
                      <a:pt x="138" y="608"/>
                    </a:lnTo>
                    <a:lnTo>
                      <a:pt x="122" y="606"/>
                    </a:lnTo>
                    <a:lnTo>
                      <a:pt x="108" y="602"/>
                    </a:lnTo>
                    <a:lnTo>
                      <a:pt x="93" y="597"/>
                    </a:lnTo>
                    <a:lnTo>
                      <a:pt x="79" y="590"/>
                    </a:lnTo>
                    <a:lnTo>
                      <a:pt x="67" y="583"/>
                    </a:lnTo>
                    <a:lnTo>
                      <a:pt x="55" y="574"/>
                    </a:lnTo>
                    <a:lnTo>
                      <a:pt x="44" y="563"/>
                    </a:lnTo>
                    <a:lnTo>
                      <a:pt x="44" y="563"/>
                    </a:lnTo>
                    <a:lnTo>
                      <a:pt x="35" y="553"/>
                    </a:lnTo>
                    <a:lnTo>
                      <a:pt x="26" y="541"/>
                    </a:lnTo>
                    <a:lnTo>
                      <a:pt x="18" y="528"/>
                    </a:lnTo>
                    <a:lnTo>
                      <a:pt x="11" y="514"/>
                    </a:lnTo>
                    <a:lnTo>
                      <a:pt x="6" y="501"/>
                    </a:lnTo>
                    <a:lnTo>
                      <a:pt x="2" y="486"/>
                    </a:lnTo>
                    <a:lnTo>
                      <a:pt x="0" y="471"/>
                    </a:lnTo>
                    <a:lnTo>
                      <a:pt x="0" y="455"/>
                    </a:lnTo>
                    <a:lnTo>
                      <a:pt x="0" y="154"/>
                    </a:lnTo>
                    <a:lnTo>
                      <a:pt x="0" y="138"/>
                    </a:lnTo>
                    <a:lnTo>
                      <a:pt x="2" y="123"/>
                    </a:lnTo>
                    <a:lnTo>
                      <a:pt x="6" y="109"/>
                    </a:lnTo>
                    <a:lnTo>
                      <a:pt x="11" y="95"/>
                    </a:lnTo>
                    <a:lnTo>
                      <a:pt x="18" y="81"/>
                    </a:lnTo>
                    <a:lnTo>
                      <a:pt x="26" y="69"/>
                    </a:lnTo>
                    <a:lnTo>
                      <a:pt x="35" y="57"/>
                    </a:lnTo>
                    <a:lnTo>
                      <a:pt x="44" y="46"/>
                    </a:lnTo>
                    <a:lnTo>
                      <a:pt x="55" y="36"/>
                    </a:lnTo>
                    <a:lnTo>
                      <a:pt x="67" y="28"/>
                    </a:lnTo>
                    <a:lnTo>
                      <a:pt x="79" y="20"/>
                    </a:lnTo>
                    <a:lnTo>
                      <a:pt x="93" y="13"/>
                    </a:lnTo>
                    <a:lnTo>
                      <a:pt x="107" y="8"/>
                    </a:lnTo>
                    <a:lnTo>
                      <a:pt x="122" y="4"/>
                    </a:lnTo>
                    <a:lnTo>
                      <a:pt x="138" y="1"/>
                    </a:lnTo>
                    <a:lnTo>
                      <a:pt x="152" y="0"/>
                    </a:lnTo>
                    <a:close/>
                    <a:moveTo>
                      <a:pt x="454" y="60"/>
                    </a:moveTo>
                    <a:lnTo>
                      <a:pt x="152" y="60"/>
                    </a:lnTo>
                    <a:lnTo>
                      <a:pt x="143" y="61"/>
                    </a:lnTo>
                    <a:lnTo>
                      <a:pt x="134" y="62"/>
                    </a:lnTo>
                    <a:lnTo>
                      <a:pt x="125" y="64"/>
                    </a:lnTo>
                    <a:lnTo>
                      <a:pt x="116" y="68"/>
                    </a:lnTo>
                    <a:lnTo>
                      <a:pt x="108" y="71"/>
                    </a:lnTo>
                    <a:lnTo>
                      <a:pt x="100" y="76"/>
                    </a:lnTo>
                    <a:lnTo>
                      <a:pt x="93" y="81"/>
                    </a:lnTo>
                    <a:lnTo>
                      <a:pt x="86" y="88"/>
                    </a:lnTo>
                    <a:lnTo>
                      <a:pt x="79" y="94"/>
                    </a:lnTo>
                    <a:lnTo>
                      <a:pt x="75" y="102"/>
                    </a:lnTo>
                    <a:lnTo>
                      <a:pt x="69" y="110"/>
                    </a:lnTo>
                    <a:lnTo>
                      <a:pt x="66" y="118"/>
                    </a:lnTo>
                    <a:lnTo>
                      <a:pt x="62" y="127"/>
                    </a:lnTo>
                    <a:lnTo>
                      <a:pt x="60" y="135"/>
                    </a:lnTo>
                    <a:lnTo>
                      <a:pt x="59" y="145"/>
                    </a:lnTo>
                    <a:lnTo>
                      <a:pt x="58" y="154"/>
                    </a:lnTo>
                    <a:lnTo>
                      <a:pt x="58" y="455"/>
                    </a:lnTo>
                    <a:lnTo>
                      <a:pt x="59" y="465"/>
                    </a:lnTo>
                    <a:lnTo>
                      <a:pt x="60" y="475"/>
                    </a:lnTo>
                    <a:lnTo>
                      <a:pt x="62" y="484"/>
                    </a:lnTo>
                    <a:lnTo>
                      <a:pt x="66" y="492"/>
                    </a:lnTo>
                    <a:lnTo>
                      <a:pt x="69" y="501"/>
                    </a:lnTo>
                    <a:lnTo>
                      <a:pt x="75" y="509"/>
                    </a:lnTo>
                    <a:lnTo>
                      <a:pt x="79" y="516"/>
                    </a:lnTo>
                    <a:lnTo>
                      <a:pt x="86" y="522"/>
                    </a:lnTo>
                    <a:lnTo>
                      <a:pt x="93" y="528"/>
                    </a:lnTo>
                    <a:lnTo>
                      <a:pt x="100" y="534"/>
                    </a:lnTo>
                    <a:lnTo>
                      <a:pt x="108" y="538"/>
                    </a:lnTo>
                    <a:lnTo>
                      <a:pt x="116" y="543"/>
                    </a:lnTo>
                    <a:lnTo>
                      <a:pt x="125" y="545"/>
                    </a:lnTo>
                    <a:lnTo>
                      <a:pt x="134" y="547"/>
                    </a:lnTo>
                    <a:lnTo>
                      <a:pt x="143" y="550"/>
                    </a:lnTo>
                    <a:lnTo>
                      <a:pt x="152" y="550"/>
                    </a:lnTo>
                    <a:lnTo>
                      <a:pt x="454" y="550"/>
                    </a:lnTo>
                    <a:lnTo>
                      <a:pt x="464" y="550"/>
                    </a:lnTo>
                    <a:lnTo>
                      <a:pt x="473" y="547"/>
                    </a:lnTo>
                    <a:lnTo>
                      <a:pt x="482" y="545"/>
                    </a:lnTo>
                    <a:lnTo>
                      <a:pt x="491" y="543"/>
                    </a:lnTo>
                    <a:lnTo>
                      <a:pt x="499" y="538"/>
                    </a:lnTo>
                    <a:lnTo>
                      <a:pt x="507" y="534"/>
                    </a:lnTo>
                    <a:lnTo>
                      <a:pt x="514" y="528"/>
                    </a:lnTo>
                    <a:lnTo>
                      <a:pt x="521" y="522"/>
                    </a:lnTo>
                    <a:lnTo>
                      <a:pt x="527" y="516"/>
                    </a:lnTo>
                    <a:lnTo>
                      <a:pt x="532" y="508"/>
                    </a:lnTo>
                    <a:lnTo>
                      <a:pt x="537" y="501"/>
                    </a:lnTo>
                    <a:lnTo>
                      <a:pt x="541" y="492"/>
                    </a:lnTo>
                    <a:lnTo>
                      <a:pt x="545" y="484"/>
                    </a:lnTo>
                    <a:lnTo>
                      <a:pt x="547" y="475"/>
                    </a:lnTo>
                    <a:lnTo>
                      <a:pt x="548" y="465"/>
                    </a:lnTo>
                    <a:lnTo>
                      <a:pt x="548" y="455"/>
                    </a:lnTo>
                    <a:lnTo>
                      <a:pt x="548" y="154"/>
                    </a:lnTo>
                    <a:lnTo>
                      <a:pt x="548" y="145"/>
                    </a:lnTo>
                    <a:lnTo>
                      <a:pt x="547" y="135"/>
                    </a:lnTo>
                    <a:lnTo>
                      <a:pt x="545" y="126"/>
                    </a:lnTo>
                    <a:lnTo>
                      <a:pt x="541" y="118"/>
                    </a:lnTo>
                    <a:lnTo>
                      <a:pt x="537" y="110"/>
                    </a:lnTo>
                    <a:lnTo>
                      <a:pt x="532" y="102"/>
                    </a:lnTo>
                    <a:lnTo>
                      <a:pt x="527" y="94"/>
                    </a:lnTo>
                    <a:lnTo>
                      <a:pt x="521" y="88"/>
                    </a:lnTo>
                    <a:lnTo>
                      <a:pt x="521" y="87"/>
                    </a:lnTo>
                    <a:lnTo>
                      <a:pt x="514" y="81"/>
                    </a:lnTo>
                    <a:lnTo>
                      <a:pt x="507" y="76"/>
                    </a:lnTo>
                    <a:lnTo>
                      <a:pt x="499" y="71"/>
                    </a:lnTo>
                    <a:lnTo>
                      <a:pt x="491" y="68"/>
                    </a:lnTo>
                    <a:lnTo>
                      <a:pt x="482" y="64"/>
                    </a:lnTo>
                    <a:lnTo>
                      <a:pt x="473" y="62"/>
                    </a:lnTo>
                    <a:lnTo>
                      <a:pt x="464" y="61"/>
                    </a:lnTo>
                    <a:lnTo>
                      <a:pt x="454" y="60"/>
                    </a:lnTo>
                    <a:close/>
                  </a:path>
                </a:pathLst>
              </a:custGeom>
              <a:gradFill flip="none" rotWithShape="1">
                <a:gsLst>
                  <a:gs pos="46000">
                    <a:srgbClr val="FFFFFF"/>
                  </a:gs>
                  <a:gs pos="56000">
                    <a:schemeClr val="bg1">
                      <a:alpha val="45000"/>
                    </a:schemeClr>
                  </a:gs>
                  <a:gs pos="100000">
                    <a:srgbClr val="FFFFFF"/>
                  </a:gs>
                  <a:gs pos="0">
                    <a:schemeClr val="bg1">
                      <a:alpha val="97000"/>
                    </a:schemeClr>
                  </a:gs>
                </a:gsLst>
                <a:lin ang="18900000" scaled="1"/>
                <a:tileRect/>
              </a:gra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362" name="Freeform 42"/>
              <p:cNvSpPr>
                <a:spLocks/>
              </p:cNvSpPr>
              <p:nvPr/>
            </p:nvSpPr>
            <p:spPr bwMode="auto">
              <a:xfrm>
                <a:off x="5940539" y="5287836"/>
                <a:ext cx="371944" cy="178479"/>
              </a:xfrm>
              <a:custGeom>
                <a:avLst/>
                <a:gdLst>
                  <a:gd name="T0" fmla="*/ 1635 w 1638"/>
                  <a:gd name="T1" fmla="*/ 43 h 786"/>
                  <a:gd name="T2" fmla="*/ 1625 w 1638"/>
                  <a:gd name="T3" fmla="*/ 122 h 786"/>
                  <a:gd name="T4" fmla="*/ 1605 w 1638"/>
                  <a:gd name="T5" fmla="*/ 199 h 786"/>
                  <a:gd name="T6" fmla="*/ 1580 w 1638"/>
                  <a:gd name="T7" fmla="*/ 273 h 786"/>
                  <a:gd name="T8" fmla="*/ 1547 w 1638"/>
                  <a:gd name="T9" fmla="*/ 344 h 786"/>
                  <a:gd name="T10" fmla="*/ 1508 w 1638"/>
                  <a:gd name="T11" fmla="*/ 410 h 786"/>
                  <a:gd name="T12" fmla="*/ 1464 w 1638"/>
                  <a:gd name="T13" fmla="*/ 473 h 786"/>
                  <a:gd name="T14" fmla="*/ 1414 w 1638"/>
                  <a:gd name="T15" fmla="*/ 531 h 786"/>
                  <a:gd name="T16" fmla="*/ 1359 w 1638"/>
                  <a:gd name="T17" fmla="*/ 584 h 786"/>
                  <a:gd name="T18" fmla="*/ 1298 w 1638"/>
                  <a:gd name="T19" fmla="*/ 631 h 786"/>
                  <a:gd name="T20" fmla="*/ 1235 w 1638"/>
                  <a:gd name="T21" fmla="*/ 674 h 786"/>
                  <a:gd name="T22" fmla="*/ 1166 w 1638"/>
                  <a:gd name="T23" fmla="*/ 710 h 786"/>
                  <a:gd name="T24" fmla="*/ 1094 w 1638"/>
                  <a:gd name="T25" fmla="*/ 740 h 786"/>
                  <a:gd name="T26" fmla="*/ 1019 w 1638"/>
                  <a:gd name="T27" fmla="*/ 763 h 786"/>
                  <a:gd name="T28" fmla="*/ 940 w 1638"/>
                  <a:gd name="T29" fmla="*/ 777 h 786"/>
                  <a:gd name="T30" fmla="*/ 861 w 1638"/>
                  <a:gd name="T31" fmla="*/ 785 h 786"/>
                  <a:gd name="T32" fmla="*/ 778 w 1638"/>
                  <a:gd name="T33" fmla="*/ 785 h 786"/>
                  <a:gd name="T34" fmla="*/ 697 w 1638"/>
                  <a:gd name="T35" fmla="*/ 777 h 786"/>
                  <a:gd name="T36" fmla="*/ 619 w 1638"/>
                  <a:gd name="T37" fmla="*/ 763 h 786"/>
                  <a:gd name="T38" fmla="*/ 543 w 1638"/>
                  <a:gd name="T39" fmla="*/ 740 h 786"/>
                  <a:gd name="T40" fmla="*/ 472 w 1638"/>
                  <a:gd name="T41" fmla="*/ 710 h 786"/>
                  <a:gd name="T42" fmla="*/ 403 w 1638"/>
                  <a:gd name="T43" fmla="*/ 674 h 786"/>
                  <a:gd name="T44" fmla="*/ 338 w 1638"/>
                  <a:gd name="T45" fmla="*/ 631 h 786"/>
                  <a:gd name="T46" fmla="*/ 279 w 1638"/>
                  <a:gd name="T47" fmla="*/ 584 h 786"/>
                  <a:gd name="T48" fmla="*/ 223 w 1638"/>
                  <a:gd name="T49" fmla="*/ 530 h 786"/>
                  <a:gd name="T50" fmla="*/ 173 w 1638"/>
                  <a:gd name="T51" fmla="*/ 472 h 786"/>
                  <a:gd name="T52" fmla="*/ 128 w 1638"/>
                  <a:gd name="T53" fmla="*/ 409 h 786"/>
                  <a:gd name="T54" fmla="*/ 89 w 1638"/>
                  <a:gd name="T55" fmla="*/ 342 h 786"/>
                  <a:gd name="T56" fmla="*/ 58 w 1638"/>
                  <a:gd name="T57" fmla="*/ 271 h 786"/>
                  <a:gd name="T58" fmla="*/ 32 w 1638"/>
                  <a:gd name="T59" fmla="*/ 197 h 786"/>
                  <a:gd name="T60" fmla="*/ 14 w 1638"/>
                  <a:gd name="T61" fmla="*/ 120 h 786"/>
                  <a:gd name="T62" fmla="*/ 3 w 1638"/>
                  <a:gd name="T63" fmla="*/ 40 h 786"/>
                  <a:gd name="T64" fmla="*/ 48 w 1638"/>
                  <a:gd name="T65" fmla="*/ 6 h 786"/>
                  <a:gd name="T66" fmla="*/ 146 w 1638"/>
                  <a:gd name="T67" fmla="*/ 18 h 786"/>
                  <a:gd name="T68" fmla="*/ 246 w 1638"/>
                  <a:gd name="T69" fmla="*/ 28 h 786"/>
                  <a:gd name="T70" fmla="*/ 348 w 1638"/>
                  <a:gd name="T71" fmla="*/ 37 h 786"/>
                  <a:gd name="T72" fmla="*/ 452 w 1638"/>
                  <a:gd name="T73" fmla="*/ 44 h 786"/>
                  <a:gd name="T74" fmla="*/ 557 w 1638"/>
                  <a:gd name="T75" fmla="*/ 50 h 786"/>
                  <a:gd name="T76" fmla="*/ 664 w 1638"/>
                  <a:gd name="T77" fmla="*/ 53 h 786"/>
                  <a:gd name="T78" fmla="*/ 774 w 1638"/>
                  <a:gd name="T79" fmla="*/ 56 h 786"/>
                  <a:gd name="T80" fmla="*/ 882 w 1638"/>
                  <a:gd name="T81" fmla="*/ 56 h 786"/>
                  <a:gd name="T82" fmla="*/ 988 w 1638"/>
                  <a:gd name="T83" fmla="*/ 53 h 786"/>
                  <a:gd name="T84" fmla="*/ 1093 w 1638"/>
                  <a:gd name="T85" fmla="*/ 50 h 786"/>
                  <a:gd name="T86" fmla="*/ 1196 w 1638"/>
                  <a:gd name="T87" fmla="*/ 45 h 786"/>
                  <a:gd name="T88" fmla="*/ 1297 w 1638"/>
                  <a:gd name="T89" fmla="*/ 39 h 786"/>
                  <a:gd name="T90" fmla="*/ 1398 w 1638"/>
                  <a:gd name="T91" fmla="*/ 30 h 786"/>
                  <a:gd name="T92" fmla="*/ 1495 w 1638"/>
                  <a:gd name="T93" fmla="*/ 20 h 786"/>
                  <a:gd name="T94" fmla="*/ 1590 w 1638"/>
                  <a:gd name="T95" fmla="*/ 9 h 7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638" h="786">
                    <a:moveTo>
                      <a:pt x="1638" y="2"/>
                    </a:moveTo>
                    <a:lnTo>
                      <a:pt x="1635" y="43"/>
                    </a:lnTo>
                    <a:lnTo>
                      <a:pt x="1630" y="83"/>
                    </a:lnTo>
                    <a:lnTo>
                      <a:pt x="1625" y="122"/>
                    </a:lnTo>
                    <a:lnTo>
                      <a:pt x="1616" y="161"/>
                    </a:lnTo>
                    <a:lnTo>
                      <a:pt x="1605" y="199"/>
                    </a:lnTo>
                    <a:lnTo>
                      <a:pt x="1594" y="237"/>
                    </a:lnTo>
                    <a:lnTo>
                      <a:pt x="1580" y="273"/>
                    </a:lnTo>
                    <a:lnTo>
                      <a:pt x="1564" y="309"/>
                    </a:lnTo>
                    <a:lnTo>
                      <a:pt x="1547" y="344"/>
                    </a:lnTo>
                    <a:lnTo>
                      <a:pt x="1529" y="377"/>
                    </a:lnTo>
                    <a:lnTo>
                      <a:pt x="1508" y="410"/>
                    </a:lnTo>
                    <a:lnTo>
                      <a:pt x="1488" y="442"/>
                    </a:lnTo>
                    <a:lnTo>
                      <a:pt x="1464" y="473"/>
                    </a:lnTo>
                    <a:lnTo>
                      <a:pt x="1440" y="503"/>
                    </a:lnTo>
                    <a:lnTo>
                      <a:pt x="1414" y="531"/>
                    </a:lnTo>
                    <a:lnTo>
                      <a:pt x="1387" y="558"/>
                    </a:lnTo>
                    <a:lnTo>
                      <a:pt x="1359" y="584"/>
                    </a:lnTo>
                    <a:lnTo>
                      <a:pt x="1329" y="609"/>
                    </a:lnTo>
                    <a:lnTo>
                      <a:pt x="1298" y="631"/>
                    </a:lnTo>
                    <a:lnTo>
                      <a:pt x="1268" y="654"/>
                    </a:lnTo>
                    <a:lnTo>
                      <a:pt x="1235" y="674"/>
                    </a:lnTo>
                    <a:lnTo>
                      <a:pt x="1200" y="693"/>
                    </a:lnTo>
                    <a:lnTo>
                      <a:pt x="1166" y="710"/>
                    </a:lnTo>
                    <a:lnTo>
                      <a:pt x="1131" y="726"/>
                    </a:lnTo>
                    <a:lnTo>
                      <a:pt x="1094" y="740"/>
                    </a:lnTo>
                    <a:lnTo>
                      <a:pt x="1057" y="752"/>
                    </a:lnTo>
                    <a:lnTo>
                      <a:pt x="1019" y="763"/>
                    </a:lnTo>
                    <a:lnTo>
                      <a:pt x="980" y="771"/>
                    </a:lnTo>
                    <a:lnTo>
                      <a:pt x="940" y="777"/>
                    </a:lnTo>
                    <a:lnTo>
                      <a:pt x="900" y="783"/>
                    </a:lnTo>
                    <a:lnTo>
                      <a:pt x="861" y="785"/>
                    </a:lnTo>
                    <a:lnTo>
                      <a:pt x="819" y="786"/>
                    </a:lnTo>
                    <a:lnTo>
                      <a:pt x="778" y="785"/>
                    </a:lnTo>
                    <a:lnTo>
                      <a:pt x="737" y="783"/>
                    </a:lnTo>
                    <a:lnTo>
                      <a:pt x="697" y="777"/>
                    </a:lnTo>
                    <a:lnTo>
                      <a:pt x="657" y="771"/>
                    </a:lnTo>
                    <a:lnTo>
                      <a:pt x="619" y="763"/>
                    </a:lnTo>
                    <a:lnTo>
                      <a:pt x="581" y="752"/>
                    </a:lnTo>
                    <a:lnTo>
                      <a:pt x="543" y="740"/>
                    </a:lnTo>
                    <a:lnTo>
                      <a:pt x="507" y="725"/>
                    </a:lnTo>
                    <a:lnTo>
                      <a:pt x="472" y="710"/>
                    </a:lnTo>
                    <a:lnTo>
                      <a:pt x="436" y="693"/>
                    </a:lnTo>
                    <a:lnTo>
                      <a:pt x="403" y="674"/>
                    </a:lnTo>
                    <a:lnTo>
                      <a:pt x="370" y="653"/>
                    </a:lnTo>
                    <a:lnTo>
                      <a:pt x="338" y="631"/>
                    </a:lnTo>
                    <a:lnTo>
                      <a:pt x="308" y="607"/>
                    </a:lnTo>
                    <a:lnTo>
                      <a:pt x="279" y="584"/>
                    </a:lnTo>
                    <a:lnTo>
                      <a:pt x="250" y="557"/>
                    </a:lnTo>
                    <a:lnTo>
                      <a:pt x="223" y="530"/>
                    </a:lnTo>
                    <a:lnTo>
                      <a:pt x="198" y="501"/>
                    </a:lnTo>
                    <a:lnTo>
                      <a:pt x="173" y="472"/>
                    </a:lnTo>
                    <a:lnTo>
                      <a:pt x="150" y="441"/>
                    </a:lnTo>
                    <a:lnTo>
                      <a:pt x="128" y="409"/>
                    </a:lnTo>
                    <a:lnTo>
                      <a:pt x="109" y="376"/>
                    </a:lnTo>
                    <a:lnTo>
                      <a:pt x="89" y="342"/>
                    </a:lnTo>
                    <a:lnTo>
                      <a:pt x="73" y="308"/>
                    </a:lnTo>
                    <a:lnTo>
                      <a:pt x="58" y="271"/>
                    </a:lnTo>
                    <a:lnTo>
                      <a:pt x="44" y="235"/>
                    </a:lnTo>
                    <a:lnTo>
                      <a:pt x="32" y="197"/>
                    </a:lnTo>
                    <a:lnTo>
                      <a:pt x="22" y="159"/>
                    </a:lnTo>
                    <a:lnTo>
                      <a:pt x="14" y="120"/>
                    </a:lnTo>
                    <a:lnTo>
                      <a:pt x="7" y="81"/>
                    </a:lnTo>
                    <a:lnTo>
                      <a:pt x="3" y="40"/>
                    </a:lnTo>
                    <a:lnTo>
                      <a:pt x="0" y="0"/>
                    </a:lnTo>
                    <a:lnTo>
                      <a:pt x="48" y="6"/>
                    </a:lnTo>
                    <a:lnTo>
                      <a:pt x="96" y="12"/>
                    </a:lnTo>
                    <a:lnTo>
                      <a:pt x="146" y="18"/>
                    </a:lnTo>
                    <a:lnTo>
                      <a:pt x="196" y="24"/>
                    </a:lnTo>
                    <a:lnTo>
                      <a:pt x="246" y="28"/>
                    </a:lnTo>
                    <a:lnTo>
                      <a:pt x="297" y="33"/>
                    </a:lnTo>
                    <a:lnTo>
                      <a:pt x="348" y="37"/>
                    </a:lnTo>
                    <a:lnTo>
                      <a:pt x="400" y="41"/>
                    </a:lnTo>
                    <a:lnTo>
                      <a:pt x="452" y="44"/>
                    </a:lnTo>
                    <a:lnTo>
                      <a:pt x="505" y="48"/>
                    </a:lnTo>
                    <a:lnTo>
                      <a:pt x="557" y="50"/>
                    </a:lnTo>
                    <a:lnTo>
                      <a:pt x="611" y="52"/>
                    </a:lnTo>
                    <a:lnTo>
                      <a:pt x="664" y="53"/>
                    </a:lnTo>
                    <a:lnTo>
                      <a:pt x="719" y="55"/>
                    </a:lnTo>
                    <a:lnTo>
                      <a:pt x="774" y="56"/>
                    </a:lnTo>
                    <a:lnTo>
                      <a:pt x="829" y="56"/>
                    </a:lnTo>
                    <a:lnTo>
                      <a:pt x="882" y="56"/>
                    </a:lnTo>
                    <a:lnTo>
                      <a:pt x="936" y="55"/>
                    </a:lnTo>
                    <a:lnTo>
                      <a:pt x="988" y="53"/>
                    </a:lnTo>
                    <a:lnTo>
                      <a:pt x="1041" y="52"/>
                    </a:lnTo>
                    <a:lnTo>
                      <a:pt x="1093" y="50"/>
                    </a:lnTo>
                    <a:lnTo>
                      <a:pt x="1145" y="48"/>
                    </a:lnTo>
                    <a:lnTo>
                      <a:pt x="1196" y="45"/>
                    </a:lnTo>
                    <a:lnTo>
                      <a:pt x="1247" y="42"/>
                    </a:lnTo>
                    <a:lnTo>
                      <a:pt x="1297" y="39"/>
                    </a:lnTo>
                    <a:lnTo>
                      <a:pt x="1348" y="34"/>
                    </a:lnTo>
                    <a:lnTo>
                      <a:pt x="1398" y="30"/>
                    </a:lnTo>
                    <a:lnTo>
                      <a:pt x="1447" y="25"/>
                    </a:lnTo>
                    <a:lnTo>
                      <a:pt x="1495" y="20"/>
                    </a:lnTo>
                    <a:lnTo>
                      <a:pt x="1544" y="15"/>
                    </a:lnTo>
                    <a:lnTo>
                      <a:pt x="1590" y="9"/>
                    </a:lnTo>
                    <a:lnTo>
                      <a:pt x="1638" y="2"/>
                    </a:lnTo>
                    <a:close/>
                  </a:path>
                </a:pathLst>
              </a:custGeom>
              <a:gradFill>
                <a:gsLst>
                  <a:gs pos="100000">
                    <a:schemeClr val="bg1">
                      <a:alpha val="45000"/>
                    </a:schemeClr>
                  </a:gs>
                  <a:gs pos="0">
                    <a:schemeClr val="bg1">
                      <a:alpha val="20000"/>
                    </a:schemeClr>
                  </a:gs>
                </a:gsLst>
                <a:lin ang="5400000" scaled="1"/>
              </a:gra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grpSp>
        <p:grpSp>
          <p:nvGrpSpPr>
            <p:cNvPr id="351" name="Group 350"/>
            <p:cNvGrpSpPr/>
            <p:nvPr/>
          </p:nvGrpSpPr>
          <p:grpSpPr>
            <a:xfrm>
              <a:off x="5940538" y="1511180"/>
              <a:ext cx="1109018" cy="3192174"/>
              <a:chOff x="3000179" y="211125"/>
              <a:chExt cx="1292141" cy="3719266"/>
            </a:xfrm>
          </p:grpSpPr>
          <p:sp>
            <p:nvSpPr>
              <p:cNvPr id="352" name="Freeform 26"/>
              <p:cNvSpPr>
                <a:spLocks/>
              </p:cNvSpPr>
              <p:nvPr/>
            </p:nvSpPr>
            <p:spPr bwMode="auto">
              <a:xfrm>
                <a:off x="3038276" y="211125"/>
                <a:ext cx="1254044" cy="3719266"/>
              </a:xfrm>
              <a:custGeom>
                <a:avLst/>
                <a:gdLst>
                  <a:gd name="T0" fmla="*/ 0 w 4741"/>
                  <a:gd name="T1" fmla="*/ 0 h 14059"/>
                  <a:gd name="T2" fmla="*/ 3656 w 4741"/>
                  <a:gd name="T3" fmla="*/ 0 h 14059"/>
                  <a:gd name="T4" fmla="*/ 3712 w 4741"/>
                  <a:gd name="T5" fmla="*/ 1 h 14059"/>
                  <a:gd name="T6" fmla="*/ 3767 w 4741"/>
                  <a:gd name="T7" fmla="*/ 4 h 14059"/>
                  <a:gd name="T8" fmla="*/ 3820 w 4741"/>
                  <a:gd name="T9" fmla="*/ 12 h 14059"/>
                  <a:gd name="T10" fmla="*/ 3874 w 4741"/>
                  <a:gd name="T11" fmla="*/ 22 h 14059"/>
                  <a:gd name="T12" fmla="*/ 3926 w 4741"/>
                  <a:gd name="T13" fmla="*/ 34 h 14059"/>
                  <a:gd name="T14" fmla="*/ 3978 w 4741"/>
                  <a:gd name="T15" fmla="*/ 49 h 14059"/>
                  <a:gd name="T16" fmla="*/ 4028 w 4741"/>
                  <a:gd name="T17" fmla="*/ 66 h 14059"/>
                  <a:gd name="T18" fmla="*/ 4077 w 4741"/>
                  <a:gd name="T19" fmla="*/ 85 h 14059"/>
                  <a:gd name="T20" fmla="*/ 4125 w 4741"/>
                  <a:gd name="T21" fmla="*/ 107 h 14059"/>
                  <a:gd name="T22" fmla="*/ 4172 w 4741"/>
                  <a:gd name="T23" fmla="*/ 131 h 14059"/>
                  <a:gd name="T24" fmla="*/ 4217 w 4741"/>
                  <a:gd name="T25" fmla="*/ 157 h 14059"/>
                  <a:gd name="T26" fmla="*/ 4262 w 4741"/>
                  <a:gd name="T27" fmla="*/ 186 h 14059"/>
                  <a:gd name="T28" fmla="*/ 4304 w 4741"/>
                  <a:gd name="T29" fmla="*/ 215 h 14059"/>
                  <a:gd name="T30" fmla="*/ 4345 w 4741"/>
                  <a:gd name="T31" fmla="*/ 247 h 14059"/>
                  <a:gd name="T32" fmla="*/ 4385 w 4741"/>
                  <a:gd name="T33" fmla="*/ 281 h 14059"/>
                  <a:gd name="T34" fmla="*/ 4422 w 4741"/>
                  <a:gd name="T35" fmla="*/ 318 h 14059"/>
                  <a:gd name="T36" fmla="*/ 4458 w 4741"/>
                  <a:gd name="T37" fmla="*/ 356 h 14059"/>
                  <a:gd name="T38" fmla="*/ 4492 w 4741"/>
                  <a:gd name="T39" fmla="*/ 395 h 14059"/>
                  <a:gd name="T40" fmla="*/ 4525 w 4741"/>
                  <a:gd name="T41" fmla="*/ 436 h 14059"/>
                  <a:gd name="T42" fmla="*/ 4555 w 4741"/>
                  <a:gd name="T43" fmla="*/ 479 h 14059"/>
                  <a:gd name="T44" fmla="*/ 4583 w 4741"/>
                  <a:gd name="T45" fmla="*/ 523 h 14059"/>
                  <a:gd name="T46" fmla="*/ 4609 w 4741"/>
                  <a:gd name="T47" fmla="*/ 568 h 14059"/>
                  <a:gd name="T48" fmla="*/ 4633 w 4741"/>
                  <a:gd name="T49" fmla="*/ 614 h 14059"/>
                  <a:gd name="T50" fmla="*/ 4655 w 4741"/>
                  <a:gd name="T51" fmla="*/ 662 h 14059"/>
                  <a:gd name="T52" fmla="*/ 4675 w 4741"/>
                  <a:gd name="T53" fmla="*/ 712 h 14059"/>
                  <a:gd name="T54" fmla="*/ 4692 w 4741"/>
                  <a:gd name="T55" fmla="*/ 763 h 14059"/>
                  <a:gd name="T56" fmla="*/ 4706 w 4741"/>
                  <a:gd name="T57" fmla="*/ 814 h 14059"/>
                  <a:gd name="T58" fmla="*/ 4719 w 4741"/>
                  <a:gd name="T59" fmla="*/ 866 h 14059"/>
                  <a:gd name="T60" fmla="*/ 4728 w 4741"/>
                  <a:gd name="T61" fmla="*/ 919 h 14059"/>
                  <a:gd name="T62" fmla="*/ 4735 w 4741"/>
                  <a:gd name="T63" fmla="*/ 973 h 14059"/>
                  <a:gd name="T64" fmla="*/ 4740 w 4741"/>
                  <a:gd name="T65" fmla="*/ 1028 h 14059"/>
                  <a:gd name="T66" fmla="*/ 4741 w 4741"/>
                  <a:gd name="T67" fmla="*/ 1084 h 14059"/>
                  <a:gd name="T68" fmla="*/ 4741 w 4741"/>
                  <a:gd name="T69" fmla="*/ 14059 h 14059"/>
                  <a:gd name="T70" fmla="*/ 0 w 4741"/>
                  <a:gd name="T71" fmla="*/ 0 h 140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741" h="14059">
                    <a:moveTo>
                      <a:pt x="0" y="0"/>
                    </a:moveTo>
                    <a:lnTo>
                      <a:pt x="3656" y="0"/>
                    </a:lnTo>
                    <a:lnTo>
                      <a:pt x="3712" y="1"/>
                    </a:lnTo>
                    <a:lnTo>
                      <a:pt x="3767" y="4"/>
                    </a:lnTo>
                    <a:lnTo>
                      <a:pt x="3820" y="12"/>
                    </a:lnTo>
                    <a:lnTo>
                      <a:pt x="3874" y="22"/>
                    </a:lnTo>
                    <a:lnTo>
                      <a:pt x="3926" y="34"/>
                    </a:lnTo>
                    <a:lnTo>
                      <a:pt x="3978" y="49"/>
                    </a:lnTo>
                    <a:lnTo>
                      <a:pt x="4028" y="66"/>
                    </a:lnTo>
                    <a:lnTo>
                      <a:pt x="4077" y="85"/>
                    </a:lnTo>
                    <a:lnTo>
                      <a:pt x="4125" y="107"/>
                    </a:lnTo>
                    <a:lnTo>
                      <a:pt x="4172" y="131"/>
                    </a:lnTo>
                    <a:lnTo>
                      <a:pt x="4217" y="157"/>
                    </a:lnTo>
                    <a:lnTo>
                      <a:pt x="4262" y="186"/>
                    </a:lnTo>
                    <a:lnTo>
                      <a:pt x="4304" y="215"/>
                    </a:lnTo>
                    <a:lnTo>
                      <a:pt x="4345" y="247"/>
                    </a:lnTo>
                    <a:lnTo>
                      <a:pt x="4385" y="281"/>
                    </a:lnTo>
                    <a:lnTo>
                      <a:pt x="4422" y="318"/>
                    </a:lnTo>
                    <a:lnTo>
                      <a:pt x="4458" y="356"/>
                    </a:lnTo>
                    <a:lnTo>
                      <a:pt x="4492" y="395"/>
                    </a:lnTo>
                    <a:lnTo>
                      <a:pt x="4525" y="436"/>
                    </a:lnTo>
                    <a:lnTo>
                      <a:pt x="4555" y="479"/>
                    </a:lnTo>
                    <a:lnTo>
                      <a:pt x="4583" y="523"/>
                    </a:lnTo>
                    <a:lnTo>
                      <a:pt x="4609" y="568"/>
                    </a:lnTo>
                    <a:lnTo>
                      <a:pt x="4633" y="614"/>
                    </a:lnTo>
                    <a:lnTo>
                      <a:pt x="4655" y="662"/>
                    </a:lnTo>
                    <a:lnTo>
                      <a:pt x="4675" y="712"/>
                    </a:lnTo>
                    <a:lnTo>
                      <a:pt x="4692" y="763"/>
                    </a:lnTo>
                    <a:lnTo>
                      <a:pt x="4706" y="814"/>
                    </a:lnTo>
                    <a:lnTo>
                      <a:pt x="4719" y="866"/>
                    </a:lnTo>
                    <a:lnTo>
                      <a:pt x="4728" y="919"/>
                    </a:lnTo>
                    <a:lnTo>
                      <a:pt x="4735" y="973"/>
                    </a:lnTo>
                    <a:lnTo>
                      <a:pt x="4740" y="1028"/>
                    </a:lnTo>
                    <a:lnTo>
                      <a:pt x="4741" y="1084"/>
                    </a:lnTo>
                    <a:lnTo>
                      <a:pt x="4741" y="14059"/>
                    </a:lnTo>
                    <a:lnTo>
                      <a:pt x="0" y="0"/>
                    </a:lnTo>
                    <a:close/>
                  </a:path>
                </a:pathLst>
              </a:custGeom>
              <a:gradFill flip="none" rotWithShape="1">
                <a:gsLst>
                  <a:gs pos="65000">
                    <a:schemeClr val="bg1">
                      <a:alpha val="0"/>
                    </a:schemeClr>
                  </a:gs>
                  <a:gs pos="0">
                    <a:schemeClr val="bg1">
                      <a:alpha val="50000"/>
                    </a:schemeClr>
                  </a:gs>
                </a:gsLst>
                <a:lin ang="5400000" scaled="1"/>
                <a:tileRect/>
              </a:gra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353" name="Freeform 27"/>
              <p:cNvSpPr>
                <a:spLocks/>
              </p:cNvSpPr>
              <p:nvPr/>
            </p:nvSpPr>
            <p:spPr bwMode="auto">
              <a:xfrm>
                <a:off x="3000179" y="531778"/>
                <a:ext cx="430185" cy="88894"/>
              </a:xfrm>
              <a:custGeom>
                <a:avLst/>
                <a:gdLst>
                  <a:gd name="T0" fmla="*/ 1456 w 1626"/>
                  <a:gd name="T1" fmla="*/ 0 h 338"/>
                  <a:gd name="T2" fmla="*/ 1490 w 1626"/>
                  <a:gd name="T3" fmla="*/ 3 h 338"/>
                  <a:gd name="T4" fmla="*/ 1522 w 1626"/>
                  <a:gd name="T5" fmla="*/ 12 h 338"/>
                  <a:gd name="T6" fmla="*/ 1550 w 1626"/>
                  <a:gd name="T7" fmla="*/ 28 h 338"/>
                  <a:gd name="T8" fmla="*/ 1576 w 1626"/>
                  <a:gd name="T9" fmla="*/ 49 h 338"/>
                  <a:gd name="T10" fmla="*/ 1597 w 1626"/>
                  <a:gd name="T11" fmla="*/ 74 h 338"/>
                  <a:gd name="T12" fmla="*/ 1612 w 1626"/>
                  <a:gd name="T13" fmla="*/ 104 h 338"/>
                  <a:gd name="T14" fmla="*/ 1622 w 1626"/>
                  <a:gd name="T15" fmla="*/ 135 h 338"/>
                  <a:gd name="T16" fmla="*/ 1626 w 1626"/>
                  <a:gd name="T17" fmla="*/ 169 h 338"/>
                  <a:gd name="T18" fmla="*/ 1625 w 1626"/>
                  <a:gd name="T19" fmla="*/ 187 h 338"/>
                  <a:gd name="T20" fmla="*/ 1618 w 1626"/>
                  <a:gd name="T21" fmla="*/ 220 h 338"/>
                  <a:gd name="T22" fmla="*/ 1605 w 1626"/>
                  <a:gd name="T23" fmla="*/ 249 h 338"/>
                  <a:gd name="T24" fmla="*/ 1587 w 1626"/>
                  <a:gd name="T25" fmla="*/ 277 h 338"/>
                  <a:gd name="T26" fmla="*/ 1564 w 1626"/>
                  <a:gd name="T27" fmla="*/ 300 h 338"/>
                  <a:gd name="T28" fmla="*/ 1537 w 1626"/>
                  <a:gd name="T29" fmla="*/ 318 h 338"/>
                  <a:gd name="T30" fmla="*/ 1506 w 1626"/>
                  <a:gd name="T31" fmla="*/ 330 h 338"/>
                  <a:gd name="T32" fmla="*/ 1474 w 1626"/>
                  <a:gd name="T33" fmla="*/ 337 h 338"/>
                  <a:gd name="T34" fmla="*/ 170 w 1626"/>
                  <a:gd name="T35" fmla="*/ 338 h 338"/>
                  <a:gd name="T36" fmla="*/ 136 w 1626"/>
                  <a:gd name="T37" fmla="*/ 335 h 338"/>
                  <a:gd name="T38" fmla="*/ 104 w 1626"/>
                  <a:gd name="T39" fmla="*/ 325 h 338"/>
                  <a:gd name="T40" fmla="*/ 76 w 1626"/>
                  <a:gd name="T41" fmla="*/ 310 h 338"/>
                  <a:gd name="T42" fmla="*/ 51 w 1626"/>
                  <a:gd name="T43" fmla="*/ 288 h 338"/>
                  <a:gd name="T44" fmla="*/ 30 w 1626"/>
                  <a:gd name="T45" fmla="*/ 263 h 338"/>
                  <a:gd name="T46" fmla="*/ 14 w 1626"/>
                  <a:gd name="T47" fmla="*/ 235 h 338"/>
                  <a:gd name="T48" fmla="*/ 4 w 1626"/>
                  <a:gd name="T49" fmla="*/ 203 h 338"/>
                  <a:gd name="T50" fmla="*/ 0 w 1626"/>
                  <a:gd name="T51" fmla="*/ 169 h 338"/>
                  <a:gd name="T52" fmla="*/ 1 w 1626"/>
                  <a:gd name="T53" fmla="*/ 151 h 338"/>
                  <a:gd name="T54" fmla="*/ 8 w 1626"/>
                  <a:gd name="T55" fmla="*/ 118 h 338"/>
                  <a:gd name="T56" fmla="*/ 21 w 1626"/>
                  <a:gd name="T57" fmla="*/ 89 h 338"/>
                  <a:gd name="T58" fmla="*/ 39 w 1626"/>
                  <a:gd name="T59" fmla="*/ 61 h 338"/>
                  <a:gd name="T60" fmla="*/ 62 w 1626"/>
                  <a:gd name="T61" fmla="*/ 39 h 338"/>
                  <a:gd name="T62" fmla="*/ 89 w 1626"/>
                  <a:gd name="T63" fmla="*/ 20 h 338"/>
                  <a:gd name="T64" fmla="*/ 120 w 1626"/>
                  <a:gd name="T65" fmla="*/ 7 h 338"/>
                  <a:gd name="T66" fmla="*/ 153 w 1626"/>
                  <a:gd name="T67" fmla="*/ 1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626" h="338">
                    <a:moveTo>
                      <a:pt x="170" y="0"/>
                    </a:moveTo>
                    <a:lnTo>
                      <a:pt x="1456" y="0"/>
                    </a:lnTo>
                    <a:lnTo>
                      <a:pt x="1474" y="1"/>
                    </a:lnTo>
                    <a:lnTo>
                      <a:pt x="1490" y="3"/>
                    </a:lnTo>
                    <a:lnTo>
                      <a:pt x="1506" y="7"/>
                    </a:lnTo>
                    <a:lnTo>
                      <a:pt x="1522" y="12"/>
                    </a:lnTo>
                    <a:lnTo>
                      <a:pt x="1537" y="20"/>
                    </a:lnTo>
                    <a:lnTo>
                      <a:pt x="1550" y="28"/>
                    </a:lnTo>
                    <a:lnTo>
                      <a:pt x="1564" y="39"/>
                    </a:lnTo>
                    <a:lnTo>
                      <a:pt x="1576" y="49"/>
                    </a:lnTo>
                    <a:lnTo>
                      <a:pt x="1587" y="61"/>
                    </a:lnTo>
                    <a:lnTo>
                      <a:pt x="1597" y="74"/>
                    </a:lnTo>
                    <a:lnTo>
                      <a:pt x="1605" y="89"/>
                    </a:lnTo>
                    <a:lnTo>
                      <a:pt x="1612" y="104"/>
                    </a:lnTo>
                    <a:lnTo>
                      <a:pt x="1618" y="118"/>
                    </a:lnTo>
                    <a:lnTo>
                      <a:pt x="1622" y="135"/>
                    </a:lnTo>
                    <a:lnTo>
                      <a:pt x="1625" y="151"/>
                    </a:lnTo>
                    <a:lnTo>
                      <a:pt x="1626" y="169"/>
                    </a:lnTo>
                    <a:lnTo>
                      <a:pt x="1626" y="169"/>
                    </a:lnTo>
                    <a:lnTo>
                      <a:pt x="1625" y="187"/>
                    </a:lnTo>
                    <a:lnTo>
                      <a:pt x="1622" y="203"/>
                    </a:lnTo>
                    <a:lnTo>
                      <a:pt x="1618" y="220"/>
                    </a:lnTo>
                    <a:lnTo>
                      <a:pt x="1612" y="235"/>
                    </a:lnTo>
                    <a:lnTo>
                      <a:pt x="1605" y="249"/>
                    </a:lnTo>
                    <a:lnTo>
                      <a:pt x="1597" y="263"/>
                    </a:lnTo>
                    <a:lnTo>
                      <a:pt x="1587" y="277"/>
                    </a:lnTo>
                    <a:lnTo>
                      <a:pt x="1576" y="288"/>
                    </a:lnTo>
                    <a:lnTo>
                      <a:pt x="1564" y="300"/>
                    </a:lnTo>
                    <a:lnTo>
                      <a:pt x="1550" y="310"/>
                    </a:lnTo>
                    <a:lnTo>
                      <a:pt x="1537" y="318"/>
                    </a:lnTo>
                    <a:lnTo>
                      <a:pt x="1522" y="325"/>
                    </a:lnTo>
                    <a:lnTo>
                      <a:pt x="1506" y="330"/>
                    </a:lnTo>
                    <a:lnTo>
                      <a:pt x="1490" y="335"/>
                    </a:lnTo>
                    <a:lnTo>
                      <a:pt x="1474" y="337"/>
                    </a:lnTo>
                    <a:lnTo>
                      <a:pt x="1456" y="338"/>
                    </a:lnTo>
                    <a:lnTo>
                      <a:pt x="170" y="338"/>
                    </a:lnTo>
                    <a:lnTo>
                      <a:pt x="153" y="337"/>
                    </a:lnTo>
                    <a:lnTo>
                      <a:pt x="136" y="335"/>
                    </a:lnTo>
                    <a:lnTo>
                      <a:pt x="120" y="330"/>
                    </a:lnTo>
                    <a:lnTo>
                      <a:pt x="104" y="325"/>
                    </a:lnTo>
                    <a:lnTo>
                      <a:pt x="89" y="318"/>
                    </a:lnTo>
                    <a:lnTo>
                      <a:pt x="76" y="310"/>
                    </a:lnTo>
                    <a:lnTo>
                      <a:pt x="62" y="300"/>
                    </a:lnTo>
                    <a:lnTo>
                      <a:pt x="51" y="288"/>
                    </a:lnTo>
                    <a:lnTo>
                      <a:pt x="39" y="277"/>
                    </a:lnTo>
                    <a:lnTo>
                      <a:pt x="30" y="263"/>
                    </a:lnTo>
                    <a:lnTo>
                      <a:pt x="21" y="249"/>
                    </a:lnTo>
                    <a:lnTo>
                      <a:pt x="14" y="235"/>
                    </a:lnTo>
                    <a:lnTo>
                      <a:pt x="8" y="220"/>
                    </a:lnTo>
                    <a:lnTo>
                      <a:pt x="4" y="203"/>
                    </a:lnTo>
                    <a:lnTo>
                      <a:pt x="1" y="187"/>
                    </a:lnTo>
                    <a:lnTo>
                      <a:pt x="0" y="169"/>
                    </a:lnTo>
                    <a:lnTo>
                      <a:pt x="0" y="169"/>
                    </a:lnTo>
                    <a:lnTo>
                      <a:pt x="1" y="151"/>
                    </a:lnTo>
                    <a:lnTo>
                      <a:pt x="4" y="135"/>
                    </a:lnTo>
                    <a:lnTo>
                      <a:pt x="8" y="118"/>
                    </a:lnTo>
                    <a:lnTo>
                      <a:pt x="14" y="104"/>
                    </a:lnTo>
                    <a:lnTo>
                      <a:pt x="21" y="89"/>
                    </a:lnTo>
                    <a:lnTo>
                      <a:pt x="30" y="74"/>
                    </a:lnTo>
                    <a:lnTo>
                      <a:pt x="39" y="61"/>
                    </a:lnTo>
                    <a:lnTo>
                      <a:pt x="51" y="49"/>
                    </a:lnTo>
                    <a:lnTo>
                      <a:pt x="62" y="39"/>
                    </a:lnTo>
                    <a:lnTo>
                      <a:pt x="76" y="28"/>
                    </a:lnTo>
                    <a:lnTo>
                      <a:pt x="89" y="20"/>
                    </a:lnTo>
                    <a:lnTo>
                      <a:pt x="104" y="12"/>
                    </a:lnTo>
                    <a:lnTo>
                      <a:pt x="120" y="7"/>
                    </a:lnTo>
                    <a:lnTo>
                      <a:pt x="136" y="3"/>
                    </a:lnTo>
                    <a:lnTo>
                      <a:pt x="153" y="1"/>
                    </a:lnTo>
                    <a:lnTo>
                      <a:pt x="170" y="0"/>
                    </a:lnTo>
                    <a:close/>
                  </a:path>
                </a:pathLst>
              </a:custGeom>
              <a:gradFill flip="none" rotWithShape="1">
                <a:gsLst>
                  <a:gs pos="100000">
                    <a:srgbClr val="060606"/>
                  </a:gs>
                  <a:gs pos="62000">
                    <a:srgbClr val="3C3C3C"/>
                  </a:gs>
                  <a:gs pos="45000">
                    <a:schemeClr val="tx1">
                      <a:lumMod val="75000"/>
                      <a:lumOff val="25000"/>
                    </a:schemeClr>
                  </a:gs>
                  <a:gs pos="0">
                    <a:schemeClr val="tx1"/>
                  </a:gs>
                </a:gsLst>
                <a:lin ang="5400000" scaled="1"/>
                <a:tileRect/>
              </a:gra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354" name="Freeform 28"/>
              <p:cNvSpPr>
                <a:spLocks/>
              </p:cNvSpPr>
              <p:nvPr/>
            </p:nvSpPr>
            <p:spPr bwMode="auto">
              <a:xfrm>
                <a:off x="3025576" y="546063"/>
                <a:ext cx="379388" cy="52385"/>
              </a:xfrm>
              <a:custGeom>
                <a:avLst/>
                <a:gdLst>
                  <a:gd name="T0" fmla="*/ 1360 w 1434"/>
                  <a:gd name="T1" fmla="*/ 0 h 200"/>
                  <a:gd name="T2" fmla="*/ 1375 w 1434"/>
                  <a:gd name="T3" fmla="*/ 3 h 200"/>
                  <a:gd name="T4" fmla="*/ 1388 w 1434"/>
                  <a:gd name="T5" fmla="*/ 6 h 200"/>
                  <a:gd name="T6" fmla="*/ 1401 w 1434"/>
                  <a:gd name="T7" fmla="*/ 13 h 200"/>
                  <a:gd name="T8" fmla="*/ 1412 w 1434"/>
                  <a:gd name="T9" fmla="*/ 22 h 200"/>
                  <a:gd name="T10" fmla="*/ 1421 w 1434"/>
                  <a:gd name="T11" fmla="*/ 33 h 200"/>
                  <a:gd name="T12" fmla="*/ 1428 w 1434"/>
                  <a:gd name="T13" fmla="*/ 46 h 200"/>
                  <a:gd name="T14" fmla="*/ 1433 w 1434"/>
                  <a:gd name="T15" fmla="*/ 60 h 200"/>
                  <a:gd name="T16" fmla="*/ 1434 w 1434"/>
                  <a:gd name="T17" fmla="*/ 75 h 200"/>
                  <a:gd name="T18" fmla="*/ 1434 w 1434"/>
                  <a:gd name="T19" fmla="*/ 134 h 200"/>
                  <a:gd name="T20" fmla="*/ 1430 w 1434"/>
                  <a:gd name="T21" fmla="*/ 147 h 200"/>
                  <a:gd name="T22" fmla="*/ 1425 w 1434"/>
                  <a:gd name="T23" fmla="*/ 161 h 200"/>
                  <a:gd name="T24" fmla="*/ 1417 w 1434"/>
                  <a:gd name="T25" fmla="*/ 172 h 200"/>
                  <a:gd name="T26" fmla="*/ 1407 w 1434"/>
                  <a:gd name="T27" fmla="*/ 183 h 200"/>
                  <a:gd name="T28" fmla="*/ 1395 w 1434"/>
                  <a:gd name="T29" fmla="*/ 191 h 200"/>
                  <a:gd name="T30" fmla="*/ 1381 w 1434"/>
                  <a:gd name="T31" fmla="*/ 196 h 200"/>
                  <a:gd name="T32" fmla="*/ 1367 w 1434"/>
                  <a:gd name="T33" fmla="*/ 200 h 200"/>
                  <a:gd name="T34" fmla="*/ 75 w 1434"/>
                  <a:gd name="T35" fmla="*/ 200 h 200"/>
                  <a:gd name="T36" fmla="*/ 59 w 1434"/>
                  <a:gd name="T37" fmla="*/ 199 h 200"/>
                  <a:gd name="T38" fmla="*/ 46 w 1434"/>
                  <a:gd name="T39" fmla="*/ 194 h 200"/>
                  <a:gd name="T40" fmla="*/ 33 w 1434"/>
                  <a:gd name="T41" fmla="*/ 187 h 200"/>
                  <a:gd name="T42" fmla="*/ 22 w 1434"/>
                  <a:gd name="T43" fmla="*/ 178 h 200"/>
                  <a:gd name="T44" fmla="*/ 13 w 1434"/>
                  <a:gd name="T45" fmla="*/ 167 h 200"/>
                  <a:gd name="T46" fmla="*/ 6 w 1434"/>
                  <a:gd name="T47" fmla="*/ 154 h 200"/>
                  <a:gd name="T48" fmla="*/ 2 w 1434"/>
                  <a:gd name="T49" fmla="*/ 140 h 200"/>
                  <a:gd name="T50" fmla="*/ 0 w 1434"/>
                  <a:gd name="T51" fmla="*/ 126 h 200"/>
                  <a:gd name="T52" fmla="*/ 1 w 1434"/>
                  <a:gd name="T53" fmla="*/ 68 h 200"/>
                  <a:gd name="T54" fmla="*/ 4 w 1434"/>
                  <a:gd name="T55" fmla="*/ 53 h 200"/>
                  <a:gd name="T56" fmla="*/ 9 w 1434"/>
                  <a:gd name="T57" fmla="*/ 39 h 200"/>
                  <a:gd name="T58" fmla="*/ 17 w 1434"/>
                  <a:gd name="T59" fmla="*/ 28 h 200"/>
                  <a:gd name="T60" fmla="*/ 28 w 1434"/>
                  <a:gd name="T61" fmla="*/ 17 h 200"/>
                  <a:gd name="T62" fmla="*/ 40 w 1434"/>
                  <a:gd name="T63" fmla="*/ 9 h 200"/>
                  <a:gd name="T64" fmla="*/ 53 w 1434"/>
                  <a:gd name="T65" fmla="*/ 4 h 200"/>
                  <a:gd name="T66" fmla="*/ 67 w 1434"/>
                  <a:gd name="T67" fmla="*/ 1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434" h="200">
                    <a:moveTo>
                      <a:pt x="75" y="0"/>
                    </a:moveTo>
                    <a:lnTo>
                      <a:pt x="1360" y="0"/>
                    </a:lnTo>
                    <a:lnTo>
                      <a:pt x="1367" y="1"/>
                    </a:lnTo>
                    <a:lnTo>
                      <a:pt x="1375" y="3"/>
                    </a:lnTo>
                    <a:lnTo>
                      <a:pt x="1381" y="4"/>
                    </a:lnTo>
                    <a:lnTo>
                      <a:pt x="1388" y="6"/>
                    </a:lnTo>
                    <a:lnTo>
                      <a:pt x="1395" y="9"/>
                    </a:lnTo>
                    <a:lnTo>
                      <a:pt x="1401" y="13"/>
                    </a:lnTo>
                    <a:lnTo>
                      <a:pt x="1407" y="17"/>
                    </a:lnTo>
                    <a:lnTo>
                      <a:pt x="1412" y="22"/>
                    </a:lnTo>
                    <a:lnTo>
                      <a:pt x="1417" y="28"/>
                    </a:lnTo>
                    <a:lnTo>
                      <a:pt x="1421" y="33"/>
                    </a:lnTo>
                    <a:lnTo>
                      <a:pt x="1425" y="39"/>
                    </a:lnTo>
                    <a:lnTo>
                      <a:pt x="1428" y="46"/>
                    </a:lnTo>
                    <a:lnTo>
                      <a:pt x="1430" y="53"/>
                    </a:lnTo>
                    <a:lnTo>
                      <a:pt x="1433" y="60"/>
                    </a:lnTo>
                    <a:lnTo>
                      <a:pt x="1434" y="68"/>
                    </a:lnTo>
                    <a:lnTo>
                      <a:pt x="1434" y="75"/>
                    </a:lnTo>
                    <a:lnTo>
                      <a:pt x="1434" y="126"/>
                    </a:lnTo>
                    <a:lnTo>
                      <a:pt x="1434" y="134"/>
                    </a:lnTo>
                    <a:lnTo>
                      <a:pt x="1433" y="140"/>
                    </a:lnTo>
                    <a:lnTo>
                      <a:pt x="1430" y="147"/>
                    </a:lnTo>
                    <a:lnTo>
                      <a:pt x="1428" y="154"/>
                    </a:lnTo>
                    <a:lnTo>
                      <a:pt x="1425" y="161"/>
                    </a:lnTo>
                    <a:lnTo>
                      <a:pt x="1421" y="167"/>
                    </a:lnTo>
                    <a:lnTo>
                      <a:pt x="1417" y="172"/>
                    </a:lnTo>
                    <a:lnTo>
                      <a:pt x="1412" y="178"/>
                    </a:lnTo>
                    <a:lnTo>
                      <a:pt x="1407" y="183"/>
                    </a:lnTo>
                    <a:lnTo>
                      <a:pt x="1401" y="187"/>
                    </a:lnTo>
                    <a:lnTo>
                      <a:pt x="1395" y="191"/>
                    </a:lnTo>
                    <a:lnTo>
                      <a:pt x="1388" y="194"/>
                    </a:lnTo>
                    <a:lnTo>
                      <a:pt x="1381" y="196"/>
                    </a:lnTo>
                    <a:lnTo>
                      <a:pt x="1375" y="199"/>
                    </a:lnTo>
                    <a:lnTo>
                      <a:pt x="1367" y="200"/>
                    </a:lnTo>
                    <a:lnTo>
                      <a:pt x="1360" y="200"/>
                    </a:lnTo>
                    <a:lnTo>
                      <a:pt x="75" y="200"/>
                    </a:lnTo>
                    <a:lnTo>
                      <a:pt x="67" y="200"/>
                    </a:lnTo>
                    <a:lnTo>
                      <a:pt x="59" y="199"/>
                    </a:lnTo>
                    <a:lnTo>
                      <a:pt x="53" y="196"/>
                    </a:lnTo>
                    <a:lnTo>
                      <a:pt x="46" y="194"/>
                    </a:lnTo>
                    <a:lnTo>
                      <a:pt x="40" y="191"/>
                    </a:lnTo>
                    <a:lnTo>
                      <a:pt x="33" y="187"/>
                    </a:lnTo>
                    <a:lnTo>
                      <a:pt x="28" y="183"/>
                    </a:lnTo>
                    <a:lnTo>
                      <a:pt x="22" y="178"/>
                    </a:lnTo>
                    <a:lnTo>
                      <a:pt x="17" y="172"/>
                    </a:lnTo>
                    <a:lnTo>
                      <a:pt x="13" y="167"/>
                    </a:lnTo>
                    <a:lnTo>
                      <a:pt x="9" y="161"/>
                    </a:lnTo>
                    <a:lnTo>
                      <a:pt x="6" y="154"/>
                    </a:lnTo>
                    <a:lnTo>
                      <a:pt x="4" y="147"/>
                    </a:lnTo>
                    <a:lnTo>
                      <a:pt x="2" y="140"/>
                    </a:lnTo>
                    <a:lnTo>
                      <a:pt x="1" y="134"/>
                    </a:lnTo>
                    <a:lnTo>
                      <a:pt x="0" y="126"/>
                    </a:lnTo>
                    <a:lnTo>
                      <a:pt x="0" y="75"/>
                    </a:lnTo>
                    <a:lnTo>
                      <a:pt x="1" y="68"/>
                    </a:lnTo>
                    <a:lnTo>
                      <a:pt x="2" y="60"/>
                    </a:lnTo>
                    <a:lnTo>
                      <a:pt x="4" y="53"/>
                    </a:lnTo>
                    <a:lnTo>
                      <a:pt x="6" y="46"/>
                    </a:lnTo>
                    <a:lnTo>
                      <a:pt x="9" y="39"/>
                    </a:lnTo>
                    <a:lnTo>
                      <a:pt x="13" y="33"/>
                    </a:lnTo>
                    <a:lnTo>
                      <a:pt x="17" y="28"/>
                    </a:lnTo>
                    <a:lnTo>
                      <a:pt x="22" y="22"/>
                    </a:lnTo>
                    <a:lnTo>
                      <a:pt x="28" y="17"/>
                    </a:lnTo>
                    <a:lnTo>
                      <a:pt x="33" y="13"/>
                    </a:lnTo>
                    <a:lnTo>
                      <a:pt x="40" y="9"/>
                    </a:lnTo>
                    <a:lnTo>
                      <a:pt x="46" y="6"/>
                    </a:lnTo>
                    <a:lnTo>
                      <a:pt x="53" y="4"/>
                    </a:lnTo>
                    <a:lnTo>
                      <a:pt x="59" y="3"/>
                    </a:lnTo>
                    <a:lnTo>
                      <a:pt x="67" y="1"/>
                    </a:lnTo>
                    <a:lnTo>
                      <a:pt x="75" y="0"/>
                    </a:lnTo>
                    <a:close/>
                  </a:path>
                </a:pathLst>
              </a:custGeom>
              <a:pattFill prst="pct60">
                <a:fgClr>
                  <a:schemeClr val="tx1">
                    <a:lumMod val="65000"/>
                    <a:lumOff val="35000"/>
                  </a:schemeClr>
                </a:fgClr>
                <a:bgClr>
                  <a:schemeClr val="tx1">
                    <a:lumMod val="85000"/>
                    <a:lumOff val="15000"/>
                  </a:schemeClr>
                </a:bgClr>
              </a:patt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355" name="Freeform 29"/>
              <p:cNvSpPr>
                <a:spLocks/>
              </p:cNvSpPr>
              <p:nvPr/>
            </p:nvSpPr>
            <p:spPr bwMode="auto">
              <a:xfrm>
                <a:off x="3173201" y="353990"/>
                <a:ext cx="92069" cy="90482"/>
              </a:xfrm>
              <a:custGeom>
                <a:avLst/>
                <a:gdLst>
                  <a:gd name="T0" fmla="*/ 189 w 345"/>
                  <a:gd name="T1" fmla="*/ 1 h 344"/>
                  <a:gd name="T2" fmla="*/ 224 w 345"/>
                  <a:gd name="T3" fmla="*/ 8 h 344"/>
                  <a:gd name="T4" fmla="*/ 254 w 345"/>
                  <a:gd name="T5" fmla="*/ 21 h 344"/>
                  <a:gd name="T6" fmla="*/ 282 w 345"/>
                  <a:gd name="T7" fmla="*/ 39 h 344"/>
                  <a:gd name="T8" fmla="*/ 305 w 345"/>
                  <a:gd name="T9" fmla="*/ 63 h 344"/>
                  <a:gd name="T10" fmla="*/ 324 w 345"/>
                  <a:gd name="T11" fmla="*/ 90 h 344"/>
                  <a:gd name="T12" fmla="*/ 337 w 345"/>
                  <a:gd name="T13" fmla="*/ 121 h 344"/>
                  <a:gd name="T14" fmla="*/ 343 w 345"/>
                  <a:gd name="T15" fmla="*/ 154 h 344"/>
                  <a:gd name="T16" fmla="*/ 343 w 345"/>
                  <a:gd name="T17" fmla="*/ 189 h 344"/>
                  <a:gd name="T18" fmla="*/ 337 w 345"/>
                  <a:gd name="T19" fmla="*/ 224 h 344"/>
                  <a:gd name="T20" fmla="*/ 324 w 345"/>
                  <a:gd name="T21" fmla="*/ 254 h 344"/>
                  <a:gd name="T22" fmla="*/ 305 w 345"/>
                  <a:gd name="T23" fmla="*/ 282 h 344"/>
                  <a:gd name="T24" fmla="*/ 282 w 345"/>
                  <a:gd name="T25" fmla="*/ 304 h 344"/>
                  <a:gd name="T26" fmla="*/ 254 w 345"/>
                  <a:gd name="T27" fmla="*/ 324 h 344"/>
                  <a:gd name="T28" fmla="*/ 224 w 345"/>
                  <a:gd name="T29" fmla="*/ 336 h 344"/>
                  <a:gd name="T30" fmla="*/ 189 w 345"/>
                  <a:gd name="T31" fmla="*/ 343 h 344"/>
                  <a:gd name="T32" fmla="*/ 155 w 345"/>
                  <a:gd name="T33" fmla="*/ 343 h 344"/>
                  <a:gd name="T34" fmla="*/ 121 w 345"/>
                  <a:gd name="T35" fmla="*/ 336 h 344"/>
                  <a:gd name="T36" fmla="*/ 90 w 345"/>
                  <a:gd name="T37" fmla="*/ 324 h 344"/>
                  <a:gd name="T38" fmla="*/ 63 w 345"/>
                  <a:gd name="T39" fmla="*/ 304 h 344"/>
                  <a:gd name="T40" fmla="*/ 39 w 345"/>
                  <a:gd name="T41" fmla="*/ 282 h 344"/>
                  <a:gd name="T42" fmla="*/ 21 w 345"/>
                  <a:gd name="T43" fmla="*/ 254 h 344"/>
                  <a:gd name="T44" fmla="*/ 8 w 345"/>
                  <a:gd name="T45" fmla="*/ 224 h 344"/>
                  <a:gd name="T46" fmla="*/ 1 w 345"/>
                  <a:gd name="T47" fmla="*/ 189 h 344"/>
                  <a:gd name="T48" fmla="*/ 1 w 345"/>
                  <a:gd name="T49" fmla="*/ 154 h 344"/>
                  <a:gd name="T50" fmla="*/ 8 w 345"/>
                  <a:gd name="T51" fmla="*/ 121 h 344"/>
                  <a:gd name="T52" fmla="*/ 21 w 345"/>
                  <a:gd name="T53" fmla="*/ 90 h 344"/>
                  <a:gd name="T54" fmla="*/ 39 w 345"/>
                  <a:gd name="T55" fmla="*/ 63 h 344"/>
                  <a:gd name="T56" fmla="*/ 63 w 345"/>
                  <a:gd name="T57" fmla="*/ 39 h 344"/>
                  <a:gd name="T58" fmla="*/ 90 w 345"/>
                  <a:gd name="T59" fmla="*/ 21 h 344"/>
                  <a:gd name="T60" fmla="*/ 121 w 345"/>
                  <a:gd name="T61" fmla="*/ 8 h 344"/>
                  <a:gd name="T62" fmla="*/ 155 w 345"/>
                  <a:gd name="T63" fmla="*/ 1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45" h="344">
                    <a:moveTo>
                      <a:pt x="172" y="0"/>
                    </a:moveTo>
                    <a:lnTo>
                      <a:pt x="189" y="1"/>
                    </a:lnTo>
                    <a:lnTo>
                      <a:pt x="207" y="3"/>
                    </a:lnTo>
                    <a:lnTo>
                      <a:pt x="224" y="8"/>
                    </a:lnTo>
                    <a:lnTo>
                      <a:pt x="240" y="14"/>
                    </a:lnTo>
                    <a:lnTo>
                      <a:pt x="254" y="21"/>
                    </a:lnTo>
                    <a:lnTo>
                      <a:pt x="268" y="30"/>
                    </a:lnTo>
                    <a:lnTo>
                      <a:pt x="282" y="39"/>
                    </a:lnTo>
                    <a:lnTo>
                      <a:pt x="294" y="50"/>
                    </a:lnTo>
                    <a:lnTo>
                      <a:pt x="305" y="63"/>
                    </a:lnTo>
                    <a:lnTo>
                      <a:pt x="315" y="75"/>
                    </a:lnTo>
                    <a:lnTo>
                      <a:pt x="324" y="90"/>
                    </a:lnTo>
                    <a:lnTo>
                      <a:pt x="331" y="105"/>
                    </a:lnTo>
                    <a:lnTo>
                      <a:pt x="337" y="121"/>
                    </a:lnTo>
                    <a:lnTo>
                      <a:pt x="341" y="137"/>
                    </a:lnTo>
                    <a:lnTo>
                      <a:pt x="343" y="154"/>
                    </a:lnTo>
                    <a:lnTo>
                      <a:pt x="345" y="172"/>
                    </a:lnTo>
                    <a:lnTo>
                      <a:pt x="343" y="189"/>
                    </a:lnTo>
                    <a:lnTo>
                      <a:pt x="341" y="206"/>
                    </a:lnTo>
                    <a:lnTo>
                      <a:pt x="337" y="224"/>
                    </a:lnTo>
                    <a:lnTo>
                      <a:pt x="331" y="239"/>
                    </a:lnTo>
                    <a:lnTo>
                      <a:pt x="324" y="254"/>
                    </a:lnTo>
                    <a:lnTo>
                      <a:pt x="315" y="268"/>
                    </a:lnTo>
                    <a:lnTo>
                      <a:pt x="305" y="282"/>
                    </a:lnTo>
                    <a:lnTo>
                      <a:pt x="294" y="294"/>
                    </a:lnTo>
                    <a:lnTo>
                      <a:pt x="282" y="304"/>
                    </a:lnTo>
                    <a:lnTo>
                      <a:pt x="268" y="315"/>
                    </a:lnTo>
                    <a:lnTo>
                      <a:pt x="254" y="324"/>
                    </a:lnTo>
                    <a:lnTo>
                      <a:pt x="240" y="331"/>
                    </a:lnTo>
                    <a:lnTo>
                      <a:pt x="224" y="336"/>
                    </a:lnTo>
                    <a:lnTo>
                      <a:pt x="207" y="341"/>
                    </a:lnTo>
                    <a:lnTo>
                      <a:pt x="189" y="343"/>
                    </a:lnTo>
                    <a:lnTo>
                      <a:pt x="172" y="344"/>
                    </a:lnTo>
                    <a:lnTo>
                      <a:pt x="155" y="343"/>
                    </a:lnTo>
                    <a:lnTo>
                      <a:pt x="138" y="341"/>
                    </a:lnTo>
                    <a:lnTo>
                      <a:pt x="121" y="336"/>
                    </a:lnTo>
                    <a:lnTo>
                      <a:pt x="105" y="331"/>
                    </a:lnTo>
                    <a:lnTo>
                      <a:pt x="90" y="324"/>
                    </a:lnTo>
                    <a:lnTo>
                      <a:pt x="76" y="315"/>
                    </a:lnTo>
                    <a:lnTo>
                      <a:pt x="63" y="304"/>
                    </a:lnTo>
                    <a:lnTo>
                      <a:pt x="50" y="294"/>
                    </a:lnTo>
                    <a:lnTo>
                      <a:pt x="39" y="282"/>
                    </a:lnTo>
                    <a:lnTo>
                      <a:pt x="30" y="268"/>
                    </a:lnTo>
                    <a:lnTo>
                      <a:pt x="21" y="254"/>
                    </a:lnTo>
                    <a:lnTo>
                      <a:pt x="14" y="239"/>
                    </a:lnTo>
                    <a:lnTo>
                      <a:pt x="8" y="224"/>
                    </a:lnTo>
                    <a:lnTo>
                      <a:pt x="3" y="206"/>
                    </a:lnTo>
                    <a:lnTo>
                      <a:pt x="1" y="189"/>
                    </a:lnTo>
                    <a:lnTo>
                      <a:pt x="0" y="172"/>
                    </a:lnTo>
                    <a:lnTo>
                      <a:pt x="1" y="154"/>
                    </a:lnTo>
                    <a:lnTo>
                      <a:pt x="3" y="137"/>
                    </a:lnTo>
                    <a:lnTo>
                      <a:pt x="8" y="121"/>
                    </a:lnTo>
                    <a:lnTo>
                      <a:pt x="14" y="105"/>
                    </a:lnTo>
                    <a:lnTo>
                      <a:pt x="21" y="90"/>
                    </a:lnTo>
                    <a:lnTo>
                      <a:pt x="30" y="75"/>
                    </a:lnTo>
                    <a:lnTo>
                      <a:pt x="39" y="63"/>
                    </a:lnTo>
                    <a:lnTo>
                      <a:pt x="50" y="50"/>
                    </a:lnTo>
                    <a:lnTo>
                      <a:pt x="63" y="39"/>
                    </a:lnTo>
                    <a:lnTo>
                      <a:pt x="76" y="30"/>
                    </a:lnTo>
                    <a:lnTo>
                      <a:pt x="90" y="21"/>
                    </a:lnTo>
                    <a:lnTo>
                      <a:pt x="105" y="14"/>
                    </a:lnTo>
                    <a:lnTo>
                      <a:pt x="121" y="8"/>
                    </a:lnTo>
                    <a:lnTo>
                      <a:pt x="138" y="3"/>
                    </a:lnTo>
                    <a:lnTo>
                      <a:pt x="155" y="1"/>
                    </a:lnTo>
                    <a:lnTo>
                      <a:pt x="172" y="0"/>
                    </a:lnTo>
                    <a:close/>
                  </a:path>
                </a:pathLst>
              </a:custGeom>
              <a:gradFill flip="none" rotWithShape="1">
                <a:gsLst>
                  <a:gs pos="65000">
                    <a:schemeClr val="tx1">
                      <a:lumMod val="75000"/>
                      <a:lumOff val="25000"/>
                    </a:schemeClr>
                  </a:gs>
                  <a:gs pos="0">
                    <a:schemeClr val="tx1"/>
                  </a:gs>
                </a:gsLst>
                <a:path path="circle">
                  <a:fillToRect l="50000" t="50000" r="50000" b="50000"/>
                </a:path>
                <a:tileRect/>
              </a:gra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356" name="Freeform 30"/>
              <p:cNvSpPr>
                <a:spLocks/>
              </p:cNvSpPr>
              <p:nvPr/>
            </p:nvSpPr>
            <p:spPr bwMode="auto">
              <a:xfrm>
                <a:off x="3197034" y="376211"/>
                <a:ext cx="44447" cy="44447"/>
              </a:xfrm>
              <a:custGeom>
                <a:avLst/>
                <a:gdLst>
                  <a:gd name="T0" fmla="*/ 93 w 169"/>
                  <a:gd name="T1" fmla="*/ 0 h 169"/>
                  <a:gd name="T2" fmla="*/ 109 w 169"/>
                  <a:gd name="T3" fmla="*/ 3 h 169"/>
                  <a:gd name="T4" fmla="*/ 124 w 169"/>
                  <a:gd name="T5" fmla="*/ 10 h 169"/>
                  <a:gd name="T6" fmla="*/ 138 w 169"/>
                  <a:gd name="T7" fmla="*/ 19 h 169"/>
                  <a:gd name="T8" fmla="*/ 149 w 169"/>
                  <a:gd name="T9" fmla="*/ 31 h 169"/>
                  <a:gd name="T10" fmla="*/ 158 w 169"/>
                  <a:gd name="T11" fmla="*/ 43 h 169"/>
                  <a:gd name="T12" fmla="*/ 165 w 169"/>
                  <a:gd name="T13" fmla="*/ 59 h 169"/>
                  <a:gd name="T14" fmla="*/ 169 w 169"/>
                  <a:gd name="T15" fmla="*/ 75 h 169"/>
                  <a:gd name="T16" fmla="*/ 169 w 169"/>
                  <a:gd name="T17" fmla="*/ 92 h 169"/>
                  <a:gd name="T18" fmla="*/ 165 w 169"/>
                  <a:gd name="T19" fmla="*/ 109 h 169"/>
                  <a:gd name="T20" fmla="*/ 158 w 169"/>
                  <a:gd name="T21" fmla="*/ 124 h 169"/>
                  <a:gd name="T22" fmla="*/ 149 w 169"/>
                  <a:gd name="T23" fmla="*/ 138 h 169"/>
                  <a:gd name="T24" fmla="*/ 138 w 169"/>
                  <a:gd name="T25" fmla="*/ 149 h 169"/>
                  <a:gd name="T26" fmla="*/ 124 w 169"/>
                  <a:gd name="T27" fmla="*/ 158 h 169"/>
                  <a:gd name="T28" fmla="*/ 109 w 169"/>
                  <a:gd name="T29" fmla="*/ 165 h 169"/>
                  <a:gd name="T30" fmla="*/ 93 w 169"/>
                  <a:gd name="T31" fmla="*/ 169 h 169"/>
                  <a:gd name="T32" fmla="*/ 75 w 169"/>
                  <a:gd name="T33" fmla="*/ 169 h 169"/>
                  <a:gd name="T34" fmla="*/ 59 w 169"/>
                  <a:gd name="T35" fmla="*/ 165 h 169"/>
                  <a:gd name="T36" fmla="*/ 44 w 169"/>
                  <a:gd name="T37" fmla="*/ 158 h 169"/>
                  <a:gd name="T38" fmla="*/ 31 w 169"/>
                  <a:gd name="T39" fmla="*/ 149 h 169"/>
                  <a:gd name="T40" fmla="*/ 19 w 169"/>
                  <a:gd name="T41" fmla="*/ 138 h 169"/>
                  <a:gd name="T42" fmla="*/ 10 w 169"/>
                  <a:gd name="T43" fmla="*/ 124 h 169"/>
                  <a:gd name="T44" fmla="*/ 3 w 169"/>
                  <a:gd name="T45" fmla="*/ 109 h 169"/>
                  <a:gd name="T46" fmla="*/ 0 w 169"/>
                  <a:gd name="T47" fmla="*/ 92 h 169"/>
                  <a:gd name="T48" fmla="*/ 0 w 169"/>
                  <a:gd name="T49" fmla="*/ 75 h 169"/>
                  <a:gd name="T50" fmla="*/ 3 w 169"/>
                  <a:gd name="T51" fmla="*/ 59 h 169"/>
                  <a:gd name="T52" fmla="*/ 10 w 169"/>
                  <a:gd name="T53" fmla="*/ 43 h 169"/>
                  <a:gd name="T54" fmla="*/ 19 w 169"/>
                  <a:gd name="T55" fmla="*/ 31 h 169"/>
                  <a:gd name="T56" fmla="*/ 31 w 169"/>
                  <a:gd name="T57" fmla="*/ 19 h 169"/>
                  <a:gd name="T58" fmla="*/ 44 w 169"/>
                  <a:gd name="T59" fmla="*/ 10 h 169"/>
                  <a:gd name="T60" fmla="*/ 59 w 169"/>
                  <a:gd name="T61" fmla="*/ 3 h 169"/>
                  <a:gd name="T62" fmla="*/ 75 w 169"/>
                  <a:gd name="T63" fmla="*/ 0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69" h="169">
                    <a:moveTo>
                      <a:pt x="84" y="0"/>
                    </a:moveTo>
                    <a:lnTo>
                      <a:pt x="93" y="0"/>
                    </a:lnTo>
                    <a:lnTo>
                      <a:pt x="101" y="1"/>
                    </a:lnTo>
                    <a:lnTo>
                      <a:pt x="109" y="3"/>
                    </a:lnTo>
                    <a:lnTo>
                      <a:pt x="117" y="6"/>
                    </a:lnTo>
                    <a:lnTo>
                      <a:pt x="124" y="10"/>
                    </a:lnTo>
                    <a:lnTo>
                      <a:pt x="132" y="14"/>
                    </a:lnTo>
                    <a:lnTo>
                      <a:pt x="138" y="19"/>
                    </a:lnTo>
                    <a:lnTo>
                      <a:pt x="145" y="24"/>
                    </a:lnTo>
                    <a:lnTo>
                      <a:pt x="149" y="31"/>
                    </a:lnTo>
                    <a:lnTo>
                      <a:pt x="155" y="36"/>
                    </a:lnTo>
                    <a:lnTo>
                      <a:pt x="158" y="43"/>
                    </a:lnTo>
                    <a:lnTo>
                      <a:pt x="162" y="51"/>
                    </a:lnTo>
                    <a:lnTo>
                      <a:pt x="165" y="59"/>
                    </a:lnTo>
                    <a:lnTo>
                      <a:pt x="168" y="67"/>
                    </a:lnTo>
                    <a:lnTo>
                      <a:pt x="169" y="75"/>
                    </a:lnTo>
                    <a:lnTo>
                      <a:pt x="169" y="84"/>
                    </a:lnTo>
                    <a:lnTo>
                      <a:pt x="169" y="92"/>
                    </a:lnTo>
                    <a:lnTo>
                      <a:pt x="168" y="101"/>
                    </a:lnTo>
                    <a:lnTo>
                      <a:pt x="165" y="109"/>
                    </a:lnTo>
                    <a:lnTo>
                      <a:pt x="162" y="117"/>
                    </a:lnTo>
                    <a:lnTo>
                      <a:pt x="158" y="124"/>
                    </a:lnTo>
                    <a:lnTo>
                      <a:pt x="155" y="131"/>
                    </a:lnTo>
                    <a:lnTo>
                      <a:pt x="149" y="138"/>
                    </a:lnTo>
                    <a:lnTo>
                      <a:pt x="145" y="143"/>
                    </a:lnTo>
                    <a:lnTo>
                      <a:pt x="138" y="149"/>
                    </a:lnTo>
                    <a:lnTo>
                      <a:pt x="132" y="155"/>
                    </a:lnTo>
                    <a:lnTo>
                      <a:pt x="124" y="158"/>
                    </a:lnTo>
                    <a:lnTo>
                      <a:pt x="117" y="162"/>
                    </a:lnTo>
                    <a:lnTo>
                      <a:pt x="109" y="165"/>
                    </a:lnTo>
                    <a:lnTo>
                      <a:pt x="101" y="167"/>
                    </a:lnTo>
                    <a:lnTo>
                      <a:pt x="93" y="169"/>
                    </a:lnTo>
                    <a:lnTo>
                      <a:pt x="84" y="169"/>
                    </a:lnTo>
                    <a:lnTo>
                      <a:pt x="75" y="169"/>
                    </a:lnTo>
                    <a:lnTo>
                      <a:pt x="67" y="167"/>
                    </a:lnTo>
                    <a:lnTo>
                      <a:pt x="59" y="165"/>
                    </a:lnTo>
                    <a:lnTo>
                      <a:pt x="51" y="162"/>
                    </a:lnTo>
                    <a:lnTo>
                      <a:pt x="44" y="158"/>
                    </a:lnTo>
                    <a:lnTo>
                      <a:pt x="36" y="155"/>
                    </a:lnTo>
                    <a:lnTo>
                      <a:pt x="31" y="149"/>
                    </a:lnTo>
                    <a:lnTo>
                      <a:pt x="24" y="143"/>
                    </a:lnTo>
                    <a:lnTo>
                      <a:pt x="19" y="138"/>
                    </a:lnTo>
                    <a:lnTo>
                      <a:pt x="14" y="131"/>
                    </a:lnTo>
                    <a:lnTo>
                      <a:pt x="10" y="124"/>
                    </a:lnTo>
                    <a:lnTo>
                      <a:pt x="6" y="117"/>
                    </a:lnTo>
                    <a:lnTo>
                      <a:pt x="3" y="109"/>
                    </a:lnTo>
                    <a:lnTo>
                      <a:pt x="1" y="101"/>
                    </a:lnTo>
                    <a:lnTo>
                      <a:pt x="0" y="92"/>
                    </a:lnTo>
                    <a:lnTo>
                      <a:pt x="0" y="84"/>
                    </a:lnTo>
                    <a:lnTo>
                      <a:pt x="0" y="75"/>
                    </a:lnTo>
                    <a:lnTo>
                      <a:pt x="1" y="67"/>
                    </a:lnTo>
                    <a:lnTo>
                      <a:pt x="3" y="59"/>
                    </a:lnTo>
                    <a:lnTo>
                      <a:pt x="6" y="51"/>
                    </a:lnTo>
                    <a:lnTo>
                      <a:pt x="10" y="43"/>
                    </a:lnTo>
                    <a:lnTo>
                      <a:pt x="14" y="36"/>
                    </a:lnTo>
                    <a:lnTo>
                      <a:pt x="19" y="31"/>
                    </a:lnTo>
                    <a:lnTo>
                      <a:pt x="24" y="24"/>
                    </a:lnTo>
                    <a:lnTo>
                      <a:pt x="31" y="19"/>
                    </a:lnTo>
                    <a:lnTo>
                      <a:pt x="36" y="14"/>
                    </a:lnTo>
                    <a:lnTo>
                      <a:pt x="44" y="10"/>
                    </a:lnTo>
                    <a:lnTo>
                      <a:pt x="51" y="6"/>
                    </a:lnTo>
                    <a:lnTo>
                      <a:pt x="59" y="3"/>
                    </a:lnTo>
                    <a:lnTo>
                      <a:pt x="67" y="1"/>
                    </a:lnTo>
                    <a:lnTo>
                      <a:pt x="75" y="0"/>
                    </a:lnTo>
                    <a:lnTo>
                      <a:pt x="84" y="0"/>
                    </a:lnTo>
                    <a:close/>
                  </a:path>
                </a:pathLst>
              </a:custGeom>
              <a:gradFill flip="none" rotWithShape="1">
                <a:gsLst>
                  <a:gs pos="0">
                    <a:srgbClr val="00B0F0"/>
                  </a:gs>
                  <a:gs pos="74000">
                    <a:srgbClr val="002060"/>
                  </a:gs>
                </a:gsLst>
                <a:path path="circle">
                  <a:fillToRect l="50000" t="50000" r="50000" b="50000"/>
                </a:path>
                <a:tileRect/>
              </a:gra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357" name="Freeform 31"/>
              <p:cNvSpPr>
                <a:spLocks/>
              </p:cNvSpPr>
              <p:nvPr/>
            </p:nvSpPr>
            <p:spPr bwMode="auto">
              <a:xfrm>
                <a:off x="3203377" y="393675"/>
                <a:ext cx="12699" cy="12699"/>
              </a:xfrm>
              <a:custGeom>
                <a:avLst/>
                <a:gdLst>
                  <a:gd name="T0" fmla="*/ 23 w 46"/>
                  <a:gd name="T1" fmla="*/ 0 h 47"/>
                  <a:gd name="T2" fmla="*/ 27 w 46"/>
                  <a:gd name="T3" fmla="*/ 1 h 47"/>
                  <a:gd name="T4" fmla="*/ 32 w 46"/>
                  <a:gd name="T5" fmla="*/ 2 h 47"/>
                  <a:gd name="T6" fmla="*/ 35 w 46"/>
                  <a:gd name="T7" fmla="*/ 5 h 47"/>
                  <a:gd name="T8" fmla="*/ 39 w 46"/>
                  <a:gd name="T9" fmla="*/ 7 h 47"/>
                  <a:gd name="T10" fmla="*/ 42 w 46"/>
                  <a:gd name="T11" fmla="*/ 10 h 47"/>
                  <a:gd name="T12" fmla="*/ 45 w 46"/>
                  <a:gd name="T13" fmla="*/ 15 h 47"/>
                  <a:gd name="T14" fmla="*/ 46 w 46"/>
                  <a:gd name="T15" fmla="*/ 18 h 47"/>
                  <a:gd name="T16" fmla="*/ 46 w 46"/>
                  <a:gd name="T17" fmla="*/ 24 h 47"/>
                  <a:gd name="T18" fmla="*/ 46 w 46"/>
                  <a:gd name="T19" fmla="*/ 28 h 47"/>
                  <a:gd name="T20" fmla="*/ 45 w 46"/>
                  <a:gd name="T21" fmla="*/ 32 h 47"/>
                  <a:gd name="T22" fmla="*/ 42 w 46"/>
                  <a:gd name="T23" fmla="*/ 36 h 47"/>
                  <a:gd name="T24" fmla="*/ 39 w 46"/>
                  <a:gd name="T25" fmla="*/ 40 h 47"/>
                  <a:gd name="T26" fmla="*/ 35 w 46"/>
                  <a:gd name="T27" fmla="*/ 42 h 47"/>
                  <a:gd name="T28" fmla="*/ 32 w 46"/>
                  <a:gd name="T29" fmla="*/ 44 h 47"/>
                  <a:gd name="T30" fmla="*/ 27 w 46"/>
                  <a:gd name="T31" fmla="*/ 46 h 47"/>
                  <a:gd name="T32" fmla="*/ 23 w 46"/>
                  <a:gd name="T33" fmla="*/ 47 h 47"/>
                  <a:gd name="T34" fmla="*/ 18 w 46"/>
                  <a:gd name="T35" fmla="*/ 46 h 47"/>
                  <a:gd name="T36" fmla="*/ 14 w 46"/>
                  <a:gd name="T37" fmla="*/ 44 h 47"/>
                  <a:gd name="T38" fmla="*/ 10 w 46"/>
                  <a:gd name="T39" fmla="*/ 42 h 47"/>
                  <a:gd name="T40" fmla="*/ 7 w 46"/>
                  <a:gd name="T41" fmla="*/ 40 h 47"/>
                  <a:gd name="T42" fmla="*/ 4 w 46"/>
                  <a:gd name="T43" fmla="*/ 36 h 47"/>
                  <a:gd name="T44" fmla="*/ 1 w 46"/>
                  <a:gd name="T45" fmla="*/ 32 h 47"/>
                  <a:gd name="T46" fmla="*/ 0 w 46"/>
                  <a:gd name="T47" fmla="*/ 28 h 47"/>
                  <a:gd name="T48" fmla="*/ 0 w 46"/>
                  <a:gd name="T49" fmla="*/ 24 h 47"/>
                  <a:gd name="T50" fmla="*/ 0 w 46"/>
                  <a:gd name="T51" fmla="*/ 18 h 47"/>
                  <a:gd name="T52" fmla="*/ 1 w 46"/>
                  <a:gd name="T53" fmla="*/ 15 h 47"/>
                  <a:gd name="T54" fmla="*/ 4 w 46"/>
                  <a:gd name="T55" fmla="*/ 10 h 47"/>
                  <a:gd name="T56" fmla="*/ 7 w 46"/>
                  <a:gd name="T57" fmla="*/ 7 h 47"/>
                  <a:gd name="T58" fmla="*/ 10 w 46"/>
                  <a:gd name="T59" fmla="*/ 5 h 47"/>
                  <a:gd name="T60" fmla="*/ 14 w 46"/>
                  <a:gd name="T61" fmla="*/ 2 h 47"/>
                  <a:gd name="T62" fmla="*/ 18 w 46"/>
                  <a:gd name="T63" fmla="*/ 1 h 47"/>
                  <a:gd name="T64" fmla="*/ 23 w 46"/>
                  <a:gd name="T65"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6" h="47">
                    <a:moveTo>
                      <a:pt x="23" y="0"/>
                    </a:moveTo>
                    <a:lnTo>
                      <a:pt x="27" y="1"/>
                    </a:lnTo>
                    <a:lnTo>
                      <a:pt x="32" y="2"/>
                    </a:lnTo>
                    <a:lnTo>
                      <a:pt x="35" y="5"/>
                    </a:lnTo>
                    <a:lnTo>
                      <a:pt x="39" y="7"/>
                    </a:lnTo>
                    <a:lnTo>
                      <a:pt x="42" y="10"/>
                    </a:lnTo>
                    <a:lnTo>
                      <a:pt x="45" y="15"/>
                    </a:lnTo>
                    <a:lnTo>
                      <a:pt x="46" y="18"/>
                    </a:lnTo>
                    <a:lnTo>
                      <a:pt x="46" y="24"/>
                    </a:lnTo>
                    <a:lnTo>
                      <a:pt x="46" y="28"/>
                    </a:lnTo>
                    <a:lnTo>
                      <a:pt x="45" y="32"/>
                    </a:lnTo>
                    <a:lnTo>
                      <a:pt x="42" y="36"/>
                    </a:lnTo>
                    <a:lnTo>
                      <a:pt x="39" y="40"/>
                    </a:lnTo>
                    <a:lnTo>
                      <a:pt x="35" y="42"/>
                    </a:lnTo>
                    <a:lnTo>
                      <a:pt x="32" y="44"/>
                    </a:lnTo>
                    <a:lnTo>
                      <a:pt x="27" y="46"/>
                    </a:lnTo>
                    <a:lnTo>
                      <a:pt x="23" y="47"/>
                    </a:lnTo>
                    <a:lnTo>
                      <a:pt x="18" y="46"/>
                    </a:lnTo>
                    <a:lnTo>
                      <a:pt x="14" y="44"/>
                    </a:lnTo>
                    <a:lnTo>
                      <a:pt x="10" y="42"/>
                    </a:lnTo>
                    <a:lnTo>
                      <a:pt x="7" y="40"/>
                    </a:lnTo>
                    <a:lnTo>
                      <a:pt x="4" y="36"/>
                    </a:lnTo>
                    <a:lnTo>
                      <a:pt x="1" y="32"/>
                    </a:lnTo>
                    <a:lnTo>
                      <a:pt x="0" y="28"/>
                    </a:lnTo>
                    <a:lnTo>
                      <a:pt x="0" y="24"/>
                    </a:lnTo>
                    <a:lnTo>
                      <a:pt x="0" y="18"/>
                    </a:lnTo>
                    <a:lnTo>
                      <a:pt x="1" y="15"/>
                    </a:lnTo>
                    <a:lnTo>
                      <a:pt x="4" y="10"/>
                    </a:lnTo>
                    <a:lnTo>
                      <a:pt x="7" y="7"/>
                    </a:lnTo>
                    <a:lnTo>
                      <a:pt x="10" y="5"/>
                    </a:lnTo>
                    <a:lnTo>
                      <a:pt x="14" y="2"/>
                    </a:lnTo>
                    <a:lnTo>
                      <a:pt x="18" y="1"/>
                    </a:lnTo>
                    <a:lnTo>
                      <a:pt x="23" y="0"/>
                    </a:lnTo>
                    <a:close/>
                  </a:path>
                </a:pathLst>
              </a:custGeom>
              <a:solidFill>
                <a:srgbClr val="E6E7E8">
                  <a:alpha val="50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358" name="Freeform 32"/>
              <p:cNvSpPr>
                <a:spLocks/>
              </p:cNvSpPr>
              <p:nvPr/>
            </p:nvSpPr>
            <p:spPr bwMode="auto">
              <a:xfrm>
                <a:off x="3224213" y="387350"/>
                <a:ext cx="7938" cy="7938"/>
              </a:xfrm>
              <a:custGeom>
                <a:avLst/>
                <a:gdLst>
                  <a:gd name="T0" fmla="*/ 15 w 30"/>
                  <a:gd name="T1" fmla="*/ 0 h 31"/>
                  <a:gd name="T2" fmla="*/ 18 w 30"/>
                  <a:gd name="T3" fmla="*/ 0 h 31"/>
                  <a:gd name="T4" fmla="*/ 20 w 30"/>
                  <a:gd name="T5" fmla="*/ 1 h 31"/>
                  <a:gd name="T6" fmla="*/ 24 w 30"/>
                  <a:gd name="T7" fmla="*/ 2 h 31"/>
                  <a:gd name="T8" fmla="*/ 26 w 30"/>
                  <a:gd name="T9" fmla="*/ 4 h 31"/>
                  <a:gd name="T10" fmla="*/ 27 w 30"/>
                  <a:gd name="T11" fmla="*/ 7 h 31"/>
                  <a:gd name="T12" fmla="*/ 29 w 30"/>
                  <a:gd name="T13" fmla="*/ 9 h 31"/>
                  <a:gd name="T14" fmla="*/ 29 w 30"/>
                  <a:gd name="T15" fmla="*/ 11 h 31"/>
                  <a:gd name="T16" fmla="*/ 30 w 30"/>
                  <a:gd name="T17" fmla="*/ 15 h 31"/>
                  <a:gd name="T18" fmla="*/ 29 w 30"/>
                  <a:gd name="T19" fmla="*/ 18 h 31"/>
                  <a:gd name="T20" fmla="*/ 29 w 30"/>
                  <a:gd name="T21" fmla="*/ 20 h 31"/>
                  <a:gd name="T22" fmla="*/ 27 w 30"/>
                  <a:gd name="T23" fmla="*/ 24 h 31"/>
                  <a:gd name="T24" fmla="*/ 26 w 30"/>
                  <a:gd name="T25" fmla="*/ 26 h 31"/>
                  <a:gd name="T26" fmla="*/ 24 w 30"/>
                  <a:gd name="T27" fmla="*/ 27 h 31"/>
                  <a:gd name="T28" fmla="*/ 20 w 30"/>
                  <a:gd name="T29" fmla="*/ 28 h 31"/>
                  <a:gd name="T30" fmla="*/ 18 w 30"/>
                  <a:gd name="T31" fmla="*/ 30 h 31"/>
                  <a:gd name="T32" fmla="*/ 15 w 30"/>
                  <a:gd name="T33" fmla="*/ 31 h 31"/>
                  <a:gd name="T34" fmla="*/ 11 w 30"/>
                  <a:gd name="T35" fmla="*/ 30 h 31"/>
                  <a:gd name="T36" fmla="*/ 9 w 30"/>
                  <a:gd name="T37" fmla="*/ 28 h 31"/>
                  <a:gd name="T38" fmla="*/ 7 w 30"/>
                  <a:gd name="T39" fmla="*/ 27 h 31"/>
                  <a:gd name="T40" fmla="*/ 4 w 30"/>
                  <a:gd name="T41" fmla="*/ 26 h 31"/>
                  <a:gd name="T42" fmla="*/ 2 w 30"/>
                  <a:gd name="T43" fmla="*/ 24 h 31"/>
                  <a:gd name="T44" fmla="*/ 1 w 30"/>
                  <a:gd name="T45" fmla="*/ 20 h 31"/>
                  <a:gd name="T46" fmla="*/ 0 w 30"/>
                  <a:gd name="T47" fmla="*/ 18 h 31"/>
                  <a:gd name="T48" fmla="*/ 0 w 30"/>
                  <a:gd name="T49" fmla="*/ 15 h 31"/>
                  <a:gd name="T50" fmla="*/ 0 w 30"/>
                  <a:gd name="T51" fmla="*/ 11 h 31"/>
                  <a:gd name="T52" fmla="*/ 1 w 30"/>
                  <a:gd name="T53" fmla="*/ 9 h 31"/>
                  <a:gd name="T54" fmla="*/ 2 w 30"/>
                  <a:gd name="T55" fmla="*/ 7 h 31"/>
                  <a:gd name="T56" fmla="*/ 4 w 30"/>
                  <a:gd name="T57" fmla="*/ 4 h 31"/>
                  <a:gd name="T58" fmla="*/ 7 w 30"/>
                  <a:gd name="T59" fmla="*/ 2 h 31"/>
                  <a:gd name="T60" fmla="*/ 9 w 30"/>
                  <a:gd name="T61" fmla="*/ 1 h 31"/>
                  <a:gd name="T62" fmla="*/ 11 w 30"/>
                  <a:gd name="T63" fmla="*/ 0 h 31"/>
                  <a:gd name="T64" fmla="*/ 15 w 30"/>
                  <a:gd name="T65"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0" h="31">
                    <a:moveTo>
                      <a:pt x="15" y="0"/>
                    </a:moveTo>
                    <a:lnTo>
                      <a:pt x="18" y="0"/>
                    </a:lnTo>
                    <a:lnTo>
                      <a:pt x="20" y="1"/>
                    </a:lnTo>
                    <a:lnTo>
                      <a:pt x="24" y="2"/>
                    </a:lnTo>
                    <a:lnTo>
                      <a:pt x="26" y="4"/>
                    </a:lnTo>
                    <a:lnTo>
                      <a:pt x="27" y="7"/>
                    </a:lnTo>
                    <a:lnTo>
                      <a:pt x="29" y="9"/>
                    </a:lnTo>
                    <a:lnTo>
                      <a:pt x="29" y="11"/>
                    </a:lnTo>
                    <a:lnTo>
                      <a:pt x="30" y="15"/>
                    </a:lnTo>
                    <a:lnTo>
                      <a:pt x="29" y="18"/>
                    </a:lnTo>
                    <a:lnTo>
                      <a:pt x="29" y="20"/>
                    </a:lnTo>
                    <a:lnTo>
                      <a:pt x="27" y="24"/>
                    </a:lnTo>
                    <a:lnTo>
                      <a:pt x="26" y="26"/>
                    </a:lnTo>
                    <a:lnTo>
                      <a:pt x="24" y="27"/>
                    </a:lnTo>
                    <a:lnTo>
                      <a:pt x="20" y="28"/>
                    </a:lnTo>
                    <a:lnTo>
                      <a:pt x="18" y="30"/>
                    </a:lnTo>
                    <a:lnTo>
                      <a:pt x="15" y="31"/>
                    </a:lnTo>
                    <a:lnTo>
                      <a:pt x="11" y="30"/>
                    </a:lnTo>
                    <a:lnTo>
                      <a:pt x="9" y="28"/>
                    </a:lnTo>
                    <a:lnTo>
                      <a:pt x="7" y="27"/>
                    </a:lnTo>
                    <a:lnTo>
                      <a:pt x="4" y="26"/>
                    </a:lnTo>
                    <a:lnTo>
                      <a:pt x="2" y="24"/>
                    </a:lnTo>
                    <a:lnTo>
                      <a:pt x="1" y="20"/>
                    </a:lnTo>
                    <a:lnTo>
                      <a:pt x="0" y="18"/>
                    </a:lnTo>
                    <a:lnTo>
                      <a:pt x="0" y="15"/>
                    </a:lnTo>
                    <a:lnTo>
                      <a:pt x="0" y="11"/>
                    </a:lnTo>
                    <a:lnTo>
                      <a:pt x="1" y="9"/>
                    </a:lnTo>
                    <a:lnTo>
                      <a:pt x="2" y="7"/>
                    </a:lnTo>
                    <a:lnTo>
                      <a:pt x="4" y="4"/>
                    </a:lnTo>
                    <a:lnTo>
                      <a:pt x="7" y="2"/>
                    </a:lnTo>
                    <a:lnTo>
                      <a:pt x="9" y="1"/>
                    </a:lnTo>
                    <a:lnTo>
                      <a:pt x="11" y="0"/>
                    </a:lnTo>
                    <a:lnTo>
                      <a:pt x="15" y="0"/>
                    </a:lnTo>
                    <a:close/>
                  </a:path>
                </a:pathLst>
              </a:custGeom>
              <a:solidFill>
                <a:srgbClr val="E6E7E8">
                  <a:alpha val="50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grpSp>
      </p:grpSp>
      <p:grpSp>
        <p:nvGrpSpPr>
          <p:cNvPr id="161" name="Group 160"/>
          <p:cNvGrpSpPr/>
          <p:nvPr/>
        </p:nvGrpSpPr>
        <p:grpSpPr>
          <a:xfrm>
            <a:off x="8848589" y="5309526"/>
            <a:ext cx="1513661" cy="822510"/>
            <a:chOff x="990251" y="5414562"/>
            <a:chExt cx="1619250" cy="879886"/>
          </a:xfrm>
        </p:grpSpPr>
        <p:cxnSp>
          <p:nvCxnSpPr>
            <p:cNvPr id="165" name="Straight Connector 164"/>
            <p:cNvCxnSpPr/>
            <p:nvPr/>
          </p:nvCxnSpPr>
          <p:spPr>
            <a:xfrm>
              <a:off x="1706415" y="5676343"/>
              <a:ext cx="186922" cy="0"/>
            </a:xfrm>
            <a:prstGeom prst="line">
              <a:avLst/>
            </a:prstGeom>
            <a:ln w="28575">
              <a:solidFill>
                <a:srgbClr val="3B3939"/>
              </a:solidFill>
            </a:ln>
          </p:spPr>
          <p:style>
            <a:lnRef idx="1">
              <a:schemeClr val="accent1"/>
            </a:lnRef>
            <a:fillRef idx="0">
              <a:schemeClr val="accent1"/>
            </a:fillRef>
            <a:effectRef idx="0">
              <a:schemeClr val="accent1"/>
            </a:effectRef>
            <a:fontRef idx="minor">
              <a:schemeClr val="tx1"/>
            </a:fontRef>
          </p:style>
        </p:cxnSp>
        <p:sp>
          <p:nvSpPr>
            <p:cNvPr id="166" name="TextBox 165"/>
            <p:cNvSpPr txBox="1"/>
            <p:nvPr/>
          </p:nvSpPr>
          <p:spPr>
            <a:xfrm>
              <a:off x="990251" y="5800578"/>
              <a:ext cx="1619250" cy="493870"/>
            </a:xfrm>
            <a:prstGeom prst="rect">
              <a:avLst/>
            </a:prstGeom>
            <a:noFill/>
            <a:ln w="6350">
              <a:noFill/>
              <a:prstDash val="dash"/>
            </a:ln>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err="1">
                  <a:ln>
                    <a:noFill/>
                  </a:ln>
                  <a:effectLst/>
                  <a:uLnTx/>
                  <a:uFillTx/>
                  <a:ea typeface="+mn-ea"/>
                  <a:cs typeface="+mn-cs"/>
                </a:rPr>
                <a:t>Lorem</a:t>
              </a:r>
              <a:r>
                <a:rPr kumimoji="0" lang="en-US" sz="1000" b="0" i="0" u="none" strike="noStrike" kern="1200" cap="none" spc="0" normalizeH="0" baseline="0" noProof="0" dirty="0">
                  <a:ln>
                    <a:noFill/>
                  </a:ln>
                  <a:effectLst/>
                  <a:uLnTx/>
                  <a:uFillTx/>
                  <a:ea typeface="+mn-ea"/>
                  <a:cs typeface="+mn-cs"/>
                </a:rPr>
                <a:t> </a:t>
              </a:r>
              <a:r>
                <a:rPr kumimoji="0" lang="en-US" sz="1000" b="0" i="0" u="none" strike="noStrike" kern="1200" cap="none" spc="0" normalizeH="0" baseline="0" noProof="0" dirty="0" err="1">
                  <a:ln>
                    <a:noFill/>
                  </a:ln>
                  <a:effectLst/>
                  <a:uLnTx/>
                  <a:uFillTx/>
                  <a:ea typeface="+mn-ea"/>
                  <a:cs typeface="+mn-cs"/>
                </a:rPr>
                <a:t>Ipsum</a:t>
              </a:r>
              <a:r>
                <a:rPr kumimoji="0" lang="en-US" sz="1000" b="0" i="0" u="none" strike="noStrike" kern="1200" cap="none" spc="0" normalizeH="0" baseline="0" noProof="0" dirty="0">
                  <a:ln>
                    <a:noFill/>
                  </a:ln>
                  <a:effectLst/>
                  <a:uLnTx/>
                  <a:uFillTx/>
                  <a:ea typeface="+mn-ea"/>
                  <a:cs typeface="+mn-cs"/>
                </a:rPr>
                <a:t> is simply dummy text of the printing and typesetting industry. </a:t>
              </a:r>
            </a:p>
          </p:txBody>
        </p:sp>
        <p:sp>
          <p:nvSpPr>
            <p:cNvPr id="167" name="TextBox 166"/>
            <p:cNvSpPr txBox="1"/>
            <p:nvPr/>
          </p:nvSpPr>
          <p:spPr>
            <a:xfrm>
              <a:off x="990251" y="5414562"/>
              <a:ext cx="1619250" cy="230473"/>
            </a:xfrm>
            <a:prstGeom prst="rect">
              <a:avLst/>
            </a:prstGeom>
            <a:noFill/>
            <a:ln w="6350">
              <a:noFill/>
              <a:prstDash val="dash"/>
            </a:ln>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3B3939"/>
                  </a:solidFill>
                  <a:effectLst/>
                  <a:uLnTx/>
                  <a:uFillTx/>
                  <a:ea typeface="+mn-ea"/>
                  <a:cs typeface="+mn-cs"/>
                </a:rPr>
                <a:t>2012</a:t>
              </a:r>
            </a:p>
          </p:txBody>
        </p:sp>
      </p:grpSp>
      <p:sp>
        <p:nvSpPr>
          <p:cNvPr id="164" name="Rounded Rectangle 163"/>
          <p:cNvSpPr/>
          <p:nvPr/>
        </p:nvSpPr>
        <p:spPr>
          <a:xfrm>
            <a:off x="9233355" y="6191560"/>
            <a:ext cx="744131" cy="139636"/>
          </a:xfrm>
          <a:prstGeom prst="roundRect">
            <a:avLst/>
          </a:prstGeom>
          <a:solidFill>
            <a:srgbClr val="3B3939"/>
          </a:solidFill>
          <a:ln>
            <a:noFill/>
          </a:ln>
        </p:spPr>
        <p:style>
          <a:lnRef idx="2">
            <a:schemeClr val="accent1">
              <a:shade val="50000"/>
            </a:schemeClr>
          </a:lnRef>
          <a:fillRef idx="1">
            <a:schemeClr val="accent1"/>
          </a:fillRef>
          <a:effectRef idx="0">
            <a:schemeClr val="accent1"/>
          </a:effectRef>
          <a:fontRef idx="minor">
            <a:schemeClr val="lt1"/>
          </a:fontRef>
        </p:style>
        <p:txBody>
          <a:bodyPr lIns="46800" tIns="46800" rIns="46800" bIns="468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prstClr val="white"/>
                </a:solidFill>
                <a:effectLst/>
                <a:uLnTx/>
                <a:uFillTx/>
                <a:latin typeface="Calibri"/>
                <a:ea typeface="+mn-ea"/>
                <a:cs typeface="+mn-cs"/>
              </a:rPr>
              <a:t>READ MORE</a:t>
            </a:r>
          </a:p>
        </p:txBody>
      </p:sp>
      <p:pic>
        <p:nvPicPr>
          <p:cNvPr id="385" name="Picture Placeholder 124"/>
          <p:cNvPicPr>
            <a:picLocks noChangeAspect="1"/>
          </p:cNvPicPr>
          <p:nvPr/>
        </p:nvPicPr>
        <p:blipFill>
          <a:blip r:embed="rId5" cstate="screen">
            <a:extLst>
              <a:ext uri="{28A0092B-C50C-407E-A947-70E740481C1C}">
                <a14:useLocalDpi xmlns:a14="http://schemas.microsoft.com/office/drawing/2010/main"/>
              </a:ext>
            </a:extLst>
          </a:blip>
          <a:srcRect/>
          <a:stretch>
            <a:fillRect/>
          </a:stretch>
        </p:blipFill>
        <p:spPr>
          <a:xfrm>
            <a:off x="8844166" y="1881122"/>
            <a:ext cx="1549618" cy="2658909"/>
          </a:xfrm>
          <a:prstGeom prst="rect">
            <a:avLst/>
          </a:prstGeom>
        </p:spPr>
      </p:pic>
    </p:spTree>
    <p:extLst>
      <p:ext uri="{BB962C8B-B14F-4D97-AF65-F5344CB8AC3E}">
        <p14:creationId xmlns:p14="http://schemas.microsoft.com/office/powerpoint/2010/main" val="217993996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solidFill>
          <a:srgbClr val="2856AE"/>
        </a:solidFill>
        <a:effectLst/>
      </p:bgPr>
    </p:bg>
    <p:spTree>
      <p:nvGrpSpPr>
        <p:cNvPr id="1" name=""/>
        <p:cNvGrpSpPr/>
        <p:nvPr/>
      </p:nvGrpSpPr>
      <p:grpSpPr>
        <a:xfrm>
          <a:off x="0" y="0"/>
          <a:ext cx="0" cy="0"/>
          <a:chOff x="0" y="0"/>
          <a:chExt cx="0" cy="0"/>
        </a:xfrm>
      </p:grpSpPr>
      <p:grpSp>
        <p:nvGrpSpPr>
          <p:cNvPr id="150" name="Group 149">
            <a:extLst>
              <a:ext uri="{FF2B5EF4-FFF2-40B4-BE49-F238E27FC236}">
                <a16:creationId xmlns:a16="http://schemas.microsoft.com/office/drawing/2014/main" id="{72C069A8-F28A-4735-B9BC-BBC860BABA40}"/>
              </a:ext>
            </a:extLst>
          </p:cNvPr>
          <p:cNvGrpSpPr/>
          <p:nvPr/>
        </p:nvGrpSpPr>
        <p:grpSpPr>
          <a:xfrm rot="10800000">
            <a:off x="-274321" y="4910554"/>
            <a:ext cx="5105401" cy="2491839"/>
            <a:chOff x="5470199" y="-196657"/>
            <a:chExt cx="6968218" cy="3401039"/>
          </a:xfrm>
        </p:grpSpPr>
        <p:sp>
          <p:nvSpPr>
            <p:cNvPr id="151" name="Freeform: Shape 150">
              <a:extLst>
                <a:ext uri="{FF2B5EF4-FFF2-40B4-BE49-F238E27FC236}">
                  <a16:creationId xmlns:a16="http://schemas.microsoft.com/office/drawing/2014/main" id="{DC624D6A-5BCD-4219-BF27-50ED2EAF33C9}"/>
                </a:ext>
              </a:extLst>
            </p:cNvPr>
            <p:cNvSpPr/>
            <p:nvPr/>
          </p:nvSpPr>
          <p:spPr>
            <a:xfrm>
              <a:off x="5470199" y="1"/>
              <a:ext cx="6734882" cy="3204381"/>
            </a:xfrm>
            <a:custGeom>
              <a:avLst/>
              <a:gdLst>
                <a:gd name="connsiteX0" fmla="*/ 9584 w 6734882"/>
                <a:gd name="connsiteY0" fmla="*/ 0 h 3204381"/>
                <a:gd name="connsiteX1" fmla="*/ 6734882 w 6734882"/>
                <a:gd name="connsiteY1" fmla="*/ 0 h 3204381"/>
                <a:gd name="connsiteX2" fmla="*/ 6734882 w 6734882"/>
                <a:gd name="connsiteY2" fmla="*/ 3204381 h 3204381"/>
                <a:gd name="connsiteX3" fmla="*/ 6698227 w 6734882"/>
                <a:gd name="connsiteY3" fmla="*/ 3203377 h 3204381"/>
                <a:gd name="connsiteX4" fmla="*/ 6020761 w 6734882"/>
                <a:gd name="connsiteY4" fmla="*/ 3124200 h 3204381"/>
                <a:gd name="connsiteX5" fmla="*/ 4100521 w 6734882"/>
                <a:gd name="connsiteY5" fmla="*/ 1706880 h 3204381"/>
                <a:gd name="connsiteX6" fmla="*/ 1220161 w 6734882"/>
                <a:gd name="connsiteY6" fmla="*/ 1173480 h 3204381"/>
                <a:gd name="connsiteX7" fmla="*/ 4652 w 6734882"/>
                <a:gd name="connsiteY7" fmla="*/ 11906 h 32043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734882" h="3204381">
                  <a:moveTo>
                    <a:pt x="9584" y="0"/>
                  </a:moveTo>
                  <a:lnTo>
                    <a:pt x="6734882" y="0"/>
                  </a:lnTo>
                  <a:lnTo>
                    <a:pt x="6734882" y="3204381"/>
                  </a:lnTo>
                  <a:lnTo>
                    <a:pt x="6698227" y="3203377"/>
                  </a:lnTo>
                  <a:cubicBezTo>
                    <a:pt x="6444465" y="3191828"/>
                    <a:pt x="6208086" y="3162935"/>
                    <a:pt x="6020761" y="3124200"/>
                  </a:cubicBezTo>
                  <a:cubicBezTo>
                    <a:pt x="5271461" y="2969260"/>
                    <a:pt x="4900621" y="2032000"/>
                    <a:pt x="4100521" y="1706880"/>
                  </a:cubicBezTo>
                  <a:cubicBezTo>
                    <a:pt x="3300421" y="1381760"/>
                    <a:pt x="1832301" y="1508760"/>
                    <a:pt x="1220161" y="1173480"/>
                  </a:cubicBezTo>
                  <a:cubicBezTo>
                    <a:pt x="761056" y="922020"/>
                    <a:pt x="-69524" y="393383"/>
                    <a:pt x="4652" y="11906"/>
                  </a:cubicBezTo>
                  <a:close/>
                </a:path>
              </a:pathLst>
            </a:cu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defTabSz="914377"/>
              <a:endParaRPr lang="en-US">
                <a:solidFill>
                  <a:prstClr val="white"/>
                </a:solidFill>
                <a:latin typeface="Calibri" panose="020F0502020204030204"/>
                <a:sym typeface="Arial"/>
              </a:endParaRPr>
            </a:p>
          </p:txBody>
        </p:sp>
        <p:sp>
          <p:nvSpPr>
            <p:cNvPr id="152" name="Freeform: Shape 151">
              <a:extLst>
                <a:ext uri="{FF2B5EF4-FFF2-40B4-BE49-F238E27FC236}">
                  <a16:creationId xmlns:a16="http://schemas.microsoft.com/office/drawing/2014/main" id="{8E200D5E-B576-409E-AD99-3BB8DDD143EE}"/>
                </a:ext>
              </a:extLst>
            </p:cNvPr>
            <p:cNvSpPr/>
            <p:nvPr/>
          </p:nvSpPr>
          <p:spPr>
            <a:xfrm>
              <a:off x="5703535" y="-196657"/>
              <a:ext cx="6734882" cy="3204381"/>
            </a:xfrm>
            <a:custGeom>
              <a:avLst/>
              <a:gdLst>
                <a:gd name="connsiteX0" fmla="*/ 9584 w 6734882"/>
                <a:gd name="connsiteY0" fmla="*/ 0 h 3204381"/>
                <a:gd name="connsiteX1" fmla="*/ 6734882 w 6734882"/>
                <a:gd name="connsiteY1" fmla="*/ 0 h 3204381"/>
                <a:gd name="connsiteX2" fmla="*/ 6734882 w 6734882"/>
                <a:gd name="connsiteY2" fmla="*/ 3204381 h 3204381"/>
                <a:gd name="connsiteX3" fmla="*/ 6698227 w 6734882"/>
                <a:gd name="connsiteY3" fmla="*/ 3203377 h 3204381"/>
                <a:gd name="connsiteX4" fmla="*/ 6020761 w 6734882"/>
                <a:gd name="connsiteY4" fmla="*/ 3124200 h 3204381"/>
                <a:gd name="connsiteX5" fmla="*/ 4100521 w 6734882"/>
                <a:gd name="connsiteY5" fmla="*/ 1706880 h 3204381"/>
                <a:gd name="connsiteX6" fmla="*/ 1220161 w 6734882"/>
                <a:gd name="connsiteY6" fmla="*/ 1173480 h 3204381"/>
                <a:gd name="connsiteX7" fmla="*/ 4652 w 6734882"/>
                <a:gd name="connsiteY7" fmla="*/ 11906 h 32043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734882" h="3204381">
                  <a:moveTo>
                    <a:pt x="9584" y="0"/>
                  </a:moveTo>
                  <a:lnTo>
                    <a:pt x="6734882" y="0"/>
                  </a:lnTo>
                  <a:lnTo>
                    <a:pt x="6734882" y="3204381"/>
                  </a:lnTo>
                  <a:lnTo>
                    <a:pt x="6698227" y="3203377"/>
                  </a:lnTo>
                  <a:cubicBezTo>
                    <a:pt x="6444465" y="3191828"/>
                    <a:pt x="6208086" y="3162935"/>
                    <a:pt x="6020761" y="3124200"/>
                  </a:cubicBezTo>
                  <a:cubicBezTo>
                    <a:pt x="5271461" y="2969260"/>
                    <a:pt x="4900621" y="2032000"/>
                    <a:pt x="4100521" y="1706880"/>
                  </a:cubicBezTo>
                  <a:cubicBezTo>
                    <a:pt x="3300421" y="1381760"/>
                    <a:pt x="1832301" y="1508760"/>
                    <a:pt x="1220161" y="1173480"/>
                  </a:cubicBezTo>
                  <a:cubicBezTo>
                    <a:pt x="761056" y="922020"/>
                    <a:pt x="-69524" y="393383"/>
                    <a:pt x="4652" y="11906"/>
                  </a:cubicBezTo>
                  <a:close/>
                </a:path>
              </a:pathLst>
            </a:custGeom>
            <a:noFill/>
            <a:ln w="1270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defTabSz="914377"/>
              <a:endParaRPr lang="en-US">
                <a:solidFill>
                  <a:prstClr val="white"/>
                </a:solidFill>
                <a:latin typeface="Calibri" panose="020F0502020204030204"/>
                <a:sym typeface="Arial"/>
              </a:endParaRPr>
            </a:p>
          </p:txBody>
        </p:sp>
      </p:grpSp>
      <p:sp>
        <p:nvSpPr>
          <p:cNvPr id="8" name="Rectangle: Rounded Corners 7">
            <a:extLst>
              <a:ext uri="{FF2B5EF4-FFF2-40B4-BE49-F238E27FC236}">
                <a16:creationId xmlns:a16="http://schemas.microsoft.com/office/drawing/2014/main" id="{64CEF8FB-6C36-4054-A807-F2E057E8B359}"/>
              </a:ext>
            </a:extLst>
          </p:cNvPr>
          <p:cNvSpPr/>
          <p:nvPr/>
        </p:nvSpPr>
        <p:spPr>
          <a:xfrm>
            <a:off x="525083" y="4106354"/>
            <a:ext cx="11141837" cy="2103831"/>
          </a:xfrm>
          <a:prstGeom prst="roundRect">
            <a:avLst>
              <a:gd name="adj" fmla="val 9450"/>
            </a:avLst>
          </a:prstGeom>
          <a:solidFill>
            <a:schemeClr val="bg1"/>
          </a:solidFill>
          <a:ln>
            <a:noFill/>
          </a:ln>
          <a:effectLst>
            <a:outerShdw blurRad="127000" dist="635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US">
              <a:solidFill>
                <a:prstClr val="white"/>
              </a:solidFill>
              <a:latin typeface="Calibri" panose="020F0502020204030204"/>
              <a:sym typeface="Arial"/>
            </a:endParaRPr>
          </a:p>
        </p:txBody>
      </p:sp>
      <p:sp>
        <p:nvSpPr>
          <p:cNvPr id="10" name="Google Shape;309;p51">
            <a:extLst>
              <a:ext uri="{FF2B5EF4-FFF2-40B4-BE49-F238E27FC236}">
                <a16:creationId xmlns:a16="http://schemas.microsoft.com/office/drawing/2014/main" id="{8DA070E9-9C60-4043-BE14-C90C1BAF0053}"/>
              </a:ext>
            </a:extLst>
          </p:cNvPr>
          <p:cNvSpPr txBox="1"/>
          <p:nvPr/>
        </p:nvSpPr>
        <p:spPr>
          <a:xfrm>
            <a:off x="525083" y="1558443"/>
            <a:ext cx="5759591" cy="1785074"/>
          </a:xfrm>
          <a:prstGeom prst="rect">
            <a:avLst/>
          </a:prstGeom>
          <a:noFill/>
          <a:ln>
            <a:noFill/>
          </a:ln>
          <a:effectLst>
            <a:outerShdw blurRad="127000" dist="63500" dir="5400000" algn="t" rotWithShape="0">
              <a:prstClr val="black">
                <a:alpha val="15000"/>
              </a:prstClr>
            </a:outerShdw>
          </a:effectLst>
        </p:spPr>
        <p:txBody>
          <a:bodyPr spcFirstLastPara="1" wrap="square" lIns="91425" tIns="91425" rIns="91425" bIns="91425" anchor="t" anchorCtr="0">
            <a:spAutoFit/>
          </a:bodyPr>
          <a:lstStyle/>
          <a:p>
            <a:pPr defTabSz="914377">
              <a:spcAft>
                <a:spcPts val="600"/>
              </a:spcAft>
            </a:pPr>
            <a:r>
              <a:rPr lang="en-US" sz="5400" b="1" dirty="0">
                <a:solidFill>
                  <a:prstClr val="white"/>
                </a:solidFill>
                <a:latin typeface="Inter" panose="020B0502030000000004" pitchFamily="34" charset="0"/>
                <a:ea typeface="Inter" panose="020B0502030000000004" pitchFamily="34" charset="0"/>
                <a:cs typeface="Calibri"/>
                <a:sym typeface="Calibri"/>
              </a:rPr>
              <a:t>LET US DESIGN</a:t>
            </a:r>
          </a:p>
          <a:p>
            <a:pPr defTabSz="914377">
              <a:spcAft>
                <a:spcPts val="600"/>
              </a:spcAft>
            </a:pPr>
            <a:r>
              <a:rPr lang="en-US" sz="4000" b="1" dirty="0">
                <a:solidFill>
                  <a:prstClr val="white"/>
                </a:solidFill>
                <a:latin typeface="Inter" panose="020B0502030000000004" pitchFamily="34" charset="0"/>
                <a:ea typeface="Inter" panose="020B0502030000000004" pitchFamily="34" charset="0"/>
                <a:cs typeface="Calibri"/>
                <a:sym typeface="Calibri"/>
              </a:rPr>
              <a:t>YOUR PRESENTATION</a:t>
            </a:r>
          </a:p>
        </p:txBody>
      </p:sp>
      <p:grpSp>
        <p:nvGrpSpPr>
          <p:cNvPr id="148" name="Group 147">
            <a:extLst>
              <a:ext uri="{FF2B5EF4-FFF2-40B4-BE49-F238E27FC236}">
                <a16:creationId xmlns:a16="http://schemas.microsoft.com/office/drawing/2014/main" id="{D2EA524C-D3AE-457C-82F5-CEB9EA99564D}"/>
              </a:ext>
            </a:extLst>
          </p:cNvPr>
          <p:cNvGrpSpPr/>
          <p:nvPr/>
        </p:nvGrpSpPr>
        <p:grpSpPr>
          <a:xfrm>
            <a:off x="673017" y="4562172"/>
            <a:ext cx="10857529" cy="1262923"/>
            <a:chOff x="673015" y="4585687"/>
            <a:chExt cx="10857529" cy="1262922"/>
          </a:xfrm>
        </p:grpSpPr>
        <p:pic>
          <p:nvPicPr>
            <p:cNvPr id="14" name="Google Shape;1137;p66">
              <a:extLst>
                <a:ext uri="{FF2B5EF4-FFF2-40B4-BE49-F238E27FC236}">
                  <a16:creationId xmlns:a16="http://schemas.microsoft.com/office/drawing/2014/main" id="{37185501-7294-43DF-8A87-5ACF82A8096F}"/>
                </a:ext>
              </a:extLst>
            </p:cNvPr>
            <p:cNvPicPr preferRelativeResize="0"/>
            <p:nvPr/>
          </p:nvPicPr>
          <p:blipFill rotWithShape="1">
            <a:blip r:embed="rId2">
              <a:alphaModFix/>
              <a:extLst>
                <a:ext uri="{BEBA8EAE-BF5A-486C-A8C5-ECC9F3942E4B}">
                  <a14:imgProps xmlns:a14="http://schemas.microsoft.com/office/drawing/2010/main">
                    <a14:imgLayer r:embed="rId3">
                      <a14:imgEffect>
                        <a14:brightnessContrast bright="-20000"/>
                      </a14:imgEffect>
                    </a14:imgLayer>
                  </a14:imgProps>
                </a:ext>
              </a:extLst>
            </a:blip>
            <a:srcRect r="15525"/>
            <a:stretch/>
          </p:blipFill>
          <p:spPr>
            <a:xfrm>
              <a:off x="5822166" y="5492948"/>
              <a:ext cx="3821720" cy="350512"/>
            </a:xfrm>
            <a:prstGeom prst="rect">
              <a:avLst/>
            </a:prstGeom>
            <a:noFill/>
            <a:ln>
              <a:noFill/>
            </a:ln>
          </p:spPr>
        </p:pic>
        <p:pic>
          <p:nvPicPr>
            <p:cNvPr id="15" name="Google Shape;1138;p66">
              <a:extLst>
                <a:ext uri="{FF2B5EF4-FFF2-40B4-BE49-F238E27FC236}">
                  <a16:creationId xmlns:a16="http://schemas.microsoft.com/office/drawing/2014/main" id="{ACD00BF6-A2A2-48B2-9BB7-72AFB9050F4C}"/>
                </a:ext>
              </a:extLst>
            </p:cNvPr>
            <p:cNvPicPr preferRelativeResize="0"/>
            <p:nvPr/>
          </p:nvPicPr>
          <p:blipFill rotWithShape="1">
            <a:blip r:embed="rId4">
              <a:alphaModFix/>
              <a:duotone>
                <a:schemeClr val="bg2">
                  <a:shade val="45000"/>
                  <a:satMod val="135000"/>
                </a:schemeClr>
                <a:prstClr val="white"/>
              </a:duotone>
              <a:extLst>
                <a:ext uri="{BEBA8EAE-BF5A-486C-A8C5-ECC9F3942E4B}">
                  <a14:imgProps xmlns:a14="http://schemas.microsoft.com/office/drawing/2010/main">
                    <a14:imgLayer r:embed="rId5">
                      <a14:imgEffect>
                        <a14:brightnessContrast bright="-20000"/>
                      </a14:imgEffect>
                    </a14:imgLayer>
                  </a14:imgProps>
                </a:ext>
              </a:extLst>
            </a:blip>
            <a:srcRect/>
            <a:stretch/>
          </p:blipFill>
          <p:spPr>
            <a:xfrm>
              <a:off x="3643872" y="4585687"/>
              <a:ext cx="849828" cy="648171"/>
            </a:xfrm>
            <a:prstGeom prst="rect">
              <a:avLst/>
            </a:prstGeom>
            <a:noFill/>
            <a:ln>
              <a:noFill/>
            </a:ln>
          </p:spPr>
        </p:pic>
        <p:pic>
          <p:nvPicPr>
            <p:cNvPr id="16" name="Google Shape;1139;p66">
              <a:extLst>
                <a:ext uri="{FF2B5EF4-FFF2-40B4-BE49-F238E27FC236}">
                  <a16:creationId xmlns:a16="http://schemas.microsoft.com/office/drawing/2014/main" id="{9DBEFF70-52AB-493E-BE81-F279268DAF32}"/>
                </a:ext>
              </a:extLst>
            </p:cNvPr>
            <p:cNvPicPr preferRelativeResize="0"/>
            <p:nvPr/>
          </p:nvPicPr>
          <p:blipFill rotWithShape="1">
            <a:blip r:embed="rId6">
              <a:alphaModFix/>
              <a:duotone>
                <a:schemeClr val="bg2">
                  <a:shade val="45000"/>
                  <a:satMod val="135000"/>
                </a:schemeClr>
                <a:prstClr val="white"/>
              </a:duotone>
              <a:extLst>
                <a:ext uri="{BEBA8EAE-BF5A-486C-A8C5-ECC9F3942E4B}">
                  <a14:imgProps xmlns:a14="http://schemas.microsoft.com/office/drawing/2010/main">
                    <a14:imgLayer r:embed="rId7">
                      <a14:imgEffect>
                        <a14:brightnessContrast bright="-20000"/>
                      </a14:imgEffect>
                    </a14:imgLayer>
                  </a14:imgProps>
                </a:ext>
              </a:extLst>
            </a:blip>
            <a:srcRect/>
            <a:stretch/>
          </p:blipFill>
          <p:spPr>
            <a:xfrm>
              <a:off x="2117654" y="4661668"/>
              <a:ext cx="1389845" cy="496208"/>
            </a:xfrm>
            <a:prstGeom prst="rect">
              <a:avLst/>
            </a:prstGeom>
            <a:noFill/>
            <a:ln>
              <a:noFill/>
            </a:ln>
          </p:spPr>
        </p:pic>
        <p:pic>
          <p:nvPicPr>
            <p:cNvPr id="17" name="Google Shape;1140;p66">
              <a:extLst>
                <a:ext uri="{FF2B5EF4-FFF2-40B4-BE49-F238E27FC236}">
                  <a16:creationId xmlns:a16="http://schemas.microsoft.com/office/drawing/2014/main" id="{95F6E389-9A3E-4E11-8063-BCA6D62FFD5E}"/>
                </a:ext>
              </a:extLst>
            </p:cNvPr>
            <p:cNvPicPr preferRelativeResize="0"/>
            <p:nvPr/>
          </p:nvPicPr>
          <p:blipFill rotWithShape="1">
            <a:blip r:embed="rId8">
              <a:alphaModFix/>
            </a:blip>
            <a:srcRect t="40260" b="30179"/>
            <a:stretch/>
          </p:blipFill>
          <p:spPr>
            <a:xfrm>
              <a:off x="673015" y="4773632"/>
              <a:ext cx="1308267" cy="272280"/>
            </a:xfrm>
            <a:prstGeom prst="rect">
              <a:avLst/>
            </a:prstGeom>
            <a:noFill/>
            <a:ln>
              <a:noFill/>
            </a:ln>
          </p:spPr>
        </p:pic>
        <p:pic>
          <p:nvPicPr>
            <p:cNvPr id="18" name="Google Shape;1142;p66">
              <a:extLst>
                <a:ext uri="{FF2B5EF4-FFF2-40B4-BE49-F238E27FC236}">
                  <a16:creationId xmlns:a16="http://schemas.microsoft.com/office/drawing/2014/main" id="{A5720699-8221-4902-9085-784F04D36BCD}"/>
                </a:ext>
              </a:extLst>
            </p:cNvPr>
            <p:cNvPicPr preferRelativeResize="0"/>
            <p:nvPr/>
          </p:nvPicPr>
          <p:blipFill rotWithShape="1">
            <a:blip r:embed="rId9">
              <a:alphaModFix/>
            </a:blip>
            <a:srcRect/>
            <a:stretch/>
          </p:blipFill>
          <p:spPr>
            <a:xfrm>
              <a:off x="1738687" y="5566871"/>
              <a:ext cx="937755" cy="202665"/>
            </a:xfrm>
            <a:prstGeom prst="rect">
              <a:avLst/>
            </a:prstGeom>
            <a:noFill/>
            <a:ln>
              <a:noFill/>
            </a:ln>
          </p:spPr>
        </p:pic>
        <p:pic>
          <p:nvPicPr>
            <p:cNvPr id="19" name="Google Shape;1143;p66">
              <a:extLst>
                <a:ext uri="{FF2B5EF4-FFF2-40B4-BE49-F238E27FC236}">
                  <a16:creationId xmlns:a16="http://schemas.microsoft.com/office/drawing/2014/main" id="{265D0D50-0DA7-4083-A211-3A6E9ED3E7F3}"/>
                </a:ext>
              </a:extLst>
            </p:cNvPr>
            <p:cNvPicPr preferRelativeResize="0"/>
            <p:nvPr/>
          </p:nvPicPr>
          <p:blipFill rotWithShape="1">
            <a:blip r:embed="rId10">
              <a:alphaModFix/>
              <a:duotone>
                <a:schemeClr val="bg2">
                  <a:shade val="45000"/>
                  <a:satMod val="135000"/>
                </a:schemeClr>
                <a:prstClr val="white"/>
              </a:duotone>
              <a:extLst>
                <a:ext uri="{BEBA8EAE-BF5A-486C-A8C5-ECC9F3942E4B}">
                  <a14:imgProps xmlns:a14="http://schemas.microsoft.com/office/drawing/2010/main">
                    <a14:imgLayer r:embed="rId11">
                      <a14:imgEffect>
                        <a14:brightnessContrast bright="-20000"/>
                      </a14:imgEffect>
                    </a14:imgLayer>
                  </a14:imgProps>
                </a:ext>
              </a:extLst>
            </a:blip>
            <a:srcRect/>
            <a:stretch/>
          </p:blipFill>
          <p:spPr>
            <a:xfrm>
              <a:off x="4060680" y="5561229"/>
              <a:ext cx="1469075" cy="213949"/>
            </a:xfrm>
            <a:prstGeom prst="rect">
              <a:avLst/>
            </a:prstGeom>
            <a:noFill/>
            <a:ln>
              <a:noFill/>
            </a:ln>
          </p:spPr>
        </p:pic>
        <p:pic>
          <p:nvPicPr>
            <p:cNvPr id="20" name="Google Shape;1144;p66">
              <a:extLst>
                <a:ext uri="{FF2B5EF4-FFF2-40B4-BE49-F238E27FC236}">
                  <a16:creationId xmlns:a16="http://schemas.microsoft.com/office/drawing/2014/main" id="{31035FDC-33DA-4942-8306-4713D09444B2}"/>
                </a:ext>
              </a:extLst>
            </p:cNvPr>
            <p:cNvPicPr preferRelativeResize="0"/>
            <p:nvPr/>
          </p:nvPicPr>
          <p:blipFill rotWithShape="1">
            <a:blip r:embed="rId12">
              <a:alphaModFix/>
            </a:blip>
            <a:srcRect l="7619" t="18659" r="11501" b="19555"/>
            <a:stretch/>
          </p:blipFill>
          <p:spPr>
            <a:xfrm>
              <a:off x="829053" y="5490372"/>
              <a:ext cx="617223" cy="355663"/>
            </a:xfrm>
            <a:prstGeom prst="rect">
              <a:avLst/>
            </a:prstGeom>
            <a:noFill/>
            <a:ln>
              <a:noFill/>
            </a:ln>
          </p:spPr>
        </p:pic>
        <p:pic>
          <p:nvPicPr>
            <p:cNvPr id="21" name="Google Shape;1145;p66">
              <a:extLst>
                <a:ext uri="{FF2B5EF4-FFF2-40B4-BE49-F238E27FC236}">
                  <a16:creationId xmlns:a16="http://schemas.microsoft.com/office/drawing/2014/main" id="{FCB334DE-DDF8-4DA0-B255-99375F047B87}"/>
                </a:ext>
              </a:extLst>
            </p:cNvPr>
            <p:cNvPicPr preferRelativeResize="0"/>
            <p:nvPr/>
          </p:nvPicPr>
          <p:blipFill rotWithShape="1">
            <a:blip r:embed="rId13">
              <a:alphaModFix/>
            </a:blip>
            <a:srcRect/>
            <a:stretch/>
          </p:blipFill>
          <p:spPr>
            <a:xfrm>
              <a:off x="2968854" y="5578555"/>
              <a:ext cx="799415" cy="179298"/>
            </a:xfrm>
            <a:prstGeom prst="rect">
              <a:avLst/>
            </a:prstGeom>
            <a:noFill/>
            <a:ln>
              <a:noFill/>
            </a:ln>
          </p:spPr>
        </p:pic>
        <p:pic>
          <p:nvPicPr>
            <p:cNvPr id="22" name="Google Shape;1147;p66">
              <a:extLst>
                <a:ext uri="{FF2B5EF4-FFF2-40B4-BE49-F238E27FC236}">
                  <a16:creationId xmlns:a16="http://schemas.microsoft.com/office/drawing/2014/main" id="{0BA0370F-EC44-40A7-9EA2-3A1E7C98731E}"/>
                </a:ext>
              </a:extLst>
            </p:cNvPr>
            <p:cNvPicPr preferRelativeResize="0"/>
            <p:nvPr/>
          </p:nvPicPr>
          <p:blipFill rotWithShape="1">
            <a:blip r:embed="rId14">
              <a:alphaModFix/>
              <a:extLst>
                <a:ext uri="{BEBA8EAE-BF5A-486C-A8C5-ECC9F3942E4B}">
                  <a14:imgProps xmlns:a14="http://schemas.microsoft.com/office/drawing/2010/main">
                    <a14:imgLayer r:embed="rId15">
                      <a14:imgEffect>
                        <a14:brightnessContrast bright="-20000"/>
                      </a14:imgEffect>
                    </a14:imgLayer>
                  </a14:imgProps>
                </a:ext>
              </a:extLst>
            </a:blip>
            <a:srcRect l="30155"/>
            <a:stretch/>
          </p:blipFill>
          <p:spPr>
            <a:xfrm>
              <a:off x="8352834" y="4733522"/>
              <a:ext cx="3177710" cy="352501"/>
            </a:xfrm>
            <a:prstGeom prst="rect">
              <a:avLst/>
            </a:prstGeom>
            <a:noFill/>
            <a:ln>
              <a:noFill/>
            </a:ln>
          </p:spPr>
        </p:pic>
        <p:pic>
          <p:nvPicPr>
            <p:cNvPr id="23" name="Google Shape;1148;p66" descr="Molson Coors Brewing Company - AnnualReports.com">
              <a:extLst>
                <a:ext uri="{FF2B5EF4-FFF2-40B4-BE49-F238E27FC236}">
                  <a16:creationId xmlns:a16="http://schemas.microsoft.com/office/drawing/2014/main" id="{DBA45311-EA17-4303-9B00-E1A5216D984E}"/>
                </a:ext>
              </a:extLst>
            </p:cNvPr>
            <p:cNvPicPr preferRelativeResize="0"/>
            <p:nvPr/>
          </p:nvPicPr>
          <p:blipFill rotWithShape="1">
            <a:blip r:embed="rId16">
              <a:clrChange>
                <a:clrFrom>
                  <a:srgbClr val="CBCBCB"/>
                </a:clrFrom>
                <a:clrTo>
                  <a:srgbClr val="CBCBCB">
                    <a:alpha val="0"/>
                  </a:srgbClr>
                </a:clrTo>
              </a:clrChange>
              <a:alphaModFix amt="60000"/>
              <a:extLst>
                <a:ext uri="{BEBA8EAE-BF5A-486C-A8C5-ECC9F3942E4B}">
                  <a14:imgProps xmlns:a14="http://schemas.microsoft.com/office/drawing/2010/main">
                    <a14:imgLayer r:embed="rId17">
                      <a14:imgEffect>
                        <a14:brightnessContrast bright="-20000"/>
                      </a14:imgEffect>
                    </a14:imgLayer>
                  </a14:imgProps>
                </a:ext>
              </a:extLst>
            </a:blip>
            <a:srcRect l="21914" t="26675" r="21728" b="31150"/>
            <a:stretch/>
          </p:blipFill>
          <p:spPr>
            <a:xfrm>
              <a:off x="9936297" y="5487798"/>
              <a:ext cx="1438209" cy="360811"/>
            </a:xfrm>
            <a:prstGeom prst="rect">
              <a:avLst/>
            </a:prstGeom>
            <a:noFill/>
            <a:ln>
              <a:noFill/>
            </a:ln>
          </p:spPr>
        </p:pic>
        <p:pic>
          <p:nvPicPr>
            <p:cNvPr id="24" name="Google Shape;1150;p66">
              <a:extLst>
                <a:ext uri="{FF2B5EF4-FFF2-40B4-BE49-F238E27FC236}">
                  <a16:creationId xmlns:a16="http://schemas.microsoft.com/office/drawing/2014/main" id="{8AD606C1-307F-45A8-85A3-057D326C58BD}"/>
                </a:ext>
              </a:extLst>
            </p:cNvPr>
            <p:cNvPicPr preferRelativeResize="0"/>
            <p:nvPr/>
          </p:nvPicPr>
          <p:blipFill rotWithShape="1">
            <a:blip r:embed="rId18">
              <a:alphaModFix/>
            </a:blip>
            <a:srcRect l="16667" t="28593" r="16618" b="28060"/>
            <a:stretch/>
          </p:blipFill>
          <p:spPr>
            <a:xfrm>
              <a:off x="4630072" y="4770779"/>
              <a:ext cx="904889" cy="277985"/>
            </a:xfrm>
            <a:prstGeom prst="rect">
              <a:avLst/>
            </a:prstGeom>
            <a:noFill/>
            <a:ln>
              <a:noFill/>
            </a:ln>
          </p:spPr>
        </p:pic>
        <p:pic>
          <p:nvPicPr>
            <p:cNvPr id="25" name="Google Shape;1151;p66">
              <a:extLst>
                <a:ext uri="{FF2B5EF4-FFF2-40B4-BE49-F238E27FC236}">
                  <a16:creationId xmlns:a16="http://schemas.microsoft.com/office/drawing/2014/main" id="{721D3BF6-6121-4486-8448-F818F4C5A64C}"/>
                </a:ext>
              </a:extLst>
            </p:cNvPr>
            <p:cNvPicPr preferRelativeResize="0"/>
            <p:nvPr/>
          </p:nvPicPr>
          <p:blipFill rotWithShape="1">
            <a:blip r:embed="rId19">
              <a:alphaModFix/>
              <a:duotone>
                <a:schemeClr val="bg2">
                  <a:shade val="45000"/>
                  <a:satMod val="135000"/>
                </a:schemeClr>
                <a:prstClr val="white"/>
              </a:duotone>
            </a:blip>
            <a:srcRect/>
            <a:stretch/>
          </p:blipFill>
          <p:spPr>
            <a:xfrm>
              <a:off x="5671334" y="4838905"/>
              <a:ext cx="476967" cy="141735"/>
            </a:xfrm>
            <a:prstGeom prst="rect">
              <a:avLst/>
            </a:prstGeom>
            <a:noFill/>
            <a:ln>
              <a:noFill/>
            </a:ln>
          </p:spPr>
        </p:pic>
        <p:pic>
          <p:nvPicPr>
            <p:cNvPr id="26" name="Google Shape;1152;p66">
              <a:extLst>
                <a:ext uri="{FF2B5EF4-FFF2-40B4-BE49-F238E27FC236}">
                  <a16:creationId xmlns:a16="http://schemas.microsoft.com/office/drawing/2014/main" id="{9078F62B-BC9E-45CC-9A99-CBB403BDBDFA}"/>
                </a:ext>
              </a:extLst>
            </p:cNvPr>
            <p:cNvPicPr preferRelativeResize="0"/>
            <p:nvPr/>
          </p:nvPicPr>
          <p:blipFill rotWithShape="1">
            <a:blip r:embed="rId20">
              <a:alphaModFix/>
            </a:blip>
            <a:srcRect/>
            <a:stretch/>
          </p:blipFill>
          <p:spPr>
            <a:xfrm>
              <a:off x="6284673" y="4766971"/>
              <a:ext cx="1084077" cy="285603"/>
            </a:xfrm>
            <a:prstGeom prst="rect">
              <a:avLst/>
            </a:prstGeom>
            <a:noFill/>
            <a:ln>
              <a:noFill/>
            </a:ln>
          </p:spPr>
        </p:pic>
        <p:pic>
          <p:nvPicPr>
            <p:cNvPr id="27" name="Google Shape;1153;p66">
              <a:extLst>
                <a:ext uri="{FF2B5EF4-FFF2-40B4-BE49-F238E27FC236}">
                  <a16:creationId xmlns:a16="http://schemas.microsoft.com/office/drawing/2014/main" id="{2ACCE947-A910-49ED-A2FD-BC4A73F112A7}"/>
                </a:ext>
              </a:extLst>
            </p:cNvPr>
            <p:cNvPicPr preferRelativeResize="0"/>
            <p:nvPr/>
          </p:nvPicPr>
          <p:blipFill rotWithShape="1">
            <a:blip r:embed="rId2">
              <a:alphaModFix/>
              <a:extLst>
                <a:ext uri="{BEBA8EAE-BF5A-486C-A8C5-ECC9F3942E4B}">
                  <a14:imgProps xmlns:a14="http://schemas.microsoft.com/office/drawing/2010/main">
                    <a14:imgLayer r:embed="rId3">
                      <a14:imgEffect>
                        <a14:brightnessContrast bright="-20000"/>
                      </a14:imgEffect>
                    </a14:imgLayer>
                  </a14:imgProps>
                </a:ext>
              </a:extLst>
            </a:blip>
            <a:srcRect l="85911" r="673"/>
            <a:stretch/>
          </p:blipFill>
          <p:spPr>
            <a:xfrm>
              <a:off x="7505123" y="4704363"/>
              <a:ext cx="711338" cy="410819"/>
            </a:xfrm>
            <a:prstGeom prst="rect">
              <a:avLst/>
            </a:prstGeom>
            <a:noFill/>
            <a:ln>
              <a:noFill/>
            </a:ln>
          </p:spPr>
        </p:pic>
      </p:grpSp>
      <p:grpSp>
        <p:nvGrpSpPr>
          <p:cNvPr id="149" name="Group 148">
            <a:extLst>
              <a:ext uri="{FF2B5EF4-FFF2-40B4-BE49-F238E27FC236}">
                <a16:creationId xmlns:a16="http://schemas.microsoft.com/office/drawing/2014/main" id="{6BCB5CC5-66E0-4B65-AB45-8F0A22BDB0CB}"/>
              </a:ext>
            </a:extLst>
          </p:cNvPr>
          <p:cNvGrpSpPr/>
          <p:nvPr/>
        </p:nvGrpSpPr>
        <p:grpSpPr>
          <a:xfrm>
            <a:off x="5489872" y="-186148"/>
            <a:ext cx="6968219" cy="3401039"/>
            <a:chOff x="5470199" y="-196657"/>
            <a:chExt cx="6968218" cy="3401039"/>
          </a:xfrm>
        </p:grpSpPr>
        <p:sp>
          <p:nvSpPr>
            <p:cNvPr id="145" name="Freeform: Shape 144">
              <a:extLst>
                <a:ext uri="{FF2B5EF4-FFF2-40B4-BE49-F238E27FC236}">
                  <a16:creationId xmlns:a16="http://schemas.microsoft.com/office/drawing/2014/main" id="{0933063F-DD6F-423C-88CE-FF22D4E8F541}"/>
                </a:ext>
              </a:extLst>
            </p:cNvPr>
            <p:cNvSpPr/>
            <p:nvPr/>
          </p:nvSpPr>
          <p:spPr>
            <a:xfrm>
              <a:off x="5470199" y="1"/>
              <a:ext cx="6734882" cy="3204381"/>
            </a:xfrm>
            <a:custGeom>
              <a:avLst/>
              <a:gdLst>
                <a:gd name="connsiteX0" fmla="*/ 9584 w 6734882"/>
                <a:gd name="connsiteY0" fmla="*/ 0 h 3204381"/>
                <a:gd name="connsiteX1" fmla="*/ 6734882 w 6734882"/>
                <a:gd name="connsiteY1" fmla="*/ 0 h 3204381"/>
                <a:gd name="connsiteX2" fmla="*/ 6734882 w 6734882"/>
                <a:gd name="connsiteY2" fmla="*/ 3204381 h 3204381"/>
                <a:gd name="connsiteX3" fmla="*/ 6698227 w 6734882"/>
                <a:gd name="connsiteY3" fmla="*/ 3203377 h 3204381"/>
                <a:gd name="connsiteX4" fmla="*/ 6020761 w 6734882"/>
                <a:gd name="connsiteY4" fmla="*/ 3124200 h 3204381"/>
                <a:gd name="connsiteX5" fmla="*/ 4100521 w 6734882"/>
                <a:gd name="connsiteY5" fmla="*/ 1706880 h 3204381"/>
                <a:gd name="connsiteX6" fmla="*/ 1220161 w 6734882"/>
                <a:gd name="connsiteY6" fmla="*/ 1173480 h 3204381"/>
                <a:gd name="connsiteX7" fmla="*/ 4652 w 6734882"/>
                <a:gd name="connsiteY7" fmla="*/ 11906 h 32043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734882" h="3204381">
                  <a:moveTo>
                    <a:pt x="9584" y="0"/>
                  </a:moveTo>
                  <a:lnTo>
                    <a:pt x="6734882" y="0"/>
                  </a:lnTo>
                  <a:lnTo>
                    <a:pt x="6734882" y="3204381"/>
                  </a:lnTo>
                  <a:lnTo>
                    <a:pt x="6698227" y="3203377"/>
                  </a:lnTo>
                  <a:cubicBezTo>
                    <a:pt x="6444465" y="3191828"/>
                    <a:pt x="6208086" y="3162935"/>
                    <a:pt x="6020761" y="3124200"/>
                  </a:cubicBezTo>
                  <a:cubicBezTo>
                    <a:pt x="5271461" y="2969260"/>
                    <a:pt x="4900621" y="2032000"/>
                    <a:pt x="4100521" y="1706880"/>
                  </a:cubicBezTo>
                  <a:cubicBezTo>
                    <a:pt x="3300421" y="1381760"/>
                    <a:pt x="1832301" y="1508760"/>
                    <a:pt x="1220161" y="1173480"/>
                  </a:cubicBezTo>
                  <a:cubicBezTo>
                    <a:pt x="761056" y="922020"/>
                    <a:pt x="-69524" y="393383"/>
                    <a:pt x="4652" y="11906"/>
                  </a:cubicBezTo>
                  <a:close/>
                </a:path>
              </a:pathLst>
            </a:cu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defTabSz="914377"/>
              <a:endParaRPr lang="en-US">
                <a:solidFill>
                  <a:prstClr val="white"/>
                </a:solidFill>
                <a:latin typeface="Calibri" panose="020F0502020204030204"/>
                <a:sym typeface="Arial"/>
              </a:endParaRPr>
            </a:p>
          </p:txBody>
        </p:sp>
        <p:sp>
          <p:nvSpPr>
            <p:cNvPr id="146" name="Freeform: Shape 145">
              <a:extLst>
                <a:ext uri="{FF2B5EF4-FFF2-40B4-BE49-F238E27FC236}">
                  <a16:creationId xmlns:a16="http://schemas.microsoft.com/office/drawing/2014/main" id="{CB6F5B11-B6B7-4C77-A367-CA85E2C8280D}"/>
                </a:ext>
              </a:extLst>
            </p:cNvPr>
            <p:cNvSpPr/>
            <p:nvPr/>
          </p:nvSpPr>
          <p:spPr>
            <a:xfrm>
              <a:off x="5703535" y="-196657"/>
              <a:ext cx="6734882" cy="3204381"/>
            </a:xfrm>
            <a:custGeom>
              <a:avLst/>
              <a:gdLst>
                <a:gd name="connsiteX0" fmla="*/ 9584 w 6734882"/>
                <a:gd name="connsiteY0" fmla="*/ 0 h 3204381"/>
                <a:gd name="connsiteX1" fmla="*/ 6734882 w 6734882"/>
                <a:gd name="connsiteY1" fmla="*/ 0 h 3204381"/>
                <a:gd name="connsiteX2" fmla="*/ 6734882 w 6734882"/>
                <a:gd name="connsiteY2" fmla="*/ 3204381 h 3204381"/>
                <a:gd name="connsiteX3" fmla="*/ 6698227 w 6734882"/>
                <a:gd name="connsiteY3" fmla="*/ 3203377 h 3204381"/>
                <a:gd name="connsiteX4" fmla="*/ 6020761 w 6734882"/>
                <a:gd name="connsiteY4" fmla="*/ 3124200 h 3204381"/>
                <a:gd name="connsiteX5" fmla="*/ 4100521 w 6734882"/>
                <a:gd name="connsiteY5" fmla="*/ 1706880 h 3204381"/>
                <a:gd name="connsiteX6" fmla="*/ 1220161 w 6734882"/>
                <a:gd name="connsiteY6" fmla="*/ 1173480 h 3204381"/>
                <a:gd name="connsiteX7" fmla="*/ 4652 w 6734882"/>
                <a:gd name="connsiteY7" fmla="*/ 11906 h 32043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734882" h="3204381">
                  <a:moveTo>
                    <a:pt x="9584" y="0"/>
                  </a:moveTo>
                  <a:lnTo>
                    <a:pt x="6734882" y="0"/>
                  </a:lnTo>
                  <a:lnTo>
                    <a:pt x="6734882" y="3204381"/>
                  </a:lnTo>
                  <a:lnTo>
                    <a:pt x="6698227" y="3203377"/>
                  </a:lnTo>
                  <a:cubicBezTo>
                    <a:pt x="6444465" y="3191828"/>
                    <a:pt x="6208086" y="3162935"/>
                    <a:pt x="6020761" y="3124200"/>
                  </a:cubicBezTo>
                  <a:cubicBezTo>
                    <a:pt x="5271461" y="2969260"/>
                    <a:pt x="4900621" y="2032000"/>
                    <a:pt x="4100521" y="1706880"/>
                  </a:cubicBezTo>
                  <a:cubicBezTo>
                    <a:pt x="3300421" y="1381760"/>
                    <a:pt x="1832301" y="1508760"/>
                    <a:pt x="1220161" y="1173480"/>
                  </a:cubicBezTo>
                  <a:cubicBezTo>
                    <a:pt x="761056" y="922020"/>
                    <a:pt x="-69524" y="393383"/>
                    <a:pt x="4652" y="11906"/>
                  </a:cubicBezTo>
                  <a:close/>
                </a:path>
              </a:pathLst>
            </a:custGeom>
            <a:noFill/>
            <a:ln w="1270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defTabSz="914377"/>
              <a:endParaRPr lang="en-US">
                <a:solidFill>
                  <a:prstClr val="white"/>
                </a:solidFill>
                <a:latin typeface="Calibri" panose="020F0502020204030204"/>
                <a:sym typeface="Arial"/>
              </a:endParaRPr>
            </a:p>
          </p:txBody>
        </p:sp>
      </p:grpSp>
      <p:sp>
        <p:nvSpPr>
          <p:cNvPr id="147" name="Rectangle: Rounded Corners 146">
            <a:extLst>
              <a:ext uri="{FF2B5EF4-FFF2-40B4-BE49-F238E27FC236}">
                <a16:creationId xmlns:a16="http://schemas.microsoft.com/office/drawing/2014/main" id="{823091FF-6A02-4777-8DC0-4AB1A215C3D6}"/>
              </a:ext>
            </a:extLst>
          </p:cNvPr>
          <p:cNvSpPr/>
          <p:nvPr/>
        </p:nvSpPr>
        <p:spPr>
          <a:xfrm>
            <a:off x="787991" y="3803124"/>
            <a:ext cx="2513159" cy="577851"/>
          </a:xfrm>
          <a:prstGeom prst="roundRect">
            <a:avLst>
              <a:gd name="adj" fmla="val 50000"/>
            </a:avLst>
          </a:prstGeom>
          <a:solidFill>
            <a:srgbClr val="3EBF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r>
              <a:rPr lang="en-US" sz="2000" b="1">
                <a:solidFill>
                  <a:prstClr val="white"/>
                </a:solidFill>
                <a:latin typeface="Inter" panose="020B0502030000000004" pitchFamily="34" charset="0"/>
                <a:ea typeface="Inter" panose="020B0502030000000004" pitchFamily="34" charset="0"/>
                <a:sym typeface="Arial"/>
              </a:rPr>
              <a:t>Trusted by</a:t>
            </a:r>
          </a:p>
        </p:txBody>
      </p:sp>
      <p:grpSp>
        <p:nvGrpSpPr>
          <p:cNvPr id="141" name="Group 140">
            <a:extLst>
              <a:ext uri="{FF2B5EF4-FFF2-40B4-BE49-F238E27FC236}">
                <a16:creationId xmlns:a16="http://schemas.microsoft.com/office/drawing/2014/main" id="{AB270443-1C49-4F37-80CE-CBCF23D50B80}"/>
              </a:ext>
            </a:extLst>
          </p:cNvPr>
          <p:cNvGrpSpPr/>
          <p:nvPr/>
        </p:nvGrpSpPr>
        <p:grpSpPr>
          <a:xfrm>
            <a:off x="6096000" y="1302727"/>
            <a:ext cx="5393960" cy="3204383"/>
            <a:chOff x="2428787" y="1177586"/>
            <a:chExt cx="4824015" cy="2865795"/>
          </a:xfrm>
          <a:effectLst>
            <a:outerShdw blurRad="127000" dist="63500" dir="5400000" algn="t" rotWithShape="0">
              <a:prstClr val="black">
                <a:alpha val="15000"/>
              </a:prstClr>
            </a:outerShdw>
          </a:effectLst>
        </p:grpSpPr>
        <p:pic>
          <p:nvPicPr>
            <p:cNvPr id="142" name="Google Shape;310;p51">
              <a:extLst>
                <a:ext uri="{FF2B5EF4-FFF2-40B4-BE49-F238E27FC236}">
                  <a16:creationId xmlns:a16="http://schemas.microsoft.com/office/drawing/2014/main" id="{E2FA0FC7-EE5E-45BF-925C-861D12898F0E}"/>
                </a:ext>
              </a:extLst>
            </p:cNvPr>
            <p:cNvPicPr preferRelativeResize="0"/>
            <p:nvPr/>
          </p:nvPicPr>
          <p:blipFill rotWithShape="1">
            <a:blip r:embed="rId21">
              <a:alphaModFix/>
            </a:blip>
            <a:srcRect l="3661" t="805" r="1876" b="3207"/>
            <a:stretch/>
          </p:blipFill>
          <p:spPr>
            <a:xfrm>
              <a:off x="2970870" y="1331737"/>
              <a:ext cx="3744255" cy="2261871"/>
            </a:xfrm>
            <a:prstGeom prst="rect">
              <a:avLst/>
            </a:prstGeom>
            <a:noFill/>
            <a:ln>
              <a:noFill/>
            </a:ln>
          </p:spPr>
        </p:pic>
        <p:pic>
          <p:nvPicPr>
            <p:cNvPr id="143" name="Picture 142" descr="A picture containing text, monitor, electronics, computer&#10;&#10;Description automatically generated">
              <a:hlinkClick r:id="rId22"/>
              <a:extLst>
                <a:ext uri="{FF2B5EF4-FFF2-40B4-BE49-F238E27FC236}">
                  <a16:creationId xmlns:a16="http://schemas.microsoft.com/office/drawing/2014/main" id="{4AF2C8B3-8FFC-4DC9-8A30-EDAB9AC711C1}"/>
                </a:ext>
              </a:extLst>
            </p:cNvPr>
            <p:cNvPicPr>
              <a:picLocks noChangeAspect="1"/>
            </p:cNvPicPr>
            <p:nvPr/>
          </p:nvPicPr>
          <p:blipFill>
            <a:blip r:embed="rId23" cstate="print">
              <a:extLst>
                <a:ext uri="{28A0092B-C50C-407E-A947-70E740481C1C}">
                  <a14:useLocalDpi xmlns:a14="http://schemas.microsoft.com/office/drawing/2010/main"/>
                </a:ext>
              </a:extLst>
            </a:blip>
            <a:stretch>
              <a:fillRect/>
            </a:stretch>
          </p:blipFill>
          <p:spPr>
            <a:xfrm>
              <a:off x="2428787" y="1177586"/>
              <a:ext cx="4824015" cy="2865795"/>
            </a:xfrm>
            <a:prstGeom prst="rect">
              <a:avLst/>
            </a:prstGeom>
          </p:spPr>
        </p:pic>
      </p:grpSp>
    </p:spTree>
    <p:extLst>
      <p:ext uri="{BB962C8B-B14F-4D97-AF65-F5344CB8AC3E}">
        <p14:creationId xmlns:p14="http://schemas.microsoft.com/office/powerpoint/2010/main" val="370789400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en-ID" dirty="0"/>
              <a:t>PowerPoint Templates</a:t>
            </a:r>
            <a:endParaRPr lang="en-US" dirty="0"/>
          </a:p>
        </p:txBody>
      </p:sp>
      <p:sp>
        <p:nvSpPr>
          <p:cNvPr id="3" name="Date Placeholder 2"/>
          <p:cNvSpPr>
            <a:spLocks noGrp="1"/>
          </p:cNvSpPr>
          <p:nvPr>
            <p:ph type="dt" sz="half" idx="10"/>
          </p:nvPr>
        </p:nvSpPr>
        <p:spPr/>
        <p:txBody>
          <a:bodyPr/>
          <a:lstStyle/>
          <a:p>
            <a:fld id="{C9852138-FCC6-44DD-9FFC-1C789392E7AA}" type="datetime1">
              <a:rPr lang="en-US" smtClean="0"/>
              <a:t>10/28/2022</a:t>
            </a:fld>
            <a:endParaRPr lang="en-US"/>
          </a:p>
        </p:txBody>
      </p:sp>
      <p:sp>
        <p:nvSpPr>
          <p:cNvPr id="4" name="Slide Number Placeholder 3"/>
          <p:cNvSpPr>
            <a:spLocks noGrp="1"/>
          </p:cNvSpPr>
          <p:nvPr>
            <p:ph type="sldNum" sz="quarter" idx="12"/>
          </p:nvPr>
        </p:nvSpPr>
        <p:spPr/>
        <p:txBody>
          <a:bodyPr/>
          <a:lstStyle/>
          <a:p>
            <a:fld id="{03206E70-9524-410D-AE9B-78D656EAA14D}" type="slidenum">
              <a:rPr lang="en-US" smtClean="0"/>
              <a:pPr/>
              <a:t>20</a:t>
            </a:fld>
            <a:endParaRPr lang="en-US"/>
          </a:p>
        </p:txBody>
      </p:sp>
      <p:grpSp>
        <p:nvGrpSpPr>
          <p:cNvPr id="30" name="Group 29"/>
          <p:cNvGrpSpPr/>
          <p:nvPr/>
        </p:nvGrpSpPr>
        <p:grpSpPr>
          <a:xfrm>
            <a:off x="609601" y="1335315"/>
            <a:ext cx="11582399" cy="4826918"/>
            <a:chOff x="-14513" y="1790845"/>
            <a:chExt cx="10489333" cy="4371387"/>
          </a:xfrm>
        </p:grpSpPr>
        <p:sp>
          <p:nvSpPr>
            <p:cNvPr id="5" name="Rectangle 4"/>
            <p:cNvSpPr/>
            <p:nvPr/>
          </p:nvSpPr>
          <p:spPr>
            <a:xfrm>
              <a:off x="2586038" y="3176048"/>
              <a:ext cx="7888782" cy="1311490"/>
            </a:xfrm>
            <a:prstGeom prst="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Light"/>
                <a:ea typeface="+mn-ea"/>
                <a:cs typeface="+mn-cs"/>
              </a:endParaRPr>
            </a:p>
          </p:txBody>
        </p:sp>
        <p:sp>
          <p:nvSpPr>
            <p:cNvPr id="6" name="Rectangle 5"/>
            <p:cNvSpPr/>
            <p:nvPr/>
          </p:nvSpPr>
          <p:spPr>
            <a:xfrm>
              <a:off x="4064000" y="1790845"/>
              <a:ext cx="6410820" cy="1311490"/>
            </a:xfrm>
            <a:prstGeom prst="rect">
              <a:avLst/>
            </a:prstGeom>
            <a:solidFill>
              <a:srgbClr val="D63E2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Light"/>
                <a:ea typeface="+mn-ea"/>
                <a:cs typeface="+mn-cs"/>
              </a:endParaRPr>
            </a:p>
          </p:txBody>
        </p:sp>
        <p:sp>
          <p:nvSpPr>
            <p:cNvPr id="7" name="Rectangle 6"/>
            <p:cNvSpPr/>
            <p:nvPr/>
          </p:nvSpPr>
          <p:spPr>
            <a:xfrm>
              <a:off x="1149349" y="4552718"/>
              <a:ext cx="9325470" cy="1311490"/>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Light"/>
                <a:ea typeface="+mn-ea"/>
                <a:cs typeface="+mn-cs"/>
              </a:endParaRPr>
            </a:p>
          </p:txBody>
        </p:sp>
        <p:sp>
          <p:nvSpPr>
            <p:cNvPr id="8" name="Freeform 7"/>
            <p:cNvSpPr>
              <a:spLocks/>
            </p:cNvSpPr>
            <p:nvPr/>
          </p:nvSpPr>
          <p:spPr bwMode="auto">
            <a:xfrm>
              <a:off x="1125841" y="1790845"/>
              <a:ext cx="5886880" cy="4371387"/>
            </a:xfrm>
            <a:custGeom>
              <a:avLst/>
              <a:gdLst>
                <a:gd name="T0" fmla="*/ 835 w 1670"/>
                <a:gd name="T1" fmla="*/ 0 h 1106"/>
                <a:gd name="T2" fmla="*/ 1670 w 1670"/>
                <a:gd name="T3" fmla="*/ 1106 h 1106"/>
                <a:gd name="T4" fmla="*/ 835 w 1670"/>
                <a:gd name="T5" fmla="*/ 1106 h 1106"/>
                <a:gd name="T6" fmla="*/ 835 w 1670"/>
                <a:gd name="T7" fmla="*/ 1106 h 1106"/>
                <a:gd name="T8" fmla="*/ 0 w 1670"/>
                <a:gd name="T9" fmla="*/ 1106 h 1106"/>
                <a:gd name="T10" fmla="*/ 835 w 1670"/>
                <a:gd name="T11" fmla="*/ 0 h 1106"/>
                <a:gd name="T12" fmla="*/ 835 w 1670"/>
                <a:gd name="T13" fmla="*/ 0 h 1106"/>
              </a:gdLst>
              <a:ahLst/>
              <a:cxnLst>
                <a:cxn ang="0">
                  <a:pos x="T0" y="T1"/>
                </a:cxn>
                <a:cxn ang="0">
                  <a:pos x="T2" y="T3"/>
                </a:cxn>
                <a:cxn ang="0">
                  <a:pos x="T4" y="T5"/>
                </a:cxn>
                <a:cxn ang="0">
                  <a:pos x="T6" y="T7"/>
                </a:cxn>
                <a:cxn ang="0">
                  <a:pos x="T8" y="T9"/>
                </a:cxn>
                <a:cxn ang="0">
                  <a:pos x="T10" y="T11"/>
                </a:cxn>
                <a:cxn ang="0">
                  <a:pos x="T12" y="T13"/>
                </a:cxn>
              </a:cxnLst>
              <a:rect l="0" t="0" r="r" b="b"/>
              <a:pathLst>
                <a:path w="1670" h="1106">
                  <a:moveTo>
                    <a:pt x="835" y="0"/>
                  </a:moveTo>
                  <a:lnTo>
                    <a:pt x="1670" y="1106"/>
                  </a:lnTo>
                  <a:lnTo>
                    <a:pt x="835" y="1106"/>
                  </a:lnTo>
                  <a:lnTo>
                    <a:pt x="835" y="1106"/>
                  </a:lnTo>
                  <a:lnTo>
                    <a:pt x="0" y="1106"/>
                  </a:lnTo>
                  <a:lnTo>
                    <a:pt x="835" y="0"/>
                  </a:lnTo>
                  <a:lnTo>
                    <a:pt x="835" y="0"/>
                  </a:lnTo>
                  <a:close/>
                </a:path>
              </a:pathLst>
            </a:custGeom>
            <a:solidFill>
              <a:srgbClr val="E2583D"/>
            </a:solidFill>
            <a:ln>
              <a:noFill/>
            </a:ln>
            <a:effectLst>
              <a:outerShdw blurRad="50800" dist="38100" algn="l" rotWithShape="0">
                <a:prstClr val="black">
                  <a:alpha val="40000"/>
                </a:prstClr>
              </a:outerShdw>
            </a:effec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dirty="0">
                <a:ln>
                  <a:noFill/>
                </a:ln>
                <a:solidFill>
                  <a:prstClr val="black"/>
                </a:solidFill>
                <a:effectLst/>
                <a:uLnTx/>
                <a:uFillTx/>
                <a:latin typeface="Calibri Light"/>
                <a:ea typeface="+mn-ea"/>
                <a:cs typeface="+mn-cs"/>
              </a:endParaRPr>
            </a:p>
          </p:txBody>
        </p:sp>
        <p:sp>
          <p:nvSpPr>
            <p:cNvPr id="9" name="Isosceles Triangle 8"/>
            <p:cNvSpPr/>
            <p:nvPr/>
          </p:nvSpPr>
          <p:spPr>
            <a:xfrm>
              <a:off x="463713" y="3176048"/>
              <a:ext cx="4244629" cy="2986184"/>
            </a:xfrm>
            <a:prstGeom prst="triangle">
              <a:avLst/>
            </a:prstGeom>
            <a:solidFill>
              <a:schemeClr val="accent3"/>
            </a:solidFill>
            <a:ln>
              <a:noFill/>
            </a:ln>
            <a:effectLst>
              <a:outerShdw blurRad="50800" dist="381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Light"/>
                <a:ea typeface="+mn-ea"/>
                <a:cs typeface="+mn-cs"/>
              </a:endParaRPr>
            </a:p>
          </p:txBody>
        </p:sp>
        <p:sp>
          <p:nvSpPr>
            <p:cNvPr id="10" name="Freeform 9"/>
            <p:cNvSpPr>
              <a:spLocks/>
            </p:cNvSpPr>
            <p:nvPr/>
          </p:nvSpPr>
          <p:spPr bwMode="auto">
            <a:xfrm>
              <a:off x="-14513" y="4552718"/>
              <a:ext cx="2325914" cy="1609514"/>
            </a:xfrm>
            <a:custGeom>
              <a:avLst/>
              <a:gdLst>
                <a:gd name="T0" fmla="*/ 835 w 1670"/>
                <a:gd name="T1" fmla="*/ 0 h 1106"/>
                <a:gd name="T2" fmla="*/ 1670 w 1670"/>
                <a:gd name="T3" fmla="*/ 1106 h 1106"/>
                <a:gd name="T4" fmla="*/ 835 w 1670"/>
                <a:gd name="T5" fmla="*/ 1106 h 1106"/>
                <a:gd name="T6" fmla="*/ 835 w 1670"/>
                <a:gd name="T7" fmla="*/ 1106 h 1106"/>
                <a:gd name="T8" fmla="*/ 0 w 1670"/>
                <a:gd name="T9" fmla="*/ 1106 h 1106"/>
                <a:gd name="T10" fmla="*/ 835 w 1670"/>
                <a:gd name="T11" fmla="*/ 0 h 1106"/>
                <a:gd name="T12" fmla="*/ 835 w 1670"/>
                <a:gd name="T13" fmla="*/ 0 h 1106"/>
              </a:gdLst>
              <a:ahLst/>
              <a:cxnLst>
                <a:cxn ang="0">
                  <a:pos x="T0" y="T1"/>
                </a:cxn>
                <a:cxn ang="0">
                  <a:pos x="T2" y="T3"/>
                </a:cxn>
                <a:cxn ang="0">
                  <a:pos x="T4" y="T5"/>
                </a:cxn>
                <a:cxn ang="0">
                  <a:pos x="T6" y="T7"/>
                </a:cxn>
                <a:cxn ang="0">
                  <a:pos x="T8" y="T9"/>
                </a:cxn>
                <a:cxn ang="0">
                  <a:pos x="T10" y="T11"/>
                </a:cxn>
                <a:cxn ang="0">
                  <a:pos x="T12" y="T13"/>
                </a:cxn>
              </a:cxnLst>
              <a:rect l="0" t="0" r="r" b="b"/>
              <a:pathLst>
                <a:path w="1670" h="1106">
                  <a:moveTo>
                    <a:pt x="835" y="0"/>
                  </a:moveTo>
                  <a:lnTo>
                    <a:pt x="1670" y="1106"/>
                  </a:lnTo>
                  <a:lnTo>
                    <a:pt x="835" y="1106"/>
                  </a:lnTo>
                  <a:lnTo>
                    <a:pt x="835" y="1106"/>
                  </a:lnTo>
                  <a:lnTo>
                    <a:pt x="0" y="1106"/>
                  </a:lnTo>
                  <a:lnTo>
                    <a:pt x="835" y="0"/>
                  </a:lnTo>
                  <a:lnTo>
                    <a:pt x="835" y="0"/>
                  </a:lnTo>
                  <a:close/>
                </a:path>
              </a:pathLst>
            </a:custGeom>
            <a:solidFill>
              <a:schemeClr val="accent4"/>
            </a:solidFill>
            <a:ln>
              <a:noFill/>
            </a:ln>
            <a:effectLst>
              <a:outerShdw blurRad="50800" dist="38100" algn="l" rotWithShape="0">
                <a:prstClr val="black">
                  <a:alpha val="40000"/>
                </a:prstClr>
              </a:outerShdw>
            </a:effec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dirty="0">
                <a:ln>
                  <a:noFill/>
                </a:ln>
                <a:solidFill>
                  <a:prstClr val="black"/>
                </a:solidFill>
                <a:effectLst/>
                <a:uLnTx/>
                <a:uFillTx/>
                <a:latin typeface="Calibri Light"/>
                <a:ea typeface="+mn-ea"/>
                <a:cs typeface="+mn-cs"/>
              </a:endParaRPr>
            </a:p>
          </p:txBody>
        </p:sp>
        <p:grpSp>
          <p:nvGrpSpPr>
            <p:cNvPr id="11" name="Group 10"/>
            <p:cNvGrpSpPr/>
            <p:nvPr/>
          </p:nvGrpSpPr>
          <p:grpSpPr>
            <a:xfrm>
              <a:off x="2444028" y="3770954"/>
              <a:ext cx="283999" cy="285493"/>
              <a:chOff x="1547813" y="3240088"/>
              <a:chExt cx="301626" cy="303213"/>
            </a:xfrm>
            <a:solidFill>
              <a:schemeClr val="bg1"/>
            </a:solidFill>
          </p:grpSpPr>
          <p:sp>
            <p:nvSpPr>
              <p:cNvPr id="12" name="Freeform 61"/>
              <p:cNvSpPr>
                <a:spLocks noEditPoints="1"/>
              </p:cNvSpPr>
              <p:nvPr/>
            </p:nvSpPr>
            <p:spPr bwMode="auto">
              <a:xfrm>
                <a:off x="1611313" y="3392488"/>
                <a:ext cx="85725" cy="87313"/>
              </a:xfrm>
              <a:custGeom>
                <a:avLst/>
                <a:gdLst>
                  <a:gd name="T0" fmla="*/ 92 w 218"/>
                  <a:gd name="T1" fmla="*/ 191 h 219"/>
                  <a:gd name="T2" fmla="*/ 70 w 218"/>
                  <a:gd name="T3" fmla="*/ 183 h 219"/>
                  <a:gd name="T4" fmla="*/ 50 w 218"/>
                  <a:gd name="T5" fmla="*/ 168 h 219"/>
                  <a:gd name="T6" fmla="*/ 35 w 218"/>
                  <a:gd name="T7" fmla="*/ 149 h 219"/>
                  <a:gd name="T8" fmla="*/ 27 w 218"/>
                  <a:gd name="T9" fmla="*/ 125 h 219"/>
                  <a:gd name="T10" fmla="*/ 26 w 218"/>
                  <a:gd name="T11" fmla="*/ 101 h 219"/>
                  <a:gd name="T12" fmla="*/ 32 w 218"/>
                  <a:gd name="T13" fmla="*/ 77 h 219"/>
                  <a:gd name="T14" fmla="*/ 45 w 218"/>
                  <a:gd name="T15" fmla="*/ 56 h 219"/>
                  <a:gd name="T16" fmla="*/ 62 w 218"/>
                  <a:gd name="T17" fmla="*/ 40 h 219"/>
                  <a:gd name="T18" fmla="*/ 85 w 218"/>
                  <a:gd name="T19" fmla="*/ 29 h 219"/>
                  <a:gd name="T20" fmla="*/ 109 w 218"/>
                  <a:gd name="T21" fmla="*/ 26 h 219"/>
                  <a:gd name="T22" fmla="*/ 134 w 218"/>
                  <a:gd name="T23" fmla="*/ 29 h 219"/>
                  <a:gd name="T24" fmla="*/ 155 w 218"/>
                  <a:gd name="T25" fmla="*/ 40 h 219"/>
                  <a:gd name="T26" fmla="*/ 174 w 218"/>
                  <a:gd name="T27" fmla="*/ 56 h 219"/>
                  <a:gd name="T28" fmla="*/ 186 w 218"/>
                  <a:gd name="T29" fmla="*/ 77 h 219"/>
                  <a:gd name="T30" fmla="*/ 192 w 218"/>
                  <a:gd name="T31" fmla="*/ 101 h 219"/>
                  <a:gd name="T32" fmla="*/ 191 w 218"/>
                  <a:gd name="T33" fmla="*/ 125 h 219"/>
                  <a:gd name="T34" fmla="*/ 182 w 218"/>
                  <a:gd name="T35" fmla="*/ 149 h 219"/>
                  <a:gd name="T36" fmla="*/ 168 w 218"/>
                  <a:gd name="T37" fmla="*/ 168 h 219"/>
                  <a:gd name="T38" fmla="*/ 149 w 218"/>
                  <a:gd name="T39" fmla="*/ 183 h 219"/>
                  <a:gd name="T40" fmla="*/ 125 w 218"/>
                  <a:gd name="T41" fmla="*/ 191 h 219"/>
                  <a:gd name="T42" fmla="*/ 109 w 218"/>
                  <a:gd name="T43" fmla="*/ 0 h 219"/>
                  <a:gd name="T44" fmla="*/ 77 w 218"/>
                  <a:gd name="T45" fmla="*/ 4 h 219"/>
                  <a:gd name="T46" fmla="*/ 48 w 218"/>
                  <a:gd name="T47" fmla="*/ 18 h 219"/>
                  <a:gd name="T48" fmla="*/ 25 w 218"/>
                  <a:gd name="T49" fmla="*/ 40 h 219"/>
                  <a:gd name="T50" fmla="*/ 8 w 218"/>
                  <a:gd name="T51" fmla="*/ 66 h 219"/>
                  <a:gd name="T52" fmla="*/ 1 w 218"/>
                  <a:gd name="T53" fmla="*/ 98 h 219"/>
                  <a:gd name="T54" fmla="*/ 2 w 218"/>
                  <a:gd name="T55" fmla="*/ 131 h 219"/>
                  <a:gd name="T56" fmla="*/ 13 w 218"/>
                  <a:gd name="T57" fmla="*/ 161 h 219"/>
                  <a:gd name="T58" fmla="*/ 32 w 218"/>
                  <a:gd name="T59" fmla="*/ 187 h 219"/>
                  <a:gd name="T60" fmla="*/ 57 w 218"/>
                  <a:gd name="T61" fmla="*/ 205 h 219"/>
                  <a:gd name="T62" fmla="*/ 87 w 218"/>
                  <a:gd name="T63" fmla="*/ 217 h 219"/>
                  <a:gd name="T64" fmla="*/ 120 w 218"/>
                  <a:gd name="T65" fmla="*/ 218 h 219"/>
                  <a:gd name="T66" fmla="*/ 151 w 218"/>
                  <a:gd name="T67" fmla="*/ 210 h 219"/>
                  <a:gd name="T68" fmla="*/ 178 w 218"/>
                  <a:gd name="T69" fmla="*/ 193 h 219"/>
                  <a:gd name="T70" fmla="*/ 200 w 218"/>
                  <a:gd name="T71" fmla="*/ 171 h 219"/>
                  <a:gd name="T72" fmla="*/ 213 w 218"/>
                  <a:gd name="T73" fmla="*/ 142 h 219"/>
                  <a:gd name="T74" fmla="*/ 218 w 218"/>
                  <a:gd name="T75" fmla="*/ 109 h 219"/>
                  <a:gd name="T76" fmla="*/ 213 w 218"/>
                  <a:gd name="T77" fmla="*/ 77 h 219"/>
                  <a:gd name="T78" fmla="*/ 200 w 218"/>
                  <a:gd name="T79" fmla="*/ 48 h 219"/>
                  <a:gd name="T80" fmla="*/ 178 w 218"/>
                  <a:gd name="T81" fmla="*/ 25 h 219"/>
                  <a:gd name="T82" fmla="*/ 151 w 218"/>
                  <a:gd name="T83" fmla="*/ 8 h 219"/>
                  <a:gd name="T84" fmla="*/ 120 w 218"/>
                  <a:gd name="T85" fmla="*/ 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18" h="219">
                    <a:moveTo>
                      <a:pt x="109" y="193"/>
                    </a:moveTo>
                    <a:lnTo>
                      <a:pt x="101" y="193"/>
                    </a:lnTo>
                    <a:lnTo>
                      <a:pt x="92" y="191"/>
                    </a:lnTo>
                    <a:lnTo>
                      <a:pt x="85" y="190"/>
                    </a:lnTo>
                    <a:lnTo>
                      <a:pt x="76" y="187"/>
                    </a:lnTo>
                    <a:lnTo>
                      <a:pt x="70" y="183"/>
                    </a:lnTo>
                    <a:lnTo>
                      <a:pt x="62" y="179"/>
                    </a:lnTo>
                    <a:lnTo>
                      <a:pt x="56" y="174"/>
                    </a:lnTo>
                    <a:lnTo>
                      <a:pt x="50" y="168"/>
                    </a:lnTo>
                    <a:lnTo>
                      <a:pt x="45" y="162"/>
                    </a:lnTo>
                    <a:lnTo>
                      <a:pt x="40" y="156"/>
                    </a:lnTo>
                    <a:lnTo>
                      <a:pt x="35" y="149"/>
                    </a:lnTo>
                    <a:lnTo>
                      <a:pt x="32" y="142"/>
                    </a:lnTo>
                    <a:lnTo>
                      <a:pt x="29" y="134"/>
                    </a:lnTo>
                    <a:lnTo>
                      <a:pt x="27" y="125"/>
                    </a:lnTo>
                    <a:lnTo>
                      <a:pt x="26" y="118"/>
                    </a:lnTo>
                    <a:lnTo>
                      <a:pt x="26" y="109"/>
                    </a:lnTo>
                    <a:lnTo>
                      <a:pt x="26" y="101"/>
                    </a:lnTo>
                    <a:lnTo>
                      <a:pt x="27" y="92"/>
                    </a:lnTo>
                    <a:lnTo>
                      <a:pt x="29" y="85"/>
                    </a:lnTo>
                    <a:lnTo>
                      <a:pt x="32" y="77"/>
                    </a:lnTo>
                    <a:lnTo>
                      <a:pt x="35" y="70"/>
                    </a:lnTo>
                    <a:lnTo>
                      <a:pt x="40" y="62"/>
                    </a:lnTo>
                    <a:lnTo>
                      <a:pt x="45" y="56"/>
                    </a:lnTo>
                    <a:lnTo>
                      <a:pt x="50" y="50"/>
                    </a:lnTo>
                    <a:lnTo>
                      <a:pt x="56" y="45"/>
                    </a:lnTo>
                    <a:lnTo>
                      <a:pt x="62" y="40"/>
                    </a:lnTo>
                    <a:lnTo>
                      <a:pt x="70" y="35"/>
                    </a:lnTo>
                    <a:lnTo>
                      <a:pt x="76" y="32"/>
                    </a:lnTo>
                    <a:lnTo>
                      <a:pt x="85" y="29"/>
                    </a:lnTo>
                    <a:lnTo>
                      <a:pt x="92" y="27"/>
                    </a:lnTo>
                    <a:lnTo>
                      <a:pt x="101" y="26"/>
                    </a:lnTo>
                    <a:lnTo>
                      <a:pt x="109" y="26"/>
                    </a:lnTo>
                    <a:lnTo>
                      <a:pt x="118" y="26"/>
                    </a:lnTo>
                    <a:lnTo>
                      <a:pt x="125" y="27"/>
                    </a:lnTo>
                    <a:lnTo>
                      <a:pt x="134" y="29"/>
                    </a:lnTo>
                    <a:lnTo>
                      <a:pt x="142" y="32"/>
                    </a:lnTo>
                    <a:lnTo>
                      <a:pt x="149" y="35"/>
                    </a:lnTo>
                    <a:lnTo>
                      <a:pt x="155" y="40"/>
                    </a:lnTo>
                    <a:lnTo>
                      <a:pt x="162" y="45"/>
                    </a:lnTo>
                    <a:lnTo>
                      <a:pt x="168" y="50"/>
                    </a:lnTo>
                    <a:lnTo>
                      <a:pt x="174" y="56"/>
                    </a:lnTo>
                    <a:lnTo>
                      <a:pt x="178" y="62"/>
                    </a:lnTo>
                    <a:lnTo>
                      <a:pt x="182" y="70"/>
                    </a:lnTo>
                    <a:lnTo>
                      <a:pt x="186" y="77"/>
                    </a:lnTo>
                    <a:lnTo>
                      <a:pt x="189" y="85"/>
                    </a:lnTo>
                    <a:lnTo>
                      <a:pt x="191" y="92"/>
                    </a:lnTo>
                    <a:lnTo>
                      <a:pt x="192" y="101"/>
                    </a:lnTo>
                    <a:lnTo>
                      <a:pt x="193" y="109"/>
                    </a:lnTo>
                    <a:lnTo>
                      <a:pt x="192" y="118"/>
                    </a:lnTo>
                    <a:lnTo>
                      <a:pt x="191" y="125"/>
                    </a:lnTo>
                    <a:lnTo>
                      <a:pt x="189" y="134"/>
                    </a:lnTo>
                    <a:lnTo>
                      <a:pt x="186" y="142"/>
                    </a:lnTo>
                    <a:lnTo>
                      <a:pt x="182" y="149"/>
                    </a:lnTo>
                    <a:lnTo>
                      <a:pt x="178" y="156"/>
                    </a:lnTo>
                    <a:lnTo>
                      <a:pt x="174" y="162"/>
                    </a:lnTo>
                    <a:lnTo>
                      <a:pt x="168" y="168"/>
                    </a:lnTo>
                    <a:lnTo>
                      <a:pt x="162" y="174"/>
                    </a:lnTo>
                    <a:lnTo>
                      <a:pt x="155" y="179"/>
                    </a:lnTo>
                    <a:lnTo>
                      <a:pt x="149" y="183"/>
                    </a:lnTo>
                    <a:lnTo>
                      <a:pt x="142" y="187"/>
                    </a:lnTo>
                    <a:lnTo>
                      <a:pt x="134" y="190"/>
                    </a:lnTo>
                    <a:lnTo>
                      <a:pt x="125" y="191"/>
                    </a:lnTo>
                    <a:lnTo>
                      <a:pt x="118" y="193"/>
                    </a:lnTo>
                    <a:lnTo>
                      <a:pt x="109" y="193"/>
                    </a:lnTo>
                    <a:close/>
                    <a:moveTo>
                      <a:pt x="109" y="0"/>
                    </a:moveTo>
                    <a:lnTo>
                      <a:pt x="98" y="0"/>
                    </a:lnTo>
                    <a:lnTo>
                      <a:pt x="87" y="2"/>
                    </a:lnTo>
                    <a:lnTo>
                      <a:pt x="77" y="4"/>
                    </a:lnTo>
                    <a:lnTo>
                      <a:pt x="66" y="8"/>
                    </a:lnTo>
                    <a:lnTo>
                      <a:pt x="57" y="13"/>
                    </a:lnTo>
                    <a:lnTo>
                      <a:pt x="48" y="18"/>
                    </a:lnTo>
                    <a:lnTo>
                      <a:pt x="40" y="25"/>
                    </a:lnTo>
                    <a:lnTo>
                      <a:pt x="32" y="32"/>
                    </a:lnTo>
                    <a:lnTo>
                      <a:pt x="25" y="40"/>
                    </a:lnTo>
                    <a:lnTo>
                      <a:pt x="19" y="48"/>
                    </a:lnTo>
                    <a:lnTo>
                      <a:pt x="13" y="57"/>
                    </a:lnTo>
                    <a:lnTo>
                      <a:pt x="8" y="66"/>
                    </a:lnTo>
                    <a:lnTo>
                      <a:pt x="5" y="77"/>
                    </a:lnTo>
                    <a:lnTo>
                      <a:pt x="2" y="87"/>
                    </a:lnTo>
                    <a:lnTo>
                      <a:pt x="1" y="98"/>
                    </a:lnTo>
                    <a:lnTo>
                      <a:pt x="0" y="109"/>
                    </a:lnTo>
                    <a:lnTo>
                      <a:pt x="1" y="120"/>
                    </a:lnTo>
                    <a:lnTo>
                      <a:pt x="2" y="131"/>
                    </a:lnTo>
                    <a:lnTo>
                      <a:pt x="5" y="142"/>
                    </a:lnTo>
                    <a:lnTo>
                      <a:pt x="8" y="151"/>
                    </a:lnTo>
                    <a:lnTo>
                      <a:pt x="13" y="161"/>
                    </a:lnTo>
                    <a:lnTo>
                      <a:pt x="19" y="171"/>
                    </a:lnTo>
                    <a:lnTo>
                      <a:pt x="25" y="178"/>
                    </a:lnTo>
                    <a:lnTo>
                      <a:pt x="32" y="187"/>
                    </a:lnTo>
                    <a:lnTo>
                      <a:pt x="40" y="193"/>
                    </a:lnTo>
                    <a:lnTo>
                      <a:pt x="48" y="200"/>
                    </a:lnTo>
                    <a:lnTo>
                      <a:pt x="57" y="205"/>
                    </a:lnTo>
                    <a:lnTo>
                      <a:pt x="66" y="210"/>
                    </a:lnTo>
                    <a:lnTo>
                      <a:pt x="77" y="214"/>
                    </a:lnTo>
                    <a:lnTo>
                      <a:pt x="87" y="217"/>
                    </a:lnTo>
                    <a:lnTo>
                      <a:pt x="98" y="218"/>
                    </a:lnTo>
                    <a:lnTo>
                      <a:pt x="109" y="219"/>
                    </a:lnTo>
                    <a:lnTo>
                      <a:pt x="120" y="218"/>
                    </a:lnTo>
                    <a:lnTo>
                      <a:pt x="131" y="217"/>
                    </a:lnTo>
                    <a:lnTo>
                      <a:pt x="142" y="214"/>
                    </a:lnTo>
                    <a:lnTo>
                      <a:pt x="151" y="210"/>
                    </a:lnTo>
                    <a:lnTo>
                      <a:pt x="161" y="205"/>
                    </a:lnTo>
                    <a:lnTo>
                      <a:pt x="169" y="200"/>
                    </a:lnTo>
                    <a:lnTo>
                      <a:pt x="178" y="193"/>
                    </a:lnTo>
                    <a:lnTo>
                      <a:pt x="187" y="187"/>
                    </a:lnTo>
                    <a:lnTo>
                      <a:pt x="193" y="178"/>
                    </a:lnTo>
                    <a:lnTo>
                      <a:pt x="200" y="171"/>
                    </a:lnTo>
                    <a:lnTo>
                      <a:pt x="205" y="161"/>
                    </a:lnTo>
                    <a:lnTo>
                      <a:pt x="209" y="151"/>
                    </a:lnTo>
                    <a:lnTo>
                      <a:pt x="213" y="142"/>
                    </a:lnTo>
                    <a:lnTo>
                      <a:pt x="216" y="131"/>
                    </a:lnTo>
                    <a:lnTo>
                      <a:pt x="218" y="120"/>
                    </a:lnTo>
                    <a:lnTo>
                      <a:pt x="218" y="109"/>
                    </a:lnTo>
                    <a:lnTo>
                      <a:pt x="218" y="98"/>
                    </a:lnTo>
                    <a:lnTo>
                      <a:pt x="216" y="87"/>
                    </a:lnTo>
                    <a:lnTo>
                      <a:pt x="213" y="77"/>
                    </a:lnTo>
                    <a:lnTo>
                      <a:pt x="209" y="66"/>
                    </a:lnTo>
                    <a:lnTo>
                      <a:pt x="205" y="57"/>
                    </a:lnTo>
                    <a:lnTo>
                      <a:pt x="200" y="48"/>
                    </a:lnTo>
                    <a:lnTo>
                      <a:pt x="193" y="40"/>
                    </a:lnTo>
                    <a:lnTo>
                      <a:pt x="187" y="32"/>
                    </a:lnTo>
                    <a:lnTo>
                      <a:pt x="178" y="25"/>
                    </a:lnTo>
                    <a:lnTo>
                      <a:pt x="169" y="18"/>
                    </a:lnTo>
                    <a:lnTo>
                      <a:pt x="161" y="13"/>
                    </a:lnTo>
                    <a:lnTo>
                      <a:pt x="151" y="8"/>
                    </a:lnTo>
                    <a:lnTo>
                      <a:pt x="142" y="4"/>
                    </a:lnTo>
                    <a:lnTo>
                      <a:pt x="131" y="2"/>
                    </a:lnTo>
                    <a:lnTo>
                      <a:pt x="120" y="0"/>
                    </a:lnTo>
                    <a:lnTo>
                      <a:pt x="10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Light"/>
                  <a:ea typeface="+mn-ea"/>
                  <a:cs typeface="+mn-cs"/>
                </a:endParaRPr>
              </a:p>
            </p:txBody>
          </p:sp>
          <p:sp>
            <p:nvSpPr>
              <p:cNvPr id="13" name="Freeform 62"/>
              <p:cNvSpPr>
                <a:spLocks noEditPoints="1"/>
              </p:cNvSpPr>
              <p:nvPr/>
            </p:nvSpPr>
            <p:spPr bwMode="auto">
              <a:xfrm>
                <a:off x="1763713" y="3278188"/>
                <a:ext cx="49213" cy="47625"/>
              </a:xfrm>
              <a:custGeom>
                <a:avLst/>
                <a:gdLst>
                  <a:gd name="T0" fmla="*/ 54 w 122"/>
                  <a:gd name="T1" fmla="*/ 96 h 121"/>
                  <a:gd name="T2" fmla="*/ 41 w 122"/>
                  <a:gd name="T3" fmla="*/ 90 h 121"/>
                  <a:gd name="T4" fmla="*/ 31 w 122"/>
                  <a:gd name="T5" fmla="*/ 81 h 121"/>
                  <a:gd name="T6" fmla="*/ 26 w 122"/>
                  <a:gd name="T7" fmla="*/ 68 h 121"/>
                  <a:gd name="T8" fmla="*/ 26 w 122"/>
                  <a:gd name="T9" fmla="*/ 54 h 121"/>
                  <a:gd name="T10" fmla="*/ 31 w 122"/>
                  <a:gd name="T11" fmla="*/ 41 h 121"/>
                  <a:gd name="T12" fmla="*/ 41 w 122"/>
                  <a:gd name="T13" fmla="*/ 31 h 121"/>
                  <a:gd name="T14" fmla="*/ 54 w 122"/>
                  <a:gd name="T15" fmla="*/ 26 h 121"/>
                  <a:gd name="T16" fmla="*/ 68 w 122"/>
                  <a:gd name="T17" fmla="*/ 26 h 121"/>
                  <a:gd name="T18" fmla="*/ 81 w 122"/>
                  <a:gd name="T19" fmla="*/ 31 h 121"/>
                  <a:gd name="T20" fmla="*/ 90 w 122"/>
                  <a:gd name="T21" fmla="*/ 41 h 121"/>
                  <a:gd name="T22" fmla="*/ 96 w 122"/>
                  <a:gd name="T23" fmla="*/ 54 h 121"/>
                  <a:gd name="T24" fmla="*/ 96 w 122"/>
                  <a:gd name="T25" fmla="*/ 68 h 121"/>
                  <a:gd name="T26" fmla="*/ 90 w 122"/>
                  <a:gd name="T27" fmla="*/ 81 h 121"/>
                  <a:gd name="T28" fmla="*/ 81 w 122"/>
                  <a:gd name="T29" fmla="*/ 90 h 121"/>
                  <a:gd name="T30" fmla="*/ 68 w 122"/>
                  <a:gd name="T31" fmla="*/ 96 h 121"/>
                  <a:gd name="T32" fmla="*/ 61 w 122"/>
                  <a:gd name="T33" fmla="*/ 0 h 121"/>
                  <a:gd name="T34" fmla="*/ 49 w 122"/>
                  <a:gd name="T35" fmla="*/ 1 h 121"/>
                  <a:gd name="T36" fmla="*/ 38 w 122"/>
                  <a:gd name="T37" fmla="*/ 4 h 121"/>
                  <a:gd name="T38" fmla="*/ 27 w 122"/>
                  <a:gd name="T39" fmla="*/ 11 h 121"/>
                  <a:gd name="T40" fmla="*/ 19 w 122"/>
                  <a:gd name="T41" fmla="*/ 18 h 121"/>
                  <a:gd name="T42" fmla="*/ 11 w 122"/>
                  <a:gd name="T43" fmla="*/ 27 h 121"/>
                  <a:gd name="T44" fmla="*/ 5 w 122"/>
                  <a:gd name="T45" fmla="*/ 38 h 121"/>
                  <a:gd name="T46" fmla="*/ 1 w 122"/>
                  <a:gd name="T47" fmla="*/ 48 h 121"/>
                  <a:gd name="T48" fmla="*/ 0 w 122"/>
                  <a:gd name="T49" fmla="*/ 61 h 121"/>
                  <a:gd name="T50" fmla="*/ 1 w 122"/>
                  <a:gd name="T51" fmla="*/ 73 h 121"/>
                  <a:gd name="T52" fmla="*/ 5 w 122"/>
                  <a:gd name="T53" fmla="*/ 85 h 121"/>
                  <a:gd name="T54" fmla="*/ 11 w 122"/>
                  <a:gd name="T55" fmla="*/ 96 h 121"/>
                  <a:gd name="T56" fmla="*/ 19 w 122"/>
                  <a:gd name="T57" fmla="*/ 104 h 121"/>
                  <a:gd name="T58" fmla="*/ 27 w 122"/>
                  <a:gd name="T59" fmla="*/ 112 h 121"/>
                  <a:gd name="T60" fmla="*/ 38 w 122"/>
                  <a:gd name="T61" fmla="*/ 117 h 121"/>
                  <a:gd name="T62" fmla="*/ 49 w 122"/>
                  <a:gd name="T63" fmla="*/ 120 h 121"/>
                  <a:gd name="T64" fmla="*/ 61 w 122"/>
                  <a:gd name="T65" fmla="*/ 121 h 121"/>
                  <a:gd name="T66" fmla="*/ 73 w 122"/>
                  <a:gd name="T67" fmla="*/ 120 h 121"/>
                  <a:gd name="T68" fmla="*/ 85 w 122"/>
                  <a:gd name="T69" fmla="*/ 117 h 121"/>
                  <a:gd name="T70" fmla="*/ 95 w 122"/>
                  <a:gd name="T71" fmla="*/ 112 h 121"/>
                  <a:gd name="T72" fmla="*/ 104 w 122"/>
                  <a:gd name="T73" fmla="*/ 104 h 121"/>
                  <a:gd name="T74" fmla="*/ 112 w 122"/>
                  <a:gd name="T75" fmla="*/ 96 h 121"/>
                  <a:gd name="T76" fmla="*/ 117 w 122"/>
                  <a:gd name="T77" fmla="*/ 85 h 121"/>
                  <a:gd name="T78" fmla="*/ 121 w 122"/>
                  <a:gd name="T79" fmla="*/ 73 h 121"/>
                  <a:gd name="T80" fmla="*/ 122 w 122"/>
                  <a:gd name="T81" fmla="*/ 61 h 121"/>
                  <a:gd name="T82" fmla="*/ 121 w 122"/>
                  <a:gd name="T83" fmla="*/ 48 h 121"/>
                  <a:gd name="T84" fmla="*/ 117 w 122"/>
                  <a:gd name="T85" fmla="*/ 38 h 121"/>
                  <a:gd name="T86" fmla="*/ 112 w 122"/>
                  <a:gd name="T87" fmla="*/ 27 h 121"/>
                  <a:gd name="T88" fmla="*/ 104 w 122"/>
                  <a:gd name="T89" fmla="*/ 18 h 121"/>
                  <a:gd name="T90" fmla="*/ 95 w 122"/>
                  <a:gd name="T91" fmla="*/ 11 h 121"/>
                  <a:gd name="T92" fmla="*/ 85 w 122"/>
                  <a:gd name="T93" fmla="*/ 4 h 121"/>
                  <a:gd name="T94" fmla="*/ 73 w 122"/>
                  <a:gd name="T95" fmla="*/ 1 h 121"/>
                  <a:gd name="T96" fmla="*/ 61 w 122"/>
                  <a:gd name="T97" fmla="*/ 0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22" h="121">
                    <a:moveTo>
                      <a:pt x="61" y="97"/>
                    </a:moveTo>
                    <a:lnTo>
                      <a:pt x="54" y="96"/>
                    </a:lnTo>
                    <a:lnTo>
                      <a:pt x="47" y="93"/>
                    </a:lnTo>
                    <a:lnTo>
                      <a:pt x="41" y="90"/>
                    </a:lnTo>
                    <a:lnTo>
                      <a:pt x="36" y="86"/>
                    </a:lnTo>
                    <a:lnTo>
                      <a:pt x="31" y="81"/>
                    </a:lnTo>
                    <a:lnTo>
                      <a:pt x="28" y="75"/>
                    </a:lnTo>
                    <a:lnTo>
                      <a:pt x="26" y="68"/>
                    </a:lnTo>
                    <a:lnTo>
                      <a:pt x="26" y="61"/>
                    </a:lnTo>
                    <a:lnTo>
                      <a:pt x="26" y="54"/>
                    </a:lnTo>
                    <a:lnTo>
                      <a:pt x="28" y="47"/>
                    </a:lnTo>
                    <a:lnTo>
                      <a:pt x="31" y="41"/>
                    </a:lnTo>
                    <a:lnTo>
                      <a:pt x="36" y="35"/>
                    </a:lnTo>
                    <a:lnTo>
                      <a:pt x="41" y="31"/>
                    </a:lnTo>
                    <a:lnTo>
                      <a:pt x="47" y="28"/>
                    </a:lnTo>
                    <a:lnTo>
                      <a:pt x="54" y="26"/>
                    </a:lnTo>
                    <a:lnTo>
                      <a:pt x="61" y="25"/>
                    </a:lnTo>
                    <a:lnTo>
                      <a:pt x="68" y="26"/>
                    </a:lnTo>
                    <a:lnTo>
                      <a:pt x="75" y="28"/>
                    </a:lnTo>
                    <a:lnTo>
                      <a:pt x="81" y="31"/>
                    </a:lnTo>
                    <a:lnTo>
                      <a:pt x="86" y="35"/>
                    </a:lnTo>
                    <a:lnTo>
                      <a:pt x="90" y="41"/>
                    </a:lnTo>
                    <a:lnTo>
                      <a:pt x="94" y="47"/>
                    </a:lnTo>
                    <a:lnTo>
                      <a:pt x="96" y="54"/>
                    </a:lnTo>
                    <a:lnTo>
                      <a:pt x="97" y="61"/>
                    </a:lnTo>
                    <a:lnTo>
                      <a:pt x="96" y="68"/>
                    </a:lnTo>
                    <a:lnTo>
                      <a:pt x="94" y="75"/>
                    </a:lnTo>
                    <a:lnTo>
                      <a:pt x="90" y="81"/>
                    </a:lnTo>
                    <a:lnTo>
                      <a:pt x="86" y="86"/>
                    </a:lnTo>
                    <a:lnTo>
                      <a:pt x="81" y="90"/>
                    </a:lnTo>
                    <a:lnTo>
                      <a:pt x="75" y="93"/>
                    </a:lnTo>
                    <a:lnTo>
                      <a:pt x="68" y="96"/>
                    </a:lnTo>
                    <a:lnTo>
                      <a:pt x="61" y="97"/>
                    </a:lnTo>
                    <a:close/>
                    <a:moveTo>
                      <a:pt x="61" y="0"/>
                    </a:moveTo>
                    <a:lnTo>
                      <a:pt x="55" y="0"/>
                    </a:lnTo>
                    <a:lnTo>
                      <a:pt x="49" y="1"/>
                    </a:lnTo>
                    <a:lnTo>
                      <a:pt x="43" y="2"/>
                    </a:lnTo>
                    <a:lnTo>
                      <a:pt x="38" y="4"/>
                    </a:lnTo>
                    <a:lnTo>
                      <a:pt x="32" y="8"/>
                    </a:lnTo>
                    <a:lnTo>
                      <a:pt x="27" y="11"/>
                    </a:lnTo>
                    <a:lnTo>
                      <a:pt x="23" y="14"/>
                    </a:lnTo>
                    <a:lnTo>
                      <a:pt x="19" y="18"/>
                    </a:lnTo>
                    <a:lnTo>
                      <a:pt x="14" y="23"/>
                    </a:lnTo>
                    <a:lnTo>
                      <a:pt x="11" y="27"/>
                    </a:lnTo>
                    <a:lnTo>
                      <a:pt x="8" y="32"/>
                    </a:lnTo>
                    <a:lnTo>
                      <a:pt x="5" y="38"/>
                    </a:lnTo>
                    <a:lnTo>
                      <a:pt x="3" y="43"/>
                    </a:lnTo>
                    <a:lnTo>
                      <a:pt x="1" y="48"/>
                    </a:lnTo>
                    <a:lnTo>
                      <a:pt x="0" y="55"/>
                    </a:lnTo>
                    <a:lnTo>
                      <a:pt x="0" y="61"/>
                    </a:lnTo>
                    <a:lnTo>
                      <a:pt x="0" y="67"/>
                    </a:lnTo>
                    <a:lnTo>
                      <a:pt x="1" y="73"/>
                    </a:lnTo>
                    <a:lnTo>
                      <a:pt x="3" y="79"/>
                    </a:lnTo>
                    <a:lnTo>
                      <a:pt x="5" y="85"/>
                    </a:lnTo>
                    <a:lnTo>
                      <a:pt x="8" y="90"/>
                    </a:lnTo>
                    <a:lnTo>
                      <a:pt x="11" y="96"/>
                    </a:lnTo>
                    <a:lnTo>
                      <a:pt x="14" y="100"/>
                    </a:lnTo>
                    <a:lnTo>
                      <a:pt x="19" y="104"/>
                    </a:lnTo>
                    <a:lnTo>
                      <a:pt x="23" y="108"/>
                    </a:lnTo>
                    <a:lnTo>
                      <a:pt x="27" y="112"/>
                    </a:lnTo>
                    <a:lnTo>
                      <a:pt x="32" y="115"/>
                    </a:lnTo>
                    <a:lnTo>
                      <a:pt x="38" y="117"/>
                    </a:lnTo>
                    <a:lnTo>
                      <a:pt x="43" y="119"/>
                    </a:lnTo>
                    <a:lnTo>
                      <a:pt x="49" y="120"/>
                    </a:lnTo>
                    <a:lnTo>
                      <a:pt x="55" y="121"/>
                    </a:lnTo>
                    <a:lnTo>
                      <a:pt x="61" y="121"/>
                    </a:lnTo>
                    <a:lnTo>
                      <a:pt x="68" y="121"/>
                    </a:lnTo>
                    <a:lnTo>
                      <a:pt x="73" y="120"/>
                    </a:lnTo>
                    <a:lnTo>
                      <a:pt x="80" y="119"/>
                    </a:lnTo>
                    <a:lnTo>
                      <a:pt x="85" y="117"/>
                    </a:lnTo>
                    <a:lnTo>
                      <a:pt x="90" y="115"/>
                    </a:lnTo>
                    <a:lnTo>
                      <a:pt x="95" y="112"/>
                    </a:lnTo>
                    <a:lnTo>
                      <a:pt x="100" y="108"/>
                    </a:lnTo>
                    <a:lnTo>
                      <a:pt x="104" y="104"/>
                    </a:lnTo>
                    <a:lnTo>
                      <a:pt x="108" y="100"/>
                    </a:lnTo>
                    <a:lnTo>
                      <a:pt x="112" y="96"/>
                    </a:lnTo>
                    <a:lnTo>
                      <a:pt x="115" y="90"/>
                    </a:lnTo>
                    <a:lnTo>
                      <a:pt x="117" y="85"/>
                    </a:lnTo>
                    <a:lnTo>
                      <a:pt x="119" y="79"/>
                    </a:lnTo>
                    <a:lnTo>
                      <a:pt x="121" y="73"/>
                    </a:lnTo>
                    <a:lnTo>
                      <a:pt x="122" y="67"/>
                    </a:lnTo>
                    <a:lnTo>
                      <a:pt x="122" y="61"/>
                    </a:lnTo>
                    <a:lnTo>
                      <a:pt x="122" y="55"/>
                    </a:lnTo>
                    <a:lnTo>
                      <a:pt x="121" y="48"/>
                    </a:lnTo>
                    <a:lnTo>
                      <a:pt x="119" y="43"/>
                    </a:lnTo>
                    <a:lnTo>
                      <a:pt x="117" y="38"/>
                    </a:lnTo>
                    <a:lnTo>
                      <a:pt x="115" y="32"/>
                    </a:lnTo>
                    <a:lnTo>
                      <a:pt x="112" y="27"/>
                    </a:lnTo>
                    <a:lnTo>
                      <a:pt x="108" y="23"/>
                    </a:lnTo>
                    <a:lnTo>
                      <a:pt x="104" y="18"/>
                    </a:lnTo>
                    <a:lnTo>
                      <a:pt x="100" y="14"/>
                    </a:lnTo>
                    <a:lnTo>
                      <a:pt x="95" y="11"/>
                    </a:lnTo>
                    <a:lnTo>
                      <a:pt x="90" y="8"/>
                    </a:lnTo>
                    <a:lnTo>
                      <a:pt x="85" y="4"/>
                    </a:lnTo>
                    <a:lnTo>
                      <a:pt x="80" y="2"/>
                    </a:lnTo>
                    <a:lnTo>
                      <a:pt x="73" y="1"/>
                    </a:lnTo>
                    <a:lnTo>
                      <a:pt x="68" y="0"/>
                    </a:lnTo>
                    <a:lnTo>
                      <a:pt x="6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Light"/>
                  <a:ea typeface="+mn-ea"/>
                  <a:cs typeface="+mn-cs"/>
                </a:endParaRPr>
              </a:p>
            </p:txBody>
          </p:sp>
          <p:sp>
            <p:nvSpPr>
              <p:cNvPr id="14" name="Freeform 63"/>
              <p:cNvSpPr>
                <a:spLocks noEditPoints="1"/>
              </p:cNvSpPr>
              <p:nvPr/>
            </p:nvSpPr>
            <p:spPr bwMode="auto">
              <a:xfrm>
                <a:off x="1547813" y="3330576"/>
                <a:ext cx="212725" cy="212725"/>
              </a:xfrm>
              <a:custGeom>
                <a:avLst/>
                <a:gdLst>
                  <a:gd name="T0" fmla="*/ 407 w 535"/>
                  <a:gd name="T1" fmla="*/ 408 h 536"/>
                  <a:gd name="T2" fmla="*/ 367 w 535"/>
                  <a:gd name="T3" fmla="*/ 436 h 536"/>
                  <a:gd name="T4" fmla="*/ 330 w 535"/>
                  <a:gd name="T5" fmla="*/ 452 h 536"/>
                  <a:gd name="T6" fmla="*/ 321 w 535"/>
                  <a:gd name="T7" fmla="*/ 465 h 536"/>
                  <a:gd name="T8" fmla="*/ 217 w 535"/>
                  <a:gd name="T9" fmla="*/ 461 h 536"/>
                  <a:gd name="T10" fmla="*/ 199 w 535"/>
                  <a:gd name="T11" fmla="*/ 449 h 536"/>
                  <a:gd name="T12" fmla="*/ 163 w 535"/>
                  <a:gd name="T13" fmla="*/ 432 h 536"/>
                  <a:gd name="T14" fmla="*/ 134 w 535"/>
                  <a:gd name="T15" fmla="*/ 409 h 536"/>
                  <a:gd name="T16" fmla="*/ 82 w 535"/>
                  <a:gd name="T17" fmla="*/ 433 h 536"/>
                  <a:gd name="T18" fmla="*/ 75 w 535"/>
                  <a:gd name="T19" fmla="*/ 316 h 536"/>
                  <a:gd name="T20" fmla="*/ 72 w 535"/>
                  <a:gd name="T21" fmla="*/ 287 h 536"/>
                  <a:gd name="T22" fmla="*/ 72 w 535"/>
                  <a:gd name="T23" fmla="*/ 246 h 536"/>
                  <a:gd name="T24" fmla="*/ 75 w 535"/>
                  <a:gd name="T25" fmla="*/ 217 h 536"/>
                  <a:gd name="T26" fmla="*/ 82 w 535"/>
                  <a:gd name="T27" fmla="*/ 99 h 536"/>
                  <a:gd name="T28" fmla="*/ 134 w 535"/>
                  <a:gd name="T29" fmla="*/ 124 h 536"/>
                  <a:gd name="T30" fmla="*/ 163 w 535"/>
                  <a:gd name="T31" fmla="*/ 101 h 536"/>
                  <a:gd name="T32" fmla="*/ 199 w 535"/>
                  <a:gd name="T33" fmla="*/ 84 h 536"/>
                  <a:gd name="T34" fmla="*/ 217 w 535"/>
                  <a:gd name="T35" fmla="*/ 72 h 536"/>
                  <a:gd name="T36" fmla="*/ 321 w 535"/>
                  <a:gd name="T37" fmla="*/ 68 h 536"/>
                  <a:gd name="T38" fmla="*/ 330 w 535"/>
                  <a:gd name="T39" fmla="*/ 81 h 536"/>
                  <a:gd name="T40" fmla="*/ 367 w 535"/>
                  <a:gd name="T41" fmla="*/ 97 h 536"/>
                  <a:gd name="T42" fmla="*/ 407 w 535"/>
                  <a:gd name="T43" fmla="*/ 124 h 536"/>
                  <a:gd name="T44" fmla="*/ 505 w 535"/>
                  <a:gd name="T45" fmla="*/ 188 h 536"/>
                  <a:gd name="T46" fmla="*/ 458 w 535"/>
                  <a:gd name="T47" fmla="*/ 221 h 536"/>
                  <a:gd name="T48" fmla="*/ 463 w 535"/>
                  <a:gd name="T49" fmla="*/ 256 h 536"/>
                  <a:gd name="T50" fmla="*/ 461 w 535"/>
                  <a:gd name="T51" fmla="*/ 297 h 536"/>
                  <a:gd name="T52" fmla="*/ 462 w 535"/>
                  <a:gd name="T53" fmla="*/ 319 h 536"/>
                  <a:gd name="T54" fmla="*/ 528 w 535"/>
                  <a:gd name="T55" fmla="*/ 329 h 536"/>
                  <a:gd name="T56" fmla="*/ 489 w 535"/>
                  <a:gd name="T57" fmla="*/ 276 h 536"/>
                  <a:gd name="T58" fmla="*/ 486 w 535"/>
                  <a:gd name="T59" fmla="*/ 238 h 536"/>
                  <a:gd name="T60" fmla="*/ 534 w 535"/>
                  <a:gd name="T61" fmla="*/ 197 h 536"/>
                  <a:gd name="T62" fmla="*/ 467 w 535"/>
                  <a:gd name="T63" fmla="*/ 74 h 536"/>
                  <a:gd name="T64" fmla="*/ 455 w 535"/>
                  <a:gd name="T65" fmla="*/ 70 h 536"/>
                  <a:gd name="T66" fmla="*/ 380 w 535"/>
                  <a:gd name="T67" fmla="*/ 74 h 536"/>
                  <a:gd name="T68" fmla="*/ 346 w 535"/>
                  <a:gd name="T69" fmla="*/ 8 h 536"/>
                  <a:gd name="T70" fmla="*/ 205 w 535"/>
                  <a:gd name="T71" fmla="*/ 0 h 536"/>
                  <a:gd name="T72" fmla="*/ 192 w 535"/>
                  <a:gd name="T73" fmla="*/ 13 h 536"/>
                  <a:gd name="T74" fmla="*/ 143 w 535"/>
                  <a:gd name="T75" fmla="*/ 84 h 536"/>
                  <a:gd name="T76" fmla="*/ 74 w 535"/>
                  <a:gd name="T77" fmla="*/ 70 h 536"/>
                  <a:gd name="T78" fmla="*/ 0 w 535"/>
                  <a:gd name="T79" fmla="*/ 191 h 536"/>
                  <a:gd name="T80" fmla="*/ 49 w 535"/>
                  <a:gd name="T81" fmla="*/ 229 h 536"/>
                  <a:gd name="T82" fmla="*/ 46 w 535"/>
                  <a:gd name="T83" fmla="*/ 266 h 536"/>
                  <a:gd name="T84" fmla="*/ 48 w 535"/>
                  <a:gd name="T85" fmla="*/ 303 h 536"/>
                  <a:gd name="T86" fmla="*/ 0 w 535"/>
                  <a:gd name="T87" fmla="*/ 340 h 536"/>
                  <a:gd name="T88" fmla="*/ 73 w 535"/>
                  <a:gd name="T89" fmla="*/ 463 h 536"/>
                  <a:gd name="T90" fmla="*/ 143 w 535"/>
                  <a:gd name="T91" fmla="*/ 449 h 536"/>
                  <a:gd name="T92" fmla="*/ 192 w 535"/>
                  <a:gd name="T93" fmla="*/ 523 h 536"/>
                  <a:gd name="T94" fmla="*/ 205 w 535"/>
                  <a:gd name="T95" fmla="*/ 536 h 536"/>
                  <a:gd name="T96" fmla="*/ 346 w 535"/>
                  <a:gd name="T97" fmla="*/ 528 h 536"/>
                  <a:gd name="T98" fmla="*/ 364 w 535"/>
                  <a:gd name="T99" fmla="*/ 467 h 536"/>
                  <a:gd name="T100" fmla="*/ 409 w 535"/>
                  <a:gd name="T101" fmla="*/ 437 h 536"/>
                  <a:gd name="T102" fmla="*/ 458 w 535"/>
                  <a:gd name="T103" fmla="*/ 463 h 536"/>
                  <a:gd name="T104" fmla="*/ 467 w 535"/>
                  <a:gd name="T105" fmla="*/ 459 h 536"/>
                  <a:gd name="T106" fmla="*/ 535 w 535"/>
                  <a:gd name="T107" fmla="*/ 335 h 5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35" h="536">
                    <a:moveTo>
                      <a:pt x="453" y="433"/>
                    </a:moveTo>
                    <a:lnTo>
                      <a:pt x="414" y="410"/>
                    </a:lnTo>
                    <a:lnTo>
                      <a:pt x="410" y="409"/>
                    </a:lnTo>
                    <a:lnTo>
                      <a:pt x="407" y="408"/>
                    </a:lnTo>
                    <a:lnTo>
                      <a:pt x="403" y="409"/>
                    </a:lnTo>
                    <a:lnTo>
                      <a:pt x="399" y="411"/>
                    </a:lnTo>
                    <a:lnTo>
                      <a:pt x="383" y="424"/>
                    </a:lnTo>
                    <a:lnTo>
                      <a:pt x="367" y="436"/>
                    </a:lnTo>
                    <a:lnTo>
                      <a:pt x="359" y="441"/>
                    </a:lnTo>
                    <a:lnTo>
                      <a:pt x="350" y="446"/>
                    </a:lnTo>
                    <a:lnTo>
                      <a:pt x="340" y="449"/>
                    </a:lnTo>
                    <a:lnTo>
                      <a:pt x="330" y="452"/>
                    </a:lnTo>
                    <a:lnTo>
                      <a:pt x="326" y="454"/>
                    </a:lnTo>
                    <a:lnTo>
                      <a:pt x="323" y="457"/>
                    </a:lnTo>
                    <a:lnTo>
                      <a:pt x="321" y="461"/>
                    </a:lnTo>
                    <a:lnTo>
                      <a:pt x="321" y="465"/>
                    </a:lnTo>
                    <a:lnTo>
                      <a:pt x="321" y="511"/>
                    </a:lnTo>
                    <a:lnTo>
                      <a:pt x="218" y="511"/>
                    </a:lnTo>
                    <a:lnTo>
                      <a:pt x="218" y="465"/>
                    </a:lnTo>
                    <a:lnTo>
                      <a:pt x="217" y="461"/>
                    </a:lnTo>
                    <a:lnTo>
                      <a:pt x="216" y="457"/>
                    </a:lnTo>
                    <a:lnTo>
                      <a:pt x="213" y="454"/>
                    </a:lnTo>
                    <a:lnTo>
                      <a:pt x="208" y="452"/>
                    </a:lnTo>
                    <a:lnTo>
                      <a:pt x="199" y="449"/>
                    </a:lnTo>
                    <a:lnTo>
                      <a:pt x="189" y="446"/>
                    </a:lnTo>
                    <a:lnTo>
                      <a:pt x="180" y="441"/>
                    </a:lnTo>
                    <a:lnTo>
                      <a:pt x="172" y="437"/>
                    </a:lnTo>
                    <a:lnTo>
                      <a:pt x="163" y="432"/>
                    </a:lnTo>
                    <a:lnTo>
                      <a:pt x="155" y="425"/>
                    </a:lnTo>
                    <a:lnTo>
                      <a:pt x="146" y="419"/>
                    </a:lnTo>
                    <a:lnTo>
                      <a:pt x="137" y="411"/>
                    </a:lnTo>
                    <a:lnTo>
                      <a:pt x="134" y="409"/>
                    </a:lnTo>
                    <a:lnTo>
                      <a:pt x="130" y="408"/>
                    </a:lnTo>
                    <a:lnTo>
                      <a:pt x="126" y="409"/>
                    </a:lnTo>
                    <a:lnTo>
                      <a:pt x="122" y="410"/>
                    </a:lnTo>
                    <a:lnTo>
                      <a:pt x="82" y="433"/>
                    </a:lnTo>
                    <a:lnTo>
                      <a:pt x="30" y="344"/>
                    </a:lnTo>
                    <a:lnTo>
                      <a:pt x="70" y="321"/>
                    </a:lnTo>
                    <a:lnTo>
                      <a:pt x="73" y="319"/>
                    </a:lnTo>
                    <a:lnTo>
                      <a:pt x="75" y="316"/>
                    </a:lnTo>
                    <a:lnTo>
                      <a:pt x="75" y="311"/>
                    </a:lnTo>
                    <a:lnTo>
                      <a:pt x="75" y="307"/>
                    </a:lnTo>
                    <a:lnTo>
                      <a:pt x="74" y="297"/>
                    </a:lnTo>
                    <a:lnTo>
                      <a:pt x="72" y="287"/>
                    </a:lnTo>
                    <a:lnTo>
                      <a:pt x="72" y="277"/>
                    </a:lnTo>
                    <a:lnTo>
                      <a:pt x="71" y="266"/>
                    </a:lnTo>
                    <a:lnTo>
                      <a:pt x="72" y="257"/>
                    </a:lnTo>
                    <a:lnTo>
                      <a:pt x="72" y="246"/>
                    </a:lnTo>
                    <a:lnTo>
                      <a:pt x="74" y="236"/>
                    </a:lnTo>
                    <a:lnTo>
                      <a:pt x="75" y="226"/>
                    </a:lnTo>
                    <a:lnTo>
                      <a:pt x="76" y="221"/>
                    </a:lnTo>
                    <a:lnTo>
                      <a:pt x="75" y="217"/>
                    </a:lnTo>
                    <a:lnTo>
                      <a:pt x="73" y="214"/>
                    </a:lnTo>
                    <a:lnTo>
                      <a:pt x="70" y="212"/>
                    </a:lnTo>
                    <a:lnTo>
                      <a:pt x="30" y="188"/>
                    </a:lnTo>
                    <a:lnTo>
                      <a:pt x="82" y="99"/>
                    </a:lnTo>
                    <a:lnTo>
                      <a:pt x="122" y="122"/>
                    </a:lnTo>
                    <a:lnTo>
                      <a:pt x="126" y="124"/>
                    </a:lnTo>
                    <a:lnTo>
                      <a:pt x="130" y="124"/>
                    </a:lnTo>
                    <a:lnTo>
                      <a:pt x="134" y="124"/>
                    </a:lnTo>
                    <a:lnTo>
                      <a:pt x="137" y="121"/>
                    </a:lnTo>
                    <a:lnTo>
                      <a:pt x="146" y="114"/>
                    </a:lnTo>
                    <a:lnTo>
                      <a:pt x="155" y="106"/>
                    </a:lnTo>
                    <a:lnTo>
                      <a:pt x="163" y="101"/>
                    </a:lnTo>
                    <a:lnTo>
                      <a:pt x="172" y="96"/>
                    </a:lnTo>
                    <a:lnTo>
                      <a:pt x="180" y="91"/>
                    </a:lnTo>
                    <a:lnTo>
                      <a:pt x="189" y="87"/>
                    </a:lnTo>
                    <a:lnTo>
                      <a:pt x="199" y="84"/>
                    </a:lnTo>
                    <a:lnTo>
                      <a:pt x="208" y="81"/>
                    </a:lnTo>
                    <a:lnTo>
                      <a:pt x="213" y="78"/>
                    </a:lnTo>
                    <a:lnTo>
                      <a:pt x="215" y="76"/>
                    </a:lnTo>
                    <a:lnTo>
                      <a:pt x="217" y="72"/>
                    </a:lnTo>
                    <a:lnTo>
                      <a:pt x="218" y="68"/>
                    </a:lnTo>
                    <a:lnTo>
                      <a:pt x="218" y="26"/>
                    </a:lnTo>
                    <a:lnTo>
                      <a:pt x="321" y="26"/>
                    </a:lnTo>
                    <a:lnTo>
                      <a:pt x="321" y="68"/>
                    </a:lnTo>
                    <a:lnTo>
                      <a:pt x="321" y="72"/>
                    </a:lnTo>
                    <a:lnTo>
                      <a:pt x="323" y="76"/>
                    </a:lnTo>
                    <a:lnTo>
                      <a:pt x="326" y="78"/>
                    </a:lnTo>
                    <a:lnTo>
                      <a:pt x="330" y="81"/>
                    </a:lnTo>
                    <a:lnTo>
                      <a:pt x="340" y="84"/>
                    </a:lnTo>
                    <a:lnTo>
                      <a:pt x="350" y="87"/>
                    </a:lnTo>
                    <a:lnTo>
                      <a:pt x="360" y="91"/>
                    </a:lnTo>
                    <a:lnTo>
                      <a:pt x="367" y="97"/>
                    </a:lnTo>
                    <a:lnTo>
                      <a:pt x="383" y="107"/>
                    </a:lnTo>
                    <a:lnTo>
                      <a:pt x="399" y="121"/>
                    </a:lnTo>
                    <a:lnTo>
                      <a:pt x="403" y="124"/>
                    </a:lnTo>
                    <a:lnTo>
                      <a:pt x="407" y="124"/>
                    </a:lnTo>
                    <a:lnTo>
                      <a:pt x="410" y="124"/>
                    </a:lnTo>
                    <a:lnTo>
                      <a:pt x="414" y="122"/>
                    </a:lnTo>
                    <a:lnTo>
                      <a:pt x="453" y="99"/>
                    </a:lnTo>
                    <a:lnTo>
                      <a:pt x="505" y="188"/>
                    </a:lnTo>
                    <a:lnTo>
                      <a:pt x="465" y="212"/>
                    </a:lnTo>
                    <a:lnTo>
                      <a:pt x="462" y="214"/>
                    </a:lnTo>
                    <a:lnTo>
                      <a:pt x="460" y="217"/>
                    </a:lnTo>
                    <a:lnTo>
                      <a:pt x="458" y="221"/>
                    </a:lnTo>
                    <a:lnTo>
                      <a:pt x="458" y="226"/>
                    </a:lnTo>
                    <a:lnTo>
                      <a:pt x="461" y="235"/>
                    </a:lnTo>
                    <a:lnTo>
                      <a:pt x="462" y="246"/>
                    </a:lnTo>
                    <a:lnTo>
                      <a:pt x="463" y="256"/>
                    </a:lnTo>
                    <a:lnTo>
                      <a:pt x="463" y="266"/>
                    </a:lnTo>
                    <a:lnTo>
                      <a:pt x="463" y="277"/>
                    </a:lnTo>
                    <a:lnTo>
                      <a:pt x="462" y="287"/>
                    </a:lnTo>
                    <a:lnTo>
                      <a:pt x="461" y="297"/>
                    </a:lnTo>
                    <a:lnTo>
                      <a:pt x="458" y="307"/>
                    </a:lnTo>
                    <a:lnTo>
                      <a:pt x="458" y="311"/>
                    </a:lnTo>
                    <a:lnTo>
                      <a:pt x="460" y="316"/>
                    </a:lnTo>
                    <a:lnTo>
                      <a:pt x="462" y="319"/>
                    </a:lnTo>
                    <a:lnTo>
                      <a:pt x="465" y="321"/>
                    </a:lnTo>
                    <a:lnTo>
                      <a:pt x="505" y="344"/>
                    </a:lnTo>
                    <a:lnTo>
                      <a:pt x="453" y="433"/>
                    </a:lnTo>
                    <a:close/>
                    <a:moveTo>
                      <a:pt x="528" y="329"/>
                    </a:moveTo>
                    <a:lnTo>
                      <a:pt x="485" y="303"/>
                    </a:lnTo>
                    <a:lnTo>
                      <a:pt x="486" y="294"/>
                    </a:lnTo>
                    <a:lnTo>
                      <a:pt x="487" y="285"/>
                    </a:lnTo>
                    <a:lnTo>
                      <a:pt x="489" y="276"/>
                    </a:lnTo>
                    <a:lnTo>
                      <a:pt x="489" y="266"/>
                    </a:lnTo>
                    <a:lnTo>
                      <a:pt x="489" y="257"/>
                    </a:lnTo>
                    <a:lnTo>
                      <a:pt x="487" y="248"/>
                    </a:lnTo>
                    <a:lnTo>
                      <a:pt x="486" y="238"/>
                    </a:lnTo>
                    <a:lnTo>
                      <a:pt x="485" y="229"/>
                    </a:lnTo>
                    <a:lnTo>
                      <a:pt x="528" y="205"/>
                    </a:lnTo>
                    <a:lnTo>
                      <a:pt x="531" y="202"/>
                    </a:lnTo>
                    <a:lnTo>
                      <a:pt x="534" y="197"/>
                    </a:lnTo>
                    <a:lnTo>
                      <a:pt x="535" y="192"/>
                    </a:lnTo>
                    <a:lnTo>
                      <a:pt x="533" y="187"/>
                    </a:lnTo>
                    <a:lnTo>
                      <a:pt x="468" y="76"/>
                    </a:lnTo>
                    <a:lnTo>
                      <a:pt x="467" y="74"/>
                    </a:lnTo>
                    <a:lnTo>
                      <a:pt x="465" y="72"/>
                    </a:lnTo>
                    <a:lnTo>
                      <a:pt x="463" y="71"/>
                    </a:lnTo>
                    <a:lnTo>
                      <a:pt x="461" y="70"/>
                    </a:lnTo>
                    <a:lnTo>
                      <a:pt x="455" y="70"/>
                    </a:lnTo>
                    <a:lnTo>
                      <a:pt x="451" y="71"/>
                    </a:lnTo>
                    <a:lnTo>
                      <a:pt x="409" y="96"/>
                    </a:lnTo>
                    <a:lnTo>
                      <a:pt x="395" y="85"/>
                    </a:lnTo>
                    <a:lnTo>
                      <a:pt x="380" y="74"/>
                    </a:lnTo>
                    <a:lnTo>
                      <a:pt x="364" y="66"/>
                    </a:lnTo>
                    <a:lnTo>
                      <a:pt x="347" y="59"/>
                    </a:lnTo>
                    <a:lnTo>
                      <a:pt x="347" y="13"/>
                    </a:lnTo>
                    <a:lnTo>
                      <a:pt x="346" y="8"/>
                    </a:lnTo>
                    <a:lnTo>
                      <a:pt x="342" y="4"/>
                    </a:lnTo>
                    <a:lnTo>
                      <a:pt x="338" y="1"/>
                    </a:lnTo>
                    <a:lnTo>
                      <a:pt x="334" y="0"/>
                    </a:lnTo>
                    <a:lnTo>
                      <a:pt x="205" y="0"/>
                    </a:lnTo>
                    <a:lnTo>
                      <a:pt x="200" y="1"/>
                    </a:lnTo>
                    <a:lnTo>
                      <a:pt x="196" y="4"/>
                    </a:lnTo>
                    <a:lnTo>
                      <a:pt x="193" y="8"/>
                    </a:lnTo>
                    <a:lnTo>
                      <a:pt x="192" y="13"/>
                    </a:lnTo>
                    <a:lnTo>
                      <a:pt x="192" y="59"/>
                    </a:lnTo>
                    <a:lnTo>
                      <a:pt x="175" y="66"/>
                    </a:lnTo>
                    <a:lnTo>
                      <a:pt x="159" y="73"/>
                    </a:lnTo>
                    <a:lnTo>
                      <a:pt x="143" y="84"/>
                    </a:lnTo>
                    <a:lnTo>
                      <a:pt x="127" y="96"/>
                    </a:lnTo>
                    <a:lnTo>
                      <a:pt x="84" y="71"/>
                    </a:lnTo>
                    <a:lnTo>
                      <a:pt x="78" y="70"/>
                    </a:lnTo>
                    <a:lnTo>
                      <a:pt x="74" y="70"/>
                    </a:lnTo>
                    <a:lnTo>
                      <a:pt x="70" y="72"/>
                    </a:lnTo>
                    <a:lnTo>
                      <a:pt x="67" y="76"/>
                    </a:lnTo>
                    <a:lnTo>
                      <a:pt x="2" y="187"/>
                    </a:lnTo>
                    <a:lnTo>
                      <a:pt x="0" y="191"/>
                    </a:lnTo>
                    <a:lnTo>
                      <a:pt x="0" y="197"/>
                    </a:lnTo>
                    <a:lnTo>
                      <a:pt x="2" y="201"/>
                    </a:lnTo>
                    <a:lnTo>
                      <a:pt x="6" y="205"/>
                    </a:lnTo>
                    <a:lnTo>
                      <a:pt x="49" y="229"/>
                    </a:lnTo>
                    <a:lnTo>
                      <a:pt x="47" y="238"/>
                    </a:lnTo>
                    <a:lnTo>
                      <a:pt x="46" y="248"/>
                    </a:lnTo>
                    <a:lnTo>
                      <a:pt x="46" y="257"/>
                    </a:lnTo>
                    <a:lnTo>
                      <a:pt x="46" y="266"/>
                    </a:lnTo>
                    <a:lnTo>
                      <a:pt x="46" y="276"/>
                    </a:lnTo>
                    <a:lnTo>
                      <a:pt x="46" y="285"/>
                    </a:lnTo>
                    <a:lnTo>
                      <a:pt x="47" y="294"/>
                    </a:lnTo>
                    <a:lnTo>
                      <a:pt x="48" y="303"/>
                    </a:lnTo>
                    <a:lnTo>
                      <a:pt x="6" y="329"/>
                    </a:lnTo>
                    <a:lnTo>
                      <a:pt x="2" y="332"/>
                    </a:lnTo>
                    <a:lnTo>
                      <a:pt x="0" y="335"/>
                    </a:lnTo>
                    <a:lnTo>
                      <a:pt x="0" y="340"/>
                    </a:lnTo>
                    <a:lnTo>
                      <a:pt x="1" y="345"/>
                    </a:lnTo>
                    <a:lnTo>
                      <a:pt x="65" y="457"/>
                    </a:lnTo>
                    <a:lnTo>
                      <a:pt x="69" y="461"/>
                    </a:lnTo>
                    <a:lnTo>
                      <a:pt x="73" y="463"/>
                    </a:lnTo>
                    <a:lnTo>
                      <a:pt x="78" y="463"/>
                    </a:lnTo>
                    <a:lnTo>
                      <a:pt x="83" y="461"/>
                    </a:lnTo>
                    <a:lnTo>
                      <a:pt x="127" y="437"/>
                    </a:lnTo>
                    <a:lnTo>
                      <a:pt x="143" y="449"/>
                    </a:lnTo>
                    <a:lnTo>
                      <a:pt x="159" y="459"/>
                    </a:lnTo>
                    <a:lnTo>
                      <a:pt x="175" y="467"/>
                    </a:lnTo>
                    <a:lnTo>
                      <a:pt x="192" y="474"/>
                    </a:lnTo>
                    <a:lnTo>
                      <a:pt x="192" y="523"/>
                    </a:lnTo>
                    <a:lnTo>
                      <a:pt x="193" y="528"/>
                    </a:lnTo>
                    <a:lnTo>
                      <a:pt x="196" y="533"/>
                    </a:lnTo>
                    <a:lnTo>
                      <a:pt x="200" y="535"/>
                    </a:lnTo>
                    <a:lnTo>
                      <a:pt x="205" y="536"/>
                    </a:lnTo>
                    <a:lnTo>
                      <a:pt x="334" y="536"/>
                    </a:lnTo>
                    <a:lnTo>
                      <a:pt x="338" y="535"/>
                    </a:lnTo>
                    <a:lnTo>
                      <a:pt x="342" y="533"/>
                    </a:lnTo>
                    <a:lnTo>
                      <a:pt x="346" y="528"/>
                    </a:lnTo>
                    <a:lnTo>
                      <a:pt x="347" y="523"/>
                    </a:lnTo>
                    <a:lnTo>
                      <a:pt x="347" y="474"/>
                    </a:lnTo>
                    <a:lnTo>
                      <a:pt x="355" y="470"/>
                    </a:lnTo>
                    <a:lnTo>
                      <a:pt x="364" y="467"/>
                    </a:lnTo>
                    <a:lnTo>
                      <a:pt x="373" y="463"/>
                    </a:lnTo>
                    <a:lnTo>
                      <a:pt x="380" y="459"/>
                    </a:lnTo>
                    <a:lnTo>
                      <a:pt x="395" y="449"/>
                    </a:lnTo>
                    <a:lnTo>
                      <a:pt x="409" y="437"/>
                    </a:lnTo>
                    <a:lnTo>
                      <a:pt x="452" y="461"/>
                    </a:lnTo>
                    <a:lnTo>
                      <a:pt x="454" y="463"/>
                    </a:lnTo>
                    <a:lnTo>
                      <a:pt x="456" y="463"/>
                    </a:lnTo>
                    <a:lnTo>
                      <a:pt x="458" y="463"/>
                    </a:lnTo>
                    <a:lnTo>
                      <a:pt x="462" y="462"/>
                    </a:lnTo>
                    <a:lnTo>
                      <a:pt x="464" y="462"/>
                    </a:lnTo>
                    <a:lnTo>
                      <a:pt x="466" y="461"/>
                    </a:lnTo>
                    <a:lnTo>
                      <a:pt x="467" y="459"/>
                    </a:lnTo>
                    <a:lnTo>
                      <a:pt x="469" y="457"/>
                    </a:lnTo>
                    <a:lnTo>
                      <a:pt x="533" y="345"/>
                    </a:lnTo>
                    <a:lnTo>
                      <a:pt x="535" y="340"/>
                    </a:lnTo>
                    <a:lnTo>
                      <a:pt x="535" y="335"/>
                    </a:lnTo>
                    <a:lnTo>
                      <a:pt x="533" y="332"/>
                    </a:lnTo>
                    <a:lnTo>
                      <a:pt x="528" y="32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Light"/>
                  <a:ea typeface="+mn-ea"/>
                  <a:cs typeface="+mn-cs"/>
                </a:endParaRPr>
              </a:p>
            </p:txBody>
          </p:sp>
          <p:sp>
            <p:nvSpPr>
              <p:cNvPr id="15" name="Freeform 64"/>
              <p:cNvSpPr>
                <a:spLocks noEditPoints="1"/>
              </p:cNvSpPr>
              <p:nvPr/>
            </p:nvSpPr>
            <p:spPr bwMode="auto">
              <a:xfrm>
                <a:off x="1727201" y="3240088"/>
                <a:ext cx="122238" cy="125413"/>
              </a:xfrm>
              <a:custGeom>
                <a:avLst/>
                <a:gdLst>
                  <a:gd name="T0" fmla="*/ 235 w 308"/>
                  <a:gd name="T1" fmla="*/ 227 h 315"/>
                  <a:gd name="T2" fmla="*/ 223 w 308"/>
                  <a:gd name="T3" fmla="*/ 229 h 315"/>
                  <a:gd name="T4" fmla="*/ 195 w 308"/>
                  <a:gd name="T5" fmla="*/ 248 h 315"/>
                  <a:gd name="T6" fmla="*/ 178 w 308"/>
                  <a:gd name="T7" fmla="*/ 257 h 315"/>
                  <a:gd name="T8" fmla="*/ 176 w 308"/>
                  <a:gd name="T9" fmla="*/ 289 h 315"/>
                  <a:gd name="T10" fmla="*/ 136 w 308"/>
                  <a:gd name="T11" fmla="*/ 260 h 315"/>
                  <a:gd name="T12" fmla="*/ 129 w 308"/>
                  <a:gd name="T13" fmla="*/ 253 h 315"/>
                  <a:gd name="T14" fmla="*/ 95 w 308"/>
                  <a:gd name="T15" fmla="*/ 237 h 315"/>
                  <a:gd name="T16" fmla="*/ 79 w 308"/>
                  <a:gd name="T17" fmla="*/ 226 h 315"/>
                  <a:gd name="T18" fmla="*/ 50 w 308"/>
                  <a:gd name="T19" fmla="*/ 240 h 315"/>
                  <a:gd name="T20" fmla="*/ 55 w 308"/>
                  <a:gd name="T21" fmla="*/ 192 h 315"/>
                  <a:gd name="T22" fmla="*/ 58 w 308"/>
                  <a:gd name="T23" fmla="*/ 180 h 315"/>
                  <a:gd name="T24" fmla="*/ 56 w 308"/>
                  <a:gd name="T25" fmla="*/ 145 h 315"/>
                  <a:gd name="T26" fmla="*/ 57 w 308"/>
                  <a:gd name="T27" fmla="*/ 126 h 315"/>
                  <a:gd name="T28" fmla="*/ 31 w 308"/>
                  <a:gd name="T29" fmla="*/ 108 h 315"/>
                  <a:gd name="T30" fmla="*/ 76 w 308"/>
                  <a:gd name="T31" fmla="*/ 87 h 315"/>
                  <a:gd name="T32" fmla="*/ 87 w 308"/>
                  <a:gd name="T33" fmla="*/ 84 h 315"/>
                  <a:gd name="T34" fmla="*/ 117 w 308"/>
                  <a:gd name="T35" fmla="*/ 66 h 315"/>
                  <a:gd name="T36" fmla="*/ 135 w 308"/>
                  <a:gd name="T37" fmla="*/ 57 h 315"/>
                  <a:gd name="T38" fmla="*/ 137 w 308"/>
                  <a:gd name="T39" fmla="*/ 25 h 315"/>
                  <a:gd name="T40" fmla="*/ 176 w 308"/>
                  <a:gd name="T41" fmla="*/ 53 h 315"/>
                  <a:gd name="T42" fmla="*/ 185 w 308"/>
                  <a:gd name="T43" fmla="*/ 62 h 315"/>
                  <a:gd name="T44" fmla="*/ 215 w 308"/>
                  <a:gd name="T45" fmla="*/ 77 h 315"/>
                  <a:gd name="T46" fmla="*/ 231 w 308"/>
                  <a:gd name="T47" fmla="*/ 88 h 315"/>
                  <a:gd name="T48" fmla="*/ 259 w 308"/>
                  <a:gd name="T49" fmla="*/ 76 h 315"/>
                  <a:gd name="T50" fmla="*/ 254 w 308"/>
                  <a:gd name="T51" fmla="*/ 123 h 315"/>
                  <a:gd name="T52" fmla="*/ 251 w 308"/>
                  <a:gd name="T53" fmla="*/ 134 h 315"/>
                  <a:gd name="T54" fmla="*/ 253 w 308"/>
                  <a:gd name="T55" fmla="*/ 169 h 315"/>
                  <a:gd name="T56" fmla="*/ 252 w 308"/>
                  <a:gd name="T57" fmla="*/ 188 h 315"/>
                  <a:gd name="T58" fmla="*/ 278 w 308"/>
                  <a:gd name="T59" fmla="*/ 207 h 315"/>
                  <a:gd name="T60" fmla="*/ 278 w 308"/>
                  <a:gd name="T61" fmla="*/ 178 h 315"/>
                  <a:gd name="T62" fmla="*/ 279 w 308"/>
                  <a:gd name="T63" fmla="*/ 148 h 315"/>
                  <a:gd name="T64" fmla="*/ 304 w 308"/>
                  <a:gd name="T65" fmla="*/ 123 h 315"/>
                  <a:gd name="T66" fmla="*/ 308 w 308"/>
                  <a:gd name="T67" fmla="*/ 116 h 315"/>
                  <a:gd name="T68" fmla="*/ 275 w 308"/>
                  <a:gd name="T69" fmla="*/ 51 h 315"/>
                  <a:gd name="T70" fmla="*/ 269 w 308"/>
                  <a:gd name="T71" fmla="*/ 46 h 315"/>
                  <a:gd name="T72" fmla="*/ 256 w 308"/>
                  <a:gd name="T73" fmla="*/ 46 h 315"/>
                  <a:gd name="T74" fmla="*/ 218 w 308"/>
                  <a:gd name="T75" fmla="*/ 49 h 315"/>
                  <a:gd name="T76" fmla="*/ 202 w 308"/>
                  <a:gd name="T77" fmla="*/ 13 h 315"/>
                  <a:gd name="T78" fmla="*/ 193 w 308"/>
                  <a:gd name="T79" fmla="*/ 2 h 315"/>
                  <a:gd name="T80" fmla="*/ 119 w 308"/>
                  <a:gd name="T81" fmla="*/ 2 h 315"/>
                  <a:gd name="T82" fmla="*/ 112 w 308"/>
                  <a:gd name="T83" fmla="*/ 13 h 315"/>
                  <a:gd name="T84" fmla="*/ 93 w 308"/>
                  <a:gd name="T85" fmla="*/ 50 h 315"/>
                  <a:gd name="T86" fmla="*/ 52 w 308"/>
                  <a:gd name="T87" fmla="*/ 46 h 315"/>
                  <a:gd name="T88" fmla="*/ 37 w 308"/>
                  <a:gd name="T89" fmla="*/ 47 h 315"/>
                  <a:gd name="T90" fmla="*/ 1 w 308"/>
                  <a:gd name="T91" fmla="*/ 111 h 315"/>
                  <a:gd name="T92" fmla="*/ 3 w 308"/>
                  <a:gd name="T93" fmla="*/ 121 h 315"/>
                  <a:gd name="T94" fmla="*/ 31 w 308"/>
                  <a:gd name="T95" fmla="*/ 138 h 315"/>
                  <a:gd name="T96" fmla="*/ 30 w 308"/>
                  <a:gd name="T97" fmla="*/ 167 h 315"/>
                  <a:gd name="T98" fmla="*/ 4 w 308"/>
                  <a:gd name="T99" fmla="*/ 193 h 315"/>
                  <a:gd name="T100" fmla="*/ 1 w 308"/>
                  <a:gd name="T101" fmla="*/ 199 h 315"/>
                  <a:gd name="T102" fmla="*/ 34 w 308"/>
                  <a:gd name="T103" fmla="*/ 263 h 315"/>
                  <a:gd name="T104" fmla="*/ 46 w 308"/>
                  <a:gd name="T105" fmla="*/ 270 h 315"/>
                  <a:gd name="T106" fmla="*/ 85 w 308"/>
                  <a:gd name="T107" fmla="*/ 259 h 315"/>
                  <a:gd name="T108" fmla="*/ 112 w 308"/>
                  <a:gd name="T109" fmla="*/ 274 h 315"/>
                  <a:gd name="T110" fmla="*/ 116 w 308"/>
                  <a:gd name="T111" fmla="*/ 311 h 315"/>
                  <a:gd name="T112" fmla="*/ 189 w 308"/>
                  <a:gd name="T113" fmla="*/ 315 h 315"/>
                  <a:gd name="T114" fmla="*/ 201 w 308"/>
                  <a:gd name="T115" fmla="*/ 306 h 315"/>
                  <a:gd name="T116" fmla="*/ 210 w 308"/>
                  <a:gd name="T117" fmla="*/ 270 h 315"/>
                  <a:gd name="T118" fmla="*/ 234 w 308"/>
                  <a:gd name="T119" fmla="*/ 255 h 315"/>
                  <a:gd name="T120" fmla="*/ 267 w 308"/>
                  <a:gd name="T121" fmla="*/ 270 h 315"/>
                  <a:gd name="T122" fmla="*/ 307 w 308"/>
                  <a:gd name="T123" fmla="*/ 208 h 315"/>
                  <a:gd name="T124" fmla="*/ 306 w 308"/>
                  <a:gd name="T125" fmla="*/ 194 h 3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08" h="315">
                    <a:moveTo>
                      <a:pt x="260" y="240"/>
                    </a:moveTo>
                    <a:lnTo>
                      <a:pt x="239" y="228"/>
                    </a:lnTo>
                    <a:lnTo>
                      <a:pt x="235" y="227"/>
                    </a:lnTo>
                    <a:lnTo>
                      <a:pt x="231" y="226"/>
                    </a:lnTo>
                    <a:lnTo>
                      <a:pt x="227" y="227"/>
                    </a:lnTo>
                    <a:lnTo>
                      <a:pt x="223" y="229"/>
                    </a:lnTo>
                    <a:lnTo>
                      <a:pt x="215" y="237"/>
                    </a:lnTo>
                    <a:lnTo>
                      <a:pt x="205" y="243"/>
                    </a:lnTo>
                    <a:lnTo>
                      <a:pt x="195" y="248"/>
                    </a:lnTo>
                    <a:lnTo>
                      <a:pt x="185" y="253"/>
                    </a:lnTo>
                    <a:lnTo>
                      <a:pt x="181" y="255"/>
                    </a:lnTo>
                    <a:lnTo>
                      <a:pt x="178" y="257"/>
                    </a:lnTo>
                    <a:lnTo>
                      <a:pt x="177" y="260"/>
                    </a:lnTo>
                    <a:lnTo>
                      <a:pt x="176" y="265"/>
                    </a:lnTo>
                    <a:lnTo>
                      <a:pt x="176" y="289"/>
                    </a:lnTo>
                    <a:lnTo>
                      <a:pt x="137" y="289"/>
                    </a:lnTo>
                    <a:lnTo>
                      <a:pt x="137" y="265"/>
                    </a:lnTo>
                    <a:lnTo>
                      <a:pt x="136" y="260"/>
                    </a:lnTo>
                    <a:lnTo>
                      <a:pt x="135" y="257"/>
                    </a:lnTo>
                    <a:lnTo>
                      <a:pt x="132" y="255"/>
                    </a:lnTo>
                    <a:lnTo>
                      <a:pt x="129" y="253"/>
                    </a:lnTo>
                    <a:lnTo>
                      <a:pt x="117" y="248"/>
                    </a:lnTo>
                    <a:lnTo>
                      <a:pt x="105" y="243"/>
                    </a:lnTo>
                    <a:lnTo>
                      <a:pt x="95" y="237"/>
                    </a:lnTo>
                    <a:lnTo>
                      <a:pt x="87" y="229"/>
                    </a:lnTo>
                    <a:lnTo>
                      <a:pt x="84" y="227"/>
                    </a:lnTo>
                    <a:lnTo>
                      <a:pt x="79" y="226"/>
                    </a:lnTo>
                    <a:lnTo>
                      <a:pt x="76" y="227"/>
                    </a:lnTo>
                    <a:lnTo>
                      <a:pt x="72" y="228"/>
                    </a:lnTo>
                    <a:lnTo>
                      <a:pt x="50" y="240"/>
                    </a:lnTo>
                    <a:lnTo>
                      <a:pt x="30" y="207"/>
                    </a:lnTo>
                    <a:lnTo>
                      <a:pt x="51" y="194"/>
                    </a:lnTo>
                    <a:lnTo>
                      <a:pt x="55" y="192"/>
                    </a:lnTo>
                    <a:lnTo>
                      <a:pt x="57" y="188"/>
                    </a:lnTo>
                    <a:lnTo>
                      <a:pt x="58" y="184"/>
                    </a:lnTo>
                    <a:lnTo>
                      <a:pt x="58" y="180"/>
                    </a:lnTo>
                    <a:lnTo>
                      <a:pt x="56" y="168"/>
                    </a:lnTo>
                    <a:lnTo>
                      <a:pt x="55" y="157"/>
                    </a:lnTo>
                    <a:lnTo>
                      <a:pt x="56" y="145"/>
                    </a:lnTo>
                    <a:lnTo>
                      <a:pt x="58" y="134"/>
                    </a:lnTo>
                    <a:lnTo>
                      <a:pt x="58" y="130"/>
                    </a:lnTo>
                    <a:lnTo>
                      <a:pt x="57" y="126"/>
                    </a:lnTo>
                    <a:lnTo>
                      <a:pt x="55" y="123"/>
                    </a:lnTo>
                    <a:lnTo>
                      <a:pt x="51" y="120"/>
                    </a:lnTo>
                    <a:lnTo>
                      <a:pt x="31" y="108"/>
                    </a:lnTo>
                    <a:lnTo>
                      <a:pt x="50" y="73"/>
                    </a:lnTo>
                    <a:lnTo>
                      <a:pt x="72" y="86"/>
                    </a:lnTo>
                    <a:lnTo>
                      <a:pt x="76" y="87"/>
                    </a:lnTo>
                    <a:lnTo>
                      <a:pt x="79" y="87"/>
                    </a:lnTo>
                    <a:lnTo>
                      <a:pt x="84" y="86"/>
                    </a:lnTo>
                    <a:lnTo>
                      <a:pt x="87" y="84"/>
                    </a:lnTo>
                    <a:lnTo>
                      <a:pt x="95" y="78"/>
                    </a:lnTo>
                    <a:lnTo>
                      <a:pt x="105" y="71"/>
                    </a:lnTo>
                    <a:lnTo>
                      <a:pt x="117" y="66"/>
                    </a:lnTo>
                    <a:lnTo>
                      <a:pt x="129" y="62"/>
                    </a:lnTo>
                    <a:lnTo>
                      <a:pt x="132" y="59"/>
                    </a:lnTo>
                    <a:lnTo>
                      <a:pt x="135" y="57"/>
                    </a:lnTo>
                    <a:lnTo>
                      <a:pt x="136" y="53"/>
                    </a:lnTo>
                    <a:lnTo>
                      <a:pt x="137" y="50"/>
                    </a:lnTo>
                    <a:lnTo>
                      <a:pt x="137" y="25"/>
                    </a:lnTo>
                    <a:lnTo>
                      <a:pt x="176" y="25"/>
                    </a:lnTo>
                    <a:lnTo>
                      <a:pt x="176" y="50"/>
                    </a:lnTo>
                    <a:lnTo>
                      <a:pt x="176" y="53"/>
                    </a:lnTo>
                    <a:lnTo>
                      <a:pt x="178" y="57"/>
                    </a:lnTo>
                    <a:lnTo>
                      <a:pt x="181" y="59"/>
                    </a:lnTo>
                    <a:lnTo>
                      <a:pt x="185" y="62"/>
                    </a:lnTo>
                    <a:lnTo>
                      <a:pt x="195" y="66"/>
                    </a:lnTo>
                    <a:lnTo>
                      <a:pt x="205" y="71"/>
                    </a:lnTo>
                    <a:lnTo>
                      <a:pt x="215" y="77"/>
                    </a:lnTo>
                    <a:lnTo>
                      <a:pt x="223" y="84"/>
                    </a:lnTo>
                    <a:lnTo>
                      <a:pt x="227" y="87"/>
                    </a:lnTo>
                    <a:lnTo>
                      <a:pt x="231" y="88"/>
                    </a:lnTo>
                    <a:lnTo>
                      <a:pt x="235" y="88"/>
                    </a:lnTo>
                    <a:lnTo>
                      <a:pt x="239" y="86"/>
                    </a:lnTo>
                    <a:lnTo>
                      <a:pt x="259" y="76"/>
                    </a:lnTo>
                    <a:lnTo>
                      <a:pt x="278" y="108"/>
                    </a:lnTo>
                    <a:lnTo>
                      <a:pt x="258" y="120"/>
                    </a:lnTo>
                    <a:lnTo>
                      <a:pt x="254" y="123"/>
                    </a:lnTo>
                    <a:lnTo>
                      <a:pt x="252" y="126"/>
                    </a:lnTo>
                    <a:lnTo>
                      <a:pt x="251" y="130"/>
                    </a:lnTo>
                    <a:lnTo>
                      <a:pt x="251" y="134"/>
                    </a:lnTo>
                    <a:lnTo>
                      <a:pt x="253" y="145"/>
                    </a:lnTo>
                    <a:lnTo>
                      <a:pt x="254" y="157"/>
                    </a:lnTo>
                    <a:lnTo>
                      <a:pt x="253" y="169"/>
                    </a:lnTo>
                    <a:lnTo>
                      <a:pt x="251" y="180"/>
                    </a:lnTo>
                    <a:lnTo>
                      <a:pt x="251" y="184"/>
                    </a:lnTo>
                    <a:lnTo>
                      <a:pt x="252" y="188"/>
                    </a:lnTo>
                    <a:lnTo>
                      <a:pt x="254" y="192"/>
                    </a:lnTo>
                    <a:lnTo>
                      <a:pt x="258" y="194"/>
                    </a:lnTo>
                    <a:lnTo>
                      <a:pt x="278" y="207"/>
                    </a:lnTo>
                    <a:lnTo>
                      <a:pt x="260" y="240"/>
                    </a:lnTo>
                    <a:close/>
                    <a:moveTo>
                      <a:pt x="302" y="192"/>
                    </a:moveTo>
                    <a:lnTo>
                      <a:pt x="278" y="178"/>
                    </a:lnTo>
                    <a:lnTo>
                      <a:pt x="279" y="167"/>
                    </a:lnTo>
                    <a:lnTo>
                      <a:pt x="279" y="157"/>
                    </a:lnTo>
                    <a:lnTo>
                      <a:pt x="279" y="148"/>
                    </a:lnTo>
                    <a:lnTo>
                      <a:pt x="278" y="138"/>
                    </a:lnTo>
                    <a:lnTo>
                      <a:pt x="302" y="124"/>
                    </a:lnTo>
                    <a:lnTo>
                      <a:pt x="304" y="123"/>
                    </a:lnTo>
                    <a:lnTo>
                      <a:pt x="306" y="121"/>
                    </a:lnTo>
                    <a:lnTo>
                      <a:pt x="307" y="119"/>
                    </a:lnTo>
                    <a:lnTo>
                      <a:pt x="308" y="116"/>
                    </a:lnTo>
                    <a:lnTo>
                      <a:pt x="308" y="111"/>
                    </a:lnTo>
                    <a:lnTo>
                      <a:pt x="306" y="106"/>
                    </a:lnTo>
                    <a:lnTo>
                      <a:pt x="275" y="51"/>
                    </a:lnTo>
                    <a:lnTo>
                      <a:pt x="273" y="49"/>
                    </a:lnTo>
                    <a:lnTo>
                      <a:pt x="271" y="47"/>
                    </a:lnTo>
                    <a:lnTo>
                      <a:pt x="269" y="46"/>
                    </a:lnTo>
                    <a:lnTo>
                      <a:pt x="266" y="44"/>
                    </a:lnTo>
                    <a:lnTo>
                      <a:pt x="262" y="44"/>
                    </a:lnTo>
                    <a:lnTo>
                      <a:pt x="256" y="46"/>
                    </a:lnTo>
                    <a:lnTo>
                      <a:pt x="234" y="59"/>
                    </a:lnTo>
                    <a:lnTo>
                      <a:pt x="226" y="54"/>
                    </a:lnTo>
                    <a:lnTo>
                      <a:pt x="218" y="49"/>
                    </a:lnTo>
                    <a:lnTo>
                      <a:pt x="210" y="44"/>
                    </a:lnTo>
                    <a:lnTo>
                      <a:pt x="202" y="41"/>
                    </a:lnTo>
                    <a:lnTo>
                      <a:pt x="202" y="13"/>
                    </a:lnTo>
                    <a:lnTo>
                      <a:pt x="201" y="8"/>
                    </a:lnTo>
                    <a:lnTo>
                      <a:pt x="197" y="4"/>
                    </a:lnTo>
                    <a:lnTo>
                      <a:pt x="193" y="2"/>
                    </a:lnTo>
                    <a:lnTo>
                      <a:pt x="189" y="0"/>
                    </a:lnTo>
                    <a:lnTo>
                      <a:pt x="124" y="0"/>
                    </a:lnTo>
                    <a:lnTo>
                      <a:pt x="119" y="2"/>
                    </a:lnTo>
                    <a:lnTo>
                      <a:pt x="116" y="4"/>
                    </a:lnTo>
                    <a:lnTo>
                      <a:pt x="113" y="8"/>
                    </a:lnTo>
                    <a:lnTo>
                      <a:pt x="112" y="13"/>
                    </a:lnTo>
                    <a:lnTo>
                      <a:pt x="112" y="41"/>
                    </a:lnTo>
                    <a:lnTo>
                      <a:pt x="102" y="44"/>
                    </a:lnTo>
                    <a:lnTo>
                      <a:pt x="93" y="50"/>
                    </a:lnTo>
                    <a:lnTo>
                      <a:pt x="85" y="54"/>
                    </a:lnTo>
                    <a:lnTo>
                      <a:pt x="77" y="59"/>
                    </a:lnTo>
                    <a:lnTo>
                      <a:pt x="52" y="46"/>
                    </a:lnTo>
                    <a:lnTo>
                      <a:pt x="47" y="44"/>
                    </a:lnTo>
                    <a:lnTo>
                      <a:pt x="43" y="44"/>
                    </a:lnTo>
                    <a:lnTo>
                      <a:pt x="37" y="47"/>
                    </a:lnTo>
                    <a:lnTo>
                      <a:pt x="34" y="51"/>
                    </a:lnTo>
                    <a:lnTo>
                      <a:pt x="2" y="106"/>
                    </a:lnTo>
                    <a:lnTo>
                      <a:pt x="1" y="111"/>
                    </a:lnTo>
                    <a:lnTo>
                      <a:pt x="1" y="116"/>
                    </a:lnTo>
                    <a:lnTo>
                      <a:pt x="2" y="119"/>
                    </a:lnTo>
                    <a:lnTo>
                      <a:pt x="3" y="121"/>
                    </a:lnTo>
                    <a:lnTo>
                      <a:pt x="5" y="123"/>
                    </a:lnTo>
                    <a:lnTo>
                      <a:pt x="7" y="124"/>
                    </a:lnTo>
                    <a:lnTo>
                      <a:pt x="31" y="138"/>
                    </a:lnTo>
                    <a:lnTo>
                      <a:pt x="30" y="148"/>
                    </a:lnTo>
                    <a:lnTo>
                      <a:pt x="29" y="157"/>
                    </a:lnTo>
                    <a:lnTo>
                      <a:pt x="30" y="167"/>
                    </a:lnTo>
                    <a:lnTo>
                      <a:pt x="31" y="178"/>
                    </a:lnTo>
                    <a:lnTo>
                      <a:pt x="6" y="192"/>
                    </a:lnTo>
                    <a:lnTo>
                      <a:pt x="4" y="193"/>
                    </a:lnTo>
                    <a:lnTo>
                      <a:pt x="3" y="194"/>
                    </a:lnTo>
                    <a:lnTo>
                      <a:pt x="2" y="196"/>
                    </a:lnTo>
                    <a:lnTo>
                      <a:pt x="1" y="199"/>
                    </a:lnTo>
                    <a:lnTo>
                      <a:pt x="0" y="203"/>
                    </a:lnTo>
                    <a:lnTo>
                      <a:pt x="2" y="208"/>
                    </a:lnTo>
                    <a:lnTo>
                      <a:pt x="34" y="263"/>
                    </a:lnTo>
                    <a:lnTo>
                      <a:pt x="37" y="268"/>
                    </a:lnTo>
                    <a:lnTo>
                      <a:pt x="42" y="270"/>
                    </a:lnTo>
                    <a:lnTo>
                      <a:pt x="46" y="270"/>
                    </a:lnTo>
                    <a:lnTo>
                      <a:pt x="51" y="269"/>
                    </a:lnTo>
                    <a:lnTo>
                      <a:pt x="77" y="254"/>
                    </a:lnTo>
                    <a:lnTo>
                      <a:pt x="85" y="259"/>
                    </a:lnTo>
                    <a:lnTo>
                      <a:pt x="93" y="266"/>
                    </a:lnTo>
                    <a:lnTo>
                      <a:pt x="102" y="270"/>
                    </a:lnTo>
                    <a:lnTo>
                      <a:pt x="112" y="274"/>
                    </a:lnTo>
                    <a:lnTo>
                      <a:pt x="112" y="302"/>
                    </a:lnTo>
                    <a:lnTo>
                      <a:pt x="113" y="306"/>
                    </a:lnTo>
                    <a:lnTo>
                      <a:pt x="116" y="311"/>
                    </a:lnTo>
                    <a:lnTo>
                      <a:pt x="119" y="314"/>
                    </a:lnTo>
                    <a:lnTo>
                      <a:pt x="124" y="315"/>
                    </a:lnTo>
                    <a:lnTo>
                      <a:pt x="189" y="315"/>
                    </a:lnTo>
                    <a:lnTo>
                      <a:pt x="193" y="314"/>
                    </a:lnTo>
                    <a:lnTo>
                      <a:pt x="197" y="311"/>
                    </a:lnTo>
                    <a:lnTo>
                      <a:pt x="201" y="306"/>
                    </a:lnTo>
                    <a:lnTo>
                      <a:pt x="202" y="302"/>
                    </a:lnTo>
                    <a:lnTo>
                      <a:pt x="202" y="274"/>
                    </a:lnTo>
                    <a:lnTo>
                      <a:pt x="210" y="270"/>
                    </a:lnTo>
                    <a:lnTo>
                      <a:pt x="218" y="266"/>
                    </a:lnTo>
                    <a:lnTo>
                      <a:pt x="226" y="260"/>
                    </a:lnTo>
                    <a:lnTo>
                      <a:pt x="234" y="255"/>
                    </a:lnTo>
                    <a:lnTo>
                      <a:pt x="258" y="268"/>
                    </a:lnTo>
                    <a:lnTo>
                      <a:pt x="262" y="270"/>
                    </a:lnTo>
                    <a:lnTo>
                      <a:pt x="267" y="270"/>
                    </a:lnTo>
                    <a:lnTo>
                      <a:pt x="271" y="268"/>
                    </a:lnTo>
                    <a:lnTo>
                      <a:pt x="275" y="263"/>
                    </a:lnTo>
                    <a:lnTo>
                      <a:pt x="307" y="208"/>
                    </a:lnTo>
                    <a:lnTo>
                      <a:pt x="308" y="202"/>
                    </a:lnTo>
                    <a:lnTo>
                      <a:pt x="308" y="198"/>
                    </a:lnTo>
                    <a:lnTo>
                      <a:pt x="306" y="194"/>
                    </a:lnTo>
                    <a:lnTo>
                      <a:pt x="302" y="1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Light"/>
                  <a:ea typeface="+mn-ea"/>
                  <a:cs typeface="+mn-cs"/>
                </a:endParaRPr>
              </a:p>
            </p:txBody>
          </p:sp>
        </p:grpSp>
        <p:grpSp>
          <p:nvGrpSpPr>
            <p:cNvPr id="16" name="Group 15"/>
            <p:cNvGrpSpPr/>
            <p:nvPr/>
          </p:nvGrpSpPr>
          <p:grpSpPr>
            <a:xfrm>
              <a:off x="1048431" y="4921125"/>
              <a:ext cx="200025" cy="287338"/>
              <a:chOff x="10501313" y="2228850"/>
              <a:chExt cx="200025" cy="287338"/>
            </a:xfrm>
            <a:solidFill>
              <a:schemeClr val="bg1"/>
            </a:solidFill>
          </p:grpSpPr>
          <p:sp>
            <p:nvSpPr>
              <p:cNvPr id="17" name="Freeform 203"/>
              <p:cNvSpPr>
                <a:spLocks noEditPoints="1"/>
              </p:cNvSpPr>
              <p:nvPr/>
            </p:nvSpPr>
            <p:spPr bwMode="auto">
              <a:xfrm>
                <a:off x="10501313" y="2228850"/>
                <a:ext cx="200025" cy="201613"/>
              </a:xfrm>
              <a:custGeom>
                <a:avLst/>
                <a:gdLst>
                  <a:gd name="T0" fmla="*/ 373 w 632"/>
                  <a:gd name="T1" fmla="*/ 511 h 631"/>
                  <a:gd name="T2" fmla="*/ 447 w 632"/>
                  <a:gd name="T3" fmla="*/ 447 h 631"/>
                  <a:gd name="T4" fmla="*/ 450 w 632"/>
                  <a:gd name="T5" fmla="*/ 431 h 631"/>
                  <a:gd name="T6" fmla="*/ 436 w 632"/>
                  <a:gd name="T7" fmla="*/ 421 h 631"/>
                  <a:gd name="T8" fmla="*/ 327 w 632"/>
                  <a:gd name="T9" fmla="*/ 426 h 631"/>
                  <a:gd name="T10" fmla="*/ 310 w 632"/>
                  <a:gd name="T11" fmla="*/ 422 h 631"/>
                  <a:gd name="T12" fmla="*/ 202 w 632"/>
                  <a:gd name="T13" fmla="*/ 422 h 631"/>
                  <a:gd name="T14" fmla="*/ 184 w 632"/>
                  <a:gd name="T15" fmla="*/ 426 h 631"/>
                  <a:gd name="T16" fmla="*/ 181 w 632"/>
                  <a:gd name="T17" fmla="*/ 442 h 631"/>
                  <a:gd name="T18" fmla="*/ 253 w 632"/>
                  <a:gd name="T19" fmla="*/ 511 h 631"/>
                  <a:gd name="T20" fmla="*/ 301 w 632"/>
                  <a:gd name="T21" fmla="*/ 473 h 631"/>
                  <a:gd name="T22" fmla="*/ 233 w 632"/>
                  <a:gd name="T23" fmla="*/ 589 h 631"/>
                  <a:gd name="T24" fmla="*/ 160 w 632"/>
                  <a:gd name="T25" fmla="*/ 555 h 631"/>
                  <a:gd name="T26" fmla="*/ 100 w 632"/>
                  <a:gd name="T27" fmla="*/ 503 h 631"/>
                  <a:gd name="T28" fmla="*/ 57 w 632"/>
                  <a:gd name="T29" fmla="*/ 436 h 631"/>
                  <a:gd name="T30" fmla="*/ 33 w 632"/>
                  <a:gd name="T31" fmla="*/ 358 h 631"/>
                  <a:gd name="T32" fmla="*/ 33 w 632"/>
                  <a:gd name="T33" fmla="*/ 272 h 631"/>
                  <a:gd name="T34" fmla="*/ 58 w 632"/>
                  <a:gd name="T35" fmla="*/ 192 h 631"/>
                  <a:gd name="T36" fmla="*/ 104 w 632"/>
                  <a:gd name="T37" fmla="*/ 123 h 631"/>
                  <a:gd name="T38" fmla="*/ 167 w 632"/>
                  <a:gd name="T39" fmla="*/ 72 h 631"/>
                  <a:gd name="T40" fmla="*/ 244 w 632"/>
                  <a:gd name="T41" fmla="*/ 38 h 631"/>
                  <a:gd name="T42" fmla="*/ 330 w 632"/>
                  <a:gd name="T43" fmla="*/ 30 h 631"/>
                  <a:gd name="T44" fmla="*/ 414 w 632"/>
                  <a:gd name="T45" fmla="*/ 47 h 631"/>
                  <a:gd name="T46" fmla="*/ 487 w 632"/>
                  <a:gd name="T47" fmla="*/ 87 h 631"/>
                  <a:gd name="T48" fmla="*/ 545 w 632"/>
                  <a:gd name="T49" fmla="*/ 145 h 631"/>
                  <a:gd name="T50" fmla="*/ 584 w 632"/>
                  <a:gd name="T51" fmla="*/ 218 h 631"/>
                  <a:gd name="T52" fmla="*/ 602 w 632"/>
                  <a:gd name="T53" fmla="*/ 301 h 631"/>
                  <a:gd name="T54" fmla="*/ 593 w 632"/>
                  <a:gd name="T55" fmla="*/ 385 h 631"/>
                  <a:gd name="T56" fmla="*/ 563 w 632"/>
                  <a:gd name="T57" fmla="*/ 460 h 631"/>
                  <a:gd name="T58" fmla="*/ 514 w 632"/>
                  <a:gd name="T59" fmla="*/ 522 h 631"/>
                  <a:gd name="T60" fmla="*/ 449 w 632"/>
                  <a:gd name="T61" fmla="*/ 568 h 631"/>
                  <a:gd name="T62" fmla="*/ 372 w 632"/>
                  <a:gd name="T63" fmla="*/ 596 h 631"/>
                  <a:gd name="T64" fmla="*/ 283 w 632"/>
                  <a:gd name="T65" fmla="*/ 1 h 631"/>
                  <a:gd name="T66" fmla="*/ 193 w 632"/>
                  <a:gd name="T67" fmla="*/ 25 h 631"/>
                  <a:gd name="T68" fmla="*/ 115 w 632"/>
                  <a:gd name="T69" fmla="*/ 72 h 631"/>
                  <a:gd name="T70" fmla="*/ 54 w 632"/>
                  <a:gd name="T71" fmla="*/ 139 h 631"/>
                  <a:gd name="T72" fmla="*/ 14 w 632"/>
                  <a:gd name="T73" fmla="*/ 222 h 631"/>
                  <a:gd name="T74" fmla="*/ 0 w 632"/>
                  <a:gd name="T75" fmla="*/ 316 h 631"/>
                  <a:gd name="T76" fmla="*/ 14 w 632"/>
                  <a:gd name="T77" fmla="*/ 410 h 631"/>
                  <a:gd name="T78" fmla="*/ 54 w 632"/>
                  <a:gd name="T79" fmla="*/ 492 h 631"/>
                  <a:gd name="T80" fmla="*/ 115 w 632"/>
                  <a:gd name="T81" fmla="*/ 560 h 631"/>
                  <a:gd name="T82" fmla="*/ 193 w 632"/>
                  <a:gd name="T83" fmla="*/ 607 h 631"/>
                  <a:gd name="T84" fmla="*/ 283 w 632"/>
                  <a:gd name="T85" fmla="*/ 630 h 631"/>
                  <a:gd name="T86" fmla="*/ 380 w 632"/>
                  <a:gd name="T87" fmla="*/ 625 h 631"/>
                  <a:gd name="T88" fmla="*/ 466 w 632"/>
                  <a:gd name="T89" fmla="*/ 594 h 631"/>
                  <a:gd name="T90" fmla="*/ 539 w 632"/>
                  <a:gd name="T91" fmla="*/ 539 h 631"/>
                  <a:gd name="T92" fmla="*/ 594 w 632"/>
                  <a:gd name="T93" fmla="*/ 466 h 631"/>
                  <a:gd name="T94" fmla="*/ 625 w 632"/>
                  <a:gd name="T95" fmla="*/ 379 h 631"/>
                  <a:gd name="T96" fmla="*/ 631 w 632"/>
                  <a:gd name="T97" fmla="*/ 284 h 631"/>
                  <a:gd name="T98" fmla="*/ 607 w 632"/>
                  <a:gd name="T99" fmla="*/ 193 h 631"/>
                  <a:gd name="T100" fmla="*/ 560 w 632"/>
                  <a:gd name="T101" fmla="*/ 115 h 631"/>
                  <a:gd name="T102" fmla="*/ 492 w 632"/>
                  <a:gd name="T103" fmla="*/ 53 h 631"/>
                  <a:gd name="T104" fmla="*/ 410 w 632"/>
                  <a:gd name="T105" fmla="*/ 14 h 631"/>
                  <a:gd name="T106" fmla="*/ 316 w 632"/>
                  <a:gd name="T107" fmla="*/ 0 h 6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32" h="631">
                    <a:moveTo>
                      <a:pt x="331" y="601"/>
                    </a:moveTo>
                    <a:lnTo>
                      <a:pt x="331" y="473"/>
                    </a:lnTo>
                    <a:lnTo>
                      <a:pt x="366" y="507"/>
                    </a:lnTo>
                    <a:lnTo>
                      <a:pt x="368" y="509"/>
                    </a:lnTo>
                    <a:lnTo>
                      <a:pt x="370" y="510"/>
                    </a:lnTo>
                    <a:lnTo>
                      <a:pt x="373" y="511"/>
                    </a:lnTo>
                    <a:lnTo>
                      <a:pt x="376" y="511"/>
                    </a:lnTo>
                    <a:lnTo>
                      <a:pt x="379" y="511"/>
                    </a:lnTo>
                    <a:lnTo>
                      <a:pt x="382" y="510"/>
                    </a:lnTo>
                    <a:lnTo>
                      <a:pt x="384" y="509"/>
                    </a:lnTo>
                    <a:lnTo>
                      <a:pt x="387" y="507"/>
                    </a:lnTo>
                    <a:lnTo>
                      <a:pt x="447" y="447"/>
                    </a:lnTo>
                    <a:lnTo>
                      <a:pt x="449" y="445"/>
                    </a:lnTo>
                    <a:lnTo>
                      <a:pt x="450" y="442"/>
                    </a:lnTo>
                    <a:lnTo>
                      <a:pt x="451" y="440"/>
                    </a:lnTo>
                    <a:lnTo>
                      <a:pt x="451" y="436"/>
                    </a:lnTo>
                    <a:lnTo>
                      <a:pt x="451" y="433"/>
                    </a:lnTo>
                    <a:lnTo>
                      <a:pt x="450" y="431"/>
                    </a:lnTo>
                    <a:lnTo>
                      <a:pt x="449" y="428"/>
                    </a:lnTo>
                    <a:lnTo>
                      <a:pt x="447" y="426"/>
                    </a:lnTo>
                    <a:lnTo>
                      <a:pt x="445" y="423"/>
                    </a:lnTo>
                    <a:lnTo>
                      <a:pt x="442" y="422"/>
                    </a:lnTo>
                    <a:lnTo>
                      <a:pt x="440" y="421"/>
                    </a:lnTo>
                    <a:lnTo>
                      <a:pt x="436" y="421"/>
                    </a:lnTo>
                    <a:lnTo>
                      <a:pt x="433" y="421"/>
                    </a:lnTo>
                    <a:lnTo>
                      <a:pt x="431" y="422"/>
                    </a:lnTo>
                    <a:lnTo>
                      <a:pt x="428" y="423"/>
                    </a:lnTo>
                    <a:lnTo>
                      <a:pt x="426" y="426"/>
                    </a:lnTo>
                    <a:lnTo>
                      <a:pt x="376" y="475"/>
                    </a:lnTo>
                    <a:lnTo>
                      <a:pt x="327" y="426"/>
                    </a:lnTo>
                    <a:lnTo>
                      <a:pt x="324" y="423"/>
                    </a:lnTo>
                    <a:lnTo>
                      <a:pt x="322" y="422"/>
                    </a:lnTo>
                    <a:lnTo>
                      <a:pt x="318" y="421"/>
                    </a:lnTo>
                    <a:lnTo>
                      <a:pt x="316" y="421"/>
                    </a:lnTo>
                    <a:lnTo>
                      <a:pt x="313" y="421"/>
                    </a:lnTo>
                    <a:lnTo>
                      <a:pt x="310" y="422"/>
                    </a:lnTo>
                    <a:lnTo>
                      <a:pt x="308" y="423"/>
                    </a:lnTo>
                    <a:lnTo>
                      <a:pt x="306" y="426"/>
                    </a:lnTo>
                    <a:lnTo>
                      <a:pt x="255" y="475"/>
                    </a:lnTo>
                    <a:lnTo>
                      <a:pt x="206" y="426"/>
                    </a:lnTo>
                    <a:lnTo>
                      <a:pt x="204" y="423"/>
                    </a:lnTo>
                    <a:lnTo>
                      <a:pt x="202" y="422"/>
                    </a:lnTo>
                    <a:lnTo>
                      <a:pt x="198" y="421"/>
                    </a:lnTo>
                    <a:lnTo>
                      <a:pt x="195" y="421"/>
                    </a:lnTo>
                    <a:lnTo>
                      <a:pt x="193" y="421"/>
                    </a:lnTo>
                    <a:lnTo>
                      <a:pt x="190" y="422"/>
                    </a:lnTo>
                    <a:lnTo>
                      <a:pt x="188" y="423"/>
                    </a:lnTo>
                    <a:lnTo>
                      <a:pt x="184" y="426"/>
                    </a:lnTo>
                    <a:lnTo>
                      <a:pt x="183" y="428"/>
                    </a:lnTo>
                    <a:lnTo>
                      <a:pt x="181" y="431"/>
                    </a:lnTo>
                    <a:lnTo>
                      <a:pt x="180" y="433"/>
                    </a:lnTo>
                    <a:lnTo>
                      <a:pt x="180" y="436"/>
                    </a:lnTo>
                    <a:lnTo>
                      <a:pt x="180" y="440"/>
                    </a:lnTo>
                    <a:lnTo>
                      <a:pt x="181" y="442"/>
                    </a:lnTo>
                    <a:lnTo>
                      <a:pt x="183" y="445"/>
                    </a:lnTo>
                    <a:lnTo>
                      <a:pt x="184" y="447"/>
                    </a:lnTo>
                    <a:lnTo>
                      <a:pt x="244" y="507"/>
                    </a:lnTo>
                    <a:lnTo>
                      <a:pt x="248" y="509"/>
                    </a:lnTo>
                    <a:lnTo>
                      <a:pt x="250" y="510"/>
                    </a:lnTo>
                    <a:lnTo>
                      <a:pt x="253" y="511"/>
                    </a:lnTo>
                    <a:lnTo>
                      <a:pt x="255" y="511"/>
                    </a:lnTo>
                    <a:lnTo>
                      <a:pt x="258" y="511"/>
                    </a:lnTo>
                    <a:lnTo>
                      <a:pt x="262" y="510"/>
                    </a:lnTo>
                    <a:lnTo>
                      <a:pt x="264" y="509"/>
                    </a:lnTo>
                    <a:lnTo>
                      <a:pt x="266" y="507"/>
                    </a:lnTo>
                    <a:lnTo>
                      <a:pt x="301" y="473"/>
                    </a:lnTo>
                    <a:lnTo>
                      <a:pt x="301" y="601"/>
                    </a:lnTo>
                    <a:lnTo>
                      <a:pt x="286" y="600"/>
                    </a:lnTo>
                    <a:lnTo>
                      <a:pt x="273" y="598"/>
                    </a:lnTo>
                    <a:lnTo>
                      <a:pt x="259" y="596"/>
                    </a:lnTo>
                    <a:lnTo>
                      <a:pt x="246" y="593"/>
                    </a:lnTo>
                    <a:lnTo>
                      <a:pt x="233" y="589"/>
                    </a:lnTo>
                    <a:lnTo>
                      <a:pt x="220" y="584"/>
                    </a:lnTo>
                    <a:lnTo>
                      <a:pt x="207" y="580"/>
                    </a:lnTo>
                    <a:lnTo>
                      <a:pt x="195" y="575"/>
                    </a:lnTo>
                    <a:lnTo>
                      <a:pt x="183" y="568"/>
                    </a:lnTo>
                    <a:lnTo>
                      <a:pt x="172" y="562"/>
                    </a:lnTo>
                    <a:lnTo>
                      <a:pt x="160" y="555"/>
                    </a:lnTo>
                    <a:lnTo>
                      <a:pt x="149" y="548"/>
                    </a:lnTo>
                    <a:lnTo>
                      <a:pt x="138" y="539"/>
                    </a:lnTo>
                    <a:lnTo>
                      <a:pt x="128" y="531"/>
                    </a:lnTo>
                    <a:lnTo>
                      <a:pt x="118" y="522"/>
                    </a:lnTo>
                    <a:lnTo>
                      <a:pt x="109" y="512"/>
                    </a:lnTo>
                    <a:lnTo>
                      <a:pt x="100" y="503"/>
                    </a:lnTo>
                    <a:lnTo>
                      <a:pt x="91" y="492"/>
                    </a:lnTo>
                    <a:lnTo>
                      <a:pt x="84" y="482"/>
                    </a:lnTo>
                    <a:lnTo>
                      <a:pt x="76" y="471"/>
                    </a:lnTo>
                    <a:lnTo>
                      <a:pt x="69" y="460"/>
                    </a:lnTo>
                    <a:lnTo>
                      <a:pt x="62" y="448"/>
                    </a:lnTo>
                    <a:lnTo>
                      <a:pt x="57" y="436"/>
                    </a:lnTo>
                    <a:lnTo>
                      <a:pt x="51" y="423"/>
                    </a:lnTo>
                    <a:lnTo>
                      <a:pt x="46" y="411"/>
                    </a:lnTo>
                    <a:lnTo>
                      <a:pt x="42" y="398"/>
                    </a:lnTo>
                    <a:lnTo>
                      <a:pt x="39" y="385"/>
                    </a:lnTo>
                    <a:lnTo>
                      <a:pt x="35" y="372"/>
                    </a:lnTo>
                    <a:lnTo>
                      <a:pt x="33" y="358"/>
                    </a:lnTo>
                    <a:lnTo>
                      <a:pt x="31" y="344"/>
                    </a:lnTo>
                    <a:lnTo>
                      <a:pt x="30" y="330"/>
                    </a:lnTo>
                    <a:lnTo>
                      <a:pt x="30" y="316"/>
                    </a:lnTo>
                    <a:lnTo>
                      <a:pt x="30" y="301"/>
                    </a:lnTo>
                    <a:lnTo>
                      <a:pt x="31" y="286"/>
                    </a:lnTo>
                    <a:lnTo>
                      <a:pt x="33" y="272"/>
                    </a:lnTo>
                    <a:lnTo>
                      <a:pt x="35" y="258"/>
                    </a:lnTo>
                    <a:lnTo>
                      <a:pt x="39" y="244"/>
                    </a:lnTo>
                    <a:lnTo>
                      <a:pt x="43" y="230"/>
                    </a:lnTo>
                    <a:lnTo>
                      <a:pt x="47" y="218"/>
                    </a:lnTo>
                    <a:lnTo>
                      <a:pt x="52" y="205"/>
                    </a:lnTo>
                    <a:lnTo>
                      <a:pt x="58" y="192"/>
                    </a:lnTo>
                    <a:lnTo>
                      <a:pt x="64" y="180"/>
                    </a:lnTo>
                    <a:lnTo>
                      <a:pt x="72" y="167"/>
                    </a:lnTo>
                    <a:lnTo>
                      <a:pt x="78" y="156"/>
                    </a:lnTo>
                    <a:lnTo>
                      <a:pt x="87" y="145"/>
                    </a:lnTo>
                    <a:lnTo>
                      <a:pt x="95" y="134"/>
                    </a:lnTo>
                    <a:lnTo>
                      <a:pt x="104" y="123"/>
                    </a:lnTo>
                    <a:lnTo>
                      <a:pt x="114" y="114"/>
                    </a:lnTo>
                    <a:lnTo>
                      <a:pt x="123" y="104"/>
                    </a:lnTo>
                    <a:lnTo>
                      <a:pt x="134" y="95"/>
                    </a:lnTo>
                    <a:lnTo>
                      <a:pt x="145" y="87"/>
                    </a:lnTo>
                    <a:lnTo>
                      <a:pt x="157" y="79"/>
                    </a:lnTo>
                    <a:lnTo>
                      <a:pt x="167" y="72"/>
                    </a:lnTo>
                    <a:lnTo>
                      <a:pt x="180" y="64"/>
                    </a:lnTo>
                    <a:lnTo>
                      <a:pt x="192" y="58"/>
                    </a:lnTo>
                    <a:lnTo>
                      <a:pt x="205" y="52"/>
                    </a:lnTo>
                    <a:lnTo>
                      <a:pt x="218" y="47"/>
                    </a:lnTo>
                    <a:lnTo>
                      <a:pt x="231" y="43"/>
                    </a:lnTo>
                    <a:lnTo>
                      <a:pt x="244" y="38"/>
                    </a:lnTo>
                    <a:lnTo>
                      <a:pt x="258" y="35"/>
                    </a:lnTo>
                    <a:lnTo>
                      <a:pt x="272" y="33"/>
                    </a:lnTo>
                    <a:lnTo>
                      <a:pt x="286" y="31"/>
                    </a:lnTo>
                    <a:lnTo>
                      <a:pt x="301" y="30"/>
                    </a:lnTo>
                    <a:lnTo>
                      <a:pt x="316" y="30"/>
                    </a:lnTo>
                    <a:lnTo>
                      <a:pt x="330" y="30"/>
                    </a:lnTo>
                    <a:lnTo>
                      <a:pt x="345" y="31"/>
                    </a:lnTo>
                    <a:lnTo>
                      <a:pt x="359" y="33"/>
                    </a:lnTo>
                    <a:lnTo>
                      <a:pt x="373" y="35"/>
                    </a:lnTo>
                    <a:lnTo>
                      <a:pt x="387" y="38"/>
                    </a:lnTo>
                    <a:lnTo>
                      <a:pt x="401" y="43"/>
                    </a:lnTo>
                    <a:lnTo>
                      <a:pt x="414" y="47"/>
                    </a:lnTo>
                    <a:lnTo>
                      <a:pt x="427" y="52"/>
                    </a:lnTo>
                    <a:lnTo>
                      <a:pt x="440" y="58"/>
                    </a:lnTo>
                    <a:lnTo>
                      <a:pt x="453" y="64"/>
                    </a:lnTo>
                    <a:lnTo>
                      <a:pt x="464" y="72"/>
                    </a:lnTo>
                    <a:lnTo>
                      <a:pt x="476" y="79"/>
                    </a:lnTo>
                    <a:lnTo>
                      <a:pt x="487" y="87"/>
                    </a:lnTo>
                    <a:lnTo>
                      <a:pt x="498" y="95"/>
                    </a:lnTo>
                    <a:lnTo>
                      <a:pt x="508" y="104"/>
                    </a:lnTo>
                    <a:lnTo>
                      <a:pt x="518" y="114"/>
                    </a:lnTo>
                    <a:lnTo>
                      <a:pt x="528" y="123"/>
                    </a:lnTo>
                    <a:lnTo>
                      <a:pt x="536" y="134"/>
                    </a:lnTo>
                    <a:lnTo>
                      <a:pt x="545" y="145"/>
                    </a:lnTo>
                    <a:lnTo>
                      <a:pt x="553" y="156"/>
                    </a:lnTo>
                    <a:lnTo>
                      <a:pt x="561" y="167"/>
                    </a:lnTo>
                    <a:lnTo>
                      <a:pt x="567" y="180"/>
                    </a:lnTo>
                    <a:lnTo>
                      <a:pt x="574" y="192"/>
                    </a:lnTo>
                    <a:lnTo>
                      <a:pt x="579" y="205"/>
                    </a:lnTo>
                    <a:lnTo>
                      <a:pt x="584" y="218"/>
                    </a:lnTo>
                    <a:lnTo>
                      <a:pt x="589" y="230"/>
                    </a:lnTo>
                    <a:lnTo>
                      <a:pt x="593" y="244"/>
                    </a:lnTo>
                    <a:lnTo>
                      <a:pt x="596" y="258"/>
                    </a:lnTo>
                    <a:lnTo>
                      <a:pt x="598" y="272"/>
                    </a:lnTo>
                    <a:lnTo>
                      <a:pt x="601" y="286"/>
                    </a:lnTo>
                    <a:lnTo>
                      <a:pt x="602" y="301"/>
                    </a:lnTo>
                    <a:lnTo>
                      <a:pt x="602" y="316"/>
                    </a:lnTo>
                    <a:lnTo>
                      <a:pt x="602" y="330"/>
                    </a:lnTo>
                    <a:lnTo>
                      <a:pt x="601" y="344"/>
                    </a:lnTo>
                    <a:lnTo>
                      <a:pt x="598" y="358"/>
                    </a:lnTo>
                    <a:lnTo>
                      <a:pt x="596" y="372"/>
                    </a:lnTo>
                    <a:lnTo>
                      <a:pt x="593" y="385"/>
                    </a:lnTo>
                    <a:lnTo>
                      <a:pt x="590" y="398"/>
                    </a:lnTo>
                    <a:lnTo>
                      <a:pt x="586" y="411"/>
                    </a:lnTo>
                    <a:lnTo>
                      <a:pt x="581" y="423"/>
                    </a:lnTo>
                    <a:lnTo>
                      <a:pt x="575" y="436"/>
                    </a:lnTo>
                    <a:lnTo>
                      <a:pt x="569" y="448"/>
                    </a:lnTo>
                    <a:lnTo>
                      <a:pt x="563" y="460"/>
                    </a:lnTo>
                    <a:lnTo>
                      <a:pt x="555" y="471"/>
                    </a:lnTo>
                    <a:lnTo>
                      <a:pt x="548" y="482"/>
                    </a:lnTo>
                    <a:lnTo>
                      <a:pt x="540" y="492"/>
                    </a:lnTo>
                    <a:lnTo>
                      <a:pt x="532" y="503"/>
                    </a:lnTo>
                    <a:lnTo>
                      <a:pt x="523" y="512"/>
                    </a:lnTo>
                    <a:lnTo>
                      <a:pt x="514" y="522"/>
                    </a:lnTo>
                    <a:lnTo>
                      <a:pt x="504" y="531"/>
                    </a:lnTo>
                    <a:lnTo>
                      <a:pt x="493" y="539"/>
                    </a:lnTo>
                    <a:lnTo>
                      <a:pt x="483" y="548"/>
                    </a:lnTo>
                    <a:lnTo>
                      <a:pt x="472" y="555"/>
                    </a:lnTo>
                    <a:lnTo>
                      <a:pt x="460" y="562"/>
                    </a:lnTo>
                    <a:lnTo>
                      <a:pt x="449" y="568"/>
                    </a:lnTo>
                    <a:lnTo>
                      <a:pt x="436" y="575"/>
                    </a:lnTo>
                    <a:lnTo>
                      <a:pt x="425" y="580"/>
                    </a:lnTo>
                    <a:lnTo>
                      <a:pt x="412" y="584"/>
                    </a:lnTo>
                    <a:lnTo>
                      <a:pt x="399" y="589"/>
                    </a:lnTo>
                    <a:lnTo>
                      <a:pt x="386" y="593"/>
                    </a:lnTo>
                    <a:lnTo>
                      <a:pt x="372" y="596"/>
                    </a:lnTo>
                    <a:lnTo>
                      <a:pt x="359" y="598"/>
                    </a:lnTo>
                    <a:lnTo>
                      <a:pt x="345" y="600"/>
                    </a:lnTo>
                    <a:lnTo>
                      <a:pt x="331" y="601"/>
                    </a:lnTo>
                    <a:close/>
                    <a:moveTo>
                      <a:pt x="316" y="0"/>
                    </a:moveTo>
                    <a:lnTo>
                      <a:pt x="299" y="0"/>
                    </a:lnTo>
                    <a:lnTo>
                      <a:pt x="283" y="1"/>
                    </a:lnTo>
                    <a:lnTo>
                      <a:pt x="268" y="3"/>
                    </a:lnTo>
                    <a:lnTo>
                      <a:pt x="252" y="6"/>
                    </a:lnTo>
                    <a:lnTo>
                      <a:pt x="237" y="10"/>
                    </a:lnTo>
                    <a:lnTo>
                      <a:pt x="222" y="14"/>
                    </a:lnTo>
                    <a:lnTo>
                      <a:pt x="207" y="19"/>
                    </a:lnTo>
                    <a:lnTo>
                      <a:pt x="193" y="25"/>
                    </a:lnTo>
                    <a:lnTo>
                      <a:pt x="179" y="31"/>
                    </a:lnTo>
                    <a:lnTo>
                      <a:pt x="165" y="38"/>
                    </a:lnTo>
                    <a:lnTo>
                      <a:pt x="152" y="46"/>
                    </a:lnTo>
                    <a:lnTo>
                      <a:pt x="139" y="53"/>
                    </a:lnTo>
                    <a:lnTo>
                      <a:pt x="126" y="63"/>
                    </a:lnTo>
                    <a:lnTo>
                      <a:pt x="115" y="72"/>
                    </a:lnTo>
                    <a:lnTo>
                      <a:pt x="103" y="82"/>
                    </a:lnTo>
                    <a:lnTo>
                      <a:pt x="92" y="92"/>
                    </a:lnTo>
                    <a:lnTo>
                      <a:pt x="81" y="104"/>
                    </a:lnTo>
                    <a:lnTo>
                      <a:pt x="72" y="115"/>
                    </a:lnTo>
                    <a:lnTo>
                      <a:pt x="62" y="126"/>
                    </a:lnTo>
                    <a:lnTo>
                      <a:pt x="54" y="139"/>
                    </a:lnTo>
                    <a:lnTo>
                      <a:pt x="46" y="152"/>
                    </a:lnTo>
                    <a:lnTo>
                      <a:pt x="37" y="165"/>
                    </a:lnTo>
                    <a:lnTo>
                      <a:pt x="31" y="179"/>
                    </a:lnTo>
                    <a:lnTo>
                      <a:pt x="25" y="193"/>
                    </a:lnTo>
                    <a:lnTo>
                      <a:pt x="19" y="207"/>
                    </a:lnTo>
                    <a:lnTo>
                      <a:pt x="14" y="222"/>
                    </a:lnTo>
                    <a:lnTo>
                      <a:pt x="10" y="237"/>
                    </a:lnTo>
                    <a:lnTo>
                      <a:pt x="6" y="252"/>
                    </a:lnTo>
                    <a:lnTo>
                      <a:pt x="3" y="268"/>
                    </a:lnTo>
                    <a:lnTo>
                      <a:pt x="1" y="284"/>
                    </a:lnTo>
                    <a:lnTo>
                      <a:pt x="0" y="299"/>
                    </a:lnTo>
                    <a:lnTo>
                      <a:pt x="0" y="316"/>
                    </a:lnTo>
                    <a:lnTo>
                      <a:pt x="0" y="332"/>
                    </a:lnTo>
                    <a:lnTo>
                      <a:pt x="1" y="348"/>
                    </a:lnTo>
                    <a:lnTo>
                      <a:pt x="3" y="363"/>
                    </a:lnTo>
                    <a:lnTo>
                      <a:pt x="6" y="379"/>
                    </a:lnTo>
                    <a:lnTo>
                      <a:pt x="10" y="394"/>
                    </a:lnTo>
                    <a:lnTo>
                      <a:pt x="14" y="410"/>
                    </a:lnTo>
                    <a:lnTo>
                      <a:pt x="19" y="425"/>
                    </a:lnTo>
                    <a:lnTo>
                      <a:pt x="25" y="438"/>
                    </a:lnTo>
                    <a:lnTo>
                      <a:pt x="31" y="452"/>
                    </a:lnTo>
                    <a:lnTo>
                      <a:pt x="37" y="466"/>
                    </a:lnTo>
                    <a:lnTo>
                      <a:pt x="46" y="479"/>
                    </a:lnTo>
                    <a:lnTo>
                      <a:pt x="54" y="492"/>
                    </a:lnTo>
                    <a:lnTo>
                      <a:pt x="62" y="505"/>
                    </a:lnTo>
                    <a:lnTo>
                      <a:pt x="72" y="517"/>
                    </a:lnTo>
                    <a:lnTo>
                      <a:pt x="81" y="529"/>
                    </a:lnTo>
                    <a:lnTo>
                      <a:pt x="92" y="539"/>
                    </a:lnTo>
                    <a:lnTo>
                      <a:pt x="103" y="550"/>
                    </a:lnTo>
                    <a:lnTo>
                      <a:pt x="115" y="560"/>
                    </a:lnTo>
                    <a:lnTo>
                      <a:pt x="126" y="569"/>
                    </a:lnTo>
                    <a:lnTo>
                      <a:pt x="139" y="578"/>
                    </a:lnTo>
                    <a:lnTo>
                      <a:pt x="152" y="586"/>
                    </a:lnTo>
                    <a:lnTo>
                      <a:pt x="165" y="594"/>
                    </a:lnTo>
                    <a:lnTo>
                      <a:pt x="179" y="600"/>
                    </a:lnTo>
                    <a:lnTo>
                      <a:pt x="193" y="607"/>
                    </a:lnTo>
                    <a:lnTo>
                      <a:pt x="207" y="612"/>
                    </a:lnTo>
                    <a:lnTo>
                      <a:pt x="222" y="618"/>
                    </a:lnTo>
                    <a:lnTo>
                      <a:pt x="237" y="622"/>
                    </a:lnTo>
                    <a:lnTo>
                      <a:pt x="252" y="625"/>
                    </a:lnTo>
                    <a:lnTo>
                      <a:pt x="268" y="628"/>
                    </a:lnTo>
                    <a:lnTo>
                      <a:pt x="283" y="630"/>
                    </a:lnTo>
                    <a:lnTo>
                      <a:pt x="299" y="631"/>
                    </a:lnTo>
                    <a:lnTo>
                      <a:pt x="316" y="631"/>
                    </a:lnTo>
                    <a:lnTo>
                      <a:pt x="332" y="631"/>
                    </a:lnTo>
                    <a:lnTo>
                      <a:pt x="348" y="630"/>
                    </a:lnTo>
                    <a:lnTo>
                      <a:pt x="364" y="628"/>
                    </a:lnTo>
                    <a:lnTo>
                      <a:pt x="380" y="625"/>
                    </a:lnTo>
                    <a:lnTo>
                      <a:pt x="395" y="622"/>
                    </a:lnTo>
                    <a:lnTo>
                      <a:pt x="410" y="618"/>
                    </a:lnTo>
                    <a:lnTo>
                      <a:pt x="425" y="612"/>
                    </a:lnTo>
                    <a:lnTo>
                      <a:pt x="439" y="607"/>
                    </a:lnTo>
                    <a:lnTo>
                      <a:pt x="453" y="600"/>
                    </a:lnTo>
                    <a:lnTo>
                      <a:pt x="466" y="594"/>
                    </a:lnTo>
                    <a:lnTo>
                      <a:pt x="479" y="586"/>
                    </a:lnTo>
                    <a:lnTo>
                      <a:pt x="492" y="578"/>
                    </a:lnTo>
                    <a:lnTo>
                      <a:pt x="505" y="569"/>
                    </a:lnTo>
                    <a:lnTo>
                      <a:pt x="517" y="560"/>
                    </a:lnTo>
                    <a:lnTo>
                      <a:pt x="529" y="550"/>
                    </a:lnTo>
                    <a:lnTo>
                      <a:pt x="539" y="539"/>
                    </a:lnTo>
                    <a:lnTo>
                      <a:pt x="550" y="529"/>
                    </a:lnTo>
                    <a:lnTo>
                      <a:pt x="560" y="517"/>
                    </a:lnTo>
                    <a:lnTo>
                      <a:pt x="569" y="505"/>
                    </a:lnTo>
                    <a:lnTo>
                      <a:pt x="578" y="492"/>
                    </a:lnTo>
                    <a:lnTo>
                      <a:pt x="587" y="479"/>
                    </a:lnTo>
                    <a:lnTo>
                      <a:pt x="594" y="466"/>
                    </a:lnTo>
                    <a:lnTo>
                      <a:pt x="601" y="452"/>
                    </a:lnTo>
                    <a:lnTo>
                      <a:pt x="607" y="438"/>
                    </a:lnTo>
                    <a:lnTo>
                      <a:pt x="612" y="425"/>
                    </a:lnTo>
                    <a:lnTo>
                      <a:pt x="618" y="410"/>
                    </a:lnTo>
                    <a:lnTo>
                      <a:pt x="622" y="394"/>
                    </a:lnTo>
                    <a:lnTo>
                      <a:pt x="625" y="379"/>
                    </a:lnTo>
                    <a:lnTo>
                      <a:pt x="628" y="363"/>
                    </a:lnTo>
                    <a:lnTo>
                      <a:pt x="631" y="348"/>
                    </a:lnTo>
                    <a:lnTo>
                      <a:pt x="632" y="332"/>
                    </a:lnTo>
                    <a:lnTo>
                      <a:pt x="632" y="316"/>
                    </a:lnTo>
                    <a:lnTo>
                      <a:pt x="632" y="299"/>
                    </a:lnTo>
                    <a:lnTo>
                      <a:pt x="631" y="284"/>
                    </a:lnTo>
                    <a:lnTo>
                      <a:pt x="628" y="268"/>
                    </a:lnTo>
                    <a:lnTo>
                      <a:pt x="625" y="252"/>
                    </a:lnTo>
                    <a:lnTo>
                      <a:pt x="622" y="237"/>
                    </a:lnTo>
                    <a:lnTo>
                      <a:pt x="618" y="222"/>
                    </a:lnTo>
                    <a:lnTo>
                      <a:pt x="612" y="207"/>
                    </a:lnTo>
                    <a:lnTo>
                      <a:pt x="607" y="193"/>
                    </a:lnTo>
                    <a:lnTo>
                      <a:pt x="601" y="179"/>
                    </a:lnTo>
                    <a:lnTo>
                      <a:pt x="594" y="165"/>
                    </a:lnTo>
                    <a:lnTo>
                      <a:pt x="587" y="152"/>
                    </a:lnTo>
                    <a:lnTo>
                      <a:pt x="578" y="139"/>
                    </a:lnTo>
                    <a:lnTo>
                      <a:pt x="569" y="126"/>
                    </a:lnTo>
                    <a:lnTo>
                      <a:pt x="560" y="115"/>
                    </a:lnTo>
                    <a:lnTo>
                      <a:pt x="550" y="104"/>
                    </a:lnTo>
                    <a:lnTo>
                      <a:pt x="539" y="92"/>
                    </a:lnTo>
                    <a:lnTo>
                      <a:pt x="529" y="82"/>
                    </a:lnTo>
                    <a:lnTo>
                      <a:pt x="517" y="72"/>
                    </a:lnTo>
                    <a:lnTo>
                      <a:pt x="505" y="63"/>
                    </a:lnTo>
                    <a:lnTo>
                      <a:pt x="492" y="53"/>
                    </a:lnTo>
                    <a:lnTo>
                      <a:pt x="479" y="46"/>
                    </a:lnTo>
                    <a:lnTo>
                      <a:pt x="466" y="38"/>
                    </a:lnTo>
                    <a:lnTo>
                      <a:pt x="453" y="31"/>
                    </a:lnTo>
                    <a:lnTo>
                      <a:pt x="439" y="25"/>
                    </a:lnTo>
                    <a:lnTo>
                      <a:pt x="425" y="19"/>
                    </a:lnTo>
                    <a:lnTo>
                      <a:pt x="410" y="14"/>
                    </a:lnTo>
                    <a:lnTo>
                      <a:pt x="395" y="10"/>
                    </a:lnTo>
                    <a:lnTo>
                      <a:pt x="380" y="6"/>
                    </a:lnTo>
                    <a:lnTo>
                      <a:pt x="364" y="3"/>
                    </a:lnTo>
                    <a:lnTo>
                      <a:pt x="348" y="1"/>
                    </a:lnTo>
                    <a:lnTo>
                      <a:pt x="332" y="0"/>
                    </a:lnTo>
                    <a:lnTo>
                      <a:pt x="31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Light"/>
                  <a:ea typeface="+mn-ea"/>
                  <a:cs typeface="+mn-cs"/>
                </a:endParaRPr>
              </a:p>
            </p:txBody>
          </p:sp>
          <p:sp>
            <p:nvSpPr>
              <p:cNvPr id="18" name="Freeform 204"/>
              <p:cNvSpPr>
                <a:spLocks/>
              </p:cNvSpPr>
              <p:nvPr/>
            </p:nvSpPr>
            <p:spPr bwMode="auto">
              <a:xfrm>
                <a:off x="10567988" y="2449513"/>
                <a:ext cx="66675" cy="9525"/>
              </a:xfrm>
              <a:custGeom>
                <a:avLst/>
                <a:gdLst>
                  <a:gd name="T0" fmla="*/ 196 w 211"/>
                  <a:gd name="T1" fmla="*/ 0 h 31"/>
                  <a:gd name="T2" fmla="*/ 15 w 211"/>
                  <a:gd name="T3" fmla="*/ 0 h 31"/>
                  <a:gd name="T4" fmla="*/ 13 w 211"/>
                  <a:gd name="T5" fmla="*/ 1 h 31"/>
                  <a:gd name="T6" fmla="*/ 10 w 211"/>
                  <a:gd name="T7" fmla="*/ 2 h 31"/>
                  <a:gd name="T8" fmla="*/ 8 w 211"/>
                  <a:gd name="T9" fmla="*/ 3 h 31"/>
                  <a:gd name="T10" fmla="*/ 4 w 211"/>
                  <a:gd name="T11" fmla="*/ 5 h 31"/>
                  <a:gd name="T12" fmla="*/ 3 w 211"/>
                  <a:gd name="T13" fmla="*/ 7 h 31"/>
                  <a:gd name="T14" fmla="*/ 1 w 211"/>
                  <a:gd name="T15" fmla="*/ 9 h 31"/>
                  <a:gd name="T16" fmla="*/ 1 w 211"/>
                  <a:gd name="T17" fmla="*/ 12 h 31"/>
                  <a:gd name="T18" fmla="*/ 0 w 211"/>
                  <a:gd name="T19" fmla="*/ 16 h 31"/>
                  <a:gd name="T20" fmla="*/ 1 w 211"/>
                  <a:gd name="T21" fmla="*/ 18 h 31"/>
                  <a:gd name="T22" fmla="*/ 1 w 211"/>
                  <a:gd name="T23" fmla="*/ 21 h 31"/>
                  <a:gd name="T24" fmla="*/ 3 w 211"/>
                  <a:gd name="T25" fmla="*/ 23 h 31"/>
                  <a:gd name="T26" fmla="*/ 4 w 211"/>
                  <a:gd name="T27" fmla="*/ 25 h 31"/>
                  <a:gd name="T28" fmla="*/ 8 w 211"/>
                  <a:gd name="T29" fmla="*/ 27 h 31"/>
                  <a:gd name="T30" fmla="*/ 10 w 211"/>
                  <a:gd name="T31" fmla="*/ 28 h 31"/>
                  <a:gd name="T32" fmla="*/ 13 w 211"/>
                  <a:gd name="T33" fmla="*/ 30 h 31"/>
                  <a:gd name="T34" fmla="*/ 15 w 211"/>
                  <a:gd name="T35" fmla="*/ 31 h 31"/>
                  <a:gd name="T36" fmla="*/ 196 w 211"/>
                  <a:gd name="T37" fmla="*/ 31 h 31"/>
                  <a:gd name="T38" fmla="*/ 200 w 211"/>
                  <a:gd name="T39" fmla="*/ 30 h 31"/>
                  <a:gd name="T40" fmla="*/ 202 w 211"/>
                  <a:gd name="T41" fmla="*/ 28 h 31"/>
                  <a:gd name="T42" fmla="*/ 205 w 211"/>
                  <a:gd name="T43" fmla="*/ 27 h 31"/>
                  <a:gd name="T44" fmla="*/ 207 w 211"/>
                  <a:gd name="T45" fmla="*/ 25 h 31"/>
                  <a:gd name="T46" fmla="*/ 208 w 211"/>
                  <a:gd name="T47" fmla="*/ 23 h 31"/>
                  <a:gd name="T48" fmla="*/ 210 w 211"/>
                  <a:gd name="T49" fmla="*/ 21 h 31"/>
                  <a:gd name="T50" fmla="*/ 211 w 211"/>
                  <a:gd name="T51" fmla="*/ 18 h 31"/>
                  <a:gd name="T52" fmla="*/ 211 w 211"/>
                  <a:gd name="T53" fmla="*/ 16 h 31"/>
                  <a:gd name="T54" fmla="*/ 211 w 211"/>
                  <a:gd name="T55" fmla="*/ 12 h 31"/>
                  <a:gd name="T56" fmla="*/ 210 w 211"/>
                  <a:gd name="T57" fmla="*/ 9 h 31"/>
                  <a:gd name="T58" fmla="*/ 208 w 211"/>
                  <a:gd name="T59" fmla="*/ 7 h 31"/>
                  <a:gd name="T60" fmla="*/ 207 w 211"/>
                  <a:gd name="T61" fmla="*/ 5 h 31"/>
                  <a:gd name="T62" fmla="*/ 205 w 211"/>
                  <a:gd name="T63" fmla="*/ 3 h 31"/>
                  <a:gd name="T64" fmla="*/ 202 w 211"/>
                  <a:gd name="T65" fmla="*/ 2 h 31"/>
                  <a:gd name="T66" fmla="*/ 200 w 211"/>
                  <a:gd name="T67" fmla="*/ 1 h 31"/>
                  <a:gd name="T68" fmla="*/ 196 w 211"/>
                  <a:gd name="T69"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11" h="31">
                    <a:moveTo>
                      <a:pt x="196" y="0"/>
                    </a:moveTo>
                    <a:lnTo>
                      <a:pt x="15" y="0"/>
                    </a:lnTo>
                    <a:lnTo>
                      <a:pt x="13" y="1"/>
                    </a:lnTo>
                    <a:lnTo>
                      <a:pt x="10" y="2"/>
                    </a:lnTo>
                    <a:lnTo>
                      <a:pt x="8" y="3"/>
                    </a:lnTo>
                    <a:lnTo>
                      <a:pt x="4" y="5"/>
                    </a:lnTo>
                    <a:lnTo>
                      <a:pt x="3" y="7"/>
                    </a:lnTo>
                    <a:lnTo>
                      <a:pt x="1" y="9"/>
                    </a:lnTo>
                    <a:lnTo>
                      <a:pt x="1" y="12"/>
                    </a:lnTo>
                    <a:lnTo>
                      <a:pt x="0" y="16"/>
                    </a:lnTo>
                    <a:lnTo>
                      <a:pt x="1" y="18"/>
                    </a:lnTo>
                    <a:lnTo>
                      <a:pt x="1" y="21"/>
                    </a:lnTo>
                    <a:lnTo>
                      <a:pt x="3" y="23"/>
                    </a:lnTo>
                    <a:lnTo>
                      <a:pt x="4" y="25"/>
                    </a:lnTo>
                    <a:lnTo>
                      <a:pt x="8" y="27"/>
                    </a:lnTo>
                    <a:lnTo>
                      <a:pt x="10" y="28"/>
                    </a:lnTo>
                    <a:lnTo>
                      <a:pt x="13" y="30"/>
                    </a:lnTo>
                    <a:lnTo>
                      <a:pt x="15" y="31"/>
                    </a:lnTo>
                    <a:lnTo>
                      <a:pt x="196" y="31"/>
                    </a:lnTo>
                    <a:lnTo>
                      <a:pt x="200" y="30"/>
                    </a:lnTo>
                    <a:lnTo>
                      <a:pt x="202" y="28"/>
                    </a:lnTo>
                    <a:lnTo>
                      <a:pt x="205" y="27"/>
                    </a:lnTo>
                    <a:lnTo>
                      <a:pt x="207" y="25"/>
                    </a:lnTo>
                    <a:lnTo>
                      <a:pt x="208" y="23"/>
                    </a:lnTo>
                    <a:lnTo>
                      <a:pt x="210" y="21"/>
                    </a:lnTo>
                    <a:lnTo>
                      <a:pt x="211" y="18"/>
                    </a:lnTo>
                    <a:lnTo>
                      <a:pt x="211" y="16"/>
                    </a:lnTo>
                    <a:lnTo>
                      <a:pt x="211" y="12"/>
                    </a:lnTo>
                    <a:lnTo>
                      <a:pt x="210" y="9"/>
                    </a:lnTo>
                    <a:lnTo>
                      <a:pt x="208" y="7"/>
                    </a:lnTo>
                    <a:lnTo>
                      <a:pt x="207" y="5"/>
                    </a:lnTo>
                    <a:lnTo>
                      <a:pt x="205" y="3"/>
                    </a:lnTo>
                    <a:lnTo>
                      <a:pt x="202" y="2"/>
                    </a:lnTo>
                    <a:lnTo>
                      <a:pt x="200" y="1"/>
                    </a:lnTo>
                    <a:lnTo>
                      <a:pt x="19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Light"/>
                  <a:ea typeface="+mn-ea"/>
                  <a:cs typeface="+mn-cs"/>
                </a:endParaRPr>
              </a:p>
            </p:txBody>
          </p:sp>
          <p:sp>
            <p:nvSpPr>
              <p:cNvPr id="19" name="Freeform 205"/>
              <p:cNvSpPr>
                <a:spLocks/>
              </p:cNvSpPr>
              <p:nvPr/>
            </p:nvSpPr>
            <p:spPr bwMode="auto">
              <a:xfrm>
                <a:off x="10567988" y="2468563"/>
                <a:ext cx="66675" cy="9525"/>
              </a:xfrm>
              <a:custGeom>
                <a:avLst/>
                <a:gdLst>
                  <a:gd name="T0" fmla="*/ 196 w 211"/>
                  <a:gd name="T1" fmla="*/ 0 h 30"/>
                  <a:gd name="T2" fmla="*/ 15 w 211"/>
                  <a:gd name="T3" fmla="*/ 0 h 30"/>
                  <a:gd name="T4" fmla="*/ 13 w 211"/>
                  <a:gd name="T5" fmla="*/ 0 h 30"/>
                  <a:gd name="T6" fmla="*/ 10 w 211"/>
                  <a:gd name="T7" fmla="*/ 1 h 30"/>
                  <a:gd name="T8" fmla="*/ 8 w 211"/>
                  <a:gd name="T9" fmla="*/ 2 h 30"/>
                  <a:gd name="T10" fmla="*/ 4 w 211"/>
                  <a:gd name="T11" fmla="*/ 4 h 30"/>
                  <a:gd name="T12" fmla="*/ 3 w 211"/>
                  <a:gd name="T13" fmla="*/ 6 h 30"/>
                  <a:gd name="T14" fmla="*/ 1 w 211"/>
                  <a:gd name="T15" fmla="*/ 8 h 30"/>
                  <a:gd name="T16" fmla="*/ 1 w 211"/>
                  <a:gd name="T17" fmla="*/ 11 h 30"/>
                  <a:gd name="T18" fmla="*/ 0 w 211"/>
                  <a:gd name="T19" fmla="*/ 15 h 30"/>
                  <a:gd name="T20" fmla="*/ 1 w 211"/>
                  <a:gd name="T21" fmla="*/ 17 h 30"/>
                  <a:gd name="T22" fmla="*/ 1 w 211"/>
                  <a:gd name="T23" fmla="*/ 20 h 30"/>
                  <a:gd name="T24" fmla="*/ 3 w 211"/>
                  <a:gd name="T25" fmla="*/ 22 h 30"/>
                  <a:gd name="T26" fmla="*/ 4 w 211"/>
                  <a:gd name="T27" fmla="*/ 25 h 30"/>
                  <a:gd name="T28" fmla="*/ 8 w 211"/>
                  <a:gd name="T29" fmla="*/ 26 h 30"/>
                  <a:gd name="T30" fmla="*/ 10 w 211"/>
                  <a:gd name="T31" fmla="*/ 29 h 30"/>
                  <a:gd name="T32" fmla="*/ 13 w 211"/>
                  <a:gd name="T33" fmla="*/ 29 h 30"/>
                  <a:gd name="T34" fmla="*/ 15 w 211"/>
                  <a:gd name="T35" fmla="*/ 30 h 30"/>
                  <a:gd name="T36" fmla="*/ 196 w 211"/>
                  <a:gd name="T37" fmla="*/ 30 h 30"/>
                  <a:gd name="T38" fmla="*/ 200 w 211"/>
                  <a:gd name="T39" fmla="*/ 29 h 30"/>
                  <a:gd name="T40" fmla="*/ 202 w 211"/>
                  <a:gd name="T41" fmla="*/ 29 h 30"/>
                  <a:gd name="T42" fmla="*/ 205 w 211"/>
                  <a:gd name="T43" fmla="*/ 26 h 30"/>
                  <a:gd name="T44" fmla="*/ 207 w 211"/>
                  <a:gd name="T45" fmla="*/ 25 h 30"/>
                  <a:gd name="T46" fmla="*/ 208 w 211"/>
                  <a:gd name="T47" fmla="*/ 22 h 30"/>
                  <a:gd name="T48" fmla="*/ 210 w 211"/>
                  <a:gd name="T49" fmla="*/ 20 h 30"/>
                  <a:gd name="T50" fmla="*/ 211 w 211"/>
                  <a:gd name="T51" fmla="*/ 17 h 30"/>
                  <a:gd name="T52" fmla="*/ 211 w 211"/>
                  <a:gd name="T53" fmla="*/ 15 h 30"/>
                  <a:gd name="T54" fmla="*/ 211 w 211"/>
                  <a:gd name="T55" fmla="*/ 11 h 30"/>
                  <a:gd name="T56" fmla="*/ 210 w 211"/>
                  <a:gd name="T57" fmla="*/ 8 h 30"/>
                  <a:gd name="T58" fmla="*/ 208 w 211"/>
                  <a:gd name="T59" fmla="*/ 6 h 30"/>
                  <a:gd name="T60" fmla="*/ 207 w 211"/>
                  <a:gd name="T61" fmla="*/ 4 h 30"/>
                  <a:gd name="T62" fmla="*/ 205 w 211"/>
                  <a:gd name="T63" fmla="*/ 2 h 30"/>
                  <a:gd name="T64" fmla="*/ 202 w 211"/>
                  <a:gd name="T65" fmla="*/ 1 h 30"/>
                  <a:gd name="T66" fmla="*/ 200 w 211"/>
                  <a:gd name="T67" fmla="*/ 0 h 30"/>
                  <a:gd name="T68" fmla="*/ 196 w 211"/>
                  <a:gd name="T69"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11" h="30">
                    <a:moveTo>
                      <a:pt x="196" y="0"/>
                    </a:moveTo>
                    <a:lnTo>
                      <a:pt x="15" y="0"/>
                    </a:lnTo>
                    <a:lnTo>
                      <a:pt x="13" y="0"/>
                    </a:lnTo>
                    <a:lnTo>
                      <a:pt x="10" y="1"/>
                    </a:lnTo>
                    <a:lnTo>
                      <a:pt x="8" y="2"/>
                    </a:lnTo>
                    <a:lnTo>
                      <a:pt x="4" y="4"/>
                    </a:lnTo>
                    <a:lnTo>
                      <a:pt x="3" y="6"/>
                    </a:lnTo>
                    <a:lnTo>
                      <a:pt x="1" y="8"/>
                    </a:lnTo>
                    <a:lnTo>
                      <a:pt x="1" y="11"/>
                    </a:lnTo>
                    <a:lnTo>
                      <a:pt x="0" y="15"/>
                    </a:lnTo>
                    <a:lnTo>
                      <a:pt x="1" y="17"/>
                    </a:lnTo>
                    <a:lnTo>
                      <a:pt x="1" y="20"/>
                    </a:lnTo>
                    <a:lnTo>
                      <a:pt x="3" y="22"/>
                    </a:lnTo>
                    <a:lnTo>
                      <a:pt x="4" y="25"/>
                    </a:lnTo>
                    <a:lnTo>
                      <a:pt x="8" y="26"/>
                    </a:lnTo>
                    <a:lnTo>
                      <a:pt x="10" y="29"/>
                    </a:lnTo>
                    <a:lnTo>
                      <a:pt x="13" y="29"/>
                    </a:lnTo>
                    <a:lnTo>
                      <a:pt x="15" y="30"/>
                    </a:lnTo>
                    <a:lnTo>
                      <a:pt x="196" y="30"/>
                    </a:lnTo>
                    <a:lnTo>
                      <a:pt x="200" y="29"/>
                    </a:lnTo>
                    <a:lnTo>
                      <a:pt x="202" y="29"/>
                    </a:lnTo>
                    <a:lnTo>
                      <a:pt x="205" y="26"/>
                    </a:lnTo>
                    <a:lnTo>
                      <a:pt x="207" y="25"/>
                    </a:lnTo>
                    <a:lnTo>
                      <a:pt x="208" y="22"/>
                    </a:lnTo>
                    <a:lnTo>
                      <a:pt x="210" y="20"/>
                    </a:lnTo>
                    <a:lnTo>
                      <a:pt x="211" y="17"/>
                    </a:lnTo>
                    <a:lnTo>
                      <a:pt x="211" y="15"/>
                    </a:lnTo>
                    <a:lnTo>
                      <a:pt x="211" y="11"/>
                    </a:lnTo>
                    <a:lnTo>
                      <a:pt x="210" y="8"/>
                    </a:lnTo>
                    <a:lnTo>
                      <a:pt x="208" y="6"/>
                    </a:lnTo>
                    <a:lnTo>
                      <a:pt x="207" y="4"/>
                    </a:lnTo>
                    <a:lnTo>
                      <a:pt x="205" y="2"/>
                    </a:lnTo>
                    <a:lnTo>
                      <a:pt x="202" y="1"/>
                    </a:lnTo>
                    <a:lnTo>
                      <a:pt x="200" y="0"/>
                    </a:lnTo>
                    <a:lnTo>
                      <a:pt x="19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Light"/>
                  <a:ea typeface="+mn-ea"/>
                  <a:cs typeface="+mn-cs"/>
                </a:endParaRPr>
              </a:p>
            </p:txBody>
          </p:sp>
          <p:sp>
            <p:nvSpPr>
              <p:cNvPr id="20" name="Freeform 206"/>
              <p:cNvSpPr>
                <a:spLocks/>
              </p:cNvSpPr>
              <p:nvPr/>
            </p:nvSpPr>
            <p:spPr bwMode="auto">
              <a:xfrm>
                <a:off x="10567988" y="2487613"/>
                <a:ext cx="66675" cy="28575"/>
              </a:xfrm>
              <a:custGeom>
                <a:avLst/>
                <a:gdLst>
                  <a:gd name="T0" fmla="*/ 196 w 211"/>
                  <a:gd name="T1" fmla="*/ 0 h 90"/>
                  <a:gd name="T2" fmla="*/ 15 w 211"/>
                  <a:gd name="T3" fmla="*/ 0 h 90"/>
                  <a:gd name="T4" fmla="*/ 13 w 211"/>
                  <a:gd name="T5" fmla="*/ 0 h 90"/>
                  <a:gd name="T6" fmla="*/ 10 w 211"/>
                  <a:gd name="T7" fmla="*/ 1 h 90"/>
                  <a:gd name="T8" fmla="*/ 8 w 211"/>
                  <a:gd name="T9" fmla="*/ 2 h 90"/>
                  <a:gd name="T10" fmla="*/ 4 w 211"/>
                  <a:gd name="T11" fmla="*/ 4 h 90"/>
                  <a:gd name="T12" fmla="*/ 3 w 211"/>
                  <a:gd name="T13" fmla="*/ 6 h 90"/>
                  <a:gd name="T14" fmla="*/ 1 w 211"/>
                  <a:gd name="T15" fmla="*/ 8 h 90"/>
                  <a:gd name="T16" fmla="*/ 1 w 211"/>
                  <a:gd name="T17" fmla="*/ 11 h 90"/>
                  <a:gd name="T18" fmla="*/ 0 w 211"/>
                  <a:gd name="T19" fmla="*/ 15 h 90"/>
                  <a:gd name="T20" fmla="*/ 1 w 211"/>
                  <a:gd name="T21" fmla="*/ 18 h 90"/>
                  <a:gd name="T22" fmla="*/ 1 w 211"/>
                  <a:gd name="T23" fmla="*/ 20 h 90"/>
                  <a:gd name="T24" fmla="*/ 3 w 211"/>
                  <a:gd name="T25" fmla="*/ 23 h 90"/>
                  <a:gd name="T26" fmla="*/ 4 w 211"/>
                  <a:gd name="T27" fmla="*/ 25 h 90"/>
                  <a:gd name="T28" fmla="*/ 8 w 211"/>
                  <a:gd name="T29" fmla="*/ 27 h 90"/>
                  <a:gd name="T30" fmla="*/ 10 w 211"/>
                  <a:gd name="T31" fmla="*/ 29 h 90"/>
                  <a:gd name="T32" fmla="*/ 13 w 211"/>
                  <a:gd name="T33" fmla="*/ 30 h 90"/>
                  <a:gd name="T34" fmla="*/ 15 w 211"/>
                  <a:gd name="T35" fmla="*/ 30 h 90"/>
                  <a:gd name="T36" fmla="*/ 91 w 211"/>
                  <a:gd name="T37" fmla="*/ 30 h 90"/>
                  <a:gd name="T38" fmla="*/ 91 w 211"/>
                  <a:gd name="T39" fmla="*/ 75 h 90"/>
                  <a:gd name="T40" fmla="*/ 91 w 211"/>
                  <a:gd name="T41" fmla="*/ 78 h 90"/>
                  <a:gd name="T42" fmla="*/ 92 w 211"/>
                  <a:gd name="T43" fmla="*/ 80 h 90"/>
                  <a:gd name="T44" fmla="*/ 93 w 211"/>
                  <a:gd name="T45" fmla="*/ 83 h 90"/>
                  <a:gd name="T46" fmla="*/ 96 w 211"/>
                  <a:gd name="T47" fmla="*/ 85 h 90"/>
                  <a:gd name="T48" fmla="*/ 98 w 211"/>
                  <a:gd name="T49" fmla="*/ 88 h 90"/>
                  <a:gd name="T50" fmla="*/ 100 w 211"/>
                  <a:gd name="T51" fmla="*/ 89 h 90"/>
                  <a:gd name="T52" fmla="*/ 103 w 211"/>
                  <a:gd name="T53" fmla="*/ 90 h 90"/>
                  <a:gd name="T54" fmla="*/ 106 w 211"/>
                  <a:gd name="T55" fmla="*/ 90 h 90"/>
                  <a:gd name="T56" fmla="*/ 108 w 211"/>
                  <a:gd name="T57" fmla="*/ 90 h 90"/>
                  <a:gd name="T58" fmla="*/ 112 w 211"/>
                  <a:gd name="T59" fmla="*/ 89 h 90"/>
                  <a:gd name="T60" fmla="*/ 114 w 211"/>
                  <a:gd name="T61" fmla="*/ 88 h 90"/>
                  <a:gd name="T62" fmla="*/ 116 w 211"/>
                  <a:gd name="T63" fmla="*/ 85 h 90"/>
                  <a:gd name="T64" fmla="*/ 118 w 211"/>
                  <a:gd name="T65" fmla="*/ 83 h 90"/>
                  <a:gd name="T66" fmla="*/ 119 w 211"/>
                  <a:gd name="T67" fmla="*/ 80 h 90"/>
                  <a:gd name="T68" fmla="*/ 120 w 211"/>
                  <a:gd name="T69" fmla="*/ 78 h 90"/>
                  <a:gd name="T70" fmla="*/ 121 w 211"/>
                  <a:gd name="T71" fmla="*/ 75 h 90"/>
                  <a:gd name="T72" fmla="*/ 121 w 211"/>
                  <a:gd name="T73" fmla="*/ 30 h 90"/>
                  <a:gd name="T74" fmla="*/ 196 w 211"/>
                  <a:gd name="T75" fmla="*/ 30 h 90"/>
                  <a:gd name="T76" fmla="*/ 200 w 211"/>
                  <a:gd name="T77" fmla="*/ 30 h 90"/>
                  <a:gd name="T78" fmla="*/ 202 w 211"/>
                  <a:gd name="T79" fmla="*/ 29 h 90"/>
                  <a:gd name="T80" fmla="*/ 205 w 211"/>
                  <a:gd name="T81" fmla="*/ 27 h 90"/>
                  <a:gd name="T82" fmla="*/ 207 w 211"/>
                  <a:gd name="T83" fmla="*/ 25 h 90"/>
                  <a:gd name="T84" fmla="*/ 208 w 211"/>
                  <a:gd name="T85" fmla="*/ 23 h 90"/>
                  <a:gd name="T86" fmla="*/ 210 w 211"/>
                  <a:gd name="T87" fmla="*/ 20 h 90"/>
                  <a:gd name="T88" fmla="*/ 211 w 211"/>
                  <a:gd name="T89" fmla="*/ 18 h 90"/>
                  <a:gd name="T90" fmla="*/ 211 w 211"/>
                  <a:gd name="T91" fmla="*/ 15 h 90"/>
                  <a:gd name="T92" fmla="*/ 211 w 211"/>
                  <a:gd name="T93" fmla="*/ 11 h 90"/>
                  <a:gd name="T94" fmla="*/ 210 w 211"/>
                  <a:gd name="T95" fmla="*/ 8 h 90"/>
                  <a:gd name="T96" fmla="*/ 208 w 211"/>
                  <a:gd name="T97" fmla="*/ 6 h 90"/>
                  <a:gd name="T98" fmla="*/ 207 w 211"/>
                  <a:gd name="T99" fmla="*/ 4 h 90"/>
                  <a:gd name="T100" fmla="*/ 205 w 211"/>
                  <a:gd name="T101" fmla="*/ 2 h 90"/>
                  <a:gd name="T102" fmla="*/ 202 w 211"/>
                  <a:gd name="T103" fmla="*/ 1 h 90"/>
                  <a:gd name="T104" fmla="*/ 200 w 211"/>
                  <a:gd name="T105" fmla="*/ 0 h 90"/>
                  <a:gd name="T106" fmla="*/ 196 w 211"/>
                  <a:gd name="T107" fmla="*/ 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11" h="90">
                    <a:moveTo>
                      <a:pt x="196" y="0"/>
                    </a:moveTo>
                    <a:lnTo>
                      <a:pt x="15" y="0"/>
                    </a:lnTo>
                    <a:lnTo>
                      <a:pt x="13" y="0"/>
                    </a:lnTo>
                    <a:lnTo>
                      <a:pt x="10" y="1"/>
                    </a:lnTo>
                    <a:lnTo>
                      <a:pt x="8" y="2"/>
                    </a:lnTo>
                    <a:lnTo>
                      <a:pt x="4" y="4"/>
                    </a:lnTo>
                    <a:lnTo>
                      <a:pt x="3" y="6"/>
                    </a:lnTo>
                    <a:lnTo>
                      <a:pt x="1" y="8"/>
                    </a:lnTo>
                    <a:lnTo>
                      <a:pt x="1" y="11"/>
                    </a:lnTo>
                    <a:lnTo>
                      <a:pt x="0" y="15"/>
                    </a:lnTo>
                    <a:lnTo>
                      <a:pt x="1" y="18"/>
                    </a:lnTo>
                    <a:lnTo>
                      <a:pt x="1" y="20"/>
                    </a:lnTo>
                    <a:lnTo>
                      <a:pt x="3" y="23"/>
                    </a:lnTo>
                    <a:lnTo>
                      <a:pt x="4" y="25"/>
                    </a:lnTo>
                    <a:lnTo>
                      <a:pt x="8" y="27"/>
                    </a:lnTo>
                    <a:lnTo>
                      <a:pt x="10" y="29"/>
                    </a:lnTo>
                    <a:lnTo>
                      <a:pt x="13" y="30"/>
                    </a:lnTo>
                    <a:lnTo>
                      <a:pt x="15" y="30"/>
                    </a:lnTo>
                    <a:lnTo>
                      <a:pt x="91" y="30"/>
                    </a:lnTo>
                    <a:lnTo>
                      <a:pt x="91" y="75"/>
                    </a:lnTo>
                    <a:lnTo>
                      <a:pt x="91" y="78"/>
                    </a:lnTo>
                    <a:lnTo>
                      <a:pt x="92" y="80"/>
                    </a:lnTo>
                    <a:lnTo>
                      <a:pt x="93" y="83"/>
                    </a:lnTo>
                    <a:lnTo>
                      <a:pt x="96" y="85"/>
                    </a:lnTo>
                    <a:lnTo>
                      <a:pt x="98" y="88"/>
                    </a:lnTo>
                    <a:lnTo>
                      <a:pt x="100" y="89"/>
                    </a:lnTo>
                    <a:lnTo>
                      <a:pt x="103" y="90"/>
                    </a:lnTo>
                    <a:lnTo>
                      <a:pt x="106" y="90"/>
                    </a:lnTo>
                    <a:lnTo>
                      <a:pt x="108" y="90"/>
                    </a:lnTo>
                    <a:lnTo>
                      <a:pt x="112" y="89"/>
                    </a:lnTo>
                    <a:lnTo>
                      <a:pt x="114" y="88"/>
                    </a:lnTo>
                    <a:lnTo>
                      <a:pt x="116" y="85"/>
                    </a:lnTo>
                    <a:lnTo>
                      <a:pt x="118" y="83"/>
                    </a:lnTo>
                    <a:lnTo>
                      <a:pt x="119" y="80"/>
                    </a:lnTo>
                    <a:lnTo>
                      <a:pt x="120" y="78"/>
                    </a:lnTo>
                    <a:lnTo>
                      <a:pt x="121" y="75"/>
                    </a:lnTo>
                    <a:lnTo>
                      <a:pt x="121" y="30"/>
                    </a:lnTo>
                    <a:lnTo>
                      <a:pt x="196" y="30"/>
                    </a:lnTo>
                    <a:lnTo>
                      <a:pt x="200" y="30"/>
                    </a:lnTo>
                    <a:lnTo>
                      <a:pt x="202" y="29"/>
                    </a:lnTo>
                    <a:lnTo>
                      <a:pt x="205" y="27"/>
                    </a:lnTo>
                    <a:lnTo>
                      <a:pt x="207" y="25"/>
                    </a:lnTo>
                    <a:lnTo>
                      <a:pt x="208" y="23"/>
                    </a:lnTo>
                    <a:lnTo>
                      <a:pt x="210" y="20"/>
                    </a:lnTo>
                    <a:lnTo>
                      <a:pt x="211" y="18"/>
                    </a:lnTo>
                    <a:lnTo>
                      <a:pt x="211" y="15"/>
                    </a:lnTo>
                    <a:lnTo>
                      <a:pt x="211" y="11"/>
                    </a:lnTo>
                    <a:lnTo>
                      <a:pt x="210" y="8"/>
                    </a:lnTo>
                    <a:lnTo>
                      <a:pt x="208" y="6"/>
                    </a:lnTo>
                    <a:lnTo>
                      <a:pt x="207" y="4"/>
                    </a:lnTo>
                    <a:lnTo>
                      <a:pt x="205" y="2"/>
                    </a:lnTo>
                    <a:lnTo>
                      <a:pt x="202" y="1"/>
                    </a:lnTo>
                    <a:lnTo>
                      <a:pt x="200" y="0"/>
                    </a:lnTo>
                    <a:lnTo>
                      <a:pt x="19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Light"/>
                  <a:ea typeface="+mn-ea"/>
                  <a:cs typeface="+mn-cs"/>
                </a:endParaRPr>
              </a:p>
            </p:txBody>
          </p:sp>
        </p:grpSp>
        <p:grpSp>
          <p:nvGrpSpPr>
            <p:cNvPr id="21" name="Group 20"/>
            <p:cNvGrpSpPr/>
            <p:nvPr/>
          </p:nvGrpSpPr>
          <p:grpSpPr>
            <a:xfrm>
              <a:off x="3927200" y="2304509"/>
              <a:ext cx="284163" cy="284162"/>
              <a:chOff x="11033125" y="1349375"/>
              <a:chExt cx="284163" cy="284162"/>
            </a:xfrm>
            <a:solidFill>
              <a:schemeClr val="bg1"/>
            </a:solidFill>
          </p:grpSpPr>
          <p:sp>
            <p:nvSpPr>
              <p:cNvPr id="22" name="Freeform 331"/>
              <p:cNvSpPr>
                <a:spLocks noEditPoints="1"/>
              </p:cNvSpPr>
              <p:nvPr/>
            </p:nvSpPr>
            <p:spPr bwMode="auto">
              <a:xfrm>
                <a:off x="11133138" y="1385888"/>
                <a:ext cx="84138" cy="77787"/>
              </a:xfrm>
              <a:custGeom>
                <a:avLst/>
                <a:gdLst>
                  <a:gd name="T0" fmla="*/ 167 w 268"/>
                  <a:gd name="T1" fmla="*/ 133 h 246"/>
                  <a:gd name="T2" fmla="*/ 164 w 268"/>
                  <a:gd name="T3" fmla="*/ 142 h 246"/>
                  <a:gd name="T4" fmla="*/ 178 w 268"/>
                  <a:gd name="T5" fmla="*/ 188 h 246"/>
                  <a:gd name="T6" fmla="*/ 139 w 268"/>
                  <a:gd name="T7" fmla="*/ 157 h 246"/>
                  <a:gd name="T8" fmla="*/ 129 w 268"/>
                  <a:gd name="T9" fmla="*/ 157 h 246"/>
                  <a:gd name="T10" fmla="*/ 90 w 268"/>
                  <a:gd name="T11" fmla="*/ 188 h 246"/>
                  <a:gd name="T12" fmla="*/ 105 w 268"/>
                  <a:gd name="T13" fmla="*/ 142 h 246"/>
                  <a:gd name="T14" fmla="*/ 101 w 268"/>
                  <a:gd name="T15" fmla="*/ 133 h 246"/>
                  <a:gd name="T16" fmla="*/ 58 w 268"/>
                  <a:gd name="T17" fmla="*/ 97 h 246"/>
                  <a:gd name="T18" fmla="*/ 109 w 268"/>
                  <a:gd name="T19" fmla="*/ 96 h 246"/>
                  <a:gd name="T20" fmla="*/ 115 w 268"/>
                  <a:gd name="T21" fmla="*/ 91 h 246"/>
                  <a:gd name="T22" fmla="*/ 133 w 268"/>
                  <a:gd name="T23" fmla="*/ 52 h 246"/>
                  <a:gd name="T24" fmla="*/ 153 w 268"/>
                  <a:gd name="T25" fmla="*/ 91 h 246"/>
                  <a:gd name="T26" fmla="*/ 160 w 268"/>
                  <a:gd name="T27" fmla="*/ 96 h 246"/>
                  <a:gd name="T28" fmla="*/ 212 w 268"/>
                  <a:gd name="T29" fmla="*/ 97 h 246"/>
                  <a:gd name="T30" fmla="*/ 254 w 268"/>
                  <a:gd name="T31" fmla="*/ 67 h 246"/>
                  <a:gd name="T32" fmla="*/ 146 w 268"/>
                  <a:gd name="T33" fmla="*/ 9 h 246"/>
                  <a:gd name="T34" fmla="*/ 141 w 268"/>
                  <a:gd name="T35" fmla="*/ 3 h 246"/>
                  <a:gd name="T36" fmla="*/ 132 w 268"/>
                  <a:gd name="T37" fmla="*/ 0 h 246"/>
                  <a:gd name="T38" fmla="*/ 125 w 268"/>
                  <a:gd name="T39" fmla="*/ 3 h 246"/>
                  <a:gd name="T40" fmla="*/ 120 w 268"/>
                  <a:gd name="T41" fmla="*/ 9 h 246"/>
                  <a:gd name="T42" fmla="*/ 15 w 268"/>
                  <a:gd name="T43" fmla="*/ 67 h 246"/>
                  <a:gd name="T44" fmla="*/ 6 w 268"/>
                  <a:gd name="T45" fmla="*/ 69 h 246"/>
                  <a:gd name="T46" fmla="*/ 1 w 268"/>
                  <a:gd name="T47" fmla="*/ 76 h 246"/>
                  <a:gd name="T48" fmla="*/ 0 w 268"/>
                  <a:gd name="T49" fmla="*/ 86 h 246"/>
                  <a:gd name="T50" fmla="*/ 5 w 268"/>
                  <a:gd name="T51" fmla="*/ 93 h 246"/>
                  <a:gd name="T52" fmla="*/ 46 w 268"/>
                  <a:gd name="T53" fmla="*/ 226 h 246"/>
                  <a:gd name="T54" fmla="*/ 46 w 268"/>
                  <a:gd name="T55" fmla="*/ 236 h 246"/>
                  <a:gd name="T56" fmla="*/ 51 w 268"/>
                  <a:gd name="T57" fmla="*/ 243 h 246"/>
                  <a:gd name="T58" fmla="*/ 60 w 268"/>
                  <a:gd name="T59" fmla="*/ 246 h 246"/>
                  <a:gd name="T60" fmla="*/ 69 w 268"/>
                  <a:gd name="T61" fmla="*/ 242 h 246"/>
                  <a:gd name="T62" fmla="*/ 200 w 268"/>
                  <a:gd name="T63" fmla="*/ 242 h 246"/>
                  <a:gd name="T64" fmla="*/ 209 w 268"/>
                  <a:gd name="T65" fmla="*/ 246 h 246"/>
                  <a:gd name="T66" fmla="*/ 218 w 268"/>
                  <a:gd name="T67" fmla="*/ 243 h 246"/>
                  <a:gd name="T68" fmla="*/ 223 w 268"/>
                  <a:gd name="T69" fmla="*/ 236 h 246"/>
                  <a:gd name="T70" fmla="*/ 223 w 268"/>
                  <a:gd name="T71" fmla="*/ 226 h 246"/>
                  <a:gd name="T72" fmla="*/ 263 w 268"/>
                  <a:gd name="T73" fmla="*/ 93 h 246"/>
                  <a:gd name="T74" fmla="*/ 268 w 268"/>
                  <a:gd name="T75" fmla="*/ 86 h 246"/>
                  <a:gd name="T76" fmla="*/ 268 w 268"/>
                  <a:gd name="T77" fmla="*/ 76 h 246"/>
                  <a:gd name="T78" fmla="*/ 263 w 268"/>
                  <a:gd name="T79" fmla="*/ 69 h 246"/>
                  <a:gd name="T80" fmla="*/ 254 w 268"/>
                  <a:gd name="T81" fmla="*/ 67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68" h="246">
                    <a:moveTo>
                      <a:pt x="170" y="130"/>
                    </a:moveTo>
                    <a:lnTo>
                      <a:pt x="167" y="133"/>
                    </a:lnTo>
                    <a:lnTo>
                      <a:pt x="164" y="137"/>
                    </a:lnTo>
                    <a:lnTo>
                      <a:pt x="164" y="142"/>
                    </a:lnTo>
                    <a:lnTo>
                      <a:pt x="164" y="146"/>
                    </a:lnTo>
                    <a:lnTo>
                      <a:pt x="178" y="188"/>
                    </a:lnTo>
                    <a:lnTo>
                      <a:pt x="143" y="160"/>
                    </a:lnTo>
                    <a:lnTo>
                      <a:pt x="139" y="157"/>
                    </a:lnTo>
                    <a:lnTo>
                      <a:pt x="135" y="157"/>
                    </a:lnTo>
                    <a:lnTo>
                      <a:pt x="129" y="157"/>
                    </a:lnTo>
                    <a:lnTo>
                      <a:pt x="125" y="160"/>
                    </a:lnTo>
                    <a:lnTo>
                      <a:pt x="90" y="188"/>
                    </a:lnTo>
                    <a:lnTo>
                      <a:pt x="104" y="146"/>
                    </a:lnTo>
                    <a:lnTo>
                      <a:pt x="105" y="142"/>
                    </a:lnTo>
                    <a:lnTo>
                      <a:pt x="104" y="137"/>
                    </a:lnTo>
                    <a:lnTo>
                      <a:pt x="101" y="133"/>
                    </a:lnTo>
                    <a:lnTo>
                      <a:pt x="98" y="130"/>
                    </a:lnTo>
                    <a:lnTo>
                      <a:pt x="58" y="97"/>
                    </a:lnTo>
                    <a:lnTo>
                      <a:pt x="105" y="97"/>
                    </a:lnTo>
                    <a:lnTo>
                      <a:pt x="109" y="96"/>
                    </a:lnTo>
                    <a:lnTo>
                      <a:pt x="112" y="93"/>
                    </a:lnTo>
                    <a:lnTo>
                      <a:pt x="115" y="91"/>
                    </a:lnTo>
                    <a:lnTo>
                      <a:pt x="118" y="87"/>
                    </a:lnTo>
                    <a:lnTo>
                      <a:pt x="133" y="52"/>
                    </a:lnTo>
                    <a:lnTo>
                      <a:pt x="151" y="88"/>
                    </a:lnTo>
                    <a:lnTo>
                      <a:pt x="153" y="91"/>
                    </a:lnTo>
                    <a:lnTo>
                      <a:pt x="156" y="94"/>
                    </a:lnTo>
                    <a:lnTo>
                      <a:pt x="160" y="96"/>
                    </a:lnTo>
                    <a:lnTo>
                      <a:pt x="164" y="97"/>
                    </a:lnTo>
                    <a:lnTo>
                      <a:pt x="212" y="97"/>
                    </a:lnTo>
                    <a:lnTo>
                      <a:pt x="170" y="130"/>
                    </a:lnTo>
                    <a:close/>
                    <a:moveTo>
                      <a:pt x="254" y="67"/>
                    </a:moveTo>
                    <a:lnTo>
                      <a:pt x="174" y="67"/>
                    </a:lnTo>
                    <a:lnTo>
                      <a:pt x="146" y="9"/>
                    </a:lnTo>
                    <a:lnTo>
                      <a:pt x="144" y="5"/>
                    </a:lnTo>
                    <a:lnTo>
                      <a:pt x="141" y="3"/>
                    </a:lnTo>
                    <a:lnTo>
                      <a:pt x="138" y="0"/>
                    </a:lnTo>
                    <a:lnTo>
                      <a:pt x="132" y="0"/>
                    </a:lnTo>
                    <a:lnTo>
                      <a:pt x="129" y="0"/>
                    </a:lnTo>
                    <a:lnTo>
                      <a:pt x="125" y="3"/>
                    </a:lnTo>
                    <a:lnTo>
                      <a:pt x="122" y="6"/>
                    </a:lnTo>
                    <a:lnTo>
                      <a:pt x="120" y="9"/>
                    </a:lnTo>
                    <a:lnTo>
                      <a:pt x="95" y="67"/>
                    </a:lnTo>
                    <a:lnTo>
                      <a:pt x="15" y="67"/>
                    </a:lnTo>
                    <a:lnTo>
                      <a:pt x="10" y="67"/>
                    </a:lnTo>
                    <a:lnTo>
                      <a:pt x="6" y="69"/>
                    </a:lnTo>
                    <a:lnTo>
                      <a:pt x="3" y="72"/>
                    </a:lnTo>
                    <a:lnTo>
                      <a:pt x="1" y="76"/>
                    </a:lnTo>
                    <a:lnTo>
                      <a:pt x="0" y="81"/>
                    </a:lnTo>
                    <a:lnTo>
                      <a:pt x="0" y="86"/>
                    </a:lnTo>
                    <a:lnTo>
                      <a:pt x="2" y="89"/>
                    </a:lnTo>
                    <a:lnTo>
                      <a:pt x="5" y="93"/>
                    </a:lnTo>
                    <a:lnTo>
                      <a:pt x="71" y="146"/>
                    </a:lnTo>
                    <a:lnTo>
                      <a:pt x="46" y="226"/>
                    </a:lnTo>
                    <a:lnTo>
                      <a:pt x="45" y="231"/>
                    </a:lnTo>
                    <a:lnTo>
                      <a:pt x="46" y="236"/>
                    </a:lnTo>
                    <a:lnTo>
                      <a:pt x="48" y="240"/>
                    </a:lnTo>
                    <a:lnTo>
                      <a:pt x="51" y="243"/>
                    </a:lnTo>
                    <a:lnTo>
                      <a:pt x="55" y="245"/>
                    </a:lnTo>
                    <a:lnTo>
                      <a:pt x="60" y="246"/>
                    </a:lnTo>
                    <a:lnTo>
                      <a:pt x="65" y="245"/>
                    </a:lnTo>
                    <a:lnTo>
                      <a:pt x="69" y="242"/>
                    </a:lnTo>
                    <a:lnTo>
                      <a:pt x="135" y="190"/>
                    </a:lnTo>
                    <a:lnTo>
                      <a:pt x="200" y="242"/>
                    </a:lnTo>
                    <a:lnTo>
                      <a:pt x="204" y="245"/>
                    </a:lnTo>
                    <a:lnTo>
                      <a:pt x="209" y="246"/>
                    </a:lnTo>
                    <a:lnTo>
                      <a:pt x="214" y="245"/>
                    </a:lnTo>
                    <a:lnTo>
                      <a:pt x="218" y="243"/>
                    </a:lnTo>
                    <a:lnTo>
                      <a:pt x="221" y="240"/>
                    </a:lnTo>
                    <a:lnTo>
                      <a:pt x="223" y="236"/>
                    </a:lnTo>
                    <a:lnTo>
                      <a:pt x="224" y="231"/>
                    </a:lnTo>
                    <a:lnTo>
                      <a:pt x="223" y="226"/>
                    </a:lnTo>
                    <a:lnTo>
                      <a:pt x="197" y="146"/>
                    </a:lnTo>
                    <a:lnTo>
                      <a:pt x="263" y="93"/>
                    </a:lnTo>
                    <a:lnTo>
                      <a:pt x="266" y="89"/>
                    </a:lnTo>
                    <a:lnTo>
                      <a:pt x="268" y="86"/>
                    </a:lnTo>
                    <a:lnTo>
                      <a:pt x="268" y="81"/>
                    </a:lnTo>
                    <a:lnTo>
                      <a:pt x="268" y="76"/>
                    </a:lnTo>
                    <a:lnTo>
                      <a:pt x="266" y="72"/>
                    </a:lnTo>
                    <a:lnTo>
                      <a:pt x="263" y="69"/>
                    </a:lnTo>
                    <a:lnTo>
                      <a:pt x="259" y="67"/>
                    </a:lnTo>
                    <a:lnTo>
                      <a:pt x="254" y="67"/>
                    </a:lnTo>
                    <a:lnTo>
                      <a:pt x="254" y="6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Light"/>
                  <a:ea typeface="+mn-ea"/>
                  <a:cs typeface="+mn-cs"/>
                </a:endParaRPr>
              </a:p>
            </p:txBody>
          </p:sp>
          <p:sp>
            <p:nvSpPr>
              <p:cNvPr id="23" name="Freeform 332"/>
              <p:cNvSpPr>
                <a:spLocks noEditPoints="1"/>
              </p:cNvSpPr>
              <p:nvPr/>
            </p:nvSpPr>
            <p:spPr bwMode="auto">
              <a:xfrm>
                <a:off x="11033125" y="1349375"/>
                <a:ext cx="284163" cy="284162"/>
              </a:xfrm>
              <a:custGeom>
                <a:avLst/>
                <a:gdLst>
                  <a:gd name="T0" fmla="*/ 794 w 898"/>
                  <a:gd name="T1" fmla="*/ 181 h 897"/>
                  <a:gd name="T2" fmla="*/ 861 w 898"/>
                  <a:gd name="T3" fmla="*/ 209 h 897"/>
                  <a:gd name="T4" fmla="*/ 817 w 898"/>
                  <a:gd name="T5" fmla="*/ 324 h 897"/>
                  <a:gd name="T6" fmla="*/ 756 w 898"/>
                  <a:gd name="T7" fmla="*/ 367 h 897"/>
                  <a:gd name="T8" fmla="*/ 527 w 898"/>
                  <a:gd name="T9" fmla="*/ 521 h 897"/>
                  <a:gd name="T10" fmla="*/ 479 w 898"/>
                  <a:gd name="T11" fmla="*/ 583 h 897"/>
                  <a:gd name="T12" fmla="*/ 476 w 898"/>
                  <a:gd name="T13" fmla="*/ 697 h 897"/>
                  <a:gd name="T14" fmla="*/ 533 w 898"/>
                  <a:gd name="T15" fmla="*/ 793 h 897"/>
                  <a:gd name="T16" fmla="*/ 628 w 898"/>
                  <a:gd name="T17" fmla="*/ 867 h 897"/>
                  <a:gd name="T18" fmla="*/ 354 w 898"/>
                  <a:gd name="T19" fmla="*/ 803 h 897"/>
                  <a:gd name="T20" fmla="*/ 415 w 898"/>
                  <a:gd name="T21" fmla="*/ 720 h 897"/>
                  <a:gd name="T22" fmla="*/ 421 w 898"/>
                  <a:gd name="T23" fmla="*/ 595 h 897"/>
                  <a:gd name="T24" fmla="*/ 379 w 898"/>
                  <a:gd name="T25" fmla="*/ 528 h 897"/>
                  <a:gd name="T26" fmla="*/ 275 w 898"/>
                  <a:gd name="T27" fmla="*/ 460 h 897"/>
                  <a:gd name="T28" fmla="*/ 195 w 898"/>
                  <a:gd name="T29" fmla="*/ 371 h 897"/>
                  <a:gd name="T30" fmla="*/ 151 w 898"/>
                  <a:gd name="T31" fmla="*/ 260 h 897"/>
                  <a:gd name="T32" fmla="*/ 127 w 898"/>
                  <a:gd name="T33" fmla="*/ 91 h 897"/>
                  <a:gd name="T34" fmla="*/ 767 w 898"/>
                  <a:gd name="T35" fmla="*/ 145 h 897"/>
                  <a:gd name="T36" fmla="*/ 737 w 898"/>
                  <a:gd name="T37" fmla="*/ 296 h 897"/>
                  <a:gd name="T38" fmla="*/ 688 w 898"/>
                  <a:gd name="T39" fmla="*/ 393 h 897"/>
                  <a:gd name="T40" fmla="*/ 590 w 898"/>
                  <a:gd name="T41" fmla="*/ 480 h 897"/>
                  <a:gd name="T42" fmla="*/ 54 w 898"/>
                  <a:gd name="T43" fmla="*/ 280 h 897"/>
                  <a:gd name="T44" fmla="*/ 30 w 898"/>
                  <a:gd name="T45" fmla="*/ 116 h 897"/>
                  <a:gd name="T46" fmla="*/ 112 w 898"/>
                  <a:gd name="T47" fmla="*/ 221 h 897"/>
                  <a:gd name="T48" fmla="*/ 140 w 898"/>
                  <a:gd name="T49" fmla="*/ 367 h 897"/>
                  <a:gd name="T50" fmla="*/ 89 w 898"/>
                  <a:gd name="T51" fmla="*/ 336 h 897"/>
                  <a:gd name="T52" fmla="*/ 893 w 898"/>
                  <a:gd name="T53" fmla="*/ 64 h 897"/>
                  <a:gd name="T54" fmla="*/ 803 w 898"/>
                  <a:gd name="T55" fmla="*/ 37 h 897"/>
                  <a:gd name="T56" fmla="*/ 797 w 898"/>
                  <a:gd name="T57" fmla="*/ 2 h 897"/>
                  <a:gd name="T58" fmla="*/ 102 w 898"/>
                  <a:gd name="T59" fmla="*/ 2 h 897"/>
                  <a:gd name="T60" fmla="*/ 96 w 898"/>
                  <a:gd name="T61" fmla="*/ 37 h 897"/>
                  <a:gd name="T62" fmla="*/ 5 w 898"/>
                  <a:gd name="T63" fmla="*/ 64 h 897"/>
                  <a:gd name="T64" fmla="*/ 0 w 898"/>
                  <a:gd name="T65" fmla="*/ 117 h 897"/>
                  <a:gd name="T66" fmla="*/ 15 w 898"/>
                  <a:gd name="T67" fmla="*/ 258 h 897"/>
                  <a:gd name="T68" fmla="*/ 80 w 898"/>
                  <a:gd name="T69" fmla="*/ 368 h 897"/>
                  <a:gd name="T70" fmla="*/ 179 w 898"/>
                  <a:gd name="T71" fmla="*/ 403 h 897"/>
                  <a:gd name="T72" fmla="*/ 293 w 898"/>
                  <a:gd name="T73" fmla="*/ 507 h 897"/>
                  <a:gd name="T74" fmla="*/ 371 w 898"/>
                  <a:gd name="T75" fmla="*/ 564 h 897"/>
                  <a:gd name="T76" fmla="*/ 395 w 898"/>
                  <a:gd name="T77" fmla="*/ 625 h 897"/>
                  <a:gd name="T78" fmla="*/ 374 w 898"/>
                  <a:gd name="T79" fmla="*/ 743 h 897"/>
                  <a:gd name="T80" fmla="*/ 301 w 898"/>
                  <a:gd name="T81" fmla="*/ 789 h 897"/>
                  <a:gd name="T82" fmla="*/ 244 w 898"/>
                  <a:gd name="T83" fmla="*/ 797 h 897"/>
                  <a:gd name="T84" fmla="*/ 241 w 898"/>
                  <a:gd name="T85" fmla="*/ 888 h 897"/>
                  <a:gd name="T86" fmla="*/ 643 w 898"/>
                  <a:gd name="T87" fmla="*/ 897 h 897"/>
                  <a:gd name="T88" fmla="*/ 658 w 898"/>
                  <a:gd name="T89" fmla="*/ 886 h 897"/>
                  <a:gd name="T90" fmla="*/ 652 w 898"/>
                  <a:gd name="T91" fmla="*/ 795 h 897"/>
                  <a:gd name="T92" fmla="*/ 580 w 898"/>
                  <a:gd name="T93" fmla="*/ 783 h 897"/>
                  <a:gd name="T94" fmla="*/ 515 w 898"/>
                  <a:gd name="T95" fmla="*/ 720 h 897"/>
                  <a:gd name="T96" fmla="*/ 502 w 898"/>
                  <a:gd name="T97" fmla="*/ 614 h 897"/>
                  <a:gd name="T98" fmla="*/ 531 w 898"/>
                  <a:gd name="T99" fmla="*/ 556 h 897"/>
                  <a:gd name="T100" fmla="*/ 621 w 898"/>
                  <a:gd name="T101" fmla="*/ 496 h 897"/>
                  <a:gd name="T102" fmla="*/ 734 w 898"/>
                  <a:gd name="T103" fmla="*/ 402 h 897"/>
                  <a:gd name="T104" fmla="*/ 827 w 898"/>
                  <a:gd name="T105" fmla="*/ 357 h 897"/>
                  <a:gd name="T106" fmla="*/ 876 w 898"/>
                  <a:gd name="T107" fmla="*/ 272 h 897"/>
                  <a:gd name="T108" fmla="*/ 898 w 898"/>
                  <a:gd name="T109" fmla="*/ 140 h 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898" h="897">
                    <a:moveTo>
                      <a:pt x="737" y="371"/>
                    </a:moveTo>
                    <a:lnTo>
                      <a:pt x="749" y="348"/>
                    </a:lnTo>
                    <a:lnTo>
                      <a:pt x="761" y="320"/>
                    </a:lnTo>
                    <a:lnTo>
                      <a:pt x="770" y="290"/>
                    </a:lnTo>
                    <a:lnTo>
                      <a:pt x="779" y="258"/>
                    </a:lnTo>
                    <a:lnTo>
                      <a:pt x="787" y="221"/>
                    </a:lnTo>
                    <a:lnTo>
                      <a:pt x="794" y="181"/>
                    </a:lnTo>
                    <a:lnTo>
                      <a:pt x="798" y="137"/>
                    </a:lnTo>
                    <a:lnTo>
                      <a:pt x="801" y="90"/>
                    </a:lnTo>
                    <a:lnTo>
                      <a:pt x="868" y="90"/>
                    </a:lnTo>
                    <a:lnTo>
                      <a:pt x="868" y="113"/>
                    </a:lnTo>
                    <a:lnTo>
                      <a:pt x="868" y="141"/>
                    </a:lnTo>
                    <a:lnTo>
                      <a:pt x="866" y="174"/>
                    </a:lnTo>
                    <a:lnTo>
                      <a:pt x="861" y="209"/>
                    </a:lnTo>
                    <a:lnTo>
                      <a:pt x="858" y="227"/>
                    </a:lnTo>
                    <a:lnTo>
                      <a:pt x="854" y="244"/>
                    </a:lnTo>
                    <a:lnTo>
                      <a:pt x="848" y="261"/>
                    </a:lnTo>
                    <a:lnTo>
                      <a:pt x="842" y="278"/>
                    </a:lnTo>
                    <a:lnTo>
                      <a:pt x="836" y="294"/>
                    </a:lnTo>
                    <a:lnTo>
                      <a:pt x="827" y="309"/>
                    </a:lnTo>
                    <a:lnTo>
                      <a:pt x="817" y="324"/>
                    </a:lnTo>
                    <a:lnTo>
                      <a:pt x="806" y="337"/>
                    </a:lnTo>
                    <a:lnTo>
                      <a:pt x="798" y="343"/>
                    </a:lnTo>
                    <a:lnTo>
                      <a:pt x="791" y="350"/>
                    </a:lnTo>
                    <a:lnTo>
                      <a:pt x="783" y="355"/>
                    </a:lnTo>
                    <a:lnTo>
                      <a:pt x="775" y="359"/>
                    </a:lnTo>
                    <a:lnTo>
                      <a:pt x="766" y="364"/>
                    </a:lnTo>
                    <a:lnTo>
                      <a:pt x="756" y="367"/>
                    </a:lnTo>
                    <a:lnTo>
                      <a:pt x="747" y="370"/>
                    </a:lnTo>
                    <a:lnTo>
                      <a:pt x="737" y="371"/>
                    </a:lnTo>
                    <a:lnTo>
                      <a:pt x="737" y="371"/>
                    </a:lnTo>
                    <a:close/>
                    <a:moveTo>
                      <a:pt x="574" y="490"/>
                    </a:moveTo>
                    <a:lnTo>
                      <a:pt x="553" y="503"/>
                    </a:lnTo>
                    <a:lnTo>
                      <a:pt x="535" y="514"/>
                    </a:lnTo>
                    <a:lnTo>
                      <a:pt x="527" y="521"/>
                    </a:lnTo>
                    <a:lnTo>
                      <a:pt x="518" y="528"/>
                    </a:lnTo>
                    <a:lnTo>
                      <a:pt x="509" y="536"/>
                    </a:lnTo>
                    <a:lnTo>
                      <a:pt x="502" y="543"/>
                    </a:lnTo>
                    <a:lnTo>
                      <a:pt x="496" y="552"/>
                    </a:lnTo>
                    <a:lnTo>
                      <a:pt x="489" y="561"/>
                    </a:lnTo>
                    <a:lnTo>
                      <a:pt x="484" y="572"/>
                    </a:lnTo>
                    <a:lnTo>
                      <a:pt x="479" y="583"/>
                    </a:lnTo>
                    <a:lnTo>
                      <a:pt x="476" y="595"/>
                    </a:lnTo>
                    <a:lnTo>
                      <a:pt x="473" y="607"/>
                    </a:lnTo>
                    <a:lnTo>
                      <a:pt x="471" y="621"/>
                    </a:lnTo>
                    <a:lnTo>
                      <a:pt x="471" y="637"/>
                    </a:lnTo>
                    <a:lnTo>
                      <a:pt x="472" y="659"/>
                    </a:lnTo>
                    <a:lnTo>
                      <a:pt x="473" y="678"/>
                    </a:lnTo>
                    <a:lnTo>
                      <a:pt x="476" y="697"/>
                    </a:lnTo>
                    <a:lnTo>
                      <a:pt x="481" y="714"/>
                    </a:lnTo>
                    <a:lnTo>
                      <a:pt x="486" y="730"/>
                    </a:lnTo>
                    <a:lnTo>
                      <a:pt x="493" y="745"/>
                    </a:lnTo>
                    <a:lnTo>
                      <a:pt x="501" y="759"/>
                    </a:lnTo>
                    <a:lnTo>
                      <a:pt x="510" y="771"/>
                    </a:lnTo>
                    <a:lnTo>
                      <a:pt x="521" y="783"/>
                    </a:lnTo>
                    <a:lnTo>
                      <a:pt x="533" y="793"/>
                    </a:lnTo>
                    <a:lnTo>
                      <a:pt x="546" y="800"/>
                    </a:lnTo>
                    <a:lnTo>
                      <a:pt x="560" y="807"/>
                    </a:lnTo>
                    <a:lnTo>
                      <a:pt x="576" y="813"/>
                    </a:lnTo>
                    <a:lnTo>
                      <a:pt x="592" y="817"/>
                    </a:lnTo>
                    <a:lnTo>
                      <a:pt x="610" y="820"/>
                    </a:lnTo>
                    <a:lnTo>
                      <a:pt x="628" y="822"/>
                    </a:lnTo>
                    <a:lnTo>
                      <a:pt x="628" y="867"/>
                    </a:lnTo>
                    <a:lnTo>
                      <a:pt x="270" y="867"/>
                    </a:lnTo>
                    <a:lnTo>
                      <a:pt x="270" y="822"/>
                    </a:lnTo>
                    <a:lnTo>
                      <a:pt x="289" y="820"/>
                    </a:lnTo>
                    <a:lnTo>
                      <a:pt x="307" y="818"/>
                    </a:lnTo>
                    <a:lnTo>
                      <a:pt x="324" y="814"/>
                    </a:lnTo>
                    <a:lnTo>
                      <a:pt x="340" y="810"/>
                    </a:lnTo>
                    <a:lnTo>
                      <a:pt x="354" y="803"/>
                    </a:lnTo>
                    <a:lnTo>
                      <a:pt x="366" y="796"/>
                    </a:lnTo>
                    <a:lnTo>
                      <a:pt x="378" y="786"/>
                    </a:lnTo>
                    <a:lnTo>
                      <a:pt x="387" y="775"/>
                    </a:lnTo>
                    <a:lnTo>
                      <a:pt x="396" y="764"/>
                    </a:lnTo>
                    <a:lnTo>
                      <a:pt x="404" y="751"/>
                    </a:lnTo>
                    <a:lnTo>
                      <a:pt x="410" y="736"/>
                    </a:lnTo>
                    <a:lnTo>
                      <a:pt x="415" y="720"/>
                    </a:lnTo>
                    <a:lnTo>
                      <a:pt x="420" y="702"/>
                    </a:lnTo>
                    <a:lnTo>
                      <a:pt x="423" y="681"/>
                    </a:lnTo>
                    <a:lnTo>
                      <a:pt x="425" y="660"/>
                    </a:lnTo>
                    <a:lnTo>
                      <a:pt x="425" y="637"/>
                    </a:lnTo>
                    <a:lnTo>
                      <a:pt x="425" y="621"/>
                    </a:lnTo>
                    <a:lnTo>
                      <a:pt x="423" y="607"/>
                    </a:lnTo>
                    <a:lnTo>
                      <a:pt x="421" y="595"/>
                    </a:lnTo>
                    <a:lnTo>
                      <a:pt x="416" y="583"/>
                    </a:lnTo>
                    <a:lnTo>
                      <a:pt x="412" y="572"/>
                    </a:lnTo>
                    <a:lnTo>
                      <a:pt x="407" y="561"/>
                    </a:lnTo>
                    <a:lnTo>
                      <a:pt x="401" y="553"/>
                    </a:lnTo>
                    <a:lnTo>
                      <a:pt x="394" y="544"/>
                    </a:lnTo>
                    <a:lnTo>
                      <a:pt x="386" y="536"/>
                    </a:lnTo>
                    <a:lnTo>
                      <a:pt x="379" y="528"/>
                    </a:lnTo>
                    <a:lnTo>
                      <a:pt x="370" y="522"/>
                    </a:lnTo>
                    <a:lnTo>
                      <a:pt x="362" y="516"/>
                    </a:lnTo>
                    <a:lnTo>
                      <a:pt x="344" y="503"/>
                    </a:lnTo>
                    <a:lnTo>
                      <a:pt x="324" y="491"/>
                    </a:lnTo>
                    <a:lnTo>
                      <a:pt x="308" y="481"/>
                    </a:lnTo>
                    <a:lnTo>
                      <a:pt x="292" y="472"/>
                    </a:lnTo>
                    <a:lnTo>
                      <a:pt x="275" y="460"/>
                    </a:lnTo>
                    <a:lnTo>
                      <a:pt x="258" y="446"/>
                    </a:lnTo>
                    <a:lnTo>
                      <a:pt x="242" y="431"/>
                    </a:lnTo>
                    <a:lnTo>
                      <a:pt x="226" y="414"/>
                    </a:lnTo>
                    <a:lnTo>
                      <a:pt x="217" y="404"/>
                    </a:lnTo>
                    <a:lnTo>
                      <a:pt x="210" y="394"/>
                    </a:lnTo>
                    <a:lnTo>
                      <a:pt x="202" y="383"/>
                    </a:lnTo>
                    <a:lnTo>
                      <a:pt x="195" y="371"/>
                    </a:lnTo>
                    <a:lnTo>
                      <a:pt x="188" y="358"/>
                    </a:lnTo>
                    <a:lnTo>
                      <a:pt x="181" y="344"/>
                    </a:lnTo>
                    <a:lnTo>
                      <a:pt x="174" y="329"/>
                    </a:lnTo>
                    <a:lnTo>
                      <a:pt x="167" y="313"/>
                    </a:lnTo>
                    <a:lnTo>
                      <a:pt x="162" y="297"/>
                    </a:lnTo>
                    <a:lnTo>
                      <a:pt x="157" y="279"/>
                    </a:lnTo>
                    <a:lnTo>
                      <a:pt x="151" y="260"/>
                    </a:lnTo>
                    <a:lnTo>
                      <a:pt x="146" y="240"/>
                    </a:lnTo>
                    <a:lnTo>
                      <a:pt x="142" y="218"/>
                    </a:lnTo>
                    <a:lnTo>
                      <a:pt x="137" y="196"/>
                    </a:lnTo>
                    <a:lnTo>
                      <a:pt x="134" y="172"/>
                    </a:lnTo>
                    <a:lnTo>
                      <a:pt x="131" y="147"/>
                    </a:lnTo>
                    <a:lnTo>
                      <a:pt x="129" y="120"/>
                    </a:lnTo>
                    <a:lnTo>
                      <a:pt x="127" y="91"/>
                    </a:lnTo>
                    <a:lnTo>
                      <a:pt x="126" y="61"/>
                    </a:lnTo>
                    <a:lnTo>
                      <a:pt x="126" y="30"/>
                    </a:lnTo>
                    <a:lnTo>
                      <a:pt x="774" y="30"/>
                    </a:lnTo>
                    <a:lnTo>
                      <a:pt x="774" y="61"/>
                    </a:lnTo>
                    <a:lnTo>
                      <a:pt x="771" y="91"/>
                    </a:lnTo>
                    <a:lnTo>
                      <a:pt x="770" y="119"/>
                    </a:lnTo>
                    <a:lnTo>
                      <a:pt x="767" y="145"/>
                    </a:lnTo>
                    <a:lnTo>
                      <a:pt x="765" y="171"/>
                    </a:lnTo>
                    <a:lnTo>
                      <a:pt x="761" y="195"/>
                    </a:lnTo>
                    <a:lnTo>
                      <a:pt x="758" y="217"/>
                    </a:lnTo>
                    <a:lnTo>
                      <a:pt x="753" y="239"/>
                    </a:lnTo>
                    <a:lnTo>
                      <a:pt x="748" y="259"/>
                    </a:lnTo>
                    <a:lnTo>
                      <a:pt x="743" y="278"/>
                    </a:lnTo>
                    <a:lnTo>
                      <a:pt x="737" y="296"/>
                    </a:lnTo>
                    <a:lnTo>
                      <a:pt x="731" y="312"/>
                    </a:lnTo>
                    <a:lnTo>
                      <a:pt x="724" y="328"/>
                    </a:lnTo>
                    <a:lnTo>
                      <a:pt x="718" y="343"/>
                    </a:lnTo>
                    <a:lnTo>
                      <a:pt x="710" y="356"/>
                    </a:lnTo>
                    <a:lnTo>
                      <a:pt x="704" y="369"/>
                    </a:lnTo>
                    <a:lnTo>
                      <a:pt x="697" y="382"/>
                    </a:lnTo>
                    <a:lnTo>
                      <a:pt x="688" y="393"/>
                    </a:lnTo>
                    <a:lnTo>
                      <a:pt x="681" y="403"/>
                    </a:lnTo>
                    <a:lnTo>
                      <a:pt x="673" y="413"/>
                    </a:lnTo>
                    <a:lnTo>
                      <a:pt x="656" y="430"/>
                    </a:lnTo>
                    <a:lnTo>
                      <a:pt x="640" y="445"/>
                    </a:lnTo>
                    <a:lnTo>
                      <a:pt x="623" y="459"/>
                    </a:lnTo>
                    <a:lnTo>
                      <a:pt x="606" y="471"/>
                    </a:lnTo>
                    <a:lnTo>
                      <a:pt x="590" y="480"/>
                    </a:lnTo>
                    <a:lnTo>
                      <a:pt x="574" y="490"/>
                    </a:lnTo>
                    <a:lnTo>
                      <a:pt x="574" y="490"/>
                    </a:lnTo>
                    <a:close/>
                    <a:moveTo>
                      <a:pt x="89" y="336"/>
                    </a:moveTo>
                    <a:lnTo>
                      <a:pt x="78" y="324"/>
                    </a:lnTo>
                    <a:lnTo>
                      <a:pt x="69" y="310"/>
                    </a:lnTo>
                    <a:lnTo>
                      <a:pt x="61" y="295"/>
                    </a:lnTo>
                    <a:lnTo>
                      <a:pt x="54" y="280"/>
                    </a:lnTo>
                    <a:lnTo>
                      <a:pt x="49" y="264"/>
                    </a:lnTo>
                    <a:lnTo>
                      <a:pt x="43" y="247"/>
                    </a:lnTo>
                    <a:lnTo>
                      <a:pt x="40" y="230"/>
                    </a:lnTo>
                    <a:lnTo>
                      <a:pt x="37" y="213"/>
                    </a:lnTo>
                    <a:lnTo>
                      <a:pt x="32" y="178"/>
                    </a:lnTo>
                    <a:lnTo>
                      <a:pt x="30" y="145"/>
                    </a:lnTo>
                    <a:lnTo>
                      <a:pt x="30" y="116"/>
                    </a:lnTo>
                    <a:lnTo>
                      <a:pt x="30" y="90"/>
                    </a:lnTo>
                    <a:lnTo>
                      <a:pt x="30" y="90"/>
                    </a:lnTo>
                    <a:lnTo>
                      <a:pt x="30" y="90"/>
                    </a:lnTo>
                    <a:lnTo>
                      <a:pt x="97" y="90"/>
                    </a:lnTo>
                    <a:lnTo>
                      <a:pt x="100" y="137"/>
                    </a:lnTo>
                    <a:lnTo>
                      <a:pt x="105" y="181"/>
                    </a:lnTo>
                    <a:lnTo>
                      <a:pt x="112" y="221"/>
                    </a:lnTo>
                    <a:lnTo>
                      <a:pt x="119" y="258"/>
                    </a:lnTo>
                    <a:lnTo>
                      <a:pt x="128" y="291"/>
                    </a:lnTo>
                    <a:lnTo>
                      <a:pt x="137" y="321"/>
                    </a:lnTo>
                    <a:lnTo>
                      <a:pt x="149" y="348"/>
                    </a:lnTo>
                    <a:lnTo>
                      <a:pt x="161" y="372"/>
                    </a:lnTo>
                    <a:lnTo>
                      <a:pt x="150" y="370"/>
                    </a:lnTo>
                    <a:lnTo>
                      <a:pt x="140" y="367"/>
                    </a:lnTo>
                    <a:lnTo>
                      <a:pt x="131" y="364"/>
                    </a:lnTo>
                    <a:lnTo>
                      <a:pt x="121" y="359"/>
                    </a:lnTo>
                    <a:lnTo>
                      <a:pt x="113" y="355"/>
                    </a:lnTo>
                    <a:lnTo>
                      <a:pt x="105" y="350"/>
                    </a:lnTo>
                    <a:lnTo>
                      <a:pt x="97" y="343"/>
                    </a:lnTo>
                    <a:lnTo>
                      <a:pt x="89" y="336"/>
                    </a:lnTo>
                    <a:lnTo>
                      <a:pt x="89" y="336"/>
                    </a:lnTo>
                    <a:close/>
                    <a:moveTo>
                      <a:pt x="898" y="86"/>
                    </a:moveTo>
                    <a:lnTo>
                      <a:pt x="898" y="80"/>
                    </a:lnTo>
                    <a:lnTo>
                      <a:pt x="898" y="75"/>
                    </a:lnTo>
                    <a:lnTo>
                      <a:pt x="898" y="72"/>
                    </a:lnTo>
                    <a:lnTo>
                      <a:pt x="897" y="70"/>
                    </a:lnTo>
                    <a:lnTo>
                      <a:pt x="895" y="66"/>
                    </a:lnTo>
                    <a:lnTo>
                      <a:pt x="893" y="64"/>
                    </a:lnTo>
                    <a:lnTo>
                      <a:pt x="891" y="62"/>
                    </a:lnTo>
                    <a:lnTo>
                      <a:pt x="889" y="61"/>
                    </a:lnTo>
                    <a:lnTo>
                      <a:pt x="886" y="60"/>
                    </a:lnTo>
                    <a:lnTo>
                      <a:pt x="883" y="60"/>
                    </a:lnTo>
                    <a:lnTo>
                      <a:pt x="802" y="60"/>
                    </a:lnTo>
                    <a:lnTo>
                      <a:pt x="803" y="49"/>
                    </a:lnTo>
                    <a:lnTo>
                      <a:pt x="803" y="37"/>
                    </a:lnTo>
                    <a:lnTo>
                      <a:pt x="803" y="27"/>
                    </a:lnTo>
                    <a:lnTo>
                      <a:pt x="803" y="15"/>
                    </a:lnTo>
                    <a:lnTo>
                      <a:pt x="803" y="12"/>
                    </a:lnTo>
                    <a:lnTo>
                      <a:pt x="802" y="10"/>
                    </a:lnTo>
                    <a:lnTo>
                      <a:pt x="801" y="6"/>
                    </a:lnTo>
                    <a:lnTo>
                      <a:pt x="799" y="4"/>
                    </a:lnTo>
                    <a:lnTo>
                      <a:pt x="797" y="2"/>
                    </a:lnTo>
                    <a:lnTo>
                      <a:pt x="795" y="1"/>
                    </a:lnTo>
                    <a:lnTo>
                      <a:pt x="792" y="0"/>
                    </a:lnTo>
                    <a:lnTo>
                      <a:pt x="789" y="0"/>
                    </a:lnTo>
                    <a:lnTo>
                      <a:pt x="111" y="0"/>
                    </a:lnTo>
                    <a:lnTo>
                      <a:pt x="107" y="0"/>
                    </a:lnTo>
                    <a:lnTo>
                      <a:pt x="104" y="1"/>
                    </a:lnTo>
                    <a:lnTo>
                      <a:pt x="102" y="2"/>
                    </a:lnTo>
                    <a:lnTo>
                      <a:pt x="100" y="4"/>
                    </a:lnTo>
                    <a:lnTo>
                      <a:pt x="98" y="6"/>
                    </a:lnTo>
                    <a:lnTo>
                      <a:pt x="97" y="10"/>
                    </a:lnTo>
                    <a:lnTo>
                      <a:pt x="96" y="12"/>
                    </a:lnTo>
                    <a:lnTo>
                      <a:pt x="96" y="15"/>
                    </a:lnTo>
                    <a:lnTo>
                      <a:pt x="96" y="27"/>
                    </a:lnTo>
                    <a:lnTo>
                      <a:pt x="96" y="37"/>
                    </a:lnTo>
                    <a:lnTo>
                      <a:pt x="96" y="49"/>
                    </a:lnTo>
                    <a:lnTo>
                      <a:pt x="96" y="60"/>
                    </a:lnTo>
                    <a:lnTo>
                      <a:pt x="15" y="60"/>
                    </a:lnTo>
                    <a:lnTo>
                      <a:pt x="12" y="60"/>
                    </a:lnTo>
                    <a:lnTo>
                      <a:pt x="10" y="61"/>
                    </a:lnTo>
                    <a:lnTo>
                      <a:pt x="7" y="62"/>
                    </a:lnTo>
                    <a:lnTo>
                      <a:pt x="5" y="64"/>
                    </a:lnTo>
                    <a:lnTo>
                      <a:pt x="4" y="66"/>
                    </a:lnTo>
                    <a:lnTo>
                      <a:pt x="1" y="70"/>
                    </a:lnTo>
                    <a:lnTo>
                      <a:pt x="1" y="72"/>
                    </a:lnTo>
                    <a:lnTo>
                      <a:pt x="0" y="75"/>
                    </a:lnTo>
                    <a:lnTo>
                      <a:pt x="0" y="82"/>
                    </a:lnTo>
                    <a:lnTo>
                      <a:pt x="0" y="90"/>
                    </a:lnTo>
                    <a:lnTo>
                      <a:pt x="0" y="117"/>
                    </a:lnTo>
                    <a:lnTo>
                      <a:pt x="0" y="149"/>
                    </a:lnTo>
                    <a:lnTo>
                      <a:pt x="1" y="166"/>
                    </a:lnTo>
                    <a:lnTo>
                      <a:pt x="3" y="184"/>
                    </a:lnTo>
                    <a:lnTo>
                      <a:pt x="5" y="202"/>
                    </a:lnTo>
                    <a:lnTo>
                      <a:pt x="8" y="220"/>
                    </a:lnTo>
                    <a:lnTo>
                      <a:pt x="11" y="240"/>
                    </a:lnTo>
                    <a:lnTo>
                      <a:pt x="15" y="258"/>
                    </a:lnTo>
                    <a:lnTo>
                      <a:pt x="21" y="277"/>
                    </a:lnTo>
                    <a:lnTo>
                      <a:pt x="28" y="294"/>
                    </a:lnTo>
                    <a:lnTo>
                      <a:pt x="36" y="311"/>
                    </a:lnTo>
                    <a:lnTo>
                      <a:pt x="45" y="328"/>
                    </a:lnTo>
                    <a:lnTo>
                      <a:pt x="56" y="343"/>
                    </a:lnTo>
                    <a:lnTo>
                      <a:pt x="68" y="357"/>
                    </a:lnTo>
                    <a:lnTo>
                      <a:pt x="80" y="368"/>
                    </a:lnTo>
                    <a:lnTo>
                      <a:pt x="91" y="376"/>
                    </a:lnTo>
                    <a:lnTo>
                      <a:pt x="104" y="384"/>
                    </a:lnTo>
                    <a:lnTo>
                      <a:pt x="118" y="390"/>
                    </a:lnTo>
                    <a:lnTo>
                      <a:pt x="132" y="396"/>
                    </a:lnTo>
                    <a:lnTo>
                      <a:pt x="147" y="400"/>
                    </a:lnTo>
                    <a:lnTo>
                      <a:pt x="163" y="402"/>
                    </a:lnTo>
                    <a:lnTo>
                      <a:pt x="179" y="403"/>
                    </a:lnTo>
                    <a:lnTo>
                      <a:pt x="195" y="425"/>
                    </a:lnTo>
                    <a:lnTo>
                      <a:pt x="211" y="443"/>
                    </a:lnTo>
                    <a:lnTo>
                      <a:pt x="227" y="459"/>
                    </a:lnTo>
                    <a:lnTo>
                      <a:pt x="243" y="473"/>
                    </a:lnTo>
                    <a:lnTo>
                      <a:pt x="260" y="486"/>
                    </a:lnTo>
                    <a:lnTo>
                      <a:pt x="276" y="497"/>
                    </a:lnTo>
                    <a:lnTo>
                      <a:pt x="293" y="507"/>
                    </a:lnTo>
                    <a:lnTo>
                      <a:pt x="308" y="517"/>
                    </a:lnTo>
                    <a:lnTo>
                      <a:pt x="328" y="528"/>
                    </a:lnTo>
                    <a:lnTo>
                      <a:pt x="345" y="539"/>
                    </a:lnTo>
                    <a:lnTo>
                      <a:pt x="352" y="545"/>
                    </a:lnTo>
                    <a:lnTo>
                      <a:pt x="359" y="551"/>
                    </a:lnTo>
                    <a:lnTo>
                      <a:pt x="366" y="557"/>
                    </a:lnTo>
                    <a:lnTo>
                      <a:pt x="371" y="564"/>
                    </a:lnTo>
                    <a:lnTo>
                      <a:pt x="377" y="570"/>
                    </a:lnTo>
                    <a:lnTo>
                      <a:pt x="382" y="578"/>
                    </a:lnTo>
                    <a:lnTo>
                      <a:pt x="385" y="585"/>
                    </a:lnTo>
                    <a:lnTo>
                      <a:pt x="390" y="594"/>
                    </a:lnTo>
                    <a:lnTo>
                      <a:pt x="392" y="603"/>
                    </a:lnTo>
                    <a:lnTo>
                      <a:pt x="394" y="614"/>
                    </a:lnTo>
                    <a:lnTo>
                      <a:pt x="395" y="625"/>
                    </a:lnTo>
                    <a:lnTo>
                      <a:pt x="395" y="636"/>
                    </a:lnTo>
                    <a:lnTo>
                      <a:pt x="395" y="660"/>
                    </a:lnTo>
                    <a:lnTo>
                      <a:pt x="393" y="681"/>
                    </a:lnTo>
                    <a:lnTo>
                      <a:pt x="390" y="699"/>
                    </a:lnTo>
                    <a:lnTo>
                      <a:pt x="385" y="717"/>
                    </a:lnTo>
                    <a:lnTo>
                      <a:pt x="380" y="730"/>
                    </a:lnTo>
                    <a:lnTo>
                      <a:pt x="374" y="743"/>
                    </a:lnTo>
                    <a:lnTo>
                      <a:pt x="366" y="754"/>
                    </a:lnTo>
                    <a:lnTo>
                      <a:pt x="358" y="764"/>
                    </a:lnTo>
                    <a:lnTo>
                      <a:pt x="348" y="771"/>
                    </a:lnTo>
                    <a:lnTo>
                      <a:pt x="338" y="778"/>
                    </a:lnTo>
                    <a:lnTo>
                      <a:pt x="327" y="783"/>
                    </a:lnTo>
                    <a:lnTo>
                      <a:pt x="314" y="786"/>
                    </a:lnTo>
                    <a:lnTo>
                      <a:pt x="301" y="789"/>
                    </a:lnTo>
                    <a:lnTo>
                      <a:pt x="287" y="791"/>
                    </a:lnTo>
                    <a:lnTo>
                      <a:pt x="271" y="793"/>
                    </a:lnTo>
                    <a:lnTo>
                      <a:pt x="255" y="793"/>
                    </a:lnTo>
                    <a:lnTo>
                      <a:pt x="252" y="793"/>
                    </a:lnTo>
                    <a:lnTo>
                      <a:pt x="250" y="794"/>
                    </a:lnTo>
                    <a:lnTo>
                      <a:pt x="246" y="795"/>
                    </a:lnTo>
                    <a:lnTo>
                      <a:pt x="244" y="797"/>
                    </a:lnTo>
                    <a:lnTo>
                      <a:pt x="242" y="799"/>
                    </a:lnTo>
                    <a:lnTo>
                      <a:pt x="241" y="802"/>
                    </a:lnTo>
                    <a:lnTo>
                      <a:pt x="240" y="804"/>
                    </a:lnTo>
                    <a:lnTo>
                      <a:pt x="240" y="807"/>
                    </a:lnTo>
                    <a:lnTo>
                      <a:pt x="240" y="882"/>
                    </a:lnTo>
                    <a:lnTo>
                      <a:pt x="240" y="886"/>
                    </a:lnTo>
                    <a:lnTo>
                      <a:pt x="241" y="888"/>
                    </a:lnTo>
                    <a:lnTo>
                      <a:pt x="242" y="891"/>
                    </a:lnTo>
                    <a:lnTo>
                      <a:pt x="244" y="893"/>
                    </a:lnTo>
                    <a:lnTo>
                      <a:pt x="246" y="894"/>
                    </a:lnTo>
                    <a:lnTo>
                      <a:pt x="250" y="896"/>
                    </a:lnTo>
                    <a:lnTo>
                      <a:pt x="252" y="897"/>
                    </a:lnTo>
                    <a:lnTo>
                      <a:pt x="255" y="897"/>
                    </a:lnTo>
                    <a:lnTo>
                      <a:pt x="643" y="897"/>
                    </a:lnTo>
                    <a:lnTo>
                      <a:pt x="646" y="897"/>
                    </a:lnTo>
                    <a:lnTo>
                      <a:pt x="649" y="896"/>
                    </a:lnTo>
                    <a:lnTo>
                      <a:pt x="652" y="894"/>
                    </a:lnTo>
                    <a:lnTo>
                      <a:pt x="654" y="893"/>
                    </a:lnTo>
                    <a:lnTo>
                      <a:pt x="656" y="891"/>
                    </a:lnTo>
                    <a:lnTo>
                      <a:pt x="657" y="888"/>
                    </a:lnTo>
                    <a:lnTo>
                      <a:pt x="658" y="886"/>
                    </a:lnTo>
                    <a:lnTo>
                      <a:pt x="658" y="882"/>
                    </a:lnTo>
                    <a:lnTo>
                      <a:pt x="658" y="807"/>
                    </a:lnTo>
                    <a:lnTo>
                      <a:pt x="658" y="804"/>
                    </a:lnTo>
                    <a:lnTo>
                      <a:pt x="657" y="802"/>
                    </a:lnTo>
                    <a:lnTo>
                      <a:pt x="656" y="799"/>
                    </a:lnTo>
                    <a:lnTo>
                      <a:pt x="654" y="797"/>
                    </a:lnTo>
                    <a:lnTo>
                      <a:pt x="652" y="795"/>
                    </a:lnTo>
                    <a:lnTo>
                      <a:pt x="649" y="794"/>
                    </a:lnTo>
                    <a:lnTo>
                      <a:pt x="646" y="793"/>
                    </a:lnTo>
                    <a:lnTo>
                      <a:pt x="643" y="793"/>
                    </a:lnTo>
                    <a:lnTo>
                      <a:pt x="626" y="791"/>
                    </a:lnTo>
                    <a:lnTo>
                      <a:pt x="610" y="790"/>
                    </a:lnTo>
                    <a:lnTo>
                      <a:pt x="594" y="787"/>
                    </a:lnTo>
                    <a:lnTo>
                      <a:pt x="580" y="783"/>
                    </a:lnTo>
                    <a:lnTo>
                      <a:pt x="567" y="778"/>
                    </a:lnTo>
                    <a:lnTo>
                      <a:pt x="555" y="771"/>
                    </a:lnTo>
                    <a:lnTo>
                      <a:pt x="545" y="764"/>
                    </a:lnTo>
                    <a:lnTo>
                      <a:pt x="535" y="755"/>
                    </a:lnTo>
                    <a:lnTo>
                      <a:pt x="528" y="744"/>
                    </a:lnTo>
                    <a:lnTo>
                      <a:pt x="520" y="733"/>
                    </a:lnTo>
                    <a:lnTo>
                      <a:pt x="515" y="720"/>
                    </a:lnTo>
                    <a:lnTo>
                      <a:pt x="509" y="706"/>
                    </a:lnTo>
                    <a:lnTo>
                      <a:pt x="505" y="691"/>
                    </a:lnTo>
                    <a:lnTo>
                      <a:pt x="503" y="674"/>
                    </a:lnTo>
                    <a:lnTo>
                      <a:pt x="501" y="657"/>
                    </a:lnTo>
                    <a:lnTo>
                      <a:pt x="501" y="637"/>
                    </a:lnTo>
                    <a:lnTo>
                      <a:pt x="501" y="625"/>
                    </a:lnTo>
                    <a:lnTo>
                      <a:pt x="502" y="614"/>
                    </a:lnTo>
                    <a:lnTo>
                      <a:pt x="504" y="603"/>
                    </a:lnTo>
                    <a:lnTo>
                      <a:pt x="507" y="594"/>
                    </a:lnTo>
                    <a:lnTo>
                      <a:pt x="510" y="585"/>
                    </a:lnTo>
                    <a:lnTo>
                      <a:pt x="515" y="578"/>
                    </a:lnTo>
                    <a:lnTo>
                      <a:pt x="519" y="570"/>
                    </a:lnTo>
                    <a:lnTo>
                      <a:pt x="524" y="563"/>
                    </a:lnTo>
                    <a:lnTo>
                      <a:pt x="531" y="556"/>
                    </a:lnTo>
                    <a:lnTo>
                      <a:pt x="537" y="550"/>
                    </a:lnTo>
                    <a:lnTo>
                      <a:pt x="545" y="544"/>
                    </a:lnTo>
                    <a:lnTo>
                      <a:pt x="552" y="539"/>
                    </a:lnTo>
                    <a:lnTo>
                      <a:pt x="569" y="527"/>
                    </a:lnTo>
                    <a:lnTo>
                      <a:pt x="589" y="516"/>
                    </a:lnTo>
                    <a:lnTo>
                      <a:pt x="605" y="506"/>
                    </a:lnTo>
                    <a:lnTo>
                      <a:pt x="621" y="496"/>
                    </a:lnTo>
                    <a:lnTo>
                      <a:pt x="637" y="484"/>
                    </a:lnTo>
                    <a:lnTo>
                      <a:pt x="654" y="473"/>
                    </a:lnTo>
                    <a:lnTo>
                      <a:pt x="670" y="459"/>
                    </a:lnTo>
                    <a:lnTo>
                      <a:pt x="687" y="443"/>
                    </a:lnTo>
                    <a:lnTo>
                      <a:pt x="703" y="425"/>
                    </a:lnTo>
                    <a:lnTo>
                      <a:pt x="718" y="403"/>
                    </a:lnTo>
                    <a:lnTo>
                      <a:pt x="734" y="402"/>
                    </a:lnTo>
                    <a:lnTo>
                      <a:pt x="750" y="400"/>
                    </a:lnTo>
                    <a:lnTo>
                      <a:pt x="764" y="396"/>
                    </a:lnTo>
                    <a:lnTo>
                      <a:pt x="778" y="390"/>
                    </a:lnTo>
                    <a:lnTo>
                      <a:pt x="792" y="384"/>
                    </a:lnTo>
                    <a:lnTo>
                      <a:pt x="805" y="376"/>
                    </a:lnTo>
                    <a:lnTo>
                      <a:pt x="816" y="368"/>
                    </a:lnTo>
                    <a:lnTo>
                      <a:pt x="827" y="357"/>
                    </a:lnTo>
                    <a:lnTo>
                      <a:pt x="833" y="350"/>
                    </a:lnTo>
                    <a:lnTo>
                      <a:pt x="840" y="342"/>
                    </a:lnTo>
                    <a:lnTo>
                      <a:pt x="846" y="335"/>
                    </a:lnTo>
                    <a:lnTo>
                      <a:pt x="852" y="326"/>
                    </a:lnTo>
                    <a:lnTo>
                      <a:pt x="861" y="309"/>
                    </a:lnTo>
                    <a:lnTo>
                      <a:pt x="869" y="291"/>
                    </a:lnTo>
                    <a:lnTo>
                      <a:pt x="876" y="272"/>
                    </a:lnTo>
                    <a:lnTo>
                      <a:pt x="882" y="252"/>
                    </a:lnTo>
                    <a:lnTo>
                      <a:pt x="887" y="233"/>
                    </a:lnTo>
                    <a:lnTo>
                      <a:pt x="890" y="214"/>
                    </a:lnTo>
                    <a:lnTo>
                      <a:pt x="893" y="195"/>
                    </a:lnTo>
                    <a:lnTo>
                      <a:pt x="895" y="175"/>
                    </a:lnTo>
                    <a:lnTo>
                      <a:pt x="897" y="157"/>
                    </a:lnTo>
                    <a:lnTo>
                      <a:pt x="898" y="140"/>
                    </a:lnTo>
                    <a:lnTo>
                      <a:pt x="898" y="110"/>
                    </a:lnTo>
                    <a:lnTo>
                      <a:pt x="898" y="8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Light"/>
                  <a:ea typeface="+mn-ea"/>
                  <a:cs typeface="+mn-cs"/>
                </a:endParaRPr>
              </a:p>
            </p:txBody>
          </p:sp>
        </p:grpSp>
        <p:sp>
          <p:nvSpPr>
            <p:cNvPr id="24" name="TextBox 23"/>
            <p:cNvSpPr txBox="1"/>
            <p:nvPr/>
          </p:nvSpPr>
          <p:spPr>
            <a:xfrm>
              <a:off x="5007444" y="2293289"/>
              <a:ext cx="4497229" cy="306604"/>
            </a:xfrm>
            <a:prstGeom prst="rect">
              <a:avLst/>
            </a:prstGeom>
            <a:noFill/>
            <a:ln w="6350">
              <a:noFill/>
              <a:prstDash val="dash"/>
            </a:ln>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err="1">
                  <a:ln>
                    <a:noFill/>
                  </a:ln>
                  <a:solidFill>
                    <a:prstClr val="white"/>
                  </a:solidFill>
                  <a:effectLst/>
                  <a:uLnTx/>
                  <a:uFillTx/>
                  <a:ea typeface="+mn-ea"/>
                  <a:cs typeface="+mn-cs"/>
                </a:rPr>
                <a:t>Lorem</a:t>
              </a:r>
              <a:r>
                <a:rPr kumimoji="0" lang="en-US" sz="1100" b="0" i="0" u="none" strike="noStrike" kern="1200" cap="none" spc="0" normalizeH="0" baseline="0" noProof="0" dirty="0">
                  <a:ln>
                    <a:noFill/>
                  </a:ln>
                  <a:solidFill>
                    <a:prstClr val="white"/>
                  </a:solidFill>
                  <a:effectLst/>
                  <a:uLnTx/>
                  <a:uFillTx/>
                  <a:ea typeface="+mn-ea"/>
                  <a:cs typeface="+mn-cs"/>
                </a:rPr>
                <a:t> </a:t>
              </a:r>
              <a:r>
                <a:rPr kumimoji="0" lang="en-US" sz="1100" b="0" i="0" u="none" strike="noStrike" kern="1200" cap="none" spc="0" normalizeH="0" baseline="0" noProof="0" dirty="0" err="1">
                  <a:ln>
                    <a:noFill/>
                  </a:ln>
                  <a:solidFill>
                    <a:prstClr val="white"/>
                  </a:solidFill>
                  <a:effectLst/>
                  <a:uLnTx/>
                  <a:uFillTx/>
                  <a:ea typeface="+mn-ea"/>
                  <a:cs typeface="+mn-cs"/>
                </a:rPr>
                <a:t>Ipsum</a:t>
              </a:r>
              <a:r>
                <a:rPr kumimoji="0" lang="en-US" sz="1100" b="0" i="0" u="none" strike="noStrike" kern="1200" cap="none" spc="0" normalizeH="0" baseline="0" noProof="0" dirty="0">
                  <a:ln>
                    <a:noFill/>
                  </a:ln>
                  <a:solidFill>
                    <a:prstClr val="white"/>
                  </a:solidFill>
                  <a:effectLst/>
                  <a:uLnTx/>
                  <a:uFillTx/>
                  <a:ea typeface="+mn-ea"/>
                  <a:cs typeface="+mn-cs"/>
                </a:rPr>
                <a:t> is simply dummy text of the printing and typesetting industry. Lorem Ipsum has been the industry's standard dummy text ever since the 1500s.</a:t>
              </a:r>
            </a:p>
          </p:txBody>
        </p:sp>
        <p:sp>
          <p:nvSpPr>
            <p:cNvPr id="25" name="TextBox 24"/>
            <p:cNvSpPr txBox="1"/>
            <p:nvPr/>
          </p:nvSpPr>
          <p:spPr>
            <a:xfrm>
              <a:off x="524198" y="5420293"/>
              <a:ext cx="1248492" cy="195112"/>
            </a:xfrm>
            <a:prstGeom prst="rect">
              <a:avLst/>
            </a:prstGeom>
            <a:noFill/>
            <a:ln w="6350">
              <a:noFill/>
              <a:prstDash val="dash"/>
            </a:ln>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solidFill>
                  <a:effectLst/>
                  <a:uLnTx/>
                  <a:uFillTx/>
                  <a:ea typeface="+mn-ea"/>
                  <a:cs typeface="+mn-cs"/>
                </a:rPr>
                <a:t>IDEA</a:t>
              </a:r>
            </a:p>
          </p:txBody>
        </p:sp>
        <p:sp>
          <p:nvSpPr>
            <p:cNvPr id="26" name="TextBox 25"/>
            <p:cNvSpPr txBox="1"/>
            <p:nvPr/>
          </p:nvSpPr>
          <p:spPr>
            <a:xfrm>
              <a:off x="1961781" y="4258243"/>
              <a:ext cx="1248492" cy="195112"/>
            </a:xfrm>
            <a:prstGeom prst="rect">
              <a:avLst/>
            </a:prstGeom>
            <a:noFill/>
            <a:ln w="6350">
              <a:noFill/>
              <a:prstDash val="dash"/>
            </a:ln>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solidFill>
                  <a:effectLst/>
                  <a:uLnTx/>
                  <a:uFillTx/>
                  <a:ea typeface="+mn-ea"/>
                  <a:cs typeface="+mn-cs"/>
                </a:rPr>
                <a:t>PROCESS</a:t>
              </a:r>
            </a:p>
          </p:txBody>
        </p:sp>
        <p:sp>
          <p:nvSpPr>
            <p:cNvPr id="27" name="TextBox 26"/>
            <p:cNvSpPr txBox="1"/>
            <p:nvPr/>
          </p:nvSpPr>
          <p:spPr>
            <a:xfrm>
              <a:off x="3445035" y="2756890"/>
              <a:ext cx="1248492" cy="195112"/>
            </a:xfrm>
            <a:prstGeom prst="rect">
              <a:avLst/>
            </a:prstGeom>
            <a:noFill/>
            <a:ln w="6350">
              <a:noFill/>
              <a:prstDash val="dash"/>
            </a:ln>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solidFill>
                  <a:effectLst/>
                  <a:uLnTx/>
                  <a:uFillTx/>
                  <a:ea typeface="+mn-ea"/>
                  <a:cs typeface="+mn-cs"/>
                </a:rPr>
                <a:t>SUCCESS</a:t>
              </a:r>
            </a:p>
          </p:txBody>
        </p:sp>
        <p:sp>
          <p:nvSpPr>
            <p:cNvPr id="28" name="TextBox 27"/>
            <p:cNvSpPr txBox="1"/>
            <p:nvPr/>
          </p:nvSpPr>
          <p:spPr>
            <a:xfrm>
              <a:off x="5819775" y="3599295"/>
              <a:ext cx="3550619" cy="459905"/>
            </a:xfrm>
            <a:prstGeom prst="rect">
              <a:avLst/>
            </a:prstGeom>
            <a:noFill/>
            <a:ln w="6350">
              <a:noFill/>
              <a:prstDash val="dash"/>
            </a:ln>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err="1">
                  <a:ln>
                    <a:noFill/>
                  </a:ln>
                  <a:solidFill>
                    <a:prstClr val="white"/>
                  </a:solidFill>
                  <a:effectLst/>
                  <a:uLnTx/>
                  <a:uFillTx/>
                  <a:ea typeface="+mn-ea"/>
                  <a:cs typeface="+mn-cs"/>
                </a:rPr>
                <a:t>Lorem</a:t>
              </a:r>
              <a:r>
                <a:rPr kumimoji="0" lang="en-US" sz="1100" b="0" i="0" u="none" strike="noStrike" kern="1200" cap="none" spc="0" normalizeH="0" baseline="0" noProof="0" dirty="0">
                  <a:ln>
                    <a:noFill/>
                  </a:ln>
                  <a:solidFill>
                    <a:prstClr val="white"/>
                  </a:solidFill>
                  <a:effectLst/>
                  <a:uLnTx/>
                  <a:uFillTx/>
                  <a:ea typeface="+mn-ea"/>
                  <a:cs typeface="+mn-cs"/>
                </a:rPr>
                <a:t> </a:t>
              </a:r>
              <a:r>
                <a:rPr kumimoji="0" lang="en-US" sz="1100" b="0" i="0" u="none" strike="noStrike" kern="1200" cap="none" spc="0" normalizeH="0" baseline="0" noProof="0" dirty="0" err="1">
                  <a:ln>
                    <a:noFill/>
                  </a:ln>
                  <a:solidFill>
                    <a:prstClr val="white"/>
                  </a:solidFill>
                  <a:effectLst/>
                  <a:uLnTx/>
                  <a:uFillTx/>
                  <a:ea typeface="+mn-ea"/>
                  <a:cs typeface="+mn-cs"/>
                </a:rPr>
                <a:t>Ipsum</a:t>
              </a:r>
              <a:r>
                <a:rPr kumimoji="0" lang="en-US" sz="1100" b="0" i="0" u="none" strike="noStrike" kern="1200" cap="none" spc="0" normalizeH="0" baseline="0" noProof="0" dirty="0">
                  <a:ln>
                    <a:noFill/>
                  </a:ln>
                  <a:solidFill>
                    <a:prstClr val="white"/>
                  </a:solidFill>
                  <a:effectLst/>
                  <a:uLnTx/>
                  <a:uFillTx/>
                  <a:ea typeface="+mn-ea"/>
                  <a:cs typeface="+mn-cs"/>
                </a:rPr>
                <a:t> is simply dummy text of the printing and typesetting industry. Lorem Ipsum has been the industry's standard dummy text ever since the 1500s.</a:t>
              </a:r>
            </a:p>
          </p:txBody>
        </p:sp>
        <p:sp>
          <p:nvSpPr>
            <p:cNvPr id="29" name="TextBox 28"/>
            <p:cNvSpPr txBox="1"/>
            <p:nvPr/>
          </p:nvSpPr>
          <p:spPr>
            <a:xfrm>
              <a:off x="6772274" y="4899314"/>
              <a:ext cx="2440671" cy="613207"/>
            </a:xfrm>
            <a:prstGeom prst="rect">
              <a:avLst/>
            </a:prstGeom>
            <a:noFill/>
            <a:ln w="6350">
              <a:noFill/>
              <a:prstDash val="dash"/>
            </a:ln>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err="1">
                  <a:ln>
                    <a:noFill/>
                  </a:ln>
                  <a:solidFill>
                    <a:prstClr val="white"/>
                  </a:solidFill>
                  <a:effectLst/>
                  <a:uLnTx/>
                  <a:uFillTx/>
                  <a:ea typeface="+mn-ea"/>
                  <a:cs typeface="+mn-cs"/>
                </a:rPr>
                <a:t>Lorem</a:t>
              </a:r>
              <a:r>
                <a:rPr kumimoji="0" lang="en-US" sz="1100" b="0" i="0" u="none" strike="noStrike" kern="1200" cap="none" spc="0" normalizeH="0" baseline="0" noProof="0" dirty="0">
                  <a:ln>
                    <a:noFill/>
                  </a:ln>
                  <a:solidFill>
                    <a:prstClr val="white"/>
                  </a:solidFill>
                  <a:effectLst/>
                  <a:uLnTx/>
                  <a:uFillTx/>
                  <a:ea typeface="+mn-ea"/>
                  <a:cs typeface="+mn-cs"/>
                </a:rPr>
                <a:t> </a:t>
              </a:r>
              <a:r>
                <a:rPr kumimoji="0" lang="en-US" sz="1100" b="0" i="0" u="none" strike="noStrike" kern="1200" cap="none" spc="0" normalizeH="0" baseline="0" noProof="0" dirty="0" err="1">
                  <a:ln>
                    <a:noFill/>
                  </a:ln>
                  <a:solidFill>
                    <a:prstClr val="white"/>
                  </a:solidFill>
                  <a:effectLst/>
                  <a:uLnTx/>
                  <a:uFillTx/>
                  <a:ea typeface="+mn-ea"/>
                  <a:cs typeface="+mn-cs"/>
                </a:rPr>
                <a:t>Ipsum</a:t>
              </a:r>
              <a:r>
                <a:rPr kumimoji="0" lang="en-US" sz="1100" b="0" i="0" u="none" strike="noStrike" kern="1200" cap="none" spc="0" normalizeH="0" baseline="0" noProof="0" dirty="0">
                  <a:ln>
                    <a:noFill/>
                  </a:ln>
                  <a:solidFill>
                    <a:prstClr val="white"/>
                  </a:solidFill>
                  <a:effectLst/>
                  <a:uLnTx/>
                  <a:uFillTx/>
                  <a:ea typeface="+mn-ea"/>
                  <a:cs typeface="+mn-cs"/>
                </a:rPr>
                <a:t> is simply dummy text of the printing and typesetting industry. Lorem Ipsum has been the industry's standard dummy text ever since the 1500s.</a:t>
              </a:r>
            </a:p>
          </p:txBody>
        </p:sp>
      </p:grpSp>
      <p:sp>
        <p:nvSpPr>
          <p:cNvPr id="31" name="Rectangle 30"/>
          <p:cNvSpPr/>
          <p:nvPr/>
        </p:nvSpPr>
        <p:spPr>
          <a:xfrm>
            <a:off x="12344400" y="0"/>
            <a:ext cx="469900" cy="469900"/>
          </a:xfrm>
          <a:prstGeom prst="rect">
            <a:avLst/>
          </a:prstGeom>
          <a:solidFill>
            <a:srgbClr val="E7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 name="Rectangle 31"/>
          <p:cNvSpPr/>
          <p:nvPr/>
        </p:nvSpPr>
        <p:spPr>
          <a:xfrm>
            <a:off x="12344400" y="649557"/>
            <a:ext cx="469900" cy="469900"/>
          </a:xfrm>
          <a:prstGeom prst="rect">
            <a:avLst/>
          </a:prstGeom>
          <a:solidFill>
            <a:srgbClr val="AFABA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Rectangle 32"/>
          <p:cNvSpPr/>
          <p:nvPr/>
        </p:nvSpPr>
        <p:spPr>
          <a:xfrm>
            <a:off x="12344400" y="1299114"/>
            <a:ext cx="469900" cy="469900"/>
          </a:xfrm>
          <a:prstGeom prst="rect">
            <a:avLst/>
          </a:prstGeom>
          <a:solidFill>
            <a:srgbClr val="76717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Rectangle 33"/>
          <p:cNvSpPr/>
          <p:nvPr/>
        </p:nvSpPr>
        <p:spPr>
          <a:xfrm>
            <a:off x="12966699" y="0"/>
            <a:ext cx="469900" cy="469900"/>
          </a:xfrm>
          <a:prstGeom prst="rect">
            <a:avLst/>
          </a:prstGeom>
          <a:solidFill>
            <a:srgbClr val="E8786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 name="Rectangle 34"/>
          <p:cNvSpPr/>
          <p:nvPr/>
        </p:nvSpPr>
        <p:spPr>
          <a:xfrm>
            <a:off x="12966699" y="649557"/>
            <a:ext cx="469900" cy="469900"/>
          </a:xfrm>
          <a:prstGeom prst="rect">
            <a:avLst/>
          </a:prstGeom>
          <a:solidFill>
            <a:srgbClr val="E258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 name="Rectangle 35"/>
          <p:cNvSpPr/>
          <p:nvPr/>
        </p:nvSpPr>
        <p:spPr>
          <a:xfrm>
            <a:off x="12966699" y="1299114"/>
            <a:ext cx="469900" cy="469900"/>
          </a:xfrm>
          <a:prstGeom prst="rect">
            <a:avLst/>
          </a:prstGeom>
          <a:solidFill>
            <a:srgbClr val="D63E2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 name="Rectangle 36"/>
          <p:cNvSpPr/>
          <p:nvPr/>
        </p:nvSpPr>
        <p:spPr>
          <a:xfrm>
            <a:off x="13588998" y="0"/>
            <a:ext cx="469900" cy="469900"/>
          </a:xfrm>
          <a:prstGeom prst="rect">
            <a:avLst/>
          </a:prstGeom>
          <a:solidFill>
            <a:srgbClr val="8EDCD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 name="Rectangle 37"/>
          <p:cNvSpPr/>
          <p:nvPr/>
        </p:nvSpPr>
        <p:spPr>
          <a:xfrm>
            <a:off x="13588998" y="649557"/>
            <a:ext cx="469900" cy="469900"/>
          </a:xfrm>
          <a:prstGeom prst="rect">
            <a:avLst/>
          </a:prstGeom>
          <a:solidFill>
            <a:srgbClr val="78D2D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 name="Rectangle 38"/>
          <p:cNvSpPr/>
          <p:nvPr/>
        </p:nvSpPr>
        <p:spPr>
          <a:xfrm>
            <a:off x="13588998" y="1299114"/>
            <a:ext cx="469900" cy="469900"/>
          </a:xfrm>
          <a:prstGeom prst="rect">
            <a:avLst/>
          </a:prstGeom>
          <a:solidFill>
            <a:srgbClr val="4CC7C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 name="Rectangle 39"/>
          <p:cNvSpPr/>
          <p:nvPr/>
        </p:nvSpPr>
        <p:spPr>
          <a:xfrm>
            <a:off x="14211297" y="0"/>
            <a:ext cx="469900" cy="469900"/>
          </a:xfrm>
          <a:prstGeom prst="rect">
            <a:avLst/>
          </a:prstGeom>
          <a:solidFill>
            <a:srgbClr val="55535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1" name="Rectangle 40"/>
          <p:cNvSpPr/>
          <p:nvPr/>
        </p:nvSpPr>
        <p:spPr>
          <a:xfrm>
            <a:off x="14211297" y="649557"/>
            <a:ext cx="469900" cy="469900"/>
          </a:xfrm>
          <a:prstGeom prst="rect">
            <a:avLst/>
          </a:prstGeom>
          <a:solidFill>
            <a:srgbClr val="3B393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2" name="Rectangle 41"/>
          <p:cNvSpPr/>
          <p:nvPr/>
        </p:nvSpPr>
        <p:spPr>
          <a:xfrm>
            <a:off x="14211297" y="1299114"/>
            <a:ext cx="469900" cy="469900"/>
          </a:xfrm>
          <a:prstGeom prst="rect">
            <a:avLst/>
          </a:prstGeom>
          <a:solidFill>
            <a:srgbClr val="25232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82039558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en-ID" dirty="0"/>
              <a:t>PowerPoint Templates</a:t>
            </a:r>
            <a:endParaRPr lang="en-US" dirty="0"/>
          </a:p>
        </p:txBody>
      </p:sp>
      <p:sp>
        <p:nvSpPr>
          <p:cNvPr id="3" name="Date Placeholder 2"/>
          <p:cNvSpPr>
            <a:spLocks noGrp="1"/>
          </p:cNvSpPr>
          <p:nvPr>
            <p:ph type="dt" sz="half" idx="10"/>
          </p:nvPr>
        </p:nvSpPr>
        <p:spPr/>
        <p:txBody>
          <a:bodyPr/>
          <a:lstStyle/>
          <a:p>
            <a:fld id="{C9852138-FCC6-44DD-9FFC-1C789392E7AA}" type="datetime1">
              <a:rPr lang="en-US" smtClean="0"/>
              <a:t>10/28/2022</a:t>
            </a:fld>
            <a:endParaRPr lang="en-US"/>
          </a:p>
        </p:txBody>
      </p:sp>
      <p:sp>
        <p:nvSpPr>
          <p:cNvPr id="4" name="Slide Number Placeholder 3"/>
          <p:cNvSpPr>
            <a:spLocks noGrp="1"/>
          </p:cNvSpPr>
          <p:nvPr>
            <p:ph type="sldNum" sz="quarter" idx="12"/>
          </p:nvPr>
        </p:nvSpPr>
        <p:spPr/>
        <p:txBody>
          <a:bodyPr/>
          <a:lstStyle/>
          <a:p>
            <a:fld id="{03206E70-9524-410D-AE9B-78D656EAA14D}" type="slidenum">
              <a:rPr lang="en-US" smtClean="0"/>
              <a:pPr/>
              <a:t>21</a:t>
            </a:fld>
            <a:endParaRPr lang="en-US"/>
          </a:p>
        </p:txBody>
      </p:sp>
      <p:sp>
        <p:nvSpPr>
          <p:cNvPr id="59" name="Freeform 14"/>
          <p:cNvSpPr>
            <a:spLocks/>
          </p:cNvSpPr>
          <p:nvPr/>
        </p:nvSpPr>
        <p:spPr bwMode="auto">
          <a:xfrm>
            <a:off x="6971874" y="2615231"/>
            <a:ext cx="1822182" cy="2507885"/>
          </a:xfrm>
          <a:custGeom>
            <a:avLst/>
            <a:gdLst>
              <a:gd name="T0" fmla="*/ 4096 w 4121"/>
              <a:gd name="T1" fmla="*/ 2644 h 5673"/>
              <a:gd name="T2" fmla="*/ 4091 w 4121"/>
              <a:gd name="T3" fmla="*/ 2305 h 5673"/>
              <a:gd name="T4" fmla="*/ 2760 w 4121"/>
              <a:gd name="T5" fmla="*/ 0 h 5673"/>
              <a:gd name="T6" fmla="*/ 2198 w 4121"/>
              <a:gd name="T7" fmla="*/ 2098 h 5673"/>
              <a:gd name="T8" fmla="*/ 2142 w 4121"/>
              <a:gd name="T9" fmla="*/ 2307 h 5673"/>
              <a:gd name="T10" fmla="*/ 1933 w 4121"/>
              <a:gd name="T11" fmla="*/ 2251 h 5673"/>
              <a:gd name="T12" fmla="*/ 662 w 4121"/>
              <a:gd name="T13" fmla="*/ 1910 h 5673"/>
              <a:gd name="T14" fmla="*/ 912 w 4121"/>
              <a:gd name="T15" fmla="*/ 2339 h 5673"/>
              <a:gd name="T16" fmla="*/ 912 w 4121"/>
              <a:gd name="T17" fmla="*/ 2625 h 5673"/>
              <a:gd name="T18" fmla="*/ 0 w 4121"/>
              <a:gd name="T19" fmla="*/ 4191 h 5673"/>
              <a:gd name="T20" fmla="*/ 398 w 4121"/>
              <a:gd name="T21" fmla="*/ 5673 h 5673"/>
              <a:gd name="T22" fmla="*/ 2704 w 4121"/>
              <a:gd name="T23" fmla="*/ 5055 h 5673"/>
              <a:gd name="T24" fmla="*/ 4096 w 4121"/>
              <a:gd name="T25" fmla="*/ 2644 h 56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121" h="5673">
                <a:moveTo>
                  <a:pt x="4096" y="2644"/>
                </a:moveTo>
                <a:cubicBezTo>
                  <a:pt x="4121" y="2536"/>
                  <a:pt x="4120" y="2412"/>
                  <a:pt x="4091" y="2305"/>
                </a:cubicBezTo>
                <a:cubicBezTo>
                  <a:pt x="2760" y="0"/>
                  <a:pt x="2760" y="0"/>
                  <a:pt x="2760" y="0"/>
                </a:cubicBezTo>
                <a:cubicBezTo>
                  <a:pt x="2198" y="2098"/>
                  <a:pt x="2198" y="2098"/>
                  <a:pt x="2198" y="2098"/>
                </a:cubicBezTo>
                <a:cubicBezTo>
                  <a:pt x="2142" y="2307"/>
                  <a:pt x="2142" y="2307"/>
                  <a:pt x="2142" y="2307"/>
                </a:cubicBezTo>
                <a:cubicBezTo>
                  <a:pt x="1933" y="2251"/>
                  <a:pt x="1933" y="2251"/>
                  <a:pt x="1933" y="2251"/>
                </a:cubicBezTo>
                <a:cubicBezTo>
                  <a:pt x="662" y="1910"/>
                  <a:pt x="662" y="1910"/>
                  <a:pt x="662" y="1910"/>
                </a:cubicBezTo>
                <a:cubicBezTo>
                  <a:pt x="912" y="2339"/>
                  <a:pt x="912" y="2339"/>
                  <a:pt x="912" y="2339"/>
                </a:cubicBezTo>
                <a:cubicBezTo>
                  <a:pt x="957" y="2418"/>
                  <a:pt x="957" y="2546"/>
                  <a:pt x="912" y="2625"/>
                </a:cubicBezTo>
                <a:cubicBezTo>
                  <a:pt x="0" y="4191"/>
                  <a:pt x="0" y="4191"/>
                  <a:pt x="0" y="4191"/>
                </a:cubicBezTo>
                <a:cubicBezTo>
                  <a:pt x="398" y="5673"/>
                  <a:pt x="398" y="5673"/>
                  <a:pt x="398" y="5673"/>
                </a:cubicBezTo>
                <a:cubicBezTo>
                  <a:pt x="2704" y="5055"/>
                  <a:pt x="2704" y="5055"/>
                  <a:pt x="2704" y="5055"/>
                </a:cubicBezTo>
                <a:lnTo>
                  <a:pt x="4096" y="2644"/>
                </a:lnTo>
                <a:close/>
              </a:path>
            </a:pathLst>
          </a:custGeom>
          <a:solidFill>
            <a:srgbClr val="78D2D2"/>
          </a:solidFill>
          <a:ln>
            <a:noFill/>
          </a:ln>
          <a:effectLst>
            <a:outerShdw blurRad="50800" dist="38100" dir="5400000" algn="t" rotWithShape="0">
              <a:prstClr val="black">
                <a:alpha val="40000"/>
              </a:prstClr>
            </a:outerShdw>
          </a:effec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0" name="Freeform 15"/>
          <p:cNvSpPr>
            <a:spLocks/>
          </p:cNvSpPr>
          <p:nvPr/>
        </p:nvSpPr>
        <p:spPr bwMode="auto">
          <a:xfrm>
            <a:off x="6209852" y="1367847"/>
            <a:ext cx="1914007" cy="2150127"/>
          </a:xfrm>
          <a:custGeom>
            <a:avLst/>
            <a:gdLst>
              <a:gd name="T0" fmla="*/ 2509 w 4330"/>
              <a:gd name="T1" fmla="*/ 0 h 4863"/>
              <a:gd name="T2" fmla="*/ 0 w 4330"/>
              <a:gd name="T3" fmla="*/ 0 h 4863"/>
              <a:gd name="T4" fmla="*/ 1515 w 4330"/>
              <a:gd name="T5" fmla="*/ 1515 h 4863"/>
              <a:gd name="T6" fmla="*/ 1668 w 4330"/>
              <a:gd name="T7" fmla="*/ 1669 h 4863"/>
              <a:gd name="T8" fmla="*/ 1515 w 4330"/>
              <a:gd name="T9" fmla="*/ 1821 h 4863"/>
              <a:gd name="T10" fmla="*/ 569 w 4330"/>
              <a:gd name="T11" fmla="*/ 2768 h 4863"/>
              <a:gd name="T12" fmla="*/ 1079 w 4330"/>
              <a:gd name="T13" fmla="*/ 2768 h 4863"/>
              <a:gd name="T14" fmla="*/ 1327 w 4330"/>
              <a:gd name="T15" fmla="*/ 2911 h 4863"/>
              <a:gd name="T16" fmla="*/ 2231 w 4330"/>
              <a:gd name="T17" fmla="*/ 4466 h 4863"/>
              <a:gd name="T18" fmla="*/ 3712 w 4330"/>
              <a:gd name="T19" fmla="*/ 4863 h 4863"/>
              <a:gd name="T20" fmla="*/ 4330 w 4330"/>
              <a:gd name="T21" fmla="*/ 2556 h 4863"/>
              <a:gd name="T22" fmla="*/ 3011 w 4330"/>
              <a:gd name="T23" fmla="*/ 272 h 4863"/>
              <a:gd name="T24" fmla="*/ 2509 w 4330"/>
              <a:gd name="T25" fmla="*/ 0 h 48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30" h="4863">
                <a:moveTo>
                  <a:pt x="2509" y="0"/>
                </a:moveTo>
                <a:cubicBezTo>
                  <a:pt x="0" y="0"/>
                  <a:pt x="0" y="0"/>
                  <a:pt x="0" y="0"/>
                </a:cubicBezTo>
                <a:cubicBezTo>
                  <a:pt x="1515" y="1515"/>
                  <a:pt x="1515" y="1515"/>
                  <a:pt x="1515" y="1515"/>
                </a:cubicBezTo>
                <a:cubicBezTo>
                  <a:pt x="1668" y="1669"/>
                  <a:pt x="1668" y="1669"/>
                  <a:pt x="1668" y="1669"/>
                </a:cubicBezTo>
                <a:cubicBezTo>
                  <a:pt x="1515" y="1821"/>
                  <a:pt x="1515" y="1821"/>
                  <a:pt x="1515" y="1821"/>
                </a:cubicBezTo>
                <a:cubicBezTo>
                  <a:pt x="569" y="2768"/>
                  <a:pt x="569" y="2768"/>
                  <a:pt x="569" y="2768"/>
                </a:cubicBezTo>
                <a:cubicBezTo>
                  <a:pt x="1079" y="2768"/>
                  <a:pt x="1079" y="2768"/>
                  <a:pt x="1079" y="2768"/>
                </a:cubicBezTo>
                <a:cubicBezTo>
                  <a:pt x="1170" y="2768"/>
                  <a:pt x="1282" y="2833"/>
                  <a:pt x="1327" y="2911"/>
                </a:cubicBezTo>
                <a:cubicBezTo>
                  <a:pt x="2231" y="4466"/>
                  <a:pt x="2231" y="4466"/>
                  <a:pt x="2231" y="4466"/>
                </a:cubicBezTo>
                <a:cubicBezTo>
                  <a:pt x="3712" y="4863"/>
                  <a:pt x="3712" y="4863"/>
                  <a:pt x="3712" y="4863"/>
                </a:cubicBezTo>
                <a:cubicBezTo>
                  <a:pt x="4330" y="2556"/>
                  <a:pt x="4330" y="2556"/>
                  <a:pt x="4330" y="2556"/>
                </a:cubicBezTo>
                <a:cubicBezTo>
                  <a:pt x="3011" y="272"/>
                  <a:pt x="3011" y="272"/>
                  <a:pt x="3011" y="272"/>
                </a:cubicBezTo>
                <a:cubicBezTo>
                  <a:pt x="2906" y="120"/>
                  <a:pt x="2688" y="0"/>
                  <a:pt x="2509" y="0"/>
                </a:cubicBezTo>
                <a:close/>
              </a:path>
            </a:pathLst>
          </a:custGeom>
          <a:solidFill>
            <a:srgbClr val="AFABAB"/>
          </a:solidFill>
          <a:ln>
            <a:noFill/>
          </a:ln>
          <a:effectLst>
            <a:outerShdw blurRad="50800" dist="38100" dir="5400000" algn="t" rotWithShape="0">
              <a:prstClr val="black">
                <a:alpha val="40000"/>
              </a:prstClr>
            </a:outerShdw>
          </a:effec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8" name="Freeform 97"/>
          <p:cNvSpPr>
            <a:spLocks/>
          </p:cNvSpPr>
          <p:nvPr/>
        </p:nvSpPr>
        <p:spPr bwMode="auto">
          <a:xfrm>
            <a:off x="-2" y="1367845"/>
            <a:ext cx="6812079" cy="1471583"/>
          </a:xfrm>
          <a:custGeom>
            <a:avLst/>
            <a:gdLst>
              <a:gd name="connsiteX0" fmla="*/ 0 w 6812079"/>
              <a:gd name="connsiteY0" fmla="*/ 0 h 1471583"/>
              <a:gd name="connsiteX1" fmla="*/ 1178015 w 6812079"/>
              <a:gd name="connsiteY1" fmla="*/ 0 h 1471583"/>
              <a:gd name="connsiteX2" fmla="*/ 1247651 w 6812079"/>
              <a:gd name="connsiteY2" fmla="*/ 0 h 1471583"/>
              <a:gd name="connsiteX3" fmla="*/ 5064958 w 6812079"/>
              <a:gd name="connsiteY3" fmla="*/ 0 h 1471583"/>
              <a:gd name="connsiteX4" fmla="*/ 5064956 w 6812079"/>
              <a:gd name="connsiteY4" fmla="*/ 3 h 1471583"/>
              <a:gd name="connsiteX5" fmla="*/ 5185586 w 6812079"/>
              <a:gd name="connsiteY5" fmla="*/ 3 h 1471583"/>
              <a:gd name="connsiteX6" fmla="*/ 6074721 w 6812079"/>
              <a:gd name="connsiteY6" fmla="*/ 3 h 1471583"/>
              <a:gd name="connsiteX7" fmla="*/ 6812079 w 6812079"/>
              <a:gd name="connsiteY7" fmla="*/ 737784 h 1471583"/>
              <a:gd name="connsiteX8" fmla="*/ 6326254 w 6812079"/>
              <a:gd name="connsiteY8" fmla="*/ 1224329 h 1471583"/>
              <a:gd name="connsiteX9" fmla="*/ 5530544 w 6812079"/>
              <a:gd name="connsiteY9" fmla="*/ 1224329 h 1471583"/>
              <a:gd name="connsiteX10" fmla="*/ 5420913 w 6812079"/>
              <a:gd name="connsiteY10" fmla="*/ 1287580 h 1471583"/>
              <a:gd name="connsiteX11" fmla="*/ 5313934 w 6812079"/>
              <a:gd name="connsiteY11" fmla="*/ 1471583 h 1471583"/>
              <a:gd name="connsiteX12" fmla="*/ 5162749 w 6812079"/>
              <a:gd name="connsiteY12" fmla="*/ 906748 h 1471583"/>
              <a:gd name="connsiteX13" fmla="*/ 5137994 w 6812079"/>
              <a:gd name="connsiteY13" fmla="*/ 814304 h 1471583"/>
              <a:gd name="connsiteX14" fmla="*/ 5045603 w 6812079"/>
              <a:gd name="connsiteY14" fmla="*/ 839074 h 1471583"/>
              <a:gd name="connsiteX15" fmla="*/ 4129423 w 6812079"/>
              <a:gd name="connsiteY15" fmla="*/ 1084635 h 1471583"/>
              <a:gd name="connsiteX16" fmla="*/ 4117427 w 6812079"/>
              <a:gd name="connsiteY16" fmla="*/ 1098543 h 1471583"/>
              <a:gd name="connsiteX17" fmla="*/ 1247651 w 6812079"/>
              <a:gd name="connsiteY17" fmla="*/ 1098543 h 1471583"/>
              <a:gd name="connsiteX18" fmla="*/ 1178015 w 6812079"/>
              <a:gd name="connsiteY18" fmla="*/ 1098543 h 1471583"/>
              <a:gd name="connsiteX19" fmla="*/ 0 w 6812079"/>
              <a:gd name="connsiteY19" fmla="*/ 1098543 h 14715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6812079" h="1471583">
                <a:moveTo>
                  <a:pt x="0" y="0"/>
                </a:moveTo>
                <a:lnTo>
                  <a:pt x="1178015" y="0"/>
                </a:lnTo>
                <a:lnTo>
                  <a:pt x="1247651" y="0"/>
                </a:lnTo>
                <a:lnTo>
                  <a:pt x="5064958" y="0"/>
                </a:lnTo>
                <a:lnTo>
                  <a:pt x="5064956" y="3"/>
                </a:lnTo>
                <a:lnTo>
                  <a:pt x="5185586" y="3"/>
                </a:lnTo>
                <a:cubicBezTo>
                  <a:pt x="5357899" y="3"/>
                  <a:pt x="5633600" y="3"/>
                  <a:pt x="6074721" y="3"/>
                </a:cubicBezTo>
                <a:cubicBezTo>
                  <a:pt x="6074721" y="3"/>
                  <a:pt x="6074721" y="3"/>
                  <a:pt x="6812079" y="737784"/>
                </a:cubicBezTo>
                <a:cubicBezTo>
                  <a:pt x="6812079" y="737784"/>
                  <a:pt x="6812079" y="737784"/>
                  <a:pt x="6326254" y="1224329"/>
                </a:cubicBezTo>
                <a:cubicBezTo>
                  <a:pt x="6326254" y="1224329"/>
                  <a:pt x="6326254" y="1224329"/>
                  <a:pt x="5530544" y="1224329"/>
                </a:cubicBezTo>
                <a:cubicBezTo>
                  <a:pt x="5490317" y="1224329"/>
                  <a:pt x="5440806" y="1253080"/>
                  <a:pt x="5420913" y="1287580"/>
                </a:cubicBezTo>
                <a:cubicBezTo>
                  <a:pt x="5420913" y="1287580"/>
                  <a:pt x="5420913" y="1287580"/>
                  <a:pt x="5313934" y="1471583"/>
                </a:cubicBezTo>
                <a:cubicBezTo>
                  <a:pt x="5313934" y="1471583"/>
                  <a:pt x="5313934" y="1471583"/>
                  <a:pt x="5162749" y="906748"/>
                </a:cubicBezTo>
                <a:cubicBezTo>
                  <a:pt x="5162749" y="906748"/>
                  <a:pt x="5162749" y="906748"/>
                  <a:pt x="5137994" y="814304"/>
                </a:cubicBezTo>
                <a:cubicBezTo>
                  <a:pt x="5137994" y="814304"/>
                  <a:pt x="5137994" y="814304"/>
                  <a:pt x="5045603" y="839074"/>
                </a:cubicBezTo>
                <a:lnTo>
                  <a:pt x="4129423" y="1084635"/>
                </a:lnTo>
                <a:lnTo>
                  <a:pt x="4117427" y="1098543"/>
                </a:lnTo>
                <a:lnTo>
                  <a:pt x="1247651" y="1098543"/>
                </a:lnTo>
                <a:lnTo>
                  <a:pt x="1178015" y="1098543"/>
                </a:lnTo>
                <a:lnTo>
                  <a:pt x="0" y="1098543"/>
                </a:lnTo>
                <a:close/>
              </a:path>
            </a:pathLst>
          </a:custGeom>
          <a:solidFill>
            <a:srgbClr val="E2583D"/>
          </a:solidFill>
          <a:ln>
            <a:noFill/>
          </a:ln>
          <a:effectLst>
            <a:outerShdw blurRad="50800" dist="38100" dir="5400000" algn="t" rotWithShape="0">
              <a:prstClr val="black">
                <a:alpha val="40000"/>
              </a:prstClr>
            </a:outerShdw>
          </a:effectLst>
        </p:spPr>
        <p:txBody>
          <a:bodyPr vert="horz" wrap="square" lIns="68580" tIns="34290" rIns="68580" bIns="3429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2" name="Freeform 17"/>
          <p:cNvSpPr>
            <a:spLocks/>
          </p:cNvSpPr>
          <p:nvPr/>
        </p:nvSpPr>
        <p:spPr bwMode="auto">
          <a:xfrm>
            <a:off x="3422912" y="2299212"/>
            <a:ext cx="1822182" cy="2507885"/>
          </a:xfrm>
          <a:custGeom>
            <a:avLst/>
            <a:gdLst>
              <a:gd name="T0" fmla="*/ 3210 w 4121"/>
              <a:gd name="T1" fmla="*/ 3339 h 5673"/>
              <a:gd name="T2" fmla="*/ 3210 w 4121"/>
              <a:gd name="T3" fmla="*/ 3054 h 5673"/>
              <a:gd name="T4" fmla="*/ 4121 w 4121"/>
              <a:gd name="T5" fmla="*/ 1485 h 5673"/>
              <a:gd name="T6" fmla="*/ 3724 w 4121"/>
              <a:gd name="T7" fmla="*/ 0 h 5673"/>
              <a:gd name="T8" fmla="*/ 1417 w 4121"/>
              <a:gd name="T9" fmla="*/ 618 h 5673"/>
              <a:gd name="T10" fmla="*/ 30 w 4121"/>
              <a:gd name="T11" fmla="*/ 3021 h 5673"/>
              <a:gd name="T12" fmla="*/ 26 w 4121"/>
              <a:gd name="T13" fmla="*/ 3361 h 5673"/>
              <a:gd name="T14" fmla="*/ 1361 w 4121"/>
              <a:gd name="T15" fmla="*/ 5673 h 5673"/>
              <a:gd name="T16" fmla="*/ 1923 w 4121"/>
              <a:gd name="T17" fmla="*/ 3576 h 5673"/>
              <a:gd name="T18" fmla="*/ 1979 w 4121"/>
              <a:gd name="T19" fmla="*/ 3367 h 5673"/>
              <a:gd name="T20" fmla="*/ 2188 w 4121"/>
              <a:gd name="T21" fmla="*/ 3423 h 5673"/>
              <a:gd name="T22" fmla="*/ 3456 w 4121"/>
              <a:gd name="T23" fmla="*/ 3763 h 5673"/>
              <a:gd name="T24" fmla="*/ 3210 w 4121"/>
              <a:gd name="T25" fmla="*/ 3339 h 56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121" h="5673">
                <a:moveTo>
                  <a:pt x="3210" y="3339"/>
                </a:moveTo>
                <a:cubicBezTo>
                  <a:pt x="3164" y="3260"/>
                  <a:pt x="3164" y="3132"/>
                  <a:pt x="3210" y="3054"/>
                </a:cubicBezTo>
                <a:cubicBezTo>
                  <a:pt x="4121" y="1485"/>
                  <a:pt x="4121" y="1485"/>
                  <a:pt x="4121" y="1485"/>
                </a:cubicBezTo>
                <a:cubicBezTo>
                  <a:pt x="3724" y="0"/>
                  <a:pt x="3724" y="0"/>
                  <a:pt x="3724" y="0"/>
                </a:cubicBezTo>
                <a:cubicBezTo>
                  <a:pt x="1417" y="618"/>
                  <a:pt x="1417" y="618"/>
                  <a:pt x="1417" y="618"/>
                </a:cubicBezTo>
                <a:cubicBezTo>
                  <a:pt x="30" y="3021"/>
                  <a:pt x="30" y="3021"/>
                  <a:pt x="30" y="3021"/>
                </a:cubicBezTo>
                <a:cubicBezTo>
                  <a:pt x="1" y="3129"/>
                  <a:pt x="0" y="3252"/>
                  <a:pt x="26" y="3361"/>
                </a:cubicBezTo>
                <a:cubicBezTo>
                  <a:pt x="1361" y="5673"/>
                  <a:pt x="1361" y="5673"/>
                  <a:pt x="1361" y="5673"/>
                </a:cubicBezTo>
                <a:cubicBezTo>
                  <a:pt x="1923" y="3576"/>
                  <a:pt x="1923" y="3576"/>
                  <a:pt x="1923" y="3576"/>
                </a:cubicBezTo>
                <a:cubicBezTo>
                  <a:pt x="1979" y="3367"/>
                  <a:pt x="1979" y="3367"/>
                  <a:pt x="1979" y="3367"/>
                </a:cubicBezTo>
                <a:cubicBezTo>
                  <a:pt x="2188" y="3423"/>
                  <a:pt x="2188" y="3423"/>
                  <a:pt x="2188" y="3423"/>
                </a:cubicBezTo>
                <a:cubicBezTo>
                  <a:pt x="3456" y="3763"/>
                  <a:pt x="3456" y="3763"/>
                  <a:pt x="3456" y="3763"/>
                </a:cubicBezTo>
                <a:lnTo>
                  <a:pt x="3210" y="3339"/>
                </a:lnTo>
                <a:close/>
              </a:path>
            </a:pathLst>
          </a:custGeom>
          <a:solidFill>
            <a:srgbClr val="A5B1C3"/>
          </a:solidFill>
          <a:ln>
            <a:noFill/>
          </a:ln>
          <a:effectLst>
            <a:outerShdw blurRad="50800" dist="38100" dir="5400000" algn="t" rotWithShape="0">
              <a:prstClr val="black">
                <a:alpha val="40000"/>
              </a:prstClr>
            </a:outerShdw>
          </a:effec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3" name="Freeform 18"/>
          <p:cNvSpPr>
            <a:spLocks/>
          </p:cNvSpPr>
          <p:nvPr/>
        </p:nvSpPr>
        <p:spPr bwMode="auto">
          <a:xfrm>
            <a:off x="4093116" y="3905546"/>
            <a:ext cx="1914007" cy="2148935"/>
          </a:xfrm>
          <a:custGeom>
            <a:avLst/>
            <a:gdLst>
              <a:gd name="T0" fmla="*/ 4330 w 4330"/>
              <a:gd name="T1" fmla="*/ 4862 h 4862"/>
              <a:gd name="T2" fmla="*/ 2815 w 4330"/>
              <a:gd name="T3" fmla="*/ 3347 h 4862"/>
              <a:gd name="T4" fmla="*/ 2662 w 4330"/>
              <a:gd name="T5" fmla="*/ 3194 h 4862"/>
              <a:gd name="T6" fmla="*/ 2815 w 4330"/>
              <a:gd name="T7" fmla="*/ 3041 h 4862"/>
              <a:gd name="T8" fmla="*/ 3761 w 4330"/>
              <a:gd name="T9" fmla="*/ 2094 h 4862"/>
              <a:gd name="T10" fmla="*/ 3251 w 4330"/>
              <a:gd name="T11" fmla="*/ 2094 h 4862"/>
              <a:gd name="T12" fmla="*/ 3003 w 4330"/>
              <a:gd name="T13" fmla="*/ 1954 h 4862"/>
              <a:gd name="T14" fmla="*/ 2096 w 4330"/>
              <a:gd name="T15" fmla="*/ 396 h 4862"/>
              <a:gd name="T16" fmla="*/ 618 w 4330"/>
              <a:gd name="T17" fmla="*/ 0 h 4862"/>
              <a:gd name="T18" fmla="*/ 0 w 4330"/>
              <a:gd name="T19" fmla="*/ 2306 h 4862"/>
              <a:gd name="T20" fmla="*/ 1335 w 4330"/>
              <a:gd name="T21" fmla="*/ 4617 h 4862"/>
              <a:gd name="T22" fmla="*/ 1821 w 4330"/>
              <a:gd name="T23" fmla="*/ 4862 h 4862"/>
              <a:gd name="T24" fmla="*/ 4330 w 4330"/>
              <a:gd name="T25" fmla="*/ 4862 h 48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30" h="4862">
                <a:moveTo>
                  <a:pt x="4330" y="4862"/>
                </a:moveTo>
                <a:cubicBezTo>
                  <a:pt x="2815" y="3347"/>
                  <a:pt x="2815" y="3347"/>
                  <a:pt x="2815" y="3347"/>
                </a:cubicBezTo>
                <a:cubicBezTo>
                  <a:pt x="2662" y="3194"/>
                  <a:pt x="2662" y="3194"/>
                  <a:pt x="2662" y="3194"/>
                </a:cubicBezTo>
                <a:cubicBezTo>
                  <a:pt x="2815" y="3041"/>
                  <a:pt x="2815" y="3041"/>
                  <a:pt x="2815" y="3041"/>
                </a:cubicBezTo>
                <a:cubicBezTo>
                  <a:pt x="3761" y="2094"/>
                  <a:pt x="3761" y="2094"/>
                  <a:pt x="3761" y="2094"/>
                </a:cubicBezTo>
                <a:cubicBezTo>
                  <a:pt x="3251" y="2094"/>
                  <a:pt x="3251" y="2094"/>
                  <a:pt x="3251" y="2094"/>
                </a:cubicBezTo>
                <a:cubicBezTo>
                  <a:pt x="3160" y="2094"/>
                  <a:pt x="3048" y="2032"/>
                  <a:pt x="3003" y="1954"/>
                </a:cubicBezTo>
                <a:cubicBezTo>
                  <a:pt x="2096" y="396"/>
                  <a:pt x="2096" y="396"/>
                  <a:pt x="2096" y="396"/>
                </a:cubicBezTo>
                <a:cubicBezTo>
                  <a:pt x="618" y="0"/>
                  <a:pt x="618" y="0"/>
                  <a:pt x="618" y="0"/>
                </a:cubicBezTo>
                <a:cubicBezTo>
                  <a:pt x="0" y="2306"/>
                  <a:pt x="0" y="2306"/>
                  <a:pt x="0" y="2306"/>
                </a:cubicBezTo>
                <a:cubicBezTo>
                  <a:pt x="1335" y="4617"/>
                  <a:pt x="1335" y="4617"/>
                  <a:pt x="1335" y="4617"/>
                </a:cubicBezTo>
                <a:cubicBezTo>
                  <a:pt x="1444" y="4758"/>
                  <a:pt x="1650" y="4862"/>
                  <a:pt x="1821" y="4862"/>
                </a:cubicBezTo>
                <a:lnTo>
                  <a:pt x="4330" y="4862"/>
                </a:lnTo>
                <a:close/>
              </a:path>
            </a:pathLst>
          </a:custGeom>
          <a:solidFill>
            <a:srgbClr val="E2583D"/>
          </a:solidFill>
          <a:ln>
            <a:noFill/>
          </a:ln>
          <a:effectLst>
            <a:outerShdw blurRad="50800" dist="38100" dir="5400000" algn="t" rotWithShape="0">
              <a:prstClr val="black">
                <a:alpha val="40000"/>
              </a:prstClr>
            </a:outerShdw>
          </a:effec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4" name="Freeform 19"/>
          <p:cNvSpPr>
            <a:spLocks/>
          </p:cNvSpPr>
          <p:nvPr/>
        </p:nvSpPr>
        <p:spPr bwMode="auto">
          <a:xfrm>
            <a:off x="5404893" y="4584091"/>
            <a:ext cx="2695112" cy="1470387"/>
          </a:xfrm>
          <a:custGeom>
            <a:avLst/>
            <a:gdLst>
              <a:gd name="T0" fmla="*/ 3997 w 6094"/>
              <a:gd name="T1" fmla="*/ 1428 h 3325"/>
              <a:gd name="T2" fmla="*/ 3788 w 6094"/>
              <a:gd name="T3" fmla="*/ 1484 h 3325"/>
              <a:gd name="T4" fmla="*/ 3732 w 6094"/>
              <a:gd name="T5" fmla="*/ 1275 h 3325"/>
              <a:gd name="T6" fmla="*/ 3390 w 6094"/>
              <a:gd name="T7" fmla="*/ 0 h 3325"/>
              <a:gd name="T8" fmla="*/ 3147 w 6094"/>
              <a:gd name="T9" fmla="*/ 417 h 3325"/>
              <a:gd name="T10" fmla="*/ 2899 w 6094"/>
              <a:gd name="T11" fmla="*/ 557 h 3325"/>
              <a:gd name="T12" fmla="*/ 1099 w 6094"/>
              <a:gd name="T13" fmla="*/ 557 h 3325"/>
              <a:gd name="T14" fmla="*/ 0 w 6094"/>
              <a:gd name="T15" fmla="*/ 1656 h 3325"/>
              <a:gd name="T16" fmla="*/ 1668 w 6094"/>
              <a:gd name="T17" fmla="*/ 3325 h 3325"/>
              <a:gd name="T18" fmla="*/ 4329 w 6094"/>
              <a:gd name="T19" fmla="*/ 3325 h 3325"/>
              <a:gd name="T20" fmla="*/ 4815 w 6094"/>
              <a:gd name="T21" fmla="*/ 3080 h 3325"/>
              <a:gd name="T22" fmla="*/ 6094 w 6094"/>
              <a:gd name="T23" fmla="*/ 866 h 3325"/>
              <a:gd name="T24" fmla="*/ 3997 w 6094"/>
              <a:gd name="T25" fmla="*/ 1428 h 33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094" h="3325">
                <a:moveTo>
                  <a:pt x="3997" y="1428"/>
                </a:moveTo>
                <a:cubicBezTo>
                  <a:pt x="3788" y="1484"/>
                  <a:pt x="3788" y="1484"/>
                  <a:pt x="3788" y="1484"/>
                </a:cubicBezTo>
                <a:cubicBezTo>
                  <a:pt x="3732" y="1275"/>
                  <a:pt x="3732" y="1275"/>
                  <a:pt x="3732" y="1275"/>
                </a:cubicBezTo>
                <a:cubicBezTo>
                  <a:pt x="3390" y="0"/>
                  <a:pt x="3390" y="0"/>
                  <a:pt x="3390" y="0"/>
                </a:cubicBezTo>
                <a:cubicBezTo>
                  <a:pt x="3147" y="417"/>
                  <a:pt x="3147" y="417"/>
                  <a:pt x="3147" y="417"/>
                </a:cubicBezTo>
                <a:cubicBezTo>
                  <a:pt x="3102" y="495"/>
                  <a:pt x="2990" y="557"/>
                  <a:pt x="2899" y="557"/>
                </a:cubicBezTo>
                <a:cubicBezTo>
                  <a:pt x="1099" y="557"/>
                  <a:pt x="1099" y="557"/>
                  <a:pt x="1099" y="557"/>
                </a:cubicBezTo>
                <a:cubicBezTo>
                  <a:pt x="0" y="1656"/>
                  <a:pt x="0" y="1656"/>
                  <a:pt x="0" y="1656"/>
                </a:cubicBezTo>
                <a:cubicBezTo>
                  <a:pt x="1668" y="3325"/>
                  <a:pt x="1668" y="3325"/>
                  <a:pt x="1668" y="3325"/>
                </a:cubicBezTo>
                <a:cubicBezTo>
                  <a:pt x="4329" y="3325"/>
                  <a:pt x="4329" y="3325"/>
                  <a:pt x="4329" y="3325"/>
                </a:cubicBezTo>
                <a:cubicBezTo>
                  <a:pt x="4500" y="3325"/>
                  <a:pt x="4706" y="3221"/>
                  <a:pt x="4815" y="3080"/>
                </a:cubicBezTo>
                <a:cubicBezTo>
                  <a:pt x="6094" y="866"/>
                  <a:pt x="6094" y="866"/>
                  <a:pt x="6094" y="866"/>
                </a:cubicBezTo>
                <a:lnTo>
                  <a:pt x="3997" y="1428"/>
                </a:lnTo>
                <a:close/>
              </a:path>
            </a:pathLst>
          </a:custGeom>
          <a:solidFill>
            <a:srgbClr val="3B3939"/>
          </a:solidFill>
          <a:ln>
            <a:solidFill>
              <a:srgbClr val="647896"/>
            </a:solidFill>
          </a:ln>
          <a:effectLst>
            <a:outerShdw blurRad="50800" dist="38100" dir="5400000" algn="t" rotWithShape="0">
              <a:prstClr val="black">
                <a:alpha val="40000"/>
              </a:prstClr>
            </a:outerShdw>
          </a:effec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5" name="Rectangle 64"/>
          <p:cNvSpPr/>
          <p:nvPr/>
        </p:nvSpPr>
        <p:spPr>
          <a:xfrm>
            <a:off x="8114774" y="1422170"/>
            <a:ext cx="2566452" cy="692497"/>
          </a:xfrm>
          <a:prstGeom prst="rect">
            <a:avLst/>
          </a:prstGeom>
        </p:spPr>
        <p:txBody>
          <a:bodyPr wrap="square" lIns="0" tIns="0" rIns="0" bIns="0" anchor="ctr" anchorCtr="0">
            <a:spAutoFit/>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000" b="0" i="0" u="none" strike="noStrike" kern="1200" cap="none" spc="0" normalizeH="0" baseline="0" noProof="0" dirty="0">
                <a:ln>
                  <a:noFill/>
                </a:ln>
                <a:effectLst/>
                <a:uLnTx/>
                <a:uFillTx/>
                <a:ea typeface="+mn-ea"/>
                <a:cs typeface="Arial" panose="020B0604020202020204" pitchFamily="34" charset="0"/>
              </a:rPr>
              <a:t>Lorem Ipsum is simply dummy text of the printing and typesetting industry. Lorem Ipsum has been the industry's standard dummy text.</a:t>
            </a:r>
          </a:p>
        </p:txBody>
      </p:sp>
      <p:sp>
        <p:nvSpPr>
          <p:cNvPr id="66" name="Rectangle 65"/>
          <p:cNvSpPr/>
          <p:nvPr/>
        </p:nvSpPr>
        <p:spPr>
          <a:xfrm>
            <a:off x="9105401" y="3249498"/>
            <a:ext cx="2095615" cy="923330"/>
          </a:xfrm>
          <a:prstGeom prst="rect">
            <a:avLst/>
          </a:prstGeom>
        </p:spPr>
        <p:txBody>
          <a:bodyPr wrap="square" lIns="0" tIns="0" rIns="0" bIns="0" anchor="ctr" anchorCtr="0">
            <a:spAutoFit/>
          </a:bodyPr>
          <a:lstStyle/>
          <a:p>
            <a:pPr marL="0" marR="0" lvl="0" indent="0" algn="just" defTabSz="914400" rtl="0" eaLnBrk="1" fontAlgn="auto" latinLnBrk="0" hangingPunct="1">
              <a:lnSpc>
                <a:spcPct val="150000"/>
              </a:lnSpc>
              <a:spcBef>
                <a:spcPts val="0"/>
              </a:spcBef>
              <a:spcAft>
                <a:spcPts val="0"/>
              </a:spcAft>
              <a:buClrTx/>
              <a:buSzTx/>
              <a:buFontTx/>
              <a:buNone/>
              <a:tabLst/>
              <a:defRPr/>
            </a:pPr>
            <a:r>
              <a:rPr kumimoji="0" lang="en-US" sz="1000" b="0" i="0" u="none" strike="noStrike" kern="1200" cap="none" spc="0" normalizeH="0" baseline="0" noProof="0" dirty="0">
                <a:ln>
                  <a:noFill/>
                </a:ln>
                <a:effectLst/>
                <a:uLnTx/>
                <a:uFillTx/>
                <a:ea typeface="+mn-ea"/>
                <a:cs typeface="Arial" panose="020B0604020202020204" pitchFamily="34" charset="0"/>
              </a:rPr>
              <a:t>Lorem Ipsum is simply dummy text of the printing and typesetting industry. Lorem Ipsum has been the industry's standard dummy text.</a:t>
            </a:r>
          </a:p>
        </p:txBody>
      </p:sp>
      <p:sp>
        <p:nvSpPr>
          <p:cNvPr id="67" name="Rectangle 66"/>
          <p:cNvSpPr/>
          <p:nvPr/>
        </p:nvSpPr>
        <p:spPr>
          <a:xfrm>
            <a:off x="8114774" y="5412994"/>
            <a:ext cx="2566452" cy="692497"/>
          </a:xfrm>
          <a:prstGeom prst="rect">
            <a:avLst/>
          </a:prstGeom>
        </p:spPr>
        <p:txBody>
          <a:bodyPr wrap="square" lIns="0" tIns="0" rIns="0" bIns="0" anchor="ctr" anchorCtr="0">
            <a:spAutoFit/>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000" b="0" i="0" u="none" strike="noStrike" kern="1200" cap="none" spc="0" normalizeH="0" baseline="0" noProof="0" dirty="0">
                <a:ln>
                  <a:noFill/>
                </a:ln>
                <a:effectLst/>
                <a:uLnTx/>
                <a:uFillTx/>
                <a:ea typeface="+mn-ea"/>
                <a:cs typeface="Arial" panose="020B0604020202020204" pitchFamily="34" charset="0"/>
              </a:rPr>
              <a:t>Lorem Ipsum is simply dummy text of the printing and typesetting industry. Lorem Ipsum has been the industry's standard dummy text.</a:t>
            </a:r>
          </a:p>
        </p:txBody>
      </p:sp>
      <p:sp>
        <p:nvSpPr>
          <p:cNvPr id="68" name="Rectangle 67"/>
          <p:cNvSpPr/>
          <p:nvPr/>
        </p:nvSpPr>
        <p:spPr>
          <a:xfrm>
            <a:off x="838200" y="1568156"/>
            <a:ext cx="3451026" cy="692497"/>
          </a:xfrm>
          <a:prstGeom prst="rect">
            <a:avLst/>
          </a:prstGeom>
        </p:spPr>
        <p:txBody>
          <a:bodyPr wrap="square" lIns="0" tIns="0" rIns="0" bIns="0" anchor="ctr" anchorCtr="0">
            <a:spAutoFit/>
          </a:bodyPr>
          <a:lstStyle/>
          <a:p>
            <a:pPr marL="0" marR="0" lvl="0" indent="0" algn="just" defTabSz="914400" rtl="1" eaLnBrk="1" fontAlgn="auto" latinLnBrk="0" hangingPunct="1">
              <a:lnSpc>
                <a:spcPct val="150000"/>
              </a:lnSpc>
              <a:spcBef>
                <a:spcPts val="0"/>
              </a:spcBef>
              <a:spcAft>
                <a:spcPts val="0"/>
              </a:spcAft>
              <a:buClrTx/>
              <a:buSzTx/>
              <a:buFontTx/>
              <a:buNone/>
              <a:tabLst/>
              <a:defRPr/>
            </a:pPr>
            <a:r>
              <a:rPr kumimoji="0" lang="en-US" sz="1000" b="1" i="0" u="none" strike="noStrike" kern="1200" cap="none" spc="0" normalizeH="0" baseline="0" noProof="0" dirty="0">
                <a:ln>
                  <a:noFill/>
                </a:ln>
                <a:solidFill>
                  <a:schemeClr val="bg1"/>
                </a:solidFill>
                <a:effectLst/>
                <a:uLnTx/>
                <a:uFillTx/>
                <a:ea typeface="+mn-ea"/>
                <a:cs typeface="+mn-cs"/>
              </a:rPr>
              <a:t>Lorem Ipsum</a:t>
            </a:r>
            <a:r>
              <a:rPr kumimoji="0" lang="en-US" sz="1000" b="0" i="0" u="none" strike="noStrike" kern="1200" cap="none" spc="0" normalizeH="0" baseline="0" noProof="0" dirty="0">
                <a:ln>
                  <a:noFill/>
                </a:ln>
                <a:solidFill>
                  <a:schemeClr val="bg1"/>
                </a:solidFill>
                <a:effectLst/>
                <a:uLnTx/>
                <a:uFillTx/>
                <a:ea typeface="+mn-ea"/>
                <a:cs typeface="+mn-cs"/>
              </a:rPr>
              <a:t> is simply dummy text of the printing and typesetting industry. Lorem Ipsum has been the industry's standard dummy text ever since the 1500s.</a:t>
            </a:r>
          </a:p>
        </p:txBody>
      </p:sp>
      <p:sp>
        <p:nvSpPr>
          <p:cNvPr id="69" name="Rectangle 68"/>
          <p:cNvSpPr/>
          <p:nvPr/>
        </p:nvSpPr>
        <p:spPr>
          <a:xfrm>
            <a:off x="1178015" y="3249498"/>
            <a:ext cx="2095615" cy="923330"/>
          </a:xfrm>
          <a:prstGeom prst="rect">
            <a:avLst/>
          </a:prstGeom>
        </p:spPr>
        <p:txBody>
          <a:bodyPr wrap="square" lIns="0" tIns="0" rIns="0" bIns="0" anchor="ctr" anchorCtr="0">
            <a:spAutoFit/>
          </a:bodyPr>
          <a:lstStyle/>
          <a:p>
            <a:pPr marL="0" marR="0" lvl="0" indent="0" algn="just" defTabSz="914400" rtl="1" eaLnBrk="1" fontAlgn="auto" latinLnBrk="0" hangingPunct="1">
              <a:lnSpc>
                <a:spcPct val="150000"/>
              </a:lnSpc>
              <a:spcBef>
                <a:spcPts val="0"/>
              </a:spcBef>
              <a:spcAft>
                <a:spcPts val="0"/>
              </a:spcAft>
              <a:buClrTx/>
              <a:buSzTx/>
              <a:buFontTx/>
              <a:buNone/>
              <a:tabLst/>
              <a:defRPr/>
            </a:pPr>
            <a:r>
              <a:rPr kumimoji="0" lang="en-US" sz="1000" b="0" i="0" u="none" strike="noStrike" kern="1200" cap="none" spc="0" normalizeH="0" baseline="0" noProof="0" dirty="0">
                <a:ln>
                  <a:noFill/>
                </a:ln>
                <a:effectLst/>
                <a:uLnTx/>
                <a:uFillTx/>
                <a:ea typeface="+mn-ea"/>
                <a:cs typeface="Arial" panose="020B0604020202020204" pitchFamily="34" charset="0"/>
              </a:rPr>
              <a:t>Lorem Ipsum is simply dummy text of the printing and typesetting industry. Lorem Ipsum has been the industry's standard dummy text.</a:t>
            </a:r>
          </a:p>
        </p:txBody>
      </p:sp>
      <p:sp>
        <p:nvSpPr>
          <p:cNvPr id="70" name="Rectangle 69"/>
          <p:cNvSpPr/>
          <p:nvPr/>
        </p:nvSpPr>
        <p:spPr>
          <a:xfrm>
            <a:off x="1722773" y="5425486"/>
            <a:ext cx="2566452" cy="692497"/>
          </a:xfrm>
          <a:prstGeom prst="rect">
            <a:avLst/>
          </a:prstGeom>
        </p:spPr>
        <p:txBody>
          <a:bodyPr wrap="square" lIns="0" tIns="0" rIns="0" bIns="0" anchor="ctr" anchorCtr="0">
            <a:spAutoFit/>
          </a:bodyPr>
          <a:lstStyle/>
          <a:p>
            <a:pPr marL="0" marR="0" lvl="0" indent="0" algn="just" defTabSz="914400" rtl="1" eaLnBrk="1" fontAlgn="auto" latinLnBrk="0" hangingPunct="1">
              <a:lnSpc>
                <a:spcPct val="150000"/>
              </a:lnSpc>
              <a:spcBef>
                <a:spcPts val="0"/>
              </a:spcBef>
              <a:spcAft>
                <a:spcPts val="0"/>
              </a:spcAft>
              <a:buClrTx/>
              <a:buSzTx/>
              <a:buFontTx/>
              <a:buNone/>
              <a:tabLst/>
              <a:defRPr/>
            </a:pPr>
            <a:r>
              <a:rPr kumimoji="0" lang="en-US" sz="1000" b="0" i="0" u="none" strike="noStrike" kern="1200" cap="none" spc="0" normalizeH="0" baseline="0" noProof="0" dirty="0">
                <a:ln>
                  <a:noFill/>
                </a:ln>
                <a:effectLst/>
                <a:uLnTx/>
                <a:uFillTx/>
                <a:ea typeface="+mn-ea"/>
                <a:cs typeface="Arial" panose="020B0604020202020204" pitchFamily="34" charset="0"/>
              </a:rPr>
              <a:t>Lorem Ipsum is simply dummy text of the printing and typesetting industry. Lorem Ipsum has been the industry's standard dummy text.</a:t>
            </a:r>
          </a:p>
        </p:txBody>
      </p:sp>
      <p:grpSp>
        <p:nvGrpSpPr>
          <p:cNvPr id="99" name="Group 98"/>
          <p:cNvGrpSpPr/>
          <p:nvPr/>
        </p:nvGrpSpPr>
        <p:grpSpPr>
          <a:xfrm>
            <a:off x="5872377" y="1923408"/>
            <a:ext cx="412474" cy="410182"/>
            <a:chOff x="7045325" y="1919288"/>
            <a:chExt cx="285750" cy="284162"/>
          </a:xfrm>
          <a:solidFill>
            <a:schemeClr val="bg1"/>
          </a:solidFill>
        </p:grpSpPr>
        <p:sp>
          <p:nvSpPr>
            <p:cNvPr id="100" name="Freeform 308"/>
            <p:cNvSpPr>
              <a:spLocks noEditPoints="1"/>
            </p:cNvSpPr>
            <p:nvPr/>
          </p:nvSpPr>
          <p:spPr bwMode="auto">
            <a:xfrm>
              <a:off x="7045325" y="1919288"/>
              <a:ext cx="285750" cy="284162"/>
            </a:xfrm>
            <a:custGeom>
              <a:avLst/>
              <a:gdLst>
                <a:gd name="T0" fmla="*/ 718 w 897"/>
                <a:gd name="T1" fmla="*/ 742 h 897"/>
                <a:gd name="T2" fmla="*/ 658 w 897"/>
                <a:gd name="T3" fmla="*/ 659 h 897"/>
                <a:gd name="T4" fmla="*/ 750 w 897"/>
                <a:gd name="T5" fmla="*/ 573 h 897"/>
                <a:gd name="T6" fmla="*/ 136 w 897"/>
                <a:gd name="T7" fmla="*/ 325 h 897"/>
                <a:gd name="T8" fmla="*/ 154 w 897"/>
                <a:gd name="T9" fmla="*/ 246 h 897"/>
                <a:gd name="T10" fmla="*/ 190 w 897"/>
                <a:gd name="T11" fmla="*/ 174 h 897"/>
                <a:gd name="T12" fmla="*/ 242 w 897"/>
                <a:gd name="T13" fmla="*/ 115 h 897"/>
                <a:gd name="T14" fmla="*/ 307 w 897"/>
                <a:gd name="T15" fmla="*/ 69 h 897"/>
                <a:gd name="T16" fmla="*/ 381 w 897"/>
                <a:gd name="T17" fmla="*/ 39 h 897"/>
                <a:gd name="T18" fmla="*/ 463 w 897"/>
                <a:gd name="T19" fmla="*/ 30 h 897"/>
                <a:gd name="T20" fmla="*/ 545 w 897"/>
                <a:gd name="T21" fmla="*/ 39 h 897"/>
                <a:gd name="T22" fmla="*/ 620 w 897"/>
                <a:gd name="T23" fmla="*/ 69 h 897"/>
                <a:gd name="T24" fmla="*/ 684 w 897"/>
                <a:gd name="T25" fmla="*/ 115 h 897"/>
                <a:gd name="T26" fmla="*/ 735 w 897"/>
                <a:gd name="T27" fmla="*/ 174 h 897"/>
                <a:gd name="T28" fmla="*/ 772 w 897"/>
                <a:gd name="T29" fmla="*/ 246 h 897"/>
                <a:gd name="T30" fmla="*/ 790 w 897"/>
                <a:gd name="T31" fmla="*/ 325 h 897"/>
                <a:gd name="T32" fmla="*/ 788 w 897"/>
                <a:gd name="T33" fmla="*/ 408 h 897"/>
                <a:gd name="T34" fmla="*/ 766 w 897"/>
                <a:gd name="T35" fmla="*/ 486 h 897"/>
                <a:gd name="T36" fmla="*/ 727 w 897"/>
                <a:gd name="T37" fmla="*/ 555 h 897"/>
                <a:gd name="T38" fmla="*/ 672 w 897"/>
                <a:gd name="T39" fmla="*/ 612 h 897"/>
                <a:gd name="T40" fmla="*/ 606 w 897"/>
                <a:gd name="T41" fmla="*/ 654 h 897"/>
                <a:gd name="T42" fmla="*/ 529 w 897"/>
                <a:gd name="T43" fmla="*/ 681 h 897"/>
                <a:gd name="T44" fmla="*/ 447 w 897"/>
                <a:gd name="T45" fmla="*/ 686 h 897"/>
                <a:gd name="T46" fmla="*/ 365 w 897"/>
                <a:gd name="T47" fmla="*/ 672 h 897"/>
                <a:gd name="T48" fmla="*/ 293 w 897"/>
                <a:gd name="T49" fmla="*/ 639 h 897"/>
                <a:gd name="T50" fmla="*/ 231 w 897"/>
                <a:gd name="T51" fmla="*/ 591 h 897"/>
                <a:gd name="T52" fmla="*/ 182 w 897"/>
                <a:gd name="T53" fmla="*/ 529 h 897"/>
                <a:gd name="T54" fmla="*/ 149 w 897"/>
                <a:gd name="T55" fmla="*/ 456 h 897"/>
                <a:gd name="T56" fmla="*/ 134 w 897"/>
                <a:gd name="T57" fmla="*/ 375 h 897"/>
                <a:gd name="T58" fmla="*/ 176 w 897"/>
                <a:gd name="T59" fmla="*/ 738 h 897"/>
                <a:gd name="T60" fmla="*/ 163 w 897"/>
                <a:gd name="T61" fmla="*/ 555 h 897"/>
                <a:gd name="T62" fmla="*/ 254 w 897"/>
                <a:gd name="T63" fmla="*/ 650 h 897"/>
                <a:gd name="T64" fmla="*/ 895 w 897"/>
                <a:gd name="T65" fmla="*/ 754 h 897"/>
                <a:gd name="T66" fmla="*/ 808 w 897"/>
                <a:gd name="T67" fmla="*/ 457 h 897"/>
                <a:gd name="T68" fmla="*/ 821 w 897"/>
                <a:gd name="T69" fmla="*/ 340 h 897"/>
                <a:gd name="T70" fmla="*/ 806 w 897"/>
                <a:gd name="T71" fmla="*/ 252 h 897"/>
                <a:gd name="T72" fmla="*/ 770 w 897"/>
                <a:gd name="T73" fmla="*/ 172 h 897"/>
                <a:gd name="T74" fmla="*/ 716 w 897"/>
                <a:gd name="T75" fmla="*/ 104 h 897"/>
                <a:gd name="T76" fmla="*/ 649 w 897"/>
                <a:gd name="T77" fmla="*/ 51 h 897"/>
                <a:gd name="T78" fmla="*/ 570 w 897"/>
                <a:gd name="T79" fmla="*/ 16 h 897"/>
                <a:gd name="T80" fmla="*/ 482 w 897"/>
                <a:gd name="T81" fmla="*/ 0 h 897"/>
                <a:gd name="T82" fmla="*/ 391 w 897"/>
                <a:gd name="T83" fmla="*/ 7 h 897"/>
                <a:gd name="T84" fmla="*/ 308 w 897"/>
                <a:gd name="T85" fmla="*/ 35 h 897"/>
                <a:gd name="T86" fmla="*/ 235 w 897"/>
                <a:gd name="T87" fmla="*/ 81 h 897"/>
                <a:gd name="T88" fmla="*/ 176 w 897"/>
                <a:gd name="T89" fmla="*/ 144 h 897"/>
                <a:gd name="T90" fmla="*/ 132 w 897"/>
                <a:gd name="T91" fmla="*/ 219 h 897"/>
                <a:gd name="T92" fmla="*/ 109 w 897"/>
                <a:gd name="T93" fmla="*/ 303 h 897"/>
                <a:gd name="T94" fmla="*/ 107 w 897"/>
                <a:gd name="T95" fmla="*/ 403 h 897"/>
                <a:gd name="T96" fmla="*/ 137 w 897"/>
                <a:gd name="T97" fmla="*/ 505 h 897"/>
                <a:gd name="T98" fmla="*/ 1 w 897"/>
                <a:gd name="T99" fmla="*/ 781 h 897"/>
                <a:gd name="T100" fmla="*/ 18 w 897"/>
                <a:gd name="T101" fmla="*/ 791 h 897"/>
                <a:gd name="T102" fmla="*/ 203 w 897"/>
                <a:gd name="T103" fmla="*/ 895 h 897"/>
                <a:gd name="T104" fmla="*/ 216 w 897"/>
                <a:gd name="T105" fmla="*/ 895 h 897"/>
                <a:gd name="T106" fmla="*/ 407 w 897"/>
                <a:gd name="T107" fmla="*/ 713 h 897"/>
                <a:gd name="T108" fmla="*/ 488 w 897"/>
                <a:gd name="T109" fmla="*/ 716 h 897"/>
                <a:gd name="T110" fmla="*/ 676 w 897"/>
                <a:gd name="T111" fmla="*/ 893 h 897"/>
                <a:gd name="T112" fmla="*/ 688 w 897"/>
                <a:gd name="T113" fmla="*/ 896 h 897"/>
                <a:gd name="T114" fmla="*/ 743 w 897"/>
                <a:gd name="T115" fmla="*/ 763 h 897"/>
                <a:gd name="T116" fmla="*/ 895 w 897"/>
                <a:gd name="T117" fmla="*/ 770 h 897"/>
                <a:gd name="T118" fmla="*/ 895 w 897"/>
                <a:gd name="T119" fmla="*/ 754 h 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897" h="897">
                  <a:moveTo>
                    <a:pt x="733" y="732"/>
                  </a:moveTo>
                  <a:lnTo>
                    <a:pt x="729" y="732"/>
                  </a:lnTo>
                  <a:lnTo>
                    <a:pt x="724" y="734"/>
                  </a:lnTo>
                  <a:lnTo>
                    <a:pt x="720" y="738"/>
                  </a:lnTo>
                  <a:lnTo>
                    <a:pt x="718" y="742"/>
                  </a:lnTo>
                  <a:lnTo>
                    <a:pt x="682" y="847"/>
                  </a:lnTo>
                  <a:lnTo>
                    <a:pt x="590" y="694"/>
                  </a:lnTo>
                  <a:lnTo>
                    <a:pt x="614" y="684"/>
                  </a:lnTo>
                  <a:lnTo>
                    <a:pt x="636" y="672"/>
                  </a:lnTo>
                  <a:lnTo>
                    <a:pt x="658" y="659"/>
                  </a:lnTo>
                  <a:lnTo>
                    <a:pt x="679" y="645"/>
                  </a:lnTo>
                  <a:lnTo>
                    <a:pt x="699" y="628"/>
                  </a:lnTo>
                  <a:lnTo>
                    <a:pt x="717" y="611"/>
                  </a:lnTo>
                  <a:lnTo>
                    <a:pt x="734" y="592"/>
                  </a:lnTo>
                  <a:lnTo>
                    <a:pt x="750" y="573"/>
                  </a:lnTo>
                  <a:lnTo>
                    <a:pt x="853" y="744"/>
                  </a:lnTo>
                  <a:lnTo>
                    <a:pt x="733" y="732"/>
                  </a:lnTo>
                  <a:close/>
                  <a:moveTo>
                    <a:pt x="134" y="358"/>
                  </a:moveTo>
                  <a:lnTo>
                    <a:pt x="134" y="341"/>
                  </a:lnTo>
                  <a:lnTo>
                    <a:pt x="136" y="325"/>
                  </a:lnTo>
                  <a:lnTo>
                    <a:pt x="138" y="308"/>
                  </a:lnTo>
                  <a:lnTo>
                    <a:pt x="141" y="292"/>
                  </a:lnTo>
                  <a:lnTo>
                    <a:pt x="144" y="276"/>
                  </a:lnTo>
                  <a:lnTo>
                    <a:pt x="149" y="261"/>
                  </a:lnTo>
                  <a:lnTo>
                    <a:pt x="154" y="246"/>
                  </a:lnTo>
                  <a:lnTo>
                    <a:pt x="160" y="231"/>
                  </a:lnTo>
                  <a:lnTo>
                    <a:pt x="167" y="216"/>
                  </a:lnTo>
                  <a:lnTo>
                    <a:pt x="174" y="202"/>
                  </a:lnTo>
                  <a:lnTo>
                    <a:pt x="182" y="188"/>
                  </a:lnTo>
                  <a:lnTo>
                    <a:pt x="190" y="174"/>
                  </a:lnTo>
                  <a:lnTo>
                    <a:pt x="200" y="161"/>
                  </a:lnTo>
                  <a:lnTo>
                    <a:pt x="209" y="149"/>
                  </a:lnTo>
                  <a:lnTo>
                    <a:pt x="220" y="138"/>
                  </a:lnTo>
                  <a:lnTo>
                    <a:pt x="231" y="126"/>
                  </a:lnTo>
                  <a:lnTo>
                    <a:pt x="242" y="115"/>
                  </a:lnTo>
                  <a:lnTo>
                    <a:pt x="254" y="104"/>
                  </a:lnTo>
                  <a:lnTo>
                    <a:pt x="266" y="95"/>
                  </a:lnTo>
                  <a:lnTo>
                    <a:pt x="280" y="85"/>
                  </a:lnTo>
                  <a:lnTo>
                    <a:pt x="293" y="77"/>
                  </a:lnTo>
                  <a:lnTo>
                    <a:pt x="307" y="69"/>
                  </a:lnTo>
                  <a:lnTo>
                    <a:pt x="321" y="62"/>
                  </a:lnTo>
                  <a:lnTo>
                    <a:pt x="335" y="55"/>
                  </a:lnTo>
                  <a:lnTo>
                    <a:pt x="350" y="49"/>
                  </a:lnTo>
                  <a:lnTo>
                    <a:pt x="365" y="45"/>
                  </a:lnTo>
                  <a:lnTo>
                    <a:pt x="381" y="39"/>
                  </a:lnTo>
                  <a:lnTo>
                    <a:pt x="396" y="36"/>
                  </a:lnTo>
                  <a:lnTo>
                    <a:pt x="414" y="33"/>
                  </a:lnTo>
                  <a:lnTo>
                    <a:pt x="430" y="31"/>
                  </a:lnTo>
                  <a:lnTo>
                    <a:pt x="447" y="30"/>
                  </a:lnTo>
                  <a:lnTo>
                    <a:pt x="463" y="30"/>
                  </a:lnTo>
                  <a:lnTo>
                    <a:pt x="480" y="30"/>
                  </a:lnTo>
                  <a:lnTo>
                    <a:pt x="497" y="31"/>
                  </a:lnTo>
                  <a:lnTo>
                    <a:pt x="513" y="33"/>
                  </a:lnTo>
                  <a:lnTo>
                    <a:pt x="529" y="36"/>
                  </a:lnTo>
                  <a:lnTo>
                    <a:pt x="545" y="39"/>
                  </a:lnTo>
                  <a:lnTo>
                    <a:pt x="561" y="45"/>
                  </a:lnTo>
                  <a:lnTo>
                    <a:pt x="576" y="49"/>
                  </a:lnTo>
                  <a:lnTo>
                    <a:pt x="591" y="55"/>
                  </a:lnTo>
                  <a:lnTo>
                    <a:pt x="606" y="62"/>
                  </a:lnTo>
                  <a:lnTo>
                    <a:pt x="620" y="69"/>
                  </a:lnTo>
                  <a:lnTo>
                    <a:pt x="634" y="77"/>
                  </a:lnTo>
                  <a:lnTo>
                    <a:pt x="647" y="85"/>
                  </a:lnTo>
                  <a:lnTo>
                    <a:pt x="660" y="95"/>
                  </a:lnTo>
                  <a:lnTo>
                    <a:pt x="672" y="104"/>
                  </a:lnTo>
                  <a:lnTo>
                    <a:pt x="684" y="115"/>
                  </a:lnTo>
                  <a:lnTo>
                    <a:pt x="696" y="126"/>
                  </a:lnTo>
                  <a:lnTo>
                    <a:pt x="707" y="138"/>
                  </a:lnTo>
                  <a:lnTo>
                    <a:pt x="717" y="149"/>
                  </a:lnTo>
                  <a:lnTo>
                    <a:pt x="727" y="161"/>
                  </a:lnTo>
                  <a:lnTo>
                    <a:pt x="735" y="174"/>
                  </a:lnTo>
                  <a:lnTo>
                    <a:pt x="744" y="188"/>
                  </a:lnTo>
                  <a:lnTo>
                    <a:pt x="753" y="202"/>
                  </a:lnTo>
                  <a:lnTo>
                    <a:pt x="760" y="216"/>
                  </a:lnTo>
                  <a:lnTo>
                    <a:pt x="766" y="231"/>
                  </a:lnTo>
                  <a:lnTo>
                    <a:pt x="772" y="246"/>
                  </a:lnTo>
                  <a:lnTo>
                    <a:pt x="777" y="261"/>
                  </a:lnTo>
                  <a:lnTo>
                    <a:pt x="781" y="277"/>
                  </a:lnTo>
                  <a:lnTo>
                    <a:pt x="786" y="292"/>
                  </a:lnTo>
                  <a:lnTo>
                    <a:pt x="788" y="309"/>
                  </a:lnTo>
                  <a:lnTo>
                    <a:pt x="790" y="325"/>
                  </a:lnTo>
                  <a:lnTo>
                    <a:pt x="792" y="341"/>
                  </a:lnTo>
                  <a:lnTo>
                    <a:pt x="792" y="358"/>
                  </a:lnTo>
                  <a:lnTo>
                    <a:pt x="792" y="375"/>
                  </a:lnTo>
                  <a:lnTo>
                    <a:pt x="790" y="392"/>
                  </a:lnTo>
                  <a:lnTo>
                    <a:pt x="788" y="408"/>
                  </a:lnTo>
                  <a:lnTo>
                    <a:pt x="786" y="424"/>
                  </a:lnTo>
                  <a:lnTo>
                    <a:pt x="781" y="440"/>
                  </a:lnTo>
                  <a:lnTo>
                    <a:pt x="777" y="456"/>
                  </a:lnTo>
                  <a:lnTo>
                    <a:pt x="772" y="471"/>
                  </a:lnTo>
                  <a:lnTo>
                    <a:pt x="766" y="486"/>
                  </a:lnTo>
                  <a:lnTo>
                    <a:pt x="760" y="500"/>
                  </a:lnTo>
                  <a:lnTo>
                    <a:pt x="753" y="515"/>
                  </a:lnTo>
                  <a:lnTo>
                    <a:pt x="744" y="529"/>
                  </a:lnTo>
                  <a:lnTo>
                    <a:pt x="735" y="542"/>
                  </a:lnTo>
                  <a:lnTo>
                    <a:pt x="727" y="555"/>
                  </a:lnTo>
                  <a:lnTo>
                    <a:pt x="717" y="567"/>
                  </a:lnTo>
                  <a:lnTo>
                    <a:pt x="707" y="579"/>
                  </a:lnTo>
                  <a:lnTo>
                    <a:pt x="696" y="591"/>
                  </a:lnTo>
                  <a:lnTo>
                    <a:pt x="684" y="602"/>
                  </a:lnTo>
                  <a:lnTo>
                    <a:pt x="672" y="612"/>
                  </a:lnTo>
                  <a:lnTo>
                    <a:pt x="660" y="622"/>
                  </a:lnTo>
                  <a:lnTo>
                    <a:pt x="647" y="631"/>
                  </a:lnTo>
                  <a:lnTo>
                    <a:pt x="634" y="639"/>
                  </a:lnTo>
                  <a:lnTo>
                    <a:pt x="620" y="648"/>
                  </a:lnTo>
                  <a:lnTo>
                    <a:pt x="606" y="654"/>
                  </a:lnTo>
                  <a:lnTo>
                    <a:pt x="591" y="662"/>
                  </a:lnTo>
                  <a:lnTo>
                    <a:pt x="576" y="667"/>
                  </a:lnTo>
                  <a:lnTo>
                    <a:pt x="561" y="672"/>
                  </a:lnTo>
                  <a:lnTo>
                    <a:pt x="545" y="677"/>
                  </a:lnTo>
                  <a:lnTo>
                    <a:pt x="529" y="681"/>
                  </a:lnTo>
                  <a:lnTo>
                    <a:pt x="513" y="683"/>
                  </a:lnTo>
                  <a:lnTo>
                    <a:pt x="497" y="685"/>
                  </a:lnTo>
                  <a:lnTo>
                    <a:pt x="480" y="686"/>
                  </a:lnTo>
                  <a:lnTo>
                    <a:pt x="463" y="687"/>
                  </a:lnTo>
                  <a:lnTo>
                    <a:pt x="447" y="686"/>
                  </a:lnTo>
                  <a:lnTo>
                    <a:pt x="430" y="685"/>
                  </a:lnTo>
                  <a:lnTo>
                    <a:pt x="414" y="683"/>
                  </a:lnTo>
                  <a:lnTo>
                    <a:pt x="396" y="681"/>
                  </a:lnTo>
                  <a:lnTo>
                    <a:pt x="381" y="677"/>
                  </a:lnTo>
                  <a:lnTo>
                    <a:pt x="365" y="672"/>
                  </a:lnTo>
                  <a:lnTo>
                    <a:pt x="350" y="667"/>
                  </a:lnTo>
                  <a:lnTo>
                    <a:pt x="335" y="662"/>
                  </a:lnTo>
                  <a:lnTo>
                    <a:pt x="321" y="654"/>
                  </a:lnTo>
                  <a:lnTo>
                    <a:pt x="307" y="648"/>
                  </a:lnTo>
                  <a:lnTo>
                    <a:pt x="293" y="639"/>
                  </a:lnTo>
                  <a:lnTo>
                    <a:pt x="280" y="631"/>
                  </a:lnTo>
                  <a:lnTo>
                    <a:pt x="266" y="622"/>
                  </a:lnTo>
                  <a:lnTo>
                    <a:pt x="254" y="612"/>
                  </a:lnTo>
                  <a:lnTo>
                    <a:pt x="242" y="602"/>
                  </a:lnTo>
                  <a:lnTo>
                    <a:pt x="231" y="591"/>
                  </a:lnTo>
                  <a:lnTo>
                    <a:pt x="220" y="579"/>
                  </a:lnTo>
                  <a:lnTo>
                    <a:pt x="209" y="567"/>
                  </a:lnTo>
                  <a:lnTo>
                    <a:pt x="200" y="555"/>
                  </a:lnTo>
                  <a:lnTo>
                    <a:pt x="190" y="542"/>
                  </a:lnTo>
                  <a:lnTo>
                    <a:pt x="182" y="529"/>
                  </a:lnTo>
                  <a:lnTo>
                    <a:pt x="174" y="515"/>
                  </a:lnTo>
                  <a:lnTo>
                    <a:pt x="167" y="501"/>
                  </a:lnTo>
                  <a:lnTo>
                    <a:pt x="160" y="486"/>
                  </a:lnTo>
                  <a:lnTo>
                    <a:pt x="154" y="471"/>
                  </a:lnTo>
                  <a:lnTo>
                    <a:pt x="149" y="456"/>
                  </a:lnTo>
                  <a:lnTo>
                    <a:pt x="144" y="440"/>
                  </a:lnTo>
                  <a:lnTo>
                    <a:pt x="141" y="424"/>
                  </a:lnTo>
                  <a:lnTo>
                    <a:pt x="138" y="408"/>
                  </a:lnTo>
                  <a:lnTo>
                    <a:pt x="136" y="392"/>
                  </a:lnTo>
                  <a:lnTo>
                    <a:pt x="134" y="375"/>
                  </a:lnTo>
                  <a:lnTo>
                    <a:pt x="134" y="358"/>
                  </a:lnTo>
                  <a:lnTo>
                    <a:pt x="134" y="358"/>
                  </a:lnTo>
                  <a:close/>
                  <a:moveTo>
                    <a:pt x="214" y="849"/>
                  </a:moveTo>
                  <a:lnTo>
                    <a:pt x="178" y="742"/>
                  </a:lnTo>
                  <a:lnTo>
                    <a:pt x="176" y="738"/>
                  </a:lnTo>
                  <a:lnTo>
                    <a:pt x="172" y="734"/>
                  </a:lnTo>
                  <a:lnTo>
                    <a:pt x="167" y="732"/>
                  </a:lnTo>
                  <a:lnTo>
                    <a:pt x="161" y="732"/>
                  </a:lnTo>
                  <a:lnTo>
                    <a:pt x="45" y="756"/>
                  </a:lnTo>
                  <a:lnTo>
                    <a:pt x="163" y="555"/>
                  </a:lnTo>
                  <a:lnTo>
                    <a:pt x="178" y="576"/>
                  </a:lnTo>
                  <a:lnTo>
                    <a:pt x="195" y="596"/>
                  </a:lnTo>
                  <a:lnTo>
                    <a:pt x="214" y="616"/>
                  </a:lnTo>
                  <a:lnTo>
                    <a:pt x="233" y="634"/>
                  </a:lnTo>
                  <a:lnTo>
                    <a:pt x="254" y="650"/>
                  </a:lnTo>
                  <a:lnTo>
                    <a:pt x="277" y="665"/>
                  </a:lnTo>
                  <a:lnTo>
                    <a:pt x="300" y="678"/>
                  </a:lnTo>
                  <a:lnTo>
                    <a:pt x="324" y="689"/>
                  </a:lnTo>
                  <a:lnTo>
                    <a:pt x="214" y="849"/>
                  </a:lnTo>
                  <a:close/>
                  <a:moveTo>
                    <a:pt x="895" y="754"/>
                  </a:moveTo>
                  <a:lnTo>
                    <a:pt x="770" y="545"/>
                  </a:lnTo>
                  <a:lnTo>
                    <a:pt x="781" y="525"/>
                  </a:lnTo>
                  <a:lnTo>
                    <a:pt x="791" y="502"/>
                  </a:lnTo>
                  <a:lnTo>
                    <a:pt x="801" y="480"/>
                  </a:lnTo>
                  <a:lnTo>
                    <a:pt x="808" y="457"/>
                  </a:lnTo>
                  <a:lnTo>
                    <a:pt x="815" y="433"/>
                  </a:lnTo>
                  <a:lnTo>
                    <a:pt x="819" y="408"/>
                  </a:lnTo>
                  <a:lnTo>
                    <a:pt x="821" y="384"/>
                  </a:lnTo>
                  <a:lnTo>
                    <a:pt x="822" y="358"/>
                  </a:lnTo>
                  <a:lnTo>
                    <a:pt x="821" y="340"/>
                  </a:lnTo>
                  <a:lnTo>
                    <a:pt x="820" y="322"/>
                  </a:lnTo>
                  <a:lnTo>
                    <a:pt x="818" y="303"/>
                  </a:lnTo>
                  <a:lnTo>
                    <a:pt x="815" y="286"/>
                  </a:lnTo>
                  <a:lnTo>
                    <a:pt x="810" y="268"/>
                  </a:lnTo>
                  <a:lnTo>
                    <a:pt x="806" y="252"/>
                  </a:lnTo>
                  <a:lnTo>
                    <a:pt x="800" y="235"/>
                  </a:lnTo>
                  <a:lnTo>
                    <a:pt x="793" y="219"/>
                  </a:lnTo>
                  <a:lnTo>
                    <a:pt x="787" y="203"/>
                  </a:lnTo>
                  <a:lnTo>
                    <a:pt x="778" y="187"/>
                  </a:lnTo>
                  <a:lnTo>
                    <a:pt x="770" y="172"/>
                  </a:lnTo>
                  <a:lnTo>
                    <a:pt x="761" y="158"/>
                  </a:lnTo>
                  <a:lnTo>
                    <a:pt x="750" y="144"/>
                  </a:lnTo>
                  <a:lnTo>
                    <a:pt x="740" y="130"/>
                  </a:lnTo>
                  <a:lnTo>
                    <a:pt x="729" y="117"/>
                  </a:lnTo>
                  <a:lnTo>
                    <a:pt x="716" y="104"/>
                  </a:lnTo>
                  <a:lnTo>
                    <a:pt x="704" y="93"/>
                  </a:lnTo>
                  <a:lnTo>
                    <a:pt x="692" y="81"/>
                  </a:lnTo>
                  <a:lnTo>
                    <a:pt x="678" y="70"/>
                  </a:lnTo>
                  <a:lnTo>
                    <a:pt x="664" y="61"/>
                  </a:lnTo>
                  <a:lnTo>
                    <a:pt x="649" y="51"/>
                  </a:lnTo>
                  <a:lnTo>
                    <a:pt x="634" y="42"/>
                  </a:lnTo>
                  <a:lnTo>
                    <a:pt x="619" y="35"/>
                  </a:lnTo>
                  <a:lnTo>
                    <a:pt x="603" y="27"/>
                  </a:lnTo>
                  <a:lnTo>
                    <a:pt x="587" y="21"/>
                  </a:lnTo>
                  <a:lnTo>
                    <a:pt x="570" y="16"/>
                  </a:lnTo>
                  <a:lnTo>
                    <a:pt x="553" y="10"/>
                  </a:lnTo>
                  <a:lnTo>
                    <a:pt x="535" y="7"/>
                  </a:lnTo>
                  <a:lnTo>
                    <a:pt x="517" y="4"/>
                  </a:lnTo>
                  <a:lnTo>
                    <a:pt x="500" y="1"/>
                  </a:lnTo>
                  <a:lnTo>
                    <a:pt x="482" y="0"/>
                  </a:lnTo>
                  <a:lnTo>
                    <a:pt x="463" y="0"/>
                  </a:lnTo>
                  <a:lnTo>
                    <a:pt x="445" y="0"/>
                  </a:lnTo>
                  <a:lnTo>
                    <a:pt x="426" y="1"/>
                  </a:lnTo>
                  <a:lnTo>
                    <a:pt x="408" y="4"/>
                  </a:lnTo>
                  <a:lnTo>
                    <a:pt x="391" y="7"/>
                  </a:lnTo>
                  <a:lnTo>
                    <a:pt x="374" y="10"/>
                  </a:lnTo>
                  <a:lnTo>
                    <a:pt x="357" y="16"/>
                  </a:lnTo>
                  <a:lnTo>
                    <a:pt x="340" y="21"/>
                  </a:lnTo>
                  <a:lnTo>
                    <a:pt x="324" y="27"/>
                  </a:lnTo>
                  <a:lnTo>
                    <a:pt x="308" y="35"/>
                  </a:lnTo>
                  <a:lnTo>
                    <a:pt x="293" y="42"/>
                  </a:lnTo>
                  <a:lnTo>
                    <a:pt x="278" y="51"/>
                  </a:lnTo>
                  <a:lnTo>
                    <a:pt x="263" y="61"/>
                  </a:lnTo>
                  <a:lnTo>
                    <a:pt x="249" y="70"/>
                  </a:lnTo>
                  <a:lnTo>
                    <a:pt x="235" y="81"/>
                  </a:lnTo>
                  <a:lnTo>
                    <a:pt x="222" y="93"/>
                  </a:lnTo>
                  <a:lnTo>
                    <a:pt x="209" y="104"/>
                  </a:lnTo>
                  <a:lnTo>
                    <a:pt x="198" y="117"/>
                  </a:lnTo>
                  <a:lnTo>
                    <a:pt x="187" y="130"/>
                  </a:lnTo>
                  <a:lnTo>
                    <a:pt x="176" y="144"/>
                  </a:lnTo>
                  <a:lnTo>
                    <a:pt x="165" y="158"/>
                  </a:lnTo>
                  <a:lnTo>
                    <a:pt x="156" y="172"/>
                  </a:lnTo>
                  <a:lnTo>
                    <a:pt x="147" y="187"/>
                  </a:lnTo>
                  <a:lnTo>
                    <a:pt x="140" y="203"/>
                  </a:lnTo>
                  <a:lnTo>
                    <a:pt x="132" y="219"/>
                  </a:lnTo>
                  <a:lnTo>
                    <a:pt x="126" y="235"/>
                  </a:lnTo>
                  <a:lnTo>
                    <a:pt x="121" y="252"/>
                  </a:lnTo>
                  <a:lnTo>
                    <a:pt x="115" y="268"/>
                  </a:lnTo>
                  <a:lnTo>
                    <a:pt x="112" y="286"/>
                  </a:lnTo>
                  <a:lnTo>
                    <a:pt x="109" y="303"/>
                  </a:lnTo>
                  <a:lnTo>
                    <a:pt x="107" y="322"/>
                  </a:lnTo>
                  <a:lnTo>
                    <a:pt x="105" y="340"/>
                  </a:lnTo>
                  <a:lnTo>
                    <a:pt x="105" y="358"/>
                  </a:lnTo>
                  <a:lnTo>
                    <a:pt x="105" y="380"/>
                  </a:lnTo>
                  <a:lnTo>
                    <a:pt x="107" y="403"/>
                  </a:lnTo>
                  <a:lnTo>
                    <a:pt x="111" y="424"/>
                  </a:lnTo>
                  <a:lnTo>
                    <a:pt x="115" y="446"/>
                  </a:lnTo>
                  <a:lnTo>
                    <a:pt x="121" y="466"/>
                  </a:lnTo>
                  <a:lnTo>
                    <a:pt x="128" y="486"/>
                  </a:lnTo>
                  <a:lnTo>
                    <a:pt x="137" y="505"/>
                  </a:lnTo>
                  <a:lnTo>
                    <a:pt x="145" y="525"/>
                  </a:lnTo>
                  <a:lnTo>
                    <a:pt x="2" y="770"/>
                  </a:lnTo>
                  <a:lnTo>
                    <a:pt x="0" y="773"/>
                  </a:lnTo>
                  <a:lnTo>
                    <a:pt x="0" y="777"/>
                  </a:lnTo>
                  <a:lnTo>
                    <a:pt x="1" y="781"/>
                  </a:lnTo>
                  <a:lnTo>
                    <a:pt x="3" y="786"/>
                  </a:lnTo>
                  <a:lnTo>
                    <a:pt x="5" y="789"/>
                  </a:lnTo>
                  <a:lnTo>
                    <a:pt x="9" y="791"/>
                  </a:lnTo>
                  <a:lnTo>
                    <a:pt x="14" y="792"/>
                  </a:lnTo>
                  <a:lnTo>
                    <a:pt x="18" y="791"/>
                  </a:lnTo>
                  <a:lnTo>
                    <a:pt x="154" y="764"/>
                  </a:lnTo>
                  <a:lnTo>
                    <a:pt x="194" y="886"/>
                  </a:lnTo>
                  <a:lnTo>
                    <a:pt x="196" y="889"/>
                  </a:lnTo>
                  <a:lnTo>
                    <a:pt x="200" y="893"/>
                  </a:lnTo>
                  <a:lnTo>
                    <a:pt x="203" y="895"/>
                  </a:lnTo>
                  <a:lnTo>
                    <a:pt x="207" y="896"/>
                  </a:lnTo>
                  <a:lnTo>
                    <a:pt x="208" y="896"/>
                  </a:lnTo>
                  <a:lnTo>
                    <a:pt x="209" y="897"/>
                  </a:lnTo>
                  <a:lnTo>
                    <a:pt x="213" y="896"/>
                  </a:lnTo>
                  <a:lnTo>
                    <a:pt x="216" y="895"/>
                  </a:lnTo>
                  <a:lnTo>
                    <a:pt x="219" y="893"/>
                  </a:lnTo>
                  <a:lnTo>
                    <a:pt x="221" y="890"/>
                  </a:lnTo>
                  <a:lnTo>
                    <a:pt x="353" y="700"/>
                  </a:lnTo>
                  <a:lnTo>
                    <a:pt x="379" y="708"/>
                  </a:lnTo>
                  <a:lnTo>
                    <a:pt x="407" y="713"/>
                  </a:lnTo>
                  <a:lnTo>
                    <a:pt x="421" y="714"/>
                  </a:lnTo>
                  <a:lnTo>
                    <a:pt x="435" y="716"/>
                  </a:lnTo>
                  <a:lnTo>
                    <a:pt x="449" y="717"/>
                  </a:lnTo>
                  <a:lnTo>
                    <a:pt x="463" y="717"/>
                  </a:lnTo>
                  <a:lnTo>
                    <a:pt x="488" y="716"/>
                  </a:lnTo>
                  <a:lnTo>
                    <a:pt x="513" y="714"/>
                  </a:lnTo>
                  <a:lnTo>
                    <a:pt x="537" y="710"/>
                  </a:lnTo>
                  <a:lnTo>
                    <a:pt x="560" y="703"/>
                  </a:lnTo>
                  <a:lnTo>
                    <a:pt x="673" y="889"/>
                  </a:lnTo>
                  <a:lnTo>
                    <a:pt x="676" y="893"/>
                  </a:lnTo>
                  <a:lnTo>
                    <a:pt x="679" y="895"/>
                  </a:lnTo>
                  <a:lnTo>
                    <a:pt x="682" y="896"/>
                  </a:lnTo>
                  <a:lnTo>
                    <a:pt x="686" y="897"/>
                  </a:lnTo>
                  <a:lnTo>
                    <a:pt x="687" y="897"/>
                  </a:lnTo>
                  <a:lnTo>
                    <a:pt x="688" y="896"/>
                  </a:lnTo>
                  <a:lnTo>
                    <a:pt x="692" y="895"/>
                  </a:lnTo>
                  <a:lnTo>
                    <a:pt x="696" y="894"/>
                  </a:lnTo>
                  <a:lnTo>
                    <a:pt x="698" y="890"/>
                  </a:lnTo>
                  <a:lnTo>
                    <a:pt x="700" y="886"/>
                  </a:lnTo>
                  <a:lnTo>
                    <a:pt x="743" y="763"/>
                  </a:lnTo>
                  <a:lnTo>
                    <a:pt x="880" y="777"/>
                  </a:lnTo>
                  <a:lnTo>
                    <a:pt x="884" y="776"/>
                  </a:lnTo>
                  <a:lnTo>
                    <a:pt x="888" y="775"/>
                  </a:lnTo>
                  <a:lnTo>
                    <a:pt x="892" y="773"/>
                  </a:lnTo>
                  <a:lnTo>
                    <a:pt x="895" y="770"/>
                  </a:lnTo>
                  <a:lnTo>
                    <a:pt x="896" y="766"/>
                  </a:lnTo>
                  <a:lnTo>
                    <a:pt x="897" y="762"/>
                  </a:lnTo>
                  <a:lnTo>
                    <a:pt x="896" y="758"/>
                  </a:lnTo>
                  <a:lnTo>
                    <a:pt x="895" y="755"/>
                  </a:lnTo>
                  <a:lnTo>
                    <a:pt x="895" y="75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1" name="Freeform 309"/>
            <p:cNvSpPr>
              <a:spLocks noEditPoints="1"/>
            </p:cNvSpPr>
            <p:nvPr/>
          </p:nvSpPr>
          <p:spPr bwMode="auto">
            <a:xfrm>
              <a:off x="7135813" y="1976438"/>
              <a:ext cx="114300" cy="114300"/>
            </a:xfrm>
            <a:custGeom>
              <a:avLst/>
              <a:gdLst>
                <a:gd name="T0" fmla="*/ 242 w 358"/>
                <a:gd name="T1" fmla="*/ 201 h 359"/>
                <a:gd name="T2" fmla="*/ 239 w 358"/>
                <a:gd name="T3" fmla="*/ 209 h 359"/>
                <a:gd name="T4" fmla="*/ 272 w 358"/>
                <a:gd name="T5" fmla="*/ 308 h 359"/>
                <a:gd name="T6" fmla="*/ 183 w 358"/>
                <a:gd name="T7" fmla="*/ 255 h 359"/>
                <a:gd name="T8" fmla="*/ 176 w 358"/>
                <a:gd name="T9" fmla="*/ 255 h 359"/>
                <a:gd name="T10" fmla="*/ 87 w 358"/>
                <a:gd name="T11" fmla="*/ 308 h 359"/>
                <a:gd name="T12" fmla="*/ 119 w 358"/>
                <a:gd name="T13" fmla="*/ 209 h 359"/>
                <a:gd name="T14" fmla="*/ 117 w 358"/>
                <a:gd name="T15" fmla="*/ 201 h 359"/>
                <a:gd name="T16" fmla="*/ 56 w 358"/>
                <a:gd name="T17" fmla="*/ 149 h 359"/>
                <a:gd name="T18" fmla="*/ 123 w 358"/>
                <a:gd name="T19" fmla="*/ 149 h 359"/>
                <a:gd name="T20" fmla="*/ 131 w 358"/>
                <a:gd name="T21" fmla="*/ 145 h 359"/>
                <a:gd name="T22" fmla="*/ 179 w 358"/>
                <a:gd name="T23" fmla="*/ 48 h 359"/>
                <a:gd name="T24" fmla="*/ 228 w 358"/>
                <a:gd name="T25" fmla="*/ 145 h 359"/>
                <a:gd name="T26" fmla="*/ 234 w 358"/>
                <a:gd name="T27" fmla="*/ 149 h 359"/>
                <a:gd name="T28" fmla="*/ 303 w 358"/>
                <a:gd name="T29" fmla="*/ 149 h 359"/>
                <a:gd name="T30" fmla="*/ 343 w 358"/>
                <a:gd name="T31" fmla="*/ 119 h 359"/>
                <a:gd name="T32" fmla="*/ 193 w 358"/>
                <a:gd name="T33" fmla="*/ 8 h 359"/>
                <a:gd name="T34" fmla="*/ 187 w 358"/>
                <a:gd name="T35" fmla="*/ 2 h 359"/>
                <a:gd name="T36" fmla="*/ 179 w 358"/>
                <a:gd name="T37" fmla="*/ 0 h 359"/>
                <a:gd name="T38" fmla="*/ 171 w 358"/>
                <a:gd name="T39" fmla="*/ 2 h 359"/>
                <a:gd name="T40" fmla="*/ 166 w 358"/>
                <a:gd name="T41" fmla="*/ 8 h 359"/>
                <a:gd name="T42" fmla="*/ 15 w 358"/>
                <a:gd name="T43" fmla="*/ 119 h 359"/>
                <a:gd name="T44" fmla="*/ 7 w 358"/>
                <a:gd name="T45" fmla="*/ 122 h 359"/>
                <a:gd name="T46" fmla="*/ 0 w 358"/>
                <a:gd name="T47" fmla="*/ 130 h 359"/>
                <a:gd name="T48" fmla="*/ 0 w 358"/>
                <a:gd name="T49" fmla="*/ 138 h 359"/>
                <a:gd name="T50" fmla="*/ 6 w 358"/>
                <a:gd name="T51" fmla="*/ 146 h 359"/>
                <a:gd name="T52" fmla="*/ 45 w 358"/>
                <a:gd name="T53" fmla="*/ 339 h 359"/>
                <a:gd name="T54" fmla="*/ 45 w 358"/>
                <a:gd name="T55" fmla="*/ 348 h 359"/>
                <a:gd name="T56" fmla="*/ 50 w 358"/>
                <a:gd name="T57" fmla="*/ 355 h 359"/>
                <a:gd name="T58" fmla="*/ 59 w 358"/>
                <a:gd name="T59" fmla="*/ 359 h 359"/>
                <a:gd name="T60" fmla="*/ 68 w 358"/>
                <a:gd name="T61" fmla="*/ 356 h 359"/>
                <a:gd name="T62" fmla="*/ 291 w 358"/>
                <a:gd name="T63" fmla="*/ 356 h 359"/>
                <a:gd name="T64" fmla="*/ 299 w 358"/>
                <a:gd name="T65" fmla="*/ 359 h 359"/>
                <a:gd name="T66" fmla="*/ 308 w 358"/>
                <a:gd name="T67" fmla="*/ 355 h 359"/>
                <a:gd name="T68" fmla="*/ 313 w 358"/>
                <a:gd name="T69" fmla="*/ 348 h 359"/>
                <a:gd name="T70" fmla="*/ 312 w 358"/>
                <a:gd name="T71" fmla="*/ 339 h 359"/>
                <a:gd name="T72" fmla="*/ 353 w 358"/>
                <a:gd name="T73" fmla="*/ 146 h 359"/>
                <a:gd name="T74" fmla="*/ 358 w 358"/>
                <a:gd name="T75" fmla="*/ 138 h 359"/>
                <a:gd name="T76" fmla="*/ 357 w 358"/>
                <a:gd name="T77" fmla="*/ 130 h 359"/>
                <a:gd name="T78" fmla="*/ 352 w 358"/>
                <a:gd name="T79" fmla="*/ 122 h 359"/>
                <a:gd name="T80" fmla="*/ 343 w 358"/>
                <a:gd name="T81" fmla="*/ 119 h 3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58" h="359">
                  <a:moveTo>
                    <a:pt x="244" y="197"/>
                  </a:moveTo>
                  <a:lnTo>
                    <a:pt x="242" y="201"/>
                  </a:lnTo>
                  <a:lnTo>
                    <a:pt x="240" y="205"/>
                  </a:lnTo>
                  <a:lnTo>
                    <a:pt x="239" y="209"/>
                  </a:lnTo>
                  <a:lnTo>
                    <a:pt x="240" y="214"/>
                  </a:lnTo>
                  <a:lnTo>
                    <a:pt x="272" y="308"/>
                  </a:lnTo>
                  <a:lnTo>
                    <a:pt x="187" y="256"/>
                  </a:lnTo>
                  <a:lnTo>
                    <a:pt x="183" y="255"/>
                  </a:lnTo>
                  <a:lnTo>
                    <a:pt x="179" y="254"/>
                  </a:lnTo>
                  <a:lnTo>
                    <a:pt x="176" y="255"/>
                  </a:lnTo>
                  <a:lnTo>
                    <a:pt x="171" y="256"/>
                  </a:lnTo>
                  <a:lnTo>
                    <a:pt x="87" y="308"/>
                  </a:lnTo>
                  <a:lnTo>
                    <a:pt x="119" y="214"/>
                  </a:lnTo>
                  <a:lnTo>
                    <a:pt x="119" y="209"/>
                  </a:lnTo>
                  <a:lnTo>
                    <a:pt x="119" y="205"/>
                  </a:lnTo>
                  <a:lnTo>
                    <a:pt x="117" y="201"/>
                  </a:lnTo>
                  <a:lnTo>
                    <a:pt x="114" y="197"/>
                  </a:lnTo>
                  <a:lnTo>
                    <a:pt x="56" y="149"/>
                  </a:lnTo>
                  <a:lnTo>
                    <a:pt x="119" y="149"/>
                  </a:lnTo>
                  <a:lnTo>
                    <a:pt x="123" y="149"/>
                  </a:lnTo>
                  <a:lnTo>
                    <a:pt x="127" y="147"/>
                  </a:lnTo>
                  <a:lnTo>
                    <a:pt x="131" y="145"/>
                  </a:lnTo>
                  <a:lnTo>
                    <a:pt x="133" y="141"/>
                  </a:lnTo>
                  <a:lnTo>
                    <a:pt x="179" y="48"/>
                  </a:lnTo>
                  <a:lnTo>
                    <a:pt x="226" y="141"/>
                  </a:lnTo>
                  <a:lnTo>
                    <a:pt x="228" y="145"/>
                  </a:lnTo>
                  <a:lnTo>
                    <a:pt x="231" y="147"/>
                  </a:lnTo>
                  <a:lnTo>
                    <a:pt x="234" y="149"/>
                  </a:lnTo>
                  <a:lnTo>
                    <a:pt x="239" y="149"/>
                  </a:lnTo>
                  <a:lnTo>
                    <a:pt x="303" y="149"/>
                  </a:lnTo>
                  <a:lnTo>
                    <a:pt x="244" y="197"/>
                  </a:lnTo>
                  <a:close/>
                  <a:moveTo>
                    <a:pt x="343" y="119"/>
                  </a:moveTo>
                  <a:lnTo>
                    <a:pt x="248" y="119"/>
                  </a:lnTo>
                  <a:lnTo>
                    <a:pt x="193" y="8"/>
                  </a:lnTo>
                  <a:lnTo>
                    <a:pt x="191" y="5"/>
                  </a:lnTo>
                  <a:lnTo>
                    <a:pt x="187" y="2"/>
                  </a:lnTo>
                  <a:lnTo>
                    <a:pt x="183" y="0"/>
                  </a:lnTo>
                  <a:lnTo>
                    <a:pt x="179" y="0"/>
                  </a:lnTo>
                  <a:lnTo>
                    <a:pt x="176" y="0"/>
                  </a:lnTo>
                  <a:lnTo>
                    <a:pt x="171" y="2"/>
                  </a:lnTo>
                  <a:lnTo>
                    <a:pt x="168" y="5"/>
                  </a:lnTo>
                  <a:lnTo>
                    <a:pt x="166" y="8"/>
                  </a:lnTo>
                  <a:lnTo>
                    <a:pt x="110" y="119"/>
                  </a:lnTo>
                  <a:lnTo>
                    <a:pt x="15" y="119"/>
                  </a:lnTo>
                  <a:lnTo>
                    <a:pt x="10" y="120"/>
                  </a:lnTo>
                  <a:lnTo>
                    <a:pt x="7" y="122"/>
                  </a:lnTo>
                  <a:lnTo>
                    <a:pt x="3" y="125"/>
                  </a:lnTo>
                  <a:lnTo>
                    <a:pt x="0" y="130"/>
                  </a:lnTo>
                  <a:lnTo>
                    <a:pt x="0" y="134"/>
                  </a:lnTo>
                  <a:lnTo>
                    <a:pt x="0" y="138"/>
                  </a:lnTo>
                  <a:lnTo>
                    <a:pt x="2" y="143"/>
                  </a:lnTo>
                  <a:lnTo>
                    <a:pt x="6" y="146"/>
                  </a:lnTo>
                  <a:lnTo>
                    <a:pt x="87" y="214"/>
                  </a:lnTo>
                  <a:lnTo>
                    <a:pt x="45" y="339"/>
                  </a:lnTo>
                  <a:lnTo>
                    <a:pt x="45" y="344"/>
                  </a:lnTo>
                  <a:lnTo>
                    <a:pt x="45" y="348"/>
                  </a:lnTo>
                  <a:lnTo>
                    <a:pt x="47" y="352"/>
                  </a:lnTo>
                  <a:lnTo>
                    <a:pt x="50" y="355"/>
                  </a:lnTo>
                  <a:lnTo>
                    <a:pt x="55" y="357"/>
                  </a:lnTo>
                  <a:lnTo>
                    <a:pt x="59" y="359"/>
                  </a:lnTo>
                  <a:lnTo>
                    <a:pt x="63" y="359"/>
                  </a:lnTo>
                  <a:lnTo>
                    <a:pt x="68" y="356"/>
                  </a:lnTo>
                  <a:lnTo>
                    <a:pt x="179" y="287"/>
                  </a:lnTo>
                  <a:lnTo>
                    <a:pt x="291" y="356"/>
                  </a:lnTo>
                  <a:lnTo>
                    <a:pt x="294" y="359"/>
                  </a:lnTo>
                  <a:lnTo>
                    <a:pt x="299" y="359"/>
                  </a:lnTo>
                  <a:lnTo>
                    <a:pt x="304" y="357"/>
                  </a:lnTo>
                  <a:lnTo>
                    <a:pt x="308" y="355"/>
                  </a:lnTo>
                  <a:lnTo>
                    <a:pt x="311" y="352"/>
                  </a:lnTo>
                  <a:lnTo>
                    <a:pt x="313" y="348"/>
                  </a:lnTo>
                  <a:lnTo>
                    <a:pt x="313" y="344"/>
                  </a:lnTo>
                  <a:lnTo>
                    <a:pt x="312" y="339"/>
                  </a:lnTo>
                  <a:lnTo>
                    <a:pt x="272" y="214"/>
                  </a:lnTo>
                  <a:lnTo>
                    <a:pt x="353" y="146"/>
                  </a:lnTo>
                  <a:lnTo>
                    <a:pt x="356" y="143"/>
                  </a:lnTo>
                  <a:lnTo>
                    <a:pt x="358" y="138"/>
                  </a:lnTo>
                  <a:lnTo>
                    <a:pt x="358" y="134"/>
                  </a:lnTo>
                  <a:lnTo>
                    <a:pt x="357" y="130"/>
                  </a:lnTo>
                  <a:lnTo>
                    <a:pt x="355" y="125"/>
                  </a:lnTo>
                  <a:lnTo>
                    <a:pt x="352" y="122"/>
                  </a:lnTo>
                  <a:lnTo>
                    <a:pt x="348" y="120"/>
                  </a:lnTo>
                  <a:lnTo>
                    <a:pt x="343" y="1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02" name="Group 101"/>
          <p:cNvGrpSpPr/>
          <p:nvPr/>
        </p:nvGrpSpPr>
        <p:grpSpPr>
          <a:xfrm>
            <a:off x="7424147" y="2808997"/>
            <a:ext cx="286325" cy="440501"/>
            <a:chOff x="1525588" y="2489200"/>
            <a:chExt cx="185737" cy="285750"/>
          </a:xfrm>
          <a:solidFill>
            <a:schemeClr val="bg1"/>
          </a:solidFill>
        </p:grpSpPr>
        <p:sp>
          <p:nvSpPr>
            <p:cNvPr id="103" name="Freeform 196"/>
            <p:cNvSpPr>
              <a:spLocks noEditPoints="1"/>
            </p:cNvSpPr>
            <p:nvPr/>
          </p:nvSpPr>
          <p:spPr bwMode="auto">
            <a:xfrm>
              <a:off x="1549400" y="2489200"/>
              <a:ext cx="95250" cy="95250"/>
            </a:xfrm>
            <a:custGeom>
              <a:avLst/>
              <a:gdLst>
                <a:gd name="T0" fmla="*/ 175 w 301"/>
                <a:gd name="T1" fmla="*/ 33 h 301"/>
                <a:gd name="T2" fmla="*/ 208 w 301"/>
                <a:gd name="T3" fmla="*/ 45 h 301"/>
                <a:gd name="T4" fmla="*/ 236 w 301"/>
                <a:gd name="T5" fmla="*/ 65 h 301"/>
                <a:gd name="T6" fmla="*/ 256 w 301"/>
                <a:gd name="T7" fmla="*/ 93 h 301"/>
                <a:gd name="T8" fmla="*/ 268 w 301"/>
                <a:gd name="T9" fmla="*/ 126 h 301"/>
                <a:gd name="T10" fmla="*/ 270 w 301"/>
                <a:gd name="T11" fmla="*/ 163 h 301"/>
                <a:gd name="T12" fmla="*/ 262 w 301"/>
                <a:gd name="T13" fmla="*/ 197 h 301"/>
                <a:gd name="T14" fmla="*/ 243 w 301"/>
                <a:gd name="T15" fmla="*/ 227 h 301"/>
                <a:gd name="T16" fmla="*/ 218 w 301"/>
                <a:gd name="T17" fmla="*/ 251 h 301"/>
                <a:gd name="T18" fmla="*/ 186 w 301"/>
                <a:gd name="T19" fmla="*/ 266 h 301"/>
                <a:gd name="T20" fmla="*/ 150 w 301"/>
                <a:gd name="T21" fmla="*/ 271 h 301"/>
                <a:gd name="T22" fmla="*/ 115 w 301"/>
                <a:gd name="T23" fmla="*/ 266 h 301"/>
                <a:gd name="T24" fmla="*/ 84 w 301"/>
                <a:gd name="T25" fmla="*/ 251 h 301"/>
                <a:gd name="T26" fmla="*/ 58 w 301"/>
                <a:gd name="T27" fmla="*/ 227 h 301"/>
                <a:gd name="T28" fmla="*/ 40 w 301"/>
                <a:gd name="T29" fmla="*/ 197 h 301"/>
                <a:gd name="T30" fmla="*/ 31 w 301"/>
                <a:gd name="T31" fmla="*/ 163 h 301"/>
                <a:gd name="T32" fmla="*/ 32 w 301"/>
                <a:gd name="T33" fmla="*/ 126 h 301"/>
                <a:gd name="T34" fmla="*/ 45 w 301"/>
                <a:gd name="T35" fmla="*/ 93 h 301"/>
                <a:gd name="T36" fmla="*/ 65 w 301"/>
                <a:gd name="T37" fmla="*/ 65 h 301"/>
                <a:gd name="T38" fmla="*/ 93 w 301"/>
                <a:gd name="T39" fmla="*/ 45 h 301"/>
                <a:gd name="T40" fmla="*/ 126 w 301"/>
                <a:gd name="T41" fmla="*/ 33 h 301"/>
                <a:gd name="T42" fmla="*/ 150 w 301"/>
                <a:gd name="T43" fmla="*/ 301 h 301"/>
                <a:gd name="T44" fmla="*/ 195 w 301"/>
                <a:gd name="T45" fmla="*/ 295 h 301"/>
                <a:gd name="T46" fmla="*/ 235 w 301"/>
                <a:gd name="T47" fmla="*/ 275 h 301"/>
                <a:gd name="T48" fmla="*/ 266 w 301"/>
                <a:gd name="T49" fmla="*/ 246 h 301"/>
                <a:gd name="T50" fmla="*/ 289 w 301"/>
                <a:gd name="T51" fmla="*/ 209 h 301"/>
                <a:gd name="T52" fmla="*/ 300 w 301"/>
                <a:gd name="T53" fmla="*/ 166 h 301"/>
                <a:gd name="T54" fmla="*/ 298 w 301"/>
                <a:gd name="T55" fmla="*/ 120 h 301"/>
                <a:gd name="T56" fmla="*/ 283 w 301"/>
                <a:gd name="T57" fmla="*/ 79 h 301"/>
                <a:gd name="T58" fmla="*/ 256 w 301"/>
                <a:gd name="T59" fmla="*/ 44 h 301"/>
                <a:gd name="T60" fmla="*/ 222 w 301"/>
                <a:gd name="T61" fmla="*/ 18 h 301"/>
                <a:gd name="T62" fmla="*/ 181 w 301"/>
                <a:gd name="T63" fmla="*/ 3 h 301"/>
                <a:gd name="T64" fmla="*/ 135 w 301"/>
                <a:gd name="T65" fmla="*/ 1 h 301"/>
                <a:gd name="T66" fmla="*/ 92 w 301"/>
                <a:gd name="T67" fmla="*/ 12 h 301"/>
                <a:gd name="T68" fmla="*/ 55 w 301"/>
                <a:gd name="T69" fmla="*/ 34 h 301"/>
                <a:gd name="T70" fmla="*/ 26 w 301"/>
                <a:gd name="T71" fmla="*/ 66 h 301"/>
                <a:gd name="T72" fmla="*/ 6 w 301"/>
                <a:gd name="T73" fmla="*/ 106 h 301"/>
                <a:gd name="T74" fmla="*/ 0 w 301"/>
                <a:gd name="T75" fmla="*/ 151 h 301"/>
                <a:gd name="T76" fmla="*/ 6 w 301"/>
                <a:gd name="T77" fmla="*/ 195 h 301"/>
                <a:gd name="T78" fmla="*/ 26 w 301"/>
                <a:gd name="T79" fmla="*/ 235 h 301"/>
                <a:gd name="T80" fmla="*/ 55 w 301"/>
                <a:gd name="T81" fmla="*/ 267 h 301"/>
                <a:gd name="T82" fmla="*/ 92 w 301"/>
                <a:gd name="T83" fmla="*/ 289 h 301"/>
                <a:gd name="T84" fmla="*/ 135 w 301"/>
                <a:gd name="T85" fmla="*/ 300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01" h="301">
                  <a:moveTo>
                    <a:pt x="150" y="30"/>
                  </a:moveTo>
                  <a:lnTo>
                    <a:pt x="163" y="31"/>
                  </a:lnTo>
                  <a:lnTo>
                    <a:pt x="175" y="33"/>
                  </a:lnTo>
                  <a:lnTo>
                    <a:pt x="186" y="35"/>
                  </a:lnTo>
                  <a:lnTo>
                    <a:pt x="197" y="40"/>
                  </a:lnTo>
                  <a:lnTo>
                    <a:pt x="208" y="45"/>
                  </a:lnTo>
                  <a:lnTo>
                    <a:pt x="218" y="51"/>
                  </a:lnTo>
                  <a:lnTo>
                    <a:pt x="227" y="58"/>
                  </a:lnTo>
                  <a:lnTo>
                    <a:pt x="236" y="65"/>
                  </a:lnTo>
                  <a:lnTo>
                    <a:pt x="243" y="74"/>
                  </a:lnTo>
                  <a:lnTo>
                    <a:pt x="250" y="83"/>
                  </a:lnTo>
                  <a:lnTo>
                    <a:pt x="256" y="93"/>
                  </a:lnTo>
                  <a:lnTo>
                    <a:pt x="262" y="104"/>
                  </a:lnTo>
                  <a:lnTo>
                    <a:pt x="265" y="115"/>
                  </a:lnTo>
                  <a:lnTo>
                    <a:pt x="268" y="126"/>
                  </a:lnTo>
                  <a:lnTo>
                    <a:pt x="270" y="138"/>
                  </a:lnTo>
                  <a:lnTo>
                    <a:pt x="270" y="151"/>
                  </a:lnTo>
                  <a:lnTo>
                    <a:pt x="270" y="163"/>
                  </a:lnTo>
                  <a:lnTo>
                    <a:pt x="268" y="175"/>
                  </a:lnTo>
                  <a:lnTo>
                    <a:pt x="265" y="186"/>
                  </a:lnTo>
                  <a:lnTo>
                    <a:pt x="262" y="197"/>
                  </a:lnTo>
                  <a:lnTo>
                    <a:pt x="256" y="208"/>
                  </a:lnTo>
                  <a:lnTo>
                    <a:pt x="250" y="217"/>
                  </a:lnTo>
                  <a:lnTo>
                    <a:pt x="243" y="227"/>
                  </a:lnTo>
                  <a:lnTo>
                    <a:pt x="236" y="236"/>
                  </a:lnTo>
                  <a:lnTo>
                    <a:pt x="227" y="243"/>
                  </a:lnTo>
                  <a:lnTo>
                    <a:pt x="218" y="251"/>
                  </a:lnTo>
                  <a:lnTo>
                    <a:pt x="208" y="256"/>
                  </a:lnTo>
                  <a:lnTo>
                    <a:pt x="197" y="261"/>
                  </a:lnTo>
                  <a:lnTo>
                    <a:pt x="186" y="266"/>
                  </a:lnTo>
                  <a:lnTo>
                    <a:pt x="175" y="269"/>
                  </a:lnTo>
                  <a:lnTo>
                    <a:pt x="163" y="270"/>
                  </a:lnTo>
                  <a:lnTo>
                    <a:pt x="150" y="271"/>
                  </a:lnTo>
                  <a:lnTo>
                    <a:pt x="138" y="270"/>
                  </a:lnTo>
                  <a:lnTo>
                    <a:pt x="126" y="269"/>
                  </a:lnTo>
                  <a:lnTo>
                    <a:pt x="115" y="266"/>
                  </a:lnTo>
                  <a:lnTo>
                    <a:pt x="104" y="261"/>
                  </a:lnTo>
                  <a:lnTo>
                    <a:pt x="93" y="256"/>
                  </a:lnTo>
                  <a:lnTo>
                    <a:pt x="84" y="251"/>
                  </a:lnTo>
                  <a:lnTo>
                    <a:pt x="74" y="243"/>
                  </a:lnTo>
                  <a:lnTo>
                    <a:pt x="65" y="236"/>
                  </a:lnTo>
                  <a:lnTo>
                    <a:pt x="58" y="227"/>
                  </a:lnTo>
                  <a:lnTo>
                    <a:pt x="50" y="217"/>
                  </a:lnTo>
                  <a:lnTo>
                    <a:pt x="45" y="208"/>
                  </a:lnTo>
                  <a:lnTo>
                    <a:pt x="40" y="197"/>
                  </a:lnTo>
                  <a:lnTo>
                    <a:pt x="35" y="186"/>
                  </a:lnTo>
                  <a:lnTo>
                    <a:pt x="32" y="175"/>
                  </a:lnTo>
                  <a:lnTo>
                    <a:pt x="31" y="163"/>
                  </a:lnTo>
                  <a:lnTo>
                    <a:pt x="30" y="151"/>
                  </a:lnTo>
                  <a:lnTo>
                    <a:pt x="31" y="138"/>
                  </a:lnTo>
                  <a:lnTo>
                    <a:pt x="32" y="126"/>
                  </a:lnTo>
                  <a:lnTo>
                    <a:pt x="35" y="115"/>
                  </a:lnTo>
                  <a:lnTo>
                    <a:pt x="40" y="104"/>
                  </a:lnTo>
                  <a:lnTo>
                    <a:pt x="45" y="93"/>
                  </a:lnTo>
                  <a:lnTo>
                    <a:pt x="50" y="83"/>
                  </a:lnTo>
                  <a:lnTo>
                    <a:pt x="58" y="74"/>
                  </a:lnTo>
                  <a:lnTo>
                    <a:pt x="65" y="65"/>
                  </a:lnTo>
                  <a:lnTo>
                    <a:pt x="74" y="58"/>
                  </a:lnTo>
                  <a:lnTo>
                    <a:pt x="84" y="51"/>
                  </a:lnTo>
                  <a:lnTo>
                    <a:pt x="93" y="45"/>
                  </a:lnTo>
                  <a:lnTo>
                    <a:pt x="104" y="40"/>
                  </a:lnTo>
                  <a:lnTo>
                    <a:pt x="115" y="35"/>
                  </a:lnTo>
                  <a:lnTo>
                    <a:pt x="126" y="33"/>
                  </a:lnTo>
                  <a:lnTo>
                    <a:pt x="138" y="31"/>
                  </a:lnTo>
                  <a:lnTo>
                    <a:pt x="150" y="30"/>
                  </a:lnTo>
                  <a:close/>
                  <a:moveTo>
                    <a:pt x="150" y="301"/>
                  </a:moveTo>
                  <a:lnTo>
                    <a:pt x="166" y="300"/>
                  </a:lnTo>
                  <a:lnTo>
                    <a:pt x="181" y="298"/>
                  </a:lnTo>
                  <a:lnTo>
                    <a:pt x="195" y="295"/>
                  </a:lnTo>
                  <a:lnTo>
                    <a:pt x="209" y="289"/>
                  </a:lnTo>
                  <a:lnTo>
                    <a:pt x="222" y="283"/>
                  </a:lnTo>
                  <a:lnTo>
                    <a:pt x="235" y="275"/>
                  </a:lnTo>
                  <a:lnTo>
                    <a:pt x="245" y="267"/>
                  </a:lnTo>
                  <a:lnTo>
                    <a:pt x="256" y="257"/>
                  </a:lnTo>
                  <a:lnTo>
                    <a:pt x="266" y="246"/>
                  </a:lnTo>
                  <a:lnTo>
                    <a:pt x="275" y="235"/>
                  </a:lnTo>
                  <a:lnTo>
                    <a:pt x="283" y="222"/>
                  </a:lnTo>
                  <a:lnTo>
                    <a:pt x="289" y="209"/>
                  </a:lnTo>
                  <a:lnTo>
                    <a:pt x="294" y="195"/>
                  </a:lnTo>
                  <a:lnTo>
                    <a:pt x="298" y="181"/>
                  </a:lnTo>
                  <a:lnTo>
                    <a:pt x="300" y="166"/>
                  </a:lnTo>
                  <a:lnTo>
                    <a:pt x="301" y="151"/>
                  </a:lnTo>
                  <a:lnTo>
                    <a:pt x="300" y="135"/>
                  </a:lnTo>
                  <a:lnTo>
                    <a:pt x="298" y="120"/>
                  </a:lnTo>
                  <a:lnTo>
                    <a:pt x="294" y="106"/>
                  </a:lnTo>
                  <a:lnTo>
                    <a:pt x="289" y="92"/>
                  </a:lnTo>
                  <a:lnTo>
                    <a:pt x="283" y="79"/>
                  </a:lnTo>
                  <a:lnTo>
                    <a:pt x="275" y="66"/>
                  </a:lnTo>
                  <a:lnTo>
                    <a:pt x="266" y="55"/>
                  </a:lnTo>
                  <a:lnTo>
                    <a:pt x="256" y="44"/>
                  </a:lnTo>
                  <a:lnTo>
                    <a:pt x="245" y="34"/>
                  </a:lnTo>
                  <a:lnTo>
                    <a:pt x="235" y="26"/>
                  </a:lnTo>
                  <a:lnTo>
                    <a:pt x="222" y="18"/>
                  </a:lnTo>
                  <a:lnTo>
                    <a:pt x="209" y="12"/>
                  </a:lnTo>
                  <a:lnTo>
                    <a:pt x="195" y="7"/>
                  </a:lnTo>
                  <a:lnTo>
                    <a:pt x="181" y="3"/>
                  </a:lnTo>
                  <a:lnTo>
                    <a:pt x="166" y="1"/>
                  </a:lnTo>
                  <a:lnTo>
                    <a:pt x="150" y="0"/>
                  </a:lnTo>
                  <a:lnTo>
                    <a:pt x="135" y="1"/>
                  </a:lnTo>
                  <a:lnTo>
                    <a:pt x="120" y="3"/>
                  </a:lnTo>
                  <a:lnTo>
                    <a:pt x="106" y="7"/>
                  </a:lnTo>
                  <a:lnTo>
                    <a:pt x="92" y="12"/>
                  </a:lnTo>
                  <a:lnTo>
                    <a:pt x="78" y="18"/>
                  </a:lnTo>
                  <a:lnTo>
                    <a:pt x="66" y="26"/>
                  </a:lnTo>
                  <a:lnTo>
                    <a:pt x="55" y="34"/>
                  </a:lnTo>
                  <a:lnTo>
                    <a:pt x="44" y="44"/>
                  </a:lnTo>
                  <a:lnTo>
                    <a:pt x="34" y="55"/>
                  </a:lnTo>
                  <a:lnTo>
                    <a:pt x="26" y="66"/>
                  </a:lnTo>
                  <a:lnTo>
                    <a:pt x="18" y="79"/>
                  </a:lnTo>
                  <a:lnTo>
                    <a:pt x="12" y="92"/>
                  </a:lnTo>
                  <a:lnTo>
                    <a:pt x="6" y="106"/>
                  </a:lnTo>
                  <a:lnTo>
                    <a:pt x="3" y="120"/>
                  </a:lnTo>
                  <a:lnTo>
                    <a:pt x="1" y="135"/>
                  </a:lnTo>
                  <a:lnTo>
                    <a:pt x="0" y="151"/>
                  </a:lnTo>
                  <a:lnTo>
                    <a:pt x="1" y="166"/>
                  </a:lnTo>
                  <a:lnTo>
                    <a:pt x="3" y="181"/>
                  </a:lnTo>
                  <a:lnTo>
                    <a:pt x="6" y="195"/>
                  </a:lnTo>
                  <a:lnTo>
                    <a:pt x="12" y="209"/>
                  </a:lnTo>
                  <a:lnTo>
                    <a:pt x="18" y="222"/>
                  </a:lnTo>
                  <a:lnTo>
                    <a:pt x="26" y="235"/>
                  </a:lnTo>
                  <a:lnTo>
                    <a:pt x="34" y="246"/>
                  </a:lnTo>
                  <a:lnTo>
                    <a:pt x="44" y="257"/>
                  </a:lnTo>
                  <a:lnTo>
                    <a:pt x="55" y="267"/>
                  </a:lnTo>
                  <a:lnTo>
                    <a:pt x="66" y="275"/>
                  </a:lnTo>
                  <a:lnTo>
                    <a:pt x="78" y="283"/>
                  </a:lnTo>
                  <a:lnTo>
                    <a:pt x="92" y="289"/>
                  </a:lnTo>
                  <a:lnTo>
                    <a:pt x="106" y="295"/>
                  </a:lnTo>
                  <a:lnTo>
                    <a:pt x="120" y="298"/>
                  </a:lnTo>
                  <a:lnTo>
                    <a:pt x="135" y="300"/>
                  </a:lnTo>
                  <a:lnTo>
                    <a:pt x="150" y="3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4" name="Freeform 197"/>
            <p:cNvSpPr>
              <a:spLocks noEditPoints="1"/>
            </p:cNvSpPr>
            <p:nvPr/>
          </p:nvSpPr>
          <p:spPr bwMode="auto">
            <a:xfrm>
              <a:off x="1525588" y="2593975"/>
              <a:ext cx="142875" cy="180975"/>
            </a:xfrm>
            <a:custGeom>
              <a:avLst/>
              <a:gdLst>
                <a:gd name="T0" fmla="*/ 285 w 451"/>
                <a:gd name="T1" fmla="*/ 307 h 572"/>
                <a:gd name="T2" fmla="*/ 165 w 451"/>
                <a:gd name="T3" fmla="*/ 542 h 572"/>
                <a:gd name="T4" fmla="*/ 157 w 451"/>
                <a:gd name="T5" fmla="*/ 302 h 572"/>
                <a:gd name="T6" fmla="*/ 136 w 451"/>
                <a:gd name="T7" fmla="*/ 287 h 572"/>
                <a:gd name="T8" fmla="*/ 115 w 451"/>
                <a:gd name="T9" fmla="*/ 267 h 572"/>
                <a:gd name="T10" fmla="*/ 93 w 451"/>
                <a:gd name="T11" fmla="*/ 241 h 572"/>
                <a:gd name="T12" fmla="*/ 74 w 451"/>
                <a:gd name="T13" fmla="*/ 210 h 572"/>
                <a:gd name="T14" fmla="*/ 57 w 451"/>
                <a:gd name="T15" fmla="*/ 174 h 572"/>
                <a:gd name="T16" fmla="*/ 44 w 451"/>
                <a:gd name="T17" fmla="*/ 131 h 572"/>
                <a:gd name="T18" fmla="*/ 34 w 451"/>
                <a:gd name="T19" fmla="*/ 84 h 572"/>
                <a:gd name="T20" fmla="*/ 30 w 451"/>
                <a:gd name="T21" fmla="*/ 30 h 572"/>
                <a:gd name="T22" fmla="*/ 170 w 451"/>
                <a:gd name="T23" fmla="*/ 252 h 572"/>
                <a:gd name="T24" fmla="*/ 171 w 451"/>
                <a:gd name="T25" fmla="*/ 259 h 572"/>
                <a:gd name="T26" fmla="*/ 175 w 451"/>
                <a:gd name="T27" fmla="*/ 264 h 572"/>
                <a:gd name="T28" fmla="*/ 215 w 451"/>
                <a:gd name="T29" fmla="*/ 304 h 572"/>
                <a:gd name="T30" fmla="*/ 221 w 451"/>
                <a:gd name="T31" fmla="*/ 306 h 572"/>
                <a:gd name="T32" fmla="*/ 226 w 451"/>
                <a:gd name="T33" fmla="*/ 306 h 572"/>
                <a:gd name="T34" fmla="*/ 231 w 451"/>
                <a:gd name="T35" fmla="*/ 304 h 572"/>
                <a:gd name="T36" fmla="*/ 272 w 451"/>
                <a:gd name="T37" fmla="*/ 264 h 572"/>
                <a:gd name="T38" fmla="*/ 275 w 451"/>
                <a:gd name="T39" fmla="*/ 259 h 572"/>
                <a:gd name="T40" fmla="*/ 276 w 451"/>
                <a:gd name="T41" fmla="*/ 252 h 572"/>
                <a:gd name="T42" fmla="*/ 420 w 451"/>
                <a:gd name="T43" fmla="*/ 30 h 572"/>
                <a:gd name="T44" fmla="*/ 416 w 451"/>
                <a:gd name="T45" fmla="*/ 84 h 572"/>
                <a:gd name="T46" fmla="*/ 407 w 451"/>
                <a:gd name="T47" fmla="*/ 131 h 572"/>
                <a:gd name="T48" fmla="*/ 393 w 451"/>
                <a:gd name="T49" fmla="*/ 174 h 572"/>
                <a:gd name="T50" fmla="*/ 376 w 451"/>
                <a:gd name="T51" fmla="*/ 210 h 572"/>
                <a:gd name="T52" fmla="*/ 357 w 451"/>
                <a:gd name="T53" fmla="*/ 241 h 572"/>
                <a:gd name="T54" fmla="*/ 337 w 451"/>
                <a:gd name="T55" fmla="*/ 267 h 572"/>
                <a:gd name="T56" fmla="*/ 315 w 451"/>
                <a:gd name="T57" fmla="*/ 287 h 572"/>
                <a:gd name="T58" fmla="*/ 293 w 451"/>
                <a:gd name="T59" fmla="*/ 302 h 572"/>
                <a:gd name="T60" fmla="*/ 223 w 451"/>
                <a:gd name="T61" fmla="*/ 269 h 572"/>
                <a:gd name="T62" fmla="*/ 219 w 451"/>
                <a:gd name="T63" fmla="*/ 30 h 572"/>
                <a:gd name="T64" fmla="*/ 245 w 451"/>
                <a:gd name="T65" fmla="*/ 248 h 572"/>
                <a:gd name="T66" fmla="*/ 0 w 451"/>
                <a:gd name="T67" fmla="*/ 0 h 572"/>
                <a:gd name="T68" fmla="*/ 1 w 451"/>
                <a:gd name="T69" fmla="*/ 45 h 572"/>
                <a:gd name="T70" fmla="*/ 6 w 451"/>
                <a:gd name="T71" fmla="*/ 101 h 572"/>
                <a:gd name="T72" fmla="*/ 18 w 451"/>
                <a:gd name="T73" fmla="*/ 151 h 572"/>
                <a:gd name="T74" fmla="*/ 34 w 451"/>
                <a:gd name="T75" fmla="*/ 196 h 572"/>
                <a:gd name="T76" fmla="*/ 53 w 451"/>
                <a:gd name="T77" fmla="*/ 235 h 572"/>
                <a:gd name="T78" fmla="*/ 75 w 451"/>
                <a:gd name="T79" fmla="*/ 268 h 572"/>
                <a:gd name="T80" fmla="*/ 99 w 451"/>
                <a:gd name="T81" fmla="*/ 295 h 572"/>
                <a:gd name="T82" fmla="*/ 123 w 451"/>
                <a:gd name="T83" fmla="*/ 316 h 572"/>
                <a:gd name="T84" fmla="*/ 135 w 451"/>
                <a:gd name="T85" fmla="*/ 572 h 572"/>
                <a:gd name="T86" fmla="*/ 315 w 451"/>
                <a:gd name="T87" fmla="*/ 324 h 572"/>
                <a:gd name="T88" fmla="*/ 340 w 451"/>
                <a:gd name="T89" fmla="*/ 306 h 572"/>
                <a:gd name="T90" fmla="*/ 363 w 451"/>
                <a:gd name="T91" fmla="*/ 282 h 572"/>
                <a:gd name="T92" fmla="*/ 387 w 451"/>
                <a:gd name="T93" fmla="*/ 252 h 572"/>
                <a:gd name="T94" fmla="*/ 407 w 451"/>
                <a:gd name="T95" fmla="*/ 217 h 572"/>
                <a:gd name="T96" fmla="*/ 426 w 451"/>
                <a:gd name="T97" fmla="*/ 175 h 572"/>
                <a:gd name="T98" fmla="*/ 438 w 451"/>
                <a:gd name="T99" fmla="*/ 128 h 572"/>
                <a:gd name="T100" fmla="*/ 448 w 451"/>
                <a:gd name="T101" fmla="*/ 74 h 572"/>
                <a:gd name="T102" fmla="*/ 451 w 451"/>
                <a:gd name="T103" fmla="*/ 15 h 5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451" h="572">
                  <a:moveTo>
                    <a:pt x="293" y="302"/>
                  </a:moveTo>
                  <a:lnTo>
                    <a:pt x="285" y="307"/>
                  </a:lnTo>
                  <a:lnTo>
                    <a:pt x="285" y="542"/>
                  </a:lnTo>
                  <a:lnTo>
                    <a:pt x="165" y="542"/>
                  </a:lnTo>
                  <a:lnTo>
                    <a:pt x="165" y="307"/>
                  </a:lnTo>
                  <a:lnTo>
                    <a:pt x="157" y="302"/>
                  </a:lnTo>
                  <a:lnTo>
                    <a:pt x="147" y="296"/>
                  </a:lnTo>
                  <a:lnTo>
                    <a:pt x="136" y="287"/>
                  </a:lnTo>
                  <a:lnTo>
                    <a:pt x="125" y="279"/>
                  </a:lnTo>
                  <a:lnTo>
                    <a:pt x="115" y="267"/>
                  </a:lnTo>
                  <a:lnTo>
                    <a:pt x="104" y="255"/>
                  </a:lnTo>
                  <a:lnTo>
                    <a:pt x="93" y="241"/>
                  </a:lnTo>
                  <a:lnTo>
                    <a:pt x="83" y="226"/>
                  </a:lnTo>
                  <a:lnTo>
                    <a:pt x="74" y="210"/>
                  </a:lnTo>
                  <a:lnTo>
                    <a:pt x="65" y="193"/>
                  </a:lnTo>
                  <a:lnTo>
                    <a:pt x="57" y="174"/>
                  </a:lnTo>
                  <a:lnTo>
                    <a:pt x="50" y="153"/>
                  </a:lnTo>
                  <a:lnTo>
                    <a:pt x="44" y="131"/>
                  </a:lnTo>
                  <a:lnTo>
                    <a:pt x="38" y="108"/>
                  </a:lnTo>
                  <a:lnTo>
                    <a:pt x="34" y="84"/>
                  </a:lnTo>
                  <a:lnTo>
                    <a:pt x="32" y="58"/>
                  </a:lnTo>
                  <a:lnTo>
                    <a:pt x="30" y="30"/>
                  </a:lnTo>
                  <a:lnTo>
                    <a:pt x="189" y="30"/>
                  </a:lnTo>
                  <a:lnTo>
                    <a:pt x="170" y="252"/>
                  </a:lnTo>
                  <a:lnTo>
                    <a:pt x="170" y="255"/>
                  </a:lnTo>
                  <a:lnTo>
                    <a:pt x="171" y="259"/>
                  </a:lnTo>
                  <a:lnTo>
                    <a:pt x="172" y="261"/>
                  </a:lnTo>
                  <a:lnTo>
                    <a:pt x="175" y="264"/>
                  </a:lnTo>
                  <a:lnTo>
                    <a:pt x="213" y="301"/>
                  </a:lnTo>
                  <a:lnTo>
                    <a:pt x="215" y="304"/>
                  </a:lnTo>
                  <a:lnTo>
                    <a:pt x="218" y="305"/>
                  </a:lnTo>
                  <a:lnTo>
                    <a:pt x="221" y="306"/>
                  </a:lnTo>
                  <a:lnTo>
                    <a:pt x="223" y="306"/>
                  </a:lnTo>
                  <a:lnTo>
                    <a:pt x="226" y="306"/>
                  </a:lnTo>
                  <a:lnTo>
                    <a:pt x="229" y="305"/>
                  </a:lnTo>
                  <a:lnTo>
                    <a:pt x="231" y="304"/>
                  </a:lnTo>
                  <a:lnTo>
                    <a:pt x="234" y="301"/>
                  </a:lnTo>
                  <a:lnTo>
                    <a:pt x="272" y="264"/>
                  </a:lnTo>
                  <a:lnTo>
                    <a:pt x="274" y="261"/>
                  </a:lnTo>
                  <a:lnTo>
                    <a:pt x="275" y="259"/>
                  </a:lnTo>
                  <a:lnTo>
                    <a:pt x="276" y="255"/>
                  </a:lnTo>
                  <a:lnTo>
                    <a:pt x="276" y="252"/>
                  </a:lnTo>
                  <a:lnTo>
                    <a:pt x="258" y="30"/>
                  </a:lnTo>
                  <a:lnTo>
                    <a:pt x="420" y="30"/>
                  </a:lnTo>
                  <a:lnTo>
                    <a:pt x="419" y="58"/>
                  </a:lnTo>
                  <a:lnTo>
                    <a:pt x="416" y="84"/>
                  </a:lnTo>
                  <a:lnTo>
                    <a:pt x="413" y="108"/>
                  </a:lnTo>
                  <a:lnTo>
                    <a:pt x="407" y="131"/>
                  </a:lnTo>
                  <a:lnTo>
                    <a:pt x="401" y="153"/>
                  </a:lnTo>
                  <a:lnTo>
                    <a:pt x="393" y="174"/>
                  </a:lnTo>
                  <a:lnTo>
                    <a:pt x="386" y="193"/>
                  </a:lnTo>
                  <a:lnTo>
                    <a:pt x="376" y="210"/>
                  </a:lnTo>
                  <a:lnTo>
                    <a:pt x="368" y="226"/>
                  </a:lnTo>
                  <a:lnTo>
                    <a:pt x="357" y="241"/>
                  </a:lnTo>
                  <a:lnTo>
                    <a:pt x="347" y="255"/>
                  </a:lnTo>
                  <a:lnTo>
                    <a:pt x="337" y="267"/>
                  </a:lnTo>
                  <a:lnTo>
                    <a:pt x="326" y="279"/>
                  </a:lnTo>
                  <a:lnTo>
                    <a:pt x="315" y="287"/>
                  </a:lnTo>
                  <a:lnTo>
                    <a:pt x="304" y="296"/>
                  </a:lnTo>
                  <a:lnTo>
                    <a:pt x="293" y="302"/>
                  </a:lnTo>
                  <a:close/>
                  <a:moveTo>
                    <a:pt x="245" y="248"/>
                  </a:moveTo>
                  <a:lnTo>
                    <a:pt x="223" y="269"/>
                  </a:lnTo>
                  <a:lnTo>
                    <a:pt x="201" y="248"/>
                  </a:lnTo>
                  <a:lnTo>
                    <a:pt x="219" y="30"/>
                  </a:lnTo>
                  <a:lnTo>
                    <a:pt x="228" y="30"/>
                  </a:lnTo>
                  <a:lnTo>
                    <a:pt x="245" y="248"/>
                  </a:lnTo>
                  <a:close/>
                  <a:moveTo>
                    <a:pt x="451" y="0"/>
                  </a:moveTo>
                  <a:lnTo>
                    <a:pt x="0" y="0"/>
                  </a:lnTo>
                  <a:lnTo>
                    <a:pt x="0" y="15"/>
                  </a:lnTo>
                  <a:lnTo>
                    <a:pt x="1" y="45"/>
                  </a:lnTo>
                  <a:lnTo>
                    <a:pt x="3" y="74"/>
                  </a:lnTo>
                  <a:lnTo>
                    <a:pt x="6" y="101"/>
                  </a:lnTo>
                  <a:lnTo>
                    <a:pt x="12" y="128"/>
                  </a:lnTo>
                  <a:lnTo>
                    <a:pt x="18" y="151"/>
                  </a:lnTo>
                  <a:lnTo>
                    <a:pt x="26" y="175"/>
                  </a:lnTo>
                  <a:lnTo>
                    <a:pt x="34" y="196"/>
                  </a:lnTo>
                  <a:lnTo>
                    <a:pt x="44" y="216"/>
                  </a:lnTo>
                  <a:lnTo>
                    <a:pt x="53" y="235"/>
                  </a:lnTo>
                  <a:lnTo>
                    <a:pt x="64" y="252"/>
                  </a:lnTo>
                  <a:lnTo>
                    <a:pt x="75" y="268"/>
                  </a:lnTo>
                  <a:lnTo>
                    <a:pt x="87" y="282"/>
                  </a:lnTo>
                  <a:lnTo>
                    <a:pt x="99" y="295"/>
                  </a:lnTo>
                  <a:lnTo>
                    <a:pt x="111" y="306"/>
                  </a:lnTo>
                  <a:lnTo>
                    <a:pt x="123" y="316"/>
                  </a:lnTo>
                  <a:lnTo>
                    <a:pt x="135" y="324"/>
                  </a:lnTo>
                  <a:lnTo>
                    <a:pt x="135" y="572"/>
                  </a:lnTo>
                  <a:lnTo>
                    <a:pt x="315" y="572"/>
                  </a:lnTo>
                  <a:lnTo>
                    <a:pt x="315" y="324"/>
                  </a:lnTo>
                  <a:lnTo>
                    <a:pt x="328" y="315"/>
                  </a:lnTo>
                  <a:lnTo>
                    <a:pt x="340" y="306"/>
                  </a:lnTo>
                  <a:lnTo>
                    <a:pt x="352" y="295"/>
                  </a:lnTo>
                  <a:lnTo>
                    <a:pt x="363" y="282"/>
                  </a:lnTo>
                  <a:lnTo>
                    <a:pt x="375" y="267"/>
                  </a:lnTo>
                  <a:lnTo>
                    <a:pt x="387" y="252"/>
                  </a:lnTo>
                  <a:lnTo>
                    <a:pt x="398" y="235"/>
                  </a:lnTo>
                  <a:lnTo>
                    <a:pt x="407" y="217"/>
                  </a:lnTo>
                  <a:lnTo>
                    <a:pt x="417" y="196"/>
                  </a:lnTo>
                  <a:lnTo>
                    <a:pt x="426" y="175"/>
                  </a:lnTo>
                  <a:lnTo>
                    <a:pt x="432" y="151"/>
                  </a:lnTo>
                  <a:lnTo>
                    <a:pt x="438" y="128"/>
                  </a:lnTo>
                  <a:lnTo>
                    <a:pt x="444" y="101"/>
                  </a:lnTo>
                  <a:lnTo>
                    <a:pt x="448" y="74"/>
                  </a:lnTo>
                  <a:lnTo>
                    <a:pt x="450" y="45"/>
                  </a:lnTo>
                  <a:lnTo>
                    <a:pt x="451" y="15"/>
                  </a:lnTo>
                  <a:lnTo>
                    <a:pt x="45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5" name="Freeform 198"/>
            <p:cNvSpPr>
              <a:spLocks noEditPoints="1"/>
            </p:cNvSpPr>
            <p:nvPr/>
          </p:nvSpPr>
          <p:spPr bwMode="auto">
            <a:xfrm>
              <a:off x="1663700" y="2670175"/>
              <a:ext cx="47625" cy="104775"/>
            </a:xfrm>
            <a:custGeom>
              <a:avLst/>
              <a:gdLst>
                <a:gd name="T0" fmla="*/ 120 w 150"/>
                <a:gd name="T1" fmla="*/ 302 h 332"/>
                <a:gd name="T2" fmla="*/ 30 w 150"/>
                <a:gd name="T3" fmla="*/ 302 h 332"/>
                <a:gd name="T4" fmla="*/ 30 w 150"/>
                <a:gd name="T5" fmla="*/ 60 h 332"/>
                <a:gd name="T6" fmla="*/ 120 w 150"/>
                <a:gd name="T7" fmla="*/ 60 h 332"/>
                <a:gd name="T8" fmla="*/ 120 w 150"/>
                <a:gd name="T9" fmla="*/ 302 h 332"/>
                <a:gd name="T10" fmla="*/ 90 w 150"/>
                <a:gd name="T11" fmla="*/ 30 h 332"/>
                <a:gd name="T12" fmla="*/ 90 w 150"/>
                <a:gd name="T13" fmla="*/ 0 h 332"/>
                <a:gd name="T14" fmla="*/ 60 w 150"/>
                <a:gd name="T15" fmla="*/ 0 h 332"/>
                <a:gd name="T16" fmla="*/ 60 w 150"/>
                <a:gd name="T17" fmla="*/ 30 h 332"/>
                <a:gd name="T18" fmla="*/ 0 w 150"/>
                <a:gd name="T19" fmla="*/ 30 h 332"/>
                <a:gd name="T20" fmla="*/ 0 w 150"/>
                <a:gd name="T21" fmla="*/ 332 h 332"/>
                <a:gd name="T22" fmla="*/ 150 w 150"/>
                <a:gd name="T23" fmla="*/ 332 h 332"/>
                <a:gd name="T24" fmla="*/ 150 w 150"/>
                <a:gd name="T25" fmla="*/ 30 h 332"/>
                <a:gd name="T26" fmla="*/ 90 w 150"/>
                <a:gd name="T27" fmla="*/ 30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50" h="332">
                  <a:moveTo>
                    <a:pt x="120" y="302"/>
                  </a:moveTo>
                  <a:lnTo>
                    <a:pt x="30" y="302"/>
                  </a:lnTo>
                  <a:lnTo>
                    <a:pt x="30" y="60"/>
                  </a:lnTo>
                  <a:lnTo>
                    <a:pt x="120" y="60"/>
                  </a:lnTo>
                  <a:lnTo>
                    <a:pt x="120" y="302"/>
                  </a:lnTo>
                  <a:close/>
                  <a:moveTo>
                    <a:pt x="90" y="30"/>
                  </a:moveTo>
                  <a:lnTo>
                    <a:pt x="90" y="0"/>
                  </a:lnTo>
                  <a:lnTo>
                    <a:pt x="60" y="0"/>
                  </a:lnTo>
                  <a:lnTo>
                    <a:pt x="60" y="30"/>
                  </a:lnTo>
                  <a:lnTo>
                    <a:pt x="0" y="30"/>
                  </a:lnTo>
                  <a:lnTo>
                    <a:pt x="0" y="332"/>
                  </a:lnTo>
                  <a:lnTo>
                    <a:pt x="150" y="332"/>
                  </a:lnTo>
                  <a:lnTo>
                    <a:pt x="150" y="30"/>
                  </a:lnTo>
                  <a:lnTo>
                    <a:pt x="90" y="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06" name="Group 105"/>
          <p:cNvGrpSpPr/>
          <p:nvPr/>
        </p:nvGrpSpPr>
        <p:grpSpPr>
          <a:xfrm>
            <a:off x="7190122" y="4363449"/>
            <a:ext cx="488288" cy="485544"/>
            <a:chOff x="5468938" y="1920875"/>
            <a:chExt cx="282575" cy="280988"/>
          </a:xfrm>
          <a:solidFill>
            <a:schemeClr val="bg1"/>
          </a:solidFill>
        </p:grpSpPr>
        <p:sp>
          <p:nvSpPr>
            <p:cNvPr id="107" name="Freeform 87"/>
            <p:cNvSpPr>
              <a:spLocks noEditPoints="1"/>
            </p:cNvSpPr>
            <p:nvPr/>
          </p:nvSpPr>
          <p:spPr bwMode="auto">
            <a:xfrm>
              <a:off x="5468938" y="1920875"/>
              <a:ext cx="130175" cy="128588"/>
            </a:xfrm>
            <a:custGeom>
              <a:avLst/>
              <a:gdLst>
                <a:gd name="T0" fmla="*/ 32 w 407"/>
                <a:gd name="T1" fmla="*/ 364 h 406"/>
                <a:gd name="T2" fmla="*/ 46 w 407"/>
                <a:gd name="T3" fmla="*/ 346 h 406"/>
                <a:gd name="T4" fmla="*/ 166 w 407"/>
                <a:gd name="T5" fmla="*/ 271 h 406"/>
                <a:gd name="T6" fmla="*/ 205 w 407"/>
                <a:gd name="T7" fmla="*/ 278 h 406"/>
                <a:gd name="T8" fmla="*/ 241 w 407"/>
                <a:gd name="T9" fmla="*/ 272 h 406"/>
                <a:gd name="T10" fmla="*/ 363 w 407"/>
                <a:gd name="T11" fmla="*/ 346 h 406"/>
                <a:gd name="T12" fmla="*/ 374 w 407"/>
                <a:gd name="T13" fmla="*/ 364 h 406"/>
                <a:gd name="T14" fmla="*/ 202 w 407"/>
                <a:gd name="T15" fmla="*/ 376 h 406"/>
                <a:gd name="T16" fmla="*/ 106 w 407"/>
                <a:gd name="T17" fmla="*/ 136 h 406"/>
                <a:gd name="T18" fmla="*/ 164 w 407"/>
                <a:gd name="T19" fmla="*/ 141 h 406"/>
                <a:gd name="T20" fmla="*/ 221 w 407"/>
                <a:gd name="T21" fmla="*/ 119 h 406"/>
                <a:gd name="T22" fmla="*/ 243 w 407"/>
                <a:gd name="T23" fmla="*/ 135 h 406"/>
                <a:gd name="T24" fmla="*/ 269 w 407"/>
                <a:gd name="T25" fmla="*/ 143 h 406"/>
                <a:gd name="T26" fmla="*/ 304 w 407"/>
                <a:gd name="T27" fmla="*/ 141 h 406"/>
                <a:gd name="T28" fmla="*/ 296 w 407"/>
                <a:gd name="T29" fmla="*/ 183 h 406"/>
                <a:gd name="T30" fmla="*/ 275 w 407"/>
                <a:gd name="T31" fmla="*/ 216 h 406"/>
                <a:gd name="T32" fmla="*/ 244 w 407"/>
                <a:gd name="T33" fmla="*/ 240 h 406"/>
                <a:gd name="T34" fmla="*/ 205 w 407"/>
                <a:gd name="T35" fmla="*/ 248 h 406"/>
                <a:gd name="T36" fmla="*/ 166 w 407"/>
                <a:gd name="T37" fmla="*/ 240 h 406"/>
                <a:gd name="T38" fmla="*/ 135 w 407"/>
                <a:gd name="T39" fmla="*/ 216 h 406"/>
                <a:gd name="T40" fmla="*/ 114 w 407"/>
                <a:gd name="T41" fmla="*/ 181 h 406"/>
                <a:gd name="T42" fmla="*/ 106 w 407"/>
                <a:gd name="T43" fmla="*/ 139 h 406"/>
                <a:gd name="T44" fmla="*/ 230 w 407"/>
                <a:gd name="T45" fmla="*/ 33 h 406"/>
                <a:gd name="T46" fmla="*/ 260 w 407"/>
                <a:gd name="T47" fmla="*/ 48 h 406"/>
                <a:gd name="T48" fmla="*/ 282 w 407"/>
                <a:gd name="T49" fmla="*/ 71 h 406"/>
                <a:gd name="T50" fmla="*/ 298 w 407"/>
                <a:gd name="T51" fmla="*/ 102 h 406"/>
                <a:gd name="T52" fmla="*/ 281 w 407"/>
                <a:gd name="T53" fmla="*/ 114 h 406"/>
                <a:gd name="T54" fmla="*/ 250 w 407"/>
                <a:gd name="T55" fmla="*/ 105 h 406"/>
                <a:gd name="T56" fmla="*/ 235 w 407"/>
                <a:gd name="T57" fmla="*/ 87 h 406"/>
                <a:gd name="T58" fmla="*/ 223 w 407"/>
                <a:gd name="T59" fmla="*/ 82 h 406"/>
                <a:gd name="T60" fmla="*/ 208 w 407"/>
                <a:gd name="T61" fmla="*/ 92 h 406"/>
                <a:gd name="T62" fmla="*/ 181 w 407"/>
                <a:gd name="T63" fmla="*/ 107 h 406"/>
                <a:gd name="T64" fmla="*/ 147 w 407"/>
                <a:gd name="T65" fmla="*/ 113 h 406"/>
                <a:gd name="T66" fmla="*/ 114 w 407"/>
                <a:gd name="T67" fmla="*/ 97 h 406"/>
                <a:gd name="T68" fmla="*/ 130 w 407"/>
                <a:gd name="T69" fmla="*/ 68 h 406"/>
                <a:gd name="T70" fmla="*/ 152 w 407"/>
                <a:gd name="T71" fmla="*/ 47 h 406"/>
                <a:gd name="T72" fmla="*/ 181 w 407"/>
                <a:gd name="T73" fmla="*/ 33 h 406"/>
                <a:gd name="T74" fmla="*/ 239 w 407"/>
                <a:gd name="T75" fmla="*/ 406 h 406"/>
                <a:gd name="T76" fmla="*/ 403 w 407"/>
                <a:gd name="T77" fmla="*/ 354 h 406"/>
                <a:gd name="T78" fmla="*/ 380 w 407"/>
                <a:gd name="T79" fmla="*/ 321 h 406"/>
                <a:gd name="T80" fmla="*/ 271 w 407"/>
                <a:gd name="T81" fmla="*/ 258 h 406"/>
                <a:gd name="T82" fmla="*/ 297 w 407"/>
                <a:gd name="T83" fmla="*/ 236 h 406"/>
                <a:gd name="T84" fmla="*/ 324 w 407"/>
                <a:gd name="T85" fmla="*/ 192 h 406"/>
                <a:gd name="T86" fmla="*/ 333 w 407"/>
                <a:gd name="T87" fmla="*/ 157 h 406"/>
                <a:gd name="T88" fmla="*/ 332 w 407"/>
                <a:gd name="T89" fmla="*/ 111 h 406"/>
                <a:gd name="T90" fmla="*/ 312 w 407"/>
                <a:gd name="T91" fmla="*/ 61 h 406"/>
                <a:gd name="T92" fmla="*/ 277 w 407"/>
                <a:gd name="T93" fmla="*/ 23 h 406"/>
                <a:gd name="T94" fmla="*/ 231 w 407"/>
                <a:gd name="T95" fmla="*/ 3 h 406"/>
                <a:gd name="T96" fmla="*/ 179 w 407"/>
                <a:gd name="T97" fmla="*/ 3 h 406"/>
                <a:gd name="T98" fmla="*/ 133 w 407"/>
                <a:gd name="T99" fmla="*/ 23 h 406"/>
                <a:gd name="T100" fmla="*/ 99 w 407"/>
                <a:gd name="T101" fmla="*/ 61 h 406"/>
                <a:gd name="T102" fmla="*/ 80 w 407"/>
                <a:gd name="T103" fmla="*/ 111 h 406"/>
                <a:gd name="T104" fmla="*/ 77 w 407"/>
                <a:gd name="T105" fmla="*/ 157 h 406"/>
                <a:gd name="T106" fmla="*/ 92 w 407"/>
                <a:gd name="T107" fmla="*/ 206 h 406"/>
                <a:gd name="T108" fmla="*/ 136 w 407"/>
                <a:gd name="T109" fmla="*/ 256 h 406"/>
                <a:gd name="T110" fmla="*/ 29 w 407"/>
                <a:gd name="T111" fmla="*/ 321 h 406"/>
                <a:gd name="T112" fmla="*/ 5 w 407"/>
                <a:gd name="T113" fmla="*/ 354 h 406"/>
                <a:gd name="T114" fmla="*/ 202 w 407"/>
                <a:gd name="T115"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07" h="406">
                  <a:moveTo>
                    <a:pt x="30" y="376"/>
                  </a:moveTo>
                  <a:lnTo>
                    <a:pt x="30" y="375"/>
                  </a:lnTo>
                  <a:lnTo>
                    <a:pt x="31" y="369"/>
                  </a:lnTo>
                  <a:lnTo>
                    <a:pt x="32" y="364"/>
                  </a:lnTo>
                  <a:lnTo>
                    <a:pt x="36" y="359"/>
                  </a:lnTo>
                  <a:lnTo>
                    <a:pt x="39" y="354"/>
                  </a:lnTo>
                  <a:lnTo>
                    <a:pt x="42" y="350"/>
                  </a:lnTo>
                  <a:lnTo>
                    <a:pt x="46" y="346"/>
                  </a:lnTo>
                  <a:lnTo>
                    <a:pt x="51" y="343"/>
                  </a:lnTo>
                  <a:lnTo>
                    <a:pt x="56" y="342"/>
                  </a:lnTo>
                  <a:lnTo>
                    <a:pt x="166" y="311"/>
                  </a:lnTo>
                  <a:lnTo>
                    <a:pt x="166" y="271"/>
                  </a:lnTo>
                  <a:lnTo>
                    <a:pt x="175" y="274"/>
                  </a:lnTo>
                  <a:lnTo>
                    <a:pt x="186" y="276"/>
                  </a:lnTo>
                  <a:lnTo>
                    <a:pt x="195" y="277"/>
                  </a:lnTo>
                  <a:lnTo>
                    <a:pt x="205" y="278"/>
                  </a:lnTo>
                  <a:lnTo>
                    <a:pt x="215" y="277"/>
                  </a:lnTo>
                  <a:lnTo>
                    <a:pt x="223" y="276"/>
                  </a:lnTo>
                  <a:lnTo>
                    <a:pt x="233" y="275"/>
                  </a:lnTo>
                  <a:lnTo>
                    <a:pt x="241" y="272"/>
                  </a:lnTo>
                  <a:lnTo>
                    <a:pt x="241" y="311"/>
                  </a:lnTo>
                  <a:lnTo>
                    <a:pt x="354" y="340"/>
                  </a:lnTo>
                  <a:lnTo>
                    <a:pt x="358" y="343"/>
                  </a:lnTo>
                  <a:lnTo>
                    <a:pt x="363" y="346"/>
                  </a:lnTo>
                  <a:lnTo>
                    <a:pt x="367" y="349"/>
                  </a:lnTo>
                  <a:lnTo>
                    <a:pt x="370" y="353"/>
                  </a:lnTo>
                  <a:lnTo>
                    <a:pt x="373" y="359"/>
                  </a:lnTo>
                  <a:lnTo>
                    <a:pt x="374" y="364"/>
                  </a:lnTo>
                  <a:lnTo>
                    <a:pt x="377" y="369"/>
                  </a:lnTo>
                  <a:lnTo>
                    <a:pt x="377" y="376"/>
                  </a:lnTo>
                  <a:lnTo>
                    <a:pt x="239" y="376"/>
                  </a:lnTo>
                  <a:lnTo>
                    <a:pt x="202" y="376"/>
                  </a:lnTo>
                  <a:lnTo>
                    <a:pt x="30" y="376"/>
                  </a:lnTo>
                  <a:close/>
                  <a:moveTo>
                    <a:pt x="106" y="139"/>
                  </a:moveTo>
                  <a:lnTo>
                    <a:pt x="106" y="138"/>
                  </a:lnTo>
                  <a:lnTo>
                    <a:pt x="106" y="136"/>
                  </a:lnTo>
                  <a:lnTo>
                    <a:pt x="120" y="140"/>
                  </a:lnTo>
                  <a:lnTo>
                    <a:pt x="134" y="142"/>
                  </a:lnTo>
                  <a:lnTo>
                    <a:pt x="149" y="142"/>
                  </a:lnTo>
                  <a:lnTo>
                    <a:pt x="164" y="141"/>
                  </a:lnTo>
                  <a:lnTo>
                    <a:pt x="179" y="139"/>
                  </a:lnTo>
                  <a:lnTo>
                    <a:pt x="193" y="134"/>
                  </a:lnTo>
                  <a:lnTo>
                    <a:pt x="208" y="127"/>
                  </a:lnTo>
                  <a:lnTo>
                    <a:pt x="221" y="119"/>
                  </a:lnTo>
                  <a:lnTo>
                    <a:pt x="226" y="124"/>
                  </a:lnTo>
                  <a:lnTo>
                    <a:pt x="232" y="128"/>
                  </a:lnTo>
                  <a:lnTo>
                    <a:pt x="237" y="131"/>
                  </a:lnTo>
                  <a:lnTo>
                    <a:pt x="243" y="135"/>
                  </a:lnTo>
                  <a:lnTo>
                    <a:pt x="249" y="138"/>
                  </a:lnTo>
                  <a:lnTo>
                    <a:pt x="255" y="140"/>
                  </a:lnTo>
                  <a:lnTo>
                    <a:pt x="262" y="142"/>
                  </a:lnTo>
                  <a:lnTo>
                    <a:pt x="269" y="143"/>
                  </a:lnTo>
                  <a:lnTo>
                    <a:pt x="276" y="144"/>
                  </a:lnTo>
                  <a:lnTo>
                    <a:pt x="282" y="144"/>
                  </a:lnTo>
                  <a:lnTo>
                    <a:pt x="293" y="143"/>
                  </a:lnTo>
                  <a:lnTo>
                    <a:pt x="304" y="141"/>
                  </a:lnTo>
                  <a:lnTo>
                    <a:pt x="304" y="152"/>
                  </a:lnTo>
                  <a:lnTo>
                    <a:pt x="302" y="162"/>
                  </a:lnTo>
                  <a:lnTo>
                    <a:pt x="299" y="173"/>
                  </a:lnTo>
                  <a:lnTo>
                    <a:pt x="296" y="183"/>
                  </a:lnTo>
                  <a:lnTo>
                    <a:pt x="292" y="191"/>
                  </a:lnTo>
                  <a:lnTo>
                    <a:pt x="287" y="201"/>
                  </a:lnTo>
                  <a:lnTo>
                    <a:pt x="281" y="209"/>
                  </a:lnTo>
                  <a:lnTo>
                    <a:pt x="275" y="216"/>
                  </a:lnTo>
                  <a:lnTo>
                    <a:pt x="267" y="224"/>
                  </a:lnTo>
                  <a:lnTo>
                    <a:pt x="260" y="230"/>
                  </a:lnTo>
                  <a:lnTo>
                    <a:pt x="252" y="235"/>
                  </a:lnTo>
                  <a:lnTo>
                    <a:pt x="244" y="240"/>
                  </a:lnTo>
                  <a:lnTo>
                    <a:pt x="234" y="243"/>
                  </a:lnTo>
                  <a:lnTo>
                    <a:pt x="225" y="246"/>
                  </a:lnTo>
                  <a:lnTo>
                    <a:pt x="216" y="247"/>
                  </a:lnTo>
                  <a:lnTo>
                    <a:pt x="205" y="248"/>
                  </a:lnTo>
                  <a:lnTo>
                    <a:pt x="195" y="247"/>
                  </a:lnTo>
                  <a:lnTo>
                    <a:pt x="186" y="245"/>
                  </a:lnTo>
                  <a:lnTo>
                    <a:pt x="176" y="243"/>
                  </a:lnTo>
                  <a:lnTo>
                    <a:pt x="166" y="240"/>
                  </a:lnTo>
                  <a:lnTo>
                    <a:pt x="158" y="234"/>
                  </a:lnTo>
                  <a:lnTo>
                    <a:pt x="150" y="229"/>
                  </a:lnTo>
                  <a:lnTo>
                    <a:pt x="143" y="223"/>
                  </a:lnTo>
                  <a:lnTo>
                    <a:pt x="135" y="216"/>
                  </a:lnTo>
                  <a:lnTo>
                    <a:pt x="129" y="208"/>
                  </a:lnTo>
                  <a:lnTo>
                    <a:pt x="124" y="200"/>
                  </a:lnTo>
                  <a:lnTo>
                    <a:pt x="118" y="190"/>
                  </a:lnTo>
                  <a:lnTo>
                    <a:pt x="114" y="181"/>
                  </a:lnTo>
                  <a:lnTo>
                    <a:pt x="111" y="171"/>
                  </a:lnTo>
                  <a:lnTo>
                    <a:pt x="109" y="160"/>
                  </a:lnTo>
                  <a:lnTo>
                    <a:pt x="107" y="150"/>
                  </a:lnTo>
                  <a:lnTo>
                    <a:pt x="106" y="139"/>
                  </a:lnTo>
                  <a:close/>
                  <a:moveTo>
                    <a:pt x="205" y="30"/>
                  </a:moveTo>
                  <a:lnTo>
                    <a:pt x="214" y="30"/>
                  </a:lnTo>
                  <a:lnTo>
                    <a:pt x="222" y="32"/>
                  </a:lnTo>
                  <a:lnTo>
                    <a:pt x="230" y="33"/>
                  </a:lnTo>
                  <a:lnTo>
                    <a:pt x="238" y="36"/>
                  </a:lnTo>
                  <a:lnTo>
                    <a:pt x="246" y="39"/>
                  </a:lnTo>
                  <a:lnTo>
                    <a:pt x="252" y="43"/>
                  </a:lnTo>
                  <a:lnTo>
                    <a:pt x="260" y="48"/>
                  </a:lnTo>
                  <a:lnTo>
                    <a:pt x="266" y="53"/>
                  </a:lnTo>
                  <a:lnTo>
                    <a:pt x="271" y="58"/>
                  </a:lnTo>
                  <a:lnTo>
                    <a:pt x="278" y="65"/>
                  </a:lnTo>
                  <a:lnTo>
                    <a:pt x="282" y="71"/>
                  </a:lnTo>
                  <a:lnTo>
                    <a:pt x="288" y="78"/>
                  </a:lnTo>
                  <a:lnTo>
                    <a:pt x="292" y="85"/>
                  </a:lnTo>
                  <a:lnTo>
                    <a:pt x="295" y="94"/>
                  </a:lnTo>
                  <a:lnTo>
                    <a:pt x="298" y="102"/>
                  </a:lnTo>
                  <a:lnTo>
                    <a:pt x="300" y="110"/>
                  </a:lnTo>
                  <a:lnTo>
                    <a:pt x="295" y="112"/>
                  </a:lnTo>
                  <a:lnTo>
                    <a:pt x="289" y="113"/>
                  </a:lnTo>
                  <a:lnTo>
                    <a:pt x="281" y="114"/>
                  </a:lnTo>
                  <a:lnTo>
                    <a:pt x="274" y="113"/>
                  </a:lnTo>
                  <a:lnTo>
                    <a:pt x="265" y="112"/>
                  </a:lnTo>
                  <a:lnTo>
                    <a:pt x="255" y="108"/>
                  </a:lnTo>
                  <a:lnTo>
                    <a:pt x="250" y="105"/>
                  </a:lnTo>
                  <a:lnTo>
                    <a:pt x="246" y="100"/>
                  </a:lnTo>
                  <a:lnTo>
                    <a:pt x="241" y="96"/>
                  </a:lnTo>
                  <a:lnTo>
                    <a:pt x="237" y="90"/>
                  </a:lnTo>
                  <a:lnTo>
                    <a:pt x="235" y="87"/>
                  </a:lnTo>
                  <a:lnTo>
                    <a:pt x="233" y="84"/>
                  </a:lnTo>
                  <a:lnTo>
                    <a:pt x="230" y="83"/>
                  </a:lnTo>
                  <a:lnTo>
                    <a:pt x="226" y="82"/>
                  </a:lnTo>
                  <a:lnTo>
                    <a:pt x="223" y="82"/>
                  </a:lnTo>
                  <a:lnTo>
                    <a:pt x="220" y="83"/>
                  </a:lnTo>
                  <a:lnTo>
                    <a:pt x="217" y="84"/>
                  </a:lnTo>
                  <a:lnTo>
                    <a:pt x="214" y="86"/>
                  </a:lnTo>
                  <a:lnTo>
                    <a:pt x="208" y="92"/>
                  </a:lnTo>
                  <a:lnTo>
                    <a:pt x="202" y="96"/>
                  </a:lnTo>
                  <a:lnTo>
                    <a:pt x="195" y="100"/>
                  </a:lnTo>
                  <a:lnTo>
                    <a:pt x="189" y="104"/>
                  </a:lnTo>
                  <a:lnTo>
                    <a:pt x="181" y="107"/>
                  </a:lnTo>
                  <a:lnTo>
                    <a:pt x="175" y="109"/>
                  </a:lnTo>
                  <a:lnTo>
                    <a:pt x="167" y="111"/>
                  </a:lnTo>
                  <a:lnTo>
                    <a:pt x="161" y="112"/>
                  </a:lnTo>
                  <a:lnTo>
                    <a:pt x="147" y="113"/>
                  </a:lnTo>
                  <a:lnTo>
                    <a:pt x="134" y="112"/>
                  </a:lnTo>
                  <a:lnTo>
                    <a:pt x="121" y="110"/>
                  </a:lnTo>
                  <a:lnTo>
                    <a:pt x="111" y="106"/>
                  </a:lnTo>
                  <a:lnTo>
                    <a:pt x="114" y="97"/>
                  </a:lnTo>
                  <a:lnTo>
                    <a:pt x="117" y="90"/>
                  </a:lnTo>
                  <a:lnTo>
                    <a:pt x="121" y="82"/>
                  </a:lnTo>
                  <a:lnTo>
                    <a:pt x="125" y="76"/>
                  </a:lnTo>
                  <a:lnTo>
                    <a:pt x="130" y="68"/>
                  </a:lnTo>
                  <a:lnTo>
                    <a:pt x="135" y="63"/>
                  </a:lnTo>
                  <a:lnTo>
                    <a:pt x="141" y="56"/>
                  </a:lnTo>
                  <a:lnTo>
                    <a:pt x="146" y="51"/>
                  </a:lnTo>
                  <a:lnTo>
                    <a:pt x="152" y="47"/>
                  </a:lnTo>
                  <a:lnTo>
                    <a:pt x="160" y="42"/>
                  </a:lnTo>
                  <a:lnTo>
                    <a:pt x="166" y="38"/>
                  </a:lnTo>
                  <a:lnTo>
                    <a:pt x="174" y="35"/>
                  </a:lnTo>
                  <a:lnTo>
                    <a:pt x="181" y="33"/>
                  </a:lnTo>
                  <a:lnTo>
                    <a:pt x="189" y="31"/>
                  </a:lnTo>
                  <a:lnTo>
                    <a:pt x="198" y="30"/>
                  </a:lnTo>
                  <a:lnTo>
                    <a:pt x="205" y="30"/>
                  </a:lnTo>
                  <a:close/>
                  <a:moveTo>
                    <a:pt x="239" y="406"/>
                  </a:moveTo>
                  <a:lnTo>
                    <a:pt x="407" y="406"/>
                  </a:lnTo>
                  <a:lnTo>
                    <a:pt x="407" y="376"/>
                  </a:lnTo>
                  <a:lnTo>
                    <a:pt x="406" y="365"/>
                  </a:lnTo>
                  <a:lnTo>
                    <a:pt x="403" y="354"/>
                  </a:lnTo>
                  <a:lnTo>
                    <a:pt x="399" y="345"/>
                  </a:lnTo>
                  <a:lnTo>
                    <a:pt x="394" y="336"/>
                  </a:lnTo>
                  <a:lnTo>
                    <a:pt x="387" y="328"/>
                  </a:lnTo>
                  <a:lnTo>
                    <a:pt x="380" y="321"/>
                  </a:lnTo>
                  <a:lnTo>
                    <a:pt x="371" y="316"/>
                  </a:lnTo>
                  <a:lnTo>
                    <a:pt x="363" y="311"/>
                  </a:lnTo>
                  <a:lnTo>
                    <a:pt x="271" y="289"/>
                  </a:lnTo>
                  <a:lnTo>
                    <a:pt x="271" y="258"/>
                  </a:lnTo>
                  <a:lnTo>
                    <a:pt x="278" y="253"/>
                  </a:lnTo>
                  <a:lnTo>
                    <a:pt x="284" y="248"/>
                  </a:lnTo>
                  <a:lnTo>
                    <a:pt x="291" y="242"/>
                  </a:lnTo>
                  <a:lnTo>
                    <a:pt x="297" y="236"/>
                  </a:lnTo>
                  <a:lnTo>
                    <a:pt x="308" y="223"/>
                  </a:lnTo>
                  <a:lnTo>
                    <a:pt x="317" y="209"/>
                  </a:lnTo>
                  <a:lnTo>
                    <a:pt x="321" y="200"/>
                  </a:lnTo>
                  <a:lnTo>
                    <a:pt x="324" y="192"/>
                  </a:lnTo>
                  <a:lnTo>
                    <a:pt x="327" y="184"/>
                  </a:lnTo>
                  <a:lnTo>
                    <a:pt x="329" y="175"/>
                  </a:lnTo>
                  <a:lnTo>
                    <a:pt x="332" y="167"/>
                  </a:lnTo>
                  <a:lnTo>
                    <a:pt x="333" y="157"/>
                  </a:lnTo>
                  <a:lnTo>
                    <a:pt x="334" y="149"/>
                  </a:lnTo>
                  <a:lnTo>
                    <a:pt x="334" y="139"/>
                  </a:lnTo>
                  <a:lnTo>
                    <a:pt x="334" y="125"/>
                  </a:lnTo>
                  <a:lnTo>
                    <a:pt x="332" y="111"/>
                  </a:lnTo>
                  <a:lnTo>
                    <a:pt x="328" y="97"/>
                  </a:lnTo>
                  <a:lnTo>
                    <a:pt x="324" y="84"/>
                  </a:lnTo>
                  <a:lnTo>
                    <a:pt x="319" y="72"/>
                  </a:lnTo>
                  <a:lnTo>
                    <a:pt x="312" y="61"/>
                  </a:lnTo>
                  <a:lnTo>
                    <a:pt x="305" y="50"/>
                  </a:lnTo>
                  <a:lnTo>
                    <a:pt x="296" y="40"/>
                  </a:lnTo>
                  <a:lnTo>
                    <a:pt x="288" y="32"/>
                  </a:lnTo>
                  <a:lnTo>
                    <a:pt x="277" y="23"/>
                  </a:lnTo>
                  <a:lnTo>
                    <a:pt x="266" y="17"/>
                  </a:lnTo>
                  <a:lnTo>
                    <a:pt x="255" y="10"/>
                  </a:lnTo>
                  <a:lnTo>
                    <a:pt x="244" y="6"/>
                  </a:lnTo>
                  <a:lnTo>
                    <a:pt x="231" y="3"/>
                  </a:lnTo>
                  <a:lnTo>
                    <a:pt x="219" y="1"/>
                  </a:lnTo>
                  <a:lnTo>
                    <a:pt x="205" y="0"/>
                  </a:lnTo>
                  <a:lnTo>
                    <a:pt x="192" y="1"/>
                  </a:lnTo>
                  <a:lnTo>
                    <a:pt x="179" y="3"/>
                  </a:lnTo>
                  <a:lnTo>
                    <a:pt x="167" y="6"/>
                  </a:lnTo>
                  <a:lnTo>
                    <a:pt x="156" y="10"/>
                  </a:lnTo>
                  <a:lnTo>
                    <a:pt x="144" y="17"/>
                  </a:lnTo>
                  <a:lnTo>
                    <a:pt x="133" y="23"/>
                  </a:lnTo>
                  <a:lnTo>
                    <a:pt x="124" y="32"/>
                  </a:lnTo>
                  <a:lnTo>
                    <a:pt x="114" y="40"/>
                  </a:lnTo>
                  <a:lnTo>
                    <a:pt x="106" y="50"/>
                  </a:lnTo>
                  <a:lnTo>
                    <a:pt x="99" y="61"/>
                  </a:lnTo>
                  <a:lnTo>
                    <a:pt x="92" y="72"/>
                  </a:lnTo>
                  <a:lnTo>
                    <a:pt x="87" y="84"/>
                  </a:lnTo>
                  <a:lnTo>
                    <a:pt x="83" y="97"/>
                  </a:lnTo>
                  <a:lnTo>
                    <a:pt x="80" y="111"/>
                  </a:lnTo>
                  <a:lnTo>
                    <a:pt x="77" y="125"/>
                  </a:lnTo>
                  <a:lnTo>
                    <a:pt x="76" y="139"/>
                  </a:lnTo>
                  <a:lnTo>
                    <a:pt x="76" y="147"/>
                  </a:lnTo>
                  <a:lnTo>
                    <a:pt x="77" y="157"/>
                  </a:lnTo>
                  <a:lnTo>
                    <a:pt x="78" y="166"/>
                  </a:lnTo>
                  <a:lnTo>
                    <a:pt x="81" y="174"/>
                  </a:lnTo>
                  <a:lnTo>
                    <a:pt x="86" y="190"/>
                  </a:lnTo>
                  <a:lnTo>
                    <a:pt x="92" y="206"/>
                  </a:lnTo>
                  <a:lnTo>
                    <a:pt x="101" y="220"/>
                  </a:lnTo>
                  <a:lnTo>
                    <a:pt x="112" y="234"/>
                  </a:lnTo>
                  <a:lnTo>
                    <a:pt x="124" y="246"/>
                  </a:lnTo>
                  <a:lnTo>
                    <a:pt x="136" y="256"/>
                  </a:lnTo>
                  <a:lnTo>
                    <a:pt x="136" y="289"/>
                  </a:lnTo>
                  <a:lnTo>
                    <a:pt x="48" y="313"/>
                  </a:lnTo>
                  <a:lnTo>
                    <a:pt x="39" y="316"/>
                  </a:lnTo>
                  <a:lnTo>
                    <a:pt x="29" y="321"/>
                  </a:lnTo>
                  <a:lnTo>
                    <a:pt x="22" y="328"/>
                  </a:lnTo>
                  <a:lnTo>
                    <a:pt x="14" y="336"/>
                  </a:lnTo>
                  <a:lnTo>
                    <a:pt x="9" y="345"/>
                  </a:lnTo>
                  <a:lnTo>
                    <a:pt x="5" y="354"/>
                  </a:lnTo>
                  <a:lnTo>
                    <a:pt x="1" y="364"/>
                  </a:lnTo>
                  <a:lnTo>
                    <a:pt x="0" y="375"/>
                  </a:lnTo>
                  <a:lnTo>
                    <a:pt x="0" y="406"/>
                  </a:lnTo>
                  <a:lnTo>
                    <a:pt x="202" y="406"/>
                  </a:lnTo>
                  <a:lnTo>
                    <a:pt x="239" y="40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8" name="Freeform 88"/>
            <p:cNvSpPr>
              <a:spLocks noEditPoints="1"/>
            </p:cNvSpPr>
            <p:nvPr/>
          </p:nvSpPr>
          <p:spPr bwMode="auto">
            <a:xfrm>
              <a:off x="5622925" y="1920875"/>
              <a:ext cx="128588" cy="128588"/>
            </a:xfrm>
            <a:custGeom>
              <a:avLst/>
              <a:gdLst>
                <a:gd name="T0" fmla="*/ 30 w 406"/>
                <a:gd name="T1" fmla="*/ 375 h 406"/>
                <a:gd name="T2" fmla="*/ 37 w 406"/>
                <a:gd name="T3" fmla="*/ 354 h 406"/>
                <a:gd name="T4" fmla="*/ 55 w 406"/>
                <a:gd name="T5" fmla="*/ 342 h 406"/>
                <a:gd name="T6" fmla="*/ 184 w 406"/>
                <a:gd name="T7" fmla="*/ 276 h 406"/>
                <a:gd name="T8" fmla="*/ 223 w 406"/>
                <a:gd name="T9" fmla="*/ 276 h 406"/>
                <a:gd name="T10" fmla="*/ 353 w 406"/>
                <a:gd name="T11" fmla="*/ 340 h 406"/>
                <a:gd name="T12" fmla="*/ 370 w 406"/>
                <a:gd name="T13" fmla="*/ 353 h 406"/>
                <a:gd name="T14" fmla="*/ 376 w 406"/>
                <a:gd name="T15" fmla="*/ 376 h 406"/>
                <a:gd name="T16" fmla="*/ 106 w 406"/>
                <a:gd name="T17" fmla="*/ 136 h 406"/>
                <a:gd name="T18" fmla="*/ 163 w 406"/>
                <a:gd name="T19" fmla="*/ 141 h 406"/>
                <a:gd name="T20" fmla="*/ 221 w 406"/>
                <a:gd name="T21" fmla="*/ 119 h 406"/>
                <a:gd name="T22" fmla="*/ 242 w 406"/>
                <a:gd name="T23" fmla="*/ 135 h 406"/>
                <a:gd name="T24" fmla="*/ 269 w 406"/>
                <a:gd name="T25" fmla="*/ 143 h 406"/>
                <a:gd name="T26" fmla="*/ 303 w 406"/>
                <a:gd name="T27" fmla="*/ 141 h 406"/>
                <a:gd name="T28" fmla="*/ 294 w 406"/>
                <a:gd name="T29" fmla="*/ 183 h 406"/>
                <a:gd name="T30" fmla="*/ 274 w 406"/>
                <a:gd name="T31" fmla="*/ 216 h 406"/>
                <a:gd name="T32" fmla="*/ 243 w 406"/>
                <a:gd name="T33" fmla="*/ 240 h 406"/>
                <a:gd name="T34" fmla="*/ 204 w 406"/>
                <a:gd name="T35" fmla="*/ 248 h 406"/>
                <a:gd name="T36" fmla="*/ 166 w 406"/>
                <a:gd name="T37" fmla="*/ 240 h 406"/>
                <a:gd name="T38" fmla="*/ 135 w 406"/>
                <a:gd name="T39" fmla="*/ 216 h 406"/>
                <a:gd name="T40" fmla="*/ 113 w 406"/>
                <a:gd name="T41" fmla="*/ 181 h 406"/>
                <a:gd name="T42" fmla="*/ 106 w 406"/>
                <a:gd name="T43" fmla="*/ 139 h 406"/>
                <a:gd name="T44" fmla="*/ 229 w 406"/>
                <a:gd name="T45" fmla="*/ 33 h 406"/>
                <a:gd name="T46" fmla="*/ 259 w 406"/>
                <a:gd name="T47" fmla="*/ 48 h 406"/>
                <a:gd name="T48" fmla="*/ 282 w 406"/>
                <a:gd name="T49" fmla="*/ 71 h 406"/>
                <a:gd name="T50" fmla="*/ 298 w 406"/>
                <a:gd name="T51" fmla="*/ 102 h 406"/>
                <a:gd name="T52" fmla="*/ 281 w 406"/>
                <a:gd name="T53" fmla="*/ 114 h 406"/>
                <a:gd name="T54" fmla="*/ 249 w 406"/>
                <a:gd name="T55" fmla="*/ 105 h 406"/>
                <a:gd name="T56" fmla="*/ 234 w 406"/>
                <a:gd name="T57" fmla="*/ 87 h 406"/>
                <a:gd name="T58" fmla="*/ 223 w 406"/>
                <a:gd name="T59" fmla="*/ 82 h 406"/>
                <a:gd name="T60" fmla="*/ 207 w 406"/>
                <a:gd name="T61" fmla="*/ 92 h 406"/>
                <a:gd name="T62" fmla="*/ 181 w 406"/>
                <a:gd name="T63" fmla="*/ 107 h 406"/>
                <a:gd name="T64" fmla="*/ 147 w 406"/>
                <a:gd name="T65" fmla="*/ 113 h 406"/>
                <a:gd name="T66" fmla="*/ 113 w 406"/>
                <a:gd name="T67" fmla="*/ 97 h 406"/>
                <a:gd name="T68" fmla="*/ 129 w 406"/>
                <a:gd name="T69" fmla="*/ 68 h 406"/>
                <a:gd name="T70" fmla="*/ 152 w 406"/>
                <a:gd name="T71" fmla="*/ 47 h 406"/>
                <a:gd name="T72" fmla="*/ 181 w 406"/>
                <a:gd name="T73" fmla="*/ 33 h 406"/>
                <a:gd name="T74" fmla="*/ 361 w 406"/>
                <a:gd name="T75" fmla="*/ 311 h 406"/>
                <a:gd name="T76" fmla="*/ 284 w 406"/>
                <a:gd name="T77" fmla="*/ 248 h 406"/>
                <a:gd name="T78" fmla="*/ 316 w 406"/>
                <a:gd name="T79" fmla="*/ 209 h 406"/>
                <a:gd name="T80" fmla="*/ 329 w 406"/>
                <a:gd name="T81" fmla="*/ 175 h 406"/>
                <a:gd name="T82" fmla="*/ 333 w 406"/>
                <a:gd name="T83" fmla="*/ 139 h 406"/>
                <a:gd name="T84" fmla="*/ 323 w 406"/>
                <a:gd name="T85" fmla="*/ 84 h 406"/>
                <a:gd name="T86" fmla="*/ 296 w 406"/>
                <a:gd name="T87" fmla="*/ 40 h 406"/>
                <a:gd name="T88" fmla="*/ 255 w 406"/>
                <a:gd name="T89" fmla="*/ 10 h 406"/>
                <a:gd name="T90" fmla="*/ 204 w 406"/>
                <a:gd name="T91" fmla="*/ 0 h 406"/>
                <a:gd name="T92" fmla="*/ 154 w 406"/>
                <a:gd name="T93" fmla="*/ 10 h 406"/>
                <a:gd name="T94" fmla="*/ 113 w 406"/>
                <a:gd name="T95" fmla="*/ 40 h 406"/>
                <a:gd name="T96" fmla="*/ 85 w 406"/>
                <a:gd name="T97" fmla="*/ 84 h 406"/>
                <a:gd name="T98" fmla="*/ 76 w 406"/>
                <a:gd name="T99" fmla="*/ 139 h 406"/>
                <a:gd name="T100" fmla="*/ 80 w 406"/>
                <a:gd name="T101" fmla="*/ 174 h 406"/>
                <a:gd name="T102" fmla="*/ 111 w 406"/>
                <a:gd name="T103" fmla="*/ 234 h 406"/>
                <a:gd name="T104" fmla="*/ 47 w 406"/>
                <a:gd name="T105" fmla="*/ 313 h 406"/>
                <a:gd name="T106" fmla="*/ 14 w 406"/>
                <a:gd name="T107" fmla="*/ 336 h 406"/>
                <a:gd name="T108" fmla="*/ 0 w 406"/>
                <a:gd name="T109" fmla="*/ 375 h 406"/>
                <a:gd name="T110" fmla="*/ 406 w 406"/>
                <a:gd name="T111" fmla="*/ 406 h 406"/>
                <a:gd name="T112" fmla="*/ 398 w 406"/>
                <a:gd name="T113" fmla="*/ 345 h 406"/>
                <a:gd name="T114" fmla="*/ 371 w 406"/>
                <a:gd name="T115" fmla="*/ 31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06" h="406">
                  <a:moveTo>
                    <a:pt x="239" y="376"/>
                  </a:moveTo>
                  <a:lnTo>
                    <a:pt x="201" y="376"/>
                  </a:lnTo>
                  <a:lnTo>
                    <a:pt x="30" y="376"/>
                  </a:lnTo>
                  <a:lnTo>
                    <a:pt x="30" y="375"/>
                  </a:lnTo>
                  <a:lnTo>
                    <a:pt x="31" y="369"/>
                  </a:lnTo>
                  <a:lnTo>
                    <a:pt x="32" y="364"/>
                  </a:lnTo>
                  <a:lnTo>
                    <a:pt x="34" y="359"/>
                  </a:lnTo>
                  <a:lnTo>
                    <a:pt x="37" y="354"/>
                  </a:lnTo>
                  <a:lnTo>
                    <a:pt x="41" y="350"/>
                  </a:lnTo>
                  <a:lnTo>
                    <a:pt x="46" y="346"/>
                  </a:lnTo>
                  <a:lnTo>
                    <a:pt x="50" y="343"/>
                  </a:lnTo>
                  <a:lnTo>
                    <a:pt x="55" y="342"/>
                  </a:lnTo>
                  <a:lnTo>
                    <a:pt x="166" y="311"/>
                  </a:lnTo>
                  <a:lnTo>
                    <a:pt x="166" y="271"/>
                  </a:lnTo>
                  <a:lnTo>
                    <a:pt x="174" y="274"/>
                  </a:lnTo>
                  <a:lnTo>
                    <a:pt x="184" y="276"/>
                  </a:lnTo>
                  <a:lnTo>
                    <a:pt x="195" y="277"/>
                  </a:lnTo>
                  <a:lnTo>
                    <a:pt x="204" y="278"/>
                  </a:lnTo>
                  <a:lnTo>
                    <a:pt x="214" y="277"/>
                  </a:lnTo>
                  <a:lnTo>
                    <a:pt x="223" y="276"/>
                  </a:lnTo>
                  <a:lnTo>
                    <a:pt x="232" y="275"/>
                  </a:lnTo>
                  <a:lnTo>
                    <a:pt x="241" y="272"/>
                  </a:lnTo>
                  <a:lnTo>
                    <a:pt x="241" y="311"/>
                  </a:lnTo>
                  <a:lnTo>
                    <a:pt x="353" y="340"/>
                  </a:lnTo>
                  <a:lnTo>
                    <a:pt x="358" y="343"/>
                  </a:lnTo>
                  <a:lnTo>
                    <a:pt x="362" y="346"/>
                  </a:lnTo>
                  <a:lnTo>
                    <a:pt x="366" y="349"/>
                  </a:lnTo>
                  <a:lnTo>
                    <a:pt x="370" y="353"/>
                  </a:lnTo>
                  <a:lnTo>
                    <a:pt x="372" y="359"/>
                  </a:lnTo>
                  <a:lnTo>
                    <a:pt x="374" y="364"/>
                  </a:lnTo>
                  <a:lnTo>
                    <a:pt x="376" y="369"/>
                  </a:lnTo>
                  <a:lnTo>
                    <a:pt x="376" y="376"/>
                  </a:lnTo>
                  <a:lnTo>
                    <a:pt x="239" y="376"/>
                  </a:lnTo>
                  <a:close/>
                  <a:moveTo>
                    <a:pt x="106" y="139"/>
                  </a:moveTo>
                  <a:lnTo>
                    <a:pt x="106" y="138"/>
                  </a:lnTo>
                  <a:lnTo>
                    <a:pt x="106" y="136"/>
                  </a:lnTo>
                  <a:lnTo>
                    <a:pt x="119" y="140"/>
                  </a:lnTo>
                  <a:lnTo>
                    <a:pt x="134" y="142"/>
                  </a:lnTo>
                  <a:lnTo>
                    <a:pt x="148" y="142"/>
                  </a:lnTo>
                  <a:lnTo>
                    <a:pt x="163" y="141"/>
                  </a:lnTo>
                  <a:lnTo>
                    <a:pt x="178" y="139"/>
                  </a:lnTo>
                  <a:lnTo>
                    <a:pt x="193" y="134"/>
                  </a:lnTo>
                  <a:lnTo>
                    <a:pt x="208" y="127"/>
                  </a:lnTo>
                  <a:lnTo>
                    <a:pt x="221" y="119"/>
                  </a:lnTo>
                  <a:lnTo>
                    <a:pt x="226" y="124"/>
                  </a:lnTo>
                  <a:lnTo>
                    <a:pt x="230" y="128"/>
                  </a:lnTo>
                  <a:lnTo>
                    <a:pt x="237" y="131"/>
                  </a:lnTo>
                  <a:lnTo>
                    <a:pt x="242" y="135"/>
                  </a:lnTo>
                  <a:lnTo>
                    <a:pt x="248" y="138"/>
                  </a:lnTo>
                  <a:lnTo>
                    <a:pt x="255" y="140"/>
                  </a:lnTo>
                  <a:lnTo>
                    <a:pt x="261" y="142"/>
                  </a:lnTo>
                  <a:lnTo>
                    <a:pt x="269" y="143"/>
                  </a:lnTo>
                  <a:lnTo>
                    <a:pt x="275" y="144"/>
                  </a:lnTo>
                  <a:lnTo>
                    <a:pt x="282" y="144"/>
                  </a:lnTo>
                  <a:lnTo>
                    <a:pt x="292" y="143"/>
                  </a:lnTo>
                  <a:lnTo>
                    <a:pt x="303" y="141"/>
                  </a:lnTo>
                  <a:lnTo>
                    <a:pt x="303" y="152"/>
                  </a:lnTo>
                  <a:lnTo>
                    <a:pt x="301" y="162"/>
                  </a:lnTo>
                  <a:lnTo>
                    <a:pt x="299" y="173"/>
                  </a:lnTo>
                  <a:lnTo>
                    <a:pt x="294" y="183"/>
                  </a:lnTo>
                  <a:lnTo>
                    <a:pt x="290" y="191"/>
                  </a:lnTo>
                  <a:lnTo>
                    <a:pt x="286" y="201"/>
                  </a:lnTo>
                  <a:lnTo>
                    <a:pt x="279" y="209"/>
                  </a:lnTo>
                  <a:lnTo>
                    <a:pt x="274" y="216"/>
                  </a:lnTo>
                  <a:lnTo>
                    <a:pt x="267" y="224"/>
                  </a:lnTo>
                  <a:lnTo>
                    <a:pt x="259" y="230"/>
                  </a:lnTo>
                  <a:lnTo>
                    <a:pt x="251" y="235"/>
                  </a:lnTo>
                  <a:lnTo>
                    <a:pt x="243" y="240"/>
                  </a:lnTo>
                  <a:lnTo>
                    <a:pt x="233" y="243"/>
                  </a:lnTo>
                  <a:lnTo>
                    <a:pt x="224" y="246"/>
                  </a:lnTo>
                  <a:lnTo>
                    <a:pt x="214" y="247"/>
                  </a:lnTo>
                  <a:lnTo>
                    <a:pt x="204" y="248"/>
                  </a:lnTo>
                  <a:lnTo>
                    <a:pt x="195" y="247"/>
                  </a:lnTo>
                  <a:lnTo>
                    <a:pt x="185" y="245"/>
                  </a:lnTo>
                  <a:lnTo>
                    <a:pt x="175" y="243"/>
                  </a:lnTo>
                  <a:lnTo>
                    <a:pt x="166" y="240"/>
                  </a:lnTo>
                  <a:lnTo>
                    <a:pt x="157" y="234"/>
                  </a:lnTo>
                  <a:lnTo>
                    <a:pt x="150" y="229"/>
                  </a:lnTo>
                  <a:lnTo>
                    <a:pt x="142" y="223"/>
                  </a:lnTo>
                  <a:lnTo>
                    <a:pt x="135" y="216"/>
                  </a:lnTo>
                  <a:lnTo>
                    <a:pt x="128" y="208"/>
                  </a:lnTo>
                  <a:lnTo>
                    <a:pt x="123" y="200"/>
                  </a:lnTo>
                  <a:lnTo>
                    <a:pt x="118" y="190"/>
                  </a:lnTo>
                  <a:lnTo>
                    <a:pt x="113" y="181"/>
                  </a:lnTo>
                  <a:lnTo>
                    <a:pt x="110" y="171"/>
                  </a:lnTo>
                  <a:lnTo>
                    <a:pt x="108" y="160"/>
                  </a:lnTo>
                  <a:lnTo>
                    <a:pt x="106" y="150"/>
                  </a:lnTo>
                  <a:lnTo>
                    <a:pt x="106" y="139"/>
                  </a:lnTo>
                  <a:close/>
                  <a:moveTo>
                    <a:pt x="204" y="30"/>
                  </a:moveTo>
                  <a:lnTo>
                    <a:pt x="213" y="30"/>
                  </a:lnTo>
                  <a:lnTo>
                    <a:pt x="222" y="32"/>
                  </a:lnTo>
                  <a:lnTo>
                    <a:pt x="229" y="33"/>
                  </a:lnTo>
                  <a:lnTo>
                    <a:pt x="238" y="36"/>
                  </a:lnTo>
                  <a:lnTo>
                    <a:pt x="244" y="39"/>
                  </a:lnTo>
                  <a:lnTo>
                    <a:pt x="252" y="43"/>
                  </a:lnTo>
                  <a:lnTo>
                    <a:pt x="259" y="48"/>
                  </a:lnTo>
                  <a:lnTo>
                    <a:pt x="266" y="53"/>
                  </a:lnTo>
                  <a:lnTo>
                    <a:pt x="271" y="58"/>
                  </a:lnTo>
                  <a:lnTo>
                    <a:pt x="276" y="65"/>
                  </a:lnTo>
                  <a:lnTo>
                    <a:pt x="282" y="71"/>
                  </a:lnTo>
                  <a:lnTo>
                    <a:pt x="287" y="78"/>
                  </a:lnTo>
                  <a:lnTo>
                    <a:pt x="291" y="85"/>
                  </a:lnTo>
                  <a:lnTo>
                    <a:pt x="294" y="94"/>
                  </a:lnTo>
                  <a:lnTo>
                    <a:pt x="298" y="102"/>
                  </a:lnTo>
                  <a:lnTo>
                    <a:pt x="300" y="110"/>
                  </a:lnTo>
                  <a:lnTo>
                    <a:pt x="294" y="112"/>
                  </a:lnTo>
                  <a:lnTo>
                    <a:pt x="288" y="113"/>
                  </a:lnTo>
                  <a:lnTo>
                    <a:pt x="281" y="114"/>
                  </a:lnTo>
                  <a:lnTo>
                    <a:pt x="273" y="113"/>
                  </a:lnTo>
                  <a:lnTo>
                    <a:pt x="264" y="112"/>
                  </a:lnTo>
                  <a:lnTo>
                    <a:pt x="255" y="108"/>
                  </a:lnTo>
                  <a:lnTo>
                    <a:pt x="249" y="105"/>
                  </a:lnTo>
                  <a:lnTo>
                    <a:pt x="245" y="100"/>
                  </a:lnTo>
                  <a:lnTo>
                    <a:pt x="241" y="96"/>
                  </a:lnTo>
                  <a:lnTo>
                    <a:pt x="237" y="90"/>
                  </a:lnTo>
                  <a:lnTo>
                    <a:pt x="234" y="87"/>
                  </a:lnTo>
                  <a:lnTo>
                    <a:pt x="232" y="84"/>
                  </a:lnTo>
                  <a:lnTo>
                    <a:pt x="229" y="83"/>
                  </a:lnTo>
                  <a:lnTo>
                    <a:pt x="226" y="82"/>
                  </a:lnTo>
                  <a:lnTo>
                    <a:pt x="223" y="82"/>
                  </a:lnTo>
                  <a:lnTo>
                    <a:pt x="218" y="83"/>
                  </a:lnTo>
                  <a:lnTo>
                    <a:pt x="216" y="84"/>
                  </a:lnTo>
                  <a:lnTo>
                    <a:pt x="213" y="86"/>
                  </a:lnTo>
                  <a:lnTo>
                    <a:pt x="207" y="92"/>
                  </a:lnTo>
                  <a:lnTo>
                    <a:pt x="201" y="96"/>
                  </a:lnTo>
                  <a:lnTo>
                    <a:pt x="195" y="100"/>
                  </a:lnTo>
                  <a:lnTo>
                    <a:pt x="188" y="104"/>
                  </a:lnTo>
                  <a:lnTo>
                    <a:pt x="181" y="107"/>
                  </a:lnTo>
                  <a:lnTo>
                    <a:pt x="174" y="109"/>
                  </a:lnTo>
                  <a:lnTo>
                    <a:pt x="167" y="111"/>
                  </a:lnTo>
                  <a:lnTo>
                    <a:pt x="160" y="112"/>
                  </a:lnTo>
                  <a:lnTo>
                    <a:pt x="147" y="113"/>
                  </a:lnTo>
                  <a:lnTo>
                    <a:pt x="134" y="112"/>
                  </a:lnTo>
                  <a:lnTo>
                    <a:pt x="121" y="110"/>
                  </a:lnTo>
                  <a:lnTo>
                    <a:pt x="110" y="106"/>
                  </a:lnTo>
                  <a:lnTo>
                    <a:pt x="113" y="97"/>
                  </a:lnTo>
                  <a:lnTo>
                    <a:pt x="117" y="90"/>
                  </a:lnTo>
                  <a:lnTo>
                    <a:pt x="120" y="82"/>
                  </a:lnTo>
                  <a:lnTo>
                    <a:pt x="124" y="76"/>
                  </a:lnTo>
                  <a:lnTo>
                    <a:pt x="129" y="68"/>
                  </a:lnTo>
                  <a:lnTo>
                    <a:pt x="135" y="63"/>
                  </a:lnTo>
                  <a:lnTo>
                    <a:pt x="140" y="56"/>
                  </a:lnTo>
                  <a:lnTo>
                    <a:pt x="145" y="51"/>
                  </a:lnTo>
                  <a:lnTo>
                    <a:pt x="152" y="47"/>
                  </a:lnTo>
                  <a:lnTo>
                    <a:pt x="158" y="42"/>
                  </a:lnTo>
                  <a:lnTo>
                    <a:pt x="166" y="38"/>
                  </a:lnTo>
                  <a:lnTo>
                    <a:pt x="173" y="35"/>
                  </a:lnTo>
                  <a:lnTo>
                    <a:pt x="181" y="33"/>
                  </a:lnTo>
                  <a:lnTo>
                    <a:pt x="188" y="31"/>
                  </a:lnTo>
                  <a:lnTo>
                    <a:pt x="197" y="30"/>
                  </a:lnTo>
                  <a:lnTo>
                    <a:pt x="204" y="30"/>
                  </a:lnTo>
                  <a:close/>
                  <a:moveTo>
                    <a:pt x="361" y="311"/>
                  </a:moveTo>
                  <a:lnTo>
                    <a:pt x="271" y="289"/>
                  </a:lnTo>
                  <a:lnTo>
                    <a:pt x="271" y="258"/>
                  </a:lnTo>
                  <a:lnTo>
                    <a:pt x="277" y="253"/>
                  </a:lnTo>
                  <a:lnTo>
                    <a:pt x="284" y="248"/>
                  </a:lnTo>
                  <a:lnTo>
                    <a:pt x="290" y="242"/>
                  </a:lnTo>
                  <a:lnTo>
                    <a:pt x="297" y="236"/>
                  </a:lnTo>
                  <a:lnTo>
                    <a:pt x="307" y="223"/>
                  </a:lnTo>
                  <a:lnTo>
                    <a:pt x="316" y="209"/>
                  </a:lnTo>
                  <a:lnTo>
                    <a:pt x="320" y="200"/>
                  </a:lnTo>
                  <a:lnTo>
                    <a:pt x="323" y="192"/>
                  </a:lnTo>
                  <a:lnTo>
                    <a:pt x="327" y="184"/>
                  </a:lnTo>
                  <a:lnTo>
                    <a:pt x="329" y="175"/>
                  </a:lnTo>
                  <a:lnTo>
                    <a:pt x="331" y="167"/>
                  </a:lnTo>
                  <a:lnTo>
                    <a:pt x="332" y="157"/>
                  </a:lnTo>
                  <a:lnTo>
                    <a:pt x="333" y="149"/>
                  </a:lnTo>
                  <a:lnTo>
                    <a:pt x="333" y="139"/>
                  </a:lnTo>
                  <a:lnTo>
                    <a:pt x="333" y="125"/>
                  </a:lnTo>
                  <a:lnTo>
                    <a:pt x="331" y="111"/>
                  </a:lnTo>
                  <a:lnTo>
                    <a:pt x="328" y="97"/>
                  </a:lnTo>
                  <a:lnTo>
                    <a:pt x="323" y="84"/>
                  </a:lnTo>
                  <a:lnTo>
                    <a:pt x="318" y="72"/>
                  </a:lnTo>
                  <a:lnTo>
                    <a:pt x="312" y="61"/>
                  </a:lnTo>
                  <a:lnTo>
                    <a:pt x="304" y="50"/>
                  </a:lnTo>
                  <a:lnTo>
                    <a:pt x="296" y="40"/>
                  </a:lnTo>
                  <a:lnTo>
                    <a:pt x="287" y="32"/>
                  </a:lnTo>
                  <a:lnTo>
                    <a:pt x="276" y="23"/>
                  </a:lnTo>
                  <a:lnTo>
                    <a:pt x="266" y="17"/>
                  </a:lnTo>
                  <a:lnTo>
                    <a:pt x="255" y="10"/>
                  </a:lnTo>
                  <a:lnTo>
                    <a:pt x="243" y="6"/>
                  </a:lnTo>
                  <a:lnTo>
                    <a:pt x="230" y="3"/>
                  </a:lnTo>
                  <a:lnTo>
                    <a:pt x="217" y="1"/>
                  </a:lnTo>
                  <a:lnTo>
                    <a:pt x="204" y="0"/>
                  </a:lnTo>
                  <a:lnTo>
                    <a:pt x="192" y="1"/>
                  </a:lnTo>
                  <a:lnTo>
                    <a:pt x="179" y="3"/>
                  </a:lnTo>
                  <a:lnTo>
                    <a:pt x="166" y="6"/>
                  </a:lnTo>
                  <a:lnTo>
                    <a:pt x="154" y="10"/>
                  </a:lnTo>
                  <a:lnTo>
                    <a:pt x="143" y="17"/>
                  </a:lnTo>
                  <a:lnTo>
                    <a:pt x="133" y="23"/>
                  </a:lnTo>
                  <a:lnTo>
                    <a:pt x="123" y="32"/>
                  </a:lnTo>
                  <a:lnTo>
                    <a:pt x="113" y="40"/>
                  </a:lnTo>
                  <a:lnTo>
                    <a:pt x="105" y="50"/>
                  </a:lnTo>
                  <a:lnTo>
                    <a:pt x="98" y="61"/>
                  </a:lnTo>
                  <a:lnTo>
                    <a:pt x="92" y="72"/>
                  </a:lnTo>
                  <a:lnTo>
                    <a:pt x="85" y="84"/>
                  </a:lnTo>
                  <a:lnTo>
                    <a:pt x="81" y="97"/>
                  </a:lnTo>
                  <a:lnTo>
                    <a:pt x="78" y="111"/>
                  </a:lnTo>
                  <a:lnTo>
                    <a:pt x="77" y="125"/>
                  </a:lnTo>
                  <a:lnTo>
                    <a:pt x="76" y="139"/>
                  </a:lnTo>
                  <a:lnTo>
                    <a:pt x="76" y="147"/>
                  </a:lnTo>
                  <a:lnTo>
                    <a:pt x="77" y="157"/>
                  </a:lnTo>
                  <a:lnTo>
                    <a:pt x="78" y="166"/>
                  </a:lnTo>
                  <a:lnTo>
                    <a:pt x="80" y="174"/>
                  </a:lnTo>
                  <a:lnTo>
                    <a:pt x="85" y="190"/>
                  </a:lnTo>
                  <a:lnTo>
                    <a:pt x="92" y="206"/>
                  </a:lnTo>
                  <a:lnTo>
                    <a:pt x="100" y="220"/>
                  </a:lnTo>
                  <a:lnTo>
                    <a:pt x="111" y="234"/>
                  </a:lnTo>
                  <a:lnTo>
                    <a:pt x="123" y="246"/>
                  </a:lnTo>
                  <a:lnTo>
                    <a:pt x="136" y="256"/>
                  </a:lnTo>
                  <a:lnTo>
                    <a:pt x="136" y="289"/>
                  </a:lnTo>
                  <a:lnTo>
                    <a:pt x="47" y="313"/>
                  </a:lnTo>
                  <a:lnTo>
                    <a:pt x="37" y="316"/>
                  </a:lnTo>
                  <a:lnTo>
                    <a:pt x="29" y="321"/>
                  </a:lnTo>
                  <a:lnTo>
                    <a:pt x="21" y="328"/>
                  </a:lnTo>
                  <a:lnTo>
                    <a:pt x="14" y="336"/>
                  </a:lnTo>
                  <a:lnTo>
                    <a:pt x="8" y="345"/>
                  </a:lnTo>
                  <a:lnTo>
                    <a:pt x="4" y="354"/>
                  </a:lnTo>
                  <a:lnTo>
                    <a:pt x="1" y="364"/>
                  </a:lnTo>
                  <a:lnTo>
                    <a:pt x="0" y="375"/>
                  </a:lnTo>
                  <a:lnTo>
                    <a:pt x="0" y="406"/>
                  </a:lnTo>
                  <a:lnTo>
                    <a:pt x="201" y="406"/>
                  </a:lnTo>
                  <a:lnTo>
                    <a:pt x="239" y="406"/>
                  </a:lnTo>
                  <a:lnTo>
                    <a:pt x="406" y="406"/>
                  </a:lnTo>
                  <a:lnTo>
                    <a:pt x="406" y="376"/>
                  </a:lnTo>
                  <a:lnTo>
                    <a:pt x="405" y="365"/>
                  </a:lnTo>
                  <a:lnTo>
                    <a:pt x="403" y="354"/>
                  </a:lnTo>
                  <a:lnTo>
                    <a:pt x="398" y="345"/>
                  </a:lnTo>
                  <a:lnTo>
                    <a:pt x="393" y="336"/>
                  </a:lnTo>
                  <a:lnTo>
                    <a:pt x="387" y="328"/>
                  </a:lnTo>
                  <a:lnTo>
                    <a:pt x="379" y="321"/>
                  </a:lnTo>
                  <a:lnTo>
                    <a:pt x="371" y="316"/>
                  </a:lnTo>
                  <a:lnTo>
                    <a:pt x="361" y="3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9" name="Freeform 89"/>
            <p:cNvSpPr>
              <a:spLocks noEditPoints="1"/>
            </p:cNvSpPr>
            <p:nvPr/>
          </p:nvSpPr>
          <p:spPr bwMode="auto">
            <a:xfrm>
              <a:off x="5543550" y="2073275"/>
              <a:ext cx="130175" cy="128588"/>
            </a:xfrm>
            <a:custGeom>
              <a:avLst/>
              <a:gdLst>
                <a:gd name="T0" fmla="*/ 30 w 409"/>
                <a:gd name="T1" fmla="*/ 379 h 409"/>
                <a:gd name="T2" fmla="*/ 35 w 409"/>
                <a:gd name="T3" fmla="*/ 359 h 409"/>
                <a:gd name="T4" fmla="*/ 50 w 409"/>
                <a:gd name="T5" fmla="*/ 343 h 409"/>
                <a:gd name="T6" fmla="*/ 172 w 409"/>
                <a:gd name="T7" fmla="*/ 273 h 409"/>
                <a:gd name="T8" fmla="*/ 215 w 409"/>
                <a:gd name="T9" fmla="*/ 277 h 409"/>
                <a:gd name="T10" fmla="*/ 246 w 409"/>
                <a:gd name="T11" fmla="*/ 311 h 409"/>
                <a:gd name="T12" fmla="*/ 368 w 409"/>
                <a:gd name="T13" fmla="*/ 349 h 409"/>
                <a:gd name="T14" fmla="*/ 379 w 409"/>
                <a:gd name="T15" fmla="*/ 370 h 409"/>
                <a:gd name="T16" fmla="*/ 106 w 409"/>
                <a:gd name="T17" fmla="*/ 137 h 409"/>
                <a:gd name="T18" fmla="*/ 148 w 409"/>
                <a:gd name="T19" fmla="*/ 142 h 409"/>
                <a:gd name="T20" fmla="*/ 208 w 409"/>
                <a:gd name="T21" fmla="*/ 127 h 409"/>
                <a:gd name="T22" fmla="*/ 236 w 409"/>
                <a:gd name="T23" fmla="*/ 132 h 409"/>
                <a:gd name="T24" fmla="*/ 260 w 409"/>
                <a:gd name="T25" fmla="*/ 141 h 409"/>
                <a:gd name="T26" fmla="*/ 293 w 409"/>
                <a:gd name="T27" fmla="*/ 142 h 409"/>
                <a:gd name="T28" fmla="*/ 299 w 409"/>
                <a:gd name="T29" fmla="*/ 172 h 409"/>
                <a:gd name="T30" fmla="*/ 281 w 409"/>
                <a:gd name="T31" fmla="*/ 209 h 409"/>
                <a:gd name="T32" fmla="*/ 252 w 409"/>
                <a:gd name="T33" fmla="*/ 234 h 409"/>
                <a:gd name="T34" fmla="*/ 215 w 409"/>
                <a:gd name="T35" fmla="*/ 247 h 409"/>
                <a:gd name="T36" fmla="*/ 176 w 409"/>
                <a:gd name="T37" fmla="*/ 243 h 409"/>
                <a:gd name="T38" fmla="*/ 142 w 409"/>
                <a:gd name="T39" fmla="*/ 223 h 409"/>
                <a:gd name="T40" fmla="*/ 118 w 409"/>
                <a:gd name="T41" fmla="*/ 191 h 409"/>
                <a:gd name="T42" fmla="*/ 107 w 409"/>
                <a:gd name="T43" fmla="*/ 150 h 409"/>
                <a:gd name="T44" fmla="*/ 222 w 409"/>
                <a:gd name="T45" fmla="*/ 31 h 409"/>
                <a:gd name="T46" fmla="*/ 252 w 409"/>
                <a:gd name="T47" fmla="*/ 43 h 409"/>
                <a:gd name="T48" fmla="*/ 276 w 409"/>
                <a:gd name="T49" fmla="*/ 64 h 409"/>
                <a:gd name="T50" fmla="*/ 295 w 409"/>
                <a:gd name="T51" fmla="*/ 93 h 409"/>
                <a:gd name="T52" fmla="*/ 287 w 409"/>
                <a:gd name="T53" fmla="*/ 113 h 409"/>
                <a:gd name="T54" fmla="*/ 254 w 409"/>
                <a:gd name="T55" fmla="*/ 107 h 409"/>
                <a:gd name="T56" fmla="*/ 237 w 409"/>
                <a:gd name="T57" fmla="*/ 90 h 409"/>
                <a:gd name="T58" fmla="*/ 226 w 409"/>
                <a:gd name="T59" fmla="*/ 82 h 409"/>
                <a:gd name="T60" fmla="*/ 213 w 409"/>
                <a:gd name="T61" fmla="*/ 87 h 409"/>
                <a:gd name="T62" fmla="*/ 189 w 409"/>
                <a:gd name="T63" fmla="*/ 104 h 409"/>
                <a:gd name="T64" fmla="*/ 161 w 409"/>
                <a:gd name="T65" fmla="*/ 112 h 409"/>
                <a:gd name="T66" fmla="*/ 111 w 409"/>
                <a:gd name="T67" fmla="*/ 106 h 409"/>
                <a:gd name="T68" fmla="*/ 124 w 409"/>
                <a:gd name="T69" fmla="*/ 75 h 409"/>
                <a:gd name="T70" fmla="*/ 146 w 409"/>
                <a:gd name="T71" fmla="*/ 51 h 409"/>
                <a:gd name="T72" fmla="*/ 174 w 409"/>
                <a:gd name="T73" fmla="*/ 35 h 409"/>
                <a:gd name="T74" fmla="*/ 205 w 409"/>
                <a:gd name="T75" fmla="*/ 30 h 409"/>
                <a:gd name="T76" fmla="*/ 289 w 409"/>
                <a:gd name="T77" fmla="*/ 244 h 409"/>
                <a:gd name="T78" fmla="*/ 325 w 409"/>
                <a:gd name="T79" fmla="*/ 189 h 409"/>
                <a:gd name="T80" fmla="*/ 333 w 409"/>
                <a:gd name="T81" fmla="*/ 124 h 409"/>
                <a:gd name="T82" fmla="*/ 318 w 409"/>
                <a:gd name="T83" fmla="*/ 73 h 409"/>
                <a:gd name="T84" fmla="*/ 287 w 409"/>
                <a:gd name="T85" fmla="*/ 32 h 409"/>
                <a:gd name="T86" fmla="*/ 243 w 409"/>
                <a:gd name="T87" fmla="*/ 6 h 409"/>
                <a:gd name="T88" fmla="*/ 192 w 409"/>
                <a:gd name="T89" fmla="*/ 1 h 409"/>
                <a:gd name="T90" fmla="*/ 143 w 409"/>
                <a:gd name="T91" fmla="*/ 17 h 409"/>
                <a:gd name="T92" fmla="*/ 105 w 409"/>
                <a:gd name="T93" fmla="*/ 50 h 409"/>
                <a:gd name="T94" fmla="*/ 81 w 409"/>
                <a:gd name="T95" fmla="*/ 97 h 409"/>
                <a:gd name="T96" fmla="*/ 77 w 409"/>
                <a:gd name="T97" fmla="*/ 156 h 409"/>
                <a:gd name="T98" fmla="*/ 100 w 409"/>
                <a:gd name="T99" fmla="*/ 219 h 409"/>
                <a:gd name="T100" fmla="*/ 133 w 409"/>
                <a:gd name="T101" fmla="*/ 288 h 409"/>
                <a:gd name="T102" fmla="*/ 21 w 409"/>
                <a:gd name="T103" fmla="*/ 328 h 409"/>
                <a:gd name="T104" fmla="*/ 1 w 409"/>
                <a:gd name="T105" fmla="*/ 364 h 409"/>
                <a:gd name="T106" fmla="*/ 224 w 409"/>
                <a:gd name="T107" fmla="*/ 409 h 409"/>
                <a:gd name="T108" fmla="*/ 406 w 409"/>
                <a:gd name="T109" fmla="*/ 355 h 409"/>
                <a:gd name="T110" fmla="*/ 380 w 409"/>
                <a:gd name="T111" fmla="*/ 321 h 4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09" h="409">
                  <a:moveTo>
                    <a:pt x="379" y="379"/>
                  </a:moveTo>
                  <a:lnTo>
                    <a:pt x="224" y="379"/>
                  </a:lnTo>
                  <a:lnTo>
                    <a:pt x="186" y="379"/>
                  </a:lnTo>
                  <a:lnTo>
                    <a:pt x="30" y="379"/>
                  </a:lnTo>
                  <a:lnTo>
                    <a:pt x="30" y="375"/>
                  </a:lnTo>
                  <a:lnTo>
                    <a:pt x="31" y="370"/>
                  </a:lnTo>
                  <a:lnTo>
                    <a:pt x="32" y="364"/>
                  </a:lnTo>
                  <a:lnTo>
                    <a:pt x="35" y="359"/>
                  </a:lnTo>
                  <a:lnTo>
                    <a:pt x="37" y="355"/>
                  </a:lnTo>
                  <a:lnTo>
                    <a:pt x="42" y="349"/>
                  </a:lnTo>
                  <a:lnTo>
                    <a:pt x="46" y="346"/>
                  </a:lnTo>
                  <a:lnTo>
                    <a:pt x="50" y="343"/>
                  </a:lnTo>
                  <a:lnTo>
                    <a:pt x="56" y="341"/>
                  </a:lnTo>
                  <a:lnTo>
                    <a:pt x="163" y="311"/>
                  </a:lnTo>
                  <a:lnTo>
                    <a:pt x="163" y="270"/>
                  </a:lnTo>
                  <a:lnTo>
                    <a:pt x="172" y="273"/>
                  </a:lnTo>
                  <a:lnTo>
                    <a:pt x="183" y="275"/>
                  </a:lnTo>
                  <a:lnTo>
                    <a:pt x="194" y="277"/>
                  </a:lnTo>
                  <a:lnTo>
                    <a:pt x="205" y="277"/>
                  </a:lnTo>
                  <a:lnTo>
                    <a:pt x="215" y="277"/>
                  </a:lnTo>
                  <a:lnTo>
                    <a:pt x="226" y="275"/>
                  </a:lnTo>
                  <a:lnTo>
                    <a:pt x="237" y="273"/>
                  </a:lnTo>
                  <a:lnTo>
                    <a:pt x="246" y="270"/>
                  </a:lnTo>
                  <a:lnTo>
                    <a:pt x="246" y="311"/>
                  </a:lnTo>
                  <a:lnTo>
                    <a:pt x="354" y="341"/>
                  </a:lnTo>
                  <a:lnTo>
                    <a:pt x="359" y="343"/>
                  </a:lnTo>
                  <a:lnTo>
                    <a:pt x="363" y="346"/>
                  </a:lnTo>
                  <a:lnTo>
                    <a:pt x="368" y="349"/>
                  </a:lnTo>
                  <a:lnTo>
                    <a:pt x="372" y="355"/>
                  </a:lnTo>
                  <a:lnTo>
                    <a:pt x="375" y="359"/>
                  </a:lnTo>
                  <a:lnTo>
                    <a:pt x="377" y="364"/>
                  </a:lnTo>
                  <a:lnTo>
                    <a:pt x="379" y="370"/>
                  </a:lnTo>
                  <a:lnTo>
                    <a:pt x="379" y="375"/>
                  </a:lnTo>
                  <a:lnTo>
                    <a:pt x="379" y="379"/>
                  </a:lnTo>
                  <a:close/>
                  <a:moveTo>
                    <a:pt x="106" y="139"/>
                  </a:moveTo>
                  <a:lnTo>
                    <a:pt x="106" y="137"/>
                  </a:lnTo>
                  <a:lnTo>
                    <a:pt x="106" y="136"/>
                  </a:lnTo>
                  <a:lnTo>
                    <a:pt x="120" y="140"/>
                  </a:lnTo>
                  <a:lnTo>
                    <a:pt x="134" y="142"/>
                  </a:lnTo>
                  <a:lnTo>
                    <a:pt x="148" y="142"/>
                  </a:lnTo>
                  <a:lnTo>
                    <a:pt x="163" y="141"/>
                  </a:lnTo>
                  <a:lnTo>
                    <a:pt x="179" y="139"/>
                  </a:lnTo>
                  <a:lnTo>
                    <a:pt x="193" y="134"/>
                  </a:lnTo>
                  <a:lnTo>
                    <a:pt x="208" y="127"/>
                  </a:lnTo>
                  <a:lnTo>
                    <a:pt x="221" y="119"/>
                  </a:lnTo>
                  <a:lnTo>
                    <a:pt x="226" y="123"/>
                  </a:lnTo>
                  <a:lnTo>
                    <a:pt x="230" y="127"/>
                  </a:lnTo>
                  <a:lnTo>
                    <a:pt x="236" y="132"/>
                  </a:lnTo>
                  <a:lnTo>
                    <a:pt x="242" y="135"/>
                  </a:lnTo>
                  <a:lnTo>
                    <a:pt x="247" y="137"/>
                  </a:lnTo>
                  <a:lnTo>
                    <a:pt x="254" y="139"/>
                  </a:lnTo>
                  <a:lnTo>
                    <a:pt x="260" y="141"/>
                  </a:lnTo>
                  <a:lnTo>
                    <a:pt x="268" y="142"/>
                  </a:lnTo>
                  <a:lnTo>
                    <a:pt x="273" y="143"/>
                  </a:lnTo>
                  <a:lnTo>
                    <a:pt x="280" y="143"/>
                  </a:lnTo>
                  <a:lnTo>
                    <a:pt x="293" y="142"/>
                  </a:lnTo>
                  <a:lnTo>
                    <a:pt x="303" y="140"/>
                  </a:lnTo>
                  <a:lnTo>
                    <a:pt x="303" y="151"/>
                  </a:lnTo>
                  <a:lnTo>
                    <a:pt x="301" y="162"/>
                  </a:lnTo>
                  <a:lnTo>
                    <a:pt x="299" y="172"/>
                  </a:lnTo>
                  <a:lnTo>
                    <a:pt x="296" y="182"/>
                  </a:lnTo>
                  <a:lnTo>
                    <a:pt x="291" y="192"/>
                  </a:lnTo>
                  <a:lnTo>
                    <a:pt x="286" y="200"/>
                  </a:lnTo>
                  <a:lnTo>
                    <a:pt x="281" y="209"/>
                  </a:lnTo>
                  <a:lnTo>
                    <a:pt x="274" y="216"/>
                  </a:lnTo>
                  <a:lnTo>
                    <a:pt x="267" y="223"/>
                  </a:lnTo>
                  <a:lnTo>
                    <a:pt x="259" y="229"/>
                  </a:lnTo>
                  <a:lnTo>
                    <a:pt x="252" y="234"/>
                  </a:lnTo>
                  <a:lnTo>
                    <a:pt x="243" y="239"/>
                  </a:lnTo>
                  <a:lnTo>
                    <a:pt x="234" y="243"/>
                  </a:lnTo>
                  <a:lnTo>
                    <a:pt x="225" y="245"/>
                  </a:lnTo>
                  <a:lnTo>
                    <a:pt x="215" y="247"/>
                  </a:lnTo>
                  <a:lnTo>
                    <a:pt x="205" y="247"/>
                  </a:lnTo>
                  <a:lnTo>
                    <a:pt x="195" y="247"/>
                  </a:lnTo>
                  <a:lnTo>
                    <a:pt x="185" y="245"/>
                  </a:lnTo>
                  <a:lnTo>
                    <a:pt x="176" y="243"/>
                  </a:lnTo>
                  <a:lnTo>
                    <a:pt x="166" y="239"/>
                  </a:lnTo>
                  <a:lnTo>
                    <a:pt x="157" y="234"/>
                  </a:lnTo>
                  <a:lnTo>
                    <a:pt x="150" y="229"/>
                  </a:lnTo>
                  <a:lnTo>
                    <a:pt x="142" y="223"/>
                  </a:lnTo>
                  <a:lnTo>
                    <a:pt x="135" y="216"/>
                  </a:lnTo>
                  <a:lnTo>
                    <a:pt x="128" y="208"/>
                  </a:lnTo>
                  <a:lnTo>
                    <a:pt x="123" y="199"/>
                  </a:lnTo>
                  <a:lnTo>
                    <a:pt x="118" y="191"/>
                  </a:lnTo>
                  <a:lnTo>
                    <a:pt x="113" y="181"/>
                  </a:lnTo>
                  <a:lnTo>
                    <a:pt x="110" y="171"/>
                  </a:lnTo>
                  <a:lnTo>
                    <a:pt x="108" y="160"/>
                  </a:lnTo>
                  <a:lnTo>
                    <a:pt x="107" y="150"/>
                  </a:lnTo>
                  <a:lnTo>
                    <a:pt x="106" y="139"/>
                  </a:lnTo>
                  <a:close/>
                  <a:moveTo>
                    <a:pt x="205" y="30"/>
                  </a:moveTo>
                  <a:lnTo>
                    <a:pt x="213" y="30"/>
                  </a:lnTo>
                  <a:lnTo>
                    <a:pt x="222" y="31"/>
                  </a:lnTo>
                  <a:lnTo>
                    <a:pt x="229" y="33"/>
                  </a:lnTo>
                  <a:lnTo>
                    <a:pt x="237" y="36"/>
                  </a:lnTo>
                  <a:lnTo>
                    <a:pt x="244" y="39"/>
                  </a:lnTo>
                  <a:lnTo>
                    <a:pt x="252" y="43"/>
                  </a:lnTo>
                  <a:lnTo>
                    <a:pt x="258" y="47"/>
                  </a:lnTo>
                  <a:lnTo>
                    <a:pt x="265" y="52"/>
                  </a:lnTo>
                  <a:lnTo>
                    <a:pt x="271" y="58"/>
                  </a:lnTo>
                  <a:lnTo>
                    <a:pt x="276" y="64"/>
                  </a:lnTo>
                  <a:lnTo>
                    <a:pt x="282" y="70"/>
                  </a:lnTo>
                  <a:lnTo>
                    <a:pt x="286" y="78"/>
                  </a:lnTo>
                  <a:lnTo>
                    <a:pt x="290" y="85"/>
                  </a:lnTo>
                  <a:lnTo>
                    <a:pt x="295" y="93"/>
                  </a:lnTo>
                  <a:lnTo>
                    <a:pt x="297" y="100"/>
                  </a:lnTo>
                  <a:lnTo>
                    <a:pt x="300" y="109"/>
                  </a:lnTo>
                  <a:lnTo>
                    <a:pt x="294" y="111"/>
                  </a:lnTo>
                  <a:lnTo>
                    <a:pt x="287" y="113"/>
                  </a:lnTo>
                  <a:lnTo>
                    <a:pt x="280" y="113"/>
                  </a:lnTo>
                  <a:lnTo>
                    <a:pt x="272" y="112"/>
                  </a:lnTo>
                  <a:lnTo>
                    <a:pt x="264" y="111"/>
                  </a:lnTo>
                  <a:lnTo>
                    <a:pt x="254" y="107"/>
                  </a:lnTo>
                  <a:lnTo>
                    <a:pt x="250" y="104"/>
                  </a:lnTo>
                  <a:lnTo>
                    <a:pt x="245" y="100"/>
                  </a:lnTo>
                  <a:lnTo>
                    <a:pt x="241" y="95"/>
                  </a:lnTo>
                  <a:lnTo>
                    <a:pt x="237" y="90"/>
                  </a:lnTo>
                  <a:lnTo>
                    <a:pt x="235" y="87"/>
                  </a:lnTo>
                  <a:lnTo>
                    <a:pt x="232" y="84"/>
                  </a:lnTo>
                  <a:lnTo>
                    <a:pt x="229" y="83"/>
                  </a:lnTo>
                  <a:lnTo>
                    <a:pt x="226" y="82"/>
                  </a:lnTo>
                  <a:lnTo>
                    <a:pt x="223" y="82"/>
                  </a:lnTo>
                  <a:lnTo>
                    <a:pt x="219" y="82"/>
                  </a:lnTo>
                  <a:lnTo>
                    <a:pt x="216" y="84"/>
                  </a:lnTo>
                  <a:lnTo>
                    <a:pt x="213" y="87"/>
                  </a:lnTo>
                  <a:lnTo>
                    <a:pt x="207" y="92"/>
                  </a:lnTo>
                  <a:lnTo>
                    <a:pt x="201" y="96"/>
                  </a:lnTo>
                  <a:lnTo>
                    <a:pt x="195" y="100"/>
                  </a:lnTo>
                  <a:lnTo>
                    <a:pt x="189" y="104"/>
                  </a:lnTo>
                  <a:lnTo>
                    <a:pt x="181" y="107"/>
                  </a:lnTo>
                  <a:lnTo>
                    <a:pt x="175" y="109"/>
                  </a:lnTo>
                  <a:lnTo>
                    <a:pt x="167" y="110"/>
                  </a:lnTo>
                  <a:lnTo>
                    <a:pt x="161" y="112"/>
                  </a:lnTo>
                  <a:lnTo>
                    <a:pt x="147" y="112"/>
                  </a:lnTo>
                  <a:lnTo>
                    <a:pt x="134" y="112"/>
                  </a:lnTo>
                  <a:lnTo>
                    <a:pt x="121" y="109"/>
                  </a:lnTo>
                  <a:lnTo>
                    <a:pt x="111" y="106"/>
                  </a:lnTo>
                  <a:lnTo>
                    <a:pt x="113" y="97"/>
                  </a:lnTo>
                  <a:lnTo>
                    <a:pt x="117" y="90"/>
                  </a:lnTo>
                  <a:lnTo>
                    <a:pt x="120" y="82"/>
                  </a:lnTo>
                  <a:lnTo>
                    <a:pt x="124" y="75"/>
                  </a:lnTo>
                  <a:lnTo>
                    <a:pt x="130" y="68"/>
                  </a:lnTo>
                  <a:lnTo>
                    <a:pt x="135" y="62"/>
                  </a:lnTo>
                  <a:lnTo>
                    <a:pt x="140" y="56"/>
                  </a:lnTo>
                  <a:lnTo>
                    <a:pt x="146" y="51"/>
                  </a:lnTo>
                  <a:lnTo>
                    <a:pt x="152" y="47"/>
                  </a:lnTo>
                  <a:lnTo>
                    <a:pt x="159" y="43"/>
                  </a:lnTo>
                  <a:lnTo>
                    <a:pt x="166" y="38"/>
                  </a:lnTo>
                  <a:lnTo>
                    <a:pt x="174" y="35"/>
                  </a:lnTo>
                  <a:lnTo>
                    <a:pt x="181" y="33"/>
                  </a:lnTo>
                  <a:lnTo>
                    <a:pt x="189" y="31"/>
                  </a:lnTo>
                  <a:lnTo>
                    <a:pt x="197" y="30"/>
                  </a:lnTo>
                  <a:lnTo>
                    <a:pt x="205" y="30"/>
                  </a:lnTo>
                  <a:close/>
                  <a:moveTo>
                    <a:pt x="362" y="312"/>
                  </a:moveTo>
                  <a:lnTo>
                    <a:pt x="276" y="288"/>
                  </a:lnTo>
                  <a:lnTo>
                    <a:pt x="276" y="254"/>
                  </a:lnTo>
                  <a:lnTo>
                    <a:pt x="289" y="244"/>
                  </a:lnTo>
                  <a:lnTo>
                    <a:pt x="300" y="232"/>
                  </a:lnTo>
                  <a:lnTo>
                    <a:pt x="310" y="219"/>
                  </a:lnTo>
                  <a:lnTo>
                    <a:pt x="318" y="204"/>
                  </a:lnTo>
                  <a:lnTo>
                    <a:pt x="325" y="189"/>
                  </a:lnTo>
                  <a:lnTo>
                    <a:pt x="329" y="173"/>
                  </a:lnTo>
                  <a:lnTo>
                    <a:pt x="332" y="156"/>
                  </a:lnTo>
                  <a:lnTo>
                    <a:pt x="333" y="139"/>
                  </a:lnTo>
                  <a:lnTo>
                    <a:pt x="333" y="124"/>
                  </a:lnTo>
                  <a:lnTo>
                    <a:pt x="331" y="111"/>
                  </a:lnTo>
                  <a:lnTo>
                    <a:pt x="328" y="97"/>
                  </a:lnTo>
                  <a:lnTo>
                    <a:pt x="324" y="84"/>
                  </a:lnTo>
                  <a:lnTo>
                    <a:pt x="318" y="73"/>
                  </a:lnTo>
                  <a:lnTo>
                    <a:pt x="312" y="61"/>
                  </a:lnTo>
                  <a:lnTo>
                    <a:pt x="304" y="50"/>
                  </a:lnTo>
                  <a:lnTo>
                    <a:pt x="296" y="40"/>
                  </a:lnTo>
                  <a:lnTo>
                    <a:pt x="287" y="32"/>
                  </a:lnTo>
                  <a:lnTo>
                    <a:pt x="276" y="23"/>
                  </a:lnTo>
                  <a:lnTo>
                    <a:pt x="266" y="17"/>
                  </a:lnTo>
                  <a:lnTo>
                    <a:pt x="255" y="10"/>
                  </a:lnTo>
                  <a:lnTo>
                    <a:pt x="243" y="6"/>
                  </a:lnTo>
                  <a:lnTo>
                    <a:pt x="230" y="3"/>
                  </a:lnTo>
                  <a:lnTo>
                    <a:pt x="217" y="1"/>
                  </a:lnTo>
                  <a:lnTo>
                    <a:pt x="205" y="0"/>
                  </a:lnTo>
                  <a:lnTo>
                    <a:pt x="192" y="1"/>
                  </a:lnTo>
                  <a:lnTo>
                    <a:pt x="179" y="3"/>
                  </a:lnTo>
                  <a:lnTo>
                    <a:pt x="167" y="6"/>
                  </a:lnTo>
                  <a:lnTo>
                    <a:pt x="154" y="10"/>
                  </a:lnTo>
                  <a:lnTo>
                    <a:pt x="143" y="17"/>
                  </a:lnTo>
                  <a:lnTo>
                    <a:pt x="133" y="23"/>
                  </a:lnTo>
                  <a:lnTo>
                    <a:pt x="123" y="32"/>
                  </a:lnTo>
                  <a:lnTo>
                    <a:pt x="113" y="40"/>
                  </a:lnTo>
                  <a:lnTo>
                    <a:pt x="105" y="50"/>
                  </a:lnTo>
                  <a:lnTo>
                    <a:pt x="98" y="61"/>
                  </a:lnTo>
                  <a:lnTo>
                    <a:pt x="92" y="73"/>
                  </a:lnTo>
                  <a:lnTo>
                    <a:pt x="86" y="84"/>
                  </a:lnTo>
                  <a:lnTo>
                    <a:pt x="81" y="97"/>
                  </a:lnTo>
                  <a:lnTo>
                    <a:pt x="78" y="111"/>
                  </a:lnTo>
                  <a:lnTo>
                    <a:pt x="77" y="124"/>
                  </a:lnTo>
                  <a:lnTo>
                    <a:pt x="76" y="139"/>
                  </a:lnTo>
                  <a:lnTo>
                    <a:pt x="77" y="156"/>
                  </a:lnTo>
                  <a:lnTo>
                    <a:pt x="80" y="173"/>
                  </a:lnTo>
                  <a:lnTo>
                    <a:pt x="85" y="189"/>
                  </a:lnTo>
                  <a:lnTo>
                    <a:pt x="92" y="204"/>
                  </a:lnTo>
                  <a:lnTo>
                    <a:pt x="100" y="219"/>
                  </a:lnTo>
                  <a:lnTo>
                    <a:pt x="109" y="232"/>
                  </a:lnTo>
                  <a:lnTo>
                    <a:pt x="121" y="244"/>
                  </a:lnTo>
                  <a:lnTo>
                    <a:pt x="133" y="254"/>
                  </a:lnTo>
                  <a:lnTo>
                    <a:pt x="133" y="288"/>
                  </a:lnTo>
                  <a:lnTo>
                    <a:pt x="47" y="312"/>
                  </a:lnTo>
                  <a:lnTo>
                    <a:pt x="37" y="316"/>
                  </a:lnTo>
                  <a:lnTo>
                    <a:pt x="29" y="321"/>
                  </a:lnTo>
                  <a:lnTo>
                    <a:pt x="21" y="328"/>
                  </a:lnTo>
                  <a:lnTo>
                    <a:pt x="14" y="336"/>
                  </a:lnTo>
                  <a:lnTo>
                    <a:pt x="8" y="345"/>
                  </a:lnTo>
                  <a:lnTo>
                    <a:pt x="4" y="355"/>
                  </a:lnTo>
                  <a:lnTo>
                    <a:pt x="1" y="364"/>
                  </a:lnTo>
                  <a:lnTo>
                    <a:pt x="0" y="375"/>
                  </a:lnTo>
                  <a:lnTo>
                    <a:pt x="0" y="409"/>
                  </a:lnTo>
                  <a:lnTo>
                    <a:pt x="186" y="409"/>
                  </a:lnTo>
                  <a:lnTo>
                    <a:pt x="224" y="409"/>
                  </a:lnTo>
                  <a:lnTo>
                    <a:pt x="409" y="409"/>
                  </a:lnTo>
                  <a:lnTo>
                    <a:pt x="409" y="375"/>
                  </a:lnTo>
                  <a:lnTo>
                    <a:pt x="408" y="364"/>
                  </a:lnTo>
                  <a:lnTo>
                    <a:pt x="406" y="355"/>
                  </a:lnTo>
                  <a:lnTo>
                    <a:pt x="402" y="345"/>
                  </a:lnTo>
                  <a:lnTo>
                    <a:pt x="395" y="336"/>
                  </a:lnTo>
                  <a:lnTo>
                    <a:pt x="389" y="328"/>
                  </a:lnTo>
                  <a:lnTo>
                    <a:pt x="380" y="321"/>
                  </a:lnTo>
                  <a:lnTo>
                    <a:pt x="372" y="316"/>
                  </a:lnTo>
                  <a:lnTo>
                    <a:pt x="362" y="3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0" name="Freeform 90"/>
            <p:cNvSpPr>
              <a:spLocks/>
            </p:cNvSpPr>
            <p:nvPr/>
          </p:nvSpPr>
          <p:spPr bwMode="auto">
            <a:xfrm>
              <a:off x="5507038" y="2060575"/>
              <a:ext cx="39688" cy="39688"/>
            </a:xfrm>
            <a:custGeom>
              <a:avLst/>
              <a:gdLst>
                <a:gd name="T0" fmla="*/ 121 w 126"/>
                <a:gd name="T1" fmla="*/ 99 h 125"/>
                <a:gd name="T2" fmla="*/ 26 w 126"/>
                <a:gd name="T3" fmla="*/ 4 h 125"/>
                <a:gd name="T4" fmla="*/ 24 w 126"/>
                <a:gd name="T5" fmla="*/ 2 h 125"/>
                <a:gd name="T6" fmla="*/ 21 w 126"/>
                <a:gd name="T7" fmla="*/ 1 h 125"/>
                <a:gd name="T8" fmla="*/ 18 w 126"/>
                <a:gd name="T9" fmla="*/ 0 h 125"/>
                <a:gd name="T10" fmla="*/ 15 w 126"/>
                <a:gd name="T11" fmla="*/ 0 h 125"/>
                <a:gd name="T12" fmla="*/ 13 w 126"/>
                <a:gd name="T13" fmla="*/ 0 h 125"/>
                <a:gd name="T14" fmla="*/ 10 w 126"/>
                <a:gd name="T15" fmla="*/ 1 h 125"/>
                <a:gd name="T16" fmla="*/ 7 w 126"/>
                <a:gd name="T17" fmla="*/ 2 h 125"/>
                <a:gd name="T18" fmla="*/ 4 w 126"/>
                <a:gd name="T19" fmla="*/ 4 h 125"/>
                <a:gd name="T20" fmla="*/ 2 w 126"/>
                <a:gd name="T21" fmla="*/ 7 h 125"/>
                <a:gd name="T22" fmla="*/ 1 w 126"/>
                <a:gd name="T23" fmla="*/ 9 h 125"/>
                <a:gd name="T24" fmla="*/ 0 w 126"/>
                <a:gd name="T25" fmla="*/ 12 h 125"/>
                <a:gd name="T26" fmla="*/ 0 w 126"/>
                <a:gd name="T27" fmla="*/ 15 h 125"/>
                <a:gd name="T28" fmla="*/ 0 w 126"/>
                <a:gd name="T29" fmla="*/ 17 h 125"/>
                <a:gd name="T30" fmla="*/ 1 w 126"/>
                <a:gd name="T31" fmla="*/ 21 h 125"/>
                <a:gd name="T32" fmla="*/ 2 w 126"/>
                <a:gd name="T33" fmla="*/ 23 h 125"/>
                <a:gd name="T34" fmla="*/ 4 w 126"/>
                <a:gd name="T35" fmla="*/ 26 h 125"/>
                <a:gd name="T36" fmla="*/ 100 w 126"/>
                <a:gd name="T37" fmla="*/ 120 h 125"/>
                <a:gd name="T38" fmla="*/ 102 w 126"/>
                <a:gd name="T39" fmla="*/ 122 h 125"/>
                <a:gd name="T40" fmla="*/ 104 w 126"/>
                <a:gd name="T41" fmla="*/ 123 h 125"/>
                <a:gd name="T42" fmla="*/ 107 w 126"/>
                <a:gd name="T43" fmla="*/ 125 h 125"/>
                <a:gd name="T44" fmla="*/ 111 w 126"/>
                <a:gd name="T45" fmla="*/ 125 h 125"/>
                <a:gd name="T46" fmla="*/ 113 w 126"/>
                <a:gd name="T47" fmla="*/ 125 h 125"/>
                <a:gd name="T48" fmla="*/ 116 w 126"/>
                <a:gd name="T49" fmla="*/ 123 h 125"/>
                <a:gd name="T50" fmla="*/ 118 w 126"/>
                <a:gd name="T51" fmla="*/ 122 h 125"/>
                <a:gd name="T52" fmla="*/ 121 w 126"/>
                <a:gd name="T53" fmla="*/ 120 h 125"/>
                <a:gd name="T54" fmla="*/ 122 w 126"/>
                <a:gd name="T55" fmla="*/ 118 h 125"/>
                <a:gd name="T56" fmla="*/ 125 w 126"/>
                <a:gd name="T57" fmla="*/ 115 h 125"/>
                <a:gd name="T58" fmla="*/ 125 w 126"/>
                <a:gd name="T59" fmla="*/ 113 h 125"/>
                <a:gd name="T60" fmla="*/ 126 w 126"/>
                <a:gd name="T61" fmla="*/ 110 h 125"/>
                <a:gd name="T62" fmla="*/ 125 w 126"/>
                <a:gd name="T63" fmla="*/ 106 h 125"/>
                <a:gd name="T64" fmla="*/ 125 w 126"/>
                <a:gd name="T65" fmla="*/ 104 h 125"/>
                <a:gd name="T66" fmla="*/ 122 w 126"/>
                <a:gd name="T67" fmla="*/ 101 h 125"/>
                <a:gd name="T68" fmla="*/ 121 w 126"/>
                <a:gd name="T69" fmla="*/ 99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26" h="125">
                  <a:moveTo>
                    <a:pt x="121" y="99"/>
                  </a:moveTo>
                  <a:lnTo>
                    <a:pt x="26" y="4"/>
                  </a:lnTo>
                  <a:lnTo>
                    <a:pt x="24" y="2"/>
                  </a:lnTo>
                  <a:lnTo>
                    <a:pt x="21" y="1"/>
                  </a:lnTo>
                  <a:lnTo>
                    <a:pt x="18" y="0"/>
                  </a:lnTo>
                  <a:lnTo>
                    <a:pt x="15" y="0"/>
                  </a:lnTo>
                  <a:lnTo>
                    <a:pt x="13" y="0"/>
                  </a:lnTo>
                  <a:lnTo>
                    <a:pt x="10" y="1"/>
                  </a:lnTo>
                  <a:lnTo>
                    <a:pt x="7" y="2"/>
                  </a:lnTo>
                  <a:lnTo>
                    <a:pt x="4" y="4"/>
                  </a:lnTo>
                  <a:lnTo>
                    <a:pt x="2" y="7"/>
                  </a:lnTo>
                  <a:lnTo>
                    <a:pt x="1" y="9"/>
                  </a:lnTo>
                  <a:lnTo>
                    <a:pt x="0" y="12"/>
                  </a:lnTo>
                  <a:lnTo>
                    <a:pt x="0" y="15"/>
                  </a:lnTo>
                  <a:lnTo>
                    <a:pt x="0" y="17"/>
                  </a:lnTo>
                  <a:lnTo>
                    <a:pt x="1" y="21"/>
                  </a:lnTo>
                  <a:lnTo>
                    <a:pt x="2" y="23"/>
                  </a:lnTo>
                  <a:lnTo>
                    <a:pt x="4" y="26"/>
                  </a:lnTo>
                  <a:lnTo>
                    <a:pt x="100" y="120"/>
                  </a:lnTo>
                  <a:lnTo>
                    <a:pt x="102" y="122"/>
                  </a:lnTo>
                  <a:lnTo>
                    <a:pt x="104" y="123"/>
                  </a:lnTo>
                  <a:lnTo>
                    <a:pt x="107" y="125"/>
                  </a:lnTo>
                  <a:lnTo>
                    <a:pt x="111" y="125"/>
                  </a:lnTo>
                  <a:lnTo>
                    <a:pt x="113" y="125"/>
                  </a:lnTo>
                  <a:lnTo>
                    <a:pt x="116" y="123"/>
                  </a:lnTo>
                  <a:lnTo>
                    <a:pt x="118" y="122"/>
                  </a:lnTo>
                  <a:lnTo>
                    <a:pt x="121" y="120"/>
                  </a:lnTo>
                  <a:lnTo>
                    <a:pt x="122" y="118"/>
                  </a:lnTo>
                  <a:lnTo>
                    <a:pt x="125" y="115"/>
                  </a:lnTo>
                  <a:lnTo>
                    <a:pt x="125" y="113"/>
                  </a:lnTo>
                  <a:lnTo>
                    <a:pt x="126" y="110"/>
                  </a:lnTo>
                  <a:lnTo>
                    <a:pt x="125" y="106"/>
                  </a:lnTo>
                  <a:lnTo>
                    <a:pt x="125" y="104"/>
                  </a:lnTo>
                  <a:lnTo>
                    <a:pt x="122" y="101"/>
                  </a:lnTo>
                  <a:lnTo>
                    <a:pt x="121" y="9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1" name="Freeform 91"/>
            <p:cNvSpPr>
              <a:spLocks/>
            </p:cNvSpPr>
            <p:nvPr/>
          </p:nvSpPr>
          <p:spPr bwMode="auto">
            <a:xfrm>
              <a:off x="5670550" y="2060575"/>
              <a:ext cx="38100" cy="39688"/>
            </a:xfrm>
            <a:custGeom>
              <a:avLst/>
              <a:gdLst>
                <a:gd name="T0" fmla="*/ 98 w 124"/>
                <a:gd name="T1" fmla="*/ 4 h 125"/>
                <a:gd name="T2" fmla="*/ 4 w 124"/>
                <a:gd name="T3" fmla="*/ 99 h 125"/>
                <a:gd name="T4" fmla="*/ 2 w 124"/>
                <a:gd name="T5" fmla="*/ 101 h 125"/>
                <a:gd name="T6" fmla="*/ 1 w 124"/>
                <a:gd name="T7" fmla="*/ 104 h 125"/>
                <a:gd name="T8" fmla="*/ 0 w 124"/>
                <a:gd name="T9" fmla="*/ 106 h 125"/>
                <a:gd name="T10" fmla="*/ 0 w 124"/>
                <a:gd name="T11" fmla="*/ 110 h 125"/>
                <a:gd name="T12" fmla="*/ 0 w 124"/>
                <a:gd name="T13" fmla="*/ 113 h 125"/>
                <a:gd name="T14" fmla="*/ 1 w 124"/>
                <a:gd name="T15" fmla="*/ 115 h 125"/>
                <a:gd name="T16" fmla="*/ 2 w 124"/>
                <a:gd name="T17" fmla="*/ 118 h 125"/>
                <a:gd name="T18" fmla="*/ 4 w 124"/>
                <a:gd name="T19" fmla="*/ 120 h 125"/>
                <a:gd name="T20" fmla="*/ 6 w 124"/>
                <a:gd name="T21" fmla="*/ 122 h 125"/>
                <a:gd name="T22" fmla="*/ 8 w 124"/>
                <a:gd name="T23" fmla="*/ 123 h 125"/>
                <a:gd name="T24" fmla="*/ 11 w 124"/>
                <a:gd name="T25" fmla="*/ 125 h 125"/>
                <a:gd name="T26" fmla="*/ 15 w 124"/>
                <a:gd name="T27" fmla="*/ 125 h 125"/>
                <a:gd name="T28" fmla="*/ 17 w 124"/>
                <a:gd name="T29" fmla="*/ 125 h 125"/>
                <a:gd name="T30" fmla="*/ 20 w 124"/>
                <a:gd name="T31" fmla="*/ 123 h 125"/>
                <a:gd name="T32" fmla="*/ 22 w 124"/>
                <a:gd name="T33" fmla="*/ 122 h 125"/>
                <a:gd name="T34" fmla="*/ 25 w 124"/>
                <a:gd name="T35" fmla="*/ 120 h 125"/>
                <a:gd name="T36" fmla="*/ 120 w 124"/>
                <a:gd name="T37" fmla="*/ 25 h 125"/>
                <a:gd name="T38" fmla="*/ 122 w 124"/>
                <a:gd name="T39" fmla="*/ 23 h 125"/>
                <a:gd name="T40" fmla="*/ 123 w 124"/>
                <a:gd name="T41" fmla="*/ 21 h 125"/>
                <a:gd name="T42" fmla="*/ 124 w 124"/>
                <a:gd name="T43" fmla="*/ 17 h 125"/>
                <a:gd name="T44" fmla="*/ 124 w 124"/>
                <a:gd name="T45" fmla="*/ 15 h 125"/>
                <a:gd name="T46" fmla="*/ 124 w 124"/>
                <a:gd name="T47" fmla="*/ 12 h 125"/>
                <a:gd name="T48" fmla="*/ 123 w 124"/>
                <a:gd name="T49" fmla="*/ 9 h 125"/>
                <a:gd name="T50" fmla="*/ 122 w 124"/>
                <a:gd name="T51" fmla="*/ 7 h 125"/>
                <a:gd name="T52" fmla="*/ 120 w 124"/>
                <a:gd name="T53" fmla="*/ 4 h 125"/>
                <a:gd name="T54" fmla="*/ 118 w 124"/>
                <a:gd name="T55" fmla="*/ 2 h 125"/>
                <a:gd name="T56" fmla="*/ 114 w 124"/>
                <a:gd name="T57" fmla="*/ 1 h 125"/>
                <a:gd name="T58" fmla="*/ 112 w 124"/>
                <a:gd name="T59" fmla="*/ 0 h 125"/>
                <a:gd name="T60" fmla="*/ 109 w 124"/>
                <a:gd name="T61" fmla="*/ 0 h 125"/>
                <a:gd name="T62" fmla="*/ 107 w 124"/>
                <a:gd name="T63" fmla="*/ 0 h 125"/>
                <a:gd name="T64" fmla="*/ 104 w 124"/>
                <a:gd name="T65" fmla="*/ 1 h 125"/>
                <a:gd name="T66" fmla="*/ 100 w 124"/>
                <a:gd name="T67" fmla="*/ 2 h 125"/>
                <a:gd name="T68" fmla="*/ 98 w 124"/>
                <a:gd name="T69" fmla="*/ 4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24" h="125">
                  <a:moveTo>
                    <a:pt x="98" y="4"/>
                  </a:moveTo>
                  <a:lnTo>
                    <a:pt x="4" y="99"/>
                  </a:lnTo>
                  <a:lnTo>
                    <a:pt x="2" y="101"/>
                  </a:lnTo>
                  <a:lnTo>
                    <a:pt x="1" y="104"/>
                  </a:lnTo>
                  <a:lnTo>
                    <a:pt x="0" y="106"/>
                  </a:lnTo>
                  <a:lnTo>
                    <a:pt x="0" y="110"/>
                  </a:lnTo>
                  <a:lnTo>
                    <a:pt x="0" y="113"/>
                  </a:lnTo>
                  <a:lnTo>
                    <a:pt x="1" y="115"/>
                  </a:lnTo>
                  <a:lnTo>
                    <a:pt x="2" y="118"/>
                  </a:lnTo>
                  <a:lnTo>
                    <a:pt x="4" y="120"/>
                  </a:lnTo>
                  <a:lnTo>
                    <a:pt x="6" y="122"/>
                  </a:lnTo>
                  <a:lnTo>
                    <a:pt x="8" y="123"/>
                  </a:lnTo>
                  <a:lnTo>
                    <a:pt x="11" y="125"/>
                  </a:lnTo>
                  <a:lnTo>
                    <a:pt x="15" y="125"/>
                  </a:lnTo>
                  <a:lnTo>
                    <a:pt x="17" y="125"/>
                  </a:lnTo>
                  <a:lnTo>
                    <a:pt x="20" y="123"/>
                  </a:lnTo>
                  <a:lnTo>
                    <a:pt x="22" y="122"/>
                  </a:lnTo>
                  <a:lnTo>
                    <a:pt x="25" y="120"/>
                  </a:lnTo>
                  <a:lnTo>
                    <a:pt x="120" y="25"/>
                  </a:lnTo>
                  <a:lnTo>
                    <a:pt x="122" y="23"/>
                  </a:lnTo>
                  <a:lnTo>
                    <a:pt x="123" y="21"/>
                  </a:lnTo>
                  <a:lnTo>
                    <a:pt x="124" y="17"/>
                  </a:lnTo>
                  <a:lnTo>
                    <a:pt x="124" y="15"/>
                  </a:lnTo>
                  <a:lnTo>
                    <a:pt x="124" y="12"/>
                  </a:lnTo>
                  <a:lnTo>
                    <a:pt x="123" y="9"/>
                  </a:lnTo>
                  <a:lnTo>
                    <a:pt x="122" y="7"/>
                  </a:lnTo>
                  <a:lnTo>
                    <a:pt x="120" y="4"/>
                  </a:lnTo>
                  <a:lnTo>
                    <a:pt x="118" y="2"/>
                  </a:lnTo>
                  <a:lnTo>
                    <a:pt x="114" y="1"/>
                  </a:lnTo>
                  <a:lnTo>
                    <a:pt x="112" y="0"/>
                  </a:lnTo>
                  <a:lnTo>
                    <a:pt x="109" y="0"/>
                  </a:lnTo>
                  <a:lnTo>
                    <a:pt x="107" y="0"/>
                  </a:lnTo>
                  <a:lnTo>
                    <a:pt x="104" y="1"/>
                  </a:lnTo>
                  <a:lnTo>
                    <a:pt x="100" y="2"/>
                  </a:lnTo>
                  <a:lnTo>
                    <a:pt x="98"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12" name="Freeform 57"/>
          <p:cNvSpPr>
            <a:spLocks noEditPoints="1"/>
          </p:cNvSpPr>
          <p:nvPr/>
        </p:nvSpPr>
        <p:spPr bwMode="auto">
          <a:xfrm>
            <a:off x="5816342" y="5114526"/>
            <a:ext cx="319016" cy="409516"/>
          </a:xfrm>
          <a:custGeom>
            <a:avLst/>
            <a:gdLst>
              <a:gd name="T0" fmla="*/ 616 w 708"/>
              <a:gd name="T1" fmla="*/ 486 h 905"/>
              <a:gd name="T2" fmla="*/ 664 w 708"/>
              <a:gd name="T3" fmla="*/ 521 h 905"/>
              <a:gd name="T4" fmla="*/ 678 w 708"/>
              <a:gd name="T5" fmla="*/ 583 h 905"/>
              <a:gd name="T6" fmla="*/ 654 w 708"/>
              <a:gd name="T7" fmla="*/ 638 h 905"/>
              <a:gd name="T8" fmla="*/ 598 w 708"/>
              <a:gd name="T9" fmla="*/ 663 h 905"/>
              <a:gd name="T10" fmla="*/ 523 w 708"/>
              <a:gd name="T11" fmla="*/ 838 h 905"/>
              <a:gd name="T12" fmla="*/ 497 w 708"/>
              <a:gd name="T13" fmla="*/ 868 h 905"/>
              <a:gd name="T14" fmla="*/ 130 w 708"/>
              <a:gd name="T15" fmla="*/ 874 h 905"/>
              <a:gd name="T16" fmla="*/ 93 w 708"/>
              <a:gd name="T17" fmla="*/ 857 h 905"/>
              <a:gd name="T18" fmla="*/ 76 w 708"/>
              <a:gd name="T19" fmla="*/ 821 h 905"/>
              <a:gd name="T20" fmla="*/ 422 w 708"/>
              <a:gd name="T21" fmla="*/ 422 h 905"/>
              <a:gd name="T22" fmla="*/ 514 w 708"/>
              <a:gd name="T23" fmla="*/ 422 h 905"/>
              <a:gd name="T24" fmla="*/ 49 w 708"/>
              <a:gd name="T25" fmla="*/ 292 h 905"/>
              <a:gd name="T26" fmla="*/ 407 w 708"/>
              <a:gd name="T27" fmla="*/ 91 h 905"/>
              <a:gd name="T28" fmla="*/ 318 w 708"/>
              <a:gd name="T29" fmla="*/ 100 h 905"/>
              <a:gd name="T30" fmla="*/ 323 w 708"/>
              <a:gd name="T31" fmla="*/ 119 h 905"/>
              <a:gd name="T32" fmla="*/ 359 w 708"/>
              <a:gd name="T33" fmla="*/ 151 h 905"/>
              <a:gd name="T34" fmla="*/ 347 w 708"/>
              <a:gd name="T35" fmla="*/ 166 h 905"/>
              <a:gd name="T36" fmla="*/ 359 w 708"/>
              <a:gd name="T37" fmla="*/ 181 h 905"/>
              <a:gd name="T38" fmla="*/ 323 w 708"/>
              <a:gd name="T39" fmla="*/ 214 h 905"/>
              <a:gd name="T40" fmla="*/ 318 w 708"/>
              <a:gd name="T41" fmla="*/ 233 h 905"/>
              <a:gd name="T42" fmla="*/ 407 w 708"/>
              <a:gd name="T43" fmla="*/ 241 h 905"/>
              <a:gd name="T44" fmla="*/ 349 w 708"/>
              <a:gd name="T45" fmla="*/ 308 h 905"/>
              <a:gd name="T46" fmla="*/ 351 w 708"/>
              <a:gd name="T47" fmla="*/ 327 h 905"/>
              <a:gd name="T48" fmla="*/ 257 w 708"/>
              <a:gd name="T49" fmla="*/ 392 h 905"/>
              <a:gd name="T50" fmla="*/ 547 w 708"/>
              <a:gd name="T51" fmla="*/ 237 h 905"/>
              <a:gd name="T52" fmla="*/ 556 w 708"/>
              <a:gd name="T53" fmla="*/ 117 h 905"/>
              <a:gd name="T54" fmla="*/ 580 w 708"/>
              <a:gd name="T55" fmla="*/ 57 h 905"/>
              <a:gd name="T56" fmla="*/ 612 w 708"/>
              <a:gd name="T57" fmla="*/ 72 h 905"/>
              <a:gd name="T58" fmla="*/ 632 w 708"/>
              <a:gd name="T59" fmla="*/ 155 h 905"/>
              <a:gd name="T60" fmla="*/ 607 w 708"/>
              <a:gd name="T61" fmla="*/ 207 h 905"/>
              <a:gd name="T62" fmla="*/ 577 w 708"/>
              <a:gd name="T63" fmla="*/ 214 h 905"/>
              <a:gd name="T64" fmla="*/ 532 w 708"/>
              <a:gd name="T65" fmla="*/ 184 h 905"/>
              <a:gd name="T66" fmla="*/ 558 w 708"/>
              <a:gd name="T67" fmla="*/ 407 h 905"/>
              <a:gd name="T68" fmla="*/ 546 w 708"/>
              <a:gd name="T69" fmla="*/ 393 h 905"/>
              <a:gd name="T70" fmla="*/ 618 w 708"/>
              <a:gd name="T71" fmla="*/ 235 h 905"/>
              <a:gd name="T72" fmla="*/ 651 w 708"/>
              <a:gd name="T73" fmla="*/ 198 h 905"/>
              <a:gd name="T74" fmla="*/ 663 w 708"/>
              <a:gd name="T75" fmla="*/ 135 h 905"/>
              <a:gd name="T76" fmla="*/ 636 w 708"/>
              <a:gd name="T77" fmla="*/ 55 h 905"/>
              <a:gd name="T78" fmla="*/ 556 w 708"/>
              <a:gd name="T79" fmla="*/ 3 h 905"/>
              <a:gd name="T80" fmla="*/ 537 w 708"/>
              <a:gd name="T81" fmla="*/ 22 h 905"/>
              <a:gd name="T82" fmla="*/ 550 w 708"/>
              <a:gd name="T83" fmla="*/ 60 h 905"/>
              <a:gd name="T84" fmla="*/ 520 w 708"/>
              <a:gd name="T85" fmla="*/ 113 h 905"/>
              <a:gd name="T86" fmla="*/ 499 w 708"/>
              <a:gd name="T87" fmla="*/ 167 h 905"/>
              <a:gd name="T88" fmla="*/ 516 w 708"/>
              <a:gd name="T89" fmla="*/ 215 h 905"/>
              <a:gd name="T90" fmla="*/ 433 w 708"/>
              <a:gd name="T91" fmla="*/ 5 h 905"/>
              <a:gd name="T92" fmla="*/ 235 w 708"/>
              <a:gd name="T93" fmla="*/ 1 h 905"/>
              <a:gd name="T94" fmla="*/ 227 w 708"/>
              <a:gd name="T95" fmla="*/ 392 h 905"/>
              <a:gd name="T96" fmla="*/ 133 w 708"/>
              <a:gd name="T97" fmla="*/ 217 h 905"/>
              <a:gd name="T98" fmla="*/ 128 w 708"/>
              <a:gd name="T99" fmla="*/ 213 h 905"/>
              <a:gd name="T100" fmla="*/ 2 w 708"/>
              <a:gd name="T101" fmla="*/ 159 h 905"/>
              <a:gd name="T102" fmla="*/ 16 w 708"/>
              <a:gd name="T103" fmla="*/ 291 h 905"/>
              <a:gd name="T104" fmla="*/ 51 w 708"/>
              <a:gd name="T105" fmla="*/ 395 h 905"/>
              <a:gd name="T106" fmla="*/ 46 w 708"/>
              <a:gd name="T107" fmla="*/ 824 h 905"/>
              <a:gd name="T108" fmla="*/ 72 w 708"/>
              <a:gd name="T109" fmla="*/ 879 h 905"/>
              <a:gd name="T110" fmla="*/ 127 w 708"/>
              <a:gd name="T111" fmla="*/ 905 h 905"/>
              <a:gd name="T112" fmla="*/ 512 w 708"/>
              <a:gd name="T113" fmla="*/ 894 h 905"/>
              <a:gd name="T114" fmla="*/ 551 w 708"/>
              <a:gd name="T115" fmla="*/ 850 h 905"/>
              <a:gd name="T116" fmla="*/ 601 w 708"/>
              <a:gd name="T117" fmla="*/ 693 h 905"/>
              <a:gd name="T118" fmla="*/ 674 w 708"/>
              <a:gd name="T119" fmla="*/ 659 h 905"/>
              <a:gd name="T120" fmla="*/ 708 w 708"/>
              <a:gd name="T121" fmla="*/ 586 h 905"/>
              <a:gd name="T122" fmla="*/ 689 w 708"/>
              <a:gd name="T123" fmla="*/ 505 h 905"/>
              <a:gd name="T124" fmla="*/ 625 w 708"/>
              <a:gd name="T125" fmla="*/ 457 h 9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708" h="905">
                <a:moveTo>
                  <a:pt x="588" y="664"/>
                </a:moveTo>
                <a:lnTo>
                  <a:pt x="558" y="664"/>
                </a:lnTo>
                <a:lnTo>
                  <a:pt x="558" y="482"/>
                </a:lnTo>
                <a:lnTo>
                  <a:pt x="588" y="482"/>
                </a:lnTo>
                <a:lnTo>
                  <a:pt x="598" y="483"/>
                </a:lnTo>
                <a:lnTo>
                  <a:pt x="607" y="484"/>
                </a:lnTo>
                <a:lnTo>
                  <a:pt x="616" y="486"/>
                </a:lnTo>
                <a:lnTo>
                  <a:pt x="625" y="490"/>
                </a:lnTo>
                <a:lnTo>
                  <a:pt x="632" y="493"/>
                </a:lnTo>
                <a:lnTo>
                  <a:pt x="640" y="497"/>
                </a:lnTo>
                <a:lnTo>
                  <a:pt x="647" y="502"/>
                </a:lnTo>
                <a:lnTo>
                  <a:pt x="654" y="508"/>
                </a:lnTo>
                <a:lnTo>
                  <a:pt x="659" y="514"/>
                </a:lnTo>
                <a:lnTo>
                  <a:pt x="664" y="521"/>
                </a:lnTo>
                <a:lnTo>
                  <a:pt x="669" y="528"/>
                </a:lnTo>
                <a:lnTo>
                  <a:pt x="672" y="537"/>
                </a:lnTo>
                <a:lnTo>
                  <a:pt x="675" y="544"/>
                </a:lnTo>
                <a:lnTo>
                  <a:pt x="677" y="554"/>
                </a:lnTo>
                <a:lnTo>
                  <a:pt x="678" y="564"/>
                </a:lnTo>
                <a:lnTo>
                  <a:pt x="678" y="573"/>
                </a:lnTo>
                <a:lnTo>
                  <a:pt x="678" y="583"/>
                </a:lnTo>
                <a:lnTo>
                  <a:pt x="677" y="592"/>
                </a:lnTo>
                <a:lnTo>
                  <a:pt x="675" y="601"/>
                </a:lnTo>
                <a:lnTo>
                  <a:pt x="672" y="610"/>
                </a:lnTo>
                <a:lnTo>
                  <a:pt x="669" y="617"/>
                </a:lnTo>
                <a:lnTo>
                  <a:pt x="664" y="625"/>
                </a:lnTo>
                <a:lnTo>
                  <a:pt x="659" y="631"/>
                </a:lnTo>
                <a:lnTo>
                  <a:pt x="654" y="638"/>
                </a:lnTo>
                <a:lnTo>
                  <a:pt x="647" y="644"/>
                </a:lnTo>
                <a:lnTo>
                  <a:pt x="640" y="649"/>
                </a:lnTo>
                <a:lnTo>
                  <a:pt x="632" y="653"/>
                </a:lnTo>
                <a:lnTo>
                  <a:pt x="625" y="657"/>
                </a:lnTo>
                <a:lnTo>
                  <a:pt x="616" y="659"/>
                </a:lnTo>
                <a:lnTo>
                  <a:pt x="607" y="662"/>
                </a:lnTo>
                <a:lnTo>
                  <a:pt x="598" y="663"/>
                </a:lnTo>
                <a:lnTo>
                  <a:pt x="588" y="664"/>
                </a:lnTo>
                <a:lnTo>
                  <a:pt x="588" y="664"/>
                </a:lnTo>
                <a:close/>
                <a:moveTo>
                  <a:pt x="528" y="814"/>
                </a:moveTo>
                <a:lnTo>
                  <a:pt x="528" y="821"/>
                </a:lnTo>
                <a:lnTo>
                  <a:pt x="527" y="827"/>
                </a:lnTo>
                <a:lnTo>
                  <a:pt x="526" y="833"/>
                </a:lnTo>
                <a:lnTo>
                  <a:pt x="523" y="838"/>
                </a:lnTo>
                <a:lnTo>
                  <a:pt x="520" y="843"/>
                </a:lnTo>
                <a:lnTo>
                  <a:pt x="518" y="849"/>
                </a:lnTo>
                <a:lnTo>
                  <a:pt x="515" y="853"/>
                </a:lnTo>
                <a:lnTo>
                  <a:pt x="511" y="857"/>
                </a:lnTo>
                <a:lnTo>
                  <a:pt x="506" y="862"/>
                </a:lnTo>
                <a:lnTo>
                  <a:pt x="502" y="865"/>
                </a:lnTo>
                <a:lnTo>
                  <a:pt x="497" y="868"/>
                </a:lnTo>
                <a:lnTo>
                  <a:pt x="491" y="870"/>
                </a:lnTo>
                <a:lnTo>
                  <a:pt x="486" y="872"/>
                </a:lnTo>
                <a:lnTo>
                  <a:pt x="480" y="873"/>
                </a:lnTo>
                <a:lnTo>
                  <a:pt x="474" y="874"/>
                </a:lnTo>
                <a:lnTo>
                  <a:pt x="467" y="874"/>
                </a:lnTo>
                <a:lnTo>
                  <a:pt x="135" y="874"/>
                </a:lnTo>
                <a:lnTo>
                  <a:pt x="130" y="874"/>
                </a:lnTo>
                <a:lnTo>
                  <a:pt x="123" y="873"/>
                </a:lnTo>
                <a:lnTo>
                  <a:pt x="118" y="872"/>
                </a:lnTo>
                <a:lnTo>
                  <a:pt x="111" y="870"/>
                </a:lnTo>
                <a:lnTo>
                  <a:pt x="106" y="867"/>
                </a:lnTo>
                <a:lnTo>
                  <a:pt x="102" y="865"/>
                </a:lnTo>
                <a:lnTo>
                  <a:pt x="97" y="861"/>
                </a:lnTo>
                <a:lnTo>
                  <a:pt x="93" y="857"/>
                </a:lnTo>
                <a:lnTo>
                  <a:pt x="89" y="853"/>
                </a:lnTo>
                <a:lnTo>
                  <a:pt x="86" y="848"/>
                </a:lnTo>
                <a:lnTo>
                  <a:pt x="82" y="843"/>
                </a:lnTo>
                <a:lnTo>
                  <a:pt x="80" y="838"/>
                </a:lnTo>
                <a:lnTo>
                  <a:pt x="78" y="833"/>
                </a:lnTo>
                <a:lnTo>
                  <a:pt x="76" y="826"/>
                </a:lnTo>
                <a:lnTo>
                  <a:pt x="76" y="821"/>
                </a:lnTo>
                <a:lnTo>
                  <a:pt x="75" y="814"/>
                </a:lnTo>
                <a:lnTo>
                  <a:pt x="75" y="422"/>
                </a:lnTo>
                <a:lnTo>
                  <a:pt x="90" y="422"/>
                </a:lnTo>
                <a:lnTo>
                  <a:pt x="211" y="422"/>
                </a:lnTo>
                <a:lnTo>
                  <a:pt x="211" y="422"/>
                </a:lnTo>
                <a:lnTo>
                  <a:pt x="242" y="422"/>
                </a:lnTo>
                <a:lnTo>
                  <a:pt x="422" y="422"/>
                </a:lnTo>
                <a:lnTo>
                  <a:pt x="435" y="422"/>
                </a:lnTo>
                <a:lnTo>
                  <a:pt x="435" y="422"/>
                </a:lnTo>
                <a:lnTo>
                  <a:pt x="435" y="422"/>
                </a:lnTo>
                <a:lnTo>
                  <a:pt x="436" y="422"/>
                </a:lnTo>
                <a:lnTo>
                  <a:pt x="514" y="422"/>
                </a:lnTo>
                <a:lnTo>
                  <a:pt x="514" y="422"/>
                </a:lnTo>
                <a:lnTo>
                  <a:pt x="514" y="422"/>
                </a:lnTo>
                <a:lnTo>
                  <a:pt x="528" y="422"/>
                </a:lnTo>
                <a:lnTo>
                  <a:pt x="528" y="814"/>
                </a:lnTo>
                <a:close/>
                <a:moveTo>
                  <a:pt x="49" y="292"/>
                </a:moveTo>
                <a:lnTo>
                  <a:pt x="115" y="249"/>
                </a:lnTo>
                <a:lnTo>
                  <a:pt x="187" y="392"/>
                </a:lnTo>
                <a:lnTo>
                  <a:pt x="100" y="392"/>
                </a:lnTo>
                <a:lnTo>
                  <a:pt x="49" y="292"/>
                </a:lnTo>
                <a:close/>
                <a:moveTo>
                  <a:pt x="92" y="227"/>
                </a:moveTo>
                <a:lnTo>
                  <a:pt x="42" y="260"/>
                </a:lnTo>
                <a:lnTo>
                  <a:pt x="34" y="194"/>
                </a:lnTo>
                <a:lnTo>
                  <a:pt x="92" y="227"/>
                </a:lnTo>
                <a:close/>
                <a:moveTo>
                  <a:pt x="257" y="30"/>
                </a:moveTo>
                <a:lnTo>
                  <a:pt x="407" y="30"/>
                </a:lnTo>
                <a:lnTo>
                  <a:pt x="407" y="91"/>
                </a:lnTo>
                <a:lnTo>
                  <a:pt x="332" y="91"/>
                </a:lnTo>
                <a:lnTo>
                  <a:pt x="329" y="91"/>
                </a:lnTo>
                <a:lnTo>
                  <a:pt x="325" y="92"/>
                </a:lnTo>
                <a:lnTo>
                  <a:pt x="323" y="93"/>
                </a:lnTo>
                <a:lnTo>
                  <a:pt x="321" y="95"/>
                </a:lnTo>
                <a:lnTo>
                  <a:pt x="319" y="97"/>
                </a:lnTo>
                <a:lnTo>
                  <a:pt x="318" y="100"/>
                </a:lnTo>
                <a:lnTo>
                  <a:pt x="317" y="102"/>
                </a:lnTo>
                <a:lnTo>
                  <a:pt x="317" y="106"/>
                </a:lnTo>
                <a:lnTo>
                  <a:pt x="317" y="109"/>
                </a:lnTo>
                <a:lnTo>
                  <a:pt x="318" y="111"/>
                </a:lnTo>
                <a:lnTo>
                  <a:pt x="319" y="114"/>
                </a:lnTo>
                <a:lnTo>
                  <a:pt x="321" y="116"/>
                </a:lnTo>
                <a:lnTo>
                  <a:pt x="323" y="119"/>
                </a:lnTo>
                <a:lnTo>
                  <a:pt x="325" y="120"/>
                </a:lnTo>
                <a:lnTo>
                  <a:pt x="329" y="121"/>
                </a:lnTo>
                <a:lnTo>
                  <a:pt x="332" y="121"/>
                </a:lnTo>
                <a:lnTo>
                  <a:pt x="407" y="121"/>
                </a:lnTo>
                <a:lnTo>
                  <a:pt x="407" y="151"/>
                </a:lnTo>
                <a:lnTo>
                  <a:pt x="362" y="151"/>
                </a:lnTo>
                <a:lnTo>
                  <a:pt x="359" y="151"/>
                </a:lnTo>
                <a:lnTo>
                  <a:pt x="356" y="152"/>
                </a:lnTo>
                <a:lnTo>
                  <a:pt x="353" y="153"/>
                </a:lnTo>
                <a:lnTo>
                  <a:pt x="351" y="155"/>
                </a:lnTo>
                <a:lnTo>
                  <a:pt x="349" y="157"/>
                </a:lnTo>
                <a:lnTo>
                  <a:pt x="348" y="160"/>
                </a:lnTo>
                <a:lnTo>
                  <a:pt x="347" y="163"/>
                </a:lnTo>
                <a:lnTo>
                  <a:pt x="347" y="166"/>
                </a:lnTo>
                <a:lnTo>
                  <a:pt x="347" y="169"/>
                </a:lnTo>
                <a:lnTo>
                  <a:pt x="348" y="172"/>
                </a:lnTo>
                <a:lnTo>
                  <a:pt x="349" y="174"/>
                </a:lnTo>
                <a:lnTo>
                  <a:pt x="351" y="177"/>
                </a:lnTo>
                <a:lnTo>
                  <a:pt x="353" y="179"/>
                </a:lnTo>
                <a:lnTo>
                  <a:pt x="356" y="180"/>
                </a:lnTo>
                <a:lnTo>
                  <a:pt x="359" y="181"/>
                </a:lnTo>
                <a:lnTo>
                  <a:pt x="362" y="181"/>
                </a:lnTo>
                <a:lnTo>
                  <a:pt x="407" y="181"/>
                </a:lnTo>
                <a:lnTo>
                  <a:pt x="407" y="211"/>
                </a:lnTo>
                <a:lnTo>
                  <a:pt x="332" y="211"/>
                </a:lnTo>
                <a:lnTo>
                  <a:pt x="329" y="211"/>
                </a:lnTo>
                <a:lnTo>
                  <a:pt x="325" y="212"/>
                </a:lnTo>
                <a:lnTo>
                  <a:pt x="323" y="214"/>
                </a:lnTo>
                <a:lnTo>
                  <a:pt x="321" y="215"/>
                </a:lnTo>
                <a:lnTo>
                  <a:pt x="319" y="217"/>
                </a:lnTo>
                <a:lnTo>
                  <a:pt x="318" y="221"/>
                </a:lnTo>
                <a:lnTo>
                  <a:pt x="317" y="223"/>
                </a:lnTo>
                <a:lnTo>
                  <a:pt x="317" y="226"/>
                </a:lnTo>
                <a:lnTo>
                  <a:pt x="317" y="229"/>
                </a:lnTo>
                <a:lnTo>
                  <a:pt x="318" y="233"/>
                </a:lnTo>
                <a:lnTo>
                  <a:pt x="319" y="235"/>
                </a:lnTo>
                <a:lnTo>
                  <a:pt x="321" y="237"/>
                </a:lnTo>
                <a:lnTo>
                  <a:pt x="323" y="239"/>
                </a:lnTo>
                <a:lnTo>
                  <a:pt x="325" y="240"/>
                </a:lnTo>
                <a:lnTo>
                  <a:pt x="329" y="241"/>
                </a:lnTo>
                <a:lnTo>
                  <a:pt x="332" y="241"/>
                </a:lnTo>
                <a:lnTo>
                  <a:pt x="407" y="241"/>
                </a:lnTo>
                <a:lnTo>
                  <a:pt x="407" y="301"/>
                </a:lnTo>
                <a:lnTo>
                  <a:pt x="362" y="301"/>
                </a:lnTo>
                <a:lnTo>
                  <a:pt x="359" y="302"/>
                </a:lnTo>
                <a:lnTo>
                  <a:pt x="356" y="302"/>
                </a:lnTo>
                <a:lnTo>
                  <a:pt x="353" y="305"/>
                </a:lnTo>
                <a:lnTo>
                  <a:pt x="351" y="306"/>
                </a:lnTo>
                <a:lnTo>
                  <a:pt x="349" y="308"/>
                </a:lnTo>
                <a:lnTo>
                  <a:pt x="348" y="311"/>
                </a:lnTo>
                <a:lnTo>
                  <a:pt x="347" y="313"/>
                </a:lnTo>
                <a:lnTo>
                  <a:pt x="347" y="316"/>
                </a:lnTo>
                <a:lnTo>
                  <a:pt x="347" y="320"/>
                </a:lnTo>
                <a:lnTo>
                  <a:pt x="348" y="323"/>
                </a:lnTo>
                <a:lnTo>
                  <a:pt x="349" y="325"/>
                </a:lnTo>
                <a:lnTo>
                  <a:pt x="351" y="327"/>
                </a:lnTo>
                <a:lnTo>
                  <a:pt x="353" y="329"/>
                </a:lnTo>
                <a:lnTo>
                  <a:pt x="356" y="330"/>
                </a:lnTo>
                <a:lnTo>
                  <a:pt x="359" y="331"/>
                </a:lnTo>
                <a:lnTo>
                  <a:pt x="362" y="331"/>
                </a:lnTo>
                <a:lnTo>
                  <a:pt x="407" y="331"/>
                </a:lnTo>
                <a:lnTo>
                  <a:pt x="407" y="392"/>
                </a:lnTo>
                <a:lnTo>
                  <a:pt x="257" y="392"/>
                </a:lnTo>
                <a:lnTo>
                  <a:pt x="257" y="30"/>
                </a:lnTo>
                <a:close/>
                <a:moveTo>
                  <a:pt x="547" y="237"/>
                </a:moveTo>
                <a:lnTo>
                  <a:pt x="554" y="240"/>
                </a:lnTo>
                <a:lnTo>
                  <a:pt x="561" y="241"/>
                </a:lnTo>
                <a:lnTo>
                  <a:pt x="504" y="392"/>
                </a:lnTo>
                <a:lnTo>
                  <a:pt x="461" y="392"/>
                </a:lnTo>
                <a:lnTo>
                  <a:pt x="547" y="237"/>
                </a:lnTo>
                <a:lnTo>
                  <a:pt x="547" y="237"/>
                </a:lnTo>
                <a:lnTo>
                  <a:pt x="547" y="237"/>
                </a:lnTo>
                <a:lnTo>
                  <a:pt x="547" y="237"/>
                </a:lnTo>
                <a:close/>
                <a:moveTo>
                  <a:pt x="533" y="149"/>
                </a:moveTo>
                <a:lnTo>
                  <a:pt x="540" y="137"/>
                </a:lnTo>
                <a:lnTo>
                  <a:pt x="549" y="125"/>
                </a:lnTo>
                <a:lnTo>
                  <a:pt x="556" y="117"/>
                </a:lnTo>
                <a:lnTo>
                  <a:pt x="561" y="109"/>
                </a:lnTo>
                <a:lnTo>
                  <a:pt x="568" y="100"/>
                </a:lnTo>
                <a:lnTo>
                  <a:pt x="572" y="91"/>
                </a:lnTo>
                <a:lnTo>
                  <a:pt x="576" y="80"/>
                </a:lnTo>
                <a:lnTo>
                  <a:pt x="579" y="69"/>
                </a:lnTo>
                <a:lnTo>
                  <a:pt x="580" y="63"/>
                </a:lnTo>
                <a:lnTo>
                  <a:pt x="580" y="57"/>
                </a:lnTo>
                <a:lnTo>
                  <a:pt x="580" y="51"/>
                </a:lnTo>
                <a:lnTo>
                  <a:pt x="579" y="44"/>
                </a:lnTo>
                <a:lnTo>
                  <a:pt x="587" y="49"/>
                </a:lnTo>
                <a:lnTo>
                  <a:pt x="594" y="54"/>
                </a:lnTo>
                <a:lnTo>
                  <a:pt x="601" y="60"/>
                </a:lnTo>
                <a:lnTo>
                  <a:pt x="606" y="66"/>
                </a:lnTo>
                <a:lnTo>
                  <a:pt x="612" y="72"/>
                </a:lnTo>
                <a:lnTo>
                  <a:pt x="616" y="80"/>
                </a:lnTo>
                <a:lnTo>
                  <a:pt x="620" y="86"/>
                </a:lnTo>
                <a:lnTo>
                  <a:pt x="623" y="94"/>
                </a:lnTo>
                <a:lnTo>
                  <a:pt x="629" y="109"/>
                </a:lnTo>
                <a:lnTo>
                  <a:pt x="632" y="124"/>
                </a:lnTo>
                <a:lnTo>
                  <a:pt x="633" y="140"/>
                </a:lnTo>
                <a:lnTo>
                  <a:pt x="632" y="155"/>
                </a:lnTo>
                <a:lnTo>
                  <a:pt x="631" y="165"/>
                </a:lnTo>
                <a:lnTo>
                  <a:pt x="628" y="176"/>
                </a:lnTo>
                <a:lnTo>
                  <a:pt x="623" y="186"/>
                </a:lnTo>
                <a:lnTo>
                  <a:pt x="618" y="195"/>
                </a:lnTo>
                <a:lnTo>
                  <a:pt x="615" y="199"/>
                </a:lnTo>
                <a:lnTo>
                  <a:pt x="612" y="203"/>
                </a:lnTo>
                <a:lnTo>
                  <a:pt x="607" y="207"/>
                </a:lnTo>
                <a:lnTo>
                  <a:pt x="603" y="209"/>
                </a:lnTo>
                <a:lnTo>
                  <a:pt x="599" y="211"/>
                </a:lnTo>
                <a:lnTo>
                  <a:pt x="593" y="213"/>
                </a:lnTo>
                <a:lnTo>
                  <a:pt x="588" y="214"/>
                </a:lnTo>
                <a:lnTo>
                  <a:pt x="583" y="214"/>
                </a:lnTo>
                <a:lnTo>
                  <a:pt x="583" y="214"/>
                </a:lnTo>
                <a:lnTo>
                  <a:pt x="577" y="214"/>
                </a:lnTo>
                <a:lnTo>
                  <a:pt x="571" y="213"/>
                </a:lnTo>
                <a:lnTo>
                  <a:pt x="565" y="212"/>
                </a:lnTo>
                <a:lnTo>
                  <a:pt x="559" y="209"/>
                </a:lnTo>
                <a:lnTo>
                  <a:pt x="550" y="205"/>
                </a:lnTo>
                <a:lnTo>
                  <a:pt x="543" y="199"/>
                </a:lnTo>
                <a:lnTo>
                  <a:pt x="536" y="192"/>
                </a:lnTo>
                <a:lnTo>
                  <a:pt x="532" y="184"/>
                </a:lnTo>
                <a:lnTo>
                  <a:pt x="530" y="176"/>
                </a:lnTo>
                <a:lnTo>
                  <a:pt x="529" y="167"/>
                </a:lnTo>
                <a:lnTo>
                  <a:pt x="530" y="157"/>
                </a:lnTo>
                <a:lnTo>
                  <a:pt x="533" y="149"/>
                </a:lnTo>
                <a:close/>
                <a:moveTo>
                  <a:pt x="588" y="452"/>
                </a:moveTo>
                <a:lnTo>
                  <a:pt x="558" y="452"/>
                </a:lnTo>
                <a:lnTo>
                  <a:pt x="558" y="407"/>
                </a:lnTo>
                <a:lnTo>
                  <a:pt x="558" y="404"/>
                </a:lnTo>
                <a:lnTo>
                  <a:pt x="557" y="401"/>
                </a:lnTo>
                <a:lnTo>
                  <a:pt x="556" y="399"/>
                </a:lnTo>
                <a:lnTo>
                  <a:pt x="554" y="396"/>
                </a:lnTo>
                <a:lnTo>
                  <a:pt x="551" y="395"/>
                </a:lnTo>
                <a:lnTo>
                  <a:pt x="548" y="393"/>
                </a:lnTo>
                <a:lnTo>
                  <a:pt x="546" y="393"/>
                </a:lnTo>
                <a:lnTo>
                  <a:pt x="543" y="392"/>
                </a:lnTo>
                <a:lnTo>
                  <a:pt x="536" y="392"/>
                </a:lnTo>
                <a:lnTo>
                  <a:pt x="592" y="244"/>
                </a:lnTo>
                <a:lnTo>
                  <a:pt x="599" y="242"/>
                </a:lnTo>
                <a:lnTo>
                  <a:pt x="605" y="241"/>
                </a:lnTo>
                <a:lnTo>
                  <a:pt x="612" y="238"/>
                </a:lnTo>
                <a:lnTo>
                  <a:pt x="618" y="235"/>
                </a:lnTo>
                <a:lnTo>
                  <a:pt x="623" y="231"/>
                </a:lnTo>
                <a:lnTo>
                  <a:pt x="629" y="227"/>
                </a:lnTo>
                <a:lnTo>
                  <a:pt x="634" y="223"/>
                </a:lnTo>
                <a:lnTo>
                  <a:pt x="639" y="217"/>
                </a:lnTo>
                <a:lnTo>
                  <a:pt x="644" y="211"/>
                </a:lnTo>
                <a:lnTo>
                  <a:pt x="647" y="206"/>
                </a:lnTo>
                <a:lnTo>
                  <a:pt x="651" y="198"/>
                </a:lnTo>
                <a:lnTo>
                  <a:pt x="655" y="192"/>
                </a:lnTo>
                <a:lnTo>
                  <a:pt x="657" y="184"/>
                </a:lnTo>
                <a:lnTo>
                  <a:pt x="659" y="176"/>
                </a:lnTo>
                <a:lnTo>
                  <a:pt x="661" y="167"/>
                </a:lnTo>
                <a:lnTo>
                  <a:pt x="662" y="158"/>
                </a:lnTo>
                <a:lnTo>
                  <a:pt x="663" y="147"/>
                </a:lnTo>
                <a:lnTo>
                  <a:pt x="663" y="135"/>
                </a:lnTo>
                <a:lnTo>
                  <a:pt x="662" y="123"/>
                </a:lnTo>
                <a:lnTo>
                  <a:pt x="661" y="111"/>
                </a:lnTo>
                <a:lnTo>
                  <a:pt x="658" y="99"/>
                </a:lnTo>
                <a:lnTo>
                  <a:pt x="654" y="87"/>
                </a:lnTo>
                <a:lnTo>
                  <a:pt x="649" y="77"/>
                </a:lnTo>
                <a:lnTo>
                  <a:pt x="643" y="66"/>
                </a:lnTo>
                <a:lnTo>
                  <a:pt x="636" y="55"/>
                </a:lnTo>
                <a:lnTo>
                  <a:pt x="628" y="45"/>
                </a:lnTo>
                <a:lnTo>
                  <a:pt x="619" y="36"/>
                </a:lnTo>
                <a:lnTo>
                  <a:pt x="608" y="27"/>
                </a:lnTo>
                <a:lnTo>
                  <a:pt x="598" y="20"/>
                </a:lnTo>
                <a:lnTo>
                  <a:pt x="585" y="13"/>
                </a:lnTo>
                <a:lnTo>
                  <a:pt x="571" y="8"/>
                </a:lnTo>
                <a:lnTo>
                  <a:pt x="556" y="3"/>
                </a:lnTo>
                <a:lnTo>
                  <a:pt x="551" y="2"/>
                </a:lnTo>
                <a:lnTo>
                  <a:pt x="547" y="3"/>
                </a:lnTo>
                <a:lnTo>
                  <a:pt x="543" y="6"/>
                </a:lnTo>
                <a:lnTo>
                  <a:pt x="540" y="9"/>
                </a:lnTo>
                <a:lnTo>
                  <a:pt x="537" y="13"/>
                </a:lnTo>
                <a:lnTo>
                  <a:pt x="537" y="17"/>
                </a:lnTo>
                <a:lnTo>
                  <a:pt x="537" y="22"/>
                </a:lnTo>
                <a:lnTo>
                  <a:pt x="540" y="26"/>
                </a:lnTo>
                <a:lnTo>
                  <a:pt x="543" y="33"/>
                </a:lnTo>
                <a:lnTo>
                  <a:pt x="546" y="38"/>
                </a:lnTo>
                <a:lnTo>
                  <a:pt x="548" y="44"/>
                </a:lnTo>
                <a:lnTo>
                  <a:pt x="549" y="50"/>
                </a:lnTo>
                <a:lnTo>
                  <a:pt x="550" y="55"/>
                </a:lnTo>
                <a:lnTo>
                  <a:pt x="550" y="60"/>
                </a:lnTo>
                <a:lnTo>
                  <a:pt x="549" y="65"/>
                </a:lnTo>
                <a:lnTo>
                  <a:pt x="548" y="70"/>
                </a:lnTo>
                <a:lnTo>
                  <a:pt x="545" y="79"/>
                </a:lnTo>
                <a:lnTo>
                  <a:pt x="540" y="88"/>
                </a:lnTo>
                <a:lnTo>
                  <a:pt x="533" y="97"/>
                </a:lnTo>
                <a:lnTo>
                  <a:pt x="526" y="107"/>
                </a:lnTo>
                <a:lnTo>
                  <a:pt x="520" y="113"/>
                </a:lnTo>
                <a:lnTo>
                  <a:pt x="515" y="121"/>
                </a:lnTo>
                <a:lnTo>
                  <a:pt x="509" y="128"/>
                </a:lnTo>
                <a:lnTo>
                  <a:pt x="505" y="137"/>
                </a:lnTo>
                <a:lnTo>
                  <a:pt x="503" y="144"/>
                </a:lnTo>
                <a:lnTo>
                  <a:pt x="501" y="152"/>
                </a:lnTo>
                <a:lnTo>
                  <a:pt x="500" y="159"/>
                </a:lnTo>
                <a:lnTo>
                  <a:pt x="499" y="167"/>
                </a:lnTo>
                <a:lnTo>
                  <a:pt x="499" y="174"/>
                </a:lnTo>
                <a:lnTo>
                  <a:pt x="500" y="182"/>
                </a:lnTo>
                <a:lnTo>
                  <a:pt x="502" y="190"/>
                </a:lnTo>
                <a:lnTo>
                  <a:pt x="504" y="196"/>
                </a:lnTo>
                <a:lnTo>
                  <a:pt x="507" y="202"/>
                </a:lnTo>
                <a:lnTo>
                  <a:pt x="512" y="209"/>
                </a:lnTo>
                <a:lnTo>
                  <a:pt x="516" y="215"/>
                </a:lnTo>
                <a:lnTo>
                  <a:pt x="521" y="221"/>
                </a:lnTo>
                <a:lnTo>
                  <a:pt x="437" y="373"/>
                </a:lnTo>
                <a:lnTo>
                  <a:pt x="437" y="15"/>
                </a:lnTo>
                <a:lnTo>
                  <a:pt x="437" y="12"/>
                </a:lnTo>
                <a:lnTo>
                  <a:pt x="436" y="9"/>
                </a:lnTo>
                <a:lnTo>
                  <a:pt x="434" y="7"/>
                </a:lnTo>
                <a:lnTo>
                  <a:pt x="433" y="5"/>
                </a:lnTo>
                <a:lnTo>
                  <a:pt x="431" y="2"/>
                </a:lnTo>
                <a:lnTo>
                  <a:pt x="428" y="1"/>
                </a:lnTo>
                <a:lnTo>
                  <a:pt x="426" y="0"/>
                </a:lnTo>
                <a:lnTo>
                  <a:pt x="422" y="0"/>
                </a:lnTo>
                <a:lnTo>
                  <a:pt x="242" y="0"/>
                </a:lnTo>
                <a:lnTo>
                  <a:pt x="238" y="0"/>
                </a:lnTo>
                <a:lnTo>
                  <a:pt x="235" y="1"/>
                </a:lnTo>
                <a:lnTo>
                  <a:pt x="233" y="2"/>
                </a:lnTo>
                <a:lnTo>
                  <a:pt x="231" y="5"/>
                </a:lnTo>
                <a:lnTo>
                  <a:pt x="229" y="7"/>
                </a:lnTo>
                <a:lnTo>
                  <a:pt x="228" y="9"/>
                </a:lnTo>
                <a:lnTo>
                  <a:pt x="227" y="12"/>
                </a:lnTo>
                <a:lnTo>
                  <a:pt x="227" y="15"/>
                </a:lnTo>
                <a:lnTo>
                  <a:pt x="227" y="392"/>
                </a:lnTo>
                <a:lnTo>
                  <a:pt x="220" y="392"/>
                </a:lnTo>
                <a:lnTo>
                  <a:pt x="134" y="220"/>
                </a:lnTo>
                <a:lnTo>
                  <a:pt x="134" y="219"/>
                </a:lnTo>
                <a:lnTo>
                  <a:pt x="133" y="219"/>
                </a:lnTo>
                <a:lnTo>
                  <a:pt x="133" y="219"/>
                </a:lnTo>
                <a:lnTo>
                  <a:pt x="133" y="217"/>
                </a:lnTo>
                <a:lnTo>
                  <a:pt x="133" y="217"/>
                </a:lnTo>
                <a:lnTo>
                  <a:pt x="132" y="217"/>
                </a:lnTo>
                <a:lnTo>
                  <a:pt x="131" y="215"/>
                </a:lnTo>
                <a:lnTo>
                  <a:pt x="130" y="214"/>
                </a:lnTo>
                <a:lnTo>
                  <a:pt x="129" y="214"/>
                </a:lnTo>
                <a:lnTo>
                  <a:pt x="129" y="213"/>
                </a:lnTo>
                <a:lnTo>
                  <a:pt x="129" y="213"/>
                </a:lnTo>
                <a:lnTo>
                  <a:pt x="128" y="213"/>
                </a:lnTo>
                <a:lnTo>
                  <a:pt x="22" y="153"/>
                </a:lnTo>
                <a:lnTo>
                  <a:pt x="19" y="151"/>
                </a:lnTo>
                <a:lnTo>
                  <a:pt x="15" y="151"/>
                </a:lnTo>
                <a:lnTo>
                  <a:pt x="10" y="152"/>
                </a:lnTo>
                <a:lnTo>
                  <a:pt x="6" y="153"/>
                </a:lnTo>
                <a:lnTo>
                  <a:pt x="4" y="156"/>
                </a:lnTo>
                <a:lnTo>
                  <a:pt x="2" y="159"/>
                </a:lnTo>
                <a:lnTo>
                  <a:pt x="0" y="164"/>
                </a:lnTo>
                <a:lnTo>
                  <a:pt x="0" y="168"/>
                </a:lnTo>
                <a:lnTo>
                  <a:pt x="15" y="288"/>
                </a:lnTo>
                <a:lnTo>
                  <a:pt x="15" y="288"/>
                </a:lnTo>
                <a:lnTo>
                  <a:pt x="15" y="288"/>
                </a:lnTo>
                <a:lnTo>
                  <a:pt x="16" y="290"/>
                </a:lnTo>
                <a:lnTo>
                  <a:pt x="16" y="291"/>
                </a:lnTo>
                <a:lnTo>
                  <a:pt x="16" y="292"/>
                </a:lnTo>
                <a:lnTo>
                  <a:pt x="17" y="294"/>
                </a:lnTo>
                <a:lnTo>
                  <a:pt x="66" y="392"/>
                </a:lnTo>
                <a:lnTo>
                  <a:pt x="60" y="392"/>
                </a:lnTo>
                <a:lnTo>
                  <a:pt x="57" y="393"/>
                </a:lnTo>
                <a:lnTo>
                  <a:pt x="54" y="393"/>
                </a:lnTo>
                <a:lnTo>
                  <a:pt x="51" y="395"/>
                </a:lnTo>
                <a:lnTo>
                  <a:pt x="49" y="396"/>
                </a:lnTo>
                <a:lnTo>
                  <a:pt x="48" y="399"/>
                </a:lnTo>
                <a:lnTo>
                  <a:pt x="46" y="401"/>
                </a:lnTo>
                <a:lnTo>
                  <a:pt x="46" y="405"/>
                </a:lnTo>
                <a:lnTo>
                  <a:pt x="45" y="407"/>
                </a:lnTo>
                <a:lnTo>
                  <a:pt x="45" y="814"/>
                </a:lnTo>
                <a:lnTo>
                  <a:pt x="46" y="824"/>
                </a:lnTo>
                <a:lnTo>
                  <a:pt x="47" y="833"/>
                </a:lnTo>
                <a:lnTo>
                  <a:pt x="49" y="841"/>
                </a:lnTo>
                <a:lnTo>
                  <a:pt x="52" y="850"/>
                </a:lnTo>
                <a:lnTo>
                  <a:pt x="56" y="857"/>
                </a:lnTo>
                <a:lnTo>
                  <a:pt x="60" y="865"/>
                </a:lnTo>
                <a:lnTo>
                  <a:pt x="65" y="872"/>
                </a:lnTo>
                <a:lnTo>
                  <a:pt x="72" y="879"/>
                </a:lnTo>
                <a:lnTo>
                  <a:pt x="78" y="884"/>
                </a:lnTo>
                <a:lnTo>
                  <a:pt x="85" y="890"/>
                </a:lnTo>
                <a:lnTo>
                  <a:pt x="92" y="894"/>
                </a:lnTo>
                <a:lnTo>
                  <a:pt x="100" y="898"/>
                </a:lnTo>
                <a:lnTo>
                  <a:pt x="108" y="900"/>
                </a:lnTo>
                <a:lnTo>
                  <a:pt x="117" y="902"/>
                </a:lnTo>
                <a:lnTo>
                  <a:pt x="127" y="905"/>
                </a:lnTo>
                <a:lnTo>
                  <a:pt x="135" y="905"/>
                </a:lnTo>
                <a:lnTo>
                  <a:pt x="467" y="905"/>
                </a:lnTo>
                <a:lnTo>
                  <a:pt x="477" y="905"/>
                </a:lnTo>
                <a:lnTo>
                  <a:pt x="486" y="902"/>
                </a:lnTo>
                <a:lnTo>
                  <a:pt x="494" y="900"/>
                </a:lnTo>
                <a:lnTo>
                  <a:pt x="503" y="898"/>
                </a:lnTo>
                <a:lnTo>
                  <a:pt x="512" y="894"/>
                </a:lnTo>
                <a:lnTo>
                  <a:pt x="519" y="890"/>
                </a:lnTo>
                <a:lnTo>
                  <a:pt x="526" y="884"/>
                </a:lnTo>
                <a:lnTo>
                  <a:pt x="532" y="879"/>
                </a:lnTo>
                <a:lnTo>
                  <a:pt x="537" y="872"/>
                </a:lnTo>
                <a:lnTo>
                  <a:pt x="543" y="866"/>
                </a:lnTo>
                <a:lnTo>
                  <a:pt x="547" y="858"/>
                </a:lnTo>
                <a:lnTo>
                  <a:pt x="551" y="850"/>
                </a:lnTo>
                <a:lnTo>
                  <a:pt x="554" y="842"/>
                </a:lnTo>
                <a:lnTo>
                  <a:pt x="556" y="833"/>
                </a:lnTo>
                <a:lnTo>
                  <a:pt x="558" y="824"/>
                </a:lnTo>
                <a:lnTo>
                  <a:pt x="558" y="814"/>
                </a:lnTo>
                <a:lnTo>
                  <a:pt x="558" y="694"/>
                </a:lnTo>
                <a:lnTo>
                  <a:pt x="588" y="694"/>
                </a:lnTo>
                <a:lnTo>
                  <a:pt x="601" y="693"/>
                </a:lnTo>
                <a:lnTo>
                  <a:pt x="613" y="692"/>
                </a:lnTo>
                <a:lnTo>
                  <a:pt x="625" y="688"/>
                </a:lnTo>
                <a:lnTo>
                  <a:pt x="636" y="684"/>
                </a:lnTo>
                <a:lnTo>
                  <a:pt x="647" y="680"/>
                </a:lnTo>
                <a:lnTo>
                  <a:pt x="657" y="673"/>
                </a:lnTo>
                <a:lnTo>
                  <a:pt x="666" y="667"/>
                </a:lnTo>
                <a:lnTo>
                  <a:pt x="674" y="659"/>
                </a:lnTo>
                <a:lnTo>
                  <a:pt x="683" y="651"/>
                </a:lnTo>
                <a:lnTo>
                  <a:pt x="689" y="642"/>
                </a:lnTo>
                <a:lnTo>
                  <a:pt x="694" y="631"/>
                </a:lnTo>
                <a:lnTo>
                  <a:pt x="700" y="622"/>
                </a:lnTo>
                <a:lnTo>
                  <a:pt x="703" y="610"/>
                </a:lnTo>
                <a:lnTo>
                  <a:pt x="706" y="598"/>
                </a:lnTo>
                <a:lnTo>
                  <a:pt x="708" y="586"/>
                </a:lnTo>
                <a:lnTo>
                  <a:pt x="708" y="573"/>
                </a:lnTo>
                <a:lnTo>
                  <a:pt x="708" y="561"/>
                </a:lnTo>
                <a:lnTo>
                  <a:pt x="706" y="548"/>
                </a:lnTo>
                <a:lnTo>
                  <a:pt x="703" y="536"/>
                </a:lnTo>
                <a:lnTo>
                  <a:pt x="700" y="525"/>
                </a:lnTo>
                <a:lnTo>
                  <a:pt x="694" y="514"/>
                </a:lnTo>
                <a:lnTo>
                  <a:pt x="689" y="505"/>
                </a:lnTo>
                <a:lnTo>
                  <a:pt x="683" y="495"/>
                </a:lnTo>
                <a:lnTo>
                  <a:pt x="674" y="486"/>
                </a:lnTo>
                <a:lnTo>
                  <a:pt x="666" y="479"/>
                </a:lnTo>
                <a:lnTo>
                  <a:pt x="657" y="472"/>
                </a:lnTo>
                <a:lnTo>
                  <a:pt x="647" y="466"/>
                </a:lnTo>
                <a:lnTo>
                  <a:pt x="636" y="462"/>
                </a:lnTo>
                <a:lnTo>
                  <a:pt x="625" y="457"/>
                </a:lnTo>
                <a:lnTo>
                  <a:pt x="613" y="455"/>
                </a:lnTo>
                <a:lnTo>
                  <a:pt x="601" y="453"/>
                </a:lnTo>
                <a:lnTo>
                  <a:pt x="588" y="4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113" name="Group 112"/>
          <p:cNvGrpSpPr/>
          <p:nvPr/>
        </p:nvGrpSpPr>
        <p:grpSpPr>
          <a:xfrm>
            <a:off x="4498300" y="4197855"/>
            <a:ext cx="316995" cy="316995"/>
            <a:chOff x="8164513" y="4791075"/>
            <a:chExt cx="285750" cy="285750"/>
          </a:xfrm>
          <a:solidFill>
            <a:schemeClr val="bg1"/>
          </a:solidFill>
        </p:grpSpPr>
        <p:sp>
          <p:nvSpPr>
            <p:cNvPr id="114" name="Freeform 108"/>
            <p:cNvSpPr>
              <a:spLocks noEditPoints="1"/>
            </p:cNvSpPr>
            <p:nvPr/>
          </p:nvSpPr>
          <p:spPr bwMode="auto">
            <a:xfrm>
              <a:off x="8164513" y="4791075"/>
              <a:ext cx="285750" cy="285750"/>
            </a:xfrm>
            <a:custGeom>
              <a:avLst/>
              <a:gdLst>
                <a:gd name="T0" fmla="*/ 30 w 902"/>
                <a:gd name="T1" fmla="*/ 571 h 902"/>
                <a:gd name="T2" fmla="*/ 872 w 902"/>
                <a:gd name="T3" fmla="*/ 30 h 902"/>
                <a:gd name="T4" fmla="*/ 887 w 902"/>
                <a:gd name="T5" fmla="*/ 0 h 902"/>
                <a:gd name="T6" fmla="*/ 12 w 902"/>
                <a:gd name="T7" fmla="*/ 0 h 902"/>
                <a:gd name="T8" fmla="*/ 6 w 902"/>
                <a:gd name="T9" fmla="*/ 2 h 902"/>
                <a:gd name="T10" fmla="*/ 2 w 902"/>
                <a:gd name="T11" fmla="*/ 6 h 902"/>
                <a:gd name="T12" fmla="*/ 0 w 902"/>
                <a:gd name="T13" fmla="*/ 12 h 902"/>
                <a:gd name="T14" fmla="*/ 0 w 902"/>
                <a:gd name="T15" fmla="*/ 586 h 902"/>
                <a:gd name="T16" fmla="*/ 1 w 902"/>
                <a:gd name="T17" fmla="*/ 592 h 902"/>
                <a:gd name="T18" fmla="*/ 4 w 902"/>
                <a:gd name="T19" fmla="*/ 597 h 902"/>
                <a:gd name="T20" fmla="*/ 9 w 902"/>
                <a:gd name="T21" fmla="*/ 600 h 902"/>
                <a:gd name="T22" fmla="*/ 15 w 902"/>
                <a:gd name="T23" fmla="*/ 601 h 902"/>
                <a:gd name="T24" fmla="*/ 436 w 902"/>
                <a:gd name="T25" fmla="*/ 701 h 902"/>
                <a:gd name="T26" fmla="*/ 258 w 902"/>
                <a:gd name="T27" fmla="*/ 878 h 902"/>
                <a:gd name="T28" fmla="*/ 255 w 902"/>
                <a:gd name="T29" fmla="*/ 884 h 902"/>
                <a:gd name="T30" fmla="*/ 255 w 902"/>
                <a:gd name="T31" fmla="*/ 890 h 902"/>
                <a:gd name="T32" fmla="*/ 258 w 902"/>
                <a:gd name="T33" fmla="*/ 896 h 902"/>
                <a:gd name="T34" fmla="*/ 262 w 902"/>
                <a:gd name="T35" fmla="*/ 900 h 902"/>
                <a:gd name="T36" fmla="*/ 268 w 902"/>
                <a:gd name="T37" fmla="*/ 902 h 902"/>
                <a:gd name="T38" fmla="*/ 273 w 902"/>
                <a:gd name="T39" fmla="*/ 902 h 902"/>
                <a:gd name="T40" fmla="*/ 279 w 902"/>
                <a:gd name="T41" fmla="*/ 900 h 902"/>
                <a:gd name="T42" fmla="*/ 451 w 902"/>
                <a:gd name="T43" fmla="*/ 727 h 902"/>
                <a:gd name="T44" fmla="*/ 622 w 902"/>
                <a:gd name="T45" fmla="*/ 900 h 902"/>
                <a:gd name="T46" fmla="*/ 628 w 902"/>
                <a:gd name="T47" fmla="*/ 902 h 902"/>
                <a:gd name="T48" fmla="*/ 634 w 902"/>
                <a:gd name="T49" fmla="*/ 902 h 902"/>
                <a:gd name="T50" fmla="*/ 640 w 902"/>
                <a:gd name="T51" fmla="*/ 900 h 902"/>
                <a:gd name="T52" fmla="*/ 644 w 902"/>
                <a:gd name="T53" fmla="*/ 896 h 902"/>
                <a:gd name="T54" fmla="*/ 646 w 902"/>
                <a:gd name="T55" fmla="*/ 890 h 902"/>
                <a:gd name="T56" fmla="*/ 646 w 902"/>
                <a:gd name="T57" fmla="*/ 884 h 902"/>
                <a:gd name="T58" fmla="*/ 644 w 902"/>
                <a:gd name="T59" fmla="*/ 878 h 902"/>
                <a:gd name="T60" fmla="*/ 466 w 902"/>
                <a:gd name="T61" fmla="*/ 701 h 902"/>
                <a:gd name="T62" fmla="*/ 887 w 902"/>
                <a:gd name="T63" fmla="*/ 601 h 902"/>
                <a:gd name="T64" fmla="*/ 892 w 902"/>
                <a:gd name="T65" fmla="*/ 600 h 902"/>
                <a:gd name="T66" fmla="*/ 898 w 902"/>
                <a:gd name="T67" fmla="*/ 597 h 902"/>
                <a:gd name="T68" fmla="*/ 901 w 902"/>
                <a:gd name="T69" fmla="*/ 592 h 902"/>
                <a:gd name="T70" fmla="*/ 902 w 902"/>
                <a:gd name="T71" fmla="*/ 586 h 902"/>
                <a:gd name="T72" fmla="*/ 901 w 902"/>
                <a:gd name="T73" fmla="*/ 12 h 902"/>
                <a:gd name="T74" fmla="*/ 899 w 902"/>
                <a:gd name="T75" fmla="*/ 6 h 902"/>
                <a:gd name="T76" fmla="*/ 896 w 902"/>
                <a:gd name="T77" fmla="*/ 2 h 902"/>
                <a:gd name="T78" fmla="*/ 890 w 902"/>
                <a:gd name="T79" fmla="*/ 0 h 9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902" h="902">
                  <a:moveTo>
                    <a:pt x="872" y="571"/>
                  </a:moveTo>
                  <a:lnTo>
                    <a:pt x="30" y="571"/>
                  </a:lnTo>
                  <a:lnTo>
                    <a:pt x="30" y="30"/>
                  </a:lnTo>
                  <a:lnTo>
                    <a:pt x="872" y="30"/>
                  </a:lnTo>
                  <a:lnTo>
                    <a:pt x="872" y="571"/>
                  </a:lnTo>
                  <a:close/>
                  <a:moveTo>
                    <a:pt x="887" y="0"/>
                  </a:moveTo>
                  <a:lnTo>
                    <a:pt x="15" y="0"/>
                  </a:lnTo>
                  <a:lnTo>
                    <a:pt x="12" y="0"/>
                  </a:lnTo>
                  <a:lnTo>
                    <a:pt x="9" y="1"/>
                  </a:lnTo>
                  <a:lnTo>
                    <a:pt x="6" y="2"/>
                  </a:lnTo>
                  <a:lnTo>
                    <a:pt x="4" y="4"/>
                  </a:lnTo>
                  <a:lnTo>
                    <a:pt x="2" y="6"/>
                  </a:lnTo>
                  <a:lnTo>
                    <a:pt x="1" y="9"/>
                  </a:lnTo>
                  <a:lnTo>
                    <a:pt x="0" y="12"/>
                  </a:lnTo>
                  <a:lnTo>
                    <a:pt x="0" y="15"/>
                  </a:lnTo>
                  <a:lnTo>
                    <a:pt x="0" y="586"/>
                  </a:lnTo>
                  <a:lnTo>
                    <a:pt x="0" y="589"/>
                  </a:lnTo>
                  <a:lnTo>
                    <a:pt x="1" y="592"/>
                  </a:lnTo>
                  <a:lnTo>
                    <a:pt x="2" y="595"/>
                  </a:lnTo>
                  <a:lnTo>
                    <a:pt x="4" y="597"/>
                  </a:lnTo>
                  <a:lnTo>
                    <a:pt x="6" y="599"/>
                  </a:lnTo>
                  <a:lnTo>
                    <a:pt x="9" y="600"/>
                  </a:lnTo>
                  <a:lnTo>
                    <a:pt x="12" y="601"/>
                  </a:lnTo>
                  <a:lnTo>
                    <a:pt x="15" y="601"/>
                  </a:lnTo>
                  <a:lnTo>
                    <a:pt x="436" y="601"/>
                  </a:lnTo>
                  <a:lnTo>
                    <a:pt x="436" y="701"/>
                  </a:lnTo>
                  <a:lnTo>
                    <a:pt x="259" y="876"/>
                  </a:lnTo>
                  <a:lnTo>
                    <a:pt x="258" y="878"/>
                  </a:lnTo>
                  <a:lnTo>
                    <a:pt x="256" y="882"/>
                  </a:lnTo>
                  <a:lnTo>
                    <a:pt x="255" y="884"/>
                  </a:lnTo>
                  <a:lnTo>
                    <a:pt x="255" y="887"/>
                  </a:lnTo>
                  <a:lnTo>
                    <a:pt x="255" y="890"/>
                  </a:lnTo>
                  <a:lnTo>
                    <a:pt x="256" y="892"/>
                  </a:lnTo>
                  <a:lnTo>
                    <a:pt x="258" y="896"/>
                  </a:lnTo>
                  <a:lnTo>
                    <a:pt x="259" y="898"/>
                  </a:lnTo>
                  <a:lnTo>
                    <a:pt x="262" y="900"/>
                  </a:lnTo>
                  <a:lnTo>
                    <a:pt x="265" y="901"/>
                  </a:lnTo>
                  <a:lnTo>
                    <a:pt x="268" y="902"/>
                  </a:lnTo>
                  <a:lnTo>
                    <a:pt x="270" y="902"/>
                  </a:lnTo>
                  <a:lnTo>
                    <a:pt x="273" y="902"/>
                  </a:lnTo>
                  <a:lnTo>
                    <a:pt x="276" y="901"/>
                  </a:lnTo>
                  <a:lnTo>
                    <a:pt x="279" y="900"/>
                  </a:lnTo>
                  <a:lnTo>
                    <a:pt x="281" y="898"/>
                  </a:lnTo>
                  <a:lnTo>
                    <a:pt x="451" y="727"/>
                  </a:lnTo>
                  <a:lnTo>
                    <a:pt x="620" y="898"/>
                  </a:lnTo>
                  <a:lnTo>
                    <a:pt x="622" y="900"/>
                  </a:lnTo>
                  <a:lnTo>
                    <a:pt x="626" y="901"/>
                  </a:lnTo>
                  <a:lnTo>
                    <a:pt x="628" y="902"/>
                  </a:lnTo>
                  <a:lnTo>
                    <a:pt x="631" y="902"/>
                  </a:lnTo>
                  <a:lnTo>
                    <a:pt x="634" y="902"/>
                  </a:lnTo>
                  <a:lnTo>
                    <a:pt x="636" y="901"/>
                  </a:lnTo>
                  <a:lnTo>
                    <a:pt x="640" y="900"/>
                  </a:lnTo>
                  <a:lnTo>
                    <a:pt x="642" y="898"/>
                  </a:lnTo>
                  <a:lnTo>
                    <a:pt x="644" y="896"/>
                  </a:lnTo>
                  <a:lnTo>
                    <a:pt x="645" y="892"/>
                  </a:lnTo>
                  <a:lnTo>
                    <a:pt x="646" y="890"/>
                  </a:lnTo>
                  <a:lnTo>
                    <a:pt x="646" y="887"/>
                  </a:lnTo>
                  <a:lnTo>
                    <a:pt x="646" y="884"/>
                  </a:lnTo>
                  <a:lnTo>
                    <a:pt x="645" y="882"/>
                  </a:lnTo>
                  <a:lnTo>
                    <a:pt x="644" y="878"/>
                  </a:lnTo>
                  <a:lnTo>
                    <a:pt x="642" y="876"/>
                  </a:lnTo>
                  <a:lnTo>
                    <a:pt x="466" y="701"/>
                  </a:lnTo>
                  <a:lnTo>
                    <a:pt x="466" y="601"/>
                  </a:lnTo>
                  <a:lnTo>
                    <a:pt x="887" y="601"/>
                  </a:lnTo>
                  <a:lnTo>
                    <a:pt x="890" y="601"/>
                  </a:lnTo>
                  <a:lnTo>
                    <a:pt x="892" y="600"/>
                  </a:lnTo>
                  <a:lnTo>
                    <a:pt x="896" y="599"/>
                  </a:lnTo>
                  <a:lnTo>
                    <a:pt x="898" y="597"/>
                  </a:lnTo>
                  <a:lnTo>
                    <a:pt x="899" y="595"/>
                  </a:lnTo>
                  <a:lnTo>
                    <a:pt x="901" y="592"/>
                  </a:lnTo>
                  <a:lnTo>
                    <a:pt x="901" y="589"/>
                  </a:lnTo>
                  <a:lnTo>
                    <a:pt x="902" y="586"/>
                  </a:lnTo>
                  <a:lnTo>
                    <a:pt x="902" y="15"/>
                  </a:lnTo>
                  <a:lnTo>
                    <a:pt x="901" y="12"/>
                  </a:lnTo>
                  <a:lnTo>
                    <a:pt x="901" y="9"/>
                  </a:lnTo>
                  <a:lnTo>
                    <a:pt x="899" y="6"/>
                  </a:lnTo>
                  <a:lnTo>
                    <a:pt x="898" y="4"/>
                  </a:lnTo>
                  <a:lnTo>
                    <a:pt x="896" y="2"/>
                  </a:lnTo>
                  <a:lnTo>
                    <a:pt x="892" y="1"/>
                  </a:lnTo>
                  <a:lnTo>
                    <a:pt x="890" y="0"/>
                  </a:lnTo>
                  <a:lnTo>
                    <a:pt x="88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5" name="Freeform 109"/>
            <p:cNvSpPr>
              <a:spLocks noEditPoints="1"/>
            </p:cNvSpPr>
            <p:nvPr/>
          </p:nvSpPr>
          <p:spPr bwMode="auto">
            <a:xfrm>
              <a:off x="8193088" y="4819650"/>
              <a:ext cx="228600" cy="133350"/>
            </a:xfrm>
            <a:custGeom>
              <a:avLst/>
              <a:gdLst>
                <a:gd name="T0" fmla="*/ 691 w 722"/>
                <a:gd name="T1" fmla="*/ 391 h 421"/>
                <a:gd name="T2" fmla="*/ 30 w 722"/>
                <a:gd name="T3" fmla="*/ 241 h 421"/>
                <a:gd name="T4" fmla="*/ 153 w 722"/>
                <a:gd name="T5" fmla="*/ 240 h 421"/>
                <a:gd name="T6" fmla="*/ 159 w 722"/>
                <a:gd name="T7" fmla="*/ 238 h 421"/>
                <a:gd name="T8" fmla="*/ 229 w 722"/>
                <a:gd name="T9" fmla="*/ 165 h 421"/>
                <a:gd name="T10" fmla="*/ 288 w 722"/>
                <a:gd name="T11" fmla="*/ 310 h 421"/>
                <a:gd name="T12" fmla="*/ 294 w 722"/>
                <a:gd name="T13" fmla="*/ 314 h 421"/>
                <a:gd name="T14" fmla="*/ 299 w 722"/>
                <a:gd name="T15" fmla="*/ 316 h 421"/>
                <a:gd name="T16" fmla="*/ 303 w 722"/>
                <a:gd name="T17" fmla="*/ 316 h 421"/>
                <a:gd name="T18" fmla="*/ 309 w 722"/>
                <a:gd name="T19" fmla="*/ 313 h 421"/>
                <a:gd name="T20" fmla="*/ 406 w 722"/>
                <a:gd name="T21" fmla="*/ 216 h 421"/>
                <a:gd name="T22" fmla="*/ 472 w 722"/>
                <a:gd name="T23" fmla="*/ 283 h 421"/>
                <a:gd name="T24" fmla="*/ 479 w 722"/>
                <a:gd name="T25" fmla="*/ 286 h 421"/>
                <a:gd name="T26" fmla="*/ 485 w 722"/>
                <a:gd name="T27" fmla="*/ 285 h 421"/>
                <a:gd name="T28" fmla="*/ 491 w 722"/>
                <a:gd name="T29" fmla="*/ 283 h 421"/>
                <a:gd name="T30" fmla="*/ 628 w 722"/>
                <a:gd name="T31" fmla="*/ 115 h 421"/>
                <a:gd name="T32" fmla="*/ 631 w 722"/>
                <a:gd name="T33" fmla="*/ 109 h 421"/>
                <a:gd name="T34" fmla="*/ 631 w 722"/>
                <a:gd name="T35" fmla="*/ 104 h 421"/>
                <a:gd name="T36" fmla="*/ 630 w 722"/>
                <a:gd name="T37" fmla="*/ 99 h 421"/>
                <a:gd name="T38" fmla="*/ 626 w 722"/>
                <a:gd name="T39" fmla="*/ 93 h 421"/>
                <a:gd name="T40" fmla="*/ 620 w 722"/>
                <a:gd name="T41" fmla="*/ 91 h 421"/>
                <a:gd name="T42" fmla="*/ 615 w 722"/>
                <a:gd name="T43" fmla="*/ 90 h 421"/>
                <a:gd name="T44" fmla="*/ 610 w 722"/>
                <a:gd name="T45" fmla="*/ 92 h 421"/>
                <a:gd name="T46" fmla="*/ 604 w 722"/>
                <a:gd name="T47" fmla="*/ 95 h 421"/>
                <a:gd name="T48" fmla="*/ 417 w 722"/>
                <a:gd name="T49" fmla="*/ 185 h 421"/>
                <a:gd name="T50" fmla="*/ 411 w 722"/>
                <a:gd name="T51" fmla="*/ 181 h 421"/>
                <a:gd name="T52" fmla="*/ 406 w 722"/>
                <a:gd name="T53" fmla="*/ 180 h 421"/>
                <a:gd name="T54" fmla="*/ 400 w 722"/>
                <a:gd name="T55" fmla="*/ 181 h 421"/>
                <a:gd name="T56" fmla="*/ 395 w 722"/>
                <a:gd name="T57" fmla="*/ 185 h 421"/>
                <a:gd name="T58" fmla="*/ 249 w 722"/>
                <a:gd name="T59" fmla="*/ 132 h 421"/>
                <a:gd name="T60" fmla="*/ 243 w 722"/>
                <a:gd name="T61" fmla="*/ 126 h 421"/>
                <a:gd name="T62" fmla="*/ 237 w 722"/>
                <a:gd name="T63" fmla="*/ 123 h 421"/>
                <a:gd name="T64" fmla="*/ 229 w 722"/>
                <a:gd name="T65" fmla="*/ 123 h 421"/>
                <a:gd name="T66" fmla="*/ 223 w 722"/>
                <a:gd name="T67" fmla="*/ 128 h 421"/>
                <a:gd name="T68" fmla="*/ 30 w 722"/>
                <a:gd name="T69" fmla="*/ 211 h 421"/>
                <a:gd name="T70" fmla="*/ 691 w 722"/>
                <a:gd name="T71" fmla="*/ 30 h 421"/>
                <a:gd name="T72" fmla="*/ 707 w 722"/>
                <a:gd name="T73" fmla="*/ 421 h 421"/>
                <a:gd name="T74" fmla="*/ 712 w 722"/>
                <a:gd name="T75" fmla="*/ 420 h 421"/>
                <a:gd name="T76" fmla="*/ 717 w 722"/>
                <a:gd name="T77" fmla="*/ 417 h 421"/>
                <a:gd name="T78" fmla="*/ 720 w 722"/>
                <a:gd name="T79" fmla="*/ 411 h 421"/>
                <a:gd name="T80" fmla="*/ 722 w 722"/>
                <a:gd name="T81" fmla="*/ 406 h 421"/>
                <a:gd name="T82" fmla="*/ 721 w 722"/>
                <a:gd name="T83" fmla="*/ 12 h 421"/>
                <a:gd name="T84" fmla="*/ 719 w 722"/>
                <a:gd name="T85" fmla="*/ 6 h 421"/>
                <a:gd name="T86" fmla="*/ 715 w 722"/>
                <a:gd name="T87" fmla="*/ 2 h 421"/>
                <a:gd name="T88" fmla="*/ 709 w 722"/>
                <a:gd name="T89" fmla="*/ 0 h 421"/>
                <a:gd name="T90" fmla="*/ 15 w 722"/>
                <a:gd name="T91" fmla="*/ 0 h 421"/>
                <a:gd name="T92" fmla="*/ 9 w 722"/>
                <a:gd name="T93" fmla="*/ 1 h 421"/>
                <a:gd name="T94" fmla="*/ 4 w 722"/>
                <a:gd name="T95" fmla="*/ 4 h 421"/>
                <a:gd name="T96" fmla="*/ 1 w 722"/>
                <a:gd name="T97" fmla="*/ 10 h 421"/>
                <a:gd name="T98" fmla="*/ 0 w 722"/>
                <a:gd name="T99" fmla="*/ 15 h 421"/>
                <a:gd name="T100" fmla="*/ 0 w 722"/>
                <a:gd name="T101" fmla="*/ 409 h 421"/>
                <a:gd name="T102" fmla="*/ 2 w 722"/>
                <a:gd name="T103" fmla="*/ 415 h 421"/>
                <a:gd name="T104" fmla="*/ 6 w 722"/>
                <a:gd name="T105" fmla="*/ 419 h 421"/>
                <a:gd name="T106" fmla="*/ 12 w 722"/>
                <a:gd name="T107" fmla="*/ 421 h 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722" h="421">
                  <a:moveTo>
                    <a:pt x="691" y="30"/>
                  </a:moveTo>
                  <a:lnTo>
                    <a:pt x="691" y="391"/>
                  </a:lnTo>
                  <a:lnTo>
                    <a:pt x="30" y="391"/>
                  </a:lnTo>
                  <a:lnTo>
                    <a:pt x="30" y="241"/>
                  </a:lnTo>
                  <a:lnTo>
                    <a:pt x="150" y="241"/>
                  </a:lnTo>
                  <a:lnTo>
                    <a:pt x="153" y="240"/>
                  </a:lnTo>
                  <a:lnTo>
                    <a:pt x="156" y="239"/>
                  </a:lnTo>
                  <a:lnTo>
                    <a:pt x="159" y="238"/>
                  </a:lnTo>
                  <a:lnTo>
                    <a:pt x="161" y="236"/>
                  </a:lnTo>
                  <a:lnTo>
                    <a:pt x="229" y="165"/>
                  </a:lnTo>
                  <a:lnTo>
                    <a:pt x="287" y="306"/>
                  </a:lnTo>
                  <a:lnTo>
                    <a:pt x="288" y="310"/>
                  </a:lnTo>
                  <a:lnTo>
                    <a:pt x="291" y="313"/>
                  </a:lnTo>
                  <a:lnTo>
                    <a:pt x="294" y="314"/>
                  </a:lnTo>
                  <a:lnTo>
                    <a:pt x="298" y="316"/>
                  </a:lnTo>
                  <a:lnTo>
                    <a:pt x="299" y="316"/>
                  </a:lnTo>
                  <a:lnTo>
                    <a:pt x="301" y="316"/>
                  </a:lnTo>
                  <a:lnTo>
                    <a:pt x="303" y="316"/>
                  </a:lnTo>
                  <a:lnTo>
                    <a:pt x="306" y="315"/>
                  </a:lnTo>
                  <a:lnTo>
                    <a:pt x="309" y="313"/>
                  </a:lnTo>
                  <a:lnTo>
                    <a:pt x="312" y="312"/>
                  </a:lnTo>
                  <a:lnTo>
                    <a:pt x="406" y="216"/>
                  </a:lnTo>
                  <a:lnTo>
                    <a:pt x="470" y="282"/>
                  </a:lnTo>
                  <a:lnTo>
                    <a:pt x="472" y="283"/>
                  </a:lnTo>
                  <a:lnTo>
                    <a:pt x="476" y="285"/>
                  </a:lnTo>
                  <a:lnTo>
                    <a:pt x="479" y="286"/>
                  </a:lnTo>
                  <a:lnTo>
                    <a:pt x="482" y="286"/>
                  </a:lnTo>
                  <a:lnTo>
                    <a:pt x="485" y="285"/>
                  </a:lnTo>
                  <a:lnTo>
                    <a:pt x="487" y="284"/>
                  </a:lnTo>
                  <a:lnTo>
                    <a:pt x="491" y="283"/>
                  </a:lnTo>
                  <a:lnTo>
                    <a:pt x="493" y="281"/>
                  </a:lnTo>
                  <a:lnTo>
                    <a:pt x="628" y="115"/>
                  </a:lnTo>
                  <a:lnTo>
                    <a:pt x="630" y="113"/>
                  </a:lnTo>
                  <a:lnTo>
                    <a:pt x="631" y="109"/>
                  </a:lnTo>
                  <a:lnTo>
                    <a:pt x="631" y="106"/>
                  </a:lnTo>
                  <a:lnTo>
                    <a:pt x="631" y="104"/>
                  </a:lnTo>
                  <a:lnTo>
                    <a:pt x="631" y="101"/>
                  </a:lnTo>
                  <a:lnTo>
                    <a:pt x="630" y="99"/>
                  </a:lnTo>
                  <a:lnTo>
                    <a:pt x="628" y="95"/>
                  </a:lnTo>
                  <a:lnTo>
                    <a:pt x="626" y="93"/>
                  </a:lnTo>
                  <a:lnTo>
                    <a:pt x="623" y="92"/>
                  </a:lnTo>
                  <a:lnTo>
                    <a:pt x="620" y="91"/>
                  </a:lnTo>
                  <a:lnTo>
                    <a:pt x="618" y="90"/>
                  </a:lnTo>
                  <a:lnTo>
                    <a:pt x="615" y="90"/>
                  </a:lnTo>
                  <a:lnTo>
                    <a:pt x="612" y="91"/>
                  </a:lnTo>
                  <a:lnTo>
                    <a:pt x="610" y="92"/>
                  </a:lnTo>
                  <a:lnTo>
                    <a:pt x="606" y="93"/>
                  </a:lnTo>
                  <a:lnTo>
                    <a:pt x="604" y="95"/>
                  </a:lnTo>
                  <a:lnTo>
                    <a:pt x="480" y="249"/>
                  </a:lnTo>
                  <a:lnTo>
                    <a:pt x="417" y="185"/>
                  </a:lnTo>
                  <a:lnTo>
                    <a:pt x="415" y="183"/>
                  </a:lnTo>
                  <a:lnTo>
                    <a:pt x="411" y="181"/>
                  </a:lnTo>
                  <a:lnTo>
                    <a:pt x="409" y="181"/>
                  </a:lnTo>
                  <a:lnTo>
                    <a:pt x="406" y="180"/>
                  </a:lnTo>
                  <a:lnTo>
                    <a:pt x="403" y="181"/>
                  </a:lnTo>
                  <a:lnTo>
                    <a:pt x="400" y="181"/>
                  </a:lnTo>
                  <a:lnTo>
                    <a:pt x="397" y="183"/>
                  </a:lnTo>
                  <a:lnTo>
                    <a:pt x="395" y="185"/>
                  </a:lnTo>
                  <a:lnTo>
                    <a:pt x="306" y="274"/>
                  </a:lnTo>
                  <a:lnTo>
                    <a:pt x="249" y="132"/>
                  </a:lnTo>
                  <a:lnTo>
                    <a:pt x="246" y="129"/>
                  </a:lnTo>
                  <a:lnTo>
                    <a:pt x="243" y="126"/>
                  </a:lnTo>
                  <a:lnTo>
                    <a:pt x="241" y="124"/>
                  </a:lnTo>
                  <a:lnTo>
                    <a:pt x="237" y="123"/>
                  </a:lnTo>
                  <a:lnTo>
                    <a:pt x="234" y="123"/>
                  </a:lnTo>
                  <a:lnTo>
                    <a:pt x="229" y="123"/>
                  </a:lnTo>
                  <a:lnTo>
                    <a:pt x="226" y="125"/>
                  </a:lnTo>
                  <a:lnTo>
                    <a:pt x="223" y="128"/>
                  </a:lnTo>
                  <a:lnTo>
                    <a:pt x="144" y="211"/>
                  </a:lnTo>
                  <a:lnTo>
                    <a:pt x="30" y="211"/>
                  </a:lnTo>
                  <a:lnTo>
                    <a:pt x="30" y="30"/>
                  </a:lnTo>
                  <a:lnTo>
                    <a:pt x="691" y="30"/>
                  </a:lnTo>
                  <a:close/>
                  <a:moveTo>
                    <a:pt x="15" y="421"/>
                  </a:moveTo>
                  <a:lnTo>
                    <a:pt x="707" y="421"/>
                  </a:lnTo>
                  <a:lnTo>
                    <a:pt x="709" y="421"/>
                  </a:lnTo>
                  <a:lnTo>
                    <a:pt x="712" y="420"/>
                  </a:lnTo>
                  <a:lnTo>
                    <a:pt x="715" y="419"/>
                  </a:lnTo>
                  <a:lnTo>
                    <a:pt x="717" y="417"/>
                  </a:lnTo>
                  <a:lnTo>
                    <a:pt x="719" y="415"/>
                  </a:lnTo>
                  <a:lnTo>
                    <a:pt x="720" y="411"/>
                  </a:lnTo>
                  <a:lnTo>
                    <a:pt x="721" y="409"/>
                  </a:lnTo>
                  <a:lnTo>
                    <a:pt x="722" y="406"/>
                  </a:lnTo>
                  <a:lnTo>
                    <a:pt x="722" y="15"/>
                  </a:lnTo>
                  <a:lnTo>
                    <a:pt x="721" y="12"/>
                  </a:lnTo>
                  <a:lnTo>
                    <a:pt x="720" y="10"/>
                  </a:lnTo>
                  <a:lnTo>
                    <a:pt x="719" y="6"/>
                  </a:lnTo>
                  <a:lnTo>
                    <a:pt x="717" y="4"/>
                  </a:lnTo>
                  <a:lnTo>
                    <a:pt x="715" y="2"/>
                  </a:lnTo>
                  <a:lnTo>
                    <a:pt x="712" y="1"/>
                  </a:lnTo>
                  <a:lnTo>
                    <a:pt x="709" y="0"/>
                  </a:lnTo>
                  <a:lnTo>
                    <a:pt x="707" y="0"/>
                  </a:lnTo>
                  <a:lnTo>
                    <a:pt x="15" y="0"/>
                  </a:lnTo>
                  <a:lnTo>
                    <a:pt x="12" y="0"/>
                  </a:lnTo>
                  <a:lnTo>
                    <a:pt x="9" y="1"/>
                  </a:lnTo>
                  <a:lnTo>
                    <a:pt x="6" y="2"/>
                  </a:lnTo>
                  <a:lnTo>
                    <a:pt x="4" y="4"/>
                  </a:lnTo>
                  <a:lnTo>
                    <a:pt x="2" y="6"/>
                  </a:lnTo>
                  <a:lnTo>
                    <a:pt x="1" y="10"/>
                  </a:lnTo>
                  <a:lnTo>
                    <a:pt x="0" y="12"/>
                  </a:lnTo>
                  <a:lnTo>
                    <a:pt x="0" y="15"/>
                  </a:lnTo>
                  <a:lnTo>
                    <a:pt x="0" y="406"/>
                  </a:lnTo>
                  <a:lnTo>
                    <a:pt x="0" y="409"/>
                  </a:lnTo>
                  <a:lnTo>
                    <a:pt x="1" y="411"/>
                  </a:lnTo>
                  <a:lnTo>
                    <a:pt x="2" y="415"/>
                  </a:lnTo>
                  <a:lnTo>
                    <a:pt x="4" y="417"/>
                  </a:lnTo>
                  <a:lnTo>
                    <a:pt x="6" y="419"/>
                  </a:lnTo>
                  <a:lnTo>
                    <a:pt x="9" y="420"/>
                  </a:lnTo>
                  <a:lnTo>
                    <a:pt x="12" y="421"/>
                  </a:lnTo>
                  <a:lnTo>
                    <a:pt x="15" y="42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16" name="Group 115"/>
          <p:cNvGrpSpPr/>
          <p:nvPr/>
        </p:nvGrpSpPr>
        <p:grpSpPr>
          <a:xfrm>
            <a:off x="4497845" y="2620772"/>
            <a:ext cx="347809" cy="349742"/>
            <a:chOff x="10455275" y="2498725"/>
            <a:chExt cx="285750" cy="287338"/>
          </a:xfrm>
          <a:solidFill>
            <a:schemeClr val="bg1"/>
          </a:solidFill>
        </p:grpSpPr>
        <p:sp>
          <p:nvSpPr>
            <p:cNvPr id="117" name="Freeform 214"/>
            <p:cNvSpPr>
              <a:spLocks noEditPoints="1"/>
            </p:cNvSpPr>
            <p:nvPr/>
          </p:nvSpPr>
          <p:spPr bwMode="auto">
            <a:xfrm>
              <a:off x="10455275" y="2593975"/>
              <a:ext cx="285750" cy="192088"/>
            </a:xfrm>
            <a:custGeom>
              <a:avLst/>
              <a:gdLst>
                <a:gd name="T0" fmla="*/ 812 w 903"/>
                <a:gd name="T1" fmla="*/ 30 h 601"/>
                <a:gd name="T2" fmla="*/ 512 w 903"/>
                <a:gd name="T3" fmla="*/ 571 h 601"/>
                <a:gd name="T4" fmla="*/ 602 w 903"/>
                <a:gd name="T5" fmla="*/ 571 h 601"/>
                <a:gd name="T6" fmla="*/ 301 w 903"/>
                <a:gd name="T7" fmla="*/ 210 h 601"/>
                <a:gd name="T8" fmla="*/ 301 w 903"/>
                <a:gd name="T9" fmla="*/ 571 h 601"/>
                <a:gd name="T10" fmla="*/ 181 w 903"/>
                <a:gd name="T11" fmla="*/ 421 h 601"/>
                <a:gd name="T12" fmla="*/ 888 w 903"/>
                <a:gd name="T13" fmla="*/ 571 h 601"/>
                <a:gd name="T14" fmla="*/ 842 w 903"/>
                <a:gd name="T15" fmla="*/ 12 h 601"/>
                <a:gd name="T16" fmla="*/ 838 w 903"/>
                <a:gd name="T17" fmla="*/ 5 h 601"/>
                <a:gd name="T18" fmla="*/ 830 w 903"/>
                <a:gd name="T19" fmla="*/ 0 h 601"/>
                <a:gd name="T20" fmla="*/ 704 w 903"/>
                <a:gd name="T21" fmla="*/ 0 h 601"/>
                <a:gd name="T22" fmla="*/ 696 w 903"/>
                <a:gd name="T23" fmla="*/ 5 h 601"/>
                <a:gd name="T24" fmla="*/ 692 w 903"/>
                <a:gd name="T25" fmla="*/ 12 h 601"/>
                <a:gd name="T26" fmla="*/ 632 w 903"/>
                <a:gd name="T27" fmla="*/ 571 h 601"/>
                <a:gd name="T28" fmla="*/ 631 w 903"/>
                <a:gd name="T29" fmla="*/ 280 h 601"/>
                <a:gd name="T30" fmla="*/ 626 w 903"/>
                <a:gd name="T31" fmla="*/ 274 h 601"/>
                <a:gd name="T32" fmla="*/ 617 w 903"/>
                <a:gd name="T33" fmla="*/ 270 h 601"/>
                <a:gd name="T34" fmla="*/ 491 w 903"/>
                <a:gd name="T35" fmla="*/ 271 h 601"/>
                <a:gd name="T36" fmla="*/ 484 w 903"/>
                <a:gd name="T37" fmla="*/ 278 h 601"/>
                <a:gd name="T38" fmla="*/ 482 w 903"/>
                <a:gd name="T39" fmla="*/ 285 h 601"/>
                <a:gd name="T40" fmla="*/ 421 w 903"/>
                <a:gd name="T41" fmla="*/ 195 h 601"/>
                <a:gd name="T42" fmla="*/ 419 w 903"/>
                <a:gd name="T43" fmla="*/ 187 h 601"/>
                <a:gd name="T44" fmla="*/ 412 w 903"/>
                <a:gd name="T45" fmla="*/ 181 h 601"/>
                <a:gd name="T46" fmla="*/ 286 w 903"/>
                <a:gd name="T47" fmla="*/ 180 h 601"/>
                <a:gd name="T48" fmla="*/ 277 w 903"/>
                <a:gd name="T49" fmla="*/ 184 h 601"/>
                <a:gd name="T50" fmla="*/ 272 w 903"/>
                <a:gd name="T51" fmla="*/ 190 h 601"/>
                <a:gd name="T52" fmla="*/ 271 w 903"/>
                <a:gd name="T53" fmla="*/ 571 h 601"/>
                <a:gd name="T54" fmla="*/ 211 w 903"/>
                <a:gd name="T55" fmla="*/ 403 h 601"/>
                <a:gd name="T56" fmla="*/ 207 w 903"/>
                <a:gd name="T57" fmla="*/ 396 h 601"/>
                <a:gd name="T58" fmla="*/ 199 w 903"/>
                <a:gd name="T59" fmla="*/ 391 h 601"/>
                <a:gd name="T60" fmla="*/ 73 w 903"/>
                <a:gd name="T61" fmla="*/ 391 h 601"/>
                <a:gd name="T62" fmla="*/ 65 w 903"/>
                <a:gd name="T63" fmla="*/ 396 h 601"/>
                <a:gd name="T64" fmla="*/ 61 w 903"/>
                <a:gd name="T65" fmla="*/ 403 h 601"/>
                <a:gd name="T66" fmla="*/ 16 w 903"/>
                <a:gd name="T67" fmla="*/ 571 h 601"/>
                <a:gd name="T68" fmla="*/ 7 w 903"/>
                <a:gd name="T69" fmla="*/ 573 h 601"/>
                <a:gd name="T70" fmla="*/ 2 w 903"/>
                <a:gd name="T71" fmla="*/ 581 h 601"/>
                <a:gd name="T72" fmla="*/ 1 w 903"/>
                <a:gd name="T73" fmla="*/ 590 h 601"/>
                <a:gd name="T74" fmla="*/ 5 w 903"/>
                <a:gd name="T75" fmla="*/ 597 h 601"/>
                <a:gd name="T76" fmla="*/ 13 w 903"/>
                <a:gd name="T77" fmla="*/ 601 h 601"/>
                <a:gd name="T78" fmla="*/ 196 w 903"/>
                <a:gd name="T79" fmla="*/ 601 h 601"/>
                <a:gd name="T80" fmla="*/ 497 w 903"/>
                <a:gd name="T81" fmla="*/ 601 h 601"/>
                <a:gd name="T82" fmla="*/ 827 w 903"/>
                <a:gd name="T83" fmla="*/ 601 h 601"/>
                <a:gd name="T84" fmla="*/ 893 w 903"/>
                <a:gd name="T85" fmla="*/ 600 h 601"/>
                <a:gd name="T86" fmla="*/ 900 w 903"/>
                <a:gd name="T87" fmla="*/ 595 h 601"/>
                <a:gd name="T88" fmla="*/ 903 w 903"/>
                <a:gd name="T89" fmla="*/ 586 h 601"/>
                <a:gd name="T90" fmla="*/ 900 w 903"/>
                <a:gd name="T91" fmla="*/ 578 h 601"/>
                <a:gd name="T92" fmla="*/ 893 w 903"/>
                <a:gd name="T93" fmla="*/ 572 h 6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903" h="601">
                  <a:moveTo>
                    <a:pt x="722" y="571"/>
                  </a:moveTo>
                  <a:lnTo>
                    <a:pt x="722" y="30"/>
                  </a:lnTo>
                  <a:lnTo>
                    <a:pt x="812" y="30"/>
                  </a:lnTo>
                  <a:lnTo>
                    <a:pt x="812" y="571"/>
                  </a:lnTo>
                  <a:lnTo>
                    <a:pt x="722" y="571"/>
                  </a:lnTo>
                  <a:close/>
                  <a:moveTo>
                    <a:pt x="512" y="571"/>
                  </a:moveTo>
                  <a:lnTo>
                    <a:pt x="512" y="300"/>
                  </a:lnTo>
                  <a:lnTo>
                    <a:pt x="602" y="300"/>
                  </a:lnTo>
                  <a:lnTo>
                    <a:pt x="602" y="571"/>
                  </a:lnTo>
                  <a:lnTo>
                    <a:pt x="512" y="571"/>
                  </a:lnTo>
                  <a:close/>
                  <a:moveTo>
                    <a:pt x="301" y="571"/>
                  </a:moveTo>
                  <a:lnTo>
                    <a:pt x="301" y="210"/>
                  </a:lnTo>
                  <a:lnTo>
                    <a:pt x="391" y="210"/>
                  </a:lnTo>
                  <a:lnTo>
                    <a:pt x="391" y="571"/>
                  </a:lnTo>
                  <a:lnTo>
                    <a:pt x="301" y="571"/>
                  </a:lnTo>
                  <a:close/>
                  <a:moveTo>
                    <a:pt x="91" y="571"/>
                  </a:moveTo>
                  <a:lnTo>
                    <a:pt x="91" y="421"/>
                  </a:lnTo>
                  <a:lnTo>
                    <a:pt x="181" y="421"/>
                  </a:lnTo>
                  <a:lnTo>
                    <a:pt x="181" y="571"/>
                  </a:lnTo>
                  <a:lnTo>
                    <a:pt x="91" y="571"/>
                  </a:lnTo>
                  <a:close/>
                  <a:moveTo>
                    <a:pt x="888" y="571"/>
                  </a:moveTo>
                  <a:lnTo>
                    <a:pt x="842" y="571"/>
                  </a:lnTo>
                  <a:lnTo>
                    <a:pt x="842" y="15"/>
                  </a:lnTo>
                  <a:lnTo>
                    <a:pt x="842" y="12"/>
                  </a:lnTo>
                  <a:lnTo>
                    <a:pt x="841" y="9"/>
                  </a:lnTo>
                  <a:lnTo>
                    <a:pt x="840" y="7"/>
                  </a:lnTo>
                  <a:lnTo>
                    <a:pt x="838" y="5"/>
                  </a:lnTo>
                  <a:lnTo>
                    <a:pt x="836" y="3"/>
                  </a:lnTo>
                  <a:lnTo>
                    <a:pt x="833" y="1"/>
                  </a:lnTo>
                  <a:lnTo>
                    <a:pt x="830" y="0"/>
                  </a:lnTo>
                  <a:lnTo>
                    <a:pt x="827" y="0"/>
                  </a:lnTo>
                  <a:lnTo>
                    <a:pt x="707" y="0"/>
                  </a:lnTo>
                  <a:lnTo>
                    <a:pt x="704" y="0"/>
                  </a:lnTo>
                  <a:lnTo>
                    <a:pt x="702" y="1"/>
                  </a:lnTo>
                  <a:lnTo>
                    <a:pt x="698" y="3"/>
                  </a:lnTo>
                  <a:lnTo>
                    <a:pt x="696" y="5"/>
                  </a:lnTo>
                  <a:lnTo>
                    <a:pt x="694" y="7"/>
                  </a:lnTo>
                  <a:lnTo>
                    <a:pt x="693" y="9"/>
                  </a:lnTo>
                  <a:lnTo>
                    <a:pt x="692" y="12"/>
                  </a:lnTo>
                  <a:lnTo>
                    <a:pt x="692" y="15"/>
                  </a:lnTo>
                  <a:lnTo>
                    <a:pt x="692" y="571"/>
                  </a:lnTo>
                  <a:lnTo>
                    <a:pt x="632" y="571"/>
                  </a:lnTo>
                  <a:lnTo>
                    <a:pt x="632" y="285"/>
                  </a:lnTo>
                  <a:lnTo>
                    <a:pt x="632" y="283"/>
                  </a:lnTo>
                  <a:lnTo>
                    <a:pt x="631" y="280"/>
                  </a:lnTo>
                  <a:lnTo>
                    <a:pt x="630" y="278"/>
                  </a:lnTo>
                  <a:lnTo>
                    <a:pt x="628" y="275"/>
                  </a:lnTo>
                  <a:lnTo>
                    <a:pt x="626" y="274"/>
                  </a:lnTo>
                  <a:lnTo>
                    <a:pt x="622" y="271"/>
                  </a:lnTo>
                  <a:lnTo>
                    <a:pt x="620" y="271"/>
                  </a:lnTo>
                  <a:lnTo>
                    <a:pt x="617" y="270"/>
                  </a:lnTo>
                  <a:lnTo>
                    <a:pt x="497" y="270"/>
                  </a:lnTo>
                  <a:lnTo>
                    <a:pt x="494" y="271"/>
                  </a:lnTo>
                  <a:lnTo>
                    <a:pt x="491" y="271"/>
                  </a:lnTo>
                  <a:lnTo>
                    <a:pt x="488" y="274"/>
                  </a:lnTo>
                  <a:lnTo>
                    <a:pt x="486" y="275"/>
                  </a:lnTo>
                  <a:lnTo>
                    <a:pt x="484" y="278"/>
                  </a:lnTo>
                  <a:lnTo>
                    <a:pt x="483" y="280"/>
                  </a:lnTo>
                  <a:lnTo>
                    <a:pt x="482" y="283"/>
                  </a:lnTo>
                  <a:lnTo>
                    <a:pt x="482" y="285"/>
                  </a:lnTo>
                  <a:lnTo>
                    <a:pt x="482" y="571"/>
                  </a:lnTo>
                  <a:lnTo>
                    <a:pt x="421" y="571"/>
                  </a:lnTo>
                  <a:lnTo>
                    <a:pt x="421" y="195"/>
                  </a:lnTo>
                  <a:lnTo>
                    <a:pt x="421" y="192"/>
                  </a:lnTo>
                  <a:lnTo>
                    <a:pt x="420" y="190"/>
                  </a:lnTo>
                  <a:lnTo>
                    <a:pt x="419" y="187"/>
                  </a:lnTo>
                  <a:lnTo>
                    <a:pt x="417" y="185"/>
                  </a:lnTo>
                  <a:lnTo>
                    <a:pt x="415" y="184"/>
                  </a:lnTo>
                  <a:lnTo>
                    <a:pt x="412" y="181"/>
                  </a:lnTo>
                  <a:lnTo>
                    <a:pt x="409" y="180"/>
                  </a:lnTo>
                  <a:lnTo>
                    <a:pt x="406" y="180"/>
                  </a:lnTo>
                  <a:lnTo>
                    <a:pt x="286" y="180"/>
                  </a:lnTo>
                  <a:lnTo>
                    <a:pt x="283" y="180"/>
                  </a:lnTo>
                  <a:lnTo>
                    <a:pt x="281" y="181"/>
                  </a:lnTo>
                  <a:lnTo>
                    <a:pt x="277" y="184"/>
                  </a:lnTo>
                  <a:lnTo>
                    <a:pt x="275" y="185"/>
                  </a:lnTo>
                  <a:lnTo>
                    <a:pt x="274" y="187"/>
                  </a:lnTo>
                  <a:lnTo>
                    <a:pt x="272" y="190"/>
                  </a:lnTo>
                  <a:lnTo>
                    <a:pt x="271" y="192"/>
                  </a:lnTo>
                  <a:lnTo>
                    <a:pt x="271" y="195"/>
                  </a:lnTo>
                  <a:lnTo>
                    <a:pt x="271" y="571"/>
                  </a:lnTo>
                  <a:lnTo>
                    <a:pt x="211" y="571"/>
                  </a:lnTo>
                  <a:lnTo>
                    <a:pt x="211" y="406"/>
                  </a:lnTo>
                  <a:lnTo>
                    <a:pt x="211" y="403"/>
                  </a:lnTo>
                  <a:lnTo>
                    <a:pt x="210" y="400"/>
                  </a:lnTo>
                  <a:lnTo>
                    <a:pt x="209" y="398"/>
                  </a:lnTo>
                  <a:lnTo>
                    <a:pt x="207" y="396"/>
                  </a:lnTo>
                  <a:lnTo>
                    <a:pt x="205" y="394"/>
                  </a:lnTo>
                  <a:lnTo>
                    <a:pt x="201" y="392"/>
                  </a:lnTo>
                  <a:lnTo>
                    <a:pt x="199" y="391"/>
                  </a:lnTo>
                  <a:lnTo>
                    <a:pt x="196" y="391"/>
                  </a:lnTo>
                  <a:lnTo>
                    <a:pt x="76" y="391"/>
                  </a:lnTo>
                  <a:lnTo>
                    <a:pt x="73" y="391"/>
                  </a:lnTo>
                  <a:lnTo>
                    <a:pt x="70" y="392"/>
                  </a:lnTo>
                  <a:lnTo>
                    <a:pt x="67" y="394"/>
                  </a:lnTo>
                  <a:lnTo>
                    <a:pt x="65" y="396"/>
                  </a:lnTo>
                  <a:lnTo>
                    <a:pt x="63" y="398"/>
                  </a:lnTo>
                  <a:lnTo>
                    <a:pt x="62" y="400"/>
                  </a:lnTo>
                  <a:lnTo>
                    <a:pt x="61" y="403"/>
                  </a:lnTo>
                  <a:lnTo>
                    <a:pt x="61" y="406"/>
                  </a:lnTo>
                  <a:lnTo>
                    <a:pt x="61" y="571"/>
                  </a:lnTo>
                  <a:lnTo>
                    <a:pt x="16" y="571"/>
                  </a:lnTo>
                  <a:lnTo>
                    <a:pt x="13" y="571"/>
                  </a:lnTo>
                  <a:lnTo>
                    <a:pt x="10" y="572"/>
                  </a:lnTo>
                  <a:lnTo>
                    <a:pt x="7" y="573"/>
                  </a:lnTo>
                  <a:lnTo>
                    <a:pt x="5" y="576"/>
                  </a:lnTo>
                  <a:lnTo>
                    <a:pt x="3" y="578"/>
                  </a:lnTo>
                  <a:lnTo>
                    <a:pt x="2" y="581"/>
                  </a:lnTo>
                  <a:lnTo>
                    <a:pt x="1" y="583"/>
                  </a:lnTo>
                  <a:lnTo>
                    <a:pt x="0" y="586"/>
                  </a:lnTo>
                  <a:lnTo>
                    <a:pt x="1" y="590"/>
                  </a:lnTo>
                  <a:lnTo>
                    <a:pt x="2" y="593"/>
                  </a:lnTo>
                  <a:lnTo>
                    <a:pt x="3" y="595"/>
                  </a:lnTo>
                  <a:lnTo>
                    <a:pt x="5" y="597"/>
                  </a:lnTo>
                  <a:lnTo>
                    <a:pt x="7" y="599"/>
                  </a:lnTo>
                  <a:lnTo>
                    <a:pt x="10" y="600"/>
                  </a:lnTo>
                  <a:lnTo>
                    <a:pt x="13" y="601"/>
                  </a:lnTo>
                  <a:lnTo>
                    <a:pt x="16" y="601"/>
                  </a:lnTo>
                  <a:lnTo>
                    <a:pt x="76" y="601"/>
                  </a:lnTo>
                  <a:lnTo>
                    <a:pt x="196" y="601"/>
                  </a:lnTo>
                  <a:lnTo>
                    <a:pt x="286" y="601"/>
                  </a:lnTo>
                  <a:lnTo>
                    <a:pt x="406" y="601"/>
                  </a:lnTo>
                  <a:lnTo>
                    <a:pt x="497" y="601"/>
                  </a:lnTo>
                  <a:lnTo>
                    <a:pt x="617" y="601"/>
                  </a:lnTo>
                  <a:lnTo>
                    <a:pt x="707" y="601"/>
                  </a:lnTo>
                  <a:lnTo>
                    <a:pt x="827" y="601"/>
                  </a:lnTo>
                  <a:lnTo>
                    <a:pt x="888" y="601"/>
                  </a:lnTo>
                  <a:lnTo>
                    <a:pt x="890" y="601"/>
                  </a:lnTo>
                  <a:lnTo>
                    <a:pt x="893" y="600"/>
                  </a:lnTo>
                  <a:lnTo>
                    <a:pt x="896" y="599"/>
                  </a:lnTo>
                  <a:lnTo>
                    <a:pt x="898" y="597"/>
                  </a:lnTo>
                  <a:lnTo>
                    <a:pt x="900" y="595"/>
                  </a:lnTo>
                  <a:lnTo>
                    <a:pt x="901" y="593"/>
                  </a:lnTo>
                  <a:lnTo>
                    <a:pt x="902" y="590"/>
                  </a:lnTo>
                  <a:lnTo>
                    <a:pt x="903" y="586"/>
                  </a:lnTo>
                  <a:lnTo>
                    <a:pt x="902" y="583"/>
                  </a:lnTo>
                  <a:lnTo>
                    <a:pt x="901" y="581"/>
                  </a:lnTo>
                  <a:lnTo>
                    <a:pt x="900" y="578"/>
                  </a:lnTo>
                  <a:lnTo>
                    <a:pt x="898" y="576"/>
                  </a:lnTo>
                  <a:lnTo>
                    <a:pt x="896" y="573"/>
                  </a:lnTo>
                  <a:lnTo>
                    <a:pt x="893" y="572"/>
                  </a:lnTo>
                  <a:lnTo>
                    <a:pt x="890" y="571"/>
                  </a:lnTo>
                  <a:lnTo>
                    <a:pt x="888" y="5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8" name="Freeform 215"/>
            <p:cNvSpPr>
              <a:spLocks noEditPoints="1"/>
            </p:cNvSpPr>
            <p:nvPr/>
          </p:nvSpPr>
          <p:spPr bwMode="auto">
            <a:xfrm>
              <a:off x="10474325" y="2498725"/>
              <a:ext cx="252413" cy="157163"/>
            </a:xfrm>
            <a:custGeom>
              <a:avLst/>
              <a:gdLst>
                <a:gd name="T0" fmla="*/ 83 w 796"/>
                <a:gd name="T1" fmla="*/ 417 h 496"/>
                <a:gd name="T2" fmla="*/ 89 w 796"/>
                <a:gd name="T3" fmla="*/ 431 h 496"/>
                <a:gd name="T4" fmla="*/ 76 w 796"/>
                <a:gd name="T5" fmla="*/ 461 h 496"/>
                <a:gd name="T6" fmla="*/ 43 w 796"/>
                <a:gd name="T7" fmla="*/ 461 h 496"/>
                <a:gd name="T8" fmla="*/ 30 w 796"/>
                <a:gd name="T9" fmla="*/ 430 h 496"/>
                <a:gd name="T10" fmla="*/ 54 w 796"/>
                <a:gd name="T11" fmla="*/ 407 h 496"/>
                <a:gd name="T12" fmla="*/ 302 w 796"/>
                <a:gd name="T13" fmla="*/ 216 h 496"/>
                <a:gd name="T14" fmla="*/ 315 w 796"/>
                <a:gd name="T15" fmla="*/ 247 h 496"/>
                <a:gd name="T16" fmla="*/ 291 w 796"/>
                <a:gd name="T17" fmla="*/ 270 h 496"/>
                <a:gd name="T18" fmla="*/ 260 w 796"/>
                <a:gd name="T19" fmla="*/ 257 h 496"/>
                <a:gd name="T20" fmla="*/ 260 w 796"/>
                <a:gd name="T21" fmla="*/ 224 h 496"/>
                <a:gd name="T22" fmla="*/ 511 w 796"/>
                <a:gd name="T23" fmla="*/ 301 h 496"/>
                <a:gd name="T24" fmla="*/ 530 w 796"/>
                <a:gd name="T25" fmla="*/ 308 h 496"/>
                <a:gd name="T26" fmla="*/ 541 w 796"/>
                <a:gd name="T27" fmla="*/ 331 h 496"/>
                <a:gd name="T28" fmla="*/ 523 w 796"/>
                <a:gd name="T29" fmla="*/ 359 h 496"/>
                <a:gd name="T30" fmla="*/ 490 w 796"/>
                <a:gd name="T31" fmla="*/ 353 h 496"/>
                <a:gd name="T32" fmla="*/ 483 w 796"/>
                <a:gd name="T33" fmla="*/ 320 h 496"/>
                <a:gd name="T34" fmla="*/ 511 w 796"/>
                <a:gd name="T35" fmla="*/ 301 h 496"/>
                <a:gd name="T36" fmla="*/ 757 w 796"/>
                <a:gd name="T37" fmla="*/ 39 h 496"/>
                <a:gd name="T38" fmla="*/ 764 w 796"/>
                <a:gd name="T39" fmla="*/ 72 h 496"/>
                <a:gd name="T40" fmla="*/ 736 w 796"/>
                <a:gd name="T41" fmla="*/ 90 h 496"/>
                <a:gd name="T42" fmla="*/ 708 w 796"/>
                <a:gd name="T43" fmla="*/ 72 h 496"/>
                <a:gd name="T44" fmla="*/ 716 w 796"/>
                <a:gd name="T45" fmla="*/ 39 h 496"/>
                <a:gd name="T46" fmla="*/ 60 w 796"/>
                <a:gd name="T47" fmla="*/ 496 h 496"/>
                <a:gd name="T48" fmla="*/ 93 w 796"/>
                <a:gd name="T49" fmla="*/ 487 h 496"/>
                <a:gd name="T50" fmla="*/ 115 w 796"/>
                <a:gd name="T51" fmla="*/ 460 h 496"/>
                <a:gd name="T52" fmla="*/ 118 w 796"/>
                <a:gd name="T53" fmla="*/ 422 h 496"/>
                <a:gd name="T54" fmla="*/ 276 w 796"/>
                <a:gd name="T55" fmla="*/ 300 h 496"/>
                <a:gd name="T56" fmla="*/ 318 w 796"/>
                <a:gd name="T57" fmla="*/ 291 h 496"/>
                <a:gd name="T58" fmla="*/ 451 w 796"/>
                <a:gd name="T59" fmla="*/ 331 h 496"/>
                <a:gd name="T60" fmla="*/ 461 w 796"/>
                <a:gd name="T61" fmla="*/ 365 h 496"/>
                <a:gd name="T62" fmla="*/ 487 w 796"/>
                <a:gd name="T63" fmla="*/ 387 h 496"/>
                <a:gd name="T64" fmla="*/ 523 w 796"/>
                <a:gd name="T65" fmla="*/ 390 h 496"/>
                <a:gd name="T66" fmla="*/ 554 w 796"/>
                <a:gd name="T67" fmla="*/ 373 h 496"/>
                <a:gd name="T68" fmla="*/ 570 w 796"/>
                <a:gd name="T69" fmla="*/ 343 h 496"/>
                <a:gd name="T70" fmla="*/ 559 w 796"/>
                <a:gd name="T71" fmla="*/ 296 h 496"/>
                <a:gd name="T72" fmla="*/ 742 w 796"/>
                <a:gd name="T73" fmla="*/ 120 h 496"/>
                <a:gd name="T74" fmla="*/ 775 w 796"/>
                <a:gd name="T75" fmla="*/ 106 h 496"/>
                <a:gd name="T76" fmla="*/ 794 w 796"/>
                <a:gd name="T77" fmla="*/ 79 h 496"/>
                <a:gd name="T78" fmla="*/ 794 w 796"/>
                <a:gd name="T79" fmla="*/ 43 h 496"/>
                <a:gd name="T80" fmla="*/ 775 w 796"/>
                <a:gd name="T81" fmla="*/ 14 h 496"/>
                <a:gd name="T82" fmla="*/ 742 w 796"/>
                <a:gd name="T83" fmla="*/ 0 h 496"/>
                <a:gd name="T84" fmla="*/ 708 w 796"/>
                <a:gd name="T85" fmla="*/ 8 h 496"/>
                <a:gd name="T86" fmla="*/ 683 w 796"/>
                <a:gd name="T87" fmla="*/ 31 h 496"/>
                <a:gd name="T88" fmla="*/ 677 w 796"/>
                <a:gd name="T89" fmla="*/ 70 h 496"/>
                <a:gd name="T90" fmla="*/ 524 w 796"/>
                <a:gd name="T91" fmla="*/ 272 h 496"/>
                <a:gd name="T92" fmla="*/ 483 w 796"/>
                <a:gd name="T93" fmla="*/ 278 h 496"/>
                <a:gd name="T94" fmla="*/ 345 w 796"/>
                <a:gd name="T95" fmla="*/ 245 h 496"/>
                <a:gd name="T96" fmla="*/ 339 w 796"/>
                <a:gd name="T97" fmla="*/ 212 h 496"/>
                <a:gd name="T98" fmla="*/ 314 w 796"/>
                <a:gd name="T99" fmla="*/ 188 h 496"/>
                <a:gd name="T100" fmla="*/ 280 w 796"/>
                <a:gd name="T101" fmla="*/ 181 h 496"/>
                <a:gd name="T102" fmla="*/ 247 w 796"/>
                <a:gd name="T103" fmla="*/ 194 h 496"/>
                <a:gd name="T104" fmla="*/ 228 w 796"/>
                <a:gd name="T105" fmla="*/ 223 h 496"/>
                <a:gd name="T106" fmla="*/ 229 w 796"/>
                <a:gd name="T107" fmla="*/ 262 h 496"/>
                <a:gd name="T108" fmla="*/ 60 w 796"/>
                <a:gd name="T109" fmla="*/ 376 h 496"/>
                <a:gd name="T110" fmla="*/ 26 w 796"/>
                <a:gd name="T111" fmla="*/ 387 h 496"/>
                <a:gd name="T112" fmla="*/ 4 w 796"/>
                <a:gd name="T113" fmla="*/ 413 h 496"/>
                <a:gd name="T114" fmla="*/ 1 w 796"/>
                <a:gd name="T115" fmla="*/ 448 h 496"/>
                <a:gd name="T116" fmla="*/ 17 w 796"/>
                <a:gd name="T117" fmla="*/ 479 h 496"/>
                <a:gd name="T118" fmla="*/ 47 w 796"/>
                <a:gd name="T119" fmla="*/ 495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96" h="496">
                  <a:moveTo>
                    <a:pt x="60" y="406"/>
                  </a:moveTo>
                  <a:lnTo>
                    <a:pt x="66" y="407"/>
                  </a:lnTo>
                  <a:lnTo>
                    <a:pt x="73" y="410"/>
                  </a:lnTo>
                  <a:lnTo>
                    <a:pt x="78" y="413"/>
                  </a:lnTo>
                  <a:lnTo>
                    <a:pt x="83" y="417"/>
                  </a:lnTo>
                  <a:lnTo>
                    <a:pt x="83" y="417"/>
                  </a:lnTo>
                  <a:lnTo>
                    <a:pt x="83" y="417"/>
                  </a:lnTo>
                  <a:lnTo>
                    <a:pt x="83" y="417"/>
                  </a:lnTo>
                  <a:lnTo>
                    <a:pt x="83" y="417"/>
                  </a:lnTo>
                  <a:lnTo>
                    <a:pt x="86" y="421"/>
                  </a:lnTo>
                  <a:lnTo>
                    <a:pt x="88" y="426"/>
                  </a:lnTo>
                  <a:lnTo>
                    <a:pt x="89" y="431"/>
                  </a:lnTo>
                  <a:lnTo>
                    <a:pt x="90" y="436"/>
                  </a:lnTo>
                  <a:lnTo>
                    <a:pt x="89" y="443"/>
                  </a:lnTo>
                  <a:lnTo>
                    <a:pt x="88" y="448"/>
                  </a:lnTo>
                  <a:lnTo>
                    <a:pt x="85" y="453"/>
                  </a:lnTo>
                  <a:lnTo>
                    <a:pt x="81" y="458"/>
                  </a:lnTo>
                  <a:lnTo>
                    <a:pt x="76" y="461"/>
                  </a:lnTo>
                  <a:lnTo>
                    <a:pt x="72" y="464"/>
                  </a:lnTo>
                  <a:lnTo>
                    <a:pt x="65" y="466"/>
                  </a:lnTo>
                  <a:lnTo>
                    <a:pt x="60" y="466"/>
                  </a:lnTo>
                  <a:lnTo>
                    <a:pt x="54" y="466"/>
                  </a:lnTo>
                  <a:lnTo>
                    <a:pt x="48" y="464"/>
                  </a:lnTo>
                  <a:lnTo>
                    <a:pt x="43" y="461"/>
                  </a:lnTo>
                  <a:lnTo>
                    <a:pt x="39" y="458"/>
                  </a:lnTo>
                  <a:lnTo>
                    <a:pt x="34" y="453"/>
                  </a:lnTo>
                  <a:lnTo>
                    <a:pt x="32" y="448"/>
                  </a:lnTo>
                  <a:lnTo>
                    <a:pt x="30" y="443"/>
                  </a:lnTo>
                  <a:lnTo>
                    <a:pt x="30" y="436"/>
                  </a:lnTo>
                  <a:lnTo>
                    <a:pt x="30" y="430"/>
                  </a:lnTo>
                  <a:lnTo>
                    <a:pt x="32" y="425"/>
                  </a:lnTo>
                  <a:lnTo>
                    <a:pt x="34" y="419"/>
                  </a:lnTo>
                  <a:lnTo>
                    <a:pt x="39" y="415"/>
                  </a:lnTo>
                  <a:lnTo>
                    <a:pt x="43" y="412"/>
                  </a:lnTo>
                  <a:lnTo>
                    <a:pt x="48" y="409"/>
                  </a:lnTo>
                  <a:lnTo>
                    <a:pt x="54" y="407"/>
                  </a:lnTo>
                  <a:lnTo>
                    <a:pt x="60" y="406"/>
                  </a:lnTo>
                  <a:lnTo>
                    <a:pt x="60" y="406"/>
                  </a:lnTo>
                  <a:close/>
                  <a:moveTo>
                    <a:pt x="285" y="211"/>
                  </a:moveTo>
                  <a:lnTo>
                    <a:pt x="291" y="211"/>
                  </a:lnTo>
                  <a:lnTo>
                    <a:pt x="297" y="214"/>
                  </a:lnTo>
                  <a:lnTo>
                    <a:pt x="302" y="216"/>
                  </a:lnTo>
                  <a:lnTo>
                    <a:pt x="306" y="220"/>
                  </a:lnTo>
                  <a:lnTo>
                    <a:pt x="311" y="224"/>
                  </a:lnTo>
                  <a:lnTo>
                    <a:pt x="313" y="230"/>
                  </a:lnTo>
                  <a:lnTo>
                    <a:pt x="315" y="235"/>
                  </a:lnTo>
                  <a:lnTo>
                    <a:pt x="315" y="241"/>
                  </a:lnTo>
                  <a:lnTo>
                    <a:pt x="315" y="247"/>
                  </a:lnTo>
                  <a:lnTo>
                    <a:pt x="313" y="253"/>
                  </a:lnTo>
                  <a:lnTo>
                    <a:pt x="311" y="257"/>
                  </a:lnTo>
                  <a:lnTo>
                    <a:pt x="306" y="262"/>
                  </a:lnTo>
                  <a:lnTo>
                    <a:pt x="302" y="266"/>
                  </a:lnTo>
                  <a:lnTo>
                    <a:pt x="297" y="268"/>
                  </a:lnTo>
                  <a:lnTo>
                    <a:pt x="291" y="270"/>
                  </a:lnTo>
                  <a:lnTo>
                    <a:pt x="285" y="271"/>
                  </a:lnTo>
                  <a:lnTo>
                    <a:pt x="280" y="270"/>
                  </a:lnTo>
                  <a:lnTo>
                    <a:pt x="273" y="268"/>
                  </a:lnTo>
                  <a:lnTo>
                    <a:pt x="269" y="266"/>
                  </a:lnTo>
                  <a:lnTo>
                    <a:pt x="264" y="262"/>
                  </a:lnTo>
                  <a:lnTo>
                    <a:pt x="260" y="257"/>
                  </a:lnTo>
                  <a:lnTo>
                    <a:pt x="257" y="253"/>
                  </a:lnTo>
                  <a:lnTo>
                    <a:pt x="256" y="247"/>
                  </a:lnTo>
                  <a:lnTo>
                    <a:pt x="255" y="241"/>
                  </a:lnTo>
                  <a:lnTo>
                    <a:pt x="256" y="235"/>
                  </a:lnTo>
                  <a:lnTo>
                    <a:pt x="257" y="230"/>
                  </a:lnTo>
                  <a:lnTo>
                    <a:pt x="260" y="224"/>
                  </a:lnTo>
                  <a:lnTo>
                    <a:pt x="264" y="220"/>
                  </a:lnTo>
                  <a:lnTo>
                    <a:pt x="269" y="216"/>
                  </a:lnTo>
                  <a:lnTo>
                    <a:pt x="273" y="214"/>
                  </a:lnTo>
                  <a:lnTo>
                    <a:pt x="280" y="211"/>
                  </a:lnTo>
                  <a:lnTo>
                    <a:pt x="285" y="211"/>
                  </a:lnTo>
                  <a:close/>
                  <a:moveTo>
                    <a:pt x="511" y="301"/>
                  </a:moveTo>
                  <a:lnTo>
                    <a:pt x="516" y="301"/>
                  </a:lnTo>
                  <a:lnTo>
                    <a:pt x="521" y="302"/>
                  </a:lnTo>
                  <a:lnTo>
                    <a:pt x="526" y="306"/>
                  </a:lnTo>
                  <a:lnTo>
                    <a:pt x="530" y="308"/>
                  </a:lnTo>
                  <a:lnTo>
                    <a:pt x="530" y="308"/>
                  </a:lnTo>
                  <a:lnTo>
                    <a:pt x="530" y="308"/>
                  </a:lnTo>
                  <a:lnTo>
                    <a:pt x="530" y="308"/>
                  </a:lnTo>
                  <a:lnTo>
                    <a:pt x="530" y="308"/>
                  </a:lnTo>
                  <a:lnTo>
                    <a:pt x="535" y="313"/>
                  </a:lnTo>
                  <a:lnTo>
                    <a:pt x="538" y="319"/>
                  </a:lnTo>
                  <a:lnTo>
                    <a:pt x="540" y="325"/>
                  </a:lnTo>
                  <a:lnTo>
                    <a:pt x="541" y="331"/>
                  </a:lnTo>
                  <a:lnTo>
                    <a:pt x="540" y="337"/>
                  </a:lnTo>
                  <a:lnTo>
                    <a:pt x="539" y="343"/>
                  </a:lnTo>
                  <a:lnTo>
                    <a:pt x="536" y="347"/>
                  </a:lnTo>
                  <a:lnTo>
                    <a:pt x="532" y="353"/>
                  </a:lnTo>
                  <a:lnTo>
                    <a:pt x="527" y="356"/>
                  </a:lnTo>
                  <a:lnTo>
                    <a:pt x="523" y="359"/>
                  </a:lnTo>
                  <a:lnTo>
                    <a:pt x="516" y="360"/>
                  </a:lnTo>
                  <a:lnTo>
                    <a:pt x="511" y="361"/>
                  </a:lnTo>
                  <a:lnTo>
                    <a:pt x="505" y="360"/>
                  </a:lnTo>
                  <a:lnTo>
                    <a:pt x="499" y="359"/>
                  </a:lnTo>
                  <a:lnTo>
                    <a:pt x="494" y="356"/>
                  </a:lnTo>
                  <a:lnTo>
                    <a:pt x="490" y="353"/>
                  </a:lnTo>
                  <a:lnTo>
                    <a:pt x="486" y="349"/>
                  </a:lnTo>
                  <a:lnTo>
                    <a:pt x="483" y="343"/>
                  </a:lnTo>
                  <a:lnTo>
                    <a:pt x="481" y="337"/>
                  </a:lnTo>
                  <a:lnTo>
                    <a:pt x="481" y="331"/>
                  </a:lnTo>
                  <a:lnTo>
                    <a:pt x="481" y="325"/>
                  </a:lnTo>
                  <a:lnTo>
                    <a:pt x="483" y="320"/>
                  </a:lnTo>
                  <a:lnTo>
                    <a:pt x="486" y="314"/>
                  </a:lnTo>
                  <a:lnTo>
                    <a:pt x="490" y="310"/>
                  </a:lnTo>
                  <a:lnTo>
                    <a:pt x="494" y="307"/>
                  </a:lnTo>
                  <a:lnTo>
                    <a:pt x="499" y="304"/>
                  </a:lnTo>
                  <a:lnTo>
                    <a:pt x="505" y="301"/>
                  </a:lnTo>
                  <a:lnTo>
                    <a:pt x="511" y="301"/>
                  </a:lnTo>
                  <a:lnTo>
                    <a:pt x="511" y="301"/>
                  </a:lnTo>
                  <a:close/>
                  <a:moveTo>
                    <a:pt x="736" y="30"/>
                  </a:moveTo>
                  <a:lnTo>
                    <a:pt x="742" y="31"/>
                  </a:lnTo>
                  <a:lnTo>
                    <a:pt x="748" y="33"/>
                  </a:lnTo>
                  <a:lnTo>
                    <a:pt x="753" y="36"/>
                  </a:lnTo>
                  <a:lnTo>
                    <a:pt x="757" y="39"/>
                  </a:lnTo>
                  <a:lnTo>
                    <a:pt x="762" y="43"/>
                  </a:lnTo>
                  <a:lnTo>
                    <a:pt x="764" y="49"/>
                  </a:lnTo>
                  <a:lnTo>
                    <a:pt x="766" y="55"/>
                  </a:lnTo>
                  <a:lnTo>
                    <a:pt x="766" y="60"/>
                  </a:lnTo>
                  <a:lnTo>
                    <a:pt x="766" y="67"/>
                  </a:lnTo>
                  <a:lnTo>
                    <a:pt x="764" y="72"/>
                  </a:lnTo>
                  <a:lnTo>
                    <a:pt x="762" y="78"/>
                  </a:lnTo>
                  <a:lnTo>
                    <a:pt x="757" y="82"/>
                  </a:lnTo>
                  <a:lnTo>
                    <a:pt x="753" y="85"/>
                  </a:lnTo>
                  <a:lnTo>
                    <a:pt x="748" y="88"/>
                  </a:lnTo>
                  <a:lnTo>
                    <a:pt x="742" y="90"/>
                  </a:lnTo>
                  <a:lnTo>
                    <a:pt x="736" y="90"/>
                  </a:lnTo>
                  <a:lnTo>
                    <a:pt x="731" y="90"/>
                  </a:lnTo>
                  <a:lnTo>
                    <a:pt x="724" y="88"/>
                  </a:lnTo>
                  <a:lnTo>
                    <a:pt x="720" y="85"/>
                  </a:lnTo>
                  <a:lnTo>
                    <a:pt x="716" y="82"/>
                  </a:lnTo>
                  <a:lnTo>
                    <a:pt x="711" y="78"/>
                  </a:lnTo>
                  <a:lnTo>
                    <a:pt x="708" y="72"/>
                  </a:lnTo>
                  <a:lnTo>
                    <a:pt x="707" y="67"/>
                  </a:lnTo>
                  <a:lnTo>
                    <a:pt x="706" y="60"/>
                  </a:lnTo>
                  <a:lnTo>
                    <a:pt x="707" y="55"/>
                  </a:lnTo>
                  <a:lnTo>
                    <a:pt x="708" y="49"/>
                  </a:lnTo>
                  <a:lnTo>
                    <a:pt x="711" y="43"/>
                  </a:lnTo>
                  <a:lnTo>
                    <a:pt x="716" y="39"/>
                  </a:lnTo>
                  <a:lnTo>
                    <a:pt x="720" y="36"/>
                  </a:lnTo>
                  <a:lnTo>
                    <a:pt x="724" y="33"/>
                  </a:lnTo>
                  <a:lnTo>
                    <a:pt x="731" y="31"/>
                  </a:lnTo>
                  <a:lnTo>
                    <a:pt x="736" y="30"/>
                  </a:lnTo>
                  <a:lnTo>
                    <a:pt x="736" y="30"/>
                  </a:lnTo>
                  <a:close/>
                  <a:moveTo>
                    <a:pt x="60" y="496"/>
                  </a:moveTo>
                  <a:lnTo>
                    <a:pt x="66" y="496"/>
                  </a:lnTo>
                  <a:lnTo>
                    <a:pt x="72" y="495"/>
                  </a:lnTo>
                  <a:lnTo>
                    <a:pt x="77" y="494"/>
                  </a:lnTo>
                  <a:lnTo>
                    <a:pt x="84" y="492"/>
                  </a:lnTo>
                  <a:lnTo>
                    <a:pt x="89" y="489"/>
                  </a:lnTo>
                  <a:lnTo>
                    <a:pt x="93" y="487"/>
                  </a:lnTo>
                  <a:lnTo>
                    <a:pt x="98" y="482"/>
                  </a:lnTo>
                  <a:lnTo>
                    <a:pt x="102" y="479"/>
                  </a:lnTo>
                  <a:lnTo>
                    <a:pt x="106" y="475"/>
                  </a:lnTo>
                  <a:lnTo>
                    <a:pt x="109" y="470"/>
                  </a:lnTo>
                  <a:lnTo>
                    <a:pt x="113" y="465"/>
                  </a:lnTo>
                  <a:lnTo>
                    <a:pt x="115" y="460"/>
                  </a:lnTo>
                  <a:lnTo>
                    <a:pt x="117" y="455"/>
                  </a:lnTo>
                  <a:lnTo>
                    <a:pt x="119" y="448"/>
                  </a:lnTo>
                  <a:lnTo>
                    <a:pt x="120" y="443"/>
                  </a:lnTo>
                  <a:lnTo>
                    <a:pt x="120" y="436"/>
                  </a:lnTo>
                  <a:lnTo>
                    <a:pt x="119" y="429"/>
                  </a:lnTo>
                  <a:lnTo>
                    <a:pt x="118" y="422"/>
                  </a:lnTo>
                  <a:lnTo>
                    <a:pt x="116" y="416"/>
                  </a:lnTo>
                  <a:lnTo>
                    <a:pt x="114" y="410"/>
                  </a:lnTo>
                  <a:lnTo>
                    <a:pt x="251" y="291"/>
                  </a:lnTo>
                  <a:lnTo>
                    <a:pt x="259" y="295"/>
                  </a:lnTo>
                  <a:lnTo>
                    <a:pt x="267" y="298"/>
                  </a:lnTo>
                  <a:lnTo>
                    <a:pt x="276" y="300"/>
                  </a:lnTo>
                  <a:lnTo>
                    <a:pt x="285" y="301"/>
                  </a:lnTo>
                  <a:lnTo>
                    <a:pt x="292" y="300"/>
                  </a:lnTo>
                  <a:lnTo>
                    <a:pt x="300" y="299"/>
                  </a:lnTo>
                  <a:lnTo>
                    <a:pt x="306" y="297"/>
                  </a:lnTo>
                  <a:lnTo>
                    <a:pt x="313" y="294"/>
                  </a:lnTo>
                  <a:lnTo>
                    <a:pt x="318" y="291"/>
                  </a:lnTo>
                  <a:lnTo>
                    <a:pt x="325" y="286"/>
                  </a:lnTo>
                  <a:lnTo>
                    <a:pt x="329" y="282"/>
                  </a:lnTo>
                  <a:lnTo>
                    <a:pt x="333" y="277"/>
                  </a:lnTo>
                  <a:lnTo>
                    <a:pt x="451" y="324"/>
                  </a:lnTo>
                  <a:lnTo>
                    <a:pt x="451" y="327"/>
                  </a:lnTo>
                  <a:lnTo>
                    <a:pt x="451" y="331"/>
                  </a:lnTo>
                  <a:lnTo>
                    <a:pt x="451" y="338"/>
                  </a:lnTo>
                  <a:lnTo>
                    <a:pt x="452" y="343"/>
                  </a:lnTo>
                  <a:lnTo>
                    <a:pt x="453" y="350"/>
                  </a:lnTo>
                  <a:lnTo>
                    <a:pt x="455" y="355"/>
                  </a:lnTo>
                  <a:lnTo>
                    <a:pt x="457" y="360"/>
                  </a:lnTo>
                  <a:lnTo>
                    <a:pt x="461" y="365"/>
                  </a:lnTo>
                  <a:lnTo>
                    <a:pt x="464" y="370"/>
                  </a:lnTo>
                  <a:lnTo>
                    <a:pt x="468" y="374"/>
                  </a:lnTo>
                  <a:lnTo>
                    <a:pt x="472" y="377"/>
                  </a:lnTo>
                  <a:lnTo>
                    <a:pt x="477" y="381"/>
                  </a:lnTo>
                  <a:lnTo>
                    <a:pt x="482" y="384"/>
                  </a:lnTo>
                  <a:lnTo>
                    <a:pt x="487" y="387"/>
                  </a:lnTo>
                  <a:lnTo>
                    <a:pt x="493" y="388"/>
                  </a:lnTo>
                  <a:lnTo>
                    <a:pt x="498" y="390"/>
                  </a:lnTo>
                  <a:lnTo>
                    <a:pt x="505" y="391"/>
                  </a:lnTo>
                  <a:lnTo>
                    <a:pt x="511" y="391"/>
                  </a:lnTo>
                  <a:lnTo>
                    <a:pt x="517" y="391"/>
                  </a:lnTo>
                  <a:lnTo>
                    <a:pt x="523" y="390"/>
                  </a:lnTo>
                  <a:lnTo>
                    <a:pt x="529" y="388"/>
                  </a:lnTo>
                  <a:lnTo>
                    <a:pt x="535" y="387"/>
                  </a:lnTo>
                  <a:lnTo>
                    <a:pt x="540" y="384"/>
                  </a:lnTo>
                  <a:lnTo>
                    <a:pt x="544" y="381"/>
                  </a:lnTo>
                  <a:lnTo>
                    <a:pt x="550" y="377"/>
                  </a:lnTo>
                  <a:lnTo>
                    <a:pt x="554" y="373"/>
                  </a:lnTo>
                  <a:lnTo>
                    <a:pt x="557" y="370"/>
                  </a:lnTo>
                  <a:lnTo>
                    <a:pt x="560" y="365"/>
                  </a:lnTo>
                  <a:lnTo>
                    <a:pt x="564" y="360"/>
                  </a:lnTo>
                  <a:lnTo>
                    <a:pt x="567" y="355"/>
                  </a:lnTo>
                  <a:lnTo>
                    <a:pt x="568" y="350"/>
                  </a:lnTo>
                  <a:lnTo>
                    <a:pt x="570" y="343"/>
                  </a:lnTo>
                  <a:lnTo>
                    <a:pt x="571" y="338"/>
                  </a:lnTo>
                  <a:lnTo>
                    <a:pt x="571" y="331"/>
                  </a:lnTo>
                  <a:lnTo>
                    <a:pt x="570" y="322"/>
                  </a:lnTo>
                  <a:lnTo>
                    <a:pt x="568" y="312"/>
                  </a:lnTo>
                  <a:lnTo>
                    <a:pt x="565" y="304"/>
                  </a:lnTo>
                  <a:lnTo>
                    <a:pt x="559" y="296"/>
                  </a:lnTo>
                  <a:lnTo>
                    <a:pt x="710" y="115"/>
                  </a:lnTo>
                  <a:lnTo>
                    <a:pt x="717" y="117"/>
                  </a:lnTo>
                  <a:lnTo>
                    <a:pt x="723" y="119"/>
                  </a:lnTo>
                  <a:lnTo>
                    <a:pt x="730" y="120"/>
                  </a:lnTo>
                  <a:lnTo>
                    <a:pt x="736" y="120"/>
                  </a:lnTo>
                  <a:lnTo>
                    <a:pt x="742" y="120"/>
                  </a:lnTo>
                  <a:lnTo>
                    <a:pt x="749" y="119"/>
                  </a:lnTo>
                  <a:lnTo>
                    <a:pt x="754" y="118"/>
                  </a:lnTo>
                  <a:lnTo>
                    <a:pt x="760" y="116"/>
                  </a:lnTo>
                  <a:lnTo>
                    <a:pt x="765" y="114"/>
                  </a:lnTo>
                  <a:lnTo>
                    <a:pt x="770" y="111"/>
                  </a:lnTo>
                  <a:lnTo>
                    <a:pt x="775" y="106"/>
                  </a:lnTo>
                  <a:lnTo>
                    <a:pt x="779" y="103"/>
                  </a:lnTo>
                  <a:lnTo>
                    <a:pt x="783" y="99"/>
                  </a:lnTo>
                  <a:lnTo>
                    <a:pt x="786" y="95"/>
                  </a:lnTo>
                  <a:lnTo>
                    <a:pt x="790" y="89"/>
                  </a:lnTo>
                  <a:lnTo>
                    <a:pt x="792" y="84"/>
                  </a:lnTo>
                  <a:lnTo>
                    <a:pt x="794" y="79"/>
                  </a:lnTo>
                  <a:lnTo>
                    <a:pt x="795" y="73"/>
                  </a:lnTo>
                  <a:lnTo>
                    <a:pt x="796" y="67"/>
                  </a:lnTo>
                  <a:lnTo>
                    <a:pt x="796" y="60"/>
                  </a:lnTo>
                  <a:lnTo>
                    <a:pt x="796" y="54"/>
                  </a:lnTo>
                  <a:lnTo>
                    <a:pt x="795" y="49"/>
                  </a:lnTo>
                  <a:lnTo>
                    <a:pt x="794" y="43"/>
                  </a:lnTo>
                  <a:lnTo>
                    <a:pt x="792" y="37"/>
                  </a:lnTo>
                  <a:lnTo>
                    <a:pt x="790" y="31"/>
                  </a:lnTo>
                  <a:lnTo>
                    <a:pt x="786" y="27"/>
                  </a:lnTo>
                  <a:lnTo>
                    <a:pt x="783" y="23"/>
                  </a:lnTo>
                  <a:lnTo>
                    <a:pt x="779" y="19"/>
                  </a:lnTo>
                  <a:lnTo>
                    <a:pt x="775" y="14"/>
                  </a:lnTo>
                  <a:lnTo>
                    <a:pt x="770" y="11"/>
                  </a:lnTo>
                  <a:lnTo>
                    <a:pt x="765" y="8"/>
                  </a:lnTo>
                  <a:lnTo>
                    <a:pt x="760" y="5"/>
                  </a:lnTo>
                  <a:lnTo>
                    <a:pt x="754" y="4"/>
                  </a:lnTo>
                  <a:lnTo>
                    <a:pt x="749" y="1"/>
                  </a:lnTo>
                  <a:lnTo>
                    <a:pt x="742" y="0"/>
                  </a:lnTo>
                  <a:lnTo>
                    <a:pt x="736" y="0"/>
                  </a:lnTo>
                  <a:lnTo>
                    <a:pt x="731" y="0"/>
                  </a:lnTo>
                  <a:lnTo>
                    <a:pt x="724" y="1"/>
                  </a:lnTo>
                  <a:lnTo>
                    <a:pt x="719" y="4"/>
                  </a:lnTo>
                  <a:lnTo>
                    <a:pt x="712" y="5"/>
                  </a:lnTo>
                  <a:lnTo>
                    <a:pt x="708" y="8"/>
                  </a:lnTo>
                  <a:lnTo>
                    <a:pt x="703" y="11"/>
                  </a:lnTo>
                  <a:lnTo>
                    <a:pt x="698" y="14"/>
                  </a:lnTo>
                  <a:lnTo>
                    <a:pt x="694" y="19"/>
                  </a:lnTo>
                  <a:lnTo>
                    <a:pt x="690" y="22"/>
                  </a:lnTo>
                  <a:lnTo>
                    <a:pt x="687" y="27"/>
                  </a:lnTo>
                  <a:lnTo>
                    <a:pt x="683" y="31"/>
                  </a:lnTo>
                  <a:lnTo>
                    <a:pt x="681" y="37"/>
                  </a:lnTo>
                  <a:lnTo>
                    <a:pt x="679" y="43"/>
                  </a:lnTo>
                  <a:lnTo>
                    <a:pt x="677" y="49"/>
                  </a:lnTo>
                  <a:lnTo>
                    <a:pt x="676" y="54"/>
                  </a:lnTo>
                  <a:lnTo>
                    <a:pt x="676" y="60"/>
                  </a:lnTo>
                  <a:lnTo>
                    <a:pt x="677" y="70"/>
                  </a:lnTo>
                  <a:lnTo>
                    <a:pt x="679" y="80"/>
                  </a:lnTo>
                  <a:lnTo>
                    <a:pt x="682" y="88"/>
                  </a:lnTo>
                  <a:lnTo>
                    <a:pt x="688" y="96"/>
                  </a:lnTo>
                  <a:lnTo>
                    <a:pt x="537" y="277"/>
                  </a:lnTo>
                  <a:lnTo>
                    <a:pt x="530" y="275"/>
                  </a:lnTo>
                  <a:lnTo>
                    <a:pt x="524" y="272"/>
                  </a:lnTo>
                  <a:lnTo>
                    <a:pt x="517" y="271"/>
                  </a:lnTo>
                  <a:lnTo>
                    <a:pt x="511" y="271"/>
                  </a:lnTo>
                  <a:lnTo>
                    <a:pt x="504" y="271"/>
                  </a:lnTo>
                  <a:lnTo>
                    <a:pt x="496" y="272"/>
                  </a:lnTo>
                  <a:lnTo>
                    <a:pt x="490" y="275"/>
                  </a:lnTo>
                  <a:lnTo>
                    <a:pt x="483" y="278"/>
                  </a:lnTo>
                  <a:lnTo>
                    <a:pt x="478" y="281"/>
                  </a:lnTo>
                  <a:lnTo>
                    <a:pt x="472" y="285"/>
                  </a:lnTo>
                  <a:lnTo>
                    <a:pt x="467" y="291"/>
                  </a:lnTo>
                  <a:lnTo>
                    <a:pt x="463" y="296"/>
                  </a:lnTo>
                  <a:lnTo>
                    <a:pt x="345" y="249"/>
                  </a:lnTo>
                  <a:lnTo>
                    <a:pt x="345" y="245"/>
                  </a:lnTo>
                  <a:lnTo>
                    <a:pt x="345" y="241"/>
                  </a:lnTo>
                  <a:lnTo>
                    <a:pt x="345" y="235"/>
                  </a:lnTo>
                  <a:lnTo>
                    <a:pt x="344" y="229"/>
                  </a:lnTo>
                  <a:lnTo>
                    <a:pt x="343" y="223"/>
                  </a:lnTo>
                  <a:lnTo>
                    <a:pt x="341" y="218"/>
                  </a:lnTo>
                  <a:lnTo>
                    <a:pt x="339" y="212"/>
                  </a:lnTo>
                  <a:lnTo>
                    <a:pt x="335" y="207"/>
                  </a:lnTo>
                  <a:lnTo>
                    <a:pt x="332" y="203"/>
                  </a:lnTo>
                  <a:lnTo>
                    <a:pt x="328" y="199"/>
                  </a:lnTo>
                  <a:lnTo>
                    <a:pt x="324" y="194"/>
                  </a:lnTo>
                  <a:lnTo>
                    <a:pt x="319" y="191"/>
                  </a:lnTo>
                  <a:lnTo>
                    <a:pt x="314" y="188"/>
                  </a:lnTo>
                  <a:lnTo>
                    <a:pt x="309" y="186"/>
                  </a:lnTo>
                  <a:lnTo>
                    <a:pt x="303" y="184"/>
                  </a:lnTo>
                  <a:lnTo>
                    <a:pt x="298" y="182"/>
                  </a:lnTo>
                  <a:lnTo>
                    <a:pt x="291" y="181"/>
                  </a:lnTo>
                  <a:lnTo>
                    <a:pt x="285" y="180"/>
                  </a:lnTo>
                  <a:lnTo>
                    <a:pt x="280" y="181"/>
                  </a:lnTo>
                  <a:lnTo>
                    <a:pt x="273" y="182"/>
                  </a:lnTo>
                  <a:lnTo>
                    <a:pt x="268" y="184"/>
                  </a:lnTo>
                  <a:lnTo>
                    <a:pt x="261" y="186"/>
                  </a:lnTo>
                  <a:lnTo>
                    <a:pt x="257" y="188"/>
                  </a:lnTo>
                  <a:lnTo>
                    <a:pt x="252" y="191"/>
                  </a:lnTo>
                  <a:lnTo>
                    <a:pt x="247" y="194"/>
                  </a:lnTo>
                  <a:lnTo>
                    <a:pt x="243" y="199"/>
                  </a:lnTo>
                  <a:lnTo>
                    <a:pt x="239" y="203"/>
                  </a:lnTo>
                  <a:lnTo>
                    <a:pt x="236" y="207"/>
                  </a:lnTo>
                  <a:lnTo>
                    <a:pt x="232" y="212"/>
                  </a:lnTo>
                  <a:lnTo>
                    <a:pt x="230" y="218"/>
                  </a:lnTo>
                  <a:lnTo>
                    <a:pt x="228" y="223"/>
                  </a:lnTo>
                  <a:lnTo>
                    <a:pt x="226" y="229"/>
                  </a:lnTo>
                  <a:lnTo>
                    <a:pt x="225" y="235"/>
                  </a:lnTo>
                  <a:lnTo>
                    <a:pt x="225" y="241"/>
                  </a:lnTo>
                  <a:lnTo>
                    <a:pt x="226" y="248"/>
                  </a:lnTo>
                  <a:lnTo>
                    <a:pt x="227" y="255"/>
                  </a:lnTo>
                  <a:lnTo>
                    <a:pt x="229" y="262"/>
                  </a:lnTo>
                  <a:lnTo>
                    <a:pt x="231" y="267"/>
                  </a:lnTo>
                  <a:lnTo>
                    <a:pt x="94" y="387"/>
                  </a:lnTo>
                  <a:lnTo>
                    <a:pt x="86" y="383"/>
                  </a:lnTo>
                  <a:lnTo>
                    <a:pt x="78" y="380"/>
                  </a:lnTo>
                  <a:lnTo>
                    <a:pt x="69" y="377"/>
                  </a:lnTo>
                  <a:lnTo>
                    <a:pt x="60" y="376"/>
                  </a:lnTo>
                  <a:lnTo>
                    <a:pt x="54" y="376"/>
                  </a:lnTo>
                  <a:lnTo>
                    <a:pt x="47" y="377"/>
                  </a:lnTo>
                  <a:lnTo>
                    <a:pt x="42" y="379"/>
                  </a:lnTo>
                  <a:lnTo>
                    <a:pt x="36" y="381"/>
                  </a:lnTo>
                  <a:lnTo>
                    <a:pt x="31" y="384"/>
                  </a:lnTo>
                  <a:lnTo>
                    <a:pt x="26" y="387"/>
                  </a:lnTo>
                  <a:lnTo>
                    <a:pt x="21" y="390"/>
                  </a:lnTo>
                  <a:lnTo>
                    <a:pt x="17" y="394"/>
                  </a:lnTo>
                  <a:lnTo>
                    <a:pt x="13" y="398"/>
                  </a:lnTo>
                  <a:lnTo>
                    <a:pt x="10" y="403"/>
                  </a:lnTo>
                  <a:lnTo>
                    <a:pt x="6" y="407"/>
                  </a:lnTo>
                  <a:lnTo>
                    <a:pt x="4" y="413"/>
                  </a:lnTo>
                  <a:lnTo>
                    <a:pt x="2" y="418"/>
                  </a:lnTo>
                  <a:lnTo>
                    <a:pt x="1" y="425"/>
                  </a:lnTo>
                  <a:lnTo>
                    <a:pt x="0" y="430"/>
                  </a:lnTo>
                  <a:lnTo>
                    <a:pt x="0" y="436"/>
                  </a:lnTo>
                  <a:lnTo>
                    <a:pt x="0" y="443"/>
                  </a:lnTo>
                  <a:lnTo>
                    <a:pt x="1" y="448"/>
                  </a:lnTo>
                  <a:lnTo>
                    <a:pt x="2" y="455"/>
                  </a:lnTo>
                  <a:lnTo>
                    <a:pt x="4" y="460"/>
                  </a:lnTo>
                  <a:lnTo>
                    <a:pt x="6" y="465"/>
                  </a:lnTo>
                  <a:lnTo>
                    <a:pt x="10" y="470"/>
                  </a:lnTo>
                  <a:lnTo>
                    <a:pt x="13" y="475"/>
                  </a:lnTo>
                  <a:lnTo>
                    <a:pt x="17" y="479"/>
                  </a:lnTo>
                  <a:lnTo>
                    <a:pt x="21" y="482"/>
                  </a:lnTo>
                  <a:lnTo>
                    <a:pt x="26" y="487"/>
                  </a:lnTo>
                  <a:lnTo>
                    <a:pt x="31" y="489"/>
                  </a:lnTo>
                  <a:lnTo>
                    <a:pt x="36" y="492"/>
                  </a:lnTo>
                  <a:lnTo>
                    <a:pt x="42" y="494"/>
                  </a:lnTo>
                  <a:lnTo>
                    <a:pt x="47" y="495"/>
                  </a:lnTo>
                  <a:lnTo>
                    <a:pt x="54" y="496"/>
                  </a:lnTo>
                  <a:lnTo>
                    <a:pt x="60" y="49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79886202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Freeform 36"/>
          <p:cNvSpPr>
            <a:spLocks noChangeAspect="1" noEditPoints="1"/>
          </p:cNvSpPr>
          <p:nvPr/>
        </p:nvSpPr>
        <p:spPr bwMode="auto">
          <a:xfrm>
            <a:off x="1276352" y="1220321"/>
            <a:ext cx="9639298" cy="4967186"/>
          </a:xfrm>
          <a:custGeom>
            <a:avLst/>
            <a:gdLst>
              <a:gd name="T0" fmla="*/ 2147483647 w 13744"/>
              <a:gd name="T1" fmla="*/ 2147483647 h 7946"/>
              <a:gd name="T2" fmla="*/ 2147483647 w 13744"/>
              <a:gd name="T3" fmla="*/ 2147483647 h 7946"/>
              <a:gd name="T4" fmla="*/ 2147483647 w 13744"/>
              <a:gd name="T5" fmla="*/ 2147483647 h 7946"/>
              <a:gd name="T6" fmla="*/ 2147483647 w 13744"/>
              <a:gd name="T7" fmla="*/ 2147483647 h 7946"/>
              <a:gd name="T8" fmla="*/ 2147483647 w 13744"/>
              <a:gd name="T9" fmla="*/ 2147483647 h 7946"/>
              <a:gd name="T10" fmla="*/ 2147483647 w 13744"/>
              <a:gd name="T11" fmla="*/ 2147483647 h 7946"/>
              <a:gd name="T12" fmla="*/ 2147483647 w 13744"/>
              <a:gd name="T13" fmla="*/ 2147483647 h 7946"/>
              <a:gd name="T14" fmla="*/ 2147483647 w 13744"/>
              <a:gd name="T15" fmla="*/ 2147483647 h 7946"/>
              <a:gd name="T16" fmla="*/ 2147483647 w 13744"/>
              <a:gd name="T17" fmla="*/ 2147483647 h 7946"/>
              <a:gd name="T18" fmla="*/ 2147483647 w 13744"/>
              <a:gd name="T19" fmla="*/ 2147483647 h 7946"/>
              <a:gd name="T20" fmla="*/ 2147483647 w 13744"/>
              <a:gd name="T21" fmla="*/ 2147483647 h 7946"/>
              <a:gd name="T22" fmla="*/ 2147483647 w 13744"/>
              <a:gd name="T23" fmla="*/ 2147483647 h 7946"/>
              <a:gd name="T24" fmla="*/ 2147483647 w 13744"/>
              <a:gd name="T25" fmla="*/ 2147483647 h 7946"/>
              <a:gd name="T26" fmla="*/ 2147483647 w 13744"/>
              <a:gd name="T27" fmla="*/ 2147483647 h 7946"/>
              <a:gd name="T28" fmla="*/ 2147483647 w 13744"/>
              <a:gd name="T29" fmla="*/ 2147483647 h 7946"/>
              <a:gd name="T30" fmla="*/ 2147483647 w 13744"/>
              <a:gd name="T31" fmla="*/ 2147483647 h 7946"/>
              <a:gd name="T32" fmla="*/ 2147483647 w 13744"/>
              <a:gd name="T33" fmla="*/ 2147483647 h 7946"/>
              <a:gd name="T34" fmla="*/ 2147483647 w 13744"/>
              <a:gd name="T35" fmla="*/ 2147483647 h 7946"/>
              <a:gd name="T36" fmla="*/ 2147483647 w 13744"/>
              <a:gd name="T37" fmla="*/ 2147483647 h 7946"/>
              <a:gd name="T38" fmla="*/ 2147483647 w 13744"/>
              <a:gd name="T39" fmla="*/ 2147483647 h 7946"/>
              <a:gd name="T40" fmla="*/ 2147483647 w 13744"/>
              <a:gd name="T41" fmla="*/ 2147483647 h 7946"/>
              <a:gd name="T42" fmla="*/ 2147483647 w 13744"/>
              <a:gd name="T43" fmla="*/ 2147483647 h 7946"/>
              <a:gd name="T44" fmla="*/ 2147483647 w 13744"/>
              <a:gd name="T45" fmla="*/ 2147483647 h 7946"/>
              <a:gd name="T46" fmla="*/ 2147483647 w 13744"/>
              <a:gd name="T47" fmla="*/ 2147483647 h 7946"/>
              <a:gd name="T48" fmla="*/ 2147483647 w 13744"/>
              <a:gd name="T49" fmla="*/ 2147483647 h 7946"/>
              <a:gd name="T50" fmla="*/ 2147483647 w 13744"/>
              <a:gd name="T51" fmla="*/ 2147483647 h 7946"/>
              <a:gd name="T52" fmla="*/ 2147483647 w 13744"/>
              <a:gd name="T53" fmla="*/ 2147483647 h 7946"/>
              <a:gd name="T54" fmla="*/ 2147483647 w 13744"/>
              <a:gd name="T55" fmla="*/ 2147483647 h 7946"/>
              <a:gd name="T56" fmla="*/ 2147483647 w 13744"/>
              <a:gd name="T57" fmla="*/ 2147483647 h 7946"/>
              <a:gd name="T58" fmla="*/ 2147483647 w 13744"/>
              <a:gd name="T59" fmla="*/ 2147483647 h 7946"/>
              <a:gd name="T60" fmla="*/ 2147483647 w 13744"/>
              <a:gd name="T61" fmla="*/ 2147483647 h 7946"/>
              <a:gd name="T62" fmla="*/ 2147483647 w 13744"/>
              <a:gd name="T63" fmla="*/ 2147483647 h 7946"/>
              <a:gd name="T64" fmla="*/ 2147483647 w 13744"/>
              <a:gd name="T65" fmla="*/ 2147483647 h 7946"/>
              <a:gd name="T66" fmla="*/ 2147483647 w 13744"/>
              <a:gd name="T67" fmla="*/ 2147483647 h 7946"/>
              <a:gd name="T68" fmla="*/ 2147483647 w 13744"/>
              <a:gd name="T69" fmla="*/ 2147483647 h 7946"/>
              <a:gd name="T70" fmla="*/ 2147483647 w 13744"/>
              <a:gd name="T71" fmla="*/ 2147483647 h 7946"/>
              <a:gd name="T72" fmla="*/ 2147483647 w 13744"/>
              <a:gd name="T73" fmla="*/ 2147483647 h 7946"/>
              <a:gd name="T74" fmla="*/ 2147483647 w 13744"/>
              <a:gd name="T75" fmla="*/ 2147483647 h 7946"/>
              <a:gd name="T76" fmla="*/ 2147483647 w 13744"/>
              <a:gd name="T77" fmla="*/ 2147483647 h 7946"/>
              <a:gd name="T78" fmla="*/ 2147483647 w 13744"/>
              <a:gd name="T79" fmla="*/ 2147483647 h 7946"/>
              <a:gd name="T80" fmla="*/ 2147483647 w 13744"/>
              <a:gd name="T81" fmla="*/ 2147483647 h 7946"/>
              <a:gd name="T82" fmla="*/ 2147483647 w 13744"/>
              <a:gd name="T83" fmla="*/ 2147483647 h 7946"/>
              <a:gd name="T84" fmla="*/ 2147483647 w 13744"/>
              <a:gd name="T85" fmla="*/ 2147483647 h 7946"/>
              <a:gd name="T86" fmla="*/ 2147483647 w 13744"/>
              <a:gd name="T87" fmla="*/ 2147483647 h 7946"/>
              <a:gd name="T88" fmla="*/ 2147483647 w 13744"/>
              <a:gd name="T89" fmla="*/ 2147483647 h 7946"/>
              <a:gd name="T90" fmla="*/ 2147483647 w 13744"/>
              <a:gd name="T91" fmla="*/ 2147483647 h 7946"/>
              <a:gd name="T92" fmla="*/ 2147483647 w 13744"/>
              <a:gd name="T93" fmla="*/ 2147483647 h 7946"/>
              <a:gd name="T94" fmla="*/ 2147483647 w 13744"/>
              <a:gd name="T95" fmla="*/ 2147483647 h 7946"/>
              <a:gd name="T96" fmla="*/ 2147483647 w 13744"/>
              <a:gd name="T97" fmla="*/ 2147483647 h 7946"/>
              <a:gd name="T98" fmla="*/ 2147483647 w 13744"/>
              <a:gd name="T99" fmla="*/ 2147483647 h 7946"/>
              <a:gd name="T100" fmla="*/ 2147483647 w 13744"/>
              <a:gd name="T101" fmla="*/ 2147483647 h 7946"/>
              <a:gd name="T102" fmla="*/ 2147483647 w 13744"/>
              <a:gd name="T103" fmla="*/ 2147483647 h 7946"/>
              <a:gd name="T104" fmla="*/ 2147483647 w 13744"/>
              <a:gd name="T105" fmla="*/ 2147483647 h 7946"/>
              <a:gd name="T106" fmla="*/ 2147483647 w 13744"/>
              <a:gd name="T107" fmla="*/ 2147483647 h 7946"/>
              <a:gd name="T108" fmla="*/ 2147483647 w 13744"/>
              <a:gd name="T109" fmla="*/ 2147483647 h 7946"/>
              <a:gd name="T110" fmla="*/ 2147483647 w 13744"/>
              <a:gd name="T111" fmla="*/ 2147483647 h 7946"/>
              <a:gd name="T112" fmla="*/ 2147483647 w 13744"/>
              <a:gd name="T113" fmla="*/ 2147483647 h 7946"/>
              <a:gd name="T114" fmla="*/ 2147483647 w 13744"/>
              <a:gd name="T115" fmla="*/ 2147483647 h 7946"/>
              <a:gd name="T116" fmla="*/ 2147483647 w 13744"/>
              <a:gd name="T117" fmla="*/ 2147483647 h 7946"/>
              <a:gd name="T118" fmla="*/ 2147483647 w 13744"/>
              <a:gd name="T119" fmla="*/ 2147483647 h 7946"/>
              <a:gd name="T120" fmla="*/ 2147483647 w 13744"/>
              <a:gd name="T121" fmla="*/ 2147483647 h 7946"/>
              <a:gd name="T122" fmla="*/ 2147483647 w 13744"/>
              <a:gd name="T123" fmla="*/ 2147483647 h 7946"/>
              <a:gd name="T124" fmla="*/ 2147483647 w 13744"/>
              <a:gd name="T125" fmla="*/ 2147483647 h 794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13744"/>
              <a:gd name="T190" fmla="*/ 0 h 7946"/>
              <a:gd name="T191" fmla="*/ 13744 w 13744"/>
              <a:gd name="T192" fmla="*/ 7946 h 794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13744" h="7946">
                <a:moveTo>
                  <a:pt x="3858" y="2900"/>
                </a:moveTo>
                <a:lnTo>
                  <a:pt x="3858" y="2900"/>
                </a:lnTo>
                <a:lnTo>
                  <a:pt x="3862" y="2896"/>
                </a:lnTo>
                <a:lnTo>
                  <a:pt x="3862" y="2894"/>
                </a:lnTo>
                <a:lnTo>
                  <a:pt x="3856" y="2896"/>
                </a:lnTo>
                <a:lnTo>
                  <a:pt x="3850" y="2902"/>
                </a:lnTo>
                <a:lnTo>
                  <a:pt x="3842" y="2906"/>
                </a:lnTo>
                <a:lnTo>
                  <a:pt x="3834" y="2906"/>
                </a:lnTo>
                <a:lnTo>
                  <a:pt x="3828" y="2906"/>
                </a:lnTo>
                <a:lnTo>
                  <a:pt x="3824" y="2908"/>
                </a:lnTo>
                <a:lnTo>
                  <a:pt x="3820" y="2908"/>
                </a:lnTo>
                <a:lnTo>
                  <a:pt x="3818" y="2908"/>
                </a:lnTo>
                <a:lnTo>
                  <a:pt x="3814" y="2908"/>
                </a:lnTo>
                <a:lnTo>
                  <a:pt x="3808" y="2908"/>
                </a:lnTo>
                <a:lnTo>
                  <a:pt x="3804" y="2910"/>
                </a:lnTo>
                <a:lnTo>
                  <a:pt x="3802" y="2910"/>
                </a:lnTo>
                <a:lnTo>
                  <a:pt x="3802" y="2912"/>
                </a:lnTo>
                <a:lnTo>
                  <a:pt x="3796" y="2916"/>
                </a:lnTo>
                <a:lnTo>
                  <a:pt x="3790" y="2920"/>
                </a:lnTo>
                <a:lnTo>
                  <a:pt x="3788" y="2924"/>
                </a:lnTo>
                <a:lnTo>
                  <a:pt x="3790" y="2926"/>
                </a:lnTo>
                <a:lnTo>
                  <a:pt x="3794" y="2926"/>
                </a:lnTo>
                <a:lnTo>
                  <a:pt x="3796" y="2926"/>
                </a:lnTo>
                <a:lnTo>
                  <a:pt x="3794" y="2928"/>
                </a:lnTo>
                <a:lnTo>
                  <a:pt x="3794" y="2930"/>
                </a:lnTo>
                <a:lnTo>
                  <a:pt x="3796" y="2930"/>
                </a:lnTo>
                <a:lnTo>
                  <a:pt x="3800" y="2930"/>
                </a:lnTo>
                <a:lnTo>
                  <a:pt x="3804" y="2928"/>
                </a:lnTo>
                <a:lnTo>
                  <a:pt x="3806" y="2926"/>
                </a:lnTo>
                <a:lnTo>
                  <a:pt x="3808" y="2926"/>
                </a:lnTo>
                <a:lnTo>
                  <a:pt x="3810" y="2924"/>
                </a:lnTo>
                <a:lnTo>
                  <a:pt x="3816" y="2922"/>
                </a:lnTo>
                <a:lnTo>
                  <a:pt x="3822" y="2920"/>
                </a:lnTo>
                <a:lnTo>
                  <a:pt x="3832" y="2920"/>
                </a:lnTo>
                <a:lnTo>
                  <a:pt x="3840" y="2916"/>
                </a:lnTo>
                <a:lnTo>
                  <a:pt x="3856" y="2912"/>
                </a:lnTo>
                <a:lnTo>
                  <a:pt x="3870" y="2904"/>
                </a:lnTo>
                <a:lnTo>
                  <a:pt x="3874" y="2902"/>
                </a:lnTo>
                <a:lnTo>
                  <a:pt x="3876" y="2900"/>
                </a:lnTo>
                <a:lnTo>
                  <a:pt x="3872" y="2900"/>
                </a:lnTo>
                <a:lnTo>
                  <a:pt x="3870" y="2902"/>
                </a:lnTo>
                <a:lnTo>
                  <a:pt x="3866" y="2902"/>
                </a:lnTo>
                <a:lnTo>
                  <a:pt x="3862" y="2902"/>
                </a:lnTo>
                <a:lnTo>
                  <a:pt x="3860" y="2904"/>
                </a:lnTo>
                <a:lnTo>
                  <a:pt x="3854" y="2906"/>
                </a:lnTo>
                <a:lnTo>
                  <a:pt x="3850" y="2908"/>
                </a:lnTo>
                <a:lnTo>
                  <a:pt x="3852" y="2904"/>
                </a:lnTo>
                <a:lnTo>
                  <a:pt x="3858" y="2900"/>
                </a:lnTo>
                <a:close/>
                <a:moveTo>
                  <a:pt x="6188" y="1470"/>
                </a:moveTo>
                <a:lnTo>
                  <a:pt x="6188" y="1470"/>
                </a:lnTo>
                <a:lnTo>
                  <a:pt x="6198" y="1458"/>
                </a:lnTo>
                <a:lnTo>
                  <a:pt x="6206" y="1454"/>
                </a:lnTo>
                <a:lnTo>
                  <a:pt x="6212" y="1450"/>
                </a:lnTo>
                <a:lnTo>
                  <a:pt x="6218" y="1444"/>
                </a:lnTo>
                <a:lnTo>
                  <a:pt x="6224" y="1430"/>
                </a:lnTo>
                <a:lnTo>
                  <a:pt x="6226" y="1422"/>
                </a:lnTo>
                <a:lnTo>
                  <a:pt x="6226" y="1414"/>
                </a:lnTo>
                <a:lnTo>
                  <a:pt x="6226" y="1408"/>
                </a:lnTo>
                <a:lnTo>
                  <a:pt x="6222" y="1402"/>
                </a:lnTo>
                <a:lnTo>
                  <a:pt x="6218" y="1398"/>
                </a:lnTo>
                <a:lnTo>
                  <a:pt x="6210" y="1396"/>
                </a:lnTo>
                <a:lnTo>
                  <a:pt x="6204" y="1396"/>
                </a:lnTo>
                <a:lnTo>
                  <a:pt x="6198" y="1394"/>
                </a:lnTo>
                <a:lnTo>
                  <a:pt x="6194" y="1388"/>
                </a:lnTo>
                <a:lnTo>
                  <a:pt x="6190" y="1384"/>
                </a:lnTo>
                <a:lnTo>
                  <a:pt x="6186" y="1384"/>
                </a:lnTo>
                <a:lnTo>
                  <a:pt x="6180" y="1384"/>
                </a:lnTo>
                <a:lnTo>
                  <a:pt x="6178" y="1384"/>
                </a:lnTo>
                <a:lnTo>
                  <a:pt x="6178" y="1382"/>
                </a:lnTo>
                <a:lnTo>
                  <a:pt x="6182" y="1376"/>
                </a:lnTo>
                <a:lnTo>
                  <a:pt x="6184" y="1370"/>
                </a:lnTo>
                <a:lnTo>
                  <a:pt x="6184" y="1366"/>
                </a:lnTo>
                <a:lnTo>
                  <a:pt x="6180" y="1364"/>
                </a:lnTo>
                <a:lnTo>
                  <a:pt x="6176" y="1364"/>
                </a:lnTo>
                <a:lnTo>
                  <a:pt x="6170" y="1362"/>
                </a:lnTo>
                <a:lnTo>
                  <a:pt x="6168" y="1360"/>
                </a:lnTo>
                <a:lnTo>
                  <a:pt x="6168" y="1358"/>
                </a:lnTo>
                <a:lnTo>
                  <a:pt x="6174" y="1354"/>
                </a:lnTo>
                <a:lnTo>
                  <a:pt x="6184" y="1344"/>
                </a:lnTo>
                <a:lnTo>
                  <a:pt x="6186" y="1342"/>
                </a:lnTo>
                <a:lnTo>
                  <a:pt x="6184" y="1340"/>
                </a:lnTo>
                <a:lnTo>
                  <a:pt x="6178" y="1340"/>
                </a:lnTo>
                <a:lnTo>
                  <a:pt x="6168" y="1342"/>
                </a:lnTo>
                <a:lnTo>
                  <a:pt x="6158" y="1348"/>
                </a:lnTo>
                <a:lnTo>
                  <a:pt x="6150" y="1352"/>
                </a:lnTo>
                <a:lnTo>
                  <a:pt x="6148" y="1354"/>
                </a:lnTo>
                <a:lnTo>
                  <a:pt x="6144" y="1350"/>
                </a:lnTo>
                <a:lnTo>
                  <a:pt x="6140" y="1346"/>
                </a:lnTo>
                <a:lnTo>
                  <a:pt x="6136" y="1338"/>
                </a:lnTo>
                <a:lnTo>
                  <a:pt x="6132" y="1332"/>
                </a:lnTo>
                <a:lnTo>
                  <a:pt x="6126" y="1330"/>
                </a:lnTo>
                <a:lnTo>
                  <a:pt x="6120" y="1328"/>
                </a:lnTo>
                <a:lnTo>
                  <a:pt x="6114" y="1330"/>
                </a:lnTo>
                <a:lnTo>
                  <a:pt x="6108" y="1332"/>
                </a:lnTo>
                <a:lnTo>
                  <a:pt x="6104" y="1334"/>
                </a:lnTo>
                <a:lnTo>
                  <a:pt x="6104" y="1338"/>
                </a:lnTo>
                <a:lnTo>
                  <a:pt x="6104" y="1342"/>
                </a:lnTo>
                <a:lnTo>
                  <a:pt x="6108" y="1352"/>
                </a:lnTo>
                <a:lnTo>
                  <a:pt x="6108" y="1354"/>
                </a:lnTo>
                <a:lnTo>
                  <a:pt x="6108" y="1358"/>
                </a:lnTo>
                <a:lnTo>
                  <a:pt x="6106" y="1358"/>
                </a:lnTo>
                <a:lnTo>
                  <a:pt x="6102" y="1358"/>
                </a:lnTo>
                <a:lnTo>
                  <a:pt x="6092" y="1356"/>
                </a:lnTo>
                <a:lnTo>
                  <a:pt x="6086" y="1354"/>
                </a:lnTo>
                <a:lnTo>
                  <a:pt x="6082" y="1356"/>
                </a:lnTo>
                <a:lnTo>
                  <a:pt x="6074" y="1362"/>
                </a:lnTo>
                <a:lnTo>
                  <a:pt x="6070" y="1366"/>
                </a:lnTo>
                <a:lnTo>
                  <a:pt x="6068" y="1368"/>
                </a:lnTo>
                <a:lnTo>
                  <a:pt x="6062" y="1368"/>
                </a:lnTo>
                <a:lnTo>
                  <a:pt x="6058" y="1364"/>
                </a:lnTo>
                <a:lnTo>
                  <a:pt x="6048" y="1356"/>
                </a:lnTo>
                <a:lnTo>
                  <a:pt x="6044" y="1354"/>
                </a:lnTo>
                <a:lnTo>
                  <a:pt x="6040" y="1354"/>
                </a:lnTo>
                <a:lnTo>
                  <a:pt x="6038" y="1356"/>
                </a:lnTo>
                <a:lnTo>
                  <a:pt x="6036" y="1358"/>
                </a:lnTo>
                <a:lnTo>
                  <a:pt x="6036" y="1368"/>
                </a:lnTo>
                <a:lnTo>
                  <a:pt x="6036" y="1374"/>
                </a:lnTo>
                <a:lnTo>
                  <a:pt x="6036" y="1376"/>
                </a:lnTo>
                <a:lnTo>
                  <a:pt x="6034" y="1378"/>
                </a:lnTo>
                <a:lnTo>
                  <a:pt x="6032" y="1376"/>
                </a:lnTo>
                <a:lnTo>
                  <a:pt x="6026" y="1370"/>
                </a:lnTo>
                <a:lnTo>
                  <a:pt x="6022" y="1360"/>
                </a:lnTo>
                <a:lnTo>
                  <a:pt x="6020" y="1354"/>
                </a:lnTo>
                <a:lnTo>
                  <a:pt x="6016" y="1352"/>
                </a:lnTo>
                <a:lnTo>
                  <a:pt x="6010" y="1354"/>
                </a:lnTo>
                <a:lnTo>
                  <a:pt x="6004" y="1356"/>
                </a:lnTo>
                <a:lnTo>
                  <a:pt x="5998" y="1360"/>
                </a:lnTo>
                <a:lnTo>
                  <a:pt x="5994" y="1366"/>
                </a:lnTo>
                <a:lnTo>
                  <a:pt x="5990" y="1372"/>
                </a:lnTo>
                <a:lnTo>
                  <a:pt x="5990" y="1378"/>
                </a:lnTo>
                <a:lnTo>
                  <a:pt x="5990" y="1388"/>
                </a:lnTo>
                <a:lnTo>
                  <a:pt x="5988" y="1388"/>
                </a:lnTo>
                <a:lnTo>
                  <a:pt x="5986" y="1388"/>
                </a:lnTo>
                <a:lnTo>
                  <a:pt x="5978" y="1382"/>
                </a:lnTo>
                <a:lnTo>
                  <a:pt x="5970" y="1370"/>
                </a:lnTo>
                <a:lnTo>
                  <a:pt x="5964" y="1362"/>
                </a:lnTo>
                <a:lnTo>
                  <a:pt x="5960" y="1358"/>
                </a:lnTo>
                <a:lnTo>
                  <a:pt x="5956" y="1358"/>
                </a:lnTo>
                <a:lnTo>
                  <a:pt x="5954" y="1360"/>
                </a:lnTo>
                <a:lnTo>
                  <a:pt x="5950" y="1364"/>
                </a:lnTo>
                <a:lnTo>
                  <a:pt x="5950" y="1368"/>
                </a:lnTo>
                <a:lnTo>
                  <a:pt x="5950" y="1374"/>
                </a:lnTo>
                <a:lnTo>
                  <a:pt x="5952" y="1380"/>
                </a:lnTo>
                <a:lnTo>
                  <a:pt x="5956" y="1390"/>
                </a:lnTo>
                <a:lnTo>
                  <a:pt x="5954" y="1394"/>
                </a:lnTo>
                <a:lnTo>
                  <a:pt x="5954" y="1398"/>
                </a:lnTo>
                <a:lnTo>
                  <a:pt x="5952" y="1400"/>
                </a:lnTo>
                <a:lnTo>
                  <a:pt x="5948" y="1400"/>
                </a:lnTo>
                <a:lnTo>
                  <a:pt x="5944" y="1396"/>
                </a:lnTo>
                <a:lnTo>
                  <a:pt x="5940" y="1392"/>
                </a:lnTo>
                <a:lnTo>
                  <a:pt x="5936" y="1388"/>
                </a:lnTo>
                <a:lnTo>
                  <a:pt x="5932" y="1390"/>
                </a:lnTo>
                <a:lnTo>
                  <a:pt x="5930" y="1394"/>
                </a:lnTo>
                <a:lnTo>
                  <a:pt x="5926" y="1400"/>
                </a:lnTo>
                <a:lnTo>
                  <a:pt x="5924" y="1404"/>
                </a:lnTo>
                <a:lnTo>
                  <a:pt x="5920" y="1408"/>
                </a:lnTo>
                <a:lnTo>
                  <a:pt x="5918" y="1408"/>
                </a:lnTo>
                <a:lnTo>
                  <a:pt x="5914" y="1402"/>
                </a:lnTo>
                <a:lnTo>
                  <a:pt x="5910" y="1394"/>
                </a:lnTo>
                <a:lnTo>
                  <a:pt x="5910" y="1388"/>
                </a:lnTo>
                <a:lnTo>
                  <a:pt x="5912" y="1378"/>
                </a:lnTo>
                <a:lnTo>
                  <a:pt x="5912" y="1374"/>
                </a:lnTo>
                <a:lnTo>
                  <a:pt x="5912" y="1372"/>
                </a:lnTo>
                <a:lnTo>
                  <a:pt x="5908" y="1368"/>
                </a:lnTo>
                <a:lnTo>
                  <a:pt x="5902" y="1362"/>
                </a:lnTo>
                <a:lnTo>
                  <a:pt x="5890" y="1354"/>
                </a:lnTo>
                <a:lnTo>
                  <a:pt x="5884" y="1348"/>
                </a:lnTo>
                <a:lnTo>
                  <a:pt x="5880" y="1344"/>
                </a:lnTo>
                <a:lnTo>
                  <a:pt x="5868" y="1338"/>
                </a:lnTo>
                <a:lnTo>
                  <a:pt x="5860" y="1336"/>
                </a:lnTo>
                <a:lnTo>
                  <a:pt x="5852" y="1336"/>
                </a:lnTo>
                <a:lnTo>
                  <a:pt x="5846" y="1336"/>
                </a:lnTo>
                <a:lnTo>
                  <a:pt x="5842" y="1338"/>
                </a:lnTo>
                <a:lnTo>
                  <a:pt x="5838" y="1340"/>
                </a:lnTo>
                <a:lnTo>
                  <a:pt x="5836" y="1344"/>
                </a:lnTo>
                <a:lnTo>
                  <a:pt x="5836" y="1346"/>
                </a:lnTo>
                <a:lnTo>
                  <a:pt x="5838" y="1350"/>
                </a:lnTo>
                <a:lnTo>
                  <a:pt x="5846" y="1354"/>
                </a:lnTo>
                <a:lnTo>
                  <a:pt x="5856" y="1360"/>
                </a:lnTo>
                <a:lnTo>
                  <a:pt x="5864" y="1364"/>
                </a:lnTo>
                <a:lnTo>
                  <a:pt x="5872" y="1372"/>
                </a:lnTo>
                <a:lnTo>
                  <a:pt x="5872" y="1374"/>
                </a:lnTo>
                <a:lnTo>
                  <a:pt x="5870" y="1376"/>
                </a:lnTo>
                <a:lnTo>
                  <a:pt x="5862" y="1372"/>
                </a:lnTo>
                <a:lnTo>
                  <a:pt x="5850" y="1366"/>
                </a:lnTo>
                <a:lnTo>
                  <a:pt x="5838" y="1358"/>
                </a:lnTo>
                <a:lnTo>
                  <a:pt x="5832" y="1354"/>
                </a:lnTo>
                <a:lnTo>
                  <a:pt x="5828" y="1354"/>
                </a:lnTo>
                <a:lnTo>
                  <a:pt x="5824" y="1354"/>
                </a:lnTo>
                <a:lnTo>
                  <a:pt x="5820" y="1356"/>
                </a:lnTo>
                <a:lnTo>
                  <a:pt x="5814" y="1364"/>
                </a:lnTo>
                <a:lnTo>
                  <a:pt x="5812" y="1376"/>
                </a:lnTo>
                <a:lnTo>
                  <a:pt x="5812" y="1380"/>
                </a:lnTo>
                <a:lnTo>
                  <a:pt x="5810" y="1384"/>
                </a:lnTo>
                <a:lnTo>
                  <a:pt x="5806" y="1384"/>
                </a:lnTo>
                <a:lnTo>
                  <a:pt x="5802" y="1386"/>
                </a:lnTo>
                <a:lnTo>
                  <a:pt x="5800" y="1388"/>
                </a:lnTo>
                <a:lnTo>
                  <a:pt x="5800" y="1392"/>
                </a:lnTo>
                <a:lnTo>
                  <a:pt x="5800" y="1396"/>
                </a:lnTo>
                <a:lnTo>
                  <a:pt x="5796" y="1396"/>
                </a:lnTo>
                <a:lnTo>
                  <a:pt x="5790" y="1396"/>
                </a:lnTo>
                <a:lnTo>
                  <a:pt x="5786" y="1396"/>
                </a:lnTo>
                <a:lnTo>
                  <a:pt x="5782" y="1396"/>
                </a:lnTo>
                <a:lnTo>
                  <a:pt x="5780" y="1398"/>
                </a:lnTo>
                <a:lnTo>
                  <a:pt x="5782" y="1402"/>
                </a:lnTo>
                <a:lnTo>
                  <a:pt x="5784" y="1404"/>
                </a:lnTo>
                <a:lnTo>
                  <a:pt x="5790" y="1406"/>
                </a:lnTo>
                <a:lnTo>
                  <a:pt x="5802" y="1410"/>
                </a:lnTo>
                <a:lnTo>
                  <a:pt x="5810" y="1410"/>
                </a:lnTo>
                <a:lnTo>
                  <a:pt x="5818" y="1408"/>
                </a:lnTo>
                <a:lnTo>
                  <a:pt x="5832" y="1404"/>
                </a:lnTo>
                <a:lnTo>
                  <a:pt x="5842" y="1402"/>
                </a:lnTo>
                <a:lnTo>
                  <a:pt x="5874" y="1404"/>
                </a:lnTo>
                <a:lnTo>
                  <a:pt x="5884" y="1406"/>
                </a:lnTo>
                <a:lnTo>
                  <a:pt x="5888" y="1408"/>
                </a:lnTo>
                <a:lnTo>
                  <a:pt x="5886" y="1410"/>
                </a:lnTo>
                <a:lnTo>
                  <a:pt x="5882" y="1412"/>
                </a:lnTo>
                <a:lnTo>
                  <a:pt x="5870" y="1418"/>
                </a:lnTo>
                <a:lnTo>
                  <a:pt x="5866" y="1422"/>
                </a:lnTo>
                <a:lnTo>
                  <a:pt x="5864" y="1424"/>
                </a:lnTo>
                <a:lnTo>
                  <a:pt x="5866" y="1428"/>
                </a:lnTo>
                <a:lnTo>
                  <a:pt x="5870" y="1430"/>
                </a:lnTo>
                <a:lnTo>
                  <a:pt x="5882" y="1430"/>
                </a:lnTo>
                <a:lnTo>
                  <a:pt x="5888" y="1430"/>
                </a:lnTo>
                <a:lnTo>
                  <a:pt x="5888" y="1432"/>
                </a:lnTo>
                <a:lnTo>
                  <a:pt x="5882" y="1436"/>
                </a:lnTo>
                <a:lnTo>
                  <a:pt x="5874" y="1438"/>
                </a:lnTo>
                <a:lnTo>
                  <a:pt x="5868" y="1438"/>
                </a:lnTo>
                <a:lnTo>
                  <a:pt x="5858" y="1436"/>
                </a:lnTo>
                <a:lnTo>
                  <a:pt x="5850" y="1434"/>
                </a:lnTo>
                <a:lnTo>
                  <a:pt x="5846" y="1434"/>
                </a:lnTo>
                <a:lnTo>
                  <a:pt x="5840" y="1436"/>
                </a:lnTo>
                <a:lnTo>
                  <a:pt x="5836" y="1440"/>
                </a:lnTo>
                <a:lnTo>
                  <a:pt x="5828" y="1440"/>
                </a:lnTo>
                <a:lnTo>
                  <a:pt x="5816" y="1442"/>
                </a:lnTo>
                <a:lnTo>
                  <a:pt x="5806" y="1444"/>
                </a:lnTo>
                <a:lnTo>
                  <a:pt x="5804" y="1446"/>
                </a:lnTo>
                <a:lnTo>
                  <a:pt x="5804" y="1450"/>
                </a:lnTo>
                <a:lnTo>
                  <a:pt x="5806" y="1454"/>
                </a:lnTo>
                <a:lnTo>
                  <a:pt x="5808" y="1454"/>
                </a:lnTo>
                <a:lnTo>
                  <a:pt x="5820" y="1454"/>
                </a:lnTo>
                <a:lnTo>
                  <a:pt x="5836" y="1452"/>
                </a:lnTo>
                <a:lnTo>
                  <a:pt x="5846" y="1452"/>
                </a:lnTo>
                <a:lnTo>
                  <a:pt x="5858" y="1454"/>
                </a:lnTo>
                <a:lnTo>
                  <a:pt x="5864" y="1454"/>
                </a:lnTo>
                <a:lnTo>
                  <a:pt x="5868" y="1456"/>
                </a:lnTo>
                <a:lnTo>
                  <a:pt x="5870" y="1460"/>
                </a:lnTo>
                <a:lnTo>
                  <a:pt x="5870" y="1462"/>
                </a:lnTo>
                <a:lnTo>
                  <a:pt x="5870" y="1468"/>
                </a:lnTo>
                <a:lnTo>
                  <a:pt x="5872" y="1470"/>
                </a:lnTo>
                <a:lnTo>
                  <a:pt x="5876" y="1472"/>
                </a:lnTo>
                <a:lnTo>
                  <a:pt x="5882" y="1476"/>
                </a:lnTo>
                <a:lnTo>
                  <a:pt x="5886" y="1484"/>
                </a:lnTo>
                <a:lnTo>
                  <a:pt x="5888" y="1492"/>
                </a:lnTo>
                <a:lnTo>
                  <a:pt x="5884" y="1500"/>
                </a:lnTo>
                <a:lnTo>
                  <a:pt x="5880" y="1504"/>
                </a:lnTo>
                <a:lnTo>
                  <a:pt x="5874" y="1504"/>
                </a:lnTo>
                <a:lnTo>
                  <a:pt x="5866" y="1502"/>
                </a:lnTo>
                <a:lnTo>
                  <a:pt x="5858" y="1500"/>
                </a:lnTo>
                <a:lnTo>
                  <a:pt x="5856" y="1502"/>
                </a:lnTo>
                <a:lnTo>
                  <a:pt x="5854" y="1508"/>
                </a:lnTo>
                <a:lnTo>
                  <a:pt x="5856" y="1512"/>
                </a:lnTo>
                <a:lnTo>
                  <a:pt x="5858" y="1516"/>
                </a:lnTo>
                <a:lnTo>
                  <a:pt x="5862" y="1518"/>
                </a:lnTo>
                <a:lnTo>
                  <a:pt x="5866" y="1518"/>
                </a:lnTo>
                <a:lnTo>
                  <a:pt x="5880" y="1518"/>
                </a:lnTo>
                <a:lnTo>
                  <a:pt x="5904" y="1516"/>
                </a:lnTo>
                <a:lnTo>
                  <a:pt x="5916" y="1518"/>
                </a:lnTo>
                <a:lnTo>
                  <a:pt x="5928" y="1520"/>
                </a:lnTo>
                <a:lnTo>
                  <a:pt x="5936" y="1522"/>
                </a:lnTo>
                <a:lnTo>
                  <a:pt x="5944" y="1526"/>
                </a:lnTo>
                <a:lnTo>
                  <a:pt x="5958" y="1534"/>
                </a:lnTo>
                <a:lnTo>
                  <a:pt x="5966" y="1536"/>
                </a:lnTo>
                <a:lnTo>
                  <a:pt x="5976" y="1538"/>
                </a:lnTo>
                <a:lnTo>
                  <a:pt x="5986" y="1538"/>
                </a:lnTo>
                <a:lnTo>
                  <a:pt x="5992" y="1540"/>
                </a:lnTo>
                <a:lnTo>
                  <a:pt x="6002" y="1546"/>
                </a:lnTo>
                <a:lnTo>
                  <a:pt x="6008" y="1548"/>
                </a:lnTo>
                <a:lnTo>
                  <a:pt x="6014" y="1550"/>
                </a:lnTo>
                <a:lnTo>
                  <a:pt x="6020" y="1550"/>
                </a:lnTo>
                <a:lnTo>
                  <a:pt x="6030" y="1546"/>
                </a:lnTo>
                <a:lnTo>
                  <a:pt x="6040" y="1544"/>
                </a:lnTo>
                <a:lnTo>
                  <a:pt x="6046" y="1538"/>
                </a:lnTo>
                <a:lnTo>
                  <a:pt x="6052" y="1530"/>
                </a:lnTo>
                <a:lnTo>
                  <a:pt x="6056" y="1528"/>
                </a:lnTo>
                <a:lnTo>
                  <a:pt x="6058" y="1524"/>
                </a:lnTo>
                <a:lnTo>
                  <a:pt x="6064" y="1522"/>
                </a:lnTo>
                <a:lnTo>
                  <a:pt x="6072" y="1522"/>
                </a:lnTo>
                <a:lnTo>
                  <a:pt x="6080" y="1522"/>
                </a:lnTo>
                <a:lnTo>
                  <a:pt x="6088" y="1520"/>
                </a:lnTo>
                <a:lnTo>
                  <a:pt x="6104" y="1514"/>
                </a:lnTo>
                <a:lnTo>
                  <a:pt x="6136" y="1494"/>
                </a:lnTo>
                <a:lnTo>
                  <a:pt x="6146" y="1490"/>
                </a:lnTo>
                <a:lnTo>
                  <a:pt x="6154" y="1486"/>
                </a:lnTo>
                <a:lnTo>
                  <a:pt x="6168" y="1484"/>
                </a:lnTo>
                <a:lnTo>
                  <a:pt x="6174" y="1484"/>
                </a:lnTo>
                <a:lnTo>
                  <a:pt x="6178" y="1482"/>
                </a:lnTo>
                <a:lnTo>
                  <a:pt x="6184" y="1478"/>
                </a:lnTo>
                <a:lnTo>
                  <a:pt x="6188" y="1470"/>
                </a:lnTo>
                <a:close/>
                <a:moveTo>
                  <a:pt x="4306" y="176"/>
                </a:moveTo>
                <a:lnTo>
                  <a:pt x="4306" y="176"/>
                </a:lnTo>
                <a:lnTo>
                  <a:pt x="4312" y="186"/>
                </a:lnTo>
                <a:lnTo>
                  <a:pt x="4316" y="194"/>
                </a:lnTo>
                <a:lnTo>
                  <a:pt x="4316" y="202"/>
                </a:lnTo>
                <a:lnTo>
                  <a:pt x="4314" y="210"/>
                </a:lnTo>
                <a:lnTo>
                  <a:pt x="4310" y="214"/>
                </a:lnTo>
                <a:lnTo>
                  <a:pt x="4302" y="218"/>
                </a:lnTo>
                <a:lnTo>
                  <a:pt x="4294" y="220"/>
                </a:lnTo>
                <a:lnTo>
                  <a:pt x="4282" y="216"/>
                </a:lnTo>
                <a:lnTo>
                  <a:pt x="4262" y="212"/>
                </a:lnTo>
                <a:lnTo>
                  <a:pt x="4242" y="210"/>
                </a:lnTo>
                <a:lnTo>
                  <a:pt x="4222" y="210"/>
                </a:lnTo>
                <a:lnTo>
                  <a:pt x="4204" y="212"/>
                </a:lnTo>
                <a:lnTo>
                  <a:pt x="4186" y="216"/>
                </a:lnTo>
                <a:lnTo>
                  <a:pt x="4170" y="222"/>
                </a:lnTo>
                <a:lnTo>
                  <a:pt x="4156" y="230"/>
                </a:lnTo>
                <a:lnTo>
                  <a:pt x="4140" y="238"/>
                </a:lnTo>
                <a:lnTo>
                  <a:pt x="4110" y="254"/>
                </a:lnTo>
                <a:lnTo>
                  <a:pt x="4080" y="270"/>
                </a:lnTo>
                <a:lnTo>
                  <a:pt x="4068" y="276"/>
                </a:lnTo>
                <a:lnTo>
                  <a:pt x="4058" y="282"/>
                </a:lnTo>
                <a:lnTo>
                  <a:pt x="4054" y="290"/>
                </a:lnTo>
                <a:lnTo>
                  <a:pt x="4054" y="292"/>
                </a:lnTo>
                <a:lnTo>
                  <a:pt x="4056" y="296"/>
                </a:lnTo>
                <a:lnTo>
                  <a:pt x="4062" y="300"/>
                </a:lnTo>
                <a:lnTo>
                  <a:pt x="4070" y="304"/>
                </a:lnTo>
                <a:lnTo>
                  <a:pt x="4080" y="306"/>
                </a:lnTo>
                <a:lnTo>
                  <a:pt x="4092" y="308"/>
                </a:lnTo>
                <a:lnTo>
                  <a:pt x="4116" y="308"/>
                </a:lnTo>
                <a:lnTo>
                  <a:pt x="4138" y="306"/>
                </a:lnTo>
                <a:lnTo>
                  <a:pt x="4146" y="306"/>
                </a:lnTo>
                <a:lnTo>
                  <a:pt x="4152" y="310"/>
                </a:lnTo>
                <a:lnTo>
                  <a:pt x="4154" y="316"/>
                </a:lnTo>
                <a:lnTo>
                  <a:pt x="4156" y="326"/>
                </a:lnTo>
                <a:lnTo>
                  <a:pt x="4154" y="336"/>
                </a:lnTo>
                <a:lnTo>
                  <a:pt x="4152" y="348"/>
                </a:lnTo>
                <a:lnTo>
                  <a:pt x="4146" y="360"/>
                </a:lnTo>
                <a:lnTo>
                  <a:pt x="4136" y="370"/>
                </a:lnTo>
                <a:lnTo>
                  <a:pt x="4126" y="378"/>
                </a:lnTo>
                <a:lnTo>
                  <a:pt x="4116" y="384"/>
                </a:lnTo>
                <a:lnTo>
                  <a:pt x="4104" y="384"/>
                </a:lnTo>
                <a:lnTo>
                  <a:pt x="4090" y="384"/>
                </a:lnTo>
                <a:lnTo>
                  <a:pt x="4060" y="382"/>
                </a:lnTo>
                <a:lnTo>
                  <a:pt x="4042" y="382"/>
                </a:lnTo>
                <a:lnTo>
                  <a:pt x="4024" y="384"/>
                </a:lnTo>
                <a:lnTo>
                  <a:pt x="4008" y="386"/>
                </a:lnTo>
                <a:lnTo>
                  <a:pt x="3998" y="390"/>
                </a:lnTo>
                <a:lnTo>
                  <a:pt x="3992" y="394"/>
                </a:lnTo>
                <a:lnTo>
                  <a:pt x="3986" y="398"/>
                </a:lnTo>
                <a:lnTo>
                  <a:pt x="3978" y="402"/>
                </a:lnTo>
                <a:lnTo>
                  <a:pt x="3966" y="408"/>
                </a:lnTo>
                <a:lnTo>
                  <a:pt x="3948" y="412"/>
                </a:lnTo>
                <a:lnTo>
                  <a:pt x="3920" y="416"/>
                </a:lnTo>
                <a:lnTo>
                  <a:pt x="3892" y="422"/>
                </a:lnTo>
                <a:lnTo>
                  <a:pt x="3868" y="428"/>
                </a:lnTo>
                <a:lnTo>
                  <a:pt x="3852" y="434"/>
                </a:lnTo>
                <a:lnTo>
                  <a:pt x="3842" y="440"/>
                </a:lnTo>
                <a:lnTo>
                  <a:pt x="3836" y="448"/>
                </a:lnTo>
                <a:lnTo>
                  <a:pt x="3836" y="456"/>
                </a:lnTo>
                <a:lnTo>
                  <a:pt x="3840" y="462"/>
                </a:lnTo>
                <a:lnTo>
                  <a:pt x="3848" y="470"/>
                </a:lnTo>
                <a:lnTo>
                  <a:pt x="3856" y="478"/>
                </a:lnTo>
                <a:lnTo>
                  <a:pt x="3864" y="480"/>
                </a:lnTo>
                <a:lnTo>
                  <a:pt x="3874" y="482"/>
                </a:lnTo>
                <a:lnTo>
                  <a:pt x="3884" y="484"/>
                </a:lnTo>
                <a:lnTo>
                  <a:pt x="3888" y="486"/>
                </a:lnTo>
                <a:lnTo>
                  <a:pt x="3894" y="490"/>
                </a:lnTo>
                <a:lnTo>
                  <a:pt x="3898" y="494"/>
                </a:lnTo>
                <a:lnTo>
                  <a:pt x="3904" y="496"/>
                </a:lnTo>
                <a:lnTo>
                  <a:pt x="3914" y="494"/>
                </a:lnTo>
                <a:lnTo>
                  <a:pt x="3924" y="494"/>
                </a:lnTo>
                <a:lnTo>
                  <a:pt x="3928" y="496"/>
                </a:lnTo>
                <a:lnTo>
                  <a:pt x="3934" y="500"/>
                </a:lnTo>
                <a:lnTo>
                  <a:pt x="3938" y="506"/>
                </a:lnTo>
                <a:lnTo>
                  <a:pt x="3944" y="510"/>
                </a:lnTo>
                <a:lnTo>
                  <a:pt x="3952" y="512"/>
                </a:lnTo>
                <a:lnTo>
                  <a:pt x="3960" y="514"/>
                </a:lnTo>
                <a:lnTo>
                  <a:pt x="3982" y="516"/>
                </a:lnTo>
                <a:lnTo>
                  <a:pt x="4012" y="516"/>
                </a:lnTo>
                <a:lnTo>
                  <a:pt x="4028" y="516"/>
                </a:lnTo>
                <a:lnTo>
                  <a:pt x="4046" y="512"/>
                </a:lnTo>
                <a:lnTo>
                  <a:pt x="4074" y="508"/>
                </a:lnTo>
                <a:lnTo>
                  <a:pt x="4086" y="506"/>
                </a:lnTo>
                <a:lnTo>
                  <a:pt x="4096" y="504"/>
                </a:lnTo>
                <a:lnTo>
                  <a:pt x="4104" y="506"/>
                </a:lnTo>
                <a:lnTo>
                  <a:pt x="4108" y="510"/>
                </a:lnTo>
                <a:lnTo>
                  <a:pt x="4110" y="516"/>
                </a:lnTo>
                <a:lnTo>
                  <a:pt x="4106" y="520"/>
                </a:lnTo>
                <a:lnTo>
                  <a:pt x="4098" y="522"/>
                </a:lnTo>
                <a:lnTo>
                  <a:pt x="4086" y="524"/>
                </a:lnTo>
                <a:lnTo>
                  <a:pt x="4010" y="528"/>
                </a:lnTo>
                <a:lnTo>
                  <a:pt x="3964" y="532"/>
                </a:lnTo>
                <a:lnTo>
                  <a:pt x="3942" y="536"/>
                </a:lnTo>
                <a:lnTo>
                  <a:pt x="3922" y="542"/>
                </a:lnTo>
                <a:lnTo>
                  <a:pt x="3908" y="546"/>
                </a:lnTo>
                <a:lnTo>
                  <a:pt x="3898" y="552"/>
                </a:lnTo>
                <a:lnTo>
                  <a:pt x="3898" y="554"/>
                </a:lnTo>
                <a:lnTo>
                  <a:pt x="3898" y="558"/>
                </a:lnTo>
                <a:lnTo>
                  <a:pt x="3900" y="560"/>
                </a:lnTo>
                <a:lnTo>
                  <a:pt x="3906" y="564"/>
                </a:lnTo>
                <a:lnTo>
                  <a:pt x="3920" y="570"/>
                </a:lnTo>
                <a:lnTo>
                  <a:pt x="3938" y="574"/>
                </a:lnTo>
                <a:lnTo>
                  <a:pt x="3976" y="580"/>
                </a:lnTo>
                <a:lnTo>
                  <a:pt x="3990" y="582"/>
                </a:lnTo>
                <a:lnTo>
                  <a:pt x="3998" y="586"/>
                </a:lnTo>
                <a:lnTo>
                  <a:pt x="3996" y="588"/>
                </a:lnTo>
                <a:lnTo>
                  <a:pt x="3984" y="594"/>
                </a:lnTo>
                <a:lnTo>
                  <a:pt x="3972" y="598"/>
                </a:lnTo>
                <a:lnTo>
                  <a:pt x="3968" y="600"/>
                </a:lnTo>
                <a:lnTo>
                  <a:pt x="3968" y="604"/>
                </a:lnTo>
                <a:lnTo>
                  <a:pt x="3970" y="606"/>
                </a:lnTo>
                <a:lnTo>
                  <a:pt x="3972" y="608"/>
                </a:lnTo>
                <a:lnTo>
                  <a:pt x="3982" y="614"/>
                </a:lnTo>
                <a:lnTo>
                  <a:pt x="4018" y="624"/>
                </a:lnTo>
                <a:lnTo>
                  <a:pt x="4062" y="636"/>
                </a:lnTo>
                <a:lnTo>
                  <a:pt x="4078" y="640"/>
                </a:lnTo>
                <a:lnTo>
                  <a:pt x="4084" y="642"/>
                </a:lnTo>
                <a:lnTo>
                  <a:pt x="4084" y="640"/>
                </a:lnTo>
                <a:lnTo>
                  <a:pt x="4084" y="638"/>
                </a:lnTo>
                <a:lnTo>
                  <a:pt x="4078" y="634"/>
                </a:lnTo>
                <a:lnTo>
                  <a:pt x="4066" y="622"/>
                </a:lnTo>
                <a:lnTo>
                  <a:pt x="4064" y="616"/>
                </a:lnTo>
                <a:lnTo>
                  <a:pt x="4064" y="614"/>
                </a:lnTo>
                <a:lnTo>
                  <a:pt x="4068" y="614"/>
                </a:lnTo>
                <a:lnTo>
                  <a:pt x="4074" y="612"/>
                </a:lnTo>
                <a:lnTo>
                  <a:pt x="4078" y="614"/>
                </a:lnTo>
                <a:lnTo>
                  <a:pt x="4084" y="618"/>
                </a:lnTo>
                <a:lnTo>
                  <a:pt x="4086" y="620"/>
                </a:lnTo>
                <a:lnTo>
                  <a:pt x="4090" y="622"/>
                </a:lnTo>
                <a:lnTo>
                  <a:pt x="4098" y="622"/>
                </a:lnTo>
                <a:lnTo>
                  <a:pt x="4108" y="618"/>
                </a:lnTo>
                <a:lnTo>
                  <a:pt x="4118" y="614"/>
                </a:lnTo>
                <a:lnTo>
                  <a:pt x="4122" y="614"/>
                </a:lnTo>
                <a:lnTo>
                  <a:pt x="4124" y="614"/>
                </a:lnTo>
                <a:lnTo>
                  <a:pt x="4122" y="618"/>
                </a:lnTo>
                <a:lnTo>
                  <a:pt x="4120" y="622"/>
                </a:lnTo>
                <a:lnTo>
                  <a:pt x="4122" y="626"/>
                </a:lnTo>
                <a:lnTo>
                  <a:pt x="4126" y="628"/>
                </a:lnTo>
                <a:lnTo>
                  <a:pt x="4136" y="630"/>
                </a:lnTo>
                <a:lnTo>
                  <a:pt x="4148" y="630"/>
                </a:lnTo>
                <a:lnTo>
                  <a:pt x="4156" y="626"/>
                </a:lnTo>
                <a:lnTo>
                  <a:pt x="4162" y="622"/>
                </a:lnTo>
                <a:lnTo>
                  <a:pt x="4166" y="618"/>
                </a:lnTo>
                <a:lnTo>
                  <a:pt x="4170" y="614"/>
                </a:lnTo>
                <a:lnTo>
                  <a:pt x="4174" y="612"/>
                </a:lnTo>
                <a:lnTo>
                  <a:pt x="4180" y="614"/>
                </a:lnTo>
                <a:lnTo>
                  <a:pt x="4188" y="620"/>
                </a:lnTo>
                <a:lnTo>
                  <a:pt x="4194" y="624"/>
                </a:lnTo>
                <a:lnTo>
                  <a:pt x="4200" y="624"/>
                </a:lnTo>
                <a:lnTo>
                  <a:pt x="4204" y="622"/>
                </a:lnTo>
                <a:lnTo>
                  <a:pt x="4208" y="618"/>
                </a:lnTo>
                <a:lnTo>
                  <a:pt x="4210" y="614"/>
                </a:lnTo>
                <a:lnTo>
                  <a:pt x="4216" y="610"/>
                </a:lnTo>
                <a:lnTo>
                  <a:pt x="4224" y="608"/>
                </a:lnTo>
                <a:lnTo>
                  <a:pt x="4232" y="612"/>
                </a:lnTo>
                <a:lnTo>
                  <a:pt x="4244" y="614"/>
                </a:lnTo>
                <a:lnTo>
                  <a:pt x="4258" y="616"/>
                </a:lnTo>
                <a:lnTo>
                  <a:pt x="4282" y="618"/>
                </a:lnTo>
                <a:lnTo>
                  <a:pt x="4304" y="620"/>
                </a:lnTo>
                <a:lnTo>
                  <a:pt x="4312" y="622"/>
                </a:lnTo>
                <a:lnTo>
                  <a:pt x="4320" y="626"/>
                </a:lnTo>
                <a:lnTo>
                  <a:pt x="4326" y="632"/>
                </a:lnTo>
                <a:lnTo>
                  <a:pt x="4330" y="634"/>
                </a:lnTo>
                <a:lnTo>
                  <a:pt x="4336" y="634"/>
                </a:lnTo>
                <a:lnTo>
                  <a:pt x="4342" y="632"/>
                </a:lnTo>
                <a:lnTo>
                  <a:pt x="4348" y="634"/>
                </a:lnTo>
                <a:lnTo>
                  <a:pt x="4358" y="636"/>
                </a:lnTo>
                <a:lnTo>
                  <a:pt x="4370" y="642"/>
                </a:lnTo>
                <a:lnTo>
                  <a:pt x="4396" y="654"/>
                </a:lnTo>
                <a:lnTo>
                  <a:pt x="4414" y="662"/>
                </a:lnTo>
                <a:lnTo>
                  <a:pt x="4420" y="666"/>
                </a:lnTo>
                <a:lnTo>
                  <a:pt x="4422" y="670"/>
                </a:lnTo>
                <a:lnTo>
                  <a:pt x="4420" y="674"/>
                </a:lnTo>
                <a:lnTo>
                  <a:pt x="4414" y="680"/>
                </a:lnTo>
                <a:lnTo>
                  <a:pt x="4412" y="682"/>
                </a:lnTo>
                <a:lnTo>
                  <a:pt x="4412" y="686"/>
                </a:lnTo>
                <a:lnTo>
                  <a:pt x="4414" y="690"/>
                </a:lnTo>
                <a:lnTo>
                  <a:pt x="4418" y="694"/>
                </a:lnTo>
                <a:lnTo>
                  <a:pt x="4432" y="704"/>
                </a:lnTo>
                <a:lnTo>
                  <a:pt x="4448" y="714"/>
                </a:lnTo>
                <a:lnTo>
                  <a:pt x="4480" y="734"/>
                </a:lnTo>
                <a:lnTo>
                  <a:pt x="4488" y="742"/>
                </a:lnTo>
                <a:lnTo>
                  <a:pt x="4490" y="746"/>
                </a:lnTo>
                <a:lnTo>
                  <a:pt x="4490" y="750"/>
                </a:lnTo>
                <a:lnTo>
                  <a:pt x="4486" y="756"/>
                </a:lnTo>
                <a:lnTo>
                  <a:pt x="4480" y="762"/>
                </a:lnTo>
                <a:lnTo>
                  <a:pt x="4468" y="776"/>
                </a:lnTo>
                <a:lnTo>
                  <a:pt x="4464" y="780"/>
                </a:lnTo>
                <a:lnTo>
                  <a:pt x="4464" y="782"/>
                </a:lnTo>
                <a:lnTo>
                  <a:pt x="4468" y="782"/>
                </a:lnTo>
                <a:lnTo>
                  <a:pt x="4478" y="780"/>
                </a:lnTo>
                <a:lnTo>
                  <a:pt x="4498" y="774"/>
                </a:lnTo>
                <a:lnTo>
                  <a:pt x="4502" y="774"/>
                </a:lnTo>
                <a:lnTo>
                  <a:pt x="4504" y="776"/>
                </a:lnTo>
                <a:lnTo>
                  <a:pt x="4508" y="782"/>
                </a:lnTo>
                <a:lnTo>
                  <a:pt x="4510" y="786"/>
                </a:lnTo>
                <a:lnTo>
                  <a:pt x="4516" y="790"/>
                </a:lnTo>
                <a:lnTo>
                  <a:pt x="4522" y="794"/>
                </a:lnTo>
                <a:lnTo>
                  <a:pt x="4522" y="798"/>
                </a:lnTo>
                <a:lnTo>
                  <a:pt x="4520" y="802"/>
                </a:lnTo>
                <a:lnTo>
                  <a:pt x="4518" y="806"/>
                </a:lnTo>
                <a:lnTo>
                  <a:pt x="4516" y="808"/>
                </a:lnTo>
                <a:lnTo>
                  <a:pt x="4516" y="812"/>
                </a:lnTo>
                <a:lnTo>
                  <a:pt x="4522" y="818"/>
                </a:lnTo>
                <a:lnTo>
                  <a:pt x="4534" y="822"/>
                </a:lnTo>
                <a:lnTo>
                  <a:pt x="4542" y="828"/>
                </a:lnTo>
                <a:lnTo>
                  <a:pt x="4544" y="832"/>
                </a:lnTo>
                <a:lnTo>
                  <a:pt x="4542" y="838"/>
                </a:lnTo>
                <a:lnTo>
                  <a:pt x="4538" y="844"/>
                </a:lnTo>
                <a:lnTo>
                  <a:pt x="4536" y="848"/>
                </a:lnTo>
                <a:lnTo>
                  <a:pt x="4534" y="854"/>
                </a:lnTo>
                <a:lnTo>
                  <a:pt x="4538" y="858"/>
                </a:lnTo>
                <a:lnTo>
                  <a:pt x="4546" y="860"/>
                </a:lnTo>
                <a:lnTo>
                  <a:pt x="4556" y="864"/>
                </a:lnTo>
                <a:lnTo>
                  <a:pt x="4564" y="870"/>
                </a:lnTo>
                <a:lnTo>
                  <a:pt x="4566" y="876"/>
                </a:lnTo>
                <a:lnTo>
                  <a:pt x="4566" y="882"/>
                </a:lnTo>
                <a:lnTo>
                  <a:pt x="4564" y="888"/>
                </a:lnTo>
                <a:lnTo>
                  <a:pt x="4560" y="894"/>
                </a:lnTo>
                <a:lnTo>
                  <a:pt x="4552" y="898"/>
                </a:lnTo>
                <a:lnTo>
                  <a:pt x="4544" y="900"/>
                </a:lnTo>
                <a:lnTo>
                  <a:pt x="4536" y="902"/>
                </a:lnTo>
                <a:lnTo>
                  <a:pt x="4530" y="906"/>
                </a:lnTo>
                <a:lnTo>
                  <a:pt x="4526" y="910"/>
                </a:lnTo>
                <a:lnTo>
                  <a:pt x="4526" y="916"/>
                </a:lnTo>
                <a:lnTo>
                  <a:pt x="4528" y="922"/>
                </a:lnTo>
                <a:lnTo>
                  <a:pt x="4530" y="928"/>
                </a:lnTo>
                <a:lnTo>
                  <a:pt x="4542" y="942"/>
                </a:lnTo>
                <a:lnTo>
                  <a:pt x="4544" y="948"/>
                </a:lnTo>
                <a:lnTo>
                  <a:pt x="4544" y="952"/>
                </a:lnTo>
                <a:lnTo>
                  <a:pt x="4540" y="954"/>
                </a:lnTo>
                <a:lnTo>
                  <a:pt x="4534" y="956"/>
                </a:lnTo>
                <a:lnTo>
                  <a:pt x="4522" y="958"/>
                </a:lnTo>
                <a:lnTo>
                  <a:pt x="4518" y="960"/>
                </a:lnTo>
                <a:lnTo>
                  <a:pt x="4520" y="962"/>
                </a:lnTo>
                <a:lnTo>
                  <a:pt x="4526" y="970"/>
                </a:lnTo>
                <a:lnTo>
                  <a:pt x="4532" y="980"/>
                </a:lnTo>
                <a:lnTo>
                  <a:pt x="4534" y="982"/>
                </a:lnTo>
                <a:lnTo>
                  <a:pt x="4538" y="986"/>
                </a:lnTo>
                <a:lnTo>
                  <a:pt x="4542" y="986"/>
                </a:lnTo>
                <a:lnTo>
                  <a:pt x="4546" y="984"/>
                </a:lnTo>
                <a:lnTo>
                  <a:pt x="4552" y="982"/>
                </a:lnTo>
                <a:lnTo>
                  <a:pt x="4560" y="984"/>
                </a:lnTo>
                <a:lnTo>
                  <a:pt x="4574" y="988"/>
                </a:lnTo>
                <a:lnTo>
                  <a:pt x="4580" y="988"/>
                </a:lnTo>
                <a:lnTo>
                  <a:pt x="4588" y="988"/>
                </a:lnTo>
                <a:lnTo>
                  <a:pt x="4594" y="984"/>
                </a:lnTo>
                <a:lnTo>
                  <a:pt x="4600" y="974"/>
                </a:lnTo>
                <a:lnTo>
                  <a:pt x="4604" y="970"/>
                </a:lnTo>
                <a:lnTo>
                  <a:pt x="4608" y="966"/>
                </a:lnTo>
                <a:lnTo>
                  <a:pt x="4616" y="960"/>
                </a:lnTo>
                <a:lnTo>
                  <a:pt x="4626" y="958"/>
                </a:lnTo>
                <a:lnTo>
                  <a:pt x="4636" y="960"/>
                </a:lnTo>
                <a:lnTo>
                  <a:pt x="4646" y="962"/>
                </a:lnTo>
                <a:lnTo>
                  <a:pt x="4652" y="966"/>
                </a:lnTo>
                <a:lnTo>
                  <a:pt x="4654" y="968"/>
                </a:lnTo>
                <a:lnTo>
                  <a:pt x="4654" y="970"/>
                </a:lnTo>
                <a:lnTo>
                  <a:pt x="4654" y="972"/>
                </a:lnTo>
                <a:lnTo>
                  <a:pt x="4648" y="976"/>
                </a:lnTo>
                <a:lnTo>
                  <a:pt x="4646" y="980"/>
                </a:lnTo>
                <a:lnTo>
                  <a:pt x="4650" y="982"/>
                </a:lnTo>
                <a:lnTo>
                  <a:pt x="4654" y="982"/>
                </a:lnTo>
                <a:lnTo>
                  <a:pt x="4660" y="984"/>
                </a:lnTo>
                <a:lnTo>
                  <a:pt x="4664" y="986"/>
                </a:lnTo>
                <a:lnTo>
                  <a:pt x="4666" y="988"/>
                </a:lnTo>
                <a:lnTo>
                  <a:pt x="4662" y="994"/>
                </a:lnTo>
                <a:lnTo>
                  <a:pt x="4660" y="996"/>
                </a:lnTo>
                <a:lnTo>
                  <a:pt x="4660" y="1000"/>
                </a:lnTo>
                <a:lnTo>
                  <a:pt x="4666" y="1006"/>
                </a:lnTo>
                <a:lnTo>
                  <a:pt x="4674" y="1010"/>
                </a:lnTo>
                <a:lnTo>
                  <a:pt x="4684" y="1014"/>
                </a:lnTo>
                <a:lnTo>
                  <a:pt x="4702" y="1020"/>
                </a:lnTo>
                <a:lnTo>
                  <a:pt x="4710" y="1022"/>
                </a:lnTo>
                <a:lnTo>
                  <a:pt x="4710" y="1024"/>
                </a:lnTo>
                <a:lnTo>
                  <a:pt x="4704" y="1032"/>
                </a:lnTo>
                <a:lnTo>
                  <a:pt x="4702" y="1038"/>
                </a:lnTo>
                <a:lnTo>
                  <a:pt x="4706" y="1044"/>
                </a:lnTo>
                <a:lnTo>
                  <a:pt x="4710" y="1050"/>
                </a:lnTo>
                <a:lnTo>
                  <a:pt x="4712" y="1052"/>
                </a:lnTo>
                <a:lnTo>
                  <a:pt x="4710" y="1054"/>
                </a:lnTo>
                <a:lnTo>
                  <a:pt x="4700" y="1052"/>
                </a:lnTo>
                <a:lnTo>
                  <a:pt x="4684" y="1048"/>
                </a:lnTo>
                <a:lnTo>
                  <a:pt x="4668" y="1040"/>
                </a:lnTo>
                <a:lnTo>
                  <a:pt x="4658" y="1034"/>
                </a:lnTo>
                <a:lnTo>
                  <a:pt x="4646" y="1032"/>
                </a:lnTo>
                <a:lnTo>
                  <a:pt x="4620" y="1028"/>
                </a:lnTo>
                <a:lnTo>
                  <a:pt x="4594" y="1028"/>
                </a:lnTo>
                <a:lnTo>
                  <a:pt x="4584" y="1030"/>
                </a:lnTo>
                <a:lnTo>
                  <a:pt x="4578" y="1032"/>
                </a:lnTo>
                <a:lnTo>
                  <a:pt x="4576" y="1036"/>
                </a:lnTo>
                <a:lnTo>
                  <a:pt x="4576" y="1040"/>
                </a:lnTo>
                <a:lnTo>
                  <a:pt x="4580" y="1044"/>
                </a:lnTo>
                <a:lnTo>
                  <a:pt x="4586" y="1048"/>
                </a:lnTo>
                <a:lnTo>
                  <a:pt x="4602" y="1056"/>
                </a:lnTo>
                <a:lnTo>
                  <a:pt x="4618" y="1058"/>
                </a:lnTo>
                <a:lnTo>
                  <a:pt x="4632" y="1060"/>
                </a:lnTo>
                <a:lnTo>
                  <a:pt x="4640" y="1064"/>
                </a:lnTo>
                <a:lnTo>
                  <a:pt x="4648" y="1068"/>
                </a:lnTo>
                <a:lnTo>
                  <a:pt x="4652" y="1072"/>
                </a:lnTo>
                <a:lnTo>
                  <a:pt x="4656" y="1076"/>
                </a:lnTo>
                <a:lnTo>
                  <a:pt x="4660" y="1082"/>
                </a:lnTo>
                <a:lnTo>
                  <a:pt x="4668" y="1084"/>
                </a:lnTo>
                <a:lnTo>
                  <a:pt x="4680" y="1086"/>
                </a:lnTo>
                <a:lnTo>
                  <a:pt x="4694" y="1088"/>
                </a:lnTo>
                <a:lnTo>
                  <a:pt x="4702" y="1092"/>
                </a:lnTo>
                <a:lnTo>
                  <a:pt x="4704" y="1094"/>
                </a:lnTo>
                <a:lnTo>
                  <a:pt x="4706" y="1098"/>
                </a:lnTo>
                <a:lnTo>
                  <a:pt x="4704" y="1106"/>
                </a:lnTo>
                <a:lnTo>
                  <a:pt x="4702" y="1112"/>
                </a:lnTo>
                <a:lnTo>
                  <a:pt x="4706" y="1118"/>
                </a:lnTo>
                <a:lnTo>
                  <a:pt x="4710" y="1120"/>
                </a:lnTo>
                <a:lnTo>
                  <a:pt x="4712" y="1120"/>
                </a:lnTo>
                <a:lnTo>
                  <a:pt x="4716" y="1116"/>
                </a:lnTo>
                <a:lnTo>
                  <a:pt x="4718" y="1112"/>
                </a:lnTo>
                <a:lnTo>
                  <a:pt x="4724" y="1106"/>
                </a:lnTo>
                <a:lnTo>
                  <a:pt x="4726" y="1108"/>
                </a:lnTo>
                <a:lnTo>
                  <a:pt x="4726" y="1114"/>
                </a:lnTo>
                <a:lnTo>
                  <a:pt x="4724" y="1120"/>
                </a:lnTo>
                <a:lnTo>
                  <a:pt x="4718" y="1134"/>
                </a:lnTo>
                <a:lnTo>
                  <a:pt x="4712" y="1148"/>
                </a:lnTo>
                <a:lnTo>
                  <a:pt x="4708" y="1162"/>
                </a:lnTo>
                <a:lnTo>
                  <a:pt x="4708" y="1170"/>
                </a:lnTo>
                <a:lnTo>
                  <a:pt x="4708" y="1174"/>
                </a:lnTo>
                <a:lnTo>
                  <a:pt x="4712" y="1182"/>
                </a:lnTo>
                <a:lnTo>
                  <a:pt x="4712" y="1184"/>
                </a:lnTo>
                <a:lnTo>
                  <a:pt x="4712" y="1186"/>
                </a:lnTo>
                <a:lnTo>
                  <a:pt x="4702" y="1192"/>
                </a:lnTo>
                <a:lnTo>
                  <a:pt x="4694" y="1194"/>
                </a:lnTo>
                <a:lnTo>
                  <a:pt x="4686" y="1194"/>
                </a:lnTo>
                <a:lnTo>
                  <a:pt x="4674" y="1192"/>
                </a:lnTo>
                <a:lnTo>
                  <a:pt x="4664" y="1190"/>
                </a:lnTo>
                <a:lnTo>
                  <a:pt x="4658" y="1190"/>
                </a:lnTo>
                <a:lnTo>
                  <a:pt x="4654" y="1192"/>
                </a:lnTo>
                <a:lnTo>
                  <a:pt x="4650" y="1196"/>
                </a:lnTo>
                <a:lnTo>
                  <a:pt x="4644" y="1198"/>
                </a:lnTo>
                <a:lnTo>
                  <a:pt x="4632" y="1200"/>
                </a:lnTo>
                <a:lnTo>
                  <a:pt x="4624" y="1204"/>
                </a:lnTo>
                <a:lnTo>
                  <a:pt x="4622" y="1206"/>
                </a:lnTo>
                <a:lnTo>
                  <a:pt x="4624" y="1208"/>
                </a:lnTo>
                <a:lnTo>
                  <a:pt x="4624" y="1212"/>
                </a:lnTo>
                <a:lnTo>
                  <a:pt x="4622" y="1214"/>
                </a:lnTo>
                <a:lnTo>
                  <a:pt x="4620" y="1214"/>
                </a:lnTo>
                <a:lnTo>
                  <a:pt x="4620" y="1216"/>
                </a:lnTo>
                <a:lnTo>
                  <a:pt x="4628" y="1220"/>
                </a:lnTo>
                <a:lnTo>
                  <a:pt x="4632" y="1224"/>
                </a:lnTo>
                <a:lnTo>
                  <a:pt x="4632" y="1228"/>
                </a:lnTo>
                <a:lnTo>
                  <a:pt x="4628" y="1232"/>
                </a:lnTo>
                <a:lnTo>
                  <a:pt x="4624" y="1234"/>
                </a:lnTo>
                <a:lnTo>
                  <a:pt x="4614" y="1240"/>
                </a:lnTo>
                <a:lnTo>
                  <a:pt x="4610" y="1242"/>
                </a:lnTo>
                <a:lnTo>
                  <a:pt x="4610" y="1246"/>
                </a:lnTo>
                <a:lnTo>
                  <a:pt x="4610" y="1252"/>
                </a:lnTo>
                <a:lnTo>
                  <a:pt x="4608" y="1260"/>
                </a:lnTo>
                <a:lnTo>
                  <a:pt x="4600" y="1284"/>
                </a:lnTo>
                <a:lnTo>
                  <a:pt x="4598" y="1290"/>
                </a:lnTo>
                <a:lnTo>
                  <a:pt x="4598" y="1296"/>
                </a:lnTo>
                <a:lnTo>
                  <a:pt x="4602" y="1300"/>
                </a:lnTo>
                <a:lnTo>
                  <a:pt x="4608" y="1302"/>
                </a:lnTo>
                <a:lnTo>
                  <a:pt x="4624" y="1304"/>
                </a:lnTo>
                <a:lnTo>
                  <a:pt x="4648" y="1304"/>
                </a:lnTo>
                <a:lnTo>
                  <a:pt x="4636" y="1312"/>
                </a:lnTo>
                <a:lnTo>
                  <a:pt x="4626" y="1320"/>
                </a:lnTo>
                <a:lnTo>
                  <a:pt x="4618" y="1328"/>
                </a:lnTo>
                <a:lnTo>
                  <a:pt x="4612" y="1336"/>
                </a:lnTo>
                <a:lnTo>
                  <a:pt x="4608" y="1346"/>
                </a:lnTo>
                <a:lnTo>
                  <a:pt x="4608" y="1354"/>
                </a:lnTo>
                <a:lnTo>
                  <a:pt x="4610" y="1360"/>
                </a:lnTo>
                <a:lnTo>
                  <a:pt x="4616" y="1368"/>
                </a:lnTo>
                <a:lnTo>
                  <a:pt x="4622" y="1372"/>
                </a:lnTo>
                <a:lnTo>
                  <a:pt x="4626" y="1376"/>
                </a:lnTo>
                <a:lnTo>
                  <a:pt x="4628" y="1384"/>
                </a:lnTo>
                <a:lnTo>
                  <a:pt x="4628" y="1388"/>
                </a:lnTo>
                <a:lnTo>
                  <a:pt x="4630" y="1390"/>
                </a:lnTo>
                <a:lnTo>
                  <a:pt x="4632" y="1392"/>
                </a:lnTo>
                <a:lnTo>
                  <a:pt x="4642" y="1394"/>
                </a:lnTo>
                <a:lnTo>
                  <a:pt x="4650" y="1398"/>
                </a:lnTo>
                <a:lnTo>
                  <a:pt x="4654" y="1404"/>
                </a:lnTo>
                <a:lnTo>
                  <a:pt x="4656" y="1410"/>
                </a:lnTo>
                <a:lnTo>
                  <a:pt x="4654" y="1414"/>
                </a:lnTo>
                <a:lnTo>
                  <a:pt x="4654" y="1418"/>
                </a:lnTo>
                <a:lnTo>
                  <a:pt x="4656" y="1422"/>
                </a:lnTo>
                <a:lnTo>
                  <a:pt x="4660" y="1424"/>
                </a:lnTo>
                <a:lnTo>
                  <a:pt x="4664" y="1430"/>
                </a:lnTo>
                <a:lnTo>
                  <a:pt x="4666" y="1434"/>
                </a:lnTo>
                <a:lnTo>
                  <a:pt x="4666" y="1440"/>
                </a:lnTo>
                <a:lnTo>
                  <a:pt x="4668" y="1448"/>
                </a:lnTo>
                <a:lnTo>
                  <a:pt x="4670" y="1450"/>
                </a:lnTo>
                <a:lnTo>
                  <a:pt x="4672" y="1452"/>
                </a:lnTo>
                <a:lnTo>
                  <a:pt x="4672" y="1462"/>
                </a:lnTo>
                <a:lnTo>
                  <a:pt x="4672" y="1476"/>
                </a:lnTo>
                <a:lnTo>
                  <a:pt x="4674" y="1482"/>
                </a:lnTo>
                <a:lnTo>
                  <a:pt x="4676" y="1486"/>
                </a:lnTo>
                <a:lnTo>
                  <a:pt x="4678" y="1488"/>
                </a:lnTo>
                <a:lnTo>
                  <a:pt x="4684" y="1486"/>
                </a:lnTo>
                <a:lnTo>
                  <a:pt x="4690" y="1480"/>
                </a:lnTo>
                <a:lnTo>
                  <a:pt x="4696" y="1470"/>
                </a:lnTo>
                <a:lnTo>
                  <a:pt x="4706" y="1454"/>
                </a:lnTo>
                <a:lnTo>
                  <a:pt x="4708" y="1454"/>
                </a:lnTo>
                <a:lnTo>
                  <a:pt x="4710" y="1456"/>
                </a:lnTo>
                <a:lnTo>
                  <a:pt x="4712" y="1462"/>
                </a:lnTo>
                <a:lnTo>
                  <a:pt x="4714" y="1462"/>
                </a:lnTo>
                <a:lnTo>
                  <a:pt x="4720" y="1460"/>
                </a:lnTo>
                <a:lnTo>
                  <a:pt x="4726" y="1456"/>
                </a:lnTo>
                <a:lnTo>
                  <a:pt x="4732" y="1454"/>
                </a:lnTo>
                <a:lnTo>
                  <a:pt x="4738" y="1452"/>
                </a:lnTo>
                <a:lnTo>
                  <a:pt x="4742" y="1452"/>
                </a:lnTo>
                <a:lnTo>
                  <a:pt x="4748" y="1454"/>
                </a:lnTo>
                <a:lnTo>
                  <a:pt x="4752" y="1458"/>
                </a:lnTo>
                <a:lnTo>
                  <a:pt x="4756" y="1462"/>
                </a:lnTo>
                <a:lnTo>
                  <a:pt x="4758" y="1468"/>
                </a:lnTo>
                <a:lnTo>
                  <a:pt x="4758" y="1474"/>
                </a:lnTo>
                <a:lnTo>
                  <a:pt x="4756" y="1474"/>
                </a:lnTo>
                <a:lnTo>
                  <a:pt x="4748" y="1470"/>
                </a:lnTo>
                <a:lnTo>
                  <a:pt x="4738" y="1462"/>
                </a:lnTo>
                <a:lnTo>
                  <a:pt x="4732" y="1462"/>
                </a:lnTo>
                <a:lnTo>
                  <a:pt x="4728" y="1462"/>
                </a:lnTo>
                <a:lnTo>
                  <a:pt x="4724" y="1466"/>
                </a:lnTo>
                <a:lnTo>
                  <a:pt x="4724" y="1468"/>
                </a:lnTo>
                <a:lnTo>
                  <a:pt x="4732" y="1472"/>
                </a:lnTo>
                <a:lnTo>
                  <a:pt x="4734" y="1474"/>
                </a:lnTo>
                <a:lnTo>
                  <a:pt x="4736" y="1476"/>
                </a:lnTo>
                <a:lnTo>
                  <a:pt x="4734" y="1476"/>
                </a:lnTo>
                <a:lnTo>
                  <a:pt x="4726" y="1478"/>
                </a:lnTo>
                <a:lnTo>
                  <a:pt x="4720" y="1478"/>
                </a:lnTo>
                <a:lnTo>
                  <a:pt x="4716" y="1480"/>
                </a:lnTo>
                <a:lnTo>
                  <a:pt x="4716" y="1482"/>
                </a:lnTo>
                <a:lnTo>
                  <a:pt x="4716" y="1484"/>
                </a:lnTo>
                <a:lnTo>
                  <a:pt x="4718" y="1486"/>
                </a:lnTo>
                <a:lnTo>
                  <a:pt x="4716" y="1488"/>
                </a:lnTo>
                <a:lnTo>
                  <a:pt x="4712" y="1490"/>
                </a:lnTo>
                <a:lnTo>
                  <a:pt x="4704" y="1492"/>
                </a:lnTo>
                <a:lnTo>
                  <a:pt x="4692" y="1494"/>
                </a:lnTo>
                <a:lnTo>
                  <a:pt x="4694" y="1496"/>
                </a:lnTo>
                <a:lnTo>
                  <a:pt x="4696" y="1500"/>
                </a:lnTo>
                <a:lnTo>
                  <a:pt x="4696" y="1502"/>
                </a:lnTo>
                <a:lnTo>
                  <a:pt x="4694" y="1502"/>
                </a:lnTo>
                <a:lnTo>
                  <a:pt x="4692" y="1504"/>
                </a:lnTo>
                <a:lnTo>
                  <a:pt x="4690" y="1506"/>
                </a:lnTo>
                <a:lnTo>
                  <a:pt x="4694" y="1510"/>
                </a:lnTo>
                <a:lnTo>
                  <a:pt x="4696" y="1512"/>
                </a:lnTo>
                <a:lnTo>
                  <a:pt x="4698" y="1516"/>
                </a:lnTo>
                <a:lnTo>
                  <a:pt x="4696" y="1518"/>
                </a:lnTo>
                <a:lnTo>
                  <a:pt x="4696" y="1522"/>
                </a:lnTo>
                <a:lnTo>
                  <a:pt x="4696" y="1524"/>
                </a:lnTo>
                <a:lnTo>
                  <a:pt x="4698" y="1532"/>
                </a:lnTo>
                <a:lnTo>
                  <a:pt x="4710" y="1552"/>
                </a:lnTo>
                <a:lnTo>
                  <a:pt x="4714" y="1556"/>
                </a:lnTo>
                <a:lnTo>
                  <a:pt x="4718" y="1560"/>
                </a:lnTo>
                <a:lnTo>
                  <a:pt x="4728" y="1562"/>
                </a:lnTo>
                <a:lnTo>
                  <a:pt x="4734" y="1562"/>
                </a:lnTo>
                <a:lnTo>
                  <a:pt x="4734" y="1564"/>
                </a:lnTo>
                <a:lnTo>
                  <a:pt x="4734" y="1568"/>
                </a:lnTo>
                <a:lnTo>
                  <a:pt x="4734" y="1572"/>
                </a:lnTo>
                <a:lnTo>
                  <a:pt x="4734" y="1574"/>
                </a:lnTo>
                <a:lnTo>
                  <a:pt x="4738" y="1582"/>
                </a:lnTo>
                <a:lnTo>
                  <a:pt x="4742" y="1588"/>
                </a:lnTo>
                <a:lnTo>
                  <a:pt x="4744" y="1592"/>
                </a:lnTo>
                <a:lnTo>
                  <a:pt x="4744" y="1596"/>
                </a:lnTo>
                <a:lnTo>
                  <a:pt x="4744" y="1604"/>
                </a:lnTo>
                <a:lnTo>
                  <a:pt x="4746" y="1610"/>
                </a:lnTo>
                <a:lnTo>
                  <a:pt x="4752" y="1614"/>
                </a:lnTo>
                <a:lnTo>
                  <a:pt x="4762" y="1618"/>
                </a:lnTo>
                <a:lnTo>
                  <a:pt x="4768" y="1622"/>
                </a:lnTo>
                <a:lnTo>
                  <a:pt x="4770" y="1626"/>
                </a:lnTo>
                <a:lnTo>
                  <a:pt x="4772" y="1630"/>
                </a:lnTo>
                <a:lnTo>
                  <a:pt x="4770" y="1634"/>
                </a:lnTo>
                <a:lnTo>
                  <a:pt x="4770" y="1638"/>
                </a:lnTo>
                <a:lnTo>
                  <a:pt x="4770" y="1640"/>
                </a:lnTo>
                <a:lnTo>
                  <a:pt x="4774" y="1638"/>
                </a:lnTo>
                <a:lnTo>
                  <a:pt x="4778" y="1638"/>
                </a:lnTo>
                <a:lnTo>
                  <a:pt x="4780" y="1640"/>
                </a:lnTo>
                <a:lnTo>
                  <a:pt x="4782" y="1646"/>
                </a:lnTo>
                <a:lnTo>
                  <a:pt x="4782" y="1654"/>
                </a:lnTo>
                <a:lnTo>
                  <a:pt x="4784" y="1656"/>
                </a:lnTo>
                <a:lnTo>
                  <a:pt x="4786" y="1656"/>
                </a:lnTo>
                <a:lnTo>
                  <a:pt x="4792" y="1654"/>
                </a:lnTo>
                <a:lnTo>
                  <a:pt x="4794" y="1656"/>
                </a:lnTo>
                <a:lnTo>
                  <a:pt x="4794" y="1662"/>
                </a:lnTo>
                <a:lnTo>
                  <a:pt x="4790" y="1670"/>
                </a:lnTo>
                <a:lnTo>
                  <a:pt x="4790" y="1676"/>
                </a:lnTo>
                <a:lnTo>
                  <a:pt x="4792" y="1678"/>
                </a:lnTo>
                <a:lnTo>
                  <a:pt x="4802" y="1678"/>
                </a:lnTo>
                <a:lnTo>
                  <a:pt x="4814" y="1678"/>
                </a:lnTo>
                <a:lnTo>
                  <a:pt x="4816" y="1680"/>
                </a:lnTo>
                <a:lnTo>
                  <a:pt x="4816" y="1684"/>
                </a:lnTo>
                <a:lnTo>
                  <a:pt x="4814" y="1688"/>
                </a:lnTo>
                <a:lnTo>
                  <a:pt x="4814" y="1692"/>
                </a:lnTo>
                <a:lnTo>
                  <a:pt x="4816" y="1694"/>
                </a:lnTo>
                <a:lnTo>
                  <a:pt x="4820" y="1694"/>
                </a:lnTo>
                <a:lnTo>
                  <a:pt x="4826" y="1694"/>
                </a:lnTo>
                <a:lnTo>
                  <a:pt x="4830" y="1696"/>
                </a:lnTo>
                <a:lnTo>
                  <a:pt x="4832" y="1698"/>
                </a:lnTo>
                <a:lnTo>
                  <a:pt x="4834" y="1700"/>
                </a:lnTo>
                <a:lnTo>
                  <a:pt x="4832" y="1702"/>
                </a:lnTo>
                <a:lnTo>
                  <a:pt x="4830" y="1702"/>
                </a:lnTo>
                <a:lnTo>
                  <a:pt x="4826" y="1704"/>
                </a:lnTo>
                <a:lnTo>
                  <a:pt x="4826" y="1708"/>
                </a:lnTo>
                <a:lnTo>
                  <a:pt x="4826" y="1712"/>
                </a:lnTo>
                <a:lnTo>
                  <a:pt x="4830" y="1720"/>
                </a:lnTo>
                <a:lnTo>
                  <a:pt x="4832" y="1724"/>
                </a:lnTo>
                <a:lnTo>
                  <a:pt x="4836" y="1726"/>
                </a:lnTo>
                <a:lnTo>
                  <a:pt x="4840" y="1726"/>
                </a:lnTo>
                <a:lnTo>
                  <a:pt x="4846" y="1726"/>
                </a:lnTo>
                <a:lnTo>
                  <a:pt x="4852" y="1722"/>
                </a:lnTo>
                <a:lnTo>
                  <a:pt x="4860" y="1716"/>
                </a:lnTo>
                <a:lnTo>
                  <a:pt x="4868" y="1712"/>
                </a:lnTo>
                <a:lnTo>
                  <a:pt x="4874" y="1710"/>
                </a:lnTo>
                <a:lnTo>
                  <a:pt x="4878" y="1712"/>
                </a:lnTo>
                <a:lnTo>
                  <a:pt x="4880" y="1712"/>
                </a:lnTo>
                <a:lnTo>
                  <a:pt x="4884" y="1716"/>
                </a:lnTo>
                <a:lnTo>
                  <a:pt x="4886" y="1716"/>
                </a:lnTo>
                <a:lnTo>
                  <a:pt x="4890" y="1712"/>
                </a:lnTo>
                <a:lnTo>
                  <a:pt x="4900" y="1706"/>
                </a:lnTo>
                <a:lnTo>
                  <a:pt x="4910" y="1702"/>
                </a:lnTo>
                <a:lnTo>
                  <a:pt x="4916" y="1698"/>
                </a:lnTo>
                <a:lnTo>
                  <a:pt x="4918" y="1696"/>
                </a:lnTo>
                <a:lnTo>
                  <a:pt x="4918" y="1692"/>
                </a:lnTo>
                <a:lnTo>
                  <a:pt x="4918" y="1688"/>
                </a:lnTo>
                <a:lnTo>
                  <a:pt x="4918" y="1686"/>
                </a:lnTo>
                <a:lnTo>
                  <a:pt x="4920" y="1686"/>
                </a:lnTo>
                <a:lnTo>
                  <a:pt x="4924" y="1690"/>
                </a:lnTo>
                <a:lnTo>
                  <a:pt x="4926" y="1694"/>
                </a:lnTo>
                <a:lnTo>
                  <a:pt x="4926" y="1698"/>
                </a:lnTo>
                <a:lnTo>
                  <a:pt x="4926" y="1704"/>
                </a:lnTo>
                <a:lnTo>
                  <a:pt x="4922" y="1708"/>
                </a:lnTo>
                <a:lnTo>
                  <a:pt x="4914" y="1718"/>
                </a:lnTo>
                <a:lnTo>
                  <a:pt x="4912" y="1724"/>
                </a:lnTo>
                <a:lnTo>
                  <a:pt x="4912" y="1728"/>
                </a:lnTo>
                <a:lnTo>
                  <a:pt x="4916" y="1730"/>
                </a:lnTo>
                <a:lnTo>
                  <a:pt x="4926" y="1736"/>
                </a:lnTo>
                <a:lnTo>
                  <a:pt x="4936" y="1738"/>
                </a:lnTo>
                <a:lnTo>
                  <a:pt x="4944" y="1738"/>
                </a:lnTo>
                <a:lnTo>
                  <a:pt x="4956" y="1738"/>
                </a:lnTo>
                <a:lnTo>
                  <a:pt x="4962" y="1738"/>
                </a:lnTo>
                <a:lnTo>
                  <a:pt x="4962" y="1740"/>
                </a:lnTo>
                <a:lnTo>
                  <a:pt x="4962" y="1744"/>
                </a:lnTo>
                <a:lnTo>
                  <a:pt x="4956" y="1752"/>
                </a:lnTo>
                <a:lnTo>
                  <a:pt x="4954" y="1758"/>
                </a:lnTo>
                <a:lnTo>
                  <a:pt x="4952" y="1762"/>
                </a:lnTo>
                <a:lnTo>
                  <a:pt x="4954" y="1766"/>
                </a:lnTo>
                <a:lnTo>
                  <a:pt x="4958" y="1768"/>
                </a:lnTo>
                <a:lnTo>
                  <a:pt x="4964" y="1770"/>
                </a:lnTo>
                <a:lnTo>
                  <a:pt x="4968" y="1770"/>
                </a:lnTo>
                <a:lnTo>
                  <a:pt x="4974" y="1768"/>
                </a:lnTo>
                <a:lnTo>
                  <a:pt x="4978" y="1766"/>
                </a:lnTo>
                <a:lnTo>
                  <a:pt x="4988" y="1758"/>
                </a:lnTo>
                <a:lnTo>
                  <a:pt x="4990" y="1758"/>
                </a:lnTo>
                <a:lnTo>
                  <a:pt x="4992" y="1758"/>
                </a:lnTo>
                <a:lnTo>
                  <a:pt x="4998" y="1762"/>
                </a:lnTo>
                <a:lnTo>
                  <a:pt x="5006" y="1770"/>
                </a:lnTo>
                <a:lnTo>
                  <a:pt x="5018" y="1776"/>
                </a:lnTo>
                <a:lnTo>
                  <a:pt x="5022" y="1776"/>
                </a:lnTo>
                <a:lnTo>
                  <a:pt x="5026" y="1774"/>
                </a:lnTo>
                <a:lnTo>
                  <a:pt x="5030" y="1772"/>
                </a:lnTo>
                <a:lnTo>
                  <a:pt x="5034" y="1768"/>
                </a:lnTo>
                <a:lnTo>
                  <a:pt x="5036" y="1762"/>
                </a:lnTo>
                <a:lnTo>
                  <a:pt x="5036" y="1756"/>
                </a:lnTo>
                <a:lnTo>
                  <a:pt x="5036" y="1748"/>
                </a:lnTo>
                <a:lnTo>
                  <a:pt x="5034" y="1746"/>
                </a:lnTo>
                <a:lnTo>
                  <a:pt x="5030" y="1744"/>
                </a:lnTo>
                <a:lnTo>
                  <a:pt x="5028" y="1744"/>
                </a:lnTo>
                <a:lnTo>
                  <a:pt x="5022" y="1746"/>
                </a:lnTo>
                <a:lnTo>
                  <a:pt x="5024" y="1742"/>
                </a:lnTo>
                <a:lnTo>
                  <a:pt x="5026" y="1740"/>
                </a:lnTo>
                <a:lnTo>
                  <a:pt x="5030" y="1736"/>
                </a:lnTo>
                <a:lnTo>
                  <a:pt x="5040" y="1732"/>
                </a:lnTo>
                <a:lnTo>
                  <a:pt x="5044" y="1730"/>
                </a:lnTo>
                <a:lnTo>
                  <a:pt x="5048" y="1728"/>
                </a:lnTo>
                <a:lnTo>
                  <a:pt x="5048" y="1724"/>
                </a:lnTo>
                <a:lnTo>
                  <a:pt x="5048" y="1718"/>
                </a:lnTo>
                <a:lnTo>
                  <a:pt x="5048" y="1710"/>
                </a:lnTo>
                <a:lnTo>
                  <a:pt x="5050" y="1700"/>
                </a:lnTo>
                <a:lnTo>
                  <a:pt x="5060" y="1676"/>
                </a:lnTo>
                <a:lnTo>
                  <a:pt x="5070" y="1650"/>
                </a:lnTo>
                <a:lnTo>
                  <a:pt x="5072" y="1640"/>
                </a:lnTo>
                <a:lnTo>
                  <a:pt x="5072" y="1630"/>
                </a:lnTo>
                <a:lnTo>
                  <a:pt x="5070" y="1624"/>
                </a:lnTo>
                <a:lnTo>
                  <a:pt x="5068" y="1622"/>
                </a:lnTo>
                <a:lnTo>
                  <a:pt x="5066" y="1620"/>
                </a:lnTo>
                <a:lnTo>
                  <a:pt x="5064" y="1622"/>
                </a:lnTo>
                <a:lnTo>
                  <a:pt x="5062" y="1622"/>
                </a:lnTo>
                <a:lnTo>
                  <a:pt x="5060" y="1622"/>
                </a:lnTo>
                <a:lnTo>
                  <a:pt x="5056" y="1620"/>
                </a:lnTo>
                <a:lnTo>
                  <a:pt x="5050" y="1614"/>
                </a:lnTo>
                <a:lnTo>
                  <a:pt x="5048" y="1610"/>
                </a:lnTo>
                <a:lnTo>
                  <a:pt x="5048" y="1608"/>
                </a:lnTo>
                <a:lnTo>
                  <a:pt x="5058" y="1612"/>
                </a:lnTo>
                <a:lnTo>
                  <a:pt x="5068" y="1614"/>
                </a:lnTo>
                <a:lnTo>
                  <a:pt x="5072" y="1614"/>
                </a:lnTo>
                <a:lnTo>
                  <a:pt x="5072" y="1610"/>
                </a:lnTo>
                <a:lnTo>
                  <a:pt x="5070" y="1604"/>
                </a:lnTo>
                <a:lnTo>
                  <a:pt x="5068" y="1602"/>
                </a:lnTo>
                <a:lnTo>
                  <a:pt x="5062" y="1598"/>
                </a:lnTo>
                <a:lnTo>
                  <a:pt x="5056" y="1596"/>
                </a:lnTo>
                <a:lnTo>
                  <a:pt x="5056" y="1594"/>
                </a:lnTo>
                <a:lnTo>
                  <a:pt x="5058" y="1592"/>
                </a:lnTo>
                <a:lnTo>
                  <a:pt x="5062" y="1588"/>
                </a:lnTo>
                <a:lnTo>
                  <a:pt x="5066" y="1586"/>
                </a:lnTo>
                <a:lnTo>
                  <a:pt x="5080" y="1584"/>
                </a:lnTo>
                <a:lnTo>
                  <a:pt x="5086" y="1582"/>
                </a:lnTo>
                <a:lnTo>
                  <a:pt x="5092" y="1578"/>
                </a:lnTo>
                <a:lnTo>
                  <a:pt x="5096" y="1574"/>
                </a:lnTo>
                <a:lnTo>
                  <a:pt x="5098" y="1566"/>
                </a:lnTo>
                <a:lnTo>
                  <a:pt x="5100" y="1560"/>
                </a:lnTo>
                <a:lnTo>
                  <a:pt x="5102" y="1556"/>
                </a:lnTo>
                <a:lnTo>
                  <a:pt x="5106" y="1556"/>
                </a:lnTo>
                <a:lnTo>
                  <a:pt x="5108" y="1558"/>
                </a:lnTo>
                <a:lnTo>
                  <a:pt x="5114" y="1562"/>
                </a:lnTo>
                <a:lnTo>
                  <a:pt x="5116" y="1560"/>
                </a:lnTo>
                <a:lnTo>
                  <a:pt x="5116" y="1556"/>
                </a:lnTo>
                <a:lnTo>
                  <a:pt x="5118" y="1550"/>
                </a:lnTo>
                <a:lnTo>
                  <a:pt x="5122" y="1544"/>
                </a:lnTo>
                <a:lnTo>
                  <a:pt x="5130" y="1538"/>
                </a:lnTo>
                <a:lnTo>
                  <a:pt x="5136" y="1530"/>
                </a:lnTo>
                <a:lnTo>
                  <a:pt x="5138" y="1526"/>
                </a:lnTo>
                <a:lnTo>
                  <a:pt x="5138" y="1520"/>
                </a:lnTo>
                <a:lnTo>
                  <a:pt x="5136" y="1508"/>
                </a:lnTo>
                <a:lnTo>
                  <a:pt x="5138" y="1502"/>
                </a:lnTo>
                <a:lnTo>
                  <a:pt x="5136" y="1500"/>
                </a:lnTo>
                <a:lnTo>
                  <a:pt x="5134" y="1498"/>
                </a:lnTo>
                <a:lnTo>
                  <a:pt x="5122" y="1498"/>
                </a:lnTo>
                <a:lnTo>
                  <a:pt x="5114" y="1496"/>
                </a:lnTo>
                <a:lnTo>
                  <a:pt x="5106" y="1494"/>
                </a:lnTo>
                <a:lnTo>
                  <a:pt x="5102" y="1492"/>
                </a:lnTo>
                <a:lnTo>
                  <a:pt x="5098" y="1488"/>
                </a:lnTo>
                <a:lnTo>
                  <a:pt x="5098" y="1486"/>
                </a:lnTo>
                <a:lnTo>
                  <a:pt x="5098" y="1484"/>
                </a:lnTo>
                <a:lnTo>
                  <a:pt x="5100" y="1484"/>
                </a:lnTo>
                <a:lnTo>
                  <a:pt x="5106" y="1484"/>
                </a:lnTo>
                <a:lnTo>
                  <a:pt x="5112" y="1486"/>
                </a:lnTo>
                <a:lnTo>
                  <a:pt x="5116" y="1486"/>
                </a:lnTo>
                <a:lnTo>
                  <a:pt x="5124" y="1484"/>
                </a:lnTo>
                <a:lnTo>
                  <a:pt x="5130" y="1482"/>
                </a:lnTo>
                <a:lnTo>
                  <a:pt x="5136" y="1482"/>
                </a:lnTo>
                <a:lnTo>
                  <a:pt x="5144" y="1482"/>
                </a:lnTo>
                <a:lnTo>
                  <a:pt x="5144" y="1480"/>
                </a:lnTo>
                <a:lnTo>
                  <a:pt x="5144" y="1478"/>
                </a:lnTo>
                <a:lnTo>
                  <a:pt x="5140" y="1468"/>
                </a:lnTo>
                <a:lnTo>
                  <a:pt x="5126" y="1454"/>
                </a:lnTo>
                <a:lnTo>
                  <a:pt x="5120" y="1446"/>
                </a:lnTo>
                <a:lnTo>
                  <a:pt x="5116" y="1440"/>
                </a:lnTo>
                <a:lnTo>
                  <a:pt x="5118" y="1436"/>
                </a:lnTo>
                <a:lnTo>
                  <a:pt x="5120" y="1434"/>
                </a:lnTo>
                <a:lnTo>
                  <a:pt x="5126" y="1434"/>
                </a:lnTo>
                <a:lnTo>
                  <a:pt x="5132" y="1434"/>
                </a:lnTo>
                <a:lnTo>
                  <a:pt x="5146" y="1436"/>
                </a:lnTo>
                <a:lnTo>
                  <a:pt x="5152" y="1438"/>
                </a:lnTo>
                <a:lnTo>
                  <a:pt x="5158" y="1436"/>
                </a:lnTo>
                <a:lnTo>
                  <a:pt x="5160" y="1432"/>
                </a:lnTo>
                <a:lnTo>
                  <a:pt x="5164" y="1428"/>
                </a:lnTo>
                <a:lnTo>
                  <a:pt x="5168" y="1420"/>
                </a:lnTo>
                <a:lnTo>
                  <a:pt x="5170" y="1418"/>
                </a:lnTo>
                <a:lnTo>
                  <a:pt x="5174" y="1418"/>
                </a:lnTo>
                <a:lnTo>
                  <a:pt x="5180" y="1418"/>
                </a:lnTo>
                <a:lnTo>
                  <a:pt x="5184" y="1418"/>
                </a:lnTo>
                <a:lnTo>
                  <a:pt x="5180" y="1414"/>
                </a:lnTo>
                <a:lnTo>
                  <a:pt x="5170" y="1408"/>
                </a:lnTo>
                <a:lnTo>
                  <a:pt x="5162" y="1404"/>
                </a:lnTo>
                <a:lnTo>
                  <a:pt x="5162" y="1402"/>
                </a:lnTo>
                <a:lnTo>
                  <a:pt x="5168" y="1402"/>
                </a:lnTo>
                <a:lnTo>
                  <a:pt x="5174" y="1398"/>
                </a:lnTo>
                <a:lnTo>
                  <a:pt x="5180" y="1396"/>
                </a:lnTo>
                <a:lnTo>
                  <a:pt x="5188" y="1398"/>
                </a:lnTo>
                <a:lnTo>
                  <a:pt x="5196" y="1398"/>
                </a:lnTo>
                <a:lnTo>
                  <a:pt x="5208" y="1398"/>
                </a:lnTo>
                <a:lnTo>
                  <a:pt x="5218" y="1396"/>
                </a:lnTo>
                <a:lnTo>
                  <a:pt x="5224" y="1396"/>
                </a:lnTo>
                <a:lnTo>
                  <a:pt x="5230" y="1394"/>
                </a:lnTo>
                <a:lnTo>
                  <a:pt x="5234" y="1390"/>
                </a:lnTo>
                <a:lnTo>
                  <a:pt x="5236" y="1386"/>
                </a:lnTo>
                <a:lnTo>
                  <a:pt x="5234" y="1382"/>
                </a:lnTo>
                <a:lnTo>
                  <a:pt x="5234" y="1380"/>
                </a:lnTo>
                <a:lnTo>
                  <a:pt x="5238" y="1376"/>
                </a:lnTo>
                <a:lnTo>
                  <a:pt x="5242" y="1370"/>
                </a:lnTo>
                <a:lnTo>
                  <a:pt x="5240" y="1368"/>
                </a:lnTo>
                <a:lnTo>
                  <a:pt x="5240" y="1364"/>
                </a:lnTo>
                <a:lnTo>
                  <a:pt x="5248" y="1358"/>
                </a:lnTo>
                <a:lnTo>
                  <a:pt x="5250" y="1356"/>
                </a:lnTo>
                <a:lnTo>
                  <a:pt x="5252" y="1354"/>
                </a:lnTo>
                <a:lnTo>
                  <a:pt x="5250" y="1350"/>
                </a:lnTo>
                <a:lnTo>
                  <a:pt x="5248" y="1348"/>
                </a:lnTo>
                <a:lnTo>
                  <a:pt x="5242" y="1346"/>
                </a:lnTo>
                <a:lnTo>
                  <a:pt x="5242" y="1344"/>
                </a:lnTo>
                <a:lnTo>
                  <a:pt x="5242" y="1342"/>
                </a:lnTo>
                <a:lnTo>
                  <a:pt x="5246" y="1342"/>
                </a:lnTo>
                <a:lnTo>
                  <a:pt x="5250" y="1342"/>
                </a:lnTo>
                <a:lnTo>
                  <a:pt x="5256" y="1344"/>
                </a:lnTo>
                <a:lnTo>
                  <a:pt x="5266" y="1344"/>
                </a:lnTo>
                <a:lnTo>
                  <a:pt x="5272" y="1344"/>
                </a:lnTo>
                <a:lnTo>
                  <a:pt x="5270" y="1346"/>
                </a:lnTo>
                <a:lnTo>
                  <a:pt x="5264" y="1352"/>
                </a:lnTo>
                <a:lnTo>
                  <a:pt x="5260" y="1356"/>
                </a:lnTo>
                <a:lnTo>
                  <a:pt x="5258" y="1360"/>
                </a:lnTo>
                <a:lnTo>
                  <a:pt x="5254" y="1364"/>
                </a:lnTo>
                <a:lnTo>
                  <a:pt x="5250" y="1366"/>
                </a:lnTo>
                <a:lnTo>
                  <a:pt x="5248" y="1372"/>
                </a:lnTo>
                <a:lnTo>
                  <a:pt x="5248" y="1378"/>
                </a:lnTo>
                <a:lnTo>
                  <a:pt x="5244" y="1386"/>
                </a:lnTo>
                <a:lnTo>
                  <a:pt x="5242" y="1392"/>
                </a:lnTo>
                <a:lnTo>
                  <a:pt x="5242" y="1394"/>
                </a:lnTo>
                <a:lnTo>
                  <a:pt x="5244" y="1396"/>
                </a:lnTo>
                <a:lnTo>
                  <a:pt x="5250" y="1398"/>
                </a:lnTo>
                <a:lnTo>
                  <a:pt x="5256" y="1398"/>
                </a:lnTo>
                <a:lnTo>
                  <a:pt x="5262" y="1396"/>
                </a:lnTo>
                <a:lnTo>
                  <a:pt x="5268" y="1390"/>
                </a:lnTo>
                <a:lnTo>
                  <a:pt x="5276" y="1380"/>
                </a:lnTo>
                <a:lnTo>
                  <a:pt x="5280" y="1380"/>
                </a:lnTo>
                <a:lnTo>
                  <a:pt x="5284" y="1382"/>
                </a:lnTo>
                <a:lnTo>
                  <a:pt x="5290" y="1386"/>
                </a:lnTo>
                <a:lnTo>
                  <a:pt x="5292" y="1384"/>
                </a:lnTo>
                <a:lnTo>
                  <a:pt x="5292" y="1380"/>
                </a:lnTo>
                <a:lnTo>
                  <a:pt x="5290" y="1378"/>
                </a:lnTo>
                <a:lnTo>
                  <a:pt x="5288" y="1376"/>
                </a:lnTo>
                <a:lnTo>
                  <a:pt x="5290" y="1374"/>
                </a:lnTo>
                <a:lnTo>
                  <a:pt x="5294" y="1370"/>
                </a:lnTo>
                <a:lnTo>
                  <a:pt x="5300" y="1370"/>
                </a:lnTo>
                <a:lnTo>
                  <a:pt x="5302" y="1370"/>
                </a:lnTo>
                <a:lnTo>
                  <a:pt x="5306" y="1370"/>
                </a:lnTo>
                <a:lnTo>
                  <a:pt x="5308" y="1372"/>
                </a:lnTo>
                <a:lnTo>
                  <a:pt x="5312" y="1372"/>
                </a:lnTo>
                <a:lnTo>
                  <a:pt x="5320" y="1370"/>
                </a:lnTo>
                <a:lnTo>
                  <a:pt x="5336" y="1362"/>
                </a:lnTo>
                <a:lnTo>
                  <a:pt x="5338" y="1358"/>
                </a:lnTo>
                <a:lnTo>
                  <a:pt x="5338" y="1354"/>
                </a:lnTo>
                <a:lnTo>
                  <a:pt x="5338" y="1350"/>
                </a:lnTo>
                <a:lnTo>
                  <a:pt x="5340" y="1350"/>
                </a:lnTo>
                <a:lnTo>
                  <a:pt x="5340" y="1348"/>
                </a:lnTo>
                <a:lnTo>
                  <a:pt x="5344" y="1350"/>
                </a:lnTo>
                <a:lnTo>
                  <a:pt x="5346" y="1350"/>
                </a:lnTo>
                <a:lnTo>
                  <a:pt x="5346" y="1352"/>
                </a:lnTo>
                <a:lnTo>
                  <a:pt x="5348" y="1354"/>
                </a:lnTo>
                <a:lnTo>
                  <a:pt x="5358" y="1350"/>
                </a:lnTo>
                <a:lnTo>
                  <a:pt x="5368" y="1344"/>
                </a:lnTo>
                <a:lnTo>
                  <a:pt x="5394" y="1324"/>
                </a:lnTo>
                <a:lnTo>
                  <a:pt x="5406" y="1312"/>
                </a:lnTo>
                <a:lnTo>
                  <a:pt x="5416" y="1300"/>
                </a:lnTo>
                <a:lnTo>
                  <a:pt x="5424" y="1290"/>
                </a:lnTo>
                <a:lnTo>
                  <a:pt x="5428" y="1280"/>
                </a:lnTo>
                <a:lnTo>
                  <a:pt x="5436" y="1264"/>
                </a:lnTo>
                <a:lnTo>
                  <a:pt x="5446" y="1250"/>
                </a:lnTo>
                <a:lnTo>
                  <a:pt x="5458" y="1240"/>
                </a:lnTo>
                <a:lnTo>
                  <a:pt x="5464" y="1238"/>
                </a:lnTo>
                <a:lnTo>
                  <a:pt x="5470" y="1238"/>
                </a:lnTo>
                <a:lnTo>
                  <a:pt x="5480" y="1236"/>
                </a:lnTo>
                <a:lnTo>
                  <a:pt x="5482" y="1234"/>
                </a:lnTo>
                <a:lnTo>
                  <a:pt x="5484" y="1230"/>
                </a:lnTo>
                <a:lnTo>
                  <a:pt x="5484" y="1226"/>
                </a:lnTo>
                <a:lnTo>
                  <a:pt x="5482" y="1220"/>
                </a:lnTo>
                <a:lnTo>
                  <a:pt x="5476" y="1214"/>
                </a:lnTo>
                <a:lnTo>
                  <a:pt x="5468" y="1204"/>
                </a:lnTo>
                <a:lnTo>
                  <a:pt x="5462" y="1196"/>
                </a:lnTo>
                <a:lnTo>
                  <a:pt x="5462" y="1194"/>
                </a:lnTo>
                <a:lnTo>
                  <a:pt x="5472" y="1200"/>
                </a:lnTo>
                <a:lnTo>
                  <a:pt x="5506" y="1222"/>
                </a:lnTo>
                <a:lnTo>
                  <a:pt x="5522" y="1226"/>
                </a:lnTo>
                <a:lnTo>
                  <a:pt x="5530" y="1228"/>
                </a:lnTo>
                <a:lnTo>
                  <a:pt x="5538" y="1228"/>
                </a:lnTo>
                <a:lnTo>
                  <a:pt x="5546" y="1226"/>
                </a:lnTo>
                <a:lnTo>
                  <a:pt x="5554" y="1222"/>
                </a:lnTo>
                <a:lnTo>
                  <a:pt x="5560" y="1218"/>
                </a:lnTo>
                <a:lnTo>
                  <a:pt x="5566" y="1212"/>
                </a:lnTo>
                <a:lnTo>
                  <a:pt x="5568" y="1206"/>
                </a:lnTo>
                <a:lnTo>
                  <a:pt x="5572" y="1204"/>
                </a:lnTo>
                <a:lnTo>
                  <a:pt x="5574" y="1204"/>
                </a:lnTo>
                <a:lnTo>
                  <a:pt x="5578" y="1206"/>
                </a:lnTo>
                <a:lnTo>
                  <a:pt x="5584" y="1208"/>
                </a:lnTo>
                <a:lnTo>
                  <a:pt x="5592" y="1208"/>
                </a:lnTo>
                <a:lnTo>
                  <a:pt x="5602" y="1206"/>
                </a:lnTo>
                <a:lnTo>
                  <a:pt x="5618" y="1202"/>
                </a:lnTo>
                <a:lnTo>
                  <a:pt x="5636" y="1196"/>
                </a:lnTo>
                <a:lnTo>
                  <a:pt x="5656" y="1190"/>
                </a:lnTo>
                <a:lnTo>
                  <a:pt x="5692" y="1184"/>
                </a:lnTo>
                <a:lnTo>
                  <a:pt x="5722" y="1176"/>
                </a:lnTo>
                <a:lnTo>
                  <a:pt x="5734" y="1172"/>
                </a:lnTo>
                <a:lnTo>
                  <a:pt x="5742" y="1166"/>
                </a:lnTo>
                <a:lnTo>
                  <a:pt x="5756" y="1152"/>
                </a:lnTo>
                <a:lnTo>
                  <a:pt x="5770" y="1140"/>
                </a:lnTo>
                <a:lnTo>
                  <a:pt x="5786" y="1132"/>
                </a:lnTo>
                <a:lnTo>
                  <a:pt x="5796" y="1128"/>
                </a:lnTo>
                <a:lnTo>
                  <a:pt x="5806" y="1126"/>
                </a:lnTo>
                <a:lnTo>
                  <a:pt x="5814" y="1124"/>
                </a:lnTo>
                <a:lnTo>
                  <a:pt x="5818" y="1122"/>
                </a:lnTo>
                <a:lnTo>
                  <a:pt x="5818" y="1118"/>
                </a:lnTo>
                <a:lnTo>
                  <a:pt x="5818" y="1114"/>
                </a:lnTo>
                <a:lnTo>
                  <a:pt x="5818" y="1112"/>
                </a:lnTo>
                <a:lnTo>
                  <a:pt x="5818" y="1108"/>
                </a:lnTo>
                <a:lnTo>
                  <a:pt x="5822" y="1106"/>
                </a:lnTo>
                <a:lnTo>
                  <a:pt x="5832" y="1104"/>
                </a:lnTo>
                <a:lnTo>
                  <a:pt x="5846" y="1104"/>
                </a:lnTo>
                <a:lnTo>
                  <a:pt x="5848" y="1102"/>
                </a:lnTo>
                <a:lnTo>
                  <a:pt x="5850" y="1100"/>
                </a:lnTo>
                <a:lnTo>
                  <a:pt x="5854" y="1094"/>
                </a:lnTo>
                <a:lnTo>
                  <a:pt x="5858" y="1092"/>
                </a:lnTo>
                <a:lnTo>
                  <a:pt x="5868" y="1086"/>
                </a:lnTo>
                <a:lnTo>
                  <a:pt x="5882" y="1078"/>
                </a:lnTo>
                <a:lnTo>
                  <a:pt x="5882" y="1076"/>
                </a:lnTo>
                <a:lnTo>
                  <a:pt x="5880" y="1076"/>
                </a:lnTo>
                <a:lnTo>
                  <a:pt x="5864" y="1076"/>
                </a:lnTo>
                <a:lnTo>
                  <a:pt x="5836" y="1078"/>
                </a:lnTo>
                <a:lnTo>
                  <a:pt x="5820" y="1078"/>
                </a:lnTo>
                <a:lnTo>
                  <a:pt x="5806" y="1076"/>
                </a:lnTo>
                <a:lnTo>
                  <a:pt x="5794" y="1070"/>
                </a:lnTo>
                <a:lnTo>
                  <a:pt x="5780" y="1064"/>
                </a:lnTo>
                <a:lnTo>
                  <a:pt x="5768" y="1058"/>
                </a:lnTo>
                <a:lnTo>
                  <a:pt x="5756" y="1056"/>
                </a:lnTo>
                <a:lnTo>
                  <a:pt x="5750" y="1056"/>
                </a:lnTo>
                <a:lnTo>
                  <a:pt x="5742" y="1056"/>
                </a:lnTo>
                <a:lnTo>
                  <a:pt x="5736" y="1060"/>
                </a:lnTo>
                <a:lnTo>
                  <a:pt x="5728" y="1064"/>
                </a:lnTo>
                <a:lnTo>
                  <a:pt x="5722" y="1068"/>
                </a:lnTo>
                <a:lnTo>
                  <a:pt x="5714" y="1070"/>
                </a:lnTo>
                <a:lnTo>
                  <a:pt x="5702" y="1070"/>
                </a:lnTo>
                <a:lnTo>
                  <a:pt x="5696" y="1070"/>
                </a:lnTo>
                <a:lnTo>
                  <a:pt x="5690" y="1070"/>
                </a:lnTo>
                <a:lnTo>
                  <a:pt x="5684" y="1074"/>
                </a:lnTo>
                <a:lnTo>
                  <a:pt x="5676" y="1082"/>
                </a:lnTo>
                <a:lnTo>
                  <a:pt x="5670" y="1086"/>
                </a:lnTo>
                <a:lnTo>
                  <a:pt x="5664" y="1088"/>
                </a:lnTo>
                <a:lnTo>
                  <a:pt x="5660" y="1090"/>
                </a:lnTo>
                <a:lnTo>
                  <a:pt x="5656" y="1090"/>
                </a:lnTo>
                <a:lnTo>
                  <a:pt x="5656" y="1086"/>
                </a:lnTo>
                <a:lnTo>
                  <a:pt x="5656" y="1082"/>
                </a:lnTo>
                <a:lnTo>
                  <a:pt x="5660" y="1078"/>
                </a:lnTo>
                <a:lnTo>
                  <a:pt x="5668" y="1070"/>
                </a:lnTo>
                <a:lnTo>
                  <a:pt x="5678" y="1064"/>
                </a:lnTo>
                <a:lnTo>
                  <a:pt x="5684" y="1062"/>
                </a:lnTo>
                <a:lnTo>
                  <a:pt x="5690" y="1060"/>
                </a:lnTo>
                <a:lnTo>
                  <a:pt x="5694" y="1060"/>
                </a:lnTo>
                <a:lnTo>
                  <a:pt x="5700" y="1064"/>
                </a:lnTo>
                <a:lnTo>
                  <a:pt x="5702" y="1064"/>
                </a:lnTo>
                <a:lnTo>
                  <a:pt x="5706" y="1062"/>
                </a:lnTo>
                <a:lnTo>
                  <a:pt x="5714" y="1056"/>
                </a:lnTo>
                <a:lnTo>
                  <a:pt x="5714" y="1054"/>
                </a:lnTo>
                <a:lnTo>
                  <a:pt x="5714" y="1052"/>
                </a:lnTo>
                <a:lnTo>
                  <a:pt x="5710" y="1052"/>
                </a:lnTo>
                <a:lnTo>
                  <a:pt x="5704" y="1050"/>
                </a:lnTo>
                <a:lnTo>
                  <a:pt x="5680" y="1052"/>
                </a:lnTo>
                <a:lnTo>
                  <a:pt x="5652" y="1056"/>
                </a:lnTo>
                <a:lnTo>
                  <a:pt x="5638" y="1058"/>
                </a:lnTo>
                <a:lnTo>
                  <a:pt x="5634" y="1056"/>
                </a:lnTo>
                <a:lnTo>
                  <a:pt x="5632" y="1052"/>
                </a:lnTo>
                <a:lnTo>
                  <a:pt x="5636" y="1046"/>
                </a:lnTo>
                <a:lnTo>
                  <a:pt x="5640" y="1038"/>
                </a:lnTo>
                <a:lnTo>
                  <a:pt x="5650" y="1022"/>
                </a:lnTo>
                <a:lnTo>
                  <a:pt x="5656" y="1012"/>
                </a:lnTo>
                <a:lnTo>
                  <a:pt x="5658" y="1010"/>
                </a:lnTo>
                <a:lnTo>
                  <a:pt x="5664" y="1016"/>
                </a:lnTo>
                <a:lnTo>
                  <a:pt x="5672" y="1022"/>
                </a:lnTo>
                <a:lnTo>
                  <a:pt x="5676" y="1022"/>
                </a:lnTo>
                <a:lnTo>
                  <a:pt x="5680" y="1022"/>
                </a:lnTo>
                <a:lnTo>
                  <a:pt x="5718" y="1010"/>
                </a:lnTo>
                <a:lnTo>
                  <a:pt x="5732" y="1004"/>
                </a:lnTo>
                <a:lnTo>
                  <a:pt x="5742" y="1000"/>
                </a:lnTo>
                <a:lnTo>
                  <a:pt x="5746" y="996"/>
                </a:lnTo>
                <a:lnTo>
                  <a:pt x="5746" y="990"/>
                </a:lnTo>
                <a:lnTo>
                  <a:pt x="5742" y="986"/>
                </a:lnTo>
                <a:lnTo>
                  <a:pt x="5734" y="982"/>
                </a:lnTo>
                <a:lnTo>
                  <a:pt x="5724" y="980"/>
                </a:lnTo>
                <a:lnTo>
                  <a:pt x="5710" y="976"/>
                </a:lnTo>
                <a:lnTo>
                  <a:pt x="5688" y="972"/>
                </a:lnTo>
                <a:lnTo>
                  <a:pt x="5682" y="970"/>
                </a:lnTo>
                <a:lnTo>
                  <a:pt x="5680" y="968"/>
                </a:lnTo>
                <a:lnTo>
                  <a:pt x="5680" y="966"/>
                </a:lnTo>
                <a:lnTo>
                  <a:pt x="5686" y="966"/>
                </a:lnTo>
                <a:lnTo>
                  <a:pt x="5706" y="966"/>
                </a:lnTo>
                <a:lnTo>
                  <a:pt x="5728" y="970"/>
                </a:lnTo>
                <a:lnTo>
                  <a:pt x="5742" y="974"/>
                </a:lnTo>
                <a:lnTo>
                  <a:pt x="5754" y="980"/>
                </a:lnTo>
                <a:lnTo>
                  <a:pt x="5768" y="986"/>
                </a:lnTo>
                <a:lnTo>
                  <a:pt x="5782" y="990"/>
                </a:lnTo>
                <a:lnTo>
                  <a:pt x="5790" y="996"/>
                </a:lnTo>
                <a:lnTo>
                  <a:pt x="5794" y="1006"/>
                </a:lnTo>
                <a:lnTo>
                  <a:pt x="5796" y="1022"/>
                </a:lnTo>
                <a:lnTo>
                  <a:pt x="5800" y="1030"/>
                </a:lnTo>
                <a:lnTo>
                  <a:pt x="5806" y="1038"/>
                </a:lnTo>
                <a:lnTo>
                  <a:pt x="5814" y="1044"/>
                </a:lnTo>
                <a:lnTo>
                  <a:pt x="5824" y="1048"/>
                </a:lnTo>
                <a:lnTo>
                  <a:pt x="5834" y="1052"/>
                </a:lnTo>
                <a:lnTo>
                  <a:pt x="5844" y="1054"/>
                </a:lnTo>
                <a:lnTo>
                  <a:pt x="5852" y="1054"/>
                </a:lnTo>
                <a:lnTo>
                  <a:pt x="5858" y="1052"/>
                </a:lnTo>
                <a:lnTo>
                  <a:pt x="5866" y="1048"/>
                </a:lnTo>
                <a:lnTo>
                  <a:pt x="5872" y="1048"/>
                </a:lnTo>
                <a:lnTo>
                  <a:pt x="5882" y="1052"/>
                </a:lnTo>
                <a:lnTo>
                  <a:pt x="5896" y="1054"/>
                </a:lnTo>
                <a:lnTo>
                  <a:pt x="5904" y="1054"/>
                </a:lnTo>
                <a:lnTo>
                  <a:pt x="5908" y="1048"/>
                </a:lnTo>
                <a:lnTo>
                  <a:pt x="5908" y="1042"/>
                </a:lnTo>
                <a:lnTo>
                  <a:pt x="5906" y="1032"/>
                </a:lnTo>
                <a:lnTo>
                  <a:pt x="5902" y="1008"/>
                </a:lnTo>
                <a:lnTo>
                  <a:pt x="5900" y="996"/>
                </a:lnTo>
                <a:lnTo>
                  <a:pt x="5900" y="984"/>
                </a:lnTo>
                <a:lnTo>
                  <a:pt x="5900" y="976"/>
                </a:lnTo>
                <a:lnTo>
                  <a:pt x="5898" y="974"/>
                </a:lnTo>
                <a:lnTo>
                  <a:pt x="5896" y="974"/>
                </a:lnTo>
                <a:lnTo>
                  <a:pt x="5892" y="976"/>
                </a:lnTo>
                <a:lnTo>
                  <a:pt x="5886" y="980"/>
                </a:lnTo>
                <a:lnTo>
                  <a:pt x="5880" y="984"/>
                </a:lnTo>
                <a:lnTo>
                  <a:pt x="5874" y="988"/>
                </a:lnTo>
                <a:lnTo>
                  <a:pt x="5868" y="990"/>
                </a:lnTo>
                <a:lnTo>
                  <a:pt x="5868" y="988"/>
                </a:lnTo>
                <a:lnTo>
                  <a:pt x="5866" y="984"/>
                </a:lnTo>
                <a:lnTo>
                  <a:pt x="5864" y="976"/>
                </a:lnTo>
                <a:lnTo>
                  <a:pt x="5866" y="974"/>
                </a:lnTo>
                <a:lnTo>
                  <a:pt x="5868" y="972"/>
                </a:lnTo>
                <a:lnTo>
                  <a:pt x="5876" y="970"/>
                </a:lnTo>
                <a:lnTo>
                  <a:pt x="5880" y="968"/>
                </a:lnTo>
                <a:lnTo>
                  <a:pt x="5886" y="960"/>
                </a:lnTo>
                <a:lnTo>
                  <a:pt x="5890" y="956"/>
                </a:lnTo>
                <a:lnTo>
                  <a:pt x="5892" y="954"/>
                </a:lnTo>
                <a:lnTo>
                  <a:pt x="5890" y="954"/>
                </a:lnTo>
                <a:lnTo>
                  <a:pt x="5880" y="958"/>
                </a:lnTo>
                <a:lnTo>
                  <a:pt x="5870" y="960"/>
                </a:lnTo>
                <a:lnTo>
                  <a:pt x="5866" y="960"/>
                </a:lnTo>
                <a:lnTo>
                  <a:pt x="5866" y="954"/>
                </a:lnTo>
                <a:lnTo>
                  <a:pt x="5868" y="948"/>
                </a:lnTo>
                <a:lnTo>
                  <a:pt x="5866" y="944"/>
                </a:lnTo>
                <a:lnTo>
                  <a:pt x="5862" y="940"/>
                </a:lnTo>
                <a:lnTo>
                  <a:pt x="5856" y="936"/>
                </a:lnTo>
                <a:lnTo>
                  <a:pt x="5838" y="932"/>
                </a:lnTo>
                <a:lnTo>
                  <a:pt x="5816" y="924"/>
                </a:lnTo>
                <a:lnTo>
                  <a:pt x="5796" y="918"/>
                </a:lnTo>
                <a:lnTo>
                  <a:pt x="5786" y="912"/>
                </a:lnTo>
                <a:lnTo>
                  <a:pt x="5780" y="906"/>
                </a:lnTo>
                <a:lnTo>
                  <a:pt x="5780" y="902"/>
                </a:lnTo>
                <a:lnTo>
                  <a:pt x="5780" y="900"/>
                </a:lnTo>
                <a:lnTo>
                  <a:pt x="5780" y="896"/>
                </a:lnTo>
                <a:lnTo>
                  <a:pt x="5778" y="890"/>
                </a:lnTo>
                <a:lnTo>
                  <a:pt x="5770" y="884"/>
                </a:lnTo>
                <a:lnTo>
                  <a:pt x="5762" y="880"/>
                </a:lnTo>
                <a:lnTo>
                  <a:pt x="5758" y="874"/>
                </a:lnTo>
                <a:lnTo>
                  <a:pt x="5760" y="870"/>
                </a:lnTo>
                <a:lnTo>
                  <a:pt x="5760" y="866"/>
                </a:lnTo>
                <a:lnTo>
                  <a:pt x="5758" y="862"/>
                </a:lnTo>
                <a:lnTo>
                  <a:pt x="5752" y="856"/>
                </a:lnTo>
                <a:lnTo>
                  <a:pt x="5738" y="852"/>
                </a:lnTo>
                <a:lnTo>
                  <a:pt x="5714" y="844"/>
                </a:lnTo>
                <a:lnTo>
                  <a:pt x="5724" y="846"/>
                </a:lnTo>
                <a:lnTo>
                  <a:pt x="5732" y="844"/>
                </a:lnTo>
                <a:lnTo>
                  <a:pt x="5740" y="840"/>
                </a:lnTo>
                <a:lnTo>
                  <a:pt x="5748" y="836"/>
                </a:lnTo>
                <a:lnTo>
                  <a:pt x="5764" y="828"/>
                </a:lnTo>
                <a:lnTo>
                  <a:pt x="5784" y="816"/>
                </a:lnTo>
                <a:lnTo>
                  <a:pt x="5790" y="816"/>
                </a:lnTo>
                <a:lnTo>
                  <a:pt x="5796" y="814"/>
                </a:lnTo>
                <a:lnTo>
                  <a:pt x="5810" y="818"/>
                </a:lnTo>
                <a:lnTo>
                  <a:pt x="5824" y="824"/>
                </a:lnTo>
                <a:lnTo>
                  <a:pt x="5838" y="832"/>
                </a:lnTo>
                <a:lnTo>
                  <a:pt x="5852" y="838"/>
                </a:lnTo>
                <a:lnTo>
                  <a:pt x="5866" y="842"/>
                </a:lnTo>
                <a:lnTo>
                  <a:pt x="5874" y="842"/>
                </a:lnTo>
                <a:lnTo>
                  <a:pt x="5880" y="842"/>
                </a:lnTo>
                <a:lnTo>
                  <a:pt x="5888" y="840"/>
                </a:lnTo>
                <a:lnTo>
                  <a:pt x="5894" y="836"/>
                </a:lnTo>
                <a:lnTo>
                  <a:pt x="5906" y="828"/>
                </a:lnTo>
                <a:lnTo>
                  <a:pt x="5916" y="826"/>
                </a:lnTo>
                <a:lnTo>
                  <a:pt x="5922" y="826"/>
                </a:lnTo>
                <a:lnTo>
                  <a:pt x="5928" y="828"/>
                </a:lnTo>
                <a:lnTo>
                  <a:pt x="5932" y="828"/>
                </a:lnTo>
                <a:lnTo>
                  <a:pt x="5936" y="828"/>
                </a:lnTo>
                <a:lnTo>
                  <a:pt x="5942" y="826"/>
                </a:lnTo>
                <a:lnTo>
                  <a:pt x="5948" y="818"/>
                </a:lnTo>
                <a:lnTo>
                  <a:pt x="5954" y="808"/>
                </a:lnTo>
                <a:lnTo>
                  <a:pt x="5954" y="804"/>
                </a:lnTo>
                <a:lnTo>
                  <a:pt x="5952" y="802"/>
                </a:lnTo>
                <a:lnTo>
                  <a:pt x="5948" y="796"/>
                </a:lnTo>
                <a:lnTo>
                  <a:pt x="5940" y="792"/>
                </a:lnTo>
                <a:lnTo>
                  <a:pt x="5930" y="788"/>
                </a:lnTo>
                <a:lnTo>
                  <a:pt x="5916" y="788"/>
                </a:lnTo>
                <a:lnTo>
                  <a:pt x="5890" y="786"/>
                </a:lnTo>
                <a:lnTo>
                  <a:pt x="5880" y="784"/>
                </a:lnTo>
                <a:lnTo>
                  <a:pt x="5876" y="782"/>
                </a:lnTo>
                <a:lnTo>
                  <a:pt x="5876" y="780"/>
                </a:lnTo>
                <a:lnTo>
                  <a:pt x="5876" y="774"/>
                </a:lnTo>
                <a:lnTo>
                  <a:pt x="5882" y="768"/>
                </a:lnTo>
                <a:lnTo>
                  <a:pt x="5890" y="762"/>
                </a:lnTo>
                <a:lnTo>
                  <a:pt x="5902" y="756"/>
                </a:lnTo>
                <a:lnTo>
                  <a:pt x="5914" y="752"/>
                </a:lnTo>
                <a:lnTo>
                  <a:pt x="5928" y="752"/>
                </a:lnTo>
                <a:lnTo>
                  <a:pt x="5940" y="754"/>
                </a:lnTo>
                <a:lnTo>
                  <a:pt x="5948" y="756"/>
                </a:lnTo>
                <a:lnTo>
                  <a:pt x="5958" y="764"/>
                </a:lnTo>
                <a:lnTo>
                  <a:pt x="5964" y="768"/>
                </a:lnTo>
                <a:lnTo>
                  <a:pt x="5970" y="768"/>
                </a:lnTo>
                <a:lnTo>
                  <a:pt x="5978" y="768"/>
                </a:lnTo>
                <a:lnTo>
                  <a:pt x="5990" y="764"/>
                </a:lnTo>
                <a:lnTo>
                  <a:pt x="5998" y="760"/>
                </a:lnTo>
                <a:lnTo>
                  <a:pt x="6002" y="756"/>
                </a:lnTo>
                <a:lnTo>
                  <a:pt x="6002" y="752"/>
                </a:lnTo>
                <a:lnTo>
                  <a:pt x="5998" y="748"/>
                </a:lnTo>
                <a:lnTo>
                  <a:pt x="5992" y="744"/>
                </a:lnTo>
                <a:lnTo>
                  <a:pt x="5982" y="742"/>
                </a:lnTo>
                <a:lnTo>
                  <a:pt x="5970" y="740"/>
                </a:lnTo>
                <a:lnTo>
                  <a:pt x="5956" y="738"/>
                </a:lnTo>
                <a:lnTo>
                  <a:pt x="5948" y="736"/>
                </a:lnTo>
                <a:lnTo>
                  <a:pt x="5944" y="734"/>
                </a:lnTo>
                <a:lnTo>
                  <a:pt x="5940" y="732"/>
                </a:lnTo>
                <a:lnTo>
                  <a:pt x="5938" y="728"/>
                </a:lnTo>
                <a:lnTo>
                  <a:pt x="5936" y="718"/>
                </a:lnTo>
                <a:lnTo>
                  <a:pt x="5940" y="708"/>
                </a:lnTo>
                <a:lnTo>
                  <a:pt x="5944" y="700"/>
                </a:lnTo>
                <a:lnTo>
                  <a:pt x="5950" y="692"/>
                </a:lnTo>
                <a:lnTo>
                  <a:pt x="5954" y="692"/>
                </a:lnTo>
                <a:lnTo>
                  <a:pt x="5958" y="690"/>
                </a:lnTo>
                <a:lnTo>
                  <a:pt x="5960" y="692"/>
                </a:lnTo>
                <a:lnTo>
                  <a:pt x="5964" y="694"/>
                </a:lnTo>
                <a:lnTo>
                  <a:pt x="5970" y="700"/>
                </a:lnTo>
                <a:lnTo>
                  <a:pt x="5976" y="702"/>
                </a:lnTo>
                <a:lnTo>
                  <a:pt x="5984" y="702"/>
                </a:lnTo>
                <a:lnTo>
                  <a:pt x="5990" y="698"/>
                </a:lnTo>
                <a:lnTo>
                  <a:pt x="5996" y="692"/>
                </a:lnTo>
                <a:lnTo>
                  <a:pt x="5998" y="686"/>
                </a:lnTo>
                <a:lnTo>
                  <a:pt x="5996" y="678"/>
                </a:lnTo>
                <a:lnTo>
                  <a:pt x="5992" y="668"/>
                </a:lnTo>
                <a:lnTo>
                  <a:pt x="5988" y="662"/>
                </a:lnTo>
                <a:lnTo>
                  <a:pt x="5986" y="658"/>
                </a:lnTo>
                <a:lnTo>
                  <a:pt x="5990" y="656"/>
                </a:lnTo>
                <a:lnTo>
                  <a:pt x="5994" y="656"/>
                </a:lnTo>
                <a:lnTo>
                  <a:pt x="5996" y="654"/>
                </a:lnTo>
                <a:lnTo>
                  <a:pt x="5980" y="646"/>
                </a:lnTo>
                <a:lnTo>
                  <a:pt x="5968" y="640"/>
                </a:lnTo>
                <a:lnTo>
                  <a:pt x="5964" y="636"/>
                </a:lnTo>
                <a:lnTo>
                  <a:pt x="5964" y="632"/>
                </a:lnTo>
                <a:lnTo>
                  <a:pt x="5968" y="632"/>
                </a:lnTo>
                <a:lnTo>
                  <a:pt x="5976" y="628"/>
                </a:lnTo>
                <a:lnTo>
                  <a:pt x="5980" y="624"/>
                </a:lnTo>
                <a:lnTo>
                  <a:pt x="5978" y="618"/>
                </a:lnTo>
                <a:lnTo>
                  <a:pt x="5976" y="616"/>
                </a:lnTo>
                <a:lnTo>
                  <a:pt x="5972" y="614"/>
                </a:lnTo>
                <a:lnTo>
                  <a:pt x="5962" y="612"/>
                </a:lnTo>
                <a:lnTo>
                  <a:pt x="5934" y="612"/>
                </a:lnTo>
                <a:lnTo>
                  <a:pt x="5922" y="612"/>
                </a:lnTo>
                <a:lnTo>
                  <a:pt x="5910" y="610"/>
                </a:lnTo>
                <a:lnTo>
                  <a:pt x="5902" y="608"/>
                </a:lnTo>
                <a:lnTo>
                  <a:pt x="5900" y="604"/>
                </a:lnTo>
                <a:lnTo>
                  <a:pt x="5898" y="600"/>
                </a:lnTo>
                <a:lnTo>
                  <a:pt x="5898" y="596"/>
                </a:lnTo>
                <a:lnTo>
                  <a:pt x="5898" y="594"/>
                </a:lnTo>
                <a:lnTo>
                  <a:pt x="5892" y="588"/>
                </a:lnTo>
                <a:lnTo>
                  <a:pt x="5884" y="584"/>
                </a:lnTo>
                <a:lnTo>
                  <a:pt x="5876" y="582"/>
                </a:lnTo>
                <a:lnTo>
                  <a:pt x="5868" y="580"/>
                </a:lnTo>
                <a:lnTo>
                  <a:pt x="5864" y="576"/>
                </a:lnTo>
                <a:lnTo>
                  <a:pt x="5864" y="574"/>
                </a:lnTo>
                <a:lnTo>
                  <a:pt x="5864" y="572"/>
                </a:lnTo>
                <a:lnTo>
                  <a:pt x="5868" y="568"/>
                </a:lnTo>
                <a:lnTo>
                  <a:pt x="5876" y="564"/>
                </a:lnTo>
                <a:lnTo>
                  <a:pt x="5882" y="566"/>
                </a:lnTo>
                <a:lnTo>
                  <a:pt x="5886" y="570"/>
                </a:lnTo>
                <a:lnTo>
                  <a:pt x="5890" y="574"/>
                </a:lnTo>
                <a:lnTo>
                  <a:pt x="5894" y="578"/>
                </a:lnTo>
                <a:lnTo>
                  <a:pt x="5900" y="580"/>
                </a:lnTo>
                <a:lnTo>
                  <a:pt x="5908" y="580"/>
                </a:lnTo>
                <a:lnTo>
                  <a:pt x="5918" y="572"/>
                </a:lnTo>
                <a:lnTo>
                  <a:pt x="5930" y="566"/>
                </a:lnTo>
                <a:lnTo>
                  <a:pt x="5944" y="560"/>
                </a:lnTo>
                <a:lnTo>
                  <a:pt x="5956" y="558"/>
                </a:lnTo>
                <a:lnTo>
                  <a:pt x="5968" y="558"/>
                </a:lnTo>
                <a:lnTo>
                  <a:pt x="5980" y="560"/>
                </a:lnTo>
                <a:lnTo>
                  <a:pt x="5992" y="564"/>
                </a:lnTo>
                <a:lnTo>
                  <a:pt x="6014" y="572"/>
                </a:lnTo>
                <a:lnTo>
                  <a:pt x="6024" y="576"/>
                </a:lnTo>
                <a:lnTo>
                  <a:pt x="6032" y="574"/>
                </a:lnTo>
                <a:lnTo>
                  <a:pt x="6038" y="570"/>
                </a:lnTo>
                <a:lnTo>
                  <a:pt x="6042" y="562"/>
                </a:lnTo>
                <a:lnTo>
                  <a:pt x="6044" y="554"/>
                </a:lnTo>
                <a:lnTo>
                  <a:pt x="6044" y="546"/>
                </a:lnTo>
                <a:lnTo>
                  <a:pt x="6038" y="536"/>
                </a:lnTo>
                <a:lnTo>
                  <a:pt x="6032" y="528"/>
                </a:lnTo>
                <a:lnTo>
                  <a:pt x="6022" y="522"/>
                </a:lnTo>
                <a:lnTo>
                  <a:pt x="6018" y="522"/>
                </a:lnTo>
                <a:lnTo>
                  <a:pt x="6012" y="524"/>
                </a:lnTo>
                <a:lnTo>
                  <a:pt x="6008" y="528"/>
                </a:lnTo>
                <a:lnTo>
                  <a:pt x="6002" y="532"/>
                </a:lnTo>
                <a:lnTo>
                  <a:pt x="5994" y="532"/>
                </a:lnTo>
                <a:lnTo>
                  <a:pt x="5984" y="530"/>
                </a:lnTo>
                <a:lnTo>
                  <a:pt x="5968" y="522"/>
                </a:lnTo>
                <a:lnTo>
                  <a:pt x="5942" y="506"/>
                </a:lnTo>
                <a:lnTo>
                  <a:pt x="5938" y="500"/>
                </a:lnTo>
                <a:lnTo>
                  <a:pt x="5938" y="498"/>
                </a:lnTo>
                <a:lnTo>
                  <a:pt x="5944" y="496"/>
                </a:lnTo>
                <a:lnTo>
                  <a:pt x="5952" y="498"/>
                </a:lnTo>
                <a:lnTo>
                  <a:pt x="5982" y="504"/>
                </a:lnTo>
                <a:lnTo>
                  <a:pt x="6006" y="508"/>
                </a:lnTo>
                <a:lnTo>
                  <a:pt x="6010" y="506"/>
                </a:lnTo>
                <a:lnTo>
                  <a:pt x="6010" y="504"/>
                </a:lnTo>
                <a:lnTo>
                  <a:pt x="6004" y="500"/>
                </a:lnTo>
                <a:lnTo>
                  <a:pt x="5992" y="496"/>
                </a:lnTo>
                <a:lnTo>
                  <a:pt x="5956" y="480"/>
                </a:lnTo>
                <a:lnTo>
                  <a:pt x="5936" y="474"/>
                </a:lnTo>
                <a:lnTo>
                  <a:pt x="5922" y="472"/>
                </a:lnTo>
                <a:lnTo>
                  <a:pt x="5914" y="476"/>
                </a:lnTo>
                <a:lnTo>
                  <a:pt x="5910" y="480"/>
                </a:lnTo>
                <a:lnTo>
                  <a:pt x="5906" y="494"/>
                </a:lnTo>
                <a:lnTo>
                  <a:pt x="5902" y="500"/>
                </a:lnTo>
                <a:lnTo>
                  <a:pt x="5896" y="502"/>
                </a:lnTo>
                <a:lnTo>
                  <a:pt x="5892" y="502"/>
                </a:lnTo>
                <a:lnTo>
                  <a:pt x="5890" y="502"/>
                </a:lnTo>
                <a:lnTo>
                  <a:pt x="5888" y="500"/>
                </a:lnTo>
                <a:lnTo>
                  <a:pt x="5888" y="496"/>
                </a:lnTo>
                <a:lnTo>
                  <a:pt x="5890" y="488"/>
                </a:lnTo>
                <a:lnTo>
                  <a:pt x="5896" y="478"/>
                </a:lnTo>
                <a:lnTo>
                  <a:pt x="5910" y="452"/>
                </a:lnTo>
                <a:lnTo>
                  <a:pt x="5916" y="438"/>
                </a:lnTo>
                <a:lnTo>
                  <a:pt x="5922" y="424"/>
                </a:lnTo>
                <a:lnTo>
                  <a:pt x="5926" y="414"/>
                </a:lnTo>
                <a:lnTo>
                  <a:pt x="5934" y="406"/>
                </a:lnTo>
                <a:lnTo>
                  <a:pt x="5940" y="404"/>
                </a:lnTo>
                <a:lnTo>
                  <a:pt x="5948" y="402"/>
                </a:lnTo>
                <a:lnTo>
                  <a:pt x="5960" y="404"/>
                </a:lnTo>
                <a:lnTo>
                  <a:pt x="5966" y="402"/>
                </a:lnTo>
                <a:lnTo>
                  <a:pt x="5970" y="400"/>
                </a:lnTo>
                <a:lnTo>
                  <a:pt x="5982" y="392"/>
                </a:lnTo>
                <a:lnTo>
                  <a:pt x="5996" y="380"/>
                </a:lnTo>
                <a:lnTo>
                  <a:pt x="6002" y="376"/>
                </a:lnTo>
                <a:lnTo>
                  <a:pt x="6004" y="370"/>
                </a:lnTo>
                <a:lnTo>
                  <a:pt x="6004" y="368"/>
                </a:lnTo>
                <a:lnTo>
                  <a:pt x="5996" y="364"/>
                </a:lnTo>
                <a:lnTo>
                  <a:pt x="5988" y="362"/>
                </a:lnTo>
                <a:lnTo>
                  <a:pt x="5984" y="358"/>
                </a:lnTo>
                <a:lnTo>
                  <a:pt x="5980" y="354"/>
                </a:lnTo>
                <a:lnTo>
                  <a:pt x="5980" y="348"/>
                </a:lnTo>
                <a:lnTo>
                  <a:pt x="5982" y="342"/>
                </a:lnTo>
                <a:lnTo>
                  <a:pt x="5986" y="338"/>
                </a:lnTo>
                <a:lnTo>
                  <a:pt x="5994" y="336"/>
                </a:lnTo>
                <a:lnTo>
                  <a:pt x="6006" y="334"/>
                </a:lnTo>
                <a:lnTo>
                  <a:pt x="6026" y="332"/>
                </a:lnTo>
                <a:lnTo>
                  <a:pt x="6040" y="328"/>
                </a:lnTo>
                <a:lnTo>
                  <a:pt x="6052" y="322"/>
                </a:lnTo>
                <a:lnTo>
                  <a:pt x="6064" y="310"/>
                </a:lnTo>
                <a:lnTo>
                  <a:pt x="6066" y="306"/>
                </a:lnTo>
                <a:lnTo>
                  <a:pt x="6066" y="304"/>
                </a:lnTo>
                <a:lnTo>
                  <a:pt x="6066" y="302"/>
                </a:lnTo>
                <a:lnTo>
                  <a:pt x="6062" y="300"/>
                </a:lnTo>
                <a:lnTo>
                  <a:pt x="6052" y="298"/>
                </a:lnTo>
                <a:lnTo>
                  <a:pt x="6036" y="300"/>
                </a:lnTo>
                <a:lnTo>
                  <a:pt x="5998" y="306"/>
                </a:lnTo>
                <a:lnTo>
                  <a:pt x="5980" y="312"/>
                </a:lnTo>
                <a:lnTo>
                  <a:pt x="5962" y="318"/>
                </a:lnTo>
                <a:lnTo>
                  <a:pt x="5948" y="320"/>
                </a:lnTo>
                <a:lnTo>
                  <a:pt x="5946" y="320"/>
                </a:lnTo>
                <a:lnTo>
                  <a:pt x="5944" y="318"/>
                </a:lnTo>
                <a:lnTo>
                  <a:pt x="5944" y="316"/>
                </a:lnTo>
                <a:lnTo>
                  <a:pt x="5944" y="312"/>
                </a:lnTo>
                <a:lnTo>
                  <a:pt x="5950" y="306"/>
                </a:lnTo>
                <a:lnTo>
                  <a:pt x="5960" y="298"/>
                </a:lnTo>
                <a:lnTo>
                  <a:pt x="5974" y="290"/>
                </a:lnTo>
                <a:lnTo>
                  <a:pt x="5988" y="286"/>
                </a:lnTo>
                <a:lnTo>
                  <a:pt x="5996" y="286"/>
                </a:lnTo>
                <a:lnTo>
                  <a:pt x="6004" y="288"/>
                </a:lnTo>
                <a:lnTo>
                  <a:pt x="6018" y="290"/>
                </a:lnTo>
                <a:lnTo>
                  <a:pt x="6034" y="292"/>
                </a:lnTo>
                <a:lnTo>
                  <a:pt x="6050" y="292"/>
                </a:lnTo>
                <a:lnTo>
                  <a:pt x="6064" y="290"/>
                </a:lnTo>
                <a:lnTo>
                  <a:pt x="6092" y="284"/>
                </a:lnTo>
                <a:lnTo>
                  <a:pt x="6116" y="274"/>
                </a:lnTo>
                <a:lnTo>
                  <a:pt x="6122" y="270"/>
                </a:lnTo>
                <a:lnTo>
                  <a:pt x="6122" y="268"/>
                </a:lnTo>
                <a:lnTo>
                  <a:pt x="6122" y="266"/>
                </a:lnTo>
                <a:lnTo>
                  <a:pt x="6116" y="264"/>
                </a:lnTo>
                <a:lnTo>
                  <a:pt x="6106" y="262"/>
                </a:lnTo>
                <a:lnTo>
                  <a:pt x="6082" y="260"/>
                </a:lnTo>
                <a:lnTo>
                  <a:pt x="6068" y="260"/>
                </a:lnTo>
                <a:lnTo>
                  <a:pt x="6056" y="262"/>
                </a:lnTo>
                <a:lnTo>
                  <a:pt x="6042" y="262"/>
                </a:lnTo>
                <a:lnTo>
                  <a:pt x="6026" y="262"/>
                </a:lnTo>
                <a:lnTo>
                  <a:pt x="5990" y="260"/>
                </a:lnTo>
                <a:lnTo>
                  <a:pt x="5970" y="258"/>
                </a:lnTo>
                <a:lnTo>
                  <a:pt x="5988" y="258"/>
                </a:lnTo>
                <a:lnTo>
                  <a:pt x="6004" y="258"/>
                </a:lnTo>
                <a:lnTo>
                  <a:pt x="6018" y="258"/>
                </a:lnTo>
                <a:lnTo>
                  <a:pt x="6028" y="254"/>
                </a:lnTo>
                <a:lnTo>
                  <a:pt x="6036" y="252"/>
                </a:lnTo>
                <a:lnTo>
                  <a:pt x="6050" y="246"/>
                </a:lnTo>
                <a:lnTo>
                  <a:pt x="6058" y="246"/>
                </a:lnTo>
                <a:lnTo>
                  <a:pt x="6068" y="248"/>
                </a:lnTo>
                <a:lnTo>
                  <a:pt x="6080" y="248"/>
                </a:lnTo>
                <a:lnTo>
                  <a:pt x="6090" y="250"/>
                </a:lnTo>
                <a:lnTo>
                  <a:pt x="6112" y="248"/>
                </a:lnTo>
                <a:lnTo>
                  <a:pt x="6136" y="244"/>
                </a:lnTo>
                <a:lnTo>
                  <a:pt x="6166" y="242"/>
                </a:lnTo>
                <a:lnTo>
                  <a:pt x="6178" y="240"/>
                </a:lnTo>
                <a:lnTo>
                  <a:pt x="6180" y="238"/>
                </a:lnTo>
                <a:lnTo>
                  <a:pt x="6180" y="236"/>
                </a:lnTo>
                <a:lnTo>
                  <a:pt x="6178" y="232"/>
                </a:lnTo>
                <a:lnTo>
                  <a:pt x="6172" y="228"/>
                </a:lnTo>
                <a:lnTo>
                  <a:pt x="6166" y="224"/>
                </a:lnTo>
                <a:lnTo>
                  <a:pt x="6166" y="220"/>
                </a:lnTo>
                <a:lnTo>
                  <a:pt x="6166" y="218"/>
                </a:lnTo>
                <a:lnTo>
                  <a:pt x="6170" y="218"/>
                </a:lnTo>
                <a:lnTo>
                  <a:pt x="6184" y="216"/>
                </a:lnTo>
                <a:lnTo>
                  <a:pt x="6196" y="216"/>
                </a:lnTo>
                <a:lnTo>
                  <a:pt x="6208" y="214"/>
                </a:lnTo>
                <a:lnTo>
                  <a:pt x="6218" y="210"/>
                </a:lnTo>
                <a:lnTo>
                  <a:pt x="6228" y="206"/>
                </a:lnTo>
                <a:lnTo>
                  <a:pt x="6248" y="194"/>
                </a:lnTo>
                <a:lnTo>
                  <a:pt x="6272" y="182"/>
                </a:lnTo>
                <a:lnTo>
                  <a:pt x="6278" y="180"/>
                </a:lnTo>
                <a:lnTo>
                  <a:pt x="6278" y="176"/>
                </a:lnTo>
                <a:lnTo>
                  <a:pt x="6276" y="172"/>
                </a:lnTo>
                <a:lnTo>
                  <a:pt x="6270" y="170"/>
                </a:lnTo>
                <a:lnTo>
                  <a:pt x="6250" y="164"/>
                </a:lnTo>
                <a:lnTo>
                  <a:pt x="6224" y="158"/>
                </a:lnTo>
                <a:lnTo>
                  <a:pt x="6192" y="154"/>
                </a:lnTo>
                <a:lnTo>
                  <a:pt x="6160" y="150"/>
                </a:lnTo>
                <a:lnTo>
                  <a:pt x="6128" y="148"/>
                </a:lnTo>
                <a:lnTo>
                  <a:pt x="6100" y="148"/>
                </a:lnTo>
                <a:lnTo>
                  <a:pt x="6080" y="152"/>
                </a:lnTo>
                <a:lnTo>
                  <a:pt x="6066" y="156"/>
                </a:lnTo>
                <a:lnTo>
                  <a:pt x="6056" y="164"/>
                </a:lnTo>
                <a:lnTo>
                  <a:pt x="6050" y="172"/>
                </a:lnTo>
                <a:lnTo>
                  <a:pt x="6046" y="178"/>
                </a:lnTo>
                <a:lnTo>
                  <a:pt x="6040" y="184"/>
                </a:lnTo>
                <a:lnTo>
                  <a:pt x="6034" y="186"/>
                </a:lnTo>
                <a:lnTo>
                  <a:pt x="6024" y="186"/>
                </a:lnTo>
                <a:lnTo>
                  <a:pt x="6012" y="182"/>
                </a:lnTo>
                <a:lnTo>
                  <a:pt x="6000" y="182"/>
                </a:lnTo>
                <a:lnTo>
                  <a:pt x="5976" y="182"/>
                </a:lnTo>
                <a:lnTo>
                  <a:pt x="5964" y="182"/>
                </a:lnTo>
                <a:lnTo>
                  <a:pt x="5962" y="182"/>
                </a:lnTo>
                <a:lnTo>
                  <a:pt x="5962" y="180"/>
                </a:lnTo>
                <a:lnTo>
                  <a:pt x="5966" y="176"/>
                </a:lnTo>
                <a:lnTo>
                  <a:pt x="5970" y="172"/>
                </a:lnTo>
                <a:lnTo>
                  <a:pt x="5970" y="170"/>
                </a:lnTo>
                <a:lnTo>
                  <a:pt x="5966" y="170"/>
                </a:lnTo>
                <a:lnTo>
                  <a:pt x="5956" y="172"/>
                </a:lnTo>
                <a:lnTo>
                  <a:pt x="5944" y="176"/>
                </a:lnTo>
                <a:lnTo>
                  <a:pt x="5928" y="184"/>
                </a:lnTo>
                <a:lnTo>
                  <a:pt x="5910" y="194"/>
                </a:lnTo>
                <a:lnTo>
                  <a:pt x="5888" y="210"/>
                </a:lnTo>
                <a:lnTo>
                  <a:pt x="5866" y="224"/>
                </a:lnTo>
                <a:lnTo>
                  <a:pt x="5846" y="234"/>
                </a:lnTo>
                <a:lnTo>
                  <a:pt x="5832" y="240"/>
                </a:lnTo>
                <a:lnTo>
                  <a:pt x="5822" y="244"/>
                </a:lnTo>
                <a:lnTo>
                  <a:pt x="5820" y="244"/>
                </a:lnTo>
                <a:lnTo>
                  <a:pt x="5818" y="242"/>
                </a:lnTo>
                <a:lnTo>
                  <a:pt x="5820" y="238"/>
                </a:lnTo>
                <a:lnTo>
                  <a:pt x="5828" y="228"/>
                </a:lnTo>
                <a:lnTo>
                  <a:pt x="5844" y="216"/>
                </a:lnTo>
                <a:lnTo>
                  <a:pt x="5862" y="200"/>
                </a:lnTo>
                <a:lnTo>
                  <a:pt x="5876" y="186"/>
                </a:lnTo>
                <a:lnTo>
                  <a:pt x="5886" y="172"/>
                </a:lnTo>
                <a:lnTo>
                  <a:pt x="5888" y="166"/>
                </a:lnTo>
                <a:lnTo>
                  <a:pt x="5890" y="160"/>
                </a:lnTo>
                <a:lnTo>
                  <a:pt x="5890" y="154"/>
                </a:lnTo>
                <a:lnTo>
                  <a:pt x="5888" y="150"/>
                </a:lnTo>
                <a:lnTo>
                  <a:pt x="5884" y="146"/>
                </a:lnTo>
                <a:lnTo>
                  <a:pt x="5878" y="142"/>
                </a:lnTo>
                <a:lnTo>
                  <a:pt x="5872" y="140"/>
                </a:lnTo>
                <a:lnTo>
                  <a:pt x="5864" y="138"/>
                </a:lnTo>
                <a:lnTo>
                  <a:pt x="5842" y="136"/>
                </a:lnTo>
                <a:lnTo>
                  <a:pt x="5820" y="138"/>
                </a:lnTo>
                <a:lnTo>
                  <a:pt x="5808" y="142"/>
                </a:lnTo>
                <a:lnTo>
                  <a:pt x="5802" y="146"/>
                </a:lnTo>
                <a:lnTo>
                  <a:pt x="5798" y="150"/>
                </a:lnTo>
                <a:lnTo>
                  <a:pt x="5798" y="156"/>
                </a:lnTo>
                <a:lnTo>
                  <a:pt x="5794" y="162"/>
                </a:lnTo>
                <a:lnTo>
                  <a:pt x="5788" y="166"/>
                </a:lnTo>
                <a:lnTo>
                  <a:pt x="5776" y="172"/>
                </a:lnTo>
                <a:lnTo>
                  <a:pt x="5746" y="178"/>
                </a:lnTo>
                <a:lnTo>
                  <a:pt x="5722" y="182"/>
                </a:lnTo>
                <a:lnTo>
                  <a:pt x="5714" y="180"/>
                </a:lnTo>
                <a:lnTo>
                  <a:pt x="5712" y="180"/>
                </a:lnTo>
                <a:lnTo>
                  <a:pt x="5716" y="176"/>
                </a:lnTo>
                <a:lnTo>
                  <a:pt x="5728" y="170"/>
                </a:lnTo>
                <a:lnTo>
                  <a:pt x="5752" y="160"/>
                </a:lnTo>
                <a:lnTo>
                  <a:pt x="5760" y="154"/>
                </a:lnTo>
                <a:lnTo>
                  <a:pt x="5760" y="152"/>
                </a:lnTo>
                <a:lnTo>
                  <a:pt x="5762" y="150"/>
                </a:lnTo>
                <a:lnTo>
                  <a:pt x="5760" y="148"/>
                </a:lnTo>
                <a:lnTo>
                  <a:pt x="5756" y="146"/>
                </a:lnTo>
                <a:lnTo>
                  <a:pt x="5744" y="144"/>
                </a:lnTo>
                <a:lnTo>
                  <a:pt x="5722" y="142"/>
                </a:lnTo>
                <a:lnTo>
                  <a:pt x="5688" y="140"/>
                </a:lnTo>
                <a:lnTo>
                  <a:pt x="5648" y="140"/>
                </a:lnTo>
                <a:lnTo>
                  <a:pt x="5606" y="144"/>
                </a:lnTo>
                <a:lnTo>
                  <a:pt x="5566" y="152"/>
                </a:lnTo>
                <a:lnTo>
                  <a:pt x="5530" y="158"/>
                </a:lnTo>
                <a:lnTo>
                  <a:pt x="5472" y="170"/>
                </a:lnTo>
                <a:lnTo>
                  <a:pt x="5454" y="174"/>
                </a:lnTo>
                <a:lnTo>
                  <a:pt x="5448" y="174"/>
                </a:lnTo>
                <a:lnTo>
                  <a:pt x="5444" y="174"/>
                </a:lnTo>
                <a:lnTo>
                  <a:pt x="5440" y="170"/>
                </a:lnTo>
                <a:lnTo>
                  <a:pt x="5438" y="168"/>
                </a:lnTo>
                <a:lnTo>
                  <a:pt x="5440" y="164"/>
                </a:lnTo>
                <a:lnTo>
                  <a:pt x="5442" y="162"/>
                </a:lnTo>
                <a:lnTo>
                  <a:pt x="5454" y="156"/>
                </a:lnTo>
                <a:lnTo>
                  <a:pt x="5472" y="150"/>
                </a:lnTo>
                <a:lnTo>
                  <a:pt x="5522" y="142"/>
                </a:lnTo>
                <a:lnTo>
                  <a:pt x="5580" y="134"/>
                </a:lnTo>
                <a:lnTo>
                  <a:pt x="5608" y="130"/>
                </a:lnTo>
                <a:lnTo>
                  <a:pt x="5638" y="128"/>
                </a:lnTo>
                <a:lnTo>
                  <a:pt x="5700" y="130"/>
                </a:lnTo>
                <a:lnTo>
                  <a:pt x="5762" y="128"/>
                </a:lnTo>
                <a:lnTo>
                  <a:pt x="5792" y="126"/>
                </a:lnTo>
                <a:lnTo>
                  <a:pt x="5820" y="122"/>
                </a:lnTo>
                <a:lnTo>
                  <a:pt x="5856" y="114"/>
                </a:lnTo>
                <a:lnTo>
                  <a:pt x="5890" y="102"/>
                </a:lnTo>
                <a:lnTo>
                  <a:pt x="5902" y="96"/>
                </a:lnTo>
                <a:lnTo>
                  <a:pt x="5908" y="92"/>
                </a:lnTo>
                <a:lnTo>
                  <a:pt x="5908" y="90"/>
                </a:lnTo>
                <a:lnTo>
                  <a:pt x="5906" y="88"/>
                </a:lnTo>
                <a:lnTo>
                  <a:pt x="5898" y="84"/>
                </a:lnTo>
                <a:lnTo>
                  <a:pt x="5870" y="78"/>
                </a:lnTo>
                <a:lnTo>
                  <a:pt x="5840" y="70"/>
                </a:lnTo>
                <a:lnTo>
                  <a:pt x="5824" y="68"/>
                </a:lnTo>
                <a:lnTo>
                  <a:pt x="5806" y="68"/>
                </a:lnTo>
                <a:lnTo>
                  <a:pt x="5788" y="68"/>
                </a:lnTo>
                <a:lnTo>
                  <a:pt x="5770" y="72"/>
                </a:lnTo>
                <a:lnTo>
                  <a:pt x="5750" y="74"/>
                </a:lnTo>
                <a:lnTo>
                  <a:pt x="5752" y="72"/>
                </a:lnTo>
                <a:lnTo>
                  <a:pt x="5758" y="68"/>
                </a:lnTo>
                <a:lnTo>
                  <a:pt x="5766" y="64"/>
                </a:lnTo>
                <a:lnTo>
                  <a:pt x="5772" y="58"/>
                </a:lnTo>
                <a:lnTo>
                  <a:pt x="5774" y="54"/>
                </a:lnTo>
                <a:lnTo>
                  <a:pt x="5774" y="52"/>
                </a:lnTo>
                <a:lnTo>
                  <a:pt x="5772" y="48"/>
                </a:lnTo>
                <a:lnTo>
                  <a:pt x="5768" y="46"/>
                </a:lnTo>
                <a:lnTo>
                  <a:pt x="5758" y="42"/>
                </a:lnTo>
                <a:lnTo>
                  <a:pt x="5748" y="40"/>
                </a:lnTo>
                <a:lnTo>
                  <a:pt x="5736" y="42"/>
                </a:lnTo>
                <a:lnTo>
                  <a:pt x="5720" y="44"/>
                </a:lnTo>
                <a:lnTo>
                  <a:pt x="5704" y="48"/>
                </a:lnTo>
                <a:lnTo>
                  <a:pt x="5682" y="50"/>
                </a:lnTo>
                <a:lnTo>
                  <a:pt x="5658" y="50"/>
                </a:lnTo>
                <a:lnTo>
                  <a:pt x="5630" y="50"/>
                </a:lnTo>
                <a:lnTo>
                  <a:pt x="5602" y="48"/>
                </a:lnTo>
                <a:lnTo>
                  <a:pt x="5580" y="48"/>
                </a:lnTo>
                <a:lnTo>
                  <a:pt x="5560" y="50"/>
                </a:lnTo>
                <a:lnTo>
                  <a:pt x="5544" y="54"/>
                </a:lnTo>
                <a:lnTo>
                  <a:pt x="5514" y="60"/>
                </a:lnTo>
                <a:lnTo>
                  <a:pt x="5496" y="60"/>
                </a:lnTo>
                <a:lnTo>
                  <a:pt x="5476" y="60"/>
                </a:lnTo>
                <a:lnTo>
                  <a:pt x="5458" y="58"/>
                </a:lnTo>
                <a:lnTo>
                  <a:pt x="5452" y="56"/>
                </a:lnTo>
                <a:lnTo>
                  <a:pt x="5454" y="54"/>
                </a:lnTo>
                <a:lnTo>
                  <a:pt x="5464" y="52"/>
                </a:lnTo>
                <a:lnTo>
                  <a:pt x="5528" y="46"/>
                </a:lnTo>
                <a:lnTo>
                  <a:pt x="5572" y="44"/>
                </a:lnTo>
                <a:lnTo>
                  <a:pt x="5630" y="40"/>
                </a:lnTo>
                <a:lnTo>
                  <a:pt x="5690" y="38"/>
                </a:lnTo>
                <a:lnTo>
                  <a:pt x="5732" y="34"/>
                </a:lnTo>
                <a:lnTo>
                  <a:pt x="5736" y="32"/>
                </a:lnTo>
                <a:lnTo>
                  <a:pt x="5738" y="30"/>
                </a:lnTo>
                <a:lnTo>
                  <a:pt x="5738" y="28"/>
                </a:lnTo>
                <a:lnTo>
                  <a:pt x="5734" y="28"/>
                </a:lnTo>
                <a:lnTo>
                  <a:pt x="5718" y="24"/>
                </a:lnTo>
                <a:lnTo>
                  <a:pt x="5694" y="20"/>
                </a:lnTo>
                <a:lnTo>
                  <a:pt x="5634" y="12"/>
                </a:lnTo>
                <a:lnTo>
                  <a:pt x="5568" y="6"/>
                </a:lnTo>
                <a:lnTo>
                  <a:pt x="5522" y="2"/>
                </a:lnTo>
                <a:lnTo>
                  <a:pt x="5484" y="0"/>
                </a:lnTo>
                <a:lnTo>
                  <a:pt x="5454" y="0"/>
                </a:lnTo>
                <a:lnTo>
                  <a:pt x="5430" y="2"/>
                </a:lnTo>
                <a:lnTo>
                  <a:pt x="5388" y="6"/>
                </a:lnTo>
                <a:lnTo>
                  <a:pt x="5366" y="6"/>
                </a:lnTo>
                <a:lnTo>
                  <a:pt x="5340" y="6"/>
                </a:lnTo>
                <a:lnTo>
                  <a:pt x="5316" y="6"/>
                </a:lnTo>
                <a:lnTo>
                  <a:pt x="5304" y="8"/>
                </a:lnTo>
                <a:lnTo>
                  <a:pt x="5298" y="10"/>
                </a:lnTo>
                <a:lnTo>
                  <a:pt x="5294" y="14"/>
                </a:lnTo>
                <a:lnTo>
                  <a:pt x="5294" y="16"/>
                </a:lnTo>
                <a:lnTo>
                  <a:pt x="5294" y="18"/>
                </a:lnTo>
                <a:lnTo>
                  <a:pt x="5288" y="18"/>
                </a:lnTo>
                <a:lnTo>
                  <a:pt x="5278" y="16"/>
                </a:lnTo>
                <a:lnTo>
                  <a:pt x="5258" y="12"/>
                </a:lnTo>
                <a:lnTo>
                  <a:pt x="5246" y="12"/>
                </a:lnTo>
                <a:lnTo>
                  <a:pt x="5236" y="16"/>
                </a:lnTo>
                <a:lnTo>
                  <a:pt x="5220" y="16"/>
                </a:lnTo>
                <a:lnTo>
                  <a:pt x="5210" y="16"/>
                </a:lnTo>
                <a:lnTo>
                  <a:pt x="5204" y="20"/>
                </a:lnTo>
                <a:lnTo>
                  <a:pt x="5202" y="22"/>
                </a:lnTo>
                <a:lnTo>
                  <a:pt x="5202" y="26"/>
                </a:lnTo>
                <a:lnTo>
                  <a:pt x="5206" y="32"/>
                </a:lnTo>
                <a:lnTo>
                  <a:pt x="5214" y="36"/>
                </a:lnTo>
                <a:lnTo>
                  <a:pt x="5224" y="40"/>
                </a:lnTo>
                <a:lnTo>
                  <a:pt x="5238" y="42"/>
                </a:lnTo>
                <a:lnTo>
                  <a:pt x="5248" y="44"/>
                </a:lnTo>
                <a:lnTo>
                  <a:pt x="5252" y="46"/>
                </a:lnTo>
                <a:lnTo>
                  <a:pt x="5248" y="48"/>
                </a:lnTo>
                <a:lnTo>
                  <a:pt x="5242" y="48"/>
                </a:lnTo>
                <a:lnTo>
                  <a:pt x="5224" y="52"/>
                </a:lnTo>
                <a:lnTo>
                  <a:pt x="5214" y="54"/>
                </a:lnTo>
                <a:lnTo>
                  <a:pt x="5208" y="56"/>
                </a:lnTo>
                <a:lnTo>
                  <a:pt x="5192" y="60"/>
                </a:lnTo>
                <a:lnTo>
                  <a:pt x="5168" y="64"/>
                </a:lnTo>
                <a:lnTo>
                  <a:pt x="5154" y="64"/>
                </a:lnTo>
                <a:lnTo>
                  <a:pt x="5140" y="64"/>
                </a:lnTo>
                <a:lnTo>
                  <a:pt x="5126" y="60"/>
                </a:lnTo>
                <a:lnTo>
                  <a:pt x="5114" y="56"/>
                </a:lnTo>
                <a:lnTo>
                  <a:pt x="5092" y="46"/>
                </a:lnTo>
                <a:lnTo>
                  <a:pt x="5078" y="40"/>
                </a:lnTo>
                <a:lnTo>
                  <a:pt x="5064" y="38"/>
                </a:lnTo>
                <a:lnTo>
                  <a:pt x="5048" y="34"/>
                </a:lnTo>
                <a:lnTo>
                  <a:pt x="5030" y="34"/>
                </a:lnTo>
                <a:lnTo>
                  <a:pt x="5012" y="36"/>
                </a:lnTo>
                <a:lnTo>
                  <a:pt x="4992" y="38"/>
                </a:lnTo>
                <a:lnTo>
                  <a:pt x="4950" y="44"/>
                </a:lnTo>
                <a:lnTo>
                  <a:pt x="4914" y="48"/>
                </a:lnTo>
                <a:lnTo>
                  <a:pt x="4900" y="50"/>
                </a:lnTo>
                <a:lnTo>
                  <a:pt x="4890" y="52"/>
                </a:lnTo>
                <a:lnTo>
                  <a:pt x="4886" y="56"/>
                </a:lnTo>
                <a:lnTo>
                  <a:pt x="4884" y="58"/>
                </a:lnTo>
                <a:lnTo>
                  <a:pt x="4884" y="60"/>
                </a:lnTo>
                <a:lnTo>
                  <a:pt x="4890" y="64"/>
                </a:lnTo>
                <a:lnTo>
                  <a:pt x="4900" y="66"/>
                </a:lnTo>
                <a:lnTo>
                  <a:pt x="4928" y="66"/>
                </a:lnTo>
                <a:lnTo>
                  <a:pt x="4966" y="66"/>
                </a:lnTo>
                <a:lnTo>
                  <a:pt x="5006" y="66"/>
                </a:lnTo>
                <a:lnTo>
                  <a:pt x="5046" y="68"/>
                </a:lnTo>
                <a:lnTo>
                  <a:pt x="5082" y="72"/>
                </a:lnTo>
                <a:lnTo>
                  <a:pt x="5116" y="76"/>
                </a:lnTo>
                <a:lnTo>
                  <a:pt x="5150" y="82"/>
                </a:lnTo>
                <a:lnTo>
                  <a:pt x="5162" y="84"/>
                </a:lnTo>
                <a:lnTo>
                  <a:pt x="5168" y="88"/>
                </a:lnTo>
                <a:lnTo>
                  <a:pt x="5168" y="90"/>
                </a:lnTo>
                <a:lnTo>
                  <a:pt x="5162" y="92"/>
                </a:lnTo>
                <a:lnTo>
                  <a:pt x="5144" y="92"/>
                </a:lnTo>
                <a:lnTo>
                  <a:pt x="5132" y="90"/>
                </a:lnTo>
                <a:lnTo>
                  <a:pt x="5118" y="88"/>
                </a:lnTo>
                <a:lnTo>
                  <a:pt x="5104" y="84"/>
                </a:lnTo>
                <a:lnTo>
                  <a:pt x="5088" y="82"/>
                </a:lnTo>
                <a:lnTo>
                  <a:pt x="5050" y="78"/>
                </a:lnTo>
                <a:lnTo>
                  <a:pt x="4946" y="74"/>
                </a:lnTo>
                <a:lnTo>
                  <a:pt x="4928" y="74"/>
                </a:lnTo>
                <a:lnTo>
                  <a:pt x="4926" y="76"/>
                </a:lnTo>
                <a:lnTo>
                  <a:pt x="4928" y="78"/>
                </a:lnTo>
                <a:lnTo>
                  <a:pt x="4942" y="84"/>
                </a:lnTo>
                <a:lnTo>
                  <a:pt x="4964" y="92"/>
                </a:lnTo>
                <a:lnTo>
                  <a:pt x="4984" y="100"/>
                </a:lnTo>
                <a:lnTo>
                  <a:pt x="5000" y="106"/>
                </a:lnTo>
                <a:lnTo>
                  <a:pt x="5004" y="110"/>
                </a:lnTo>
                <a:lnTo>
                  <a:pt x="5004" y="112"/>
                </a:lnTo>
                <a:lnTo>
                  <a:pt x="5000" y="114"/>
                </a:lnTo>
                <a:lnTo>
                  <a:pt x="4990" y="116"/>
                </a:lnTo>
                <a:lnTo>
                  <a:pt x="4984" y="118"/>
                </a:lnTo>
                <a:lnTo>
                  <a:pt x="4978" y="118"/>
                </a:lnTo>
                <a:lnTo>
                  <a:pt x="4976" y="122"/>
                </a:lnTo>
                <a:lnTo>
                  <a:pt x="4974" y="124"/>
                </a:lnTo>
                <a:lnTo>
                  <a:pt x="4972" y="132"/>
                </a:lnTo>
                <a:lnTo>
                  <a:pt x="4976" y="140"/>
                </a:lnTo>
                <a:lnTo>
                  <a:pt x="4978" y="148"/>
                </a:lnTo>
                <a:lnTo>
                  <a:pt x="4978" y="154"/>
                </a:lnTo>
                <a:lnTo>
                  <a:pt x="4978" y="158"/>
                </a:lnTo>
                <a:lnTo>
                  <a:pt x="4976" y="160"/>
                </a:lnTo>
                <a:lnTo>
                  <a:pt x="4974" y="162"/>
                </a:lnTo>
                <a:lnTo>
                  <a:pt x="4968" y="162"/>
                </a:lnTo>
                <a:lnTo>
                  <a:pt x="4958" y="162"/>
                </a:lnTo>
                <a:lnTo>
                  <a:pt x="4950" y="160"/>
                </a:lnTo>
                <a:lnTo>
                  <a:pt x="4944" y="156"/>
                </a:lnTo>
                <a:lnTo>
                  <a:pt x="4938" y="152"/>
                </a:lnTo>
                <a:lnTo>
                  <a:pt x="4930" y="146"/>
                </a:lnTo>
                <a:lnTo>
                  <a:pt x="4920" y="140"/>
                </a:lnTo>
                <a:lnTo>
                  <a:pt x="4906" y="136"/>
                </a:lnTo>
                <a:lnTo>
                  <a:pt x="4888" y="132"/>
                </a:lnTo>
                <a:lnTo>
                  <a:pt x="4870" y="128"/>
                </a:lnTo>
                <a:lnTo>
                  <a:pt x="4852" y="124"/>
                </a:lnTo>
                <a:lnTo>
                  <a:pt x="4822" y="112"/>
                </a:lnTo>
                <a:lnTo>
                  <a:pt x="4790" y="104"/>
                </a:lnTo>
                <a:lnTo>
                  <a:pt x="4772" y="100"/>
                </a:lnTo>
                <a:lnTo>
                  <a:pt x="4752" y="98"/>
                </a:lnTo>
                <a:lnTo>
                  <a:pt x="4732" y="98"/>
                </a:lnTo>
                <a:lnTo>
                  <a:pt x="4720" y="98"/>
                </a:lnTo>
                <a:lnTo>
                  <a:pt x="4712" y="102"/>
                </a:lnTo>
                <a:lnTo>
                  <a:pt x="4710" y="104"/>
                </a:lnTo>
                <a:lnTo>
                  <a:pt x="4710" y="106"/>
                </a:lnTo>
                <a:lnTo>
                  <a:pt x="4714" y="110"/>
                </a:lnTo>
                <a:lnTo>
                  <a:pt x="4722" y="118"/>
                </a:lnTo>
                <a:lnTo>
                  <a:pt x="4750" y="138"/>
                </a:lnTo>
                <a:lnTo>
                  <a:pt x="4764" y="146"/>
                </a:lnTo>
                <a:lnTo>
                  <a:pt x="4766" y="148"/>
                </a:lnTo>
                <a:lnTo>
                  <a:pt x="4764" y="150"/>
                </a:lnTo>
                <a:lnTo>
                  <a:pt x="4758" y="150"/>
                </a:lnTo>
                <a:lnTo>
                  <a:pt x="4748" y="148"/>
                </a:lnTo>
                <a:lnTo>
                  <a:pt x="4736" y="146"/>
                </a:lnTo>
                <a:lnTo>
                  <a:pt x="4724" y="146"/>
                </a:lnTo>
                <a:lnTo>
                  <a:pt x="4722" y="148"/>
                </a:lnTo>
                <a:lnTo>
                  <a:pt x="4720" y="150"/>
                </a:lnTo>
                <a:lnTo>
                  <a:pt x="4718" y="154"/>
                </a:lnTo>
                <a:lnTo>
                  <a:pt x="4722" y="158"/>
                </a:lnTo>
                <a:lnTo>
                  <a:pt x="4722" y="160"/>
                </a:lnTo>
                <a:lnTo>
                  <a:pt x="4714" y="158"/>
                </a:lnTo>
                <a:lnTo>
                  <a:pt x="4704" y="154"/>
                </a:lnTo>
                <a:lnTo>
                  <a:pt x="4688" y="150"/>
                </a:lnTo>
                <a:lnTo>
                  <a:pt x="4670" y="146"/>
                </a:lnTo>
                <a:lnTo>
                  <a:pt x="4660" y="146"/>
                </a:lnTo>
                <a:lnTo>
                  <a:pt x="4650" y="148"/>
                </a:lnTo>
                <a:lnTo>
                  <a:pt x="4642" y="150"/>
                </a:lnTo>
                <a:lnTo>
                  <a:pt x="4634" y="156"/>
                </a:lnTo>
                <a:lnTo>
                  <a:pt x="4626" y="162"/>
                </a:lnTo>
                <a:lnTo>
                  <a:pt x="4618" y="172"/>
                </a:lnTo>
                <a:lnTo>
                  <a:pt x="4606" y="190"/>
                </a:lnTo>
                <a:lnTo>
                  <a:pt x="4610" y="180"/>
                </a:lnTo>
                <a:lnTo>
                  <a:pt x="4612" y="168"/>
                </a:lnTo>
                <a:lnTo>
                  <a:pt x="4614" y="154"/>
                </a:lnTo>
                <a:lnTo>
                  <a:pt x="4610" y="138"/>
                </a:lnTo>
                <a:lnTo>
                  <a:pt x="4608" y="130"/>
                </a:lnTo>
                <a:lnTo>
                  <a:pt x="4604" y="124"/>
                </a:lnTo>
                <a:lnTo>
                  <a:pt x="4592" y="114"/>
                </a:lnTo>
                <a:lnTo>
                  <a:pt x="4582" y="108"/>
                </a:lnTo>
                <a:lnTo>
                  <a:pt x="4568" y="106"/>
                </a:lnTo>
                <a:lnTo>
                  <a:pt x="4554" y="108"/>
                </a:lnTo>
                <a:lnTo>
                  <a:pt x="4508" y="118"/>
                </a:lnTo>
                <a:lnTo>
                  <a:pt x="4476" y="124"/>
                </a:lnTo>
                <a:lnTo>
                  <a:pt x="4436" y="130"/>
                </a:lnTo>
                <a:lnTo>
                  <a:pt x="4394" y="134"/>
                </a:lnTo>
                <a:lnTo>
                  <a:pt x="4362" y="140"/>
                </a:lnTo>
                <a:lnTo>
                  <a:pt x="4338" y="144"/>
                </a:lnTo>
                <a:lnTo>
                  <a:pt x="4320" y="150"/>
                </a:lnTo>
                <a:lnTo>
                  <a:pt x="4308" y="156"/>
                </a:lnTo>
                <a:lnTo>
                  <a:pt x="4302" y="162"/>
                </a:lnTo>
                <a:lnTo>
                  <a:pt x="4302" y="166"/>
                </a:lnTo>
                <a:lnTo>
                  <a:pt x="4302" y="170"/>
                </a:lnTo>
                <a:lnTo>
                  <a:pt x="4306" y="176"/>
                </a:lnTo>
                <a:close/>
                <a:moveTo>
                  <a:pt x="5340" y="5242"/>
                </a:moveTo>
                <a:lnTo>
                  <a:pt x="5340" y="5242"/>
                </a:lnTo>
                <a:lnTo>
                  <a:pt x="5332" y="5236"/>
                </a:lnTo>
                <a:lnTo>
                  <a:pt x="5326" y="5232"/>
                </a:lnTo>
                <a:lnTo>
                  <a:pt x="5320" y="5232"/>
                </a:lnTo>
                <a:lnTo>
                  <a:pt x="5314" y="5234"/>
                </a:lnTo>
                <a:lnTo>
                  <a:pt x="5306" y="5234"/>
                </a:lnTo>
                <a:lnTo>
                  <a:pt x="5298" y="5234"/>
                </a:lnTo>
                <a:lnTo>
                  <a:pt x="5286" y="5230"/>
                </a:lnTo>
                <a:lnTo>
                  <a:pt x="5270" y="5222"/>
                </a:lnTo>
                <a:lnTo>
                  <a:pt x="5256" y="5212"/>
                </a:lnTo>
                <a:lnTo>
                  <a:pt x="5246" y="5204"/>
                </a:lnTo>
                <a:lnTo>
                  <a:pt x="5240" y="5198"/>
                </a:lnTo>
                <a:lnTo>
                  <a:pt x="5236" y="5192"/>
                </a:lnTo>
                <a:lnTo>
                  <a:pt x="5230" y="5178"/>
                </a:lnTo>
                <a:lnTo>
                  <a:pt x="5224" y="5172"/>
                </a:lnTo>
                <a:lnTo>
                  <a:pt x="5214" y="5162"/>
                </a:lnTo>
                <a:lnTo>
                  <a:pt x="5194" y="5144"/>
                </a:lnTo>
                <a:lnTo>
                  <a:pt x="5186" y="5136"/>
                </a:lnTo>
                <a:lnTo>
                  <a:pt x="5176" y="5130"/>
                </a:lnTo>
                <a:lnTo>
                  <a:pt x="5166" y="5126"/>
                </a:lnTo>
                <a:lnTo>
                  <a:pt x="5156" y="5124"/>
                </a:lnTo>
                <a:lnTo>
                  <a:pt x="5144" y="5122"/>
                </a:lnTo>
                <a:lnTo>
                  <a:pt x="5128" y="5124"/>
                </a:lnTo>
                <a:lnTo>
                  <a:pt x="5114" y="5126"/>
                </a:lnTo>
                <a:lnTo>
                  <a:pt x="5100" y="5126"/>
                </a:lnTo>
                <a:lnTo>
                  <a:pt x="5086" y="5124"/>
                </a:lnTo>
                <a:lnTo>
                  <a:pt x="5074" y="5122"/>
                </a:lnTo>
                <a:lnTo>
                  <a:pt x="5052" y="5114"/>
                </a:lnTo>
                <a:lnTo>
                  <a:pt x="5032" y="5106"/>
                </a:lnTo>
                <a:lnTo>
                  <a:pt x="5026" y="5104"/>
                </a:lnTo>
                <a:lnTo>
                  <a:pt x="5022" y="5104"/>
                </a:lnTo>
                <a:lnTo>
                  <a:pt x="5014" y="5108"/>
                </a:lnTo>
                <a:lnTo>
                  <a:pt x="5004" y="5114"/>
                </a:lnTo>
                <a:lnTo>
                  <a:pt x="4996" y="5120"/>
                </a:lnTo>
                <a:lnTo>
                  <a:pt x="4984" y="5134"/>
                </a:lnTo>
                <a:lnTo>
                  <a:pt x="4980" y="5136"/>
                </a:lnTo>
                <a:lnTo>
                  <a:pt x="4978" y="5136"/>
                </a:lnTo>
                <a:lnTo>
                  <a:pt x="4976" y="5136"/>
                </a:lnTo>
                <a:lnTo>
                  <a:pt x="4974" y="5130"/>
                </a:lnTo>
                <a:lnTo>
                  <a:pt x="4976" y="5126"/>
                </a:lnTo>
                <a:lnTo>
                  <a:pt x="4980" y="5112"/>
                </a:lnTo>
                <a:lnTo>
                  <a:pt x="4984" y="5100"/>
                </a:lnTo>
                <a:lnTo>
                  <a:pt x="4984" y="5094"/>
                </a:lnTo>
                <a:lnTo>
                  <a:pt x="4982" y="5092"/>
                </a:lnTo>
                <a:lnTo>
                  <a:pt x="4980" y="5086"/>
                </a:lnTo>
                <a:lnTo>
                  <a:pt x="4978" y="5082"/>
                </a:lnTo>
                <a:lnTo>
                  <a:pt x="4974" y="5072"/>
                </a:lnTo>
                <a:lnTo>
                  <a:pt x="4972" y="5068"/>
                </a:lnTo>
                <a:lnTo>
                  <a:pt x="4968" y="5064"/>
                </a:lnTo>
                <a:lnTo>
                  <a:pt x="4960" y="5060"/>
                </a:lnTo>
                <a:lnTo>
                  <a:pt x="4952" y="5058"/>
                </a:lnTo>
                <a:lnTo>
                  <a:pt x="4942" y="5054"/>
                </a:lnTo>
                <a:lnTo>
                  <a:pt x="4934" y="5050"/>
                </a:lnTo>
                <a:lnTo>
                  <a:pt x="4924" y="5042"/>
                </a:lnTo>
                <a:lnTo>
                  <a:pt x="4916" y="5036"/>
                </a:lnTo>
                <a:lnTo>
                  <a:pt x="4912" y="5034"/>
                </a:lnTo>
                <a:lnTo>
                  <a:pt x="4906" y="5032"/>
                </a:lnTo>
                <a:lnTo>
                  <a:pt x="4896" y="5032"/>
                </a:lnTo>
                <a:lnTo>
                  <a:pt x="4888" y="5028"/>
                </a:lnTo>
                <a:lnTo>
                  <a:pt x="4878" y="5024"/>
                </a:lnTo>
                <a:lnTo>
                  <a:pt x="4858" y="5020"/>
                </a:lnTo>
                <a:lnTo>
                  <a:pt x="4852" y="5022"/>
                </a:lnTo>
                <a:lnTo>
                  <a:pt x="4846" y="5022"/>
                </a:lnTo>
                <a:lnTo>
                  <a:pt x="4836" y="5028"/>
                </a:lnTo>
                <a:lnTo>
                  <a:pt x="4828" y="5036"/>
                </a:lnTo>
                <a:lnTo>
                  <a:pt x="4822" y="5046"/>
                </a:lnTo>
                <a:lnTo>
                  <a:pt x="4814" y="5060"/>
                </a:lnTo>
                <a:lnTo>
                  <a:pt x="4810" y="5060"/>
                </a:lnTo>
                <a:lnTo>
                  <a:pt x="4808" y="5056"/>
                </a:lnTo>
                <a:lnTo>
                  <a:pt x="4806" y="5048"/>
                </a:lnTo>
                <a:lnTo>
                  <a:pt x="4810" y="5040"/>
                </a:lnTo>
                <a:lnTo>
                  <a:pt x="4818" y="5026"/>
                </a:lnTo>
                <a:lnTo>
                  <a:pt x="4822" y="5018"/>
                </a:lnTo>
                <a:lnTo>
                  <a:pt x="4822" y="5012"/>
                </a:lnTo>
                <a:lnTo>
                  <a:pt x="4822" y="5008"/>
                </a:lnTo>
                <a:lnTo>
                  <a:pt x="4820" y="5006"/>
                </a:lnTo>
                <a:lnTo>
                  <a:pt x="4810" y="5000"/>
                </a:lnTo>
                <a:lnTo>
                  <a:pt x="4792" y="4996"/>
                </a:lnTo>
                <a:lnTo>
                  <a:pt x="4784" y="4998"/>
                </a:lnTo>
                <a:lnTo>
                  <a:pt x="4774" y="4998"/>
                </a:lnTo>
                <a:lnTo>
                  <a:pt x="4752" y="4996"/>
                </a:lnTo>
                <a:lnTo>
                  <a:pt x="4742" y="4994"/>
                </a:lnTo>
                <a:lnTo>
                  <a:pt x="4736" y="4998"/>
                </a:lnTo>
                <a:lnTo>
                  <a:pt x="4730" y="5002"/>
                </a:lnTo>
                <a:lnTo>
                  <a:pt x="4728" y="5010"/>
                </a:lnTo>
                <a:lnTo>
                  <a:pt x="4726" y="5018"/>
                </a:lnTo>
                <a:lnTo>
                  <a:pt x="4724" y="5026"/>
                </a:lnTo>
                <a:lnTo>
                  <a:pt x="4726" y="5040"/>
                </a:lnTo>
                <a:lnTo>
                  <a:pt x="4722" y="5036"/>
                </a:lnTo>
                <a:lnTo>
                  <a:pt x="4720" y="5036"/>
                </a:lnTo>
                <a:lnTo>
                  <a:pt x="4712" y="5042"/>
                </a:lnTo>
                <a:lnTo>
                  <a:pt x="4710" y="5044"/>
                </a:lnTo>
                <a:lnTo>
                  <a:pt x="4708" y="5044"/>
                </a:lnTo>
                <a:lnTo>
                  <a:pt x="4708" y="5042"/>
                </a:lnTo>
                <a:lnTo>
                  <a:pt x="4710" y="5034"/>
                </a:lnTo>
                <a:lnTo>
                  <a:pt x="4712" y="5026"/>
                </a:lnTo>
                <a:lnTo>
                  <a:pt x="4710" y="5020"/>
                </a:lnTo>
                <a:lnTo>
                  <a:pt x="4706" y="5020"/>
                </a:lnTo>
                <a:lnTo>
                  <a:pt x="4702" y="5020"/>
                </a:lnTo>
                <a:lnTo>
                  <a:pt x="4694" y="5024"/>
                </a:lnTo>
                <a:lnTo>
                  <a:pt x="4696" y="5020"/>
                </a:lnTo>
                <a:lnTo>
                  <a:pt x="4698" y="5014"/>
                </a:lnTo>
                <a:lnTo>
                  <a:pt x="4698" y="5010"/>
                </a:lnTo>
                <a:lnTo>
                  <a:pt x="4700" y="5004"/>
                </a:lnTo>
                <a:lnTo>
                  <a:pt x="4700" y="5000"/>
                </a:lnTo>
                <a:lnTo>
                  <a:pt x="4702" y="4996"/>
                </a:lnTo>
                <a:lnTo>
                  <a:pt x="4706" y="4994"/>
                </a:lnTo>
                <a:lnTo>
                  <a:pt x="4714" y="4990"/>
                </a:lnTo>
                <a:lnTo>
                  <a:pt x="4720" y="4986"/>
                </a:lnTo>
                <a:lnTo>
                  <a:pt x="4726" y="4980"/>
                </a:lnTo>
                <a:lnTo>
                  <a:pt x="4736" y="4964"/>
                </a:lnTo>
                <a:lnTo>
                  <a:pt x="4746" y="4950"/>
                </a:lnTo>
                <a:lnTo>
                  <a:pt x="4750" y="4944"/>
                </a:lnTo>
                <a:lnTo>
                  <a:pt x="4756" y="4940"/>
                </a:lnTo>
                <a:lnTo>
                  <a:pt x="4760" y="4938"/>
                </a:lnTo>
                <a:lnTo>
                  <a:pt x="4762" y="4932"/>
                </a:lnTo>
                <a:lnTo>
                  <a:pt x="4762" y="4926"/>
                </a:lnTo>
                <a:lnTo>
                  <a:pt x="4762" y="4918"/>
                </a:lnTo>
                <a:lnTo>
                  <a:pt x="4760" y="4912"/>
                </a:lnTo>
                <a:lnTo>
                  <a:pt x="4756" y="4906"/>
                </a:lnTo>
                <a:lnTo>
                  <a:pt x="4752" y="4902"/>
                </a:lnTo>
                <a:lnTo>
                  <a:pt x="4748" y="4902"/>
                </a:lnTo>
                <a:lnTo>
                  <a:pt x="4740" y="4902"/>
                </a:lnTo>
                <a:lnTo>
                  <a:pt x="4736" y="4900"/>
                </a:lnTo>
                <a:lnTo>
                  <a:pt x="4736" y="4896"/>
                </a:lnTo>
                <a:lnTo>
                  <a:pt x="4734" y="4892"/>
                </a:lnTo>
                <a:lnTo>
                  <a:pt x="4732" y="4886"/>
                </a:lnTo>
                <a:lnTo>
                  <a:pt x="4730" y="4884"/>
                </a:lnTo>
                <a:lnTo>
                  <a:pt x="4730" y="4882"/>
                </a:lnTo>
                <a:lnTo>
                  <a:pt x="4730" y="4878"/>
                </a:lnTo>
                <a:lnTo>
                  <a:pt x="4728" y="4874"/>
                </a:lnTo>
                <a:lnTo>
                  <a:pt x="4726" y="4870"/>
                </a:lnTo>
                <a:lnTo>
                  <a:pt x="4724" y="4868"/>
                </a:lnTo>
                <a:lnTo>
                  <a:pt x="4722" y="4864"/>
                </a:lnTo>
                <a:lnTo>
                  <a:pt x="4722" y="4860"/>
                </a:lnTo>
                <a:lnTo>
                  <a:pt x="4722" y="4854"/>
                </a:lnTo>
                <a:lnTo>
                  <a:pt x="4718" y="4848"/>
                </a:lnTo>
                <a:lnTo>
                  <a:pt x="4716" y="4828"/>
                </a:lnTo>
                <a:lnTo>
                  <a:pt x="4714" y="4806"/>
                </a:lnTo>
                <a:lnTo>
                  <a:pt x="4714" y="4800"/>
                </a:lnTo>
                <a:lnTo>
                  <a:pt x="4712" y="4800"/>
                </a:lnTo>
                <a:lnTo>
                  <a:pt x="4710" y="4798"/>
                </a:lnTo>
                <a:lnTo>
                  <a:pt x="4708" y="4794"/>
                </a:lnTo>
                <a:lnTo>
                  <a:pt x="4702" y="4780"/>
                </a:lnTo>
                <a:lnTo>
                  <a:pt x="4698" y="4776"/>
                </a:lnTo>
                <a:lnTo>
                  <a:pt x="4696" y="4776"/>
                </a:lnTo>
                <a:lnTo>
                  <a:pt x="4694" y="4778"/>
                </a:lnTo>
                <a:lnTo>
                  <a:pt x="4694" y="4780"/>
                </a:lnTo>
                <a:lnTo>
                  <a:pt x="4694" y="4784"/>
                </a:lnTo>
                <a:lnTo>
                  <a:pt x="4690" y="4792"/>
                </a:lnTo>
                <a:lnTo>
                  <a:pt x="4688" y="4790"/>
                </a:lnTo>
                <a:lnTo>
                  <a:pt x="4688" y="4786"/>
                </a:lnTo>
                <a:lnTo>
                  <a:pt x="4688" y="4782"/>
                </a:lnTo>
                <a:lnTo>
                  <a:pt x="4688" y="4778"/>
                </a:lnTo>
                <a:lnTo>
                  <a:pt x="4684" y="4764"/>
                </a:lnTo>
                <a:lnTo>
                  <a:pt x="4684" y="4762"/>
                </a:lnTo>
                <a:lnTo>
                  <a:pt x="4682" y="4764"/>
                </a:lnTo>
                <a:lnTo>
                  <a:pt x="4680" y="4766"/>
                </a:lnTo>
                <a:lnTo>
                  <a:pt x="4676" y="4764"/>
                </a:lnTo>
                <a:lnTo>
                  <a:pt x="4674" y="4758"/>
                </a:lnTo>
                <a:lnTo>
                  <a:pt x="4672" y="4754"/>
                </a:lnTo>
                <a:lnTo>
                  <a:pt x="4668" y="4752"/>
                </a:lnTo>
                <a:lnTo>
                  <a:pt x="4662" y="4748"/>
                </a:lnTo>
                <a:lnTo>
                  <a:pt x="4654" y="4744"/>
                </a:lnTo>
                <a:lnTo>
                  <a:pt x="4650" y="4740"/>
                </a:lnTo>
                <a:lnTo>
                  <a:pt x="4648" y="4734"/>
                </a:lnTo>
                <a:lnTo>
                  <a:pt x="4644" y="4730"/>
                </a:lnTo>
                <a:lnTo>
                  <a:pt x="4640" y="4726"/>
                </a:lnTo>
                <a:lnTo>
                  <a:pt x="4632" y="4722"/>
                </a:lnTo>
                <a:lnTo>
                  <a:pt x="4622" y="4718"/>
                </a:lnTo>
                <a:lnTo>
                  <a:pt x="4610" y="4712"/>
                </a:lnTo>
                <a:lnTo>
                  <a:pt x="4598" y="4708"/>
                </a:lnTo>
                <a:lnTo>
                  <a:pt x="4568" y="4698"/>
                </a:lnTo>
                <a:lnTo>
                  <a:pt x="4558" y="4696"/>
                </a:lnTo>
                <a:lnTo>
                  <a:pt x="4552" y="4696"/>
                </a:lnTo>
                <a:lnTo>
                  <a:pt x="4550" y="4700"/>
                </a:lnTo>
                <a:lnTo>
                  <a:pt x="4546" y="4700"/>
                </a:lnTo>
                <a:lnTo>
                  <a:pt x="4536" y="4698"/>
                </a:lnTo>
                <a:lnTo>
                  <a:pt x="4524" y="4698"/>
                </a:lnTo>
                <a:lnTo>
                  <a:pt x="4520" y="4700"/>
                </a:lnTo>
                <a:lnTo>
                  <a:pt x="4518" y="4702"/>
                </a:lnTo>
                <a:lnTo>
                  <a:pt x="4518" y="4704"/>
                </a:lnTo>
                <a:lnTo>
                  <a:pt x="4514" y="4706"/>
                </a:lnTo>
                <a:lnTo>
                  <a:pt x="4502" y="4702"/>
                </a:lnTo>
                <a:lnTo>
                  <a:pt x="4494" y="4700"/>
                </a:lnTo>
                <a:lnTo>
                  <a:pt x="4486" y="4698"/>
                </a:lnTo>
                <a:lnTo>
                  <a:pt x="4478" y="4698"/>
                </a:lnTo>
                <a:lnTo>
                  <a:pt x="4472" y="4702"/>
                </a:lnTo>
                <a:lnTo>
                  <a:pt x="4470" y="4700"/>
                </a:lnTo>
                <a:lnTo>
                  <a:pt x="4468" y="4698"/>
                </a:lnTo>
                <a:lnTo>
                  <a:pt x="4466" y="4692"/>
                </a:lnTo>
                <a:lnTo>
                  <a:pt x="4462" y="4684"/>
                </a:lnTo>
                <a:lnTo>
                  <a:pt x="4460" y="4682"/>
                </a:lnTo>
                <a:lnTo>
                  <a:pt x="4458" y="4682"/>
                </a:lnTo>
                <a:lnTo>
                  <a:pt x="4454" y="4680"/>
                </a:lnTo>
                <a:lnTo>
                  <a:pt x="4452" y="4678"/>
                </a:lnTo>
                <a:lnTo>
                  <a:pt x="4450" y="4670"/>
                </a:lnTo>
                <a:lnTo>
                  <a:pt x="4448" y="4666"/>
                </a:lnTo>
                <a:lnTo>
                  <a:pt x="4444" y="4664"/>
                </a:lnTo>
                <a:lnTo>
                  <a:pt x="4440" y="4660"/>
                </a:lnTo>
                <a:lnTo>
                  <a:pt x="4430" y="4656"/>
                </a:lnTo>
                <a:lnTo>
                  <a:pt x="4418" y="4654"/>
                </a:lnTo>
                <a:lnTo>
                  <a:pt x="4412" y="4650"/>
                </a:lnTo>
                <a:lnTo>
                  <a:pt x="4412" y="4646"/>
                </a:lnTo>
                <a:lnTo>
                  <a:pt x="4416" y="4638"/>
                </a:lnTo>
                <a:lnTo>
                  <a:pt x="4416" y="4630"/>
                </a:lnTo>
                <a:lnTo>
                  <a:pt x="4414" y="4624"/>
                </a:lnTo>
                <a:lnTo>
                  <a:pt x="4410" y="4618"/>
                </a:lnTo>
                <a:lnTo>
                  <a:pt x="4404" y="4612"/>
                </a:lnTo>
                <a:lnTo>
                  <a:pt x="4388" y="4598"/>
                </a:lnTo>
                <a:lnTo>
                  <a:pt x="4364" y="4582"/>
                </a:lnTo>
                <a:lnTo>
                  <a:pt x="4358" y="4576"/>
                </a:lnTo>
                <a:lnTo>
                  <a:pt x="4348" y="4572"/>
                </a:lnTo>
                <a:lnTo>
                  <a:pt x="4338" y="4570"/>
                </a:lnTo>
                <a:lnTo>
                  <a:pt x="4326" y="4572"/>
                </a:lnTo>
                <a:lnTo>
                  <a:pt x="4316" y="4574"/>
                </a:lnTo>
                <a:lnTo>
                  <a:pt x="4300" y="4576"/>
                </a:lnTo>
                <a:lnTo>
                  <a:pt x="4298" y="4576"/>
                </a:lnTo>
                <a:lnTo>
                  <a:pt x="4300" y="4572"/>
                </a:lnTo>
                <a:lnTo>
                  <a:pt x="4304" y="4568"/>
                </a:lnTo>
                <a:lnTo>
                  <a:pt x="4306" y="4564"/>
                </a:lnTo>
                <a:lnTo>
                  <a:pt x="4308" y="4554"/>
                </a:lnTo>
                <a:lnTo>
                  <a:pt x="4310" y="4546"/>
                </a:lnTo>
                <a:lnTo>
                  <a:pt x="4314" y="4544"/>
                </a:lnTo>
                <a:lnTo>
                  <a:pt x="4318" y="4540"/>
                </a:lnTo>
                <a:lnTo>
                  <a:pt x="4322" y="4536"/>
                </a:lnTo>
                <a:lnTo>
                  <a:pt x="4322" y="4534"/>
                </a:lnTo>
                <a:lnTo>
                  <a:pt x="4322" y="4532"/>
                </a:lnTo>
                <a:lnTo>
                  <a:pt x="4320" y="4530"/>
                </a:lnTo>
                <a:lnTo>
                  <a:pt x="4312" y="4526"/>
                </a:lnTo>
                <a:lnTo>
                  <a:pt x="4308" y="4522"/>
                </a:lnTo>
                <a:lnTo>
                  <a:pt x="4304" y="4518"/>
                </a:lnTo>
                <a:lnTo>
                  <a:pt x="4300" y="4514"/>
                </a:lnTo>
                <a:lnTo>
                  <a:pt x="4296" y="4512"/>
                </a:lnTo>
                <a:lnTo>
                  <a:pt x="4288" y="4510"/>
                </a:lnTo>
                <a:lnTo>
                  <a:pt x="4280" y="4510"/>
                </a:lnTo>
                <a:lnTo>
                  <a:pt x="4278" y="4508"/>
                </a:lnTo>
                <a:lnTo>
                  <a:pt x="4274" y="4504"/>
                </a:lnTo>
                <a:lnTo>
                  <a:pt x="4270" y="4500"/>
                </a:lnTo>
                <a:lnTo>
                  <a:pt x="4262" y="4496"/>
                </a:lnTo>
                <a:lnTo>
                  <a:pt x="4248" y="4488"/>
                </a:lnTo>
                <a:lnTo>
                  <a:pt x="4244" y="4484"/>
                </a:lnTo>
                <a:lnTo>
                  <a:pt x="4242" y="4480"/>
                </a:lnTo>
                <a:lnTo>
                  <a:pt x="4244" y="4478"/>
                </a:lnTo>
                <a:lnTo>
                  <a:pt x="4252" y="4476"/>
                </a:lnTo>
                <a:lnTo>
                  <a:pt x="4270" y="4472"/>
                </a:lnTo>
                <a:lnTo>
                  <a:pt x="4278" y="4468"/>
                </a:lnTo>
                <a:lnTo>
                  <a:pt x="4278" y="4466"/>
                </a:lnTo>
                <a:lnTo>
                  <a:pt x="4274" y="4464"/>
                </a:lnTo>
                <a:lnTo>
                  <a:pt x="4258" y="4460"/>
                </a:lnTo>
                <a:lnTo>
                  <a:pt x="4242" y="4460"/>
                </a:lnTo>
                <a:lnTo>
                  <a:pt x="4232" y="4464"/>
                </a:lnTo>
                <a:lnTo>
                  <a:pt x="4222" y="4466"/>
                </a:lnTo>
                <a:lnTo>
                  <a:pt x="4202" y="4468"/>
                </a:lnTo>
                <a:lnTo>
                  <a:pt x="4192" y="4468"/>
                </a:lnTo>
                <a:lnTo>
                  <a:pt x="4184" y="4470"/>
                </a:lnTo>
                <a:lnTo>
                  <a:pt x="4180" y="4472"/>
                </a:lnTo>
                <a:lnTo>
                  <a:pt x="4178" y="4474"/>
                </a:lnTo>
                <a:lnTo>
                  <a:pt x="4176" y="4480"/>
                </a:lnTo>
                <a:lnTo>
                  <a:pt x="4176" y="4484"/>
                </a:lnTo>
                <a:lnTo>
                  <a:pt x="4172" y="4486"/>
                </a:lnTo>
                <a:lnTo>
                  <a:pt x="4158" y="4492"/>
                </a:lnTo>
                <a:lnTo>
                  <a:pt x="4152" y="4494"/>
                </a:lnTo>
                <a:lnTo>
                  <a:pt x="4144" y="4496"/>
                </a:lnTo>
                <a:lnTo>
                  <a:pt x="4136" y="4494"/>
                </a:lnTo>
                <a:lnTo>
                  <a:pt x="4126" y="4492"/>
                </a:lnTo>
                <a:lnTo>
                  <a:pt x="4120" y="4486"/>
                </a:lnTo>
                <a:lnTo>
                  <a:pt x="4112" y="4476"/>
                </a:lnTo>
                <a:lnTo>
                  <a:pt x="4108" y="4472"/>
                </a:lnTo>
                <a:lnTo>
                  <a:pt x="4104" y="4470"/>
                </a:lnTo>
                <a:lnTo>
                  <a:pt x="4098" y="4468"/>
                </a:lnTo>
                <a:lnTo>
                  <a:pt x="4090" y="4468"/>
                </a:lnTo>
                <a:lnTo>
                  <a:pt x="4076" y="4470"/>
                </a:lnTo>
                <a:lnTo>
                  <a:pt x="4060" y="4474"/>
                </a:lnTo>
                <a:lnTo>
                  <a:pt x="4044" y="4476"/>
                </a:lnTo>
                <a:lnTo>
                  <a:pt x="4032" y="4478"/>
                </a:lnTo>
                <a:lnTo>
                  <a:pt x="4026" y="4476"/>
                </a:lnTo>
                <a:lnTo>
                  <a:pt x="4022" y="4472"/>
                </a:lnTo>
                <a:lnTo>
                  <a:pt x="4020" y="4468"/>
                </a:lnTo>
                <a:lnTo>
                  <a:pt x="4020" y="4460"/>
                </a:lnTo>
                <a:lnTo>
                  <a:pt x="4018" y="4448"/>
                </a:lnTo>
                <a:lnTo>
                  <a:pt x="4012" y="4438"/>
                </a:lnTo>
                <a:lnTo>
                  <a:pt x="4004" y="4434"/>
                </a:lnTo>
                <a:lnTo>
                  <a:pt x="3996" y="4430"/>
                </a:lnTo>
                <a:lnTo>
                  <a:pt x="3986" y="4426"/>
                </a:lnTo>
                <a:lnTo>
                  <a:pt x="3978" y="4422"/>
                </a:lnTo>
                <a:lnTo>
                  <a:pt x="3970" y="4416"/>
                </a:lnTo>
                <a:lnTo>
                  <a:pt x="3964" y="4406"/>
                </a:lnTo>
                <a:lnTo>
                  <a:pt x="3960" y="4396"/>
                </a:lnTo>
                <a:lnTo>
                  <a:pt x="3956" y="4390"/>
                </a:lnTo>
                <a:lnTo>
                  <a:pt x="3950" y="4390"/>
                </a:lnTo>
                <a:lnTo>
                  <a:pt x="3946" y="4394"/>
                </a:lnTo>
                <a:lnTo>
                  <a:pt x="3944" y="4398"/>
                </a:lnTo>
                <a:lnTo>
                  <a:pt x="3940" y="4406"/>
                </a:lnTo>
                <a:lnTo>
                  <a:pt x="3940" y="4412"/>
                </a:lnTo>
                <a:lnTo>
                  <a:pt x="3940" y="4416"/>
                </a:lnTo>
                <a:lnTo>
                  <a:pt x="3946" y="4424"/>
                </a:lnTo>
                <a:lnTo>
                  <a:pt x="3948" y="4430"/>
                </a:lnTo>
                <a:lnTo>
                  <a:pt x="3948" y="4434"/>
                </a:lnTo>
                <a:lnTo>
                  <a:pt x="3944" y="4436"/>
                </a:lnTo>
                <a:lnTo>
                  <a:pt x="3928" y="4440"/>
                </a:lnTo>
                <a:lnTo>
                  <a:pt x="3916" y="4444"/>
                </a:lnTo>
                <a:lnTo>
                  <a:pt x="3906" y="4448"/>
                </a:lnTo>
                <a:lnTo>
                  <a:pt x="3900" y="4452"/>
                </a:lnTo>
                <a:lnTo>
                  <a:pt x="3894" y="4458"/>
                </a:lnTo>
                <a:lnTo>
                  <a:pt x="3888" y="4464"/>
                </a:lnTo>
                <a:lnTo>
                  <a:pt x="3886" y="4462"/>
                </a:lnTo>
                <a:lnTo>
                  <a:pt x="3886" y="4456"/>
                </a:lnTo>
                <a:lnTo>
                  <a:pt x="3882" y="4448"/>
                </a:lnTo>
                <a:lnTo>
                  <a:pt x="3878" y="4440"/>
                </a:lnTo>
                <a:lnTo>
                  <a:pt x="3874" y="4434"/>
                </a:lnTo>
                <a:lnTo>
                  <a:pt x="3872" y="4430"/>
                </a:lnTo>
                <a:lnTo>
                  <a:pt x="3874" y="4426"/>
                </a:lnTo>
                <a:lnTo>
                  <a:pt x="3878" y="4422"/>
                </a:lnTo>
                <a:lnTo>
                  <a:pt x="3888" y="4416"/>
                </a:lnTo>
                <a:lnTo>
                  <a:pt x="3898" y="4410"/>
                </a:lnTo>
                <a:lnTo>
                  <a:pt x="3900" y="4410"/>
                </a:lnTo>
                <a:lnTo>
                  <a:pt x="3902" y="4406"/>
                </a:lnTo>
                <a:lnTo>
                  <a:pt x="3906" y="4402"/>
                </a:lnTo>
                <a:lnTo>
                  <a:pt x="3908" y="4398"/>
                </a:lnTo>
                <a:lnTo>
                  <a:pt x="3906" y="4394"/>
                </a:lnTo>
                <a:lnTo>
                  <a:pt x="3904" y="4390"/>
                </a:lnTo>
                <a:lnTo>
                  <a:pt x="3902" y="4386"/>
                </a:lnTo>
                <a:lnTo>
                  <a:pt x="3894" y="4384"/>
                </a:lnTo>
                <a:lnTo>
                  <a:pt x="3886" y="4384"/>
                </a:lnTo>
                <a:lnTo>
                  <a:pt x="3874" y="4386"/>
                </a:lnTo>
                <a:lnTo>
                  <a:pt x="3870" y="4390"/>
                </a:lnTo>
                <a:lnTo>
                  <a:pt x="3866" y="4392"/>
                </a:lnTo>
                <a:lnTo>
                  <a:pt x="3858" y="4402"/>
                </a:lnTo>
                <a:lnTo>
                  <a:pt x="3852" y="4410"/>
                </a:lnTo>
                <a:lnTo>
                  <a:pt x="3840" y="4418"/>
                </a:lnTo>
                <a:lnTo>
                  <a:pt x="3824" y="4428"/>
                </a:lnTo>
                <a:lnTo>
                  <a:pt x="3812" y="4434"/>
                </a:lnTo>
                <a:lnTo>
                  <a:pt x="3802" y="4436"/>
                </a:lnTo>
                <a:lnTo>
                  <a:pt x="3794" y="4434"/>
                </a:lnTo>
                <a:lnTo>
                  <a:pt x="3790" y="4432"/>
                </a:lnTo>
                <a:lnTo>
                  <a:pt x="3786" y="4432"/>
                </a:lnTo>
                <a:lnTo>
                  <a:pt x="3782" y="4434"/>
                </a:lnTo>
                <a:lnTo>
                  <a:pt x="3780" y="4442"/>
                </a:lnTo>
                <a:lnTo>
                  <a:pt x="3776" y="4448"/>
                </a:lnTo>
                <a:lnTo>
                  <a:pt x="3772" y="4452"/>
                </a:lnTo>
                <a:lnTo>
                  <a:pt x="3768" y="4450"/>
                </a:lnTo>
                <a:lnTo>
                  <a:pt x="3762" y="4450"/>
                </a:lnTo>
                <a:lnTo>
                  <a:pt x="3752" y="4446"/>
                </a:lnTo>
                <a:lnTo>
                  <a:pt x="3748" y="4446"/>
                </a:lnTo>
                <a:lnTo>
                  <a:pt x="3746" y="4450"/>
                </a:lnTo>
                <a:lnTo>
                  <a:pt x="3744" y="4456"/>
                </a:lnTo>
                <a:lnTo>
                  <a:pt x="3742" y="4460"/>
                </a:lnTo>
                <a:lnTo>
                  <a:pt x="3734" y="4470"/>
                </a:lnTo>
                <a:lnTo>
                  <a:pt x="3730" y="4476"/>
                </a:lnTo>
                <a:lnTo>
                  <a:pt x="3728" y="4484"/>
                </a:lnTo>
                <a:lnTo>
                  <a:pt x="3726" y="4492"/>
                </a:lnTo>
                <a:lnTo>
                  <a:pt x="3726" y="4506"/>
                </a:lnTo>
                <a:lnTo>
                  <a:pt x="3726" y="4518"/>
                </a:lnTo>
                <a:lnTo>
                  <a:pt x="3724" y="4524"/>
                </a:lnTo>
                <a:lnTo>
                  <a:pt x="3720" y="4528"/>
                </a:lnTo>
                <a:lnTo>
                  <a:pt x="3716" y="4530"/>
                </a:lnTo>
                <a:lnTo>
                  <a:pt x="3712" y="4530"/>
                </a:lnTo>
                <a:lnTo>
                  <a:pt x="3708" y="4530"/>
                </a:lnTo>
                <a:lnTo>
                  <a:pt x="3704" y="4534"/>
                </a:lnTo>
                <a:lnTo>
                  <a:pt x="3702" y="4540"/>
                </a:lnTo>
                <a:lnTo>
                  <a:pt x="3700" y="4548"/>
                </a:lnTo>
                <a:lnTo>
                  <a:pt x="3696" y="4554"/>
                </a:lnTo>
                <a:lnTo>
                  <a:pt x="3684" y="4560"/>
                </a:lnTo>
                <a:lnTo>
                  <a:pt x="3680" y="4562"/>
                </a:lnTo>
                <a:lnTo>
                  <a:pt x="3676" y="4566"/>
                </a:lnTo>
                <a:lnTo>
                  <a:pt x="3674" y="4572"/>
                </a:lnTo>
                <a:lnTo>
                  <a:pt x="3676" y="4580"/>
                </a:lnTo>
                <a:lnTo>
                  <a:pt x="3678" y="4592"/>
                </a:lnTo>
                <a:lnTo>
                  <a:pt x="3678" y="4598"/>
                </a:lnTo>
                <a:lnTo>
                  <a:pt x="3674" y="4596"/>
                </a:lnTo>
                <a:lnTo>
                  <a:pt x="3654" y="4566"/>
                </a:lnTo>
                <a:lnTo>
                  <a:pt x="3642" y="4552"/>
                </a:lnTo>
                <a:lnTo>
                  <a:pt x="3630" y="4540"/>
                </a:lnTo>
                <a:lnTo>
                  <a:pt x="3622" y="4534"/>
                </a:lnTo>
                <a:lnTo>
                  <a:pt x="3614" y="4530"/>
                </a:lnTo>
                <a:lnTo>
                  <a:pt x="3606" y="4528"/>
                </a:lnTo>
                <a:lnTo>
                  <a:pt x="3598" y="4528"/>
                </a:lnTo>
                <a:lnTo>
                  <a:pt x="3588" y="4528"/>
                </a:lnTo>
                <a:lnTo>
                  <a:pt x="3588" y="4526"/>
                </a:lnTo>
                <a:lnTo>
                  <a:pt x="3586" y="4524"/>
                </a:lnTo>
                <a:lnTo>
                  <a:pt x="3576" y="4520"/>
                </a:lnTo>
                <a:lnTo>
                  <a:pt x="3562" y="4520"/>
                </a:lnTo>
                <a:lnTo>
                  <a:pt x="3560" y="4522"/>
                </a:lnTo>
                <a:lnTo>
                  <a:pt x="3560" y="4524"/>
                </a:lnTo>
                <a:lnTo>
                  <a:pt x="3556" y="4530"/>
                </a:lnTo>
                <a:lnTo>
                  <a:pt x="3554" y="4534"/>
                </a:lnTo>
                <a:lnTo>
                  <a:pt x="3546" y="4536"/>
                </a:lnTo>
                <a:lnTo>
                  <a:pt x="3524" y="4546"/>
                </a:lnTo>
                <a:lnTo>
                  <a:pt x="3518" y="4552"/>
                </a:lnTo>
                <a:lnTo>
                  <a:pt x="3514" y="4556"/>
                </a:lnTo>
                <a:lnTo>
                  <a:pt x="3498" y="4562"/>
                </a:lnTo>
                <a:lnTo>
                  <a:pt x="3492" y="4562"/>
                </a:lnTo>
                <a:lnTo>
                  <a:pt x="3488" y="4560"/>
                </a:lnTo>
                <a:lnTo>
                  <a:pt x="3480" y="4552"/>
                </a:lnTo>
                <a:lnTo>
                  <a:pt x="3476" y="4546"/>
                </a:lnTo>
                <a:lnTo>
                  <a:pt x="3474" y="4544"/>
                </a:lnTo>
                <a:lnTo>
                  <a:pt x="3472" y="4542"/>
                </a:lnTo>
                <a:lnTo>
                  <a:pt x="3470" y="4542"/>
                </a:lnTo>
                <a:lnTo>
                  <a:pt x="3470" y="4544"/>
                </a:lnTo>
                <a:lnTo>
                  <a:pt x="3470" y="4548"/>
                </a:lnTo>
                <a:lnTo>
                  <a:pt x="3470" y="4550"/>
                </a:lnTo>
                <a:lnTo>
                  <a:pt x="3468" y="4552"/>
                </a:lnTo>
                <a:lnTo>
                  <a:pt x="3464" y="4552"/>
                </a:lnTo>
                <a:lnTo>
                  <a:pt x="3460" y="4550"/>
                </a:lnTo>
                <a:lnTo>
                  <a:pt x="3456" y="4546"/>
                </a:lnTo>
                <a:lnTo>
                  <a:pt x="3458" y="4544"/>
                </a:lnTo>
                <a:lnTo>
                  <a:pt x="3460" y="4542"/>
                </a:lnTo>
                <a:lnTo>
                  <a:pt x="3460" y="4540"/>
                </a:lnTo>
                <a:lnTo>
                  <a:pt x="3458" y="4538"/>
                </a:lnTo>
                <a:lnTo>
                  <a:pt x="3456" y="4540"/>
                </a:lnTo>
                <a:lnTo>
                  <a:pt x="3454" y="4538"/>
                </a:lnTo>
                <a:lnTo>
                  <a:pt x="3452" y="4534"/>
                </a:lnTo>
                <a:lnTo>
                  <a:pt x="3452" y="4530"/>
                </a:lnTo>
                <a:lnTo>
                  <a:pt x="3450" y="4528"/>
                </a:lnTo>
                <a:lnTo>
                  <a:pt x="3444" y="4524"/>
                </a:lnTo>
                <a:lnTo>
                  <a:pt x="3440" y="4516"/>
                </a:lnTo>
                <a:lnTo>
                  <a:pt x="3432" y="4508"/>
                </a:lnTo>
                <a:lnTo>
                  <a:pt x="3422" y="4498"/>
                </a:lnTo>
                <a:lnTo>
                  <a:pt x="3412" y="4484"/>
                </a:lnTo>
                <a:lnTo>
                  <a:pt x="3408" y="4474"/>
                </a:lnTo>
                <a:lnTo>
                  <a:pt x="3406" y="4466"/>
                </a:lnTo>
                <a:lnTo>
                  <a:pt x="3404" y="4460"/>
                </a:lnTo>
                <a:lnTo>
                  <a:pt x="3400" y="4456"/>
                </a:lnTo>
                <a:lnTo>
                  <a:pt x="3398" y="4452"/>
                </a:lnTo>
                <a:lnTo>
                  <a:pt x="3394" y="4444"/>
                </a:lnTo>
                <a:lnTo>
                  <a:pt x="3392" y="4436"/>
                </a:lnTo>
                <a:lnTo>
                  <a:pt x="3394" y="4430"/>
                </a:lnTo>
                <a:lnTo>
                  <a:pt x="3396" y="4426"/>
                </a:lnTo>
                <a:lnTo>
                  <a:pt x="3398" y="4424"/>
                </a:lnTo>
                <a:lnTo>
                  <a:pt x="3400" y="4422"/>
                </a:lnTo>
                <a:lnTo>
                  <a:pt x="3400" y="4416"/>
                </a:lnTo>
                <a:lnTo>
                  <a:pt x="3400" y="4412"/>
                </a:lnTo>
                <a:lnTo>
                  <a:pt x="3398" y="4410"/>
                </a:lnTo>
                <a:lnTo>
                  <a:pt x="3396" y="4410"/>
                </a:lnTo>
                <a:lnTo>
                  <a:pt x="3396" y="4408"/>
                </a:lnTo>
                <a:lnTo>
                  <a:pt x="3396" y="4404"/>
                </a:lnTo>
                <a:lnTo>
                  <a:pt x="3400" y="4390"/>
                </a:lnTo>
                <a:lnTo>
                  <a:pt x="3402" y="4384"/>
                </a:lnTo>
                <a:lnTo>
                  <a:pt x="3404" y="4384"/>
                </a:lnTo>
                <a:lnTo>
                  <a:pt x="3408" y="4384"/>
                </a:lnTo>
                <a:lnTo>
                  <a:pt x="3408" y="4378"/>
                </a:lnTo>
                <a:lnTo>
                  <a:pt x="3406" y="4364"/>
                </a:lnTo>
                <a:lnTo>
                  <a:pt x="3404" y="4344"/>
                </a:lnTo>
                <a:lnTo>
                  <a:pt x="3404" y="4334"/>
                </a:lnTo>
                <a:lnTo>
                  <a:pt x="3404" y="4330"/>
                </a:lnTo>
                <a:lnTo>
                  <a:pt x="3406" y="4326"/>
                </a:lnTo>
                <a:lnTo>
                  <a:pt x="3408" y="4318"/>
                </a:lnTo>
                <a:lnTo>
                  <a:pt x="3410" y="4306"/>
                </a:lnTo>
                <a:lnTo>
                  <a:pt x="3414" y="4296"/>
                </a:lnTo>
                <a:lnTo>
                  <a:pt x="3418" y="4288"/>
                </a:lnTo>
                <a:lnTo>
                  <a:pt x="3420" y="4284"/>
                </a:lnTo>
                <a:lnTo>
                  <a:pt x="3418" y="4280"/>
                </a:lnTo>
                <a:lnTo>
                  <a:pt x="3416" y="4274"/>
                </a:lnTo>
                <a:lnTo>
                  <a:pt x="3416" y="4268"/>
                </a:lnTo>
                <a:lnTo>
                  <a:pt x="3418" y="4262"/>
                </a:lnTo>
                <a:lnTo>
                  <a:pt x="3422" y="4256"/>
                </a:lnTo>
                <a:lnTo>
                  <a:pt x="3420" y="4254"/>
                </a:lnTo>
                <a:lnTo>
                  <a:pt x="3418" y="4250"/>
                </a:lnTo>
                <a:lnTo>
                  <a:pt x="3414" y="4244"/>
                </a:lnTo>
                <a:lnTo>
                  <a:pt x="3406" y="4238"/>
                </a:lnTo>
                <a:lnTo>
                  <a:pt x="3390" y="4230"/>
                </a:lnTo>
                <a:lnTo>
                  <a:pt x="3380" y="4220"/>
                </a:lnTo>
                <a:lnTo>
                  <a:pt x="3372" y="4214"/>
                </a:lnTo>
                <a:lnTo>
                  <a:pt x="3360" y="4210"/>
                </a:lnTo>
                <a:lnTo>
                  <a:pt x="3350" y="4206"/>
                </a:lnTo>
                <a:lnTo>
                  <a:pt x="3344" y="4208"/>
                </a:lnTo>
                <a:lnTo>
                  <a:pt x="3340" y="4210"/>
                </a:lnTo>
                <a:lnTo>
                  <a:pt x="3334" y="4210"/>
                </a:lnTo>
                <a:lnTo>
                  <a:pt x="3328" y="4210"/>
                </a:lnTo>
                <a:lnTo>
                  <a:pt x="3320" y="4206"/>
                </a:lnTo>
                <a:lnTo>
                  <a:pt x="3308" y="4204"/>
                </a:lnTo>
                <a:lnTo>
                  <a:pt x="3306" y="4204"/>
                </a:lnTo>
                <a:lnTo>
                  <a:pt x="3308" y="4206"/>
                </a:lnTo>
                <a:lnTo>
                  <a:pt x="3308" y="4208"/>
                </a:lnTo>
                <a:lnTo>
                  <a:pt x="3304" y="4212"/>
                </a:lnTo>
                <a:lnTo>
                  <a:pt x="3294" y="4216"/>
                </a:lnTo>
                <a:lnTo>
                  <a:pt x="3278" y="4216"/>
                </a:lnTo>
                <a:lnTo>
                  <a:pt x="3268" y="4214"/>
                </a:lnTo>
                <a:lnTo>
                  <a:pt x="3258" y="4214"/>
                </a:lnTo>
                <a:lnTo>
                  <a:pt x="3248" y="4214"/>
                </a:lnTo>
                <a:lnTo>
                  <a:pt x="3244" y="4214"/>
                </a:lnTo>
                <a:lnTo>
                  <a:pt x="3242" y="4214"/>
                </a:lnTo>
                <a:lnTo>
                  <a:pt x="3242" y="4210"/>
                </a:lnTo>
                <a:lnTo>
                  <a:pt x="3240" y="4208"/>
                </a:lnTo>
                <a:lnTo>
                  <a:pt x="3236" y="4208"/>
                </a:lnTo>
                <a:lnTo>
                  <a:pt x="3232" y="4210"/>
                </a:lnTo>
                <a:lnTo>
                  <a:pt x="3228" y="4216"/>
                </a:lnTo>
                <a:lnTo>
                  <a:pt x="3222" y="4220"/>
                </a:lnTo>
                <a:lnTo>
                  <a:pt x="3220" y="4222"/>
                </a:lnTo>
                <a:lnTo>
                  <a:pt x="3216" y="4220"/>
                </a:lnTo>
                <a:lnTo>
                  <a:pt x="3206" y="4210"/>
                </a:lnTo>
                <a:lnTo>
                  <a:pt x="3202" y="4208"/>
                </a:lnTo>
                <a:lnTo>
                  <a:pt x="3200" y="4208"/>
                </a:lnTo>
                <a:lnTo>
                  <a:pt x="3202" y="4210"/>
                </a:lnTo>
                <a:lnTo>
                  <a:pt x="3204" y="4214"/>
                </a:lnTo>
                <a:lnTo>
                  <a:pt x="3202" y="4218"/>
                </a:lnTo>
                <a:lnTo>
                  <a:pt x="3200" y="4220"/>
                </a:lnTo>
                <a:lnTo>
                  <a:pt x="3198" y="4218"/>
                </a:lnTo>
                <a:lnTo>
                  <a:pt x="3194" y="4214"/>
                </a:lnTo>
                <a:lnTo>
                  <a:pt x="3188" y="4210"/>
                </a:lnTo>
                <a:lnTo>
                  <a:pt x="3188" y="4206"/>
                </a:lnTo>
                <a:lnTo>
                  <a:pt x="3190" y="4202"/>
                </a:lnTo>
                <a:lnTo>
                  <a:pt x="3196" y="4196"/>
                </a:lnTo>
                <a:lnTo>
                  <a:pt x="3202" y="4188"/>
                </a:lnTo>
                <a:lnTo>
                  <a:pt x="3210" y="4182"/>
                </a:lnTo>
                <a:lnTo>
                  <a:pt x="3212" y="4176"/>
                </a:lnTo>
                <a:lnTo>
                  <a:pt x="3214" y="4166"/>
                </a:lnTo>
                <a:lnTo>
                  <a:pt x="3216" y="4144"/>
                </a:lnTo>
                <a:lnTo>
                  <a:pt x="3218" y="4120"/>
                </a:lnTo>
                <a:lnTo>
                  <a:pt x="3222" y="4098"/>
                </a:lnTo>
                <a:lnTo>
                  <a:pt x="3222" y="4092"/>
                </a:lnTo>
                <a:lnTo>
                  <a:pt x="3222" y="4090"/>
                </a:lnTo>
                <a:lnTo>
                  <a:pt x="3220" y="4088"/>
                </a:lnTo>
                <a:lnTo>
                  <a:pt x="3218" y="4088"/>
                </a:lnTo>
                <a:lnTo>
                  <a:pt x="3214" y="4090"/>
                </a:lnTo>
                <a:lnTo>
                  <a:pt x="3212" y="4090"/>
                </a:lnTo>
                <a:lnTo>
                  <a:pt x="3212" y="4084"/>
                </a:lnTo>
                <a:lnTo>
                  <a:pt x="3220" y="4066"/>
                </a:lnTo>
                <a:lnTo>
                  <a:pt x="3224" y="4064"/>
                </a:lnTo>
                <a:lnTo>
                  <a:pt x="3226" y="4068"/>
                </a:lnTo>
                <a:lnTo>
                  <a:pt x="3224" y="4074"/>
                </a:lnTo>
                <a:lnTo>
                  <a:pt x="3222" y="4078"/>
                </a:lnTo>
                <a:lnTo>
                  <a:pt x="3224" y="4082"/>
                </a:lnTo>
                <a:lnTo>
                  <a:pt x="3228" y="4086"/>
                </a:lnTo>
                <a:lnTo>
                  <a:pt x="3230" y="4094"/>
                </a:lnTo>
                <a:lnTo>
                  <a:pt x="3232" y="4094"/>
                </a:lnTo>
                <a:lnTo>
                  <a:pt x="3234" y="4092"/>
                </a:lnTo>
                <a:lnTo>
                  <a:pt x="3238" y="4076"/>
                </a:lnTo>
                <a:lnTo>
                  <a:pt x="3242" y="4058"/>
                </a:lnTo>
                <a:lnTo>
                  <a:pt x="3246" y="4044"/>
                </a:lnTo>
                <a:lnTo>
                  <a:pt x="3246" y="4042"/>
                </a:lnTo>
                <a:lnTo>
                  <a:pt x="3244" y="4040"/>
                </a:lnTo>
                <a:lnTo>
                  <a:pt x="3240" y="4042"/>
                </a:lnTo>
                <a:lnTo>
                  <a:pt x="3238" y="4042"/>
                </a:lnTo>
                <a:lnTo>
                  <a:pt x="3242" y="4036"/>
                </a:lnTo>
                <a:lnTo>
                  <a:pt x="3250" y="4028"/>
                </a:lnTo>
                <a:lnTo>
                  <a:pt x="3250" y="4026"/>
                </a:lnTo>
                <a:lnTo>
                  <a:pt x="3244" y="4028"/>
                </a:lnTo>
                <a:lnTo>
                  <a:pt x="3238" y="4028"/>
                </a:lnTo>
                <a:lnTo>
                  <a:pt x="3236" y="4026"/>
                </a:lnTo>
                <a:lnTo>
                  <a:pt x="3238" y="4022"/>
                </a:lnTo>
                <a:lnTo>
                  <a:pt x="3242" y="4018"/>
                </a:lnTo>
                <a:lnTo>
                  <a:pt x="3246" y="4016"/>
                </a:lnTo>
                <a:lnTo>
                  <a:pt x="3248" y="4012"/>
                </a:lnTo>
                <a:lnTo>
                  <a:pt x="3248" y="4002"/>
                </a:lnTo>
                <a:lnTo>
                  <a:pt x="3252" y="3988"/>
                </a:lnTo>
                <a:lnTo>
                  <a:pt x="3256" y="3980"/>
                </a:lnTo>
                <a:lnTo>
                  <a:pt x="3264" y="3970"/>
                </a:lnTo>
                <a:lnTo>
                  <a:pt x="3274" y="3956"/>
                </a:lnTo>
                <a:lnTo>
                  <a:pt x="3276" y="3950"/>
                </a:lnTo>
                <a:lnTo>
                  <a:pt x="3274" y="3946"/>
                </a:lnTo>
                <a:lnTo>
                  <a:pt x="3274" y="3940"/>
                </a:lnTo>
                <a:lnTo>
                  <a:pt x="3274" y="3936"/>
                </a:lnTo>
                <a:lnTo>
                  <a:pt x="3272" y="3934"/>
                </a:lnTo>
                <a:lnTo>
                  <a:pt x="3270" y="3932"/>
                </a:lnTo>
                <a:lnTo>
                  <a:pt x="3266" y="3928"/>
                </a:lnTo>
                <a:lnTo>
                  <a:pt x="3264" y="3926"/>
                </a:lnTo>
                <a:lnTo>
                  <a:pt x="3262" y="3924"/>
                </a:lnTo>
                <a:lnTo>
                  <a:pt x="3256" y="3926"/>
                </a:lnTo>
                <a:lnTo>
                  <a:pt x="3252" y="3928"/>
                </a:lnTo>
                <a:lnTo>
                  <a:pt x="3254" y="3928"/>
                </a:lnTo>
                <a:lnTo>
                  <a:pt x="3260" y="3930"/>
                </a:lnTo>
                <a:lnTo>
                  <a:pt x="3260" y="3932"/>
                </a:lnTo>
                <a:lnTo>
                  <a:pt x="3256" y="3934"/>
                </a:lnTo>
                <a:lnTo>
                  <a:pt x="3254" y="3934"/>
                </a:lnTo>
                <a:lnTo>
                  <a:pt x="3250" y="3934"/>
                </a:lnTo>
                <a:lnTo>
                  <a:pt x="3242" y="3930"/>
                </a:lnTo>
                <a:lnTo>
                  <a:pt x="3230" y="3926"/>
                </a:lnTo>
                <a:lnTo>
                  <a:pt x="3222" y="3926"/>
                </a:lnTo>
                <a:lnTo>
                  <a:pt x="3214" y="3926"/>
                </a:lnTo>
                <a:lnTo>
                  <a:pt x="3202" y="3928"/>
                </a:lnTo>
                <a:lnTo>
                  <a:pt x="3196" y="3932"/>
                </a:lnTo>
                <a:lnTo>
                  <a:pt x="3192" y="3934"/>
                </a:lnTo>
                <a:lnTo>
                  <a:pt x="3180" y="3936"/>
                </a:lnTo>
                <a:lnTo>
                  <a:pt x="3162" y="3940"/>
                </a:lnTo>
                <a:lnTo>
                  <a:pt x="3146" y="3944"/>
                </a:lnTo>
                <a:lnTo>
                  <a:pt x="3140" y="3948"/>
                </a:lnTo>
                <a:lnTo>
                  <a:pt x="3134" y="3950"/>
                </a:lnTo>
                <a:lnTo>
                  <a:pt x="3132" y="3954"/>
                </a:lnTo>
                <a:lnTo>
                  <a:pt x="3130" y="3960"/>
                </a:lnTo>
                <a:lnTo>
                  <a:pt x="3130" y="3966"/>
                </a:lnTo>
                <a:lnTo>
                  <a:pt x="3126" y="3972"/>
                </a:lnTo>
                <a:lnTo>
                  <a:pt x="3124" y="3980"/>
                </a:lnTo>
                <a:lnTo>
                  <a:pt x="3126" y="3994"/>
                </a:lnTo>
                <a:lnTo>
                  <a:pt x="3126" y="4006"/>
                </a:lnTo>
                <a:lnTo>
                  <a:pt x="3124" y="4010"/>
                </a:lnTo>
                <a:lnTo>
                  <a:pt x="3122" y="4010"/>
                </a:lnTo>
                <a:lnTo>
                  <a:pt x="3118" y="4016"/>
                </a:lnTo>
                <a:lnTo>
                  <a:pt x="3118" y="4020"/>
                </a:lnTo>
                <a:lnTo>
                  <a:pt x="3116" y="4026"/>
                </a:lnTo>
                <a:lnTo>
                  <a:pt x="3114" y="4034"/>
                </a:lnTo>
                <a:lnTo>
                  <a:pt x="3112" y="4042"/>
                </a:lnTo>
                <a:lnTo>
                  <a:pt x="3108" y="4046"/>
                </a:lnTo>
                <a:lnTo>
                  <a:pt x="3104" y="4050"/>
                </a:lnTo>
                <a:lnTo>
                  <a:pt x="3094" y="4058"/>
                </a:lnTo>
                <a:lnTo>
                  <a:pt x="3086" y="4062"/>
                </a:lnTo>
                <a:lnTo>
                  <a:pt x="3084" y="4064"/>
                </a:lnTo>
                <a:lnTo>
                  <a:pt x="3084" y="4066"/>
                </a:lnTo>
                <a:lnTo>
                  <a:pt x="3088" y="4068"/>
                </a:lnTo>
                <a:lnTo>
                  <a:pt x="3092" y="4070"/>
                </a:lnTo>
                <a:lnTo>
                  <a:pt x="3092" y="4074"/>
                </a:lnTo>
                <a:lnTo>
                  <a:pt x="3092" y="4076"/>
                </a:lnTo>
                <a:lnTo>
                  <a:pt x="3086" y="4082"/>
                </a:lnTo>
                <a:lnTo>
                  <a:pt x="3080" y="4084"/>
                </a:lnTo>
                <a:lnTo>
                  <a:pt x="3072" y="4084"/>
                </a:lnTo>
                <a:lnTo>
                  <a:pt x="3070" y="4082"/>
                </a:lnTo>
                <a:lnTo>
                  <a:pt x="3070" y="4080"/>
                </a:lnTo>
                <a:lnTo>
                  <a:pt x="3068" y="4074"/>
                </a:lnTo>
                <a:lnTo>
                  <a:pt x="3066" y="4072"/>
                </a:lnTo>
                <a:lnTo>
                  <a:pt x="3058" y="4070"/>
                </a:lnTo>
                <a:lnTo>
                  <a:pt x="3046" y="4072"/>
                </a:lnTo>
                <a:lnTo>
                  <a:pt x="3038" y="4074"/>
                </a:lnTo>
                <a:lnTo>
                  <a:pt x="3034" y="4076"/>
                </a:lnTo>
                <a:lnTo>
                  <a:pt x="3028" y="4080"/>
                </a:lnTo>
                <a:lnTo>
                  <a:pt x="3012" y="4084"/>
                </a:lnTo>
                <a:lnTo>
                  <a:pt x="2996" y="4086"/>
                </a:lnTo>
                <a:lnTo>
                  <a:pt x="2986" y="4090"/>
                </a:lnTo>
                <a:lnTo>
                  <a:pt x="2978" y="4096"/>
                </a:lnTo>
                <a:lnTo>
                  <a:pt x="2968" y="4098"/>
                </a:lnTo>
                <a:lnTo>
                  <a:pt x="2964" y="4098"/>
                </a:lnTo>
                <a:lnTo>
                  <a:pt x="2962" y="4096"/>
                </a:lnTo>
                <a:lnTo>
                  <a:pt x="2956" y="4088"/>
                </a:lnTo>
                <a:lnTo>
                  <a:pt x="2954" y="4082"/>
                </a:lnTo>
                <a:lnTo>
                  <a:pt x="2948" y="4078"/>
                </a:lnTo>
                <a:lnTo>
                  <a:pt x="2938" y="4072"/>
                </a:lnTo>
                <a:lnTo>
                  <a:pt x="2924" y="4070"/>
                </a:lnTo>
                <a:lnTo>
                  <a:pt x="2912" y="4066"/>
                </a:lnTo>
                <a:lnTo>
                  <a:pt x="2904" y="4060"/>
                </a:lnTo>
                <a:lnTo>
                  <a:pt x="2900" y="4052"/>
                </a:lnTo>
                <a:lnTo>
                  <a:pt x="2894" y="4042"/>
                </a:lnTo>
                <a:lnTo>
                  <a:pt x="2884" y="4016"/>
                </a:lnTo>
                <a:lnTo>
                  <a:pt x="2876" y="4000"/>
                </a:lnTo>
                <a:lnTo>
                  <a:pt x="2866" y="3986"/>
                </a:lnTo>
                <a:lnTo>
                  <a:pt x="2858" y="3976"/>
                </a:lnTo>
                <a:lnTo>
                  <a:pt x="2854" y="3966"/>
                </a:lnTo>
                <a:lnTo>
                  <a:pt x="2848" y="3950"/>
                </a:lnTo>
                <a:lnTo>
                  <a:pt x="2846" y="3936"/>
                </a:lnTo>
                <a:lnTo>
                  <a:pt x="2844" y="3932"/>
                </a:lnTo>
                <a:lnTo>
                  <a:pt x="2842" y="3932"/>
                </a:lnTo>
                <a:lnTo>
                  <a:pt x="2840" y="3930"/>
                </a:lnTo>
                <a:lnTo>
                  <a:pt x="2838" y="3926"/>
                </a:lnTo>
                <a:lnTo>
                  <a:pt x="2834" y="3916"/>
                </a:lnTo>
                <a:lnTo>
                  <a:pt x="2832" y="3886"/>
                </a:lnTo>
                <a:lnTo>
                  <a:pt x="2830" y="3876"/>
                </a:lnTo>
                <a:lnTo>
                  <a:pt x="2828" y="3874"/>
                </a:lnTo>
                <a:lnTo>
                  <a:pt x="2828" y="3872"/>
                </a:lnTo>
                <a:lnTo>
                  <a:pt x="2830" y="3866"/>
                </a:lnTo>
                <a:lnTo>
                  <a:pt x="2832" y="3856"/>
                </a:lnTo>
                <a:lnTo>
                  <a:pt x="2832" y="3846"/>
                </a:lnTo>
                <a:lnTo>
                  <a:pt x="2832" y="3826"/>
                </a:lnTo>
                <a:lnTo>
                  <a:pt x="2834" y="3792"/>
                </a:lnTo>
                <a:lnTo>
                  <a:pt x="2840" y="3760"/>
                </a:lnTo>
                <a:lnTo>
                  <a:pt x="2846" y="3738"/>
                </a:lnTo>
                <a:lnTo>
                  <a:pt x="2852" y="3724"/>
                </a:lnTo>
                <a:lnTo>
                  <a:pt x="2856" y="3706"/>
                </a:lnTo>
                <a:lnTo>
                  <a:pt x="2854" y="3688"/>
                </a:lnTo>
                <a:lnTo>
                  <a:pt x="2850" y="3668"/>
                </a:lnTo>
                <a:lnTo>
                  <a:pt x="2848" y="3650"/>
                </a:lnTo>
                <a:lnTo>
                  <a:pt x="2846" y="3636"/>
                </a:lnTo>
                <a:lnTo>
                  <a:pt x="2850" y="3626"/>
                </a:lnTo>
                <a:lnTo>
                  <a:pt x="2854" y="3618"/>
                </a:lnTo>
                <a:lnTo>
                  <a:pt x="2860" y="3610"/>
                </a:lnTo>
                <a:lnTo>
                  <a:pt x="2864" y="3602"/>
                </a:lnTo>
                <a:lnTo>
                  <a:pt x="2866" y="3596"/>
                </a:lnTo>
                <a:lnTo>
                  <a:pt x="2870" y="3592"/>
                </a:lnTo>
                <a:lnTo>
                  <a:pt x="2880" y="3586"/>
                </a:lnTo>
                <a:lnTo>
                  <a:pt x="2886" y="3582"/>
                </a:lnTo>
                <a:lnTo>
                  <a:pt x="2888" y="3578"/>
                </a:lnTo>
                <a:lnTo>
                  <a:pt x="2888" y="3576"/>
                </a:lnTo>
                <a:lnTo>
                  <a:pt x="2880" y="3568"/>
                </a:lnTo>
                <a:lnTo>
                  <a:pt x="2878" y="3566"/>
                </a:lnTo>
                <a:lnTo>
                  <a:pt x="2882" y="3566"/>
                </a:lnTo>
                <a:lnTo>
                  <a:pt x="2888" y="3568"/>
                </a:lnTo>
                <a:lnTo>
                  <a:pt x="2890" y="3566"/>
                </a:lnTo>
                <a:lnTo>
                  <a:pt x="2892" y="3566"/>
                </a:lnTo>
                <a:lnTo>
                  <a:pt x="2894" y="3566"/>
                </a:lnTo>
                <a:lnTo>
                  <a:pt x="2898" y="3568"/>
                </a:lnTo>
                <a:lnTo>
                  <a:pt x="2902" y="3568"/>
                </a:lnTo>
                <a:lnTo>
                  <a:pt x="2914" y="3564"/>
                </a:lnTo>
                <a:lnTo>
                  <a:pt x="2926" y="3556"/>
                </a:lnTo>
                <a:lnTo>
                  <a:pt x="2936" y="3546"/>
                </a:lnTo>
                <a:lnTo>
                  <a:pt x="2942" y="3538"/>
                </a:lnTo>
                <a:lnTo>
                  <a:pt x="2948" y="3534"/>
                </a:lnTo>
                <a:lnTo>
                  <a:pt x="2966" y="3522"/>
                </a:lnTo>
                <a:lnTo>
                  <a:pt x="2982" y="3512"/>
                </a:lnTo>
                <a:lnTo>
                  <a:pt x="2990" y="3508"/>
                </a:lnTo>
                <a:lnTo>
                  <a:pt x="3006" y="3508"/>
                </a:lnTo>
                <a:lnTo>
                  <a:pt x="3014" y="3508"/>
                </a:lnTo>
                <a:lnTo>
                  <a:pt x="3022" y="3510"/>
                </a:lnTo>
                <a:lnTo>
                  <a:pt x="3032" y="3514"/>
                </a:lnTo>
                <a:lnTo>
                  <a:pt x="3042" y="3518"/>
                </a:lnTo>
                <a:lnTo>
                  <a:pt x="3046" y="3520"/>
                </a:lnTo>
                <a:lnTo>
                  <a:pt x="3052" y="3520"/>
                </a:lnTo>
                <a:lnTo>
                  <a:pt x="3060" y="3518"/>
                </a:lnTo>
                <a:lnTo>
                  <a:pt x="3066" y="3520"/>
                </a:lnTo>
                <a:lnTo>
                  <a:pt x="3068" y="3522"/>
                </a:lnTo>
                <a:lnTo>
                  <a:pt x="3074" y="3520"/>
                </a:lnTo>
                <a:lnTo>
                  <a:pt x="3074" y="3518"/>
                </a:lnTo>
                <a:lnTo>
                  <a:pt x="3072" y="3516"/>
                </a:lnTo>
                <a:lnTo>
                  <a:pt x="3066" y="3514"/>
                </a:lnTo>
                <a:lnTo>
                  <a:pt x="3060" y="3512"/>
                </a:lnTo>
                <a:lnTo>
                  <a:pt x="3058" y="3510"/>
                </a:lnTo>
                <a:lnTo>
                  <a:pt x="3062" y="3508"/>
                </a:lnTo>
                <a:lnTo>
                  <a:pt x="3070" y="3506"/>
                </a:lnTo>
                <a:lnTo>
                  <a:pt x="3076" y="3506"/>
                </a:lnTo>
                <a:lnTo>
                  <a:pt x="3080" y="3512"/>
                </a:lnTo>
                <a:lnTo>
                  <a:pt x="3082" y="3516"/>
                </a:lnTo>
                <a:lnTo>
                  <a:pt x="3084" y="3520"/>
                </a:lnTo>
                <a:lnTo>
                  <a:pt x="3086" y="3520"/>
                </a:lnTo>
                <a:lnTo>
                  <a:pt x="3092" y="3522"/>
                </a:lnTo>
                <a:lnTo>
                  <a:pt x="3096" y="3526"/>
                </a:lnTo>
                <a:lnTo>
                  <a:pt x="3096" y="3528"/>
                </a:lnTo>
                <a:lnTo>
                  <a:pt x="3094" y="3530"/>
                </a:lnTo>
                <a:lnTo>
                  <a:pt x="3092" y="3532"/>
                </a:lnTo>
                <a:lnTo>
                  <a:pt x="3094" y="3534"/>
                </a:lnTo>
                <a:lnTo>
                  <a:pt x="3102" y="3538"/>
                </a:lnTo>
                <a:lnTo>
                  <a:pt x="3112" y="3540"/>
                </a:lnTo>
                <a:lnTo>
                  <a:pt x="3118" y="3540"/>
                </a:lnTo>
                <a:lnTo>
                  <a:pt x="3122" y="3536"/>
                </a:lnTo>
                <a:lnTo>
                  <a:pt x="3126" y="3534"/>
                </a:lnTo>
                <a:lnTo>
                  <a:pt x="3130" y="3534"/>
                </a:lnTo>
                <a:lnTo>
                  <a:pt x="3134" y="3540"/>
                </a:lnTo>
                <a:lnTo>
                  <a:pt x="3136" y="3542"/>
                </a:lnTo>
                <a:lnTo>
                  <a:pt x="3138" y="3542"/>
                </a:lnTo>
                <a:lnTo>
                  <a:pt x="3142" y="3540"/>
                </a:lnTo>
                <a:lnTo>
                  <a:pt x="3144" y="3534"/>
                </a:lnTo>
                <a:lnTo>
                  <a:pt x="3144" y="3532"/>
                </a:lnTo>
                <a:lnTo>
                  <a:pt x="3144" y="3528"/>
                </a:lnTo>
                <a:lnTo>
                  <a:pt x="3142" y="3522"/>
                </a:lnTo>
                <a:lnTo>
                  <a:pt x="3146" y="3522"/>
                </a:lnTo>
                <a:lnTo>
                  <a:pt x="3152" y="3526"/>
                </a:lnTo>
                <a:lnTo>
                  <a:pt x="3160" y="3532"/>
                </a:lnTo>
                <a:lnTo>
                  <a:pt x="3166" y="3542"/>
                </a:lnTo>
                <a:lnTo>
                  <a:pt x="3168" y="3548"/>
                </a:lnTo>
                <a:lnTo>
                  <a:pt x="3168" y="3550"/>
                </a:lnTo>
                <a:lnTo>
                  <a:pt x="3170" y="3550"/>
                </a:lnTo>
                <a:lnTo>
                  <a:pt x="3178" y="3546"/>
                </a:lnTo>
                <a:lnTo>
                  <a:pt x="3182" y="3542"/>
                </a:lnTo>
                <a:lnTo>
                  <a:pt x="3182" y="3538"/>
                </a:lnTo>
                <a:lnTo>
                  <a:pt x="3182" y="3536"/>
                </a:lnTo>
                <a:lnTo>
                  <a:pt x="3182" y="3534"/>
                </a:lnTo>
                <a:lnTo>
                  <a:pt x="3174" y="3528"/>
                </a:lnTo>
                <a:lnTo>
                  <a:pt x="3164" y="3522"/>
                </a:lnTo>
                <a:lnTo>
                  <a:pt x="3160" y="3520"/>
                </a:lnTo>
                <a:lnTo>
                  <a:pt x="3158" y="3516"/>
                </a:lnTo>
                <a:lnTo>
                  <a:pt x="3160" y="3514"/>
                </a:lnTo>
                <a:lnTo>
                  <a:pt x="3164" y="3512"/>
                </a:lnTo>
                <a:lnTo>
                  <a:pt x="3170" y="3508"/>
                </a:lnTo>
                <a:lnTo>
                  <a:pt x="3172" y="3504"/>
                </a:lnTo>
                <a:lnTo>
                  <a:pt x="3172" y="3500"/>
                </a:lnTo>
                <a:lnTo>
                  <a:pt x="3170" y="3496"/>
                </a:lnTo>
                <a:lnTo>
                  <a:pt x="3168" y="3494"/>
                </a:lnTo>
                <a:lnTo>
                  <a:pt x="3166" y="3496"/>
                </a:lnTo>
                <a:lnTo>
                  <a:pt x="3162" y="3500"/>
                </a:lnTo>
                <a:lnTo>
                  <a:pt x="3160" y="3502"/>
                </a:lnTo>
                <a:lnTo>
                  <a:pt x="3156" y="3500"/>
                </a:lnTo>
                <a:lnTo>
                  <a:pt x="3154" y="3498"/>
                </a:lnTo>
                <a:lnTo>
                  <a:pt x="3158" y="3494"/>
                </a:lnTo>
                <a:lnTo>
                  <a:pt x="3158" y="3492"/>
                </a:lnTo>
                <a:lnTo>
                  <a:pt x="3154" y="3490"/>
                </a:lnTo>
                <a:lnTo>
                  <a:pt x="3148" y="3490"/>
                </a:lnTo>
                <a:lnTo>
                  <a:pt x="3146" y="3492"/>
                </a:lnTo>
                <a:lnTo>
                  <a:pt x="3142" y="3494"/>
                </a:lnTo>
                <a:lnTo>
                  <a:pt x="3134" y="3492"/>
                </a:lnTo>
                <a:lnTo>
                  <a:pt x="3130" y="3490"/>
                </a:lnTo>
                <a:lnTo>
                  <a:pt x="3128" y="3486"/>
                </a:lnTo>
                <a:lnTo>
                  <a:pt x="3128" y="3484"/>
                </a:lnTo>
                <a:lnTo>
                  <a:pt x="3130" y="3480"/>
                </a:lnTo>
                <a:lnTo>
                  <a:pt x="3132" y="3478"/>
                </a:lnTo>
                <a:lnTo>
                  <a:pt x="3138" y="3476"/>
                </a:lnTo>
                <a:lnTo>
                  <a:pt x="3142" y="3476"/>
                </a:lnTo>
                <a:lnTo>
                  <a:pt x="3148" y="3478"/>
                </a:lnTo>
                <a:lnTo>
                  <a:pt x="3158" y="3482"/>
                </a:lnTo>
                <a:lnTo>
                  <a:pt x="3164" y="3484"/>
                </a:lnTo>
                <a:lnTo>
                  <a:pt x="3170" y="3482"/>
                </a:lnTo>
                <a:lnTo>
                  <a:pt x="3178" y="3478"/>
                </a:lnTo>
                <a:lnTo>
                  <a:pt x="3184" y="3476"/>
                </a:lnTo>
                <a:lnTo>
                  <a:pt x="3190" y="3474"/>
                </a:lnTo>
                <a:lnTo>
                  <a:pt x="3204" y="3476"/>
                </a:lnTo>
                <a:lnTo>
                  <a:pt x="3216" y="3478"/>
                </a:lnTo>
                <a:lnTo>
                  <a:pt x="3220" y="3476"/>
                </a:lnTo>
                <a:lnTo>
                  <a:pt x="3222" y="3474"/>
                </a:lnTo>
                <a:lnTo>
                  <a:pt x="3224" y="3460"/>
                </a:lnTo>
                <a:lnTo>
                  <a:pt x="3226" y="3462"/>
                </a:lnTo>
                <a:lnTo>
                  <a:pt x="3232" y="3472"/>
                </a:lnTo>
                <a:lnTo>
                  <a:pt x="3232" y="3476"/>
                </a:lnTo>
                <a:lnTo>
                  <a:pt x="3232" y="3480"/>
                </a:lnTo>
                <a:lnTo>
                  <a:pt x="3226" y="3484"/>
                </a:lnTo>
                <a:lnTo>
                  <a:pt x="3226" y="3486"/>
                </a:lnTo>
                <a:lnTo>
                  <a:pt x="3234" y="3482"/>
                </a:lnTo>
                <a:lnTo>
                  <a:pt x="3268" y="3476"/>
                </a:lnTo>
                <a:lnTo>
                  <a:pt x="3284" y="3476"/>
                </a:lnTo>
                <a:lnTo>
                  <a:pt x="3296" y="3478"/>
                </a:lnTo>
                <a:lnTo>
                  <a:pt x="3314" y="3484"/>
                </a:lnTo>
                <a:lnTo>
                  <a:pt x="3318" y="3486"/>
                </a:lnTo>
                <a:lnTo>
                  <a:pt x="3320" y="3490"/>
                </a:lnTo>
                <a:lnTo>
                  <a:pt x="3324" y="3494"/>
                </a:lnTo>
                <a:lnTo>
                  <a:pt x="3326" y="3496"/>
                </a:lnTo>
                <a:lnTo>
                  <a:pt x="3330" y="3498"/>
                </a:lnTo>
                <a:lnTo>
                  <a:pt x="3332" y="3506"/>
                </a:lnTo>
                <a:lnTo>
                  <a:pt x="3332" y="3510"/>
                </a:lnTo>
                <a:lnTo>
                  <a:pt x="3336" y="3510"/>
                </a:lnTo>
                <a:lnTo>
                  <a:pt x="3342" y="3510"/>
                </a:lnTo>
                <a:lnTo>
                  <a:pt x="3348" y="3508"/>
                </a:lnTo>
                <a:lnTo>
                  <a:pt x="3360" y="3504"/>
                </a:lnTo>
                <a:lnTo>
                  <a:pt x="3368" y="3500"/>
                </a:lnTo>
                <a:lnTo>
                  <a:pt x="3372" y="3500"/>
                </a:lnTo>
                <a:lnTo>
                  <a:pt x="3372" y="3498"/>
                </a:lnTo>
                <a:lnTo>
                  <a:pt x="3374" y="3496"/>
                </a:lnTo>
                <a:lnTo>
                  <a:pt x="3376" y="3492"/>
                </a:lnTo>
                <a:lnTo>
                  <a:pt x="3382" y="3490"/>
                </a:lnTo>
                <a:lnTo>
                  <a:pt x="3388" y="3492"/>
                </a:lnTo>
                <a:lnTo>
                  <a:pt x="3394" y="3498"/>
                </a:lnTo>
                <a:lnTo>
                  <a:pt x="3408" y="3514"/>
                </a:lnTo>
                <a:lnTo>
                  <a:pt x="3420" y="3530"/>
                </a:lnTo>
                <a:lnTo>
                  <a:pt x="3424" y="3536"/>
                </a:lnTo>
                <a:lnTo>
                  <a:pt x="3428" y="3538"/>
                </a:lnTo>
                <a:lnTo>
                  <a:pt x="3432" y="3540"/>
                </a:lnTo>
                <a:lnTo>
                  <a:pt x="3436" y="3542"/>
                </a:lnTo>
                <a:lnTo>
                  <a:pt x="3440" y="3554"/>
                </a:lnTo>
                <a:lnTo>
                  <a:pt x="3440" y="3570"/>
                </a:lnTo>
                <a:lnTo>
                  <a:pt x="3438" y="3584"/>
                </a:lnTo>
                <a:lnTo>
                  <a:pt x="3434" y="3598"/>
                </a:lnTo>
                <a:lnTo>
                  <a:pt x="3434" y="3610"/>
                </a:lnTo>
                <a:lnTo>
                  <a:pt x="3438" y="3616"/>
                </a:lnTo>
                <a:lnTo>
                  <a:pt x="3440" y="3616"/>
                </a:lnTo>
                <a:lnTo>
                  <a:pt x="3442" y="3616"/>
                </a:lnTo>
                <a:lnTo>
                  <a:pt x="3446" y="3610"/>
                </a:lnTo>
                <a:lnTo>
                  <a:pt x="3450" y="3610"/>
                </a:lnTo>
                <a:lnTo>
                  <a:pt x="3452" y="3610"/>
                </a:lnTo>
                <a:lnTo>
                  <a:pt x="3452" y="3612"/>
                </a:lnTo>
                <a:lnTo>
                  <a:pt x="3448" y="3618"/>
                </a:lnTo>
                <a:lnTo>
                  <a:pt x="3446" y="3622"/>
                </a:lnTo>
                <a:lnTo>
                  <a:pt x="3444" y="3626"/>
                </a:lnTo>
                <a:lnTo>
                  <a:pt x="3446" y="3638"/>
                </a:lnTo>
                <a:lnTo>
                  <a:pt x="3450" y="3648"/>
                </a:lnTo>
                <a:lnTo>
                  <a:pt x="3456" y="3658"/>
                </a:lnTo>
                <a:lnTo>
                  <a:pt x="3458" y="3660"/>
                </a:lnTo>
                <a:lnTo>
                  <a:pt x="3460" y="3660"/>
                </a:lnTo>
                <a:lnTo>
                  <a:pt x="3462" y="3658"/>
                </a:lnTo>
                <a:lnTo>
                  <a:pt x="3464" y="3666"/>
                </a:lnTo>
                <a:lnTo>
                  <a:pt x="3466" y="3674"/>
                </a:lnTo>
                <a:lnTo>
                  <a:pt x="3470" y="3678"/>
                </a:lnTo>
                <a:lnTo>
                  <a:pt x="3474" y="3682"/>
                </a:lnTo>
                <a:lnTo>
                  <a:pt x="3476" y="3694"/>
                </a:lnTo>
                <a:lnTo>
                  <a:pt x="3478" y="3700"/>
                </a:lnTo>
                <a:lnTo>
                  <a:pt x="3480" y="3704"/>
                </a:lnTo>
                <a:lnTo>
                  <a:pt x="3484" y="3706"/>
                </a:lnTo>
                <a:lnTo>
                  <a:pt x="3486" y="3708"/>
                </a:lnTo>
                <a:lnTo>
                  <a:pt x="3494" y="3712"/>
                </a:lnTo>
                <a:lnTo>
                  <a:pt x="3496" y="3714"/>
                </a:lnTo>
                <a:lnTo>
                  <a:pt x="3498" y="3720"/>
                </a:lnTo>
                <a:lnTo>
                  <a:pt x="3502" y="3732"/>
                </a:lnTo>
                <a:lnTo>
                  <a:pt x="3504" y="3734"/>
                </a:lnTo>
                <a:lnTo>
                  <a:pt x="3506" y="3736"/>
                </a:lnTo>
                <a:lnTo>
                  <a:pt x="3504" y="3738"/>
                </a:lnTo>
                <a:lnTo>
                  <a:pt x="3502" y="3744"/>
                </a:lnTo>
                <a:lnTo>
                  <a:pt x="3504" y="3748"/>
                </a:lnTo>
                <a:lnTo>
                  <a:pt x="3508" y="3748"/>
                </a:lnTo>
                <a:lnTo>
                  <a:pt x="3518" y="3746"/>
                </a:lnTo>
                <a:lnTo>
                  <a:pt x="3522" y="3744"/>
                </a:lnTo>
                <a:lnTo>
                  <a:pt x="3524" y="3746"/>
                </a:lnTo>
                <a:lnTo>
                  <a:pt x="3526" y="3748"/>
                </a:lnTo>
                <a:lnTo>
                  <a:pt x="3526" y="3750"/>
                </a:lnTo>
                <a:lnTo>
                  <a:pt x="3530" y="3744"/>
                </a:lnTo>
                <a:lnTo>
                  <a:pt x="3536" y="3734"/>
                </a:lnTo>
                <a:lnTo>
                  <a:pt x="3536" y="3730"/>
                </a:lnTo>
                <a:lnTo>
                  <a:pt x="3536" y="3726"/>
                </a:lnTo>
                <a:lnTo>
                  <a:pt x="3540" y="3718"/>
                </a:lnTo>
                <a:lnTo>
                  <a:pt x="3544" y="3708"/>
                </a:lnTo>
                <a:lnTo>
                  <a:pt x="3544" y="3698"/>
                </a:lnTo>
                <a:lnTo>
                  <a:pt x="3546" y="3686"/>
                </a:lnTo>
                <a:lnTo>
                  <a:pt x="3546" y="3670"/>
                </a:lnTo>
                <a:lnTo>
                  <a:pt x="3546" y="3662"/>
                </a:lnTo>
                <a:lnTo>
                  <a:pt x="3544" y="3650"/>
                </a:lnTo>
                <a:lnTo>
                  <a:pt x="3536" y="3626"/>
                </a:lnTo>
                <a:lnTo>
                  <a:pt x="3528" y="3602"/>
                </a:lnTo>
                <a:lnTo>
                  <a:pt x="3526" y="3590"/>
                </a:lnTo>
                <a:lnTo>
                  <a:pt x="3526" y="3580"/>
                </a:lnTo>
                <a:lnTo>
                  <a:pt x="3526" y="3576"/>
                </a:lnTo>
                <a:lnTo>
                  <a:pt x="3524" y="3568"/>
                </a:lnTo>
                <a:lnTo>
                  <a:pt x="3514" y="3550"/>
                </a:lnTo>
                <a:lnTo>
                  <a:pt x="3508" y="3536"/>
                </a:lnTo>
                <a:lnTo>
                  <a:pt x="3502" y="3522"/>
                </a:lnTo>
                <a:lnTo>
                  <a:pt x="3496" y="3504"/>
                </a:lnTo>
                <a:lnTo>
                  <a:pt x="3492" y="3482"/>
                </a:lnTo>
                <a:lnTo>
                  <a:pt x="3490" y="3460"/>
                </a:lnTo>
                <a:lnTo>
                  <a:pt x="3492" y="3440"/>
                </a:lnTo>
                <a:lnTo>
                  <a:pt x="3496" y="3422"/>
                </a:lnTo>
                <a:lnTo>
                  <a:pt x="3502" y="3408"/>
                </a:lnTo>
                <a:lnTo>
                  <a:pt x="3508" y="3396"/>
                </a:lnTo>
                <a:lnTo>
                  <a:pt x="3514" y="3388"/>
                </a:lnTo>
                <a:lnTo>
                  <a:pt x="3526" y="3376"/>
                </a:lnTo>
                <a:lnTo>
                  <a:pt x="3528" y="3374"/>
                </a:lnTo>
                <a:lnTo>
                  <a:pt x="3530" y="3370"/>
                </a:lnTo>
                <a:lnTo>
                  <a:pt x="3528" y="3368"/>
                </a:lnTo>
                <a:lnTo>
                  <a:pt x="3528" y="3366"/>
                </a:lnTo>
                <a:lnTo>
                  <a:pt x="3536" y="3364"/>
                </a:lnTo>
                <a:lnTo>
                  <a:pt x="3542" y="3362"/>
                </a:lnTo>
                <a:lnTo>
                  <a:pt x="3548" y="3360"/>
                </a:lnTo>
                <a:lnTo>
                  <a:pt x="3556" y="3352"/>
                </a:lnTo>
                <a:lnTo>
                  <a:pt x="3564" y="3342"/>
                </a:lnTo>
                <a:lnTo>
                  <a:pt x="3568" y="3340"/>
                </a:lnTo>
                <a:lnTo>
                  <a:pt x="3572" y="3338"/>
                </a:lnTo>
                <a:lnTo>
                  <a:pt x="3574" y="3336"/>
                </a:lnTo>
                <a:lnTo>
                  <a:pt x="3576" y="3334"/>
                </a:lnTo>
                <a:lnTo>
                  <a:pt x="3582" y="3322"/>
                </a:lnTo>
                <a:lnTo>
                  <a:pt x="3588" y="3308"/>
                </a:lnTo>
                <a:lnTo>
                  <a:pt x="3592" y="3302"/>
                </a:lnTo>
                <a:lnTo>
                  <a:pt x="3600" y="3296"/>
                </a:lnTo>
                <a:lnTo>
                  <a:pt x="3606" y="3292"/>
                </a:lnTo>
                <a:lnTo>
                  <a:pt x="3614" y="3290"/>
                </a:lnTo>
                <a:lnTo>
                  <a:pt x="3624" y="3290"/>
                </a:lnTo>
                <a:lnTo>
                  <a:pt x="3628" y="3290"/>
                </a:lnTo>
                <a:lnTo>
                  <a:pt x="3632" y="3288"/>
                </a:lnTo>
                <a:lnTo>
                  <a:pt x="3634" y="3286"/>
                </a:lnTo>
                <a:lnTo>
                  <a:pt x="3636" y="3280"/>
                </a:lnTo>
                <a:lnTo>
                  <a:pt x="3638" y="3274"/>
                </a:lnTo>
                <a:lnTo>
                  <a:pt x="3642" y="3268"/>
                </a:lnTo>
                <a:lnTo>
                  <a:pt x="3654" y="3256"/>
                </a:lnTo>
                <a:lnTo>
                  <a:pt x="3666" y="3250"/>
                </a:lnTo>
                <a:lnTo>
                  <a:pt x="3680" y="3246"/>
                </a:lnTo>
                <a:lnTo>
                  <a:pt x="3690" y="3244"/>
                </a:lnTo>
                <a:lnTo>
                  <a:pt x="3698" y="3238"/>
                </a:lnTo>
                <a:lnTo>
                  <a:pt x="3700" y="3234"/>
                </a:lnTo>
                <a:lnTo>
                  <a:pt x="3698" y="3232"/>
                </a:lnTo>
                <a:lnTo>
                  <a:pt x="3696" y="3230"/>
                </a:lnTo>
                <a:lnTo>
                  <a:pt x="3694" y="3228"/>
                </a:lnTo>
                <a:lnTo>
                  <a:pt x="3692" y="3230"/>
                </a:lnTo>
                <a:lnTo>
                  <a:pt x="3686" y="3232"/>
                </a:lnTo>
                <a:lnTo>
                  <a:pt x="3680" y="3236"/>
                </a:lnTo>
                <a:lnTo>
                  <a:pt x="3678" y="3236"/>
                </a:lnTo>
                <a:lnTo>
                  <a:pt x="3674" y="3234"/>
                </a:lnTo>
                <a:lnTo>
                  <a:pt x="3672" y="3232"/>
                </a:lnTo>
                <a:lnTo>
                  <a:pt x="3674" y="3232"/>
                </a:lnTo>
                <a:lnTo>
                  <a:pt x="3680" y="3230"/>
                </a:lnTo>
                <a:lnTo>
                  <a:pt x="3682" y="3228"/>
                </a:lnTo>
                <a:lnTo>
                  <a:pt x="3686" y="3224"/>
                </a:lnTo>
                <a:lnTo>
                  <a:pt x="3686" y="3220"/>
                </a:lnTo>
                <a:lnTo>
                  <a:pt x="3684" y="3216"/>
                </a:lnTo>
                <a:lnTo>
                  <a:pt x="3680" y="3210"/>
                </a:lnTo>
                <a:lnTo>
                  <a:pt x="3676" y="3208"/>
                </a:lnTo>
                <a:lnTo>
                  <a:pt x="3682" y="3208"/>
                </a:lnTo>
                <a:lnTo>
                  <a:pt x="3692" y="3210"/>
                </a:lnTo>
                <a:lnTo>
                  <a:pt x="3698" y="3214"/>
                </a:lnTo>
                <a:lnTo>
                  <a:pt x="3700" y="3214"/>
                </a:lnTo>
                <a:lnTo>
                  <a:pt x="3702" y="3214"/>
                </a:lnTo>
                <a:lnTo>
                  <a:pt x="3706" y="3208"/>
                </a:lnTo>
                <a:lnTo>
                  <a:pt x="3712" y="3202"/>
                </a:lnTo>
                <a:lnTo>
                  <a:pt x="3714" y="3202"/>
                </a:lnTo>
                <a:lnTo>
                  <a:pt x="3716" y="3200"/>
                </a:lnTo>
                <a:lnTo>
                  <a:pt x="3718" y="3194"/>
                </a:lnTo>
                <a:lnTo>
                  <a:pt x="3720" y="3186"/>
                </a:lnTo>
                <a:lnTo>
                  <a:pt x="3718" y="3182"/>
                </a:lnTo>
                <a:lnTo>
                  <a:pt x="3716" y="3180"/>
                </a:lnTo>
                <a:lnTo>
                  <a:pt x="3712" y="3182"/>
                </a:lnTo>
                <a:lnTo>
                  <a:pt x="3710" y="3184"/>
                </a:lnTo>
                <a:lnTo>
                  <a:pt x="3708" y="3182"/>
                </a:lnTo>
                <a:lnTo>
                  <a:pt x="3704" y="3180"/>
                </a:lnTo>
                <a:lnTo>
                  <a:pt x="3696" y="3180"/>
                </a:lnTo>
                <a:lnTo>
                  <a:pt x="3684" y="3182"/>
                </a:lnTo>
                <a:lnTo>
                  <a:pt x="3680" y="3180"/>
                </a:lnTo>
                <a:lnTo>
                  <a:pt x="3678" y="3176"/>
                </a:lnTo>
                <a:lnTo>
                  <a:pt x="3678" y="3170"/>
                </a:lnTo>
                <a:lnTo>
                  <a:pt x="3678" y="3168"/>
                </a:lnTo>
                <a:lnTo>
                  <a:pt x="3682" y="3172"/>
                </a:lnTo>
                <a:lnTo>
                  <a:pt x="3684" y="3174"/>
                </a:lnTo>
                <a:lnTo>
                  <a:pt x="3686" y="3176"/>
                </a:lnTo>
                <a:lnTo>
                  <a:pt x="3692" y="3176"/>
                </a:lnTo>
                <a:lnTo>
                  <a:pt x="3696" y="3172"/>
                </a:lnTo>
                <a:lnTo>
                  <a:pt x="3704" y="3170"/>
                </a:lnTo>
                <a:lnTo>
                  <a:pt x="3710" y="3170"/>
                </a:lnTo>
                <a:lnTo>
                  <a:pt x="3714" y="3172"/>
                </a:lnTo>
                <a:lnTo>
                  <a:pt x="3718" y="3176"/>
                </a:lnTo>
                <a:lnTo>
                  <a:pt x="3724" y="3184"/>
                </a:lnTo>
                <a:lnTo>
                  <a:pt x="3726" y="3186"/>
                </a:lnTo>
                <a:lnTo>
                  <a:pt x="3728" y="3188"/>
                </a:lnTo>
                <a:lnTo>
                  <a:pt x="3728" y="3186"/>
                </a:lnTo>
                <a:lnTo>
                  <a:pt x="3728" y="3184"/>
                </a:lnTo>
                <a:lnTo>
                  <a:pt x="3724" y="3176"/>
                </a:lnTo>
                <a:lnTo>
                  <a:pt x="3718" y="3160"/>
                </a:lnTo>
                <a:lnTo>
                  <a:pt x="3712" y="3136"/>
                </a:lnTo>
                <a:lnTo>
                  <a:pt x="3708" y="3128"/>
                </a:lnTo>
                <a:lnTo>
                  <a:pt x="3706" y="3126"/>
                </a:lnTo>
                <a:lnTo>
                  <a:pt x="3704" y="3126"/>
                </a:lnTo>
                <a:lnTo>
                  <a:pt x="3700" y="3126"/>
                </a:lnTo>
                <a:lnTo>
                  <a:pt x="3694" y="3130"/>
                </a:lnTo>
                <a:lnTo>
                  <a:pt x="3692" y="3130"/>
                </a:lnTo>
                <a:lnTo>
                  <a:pt x="3696" y="3126"/>
                </a:lnTo>
                <a:lnTo>
                  <a:pt x="3698" y="3120"/>
                </a:lnTo>
                <a:lnTo>
                  <a:pt x="3698" y="3116"/>
                </a:lnTo>
                <a:lnTo>
                  <a:pt x="3694" y="3112"/>
                </a:lnTo>
                <a:lnTo>
                  <a:pt x="3690" y="3110"/>
                </a:lnTo>
                <a:lnTo>
                  <a:pt x="3694" y="3108"/>
                </a:lnTo>
                <a:lnTo>
                  <a:pt x="3696" y="3108"/>
                </a:lnTo>
                <a:lnTo>
                  <a:pt x="3698" y="3106"/>
                </a:lnTo>
                <a:lnTo>
                  <a:pt x="3698" y="3102"/>
                </a:lnTo>
                <a:lnTo>
                  <a:pt x="3698" y="3096"/>
                </a:lnTo>
                <a:lnTo>
                  <a:pt x="3696" y="3084"/>
                </a:lnTo>
                <a:lnTo>
                  <a:pt x="3698" y="3078"/>
                </a:lnTo>
                <a:lnTo>
                  <a:pt x="3696" y="3076"/>
                </a:lnTo>
                <a:lnTo>
                  <a:pt x="3692" y="3070"/>
                </a:lnTo>
                <a:lnTo>
                  <a:pt x="3678" y="3058"/>
                </a:lnTo>
                <a:lnTo>
                  <a:pt x="3678" y="3056"/>
                </a:lnTo>
                <a:lnTo>
                  <a:pt x="3680" y="3056"/>
                </a:lnTo>
                <a:lnTo>
                  <a:pt x="3686" y="3060"/>
                </a:lnTo>
                <a:lnTo>
                  <a:pt x="3694" y="3064"/>
                </a:lnTo>
                <a:lnTo>
                  <a:pt x="3696" y="3064"/>
                </a:lnTo>
                <a:lnTo>
                  <a:pt x="3696" y="3062"/>
                </a:lnTo>
                <a:lnTo>
                  <a:pt x="3692" y="3048"/>
                </a:lnTo>
                <a:lnTo>
                  <a:pt x="3688" y="3032"/>
                </a:lnTo>
                <a:lnTo>
                  <a:pt x="3690" y="3016"/>
                </a:lnTo>
                <a:lnTo>
                  <a:pt x="3694" y="3002"/>
                </a:lnTo>
                <a:lnTo>
                  <a:pt x="3696" y="2998"/>
                </a:lnTo>
                <a:lnTo>
                  <a:pt x="3702" y="2992"/>
                </a:lnTo>
                <a:lnTo>
                  <a:pt x="3706" y="2990"/>
                </a:lnTo>
                <a:lnTo>
                  <a:pt x="3704" y="2992"/>
                </a:lnTo>
                <a:lnTo>
                  <a:pt x="3700" y="2998"/>
                </a:lnTo>
                <a:lnTo>
                  <a:pt x="3698" y="3004"/>
                </a:lnTo>
                <a:lnTo>
                  <a:pt x="3694" y="3016"/>
                </a:lnTo>
                <a:lnTo>
                  <a:pt x="3694" y="3020"/>
                </a:lnTo>
                <a:lnTo>
                  <a:pt x="3696" y="3024"/>
                </a:lnTo>
                <a:lnTo>
                  <a:pt x="3696" y="3028"/>
                </a:lnTo>
                <a:lnTo>
                  <a:pt x="3696" y="3030"/>
                </a:lnTo>
                <a:lnTo>
                  <a:pt x="3694" y="3034"/>
                </a:lnTo>
                <a:lnTo>
                  <a:pt x="3696" y="3038"/>
                </a:lnTo>
                <a:lnTo>
                  <a:pt x="3698" y="3042"/>
                </a:lnTo>
                <a:lnTo>
                  <a:pt x="3696" y="3046"/>
                </a:lnTo>
                <a:lnTo>
                  <a:pt x="3696" y="3048"/>
                </a:lnTo>
                <a:lnTo>
                  <a:pt x="3700" y="3052"/>
                </a:lnTo>
                <a:lnTo>
                  <a:pt x="3706" y="3056"/>
                </a:lnTo>
                <a:lnTo>
                  <a:pt x="3708" y="3054"/>
                </a:lnTo>
                <a:lnTo>
                  <a:pt x="3710" y="3054"/>
                </a:lnTo>
                <a:lnTo>
                  <a:pt x="3712" y="3058"/>
                </a:lnTo>
                <a:lnTo>
                  <a:pt x="3714" y="3066"/>
                </a:lnTo>
                <a:lnTo>
                  <a:pt x="3712" y="3070"/>
                </a:lnTo>
                <a:lnTo>
                  <a:pt x="3712" y="3072"/>
                </a:lnTo>
                <a:lnTo>
                  <a:pt x="3716" y="3074"/>
                </a:lnTo>
                <a:lnTo>
                  <a:pt x="3718" y="3076"/>
                </a:lnTo>
                <a:lnTo>
                  <a:pt x="3716" y="3080"/>
                </a:lnTo>
                <a:lnTo>
                  <a:pt x="3712" y="3092"/>
                </a:lnTo>
                <a:lnTo>
                  <a:pt x="3706" y="3106"/>
                </a:lnTo>
                <a:lnTo>
                  <a:pt x="3706" y="3112"/>
                </a:lnTo>
                <a:lnTo>
                  <a:pt x="3710" y="3116"/>
                </a:lnTo>
                <a:lnTo>
                  <a:pt x="3712" y="3114"/>
                </a:lnTo>
                <a:lnTo>
                  <a:pt x="3714" y="3110"/>
                </a:lnTo>
                <a:lnTo>
                  <a:pt x="3720" y="3096"/>
                </a:lnTo>
                <a:lnTo>
                  <a:pt x="3728" y="3078"/>
                </a:lnTo>
                <a:lnTo>
                  <a:pt x="3738" y="3060"/>
                </a:lnTo>
                <a:lnTo>
                  <a:pt x="3744" y="3054"/>
                </a:lnTo>
                <a:lnTo>
                  <a:pt x="3746" y="3046"/>
                </a:lnTo>
                <a:lnTo>
                  <a:pt x="3748" y="3040"/>
                </a:lnTo>
                <a:lnTo>
                  <a:pt x="3748" y="3036"/>
                </a:lnTo>
                <a:lnTo>
                  <a:pt x="3748" y="3030"/>
                </a:lnTo>
                <a:lnTo>
                  <a:pt x="3746" y="3028"/>
                </a:lnTo>
                <a:lnTo>
                  <a:pt x="3744" y="3026"/>
                </a:lnTo>
                <a:lnTo>
                  <a:pt x="3740" y="3024"/>
                </a:lnTo>
                <a:lnTo>
                  <a:pt x="3738" y="3024"/>
                </a:lnTo>
                <a:lnTo>
                  <a:pt x="3736" y="3022"/>
                </a:lnTo>
                <a:lnTo>
                  <a:pt x="3732" y="3014"/>
                </a:lnTo>
                <a:lnTo>
                  <a:pt x="3726" y="2992"/>
                </a:lnTo>
                <a:lnTo>
                  <a:pt x="3724" y="2984"/>
                </a:lnTo>
                <a:lnTo>
                  <a:pt x="3726" y="2976"/>
                </a:lnTo>
                <a:lnTo>
                  <a:pt x="3730" y="2970"/>
                </a:lnTo>
                <a:lnTo>
                  <a:pt x="3738" y="2964"/>
                </a:lnTo>
                <a:lnTo>
                  <a:pt x="3742" y="2964"/>
                </a:lnTo>
                <a:lnTo>
                  <a:pt x="3736" y="2968"/>
                </a:lnTo>
                <a:lnTo>
                  <a:pt x="3732" y="2972"/>
                </a:lnTo>
                <a:lnTo>
                  <a:pt x="3730" y="2978"/>
                </a:lnTo>
                <a:lnTo>
                  <a:pt x="3730" y="2986"/>
                </a:lnTo>
                <a:lnTo>
                  <a:pt x="3732" y="2992"/>
                </a:lnTo>
                <a:lnTo>
                  <a:pt x="3738" y="2998"/>
                </a:lnTo>
                <a:lnTo>
                  <a:pt x="3742" y="3002"/>
                </a:lnTo>
                <a:lnTo>
                  <a:pt x="3748" y="3004"/>
                </a:lnTo>
                <a:lnTo>
                  <a:pt x="3752" y="3004"/>
                </a:lnTo>
                <a:lnTo>
                  <a:pt x="3752" y="3012"/>
                </a:lnTo>
                <a:lnTo>
                  <a:pt x="3752" y="3016"/>
                </a:lnTo>
                <a:lnTo>
                  <a:pt x="3752" y="3018"/>
                </a:lnTo>
                <a:lnTo>
                  <a:pt x="3754" y="3016"/>
                </a:lnTo>
                <a:lnTo>
                  <a:pt x="3758" y="3014"/>
                </a:lnTo>
                <a:lnTo>
                  <a:pt x="3766" y="3002"/>
                </a:lnTo>
                <a:lnTo>
                  <a:pt x="3776" y="2986"/>
                </a:lnTo>
                <a:lnTo>
                  <a:pt x="3784" y="2970"/>
                </a:lnTo>
                <a:lnTo>
                  <a:pt x="3790" y="2954"/>
                </a:lnTo>
                <a:lnTo>
                  <a:pt x="3792" y="2948"/>
                </a:lnTo>
                <a:lnTo>
                  <a:pt x="3792" y="2942"/>
                </a:lnTo>
                <a:lnTo>
                  <a:pt x="3790" y="2938"/>
                </a:lnTo>
                <a:lnTo>
                  <a:pt x="3786" y="2938"/>
                </a:lnTo>
                <a:lnTo>
                  <a:pt x="3778" y="2936"/>
                </a:lnTo>
                <a:lnTo>
                  <a:pt x="3778" y="2934"/>
                </a:lnTo>
                <a:lnTo>
                  <a:pt x="3776" y="2932"/>
                </a:lnTo>
                <a:lnTo>
                  <a:pt x="3778" y="2926"/>
                </a:lnTo>
                <a:lnTo>
                  <a:pt x="3786" y="2918"/>
                </a:lnTo>
                <a:lnTo>
                  <a:pt x="3796" y="2910"/>
                </a:lnTo>
                <a:lnTo>
                  <a:pt x="3810" y="2902"/>
                </a:lnTo>
                <a:lnTo>
                  <a:pt x="3824" y="2894"/>
                </a:lnTo>
                <a:lnTo>
                  <a:pt x="3838" y="2890"/>
                </a:lnTo>
                <a:lnTo>
                  <a:pt x="3854" y="2888"/>
                </a:lnTo>
                <a:lnTo>
                  <a:pt x="3872" y="2886"/>
                </a:lnTo>
                <a:lnTo>
                  <a:pt x="3886" y="2884"/>
                </a:lnTo>
                <a:lnTo>
                  <a:pt x="3890" y="2882"/>
                </a:lnTo>
                <a:lnTo>
                  <a:pt x="3892" y="2880"/>
                </a:lnTo>
                <a:lnTo>
                  <a:pt x="3894" y="2866"/>
                </a:lnTo>
                <a:lnTo>
                  <a:pt x="3896" y="2862"/>
                </a:lnTo>
                <a:lnTo>
                  <a:pt x="3898" y="2868"/>
                </a:lnTo>
                <a:lnTo>
                  <a:pt x="3902" y="2876"/>
                </a:lnTo>
                <a:lnTo>
                  <a:pt x="3904" y="2880"/>
                </a:lnTo>
                <a:lnTo>
                  <a:pt x="3906" y="2880"/>
                </a:lnTo>
                <a:lnTo>
                  <a:pt x="3908" y="2878"/>
                </a:lnTo>
                <a:lnTo>
                  <a:pt x="3916" y="2872"/>
                </a:lnTo>
                <a:lnTo>
                  <a:pt x="3920" y="2868"/>
                </a:lnTo>
                <a:lnTo>
                  <a:pt x="3922" y="2866"/>
                </a:lnTo>
                <a:lnTo>
                  <a:pt x="3924" y="2868"/>
                </a:lnTo>
                <a:lnTo>
                  <a:pt x="3924" y="2870"/>
                </a:lnTo>
                <a:lnTo>
                  <a:pt x="3924" y="2876"/>
                </a:lnTo>
                <a:lnTo>
                  <a:pt x="3926" y="2876"/>
                </a:lnTo>
                <a:lnTo>
                  <a:pt x="3928" y="2874"/>
                </a:lnTo>
                <a:lnTo>
                  <a:pt x="3932" y="2872"/>
                </a:lnTo>
                <a:lnTo>
                  <a:pt x="3938" y="2870"/>
                </a:lnTo>
                <a:lnTo>
                  <a:pt x="3946" y="2868"/>
                </a:lnTo>
                <a:lnTo>
                  <a:pt x="3952" y="2866"/>
                </a:lnTo>
                <a:lnTo>
                  <a:pt x="3952" y="2864"/>
                </a:lnTo>
                <a:lnTo>
                  <a:pt x="3952" y="2860"/>
                </a:lnTo>
                <a:lnTo>
                  <a:pt x="3948" y="2846"/>
                </a:lnTo>
                <a:lnTo>
                  <a:pt x="3946" y="2844"/>
                </a:lnTo>
                <a:lnTo>
                  <a:pt x="3942" y="2842"/>
                </a:lnTo>
                <a:lnTo>
                  <a:pt x="3940" y="2844"/>
                </a:lnTo>
                <a:lnTo>
                  <a:pt x="3942" y="2846"/>
                </a:lnTo>
                <a:lnTo>
                  <a:pt x="3946" y="2848"/>
                </a:lnTo>
                <a:lnTo>
                  <a:pt x="3948" y="2854"/>
                </a:lnTo>
                <a:lnTo>
                  <a:pt x="3946" y="2860"/>
                </a:lnTo>
                <a:lnTo>
                  <a:pt x="3940" y="2864"/>
                </a:lnTo>
                <a:lnTo>
                  <a:pt x="3936" y="2866"/>
                </a:lnTo>
                <a:lnTo>
                  <a:pt x="3934" y="2864"/>
                </a:lnTo>
                <a:lnTo>
                  <a:pt x="3930" y="2862"/>
                </a:lnTo>
                <a:lnTo>
                  <a:pt x="3928" y="2858"/>
                </a:lnTo>
                <a:lnTo>
                  <a:pt x="3926" y="2848"/>
                </a:lnTo>
                <a:lnTo>
                  <a:pt x="3924" y="2840"/>
                </a:lnTo>
                <a:lnTo>
                  <a:pt x="3920" y="2836"/>
                </a:lnTo>
                <a:lnTo>
                  <a:pt x="3914" y="2834"/>
                </a:lnTo>
                <a:lnTo>
                  <a:pt x="3910" y="2832"/>
                </a:lnTo>
                <a:lnTo>
                  <a:pt x="3910" y="2830"/>
                </a:lnTo>
                <a:lnTo>
                  <a:pt x="3918" y="2824"/>
                </a:lnTo>
                <a:lnTo>
                  <a:pt x="3926" y="2816"/>
                </a:lnTo>
                <a:lnTo>
                  <a:pt x="3926" y="2812"/>
                </a:lnTo>
                <a:lnTo>
                  <a:pt x="3924" y="2810"/>
                </a:lnTo>
                <a:lnTo>
                  <a:pt x="3922" y="2808"/>
                </a:lnTo>
                <a:lnTo>
                  <a:pt x="3920" y="2804"/>
                </a:lnTo>
                <a:lnTo>
                  <a:pt x="3922" y="2790"/>
                </a:lnTo>
                <a:lnTo>
                  <a:pt x="3928" y="2776"/>
                </a:lnTo>
                <a:lnTo>
                  <a:pt x="3936" y="2766"/>
                </a:lnTo>
                <a:lnTo>
                  <a:pt x="3940" y="2760"/>
                </a:lnTo>
                <a:lnTo>
                  <a:pt x="3940" y="2756"/>
                </a:lnTo>
                <a:lnTo>
                  <a:pt x="3940" y="2752"/>
                </a:lnTo>
                <a:lnTo>
                  <a:pt x="3942" y="2748"/>
                </a:lnTo>
                <a:lnTo>
                  <a:pt x="3944" y="2748"/>
                </a:lnTo>
                <a:lnTo>
                  <a:pt x="3946" y="2748"/>
                </a:lnTo>
                <a:lnTo>
                  <a:pt x="3948" y="2750"/>
                </a:lnTo>
                <a:lnTo>
                  <a:pt x="3952" y="2752"/>
                </a:lnTo>
                <a:lnTo>
                  <a:pt x="3954" y="2752"/>
                </a:lnTo>
                <a:lnTo>
                  <a:pt x="3960" y="2750"/>
                </a:lnTo>
                <a:lnTo>
                  <a:pt x="3966" y="2746"/>
                </a:lnTo>
                <a:lnTo>
                  <a:pt x="3970" y="2742"/>
                </a:lnTo>
                <a:lnTo>
                  <a:pt x="3974" y="2740"/>
                </a:lnTo>
                <a:lnTo>
                  <a:pt x="3978" y="2738"/>
                </a:lnTo>
                <a:lnTo>
                  <a:pt x="3982" y="2738"/>
                </a:lnTo>
                <a:lnTo>
                  <a:pt x="3986" y="2734"/>
                </a:lnTo>
                <a:lnTo>
                  <a:pt x="3988" y="2726"/>
                </a:lnTo>
                <a:lnTo>
                  <a:pt x="3992" y="2718"/>
                </a:lnTo>
                <a:lnTo>
                  <a:pt x="3996" y="2716"/>
                </a:lnTo>
                <a:lnTo>
                  <a:pt x="4000" y="2718"/>
                </a:lnTo>
                <a:lnTo>
                  <a:pt x="4008" y="2720"/>
                </a:lnTo>
                <a:lnTo>
                  <a:pt x="4010" y="2720"/>
                </a:lnTo>
                <a:lnTo>
                  <a:pt x="4012" y="2716"/>
                </a:lnTo>
                <a:lnTo>
                  <a:pt x="4016" y="2712"/>
                </a:lnTo>
                <a:lnTo>
                  <a:pt x="4022" y="2712"/>
                </a:lnTo>
                <a:lnTo>
                  <a:pt x="4026" y="2714"/>
                </a:lnTo>
                <a:lnTo>
                  <a:pt x="4028" y="2714"/>
                </a:lnTo>
                <a:lnTo>
                  <a:pt x="4036" y="2712"/>
                </a:lnTo>
                <a:lnTo>
                  <a:pt x="4044" y="2706"/>
                </a:lnTo>
                <a:lnTo>
                  <a:pt x="4054" y="2704"/>
                </a:lnTo>
                <a:lnTo>
                  <a:pt x="4060" y="2702"/>
                </a:lnTo>
                <a:lnTo>
                  <a:pt x="4066" y="2696"/>
                </a:lnTo>
                <a:lnTo>
                  <a:pt x="4070" y="2690"/>
                </a:lnTo>
                <a:lnTo>
                  <a:pt x="4070" y="2688"/>
                </a:lnTo>
                <a:lnTo>
                  <a:pt x="4068" y="2686"/>
                </a:lnTo>
                <a:lnTo>
                  <a:pt x="4066" y="2682"/>
                </a:lnTo>
                <a:lnTo>
                  <a:pt x="4064" y="2676"/>
                </a:lnTo>
                <a:lnTo>
                  <a:pt x="4062" y="2674"/>
                </a:lnTo>
                <a:lnTo>
                  <a:pt x="4054" y="2670"/>
                </a:lnTo>
                <a:lnTo>
                  <a:pt x="4052" y="2666"/>
                </a:lnTo>
                <a:lnTo>
                  <a:pt x="4050" y="2658"/>
                </a:lnTo>
                <a:lnTo>
                  <a:pt x="4052" y="2642"/>
                </a:lnTo>
                <a:lnTo>
                  <a:pt x="4054" y="2644"/>
                </a:lnTo>
                <a:lnTo>
                  <a:pt x="4054" y="2648"/>
                </a:lnTo>
                <a:lnTo>
                  <a:pt x="4054" y="2656"/>
                </a:lnTo>
                <a:lnTo>
                  <a:pt x="4054" y="2660"/>
                </a:lnTo>
                <a:lnTo>
                  <a:pt x="4056" y="2664"/>
                </a:lnTo>
                <a:lnTo>
                  <a:pt x="4060" y="2666"/>
                </a:lnTo>
                <a:lnTo>
                  <a:pt x="4066" y="2670"/>
                </a:lnTo>
                <a:lnTo>
                  <a:pt x="4078" y="2672"/>
                </a:lnTo>
                <a:lnTo>
                  <a:pt x="4088" y="2674"/>
                </a:lnTo>
                <a:lnTo>
                  <a:pt x="4096" y="2674"/>
                </a:lnTo>
                <a:lnTo>
                  <a:pt x="4106" y="2672"/>
                </a:lnTo>
                <a:lnTo>
                  <a:pt x="4124" y="2664"/>
                </a:lnTo>
                <a:lnTo>
                  <a:pt x="4144" y="2652"/>
                </a:lnTo>
                <a:lnTo>
                  <a:pt x="4152" y="2648"/>
                </a:lnTo>
                <a:lnTo>
                  <a:pt x="4156" y="2648"/>
                </a:lnTo>
                <a:lnTo>
                  <a:pt x="4158" y="2648"/>
                </a:lnTo>
                <a:lnTo>
                  <a:pt x="4158" y="2650"/>
                </a:lnTo>
                <a:lnTo>
                  <a:pt x="4160" y="2654"/>
                </a:lnTo>
                <a:lnTo>
                  <a:pt x="4164" y="2656"/>
                </a:lnTo>
                <a:lnTo>
                  <a:pt x="4174" y="2658"/>
                </a:lnTo>
                <a:lnTo>
                  <a:pt x="4190" y="2656"/>
                </a:lnTo>
                <a:lnTo>
                  <a:pt x="4204" y="2654"/>
                </a:lnTo>
                <a:lnTo>
                  <a:pt x="4194" y="2660"/>
                </a:lnTo>
                <a:lnTo>
                  <a:pt x="4172" y="2668"/>
                </a:lnTo>
                <a:lnTo>
                  <a:pt x="4148" y="2678"/>
                </a:lnTo>
                <a:lnTo>
                  <a:pt x="4136" y="2686"/>
                </a:lnTo>
                <a:lnTo>
                  <a:pt x="4126" y="2692"/>
                </a:lnTo>
                <a:lnTo>
                  <a:pt x="4118" y="2700"/>
                </a:lnTo>
                <a:lnTo>
                  <a:pt x="4110" y="2710"/>
                </a:lnTo>
                <a:lnTo>
                  <a:pt x="4106" y="2720"/>
                </a:lnTo>
                <a:lnTo>
                  <a:pt x="4104" y="2730"/>
                </a:lnTo>
                <a:lnTo>
                  <a:pt x="4106" y="2740"/>
                </a:lnTo>
                <a:lnTo>
                  <a:pt x="4110" y="2752"/>
                </a:lnTo>
                <a:lnTo>
                  <a:pt x="4118" y="2762"/>
                </a:lnTo>
                <a:lnTo>
                  <a:pt x="4124" y="2766"/>
                </a:lnTo>
                <a:lnTo>
                  <a:pt x="4132" y="2766"/>
                </a:lnTo>
                <a:lnTo>
                  <a:pt x="4138" y="2764"/>
                </a:lnTo>
                <a:lnTo>
                  <a:pt x="4146" y="2758"/>
                </a:lnTo>
                <a:lnTo>
                  <a:pt x="4156" y="2748"/>
                </a:lnTo>
                <a:lnTo>
                  <a:pt x="4174" y="2726"/>
                </a:lnTo>
                <a:lnTo>
                  <a:pt x="4182" y="2714"/>
                </a:lnTo>
                <a:lnTo>
                  <a:pt x="4190" y="2708"/>
                </a:lnTo>
                <a:lnTo>
                  <a:pt x="4196" y="2706"/>
                </a:lnTo>
                <a:lnTo>
                  <a:pt x="4202" y="2706"/>
                </a:lnTo>
                <a:lnTo>
                  <a:pt x="4208" y="2706"/>
                </a:lnTo>
                <a:lnTo>
                  <a:pt x="4216" y="2706"/>
                </a:lnTo>
                <a:lnTo>
                  <a:pt x="4226" y="2702"/>
                </a:lnTo>
                <a:lnTo>
                  <a:pt x="4238" y="2696"/>
                </a:lnTo>
                <a:lnTo>
                  <a:pt x="4252" y="2688"/>
                </a:lnTo>
                <a:lnTo>
                  <a:pt x="4266" y="2680"/>
                </a:lnTo>
                <a:lnTo>
                  <a:pt x="4292" y="2672"/>
                </a:lnTo>
                <a:lnTo>
                  <a:pt x="4300" y="2670"/>
                </a:lnTo>
                <a:lnTo>
                  <a:pt x="4306" y="2668"/>
                </a:lnTo>
                <a:lnTo>
                  <a:pt x="4308" y="2664"/>
                </a:lnTo>
                <a:lnTo>
                  <a:pt x="4306" y="2660"/>
                </a:lnTo>
                <a:lnTo>
                  <a:pt x="4286" y="2640"/>
                </a:lnTo>
                <a:lnTo>
                  <a:pt x="4280" y="2636"/>
                </a:lnTo>
                <a:lnTo>
                  <a:pt x="4276" y="2634"/>
                </a:lnTo>
                <a:lnTo>
                  <a:pt x="4270" y="2634"/>
                </a:lnTo>
                <a:lnTo>
                  <a:pt x="4264" y="2638"/>
                </a:lnTo>
                <a:lnTo>
                  <a:pt x="4258" y="2640"/>
                </a:lnTo>
                <a:lnTo>
                  <a:pt x="4248" y="2640"/>
                </a:lnTo>
                <a:lnTo>
                  <a:pt x="4236" y="2638"/>
                </a:lnTo>
                <a:lnTo>
                  <a:pt x="4224" y="2636"/>
                </a:lnTo>
                <a:lnTo>
                  <a:pt x="4212" y="2632"/>
                </a:lnTo>
                <a:lnTo>
                  <a:pt x="4204" y="2628"/>
                </a:lnTo>
                <a:lnTo>
                  <a:pt x="4198" y="2624"/>
                </a:lnTo>
                <a:lnTo>
                  <a:pt x="4196" y="2622"/>
                </a:lnTo>
                <a:lnTo>
                  <a:pt x="4198" y="2620"/>
                </a:lnTo>
                <a:lnTo>
                  <a:pt x="4198" y="2616"/>
                </a:lnTo>
                <a:lnTo>
                  <a:pt x="4196" y="2614"/>
                </a:lnTo>
                <a:lnTo>
                  <a:pt x="4186" y="2612"/>
                </a:lnTo>
                <a:lnTo>
                  <a:pt x="4180" y="2608"/>
                </a:lnTo>
                <a:lnTo>
                  <a:pt x="4172" y="2602"/>
                </a:lnTo>
                <a:lnTo>
                  <a:pt x="4166" y="2594"/>
                </a:lnTo>
                <a:lnTo>
                  <a:pt x="4160" y="2580"/>
                </a:lnTo>
                <a:lnTo>
                  <a:pt x="4156" y="2564"/>
                </a:lnTo>
                <a:lnTo>
                  <a:pt x="4156" y="2550"/>
                </a:lnTo>
                <a:lnTo>
                  <a:pt x="4158" y="2538"/>
                </a:lnTo>
                <a:lnTo>
                  <a:pt x="4162" y="2528"/>
                </a:lnTo>
                <a:lnTo>
                  <a:pt x="4162" y="2520"/>
                </a:lnTo>
                <a:lnTo>
                  <a:pt x="4162" y="2516"/>
                </a:lnTo>
                <a:lnTo>
                  <a:pt x="4158" y="2514"/>
                </a:lnTo>
                <a:lnTo>
                  <a:pt x="4148" y="2514"/>
                </a:lnTo>
                <a:lnTo>
                  <a:pt x="4134" y="2518"/>
                </a:lnTo>
                <a:lnTo>
                  <a:pt x="4126" y="2518"/>
                </a:lnTo>
                <a:lnTo>
                  <a:pt x="4124" y="2518"/>
                </a:lnTo>
                <a:lnTo>
                  <a:pt x="4126" y="2514"/>
                </a:lnTo>
                <a:lnTo>
                  <a:pt x="4142" y="2504"/>
                </a:lnTo>
                <a:lnTo>
                  <a:pt x="4164" y="2488"/>
                </a:lnTo>
                <a:lnTo>
                  <a:pt x="4180" y="2478"/>
                </a:lnTo>
                <a:lnTo>
                  <a:pt x="4184" y="2472"/>
                </a:lnTo>
                <a:lnTo>
                  <a:pt x="4184" y="2466"/>
                </a:lnTo>
                <a:lnTo>
                  <a:pt x="4184" y="2460"/>
                </a:lnTo>
                <a:lnTo>
                  <a:pt x="4180" y="2454"/>
                </a:lnTo>
                <a:lnTo>
                  <a:pt x="4174" y="2448"/>
                </a:lnTo>
                <a:lnTo>
                  <a:pt x="4166" y="2440"/>
                </a:lnTo>
                <a:lnTo>
                  <a:pt x="4160" y="2438"/>
                </a:lnTo>
                <a:lnTo>
                  <a:pt x="4152" y="2436"/>
                </a:lnTo>
                <a:lnTo>
                  <a:pt x="4142" y="2434"/>
                </a:lnTo>
                <a:lnTo>
                  <a:pt x="4130" y="2436"/>
                </a:lnTo>
                <a:lnTo>
                  <a:pt x="4104" y="2440"/>
                </a:lnTo>
                <a:lnTo>
                  <a:pt x="4074" y="2448"/>
                </a:lnTo>
                <a:lnTo>
                  <a:pt x="4046" y="2458"/>
                </a:lnTo>
                <a:lnTo>
                  <a:pt x="4018" y="2470"/>
                </a:lnTo>
                <a:lnTo>
                  <a:pt x="3996" y="2486"/>
                </a:lnTo>
                <a:lnTo>
                  <a:pt x="3988" y="2492"/>
                </a:lnTo>
                <a:lnTo>
                  <a:pt x="3982" y="2500"/>
                </a:lnTo>
                <a:lnTo>
                  <a:pt x="3964" y="2522"/>
                </a:lnTo>
                <a:lnTo>
                  <a:pt x="3948" y="2542"/>
                </a:lnTo>
                <a:lnTo>
                  <a:pt x="3934" y="2556"/>
                </a:lnTo>
                <a:lnTo>
                  <a:pt x="3922" y="2566"/>
                </a:lnTo>
                <a:lnTo>
                  <a:pt x="3914" y="2572"/>
                </a:lnTo>
                <a:lnTo>
                  <a:pt x="3908" y="2576"/>
                </a:lnTo>
                <a:lnTo>
                  <a:pt x="3908" y="2574"/>
                </a:lnTo>
                <a:lnTo>
                  <a:pt x="3914" y="2568"/>
                </a:lnTo>
                <a:lnTo>
                  <a:pt x="3926" y="2554"/>
                </a:lnTo>
                <a:lnTo>
                  <a:pt x="3936" y="2538"/>
                </a:lnTo>
                <a:lnTo>
                  <a:pt x="3964" y="2500"/>
                </a:lnTo>
                <a:lnTo>
                  <a:pt x="3978" y="2480"/>
                </a:lnTo>
                <a:lnTo>
                  <a:pt x="3994" y="2462"/>
                </a:lnTo>
                <a:lnTo>
                  <a:pt x="4012" y="2448"/>
                </a:lnTo>
                <a:lnTo>
                  <a:pt x="4020" y="2444"/>
                </a:lnTo>
                <a:lnTo>
                  <a:pt x="4030" y="2440"/>
                </a:lnTo>
                <a:lnTo>
                  <a:pt x="4042" y="2434"/>
                </a:lnTo>
                <a:lnTo>
                  <a:pt x="4050" y="2430"/>
                </a:lnTo>
                <a:lnTo>
                  <a:pt x="4056" y="2426"/>
                </a:lnTo>
                <a:lnTo>
                  <a:pt x="4060" y="2422"/>
                </a:lnTo>
                <a:lnTo>
                  <a:pt x="4066" y="2412"/>
                </a:lnTo>
                <a:lnTo>
                  <a:pt x="4068" y="2404"/>
                </a:lnTo>
                <a:lnTo>
                  <a:pt x="4072" y="2394"/>
                </a:lnTo>
                <a:lnTo>
                  <a:pt x="4076" y="2390"/>
                </a:lnTo>
                <a:lnTo>
                  <a:pt x="4082" y="2386"/>
                </a:lnTo>
                <a:lnTo>
                  <a:pt x="4092" y="2382"/>
                </a:lnTo>
                <a:lnTo>
                  <a:pt x="4102" y="2378"/>
                </a:lnTo>
                <a:lnTo>
                  <a:pt x="4136" y="2372"/>
                </a:lnTo>
                <a:lnTo>
                  <a:pt x="4160" y="2370"/>
                </a:lnTo>
                <a:lnTo>
                  <a:pt x="4182" y="2368"/>
                </a:lnTo>
                <a:lnTo>
                  <a:pt x="4202" y="2368"/>
                </a:lnTo>
                <a:lnTo>
                  <a:pt x="4220" y="2370"/>
                </a:lnTo>
                <a:lnTo>
                  <a:pt x="4252" y="2376"/>
                </a:lnTo>
                <a:lnTo>
                  <a:pt x="4280" y="2382"/>
                </a:lnTo>
                <a:lnTo>
                  <a:pt x="4304" y="2384"/>
                </a:lnTo>
                <a:lnTo>
                  <a:pt x="4316" y="2384"/>
                </a:lnTo>
                <a:lnTo>
                  <a:pt x="4330" y="2382"/>
                </a:lnTo>
                <a:lnTo>
                  <a:pt x="4342" y="2376"/>
                </a:lnTo>
                <a:lnTo>
                  <a:pt x="4356" y="2370"/>
                </a:lnTo>
                <a:lnTo>
                  <a:pt x="4370" y="2358"/>
                </a:lnTo>
                <a:lnTo>
                  <a:pt x="4386" y="2346"/>
                </a:lnTo>
                <a:lnTo>
                  <a:pt x="4414" y="2320"/>
                </a:lnTo>
                <a:lnTo>
                  <a:pt x="4434" y="2308"/>
                </a:lnTo>
                <a:lnTo>
                  <a:pt x="4448" y="2302"/>
                </a:lnTo>
                <a:lnTo>
                  <a:pt x="4458" y="2302"/>
                </a:lnTo>
                <a:lnTo>
                  <a:pt x="4470" y="2306"/>
                </a:lnTo>
                <a:lnTo>
                  <a:pt x="4476" y="2306"/>
                </a:lnTo>
                <a:lnTo>
                  <a:pt x="4484" y="2298"/>
                </a:lnTo>
                <a:lnTo>
                  <a:pt x="4492" y="2288"/>
                </a:lnTo>
                <a:lnTo>
                  <a:pt x="4502" y="2280"/>
                </a:lnTo>
                <a:lnTo>
                  <a:pt x="4518" y="2268"/>
                </a:lnTo>
                <a:lnTo>
                  <a:pt x="4524" y="2262"/>
                </a:lnTo>
                <a:lnTo>
                  <a:pt x="4528" y="2256"/>
                </a:lnTo>
                <a:lnTo>
                  <a:pt x="4528" y="2246"/>
                </a:lnTo>
                <a:lnTo>
                  <a:pt x="4522" y="2234"/>
                </a:lnTo>
                <a:lnTo>
                  <a:pt x="4518" y="2224"/>
                </a:lnTo>
                <a:lnTo>
                  <a:pt x="4518" y="2216"/>
                </a:lnTo>
                <a:lnTo>
                  <a:pt x="4520" y="2212"/>
                </a:lnTo>
                <a:lnTo>
                  <a:pt x="4522" y="2210"/>
                </a:lnTo>
                <a:lnTo>
                  <a:pt x="4524" y="2208"/>
                </a:lnTo>
                <a:lnTo>
                  <a:pt x="4526" y="2204"/>
                </a:lnTo>
                <a:lnTo>
                  <a:pt x="4526" y="2198"/>
                </a:lnTo>
                <a:lnTo>
                  <a:pt x="4522" y="2188"/>
                </a:lnTo>
                <a:lnTo>
                  <a:pt x="4516" y="2178"/>
                </a:lnTo>
                <a:lnTo>
                  <a:pt x="4510" y="2172"/>
                </a:lnTo>
                <a:lnTo>
                  <a:pt x="4502" y="2170"/>
                </a:lnTo>
                <a:lnTo>
                  <a:pt x="4496" y="2170"/>
                </a:lnTo>
                <a:lnTo>
                  <a:pt x="4488" y="2170"/>
                </a:lnTo>
                <a:lnTo>
                  <a:pt x="4480" y="2168"/>
                </a:lnTo>
                <a:lnTo>
                  <a:pt x="4472" y="2162"/>
                </a:lnTo>
                <a:lnTo>
                  <a:pt x="4464" y="2154"/>
                </a:lnTo>
                <a:lnTo>
                  <a:pt x="4454" y="2144"/>
                </a:lnTo>
                <a:lnTo>
                  <a:pt x="4446" y="2138"/>
                </a:lnTo>
                <a:lnTo>
                  <a:pt x="4436" y="2136"/>
                </a:lnTo>
                <a:lnTo>
                  <a:pt x="4428" y="2140"/>
                </a:lnTo>
                <a:lnTo>
                  <a:pt x="4418" y="2144"/>
                </a:lnTo>
                <a:lnTo>
                  <a:pt x="4406" y="2152"/>
                </a:lnTo>
                <a:lnTo>
                  <a:pt x="4378" y="2172"/>
                </a:lnTo>
                <a:lnTo>
                  <a:pt x="4364" y="2182"/>
                </a:lnTo>
                <a:lnTo>
                  <a:pt x="4352" y="2186"/>
                </a:lnTo>
                <a:lnTo>
                  <a:pt x="4346" y="2184"/>
                </a:lnTo>
                <a:lnTo>
                  <a:pt x="4342" y="2182"/>
                </a:lnTo>
                <a:lnTo>
                  <a:pt x="4342" y="2176"/>
                </a:lnTo>
                <a:lnTo>
                  <a:pt x="4346" y="2170"/>
                </a:lnTo>
                <a:lnTo>
                  <a:pt x="4354" y="2164"/>
                </a:lnTo>
                <a:lnTo>
                  <a:pt x="4366" y="2160"/>
                </a:lnTo>
                <a:lnTo>
                  <a:pt x="4378" y="2156"/>
                </a:lnTo>
                <a:lnTo>
                  <a:pt x="4386" y="2152"/>
                </a:lnTo>
                <a:lnTo>
                  <a:pt x="4400" y="2144"/>
                </a:lnTo>
                <a:lnTo>
                  <a:pt x="4416" y="2136"/>
                </a:lnTo>
                <a:lnTo>
                  <a:pt x="4424" y="2132"/>
                </a:lnTo>
                <a:lnTo>
                  <a:pt x="4438" y="2128"/>
                </a:lnTo>
                <a:lnTo>
                  <a:pt x="4450" y="2126"/>
                </a:lnTo>
                <a:lnTo>
                  <a:pt x="4456" y="2122"/>
                </a:lnTo>
                <a:lnTo>
                  <a:pt x="4458" y="2118"/>
                </a:lnTo>
                <a:lnTo>
                  <a:pt x="4456" y="2114"/>
                </a:lnTo>
                <a:lnTo>
                  <a:pt x="4452" y="2108"/>
                </a:lnTo>
                <a:lnTo>
                  <a:pt x="4442" y="2104"/>
                </a:lnTo>
                <a:lnTo>
                  <a:pt x="4432" y="2102"/>
                </a:lnTo>
                <a:lnTo>
                  <a:pt x="4418" y="2098"/>
                </a:lnTo>
                <a:lnTo>
                  <a:pt x="4408" y="2096"/>
                </a:lnTo>
                <a:lnTo>
                  <a:pt x="4400" y="2094"/>
                </a:lnTo>
                <a:lnTo>
                  <a:pt x="4398" y="2090"/>
                </a:lnTo>
                <a:lnTo>
                  <a:pt x="4396" y="2086"/>
                </a:lnTo>
                <a:lnTo>
                  <a:pt x="4392" y="2082"/>
                </a:lnTo>
                <a:lnTo>
                  <a:pt x="4388" y="2078"/>
                </a:lnTo>
                <a:lnTo>
                  <a:pt x="4380" y="2074"/>
                </a:lnTo>
                <a:lnTo>
                  <a:pt x="4364" y="2072"/>
                </a:lnTo>
                <a:lnTo>
                  <a:pt x="4350" y="2068"/>
                </a:lnTo>
                <a:lnTo>
                  <a:pt x="4342" y="2066"/>
                </a:lnTo>
                <a:lnTo>
                  <a:pt x="4340" y="2062"/>
                </a:lnTo>
                <a:lnTo>
                  <a:pt x="4340" y="2056"/>
                </a:lnTo>
                <a:lnTo>
                  <a:pt x="4340" y="2052"/>
                </a:lnTo>
                <a:lnTo>
                  <a:pt x="4338" y="2046"/>
                </a:lnTo>
                <a:lnTo>
                  <a:pt x="4334" y="2040"/>
                </a:lnTo>
                <a:lnTo>
                  <a:pt x="4326" y="2036"/>
                </a:lnTo>
                <a:lnTo>
                  <a:pt x="4314" y="2030"/>
                </a:lnTo>
                <a:lnTo>
                  <a:pt x="4304" y="2024"/>
                </a:lnTo>
                <a:lnTo>
                  <a:pt x="4296" y="2018"/>
                </a:lnTo>
                <a:lnTo>
                  <a:pt x="4290" y="2010"/>
                </a:lnTo>
                <a:lnTo>
                  <a:pt x="4288" y="2002"/>
                </a:lnTo>
                <a:lnTo>
                  <a:pt x="4286" y="1992"/>
                </a:lnTo>
                <a:lnTo>
                  <a:pt x="4290" y="1982"/>
                </a:lnTo>
                <a:lnTo>
                  <a:pt x="4294" y="1970"/>
                </a:lnTo>
                <a:lnTo>
                  <a:pt x="4298" y="1964"/>
                </a:lnTo>
                <a:lnTo>
                  <a:pt x="4298" y="1958"/>
                </a:lnTo>
                <a:lnTo>
                  <a:pt x="4298" y="1954"/>
                </a:lnTo>
                <a:lnTo>
                  <a:pt x="4296" y="1952"/>
                </a:lnTo>
                <a:lnTo>
                  <a:pt x="4290" y="1946"/>
                </a:lnTo>
                <a:lnTo>
                  <a:pt x="4282" y="1944"/>
                </a:lnTo>
                <a:lnTo>
                  <a:pt x="4274" y="1942"/>
                </a:lnTo>
                <a:lnTo>
                  <a:pt x="4268" y="1938"/>
                </a:lnTo>
                <a:lnTo>
                  <a:pt x="4266" y="1936"/>
                </a:lnTo>
                <a:lnTo>
                  <a:pt x="4266" y="1932"/>
                </a:lnTo>
                <a:lnTo>
                  <a:pt x="4268" y="1930"/>
                </a:lnTo>
                <a:lnTo>
                  <a:pt x="4270" y="1924"/>
                </a:lnTo>
                <a:lnTo>
                  <a:pt x="4274" y="1916"/>
                </a:lnTo>
                <a:lnTo>
                  <a:pt x="4274" y="1910"/>
                </a:lnTo>
                <a:lnTo>
                  <a:pt x="4270" y="1904"/>
                </a:lnTo>
                <a:lnTo>
                  <a:pt x="4266" y="1900"/>
                </a:lnTo>
                <a:lnTo>
                  <a:pt x="4258" y="1894"/>
                </a:lnTo>
                <a:lnTo>
                  <a:pt x="4252" y="1888"/>
                </a:lnTo>
                <a:lnTo>
                  <a:pt x="4248" y="1878"/>
                </a:lnTo>
                <a:lnTo>
                  <a:pt x="4244" y="1868"/>
                </a:lnTo>
                <a:lnTo>
                  <a:pt x="4240" y="1850"/>
                </a:lnTo>
                <a:lnTo>
                  <a:pt x="4238" y="1846"/>
                </a:lnTo>
                <a:lnTo>
                  <a:pt x="4236" y="1846"/>
                </a:lnTo>
                <a:lnTo>
                  <a:pt x="4230" y="1842"/>
                </a:lnTo>
                <a:lnTo>
                  <a:pt x="4228" y="1838"/>
                </a:lnTo>
                <a:lnTo>
                  <a:pt x="4226" y="1830"/>
                </a:lnTo>
                <a:lnTo>
                  <a:pt x="4222" y="1822"/>
                </a:lnTo>
                <a:lnTo>
                  <a:pt x="4220" y="1818"/>
                </a:lnTo>
                <a:lnTo>
                  <a:pt x="4212" y="1810"/>
                </a:lnTo>
                <a:lnTo>
                  <a:pt x="4206" y="1806"/>
                </a:lnTo>
                <a:lnTo>
                  <a:pt x="4200" y="1800"/>
                </a:lnTo>
                <a:lnTo>
                  <a:pt x="4194" y="1792"/>
                </a:lnTo>
                <a:lnTo>
                  <a:pt x="4188" y="1778"/>
                </a:lnTo>
                <a:lnTo>
                  <a:pt x="4180" y="1764"/>
                </a:lnTo>
                <a:lnTo>
                  <a:pt x="4174" y="1756"/>
                </a:lnTo>
                <a:lnTo>
                  <a:pt x="4168" y="1752"/>
                </a:lnTo>
                <a:lnTo>
                  <a:pt x="4164" y="1752"/>
                </a:lnTo>
                <a:lnTo>
                  <a:pt x="4158" y="1754"/>
                </a:lnTo>
                <a:lnTo>
                  <a:pt x="4154" y="1760"/>
                </a:lnTo>
                <a:lnTo>
                  <a:pt x="4140" y="1776"/>
                </a:lnTo>
                <a:lnTo>
                  <a:pt x="4132" y="1786"/>
                </a:lnTo>
                <a:lnTo>
                  <a:pt x="4128" y="1800"/>
                </a:lnTo>
                <a:lnTo>
                  <a:pt x="4124" y="1824"/>
                </a:lnTo>
                <a:lnTo>
                  <a:pt x="4122" y="1834"/>
                </a:lnTo>
                <a:lnTo>
                  <a:pt x="4116" y="1842"/>
                </a:lnTo>
                <a:lnTo>
                  <a:pt x="4114" y="1844"/>
                </a:lnTo>
                <a:lnTo>
                  <a:pt x="4110" y="1846"/>
                </a:lnTo>
                <a:lnTo>
                  <a:pt x="4106" y="1846"/>
                </a:lnTo>
                <a:lnTo>
                  <a:pt x="4100" y="1846"/>
                </a:lnTo>
                <a:lnTo>
                  <a:pt x="4090" y="1844"/>
                </a:lnTo>
                <a:lnTo>
                  <a:pt x="4086" y="1844"/>
                </a:lnTo>
                <a:lnTo>
                  <a:pt x="4084" y="1846"/>
                </a:lnTo>
                <a:lnTo>
                  <a:pt x="4084" y="1852"/>
                </a:lnTo>
                <a:lnTo>
                  <a:pt x="4084" y="1856"/>
                </a:lnTo>
                <a:lnTo>
                  <a:pt x="4080" y="1862"/>
                </a:lnTo>
                <a:lnTo>
                  <a:pt x="4074" y="1868"/>
                </a:lnTo>
                <a:lnTo>
                  <a:pt x="4062" y="1874"/>
                </a:lnTo>
                <a:lnTo>
                  <a:pt x="4048" y="1876"/>
                </a:lnTo>
                <a:lnTo>
                  <a:pt x="4038" y="1874"/>
                </a:lnTo>
                <a:lnTo>
                  <a:pt x="4030" y="1868"/>
                </a:lnTo>
                <a:lnTo>
                  <a:pt x="4024" y="1862"/>
                </a:lnTo>
                <a:lnTo>
                  <a:pt x="4018" y="1854"/>
                </a:lnTo>
                <a:lnTo>
                  <a:pt x="4012" y="1846"/>
                </a:lnTo>
                <a:lnTo>
                  <a:pt x="4002" y="1842"/>
                </a:lnTo>
                <a:lnTo>
                  <a:pt x="3988" y="1840"/>
                </a:lnTo>
                <a:lnTo>
                  <a:pt x="3978" y="1840"/>
                </a:lnTo>
                <a:lnTo>
                  <a:pt x="3972" y="1838"/>
                </a:lnTo>
                <a:lnTo>
                  <a:pt x="3970" y="1836"/>
                </a:lnTo>
                <a:lnTo>
                  <a:pt x="3972" y="1832"/>
                </a:lnTo>
                <a:lnTo>
                  <a:pt x="3974" y="1828"/>
                </a:lnTo>
                <a:lnTo>
                  <a:pt x="3976" y="1824"/>
                </a:lnTo>
                <a:lnTo>
                  <a:pt x="3974" y="1818"/>
                </a:lnTo>
                <a:lnTo>
                  <a:pt x="3970" y="1814"/>
                </a:lnTo>
                <a:lnTo>
                  <a:pt x="3964" y="1810"/>
                </a:lnTo>
                <a:lnTo>
                  <a:pt x="3960" y="1806"/>
                </a:lnTo>
                <a:lnTo>
                  <a:pt x="3962" y="1802"/>
                </a:lnTo>
                <a:lnTo>
                  <a:pt x="3964" y="1798"/>
                </a:lnTo>
                <a:lnTo>
                  <a:pt x="3966" y="1794"/>
                </a:lnTo>
                <a:lnTo>
                  <a:pt x="3968" y="1790"/>
                </a:lnTo>
                <a:lnTo>
                  <a:pt x="3968" y="1782"/>
                </a:lnTo>
                <a:lnTo>
                  <a:pt x="3964" y="1774"/>
                </a:lnTo>
                <a:lnTo>
                  <a:pt x="3960" y="1764"/>
                </a:lnTo>
                <a:lnTo>
                  <a:pt x="3960" y="1752"/>
                </a:lnTo>
                <a:lnTo>
                  <a:pt x="3962" y="1742"/>
                </a:lnTo>
                <a:lnTo>
                  <a:pt x="3966" y="1732"/>
                </a:lnTo>
                <a:lnTo>
                  <a:pt x="3974" y="1716"/>
                </a:lnTo>
                <a:lnTo>
                  <a:pt x="3976" y="1708"/>
                </a:lnTo>
                <a:lnTo>
                  <a:pt x="3974" y="1702"/>
                </a:lnTo>
                <a:lnTo>
                  <a:pt x="3968" y="1698"/>
                </a:lnTo>
                <a:lnTo>
                  <a:pt x="3964" y="1698"/>
                </a:lnTo>
                <a:lnTo>
                  <a:pt x="3962" y="1700"/>
                </a:lnTo>
                <a:lnTo>
                  <a:pt x="3958" y="1702"/>
                </a:lnTo>
                <a:lnTo>
                  <a:pt x="3954" y="1710"/>
                </a:lnTo>
                <a:lnTo>
                  <a:pt x="3952" y="1712"/>
                </a:lnTo>
                <a:lnTo>
                  <a:pt x="3950" y="1708"/>
                </a:lnTo>
                <a:lnTo>
                  <a:pt x="3946" y="1704"/>
                </a:lnTo>
                <a:lnTo>
                  <a:pt x="3936" y="1702"/>
                </a:lnTo>
                <a:lnTo>
                  <a:pt x="3914" y="1696"/>
                </a:lnTo>
                <a:lnTo>
                  <a:pt x="3904" y="1692"/>
                </a:lnTo>
                <a:lnTo>
                  <a:pt x="3894" y="1688"/>
                </a:lnTo>
                <a:lnTo>
                  <a:pt x="3888" y="1682"/>
                </a:lnTo>
                <a:lnTo>
                  <a:pt x="3886" y="1680"/>
                </a:lnTo>
                <a:lnTo>
                  <a:pt x="3886" y="1676"/>
                </a:lnTo>
                <a:lnTo>
                  <a:pt x="3886" y="1668"/>
                </a:lnTo>
                <a:lnTo>
                  <a:pt x="3884" y="1662"/>
                </a:lnTo>
                <a:lnTo>
                  <a:pt x="3878" y="1656"/>
                </a:lnTo>
                <a:lnTo>
                  <a:pt x="3870" y="1650"/>
                </a:lnTo>
                <a:lnTo>
                  <a:pt x="3826" y="1620"/>
                </a:lnTo>
                <a:lnTo>
                  <a:pt x="3808" y="1608"/>
                </a:lnTo>
                <a:lnTo>
                  <a:pt x="3800" y="1606"/>
                </a:lnTo>
                <a:lnTo>
                  <a:pt x="3796" y="1606"/>
                </a:lnTo>
                <a:lnTo>
                  <a:pt x="3792" y="1608"/>
                </a:lnTo>
                <a:lnTo>
                  <a:pt x="3788" y="1610"/>
                </a:lnTo>
                <a:lnTo>
                  <a:pt x="3780" y="1616"/>
                </a:lnTo>
                <a:lnTo>
                  <a:pt x="3776" y="1620"/>
                </a:lnTo>
                <a:lnTo>
                  <a:pt x="3768" y="1622"/>
                </a:lnTo>
                <a:lnTo>
                  <a:pt x="3760" y="1624"/>
                </a:lnTo>
                <a:lnTo>
                  <a:pt x="3750" y="1624"/>
                </a:lnTo>
                <a:lnTo>
                  <a:pt x="3736" y="1624"/>
                </a:lnTo>
                <a:lnTo>
                  <a:pt x="3720" y="1620"/>
                </a:lnTo>
                <a:lnTo>
                  <a:pt x="3700" y="1614"/>
                </a:lnTo>
                <a:lnTo>
                  <a:pt x="3676" y="1604"/>
                </a:lnTo>
                <a:lnTo>
                  <a:pt x="3666" y="1600"/>
                </a:lnTo>
                <a:lnTo>
                  <a:pt x="3656" y="1600"/>
                </a:lnTo>
                <a:lnTo>
                  <a:pt x="3648" y="1600"/>
                </a:lnTo>
                <a:lnTo>
                  <a:pt x="3642" y="1600"/>
                </a:lnTo>
                <a:lnTo>
                  <a:pt x="3636" y="1604"/>
                </a:lnTo>
                <a:lnTo>
                  <a:pt x="3632" y="1606"/>
                </a:lnTo>
                <a:lnTo>
                  <a:pt x="3626" y="1616"/>
                </a:lnTo>
                <a:lnTo>
                  <a:pt x="3622" y="1628"/>
                </a:lnTo>
                <a:lnTo>
                  <a:pt x="3624" y="1640"/>
                </a:lnTo>
                <a:lnTo>
                  <a:pt x="3626" y="1652"/>
                </a:lnTo>
                <a:lnTo>
                  <a:pt x="3630" y="1658"/>
                </a:lnTo>
                <a:lnTo>
                  <a:pt x="3634" y="1664"/>
                </a:lnTo>
                <a:lnTo>
                  <a:pt x="3636" y="1672"/>
                </a:lnTo>
                <a:lnTo>
                  <a:pt x="3638" y="1678"/>
                </a:lnTo>
                <a:lnTo>
                  <a:pt x="3638" y="1686"/>
                </a:lnTo>
                <a:lnTo>
                  <a:pt x="3634" y="1700"/>
                </a:lnTo>
                <a:lnTo>
                  <a:pt x="3626" y="1712"/>
                </a:lnTo>
                <a:lnTo>
                  <a:pt x="3624" y="1716"/>
                </a:lnTo>
                <a:lnTo>
                  <a:pt x="3622" y="1718"/>
                </a:lnTo>
                <a:lnTo>
                  <a:pt x="3624" y="1722"/>
                </a:lnTo>
                <a:lnTo>
                  <a:pt x="3626" y="1724"/>
                </a:lnTo>
                <a:lnTo>
                  <a:pt x="3634" y="1734"/>
                </a:lnTo>
                <a:lnTo>
                  <a:pt x="3640" y="1742"/>
                </a:lnTo>
                <a:lnTo>
                  <a:pt x="3644" y="1752"/>
                </a:lnTo>
                <a:lnTo>
                  <a:pt x="3648" y="1764"/>
                </a:lnTo>
                <a:lnTo>
                  <a:pt x="3650" y="1772"/>
                </a:lnTo>
                <a:lnTo>
                  <a:pt x="3650" y="1778"/>
                </a:lnTo>
                <a:lnTo>
                  <a:pt x="3648" y="1784"/>
                </a:lnTo>
                <a:lnTo>
                  <a:pt x="3642" y="1794"/>
                </a:lnTo>
                <a:lnTo>
                  <a:pt x="3636" y="1808"/>
                </a:lnTo>
                <a:lnTo>
                  <a:pt x="3634" y="1816"/>
                </a:lnTo>
                <a:lnTo>
                  <a:pt x="3630" y="1822"/>
                </a:lnTo>
                <a:lnTo>
                  <a:pt x="3620" y="1828"/>
                </a:lnTo>
                <a:lnTo>
                  <a:pt x="3616" y="1830"/>
                </a:lnTo>
                <a:lnTo>
                  <a:pt x="3612" y="1834"/>
                </a:lnTo>
                <a:lnTo>
                  <a:pt x="3610" y="1840"/>
                </a:lnTo>
                <a:lnTo>
                  <a:pt x="3608" y="1850"/>
                </a:lnTo>
                <a:lnTo>
                  <a:pt x="3608" y="1854"/>
                </a:lnTo>
                <a:lnTo>
                  <a:pt x="3608" y="1858"/>
                </a:lnTo>
                <a:lnTo>
                  <a:pt x="3614" y="1866"/>
                </a:lnTo>
                <a:lnTo>
                  <a:pt x="3624" y="1872"/>
                </a:lnTo>
                <a:lnTo>
                  <a:pt x="3634" y="1880"/>
                </a:lnTo>
                <a:lnTo>
                  <a:pt x="3648" y="1890"/>
                </a:lnTo>
                <a:lnTo>
                  <a:pt x="3660" y="1902"/>
                </a:lnTo>
                <a:lnTo>
                  <a:pt x="3668" y="1912"/>
                </a:lnTo>
                <a:lnTo>
                  <a:pt x="3674" y="1922"/>
                </a:lnTo>
                <a:lnTo>
                  <a:pt x="3678" y="1934"/>
                </a:lnTo>
                <a:lnTo>
                  <a:pt x="3684" y="1950"/>
                </a:lnTo>
                <a:lnTo>
                  <a:pt x="3686" y="1964"/>
                </a:lnTo>
                <a:lnTo>
                  <a:pt x="3688" y="1978"/>
                </a:lnTo>
                <a:lnTo>
                  <a:pt x="3688" y="1992"/>
                </a:lnTo>
                <a:lnTo>
                  <a:pt x="3684" y="2004"/>
                </a:lnTo>
                <a:lnTo>
                  <a:pt x="3680" y="2016"/>
                </a:lnTo>
                <a:lnTo>
                  <a:pt x="3676" y="2028"/>
                </a:lnTo>
                <a:lnTo>
                  <a:pt x="3668" y="2038"/>
                </a:lnTo>
                <a:lnTo>
                  <a:pt x="3660" y="2048"/>
                </a:lnTo>
                <a:lnTo>
                  <a:pt x="3644" y="2064"/>
                </a:lnTo>
                <a:lnTo>
                  <a:pt x="3624" y="2078"/>
                </a:lnTo>
                <a:lnTo>
                  <a:pt x="3604" y="2090"/>
                </a:lnTo>
                <a:lnTo>
                  <a:pt x="3584" y="2098"/>
                </a:lnTo>
                <a:lnTo>
                  <a:pt x="3570" y="2104"/>
                </a:lnTo>
                <a:lnTo>
                  <a:pt x="3564" y="2110"/>
                </a:lnTo>
                <a:lnTo>
                  <a:pt x="3562" y="2114"/>
                </a:lnTo>
                <a:lnTo>
                  <a:pt x="3562" y="2116"/>
                </a:lnTo>
                <a:lnTo>
                  <a:pt x="3566" y="2122"/>
                </a:lnTo>
                <a:lnTo>
                  <a:pt x="3572" y="2130"/>
                </a:lnTo>
                <a:lnTo>
                  <a:pt x="3578" y="2140"/>
                </a:lnTo>
                <a:lnTo>
                  <a:pt x="3584" y="2152"/>
                </a:lnTo>
                <a:lnTo>
                  <a:pt x="3584" y="2160"/>
                </a:lnTo>
                <a:lnTo>
                  <a:pt x="3584" y="2168"/>
                </a:lnTo>
                <a:lnTo>
                  <a:pt x="3586" y="2184"/>
                </a:lnTo>
                <a:lnTo>
                  <a:pt x="3590" y="2198"/>
                </a:lnTo>
                <a:lnTo>
                  <a:pt x="3600" y="2228"/>
                </a:lnTo>
                <a:lnTo>
                  <a:pt x="3604" y="2242"/>
                </a:lnTo>
                <a:lnTo>
                  <a:pt x="3604" y="2254"/>
                </a:lnTo>
                <a:lnTo>
                  <a:pt x="3604" y="2264"/>
                </a:lnTo>
                <a:lnTo>
                  <a:pt x="3602" y="2266"/>
                </a:lnTo>
                <a:lnTo>
                  <a:pt x="3598" y="2270"/>
                </a:lnTo>
                <a:lnTo>
                  <a:pt x="3594" y="2272"/>
                </a:lnTo>
                <a:lnTo>
                  <a:pt x="3592" y="2276"/>
                </a:lnTo>
                <a:lnTo>
                  <a:pt x="3590" y="2282"/>
                </a:lnTo>
                <a:lnTo>
                  <a:pt x="3592" y="2290"/>
                </a:lnTo>
                <a:lnTo>
                  <a:pt x="3594" y="2298"/>
                </a:lnTo>
                <a:lnTo>
                  <a:pt x="3596" y="2302"/>
                </a:lnTo>
                <a:lnTo>
                  <a:pt x="3596" y="2304"/>
                </a:lnTo>
                <a:lnTo>
                  <a:pt x="3590" y="2304"/>
                </a:lnTo>
                <a:lnTo>
                  <a:pt x="3582" y="2298"/>
                </a:lnTo>
                <a:lnTo>
                  <a:pt x="3570" y="2294"/>
                </a:lnTo>
                <a:lnTo>
                  <a:pt x="3568" y="2294"/>
                </a:lnTo>
                <a:lnTo>
                  <a:pt x="3566" y="2296"/>
                </a:lnTo>
                <a:lnTo>
                  <a:pt x="3564" y="2302"/>
                </a:lnTo>
                <a:lnTo>
                  <a:pt x="3562" y="2308"/>
                </a:lnTo>
                <a:lnTo>
                  <a:pt x="3562" y="2316"/>
                </a:lnTo>
                <a:lnTo>
                  <a:pt x="3560" y="2322"/>
                </a:lnTo>
                <a:lnTo>
                  <a:pt x="3558" y="2322"/>
                </a:lnTo>
                <a:lnTo>
                  <a:pt x="3554" y="2324"/>
                </a:lnTo>
                <a:lnTo>
                  <a:pt x="3546" y="2318"/>
                </a:lnTo>
                <a:lnTo>
                  <a:pt x="3536" y="2312"/>
                </a:lnTo>
                <a:lnTo>
                  <a:pt x="3530" y="2306"/>
                </a:lnTo>
                <a:lnTo>
                  <a:pt x="3522" y="2292"/>
                </a:lnTo>
                <a:lnTo>
                  <a:pt x="3516" y="2282"/>
                </a:lnTo>
                <a:lnTo>
                  <a:pt x="3508" y="2270"/>
                </a:lnTo>
                <a:lnTo>
                  <a:pt x="3494" y="2256"/>
                </a:lnTo>
                <a:lnTo>
                  <a:pt x="3474" y="2238"/>
                </a:lnTo>
                <a:lnTo>
                  <a:pt x="3464" y="2226"/>
                </a:lnTo>
                <a:lnTo>
                  <a:pt x="3458" y="2216"/>
                </a:lnTo>
                <a:lnTo>
                  <a:pt x="3456" y="2204"/>
                </a:lnTo>
                <a:lnTo>
                  <a:pt x="3456" y="2194"/>
                </a:lnTo>
                <a:lnTo>
                  <a:pt x="3458" y="2172"/>
                </a:lnTo>
                <a:lnTo>
                  <a:pt x="3456" y="2160"/>
                </a:lnTo>
                <a:lnTo>
                  <a:pt x="3454" y="2148"/>
                </a:lnTo>
                <a:lnTo>
                  <a:pt x="3450" y="2134"/>
                </a:lnTo>
                <a:lnTo>
                  <a:pt x="3452" y="2122"/>
                </a:lnTo>
                <a:lnTo>
                  <a:pt x="3454" y="2110"/>
                </a:lnTo>
                <a:lnTo>
                  <a:pt x="3456" y="2102"/>
                </a:lnTo>
                <a:lnTo>
                  <a:pt x="3458" y="2094"/>
                </a:lnTo>
                <a:lnTo>
                  <a:pt x="3456" y="2088"/>
                </a:lnTo>
                <a:lnTo>
                  <a:pt x="3452" y="2082"/>
                </a:lnTo>
                <a:lnTo>
                  <a:pt x="3440" y="2078"/>
                </a:lnTo>
                <a:lnTo>
                  <a:pt x="3414" y="2072"/>
                </a:lnTo>
                <a:lnTo>
                  <a:pt x="3394" y="2070"/>
                </a:lnTo>
                <a:lnTo>
                  <a:pt x="3378" y="2070"/>
                </a:lnTo>
                <a:lnTo>
                  <a:pt x="3368" y="2070"/>
                </a:lnTo>
                <a:lnTo>
                  <a:pt x="3354" y="2072"/>
                </a:lnTo>
                <a:lnTo>
                  <a:pt x="3348" y="2072"/>
                </a:lnTo>
                <a:lnTo>
                  <a:pt x="3340" y="2070"/>
                </a:lnTo>
                <a:lnTo>
                  <a:pt x="3334" y="2068"/>
                </a:lnTo>
                <a:lnTo>
                  <a:pt x="3330" y="2064"/>
                </a:lnTo>
                <a:lnTo>
                  <a:pt x="3322" y="2054"/>
                </a:lnTo>
                <a:lnTo>
                  <a:pt x="3316" y="2050"/>
                </a:lnTo>
                <a:lnTo>
                  <a:pt x="3306" y="2044"/>
                </a:lnTo>
                <a:lnTo>
                  <a:pt x="3290" y="2038"/>
                </a:lnTo>
                <a:lnTo>
                  <a:pt x="3268" y="2030"/>
                </a:lnTo>
                <a:lnTo>
                  <a:pt x="3248" y="2024"/>
                </a:lnTo>
                <a:lnTo>
                  <a:pt x="3236" y="2018"/>
                </a:lnTo>
                <a:lnTo>
                  <a:pt x="3232" y="2012"/>
                </a:lnTo>
                <a:lnTo>
                  <a:pt x="3230" y="2004"/>
                </a:lnTo>
                <a:lnTo>
                  <a:pt x="3226" y="1996"/>
                </a:lnTo>
                <a:lnTo>
                  <a:pt x="3216" y="1988"/>
                </a:lnTo>
                <a:lnTo>
                  <a:pt x="3198" y="1976"/>
                </a:lnTo>
                <a:lnTo>
                  <a:pt x="3166" y="1962"/>
                </a:lnTo>
                <a:lnTo>
                  <a:pt x="3146" y="1956"/>
                </a:lnTo>
                <a:lnTo>
                  <a:pt x="3130" y="1952"/>
                </a:lnTo>
                <a:lnTo>
                  <a:pt x="3114" y="1950"/>
                </a:lnTo>
                <a:lnTo>
                  <a:pt x="3102" y="1950"/>
                </a:lnTo>
                <a:lnTo>
                  <a:pt x="3090" y="1950"/>
                </a:lnTo>
                <a:lnTo>
                  <a:pt x="3080" y="1952"/>
                </a:lnTo>
                <a:lnTo>
                  <a:pt x="3064" y="1958"/>
                </a:lnTo>
                <a:lnTo>
                  <a:pt x="3052" y="1964"/>
                </a:lnTo>
                <a:lnTo>
                  <a:pt x="3046" y="1966"/>
                </a:lnTo>
                <a:lnTo>
                  <a:pt x="3044" y="1966"/>
                </a:lnTo>
                <a:lnTo>
                  <a:pt x="3042" y="1962"/>
                </a:lnTo>
                <a:lnTo>
                  <a:pt x="3040" y="1948"/>
                </a:lnTo>
                <a:lnTo>
                  <a:pt x="3040" y="1930"/>
                </a:lnTo>
                <a:lnTo>
                  <a:pt x="3038" y="1918"/>
                </a:lnTo>
                <a:lnTo>
                  <a:pt x="3032" y="1902"/>
                </a:lnTo>
                <a:lnTo>
                  <a:pt x="3026" y="1888"/>
                </a:lnTo>
                <a:lnTo>
                  <a:pt x="3024" y="1878"/>
                </a:lnTo>
                <a:lnTo>
                  <a:pt x="3020" y="1866"/>
                </a:lnTo>
                <a:lnTo>
                  <a:pt x="3020" y="1860"/>
                </a:lnTo>
                <a:lnTo>
                  <a:pt x="3016" y="1856"/>
                </a:lnTo>
                <a:lnTo>
                  <a:pt x="3012" y="1854"/>
                </a:lnTo>
                <a:lnTo>
                  <a:pt x="3008" y="1852"/>
                </a:lnTo>
                <a:lnTo>
                  <a:pt x="2998" y="1852"/>
                </a:lnTo>
                <a:lnTo>
                  <a:pt x="2986" y="1852"/>
                </a:lnTo>
                <a:lnTo>
                  <a:pt x="2974" y="1850"/>
                </a:lnTo>
                <a:lnTo>
                  <a:pt x="2968" y="1846"/>
                </a:lnTo>
                <a:lnTo>
                  <a:pt x="2964" y="1844"/>
                </a:lnTo>
                <a:lnTo>
                  <a:pt x="2958" y="1838"/>
                </a:lnTo>
                <a:lnTo>
                  <a:pt x="2954" y="1830"/>
                </a:lnTo>
                <a:lnTo>
                  <a:pt x="2952" y="1820"/>
                </a:lnTo>
                <a:lnTo>
                  <a:pt x="2948" y="1808"/>
                </a:lnTo>
                <a:lnTo>
                  <a:pt x="2948" y="1794"/>
                </a:lnTo>
                <a:lnTo>
                  <a:pt x="2950" y="1778"/>
                </a:lnTo>
                <a:lnTo>
                  <a:pt x="2952" y="1764"/>
                </a:lnTo>
                <a:lnTo>
                  <a:pt x="2956" y="1748"/>
                </a:lnTo>
                <a:lnTo>
                  <a:pt x="2968" y="1718"/>
                </a:lnTo>
                <a:lnTo>
                  <a:pt x="2982" y="1688"/>
                </a:lnTo>
                <a:lnTo>
                  <a:pt x="2998" y="1664"/>
                </a:lnTo>
                <a:lnTo>
                  <a:pt x="3014" y="1644"/>
                </a:lnTo>
                <a:lnTo>
                  <a:pt x="3026" y="1632"/>
                </a:lnTo>
                <a:lnTo>
                  <a:pt x="3032" y="1630"/>
                </a:lnTo>
                <a:lnTo>
                  <a:pt x="3034" y="1628"/>
                </a:lnTo>
                <a:lnTo>
                  <a:pt x="3040" y="1628"/>
                </a:lnTo>
                <a:lnTo>
                  <a:pt x="3042" y="1624"/>
                </a:lnTo>
                <a:lnTo>
                  <a:pt x="3046" y="1610"/>
                </a:lnTo>
                <a:lnTo>
                  <a:pt x="3048" y="1602"/>
                </a:lnTo>
                <a:lnTo>
                  <a:pt x="3052" y="1594"/>
                </a:lnTo>
                <a:lnTo>
                  <a:pt x="3060" y="1588"/>
                </a:lnTo>
                <a:lnTo>
                  <a:pt x="3072" y="1586"/>
                </a:lnTo>
                <a:lnTo>
                  <a:pt x="3096" y="1582"/>
                </a:lnTo>
                <a:lnTo>
                  <a:pt x="3108" y="1580"/>
                </a:lnTo>
                <a:lnTo>
                  <a:pt x="3116" y="1576"/>
                </a:lnTo>
                <a:lnTo>
                  <a:pt x="3120" y="1570"/>
                </a:lnTo>
                <a:lnTo>
                  <a:pt x="3122" y="1562"/>
                </a:lnTo>
                <a:lnTo>
                  <a:pt x="3116" y="1554"/>
                </a:lnTo>
                <a:lnTo>
                  <a:pt x="3106" y="1544"/>
                </a:lnTo>
                <a:lnTo>
                  <a:pt x="3098" y="1536"/>
                </a:lnTo>
                <a:lnTo>
                  <a:pt x="3098" y="1532"/>
                </a:lnTo>
                <a:lnTo>
                  <a:pt x="3104" y="1530"/>
                </a:lnTo>
                <a:lnTo>
                  <a:pt x="3114" y="1530"/>
                </a:lnTo>
                <a:lnTo>
                  <a:pt x="3124" y="1528"/>
                </a:lnTo>
                <a:lnTo>
                  <a:pt x="3136" y="1526"/>
                </a:lnTo>
                <a:lnTo>
                  <a:pt x="3142" y="1524"/>
                </a:lnTo>
                <a:lnTo>
                  <a:pt x="3146" y="1520"/>
                </a:lnTo>
                <a:lnTo>
                  <a:pt x="3148" y="1514"/>
                </a:lnTo>
                <a:lnTo>
                  <a:pt x="3150" y="1508"/>
                </a:lnTo>
                <a:lnTo>
                  <a:pt x="3152" y="1502"/>
                </a:lnTo>
                <a:lnTo>
                  <a:pt x="3154" y="1498"/>
                </a:lnTo>
                <a:lnTo>
                  <a:pt x="3156" y="1496"/>
                </a:lnTo>
                <a:lnTo>
                  <a:pt x="3160" y="1496"/>
                </a:lnTo>
                <a:lnTo>
                  <a:pt x="3168" y="1500"/>
                </a:lnTo>
                <a:lnTo>
                  <a:pt x="3176" y="1506"/>
                </a:lnTo>
                <a:lnTo>
                  <a:pt x="3188" y="1510"/>
                </a:lnTo>
                <a:lnTo>
                  <a:pt x="3194" y="1510"/>
                </a:lnTo>
                <a:lnTo>
                  <a:pt x="3200" y="1510"/>
                </a:lnTo>
                <a:lnTo>
                  <a:pt x="3206" y="1506"/>
                </a:lnTo>
                <a:lnTo>
                  <a:pt x="3214" y="1502"/>
                </a:lnTo>
                <a:lnTo>
                  <a:pt x="3222" y="1494"/>
                </a:lnTo>
                <a:lnTo>
                  <a:pt x="3228" y="1482"/>
                </a:lnTo>
                <a:lnTo>
                  <a:pt x="3242" y="1460"/>
                </a:lnTo>
                <a:lnTo>
                  <a:pt x="3252" y="1446"/>
                </a:lnTo>
                <a:lnTo>
                  <a:pt x="3258" y="1436"/>
                </a:lnTo>
                <a:lnTo>
                  <a:pt x="3260" y="1430"/>
                </a:lnTo>
                <a:lnTo>
                  <a:pt x="3258" y="1428"/>
                </a:lnTo>
                <a:lnTo>
                  <a:pt x="3256" y="1428"/>
                </a:lnTo>
                <a:lnTo>
                  <a:pt x="3246" y="1426"/>
                </a:lnTo>
                <a:lnTo>
                  <a:pt x="3228" y="1422"/>
                </a:lnTo>
                <a:lnTo>
                  <a:pt x="3204" y="1418"/>
                </a:lnTo>
                <a:lnTo>
                  <a:pt x="3188" y="1414"/>
                </a:lnTo>
                <a:lnTo>
                  <a:pt x="3176" y="1408"/>
                </a:lnTo>
                <a:lnTo>
                  <a:pt x="3170" y="1404"/>
                </a:lnTo>
                <a:lnTo>
                  <a:pt x="3164" y="1400"/>
                </a:lnTo>
                <a:lnTo>
                  <a:pt x="3154" y="1390"/>
                </a:lnTo>
                <a:lnTo>
                  <a:pt x="3146" y="1384"/>
                </a:lnTo>
                <a:lnTo>
                  <a:pt x="3132" y="1378"/>
                </a:lnTo>
                <a:lnTo>
                  <a:pt x="3140" y="1376"/>
                </a:lnTo>
                <a:lnTo>
                  <a:pt x="3150" y="1376"/>
                </a:lnTo>
                <a:lnTo>
                  <a:pt x="3158" y="1378"/>
                </a:lnTo>
                <a:lnTo>
                  <a:pt x="3168" y="1382"/>
                </a:lnTo>
                <a:lnTo>
                  <a:pt x="3186" y="1392"/>
                </a:lnTo>
                <a:lnTo>
                  <a:pt x="3204" y="1400"/>
                </a:lnTo>
                <a:lnTo>
                  <a:pt x="3220" y="1410"/>
                </a:lnTo>
                <a:lnTo>
                  <a:pt x="3230" y="1412"/>
                </a:lnTo>
                <a:lnTo>
                  <a:pt x="3238" y="1414"/>
                </a:lnTo>
                <a:lnTo>
                  <a:pt x="3246" y="1412"/>
                </a:lnTo>
                <a:lnTo>
                  <a:pt x="3256" y="1410"/>
                </a:lnTo>
                <a:lnTo>
                  <a:pt x="3264" y="1406"/>
                </a:lnTo>
                <a:lnTo>
                  <a:pt x="3272" y="1398"/>
                </a:lnTo>
                <a:lnTo>
                  <a:pt x="3296" y="1372"/>
                </a:lnTo>
                <a:lnTo>
                  <a:pt x="3302" y="1366"/>
                </a:lnTo>
                <a:lnTo>
                  <a:pt x="3304" y="1360"/>
                </a:lnTo>
                <a:lnTo>
                  <a:pt x="3304" y="1356"/>
                </a:lnTo>
                <a:lnTo>
                  <a:pt x="3300" y="1352"/>
                </a:lnTo>
                <a:lnTo>
                  <a:pt x="3280" y="1340"/>
                </a:lnTo>
                <a:lnTo>
                  <a:pt x="3270" y="1334"/>
                </a:lnTo>
                <a:lnTo>
                  <a:pt x="3270" y="1332"/>
                </a:lnTo>
                <a:lnTo>
                  <a:pt x="3270" y="1330"/>
                </a:lnTo>
                <a:lnTo>
                  <a:pt x="3278" y="1326"/>
                </a:lnTo>
                <a:lnTo>
                  <a:pt x="3290" y="1326"/>
                </a:lnTo>
                <a:lnTo>
                  <a:pt x="3302" y="1328"/>
                </a:lnTo>
                <a:lnTo>
                  <a:pt x="3316" y="1330"/>
                </a:lnTo>
                <a:lnTo>
                  <a:pt x="3328" y="1334"/>
                </a:lnTo>
                <a:lnTo>
                  <a:pt x="3336" y="1340"/>
                </a:lnTo>
                <a:lnTo>
                  <a:pt x="3346" y="1348"/>
                </a:lnTo>
                <a:lnTo>
                  <a:pt x="3356" y="1358"/>
                </a:lnTo>
                <a:lnTo>
                  <a:pt x="3366" y="1366"/>
                </a:lnTo>
                <a:lnTo>
                  <a:pt x="3374" y="1376"/>
                </a:lnTo>
                <a:lnTo>
                  <a:pt x="3382" y="1386"/>
                </a:lnTo>
                <a:lnTo>
                  <a:pt x="3388" y="1392"/>
                </a:lnTo>
                <a:lnTo>
                  <a:pt x="3398" y="1394"/>
                </a:lnTo>
                <a:lnTo>
                  <a:pt x="3410" y="1390"/>
                </a:lnTo>
                <a:lnTo>
                  <a:pt x="3412" y="1390"/>
                </a:lnTo>
                <a:lnTo>
                  <a:pt x="3414" y="1388"/>
                </a:lnTo>
                <a:lnTo>
                  <a:pt x="3412" y="1384"/>
                </a:lnTo>
                <a:lnTo>
                  <a:pt x="3400" y="1376"/>
                </a:lnTo>
                <a:lnTo>
                  <a:pt x="3392" y="1370"/>
                </a:lnTo>
                <a:lnTo>
                  <a:pt x="3386" y="1366"/>
                </a:lnTo>
                <a:lnTo>
                  <a:pt x="3386" y="1362"/>
                </a:lnTo>
                <a:lnTo>
                  <a:pt x="3386" y="1360"/>
                </a:lnTo>
                <a:lnTo>
                  <a:pt x="3386" y="1358"/>
                </a:lnTo>
                <a:lnTo>
                  <a:pt x="3390" y="1356"/>
                </a:lnTo>
                <a:lnTo>
                  <a:pt x="3398" y="1352"/>
                </a:lnTo>
                <a:lnTo>
                  <a:pt x="3404" y="1346"/>
                </a:lnTo>
                <a:lnTo>
                  <a:pt x="3416" y="1336"/>
                </a:lnTo>
                <a:lnTo>
                  <a:pt x="3426" y="1328"/>
                </a:lnTo>
                <a:lnTo>
                  <a:pt x="3432" y="1326"/>
                </a:lnTo>
                <a:lnTo>
                  <a:pt x="3438" y="1326"/>
                </a:lnTo>
                <a:lnTo>
                  <a:pt x="3446" y="1326"/>
                </a:lnTo>
                <a:lnTo>
                  <a:pt x="3450" y="1322"/>
                </a:lnTo>
                <a:lnTo>
                  <a:pt x="3456" y="1318"/>
                </a:lnTo>
                <a:lnTo>
                  <a:pt x="3460" y="1314"/>
                </a:lnTo>
                <a:lnTo>
                  <a:pt x="3468" y="1304"/>
                </a:lnTo>
                <a:lnTo>
                  <a:pt x="3474" y="1300"/>
                </a:lnTo>
                <a:lnTo>
                  <a:pt x="3480" y="1298"/>
                </a:lnTo>
                <a:lnTo>
                  <a:pt x="3486" y="1296"/>
                </a:lnTo>
                <a:lnTo>
                  <a:pt x="3490" y="1294"/>
                </a:lnTo>
                <a:lnTo>
                  <a:pt x="3492" y="1288"/>
                </a:lnTo>
                <a:lnTo>
                  <a:pt x="3494" y="1280"/>
                </a:lnTo>
                <a:lnTo>
                  <a:pt x="3494" y="1274"/>
                </a:lnTo>
                <a:lnTo>
                  <a:pt x="3490" y="1264"/>
                </a:lnTo>
                <a:lnTo>
                  <a:pt x="3482" y="1254"/>
                </a:lnTo>
                <a:lnTo>
                  <a:pt x="3472" y="1246"/>
                </a:lnTo>
                <a:lnTo>
                  <a:pt x="3464" y="1238"/>
                </a:lnTo>
                <a:lnTo>
                  <a:pt x="3460" y="1232"/>
                </a:lnTo>
                <a:lnTo>
                  <a:pt x="3460" y="1226"/>
                </a:lnTo>
                <a:lnTo>
                  <a:pt x="3462" y="1224"/>
                </a:lnTo>
                <a:lnTo>
                  <a:pt x="3466" y="1220"/>
                </a:lnTo>
                <a:lnTo>
                  <a:pt x="3466" y="1216"/>
                </a:lnTo>
                <a:lnTo>
                  <a:pt x="3464" y="1212"/>
                </a:lnTo>
                <a:lnTo>
                  <a:pt x="3458" y="1206"/>
                </a:lnTo>
                <a:lnTo>
                  <a:pt x="3452" y="1200"/>
                </a:lnTo>
                <a:lnTo>
                  <a:pt x="3452" y="1198"/>
                </a:lnTo>
                <a:lnTo>
                  <a:pt x="3454" y="1196"/>
                </a:lnTo>
                <a:lnTo>
                  <a:pt x="3458" y="1196"/>
                </a:lnTo>
                <a:lnTo>
                  <a:pt x="3466" y="1196"/>
                </a:lnTo>
                <a:lnTo>
                  <a:pt x="3476" y="1196"/>
                </a:lnTo>
                <a:lnTo>
                  <a:pt x="3484" y="1194"/>
                </a:lnTo>
                <a:lnTo>
                  <a:pt x="3492" y="1190"/>
                </a:lnTo>
                <a:lnTo>
                  <a:pt x="3496" y="1186"/>
                </a:lnTo>
                <a:lnTo>
                  <a:pt x="3496" y="1182"/>
                </a:lnTo>
                <a:lnTo>
                  <a:pt x="3498" y="1174"/>
                </a:lnTo>
                <a:lnTo>
                  <a:pt x="3496" y="1170"/>
                </a:lnTo>
                <a:lnTo>
                  <a:pt x="3492" y="1166"/>
                </a:lnTo>
                <a:lnTo>
                  <a:pt x="3490" y="1164"/>
                </a:lnTo>
                <a:lnTo>
                  <a:pt x="3486" y="1164"/>
                </a:lnTo>
                <a:lnTo>
                  <a:pt x="3484" y="1162"/>
                </a:lnTo>
                <a:lnTo>
                  <a:pt x="3486" y="1158"/>
                </a:lnTo>
                <a:lnTo>
                  <a:pt x="3490" y="1152"/>
                </a:lnTo>
                <a:lnTo>
                  <a:pt x="3494" y="1146"/>
                </a:lnTo>
                <a:lnTo>
                  <a:pt x="3492" y="1142"/>
                </a:lnTo>
                <a:lnTo>
                  <a:pt x="3488" y="1140"/>
                </a:lnTo>
                <a:lnTo>
                  <a:pt x="3480" y="1140"/>
                </a:lnTo>
                <a:lnTo>
                  <a:pt x="3472" y="1138"/>
                </a:lnTo>
                <a:lnTo>
                  <a:pt x="3466" y="1136"/>
                </a:lnTo>
                <a:lnTo>
                  <a:pt x="3458" y="1130"/>
                </a:lnTo>
                <a:lnTo>
                  <a:pt x="3456" y="1122"/>
                </a:lnTo>
                <a:lnTo>
                  <a:pt x="3452" y="1114"/>
                </a:lnTo>
                <a:lnTo>
                  <a:pt x="3446" y="1110"/>
                </a:lnTo>
                <a:lnTo>
                  <a:pt x="3438" y="1108"/>
                </a:lnTo>
                <a:lnTo>
                  <a:pt x="3428" y="1106"/>
                </a:lnTo>
                <a:lnTo>
                  <a:pt x="3406" y="1106"/>
                </a:lnTo>
                <a:lnTo>
                  <a:pt x="3392" y="1104"/>
                </a:lnTo>
                <a:lnTo>
                  <a:pt x="3378" y="1098"/>
                </a:lnTo>
                <a:lnTo>
                  <a:pt x="3362" y="1090"/>
                </a:lnTo>
                <a:lnTo>
                  <a:pt x="3358" y="1090"/>
                </a:lnTo>
                <a:lnTo>
                  <a:pt x="3354" y="1092"/>
                </a:lnTo>
                <a:lnTo>
                  <a:pt x="3348" y="1096"/>
                </a:lnTo>
                <a:lnTo>
                  <a:pt x="3344" y="1096"/>
                </a:lnTo>
                <a:lnTo>
                  <a:pt x="3334" y="1098"/>
                </a:lnTo>
                <a:lnTo>
                  <a:pt x="3326" y="1098"/>
                </a:lnTo>
                <a:lnTo>
                  <a:pt x="3320" y="1104"/>
                </a:lnTo>
                <a:lnTo>
                  <a:pt x="3318" y="1112"/>
                </a:lnTo>
                <a:lnTo>
                  <a:pt x="3318" y="1120"/>
                </a:lnTo>
                <a:lnTo>
                  <a:pt x="3322" y="1130"/>
                </a:lnTo>
                <a:lnTo>
                  <a:pt x="3326" y="1138"/>
                </a:lnTo>
                <a:lnTo>
                  <a:pt x="3332" y="1144"/>
                </a:lnTo>
                <a:lnTo>
                  <a:pt x="3338" y="1150"/>
                </a:lnTo>
                <a:lnTo>
                  <a:pt x="3344" y="1152"/>
                </a:lnTo>
                <a:lnTo>
                  <a:pt x="3346" y="1156"/>
                </a:lnTo>
                <a:lnTo>
                  <a:pt x="3346" y="1160"/>
                </a:lnTo>
                <a:lnTo>
                  <a:pt x="3346" y="1166"/>
                </a:lnTo>
                <a:lnTo>
                  <a:pt x="3342" y="1170"/>
                </a:lnTo>
                <a:lnTo>
                  <a:pt x="3338" y="1172"/>
                </a:lnTo>
                <a:lnTo>
                  <a:pt x="3334" y="1174"/>
                </a:lnTo>
                <a:lnTo>
                  <a:pt x="3328" y="1174"/>
                </a:lnTo>
                <a:lnTo>
                  <a:pt x="3322" y="1174"/>
                </a:lnTo>
                <a:lnTo>
                  <a:pt x="3320" y="1180"/>
                </a:lnTo>
                <a:lnTo>
                  <a:pt x="3320" y="1196"/>
                </a:lnTo>
                <a:lnTo>
                  <a:pt x="3318" y="1206"/>
                </a:lnTo>
                <a:lnTo>
                  <a:pt x="3316" y="1216"/>
                </a:lnTo>
                <a:lnTo>
                  <a:pt x="3310" y="1226"/>
                </a:lnTo>
                <a:lnTo>
                  <a:pt x="3302" y="1234"/>
                </a:lnTo>
                <a:lnTo>
                  <a:pt x="3292" y="1242"/>
                </a:lnTo>
                <a:lnTo>
                  <a:pt x="3286" y="1248"/>
                </a:lnTo>
                <a:lnTo>
                  <a:pt x="3284" y="1256"/>
                </a:lnTo>
                <a:lnTo>
                  <a:pt x="3282" y="1262"/>
                </a:lnTo>
                <a:lnTo>
                  <a:pt x="3282" y="1268"/>
                </a:lnTo>
                <a:lnTo>
                  <a:pt x="3278" y="1272"/>
                </a:lnTo>
                <a:lnTo>
                  <a:pt x="3274" y="1276"/>
                </a:lnTo>
                <a:lnTo>
                  <a:pt x="3264" y="1280"/>
                </a:lnTo>
                <a:lnTo>
                  <a:pt x="3250" y="1284"/>
                </a:lnTo>
                <a:lnTo>
                  <a:pt x="3246" y="1282"/>
                </a:lnTo>
                <a:lnTo>
                  <a:pt x="3244" y="1280"/>
                </a:lnTo>
                <a:lnTo>
                  <a:pt x="3238" y="1268"/>
                </a:lnTo>
                <a:lnTo>
                  <a:pt x="3232" y="1262"/>
                </a:lnTo>
                <a:lnTo>
                  <a:pt x="3222" y="1252"/>
                </a:lnTo>
                <a:lnTo>
                  <a:pt x="3214" y="1242"/>
                </a:lnTo>
                <a:lnTo>
                  <a:pt x="3212" y="1236"/>
                </a:lnTo>
                <a:lnTo>
                  <a:pt x="3212" y="1232"/>
                </a:lnTo>
                <a:lnTo>
                  <a:pt x="3216" y="1228"/>
                </a:lnTo>
                <a:lnTo>
                  <a:pt x="3228" y="1220"/>
                </a:lnTo>
                <a:lnTo>
                  <a:pt x="3232" y="1216"/>
                </a:lnTo>
                <a:lnTo>
                  <a:pt x="3234" y="1210"/>
                </a:lnTo>
                <a:lnTo>
                  <a:pt x="3232" y="1200"/>
                </a:lnTo>
                <a:lnTo>
                  <a:pt x="3228" y="1188"/>
                </a:lnTo>
                <a:lnTo>
                  <a:pt x="3220" y="1174"/>
                </a:lnTo>
                <a:lnTo>
                  <a:pt x="3212" y="1160"/>
                </a:lnTo>
                <a:lnTo>
                  <a:pt x="3200" y="1148"/>
                </a:lnTo>
                <a:lnTo>
                  <a:pt x="3190" y="1142"/>
                </a:lnTo>
                <a:lnTo>
                  <a:pt x="3184" y="1140"/>
                </a:lnTo>
                <a:lnTo>
                  <a:pt x="3178" y="1140"/>
                </a:lnTo>
                <a:lnTo>
                  <a:pt x="3172" y="1142"/>
                </a:lnTo>
                <a:lnTo>
                  <a:pt x="3168" y="1144"/>
                </a:lnTo>
                <a:lnTo>
                  <a:pt x="3160" y="1156"/>
                </a:lnTo>
                <a:lnTo>
                  <a:pt x="3154" y="1168"/>
                </a:lnTo>
                <a:lnTo>
                  <a:pt x="3148" y="1192"/>
                </a:lnTo>
                <a:lnTo>
                  <a:pt x="3146" y="1202"/>
                </a:lnTo>
                <a:lnTo>
                  <a:pt x="3142" y="1208"/>
                </a:lnTo>
                <a:lnTo>
                  <a:pt x="3140" y="1208"/>
                </a:lnTo>
                <a:lnTo>
                  <a:pt x="3138" y="1208"/>
                </a:lnTo>
                <a:lnTo>
                  <a:pt x="3130" y="1200"/>
                </a:lnTo>
                <a:lnTo>
                  <a:pt x="3124" y="1192"/>
                </a:lnTo>
                <a:lnTo>
                  <a:pt x="3122" y="1186"/>
                </a:lnTo>
                <a:lnTo>
                  <a:pt x="3122" y="1182"/>
                </a:lnTo>
                <a:lnTo>
                  <a:pt x="3126" y="1178"/>
                </a:lnTo>
                <a:lnTo>
                  <a:pt x="3128" y="1174"/>
                </a:lnTo>
                <a:lnTo>
                  <a:pt x="3128" y="1170"/>
                </a:lnTo>
                <a:lnTo>
                  <a:pt x="3126" y="1164"/>
                </a:lnTo>
                <a:lnTo>
                  <a:pt x="3118" y="1156"/>
                </a:lnTo>
                <a:lnTo>
                  <a:pt x="3112" y="1146"/>
                </a:lnTo>
                <a:lnTo>
                  <a:pt x="3110" y="1144"/>
                </a:lnTo>
                <a:lnTo>
                  <a:pt x="3112" y="1140"/>
                </a:lnTo>
                <a:lnTo>
                  <a:pt x="3116" y="1136"/>
                </a:lnTo>
                <a:lnTo>
                  <a:pt x="3120" y="1134"/>
                </a:lnTo>
                <a:lnTo>
                  <a:pt x="3126" y="1132"/>
                </a:lnTo>
                <a:lnTo>
                  <a:pt x="3128" y="1130"/>
                </a:lnTo>
                <a:lnTo>
                  <a:pt x="3126" y="1126"/>
                </a:lnTo>
                <a:lnTo>
                  <a:pt x="3116" y="1120"/>
                </a:lnTo>
                <a:lnTo>
                  <a:pt x="3104" y="1114"/>
                </a:lnTo>
                <a:lnTo>
                  <a:pt x="3094" y="1112"/>
                </a:lnTo>
                <a:lnTo>
                  <a:pt x="3088" y="1112"/>
                </a:lnTo>
                <a:lnTo>
                  <a:pt x="3082" y="1114"/>
                </a:lnTo>
                <a:lnTo>
                  <a:pt x="3076" y="1116"/>
                </a:lnTo>
                <a:lnTo>
                  <a:pt x="3072" y="1116"/>
                </a:lnTo>
                <a:lnTo>
                  <a:pt x="3064" y="1116"/>
                </a:lnTo>
                <a:lnTo>
                  <a:pt x="3054" y="1112"/>
                </a:lnTo>
                <a:lnTo>
                  <a:pt x="3050" y="1110"/>
                </a:lnTo>
                <a:lnTo>
                  <a:pt x="3048" y="1106"/>
                </a:lnTo>
                <a:lnTo>
                  <a:pt x="3048" y="1104"/>
                </a:lnTo>
                <a:lnTo>
                  <a:pt x="3048" y="1100"/>
                </a:lnTo>
                <a:lnTo>
                  <a:pt x="3054" y="1094"/>
                </a:lnTo>
                <a:lnTo>
                  <a:pt x="3062" y="1088"/>
                </a:lnTo>
                <a:lnTo>
                  <a:pt x="3078" y="1074"/>
                </a:lnTo>
                <a:lnTo>
                  <a:pt x="3080" y="1068"/>
                </a:lnTo>
                <a:lnTo>
                  <a:pt x="3080" y="1066"/>
                </a:lnTo>
                <a:lnTo>
                  <a:pt x="3078" y="1064"/>
                </a:lnTo>
                <a:lnTo>
                  <a:pt x="3064" y="1054"/>
                </a:lnTo>
                <a:lnTo>
                  <a:pt x="3046" y="1042"/>
                </a:lnTo>
                <a:lnTo>
                  <a:pt x="3038" y="1034"/>
                </a:lnTo>
                <a:lnTo>
                  <a:pt x="3032" y="1026"/>
                </a:lnTo>
                <a:lnTo>
                  <a:pt x="3028" y="1016"/>
                </a:lnTo>
                <a:lnTo>
                  <a:pt x="3028" y="1006"/>
                </a:lnTo>
                <a:lnTo>
                  <a:pt x="3028" y="1000"/>
                </a:lnTo>
                <a:lnTo>
                  <a:pt x="3026" y="994"/>
                </a:lnTo>
                <a:lnTo>
                  <a:pt x="3020" y="984"/>
                </a:lnTo>
                <a:lnTo>
                  <a:pt x="3010" y="972"/>
                </a:lnTo>
                <a:lnTo>
                  <a:pt x="3000" y="962"/>
                </a:lnTo>
                <a:lnTo>
                  <a:pt x="2986" y="954"/>
                </a:lnTo>
                <a:lnTo>
                  <a:pt x="2972" y="948"/>
                </a:lnTo>
                <a:lnTo>
                  <a:pt x="2960" y="942"/>
                </a:lnTo>
                <a:lnTo>
                  <a:pt x="2948" y="940"/>
                </a:lnTo>
                <a:lnTo>
                  <a:pt x="2940" y="940"/>
                </a:lnTo>
                <a:lnTo>
                  <a:pt x="2936" y="942"/>
                </a:lnTo>
                <a:lnTo>
                  <a:pt x="2934" y="944"/>
                </a:lnTo>
                <a:lnTo>
                  <a:pt x="2932" y="948"/>
                </a:lnTo>
                <a:lnTo>
                  <a:pt x="2932" y="952"/>
                </a:lnTo>
                <a:lnTo>
                  <a:pt x="2930" y="956"/>
                </a:lnTo>
                <a:lnTo>
                  <a:pt x="2924" y="960"/>
                </a:lnTo>
                <a:lnTo>
                  <a:pt x="2916" y="962"/>
                </a:lnTo>
                <a:lnTo>
                  <a:pt x="2908" y="964"/>
                </a:lnTo>
                <a:lnTo>
                  <a:pt x="2904" y="968"/>
                </a:lnTo>
                <a:lnTo>
                  <a:pt x="2902" y="970"/>
                </a:lnTo>
                <a:lnTo>
                  <a:pt x="2902" y="974"/>
                </a:lnTo>
                <a:lnTo>
                  <a:pt x="2902" y="978"/>
                </a:lnTo>
                <a:lnTo>
                  <a:pt x="2900" y="980"/>
                </a:lnTo>
                <a:lnTo>
                  <a:pt x="2896" y="986"/>
                </a:lnTo>
                <a:lnTo>
                  <a:pt x="2886" y="990"/>
                </a:lnTo>
                <a:lnTo>
                  <a:pt x="2878" y="994"/>
                </a:lnTo>
                <a:lnTo>
                  <a:pt x="2876" y="1002"/>
                </a:lnTo>
                <a:lnTo>
                  <a:pt x="2876" y="1010"/>
                </a:lnTo>
                <a:lnTo>
                  <a:pt x="2878" y="1018"/>
                </a:lnTo>
                <a:lnTo>
                  <a:pt x="2886" y="1036"/>
                </a:lnTo>
                <a:lnTo>
                  <a:pt x="2888" y="1046"/>
                </a:lnTo>
                <a:lnTo>
                  <a:pt x="2888" y="1052"/>
                </a:lnTo>
                <a:lnTo>
                  <a:pt x="2884" y="1068"/>
                </a:lnTo>
                <a:lnTo>
                  <a:pt x="2884" y="1074"/>
                </a:lnTo>
                <a:lnTo>
                  <a:pt x="2886" y="1082"/>
                </a:lnTo>
                <a:lnTo>
                  <a:pt x="2890" y="1088"/>
                </a:lnTo>
                <a:lnTo>
                  <a:pt x="2898" y="1096"/>
                </a:lnTo>
                <a:lnTo>
                  <a:pt x="2910" y="1102"/>
                </a:lnTo>
                <a:lnTo>
                  <a:pt x="2926" y="1106"/>
                </a:lnTo>
                <a:lnTo>
                  <a:pt x="2942" y="1112"/>
                </a:lnTo>
                <a:lnTo>
                  <a:pt x="2954" y="1118"/>
                </a:lnTo>
                <a:lnTo>
                  <a:pt x="2964" y="1126"/>
                </a:lnTo>
                <a:lnTo>
                  <a:pt x="2972" y="1134"/>
                </a:lnTo>
                <a:lnTo>
                  <a:pt x="2974" y="1140"/>
                </a:lnTo>
                <a:lnTo>
                  <a:pt x="2976" y="1148"/>
                </a:lnTo>
                <a:lnTo>
                  <a:pt x="2972" y="1152"/>
                </a:lnTo>
                <a:lnTo>
                  <a:pt x="2966" y="1158"/>
                </a:lnTo>
                <a:lnTo>
                  <a:pt x="2958" y="1162"/>
                </a:lnTo>
                <a:lnTo>
                  <a:pt x="2956" y="1166"/>
                </a:lnTo>
                <a:lnTo>
                  <a:pt x="2954" y="1170"/>
                </a:lnTo>
                <a:lnTo>
                  <a:pt x="2956" y="1174"/>
                </a:lnTo>
                <a:lnTo>
                  <a:pt x="2960" y="1176"/>
                </a:lnTo>
                <a:lnTo>
                  <a:pt x="2966" y="1178"/>
                </a:lnTo>
                <a:lnTo>
                  <a:pt x="2972" y="1176"/>
                </a:lnTo>
                <a:lnTo>
                  <a:pt x="2980" y="1172"/>
                </a:lnTo>
                <a:lnTo>
                  <a:pt x="2988" y="1170"/>
                </a:lnTo>
                <a:lnTo>
                  <a:pt x="2992" y="1170"/>
                </a:lnTo>
                <a:lnTo>
                  <a:pt x="2996" y="1172"/>
                </a:lnTo>
                <a:lnTo>
                  <a:pt x="2996" y="1178"/>
                </a:lnTo>
                <a:lnTo>
                  <a:pt x="2994" y="1184"/>
                </a:lnTo>
                <a:lnTo>
                  <a:pt x="2990" y="1192"/>
                </a:lnTo>
                <a:lnTo>
                  <a:pt x="2980" y="1202"/>
                </a:lnTo>
                <a:lnTo>
                  <a:pt x="2968" y="1212"/>
                </a:lnTo>
                <a:lnTo>
                  <a:pt x="2956" y="1218"/>
                </a:lnTo>
                <a:lnTo>
                  <a:pt x="2946" y="1222"/>
                </a:lnTo>
                <a:lnTo>
                  <a:pt x="2940" y="1222"/>
                </a:lnTo>
                <a:lnTo>
                  <a:pt x="2934" y="1222"/>
                </a:lnTo>
                <a:lnTo>
                  <a:pt x="2932" y="1220"/>
                </a:lnTo>
                <a:lnTo>
                  <a:pt x="2928" y="1220"/>
                </a:lnTo>
                <a:lnTo>
                  <a:pt x="2926" y="1224"/>
                </a:lnTo>
                <a:lnTo>
                  <a:pt x="2922" y="1230"/>
                </a:lnTo>
                <a:lnTo>
                  <a:pt x="2922" y="1240"/>
                </a:lnTo>
                <a:lnTo>
                  <a:pt x="2924" y="1252"/>
                </a:lnTo>
                <a:lnTo>
                  <a:pt x="2932" y="1274"/>
                </a:lnTo>
                <a:lnTo>
                  <a:pt x="2934" y="1282"/>
                </a:lnTo>
                <a:lnTo>
                  <a:pt x="2934" y="1288"/>
                </a:lnTo>
                <a:lnTo>
                  <a:pt x="2932" y="1288"/>
                </a:lnTo>
                <a:lnTo>
                  <a:pt x="2922" y="1284"/>
                </a:lnTo>
                <a:lnTo>
                  <a:pt x="2902" y="1270"/>
                </a:lnTo>
                <a:lnTo>
                  <a:pt x="2896" y="1264"/>
                </a:lnTo>
                <a:lnTo>
                  <a:pt x="2892" y="1260"/>
                </a:lnTo>
                <a:lnTo>
                  <a:pt x="2892" y="1256"/>
                </a:lnTo>
                <a:lnTo>
                  <a:pt x="2892" y="1250"/>
                </a:lnTo>
                <a:lnTo>
                  <a:pt x="2896" y="1238"/>
                </a:lnTo>
                <a:lnTo>
                  <a:pt x="2902" y="1226"/>
                </a:lnTo>
                <a:lnTo>
                  <a:pt x="2902" y="1220"/>
                </a:lnTo>
                <a:lnTo>
                  <a:pt x="2900" y="1216"/>
                </a:lnTo>
                <a:lnTo>
                  <a:pt x="2898" y="1212"/>
                </a:lnTo>
                <a:lnTo>
                  <a:pt x="2894" y="1210"/>
                </a:lnTo>
                <a:lnTo>
                  <a:pt x="2886" y="1208"/>
                </a:lnTo>
                <a:lnTo>
                  <a:pt x="2876" y="1210"/>
                </a:lnTo>
                <a:lnTo>
                  <a:pt x="2866" y="1208"/>
                </a:lnTo>
                <a:lnTo>
                  <a:pt x="2858" y="1206"/>
                </a:lnTo>
                <a:lnTo>
                  <a:pt x="2844" y="1198"/>
                </a:lnTo>
                <a:lnTo>
                  <a:pt x="2838" y="1196"/>
                </a:lnTo>
                <a:lnTo>
                  <a:pt x="2830" y="1194"/>
                </a:lnTo>
                <a:lnTo>
                  <a:pt x="2822" y="1194"/>
                </a:lnTo>
                <a:lnTo>
                  <a:pt x="2810" y="1198"/>
                </a:lnTo>
                <a:lnTo>
                  <a:pt x="2800" y="1204"/>
                </a:lnTo>
                <a:lnTo>
                  <a:pt x="2796" y="1210"/>
                </a:lnTo>
                <a:lnTo>
                  <a:pt x="2796" y="1218"/>
                </a:lnTo>
                <a:lnTo>
                  <a:pt x="2796" y="1226"/>
                </a:lnTo>
                <a:lnTo>
                  <a:pt x="2798" y="1232"/>
                </a:lnTo>
                <a:lnTo>
                  <a:pt x="2798" y="1238"/>
                </a:lnTo>
                <a:lnTo>
                  <a:pt x="2794" y="1244"/>
                </a:lnTo>
                <a:lnTo>
                  <a:pt x="2788" y="1246"/>
                </a:lnTo>
                <a:lnTo>
                  <a:pt x="2778" y="1248"/>
                </a:lnTo>
                <a:lnTo>
                  <a:pt x="2772" y="1248"/>
                </a:lnTo>
                <a:lnTo>
                  <a:pt x="2760" y="1242"/>
                </a:lnTo>
                <a:lnTo>
                  <a:pt x="2752" y="1240"/>
                </a:lnTo>
                <a:lnTo>
                  <a:pt x="2742" y="1238"/>
                </a:lnTo>
                <a:lnTo>
                  <a:pt x="2728" y="1238"/>
                </a:lnTo>
                <a:lnTo>
                  <a:pt x="2708" y="1242"/>
                </a:lnTo>
                <a:lnTo>
                  <a:pt x="2680" y="1246"/>
                </a:lnTo>
                <a:lnTo>
                  <a:pt x="2658" y="1246"/>
                </a:lnTo>
                <a:lnTo>
                  <a:pt x="2640" y="1242"/>
                </a:lnTo>
                <a:lnTo>
                  <a:pt x="2628" y="1236"/>
                </a:lnTo>
                <a:lnTo>
                  <a:pt x="2606" y="1226"/>
                </a:lnTo>
                <a:lnTo>
                  <a:pt x="2598" y="1224"/>
                </a:lnTo>
                <a:lnTo>
                  <a:pt x="2590" y="1224"/>
                </a:lnTo>
                <a:lnTo>
                  <a:pt x="2582" y="1226"/>
                </a:lnTo>
                <a:lnTo>
                  <a:pt x="2572" y="1226"/>
                </a:lnTo>
                <a:lnTo>
                  <a:pt x="2564" y="1226"/>
                </a:lnTo>
                <a:lnTo>
                  <a:pt x="2556" y="1222"/>
                </a:lnTo>
                <a:lnTo>
                  <a:pt x="2544" y="1212"/>
                </a:lnTo>
                <a:lnTo>
                  <a:pt x="2532" y="1198"/>
                </a:lnTo>
                <a:lnTo>
                  <a:pt x="2520" y="1186"/>
                </a:lnTo>
                <a:lnTo>
                  <a:pt x="2510" y="1174"/>
                </a:lnTo>
                <a:lnTo>
                  <a:pt x="2504" y="1168"/>
                </a:lnTo>
                <a:lnTo>
                  <a:pt x="2498" y="1166"/>
                </a:lnTo>
                <a:lnTo>
                  <a:pt x="2494" y="1164"/>
                </a:lnTo>
                <a:lnTo>
                  <a:pt x="2486" y="1164"/>
                </a:lnTo>
                <a:lnTo>
                  <a:pt x="2456" y="1170"/>
                </a:lnTo>
                <a:lnTo>
                  <a:pt x="2438" y="1174"/>
                </a:lnTo>
                <a:lnTo>
                  <a:pt x="2422" y="1178"/>
                </a:lnTo>
                <a:lnTo>
                  <a:pt x="2408" y="1186"/>
                </a:lnTo>
                <a:lnTo>
                  <a:pt x="2398" y="1192"/>
                </a:lnTo>
                <a:lnTo>
                  <a:pt x="2394" y="1196"/>
                </a:lnTo>
                <a:lnTo>
                  <a:pt x="2392" y="1200"/>
                </a:lnTo>
                <a:lnTo>
                  <a:pt x="2392" y="1206"/>
                </a:lnTo>
                <a:lnTo>
                  <a:pt x="2394" y="1210"/>
                </a:lnTo>
                <a:lnTo>
                  <a:pt x="2398" y="1214"/>
                </a:lnTo>
                <a:lnTo>
                  <a:pt x="2402" y="1216"/>
                </a:lnTo>
                <a:lnTo>
                  <a:pt x="2406" y="1218"/>
                </a:lnTo>
                <a:lnTo>
                  <a:pt x="2410" y="1218"/>
                </a:lnTo>
                <a:lnTo>
                  <a:pt x="2422" y="1216"/>
                </a:lnTo>
                <a:lnTo>
                  <a:pt x="2432" y="1212"/>
                </a:lnTo>
                <a:lnTo>
                  <a:pt x="2456" y="1204"/>
                </a:lnTo>
                <a:lnTo>
                  <a:pt x="2466" y="1202"/>
                </a:lnTo>
                <a:lnTo>
                  <a:pt x="2470" y="1202"/>
                </a:lnTo>
                <a:lnTo>
                  <a:pt x="2472" y="1204"/>
                </a:lnTo>
                <a:lnTo>
                  <a:pt x="2474" y="1206"/>
                </a:lnTo>
                <a:lnTo>
                  <a:pt x="2476" y="1208"/>
                </a:lnTo>
                <a:lnTo>
                  <a:pt x="2472" y="1212"/>
                </a:lnTo>
                <a:lnTo>
                  <a:pt x="2456" y="1218"/>
                </a:lnTo>
                <a:lnTo>
                  <a:pt x="2436" y="1226"/>
                </a:lnTo>
                <a:lnTo>
                  <a:pt x="2428" y="1232"/>
                </a:lnTo>
                <a:lnTo>
                  <a:pt x="2422" y="1238"/>
                </a:lnTo>
                <a:lnTo>
                  <a:pt x="2422" y="1242"/>
                </a:lnTo>
                <a:lnTo>
                  <a:pt x="2424" y="1248"/>
                </a:lnTo>
                <a:lnTo>
                  <a:pt x="2428" y="1260"/>
                </a:lnTo>
                <a:lnTo>
                  <a:pt x="2442" y="1282"/>
                </a:lnTo>
                <a:lnTo>
                  <a:pt x="2446" y="1290"/>
                </a:lnTo>
                <a:lnTo>
                  <a:pt x="2446" y="1292"/>
                </a:lnTo>
                <a:lnTo>
                  <a:pt x="2444" y="1292"/>
                </a:lnTo>
                <a:lnTo>
                  <a:pt x="2436" y="1290"/>
                </a:lnTo>
                <a:lnTo>
                  <a:pt x="2418" y="1278"/>
                </a:lnTo>
                <a:lnTo>
                  <a:pt x="2398" y="1266"/>
                </a:lnTo>
                <a:lnTo>
                  <a:pt x="2382" y="1258"/>
                </a:lnTo>
                <a:lnTo>
                  <a:pt x="2364" y="1250"/>
                </a:lnTo>
                <a:lnTo>
                  <a:pt x="2354" y="1246"/>
                </a:lnTo>
                <a:lnTo>
                  <a:pt x="2348" y="1242"/>
                </a:lnTo>
                <a:lnTo>
                  <a:pt x="2340" y="1234"/>
                </a:lnTo>
                <a:lnTo>
                  <a:pt x="2334" y="1228"/>
                </a:lnTo>
                <a:lnTo>
                  <a:pt x="2330" y="1226"/>
                </a:lnTo>
                <a:lnTo>
                  <a:pt x="2326" y="1226"/>
                </a:lnTo>
                <a:lnTo>
                  <a:pt x="2322" y="1230"/>
                </a:lnTo>
                <a:lnTo>
                  <a:pt x="2314" y="1234"/>
                </a:lnTo>
                <a:lnTo>
                  <a:pt x="2304" y="1240"/>
                </a:lnTo>
                <a:lnTo>
                  <a:pt x="2286" y="1244"/>
                </a:lnTo>
                <a:lnTo>
                  <a:pt x="2264" y="1246"/>
                </a:lnTo>
                <a:lnTo>
                  <a:pt x="2206" y="1248"/>
                </a:lnTo>
                <a:lnTo>
                  <a:pt x="2180" y="1246"/>
                </a:lnTo>
                <a:lnTo>
                  <a:pt x="2158" y="1244"/>
                </a:lnTo>
                <a:lnTo>
                  <a:pt x="2140" y="1242"/>
                </a:lnTo>
                <a:lnTo>
                  <a:pt x="2128" y="1238"/>
                </a:lnTo>
                <a:lnTo>
                  <a:pt x="2126" y="1234"/>
                </a:lnTo>
                <a:lnTo>
                  <a:pt x="2124" y="1232"/>
                </a:lnTo>
                <a:lnTo>
                  <a:pt x="2126" y="1228"/>
                </a:lnTo>
                <a:lnTo>
                  <a:pt x="2132" y="1224"/>
                </a:lnTo>
                <a:lnTo>
                  <a:pt x="2144" y="1216"/>
                </a:lnTo>
                <a:lnTo>
                  <a:pt x="2154" y="1214"/>
                </a:lnTo>
                <a:lnTo>
                  <a:pt x="2172" y="1210"/>
                </a:lnTo>
                <a:lnTo>
                  <a:pt x="2178" y="1210"/>
                </a:lnTo>
                <a:lnTo>
                  <a:pt x="2180" y="1208"/>
                </a:lnTo>
                <a:lnTo>
                  <a:pt x="2178" y="1204"/>
                </a:lnTo>
                <a:lnTo>
                  <a:pt x="2172" y="1196"/>
                </a:lnTo>
                <a:lnTo>
                  <a:pt x="2154" y="1180"/>
                </a:lnTo>
                <a:lnTo>
                  <a:pt x="2144" y="1172"/>
                </a:lnTo>
                <a:lnTo>
                  <a:pt x="2134" y="1166"/>
                </a:lnTo>
                <a:lnTo>
                  <a:pt x="2124" y="1162"/>
                </a:lnTo>
                <a:lnTo>
                  <a:pt x="2112" y="1160"/>
                </a:lnTo>
                <a:lnTo>
                  <a:pt x="2098" y="1158"/>
                </a:lnTo>
                <a:lnTo>
                  <a:pt x="2080" y="1160"/>
                </a:lnTo>
                <a:lnTo>
                  <a:pt x="2064" y="1160"/>
                </a:lnTo>
                <a:lnTo>
                  <a:pt x="2046" y="1160"/>
                </a:lnTo>
                <a:lnTo>
                  <a:pt x="2030" y="1156"/>
                </a:lnTo>
                <a:lnTo>
                  <a:pt x="2014" y="1152"/>
                </a:lnTo>
                <a:lnTo>
                  <a:pt x="1982" y="1142"/>
                </a:lnTo>
                <a:lnTo>
                  <a:pt x="1950" y="1134"/>
                </a:lnTo>
                <a:lnTo>
                  <a:pt x="1934" y="1130"/>
                </a:lnTo>
                <a:lnTo>
                  <a:pt x="1918" y="1124"/>
                </a:lnTo>
                <a:lnTo>
                  <a:pt x="1890" y="1110"/>
                </a:lnTo>
                <a:lnTo>
                  <a:pt x="1876" y="1104"/>
                </a:lnTo>
                <a:lnTo>
                  <a:pt x="1862" y="1100"/>
                </a:lnTo>
                <a:lnTo>
                  <a:pt x="1848" y="1098"/>
                </a:lnTo>
                <a:lnTo>
                  <a:pt x="1832" y="1096"/>
                </a:lnTo>
                <a:lnTo>
                  <a:pt x="1820" y="1100"/>
                </a:lnTo>
                <a:lnTo>
                  <a:pt x="1812" y="1104"/>
                </a:lnTo>
                <a:lnTo>
                  <a:pt x="1808" y="1110"/>
                </a:lnTo>
                <a:lnTo>
                  <a:pt x="1806" y="1116"/>
                </a:lnTo>
                <a:lnTo>
                  <a:pt x="1804" y="1122"/>
                </a:lnTo>
                <a:lnTo>
                  <a:pt x="1800" y="1126"/>
                </a:lnTo>
                <a:lnTo>
                  <a:pt x="1794" y="1128"/>
                </a:lnTo>
                <a:lnTo>
                  <a:pt x="1780" y="1128"/>
                </a:lnTo>
                <a:lnTo>
                  <a:pt x="1774" y="1126"/>
                </a:lnTo>
                <a:lnTo>
                  <a:pt x="1768" y="1122"/>
                </a:lnTo>
                <a:lnTo>
                  <a:pt x="1764" y="1120"/>
                </a:lnTo>
                <a:lnTo>
                  <a:pt x="1762" y="1114"/>
                </a:lnTo>
                <a:lnTo>
                  <a:pt x="1760" y="1104"/>
                </a:lnTo>
                <a:lnTo>
                  <a:pt x="1762" y="1094"/>
                </a:lnTo>
                <a:lnTo>
                  <a:pt x="1762" y="1084"/>
                </a:lnTo>
                <a:lnTo>
                  <a:pt x="1758" y="1076"/>
                </a:lnTo>
                <a:lnTo>
                  <a:pt x="1756" y="1074"/>
                </a:lnTo>
                <a:lnTo>
                  <a:pt x="1752" y="1072"/>
                </a:lnTo>
                <a:lnTo>
                  <a:pt x="1746" y="1072"/>
                </a:lnTo>
                <a:lnTo>
                  <a:pt x="1738" y="1074"/>
                </a:lnTo>
                <a:lnTo>
                  <a:pt x="1732" y="1076"/>
                </a:lnTo>
                <a:lnTo>
                  <a:pt x="1730" y="1078"/>
                </a:lnTo>
                <a:lnTo>
                  <a:pt x="1726" y="1088"/>
                </a:lnTo>
                <a:lnTo>
                  <a:pt x="1724" y="1112"/>
                </a:lnTo>
                <a:lnTo>
                  <a:pt x="1722" y="1122"/>
                </a:lnTo>
                <a:lnTo>
                  <a:pt x="1720" y="1126"/>
                </a:lnTo>
                <a:lnTo>
                  <a:pt x="1716" y="1128"/>
                </a:lnTo>
                <a:lnTo>
                  <a:pt x="1712" y="1130"/>
                </a:lnTo>
                <a:lnTo>
                  <a:pt x="1706" y="1130"/>
                </a:lnTo>
                <a:lnTo>
                  <a:pt x="1698" y="1128"/>
                </a:lnTo>
                <a:lnTo>
                  <a:pt x="1690" y="1124"/>
                </a:lnTo>
                <a:lnTo>
                  <a:pt x="1684" y="1120"/>
                </a:lnTo>
                <a:lnTo>
                  <a:pt x="1678" y="1116"/>
                </a:lnTo>
                <a:lnTo>
                  <a:pt x="1668" y="1102"/>
                </a:lnTo>
                <a:lnTo>
                  <a:pt x="1650" y="1070"/>
                </a:lnTo>
                <a:lnTo>
                  <a:pt x="1640" y="1056"/>
                </a:lnTo>
                <a:lnTo>
                  <a:pt x="1630" y="1046"/>
                </a:lnTo>
                <a:lnTo>
                  <a:pt x="1626" y="1042"/>
                </a:lnTo>
                <a:lnTo>
                  <a:pt x="1620" y="1042"/>
                </a:lnTo>
                <a:lnTo>
                  <a:pt x="1614" y="1042"/>
                </a:lnTo>
                <a:lnTo>
                  <a:pt x="1610" y="1044"/>
                </a:lnTo>
                <a:lnTo>
                  <a:pt x="1600" y="1052"/>
                </a:lnTo>
                <a:lnTo>
                  <a:pt x="1600" y="1054"/>
                </a:lnTo>
                <a:lnTo>
                  <a:pt x="1600" y="1056"/>
                </a:lnTo>
                <a:lnTo>
                  <a:pt x="1604" y="1060"/>
                </a:lnTo>
                <a:lnTo>
                  <a:pt x="1610" y="1062"/>
                </a:lnTo>
                <a:lnTo>
                  <a:pt x="1616" y="1064"/>
                </a:lnTo>
                <a:lnTo>
                  <a:pt x="1618" y="1066"/>
                </a:lnTo>
                <a:lnTo>
                  <a:pt x="1618" y="1068"/>
                </a:lnTo>
                <a:lnTo>
                  <a:pt x="1610" y="1076"/>
                </a:lnTo>
                <a:lnTo>
                  <a:pt x="1592" y="1090"/>
                </a:lnTo>
                <a:lnTo>
                  <a:pt x="1574" y="1100"/>
                </a:lnTo>
                <a:lnTo>
                  <a:pt x="1572" y="1098"/>
                </a:lnTo>
                <a:lnTo>
                  <a:pt x="1568" y="1096"/>
                </a:lnTo>
                <a:lnTo>
                  <a:pt x="1560" y="1096"/>
                </a:lnTo>
                <a:lnTo>
                  <a:pt x="1546" y="1098"/>
                </a:lnTo>
                <a:lnTo>
                  <a:pt x="1522" y="1106"/>
                </a:lnTo>
                <a:lnTo>
                  <a:pt x="1482" y="1120"/>
                </a:lnTo>
                <a:lnTo>
                  <a:pt x="1476" y="1120"/>
                </a:lnTo>
                <a:lnTo>
                  <a:pt x="1476" y="1118"/>
                </a:lnTo>
                <a:lnTo>
                  <a:pt x="1494" y="1108"/>
                </a:lnTo>
                <a:lnTo>
                  <a:pt x="1526" y="1092"/>
                </a:lnTo>
                <a:lnTo>
                  <a:pt x="1552" y="1078"/>
                </a:lnTo>
                <a:lnTo>
                  <a:pt x="1558" y="1074"/>
                </a:lnTo>
                <a:lnTo>
                  <a:pt x="1560" y="1072"/>
                </a:lnTo>
                <a:lnTo>
                  <a:pt x="1560" y="1070"/>
                </a:lnTo>
                <a:lnTo>
                  <a:pt x="1556" y="1070"/>
                </a:lnTo>
                <a:lnTo>
                  <a:pt x="1538" y="1074"/>
                </a:lnTo>
                <a:lnTo>
                  <a:pt x="1530" y="1074"/>
                </a:lnTo>
                <a:lnTo>
                  <a:pt x="1522" y="1074"/>
                </a:lnTo>
                <a:lnTo>
                  <a:pt x="1512" y="1072"/>
                </a:lnTo>
                <a:lnTo>
                  <a:pt x="1506" y="1072"/>
                </a:lnTo>
                <a:lnTo>
                  <a:pt x="1498" y="1074"/>
                </a:lnTo>
                <a:lnTo>
                  <a:pt x="1488" y="1080"/>
                </a:lnTo>
                <a:lnTo>
                  <a:pt x="1476" y="1088"/>
                </a:lnTo>
                <a:lnTo>
                  <a:pt x="1462" y="1096"/>
                </a:lnTo>
                <a:lnTo>
                  <a:pt x="1454" y="1100"/>
                </a:lnTo>
                <a:lnTo>
                  <a:pt x="1448" y="1100"/>
                </a:lnTo>
                <a:lnTo>
                  <a:pt x="1444" y="1100"/>
                </a:lnTo>
                <a:lnTo>
                  <a:pt x="1438" y="1100"/>
                </a:lnTo>
                <a:lnTo>
                  <a:pt x="1432" y="1102"/>
                </a:lnTo>
                <a:lnTo>
                  <a:pt x="1422" y="1108"/>
                </a:lnTo>
                <a:lnTo>
                  <a:pt x="1408" y="1118"/>
                </a:lnTo>
                <a:lnTo>
                  <a:pt x="1378" y="1138"/>
                </a:lnTo>
                <a:lnTo>
                  <a:pt x="1358" y="1148"/>
                </a:lnTo>
                <a:lnTo>
                  <a:pt x="1352" y="1154"/>
                </a:lnTo>
                <a:lnTo>
                  <a:pt x="1350" y="1158"/>
                </a:lnTo>
                <a:lnTo>
                  <a:pt x="1350" y="1162"/>
                </a:lnTo>
                <a:lnTo>
                  <a:pt x="1352" y="1168"/>
                </a:lnTo>
                <a:lnTo>
                  <a:pt x="1354" y="1174"/>
                </a:lnTo>
                <a:lnTo>
                  <a:pt x="1352" y="1174"/>
                </a:lnTo>
                <a:lnTo>
                  <a:pt x="1342" y="1172"/>
                </a:lnTo>
                <a:lnTo>
                  <a:pt x="1334" y="1170"/>
                </a:lnTo>
                <a:lnTo>
                  <a:pt x="1324" y="1168"/>
                </a:lnTo>
                <a:lnTo>
                  <a:pt x="1316" y="1168"/>
                </a:lnTo>
                <a:lnTo>
                  <a:pt x="1308" y="1172"/>
                </a:lnTo>
                <a:lnTo>
                  <a:pt x="1302" y="1176"/>
                </a:lnTo>
                <a:lnTo>
                  <a:pt x="1298" y="1176"/>
                </a:lnTo>
                <a:lnTo>
                  <a:pt x="1294" y="1174"/>
                </a:lnTo>
                <a:lnTo>
                  <a:pt x="1290" y="1172"/>
                </a:lnTo>
                <a:lnTo>
                  <a:pt x="1286" y="1168"/>
                </a:lnTo>
                <a:lnTo>
                  <a:pt x="1280" y="1164"/>
                </a:lnTo>
                <a:lnTo>
                  <a:pt x="1272" y="1162"/>
                </a:lnTo>
                <a:lnTo>
                  <a:pt x="1258" y="1162"/>
                </a:lnTo>
                <a:lnTo>
                  <a:pt x="1236" y="1160"/>
                </a:lnTo>
                <a:lnTo>
                  <a:pt x="1218" y="1154"/>
                </a:lnTo>
                <a:lnTo>
                  <a:pt x="1198" y="1144"/>
                </a:lnTo>
                <a:lnTo>
                  <a:pt x="1180" y="1134"/>
                </a:lnTo>
                <a:lnTo>
                  <a:pt x="1160" y="1126"/>
                </a:lnTo>
                <a:lnTo>
                  <a:pt x="1138" y="1118"/>
                </a:lnTo>
                <a:lnTo>
                  <a:pt x="1116" y="1112"/>
                </a:lnTo>
                <a:lnTo>
                  <a:pt x="1102" y="1110"/>
                </a:lnTo>
                <a:lnTo>
                  <a:pt x="1090" y="1110"/>
                </a:lnTo>
                <a:lnTo>
                  <a:pt x="1074" y="1110"/>
                </a:lnTo>
                <a:lnTo>
                  <a:pt x="1062" y="1106"/>
                </a:lnTo>
                <a:lnTo>
                  <a:pt x="1054" y="1102"/>
                </a:lnTo>
                <a:lnTo>
                  <a:pt x="1044" y="1096"/>
                </a:lnTo>
                <a:lnTo>
                  <a:pt x="1036" y="1092"/>
                </a:lnTo>
                <a:lnTo>
                  <a:pt x="1026" y="1086"/>
                </a:lnTo>
                <a:lnTo>
                  <a:pt x="1014" y="1082"/>
                </a:lnTo>
                <a:lnTo>
                  <a:pt x="998" y="1078"/>
                </a:lnTo>
                <a:lnTo>
                  <a:pt x="982" y="1078"/>
                </a:lnTo>
                <a:lnTo>
                  <a:pt x="970" y="1078"/>
                </a:lnTo>
                <a:lnTo>
                  <a:pt x="950" y="1084"/>
                </a:lnTo>
                <a:lnTo>
                  <a:pt x="940" y="1084"/>
                </a:lnTo>
                <a:lnTo>
                  <a:pt x="932" y="1086"/>
                </a:lnTo>
                <a:lnTo>
                  <a:pt x="922" y="1084"/>
                </a:lnTo>
                <a:lnTo>
                  <a:pt x="912" y="1080"/>
                </a:lnTo>
                <a:lnTo>
                  <a:pt x="898" y="1076"/>
                </a:lnTo>
                <a:lnTo>
                  <a:pt x="884" y="1074"/>
                </a:lnTo>
                <a:lnTo>
                  <a:pt x="854" y="1072"/>
                </a:lnTo>
                <a:lnTo>
                  <a:pt x="816" y="1066"/>
                </a:lnTo>
                <a:lnTo>
                  <a:pt x="798" y="1062"/>
                </a:lnTo>
                <a:lnTo>
                  <a:pt x="778" y="1054"/>
                </a:lnTo>
                <a:lnTo>
                  <a:pt x="760" y="1048"/>
                </a:lnTo>
                <a:lnTo>
                  <a:pt x="744" y="1046"/>
                </a:lnTo>
                <a:lnTo>
                  <a:pt x="732" y="1048"/>
                </a:lnTo>
                <a:lnTo>
                  <a:pt x="722" y="1050"/>
                </a:lnTo>
                <a:lnTo>
                  <a:pt x="710" y="1052"/>
                </a:lnTo>
                <a:lnTo>
                  <a:pt x="698" y="1054"/>
                </a:lnTo>
                <a:lnTo>
                  <a:pt x="682" y="1054"/>
                </a:lnTo>
                <a:lnTo>
                  <a:pt x="664" y="1050"/>
                </a:lnTo>
                <a:lnTo>
                  <a:pt x="648" y="1044"/>
                </a:lnTo>
                <a:lnTo>
                  <a:pt x="640" y="1038"/>
                </a:lnTo>
                <a:lnTo>
                  <a:pt x="636" y="1034"/>
                </a:lnTo>
                <a:lnTo>
                  <a:pt x="636" y="1028"/>
                </a:lnTo>
                <a:lnTo>
                  <a:pt x="634" y="1024"/>
                </a:lnTo>
                <a:lnTo>
                  <a:pt x="632" y="1022"/>
                </a:lnTo>
                <a:lnTo>
                  <a:pt x="622" y="1020"/>
                </a:lnTo>
                <a:lnTo>
                  <a:pt x="606" y="1020"/>
                </a:lnTo>
                <a:lnTo>
                  <a:pt x="572" y="1020"/>
                </a:lnTo>
                <a:lnTo>
                  <a:pt x="558" y="1022"/>
                </a:lnTo>
                <a:lnTo>
                  <a:pt x="552" y="1020"/>
                </a:lnTo>
                <a:lnTo>
                  <a:pt x="550" y="1018"/>
                </a:lnTo>
                <a:lnTo>
                  <a:pt x="540" y="1010"/>
                </a:lnTo>
                <a:lnTo>
                  <a:pt x="534" y="1006"/>
                </a:lnTo>
                <a:lnTo>
                  <a:pt x="528" y="1004"/>
                </a:lnTo>
                <a:lnTo>
                  <a:pt x="524" y="1006"/>
                </a:lnTo>
                <a:lnTo>
                  <a:pt x="520" y="1006"/>
                </a:lnTo>
                <a:lnTo>
                  <a:pt x="510" y="1010"/>
                </a:lnTo>
                <a:lnTo>
                  <a:pt x="506" y="1010"/>
                </a:lnTo>
                <a:lnTo>
                  <a:pt x="500" y="1006"/>
                </a:lnTo>
                <a:lnTo>
                  <a:pt x="488" y="996"/>
                </a:lnTo>
                <a:lnTo>
                  <a:pt x="482" y="992"/>
                </a:lnTo>
                <a:lnTo>
                  <a:pt x="474" y="990"/>
                </a:lnTo>
                <a:lnTo>
                  <a:pt x="466" y="988"/>
                </a:lnTo>
                <a:lnTo>
                  <a:pt x="456" y="990"/>
                </a:lnTo>
                <a:lnTo>
                  <a:pt x="446" y="996"/>
                </a:lnTo>
                <a:lnTo>
                  <a:pt x="432" y="1008"/>
                </a:lnTo>
                <a:lnTo>
                  <a:pt x="418" y="1018"/>
                </a:lnTo>
                <a:lnTo>
                  <a:pt x="404" y="1022"/>
                </a:lnTo>
                <a:lnTo>
                  <a:pt x="392" y="1022"/>
                </a:lnTo>
                <a:lnTo>
                  <a:pt x="378" y="1022"/>
                </a:lnTo>
                <a:lnTo>
                  <a:pt x="364" y="1024"/>
                </a:lnTo>
                <a:lnTo>
                  <a:pt x="348" y="1026"/>
                </a:lnTo>
                <a:lnTo>
                  <a:pt x="332" y="1032"/>
                </a:lnTo>
                <a:lnTo>
                  <a:pt x="310" y="1046"/>
                </a:lnTo>
                <a:lnTo>
                  <a:pt x="300" y="1054"/>
                </a:lnTo>
                <a:lnTo>
                  <a:pt x="290" y="1058"/>
                </a:lnTo>
                <a:lnTo>
                  <a:pt x="282" y="1062"/>
                </a:lnTo>
                <a:lnTo>
                  <a:pt x="274" y="1064"/>
                </a:lnTo>
                <a:lnTo>
                  <a:pt x="262" y="1064"/>
                </a:lnTo>
                <a:lnTo>
                  <a:pt x="250" y="1064"/>
                </a:lnTo>
                <a:lnTo>
                  <a:pt x="240" y="1062"/>
                </a:lnTo>
                <a:lnTo>
                  <a:pt x="236" y="1064"/>
                </a:lnTo>
                <a:lnTo>
                  <a:pt x="232" y="1066"/>
                </a:lnTo>
                <a:lnTo>
                  <a:pt x="226" y="1068"/>
                </a:lnTo>
                <a:lnTo>
                  <a:pt x="222" y="1074"/>
                </a:lnTo>
                <a:lnTo>
                  <a:pt x="212" y="1090"/>
                </a:lnTo>
                <a:lnTo>
                  <a:pt x="202" y="1110"/>
                </a:lnTo>
                <a:lnTo>
                  <a:pt x="192" y="1128"/>
                </a:lnTo>
                <a:lnTo>
                  <a:pt x="182" y="1140"/>
                </a:lnTo>
                <a:lnTo>
                  <a:pt x="172" y="1152"/>
                </a:lnTo>
                <a:lnTo>
                  <a:pt x="158" y="1158"/>
                </a:lnTo>
                <a:lnTo>
                  <a:pt x="142" y="1164"/>
                </a:lnTo>
                <a:lnTo>
                  <a:pt x="122" y="1166"/>
                </a:lnTo>
                <a:lnTo>
                  <a:pt x="96" y="1168"/>
                </a:lnTo>
                <a:lnTo>
                  <a:pt x="84" y="1168"/>
                </a:lnTo>
                <a:lnTo>
                  <a:pt x="78" y="1170"/>
                </a:lnTo>
                <a:lnTo>
                  <a:pt x="76" y="1174"/>
                </a:lnTo>
                <a:lnTo>
                  <a:pt x="74" y="1178"/>
                </a:lnTo>
                <a:lnTo>
                  <a:pt x="74" y="1184"/>
                </a:lnTo>
                <a:lnTo>
                  <a:pt x="72" y="1188"/>
                </a:lnTo>
                <a:lnTo>
                  <a:pt x="68" y="1194"/>
                </a:lnTo>
                <a:lnTo>
                  <a:pt x="58" y="1198"/>
                </a:lnTo>
                <a:lnTo>
                  <a:pt x="54" y="1200"/>
                </a:lnTo>
                <a:lnTo>
                  <a:pt x="54" y="1202"/>
                </a:lnTo>
                <a:lnTo>
                  <a:pt x="54" y="1204"/>
                </a:lnTo>
                <a:lnTo>
                  <a:pt x="58" y="1208"/>
                </a:lnTo>
                <a:lnTo>
                  <a:pt x="74" y="1214"/>
                </a:lnTo>
                <a:lnTo>
                  <a:pt x="94" y="1222"/>
                </a:lnTo>
                <a:lnTo>
                  <a:pt x="116" y="1232"/>
                </a:lnTo>
                <a:lnTo>
                  <a:pt x="138" y="1244"/>
                </a:lnTo>
                <a:lnTo>
                  <a:pt x="156" y="1258"/>
                </a:lnTo>
                <a:lnTo>
                  <a:pt x="164" y="1264"/>
                </a:lnTo>
                <a:lnTo>
                  <a:pt x="168" y="1272"/>
                </a:lnTo>
                <a:lnTo>
                  <a:pt x="172" y="1280"/>
                </a:lnTo>
                <a:lnTo>
                  <a:pt x="178" y="1286"/>
                </a:lnTo>
                <a:lnTo>
                  <a:pt x="186" y="1294"/>
                </a:lnTo>
                <a:lnTo>
                  <a:pt x="196" y="1296"/>
                </a:lnTo>
                <a:lnTo>
                  <a:pt x="206" y="1296"/>
                </a:lnTo>
                <a:lnTo>
                  <a:pt x="214" y="1294"/>
                </a:lnTo>
                <a:lnTo>
                  <a:pt x="218" y="1294"/>
                </a:lnTo>
                <a:lnTo>
                  <a:pt x="220" y="1296"/>
                </a:lnTo>
                <a:lnTo>
                  <a:pt x="222" y="1296"/>
                </a:lnTo>
                <a:lnTo>
                  <a:pt x="222" y="1304"/>
                </a:lnTo>
                <a:lnTo>
                  <a:pt x="220" y="1312"/>
                </a:lnTo>
                <a:lnTo>
                  <a:pt x="222" y="1316"/>
                </a:lnTo>
                <a:lnTo>
                  <a:pt x="224" y="1318"/>
                </a:lnTo>
                <a:lnTo>
                  <a:pt x="228" y="1318"/>
                </a:lnTo>
                <a:lnTo>
                  <a:pt x="232" y="1320"/>
                </a:lnTo>
                <a:lnTo>
                  <a:pt x="236" y="1322"/>
                </a:lnTo>
                <a:lnTo>
                  <a:pt x="240" y="1326"/>
                </a:lnTo>
                <a:lnTo>
                  <a:pt x="242" y="1332"/>
                </a:lnTo>
                <a:lnTo>
                  <a:pt x="244" y="1338"/>
                </a:lnTo>
                <a:lnTo>
                  <a:pt x="248" y="1342"/>
                </a:lnTo>
                <a:lnTo>
                  <a:pt x="254" y="1342"/>
                </a:lnTo>
                <a:lnTo>
                  <a:pt x="260" y="1342"/>
                </a:lnTo>
                <a:lnTo>
                  <a:pt x="266" y="1342"/>
                </a:lnTo>
                <a:lnTo>
                  <a:pt x="272" y="1342"/>
                </a:lnTo>
                <a:lnTo>
                  <a:pt x="274" y="1344"/>
                </a:lnTo>
                <a:lnTo>
                  <a:pt x="276" y="1350"/>
                </a:lnTo>
                <a:lnTo>
                  <a:pt x="274" y="1358"/>
                </a:lnTo>
                <a:lnTo>
                  <a:pt x="272" y="1358"/>
                </a:lnTo>
                <a:lnTo>
                  <a:pt x="270" y="1356"/>
                </a:lnTo>
                <a:lnTo>
                  <a:pt x="268" y="1356"/>
                </a:lnTo>
                <a:lnTo>
                  <a:pt x="264" y="1356"/>
                </a:lnTo>
                <a:lnTo>
                  <a:pt x="258" y="1358"/>
                </a:lnTo>
                <a:lnTo>
                  <a:pt x="252" y="1362"/>
                </a:lnTo>
                <a:lnTo>
                  <a:pt x="250" y="1364"/>
                </a:lnTo>
                <a:lnTo>
                  <a:pt x="248" y="1364"/>
                </a:lnTo>
                <a:lnTo>
                  <a:pt x="240" y="1362"/>
                </a:lnTo>
                <a:lnTo>
                  <a:pt x="234" y="1360"/>
                </a:lnTo>
                <a:lnTo>
                  <a:pt x="224" y="1358"/>
                </a:lnTo>
                <a:lnTo>
                  <a:pt x="212" y="1358"/>
                </a:lnTo>
                <a:lnTo>
                  <a:pt x="194" y="1360"/>
                </a:lnTo>
                <a:lnTo>
                  <a:pt x="186" y="1362"/>
                </a:lnTo>
                <a:lnTo>
                  <a:pt x="180" y="1360"/>
                </a:lnTo>
                <a:lnTo>
                  <a:pt x="176" y="1358"/>
                </a:lnTo>
                <a:lnTo>
                  <a:pt x="174" y="1356"/>
                </a:lnTo>
                <a:lnTo>
                  <a:pt x="174" y="1348"/>
                </a:lnTo>
                <a:lnTo>
                  <a:pt x="176" y="1338"/>
                </a:lnTo>
                <a:lnTo>
                  <a:pt x="176" y="1330"/>
                </a:lnTo>
                <a:lnTo>
                  <a:pt x="176" y="1326"/>
                </a:lnTo>
                <a:lnTo>
                  <a:pt x="172" y="1324"/>
                </a:lnTo>
                <a:lnTo>
                  <a:pt x="168" y="1322"/>
                </a:lnTo>
                <a:lnTo>
                  <a:pt x="162" y="1322"/>
                </a:lnTo>
                <a:lnTo>
                  <a:pt x="142" y="1328"/>
                </a:lnTo>
                <a:lnTo>
                  <a:pt x="116" y="1336"/>
                </a:lnTo>
                <a:lnTo>
                  <a:pt x="94" y="1346"/>
                </a:lnTo>
                <a:lnTo>
                  <a:pt x="56" y="1364"/>
                </a:lnTo>
                <a:lnTo>
                  <a:pt x="30" y="1378"/>
                </a:lnTo>
                <a:lnTo>
                  <a:pt x="18" y="1384"/>
                </a:lnTo>
                <a:lnTo>
                  <a:pt x="10" y="1386"/>
                </a:lnTo>
                <a:lnTo>
                  <a:pt x="4" y="1388"/>
                </a:lnTo>
                <a:lnTo>
                  <a:pt x="0" y="1392"/>
                </a:lnTo>
                <a:lnTo>
                  <a:pt x="0" y="1396"/>
                </a:lnTo>
                <a:lnTo>
                  <a:pt x="2" y="1400"/>
                </a:lnTo>
                <a:lnTo>
                  <a:pt x="8" y="1404"/>
                </a:lnTo>
                <a:lnTo>
                  <a:pt x="18" y="1408"/>
                </a:lnTo>
                <a:lnTo>
                  <a:pt x="28" y="1412"/>
                </a:lnTo>
                <a:lnTo>
                  <a:pt x="44" y="1414"/>
                </a:lnTo>
                <a:lnTo>
                  <a:pt x="54" y="1414"/>
                </a:lnTo>
                <a:lnTo>
                  <a:pt x="60" y="1416"/>
                </a:lnTo>
                <a:lnTo>
                  <a:pt x="60" y="1420"/>
                </a:lnTo>
                <a:lnTo>
                  <a:pt x="56" y="1424"/>
                </a:lnTo>
                <a:lnTo>
                  <a:pt x="52" y="1428"/>
                </a:lnTo>
                <a:lnTo>
                  <a:pt x="50" y="1432"/>
                </a:lnTo>
                <a:lnTo>
                  <a:pt x="50" y="1436"/>
                </a:lnTo>
                <a:lnTo>
                  <a:pt x="56" y="1442"/>
                </a:lnTo>
                <a:lnTo>
                  <a:pt x="64" y="1446"/>
                </a:lnTo>
                <a:lnTo>
                  <a:pt x="68" y="1450"/>
                </a:lnTo>
                <a:lnTo>
                  <a:pt x="68" y="1460"/>
                </a:lnTo>
                <a:lnTo>
                  <a:pt x="70" y="1464"/>
                </a:lnTo>
                <a:lnTo>
                  <a:pt x="74" y="1468"/>
                </a:lnTo>
                <a:lnTo>
                  <a:pt x="82" y="1470"/>
                </a:lnTo>
                <a:lnTo>
                  <a:pt x="94" y="1474"/>
                </a:lnTo>
                <a:lnTo>
                  <a:pt x="110" y="1474"/>
                </a:lnTo>
                <a:lnTo>
                  <a:pt x="122" y="1472"/>
                </a:lnTo>
                <a:lnTo>
                  <a:pt x="144" y="1466"/>
                </a:lnTo>
                <a:lnTo>
                  <a:pt x="156" y="1464"/>
                </a:lnTo>
                <a:lnTo>
                  <a:pt x="166" y="1464"/>
                </a:lnTo>
                <a:lnTo>
                  <a:pt x="178" y="1466"/>
                </a:lnTo>
                <a:lnTo>
                  <a:pt x="190" y="1474"/>
                </a:lnTo>
                <a:lnTo>
                  <a:pt x="198" y="1476"/>
                </a:lnTo>
                <a:lnTo>
                  <a:pt x="204" y="1478"/>
                </a:lnTo>
                <a:lnTo>
                  <a:pt x="212" y="1478"/>
                </a:lnTo>
                <a:lnTo>
                  <a:pt x="218" y="1476"/>
                </a:lnTo>
                <a:lnTo>
                  <a:pt x="230" y="1470"/>
                </a:lnTo>
                <a:lnTo>
                  <a:pt x="242" y="1460"/>
                </a:lnTo>
                <a:lnTo>
                  <a:pt x="254" y="1452"/>
                </a:lnTo>
                <a:lnTo>
                  <a:pt x="266" y="1446"/>
                </a:lnTo>
                <a:lnTo>
                  <a:pt x="272" y="1444"/>
                </a:lnTo>
                <a:lnTo>
                  <a:pt x="276" y="1444"/>
                </a:lnTo>
                <a:lnTo>
                  <a:pt x="282" y="1446"/>
                </a:lnTo>
                <a:lnTo>
                  <a:pt x="286" y="1450"/>
                </a:lnTo>
                <a:lnTo>
                  <a:pt x="290" y="1454"/>
                </a:lnTo>
                <a:lnTo>
                  <a:pt x="292" y="1458"/>
                </a:lnTo>
                <a:lnTo>
                  <a:pt x="290" y="1460"/>
                </a:lnTo>
                <a:lnTo>
                  <a:pt x="288" y="1464"/>
                </a:lnTo>
                <a:lnTo>
                  <a:pt x="282" y="1466"/>
                </a:lnTo>
                <a:lnTo>
                  <a:pt x="274" y="1468"/>
                </a:lnTo>
                <a:lnTo>
                  <a:pt x="266" y="1470"/>
                </a:lnTo>
                <a:lnTo>
                  <a:pt x="262" y="1472"/>
                </a:lnTo>
                <a:lnTo>
                  <a:pt x="262" y="1474"/>
                </a:lnTo>
                <a:lnTo>
                  <a:pt x="262" y="1478"/>
                </a:lnTo>
                <a:lnTo>
                  <a:pt x="274" y="1484"/>
                </a:lnTo>
                <a:lnTo>
                  <a:pt x="282" y="1488"/>
                </a:lnTo>
                <a:lnTo>
                  <a:pt x="286" y="1494"/>
                </a:lnTo>
                <a:lnTo>
                  <a:pt x="290" y="1498"/>
                </a:lnTo>
                <a:lnTo>
                  <a:pt x="292" y="1504"/>
                </a:lnTo>
                <a:lnTo>
                  <a:pt x="294" y="1508"/>
                </a:lnTo>
                <a:lnTo>
                  <a:pt x="292" y="1514"/>
                </a:lnTo>
                <a:lnTo>
                  <a:pt x="288" y="1522"/>
                </a:lnTo>
                <a:lnTo>
                  <a:pt x="280" y="1530"/>
                </a:lnTo>
                <a:lnTo>
                  <a:pt x="270" y="1536"/>
                </a:lnTo>
                <a:lnTo>
                  <a:pt x="258" y="1540"/>
                </a:lnTo>
                <a:lnTo>
                  <a:pt x="246" y="1538"/>
                </a:lnTo>
                <a:lnTo>
                  <a:pt x="240" y="1538"/>
                </a:lnTo>
                <a:lnTo>
                  <a:pt x="234" y="1538"/>
                </a:lnTo>
                <a:lnTo>
                  <a:pt x="226" y="1542"/>
                </a:lnTo>
                <a:lnTo>
                  <a:pt x="220" y="1548"/>
                </a:lnTo>
                <a:lnTo>
                  <a:pt x="216" y="1556"/>
                </a:lnTo>
                <a:lnTo>
                  <a:pt x="210" y="1564"/>
                </a:lnTo>
                <a:lnTo>
                  <a:pt x="202" y="1568"/>
                </a:lnTo>
                <a:lnTo>
                  <a:pt x="198" y="1570"/>
                </a:lnTo>
                <a:lnTo>
                  <a:pt x="192" y="1568"/>
                </a:lnTo>
                <a:lnTo>
                  <a:pt x="186" y="1566"/>
                </a:lnTo>
                <a:lnTo>
                  <a:pt x="180" y="1562"/>
                </a:lnTo>
                <a:lnTo>
                  <a:pt x="172" y="1558"/>
                </a:lnTo>
                <a:lnTo>
                  <a:pt x="166" y="1558"/>
                </a:lnTo>
                <a:lnTo>
                  <a:pt x="160" y="1558"/>
                </a:lnTo>
                <a:lnTo>
                  <a:pt x="154" y="1558"/>
                </a:lnTo>
                <a:lnTo>
                  <a:pt x="144" y="1564"/>
                </a:lnTo>
                <a:lnTo>
                  <a:pt x="138" y="1574"/>
                </a:lnTo>
                <a:lnTo>
                  <a:pt x="124" y="1596"/>
                </a:lnTo>
                <a:lnTo>
                  <a:pt x="118" y="1606"/>
                </a:lnTo>
                <a:lnTo>
                  <a:pt x="112" y="1610"/>
                </a:lnTo>
                <a:lnTo>
                  <a:pt x="106" y="1614"/>
                </a:lnTo>
                <a:lnTo>
                  <a:pt x="102" y="1618"/>
                </a:lnTo>
                <a:lnTo>
                  <a:pt x="96" y="1628"/>
                </a:lnTo>
                <a:lnTo>
                  <a:pt x="92" y="1640"/>
                </a:lnTo>
                <a:lnTo>
                  <a:pt x="88" y="1646"/>
                </a:lnTo>
                <a:lnTo>
                  <a:pt x="82" y="1652"/>
                </a:lnTo>
                <a:lnTo>
                  <a:pt x="76" y="1656"/>
                </a:lnTo>
                <a:lnTo>
                  <a:pt x="74" y="1660"/>
                </a:lnTo>
                <a:lnTo>
                  <a:pt x="74" y="1664"/>
                </a:lnTo>
                <a:lnTo>
                  <a:pt x="76" y="1670"/>
                </a:lnTo>
                <a:lnTo>
                  <a:pt x="88" y="1680"/>
                </a:lnTo>
                <a:lnTo>
                  <a:pt x="108" y="1696"/>
                </a:lnTo>
                <a:lnTo>
                  <a:pt x="116" y="1704"/>
                </a:lnTo>
                <a:lnTo>
                  <a:pt x="120" y="1712"/>
                </a:lnTo>
                <a:lnTo>
                  <a:pt x="118" y="1718"/>
                </a:lnTo>
                <a:lnTo>
                  <a:pt x="116" y="1724"/>
                </a:lnTo>
                <a:lnTo>
                  <a:pt x="114" y="1728"/>
                </a:lnTo>
                <a:lnTo>
                  <a:pt x="112" y="1734"/>
                </a:lnTo>
                <a:lnTo>
                  <a:pt x="112" y="1738"/>
                </a:lnTo>
                <a:lnTo>
                  <a:pt x="118" y="1744"/>
                </a:lnTo>
                <a:lnTo>
                  <a:pt x="132" y="1758"/>
                </a:lnTo>
                <a:lnTo>
                  <a:pt x="148" y="1772"/>
                </a:lnTo>
                <a:lnTo>
                  <a:pt x="158" y="1778"/>
                </a:lnTo>
                <a:lnTo>
                  <a:pt x="168" y="1782"/>
                </a:lnTo>
                <a:lnTo>
                  <a:pt x="180" y="1784"/>
                </a:lnTo>
                <a:lnTo>
                  <a:pt x="194" y="1780"/>
                </a:lnTo>
                <a:lnTo>
                  <a:pt x="208" y="1776"/>
                </a:lnTo>
                <a:lnTo>
                  <a:pt x="220" y="1774"/>
                </a:lnTo>
                <a:lnTo>
                  <a:pt x="228" y="1774"/>
                </a:lnTo>
                <a:lnTo>
                  <a:pt x="236" y="1776"/>
                </a:lnTo>
                <a:lnTo>
                  <a:pt x="240" y="1782"/>
                </a:lnTo>
                <a:lnTo>
                  <a:pt x="242" y="1788"/>
                </a:lnTo>
                <a:lnTo>
                  <a:pt x="242" y="1798"/>
                </a:lnTo>
                <a:lnTo>
                  <a:pt x="240" y="1808"/>
                </a:lnTo>
                <a:lnTo>
                  <a:pt x="236" y="1818"/>
                </a:lnTo>
                <a:lnTo>
                  <a:pt x="236" y="1824"/>
                </a:lnTo>
                <a:lnTo>
                  <a:pt x="238" y="1828"/>
                </a:lnTo>
                <a:lnTo>
                  <a:pt x="242" y="1830"/>
                </a:lnTo>
                <a:lnTo>
                  <a:pt x="244" y="1832"/>
                </a:lnTo>
                <a:lnTo>
                  <a:pt x="246" y="1834"/>
                </a:lnTo>
                <a:lnTo>
                  <a:pt x="246" y="1840"/>
                </a:lnTo>
                <a:lnTo>
                  <a:pt x="244" y="1848"/>
                </a:lnTo>
                <a:lnTo>
                  <a:pt x="242" y="1856"/>
                </a:lnTo>
                <a:lnTo>
                  <a:pt x="244" y="1862"/>
                </a:lnTo>
                <a:lnTo>
                  <a:pt x="248" y="1864"/>
                </a:lnTo>
                <a:lnTo>
                  <a:pt x="254" y="1862"/>
                </a:lnTo>
                <a:lnTo>
                  <a:pt x="262" y="1860"/>
                </a:lnTo>
                <a:lnTo>
                  <a:pt x="270" y="1856"/>
                </a:lnTo>
                <a:lnTo>
                  <a:pt x="284" y="1844"/>
                </a:lnTo>
                <a:lnTo>
                  <a:pt x="292" y="1840"/>
                </a:lnTo>
                <a:lnTo>
                  <a:pt x="300" y="1838"/>
                </a:lnTo>
                <a:lnTo>
                  <a:pt x="308" y="1838"/>
                </a:lnTo>
                <a:lnTo>
                  <a:pt x="318" y="1842"/>
                </a:lnTo>
                <a:lnTo>
                  <a:pt x="326" y="1846"/>
                </a:lnTo>
                <a:lnTo>
                  <a:pt x="336" y="1852"/>
                </a:lnTo>
                <a:lnTo>
                  <a:pt x="352" y="1866"/>
                </a:lnTo>
                <a:lnTo>
                  <a:pt x="358" y="1870"/>
                </a:lnTo>
                <a:lnTo>
                  <a:pt x="364" y="1870"/>
                </a:lnTo>
                <a:lnTo>
                  <a:pt x="368" y="1868"/>
                </a:lnTo>
                <a:lnTo>
                  <a:pt x="370" y="1864"/>
                </a:lnTo>
                <a:lnTo>
                  <a:pt x="376" y="1858"/>
                </a:lnTo>
                <a:lnTo>
                  <a:pt x="380" y="1856"/>
                </a:lnTo>
                <a:lnTo>
                  <a:pt x="386" y="1858"/>
                </a:lnTo>
                <a:lnTo>
                  <a:pt x="392" y="1860"/>
                </a:lnTo>
                <a:lnTo>
                  <a:pt x="402" y="1858"/>
                </a:lnTo>
                <a:lnTo>
                  <a:pt x="420" y="1852"/>
                </a:lnTo>
                <a:lnTo>
                  <a:pt x="432" y="1846"/>
                </a:lnTo>
                <a:lnTo>
                  <a:pt x="434" y="1848"/>
                </a:lnTo>
                <a:lnTo>
                  <a:pt x="430" y="1854"/>
                </a:lnTo>
                <a:lnTo>
                  <a:pt x="420" y="1872"/>
                </a:lnTo>
                <a:lnTo>
                  <a:pt x="414" y="1886"/>
                </a:lnTo>
                <a:lnTo>
                  <a:pt x="410" y="1900"/>
                </a:lnTo>
                <a:lnTo>
                  <a:pt x="410" y="1918"/>
                </a:lnTo>
                <a:lnTo>
                  <a:pt x="410" y="1924"/>
                </a:lnTo>
                <a:lnTo>
                  <a:pt x="406" y="1930"/>
                </a:lnTo>
                <a:lnTo>
                  <a:pt x="402" y="1932"/>
                </a:lnTo>
                <a:lnTo>
                  <a:pt x="398" y="1934"/>
                </a:lnTo>
                <a:lnTo>
                  <a:pt x="392" y="1936"/>
                </a:lnTo>
                <a:lnTo>
                  <a:pt x="386" y="1940"/>
                </a:lnTo>
                <a:lnTo>
                  <a:pt x="380" y="1946"/>
                </a:lnTo>
                <a:lnTo>
                  <a:pt x="374" y="1958"/>
                </a:lnTo>
                <a:lnTo>
                  <a:pt x="368" y="1968"/>
                </a:lnTo>
                <a:lnTo>
                  <a:pt x="360" y="1974"/>
                </a:lnTo>
                <a:lnTo>
                  <a:pt x="352" y="1980"/>
                </a:lnTo>
                <a:lnTo>
                  <a:pt x="342" y="1984"/>
                </a:lnTo>
                <a:lnTo>
                  <a:pt x="334" y="1988"/>
                </a:lnTo>
                <a:lnTo>
                  <a:pt x="324" y="1992"/>
                </a:lnTo>
                <a:lnTo>
                  <a:pt x="314" y="2000"/>
                </a:lnTo>
                <a:lnTo>
                  <a:pt x="306" y="2012"/>
                </a:lnTo>
                <a:lnTo>
                  <a:pt x="300" y="2022"/>
                </a:lnTo>
                <a:lnTo>
                  <a:pt x="296" y="2026"/>
                </a:lnTo>
                <a:lnTo>
                  <a:pt x="292" y="2028"/>
                </a:lnTo>
                <a:lnTo>
                  <a:pt x="288" y="2028"/>
                </a:lnTo>
                <a:lnTo>
                  <a:pt x="276" y="2026"/>
                </a:lnTo>
                <a:lnTo>
                  <a:pt x="268" y="2026"/>
                </a:lnTo>
                <a:lnTo>
                  <a:pt x="256" y="2030"/>
                </a:lnTo>
                <a:lnTo>
                  <a:pt x="244" y="2034"/>
                </a:lnTo>
                <a:lnTo>
                  <a:pt x="236" y="2040"/>
                </a:lnTo>
                <a:lnTo>
                  <a:pt x="232" y="2044"/>
                </a:lnTo>
                <a:lnTo>
                  <a:pt x="228" y="2048"/>
                </a:lnTo>
                <a:lnTo>
                  <a:pt x="224" y="2058"/>
                </a:lnTo>
                <a:lnTo>
                  <a:pt x="218" y="2062"/>
                </a:lnTo>
                <a:lnTo>
                  <a:pt x="210" y="2066"/>
                </a:lnTo>
                <a:lnTo>
                  <a:pt x="200" y="2072"/>
                </a:lnTo>
                <a:lnTo>
                  <a:pt x="194" y="2078"/>
                </a:lnTo>
                <a:lnTo>
                  <a:pt x="190" y="2082"/>
                </a:lnTo>
                <a:lnTo>
                  <a:pt x="188" y="2088"/>
                </a:lnTo>
                <a:lnTo>
                  <a:pt x="188" y="2092"/>
                </a:lnTo>
                <a:lnTo>
                  <a:pt x="192" y="2092"/>
                </a:lnTo>
                <a:lnTo>
                  <a:pt x="200" y="2092"/>
                </a:lnTo>
                <a:lnTo>
                  <a:pt x="212" y="2088"/>
                </a:lnTo>
                <a:lnTo>
                  <a:pt x="226" y="2084"/>
                </a:lnTo>
                <a:lnTo>
                  <a:pt x="236" y="2076"/>
                </a:lnTo>
                <a:lnTo>
                  <a:pt x="248" y="2064"/>
                </a:lnTo>
                <a:lnTo>
                  <a:pt x="256" y="2056"/>
                </a:lnTo>
                <a:lnTo>
                  <a:pt x="258" y="2056"/>
                </a:lnTo>
                <a:lnTo>
                  <a:pt x="262" y="2060"/>
                </a:lnTo>
                <a:lnTo>
                  <a:pt x="266" y="2064"/>
                </a:lnTo>
                <a:lnTo>
                  <a:pt x="270" y="2064"/>
                </a:lnTo>
                <a:lnTo>
                  <a:pt x="278" y="2062"/>
                </a:lnTo>
                <a:lnTo>
                  <a:pt x="282" y="2060"/>
                </a:lnTo>
                <a:lnTo>
                  <a:pt x="286" y="2060"/>
                </a:lnTo>
                <a:lnTo>
                  <a:pt x="288" y="2062"/>
                </a:lnTo>
                <a:lnTo>
                  <a:pt x="290" y="2068"/>
                </a:lnTo>
                <a:lnTo>
                  <a:pt x="292" y="2074"/>
                </a:lnTo>
                <a:lnTo>
                  <a:pt x="296" y="2078"/>
                </a:lnTo>
                <a:lnTo>
                  <a:pt x="300" y="2078"/>
                </a:lnTo>
                <a:lnTo>
                  <a:pt x="302" y="2078"/>
                </a:lnTo>
                <a:lnTo>
                  <a:pt x="306" y="2074"/>
                </a:lnTo>
                <a:lnTo>
                  <a:pt x="308" y="2070"/>
                </a:lnTo>
                <a:lnTo>
                  <a:pt x="308" y="2066"/>
                </a:lnTo>
                <a:lnTo>
                  <a:pt x="308" y="2060"/>
                </a:lnTo>
                <a:lnTo>
                  <a:pt x="306" y="2054"/>
                </a:lnTo>
                <a:lnTo>
                  <a:pt x="308" y="2050"/>
                </a:lnTo>
                <a:lnTo>
                  <a:pt x="312" y="2044"/>
                </a:lnTo>
                <a:lnTo>
                  <a:pt x="318" y="2042"/>
                </a:lnTo>
                <a:lnTo>
                  <a:pt x="322" y="2040"/>
                </a:lnTo>
                <a:lnTo>
                  <a:pt x="328" y="2040"/>
                </a:lnTo>
                <a:lnTo>
                  <a:pt x="332" y="2042"/>
                </a:lnTo>
                <a:lnTo>
                  <a:pt x="334" y="2046"/>
                </a:lnTo>
                <a:lnTo>
                  <a:pt x="334" y="2048"/>
                </a:lnTo>
                <a:lnTo>
                  <a:pt x="336" y="2050"/>
                </a:lnTo>
                <a:lnTo>
                  <a:pt x="340" y="2048"/>
                </a:lnTo>
                <a:lnTo>
                  <a:pt x="354" y="2040"/>
                </a:lnTo>
                <a:lnTo>
                  <a:pt x="372" y="2028"/>
                </a:lnTo>
                <a:lnTo>
                  <a:pt x="380" y="2022"/>
                </a:lnTo>
                <a:lnTo>
                  <a:pt x="390" y="2022"/>
                </a:lnTo>
                <a:lnTo>
                  <a:pt x="394" y="2020"/>
                </a:lnTo>
                <a:lnTo>
                  <a:pt x="396" y="2020"/>
                </a:lnTo>
                <a:lnTo>
                  <a:pt x="394" y="2012"/>
                </a:lnTo>
                <a:lnTo>
                  <a:pt x="396" y="2008"/>
                </a:lnTo>
                <a:lnTo>
                  <a:pt x="400" y="2000"/>
                </a:lnTo>
                <a:lnTo>
                  <a:pt x="408" y="1992"/>
                </a:lnTo>
                <a:lnTo>
                  <a:pt x="424" y="1982"/>
                </a:lnTo>
                <a:lnTo>
                  <a:pt x="440" y="1972"/>
                </a:lnTo>
                <a:lnTo>
                  <a:pt x="454" y="1964"/>
                </a:lnTo>
                <a:lnTo>
                  <a:pt x="462" y="1956"/>
                </a:lnTo>
                <a:lnTo>
                  <a:pt x="468" y="1950"/>
                </a:lnTo>
                <a:lnTo>
                  <a:pt x="478" y="1938"/>
                </a:lnTo>
                <a:lnTo>
                  <a:pt x="484" y="1932"/>
                </a:lnTo>
                <a:lnTo>
                  <a:pt x="494" y="1926"/>
                </a:lnTo>
                <a:lnTo>
                  <a:pt x="516" y="1916"/>
                </a:lnTo>
                <a:lnTo>
                  <a:pt x="538" y="1902"/>
                </a:lnTo>
                <a:lnTo>
                  <a:pt x="548" y="1896"/>
                </a:lnTo>
                <a:lnTo>
                  <a:pt x="556" y="1888"/>
                </a:lnTo>
                <a:lnTo>
                  <a:pt x="562" y="1882"/>
                </a:lnTo>
                <a:lnTo>
                  <a:pt x="566" y="1874"/>
                </a:lnTo>
                <a:lnTo>
                  <a:pt x="568" y="1866"/>
                </a:lnTo>
                <a:lnTo>
                  <a:pt x="572" y="1862"/>
                </a:lnTo>
                <a:lnTo>
                  <a:pt x="580" y="1856"/>
                </a:lnTo>
                <a:lnTo>
                  <a:pt x="588" y="1850"/>
                </a:lnTo>
                <a:lnTo>
                  <a:pt x="592" y="1846"/>
                </a:lnTo>
                <a:lnTo>
                  <a:pt x="592" y="1840"/>
                </a:lnTo>
                <a:lnTo>
                  <a:pt x="592" y="1836"/>
                </a:lnTo>
                <a:lnTo>
                  <a:pt x="590" y="1834"/>
                </a:lnTo>
                <a:lnTo>
                  <a:pt x="584" y="1832"/>
                </a:lnTo>
                <a:lnTo>
                  <a:pt x="564" y="1832"/>
                </a:lnTo>
                <a:lnTo>
                  <a:pt x="556" y="1830"/>
                </a:lnTo>
                <a:lnTo>
                  <a:pt x="554" y="1828"/>
                </a:lnTo>
                <a:lnTo>
                  <a:pt x="554" y="1824"/>
                </a:lnTo>
                <a:lnTo>
                  <a:pt x="558" y="1820"/>
                </a:lnTo>
                <a:lnTo>
                  <a:pt x="570" y="1810"/>
                </a:lnTo>
                <a:lnTo>
                  <a:pt x="598" y="1786"/>
                </a:lnTo>
                <a:lnTo>
                  <a:pt x="618" y="1766"/>
                </a:lnTo>
                <a:lnTo>
                  <a:pt x="632" y="1748"/>
                </a:lnTo>
                <a:lnTo>
                  <a:pt x="646" y="1726"/>
                </a:lnTo>
                <a:lnTo>
                  <a:pt x="654" y="1714"/>
                </a:lnTo>
                <a:lnTo>
                  <a:pt x="666" y="1704"/>
                </a:lnTo>
                <a:lnTo>
                  <a:pt x="680" y="1696"/>
                </a:lnTo>
                <a:lnTo>
                  <a:pt x="694" y="1690"/>
                </a:lnTo>
                <a:lnTo>
                  <a:pt x="710" y="1688"/>
                </a:lnTo>
                <a:lnTo>
                  <a:pt x="726" y="1692"/>
                </a:lnTo>
                <a:lnTo>
                  <a:pt x="744" y="1698"/>
                </a:lnTo>
                <a:lnTo>
                  <a:pt x="752" y="1704"/>
                </a:lnTo>
                <a:lnTo>
                  <a:pt x="758" y="1710"/>
                </a:lnTo>
                <a:lnTo>
                  <a:pt x="770" y="1720"/>
                </a:lnTo>
                <a:lnTo>
                  <a:pt x="770" y="1722"/>
                </a:lnTo>
                <a:lnTo>
                  <a:pt x="770" y="1724"/>
                </a:lnTo>
                <a:lnTo>
                  <a:pt x="752" y="1714"/>
                </a:lnTo>
                <a:lnTo>
                  <a:pt x="738" y="1708"/>
                </a:lnTo>
                <a:lnTo>
                  <a:pt x="722" y="1702"/>
                </a:lnTo>
                <a:lnTo>
                  <a:pt x="712" y="1702"/>
                </a:lnTo>
                <a:lnTo>
                  <a:pt x="704" y="1702"/>
                </a:lnTo>
                <a:lnTo>
                  <a:pt x="696" y="1704"/>
                </a:lnTo>
                <a:lnTo>
                  <a:pt x="690" y="1706"/>
                </a:lnTo>
                <a:lnTo>
                  <a:pt x="680" y="1716"/>
                </a:lnTo>
                <a:lnTo>
                  <a:pt x="674" y="1722"/>
                </a:lnTo>
                <a:lnTo>
                  <a:pt x="672" y="1728"/>
                </a:lnTo>
                <a:lnTo>
                  <a:pt x="672" y="1734"/>
                </a:lnTo>
                <a:lnTo>
                  <a:pt x="672" y="1742"/>
                </a:lnTo>
                <a:lnTo>
                  <a:pt x="670" y="1748"/>
                </a:lnTo>
                <a:lnTo>
                  <a:pt x="668" y="1756"/>
                </a:lnTo>
                <a:lnTo>
                  <a:pt x="658" y="1766"/>
                </a:lnTo>
                <a:lnTo>
                  <a:pt x="652" y="1776"/>
                </a:lnTo>
                <a:lnTo>
                  <a:pt x="650" y="1782"/>
                </a:lnTo>
                <a:lnTo>
                  <a:pt x="652" y="1788"/>
                </a:lnTo>
                <a:lnTo>
                  <a:pt x="656" y="1792"/>
                </a:lnTo>
                <a:lnTo>
                  <a:pt x="660" y="1794"/>
                </a:lnTo>
                <a:lnTo>
                  <a:pt x="662" y="1798"/>
                </a:lnTo>
                <a:lnTo>
                  <a:pt x="662" y="1800"/>
                </a:lnTo>
                <a:lnTo>
                  <a:pt x="656" y="1806"/>
                </a:lnTo>
                <a:lnTo>
                  <a:pt x="646" y="1812"/>
                </a:lnTo>
                <a:lnTo>
                  <a:pt x="644" y="1816"/>
                </a:lnTo>
                <a:lnTo>
                  <a:pt x="644" y="1818"/>
                </a:lnTo>
                <a:lnTo>
                  <a:pt x="646" y="1820"/>
                </a:lnTo>
                <a:lnTo>
                  <a:pt x="650" y="1822"/>
                </a:lnTo>
                <a:lnTo>
                  <a:pt x="658" y="1824"/>
                </a:lnTo>
                <a:lnTo>
                  <a:pt x="670" y="1824"/>
                </a:lnTo>
                <a:lnTo>
                  <a:pt x="684" y="1820"/>
                </a:lnTo>
                <a:lnTo>
                  <a:pt x="700" y="1814"/>
                </a:lnTo>
                <a:lnTo>
                  <a:pt x="712" y="1806"/>
                </a:lnTo>
                <a:lnTo>
                  <a:pt x="732" y="1788"/>
                </a:lnTo>
                <a:lnTo>
                  <a:pt x="748" y="1778"/>
                </a:lnTo>
                <a:lnTo>
                  <a:pt x="762" y="1774"/>
                </a:lnTo>
                <a:lnTo>
                  <a:pt x="778" y="1772"/>
                </a:lnTo>
                <a:lnTo>
                  <a:pt x="786" y="1772"/>
                </a:lnTo>
                <a:lnTo>
                  <a:pt x="790" y="1770"/>
                </a:lnTo>
                <a:lnTo>
                  <a:pt x="790" y="1768"/>
                </a:lnTo>
                <a:lnTo>
                  <a:pt x="790" y="1764"/>
                </a:lnTo>
                <a:lnTo>
                  <a:pt x="790" y="1760"/>
                </a:lnTo>
                <a:lnTo>
                  <a:pt x="790" y="1756"/>
                </a:lnTo>
                <a:lnTo>
                  <a:pt x="794" y="1754"/>
                </a:lnTo>
                <a:lnTo>
                  <a:pt x="800" y="1750"/>
                </a:lnTo>
                <a:lnTo>
                  <a:pt x="806" y="1746"/>
                </a:lnTo>
                <a:lnTo>
                  <a:pt x="806" y="1742"/>
                </a:lnTo>
                <a:lnTo>
                  <a:pt x="804" y="1736"/>
                </a:lnTo>
                <a:lnTo>
                  <a:pt x="802" y="1730"/>
                </a:lnTo>
                <a:lnTo>
                  <a:pt x="800" y="1724"/>
                </a:lnTo>
                <a:lnTo>
                  <a:pt x="800" y="1720"/>
                </a:lnTo>
                <a:lnTo>
                  <a:pt x="804" y="1716"/>
                </a:lnTo>
                <a:lnTo>
                  <a:pt x="812" y="1714"/>
                </a:lnTo>
                <a:lnTo>
                  <a:pt x="824" y="1712"/>
                </a:lnTo>
                <a:lnTo>
                  <a:pt x="834" y="1710"/>
                </a:lnTo>
                <a:lnTo>
                  <a:pt x="850" y="1704"/>
                </a:lnTo>
                <a:lnTo>
                  <a:pt x="856" y="1702"/>
                </a:lnTo>
                <a:lnTo>
                  <a:pt x="860" y="1704"/>
                </a:lnTo>
                <a:lnTo>
                  <a:pt x="862" y="1706"/>
                </a:lnTo>
                <a:lnTo>
                  <a:pt x="862" y="1712"/>
                </a:lnTo>
                <a:lnTo>
                  <a:pt x="864" y="1720"/>
                </a:lnTo>
                <a:lnTo>
                  <a:pt x="866" y="1724"/>
                </a:lnTo>
                <a:lnTo>
                  <a:pt x="870" y="1728"/>
                </a:lnTo>
                <a:lnTo>
                  <a:pt x="874" y="1730"/>
                </a:lnTo>
                <a:lnTo>
                  <a:pt x="888" y="1734"/>
                </a:lnTo>
                <a:lnTo>
                  <a:pt x="896" y="1738"/>
                </a:lnTo>
                <a:lnTo>
                  <a:pt x="906" y="1742"/>
                </a:lnTo>
                <a:lnTo>
                  <a:pt x="914" y="1746"/>
                </a:lnTo>
                <a:lnTo>
                  <a:pt x="918" y="1746"/>
                </a:lnTo>
                <a:lnTo>
                  <a:pt x="922" y="1744"/>
                </a:lnTo>
                <a:lnTo>
                  <a:pt x="924" y="1742"/>
                </a:lnTo>
                <a:lnTo>
                  <a:pt x="928" y="1740"/>
                </a:lnTo>
                <a:lnTo>
                  <a:pt x="930" y="1740"/>
                </a:lnTo>
                <a:lnTo>
                  <a:pt x="934" y="1742"/>
                </a:lnTo>
                <a:lnTo>
                  <a:pt x="940" y="1750"/>
                </a:lnTo>
                <a:lnTo>
                  <a:pt x="948" y="1758"/>
                </a:lnTo>
                <a:lnTo>
                  <a:pt x="958" y="1764"/>
                </a:lnTo>
                <a:lnTo>
                  <a:pt x="968" y="1766"/>
                </a:lnTo>
                <a:lnTo>
                  <a:pt x="978" y="1768"/>
                </a:lnTo>
                <a:lnTo>
                  <a:pt x="1002" y="1766"/>
                </a:lnTo>
                <a:lnTo>
                  <a:pt x="1026" y="1764"/>
                </a:lnTo>
                <a:lnTo>
                  <a:pt x="1036" y="1764"/>
                </a:lnTo>
                <a:lnTo>
                  <a:pt x="1050" y="1768"/>
                </a:lnTo>
                <a:lnTo>
                  <a:pt x="1078" y="1780"/>
                </a:lnTo>
                <a:lnTo>
                  <a:pt x="1090" y="1786"/>
                </a:lnTo>
                <a:lnTo>
                  <a:pt x="1104" y="1788"/>
                </a:lnTo>
                <a:lnTo>
                  <a:pt x="1116" y="1788"/>
                </a:lnTo>
                <a:lnTo>
                  <a:pt x="1122" y="1788"/>
                </a:lnTo>
                <a:lnTo>
                  <a:pt x="1126" y="1786"/>
                </a:lnTo>
                <a:lnTo>
                  <a:pt x="1136" y="1780"/>
                </a:lnTo>
                <a:lnTo>
                  <a:pt x="1142" y="1778"/>
                </a:lnTo>
                <a:lnTo>
                  <a:pt x="1148" y="1780"/>
                </a:lnTo>
                <a:lnTo>
                  <a:pt x="1150" y="1782"/>
                </a:lnTo>
                <a:lnTo>
                  <a:pt x="1150" y="1786"/>
                </a:lnTo>
                <a:lnTo>
                  <a:pt x="1150" y="1790"/>
                </a:lnTo>
                <a:lnTo>
                  <a:pt x="1146" y="1794"/>
                </a:lnTo>
                <a:lnTo>
                  <a:pt x="1142" y="1796"/>
                </a:lnTo>
                <a:lnTo>
                  <a:pt x="1138" y="1800"/>
                </a:lnTo>
                <a:lnTo>
                  <a:pt x="1140" y="1804"/>
                </a:lnTo>
                <a:lnTo>
                  <a:pt x="1146" y="1808"/>
                </a:lnTo>
                <a:lnTo>
                  <a:pt x="1154" y="1812"/>
                </a:lnTo>
                <a:lnTo>
                  <a:pt x="1174" y="1822"/>
                </a:lnTo>
                <a:lnTo>
                  <a:pt x="1192" y="1830"/>
                </a:lnTo>
                <a:lnTo>
                  <a:pt x="1206" y="1840"/>
                </a:lnTo>
                <a:lnTo>
                  <a:pt x="1216" y="1852"/>
                </a:lnTo>
                <a:lnTo>
                  <a:pt x="1228" y="1862"/>
                </a:lnTo>
                <a:lnTo>
                  <a:pt x="1246" y="1874"/>
                </a:lnTo>
                <a:lnTo>
                  <a:pt x="1254" y="1878"/>
                </a:lnTo>
                <a:lnTo>
                  <a:pt x="1264" y="1880"/>
                </a:lnTo>
                <a:lnTo>
                  <a:pt x="1272" y="1880"/>
                </a:lnTo>
                <a:lnTo>
                  <a:pt x="1278" y="1880"/>
                </a:lnTo>
                <a:lnTo>
                  <a:pt x="1282" y="1878"/>
                </a:lnTo>
                <a:lnTo>
                  <a:pt x="1284" y="1874"/>
                </a:lnTo>
                <a:lnTo>
                  <a:pt x="1284" y="1868"/>
                </a:lnTo>
                <a:lnTo>
                  <a:pt x="1280" y="1864"/>
                </a:lnTo>
                <a:lnTo>
                  <a:pt x="1272" y="1852"/>
                </a:lnTo>
                <a:lnTo>
                  <a:pt x="1268" y="1844"/>
                </a:lnTo>
                <a:lnTo>
                  <a:pt x="1268" y="1842"/>
                </a:lnTo>
                <a:lnTo>
                  <a:pt x="1270" y="1842"/>
                </a:lnTo>
                <a:lnTo>
                  <a:pt x="1282" y="1852"/>
                </a:lnTo>
                <a:lnTo>
                  <a:pt x="1298" y="1866"/>
                </a:lnTo>
                <a:lnTo>
                  <a:pt x="1314" y="1878"/>
                </a:lnTo>
                <a:lnTo>
                  <a:pt x="1320" y="1880"/>
                </a:lnTo>
                <a:lnTo>
                  <a:pt x="1324" y="1880"/>
                </a:lnTo>
                <a:lnTo>
                  <a:pt x="1326" y="1876"/>
                </a:lnTo>
                <a:lnTo>
                  <a:pt x="1326" y="1870"/>
                </a:lnTo>
                <a:lnTo>
                  <a:pt x="1322" y="1854"/>
                </a:lnTo>
                <a:lnTo>
                  <a:pt x="1322" y="1846"/>
                </a:lnTo>
                <a:lnTo>
                  <a:pt x="1324" y="1848"/>
                </a:lnTo>
                <a:lnTo>
                  <a:pt x="1334" y="1862"/>
                </a:lnTo>
                <a:lnTo>
                  <a:pt x="1338" y="1870"/>
                </a:lnTo>
                <a:lnTo>
                  <a:pt x="1344" y="1874"/>
                </a:lnTo>
                <a:lnTo>
                  <a:pt x="1350" y="1876"/>
                </a:lnTo>
                <a:lnTo>
                  <a:pt x="1354" y="1876"/>
                </a:lnTo>
                <a:lnTo>
                  <a:pt x="1358" y="1878"/>
                </a:lnTo>
                <a:lnTo>
                  <a:pt x="1364" y="1878"/>
                </a:lnTo>
                <a:lnTo>
                  <a:pt x="1368" y="1882"/>
                </a:lnTo>
                <a:lnTo>
                  <a:pt x="1372" y="1890"/>
                </a:lnTo>
                <a:lnTo>
                  <a:pt x="1378" y="1904"/>
                </a:lnTo>
                <a:lnTo>
                  <a:pt x="1382" y="1914"/>
                </a:lnTo>
                <a:lnTo>
                  <a:pt x="1386" y="1922"/>
                </a:lnTo>
                <a:lnTo>
                  <a:pt x="1392" y="1928"/>
                </a:lnTo>
                <a:lnTo>
                  <a:pt x="1394" y="1932"/>
                </a:lnTo>
                <a:lnTo>
                  <a:pt x="1394" y="1934"/>
                </a:lnTo>
                <a:lnTo>
                  <a:pt x="1390" y="1942"/>
                </a:lnTo>
                <a:lnTo>
                  <a:pt x="1388" y="1944"/>
                </a:lnTo>
                <a:lnTo>
                  <a:pt x="1390" y="1948"/>
                </a:lnTo>
                <a:lnTo>
                  <a:pt x="1392" y="1950"/>
                </a:lnTo>
                <a:lnTo>
                  <a:pt x="1400" y="1954"/>
                </a:lnTo>
                <a:lnTo>
                  <a:pt x="1412" y="1960"/>
                </a:lnTo>
                <a:lnTo>
                  <a:pt x="1414" y="1962"/>
                </a:lnTo>
                <a:lnTo>
                  <a:pt x="1416" y="1966"/>
                </a:lnTo>
                <a:lnTo>
                  <a:pt x="1422" y="1976"/>
                </a:lnTo>
                <a:lnTo>
                  <a:pt x="1426" y="1982"/>
                </a:lnTo>
                <a:lnTo>
                  <a:pt x="1434" y="1990"/>
                </a:lnTo>
                <a:lnTo>
                  <a:pt x="1452" y="2004"/>
                </a:lnTo>
                <a:lnTo>
                  <a:pt x="1464" y="2010"/>
                </a:lnTo>
                <a:lnTo>
                  <a:pt x="1468" y="2012"/>
                </a:lnTo>
                <a:lnTo>
                  <a:pt x="1460" y="2016"/>
                </a:lnTo>
                <a:lnTo>
                  <a:pt x="1452" y="2020"/>
                </a:lnTo>
                <a:lnTo>
                  <a:pt x="1450" y="2026"/>
                </a:lnTo>
                <a:lnTo>
                  <a:pt x="1448" y="2032"/>
                </a:lnTo>
                <a:lnTo>
                  <a:pt x="1442" y="2038"/>
                </a:lnTo>
                <a:lnTo>
                  <a:pt x="1440" y="2042"/>
                </a:lnTo>
                <a:lnTo>
                  <a:pt x="1440" y="2046"/>
                </a:lnTo>
                <a:lnTo>
                  <a:pt x="1440" y="2050"/>
                </a:lnTo>
                <a:lnTo>
                  <a:pt x="1444" y="2054"/>
                </a:lnTo>
                <a:lnTo>
                  <a:pt x="1446" y="2054"/>
                </a:lnTo>
                <a:lnTo>
                  <a:pt x="1450" y="2054"/>
                </a:lnTo>
                <a:lnTo>
                  <a:pt x="1452" y="2050"/>
                </a:lnTo>
                <a:lnTo>
                  <a:pt x="1456" y="2044"/>
                </a:lnTo>
                <a:lnTo>
                  <a:pt x="1462" y="2032"/>
                </a:lnTo>
                <a:lnTo>
                  <a:pt x="1466" y="2026"/>
                </a:lnTo>
                <a:lnTo>
                  <a:pt x="1470" y="2024"/>
                </a:lnTo>
                <a:lnTo>
                  <a:pt x="1474" y="2022"/>
                </a:lnTo>
                <a:lnTo>
                  <a:pt x="1480" y="2024"/>
                </a:lnTo>
                <a:lnTo>
                  <a:pt x="1484" y="2028"/>
                </a:lnTo>
                <a:lnTo>
                  <a:pt x="1488" y="2034"/>
                </a:lnTo>
                <a:lnTo>
                  <a:pt x="1492" y="2044"/>
                </a:lnTo>
                <a:lnTo>
                  <a:pt x="1494" y="2052"/>
                </a:lnTo>
                <a:lnTo>
                  <a:pt x="1494" y="2058"/>
                </a:lnTo>
                <a:lnTo>
                  <a:pt x="1492" y="2064"/>
                </a:lnTo>
                <a:lnTo>
                  <a:pt x="1488" y="2074"/>
                </a:lnTo>
                <a:lnTo>
                  <a:pt x="1488" y="2078"/>
                </a:lnTo>
                <a:lnTo>
                  <a:pt x="1488" y="2082"/>
                </a:lnTo>
                <a:lnTo>
                  <a:pt x="1492" y="2092"/>
                </a:lnTo>
                <a:lnTo>
                  <a:pt x="1494" y="2100"/>
                </a:lnTo>
                <a:lnTo>
                  <a:pt x="1496" y="2102"/>
                </a:lnTo>
                <a:lnTo>
                  <a:pt x="1500" y="2104"/>
                </a:lnTo>
                <a:lnTo>
                  <a:pt x="1504" y="2102"/>
                </a:lnTo>
                <a:lnTo>
                  <a:pt x="1508" y="2098"/>
                </a:lnTo>
                <a:lnTo>
                  <a:pt x="1518" y="2088"/>
                </a:lnTo>
                <a:lnTo>
                  <a:pt x="1524" y="2080"/>
                </a:lnTo>
                <a:lnTo>
                  <a:pt x="1526" y="2076"/>
                </a:lnTo>
                <a:lnTo>
                  <a:pt x="1526" y="2072"/>
                </a:lnTo>
                <a:lnTo>
                  <a:pt x="1524" y="2058"/>
                </a:lnTo>
                <a:lnTo>
                  <a:pt x="1522" y="2044"/>
                </a:lnTo>
                <a:lnTo>
                  <a:pt x="1524" y="2038"/>
                </a:lnTo>
                <a:lnTo>
                  <a:pt x="1528" y="2034"/>
                </a:lnTo>
                <a:lnTo>
                  <a:pt x="1530" y="2030"/>
                </a:lnTo>
                <a:lnTo>
                  <a:pt x="1530" y="2038"/>
                </a:lnTo>
                <a:lnTo>
                  <a:pt x="1530" y="2044"/>
                </a:lnTo>
                <a:lnTo>
                  <a:pt x="1532" y="2058"/>
                </a:lnTo>
                <a:lnTo>
                  <a:pt x="1534" y="2070"/>
                </a:lnTo>
                <a:lnTo>
                  <a:pt x="1534" y="2074"/>
                </a:lnTo>
                <a:lnTo>
                  <a:pt x="1530" y="2078"/>
                </a:lnTo>
                <a:lnTo>
                  <a:pt x="1526" y="2082"/>
                </a:lnTo>
                <a:lnTo>
                  <a:pt x="1526" y="2084"/>
                </a:lnTo>
                <a:lnTo>
                  <a:pt x="1526" y="2092"/>
                </a:lnTo>
                <a:lnTo>
                  <a:pt x="1526" y="2098"/>
                </a:lnTo>
                <a:lnTo>
                  <a:pt x="1524" y="2102"/>
                </a:lnTo>
                <a:lnTo>
                  <a:pt x="1522" y="2106"/>
                </a:lnTo>
                <a:lnTo>
                  <a:pt x="1516" y="2112"/>
                </a:lnTo>
                <a:lnTo>
                  <a:pt x="1512" y="2118"/>
                </a:lnTo>
                <a:lnTo>
                  <a:pt x="1512" y="2122"/>
                </a:lnTo>
                <a:lnTo>
                  <a:pt x="1514" y="2124"/>
                </a:lnTo>
                <a:lnTo>
                  <a:pt x="1518" y="2130"/>
                </a:lnTo>
                <a:lnTo>
                  <a:pt x="1522" y="2134"/>
                </a:lnTo>
                <a:lnTo>
                  <a:pt x="1524" y="2138"/>
                </a:lnTo>
                <a:lnTo>
                  <a:pt x="1528" y="2148"/>
                </a:lnTo>
                <a:lnTo>
                  <a:pt x="1534" y="2160"/>
                </a:lnTo>
                <a:lnTo>
                  <a:pt x="1544" y="2172"/>
                </a:lnTo>
                <a:lnTo>
                  <a:pt x="1554" y="2182"/>
                </a:lnTo>
                <a:lnTo>
                  <a:pt x="1558" y="2186"/>
                </a:lnTo>
                <a:lnTo>
                  <a:pt x="1560" y="2184"/>
                </a:lnTo>
                <a:lnTo>
                  <a:pt x="1562" y="2176"/>
                </a:lnTo>
                <a:lnTo>
                  <a:pt x="1564" y="2168"/>
                </a:lnTo>
                <a:lnTo>
                  <a:pt x="1568" y="2162"/>
                </a:lnTo>
                <a:lnTo>
                  <a:pt x="1574" y="2158"/>
                </a:lnTo>
                <a:lnTo>
                  <a:pt x="1584" y="2156"/>
                </a:lnTo>
                <a:lnTo>
                  <a:pt x="1592" y="2154"/>
                </a:lnTo>
                <a:lnTo>
                  <a:pt x="1594" y="2156"/>
                </a:lnTo>
                <a:lnTo>
                  <a:pt x="1588" y="2162"/>
                </a:lnTo>
                <a:lnTo>
                  <a:pt x="1582" y="2166"/>
                </a:lnTo>
                <a:lnTo>
                  <a:pt x="1578" y="2172"/>
                </a:lnTo>
                <a:lnTo>
                  <a:pt x="1576" y="2180"/>
                </a:lnTo>
                <a:lnTo>
                  <a:pt x="1576" y="2188"/>
                </a:lnTo>
                <a:lnTo>
                  <a:pt x="1582" y="2196"/>
                </a:lnTo>
                <a:lnTo>
                  <a:pt x="1586" y="2200"/>
                </a:lnTo>
                <a:lnTo>
                  <a:pt x="1588" y="2202"/>
                </a:lnTo>
                <a:lnTo>
                  <a:pt x="1590" y="2212"/>
                </a:lnTo>
                <a:lnTo>
                  <a:pt x="1592" y="2218"/>
                </a:lnTo>
                <a:lnTo>
                  <a:pt x="1596" y="2220"/>
                </a:lnTo>
                <a:lnTo>
                  <a:pt x="1600" y="2220"/>
                </a:lnTo>
                <a:lnTo>
                  <a:pt x="1604" y="2218"/>
                </a:lnTo>
                <a:lnTo>
                  <a:pt x="1608" y="2216"/>
                </a:lnTo>
                <a:lnTo>
                  <a:pt x="1610" y="2216"/>
                </a:lnTo>
                <a:lnTo>
                  <a:pt x="1610" y="2220"/>
                </a:lnTo>
                <a:lnTo>
                  <a:pt x="1606" y="2228"/>
                </a:lnTo>
                <a:lnTo>
                  <a:pt x="1600" y="2246"/>
                </a:lnTo>
                <a:lnTo>
                  <a:pt x="1596" y="2256"/>
                </a:lnTo>
                <a:lnTo>
                  <a:pt x="1598" y="2262"/>
                </a:lnTo>
                <a:lnTo>
                  <a:pt x="1600" y="2262"/>
                </a:lnTo>
                <a:lnTo>
                  <a:pt x="1602" y="2262"/>
                </a:lnTo>
                <a:lnTo>
                  <a:pt x="1602" y="2268"/>
                </a:lnTo>
                <a:lnTo>
                  <a:pt x="1604" y="2276"/>
                </a:lnTo>
                <a:lnTo>
                  <a:pt x="1606" y="2278"/>
                </a:lnTo>
                <a:lnTo>
                  <a:pt x="1608" y="2280"/>
                </a:lnTo>
                <a:lnTo>
                  <a:pt x="1612" y="2280"/>
                </a:lnTo>
                <a:lnTo>
                  <a:pt x="1614" y="2278"/>
                </a:lnTo>
                <a:lnTo>
                  <a:pt x="1614" y="2270"/>
                </a:lnTo>
                <a:lnTo>
                  <a:pt x="1616" y="2260"/>
                </a:lnTo>
                <a:lnTo>
                  <a:pt x="1618" y="2256"/>
                </a:lnTo>
                <a:lnTo>
                  <a:pt x="1622" y="2254"/>
                </a:lnTo>
                <a:lnTo>
                  <a:pt x="1632" y="2248"/>
                </a:lnTo>
                <a:lnTo>
                  <a:pt x="1638" y="2242"/>
                </a:lnTo>
                <a:lnTo>
                  <a:pt x="1642" y="2240"/>
                </a:lnTo>
                <a:lnTo>
                  <a:pt x="1644" y="2240"/>
                </a:lnTo>
                <a:lnTo>
                  <a:pt x="1644" y="2242"/>
                </a:lnTo>
                <a:lnTo>
                  <a:pt x="1646" y="2246"/>
                </a:lnTo>
                <a:lnTo>
                  <a:pt x="1648" y="2246"/>
                </a:lnTo>
                <a:lnTo>
                  <a:pt x="1654" y="2246"/>
                </a:lnTo>
                <a:lnTo>
                  <a:pt x="1660" y="2248"/>
                </a:lnTo>
                <a:lnTo>
                  <a:pt x="1660" y="2250"/>
                </a:lnTo>
                <a:lnTo>
                  <a:pt x="1660" y="2254"/>
                </a:lnTo>
                <a:lnTo>
                  <a:pt x="1660" y="2258"/>
                </a:lnTo>
                <a:lnTo>
                  <a:pt x="1656" y="2254"/>
                </a:lnTo>
                <a:lnTo>
                  <a:pt x="1652" y="2252"/>
                </a:lnTo>
                <a:lnTo>
                  <a:pt x="1648" y="2252"/>
                </a:lnTo>
                <a:lnTo>
                  <a:pt x="1642" y="2254"/>
                </a:lnTo>
                <a:lnTo>
                  <a:pt x="1636" y="2258"/>
                </a:lnTo>
                <a:lnTo>
                  <a:pt x="1624" y="2268"/>
                </a:lnTo>
                <a:lnTo>
                  <a:pt x="1618" y="2276"/>
                </a:lnTo>
                <a:lnTo>
                  <a:pt x="1618" y="2282"/>
                </a:lnTo>
                <a:lnTo>
                  <a:pt x="1618" y="2290"/>
                </a:lnTo>
                <a:lnTo>
                  <a:pt x="1620" y="2294"/>
                </a:lnTo>
                <a:lnTo>
                  <a:pt x="1622" y="2298"/>
                </a:lnTo>
                <a:lnTo>
                  <a:pt x="1626" y="2300"/>
                </a:lnTo>
                <a:lnTo>
                  <a:pt x="1628" y="2302"/>
                </a:lnTo>
                <a:lnTo>
                  <a:pt x="1626" y="2306"/>
                </a:lnTo>
                <a:lnTo>
                  <a:pt x="1622" y="2308"/>
                </a:lnTo>
                <a:lnTo>
                  <a:pt x="1622" y="2310"/>
                </a:lnTo>
                <a:lnTo>
                  <a:pt x="1624" y="2312"/>
                </a:lnTo>
                <a:lnTo>
                  <a:pt x="1626" y="2312"/>
                </a:lnTo>
                <a:lnTo>
                  <a:pt x="1624" y="2316"/>
                </a:lnTo>
                <a:lnTo>
                  <a:pt x="1620" y="2318"/>
                </a:lnTo>
                <a:lnTo>
                  <a:pt x="1620" y="2320"/>
                </a:lnTo>
                <a:lnTo>
                  <a:pt x="1622" y="2324"/>
                </a:lnTo>
                <a:lnTo>
                  <a:pt x="1624" y="2326"/>
                </a:lnTo>
                <a:lnTo>
                  <a:pt x="1632" y="2332"/>
                </a:lnTo>
                <a:lnTo>
                  <a:pt x="1642" y="2336"/>
                </a:lnTo>
                <a:lnTo>
                  <a:pt x="1650" y="2338"/>
                </a:lnTo>
                <a:lnTo>
                  <a:pt x="1656" y="2336"/>
                </a:lnTo>
                <a:lnTo>
                  <a:pt x="1662" y="2334"/>
                </a:lnTo>
                <a:lnTo>
                  <a:pt x="1670" y="2332"/>
                </a:lnTo>
                <a:lnTo>
                  <a:pt x="1676" y="2334"/>
                </a:lnTo>
                <a:lnTo>
                  <a:pt x="1676" y="2338"/>
                </a:lnTo>
                <a:lnTo>
                  <a:pt x="1676" y="2340"/>
                </a:lnTo>
                <a:lnTo>
                  <a:pt x="1682" y="2340"/>
                </a:lnTo>
                <a:lnTo>
                  <a:pt x="1688" y="2340"/>
                </a:lnTo>
                <a:lnTo>
                  <a:pt x="1688" y="2344"/>
                </a:lnTo>
                <a:lnTo>
                  <a:pt x="1686" y="2352"/>
                </a:lnTo>
                <a:lnTo>
                  <a:pt x="1686" y="2356"/>
                </a:lnTo>
                <a:lnTo>
                  <a:pt x="1686" y="2358"/>
                </a:lnTo>
                <a:lnTo>
                  <a:pt x="1688" y="2360"/>
                </a:lnTo>
                <a:lnTo>
                  <a:pt x="1694" y="2360"/>
                </a:lnTo>
                <a:lnTo>
                  <a:pt x="1700" y="2360"/>
                </a:lnTo>
                <a:lnTo>
                  <a:pt x="1704" y="2362"/>
                </a:lnTo>
                <a:lnTo>
                  <a:pt x="1706" y="2364"/>
                </a:lnTo>
                <a:lnTo>
                  <a:pt x="1714" y="2362"/>
                </a:lnTo>
                <a:lnTo>
                  <a:pt x="1718" y="2360"/>
                </a:lnTo>
                <a:lnTo>
                  <a:pt x="1724" y="2362"/>
                </a:lnTo>
                <a:lnTo>
                  <a:pt x="1730" y="2364"/>
                </a:lnTo>
                <a:lnTo>
                  <a:pt x="1736" y="2368"/>
                </a:lnTo>
                <a:lnTo>
                  <a:pt x="1738" y="2370"/>
                </a:lnTo>
                <a:lnTo>
                  <a:pt x="1742" y="2368"/>
                </a:lnTo>
                <a:lnTo>
                  <a:pt x="1746" y="2368"/>
                </a:lnTo>
                <a:lnTo>
                  <a:pt x="1748" y="2368"/>
                </a:lnTo>
                <a:lnTo>
                  <a:pt x="1750" y="2374"/>
                </a:lnTo>
                <a:lnTo>
                  <a:pt x="1750" y="2382"/>
                </a:lnTo>
                <a:lnTo>
                  <a:pt x="1748" y="2384"/>
                </a:lnTo>
                <a:lnTo>
                  <a:pt x="1744" y="2386"/>
                </a:lnTo>
                <a:lnTo>
                  <a:pt x="1742" y="2388"/>
                </a:lnTo>
                <a:lnTo>
                  <a:pt x="1742" y="2390"/>
                </a:lnTo>
                <a:lnTo>
                  <a:pt x="1748" y="2398"/>
                </a:lnTo>
                <a:lnTo>
                  <a:pt x="1758" y="2402"/>
                </a:lnTo>
                <a:lnTo>
                  <a:pt x="1764" y="2404"/>
                </a:lnTo>
                <a:lnTo>
                  <a:pt x="1768" y="2402"/>
                </a:lnTo>
                <a:lnTo>
                  <a:pt x="1776" y="2398"/>
                </a:lnTo>
                <a:lnTo>
                  <a:pt x="1778" y="2392"/>
                </a:lnTo>
                <a:lnTo>
                  <a:pt x="1780" y="2392"/>
                </a:lnTo>
                <a:lnTo>
                  <a:pt x="1780" y="2398"/>
                </a:lnTo>
                <a:lnTo>
                  <a:pt x="1780" y="2406"/>
                </a:lnTo>
                <a:lnTo>
                  <a:pt x="1784" y="2408"/>
                </a:lnTo>
                <a:lnTo>
                  <a:pt x="1786" y="2410"/>
                </a:lnTo>
                <a:lnTo>
                  <a:pt x="1786" y="2414"/>
                </a:lnTo>
                <a:lnTo>
                  <a:pt x="1784" y="2416"/>
                </a:lnTo>
                <a:lnTo>
                  <a:pt x="1780" y="2412"/>
                </a:lnTo>
                <a:lnTo>
                  <a:pt x="1776" y="2408"/>
                </a:lnTo>
                <a:lnTo>
                  <a:pt x="1774" y="2408"/>
                </a:lnTo>
                <a:lnTo>
                  <a:pt x="1772" y="2408"/>
                </a:lnTo>
                <a:lnTo>
                  <a:pt x="1772" y="2412"/>
                </a:lnTo>
                <a:lnTo>
                  <a:pt x="1774" y="2416"/>
                </a:lnTo>
                <a:lnTo>
                  <a:pt x="1782" y="2422"/>
                </a:lnTo>
                <a:lnTo>
                  <a:pt x="1790" y="2426"/>
                </a:lnTo>
                <a:lnTo>
                  <a:pt x="1794" y="2426"/>
                </a:lnTo>
                <a:lnTo>
                  <a:pt x="1796" y="2424"/>
                </a:lnTo>
                <a:lnTo>
                  <a:pt x="1798" y="2418"/>
                </a:lnTo>
                <a:lnTo>
                  <a:pt x="1800" y="2414"/>
                </a:lnTo>
                <a:lnTo>
                  <a:pt x="1804" y="2414"/>
                </a:lnTo>
                <a:lnTo>
                  <a:pt x="1804" y="2418"/>
                </a:lnTo>
                <a:lnTo>
                  <a:pt x="1804" y="2424"/>
                </a:lnTo>
                <a:lnTo>
                  <a:pt x="1806" y="2432"/>
                </a:lnTo>
                <a:lnTo>
                  <a:pt x="1810" y="2438"/>
                </a:lnTo>
                <a:lnTo>
                  <a:pt x="1810" y="2444"/>
                </a:lnTo>
                <a:lnTo>
                  <a:pt x="1808" y="2450"/>
                </a:lnTo>
                <a:lnTo>
                  <a:pt x="1810" y="2450"/>
                </a:lnTo>
                <a:lnTo>
                  <a:pt x="1814" y="2450"/>
                </a:lnTo>
                <a:lnTo>
                  <a:pt x="1816" y="2446"/>
                </a:lnTo>
                <a:lnTo>
                  <a:pt x="1818" y="2444"/>
                </a:lnTo>
                <a:lnTo>
                  <a:pt x="1820" y="2444"/>
                </a:lnTo>
                <a:lnTo>
                  <a:pt x="1824" y="2448"/>
                </a:lnTo>
                <a:lnTo>
                  <a:pt x="1824" y="2454"/>
                </a:lnTo>
                <a:lnTo>
                  <a:pt x="1824" y="2460"/>
                </a:lnTo>
                <a:lnTo>
                  <a:pt x="1828" y="2464"/>
                </a:lnTo>
                <a:lnTo>
                  <a:pt x="1832" y="2468"/>
                </a:lnTo>
                <a:lnTo>
                  <a:pt x="1832" y="2470"/>
                </a:lnTo>
                <a:lnTo>
                  <a:pt x="1834" y="2474"/>
                </a:lnTo>
                <a:lnTo>
                  <a:pt x="1832" y="2476"/>
                </a:lnTo>
                <a:lnTo>
                  <a:pt x="1830" y="2478"/>
                </a:lnTo>
                <a:lnTo>
                  <a:pt x="1826" y="2478"/>
                </a:lnTo>
                <a:lnTo>
                  <a:pt x="1826" y="2480"/>
                </a:lnTo>
                <a:lnTo>
                  <a:pt x="1830" y="2490"/>
                </a:lnTo>
                <a:lnTo>
                  <a:pt x="1838" y="2500"/>
                </a:lnTo>
                <a:lnTo>
                  <a:pt x="1840" y="2510"/>
                </a:lnTo>
                <a:lnTo>
                  <a:pt x="1842" y="2520"/>
                </a:lnTo>
                <a:lnTo>
                  <a:pt x="1840" y="2538"/>
                </a:lnTo>
                <a:lnTo>
                  <a:pt x="1838" y="2546"/>
                </a:lnTo>
                <a:lnTo>
                  <a:pt x="1836" y="2550"/>
                </a:lnTo>
                <a:lnTo>
                  <a:pt x="1836" y="2548"/>
                </a:lnTo>
                <a:lnTo>
                  <a:pt x="1834" y="2544"/>
                </a:lnTo>
                <a:lnTo>
                  <a:pt x="1828" y="2510"/>
                </a:lnTo>
                <a:lnTo>
                  <a:pt x="1824" y="2504"/>
                </a:lnTo>
                <a:lnTo>
                  <a:pt x="1818" y="2500"/>
                </a:lnTo>
                <a:lnTo>
                  <a:pt x="1808" y="2496"/>
                </a:lnTo>
                <a:lnTo>
                  <a:pt x="1798" y="2496"/>
                </a:lnTo>
                <a:lnTo>
                  <a:pt x="1776" y="2494"/>
                </a:lnTo>
                <a:lnTo>
                  <a:pt x="1766" y="2492"/>
                </a:lnTo>
                <a:lnTo>
                  <a:pt x="1758" y="2488"/>
                </a:lnTo>
                <a:lnTo>
                  <a:pt x="1752" y="2484"/>
                </a:lnTo>
                <a:lnTo>
                  <a:pt x="1748" y="2484"/>
                </a:lnTo>
                <a:lnTo>
                  <a:pt x="1744" y="2486"/>
                </a:lnTo>
                <a:lnTo>
                  <a:pt x="1744" y="2490"/>
                </a:lnTo>
                <a:lnTo>
                  <a:pt x="1744" y="2496"/>
                </a:lnTo>
                <a:lnTo>
                  <a:pt x="1746" y="2502"/>
                </a:lnTo>
                <a:lnTo>
                  <a:pt x="1754" y="2516"/>
                </a:lnTo>
                <a:lnTo>
                  <a:pt x="1760" y="2526"/>
                </a:lnTo>
                <a:lnTo>
                  <a:pt x="1764" y="2536"/>
                </a:lnTo>
                <a:lnTo>
                  <a:pt x="1770" y="2564"/>
                </a:lnTo>
                <a:lnTo>
                  <a:pt x="1774" y="2596"/>
                </a:lnTo>
                <a:lnTo>
                  <a:pt x="1774" y="2628"/>
                </a:lnTo>
                <a:lnTo>
                  <a:pt x="1774" y="2666"/>
                </a:lnTo>
                <a:lnTo>
                  <a:pt x="1770" y="2708"/>
                </a:lnTo>
                <a:lnTo>
                  <a:pt x="1766" y="2750"/>
                </a:lnTo>
                <a:lnTo>
                  <a:pt x="1762" y="2766"/>
                </a:lnTo>
                <a:lnTo>
                  <a:pt x="1758" y="2780"/>
                </a:lnTo>
                <a:lnTo>
                  <a:pt x="1754" y="2794"/>
                </a:lnTo>
                <a:lnTo>
                  <a:pt x="1754" y="2810"/>
                </a:lnTo>
                <a:lnTo>
                  <a:pt x="1756" y="2826"/>
                </a:lnTo>
                <a:lnTo>
                  <a:pt x="1760" y="2842"/>
                </a:lnTo>
                <a:lnTo>
                  <a:pt x="1764" y="2860"/>
                </a:lnTo>
                <a:lnTo>
                  <a:pt x="1766" y="2878"/>
                </a:lnTo>
                <a:lnTo>
                  <a:pt x="1766" y="2894"/>
                </a:lnTo>
                <a:lnTo>
                  <a:pt x="1764" y="2912"/>
                </a:lnTo>
                <a:lnTo>
                  <a:pt x="1760" y="2924"/>
                </a:lnTo>
                <a:lnTo>
                  <a:pt x="1760" y="2936"/>
                </a:lnTo>
                <a:lnTo>
                  <a:pt x="1762" y="2944"/>
                </a:lnTo>
                <a:lnTo>
                  <a:pt x="1766" y="2952"/>
                </a:lnTo>
                <a:lnTo>
                  <a:pt x="1774" y="2970"/>
                </a:lnTo>
                <a:lnTo>
                  <a:pt x="1778" y="2980"/>
                </a:lnTo>
                <a:lnTo>
                  <a:pt x="1782" y="2996"/>
                </a:lnTo>
                <a:lnTo>
                  <a:pt x="1784" y="3010"/>
                </a:lnTo>
                <a:lnTo>
                  <a:pt x="1788" y="3022"/>
                </a:lnTo>
                <a:lnTo>
                  <a:pt x="1792" y="3028"/>
                </a:lnTo>
                <a:lnTo>
                  <a:pt x="1798" y="3034"/>
                </a:lnTo>
                <a:lnTo>
                  <a:pt x="1808" y="3044"/>
                </a:lnTo>
                <a:lnTo>
                  <a:pt x="1812" y="3050"/>
                </a:lnTo>
                <a:lnTo>
                  <a:pt x="1814" y="3056"/>
                </a:lnTo>
                <a:lnTo>
                  <a:pt x="1816" y="3064"/>
                </a:lnTo>
                <a:lnTo>
                  <a:pt x="1818" y="3068"/>
                </a:lnTo>
                <a:lnTo>
                  <a:pt x="1826" y="3072"/>
                </a:lnTo>
                <a:lnTo>
                  <a:pt x="1828" y="3074"/>
                </a:lnTo>
                <a:lnTo>
                  <a:pt x="1832" y="3078"/>
                </a:lnTo>
                <a:lnTo>
                  <a:pt x="1834" y="3086"/>
                </a:lnTo>
                <a:lnTo>
                  <a:pt x="1836" y="3098"/>
                </a:lnTo>
                <a:lnTo>
                  <a:pt x="1838" y="3110"/>
                </a:lnTo>
                <a:lnTo>
                  <a:pt x="1842" y="3118"/>
                </a:lnTo>
                <a:lnTo>
                  <a:pt x="1848" y="3122"/>
                </a:lnTo>
                <a:lnTo>
                  <a:pt x="1852" y="3124"/>
                </a:lnTo>
                <a:lnTo>
                  <a:pt x="1856" y="3128"/>
                </a:lnTo>
                <a:lnTo>
                  <a:pt x="1860" y="3130"/>
                </a:lnTo>
                <a:lnTo>
                  <a:pt x="1862" y="3134"/>
                </a:lnTo>
                <a:lnTo>
                  <a:pt x="1860" y="3140"/>
                </a:lnTo>
                <a:lnTo>
                  <a:pt x="1858" y="3146"/>
                </a:lnTo>
                <a:lnTo>
                  <a:pt x="1858" y="3152"/>
                </a:lnTo>
                <a:lnTo>
                  <a:pt x="1860" y="3158"/>
                </a:lnTo>
                <a:lnTo>
                  <a:pt x="1862" y="3164"/>
                </a:lnTo>
                <a:lnTo>
                  <a:pt x="1874" y="3178"/>
                </a:lnTo>
                <a:lnTo>
                  <a:pt x="1890" y="3200"/>
                </a:lnTo>
                <a:lnTo>
                  <a:pt x="1900" y="3212"/>
                </a:lnTo>
                <a:lnTo>
                  <a:pt x="1904" y="3222"/>
                </a:lnTo>
                <a:lnTo>
                  <a:pt x="1908" y="3230"/>
                </a:lnTo>
                <a:lnTo>
                  <a:pt x="1910" y="3238"/>
                </a:lnTo>
                <a:lnTo>
                  <a:pt x="1910" y="3250"/>
                </a:lnTo>
                <a:lnTo>
                  <a:pt x="1912" y="3254"/>
                </a:lnTo>
                <a:lnTo>
                  <a:pt x="1916" y="3258"/>
                </a:lnTo>
                <a:lnTo>
                  <a:pt x="1920" y="3260"/>
                </a:lnTo>
                <a:lnTo>
                  <a:pt x="1926" y="3262"/>
                </a:lnTo>
                <a:lnTo>
                  <a:pt x="1940" y="3264"/>
                </a:lnTo>
                <a:lnTo>
                  <a:pt x="1950" y="3266"/>
                </a:lnTo>
                <a:lnTo>
                  <a:pt x="1958" y="3270"/>
                </a:lnTo>
                <a:lnTo>
                  <a:pt x="1968" y="3276"/>
                </a:lnTo>
                <a:lnTo>
                  <a:pt x="1978" y="3284"/>
                </a:lnTo>
                <a:lnTo>
                  <a:pt x="1988" y="3292"/>
                </a:lnTo>
                <a:lnTo>
                  <a:pt x="1994" y="3296"/>
                </a:lnTo>
                <a:lnTo>
                  <a:pt x="2006" y="3300"/>
                </a:lnTo>
                <a:lnTo>
                  <a:pt x="2016" y="3302"/>
                </a:lnTo>
                <a:lnTo>
                  <a:pt x="2022" y="3306"/>
                </a:lnTo>
                <a:lnTo>
                  <a:pt x="2030" y="3312"/>
                </a:lnTo>
                <a:lnTo>
                  <a:pt x="2036" y="3320"/>
                </a:lnTo>
                <a:lnTo>
                  <a:pt x="2042" y="3326"/>
                </a:lnTo>
                <a:lnTo>
                  <a:pt x="2046" y="3338"/>
                </a:lnTo>
                <a:lnTo>
                  <a:pt x="2048" y="3350"/>
                </a:lnTo>
                <a:lnTo>
                  <a:pt x="2052" y="3362"/>
                </a:lnTo>
                <a:lnTo>
                  <a:pt x="2068" y="3394"/>
                </a:lnTo>
                <a:lnTo>
                  <a:pt x="2078" y="3420"/>
                </a:lnTo>
                <a:lnTo>
                  <a:pt x="2092" y="3460"/>
                </a:lnTo>
                <a:lnTo>
                  <a:pt x="2100" y="3488"/>
                </a:lnTo>
                <a:lnTo>
                  <a:pt x="2106" y="3498"/>
                </a:lnTo>
                <a:lnTo>
                  <a:pt x="2112" y="3508"/>
                </a:lnTo>
                <a:lnTo>
                  <a:pt x="2120" y="3518"/>
                </a:lnTo>
                <a:lnTo>
                  <a:pt x="2130" y="3526"/>
                </a:lnTo>
                <a:lnTo>
                  <a:pt x="2150" y="3544"/>
                </a:lnTo>
                <a:lnTo>
                  <a:pt x="2160" y="3552"/>
                </a:lnTo>
                <a:lnTo>
                  <a:pt x="2166" y="3564"/>
                </a:lnTo>
                <a:lnTo>
                  <a:pt x="2170" y="3576"/>
                </a:lnTo>
                <a:lnTo>
                  <a:pt x="2170" y="3590"/>
                </a:lnTo>
                <a:lnTo>
                  <a:pt x="2170" y="3596"/>
                </a:lnTo>
                <a:lnTo>
                  <a:pt x="2168" y="3600"/>
                </a:lnTo>
                <a:lnTo>
                  <a:pt x="2164" y="3604"/>
                </a:lnTo>
                <a:lnTo>
                  <a:pt x="2162" y="3606"/>
                </a:lnTo>
                <a:lnTo>
                  <a:pt x="2154" y="3608"/>
                </a:lnTo>
                <a:lnTo>
                  <a:pt x="2148" y="3608"/>
                </a:lnTo>
                <a:lnTo>
                  <a:pt x="2142" y="3608"/>
                </a:lnTo>
                <a:lnTo>
                  <a:pt x="2140" y="3608"/>
                </a:lnTo>
                <a:lnTo>
                  <a:pt x="2140" y="3612"/>
                </a:lnTo>
                <a:lnTo>
                  <a:pt x="2146" y="3620"/>
                </a:lnTo>
                <a:lnTo>
                  <a:pt x="2156" y="3632"/>
                </a:lnTo>
                <a:lnTo>
                  <a:pt x="2166" y="3640"/>
                </a:lnTo>
                <a:lnTo>
                  <a:pt x="2188" y="3654"/>
                </a:lnTo>
                <a:lnTo>
                  <a:pt x="2214" y="3668"/>
                </a:lnTo>
                <a:lnTo>
                  <a:pt x="2226" y="3676"/>
                </a:lnTo>
                <a:lnTo>
                  <a:pt x="2240" y="3686"/>
                </a:lnTo>
                <a:lnTo>
                  <a:pt x="2244" y="3692"/>
                </a:lnTo>
                <a:lnTo>
                  <a:pt x="2248" y="3698"/>
                </a:lnTo>
                <a:lnTo>
                  <a:pt x="2250" y="3704"/>
                </a:lnTo>
                <a:lnTo>
                  <a:pt x="2252" y="3710"/>
                </a:lnTo>
                <a:lnTo>
                  <a:pt x="2252" y="3722"/>
                </a:lnTo>
                <a:lnTo>
                  <a:pt x="2250" y="3734"/>
                </a:lnTo>
                <a:lnTo>
                  <a:pt x="2248" y="3746"/>
                </a:lnTo>
                <a:lnTo>
                  <a:pt x="2250" y="3754"/>
                </a:lnTo>
                <a:lnTo>
                  <a:pt x="2252" y="3760"/>
                </a:lnTo>
                <a:lnTo>
                  <a:pt x="2256" y="3768"/>
                </a:lnTo>
                <a:lnTo>
                  <a:pt x="2262" y="3774"/>
                </a:lnTo>
                <a:lnTo>
                  <a:pt x="2270" y="3782"/>
                </a:lnTo>
                <a:lnTo>
                  <a:pt x="2280" y="3790"/>
                </a:lnTo>
                <a:lnTo>
                  <a:pt x="2302" y="3806"/>
                </a:lnTo>
                <a:lnTo>
                  <a:pt x="2316" y="3820"/>
                </a:lnTo>
                <a:lnTo>
                  <a:pt x="2326" y="3834"/>
                </a:lnTo>
                <a:lnTo>
                  <a:pt x="2332" y="3844"/>
                </a:lnTo>
                <a:lnTo>
                  <a:pt x="2336" y="3852"/>
                </a:lnTo>
                <a:lnTo>
                  <a:pt x="2340" y="3858"/>
                </a:lnTo>
                <a:lnTo>
                  <a:pt x="2344" y="3858"/>
                </a:lnTo>
                <a:lnTo>
                  <a:pt x="2352" y="3856"/>
                </a:lnTo>
                <a:lnTo>
                  <a:pt x="2358" y="3850"/>
                </a:lnTo>
                <a:lnTo>
                  <a:pt x="2362" y="3844"/>
                </a:lnTo>
                <a:lnTo>
                  <a:pt x="2364" y="3840"/>
                </a:lnTo>
                <a:lnTo>
                  <a:pt x="2364" y="3836"/>
                </a:lnTo>
                <a:lnTo>
                  <a:pt x="2358" y="3822"/>
                </a:lnTo>
                <a:lnTo>
                  <a:pt x="2346" y="3804"/>
                </a:lnTo>
                <a:lnTo>
                  <a:pt x="2342" y="3794"/>
                </a:lnTo>
                <a:lnTo>
                  <a:pt x="2336" y="3790"/>
                </a:lnTo>
                <a:lnTo>
                  <a:pt x="2332" y="3788"/>
                </a:lnTo>
                <a:lnTo>
                  <a:pt x="2330" y="3790"/>
                </a:lnTo>
                <a:lnTo>
                  <a:pt x="2324" y="3792"/>
                </a:lnTo>
                <a:lnTo>
                  <a:pt x="2320" y="3792"/>
                </a:lnTo>
                <a:lnTo>
                  <a:pt x="2316" y="3790"/>
                </a:lnTo>
                <a:lnTo>
                  <a:pt x="2312" y="3784"/>
                </a:lnTo>
                <a:lnTo>
                  <a:pt x="2312" y="3780"/>
                </a:lnTo>
                <a:lnTo>
                  <a:pt x="2312" y="3772"/>
                </a:lnTo>
                <a:lnTo>
                  <a:pt x="2310" y="3766"/>
                </a:lnTo>
                <a:lnTo>
                  <a:pt x="2310" y="3758"/>
                </a:lnTo>
                <a:lnTo>
                  <a:pt x="2306" y="3750"/>
                </a:lnTo>
                <a:lnTo>
                  <a:pt x="2300" y="3736"/>
                </a:lnTo>
                <a:lnTo>
                  <a:pt x="2290" y="3716"/>
                </a:lnTo>
                <a:lnTo>
                  <a:pt x="2286" y="3702"/>
                </a:lnTo>
                <a:lnTo>
                  <a:pt x="2282" y="3688"/>
                </a:lnTo>
                <a:lnTo>
                  <a:pt x="2276" y="3668"/>
                </a:lnTo>
                <a:lnTo>
                  <a:pt x="2270" y="3656"/>
                </a:lnTo>
                <a:lnTo>
                  <a:pt x="2264" y="3646"/>
                </a:lnTo>
                <a:lnTo>
                  <a:pt x="2250" y="3630"/>
                </a:lnTo>
                <a:lnTo>
                  <a:pt x="2236" y="3612"/>
                </a:lnTo>
                <a:lnTo>
                  <a:pt x="2230" y="3600"/>
                </a:lnTo>
                <a:lnTo>
                  <a:pt x="2226" y="3588"/>
                </a:lnTo>
                <a:lnTo>
                  <a:pt x="2220" y="3576"/>
                </a:lnTo>
                <a:lnTo>
                  <a:pt x="2214" y="3564"/>
                </a:lnTo>
                <a:lnTo>
                  <a:pt x="2200" y="3544"/>
                </a:lnTo>
                <a:lnTo>
                  <a:pt x="2182" y="3524"/>
                </a:lnTo>
                <a:lnTo>
                  <a:pt x="2168" y="3504"/>
                </a:lnTo>
                <a:lnTo>
                  <a:pt x="2160" y="3490"/>
                </a:lnTo>
                <a:lnTo>
                  <a:pt x="2154" y="3474"/>
                </a:lnTo>
                <a:lnTo>
                  <a:pt x="2148" y="3456"/>
                </a:lnTo>
                <a:lnTo>
                  <a:pt x="2144" y="3438"/>
                </a:lnTo>
                <a:lnTo>
                  <a:pt x="2142" y="3422"/>
                </a:lnTo>
                <a:lnTo>
                  <a:pt x="2142" y="3410"/>
                </a:lnTo>
                <a:lnTo>
                  <a:pt x="2144" y="3406"/>
                </a:lnTo>
                <a:lnTo>
                  <a:pt x="2146" y="3404"/>
                </a:lnTo>
                <a:lnTo>
                  <a:pt x="2150" y="3404"/>
                </a:lnTo>
                <a:lnTo>
                  <a:pt x="2154" y="3406"/>
                </a:lnTo>
                <a:lnTo>
                  <a:pt x="2168" y="3414"/>
                </a:lnTo>
                <a:lnTo>
                  <a:pt x="2174" y="3414"/>
                </a:lnTo>
                <a:lnTo>
                  <a:pt x="2178" y="3414"/>
                </a:lnTo>
                <a:lnTo>
                  <a:pt x="2188" y="3418"/>
                </a:lnTo>
                <a:lnTo>
                  <a:pt x="2198" y="3424"/>
                </a:lnTo>
                <a:lnTo>
                  <a:pt x="2204" y="3426"/>
                </a:lnTo>
                <a:lnTo>
                  <a:pt x="2208" y="3432"/>
                </a:lnTo>
                <a:lnTo>
                  <a:pt x="2214" y="3448"/>
                </a:lnTo>
                <a:lnTo>
                  <a:pt x="2224" y="3476"/>
                </a:lnTo>
                <a:lnTo>
                  <a:pt x="2230" y="3494"/>
                </a:lnTo>
                <a:lnTo>
                  <a:pt x="2236" y="3514"/>
                </a:lnTo>
                <a:lnTo>
                  <a:pt x="2246" y="3532"/>
                </a:lnTo>
                <a:lnTo>
                  <a:pt x="2254" y="3550"/>
                </a:lnTo>
                <a:lnTo>
                  <a:pt x="2266" y="3568"/>
                </a:lnTo>
                <a:lnTo>
                  <a:pt x="2276" y="3582"/>
                </a:lnTo>
                <a:lnTo>
                  <a:pt x="2288" y="3594"/>
                </a:lnTo>
                <a:lnTo>
                  <a:pt x="2300" y="3604"/>
                </a:lnTo>
                <a:lnTo>
                  <a:pt x="2310" y="3612"/>
                </a:lnTo>
                <a:lnTo>
                  <a:pt x="2314" y="3618"/>
                </a:lnTo>
                <a:lnTo>
                  <a:pt x="2320" y="3632"/>
                </a:lnTo>
                <a:lnTo>
                  <a:pt x="2324" y="3640"/>
                </a:lnTo>
                <a:lnTo>
                  <a:pt x="2328" y="3646"/>
                </a:lnTo>
                <a:lnTo>
                  <a:pt x="2338" y="3654"/>
                </a:lnTo>
                <a:lnTo>
                  <a:pt x="2352" y="3660"/>
                </a:lnTo>
                <a:lnTo>
                  <a:pt x="2360" y="3664"/>
                </a:lnTo>
                <a:lnTo>
                  <a:pt x="2364" y="3668"/>
                </a:lnTo>
                <a:lnTo>
                  <a:pt x="2368" y="3672"/>
                </a:lnTo>
                <a:lnTo>
                  <a:pt x="2370" y="3676"/>
                </a:lnTo>
                <a:lnTo>
                  <a:pt x="2370" y="3684"/>
                </a:lnTo>
                <a:lnTo>
                  <a:pt x="2366" y="3694"/>
                </a:lnTo>
                <a:lnTo>
                  <a:pt x="2364" y="3702"/>
                </a:lnTo>
                <a:lnTo>
                  <a:pt x="2364" y="3712"/>
                </a:lnTo>
                <a:lnTo>
                  <a:pt x="2364" y="3716"/>
                </a:lnTo>
                <a:lnTo>
                  <a:pt x="2368" y="3720"/>
                </a:lnTo>
                <a:lnTo>
                  <a:pt x="2372" y="3726"/>
                </a:lnTo>
                <a:lnTo>
                  <a:pt x="2380" y="3730"/>
                </a:lnTo>
                <a:lnTo>
                  <a:pt x="2394" y="3738"/>
                </a:lnTo>
                <a:lnTo>
                  <a:pt x="2402" y="3744"/>
                </a:lnTo>
                <a:lnTo>
                  <a:pt x="2408" y="3750"/>
                </a:lnTo>
                <a:lnTo>
                  <a:pt x="2412" y="3756"/>
                </a:lnTo>
                <a:lnTo>
                  <a:pt x="2422" y="3774"/>
                </a:lnTo>
                <a:lnTo>
                  <a:pt x="2434" y="3786"/>
                </a:lnTo>
                <a:lnTo>
                  <a:pt x="2450" y="3804"/>
                </a:lnTo>
                <a:lnTo>
                  <a:pt x="2476" y="3830"/>
                </a:lnTo>
                <a:lnTo>
                  <a:pt x="2494" y="3850"/>
                </a:lnTo>
                <a:lnTo>
                  <a:pt x="2506" y="3868"/>
                </a:lnTo>
                <a:lnTo>
                  <a:pt x="2512" y="3882"/>
                </a:lnTo>
                <a:lnTo>
                  <a:pt x="2516" y="3894"/>
                </a:lnTo>
                <a:lnTo>
                  <a:pt x="2518" y="3904"/>
                </a:lnTo>
                <a:lnTo>
                  <a:pt x="2522" y="3914"/>
                </a:lnTo>
                <a:lnTo>
                  <a:pt x="2526" y="3926"/>
                </a:lnTo>
                <a:lnTo>
                  <a:pt x="2532" y="3938"/>
                </a:lnTo>
                <a:lnTo>
                  <a:pt x="2532" y="3948"/>
                </a:lnTo>
                <a:lnTo>
                  <a:pt x="2528" y="3958"/>
                </a:lnTo>
                <a:lnTo>
                  <a:pt x="2524" y="3968"/>
                </a:lnTo>
                <a:lnTo>
                  <a:pt x="2520" y="3978"/>
                </a:lnTo>
                <a:lnTo>
                  <a:pt x="2516" y="3988"/>
                </a:lnTo>
                <a:lnTo>
                  <a:pt x="2516" y="4000"/>
                </a:lnTo>
                <a:lnTo>
                  <a:pt x="2520" y="4012"/>
                </a:lnTo>
                <a:lnTo>
                  <a:pt x="2528" y="4024"/>
                </a:lnTo>
                <a:lnTo>
                  <a:pt x="2536" y="4032"/>
                </a:lnTo>
                <a:lnTo>
                  <a:pt x="2552" y="4046"/>
                </a:lnTo>
                <a:lnTo>
                  <a:pt x="2570" y="4060"/>
                </a:lnTo>
                <a:lnTo>
                  <a:pt x="2582" y="4068"/>
                </a:lnTo>
                <a:lnTo>
                  <a:pt x="2594" y="4080"/>
                </a:lnTo>
                <a:lnTo>
                  <a:pt x="2606" y="4090"/>
                </a:lnTo>
                <a:lnTo>
                  <a:pt x="2618" y="4098"/>
                </a:lnTo>
                <a:lnTo>
                  <a:pt x="2628" y="4102"/>
                </a:lnTo>
                <a:lnTo>
                  <a:pt x="2638" y="4104"/>
                </a:lnTo>
                <a:lnTo>
                  <a:pt x="2648" y="4106"/>
                </a:lnTo>
                <a:lnTo>
                  <a:pt x="2658" y="4110"/>
                </a:lnTo>
                <a:lnTo>
                  <a:pt x="2668" y="4116"/>
                </a:lnTo>
                <a:lnTo>
                  <a:pt x="2680" y="4126"/>
                </a:lnTo>
                <a:lnTo>
                  <a:pt x="2694" y="4138"/>
                </a:lnTo>
                <a:lnTo>
                  <a:pt x="2714" y="4150"/>
                </a:lnTo>
                <a:lnTo>
                  <a:pt x="2736" y="4162"/>
                </a:lnTo>
                <a:lnTo>
                  <a:pt x="2762" y="4176"/>
                </a:lnTo>
                <a:lnTo>
                  <a:pt x="2814" y="4198"/>
                </a:lnTo>
                <a:lnTo>
                  <a:pt x="2862" y="4218"/>
                </a:lnTo>
                <a:lnTo>
                  <a:pt x="2880" y="4222"/>
                </a:lnTo>
                <a:lnTo>
                  <a:pt x="2894" y="4222"/>
                </a:lnTo>
                <a:lnTo>
                  <a:pt x="2906" y="4218"/>
                </a:lnTo>
                <a:lnTo>
                  <a:pt x="2916" y="4212"/>
                </a:lnTo>
                <a:lnTo>
                  <a:pt x="2926" y="4206"/>
                </a:lnTo>
                <a:lnTo>
                  <a:pt x="2938" y="4200"/>
                </a:lnTo>
                <a:lnTo>
                  <a:pt x="2952" y="4198"/>
                </a:lnTo>
                <a:lnTo>
                  <a:pt x="2968" y="4198"/>
                </a:lnTo>
                <a:lnTo>
                  <a:pt x="2984" y="4204"/>
                </a:lnTo>
                <a:lnTo>
                  <a:pt x="2996" y="4210"/>
                </a:lnTo>
                <a:lnTo>
                  <a:pt x="3006" y="4220"/>
                </a:lnTo>
                <a:lnTo>
                  <a:pt x="3016" y="4230"/>
                </a:lnTo>
                <a:lnTo>
                  <a:pt x="3032" y="4252"/>
                </a:lnTo>
                <a:lnTo>
                  <a:pt x="3042" y="4264"/>
                </a:lnTo>
                <a:lnTo>
                  <a:pt x="3054" y="4278"/>
                </a:lnTo>
                <a:lnTo>
                  <a:pt x="3074" y="4294"/>
                </a:lnTo>
                <a:lnTo>
                  <a:pt x="3086" y="4304"/>
                </a:lnTo>
                <a:lnTo>
                  <a:pt x="3096" y="4306"/>
                </a:lnTo>
                <a:lnTo>
                  <a:pt x="3104" y="4306"/>
                </a:lnTo>
                <a:lnTo>
                  <a:pt x="3116" y="4306"/>
                </a:lnTo>
                <a:lnTo>
                  <a:pt x="3124" y="4310"/>
                </a:lnTo>
                <a:lnTo>
                  <a:pt x="3140" y="4316"/>
                </a:lnTo>
                <a:lnTo>
                  <a:pt x="3146" y="4322"/>
                </a:lnTo>
                <a:lnTo>
                  <a:pt x="3150" y="4326"/>
                </a:lnTo>
                <a:lnTo>
                  <a:pt x="3154" y="4328"/>
                </a:lnTo>
                <a:lnTo>
                  <a:pt x="3162" y="4328"/>
                </a:lnTo>
                <a:lnTo>
                  <a:pt x="3174" y="4332"/>
                </a:lnTo>
                <a:lnTo>
                  <a:pt x="3186" y="4338"/>
                </a:lnTo>
                <a:lnTo>
                  <a:pt x="3196" y="4342"/>
                </a:lnTo>
                <a:lnTo>
                  <a:pt x="3204" y="4346"/>
                </a:lnTo>
                <a:lnTo>
                  <a:pt x="3206" y="4346"/>
                </a:lnTo>
                <a:lnTo>
                  <a:pt x="3206" y="4344"/>
                </a:lnTo>
                <a:lnTo>
                  <a:pt x="3204" y="4342"/>
                </a:lnTo>
                <a:lnTo>
                  <a:pt x="3202" y="4340"/>
                </a:lnTo>
                <a:lnTo>
                  <a:pt x="3210" y="4344"/>
                </a:lnTo>
                <a:lnTo>
                  <a:pt x="3214" y="4346"/>
                </a:lnTo>
                <a:lnTo>
                  <a:pt x="3218" y="4346"/>
                </a:lnTo>
                <a:lnTo>
                  <a:pt x="3228" y="4344"/>
                </a:lnTo>
                <a:lnTo>
                  <a:pt x="3234" y="4342"/>
                </a:lnTo>
                <a:lnTo>
                  <a:pt x="3236" y="4340"/>
                </a:lnTo>
                <a:lnTo>
                  <a:pt x="3234" y="4340"/>
                </a:lnTo>
                <a:lnTo>
                  <a:pt x="3232" y="4338"/>
                </a:lnTo>
                <a:lnTo>
                  <a:pt x="3230" y="4336"/>
                </a:lnTo>
                <a:lnTo>
                  <a:pt x="3230" y="4334"/>
                </a:lnTo>
                <a:lnTo>
                  <a:pt x="3234" y="4334"/>
                </a:lnTo>
                <a:lnTo>
                  <a:pt x="3236" y="4334"/>
                </a:lnTo>
                <a:lnTo>
                  <a:pt x="3238" y="4334"/>
                </a:lnTo>
                <a:lnTo>
                  <a:pt x="3240" y="4332"/>
                </a:lnTo>
                <a:lnTo>
                  <a:pt x="3240" y="4330"/>
                </a:lnTo>
                <a:lnTo>
                  <a:pt x="3244" y="4336"/>
                </a:lnTo>
                <a:lnTo>
                  <a:pt x="3248" y="4344"/>
                </a:lnTo>
                <a:lnTo>
                  <a:pt x="3252" y="4348"/>
                </a:lnTo>
                <a:lnTo>
                  <a:pt x="3254" y="4352"/>
                </a:lnTo>
                <a:lnTo>
                  <a:pt x="3252" y="4354"/>
                </a:lnTo>
                <a:lnTo>
                  <a:pt x="3252" y="4358"/>
                </a:lnTo>
                <a:lnTo>
                  <a:pt x="3250" y="4358"/>
                </a:lnTo>
                <a:lnTo>
                  <a:pt x="3246" y="4354"/>
                </a:lnTo>
                <a:lnTo>
                  <a:pt x="3244" y="4352"/>
                </a:lnTo>
                <a:lnTo>
                  <a:pt x="3242" y="4352"/>
                </a:lnTo>
                <a:lnTo>
                  <a:pt x="3240" y="4354"/>
                </a:lnTo>
                <a:lnTo>
                  <a:pt x="3238" y="4358"/>
                </a:lnTo>
                <a:lnTo>
                  <a:pt x="3242" y="4362"/>
                </a:lnTo>
                <a:lnTo>
                  <a:pt x="3248" y="4366"/>
                </a:lnTo>
                <a:lnTo>
                  <a:pt x="3252" y="4374"/>
                </a:lnTo>
                <a:lnTo>
                  <a:pt x="3260" y="4382"/>
                </a:lnTo>
                <a:lnTo>
                  <a:pt x="3266" y="4388"/>
                </a:lnTo>
                <a:lnTo>
                  <a:pt x="3274" y="4394"/>
                </a:lnTo>
                <a:lnTo>
                  <a:pt x="3278" y="4398"/>
                </a:lnTo>
                <a:lnTo>
                  <a:pt x="3282" y="4406"/>
                </a:lnTo>
                <a:lnTo>
                  <a:pt x="3288" y="4418"/>
                </a:lnTo>
                <a:lnTo>
                  <a:pt x="3296" y="4426"/>
                </a:lnTo>
                <a:lnTo>
                  <a:pt x="3304" y="4434"/>
                </a:lnTo>
                <a:lnTo>
                  <a:pt x="3316" y="4446"/>
                </a:lnTo>
                <a:lnTo>
                  <a:pt x="3318" y="4450"/>
                </a:lnTo>
                <a:lnTo>
                  <a:pt x="3318" y="4452"/>
                </a:lnTo>
                <a:lnTo>
                  <a:pt x="3314" y="4454"/>
                </a:lnTo>
                <a:lnTo>
                  <a:pt x="3310" y="4456"/>
                </a:lnTo>
                <a:lnTo>
                  <a:pt x="3310" y="4458"/>
                </a:lnTo>
                <a:lnTo>
                  <a:pt x="3316" y="4460"/>
                </a:lnTo>
                <a:lnTo>
                  <a:pt x="3318" y="4460"/>
                </a:lnTo>
                <a:lnTo>
                  <a:pt x="3320" y="4462"/>
                </a:lnTo>
                <a:lnTo>
                  <a:pt x="3320" y="4468"/>
                </a:lnTo>
                <a:lnTo>
                  <a:pt x="3318" y="4474"/>
                </a:lnTo>
                <a:lnTo>
                  <a:pt x="3316" y="4474"/>
                </a:lnTo>
                <a:lnTo>
                  <a:pt x="3314" y="4474"/>
                </a:lnTo>
                <a:lnTo>
                  <a:pt x="3312" y="4480"/>
                </a:lnTo>
                <a:lnTo>
                  <a:pt x="3312" y="4490"/>
                </a:lnTo>
                <a:lnTo>
                  <a:pt x="3314" y="4498"/>
                </a:lnTo>
                <a:lnTo>
                  <a:pt x="3318" y="4504"/>
                </a:lnTo>
                <a:lnTo>
                  <a:pt x="3322" y="4506"/>
                </a:lnTo>
                <a:lnTo>
                  <a:pt x="3330" y="4510"/>
                </a:lnTo>
                <a:lnTo>
                  <a:pt x="3336" y="4514"/>
                </a:lnTo>
                <a:lnTo>
                  <a:pt x="3338" y="4518"/>
                </a:lnTo>
                <a:lnTo>
                  <a:pt x="3340" y="4520"/>
                </a:lnTo>
                <a:lnTo>
                  <a:pt x="3342" y="4520"/>
                </a:lnTo>
                <a:lnTo>
                  <a:pt x="3348" y="4512"/>
                </a:lnTo>
                <a:lnTo>
                  <a:pt x="3350" y="4510"/>
                </a:lnTo>
                <a:lnTo>
                  <a:pt x="3352" y="4508"/>
                </a:lnTo>
                <a:lnTo>
                  <a:pt x="3348" y="4506"/>
                </a:lnTo>
                <a:lnTo>
                  <a:pt x="3338" y="4498"/>
                </a:lnTo>
                <a:lnTo>
                  <a:pt x="3336" y="4494"/>
                </a:lnTo>
                <a:lnTo>
                  <a:pt x="3336" y="4492"/>
                </a:lnTo>
                <a:lnTo>
                  <a:pt x="3336" y="4490"/>
                </a:lnTo>
                <a:lnTo>
                  <a:pt x="3338" y="4492"/>
                </a:lnTo>
                <a:lnTo>
                  <a:pt x="3342" y="4494"/>
                </a:lnTo>
                <a:lnTo>
                  <a:pt x="3348" y="4496"/>
                </a:lnTo>
                <a:lnTo>
                  <a:pt x="3354" y="4500"/>
                </a:lnTo>
                <a:lnTo>
                  <a:pt x="3358" y="4506"/>
                </a:lnTo>
                <a:lnTo>
                  <a:pt x="3360" y="4514"/>
                </a:lnTo>
                <a:lnTo>
                  <a:pt x="3360" y="4518"/>
                </a:lnTo>
                <a:lnTo>
                  <a:pt x="3362" y="4522"/>
                </a:lnTo>
                <a:lnTo>
                  <a:pt x="3366" y="4524"/>
                </a:lnTo>
                <a:lnTo>
                  <a:pt x="3370" y="4524"/>
                </a:lnTo>
                <a:lnTo>
                  <a:pt x="3374" y="4526"/>
                </a:lnTo>
                <a:lnTo>
                  <a:pt x="3384" y="4532"/>
                </a:lnTo>
                <a:lnTo>
                  <a:pt x="3400" y="4544"/>
                </a:lnTo>
                <a:lnTo>
                  <a:pt x="3402" y="4548"/>
                </a:lnTo>
                <a:lnTo>
                  <a:pt x="3402" y="4552"/>
                </a:lnTo>
                <a:lnTo>
                  <a:pt x="3402" y="4558"/>
                </a:lnTo>
                <a:lnTo>
                  <a:pt x="3402" y="4562"/>
                </a:lnTo>
                <a:lnTo>
                  <a:pt x="3398" y="4566"/>
                </a:lnTo>
                <a:lnTo>
                  <a:pt x="3398" y="4568"/>
                </a:lnTo>
                <a:lnTo>
                  <a:pt x="3400" y="4572"/>
                </a:lnTo>
                <a:lnTo>
                  <a:pt x="3404" y="4576"/>
                </a:lnTo>
                <a:lnTo>
                  <a:pt x="3408" y="4578"/>
                </a:lnTo>
                <a:lnTo>
                  <a:pt x="3412" y="4578"/>
                </a:lnTo>
                <a:lnTo>
                  <a:pt x="3414" y="4580"/>
                </a:lnTo>
                <a:lnTo>
                  <a:pt x="3416" y="4580"/>
                </a:lnTo>
                <a:lnTo>
                  <a:pt x="3416" y="4576"/>
                </a:lnTo>
                <a:lnTo>
                  <a:pt x="3414" y="4574"/>
                </a:lnTo>
                <a:lnTo>
                  <a:pt x="3410" y="4570"/>
                </a:lnTo>
                <a:lnTo>
                  <a:pt x="3408" y="4566"/>
                </a:lnTo>
                <a:lnTo>
                  <a:pt x="3408" y="4564"/>
                </a:lnTo>
                <a:lnTo>
                  <a:pt x="3410" y="4562"/>
                </a:lnTo>
                <a:lnTo>
                  <a:pt x="3414" y="4562"/>
                </a:lnTo>
                <a:lnTo>
                  <a:pt x="3414" y="4564"/>
                </a:lnTo>
                <a:lnTo>
                  <a:pt x="3416" y="4566"/>
                </a:lnTo>
                <a:lnTo>
                  <a:pt x="3418" y="4568"/>
                </a:lnTo>
                <a:lnTo>
                  <a:pt x="3420" y="4570"/>
                </a:lnTo>
                <a:lnTo>
                  <a:pt x="3422" y="4572"/>
                </a:lnTo>
                <a:lnTo>
                  <a:pt x="3422" y="4576"/>
                </a:lnTo>
                <a:lnTo>
                  <a:pt x="3422" y="4582"/>
                </a:lnTo>
                <a:lnTo>
                  <a:pt x="3422" y="4586"/>
                </a:lnTo>
                <a:lnTo>
                  <a:pt x="3428" y="4592"/>
                </a:lnTo>
                <a:lnTo>
                  <a:pt x="3430" y="4596"/>
                </a:lnTo>
                <a:lnTo>
                  <a:pt x="3432" y="4594"/>
                </a:lnTo>
                <a:lnTo>
                  <a:pt x="3434" y="4588"/>
                </a:lnTo>
                <a:lnTo>
                  <a:pt x="3436" y="4584"/>
                </a:lnTo>
                <a:lnTo>
                  <a:pt x="3440" y="4584"/>
                </a:lnTo>
                <a:lnTo>
                  <a:pt x="3454" y="4586"/>
                </a:lnTo>
                <a:lnTo>
                  <a:pt x="3464" y="4590"/>
                </a:lnTo>
                <a:lnTo>
                  <a:pt x="3472" y="4592"/>
                </a:lnTo>
                <a:lnTo>
                  <a:pt x="3478" y="4592"/>
                </a:lnTo>
                <a:lnTo>
                  <a:pt x="3480" y="4594"/>
                </a:lnTo>
                <a:lnTo>
                  <a:pt x="3482" y="4602"/>
                </a:lnTo>
                <a:lnTo>
                  <a:pt x="3484" y="4606"/>
                </a:lnTo>
                <a:lnTo>
                  <a:pt x="3484" y="4608"/>
                </a:lnTo>
                <a:lnTo>
                  <a:pt x="3486" y="4612"/>
                </a:lnTo>
                <a:lnTo>
                  <a:pt x="3490" y="4614"/>
                </a:lnTo>
                <a:lnTo>
                  <a:pt x="3498" y="4618"/>
                </a:lnTo>
                <a:lnTo>
                  <a:pt x="3498" y="4616"/>
                </a:lnTo>
                <a:lnTo>
                  <a:pt x="3498" y="4612"/>
                </a:lnTo>
                <a:lnTo>
                  <a:pt x="3500" y="4608"/>
                </a:lnTo>
                <a:lnTo>
                  <a:pt x="3502" y="4606"/>
                </a:lnTo>
                <a:lnTo>
                  <a:pt x="3504" y="4606"/>
                </a:lnTo>
                <a:lnTo>
                  <a:pt x="3506" y="4608"/>
                </a:lnTo>
                <a:lnTo>
                  <a:pt x="3506" y="4612"/>
                </a:lnTo>
                <a:lnTo>
                  <a:pt x="3508" y="4618"/>
                </a:lnTo>
                <a:lnTo>
                  <a:pt x="3510" y="4626"/>
                </a:lnTo>
                <a:lnTo>
                  <a:pt x="3510" y="4634"/>
                </a:lnTo>
                <a:lnTo>
                  <a:pt x="3510" y="4636"/>
                </a:lnTo>
                <a:lnTo>
                  <a:pt x="3512" y="4638"/>
                </a:lnTo>
                <a:lnTo>
                  <a:pt x="3516" y="4638"/>
                </a:lnTo>
                <a:lnTo>
                  <a:pt x="3528" y="4636"/>
                </a:lnTo>
                <a:lnTo>
                  <a:pt x="3530" y="4636"/>
                </a:lnTo>
                <a:lnTo>
                  <a:pt x="3532" y="4634"/>
                </a:lnTo>
                <a:lnTo>
                  <a:pt x="3532" y="4632"/>
                </a:lnTo>
                <a:lnTo>
                  <a:pt x="3534" y="4628"/>
                </a:lnTo>
                <a:lnTo>
                  <a:pt x="3538" y="4628"/>
                </a:lnTo>
                <a:lnTo>
                  <a:pt x="3544" y="4626"/>
                </a:lnTo>
                <a:lnTo>
                  <a:pt x="3548" y="4624"/>
                </a:lnTo>
                <a:lnTo>
                  <a:pt x="3548" y="4622"/>
                </a:lnTo>
                <a:lnTo>
                  <a:pt x="3548" y="4620"/>
                </a:lnTo>
                <a:lnTo>
                  <a:pt x="3542" y="4612"/>
                </a:lnTo>
                <a:lnTo>
                  <a:pt x="3536" y="4604"/>
                </a:lnTo>
                <a:lnTo>
                  <a:pt x="3534" y="4600"/>
                </a:lnTo>
                <a:lnTo>
                  <a:pt x="3534" y="4598"/>
                </a:lnTo>
                <a:lnTo>
                  <a:pt x="3532" y="4598"/>
                </a:lnTo>
                <a:lnTo>
                  <a:pt x="3530" y="4598"/>
                </a:lnTo>
                <a:lnTo>
                  <a:pt x="3528" y="4596"/>
                </a:lnTo>
                <a:lnTo>
                  <a:pt x="3526" y="4592"/>
                </a:lnTo>
                <a:lnTo>
                  <a:pt x="3528" y="4586"/>
                </a:lnTo>
                <a:lnTo>
                  <a:pt x="3530" y="4586"/>
                </a:lnTo>
                <a:lnTo>
                  <a:pt x="3534" y="4584"/>
                </a:lnTo>
                <a:lnTo>
                  <a:pt x="3538" y="4584"/>
                </a:lnTo>
                <a:lnTo>
                  <a:pt x="3544" y="4582"/>
                </a:lnTo>
                <a:lnTo>
                  <a:pt x="3550" y="4576"/>
                </a:lnTo>
                <a:lnTo>
                  <a:pt x="3558" y="4566"/>
                </a:lnTo>
                <a:lnTo>
                  <a:pt x="3558" y="4564"/>
                </a:lnTo>
                <a:lnTo>
                  <a:pt x="3558" y="4562"/>
                </a:lnTo>
                <a:lnTo>
                  <a:pt x="3558" y="4558"/>
                </a:lnTo>
                <a:lnTo>
                  <a:pt x="3562" y="4556"/>
                </a:lnTo>
                <a:lnTo>
                  <a:pt x="3568" y="4554"/>
                </a:lnTo>
                <a:lnTo>
                  <a:pt x="3568" y="4552"/>
                </a:lnTo>
                <a:lnTo>
                  <a:pt x="3572" y="4550"/>
                </a:lnTo>
                <a:lnTo>
                  <a:pt x="3578" y="4548"/>
                </a:lnTo>
                <a:lnTo>
                  <a:pt x="3588" y="4552"/>
                </a:lnTo>
                <a:lnTo>
                  <a:pt x="3598" y="4558"/>
                </a:lnTo>
                <a:lnTo>
                  <a:pt x="3606" y="4566"/>
                </a:lnTo>
                <a:lnTo>
                  <a:pt x="3608" y="4568"/>
                </a:lnTo>
                <a:lnTo>
                  <a:pt x="3608" y="4570"/>
                </a:lnTo>
                <a:lnTo>
                  <a:pt x="3608" y="4574"/>
                </a:lnTo>
                <a:lnTo>
                  <a:pt x="3608" y="4578"/>
                </a:lnTo>
                <a:lnTo>
                  <a:pt x="3610" y="4580"/>
                </a:lnTo>
                <a:lnTo>
                  <a:pt x="3612" y="4580"/>
                </a:lnTo>
                <a:lnTo>
                  <a:pt x="3616" y="4576"/>
                </a:lnTo>
                <a:lnTo>
                  <a:pt x="3616" y="4578"/>
                </a:lnTo>
                <a:lnTo>
                  <a:pt x="3618" y="4578"/>
                </a:lnTo>
                <a:lnTo>
                  <a:pt x="3620" y="4578"/>
                </a:lnTo>
                <a:lnTo>
                  <a:pt x="3622" y="4576"/>
                </a:lnTo>
                <a:lnTo>
                  <a:pt x="3620" y="4578"/>
                </a:lnTo>
                <a:lnTo>
                  <a:pt x="3618" y="4586"/>
                </a:lnTo>
                <a:lnTo>
                  <a:pt x="3614" y="4596"/>
                </a:lnTo>
                <a:lnTo>
                  <a:pt x="3614" y="4600"/>
                </a:lnTo>
                <a:lnTo>
                  <a:pt x="3614" y="4604"/>
                </a:lnTo>
                <a:lnTo>
                  <a:pt x="3622" y="4620"/>
                </a:lnTo>
                <a:lnTo>
                  <a:pt x="3628" y="4628"/>
                </a:lnTo>
                <a:lnTo>
                  <a:pt x="3634" y="4636"/>
                </a:lnTo>
                <a:lnTo>
                  <a:pt x="3636" y="4640"/>
                </a:lnTo>
                <a:lnTo>
                  <a:pt x="3638" y="4642"/>
                </a:lnTo>
                <a:lnTo>
                  <a:pt x="3640" y="4644"/>
                </a:lnTo>
                <a:lnTo>
                  <a:pt x="3642" y="4648"/>
                </a:lnTo>
                <a:lnTo>
                  <a:pt x="3642" y="4658"/>
                </a:lnTo>
                <a:lnTo>
                  <a:pt x="3644" y="4660"/>
                </a:lnTo>
                <a:lnTo>
                  <a:pt x="3648" y="4664"/>
                </a:lnTo>
                <a:lnTo>
                  <a:pt x="3652" y="4666"/>
                </a:lnTo>
                <a:lnTo>
                  <a:pt x="3654" y="4670"/>
                </a:lnTo>
                <a:lnTo>
                  <a:pt x="3654" y="4674"/>
                </a:lnTo>
                <a:lnTo>
                  <a:pt x="3652" y="4678"/>
                </a:lnTo>
                <a:lnTo>
                  <a:pt x="3650" y="4688"/>
                </a:lnTo>
                <a:lnTo>
                  <a:pt x="3650" y="4692"/>
                </a:lnTo>
                <a:lnTo>
                  <a:pt x="3652" y="4698"/>
                </a:lnTo>
                <a:lnTo>
                  <a:pt x="3658" y="4704"/>
                </a:lnTo>
                <a:lnTo>
                  <a:pt x="3658" y="4708"/>
                </a:lnTo>
                <a:lnTo>
                  <a:pt x="3656" y="4710"/>
                </a:lnTo>
                <a:lnTo>
                  <a:pt x="3654" y="4714"/>
                </a:lnTo>
                <a:lnTo>
                  <a:pt x="3650" y="4716"/>
                </a:lnTo>
                <a:lnTo>
                  <a:pt x="3648" y="4722"/>
                </a:lnTo>
                <a:lnTo>
                  <a:pt x="3646" y="4730"/>
                </a:lnTo>
                <a:lnTo>
                  <a:pt x="3648" y="4744"/>
                </a:lnTo>
                <a:lnTo>
                  <a:pt x="3650" y="4758"/>
                </a:lnTo>
                <a:lnTo>
                  <a:pt x="3650" y="4770"/>
                </a:lnTo>
                <a:lnTo>
                  <a:pt x="3648" y="4790"/>
                </a:lnTo>
                <a:lnTo>
                  <a:pt x="3648" y="4802"/>
                </a:lnTo>
                <a:lnTo>
                  <a:pt x="3650" y="4806"/>
                </a:lnTo>
                <a:lnTo>
                  <a:pt x="3652" y="4808"/>
                </a:lnTo>
                <a:lnTo>
                  <a:pt x="3654" y="4812"/>
                </a:lnTo>
                <a:lnTo>
                  <a:pt x="3656" y="4818"/>
                </a:lnTo>
                <a:lnTo>
                  <a:pt x="3654" y="4826"/>
                </a:lnTo>
                <a:lnTo>
                  <a:pt x="3650" y="4836"/>
                </a:lnTo>
                <a:lnTo>
                  <a:pt x="3646" y="4846"/>
                </a:lnTo>
                <a:lnTo>
                  <a:pt x="3640" y="4856"/>
                </a:lnTo>
                <a:lnTo>
                  <a:pt x="3634" y="4862"/>
                </a:lnTo>
                <a:lnTo>
                  <a:pt x="3628" y="4864"/>
                </a:lnTo>
                <a:lnTo>
                  <a:pt x="3616" y="4866"/>
                </a:lnTo>
                <a:lnTo>
                  <a:pt x="3606" y="4870"/>
                </a:lnTo>
                <a:lnTo>
                  <a:pt x="3602" y="4872"/>
                </a:lnTo>
                <a:lnTo>
                  <a:pt x="3600" y="4876"/>
                </a:lnTo>
                <a:lnTo>
                  <a:pt x="3600" y="4882"/>
                </a:lnTo>
                <a:lnTo>
                  <a:pt x="3600" y="4888"/>
                </a:lnTo>
                <a:lnTo>
                  <a:pt x="3602" y="4892"/>
                </a:lnTo>
                <a:lnTo>
                  <a:pt x="3600" y="4896"/>
                </a:lnTo>
                <a:lnTo>
                  <a:pt x="3592" y="4898"/>
                </a:lnTo>
                <a:lnTo>
                  <a:pt x="3590" y="4900"/>
                </a:lnTo>
                <a:lnTo>
                  <a:pt x="3588" y="4904"/>
                </a:lnTo>
                <a:lnTo>
                  <a:pt x="3590" y="4910"/>
                </a:lnTo>
                <a:lnTo>
                  <a:pt x="3594" y="4918"/>
                </a:lnTo>
                <a:lnTo>
                  <a:pt x="3594" y="4922"/>
                </a:lnTo>
                <a:lnTo>
                  <a:pt x="3594" y="4926"/>
                </a:lnTo>
                <a:lnTo>
                  <a:pt x="3588" y="4932"/>
                </a:lnTo>
                <a:lnTo>
                  <a:pt x="3580" y="4934"/>
                </a:lnTo>
                <a:lnTo>
                  <a:pt x="3570" y="4938"/>
                </a:lnTo>
                <a:lnTo>
                  <a:pt x="3560" y="4942"/>
                </a:lnTo>
                <a:lnTo>
                  <a:pt x="3552" y="4946"/>
                </a:lnTo>
                <a:lnTo>
                  <a:pt x="3546" y="4952"/>
                </a:lnTo>
                <a:lnTo>
                  <a:pt x="3546" y="4956"/>
                </a:lnTo>
                <a:lnTo>
                  <a:pt x="3546" y="4962"/>
                </a:lnTo>
                <a:lnTo>
                  <a:pt x="3546" y="4974"/>
                </a:lnTo>
                <a:lnTo>
                  <a:pt x="3546" y="4984"/>
                </a:lnTo>
                <a:lnTo>
                  <a:pt x="3542" y="4990"/>
                </a:lnTo>
                <a:lnTo>
                  <a:pt x="3540" y="4994"/>
                </a:lnTo>
                <a:lnTo>
                  <a:pt x="3532" y="5002"/>
                </a:lnTo>
                <a:lnTo>
                  <a:pt x="3530" y="5008"/>
                </a:lnTo>
                <a:lnTo>
                  <a:pt x="3530" y="5016"/>
                </a:lnTo>
                <a:lnTo>
                  <a:pt x="3530" y="5024"/>
                </a:lnTo>
                <a:lnTo>
                  <a:pt x="3528" y="5030"/>
                </a:lnTo>
                <a:lnTo>
                  <a:pt x="3524" y="5032"/>
                </a:lnTo>
                <a:lnTo>
                  <a:pt x="3520" y="5032"/>
                </a:lnTo>
                <a:lnTo>
                  <a:pt x="3516" y="5034"/>
                </a:lnTo>
                <a:lnTo>
                  <a:pt x="3512" y="5038"/>
                </a:lnTo>
                <a:lnTo>
                  <a:pt x="3510" y="5044"/>
                </a:lnTo>
                <a:lnTo>
                  <a:pt x="3512" y="5054"/>
                </a:lnTo>
                <a:lnTo>
                  <a:pt x="3516" y="5070"/>
                </a:lnTo>
                <a:lnTo>
                  <a:pt x="3516" y="5082"/>
                </a:lnTo>
                <a:lnTo>
                  <a:pt x="3516" y="5090"/>
                </a:lnTo>
                <a:lnTo>
                  <a:pt x="3514" y="5094"/>
                </a:lnTo>
                <a:lnTo>
                  <a:pt x="3514" y="5098"/>
                </a:lnTo>
                <a:lnTo>
                  <a:pt x="3514" y="5100"/>
                </a:lnTo>
                <a:lnTo>
                  <a:pt x="3524" y="5112"/>
                </a:lnTo>
                <a:lnTo>
                  <a:pt x="3532" y="5118"/>
                </a:lnTo>
                <a:lnTo>
                  <a:pt x="3538" y="5120"/>
                </a:lnTo>
                <a:lnTo>
                  <a:pt x="3542" y="5118"/>
                </a:lnTo>
                <a:lnTo>
                  <a:pt x="3546" y="5116"/>
                </a:lnTo>
                <a:lnTo>
                  <a:pt x="3550" y="5110"/>
                </a:lnTo>
                <a:lnTo>
                  <a:pt x="3552" y="5110"/>
                </a:lnTo>
                <a:lnTo>
                  <a:pt x="3552" y="5114"/>
                </a:lnTo>
                <a:lnTo>
                  <a:pt x="3552" y="5128"/>
                </a:lnTo>
                <a:lnTo>
                  <a:pt x="3550" y="5140"/>
                </a:lnTo>
                <a:lnTo>
                  <a:pt x="3548" y="5144"/>
                </a:lnTo>
                <a:lnTo>
                  <a:pt x="3544" y="5148"/>
                </a:lnTo>
                <a:lnTo>
                  <a:pt x="3540" y="5152"/>
                </a:lnTo>
                <a:lnTo>
                  <a:pt x="3534" y="5154"/>
                </a:lnTo>
                <a:lnTo>
                  <a:pt x="3520" y="5170"/>
                </a:lnTo>
                <a:lnTo>
                  <a:pt x="3508" y="5184"/>
                </a:lnTo>
                <a:lnTo>
                  <a:pt x="3502" y="5196"/>
                </a:lnTo>
                <a:lnTo>
                  <a:pt x="3498" y="5208"/>
                </a:lnTo>
                <a:lnTo>
                  <a:pt x="3496" y="5218"/>
                </a:lnTo>
                <a:lnTo>
                  <a:pt x="3496" y="5228"/>
                </a:lnTo>
                <a:lnTo>
                  <a:pt x="3498" y="5244"/>
                </a:lnTo>
                <a:lnTo>
                  <a:pt x="3502" y="5250"/>
                </a:lnTo>
                <a:lnTo>
                  <a:pt x="3504" y="5254"/>
                </a:lnTo>
                <a:lnTo>
                  <a:pt x="3512" y="5260"/>
                </a:lnTo>
                <a:lnTo>
                  <a:pt x="3514" y="5262"/>
                </a:lnTo>
                <a:lnTo>
                  <a:pt x="3516" y="5264"/>
                </a:lnTo>
                <a:lnTo>
                  <a:pt x="3514" y="5268"/>
                </a:lnTo>
                <a:lnTo>
                  <a:pt x="3508" y="5272"/>
                </a:lnTo>
                <a:lnTo>
                  <a:pt x="3504" y="5276"/>
                </a:lnTo>
                <a:lnTo>
                  <a:pt x="3502" y="5280"/>
                </a:lnTo>
                <a:lnTo>
                  <a:pt x="3502" y="5282"/>
                </a:lnTo>
                <a:lnTo>
                  <a:pt x="3504" y="5286"/>
                </a:lnTo>
                <a:lnTo>
                  <a:pt x="3510" y="5292"/>
                </a:lnTo>
                <a:lnTo>
                  <a:pt x="3518" y="5298"/>
                </a:lnTo>
                <a:lnTo>
                  <a:pt x="3540" y="5310"/>
                </a:lnTo>
                <a:lnTo>
                  <a:pt x="3550" y="5318"/>
                </a:lnTo>
                <a:lnTo>
                  <a:pt x="3552" y="5322"/>
                </a:lnTo>
                <a:lnTo>
                  <a:pt x="3554" y="5328"/>
                </a:lnTo>
                <a:lnTo>
                  <a:pt x="3558" y="5342"/>
                </a:lnTo>
                <a:lnTo>
                  <a:pt x="3564" y="5354"/>
                </a:lnTo>
                <a:lnTo>
                  <a:pt x="3570" y="5364"/>
                </a:lnTo>
                <a:lnTo>
                  <a:pt x="3576" y="5372"/>
                </a:lnTo>
                <a:lnTo>
                  <a:pt x="3588" y="5388"/>
                </a:lnTo>
                <a:lnTo>
                  <a:pt x="3592" y="5398"/>
                </a:lnTo>
                <a:lnTo>
                  <a:pt x="3596" y="5410"/>
                </a:lnTo>
                <a:lnTo>
                  <a:pt x="3600" y="5424"/>
                </a:lnTo>
                <a:lnTo>
                  <a:pt x="3606" y="5438"/>
                </a:lnTo>
                <a:lnTo>
                  <a:pt x="3618" y="5468"/>
                </a:lnTo>
                <a:lnTo>
                  <a:pt x="3632" y="5498"/>
                </a:lnTo>
                <a:lnTo>
                  <a:pt x="3638" y="5512"/>
                </a:lnTo>
                <a:lnTo>
                  <a:pt x="3642" y="5526"/>
                </a:lnTo>
                <a:lnTo>
                  <a:pt x="3644" y="5536"/>
                </a:lnTo>
                <a:lnTo>
                  <a:pt x="3648" y="5544"/>
                </a:lnTo>
                <a:lnTo>
                  <a:pt x="3654" y="5554"/>
                </a:lnTo>
                <a:lnTo>
                  <a:pt x="3660" y="5564"/>
                </a:lnTo>
                <a:lnTo>
                  <a:pt x="3660" y="5570"/>
                </a:lnTo>
                <a:lnTo>
                  <a:pt x="3662" y="5576"/>
                </a:lnTo>
                <a:lnTo>
                  <a:pt x="3664" y="5584"/>
                </a:lnTo>
                <a:lnTo>
                  <a:pt x="3668" y="5594"/>
                </a:lnTo>
                <a:lnTo>
                  <a:pt x="3682" y="5612"/>
                </a:lnTo>
                <a:lnTo>
                  <a:pt x="3688" y="5622"/>
                </a:lnTo>
                <a:lnTo>
                  <a:pt x="3694" y="5632"/>
                </a:lnTo>
                <a:lnTo>
                  <a:pt x="3698" y="5644"/>
                </a:lnTo>
                <a:lnTo>
                  <a:pt x="3698" y="5656"/>
                </a:lnTo>
                <a:lnTo>
                  <a:pt x="3698" y="5670"/>
                </a:lnTo>
                <a:lnTo>
                  <a:pt x="3700" y="5680"/>
                </a:lnTo>
                <a:lnTo>
                  <a:pt x="3704" y="5690"/>
                </a:lnTo>
                <a:lnTo>
                  <a:pt x="3712" y="5700"/>
                </a:lnTo>
                <a:lnTo>
                  <a:pt x="3724" y="5714"/>
                </a:lnTo>
                <a:lnTo>
                  <a:pt x="3730" y="5720"/>
                </a:lnTo>
                <a:lnTo>
                  <a:pt x="3734" y="5728"/>
                </a:lnTo>
                <a:lnTo>
                  <a:pt x="3742" y="5738"/>
                </a:lnTo>
                <a:lnTo>
                  <a:pt x="3752" y="5750"/>
                </a:lnTo>
                <a:lnTo>
                  <a:pt x="3776" y="5766"/>
                </a:lnTo>
                <a:lnTo>
                  <a:pt x="3814" y="5790"/>
                </a:lnTo>
                <a:lnTo>
                  <a:pt x="3854" y="5812"/>
                </a:lnTo>
                <a:lnTo>
                  <a:pt x="3878" y="5826"/>
                </a:lnTo>
                <a:lnTo>
                  <a:pt x="3884" y="5832"/>
                </a:lnTo>
                <a:lnTo>
                  <a:pt x="3888" y="5836"/>
                </a:lnTo>
                <a:lnTo>
                  <a:pt x="3892" y="5844"/>
                </a:lnTo>
                <a:lnTo>
                  <a:pt x="3894" y="5850"/>
                </a:lnTo>
                <a:lnTo>
                  <a:pt x="3896" y="5858"/>
                </a:lnTo>
                <a:lnTo>
                  <a:pt x="3900" y="5864"/>
                </a:lnTo>
                <a:lnTo>
                  <a:pt x="3906" y="5868"/>
                </a:lnTo>
                <a:lnTo>
                  <a:pt x="3910" y="5872"/>
                </a:lnTo>
                <a:lnTo>
                  <a:pt x="3924" y="5880"/>
                </a:lnTo>
                <a:lnTo>
                  <a:pt x="3930" y="5884"/>
                </a:lnTo>
                <a:lnTo>
                  <a:pt x="3936" y="5890"/>
                </a:lnTo>
                <a:lnTo>
                  <a:pt x="3936" y="5916"/>
                </a:lnTo>
                <a:lnTo>
                  <a:pt x="3938" y="5926"/>
                </a:lnTo>
                <a:lnTo>
                  <a:pt x="3940" y="5928"/>
                </a:lnTo>
                <a:lnTo>
                  <a:pt x="3940" y="5936"/>
                </a:lnTo>
                <a:lnTo>
                  <a:pt x="3940" y="5948"/>
                </a:lnTo>
                <a:lnTo>
                  <a:pt x="3942" y="5956"/>
                </a:lnTo>
                <a:lnTo>
                  <a:pt x="3944" y="5968"/>
                </a:lnTo>
                <a:lnTo>
                  <a:pt x="3944" y="5976"/>
                </a:lnTo>
                <a:lnTo>
                  <a:pt x="3944" y="5988"/>
                </a:lnTo>
                <a:lnTo>
                  <a:pt x="3942" y="5998"/>
                </a:lnTo>
                <a:lnTo>
                  <a:pt x="3942" y="6006"/>
                </a:lnTo>
                <a:lnTo>
                  <a:pt x="3946" y="6022"/>
                </a:lnTo>
                <a:lnTo>
                  <a:pt x="3948" y="6042"/>
                </a:lnTo>
                <a:lnTo>
                  <a:pt x="3948" y="6054"/>
                </a:lnTo>
                <a:lnTo>
                  <a:pt x="3946" y="6070"/>
                </a:lnTo>
                <a:lnTo>
                  <a:pt x="3940" y="6098"/>
                </a:lnTo>
                <a:lnTo>
                  <a:pt x="3938" y="6116"/>
                </a:lnTo>
                <a:lnTo>
                  <a:pt x="3936" y="6126"/>
                </a:lnTo>
                <a:lnTo>
                  <a:pt x="3934" y="6126"/>
                </a:lnTo>
                <a:lnTo>
                  <a:pt x="3932" y="6126"/>
                </a:lnTo>
                <a:lnTo>
                  <a:pt x="3930" y="6128"/>
                </a:lnTo>
                <a:lnTo>
                  <a:pt x="3926" y="6136"/>
                </a:lnTo>
                <a:lnTo>
                  <a:pt x="3926" y="6142"/>
                </a:lnTo>
                <a:lnTo>
                  <a:pt x="3926" y="6146"/>
                </a:lnTo>
                <a:lnTo>
                  <a:pt x="3930" y="6148"/>
                </a:lnTo>
                <a:lnTo>
                  <a:pt x="3932" y="6150"/>
                </a:lnTo>
                <a:lnTo>
                  <a:pt x="3932" y="6156"/>
                </a:lnTo>
                <a:lnTo>
                  <a:pt x="3930" y="6170"/>
                </a:lnTo>
                <a:lnTo>
                  <a:pt x="3928" y="6192"/>
                </a:lnTo>
                <a:lnTo>
                  <a:pt x="3928" y="6204"/>
                </a:lnTo>
                <a:lnTo>
                  <a:pt x="3930" y="6216"/>
                </a:lnTo>
                <a:lnTo>
                  <a:pt x="3932" y="6228"/>
                </a:lnTo>
                <a:lnTo>
                  <a:pt x="3932" y="6238"/>
                </a:lnTo>
                <a:lnTo>
                  <a:pt x="3932" y="6246"/>
                </a:lnTo>
                <a:lnTo>
                  <a:pt x="3928" y="6254"/>
                </a:lnTo>
                <a:lnTo>
                  <a:pt x="3924" y="6266"/>
                </a:lnTo>
                <a:lnTo>
                  <a:pt x="3924" y="6270"/>
                </a:lnTo>
                <a:lnTo>
                  <a:pt x="3926" y="6276"/>
                </a:lnTo>
                <a:lnTo>
                  <a:pt x="3928" y="6284"/>
                </a:lnTo>
                <a:lnTo>
                  <a:pt x="3926" y="6292"/>
                </a:lnTo>
                <a:lnTo>
                  <a:pt x="3922" y="6310"/>
                </a:lnTo>
                <a:lnTo>
                  <a:pt x="3914" y="6330"/>
                </a:lnTo>
                <a:lnTo>
                  <a:pt x="3912" y="6340"/>
                </a:lnTo>
                <a:lnTo>
                  <a:pt x="3912" y="6348"/>
                </a:lnTo>
                <a:lnTo>
                  <a:pt x="3914" y="6358"/>
                </a:lnTo>
                <a:lnTo>
                  <a:pt x="3910" y="6362"/>
                </a:lnTo>
                <a:lnTo>
                  <a:pt x="3908" y="6368"/>
                </a:lnTo>
                <a:lnTo>
                  <a:pt x="3904" y="6388"/>
                </a:lnTo>
                <a:lnTo>
                  <a:pt x="3904" y="6400"/>
                </a:lnTo>
                <a:lnTo>
                  <a:pt x="3900" y="6408"/>
                </a:lnTo>
                <a:lnTo>
                  <a:pt x="3898" y="6414"/>
                </a:lnTo>
                <a:lnTo>
                  <a:pt x="3894" y="6418"/>
                </a:lnTo>
                <a:lnTo>
                  <a:pt x="3890" y="6422"/>
                </a:lnTo>
                <a:lnTo>
                  <a:pt x="3888" y="6426"/>
                </a:lnTo>
                <a:lnTo>
                  <a:pt x="3888" y="6432"/>
                </a:lnTo>
                <a:lnTo>
                  <a:pt x="3890" y="6438"/>
                </a:lnTo>
                <a:lnTo>
                  <a:pt x="3896" y="6454"/>
                </a:lnTo>
                <a:lnTo>
                  <a:pt x="3900" y="6470"/>
                </a:lnTo>
                <a:lnTo>
                  <a:pt x="3898" y="6482"/>
                </a:lnTo>
                <a:lnTo>
                  <a:pt x="3896" y="6486"/>
                </a:lnTo>
                <a:lnTo>
                  <a:pt x="3894" y="6492"/>
                </a:lnTo>
                <a:lnTo>
                  <a:pt x="3888" y="6498"/>
                </a:lnTo>
                <a:lnTo>
                  <a:pt x="3882" y="6508"/>
                </a:lnTo>
                <a:lnTo>
                  <a:pt x="3882" y="6514"/>
                </a:lnTo>
                <a:lnTo>
                  <a:pt x="3880" y="6522"/>
                </a:lnTo>
                <a:lnTo>
                  <a:pt x="3884" y="6546"/>
                </a:lnTo>
                <a:lnTo>
                  <a:pt x="3888" y="6568"/>
                </a:lnTo>
                <a:lnTo>
                  <a:pt x="3888" y="6584"/>
                </a:lnTo>
                <a:lnTo>
                  <a:pt x="3890" y="6596"/>
                </a:lnTo>
                <a:lnTo>
                  <a:pt x="3894" y="6608"/>
                </a:lnTo>
                <a:lnTo>
                  <a:pt x="3896" y="6614"/>
                </a:lnTo>
                <a:lnTo>
                  <a:pt x="3894" y="6620"/>
                </a:lnTo>
                <a:lnTo>
                  <a:pt x="3890" y="6632"/>
                </a:lnTo>
                <a:lnTo>
                  <a:pt x="3884" y="6646"/>
                </a:lnTo>
                <a:lnTo>
                  <a:pt x="3882" y="6654"/>
                </a:lnTo>
                <a:lnTo>
                  <a:pt x="3882" y="6662"/>
                </a:lnTo>
                <a:lnTo>
                  <a:pt x="3884" y="6670"/>
                </a:lnTo>
                <a:lnTo>
                  <a:pt x="3884" y="6676"/>
                </a:lnTo>
                <a:lnTo>
                  <a:pt x="3882" y="6678"/>
                </a:lnTo>
                <a:lnTo>
                  <a:pt x="3880" y="6680"/>
                </a:lnTo>
                <a:lnTo>
                  <a:pt x="3878" y="6684"/>
                </a:lnTo>
                <a:lnTo>
                  <a:pt x="3874" y="6690"/>
                </a:lnTo>
                <a:lnTo>
                  <a:pt x="3872" y="6698"/>
                </a:lnTo>
                <a:lnTo>
                  <a:pt x="3870" y="6710"/>
                </a:lnTo>
                <a:lnTo>
                  <a:pt x="3868" y="6726"/>
                </a:lnTo>
                <a:lnTo>
                  <a:pt x="3866" y="6738"/>
                </a:lnTo>
                <a:lnTo>
                  <a:pt x="3858" y="6758"/>
                </a:lnTo>
                <a:lnTo>
                  <a:pt x="3850" y="6774"/>
                </a:lnTo>
                <a:lnTo>
                  <a:pt x="3846" y="6786"/>
                </a:lnTo>
                <a:lnTo>
                  <a:pt x="3844" y="6794"/>
                </a:lnTo>
                <a:lnTo>
                  <a:pt x="3840" y="6798"/>
                </a:lnTo>
                <a:lnTo>
                  <a:pt x="3838" y="6802"/>
                </a:lnTo>
                <a:lnTo>
                  <a:pt x="3834" y="6818"/>
                </a:lnTo>
                <a:lnTo>
                  <a:pt x="3834" y="6830"/>
                </a:lnTo>
                <a:lnTo>
                  <a:pt x="3832" y="6836"/>
                </a:lnTo>
                <a:lnTo>
                  <a:pt x="3830" y="6838"/>
                </a:lnTo>
                <a:lnTo>
                  <a:pt x="3828" y="6836"/>
                </a:lnTo>
                <a:lnTo>
                  <a:pt x="3826" y="6836"/>
                </a:lnTo>
                <a:lnTo>
                  <a:pt x="3826" y="6834"/>
                </a:lnTo>
                <a:lnTo>
                  <a:pt x="3824" y="6846"/>
                </a:lnTo>
                <a:lnTo>
                  <a:pt x="3822" y="6858"/>
                </a:lnTo>
                <a:lnTo>
                  <a:pt x="3820" y="6864"/>
                </a:lnTo>
                <a:lnTo>
                  <a:pt x="3818" y="6866"/>
                </a:lnTo>
                <a:lnTo>
                  <a:pt x="3814" y="6866"/>
                </a:lnTo>
                <a:lnTo>
                  <a:pt x="3806" y="6864"/>
                </a:lnTo>
                <a:lnTo>
                  <a:pt x="3804" y="6864"/>
                </a:lnTo>
                <a:lnTo>
                  <a:pt x="3804" y="6870"/>
                </a:lnTo>
                <a:lnTo>
                  <a:pt x="3802" y="6882"/>
                </a:lnTo>
                <a:lnTo>
                  <a:pt x="3804" y="6890"/>
                </a:lnTo>
                <a:lnTo>
                  <a:pt x="3806" y="6898"/>
                </a:lnTo>
                <a:lnTo>
                  <a:pt x="3810" y="6906"/>
                </a:lnTo>
                <a:lnTo>
                  <a:pt x="3810" y="6914"/>
                </a:lnTo>
                <a:lnTo>
                  <a:pt x="3810" y="6924"/>
                </a:lnTo>
                <a:lnTo>
                  <a:pt x="3808" y="6936"/>
                </a:lnTo>
                <a:lnTo>
                  <a:pt x="3810" y="6944"/>
                </a:lnTo>
                <a:lnTo>
                  <a:pt x="3814" y="6954"/>
                </a:lnTo>
                <a:lnTo>
                  <a:pt x="3818" y="6960"/>
                </a:lnTo>
                <a:lnTo>
                  <a:pt x="3820" y="6968"/>
                </a:lnTo>
                <a:lnTo>
                  <a:pt x="3820" y="6976"/>
                </a:lnTo>
                <a:lnTo>
                  <a:pt x="3818" y="6990"/>
                </a:lnTo>
                <a:lnTo>
                  <a:pt x="3816" y="7002"/>
                </a:lnTo>
                <a:lnTo>
                  <a:pt x="3812" y="7008"/>
                </a:lnTo>
                <a:lnTo>
                  <a:pt x="3810" y="7010"/>
                </a:lnTo>
                <a:lnTo>
                  <a:pt x="3808" y="7010"/>
                </a:lnTo>
                <a:lnTo>
                  <a:pt x="3804" y="7010"/>
                </a:lnTo>
                <a:lnTo>
                  <a:pt x="3802" y="7012"/>
                </a:lnTo>
                <a:lnTo>
                  <a:pt x="3800" y="7016"/>
                </a:lnTo>
                <a:lnTo>
                  <a:pt x="3800" y="7026"/>
                </a:lnTo>
                <a:lnTo>
                  <a:pt x="3798" y="7042"/>
                </a:lnTo>
                <a:lnTo>
                  <a:pt x="3796" y="7054"/>
                </a:lnTo>
                <a:lnTo>
                  <a:pt x="3790" y="7068"/>
                </a:lnTo>
                <a:lnTo>
                  <a:pt x="3790" y="7074"/>
                </a:lnTo>
                <a:lnTo>
                  <a:pt x="3790" y="7080"/>
                </a:lnTo>
                <a:lnTo>
                  <a:pt x="3790" y="7086"/>
                </a:lnTo>
                <a:lnTo>
                  <a:pt x="3794" y="7096"/>
                </a:lnTo>
                <a:lnTo>
                  <a:pt x="3798" y="7104"/>
                </a:lnTo>
                <a:lnTo>
                  <a:pt x="3804" y="7112"/>
                </a:lnTo>
                <a:lnTo>
                  <a:pt x="3808" y="7116"/>
                </a:lnTo>
                <a:lnTo>
                  <a:pt x="3814" y="7118"/>
                </a:lnTo>
                <a:lnTo>
                  <a:pt x="3818" y="7116"/>
                </a:lnTo>
                <a:lnTo>
                  <a:pt x="3820" y="7116"/>
                </a:lnTo>
                <a:lnTo>
                  <a:pt x="3824" y="7112"/>
                </a:lnTo>
                <a:lnTo>
                  <a:pt x="3826" y="7108"/>
                </a:lnTo>
                <a:lnTo>
                  <a:pt x="3830" y="7100"/>
                </a:lnTo>
                <a:lnTo>
                  <a:pt x="3832" y="7100"/>
                </a:lnTo>
                <a:lnTo>
                  <a:pt x="3834" y="7100"/>
                </a:lnTo>
                <a:lnTo>
                  <a:pt x="3838" y="7106"/>
                </a:lnTo>
                <a:lnTo>
                  <a:pt x="3842" y="7110"/>
                </a:lnTo>
                <a:lnTo>
                  <a:pt x="3846" y="7112"/>
                </a:lnTo>
                <a:lnTo>
                  <a:pt x="3848" y="7112"/>
                </a:lnTo>
                <a:lnTo>
                  <a:pt x="3846" y="7116"/>
                </a:lnTo>
                <a:lnTo>
                  <a:pt x="3840" y="7122"/>
                </a:lnTo>
                <a:lnTo>
                  <a:pt x="3836" y="7126"/>
                </a:lnTo>
                <a:lnTo>
                  <a:pt x="3836" y="7128"/>
                </a:lnTo>
                <a:lnTo>
                  <a:pt x="3842" y="7130"/>
                </a:lnTo>
                <a:lnTo>
                  <a:pt x="3846" y="7132"/>
                </a:lnTo>
                <a:lnTo>
                  <a:pt x="3850" y="7134"/>
                </a:lnTo>
                <a:lnTo>
                  <a:pt x="3852" y="7138"/>
                </a:lnTo>
                <a:lnTo>
                  <a:pt x="3854" y="7142"/>
                </a:lnTo>
                <a:lnTo>
                  <a:pt x="3852" y="7148"/>
                </a:lnTo>
                <a:lnTo>
                  <a:pt x="3850" y="7150"/>
                </a:lnTo>
                <a:lnTo>
                  <a:pt x="3848" y="7148"/>
                </a:lnTo>
                <a:lnTo>
                  <a:pt x="3844" y="7142"/>
                </a:lnTo>
                <a:lnTo>
                  <a:pt x="3840" y="7140"/>
                </a:lnTo>
                <a:lnTo>
                  <a:pt x="3838" y="7144"/>
                </a:lnTo>
                <a:lnTo>
                  <a:pt x="3838" y="7150"/>
                </a:lnTo>
                <a:lnTo>
                  <a:pt x="3840" y="7156"/>
                </a:lnTo>
                <a:lnTo>
                  <a:pt x="3838" y="7160"/>
                </a:lnTo>
                <a:lnTo>
                  <a:pt x="3836" y="7166"/>
                </a:lnTo>
                <a:lnTo>
                  <a:pt x="3838" y="7176"/>
                </a:lnTo>
                <a:lnTo>
                  <a:pt x="3840" y="7182"/>
                </a:lnTo>
                <a:lnTo>
                  <a:pt x="3838" y="7188"/>
                </a:lnTo>
                <a:lnTo>
                  <a:pt x="3832" y="7196"/>
                </a:lnTo>
                <a:lnTo>
                  <a:pt x="3826" y="7202"/>
                </a:lnTo>
                <a:lnTo>
                  <a:pt x="3826" y="7208"/>
                </a:lnTo>
                <a:lnTo>
                  <a:pt x="3826" y="7212"/>
                </a:lnTo>
                <a:lnTo>
                  <a:pt x="3830" y="7224"/>
                </a:lnTo>
                <a:lnTo>
                  <a:pt x="3830" y="7234"/>
                </a:lnTo>
                <a:lnTo>
                  <a:pt x="3826" y="7242"/>
                </a:lnTo>
                <a:lnTo>
                  <a:pt x="3822" y="7248"/>
                </a:lnTo>
                <a:lnTo>
                  <a:pt x="3820" y="7250"/>
                </a:lnTo>
                <a:lnTo>
                  <a:pt x="3822" y="7254"/>
                </a:lnTo>
                <a:lnTo>
                  <a:pt x="3826" y="7256"/>
                </a:lnTo>
                <a:lnTo>
                  <a:pt x="3832" y="7258"/>
                </a:lnTo>
                <a:lnTo>
                  <a:pt x="3840" y="7262"/>
                </a:lnTo>
                <a:lnTo>
                  <a:pt x="3844" y="7266"/>
                </a:lnTo>
                <a:lnTo>
                  <a:pt x="3844" y="7272"/>
                </a:lnTo>
                <a:lnTo>
                  <a:pt x="3842" y="7280"/>
                </a:lnTo>
                <a:lnTo>
                  <a:pt x="3838" y="7286"/>
                </a:lnTo>
                <a:lnTo>
                  <a:pt x="3834" y="7292"/>
                </a:lnTo>
                <a:lnTo>
                  <a:pt x="3828" y="7296"/>
                </a:lnTo>
                <a:lnTo>
                  <a:pt x="3822" y="7298"/>
                </a:lnTo>
                <a:lnTo>
                  <a:pt x="3816" y="7302"/>
                </a:lnTo>
                <a:lnTo>
                  <a:pt x="3814" y="7304"/>
                </a:lnTo>
                <a:lnTo>
                  <a:pt x="3816" y="7308"/>
                </a:lnTo>
                <a:lnTo>
                  <a:pt x="3818" y="7312"/>
                </a:lnTo>
                <a:lnTo>
                  <a:pt x="3820" y="7314"/>
                </a:lnTo>
                <a:lnTo>
                  <a:pt x="3820" y="7316"/>
                </a:lnTo>
                <a:lnTo>
                  <a:pt x="3816" y="7318"/>
                </a:lnTo>
                <a:lnTo>
                  <a:pt x="3812" y="7322"/>
                </a:lnTo>
                <a:lnTo>
                  <a:pt x="3808" y="7330"/>
                </a:lnTo>
                <a:lnTo>
                  <a:pt x="3808" y="7336"/>
                </a:lnTo>
                <a:lnTo>
                  <a:pt x="3808" y="7340"/>
                </a:lnTo>
                <a:lnTo>
                  <a:pt x="3808" y="7346"/>
                </a:lnTo>
                <a:lnTo>
                  <a:pt x="3806" y="7356"/>
                </a:lnTo>
                <a:lnTo>
                  <a:pt x="3804" y="7370"/>
                </a:lnTo>
                <a:lnTo>
                  <a:pt x="3804" y="7378"/>
                </a:lnTo>
                <a:lnTo>
                  <a:pt x="3802" y="7384"/>
                </a:lnTo>
                <a:lnTo>
                  <a:pt x="3798" y="7388"/>
                </a:lnTo>
                <a:lnTo>
                  <a:pt x="3794" y="7390"/>
                </a:lnTo>
                <a:lnTo>
                  <a:pt x="3796" y="7382"/>
                </a:lnTo>
                <a:lnTo>
                  <a:pt x="3796" y="7372"/>
                </a:lnTo>
                <a:lnTo>
                  <a:pt x="3796" y="7366"/>
                </a:lnTo>
                <a:lnTo>
                  <a:pt x="3792" y="7364"/>
                </a:lnTo>
                <a:lnTo>
                  <a:pt x="3788" y="7360"/>
                </a:lnTo>
                <a:lnTo>
                  <a:pt x="3786" y="7358"/>
                </a:lnTo>
                <a:lnTo>
                  <a:pt x="3786" y="7352"/>
                </a:lnTo>
                <a:lnTo>
                  <a:pt x="3786" y="7346"/>
                </a:lnTo>
                <a:lnTo>
                  <a:pt x="3784" y="7346"/>
                </a:lnTo>
                <a:lnTo>
                  <a:pt x="3780" y="7346"/>
                </a:lnTo>
                <a:lnTo>
                  <a:pt x="3772" y="7346"/>
                </a:lnTo>
                <a:lnTo>
                  <a:pt x="3772" y="7348"/>
                </a:lnTo>
                <a:lnTo>
                  <a:pt x="3770" y="7350"/>
                </a:lnTo>
                <a:lnTo>
                  <a:pt x="3766" y="7348"/>
                </a:lnTo>
                <a:lnTo>
                  <a:pt x="3764" y="7346"/>
                </a:lnTo>
                <a:lnTo>
                  <a:pt x="3762" y="7346"/>
                </a:lnTo>
                <a:lnTo>
                  <a:pt x="3762" y="7352"/>
                </a:lnTo>
                <a:lnTo>
                  <a:pt x="3762" y="7354"/>
                </a:lnTo>
                <a:lnTo>
                  <a:pt x="3760" y="7360"/>
                </a:lnTo>
                <a:lnTo>
                  <a:pt x="3756" y="7364"/>
                </a:lnTo>
                <a:lnTo>
                  <a:pt x="3750" y="7368"/>
                </a:lnTo>
                <a:lnTo>
                  <a:pt x="3736" y="7378"/>
                </a:lnTo>
                <a:lnTo>
                  <a:pt x="3724" y="7386"/>
                </a:lnTo>
                <a:lnTo>
                  <a:pt x="3722" y="7390"/>
                </a:lnTo>
                <a:lnTo>
                  <a:pt x="3720" y="7394"/>
                </a:lnTo>
                <a:lnTo>
                  <a:pt x="3720" y="7398"/>
                </a:lnTo>
                <a:lnTo>
                  <a:pt x="3722" y="7402"/>
                </a:lnTo>
                <a:lnTo>
                  <a:pt x="3728" y="7408"/>
                </a:lnTo>
                <a:lnTo>
                  <a:pt x="3732" y="7410"/>
                </a:lnTo>
                <a:lnTo>
                  <a:pt x="3734" y="7406"/>
                </a:lnTo>
                <a:lnTo>
                  <a:pt x="3734" y="7400"/>
                </a:lnTo>
                <a:lnTo>
                  <a:pt x="3736" y="7392"/>
                </a:lnTo>
                <a:lnTo>
                  <a:pt x="3738" y="7390"/>
                </a:lnTo>
                <a:lnTo>
                  <a:pt x="3742" y="7388"/>
                </a:lnTo>
                <a:lnTo>
                  <a:pt x="3744" y="7390"/>
                </a:lnTo>
                <a:lnTo>
                  <a:pt x="3748" y="7396"/>
                </a:lnTo>
                <a:lnTo>
                  <a:pt x="3752" y="7402"/>
                </a:lnTo>
                <a:lnTo>
                  <a:pt x="3760" y="7406"/>
                </a:lnTo>
                <a:lnTo>
                  <a:pt x="3768" y="7408"/>
                </a:lnTo>
                <a:lnTo>
                  <a:pt x="3770" y="7406"/>
                </a:lnTo>
                <a:lnTo>
                  <a:pt x="3772" y="7404"/>
                </a:lnTo>
                <a:lnTo>
                  <a:pt x="3772" y="7400"/>
                </a:lnTo>
                <a:lnTo>
                  <a:pt x="3776" y="7400"/>
                </a:lnTo>
                <a:lnTo>
                  <a:pt x="3778" y="7402"/>
                </a:lnTo>
                <a:lnTo>
                  <a:pt x="3782" y="7406"/>
                </a:lnTo>
                <a:lnTo>
                  <a:pt x="3786" y="7410"/>
                </a:lnTo>
                <a:lnTo>
                  <a:pt x="3790" y="7412"/>
                </a:lnTo>
                <a:lnTo>
                  <a:pt x="3792" y="7414"/>
                </a:lnTo>
                <a:lnTo>
                  <a:pt x="3792" y="7420"/>
                </a:lnTo>
                <a:lnTo>
                  <a:pt x="3790" y="7422"/>
                </a:lnTo>
                <a:lnTo>
                  <a:pt x="3788" y="7424"/>
                </a:lnTo>
                <a:lnTo>
                  <a:pt x="3784" y="7426"/>
                </a:lnTo>
                <a:lnTo>
                  <a:pt x="3778" y="7426"/>
                </a:lnTo>
                <a:lnTo>
                  <a:pt x="3774" y="7428"/>
                </a:lnTo>
                <a:lnTo>
                  <a:pt x="3772" y="7432"/>
                </a:lnTo>
                <a:lnTo>
                  <a:pt x="3770" y="7436"/>
                </a:lnTo>
                <a:lnTo>
                  <a:pt x="3772" y="7440"/>
                </a:lnTo>
                <a:lnTo>
                  <a:pt x="3776" y="7444"/>
                </a:lnTo>
                <a:lnTo>
                  <a:pt x="3780" y="7446"/>
                </a:lnTo>
                <a:lnTo>
                  <a:pt x="3778" y="7446"/>
                </a:lnTo>
                <a:lnTo>
                  <a:pt x="3770" y="7446"/>
                </a:lnTo>
                <a:lnTo>
                  <a:pt x="3766" y="7446"/>
                </a:lnTo>
                <a:lnTo>
                  <a:pt x="3764" y="7450"/>
                </a:lnTo>
                <a:lnTo>
                  <a:pt x="3762" y="7454"/>
                </a:lnTo>
                <a:lnTo>
                  <a:pt x="3764" y="7458"/>
                </a:lnTo>
                <a:lnTo>
                  <a:pt x="3770" y="7458"/>
                </a:lnTo>
                <a:lnTo>
                  <a:pt x="3778" y="7458"/>
                </a:lnTo>
                <a:lnTo>
                  <a:pt x="3786" y="7458"/>
                </a:lnTo>
                <a:lnTo>
                  <a:pt x="3794" y="7460"/>
                </a:lnTo>
                <a:lnTo>
                  <a:pt x="3796" y="7460"/>
                </a:lnTo>
                <a:lnTo>
                  <a:pt x="3798" y="7460"/>
                </a:lnTo>
                <a:lnTo>
                  <a:pt x="3800" y="7458"/>
                </a:lnTo>
                <a:lnTo>
                  <a:pt x="3800" y="7456"/>
                </a:lnTo>
                <a:lnTo>
                  <a:pt x="3802" y="7456"/>
                </a:lnTo>
                <a:lnTo>
                  <a:pt x="3806" y="7458"/>
                </a:lnTo>
                <a:lnTo>
                  <a:pt x="3808" y="7464"/>
                </a:lnTo>
                <a:lnTo>
                  <a:pt x="3808" y="7466"/>
                </a:lnTo>
                <a:lnTo>
                  <a:pt x="3806" y="7466"/>
                </a:lnTo>
                <a:lnTo>
                  <a:pt x="3806" y="7468"/>
                </a:lnTo>
                <a:lnTo>
                  <a:pt x="3806" y="7472"/>
                </a:lnTo>
                <a:lnTo>
                  <a:pt x="3810" y="7478"/>
                </a:lnTo>
                <a:lnTo>
                  <a:pt x="3814" y="7484"/>
                </a:lnTo>
                <a:lnTo>
                  <a:pt x="3810" y="7484"/>
                </a:lnTo>
                <a:lnTo>
                  <a:pt x="3796" y="7474"/>
                </a:lnTo>
                <a:lnTo>
                  <a:pt x="3790" y="7472"/>
                </a:lnTo>
                <a:lnTo>
                  <a:pt x="3784" y="7470"/>
                </a:lnTo>
                <a:lnTo>
                  <a:pt x="3768" y="7470"/>
                </a:lnTo>
                <a:lnTo>
                  <a:pt x="3764" y="7472"/>
                </a:lnTo>
                <a:lnTo>
                  <a:pt x="3762" y="7472"/>
                </a:lnTo>
                <a:lnTo>
                  <a:pt x="3764" y="7474"/>
                </a:lnTo>
                <a:lnTo>
                  <a:pt x="3766" y="7476"/>
                </a:lnTo>
                <a:lnTo>
                  <a:pt x="3768" y="7476"/>
                </a:lnTo>
                <a:lnTo>
                  <a:pt x="3770" y="7476"/>
                </a:lnTo>
                <a:lnTo>
                  <a:pt x="3772" y="7478"/>
                </a:lnTo>
                <a:lnTo>
                  <a:pt x="3774" y="7484"/>
                </a:lnTo>
                <a:lnTo>
                  <a:pt x="3778" y="7488"/>
                </a:lnTo>
                <a:lnTo>
                  <a:pt x="3788" y="7494"/>
                </a:lnTo>
                <a:lnTo>
                  <a:pt x="3792" y="7496"/>
                </a:lnTo>
                <a:lnTo>
                  <a:pt x="3790" y="7500"/>
                </a:lnTo>
                <a:lnTo>
                  <a:pt x="3790" y="7502"/>
                </a:lnTo>
                <a:lnTo>
                  <a:pt x="3790" y="7504"/>
                </a:lnTo>
                <a:lnTo>
                  <a:pt x="3784" y="7500"/>
                </a:lnTo>
                <a:lnTo>
                  <a:pt x="3780" y="7500"/>
                </a:lnTo>
                <a:lnTo>
                  <a:pt x="3778" y="7500"/>
                </a:lnTo>
                <a:lnTo>
                  <a:pt x="3776" y="7504"/>
                </a:lnTo>
                <a:lnTo>
                  <a:pt x="3772" y="7516"/>
                </a:lnTo>
                <a:lnTo>
                  <a:pt x="3772" y="7522"/>
                </a:lnTo>
                <a:lnTo>
                  <a:pt x="3772" y="7530"/>
                </a:lnTo>
                <a:lnTo>
                  <a:pt x="3774" y="7550"/>
                </a:lnTo>
                <a:lnTo>
                  <a:pt x="3776" y="7558"/>
                </a:lnTo>
                <a:lnTo>
                  <a:pt x="3778" y="7560"/>
                </a:lnTo>
                <a:lnTo>
                  <a:pt x="3780" y="7560"/>
                </a:lnTo>
                <a:lnTo>
                  <a:pt x="3780" y="7558"/>
                </a:lnTo>
                <a:lnTo>
                  <a:pt x="3782" y="7552"/>
                </a:lnTo>
                <a:lnTo>
                  <a:pt x="3784" y="7544"/>
                </a:lnTo>
                <a:lnTo>
                  <a:pt x="3786" y="7538"/>
                </a:lnTo>
                <a:lnTo>
                  <a:pt x="3788" y="7538"/>
                </a:lnTo>
                <a:lnTo>
                  <a:pt x="3788" y="7542"/>
                </a:lnTo>
                <a:lnTo>
                  <a:pt x="3788" y="7546"/>
                </a:lnTo>
                <a:lnTo>
                  <a:pt x="3788" y="7554"/>
                </a:lnTo>
                <a:lnTo>
                  <a:pt x="3790" y="7560"/>
                </a:lnTo>
                <a:lnTo>
                  <a:pt x="3794" y="7566"/>
                </a:lnTo>
                <a:lnTo>
                  <a:pt x="3796" y="7568"/>
                </a:lnTo>
                <a:lnTo>
                  <a:pt x="3792" y="7566"/>
                </a:lnTo>
                <a:lnTo>
                  <a:pt x="3786" y="7564"/>
                </a:lnTo>
                <a:lnTo>
                  <a:pt x="3780" y="7564"/>
                </a:lnTo>
                <a:lnTo>
                  <a:pt x="3778" y="7568"/>
                </a:lnTo>
                <a:lnTo>
                  <a:pt x="3778" y="7570"/>
                </a:lnTo>
                <a:lnTo>
                  <a:pt x="3780" y="7574"/>
                </a:lnTo>
                <a:lnTo>
                  <a:pt x="3778" y="7576"/>
                </a:lnTo>
                <a:lnTo>
                  <a:pt x="3776" y="7578"/>
                </a:lnTo>
                <a:lnTo>
                  <a:pt x="3780" y="7582"/>
                </a:lnTo>
                <a:lnTo>
                  <a:pt x="3792" y="7588"/>
                </a:lnTo>
                <a:lnTo>
                  <a:pt x="3792" y="7590"/>
                </a:lnTo>
                <a:lnTo>
                  <a:pt x="3784" y="7588"/>
                </a:lnTo>
                <a:lnTo>
                  <a:pt x="3776" y="7588"/>
                </a:lnTo>
                <a:lnTo>
                  <a:pt x="3776" y="7590"/>
                </a:lnTo>
                <a:lnTo>
                  <a:pt x="3784" y="7600"/>
                </a:lnTo>
                <a:lnTo>
                  <a:pt x="3788" y="7604"/>
                </a:lnTo>
                <a:lnTo>
                  <a:pt x="3786" y="7604"/>
                </a:lnTo>
                <a:lnTo>
                  <a:pt x="3776" y="7598"/>
                </a:lnTo>
                <a:lnTo>
                  <a:pt x="3770" y="7596"/>
                </a:lnTo>
                <a:lnTo>
                  <a:pt x="3764" y="7596"/>
                </a:lnTo>
                <a:lnTo>
                  <a:pt x="3760" y="7598"/>
                </a:lnTo>
                <a:lnTo>
                  <a:pt x="3762" y="7600"/>
                </a:lnTo>
                <a:lnTo>
                  <a:pt x="3764" y="7600"/>
                </a:lnTo>
                <a:lnTo>
                  <a:pt x="3768" y="7604"/>
                </a:lnTo>
                <a:lnTo>
                  <a:pt x="3770" y="7606"/>
                </a:lnTo>
                <a:lnTo>
                  <a:pt x="3772" y="7610"/>
                </a:lnTo>
                <a:lnTo>
                  <a:pt x="3774" y="7612"/>
                </a:lnTo>
                <a:lnTo>
                  <a:pt x="3778" y="7614"/>
                </a:lnTo>
                <a:lnTo>
                  <a:pt x="3782" y="7612"/>
                </a:lnTo>
                <a:lnTo>
                  <a:pt x="3784" y="7614"/>
                </a:lnTo>
                <a:lnTo>
                  <a:pt x="3788" y="7616"/>
                </a:lnTo>
                <a:lnTo>
                  <a:pt x="3792" y="7620"/>
                </a:lnTo>
                <a:lnTo>
                  <a:pt x="3792" y="7622"/>
                </a:lnTo>
                <a:lnTo>
                  <a:pt x="3784" y="7620"/>
                </a:lnTo>
                <a:lnTo>
                  <a:pt x="3782" y="7620"/>
                </a:lnTo>
                <a:lnTo>
                  <a:pt x="3780" y="7620"/>
                </a:lnTo>
                <a:lnTo>
                  <a:pt x="3784" y="7630"/>
                </a:lnTo>
                <a:lnTo>
                  <a:pt x="3788" y="7636"/>
                </a:lnTo>
                <a:lnTo>
                  <a:pt x="3790" y="7636"/>
                </a:lnTo>
                <a:lnTo>
                  <a:pt x="3794" y="7632"/>
                </a:lnTo>
                <a:lnTo>
                  <a:pt x="3798" y="7624"/>
                </a:lnTo>
                <a:lnTo>
                  <a:pt x="3802" y="7616"/>
                </a:lnTo>
                <a:lnTo>
                  <a:pt x="3804" y="7614"/>
                </a:lnTo>
                <a:lnTo>
                  <a:pt x="3804" y="7618"/>
                </a:lnTo>
                <a:lnTo>
                  <a:pt x="3802" y="7626"/>
                </a:lnTo>
                <a:lnTo>
                  <a:pt x="3796" y="7638"/>
                </a:lnTo>
                <a:lnTo>
                  <a:pt x="3794" y="7640"/>
                </a:lnTo>
                <a:lnTo>
                  <a:pt x="3790" y="7642"/>
                </a:lnTo>
                <a:lnTo>
                  <a:pt x="3784" y="7640"/>
                </a:lnTo>
                <a:lnTo>
                  <a:pt x="3782" y="7642"/>
                </a:lnTo>
                <a:lnTo>
                  <a:pt x="3782" y="7644"/>
                </a:lnTo>
                <a:lnTo>
                  <a:pt x="3782" y="7648"/>
                </a:lnTo>
                <a:lnTo>
                  <a:pt x="3782" y="7650"/>
                </a:lnTo>
                <a:lnTo>
                  <a:pt x="3784" y="7650"/>
                </a:lnTo>
                <a:lnTo>
                  <a:pt x="3784" y="7654"/>
                </a:lnTo>
                <a:lnTo>
                  <a:pt x="3784" y="7660"/>
                </a:lnTo>
                <a:lnTo>
                  <a:pt x="3786" y="7660"/>
                </a:lnTo>
                <a:lnTo>
                  <a:pt x="3788" y="7658"/>
                </a:lnTo>
                <a:lnTo>
                  <a:pt x="3792" y="7660"/>
                </a:lnTo>
                <a:lnTo>
                  <a:pt x="3798" y="7662"/>
                </a:lnTo>
                <a:lnTo>
                  <a:pt x="3802" y="7670"/>
                </a:lnTo>
                <a:lnTo>
                  <a:pt x="3804" y="7676"/>
                </a:lnTo>
                <a:lnTo>
                  <a:pt x="3804" y="7680"/>
                </a:lnTo>
                <a:lnTo>
                  <a:pt x="3802" y="7680"/>
                </a:lnTo>
                <a:lnTo>
                  <a:pt x="3798" y="7676"/>
                </a:lnTo>
                <a:lnTo>
                  <a:pt x="3796" y="7672"/>
                </a:lnTo>
                <a:lnTo>
                  <a:pt x="3792" y="7672"/>
                </a:lnTo>
                <a:lnTo>
                  <a:pt x="3792" y="7674"/>
                </a:lnTo>
                <a:lnTo>
                  <a:pt x="3794" y="7678"/>
                </a:lnTo>
                <a:lnTo>
                  <a:pt x="3794" y="7682"/>
                </a:lnTo>
                <a:lnTo>
                  <a:pt x="3794" y="7684"/>
                </a:lnTo>
                <a:lnTo>
                  <a:pt x="3794" y="7688"/>
                </a:lnTo>
                <a:lnTo>
                  <a:pt x="3796" y="7692"/>
                </a:lnTo>
                <a:lnTo>
                  <a:pt x="3798" y="7694"/>
                </a:lnTo>
                <a:lnTo>
                  <a:pt x="3800" y="7694"/>
                </a:lnTo>
                <a:lnTo>
                  <a:pt x="3802" y="7692"/>
                </a:lnTo>
                <a:lnTo>
                  <a:pt x="3806" y="7690"/>
                </a:lnTo>
                <a:lnTo>
                  <a:pt x="3808" y="7692"/>
                </a:lnTo>
                <a:lnTo>
                  <a:pt x="3810" y="7700"/>
                </a:lnTo>
                <a:lnTo>
                  <a:pt x="3806" y="7700"/>
                </a:lnTo>
                <a:lnTo>
                  <a:pt x="3804" y="7700"/>
                </a:lnTo>
                <a:lnTo>
                  <a:pt x="3806" y="7702"/>
                </a:lnTo>
                <a:lnTo>
                  <a:pt x="3810" y="7708"/>
                </a:lnTo>
                <a:lnTo>
                  <a:pt x="3816" y="7714"/>
                </a:lnTo>
                <a:lnTo>
                  <a:pt x="3818" y="7716"/>
                </a:lnTo>
                <a:lnTo>
                  <a:pt x="3820" y="7714"/>
                </a:lnTo>
                <a:lnTo>
                  <a:pt x="3824" y="7706"/>
                </a:lnTo>
                <a:lnTo>
                  <a:pt x="3826" y="7702"/>
                </a:lnTo>
                <a:lnTo>
                  <a:pt x="3828" y="7700"/>
                </a:lnTo>
                <a:lnTo>
                  <a:pt x="3830" y="7698"/>
                </a:lnTo>
                <a:lnTo>
                  <a:pt x="3830" y="7696"/>
                </a:lnTo>
                <a:lnTo>
                  <a:pt x="3832" y="7694"/>
                </a:lnTo>
                <a:lnTo>
                  <a:pt x="3838" y="7696"/>
                </a:lnTo>
                <a:lnTo>
                  <a:pt x="3846" y="7696"/>
                </a:lnTo>
                <a:lnTo>
                  <a:pt x="3846" y="7694"/>
                </a:lnTo>
                <a:lnTo>
                  <a:pt x="3846" y="7692"/>
                </a:lnTo>
                <a:lnTo>
                  <a:pt x="3840" y="7688"/>
                </a:lnTo>
                <a:lnTo>
                  <a:pt x="3832" y="7682"/>
                </a:lnTo>
                <a:lnTo>
                  <a:pt x="3822" y="7678"/>
                </a:lnTo>
                <a:lnTo>
                  <a:pt x="3820" y="7674"/>
                </a:lnTo>
                <a:lnTo>
                  <a:pt x="3824" y="7674"/>
                </a:lnTo>
                <a:lnTo>
                  <a:pt x="3832" y="7678"/>
                </a:lnTo>
                <a:lnTo>
                  <a:pt x="3846" y="7686"/>
                </a:lnTo>
                <a:lnTo>
                  <a:pt x="3850" y="7690"/>
                </a:lnTo>
                <a:lnTo>
                  <a:pt x="3852" y="7698"/>
                </a:lnTo>
                <a:lnTo>
                  <a:pt x="3850" y="7704"/>
                </a:lnTo>
                <a:lnTo>
                  <a:pt x="3846" y="7706"/>
                </a:lnTo>
                <a:lnTo>
                  <a:pt x="3844" y="7708"/>
                </a:lnTo>
                <a:lnTo>
                  <a:pt x="3846" y="7714"/>
                </a:lnTo>
                <a:lnTo>
                  <a:pt x="3848" y="7716"/>
                </a:lnTo>
                <a:lnTo>
                  <a:pt x="3844" y="7710"/>
                </a:lnTo>
                <a:lnTo>
                  <a:pt x="3838" y="7706"/>
                </a:lnTo>
                <a:lnTo>
                  <a:pt x="3836" y="7706"/>
                </a:lnTo>
                <a:lnTo>
                  <a:pt x="3834" y="7708"/>
                </a:lnTo>
                <a:lnTo>
                  <a:pt x="3832" y="7720"/>
                </a:lnTo>
                <a:lnTo>
                  <a:pt x="3830" y="7720"/>
                </a:lnTo>
                <a:lnTo>
                  <a:pt x="3830" y="7718"/>
                </a:lnTo>
                <a:lnTo>
                  <a:pt x="3828" y="7714"/>
                </a:lnTo>
                <a:lnTo>
                  <a:pt x="3826" y="7714"/>
                </a:lnTo>
                <a:lnTo>
                  <a:pt x="3820" y="7722"/>
                </a:lnTo>
                <a:lnTo>
                  <a:pt x="3818" y="7724"/>
                </a:lnTo>
                <a:lnTo>
                  <a:pt x="3816" y="7722"/>
                </a:lnTo>
                <a:lnTo>
                  <a:pt x="3812" y="7718"/>
                </a:lnTo>
                <a:lnTo>
                  <a:pt x="3808" y="7714"/>
                </a:lnTo>
                <a:lnTo>
                  <a:pt x="3802" y="7710"/>
                </a:lnTo>
                <a:lnTo>
                  <a:pt x="3800" y="7710"/>
                </a:lnTo>
                <a:lnTo>
                  <a:pt x="3800" y="7712"/>
                </a:lnTo>
                <a:lnTo>
                  <a:pt x="3802" y="7714"/>
                </a:lnTo>
                <a:lnTo>
                  <a:pt x="3806" y="7720"/>
                </a:lnTo>
                <a:lnTo>
                  <a:pt x="3806" y="7724"/>
                </a:lnTo>
                <a:lnTo>
                  <a:pt x="3806" y="7726"/>
                </a:lnTo>
                <a:lnTo>
                  <a:pt x="3802" y="7732"/>
                </a:lnTo>
                <a:lnTo>
                  <a:pt x="3806" y="7734"/>
                </a:lnTo>
                <a:lnTo>
                  <a:pt x="3808" y="7736"/>
                </a:lnTo>
                <a:lnTo>
                  <a:pt x="3806" y="7740"/>
                </a:lnTo>
                <a:lnTo>
                  <a:pt x="3802" y="7746"/>
                </a:lnTo>
                <a:lnTo>
                  <a:pt x="3802" y="7752"/>
                </a:lnTo>
                <a:lnTo>
                  <a:pt x="3804" y="7752"/>
                </a:lnTo>
                <a:lnTo>
                  <a:pt x="3810" y="7748"/>
                </a:lnTo>
                <a:lnTo>
                  <a:pt x="3812" y="7746"/>
                </a:lnTo>
                <a:lnTo>
                  <a:pt x="3816" y="7746"/>
                </a:lnTo>
                <a:lnTo>
                  <a:pt x="3820" y="7750"/>
                </a:lnTo>
                <a:lnTo>
                  <a:pt x="3820" y="7754"/>
                </a:lnTo>
                <a:lnTo>
                  <a:pt x="3818" y="7756"/>
                </a:lnTo>
                <a:lnTo>
                  <a:pt x="3816" y="7756"/>
                </a:lnTo>
                <a:lnTo>
                  <a:pt x="3812" y="7756"/>
                </a:lnTo>
                <a:lnTo>
                  <a:pt x="3812" y="7758"/>
                </a:lnTo>
                <a:lnTo>
                  <a:pt x="3818" y="7762"/>
                </a:lnTo>
                <a:lnTo>
                  <a:pt x="3818" y="7764"/>
                </a:lnTo>
                <a:lnTo>
                  <a:pt x="3818" y="7766"/>
                </a:lnTo>
                <a:lnTo>
                  <a:pt x="3814" y="7768"/>
                </a:lnTo>
                <a:lnTo>
                  <a:pt x="3812" y="7770"/>
                </a:lnTo>
                <a:lnTo>
                  <a:pt x="3816" y="7772"/>
                </a:lnTo>
                <a:lnTo>
                  <a:pt x="3824" y="7774"/>
                </a:lnTo>
                <a:lnTo>
                  <a:pt x="3828" y="7772"/>
                </a:lnTo>
                <a:lnTo>
                  <a:pt x="3830" y="7768"/>
                </a:lnTo>
                <a:lnTo>
                  <a:pt x="3830" y="7762"/>
                </a:lnTo>
                <a:lnTo>
                  <a:pt x="3830" y="7760"/>
                </a:lnTo>
                <a:lnTo>
                  <a:pt x="3832" y="7756"/>
                </a:lnTo>
                <a:lnTo>
                  <a:pt x="3836" y="7754"/>
                </a:lnTo>
                <a:lnTo>
                  <a:pt x="3840" y="7752"/>
                </a:lnTo>
                <a:lnTo>
                  <a:pt x="3842" y="7750"/>
                </a:lnTo>
                <a:lnTo>
                  <a:pt x="3842" y="7748"/>
                </a:lnTo>
                <a:lnTo>
                  <a:pt x="3840" y="7744"/>
                </a:lnTo>
                <a:lnTo>
                  <a:pt x="3836" y="7742"/>
                </a:lnTo>
                <a:lnTo>
                  <a:pt x="3840" y="7740"/>
                </a:lnTo>
                <a:lnTo>
                  <a:pt x="3848" y="7742"/>
                </a:lnTo>
                <a:lnTo>
                  <a:pt x="3850" y="7744"/>
                </a:lnTo>
                <a:lnTo>
                  <a:pt x="3852" y="7746"/>
                </a:lnTo>
                <a:lnTo>
                  <a:pt x="3856" y="7744"/>
                </a:lnTo>
                <a:lnTo>
                  <a:pt x="3860" y="7740"/>
                </a:lnTo>
                <a:lnTo>
                  <a:pt x="3864" y="7740"/>
                </a:lnTo>
                <a:lnTo>
                  <a:pt x="3878" y="7740"/>
                </a:lnTo>
                <a:lnTo>
                  <a:pt x="3888" y="7742"/>
                </a:lnTo>
                <a:lnTo>
                  <a:pt x="3892" y="7744"/>
                </a:lnTo>
                <a:lnTo>
                  <a:pt x="3892" y="7746"/>
                </a:lnTo>
                <a:lnTo>
                  <a:pt x="3888" y="7750"/>
                </a:lnTo>
                <a:lnTo>
                  <a:pt x="3884" y="7750"/>
                </a:lnTo>
                <a:lnTo>
                  <a:pt x="3876" y="7750"/>
                </a:lnTo>
                <a:lnTo>
                  <a:pt x="3868" y="7748"/>
                </a:lnTo>
                <a:lnTo>
                  <a:pt x="3864" y="7748"/>
                </a:lnTo>
                <a:lnTo>
                  <a:pt x="3862" y="7748"/>
                </a:lnTo>
                <a:lnTo>
                  <a:pt x="3858" y="7754"/>
                </a:lnTo>
                <a:lnTo>
                  <a:pt x="3854" y="7760"/>
                </a:lnTo>
                <a:lnTo>
                  <a:pt x="3852" y="7760"/>
                </a:lnTo>
                <a:lnTo>
                  <a:pt x="3850" y="7758"/>
                </a:lnTo>
                <a:lnTo>
                  <a:pt x="3844" y="7756"/>
                </a:lnTo>
                <a:lnTo>
                  <a:pt x="3838" y="7756"/>
                </a:lnTo>
                <a:lnTo>
                  <a:pt x="3834" y="7762"/>
                </a:lnTo>
                <a:lnTo>
                  <a:pt x="3834" y="7766"/>
                </a:lnTo>
                <a:lnTo>
                  <a:pt x="3836" y="7772"/>
                </a:lnTo>
                <a:lnTo>
                  <a:pt x="3834" y="7774"/>
                </a:lnTo>
                <a:lnTo>
                  <a:pt x="3834" y="7776"/>
                </a:lnTo>
                <a:lnTo>
                  <a:pt x="3836" y="7778"/>
                </a:lnTo>
                <a:lnTo>
                  <a:pt x="3838" y="7782"/>
                </a:lnTo>
                <a:lnTo>
                  <a:pt x="3836" y="7782"/>
                </a:lnTo>
                <a:lnTo>
                  <a:pt x="3830" y="7780"/>
                </a:lnTo>
                <a:lnTo>
                  <a:pt x="3824" y="7780"/>
                </a:lnTo>
                <a:lnTo>
                  <a:pt x="3820" y="7780"/>
                </a:lnTo>
                <a:lnTo>
                  <a:pt x="3824" y="7784"/>
                </a:lnTo>
                <a:lnTo>
                  <a:pt x="3838" y="7794"/>
                </a:lnTo>
                <a:lnTo>
                  <a:pt x="3850" y="7802"/>
                </a:lnTo>
                <a:lnTo>
                  <a:pt x="3852" y="7800"/>
                </a:lnTo>
                <a:lnTo>
                  <a:pt x="3850" y="7796"/>
                </a:lnTo>
                <a:lnTo>
                  <a:pt x="3848" y="7790"/>
                </a:lnTo>
                <a:lnTo>
                  <a:pt x="3850" y="7786"/>
                </a:lnTo>
                <a:lnTo>
                  <a:pt x="3854" y="7782"/>
                </a:lnTo>
                <a:lnTo>
                  <a:pt x="3860" y="7780"/>
                </a:lnTo>
                <a:lnTo>
                  <a:pt x="3860" y="7778"/>
                </a:lnTo>
                <a:lnTo>
                  <a:pt x="3856" y="7774"/>
                </a:lnTo>
                <a:lnTo>
                  <a:pt x="3852" y="7772"/>
                </a:lnTo>
                <a:lnTo>
                  <a:pt x="3858" y="7772"/>
                </a:lnTo>
                <a:lnTo>
                  <a:pt x="3868" y="7774"/>
                </a:lnTo>
                <a:lnTo>
                  <a:pt x="3872" y="7774"/>
                </a:lnTo>
                <a:lnTo>
                  <a:pt x="3874" y="7770"/>
                </a:lnTo>
                <a:lnTo>
                  <a:pt x="3880" y="7766"/>
                </a:lnTo>
                <a:lnTo>
                  <a:pt x="3888" y="7762"/>
                </a:lnTo>
                <a:lnTo>
                  <a:pt x="3894" y="7758"/>
                </a:lnTo>
                <a:lnTo>
                  <a:pt x="3898" y="7756"/>
                </a:lnTo>
                <a:lnTo>
                  <a:pt x="3902" y="7756"/>
                </a:lnTo>
                <a:lnTo>
                  <a:pt x="3904" y="7758"/>
                </a:lnTo>
                <a:lnTo>
                  <a:pt x="3904" y="7762"/>
                </a:lnTo>
                <a:lnTo>
                  <a:pt x="3902" y="7768"/>
                </a:lnTo>
                <a:lnTo>
                  <a:pt x="3896" y="7774"/>
                </a:lnTo>
                <a:lnTo>
                  <a:pt x="3888" y="7780"/>
                </a:lnTo>
                <a:lnTo>
                  <a:pt x="3882" y="7782"/>
                </a:lnTo>
                <a:lnTo>
                  <a:pt x="3880" y="7786"/>
                </a:lnTo>
                <a:lnTo>
                  <a:pt x="3878" y="7788"/>
                </a:lnTo>
                <a:lnTo>
                  <a:pt x="3876" y="7786"/>
                </a:lnTo>
                <a:lnTo>
                  <a:pt x="3872" y="7784"/>
                </a:lnTo>
                <a:lnTo>
                  <a:pt x="3872" y="7786"/>
                </a:lnTo>
                <a:lnTo>
                  <a:pt x="3870" y="7788"/>
                </a:lnTo>
                <a:lnTo>
                  <a:pt x="3866" y="7786"/>
                </a:lnTo>
                <a:lnTo>
                  <a:pt x="3860" y="7786"/>
                </a:lnTo>
                <a:lnTo>
                  <a:pt x="3854" y="7788"/>
                </a:lnTo>
                <a:lnTo>
                  <a:pt x="3854" y="7792"/>
                </a:lnTo>
                <a:lnTo>
                  <a:pt x="3856" y="7796"/>
                </a:lnTo>
                <a:lnTo>
                  <a:pt x="3862" y="7804"/>
                </a:lnTo>
                <a:lnTo>
                  <a:pt x="3868" y="7810"/>
                </a:lnTo>
                <a:lnTo>
                  <a:pt x="3874" y="7814"/>
                </a:lnTo>
                <a:lnTo>
                  <a:pt x="3878" y="7814"/>
                </a:lnTo>
                <a:lnTo>
                  <a:pt x="3882" y="7818"/>
                </a:lnTo>
                <a:lnTo>
                  <a:pt x="3888" y="7820"/>
                </a:lnTo>
                <a:lnTo>
                  <a:pt x="3898" y="7822"/>
                </a:lnTo>
                <a:lnTo>
                  <a:pt x="3906" y="7820"/>
                </a:lnTo>
                <a:lnTo>
                  <a:pt x="3910" y="7818"/>
                </a:lnTo>
                <a:lnTo>
                  <a:pt x="3912" y="7810"/>
                </a:lnTo>
                <a:lnTo>
                  <a:pt x="3912" y="7796"/>
                </a:lnTo>
                <a:lnTo>
                  <a:pt x="3914" y="7782"/>
                </a:lnTo>
                <a:lnTo>
                  <a:pt x="3916" y="7776"/>
                </a:lnTo>
                <a:lnTo>
                  <a:pt x="3918" y="7772"/>
                </a:lnTo>
                <a:lnTo>
                  <a:pt x="3920" y="7762"/>
                </a:lnTo>
                <a:lnTo>
                  <a:pt x="3920" y="7756"/>
                </a:lnTo>
                <a:lnTo>
                  <a:pt x="3922" y="7752"/>
                </a:lnTo>
                <a:lnTo>
                  <a:pt x="3924" y="7750"/>
                </a:lnTo>
                <a:lnTo>
                  <a:pt x="3928" y="7748"/>
                </a:lnTo>
                <a:lnTo>
                  <a:pt x="3936" y="7746"/>
                </a:lnTo>
                <a:lnTo>
                  <a:pt x="3942" y="7746"/>
                </a:lnTo>
                <a:lnTo>
                  <a:pt x="3946" y="7742"/>
                </a:lnTo>
                <a:lnTo>
                  <a:pt x="3950" y="7738"/>
                </a:lnTo>
                <a:lnTo>
                  <a:pt x="3954" y="7738"/>
                </a:lnTo>
                <a:lnTo>
                  <a:pt x="3958" y="7738"/>
                </a:lnTo>
                <a:lnTo>
                  <a:pt x="3962" y="7738"/>
                </a:lnTo>
                <a:lnTo>
                  <a:pt x="3968" y="7734"/>
                </a:lnTo>
                <a:lnTo>
                  <a:pt x="3972" y="7726"/>
                </a:lnTo>
                <a:lnTo>
                  <a:pt x="3978" y="7724"/>
                </a:lnTo>
                <a:lnTo>
                  <a:pt x="3984" y="7724"/>
                </a:lnTo>
                <a:lnTo>
                  <a:pt x="3992" y="7724"/>
                </a:lnTo>
                <a:lnTo>
                  <a:pt x="4006" y="7728"/>
                </a:lnTo>
                <a:lnTo>
                  <a:pt x="4014" y="7732"/>
                </a:lnTo>
                <a:lnTo>
                  <a:pt x="4016" y="7730"/>
                </a:lnTo>
                <a:lnTo>
                  <a:pt x="4014" y="7724"/>
                </a:lnTo>
                <a:lnTo>
                  <a:pt x="4008" y="7712"/>
                </a:lnTo>
                <a:lnTo>
                  <a:pt x="3996" y="7692"/>
                </a:lnTo>
                <a:lnTo>
                  <a:pt x="3992" y="7680"/>
                </a:lnTo>
                <a:lnTo>
                  <a:pt x="3988" y="7666"/>
                </a:lnTo>
                <a:lnTo>
                  <a:pt x="3986" y="7648"/>
                </a:lnTo>
                <a:lnTo>
                  <a:pt x="3986" y="7640"/>
                </a:lnTo>
                <a:lnTo>
                  <a:pt x="3986" y="7630"/>
                </a:lnTo>
                <a:lnTo>
                  <a:pt x="3990" y="7620"/>
                </a:lnTo>
                <a:lnTo>
                  <a:pt x="3996" y="7612"/>
                </a:lnTo>
                <a:lnTo>
                  <a:pt x="4002" y="7606"/>
                </a:lnTo>
                <a:lnTo>
                  <a:pt x="4014" y="7600"/>
                </a:lnTo>
                <a:lnTo>
                  <a:pt x="4024" y="7596"/>
                </a:lnTo>
                <a:lnTo>
                  <a:pt x="4032" y="7592"/>
                </a:lnTo>
                <a:lnTo>
                  <a:pt x="4038" y="7586"/>
                </a:lnTo>
                <a:lnTo>
                  <a:pt x="4042" y="7580"/>
                </a:lnTo>
                <a:lnTo>
                  <a:pt x="4046" y="7564"/>
                </a:lnTo>
                <a:lnTo>
                  <a:pt x="4050" y="7540"/>
                </a:lnTo>
                <a:lnTo>
                  <a:pt x="4054" y="7528"/>
                </a:lnTo>
                <a:lnTo>
                  <a:pt x="4060" y="7518"/>
                </a:lnTo>
                <a:lnTo>
                  <a:pt x="4068" y="7510"/>
                </a:lnTo>
                <a:lnTo>
                  <a:pt x="4076" y="7504"/>
                </a:lnTo>
                <a:lnTo>
                  <a:pt x="4092" y="7496"/>
                </a:lnTo>
                <a:lnTo>
                  <a:pt x="4098" y="7492"/>
                </a:lnTo>
                <a:lnTo>
                  <a:pt x="4102" y="7488"/>
                </a:lnTo>
                <a:lnTo>
                  <a:pt x="4104" y="7484"/>
                </a:lnTo>
                <a:lnTo>
                  <a:pt x="4106" y="7480"/>
                </a:lnTo>
                <a:lnTo>
                  <a:pt x="4114" y="7474"/>
                </a:lnTo>
                <a:lnTo>
                  <a:pt x="4118" y="7470"/>
                </a:lnTo>
                <a:lnTo>
                  <a:pt x="4120" y="7466"/>
                </a:lnTo>
                <a:lnTo>
                  <a:pt x="4118" y="7462"/>
                </a:lnTo>
                <a:lnTo>
                  <a:pt x="4118" y="7458"/>
                </a:lnTo>
                <a:lnTo>
                  <a:pt x="4118" y="7454"/>
                </a:lnTo>
                <a:lnTo>
                  <a:pt x="4120" y="7450"/>
                </a:lnTo>
                <a:lnTo>
                  <a:pt x="4122" y="7442"/>
                </a:lnTo>
                <a:lnTo>
                  <a:pt x="4124" y="7436"/>
                </a:lnTo>
                <a:lnTo>
                  <a:pt x="4122" y="7428"/>
                </a:lnTo>
                <a:lnTo>
                  <a:pt x="4120" y="7422"/>
                </a:lnTo>
                <a:lnTo>
                  <a:pt x="4116" y="7420"/>
                </a:lnTo>
                <a:lnTo>
                  <a:pt x="4104" y="7418"/>
                </a:lnTo>
                <a:lnTo>
                  <a:pt x="4096" y="7418"/>
                </a:lnTo>
                <a:lnTo>
                  <a:pt x="4086" y="7414"/>
                </a:lnTo>
                <a:lnTo>
                  <a:pt x="4076" y="7408"/>
                </a:lnTo>
                <a:lnTo>
                  <a:pt x="4066" y="7398"/>
                </a:lnTo>
                <a:lnTo>
                  <a:pt x="4050" y="7378"/>
                </a:lnTo>
                <a:lnTo>
                  <a:pt x="4046" y="7372"/>
                </a:lnTo>
                <a:lnTo>
                  <a:pt x="4046" y="7366"/>
                </a:lnTo>
                <a:lnTo>
                  <a:pt x="4046" y="7360"/>
                </a:lnTo>
                <a:lnTo>
                  <a:pt x="4050" y="7352"/>
                </a:lnTo>
                <a:lnTo>
                  <a:pt x="4060" y="7332"/>
                </a:lnTo>
                <a:lnTo>
                  <a:pt x="4068" y="7320"/>
                </a:lnTo>
                <a:lnTo>
                  <a:pt x="4072" y="7314"/>
                </a:lnTo>
                <a:lnTo>
                  <a:pt x="4078" y="7310"/>
                </a:lnTo>
                <a:lnTo>
                  <a:pt x="4082" y="7310"/>
                </a:lnTo>
                <a:lnTo>
                  <a:pt x="4088" y="7310"/>
                </a:lnTo>
                <a:lnTo>
                  <a:pt x="4092" y="7308"/>
                </a:lnTo>
                <a:lnTo>
                  <a:pt x="4094" y="7306"/>
                </a:lnTo>
                <a:lnTo>
                  <a:pt x="4098" y="7302"/>
                </a:lnTo>
                <a:lnTo>
                  <a:pt x="4104" y="7300"/>
                </a:lnTo>
                <a:lnTo>
                  <a:pt x="4118" y="7300"/>
                </a:lnTo>
                <a:lnTo>
                  <a:pt x="4124" y="7298"/>
                </a:lnTo>
                <a:lnTo>
                  <a:pt x="4128" y="7298"/>
                </a:lnTo>
                <a:lnTo>
                  <a:pt x="4130" y="7296"/>
                </a:lnTo>
                <a:lnTo>
                  <a:pt x="4128" y="7290"/>
                </a:lnTo>
                <a:lnTo>
                  <a:pt x="4124" y="7286"/>
                </a:lnTo>
                <a:lnTo>
                  <a:pt x="4126" y="7282"/>
                </a:lnTo>
                <a:lnTo>
                  <a:pt x="4134" y="7274"/>
                </a:lnTo>
                <a:lnTo>
                  <a:pt x="4140" y="7268"/>
                </a:lnTo>
                <a:lnTo>
                  <a:pt x="4142" y="7262"/>
                </a:lnTo>
                <a:lnTo>
                  <a:pt x="4144" y="7252"/>
                </a:lnTo>
                <a:lnTo>
                  <a:pt x="4140" y="7240"/>
                </a:lnTo>
                <a:lnTo>
                  <a:pt x="4140" y="7234"/>
                </a:lnTo>
                <a:lnTo>
                  <a:pt x="4140" y="7228"/>
                </a:lnTo>
                <a:lnTo>
                  <a:pt x="4142" y="7220"/>
                </a:lnTo>
                <a:lnTo>
                  <a:pt x="4144" y="7212"/>
                </a:lnTo>
                <a:lnTo>
                  <a:pt x="4150" y="7206"/>
                </a:lnTo>
                <a:lnTo>
                  <a:pt x="4156" y="7200"/>
                </a:lnTo>
                <a:lnTo>
                  <a:pt x="4164" y="7194"/>
                </a:lnTo>
                <a:lnTo>
                  <a:pt x="4174" y="7188"/>
                </a:lnTo>
                <a:lnTo>
                  <a:pt x="4180" y="7186"/>
                </a:lnTo>
                <a:lnTo>
                  <a:pt x="4178" y="7184"/>
                </a:lnTo>
                <a:lnTo>
                  <a:pt x="4170" y="7182"/>
                </a:lnTo>
                <a:lnTo>
                  <a:pt x="4160" y="7178"/>
                </a:lnTo>
                <a:lnTo>
                  <a:pt x="4154" y="7172"/>
                </a:lnTo>
                <a:lnTo>
                  <a:pt x="4154" y="7168"/>
                </a:lnTo>
                <a:lnTo>
                  <a:pt x="4156" y="7166"/>
                </a:lnTo>
                <a:lnTo>
                  <a:pt x="4160" y="7164"/>
                </a:lnTo>
                <a:lnTo>
                  <a:pt x="4166" y="7162"/>
                </a:lnTo>
                <a:lnTo>
                  <a:pt x="4172" y="7164"/>
                </a:lnTo>
                <a:lnTo>
                  <a:pt x="4178" y="7166"/>
                </a:lnTo>
                <a:lnTo>
                  <a:pt x="4182" y="7170"/>
                </a:lnTo>
                <a:lnTo>
                  <a:pt x="4186" y="7176"/>
                </a:lnTo>
                <a:lnTo>
                  <a:pt x="4188" y="7180"/>
                </a:lnTo>
                <a:lnTo>
                  <a:pt x="4192" y="7180"/>
                </a:lnTo>
                <a:lnTo>
                  <a:pt x="4196" y="7182"/>
                </a:lnTo>
                <a:lnTo>
                  <a:pt x="4200" y="7180"/>
                </a:lnTo>
                <a:lnTo>
                  <a:pt x="4204" y="7176"/>
                </a:lnTo>
                <a:lnTo>
                  <a:pt x="4208" y="7170"/>
                </a:lnTo>
                <a:lnTo>
                  <a:pt x="4212" y="7162"/>
                </a:lnTo>
                <a:lnTo>
                  <a:pt x="4212" y="7154"/>
                </a:lnTo>
                <a:lnTo>
                  <a:pt x="4210" y="7144"/>
                </a:lnTo>
                <a:lnTo>
                  <a:pt x="4206" y="7136"/>
                </a:lnTo>
                <a:lnTo>
                  <a:pt x="4202" y="7134"/>
                </a:lnTo>
                <a:lnTo>
                  <a:pt x="4198" y="7134"/>
                </a:lnTo>
                <a:lnTo>
                  <a:pt x="4174" y="7142"/>
                </a:lnTo>
                <a:lnTo>
                  <a:pt x="4166" y="7142"/>
                </a:lnTo>
                <a:lnTo>
                  <a:pt x="4160" y="7142"/>
                </a:lnTo>
                <a:lnTo>
                  <a:pt x="4154" y="7140"/>
                </a:lnTo>
                <a:lnTo>
                  <a:pt x="4152" y="7134"/>
                </a:lnTo>
                <a:lnTo>
                  <a:pt x="4150" y="7128"/>
                </a:lnTo>
                <a:lnTo>
                  <a:pt x="4152" y="7118"/>
                </a:lnTo>
                <a:lnTo>
                  <a:pt x="4152" y="7108"/>
                </a:lnTo>
                <a:lnTo>
                  <a:pt x="4152" y="7100"/>
                </a:lnTo>
                <a:lnTo>
                  <a:pt x="4146" y="7084"/>
                </a:lnTo>
                <a:lnTo>
                  <a:pt x="4144" y="7078"/>
                </a:lnTo>
                <a:lnTo>
                  <a:pt x="4142" y="7072"/>
                </a:lnTo>
                <a:lnTo>
                  <a:pt x="4144" y="7068"/>
                </a:lnTo>
                <a:lnTo>
                  <a:pt x="4150" y="7064"/>
                </a:lnTo>
                <a:lnTo>
                  <a:pt x="4158" y="7064"/>
                </a:lnTo>
                <a:lnTo>
                  <a:pt x="4166" y="7064"/>
                </a:lnTo>
                <a:lnTo>
                  <a:pt x="4180" y="7072"/>
                </a:lnTo>
                <a:lnTo>
                  <a:pt x="4196" y="7080"/>
                </a:lnTo>
                <a:lnTo>
                  <a:pt x="4204" y="7082"/>
                </a:lnTo>
                <a:lnTo>
                  <a:pt x="4212" y="7082"/>
                </a:lnTo>
                <a:lnTo>
                  <a:pt x="4222" y="7084"/>
                </a:lnTo>
                <a:lnTo>
                  <a:pt x="4226" y="7084"/>
                </a:lnTo>
                <a:lnTo>
                  <a:pt x="4230" y="7082"/>
                </a:lnTo>
                <a:lnTo>
                  <a:pt x="4244" y="7076"/>
                </a:lnTo>
                <a:lnTo>
                  <a:pt x="4258" y="7068"/>
                </a:lnTo>
                <a:lnTo>
                  <a:pt x="4264" y="7064"/>
                </a:lnTo>
                <a:lnTo>
                  <a:pt x="4266" y="7060"/>
                </a:lnTo>
                <a:lnTo>
                  <a:pt x="4268" y="7056"/>
                </a:lnTo>
                <a:lnTo>
                  <a:pt x="4266" y="7052"/>
                </a:lnTo>
                <a:lnTo>
                  <a:pt x="4262" y="7046"/>
                </a:lnTo>
                <a:lnTo>
                  <a:pt x="4258" y="7044"/>
                </a:lnTo>
                <a:lnTo>
                  <a:pt x="4256" y="7040"/>
                </a:lnTo>
                <a:lnTo>
                  <a:pt x="4256" y="7034"/>
                </a:lnTo>
                <a:lnTo>
                  <a:pt x="4258" y="7024"/>
                </a:lnTo>
                <a:lnTo>
                  <a:pt x="4266" y="7016"/>
                </a:lnTo>
                <a:lnTo>
                  <a:pt x="4272" y="7006"/>
                </a:lnTo>
                <a:lnTo>
                  <a:pt x="4274" y="6996"/>
                </a:lnTo>
                <a:lnTo>
                  <a:pt x="4272" y="6986"/>
                </a:lnTo>
                <a:lnTo>
                  <a:pt x="4270" y="6982"/>
                </a:lnTo>
                <a:lnTo>
                  <a:pt x="4266" y="6978"/>
                </a:lnTo>
                <a:lnTo>
                  <a:pt x="4262" y="6976"/>
                </a:lnTo>
                <a:lnTo>
                  <a:pt x="4260" y="6972"/>
                </a:lnTo>
                <a:lnTo>
                  <a:pt x="4256" y="6962"/>
                </a:lnTo>
                <a:lnTo>
                  <a:pt x="4256" y="6958"/>
                </a:lnTo>
                <a:lnTo>
                  <a:pt x="4260" y="6956"/>
                </a:lnTo>
                <a:lnTo>
                  <a:pt x="4264" y="6956"/>
                </a:lnTo>
                <a:lnTo>
                  <a:pt x="4270" y="6958"/>
                </a:lnTo>
                <a:lnTo>
                  <a:pt x="4280" y="6964"/>
                </a:lnTo>
                <a:lnTo>
                  <a:pt x="4288" y="6966"/>
                </a:lnTo>
                <a:lnTo>
                  <a:pt x="4320" y="6962"/>
                </a:lnTo>
                <a:lnTo>
                  <a:pt x="4352" y="6958"/>
                </a:lnTo>
                <a:lnTo>
                  <a:pt x="4386" y="6950"/>
                </a:lnTo>
                <a:lnTo>
                  <a:pt x="4416" y="6940"/>
                </a:lnTo>
                <a:lnTo>
                  <a:pt x="4430" y="6934"/>
                </a:lnTo>
                <a:lnTo>
                  <a:pt x="4440" y="6928"/>
                </a:lnTo>
                <a:lnTo>
                  <a:pt x="4448" y="6922"/>
                </a:lnTo>
                <a:lnTo>
                  <a:pt x="4452" y="6916"/>
                </a:lnTo>
                <a:lnTo>
                  <a:pt x="4456" y="6912"/>
                </a:lnTo>
                <a:lnTo>
                  <a:pt x="4456" y="6908"/>
                </a:lnTo>
                <a:lnTo>
                  <a:pt x="4458" y="6898"/>
                </a:lnTo>
                <a:lnTo>
                  <a:pt x="4462" y="6894"/>
                </a:lnTo>
                <a:lnTo>
                  <a:pt x="4466" y="6888"/>
                </a:lnTo>
                <a:lnTo>
                  <a:pt x="4478" y="6876"/>
                </a:lnTo>
                <a:lnTo>
                  <a:pt x="4484" y="6862"/>
                </a:lnTo>
                <a:lnTo>
                  <a:pt x="4486" y="6846"/>
                </a:lnTo>
                <a:lnTo>
                  <a:pt x="4488" y="6828"/>
                </a:lnTo>
                <a:lnTo>
                  <a:pt x="4486" y="6820"/>
                </a:lnTo>
                <a:lnTo>
                  <a:pt x="4486" y="6816"/>
                </a:lnTo>
                <a:lnTo>
                  <a:pt x="4484" y="6816"/>
                </a:lnTo>
                <a:lnTo>
                  <a:pt x="4480" y="6816"/>
                </a:lnTo>
                <a:lnTo>
                  <a:pt x="4476" y="6816"/>
                </a:lnTo>
                <a:lnTo>
                  <a:pt x="4472" y="6814"/>
                </a:lnTo>
                <a:lnTo>
                  <a:pt x="4466" y="6810"/>
                </a:lnTo>
                <a:lnTo>
                  <a:pt x="4462" y="6802"/>
                </a:lnTo>
                <a:lnTo>
                  <a:pt x="4458" y="6794"/>
                </a:lnTo>
                <a:lnTo>
                  <a:pt x="4458" y="6788"/>
                </a:lnTo>
                <a:lnTo>
                  <a:pt x="4460" y="6784"/>
                </a:lnTo>
                <a:lnTo>
                  <a:pt x="4464" y="6780"/>
                </a:lnTo>
                <a:lnTo>
                  <a:pt x="4466" y="6776"/>
                </a:lnTo>
                <a:lnTo>
                  <a:pt x="4468" y="6770"/>
                </a:lnTo>
                <a:lnTo>
                  <a:pt x="4464" y="6762"/>
                </a:lnTo>
                <a:lnTo>
                  <a:pt x="4458" y="6750"/>
                </a:lnTo>
                <a:lnTo>
                  <a:pt x="4450" y="6744"/>
                </a:lnTo>
                <a:lnTo>
                  <a:pt x="4442" y="6738"/>
                </a:lnTo>
                <a:lnTo>
                  <a:pt x="4424" y="6728"/>
                </a:lnTo>
                <a:lnTo>
                  <a:pt x="4418" y="6722"/>
                </a:lnTo>
                <a:lnTo>
                  <a:pt x="4416" y="6716"/>
                </a:lnTo>
                <a:lnTo>
                  <a:pt x="4416" y="6712"/>
                </a:lnTo>
                <a:lnTo>
                  <a:pt x="4416" y="6708"/>
                </a:lnTo>
                <a:lnTo>
                  <a:pt x="4424" y="6700"/>
                </a:lnTo>
                <a:lnTo>
                  <a:pt x="4426" y="6702"/>
                </a:lnTo>
                <a:lnTo>
                  <a:pt x="4432" y="6710"/>
                </a:lnTo>
                <a:lnTo>
                  <a:pt x="4442" y="6716"/>
                </a:lnTo>
                <a:lnTo>
                  <a:pt x="4448" y="6718"/>
                </a:lnTo>
                <a:lnTo>
                  <a:pt x="4456" y="6718"/>
                </a:lnTo>
                <a:lnTo>
                  <a:pt x="4464" y="6718"/>
                </a:lnTo>
                <a:lnTo>
                  <a:pt x="4472" y="6722"/>
                </a:lnTo>
                <a:lnTo>
                  <a:pt x="4490" y="6732"/>
                </a:lnTo>
                <a:lnTo>
                  <a:pt x="4498" y="6736"/>
                </a:lnTo>
                <a:lnTo>
                  <a:pt x="4506" y="6740"/>
                </a:lnTo>
                <a:lnTo>
                  <a:pt x="4514" y="6740"/>
                </a:lnTo>
                <a:lnTo>
                  <a:pt x="4522" y="6738"/>
                </a:lnTo>
                <a:lnTo>
                  <a:pt x="4528" y="6736"/>
                </a:lnTo>
                <a:lnTo>
                  <a:pt x="4534" y="6736"/>
                </a:lnTo>
                <a:lnTo>
                  <a:pt x="4546" y="6740"/>
                </a:lnTo>
                <a:lnTo>
                  <a:pt x="4552" y="6742"/>
                </a:lnTo>
                <a:lnTo>
                  <a:pt x="4558" y="6742"/>
                </a:lnTo>
                <a:lnTo>
                  <a:pt x="4564" y="6740"/>
                </a:lnTo>
                <a:lnTo>
                  <a:pt x="4572" y="6738"/>
                </a:lnTo>
                <a:lnTo>
                  <a:pt x="4586" y="6728"/>
                </a:lnTo>
                <a:lnTo>
                  <a:pt x="4596" y="6718"/>
                </a:lnTo>
                <a:lnTo>
                  <a:pt x="4608" y="6704"/>
                </a:lnTo>
                <a:lnTo>
                  <a:pt x="4618" y="6682"/>
                </a:lnTo>
                <a:lnTo>
                  <a:pt x="4616" y="6676"/>
                </a:lnTo>
                <a:lnTo>
                  <a:pt x="4620" y="6670"/>
                </a:lnTo>
                <a:lnTo>
                  <a:pt x="4626" y="6666"/>
                </a:lnTo>
                <a:lnTo>
                  <a:pt x="4638" y="6660"/>
                </a:lnTo>
                <a:lnTo>
                  <a:pt x="4648" y="6652"/>
                </a:lnTo>
                <a:lnTo>
                  <a:pt x="4652" y="6648"/>
                </a:lnTo>
                <a:lnTo>
                  <a:pt x="4654" y="6640"/>
                </a:lnTo>
                <a:lnTo>
                  <a:pt x="4662" y="6616"/>
                </a:lnTo>
                <a:lnTo>
                  <a:pt x="4666" y="6608"/>
                </a:lnTo>
                <a:lnTo>
                  <a:pt x="4670" y="6600"/>
                </a:lnTo>
                <a:lnTo>
                  <a:pt x="4684" y="6586"/>
                </a:lnTo>
                <a:lnTo>
                  <a:pt x="4708" y="6568"/>
                </a:lnTo>
                <a:lnTo>
                  <a:pt x="4716" y="6558"/>
                </a:lnTo>
                <a:lnTo>
                  <a:pt x="4724" y="6548"/>
                </a:lnTo>
                <a:lnTo>
                  <a:pt x="4738" y="6522"/>
                </a:lnTo>
                <a:lnTo>
                  <a:pt x="4750" y="6494"/>
                </a:lnTo>
                <a:lnTo>
                  <a:pt x="4766" y="6458"/>
                </a:lnTo>
                <a:lnTo>
                  <a:pt x="4774" y="6442"/>
                </a:lnTo>
                <a:lnTo>
                  <a:pt x="4780" y="6432"/>
                </a:lnTo>
                <a:lnTo>
                  <a:pt x="4786" y="6426"/>
                </a:lnTo>
                <a:lnTo>
                  <a:pt x="4792" y="6420"/>
                </a:lnTo>
                <a:lnTo>
                  <a:pt x="4800" y="6412"/>
                </a:lnTo>
                <a:lnTo>
                  <a:pt x="4804" y="6406"/>
                </a:lnTo>
                <a:lnTo>
                  <a:pt x="4810" y="6396"/>
                </a:lnTo>
                <a:lnTo>
                  <a:pt x="4816" y="6382"/>
                </a:lnTo>
                <a:lnTo>
                  <a:pt x="4818" y="6368"/>
                </a:lnTo>
                <a:lnTo>
                  <a:pt x="4820" y="6354"/>
                </a:lnTo>
                <a:lnTo>
                  <a:pt x="4820" y="6340"/>
                </a:lnTo>
                <a:lnTo>
                  <a:pt x="4818" y="6310"/>
                </a:lnTo>
                <a:lnTo>
                  <a:pt x="4818" y="6294"/>
                </a:lnTo>
                <a:lnTo>
                  <a:pt x="4818" y="6278"/>
                </a:lnTo>
                <a:lnTo>
                  <a:pt x="4822" y="6260"/>
                </a:lnTo>
                <a:lnTo>
                  <a:pt x="4828" y="6246"/>
                </a:lnTo>
                <a:lnTo>
                  <a:pt x="4836" y="6232"/>
                </a:lnTo>
                <a:lnTo>
                  <a:pt x="4848" y="6220"/>
                </a:lnTo>
                <a:lnTo>
                  <a:pt x="4860" y="6208"/>
                </a:lnTo>
                <a:lnTo>
                  <a:pt x="4872" y="6198"/>
                </a:lnTo>
                <a:lnTo>
                  <a:pt x="4884" y="6190"/>
                </a:lnTo>
                <a:lnTo>
                  <a:pt x="4894" y="6186"/>
                </a:lnTo>
                <a:lnTo>
                  <a:pt x="4918" y="6174"/>
                </a:lnTo>
                <a:lnTo>
                  <a:pt x="4936" y="6164"/>
                </a:lnTo>
                <a:lnTo>
                  <a:pt x="4948" y="6156"/>
                </a:lnTo>
                <a:lnTo>
                  <a:pt x="4958" y="6146"/>
                </a:lnTo>
                <a:lnTo>
                  <a:pt x="4972" y="6132"/>
                </a:lnTo>
                <a:lnTo>
                  <a:pt x="4978" y="6128"/>
                </a:lnTo>
                <a:lnTo>
                  <a:pt x="4986" y="6124"/>
                </a:lnTo>
                <a:lnTo>
                  <a:pt x="4994" y="6122"/>
                </a:lnTo>
                <a:lnTo>
                  <a:pt x="4998" y="6122"/>
                </a:lnTo>
                <a:lnTo>
                  <a:pt x="5002" y="6124"/>
                </a:lnTo>
                <a:lnTo>
                  <a:pt x="5006" y="6126"/>
                </a:lnTo>
                <a:lnTo>
                  <a:pt x="5010" y="6126"/>
                </a:lnTo>
                <a:lnTo>
                  <a:pt x="5016" y="6126"/>
                </a:lnTo>
                <a:lnTo>
                  <a:pt x="5028" y="6124"/>
                </a:lnTo>
                <a:lnTo>
                  <a:pt x="5040" y="6122"/>
                </a:lnTo>
                <a:lnTo>
                  <a:pt x="5052" y="6122"/>
                </a:lnTo>
                <a:lnTo>
                  <a:pt x="5072" y="6122"/>
                </a:lnTo>
                <a:lnTo>
                  <a:pt x="5080" y="6120"/>
                </a:lnTo>
                <a:lnTo>
                  <a:pt x="5086" y="6120"/>
                </a:lnTo>
                <a:lnTo>
                  <a:pt x="5088" y="6116"/>
                </a:lnTo>
                <a:lnTo>
                  <a:pt x="5086" y="6110"/>
                </a:lnTo>
                <a:lnTo>
                  <a:pt x="5086" y="6108"/>
                </a:lnTo>
                <a:lnTo>
                  <a:pt x="5086" y="6104"/>
                </a:lnTo>
                <a:lnTo>
                  <a:pt x="5090" y="6098"/>
                </a:lnTo>
                <a:lnTo>
                  <a:pt x="5104" y="6086"/>
                </a:lnTo>
                <a:lnTo>
                  <a:pt x="5112" y="6080"/>
                </a:lnTo>
                <a:lnTo>
                  <a:pt x="5118" y="6072"/>
                </a:lnTo>
                <a:lnTo>
                  <a:pt x="5122" y="6064"/>
                </a:lnTo>
                <a:lnTo>
                  <a:pt x="5122" y="6060"/>
                </a:lnTo>
                <a:lnTo>
                  <a:pt x="5120" y="6056"/>
                </a:lnTo>
                <a:lnTo>
                  <a:pt x="5120" y="6046"/>
                </a:lnTo>
                <a:lnTo>
                  <a:pt x="5120" y="6036"/>
                </a:lnTo>
                <a:lnTo>
                  <a:pt x="5124" y="6028"/>
                </a:lnTo>
                <a:lnTo>
                  <a:pt x="5130" y="6018"/>
                </a:lnTo>
                <a:lnTo>
                  <a:pt x="5146" y="5994"/>
                </a:lnTo>
                <a:lnTo>
                  <a:pt x="5164" y="5964"/>
                </a:lnTo>
                <a:lnTo>
                  <a:pt x="5170" y="5948"/>
                </a:lnTo>
                <a:lnTo>
                  <a:pt x="5174" y="5932"/>
                </a:lnTo>
                <a:lnTo>
                  <a:pt x="5176" y="5920"/>
                </a:lnTo>
                <a:lnTo>
                  <a:pt x="5176" y="5908"/>
                </a:lnTo>
                <a:lnTo>
                  <a:pt x="5176" y="5898"/>
                </a:lnTo>
                <a:lnTo>
                  <a:pt x="5176" y="5888"/>
                </a:lnTo>
                <a:lnTo>
                  <a:pt x="5178" y="5882"/>
                </a:lnTo>
                <a:lnTo>
                  <a:pt x="5184" y="5878"/>
                </a:lnTo>
                <a:lnTo>
                  <a:pt x="5190" y="5872"/>
                </a:lnTo>
                <a:lnTo>
                  <a:pt x="5194" y="5864"/>
                </a:lnTo>
                <a:lnTo>
                  <a:pt x="5196" y="5854"/>
                </a:lnTo>
                <a:lnTo>
                  <a:pt x="5196" y="5842"/>
                </a:lnTo>
                <a:lnTo>
                  <a:pt x="5196" y="5816"/>
                </a:lnTo>
                <a:lnTo>
                  <a:pt x="5198" y="5802"/>
                </a:lnTo>
                <a:lnTo>
                  <a:pt x="5202" y="5786"/>
                </a:lnTo>
                <a:lnTo>
                  <a:pt x="5204" y="5772"/>
                </a:lnTo>
                <a:lnTo>
                  <a:pt x="5206" y="5762"/>
                </a:lnTo>
                <a:lnTo>
                  <a:pt x="5204" y="5752"/>
                </a:lnTo>
                <a:lnTo>
                  <a:pt x="5202" y="5742"/>
                </a:lnTo>
                <a:lnTo>
                  <a:pt x="5198" y="5726"/>
                </a:lnTo>
                <a:lnTo>
                  <a:pt x="5198" y="5716"/>
                </a:lnTo>
                <a:lnTo>
                  <a:pt x="5198" y="5706"/>
                </a:lnTo>
                <a:lnTo>
                  <a:pt x="5202" y="5634"/>
                </a:lnTo>
                <a:lnTo>
                  <a:pt x="5204" y="5618"/>
                </a:lnTo>
                <a:lnTo>
                  <a:pt x="5208" y="5606"/>
                </a:lnTo>
                <a:lnTo>
                  <a:pt x="5208" y="5604"/>
                </a:lnTo>
                <a:lnTo>
                  <a:pt x="5212" y="5602"/>
                </a:lnTo>
                <a:lnTo>
                  <a:pt x="5214" y="5604"/>
                </a:lnTo>
                <a:lnTo>
                  <a:pt x="5216" y="5608"/>
                </a:lnTo>
                <a:lnTo>
                  <a:pt x="5222" y="5618"/>
                </a:lnTo>
                <a:lnTo>
                  <a:pt x="5228" y="5622"/>
                </a:lnTo>
                <a:lnTo>
                  <a:pt x="5232" y="5622"/>
                </a:lnTo>
                <a:lnTo>
                  <a:pt x="5238" y="5616"/>
                </a:lnTo>
                <a:lnTo>
                  <a:pt x="5242" y="5608"/>
                </a:lnTo>
                <a:lnTo>
                  <a:pt x="5248" y="5594"/>
                </a:lnTo>
                <a:lnTo>
                  <a:pt x="5262" y="5558"/>
                </a:lnTo>
                <a:lnTo>
                  <a:pt x="5270" y="5540"/>
                </a:lnTo>
                <a:lnTo>
                  <a:pt x="5278" y="5528"/>
                </a:lnTo>
                <a:lnTo>
                  <a:pt x="5284" y="5520"/>
                </a:lnTo>
                <a:lnTo>
                  <a:pt x="5290" y="5512"/>
                </a:lnTo>
                <a:lnTo>
                  <a:pt x="5306" y="5496"/>
                </a:lnTo>
                <a:lnTo>
                  <a:pt x="5316" y="5484"/>
                </a:lnTo>
                <a:lnTo>
                  <a:pt x="5328" y="5466"/>
                </a:lnTo>
                <a:lnTo>
                  <a:pt x="5348" y="5428"/>
                </a:lnTo>
                <a:lnTo>
                  <a:pt x="5356" y="5412"/>
                </a:lnTo>
                <a:lnTo>
                  <a:pt x="5364" y="5398"/>
                </a:lnTo>
                <a:lnTo>
                  <a:pt x="5368" y="5384"/>
                </a:lnTo>
                <a:lnTo>
                  <a:pt x="5370" y="5370"/>
                </a:lnTo>
                <a:lnTo>
                  <a:pt x="5370" y="5356"/>
                </a:lnTo>
                <a:lnTo>
                  <a:pt x="5370" y="5340"/>
                </a:lnTo>
                <a:lnTo>
                  <a:pt x="5366" y="5308"/>
                </a:lnTo>
                <a:lnTo>
                  <a:pt x="5362" y="5282"/>
                </a:lnTo>
                <a:lnTo>
                  <a:pt x="5358" y="5270"/>
                </a:lnTo>
                <a:lnTo>
                  <a:pt x="5354" y="5260"/>
                </a:lnTo>
                <a:lnTo>
                  <a:pt x="5348" y="5250"/>
                </a:lnTo>
                <a:lnTo>
                  <a:pt x="5340" y="5242"/>
                </a:lnTo>
                <a:close/>
                <a:moveTo>
                  <a:pt x="3590" y="2808"/>
                </a:moveTo>
                <a:lnTo>
                  <a:pt x="3590" y="2808"/>
                </a:lnTo>
                <a:lnTo>
                  <a:pt x="3570" y="2824"/>
                </a:lnTo>
                <a:lnTo>
                  <a:pt x="3558" y="2834"/>
                </a:lnTo>
                <a:lnTo>
                  <a:pt x="3548" y="2840"/>
                </a:lnTo>
                <a:lnTo>
                  <a:pt x="3538" y="2844"/>
                </a:lnTo>
                <a:lnTo>
                  <a:pt x="3526" y="2850"/>
                </a:lnTo>
                <a:lnTo>
                  <a:pt x="3510" y="2860"/>
                </a:lnTo>
                <a:lnTo>
                  <a:pt x="3488" y="2870"/>
                </a:lnTo>
                <a:lnTo>
                  <a:pt x="3468" y="2878"/>
                </a:lnTo>
                <a:lnTo>
                  <a:pt x="3448" y="2882"/>
                </a:lnTo>
                <a:lnTo>
                  <a:pt x="3434" y="2882"/>
                </a:lnTo>
                <a:lnTo>
                  <a:pt x="3426" y="2880"/>
                </a:lnTo>
                <a:lnTo>
                  <a:pt x="3424" y="2878"/>
                </a:lnTo>
                <a:lnTo>
                  <a:pt x="3426" y="2878"/>
                </a:lnTo>
                <a:lnTo>
                  <a:pt x="3430" y="2876"/>
                </a:lnTo>
                <a:lnTo>
                  <a:pt x="3434" y="2874"/>
                </a:lnTo>
                <a:lnTo>
                  <a:pt x="3436" y="2874"/>
                </a:lnTo>
                <a:lnTo>
                  <a:pt x="3434" y="2872"/>
                </a:lnTo>
                <a:lnTo>
                  <a:pt x="3428" y="2870"/>
                </a:lnTo>
                <a:lnTo>
                  <a:pt x="3418" y="2870"/>
                </a:lnTo>
                <a:lnTo>
                  <a:pt x="3410" y="2868"/>
                </a:lnTo>
                <a:lnTo>
                  <a:pt x="3408" y="2868"/>
                </a:lnTo>
                <a:lnTo>
                  <a:pt x="3406" y="2866"/>
                </a:lnTo>
                <a:lnTo>
                  <a:pt x="3408" y="2860"/>
                </a:lnTo>
                <a:lnTo>
                  <a:pt x="3410" y="2856"/>
                </a:lnTo>
                <a:lnTo>
                  <a:pt x="3414" y="2850"/>
                </a:lnTo>
                <a:lnTo>
                  <a:pt x="3416" y="2840"/>
                </a:lnTo>
                <a:lnTo>
                  <a:pt x="3420" y="2832"/>
                </a:lnTo>
                <a:lnTo>
                  <a:pt x="3424" y="2828"/>
                </a:lnTo>
                <a:lnTo>
                  <a:pt x="3426" y="2826"/>
                </a:lnTo>
                <a:lnTo>
                  <a:pt x="3430" y="2818"/>
                </a:lnTo>
                <a:lnTo>
                  <a:pt x="3434" y="2812"/>
                </a:lnTo>
                <a:lnTo>
                  <a:pt x="3436" y="2810"/>
                </a:lnTo>
                <a:lnTo>
                  <a:pt x="3440" y="2812"/>
                </a:lnTo>
                <a:lnTo>
                  <a:pt x="3440" y="2818"/>
                </a:lnTo>
                <a:lnTo>
                  <a:pt x="3446" y="2820"/>
                </a:lnTo>
                <a:lnTo>
                  <a:pt x="3448" y="2822"/>
                </a:lnTo>
                <a:lnTo>
                  <a:pt x="3450" y="2826"/>
                </a:lnTo>
                <a:lnTo>
                  <a:pt x="3448" y="2828"/>
                </a:lnTo>
                <a:lnTo>
                  <a:pt x="3442" y="2832"/>
                </a:lnTo>
                <a:lnTo>
                  <a:pt x="3432" y="2832"/>
                </a:lnTo>
                <a:lnTo>
                  <a:pt x="3426" y="2834"/>
                </a:lnTo>
                <a:lnTo>
                  <a:pt x="3424" y="2834"/>
                </a:lnTo>
                <a:lnTo>
                  <a:pt x="3422" y="2838"/>
                </a:lnTo>
                <a:lnTo>
                  <a:pt x="3422" y="2840"/>
                </a:lnTo>
                <a:lnTo>
                  <a:pt x="3422" y="2844"/>
                </a:lnTo>
                <a:lnTo>
                  <a:pt x="3426" y="2846"/>
                </a:lnTo>
                <a:lnTo>
                  <a:pt x="3428" y="2848"/>
                </a:lnTo>
                <a:lnTo>
                  <a:pt x="3432" y="2848"/>
                </a:lnTo>
                <a:lnTo>
                  <a:pt x="3440" y="2848"/>
                </a:lnTo>
                <a:lnTo>
                  <a:pt x="3442" y="2850"/>
                </a:lnTo>
                <a:lnTo>
                  <a:pt x="3444" y="2850"/>
                </a:lnTo>
                <a:lnTo>
                  <a:pt x="3446" y="2848"/>
                </a:lnTo>
                <a:lnTo>
                  <a:pt x="3450" y="2844"/>
                </a:lnTo>
                <a:lnTo>
                  <a:pt x="3456" y="2840"/>
                </a:lnTo>
                <a:lnTo>
                  <a:pt x="3468" y="2836"/>
                </a:lnTo>
                <a:lnTo>
                  <a:pt x="3472" y="2832"/>
                </a:lnTo>
                <a:lnTo>
                  <a:pt x="3474" y="2828"/>
                </a:lnTo>
                <a:lnTo>
                  <a:pt x="3482" y="2820"/>
                </a:lnTo>
                <a:lnTo>
                  <a:pt x="3488" y="2816"/>
                </a:lnTo>
                <a:lnTo>
                  <a:pt x="3496" y="2814"/>
                </a:lnTo>
                <a:lnTo>
                  <a:pt x="3506" y="2812"/>
                </a:lnTo>
                <a:lnTo>
                  <a:pt x="3518" y="2814"/>
                </a:lnTo>
                <a:lnTo>
                  <a:pt x="3536" y="2818"/>
                </a:lnTo>
                <a:lnTo>
                  <a:pt x="3538" y="2818"/>
                </a:lnTo>
                <a:lnTo>
                  <a:pt x="3534" y="2814"/>
                </a:lnTo>
                <a:lnTo>
                  <a:pt x="3532" y="2812"/>
                </a:lnTo>
                <a:lnTo>
                  <a:pt x="3532" y="2810"/>
                </a:lnTo>
                <a:lnTo>
                  <a:pt x="3536" y="2806"/>
                </a:lnTo>
                <a:lnTo>
                  <a:pt x="3542" y="2804"/>
                </a:lnTo>
                <a:lnTo>
                  <a:pt x="3560" y="2800"/>
                </a:lnTo>
                <a:lnTo>
                  <a:pt x="3580" y="2800"/>
                </a:lnTo>
                <a:lnTo>
                  <a:pt x="3584" y="2800"/>
                </a:lnTo>
                <a:lnTo>
                  <a:pt x="3586" y="2796"/>
                </a:lnTo>
                <a:lnTo>
                  <a:pt x="3586" y="2794"/>
                </a:lnTo>
                <a:lnTo>
                  <a:pt x="3586" y="2790"/>
                </a:lnTo>
                <a:lnTo>
                  <a:pt x="3588" y="2790"/>
                </a:lnTo>
                <a:lnTo>
                  <a:pt x="3590" y="2790"/>
                </a:lnTo>
                <a:lnTo>
                  <a:pt x="3592" y="2792"/>
                </a:lnTo>
                <a:lnTo>
                  <a:pt x="3594" y="2798"/>
                </a:lnTo>
                <a:lnTo>
                  <a:pt x="3592" y="2804"/>
                </a:lnTo>
                <a:lnTo>
                  <a:pt x="3590" y="2808"/>
                </a:lnTo>
                <a:close/>
                <a:moveTo>
                  <a:pt x="3578" y="2752"/>
                </a:moveTo>
                <a:lnTo>
                  <a:pt x="3578" y="2752"/>
                </a:lnTo>
                <a:lnTo>
                  <a:pt x="3586" y="2746"/>
                </a:lnTo>
                <a:lnTo>
                  <a:pt x="3596" y="2742"/>
                </a:lnTo>
                <a:lnTo>
                  <a:pt x="3626" y="2738"/>
                </a:lnTo>
                <a:lnTo>
                  <a:pt x="3638" y="2734"/>
                </a:lnTo>
                <a:lnTo>
                  <a:pt x="3642" y="2734"/>
                </a:lnTo>
                <a:lnTo>
                  <a:pt x="3656" y="2742"/>
                </a:lnTo>
                <a:lnTo>
                  <a:pt x="3662" y="2744"/>
                </a:lnTo>
                <a:lnTo>
                  <a:pt x="3666" y="2744"/>
                </a:lnTo>
                <a:lnTo>
                  <a:pt x="3668" y="2742"/>
                </a:lnTo>
                <a:lnTo>
                  <a:pt x="3670" y="2740"/>
                </a:lnTo>
                <a:lnTo>
                  <a:pt x="3672" y="2734"/>
                </a:lnTo>
                <a:lnTo>
                  <a:pt x="3674" y="2730"/>
                </a:lnTo>
                <a:lnTo>
                  <a:pt x="3678" y="2726"/>
                </a:lnTo>
                <a:lnTo>
                  <a:pt x="3686" y="2722"/>
                </a:lnTo>
                <a:lnTo>
                  <a:pt x="3696" y="2718"/>
                </a:lnTo>
                <a:lnTo>
                  <a:pt x="3706" y="2714"/>
                </a:lnTo>
                <a:lnTo>
                  <a:pt x="3716" y="2710"/>
                </a:lnTo>
                <a:lnTo>
                  <a:pt x="3716" y="2714"/>
                </a:lnTo>
                <a:lnTo>
                  <a:pt x="3712" y="2718"/>
                </a:lnTo>
                <a:lnTo>
                  <a:pt x="3708" y="2720"/>
                </a:lnTo>
                <a:lnTo>
                  <a:pt x="3702" y="2724"/>
                </a:lnTo>
                <a:lnTo>
                  <a:pt x="3698" y="2726"/>
                </a:lnTo>
                <a:lnTo>
                  <a:pt x="3696" y="2730"/>
                </a:lnTo>
                <a:lnTo>
                  <a:pt x="3696" y="2732"/>
                </a:lnTo>
                <a:lnTo>
                  <a:pt x="3700" y="2736"/>
                </a:lnTo>
                <a:lnTo>
                  <a:pt x="3702" y="2740"/>
                </a:lnTo>
                <a:lnTo>
                  <a:pt x="3702" y="2742"/>
                </a:lnTo>
                <a:lnTo>
                  <a:pt x="3700" y="2746"/>
                </a:lnTo>
                <a:lnTo>
                  <a:pt x="3700" y="2752"/>
                </a:lnTo>
                <a:lnTo>
                  <a:pt x="3700" y="2758"/>
                </a:lnTo>
                <a:lnTo>
                  <a:pt x="3696" y="2762"/>
                </a:lnTo>
                <a:lnTo>
                  <a:pt x="3690" y="2764"/>
                </a:lnTo>
                <a:lnTo>
                  <a:pt x="3684" y="2770"/>
                </a:lnTo>
                <a:lnTo>
                  <a:pt x="3680" y="2774"/>
                </a:lnTo>
                <a:lnTo>
                  <a:pt x="3676" y="2776"/>
                </a:lnTo>
                <a:lnTo>
                  <a:pt x="3662" y="2778"/>
                </a:lnTo>
                <a:lnTo>
                  <a:pt x="3650" y="2776"/>
                </a:lnTo>
                <a:lnTo>
                  <a:pt x="3638" y="2774"/>
                </a:lnTo>
                <a:lnTo>
                  <a:pt x="3628" y="2772"/>
                </a:lnTo>
                <a:lnTo>
                  <a:pt x="3616" y="2770"/>
                </a:lnTo>
                <a:lnTo>
                  <a:pt x="3604" y="2770"/>
                </a:lnTo>
                <a:lnTo>
                  <a:pt x="3596" y="2774"/>
                </a:lnTo>
                <a:lnTo>
                  <a:pt x="3588" y="2778"/>
                </a:lnTo>
                <a:lnTo>
                  <a:pt x="3582" y="2780"/>
                </a:lnTo>
                <a:lnTo>
                  <a:pt x="3574" y="2782"/>
                </a:lnTo>
                <a:lnTo>
                  <a:pt x="3568" y="2782"/>
                </a:lnTo>
                <a:lnTo>
                  <a:pt x="3562" y="2780"/>
                </a:lnTo>
                <a:lnTo>
                  <a:pt x="3560" y="2780"/>
                </a:lnTo>
                <a:lnTo>
                  <a:pt x="3558" y="2776"/>
                </a:lnTo>
                <a:lnTo>
                  <a:pt x="3558" y="2772"/>
                </a:lnTo>
                <a:lnTo>
                  <a:pt x="3560" y="2768"/>
                </a:lnTo>
                <a:lnTo>
                  <a:pt x="3566" y="2760"/>
                </a:lnTo>
                <a:lnTo>
                  <a:pt x="3570" y="2756"/>
                </a:lnTo>
                <a:lnTo>
                  <a:pt x="3574" y="2756"/>
                </a:lnTo>
                <a:lnTo>
                  <a:pt x="3578" y="2752"/>
                </a:lnTo>
                <a:close/>
                <a:moveTo>
                  <a:pt x="3092" y="2546"/>
                </a:moveTo>
                <a:lnTo>
                  <a:pt x="3092" y="2546"/>
                </a:lnTo>
                <a:lnTo>
                  <a:pt x="3106" y="2534"/>
                </a:lnTo>
                <a:lnTo>
                  <a:pt x="3118" y="2526"/>
                </a:lnTo>
                <a:lnTo>
                  <a:pt x="3160" y="2506"/>
                </a:lnTo>
                <a:lnTo>
                  <a:pt x="3164" y="2504"/>
                </a:lnTo>
                <a:lnTo>
                  <a:pt x="3168" y="2500"/>
                </a:lnTo>
                <a:lnTo>
                  <a:pt x="3172" y="2496"/>
                </a:lnTo>
                <a:lnTo>
                  <a:pt x="3176" y="2484"/>
                </a:lnTo>
                <a:lnTo>
                  <a:pt x="3180" y="2478"/>
                </a:lnTo>
                <a:lnTo>
                  <a:pt x="3186" y="2474"/>
                </a:lnTo>
                <a:lnTo>
                  <a:pt x="3188" y="2474"/>
                </a:lnTo>
                <a:lnTo>
                  <a:pt x="3190" y="2474"/>
                </a:lnTo>
                <a:lnTo>
                  <a:pt x="3190" y="2478"/>
                </a:lnTo>
                <a:lnTo>
                  <a:pt x="3190" y="2482"/>
                </a:lnTo>
                <a:lnTo>
                  <a:pt x="3188" y="2486"/>
                </a:lnTo>
                <a:lnTo>
                  <a:pt x="3192" y="2484"/>
                </a:lnTo>
                <a:lnTo>
                  <a:pt x="3196" y="2476"/>
                </a:lnTo>
                <a:lnTo>
                  <a:pt x="3202" y="2464"/>
                </a:lnTo>
                <a:lnTo>
                  <a:pt x="3206" y="2456"/>
                </a:lnTo>
                <a:lnTo>
                  <a:pt x="3208" y="2456"/>
                </a:lnTo>
                <a:lnTo>
                  <a:pt x="3210" y="2462"/>
                </a:lnTo>
                <a:lnTo>
                  <a:pt x="3206" y="2470"/>
                </a:lnTo>
                <a:lnTo>
                  <a:pt x="3204" y="2478"/>
                </a:lnTo>
                <a:lnTo>
                  <a:pt x="3216" y="2472"/>
                </a:lnTo>
                <a:lnTo>
                  <a:pt x="3220" y="2468"/>
                </a:lnTo>
                <a:lnTo>
                  <a:pt x="3220" y="2466"/>
                </a:lnTo>
                <a:lnTo>
                  <a:pt x="3218" y="2458"/>
                </a:lnTo>
                <a:lnTo>
                  <a:pt x="3216" y="2452"/>
                </a:lnTo>
                <a:lnTo>
                  <a:pt x="3216" y="2450"/>
                </a:lnTo>
                <a:lnTo>
                  <a:pt x="3218" y="2448"/>
                </a:lnTo>
                <a:lnTo>
                  <a:pt x="3220" y="2448"/>
                </a:lnTo>
                <a:lnTo>
                  <a:pt x="3224" y="2448"/>
                </a:lnTo>
                <a:lnTo>
                  <a:pt x="3236" y="2454"/>
                </a:lnTo>
                <a:lnTo>
                  <a:pt x="3248" y="2458"/>
                </a:lnTo>
                <a:lnTo>
                  <a:pt x="3254" y="2460"/>
                </a:lnTo>
                <a:lnTo>
                  <a:pt x="3260" y="2460"/>
                </a:lnTo>
                <a:lnTo>
                  <a:pt x="3268" y="2460"/>
                </a:lnTo>
                <a:lnTo>
                  <a:pt x="3272" y="2462"/>
                </a:lnTo>
                <a:lnTo>
                  <a:pt x="3276" y="2462"/>
                </a:lnTo>
                <a:lnTo>
                  <a:pt x="3284" y="2462"/>
                </a:lnTo>
                <a:lnTo>
                  <a:pt x="3288" y="2462"/>
                </a:lnTo>
                <a:lnTo>
                  <a:pt x="3292" y="2466"/>
                </a:lnTo>
                <a:lnTo>
                  <a:pt x="3296" y="2482"/>
                </a:lnTo>
                <a:lnTo>
                  <a:pt x="3300" y="2490"/>
                </a:lnTo>
                <a:lnTo>
                  <a:pt x="3302" y="2498"/>
                </a:lnTo>
                <a:lnTo>
                  <a:pt x="3308" y="2504"/>
                </a:lnTo>
                <a:lnTo>
                  <a:pt x="3316" y="2510"/>
                </a:lnTo>
                <a:lnTo>
                  <a:pt x="3322" y="2510"/>
                </a:lnTo>
                <a:lnTo>
                  <a:pt x="3328" y="2510"/>
                </a:lnTo>
                <a:lnTo>
                  <a:pt x="3340" y="2508"/>
                </a:lnTo>
                <a:lnTo>
                  <a:pt x="3344" y="2508"/>
                </a:lnTo>
                <a:lnTo>
                  <a:pt x="3348" y="2510"/>
                </a:lnTo>
                <a:lnTo>
                  <a:pt x="3350" y="2514"/>
                </a:lnTo>
                <a:lnTo>
                  <a:pt x="3348" y="2520"/>
                </a:lnTo>
                <a:lnTo>
                  <a:pt x="3344" y="2528"/>
                </a:lnTo>
                <a:lnTo>
                  <a:pt x="3346" y="2532"/>
                </a:lnTo>
                <a:lnTo>
                  <a:pt x="3358" y="2542"/>
                </a:lnTo>
                <a:lnTo>
                  <a:pt x="3360" y="2546"/>
                </a:lnTo>
                <a:lnTo>
                  <a:pt x="3360" y="2550"/>
                </a:lnTo>
                <a:lnTo>
                  <a:pt x="3358" y="2556"/>
                </a:lnTo>
                <a:lnTo>
                  <a:pt x="3356" y="2564"/>
                </a:lnTo>
                <a:lnTo>
                  <a:pt x="3356" y="2566"/>
                </a:lnTo>
                <a:lnTo>
                  <a:pt x="3358" y="2568"/>
                </a:lnTo>
                <a:lnTo>
                  <a:pt x="3362" y="2570"/>
                </a:lnTo>
                <a:lnTo>
                  <a:pt x="3364" y="2570"/>
                </a:lnTo>
                <a:lnTo>
                  <a:pt x="3366" y="2570"/>
                </a:lnTo>
                <a:lnTo>
                  <a:pt x="3368" y="2572"/>
                </a:lnTo>
                <a:lnTo>
                  <a:pt x="3370" y="2574"/>
                </a:lnTo>
                <a:lnTo>
                  <a:pt x="3368" y="2576"/>
                </a:lnTo>
                <a:lnTo>
                  <a:pt x="3364" y="2578"/>
                </a:lnTo>
                <a:lnTo>
                  <a:pt x="3364" y="2582"/>
                </a:lnTo>
                <a:lnTo>
                  <a:pt x="3362" y="2586"/>
                </a:lnTo>
                <a:lnTo>
                  <a:pt x="3362" y="2590"/>
                </a:lnTo>
                <a:lnTo>
                  <a:pt x="3366" y="2592"/>
                </a:lnTo>
                <a:lnTo>
                  <a:pt x="3372" y="2592"/>
                </a:lnTo>
                <a:lnTo>
                  <a:pt x="3380" y="2590"/>
                </a:lnTo>
                <a:lnTo>
                  <a:pt x="3382" y="2592"/>
                </a:lnTo>
                <a:lnTo>
                  <a:pt x="3382" y="2596"/>
                </a:lnTo>
                <a:lnTo>
                  <a:pt x="3382" y="2602"/>
                </a:lnTo>
                <a:lnTo>
                  <a:pt x="3386" y="2604"/>
                </a:lnTo>
                <a:lnTo>
                  <a:pt x="3392" y="2604"/>
                </a:lnTo>
                <a:lnTo>
                  <a:pt x="3402" y="2608"/>
                </a:lnTo>
                <a:lnTo>
                  <a:pt x="3416" y="2612"/>
                </a:lnTo>
                <a:lnTo>
                  <a:pt x="3432" y="2612"/>
                </a:lnTo>
                <a:lnTo>
                  <a:pt x="3446" y="2614"/>
                </a:lnTo>
                <a:lnTo>
                  <a:pt x="3460" y="2616"/>
                </a:lnTo>
                <a:lnTo>
                  <a:pt x="3470" y="2616"/>
                </a:lnTo>
                <a:lnTo>
                  <a:pt x="3478" y="2616"/>
                </a:lnTo>
                <a:lnTo>
                  <a:pt x="3484" y="2616"/>
                </a:lnTo>
                <a:lnTo>
                  <a:pt x="3484" y="2618"/>
                </a:lnTo>
                <a:lnTo>
                  <a:pt x="3484" y="2620"/>
                </a:lnTo>
                <a:lnTo>
                  <a:pt x="3484" y="2622"/>
                </a:lnTo>
                <a:lnTo>
                  <a:pt x="3484" y="2624"/>
                </a:lnTo>
                <a:lnTo>
                  <a:pt x="3490" y="2626"/>
                </a:lnTo>
                <a:lnTo>
                  <a:pt x="3508" y="2626"/>
                </a:lnTo>
                <a:lnTo>
                  <a:pt x="3514" y="2626"/>
                </a:lnTo>
                <a:lnTo>
                  <a:pt x="3518" y="2630"/>
                </a:lnTo>
                <a:lnTo>
                  <a:pt x="3526" y="2644"/>
                </a:lnTo>
                <a:lnTo>
                  <a:pt x="3532" y="2654"/>
                </a:lnTo>
                <a:lnTo>
                  <a:pt x="3536" y="2658"/>
                </a:lnTo>
                <a:lnTo>
                  <a:pt x="3538" y="2658"/>
                </a:lnTo>
                <a:lnTo>
                  <a:pt x="3540" y="2656"/>
                </a:lnTo>
                <a:lnTo>
                  <a:pt x="3542" y="2656"/>
                </a:lnTo>
                <a:lnTo>
                  <a:pt x="3544" y="2660"/>
                </a:lnTo>
                <a:lnTo>
                  <a:pt x="3544" y="2666"/>
                </a:lnTo>
                <a:lnTo>
                  <a:pt x="3544" y="2670"/>
                </a:lnTo>
                <a:lnTo>
                  <a:pt x="3546" y="2674"/>
                </a:lnTo>
                <a:lnTo>
                  <a:pt x="3552" y="2682"/>
                </a:lnTo>
                <a:lnTo>
                  <a:pt x="3558" y="2688"/>
                </a:lnTo>
                <a:lnTo>
                  <a:pt x="3560" y="2694"/>
                </a:lnTo>
                <a:lnTo>
                  <a:pt x="3560" y="2696"/>
                </a:lnTo>
                <a:lnTo>
                  <a:pt x="3558" y="2696"/>
                </a:lnTo>
                <a:lnTo>
                  <a:pt x="3554" y="2694"/>
                </a:lnTo>
                <a:lnTo>
                  <a:pt x="3548" y="2690"/>
                </a:lnTo>
                <a:lnTo>
                  <a:pt x="3546" y="2688"/>
                </a:lnTo>
                <a:lnTo>
                  <a:pt x="3544" y="2690"/>
                </a:lnTo>
                <a:lnTo>
                  <a:pt x="3544" y="2692"/>
                </a:lnTo>
                <a:lnTo>
                  <a:pt x="3544" y="2694"/>
                </a:lnTo>
                <a:lnTo>
                  <a:pt x="3546" y="2700"/>
                </a:lnTo>
                <a:lnTo>
                  <a:pt x="3548" y="2704"/>
                </a:lnTo>
                <a:lnTo>
                  <a:pt x="3548" y="2708"/>
                </a:lnTo>
                <a:lnTo>
                  <a:pt x="3546" y="2710"/>
                </a:lnTo>
                <a:lnTo>
                  <a:pt x="3542" y="2710"/>
                </a:lnTo>
                <a:lnTo>
                  <a:pt x="3538" y="2710"/>
                </a:lnTo>
                <a:lnTo>
                  <a:pt x="3530" y="2704"/>
                </a:lnTo>
                <a:lnTo>
                  <a:pt x="3520" y="2698"/>
                </a:lnTo>
                <a:lnTo>
                  <a:pt x="3516" y="2698"/>
                </a:lnTo>
                <a:lnTo>
                  <a:pt x="3514" y="2700"/>
                </a:lnTo>
                <a:lnTo>
                  <a:pt x="3510" y="2702"/>
                </a:lnTo>
                <a:lnTo>
                  <a:pt x="3510" y="2698"/>
                </a:lnTo>
                <a:lnTo>
                  <a:pt x="3508" y="2694"/>
                </a:lnTo>
                <a:lnTo>
                  <a:pt x="3508" y="2692"/>
                </a:lnTo>
                <a:lnTo>
                  <a:pt x="3506" y="2694"/>
                </a:lnTo>
                <a:lnTo>
                  <a:pt x="3502" y="2694"/>
                </a:lnTo>
                <a:lnTo>
                  <a:pt x="3502" y="2692"/>
                </a:lnTo>
                <a:lnTo>
                  <a:pt x="3504" y="2688"/>
                </a:lnTo>
                <a:lnTo>
                  <a:pt x="3506" y="2684"/>
                </a:lnTo>
                <a:lnTo>
                  <a:pt x="3502" y="2682"/>
                </a:lnTo>
                <a:lnTo>
                  <a:pt x="3498" y="2682"/>
                </a:lnTo>
                <a:lnTo>
                  <a:pt x="3496" y="2678"/>
                </a:lnTo>
                <a:lnTo>
                  <a:pt x="3496" y="2674"/>
                </a:lnTo>
                <a:lnTo>
                  <a:pt x="3494" y="2668"/>
                </a:lnTo>
                <a:lnTo>
                  <a:pt x="3494" y="2666"/>
                </a:lnTo>
                <a:lnTo>
                  <a:pt x="3492" y="2666"/>
                </a:lnTo>
                <a:lnTo>
                  <a:pt x="3486" y="2666"/>
                </a:lnTo>
                <a:lnTo>
                  <a:pt x="3482" y="2664"/>
                </a:lnTo>
                <a:lnTo>
                  <a:pt x="3480" y="2664"/>
                </a:lnTo>
                <a:lnTo>
                  <a:pt x="3478" y="2664"/>
                </a:lnTo>
                <a:lnTo>
                  <a:pt x="3480" y="2668"/>
                </a:lnTo>
                <a:lnTo>
                  <a:pt x="3486" y="2674"/>
                </a:lnTo>
                <a:lnTo>
                  <a:pt x="3492" y="2684"/>
                </a:lnTo>
                <a:lnTo>
                  <a:pt x="3496" y="2694"/>
                </a:lnTo>
                <a:lnTo>
                  <a:pt x="3496" y="2700"/>
                </a:lnTo>
                <a:lnTo>
                  <a:pt x="3494" y="2706"/>
                </a:lnTo>
                <a:lnTo>
                  <a:pt x="3486" y="2714"/>
                </a:lnTo>
                <a:lnTo>
                  <a:pt x="3482" y="2720"/>
                </a:lnTo>
                <a:lnTo>
                  <a:pt x="3480" y="2728"/>
                </a:lnTo>
                <a:lnTo>
                  <a:pt x="3478" y="2736"/>
                </a:lnTo>
                <a:lnTo>
                  <a:pt x="3478" y="2746"/>
                </a:lnTo>
                <a:lnTo>
                  <a:pt x="3478" y="2764"/>
                </a:lnTo>
                <a:lnTo>
                  <a:pt x="3476" y="2772"/>
                </a:lnTo>
                <a:lnTo>
                  <a:pt x="3474" y="2776"/>
                </a:lnTo>
                <a:lnTo>
                  <a:pt x="3470" y="2780"/>
                </a:lnTo>
                <a:lnTo>
                  <a:pt x="3464" y="2784"/>
                </a:lnTo>
                <a:lnTo>
                  <a:pt x="3450" y="2792"/>
                </a:lnTo>
                <a:lnTo>
                  <a:pt x="3444" y="2778"/>
                </a:lnTo>
                <a:lnTo>
                  <a:pt x="3440" y="2758"/>
                </a:lnTo>
                <a:lnTo>
                  <a:pt x="3438" y="2748"/>
                </a:lnTo>
                <a:lnTo>
                  <a:pt x="3434" y="2740"/>
                </a:lnTo>
                <a:lnTo>
                  <a:pt x="3430" y="2736"/>
                </a:lnTo>
                <a:lnTo>
                  <a:pt x="3424" y="2734"/>
                </a:lnTo>
                <a:lnTo>
                  <a:pt x="3418" y="2736"/>
                </a:lnTo>
                <a:lnTo>
                  <a:pt x="3414" y="2740"/>
                </a:lnTo>
                <a:lnTo>
                  <a:pt x="3408" y="2748"/>
                </a:lnTo>
                <a:lnTo>
                  <a:pt x="3404" y="2754"/>
                </a:lnTo>
                <a:lnTo>
                  <a:pt x="3402" y="2758"/>
                </a:lnTo>
                <a:lnTo>
                  <a:pt x="3398" y="2758"/>
                </a:lnTo>
                <a:lnTo>
                  <a:pt x="3394" y="2758"/>
                </a:lnTo>
                <a:lnTo>
                  <a:pt x="3392" y="2756"/>
                </a:lnTo>
                <a:lnTo>
                  <a:pt x="3388" y="2750"/>
                </a:lnTo>
                <a:lnTo>
                  <a:pt x="3390" y="2742"/>
                </a:lnTo>
                <a:lnTo>
                  <a:pt x="3392" y="2738"/>
                </a:lnTo>
                <a:lnTo>
                  <a:pt x="3394" y="2734"/>
                </a:lnTo>
                <a:lnTo>
                  <a:pt x="3402" y="2730"/>
                </a:lnTo>
                <a:lnTo>
                  <a:pt x="3406" y="2724"/>
                </a:lnTo>
                <a:lnTo>
                  <a:pt x="3410" y="2716"/>
                </a:lnTo>
                <a:lnTo>
                  <a:pt x="3412" y="2704"/>
                </a:lnTo>
                <a:lnTo>
                  <a:pt x="3414" y="2698"/>
                </a:lnTo>
                <a:lnTo>
                  <a:pt x="3412" y="2692"/>
                </a:lnTo>
                <a:lnTo>
                  <a:pt x="3410" y="2684"/>
                </a:lnTo>
                <a:lnTo>
                  <a:pt x="3408" y="2680"/>
                </a:lnTo>
                <a:lnTo>
                  <a:pt x="3408" y="2678"/>
                </a:lnTo>
                <a:lnTo>
                  <a:pt x="3412" y="2676"/>
                </a:lnTo>
                <a:lnTo>
                  <a:pt x="3414" y="2676"/>
                </a:lnTo>
                <a:lnTo>
                  <a:pt x="3414" y="2672"/>
                </a:lnTo>
                <a:lnTo>
                  <a:pt x="3412" y="2666"/>
                </a:lnTo>
                <a:lnTo>
                  <a:pt x="3402" y="2660"/>
                </a:lnTo>
                <a:lnTo>
                  <a:pt x="3392" y="2656"/>
                </a:lnTo>
                <a:lnTo>
                  <a:pt x="3384" y="2652"/>
                </a:lnTo>
                <a:lnTo>
                  <a:pt x="3380" y="2648"/>
                </a:lnTo>
                <a:lnTo>
                  <a:pt x="3378" y="2644"/>
                </a:lnTo>
                <a:lnTo>
                  <a:pt x="3374" y="2644"/>
                </a:lnTo>
                <a:lnTo>
                  <a:pt x="3366" y="2642"/>
                </a:lnTo>
                <a:lnTo>
                  <a:pt x="3362" y="2638"/>
                </a:lnTo>
                <a:lnTo>
                  <a:pt x="3358" y="2636"/>
                </a:lnTo>
                <a:lnTo>
                  <a:pt x="3356" y="2636"/>
                </a:lnTo>
                <a:lnTo>
                  <a:pt x="3352" y="2638"/>
                </a:lnTo>
                <a:lnTo>
                  <a:pt x="3346" y="2642"/>
                </a:lnTo>
                <a:lnTo>
                  <a:pt x="3342" y="2646"/>
                </a:lnTo>
                <a:lnTo>
                  <a:pt x="3342" y="2648"/>
                </a:lnTo>
                <a:lnTo>
                  <a:pt x="3342" y="2652"/>
                </a:lnTo>
                <a:lnTo>
                  <a:pt x="3344" y="2654"/>
                </a:lnTo>
                <a:lnTo>
                  <a:pt x="3346" y="2656"/>
                </a:lnTo>
                <a:lnTo>
                  <a:pt x="3340" y="2658"/>
                </a:lnTo>
                <a:lnTo>
                  <a:pt x="3334" y="2662"/>
                </a:lnTo>
                <a:lnTo>
                  <a:pt x="3330" y="2666"/>
                </a:lnTo>
                <a:lnTo>
                  <a:pt x="3328" y="2670"/>
                </a:lnTo>
                <a:lnTo>
                  <a:pt x="3328" y="2676"/>
                </a:lnTo>
                <a:lnTo>
                  <a:pt x="3326" y="2686"/>
                </a:lnTo>
                <a:lnTo>
                  <a:pt x="3324" y="2690"/>
                </a:lnTo>
                <a:lnTo>
                  <a:pt x="3322" y="2692"/>
                </a:lnTo>
                <a:lnTo>
                  <a:pt x="3320" y="2690"/>
                </a:lnTo>
                <a:lnTo>
                  <a:pt x="3318" y="2686"/>
                </a:lnTo>
                <a:lnTo>
                  <a:pt x="3318" y="2678"/>
                </a:lnTo>
                <a:lnTo>
                  <a:pt x="3318" y="2674"/>
                </a:lnTo>
                <a:lnTo>
                  <a:pt x="3318" y="2672"/>
                </a:lnTo>
                <a:lnTo>
                  <a:pt x="3314" y="2676"/>
                </a:lnTo>
                <a:lnTo>
                  <a:pt x="3308" y="2682"/>
                </a:lnTo>
                <a:lnTo>
                  <a:pt x="3300" y="2692"/>
                </a:lnTo>
                <a:lnTo>
                  <a:pt x="3296" y="2694"/>
                </a:lnTo>
                <a:lnTo>
                  <a:pt x="3294" y="2696"/>
                </a:lnTo>
                <a:lnTo>
                  <a:pt x="3296" y="2704"/>
                </a:lnTo>
                <a:lnTo>
                  <a:pt x="3296" y="2712"/>
                </a:lnTo>
                <a:lnTo>
                  <a:pt x="3294" y="2716"/>
                </a:lnTo>
                <a:lnTo>
                  <a:pt x="3290" y="2724"/>
                </a:lnTo>
                <a:lnTo>
                  <a:pt x="3288" y="2732"/>
                </a:lnTo>
                <a:lnTo>
                  <a:pt x="3286" y="2736"/>
                </a:lnTo>
                <a:lnTo>
                  <a:pt x="3288" y="2740"/>
                </a:lnTo>
                <a:lnTo>
                  <a:pt x="3288" y="2748"/>
                </a:lnTo>
                <a:lnTo>
                  <a:pt x="3286" y="2752"/>
                </a:lnTo>
                <a:lnTo>
                  <a:pt x="3284" y="2756"/>
                </a:lnTo>
                <a:lnTo>
                  <a:pt x="3288" y="2768"/>
                </a:lnTo>
                <a:lnTo>
                  <a:pt x="3292" y="2780"/>
                </a:lnTo>
                <a:lnTo>
                  <a:pt x="3294" y="2792"/>
                </a:lnTo>
                <a:lnTo>
                  <a:pt x="3296" y="2802"/>
                </a:lnTo>
                <a:lnTo>
                  <a:pt x="3296" y="2812"/>
                </a:lnTo>
                <a:lnTo>
                  <a:pt x="3294" y="2820"/>
                </a:lnTo>
                <a:lnTo>
                  <a:pt x="3290" y="2830"/>
                </a:lnTo>
                <a:lnTo>
                  <a:pt x="3282" y="2848"/>
                </a:lnTo>
                <a:lnTo>
                  <a:pt x="3276" y="2856"/>
                </a:lnTo>
                <a:lnTo>
                  <a:pt x="3272" y="2862"/>
                </a:lnTo>
                <a:lnTo>
                  <a:pt x="3266" y="2866"/>
                </a:lnTo>
                <a:lnTo>
                  <a:pt x="3260" y="2868"/>
                </a:lnTo>
                <a:lnTo>
                  <a:pt x="3254" y="2868"/>
                </a:lnTo>
                <a:lnTo>
                  <a:pt x="3248" y="2866"/>
                </a:lnTo>
                <a:lnTo>
                  <a:pt x="3242" y="2860"/>
                </a:lnTo>
                <a:lnTo>
                  <a:pt x="3236" y="2852"/>
                </a:lnTo>
                <a:lnTo>
                  <a:pt x="3232" y="2844"/>
                </a:lnTo>
                <a:lnTo>
                  <a:pt x="3230" y="2836"/>
                </a:lnTo>
                <a:lnTo>
                  <a:pt x="3230" y="2824"/>
                </a:lnTo>
                <a:lnTo>
                  <a:pt x="3230" y="2810"/>
                </a:lnTo>
                <a:lnTo>
                  <a:pt x="3230" y="2804"/>
                </a:lnTo>
                <a:lnTo>
                  <a:pt x="3230" y="2796"/>
                </a:lnTo>
                <a:lnTo>
                  <a:pt x="3228" y="2782"/>
                </a:lnTo>
                <a:lnTo>
                  <a:pt x="3230" y="2774"/>
                </a:lnTo>
                <a:lnTo>
                  <a:pt x="3232" y="2764"/>
                </a:lnTo>
                <a:lnTo>
                  <a:pt x="3234" y="2748"/>
                </a:lnTo>
                <a:lnTo>
                  <a:pt x="3234" y="2740"/>
                </a:lnTo>
                <a:lnTo>
                  <a:pt x="3236" y="2736"/>
                </a:lnTo>
                <a:lnTo>
                  <a:pt x="3238" y="2732"/>
                </a:lnTo>
                <a:lnTo>
                  <a:pt x="3240" y="2730"/>
                </a:lnTo>
                <a:lnTo>
                  <a:pt x="3244" y="2728"/>
                </a:lnTo>
                <a:lnTo>
                  <a:pt x="3242" y="2724"/>
                </a:lnTo>
                <a:lnTo>
                  <a:pt x="3242" y="2720"/>
                </a:lnTo>
                <a:lnTo>
                  <a:pt x="3242" y="2714"/>
                </a:lnTo>
                <a:lnTo>
                  <a:pt x="3246" y="2704"/>
                </a:lnTo>
                <a:lnTo>
                  <a:pt x="3250" y="2694"/>
                </a:lnTo>
                <a:lnTo>
                  <a:pt x="3248" y="2690"/>
                </a:lnTo>
                <a:lnTo>
                  <a:pt x="3246" y="2688"/>
                </a:lnTo>
                <a:lnTo>
                  <a:pt x="3240" y="2688"/>
                </a:lnTo>
                <a:lnTo>
                  <a:pt x="3238" y="2690"/>
                </a:lnTo>
                <a:lnTo>
                  <a:pt x="3234" y="2696"/>
                </a:lnTo>
                <a:lnTo>
                  <a:pt x="3230" y="2704"/>
                </a:lnTo>
                <a:lnTo>
                  <a:pt x="3226" y="2706"/>
                </a:lnTo>
                <a:lnTo>
                  <a:pt x="3224" y="2706"/>
                </a:lnTo>
                <a:lnTo>
                  <a:pt x="3224" y="2698"/>
                </a:lnTo>
                <a:lnTo>
                  <a:pt x="3228" y="2688"/>
                </a:lnTo>
                <a:lnTo>
                  <a:pt x="3230" y="2684"/>
                </a:lnTo>
                <a:lnTo>
                  <a:pt x="3234" y="2682"/>
                </a:lnTo>
                <a:lnTo>
                  <a:pt x="3238" y="2678"/>
                </a:lnTo>
                <a:lnTo>
                  <a:pt x="3238" y="2676"/>
                </a:lnTo>
                <a:lnTo>
                  <a:pt x="3240" y="2672"/>
                </a:lnTo>
                <a:lnTo>
                  <a:pt x="3244" y="2666"/>
                </a:lnTo>
                <a:lnTo>
                  <a:pt x="3252" y="2654"/>
                </a:lnTo>
                <a:lnTo>
                  <a:pt x="3258" y="2640"/>
                </a:lnTo>
                <a:lnTo>
                  <a:pt x="3264" y="2630"/>
                </a:lnTo>
                <a:lnTo>
                  <a:pt x="3266" y="2630"/>
                </a:lnTo>
                <a:lnTo>
                  <a:pt x="3266" y="2632"/>
                </a:lnTo>
                <a:lnTo>
                  <a:pt x="3268" y="2634"/>
                </a:lnTo>
                <a:lnTo>
                  <a:pt x="3270" y="2636"/>
                </a:lnTo>
                <a:lnTo>
                  <a:pt x="3274" y="2632"/>
                </a:lnTo>
                <a:lnTo>
                  <a:pt x="3278" y="2630"/>
                </a:lnTo>
                <a:lnTo>
                  <a:pt x="3280" y="2632"/>
                </a:lnTo>
                <a:lnTo>
                  <a:pt x="3280" y="2636"/>
                </a:lnTo>
                <a:lnTo>
                  <a:pt x="3278" y="2640"/>
                </a:lnTo>
                <a:lnTo>
                  <a:pt x="3280" y="2642"/>
                </a:lnTo>
                <a:lnTo>
                  <a:pt x="3284" y="2636"/>
                </a:lnTo>
                <a:lnTo>
                  <a:pt x="3292" y="2628"/>
                </a:lnTo>
                <a:lnTo>
                  <a:pt x="3296" y="2624"/>
                </a:lnTo>
                <a:lnTo>
                  <a:pt x="3302" y="2624"/>
                </a:lnTo>
                <a:lnTo>
                  <a:pt x="3310" y="2624"/>
                </a:lnTo>
                <a:lnTo>
                  <a:pt x="3316" y="2622"/>
                </a:lnTo>
                <a:lnTo>
                  <a:pt x="3322" y="2618"/>
                </a:lnTo>
                <a:lnTo>
                  <a:pt x="3324" y="2616"/>
                </a:lnTo>
                <a:lnTo>
                  <a:pt x="3328" y="2616"/>
                </a:lnTo>
                <a:lnTo>
                  <a:pt x="3336" y="2620"/>
                </a:lnTo>
                <a:lnTo>
                  <a:pt x="3346" y="2626"/>
                </a:lnTo>
                <a:lnTo>
                  <a:pt x="3352" y="2628"/>
                </a:lnTo>
                <a:lnTo>
                  <a:pt x="3356" y="2628"/>
                </a:lnTo>
                <a:lnTo>
                  <a:pt x="3358" y="2628"/>
                </a:lnTo>
                <a:lnTo>
                  <a:pt x="3358" y="2626"/>
                </a:lnTo>
                <a:lnTo>
                  <a:pt x="3358" y="2620"/>
                </a:lnTo>
                <a:lnTo>
                  <a:pt x="3360" y="2620"/>
                </a:lnTo>
                <a:lnTo>
                  <a:pt x="3362" y="2620"/>
                </a:lnTo>
                <a:lnTo>
                  <a:pt x="3370" y="2624"/>
                </a:lnTo>
                <a:lnTo>
                  <a:pt x="3380" y="2624"/>
                </a:lnTo>
                <a:lnTo>
                  <a:pt x="3386" y="2624"/>
                </a:lnTo>
                <a:lnTo>
                  <a:pt x="3388" y="2622"/>
                </a:lnTo>
                <a:lnTo>
                  <a:pt x="3388" y="2618"/>
                </a:lnTo>
                <a:lnTo>
                  <a:pt x="3384" y="2614"/>
                </a:lnTo>
                <a:lnTo>
                  <a:pt x="3380" y="2612"/>
                </a:lnTo>
                <a:lnTo>
                  <a:pt x="3378" y="2610"/>
                </a:lnTo>
                <a:lnTo>
                  <a:pt x="3376" y="2602"/>
                </a:lnTo>
                <a:lnTo>
                  <a:pt x="3374" y="2598"/>
                </a:lnTo>
                <a:lnTo>
                  <a:pt x="3374" y="2596"/>
                </a:lnTo>
                <a:lnTo>
                  <a:pt x="3368" y="2596"/>
                </a:lnTo>
                <a:lnTo>
                  <a:pt x="3360" y="2596"/>
                </a:lnTo>
                <a:lnTo>
                  <a:pt x="3348" y="2594"/>
                </a:lnTo>
                <a:lnTo>
                  <a:pt x="3346" y="2592"/>
                </a:lnTo>
                <a:lnTo>
                  <a:pt x="3344" y="2590"/>
                </a:lnTo>
                <a:lnTo>
                  <a:pt x="3346" y="2582"/>
                </a:lnTo>
                <a:lnTo>
                  <a:pt x="3346" y="2578"/>
                </a:lnTo>
                <a:lnTo>
                  <a:pt x="3344" y="2578"/>
                </a:lnTo>
                <a:lnTo>
                  <a:pt x="3342" y="2578"/>
                </a:lnTo>
                <a:lnTo>
                  <a:pt x="3330" y="2582"/>
                </a:lnTo>
                <a:lnTo>
                  <a:pt x="3314" y="2584"/>
                </a:lnTo>
                <a:lnTo>
                  <a:pt x="3300" y="2586"/>
                </a:lnTo>
                <a:lnTo>
                  <a:pt x="3294" y="2588"/>
                </a:lnTo>
                <a:lnTo>
                  <a:pt x="3288" y="2590"/>
                </a:lnTo>
                <a:lnTo>
                  <a:pt x="3282" y="2596"/>
                </a:lnTo>
                <a:lnTo>
                  <a:pt x="3274" y="2596"/>
                </a:lnTo>
                <a:lnTo>
                  <a:pt x="3268" y="2594"/>
                </a:lnTo>
                <a:lnTo>
                  <a:pt x="3258" y="2594"/>
                </a:lnTo>
                <a:lnTo>
                  <a:pt x="3254" y="2594"/>
                </a:lnTo>
                <a:lnTo>
                  <a:pt x="3250" y="2592"/>
                </a:lnTo>
                <a:lnTo>
                  <a:pt x="3244" y="2584"/>
                </a:lnTo>
                <a:lnTo>
                  <a:pt x="3238" y="2576"/>
                </a:lnTo>
                <a:lnTo>
                  <a:pt x="3234" y="2572"/>
                </a:lnTo>
                <a:lnTo>
                  <a:pt x="3228" y="2568"/>
                </a:lnTo>
                <a:lnTo>
                  <a:pt x="3222" y="2568"/>
                </a:lnTo>
                <a:lnTo>
                  <a:pt x="3218" y="2568"/>
                </a:lnTo>
                <a:lnTo>
                  <a:pt x="3212" y="2572"/>
                </a:lnTo>
                <a:lnTo>
                  <a:pt x="3208" y="2574"/>
                </a:lnTo>
                <a:lnTo>
                  <a:pt x="3206" y="2574"/>
                </a:lnTo>
                <a:lnTo>
                  <a:pt x="3206" y="2572"/>
                </a:lnTo>
                <a:lnTo>
                  <a:pt x="3204" y="2566"/>
                </a:lnTo>
                <a:lnTo>
                  <a:pt x="3202" y="2558"/>
                </a:lnTo>
                <a:lnTo>
                  <a:pt x="3200" y="2554"/>
                </a:lnTo>
                <a:lnTo>
                  <a:pt x="3198" y="2554"/>
                </a:lnTo>
                <a:lnTo>
                  <a:pt x="3192" y="2558"/>
                </a:lnTo>
                <a:lnTo>
                  <a:pt x="3180" y="2566"/>
                </a:lnTo>
                <a:lnTo>
                  <a:pt x="3176" y="2570"/>
                </a:lnTo>
                <a:lnTo>
                  <a:pt x="3172" y="2574"/>
                </a:lnTo>
                <a:lnTo>
                  <a:pt x="3164" y="2574"/>
                </a:lnTo>
                <a:lnTo>
                  <a:pt x="3156" y="2576"/>
                </a:lnTo>
                <a:lnTo>
                  <a:pt x="3152" y="2578"/>
                </a:lnTo>
                <a:lnTo>
                  <a:pt x="3146" y="2582"/>
                </a:lnTo>
                <a:lnTo>
                  <a:pt x="3134" y="2588"/>
                </a:lnTo>
                <a:lnTo>
                  <a:pt x="3126" y="2588"/>
                </a:lnTo>
                <a:lnTo>
                  <a:pt x="3120" y="2588"/>
                </a:lnTo>
                <a:lnTo>
                  <a:pt x="3110" y="2588"/>
                </a:lnTo>
                <a:lnTo>
                  <a:pt x="3106" y="2588"/>
                </a:lnTo>
                <a:lnTo>
                  <a:pt x="3106" y="2586"/>
                </a:lnTo>
                <a:lnTo>
                  <a:pt x="3108" y="2580"/>
                </a:lnTo>
                <a:lnTo>
                  <a:pt x="3112" y="2572"/>
                </a:lnTo>
                <a:lnTo>
                  <a:pt x="3112" y="2570"/>
                </a:lnTo>
                <a:lnTo>
                  <a:pt x="3108" y="2568"/>
                </a:lnTo>
                <a:lnTo>
                  <a:pt x="3104" y="2568"/>
                </a:lnTo>
                <a:lnTo>
                  <a:pt x="3098" y="2570"/>
                </a:lnTo>
                <a:lnTo>
                  <a:pt x="3088" y="2576"/>
                </a:lnTo>
                <a:lnTo>
                  <a:pt x="3076" y="2580"/>
                </a:lnTo>
                <a:lnTo>
                  <a:pt x="3070" y="2582"/>
                </a:lnTo>
                <a:lnTo>
                  <a:pt x="3064" y="2582"/>
                </a:lnTo>
                <a:lnTo>
                  <a:pt x="3060" y="2580"/>
                </a:lnTo>
                <a:lnTo>
                  <a:pt x="3058" y="2578"/>
                </a:lnTo>
                <a:lnTo>
                  <a:pt x="3060" y="2574"/>
                </a:lnTo>
                <a:lnTo>
                  <a:pt x="3064" y="2570"/>
                </a:lnTo>
                <a:lnTo>
                  <a:pt x="3076" y="2560"/>
                </a:lnTo>
                <a:lnTo>
                  <a:pt x="3092" y="2546"/>
                </a:lnTo>
                <a:close/>
                <a:moveTo>
                  <a:pt x="4624" y="6618"/>
                </a:moveTo>
                <a:lnTo>
                  <a:pt x="4624" y="6618"/>
                </a:lnTo>
                <a:lnTo>
                  <a:pt x="4628" y="6626"/>
                </a:lnTo>
                <a:lnTo>
                  <a:pt x="4624" y="6618"/>
                </a:lnTo>
                <a:close/>
                <a:moveTo>
                  <a:pt x="3752" y="4008"/>
                </a:moveTo>
                <a:lnTo>
                  <a:pt x="3752" y="4008"/>
                </a:lnTo>
                <a:lnTo>
                  <a:pt x="3760" y="4004"/>
                </a:lnTo>
                <a:lnTo>
                  <a:pt x="3768" y="4002"/>
                </a:lnTo>
                <a:lnTo>
                  <a:pt x="3776" y="4002"/>
                </a:lnTo>
                <a:lnTo>
                  <a:pt x="3782" y="4002"/>
                </a:lnTo>
                <a:lnTo>
                  <a:pt x="3786" y="3998"/>
                </a:lnTo>
                <a:lnTo>
                  <a:pt x="3788" y="3994"/>
                </a:lnTo>
                <a:lnTo>
                  <a:pt x="3790" y="3992"/>
                </a:lnTo>
                <a:lnTo>
                  <a:pt x="3786" y="3990"/>
                </a:lnTo>
                <a:lnTo>
                  <a:pt x="3778" y="3990"/>
                </a:lnTo>
                <a:lnTo>
                  <a:pt x="3774" y="3988"/>
                </a:lnTo>
                <a:lnTo>
                  <a:pt x="3770" y="3984"/>
                </a:lnTo>
                <a:lnTo>
                  <a:pt x="3766" y="3978"/>
                </a:lnTo>
                <a:lnTo>
                  <a:pt x="3760" y="3974"/>
                </a:lnTo>
                <a:lnTo>
                  <a:pt x="3752" y="3970"/>
                </a:lnTo>
                <a:lnTo>
                  <a:pt x="3736" y="3968"/>
                </a:lnTo>
                <a:lnTo>
                  <a:pt x="3722" y="3966"/>
                </a:lnTo>
                <a:lnTo>
                  <a:pt x="3722" y="3964"/>
                </a:lnTo>
                <a:lnTo>
                  <a:pt x="3726" y="3960"/>
                </a:lnTo>
                <a:lnTo>
                  <a:pt x="3726" y="3958"/>
                </a:lnTo>
                <a:lnTo>
                  <a:pt x="3728" y="3954"/>
                </a:lnTo>
                <a:lnTo>
                  <a:pt x="3726" y="3950"/>
                </a:lnTo>
                <a:lnTo>
                  <a:pt x="3724" y="3948"/>
                </a:lnTo>
                <a:lnTo>
                  <a:pt x="3720" y="3948"/>
                </a:lnTo>
                <a:lnTo>
                  <a:pt x="3712" y="3948"/>
                </a:lnTo>
                <a:lnTo>
                  <a:pt x="3708" y="3948"/>
                </a:lnTo>
                <a:lnTo>
                  <a:pt x="3706" y="3944"/>
                </a:lnTo>
                <a:lnTo>
                  <a:pt x="3702" y="3942"/>
                </a:lnTo>
                <a:lnTo>
                  <a:pt x="3700" y="3942"/>
                </a:lnTo>
                <a:lnTo>
                  <a:pt x="3696" y="3942"/>
                </a:lnTo>
                <a:lnTo>
                  <a:pt x="3692" y="3944"/>
                </a:lnTo>
                <a:lnTo>
                  <a:pt x="3690" y="3944"/>
                </a:lnTo>
                <a:lnTo>
                  <a:pt x="3688" y="3940"/>
                </a:lnTo>
                <a:lnTo>
                  <a:pt x="3684" y="3936"/>
                </a:lnTo>
                <a:lnTo>
                  <a:pt x="3682" y="3936"/>
                </a:lnTo>
                <a:lnTo>
                  <a:pt x="3678" y="3934"/>
                </a:lnTo>
                <a:lnTo>
                  <a:pt x="3670" y="3928"/>
                </a:lnTo>
                <a:lnTo>
                  <a:pt x="3656" y="3912"/>
                </a:lnTo>
                <a:lnTo>
                  <a:pt x="3650" y="3910"/>
                </a:lnTo>
                <a:lnTo>
                  <a:pt x="3650" y="3914"/>
                </a:lnTo>
                <a:lnTo>
                  <a:pt x="3650" y="3916"/>
                </a:lnTo>
                <a:lnTo>
                  <a:pt x="3650" y="3918"/>
                </a:lnTo>
                <a:lnTo>
                  <a:pt x="3646" y="3916"/>
                </a:lnTo>
                <a:lnTo>
                  <a:pt x="3644" y="3912"/>
                </a:lnTo>
                <a:lnTo>
                  <a:pt x="3644" y="3906"/>
                </a:lnTo>
                <a:lnTo>
                  <a:pt x="3644" y="3902"/>
                </a:lnTo>
                <a:lnTo>
                  <a:pt x="3642" y="3902"/>
                </a:lnTo>
                <a:lnTo>
                  <a:pt x="3636" y="3900"/>
                </a:lnTo>
                <a:lnTo>
                  <a:pt x="3626" y="3898"/>
                </a:lnTo>
                <a:lnTo>
                  <a:pt x="3618" y="3894"/>
                </a:lnTo>
                <a:lnTo>
                  <a:pt x="3610" y="3890"/>
                </a:lnTo>
                <a:lnTo>
                  <a:pt x="3602" y="3884"/>
                </a:lnTo>
                <a:lnTo>
                  <a:pt x="3594" y="3882"/>
                </a:lnTo>
                <a:lnTo>
                  <a:pt x="3584" y="3882"/>
                </a:lnTo>
                <a:lnTo>
                  <a:pt x="3580" y="3880"/>
                </a:lnTo>
                <a:lnTo>
                  <a:pt x="3576" y="3880"/>
                </a:lnTo>
                <a:lnTo>
                  <a:pt x="3572" y="3876"/>
                </a:lnTo>
                <a:lnTo>
                  <a:pt x="3566" y="3868"/>
                </a:lnTo>
                <a:lnTo>
                  <a:pt x="3560" y="3862"/>
                </a:lnTo>
                <a:lnTo>
                  <a:pt x="3554" y="3858"/>
                </a:lnTo>
                <a:lnTo>
                  <a:pt x="3550" y="3856"/>
                </a:lnTo>
                <a:lnTo>
                  <a:pt x="3544" y="3856"/>
                </a:lnTo>
                <a:lnTo>
                  <a:pt x="3536" y="3854"/>
                </a:lnTo>
                <a:lnTo>
                  <a:pt x="3534" y="3854"/>
                </a:lnTo>
                <a:lnTo>
                  <a:pt x="3530" y="3850"/>
                </a:lnTo>
                <a:lnTo>
                  <a:pt x="3526" y="3846"/>
                </a:lnTo>
                <a:lnTo>
                  <a:pt x="3524" y="3846"/>
                </a:lnTo>
                <a:lnTo>
                  <a:pt x="3520" y="3846"/>
                </a:lnTo>
                <a:lnTo>
                  <a:pt x="3514" y="3848"/>
                </a:lnTo>
                <a:lnTo>
                  <a:pt x="3510" y="3848"/>
                </a:lnTo>
                <a:lnTo>
                  <a:pt x="3506" y="3844"/>
                </a:lnTo>
                <a:lnTo>
                  <a:pt x="3502" y="3840"/>
                </a:lnTo>
                <a:lnTo>
                  <a:pt x="3498" y="3842"/>
                </a:lnTo>
                <a:lnTo>
                  <a:pt x="3496" y="3844"/>
                </a:lnTo>
                <a:lnTo>
                  <a:pt x="3492" y="3846"/>
                </a:lnTo>
                <a:lnTo>
                  <a:pt x="3486" y="3846"/>
                </a:lnTo>
                <a:lnTo>
                  <a:pt x="3478" y="3844"/>
                </a:lnTo>
                <a:lnTo>
                  <a:pt x="3468" y="3842"/>
                </a:lnTo>
                <a:lnTo>
                  <a:pt x="3462" y="3842"/>
                </a:lnTo>
                <a:lnTo>
                  <a:pt x="3458" y="3842"/>
                </a:lnTo>
                <a:lnTo>
                  <a:pt x="3456" y="3844"/>
                </a:lnTo>
                <a:lnTo>
                  <a:pt x="3448" y="3850"/>
                </a:lnTo>
                <a:lnTo>
                  <a:pt x="3444" y="3850"/>
                </a:lnTo>
                <a:lnTo>
                  <a:pt x="3436" y="3852"/>
                </a:lnTo>
                <a:lnTo>
                  <a:pt x="3420" y="3854"/>
                </a:lnTo>
                <a:lnTo>
                  <a:pt x="3406" y="3858"/>
                </a:lnTo>
                <a:lnTo>
                  <a:pt x="3394" y="3864"/>
                </a:lnTo>
                <a:lnTo>
                  <a:pt x="3386" y="3870"/>
                </a:lnTo>
                <a:lnTo>
                  <a:pt x="3380" y="3876"/>
                </a:lnTo>
                <a:lnTo>
                  <a:pt x="3376" y="3882"/>
                </a:lnTo>
                <a:lnTo>
                  <a:pt x="3374" y="3888"/>
                </a:lnTo>
                <a:lnTo>
                  <a:pt x="3374" y="3894"/>
                </a:lnTo>
                <a:lnTo>
                  <a:pt x="3374" y="3898"/>
                </a:lnTo>
                <a:lnTo>
                  <a:pt x="3372" y="3902"/>
                </a:lnTo>
                <a:lnTo>
                  <a:pt x="3364" y="3904"/>
                </a:lnTo>
                <a:lnTo>
                  <a:pt x="3354" y="3904"/>
                </a:lnTo>
                <a:lnTo>
                  <a:pt x="3352" y="3906"/>
                </a:lnTo>
                <a:lnTo>
                  <a:pt x="3352" y="3910"/>
                </a:lnTo>
                <a:lnTo>
                  <a:pt x="3352" y="3912"/>
                </a:lnTo>
                <a:lnTo>
                  <a:pt x="3354" y="3912"/>
                </a:lnTo>
                <a:lnTo>
                  <a:pt x="3360" y="3914"/>
                </a:lnTo>
                <a:lnTo>
                  <a:pt x="3364" y="3912"/>
                </a:lnTo>
                <a:lnTo>
                  <a:pt x="3366" y="3912"/>
                </a:lnTo>
                <a:lnTo>
                  <a:pt x="3368" y="3914"/>
                </a:lnTo>
                <a:lnTo>
                  <a:pt x="3370" y="3916"/>
                </a:lnTo>
                <a:lnTo>
                  <a:pt x="3374" y="3914"/>
                </a:lnTo>
                <a:lnTo>
                  <a:pt x="3380" y="3910"/>
                </a:lnTo>
                <a:lnTo>
                  <a:pt x="3390" y="3908"/>
                </a:lnTo>
                <a:lnTo>
                  <a:pt x="3390" y="3904"/>
                </a:lnTo>
                <a:lnTo>
                  <a:pt x="3394" y="3900"/>
                </a:lnTo>
                <a:lnTo>
                  <a:pt x="3402" y="3894"/>
                </a:lnTo>
                <a:lnTo>
                  <a:pt x="3414" y="3890"/>
                </a:lnTo>
                <a:lnTo>
                  <a:pt x="3420" y="3886"/>
                </a:lnTo>
                <a:lnTo>
                  <a:pt x="3426" y="3880"/>
                </a:lnTo>
                <a:lnTo>
                  <a:pt x="3434" y="3876"/>
                </a:lnTo>
                <a:lnTo>
                  <a:pt x="3442" y="3872"/>
                </a:lnTo>
                <a:lnTo>
                  <a:pt x="3450" y="3870"/>
                </a:lnTo>
                <a:lnTo>
                  <a:pt x="3460" y="3868"/>
                </a:lnTo>
                <a:lnTo>
                  <a:pt x="3474" y="3870"/>
                </a:lnTo>
                <a:lnTo>
                  <a:pt x="3482" y="3874"/>
                </a:lnTo>
                <a:lnTo>
                  <a:pt x="3484" y="3876"/>
                </a:lnTo>
                <a:lnTo>
                  <a:pt x="3482" y="3876"/>
                </a:lnTo>
                <a:lnTo>
                  <a:pt x="3474" y="3880"/>
                </a:lnTo>
                <a:lnTo>
                  <a:pt x="3466" y="3884"/>
                </a:lnTo>
                <a:lnTo>
                  <a:pt x="3466" y="3886"/>
                </a:lnTo>
                <a:lnTo>
                  <a:pt x="3468" y="3888"/>
                </a:lnTo>
                <a:lnTo>
                  <a:pt x="3478" y="3894"/>
                </a:lnTo>
                <a:lnTo>
                  <a:pt x="3486" y="3898"/>
                </a:lnTo>
                <a:lnTo>
                  <a:pt x="3496" y="3900"/>
                </a:lnTo>
                <a:lnTo>
                  <a:pt x="3514" y="3900"/>
                </a:lnTo>
                <a:lnTo>
                  <a:pt x="3524" y="3900"/>
                </a:lnTo>
                <a:lnTo>
                  <a:pt x="3532" y="3902"/>
                </a:lnTo>
                <a:lnTo>
                  <a:pt x="3536" y="3904"/>
                </a:lnTo>
                <a:lnTo>
                  <a:pt x="3540" y="3908"/>
                </a:lnTo>
                <a:lnTo>
                  <a:pt x="3550" y="3914"/>
                </a:lnTo>
                <a:lnTo>
                  <a:pt x="3556" y="3918"/>
                </a:lnTo>
                <a:lnTo>
                  <a:pt x="3564" y="3922"/>
                </a:lnTo>
                <a:lnTo>
                  <a:pt x="3574" y="3924"/>
                </a:lnTo>
                <a:lnTo>
                  <a:pt x="3580" y="3926"/>
                </a:lnTo>
                <a:lnTo>
                  <a:pt x="3592" y="3926"/>
                </a:lnTo>
                <a:lnTo>
                  <a:pt x="3596" y="3926"/>
                </a:lnTo>
                <a:lnTo>
                  <a:pt x="3600" y="3926"/>
                </a:lnTo>
                <a:lnTo>
                  <a:pt x="3604" y="3930"/>
                </a:lnTo>
                <a:lnTo>
                  <a:pt x="3606" y="3934"/>
                </a:lnTo>
                <a:lnTo>
                  <a:pt x="3610" y="3946"/>
                </a:lnTo>
                <a:lnTo>
                  <a:pt x="3616" y="3958"/>
                </a:lnTo>
                <a:lnTo>
                  <a:pt x="3620" y="3962"/>
                </a:lnTo>
                <a:lnTo>
                  <a:pt x="3624" y="3966"/>
                </a:lnTo>
                <a:lnTo>
                  <a:pt x="3630" y="3968"/>
                </a:lnTo>
                <a:lnTo>
                  <a:pt x="3638" y="3968"/>
                </a:lnTo>
                <a:lnTo>
                  <a:pt x="3654" y="3970"/>
                </a:lnTo>
                <a:lnTo>
                  <a:pt x="3662" y="3972"/>
                </a:lnTo>
                <a:lnTo>
                  <a:pt x="3666" y="3974"/>
                </a:lnTo>
                <a:lnTo>
                  <a:pt x="3668" y="3978"/>
                </a:lnTo>
                <a:lnTo>
                  <a:pt x="3668" y="3982"/>
                </a:lnTo>
                <a:lnTo>
                  <a:pt x="3666" y="3986"/>
                </a:lnTo>
                <a:lnTo>
                  <a:pt x="3662" y="3990"/>
                </a:lnTo>
                <a:lnTo>
                  <a:pt x="3648" y="4000"/>
                </a:lnTo>
                <a:lnTo>
                  <a:pt x="3642" y="4004"/>
                </a:lnTo>
                <a:lnTo>
                  <a:pt x="3640" y="4008"/>
                </a:lnTo>
                <a:lnTo>
                  <a:pt x="3642" y="4010"/>
                </a:lnTo>
                <a:lnTo>
                  <a:pt x="3648" y="4010"/>
                </a:lnTo>
                <a:lnTo>
                  <a:pt x="3678" y="4008"/>
                </a:lnTo>
                <a:lnTo>
                  <a:pt x="3698" y="4006"/>
                </a:lnTo>
                <a:lnTo>
                  <a:pt x="3712" y="4006"/>
                </a:lnTo>
                <a:lnTo>
                  <a:pt x="3720" y="4008"/>
                </a:lnTo>
                <a:lnTo>
                  <a:pt x="3728" y="4010"/>
                </a:lnTo>
                <a:lnTo>
                  <a:pt x="3732" y="4012"/>
                </a:lnTo>
                <a:lnTo>
                  <a:pt x="3736" y="4012"/>
                </a:lnTo>
                <a:lnTo>
                  <a:pt x="3742" y="4012"/>
                </a:lnTo>
                <a:lnTo>
                  <a:pt x="3752" y="4008"/>
                </a:lnTo>
                <a:close/>
                <a:moveTo>
                  <a:pt x="3664" y="4082"/>
                </a:moveTo>
                <a:lnTo>
                  <a:pt x="3664" y="4082"/>
                </a:lnTo>
                <a:lnTo>
                  <a:pt x="3646" y="4080"/>
                </a:lnTo>
                <a:lnTo>
                  <a:pt x="3634" y="4078"/>
                </a:lnTo>
                <a:lnTo>
                  <a:pt x="3624" y="4082"/>
                </a:lnTo>
                <a:lnTo>
                  <a:pt x="3618" y="4088"/>
                </a:lnTo>
                <a:lnTo>
                  <a:pt x="3616" y="4092"/>
                </a:lnTo>
                <a:lnTo>
                  <a:pt x="3614" y="4094"/>
                </a:lnTo>
                <a:lnTo>
                  <a:pt x="3626" y="4098"/>
                </a:lnTo>
                <a:lnTo>
                  <a:pt x="3632" y="4102"/>
                </a:lnTo>
                <a:lnTo>
                  <a:pt x="3634" y="4106"/>
                </a:lnTo>
                <a:lnTo>
                  <a:pt x="3638" y="4110"/>
                </a:lnTo>
                <a:lnTo>
                  <a:pt x="3652" y="4116"/>
                </a:lnTo>
                <a:lnTo>
                  <a:pt x="3664" y="4118"/>
                </a:lnTo>
                <a:lnTo>
                  <a:pt x="3668" y="4116"/>
                </a:lnTo>
                <a:lnTo>
                  <a:pt x="3670" y="4112"/>
                </a:lnTo>
                <a:lnTo>
                  <a:pt x="3672" y="4110"/>
                </a:lnTo>
                <a:lnTo>
                  <a:pt x="3676" y="4110"/>
                </a:lnTo>
                <a:lnTo>
                  <a:pt x="3688" y="4110"/>
                </a:lnTo>
                <a:lnTo>
                  <a:pt x="3696" y="4112"/>
                </a:lnTo>
                <a:lnTo>
                  <a:pt x="3702" y="4112"/>
                </a:lnTo>
                <a:lnTo>
                  <a:pt x="3702" y="4110"/>
                </a:lnTo>
                <a:lnTo>
                  <a:pt x="3702" y="4106"/>
                </a:lnTo>
                <a:lnTo>
                  <a:pt x="3698" y="4100"/>
                </a:lnTo>
                <a:lnTo>
                  <a:pt x="3692" y="4092"/>
                </a:lnTo>
                <a:lnTo>
                  <a:pt x="3680" y="4088"/>
                </a:lnTo>
                <a:lnTo>
                  <a:pt x="3664" y="4082"/>
                </a:lnTo>
                <a:close/>
                <a:moveTo>
                  <a:pt x="4016" y="4068"/>
                </a:moveTo>
                <a:lnTo>
                  <a:pt x="4016" y="4068"/>
                </a:lnTo>
                <a:lnTo>
                  <a:pt x="4004" y="4058"/>
                </a:lnTo>
                <a:lnTo>
                  <a:pt x="4000" y="4054"/>
                </a:lnTo>
                <a:lnTo>
                  <a:pt x="3992" y="4054"/>
                </a:lnTo>
                <a:lnTo>
                  <a:pt x="3982" y="4054"/>
                </a:lnTo>
                <a:lnTo>
                  <a:pt x="3976" y="4052"/>
                </a:lnTo>
                <a:lnTo>
                  <a:pt x="3974" y="4050"/>
                </a:lnTo>
                <a:lnTo>
                  <a:pt x="3974" y="4048"/>
                </a:lnTo>
                <a:lnTo>
                  <a:pt x="3976" y="4046"/>
                </a:lnTo>
                <a:lnTo>
                  <a:pt x="3980" y="4046"/>
                </a:lnTo>
                <a:lnTo>
                  <a:pt x="3988" y="4042"/>
                </a:lnTo>
                <a:lnTo>
                  <a:pt x="3988" y="4040"/>
                </a:lnTo>
                <a:lnTo>
                  <a:pt x="3982" y="4038"/>
                </a:lnTo>
                <a:lnTo>
                  <a:pt x="3970" y="4040"/>
                </a:lnTo>
                <a:lnTo>
                  <a:pt x="3964" y="4040"/>
                </a:lnTo>
                <a:lnTo>
                  <a:pt x="3960" y="4038"/>
                </a:lnTo>
                <a:lnTo>
                  <a:pt x="3958" y="4034"/>
                </a:lnTo>
                <a:lnTo>
                  <a:pt x="3956" y="4030"/>
                </a:lnTo>
                <a:lnTo>
                  <a:pt x="3954" y="4024"/>
                </a:lnTo>
                <a:lnTo>
                  <a:pt x="3952" y="4022"/>
                </a:lnTo>
                <a:lnTo>
                  <a:pt x="3948" y="4022"/>
                </a:lnTo>
                <a:lnTo>
                  <a:pt x="3944" y="4022"/>
                </a:lnTo>
                <a:lnTo>
                  <a:pt x="3938" y="4022"/>
                </a:lnTo>
                <a:lnTo>
                  <a:pt x="3928" y="4016"/>
                </a:lnTo>
                <a:lnTo>
                  <a:pt x="3918" y="4010"/>
                </a:lnTo>
                <a:lnTo>
                  <a:pt x="3914" y="4008"/>
                </a:lnTo>
                <a:lnTo>
                  <a:pt x="3910" y="4010"/>
                </a:lnTo>
                <a:lnTo>
                  <a:pt x="3906" y="4012"/>
                </a:lnTo>
                <a:lnTo>
                  <a:pt x="3902" y="4012"/>
                </a:lnTo>
                <a:lnTo>
                  <a:pt x="3894" y="4010"/>
                </a:lnTo>
                <a:lnTo>
                  <a:pt x="3888" y="4012"/>
                </a:lnTo>
                <a:lnTo>
                  <a:pt x="3886" y="4014"/>
                </a:lnTo>
                <a:lnTo>
                  <a:pt x="3882" y="4018"/>
                </a:lnTo>
                <a:lnTo>
                  <a:pt x="3874" y="4016"/>
                </a:lnTo>
                <a:lnTo>
                  <a:pt x="3868" y="4018"/>
                </a:lnTo>
                <a:lnTo>
                  <a:pt x="3862" y="4016"/>
                </a:lnTo>
                <a:lnTo>
                  <a:pt x="3856" y="4014"/>
                </a:lnTo>
                <a:lnTo>
                  <a:pt x="3844" y="4008"/>
                </a:lnTo>
                <a:lnTo>
                  <a:pt x="3830" y="4008"/>
                </a:lnTo>
                <a:lnTo>
                  <a:pt x="3818" y="4010"/>
                </a:lnTo>
                <a:lnTo>
                  <a:pt x="3814" y="4012"/>
                </a:lnTo>
                <a:lnTo>
                  <a:pt x="3812" y="4016"/>
                </a:lnTo>
                <a:lnTo>
                  <a:pt x="3814" y="4022"/>
                </a:lnTo>
                <a:lnTo>
                  <a:pt x="3818" y="4024"/>
                </a:lnTo>
                <a:lnTo>
                  <a:pt x="3826" y="4024"/>
                </a:lnTo>
                <a:lnTo>
                  <a:pt x="3838" y="4028"/>
                </a:lnTo>
                <a:lnTo>
                  <a:pt x="3842" y="4032"/>
                </a:lnTo>
                <a:lnTo>
                  <a:pt x="3844" y="4034"/>
                </a:lnTo>
                <a:lnTo>
                  <a:pt x="3842" y="4040"/>
                </a:lnTo>
                <a:lnTo>
                  <a:pt x="3840" y="4044"/>
                </a:lnTo>
                <a:lnTo>
                  <a:pt x="3842" y="4050"/>
                </a:lnTo>
                <a:lnTo>
                  <a:pt x="3844" y="4056"/>
                </a:lnTo>
                <a:lnTo>
                  <a:pt x="3852" y="4064"/>
                </a:lnTo>
                <a:lnTo>
                  <a:pt x="3860" y="4074"/>
                </a:lnTo>
                <a:lnTo>
                  <a:pt x="3860" y="4076"/>
                </a:lnTo>
                <a:lnTo>
                  <a:pt x="3854" y="4076"/>
                </a:lnTo>
                <a:lnTo>
                  <a:pt x="3846" y="4078"/>
                </a:lnTo>
                <a:lnTo>
                  <a:pt x="3838" y="4080"/>
                </a:lnTo>
                <a:lnTo>
                  <a:pt x="3828" y="4080"/>
                </a:lnTo>
                <a:lnTo>
                  <a:pt x="3804" y="4076"/>
                </a:lnTo>
                <a:lnTo>
                  <a:pt x="3794" y="4074"/>
                </a:lnTo>
                <a:lnTo>
                  <a:pt x="3784" y="4072"/>
                </a:lnTo>
                <a:lnTo>
                  <a:pt x="3776" y="4074"/>
                </a:lnTo>
                <a:lnTo>
                  <a:pt x="3774" y="4074"/>
                </a:lnTo>
                <a:lnTo>
                  <a:pt x="3772" y="4078"/>
                </a:lnTo>
                <a:lnTo>
                  <a:pt x="3770" y="4082"/>
                </a:lnTo>
                <a:lnTo>
                  <a:pt x="3770" y="4086"/>
                </a:lnTo>
                <a:lnTo>
                  <a:pt x="3772" y="4088"/>
                </a:lnTo>
                <a:lnTo>
                  <a:pt x="3776" y="4090"/>
                </a:lnTo>
                <a:lnTo>
                  <a:pt x="3784" y="4092"/>
                </a:lnTo>
                <a:lnTo>
                  <a:pt x="3788" y="4094"/>
                </a:lnTo>
                <a:lnTo>
                  <a:pt x="3794" y="4100"/>
                </a:lnTo>
                <a:lnTo>
                  <a:pt x="3798" y="4102"/>
                </a:lnTo>
                <a:lnTo>
                  <a:pt x="3800" y="4102"/>
                </a:lnTo>
                <a:lnTo>
                  <a:pt x="3802" y="4098"/>
                </a:lnTo>
                <a:lnTo>
                  <a:pt x="3804" y="4094"/>
                </a:lnTo>
                <a:lnTo>
                  <a:pt x="3808" y="4094"/>
                </a:lnTo>
                <a:lnTo>
                  <a:pt x="3816" y="4094"/>
                </a:lnTo>
                <a:lnTo>
                  <a:pt x="3828" y="4098"/>
                </a:lnTo>
                <a:lnTo>
                  <a:pt x="3836" y="4100"/>
                </a:lnTo>
                <a:lnTo>
                  <a:pt x="3842" y="4098"/>
                </a:lnTo>
                <a:lnTo>
                  <a:pt x="3852" y="4096"/>
                </a:lnTo>
                <a:lnTo>
                  <a:pt x="3858" y="4096"/>
                </a:lnTo>
                <a:lnTo>
                  <a:pt x="3864" y="4096"/>
                </a:lnTo>
                <a:lnTo>
                  <a:pt x="3872" y="4098"/>
                </a:lnTo>
                <a:lnTo>
                  <a:pt x="3882" y="4102"/>
                </a:lnTo>
                <a:lnTo>
                  <a:pt x="3886" y="4110"/>
                </a:lnTo>
                <a:lnTo>
                  <a:pt x="3890" y="4114"/>
                </a:lnTo>
                <a:lnTo>
                  <a:pt x="3894" y="4118"/>
                </a:lnTo>
                <a:lnTo>
                  <a:pt x="3896" y="4118"/>
                </a:lnTo>
                <a:lnTo>
                  <a:pt x="3900" y="4116"/>
                </a:lnTo>
                <a:lnTo>
                  <a:pt x="3902" y="4112"/>
                </a:lnTo>
                <a:lnTo>
                  <a:pt x="3908" y="4104"/>
                </a:lnTo>
                <a:lnTo>
                  <a:pt x="3914" y="4094"/>
                </a:lnTo>
                <a:lnTo>
                  <a:pt x="3920" y="4086"/>
                </a:lnTo>
                <a:lnTo>
                  <a:pt x="3926" y="4084"/>
                </a:lnTo>
                <a:lnTo>
                  <a:pt x="3928" y="4086"/>
                </a:lnTo>
                <a:lnTo>
                  <a:pt x="3930" y="4088"/>
                </a:lnTo>
                <a:lnTo>
                  <a:pt x="3932" y="4094"/>
                </a:lnTo>
                <a:lnTo>
                  <a:pt x="3936" y="4096"/>
                </a:lnTo>
                <a:lnTo>
                  <a:pt x="3942" y="4092"/>
                </a:lnTo>
                <a:lnTo>
                  <a:pt x="3952" y="4086"/>
                </a:lnTo>
                <a:lnTo>
                  <a:pt x="3956" y="4084"/>
                </a:lnTo>
                <a:lnTo>
                  <a:pt x="3964" y="4082"/>
                </a:lnTo>
                <a:lnTo>
                  <a:pt x="3978" y="4082"/>
                </a:lnTo>
                <a:lnTo>
                  <a:pt x="3992" y="4084"/>
                </a:lnTo>
                <a:lnTo>
                  <a:pt x="4002" y="4090"/>
                </a:lnTo>
                <a:lnTo>
                  <a:pt x="4004" y="4090"/>
                </a:lnTo>
                <a:lnTo>
                  <a:pt x="4008" y="4090"/>
                </a:lnTo>
                <a:lnTo>
                  <a:pt x="4012" y="4088"/>
                </a:lnTo>
                <a:lnTo>
                  <a:pt x="4016" y="4086"/>
                </a:lnTo>
                <a:lnTo>
                  <a:pt x="4018" y="4082"/>
                </a:lnTo>
                <a:lnTo>
                  <a:pt x="4018" y="4078"/>
                </a:lnTo>
                <a:lnTo>
                  <a:pt x="4018" y="4072"/>
                </a:lnTo>
                <a:lnTo>
                  <a:pt x="4016" y="4068"/>
                </a:lnTo>
                <a:close/>
                <a:moveTo>
                  <a:pt x="4132" y="7870"/>
                </a:moveTo>
                <a:lnTo>
                  <a:pt x="4132" y="7870"/>
                </a:lnTo>
                <a:lnTo>
                  <a:pt x="4124" y="7870"/>
                </a:lnTo>
                <a:lnTo>
                  <a:pt x="4118" y="7870"/>
                </a:lnTo>
                <a:lnTo>
                  <a:pt x="4112" y="7866"/>
                </a:lnTo>
                <a:lnTo>
                  <a:pt x="4106" y="7864"/>
                </a:lnTo>
                <a:lnTo>
                  <a:pt x="4098" y="7860"/>
                </a:lnTo>
                <a:lnTo>
                  <a:pt x="4090" y="7854"/>
                </a:lnTo>
                <a:lnTo>
                  <a:pt x="4080" y="7846"/>
                </a:lnTo>
                <a:lnTo>
                  <a:pt x="4070" y="7840"/>
                </a:lnTo>
                <a:lnTo>
                  <a:pt x="4058" y="7832"/>
                </a:lnTo>
                <a:lnTo>
                  <a:pt x="4046" y="7820"/>
                </a:lnTo>
                <a:lnTo>
                  <a:pt x="4034" y="7808"/>
                </a:lnTo>
                <a:lnTo>
                  <a:pt x="4028" y="7798"/>
                </a:lnTo>
                <a:lnTo>
                  <a:pt x="4026" y="7788"/>
                </a:lnTo>
                <a:lnTo>
                  <a:pt x="4024" y="7786"/>
                </a:lnTo>
                <a:lnTo>
                  <a:pt x="4020" y="7786"/>
                </a:lnTo>
                <a:lnTo>
                  <a:pt x="4012" y="7784"/>
                </a:lnTo>
                <a:lnTo>
                  <a:pt x="4010" y="7782"/>
                </a:lnTo>
                <a:lnTo>
                  <a:pt x="4010" y="7778"/>
                </a:lnTo>
                <a:lnTo>
                  <a:pt x="4012" y="7774"/>
                </a:lnTo>
                <a:lnTo>
                  <a:pt x="4018" y="7768"/>
                </a:lnTo>
                <a:lnTo>
                  <a:pt x="4018" y="7770"/>
                </a:lnTo>
                <a:lnTo>
                  <a:pt x="4020" y="7772"/>
                </a:lnTo>
                <a:lnTo>
                  <a:pt x="4022" y="7776"/>
                </a:lnTo>
                <a:lnTo>
                  <a:pt x="4024" y="7776"/>
                </a:lnTo>
                <a:lnTo>
                  <a:pt x="4024" y="7772"/>
                </a:lnTo>
                <a:lnTo>
                  <a:pt x="4020" y="7762"/>
                </a:lnTo>
                <a:lnTo>
                  <a:pt x="4006" y="7748"/>
                </a:lnTo>
                <a:lnTo>
                  <a:pt x="4006" y="7884"/>
                </a:lnTo>
                <a:lnTo>
                  <a:pt x="4014" y="7882"/>
                </a:lnTo>
                <a:lnTo>
                  <a:pt x="4016" y="7880"/>
                </a:lnTo>
                <a:lnTo>
                  <a:pt x="4020" y="7878"/>
                </a:lnTo>
                <a:lnTo>
                  <a:pt x="4026" y="7880"/>
                </a:lnTo>
                <a:lnTo>
                  <a:pt x="4040" y="7884"/>
                </a:lnTo>
                <a:lnTo>
                  <a:pt x="4056" y="7886"/>
                </a:lnTo>
                <a:lnTo>
                  <a:pt x="4074" y="7888"/>
                </a:lnTo>
                <a:lnTo>
                  <a:pt x="4080" y="7888"/>
                </a:lnTo>
                <a:lnTo>
                  <a:pt x="4084" y="7890"/>
                </a:lnTo>
                <a:lnTo>
                  <a:pt x="4092" y="7894"/>
                </a:lnTo>
                <a:lnTo>
                  <a:pt x="4096" y="7894"/>
                </a:lnTo>
                <a:lnTo>
                  <a:pt x="4098" y="7892"/>
                </a:lnTo>
                <a:lnTo>
                  <a:pt x="4104" y="7890"/>
                </a:lnTo>
                <a:lnTo>
                  <a:pt x="4110" y="7888"/>
                </a:lnTo>
                <a:lnTo>
                  <a:pt x="4116" y="7886"/>
                </a:lnTo>
                <a:lnTo>
                  <a:pt x="4120" y="7884"/>
                </a:lnTo>
                <a:lnTo>
                  <a:pt x="4122" y="7886"/>
                </a:lnTo>
                <a:lnTo>
                  <a:pt x="4126" y="7890"/>
                </a:lnTo>
                <a:lnTo>
                  <a:pt x="4128" y="7888"/>
                </a:lnTo>
                <a:lnTo>
                  <a:pt x="4130" y="7886"/>
                </a:lnTo>
                <a:lnTo>
                  <a:pt x="4134" y="7886"/>
                </a:lnTo>
                <a:lnTo>
                  <a:pt x="4136" y="7886"/>
                </a:lnTo>
                <a:lnTo>
                  <a:pt x="4138" y="7886"/>
                </a:lnTo>
                <a:lnTo>
                  <a:pt x="4144" y="7878"/>
                </a:lnTo>
                <a:lnTo>
                  <a:pt x="4146" y="7872"/>
                </a:lnTo>
                <a:lnTo>
                  <a:pt x="4144" y="7868"/>
                </a:lnTo>
                <a:lnTo>
                  <a:pt x="4140" y="7868"/>
                </a:lnTo>
                <a:lnTo>
                  <a:pt x="4132" y="7870"/>
                </a:lnTo>
                <a:close/>
                <a:moveTo>
                  <a:pt x="3988" y="7750"/>
                </a:moveTo>
                <a:lnTo>
                  <a:pt x="3988" y="7750"/>
                </a:lnTo>
                <a:lnTo>
                  <a:pt x="3984" y="7750"/>
                </a:lnTo>
                <a:lnTo>
                  <a:pt x="3982" y="7748"/>
                </a:lnTo>
                <a:lnTo>
                  <a:pt x="3980" y="7742"/>
                </a:lnTo>
                <a:lnTo>
                  <a:pt x="3976" y="7738"/>
                </a:lnTo>
                <a:lnTo>
                  <a:pt x="3974" y="7736"/>
                </a:lnTo>
                <a:lnTo>
                  <a:pt x="3972" y="7736"/>
                </a:lnTo>
                <a:lnTo>
                  <a:pt x="3968" y="7740"/>
                </a:lnTo>
                <a:lnTo>
                  <a:pt x="3964" y="7746"/>
                </a:lnTo>
                <a:lnTo>
                  <a:pt x="3960" y="7754"/>
                </a:lnTo>
                <a:lnTo>
                  <a:pt x="3956" y="7758"/>
                </a:lnTo>
                <a:lnTo>
                  <a:pt x="3952" y="7758"/>
                </a:lnTo>
                <a:lnTo>
                  <a:pt x="3946" y="7754"/>
                </a:lnTo>
                <a:lnTo>
                  <a:pt x="3942" y="7752"/>
                </a:lnTo>
                <a:lnTo>
                  <a:pt x="3936" y="7752"/>
                </a:lnTo>
                <a:lnTo>
                  <a:pt x="3934" y="7754"/>
                </a:lnTo>
                <a:lnTo>
                  <a:pt x="3936" y="7756"/>
                </a:lnTo>
                <a:lnTo>
                  <a:pt x="3938" y="7756"/>
                </a:lnTo>
                <a:lnTo>
                  <a:pt x="3940" y="7760"/>
                </a:lnTo>
                <a:lnTo>
                  <a:pt x="3940" y="7762"/>
                </a:lnTo>
                <a:lnTo>
                  <a:pt x="3944" y="7762"/>
                </a:lnTo>
                <a:lnTo>
                  <a:pt x="3946" y="7764"/>
                </a:lnTo>
                <a:lnTo>
                  <a:pt x="3946" y="7768"/>
                </a:lnTo>
                <a:lnTo>
                  <a:pt x="3942" y="7772"/>
                </a:lnTo>
                <a:lnTo>
                  <a:pt x="3940" y="7772"/>
                </a:lnTo>
                <a:lnTo>
                  <a:pt x="3936" y="7766"/>
                </a:lnTo>
                <a:lnTo>
                  <a:pt x="3934" y="7766"/>
                </a:lnTo>
                <a:lnTo>
                  <a:pt x="3932" y="7772"/>
                </a:lnTo>
                <a:lnTo>
                  <a:pt x="3932" y="7782"/>
                </a:lnTo>
                <a:lnTo>
                  <a:pt x="3936" y="7792"/>
                </a:lnTo>
                <a:lnTo>
                  <a:pt x="3940" y="7796"/>
                </a:lnTo>
                <a:lnTo>
                  <a:pt x="3944" y="7796"/>
                </a:lnTo>
                <a:lnTo>
                  <a:pt x="3958" y="7792"/>
                </a:lnTo>
                <a:lnTo>
                  <a:pt x="3970" y="7788"/>
                </a:lnTo>
                <a:lnTo>
                  <a:pt x="3974" y="7788"/>
                </a:lnTo>
                <a:lnTo>
                  <a:pt x="3978" y="7792"/>
                </a:lnTo>
                <a:lnTo>
                  <a:pt x="3978" y="7798"/>
                </a:lnTo>
                <a:lnTo>
                  <a:pt x="3974" y="7802"/>
                </a:lnTo>
                <a:lnTo>
                  <a:pt x="3968" y="7804"/>
                </a:lnTo>
                <a:lnTo>
                  <a:pt x="3962" y="7806"/>
                </a:lnTo>
                <a:lnTo>
                  <a:pt x="3948" y="7812"/>
                </a:lnTo>
                <a:lnTo>
                  <a:pt x="3944" y="7816"/>
                </a:lnTo>
                <a:lnTo>
                  <a:pt x="3944" y="7822"/>
                </a:lnTo>
                <a:lnTo>
                  <a:pt x="3948" y="7830"/>
                </a:lnTo>
                <a:lnTo>
                  <a:pt x="3954" y="7836"/>
                </a:lnTo>
                <a:lnTo>
                  <a:pt x="3962" y="7842"/>
                </a:lnTo>
                <a:lnTo>
                  <a:pt x="3970" y="7846"/>
                </a:lnTo>
                <a:lnTo>
                  <a:pt x="3984" y="7852"/>
                </a:lnTo>
                <a:lnTo>
                  <a:pt x="3990" y="7856"/>
                </a:lnTo>
                <a:lnTo>
                  <a:pt x="3992" y="7858"/>
                </a:lnTo>
                <a:lnTo>
                  <a:pt x="3978" y="7856"/>
                </a:lnTo>
                <a:lnTo>
                  <a:pt x="3972" y="7852"/>
                </a:lnTo>
                <a:lnTo>
                  <a:pt x="3970" y="7850"/>
                </a:lnTo>
                <a:lnTo>
                  <a:pt x="3968" y="7852"/>
                </a:lnTo>
                <a:lnTo>
                  <a:pt x="3966" y="7854"/>
                </a:lnTo>
                <a:lnTo>
                  <a:pt x="3964" y="7852"/>
                </a:lnTo>
                <a:lnTo>
                  <a:pt x="3958" y="7850"/>
                </a:lnTo>
                <a:lnTo>
                  <a:pt x="3952" y="7846"/>
                </a:lnTo>
                <a:lnTo>
                  <a:pt x="3950" y="7846"/>
                </a:lnTo>
                <a:lnTo>
                  <a:pt x="3946" y="7848"/>
                </a:lnTo>
                <a:lnTo>
                  <a:pt x="3944" y="7850"/>
                </a:lnTo>
                <a:lnTo>
                  <a:pt x="3944" y="7852"/>
                </a:lnTo>
                <a:lnTo>
                  <a:pt x="3946" y="7854"/>
                </a:lnTo>
                <a:lnTo>
                  <a:pt x="3946" y="7856"/>
                </a:lnTo>
                <a:lnTo>
                  <a:pt x="3944" y="7856"/>
                </a:lnTo>
                <a:lnTo>
                  <a:pt x="3938" y="7852"/>
                </a:lnTo>
                <a:lnTo>
                  <a:pt x="3918" y="7838"/>
                </a:lnTo>
                <a:lnTo>
                  <a:pt x="3914" y="7836"/>
                </a:lnTo>
                <a:lnTo>
                  <a:pt x="3912" y="7838"/>
                </a:lnTo>
                <a:lnTo>
                  <a:pt x="3914" y="7840"/>
                </a:lnTo>
                <a:lnTo>
                  <a:pt x="3920" y="7846"/>
                </a:lnTo>
                <a:lnTo>
                  <a:pt x="3924" y="7848"/>
                </a:lnTo>
                <a:lnTo>
                  <a:pt x="3926" y="7850"/>
                </a:lnTo>
                <a:lnTo>
                  <a:pt x="3922" y="7850"/>
                </a:lnTo>
                <a:lnTo>
                  <a:pt x="3918" y="7850"/>
                </a:lnTo>
                <a:lnTo>
                  <a:pt x="3914" y="7852"/>
                </a:lnTo>
                <a:lnTo>
                  <a:pt x="3912" y="7856"/>
                </a:lnTo>
                <a:lnTo>
                  <a:pt x="3910" y="7858"/>
                </a:lnTo>
                <a:lnTo>
                  <a:pt x="3904" y="7858"/>
                </a:lnTo>
                <a:lnTo>
                  <a:pt x="3896" y="7852"/>
                </a:lnTo>
                <a:lnTo>
                  <a:pt x="3894" y="7854"/>
                </a:lnTo>
                <a:lnTo>
                  <a:pt x="3894" y="7856"/>
                </a:lnTo>
                <a:lnTo>
                  <a:pt x="3892" y="7856"/>
                </a:lnTo>
                <a:lnTo>
                  <a:pt x="3888" y="7856"/>
                </a:lnTo>
                <a:lnTo>
                  <a:pt x="3878" y="7854"/>
                </a:lnTo>
                <a:lnTo>
                  <a:pt x="3876" y="7854"/>
                </a:lnTo>
                <a:lnTo>
                  <a:pt x="3876" y="7856"/>
                </a:lnTo>
                <a:lnTo>
                  <a:pt x="3880" y="7858"/>
                </a:lnTo>
                <a:lnTo>
                  <a:pt x="3882" y="7862"/>
                </a:lnTo>
                <a:lnTo>
                  <a:pt x="3882" y="7864"/>
                </a:lnTo>
                <a:lnTo>
                  <a:pt x="3878" y="7862"/>
                </a:lnTo>
                <a:lnTo>
                  <a:pt x="3874" y="7860"/>
                </a:lnTo>
                <a:lnTo>
                  <a:pt x="3870" y="7858"/>
                </a:lnTo>
                <a:lnTo>
                  <a:pt x="3870" y="7860"/>
                </a:lnTo>
                <a:lnTo>
                  <a:pt x="3872" y="7864"/>
                </a:lnTo>
                <a:lnTo>
                  <a:pt x="3872" y="7868"/>
                </a:lnTo>
                <a:lnTo>
                  <a:pt x="3872" y="7870"/>
                </a:lnTo>
                <a:lnTo>
                  <a:pt x="3876" y="7870"/>
                </a:lnTo>
                <a:lnTo>
                  <a:pt x="3880" y="7870"/>
                </a:lnTo>
                <a:lnTo>
                  <a:pt x="3886" y="7870"/>
                </a:lnTo>
                <a:lnTo>
                  <a:pt x="3890" y="7870"/>
                </a:lnTo>
                <a:lnTo>
                  <a:pt x="3890" y="7872"/>
                </a:lnTo>
                <a:lnTo>
                  <a:pt x="3892" y="7872"/>
                </a:lnTo>
                <a:lnTo>
                  <a:pt x="3894" y="7868"/>
                </a:lnTo>
                <a:lnTo>
                  <a:pt x="3896" y="7864"/>
                </a:lnTo>
                <a:lnTo>
                  <a:pt x="3898" y="7862"/>
                </a:lnTo>
                <a:lnTo>
                  <a:pt x="3900" y="7864"/>
                </a:lnTo>
                <a:lnTo>
                  <a:pt x="3900" y="7866"/>
                </a:lnTo>
                <a:lnTo>
                  <a:pt x="3898" y="7870"/>
                </a:lnTo>
                <a:lnTo>
                  <a:pt x="3900" y="7872"/>
                </a:lnTo>
                <a:lnTo>
                  <a:pt x="3904" y="7872"/>
                </a:lnTo>
                <a:lnTo>
                  <a:pt x="3908" y="7870"/>
                </a:lnTo>
                <a:lnTo>
                  <a:pt x="3912" y="7868"/>
                </a:lnTo>
                <a:lnTo>
                  <a:pt x="3910" y="7872"/>
                </a:lnTo>
                <a:lnTo>
                  <a:pt x="3908" y="7876"/>
                </a:lnTo>
                <a:lnTo>
                  <a:pt x="3910" y="7876"/>
                </a:lnTo>
                <a:lnTo>
                  <a:pt x="3912" y="7876"/>
                </a:lnTo>
                <a:lnTo>
                  <a:pt x="3916" y="7876"/>
                </a:lnTo>
                <a:lnTo>
                  <a:pt x="3918" y="7880"/>
                </a:lnTo>
                <a:lnTo>
                  <a:pt x="3920" y="7882"/>
                </a:lnTo>
                <a:lnTo>
                  <a:pt x="3924" y="7880"/>
                </a:lnTo>
                <a:lnTo>
                  <a:pt x="3928" y="7880"/>
                </a:lnTo>
                <a:lnTo>
                  <a:pt x="3934" y="7880"/>
                </a:lnTo>
                <a:lnTo>
                  <a:pt x="3938" y="7882"/>
                </a:lnTo>
                <a:lnTo>
                  <a:pt x="3942" y="7880"/>
                </a:lnTo>
                <a:lnTo>
                  <a:pt x="3946" y="7880"/>
                </a:lnTo>
                <a:lnTo>
                  <a:pt x="3948" y="7880"/>
                </a:lnTo>
                <a:lnTo>
                  <a:pt x="3950" y="7882"/>
                </a:lnTo>
                <a:lnTo>
                  <a:pt x="3952" y="7882"/>
                </a:lnTo>
                <a:lnTo>
                  <a:pt x="3954" y="7880"/>
                </a:lnTo>
                <a:lnTo>
                  <a:pt x="3958" y="7880"/>
                </a:lnTo>
                <a:lnTo>
                  <a:pt x="3960" y="7880"/>
                </a:lnTo>
                <a:lnTo>
                  <a:pt x="3962" y="7876"/>
                </a:lnTo>
                <a:lnTo>
                  <a:pt x="3962" y="7874"/>
                </a:lnTo>
                <a:lnTo>
                  <a:pt x="3964" y="7876"/>
                </a:lnTo>
                <a:lnTo>
                  <a:pt x="3966" y="7880"/>
                </a:lnTo>
                <a:lnTo>
                  <a:pt x="3974" y="7884"/>
                </a:lnTo>
                <a:lnTo>
                  <a:pt x="3994" y="7888"/>
                </a:lnTo>
                <a:lnTo>
                  <a:pt x="3998" y="7888"/>
                </a:lnTo>
                <a:lnTo>
                  <a:pt x="4000" y="7886"/>
                </a:lnTo>
                <a:lnTo>
                  <a:pt x="4000" y="7882"/>
                </a:lnTo>
                <a:lnTo>
                  <a:pt x="4002" y="7882"/>
                </a:lnTo>
                <a:lnTo>
                  <a:pt x="4006" y="7884"/>
                </a:lnTo>
                <a:lnTo>
                  <a:pt x="4006" y="7748"/>
                </a:lnTo>
                <a:lnTo>
                  <a:pt x="4004" y="7744"/>
                </a:lnTo>
                <a:lnTo>
                  <a:pt x="4000" y="7744"/>
                </a:lnTo>
                <a:lnTo>
                  <a:pt x="3996" y="7744"/>
                </a:lnTo>
                <a:lnTo>
                  <a:pt x="3992" y="7748"/>
                </a:lnTo>
                <a:lnTo>
                  <a:pt x="3988" y="7750"/>
                </a:lnTo>
                <a:close/>
                <a:moveTo>
                  <a:pt x="3812" y="7278"/>
                </a:moveTo>
                <a:lnTo>
                  <a:pt x="3812" y="7278"/>
                </a:lnTo>
                <a:lnTo>
                  <a:pt x="3812" y="7282"/>
                </a:lnTo>
                <a:lnTo>
                  <a:pt x="3814" y="7286"/>
                </a:lnTo>
                <a:lnTo>
                  <a:pt x="3814" y="7288"/>
                </a:lnTo>
                <a:lnTo>
                  <a:pt x="3814" y="7290"/>
                </a:lnTo>
                <a:lnTo>
                  <a:pt x="3816" y="7292"/>
                </a:lnTo>
                <a:lnTo>
                  <a:pt x="3820" y="7294"/>
                </a:lnTo>
                <a:lnTo>
                  <a:pt x="3826" y="7292"/>
                </a:lnTo>
                <a:lnTo>
                  <a:pt x="3834" y="7286"/>
                </a:lnTo>
                <a:lnTo>
                  <a:pt x="3836" y="7282"/>
                </a:lnTo>
                <a:lnTo>
                  <a:pt x="3834" y="7280"/>
                </a:lnTo>
                <a:lnTo>
                  <a:pt x="3834" y="7278"/>
                </a:lnTo>
                <a:lnTo>
                  <a:pt x="3838" y="7278"/>
                </a:lnTo>
                <a:lnTo>
                  <a:pt x="3840" y="7274"/>
                </a:lnTo>
                <a:lnTo>
                  <a:pt x="3840" y="7270"/>
                </a:lnTo>
                <a:lnTo>
                  <a:pt x="3834" y="7264"/>
                </a:lnTo>
                <a:lnTo>
                  <a:pt x="3830" y="7262"/>
                </a:lnTo>
                <a:lnTo>
                  <a:pt x="3826" y="7264"/>
                </a:lnTo>
                <a:lnTo>
                  <a:pt x="3826" y="7266"/>
                </a:lnTo>
                <a:lnTo>
                  <a:pt x="3824" y="7266"/>
                </a:lnTo>
                <a:lnTo>
                  <a:pt x="3822" y="7266"/>
                </a:lnTo>
                <a:lnTo>
                  <a:pt x="3820" y="7266"/>
                </a:lnTo>
                <a:lnTo>
                  <a:pt x="3820" y="7268"/>
                </a:lnTo>
                <a:lnTo>
                  <a:pt x="3820" y="7272"/>
                </a:lnTo>
                <a:lnTo>
                  <a:pt x="3818" y="7276"/>
                </a:lnTo>
                <a:lnTo>
                  <a:pt x="3816" y="7276"/>
                </a:lnTo>
                <a:lnTo>
                  <a:pt x="3814" y="7276"/>
                </a:lnTo>
                <a:lnTo>
                  <a:pt x="3812" y="7278"/>
                </a:lnTo>
                <a:close/>
                <a:moveTo>
                  <a:pt x="3916" y="7824"/>
                </a:moveTo>
                <a:lnTo>
                  <a:pt x="3916" y="7824"/>
                </a:lnTo>
                <a:lnTo>
                  <a:pt x="3916" y="7830"/>
                </a:lnTo>
                <a:lnTo>
                  <a:pt x="3920" y="7834"/>
                </a:lnTo>
                <a:lnTo>
                  <a:pt x="3938" y="7846"/>
                </a:lnTo>
                <a:lnTo>
                  <a:pt x="3940" y="7846"/>
                </a:lnTo>
                <a:lnTo>
                  <a:pt x="3940" y="7844"/>
                </a:lnTo>
                <a:lnTo>
                  <a:pt x="3938" y="7840"/>
                </a:lnTo>
                <a:lnTo>
                  <a:pt x="3934" y="7836"/>
                </a:lnTo>
                <a:lnTo>
                  <a:pt x="3926" y="7830"/>
                </a:lnTo>
                <a:lnTo>
                  <a:pt x="3928" y="7828"/>
                </a:lnTo>
                <a:lnTo>
                  <a:pt x="3930" y="7830"/>
                </a:lnTo>
                <a:lnTo>
                  <a:pt x="3936" y="7834"/>
                </a:lnTo>
                <a:lnTo>
                  <a:pt x="3938" y="7834"/>
                </a:lnTo>
                <a:lnTo>
                  <a:pt x="3938" y="7830"/>
                </a:lnTo>
                <a:lnTo>
                  <a:pt x="3936" y="7826"/>
                </a:lnTo>
                <a:lnTo>
                  <a:pt x="3932" y="7822"/>
                </a:lnTo>
                <a:lnTo>
                  <a:pt x="3932" y="7816"/>
                </a:lnTo>
                <a:lnTo>
                  <a:pt x="3932" y="7804"/>
                </a:lnTo>
                <a:lnTo>
                  <a:pt x="3930" y="7802"/>
                </a:lnTo>
                <a:lnTo>
                  <a:pt x="3926" y="7806"/>
                </a:lnTo>
                <a:lnTo>
                  <a:pt x="3924" y="7810"/>
                </a:lnTo>
                <a:lnTo>
                  <a:pt x="3922" y="7816"/>
                </a:lnTo>
                <a:lnTo>
                  <a:pt x="3924" y="7820"/>
                </a:lnTo>
                <a:lnTo>
                  <a:pt x="3922" y="7820"/>
                </a:lnTo>
                <a:lnTo>
                  <a:pt x="3918" y="7820"/>
                </a:lnTo>
                <a:lnTo>
                  <a:pt x="3916" y="7824"/>
                </a:lnTo>
                <a:close/>
                <a:moveTo>
                  <a:pt x="3886" y="7846"/>
                </a:moveTo>
                <a:lnTo>
                  <a:pt x="3886" y="7846"/>
                </a:lnTo>
                <a:lnTo>
                  <a:pt x="3890" y="7846"/>
                </a:lnTo>
                <a:lnTo>
                  <a:pt x="3890" y="7844"/>
                </a:lnTo>
                <a:lnTo>
                  <a:pt x="3892" y="7842"/>
                </a:lnTo>
                <a:lnTo>
                  <a:pt x="3896" y="7842"/>
                </a:lnTo>
                <a:lnTo>
                  <a:pt x="3898" y="7846"/>
                </a:lnTo>
                <a:lnTo>
                  <a:pt x="3898" y="7848"/>
                </a:lnTo>
                <a:lnTo>
                  <a:pt x="3898" y="7850"/>
                </a:lnTo>
                <a:lnTo>
                  <a:pt x="3904" y="7852"/>
                </a:lnTo>
                <a:lnTo>
                  <a:pt x="3906" y="7852"/>
                </a:lnTo>
                <a:lnTo>
                  <a:pt x="3908" y="7848"/>
                </a:lnTo>
                <a:lnTo>
                  <a:pt x="3908" y="7838"/>
                </a:lnTo>
                <a:lnTo>
                  <a:pt x="3908" y="7834"/>
                </a:lnTo>
                <a:lnTo>
                  <a:pt x="3904" y="7834"/>
                </a:lnTo>
                <a:lnTo>
                  <a:pt x="3902" y="7834"/>
                </a:lnTo>
                <a:lnTo>
                  <a:pt x="3900" y="7830"/>
                </a:lnTo>
                <a:lnTo>
                  <a:pt x="3896" y="7828"/>
                </a:lnTo>
                <a:lnTo>
                  <a:pt x="3890" y="7826"/>
                </a:lnTo>
                <a:lnTo>
                  <a:pt x="3886" y="7828"/>
                </a:lnTo>
                <a:lnTo>
                  <a:pt x="3884" y="7828"/>
                </a:lnTo>
                <a:lnTo>
                  <a:pt x="3886" y="7832"/>
                </a:lnTo>
                <a:lnTo>
                  <a:pt x="3886" y="7836"/>
                </a:lnTo>
                <a:lnTo>
                  <a:pt x="3884" y="7840"/>
                </a:lnTo>
                <a:lnTo>
                  <a:pt x="3884" y="7842"/>
                </a:lnTo>
                <a:lnTo>
                  <a:pt x="3886" y="7846"/>
                </a:lnTo>
                <a:close/>
                <a:moveTo>
                  <a:pt x="3794" y="7210"/>
                </a:moveTo>
                <a:lnTo>
                  <a:pt x="3794" y="7210"/>
                </a:lnTo>
                <a:lnTo>
                  <a:pt x="3800" y="7210"/>
                </a:lnTo>
                <a:lnTo>
                  <a:pt x="3802" y="7208"/>
                </a:lnTo>
                <a:lnTo>
                  <a:pt x="3802" y="7206"/>
                </a:lnTo>
                <a:lnTo>
                  <a:pt x="3802" y="7204"/>
                </a:lnTo>
                <a:lnTo>
                  <a:pt x="3800" y="7198"/>
                </a:lnTo>
                <a:lnTo>
                  <a:pt x="3800" y="7196"/>
                </a:lnTo>
                <a:lnTo>
                  <a:pt x="3804" y="7194"/>
                </a:lnTo>
                <a:lnTo>
                  <a:pt x="3808" y="7194"/>
                </a:lnTo>
                <a:lnTo>
                  <a:pt x="3808" y="7188"/>
                </a:lnTo>
                <a:lnTo>
                  <a:pt x="3804" y="7184"/>
                </a:lnTo>
                <a:lnTo>
                  <a:pt x="3804" y="7182"/>
                </a:lnTo>
                <a:lnTo>
                  <a:pt x="3806" y="7182"/>
                </a:lnTo>
                <a:lnTo>
                  <a:pt x="3810" y="7180"/>
                </a:lnTo>
                <a:lnTo>
                  <a:pt x="3810" y="7178"/>
                </a:lnTo>
                <a:lnTo>
                  <a:pt x="3802" y="7168"/>
                </a:lnTo>
                <a:lnTo>
                  <a:pt x="3798" y="7162"/>
                </a:lnTo>
                <a:lnTo>
                  <a:pt x="3800" y="7160"/>
                </a:lnTo>
                <a:lnTo>
                  <a:pt x="3802" y="7160"/>
                </a:lnTo>
                <a:lnTo>
                  <a:pt x="3804" y="7158"/>
                </a:lnTo>
                <a:lnTo>
                  <a:pt x="3802" y="7156"/>
                </a:lnTo>
                <a:lnTo>
                  <a:pt x="3802" y="7152"/>
                </a:lnTo>
                <a:lnTo>
                  <a:pt x="3802" y="7150"/>
                </a:lnTo>
                <a:lnTo>
                  <a:pt x="3812" y="7148"/>
                </a:lnTo>
                <a:lnTo>
                  <a:pt x="3814" y="7148"/>
                </a:lnTo>
                <a:lnTo>
                  <a:pt x="3816" y="7146"/>
                </a:lnTo>
                <a:lnTo>
                  <a:pt x="3816" y="7142"/>
                </a:lnTo>
                <a:lnTo>
                  <a:pt x="3810" y="7130"/>
                </a:lnTo>
                <a:lnTo>
                  <a:pt x="3808" y="7122"/>
                </a:lnTo>
                <a:lnTo>
                  <a:pt x="3804" y="7122"/>
                </a:lnTo>
                <a:lnTo>
                  <a:pt x="3800" y="7122"/>
                </a:lnTo>
                <a:lnTo>
                  <a:pt x="3794" y="7122"/>
                </a:lnTo>
                <a:lnTo>
                  <a:pt x="3794" y="7120"/>
                </a:lnTo>
                <a:lnTo>
                  <a:pt x="3792" y="7118"/>
                </a:lnTo>
                <a:lnTo>
                  <a:pt x="3790" y="7118"/>
                </a:lnTo>
                <a:lnTo>
                  <a:pt x="3786" y="7120"/>
                </a:lnTo>
                <a:lnTo>
                  <a:pt x="3786" y="7122"/>
                </a:lnTo>
                <a:lnTo>
                  <a:pt x="3786" y="7128"/>
                </a:lnTo>
                <a:lnTo>
                  <a:pt x="3788" y="7134"/>
                </a:lnTo>
                <a:lnTo>
                  <a:pt x="3786" y="7140"/>
                </a:lnTo>
                <a:lnTo>
                  <a:pt x="3782" y="7146"/>
                </a:lnTo>
                <a:lnTo>
                  <a:pt x="3780" y="7152"/>
                </a:lnTo>
                <a:lnTo>
                  <a:pt x="3780" y="7160"/>
                </a:lnTo>
                <a:lnTo>
                  <a:pt x="3782" y="7166"/>
                </a:lnTo>
                <a:lnTo>
                  <a:pt x="3782" y="7172"/>
                </a:lnTo>
                <a:lnTo>
                  <a:pt x="3778" y="7186"/>
                </a:lnTo>
                <a:lnTo>
                  <a:pt x="3774" y="7198"/>
                </a:lnTo>
                <a:lnTo>
                  <a:pt x="3776" y="7202"/>
                </a:lnTo>
                <a:lnTo>
                  <a:pt x="3776" y="7204"/>
                </a:lnTo>
                <a:lnTo>
                  <a:pt x="3784" y="7208"/>
                </a:lnTo>
                <a:lnTo>
                  <a:pt x="3794" y="7210"/>
                </a:lnTo>
                <a:close/>
                <a:moveTo>
                  <a:pt x="3820" y="7234"/>
                </a:moveTo>
                <a:lnTo>
                  <a:pt x="3820" y="7234"/>
                </a:lnTo>
                <a:lnTo>
                  <a:pt x="3818" y="7238"/>
                </a:lnTo>
                <a:lnTo>
                  <a:pt x="3818" y="7240"/>
                </a:lnTo>
                <a:lnTo>
                  <a:pt x="3820" y="7242"/>
                </a:lnTo>
                <a:lnTo>
                  <a:pt x="3822" y="7242"/>
                </a:lnTo>
                <a:lnTo>
                  <a:pt x="3822" y="7238"/>
                </a:lnTo>
                <a:lnTo>
                  <a:pt x="3822" y="7234"/>
                </a:lnTo>
                <a:lnTo>
                  <a:pt x="3820" y="7234"/>
                </a:lnTo>
                <a:close/>
                <a:moveTo>
                  <a:pt x="3798" y="7230"/>
                </a:moveTo>
                <a:lnTo>
                  <a:pt x="3798" y="7230"/>
                </a:lnTo>
                <a:lnTo>
                  <a:pt x="3796" y="7228"/>
                </a:lnTo>
                <a:lnTo>
                  <a:pt x="3794" y="7228"/>
                </a:lnTo>
                <a:lnTo>
                  <a:pt x="3792" y="7230"/>
                </a:lnTo>
                <a:lnTo>
                  <a:pt x="3788" y="7230"/>
                </a:lnTo>
                <a:lnTo>
                  <a:pt x="3784" y="7230"/>
                </a:lnTo>
                <a:lnTo>
                  <a:pt x="3782" y="7232"/>
                </a:lnTo>
                <a:lnTo>
                  <a:pt x="3784" y="7234"/>
                </a:lnTo>
                <a:lnTo>
                  <a:pt x="3788" y="7238"/>
                </a:lnTo>
                <a:lnTo>
                  <a:pt x="3790" y="7238"/>
                </a:lnTo>
                <a:lnTo>
                  <a:pt x="3792" y="7236"/>
                </a:lnTo>
                <a:lnTo>
                  <a:pt x="3798" y="7236"/>
                </a:lnTo>
                <a:lnTo>
                  <a:pt x="3798" y="7234"/>
                </a:lnTo>
                <a:lnTo>
                  <a:pt x="3798" y="7230"/>
                </a:lnTo>
                <a:close/>
                <a:moveTo>
                  <a:pt x="3790" y="7312"/>
                </a:moveTo>
                <a:lnTo>
                  <a:pt x="3790" y="7312"/>
                </a:lnTo>
                <a:lnTo>
                  <a:pt x="3792" y="7312"/>
                </a:lnTo>
                <a:lnTo>
                  <a:pt x="3796" y="7312"/>
                </a:lnTo>
                <a:lnTo>
                  <a:pt x="3798" y="7314"/>
                </a:lnTo>
                <a:lnTo>
                  <a:pt x="3802" y="7314"/>
                </a:lnTo>
                <a:lnTo>
                  <a:pt x="3802" y="7312"/>
                </a:lnTo>
                <a:lnTo>
                  <a:pt x="3798" y="7302"/>
                </a:lnTo>
                <a:lnTo>
                  <a:pt x="3796" y="7300"/>
                </a:lnTo>
                <a:lnTo>
                  <a:pt x="3794" y="7300"/>
                </a:lnTo>
                <a:lnTo>
                  <a:pt x="3790" y="7302"/>
                </a:lnTo>
                <a:lnTo>
                  <a:pt x="3786" y="7302"/>
                </a:lnTo>
                <a:lnTo>
                  <a:pt x="3782" y="7302"/>
                </a:lnTo>
                <a:lnTo>
                  <a:pt x="3780" y="7304"/>
                </a:lnTo>
                <a:lnTo>
                  <a:pt x="3782" y="7306"/>
                </a:lnTo>
                <a:lnTo>
                  <a:pt x="3784" y="7308"/>
                </a:lnTo>
                <a:lnTo>
                  <a:pt x="3788" y="7308"/>
                </a:lnTo>
                <a:lnTo>
                  <a:pt x="3790" y="7312"/>
                </a:lnTo>
                <a:close/>
                <a:moveTo>
                  <a:pt x="3774" y="7298"/>
                </a:moveTo>
                <a:lnTo>
                  <a:pt x="3774" y="7298"/>
                </a:lnTo>
                <a:lnTo>
                  <a:pt x="3774" y="7300"/>
                </a:lnTo>
                <a:lnTo>
                  <a:pt x="3778" y="7298"/>
                </a:lnTo>
                <a:lnTo>
                  <a:pt x="3782" y="7298"/>
                </a:lnTo>
                <a:lnTo>
                  <a:pt x="3790" y="7296"/>
                </a:lnTo>
                <a:lnTo>
                  <a:pt x="3792" y="7296"/>
                </a:lnTo>
                <a:lnTo>
                  <a:pt x="3790" y="7296"/>
                </a:lnTo>
                <a:lnTo>
                  <a:pt x="3786" y="7292"/>
                </a:lnTo>
                <a:lnTo>
                  <a:pt x="3782" y="7290"/>
                </a:lnTo>
                <a:lnTo>
                  <a:pt x="3778" y="7292"/>
                </a:lnTo>
                <a:lnTo>
                  <a:pt x="3774" y="7298"/>
                </a:lnTo>
                <a:close/>
                <a:moveTo>
                  <a:pt x="3778" y="7284"/>
                </a:moveTo>
                <a:lnTo>
                  <a:pt x="3778" y="7284"/>
                </a:lnTo>
                <a:lnTo>
                  <a:pt x="3782" y="7284"/>
                </a:lnTo>
                <a:lnTo>
                  <a:pt x="3786" y="7284"/>
                </a:lnTo>
                <a:lnTo>
                  <a:pt x="3792" y="7282"/>
                </a:lnTo>
                <a:lnTo>
                  <a:pt x="3794" y="7280"/>
                </a:lnTo>
                <a:lnTo>
                  <a:pt x="3794" y="7278"/>
                </a:lnTo>
                <a:lnTo>
                  <a:pt x="3792" y="7278"/>
                </a:lnTo>
                <a:lnTo>
                  <a:pt x="3788" y="7276"/>
                </a:lnTo>
                <a:lnTo>
                  <a:pt x="3778" y="7276"/>
                </a:lnTo>
                <a:lnTo>
                  <a:pt x="3774" y="7278"/>
                </a:lnTo>
                <a:lnTo>
                  <a:pt x="3772" y="7280"/>
                </a:lnTo>
                <a:lnTo>
                  <a:pt x="3774" y="7282"/>
                </a:lnTo>
                <a:lnTo>
                  <a:pt x="3778" y="7284"/>
                </a:lnTo>
                <a:close/>
                <a:moveTo>
                  <a:pt x="3800" y="7272"/>
                </a:moveTo>
                <a:lnTo>
                  <a:pt x="3800" y="7272"/>
                </a:lnTo>
                <a:lnTo>
                  <a:pt x="3796" y="7274"/>
                </a:lnTo>
                <a:lnTo>
                  <a:pt x="3796" y="7276"/>
                </a:lnTo>
                <a:lnTo>
                  <a:pt x="3798" y="7282"/>
                </a:lnTo>
                <a:lnTo>
                  <a:pt x="3800" y="7284"/>
                </a:lnTo>
                <a:lnTo>
                  <a:pt x="3804" y="7282"/>
                </a:lnTo>
                <a:lnTo>
                  <a:pt x="3806" y="7280"/>
                </a:lnTo>
                <a:lnTo>
                  <a:pt x="3806" y="7276"/>
                </a:lnTo>
                <a:lnTo>
                  <a:pt x="3802" y="7274"/>
                </a:lnTo>
                <a:lnTo>
                  <a:pt x="3800" y="7272"/>
                </a:lnTo>
                <a:close/>
                <a:moveTo>
                  <a:pt x="3804" y="7324"/>
                </a:moveTo>
                <a:lnTo>
                  <a:pt x="3804" y="7324"/>
                </a:lnTo>
                <a:lnTo>
                  <a:pt x="3800" y="7326"/>
                </a:lnTo>
                <a:lnTo>
                  <a:pt x="3798" y="7330"/>
                </a:lnTo>
                <a:lnTo>
                  <a:pt x="3798" y="7336"/>
                </a:lnTo>
                <a:lnTo>
                  <a:pt x="3800" y="7340"/>
                </a:lnTo>
                <a:lnTo>
                  <a:pt x="3802" y="7342"/>
                </a:lnTo>
                <a:lnTo>
                  <a:pt x="3804" y="7340"/>
                </a:lnTo>
                <a:lnTo>
                  <a:pt x="3804" y="7334"/>
                </a:lnTo>
                <a:lnTo>
                  <a:pt x="3806" y="7328"/>
                </a:lnTo>
                <a:lnTo>
                  <a:pt x="3806" y="7326"/>
                </a:lnTo>
                <a:lnTo>
                  <a:pt x="3804" y="7324"/>
                </a:lnTo>
                <a:close/>
                <a:moveTo>
                  <a:pt x="3774" y="7342"/>
                </a:moveTo>
                <a:lnTo>
                  <a:pt x="3774" y="7342"/>
                </a:lnTo>
                <a:lnTo>
                  <a:pt x="3776" y="7340"/>
                </a:lnTo>
                <a:lnTo>
                  <a:pt x="3780" y="7334"/>
                </a:lnTo>
                <a:lnTo>
                  <a:pt x="3782" y="7332"/>
                </a:lnTo>
                <a:lnTo>
                  <a:pt x="3780" y="7330"/>
                </a:lnTo>
                <a:lnTo>
                  <a:pt x="3776" y="7326"/>
                </a:lnTo>
                <a:lnTo>
                  <a:pt x="3772" y="7326"/>
                </a:lnTo>
                <a:lnTo>
                  <a:pt x="3770" y="7328"/>
                </a:lnTo>
                <a:lnTo>
                  <a:pt x="3770" y="7330"/>
                </a:lnTo>
                <a:lnTo>
                  <a:pt x="3770" y="7332"/>
                </a:lnTo>
                <a:lnTo>
                  <a:pt x="3772" y="7336"/>
                </a:lnTo>
                <a:lnTo>
                  <a:pt x="3772" y="7340"/>
                </a:lnTo>
                <a:lnTo>
                  <a:pt x="3772" y="7342"/>
                </a:lnTo>
                <a:lnTo>
                  <a:pt x="3774" y="7342"/>
                </a:lnTo>
                <a:close/>
                <a:moveTo>
                  <a:pt x="3792" y="7332"/>
                </a:moveTo>
                <a:lnTo>
                  <a:pt x="3792" y="7332"/>
                </a:lnTo>
                <a:lnTo>
                  <a:pt x="3790" y="7332"/>
                </a:lnTo>
                <a:lnTo>
                  <a:pt x="3786" y="7332"/>
                </a:lnTo>
                <a:lnTo>
                  <a:pt x="3786" y="7336"/>
                </a:lnTo>
                <a:lnTo>
                  <a:pt x="3786" y="7338"/>
                </a:lnTo>
                <a:lnTo>
                  <a:pt x="3788" y="7340"/>
                </a:lnTo>
                <a:lnTo>
                  <a:pt x="3792" y="7338"/>
                </a:lnTo>
                <a:lnTo>
                  <a:pt x="3792" y="7336"/>
                </a:lnTo>
                <a:lnTo>
                  <a:pt x="3792" y="7332"/>
                </a:lnTo>
                <a:close/>
                <a:moveTo>
                  <a:pt x="3796" y="7352"/>
                </a:moveTo>
                <a:lnTo>
                  <a:pt x="3796" y="7352"/>
                </a:lnTo>
                <a:lnTo>
                  <a:pt x="3800" y="7348"/>
                </a:lnTo>
                <a:lnTo>
                  <a:pt x="3802" y="7346"/>
                </a:lnTo>
                <a:lnTo>
                  <a:pt x="3800" y="7344"/>
                </a:lnTo>
                <a:lnTo>
                  <a:pt x="3796" y="7344"/>
                </a:lnTo>
                <a:lnTo>
                  <a:pt x="3794" y="7346"/>
                </a:lnTo>
                <a:lnTo>
                  <a:pt x="3792" y="7350"/>
                </a:lnTo>
                <a:lnTo>
                  <a:pt x="3792" y="7354"/>
                </a:lnTo>
                <a:lnTo>
                  <a:pt x="3796" y="7352"/>
                </a:lnTo>
                <a:close/>
                <a:moveTo>
                  <a:pt x="3746" y="7354"/>
                </a:moveTo>
                <a:lnTo>
                  <a:pt x="3746" y="7354"/>
                </a:lnTo>
                <a:lnTo>
                  <a:pt x="3746" y="7356"/>
                </a:lnTo>
                <a:lnTo>
                  <a:pt x="3746" y="7358"/>
                </a:lnTo>
                <a:lnTo>
                  <a:pt x="3744" y="7358"/>
                </a:lnTo>
                <a:lnTo>
                  <a:pt x="3746" y="7360"/>
                </a:lnTo>
                <a:lnTo>
                  <a:pt x="3748" y="7362"/>
                </a:lnTo>
                <a:lnTo>
                  <a:pt x="3750" y="7362"/>
                </a:lnTo>
                <a:lnTo>
                  <a:pt x="3756" y="7358"/>
                </a:lnTo>
                <a:lnTo>
                  <a:pt x="3758" y="7354"/>
                </a:lnTo>
                <a:lnTo>
                  <a:pt x="3758" y="7350"/>
                </a:lnTo>
                <a:lnTo>
                  <a:pt x="3758" y="7348"/>
                </a:lnTo>
                <a:lnTo>
                  <a:pt x="3758" y="7346"/>
                </a:lnTo>
                <a:lnTo>
                  <a:pt x="3754" y="7346"/>
                </a:lnTo>
                <a:lnTo>
                  <a:pt x="3746" y="7348"/>
                </a:lnTo>
                <a:lnTo>
                  <a:pt x="3744" y="7350"/>
                </a:lnTo>
                <a:lnTo>
                  <a:pt x="3746" y="7354"/>
                </a:lnTo>
                <a:close/>
                <a:moveTo>
                  <a:pt x="3772" y="7272"/>
                </a:moveTo>
                <a:lnTo>
                  <a:pt x="3772" y="7272"/>
                </a:lnTo>
                <a:lnTo>
                  <a:pt x="3776" y="7270"/>
                </a:lnTo>
                <a:lnTo>
                  <a:pt x="3778" y="7268"/>
                </a:lnTo>
                <a:lnTo>
                  <a:pt x="3780" y="7266"/>
                </a:lnTo>
                <a:lnTo>
                  <a:pt x="3778" y="7264"/>
                </a:lnTo>
                <a:lnTo>
                  <a:pt x="3776" y="7264"/>
                </a:lnTo>
                <a:lnTo>
                  <a:pt x="3770" y="7266"/>
                </a:lnTo>
                <a:lnTo>
                  <a:pt x="3768" y="7268"/>
                </a:lnTo>
                <a:lnTo>
                  <a:pt x="3768" y="7270"/>
                </a:lnTo>
                <a:lnTo>
                  <a:pt x="3768" y="7272"/>
                </a:lnTo>
                <a:lnTo>
                  <a:pt x="3772" y="7272"/>
                </a:lnTo>
                <a:close/>
                <a:moveTo>
                  <a:pt x="3786" y="7272"/>
                </a:moveTo>
                <a:lnTo>
                  <a:pt x="3786" y="7272"/>
                </a:lnTo>
                <a:lnTo>
                  <a:pt x="3792" y="7272"/>
                </a:lnTo>
                <a:lnTo>
                  <a:pt x="3792" y="7268"/>
                </a:lnTo>
                <a:lnTo>
                  <a:pt x="3790" y="7268"/>
                </a:lnTo>
                <a:lnTo>
                  <a:pt x="3786" y="7268"/>
                </a:lnTo>
                <a:lnTo>
                  <a:pt x="3778" y="7272"/>
                </a:lnTo>
                <a:lnTo>
                  <a:pt x="3786" y="7272"/>
                </a:lnTo>
                <a:close/>
                <a:moveTo>
                  <a:pt x="3786" y="7256"/>
                </a:moveTo>
                <a:lnTo>
                  <a:pt x="3786" y="7256"/>
                </a:lnTo>
                <a:lnTo>
                  <a:pt x="3788" y="7260"/>
                </a:lnTo>
                <a:lnTo>
                  <a:pt x="3790" y="7258"/>
                </a:lnTo>
                <a:lnTo>
                  <a:pt x="3792" y="7256"/>
                </a:lnTo>
                <a:lnTo>
                  <a:pt x="3790" y="7252"/>
                </a:lnTo>
                <a:lnTo>
                  <a:pt x="3786" y="7252"/>
                </a:lnTo>
                <a:lnTo>
                  <a:pt x="3786" y="7256"/>
                </a:lnTo>
                <a:close/>
                <a:moveTo>
                  <a:pt x="3800" y="7238"/>
                </a:moveTo>
                <a:lnTo>
                  <a:pt x="3800" y="7238"/>
                </a:lnTo>
                <a:lnTo>
                  <a:pt x="3800" y="7242"/>
                </a:lnTo>
                <a:lnTo>
                  <a:pt x="3800" y="7244"/>
                </a:lnTo>
                <a:lnTo>
                  <a:pt x="3802" y="7248"/>
                </a:lnTo>
                <a:lnTo>
                  <a:pt x="3804" y="7248"/>
                </a:lnTo>
                <a:lnTo>
                  <a:pt x="3806" y="7246"/>
                </a:lnTo>
                <a:lnTo>
                  <a:pt x="3804" y="7242"/>
                </a:lnTo>
                <a:lnTo>
                  <a:pt x="3802" y="7240"/>
                </a:lnTo>
                <a:lnTo>
                  <a:pt x="3800" y="7238"/>
                </a:lnTo>
                <a:close/>
                <a:moveTo>
                  <a:pt x="3756" y="7220"/>
                </a:moveTo>
                <a:lnTo>
                  <a:pt x="3756" y="7220"/>
                </a:lnTo>
                <a:lnTo>
                  <a:pt x="3758" y="7222"/>
                </a:lnTo>
                <a:lnTo>
                  <a:pt x="3762" y="7220"/>
                </a:lnTo>
                <a:lnTo>
                  <a:pt x="3764" y="7220"/>
                </a:lnTo>
                <a:lnTo>
                  <a:pt x="3762" y="7216"/>
                </a:lnTo>
                <a:lnTo>
                  <a:pt x="3760" y="7216"/>
                </a:lnTo>
                <a:lnTo>
                  <a:pt x="3756" y="7216"/>
                </a:lnTo>
                <a:lnTo>
                  <a:pt x="3754" y="7218"/>
                </a:lnTo>
                <a:lnTo>
                  <a:pt x="3756" y="7220"/>
                </a:lnTo>
                <a:close/>
                <a:moveTo>
                  <a:pt x="3762" y="7342"/>
                </a:moveTo>
                <a:lnTo>
                  <a:pt x="3762" y="7342"/>
                </a:lnTo>
                <a:lnTo>
                  <a:pt x="3766" y="7340"/>
                </a:lnTo>
                <a:lnTo>
                  <a:pt x="3766" y="7338"/>
                </a:lnTo>
                <a:lnTo>
                  <a:pt x="3766" y="7334"/>
                </a:lnTo>
                <a:lnTo>
                  <a:pt x="3764" y="7332"/>
                </a:lnTo>
                <a:lnTo>
                  <a:pt x="3762" y="7334"/>
                </a:lnTo>
                <a:lnTo>
                  <a:pt x="3760" y="7338"/>
                </a:lnTo>
                <a:lnTo>
                  <a:pt x="3760" y="7340"/>
                </a:lnTo>
                <a:lnTo>
                  <a:pt x="3762" y="7342"/>
                </a:lnTo>
                <a:close/>
                <a:moveTo>
                  <a:pt x="3790" y="7328"/>
                </a:moveTo>
                <a:lnTo>
                  <a:pt x="3790" y="7328"/>
                </a:lnTo>
                <a:lnTo>
                  <a:pt x="3792" y="7328"/>
                </a:lnTo>
                <a:lnTo>
                  <a:pt x="3794" y="7326"/>
                </a:lnTo>
                <a:lnTo>
                  <a:pt x="3796" y="7324"/>
                </a:lnTo>
                <a:lnTo>
                  <a:pt x="3794" y="7324"/>
                </a:lnTo>
                <a:lnTo>
                  <a:pt x="3790" y="7322"/>
                </a:lnTo>
                <a:lnTo>
                  <a:pt x="3788" y="7322"/>
                </a:lnTo>
                <a:lnTo>
                  <a:pt x="3786" y="7324"/>
                </a:lnTo>
                <a:lnTo>
                  <a:pt x="3786" y="7328"/>
                </a:lnTo>
                <a:lnTo>
                  <a:pt x="3790" y="7328"/>
                </a:lnTo>
                <a:close/>
                <a:moveTo>
                  <a:pt x="3800" y="7296"/>
                </a:moveTo>
                <a:lnTo>
                  <a:pt x="3800" y="7296"/>
                </a:lnTo>
                <a:lnTo>
                  <a:pt x="3800" y="7294"/>
                </a:lnTo>
                <a:lnTo>
                  <a:pt x="3798" y="7290"/>
                </a:lnTo>
                <a:lnTo>
                  <a:pt x="3796" y="7286"/>
                </a:lnTo>
                <a:lnTo>
                  <a:pt x="3794" y="7286"/>
                </a:lnTo>
                <a:lnTo>
                  <a:pt x="3792" y="7290"/>
                </a:lnTo>
                <a:lnTo>
                  <a:pt x="3794" y="7292"/>
                </a:lnTo>
                <a:lnTo>
                  <a:pt x="3796" y="7296"/>
                </a:lnTo>
                <a:lnTo>
                  <a:pt x="3800" y="7296"/>
                </a:lnTo>
                <a:close/>
                <a:moveTo>
                  <a:pt x="4018" y="7914"/>
                </a:moveTo>
                <a:lnTo>
                  <a:pt x="4018" y="7914"/>
                </a:lnTo>
                <a:lnTo>
                  <a:pt x="4014" y="7912"/>
                </a:lnTo>
                <a:lnTo>
                  <a:pt x="4016" y="7910"/>
                </a:lnTo>
                <a:lnTo>
                  <a:pt x="4020" y="7910"/>
                </a:lnTo>
                <a:lnTo>
                  <a:pt x="4022" y="7908"/>
                </a:lnTo>
                <a:lnTo>
                  <a:pt x="4020" y="7908"/>
                </a:lnTo>
                <a:lnTo>
                  <a:pt x="4016" y="7904"/>
                </a:lnTo>
                <a:lnTo>
                  <a:pt x="4006" y="7904"/>
                </a:lnTo>
                <a:lnTo>
                  <a:pt x="4002" y="7902"/>
                </a:lnTo>
                <a:lnTo>
                  <a:pt x="4010" y="7900"/>
                </a:lnTo>
                <a:lnTo>
                  <a:pt x="4016" y="7898"/>
                </a:lnTo>
                <a:lnTo>
                  <a:pt x="4018" y="7896"/>
                </a:lnTo>
                <a:lnTo>
                  <a:pt x="4016" y="7892"/>
                </a:lnTo>
                <a:lnTo>
                  <a:pt x="4014" y="7890"/>
                </a:lnTo>
                <a:lnTo>
                  <a:pt x="4008" y="7890"/>
                </a:lnTo>
                <a:lnTo>
                  <a:pt x="4002" y="7890"/>
                </a:lnTo>
                <a:lnTo>
                  <a:pt x="3994" y="7892"/>
                </a:lnTo>
                <a:lnTo>
                  <a:pt x="3988" y="7892"/>
                </a:lnTo>
                <a:lnTo>
                  <a:pt x="3982" y="7892"/>
                </a:lnTo>
                <a:lnTo>
                  <a:pt x="3976" y="7894"/>
                </a:lnTo>
                <a:lnTo>
                  <a:pt x="3958" y="7898"/>
                </a:lnTo>
                <a:lnTo>
                  <a:pt x="3952" y="7900"/>
                </a:lnTo>
                <a:lnTo>
                  <a:pt x="3950" y="7900"/>
                </a:lnTo>
                <a:lnTo>
                  <a:pt x="3950" y="7902"/>
                </a:lnTo>
                <a:lnTo>
                  <a:pt x="3960" y="7908"/>
                </a:lnTo>
                <a:lnTo>
                  <a:pt x="3962" y="7908"/>
                </a:lnTo>
                <a:lnTo>
                  <a:pt x="3962" y="7910"/>
                </a:lnTo>
                <a:lnTo>
                  <a:pt x="3960" y="7910"/>
                </a:lnTo>
                <a:lnTo>
                  <a:pt x="3958" y="7912"/>
                </a:lnTo>
                <a:lnTo>
                  <a:pt x="3966" y="7916"/>
                </a:lnTo>
                <a:lnTo>
                  <a:pt x="3972" y="7918"/>
                </a:lnTo>
                <a:lnTo>
                  <a:pt x="3976" y="7920"/>
                </a:lnTo>
                <a:lnTo>
                  <a:pt x="3982" y="7924"/>
                </a:lnTo>
                <a:lnTo>
                  <a:pt x="3986" y="7924"/>
                </a:lnTo>
                <a:lnTo>
                  <a:pt x="3986" y="7922"/>
                </a:lnTo>
                <a:lnTo>
                  <a:pt x="3978" y="7912"/>
                </a:lnTo>
                <a:lnTo>
                  <a:pt x="3976" y="7908"/>
                </a:lnTo>
                <a:lnTo>
                  <a:pt x="3978" y="7906"/>
                </a:lnTo>
                <a:lnTo>
                  <a:pt x="3982" y="7906"/>
                </a:lnTo>
                <a:lnTo>
                  <a:pt x="3986" y="7908"/>
                </a:lnTo>
                <a:lnTo>
                  <a:pt x="3990" y="7908"/>
                </a:lnTo>
                <a:lnTo>
                  <a:pt x="3994" y="7908"/>
                </a:lnTo>
                <a:lnTo>
                  <a:pt x="3996" y="7906"/>
                </a:lnTo>
                <a:lnTo>
                  <a:pt x="3996" y="7908"/>
                </a:lnTo>
                <a:lnTo>
                  <a:pt x="3994" y="7916"/>
                </a:lnTo>
                <a:lnTo>
                  <a:pt x="3994" y="7920"/>
                </a:lnTo>
                <a:lnTo>
                  <a:pt x="3996" y="7922"/>
                </a:lnTo>
                <a:lnTo>
                  <a:pt x="3998" y="7924"/>
                </a:lnTo>
                <a:lnTo>
                  <a:pt x="4000" y="7924"/>
                </a:lnTo>
                <a:lnTo>
                  <a:pt x="4002" y="7922"/>
                </a:lnTo>
                <a:lnTo>
                  <a:pt x="4006" y="7920"/>
                </a:lnTo>
                <a:lnTo>
                  <a:pt x="4008" y="7920"/>
                </a:lnTo>
                <a:lnTo>
                  <a:pt x="4008" y="7922"/>
                </a:lnTo>
                <a:lnTo>
                  <a:pt x="4012" y="7924"/>
                </a:lnTo>
                <a:lnTo>
                  <a:pt x="4014" y="7924"/>
                </a:lnTo>
                <a:lnTo>
                  <a:pt x="4018" y="7924"/>
                </a:lnTo>
                <a:lnTo>
                  <a:pt x="4020" y="7928"/>
                </a:lnTo>
                <a:lnTo>
                  <a:pt x="4020" y="7930"/>
                </a:lnTo>
                <a:lnTo>
                  <a:pt x="4022" y="7930"/>
                </a:lnTo>
                <a:lnTo>
                  <a:pt x="4026" y="7934"/>
                </a:lnTo>
                <a:lnTo>
                  <a:pt x="4028" y="7936"/>
                </a:lnTo>
                <a:lnTo>
                  <a:pt x="4030" y="7934"/>
                </a:lnTo>
                <a:lnTo>
                  <a:pt x="4032" y="7930"/>
                </a:lnTo>
                <a:lnTo>
                  <a:pt x="4030" y="7926"/>
                </a:lnTo>
                <a:lnTo>
                  <a:pt x="4028" y="7924"/>
                </a:lnTo>
                <a:lnTo>
                  <a:pt x="4028" y="7922"/>
                </a:lnTo>
                <a:lnTo>
                  <a:pt x="4026" y="7918"/>
                </a:lnTo>
                <a:lnTo>
                  <a:pt x="4018" y="7914"/>
                </a:lnTo>
                <a:close/>
                <a:moveTo>
                  <a:pt x="3972" y="7890"/>
                </a:moveTo>
                <a:lnTo>
                  <a:pt x="3972" y="7890"/>
                </a:lnTo>
                <a:lnTo>
                  <a:pt x="3980" y="7888"/>
                </a:lnTo>
                <a:lnTo>
                  <a:pt x="3968" y="7886"/>
                </a:lnTo>
                <a:lnTo>
                  <a:pt x="3962" y="7884"/>
                </a:lnTo>
                <a:lnTo>
                  <a:pt x="3956" y="7886"/>
                </a:lnTo>
                <a:lnTo>
                  <a:pt x="3946" y="7888"/>
                </a:lnTo>
                <a:lnTo>
                  <a:pt x="3944" y="7890"/>
                </a:lnTo>
                <a:lnTo>
                  <a:pt x="3944" y="7892"/>
                </a:lnTo>
                <a:lnTo>
                  <a:pt x="3952" y="7894"/>
                </a:lnTo>
                <a:lnTo>
                  <a:pt x="3958" y="7894"/>
                </a:lnTo>
                <a:lnTo>
                  <a:pt x="3972" y="7890"/>
                </a:lnTo>
                <a:close/>
                <a:moveTo>
                  <a:pt x="3932" y="7886"/>
                </a:moveTo>
                <a:lnTo>
                  <a:pt x="3932" y="7886"/>
                </a:lnTo>
                <a:lnTo>
                  <a:pt x="3924" y="7888"/>
                </a:lnTo>
                <a:lnTo>
                  <a:pt x="3922" y="7890"/>
                </a:lnTo>
                <a:lnTo>
                  <a:pt x="3918" y="7890"/>
                </a:lnTo>
                <a:lnTo>
                  <a:pt x="3910" y="7890"/>
                </a:lnTo>
                <a:lnTo>
                  <a:pt x="3910" y="7892"/>
                </a:lnTo>
                <a:lnTo>
                  <a:pt x="3910" y="7894"/>
                </a:lnTo>
                <a:lnTo>
                  <a:pt x="3912" y="7896"/>
                </a:lnTo>
                <a:lnTo>
                  <a:pt x="3914" y="7898"/>
                </a:lnTo>
                <a:lnTo>
                  <a:pt x="3924" y="7898"/>
                </a:lnTo>
                <a:lnTo>
                  <a:pt x="3928" y="7900"/>
                </a:lnTo>
                <a:lnTo>
                  <a:pt x="3928" y="7904"/>
                </a:lnTo>
                <a:lnTo>
                  <a:pt x="3928" y="7906"/>
                </a:lnTo>
                <a:lnTo>
                  <a:pt x="3934" y="7904"/>
                </a:lnTo>
                <a:lnTo>
                  <a:pt x="3938" y="7902"/>
                </a:lnTo>
                <a:lnTo>
                  <a:pt x="3938" y="7898"/>
                </a:lnTo>
                <a:lnTo>
                  <a:pt x="3938" y="7896"/>
                </a:lnTo>
                <a:lnTo>
                  <a:pt x="3934" y="7894"/>
                </a:lnTo>
                <a:lnTo>
                  <a:pt x="3928" y="7894"/>
                </a:lnTo>
                <a:lnTo>
                  <a:pt x="3930" y="7892"/>
                </a:lnTo>
                <a:lnTo>
                  <a:pt x="3934" y="7892"/>
                </a:lnTo>
                <a:lnTo>
                  <a:pt x="3940" y="7890"/>
                </a:lnTo>
                <a:lnTo>
                  <a:pt x="3940" y="7888"/>
                </a:lnTo>
                <a:lnTo>
                  <a:pt x="3938" y="7886"/>
                </a:lnTo>
                <a:lnTo>
                  <a:pt x="3932" y="7886"/>
                </a:lnTo>
                <a:close/>
                <a:moveTo>
                  <a:pt x="3908" y="7882"/>
                </a:moveTo>
                <a:lnTo>
                  <a:pt x="3908" y="7882"/>
                </a:lnTo>
                <a:lnTo>
                  <a:pt x="3902" y="7880"/>
                </a:lnTo>
                <a:lnTo>
                  <a:pt x="3898" y="7880"/>
                </a:lnTo>
                <a:lnTo>
                  <a:pt x="3894" y="7882"/>
                </a:lnTo>
                <a:lnTo>
                  <a:pt x="3892" y="7884"/>
                </a:lnTo>
                <a:lnTo>
                  <a:pt x="3892" y="7886"/>
                </a:lnTo>
                <a:lnTo>
                  <a:pt x="3894" y="7886"/>
                </a:lnTo>
                <a:lnTo>
                  <a:pt x="3898" y="7886"/>
                </a:lnTo>
                <a:lnTo>
                  <a:pt x="3902" y="7884"/>
                </a:lnTo>
                <a:lnTo>
                  <a:pt x="3904" y="7884"/>
                </a:lnTo>
                <a:lnTo>
                  <a:pt x="3906" y="7886"/>
                </a:lnTo>
                <a:lnTo>
                  <a:pt x="3910" y="7886"/>
                </a:lnTo>
                <a:lnTo>
                  <a:pt x="3912" y="7886"/>
                </a:lnTo>
                <a:lnTo>
                  <a:pt x="3912" y="7884"/>
                </a:lnTo>
                <a:lnTo>
                  <a:pt x="3910" y="7882"/>
                </a:lnTo>
                <a:lnTo>
                  <a:pt x="3908" y="7882"/>
                </a:lnTo>
                <a:close/>
                <a:moveTo>
                  <a:pt x="4038" y="7944"/>
                </a:moveTo>
                <a:lnTo>
                  <a:pt x="4038" y="7944"/>
                </a:lnTo>
                <a:lnTo>
                  <a:pt x="4040" y="7946"/>
                </a:lnTo>
                <a:lnTo>
                  <a:pt x="4046" y="7946"/>
                </a:lnTo>
                <a:lnTo>
                  <a:pt x="4050" y="7944"/>
                </a:lnTo>
                <a:lnTo>
                  <a:pt x="4052" y="7942"/>
                </a:lnTo>
                <a:lnTo>
                  <a:pt x="4048" y="7940"/>
                </a:lnTo>
                <a:lnTo>
                  <a:pt x="4044" y="7940"/>
                </a:lnTo>
                <a:lnTo>
                  <a:pt x="4038" y="7942"/>
                </a:lnTo>
                <a:lnTo>
                  <a:pt x="4038" y="7944"/>
                </a:lnTo>
                <a:close/>
                <a:moveTo>
                  <a:pt x="4056" y="7930"/>
                </a:moveTo>
                <a:lnTo>
                  <a:pt x="4056" y="7930"/>
                </a:lnTo>
                <a:lnTo>
                  <a:pt x="4054" y="7932"/>
                </a:lnTo>
                <a:lnTo>
                  <a:pt x="4052" y="7932"/>
                </a:lnTo>
                <a:lnTo>
                  <a:pt x="4050" y="7934"/>
                </a:lnTo>
                <a:lnTo>
                  <a:pt x="4050" y="7936"/>
                </a:lnTo>
                <a:lnTo>
                  <a:pt x="4056" y="7940"/>
                </a:lnTo>
                <a:lnTo>
                  <a:pt x="4060" y="7940"/>
                </a:lnTo>
                <a:lnTo>
                  <a:pt x="4060" y="7938"/>
                </a:lnTo>
                <a:lnTo>
                  <a:pt x="4058" y="7932"/>
                </a:lnTo>
                <a:lnTo>
                  <a:pt x="4056" y="7928"/>
                </a:lnTo>
                <a:lnTo>
                  <a:pt x="4056" y="7930"/>
                </a:lnTo>
                <a:close/>
                <a:moveTo>
                  <a:pt x="3872" y="7846"/>
                </a:moveTo>
                <a:lnTo>
                  <a:pt x="3872" y="7846"/>
                </a:lnTo>
                <a:lnTo>
                  <a:pt x="3872" y="7850"/>
                </a:lnTo>
                <a:lnTo>
                  <a:pt x="3874" y="7850"/>
                </a:lnTo>
                <a:lnTo>
                  <a:pt x="3876" y="7850"/>
                </a:lnTo>
                <a:lnTo>
                  <a:pt x="3876" y="7848"/>
                </a:lnTo>
                <a:lnTo>
                  <a:pt x="3876" y="7846"/>
                </a:lnTo>
                <a:lnTo>
                  <a:pt x="3878" y="7844"/>
                </a:lnTo>
                <a:lnTo>
                  <a:pt x="3880" y="7844"/>
                </a:lnTo>
                <a:lnTo>
                  <a:pt x="3880" y="7840"/>
                </a:lnTo>
                <a:lnTo>
                  <a:pt x="3882" y="7838"/>
                </a:lnTo>
                <a:lnTo>
                  <a:pt x="3882" y="7836"/>
                </a:lnTo>
                <a:lnTo>
                  <a:pt x="3882" y="7834"/>
                </a:lnTo>
                <a:lnTo>
                  <a:pt x="3882" y="7832"/>
                </a:lnTo>
                <a:lnTo>
                  <a:pt x="3882" y="7828"/>
                </a:lnTo>
                <a:lnTo>
                  <a:pt x="3884" y="7826"/>
                </a:lnTo>
                <a:lnTo>
                  <a:pt x="3880" y="7824"/>
                </a:lnTo>
                <a:lnTo>
                  <a:pt x="3874" y="7822"/>
                </a:lnTo>
                <a:lnTo>
                  <a:pt x="3872" y="7822"/>
                </a:lnTo>
                <a:lnTo>
                  <a:pt x="3870" y="7824"/>
                </a:lnTo>
                <a:lnTo>
                  <a:pt x="3868" y="7826"/>
                </a:lnTo>
                <a:lnTo>
                  <a:pt x="3866" y="7826"/>
                </a:lnTo>
                <a:lnTo>
                  <a:pt x="3864" y="7824"/>
                </a:lnTo>
                <a:lnTo>
                  <a:pt x="3860" y="7824"/>
                </a:lnTo>
                <a:lnTo>
                  <a:pt x="3860" y="7826"/>
                </a:lnTo>
                <a:lnTo>
                  <a:pt x="3860" y="7828"/>
                </a:lnTo>
                <a:lnTo>
                  <a:pt x="3864" y="7836"/>
                </a:lnTo>
                <a:lnTo>
                  <a:pt x="3872" y="7840"/>
                </a:lnTo>
                <a:lnTo>
                  <a:pt x="3874" y="7842"/>
                </a:lnTo>
                <a:lnTo>
                  <a:pt x="3872" y="7846"/>
                </a:lnTo>
                <a:close/>
                <a:moveTo>
                  <a:pt x="3834" y="7700"/>
                </a:moveTo>
                <a:lnTo>
                  <a:pt x="3834" y="7700"/>
                </a:lnTo>
                <a:lnTo>
                  <a:pt x="3828" y="7706"/>
                </a:lnTo>
                <a:lnTo>
                  <a:pt x="3826" y="7708"/>
                </a:lnTo>
                <a:lnTo>
                  <a:pt x="3826" y="7710"/>
                </a:lnTo>
                <a:lnTo>
                  <a:pt x="3828" y="7710"/>
                </a:lnTo>
                <a:lnTo>
                  <a:pt x="3830" y="7710"/>
                </a:lnTo>
                <a:lnTo>
                  <a:pt x="3834" y="7706"/>
                </a:lnTo>
                <a:lnTo>
                  <a:pt x="3836" y="7702"/>
                </a:lnTo>
                <a:lnTo>
                  <a:pt x="3834" y="7700"/>
                </a:lnTo>
                <a:close/>
                <a:moveTo>
                  <a:pt x="3852" y="7832"/>
                </a:moveTo>
                <a:lnTo>
                  <a:pt x="3852" y="7832"/>
                </a:lnTo>
                <a:lnTo>
                  <a:pt x="3854" y="7834"/>
                </a:lnTo>
                <a:lnTo>
                  <a:pt x="3856" y="7834"/>
                </a:lnTo>
                <a:lnTo>
                  <a:pt x="3854" y="7828"/>
                </a:lnTo>
                <a:lnTo>
                  <a:pt x="3854" y="7826"/>
                </a:lnTo>
                <a:lnTo>
                  <a:pt x="3856" y="7824"/>
                </a:lnTo>
                <a:lnTo>
                  <a:pt x="3858" y="7822"/>
                </a:lnTo>
                <a:lnTo>
                  <a:pt x="3862" y="7820"/>
                </a:lnTo>
                <a:lnTo>
                  <a:pt x="3864" y="7818"/>
                </a:lnTo>
                <a:lnTo>
                  <a:pt x="3862" y="7816"/>
                </a:lnTo>
                <a:lnTo>
                  <a:pt x="3860" y="7814"/>
                </a:lnTo>
                <a:lnTo>
                  <a:pt x="3856" y="7812"/>
                </a:lnTo>
                <a:lnTo>
                  <a:pt x="3854" y="7812"/>
                </a:lnTo>
                <a:lnTo>
                  <a:pt x="3852" y="7808"/>
                </a:lnTo>
                <a:lnTo>
                  <a:pt x="3852" y="7806"/>
                </a:lnTo>
                <a:lnTo>
                  <a:pt x="3848" y="7804"/>
                </a:lnTo>
                <a:lnTo>
                  <a:pt x="3846" y="7802"/>
                </a:lnTo>
                <a:lnTo>
                  <a:pt x="3842" y="7802"/>
                </a:lnTo>
                <a:lnTo>
                  <a:pt x="3840" y="7804"/>
                </a:lnTo>
                <a:lnTo>
                  <a:pt x="3840" y="7802"/>
                </a:lnTo>
                <a:lnTo>
                  <a:pt x="3838" y="7800"/>
                </a:lnTo>
                <a:lnTo>
                  <a:pt x="3836" y="7802"/>
                </a:lnTo>
                <a:lnTo>
                  <a:pt x="3834" y="7804"/>
                </a:lnTo>
                <a:lnTo>
                  <a:pt x="3834" y="7802"/>
                </a:lnTo>
                <a:lnTo>
                  <a:pt x="3834" y="7798"/>
                </a:lnTo>
                <a:lnTo>
                  <a:pt x="3830" y="7794"/>
                </a:lnTo>
                <a:lnTo>
                  <a:pt x="3826" y="7792"/>
                </a:lnTo>
                <a:lnTo>
                  <a:pt x="3824" y="7796"/>
                </a:lnTo>
                <a:lnTo>
                  <a:pt x="3824" y="7798"/>
                </a:lnTo>
                <a:lnTo>
                  <a:pt x="3818" y="7798"/>
                </a:lnTo>
                <a:lnTo>
                  <a:pt x="3816" y="7796"/>
                </a:lnTo>
                <a:lnTo>
                  <a:pt x="3814" y="7798"/>
                </a:lnTo>
                <a:lnTo>
                  <a:pt x="3816" y="7802"/>
                </a:lnTo>
                <a:lnTo>
                  <a:pt x="3818" y="7804"/>
                </a:lnTo>
                <a:lnTo>
                  <a:pt x="3818" y="7806"/>
                </a:lnTo>
                <a:lnTo>
                  <a:pt x="3816" y="7806"/>
                </a:lnTo>
                <a:lnTo>
                  <a:pt x="3810" y="7804"/>
                </a:lnTo>
                <a:lnTo>
                  <a:pt x="3808" y="7804"/>
                </a:lnTo>
                <a:lnTo>
                  <a:pt x="3804" y="7808"/>
                </a:lnTo>
                <a:lnTo>
                  <a:pt x="3804" y="7810"/>
                </a:lnTo>
                <a:lnTo>
                  <a:pt x="3806" y="7810"/>
                </a:lnTo>
                <a:lnTo>
                  <a:pt x="3808" y="7812"/>
                </a:lnTo>
                <a:lnTo>
                  <a:pt x="3808" y="7814"/>
                </a:lnTo>
                <a:lnTo>
                  <a:pt x="3808" y="7816"/>
                </a:lnTo>
                <a:lnTo>
                  <a:pt x="3812" y="7814"/>
                </a:lnTo>
                <a:lnTo>
                  <a:pt x="3816" y="7814"/>
                </a:lnTo>
                <a:lnTo>
                  <a:pt x="3818" y="7814"/>
                </a:lnTo>
                <a:lnTo>
                  <a:pt x="3818" y="7818"/>
                </a:lnTo>
                <a:lnTo>
                  <a:pt x="3818" y="7824"/>
                </a:lnTo>
                <a:lnTo>
                  <a:pt x="3820" y="7828"/>
                </a:lnTo>
                <a:lnTo>
                  <a:pt x="3824" y="7830"/>
                </a:lnTo>
                <a:lnTo>
                  <a:pt x="3826" y="7832"/>
                </a:lnTo>
                <a:lnTo>
                  <a:pt x="3828" y="7830"/>
                </a:lnTo>
                <a:lnTo>
                  <a:pt x="3828" y="7826"/>
                </a:lnTo>
                <a:lnTo>
                  <a:pt x="3828" y="7822"/>
                </a:lnTo>
                <a:lnTo>
                  <a:pt x="3828" y="7820"/>
                </a:lnTo>
                <a:lnTo>
                  <a:pt x="3830" y="7822"/>
                </a:lnTo>
                <a:lnTo>
                  <a:pt x="3834" y="7822"/>
                </a:lnTo>
                <a:lnTo>
                  <a:pt x="3836" y="7822"/>
                </a:lnTo>
                <a:lnTo>
                  <a:pt x="3838" y="7822"/>
                </a:lnTo>
                <a:lnTo>
                  <a:pt x="3838" y="7826"/>
                </a:lnTo>
                <a:lnTo>
                  <a:pt x="3836" y="7830"/>
                </a:lnTo>
                <a:lnTo>
                  <a:pt x="3832" y="7834"/>
                </a:lnTo>
                <a:lnTo>
                  <a:pt x="3830" y="7836"/>
                </a:lnTo>
                <a:lnTo>
                  <a:pt x="3834" y="7838"/>
                </a:lnTo>
                <a:lnTo>
                  <a:pt x="3838" y="7838"/>
                </a:lnTo>
                <a:lnTo>
                  <a:pt x="3842" y="7836"/>
                </a:lnTo>
                <a:lnTo>
                  <a:pt x="3844" y="7834"/>
                </a:lnTo>
                <a:lnTo>
                  <a:pt x="3846" y="7834"/>
                </a:lnTo>
                <a:lnTo>
                  <a:pt x="3848" y="7834"/>
                </a:lnTo>
                <a:lnTo>
                  <a:pt x="3848" y="7832"/>
                </a:lnTo>
                <a:lnTo>
                  <a:pt x="3850" y="7832"/>
                </a:lnTo>
                <a:lnTo>
                  <a:pt x="3852" y="7832"/>
                </a:lnTo>
                <a:close/>
                <a:moveTo>
                  <a:pt x="3856" y="7838"/>
                </a:moveTo>
                <a:lnTo>
                  <a:pt x="3856" y="7838"/>
                </a:lnTo>
                <a:lnTo>
                  <a:pt x="3854" y="7840"/>
                </a:lnTo>
                <a:lnTo>
                  <a:pt x="3850" y="7842"/>
                </a:lnTo>
                <a:lnTo>
                  <a:pt x="3850" y="7846"/>
                </a:lnTo>
                <a:lnTo>
                  <a:pt x="3852" y="7846"/>
                </a:lnTo>
                <a:lnTo>
                  <a:pt x="3854" y="7846"/>
                </a:lnTo>
                <a:lnTo>
                  <a:pt x="3860" y="7842"/>
                </a:lnTo>
                <a:lnTo>
                  <a:pt x="3860" y="7838"/>
                </a:lnTo>
                <a:lnTo>
                  <a:pt x="3860" y="7836"/>
                </a:lnTo>
                <a:lnTo>
                  <a:pt x="3858" y="7836"/>
                </a:lnTo>
                <a:lnTo>
                  <a:pt x="3856" y="7838"/>
                </a:lnTo>
                <a:close/>
                <a:moveTo>
                  <a:pt x="3780" y="7788"/>
                </a:moveTo>
                <a:lnTo>
                  <a:pt x="3780" y="7788"/>
                </a:lnTo>
                <a:lnTo>
                  <a:pt x="3782" y="7788"/>
                </a:lnTo>
                <a:lnTo>
                  <a:pt x="3786" y="7788"/>
                </a:lnTo>
                <a:lnTo>
                  <a:pt x="3786" y="7784"/>
                </a:lnTo>
                <a:lnTo>
                  <a:pt x="3786" y="7782"/>
                </a:lnTo>
                <a:lnTo>
                  <a:pt x="3784" y="7782"/>
                </a:lnTo>
                <a:lnTo>
                  <a:pt x="3782" y="7784"/>
                </a:lnTo>
                <a:lnTo>
                  <a:pt x="3780" y="7786"/>
                </a:lnTo>
                <a:lnTo>
                  <a:pt x="3780" y="7788"/>
                </a:lnTo>
                <a:close/>
                <a:moveTo>
                  <a:pt x="3800" y="7744"/>
                </a:moveTo>
                <a:lnTo>
                  <a:pt x="3800" y="7744"/>
                </a:lnTo>
                <a:lnTo>
                  <a:pt x="3800" y="7742"/>
                </a:lnTo>
                <a:lnTo>
                  <a:pt x="3802" y="7740"/>
                </a:lnTo>
                <a:lnTo>
                  <a:pt x="3802" y="7738"/>
                </a:lnTo>
                <a:lnTo>
                  <a:pt x="3802" y="7734"/>
                </a:lnTo>
                <a:lnTo>
                  <a:pt x="3800" y="7732"/>
                </a:lnTo>
                <a:lnTo>
                  <a:pt x="3798" y="7732"/>
                </a:lnTo>
                <a:lnTo>
                  <a:pt x="3790" y="7740"/>
                </a:lnTo>
                <a:lnTo>
                  <a:pt x="3788" y="7742"/>
                </a:lnTo>
                <a:lnTo>
                  <a:pt x="3788" y="7744"/>
                </a:lnTo>
                <a:lnTo>
                  <a:pt x="3792" y="7752"/>
                </a:lnTo>
                <a:lnTo>
                  <a:pt x="3794" y="7752"/>
                </a:lnTo>
                <a:lnTo>
                  <a:pt x="3796" y="7752"/>
                </a:lnTo>
                <a:lnTo>
                  <a:pt x="3798" y="7748"/>
                </a:lnTo>
                <a:lnTo>
                  <a:pt x="3800" y="7744"/>
                </a:lnTo>
                <a:close/>
                <a:moveTo>
                  <a:pt x="3808" y="7788"/>
                </a:moveTo>
                <a:lnTo>
                  <a:pt x="3808" y="7788"/>
                </a:lnTo>
                <a:lnTo>
                  <a:pt x="3810" y="7790"/>
                </a:lnTo>
                <a:lnTo>
                  <a:pt x="3812" y="7788"/>
                </a:lnTo>
                <a:lnTo>
                  <a:pt x="3814" y="7788"/>
                </a:lnTo>
                <a:lnTo>
                  <a:pt x="3818" y="7790"/>
                </a:lnTo>
                <a:lnTo>
                  <a:pt x="3822" y="7792"/>
                </a:lnTo>
                <a:lnTo>
                  <a:pt x="3824" y="7790"/>
                </a:lnTo>
                <a:lnTo>
                  <a:pt x="3820" y="7786"/>
                </a:lnTo>
                <a:lnTo>
                  <a:pt x="3814" y="7780"/>
                </a:lnTo>
                <a:lnTo>
                  <a:pt x="3812" y="7778"/>
                </a:lnTo>
                <a:lnTo>
                  <a:pt x="3810" y="7778"/>
                </a:lnTo>
                <a:lnTo>
                  <a:pt x="3808" y="7776"/>
                </a:lnTo>
                <a:lnTo>
                  <a:pt x="3806" y="7774"/>
                </a:lnTo>
                <a:lnTo>
                  <a:pt x="3804" y="7772"/>
                </a:lnTo>
                <a:lnTo>
                  <a:pt x="3804" y="7774"/>
                </a:lnTo>
                <a:lnTo>
                  <a:pt x="3802" y="7774"/>
                </a:lnTo>
                <a:lnTo>
                  <a:pt x="3800" y="7774"/>
                </a:lnTo>
                <a:lnTo>
                  <a:pt x="3792" y="7768"/>
                </a:lnTo>
                <a:lnTo>
                  <a:pt x="3780" y="7764"/>
                </a:lnTo>
                <a:lnTo>
                  <a:pt x="3776" y="7762"/>
                </a:lnTo>
                <a:lnTo>
                  <a:pt x="3770" y="7758"/>
                </a:lnTo>
                <a:lnTo>
                  <a:pt x="3764" y="7754"/>
                </a:lnTo>
                <a:lnTo>
                  <a:pt x="3760" y="7752"/>
                </a:lnTo>
                <a:lnTo>
                  <a:pt x="3762" y="7756"/>
                </a:lnTo>
                <a:lnTo>
                  <a:pt x="3766" y="7760"/>
                </a:lnTo>
                <a:lnTo>
                  <a:pt x="3766" y="7762"/>
                </a:lnTo>
                <a:lnTo>
                  <a:pt x="3766" y="7764"/>
                </a:lnTo>
                <a:lnTo>
                  <a:pt x="3768" y="7766"/>
                </a:lnTo>
                <a:lnTo>
                  <a:pt x="3772" y="7768"/>
                </a:lnTo>
                <a:lnTo>
                  <a:pt x="3774" y="7770"/>
                </a:lnTo>
                <a:lnTo>
                  <a:pt x="3778" y="7772"/>
                </a:lnTo>
                <a:lnTo>
                  <a:pt x="3784" y="7774"/>
                </a:lnTo>
                <a:lnTo>
                  <a:pt x="3790" y="7776"/>
                </a:lnTo>
                <a:lnTo>
                  <a:pt x="3792" y="7778"/>
                </a:lnTo>
                <a:lnTo>
                  <a:pt x="3796" y="7780"/>
                </a:lnTo>
                <a:lnTo>
                  <a:pt x="3798" y="7782"/>
                </a:lnTo>
                <a:lnTo>
                  <a:pt x="3800" y="7782"/>
                </a:lnTo>
                <a:lnTo>
                  <a:pt x="3800" y="7780"/>
                </a:lnTo>
                <a:lnTo>
                  <a:pt x="3804" y="7782"/>
                </a:lnTo>
                <a:lnTo>
                  <a:pt x="3806" y="7784"/>
                </a:lnTo>
                <a:lnTo>
                  <a:pt x="3806" y="7786"/>
                </a:lnTo>
                <a:lnTo>
                  <a:pt x="3806" y="7788"/>
                </a:lnTo>
                <a:lnTo>
                  <a:pt x="3808" y="7788"/>
                </a:lnTo>
                <a:close/>
                <a:moveTo>
                  <a:pt x="3790" y="7696"/>
                </a:moveTo>
                <a:lnTo>
                  <a:pt x="3790" y="7696"/>
                </a:lnTo>
                <a:lnTo>
                  <a:pt x="3790" y="7694"/>
                </a:lnTo>
                <a:lnTo>
                  <a:pt x="3790" y="7690"/>
                </a:lnTo>
                <a:lnTo>
                  <a:pt x="3786" y="7680"/>
                </a:lnTo>
                <a:lnTo>
                  <a:pt x="3784" y="7682"/>
                </a:lnTo>
                <a:lnTo>
                  <a:pt x="3784" y="7686"/>
                </a:lnTo>
                <a:lnTo>
                  <a:pt x="3782" y="7688"/>
                </a:lnTo>
                <a:lnTo>
                  <a:pt x="3780" y="7692"/>
                </a:lnTo>
                <a:lnTo>
                  <a:pt x="3784" y="7694"/>
                </a:lnTo>
                <a:lnTo>
                  <a:pt x="3786" y="7696"/>
                </a:lnTo>
                <a:lnTo>
                  <a:pt x="3790" y="7696"/>
                </a:lnTo>
                <a:close/>
                <a:moveTo>
                  <a:pt x="3758" y="7690"/>
                </a:moveTo>
                <a:lnTo>
                  <a:pt x="3758" y="7690"/>
                </a:lnTo>
                <a:lnTo>
                  <a:pt x="3756" y="7686"/>
                </a:lnTo>
                <a:lnTo>
                  <a:pt x="3754" y="7688"/>
                </a:lnTo>
                <a:lnTo>
                  <a:pt x="3754" y="7692"/>
                </a:lnTo>
                <a:lnTo>
                  <a:pt x="3754" y="7696"/>
                </a:lnTo>
                <a:lnTo>
                  <a:pt x="3750" y="7692"/>
                </a:lnTo>
                <a:lnTo>
                  <a:pt x="3750" y="7690"/>
                </a:lnTo>
                <a:lnTo>
                  <a:pt x="3748" y="7690"/>
                </a:lnTo>
                <a:lnTo>
                  <a:pt x="3746" y="7694"/>
                </a:lnTo>
                <a:lnTo>
                  <a:pt x="3746" y="7698"/>
                </a:lnTo>
                <a:lnTo>
                  <a:pt x="3746" y="7702"/>
                </a:lnTo>
                <a:lnTo>
                  <a:pt x="3748" y="7704"/>
                </a:lnTo>
                <a:lnTo>
                  <a:pt x="3748" y="7706"/>
                </a:lnTo>
                <a:lnTo>
                  <a:pt x="3746" y="7708"/>
                </a:lnTo>
                <a:lnTo>
                  <a:pt x="3748" y="7712"/>
                </a:lnTo>
                <a:lnTo>
                  <a:pt x="3750" y="7714"/>
                </a:lnTo>
                <a:lnTo>
                  <a:pt x="3750" y="7716"/>
                </a:lnTo>
                <a:lnTo>
                  <a:pt x="3754" y="7708"/>
                </a:lnTo>
                <a:lnTo>
                  <a:pt x="3758" y="7698"/>
                </a:lnTo>
                <a:lnTo>
                  <a:pt x="3758" y="7694"/>
                </a:lnTo>
                <a:lnTo>
                  <a:pt x="3758" y="7690"/>
                </a:lnTo>
                <a:close/>
                <a:moveTo>
                  <a:pt x="3778" y="7704"/>
                </a:moveTo>
                <a:lnTo>
                  <a:pt x="3778" y="7704"/>
                </a:lnTo>
                <a:lnTo>
                  <a:pt x="3782" y="7704"/>
                </a:lnTo>
                <a:lnTo>
                  <a:pt x="3782" y="7702"/>
                </a:lnTo>
                <a:lnTo>
                  <a:pt x="3782" y="7700"/>
                </a:lnTo>
                <a:lnTo>
                  <a:pt x="3778" y="7694"/>
                </a:lnTo>
                <a:lnTo>
                  <a:pt x="3774" y="7692"/>
                </a:lnTo>
                <a:lnTo>
                  <a:pt x="3772" y="7690"/>
                </a:lnTo>
                <a:lnTo>
                  <a:pt x="3770" y="7692"/>
                </a:lnTo>
                <a:lnTo>
                  <a:pt x="3772" y="7694"/>
                </a:lnTo>
                <a:lnTo>
                  <a:pt x="3772" y="7696"/>
                </a:lnTo>
                <a:lnTo>
                  <a:pt x="3772" y="7698"/>
                </a:lnTo>
                <a:lnTo>
                  <a:pt x="3774" y="7700"/>
                </a:lnTo>
                <a:lnTo>
                  <a:pt x="3778" y="7704"/>
                </a:lnTo>
                <a:close/>
                <a:moveTo>
                  <a:pt x="3786" y="7706"/>
                </a:moveTo>
                <a:lnTo>
                  <a:pt x="3786" y="7706"/>
                </a:lnTo>
                <a:lnTo>
                  <a:pt x="3786" y="7708"/>
                </a:lnTo>
                <a:lnTo>
                  <a:pt x="3788" y="7710"/>
                </a:lnTo>
                <a:lnTo>
                  <a:pt x="3796" y="7716"/>
                </a:lnTo>
                <a:lnTo>
                  <a:pt x="3800" y="7722"/>
                </a:lnTo>
                <a:lnTo>
                  <a:pt x="3802" y="7720"/>
                </a:lnTo>
                <a:lnTo>
                  <a:pt x="3798" y="7714"/>
                </a:lnTo>
                <a:lnTo>
                  <a:pt x="3792" y="7706"/>
                </a:lnTo>
                <a:lnTo>
                  <a:pt x="3788" y="7704"/>
                </a:lnTo>
                <a:lnTo>
                  <a:pt x="3786" y="7706"/>
                </a:lnTo>
                <a:close/>
                <a:moveTo>
                  <a:pt x="3782" y="7732"/>
                </a:moveTo>
                <a:lnTo>
                  <a:pt x="3782" y="7732"/>
                </a:lnTo>
                <a:lnTo>
                  <a:pt x="3784" y="7732"/>
                </a:lnTo>
                <a:lnTo>
                  <a:pt x="3786" y="7732"/>
                </a:lnTo>
                <a:lnTo>
                  <a:pt x="3792" y="7728"/>
                </a:lnTo>
                <a:lnTo>
                  <a:pt x="3794" y="7726"/>
                </a:lnTo>
                <a:lnTo>
                  <a:pt x="3792" y="7724"/>
                </a:lnTo>
                <a:lnTo>
                  <a:pt x="3782" y="7718"/>
                </a:lnTo>
                <a:lnTo>
                  <a:pt x="3778" y="7714"/>
                </a:lnTo>
                <a:lnTo>
                  <a:pt x="3774" y="7714"/>
                </a:lnTo>
                <a:lnTo>
                  <a:pt x="3772" y="7714"/>
                </a:lnTo>
                <a:lnTo>
                  <a:pt x="3774" y="7718"/>
                </a:lnTo>
                <a:lnTo>
                  <a:pt x="3776" y="7718"/>
                </a:lnTo>
                <a:lnTo>
                  <a:pt x="3778" y="7718"/>
                </a:lnTo>
                <a:lnTo>
                  <a:pt x="3780" y="7720"/>
                </a:lnTo>
                <a:lnTo>
                  <a:pt x="3782" y="7722"/>
                </a:lnTo>
                <a:lnTo>
                  <a:pt x="3780" y="7724"/>
                </a:lnTo>
                <a:lnTo>
                  <a:pt x="3780" y="7726"/>
                </a:lnTo>
                <a:lnTo>
                  <a:pt x="3782" y="7732"/>
                </a:lnTo>
                <a:close/>
                <a:moveTo>
                  <a:pt x="3760" y="7702"/>
                </a:moveTo>
                <a:lnTo>
                  <a:pt x="3760" y="7702"/>
                </a:lnTo>
                <a:lnTo>
                  <a:pt x="3756" y="7712"/>
                </a:lnTo>
                <a:lnTo>
                  <a:pt x="3756" y="7716"/>
                </a:lnTo>
                <a:lnTo>
                  <a:pt x="3758" y="7714"/>
                </a:lnTo>
                <a:lnTo>
                  <a:pt x="3760" y="7710"/>
                </a:lnTo>
                <a:lnTo>
                  <a:pt x="3764" y="7704"/>
                </a:lnTo>
                <a:lnTo>
                  <a:pt x="3764" y="7700"/>
                </a:lnTo>
                <a:lnTo>
                  <a:pt x="3764" y="7698"/>
                </a:lnTo>
                <a:lnTo>
                  <a:pt x="3762" y="7698"/>
                </a:lnTo>
                <a:lnTo>
                  <a:pt x="3760" y="7702"/>
                </a:lnTo>
                <a:close/>
                <a:moveTo>
                  <a:pt x="3764" y="7720"/>
                </a:moveTo>
                <a:lnTo>
                  <a:pt x="3764" y="7720"/>
                </a:lnTo>
                <a:lnTo>
                  <a:pt x="3756" y="7720"/>
                </a:lnTo>
                <a:lnTo>
                  <a:pt x="3754" y="7720"/>
                </a:lnTo>
                <a:lnTo>
                  <a:pt x="3752" y="7722"/>
                </a:lnTo>
                <a:lnTo>
                  <a:pt x="3754" y="7724"/>
                </a:lnTo>
                <a:lnTo>
                  <a:pt x="3758" y="7726"/>
                </a:lnTo>
                <a:lnTo>
                  <a:pt x="3762" y="7726"/>
                </a:lnTo>
                <a:lnTo>
                  <a:pt x="3764" y="7724"/>
                </a:lnTo>
                <a:lnTo>
                  <a:pt x="3766" y="7722"/>
                </a:lnTo>
                <a:lnTo>
                  <a:pt x="3764" y="7720"/>
                </a:lnTo>
                <a:close/>
                <a:moveTo>
                  <a:pt x="3744" y="7666"/>
                </a:moveTo>
                <a:lnTo>
                  <a:pt x="3744" y="7666"/>
                </a:lnTo>
                <a:lnTo>
                  <a:pt x="3742" y="7666"/>
                </a:lnTo>
                <a:lnTo>
                  <a:pt x="3740" y="7668"/>
                </a:lnTo>
                <a:lnTo>
                  <a:pt x="3740" y="7676"/>
                </a:lnTo>
                <a:lnTo>
                  <a:pt x="3736" y="7682"/>
                </a:lnTo>
                <a:lnTo>
                  <a:pt x="3736" y="7686"/>
                </a:lnTo>
                <a:lnTo>
                  <a:pt x="3740" y="7686"/>
                </a:lnTo>
                <a:lnTo>
                  <a:pt x="3742" y="7684"/>
                </a:lnTo>
                <a:lnTo>
                  <a:pt x="3744" y="7682"/>
                </a:lnTo>
                <a:lnTo>
                  <a:pt x="3744" y="7678"/>
                </a:lnTo>
                <a:lnTo>
                  <a:pt x="3746" y="7674"/>
                </a:lnTo>
                <a:lnTo>
                  <a:pt x="3748" y="7670"/>
                </a:lnTo>
                <a:lnTo>
                  <a:pt x="3744" y="7666"/>
                </a:lnTo>
                <a:close/>
                <a:moveTo>
                  <a:pt x="3780" y="7668"/>
                </a:moveTo>
                <a:lnTo>
                  <a:pt x="3780" y="7668"/>
                </a:lnTo>
                <a:lnTo>
                  <a:pt x="3778" y="7668"/>
                </a:lnTo>
                <a:lnTo>
                  <a:pt x="3778" y="7670"/>
                </a:lnTo>
                <a:lnTo>
                  <a:pt x="3778" y="7672"/>
                </a:lnTo>
                <a:lnTo>
                  <a:pt x="3782" y="7674"/>
                </a:lnTo>
                <a:lnTo>
                  <a:pt x="3784" y="7674"/>
                </a:lnTo>
                <a:lnTo>
                  <a:pt x="3784" y="7672"/>
                </a:lnTo>
                <a:lnTo>
                  <a:pt x="3782" y="7668"/>
                </a:lnTo>
                <a:lnTo>
                  <a:pt x="3780" y="7668"/>
                </a:lnTo>
                <a:close/>
                <a:moveTo>
                  <a:pt x="3792" y="7664"/>
                </a:moveTo>
                <a:lnTo>
                  <a:pt x="3792" y="7664"/>
                </a:lnTo>
                <a:lnTo>
                  <a:pt x="3790" y="7662"/>
                </a:lnTo>
                <a:lnTo>
                  <a:pt x="3788" y="7662"/>
                </a:lnTo>
                <a:lnTo>
                  <a:pt x="3784" y="7664"/>
                </a:lnTo>
                <a:lnTo>
                  <a:pt x="3784" y="7668"/>
                </a:lnTo>
                <a:lnTo>
                  <a:pt x="3786" y="7670"/>
                </a:lnTo>
                <a:lnTo>
                  <a:pt x="3788" y="7670"/>
                </a:lnTo>
                <a:lnTo>
                  <a:pt x="3790" y="7668"/>
                </a:lnTo>
                <a:lnTo>
                  <a:pt x="3792" y="7664"/>
                </a:lnTo>
                <a:close/>
                <a:moveTo>
                  <a:pt x="3766" y="7668"/>
                </a:moveTo>
                <a:lnTo>
                  <a:pt x="3766" y="7668"/>
                </a:lnTo>
                <a:lnTo>
                  <a:pt x="3766" y="7664"/>
                </a:lnTo>
                <a:lnTo>
                  <a:pt x="3766" y="7662"/>
                </a:lnTo>
                <a:lnTo>
                  <a:pt x="3762" y="7662"/>
                </a:lnTo>
                <a:lnTo>
                  <a:pt x="3758" y="7662"/>
                </a:lnTo>
                <a:lnTo>
                  <a:pt x="3756" y="7664"/>
                </a:lnTo>
                <a:lnTo>
                  <a:pt x="3752" y="7670"/>
                </a:lnTo>
                <a:lnTo>
                  <a:pt x="3748" y="7674"/>
                </a:lnTo>
                <a:lnTo>
                  <a:pt x="3750" y="7676"/>
                </a:lnTo>
                <a:lnTo>
                  <a:pt x="3756" y="7674"/>
                </a:lnTo>
                <a:lnTo>
                  <a:pt x="3758" y="7674"/>
                </a:lnTo>
                <a:lnTo>
                  <a:pt x="3760" y="7670"/>
                </a:lnTo>
                <a:lnTo>
                  <a:pt x="3760" y="7668"/>
                </a:lnTo>
                <a:lnTo>
                  <a:pt x="3762" y="7670"/>
                </a:lnTo>
                <a:lnTo>
                  <a:pt x="3764" y="7672"/>
                </a:lnTo>
                <a:lnTo>
                  <a:pt x="3766" y="7672"/>
                </a:lnTo>
                <a:lnTo>
                  <a:pt x="3766" y="7670"/>
                </a:lnTo>
                <a:lnTo>
                  <a:pt x="3766" y="7668"/>
                </a:lnTo>
                <a:close/>
                <a:moveTo>
                  <a:pt x="3780" y="7662"/>
                </a:moveTo>
                <a:lnTo>
                  <a:pt x="3780" y="7662"/>
                </a:lnTo>
                <a:lnTo>
                  <a:pt x="3780" y="7660"/>
                </a:lnTo>
                <a:lnTo>
                  <a:pt x="3780" y="7652"/>
                </a:lnTo>
                <a:lnTo>
                  <a:pt x="3778" y="7646"/>
                </a:lnTo>
                <a:lnTo>
                  <a:pt x="3776" y="7644"/>
                </a:lnTo>
                <a:lnTo>
                  <a:pt x="3774" y="7648"/>
                </a:lnTo>
                <a:lnTo>
                  <a:pt x="3776" y="7654"/>
                </a:lnTo>
                <a:lnTo>
                  <a:pt x="3776" y="7660"/>
                </a:lnTo>
                <a:lnTo>
                  <a:pt x="3778" y="7662"/>
                </a:lnTo>
                <a:lnTo>
                  <a:pt x="3780" y="7662"/>
                </a:lnTo>
                <a:close/>
                <a:moveTo>
                  <a:pt x="3770" y="7568"/>
                </a:moveTo>
                <a:lnTo>
                  <a:pt x="3770" y="7568"/>
                </a:lnTo>
                <a:lnTo>
                  <a:pt x="3768" y="7570"/>
                </a:lnTo>
                <a:lnTo>
                  <a:pt x="3766" y="7568"/>
                </a:lnTo>
                <a:lnTo>
                  <a:pt x="3768" y="7562"/>
                </a:lnTo>
                <a:lnTo>
                  <a:pt x="3770" y="7558"/>
                </a:lnTo>
                <a:lnTo>
                  <a:pt x="3770" y="7552"/>
                </a:lnTo>
                <a:lnTo>
                  <a:pt x="3770" y="7534"/>
                </a:lnTo>
                <a:lnTo>
                  <a:pt x="3770" y="7520"/>
                </a:lnTo>
                <a:lnTo>
                  <a:pt x="3768" y="7516"/>
                </a:lnTo>
                <a:lnTo>
                  <a:pt x="3766" y="7514"/>
                </a:lnTo>
                <a:lnTo>
                  <a:pt x="3762" y="7514"/>
                </a:lnTo>
                <a:lnTo>
                  <a:pt x="3760" y="7514"/>
                </a:lnTo>
                <a:lnTo>
                  <a:pt x="3758" y="7512"/>
                </a:lnTo>
                <a:lnTo>
                  <a:pt x="3756" y="7514"/>
                </a:lnTo>
                <a:lnTo>
                  <a:pt x="3748" y="7520"/>
                </a:lnTo>
                <a:lnTo>
                  <a:pt x="3746" y="7522"/>
                </a:lnTo>
                <a:lnTo>
                  <a:pt x="3748" y="7524"/>
                </a:lnTo>
                <a:lnTo>
                  <a:pt x="3750" y="7526"/>
                </a:lnTo>
                <a:lnTo>
                  <a:pt x="3750" y="7528"/>
                </a:lnTo>
                <a:lnTo>
                  <a:pt x="3752" y="7530"/>
                </a:lnTo>
                <a:lnTo>
                  <a:pt x="3756" y="7534"/>
                </a:lnTo>
                <a:lnTo>
                  <a:pt x="3756" y="7538"/>
                </a:lnTo>
                <a:lnTo>
                  <a:pt x="3754" y="7548"/>
                </a:lnTo>
                <a:lnTo>
                  <a:pt x="3752" y="7550"/>
                </a:lnTo>
                <a:lnTo>
                  <a:pt x="3748" y="7548"/>
                </a:lnTo>
                <a:lnTo>
                  <a:pt x="3746" y="7546"/>
                </a:lnTo>
                <a:lnTo>
                  <a:pt x="3742" y="7546"/>
                </a:lnTo>
                <a:lnTo>
                  <a:pt x="3740" y="7548"/>
                </a:lnTo>
                <a:lnTo>
                  <a:pt x="3740" y="7546"/>
                </a:lnTo>
                <a:lnTo>
                  <a:pt x="3738" y="7546"/>
                </a:lnTo>
                <a:lnTo>
                  <a:pt x="3734" y="7546"/>
                </a:lnTo>
                <a:lnTo>
                  <a:pt x="3732" y="7548"/>
                </a:lnTo>
                <a:lnTo>
                  <a:pt x="3730" y="7550"/>
                </a:lnTo>
                <a:lnTo>
                  <a:pt x="3732" y="7556"/>
                </a:lnTo>
                <a:lnTo>
                  <a:pt x="3736" y="7560"/>
                </a:lnTo>
                <a:lnTo>
                  <a:pt x="3738" y="7568"/>
                </a:lnTo>
                <a:lnTo>
                  <a:pt x="3740" y="7572"/>
                </a:lnTo>
                <a:lnTo>
                  <a:pt x="3742" y="7578"/>
                </a:lnTo>
                <a:lnTo>
                  <a:pt x="3746" y="7582"/>
                </a:lnTo>
                <a:lnTo>
                  <a:pt x="3748" y="7584"/>
                </a:lnTo>
                <a:lnTo>
                  <a:pt x="3750" y="7580"/>
                </a:lnTo>
                <a:lnTo>
                  <a:pt x="3750" y="7572"/>
                </a:lnTo>
                <a:lnTo>
                  <a:pt x="3748" y="7568"/>
                </a:lnTo>
                <a:lnTo>
                  <a:pt x="3748" y="7564"/>
                </a:lnTo>
                <a:lnTo>
                  <a:pt x="3748" y="7562"/>
                </a:lnTo>
                <a:lnTo>
                  <a:pt x="3750" y="7562"/>
                </a:lnTo>
                <a:lnTo>
                  <a:pt x="3754" y="7564"/>
                </a:lnTo>
                <a:lnTo>
                  <a:pt x="3758" y="7568"/>
                </a:lnTo>
                <a:lnTo>
                  <a:pt x="3756" y="7570"/>
                </a:lnTo>
                <a:lnTo>
                  <a:pt x="3754" y="7572"/>
                </a:lnTo>
                <a:lnTo>
                  <a:pt x="3754" y="7576"/>
                </a:lnTo>
                <a:lnTo>
                  <a:pt x="3756" y="7578"/>
                </a:lnTo>
                <a:lnTo>
                  <a:pt x="3754" y="7580"/>
                </a:lnTo>
                <a:lnTo>
                  <a:pt x="3754" y="7586"/>
                </a:lnTo>
                <a:lnTo>
                  <a:pt x="3754" y="7588"/>
                </a:lnTo>
                <a:lnTo>
                  <a:pt x="3756" y="7590"/>
                </a:lnTo>
                <a:lnTo>
                  <a:pt x="3762" y="7592"/>
                </a:lnTo>
                <a:lnTo>
                  <a:pt x="3766" y="7590"/>
                </a:lnTo>
                <a:lnTo>
                  <a:pt x="3768" y="7588"/>
                </a:lnTo>
                <a:lnTo>
                  <a:pt x="3770" y="7584"/>
                </a:lnTo>
                <a:lnTo>
                  <a:pt x="3770" y="7578"/>
                </a:lnTo>
                <a:lnTo>
                  <a:pt x="3772" y="7574"/>
                </a:lnTo>
                <a:lnTo>
                  <a:pt x="3774" y="7572"/>
                </a:lnTo>
                <a:lnTo>
                  <a:pt x="3774" y="7570"/>
                </a:lnTo>
                <a:lnTo>
                  <a:pt x="3772" y="7568"/>
                </a:lnTo>
                <a:lnTo>
                  <a:pt x="3770" y="7568"/>
                </a:lnTo>
                <a:close/>
                <a:moveTo>
                  <a:pt x="3742" y="7626"/>
                </a:moveTo>
                <a:lnTo>
                  <a:pt x="3742" y="7626"/>
                </a:lnTo>
                <a:lnTo>
                  <a:pt x="3744" y="7622"/>
                </a:lnTo>
                <a:lnTo>
                  <a:pt x="3746" y="7620"/>
                </a:lnTo>
                <a:lnTo>
                  <a:pt x="3742" y="7618"/>
                </a:lnTo>
                <a:lnTo>
                  <a:pt x="3736" y="7618"/>
                </a:lnTo>
                <a:lnTo>
                  <a:pt x="3730" y="7618"/>
                </a:lnTo>
                <a:lnTo>
                  <a:pt x="3730" y="7620"/>
                </a:lnTo>
                <a:lnTo>
                  <a:pt x="3732" y="7624"/>
                </a:lnTo>
                <a:lnTo>
                  <a:pt x="3732" y="7626"/>
                </a:lnTo>
                <a:lnTo>
                  <a:pt x="3728" y="7632"/>
                </a:lnTo>
                <a:lnTo>
                  <a:pt x="3730" y="7634"/>
                </a:lnTo>
                <a:lnTo>
                  <a:pt x="3734" y="7636"/>
                </a:lnTo>
                <a:lnTo>
                  <a:pt x="3738" y="7636"/>
                </a:lnTo>
                <a:lnTo>
                  <a:pt x="3738" y="7634"/>
                </a:lnTo>
                <a:lnTo>
                  <a:pt x="3738" y="7630"/>
                </a:lnTo>
                <a:lnTo>
                  <a:pt x="3742" y="7626"/>
                </a:lnTo>
                <a:close/>
                <a:moveTo>
                  <a:pt x="3778" y="7630"/>
                </a:moveTo>
                <a:lnTo>
                  <a:pt x="3778" y="7630"/>
                </a:lnTo>
                <a:lnTo>
                  <a:pt x="3776" y="7626"/>
                </a:lnTo>
                <a:lnTo>
                  <a:pt x="3776" y="7622"/>
                </a:lnTo>
                <a:lnTo>
                  <a:pt x="3774" y="7620"/>
                </a:lnTo>
                <a:lnTo>
                  <a:pt x="3772" y="7616"/>
                </a:lnTo>
                <a:lnTo>
                  <a:pt x="3768" y="7616"/>
                </a:lnTo>
                <a:lnTo>
                  <a:pt x="3766" y="7616"/>
                </a:lnTo>
                <a:lnTo>
                  <a:pt x="3766" y="7618"/>
                </a:lnTo>
                <a:lnTo>
                  <a:pt x="3770" y="7622"/>
                </a:lnTo>
                <a:lnTo>
                  <a:pt x="3770" y="7624"/>
                </a:lnTo>
                <a:lnTo>
                  <a:pt x="3768" y="7624"/>
                </a:lnTo>
                <a:lnTo>
                  <a:pt x="3768" y="7628"/>
                </a:lnTo>
                <a:lnTo>
                  <a:pt x="3772" y="7636"/>
                </a:lnTo>
                <a:lnTo>
                  <a:pt x="3776" y="7638"/>
                </a:lnTo>
                <a:lnTo>
                  <a:pt x="3780" y="7638"/>
                </a:lnTo>
                <a:lnTo>
                  <a:pt x="3782" y="7638"/>
                </a:lnTo>
                <a:lnTo>
                  <a:pt x="3784" y="7636"/>
                </a:lnTo>
                <a:lnTo>
                  <a:pt x="3778" y="7630"/>
                </a:lnTo>
                <a:close/>
                <a:moveTo>
                  <a:pt x="3736" y="7582"/>
                </a:moveTo>
                <a:lnTo>
                  <a:pt x="3736" y="7582"/>
                </a:lnTo>
                <a:lnTo>
                  <a:pt x="3738" y="7584"/>
                </a:lnTo>
                <a:lnTo>
                  <a:pt x="3740" y="7584"/>
                </a:lnTo>
                <a:lnTo>
                  <a:pt x="3738" y="7576"/>
                </a:lnTo>
                <a:lnTo>
                  <a:pt x="3736" y="7568"/>
                </a:lnTo>
                <a:lnTo>
                  <a:pt x="3734" y="7566"/>
                </a:lnTo>
                <a:lnTo>
                  <a:pt x="3730" y="7566"/>
                </a:lnTo>
                <a:lnTo>
                  <a:pt x="3728" y="7566"/>
                </a:lnTo>
                <a:lnTo>
                  <a:pt x="3726" y="7568"/>
                </a:lnTo>
                <a:lnTo>
                  <a:pt x="3726" y="7578"/>
                </a:lnTo>
                <a:lnTo>
                  <a:pt x="3726" y="7580"/>
                </a:lnTo>
                <a:lnTo>
                  <a:pt x="3728" y="7580"/>
                </a:lnTo>
                <a:lnTo>
                  <a:pt x="3732" y="7576"/>
                </a:lnTo>
                <a:lnTo>
                  <a:pt x="3734" y="7576"/>
                </a:lnTo>
                <a:lnTo>
                  <a:pt x="3734" y="7578"/>
                </a:lnTo>
                <a:lnTo>
                  <a:pt x="3734" y="7580"/>
                </a:lnTo>
                <a:lnTo>
                  <a:pt x="3736" y="7582"/>
                </a:lnTo>
                <a:close/>
                <a:moveTo>
                  <a:pt x="3742" y="7612"/>
                </a:moveTo>
                <a:lnTo>
                  <a:pt x="3742" y="7612"/>
                </a:lnTo>
                <a:lnTo>
                  <a:pt x="3746" y="7610"/>
                </a:lnTo>
                <a:lnTo>
                  <a:pt x="3746" y="7612"/>
                </a:lnTo>
                <a:lnTo>
                  <a:pt x="3748" y="7612"/>
                </a:lnTo>
                <a:lnTo>
                  <a:pt x="3752" y="7610"/>
                </a:lnTo>
                <a:lnTo>
                  <a:pt x="3754" y="7608"/>
                </a:lnTo>
                <a:lnTo>
                  <a:pt x="3752" y="7606"/>
                </a:lnTo>
                <a:lnTo>
                  <a:pt x="3752" y="7604"/>
                </a:lnTo>
                <a:lnTo>
                  <a:pt x="3754" y="7602"/>
                </a:lnTo>
                <a:lnTo>
                  <a:pt x="3758" y="7600"/>
                </a:lnTo>
                <a:lnTo>
                  <a:pt x="3758" y="7598"/>
                </a:lnTo>
                <a:lnTo>
                  <a:pt x="3756" y="7598"/>
                </a:lnTo>
                <a:lnTo>
                  <a:pt x="3752" y="7598"/>
                </a:lnTo>
                <a:lnTo>
                  <a:pt x="3750" y="7600"/>
                </a:lnTo>
                <a:lnTo>
                  <a:pt x="3750" y="7598"/>
                </a:lnTo>
                <a:lnTo>
                  <a:pt x="3750" y="7596"/>
                </a:lnTo>
                <a:lnTo>
                  <a:pt x="3748" y="7594"/>
                </a:lnTo>
                <a:lnTo>
                  <a:pt x="3746" y="7594"/>
                </a:lnTo>
                <a:lnTo>
                  <a:pt x="3742" y="7592"/>
                </a:lnTo>
                <a:lnTo>
                  <a:pt x="3740" y="7590"/>
                </a:lnTo>
                <a:lnTo>
                  <a:pt x="3734" y="7590"/>
                </a:lnTo>
                <a:lnTo>
                  <a:pt x="3732" y="7592"/>
                </a:lnTo>
                <a:lnTo>
                  <a:pt x="3736" y="7596"/>
                </a:lnTo>
                <a:lnTo>
                  <a:pt x="3740" y="7598"/>
                </a:lnTo>
                <a:lnTo>
                  <a:pt x="3742" y="7600"/>
                </a:lnTo>
                <a:lnTo>
                  <a:pt x="3742" y="7602"/>
                </a:lnTo>
                <a:lnTo>
                  <a:pt x="3738" y="7602"/>
                </a:lnTo>
                <a:lnTo>
                  <a:pt x="3736" y="7600"/>
                </a:lnTo>
                <a:lnTo>
                  <a:pt x="3732" y="7600"/>
                </a:lnTo>
                <a:lnTo>
                  <a:pt x="3730" y="7606"/>
                </a:lnTo>
                <a:lnTo>
                  <a:pt x="3730" y="7608"/>
                </a:lnTo>
                <a:lnTo>
                  <a:pt x="3730" y="7610"/>
                </a:lnTo>
                <a:lnTo>
                  <a:pt x="3734" y="7610"/>
                </a:lnTo>
                <a:lnTo>
                  <a:pt x="3738" y="7608"/>
                </a:lnTo>
                <a:lnTo>
                  <a:pt x="3738" y="7610"/>
                </a:lnTo>
                <a:lnTo>
                  <a:pt x="3736" y="7612"/>
                </a:lnTo>
                <a:lnTo>
                  <a:pt x="3738" y="7614"/>
                </a:lnTo>
                <a:lnTo>
                  <a:pt x="3740" y="7614"/>
                </a:lnTo>
                <a:lnTo>
                  <a:pt x="3742" y="7612"/>
                </a:lnTo>
                <a:close/>
                <a:moveTo>
                  <a:pt x="3758" y="7644"/>
                </a:moveTo>
                <a:lnTo>
                  <a:pt x="3758" y="7644"/>
                </a:lnTo>
                <a:lnTo>
                  <a:pt x="3754" y="7644"/>
                </a:lnTo>
                <a:lnTo>
                  <a:pt x="3750" y="7644"/>
                </a:lnTo>
                <a:lnTo>
                  <a:pt x="3750" y="7646"/>
                </a:lnTo>
                <a:lnTo>
                  <a:pt x="3752" y="7646"/>
                </a:lnTo>
                <a:lnTo>
                  <a:pt x="3756" y="7648"/>
                </a:lnTo>
                <a:lnTo>
                  <a:pt x="3756" y="7650"/>
                </a:lnTo>
                <a:lnTo>
                  <a:pt x="3756" y="7652"/>
                </a:lnTo>
                <a:lnTo>
                  <a:pt x="3760" y="7654"/>
                </a:lnTo>
                <a:lnTo>
                  <a:pt x="3762" y="7654"/>
                </a:lnTo>
                <a:lnTo>
                  <a:pt x="3764" y="7652"/>
                </a:lnTo>
                <a:lnTo>
                  <a:pt x="3768" y="7650"/>
                </a:lnTo>
                <a:lnTo>
                  <a:pt x="3770" y="7650"/>
                </a:lnTo>
                <a:lnTo>
                  <a:pt x="3772" y="7650"/>
                </a:lnTo>
                <a:lnTo>
                  <a:pt x="3772" y="7648"/>
                </a:lnTo>
                <a:lnTo>
                  <a:pt x="3772" y="7642"/>
                </a:lnTo>
                <a:lnTo>
                  <a:pt x="3770" y="7638"/>
                </a:lnTo>
                <a:lnTo>
                  <a:pt x="3766" y="7634"/>
                </a:lnTo>
                <a:lnTo>
                  <a:pt x="3764" y="7634"/>
                </a:lnTo>
                <a:lnTo>
                  <a:pt x="3762" y="7636"/>
                </a:lnTo>
                <a:lnTo>
                  <a:pt x="3764" y="7642"/>
                </a:lnTo>
                <a:lnTo>
                  <a:pt x="3764" y="7644"/>
                </a:lnTo>
                <a:lnTo>
                  <a:pt x="3758" y="7644"/>
                </a:lnTo>
                <a:close/>
                <a:moveTo>
                  <a:pt x="3752" y="7630"/>
                </a:moveTo>
                <a:lnTo>
                  <a:pt x="3752" y="7630"/>
                </a:lnTo>
                <a:lnTo>
                  <a:pt x="3750" y="7634"/>
                </a:lnTo>
                <a:lnTo>
                  <a:pt x="3752" y="7636"/>
                </a:lnTo>
                <a:lnTo>
                  <a:pt x="3754" y="7640"/>
                </a:lnTo>
                <a:lnTo>
                  <a:pt x="3758" y="7640"/>
                </a:lnTo>
                <a:lnTo>
                  <a:pt x="3760" y="7640"/>
                </a:lnTo>
                <a:lnTo>
                  <a:pt x="3760" y="7636"/>
                </a:lnTo>
                <a:lnTo>
                  <a:pt x="3756" y="7632"/>
                </a:lnTo>
                <a:lnTo>
                  <a:pt x="3754" y="7630"/>
                </a:lnTo>
                <a:lnTo>
                  <a:pt x="3752" y="7630"/>
                </a:lnTo>
                <a:close/>
                <a:moveTo>
                  <a:pt x="3770" y="7654"/>
                </a:moveTo>
                <a:lnTo>
                  <a:pt x="3770" y="7654"/>
                </a:lnTo>
                <a:lnTo>
                  <a:pt x="3768" y="7654"/>
                </a:lnTo>
                <a:lnTo>
                  <a:pt x="3766" y="7654"/>
                </a:lnTo>
                <a:lnTo>
                  <a:pt x="3766" y="7656"/>
                </a:lnTo>
                <a:lnTo>
                  <a:pt x="3770" y="7660"/>
                </a:lnTo>
                <a:lnTo>
                  <a:pt x="3772" y="7660"/>
                </a:lnTo>
                <a:lnTo>
                  <a:pt x="3772" y="7658"/>
                </a:lnTo>
                <a:lnTo>
                  <a:pt x="3772" y="7656"/>
                </a:lnTo>
                <a:lnTo>
                  <a:pt x="3770" y="7654"/>
                </a:lnTo>
                <a:close/>
                <a:moveTo>
                  <a:pt x="3750" y="7544"/>
                </a:moveTo>
                <a:lnTo>
                  <a:pt x="3750" y="7544"/>
                </a:lnTo>
                <a:lnTo>
                  <a:pt x="3752" y="7542"/>
                </a:lnTo>
                <a:lnTo>
                  <a:pt x="3752" y="7536"/>
                </a:lnTo>
                <a:lnTo>
                  <a:pt x="3750" y="7534"/>
                </a:lnTo>
                <a:lnTo>
                  <a:pt x="3746" y="7534"/>
                </a:lnTo>
                <a:lnTo>
                  <a:pt x="3742" y="7534"/>
                </a:lnTo>
                <a:lnTo>
                  <a:pt x="3740" y="7538"/>
                </a:lnTo>
                <a:lnTo>
                  <a:pt x="3740" y="7540"/>
                </a:lnTo>
                <a:lnTo>
                  <a:pt x="3742" y="7540"/>
                </a:lnTo>
                <a:lnTo>
                  <a:pt x="3746" y="7540"/>
                </a:lnTo>
                <a:lnTo>
                  <a:pt x="3750" y="7544"/>
                </a:lnTo>
                <a:close/>
                <a:moveTo>
                  <a:pt x="3750" y="7500"/>
                </a:moveTo>
                <a:lnTo>
                  <a:pt x="3750" y="7500"/>
                </a:lnTo>
                <a:lnTo>
                  <a:pt x="3748" y="7504"/>
                </a:lnTo>
                <a:lnTo>
                  <a:pt x="3750" y="7506"/>
                </a:lnTo>
                <a:lnTo>
                  <a:pt x="3762" y="7510"/>
                </a:lnTo>
                <a:lnTo>
                  <a:pt x="3768" y="7512"/>
                </a:lnTo>
                <a:lnTo>
                  <a:pt x="3770" y="7508"/>
                </a:lnTo>
                <a:lnTo>
                  <a:pt x="3772" y="7506"/>
                </a:lnTo>
                <a:lnTo>
                  <a:pt x="3770" y="7506"/>
                </a:lnTo>
                <a:lnTo>
                  <a:pt x="3768" y="7506"/>
                </a:lnTo>
                <a:lnTo>
                  <a:pt x="3766" y="7504"/>
                </a:lnTo>
                <a:lnTo>
                  <a:pt x="3766" y="7502"/>
                </a:lnTo>
                <a:lnTo>
                  <a:pt x="3766" y="7500"/>
                </a:lnTo>
                <a:lnTo>
                  <a:pt x="3766" y="7496"/>
                </a:lnTo>
                <a:lnTo>
                  <a:pt x="3766" y="7492"/>
                </a:lnTo>
                <a:lnTo>
                  <a:pt x="3762" y="7482"/>
                </a:lnTo>
                <a:lnTo>
                  <a:pt x="3760" y="7482"/>
                </a:lnTo>
                <a:lnTo>
                  <a:pt x="3758" y="7484"/>
                </a:lnTo>
                <a:lnTo>
                  <a:pt x="3758" y="7490"/>
                </a:lnTo>
                <a:lnTo>
                  <a:pt x="3758" y="7492"/>
                </a:lnTo>
                <a:lnTo>
                  <a:pt x="3760" y="7498"/>
                </a:lnTo>
                <a:lnTo>
                  <a:pt x="3758" y="7500"/>
                </a:lnTo>
                <a:lnTo>
                  <a:pt x="3756" y="7498"/>
                </a:lnTo>
                <a:lnTo>
                  <a:pt x="3754" y="7498"/>
                </a:lnTo>
                <a:lnTo>
                  <a:pt x="3750" y="7500"/>
                </a:lnTo>
                <a:close/>
                <a:moveTo>
                  <a:pt x="3790" y="7468"/>
                </a:moveTo>
                <a:lnTo>
                  <a:pt x="3790" y="7468"/>
                </a:lnTo>
                <a:lnTo>
                  <a:pt x="3794" y="7470"/>
                </a:lnTo>
                <a:lnTo>
                  <a:pt x="3796" y="7466"/>
                </a:lnTo>
                <a:lnTo>
                  <a:pt x="3794" y="7464"/>
                </a:lnTo>
                <a:lnTo>
                  <a:pt x="3788" y="7462"/>
                </a:lnTo>
                <a:lnTo>
                  <a:pt x="3784" y="7462"/>
                </a:lnTo>
                <a:lnTo>
                  <a:pt x="3778" y="7462"/>
                </a:lnTo>
                <a:lnTo>
                  <a:pt x="3772" y="7462"/>
                </a:lnTo>
                <a:lnTo>
                  <a:pt x="3770" y="7464"/>
                </a:lnTo>
                <a:lnTo>
                  <a:pt x="3770" y="7466"/>
                </a:lnTo>
                <a:lnTo>
                  <a:pt x="3772" y="7468"/>
                </a:lnTo>
                <a:lnTo>
                  <a:pt x="3778" y="7468"/>
                </a:lnTo>
                <a:lnTo>
                  <a:pt x="3784" y="7466"/>
                </a:lnTo>
                <a:lnTo>
                  <a:pt x="3790" y="7468"/>
                </a:lnTo>
                <a:close/>
                <a:moveTo>
                  <a:pt x="3742" y="7476"/>
                </a:moveTo>
                <a:lnTo>
                  <a:pt x="3742" y="7476"/>
                </a:lnTo>
                <a:lnTo>
                  <a:pt x="3740" y="7476"/>
                </a:lnTo>
                <a:lnTo>
                  <a:pt x="3738" y="7478"/>
                </a:lnTo>
                <a:lnTo>
                  <a:pt x="3740" y="7482"/>
                </a:lnTo>
                <a:lnTo>
                  <a:pt x="3746" y="7496"/>
                </a:lnTo>
                <a:lnTo>
                  <a:pt x="3748" y="7496"/>
                </a:lnTo>
                <a:lnTo>
                  <a:pt x="3750" y="7496"/>
                </a:lnTo>
                <a:lnTo>
                  <a:pt x="3754" y="7494"/>
                </a:lnTo>
                <a:lnTo>
                  <a:pt x="3754" y="7492"/>
                </a:lnTo>
                <a:lnTo>
                  <a:pt x="3754" y="7490"/>
                </a:lnTo>
                <a:lnTo>
                  <a:pt x="3756" y="7484"/>
                </a:lnTo>
                <a:lnTo>
                  <a:pt x="3754" y="7482"/>
                </a:lnTo>
                <a:lnTo>
                  <a:pt x="3752" y="7480"/>
                </a:lnTo>
                <a:lnTo>
                  <a:pt x="3742" y="7476"/>
                </a:lnTo>
                <a:close/>
                <a:moveTo>
                  <a:pt x="3730" y="7544"/>
                </a:moveTo>
                <a:lnTo>
                  <a:pt x="3730" y="7544"/>
                </a:lnTo>
                <a:lnTo>
                  <a:pt x="3730" y="7542"/>
                </a:lnTo>
                <a:lnTo>
                  <a:pt x="3732" y="7540"/>
                </a:lnTo>
                <a:lnTo>
                  <a:pt x="3734" y="7538"/>
                </a:lnTo>
                <a:lnTo>
                  <a:pt x="3734" y="7534"/>
                </a:lnTo>
                <a:lnTo>
                  <a:pt x="3734" y="7532"/>
                </a:lnTo>
                <a:lnTo>
                  <a:pt x="3732" y="7534"/>
                </a:lnTo>
                <a:lnTo>
                  <a:pt x="3730" y="7536"/>
                </a:lnTo>
                <a:lnTo>
                  <a:pt x="3726" y="7538"/>
                </a:lnTo>
                <a:lnTo>
                  <a:pt x="3724" y="7538"/>
                </a:lnTo>
                <a:lnTo>
                  <a:pt x="3722" y="7540"/>
                </a:lnTo>
                <a:lnTo>
                  <a:pt x="3722" y="7542"/>
                </a:lnTo>
                <a:lnTo>
                  <a:pt x="3724" y="7546"/>
                </a:lnTo>
                <a:lnTo>
                  <a:pt x="3728" y="7548"/>
                </a:lnTo>
                <a:lnTo>
                  <a:pt x="3730" y="7544"/>
                </a:lnTo>
                <a:close/>
                <a:moveTo>
                  <a:pt x="3742" y="7474"/>
                </a:moveTo>
                <a:lnTo>
                  <a:pt x="3742" y="7474"/>
                </a:lnTo>
                <a:lnTo>
                  <a:pt x="3746" y="7472"/>
                </a:lnTo>
                <a:lnTo>
                  <a:pt x="3748" y="7474"/>
                </a:lnTo>
                <a:lnTo>
                  <a:pt x="3750" y="7476"/>
                </a:lnTo>
                <a:lnTo>
                  <a:pt x="3754" y="7476"/>
                </a:lnTo>
                <a:lnTo>
                  <a:pt x="3756" y="7474"/>
                </a:lnTo>
                <a:lnTo>
                  <a:pt x="3758" y="7468"/>
                </a:lnTo>
                <a:lnTo>
                  <a:pt x="3756" y="7462"/>
                </a:lnTo>
                <a:lnTo>
                  <a:pt x="3756" y="7460"/>
                </a:lnTo>
                <a:lnTo>
                  <a:pt x="3754" y="7460"/>
                </a:lnTo>
                <a:lnTo>
                  <a:pt x="3752" y="7464"/>
                </a:lnTo>
                <a:lnTo>
                  <a:pt x="3750" y="7466"/>
                </a:lnTo>
                <a:lnTo>
                  <a:pt x="3744" y="7468"/>
                </a:lnTo>
                <a:lnTo>
                  <a:pt x="3740" y="7470"/>
                </a:lnTo>
                <a:lnTo>
                  <a:pt x="3738" y="7472"/>
                </a:lnTo>
                <a:lnTo>
                  <a:pt x="3738" y="7474"/>
                </a:lnTo>
                <a:lnTo>
                  <a:pt x="3742" y="7474"/>
                </a:lnTo>
                <a:close/>
                <a:moveTo>
                  <a:pt x="3732" y="7494"/>
                </a:moveTo>
                <a:lnTo>
                  <a:pt x="3732" y="7494"/>
                </a:lnTo>
                <a:lnTo>
                  <a:pt x="3734" y="7494"/>
                </a:lnTo>
                <a:lnTo>
                  <a:pt x="3736" y="7494"/>
                </a:lnTo>
                <a:lnTo>
                  <a:pt x="3736" y="7502"/>
                </a:lnTo>
                <a:lnTo>
                  <a:pt x="3738" y="7510"/>
                </a:lnTo>
                <a:lnTo>
                  <a:pt x="3738" y="7512"/>
                </a:lnTo>
                <a:lnTo>
                  <a:pt x="3740" y="7512"/>
                </a:lnTo>
                <a:lnTo>
                  <a:pt x="3744" y="7508"/>
                </a:lnTo>
                <a:lnTo>
                  <a:pt x="3746" y="7504"/>
                </a:lnTo>
                <a:lnTo>
                  <a:pt x="3740" y="7492"/>
                </a:lnTo>
                <a:lnTo>
                  <a:pt x="3738" y="7486"/>
                </a:lnTo>
                <a:lnTo>
                  <a:pt x="3736" y="7480"/>
                </a:lnTo>
                <a:lnTo>
                  <a:pt x="3734" y="7472"/>
                </a:lnTo>
                <a:lnTo>
                  <a:pt x="3732" y="7472"/>
                </a:lnTo>
                <a:lnTo>
                  <a:pt x="3728" y="7474"/>
                </a:lnTo>
                <a:lnTo>
                  <a:pt x="3726" y="7478"/>
                </a:lnTo>
                <a:lnTo>
                  <a:pt x="3726" y="7480"/>
                </a:lnTo>
                <a:lnTo>
                  <a:pt x="3728" y="7484"/>
                </a:lnTo>
                <a:lnTo>
                  <a:pt x="3728" y="7488"/>
                </a:lnTo>
                <a:lnTo>
                  <a:pt x="3726" y="7490"/>
                </a:lnTo>
                <a:lnTo>
                  <a:pt x="3726" y="7494"/>
                </a:lnTo>
                <a:lnTo>
                  <a:pt x="3728" y="7494"/>
                </a:lnTo>
                <a:lnTo>
                  <a:pt x="3732" y="7494"/>
                </a:lnTo>
                <a:close/>
                <a:moveTo>
                  <a:pt x="3722" y="7504"/>
                </a:moveTo>
                <a:lnTo>
                  <a:pt x="3722" y="7504"/>
                </a:lnTo>
                <a:lnTo>
                  <a:pt x="3722" y="7508"/>
                </a:lnTo>
                <a:lnTo>
                  <a:pt x="3724" y="7510"/>
                </a:lnTo>
                <a:lnTo>
                  <a:pt x="3728" y="7510"/>
                </a:lnTo>
                <a:lnTo>
                  <a:pt x="3732" y="7510"/>
                </a:lnTo>
                <a:lnTo>
                  <a:pt x="3734" y="7506"/>
                </a:lnTo>
                <a:lnTo>
                  <a:pt x="3734" y="7502"/>
                </a:lnTo>
                <a:lnTo>
                  <a:pt x="3732" y="7498"/>
                </a:lnTo>
                <a:lnTo>
                  <a:pt x="3730" y="7498"/>
                </a:lnTo>
                <a:lnTo>
                  <a:pt x="3728" y="7500"/>
                </a:lnTo>
                <a:lnTo>
                  <a:pt x="3724" y="7498"/>
                </a:lnTo>
                <a:lnTo>
                  <a:pt x="3722" y="7500"/>
                </a:lnTo>
                <a:lnTo>
                  <a:pt x="3722" y="7504"/>
                </a:lnTo>
                <a:close/>
                <a:moveTo>
                  <a:pt x="3732" y="7530"/>
                </a:moveTo>
                <a:lnTo>
                  <a:pt x="3732" y="7530"/>
                </a:lnTo>
                <a:lnTo>
                  <a:pt x="3734" y="7530"/>
                </a:lnTo>
                <a:lnTo>
                  <a:pt x="3736" y="7530"/>
                </a:lnTo>
                <a:lnTo>
                  <a:pt x="3738" y="7532"/>
                </a:lnTo>
                <a:lnTo>
                  <a:pt x="3738" y="7530"/>
                </a:lnTo>
                <a:lnTo>
                  <a:pt x="3738" y="7524"/>
                </a:lnTo>
                <a:lnTo>
                  <a:pt x="3732" y="7522"/>
                </a:lnTo>
                <a:lnTo>
                  <a:pt x="3728" y="7522"/>
                </a:lnTo>
                <a:lnTo>
                  <a:pt x="3724" y="7522"/>
                </a:lnTo>
                <a:lnTo>
                  <a:pt x="3722" y="7524"/>
                </a:lnTo>
                <a:lnTo>
                  <a:pt x="3722" y="7528"/>
                </a:lnTo>
                <a:lnTo>
                  <a:pt x="3722" y="7530"/>
                </a:lnTo>
                <a:lnTo>
                  <a:pt x="3726" y="7530"/>
                </a:lnTo>
                <a:lnTo>
                  <a:pt x="3732" y="7530"/>
                </a:lnTo>
                <a:close/>
                <a:moveTo>
                  <a:pt x="3746" y="7456"/>
                </a:moveTo>
                <a:lnTo>
                  <a:pt x="3746" y="7456"/>
                </a:lnTo>
                <a:lnTo>
                  <a:pt x="3742" y="7454"/>
                </a:lnTo>
                <a:lnTo>
                  <a:pt x="3740" y="7456"/>
                </a:lnTo>
                <a:lnTo>
                  <a:pt x="3738" y="7458"/>
                </a:lnTo>
                <a:lnTo>
                  <a:pt x="3740" y="7462"/>
                </a:lnTo>
                <a:lnTo>
                  <a:pt x="3742" y="7462"/>
                </a:lnTo>
                <a:lnTo>
                  <a:pt x="3744" y="7462"/>
                </a:lnTo>
                <a:lnTo>
                  <a:pt x="3746" y="7460"/>
                </a:lnTo>
                <a:lnTo>
                  <a:pt x="3746" y="7456"/>
                </a:lnTo>
                <a:close/>
                <a:moveTo>
                  <a:pt x="3788" y="7418"/>
                </a:moveTo>
                <a:lnTo>
                  <a:pt x="3788" y="7418"/>
                </a:lnTo>
                <a:lnTo>
                  <a:pt x="3788" y="7414"/>
                </a:lnTo>
                <a:lnTo>
                  <a:pt x="3784" y="7414"/>
                </a:lnTo>
                <a:lnTo>
                  <a:pt x="3780" y="7414"/>
                </a:lnTo>
                <a:lnTo>
                  <a:pt x="3780" y="7416"/>
                </a:lnTo>
                <a:lnTo>
                  <a:pt x="3780" y="7420"/>
                </a:lnTo>
                <a:lnTo>
                  <a:pt x="3782" y="7420"/>
                </a:lnTo>
                <a:lnTo>
                  <a:pt x="3786" y="7420"/>
                </a:lnTo>
                <a:lnTo>
                  <a:pt x="3788" y="7418"/>
                </a:lnTo>
                <a:close/>
                <a:moveTo>
                  <a:pt x="3732" y="7512"/>
                </a:moveTo>
                <a:lnTo>
                  <a:pt x="3732" y="7512"/>
                </a:lnTo>
                <a:lnTo>
                  <a:pt x="3724" y="7514"/>
                </a:lnTo>
                <a:lnTo>
                  <a:pt x="3722" y="7518"/>
                </a:lnTo>
                <a:lnTo>
                  <a:pt x="3724" y="7518"/>
                </a:lnTo>
                <a:lnTo>
                  <a:pt x="3732" y="7516"/>
                </a:lnTo>
                <a:lnTo>
                  <a:pt x="3736" y="7514"/>
                </a:lnTo>
                <a:lnTo>
                  <a:pt x="3736" y="7512"/>
                </a:lnTo>
                <a:lnTo>
                  <a:pt x="3734" y="7512"/>
                </a:lnTo>
                <a:lnTo>
                  <a:pt x="3732" y="7512"/>
                </a:lnTo>
                <a:close/>
                <a:moveTo>
                  <a:pt x="3746" y="7528"/>
                </a:moveTo>
                <a:lnTo>
                  <a:pt x="3746" y="7528"/>
                </a:lnTo>
                <a:lnTo>
                  <a:pt x="3746" y="7526"/>
                </a:lnTo>
                <a:lnTo>
                  <a:pt x="3740" y="7520"/>
                </a:lnTo>
                <a:lnTo>
                  <a:pt x="3738" y="7518"/>
                </a:lnTo>
                <a:lnTo>
                  <a:pt x="3738" y="7520"/>
                </a:lnTo>
                <a:lnTo>
                  <a:pt x="3740" y="7524"/>
                </a:lnTo>
                <a:lnTo>
                  <a:pt x="3742" y="7528"/>
                </a:lnTo>
                <a:lnTo>
                  <a:pt x="3744" y="7530"/>
                </a:lnTo>
                <a:lnTo>
                  <a:pt x="3746" y="7528"/>
                </a:lnTo>
                <a:close/>
                <a:moveTo>
                  <a:pt x="3772" y="7494"/>
                </a:moveTo>
                <a:lnTo>
                  <a:pt x="3772" y="7494"/>
                </a:lnTo>
                <a:lnTo>
                  <a:pt x="3782" y="7496"/>
                </a:lnTo>
                <a:lnTo>
                  <a:pt x="3786" y="7496"/>
                </a:lnTo>
                <a:lnTo>
                  <a:pt x="3780" y="7492"/>
                </a:lnTo>
                <a:lnTo>
                  <a:pt x="3772" y="7486"/>
                </a:lnTo>
                <a:lnTo>
                  <a:pt x="3768" y="7480"/>
                </a:lnTo>
                <a:lnTo>
                  <a:pt x="3766" y="7482"/>
                </a:lnTo>
                <a:lnTo>
                  <a:pt x="3766" y="7486"/>
                </a:lnTo>
                <a:lnTo>
                  <a:pt x="3768" y="7492"/>
                </a:lnTo>
                <a:lnTo>
                  <a:pt x="3772" y="7494"/>
                </a:lnTo>
                <a:close/>
                <a:moveTo>
                  <a:pt x="4194" y="7874"/>
                </a:moveTo>
                <a:lnTo>
                  <a:pt x="4194" y="7874"/>
                </a:lnTo>
                <a:lnTo>
                  <a:pt x="4188" y="7874"/>
                </a:lnTo>
                <a:lnTo>
                  <a:pt x="4184" y="7874"/>
                </a:lnTo>
                <a:lnTo>
                  <a:pt x="4180" y="7874"/>
                </a:lnTo>
                <a:lnTo>
                  <a:pt x="4176" y="7876"/>
                </a:lnTo>
                <a:lnTo>
                  <a:pt x="4166" y="7878"/>
                </a:lnTo>
                <a:lnTo>
                  <a:pt x="4164" y="7880"/>
                </a:lnTo>
                <a:lnTo>
                  <a:pt x="4166" y="7884"/>
                </a:lnTo>
                <a:lnTo>
                  <a:pt x="4170" y="7884"/>
                </a:lnTo>
                <a:lnTo>
                  <a:pt x="4174" y="7880"/>
                </a:lnTo>
                <a:lnTo>
                  <a:pt x="4178" y="7878"/>
                </a:lnTo>
                <a:lnTo>
                  <a:pt x="4180" y="7878"/>
                </a:lnTo>
                <a:lnTo>
                  <a:pt x="4182" y="7880"/>
                </a:lnTo>
                <a:lnTo>
                  <a:pt x="4186" y="7880"/>
                </a:lnTo>
                <a:lnTo>
                  <a:pt x="4190" y="7878"/>
                </a:lnTo>
                <a:lnTo>
                  <a:pt x="4192" y="7880"/>
                </a:lnTo>
                <a:lnTo>
                  <a:pt x="4196" y="7880"/>
                </a:lnTo>
                <a:lnTo>
                  <a:pt x="4200" y="7878"/>
                </a:lnTo>
                <a:lnTo>
                  <a:pt x="4200" y="7876"/>
                </a:lnTo>
                <a:lnTo>
                  <a:pt x="4198" y="7874"/>
                </a:lnTo>
                <a:lnTo>
                  <a:pt x="4194" y="7874"/>
                </a:lnTo>
                <a:close/>
                <a:moveTo>
                  <a:pt x="4054" y="7888"/>
                </a:moveTo>
                <a:lnTo>
                  <a:pt x="4054" y="7888"/>
                </a:lnTo>
                <a:lnTo>
                  <a:pt x="4026" y="7886"/>
                </a:lnTo>
                <a:lnTo>
                  <a:pt x="4018" y="7888"/>
                </a:lnTo>
                <a:lnTo>
                  <a:pt x="4020" y="7890"/>
                </a:lnTo>
                <a:lnTo>
                  <a:pt x="4022" y="7892"/>
                </a:lnTo>
                <a:lnTo>
                  <a:pt x="4024" y="7894"/>
                </a:lnTo>
                <a:lnTo>
                  <a:pt x="4024" y="7896"/>
                </a:lnTo>
                <a:lnTo>
                  <a:pt x="4024" y="7898"/>
                </a:lnTo>
                <a:lnTo>
                  <a:pt x="4026" y="7906"/>
                </a:lnTo>
                <a:lnTo>
                  <a:pt x="4028" y="7906"/>
                </a:lnTo>
                <a:lnTo>
                  <a:pt x="4032" y="7908"/>
                </a:lnTo>
                <a:lnTo>
                  <a:pt x="4042" y="7908"/>
                </a:lnTo>
                <a:lnTo>
                  <a:pt x="4046" y="7906"/>
                </a:lnTo>
                <a:lnTo>
                  <a:pt x="4046" y="7904"/>
                </a:lnTo>
                <a:lnTo>
                  <a:pt x="4046" y="7902"/>
                </a:lnTo>
                <a:lnTo>
                  <a:pt x="4050" y="7902"/>
                </a:lnTo>
                <a:lnTo>
                  <a:pt x="4054" y="7904"/>
                </a:lnTo>
                <a:lnTo>
                  <a:pt x="4054" y="7906"/>
                </a:lnTo>
                <a:lnTo>
                  <a:pt x="4054" y="7910"/>
                </a:lnTo>
                <a:lnTo>
                  <a:pt x="4058" y="7910"/>
                </a:lnTo>
                <a:lnTo>
                  <a:pt x="4062" y="7910"/>
                </a:lnTo>
                <a:lnTo>
                  <a:pt x="4066" y="7908"/>
                </a:lnTo>
                <a:lnTo>
                  <a:pt x="4068" y="7898"/>
                </a:lnTo>
                <a:lnTo>
                  <a:pt x="4070" y="7894"/>
                </a:lnTo>
                <a:lnTo>
                  <a:pt x="4068" y="7892"/>
                </a:lnTo>
                <a:lnTo>
                  <a:pt x="4064" y="7890"/>
                </a:lnTo>
                <a:lnTo>
                  <a:pt x="4060" y="7888"/>
                </a:lnTo>
                <a:lnTo>
                  <a:pt x="4054" y="7888"/>
                </a:lnTo>
                <a:close/>
                <a:moveTo>
                  <a:pt x="4070" y="7910"/>
                </a:moveTo>
                <a:lnTo>
                  <a:pt x="4070" y="7910"/>
                </a:lnTo>
                <a:lnTo>
                  <a:pt x="4070" y="7912"/>
                </a:lnTo>
                <a:lnTo>
                  <a:pt x="4074" y="7912"/>
                </a:lnTo>
                <a:lnTo>
                  <a:pt x="4076" y="7910"/>
                </a:lnTo>
                <a:lnTo>
                  <a:pt x="4078" y="7908"/>
                </a:lnTo>
                <a:lnTo>
                  <a:pt x="4076" y="7904"/>
                </a:lnTo>
                <a:lnTo>
                  <a:pt x="4074" y="7906"/>
                </a:lnTo>
                <a:lnTo>
                  <a:pt x="4070" y="7908"/>
                </a:lnTo>
                <a:lnTo>
                  <a:pt x="4070" y="7910"/>
                </a:lnTo>
                <a:close/>
                <a:moveTo>
                  <a:pt x="4088" y="7908"/>
                </a:moveTo>
                <a:lnTo>
                  <a:pt x="4088" y="7908"/>
                </a:lnTo>
                <a:lnTo>
                  <a:pt x="4092" y="7908"/>
                </a:lnTo>
                <a:lnTo>
                  <a:pt x="4094" y="7906"/>
                </a:lnTo>
                <a:lnTo>
                  <a:pt x="4094" y="7904"/>
                </a:lnTo>
                <a:lnTo>
                  <a:pt x="4092" y="7902"/>
                </a:lnTo>
                <a:lnTo>
                  <a:pt x="4090" y="7902"/>
                </a:lnTo>
                <a:lnTo>
                  <a:pt x="4088" y="7904"/>
                </a:lnTo>
                <a:lnTo>
                  <a:pt x="4086" y="7906"/>
                </a:lnTo>
                <a:lnTo>
                  <a:pt x="4088" y="7908"/>
                </a:lnTo>
                <a:close/>
                <a:moveTo>
                  <a:pt x="1488" y="2116"/>
                </a:moveTo>
                <a:lnTo>
                  <a:pt x="1488" y="2116"/>
                </a:lnTo>
                <a:lnTo>
                  <a:pt x="1490" y="2118"/>
                </a:lnTo>
                <a:lnTo>
                  <a:pt x="1492" y="2118"/>
                </a:lnTo>
                <a:lnTo>
                  <a:pt x="1494" y="2118"/>
                </a:lnTo>
                <a:lnTo>
                  <a:pt x="1498" y="2114"/>
                </a:lnTo>
                <a:lnTo>
                  <a:pt x="1498" y="2110"/>
                </a:lnTo>
                <a:lnTo>
                  <a:pt x="1496" y="2108"/>
                </a:lnTo>
                <a:lnTo>
                  <a:pt x="1492" y="2110"/>
                </a:lnTo>
                <a:lnTo>
                  <a:pt x="1490" y="2112"/>
                </a:lnTo>
                <a:lnTo>
                  <a:pt x="1488" y="2116"/>
                </a:lnTo>
                <a:close/>
                <a:moveTo>
                  <a:pt x="1514" y="2102"/>
                </a:moveTo>
                <a:lnTo>
                  <a:pt x="1514" y="2102"/>
                </a:lnTo>
                <a:lnTo>
                  <a:pt x="1518" y="2098"/>
                </a:lnTo>
                <a:lnTo>
                  <a:pt x="1522" y="2092"/>
                </a:lnTo>
                <a:lnTo>
                  <a:pt x="1524" y="2088"/>
                </a:lnTo>
                <a:lnTo>
                  <a:pt x="1522" y="2088"/>
                </a:lnTo>
                <a:lnTo>
                  <a:pt x="1516" y="2094"/>
                </a:lnTo>
                <a:lnTo>
                  <a:pt x="1508" y="2100"/>
                </a:lnTo>
                <a:lnTo>
                  <a:pt x="1506" y="2102"/>
                </a:lnTo>
                <a:lnTo>
                  <a:pt x="1508" y="2106"/>
                </a:lnTo>
                <a:lnTo>
                  <a:pt x="1510" y="2106"/>
                </a:lnTo>
                <a:lnTo>
                  <a:pt x="1514" y="2102"/>
                </a:lnTo>
                <a:close/>
                <a:moveTo>
                  <a:pt x="1474" y="2094"/>
                </a:moveTo>
                <a:lnTo>
                  <a:pt x="1474" y="2094"/>
                </a:lnTo>
                <a:lnTo>
                  <a:pt x="1476" y="2096"/>
                </a:lnTo>
                <a:lnTo>
                  <a:pt x="1480" y="2092"/>
                </a:lnTo>
                <a:lnTo>
                  <a:pt x="1478" y="2088"/>
                </a:lnTo>
                <a:lnTo>
                  <a:pt x="1474" y="2088"/>
                </a:lnTo>
                <a:lnTo>
                  <a:pt x="1470" y="2090"/>
                </a:lnTo>
                <a:lnTo>
                  <a:pt x="1470" y="2092"/>
                </a:lnTo>
                <a:lnTo>
                  <a:pt x="1474" y="2094"/>
                </a:lnTo>
                <a:close/>
                <a:moveTo>
                  <a:pt x="1420" y="2104"/>
                </a:moveTo>
                <a:lnTo>
                  <a:pt x="1420" y="2104"/>
                </a:lnTo>
                <a:lnTo>
                  <a:pt x="1418" y="2100"/>
                </a:lnTo>
                <a:lnTo>
                  <a:pt x="1416" y="2096"/>
                </a:lnTo>
                <a:lnTo>
                  <a:pt x="1408" y="2088"/>
                </a:lnTo>
                <a:lnTo>
                  <a:pt x="1406" y="2084"/>
                </a:lnTo>
                <a:lnTo>
                  <a:pt x="1406" y="2082"/>
                </a:lnTo>
                <a:lnTo>
                  <a:pt x="1408" y="2080"/>
                </a:lnTo>
                <a:lnTo>
                  <a:pt x="1406" y="2078"/>
                </a:lnTo>
                <a:lnTo>
                  <a:pt x="1404" y="2072"/>
                </a:lnTo>
                <a:lnTo>
                  <a:pt x="1402" y="2074"/>
                </a:lnTo>
                <a:lnTo>
                  <a:pt x="1400" y="2076"/>
                </a:lnTo>
                <a:lnTo>
                  <a:pt x="1398" y="2080"/>
                </a:lnTo>
                <a:lnTo>
                  <a:pt x="1402" y="2088"/>
                </a:lnTo>
                <a:lnTo>
                  <a:pt x="1410" y="2100"/>
                </a:lnTo>
                <a:lnTo>
                  <a:pt x="1414" y="2106"/>
                </a:lnTo>
                <a:lnTo>
                  <a:pt x="1418" y="2108"/>
                </a:lnTo>
                <a:lnTo>
                  <a:pt x="1420" y="2108"/>
                </a:lnTo>
                <a:lnTo>
                  <a:pt x="1420" y="2104"/>
                </a:lnTo>
                <a:close/>
                <a:moveTo>
                  <a:pt x="628" y="1922"/>
                </a:moveTo>
                <a:lnTo>
                  <a:pt x="628" y="1922"/>
                </a:lnTo>
                <a:lnTo>
                  <a:pt x="624" y="1918"/>
                </a:lnTo>
                <a:lnTo>
                  <a:pt x="624" y="1916"/>
                </a:lnTo>
                <a:lnTo>
                  <a:pt x="624" y="1912"/>
                </a:lnTo>
                <a:lnTo>
                  <a:pt x="622" y="1908"/>
                </a:lnTo>
                <a:lnTo>
                  <a:pt x="618" y="1906"/>
                </a:lnTo>
                <a:lnTo>
                  <a:pt x="616" y="1906"/>
                </a:lnTo>
                <a:lnTo>
                  <a:pt x="612" y="1908"/>
                </a:lnTo>
                <a:lnTo>
                  <a:pt x="608" y="1906"/>
                </a:lnTo>
                <a:lnTo>
                  <a:pt x="602" y="1902"/>
                </a:lnTo>
                <a:lnTo>
                  <a:pt x="596" y="1900"/>
                </a:lnTo>
                <a:lnTo>
                  <a:pt x="592" y="1900"/>
                </a:lnTo>
                <a:lnTo>
                  <a:pt x="592" y="1902"/>
                </a:lnTo>
                <a:lnTo>
                  <a:pt x="592" y="1904"/>
                </a:lnTo>
                <a:lnTo>
                  <a:pt x="594" y="1908"/>
                </a:lnTo>
                <a:lnTo>
                  <a:pt x="592" y="1910"/>
                </a:lnTo>
                <a:lnTo>
                  <a:pt x="588" y="1914"/>
                </a:lnTo>
                <a:lnTo>
                  <a:pt x="580" y="1914"/>
                </a:lnTo>
                <a:lnTo>
                  <a:pt x="578" y="1912"/>
                </a:lnTo>
                <a:lnTo>
                  <a:pt x="574" y="1908"/>
                </a:lnTo>
                <a:lnTo>
                  <a:pt x="570" y="1904"/>
                </a:lnTo>
                <a:lnTo>
                  <a:pt x="568" y="1906"/>
                </a:lnTo>
                <a:lnTo>
                  <a:pt x="566" y="1912"/>
                </a:lnTo>
                <a:lnTo>
                  <a:pt x="564" y="1918"/>
                </a:lnTo>
                <a:lnTo>
                  <a:pt x="564" y="1922"/>
                </a:lnTo>
                <a:lnTo>
                  <a:pt x="562" y="1924"/>
                </a:lnTo>
                <a:lnTo>
                  <a:pt x="558" y="1922"/>
                </a:lnTo>
                <a:lnTo>
                  <a:pt x="550" y="1922"/>
                </a:lnTo>
                <a:lnTo>
                  <a:pt x="544" y="1924"/>
                </a:lnTo>
                <a:lnTo>
                  <a:pt x="538" y="1926"/>
                </a:lnTo>
                <a:lnTo>
                  <a:pt x="534" y="1932"/>
                </a:lnTo>
                <a:lnTo>
                  <a:pt x="530" y="1936"/>
                </a:lnTo>
                <a:lnTo>
                  <a:pt x="530" y="1940"/>
                </a:lnTo>
                <a:lnTo>
                  <a:pt x="530" y="1944"/>
                </a:lnTo>
                <a:lnTo>
                  <a:pt x="534" y="1952"/>
                </a:lnTo>
                <a:lnTo>
                  <a:pt x="538" y="1962"/>
                </a:lnTo>
                <a:lnTo>
                  <a:pt x="542" y="1968"/>
                </a:lnTo>
                <a:lnTo>
                  <a:pt x="544" y="1970"/>
                </a:lnTo>
                <a:lnTo>
                  <a:pt x="548" y="1970"/>
                </a:lnTo>
                <a:lnTo>
                  <a:pt x="550" y="1968"/>
                </a:lnTo>
                <a:lnTo>
                  <a:pt x="556" y="1964"/>
                </a:lnTo>
                <a:lnTo>
                  <a:pt x="560" y="1964"/>
                </a:lnTo>
                <a:lnTo>
                  <a:pt x="562" y="1964"/>
                </a:lnTo>
                <a:lnTo>
                  <a:pt x="564" y="1966"/>
                </a:lnTo>
                <a:lnTo>
                  <a:pt x="562" y="1968"/>
                </a:lnTo>
                <a:lnTo>
                  <a:pt x="560" y="1972"/>
                </a:lnTo>
                <a:lnTo>
                  <a:pt x="556" y="1978"/>
                </a:lnTo>
                <a:lnTo>
                  <a:pt x="556" y="1980"/>
                </a:lnTo>
                <a:lnTo>
                  <a:pt x="560" y="1980"/>
                </a:lnTo>
                <a:lnTo>
                  <a:pt x="566" y="1976"/>
                </a:lnTo>
                <a:lnTo>
                  <a:pt x="574" y="1970"/>
                </a:lnTo>
                <a:lnTo>
                  <a:pt x="576" y="1966"/>
                </a:lnTo>
                <a:lnTo>
                  <a:pt x="576" y="1962"/>
                </a:lnTo>
                <a:lnTo>
                  <a:pt x="578" y="1956"/>
                </a:lnTo>
                <a:lnTo>
                  <a:pt x="580" y="1954"/>
                </a:lnTo>
                <a:lnTo>
                  <a:pt x="586" y="1950"/>
                </a:lnTo>
                <a:lnTo>
                  <a:pt x="596" y="1948"/>
                </a:lnTo>
                <a:lnTo>
                  <a:pt x="610" y="1946"/>
                </a:lnTo>
                <a:lnTo>
                  <a:pt x="620" y="1940"/>
                </a:lnTo>
                <a:lnTo>
                  <a:pt x="628" y="1936"/>
                </a:lnTo>
                <a:lnTo>
                  <a:pt x="632" y="1930"/>
                </a:lnTo>
                <a:lnTo>
                  <a:pt x="632" y="1924"/>
                </a:lnTo>
                <a:lnTo>
                  <a:pt x="632" y="1922"/>
                </a:lnTo>
                <a:lnTo>
                  <a:pt x="628" y="1922"/>
                </a:lnTo>
                <a:close/>
                <a:moveTo>
                  <a:pt x="620" y="1874"/>
                </a:moveTo>
                <a:lnTo>
                  <a:pt x="620" y="1874"/>
                </a:lnTo>
                <a:lnTo>
                  <a:pt x="616" y="1870"/>
                </a:lnTo>
                <a:lnTo>
                  <a:pt x="612" y="1868"/>
                </a:lnTo>
                <a:lnTo>
                  <a:pt x="608" y="1870"/>
                </a:lnTo>
                <a:lnTo>
                  <a:pt x="608" y="1876"/>
                </a:lnTo>
                <a:lnTo>
                  <a:pt x="608" y="1880"/>
                </a:lnTo>
                <a:lnTo>
                  <a:pt x="606" y="1880"/>
                </a:lnTo>
                <a:lnTo>
                  <a:pt x="602" y="1880"/>
                </a:lnTo>
                <a:lnTo>
                  <a:pt x="596" y="1882"/>
                </a:lnTo>
                <a:lnTo>
                  <a:pt x="592" y="1886"/>
                </a:lnTo>
                <a:lnTo>
                  <a:pt x="592" y="1890"/>
                </a:lnTo>
                <a:lnTo>
                  <a:pt x="594" y="1894"/>
                </a:lnTo>
                <a:lnTo>
                  <a:pt x="600" y="1898"/>
                </a:lnTo>
                <a:lnTo>
                  <a:pt x="606" y="1900"/>
                </a:lnTo>
                <a:lnTo>
                  <a:pt x="610" y="1898"/>
                </a:lnTo>
                <a:lnTo>
                  <a:pt x="614" y="1894"/>
                </a:lnTo>
                <a:lnTo>
                  <a:pt x="618" y="1890"/>
                </a:lnTo>
                <a:lnTo>
                  <a:pt x="622" y="1890"/>
                </a:lnTo>
                <a:lnTo>
                  <a:pt x="632" y="1888"/>
                </a:lnTo>
                <a:lnTo>
                  <a:pt x="636" y="1886"/>
                </a:lnTo>
                <a:lnTo>
                  <a:pt x="640" y="1884"/>
                </a:lnTo>
                <a:lnTo>
                  <a:pt x="640" y="1880"/>
                </a:lnTo>
                <a:lnTo>
                  <a:pt x="636" y="1874"/>
                </a:lnTo>
                <a:lnTo>
                  <a:pt x="634" y="1872"/>
                </a:lnTo>
                <a:lnTo>
                  <a:pt x="632" y="1872"/>
                </a:lnTo>
                <a:lnTo>
                  <a:pt x="628" y="1874"/>
                </a:lnTo>
                <a:lnTo>
                  <a:pt x="624" y="1876"/>
                </a:lnTo>
                <a:lnTo>
                  <a:pt x="622" y="1876"/>
                </a:lnTo>
                <a:lnTo>
                  <a:pt x="620" y="1874"/>
                </a:lnTo>
                <a:close/>
                <a:moveTo>
                  <a:pt x="830" y="1754"/>
                </a:moveTo>
                <a:lnTo>
                  <a:pt x="830" y="1754"/>
                </a:lnTo>
                <a:lnTo>
                  <a:pt x="820" y="1766"/>
                </a:lnTo>
                <a:lnTo>
                  <a:pt x="804" y="1784"/>
                </a:lnTo>
                <a:lnTo>
                  <a:pt x="802" y="1786"/>
                </a:lnTo>
                <a:lnTo>
                  <a:pt x="806" y="1786"/>
                </a:lnTo>
                <a:lnTo>
                  <a:pt x="818" y="1782"/>
                </a:lnTo>
                <a:lnTo>
                  <a:pt x="822" y="1780"/>
                </a:lnTo>
                <a:lnTo>
                  <a:pt x="826" y="1776"/>
                </a:lnTo>
                <a:lnTo>
                  <a:pt x="828" y="1772"/>
                </a:lnTo>
                <a:lnTo>
                  <a:pt x="834" y="1764"/>
                </a:lnTo>
                <a:lnTo>
                  <a:pt x="840" y="1756"/>
                </a:lnTo>
                <a:lnTo>
                  <a:pt x="840" y="1752"/>
                </a:lnTo>
                <a:lnTo>
                  <a:pt x="838" y="1752"/>
                </a:lnTo>
                <a:lnTo>
                  <a:pt x="836" y="1750"/>
                </a:lnTo>
                <a:lnTo>
                  <a:pt x="830" y="1754"/>
                </a:lnTo>
                <a:close/>
                <a:moveTo>
                  <a:pt x="864" y="1744"/>
                </a:moveTo>
                <a:lnTo>
                  <a:pt x="864" y="1744"/>
                </a:lnTo>
                <a:lnTo>
                  <a:pt x="856" y="1742"/>
                </a:lnTo>
                <a:lnTo>
                  <a:pt x="852" y="1744"/>
                </a:lnTo>
                <a:lnTo>
                  <a:pt x="852" y="1748"/>
                </a:lnTo>
                <a:lnTo>
                  <a:pt x="852" y="1756"/>
                </a:lnTo>
                <a:lnTo>
                  <a:pt x="856" y="1758"/>
                </a:lnTo>
                <a:lnTo>
                  <a:pt x="860" y="1756"/>
                </a:lnTo>
                <a:lnTo>
                  <a:pt x="870" y="1752"/>
                </a:lnTo>
                <a:lnTo>
                  <a:pt x="874" y="1750"/>
                </a:lnTo>
                <a:lnTo>
                  <a:pt x="874" y="1748"/>
                </a:lnTo>
                <a:lnTo>
                  <a:pt x="872" y="1746"/>
                </a:lnTo>
                <a:lnTo>
                  <a:pt x="864" y="1744"/>
                </a:lnTo>
                <a:close/>
                <a:moveTo>
                  <a:pt x="1368" y="1942"/>
                </a:moveTo>
                <a:lnTo>
                  <a:pt x="1368" y="1942"/>
                </a:lnTo>
                <a:lnTo>
                  <a:pt x="1372" y="1942"/>
                </a:lnTo>
                <a:lnTo>
                  <a:pt x="1372" y="1940"/>
                </a:lnTo>
                <a:lnTo>
                  <a:pt x="1372" y="1934"/>
                </a:lnTo>
                <a:lnTo>
                  <a:pt x="1370" y="1928"/>
                </a:lnTo>
                <a:lnTo>
                  <a:pt x="1370" y="1924"/>
                </a:lnTo>
                <a:lnTo>
                  <a:pt x="1372" y="1922"/>
                </a:lnTo>
                <a:lnTo>
                  <a:pt x="1372" y="1920"/>
                </a:lnTo>
                <a:lnTo>
                  <a:pt x="1370" y="1912"/>
                </a:lnTo>
                <a:lnTo>
                  <a:pt x="1360" y="1892"/>
                </a:lnTo>
                <a:lnTo>
                  <a:pt x="1358" y="1888"/>
                </a:lnTo>
                <a:lnTo>
                  <a:pt x="1356" y="1886"/>
                </a:lnTo>
                <a:lnTo>
                  <a:pt x="1350" y="1886"/>
                </a:lnTo>
                <a:lnTo>
                  <a:pt x="1344" y="1884"/>
                </a:lnTo>
                <a:lnTo>
                  <a:pt x="1342" y="1884"/>
                </a:lnTo>
                <a:lnTo>
                  <a:pt x="1338" y="1880"/>
                </a:lnTo>
                <a:lnTo>
                  <a:pt x="1332" y="1876"/>
                </a:lnTo>
                <a:lnTo>
                  <a:pt x="1332" y="1878"/>
                </a:lnTo>
                <a:lnTo>
                  <a:pt x="1334" y="1894"/>
                </a:lnTo>
                <a:lnTo>
                  <a:pt x="1338" y="1912"/>
                </a:lnTo>
                <a:lnTo>
                  <a:pt x="1340" y="1922"/>
                </a:lnTo>
                <a:lnTo>
                  <a:pt x="1344" y="1932"/>
                </a:lnTo>
                <a:lnTo>
                  <a:pt x="1348" y="1940"/>
                </a:lnTo>
                <a:lnTo>
                  <a:pt x="1346" y="1942"/>
                </a:lnTo>
                <a:lnTo>
                  <a:pt x="1342" y="1946"/>
                </a:lnTo>
                <a:lnTo>
                  <a:pt x="1342" y="1950"/>
                </a:lnTo>
                <a:lnTo>
                  <a:pt x="1342" y="1956"/>
                </a:lnTo>
                <a:lnTo>
                  <a:pt x="1342" y="1960"/>
                </a:lnTo>
                <a:lnTo>
                  <a:pt x="1346" y="1960"/>
                </a:lnTo>
                <a:lnTo>
                  <a:pt x="1358" y="1954"/>
                </a:lnTo>
                <a:lnTo>
                  <a:pt x="1360" y="1952"/>
                </a:lnTo>
                <a:lnTo>
                  <a:pt x="1362" y="1950"/>
                </a:lnTo>
                <a:lnTo>
                  <a:pt x="1362" y="1946"/>
                </a:lnTo>
                <a:lnTo>
                  <a:pt x="1362" y="1944"/>
                </a:lnTo>
                <a:lnTo>
                  <a:pt x="1368" y="1942"/>
                </a:lnTo>
                <a:close/>
                <a:moveTo>
                  <a:pt x="1338" y="1970"/>
                </a:moveTo>
                <a:lnTo>
                  <a:pt x="1338" y="1970"/>
                </a:lnTo>
                <a:lnTo>
                  <a:pt x="1334" y="1956"/>
                </a:lnTo>
                <a:lnTo>
                  <a:pt x="1332" y="1946"/>
                </a:lnTo>
                <a:lnTo>
                  <a:pt x="1326" y="1938"/>
                </a:lnTo>
                <a:lnTo>
                  <a:pt x="1316" y="1932"/>
                </a:lnTo>
                <a:lnTo>
                  <a:pt x="1312" y="1930"/>
                </a:lnTo>
                <a:lnTo>
                  <a:pt x="1308" y="1930"/>
                </a:lnTo>
                <a:lnTo>
                  <a:pt x="1304" y="1932"/>
                </a:lnTo>
                <a:lnTo>
                  <a:pt x="1302" y="1934"/>
                </a:lnTo>
                <a:lnTo>
                  <a:pt x="1302" y="1942"/>
                </a:lnTo>
                <a:lnTo>
                  <a:pt x="1302" y="1946"/>
                </a:lnTo>
                <a:lnTo>
                  <a:pt x="1310" y="1952"/>
                </a:lnTo>
                <a:lnTo>
                  <a:pt x="1312" y="1958"/>
                </a:lnTo>
                <a:lnTo>
                  <a:pt x="1312" y="1966"/>
                </a:lnTo>
                <a:lnTo>
                  <a:pt x="1312" y="1970"/>
                </a:lnTo>
                <a:lnTo>
                  <a:pt x="1312" y="1972"/>
                </a:lnTo>
                <a:lnTo>
                  <a:pt x="1316" y="1976"/>
                </a:lnTo>
                <a:lnTo>
                  <a:pt x="1320" y="1978"/>
                </a:lnTo>
                <a:lnTo>
                  <a:pt x="1320" y="1980"/>
                </a:lnTo>
                <a:lnTo>
                  <a:pt x="1320" y="1984"/>
                </a:lnTo>
                <a:lnTo>
                  <a:pt x="1322" y="1988"/>
                </a:lnTo>
                <a:lnTo>
                  <a:pt x="1324" y="1988"/>
                </a:lnTo>
                <a:lnTo>
                  <a:pt x="1326" y="1988"/>
                </a:lnTo>
                <a:lnTo>
                  <a:pt x="1326" y="1992"/>
                </a:lnTo>
                <a:lnTo>
                  <a:pt x="1326" y="1998"/>
                </a:lnTo>
                <a:lnTo>
                  <a:pt x="1326" y="2002"/>
                </a:lnTo>
                <a:lnTo>
                  <a:pt x="1332" y="2006"/>
                </a:lnTo>
                <a:lnTo>
                  <a:pt x="1338" y="2016"/>
                </a:lnTo>
                <a:lnTo>
                  <a:pt x="1340" y="2016"/>
                </a:lnTo>
                <a:lnTo>
                  <a:pt x="1342" y="2014"/>
                </a:lnTo>
                <a:lnTo>
                  <a:pt x="1342" y="2008"/>
                </a:lnTo>
                <a:lnTo>
                  <a:pt x="1340" y="1998"/>
                </a:lnTo>
                <a:lnTo>
                  <a:pt x="1340" y="1992"/>
                </a:lnTo>
                <a:lnTo>
                  <a:pt x="1340" y="1990"/>
                </a:lnTo>
                <a:lnTo>
                  <a:pt x="1342" y="1984"/>
                </a:lnTo>
                <a:lnTo>
                  <a:pt x="1338" y="1970"/>
                </a:lnTo>
                <a:close/>
                <a:moveTo>
                  <a:pt x="1294" y="1940"/>
                </a:moveTo>
                <a:lnTo>
                  <a:pt x="1294" y="1940"/>
                </a:lnTo>
                <a:lnTo>
                  <a:pt x="1292" y="1942"/>
                </a:lnTo>
                <a:lnTo>
                  <a:pt x="1292" y="1946"/>
                </a:lnTo>
                <a:lnTo>
                  <a:pt x="1292" y="1954"/>
                </a:lnTo>
                <a:lnTo>
                  <a:pt x="1292" y="1962"/>
                </a:lnTo>
                <a:lnTo>
                  <a:pt x="1294" y="1962"/>
                </a:lnTo>
                <a:lnTo>
                  <a:pt x="1298" y="1962"/>
                </a:lnTo>
                <a:lnTo>
                  <a:pt x="1300" y="1960"/>
                </a:lnTo>
                <a:lnTo>
                  <a:pt x="1300" y="1956"/>
                </a:lnTo>
                <a:lnTo>
                  <a:pt x="1300" y="1948"/>
                </a:lnTo>
                <a:lnTo>
                  <a:pt x="1296" y="1942"/>
                </a:lnTo>
                <a:lnTo>
                  <a:pt x="1294" y="1940"/>
                </a:lnTo>
                <a:close/>
                <a:moveTo>
                  <a:pt x="1300" y="1922"/>
                </a:moveTo>
                <a:lnTo>
                  <a:pt x="1300" y="1922"/>
                </a:lnTo>
                <a:lnTo>
                  <a:pt x="1298" y="1916"/>
                </a:lnTo>
                <a:lnTo>
                  <a:pt x="1300" y="1914"/>
                </a:lnTo>
                <a:lnTo>
                  <a:pt x="1304" y="1916"/>
                </a:lnTo>
                <a:lnTo>
                  <a:pt x="1314" y="1922"/>
                </a:lnTo>
                <a:lnTo>
                  <a:pt x="1324" y="1928"/>
                </a:lnTo>
                <a:lnTo>
                  <a:pt x="1330" y="1930"/>
                </a:lnTo>
                <a:lnTo>
                  <a:pt x="1332" y="1930"/>
                </a:lnTo>
                <a:lnTo>
                  <a:pt x="1334" y="1928"/>
                </a:lnTo>
                <a:lnTo>
                  <a:pt x="1332" y="1920"/>
                </a:lnTo>
                <a:lnTo>
                  <a:pt x="1328" y="1910"/>
                </a:lnTo>
                <a:lnTo>
                  <a:pt x="1328" y="1908"/>
                </a:lnTo>
                <a:lnTo>
                  <a:pt x="1330" y="1902"/>
                </a:lnTo>
                <a:lnTo>
                  <a:pt x="1330" y="1900"/>
                </a:lnTo>
                <a:lnTo>
                  <a:pt x="1328" y="1896"/>
                </a:lnTo>
                <a:lnTo>
                  <a:pt x="1320" y="1890"/>
                </a:lnTo>
                <a:lnTo>
                  <a:pt x="1302" y="1882"/>
                </a:lnTo>
                <a:lnTo>
                  <a:pt x="1294" y="1880"/>
                </a:lnTo>
                <a:lnTo>
                  <a:pt x="1288" y="1882"/>
                </a:lnTo>
                <a:lnTo>
                  <a:pt x="1284" y="1884"/>
                </a:lnTo>
                <a:lnTo>
                  <a:pt x="1278" y="1884"/>
                </a:lnTo>
                <a:lnTo>
                  <a:pt x="1274" y="1884"/>
                </a:lnTo>
                <a:lnTo>
                  <a:pt x="1272" y="1886"/>
                </a:lnTo>
                <a:lnTo>
                  <a:pt x="1268" y="1892"/>
                </a:lnTo>
                <a:lnTo>
                  <a:pt x="1266" y="1898"/>
                </a:lnTo>
                <a:lnTo>
                  <a:pt x="1266" y="1902"/>
                </a:lnTo>
                <a:lnTo>
                  <a:pt x="1268" y="1906"/>
                </a:lnTo>
                <a:lnTo>
                  <a:pt x="1276" y="1910"/>
                </a:lnTo>
                <a:lnTo>
                  <a:pt x="1278" y="1912"/>
                </a:lnTo>
                <a:lnTo>
                  <a:pt x="1280" y="1914"/>
                </a:lnTo>
                <a:lnTo>
                  <a:pt x="1280" y="1918"/>
                </a:lnTo>
                <a:lnTo>
                  <a:pt x="1280" y="1924"/>
                </a:lnTo>
                <a:lnTo>
                  <a:pt x="1284" y="1928"/>
                </a:lnTo>
                <a:lnTo>
                  <a:pt x="1288" y="1932"/>
                </a:lnTo>
                <a:lnTo>
                  <a:pt x="1294" y="1934"/>
                </a:lnTo>
                <a:lnTo>
                  <a:pt x="1298" y="1932"/>
                </a:lnTo>
                <a:lnTo>
                  <a:pt x="1302" y="1926"/>
                </a:lnTo>
                <a:lnTo>
                  <a:pt x="1302" y="1924"/>
                </a:lnTo>
                <a:lnTo>
                  <a:pt x="1300" y="1922"/>
                </a:lnTo>
                <a:close/>
                <a:moveTo>
                  <a:pt x="1404" y="1984"/>
                </a:moveTo>
                <a:lnTo>
                  <a:pt x="1404" y="1984"/>
                </a:lnTo>
                <a:lnTo>
                  <a:pt x="1406" y="1982"/>
                </a:lnTo>
                <a:lnTo>
                  <a:pt x="1408" y="1976"/>
                </a:lnTo>
                <a:lnTo>
                  <a:pt x="1410" y="1970"/>
                </a:lnTo>
                <a:lnTo>
                  <a:pt x="1408" y="1964"/>
                </a:lnTo>
                <a:lnTo>
                  <a:pt x="1404" y="1962"/>
                </a:lnTo>
                <a:lnTo>
                  <a:pt x="1400" y="1962"/>
                </a:lnTo>
                <a:lnTo>
                  <a:pt x="1394" y="1962"/>
                </a:lnTo>
                <a:lnTo>
                  <a:pt x="1388" y="1960"/>
                </a:lnTo>
                <a:lnTo>
                  <a:pt x="1382" y="1956"/>
                </a:lnTo>
                <a:lnTo>
                  <a:pt x="1374" y="1956"/>
                </a:lnTo>
                <a:lnTo>
                  <a:pt x="1370" y="1958"/>
                </a:lnTo>
                <a:lnTo>
                  <a:pt x="1370" y="1962"/>
                </a:lnTo>
                <a:lnTo>
                  <a:pt x="1370" y="1966"/>
                </a:lnTo>
                <a:lnTo>
                  <a:pt x="1370" y="1970"/>
                </a:lnTo>
                <a:lnTo>
                  <a:pt x="1372" y="1970"/>
                </a:lnTo>
                <a:lnTo>
                  <a:pt x="1378" y="1970"/>
                </a:lnTo>
                <a:lnTo>
                  <a:pt x="1380" y="1970"/>
                </a:lnTo>
                <a:lnTo>
                  <a:pt x="1382" y="1972"/>
                </a:lnTo>
                <a:lnTo>
                  <a:pt x="1382" y="1976"/>
                </a:lnTo>
                <a:lnTo>
                  <a:pt x="1382" y="1982"/>
                </a:lnTo>
                <a:lnTo>
                  <a:pt x="1382" y="1992"/>
                </a:lnTo>
                <a:lnTo>
                  <a:pt x="1384" y="1994"/>
                </a:lnTo>
                <a:lnTo>
                  <a:pt x="1386" y="1996"/>
                </a:lnTo>
                <a:lnTo>
                  <a:pt x="1390" y="1996"/>
                </a:lnTo>
                <a:lnTo>
                  <a:pt x="1398" y="1996"/>
                </a:lnTo>
                <a:lnTo>
                  <a:pt x="1402" y="1996"/>
                </a:lnTo>
                <a:lnTo>
                  <a:pt x="1404" y="1996"/>
                </a:lnTo>
                <a:lnTo>
                  <a:pt x="1404" y="1992"/>
                </a:lnTo>
                <a:lnTo>
                  <a:pt x="1404" y="1988"/>
                </a:lnTo>
                <a:lnTo>
                  <a:pt x="1404" y="1986"/>
                </a:lnTo>
                <a:lnTo>
                  <a:pt x="1404" y="1984"/>
                </a:lnTo>
                <a:close/>
                <a:moveTo>
                  <a:pt x="1376" y="1988"/>
                </a:moveTo>
                <a:lnTo>
                  <a:pt x="1376" y="1988"/>
                </a:lnTo>
                <a:lnTo>
                  <a:pt x="1378" y="1980"/>
                </a:lnTo>
                <a:lnTo>
                  <a:pt x="1376" y="1978"/>
                </a:lnTo>
                <a:lnTo>
                  <a:pt x="1374" y="1976"/>
                </a:lnTo>
                <a:lnTo>
                  <a:pt x="1370" y="1974"/>
                </a:lnTo>
                <a:lnTo>
                  <a:pt x="1366" y="1970"/>
                </a:lnTo>
                <a:lnTo>
                  <a:pt x="1364" y="1966"/>
                </a:lnTo>
                <a:lnTo>
                  <a:pt x="1360" y="1966"/>
                </a:lnTo>
                <a:lnTo>
                  <a:pt x="1356" y="1968"/>
                </a:lnTo>
                <a:lnTo>
                  <a:pt x="1352" y="1972"/>
                </a:lnTo>
                <a:lnTo>
                  <a:pt x="1350" y="1974"/>
                </a:lnTo>
                <a:lnTo>
                  <a:pt x="1350" y="1978"/>
                </a:lnTo>
                <a:lnTo>
                  <a:pt x="1354" y="1984"/>
                </a:lnTo>
                <a:lnTo>
                  <a:pt x="1364" y="1996"/>
                </a:lnTo>
                <a:lnTo>
                  <a:pt x="1366" y="2000"/>
                </a:lnTo>
                <a:lnTo>
                  <a:pt x="1364" y="2000"/>
                </a:lnTo>
                <a:lnTo>
                  <a:pt x="1362" y="2000"/>
                </a:lnTo>
                <a:lnTo>
                  <a:pt x="1358" y="2000"/>
                </a:lnTo>
                <a:lnTo>
                  <a:pt x="1356" y="2004"/>
                </a:lnTo>
                <a:lnTo>
                  <a:pt x="1356" y="2010"/>
                </a:lnTo>
                <a:lnTo>
                  <a:pt x="1358" y="2020"/>
                </a:lnTo>
                <a:lnTo>
                  <a:pt x="1360" y="2022"/>
                </a:lnTo>
                <a:lnTo>
                  <a:pt x="1362" y="2022"/>
                </a:lnTo>
                <a:lnTo>
                  <a:pt x="1362" y="2018"/>
                </a:lnTo>
                <a:lnTo>
                  <a:pt x="1364" y="2014"/>
                </a:lnTo>
                <a:lnTo>
                  <a:pt x="1364" y="2012"/>
                </a:lnTo>
                <a:lnTo>
                  <a:pt x="1366" y="2014"/>
                </a:lnTo>
                <a:lnTo>
                  <a:pt x="1368" y="2020"/>
                </a:lnTo>
                <a:lnTo>
                  <a:pt x="1370" y="2020"/>
                </a:lnTo>
                <a:lnTo>
                  <a:pt x="1372" y="2012"/>
                </a:lnTo>
                <a:lnTo>
                  <a:pt x="1374" y="2008"/>
                </a:lnTo>
                <a:lnTo>
                  <a:pt x="1374" y="2002"/>
                </a:lnTo>
                <a:lnTo>
                  <a:pt x="1374" y="1996"/>
                </a:lnTo>
                <a:lnTo>
                  <a:pt x="1376" y="1988"/>
                </a:lnTo>
                <a:close/>
                <a:moveTo>
                  <a:pt x="1392" y="2016"/>
                </a:moveTo>
                <a:lnTo>
                  <a:pt x="1392" y="2016"/>
                </a:lnTo>
                <a:lnTo>
                  <a:pt x="1384" y="2016"/>
                </a:lnTo>
                <a:lnTo>
                  <a:pt x="1382" y="2016"/>
                </a:lnTo>
                <a:lnTo>
                  <a:pt x="1384" y="2018"/>
                </a:lnTo>
                <a:lnTo>
                  <a:pt x="1384" y="2020"/>
                </a:lnTo>
                <a:lnTo>
                  <a:pt x="1382" y="2020"/>
                </a:lnTo>
                <a:lnTo>
                  <a:pt x="1378" y="2022"/>
                </a:lnTo>
                <a:lnTo>
                  <a:pt x="1376" y="2024"/>
                </a:lnTo>
                <a:lnTo>
                  <a:pt x="1376" y="2028"/>
                </a:lnTo>
                <a:lnTo>
                  <a:pt x="1376" y="2030"/>
                </a:lnTo>
                <a:lnTo>
                  <a:pt x="1378" y="2030"/>
                </a:lnTo>
                <a:lnTo>
                  <a:pt x="1384" y="2028"/>
                </a:lnTo>
                <a:lnTo>
                  <a:pt x="1386" y="2026"/>
                </a:lnTo>
                <a:lnTo>
                  <a:pt x="1392" y="2026"/>
                </a:lnTo>
                <a:lnTo>
                  <a:pt x="1396" y="2024"/>
                </a:lnTo>
                <a:lnTo>
                  <a:pt x="1396" y="2022"/>
                </a:lnTo>
                <a:lnTo>
                  <a:pt x="1396" y="2018"/>
                </a:lnTo>
                <a:lnTo>
                  <a:pt x="1392" y="2016"/>
                </a:lnTo>
                <a:close/>
                <a:moveTo>
                  <a:pt x="1406" y="2070"/>
                </a:moveTo>
                <a:lnTo>
                  <a:pt x="1406" y="2070"/>
                </a:lnTo>
                <a:lnTo>
                  <a:pt x="1410" y="2070"/>
                </a:lnTo>
                <a:lnTo>
                  <a:pt x="1410" y="2072"/>
                </a:lnTo>
                <a:lnTo>
                  <a:pt x="1412" y="2074"/>
                </a:lnTo>
                <a:lnTo>
                  <a:pt x="1416" y="2072"/>
                </a:lnTo>
                <a:lnTo>
                  <a:pt x="1418" y="2074"/>
                </a:lnTo>
                <a:lnTo>
                  <a:pt x="1424" y="2080"/>
                </a:lnTo>
                <a:lnTo>
                  <a:pt x="1426" y="2084"/>
                </a:lnTo>
                <a:lnTo>
                  <a:pt x="1426" y="2086"/>
                </a:lnTo>
                <a:lnTo>
                  <a:pt x="1426" y="2088"/>
                </a:lnTo>
                <a:lnTo>
                  <a:pt x="1428" y="2090"/>
                </a:lnTo>
                <a:lnTo>
                  <a:pt x="1430" y="2092"/>
                </a:lnTo>
                <a:lnTo>
                  <a:pt x="1432" y="2090"/>
                </a:lnTo>
                <a:lnTo>
                  <a:pt x="1434" y="2090"/>
                </a:lnTo>
                <a:lnTo>
                  <a:pt x="1434" y="2094"/>
                </a:lnTo>
                <a:lnTo>
                  <a:pt x="1436" y="2102"/>
                </a:lnTo>
                <a:lnTo>
                  <a:pt x="1440" y="2106"/>
                </a:lnTo>
                <a:lnTo>
                  <a:pt x="1444" y="2106"/>
                </a:lnTo>
                <a:lnTo>
                  <a:pt x="1448" y="2104"/>
                </a:lnTo>
                <a:lnTo>
                  <a:pt x="1450" y="2100"/>
                </a:lnTo>
                <a:lnTo>
                  <a:pt x="1450" y="2096"/>
                </a:lnTo>
                <a:lnTo>
                  <a:pt x="1450" y="2092"/>
                </a:lnTo>
                <a:lnTo>
                  <a:pt x="1450" y="2088"/>
                </a:lnTo>
                <a:lnTo>
                  <a:pt x="1450" y="2084"/>
                </a:lnTo>
                <a:lnTo>
                  <a:pt x="1448" y="2084"/>
                </a:lnTo>
                <a:lnTo>
                  <a:pt x="1448" y="2082"/>
                </a:lnTo>
                <a:lnTo>
                  <a:pt x="1448" y="2076"/>
                </a:lnTo>
                <a:lnTo>
                  <a:pt x="1450" y="2070"/>
                </a:lnTo>
                <a:lnTo>
                  <a:pt x="1448" y="2070"/>
                </a:lnTo>
                <a:lnTo>
                  <a:pt x="1446" y="2070"/>
                </a:lnTo>
                <a:lnTo>
                  <a:pt x="1444" y="2068"/>
                </a:lnTo>
                <a:lnTo>
                  <a:pt x="1444" y="2066"/>
                </a:lnTo>
                <a:lnTo>
                  <a:pt x="1442" y="2062"/>
                </a:lnTo>
                <a:lnTo>
                  <a:pt x="1440" y="2062"/>
                </a:lnTo>
                <a:lnTo>
                  <a:pt x="1438" y="2062"/>
                </a:lnTo>
                <a:lnTo>
                  <a:pt x="1434" y="2060"/>
                </a:lnTo>
                <a:lnTo>
                  <a:pt x="1432" y="2058"/>
                </a:lnTo>
                <a:lnTo>
                  <a:pt x="1428" y="2058"/>
                </a:lnTo>
                <a:lnTo>
                  <a:pt x="1424" y="2060"/>
                </a:lnTo>
                <a:lnTo>
                  <a:pt x="1422" y="2058"/>
                </a:lnTo>
                <a:lnTo>
                  <a:pt x="1422" y="2056"/>
                </a:lnTo>
                <a:lnTo>
                  <a:pt x="1424" y="2052"/>
                </a:lnTo>
                <a:lnTo>
                  <a:pt x="1430" y="2052"/>
                </a:lnTo>
                <a:lnTo>
                  <a:pt x="1436" y="2056"/>
                </a:lnTo>
                <a:lnTo>
                  <a:pt x="1440" y="2058"/>
                </a:lnTo>
                <a:lnTo>
                  <a:pt x="1442" y="2058"/>
                </a:lnTo>
                <a:lnTo>
                  <a:pt x="1434" y="2050"/>
                </a:lnTo>
                <a:lnTo>
                  <a:pt x="1430" y="2044"/>
                </a:lnTo>
                <a:lnTo>
                  <a:pt x="1428" y="2038"/>
                </a:lnTo>
                <a:lnTo>
                  <a:pt x="1426" y="2032"/>
                </a:lnTo>
                <a:lnTo>
                  <a:pt x="1422" y="2026"/>
                </a:lnTo>
                <a:lnTo>
                  <a:pt x="1416" y="2022"/>
                </a:lnTo>
                <a:lnTo>
                  <a:pt x="1410" y="2022"/>
                </a:lnTo>
                <a:lnTo>
                  <a:pt x="1406" y="2022"/>
                </a:lnTo>
                <a:lnTo>
                  <a:pt x="1404" y="2020"/>
                </a:lnTo>
                <a:lnTo>
                  <a:pt x="1404" y="2018"/>
                </a:lnTo>
                <a:lnTo>
                  <a:pt x="1404" y="2014"/>
                </a:lnTo>
                <a:lnTo>
                  <a:pt x="1404" y="2008"/>
                </a:lnTo>
                <a:lnTo>
                  <a:pt x="1402" y="2004"/>
                </a:lnTo>
                <a:lnTo>
                  <a:pt x="1400" y="2002"/>
                </a:lnTo>
                <a:lnTo>
                  <a:pt x="1398" y="2002"/>
                </a:lnTo>
                <a:lnTo>
                  <a:pt x="1396" y="2004"/>
                </a:lnTo>
                <a:lnTo>
                  <a:pt x="1390" y="2004"/>
                </a:lnTo>
                <a:lnTo>
                  <a:pt x="1386" y="2002"/>
                </a:lnTo>
                <a:lnTo>
                  <a:pt x="1386" y="2004"/>
                </a:lnTo>
                <a:lnTo>
                  <a:pt x="1384" y="2006"/>
                </a:lnTo>
                <a:lnTo>
                  <a:pt x="1382" y="2008"/>
                </a:lnTo>
                <a:lnTo>
                  <a:pt x="1382" y="2010"/>
                </a:lnTo>
                <a:lnTo>
                  <a:pt x="1390" y="2012"/>
                </a:lnTo>
                <a:lnTo>
                  <a:pt x="1396" y="2014"/>
                </a:lnTo>
                <a:lnTo>
                  <a:pt x="1398" y="2018"/>
                </a:lnTo>
                <a:lnTo>
                  <a:pt x="1398" y="2022"/>
                </a:lnTo>
                <a:lnTo>
                  <a:pt x="1398" y="2028"/>
                </a:lnTo>
                <a:lnTo>
                  <a:pt x="1400" y="2030"/>
                </a:lnTo>
                <a:lnTo>
                  <a:pt x="1402" y="2034"/>
                </a:lnTo>
                <a:lnTo>
                  <a:pt x="1402" y="2038"/>
                </a:lnTo>
                <a:lnTo>
                  <a:pt x="1400" y="2040"/>
                </a:lnTo>
                <a:lnTo>
                  <a:pt x="1398" y="2040"/>
                </a:lnTo>
                <a:lnTo>
                  <a:pt x="1396" y="2040"/>
                </a:lnTo>
                <a:lnTo>
                  <a:pt x="1394" y="2042"/>
                </a:lnTo>
                <a:lnTo>
                  <a:pt x="1392" y="2046"/>
                </a:lnTo>
                <a:lnTo>
                  <a:pt x="1394" y="2048"/>
                </a:lnTo>
                <a:lnTo>
                  <a:pt x="1402" y="2050"/>
                </a:lnTo>
                <a:lnTo>
                  <a:pt x="1406" y="2050"/>
                </a:lnTo>
                <a:lnTo>
                  <a:pt x="1404" y="2052"/>
                </a:lnTo>
                <a:lnTo>
                  <a:pt x="1404" y="2056"/>
                </a:lnTo>
                <a:lnTo>
                  <a:pt x="1406" y="2060"/>
                </a:lnTo>
                <a:lnTo>
                  <a:pt x="1408" y="2062"/>
                </a:lnTo>
                <a:lnTo>
                  <a:pt x="1406" y="2064"/>
                </a:lnTo>
                <a:lnTo>
                  <a:pt x="1404" y="2064"/>
                </a:lnTo>
                <a:lnTo>
                  <a:pt x="1398" y="2064"/>
                </a:lnTo>
                <a:lnTo>
                  <a:pt x="1398" y="2066"/>
                </a:lnTo>
                <a:lnTo>
                  <a:pt x="1398" y="2068"/>
                </a:lnTo>
                <a:lnTo>
                  <a:pt x="1400" y="2070"/>
                </a:lnTo>
                <a:lnTo>
                  <a:pt x="1406" y="2070"/>
                </a:lnTo>
                <a:close/>
                <a:moveTo>
                  <a:pt x="3826" y="3942"/>
                </a:moveTo>
                <a:lnTo>
                  <a:pt x="3826" y="3942"/>
                </a:lnTo>
                <a:lnTo>
                  <a:pt x="3824" y="3946"/>
                </a:lnTo>
                <a:lnTo>
                  <a:pt x="3822" y="3946"/>
                </a:lnTo>
                <a:lnTo>
                  <a:pt x="3818" y="3946"/>
                </a:lnTo>
                <a:lnTo>
                  <a:pt x="3812" y="3946"/>
                </a:lnTo>
                <a:lnTo>
                  <a:pt x="3808" y="3948"/>
                </a:lnTo>
                <a:lnTo>
                  <a:pt x="3804" y="3952"/>
                </a:lnTo>
                <a:lnTo>
                  <a:pt x="3802" y="3956"/>
                </a:lnTo>
                <a:lnTo>
                  <a:pt x="3802" y="3960"/>
                </a:lnTo>
                <a:lnTo>
                  <a:pt x="3806" y="3960"/>
                </a:lnTo>
                <a:lnTo>
                  <a:pt x="3818" y="3958"/>
                </a:lnTo>
                <a:lnTo>
                  <a:pt x="3824" y="3956"/>
                </a:lnTo>
                <a:lnTo>
                  <a:pt x="3828" y="3952"/>
                </a:lnTo>
                <a:lnTo>
                  <a:pt x="3830" y="3948"/>
                </a:lnTo>
                <a:lnTo>
                  <a:pt x="3830" y="3944"/>
                </a:lnTo>
                <a:lnTo>
                  <a:pt x="3830" y="3940"/>
                </a:lnTo>
                <a:lnTo>
                  <a:pt x="3828" y="3940"/>
                </a:lnTo>
                <a:lnTo>
                  <a:pt x="3826" y="3942"/>
                </a:lnTo>
                <a:close/>
                <a:moveTo>
                  <a:pt x="3640" y="3780"/>
                </a:moveTo>
                <a:lnTo>
                  <a:pt x="3640" y="3780"/>
                </a:lnTo>
                <a:lnTo>
                  <a:pt x="3642" y="3776"/>
                </a:lnTo>
                <a:lnTo>
                  <a:pt x="3644" y="3772"/>
                </a:lnTo>
                <a:lnTo>
                  <a:pt x="3642" y="3766"/>
                </a:lnTo>
                <a:lnTo>
                  <a:pt x="3636" y="3760"/>
                </a:lnTo>
                <a:lnTo>
                  <a:pt x="3632" y="3754"/>
                </a:lnTo>
                <a:lnTo>
                  <a:pt x="3630" y="3748"/>
                </a:lnTo>
                <a:lnTo>
                  <a:pt x="3630" y="3744"/>
                </a:lnTo>
                <a:lnTo>
                  <a:pt x="3626" y="3742"/>
                </a:lnTo>
                <a:lnTo>
                  <a:pt x="3622" y="3744"/>
                </a:lnTo>
                <a:lnTo>
                  <a:pt x="3622" y="3748"/>
                </a:lnTo>
                <a:lnTo>
                  <a:pt x="3622" y="3754"/>
                </a:lnTo>
                <a:lnTo>
                  <a:pt x="3620" y="3764"/>
                </a:lnTo>
                <a:lnTo>
                  <a:pt x="3616" y="3772"/>
                </a:lnTo>
                <a:lnTo>
                  <a:pt x="3618" y="3776"/>
                </a:lnTo>
                <a:lnTo>
                  <a:pt x="3622" y="3780"/>
                </a:lnTo>
                <a:lnTo>
                  <a:pt x="3628" y="3786"/>
                </a:lnTo>
                <a:lnTo>
                  <a:pt x="3632" y="3788"/>
                </a:lnTo>
                <a:lnTo>
                  <a:pt x="3634" y="3786"/>
                </a:lnTo>
                <a:lnTo>
                  <a:pt x="3640" y="3780"/>
                </a:lnTo>
                <a:close/>
                <a:moveTo>
                  <a:pt x="3646" y="3816"/>
                </a:moveTo>
                <a:lnTo>
                  <a:pt x="3646" y="3816"/>
                </a:lnTo>
                <a:lnTo>
                  <a:pt x="3650" y="3814"/>
                </a:lnTo>
                <a:lnTo>
                  <a:pt x="3652" y="3810"/>
                </a:lnTo>
                <a:lnTo>
                  <a:pt x="3652" y="3804"/>
                </a:lnTo>
                <a:lnTo>
                  <a:pt x="3650" y="3796"/>
                </a:lnTo>
                <a:lnTo>
                  <a:pt x="3646" y="3790"/>
                </a:lnTo>
                <a:lnTo>
                  <a:pt x="3644" y="3792"/>
                </a:lnTo>
                <a:lnTo>
                  <a:pt x="3642" y="3792"/>
                </a:lnTo>
                <a:lnTo>
                  <a:pt x="3640" y="3792"/>
                </a:lnTo>
                <a:lnTo>
                  <a:pt x="3638" y="3790"/>
                </a:lnTo>
                <a:lnTo>
                  <a:pt x="3636" y="3790"/>
                </a:lnTo>
                <a:lnTo>
                  <a:pt x="3634" y="3794"/>
                </a:lnTo>
                <a:lnTo>
                  <a:pt x="3634" y="3802"/>
                </a:lnTo>
                <a:lnTo>
                  <a:pt x="3640" y="3808"/>
                </a:lnTo>
                <a:lnTo>
                  <a:pt x="3642" y="3814"/>
                </a:lnTo>
                <a:lnTo>
                  <a:pt x="3644" y="3816"/>
                </a:lnTo>
                <a:lnTo>
                  <a:pt x="3646" y="3816"/>
                </a:lnTo>
                <a:close/>
                <a:moveTo>
                  <a:pt x="3596" y="3668"/>
                </a:moveTo>
                <a:lnTo>
                  <a:pt x="3596" y="3668"/>
                </a:lnTo>
                <a:lnTo>
                  <a:pt x="3590" y="3666"/>
                </a:lnTo>
                <a:lnTo>
                  <a:pt x="3590" y="3670"/>
                </a:lnTo>
                <a:lnTo>
                  <a:pt x="3596" y="3674"/>
                </a:lnTo>
                <a:lnTo>
                  <a:pt x="3598" y="3676"/>
                </a:lnTo>
                <a:lnTo>
                  <a:pt x="3602" y="3676"/>
                </a:lnTo>
                <a:lnTo>
                  <a:pt x="3616" y="3670"/>
                </a:lnTo>
                <a:lnTo>
                  <a:pt x="3624" y="3668"/>
                </a:lnTo>
                <a:lnTo>
                  <a:pt x="3630" y="3668"/>
                </a:lnTo>
                <a:lnTo>
                  <a:pt x="3632" y="3668"/>
                </a:lnTo>
                <a:lnTo>
                  <a:pt x="3634" y="3666"/>
                </a:lnTo>
                <a:lnTo>
                  <a:pt x="3634" y="3664"/>
                </a:lnTo>
                <a:lnTo>
                  <a:pt x="3632" y="3662"/>
                </a:lnTo>
                <a:lnTo>
                  <a:pt x="3626" y="3662"/>
                </a:lnTo>
                <a:lnTo>
                  <a:pt x="3618" y="3664"/>
                </a:lnTo>
                <a:lnTo>
                  <a:pt x="3608" y="3662"/>
                </a:lnTo>
                <a:lnTo>
                  <a:pt x="3604" y="3660"/>
                </a:lnTo>
                <a:lnTo>
                  <a:pt x="3602" y="3660"/>
                </a:lnTo>
                <a:lnTo>
                  <a:pt x="3602" y="3664"/>
                </a:lnTo>
                <a:lnTo>
                  <a:pt x="3602" y="3668"/>
                </a:lnTo>
                <a:lnTo>
                  <a:pt x="3600" y="3670"/>
                </a:lnTo>
                <a:lnTo>
                  <a:pt x="3596" y="3668"/>
                </a:lnTo>
                <a:close/>
                <a:moveTo>
                  <a:pt x="3666" y="3688"/>
                </a:moveTo>
                <a:lnTo>
                  <a:pt x="3666" y="3688"/>
                </a:lnTo>
                <a:lnTo>
                  <a:pt x="3668" y="3686"/>
                </a:lnTo>
                <a:lnTo>
                  <a:pt x="3668" y="3680"/>
                </a:lnTo>
                <a:lnTo>
                  <a:pt x="3668" y="3674"/>
                </a:lnTo>
                <a:lnTo>
                  <a:pt x="3664" y="3670"/>
                </a:lnTo>
                <a:lnTo>
                  <a:pt x="3658" y="3666"/>
                </a:lnTo>
                <a:lnTo>
                  <a:pt x="3654" y="3660"/>
                </a:lnTo>
                <a:lnTo>
                  <a:pt x="3648" y="3656"/>
                </a:lnTo>
                <a:lnTo>
                  <a:pt x="3640" y="3654"/>
                </a:lnTo>
                <a:lnTo>
                  <a:pt x="3634" y="3654"/>
                </a:lnTo>
                <a:lnTo>
                  <a:pt x="3644" y="3658"/>
                </a:lnTo>
                <a:lnTo>
                  <a:pt x="3648" y="3660"/>
                </a:lnTo>
                <a:lnTo>
                  <a:pt x="3650" y="3662"/>
                </a:lnTo>
                <a:lnTo>
                  <a:pt x="3654" y="3666"/>
                </a:lnTo>
                <a:lnTo>
                  <a:pt x="3658" y="3672"/>
                </a:lnTo>
                <a:lnTo>
                  <a:pt x="3662" y="3676"/>
                </a:lnTo>
                <a:lnTo>
                  <a:pt x="3662" y="3678"/>
                </a:lnTo>
                <a:lnTo>
                  <a:pt x="3660" y="3682"/>
                </a:lnTo>
                <a:lnTo>
                  <a:pt x="3658" y="3690"/>
                </a:lnTo>
                <a:lnTo>
                  <a:pt x="3658" y="3694"/>
                </a:lnTo>
                <a:lnTo>
                  <a:pt x="3656" y="3696"/>
                </a:lnTo>
                <a:lnTo>
                  <a:pt x="3654" y="3698"/>
                </a:lnTo>
                <a:lnTo>
                  <a:pt x="3652" y="3700"/>
                </a:lnTo>
                <a:lnTo>
                  <a:pt x="3658" y="3706"/>
                </a:lnTo>
                <a:lnTo>
                  <a:pt x="3660" y="3708"/>
                </a:lnTo>
                <a:lnTo>
                  <a:pt x="3660" y="3706"/>
                </a:lnTo>
                <a:lnTo>
                  <a:pt x="3662" y="3700"/>
                </a:lnTo>
                <a:lnTo>
                  <a:pt x="3664" y="3694"/>
                </a:lnTo>
                <a:lnTo>
                  <a:pt x="3666" y="3688"/>
                </a:lnTo>
                <a:close/>
                <a:moveTo>
                  <a:pt x="3840" y="3888"/>
                </a:moveTo>
                <a:lnTo>
                  <a:pt x="3840" y="3888"/>
                </a:lnTo>
                <a:lnTo>
                  <a:pt x="3838" y="3886"/>
                </a:lnTo>
                <a:lnTo>
                  <a:pt x="3834" y="3884"/>
                </a:lnTo>
                <a:lnTo>
                  <a:pt x="3828" y="3882"/>
                </a:lnTo>
                <a:lnTo>
                  <a:pt x="3824" y="3884"/>
                </a:lnTo>
                <a:lnTo>
                  <a:pt x="3824" y="3886"/>
                </a:lnTo>
                <a:lnTo>
                  <a:pt x="3826" y="3888"/>
                </a:lnTo>
                <a:lnTo>
                  <a:pt x="3830" y="3888"/>
                </a:lnTo>
                <a:lnTo>
                  <a:pt x="3834" y="3890"/>
                </a:lnTo>
                <a:lnTo>
                  <a:pt x="3838" y="3890"/>
                </a:lnTo>
                <a:lnTo>
                  <a:pt x="3840" y="3890"/>
                </a:lnTo>
                <a:lnTo>
                  <a:pt x="3840" y="3888"/>
                </a:lnTo>
                <a:close/>
                <a:moveTo>
                  <a:pt x="3700" y="3740"/>
                </a:moveTo>
                <a:lnTo>
                  <a:pt x="3700" y="3740"/>
                </a:lnTo>
                <a:lnTo>
                  <a:pt x="3686" y="3726"/>
                </a:lnTo>
                <a:lnTo>
                  <a:pt x="3680" y="3724"/>
                </a:lnTo>
                <a:lnTo>
                  <a:pt x="3678" y="3726"/>
                </a:lnTo>
                <a:lnTo>
                  <a:pt x="3682" y="3730"/>
                </a:lnTo>
                <a:lnTo>
                  <a:pt x="3686" y="3734"/>
                </a:lnTo>
                <a:lnTo>
                  <a:pt x="3694" y="3740"/>
                </a:lnTo>
                <a:lnTo>
                  <a:pt x="3700" y="3746"/>
                </a:lnTo>
                <a:lnTo>
                  <a:pt x="3702" y="3750"/>
                </a:lnTo>
                <a:lnTo>
                  <a:pt x="3702" y="3752"/>
                </a:lnTo>
                <a:lnTo>
                  <a:pt x="3698" y="3756"/>
                </a:lnTo>
                <a:lnTo>
                  <a:pt x="3694" y="3760"/>
                </a:lnTo>
                <a:lnTo>
                  <a:pt x="3694" y="3762"/>
                </a:lnTo>
                <a:lnTo>
                  <a:pt x="3696" y="3764"/>
                </a:lnTo>
                <a:lnTo>
                  <a:pt x="3702" y="3774"/>
                </a:lnTo>
                <a:lnTo>
                  <a:pt x="3702" y="3776"/>
                </a:lnTo>
                <a:lnTo>
                  <a:pt x="3704" y="3776"/>
                </a:lnTo>
                <a:lnTo>
                  <a:pt x="3702" y="3766"/>
                </a:lnTo>
                <a:lnTo>
                  <a:pt x="3704" y="3758"/>
                </a:lnTo>
                <a:lnTo>
                  <a:pt x="3706" y="3752"/>
                </a:lnTo>
                <a:lnTo>
                  <a:pt x="3704" y="3746"/>
                </a:lnTo>
                <a:lnTo>
                  <a:pt x="3700" y="3740"/>
                </a:lnTo>
                <a:close/>
                <a:moveTo>
                  <a:pt x="3780" y="3864"/>
                </a:moveTo>
                <a:lnTo>
                  <a:pt x="3780" y="3864"/>
                </a:lnTo>
                <a:lnTo>
                  <a:pt x="3776" y="3862"/>
                </a:lnTo>
                <a:lnTo>
                  <a:pt x="3774" y="3864"/>
                </a:lnTo>
                <a:lnTo>
                  <a:pt x="3776" y="3868"/>
                </a:lnTo>
                <a:lnTo>
                  <a:pt x="3780" y="3872"/>
                </a:lnTo>
                <a:lnTo>
                  <a:pt x="3782" y="3872"/>
                </a:lnTo>
                <a:lnTo>
                  <a:pt x="3786" y="3872"/>
                </a:lnTo>
                <a:lnTo>
                  <a:pt x="3788" y="3874"/>
                </a:lnTo>
                <a:lnTo>
                  <a:pt x="3790" y="3876"/>
                </a:lnTo>
                <a:lnTo>
                  <a:pt x="3790" y="3880"/>
                </a:lnTo>
                <a:lnTo>
                  <a:pt x="3786" y="3886"/>
                </a:lnTo>
                <a:lnTo>
                  <a:pt x="3782" y="3890"/>
                </a:lnTo>
                <a:lnTo>
                  <a:pt x="3780" y="3894"/>
                </a:lnTo>
                <a:lnTo>
                  <a:pt x="3780" y="3896"/>
                </a:lnTo>
                <a:lnTo>
                  <a:pt x="3786" y="3892"/>
                </a:lnTo>
                <a:lnTo>
                  <a:pt x="3792" y="3886"/>
                </a:lnTo>
                <a:lnTo>
                  <a:pt x="3796" y="3882"/>
                </a:lnTo>
                <a:lnTo>
                  <a:pt x="3796" y="3876"/>
                </a:lnTo>
                <a:lnTo>
                  <a:pt x="3796" y="3870"/>
                </a:lnTo>
                <a:lnTo>
                  <a:pt x="3794" y="3866"/>
                </a:lnTo>
                <a:lnTo>
                  <a:pt x="3792" y="3866"/>
                </a:lnTo>
                <a:lnTo>
                  <a:pt x="3788" y="3866"/>
                </a:lnTo>
                <a:lnTo>
                  <a:pt x="3780" y="3864"/>
                </a:lnTo>
                <a:close/>
                <a:moveTo>
                  <a:pt x="3708" y="3820"/>
                </a:moveTo>
                <a:lnTo>
                  <a:pt x="3708" y="3820"/>
                </a:lnTo>
                <a:lnTo>
                  <a:pt x="3708" y="3824"/>
                </a:lnTo>
                <a:lnTo>
                  <a:pt x="3714" y="3828"/>
                </a:lnTo>
                <a:lnTo>
                  <a:pt x="3718" y="3832"/>
                </a:lnTo>
                <a:lnTo>
                  <a:pt x="3720" y="3832"/>
                </a:lnTo>
                <a:lnTo>
                  <a:pt x="3720" y="3830"/>
                </a:lnTo>
                <a:lnTo>
                  <a:pt x="3718" y="3828"/>
                </a:lnTo>
                <a:lnTo>
                  <a:pt x="3712" y="3820"/>
                </a:lnTo>
                <a:lnTo>
                  <a:pt x="3710" y="3818"/>
                </a:lnTo>
                <a:lnTo>
                  <a:pt x="3708" y="3820"/>
                </a:lnTo>
                <a:close/>
                <a:moveTo>
                  <a:pt x="3724" y="3770"/>
                </a:moveTo>
                <a:lnTo>
                  <a:pt x="3724" y="3770"/>
                </a:lnTo>
                <a:lnTo>
                  <a:pt x="3720" y="3768"/>
                </a:lnTo>
                <a:lnTo>
                  <a:pt x="3720" y="3770"/>
                </a:lnTo>
                <a:lnTo>
                  <a:pt x="3722" y="3772"/>
                </a:lnTo>
                <a:lnTo>
                  <a:pt x="3724" y="3778"/>
                </a:lnTo>
                <a:lnTo>
                  <a:pt x="3730" y="3788"/>
                </a:lnTo>
                <a:lnTo>
                  <a:pt x="3732" y="3794"/>
                </a:lnTo>
                <a:lnTo>
                  <a:pt x="3730" y="3798"/>
                </a:lnTo>
                <a:lnTo>
                  <a:pt x="3730" y="3800"/>
                </a:lnTo>
                <a:lnTo>
                  <a:pt x="3734" y="3798"/>
                </a:lnTo>
                <a:lnTo>
                  <a:pt x="3736" y="3796"/>
                </a:lnTo>
                <a:lnTo>
                  <a:pt x="3736" y="3794"/>
                </a:lnTo>
                <a:lnTo>
                  <a:pt x="3732" y="3788"/>
                </a:lnTo>
                <a:lnTo>
                  <a:pt x="3730" y="3780"/>
                </a:lnTo>
                <a:lnTo>
                  <a:pt x="3724" y="3770"/>
                </a:lnTo>
                <a:close/>
                <a:moveTo>
                  <a:pt x="3748" y="3850"/>
                </a:moveTo>
                <a:lnTo>
                  <a:pt x="3748" y="3850"/>
                </a:lnTo>
                <a:lnTo>
                  <a:pt x="3754" y="3858"/>
                </a:lnTo>
                <a:lnTo>
                  <a:pt x="3756" y="3862"/>
                </a:lnTo>
                <a:lnTo>
                  <a:pt x="3756" y="3856"/>
                </a:lnTo>
                <a:lnTo>
                  <a:pt x="3750" y="3848"/>
                </a:lnTo>
                <a:lnTo>
                  <a:pt x="3748" y="3844"/>
                </a:lnTo>
                <a:lnTo>
                  <a:pt x="3748" y="3842"/>
                </a:lnTo>
                <a:lnTo>
                  <a:pt x="3744" y="3832"/>
                </a:lnTo>
                <a:lnTo>
                  <a:pt x="3740" y="3826"/>
                </a:lnTo>
                <a:lnTo>
                  <a:pt x="3736" y="3820"/>
                </a:lnTo>
                <a:lnTo>
                  <a:pt x="3734" y="3820"/>
                </a:lnTo>
                <a:lnTo>
                  <a:pt x="3736" y="3824"/>
                </a:lnTo>
                <a:lnTo>
                  <a:pt x="3742" y="3838"/>
                </a:lnTo>
                <a:lnTo>
                  <a:pt x="3744" y="3844"/>
                </a:lnTo>
                <a:lnTo>
                  <a:pt x="3742" y="3844"/>
                </a:lnTo>
                <a:lnTo>
                  <a:pt x="3742" y="3846"/>
                </a:lnTo>
                <a:lnTo>
                  <a:pt x="3748" y="3850"/>
                </a:lnTo>
                <a:close/>
                <a:moveTo>
                  <a:pt x="3494" y="4042"/>
                </a:moveTo>
                <a:lnTo>
                  <a:pt x="3494" y="4042"/>
                </a:lnTo>
                <a:lnTo>
                  <a:pt x="3502" y="4042"/>
                </a:lnTo>
                <a:lnTo>
                  <a:pt x="3506" y="4040"/>
                </a:lnTo>
                <a:lnTo>
                  <a:pt x="3506" y="4038"/>
                </a:lnTo>
                <a:lnTo>
                  <a:pt x="3504" y="4036"/>
                </a:lnTo>
                <a:lnTo>
                  <a:pt x="3500" y="4036"/>
                </a:lnTo>
                <a:lnTo>
                  <a:pt x="3496" y="4038"/>
                </a:lnTo>
                <a:lnTo>
                  <a:pt x="3494" y="4040"/>
                </a:lnTo>
                <a:lnTo>
                  <a:pt x="3494" y="4042"/>
                </a:lnTo>
                <a:close/>
                <a:moveTo>
                  <a:pt x="3432" y="3908"/>
                </a:moveTo>
                <a:lnTo>
                  <a:pt x="3432" y="3908"/>
                </a:lnTo>
                <a:lnTo>
                  <a:pt x="3428" y="3908"/>
                </a:lnTo>
                <a:lnTo>
                  <a:pt x="3426" y="3912"/>
                </a:lnTo>
                <a:lnTo>
                  <a:pt x="3426" y="3916"/>
                </a:lnTo>
                <a:lnTo>
                  <a:pt x="3426" y="3920"/>
                </a:lnTo>
                <a:lnTo>
                  <a:pt x="3428" y="3926"/>
                </a:lnTo>
                <a:lnTo>
                  <a:pt x="3432" y="3928"/>
                </a:lnTo>
                <a:lnTo>
                  <a:pt x="3438" y="3930"/>
                </a:lnTo>
                <a:lnTo>
                  <a:pt x="3444" y="3930"/>
                </a:lnTo>
                <a:lnTo>
                  <a:pt x="3448" y="3928"/>
                </a:lnTo>
                <a:lnTo>
                  <a:pt x="3448" y="3926"/>
                </a:lnTo>
                <a:lnTo>
                  <a:pt x="3446" y="3918"/>
                </a:lnTo>
                <a:lnTo>
                  <a:pt x="3440" y="3910"/>
                </a:lnTo>
                <a:lnTo>
                  <a:pt x="3436" y="3908"/>
                </a:lnTo>
                <a:lnTo>
                  <a:pt x="3432" y="3908"/>
                </a:lnTo>
                <a:close/>
                <a:moveTo>
                  <a:pt x="4328" y="4390"/>
                </a:moveTo>
                <a:lnTo>
                  <a:pt x="4328" y="4390"/>
                </a:lnTo>
                <a:lnTo>
                  <a:pt x="4326" y="4392"/>
                </a:lnTo>
                <a:lnTo>
                  <a:pt x="4324" y="4394"/>
                </a:lnTo>
                <a:lnTo>
                  <a:pt x="4324" y="4402"/>
                </a:lnTo>
                <a:lnTo>
                  <a:pt x="4326" y="4406"/>
                </a:lnTo>
                <a:lnTo>
                  <a:pt x="4328" y="4408"/>
                </a:lnTo>
                <a:lnTo>
                  <a:pt x="4332" y="4410"/>
                </a:lnTo>
                <a:lnTo>
                  <a:pt x="4338" y="4410"/>
                </a:lnTo>
                <a:lnTo>
                  <a:pt x="4340" y="4408"/>
                </a:lnTo>
                <a:lnTo>
                  <a:pt x="4340" y="4406"/>
                </a:lnTo>
                <a:lnTo>
                  <a:pt x="4338" y="4400"/>
                </a:lnTo>
                <a:lnTo>
                  <a:pt x="4334" y="4392"/>
                </a:lnTo>
                <a:lnTo>
                  <a:pt x="4330" y="4390"/>
                </a:lnTo>
                <a:lnTo>
                  <a:pt x="4328" y="4390"/>
                </a:lnTo>
                <a:close/>
                <a:moveTo>
                  <a:pt x="3606" y="3880"/>
                </a:moveTo>
                <a:lnTo>
                  <a:pt x="3606" y="3880"/>
                </a:lnTo>
                <a:lnTo>
                  <a:pt x="3610" y="3882"/>
                </a:lnTo>
                <a:lnTo>
                  <a:pt x="3614" y="3882"/>
                </a:lnTo>
                <a:lnTo>
                  <a:pt x="3616" y="3880"/>
                </a:lnTo>
                <a:lnTo>
                  <a:pt x="3614" y="3878"/>
                </a:lnTo>
                <a:lnTo>
                  <a:pt x="3604" y="3876"/>
                </a:lnTo>
                <a:lnTo>
                  <a:pt x="3602" y="3878"/>
                </a:lnTo>
                <a:lnTo>
                  <a:pt x="3606" y="3880"/>
                </a:lnTo>
                <a:close/>
                <a:moveTo>
                  <a:pt x="3620" y="3884"/>
                </a:moveTo>
                <a:lnTo>
                  <a:pt x="3620" y="3884"/>
                </a:lnTo>
                <a:lnTo>
                  <a:pt x="3618" y="3886"/>
                </a:lnTo>
                <a:lnTo>
                  <a:pt x="3620" y="3888"/>
                </a:lnTo>
                <a:lnTo>
                  <a:pt x="3630" y="3892"/>
                </a:lnTo>
                <a:lnTo>
                  <a:pt x="3632" y="3892"/>
                </a:lnTo>
                <a:lnTo>
                  <a:pt x="3628" y="3888"/>
                </a:lnTo>
                <a:lnTo>
                  <a:pt x="3624" y="3884"/>
                </a:lnTo>
                <a:lnTo>
                  <a:pt x="3620" y="3884"/>
                </a:lnTo>
                <a:close/>
                <a:moveTo>
                  <a:pt x="3838" y="4066"/>
                </a:moveTo>
                <a:lnTo>
                  <a:pt x="3838" y="4066"/>
                </a:lnTo>
                <a:lnTo>
                  <a:pt x="3838" y="4064"/>
                </a:lnTo>
                <a:lnTo>
                  <a:pt x="3836" y="4062"/>
                </a:lnTo>
                <a:lnTo>
                  <a:pt x="3828" y="4058"/>
                </a:lnTo>
                <a:lnTo>
                  <a:pt x="3822" y="4056"/>
                </a:lnTo>
                <a:lnTo>
                  <a:pt x="3818" y="4058"/>
                </a:lnTo>
                <a:lnTo>
                  <a:pt x="3818" y="4060"/>
                </a:lnTo>
                <a:lnTo>
                  <a:pt x="3820" y="4064"/>
                </a:lnTo>
                <a:lnTo>
                  <a:pt x="3826" y="4066"/>
                </a:lnTo>
                <a:lnTo>
                  <a:pt x="3834" y="4068"/>
                </a:lnTo>
                <a:lnTo>
                  <a:pt x="3836" y="4068"/>
                </a:lnTo>
                <a:lnTo>
                  <a:pt x="3838" y="4066"/>
                </a:lnTo>
                <a:close/>
                <a:moveTo>
                  <a:pt x="3986" y="4384"/>
                </a:moveTo>
                <a:lnTo>
                  <a:pt x="3986" y="4384"/>
                </a:lnTo>
                <a:lnTo>
                  <a:pt x="3982" y="4384"/>
                </a:lnTo>
                <a:lnTo>
                  <a:pt x="3984" y="4386"/>
                </a:lnTo>
                <a:lnTo>
                  <a:pt x="3986" y="4392"/>
                </a:lnTo>
                <a:lnTo>
                  <a:pt x="3992" y="4396"/>
                </a:lnTo>
                <a:lnTo>
                  <a:pt x="4000" y="4402"/>
                </a:lnTo>
                <a:lnTo>
                  <a:pt x="4000" y="4400"/>
                </a:lnTo>
                <a:lnTo>
                  <a:pt x="3998" y="4396"/>
                </a:lnTo>
                <a:lnTo>
                  <a:pt x="3994" y="4392"/>
                </a:lnTo>
                <a:lnTo>
                  <a:pt x="3992" y="4390"/>
                </a:lnTo>
                <a:lnTo>
                  <a:pt x="3990" y="4388"/>
                </a:lnTo>
                <a:lnTo>
                  <a:pt x="3988" y="4386"/>
                </a:lnTo>
                <a:lnTo>
                  <a:pt x="3986" y="4384"/>
                </a:lnTo>
                <a:close/>
                <a:moveTo>
                  <a:pt x="4018" y="4394"/>
                </a:moveTo>
                <a:lnTo>
                  <a:pt x="4018" y="4394"/>
                </a:lnTo>
                <a:lnTo>
                  <a:pt x="4018" y="4396"/>
                </a:lnTo>
                <a:lnTo>
                  <a:pt x="4020" y="4402"/>
                </a:lnTo>
                <a:lnTo>
                  <a:pt x="4020" y="4404"/>
                </a:lnTo>
                <a:lnTo>
                  <a:pt x="4022" y="4402"/>
                </a:lnTo>
                <a:lnTo>
                  <a:pt x="4024" y="4398"/>
                </a:lnTo>
                <a:lnTo>
                  <a:pt x="4024" y="4392"/>
                </a:lnTo>
                <a:lnTo>
                  <a:pt x="4022" y="4390"/>
                </a:lnTo>
                <a:lnTo>
                  <a:pt x="4020" y="4388"/>
                </a:lnTo>
                <a:lnTo>
                  <a:pt x="4016" y="4388"/>
                </a:lnTo>
                <a:lnTo>
                  <a:pt x="4014" y="4388"/>
                </a:lnTo>
                <a:lnTo>
                  <a:pt x="4014" y="4392"/>
                </a:lnTo>
                <a:lnTo>
                  <a:pt x="4018" y="4394"/>
                </a:lnTo>
                <a:close/>
                <a:moveTo>
                  <a:pt x="4194" y="4446"/>
                </a:moveTo>
                <a:lnTo>
                  <a:pt x="4194" y="4446"/>
                </a:lnTo>
                <a:lnTo>
                  <a:pt x="4192" y="4448"/>
                </a:lnTo>
                <a:lnTo>
                  <a:pt x="4190" y="4448"/>
                </a:lnTo>
                <a:lnTo>
                  <a:pt x="4186" y="4446"/>
                </a:lnTo>
                <a:lnTo>
                  <a:pt x="4182" y="4446"/>
                </a:lnTo>
                <a:lnTo>
                  <a:pt x="4180" y="4446"/>
                </a:lnTo>
                <a:lnTo>
                  <a:pt x="4178" y="4450"/>
                </a:lnTo>
                <a:lnTo>
                  <a:pt x="4178" y="4452"/>
                </a:lnTo>
                <a:lnTo>
                  <a:pt x="4180" y="4454"/>
                </a:lnTo>
                <a:lnTo>
                  <a:pt x="4186" y="4454"/>
                </a:lnTo>
                <a:lnTo>
                  <a:pt x="4194" y="4456"/>
                </a:lnTo>
                <a:lnTo>
                  <a:pt x="4198" y="4456"/>
                </a:lnTo>
                <a:lnTo>
                  <a:pt x="4202" y="4454"/>
                </a:lnTo>
                <a:lnTo>
                  <a:pt x="4204" y="4448"/>
                </a:lnTo>
                <a:lnTo>
                  <a:pt x="4202" y="4444"/>
                </a:lnTo>
                <a:lnTo>
                  <a:pt x="4198" y="4444"/>
                </a:lnTo>
                <a:lnTo>
                  <a:pt x="4194" y="4446"/>
                </a:lnTo>
                <a:close/>
                <a:moveTo>
                  <a:pt x="4316" y="4544"/>
                </a:moveTo>
                <a:lnTo>
                  <a:pt x="4316" y="4544"/>
                </a:lnTo>
                <a:lnTo>
                  <a:pt x="4316" y="4546"/>
                </a:lnTo>
                <a:lnTo>
                  <a:pt x="4318" y="4546"/>
                </a:lnTo>
                <a:lnTo>
                  <a:pt x="4320" y="4542"/>
                </a:lnTo>
                <a:lnTo>
                  <a:pt x="4320" y="4540"/>
                </a:lnTo>
                <a:lnTo>
                  <a:pt x="4318" y="4540"/>
                </a:lnTo>
                <a:lnTo>
                  <a:pt x="4316" y="4544"/>
                </a:lnTo>
                <a:close/>
                <a:moveTo>
                  <a:pt x="4310" y="4554"/>
                </a:moveTo>
                <a:lnTo>
                  <a:pt x="4310" y="4554"/>
                </a:lnTo>
                <a:lnTo>
                  <a:pt x="4312" y="4556"/>
                </a:lnTo>
                <a:lnTo>
                  <a:pt x="4316" y="4552"/>
                </a:lnTo>
                <a:lnTo>
                  <a:pt x="4318" y="4548"/>
                </a:lnTo>
                <a:lnTo>
                  <a:pt x="4318" y="4546"/>
                </a:lnTo>
                <a:lnTo>
                  <a:pt x="4316" y="4548"/>
                </a:lnTo>
                <a:lnTo>
                  <a:pt x="4314" y="4550"/>
                </a:lnTo>
                <a:lnTo>
                  <a:pt x="4310" y="4554"/>
                </a:lnTo>
                <a:close/>
                <a:moveTo>
                  <a:pt x="4316" y="4558"/>
                </a:moveTo>
                <a:lnTo>
                  <a:pt x="4316" y="4558"/>
                </a:lnTo>
                <a:lnTo>
                  <a:pt x="4312" y="4558"/>
                </a:lnTo>
                <a:lnTo>
                  <a:pt x="4310" y="4562"/>
                </a:lnTo>
                <a:lnTo>
                  <a:pt x="4308" y="4564"/>
                </a:lnTo>
                <a:lnTo>
                  <a:pt x="4308" y="4566"/>
                </a:lnTo>
                <a:lnTo>
                  <a:pt x="4314" y="4568"/>
                </a:lnTo>
                <a:lnTo>
                  <a:pt x="4316" y="4566"/>
                </a:lnTo>
                <a:lnTo>
                  <a:pt x="4318" y="4562"/>
                </a:lnTo>
                <a:lnTo>
                  <a:pt x="4318" y="4560"/>
                </a:lnTo>
                <a:lnTo>
                  <a:pt x="4316" y="4558"/>
                </a:lnTo>
                <a:close/>
                <a:moveTo>
                  <a:pt x="4306" y="4570"/>
                </a:moveTo>
                <a:lnTo>
                  <a:pt x="4306" y="4570"/>
                </a:lnTo>
                <a:lnTo>
                  <a:pt x="4304" y="4572"/>
                </a:lnTo>
                <a:lnTo>
                  <a:pt x="4306" y="4572"/>
                </a:lnTo>
                <a:lnTo>
                  <a:pt x="4310" y="4574"/>
                </a:lnTo>
                <a:lnTo>
                  <a:pt x="4312" y="4572"/>
                </a:lnTo>
                <a:lnTo>
                  <a:pt x="4314" y="4570"/>
                </a:lnTo>
                <a:lnTo>
                  <a:pt x="4312" y="4570"/>
                </a:lnTo>
                <a:lnTo>
                  <a:pt x="4306" y="4570"/>
                </a:lnTo>
                <a:close/>
                <a:moveTo>
                  <a:pt x="4322" y="4564"/>
                </a:moveTo>
                <a:lnTo>
                  <a:pt x="4322" y="4564"/>
                </a:lnTo>
                <a:lnTo>
                  <a:pt x="4320" y="4564"/>
                </a:lnTo>
                <a:lnTo>
                  <a:pt x="4318" y="4566"/>
                </a:lnTo>
                <a:lnTo>
                  <a:pt x="4318" y="4568"/>
                </a:lnTo>
                <a:lnTo>
                  <a:pt x="4322" y="4566"/>
                </a:lnTo>
                <a:lnTo>
                  <a:pt x="4322" y="4564"/>
                </a:lnTo>
                <a:close/>
                <a:moveTo>
                  <a:pt x="4320" y="4550"/>
                </a:moveTo>
                <a:lnTo>
                  <a:pt x="4320" y="4550"/>
                </a:lnTo>
                <a:lnTo>
                  <a:pt x="4316" y="4550"/>
                </a:lnTo>
                <a:lnTo>
                  <a:pt x="4316" y="4552"/>
                </a:lnTo>
                <a:lnTo>
                  <a:pt x="4316" y="4556"/>
                </a:lnTo>
                <a:lnTo>
                  <a:pt x="4320" y="4554"/>
                </a:lnTo>
                <a:lnTo>
                  <a:pt x="4320" y="4552"/>
                </a:lnTo>
                <a:lnTo>
                  <a:pt x="4320" y="4550"/>
                </a:lnTo>
                <a:close/>
                <a:moveTo>
                  <a:pt x="4334" y="4434"/>
                </a:moveTo>
                <a:lnTo>
                  <a:pt x="4334" y="4434"/>
                </a:lnTo>
                <a:lnTo>
                  <a:pt x="4334" y="4432"/>
                </a:lnTo>
                <a:lnTo>
                  <a:pt x="4330" y="4432"/>
                </a:lnTo>
                <a:lnTo>
                  <a:pt x="4324" y="4436"/>
                </a:lnTo>
                <a:lnTo>
                  <a:pt x="4322" y="4442"/>
                </a:lnTo>
                <a:lnTo>
                  <a:pt x="4326" y="4442"/>
                </a:lnTo>
                <a:lnTo>
                  <a:pt x="4332" y="4438"/>
                </a:lnTo>
                <a:lnTo>
                  <a:pt x="4334" y="4434"/>
                </a:lnTo>
                <a:close/>
                <a:moveTo>
                  <a:pt x="4296" y="4460"/>
                </a:moveTo>
                <a:lnTo>
                  <a:pt x="4296" y="4460"/>
                </a:lnTo>
                <a:lnTo>
                  <a:pt x="4288" y="4462"/>
                </a:lnTo>
                <a:lnTo>
                  <a:pt x="4288" y="4464"/>
                </a:lnTo>
                <a:lnTo>
                  <a:pt x="4290" y="4466"/>
                </a:lnTo>
                <a:lnTo>
                  <a:pt x="4294" y="4470"/>
                </a:lnTo>
                <a:lnTo>
                  <a:pt x="4296" y="4472"/>
                </a:lnTo>
                <a:lnTo>
                  <a:pt x="4296" y="4476"/>
                </a:lnTo>
                <a:lnTo>
                  <a:pt x="4296" y="4482"/>
                </a:lnTo>
                <a:lnTo>
                  <a:pt x="4294" y="4486"/>
                </a:lnTo>
                <a:lnTo>
                  <a:pt x="4282" y="4492"/>
                </a:lnTo>
                <a:lnTo>
                  <a:pt x="4278" y="4496"/>
                </a:lnTo>
                <a:lnTo>
                  <a:pt x="4280" y="4498"/>
                </a:lnTo>
                <a:lnTo>
                  <a:pt x="4300" y="4496"/>
                </a:lnTo>
                <a:lnTo>
                  <a:pt x="4308" y="4496"/>
                </a:lnTo>
                <a:lnTo>
                  <a:pt x="4314" y="4492"/>
                </a:lnTo>
                <a:lnTo>
                  <a:pt x="4316" y="4488"/>
                </a:lnTo>
                <a:lnTo>
                  <a:pt x="4316" y="4482"/>
                </a:lnTo>
                <a:lnTo>
                  <a:pt x="4314" y="4472"/>
                </a:lnTo>
                <a:lnTo>
                  <a:pt x="4314" y="4468"/>
                </a:lnTo>
                <a:lnTo>
                  <a:pt x="4316" y="4464"/>
                </a:lnTo>
                <a:lnTo>
                  <a:pt x="4320" y="4460"/>
                </a:lnTo>
                <a:lnTo>
                  <a:pt x="4316" y="4458"/>
                </a:lnTo>
                <a:lnTo>
                  <a:pt x="4296" y="4460"/>
                </a:lnTo>
                <a:close/>
                <a:moveTo>
                  <a:pt x="4290" y="4390"/>
                </a:moveTo>
                <a:lnTo>
                  <a:pt x="4290" y="4390"/>
                </a:lnTo>
                <a:lnTo>
                  <a:pt x="4286" y="4392"/>
                </a:lnTo>
                <a:lnTo>
                  <a:pt x="4284" y="4396"/>
                </a:lnTo>
                <a:lnTo>
                  <a:pt x="4284" y="4400"/>
                </a:lnTo>
                <a:lnTo>
                  <a:pt x="4288" y="4400"/>
                </a:lnTo>
                <a:lnTo>
                  <a:pt x="4290" y="4398"/>
                </a:lnTo>
                <a:lnTo>
                  <a:pt x="4292" y="4394"/>
                </a:lnTo>
                <a:lnTo>
                  <a:pt x="4292" y="4390"/>
                </a:lnTo>
                <a:lnTo>
                  <a:pt x="4290" y="4390"/>
                </a:lnTo>
                <a:close/>
                <a:moveTo>
                  <a:pt x="4308" y="4332"/>
                </a:moveTo>
                <a:lnTo>
                  <a:pt x="4308" y="4332"/>
                </a:lnTo>
                <a:lnTo>
                  <a:pt x="4306" y="4332"/>
                </a:lnTo>
                <a:lnTo>
                  <a:pt x="4304" y="4336"/>
                </a:lnTo>
                <a:lnTo>
                  <a:pt x="4304" y="4340"/>
                </a:lnTo>
                <a:lnTo>
                  <a:pt x="4306" y="4344"/>
                </a:lnTo>
                <a:lnTo>
                  <a:pt x="4308" y="4344"/>
                </a:lnTo>
                <a:lnTo>
                  <a:pt x="4310" y="4340"/>
                </a:lnTo>
                <a:lnTo>
                  <a:pt x="4310" y="4336"/>
                </a:lnTo>
                <a:lnTo>
                  <a:pt x="4308" y="4332"/>
                </a:lnTo>
                <a:close/>
                <a:moveTo>
                  <a:pt x="4316" y="4300"/>
                </a:moveTo>
                <a:lnTo>
                  <a:pt x="4316" y="4300"/>
                </a:lnTo>
                <a:lnTo>
                  <a:pt x="4314" y="4302"/>
                </a:lnTo>
                <a:lnTo>
                  <a:pt x="4312" y="4306"/>
                </a:lnTo>
                <a:lnTo>
                  <a:pt x="4312" y="4312"/>
                </a:lnTo>
                <a:lnTo>
                  <a:pt x="4314" y="4316"/>
                </a:lnTo>
                <a:lnTo>
                  <a:pt x="4318" y="4316"/>
                </a:lnTo>
                <a:lnTo>
                  <a:pt x="4320" y="4314"/>
                </a:lnTo>
                <a:lnTo>
                  <a:pt x="4322" y="4308"/>
                </a:lnTo>
                <a:lnTo>
                  <a:pt x="4322" y="4304"/>
                </a:lnTo>
                <a:lnTo>
                  <a:pt x="4320" y="4300"/>
                </a:lnTo>
                <a:lnTo>
                  <a:pt x="4320" y="4298"/>
                </a:lnTo>
                <a:lnTo>
                  <a:pt x="4316" y="4300"/>
                </a:lnTo>
                <a:close/>
                <a:moveTo>
                  <a:pt x="4296" y="4230"/>
                </a:moveTo>
                <a:lnTo>
                  <a:pt x="4296" y="4230"/>
                </a:lnTo>
                <a:lnTo>
                  <a:pt x="4298" y="4236"/>
                </a:lnTo>
                <a:lnTo>
                  <a:pt x="4300" y="4240"/>
                </a:lnTo>
                <a:lnTo>
                  <a:pt x="4300" y="4242"/>
                </a:lnTo>
                <a:lnTo>
                  <a:pt x="4304" y="4242"/>
                </a:lnTo>
                <a:lnTo>
                  <a:pt x="4304" y="4238"/>
                </a:lnTo>
                <a:lnTo>
                  <a:pt x="4304" y="4232"/>
                </a:lnTo>
                <a:lnTo>
                  <a:pt x="4304" y="4226"/>
                </a:lnTo>
                <a:lnTo>
                  <a:pt x="4300" y="4222"/>
                </a:lnTo>
                <a:lnTo>
                  <a:pt x="4296" y="4222"/>
                </a:lnTo>
                <a:lnTo>
                  <a:pt x="4296" y="4224"/>
                </a:lnTo>
                <a:lnTo>
                  <a:pt x="4296" y="4228"/>
                </a:lnTo>
                <a:lnTo>
                  <a:pt x="4296" y="4230"/>
                </a:lnTo>
                <a:close/>
                <a:moveTo>
                  <a:pt x="4370" y="4338"/>
                </a:moveTo>
                <a:lnTo>
                  <a:pt x="4370" y="4338"/>
                </a:lnTo>
                <a:lnTo>
                  <a:pt x="4370" y="4344"/>
                </a:lnTo>
                <a:lnTo>
                  <a:pt x="4372" y="4348"/>
                </a:lnTo>
                <a:lnTo>
                  <a:pt x="4374" y="4350"/>
                </a:lnTo>
                <a:lnTo>
                  <a:pt x="4378" y="4348"/>
                </a:lnTo>
                <a:lnTo>
                  <a:pt x="4378" y="4344"/>
                </a:lnTo>
                <a:lnTo>
                  <a:pt x="4378" y="4342"/>
                </a:lnTo>
                <a:lnTo>
                  <a:pt x="4374" y="4338"/>
                </a:lnTo>
                <a:lnTo>
                  <a:pt x="4372" y="4334"/>
                </a:lnTo>
                <a:lnTo>
                  <a:pt x="4370" y="4336"/>
                </a:lnTo>
                <a:lnTo>
                  <a:pt x="4370" y="4338"/>
                </a:lnTo>
                <a:close/>
                <a:moveTo>
                  <a:pt x="4316" y="4280"/>
                </a:moveTo>
                <a:lnTo>
                  <a:pt x="4316" y="4280"/>
                </a:lnTo>
                <a:lnTo>
                  <a:pt x="4320" y="4280"/>
                </a:lnTo>
                <a:lnTo>
                  <a:pt x="4320" y="4282"/>
                </a:lnTo>
                <a:lnTo>
                  <a:pt x="4320" y="4284"/>
                </a:lnTo>
                <a:lnTo>
                  <a:pt x="4322" y="4284"/>
                </a:lnTo>
                <a:lnTo>
                  <a:pt x="4324" y="4280"/>
                </a:lnTo>
                <a:lnTo>
                  <a:pt x="4324" y="4276"/>
                </a:lnTo>
                <a:lnTo>
                  <a:pt x="4322" y="4270"/>
                </a:lnTo>
                <a:lnTo>
                  <a:pt x="4316" y="4264"/>
                </a:lnTo>
                <a:lnTo>
                  <a:pt x="4312" y="4260"/>
                </a:lnTo>
                <a:lnTo>
                  <a:pt x="4308" y="4258"/>
                </a:lnTo>
                <a:lnTo>
                  <a:pt x="4306" y="4262"/>
                </a:lnTo>
                <a:lnTo>
                  <a:pt x="4308" y="4266"/>
                </a:lnTo>
                <a:lnTo>
                  <a:pt x="4310" y="4270"/>
                </a:lnTo>
                <a:lnTo>
                  <a:pt x="4310" y="4274"/>
                </a:lnTo>
                <a:lnTo>
                  <a:pt x="4312" y="4278"/>
                </a:lnTo>
                <a:lnTo>
                  <a:pt x="4316" y="4280"/>
                </a:lnTo>
                <a:close/>
                <a:moveTo>
                  <a:pt x="4284" y="4188"/>
                </a:moveTo>
                <a:lnTo>
                  <a:pt x="4284" y="4188"/>
                </a:lnTo>
                <a:lnTo>
                  <a:pt x="4284" y="4196"/>
                </a:lnTo>
                <a:lnTo>
                  <a:pt x="4284" y="4200"/>
                </a:lnTo>
                <a:lnTo>
                  <a:pt x="4288" y="4204"/>
                </a:lnTo>
                <a:lnTo>
                  <a:pt x="4292" y="4204"/>
                </a:lnTo>
                <a:lnTo>
                  <a:pt x="4292" y="4202"/>
                </a:lnTo>
                <a:lnTo>
                  <a:pt x="4292" y="4200"/>
                </a:lnTo>
                <a:lnTo>
                  <a:pt x="4292" y="4194"/>
                </a:lnTo>
                <a:lnTo>
                  <a:pt x="4290" y="4190"/>
                </a:lnTo>
                <a:lnTo>
                  <a:pt x="4288" y="4186"/>
                </a:lnTo>
                <a:lnTo>
                  <a:pt x="4286" y="4186"/>
                </a:lnTo>
                <a:lnTo>
                  <a:pt x="4284" y="4186"/>
                </a:lnTo>
                <a:lnTo>
                  <a:pt x="4284" y="4188"/>
                </a:lnTo>
                <a:close/>
                <a:moveTo>
                  <a:pt x="4294" y="4192"/>
                </a:moveTo>
                <a:lnTo>
                  <a:pt x="4294" y="4192"/>
                </a:lnTo>
                <a:lnTo>
                  <a:pt x="4296" y="4194"/>
                </a:lnTo>
                <a:lnTo>
                  <a:pt x="4300" y="4192"/>
                </a:lnTo>
                <a:lnTo>
                  <a:pt x="4304" y="4192"/>
                </a:lnTo>
                <a:lnTo>
                  <a:pt x="4306" y="4192"/>
                </a:lnTo>
                <a:lnTo>
                  <a:pt x="4308" y="4192"/>
                </a:lnTo>
                <a:lnTo>
                  <a:pt x="4308" y="4190"/>
                </a:lnTo>
                <a:lnTo>
                  <a:pt x="4306" y="4188"/>
                </a:lnTo>
                <a:lnTo>
                  <a:pt x="4304" y="4188"/>
                </a:lnTo>
                <a:lnTo>
                  <a:pt x="4302" y="4186"/>
                </a:lnTo>
                <a:lnTo>
                  <a:pt x="4300" y="4184"/>
                </a:lnTo>
                <a:lnTo>
                  <a:pt x="4298" y="4180"/>
                </a:lnTo>
                <a:lnTo>
                  <a:pt x="4296" y="4178"/>
                </a:lnTo>
                <a:lnTo>
                  <a:pt x="4294" y="4180"/>
                </a:lnTo>
                <a:lnTo>
                  <a:pt x="4294" y="4182"/>
                </a:lnTo>
                <a:lnTo>
                  <a:pt x="4294" y="4186"/>
                </a:lnTo>
                <a:lnTo>
                  <a:pt x="4294" y="4188"/>
                </a:lnTo>
                <a:lnTo>
                  <a:pt x="4292" y="4188"/>
                </a:lnTo>
                <a:lnTo>
                  <a:pt x="4294" y="4192"/>
                </a:lnTo>
                <a:close/>
                <a:moveTo>
                  <a:pt x="4306" y="4210"/>
                </a:moveTo>
                <a:lnTo>
                  <a:pt x="4306" y="4210"/>
                </a:lnTo>
                <a:lnTo>
                  <a:pt x="4306" y="4208"/>
                </a:lnTo>
                <a:lnTo>
                  <a:pt x="4306" y="4206"/>
                </a:lnTo>
                <a:lnTo>
                  <a:pt x="4306" y="4204"/>
                </a:lnTo>
                <a:lnTo>
                  <a:pt x="4304" y="4204"/>
                </a:lnTo>
                <a:lnTo>
                  <a:pt x="4302" y="4206"/>
                </a:lnTo>
                <a:lnTo>
                  <a:pt x="4302" y="4208"/>
                </a:lnTo>
                <a:lnTo>
                  <a:pt x="4304" y="4208"/>
                </a:lnTo>
                <a:lnTo>
                  <a:pt x="4306" y="4210"/>
                </a:lnTo>
                <a:close/>
                <a:moveTo>
                  <a:pt x="4108" y="4082"/>
                </a:moveTo>
                <a:lnTo>
                  <a:pt x="4108" y="4082"/>
                </a:lnTo>
                <a:lnTo>
                  <a:pt x="4088" y="4080"/>
                </a:lnTo>
                <a:lnTo>
                  <a:pt x="4074" y="4080"/>
                </a:lnTo>
                <a:lnTo>
                  <a:pt x="4070" y="4082"/>
                </a:lnTo>
                <a:lnTo>
                  <a:pt x="4066" y="4086"/>
                </a:lnTo>
                <a:lnTo>
                  <a:pt x="4066" y="4090"/>
                </a:lnTo>
                <a:lnTo>
                  <a:pt x="4066" y="4098"/>
                </a:lnTo>
                <a:lnTo>
                  <a:pt x="4066" y="4104"/>
                </a:lnTo>
                <a:lnTo>
                  <a:pt x="4068" y="4106"/>
                </a:lnTo>
                <a:lnTo>
                  <a:pt x="4072" y="4108"/>
                </a:lnTo>
                <a:lnTo>
                  <a:pt x="4082" y="4106"/>
                </a:lnTo>
                <a:lnTo>
                  <a:pt x="4094" y="4106"/>
                </a:lnTo>
                <a:lnTo>
                  <a:pt x="4098" y="4106"/>
                </a:lnTo>
                <a:lnTo>
                  <a:pt x="4104" y="4108"/>
                </a:lnTo>
                <a:lnTo>
                  <a:pt x="4114" y="4106"/>
                </a:lnTo>
                <a:lnTo>
                  <a:pt x="4124" y="4100"/>
                </a:lnTo>
                <a:lnTo>
                  <a:pt x="4128" y="4096"/>
                </a:lnTo>
                <a:lnTo>
                  <a:pt x="4130" y="4092"/>
                </a:lnTo>
                <a:lnTo>
                  <a:pt x="4128" y="4088"/>
                </a:lnTo>
                <a:lnTo>
                  <a:pt x="4124" y="4086"/>
                </a:lnTo>
                <a:lnTo>
                  <a:pt x="4118" y="4084"/>
                </a:lnTo>
                <a:lnTo>
                  <a:pt x="4108" y="4082"/>
                </a:lnTo>
                <a:close/>
                <a:moveTo>
                  <a:pt x="4132" y="4100"/>
                </a:moveTo>
                <a:lnTo>
                  <a:pt x="4132" y="4100"/>
                </a:lnTo>
                <a:lnTo>
                  <a:pt x="4134" y="4100"/>
                </a:lnTo>
                <a:lnTo>
                  <a:pt x="4138" y="4100"/>
                </a:lnTo>
                <a:lnTo>
                  <a:pt x="4142" y="4098"/>
                </a:lnTo>
                <a:lnTo>
                  <a:pt x="4142" y="4096"/>
                </a:lnTo>
                <a:lnTo>
                  <a:pt x="4140" y="4096"/>
                </a:lnTo>
                <a:lnTo>
                  <a:pt x="4136" y="4096"/>
                </a:lnTo>
                <a:lnTo>
                  <a:pt x="4132" y="4098"/>
                </a:lnTo>
                <a:lnTo>
                  <a:pt x="4132" y="4100"/>
                </a:lnTo>
                <a:close/>
                <a:moveTo>
                  <a:pt x="4158" y="4118"/>
                </a:moveTo>
                <a:lnTo>
                  <a:pt x="4158" y="4118"/>
                </a:lnTo>
                <a:lnTo>
                  <a:pt x="4158" y="4120"/>
                </a:lnTo>
                <a:lnTo>
                  <a:pt x="4160" y="4120"/>
                </a:lnTo>
                <a:lnTo>
                  <a:pt x="4166" y="4118"/>
                </a:lnTo>
                <a:lnTo>
                  <a:pt x="4170" y="4116"/>
                </a:lnTo>
                <a:lnTo>
                  <a:pt x="4170" y="4114"/>
                </a:lnTo>
                <a:lnTo>
                  <a:pt x="4162" y="4114"/>
                </a:lnTo>
                <a:lnTo>
                  <a:pt x="4158" y="4116"/>
                </a:lnTo>
                <a:lnTo>
                  <a:pt x="4158" y="4118"/>
                </a:lnTo>
                <a:close/>
                <a:moveTo>
                  <a:pt x="4228" y="4096"/>
                </a:moveTo>
                <a:lnTo>
                  <a:pt x="4228" y="4096"/>
                </a:lnTo>
                <a:lnTo>
                  <a:pt x="4230" y="4096"/>
                </a:lnTo>
                <a:lnTo>
                  <a:pt x="4232" y="4096"/>
                </a:lnTo>
                <a:lnTo>
                  <a:pt x="4234" y="4094"/>
                </a:lnTo>
                <a:lnTo>
                  <a:pt x="4236" y="4090"/>
                </a:lnTo>
                <a:lnTo>
                  <a:pt x="4234" y="4090"/>
                </a:lnTo>
                <a:lnTo>
                  <a:pt x="4232" y="4090"/>
                </a:lnTo>
                <a:lnTo>
                  <a:pt x="4228" y="4094"/>
                </a:lnTo>
                <a:lnTo>
                  <a:pt x="4228" y="4096"/>
                </a:lnTo>
                <a:close/>
                <a:moveTo>
                  <a:pt x="4232" y="4104"/>
                </a:moveTo>
                <a:lnTo>
                  <a:pt x="4232" y="4104"/>
                </a:lnTo>
                <a:lnTo>
                  <a:pt x="4234" y="4104"/>
                </a:lnTo>
                <a:lnTo>
                  <a:pt x="4234" y="4102"/>
                </a:lnTo>
                <a:lnTo>
                  <a:pt x="4234" y="4100"/>
                </a:lnTo>
                <a:lnTo>
                  <a:pt x="4234" y="4098"/>
                </a:lnTo>
                <a:lnTo>
                  <a:pt x="4232" y="4098"/>
                </a:lnTo>
                <a:lnTo>
                  <a:pt x="4230" y="4100"/>
                </a:lnTo>
                <a:lnTo>
                  <a:pt x="4230" y="4102"/>
                </a:lnTo>
                <a:lnTo>
                  <a:pt x="4232" y="4104"/>
                </a:lnTo>
                <a:close/>
                <a:moveTo>
                  <a:pt x="4266" y="4164"/>
                </a:moveTo>
                <a:lnTo>
                  <a:pt x="4266" y="4164"/>
                </a:lnTo>
                <a:lnTo>
                  <a:pt x="4266" y="4166"/>
                </a:lnTo>
                <a:lnTo>
                  <a:pt x="4264" y="4168"/>
                </a:lnTo>
                <a:lnTo>
                  <a:pt x="4266" y="4170"/>
                </a:lnTo>
                <a:lnTo>
                  <a:pt x="4268" y="4170"/>
                </a:lnTo>
                <a:lnTo>
                  <a:pt x="4268" y="4166"/>
                </a:lnTo>
                <a:lnTo>
                  <a:pt x="4268" y="4164"/>
                </a:lnTo>
                <a:lnTo>
                  <a:pt x="4266" y="4164"/>
                </a:lnTo>
                <a:close/>
                <a:moveTo>
                  <a:pt x="4250" y="4144"/>
                </a:moveTo>
                <a:lnTo>
                  <a:pt x="4250" y="4144"/>
                </a:lnTo>
                <a:lnTo>
                  <a:pt x="4250" y="4148"/>
                </a:lnTo>
                <a:lnTo>
                  <a:pt x="4252" y="4148"/>
                </a:lnTo>
                <a:lnTo>
                  <a:pt x="4254" y="4148"/>
                </a:lnTo>
                <a:lnTo>
                  <a:pt x="4254" y="4146"/>
                </a:lnTo>
                <a:lnTo>
                  <a:pt x="4254" y="4144"/>
                </a:lnTo>
                <a:lnTo>
                  <a:pt x="4252" y="4144"/>
                </a:lnTo>
                <a:lnTo>
                  <a:pt x="4250" y="4144"/>
                </a:lnTo>
                <a:close/>
                <a:moveTo>
                  <a:pt x="4242" y="4134"/>
                </a:moveTo>
                <a:lnTo>
                  <a:pt x="4242" y="4134"/>
                </a:lnTo>
                <a:lnTo>
                  <a:pt x="4242" y="4138"/>
                </a:lnTo>
                <a:lnTo>
                  <a:pt x="4244" y="4140"/>
                </a:lnTo>
                <a:lnTo>
                  <a:pt x="4246" y="4142"/>
                </a:lnTo>
                <a:lnTo>
                  <a:pt x="4248" y="4140"/>
                </a:lnTo>
                <a:lnTo>
                  <a:pt x="4248" y="4138"/>
                </a:lnTo>
                <a:lnTo>
                  <a:pt x="4246" y="4134"/>
                </a:lnTo>
                <a:lnTo>
                  <a:pt x="4242" y="4134"/>
                </a:lnTo>
                <a:close/>
                <a:moveTo>
                  <a:pt x="4282" y="4154"/>
                </a:moveTo>
                <a:lnTo>
                  <a:pt x="4282" y="4154"/>
                </a:lnTo>
                <a:lnTo>
                  <a:pt x="4286" y="4154"/>
                </a:lnTo>
                <a:lnTo>
                  <a:pt x="4288" y="4152"/>
                </a:lnTo>
                <a:lnTo>
                  <a:pt x="4288" y="4150"/>
                </a:lnTo>
                <a:lnTo>
                  <a:pt x="4286" y="4146"/>
                </a:lnTo>
                <a:lnTo>
                  <a:pt x="4282" y="4146"/>
                </a:lnTo>
                <a:lnTo>
                  <a:pt x="4280" y="4148"/>
                </a:lnTo>
                <a:lnTo>
                  <a:pt x="4280" y="4152"/>
                </a:lnTo>
                <a:lnTo>
                  <a:pt x="4282" y="4154"/>
                </a:lnTo>
                <a:close/>
                <a:moveTo>
                  <a:pt x="4284" y="4126"/>
                </a:moveTo>
                <a:lnTo>
                  <a:pt x="4284" y="4126"/>
                </a:lnTo>
                <a:lnTo>
                  <a:pt x="4286" y="4124"/>
                </a:lnTo>
                <a:lnTo>
                  <a:pt x="4286" y="4122"/>
                </a:lnTo>
                <a:lnTo>
                  <a:pt x="4284" y="4118"/>
                </a:lnTo>
                <a:lnTo>
                  <a:pt x="4282" y="4118"/>
                </a:lnTo>
                <a:lnTo>
                  <a:pt x="4280" y="4120"/>
                </a:lnTo>
                <a:lnTo>
                  <a:pt x="4280" y="4124"/>
                </a:lnTo>
                <a:lnTo>
                  <a:pt x="4284" y="4126"/>
                </a:lnTo>
                <a:close/>
                <a:moveTo>
                  <a:pt x="1780" y="2486"/>
                </a:moveTo>
                <a:lnTo>
                  <a:pt x="1780" y="2486"/>
                </a:lnTo>
                <a:lnTo>
                  <a:pt x="1790" y="2488"/>
                </a:lnTo>
                <a:lnTo>
                  <a:pt x="1794" y="2486"/>
                </a:lnTo>
                <a:lnTo>
                  <a:pt x="1796" y="2484"/>
                </a:lnTo>
                <a:lnTo>
                  <a:pt x="1800" y="2484"/>
                </a:lnTo>
                <a:lnTo>
                  <a:pt x="1802" y="2484"/>
                </a:lnTo>
                <a:lnTo>
                  <a:pt x="1802" y="2480"/>
                </a:lnTo>
                <a:lnTo>
                  <a:pt x="1800" y="2474"/>
                </a:lnTo>
                <a:lnTo>
                  <a:pt x="1796" y="2470"/>
                </a:lnTo>
                <a:lnTo>
                  <a:pt x="1794" y="2466"/>
                </a:lnTo>
                <a:lnTo>
                  <a:pt x="1794" y="2464"/>
                </a:lnTo>
                <a:lnTo>
                  <a:pt x="1792" y="2460"/>
                </a:lnTo>
                <a:lnTo>
                  <a:pt x="1788" y="2456"/>
                </a:lnTo>
                <a:lnTo>
                  <a:pt x="1782" y="2448"/>
                </a:lnTo>
                <a:lnTo>
                  <a:pt x="1778" y="2440"/>
                </a:lnTo>
                <a:lnTo>
                  <a:pt x="1774" y="2434"/>
                </a:lnTo>
                <a:lnTo>
                  <a:pt x="1770" y="2430"/>
                </a:lnTo>
                <a:lnTo>
                  <a:pt x="1766" y="2428"/>
                </a:lnTo>
                <a:lnTo>
                  <a:pt x="1754" y="2426"/>
                </a:lnTo>
                <a:lnTo>
                  <a:pt x="1744" y="2420"/>
                </a:lnTo>
                <a:lnTo>
                  <a:pt x="1738" y="2414"/>
                </a:lnTo>
                <a:lnTo>
                  <a:pt x="1738" y="2412"/>
                </a:lnTo>
                <a:lnTo>
                  <a:pt x="1738" y="2408"/>
                </a:lnTo>
                <a:lnTo>
                  <a:pt x="1740" y="2406"/>
                </a:lnTo>
                <a:lnTo>
                  <a:pt x="1738" y="2404"/>
                </a:lnTo>
                <a:lnTo>
                  <a:pt x="1732" y="2398"/>
                </a:lnTo>
                <a:lnTo>
                  <a:pt x="1724" y="2390"/>
                </a:lnTo>
                <a:lnTo>
                  <a:pt x="1720" y="2384"/>
                </a:lnTo>
                <a:lnTo>
                  <a:pt x="1716" y="2376"/>
                </a:lnTo>
                <a:lnTo>
                  <a:pt x="1712" y="2372"/>
                </a:lnTo>
                <a:lnTo>
                  <a:pt x="1704" y="2368"/>
                </a:lnTo>
                <a:lnTo>
                  <a:pt x="1680" y="2362"/>
                </a:lnTo>
                <a:lnTo>
                  <a:pt x="1656" y="2356"/>
                </a:lnTo>
                <a:lnTo>
                  <a:pt x="1646" y="2354"/>
                </a:lnTo>
                <a:lnTo>
                  <a:pt x="1640" y="2350"/>
                </a:lnTo>
                <a:lnTo>
                  <a:pt x="1632" y="2344"/>
                </a:lnTo>
                <a:lnTo>
                  <a:pt x="1620" y="2340"/>
                </a:lnTo>
                <a:lnTo>
                  <a:pt x="1608" y="2340"/>
                </a:lnTo>
                <a:lnTo>
                  <a:pt x="1602" y="2340"/>
                </a:lnTo>
                <a:lnTo>
                  <a:pt x="1596" y="2342"/>
                </a:lnTo>
                <a:lnTo>
                  <a:pt x="1596" y="2344"/>
                </a:lnTo>
                <a:lnTo>
                  <a:pt x="1596" y="2346"/>
                </a:lnTo>
                <a:lnTo>
                  <a:pt x="1600" y="2354"/>
                </a:lnTo>
                <a:lnTo>
                  <a:pt x="1608" y="2358"/>
                </a:lnTo>
                <a:lnTo>
                  <a:pt x="1612" y="2360"/>
                </a:lnTo>
                <a:lnTo>
                  <a:pt x="1618" y="2358"/>
                </a:lnTo>
                <a:lnTo>
                  <a:pt x="1626" y="2358"/>
                </a:lnTo>
                <a:lnTo>
                  <a:pt x="1632" y="2358"/>
                </a:lnTo>
                <a:lnTo>
                  <a:pt x="1634" y="2360"/>
                </a:lnTo>
                <a:lnTo>
                  <a:pt x="1630" y="2360"/>
                </a:lnTo>
                <a:lnTo>
                  <a:pt x="1624" y="2362"/>
                </a:lnTo>
                <a:lnTo>
                  <a:pt x="1618" y="2364"/>
                </a:lnTo>
                <a:lnTo>
                  <a:pt x="1616" y="2366"/>
                </a:lnTo>
                <a:lnTo>
                  <a:pt x="1616" y="2368"/>
                </a:lnTo>
                <a:lnTo>
                  <a:pt x="1618" y="2372"/>
                </a:lnTo>
                <a:lnTo>
                  <a:pt x="1622" y="2374"/>
                </a:lnTo>
                <a:lnTo>
                  <a:pt x="1622" y="2376"/>
                </a:lnTo>
                <a:lnTo>
                  <a:pt x="1620" y="2378"/>
                </a:lnTo>
                <a:lnTo>
                  <a:pt x="1616" y="2380"/>
                </a:lnTo>
                <a:lnTo>
                  <a:pt x="1614" y="2382"/>
                </a:lnTo>
                <a:lnTo>
                  <a:pt x="1616" y="2384"/>
                </a:lnTo>
                <a:lnTo>
                  <a:pt x="1618" y="2384"/>
                </a:lnTo>
                <a:lnTo>
                  <a:pt x="1620" y="2384"/>
                </a:lnTo>
                <a:lnTo>
                  <a:pt x="1624" y="2382"/>
                </a:lnTo>
                <a:lnTo>
                  <a:pt x="1630" y="2380"/>
                </a:lnTo>
                <a:lnTo>
                  <a:pt x="1632" y="2382"/>
                </a:lnTo>
                <a:lnTo>
                  <a:pt x="1634" y="2384"/>
                </a:lnTo>
                <a:lnTo>
                  <a:pt x="1636" y="2388"/>
                </a:lnTo>
                <a:lnTo>
                  <a:pt x="1638" y="2386"/>
                </a:lnTo>
                <a:lnTo>
                  <a:pt x="1642" y="2382"/>
                </a:lnTo>
                <a:lnTo>
                  <a:pt x="1644" y="2382"/>
                </a:lnTo>
                <a:lnTo>
                  <a:pt x="1646" y="2382"/>
                </a:lnTo>
                <a:lnTo>
                  <a:pt x="1648" y="2384"/>
                </a:lnTo>
                <a:lnTo>
                  <a:pt x="1646" y="2388"/>
                </a:lnTo>
                <a:lnTo>
                  <a:pt x="1644" y="2392"/>
                </a:lnTo>
                <a:lnTo>
                  <a:pt x="1644" y="2396"/>
                </a:lnTo>
                <a:lnTo>
                  <a:pt x="1646" y="2398"/>
                </a:lnTo>
                <a:lnTo>
                  <a:pt x="1648" y="2398"/>
                </a:lnTo>
                <a:lnTo>
                  <a:pt x="1652" y="2398"/>
                </a:lnTo>
                <a:lnTo>
                  <a:pt x="1656" y="2394"/>
                </a:lnTo>
                <a:lnTo>
                  <a:pt x="1662" y="2392"/>
                </a:lnTo>
                <a:lnTo>
                  <a:pt x="1664" y="2394"/>
                </a:lnTo>
                <a:lnTo>
                  <a:pt x="1666" y="2398"/>
                </a:lnTo>
                <a:lnTo>
                  <a:pt x="1668" y="2402"/>
                </a:lnTo>
                <a:lnTo>
                  <a:pt x="1670" y="2404"/>
                </a:lnTo>
                <a:lnTo>
                  <a:pt x="1676" y="2408"/>
                </a:lnTo>
                <a:lnTo>
                  <a:pt x="1678" y="2410"/>
                </a:lnTo>
                <a:lnTo>
                  <a:pt x="1674" y="2412"/>
                </a:lnTo>
                <a:lnTo>
                  <a:pt x="1670" y="2416"/>
                </a:lnTo>
                <a:lnTo>
                  <a:pt x="1668" y="2420"/>
                </a:lnTo>
                <a:lnTo>
                  <a:pt x="1670" y="2424"/>
                </a:lnTo>
                <a:lnTo>
                  <a:pt x="1676" y="2424"/>
                </a:lnTo>
                <a:lnTo>
                  <a:pt x="1688" y="2422"/>
                </a:lnTo>
                <a:lnTo>
                  <a:pt x="1692" y="2424"/>
                </a:lnTo>
                <a:lnTo>
                  <a:pt x="1694" y="2428"/>
                </a:lnTo>
                <a:lnTo>
                  <a:pt x="1696" y="2432"/>
                </a:lnTo>
                <a:lnTo>
                  <a:pt x="1700" y="2434"/>
                </a:lnTo>
                <a:lnTo>
                  <a:pt x="1702" y="2434"/>
                </a:lnTo>
                <a:lnTo>
                  <a:pt x="1702" y="2438"/>
                </a:lnTo>
                <a:lnTo>
                  <a:pt x="1702" y="2444"/>
                </a:lnTo>
                <a:lnTo>
                  <a:pt x="1706" y="2448"/>
                </a:lnTo>
                <a:lnTo>
                  <a:pt x="1710" y="2452"/>
                </a:lnTo>
                <a:lnTo>
                  <a:pt x="1716" y="2452"/>
                </a:lnTo>
                <a:lnTo>
                  <a:pt x="1722" y="2450"/>
                </a:lnTo>
                <a:lnTo>
                  <a:pt x="1728" y="2450"/>
                </a:lnTo>
                <a:lnTo>
                  <a:pt x="1730" y="2452"/>
                </a:lnTo>
                <a:lnTo>
                  <a:pt x="1728" y="2456"/>
                </a:lnTo>
                <a:lnTo>
                  <a:pt x="1728" y="2458"/>
                </a:lnTo>
                <a:lnTo>
                  <a:pt x="1728" y="2460"/>
                </a:lnTo>
                <a:lnTo>
                  <a:pt x="1730" y="2466"/>
                </a:lnTo>
                <a:lnTo>
                  <a:pt x="1738" y="2472"/>
                </a:lnTo>
                <a:lnTo>
                  <a:pt x="1750" y="2474"/>
                </a:lnTo>
                <a:lnTo>
                  <a:pt x="1758" y="2476"/>
                </a:lnTo>
                <a:lnTo>
                  <a:pt x="1764" y="2480"/>
                </a:lnTo>
                <a:lnTo>
                  <a:pt x="1770" y="2482"/>
                </a:lnTo>
                <a:lnTo>
                  <a:pt x="1780" y="2486"/>
                </a:lnTo>
                <a:close/>
                <a:moveTo>
                  <a:pt x="1446" y="2194"/>
                </a:moveTo>
                <a:lnTo>
                  <a:pt x="1446" y="2194"/>
                </a:lnTo>
                <a:lnTo>
                  <a:pt x="1450" y="2192"/>
                </a:lnTo>
                <a:lnTo>
                  <a:pt x="1452" y="2188"/>
                </a:lnTo>
                <a:lnTo>
                  <a:pt x="1454" y="2178"/>
                </a:lnTo>
                <a:lnTo>
                  <a:pt x="1452" y="2168"/>
                </a:lnTo>
                <a:lnTo>
                  <a:pt x="1454" y="2162"/>
                </a:lnTo>
                <a:lnTo>
                  <a:pt x="1454" y="2158"/>
                </a:lnTo>
                <a:lnTo>
                  <a:pt x="1460" y="2144"/>
                </a:lnTo>
                <a:lnTo>
                  <a:pt x="1460" y="2140"/>
                </a:lnTo>
                <a:lnTo>
                  <a:pt x="1458" y="2140"/>
                </a:lnTo>
                <a:lnTo>
                  <a:pt x="1452" y="2144"/>
                </a:lnTo>
                <a:lnTo>
                  <a:pt x="1446" y="2144"/>
                </a:lnTo>
                <a:lnTo>
                  <a:pt x="1442" y="2146"/>
                </a:lnTo>
                <a:lnTo>
                  <a:pt x="1444" y="2148"/>
                </a:lnTo>
                <a:lnTo>
                  <a:pt x="1446" y="2154"/>
                </a:lnTo>
                <a:lnTo>
                  <a:pt x="1446" y="2160"/>
                </a:lnTo>
                <a:lnTo>
                  <a:pt x="1442" y="2166"/>
                </a:lnTo>
                <a:lnTo>
                  <a:pt x="1434" y="2168"/>
                </a:lnTo>
                <a:lnTo>
                  <a:pt x="1428" y="2170"/>
                </a:lnTo>
                <a:lnTo>
                  <a:pt x="1422" y="2168"/>
                </a:lnTo>
                <a:lnTo>
                  <a:pt x="1422" y="2166"/>
                </a:lnTo>
                <a:lnTo>
                  <a:pt x="1428" y="2164"/>
                </a:lnTo>
                <a:lnTo>
                  <a:pt x="1436" y="2162"/>
                </a:lnTo>
                <a:lnTo>
                  <a:pt x="1440" y="2156"/>
                </a:lnTo>
                <a:lnTo>
                  <a:pt x="1440" y="2152"/>
                </a:lnTo>
                <a:lnTo>
                  <a:pt x="1436" y="2144"/>
                </a:lnTo>
                <a:lnTo>
                  <a:pt x="1432" y="2142"/>
                </a:lnTo>
                <a:lnTo>
                  <a:pt x="1430" y="2142"/>
                </a:lnTo>
                <a:lnTo>
                  <a:pt x="1428" y="2142"/>
                </a:lnTo>
                <a:lnTo>
                  <a:pt x="1426" y="2140"/>
                </a:lnTo>
                <a:lnTo>
                  <a:pt x="1422" y="2138"/>
                </a:lnTo>
                <a:lnTo>
                  <a:pt x="1420" y="2140"/>
                </a:lnTo>
                <a:lnTo>
                  <a:pt x="1418" y="2140"/>
                </a:lnTo>
                <a:lnTo>
                  <a:pt x="1414" y="2138"/>
                </a:lnTo>
                <a:lnTo>
                  <a:pt x="1410" y="2136"/>
                </a:lnTo>
                <a:lnTo>
                  <a:pt x="1406" y="2136"/>
                </a:lnTo>
                <a:lnTo>
                  <a:pt x="1404" y="2138"/>
                </a:lnTo>
                <a:lnTo>
                  <a:pt x="1406" y="2142"/>
                </a:lnTo>
                <a:lnTo>
                  <a:pt x="1404" y="2146"/>
                </a:lnTo>
                <a:lnTo>
                  <a:pt x="1404" y="2152"/>
                </a:lnTo>
                <a:lnTo>
                  <a:pt x="1404" y="2156"/>
                </a:lnTo>
                <a:lnTo>
                  <a:pt x="1406" y="2164"/>
                </a:lnTo>
                <a:lnTo>
                  <a:pt x="1410" y="2170"/>
                </a:lnTo>
                <a:lnTo>
                  <a:pt x="1408" y="2172"/>
                </a:lnTo>
                <a:lnTo>
                  <a:pt x="1410" y="2178"/>
                </a:lnTo>
                <a:lnTo>
                  <a:pt x="1414" y="2180"/>
                </a:lnTo>
                <a:lnTo>
                  <a:pt x="1418" y="2180"/>
                </a:lnTo>
                <a:lnTo>
                  <a:pt x="1422" y="2180"/>
                </a:lnTo>
                <a:lnTo>
                  <a:pt x="1426" y="2184"/>
                </a:lnTo>
                <a:lnTo>
                  <a:pt x="1428" y="2186"/>
                </a:lnTo>
                <a:lnTo>
                  <a:pt x="1426" y="2186"/>
                </a:lnTo>
                <a:lnTo>
                  <a:pt x="1422" y="2186"/>
                </a:lnTo>
                <a:lnTo>
                  <a:pt x="1418" y="2186"/>
                </a:lnTo>
                <a:lnTo>
                  <a:pt x="1418" y="2188"/>
                </a:lnTo>
                <a:lnTo>
                  <a:pt x="1422" y="2192"/>
                </a:lnTo>
                <a:lnTo>
                  <a:pt x="1426" y="2196"/>
                </a:lnTo>
                <a:lnTo>
                  <a:pt x="1426" y="2198"/>
                </a:lnTo>
                <a:lnTo>
                  <a:pt x="1428" y="2198"/>
                </a:lnTo>
                <a:lnTo>
                  <a:pt x="1434" y="2200"/>
                </a:lnTo>
                <a:lnTo>
                  <a:pt x="1438" y="2198"/>
                </a:lnTo>
                <a:lnTo>
                  <a:pt x="1440" y="2198"/>
                </a:lnTo>
                <a:lnTo>
                  <a:pt x="1442" y="2196"/>
                </a:lnTo>
                <a:lnTo>
                  <a:pt x="1446" y="2194"/>
                </a:lnTo>
                <a:close/>
                <a:moveTo>
                  <a:pt x="1478" y="2250"/>
                </a:moveTo>
                <a:lnTo>
                  <a:pt x="1478" y="2250"/>
                </a:lnTo>
                <a:lnTo>
                  <a:pt x="1480" y="2246"/>
                </a:lnTo>
                <a:lnTo>
                  <a:pt x="1480" y="2244"/>
                </a:lnTo>
                <a:lnTo>
                  <a:pt x="1478" y="2244"/>
                </a:lnTo>
                <a:lnTo>
                  <a:pt x="1476" y="2244"/>
                </a:lnTo>
                <a:lnTo>
                  <a:pt x="1472" y="2246"/>
                </a:lnTo>
                <a:lnTo>
                  <a:pt x="1472" y="2244"/>
                </a:lnTo>
                <a:lnTo>
                  <a:pt x="1470" y="2242"/>
                </a:lnTo>
                <a:lnTo>
                  <a:pt x="1468" y="2240"/>
                </a:lnTo>
                <a:lnTo>
                  <a:pt x="1464" y="2238"/>
                </a:lnTo>
                <a:lnTo>
                  <a:pt x="1460" y="2234"/>
                </a:lnTo>
                <a:lnTo>
                  <a:pt x="1458" y="2230"/>
                </a:lnTo>
                <a:lnTo>
                  <a:pt x="1460" y="2224"/>
                </a:lnTo>
                <a:lnTo>
                  <a:pt x="1460" y="2222"/>
                </a:lnTo>
                <a:lnTo>
                  <a:pt x="1458" y="2222"/>
                </a:lnTo>
                <a:lnTo>
                  <a:pt x="1454" y="2220"/>
                </a:lnTo>
                <a:lnTo>
                  <a:pt x="1452" y="2216"/>
                </a:lnTo>
                <a:lnTo>
                  <a:pt x="1456" y="2216"/>
                </a:lnTo>
                <a:lnTo>
                  <a:pt x="1460" y="2216"/>
                </a:lnTo>
                <a:lnTo>
                  <a:pt x="1464" y="2214"/>
                </a:lnTo>
                <a:lnTo>
                  <a:pt x="1464" y="2212"/>
                </a:lnTo>
                <a:lnTo>
                  <a:pt x="1464" y="2210"/>
                </a:lnTo>
                <a:lnTo>
                  <a:pt x="1462" y="2210"/>
                </a:lnTo>
                <a:lnTo>
                  <a:pt x="1464" y="2206"/>
                </a:lnTo>
                <a:lnTo>
                  <a:pt x="1464" y="2204"/>
                </a:lnTo>
                <a:lnTo>
                  <a:pt x="1462" y="2202"/>
                </a:lnTo>
                <a:lnTo>
                  <a:pt x="1460" y="2200"/>
                </a:lnTo>
                <a:lnTo>
                  <a:pt x="1458" y="2198"/>
                </a:lnTo>
                <a:lnTo>
                  <a:pt x="1458" y="2196"/>
                </a:lnTo>
                <a:lnTo>
                  <a:pt x="1456" y="2194"/>
                </a:lnTo>
                <a:lnTo>
                  <a:pt x="1454" y="2194"/>
                </a:lnTo>
                <a:lnTo>
                  <a:pt x="1448" y="2198"/>
                </a:lnTo>
                <a:lnTo>
                  <a:pt x="1446" y="2200"/>
                </a:lnTo>
                <a:lnTo>
                  <a:pt x="1442" y="2202"/>
                </a:lnTo>
                <a:lnTo>
                  <a:pt x="1434" y="2204"/>
                </a:lnTo>
                <a:lnTo>
                  <a:pt x="1428" y="2204"/>
                </a:lnTo>
                <a:lnTo>
                  <a:pt x="1426" y="2204"/>
                </a:lnTo>
                <a:lnTo>
                  <a:pt x="1428" y="2206"/>
                </a:lnTo>
                <a:lnTo>
                  <a:pt x="1430" y="2208"/>
                </a:lnTo>
                <a:lnTo>
                  <a:pt x="1436" y="2208"/>
                </a:lnTo>
                <a:lnTo>
                  <a:pt x="1440" y="2208"/>
                </a:lnTo>
                <a:lnTo>
                  <a:pt x="1442" y="2210"/>
                </a:lnTo>
                <a:lnTo>
                  <a:pt x="1442" y="2212"/>
                </a:lnTo>
                <a:lnTo>
                  <a:pt x="1438" y="2212"/>
                </a:lnTo>
                <a:lnTo>
                  <a:pt x="1436" y="2214"/>
                </a:lnTo>
                <a:lnTo>
                  <a:pt x="1436" y="2218"/>
                </a:lnTo>
                <a:lnTo>
                  <a:pt x="1440" y="2222"/>
                </a:lnTo>
                <a:lnTo>
                  <a:pt x="1444" y="2222"/>
                </a:lnTo>
                <a:lnTo>
                  <a:pt x="1448" y="2222"/>
                </a:lnTo>
                <a:lnTo>
                  <a:pt x="1448" y="2224"/>
                </a:lnTo>
                <a:lnTo>
                  <a:pt x="1446" y="2226"/>
                </a:lnTo>
                <a:lnTo>
                  <a:pt x="1446" y="2228"/>
                </a:lnTo>
                <a:lnTo>
                  <a:pt x="1450" y="2232"/>
                </a:lnTo>
                <a:lnTo>
                  <a:pt x="1460" y="2242"/>
                </a:lnTo>
                <a:lnTo>
                  <a:pt x="1466" y="2246"/>
                </a:lnTo>
                <a:lnTo>
                  <a:pt x="1466" y="2248"/>
                </a:lnTo>
                <a:lnTo>
                  <a:pt x="1466" y="2250"/>
                </a:lnTo>
                <a:lnTo>
                  <a:pt x="1468" y="2252"/>
                </a:lnTo>
                <a:lnTo>
                  <a:pt x="1470" y="2256"/>
                </a:lnTo>
                <a:lnTo>
                  <a:pt x="1472" y="2258"/>
                </a:lnTo>
                <a:lnTo>
                  <a:pt x="1476" y="2260"/>
                </a:lnTo>
                <a:lnTo>
                  <a:pt x="1480" y="2262"/>
                </a:lnTo>
                <a:lnTo>
                  <a:pt x="1486" y="2262"/>
                </a:lnTo>
                <a:lnTo>
                  <a:pt x="1488" y="2260"/>
                </a:lnTo>
                <a:lnTo>
                  <a:pt x="1488" y="2258"/>
                </a:lnTo>
                <a:lnTo>
                  <a:pt x="1486" y="2254"/>
                </a:lnTo>
                <a:lnTo>
                  <a:pt x="1482" y="2252"/>
                </a:lnTo>
                <a:lnTo>
                  <a:pt x="1480" y="2252"/>
                </a:lnTo>
                <a:lnTo>
                  <a:pt x="1478" y="2252"/>
                </a:lnTo>
                <a:lnTo>
                  <a:pt x="1478" y="2250"/>
                </a:lnTo>
                <a:close/>
                <a:moveTo>
                  <a:pt x="1658" y="2400"/>
                </a:moveTo>
                <a:lnTo>
                  <a:pt x="1658" y="2400"/>
                </a:lnTo>
                <a:lnTo>
                  <a:pt x="1656" y="2402"/>
                </a:lnTo>
                <a:lnTo>
                  <a:pt x="1656" y="2406"/>
                </a:lnTo>
                <a:lnTo>
                  <a:pt x="1660" y="2410"/>
                </a:lnTo>
                <a:lnTo>
                  <a:pt x="1664" y="2412"/>
                </a:lnTo>
                <a:lnTo>
                  <a:pt x="1668" y="2412"/>
                </a:lnTo>
                <a:lnTo>
                  <a:pt x="1668" y="2408"/>
                </a:lnTo>
                <a:lnTo>
                  <a:pt x="1666" y="2402"/>
                </a:lnTo>
                <a:lnTo>
                  <a:pt x="1662" y="2400"/>
                </a:lnTo>
                <a:lnTo>
                  <a:pt x="1660" y="2398"/>
                </a:lnTo>
                <a:lnTo>
                  <a:pt x="1658" y="2400"/>
                </a:lnTo>
                <a:close/>
                <a:moveTo>
                  <a:pt x="1514" y="2172"/>
                </a:moveTo>
                <a:lnTo>
                  <a:pt x="1514" y="2172"/>
                </a:lnTo>
                <a:lnTo>
                  <a:pt x="1508" y="2170"/>
                </a:lnTo>
                <a:lnTo>
                  <a:pt x="1508" y="2172"/>
                </a:lnTo>
                <a:lnTo>
                  <a:pt x="1512" y="2182"/>
                </a:lnTo>
                <a:lnTo>
                  <a:pt x="1516" y="2184"/>
                </a:lnTo>
                <a:lnTo>
                  <a:pt x="1520" y="2186"/>
                </a:lnTo>
                <a:lnTo>
                  <a:pt x="1524" y="2190"/>
                </a:lnTo>
                <a:lnTo>
                  <a:pt x="1528" y="2196"/>
                </a:lnTo>
                <a:lnTo>
                  <a:pt x="1532" y="2200"/>
                </a:lnTo>
                <a:lnTo>
                  <a:pt x="1534" y="2200"/>
                </a:lnTo>
                <a:lnTo>
                  <a:pt x="1536" y="2196"/>
                </a:lnTo>
                <a:lnTo>
                  <a:pt x="1536" y="2190"/>
                </a:lnTo>
                <a:lnTo>
                  <a:pt x="1532" y="2186"/>
                </a:lnTo>
                <a:lnTo>
                  <a:pt x="1528" y="2180"/>
                </a:lnTo>
                <a:lnTo>
                  <a:pt x="1514" y="2172"/>
                </a:lnTo>
                <a:close/>
                <a:moveTo>
                  <a:pt x="1548" y="2182"/>
                </a:moveTo>
                <a:lnTo>
                  <a:pt x="1548" y="2182"/>
                </a:lnTo>
                <a:lnTo>
                  <a:pt x="1538" y="2170"/>
                </a:lnTo>
                <a:lnTo>
                  <a:pt x="1526" y="2158"/>
                </a:lnTo>
                <a:lnTo>
                  <a:pt x="1520" y="2156"/>
                </a:lnTo>
                <a:lnTo>
                  <a:pt x="1518" y="2156"/>
                </a:lnTo>
                <a:lnTo>
                  <a:pt x="1518" y="2160"/>
                </a:lnTo>
                <a:lnTo>
                  <a:pt x="1520" y="2164"/>
                </a:lnTo>
                <a:lnTo>
                  <a:pt x="1524" y="2172"/>
                </a:lnTo>
                <a:lnTo>
                  <a:pt x="1526" y="2174"/>
                </a:lnTo>
                <a:lnTo>
                  <a:pt x="1530" y="2176"/>
                </a:lnTo>
                <a:lnTo>
                  <a:pt x="1532" y="2176"/>
                </a:lnTo>
                <a:lnTo>
                  <a:pt x="1536" y="2180"/>
                </a:lnTo>
                <a:lnTo>
                  <a:pt x="1542" y="2194"/>
                </a:lnTo>
                <a:lnTo>
                  <a:pt x="1544" y="2196"/>
                </a:lnTo>
                <a:lnTo>
                  <a:pt x="1548" y="2196"/>
                </a:lnTo>
                <a:lnTo>
                  <a:pt x="1550" y="2196"/>
                </a:lnTo>
                <a:lnTo>
                  <a:pt x="1550" y="2194"/>
                </a:lnTo>
                <a:lnTo>
                  <a:pt x="1548" y="2192"/>
                </a:lnTo>
                <a:lnTo>
                  <a:pt x="1550" y="2190"/>
                </a:lnTo>
                <a:lnTo>
                  <a:pt x="1550" y="2186"/>
                </a:lnTo>
                <a:lnTo>
                  <a:pt x="1548" y="2182"/>
                </a:lnTo>
                <a:close/>
                <a:moveTo>
                  <a:pt x="1518" y="2154"/>
                </a:moveTo>
                <a:lnTo>
                  <a:pt x="1518" y="2154"/>
                </a:lnTo>
                <a:lnTo>
                  <a:pt x="1520" y="2152"/>
                </a:lnTo>
                <a:lnTo>
                  <a:pt x="1518" y="2148"/>
                </a:lnTo>
                <a:lnTo>
                  <a:pt x="1516" y="2144"/>
                </a:lnTo>
                <a:lnTo>
                  <a:pt x="1510" y="2144"/>
                </a:lnTo>
                <a:lnTo>
                  <a:pt x="1506" y="2144"/>
                </a:lnTo>
                <a:lnTo>
                  <a:pt x="1502" y="2146"/>
                </a:lnTo>
                <a:lnTo>
                  <a:pt x="1500" y="2150"/>
                </a:lnTo>
                <a:lnTo>
                  <a:pt x="1500" y="2156"/>
                </a:lnTo>
                <a:lnTo>
                  <a:pt x="1500" y="2158"/>
                </a:lnTo>
                <a:lnTo>
                  <a:pt x="1502" y="2156"/>
                </a:lnTo>
                <a:lnTo>
                  <a:pt x="1504" y="2154"/>
                </a:lnTo>
                <a:lnTo>
                  <a:pt x="1508" y="2154"/>
                </a:lnTo>
                <a:lnTo>
                  <a:pt x="1512" y="2158"/>
                </a:lnTo>
                <a:lnTo>
                  <a:pt x="1514" y="2158"/>
                </a:lnTo>
                <a:lnTo>
                  <a:pt x="1518" y="2154"/>
                </a:lnTo>
                <a:close/>
                <a:moveTo>
                  <a:pt x="1568" y="2192"/>
                </a:moveTo>
                <a:lnTo>
                  <a:pt x="1568" y="2192"/>
                </a:lnTo>
                <a:lnTo>
                  <a:pt x="1566" y="2192"/>
                </a:lnTo>
                <a:lnTo>
                  <a:pt x="1566" y="2194"/>
                </a:lnTo>
                <a:lnTo>
                  <a:pt x="1566" y="2198"/>
                </a:lnTo>
                <a:lnTo>
                  <a:pt x="1566" y="2204"/>
                </a:lnTo>
                <a:lnTo>
                  <a:pt x="1564" y="2206"/>
                </a:lnTo>
                <a:lnTo>
                  <a:pt x="1562" y="2208"/>
                </a:lnTo>
                <a:lnTo>
                  <a:pt x="1560" y="2212"/>
                </a:lnTo>
                <a:lnTo>
                  <a:pt x="1560" y="2216"/>
                </a:lnTo>
                <a:lnTo>
                  <a:pt x="1562" y="2216"/>
                </a:lnTo>
                <a:lnTo>
                  <a:pt x="1566" y="2216"/>
                </a:lnTo>
                <a:lnTo>
                  <a:pt x="1570" y="2212"/>
                </a:lnTo>
                <a:lnTo>
                  <a:pt x="1572" y="2208"/>
                </a:lnTo>
                <a:lnTo>
                  <a:pt x="1574" y="2206"/>
                </a:lnTo>
                <a:lnTo>
                  <a:pt x="1576" y="2208"/>
                </a:lnTo>
                <a:lnTo>
                  <a:pt x="1576" y="2210"/>
                </a:lnTo>
                <a:lnTo>
                  <a:pt x="1576" y="2212"/>
                </a:lnTo>
                <a:lnTo>
                  <a:pt x="1572" y="2216"/>
                </a:lnTo>
                <a:lnTo>
                  <a:pt x="1566" y="2220"/>
                </a:lnTo>
                <a:lnTo>
                  <a:pt x="1566" y="2222"/>
                </a:lnTo>
                <a:lnTo>
                  <a:pt x="1568" y="2226"/>
                </a:lnTo>
                <a:lnTo>
                  <a:pt x="1572" y="2228"/>
                </a:lnTo>
                <a:lnTo>
                  <a:pt x="1576" y="2228"/>
                </a:lnTo>
                <a:lnTo>
                  <a:pt x="1578" y="2224"/>
                </a:lnTo>
                <a:lnTo>
                  <a:pt x="1580" y="2222"/>
                </a:lnTo>
                <a:lnTo>
                  <a:pt x="1580" y="2224"/>
                </a:lnTo>
                <a:lnTo>
                  <a:pt x="1580" y="2230"/>
                </a:lnTo>
                <a:lnTo>
                  <a:pt x="1580" y="2232"/>
                </a:lnTo>
                <a:lnTo>
                  <a:pt x="1582" y="2234"/>
                </a:lnTo>
                <a:lnTo>
                  <a:pt x="1586" y="2232"/>
                </a:lnTo>
                <a:lnTo>
                  <a:pt x="1586" y="2230"/>
                </a:lnTo>
                <a:lnTo>
                  <a:pt x="1588" y="2214"/>
                </a:lnTo>
                <a:lnTo>
                  <a:pt x="1586" y="2210"/>
                </a:lnTo>
                <a:lnTo>
                  <a:pt x="1584" y="2206"/>
                </a:lnTo>
                <a:lnTo>
                  <a:pt x="1578" y="2198"/>
                </a:lnTo>
                <a:lnTo>
                  <a:pt x="1572" y="2194"/>
                </a:lnTo>
                <a:lnTo>
                  <a:pt x="1568" y="2192"/>
                </a:lnTo>
                <a:close/>
                <a:moveTo>
                  <a:pt x="1560" y="2224"/>
                </a:moveTo>
                <a:lnTo>
                  <a:pt x="1560" y="2224"/>
                </a:lnTo>
                <a:lnTo>
                  <a:pt x="1562" y="2232"/>
                </a:lnTo>
                <a:lnTo>
                  <a:pt x="1570" y="2242"/>
                </a:lnTo>
                <a:lnTo>
                  <a:pt x="1572" y="2242"/>
                </a:lnTo>
                <a:lnTo>
                  <a:pt x="1572" y="2240"/>
                </a:lnTo>
                <a:lnTo>
                  <a:pt x="1572" y="2236"/>
                </a:lnTo>
                <a:lnTo>
                  <a:pt x="1568" y="2230"/>
                </a:lnTo>
                <a:lnTo>
                  <a:pt x="1562" y="2224"/>
                </a:lnTo>
                <a:lnTo>
                  <a:pt x="1560" y="2224"/>
                </a:lnTo>
                <a:close/>
                <a:moveTo>
                  <a:pt x="1582" y="2244"/>
                </a:moveTo>
                <a:lnTo>
                  <a:pt x="1582" y="2244"/>
                </a:lnTo>
                <a:lnTo>
                  <a:pt x="1580" y="2244"/>
                </a:lnTo>
                <a:lnTo>
                  <a:pt x="1580" y="2248"/>
                </a:lnTo>
                <a:lnTo>
                  <a:pt x="1582" y="2252"/>
                </a:lnTo>
                <a:lnTo>
                  <a:pt x="1584" y="2254"/>
                </a:lnTo>
                <a:lnTo>
                  <a:pt x="1586" y="2252"/>
                </a:lnTo>
                <a:lnTo>
                  <a:pt x="1586" y="2248"/>
                </a:lnTo>
                <a:lnTo>
                  <a:pt x="1586" y="2244"/>
                </a:lnTo>
                <a:lnTo>
                  <a:pt x="1582" y="2244"/>
                </a:lnTo>
                <a:close/>
                <a:moveTo>
                  <a:pt x="4140" y="1656"/>
                </a:moveTo>
                <a:lnTo>
                  <a:pt x="4140" y="1656"/>
                </a:lnTo>
                <a:lnTo>
                  <a:pt x="4136" y="1658"/>
                </a:lnTo>
                <a:lnTo>
                  <a:pt x="4134" y="1662"/>
                </a:lnTo>
                <a:lnTo>
                  <a:pt x="4136" y="1668"/>
                </a:lnTo>
                <a:lnTo>
                  <a:pt x="4142" y="1674"/>
                </a:lnTo>
                <a:lnTo>
                  <a:pt x="4148" y="1678"/>
                </a:lnTo>
                <a:lnTo>
                  <a:pt x="4154" y="1680"/>
                </a:lnTo>
                <a:lnTo>
                  <a:pt x="4160" y="1680"/>
                </a:lnTo>
                <a:lnTo>
                  <a:pt x="4164" y="1678"/>
                </a:lnTo>
                <a:lnTo>
                  <a:pt x="4166" y="1672"/>
                </a:lnTo>
                <a:lnTo>
                  <a:pt x="4168" y="1668"/>
                </a:lnTo>
                <a:lnTo>
                  <a:pt x="4166" y="1664"/>
                </a:lnTo>
                <a:lnTo>
                  <a:pt x="4164" y="1660"/>
                </a:lnTo>
                <a:lnTo>
                  <a:pt x="4160" y="1658"/>
                </a:lnTo>
                <a:lnTo>
                  <a:pt x="4154" y="1656"/>
                </a:lnTo>
                <a:lnTo>
                  <a:pt x="4148" y="1654"/>
                </a:lnTo>
                <a:lnTo>
                  <a:pt x="4140" y="1656"/>
                </a:lnTo>
                <a:close/>
                <a:moveTo>
                  <a:pt x="4268" y="2596"/>
                </a:moveTo>
                <a:lnTo>
                  <a:pt x="4268" y="2596"/>
                </a:lnTo>
                <a:lnTo>
                  <a:pt x="4260" y="2594"/>
                </a:lnTo>
                <a:lnTo>
                  <a:pt x="4244" y="2596"/>
                </a:lnTo>
                <a:lnTo>
                  <a:pt x="4226" y="2596"/>
                </a:lnTo>
                <a:lnTo>
                  <a:pt x="4216" y="2594"/>
                </a:lnTo>
                <a:lnTo>
                  <a:pt x="4206" y="2592"/>
                </a:lnTo>
                <a:lnTo>
                  <a:pt x="4198" y="2588"/>
                </a:lnTo>
                <a:lnTo>
                  <a:pt x="4194" y="2584"/>
                </a:lnTo>
                <a:lnTo>
                  <a:pt x="4192" y="2578"/>
                </a:lnTo>
                <a:lnTo>
                  <a:pt x="4190" y="2572"/>
                </a:lnTo>
                <a:lnTo>
                  <a:pt x="4190" y="2568"/>
                </a:lnTo>
                <a:lnTo>
                  <a:pt x="4188" y="2566"/>
                </a:lnTo>
                <a:lnTo>
                  <a:pt x="4186" y="2568"/>
                </a:lnTo>
                <a:lnTo>
                  <a:pt x="4180" y="2574"/>
                </a:lnTo>
                <a:lnTo>
                  <a:pt x="4174" y="2586"/>
                </a:lnTo>
                <a:lnTo>
                  <a:pt x="4174" y="2588"/>
                </a:lnTo>
                <a:lnTo>
                  <a:pt x="4176" y="2588"/>
                </a:lnTo>
                <a:lnTo>
                  <a:pt x="4180" y="2590"/>
                </a:lnTo>
                <a:lnTo>
                  <a:pt x="4182" y="2592"/>
                </a:lnTo>
                <a:lnTo>
                  <a:pt x="4184" y="2596"/>
                </a:lnTo>
                <a:lnTo>
                  <a:pt x="4184" y="2600"/>
                </a:lnTo>
                <a:lnTo>
                  <a:pt x="4184" y="2602"/>
                </a:lnTo>
                <a:lnTo>
                  <a:pt x="4190" y="2602"/>
                </a:lnTo>
                <a:lnTo>
                  <a:pt x="4196" y="2602"/>
                </a:lnTo>
                <a:lnTo>
                  <a:pt x="4198" y="2604"/>
                </a:lnTo>
                <a:lnTo>
                  <a:pt x="4202" y="2606"/>
                </a:lnTo>
                <a:lnTo>
                  <a:pt x="4208" y="2612"/>
                </a:lnTo>
                <a:lnTo>
                  <a:pt x="4214" y="2614"/>
                </a:lnTo>
                <a:lnTo>
                  <a:pt x="4226" y="2616"/>
                </a:lnTo>
                <a:lnTo>
                  <a:pt x="4248" y="2624"/>
                </a:lnTo>
                <a:lnTo>
                  <a:pt x="4252" y="2626"/>
                </a:lnTo>
                <a:lnTo>
                  <a:pt x="4256" y="2626"/>
                </a:lnTo>
                <a:lnTo>
                  <a:pt x="4256" y="2620"/>
                </a:lnTo>
                <a:lnTo>
                  <a:pt x="4256" y="2612"/>
                </a:lnTo>
                <a:lnTo>
                  <a:pt x="4256" y="2608"/>
                </a:lnTo>
                <a:lnTo>
                  <a:pt x="4258" y="2604"/>
                </a:lnTo>
                <a:lnTo>
                  <a:pt x="4264" y="2600"/>
                </a:lnTo>
                <a:lnTo>
                  <a:pt x="4268" y="2598"/>
                </a:lnTo>
                <a:lnTo>
                  <a:pt x="4270" y="2596"/>
                </a:lnTo>
                <a:lnTo>
                  <a:pt x="4268" y="2596"/>
                </a:lnTo>
                <a:close/>
                <a:moveTo>
                  <a:pt x="4356" y="2612"/>
                </a:moveTo>
                <a:lnTo>
                  <a:pt x="4356" y="2612"/>
                </a:lnTo>
                <a:lnTo>
                  <a:pt x="4346" y="2608"/>
                </a:lnTo>
                <a:lnTo>
                  <a:pt x="4342" y="2606"/>
                </a:lnTo>
                <a:lnTo>
                  <a:pt x="4340" y="2604"/>
                </a:lnTo>
                <a:lnTo>
                  <a:pt x="4338" y="2596"/>
                </a:lnTo>
                <a:lnTo>
                  <a:pt x="4340" y="2582"/>
                </a:lnTo>
                <a:lnTo>
                  <a:pt x="4340" y="2568"/>
                </a:lnTo>
                <a:lnTo>
                  <a:pt x="4338" y="2566"/>
                </a:lnTo>
                <a:lnTo>
                  <a:pt x="4336" y="2564"/>
                </a:lnTo>
                <a:lnTo>
                  <a:pt x="4334" y="2564"/>
                </a:lnTo>
                <a:lnTo>
                  <a:pt x="4330" y="2568"/>
                </a:lnTo>
                <a:lnTo>
                  <a:pt x="4318" y="2582"/>
                </a:lnTo>
                <a:lnTo>
                  <a:pt x="4306" y="2598"/>
                </a:lnTo>
                <a:lnTo>
                  <a:pt x="4298" y="2612"/>
                </a:lnTo>
                <a:lnTo>
                  <a:pt x="4296" y="2620"/>
                </a:lnTo>
                <a:lnTo>
                  <a:pt x="4294" y="2628"/>
                </a:lnTo>
                <a:lnTo>
                  <a:pt x="4296" y="2636"/>
                </a:lnTo>
                <a:lnTo>
                  <a:pt x="4298" y="2646"/>
                </a:lnTo>
                <a:lnTo>
                  <a:pt x="4302" y="2652"/>
                </a:lnTo>
                <a:lnTo>
                  <a:pt x="4304" y="2652"/>
                </a:lnTo>
                <a:lnTo>
                  <a:pt x="4306" y="2652"/>
                </a:lnTo>
                <a:lnTo>
                  <a:pt x="4312" y="2644"/>
                </a:lnTo>
                <a:lnTo>
                  <a:pt x="4314" y="2632"/>
                </a:lnTo>
                <a:lnTo>
                  <a:pt x="4320" y="2622"/>
                </a:lnTo>
                <a:lnTo>
                  <a:pt x="4322" y="2620"/>
                </a:lnTo>
                <a:lnTo>
                  <a:pt x="4324" y="2618"/>
                </a:lnTo>
                <a:lnTo>
                  <a:pt x="4326" y="2620"/>
                </a:lnTo>
                <a:lnTo>
                  <a:pt x="4326" y="2622"/>
                </a:lnTo>
                <a:lnTo>
                  <a:pt x="4324" y="2634"/>
                </a:lnTo>
                <a:lnTo>
                  <a:pt x="4324" y="2646"/>
                </a:lnTo>
                <a:lnTo>
                  <a:pt x="4324" y="2648"/>
                </a:lnTo>
                <a:lnTo>
                  <a:pt x="4326" y="2650"/>
                </a:lnTo>
                <a:lnTo>
                  <a:pt x="4334" y="2646"/>
                </a:lnTo>
                <a:lnTo>
                  <a:pt x="4344" y="2640"/>
                </a:lnTo>
                <a:lnTo>
                  <a:pt x="4354" y="2632"/>
                </a:lnTo>
                <a:lnTo>
                  <a:pt x="4362" y="2622"/>
                </a:lnTo>
                <a:lnTo>
                  <a:pt x="4364" y="2620"/>
                </a:lnTo>
                <a:lnTo>
                  <a:pt x="4364" y="2616"/>
                </a:lnTo>
                <a:lnTo>
                  <a:pt x="4360" y="2614"/>
                </a:lnTo>
                <a:lnTo>
                  <a:pt x="4356" y="2612"/>
                </a:lnTo>
                <a:close/>
                <a:moveTo>
                  <a:pt x="4284" y="2440"/>
                </a:moveTo>
                <a:lnTo>
                  <a:pt x="4284" y="2440"/>
                </a:lnTo>
                <a:lnTo>
                  <a:pt x="4286" y="2438"/>
                </a:lnTo>
                <a:lnTo>
                  <a:pt x="4284" y="2436"/>
                </a:lnTo>
                <a:lnTo>
                  <a:pt x="4280" y="2430"/>
                </a:lnTo>
                <a:lnTo>
                  <a:pt x="4272" y="2424"/>
                </a:lnTo>
                <a:lnTo>
                  <a:pt x="4260" y="2416"/>
                </a:lnTo>
                <a:lnTo>
                  <a:pt x="4246" y="2410"/>
                </a:lnTo>
                <a:lnTo>
                  <a:pt x="4230" y="2404"/>
                </a:lnTo>
                <a:lnTo>
                  <a:pt x="4212" y="2398"/>
                </a:lnTo>
                <a:lnTo>
                  <a:pt x="4194" y="2396"/>
                </a:lnTo>
                <a:lnTo>
                  <a:pt x="4178" y="2394"/>
                </a:lnTo>
                <a:lnTo>
                  <a:pt x="4170" y="2394"/>
                </a:lnTo>
                <a:lnTo>
                  <a:pt x="4168" y="2396"/>
                </a:lnTo>
                <a:lnTo>
                  <a:pt x="4172" y="2398"/>
                </a:lnTo>
                <a:lnTo>
                  <a:pt x="4186" y="2408"/>
                </a:lnTo>
                <a:lnTo>
                  <a:pt x="4202" y="2418"/>
                </a:lnTo>
                <a:lnTo>
                  <a:pt x="4220" y="2430"/>
                </a:lnTo>
                <a:lnTo>
                  <a:pt x="4246" y="2442"/>
                </a:lnTo>
                <a:lnTo>
                  <a:pt x="4258" y="2446"/>
                </a:lnTo>
                <a:lnTo>
                  <a:pt x="4270" y="2446"/>
                </a:lnTo>
                <a:lnTo>
                  <a:pt x="4278" y="2446"/>
                </a:lnTo>
                <a:lnTo>
                  <a:pt x="4282" y="2444"/>
                </a:lnTo>
                <a:lnTo>
                  <a:pt x="4284" y="2440"/>
                </a:lnTo>
                <a:close/>
                <a:moveTo>
                  <a:pt x="4640" y="2510"/>
                </a:moveTo>
                <a:lnTo>
                  <a:pt x="4640" y="2510"/>
                </a:lnTo>
                <a:lnTo>
                  <a:pt x="4646" y="2502"/>
                </a:lnTo>
                <a:lnTo>
                  <a:pt x="4646" y="2496"/>
                </a:lnTo>
                <a:lnTo>
                  <a:pt x="4644" y="2496"/>
                </a:lnTo>
                <a:lnTo>
                  <a:pt x="4640" y="2496"/>
                </a:lnTo>
                <a:lnTo>
                  <a:pt x="4628" y="2506"/>
                </a:lnTo>
                <a:lnTo>
                  <a:pt x="4622" y="2514"/>
                </a:lnTo>
                <a:lnTo>
                  <a:pt x="4616" y="2522"/>
                </a:lnTo>
                <a:lnTo>
                  <a:pt x="4612" y="2528"/>
                </a:lnTo>
                <a:lnTo>
                  <a:pt x="4608" y="2528"/>
                </a:lnTo>
                <a:lnTo>
                  <a:pt x="4608" y="2526"/>
                </a:lnTo>
                <a:lnTo>
                  <a:pt x="4608" y="2520"/>
                </a:lnTo>
                <a:lnTo>
                  <a:pt x="4608" y="2512"/>
                </a:lnTo>
                <a:lnTo>
                  <a:pt x="4612" y="2504"/>
                </a:lnTo>
                <a:lnTo>
                  <a:pt x="4616" y="2498"/>
                </a:lnTo>
                <a:lnTo>
                  <a:pt x="4622" y="2492"/>
                </a:lnTo>
                <a:lnTo>
                  <a:pt x="4630" y="2488"/>
                </a:lnTo>
                <a:lnTo>
                  <a:pt x="4634" y="2484"/>
                </a:lnTo>
                <a:lnTo>
                  <a:pt x="4636" y="2480"/>
                </a:lnTo>
                <a:lnTo>
                  <a:pt x="4638" y="2476"/>
                </a:lnTo>
                <a:lnTo>
                  <a:pt x="4636" y="2474"/>
                </a:lnTo>
                <a:lnTo>
                  <a:pt x="4634" y="2472"/>
                </a:lnTo>
                <a:lnTo>
                  <a:pt x="4630" y="2472"/>
                </a:lnTo>
                <a:lnTo>
                  <a:pt x="4626" y="2474"/>
                </a:lnTo>
                <a:lnTo>
                  <a:pt x="4620" y="2476"/>
                </a:lnTo>
                <a:lnTo>
                  <a:pt x="4614" y="2476"/>
                </a:lnTo>
                <a:lnTo>
                  <a:pt x="4608" y="2474"/>
                </a:lnTo>
                <a:lnTo>
                  <a:pt x="4602" y="2470"/>
                </a:lnTo>
                <a:lnTo>
                  <a:pt x="4600" y="2466"/>
                </a:lnTo>
                <a:lnTo>
                  <a:pt x="4600" y="2460"/>
                </a:lnTo>
                <a:lnTo>
                  <a:pt x="4602" y="2456"/>
                </a:lnTo>
                <a:lnTo>
                  <a:pt x="4610" y="2448"/>
                </a:lnTo>
                <a:lnTo>
                  <a:pt x="4616" y="2442"/>
                </a:lnTo>
                <a:lnTo>
                  <a:pt x="4618" y="2436"/>
                </a:lnTo>
                <a:lnTo>
                  <a:pt x="4614" y="2430"/>
                </a:lnTo>
                <a:lnTo>
                  <a:pt x="4610" y="2426"/>
                </a:lnTo>
                <a:lnTo>
                  <a:pt x="4602" y="2424"/>
                </a:lnTo>
                <a:lnTo>
                  <a:pt x="4590" y="2422"/>
                </a:lnTo>
                <a:lnTo>
                  <a:pt x="4578" y="2422"/>
                </a:lnTo>
                <a:lnTo>
                  <a:pt x="4566" y="2426"/>
                </a:lnTo>
                <a:lnTo>
                  <a:pt x="4554" y="2428"/>
                </a:lnTo>
                <a:lnTo>
                  <a:pt x="4548" y="2428"/>
                </a:lnTo>
                <a:lnTo>
                  <a:pt x="4546" y="2428"/>
                </a:lnTo>
                <a:lnTo>
                  <a:pt x="4546" y="2426"/>
                </a:lnTo>
                <a:lnTo>
                  <a:pt x="4546" y="2422"/>
                </a:lnTo>
                <a:lnTo>
                  <a:pt x="4542" y="2420"/>
                </a:lnTo>
                <a:lnTo>
                  <a:pt x="4536" y="2422"/>
                </a:lnTo>
                <a:lnTo>
                  <a:pt x="4528" y="2422"/>
                </a:lnTo>
                <a:lnTo>
                  <a:pt x="4524" y="2420"/>
                </a:lnTo>
                <a:lnTo>
                  <a:pt x="4520" y="2418"/>
                </a:lnTo>
                <a:lnTo>
                  <a:pt x="4518" y="2414"/>
                </a:lnTo>
                <a:lnTo>
                  <a:pt x="4518" y="2408"/>
                </a:lnTo>
                <a:lnTo>
                  <a:pt x="4520" y="2404"/>
                </a:lnTo>
                <a:lnTo>
                  <a:pt x="4524" y="2400"/>
                </a:lnTo>
                <a:lnTo>
                  <a:pt x="4528" y="2398"/>
                </a:lnTo>
                <a:lnTo>
                  <a:pt x="4532" y="2396"/>
                </a:lnTo>
                <a:lnTo>
                  <a:pt x="4532" y="2392"/>
                </a:lnTo>
                <a:lnTo>
                  <a:pt x="4530" y="2388"/>
                </a:lnTo>
                <a:lnTo>
                  <a:pt x="4526" y="2386"/>
                </a:lnTo>
                <a:lnTo>
                  <a:pt x="4522" y="2384"/>
                </a:lnTo>
                <a:lnTo>
                  <a:pt x="4514" y="2384"/>
                </a:lnTo>
                <a:lnTo>
                  <a:pt x="4506" y="2388"/>
                </a:lnTo>
                <a:lnTo>
                  <a:pt x="4496" y="2394"/>
                </a:lnTo>
                <a:lnTo>
                  <a:pt x="4490" y="2400"/>
                </a:lnTo>
                <a:lnTo>
                  <a:pt x="4486" y="2402"/>
                </a:lnTo>
                <a:lnTo>
                  <a:pt x="4484" y="2400"/>
                </a:lnTo>
                <a:lnTo>
                  <a:pt x="4486" y="2394"/>
                </a:lnTo>
                <a:lnTo>
                  <a:pt x="4496" y="2374"/>
                </a:lnTo>
                <a:lnTo>
                  <a:pt x="4508" y="2354"/>
                </a:lnTo>
                <a:lnTo>
                  <a:pt x="4518" y="2336"/>
                </a:lnTo>
                <a:lnTo>
                  <a:pt x="4526" y="2322"/>
                </a:lnTo>
                <a:lnTo>
                  <a:pt x="4536" y="2308"/>
                </a:lnTo>
                <a:lnTo>
                  <a:pt x="4538" y="2304"/>
                </a:lnTo>
                <a:lnTo>
                  <a:pt x="4540" y="2298"/>
                </a:lnTo>
                <a:lnTo>
                  <a:pt x="4538" y="2294"/>
                </a:lnTo>
                <a:lnTo>
                  <a:pt x="4536" y="2292"/>
                </a:lnTo>
                <a:lnTo>
                  <a:pt x="4530" y="2290"/>
                </a:lnTo>
                <a:lnTo>
                  <a:pt x="4524" y="2292"/>
                </a:lnTo>
                <a:lnTo>
                  <a:pt x="4514" y="2294"/>
                </a:lnTo>
                <a:lnTo>
                  <a:pt x="4504" y="2298"/>
                </a:lnTo>
                <a:lnTo>
                  <a:pt x="4494" y="2304"/>
                </a:lnTo>
                <a:lnTo>
                  <a:pt x="4488" y="2310"/>
                </a:lnTo>
                <a:lnTo>
                  <a:pt x="4484" y="2316"/>
                </a:lnTo>
                <a:lnTo>
                  <a:pt x="4482" y="2320"/>
                </a:lnTo>
                <a:lnTo>
                  <a:pt x="4480" y="2328"/>
                </a:lnTo>
                <a:lnTo>
                  <a:pt x="4478" y="2332"/>
                </a:lnTo>
                <a:lnTo>
                  <a:pt x="4472" y="2336"/>
                </a:lnTo>
                <a:lnTo>
                  <a:pt x="4466" y="2342"/>
                </a:lnTo>
                <a:lnTo>
                  <a:pt x="4460" y="2350"/>
                </a:lnTo>
                <a:lnTo>
                  <a:pt x="4448" y="2376"/>
                </a:lnTo>
                <a:lnTo>
                  <a:pt x="4434" y="2408"/>
                </a:lnTo>
                <a:lnTo>
                  <a:pt x="4420" y="2440"/>
                </a:lnTo>
                <a:lnTo>
                  <a:pt x="4410" y="2460"/>
                </a:lnTo>
                <a:lnTo>
                  <a:pt x="4408" y="2464"/>
                </a:lnTo>
                <a:lnTo>
                  <a:pt x="4406" y="2462"/>
                </a:lnTo>
                <a:lnTo>
                  <a:pt x="4406" y="2460"/>
                </a:lnTo>
                <a:lnTo>
                  <a:pt x="4402" y="2462"/>
                </a:lnTo>
                <a:lnTo>
                  <a:pt x="4396" y="2464"/>
                </a:lnTo>
                <a:lnTo>
                  <a:pt x="4386" y="2474"/>
                </a:lnTo>
                <a:lnTo>
                  <a:pt x="4384" y="2476"/>
                </a:lnTo>
                <a:lnTo>
                  <a:pt x="4384" y="2478"/>
                </a:lnTo>
                <a:lnTo>
                  <a:pt x="4384" y="2480"/>
                </a:lnTo>
                <a:lnTo>
                  <a:pt x="4388" y="2482"/>
                </a:lnTo>
                <a:lnTo>
                  <a:pt x="4402" y="2484"/>
                </a:lnTo>
                <a:lnTo>
                  <a:pt x="4406" y="2486"/>
                </a:lnTo>
                <a:lnTo>
                  <a:pt x="4406" y="2488"/>
                </a:lnTo>
                <a:lnTo>
                  <a:pt x="4394" y="2498"/>
                </a:lnTo>
                <a:lnTo>
                  <a:pt x="4386" y="2504"/>
                </a:lnTo>
                <a:lnTo>
                  <a:pt x="4380" y="2510"/>
                </a:lnTo>
                <a:lnTo>
                  <a:pt x="4378" y="2514"/>
                </a:lnTo>
                <a:lnTo>
                  <a:pt x="4378" y="2516"/>
                </a:lnTo>
                <a:lnTo>
                  <a:pt x="4378" y="2520"/>
                </a:lnTo>
                <a:lnTo>
                  <a:pt x="4382" y="2524"/>
                </a:lnTo>
                <a:lnTo>
                  <a:pt x="4384" y="2528"/>
                </a:lnTo>
                <a:lnTo>
                  <a:pt x="4390" y="2530"/>
                </a:lnTo>
                <a:lnTo>
                  <a:pt x="4398" y="2530"/>
                </a:lnTo>
                <a:lnTo>
                  <a:pt x="4416" y="2526"/>
                </a:lnTo>
                <a:lnTo>
                  <a:pt x="4426" y="2524"/>
                </a:lnTo>
                <a:lnTo>
                  <a:pt x="4434" y="2524"/>
                </a:lnTo>
                <a:lnTo>
                  <a:pt x="4446" y="2528"/>
                </a:lnTo>
                <a:lnTo>
                  <a:pt x="4452" y="2530"/>
                </a:lnTo>
                <a:lnTo>
                  <a:pt x="4462" y="2532"/>
                </a:lnTo>
                <a:lnTo>
                  <a:pt x="4474" y="2532"/>
                </a:lnTo>
                <a:lnTo>
                  <a:pt x="4490" y="2530"/>
                </a:lnTo>
                <a:lnTo>
                  <a:pt x="4504" y="2528"/>
                </a:lnTo>
                <a:lnTo>
                  <a:pt x="4512" y="2528"/>
                </a:lnTo>
                <a:lnTo>
                  <a:pt x="4514" y="2530"/>
                </a:lnTo>
                <a:lnTo>
                  <a:pt x="4512" y="2532"/>
                </a:lnTo>
                <a:lnTo>
                  <a:pt x="4512" y="2534"/>
                </a:lnTo>
                <a:lnTo>
                  <a:pt x="4514" y="2536"/>
                </a:lnTo>
                <a:lnTo>
                  <a:pt x="4520" y="2538"/>
                </a:lnTo>
                <a:lnTo>
                  <a:pt x="4532" y="2536"/>
                </a:lnTo>
                <a:lnTo>
                  <a:pt x="4544" y="2536"/>
                </a:lnTo>
                <a:lnTo>
                  <a:pt x="4548" y="2538"/>
                </a:lnTo>
                <a:lnTo>
                  <a:pt x="4546" y="2542"/>
                </a:lnTo>
                <a:lnTo>
                  <a:pt x="4540" y="2548"/>
                </a:lnTo>
                <a:lnTo>
                  <a:pt x="4522" y="2560"/>
                </a:lnTo>
                <a:lnTo>
                  <a:pt x="4516" y="2564"/>
                </a:lnTo>
                <a:lnTo>
                  <a:pt x="4514" y="2570"/>
                </a:lnTo>
                <a:lnTo>
                  <a:pt x="4514" y="2574"/>
                </a:lnTo>
                <a:lnTo>
                  <a:pt x="4518" y="2576"/>
                </a:lnTo>
                <a:lnTo>
                  <a:pt x="4522" y="2578"/>
                </a:lnTo>
                <a:lnTo>
                  <a:pt x="4526" y="2578"/>
                </a:lnTo>
                <a:lnTo>
                  <a:pt x="4532" y="2576"/>
                </a:lnTo>
                <a:lnTo>
                  <a:pt x="4540" y="2572"/>
                </a:lnTo>
                <a:lnTo>
                  <a:pt x="4546" y="2566"/>
                </a:lnTo>
                <a:lnTo>
                  <a:pt x="4552" y="2558"/>
                </a:lnTo>
                <a:lnTo>
                  <a:pt x="4558" y="2550"/>
                </a:lnTo>
                <a:lnTo>
                  <a:pt x="4564" y="2546"/>
                </a:lnTo>
                <a:lnTo>
                  <a:pt x="4566" y="2544"/>
                </a:lnTo>
                <a:lnTo>
                  <a:pt x="4570" y="2544"/>
                </a:lnTo>
                <a:lnTo>
                  <a:pt x="4572" y="2542"/>
                </a:lnTo>
                <a:lnTo>
                  <a:pt x="4576" y="2540"/>
                </a:lnTo>
                <a:lnTo>
                  <a:pt x="4578" y="2538"/>
                </a:lnTo>
                <a:lnTo>
                  <a:pt x="4582" y="2530"/>
                </a:lnTo>
                <a:lnTo>
                  <a:pt x="4586" y="2524"/>
                </a:lnTo>
                <a:lnTo>
                  <a:pt x="4590" y="2520"/>
                </a:lnTo>
                <a:lnTo>
                  <a:pt x="4594" y="2518"/>
                </a:lnTo>
                <a:lnTo>
                  <a:pt x="4596" y="2520"/>
                </a:lnTo>
                <a:lnTo>
                  <a:pt x="4598" y="2524"/>
                </a:lnTo>
                <a:lnTo>
                  <a:pt x="4598" y="2530"/>
                </a:lnTo>
                <a:lnTo>
                  <a:pt x="4598" y="2538"/>
                </a:lnTo>
                <a:lnTo>
                  <a:pt x="4594" y="2548"/>
                </a:lnTo>
                <a:lnTo>
                  <a:pt x="4590" y="2564"/>
                </a:lnTo>
                <a:lnTo>
                  <a:pt x="4588" y="2574"/>
                </a:lnTo>
                <a:lnTo>
                  <a:pt x="4588" y="2576"/>
                </a:lnTo>
                <a:lnTo>
                  <a:pt x="4592" y="2576"/>
                </a:lnTo>
                <a:lnTo>
                  <a:pt x="4600" y="2570"/>
                </a:lnTo>
                <a:lnTo>
                  <a:pt x="4606" y="2566"/>
                </a:lnTo>
                <a:lnTo>
                  <a:pt x="4608" y="2566"/>
                </a:lnTo>
                <a:lnTo>
                  <a:pt x="4610" y="2568"/>
                </a:lnTo>
                <a:lnTo>
                  <a:pt x="4612" y="2572"/>
                </a:lnTo>
                <a:lnTo>
                  <a:pt x="4614" y="2576"/>
                </a:lnTo>
                <a:lnTo>
                  <a:pt x="4618" y="2580"/>
                </a:lnTo>
                <a:lnTo>
                  <a:pt x="4624" y="2584"/>
                </a:lnTo>
                <a:lnTo>
                  <a:pt x="4630" y="2586"/>
                </a:lnTo>
                <a:lnTo>
                  <a:pt x="4638" y="2584"/>
                </a:lnTo>
                <a:lnTo>
                  <a:pt x="4642" y="2582"/>
                </a:lnTo>
                <a:lnTo>
                  <a:pt x="4644" y="2580"/>
                </a:lnTo>
                <a:lnTo>
                  <a:pt x="4644" y="2574"/>
                </a:lnTo>
                <a:lnTo>
                  <a:pt x="4644" y="2560"/>
                </a:lnTo>
                <a:lnTo>
                  <a:pt x="4644" y="2550"/>
                </a:lnTo>
                <a:lnTo>
                  <a:pt x="4648" y="2536"/>
                </a:lnTo>
                <a:lnTo>
                  <a:pt x="4650" y="2526"/>
                </a:lnTo>
                <a:lnTo>
                  <a:pt x="4650" y="2522"/>
                </a:lnTo>
                <a:lnTo>
                  <a:pt x="4648" y="2520"/>
                </a:lnTo>
                <a:lnTo>
                  <a:pt x="4644" y="2520"/>
                </a:lnTo>
                <a:lnTo>
                  <a:pt x="4640" y="2522"/>
                </a:lnTo>
                <a:lnTo>
                  <a:pt x="4636" y="2520"/>
                </a:lnTo>
                <a:lnTo>
                  <a:pt x="4636" y="2518"/>
                </a:lnTo>
                <a:lnTo>
                  <a:pt x="4640" y="2510"/>
                </a:lnTo>
                <a:close/>
                <a:moveTo>
                  <a:pt x="3266" y="1234"/>
                </a:moveTo>
                <a:lnTo>
                  <a:pt x="3266" y="1234"/>
                </a:lnTo>
                <a:lnTo>
                  <a:pt x="3276" y="1242"/>
                </a:lnTo>
                <a:lnTo>
                  <a:pt x="3278" y="1244"/>
                </a:lnTo>
                <a:lnTo>
                  <a:pt x="3280" y="1244"/>
                </a:lnTo>
                <a:lnTo>
                  <a:pt x="3284" y="1240"/>
                </a:lnTo>
                <a:lnTo>
                  <a:pt x="3286" y="1234"/>
                </a:lnTo>
                <a:lnTo>
                  <a:pt x="3286" y="1218"/>
                </a:lnTo>
                <a:lnTo>
                  <a:pt x="3282" y="1206"/>
                </a:lnTo>
                <a:lnTo>
                  <a:pt x="3280" y="1204"/>
                </a:lnTo>
                <a:lnTo>
                  <a:pt x="3276" y="1206"/>
                </a:lnTo>
                <a:lnTo>
                  <a:pt x="3272" y="1208"/>
                </a:lnTo>
                <a:lnTo>
                  <a:pt x="3268" y="1210"/>
                </a:lnTo>
                <a:lnTo>
                  <a:pt x="3264" y="1216"/>
                </a:lnTo>
                <a:lnTo>
                  <a:pt x="3262" y="1220"/>
                </a:lnTo>
                <a:lnTo>
                  <a:pt x="3264" y="1228"/>
                </a:lnTo>
                <a:lnTo>
                  <a:pt x="3266" y="1234"/>
                </a:lnTo>
                <a:close/>
                <a:moveTo>
                  <a:pt x="1702" y="940"/>
                </a:moveTo>
                <a:lnTo>
                  <a:pt x="1702" y="940"/>
                </a:lnTo>
                <a:lnTo>
                  <a:pt x="1718" y="944"/>
                </a:lnTo>
                <a:lnTo>
                  <a:pt x="1736" y="950"/>
                </a:lnTo>
                <a:lnTo>
                  <a:pt x="1766" y="960"/>
                </a:lnTo>
                <a:lnTo>
                  <a:pt x="1776" y="966"/>
                </a:lnTo>
                <a:lnTo>
                  <a:pt x="1784" y="972"/>
                </a:lnTo>
                <a:lnTo>
                  <a:pt x="1790" y="978"/>
                </a:lnTo>
                <a:lnTo>
                  <a:pt x="1794" y="984"/>
                </a:lnTo>
                <a:lnTo>
                  <a:pt x="1800" y="996"/>
                </a:lnTo>
                <a:lnTo>
                  <a:pt x="1804" y="1002"/>
                </a:lnTo>
                <a:lnTo>
                  <a:pt x="1808" y="1004"/>
                </a:lnTo>
                <a:lnTo>
                  <a:pt x="1814" y="1006"/>
                </a:lnTo>
                <a:lnTo>
                  <a:pt x="1820" y="1006"/>
                </a:lnTo>
                <a:lnTo>
                  <a:pt x="1832" y="1002"/>
                </a:lnTo>
                <a:lnTo>
                  <a:pt x="1846" y="994"/>
                </a:lnTo>
                <a:lnTo>
                  <a:pt x="1860" y="984"/>
                </a:lnTo>
                <a:lnTo>
                  <a:pt x="1866" y="982"/>
                </a:lnTo>
                <a:lnTo>
                  <a:pt x="1870" y="980"/>
                </a:lnTo>
                <a:lnTo>
                  <a:pt x="1878" y="982"/>
                </a:lnTo>
                <a:lnTo>
                  <a:pt x="1882" y="982"/>
                </a:lnTo>
                <a:lnTo>
                  <a:pt x="1888" y="984"/>
                </a:lnTo>
                <a:lnTo>
                  <a:pt x="1896" y="982"/>
                </a:lnTo>
                <a:lnTo>
                  <a:pt x="1906" y="978"/>
                </a:lnTo>
                <a:lnTo>
                  <a:pt x="1912" y="976"/>
                </a:lnTo>
                <a:lnTo>
                  <a:pt x="1914" y="972"/>
                </a:lnTo>
                <a:lnTo>
                  <a:pt x="1920" y="964"/>
                </a:lnTo>
                <a:lnTo>
                  <a:pt x="1922" y="954"/>
                </a:lnTo>
                <a:lnTo>
                  <a:pt x="1922" y="946"/>
                </a:lnTo>
                <a:lnTo>
                  <a:pt x="1922" y="936"/>
                </a:lnTo>
                <a:lnTo>
                  <a:pt x="1926" y="930"/>
                </a:lnTo>
                <a:lnTo>
                  <a:pt x="1932" y="924"/>
                </a:lnTo>
                <a:lnTo>
                  <a:pt x="1942" y="920"/>
                </a:lnTo>
                <a:lnTo>
                  <a:pt x="1952" y="918"/>
                </a:lnTo>
                <a:lnTo>
                  <a:pt x="1958" y="914"/>
                </a:lnTo>
                <a:lnTo>
                  <a:pt x="1962" y="910"/>
                </a:lnTo>
                <a:lnTo>
                  <a:pt x="1964" y="904"/>
                </a:lnTo>
                <a:lnTo>
                  <a:pt x="1966" y="898"/>
                </a:lnTo>
                <a:lnTo>
                  <a:pt x="1970" y="892"/>
                </a:lnTo>
                <a:lnTo>
                  <a:pt x="1978" y="886"/>
                </a:lnTo>
                <a:lnTo>
                  <a:pt x="1992" y="880"/>
                </a:lnTo>
                <a:lnTo>
                  <a:pt x="2020" y="868"/>
                </a:lnTo>
                <a:lnTo>
                  <a:pt x="2046" y="856"/>
                </a:lnTo>
                <a:lnTo>
                  <a:pt x="2070" y="846"/>
                </a:lnTo>
                <a:lnTo>
                  <a:pt x="2090" y="840"/>
                </a:lnTo>
                <a:lnTo>
                  <a:pt x="2106" y="836"/>
                </a:lnTo>
                <a:lnTo>
                  <a:pt x="2116" y="832"/>
                </a:lnTo>
                <a:lnTo>
                  <a:pt x="2122" y="826"/>
                </a:lnTo>
                <a:lnTo>
                  <a:pt x="2124" y="822"/>
                </a:lnTo>
                <a:lnTo>
                  <a:pt x="2122" y="818"/>
                </a:lnTo>
                <a:lnTo>
                  <a:pt x="2118" y="814"/>
                </a:lnTo>
                <a:lnTo>
                  <a:pt x="2106" y="810"/>
                </a:lnTo>
                <a:lnTo>
                  <a:pt x="2096" y="806"/>
                </a:lnTo>
                <a:lnTo>
                  <a:pt x="2088" y="800"/>
                </a:lnTo>
                <a:lnTo>
                  <a:pt x="2068" y="786"/>
                </a:lnTo>
                <a:lnTo>
                  <a:pt x="2058" y="778"/>
                </a:lnTo>
                <a:lnTo>
                  <a:pt x="2046" y="772"/>
                </a:lnTo>
                <a:lnTo>
                  <a:pt x="2032" y="768"/>
                </a:lnTo>
                <a:lnTo>
                  <a:pt x="2016" y="766"/>
                </a:lnTo>
                <a:lnTo>
                  <a:pt x="2002" y="768"/>
                </a:lnTo>
                <a:lnTo>
                  <a:pt x="1992" y="770"/>
                </a:lnTo>
                <a:lnTo>
                  <a:pt x="1986" y="772"/>
                </a:lnTo>
                <a:lnTo>
                  <a:pt x="1982" y="776"/>
                </a:lnTo>
                <a:lnTo>
                  <a:pt x="1980" y="782"/>
                </a:lnTo>
                <a:lnTo>
                  <a:pt x="1978" y="784"/>
                </a:lnTo>
                <a:lnTo>
                  <a:pt x="1974" y="786"/>
                </a:lnTo>
                <a:lnTo>
                  <a:pt x="1970" y="786"/>
                </a:lnTo>
                <a:lnTo>
                  <a:pt x="1972" y="782"/>
                </a:lnTo>
                <a:lnTo>
                  <a:pt x="1972" y="776"/>
                </a:lnTo>
                <a:lnTo>
                  <a:pt x="1970" y="774"/>
                </a:lnTo>
                <a:lnTo>
                  <a:pt x="1968" y="772"/>
                </a:lnTo>
                <a:lnTo>
                  <a:pt x="1964" y="770"/>
                </a:lnTo>
                <a:lnTo>
                  <a:pt x="1958" y="770"/>
                </a:lnTo>
                <a:lnTo>
                  <a:pt x="1948" y="770"/>
                </a:lnTo>
                <a:lnTo>
                  <a:pt x="1932" y="766"/>
                </a:lnTo>
                <a:lnTo>
                  <a:pt x="1918" y="762"/>
                </a:lnTo>
                <a:lnTo>
                  <a:pt x="1906" y="756"/>
                </a:lnTo>
                <a:lnTo>
                  <a:pt x="1890" y="748"/>
                </a:lnTo>
                <a:lnTo>
                  <a:pt x="1884" y="746"/>
                </a:lnTo>
                <a:lnTo>
                  <a:pt x="1876" y="744"/>
                </a:lnTo>
                <a:lnTo>
                  <a:pt x="1866" y="744"/>
                </a:lnTo>
                <a:lnTo>
                  <a:pt x="1854" y="748"/>
                </a:lnTo>
                <a:lnTo>
                  <a:pt x="1836" y="752"/>
                </a:lnTo>
                <a:lnTo>
                  <a:pt x="1818" y="754"/>
                </a:lnTo>
                <a:lnTo>
                  <a:pt x="1780" y="758"/>
                </a:lnTo>
                <a:lnTo>
                  <a:pt x="1754" y="760"/>
                </a:lnTo>
                <a:lnTo>
                  <a:pt x="1748" y="762"/>
                </a:lnTo>
                <a:lnTo>
                  <a:pt x="1746" y="764"/>
                </a:lnTo>
                <a:lnTo>
                  <a:pt x="1748" y="766"/>
                </a:lnTo>
                <a:lnTo>
                  <a:pt x="1752" y="770"/>
                </a:lnTo>
                <a:lnTo>
                  <a:pt x="1754" y="774"/>
                </a:lnTo>
                <a:lnTo>
                  <a:pt x="1758" y="782"/>
                </a:lnTo>
                <a:lnTo>
                  <a:pt x="1760" y="786"/>
                </a:lnTo>
                <a:lnTo>
                  <a:pt x="1762" y="790"/>
                </a:lnTo>
                <a:lnTo>
                  <a:pt x="1768" y="794"/>
                </a:lnTo>
                <a:lnTo>
                  <a:pt x="1774" y="798"/>
                </a:lnTo>
                <a:lnTo>
                  <a:pt x="1782" y="800"/>
                </a:lnTo>
                <a:lnTo>
                  <a:pt x="1784" y="804"/>
                </a:lnTo>
                <a:lnTo>
                  <a:pt x="1784" y="806"/>
                </a:lnTo>
                <a:lnTo>
                  <a:pt x="1782" y="808"/>
                </a:lnTo>
                <a:lnTo>
                  <a:pt x="1774" y="814"/>
                </a:lnTo>
                <a:lnTo>
                  <a:pt x="1772" y="818"/>
                </a:lnTo>
                <a:lnTo>
                  <a:pt x="1772" y="822"/>
                </a:lnTo>
                <a:lnTo>
                  <a:pt x="1770" y="824"/>
                </a:lnTo>
                <a:lnTo>
                  <a:pt x="1768" y="826"/>
                </a:lnTo>
                <a:lnTo>
                  <a:pt x="1764" y="828"/>
                </a:lnTo>
                <a:lnTo>
                  <a:pt x="1758" y="828"/>
                </a:lnTo>
                <a:lnTo>
                  <a:pt x="1756" y="832"/>
                </a:lnTo>
                <a:lnTo>
                  <a:pt x="1754" y="836"/>
                </a:lnTo>
                <a:lnTo>
                  <a:pt x="1754" y="840"/>
                </a:lnTo>
                <a:lnTo>
                  <a:pt x="1752" y="844"/>
                </a:lnTo>
                <a:lnTo>
                  <a:pt x="1746" y="850"/>
                </a:lnTo>
                <a:lnTo>
                  <a:pt x="1742" y="856"/>
                </a:lnTo>
                <a:lnTo>
                  <a:pt x="1742" y="858"/>
                </a:lnTo>
                <a:lnTo>
                  <a:pt x="1744" y="860"/>
                </a:lnTo>
                <a:lnTo>
                  <a:pt x="1752" y="864"/>
                </a:lnTo>
                <a:lnTo>
                  <a:pt x="1754" y="868"/>
                </a:lnTo>
                <a:lnTo>
                  <a:pt x="1752" y="870"/>
                </a:lnTo>
                <a:lnTo>
                  <a:pt x="1742" y="872"/>
                </a:lnTo>
                <a:lnTo>
                  <a:pt x="1732" y="874"/>
                </a:lnTo>
                <a:lnTo>
                  <a:pt x="1728" y="876"/>
                </a:lnTo>
                <a:lnTo>
                  <a:pt x="1728" y="880"/>
                </a:lnTo>
                <a:lnTo>
                  <a:pt x="1732" y="886"/>
                </a:lnTo>
                <a:lnTo>
                  <a:pt x="1732" y="890"/>
                </a:lnTo>
                <a:lnTo>
                  <a:pt x="1730" y="894"/>
                </a:lnTo>
                <a:lnTo>
                  <a:pt x="1720" y="906"/>
                </a:lnTo>
                <a:lnTo>
                  <a:pt x="1710" y="918"/>
                </a:lnTo>
                <a:lnTo>
                  <a:pt x="1706" y="922"/>
                </a:lnTo>
                <a:lnTo>
                  <a:pt x="1704" y="928"/>
                </a:lnTo>
                <a:lnTo>
                  <a:pt x="1702" y="934"/>
                </a:lnTo>
                <a:lnTo>
                  <a:pt x="1700" y="936"/>
                </a:lnTo>
                <a:lnTo>
                  <a:pt x="1698" y="938"/>
                </a:lnTo>
                <a:lnTo>
                  <a:pt x="1702" y="940"/>
                </a:lnTo>
                <a:close/>
                <a:moveTo>
                  <a:pt x="2646" y="1098"/>
                </a:moveTo>
                <a:lnTo>
                  <a:pt x="2646" y="1098"/>
                </a:lnTo>
                <a:lnTo>
                  <a:pt x="2652" y="1096"/>
                </a:lnTo>
                <a:lnTo>
                  <a:pt x="2656" y="1096"/>
                </a:lnTo>
                <a:lnTo>
                  <a:pt x="2660" y="1100"/>
                </a:lnTo>
                <a:lnTo>
                  <a:pt x="2664" y="1102"/>
                </a:lnTo>
                <a:lnTo>
                  <a:pt x="2670" y="1108"/>
                </a:lnTo>
                <a:lnTo>
                  <a:pt x="2672" y="1108"/>
                </a:lnTo>
                <a:lnTo>
                  <a:pt x="2676" y="1106"/>
                </a:lnTo>
                <a:lnTo>
                  <a:pt x="2680" y="1102"/>
                </a:lnTo>
                <a:lnTo>
                  <a:pt x="2684" y="1104"/>
                </a:lnTo>
                <a:lnTo>
                  <a:pt x="2688" y="1108"/>
                </a:lnTo>
                <a:lnTo>
                  <a:pt x="2692" y="1108"/>
                </a:lnTo>
                <a:lnTo>
                  <a:pt x="2696" y="1110"/>
                </a:lnTo>
                <a:lnTo>
                  <a:pt x="2700" y="1108"/>
                </a:lnTo>
                <a:lnTo>
                  <a:pt x="2704" y="1106"/>
                </a:lnTo>
                <a:lnTo>
                  <a:pt x="2706" y="1104"/>
                </a:lnTo>
                <a:lnTo>
                  <a:pt x="2706" y="1100"/>
                </a:lnTo>
                <a:lnTo>
                  <a:pt x="2706" y="1090"/>
                </a:lnTo>
                <a:lnTo>
                  <a:pt x="2704" y="1078"/>
                </a:lnTo>
                <a:lnTo>
                  <a:pt x="2702" y="1074"/>
                </a:lnTo>
                <a:lnTo>
                  <a:pt x="2698" y="1072"/>
                </a:lnTo>
                <a:lnTo>
                  <a:pt x="2690" y="1074"/>
                </a:lnTo>
                <a:lnTo>
                  <a:pt x="2682" y="1074"/>
                </a:lnTo>
                <a:lnTo>
                  <a:pt x="2678" y="1072"/>
                </a:lnTo>
                <a:lnTo>
                  <a:pt x="2678" y="1070"/>
                </a:lnTo>
                <a:lnTo>
                  <a:pt x="2676" y="1066"/>
                </a:lnTo>
                <a:lnTo>
                  <a:pt x="2676" y="1064"/>
                </a:lnTo>
                <a:lnTo>
                  <a:pt x="2668" y="1064"/>
                </a:lnTo>
                <a:lnTo>
                  <a:pt x="2662" y="1062"/>
                </a:lnTo>
                <a:lnTo>
                  <a:pt x="2654" y="1060"/>
                </a:lnTo>
                <a:lnTo>
                  <a:pt x="2644" y="1054"/>
                </a:lnTo>
                <a:lnTo>
                  <a:pt x="2630" y="1044"/>
                </a:lnTo>
                <a:lnTo>
                  <a:pt x="2624" y="1038"/>
                </a:lnTo>
                <a:lnTo>
                  <a:pt x="2618" y="1036"/>
                </a:lnTo>
                <a:lnTo>
                  <a:pt x="2616" y="1036"/>
                </a:lnTo>
                <a:lnTo>
                  <a:pt x="2616" y="1042"/>
                </a:lnTo>
                <a:lnTo>
                  <a:pt x="2616" y="1044"/>
                </a:lnTo>
                <a:lnTo>
                  <a:pt x="2612" y="1046"/>
                </a:lnTo>
                <a:lnTo>
                  <a:pt x="2602" y="1042"/>
                </a:lnTo>
                <a:lnTo>
                  <a:pt x="2588" y="1036"/>
                </a:lnTo>
                <a:lnTo>
                  <a:pt x="2582" y="1030"/>
                </a:lnTo>
                <a:lnTo>
                  <a:pt x="2578" y="1026"/>
                </a:lnTo>
                <a:lnTo>
                  <a:pt x="2574" y="1020"/>
                </a:lnTo>
                <a:lnTo>
                  <a:pt x="2568" y="1016"/>
                </a:lnTo>
                <a:lnTo>
                  <a:pt x="2560" y="1010"/>
                </a:lnTo>
                <a:lnTo>
                  <a:pt x="2556" y="1006"/>
                </a:lnTo>
                <a:lnTo>
                  <a:pt x="2556" y="1004"/>
                </a:lnTo>
                <a:lnTo>
                  <a:pt x="2556" y="1002"/>
                </a:lnTo>
                <a:lnTo>
                  <a:pt x="2558" y="998"/>
                </a:lnTo>
                <a:lnTo>
                  <a:pt x="2564" y="988"/>
                </a:lnTo>
                <a:lnTo>
                  <a:pt x="2566" y="982"/>
                </a:lnTo>
                <a:lnTo>
                  <a:pt x="2566" y="976"/>
                </a:lnTo>
                <a:lnTo>
                  <a:pt x="2566" y="970"/>
                </a:lnTo>
                <a:lnTo>
                  <a:pt x="2562" y="964"/>
                </a:lnTo>
                <a:lnTo>
                  <a:pt x="2558" y="958"/>
                </a:lnTo>
                <a:lnTo>
                  <a:pt x="2552" y="952"/>
                </a:lnTo>
                <a:lnTo>
                  <a:pt x="2546" y="946"/>
                </a:lnTo>
                <a:lnTo>
                  <a:pt x="2542" y="938"/>
                </a:lnTo>
                <a:lnTo>
                  <a:pt x="2536" y="916"/>
                </a:lnTo>
                <a:lnTo>
                  <a:pt x="2530" y="894"/>
                </a:lnTo>
                <a:lnTo>
                  <a:pt x="2526" y="882"/>
                </a:lnTo>
                <a:lnTo>
                  <a:pt x="2520" y="874"/>
                </a:lnTo>
                <a:lnTo>
                  <a:pt x="2510" y="864"/>
                </a:lnTo>
                <a:lnTo>
                  <a:pt x="2502" y="860"/>
                </a:lnTo>
                <a:lnTo>
                  <a:pt x="2494" y="856"/>
                </a:lnTo>
                <a:lnTo>
                  <a:pt x="2476" y="846"/>
                </a:lnTo>
                <a:lnTo>
                  <a:pt x="2468" y="840"/>
                </a:lnTo>
                <a:lnTo>
                  <a:pt x="2464" y="838"/>
                </a:lnTo>
                <a:lnTo>
                  <a:pt x="2460" y="840"/>
                </a:lnTo>
                <a:lnTo>
                  <a:pt x="2460" y="842"/>
                </a:lnTo>
                <a:lnTo>
                  <a:pt x="2456" y="844"/>
                </a:lnTo>
                <a:lnTo>
                  <a:pt x="2454" y="846"/>
                </a:lnTo>
                <a:lnTo>
                  <a:pt x="2446" y="844"/>
                </a:lnTo>
                <a:lnTo>
                  <a:pt x="2434" y="840"/>
                </a:lnTo>
                <a:lnTo>
                  <a:pt x="2422" y="838"/>
                </a:lnTo>
                <a:lnTo>
                  <a:pt x="2416" y="838"/>
                </a:lnTo>
                <a:lnTo>
                  <a:pt x="2412" y="840"/>
                </a:lnTo>
                <a:lnTo>
                  <a:pt x="2408" y="844"/>
                </a:lnTo>
                <a:lnTo>
                  <a:pt x="2406" y="848"/>
                </a:lnTo>
                <a:lnTo>
                  <a:pt x="2408" y="854"/>
                </a:lnTo>
                <a:lnTo>
                  <a:pt x="2410" y="864"/>
                </a:lnTo>
                <a:lnTo>
                  <a:pt x="2414" y="872"/>
                </a:lnTo>
                <a:lnTo>
                  <a:pt x="2416" y="882"/>
                </a:lnTo>
                <a:lnTo>
                  <a:pt x="2422" y="904"/>
                </a:lnTo>
                <a:lnTo>
                  <a:pt x="2424" y="914"/>
                </a:lnTo>
                <a:lnTo>
                  <a:pt x="2428" y="924"/>
                </a:lnTo>
                <a:lnTo>
                  <a:pt x="2434" y="934"/>
                </a:lnTo>
                <a:lnTo>
                  <a:pt x="2444" y="942"/>
                </a:lnTo>
                <a:lnTo>
                  <a:pt x="2448" y="946"/>
                </a:lnTo>
                <a:lnTo>
                  <a:pt x="2448" y="950"/>
                </a:lnTo>
                <a:lnTo>
                  <a:pt x="2448" y="952"/>
                </a:lnTo>
                <a:lnTo>
                  <a:pt x="2446" y="954"/>
                </a:lnTo>
                <a:lnTo>
                  <a:pt x="2438" y="958"/>
                </a:lnTo>
                <a:lnTo>
                  <a:pt x="2432" y="962"/>
                </a:lnTo>
                <a:lnTo>
                  <a:pt x="2428" y="966"/>
                </a:lnTo>
                <a:lnTo>
                  <a:pt x="2426" y="966"/>
                </a:lnTo>
                <a:lnTo>
                  <a:pt x="2424" y="964"/>
                </a:lnTo>
                <a:lnTo>
                  <a:pt x="2416" y="956"/>
                </a:lnTo>
                <a:lnTo>
                  <a:pt x="2404" y="940"/>
                </a:lnTo>
                <a:lnTo>
                  <a:pt x="2400" y="928"/>
                </a:lnTo>
                <a:lnTo>
                  <a:pt x="2396" y="918"/>
                </a:lnTo>
                <a:lnTo>
                  <a:pt x="2392" y="902"/>
                </a:lnTo>
                <a:lnTo>
                  <a:pt x="2388" y="896"/>
                </a:lnTo>
                <a:lnTo>
                  <a:pt x="2384" y="890"/>
                </a:lnTo>
                <a:lnTo>
                  <a:pt x="2376" y="886"/>
                </a:lnTo>
                <a:lnTo>
                  <a:pt x="2366" y="882"/>
                </a:lnTo>
                <a:lnTo>
                  <a:pt x="2354" y="876"/>
                </a:lnTo>
                <a:lnTo>
                  <a:pt x="2352" y="874"/>
                </a:lnTo>
                <a:lnTo>
                  <a:pt x="2354" y="874"/>
                </a:lnTo>
                <a:lnTo>
                  <a:pt x="2354" y="872"/>
                </a:lnTo>
                <a:lnTo>
                  <a:pt x="2354" y="870"/>
                </a:lnTo>
                <a:lnTo>
                  <a:pt x="2350" y="868"/>
                </a:lnTo>
                <a:lnTo>
                  <a:pt x="2344" y="866"/>
                </a:lnTo>
                <a:lnTo>
                  <a:pt x="2324" y="860"/>
                </a:lnTo>
                <a:lnTo>
                  <a:pt x="2312" y="862"/>
                </a:lnTo>
                <a:lnTo>
                  <a:pt x="2308" y="862"/>
                </a:lnTo>
                <a:lnTo>
                  <a:pt x="2308" y="864"/>
                </a:lnTo>
                <a:lnTo>
                  <a:pt x="2310" y="868"/>
                </a:lnTo>
                <a:lnTo>
                  <a:pt x="2316" y="872"/>
                </a:lnTo>
                <a:lnTo>
                  <a:pt x="2324" y="876"/>
                </a:lnTo>
                <a:lnTo>
                  <a:pt x="2326" y="878"/>
                </a:lnTo>
                <a:lnTo>
                  <a:pt x="2328" y="882"/>
                </a:lnTo>
                <a:lnTo>
                  <a:pt x="2328" y="884"/>
                </a:lnTo>
                <a:lnTo>
                  <a:pt x="2326" y="886"/>
                </a:lnTo>
                <a:lnTo>
                  <a:pt x="2332" y="888"/>
                </a:lnTo>
                <a:lnTo>
                  <a:pt x="2342" y="892"/>
                </a:lnTo>
                <a:lnTo>
                  <a:pt x="2346" y="896"/>
                </a:lnTo>
                <a:lnTo>
                  <a:pt x="2346" y="898"/>
                </a:lnTo>
                <a:lnTo>
                  <a:pt x="2342" y="900"/>
                </a:lnTo>
                <a:lnTo>
                  <a:pt x="2326" y="896"/>
                </a:lnTo>
                <a:lnTo>
                  <a:pt x="2314" y="894"/>
                </a:lnTo>
                <a:lnTo>
                  <a:pt x="2306" y="896"/>
                </a:lnTo>
                <a:lnTo>
                  <a:pt x="2302" y="900"/>
                </a:lnTo>
                <a:lnTo>
                  <a:pt x="2300" y="906"/>
                </a:lnTo>
                <a:lnTo>
                  <a:pt x="2298" y="910"/>
                </a:lnTo>
                <a:lnTo>
                  <a:pt x="2296" y="914"/>
                </a:lnTo>
                <a:lnTo>
                  <a:pt x="2292" y="914"/>
                </a:lnTo>
                <a:lnTo>
                  <a:pt x="2288" y="910"/>
                </a:lnTo>
                <a:lnTo>
                  <a:pt x="2284" y="904"/>
                </a:lnTo>
                <a:lnTo>
                  <a:pt x="2284" y="900"/>
                </a:lnTo>
                <a:lnTo>
                  <a:pt x="2288" y="892"/>
                </a:lnTo>
                <a:lnTo>
                  <a:pt x="2290" y="888"/>
                </a:lnTo>
                <a:lnTo>
                  <a:pt x="2288" y="884"/>
                </a:lnTo>
                <a:lnTo>
                  <a:pt x="2280" y="880"/>
                </a:lnTo>
                <a:lnTo>
                  <a:pt x="2266" y="876"/>
                </a:lnTo>
                <a:lnTo>
                  <a:pt x="2240" y="868"/>
                </a:lnTo>
                <a:lnTo>
                  <a:pt x="2222" y="866"/>
                </a:lnTo>
                <a:lnTo>
                  <a:pt x="2210" y="866"/>
                </a:lnTo>
                <a:lnTo>
                  <a:pt x="2200" y="870"/>
                </a:lnTo>
                <a:lnTo>
                  <a:pt x="2196" y="874"/>
                </a:lnTo>
                <a:lnTo>
                  <a:pt x="2194" y="876"/>
                </a:lnTo>
                <a:lnTo>
                  <a:pt x="2196" y="880"/>
                </a:lnTo>
                <a:lnTo>
                  <a:pt x="2196" y="884"/>
                </a:lnTo>
                <a:lnTo>
                  <a:pt x="2192" y="886"/>
                </a:lnTo>
                <a:lnTo>
                  <a:pt x="2168" y="894"/>
                </a:lnTo>
                <a:lnTo>
                  <a:pt x="2160" y="894"/>
                </a:lnTo>
                <a:lnTo>
                  <a:pt x="2158" y="894"/>
                </a:lnTo>
                <a:lnTo>
                  <a:pt x="2162" y="890"/>
                </a:lnTo>
                <a:lnTo>
                  <a:pt x="2174" y="880"/>
                </a:lnTo>
                <a:lnTo>
                  <a:pt x="2176" y="876"/>
                </a:lnTo>
                <a:lnTo>
                  <a:pt x="2178" y="872"/>
                </a:lnTo>
                <a:lnTo>
                  <a:pt x="2176" y="868"/>
                </a:lnTo>
                <a:lnTo>
                  <a:pt x="2178" y="864"/>
                </a:lnTo>
                <a:lnTo>
                  <a:pt x="2180" y="856"/>
                </a:lnTo>
                <a:lnTo>
                  <a:pt x="2180" y="852"/>
                </a:lnTo>
                <a:lnTo>
                  <a:pt x="2178" y="848"/>
                </a:lnTo>
                <a:lnTo>
                  <a:pt x="2174" y="842"/>
                </a:lnTo>
                <a:lnTo>
                  <a:pt x="2166" y="838"/>
                </a:lnTo>
                <a:lnTo>
                  <a:pt x="2158" y="836"/>
                </a:lnTo>
                <a:lnTo>
                  <a:pt x="2146" y="836"/>
                </a:lnTo>
                <a:lnTo>
                  <a:pt x="2134" y="838"/>
                </a:lnTo>
                <a:lnTo>
                  <a:pt x="2120" y="842"/>
                </a:lnTo>
                <a:lnTo>
                  <a:pt x="2094" y="854"/>
                </a:lnTo>
                <a:lnTo>
                  <a:pt x="2070" y="862"/>
                </a:lnTo>
                <a:lnTo>
                  <a:pt x="2052" y="868"/>
                </a:lnTo>
                <a:lnTo>
                  <a:pt x="2036" y="876"/>
                </a:lnTo>
                <a:lnTo>
                  <a:pt x="2004" y="896"/>
                </a:lnTo>
                <a:lnTo>
                  <a:pt x="1996" y="900"/>
                </a:lnTo>
                <a:lnTo>
                  <a:pt x="1992" y="904"/>
                </a:lnTo>
                <a:lnTo>
                  <a:pt x="1992" y="908"/>
                </a:lnTo>
                <a:lnTo>
                  <a:pt x="1996" y="910"/>
                </a:lnTo>
                <a:lnTo>
                  <a:pt x="2006" y="914"/>
                </a:lnTo>
                <a:lnTo>
                  <a:pt x="2010" y="916"/>
                </a:lnTo>
                <a:lnTo>
                  <a:pt x="2012" y="918"/>
                </a:lnTo>
                <a:lnTo>
                  <a:pt x="2012" y="920"/>
                </a:lnTo>
                <a:lnTo>
                  <a:pt x="2010" y="922"/>
                </a:lnTo>
                <a:lnTo>
                  <a:pt x="2002" y="924"/>
                </a:lnTo>
                <a:lnTo>
                  <a:pt x="1992" y="928"/>
                </a:lnTo>
                <a:lnTo>
                  <a:pt x="1986" y="932"/>
                </a:lnTo>
                <a:lnTo>
                  <a:pt x="1980" y="938"/>
                </a:lnTo>
                <a:lnTo>
                  <a:pt x="1976" y="946"/>
                </a:lnTo>
                <a:lnTo>
                  <a:pt x="1972" y="952"/>
                </a:lnTo>
                <a:lnTo>
                  <a:pt x="1972" y="958"/>
                </a:lnTo>
                <a:lnTo>
                  <a:pt x="1972" y="962"/>
                </a:lnTo>
                <a:lnTo>
                  <a:pt x="1972" y="966"/>
                </a:lnTo>
                <a:lnTo>
                  <a:pt x="1976" y="966"/>
                </a:lnTo>
                <a:lnTo>
                  <a:pt x="1980" y="966"/>
                </a:lnTo>
                <a:lnTo>
                  <a:pt x="1986" y="964"/>
                </a:lnTo>
                <a:lnTo>
                  <a:pt x="1990" y="962"/>
                </a:lnTo>
                <a:lnTo>
                  <a:pt x="1994" y="962"/>
                </a:lnTo>
                <a:lnTo>
                  <a:pt x="1996" y="964"/>
                </a:lnTo>
                <a:lnTo>
                  <a:pt x="1998" y="966"/>
                </a:lnTo>
                <a:lnTo>
                  <a:pt x="2000" y="974"/>
                </a:lnTo>
                <a:lnTo>
                  <a:pt x="2004" y="982"/>
                </a:lnTo>
                <a:lnTo>
                  <a:pt x="2008" y="984"/>
                </a:lnTo>
                <a:lnTo>
                  <a:pt x="2016" y="986"/>
                </a:lnTo>
                <a:lnTo>
                  <a:pt x="2036" y="984"/>
                </a:lnTo>
                <a:lnTo>
                  <a:pt x="2058" y="980"/>
                </a:lnTo>
                <a:lnTo>
                  <a:pt x="2074" y="976"/>
                </a:lnTo>
                <a:lnTo>
                  <a:pt x="2086" y="976"/>
                </a:lnTo>
                <a:lnTo>
                  <a:pt x="2090" y="976"/>
                </a:lnTo>
                <a:lnTo>
                  <a:pt x="2092" y="978"/>
                </a:lnTo>
                <a:lnTo>
                  <a:pt x="2092" y="982"/>
                </a:lnTo>
                <a:lnTo>
                  <a:pt x="2084" y="986"/>
                </a:lnTo>
                <a:lnTo>
                  <a:pt x="2070" y="990"/>
                </a:lnTo>
                <a:lnTo>
                  <a:pt x="2046" y="996"/>
                </a:lnTo>
                <a:lnTo>
                  <a:pt x="2016" y="1002"/>
                </a:lnTo>
                <a:lnTo>
                  <a:pt x="2008" y="1006"/>
                </a:lnTo>
                <a:lnTo>
                  <a:pt x="2004" y="1010"/>
                </a:lnTo>
                <a:lnTo>
                  <a:pt x="2002" y="1014"/>
                </a:lnTo>
                <a:lnTo>
                  <a:pt x="2004" y="1018"/>
                </a:lnTo>
                <a:lnTo>
                  <a:pt x="2008" y="1022"/>
                </a:lnTo>
                <a:lnTo>
                  <a:pt x="2014" y="1028"/>
                </a:lnTo>
                <a:lnTo>
                  <a:pt x="2028" y="1036"/>
                </a:lnTo>
                <a:lnTo>
                  <a:pt x="2036" y="1040"/>
                </a:lnTo>
                <a:lnTo>
                  <a:pt x="2048" y="1042"/>
                </a:lnTo>
                <a:lnTo>
                  <a:pt x="2066" y="1040"/>
                </a:lnTo>
                <a:lnTo>
                  <a:pt x="2082" y="1038"/>
                </a:lnTo>
                <a:lnTo>
                  <a:pt x="2090" y="1040"/>
                </a:lnTo>
                <a:lnTo>
                  <a:pt x="2102" y="1042"/>
                </a:lnTo>
                <a:lnTo>
                  <a:pt x="2124" y="1044"/>
                </a:lnTo>
                <a:lnTo>
                  <a:pt x="2148" y="1042"/>
                </a:lnTo>
                <a:lnTo>
                  <a:pt x="2164" y="1038"/>
                </a:lnTo>
                <a:lnTo>
                  <a:pt x="2180" y="1036"/>
                </a:lnTo>
                <a:lnTo>
                  <a:pt x="2190" y="1038"/>
                </a:lnTo>
                <a:lnTo>
                  <a:pt x="2202" y="1040"/>
                </a:lnTo>
                <a:lnTo>
                  <a:pt x="2220" y="1044"/>
                </a:lnTo>
                <a:lnTo>
                  <a:pt x="2232" y="1044"/>
                </a:lnTo>
                <a:lnTo>
                  <a:pt x="2238" y="1044"/>
                </a:lnTo>
                <a:lnTo>
                  <a:pt x="2248" y="1050"/>
                </a:lnTo>
                <a:lnTo>
                  <a:pt x="2260" y="1056"/>
                </a:lnTo>
                <a:lnTo>
                  <a:pt x="2272" y="1062"/>
                </a:lnTo>
                <a:lnTo>
                  <a:pt x="2276" y="1064"/>
                </a:lnTo>
                <a:lnTo>
                  <a:pt x="2276" y="1066"/>
                </a:lnTo>
                <a:lnTo>
                  <a:pt x="2264" y="1066"/>
                </a:lnTo>
                <a:lnTo>
                  <a:pt x="2252" y="1066"/>
                </a:lnTo>
                <a:lnTo>
                  <a:pt x="2246" y="1066"/>
                </a:lnTo>
                <a:lnTo>
                  <a:pt x="2238" y="1068"/>
                </a:lnTo>
                <a:lnTo>
                  <a:pt x="2218" y="1066"/>
                </a:lnTo>
                <a:lnTo>
                  <a:pt x="2180" y="1064"/>
                </a:lnTo>
                <a:lnTo>
                  <a:pt x="2138" y="1066"/>
                </a:lnTo>
                <a:lnTo>
                  <a:pt x="2096" y="1070"/>
                </a:lnTo>
                <a:lnTo>
                  <a:pt x="2060" y="1076"/>
                </a:lnTo>
                <a:lnTo>
                  <a:pt x="2048" y="1080"/>
                </a:lnTo>
                <a:lnTo>
                  <a:pt x="2042" y="1084"/>
                </a:lnTo>
                <a:lnTo>
                  <a:pt x="2040" y="1088"/>
                </a:lnTo>
                <a:lnTo>
                  <a:pt x="2040" y="1090"/>
                </a:lnTo>
                <a:lnTo>
                  <a:pt x="2044" y="1096"/>
                </a:lnTo>
                <a:lnTo>
                  <a:pt x="2048" y="1104"/>
                </a:lnTo>
                <a:lnTo>
                  <a:pt x="2056" y="1110"/>
                </a:lnTo>
                <a:lnTo>
                  <a:pt x="2072" y="1124"/>
                </a:lnTo>
                <a:lnTo>
                  <a:pt x="2080" y="1130"/>
                </a:lnTo>
                <a:lnTo>
                  <a:pt x="2092" y="1134"/>
                </a:lnTo>
                <a:lnTo>
                  <a:pt x="2108" y="1138"/>
                </a:lnTo>
                <a:lnTo>
                  <a:pt x="2126" y="1138"/>
                </a:lnTo>
                <a:lnTo>
                  <a:pt x="2160" y="1140"/>
                </a:lnTo>
                <a:lnTo>
                  <a:pt x="2184" y="1140"/>
                </a:lnTo>
                <a:lnTo>
                  <a:pt x="2190" y="1140"/>
                </a:lnTo>
                <a:lnTo>
                  <a:pt x="2194" y="1144"/>
                </a:lnTo>
                <a:lnTo>
                  <a:pt x="2194" y="1150"/>
                </a:lnTo>
                <a:lnTo>
                  <a:pt x="2194" y="1154"/>
                </a:lnTo>
                <a:lnTo>
                  <a:pt x="2192" y="1166"/>
                </a:lnTo>
                <a:lnTo>
                  <a:pt x="2192" y="1172"/>
                </a:lnTo>
                <a:lnTo>
                  <a:pt x="2196" y="1178"/>
                </a:lnTo>
                <a:lnTo>
                  <a:pt x="2202" y="1184"/>
                </a:lnTo>
                <a:lnTo>
                  <a:pt x="2208" y="1190"/>
                </a:lnTo>
                <a:lnTo>
                  <a:pt x="2216" y="1194"/>
                </a:lnTo>
                <a:lnTo>
                  <a:pt x="2230" y="1194"/>
                </a:lnTo>
                <a:lnTo>
                  <a:pt x="2254" y="1192"/>
                </a:lnTo>
                <a:lnTo>
                  <a:pt x="2270" y="1192"/>
                </a:lnTo>
                <a:lnTo>
                  <a:pt x="2284" y="1194"/>
                </a:lnTo>
                <a:lnTo>
                  <a:pt x="2294" y="1192"/>
                </a:lnTo>
                <a:lnTo>
                  <a:pt x="2312" y="1188"/>
                </a:lnTo>
                <a:lnTo>
                  <a:pt x="2340" y="1182"/>
                </a:lnTo>
                <a:lnTo>
                  <a:pt x="2370" y="1176"/>
                </a:lnTo>
                <a:lnTo>
                  <a:pt x="2382" y="1172"/>
                </a:lnTo>
                <a:lnTo>
                  <a:pt x="2392" y="1168"/>
                </a:lnTo>
                <a:lnTo>
                  <a:pt x="2398" y="1164"/>
                </a:lnTo>
                <a:lnTo>
                  <a:pt x="2406" y="1162"/>
                </a:lnTo>
                <a:lnTo>
                  <a:pt x="2420" y="1160"/>
                </a:lnTo>
                <a:lnTo>
                  <a:pt x="2434" y="1158"/>
                </a:lnTo>
                <a:lnTo>
                  <a:pt x="2440" y="1156"/>
                </a:lnTo>
                <a:lnTo>
                  <a:pt x="2450" y="1152"/>
                </a:lnTo>
                <a:lnTo>
                  <a:pt x="2456" y="1148"/>
                </a:lnTo>
                <a:lnTo>
                  <a:pt x="2460" y="1144"/>
                </a:lnTo>
                <a:lnTo>
                  <a:pt x="2460" y="1140"/>
                </a:lnTo>
                <a:lnTo>
                  <a:pt x="2460" y="1138"/>
                </a:lnTo>
                <a:lnTo>
                  <a:pt x="2460" y="1134"/>
                </a:lnTo>
                <a:lnTo>
                  <a:pt x="2460" y="1132"/>
                </a:lnTo>
                <a:lnTo>
                  <a:pt x="2464" y="1128"/>
                </a:lnTo>
                <a:lnTo>
                  <a:pt x="2470" y="1126"/>
                </a:lnTo>
                <a:lnTo>
                  <a:pt x="2478" y="1124"/>
                </a:lnTo>
                <a:lnTo>
                  <a:pt x="2482" y="1124"/>
                </a:lnTo>
                <a:lnTo>
                  <a:pt x="2484" y="1126"/>
                </a:lnTo>
                <a:lnTo>
                  <a:pt x="2486" y="1130"/>
                </a:lnTo>
                <a:lnTo>
                  <a:pt x="2484" y="1140"/>
                </a:lnTo>
                <a:lnTo>
                  <a:pt x="2484" y="1146"/>
                </a:lnTo>
                <a:lnTo>
                  <a:pt x="2486" y="1146"/>
                </a:lnTo>
                <a:lnTo>
                  <a:pt x="2488" y="1146"/>
                </a:lnTo>
                <a:lnTo>
                  <a:pt x="2500" y="1146"/>
                </a:lnTo>
                <a:lnTo>
                  <a:pt x="2510" y="1146"/>
                </a:lnTo>
                <a:lnTo>
                  <a:pt x="2524" y="1150"/>
                </a:lnTo>
                <a:lnTo>
                  <a:pt x="2534" y="1152"/>
                </a:lnTo>
                <a:lnTo>
                  <a:pt x="2540" y="1156"/>
                </a:lnTo>
                <a:lnTo>
                  <a:pt x="2538" y="1156"/>
                </a:lnTo>
                <a:lnTo>
                  <a:pt x="2536" y="1158"/>
                </a:lnTo>
                <a:lnTo>
                  <a:pt x="2532" y="1160"/>
                </a:lnTo>
                <a:lnTo>
                  <a:pt x="2532" y="1162"/>
                </a:lnTo>
                <a:lnTo>
                  <a:pt x="2540" y="1164"/>
                </a:lnTo>
                <a:lnTo>
                  <a:pt x="2548" y="1166"/>
                </a:lnTo>
                <a:lnTo>
                  <a:pt x="2552" y="1168"/>
                </a:lnTo>
                <a:lnTo>
                  <a:pt x="2558" y="1166"/>
                </a:lnTo>
                <a:lnTo>
                  <a:pt x="2562" y="1164"/>
                </a:lnTo>
                <a:lnTo>
                  <a:pt x="2566" y="1164"/>
                </a:lnTo>
                <a:lnTo>
                  <a:pt x="2572" y="1164"/>
                </a:lnTo>
                <a:lnTo>
                  <a:pt x="2582" y="1166"/>
                </a:lnTo>
                <a:lnTo>
                  <a:pt x="2600" y="1170"/>
                </a:lnTo>
                <a:lnTo>
                  <a:pt x="2606" y="1170"/>
                </a:lnTo>
                <a:lnTo>
                  <a:pt x="2610" y="1170"/>
                </a:lnTo>
                <a:lnTo>
                  <a:pt x="2618" y="1172"/>
                </a:lnTo>
                <a:lnTo>
                  <a:pt x="2624" y="1172"/>
                </a:lnTo>
                <a:lnTo>
                  <a:pt x="2630" y="1172"/>
                </a:lnTo>
                <a:lnTo>
                  <a:pt x="2638" y="1166"/>
                </a:lnTo>
                <a:lnTo>
                  <a:pt x="2646" y="1160"/>
                </a:lnTo>
                <a:lnTo>
                  <a:pt x="2650" y="1158"/>
                </a:lnTo>
                <a:lnTo>
                  <a:pt x="2656" y="1158"/>
                </a:lnTo>
                <a:lnTo>
                  <a:pt x="2664" y="1156"/>
                </a:lnTo>
                <a:lnTo>
                  <a:pt x="2670" y="1152"/>
                </a:lnTo>
                <a:lnTo>
                  <a:pt x="2672" y="1148"/>
                </a:lnTo>
                <a:lnTo>
                  <a:pt x="2672" y="1146"/>
                </a:lnTo>
                <a:lnTo>
                  <a:pt x="2670" y="1142"/>
                </a:lnTo>
                <a:lnTo>
                  <a:pt x="2666" y="1138"/>
                </a:lnTo>
                <a:lnTo>
                  <a:pt x="2662" y="1136"/>
                </a:lnTo>
                <a:lnTo>
                  <a:pt x="2660" y="1134"/>
                </a:lnTo>
                <a:lnTo>
                  <a:pt x="2662" y="1128"/>
                </a:lnTo>
                <a:lnTo>
                  <a:pt x="2664" y="1126"/>
                </a:lnTo>
                <a:lnTo>
                  <a:pt x="2662" y="1124"/>
                </a:lnTo>
                <a:lnTo>
                  <a:pt x="2658" y="1122"/>
                </a:lnTo>
                <a:lnTo>
                  <a:pt x="2652" y="1122"/>
                </a:lnTo>
                <a:lnTo>
                  <a:pt x="2644" y="1124"/>
                </a:lnTo>
                <a:lnTo>
                  <a:pt x="2630" y="1132"/>
                </a:lnTo>
                <a:lnTo>
                  <a:pt x="2620" y="1136"/>
                </a:lnTo>
                <a:lnTo>
                  <a:pt x="2618" y="1136"/>
                </a:lnTo>
                <a:lnTo>
                  <a:pt x="2620" y="1132"/>
                </a:lnTo>
                <a:lnTo>
                  <a:pt x="2622" y="1126"/>
                </a:lnTo>
                <a:lnTo>
                  <a:pt x="2620" y="1122"/>
                </a:lnTo>
                <a:lnTo>
                  <a:pt x="2616" y="1118"/>
                </a:lnTo>
                <a:lnTo>
                  <a:pt x="2612" y="1116"/>
                </a:lnTo>
                <a:lnTo>
                  <a:pt x="2604" y="1112"/>
                </a:lnTo>
                <a:lnTo>
                  <a:pt x="2600" y="1110"/>
                </a:lnTo>
                <a:lnTo>
                  <a:pt x="2602" y="1108"/>
                </a:lnTo>
                <a:lnTo>
                  <a:pt x="2604" y="1108"/>
                </a:lnTo>
                <a:lnTo>
                  <a:pt x="2608" y="1108"/>
                </a:lnTo>
                <a:lnTo>
                  <a:pt x="2620" y="1112"/>
                </a:lnTo>
                <a:lnTo>
                  <a:pt x="2632" y="1116"/>
                </a:lnTo>
                <a:lnTo>
                  <a:pt x="2636" y="1118"/>
                </a:lnTo>
                <a:lnTo>
                  <a:pt x="2640" y="1116"/>
                </a:lnTo>
                <a:lnTo>
                  <a:pt x="2644" y="1112"/>
                </a:lnTo>
                <a:lnTo>
                  <a:pt x="2640" y="1108"/>
                </a:lnTo>
                <a:lnTo>
                  <a:pt x="2638" y="1106"/>
                </a:lnTo>
                <a:lnTo>
                  <a:pt x="2638" y="1104"/>
                </a:lnTo>
                <a:lnTo>
                  <a:pt x="2640" y="1102"/>
                </a:lnTo>
                <a:lnTo>
                  <a:pt x="2646" y="1098"/>
                </a:lnTo>
                <a:close/>
                <a:moveTo>
                  <a:pt x="2506" y="806"/>
                </a:moveTo>
                <a:lnTo>
                  <a:pt x="2506" y="806"/>
                </a:lnTo>
                <a:lnTo>
                  <a:pt x="2492" y="808"/>
                </a:lnTo>
                <a:lnTo>
                  <a:pt x="2480" y="812"/>
                </a:lnTo>
                <a:lnTo>
                  <a:pt x="2470" y="814"/>
                </a:lnTo>
                <a:lnTo>
                  <a:pt x="2464" y="818"/>
                </a:lnTo>
                <a:lnTo>
                  <a:pt x="2460" y="822"/>
                </a:lnTo>
                <a:lnTo>
                  <a:pt x="2460" y="824"/>
                </a:lnTo>
                <a:lnTo>
                  <a:pt x="2462" y="828"/>
                </a:lnTo>
                <a:lnTo>
                  <a:pt x="2468" y="830"/>
                </a:lnTo>
                <a:lnTo>
                  <a:pt x="2480" y="834"/>
                </a:lnTo>
                <a:lnTo>
                  <a:pt x="2488" y="836"/>
                </a:lnTo>
                <a:lnTo>
                  <a:pt x="2492" y="840"/>
                </a:lnTo>
                <a:lnTo>
                  <a:pt x="2494" y="846"/>
                </a:lnTo>
                <a:lnTo>
                  <a:pt x="2498" y="850"/>
                </a:lnTo>
                <a:lnTo>
                  <a:pt x="2504" y="856"/>
                </a:lnTo>
                <a:lnTo>
                  <a:pt x="2514" y="862"/>
                </a:lnTo>
                <a:lnTo>
                  <a:pt x="2524" y="872"/>
                </a:lnTo>
                <a:lnTo>
                  <a:pt x="2530" y="874"/>
                </a:lnTo>
                <a:lnTo>
                  <a:pt x="2530" y="870"/>
                </a:lnTo>
                <a:lnTo>
                  <a:pt x="2532" y="868"/>
                </a:lnTo>
                <a:lnTo>
                  <a:pt x="2534" y="866"/>
                </a:lnTo>
                <a:lnTo>
                  <a:pt x="2540" y="862"/>
                </a:lnTo>
                <a:lnTo>
                  <a:pt x="2546" y="852"/>
                </a:lnTo>
                <a:lnTo>
                  <a:pt x="2560" y="830"/>
                </a:lnTo>
                <a:lnTo>
                  <a:pt x="2562" y="826"/>
                </a:lnTo>
                <a:lnTo>
                  <a:pt x="2562" y="822"/>
                </a:lnTo>
                <a:lnTo>
                  <a:pt x="2560" y="818"/>
                </a:lnTo>
                <a:lnTo>
                  <a:pt x="2554" y="816"/>
                </a:lnTo>
                <a:lnTo>
                  <a:pt x="2546" y="812"/>
                </a:lnTo>
                <a:lnTo>
                  <a:pt x="2540" y="808"/>
                </a:lnTo>
                <a:lnTo>
                  <a:pt x="2530" y="806"/>
                </a:lnTo>
                <a:lnTo>
                  <a:pt x="2506" y="806"/>
                </a:lnTo>
                <a:close/>
                <a:moveTo>
                  <a:pt x="4290" y="1312"/>
                </a:moveTo>
                <a:lnTo>
                  <a:pt x="4290" y="1312"/>
                </a:lnTo>
                <a:lnTo>
                  <a:pt x="4284" y="1304"/>
                </a:lnTo>
                <a:lnTo>
                  <a:pt x="4280" y="1300"/>
                </a:lnTo>
                <a:lnTo>
                  <a:pt x="4274" y="1296"/>
                </a:lnTo>
                <a:lnTo>
                  <a:pt x="4268" y="1296"/>
                </a:lnTo>
                <a:lnTo>
                  <a:pt x="4256" y="1296"/>
                </a:lnTo>
                <a:lnTo>
                  <a:pt x="4246" y="1300"/>
                </a:lnTo>
                <a:lnTo>
                  <a:pt x="4236" y="1304"/>
                </a:lnTo>
                <a:lnTo>
                  <a:pt x="4230" y="1304"/>
                </a:lnTo>
                <a:lnTo>
                  <a:pt x="4228" y="1304"/>
                </a:lnTo>
                <a:lnTo>
                  <a:pt x="4228" y="1302"/>
                </a:lnTo>
                <a:lnTo>
                  <a:pt x="4230" y="1292"/>
                </a:lnTo>
                <a:lnTo>
                  <a:pt x="4232" y="1282"/>
                </a:lnTo>
                <a:lnTo>
                  <a:pt x="4232" y="1280"/>
                </a:lnTo>
                <a:lnTo>
                  <a:pt x="4230" y="1278"/>
                </a:lnTo>
                <a:lnTo>
                  <a:pt x="4224" y="1278"/>
                </a:lnTo>
                <a:lnTo>
                  <a:pt x="4216" y="1280"/>
                </a:lnTo>
                <a:lnTo>
                  <a:pt x="4202" y="1284"/>
                </a:lnTo>
                <a:lnTo>
                  <a:pt x="4200" y="1284"/>
                </a:lnTo>
                <a:lnTo>
                  <a:pt x="4198" y="1282"/>
                </a:lnTo>
                <a:lnTo>
                  <a:pt x="4200" y="1276"/>
                </a:lnTo>
                <a:lnTo>
                  <a:pt x="4202" y="1268"/>
                </a:lnTo>
                <a:lnTo>
                  <a:pt x="4202" y="1264"/>
                </a:lnTo>
                <a:lnTo>
                  <a:pt x="4200" y="1258"/>
                </a:lnTo>
                <a:lnTo>
                  <a:pt x="4196" y="1254"/>
                </a:lnTo>
                <a:lnTo>
                  <a:pt x="4182" y="1248"/>
                </a:lnTo>
                <a:lnTo>
                  <a:pt x="4162" y="1234"/>
                </a:lnTo>
                <a:lnTo>
                  <a:pt x="4150" y="1228"/>
                </a:lnTo>
                <a:lnTo>
                  <a:pt x="4136" y="1224"/>
                </a:lnTo>
                <a:lnTo>
                  <a:pt x="4124" y="1224"/>
                </a:lnTo>
                <a:lnTo>
                  <a:pt x="4112" y="1224"/>
                </a:lnTo>
                <a:lnTo>
                  <a:pt x="4100" y="1224"/>
                </a:lnTo>
                <a:lnTo>
                  <a:pt x="4090" y="1222"/>
                </a:lnTo>
                <a:lnTo>
                  <a:pt x="4084" y="1216"/>
                </a:lnTo>
                <a:lnTo>
                  <a:pt x="4082" y="1214"/>
                </a:lnTo>
                <a:lnTo>
                  <a:pt x="4080" y="1208"/>
                </a:lnTo>
                <a:lnTo>
                  <a:pt x="4080" y="1204"/>
                </a:lnTo>
                <a:lnTo>
                  <a:pt x="4076" y="1200"/>
                </a:lnTo>
                <a:lnTo>
                  <a:pt x="4072" y="1196"/>
                </a:lnTo>
                <a:lnTo>
                  <a:pt x="4066" y="1194"/>
                </a:lnTo>
                <a:lnTo>
                  <a:pt x="4054" y="1192"/>
                </a:lnTo>
                <a:lnTo>
                  <a:pt x="4040" y="1192"/>
                </a:lnTo>
                <a:lnTo>
                  <a:pt x="4030" y="1192"/>
                </a:lnTo>
                <a:lnTo>
                  <a:pt x="4024" y="1192"/>
                </a:lnTo>
                <a:lnTo>
                  <a:pt x="4022" y="1190"/>
                </a:lnTo>
                <a:lnTo>
                  <a:pt x="4022" y="1188"/>
                </a:lnTo>
                <a:lnTo>
                  <a:pt x="4032" y="1182"/>
                </a:lnTo>
                <a:lnTo>
                  <a:pt x="4038" y="1178"/>
                </a:lnTo>
                <a:lnTo>
                  <a:pt x="4040" y="1172"/>
                </a:lnTo>
                <a:lnTo>
                  <a:pt x="4042" y="1168"/>
                </a:lnTo>
                <a:lnTo>
                  <a:pt x="4042" y="1164"/>
                </a:lnTo>
                <a:lnTo>
                  <a:pt x="4040" y="1156"/>
                </a:lnTo>
                <a:lnTo>
                  <a:pt x="4036" y="1150"/>
                </a:lnTo>
                <a:lnTo>
                  <a:pt x="4030" y="1144"/>
                </a:lnTo>
                <a:lnTo>
                  <a:pt x="4028" y="1142"/>
                </a:lnTo>
                <a:lnTo>
                  <a:pt x="4032" y="1140"/>
                </a:lnTo>
                <a:lnTo>
                  <a:pt x="4042" y="1142"/>
                </a:lnTo>
                <a:lnTo>
                  <a:pt x="4056" y="1144"/>
                </a:lnTo>
                <a:lnTo>
                  <a:pt x="4068" y="1144"/>
                </a:lnTo>
                <a:lnTo>
                  <a:pt x="4078" y="1142"/>
                </a:lnTo>
                <a:lnTo>
                  <a:pt x="4084" y="1140"/>
                </a:lnTo>
                <a:lnTo>
                  <a:pt x="4084" y="1138"/>
                </a:lnTo>
                <a:lnTo>
                  <a:pt x="4084" y="1136"/>
                </a:lnTo>
                <a:lnTo>
                  <a:pt x="4078" y="1130"/>
                </a:lnTo>
                <a:lnTo>
                  <a:pt x="4066" y="1126"/>
                </a:lnTo>
                <a:lnTo>
                  <a:pt x="4046" y="1122"/>
                </a:lnTo>
                <a:lnTo>
                  <a:pt x="4018" y="1116"/>
                </a:lnTo>
                <a:lnTo>
                  <a:pt x="4016" y="1116"/>
                </a:lnTo>
                <a:lnTo>
                  <a:pt x="4016" y="1114"/>
                </a:lnTo>
                <a:lnTo>
                  <a:pt x="4020" y="1112"/>
                </a:lnTo>
                <a:lnTo>
                  <a:pt x="4040" y="1110"/>
                </a:lnTo>
                <a:lnTo>
                  <a:pt x="4052" y="1106"/>
                </a:lnTo>
                <a:lnTo>
                  <a:pt x="4062" y="1102"/>
                </a:lnTo>
                <a:lnTo>
                  <a:pt x="4064" y="1098"/>
                </a:lnTo>
                <a:lnTo>
                  <a:pt x="4066" y="1094"/>
                </a:lnTo>
                <a:lnTo>
                  <a:pt x="4066" y="1092"/>
                </a:lnTo>
                <a:lnTo>
                  <a:pt x="4066" y="1088"/>
                </a:lnTo>
                <a:lnTo>
                  <a:pt x="4062" y="1082"/>
                </a:lnTo>
                <a:lnTo>
                  <a:pt x="4054" y="1074"/>
                </a:lnTo>
                <a:lnTo>
                  <a:pt x="4044" y="1070"/>
                </a:lnTo>
                <a:lnTo>
                  <a:pt x="4036" y="1066"/>
                </a:lnTo>
                <a:lnTo>
                  <a:pt x="4026" y="1066"/>
                </a:lnTo>
                <a:lnTo>
                  <a:pt x="4020" y="1068"/>
                </a:lnTo>
                <a:lnTo>
                  <a:pt x="4014" y="1070"/>
                </a:lnTo>
                <a:lnTo>
                  <a:pt x="4004" y="1074"/>
                </a:lnTo>
                <a:lnTo>
                  <a:pt x="3988" y="1074"/>
                </a:lnTo>
                <a:lnTo>
                  <a:pt x="3982" y="1072"/>
                </a:lnTo>
                <a:lnTo>
                  <a:pt x="3980" y="1070"/>
                </a:lnTo>
                <a:lnTo>
                  <a:pt x="3982" y="1066"/>
                </a:lnTo>
                <a:lnTo>
                  <a:pt x="3994" y="1062"/>
                </a:lnTo>
                <a:lnTo>
                  <a:pt x="4014" y="1054"/>
                </a:lnTo>
                <a:lnTo>
                  <a:pt x="4020" y="1052"/>
                </a:lnTo>
                <a:lnTo>
                  <a:pt x="4022" y="1050"/>
                </a:lnTo>
                <a:lnTo>
                  <a:pt x="4018" y="1046"/>
                </a:lnTo>
                <a:lnTo>
                  <a:pt x="4012" y="1042"/>
                </a:lnTo>
                <a:lnTo>
                  <a:pt x="3984" y="1030"/>
                </a:lnTo>
                <a:lnTo>
                  <a:pt x="3966" y="1024"/>
                </a:lnTo>
                <a:lnTo>
                  <a:pt x="3952" y="1022"/>
                </a:lnTo>
                <a:lnTo>
                  <a:pt x="3942" y="1024"/>
                </a:lnTo>
                <a:lnTo>
                  <a:pt x="3934" y="1028"/>
                </a:lnTo>
                <a:lnTo>
                  <a:pt x="3930" y="1030"/>
                </a:lnTo>
                <a:lnTo>
                  <a:pt x="3926" y="1030"/>
                </a:lnTo>
                <a:lnTo>
                  <a:pt x="3926" y="1026"/>
                </a:lnTo>
                <a:lnTo>
                  <a:pt x="3928" y="1018"/>
                </a:lnTo>
                <a:lnTo>
                  <a:pt x="3928" y="1008"/>
                </a:lnTo>
                <a:lnTo>
                  <a:pt x="3926" y="1004"/>
                </a:lnTo>
                <a:lnTo>
                  <a:pt x="3922" y="1002"/>
                </a:lnTo>
                <a:lnTo>
                  <a:pt x="3916" y="1002"/>
                </a:lnTo>
                <a:lnTo>
                  <a:pt x="3908" y="1004"/>
                </a:lnTo>
                <a:lnTo>
                  <a:pt x="3904" y="1002"/>
                </a:lnTo>
                <a:lnTo>
                  <a:pt x="3904" y="996"/>
                </a:lnTo>
                <a:lnTo>
                  <a:pt x="3902" y="988"/>
                </a:lnTo>
                <a:lnTo>
                  <a:pt x="3896" y="982"/>
                </a:lnTo>
                <a:lnTo>
                  <a:pt x="3888" y="974"/>
                </a:lnTo>
                <a:lnTo>
                  <a:pt x="3880" y="970"/>
                </a:lnTo>
                <a:lnTo>
                  <a:pt x="3868" y="968"/>
                </a:lnTo>
                <a:lnTo>
                  <a:pt x="3858" y="968"/>
                </a:lnTo>
                <a:lnTo>
                  <a:pt x="3846" y="972"/>
                </a:lnTo>
                <a:lnTo>
                  <a:pt x="3836" y="980"/>
                </a:lnTo>
                <a:lnTo>
                  <a:pt x="3826" y="986"/>
                </a:lnTo>
                <a:lnTo>
                  <a:pt x="3820" y="988"/>
                </a:lnTo>
                <a:lnTo>
                  <a:pt x="3814" y="988"/>
                </a:lnTo>
                <a:lnTo>
                  <a:pt x="3810" y="982"/>
                </a:lnTo>
                <a:lnTo>
                  <a:pt x="3806" y="976"/>
                </a:lnTo>
                <a:lnTo>
                  <a:pt x="3802" y="966"/>
                </a:lnTo>
                <a:lnTo>
                  <a:pt x="3792" y="944"/>
                </a:lnTo>
                <a:lnTo>
                  <a:pt x="3788" y="936"/>
                </a:lnTo>
                <a:lnTo>
                  <a:pt x="3784" y="932"/>
                </a:lnTo>
                <a:lnTo>
                  <a:pt x="3778" y="930"/>
                </a:lnTo>
                <a:lnTo>
                  <a:pt x="3774" y="932"/>
                </a:lnTo>
                <a:lnTo>
                  <a:pt x="3768" y="932"/>
                </a:lnTo>
                <a:lnTo>
                  <a:pt x="3762" y="930"/>
                </a:lnTo>
                <a:lnTo>
                  <a:pt x="3758" y="926"/>
                </a:lnTo>
                <a:lnTo>
                  <a:pt x="3750" y="918"/>
                </a:lnTo>
                <a:lnTo>
                  <a:pt x="3744" y="908"/>
                </a:lnTo>
                <a:lnTo>
                  <a:pt x="3736" y="902"/>
                </a:lnTo>
                <a:lnTo>
                  <a:pt x="3726" y="898"/>
                </a:lnTo>
                <a:lnTo>
                  <a:pt x="3718" y="896"/>
                </a:lnTo>
                <a:lnTo>
                  <a:pt x="3700" y="896"/>
                </a:lnTo>
                <a:lnTo>
                  <a:pt x="3692" y="894"/>
                </a:lnTo>
                <a:lnTo>
                  <a:pt x="3686" y="892"/>
                </a:lnTo>
                <a:lnTo>
                  <a:pt x="3668" y="884"/>
                </a:lnTo>
                <a:lnTo>
                  <a:pt x="3658" y="882"/>
                </a:lnTo>
                <a:lnTo>
                  <a:pt x="3646" y="880"/>
                </a:lnTo>
                <a:lnTo>
                  <a:pt x="3636" y="882"/>
                </a:lnTo>
                <a:lnTo>
                  <a:pt x="3624" y="884"/>
                </a:lnTo>
                <a:lnTo>
                  <a:pt x="3614" y="892"/>
                </a:lnTo>
                <a:lnTo>
                  <a:pt x="3606" y="904"/>
                </a:lnTo>
                <a:lnTo>
                  <a:pt x="3604" y="908"/>
                </a:lnTo>
                <a:lnTo>
                  <a:pt x="3600" y="912"/>
                </a:lnTo>
                <a:lnTo>
                  <a:pt x="3596" y="914"/>
                </a:lnTo>
                <a:lnTo>
                  <a:pt x="3592" y="916"/>
                </a:lnTo>
                <a:lnTo>
                  <a:pt x="3584" y="914"/>
                </a:lnTo>
                <a:lnTo>
                  <a:pt x="3578" y="908"/>
                </a:lnTo>
                <a:lnTo>
                  <a:pt x="3570" y="904"/>
                </a:lnTo>
                <a:lnTo>
                  <a:pt x="3560" y="900"/>
                </a:lnTo>
                <a:lnTo>
                  <a:pt x="3556" y="900"/>
                </a:lnTo>
                <a:lnTo>
                  <a:pt x="3552" y="900"/>
                </a:lnTo>
                <a:lnTo>
                  <a:pt x="3548" y="902"/>
                </a:lnTo>
                <a:lnTo>
                  <a:pt x="3544" y="906"/>
                </a:lnTo>
                <a:lnTo>
                  <a:pt x="3536" y="916"/>
                </a:lnTo>
                <a:lnTo>
                  <a:pt x="3528" y="922"/>
                </a:lnTo>
                <a:lnTo>
                  <a:pt x="3520" y="926"/>
                </a:lnTo>
                <a:lnTo>
                  <a:pt x="3516" y="928"/>
                </a:lnTo>
                <a:lnTo>
                  <a:pt x="3512" y="930"/>
                </a:lnTo>
                <a:lnTo>
                  <a:pt x="3510" y="928"/>
                </a:lnTo>
                <a:lnTo>
                  <a:pt x="3512" y="922"/>
                </a:lnTo>
                <a:lnTo>
                  <a:pt x="3518" y="916"/>
                </a:lnTo>
                <a:lnTo>
                  <a:pt x="3522" y="908"/>
                </a:lnTo>
                <a:lnTo>
                  <a:pt x="3526" y="898"/>
                </a:lnTo>
                <a:lnTo>
                  <a:pt x="3528" y="888"/>
                </a:lnTo>
                <a:lnTo>
                  <a:pt x="3528" y="878"/>
                </a:lnTo>
                <a:lnTo>
                  <a:pt x="3526" y="870"/>
                </a:lnTo>
                <a:lnTo>
                  <a:pt x="3522" y="862"/>
                </a:lnTo>
                <a:lnTo>
                  <a:pt x="3516" y="856"/>
                </a:lnTo>
                <a:lnTo>
                  <a:pt x="3508" y="850"/>
                </a:lnTo>
                <a:lnTo>
                  <a:pt x="3500" y="848"/>
                </a:lnTo>
                <a:lnTo>
                  <a:pt x="3498" y="842"/>
                </a:lnTo>
                <a:lnTo>
                  <a:pt x="3496" y="836"/>
                </a:lnTo>
                <a:lnTo>
                  <a:pt x="3494" y="828"/>
                </a:lnTo>
                <a:lnTo>
                  <a:pt x="3494" y="822"/>
                </a:lnTo>
                <a:lnTo>
                  <a:pt x="3492" y="816"/>
                </a:lnTo>
                <a:lnTo>
                  <a:pt x="3488" y="812"/>
                </a:lnTo>
                <a:lnTo>
                  <a:pt x="3480" y="808"/>
                </a:lnTo>
                <a:lnTo>
                  <a:pt x="3466" y="808"/>
                </a:lnTo>
                <a:lnTo>
                  <a:pt x="3446" y="808"/>
                </a:lnTo>
                <a:lnTo>
                  <a:pt x="3424" y="810"/>
                </a:lnTo>
                <a:lnTo>
                  <a:pt x="3400" y="816"/>
                </a:lnTo>
                <a:lnTo>
                  <a:pt x="3376" y="822"/>
                </a:lnTo>
                <a:lnTo>
                  <a:pt x="3358" y="830"/>
                </a:lnTo>
                <a:lnTo>
                  <a:pt x="3350" y="834"/>
                </a:lnTo>
                <a:lnTo>
                  <a:pt x="3344" y="840"/>
                </a:lnTo>
                <a:lnTo>
                  <a:pt x="3340" y="846"/>
                </a:lnTo>
                <a:lnTo>
                  <a:pt x="3340" y="854"/>
                </a:lnTo>
                <a:lnTo>
                  <a:pt x="3338" y="858"/>
                </a:lnTo>
                <a:lnTo>
                  <a:pt x="3336" y="864"/>
                </a:lnTo>
                <a:lnTo>
                  <a:pt x="3334" y="866"/>
                </a:lnTo>
                <a:lnTo>
                  <a:pt x="3332" y="868"/>
                </a:lnTo>
                <a:lnTo>
                  <a:pt x="3326" y="868"/>
                </a:lnTo>
                <a:lnTo>
                  <a:pt x="3320" y="868"/>
                </a:lnTo>
                <a:lnTo>
                  <a:pt x="3314" y="868"/>
                </a:lnTo>
                <a:lnTo>
                  <a:pt x="3312" y="870"/>
                </a:lnTo>
                <a:lnTo>
                  <a:pt x="3312" y="872"/>
                </a:lnTo>
                <a:lnTo>
                  <a:pt x="3314" y="880"/>
                </a:lnTo>
                <a:lnTo>
                  <a:pt x="3322" y="898"/>
                </a:lnTo>
                <a:lnTo>
                  <a:pt x="3328" y="914"/>
                </a:lnTo>
                <a:lnTo>
                  <a:pt x="3330" y="920"/>
                </a:lnTo>
                <a:lnTo>
                  <a:pt x="3330" y="924"/>
                </a:lnTo>
                <a:lnTo>
                  <a:pt x="3328" y="926"/>
                </a:lnTo>
                <a:lnTo>
                  <a:pt x="3326" y="928"/>
                </a:lnTo>
                <a:lnTo>
                  <a:pt x="3320" y="930"/>
                </a:lnTo>
                <a:lnTo>
                  <a:pt x="3314" y="930"/>
                </a:lnTo>
                <a:lnTo>
                  <a:pt x="3310" y="932"/>
                </a:lnTo>
                <a:lnTo>
                  <a:pt x="3308" y="934"/>
                </a:lnTo>
                <a:lnTo>
                  <a:pt x="3310" y="936"/>
                </a:lnTo>
                <a:lnTo>
                  <a:pt x="3316" y="946"/>
                </a:lnTo>
                <a:lnTo>
                  <a:pt x="3324" y="956"/>
                </a:lnTo>
                <a:lnTo>
                  <a:pt x="3334" y="960"/>
                </a:lnTo>
                <a:lnTo>
                  <a:pt x="3340" y="962"/>
                </a:lnTo>
                <a:lnTo>
                  <a:pt x="3348" y="962"/>
                </a:lnTo>
                <a:lnTo>
                  <a:pt x="3354" y="962"/>
                </a:lnTo>
                <a:lnTo>
                  <a:pt x="3358" y="962"/>
                </a:lnTo>
                <a:lnTo>
                  <a:pt x="3362" y="966"/>
                </a:lnTo>
                <a:lnTo>
                  <a:pt x="3364" y="974"/>
                </a:lnTo>
                <a:lnTo>
                  <a:pt x="3362" y="978"/>
                </a:lnTo>
                <a:lnTo>
                  <a:pt x="3360" y="980"/>
                </a:lnTo>
                <a:lnTo>
                  <a:pt x="3356" y="982"/>
                </a:lnTo>
                <a:lnTo>
                  <a:pt x="3350" y="982"/>
                </a:lnTo>
                <a:lnTo>
                  <a:pt x="3336" y="978"/>
                </a:lnTo>
                <a:lnTo>
                  <a:pt x="3320" y="970"/>
                </a:lnTo>
                <a:lnTo>
                  <a:pt x="3304" y="960"/>
                </a:lnTo>
                <a:lnTo>
                  <a:pt x="3294" y="948"/>
                </a:lnTo>
                <a:lnTo>
                  <a:pt x="3290" y="940"/>
                </a:lnTo>
                <a:lnTo>
                  <a:pt x="3288" y="934"/>
                </a:lnTo>
                <a:lnTo>
                  <a:pt x="3288" y="926"/>
                </a:lnTo>
                <a:lnTo>
                  <a:pt x="3290" y="920"/>
                </a:lnTo>
                <a:lnTo>
                  <a:pt x="3294" y="908"/>
                </a:lnTo>
                <a:lnTo>
                  <a:pt x="3294" y="900"/>
                </a:lnTo>
                <a:lnTo>
                  <a:pt x="3290" y="894"/>
                </a:lnTo>
                <a:lnTo>
                  <a:pt x="3286" y="890"/>
                </a:lnTo>
                <a:lnTo>
                  <a:pt x="3282" y="886"/>
                </a:lnTo>
                <a:lnTo>
                  <a:pt x="3280" y="880"/>
                </a:lnTo>
                <a:lnTo>
                  <a:pt x="3284" y="872"/>
                </a:lnTo>
                <a:lnTo>
                  <a:pt x="3294" y="856"/>
                </a:lnTo>
                <a:lnTo>
                  <a:pt x="3308" y="842"/>
                </a:lnTo>
                <a:lnTo>
                  <a:pt x="3320" y="832"/>
                </a:lnTo>
                <a:lnTo>
                  <a:pt x="3330" y="824"/>
                </a:lnTo>
                <a:lnTo>
                  <a:pt x="3338" y="820"/>
                </a:lnTo>
                <a:lnTo>
                  <a:pt x="3348" y="814"/>
                </a:lnTo>
                <a:lnTo>
                  <a:pt x="3352" y="812"/>
                </a:lnTo>
                <a:lnTo>
                  <a:pt x="3354" y="808"/>
                </a:lnTo>
                <a:lnTo>
                  <a:pt x="3352" y="804"/>
                </a:lnTo>
                <a:lnTo>
                  <a:pt x="3350" y="802"/>
                </a:lnTo>
                <a:lnTo>
                  <a:pt x="3340" y="800"/>
                </a:lnTo>
                <a:lnTo>
                  <a:pt x="3324" y="798"/>
                </a:lnTo>
                <a:lnTo>
                  <a:pt x="3304" y="798"/>
                </a:lnTo>
                <a:lnTo>
                  <a:pt x="3280" y="800"/>
                </a:lnTo>
                <a:lnTo>
                  <a:pt x="3256" y="806"/>
                </a:lnTo>
                <a:lnTo>
                  <a:pt x="3232" y="814"/>
                </a:lnTo>
                <a:lnTo>
                  <a:pt x="3210" y="824"/>
                </a:lnTo>
                <a:lnTo>
                  <a:pt x="3192" y="836"/>
                </a:lnTo>
                <a:lnTo>
                  <a:pt x="3182" y="846"/>
                </a:lnTo>
                <a:lnTo>
                  <a:pt x="3176" y="852"/>
                </a:lnTo>
                <a:lnTo>
                  <a:pt x="3172" y="858"/>
                </a:lnTo>
                <a:lnTo>
                  <a:pt x="3172" y="868"/>
                </a:lnTo>
                <a:lnTo>
                  <a:pt x="3170" y="874"/>
                </a:lnTo>
                <a:lnTo>
                  <a:pt x="3164" y="880"/>
                </a:lnTo>
                <a:lnTo>
                  <a:pt x="3158" y="886"/>
                </a:lnTo>
                <a:lnTo>
                  <a:pt x="3154" y="894"/>
                </a:lnTo>
                <a:lnTo>
                  <a:pt x="3148" y="910"/>
                </a:lnTo>
                <a:lnTo>
                  <a:pt x="3146" y="928"/>
                </a:lnTo>
                <a:lnTo>
                  <a:pt x="3142" y="954"/>
                </a:lnTo>
                <a:lnTo>
                  <a:pt x="3140" y="966"/>
                </a:lnTo>
                <a:lnTo>
                  <a:pt x="3140" y="976"/>
                </a:lnTo>
                <a:lnTo>
                  <a:pt x="3142" y="982"/>
                </a:lnTo>
                <a:lnTo>
                  <a:pt x="3148" y="986"/>
                </a:lnTo>
                <a:lnTo>
                  <a:pt x="3156" y="990"/>
                </a:lnTo>
                <a:lnTo>
                  <a:pt x="3166" y="992"/>
                </a:lnTo>
                <a:lnTo>
                  <a:pt x="3198" y="994"/>
                </a:lnTo>
                <a:lnTo>
                  <a:pt x="3216" y="996"/>
                </a:lnTo>
                <a:lnTo>
                  <a:pt x="3230" y="1000"/>
                </a:lnTo>
                <a:lnTo>
                  <a:pt x="3240" y="1004"/>
                </a:lnTo>
                <a:lnTo>
                  <a:pt x="3246" y="1008"/>
                </a:lnTo>
                <a:lnTo>
                  <a:pt x="3246" y="1012"/>
                </a:lnTo>
                <a:lnTo>
                  <a:pt x="3244" y="1016"/>
                </a:lnTo>
                <a:lnTo>
                  <a:pt x="3234" y="1016"/>
                </a:lnTo>
                <a:lnTo>
                  <a:pt x="3220" y="1016"/>
                </a:lnTo>
                <a:lnTo>
                  <a:pt x="3190" y="1014"/>
                </a:lnTo>
                <a:lnTo>
                  <a:pt x="3180" y="1014"/>
                </a:lnTo>
                <a:lnTo>
                  <a:pt x="3174" y="1016"/>
                </a:lnTo>
                <a:lnTo>
                  <a:pt x="3172" y="1018"/>
                </a:lnTo>
                <a:lnTo>
                  <a:pt x="3172" y="1020"/>
                </a:lnTo>
                <a:lnTo>
                  <a:pt x="3174" y="1026"/>
                </a:lnTo>
                <a:lnTo>
                  <a:pt x="3180" y="1036"/>
                </a:lnTo>
                <a:lnTo>
                  <a:pt x="3192" y="1048"/>
                </a:lnTo>
                <a:lnTo>
                  <a:pt x="3208" y="1060"/>
                </a:lnTo>
                <a:lnTo>
                  <a:pt x="3222" y="1066"/>
                </a:lnTo>
                <a:lnTo>
                  <a:pt x="3234" y="1068"/>
                </a:lnTo>
                <a:lnTo>
                  <a:pt x="3248" y="1068"/>
                </a:lnTo>
                <a:lnTo>
                  <a:pt x="3260" y="1066"/>
                </a:lnTo>
                <a:lnTo>
                  <a:pt x="3270" y="1066"/>
                </a:lnTo>
                <a:lnTo>
                  <a:pt x="3282" y="1068"/>
                </a:lnTo>
                <a:lnTo>
                  <a:pt x="3292" y="1074"/>
                </a:lnTo>
                <a:lnTo>
                  <a:pt x="3304" y="1082"/>
                </a:lnTo>
                <a:lnTo>
                  <a:pt x="3314" y="1086"/>
                </a:lnTo>
                <a:lnTo>
                  <a:pt x="3324" y="1086"/>
                </a:lnTo>
                <a:lnTo>
                  <a:pt x="3334" y="1086"/>
                </a:lnTo>
                <a:lnTo>
                  <a:pt x="3350" y="1084"/>
                </a:lnTo>
                <a:lnTo>
                  <a:pt x="3360" y="1082"/>
                </a:lnTo>
                <a:lnTo>
                  <a:pt x="3374" y="1086"/>
                </a:lnTo>
                <a:lnTo>
                  <a:pt x="3386" y="1088"/>
                </a:lnTo>
                <a:lnTo>
                  <a:pt x="3400" y="1088"/>
                </a:lnTo>
                <a:lnTo>
                  <a:pt x="3408" y="1086"/>
                </a:lnTo>
                <a:lnTo>
                  <a:pt x="3416" y="1088"/>
                </a:lnTo>
                <a:lnTo>
                  <a:pt x="3428" y="1090"/>
                </a:lnTo>
                <a:lnTo>
                  <a:pt x="3444" y="1094"/>
                </a:lnTo>
                <a:lnTo>
                  <a:pt x="3456" y="1096"/>
                </a:lnTo>
                <a:lnTo>
                  <a:pt x="3464" y="1096"/>
                </a:lnTo>
                <a:lnTo>
                  <a:pt x="3470" y="1094"/>
                </a:lnTo>
                <a:lnTo>
                  <a:pt x="3472" y="1090"/>
                </a:lnTo>
                <a:lnTo>
                  <a:pt x="3476" y="1088"/>
                </a:lnTo>
                <a:lnTo>
                  <a:pt x="3480" y="1086"/>
                </a:lnTo>
                <a:lnTo>
                  <a:pt x="3486" y="1088"/>
                </a:lnTo>
                <a:lnTo>
                  <a:pt x="3496" y="1096"/>
                </a:lnTo>
                <a:lnTo>
                  <a:pt x="3514" y="1108"/>
                </a:lnTo>
                <a:lnTo>
                  <a:pt x="3518" y="1110"/>
                </a:lnTo>
                <a:lnTo>
                  <a:pt x="3520" y="1110"/>
                </a:lnTo>
                <a:lnTo>
                  <a:pt x="3520" y="1108"/>
                </a:lnTo>
                <a:lnTo>
                  <a:pt x="3516" y="1102"/>
                </a:lnTo>
                <a:lnTo>
                  <a:pt x="3504" y="1088"/>
                </a:lnTo>
                <a:lnTo>
                  <a:pt x="3498" y="1082"/>
                </a:lnTo>
                <a:lnTo>
                  <a:pt x="3498" y="1080"/>
                </a:lnTo>
                <a:lnTo>
                  <a:pt x="3500" y="1080"/>
                </a:lnTo>
                <a:lnTo>
                  <a:pt x="3508" y="1078"/>
                </a:lnTo>
                <a:lnTo>
                  <a:pt x="3520" y="1080"/>
                </a:lnTo>
                <a:lnTo>
                  <a:pt x="3550" y="1088"/>
                </a:lnTo>
                <a:lnTo>
                  <a:pt x="3584" y="1094"/>
                </a:lnTo>
                <a:lnTo>
                  <a:pt x="3590" y="1094"/>
                </a:lnTo>
                <a:lnTo>
                  <a:pt x="3596" y="1094"/>
                </a:lnTo>
                <a:lnTo>
                  <a:pt x="3598" y="1092"/>
                </a:lnTo>
                <a:lnTo>
                  <a:pt x="3600" y="1088"/>
                </a:lnTo>
                <a:lnTo>
                  <a:pt x="3602" y="1080"/>
                </a:lnTo>
                <a:lnTo>
                  <a:pt x="3600" y="1072"/>
                </a:lnTo>
                <a:lnTo>
                  <a:pt x="3596" y="1058"/>
                </a:lnTo>
                <a:lnTo>
                  <a:pt x="3596" y="1056"/>
                </a:lnTo>
                <a:lnTo>
                  <a:pt x="3598" y="1056"/>
                </a:lnTo>
                <a:lnTo>
                  <a:pt x="3604" y="1062"/>
                </a:lnTo>
                <a:lnTo>
                  <a:pt x="3612" y="1068"/>
                </a:lnTo>
                <a:lnTo>
                  <a:pt x="3618" y="1070"/>
                </a:lnTo>
                <a:lnTo>
                  <a:pt x="3626" y="1070"/>
                </a:lnTo>
                <a:lnTo>
                  <a:pt x="3630" y="1070"/>
                </a:lnTo>
                <a:lnTo>
                  <a:pt x="3636" y="1070"/>
                </a:lnTo>
                <a:lnTo>
                  <a:pt x="3638" y="1070"/>
                </a:lnTo>
                <a:lnTo>
                  <a:pt x="3640" y="1074"/>
                </a:lnTo>
                <a:lnTo>
                  <a:pt x="3642" y="1082"/>
                </a:lnTo>
                <a:lnTo>
                  <a:pt x="3642" y="1092"/>
                </a:lnTo>
                <a:lnTo>
                  <a:pt x="3644" y="1100"/>
                </a:lnTo>
                <a:lnTo>
                  <a:pt x="3648" y="1104"/>
                </a:lnTo>
                <a:lnTo>
                  <a:pt x="3652" y="1108"/>
                </a:lnTo>
                <a:lnTo>
                  <a:pt x="3670" y="1114"/>
                </a:lnTo>
                <a:lnTo>
                  <a:pt x="3696" y="1124"/>
                </a:lnTo>
                <a:lnTo>
                  <a:pt x="3710" y="1130"/>
                </a:lnTo>
                <a:lnTo>
                  <a:pt x="3720" y="1136"/>
                </a:lnTo>
                <a:lnTo>
                  <a:pt x="3724" y="1142"/>
                </a:lnTo>
                <a:lnTo>
                  <a:pt x="3724" y="1146"/>
                </a:lnTo>
                <a:lnTo>
                  <a:pt x="3722" y="1150"/>
                </a:lnTo>
                <a:lnTo>
                  <a:pt x="3716" y="1152"/>
                </a:lnTo>
                <a:lnTo>
                  <a:pt x="3708" y="1154"/>
                </a:lnTo>
                <a:lnTo>
                  <a:pt x="3698" y="1154"/>
                </a:lnTo>
                <a:lnTo>
                  <a:pt x="3690" y="1156"/>
                </a:lnTo>
                <a:lnTo>
                  <a:pt x="3684" y="1158"/>
                </a:lnTo>
                <a:lnTo>
                  <a:pt x="3680" y="1162"/>
                </a:lnTo>
                <a:lnTo>
                  <a:pt x="3678" y="1168"/>
                </a:lnTo>
                <a:lnTo>
                  <a:pt x="3678" y="1172"/>
                </a:lnTo>
                <a:lnTo>
                  <a:pt x="3684" y="1176"/>
                </a:lnTo>
                <a:lnTo>
                  <a:pt x="3692" y="1176"/>
                </a:lnTo>
                <a:lnTo>
                  <a:pt x="3704" y="1174"/>
                </a:lnTo>
                <a:lnTo>
                  <a:pt x="3718" y="1172"/>
                </a:lnTo>
                <a:lnTo>
                  <a:pt x="3732" y="1172"/>
                </a:lnTo>
                <a:lnTo>
                  <a:pt x="3746" y="1174"/>
                </a:lnTo>
                <a:lnTo>
                  <a:pt x="3760" y="1176"/>
                </a:lnTo>
                <a:lnTo>
                  <a:pt x="3772" y="1182"/>
                </a:lnTo>
                <a:lnTo>
                  <a:pt x="3782" y="1186"/>
                </a:lnTo>
                <a:lnTo>
                  <a:pt x="3788" y="1192"/>
                </a:lnTo>
                <a:lnTo>
                  <a:pt x="3794" y="1198"/>
                </a:lnTo>
                <a:lnTo>
                  <a:pt x="3798" y="1202"/>
                </a:lnTo>
                <a:lnTo>
                  <a:pt x="3802" y="1206"/>
                </a:lnTo>
                <a:lnTo>
                  <a:pt x="3816" y="1210"/>
                </a:lnTo>
                <a:lnTo>
                  <a:pt x="3822" y="1214"/>
                </a:lnTo>
                <a:lnTo>
                  <a:pt x="3828" y="1218"/>
                </a:lnTo>
                <a:lnTo>
                  <a:pt x="3832" y="1226"/>
                </a:lnTo>
                <a:lnTo>
                  <a:pt x="3836" y="1236"/>
                </a:lnTo>
                <a:lnTo>
                  <a:pt x="3838" y="1248"/>
                </a:lnTo>
                <a:lnTo>
                  <a:pt x="3844" y="1256"/>
                </a:lnTo>
                <a:lnTo>
                  <a:pt x="3852" y="1272"/>
                </a:lnTo>
                <a:lnTo>
                  <a:pt x="3856" y="1278"/>
                </a:lnTo>
                <a:lnTo>
                  <a:pt x="3858" y="1282"/>
                </a:lnTo>
                <a:lnTo>
                  <a:pt x="3856" y="1288"/>
                </a:lnTo>
                <a:lnTo>
                  <a:pt x="3850" y="1292"/>
                </a:lnTo>
                <a:lnTo>
                  <a:pt x="3836" y="1302"/>
                </a:lnTo>
                <a:lnTo>
                  <a:pt x="3824" y="1314"/>
                </a:lnTo>
                <a:lnTo>
                  <a:pt x="3808" y="1330"/>
                </a:lnTo>
                <a:lnTo>
                  <a:pt x="3788" y="1346"/>
                </a:lnTo>
                <a:lnTo>
                  <a:pt x="3784" y="1350"/>
                </a:lnTo>
                <a:lnTo>
                  <a:pt x="3782" y="1356"/>
                </a:lnTo>
                <a:lnTo>
                  <a:pt x="3780" y="1362"/>
                </a:lnTo>
                <a:lnTo>
                  <a:pt x="3782" y="1366"/>
                </a:lnTo>
                <a:lnTo>
                  <a:pt x="3786" y="1378"/>
                </a:lnTo>
                <a:lnTo>
                  <a:pt x="3794" y="1388"/>
                </a:lnTo>
                <a:lnTo>
                  <a:pt x="3806" y="1402"/>
                </a:lnTo>
                <a:lnTo>
                  <a:pt x="3806" y="1404"/>
                </a:lnTo>
                <a:lnTo>
                  <a:pt x="3798" y="1402"/>
                </a:lnTo>
                <a:lnTo>
                  <a:pt x="3786" y="1400"/>
                </a:lnTo>
                <a:lnTo>
                  <a:pt x="3776" y="1402"/>
                </a:lnTo>
                <a:lnTo>
                  <a:pt x="3768" y="1406"/>
                </a:lnTo>
                <a:lnTo>
                  <a:pt x="3760" y="1410"/>
                </a:lnTo>
                <a:lnTo>
                  <a:pt x="3750" y="1414"/>
                </a:lnTo>
                <a:lnTo>
                  <a:pt x="3736" y="1416"/>
                </a:lnTo>
                <a:lnTo>
                  <a:pt x="3716" y="1416"/>
                </a:lnTo>
                <a:lnTo>
                  <a:pt x="3692" y="1412"/>
                </a:lnTo>
                <a:lnTo>
                  <a:pt x="3670" y="1408"/>
                </a:lnTo>
                <a:lnTo>
                  <a:pt x="3656" y="1406"/>
                </a:lnTo>
                <a:lnTo>
                  <a:pt x="3650" y="1406"/>
                </a:lnTo>
                <a:lnTo>
                  <a:pt x="3650" y="1410"/>
                </a:lnTo>
                <a:lnTo>
                  <a:pt x="3650" y="1414"/>
                </a:lnTo>
                <a:lnTo>
                  <a:pt x="3650" y="1420"/>
                </a:lnTo>
                <a:lnTo>
                  <a:pt x="3646" y="1428"/>
                </a:lnTo>
                <a:lnTo>
                  <a:pt x="3634" y="1436"/>
                </a:lnTo>
                <a:lnTo>
                  <a:pt x="3628" y="1440"/>
                </a:lnTo>
                <a:lnTo>
                  <a:pt x="3624" y="1444"/>
                </a:lnTo>
                <a:lnTo>
                  <a:pt x="3622" y="1450"/>
                </a:lnTo>
                <a:lnTo>
                  <a:pt x="3622" y="1456"/>
                </a:lnTo>
                <a:lnTo>
                  <a:pt x="3622" y="1460"/>
                </a:lnTo>
                <a:lnTo>
                  <a:pt x="3624" y="1466"/>
                </a:lnTo>
                <a:lnTo>
                  <a:pt x="3634" y="1476"/>
                </a:lnTo>
                <a:lnTo>
                  <a:pt x="3646" y="1484"/>
                </a:lnTo>
                <a:lnTo>
                  <a:pt x="3654" y="1486"/>
                </a:lnTo>
                <a:lnTo>
                  <a:pt x="3664" y="1488"/>
                </a:lnTo>
                <a:lnTo>
                  <a:pt x="3672" y="1488"/>
                </a:lnTo>
                <a:lnTo>
                  <a:pt x="3682" y="1486"/>
                </a:lnTo>
                <a:lnTo>
                  <a:pt x="3692" y="1484"/>
                </a:lnTo>
                <a:lnTo>
                  <a:pt x="3702" y="1480"/>
                </a:lnTo>
                <a:lnTo>
                  <a:pt x="3720" y="1472"/>
                </a:lnTo>
                <a:lnTo>
                  <a:pt x="3732" y="1472"/>
                </a:lnTo>
                <a:lnTo>
                  <a:pt x="3742" y="1474"/>
                </a:lnTo>
                <a:lnTo>
                  <a:pt x="3748" y="1478"/>
                </a:lnTo>
                <a:lnTo>
                  <a:pt x="3752" y="1482"/>
                </a:lnTo>
                <a:lnTo>
                  <a:pt x="3758" y="1484"/>
                </a:lnTo>
                <a:lnTo>
                  <a:pt x="3762" y="1484"/>
                </a:lnTo>
                <a:lnTo>
                  <a:pt x="3768" y="1478"/>
                </a:lnTo>
                <a:lnTo>
                  <a:pt x="3776" y="1472"/>
                </a:lnTo>
                <a:lnTo>
                  <a:pt x="3780" y="1470"/>
                </a:lnTo>
                <a:lnTo>
                  <a:pt x="3782" y="1474"/>
                </a:lnTo>
                <a:lnTo>
                  <a:pt x="3784" y="1478"/>
                </a:lnTo>
                <a:lnTo>
                  <a:pt x="3786" y="1486"/>
                </a:lnTo>
                <a:lnTo>
                  <a:pt x="3788" y="1486"/>
                </a:lnTo>
                <a:lnTo>
                  <a:pt x="3792" y="1482"/>
                </a:lnTo>
                <a:lnTo>
                  <a:pt x="3796" y="1472"/>
                </a:lnTo>
                <a:lnTo>
                  <a:pt x="3798" y="1470"/>
                </a:lnTo>
                <a:lnTo>
                  <a:pt x="3802" y="1468"/>
                </a:lnTo>
                <a:lnTo>
                  <a:pt x="3806" y="1470"/>
                </a:lnTo>
                <a:lnTo>
                  <a:pt x="3812" y="1476"/>
                </a:lnTo>
                <a:lnTo>
                  <a:pt x="3836" y="1502"/>
                </a:lnTo>
                <a:lnTo>
                  <a:pt x="3848" y="1516"/>
                </a:lnTo>
                <a:lnTo>
                  <a:pt x="3858" y="1524"/>
                </a:lnTo>
                <a:lnTo>
                  <a:pt x="3864" y="1526"/>
                </a:lnTo>
                <a:lnTo>
                  <a:pt x="3868" y="1524"/>
                </a:lnTo>
                <a:lnTo>
                  <a:pt x="3872" y="1522"/>
                </a:lnTo>
                <a:lnTo>
                  <a:pt x="3876" y="1522"/>
                </a:lnTo>
                <a:lnTo>
                  <a:pt x="3882" y="1524"/>
                </a:lnTo>
                <a:lnTo>
                  <a:pt x="3890" y="1530"/>
                </a:lnTo>
                <a:lnTo>
                  <a:pt x="3896" y="1536"/>
                </a:lnTo>
                <a:lnTo>
                  <a:pt x="3896" y="1538"/>
                </a:lnTo>
                <a:lnTo>
                  <a:pt x="3896" y="1540"/>
                </a:lnTo>
                <a:lnTo>
                  <a:pt x="3890" y="1540"/>
                </a:lnTo>
                <a:lnTo>
                  <a:pt x="3882" y="1542"/>
                </a:lnTo>
                <a:lnTo>
                  <a:pt x="3876" y="1542"/>
                </a:lnTo>
                <a:lnTo>
                  <a:pt x="3872" y="1544"/>
                </a:lnTo>
                <a:lnTo>
                  <a:pt x="3872" y="1546"/>
                </a:lnTo>
                <a:lnTo>
                  <a:pt x="3872" y="1550"/>
                </a:lnTo>
                <a:lnTo>
                  <a:pt x="3874" y="1554"/>
                </a:lnTo>
                <a:lnTo>
                  <a:pt x="3884" y="1566"/>
                </a:lnTo>
                <a:lnTo>
                  <a:pt x="3896" y="1572"/>
                </a:lnTo>
                <a:lnTo>
                  <a:pt x="3908" y="1578"/>
                </a:lnTo>
                <a:lnTo>
                  <a:pt x="3934" y="1584"/>
                </a:lnTo>
                <a:lnTo>
                  <a:pt x="3956" y="1590"/>
                </a:lnTo>
                <a:lnTo>
                  <a:pt x="3966" y="1596"/>
                </a:lnTo>
                <a:lnTo>
                  <a:pt x="3974" y="1602"/>
                </a:lnTo>
                <a:lnTo>
                  <a:pt x="3982" y="1610"/>
                </a:lnTo>
                <a:lnTo>
                  <a:pt x="3994" y="1616"/>
                </a:lnTo>
                <a:lnTo>
                  <a:pt x="4008" y="1620"/>
                </a:lnTo>
                <a:lnTo>
                  <a:pt x="4024" y="1626"/>
                </a:lnTo>
                <a:lnTo>
                  <a:pt x="4058" y="1634"/>
                </a:lnTo>
                <a:lnTo>
                  <a:pt x="4090" y="1644"/>
                </a:lnTo>
                <a:lnTo>
                  <a:pt x="4102" y="1648"/>
                </a:lnTo>
                <a:lnTo>
                  <a:pt x="4110" y="1648"/>
                </a:lnTo>
                <a:lnTo>
                  <a:pt x="4112" y="1646"/>
                </a:lnTo>
                <a:lnTo>
                  <a:pt x="4114" y="1644"/>
                </a:lnTo>
                <a:lnTo>
                  <a:pt x="4114" y="1638"/>
                </a:lnTo>
                <a:lnTo>
                  <a:pt x="4112" y="1630"/>
                </a:lnTo>
                <a:lnTo>
                  <a:pt x="4106" y="1620"/>
                </a:lnTo>
                <a:lnTo>
                  <a:pt x="4098" y="1610"/>
                </a:lnTo>
                <a:lnTo>
                  <a:pt x="4088" y="1600"/>
                </a:lnTo>
                <a:lnTo>
                  <a:pt x="4076" y="1588"/>
                </a:lnTo>
                <a:lnTo>
                  <a:pt x="4060" y="1578"/>
                </a:lnTo>
                <a:lnTo>
                  <a:pt x="4028" y="1556"/>
                </a:lnTo>
                <a:lnTo>
                  <a:pt x="4014" y="1546"/>
                </a:lnTo>
                <a:lnTo>
                  <a:pt x="4002" y="1536"/>
                </a:lnTo>
                <a:lnTo>
                  <a:pt x="3994" y="1528"/>
                </a:lnTo>
                <a:lnTo>
                  <a:pt x="3994" y="1526"/>
                </a:lnTo>
                <a:lnTo>
                  <a:pt x="3994" y="1522"/>
                </a:lnTo>
                <a:lnTo>
                  <a:pt x="3996" y="1520"/>
                </a:lnTo>
                <a:lnTo>
                  <a:pt x="3998" y="1520"/>
                </a:lnTo>
                <a:lnTo>
                  <a:pt x="4004" y="1522"/>
                </a:lnTo>
                <a:lnTo>
                  <a:pt x="4020" y="1534"/>
                </a:lnTo>
                <a:lnTo>
                  <a:pt x="4036" y="1544"/>
                </a:lnTo>
                <a:lnTo>
                  <a:pt x="4040" y="1546"/>
                </a:lnTo>
                <a:lnTo>
                  <a:pt x="4042" y="1544"/>
                </a:lnTo>
                <a:lnTo>
                  <a:pt x="4042" y="1542"/>
                </a:lnTo>
                <a:lnTo>
                  <a:pt x="4044" y="1540"/>
                </a:lnTo>
                <a:lnTo>
                  <a:pt x="4048" y="1540"/>
                </a:lnTo>
                <a:lnTo>
                  <a:pt x="4064" y="1552"/>
                </a:lnTo>
                <a:lnTo>
                  <a:pt x="4074" y="1560"/>
                </a:lnTo>
                <a:lnTo>
                  <a:pt x="4084" y="1568"/>
                </a:lnTo>
                <a:lnTo>
                  <a:pt x="4096" y="1574"/>
                </a:lnTo>
                <a:lnTo>
                  <a:pt x="4108" y="1576"/>
                </a:lnTo>
                <a:lnTo>
                  <a:pt x="4120" y="1580"/>
                </a:lnTo>
                <a:lnTo>
                  <a:pt x="4130" y="1586"/>
                </a:lnTo>
                <a:lnTo>
                  <a:pt x="4138" y="1594"/>
                </a:lnTo>
                <a:lnTo>
                  <a:pt x="4146" y="1602"/>
                </a:lnTo>
                <a:lnTo>
                  <a:pt x="4150" y="1610"/>
                </a:lnTo>
                <a:lnTo>
                  <a:pt x="4154" y="1612"/>
                </a:lnTo>
                <a:lnTo>
                  <a:pt x="4154" y="1610"/>
                </a:lnTo>
                <a:lnTo>
                  <a:pt x="4154" y="1600"/>
                </a:lnTo>
                <a:lnTo>
                  <a:pt x="4152" y="1590"/>
                </a:lnTo>
                <a:lnTo>
                  <a:pt x="4152" y="1586"/>
                </a:lnTo>
                <a:lnTo>
                  <a:pt x="4154" y="1584"/>
                </a:lnTo>
                <a:lnTo>
                  <a:pt x="4156" y="1586"/>
                </a:lnTo>
                <a:lnTo>
                  <a:pt x="4158" y="1586"/>
                </a:lnTo>
                <a:lnTo>
                  <a:pt x="4160" y="1584"/>
                </a:lnTo>
                <a:lnTo>
                  <a:pt x="4160" y="1576"/>
                </a:lnTo>
                <a:lnTo>
                  <a:pt x="4158" y="1564"/>
                </a:lnTo>
                <a:lnTo>
                  <a:pt x="4158" y="1548"/>
                </a:lnTo>
                <a:lnTo>
                  <a:pt x="4160" y="1552"/>
                </a:lnTo>
                <a:lnTo>
                  <a:pt x="4162" y="1556"/>
                </a:lnTo>
                <a:lnTo>
                  <a:pt x="4166" y="1556"/>
                </a:lnTo>
                <a:lnTo>
                  <a:pt x="4168" y="1554"/>
                </a:lnTo>
                <a:lnTo>
                  <a:pt x="4172" y="1544"/>
                </a:lnTo>
                <a:lnTo>
                  <a:pt x="4172" y="1532"/>
                </a:lnTo>
                <a:lnTo>
                  <a:pt x="4170" y="1524"/>
                </a:lnTo>
                <a:lnTo>
                  <a:pt x="4166" y="1522"/>
                </a:lnTo>
                <a:lnTo>
                  <a:pt x="4162" y="1520"/>
                </a:lnTo>
                <a:lnTo>
                  <a:pt x="4158" y="1520"/>
                </a:lnTo>
                <a:lnTo>
                  <a:pt x="4154" y="1520"/>
                </a:lnTo>
                <a:lnTo>
                  <a:pt x="4156" y="1516"/>
                </a:lnTo>
                <a:lnTo>
                  <a:pt x="4158" y="1510"/>
                </a:lnTo>
                <a:lnTo>
                  <a:pt x="4162" y="1504"/>
                </a:lnTo>
                <a:lnTo>
                  <a:pt x="4162" y="1500"/>
                </a:lnTo>
                <a:lnTo>
                  <a:pt x="4158" y="1498"/>
                </a:lnTo>
                <a:lnTo>
                  <a:pt x="4152" y="1498"/>
                </a:lnTo>
                <a:lnTo>
                  <a:pt x="4146" y="1496"/>
                </a:lnTo>
                <a:lnTo>
                  <a:pt x="4142" y="1494"/>
                </a:lnTo>
                <a:lnTo>
                  <a:pt x="4140" y="1492"/>
                </a:lnTo>
                <a:lnTo>
                  <a:pt x="4142" y="1486"/>
                </a:lnTo>
                <a:lnTo>
                  <a:pt x="4148" y="1478"/>
                </a:lnTo>
                <a:lnTo>
                  <a:pt x="4150" y="1474"/>
                </a:lnTo>
                <a:lnTo>
                  <a:pt x="4150" y="1468"/>
                </a:lnTo>
                <a:lnTo>
                  <a:pt x="4146" y="1464"/>
                </a:lnTo>
                <a:lnTo>
                  <a:pt x="4140" y="1460"/>
                </a:lnTo>
                <a:lnTo>
                  <a:pt x="4132" y="1456"/>
                </a:lnTo>
                <a:lnTo>
                  <a:pt x="4106" y="1446"/>
                </a:lnTo>
                <a:lnTo>
                  <a:pt x="4092" y="1438"/>
                </a:lnTo>
                <a:lnTo>
                  <a:pt x="4082" y="1430"/>
                </a:lnTo>
                <a:lnTo>
                  <a:pt x="4076" y="1420"/>
                </a:lnTo>
                <a:lnTo>
                  <a:pt x="4072" y="1408"/>
                </a:lnTo>
                <a:lnTo>
                  <a:pt x="4068" y="1400"/>
                </a:lnTo>
                <a:lnTo>
                  <a:pt x="4064" y="1394"/>
                </a:lnTo>
                <a:lnTo>
                  <a:pt x="4060" y="1390"/>
                </a:lnTo>
                <a:lnTo>
                  <a:pt x="4052" y="1390"/>
                </a:lnTo>
                <a:lnTo>
                  <a:pt x="4044" y="1392"/>
                </a:lnTo>
                <a:lnTo>
                  <a:pt x="4038" y="1392"/>
                </a:lnTo>
                <a:lnTo>
                  <a:pt x="4032" y="1390"/>
                </a:lnTo>
                <a:lnTo>
                  <a:pt x="4030" y="1388"/>
                </a:lnTo>
                <a:lnTo>
                  <a:pt x="4030" y="1384"/>
                </a:lnTo>
                <a:lnTo>
                  <a:pt x="4034" y="1380"/>
                </a:lnTo>
                <a:lnTo>
                  <a:pt x="4040" y="1378"/>
                </a:lnTo>
                <a:lnTo>
                  <a:pt x="4048" y="1376"/>
                </a:lnTo>
                <a:lnTo>
                  <a:pt x="4054" y="1374"/>
                </a:lnTo>
                <a:lnTo>
                  <a:pt x="4056" y="1372"/>
                </a:lnTo>
                <a:lnTo>
                  <a:pt x="4058" y="1370"/>
                </a:lnTo>
                <a:lnTo>
                  <a:pt x="4058" y="1368"/>
                </a:lnTo>
                <a:lnTo>
                  <a:pt x="4054" y="1360"/>
                </a:lnTo>
                <a:lnTo>
                  <a:pt x="4050" y="1354"/>
                </a:lnTo>
                <a:lnTo>
                  <a:pt x="4042" y="1344"/>
                </a:lnTo>
                <a:lnTo>
                  <a:pt x="4042" y="1342"/>
                </a:lnTo>
                <a:lnTo>
                  <a:pt x="4044" y="1342"/>
                </a:lnTo>
                <a:lnTo>
                  <a:pt x="4050" y="1344"/>
                </a:lnTo>
                <a:lnTo>
                  <a:pt x="4058" y="1344"/>
                </a:lnTo>
                <a:lnTo>
                  <a:pt x="4064" y="1342"/>
                </a:lnTo>
                <a:lnTo>
                  <a:pt x="4068" y="1340"/>
                </a:lnTo>
                <a:lnTo>
                  <a:pt x="4070" y="1336"/>
                </a:lnTo>
                <a:lnTo>
                  <a:pt x="4072" y="1332"/>
                </a:lnTo>
                <a:lnTo>
                  <a:pt x="4074" y="1332"/>
                </a:lnTo>
                <a:lnTo>
                  <a:pt x="4078" y="1334"/>
                </a:lnTo>
                <a:lnTo>
                  <a:pt x="4084" y="1342"/>
                </a:lnTo>
                <a:lnTo>
                  <a:pt x="4090" y="1350"/>
                </a:lnTo>
                <a:lnTo>
                  <a:pt x="4094" y="1354"/>
                </a:lnTo>
                <a:lnTo>
                  <a:pt x="4100" y="1356"/>
                </a:lnTo>
                <a:lnTo>
                  <a:pt x="4104" y="1356"/>
                </a:lnTo>
                <a:lnTo>
                  <a:pt x="4110" y="1356"/>
                </a:lnTo>
                <a:lnTo>
                  <a:pt x="4112" y="1360"/>
                </a:lnTo>
                <a:lnTo>
                  <a:pt x="4114" y="1364"/>
                </a:lnTo>
                <a:lnTo>
                  <a:pt x="4116" y="1370"/>
                </a:lnTo>
                <a:lnTo>
                  <a:pt x="4120" y="1374"/>
                </a:lnTo>
                <a:lnTo>
                  <a:pt x="4126" y="1376"/>
                </a:lnTo>
                <a:lnTo>
                  <a:pt x="4130" y="1378"/>
                </a:lnTo>
                <a:lnTo>
                  <a:pt x="4132" y="1380"/>
                </a:lnTo>
                <a:lnTo>
                  <a:pt x="4134" y="1384"/>
                </a:lnTo>
                <a:lnTo>
                  <a:pt x="4134" y="1388"/>
                </a:lnTo>
                <a:lnTo>
                  <a:pt x="4134" y="1394"/>
                </a:lnTo>
                <a:lnTo>
                  <a:pt x="4138" y="1398"/>
                </a:lnTo>
                <a:lnTo>
                  <a:pt x="4148" y="1410"/>
                </a:lnTo>
                <a:lnTo>
                  <a:pt x="4162" y="1424"/>
                </a:lnTo>
                <a:lnTo>
                  <a:pt x="4180" y="1434"/>
                </a:lnTo>
                <a:lnTo>
                  <a:pt x="4196" y="1442"/>
                </a:lnTo>
                <a:lnTo>
                  <a:pt x="4204" y="1444"/>
                </a:lnTo>
                <a:lnTo>
                  <a:pt x="4210" y="1446"/>
                </a:lnTo>
                <a:lnTo>
                  <a:pt x="4216" y="1444"/>
                </a:lnTo>
                <a:lnTo>
                  <a:pt x="4218" y="1440"/>
                </a:lnTo>
                <a:lnTo>
                  <a:pt x="4220" y="1434"/>
                </a:lnTo>
                <a:lnTo>
                  <a:pt x="4220" y="1426"/>
                </a:lnTo>
                <a:lnTo>
                  <a:pt x="4218" y="1416"/>
                </a:lnTo>
                <a:lnTo>
                  <a:pt x="4218" y="1408"/>
                </a:lnTo>
                <a:lnTo>
                  <a:pt x="4220" y="1404"/>
                </a:lnTo>
                <a:lnTo>
                  <a:pt x="4224" y="1400"/>
                </a:lnTo>
                <a:lnTo>
                  <a:pt x="4228" y="1396"/>
                </a:lnTo>
                <a:lnTo>
                  <a:pt x="4232" y="1396"/>
                </a:lnTo>
                <a:lnTo>
                  <a:pt x="4242" y="1394"/>
                </a:lnTo>
                <a:lnTo>
                  <a:pt x="4260" y="1394"/>
                </a:lnTo>
                <a:lnTo>
                  <a:pt x="4262" y="1394"/>
                </a:lnTo>
                <a:lnTo>
                  <a:pt x="4264" y="1392"/>
                </a:lnTo>
                <a:lnTo>
                  <a:pt x="4264" y="1390"/>
                </a:lnTo>
                <a:lnTo>
                  <a:pt x="4262" y="1386"/>
                </a:lnTo>
                <a:lnTo>
                  <a:pt x="4258" y="1378"/>
                </a:lnTo>
                <a:lnTo>
                  <a:pt x="4258" y="1374"/>
                </a:lnTo>
                <a:lnTo>
                  <a:pt x="4260" y="1372"/>
                </a:lnTo>
                <a:lnTo>
                  <a:pt x="4262" y="1370"/>
                </a:lnTo>
                <a:lnTo>
                  <a:pt x="4268" y="1368"/>
                </a:lnTo>
                <a:lnTo>
                  <a:pt x="4270" y="1366"/>
                </a:lnTo>
                <a:lnTo>
                  <a:pt x="4268" y="1360"/>
                </a:lnTo>
                <a:lnTo>
                  <a:pt x="4266" y="1358"/>
                </a:lnTo>
                <a:lnTo>
                  <a:pt x="4266" y="1356"/>
                </a:lnTo>
                <a:lnTo>
                  <a:pt x="4270" y="1352"/>
                </a:lnTo>
                <a:lnTo>
                  <a:pt x="4284" y="1346"/>
                </a:lnTo>
                <a:lnTo>
                  <a:pt x="4290" y="1340"/>
                </a:lnTo>
                <a:lnTo>
                  <a:pt x="4294" y="1334"/>
                </a:lnTo>
                <a:lnTo>
                  <a:pt x="4296" y="1330"/>
                </a:lnTo>
                <a:lnTo>
                  <a:pt x="4296" y="1324"/>
                </a:lnTo>
                <a:lnTo>
                  <a:pt x="4290" y="1312"/>
                </a:lnTo>
                <a:close/>
                <a:moveTo>
                  <a:pt x="3666" y="1230"/>
                </a:moveTo>
                <a:lnTo>
                  <a:pt x="3666" y="1230"/>
                </a:lnTo>
                <a:lnTo>
                  <a:pt x="3660" y="1240"/>
                </a:lnTo>
                <a:lnTo>
                  <a:pt x="3656" y="1250"/>
                </a:lnTo>
                <a:lnTo>
                  <a:pt x="3656" y="1258"/>
                </a:lnTo>
                <a:lnTo>
                  <a:pt x="3658" y="1266"/>
                </a:lnTo>
                <a:lnTo>
                  <a:pt x="3664" y="1272"/>
                </a:lnTo>
                <a:lnTo>
                  <a:pt x="3674" y="1278"/>
                </a:lnTo>
                <a:lnTo>
                  <a:pt x="3690" y="1280"/>
                </a:lnTo>
                <a:lnTo>
                  <a:pt x="3710" y="1280"/>
                </a:lnTo>
                <a:lnTo>
                  <a:pt x="3730" y="1278"/>
                </a:lnTo>
                <a:lnTo>
                  <a:pt x="3742" y="1274"/>
                </a:lnTo>
                <a:lnTo>
                  <a:pt x="3748" y="1268"/>
                </a:lnTo>
                <a:lnTo>
                  <a:pt x="3750" y="1262"/>
                </a:lnTo>
                <a:lnTo>
                  <a:pt x="3750" y="1252"/>
                </a:lnTo>
                <a:lnTo>
                  <a:pt x="3748" y="1244"/>
                </a:lnTo>
                <a:lnTo>
                  <a:pt x="3746" y="1234"/>
                </a:lnTo>
                <a:lnTo>
                  <a:pt x="3748" y="1226"/>
                </a:lnTo>
                <a:lnTo>
                  <a:pt x="3748" y="1220"/>
                </a:lnTo>
                <a:lnTo>
                  <a:pt x="3746" y="1216"/>
                </a:lnTo>
                <a:lnTo>
                  <a:pt x="3744" y="1212"/>
                </a:lnTo>
                <a:lnTo>
                  <a:pt x="3740" y="1210"/>
                </a:lnTo>
                <a:lnTo>
                  <a:pt x="3730" y="1206"/>
                </a:lnTo>
                <a:lnTo>
                  <a:pt x="3716" y="1204"/>
                </a:lnTo>
                <a:lnTo>
                  <a:pt x="3702" y="1204"/>
                </a:lnTo>
                <a:lnTo>
                  <a:pt x="3688" y="1208"/>
                </a:lnTo>
                <a:lnTo>
                  <a:pt x="3676" y="1218"/>
                </a:lnTo>
                <a:lnTo>
                  <a:pt x="3670" y="1222"/>
                </a:lnTo>
                <a:lnTo>
                  <a:pt x="3666" y="1230"/>
                </a:lnTo>
                <a:close/>
                <a:moveTo>
                  <a:pt x="3526" y="1508"/>
                </a:moveTo>
                <a:lnTo>
                  <a:pt x="3526" y="1508"/>
                </a:lnTo>
                <a:lnTo>
                  <a:pt x="3516" y="1498"/>
                </a:lnTo>
                <a:lnTo>
                  <a:pt x="3512" y="1496"/>
                </a:lnTo>
                <a:lnTo>
                  <a:pt x="3510" y="1498"/>
                </a:lnTo>
                <a:lnTo>
                  <a:pt x="3504" y="1500"/>
                </a:lnTo>
                <a:lnTo>
                  <a:pt x="3498" y="1502"/>
                </a:lnTo>
                <a:lnTo>
                  <a:pt x="3490" y="1500"/>
                </a:lnTo>
                <a:lnTo>
                  <a:pt x="3484" y="1496"/>
                </a:lnTo>
                <a:lnTo>
                  <a:pt x="3478" y="1490"/>
                </a:lnTo>
                <a:lnTo>
                  <a:pt x="3474" y="1478"/>
                </a:lnTo>
                <a:lnTo>
                  <a:pt x="3472" y="1470"/>
                </a:lnTo>
                <a:lnTo>
                  <a:pt x="3466" y="1464"/>
                </a:lnTo>
                <a:lnTo>
                  <a:pt x="3458" y="1458"/>
                </a:lnTo>
                <a:lnTo>
                  <a:pt x="3446" y="1452"/>
                </a:lnTo>
                <a:lnTo>
                  <a:pt x="3432" y="1446"/>
                </a:lnTo>
                <a:lnTo>
                  <a:pt x="3418" y="1438"/>
                </a:lnTo>
                <a:lnTo>
                  <a:pt x="3396" y="1420"/>
                </a:lnTo>
                <a:lnTo>
                  <a:pt x="3386" y="1414"/>
                </a:lnTo>
                <a:lnTo>
                  <a:pt x="3376" y="1408"/>
                </a:lnTo>
                <a:lnTo>
                  <a:pt x="3368" y="1408"/>
                </a:lnTo>
                <a:lnTo>
                  <a:pt x="3364" y="1408"/>
                </a:lnTo>
                <a:lnTo>
                  <a:pt x="3362" y="1412"/>
                </a:lnTo>
                <a:lnTo>
                  <a:pt x="3358" y="1414"/>
                </a:lnTo>
                <a:lnTo>
                  <a:pt x="3356" y="1416"/>
                </a:lnTo>
                <a:lnTo>
                  <a:pt x="3352" y="1414"/>
                </a:lnTo>
                <a:lnTo>
                  <a:pt x="3350" y="1414"/>
                </a:lnTo>
                <a:lnTo>
                  <a:pt x="3346" y="1408"/>
                </a:lnTo>
                <a:lnTo>
                  <a:pt x="3340" y="1400"/>
                </a:lnTo>
                <a:lnTo>
                  <a:pt x="3336" y="1390"/>
                </a:lnTo>
                <a:lnTo>
                  <a:pt x="3330" y="1382"/>
                </a:lnTo>
                <a:lnTo>
                  <a:pt x="3324" y="1378"/>
                </a:lnTo>
                <a:lnTo>
                  <a:pt x="3320" y="1376"/>
                </a:lnTo>
                <a:lnTo>
                  <a:pt x="3316" y="1376"/>
                </a:lnTo>
                <a:lnTo>
                  <a:pt x="3312" y="1378"/>
                </a:lnTo>
                <a:lnTo>
                  <a:pt x="3308" y="1380"/>
                </a:lnTo>
                <a:lnTo>
                  <a:pt x="3302" y="1390"/>
                </a:lnTo>
                <a:lnTo>
                  <a:pt x="3296" y="1402"/>
                </a:lnTo>
                <a:lnTo>
                  <a:pt x="3292" y="1416"/>
                </a:lnTo>
                <a:lnTo>
                  <a:pt x="3290" y="1434"/>
                </a:lnTo>
                <a:lnTo>
                  <a:pt x="3288" y="1450"/>
                </a:lnTo>
                <a:lnTo>
                  <a:pt x="3290" y="1466"/>
                </a:lnTo>
                <a:lnTo>
                  <a:pt x="3292" y="1480"/>
                </a:lnTo>
                <a:lnTo>
                  <a:pt x="3292" y="1488"/>
                </a:lnTo>
                <a:lnTo>
                  <a:pt x="3292" y="1492"/>
                </a:lnTo>
                <a:lnTo>
                  <a:pt x="3290" y="1496"/>
                </a:lnTo>
                <a:lnTo>
                  <a:pt x="3288" y="1500"/>
                </a:lnTo>
                <a:lnTo>
                  <a:pt x="3282" y="1506"/>
                </a:lnTo>
                <a:lnTo>
                  <a:pt x="3272" y="1510"/>
                </a:lnTo>
                <a:lnTo>
                  <a:pt x="3264" y="1514"/>
                </a:lnTo>
                <a:lnTo>
                  <a:pt x="3258" y="1518"/>
                </a:lnTo>
                <a:lnTo>
                  <a:pt x="3256" y="1522"/>
                </a:lnTo>
                <a:lnTo>
                  <a:pt x="3256" y="1524"/>
                </a:lnTo>
                <a:lnTo>
                  <a:pt x="3256" y="1528"/>
                </a:lnTo>
                <a:lnTo>
                  <a:pt x="3258" y="1534"/>
                </a:lnTo>
                <a:lnTo>
                  <a:pt x="3260" y="1536"/>
                </a:lnTo>
                <a:lnTo>
                  <a:pt x="3262" y="1536"/>
                </a:lnTo>
                <a:lnTo>
                  <a:pt x="3270" y="1536"/>
                </a:lnTo>
                <a:lnTo>
                  <a:pt x="3294" y="1532"/>
                </a:lnTo>
                <a:lnTo>
                  <a:pt x="3304" y="1530"/>
                </a:lnTo>
                <a:lnTo>
                  <a:pt x="3314" y="1530"/>
                </a:lnTo>
                <a:lnTo>
                  <a:pt x="3318" y="1532"/>
                </a:lnTo>
                <a:lnTo>
                  <a:pt x="3320" y="1534"/>
                </a:lnTo>
                <a:lnTo>
                  <a:pt x="3322" y="1536"/>
                </a:lnTo>
                <a:lnTo>
                  <a:pt x="3322" y="1542"/>
                </a:lnTo>
                <a:lnTo>
                  <a:pt x="3322" y="1550"/>
                </a:lnTo>
                <a:lnTo>
                  <a:pt x="3324" y="1558"/>
                </a:lnTo>
                <a:lnTo>
                  <a:pt x="3330" y="1562"/>
                </a:lnTo>
                <a:lnTo>
                  <a:pt x="3336" y="1566"/>
                </a:lnTo>
                <a:lnTo>
                  <a:pt x="3344" y="1566"/>
                </a:lnTo>
                <a:lnTo>
                  <a:pt x="3350" y="1564"/>
                </a:lnTo>
                <a:lnTo>
                  <a:pt x="3358" y="1560"/>
                </a:lnTo>
                <a:lnTo>
                  <a:pt x="3364" y="1550"/>
                </a:lnTo>
                <a:lnTo>
                  <a:pt x="3368" y="1542"/>
                </a:lnTo>
                <a:lnTo>
                  <a:pt x="3374" y="1538"/>
                </a:lnTo>
                <a:lnTo>
                  <a:pt x="3378" y="1534"/>
                </a:lnTo>
                <a:lnTo>
                  <a:pt x="3384" y="1534"/>
                </a:lnTo>
                <a:lnTo>
                  <a:pt x="3388" y="1534"/>
                </a:lnTo>
                <a:lnTo>
                  <a:pt x="3392" y="1530"/>
                </a:lnTo>
                <a:lnTo>
                  <a:pt x="3396" y="1526"/>
                </a:lnTo>
                <a:lnTo>
                  <a:pt x="3400" y="1518"/>
                </a:lnTo>
                <a:lnTo>
                  <a:pt x="3404" y="1508"/>
                </a:lnTo>
                <a:lnTo>
                  <a:pt x="3410" y="1502"/>
                </a:lnTo>
                <a:lnTo>
                  <a:pt x="3416" y="1500"/>
                </a:lnTo>
                <a:lnTo>
                  <a:pt x="3424" y="1500"/>
                </a:lnTo>
                <a:lnTo>
                  <a:pt x="3432" y="1502"/>
                </a:lnTo>
                <a:lnTo>
                  <a:pt x="3438" y="1506"/>
                </a:lnTo>
                <a:lnTo>
                  <a:pt x="3444" y="1512"/>
                </a:lnTo>
                <a:lnTo>
                  <a:pt x="3446" y="1518"/>
                </a:lnTo>
                <a:lnTo>
                  <a:pt x="3448" y="1524"/>
                </a:lnTo>
                <a:lnTo>
                  <a:pt x="3450" y="1528"/>
                </a:lnTo>
                <a:lnTo>
                  <a:pt x="3452" y="1530"/>
                </a:lnTo>
                <a:lnTo>
                  <a:pt x="3456" y="1530"/>
                </a:lnTo>
                <a:lnTo>
                  <a:pt x="3468" y="1532"/>
                </a:lnTo>
                <a:lnTo>
                  <a:pt x="3488" y="1534"/>
                </a:lnTo>
                <a:lnTo>
                  <a:pt x="3498" y="1536"/>
                </a:lnTo>
                <a:lnTo>
                  <a:pt x="3508" y="1538"/>
                </a:lnTo>
                <a:lnTo>
                  <a:pt x="3518" y="1536"/>
                </a:lnTo>
                <a:lnTo>
                  <a:pt x="3526" y="1534"/>
                </a:lnTo>
                <a:lnTo>
                  <a:pt x="3532" y="1528"/>
                </a:lnTo>
                <a:lnTo>
                  <a:pt x="3534" y="1522"/>
                </a:lnTo>
                <a:lnTo>
                  <a:pt x="3532" y="1516"/>
                </a:lnTo>
                <a:lnTo>
                  <a:pt x="3526" y="1508"/>
                </a:lnTo>
                <a:close/>
                <a:moveTo>
                  <a:pt x="3466" y="1576"/>
                </a:moveTo>
                <a:lnTo>
                  <a:pt x="3466" y="1576"/>
                </a:lnTo>
                <a:lnTo>
                  <a:pt x="3462" y="1574"/>
                </a:lnTo>
                <a:lnTo>
                  <a:pt x="3456" y="1572"/>
                </a:lnTo>
                <a:lnTo>
                  <a:pt x="3442" y="1574"/>
                </a:lnTo>
                <a:lnTo>
                  <a:pt x="3428" y="1578"/>
                </a:lnTo>
                <a:lnTo>
                  <a:pt x="3412" y="1584"/>
                </a:lnTo>
                <a:lnTo>
                  <a:pt x="3400" y="1594"/>
                </a:lnTo>
                <a:lnTo>
                  <a:pt x="3392" y="1604"/>
                </a:lnTo>
                <a:lnTo>
                  <a:pt x="3390" y="1608"/>
                </a:lnTo>
                <a:lnTo>
                  <a:pt x="3388" y="1614"/>
                </a:lnTo>
                <a:lnTo>
                  <a:pt x="3390" y="1620"/>
                </a:lnTo>
                <a:lnTo>
                  <a:pt x="3394" y="1624"/>
                </a:lnTo>
                <a:lnTo>
                  <a:pt x="3398" y="1628"/>
                </a:lnTo>
                <a:lnTo>
                  <a:pt x="3404" y="1630"/>
                </a:lnTo>
                <a:lnTo>
                  <a:pt x="3410" y="1630"/>
                </a:lnTo>
                <a:lnTo>
                  <a:pt x="3416" y="1628"/>
                </a:lnTo>
                <a:lnTo>
                  <a:pt x="3432" y="1622"/>
                </a:lnTo>
                <a:lnTo>
                  <a:pt x="3446" y="1614"/>
                </a:lnTo>
                <a:lnTo>
                  <a:pt x="3458" y="1602"/>
                </a:lnTo>
                <a:lnTo>
                  <a:pt x="3466" y="1592"/>
                </a:lnTo>
                <a:lnTo>
                  <a:pt x="3468" y="1586"/>
                </a:lnTo>
                <a:lnTo>
                  <a:pt x="3470" y="1582"/>
                </a:lnTo>
                <a:lnTo>
                  <a:pt x="3468" y="1578"/>
                </a:lnTo>
                <a:lnTo>
                  <a:pt x="3466" y="1576"/>
                </a:lnTo>
                <a:close/>
                <a:moveTo>
                  <a:pt x="3512" y="820"/>
                </a:moveTo>
                <a:lnTo>
                  <a:pt x="3512" y="820"/>
                </a:lnTo>
                <a:lnTo>
                  <a:pt x="3510" y="830"/>
                </a:lnTo>
                <a:lnTo>
                  <a:pt x="3512" y="836"/>
                </a:lnTo>
                <a:lnTo>
                  <a:pt x="3516" y="840"/>
                </a:lnTo>
                <a:lnTo>
                  <a:pt x="3528" y="844"/>
                </a:lnTo>
                <a:lnTo>
                  <a:pt x="3534" y="848"/>
                </a:lnTo>
                <a:lnTo>
                  <a:pt x="3536" y="850"/>
                </a:lnTo>
                <a:lnTo>
                  <a:pt x="3538" y="858"/>
                </a:lnTo>
                <a:lnTo>
                  <a:pt x="3538" y="862"/>
                </a:lnTo>
                <a:lnTo>
                  <a:pt x="3542" y="866"/>
                </a:lnTo>
                <a:lnTo>
                  <a:pt x="3546" y="872"/>
                </a:lnTo>
                <a:lnTo>
                  <a:pt x="3556" y="878"/>
                </a:lnTo>
                <a:lnTo>
                  <a:pt x="3568" y="882"/>
                </a:lnTo>
                <a:lnTo>
                  <a:pt x="3576" y="882"/>
                </a:lnTo>
                <a:lnTo>
                  <a:pt x="3582" y="880"/>
                </a:lnTo>
                <a:lnTo>
                  <a:pt x="3590" y="878"/>
                </a:lnTo>
                <a:lnTo>
                  <a:pt x="3604" y="872"/>
                </a:lnTo>
                <a:lnTo>
                  <a:pt x="3614" y="872"/>
                </a:lnTo>
                <a:lnTo>
                  <a:pt x="3628" y="872"/>
                </a:lnTo>
                <a:lnTo>
                  <a:pt x="3658" y="876"/>
                </a:lnTo>
                <a:lnTo>
                  <a:pt x="3686" y="876"/>
                </a:lnTo>
                <a:lnTo>
                  <a:pt x="3696" y="876"/>
                </a:lnTo>
                <a:lnTo>
                  <a:pt x="3702" y="872"/>
                </a:lnTo>
                <a:lnTo>
                  <a:pt x="3704" y="870"/>
                </a:lnTo>
                <a:lnTo>
                  <a:pt x="3704" y="868"/>
                </a:lnTo>
                <a:lnTo>
                  <a:pt x="3698" y="862"/>
                </a:lnTo>
                <a:lnTo>
                  <a:pt x="3684" y="846"/>
                </a:lnTo>
                <a:lnTo>
                  <a:pt x="3676" y="838"/>
                </a:lnTo>
                <a:lnTo>
                  <a:pt x="3666" y="830"/>
                </a:lnTo>
                <a:lnTo>
                  <a:pt x="3654" y="824"/>
                </a:lnTo>
                <a:lnTo>
                  <a:pt x="3642" y="818"/>
                </a:lnTo>
                <a:lnTo>
                  <a:pt x="3626" y="814"/>
                </a:lnTo>
                <a:lnTo>
                  <a:pt x="3606" y="814"/>
                </a:lnTo>
                <a:lnTo>
                  <a:pt x="3586" y="814"/>
                </a:lnTo>
                <a:lnTo>
                  <a:pt x="3568" y="812"/>
                </a:lnTo>
                <a:lnTo>
                  <a:pt x="3540" y="806"/>
                </a:lnTo>
                <a:lnTo>
                  <a:pt x="3528" y="806"/>
                </a:lnTo>
                <a:lnTo>
                  <a:pt x="3520" y="808"/>
                </a:lnTo>
                <a:lnTo>
                  <a:pt x="3518" y="808"/>
                </a:lnTo>
                <a:lnTo>
                  <a:pt x="3516" y="812"/>
                </a:lnTo>
                <a:lnTo>
                  <a:pt x="3512" y="820"/>
                </a:lnTo>
                <a:close/>
                <a:moveTo>
                  <a:pt x="3202" y="736"/>
                </a:moveTo>
                <a:lnTo>
                  <a:pt x="3202" y="736"/>
                </a:lnTo>
                <a:lnTo>
                  <a:pt x="3202" y="744"/>
                </a:lnTo>
                <a:lnTo>
                  <a:pt x="3202" y="748"/>
                </a:lnTo>
                <a:lnTo>
                  <a:pt x="3204" y="750"/>
                </a:lnTo>
                <a:lnTo>
                  <a:pt x="3212" y="752"/>
                </a:lnTo>
                <a:lnTo>
                  <a:pt x="3224" y="752"/>
                </a:lnTo>
                <a:lnTo>
                  <a:pt x="3266" y="752"/>
                </a:lnTo>
                <a:lnTo>
                  <a:pt x="3332" y="752"/>
                </a:lnTo>
                <a:lnTo>
                  <a:pt x="3366" y="750"/>
                </a:lnTo>
                <a:lnTo>
                  <a:pt x="3390" y="746"/>
                </a:lnTo>
                <a:lnTo>
                  <a:pt x="3406" y="740"/>
                </a:lnTo>
                <a:lnTo>
                  <a:pt x="3414" y="734"/>
                </a:lnTo>
                <a:lnTo>
                  <a:pt x="3420" y="730"/>
                </a:lnTo>
                <a:lnTo>
                  <a:pt x="3420" y="726"/>
                </a:lnTo>
                <a:lnTo>
                  <a:pt x="3422" y="726"/>
                </a:lnTo>
                <a:lnTo>
                  <a:pt x="3424" y="732"/>
                </a:lnTo>
                <a:lnTo>
                  <a:pt x="3426" y="736"/>
                </a:lnTo>
                <a:lnTo>
                  <a:pt x="3430" y="740"/>
                </a:lnTo>
                <a:lnTo>
                  <a:pt x="3444" y="746"/>
                </a:lnTo>
                <a:lnTo>
                  <a:pt x="3464" y="748"/>
                </a:lnTo>
                <a:lnTo>
                  <a:pt x="3486" y="750"/>
                </a:lnTo>
                <a:lnTo>
                  <a:pt x="3506" y="750"/>
                </a:lnTo>
                <a:lnTo>
                  <a:pt x="3524" y="746"/>
                </a:lnTo>
                <a:lnTo>
                  <a:pt x="3536" y="742"/>
                </a:lnTo>
                <a:lnTo>
                  <a:pt x="3540" y="738"/>
                </a:lnTo>
                <a:lnTo>
                  <a:pt x="3542" y="734"/>
                </a:lnTo>
                <a:lnTo>
                  <a:pt x="3544" y="728"/>
                </a:lnTo>
                <a:lnTo>
                  <a:pt x="3548" y="724"/>
                </a:lnTo>
                <a:lnTo>
                  <a:pt x="3554" y="722"/>
                </a:lnTo>
                <a:lnTo>
                  <a:pt x="3562" y="720"/>
                </a:lnTo>
                <a:lnTo>
                  <a:pt x="3566" y="718"/>
                </a:lnTo>
                <a:lnTo>
                  <a:pt x="3570" y="716"/>
                </a:lnTo>
                <a:lnTo>
                  <a:pt x="3568" y="714"/>
                </a:lnTo>
                <a:lnTo>
                  <a:pt x="3560" y="710"/>
                </a:lnTo>
                <a:lnTo>
                  <a:pt x="3554" y="706"/>
                </a:lnTo>
                <a:lnTo>
                  <a:pt x="3552" y="704"/>
                </a:lnTo>
                <a:lnTo>
                  <a:pt x="3552" y="700"/>
                </a:lnTo>
                <a:lnTo>
                  <a:pt x="3556" y="698"/>
                </a:lnTo>
                <a:lnTo>
                  <a:pt x="3560" y="694"/>
                </a:lnTo>
                <a:lnTo>
                  <a:pt x="3562" y="688"/>
                </a:lnTo>
                <a:lnTo>
                  <a:pt x="3564" y="682"/>
                </a:lnTo>
                <a:lnTo>
                  <a:pt x="3560" y="674"/>
                </a:lnTo>
                <a:lnTo>
                  <a:pt x="3554" y="668"/>
                </a:lnTo>
                <a:lnTo>
                  <a:pt x="3548" y="664"/>
                </a:lnTo>
                <a:lnTo>
                  <a:pt x="3540" y="660"/>
                </a:lnTo>
                <a:lnTo>
                  <a:pt x="3532" y="660"/>
                </a:lnTo>
                <a:lnTo>
                  <a:pt x="3516" y="658"/>
                </a:lnTo>
                <a:lnTo>
                  <a:pt x="3508" y="656"/>
                </a:lnTo>
                <a:lnTo>
                  <a:pt x="3502" y="652"/>
                </a:lnTo>
                <a:lnTo>
                  <a:pt x="3496" y="648"/>
                </a:lnTo>
                <a:lnTo>
                  <a:pt x="3486" y="646"/>
                </a:lnTo>
                <a:lnTo>
                  <a:pt x="3474" y="644"/>
                </a:lnTo>
                <a:lnTo>
                  <a:pt x="3460" y="644"/>
                </a:lnTo>
                <a:lnTo>
                  <a:pt x="3420" y="648"/>
                </a:lnTo>
                <a:lnTo>
                  <a:pt x="3366" y="654"/>
                </a:lnTo>
                <a:lnTo>
                  <a:pt x="3340" y="658"/>
                </a:lnTo>
                <a:lnTo>
                  <a:pt x="3324" y="664"/>
                </a:lnTo>
                <a:lnTo>
                  <a:pt x="3314" y="668"/>
                </a:lnTo>
                <a:lnTo>
                  <a:pt x="3308" y="672"/>
                </a:lnTo>
                <a:lnTo>
                  <a:pt x="3302" y="676"/>
                </a:lnTo>
                <a:lnTo>
                  <a:pt x="3298" y="678"/>
                </a:lnTo>
                <a:lnTo>
                  <a:pt x="3290" y="676"/>
                </a:lnTo>
                <a:lnTo>
                  <a:pt x="3276" y="672"/>
                </a:lnTo>
                <a:lnTo>
                  <a:pt x="3262" y="668"/>
                </a:lnTo>
                <a:lnTo>
                  <a:pt x="3250" y="666"/>
                </a:lnTo>
                <a:lnTo>
                  <a:pt x="3242" y="668"/>
                </a:lnTo>
                <a:lnTo>
                  <a:pt x="3236" y="670"/>
                </a:lnTo>
                <a:lnTo>
                  <a:pt x="3228" y="672"/>
                </a:lnTo>
                <a:lnTo>
                  <a:pt x="3222" y="672"/>
                </a:lnTo>
                <a:lnTo>
                  <a:pt x="3216" y="670"/>
                </a:lnTo>
                <a:lnTo>
                  <a:pt x="3206" y="664"/>
                </a:lnTo>
                <a:lnTo>
                  <a:pt x="3198" y="658"/>
                </a:lnTo>
                <a:lnTo>
                  <a:pt x="3194" y="658"/>
                </a:lnTo>
                <a:lnTo>
                  <a:pt x="3190" y="660"/>
                </a:lnTo>
                <a:lnTo>
                  <a:pt x="3190" y="664"/>
                </a:lnTo>
                <a:lnTo>
                  <a:pt x="3188" y="668"/>
                </a:lnTo>
                <a:lnTo>
                  <a:pt x="3186" y="672"/>
                </a:lnTo>
                <a:lnTo>
                  <a:pt x="3184" y="674"/>
                </a:lnTo>
                <a:lnTo>
                  <a:pt x="3178" y="672"/>
                </a:lnTo>
                <a:lnTo>
                  <a:pt x="3172" y="668"/>
                </a:lnTo>
                <a:lnTo>
                  <a:pt x="3170" y="664"/>
                </a:lnTo>
                <a:lnTo>
                  <a:pt x="3170" y="662"/>
                </a:lnTo>
                <a:lnTo>
                  <a:pt x="3170" y="658"/>
                </a:lnTo>
                <a:lnTo>
                  <a:pt x="3172" y="654"/>
                </a:lnTo>
                <a:lnTo>
                  <a:pt x="3170" y="650"/>
                </a:lnTo>
                <a:lnTo>
                  <a:pt x="3168" y="646"/>
                </a:lnTo>
                <a:lnTo>
                  <a:pt x="3162" y="638"/>
                </a:lnTo>
                <a:lnTo>
                  <a:pt x="3154" y="634"/>
                </a:lnTo>
                <a:lnTo>
                  <a:pt x="3146" y="630"/>
                </a:lnTo>
                <a:lnTo>
                  <a:pt x="3142" y="630"/>
                </a:lnTo>
                <a:lnTo>
                  <a:pt x="3136" y="632"/>
                </a:lnTo>
                <a:lnTo>
                  <a:pt x="3128" y="634"/>
                </a:lnTo>
                <a:lnTo>
                  <a:pt x="3126" y="632"/>
                </a:lnTo>
                <a:lnTo>
                  <a:pt x="3124" y="628"/>
                </a:lnTo>
                <a:lnTo>
                  <a:pt x="3124" y="624"/>
                </a:lnTo>
                <a:lnTo>
                  <a:pt x="3124" y="622"/>
                </a:lnTo>
                <a:lnTo>
                  <a:pt x="3130" y="620"/>
                </a:lnTo>
                <a:lnTo>
                  <a:pt x="3150" y="622"/>
                </a:lnTo>
                <a:lnTo>
                  <a:pt x="3170" y="622"/>
                </a:lnTo>
                <a:lnTo>
                  <a:pt x="3176" y="620"/>
                </a:lnTo>
                <a:lnTo>
                  <a:pt x="3176" y="618"/>
                </a:lnTo>
                <a:lnTo>
                  <a:pt x="3176" y="616"/>
                </a:lnTo>
                <a:lnTo>
                  <a:pt x="3174" y="610"/>
                </a:lnTo>
                <a:lnTo>
                  <a:pt x="3170" y="608"/>
                </a:lnTo>
                <a:lnTo>
                  <a:pt x="3156" y="604"/>
                </a:lnTo>
                <a:lnTo>
                  <a:pt x="3138" y="602"/>
                </a:lnTo>
                <a:lnTo>
                  <a:pt x="3130" y="598"/>
                </a:lnTo>
                <a:lnTo>
                  <a:pt x="3120" y="594"/>
                </a:lnTo>
                <a:lnTo>
                  <a:pt x="3100" y="584"/>
                </a:lnTo>
                <a:lnTo>
                  <a:pt x="3092" y="582"/>
                </a:lnTo>
                <a:lnTo>
                  <a:pt x="3084" y="580"/>
                </a:lnTo>
                <a:lnTo>
                  <a:pt x="3066" y="580"/>
                </a:lnTo>
                <a:lnTo>
                  <a:pt x="3042" y="584"/>
                </a:lnTo>
                <a:lnTo>
                  <a:pt x="3030" y="586"/>
                </a:lnTo>
                <a:lnTo>
                  <a:pt x="3022" y="582"/>
                </a:lnTo>
                <a:lnTo>
                  <a:pt x="3014" y="578"/>
                </a:lnTo>
                <a:lnTo>
                  <a:pt x="3008" y="574"/>
                </a:lnTo>
                <a:lnTo>
                  <a:pt x="2996" y="562"/>
                </a:lnTo>
                <a:lnTo>
                  <a:pt x="2990" y="560"/>
                </a:lnTo>
                <a:lnTo>
                  <a:pt x="2984" y="558"/>
                </a:lnTo>
                <a:lnTo>
                  <a:pt x="2974" y="560"/>
                </a:lnTo>
                <a:lnTo>
                  <a:pt x="2964" y="558"/>
                </a:lnTo>
                <a:lnTo>
                  <a:pt x="2938" y="556"/>
                </a:lnTo>
                <a:lnTo>
                  <a:pt x="2908" y="552"/>
                </a:lnTo>
                <a:lnTo>
                  <a:pt x="2876" y="550"/>
                </a:lnTo>
                <a:lnTo>
                  <a:pt x="2870" y="550"/>
                </a:lnTo>
                <a:lnTo>
                  <a:pt x="2866" y="552"/>
                </a:lnTo>
                <a:lnTo>
                  <a:pt x="2862" y="554"/>
                </a:lnTo>
                <a:lnTo>
                  <a:pt x="2860" y="558"/>
                </a:lnTo>
                <a:lnTo>
                  <a:pt x="2862" y="562"/>
                </a:lnTo>
                <a:lnTo>
                  <a:pt x="2864" y="568"/>
                </a:lnTo>
                <a:lnTo>
                  <a:pt x="2870" y="574"/>
                </a:lnTo>
                <a:lnTo>
                  <a:pt x="2878" y="582"/>
                </a:lnTo>
                <a:lnTo>
                  <a:pt x="2888" y="588"/>
                </a:lnTo>
                <a:lnTo>
                  <a:pt x="2896" y="592"/>
                </a:lnTo>
                <a:lnTo>
                  <a:pt x="2910" y="598"/>
                </a:lnTo>
                <a:lnTo>
                  <a:pt x="2920" y="602"/>
                </a:lnTo>
                <a:lnTo>
                  <a:pt x="2922" y="604"/>
                </a:lnTo>
                <a:lnTo>
                  <a:pt x="2924" y="610"/>
                </a:lnTo>
                <a:lnTo>
                  <a:pt x="2926" y="614"/>
                </a:lnTo>
                <a:lnTo>
                  <a:pt x="2930" y="618"/>
                </a:lnTo>
                <a:lnTo>
                  <a:pt x="2938" y="620"/>
                </a:lnTo>
                <a:lnTo>
                  <a:pt x="2948" y="620"/>
                </a:lnTo>
                <a:lnTo>
                  <a:pt x="2972" y="616"/>
                </a:lnTo>
                <a:lnTo>
                  <a:pt x="3000" y="610"/>
                </a:lnTo>
                <a:lnTo>
                  <a:pt x="3012" y="608"/>
                </a:lnTo>
                <a:lnTo>
                  <a:pt x="3020" y="610"/>
                </a:lnTo>
                <a:lnTo>
                  <a:pt x="3026" y="612"/>
                </a:lnTo>
                <a:lnTo>
                  <a:pt x="3030" y="616"/>
                </a:lnTo>
                <a:lnTo>
                  <a:pt x="3040" y="626"/>
                </a:lnTo>
                <a:lnTo>
                  <a:pt x="3046" y="634"/>
                </a:lnTo>
                <a:lnTo>
                  <a:pt x="3054" y="640"/>
                </a:lnTo>
                <a:lnTo>
                  <a:pt x="3060" y="644"/>
                </a:lnTo>
                <a:lnTo>
                  <a:pt x="3062" y="648"/>
                </a:lnTo>
                <a:lnTo>
                  <a:pt x="3064" y="650"/>
                </a:lnTo>
                <a:lnTo>
                  <a:pt x="3064" y="654"/>
                </a:lnTo>
                <a:lnTo>
                  <a:pt x="3060" y="662"/>
                </a:lnTo>
                <a:lnTo>
                  <a:pt x="3056" y="670"/>
                </a:lnTo>
                <a:lnTo>
                  <a:pt x="3050" y="678"/>
                </a:lnTo>
                <a:lnTo>
                  <a:pt x="3046" y="684"/>
                </a:lnTo>
                <a:lnTo>
                  <a:pt x="3046" y="690"/>
                </a:lnTo>
                <a:lnTo>
                  <a:pt x="3046" y="692"/>
                </a:lnTo>
                <a:lnTo>
                  <a:pt x="3050" y="694"/>
                </a:lnTo>
                <a:lnTo>
                  <a:pt x="3056" y="698"/>
                </a:lnTo>
                <a:lnTo>
                  <a:pt x="3058" y="704"/>
                </a:lnTo>
                <a:lnTo>
                  <a:pt x="3060" y="714"/>
                </a:lnTo>
                <a:lnTo>
                  <a:pt x="3060" y="720"/>
                </a:lnTo>
                <a:lnTo>
                  <a:pt x="3062" y="724"/>
                </a:lnTo>
                <a:lnTo>
                  <a:pt x="3068" y="730"/>
                </a:lnTo>
                <a:lnTo>
                  <a:pt x="3076" y="736"/>
                </a:lnTo>
                <a:lnTo>
                  <a:pt x="3086" y="740"/>
                </a:lnTo>
                <a:lnTo>
                  <a:pt x="3092" y="740"/>
                </a:lnTo>
                <a:lnTo>
                  <a:pt x="3096" y="740"/>
                </a:lnTo>
                <a:lnTo>
                  <a:pt x="3100" y="738"/>
                </a:lnTo>
                <a:lnTo>
                  <a:pt x="3104" y="736"/>
                </a:lnTo>
                <a:lnTo>
                  <a:pt x="3110" y="736"/>
                </a:lnTo>
                <a:lnTo>
                  <a:pt x="3120" y="738"/>
                </a:lnTo>
                <a:lnTo>
                  <a:pt x="3134" y="744"/>
                </a:lnTo>
                <a:lnTo>
                  <a:pt x="3142" y="746"/>
                </a:lnTo>
                <a:lnTo>
                  <a:pt x="3150" y="748"/>
                </a:lnTo>
                <a:lnTo>
                  <a:pt x="3164" y="748"/>
                </a:lnTo>
                <a:lnTo>
                  <a:pt x="3176" y="744"/>
                </a:lnTo>
                <a:lnTo>
                  <a:pt x="3186" y="738"/>
                </a:lnTo>
                <a:lnTo>
                  <a:pt x="3200" y="730"/>
                </a:lnTo>
                <a:lnTo>
                  <a:pt x="3202" y="730"/>
                </a:lnTo>
                <a:lnTo>
                  <a:pt x="3202" y="736"/>
                </a:lnTo>
                <a:close/>
                <a:moveTo>
                  <a:pt x="2978" y="738"/>
                </a:moveTo>
                <a:lnTo>
                  <a:pt x="2978" y="738"/>
                </a:lnTo>
                <a:lnTo>
                  <a:pt x="2992" y="738"/>
                </a:lnTo>
                <a:lnTo>
                  <a:pt x="3004" y="734"/>
                </a:lnTo>
                <a:lnTo>
                  <a:pt x="3008" y="728"/>
                </a:lnTo>
                <a:lnTo>
                  <a:pt x="3010" y="720"/>
                </a:lnTo>
                <a:lnTo>
                  <a:pt x="3008" y="710"/>
                </a:lnTo>
                <a:lnTo>
                  <a:pt x="3004" y="700"/>
                </a:lnTo>
                <a:lnTo>
                  <a:pt x="2996" y="688"/>
                </a:lnTo>
                <a:lnTo>
                  <a:pt x="2986" y="678"/>
                </a:lnTo>
                <a:lnTo>
                  <a:pt x="2974" y="668"/>
                </a:lnTo>
                <a:lnTo>
                  <a:pt x="2964" y="664"/>
                </a:lnTo>
                <a:lnTo>
                  <a:pt x="2952" y="660"/>
                </a:lnTo>
                <a:lnTo>
                  <a:pt x="2940" y="662"/>
                </a:lnTo>
                <a:lnTo>
                  <a:pt x="2928" y="664"/>
                </a:lnTo>
                <a:lnTo>
                  <a:pt x="2918" y="670"/>
                </a:lnTo>
                <a:lnTo>
                  <a:pt x="2908" y="676"/>
                </a:lnTo>
                <a:lnTo>
                  <a:pt x="2898" y="684"/>
                </a:lnTo>
                <a:lnTo>
                  <a:pt x="2888" y="698"/>
                </a:lnTo>
                <a:lnTo>
                  <a:pt x="2884" y="704"/>
                </a:lnTo>
                <a:lnTo>
                  <a:pt x="2882" y="708"/>
                </a:lnTo>
                <a:lnTo>
                  <a:pt x="2884" y="714"/>
                </a:lnTo>
                <a:lnTo>
                  <a:pt x="2886" y="718"/>
                </a:lnTo>
                <a:lnTo>
                  <a:pt x="2894" y="720"/>
                </a:lnTo>
                <a:lnTo>
                  <a:pt x="2904" y="722"/>
                </a:lnTo>
                <a:lnTo>
                  <a:pt x="2914" y="724"/>
                </a:lnTo>
                <a:lnTo>
                  <a:pt x="2924" y="726"/>
                </a:lnTo>
                <a:lnTo>
                  <a:pt x="2936" y="732"/>
                </a:lnTo>
                <a:lnTo>
                  <a:pt x="2950" y="736"/>
                </a:lnTo>
                <a:lnTo>
                  <a:pt x="2962" y="738"/>
                </a:lnTo>
                <a:lnTo>
                  <a:pt x="2978" y="738"/>
                </a:lnTo>
                <a:close/>
                <a:moveTo>
                  <a:pt x="3076" y="866"/>
                </a:moveTo>
                <a:lnTo>
                  <a:pt x="3076" y="866"/>
                </a:lnTo>
                <a:lnTo>
                  <a:pt x="3086" y="852"/>
                </a:lnTo>
                <a:lnTo>
                  <a:pt x="3098" y="840"/>
                </a:lnTo>
                <a:lnTo>
                  <a:pt x="3118" y="818"/>
                </a:lnTo>
                <a:lnTo>
                  <a:pt x="3126" y="810"/>
                </a:lnTo>
                <a:lnTo>
                  <a:pt x="3128" y="806"/>
                </a:lnTo>
                <a:lnTo>
                  <a:pt x="3128" y="802"/>
                </a:lnTo>
                <a:lnTo>
                  <a:pt x="3128" y="798"/>
                </a:lnTo>
                <a:lnTo>
                  <a:pt x="3126" y="794"/>
                </a:lnTo>
                <a:lnTo>
                  <a:pt x="3122" y="792"/>
                </a:lnTo>
                <a:lnTo>
                  <a:pt x="3114" y="790"/>
                </a:lnTo>
                <a:lnTo>
                  <a:pt x="3102" y="786"/>
                </a:lnTo>
                <a:lnTo>
                  <a:pt x="3090" y="784"/>
                </a:lnTo>
                <a:lnTo>
                  <a:pt x="3084" y="786"/>
                </a:lnTo>
                <a:lnTo>
                  <a:pt x="3076" y="788"/>
                </a:lnTo>
                <a:lnTo>
                  <a:pt x="3066" y="790"/>
                </a:lnTo>
                <a:lnTo>
                  <a:pt x="3058" y="790"/>
                </a:lnTo>
                <a:lnTo>
                  <a:pt x="3050" y="786"/>
                </a:lnTo>
                <a:lnTo>
                  <a:pt x="3034" y="778"/>
                </a:lnTo>
                <a:lnTo>
                  <a:pt x="3026" y="776"/>
                </a:lnTo>
                <a:lnTo>
                  <a:pt x="3016" y="774"/>
                </a:lnTo>
                <a:lnTo>
                  <a:pt x="3006" y="772"/>
                </a:lnTo>
                <a:lnTo>
                  <a:pt x="2994" y="774"/>
                </a:lnTo>
                <a:lnTo>
                  <a:pt x="2958" y="780"/>
                </a:lnTo>
                <a:lnTo>
                  <a:pt x="2940" y="784"/>
                </a:lnTo>
                <a:lnTo>
                  <a:pt x="2932" y="788"/>
                </a:lnTo>
                <a:lnTo>
                  <a:pt x="2928" y="792"/>
                </a:lnTo>
                <a:lnTo>
                  <a:pt x="2928" y="796"/>
                </a:lnTo>
                <a:lnTo>
                  <a:pt x="2932" y="802"/>
                </a:lnTo>
                <a:lnTo>
                  <a:pt x="2932" y="804"/>
                </a:lnTo>
                <a:lnTo>
                  <a:pt x="2928" y="804"/>
                </a:lnTo>
                <a:lnTo>
                  <a:pt x="2918" y="804"/>
                </a:lnTo>
                <a:lnTo>
                  <a:pt x="2916" y="806"/>
                </a:lnTo>
                <a:lnTo>
                  <a:pt x="2914" y="808"/>
                </a:lnTo>
                <a:lnTo>
                  <a:pt x="2910" y="822"/>
                </a:lnTo>
                <a:lnTo>
                  <a:pt x="2910" y="846"/>
                </a:lnTo>
                <a:lnTo>
                  <a:pt x="2910" y="860"/>
                </a:lnTo>
                <a:lnTo>
                  <a:pt x="2912" y="872"/>
                </a:lnTo>
                <a:lnTo>
                  <a:pt x="2916" y="880"/>
                </a:lnTo>
                <a:lnTo>
                  <a:pt x="2920" y="888"/>
                </a:lnTo>
                <a:lnTo>
                  <a:pt x="2928" y="900"/>
                </a:lnTo>
                <a:lnTo>
                  <a:pt x="2930" y="906"/>
                </a:lnTo>
                <a:lnTo>
                  <a:pt x="2930" y="916"/>
                </a:lnTo>
                <a:lnTo>
                  <a:pt x="2930" y="924"/>
                </a:lnTo>
                <a:lnTo>
                  <a:pt x="2932" y="928"/>
                </a:lnTo>
                <a:lnTo>
                  <a:pt x="2936" y="930"/>
                </a:lnTo>
                <a:lnTo>
                  <a:pt x="2942" y="930"/>
                </a:lnTo>
                <a:lnTo>
                  <a:pt x="2956" y="928"/>
                </a:lnTo>
                <a:lnTo>
                  <a:pt x="2964" y="930"/>
                </a:lnTo>
                <a:lnTo>
                  <a:pt x="2974" y="934"/>
                </a:lnTo>
                <a:lnTo>
                  <a:pt x="2978" y="936"/>
                </a:lnTo>
                <a:lnTo>
                  <a:pt x="2980" y="934"/>
                </a:lnTo>
                <a:lnTo>
                  <a:pt x="2986" y="918"/>
                </a:lnTo>
                <a:lnTo>
                  <a:pt x="2988" y="914"/>
                </a:lnTo>
                <a:lnTo>
                  <a:pt x="2992" y="910"/>
                </a:lnTo>
                <a:lnTo>
                  <a:pt x="2998" y="908"/>
                </a:lnTo>
                <a:lnTo>
                  <a:pt x="3000" y="906"/>
                </a:lnTo>
                <a:lnTo>
                  <a:pt x="3002" y="902"/>
                </a:lnTo>
                <a:lnTo>
                  <a:pt x="3000" y="896"/>
                </a:lnTo>
                <a:lnTo>
                  <a:pt x="2996" y="888"/>
                </a:lnTo>
                <a:lnTo>
                  <a:pt x="2994" y="882"/>
                </a:lnTo>
                <a:lnTo>
                  <a:pt x="2994" y="880"/>
                </a:lnTo>
                <a:lnTo>
                  <a:pt x="2996" y="878"/>
                </a:lnTo>
                <a:lnTo>
                  <a:pt x="2998" y="876"/>
                </a:lnTo>
                <a:lnTo>
                  <a:pt x="3010" y="878"/>
                </a:lnTo>
                <a:lnTo>
                  <a:pt x="3022" y="880"/>
                </a:lnTo>
                <a:lnTo>
                  <a:pt x="3038" y="880"/>
                </a:lnTo>
                <a:lnTo>
                  <a:pt x="3052" y="880"/>
                </a:lnTo>
                <a:lnTo>
                  <a:pt x="3060" y="878"/>
                </a:lnTo>
                <a:lnTo>
                  <a:pt x="3066" y="876"/>
                </a:lnTo>
                <a:lnTo>
                  <a:pt x="3072" y="872"/>
                </a:lnTo>
                <a:lnTo>
                  <a:pt x="3076" y="866"/>
                </a:lnTo>
                <a:close/>
                <a:moveTo>
                  <a:pt x="2888" y="892"/>
                </a:moveTo>
                <a:lnTo>
                  <a:pt x="2888" y="892"/>
                </a:lnTo>
                <a:lnTo>
                  <a:pt x="2884" y="884"/>
                </a:lnTo>
                <a:lnTo>
                  <a:pt x="2880" y="882"/>
                </a:lnTo>
                <a:lnTo>
                  <a:pt x="2876" y="882"/>
                </a:lnTo>
                <a:lnTo>
                  <a:pt x="2872" y="884"/>
                </a:lnTo>
                <a:lnTo>
                  <a:pt x="2868" y="886"/>
                </a:lnTo>
                <a:lnTo>
                  <a:pt x="2864" y="888"/>
                </a:lnTo>
                <a:lnTo>
                  <a:pt x="2858" y="884"/>
                </a:lnTo>
                <a:lnTo>
                  <a:pt x="2852" y="876"/>
                </a:lnTo>
                <a:lnTo>
                  <a:pt x="2846" y="868"/>
                </a:lnTo>
                <a:lnTo>
                  <a:pt x="2838" y="862"/>
                </a:lnTo>
                <a:lnTo>
                  <a:pt x="2824" y="854"/>
                </a:lnTo>
                <a:lnTo>
                  <a:pt x="2820" y="850"/>
                </a:lnTo>
                <a:lnTo>
                  <a:pt x="2820" y="848"/>
                </a:lnTo>
                <a:lnTo>
                  <a:pt x="2826" y="846"/>
                </a:lnTo>
                <a:lnTo>
                  <a:pt x="2838" y="842"/>
                </a:lnTo>
                <a:lnTo>
                  <a:pt x="2850" y="838"/>
                </a:lnTo>
                <a:lnTo>
                  <a:pt x="2856" y="836"/>
                </a:lnTo>
                <a:lnTo>
                  <a:pt x="2856" y="832"/>
                </a:lnTo>
                <a:lnTo>
                  <a:pt x="2852" y="830"/>
                </a:lnTo>
                <a:lnTo>
                  <a:pt x="2848" y="828"/>
                </a:lnTo>
                <a:lnTo>
                  <a:pt x="2846" y="826"/>
                </a:lnTo>
                <a:lnTo>
                  <a:pt x="2846" y="822"/>
                </a:lnTo>
                <a:lnTo>
                  <a:pt x="2852" y="818"/>
                </a:lnTo>
                <a:lnTo>
                  <a:pt x="2860" y="814"/>
                </a:lnTo>
                <a:lnTo>
                  <a:pt x="2862" y="808"/>
                </a:lnTo>
                <a:lnTo>
                  <a:pt x="2862" y="804"/>
                </a:lnTo>
                <a:lnTo>
                  <a:pt x="2856" y="800"/>
                </a:lnTo>
                <a:lnTo>
                  <a:pt x="2848" y="798"/>
                </a:lnTo>
                <a:lnTo>
                  <a:pt x="2838" y="796"/>
                </a:lnTo>
                <a:lnTo>
                  <a:pt x="2824" y="798"/>
                </a:lnTo>
                <a:lnTo>
                  <a:pt x="2810" y="802"/>
                </a:lnTo>
                <a:lnTo>
                  <a:pt x="2796" y="806"/>
                </a:lnTo>
                <a:lnTo>
                  <a:pt x="2782" y="806"/>
                </a:lnTo>
                <a:lnTo>
                  <a:pt x="2770" y="804"/>
                </a:lnTo>
                <a:lnTo>
                  <a:pt x="2760" y="800"/>
                </a:lnTo>
                <a:lnTo>
                  <a:pt x="2750" y="796"/>
                </a:lnTo>
                <a:lnTo>
                  <a:pt x="2740" y="794"/>
                </a:lnTo>
                <a:lnTo>
                  <a:pt x="2728" y="794"/>
                </a:lnTo>
                <a:lnTo>
                  <a:pt x="2718" y="798"/>
                </a:lnTo>
                <a:lnTo>
                  <a:pt x="2694" y="808"/>
                </a:lnTo>
                <a:lnTo>
                  <a:pt x="2686" y="812"/>
                </a:lnTo>
                <a:lnTo>
                  <a:pt x="2680" y="818"/>
                </a:lnTo>
                <a:lnTo>
                  <a:pt x="2676" y="822"/>
                </a:lnTo>
                <a:lnTo>
                  <a:pt x="2678" y="826"/>
                </a:lnTo>
                <a:lnTo>
                  <a:pt x="2682" y="832"/>
                </a:lnTo>
                <a:lnTo>
                  <a:pt x="2694" y="838"/>
                </a:lnTo>
                <a:lnTo>
                  <a:pt x="2702" y="840"/>
                </a:lnTo>
                <a:lnTo>
                  <a:pt x="2712" y="846"/>
                </a:lnTo>
                <a:lnTo>
                  <a:pt x="2718" y="850"/>
                </a:lnTo>
                <a:lnTo>
                  <a:pt x="2724" y="856"/>
                </a:lnTo>
                <a:lnTo>
                  <a:pt x="2726" y="862"/>
                </a:lnTo>
                <a:lnTo>
                  <a:pt x="2724" y="866"/>
                </a:lnTo>
                <a:lnTo>
                  <a:pt x="2722" y="872"/>
                </a:lnTo>
                <a:lnTo>
                  <a:pt x="2716" y="876"/>
                </a:lnTo>
                <a:lnTo>
                  <a:pt x="2710" y="880"/>
                </a:lnTo>
                <a:lnTo>
                  <a:pt x="2704" y="882"/>
                </a:lnTo>
                <a:lnTo>
                  <a:pt x="2698" y="882"/>
                </a:lnTo>
                <a:lnTo>
                  <a:pt x="2688" y="880"/>
                </a:lnTo>
                <a:lnTo>
                  <a:pt x="2678" y="874"/>
                </a:lnTo>
                <a:lnTo>
                  <a:pt x="2668" y="866"/>
                </a:lnTo>
                <a:lnTo>
                  <a:pt x="2660" y="860"/>
                </a:lnTo>
                <a:lnTo>
                  <a:pt x="2650" y="856"/>
                </a:lnTo>
                <a:lnTo>
                  <a:pt x="2646" y="856"/>
                </a:lnTo>
                <a:lnTo>
                  <a:pt x="2642" y="858"/>
                </a:lnTo>
                <a:lnTo>
                  <a:pt x="2636" y="860"/>
                </a:lnTo>
                <a:lnTo>
                  <a:pt x="2632" y="864"/>
                </a:lnTo>
                <a:lnTo>
                  <a:pt x="2630" y="872"/>
                </a:lnTo>
                <a:lnTo>
                  <a:pt x="2632" y="880"/>
                </a:lnTo>
                <a:lnTo>
                  <a:pt x="2636" y="888"/>
                </a:lnTo>
                <a:lnTo>
                  <a:pt x="2646" y="896"/>
                </a:lnTo>
                <a:lnTo>
                  <a:pt x="2656" y="904"/>
                </a:lnTo>
                <a:lnTo>
                  <a:pt x="2672" y="912"/>
                </a:lnTo>
                <a:lnTo>
                  <a:pt x="2688" y="918"/>
                </a:lnTo>
                <a:lnTo>
                  <a:pt x="2704" y="924"/>
                </a:lnTo>
                <a:lnTo>
                  <a:pt x="2722" y="932"/>
                </a:lnTo>
                <a:lnTo>
                  <a:pt x="2734" y="940"/>
                </a:lnTo>
                <a:lnTo>
                  <a:pt x="2746" y="952"/>
                </a:lnTo>
                <a:lnTo>
                  <a:pt x="2756" y="962"/>
                </a:lnTo>
                <a:lnTo>
                  <a:pt x="2772" y="982"/>
                </a:lnTo>
                <a:lnTo>
                  <a:pt x="2782" y="988"/>
                </a:lnTo>
                <a:lnTo>
                  <a:pt x="2792" y="992"/>
                </a:lnTo>
                <a:lnTo>
                  <a:pt x="2800" y="992"/>
                </a:lnTo>
                <a:lnTo>
                  <a:pt x="2806" y="988"/>
                </a:lnTo>
                <a:lnTo>
                  <a:pt x="2810" y="984"/>
                </a:lnTo>
                <a:lnTo>
                  <a:pt x="2810" y="978"/>
                </a:lnTo>
                <a:lnTo>
                  <a:pt x="2812" y="972"/>
                </a:lnTo>
                <a:lnTo>
                  <a:pt x="2814" y="966"/>
                </a:lnTo>
                <a:lnTo>
                  <a:pt x="2816" y="964"/>
                </a:lnTo>
                <a:lnTo>
                  <a:pt x="2822" y="964"/>
                </a:lnTo>
                <a:lnTo>
                  <a:pt x="2830" y="966"/>
                </a:lnTo>
                <a:lnTo>
                  <a:pt x="2840" y="966"/>
                </a:lnTo>
                <a:lnTo>
                  <a:pt x="2850" y="964"/>
                </a:lnTo>
                <a:lnTo>
                  <a:pt x="2860" y="960"/>
                </a:lnTo>
                <a:lnTo>
                  <a:pt x="2868" y="956"/>
                </a:lnTo>
                <a:lnTo>
                  <a:pt x="2876" y="948"/>
                </a:lnTo>
                <a:lnTo>
                  <a:pt x="2880" y="940"/>
                </a:lnTo>
                <a:lnTo>
                  <a:pt x="2882" y="932"/>
                </a:lnTo>
                <a:lnTo>
                  <a:pt x="2882" y="922"/>
                </a:lnTo>
                <a:lnTo>
                  <a:pt x="2884" y="918"/>
                </a:lnTo>
                <a:lnTo>
                  <a:pt x="2888" y="910"/>
                </a:lnTo>
                <a:lnTo>
                  <a:pt x="2888" y="908"/>
                </a:lnTo>
                <a:lnTo>
                  <a:pt x="2890" y="904"/>
                </a:lnTo>
                <a:lnTo>
                  <a:pt x="2890" y="900"/>
                </a:lnTo>
                <a:lnTo>
                  <a:pt x="2888" y="892"/>
                </a:lnTo>
                <a:close/>
                <a:moveTo>
                  <a:pt x="2794" y="1126"/>
                </a:moveTo>
                <a:lnTo>
                  <a:pt x="2794" y="1126"/>
                </a:lnTo>
                <a:lnTo>
                  <a:pt x="2784" y="1136"/>
                </a:lnTo>
                <a:lnTo>
                  <a:pt x="2776" y="1142"/>
                </a:lnTo>
                <a:lnTo>
                  <a:pt x="2768" y="1146"/>
                </a:lnTo>
                <a:lnTo>
                  <a:pt x="2760" y="1148"/>
                </a:lnTo>
                <a:lnTo>
                  <a:pt x="2756" y="1150"/>
                </a:lnTo>
                <a:lnTo>
                  <a:pt x="2754" y="1152"/>
                </a:lnTo>
                <a:lnTo>
                  <a:pt x="2756" y="1154"/>
                </a:lnTo>
                <a:lnTo>
                  <a:pt x="2762" y="1162"/>
                </a:lnTo>
                <a:lnTo>
                  <a:pt x="2772" y="1168"/>
                </a:lnTo>
                <a:lnTo>
                  <a:pt x="2786" y="1172"/>
                </a:lnTo>
                <a:lnTo>
                  <a:pt x="2826" y="1180"/>
                </a:lnTo>
                <a:lnTo>
                  <a:pt x="2836" y="1182"/>
                </a:lnTo>
                <a:lnTo>
                  <a:pt x="2848" y="1186"/>
                </a:lnTo>
                <a:lnTo>
                  <a:pt x="2864" y="1194"/>
                </a:lnTo>
                <a:lnTo>
                  <a:pt x="2872" y="1196"/>
                </a:lnTo>
                <a:lnTo>
                  <a:pt x="2880" y="1196"/>
                </a:lnTo>
                <a:lnTo>
                  <a:pt x="2888" y="1194"/>
                </a:lnTo>
                <a:lnTo>
                  <a:pt x="2896" y="1190"/>
                </a:lnTo>
                <a:lnTo>
                  <a:pt x="2902" y="1184"/>
                </a:lnTo>
                <a:lnTo>
                  <a:pt x="2908" y="1182"/>
                </a:lnTo>
                <a:lnTo>
                  <a:pt x="2916" y="1180"/>
                </a:lnTo>
                <a:lnTo>
                  <a:pt x="2924" y="1180"/>
                </a:lnTo>
                <a:lnTo>
                  <a:pt x="2926" y="1176"/>
                </a:lnTo>
                <a:lnTo>
                  <a:pt x="2930" y="1172"/>
                </a:lnTo>
                <a:lnTo>
                  <a:pt x="2932" y="1166"/>
                </a:lnTo>
                <a:lnTo>
                  <a:pt x="2932" y="1164"/>
                </a:lnTo>
                <a:lnTo>
                  <a:pt x="2928" y="1164"/>
                </a:lnTo>
                <a:lnTo>
                  <a:pt x="2922" y="1164"/>
                </a:lnTo>
                <a:lnTo>
                  <a:pt x="2916" y="1162"/>
                </a:lnTo>
                <a:lnTo>
                  <a:pt x="2910" y="1158"/>
                </a:lnTo>
                <a:lnTo>
                  <a:pt x="2904" y="1150"/>
                </a:lnTo>
                <a:lnTo>
                  <a:pt x="2900" y="1142"/>
                </a:lnTo>
                <a:lnTo>
                  <a:pt x="2896" y="1138"/>
                </a:lnTo>
                <a:lnTo>
                  <a:pt x="2892" y="1136"/>
                </a:lnTo>
                <a:lnTo>
                  <a:pt x="2888" y="1134"/>
                </a:lnTo>
                <a:lnTo>
                  <a:pt x="2876" y="1130"/>
                </a:lnTo>
                <a:lnTo>
                  <a:pt x="2868" y="1124"/>
                </a:lnTo>
                <a:lnTo>
                  <a:pt x="2858" y="1114"/>
                </a:lnTo>
                <a:lnTo>
                  <a:pt x="2848" y="1102"/>
                </a:lnTo>
                <a:lnTo>
                  <a:pt x="2838" y="1096"/>
                </a:lnTo>
                <a:lnTo>
                  <a:pt x="2830" y="1094"/>
                </a:lnTo>
                <a:lnTo>
                  <a:pt x="2822" y="1094"/>
                </a:lnTo>
                <a:lnTo>
                  <a:pt x="2816" y="1098"/>
                </a:lnTo>
                <a:lnTo>
                  <a:pt x="2808" y="1104"/>
                </a:lnTo>
                <a:lnTo>
                  <a:pt x="2794" y="1126"/>
                </a:lnTo>
                <a:close/>
                <a:moveTo>
                  <a:pt x="2544" y="400"/>
                </a:moveTo>
                <a:lnTo>
                  <a:pt x="2544" y="400"/>
                </a:lnTo>
                <a:lnTo>
                  <a:pt x="2544" y="408"/>
                </a:lnTo>
                <a:lnTo>
                  <a:pt x="2546" y="410"/>
                </a:lnTo>
                <a:lnTo>
                  <a:pt x="2550" y="408"/>
                </a:lnTo>
                <a:lnTo>
                  <a:pt x="2554" y="406"/>
                </a:lnTo>
                <a:lnTo>
                  <a:pt x="2560" y="404"/>
                </a:lnTo>
                <a:lnTo>
                  <a:pt x="2566" y="402"/>
                </a:lnTo>
                <a:lnTo>
                  <a:pt x="2572" y="406"/>
                </a:lnTo>
                <a:lnTo>
                  <a:pt x="2580" y="412"/>
                </a:lnTo>
                <a:lnTo>
                  <a:pt x="2586" y="422"/>
                </a:lnTo>
                <a:lnTo>
                  <a:pt x="2586" y="426"/>
                </a:lnTo>
                <a:lnTo>
                  <a:pt x="2582" y="428"/>
                </a:lnTo>
                <a:lnTo>
                  <a:pt x="2576" y="428"/>
                </a:lnTo>
                <a:lnTo>
                  <a:pt x="2558" y="428"/>
                </a:lnTo>
                <a:lnTo>
                  <a:pt x="2548" y="428"/>
                </a:lnTo>
                <a:lnTo>
                  <a:pt x="2540" y="430"/>
                </a:lnTo>
                <a:lnTo>
                  <a:pt x="2538" y="432"/>
                </a:lnTo>
                <a:lnTo>
                  <a:pt x="2538" y="436"/>
                </a:lnTo>
                <a:lnTo>
                  <a:pt x="2538" y="442"/>
                </a:lnTo>
                <a:lnTo>
                  <a:pt x="2542" y="446"/>
                </a:lnTo>
                <a:lnTo>
                  <a:pt x="2550" y="450"/>
                </a:lnTo>
                <a:lnTo>
                  <a:pt x="2560" y="452"/>
                </a:lnTo>
                <a:lnTo>
                  <a:pt x="2574" y="450"/>
                </a:lnTo>
                <a:lnTo>
                  <a:pt x="2592" y="446"/>
                </a:lnTo>
                <a:lnTo>
                  <a:pt x="2612" y="442"/>
                </a:lnTo>
                <a:lnTo>
                  <a:pt x="2622" y="440"/>
                </a:lnTo>
                <a:lnTo>
                  <a:pt x="2628" y="442"/>
                </a:lnTo>
                <a:lnTo>
                  <a:pt x="2628" y="444"/>
                </a:lnTo>
                <a:lnTo>
                  <a:pt x="2630" y="448"/>
                </a:lnTo>
                <a:lnTo>
                  <a:pt x="2634" y="450"/>
                </a:lnTo>
                <a:lnTo>
                  <a:pt x="2644" y="452"/>
                </a:lnTo>
                <a:lnTo>
                  <a:pt x="2660" y="450"/>
                </a:lnTo>
                <a:lnTo>
                  <a:pt x="2670" y="450"/>
                </a:lnTo>
                <a:lnTo>
                  <a:pt x="2678" y="450"/>
                </a:lnTo>
                <a:lnTo>
                  <a:pt x="2684" y="452"/>
                </a:lnTo>
                <a:lnTo>
                  <a:pt x="2688" y="454"/>
                </a:lnTo>
                <a:lnTo>
                  <a:pt x="2696" y="462"/>
                </a:lnTo>
                <a:lnTo>
                  <a:pt x="2700" y="470"/>
                </a:lnTo>
                <a:lnTo>
                  <a:pt x="2708" y="478"/>
                </a:lnTo>
                <a:lnTo>
                  <a:pt x="2712" y="482"/>
                </a:lnTo>
                <a:lnTo>
                  <a:pt x="2718" y="486"/>
                </a:lnTo>
                <a:lnTo>
                  <a:pt x="2724" y="488"/>
                </a:lnTo>
                <a:lnTo>
                  <a:pt x="2734" y="490"/>
                </a:lnTo>
                <a:lnTo>
                  <a:pt x="2746" y="490"/>
                </a:lnTo>
                <a:lnTo>
                  <a:pt x="2758" y="488"/>
                </a:lnTo>
                <a:lnTo>
                  <a:pt x="2768" y="486"/>
                </a:lnTo>
                <a:lnTo>
                  <a:pt x="2776" y="484"/>
                </a:lnTo>
                <a:lnTo>
                  <a:pt x="2780" y="480"/>
                </a:lnTo>
                <a:lnTo>
                  <a:pt x="2782" y="478"/>
                </a:lnTo>
                <a:lnTo>
                  <a:pt x="2780" y="474"/>
                </a:lnTo>
                <a:lnTo>
                  <a:pt x="2778" y="470"/>
                </a:lnTo>
                <a:lnTo>
                  <a:pt x="2772" y="462"/>
                </a:lnTo>
                <a:lnTo>
                  <a:pt x="2754" y="446"/>
                </a:lnTo>
                <a:lnTo>
                  <a:pt x="2750" y="442"/>
                </a:lnTo>
                <a:lnTo>
                  <a:pt x="2750" y="440"/>
                </a:lnTo>
                <a:lnTo>
                  <a:pt x="2752" y="438"/>
                </a:lnTo>
                <a:lnTo>
                  <a:pt x="2758" y="436"/>
                </a:lnTo>
                <a:lnTo>
                  <a:pt x="2762" y="432"/>
                </a:lnTo>
                <a:lnTo>
                  <a:pt x="2762" y="428"/>
                </a:lnTo>
                <a:lnTo>
                  <a:pt x="2762" y="422"/>
                </a:lnTo>
                <a:lnTo>
                  <a:pt x="2756" y="418"/>
                </a:lnTo>
                <a:lnTo>
                  <a:pt x="2750" y="414"/>
                </a:lnTo>
                <a:lnTo>
                  <a:pt x="2738" y="410"/>
                </a:lnTo>
                <a:lnTo>
                  <a:pt x="2724" y="408"/>
                </a:lnTo>
                <a:lnTo>
                  <a:pt x="2704" y="404"/>
                </a:lnTo>
                <a:lnTo>
                  <a:pt x="2702" y="402"/>
                </a:lnTo>
                <a:lnTo>
                  <a:pt x="2700" y="400"/>
                </a:lnTo>
                <a:lnTo>
                  <a:pt x="2698" y="398"/>
                </a:lnTo>
                <a:lnTo>
                  <a:pt x="2696" y="396"/>
                </a:lnTo>
                <a:lnTo>
                  <a:pt x="2690" y="392"/>
                </a:lnTo>
                <a:lnTo>
                  <a:pt x="2678" y="388"/>
                </a:lnTo>
                <a:lnTo>
                  <a:pt x="2664" y="384"/>
                </a:lnTo>
                <a:lnTo>
                  <a:pt x="2656" y="384"/>
                </a:lnTo>
                <a:lnTo>
                  <a:pt x="2648" y="388"/>
                </a:lnTo>
                <a:lnTo>
                  <a:pt x="2644" y="392"/>
                </a:lnTo>
                <a:lnTo>
                  <a:pt x="2642" y="394"/>
                </a:lnTo>
                <a:lnTo>
                  <a:pt x="2638" y="396"/>
                </a:lnTo>
                <a:lnTo>
                  <a:pt x="2636" y="394"/>
                </a:lnTo>
                <a:lnTo>
                  <a:pt x="2632" y="386"/>
                </a:lnTo>
                <a:lnTo>
                  <a:pt x="2630" y="382"/>
                </a:lnTo>
                <a:lnTo>
                  <a:pt x="2624" y="378"/>
                </a:lnTo>
                <a:lnTo>
                  <a:pt x="2610" y="370"/>
                </a:lnTo>
                <a:lnTo>
                  <a:pt x="2592" y="364"/>
                </a:lnTo>
                <a:lnTo>
                  <a:pt x="2574" y="360"/>
                </a:lnTo>
                <a:lnTo>
                  <a:pt x="2554" y="358"/>
                </a:lnTo>
                <a:lnTo>
                  <a:pt x="2536" y="360"/>
                </a:lnTo>
                <a:lnTo>
                  <a:pt x="2530" y="364"/>
                </a:lnTo>
                <a:lnTo>
                  <a:pt x="2524" y="366"/>
                </a:lnTo>
                <a:lnTo>
                  <a:pt x="2520" y="372"/>
                </a:lnTo>
                <a:lnTo>
                  <a:pt x="2516" y="378"/>
                </a:lnTo>
                <a:lnTo>
                  <a:pt x="2516" y="388"/>
                </a:lnTo>
                <a:lnTo>
                  <a:pt x="2516" y="390"/>
                </a:lnTo>
                <a:lnTo>
                  <a:pt x="2518" y="392"/>
                </a:lnTo>
                <a:lnTo>
                  <a:pt x="2522" y="392"/>
                </a:lnTo>
                <a:lnTo>
                  <a:pt x="2528" y="392"/>
                </a:lnTo>
                <a:lnTo>
                  <a:pt x="2534" y="390"/>
                </a:lnTo>
                <a:lnTo>
                  <a:pt x="2540" y="390"/>
                </a:lnTo>
                <a:lnTo>
                  <a:pt x="2544" y="392"/>
                </a:lnTo>
                <a:lnTo>
                  <a:pt x="2544" y="400"/>
                </a:lnTo>
                <a:close/>
                <a:moveTo>
                  <a:pt x="3116" y="190"/>
                </a:moveTo>
                <a:lnTo>
                  <a:pt x="3116" y="190"/>
                </a:lnTo>
                <a:lnTo>
                  <a:pt x="3124" y="194"/>
                </a:lnTo>
                <a:lnTo>
                  <a:pt x="3132" y="196"/>
                </a:lnTo>
                <a:lnTo>
                  <a:pt x="3146" y="194"/>
                </a:lnTo>
                <a:lnTo>
                  <a:pt x="3154" y="194"/>
                </a:lnTo>
                <a:lnTo>
                  <a:pt x="3152" y="196"/>
                </a:lnTo>
                <a:lnTo>
                  <a:pt x="3146" y="200"/>
                </a:lnTo>
                <a:lnTo>
                  <a:pt x="3140" y="206"/>
                </a:lnTo>
                <a:lnTo>
                  <a:pt x="3136" y="210"/>
                </a:lnTo>
                <a:lnTo>
                  <a:pt x="3134" y="216"/>
                </a:lnTo>
                <a:lnTo>
                  <a:pt x="3134" y="220"/>
                </a:lnTo>
                <a:lnTo>
                  <a:pt x="3138" y="226"/>
                </a:lnTo>
                <a:lnTo>
                  <a:pt x="3144" y="230"/>
                </a:lnTo>
                <a:lnTo>
                  <a:pt x="3154" y="234"/>
                </a:lnTo>
                <a:lnTo>
                  <a:pt x="3168" y="238"/>
                </a:lnTo>
                <a:lnTo>
                  <a:pt x="3182" y="242"/>
                </a:lnTo>
                <a:lnTo>
                  <a:pt x="3194" y="248"/>
                </a:lnTo>
                <a:lnTo>
                  <a:pt x="3216" y="256"/>
                </a:lnTo>
                <a:lnTo>
                  <a:pt x="3228" y="258"/>
                </a:lnTo>
                <a:lnTo>
                  <a:pt x="3240" y="258"/>
                </a:lnTo>
                <a:lnTo>
                  <a:pt x="3252" y="254"/>
                </a:lnTo>
                <a:lnTo>
                  <a:pt x="3264" y="246"/>
                </a:lnTo>
                <a:lnTo>
                  <a:pt x="3280" y="238"/>
                </a:lnTo>
                <a:lnTo>
                  <a:pt x="3294" y="232"/>
                </a:lnTo>
                <a:lnTo>
                  <a:pt x="3306" y="228"/>
                </a:lnTo>
                <a:lnTo>
                  <a:pt x="3318" y="226"/>
                </a:lnTo>
                <a:lnTo>
                  <a:pt x="3326" y="226"/>
                </a:lnTo>
                <a:lnTo>
                  <a:pt x="3330" y="226"/>
                </a:lnTo>
                <a:lnTo>
                  <a:pt x="3328" y="228"/>
                </a:lnTo>
                <a:lnTo>
                  <a:pt x="3322" y="230"/>
                </a:lnTo>
                <a:lnTo>
                  <a:pt x="3296" y="238"/>
                </a:lnTo>
                <a:lnTo>
                  <a:pt x="3286" y="244"/>
                </a:lnTo>
                <a:lnTo>
                  <a:pt x="3278" y="248"/>
                </a:lnTo>
                <a:lnTo>
                  <a:pt x="3276" y="252"/>
                </a:lnTo>
                <a:lnTo>
                  <a:pt x="3276" y="254"/>
                </a:lnTo>
                <a:lnTo>
                  <a:pt x="3276" y="256"/>
                </a:lnTo>
                <a:lnTo>
                  <a:pt x="3280" y="260"/>
                </a:lnTo>
                <a:lnTo>
                  <a:pt x="3296" y="264"/>
                </a:lnTo>
                <a:lnTo>
                  <a:pt x="3326" y="268"/>
                </a:lnTo>
                <a:lnTo>
                  <a:pt x="3356" y="268"/>
                </a:lnTo>
                <a:lnTo>
                  <a:pt x="3376" y="266"/>
                </a:lnTo>
                <a:lnTo>
                  <a:pt x="3390" y="264"/>
                </a:lnTo>
                <a:lnTo>
                  <a:pt x="3398" y="260"/>
                </a:lnTo>
                <a:lnTo>
                  <a:pt x="3406" y="254"/>
                </a:lnTo>
                <a:lnTo>
                  <a:pt x="3410" y="254"/>
                </a:lnTo>
                <a:lnTo>
                  <a:pt x="3418" y="256"/>
                </a:lnTo>
                <a:lnTo>
                  <a:pt x="3430" y="260"/>
                </a:lnTo>
                <a:lnTo>
                  <a:pt x="3446" y="262"/>
                </a:lnTo>
                <a:lnTo>
                  <a:pt x="3468" y="260"/>
                </a:lnTo>
                <a:lnTo>
                  <a:pt x="3490" y="256"/>
                </a:lnTo>
                <a:lnTo>
                  <a:pt x="3514" y="248"/>
                </a:lnTo>
                <a:lnTo>
                  <a:pt x="3540" y="240"/>
                </a:lnTo>
                <a:lnTo>
                  <a:pt x="3568" y="230"/>
                </a:lnTo>
                <a:lnTo>
                  <a:pt x="3592" y="216"/>
                </a:lnTo>
                <a:lnTo>
                  <a:pt x="3618" y="204"/>
                </a:lnTo>
                <a:lnTo>
                  <a:pt x="3618" y="206"/>
                </a:lnTo>
                <a:lnTo>
                  <a:pt x="3612" y="212"/>
                </a:lnTo>
                <a:lnTo>
                  <a:pt x="3608" y="220"/>
                </a:lnTo>
                <a:lnTo>
                  <a:pt x="3606" y="224"/>
                </a:lnTo>
                <a:lnTo>
                  <a:pt x="3606" y="226"/>
                </a:lnTo>
                <a:lnTo>
                  <a:pt x="3608" y="230"/>
                </a:lnTo>
                <a:lnTo>
                  <a:pt x="3612" y="232"/>
                </a:lnTo>
                <a:lnTo>
                  <a:pt x="3620" y="234"/>
                </a:lnTo>
                <a:lnTo>
                  <a:pt x="3630" y="236"/>
                </a:lnTo>
                <a:lnTo>
                  <a:pt x="3648" y="238"/>
                </a:lnTo>
                <a:lnTo>
                  <a:pt x="3656" y="238"/>
                </a:lnTo>
                <a:lnTo>
                  <a:pt x="3656" y="240"/>
                </a:lnTo>
                <a:lnTo>
                  <a:pt x="3654" y="240"/>
                </a:lnTo>
                <a:lnTo>
                  <a:pt x="3642" y="244"/>
                </a:lnTo>
                <a:lnTo>
                  <a:pt x="3596" y="252"/>
                </a:lnTo>
                <a:lnTo>
                  <a:pt x="3524" y="266"/>
                </a:lnTo>
                <a:lnTo>
                  <a:pt x="3460" y="278"/>
                </a:lnTo>
                <a:lnTo>
                  <a:pt x="3442" y="282"/>
                </a:lnTo>
                <a:lnTo>
                  <a:pt x="3434" y="284"/>
                </a:lnTo>
                <a:lnTo>
                  <a:pt x="3432" y="286"/>
                </a:lnTo>
                <a:lnTo>
                  <a:pt x="3430" y="288"/>
                </a:lnTo>
                <a:lnTo>
                  <a:pt x="3436" y="292"/>
                </a:lnTo>
                <a:lnTo>
                  <a:pt x="3458" y="308"/>
                </a:lnTo>
                <a:lnTo>
                  <a:pt x="3474" y="318"/>
                </a:lnTo>
                <a:lnTo>
                  <a:pt x="3490" y="326"/>
                </a:lnTo>
                <a:lnTo>
                  <a:pt x="3514" y="336"/>
                </a:lnTo>
                <a:lnTo>
                  <a:pt x="3522" y="340"/>
                </a:lnTo>
                <a:lnTo>
                  <a:pt x="3524" y="342"/>
                </a:lnTo>
                <a:lnTo>
                  <a:pt x="3520" y="344"/>
                </a:lnTo>
                <a:lnTo>
                  <a:pt x="3508" y="346"/>
                </a:lnTo>
                <a:lnTo>
                  <a:pt x="3494" y="348"/>
                </a:lnTo>
                <a:lnTo>
                  <a:pt x="3484" y="346"/>
                </a:lnTo>
                <a:lnTo>
                  <a:pt x="3474" y="342"/>
                </a:lnTo>
                <a:lnTo>
                  <a:pt x="3466" y="334"/>
                </a:lnTo>
                <a:lnTo>
                  <a:pt x="3452" y="318"/>
                </a:lnTo>
                <a:lnTo>
                  <a:pt x="3440" y="310"/>
                </a:lnTo>
                <a:lnTo>
                  <a:pt x="3428" y="304"/>
                </a:lnTo>
                <a:lnTo>
                  <a:pt x="3410" y="298"/>
                </a:lnTo>
                <a:lnTo>
                  <a:pt x="3388" y="292"/>
                </a:lnTo>
                <a:lnTo>
                  <a:pt x="3364" y="288"/>
                </a:lnTo>
                <a:lnTo>
                  <a:pt x="3340" y="284"/>
                </a:lnTo>
                <a:lnTo>
                  <a:pt x="3318" y="284"/>
                </a:lnTo>
                <a:lnTo>
                  <a:pt x="3300" y="286"/>
                </a:lnTo>
                <a:lnTo>
                  <a:pt x="3294" y="288"/>
                </a:lnTo>
                <a:lnTo>
                  <a:pt x="3288" y="290"/>
                </a:lnTo>
                <a:lnTo>
                  <a:pt x="3284" y="294"/>
                </a:lnTo>
                <a:lnTo>
                  <a:pt x="3282" y="298"/>
                </a:lnTo>
                <a:lnTo>
                  <a:pt x="3282" y="312"/>
                </a:lnTo>
                <a:lnTo>
                  <a:pt x="3284" y="316"/>
                </a:lnTo>
                <a:lnTo>
                  <a:pt x="3286" y="320"/>
                </a:lnTo>
                <a:lnTo>
                  <a:pt x="3300" y="326"/>
                </a:lnTo>
                <a:lnTo>
                  <a:pt x="3322" y="336"/>
                </a:lnTo>
                <a:lnTo>
                  <a:pt x="3336" y="342"/>
                </a:lnTo>
                <a:lnTo>
                  <a:pt x="3348" y="348"/>
                </a:lnTo>
                <a:lnTo>
                  <a:pt x="3366" y="362"/>
                </a:lnTo>
                <a:lnTo>
                  <a:pt x="3372" y="368"/>
                </a:lnTo>
                <a:lnTo>
                  <a:pt x="3376" y="374"/>
                </a:lnTo>
                <a:lnTo>
                  <a:pt x="3374" y="378"/>
                </a:lnTo>
                <a:lnTo>
                  <a:pt x="3370" y="380"/>
                </a:lnTo>
                <a:lnTo>
                  <a:pt x="3362" y="382"/>
                </a:lnTo>
                <a:lnTo>
                  <a:pt x="3358" y="384"/>
                </a:lnTo>
                <a:lnTo>
                  <a:pt x="3356" y="386"/>
                </a:lnTo>
                <a:lnTo>
                  <a:pt x="3358" y="390"/>
                </a:lnTo>
                <a:lnTo>
                  <a:pt x="3362" y="392"/>
                </a:lnTo>
                <a:lnTo>
                  <a:pt x="3370" y="394"/>
                </a:lnTo>
                <a:lnTo>
                  <a:pt x="3380" y="396"/>
                </a:lnTo>
                <a:lnTo>
                  <a:pt x="3394" y="398"/>
                </a:lnTo>
                <a:lnTo>
                  <a:pt x="3408" y="400"/>
                </a:lnTo>
                <a:lnTo>
                  <a:pt x="3420" y="402"/>
                </a:lnTo>
                <a:lnTo>
                  <a:pt x="3430" y="406"/>
                </a:lnTo>
                <a:lnTo>
                  <a:pt x="3434" y="408"/>
                </a:lnTo>
                <a:lnTo>
                  <a:pt x="3436" y="410"/>
                </a:lnTo>
                <a:lnTo>
                  <a:pt x="3434" y="412"/>
                </a:lnTo>
                <a:lnTo>
                  <a:pt x="3424" y="412"/>
                </a:lnTo>
                <a:lnTo>
                  <a:pt x="3412" y="410"/>
                </a:lnTo>
                <a:lnTo>
                  <a:pt x="3392" y="408"/>
                </a:lnTo>
                <a:lnTo>
                  <a:pt x="3370" y="408"/>
                </a:lnTo>
                <a:lnTo>
                  <a:pt x="3322" y="410"/>
                </a:lnTo>
                <a:lnTo>
                  <a:pt x="3300" y="412"/>
                </a:lnTo>
                <a:lnTo>
                  <a:pt x="3280" y="414"/>
                </a:lnTo>
                <a:lnTo>
                  <a:pt x="3264" y="420"/>
                </a:lnTo>
                <a:lnTo>
                  <a:pt x="3254" y="424"/>
                </a:lnTo>
                <a:lnTo>
                  <a:pt x="3250" y="430"/>
                </a:lnTo>
                <a:lnTo>
                  <a:pt x="3244" y="438"/>
                </a:lnTo>
                <a:lnTo>
                  <a:pt x="3242" y="446"/>
                </a:lnTo>
                <a:lnTo>
                  <a:pt x="3240" y="452"/>
                </a:lnTo>
                <a:lnTo>
                  <a:pt x="3242" y="458"/>
                </a:lnTo>
                <a:lnTo>
                  <a:pt x="3248" y="462"/>
                </a:lnTo>
                <a:lnTo>
                  <a:pt x="3256" y="464"/>
                </a:lnTo>
                <a:lnTo>
                  <a:pt x="3268" y="464"/>
                </a:lnTo>
                <a:lnTo>
                  <a:pt x="3280" y="460"/>
                </a:lnTo>
                <a:lnTo>
                  <a:pt x="3288" y="460"/>
                </a:lnTo>
                <a:lnTo>
                  <a:pt x="3294" y="462"/>
                </a:lnTo>
                <a:lnTo>
                  <a:pt x="3296" y="464"/>
                </a:lnTo>
                <a:lnTo>
                  <a:pt x="3298" y="466"/>
                </a:lnTo>
                <a:lnTo>
                  <a:pt x="3302" y="468"/>
                </a:lnTo>
                <a:lnTo>
                  <a:pt x="3308" y="468"/>
                </a:lnTo>
                <a:lnTo>
                  <a:pt x="3318" y="466"/>
                </a:lnTo>
                <a:lnTo>
                  <a:pt x="3328" y="464"/>
                </a:lnTo>
                <a:lnTo>
                  <a:pt x="3332" y="464"/>
                </a:lnTo>
                <a:lnTo>
                  <a:pt x="3332" y="468"/>
                </a:lnTo>
                <a:lnTo>
                  <a:pt x="3332" y="472"/>
                </a:lnTo>
                <a:lnTo>
                  <a:pt x="3330" y="476"/>
                </a:lnTo>
                <a:lnTo>
                  <a:pt x="3330" y="484"/>
                </a:lnTo>
                <a:lnTo>
                  <a:pt x="3332" y="494"/>
                </a:lnTo>
                <a:lnTo>
                  <a:pt x="3338" y="504"/>
                </a:lnTo>
                <a:lnTo>
                  <a:pt x="3342" y="508"/>
                </a:lnTo>
                <a:lnTo>
                  <a:pt x="3348" y="512"/>
                </a:lnTo>
                <a:lnTo>
                  <a:pt x="3354" y="514"/>
                </a:lnTo>
                <a:lnTo>
                  <a:pt x="3360" y="514"/>
                </a:lnTo>
                <a:lnTo>
                  <a:pt x="3374" y="514"/>
                </a:lnTo>
                <a:lnTo>
                  <a:pt x="3388" y="510"/>
                </a:lnTo>
                <a:lnTo>
                  <a:pt x="3402" y="502"/>
                </a:lnTo>
                <a:lnTo>
                  <a:pt x="3416" y="494"/>
                </a:lnTo>
                <a:lnTo>
                  <a:pt x="3428" y="484"/>
                </a:lnTo>
                <a:lnTo>
                  <a:pt x="3438" y="474"/>
                </a:lnTo>
                <a:lnTo>
                  <a:pt x="3444" y="470"/>
                </a:lnTo>
                <a:lnTo>
                  <a:pt x="3444" y="474"/>
                </a:lnTo>
                <a:lnTo>
                  <a:pt x="3438" y="482"/>
                </a:lnTo>
                <a:lnTo>
                  <a:pt x="3428" y="494"/>
                </a:lnTo>
                <a:lnTo>
                  <a:pt x="3414" y="508"/>
                </a:lnTo>
                <a:lnTo>
                  <a:pt x="3398" y="520"/>
                </a:lnTo>
                <a:lnTo>
                  <a:pt x="3388" y="524"/>
                </a:lnTo>
                <a:lnTo>
                  <a:pt x="3380" y="528"/>
                </a:lnTo>
                <a:lnTo>
                  <a:pt x="3370" y="530"/>
                </a:lnTo>
                <a:lnTo>
                  <a:pt x="3358" y="530"/>
                </a:lnTo>
                <a:lnTo>
                  <a:pt x="3342" y="526"/>
                </a:lnTo>
                <a:lnTo>
                  <a:pt x="3330" y="520"/>
                </a:lnTo>
                <a:lnTo>
                  <a:pt x="3318" y="512"/>
                </a:lnTo>
                <a:lnTo>
                  <a:pt x="3310" y="504"/>
                </a:lnTo>
                <a:lnTo>
                  <a:pt x="3300" y="496"/>
                </a:lnTo>
                <a:lnTo>
                  <a:pt x="3290" y="488"/>
                </a:lnTo>
                <a:lnTo>
                  <a:pt x="3278" y="484"/>
                </a:lnTo>
                <a:lnTo>
                  <a:pt x="3262" y="482"/>
                </a:lnTo>
                <a:lnTo>
                  <a:pt x="3234" y="482"/>
                </a:lnTo>
                <a:lnTo>
                  <a:pt x="3224" y="484"/>
                </a:lnTo>
                <a:lnTo>
                  <a:pt x="3216" y="486"/>
                </a:lnTo>
                <a:lnTo>
                  <a:pt x="3212" y="490"/>
                </a:lnTo>
                <a:lnTo>
                  <a:pt x="3212" y="494"/>
                </a:lnTo>
                <a:lnTo>
                  <a:pt x="3216" y="500"/>
                </a:lnTo>
                <a:lnTo>
                  <a:pt x="3222" y="506"/>
                </a:lnTo>
                <a:lnTo>
                  <a:pt x="3240" y="520"/>
                </a:lnTo>
                <a:lnTo>
                  <a:pt x="3254" y="532"/>
                </a:lnTo>
                <a:lnTo>
                  <a:pt x="3256" y="538"/>
                </a:lnTo>
                <a:lnTo>
                  <a:pt x="3256" y="540"/>
                </a:lnTo>
                <a:lnTo>
                  <a:pt x="3254" y="542"/>
                </a:lnTo>
                <a:lnTo>
                  <a:pt x="3246" y="544"/>
                </a:lnTo>
                <a:lnTo>
                  <a:pt x="3232" y="544"/>
                </a:lnTo>
                <a:lnTo>
                  <a:pt x="3214" y="546"/>
                </a:lnTo>
                <a:lnTo>
                  <a:pt x="3198" y="550"/>
                </a:lnTo>
                <a:lnTo>
                  <a:pt x="3182" y="556"/>
                </a:lnTo>
                <a:lnTo>
                  <a:pt x="3172" y="562"/>
                </a:lnTo>
                <a:lnTo>
                  <a:pt x="3164" y="570"/>
                </a:lnTo>
                <a:lnTo>
                  <a:pt x="3160" y="578"/>
                </a:lnTo>
                <a:lnTo>
                  <a:pt x="3160" y="582"/>
                </a:lnTo>
                <a:lnTo>
                  <a:pt x="3162" y="586"/>
                </a:lnTo>
                <a:lnTo>
                  <a:pt x="3164" y="590"/>
                </a:lnTo>
                <a:lnTo>
                  <a:pt x="3168" y="594"/>
                </a:lnTo>
                <a:lnTo>
                  <a:pt x="3172" y="596"/>
                </a:lnTo>
                <a:lnTo>
                  <a:pt x="3178" y="596"/>
                </a:lnTo>
                <a:lnTo>
                  <a:pt x="3186" y="596"/>
                </a:lnTo>
                <a:lnTo>
                  <a:pt x="3198" y="596"/>
                </a:lnTo>
                <a:lnTo>
                  <a:pt x="3204" y="598"/>
                </a:lnTo>
                <a:lnTo>
                  <a:pt x="3210" y="602"/>
                </a:lnTo>
                <a:lnTo>
                  <a:pt x="3218" y="606"/>
                </a:lnTo>
                <a:lnTo>
                  <a:pt x="3226" y="608"/>
                </a:lnTo>
                <a:lnTo>
                  <a:pt x="3234" y="608"/>
                </a:lnTo>
                <a:lnTo>
                  <a:pt x="3242" y="608"/>
                </a:lnTo>
                <a:lnTo>
                  <a:pt x="3258" y="602"/>
                </a:lnTo>
                <a:lnTo>
                  <a:pt x="3272" y="596"/>
                </a:lnTo>
                <a:lnTo>
                  <a:pt x="3278" y="594"/>
                </a:lnTo>
                <a:lnTo>
                  <a:pt x="3284" y="596"/>
                </a:lnTo>
                <a:lnTo>
                  <a:pt x="3298" y="600"/>
                </a:lnTo>
                <a:lnTo>
                  <a:pt x="3316" y="606"/>
                </a:lnTo>
                <a:lnTo>
                  <a:pt x="3328" y="608"/>
                </a:lnTo>
                <a:lnTo>
                  <a:pt x="3344" y="610"/>
                </a:lnTo>
                <a:lnTo>
                  <a:pt x="3358" y="610"/>
                </a:lnTo>
                <a:lnTo>
                  <a:pt x="3366" y="606"/>
                </a:lnTo>
                <a:lnTo>
                  <a:pt x="3372" y="604"/>
                </a:lnTo>
                <a:lnTo>
                  <a:pt x="3374" y="600"/>
                </a:lnTo>
                <a:lnTo>
                  <a:pt x="3378" y="596"/>
                </a:lnTo>
                <a:lnTo>
                  <a:pt x="3384" y="596"/>
                </a:lnTo>
                <a:lnTo>
                  <a:pt x="3394" y="596"/>
                </a:lnTo>
                <a:lnTo>
                  <a:pt x="3410" y="600"/>
                </a:lnTo>
                <a:lnTo>
                  <a:pt x="3418" y="602"/>
                </a:lnTo>
                <a:lnTo>
                  <a:pt x="3428" y="604"/>
                </a:lnTo>
                <a:lnTo>
                  <a:pt x="3448" y="604"/>
                </a:lnTo>
                <a:lnTo>
                  <a:pt x="3466" y="600"/>
                </a:lnTo>
                <a:lnTo>
                  <a:pt x="3484" y="596"/>
                </a:lnTo>
                <a:lnTo>
                  <a:pt x="3498" y="592"/>
                </a:lnTo>
                <a:lnTo>
                  <a:pt x="3508" y="590"/>
                </a:lnTo>
                <a:lnTo>
                  <a:pt x="3510" y="592"/>
                </a:lnTo>
                <a:lnTo>
                  <a:pt x="3512" y="594"/>
                </a:lnTo>
                <a:lnTo>
                  <a:pt x="3514" y="598"/>
                </a:lnTo>
                <a:lnTo>
                  <a:pt x="3512" y="602"/>
                </a:lnTo>
                <a:lnTo>
                  <a:pt x="3512" y="608"/>
                </a:lnTo>
                <a:lnTo>
                  <a:pt x="3512" y="612"/>
                </a:lnTo>
                <a:lnTo>
                  <a:pt x="3512" y="616"/>
                </a:lnTo>
                <a:lnTo>
                  <a:pt x="3516" y="618"/>
                </a:lnTo>
                <a:lnTo>
                  <a:pt x="3522" y="620"/>
                </a:lnTo>
                <a:lnTo>
                  <a:pt x="3534" y="620"/>
                </a:lnTo>
                <a:lnTo>
                  <a:pt x="3546" y="618"/>
                </a:lnTo>
                <a:lnTo>
                  <a:pt x="3558" y="612"/>
                </a:lnTo>
                <a:lnTo>
                  <a:pt x="3582" y="600"/>
                </a:lnTo>
                <a:lnTo>
                  <a:pt x="3592" y="596"/>
                </a:lnTo>
                <a:lnTo>
                  <a:pt x="3600" y="594"/>
                </a:lnTo>
                <a:lnTo>
                  <a:pt x="3616" y="594"/>
                </a:lnTo>
                <a:lnTo>
                  <a:pt x="3622" y="592"/>
                </a:lnTo>
                <a:lnTo>
                  <a:pt x="3628" y="588"/>
                </a:lnTo>
                <a:lnTo>
                  <a:pt x="3632" y="582"/>
                </a:lnTo>
                <a:lnTo>
                  <a:pt x="3634" y="570"/>
                </a:lnTo>
                <a:lnTo>
                  <a:pt x="3634" y="564"/>
                </a:lnTo>
                <a:lnTo>
                  <a:pt x="3634" y="560"/>
                </a:lnTo>
                <a:lnTo>
                  <a:pt x="3630" y="558"/>
                </a:lnTo>
                <a:lnTo>
                  <a:pt x="3628" y="556"/>
                </a:lnTo>
                <a:lnTo>
                  <a:pt x="3620" y="556"/>
                </a:lnTo>
                <a:lnTo>
                  <a:pt x="3610" y="556"/>
                </a:lnTo>
                <a:lnTo>
                  <a:pt x="3598" y="558"/>
                </a:lnTo>
                <a:lnTo>
                  <a:pt x="3590" y="558"/>
                </a:lnTo>
                <a:lnTo>
                  <a:pt x="3584" y="556"/>
                </a:lnTo>
                <a:lnTo>
                  <a:pt x="3582" y="552"/>
                </a:lnTo>
                <a:lnTo>
                  <a:pt x="3582" y="550"/>
                </a:lnTo>
                <a:lnTo>
                  <a:pt x="3582" y="542"/>
                </a:lnTo>
                <a:lnTo>
                  <a:pt x="3584" y="538"/>
                </a:lnTo>
                <a:lnTo>
                  <a:pt x="3588" y="534"/>
                </a:lnTo>
                <a:lnTo>
                  <a:pt x="3592" y="530"/>
                </a:lnTo>
                <a:lnTo>
                  <a:pt x="3604" y="524"/>
                </a:lnTo>
                <a:lnTo>
                  <a:pt x="3622" y="514"/>
                </a:lnTo>
                <a:lnTo>
                  <a:pt x="3626" y="512"/>
                </a:lnTo>
                <a:lnTo>
                  <a:pt x="3628" y="508"/>
                </a:lnTo>
                <a:lnTo>
                  <a:pt x="3630" y="504"/>
                </a:lnTo>
                <a:lnTo>
                  <a:pt x="3628" y="500"/>
                </a:lnTo>
                <a:lnTo>
                  <a:pt x="3626" y="492"/>
                </a:lnTo>
                <a:lnTo>
                  <a:pt x="3620" y="484"/>
                </a:lnTo>
                <a:lnTo>
                  <a:pt x="3618" y="478"/>
                </a:lnTo>
                <a:lnTo>
                  <a:pt x="3620" y="476"/>
                </a:lnTo>
                <a:lnTo>
                  <a:pt x="3622" y="474"/>
                </a:lnTo>
                <a:lnTo>
                  <a:pt x="3632" y="474"/>
                </a:lnTo>
                <a:lnTo>
                  <a:pt x="3654" y="476"/>
                </a:lnTo>
                <a:lnTo>
                  <a:pt x="3674" y="478"/>
                </a:lnTo>
                <a:lnTo>
                  <a:pt x="3692" y="476"/>
                </a:lnTo>
                <a:lnTo>
                  <a:pt x="3708" y="474"/>
                </a:lnTo>
                <a:lnTo>
                  <a:pt x="3722" y="468"/>
                </a:lnTo>
                <a:lnTo>
                  <a:pt x="3732" y="460"/>
                </a:lnTo>
                <a:lnTo>
                  <a:pt x="3738" y="454"/>
                </a:lnTo>
                <a:lnTo>
                  <a:pt x="3740" y="446"/>
                </a:lnTo>
                <a:lnTo>
                  <a:pt x="3740" y="442"/>
                </a:lnTo>
                <a:lnTo>
                  <a:pt x="3738" y="440"/>
                </a:lnTo>
                <a:lnTo>
                  <a:pt x="3736" y="436"/>
                </a:lnTo>
                <a:lnTo>
                  <a:pt x="3736" y="434"/>
                </a:lnTo>
                <a:lnTo>
                  <a:pt x="3740" y="430"/>
                </a:lnTo>
                <a:lnTo>
                  <a:pt x="3752" y="424"/>
                </a:lnTo>
                <a:lnTo>
                  <a:pt x="3756" y="420"/>
                </a:lnTo>
                <a:lnTo>
                  <a:pt x="3756" y="418"/>
                </a:lnTo>
                <a:lnTo>
                  <a:pt x="3756" y="416"/>
                </a:lnTo>
                <a:lnTo>
                  <a:pt x="3750" y="410"/>
                </a:lnTo>
                <a:lnTo>
                  <a:pt x="3734" y="400"/>
                </a:lnTo>
                <a:lnTo>
                  <a:pt x="3720" y="392"/>
                </a:lnTo>
                <a:lnTo>
                  <a:pt x="3718" y="390"/>
                </a:lnTo>
                <a:lnTo>
                  <a:pt x="3722" y="390"/>
                </a:lnTo>
                <a:lnTo>
                  <a:pt x="3734" y="390"/>
                </a:lnTo>
                <a:lnTo>
                  <a:pt x="3746" y="392"/>
                </a:lnTo>
                <a:lnTo>
                  <a:pt x="3758" y="392"/>
                </a:lnTo>
                <a:lnTo>
                  <a:pt x="3764" y="392"/>
                </a:lnTo>
                <a:lnTo>
                  <a:pt x="3766" y="390"/>
                </a:lnTo>
                <a:lnTo>
                  <a:pt x="3768" y="386"/>
                </a:lnTo>
                <a:lnTo>
                  <a:pt x="3766" y="384"/>
                </a:lnTo>
                <a:lnTo>
                  <a:pt x="3762" y="376"/>
                </a:lnTo>
                <a:lnTo>
                  <a:pt x="3758" y="370"/>
                </a:lnTo>
                <a:lnTo>
                  <a:pt x="3752" y="368"/>
                </a:lnTo>
                <a:lnTo>
                  <a:pt x="3746" y="368"/>
                </a:lnTo>
                <a:lnTo>
                  <a:pt x="3732" y="368"/>
                </a:lnTo>
                <a:lnTo>
                  <a:pt x="3712" y="372"/>
                </a:lnTo>
                <a:lnTo>
                  <a:pt x="3688" y="372"/>
                </a:lnTo>
                <a:lnTo>
                  <a:pt x="3666" y="372"/>
                </a:lnTo>
                <a:lnTo>
                  <a:pt x="3656" y="372"/>
                </a:lnTo>
                <a:lnTo>
                  <a:pt x="3650" y="370"/>
                </a:lnTo>
                <a:lnTo>
                  <a:pt x="3650" y="368"/>
                </a:lnTo>
                <a:lnTo>
                  <a:pt x="3652" y="364"/>
                </a:lnTo>
                <a:lnTo>
                  <a:pt x="3660" y="360"/>
                </a:lnTo>
                <a:lnTo>
                  <a:pt x="3676" y="358"/>
                </a:lnTo>
                <a:lnTo>
                  <a:pt x="3718" y="354"/>
                </a:lnTo>
                <a:lnTo>
                  <a:pt x="3764" y="352"/>
                </a:lnTo>
                <a:lnTo>
                  <a:pt x="3804" y="350"/>
                </a:lnTo>
                <a:lnTo>
                  <a:pt x="3816" y="348"/>
                </a:lnTo>
                <a:lnTo>
                  <a:pt x="3822" y="344"/>
                </a:lnTo>
                <a:lnTo>
                  <a:pt x="3824" y="338"/>
                </a:lnTo>
                <a:lnTo>
                  <a:pt x="3826" y="334"/>
                </a:lnTo>
                <a:lnTo>
                  <a:pt x="3824" y="328"/>
                </a:lnTo>
                <a:lnTo>
                  <a:pt x="3828" y="328"/>
                </a:lnTo>
                <a:lnTo>
                  <a:pt x="3834" y="330"/>
                </a:lnTo>
                <a:lnTo>
                  <a:pt x="3842" y="334"/>
                </a:lnTo>
                <a:lnTo>
                  <a:pt x="3852" y="336"/>
                </a:lnTo>
                <a:lnTo>
                  <a:pt x="3862" y="336"/>
                </a:lnTo>
                <a:lnTo>
                  <a:pt x="3872" y="336"/>
                </a:lnTo>
                <a:lnTo>
                  <a:pt x="3884" y="334"/>
                </a:lnTo>
                <a:lnTo>
                  <a:pt x="3894" y="330"/>
                </a:lnTo>
                <a:lnTo>
                  <a:pt x="3904" y="322"/>
                </a:lnTo>
                <a:lnTo>
                  <a:pt x="3914" y="312"/>
                </a:lnTo>
                <a:lnTo>
                  <a:pt x="3924" y="302"/>
                </a:lnTo>
                <a:lnTo>
                  <a:pt x="3938" y="292"/>
                </a:lnTo>
                <a:lnTo>
                  <a:pt x="3954" y="282"/>
                </a:lnTo>
                <a:lnTo>
                  <a:pt x="3974" y="272"/>
                </a:lnTo>
                <a:lnTo>
                  <a:pt x="4026" y="248"/>
                </a:lnTo>
                <a:lnTo>
                  <a:pt x="4092" y="222"/>
                </a:lnTo>
                <a:lnTo>
                  <a:pt x="4150" y="198"/>
                </a:lnTo>
                <a:lnTo>
                  <a:pt x="4164" y="190"/>
                </a:lnTo>
                <a:lnTo>
                  <a:pt x="4170" y="186"/>
                </a:lnTo>
                <a:lnTo>
                  <a:pt x="4170" y="184"/>
                </a:lnTo>
                <a:lnTo>
                  <a:pt x="4168" y="182"/>
                </a:lnTo>
                <a:lnTo>
                  <a:pt x="4156" y="182"/>
                </a:lnTo>
                <a:lnTo>
                  <a:pt x="4110" y="186"/>
                </a:lnTo>
                <a:lnTo>
                  <a:pt x="4086" y="188"/>
                </a:lnTo>
                <a:lnTo>
                  <a:pt x="4074" y="186"/>
                </a:lnTo>
                <a:lnTo>
                  <a:pt x="4072" y="186"/>
                </a:lnTo>
                <a:lnTo>
                  <a:pt x="4072" y="184"/>
                </a:lnTo>
                <a:lnTo>
                  <a:pt x="4078" y="182"/>
                </a:lnTo>
                <a:lnTo>
                  <a:pt x="4106" y="172"/>
                </a:lnTo>
                <a:lnTo>
                  <a:pt x="4144" y="164"/>
                </a:lnTo>
                <a:lnTo>
                  <a:pt x="4190" y="156"/>
                </a:lnTo>
                <a:lnTo>
                  <a:pt x="4244" y="144"/>
                </a:lnTo>
                <a:lnTo>
                  <a:pt x="4270" y="136"/>
                </a:lnTo>
                <a:lnTo>
                  <a:pt x="4290" y="128"/>
                </a:lnTo>
                <a:lnTo>
                  <a:pt x="4304" y="120"/>
                </a:lnTo>
                <a:lnTo>
                  <a:pt x="4308" y="116"/>
                </a:lnTo>
                <a:lnTo>
                  <a:pt x="4310" y="112"/>
                </a:lnTo>
                <a:lnTo>
                  <a:pt x="4308" y="108"/>
                </a:lnTo>
                <a:lnTo>
                  <a:pt x="4306" y="106"/>
                </a:lnTo>
                <a:lnTo>
                  <a:pt x="4296" y="102"/>
                </a:lnTo>
                <a:lnTo>
                  <a:pt x="4284" y="100"/>
                </a:lnTo>
                <a:lnTo>
                  <a:pt x="4268" y="100"/>
                </a:lnTo>
                <a:lnTo>
                  <a:pt x="4254" y="100"/>
                </a:lnTo>
                <a:lnTo>
                  <a:pt x="4240" y="98"/>
                </a:lnTo>
                <a:lnTo>
                  <a:pt x="4232" y="94"/>
                </a:lnTo>
                <a:lnTo>
                  <a:pt x="4230" y="90"/>
                </a:lnTo>
                <a:lnTo>
                  <a:pt x="4228" y="88"/>
                </a:lnTo>
                <a:lnTo>
                  <a:pt x="4228" y="84"/>
                </a:lnTo>
                <a:lnTo>
                  <a:pt x="4226" y="80"/>
                </a:lnTo>
                <a:lnTo>
                  <a:pt x="4218" y="74"/>
                </a:lnTo>
                <a:lnTo>
                  <a:pt x="4208" y="70"/>
                </a:lnTo>
                <a:lnTo>
                  <a:pt x="4194" y="66"/>
                </a:lnTo>
                <a:lnTo>
                  <a:pt x="4168" y="64"/>
                </a:lnTo>
                <a:lnTo>
                  <a:pt x="4150" y="64"/>
                </a:lnTo>
                <a:lnTo>
                  <a:pt x="4134" y="66"/>
                </a:lnTo>
                <a:lnTo>
                  <a:pt x="4124" y="64"/>
                </a:lnTo>
                <a:lnTo>
                  <a:pt x="4112" y="66"/>
                </a:lnTo>
                <a:lnTo>
                  <a:pt x="4092" y="72"/>
                </a:lnTo>
                <a:lnTo>
                  <a:pt x="4076" y="78"/>
                </a:lnTo>
                <a:lnTo>
                  <a:pt x="4062" y="82"/>
                </a:lnTo>
                <a:lnTo>
                  <a:pt x="4034" y="84"/>
                </a:lnTo>
                <a:lnTo>
                  <a:pt x="4020" y="84"/>
                </a:lnTo>
                <a:lnTo>
                  <a:pt x="4020" y="82"/>
                </a:lnTo>
                <a:lnTo>
                  <a:pt x="4022" y="82"/>
                </a:lnTo>
                <a:lnTo>
                  <a:pt x="4030" y="80"/>
                </a:lnTo>
                <a:lnTo>
                  <a:pt x="4058" y="74"/>
                </a:lnTo>
                <a:lnTo>
                  <a:pt x="4078" y="68"/>
                </a:lnTo>
                <a:lnTo>
                  <a:pt x="4082" y="64"/>
                </a:lnTo>
                <a:lnTo>
                  <a:pt x="4080" y="64"/>
                </a:lnTo>
                <a:lnTo>
                  <a:pt x="4080" y="62"/>
                </a:lnTo>
                <a:lnTo>
                  <a:pt x="4070" y="60"/>
                </a:lnTo>
                <a:lnTo>
                  <a:pt x="4052" y="60"/>
                </a:lnTo>
                <a:lnTo>
                  <a:pt x="4032" y="60"/>
                </a:lnTo>
                <a:lnTo>
                  <a:pt x="4014" y="56"/>
                </a:lnTo>
                <a:lnTo>
                  <a:pt x="3986" y="50"/>
                </a:lnTo>
                <a:lnTo>
                  <a:pt x="3972" y="46"/>
                </a:lnTo>
                <a:lnTo>
                  <a:pt x="3960" y="44"/>
                </a:lnTo>
                <a:lnTo>
                  <a:pt x="3946" y="44"/>
                </a:lnTo>
                <a:lnTo>
                  <a:pt x="3930" y="44"/>
                </a:lnTo>
                <a:lnTo>
                  <a:pt x="3902" y="48"/>
                </a:lnTo>
                <a:lnTo>
                  <a:pt x="3880" y="46"/>
                </a:lnTo>
                <a:lnTo>
                  <a:pt x="3860" y="48"/>
                </a:lnTo>
                <a:lnTo>
                  <a:pt x="3848" y="50"/>
                </a:lnTo>
                <a:lnTo>
                  <a:pt x="3834" y="54"/>
                </a:lnTo>
                <a:lnTo>
                  <a:pt x="3818" y="58"/>
                </a:lnTo>
                <a:lnTo>
                  <a:pt x="3800" y="58"/>
                </a:lnTo>
                <a:lnTo>
                  <a:pt x="3762" y="54"/>
                </a:lnTo>
                <a:lnTo>
                  <a:pt x="3738" y="52"/>
                </a:lnTo>
                <a:lnTo>
                  <a:pt x="3712" y="52"/>
                </a:lnTo>
                <a:lnTo>
                  <a:pt x="3682" y="56"/>
                </a:lnTo>
                <a:lnTo>
                  <a:pt x="3646" y="62"/>
                </a:lnTo>
                <a:lnTo>
                  <a:pt x="3630" y="66"/>
                </a:lnTo>
                <a:lnTo>
                  <a:pt x="3614" y="64"/>
                </a:lnTo>
                <a:lnTo>
                  <a:pt x="3598" y="62"/>
                </a:lnTo>
                <a:lnTo>
                  <a:pt x="3586" y="60"/>
                </a:lnTo>
                <a:lnTo>
                  <a:pt x="3574" y="56"/>
                </a:lnTo>
                <a:lnTo>
                  <a:pt x="3562" y="56"/>
                </a:lnTo>
                <a:lnTo>
                  <a:pt x="3550" y="56"/>
                </a:lnTo>
                <a:lnTo>
                  <a:pt x="3538" y="62"/>
                </a:lnTo>
                <a:lnTo>
                  <a:pt x="3526" y="66"/>
                </a:lnTo>
                <a:lnTo>
                  <a:pt x="3516" y="68"/>
                </a:lnTo>
                <a:lnTo>
                  <a:pt x="3504" y="68"/>
                </a:lnTo>
                <a:lnTo>
                  <a:pt x="3494" y="66"/>
                </a:lnTo>
                <a:lnTo>
                  <a:pt x="3488" y="66"/>
                </a:lnTo>
                <a:lnTo>
                  <a:pt x="3486" y="68"/>
                </a:lnTo>
                <a:lnTo>
                  <a:pt x="3488" y="72"/>
                </a:lnTo>
                <a:lnTo>
                  <a:pt x="3496" y="80"/>
                </a:lnTo>
                <a:lnTo>
                  <a:pt x="3502" y="88"/>
                </a:lnTo>
                <a:lnTo>
                  <a:pt x="3504" y="90"/>
                </a:lnTo>
                <a:lnTo>
                  <a:pt x="3502" y="90"/>
                </a:lnTo>
                <a:lnTo>
                  <a:pt x="3496" y="90"/>
                </a:lnTo>
                <a:lnTo>
                  <a:pt x="3486" y="88"/>
                </a:lnTo>
                <a:lnTo>
                  <a:pt x="3476" y="86"/>
                </a:lnTo>
                <a:lnTo>
                  <a:pt x="3464" y="86"/>
                </a:lnTo>
                <a:lnTo>
                  <a:pt x="3456" y="88"/>
                </a:lnTo>
                <a:lnTo>
                  <a:pt x="3452" y="90"/>
                </a:lnTo>
                <a:lnTo>
                  <a:pt x="3450" y="92"/>
                </a:lnTo>
                <a:lnTo>
                  <a:pt x="3448" y="100"/>
                </a:lnTo>
                <a:lnTo>
                  <a:pt x="3444" y="106"/>
                </a:lnTo>
                <a:lnTo>
                  <a:pt x="3438" y="110"/>
                </a:lnTo>
                <a:lnTo>
                  <a:pt x="3432" y="112"/>
                </a:lnTo>
                <a:lnTo>
                  <a:pt x="3424" y="114"/>
                </a:lnTo>
                <a:lnTo>
                  <a:pt x="3412" y="114"/>
                </a:lnTo>
                <a:lnTo>
                  <a:pt x="3384" y="110"/>
                </a:lnTo>
                <a:lnTo>
                  <a:pt x="3372" y="108"/>
                </a:lnTo>
                <a:lnTo>
                  <a:pt x="3366" y="106"/>
                </a:lnTo>
                <a:lnTo>
                  <a:pt x="3364" y="104"/>
                </a:lnTo>
                <a:lnTo>
                  <a:pt x="3364" y="102"/>
                </a:lnTo>
                <a:lnTo>
                  <a:pt x="3362" y="100"/>
                </a:lnTo>
                <a:lnTo>
                  <a:pt x="3360" y="98"/>
                </a:lnTo>
                <a:lnTo>
                  <a:pt x="3352" y="96"/>
                </a:lnTo>
                <a:lnTo>
                  <a:pt x="3336" y="94"/>
                </a:lnTo>
                <a:lnTo>
                  <a:pt x="3322" y="94"/>
                </a:lnTo>
                <a:lnTo>
                  <a:pt x="3316" y="96"/>
                </a:lnTo>
                <a:lnTo>
                  <a:pt x="3316" y="100"/>
                </a:lnTo>
                <a:lnTo>
                  <a:pt x="3318" y="104"/>
                </a:lnTo>
                <a:lnTo>
                  <a:pt x="3320" y="108"/>
                </a:lnTo>
                <a:lnTo>
                  <a:pt x="3322" y="110"/>
                </a:lnTo>
                <a:lnTo>
                  <a:pt x="3320" y="112"/>
                </a:lnTo>
                <a:lnTo>
                  <a:pt x="3312" y="116"/>
                </a:lnTo>
                <a:lnTo>
                  <a:pt x="3296" y="118"/>
                </a:lnTo>
                <a:lnTo>
                  <a:pt x="3280" y="120"/>
                </a:lnTo>
                <a:lnTo>
                  <a:pt x="3278" y="122"/>
                </a:lnTo>
                <a:lnTo>
                  <a:pt x="3278" y="124"/>
                </a:lnTo>
                <a:lnTo>
                  <a:pt x="3284" y="126"/>
                </a:lnTo>
                <a:lnTo>
                  <a:pt x="3296" y="130"/>
                </a:lnTo>
                <a:lnTo>
                  <a:pt x="3320" y="134"/>
                </a:lnTo>
                <a:lnTo>
                  <a:pt x="3326" y="138"/>
                </a:lnTo>
                <a:lnTo>
                  <a:pt x="3324" y="140"/>
                </a:lnTo>
                <a:lnTo>
                  <a:pt x="3322" y="140"/>
                </a:lnTo>
                <a:lnTo>
                  <a:pt x="3310" y="142"/>
                </a:lnTo>
                <a:lnTo>
                  <a:pt x="3300" y="142"/>
                </a:lnTo>
                <a:lnTo>
                  <a:pt x="3280" y="136"/>
                </a:lnTo>
                <a:lnTo>
                  <a:pt x="3268" y="134"/>
                </a:lnTo>
                <a:lnTo>
                  <a:pt x="3254" y="130"/>
                </a:lnTo>
                <a:lnTo>
                  <a:pt x="3238" y="130"/>
                </a:lnTo>
                <a:lnTo>
                  <a:pt x="3218" y="132"/>
                </a:lnTo>
                <a:lnTo>
                  <a:pt x="3202" y="134"/>
                </a:lnTo>
                <a:lnTo>
                  <a:pt x="3192" y="138"/>
                </a:lnTo>
                <a:lnTo>
                  <a:pt x="3184" y="142"/>
                </a:lnTo>
                <a:lnTo>
                  <a:pt x="3180" y="146"/>
                </a:lnTo>
                <a:lnTo>
                  <a:pt x="3176" y="148"/>
                </a:lnTo>
                <a:lnTo>
                  <a:pt x="3172" y="150"/>
                </a:lnTo>
                <a:lnTo>
                  <a:pt x="3164" y="150"/>
                </a:lnTo>
                <a:lnTo>
                  <a:pt x="3152" y="148"/>
                </a:lnTo>
                <a:lnTo>
                  <a:pt x="3138" y="148"/>
                </a:lnTo>
                <a:lnTo>
                  <a:pt x="3122" y="148"/>
                </a:lnTo>
                <a:lnTo>
                  <a:pt x="3108" y="152"/>
                </a:lnTo>
                <a:lnTo>
                  <a:pt x="3094" y="156"/>
                </a:lnTo>
                <a:lnTo>
                  <a:pt x="3084" y="162"/>
                </a:lnTo>
                <a:lnTo>
                  <a:pt x="3076" y="168"/>
                </a:lnTo>
                <a:lnTo>
                  <a:pt x="3074" y="174"/>
                </a:lnTo>
                <a:lnTo>
                  <a:pt x="3074" y="178"/>
                </a:lnTo>
                <a:lnTo>
                  <a:pt x="3076" y="180"/>
                </a:lnTo>
                <a:lnTo>
                  <a:pt x="3080" y="186"/>
                </a:lnTo>
                <a:lnTo>
                  <a:pt x="3084" y="188"/>
                </a:lnTo>
                <a:lnTo>
                  <a:pt x="3090" y="188"/>
                </a:lnTo>
                <a:lnTo>
                  <a:pt x="3094" y="188"/>
                </a:lnTo>
                <a:lnTo>
                  <a:pt x="3104" y="186"/>
                </a:lnTo>
                <a:lnTo>
                  <a:pt x="3110" y="188"/>
                </a:lnTo>
                <a:lnTo>
                  <a:pt x="3116" y="190"/>
                </a:lnTo>
                <a:close/>
                <a:moveTo>
                  <a:pt x="2922" y="360"/>
                </a:moveTo>
                <a:lnTo>
                  <a:pt x="2922" y="360"/>
                </a:lnTo>
                <a:lnTo>
                  <a:pt x="2936" y="368"/>
                </a:lnTo>
                <a:lnTo>
                  <a:pt x="2946" y="370"/>
                </a:lnTo>
                <a:lnTo>
                  <a:pt x="2956" y="368"/>
                </a:lnTo>
                <a:lnTo>
                  <a:pt x="2966" y="364"/>
                </a:lnTo>
                <a:lnTo>
                  <a:pt x="2978" y="360"/>
                </a:lnTo>
                <a:lnTo>
                  <a:pt x="2978" y="366"/>
                </a:lnTo>
                <a:lnTo>
                  <a:pt x="2976" y="368"/>
                </a:lnTo>
                <a:lnTo>
                  <a:pt x="2978" y="370"/>
                </a:lnTo>
                <a:lnTo>
                  <a:pt x="2986" y="370"/>
                </a:lnTo>
                <a:lnTo>
                  <a:pt x="3012" y="364"/>
                </a:lnTo>
                <a:lnTo>
                  <a:pt x="3038" y="358"/>
                </a:lnTo>
                <a:lnTo>
                  <a:pt x="3044" y="358"/>
                </a:lnTo>
                <a:lnTo>
                  <a:pt x="3046" y="360"/>
                </a:lnTo>
                <a:lnTo>
                  <a:pt x="3044" y="364"/>
                </a:lnTo>
                <a:lnTo>
                  <a:pt x="3042" y="366"/>
                </a:lnTo>
                <a:lnTo>
                  <a:pt x="3038" y="370"/>
                </a:lnTo>
                <a:lnTo>
                  <a:pt x="3026" y="376"/>
                </a:lnTo>
                <a:lnTo>
                  <a:pt x="3000" y="384"/>
                </a:lnTo>
                <a:lnTo>
                  <a:pt x="2986" y="388"/>
                </a:lnTo>
                <a:lnTo>
                  <a:pt x="2978" y="390"/>
                </a:lnTo>
                <a:lnTo>
                  <a:pt x="2974" y="394"/>
                </a:lnTo>
                <a:lnTo>
                  <a:pt x="2974" y="396"/>
                </a:lnTo>
                <a:lnTo>
                  <a:pt x="2976" y="398"/>
                </a:lnTo>
                <a:lnTo>
                  <a:pt x="2990" y="408"/>
                </a:lnTo>
                <a:lnTo>
                  <a:pt x="3002" y="420"/>
                </a:lnTo>
                <a:lnTo>
                  <a:pt x="3018" y="434"/>
                </a:lnTo>
                <a:lnTo>
                  <a:pt x="3036" y="444"/>
                </a:lnTo>
                <a:lnTo>
                  <a:pt x="3062" y="456"/>
                </a:lnTo>
                <a:lnTo>
                  <a:pt x="3092" y="464"/>
                </a:lnTo>
                <a:lnTo>
                  <a:pt x="3106" y="464"/>
                </a:lnTo>
                <a:lnTo>
                  <a:pt x="3118" y="464"/>
                </a:lnTo>
                <a:lnTo>
                  <a:pt x="3126" y="462"/>
                </a:lnTo>
                <a:lnTo>
                  <a:pt x="3128" y="458"/>
                </a:lnTo>
                <a:lnTo>
                  <a:pt x="3130" y="454"/>
                </a:lnTo>
                <a:lnTo>
                  <a:pt x="3132" y="448"/>
                </a:lnTo>
                <a:lnTo>
                  <a:pt x="3136" y="448"/>
                </a:lnTo>
                <a:lnTo>
                  <a:pt x="3142" y="448"/>
                </a:lnTo>
                <a:lnTo>
                  <a:pt x="3148" y="452"/>
                </a:lnTo>
                <a:lnTo>
                  <a:pt x="3154" y="454"/>
                </a:lnTo>
                <a:lnTo>
                  <a:pt x="3156" y="454"/>
                </a:lnTo>
                <a:lnTo>
                  <a:pt x="3158" y="452"/>
                </a:lnTo>
                <a:lnTo>
                  <a:pt x="3154" y="446"/>
                </a:lnTo>
                <a:lnTo>
                  <a:pt x="3150" y="436"/>
                </a:lnTo>
                <a:lnTo>
                  <a:pt x="3148" y="432"/>
                </a:lnTo>
                <a:lnTo>
                  <a:pt x="3150" y="430"/>
                </a:lnTo>
                <a:lnTo>
                  <a:pt x="3154" y="432"/>
                </a:lnTo>
                <a:lnTo>
                  <a:pt x="3166" y="440"/>
                </a:lnTo>
                <a:lnTo>
                  <a:pt x="3182" y="456"/>
                </a:lnTo>
                <a:lnTo>
                  <a:pt x="3188" y="462"/>
                </a:lnTo>
                <a:lnTo>
                  <a:pt x="3192" y="462"/>
                </a:lnTo>
                <a:lnTo>
                  <a:pt x="3192" y="460"/>
                </a:lnTo>
                <a:lnTo>
                  <a:pt x="3196" y="456"/>
                </a:lnTo>
                <a:lnTo>
                  <a:pt x="3196" y="450"/>
                </a:lnTo>
                <a:lnTo>
                  <a:pt x="3196" y="442"/>
                </a:lnTo>
                <a:lnTo>
                  <a:pt x="3198" y="434"/>
                </a:lnTo>
                <a:lnTo>
                  <a:pt x="3202" y="430"/>
                </a:lnTo>
                <a:lnTo>
                  <a:pt x="3204" y="430"/>
                </a:lnTo>
                <a:lnTo>
                  <a:pt x="3208" y="430"/>
                </a:lnTo>
                <a:lnTo>
                  <a:pt x="3216" y="430"/>
                </a:lnTo>
                <a:lnTo>
                  <a:pt x="3224" y="430"/>
                </a:lnTo>
                <a:lnTo>
                  <a:pt x="3234" y="426"/>
                </a:lnTo>
                <a:lnTo>
                  <a:pt x="3242" y="420"/>
                </a:lnTo>
                <a:lnTo>
                  <a:pt x="3282" y="394"/>
                </a:lnTo>
                <a:lnTo>
                  <a:pt x="3294" y="386"/>
                </a:lnTo>
                <a:lnTo>
                  <a:pt x="3308" y="382"/>
                </a:lnTo>
                <a:lnTo>
                  <a:pt x="3334" y="374"/>
                </a:lnTo>
                <a:lnTo>
                  <a:pt x="3342" y="372"/>
                </a:lnTo>
                <a:lnTo>
                  <a:pt x="3348" y="370"/>
                </a:lnTo>
                <a:lnTo>
                  <a:pt x="3348" y="368"/>
                </a:lnTo>
                <a:lnTo>
                  <a:pt x="3348" y="366"/>
                </a:lnTo>
                <a:lnTo>
                  <a:pt x="3340" y="362"/>
                </a:lnTo>
                <a:lnTo>
                  <a:pt x="3332" y="356"/>
                </a:lnTo>
                <a:lnTo>
                  <a:pt x="3324" y="352"/>
                </a:lnTo>
                <a:lnTo>
                  <a:pt x="3314" y="344"/>
                </a:lnTo>
                <a:lnTo>
                  <a:pt x="3306" y="342"/>
                </a:lnTo>
                <a:lnTo>
                  <a:pt x="3298" y="340"/>
                </a:lnTo>
                <a:lnTo>
                  <a:pt x="3286" y="340"/>
                </a:lnTo>
                <a:lnTo>
                  <a:pt x="3270" y="342"/>
                </a:lnTo>
                <a:lnTo>
                  <a:pt x="3256" y="344"/>
                </a:lnTo>
                <a:lnTo>
                  <a:pt x="3252" y="344"/>
                </a:lnTo>
                <a:lnTo>
                  <a:pt x="3254" y="342"/>
                </a:lnTo>
                <a:lnTo>
                  <a:pt x="3260" y="336"/>
                </a:lnTo>
                <a:lnTo>
                  <a:pt x="3266" y="332"/>
                </a:lnTo>
                <a:lnTo>
                  <a:pt x="3268" y="324"/>
                </a:lnTo>
                <a:lnTo>
                  <a:pt x="3270" y="320"/>
                </a:lnTo>
                <a:lnTo>
                  <a:pt x="3268" y="318"/>
                </a:lnTo>
                <a:lnTo>
                  <a:pt x="3264" y="314"/>
                </a:lnTo>
                <a:lnTo>
                  <a:pt x="3260" y="310"/>
                </a:lnTo>
                <a:lnTo>
                  <a:pt x="3250" y="302"/>
                </a:lnTo>
                <a:lnTo>
                  <a:pt x="3246" y="296"/>
                </a:lnTo>
                <a:lnTo>
                  <a:pt x="3244" y="290"/>
                </a:lnTo>
                <a:lnTo>
                  <a:pt x="3244" y="286"/>
                </a:lnTo>
                <a:lnTo>
                  <a:pt x="3244" y="282"/>
                </a:lnTo>
                <a:lnTo>
                  <a:pt x="3242" y="278"/>
                </a:lnTo>
                <a:lnTo>
                  <a:pt x="3234" y="274"/>
                </a:lnTo>
                <a:lnTo>
                  <a:pt x="3220" y="272"/>
                </a:lnTo>
                <a:lnTo>
                  <a:pt x="3206" y="272"/>
                </a:lnTo>
                <a:lnTo>
                  <a:pt x="3200" y="276"/>
                </a:lnTo>
                <a:lnTo>
                  <a:pt x="3196" y="280"/>
                </a:lnTo>
                <a:lnTo>
                  <a:pt x="3196" y="286"/>
                </a:lnTo>
                <a:lnTo>
                  <a:pt x="3198" y="292"/>
                </a:lnTo>
                <a:lnTo>
                  <a:pt x="3198" y="296"/>
                </a:lnTo>
                <a:lnTo>
                  <a:pt x="3196" y="298"/>
                </a:lnTo>
                <a:lnTo>
                  <a:pt x="3194" y="298"/>
                </a:lnTo>
                <a:lnTo>
                  <a:pt x="3186" y="296"/>
                </a:lnTo>
                <a:lnTo>
                  <a:pt x="3178" y="292"/>
                </a:lnTo>
                <a:lnTo>
                  <a:pt x="3174" y="286"/>
                </a:lnTo>
                <a:lnTo>
                  <a:pt x="3174" y="282"/>
                </a:lnTo>
                <a:lnTo>
                  <a:pt x="3176" y="278"/>
                </a:lnTo>
                <a:lnTo>
                  <a:pt x="3176" y="272"/>
                </a:lnTo>
                <a:lnTo>
                  <a:pt x="3174" y="270"/>
                </a:lnTo>
                <a:lnTo>
                  <a:pt x="3166" y="266"/>
                </a:lnTo>
                <a:lnTo>
                  <a:pt x="3152" y="264"/>
                </a:lnTo>
                <a:lnTo>
                  <a:pt x="3144" y="264"/>
                </a:lnTo>
                <a:lnTo>
                  <a:pt x="3134" y="260"/>
                </a:lnTo>
                <a:lnTo>
                  <a:pt x="3118" y="252"/>
                </a:lnTo>
                <a:lnTo>
                  <a:pt x="3082" y="228"/>
                </a:lnTo>
                <a:lnTo>
                  <a:pt x="3062" y="216"/>
                </a:lnTo>
                <a:lnTo>
                  <a:pt x="3040" y="204"/>
                </a:lnTo>
                <a:lnTo>
                  <a:pt x="3028" y="200"/>
                </a:lnTo>
                <a:lnTo>
                  <a:pt x="3014" y="198"/>
                </a:lnTo>
                <a:lnTo>
                  <a:pt x="3002" y="196"/>
                </a:lnTo>
                <a:lnTo>
                  <a:pt x="2988" y="196"/>
                </a:lnTo>
                <a:lnTo>
                  <a:pt x="2972" y="198"/>
                </a:lnTo>
                <a:lnTo>
                  <a:pt x="2970" y="200"/>
                </a:lnTo>
                <a:lnTo>
                  <a:pt x="2968" y="202"/>
                </a:lnTo>
                <a:lnTo>
                  <a:pt x="2970" y="206"/>
                </a:lnTo>
                <a:lnTo>
                  <a:pt x="2976" y="210"/>
                </a:lnTo>
                <a:lnTo>
                  <a:pt x="2982" y="214"/>
                </a:lnTo>
                <a:lnTo>
                  <a:pt x="2984" y="218"/>
                </a:lnTo>
                <a:lnTo>
                  <a:pt x="2982" y="220"/>
                </a:lnTo>
                <a:lnTo>
                  <a:pt x="2980" y="222"/>
                </a:lnTo>
                <a:lnTo>
                  <a:pt x="2966" y="222"/>
                </a:lnTo>
                <a:lnTo>
                  <a:pt x="2950" y="224"/>
                </a:lnTo>
                <a:lnTo>
                  <a:pt x="2940" y="226"/>
                </a:lnTo>
                <a:lnTo>
                  <a:pt x="2936" y="228"/>
                </a:lnTo>
                <a:lnTo>
                  <a:pt x="2932" y="232"/>
                </a:lnTo>
                <a:lnTo>
                  <a:pt x="2926" y="244"/>
                </a:lnTo>
                <a:lnTo>
                  <a:pt x="2924" y="250"/>
                </a:lnTo>
                <a:lnTo>
                  <a:pt x="2920" y="254"/>
                </a:lnTo>
                <a:lnTo>
                  <a:pt x="2910" y="260"/>
                </a:lnTo>
                <a:lnTo>
                  <a:pt x="2900" y="266"/>
                </a:lnTo>
                <a:lnTo>
                  <a:pt x="2894" y="272"/>
                </a:lnTo>
                <a:lnTo>
                  <a:pt x="2888" y="280"/>
                </a:lnTo>
                <a:lnTo>
                  <a:pt x="2886" y="284"/>
                </a:lnTo>
                <a:lnTo>
                  <a:pt x="2886" y="286"/>
                </a:lnTo>
                <a:lnTo>
                  <a:pt x="2888" y="290"/>
                </a:lnTo>
                <a:lnTo>
                  <a:pt x="2892" y="292"/>
                </a:lnTo>
                <a:lnTo>
                  <a:pt x="2904" y="294"/>
                </a:lnTo>
                <a:lnTo>
                  <a:pt x="2918" y="296"/>
                </a:lnTo>
                <a:lnTo>
                  <a:pt x="2946" y="296"/>
                </a:lnTo>
                <a:lnTo>
                  <a:pt x="2954" y="298"/>
                </a:lnTo>
                <a:lnTo>
                  <a:pt x="2958" y="298"/>
                </a:lnTo>
                <a:lnTo>
                  <a:pt x="2958" y="300"/>
                </a:lnTo>
                <a:lnTo>
                  <a:pt x="2954" y="302"/>
                </a:lnTo>
                <a:lnTo>
                  <a:pt x="2950" y="306"/>
                </a:lnTo>
                <a:lnTo>
                  <a:pt x="2940" y="308"/>
                </a:lnTo>
                <a:lnTo>
                  <a:pt x="2926" y="306"/>
                </a:lnTo>
                <a:lnTo>
                  <a:pt x="2910" y="304"/>
                </a:lnTo>
                <a:lnTo>
                  <a:pt x="2882" y="300"/>
                </a:lnTo>
                <a:lnTo>
                  <a:pt x="2874" y="302"/>
                </a:lnTo>
                <a:lnTo>
                  <a:pt x="2870" y="302"/>
                </a:lnTo>
                <a:lnTo>
                  <a:pt x="2870" y="306"/>
                </a:lnTo>
                <a:lnTo>
                  <a:pt x="2870" y="312"/>
                </a:lnTo>
                <a:lnTo>
                  <a:pt x="2872" y="318"/>
                </a:lnTo>
                <a:lnTo>
                  <a:pt x="2876" y="324"/>
                </a:lnTo>
                <a:lnTo>
                  <a:pt x="2884" y="330"/>
                </a:lnTo>
                <a:lnTo>
                  <a:pt x="2900" y="344"/>
                </a:lnTo>
                <a:lnTo>
                  <a:pt x="2922" y="360"/>
                </a:lnTo>
                <a:close/>
                <a:moveTo>
                  <a:pt x="2814" y="444"/>
                </a:moveTo>
                <a:lnTo>
                  <a:pt x="2814" y="444"/>
                </a:lnTo>
                <a:lnTo>
                  <a:pt x="2818" y="448"/>
                </a:lnTo>
                <a:lnTo>
                  <a:pt x="2820" y="450"/>
                </a:lnTo>
                <a:lnTo>
                  <a:pt x="2826" y="454"/>
                </a:lnTo>
                <a:lnTo>
                  <a:pt x="2842" y="458"/>
                </a:lnTo>
                <a:lnTo>
                  <a:pt x="2850" y="462"/>
                </a:lnTo>
                <a:lnTo>
                  <a:pt x="2850" y="464"/>
                </a:lnTo>
                <a:lnTo>
                  <a:pt x="2846" y="466"/>
                </a:lnTo>
                <a:lnTo>
                  <a:pt x="2840" y="468"/>
                </a:lnTo>
                <a:lnTo>
                  <a:pt x="2830" y="472"/>
                </a:lnTo>
                <a:lnTo>
                  <a:pt x="2832" y="474"/>
                </a:lnTo>
                <a:lnTo>
                  <a:pt x="2838" y="474"/>
                </a:lnTo>
                <a:lnTo>
                  <a:pt x="2848" y="476"/>
                </a:lnTo>
                <a:lnTo>
                  <a:pt x="2852" y="478"/>
                </a:lnTo>
                <a:lnTo>
                  <a:pt x="2856" y="482"/>
                </a:lnTo>
                <a:lnTo>
                  <a:pt x="2856" y="486"/>
                </a:lnTo>
                <a:lnTo>
                  <a:pt x="2858" y="490"/>
                </a:lnTo>
                <a:lnTo>
                  <a:pt x="2860" y="490"/>
                </a:lnTo>
                <a:lnTo>
                  <a:pt x="2864" y="490"/>
                </a:lnTo>
                <a:lnTo>
                  <a:pt x="2872" y="488"/>
                </a:lnTo>
                <a:lnTo>
                  <a:pt x="2884" y="484"/>
                </a:lnTo>
                <a:lnTo>
                  <a:pt x="2896" y="482"/>
                </a:lnTo>
                <a:lnTo>
                  <a:pt x="2920" y="478"/>
                </a:lnTo>
                <a:lnTo>
                  <a:pt x="2930" y="476"/>
                </a:lnTo>
                <a:lnTo>
                  <a:pt x="2938" y="474"/>
                </a:lnTo>
                <a:lnTo>
                  <a:pt x="2940" y="470"/>
                </a:lnTo>
                <a:lnTo>
                  <a:pt x="2938" y="466"/>
                </a:lnTo>
                <a:lnTo>
                  <a:pt x="2936" y="460"/>
                </a:lnTo>
                <a:lnTo>
                  <a:pt x="2938" y="456"/>
                </a:lnTo>
                <a:lnTo>
                  <a:pt x="2946" y="450"/>
                </a:lnTo>
                <a:lnTo>
                  <a:pt x="2948" y="448"/>
                </a:lnTo>
                <a:lnTo>
                  <a:pt x="2950" y="446"/>
                </a:lnTo>
                <a:lnTo>
                  <a:pt x="2946" y="442"/>
                </a:lnTo>
                <a:lnTo>
                  <a:pt x="2938" y="436"/>
                </a:lnTo>
                <a:lnTo>
                  <a:pt x="2928" y="432"/>
                </a:lnTo>
                <a:lnTo>
                  <a:pt x="2920" y="430"/>
                </a:lnTo>
                <a:lnTo>
                  <a:pt x="2908" y="430"/>
                </a:lnTo>
                <a:lnTo>
                  <a:pt x="2898" y="428"/>
                </a:lnTo>
                <a:lnTo>
                  <a:pt x="2890" y="424"/>
                </a:lnTo>
                <a:lnTo>
                  <a:pt x="2880" y="420"/>
                </a:lnTo>
                <a:lnTo>
                  <a:pt x="2868" y="412"/>
                </a:lnTo>
                <a:lnTo>
                  <a:pt x="2854" y="408"/>
                </a:lnTo>
                <a:lnTo>
                  <a:pt x="2840" y="406"/>
                </a:lnTo>
                <a:lnTo>
                  <a:pt x="2828" y="404"/>
                </a:lnTo>
                <a:lnTo>
                  <a:pt x="2816" y="406"/>
                </a:lnTo>
                <a:lnTo>
                  <a:pt x="2810" y="408"/>
                </a:lnTo>
                <a:lnTo>
                  <a:pt x="2806" y="414"/>
                </a:lnTo>
                <a:lnTo>
                  <a:pt x="2806" y="416"/>
                </a:lnTo>
                <a:lnTo>
                  <a:pt x="2806" y="420"/>
                </a:lnTo>
                <a:lnTo>
                  <a:pt x="2808" y="426"/>
                </a:lnTo>
                <a:lnTo>
                  <a:pt x="2808" y="430"/>
                </a:lnTo>
                <a:lnTo>
                  <a:pt x="2804" y="432"/>
                </a:lnTo>
                <a:lnTo>
                  <a:pt x="2802" y="434"/>
                </a:lnTo>
                <a:lnTo>
                  <a:pt x="2800" y="436"/>
                </a:lnTo>
                <a:lnTo>
                  <a:pt x="2800" y="438"/>
                </a:lnTo>
                <a:lnTo>
                  <a:pt x="2814" y="444"/>
                </a:lnTo>
                <a:close/>
                <a:moveTo>
                  <a:pt x="2764" y="326"/>
                </a:moveTo>
                <a:lnTo>
                  <a:pt x="2764" y="326"/>
                </a:lnTo>
                <a:lnTo>
                  <a:pt x="2774" y="334"/>
                </a:lnTo>
                <a:lnTo>
                  <a:pt x="2780" y="334"/>
                </a:lnTo>
                <a:lnTo>
                  <a:pt x="2784" y="334"/>
                </a:lnTo>
                <a:lnTo>
                  <a:pt x="2788" y="332"/>
                </a:lnTo>
                <a:lnTo>
                  <a:pt x="2790" y="330"/>
                </a:lnTo>
                <a:lnTo>
                  <a:pt x="2792" y="324"/>
                </a:lnTo>
                <a:lnTo>
                  <a:pt x="2792" y="316"/>
                </a:lnTo>
                <a:lnTo>
                  <a:pt x="2788" y="308"/>
                </a:lnTo>
                <a:lnTo>
                  <a:pt x="2780" y="302"/>
                </a:lnTo>
                <a:lnTo>
                  <a:pt x="2770" y="298"/>
                </a:lnTo>
                <a:lnTo>
                  <a:pt x="2760" y="296"/>
                </a:lnTo>
                <a:lnTo>
                  <a:pt x="2750" y="296"/>
                </a:lnTo>
                <a:lnTo>
                  <a:pt x="2742" y="298"/>
                </a:lnTo>
                <a:lnTo>
                  <a:pt x="2736" y="302"/>
                </a:lnTo>
                <a:lnTo>
                  <a:pt x="2734" y="306"/>
                </a:lnTo>
                <a:lnTo>
                  <a:pt x="2734" y="310"/>
                </a:lnTo>
                <a:lnTo>
                  <a:pt x="2736" y="314"/>
                </a:lnTo>
                <a:lnTo>
                  <a:pt x="2738" y="316"/>
                </a:lnTo>
                <a:lnTo>
                  <a:pt x="2744" y="320"/>
                </a:lnTo>
                <a:lnTo>
                  <a:pt x="2752" y="320"/>
                </a:lnTo>
                <a:lnTo>
                  <a:pt x="2758" y="322"/>
                </a:lnTo>
                <a:lnTo>
                  <a:pt x="2764" y="326"/>
                </a:lnTo>
                <a:close/>
                <a:moveTo>
                  <a:pt x="2352" y="636"/>
                </a:moveTo>
                <a:lnTo>
                  <a:pt x="2352" y="636"/>
                </a:lnTo>
                <a:lnTo>
                  <a:pt x="2346" y="642"/>
                </a:lnTo>
                <a:lnTo>
                  <a:pt x="2344" y="644"/>
                </a:lnTo>
                <a:lnTo>
                  <a:pt x="2346" y="646"/>
                </a:lnTo>
                <a:lnTo>
                  <a:pt x="2350" y="648"/>
                </a:lnTo>
                <a:lnTo>
                  <a:pt x="2360" y="650"/>
                </a:lnTo>
                <a:lnTo>
                  <a:pt x="2370" y="652"/>
                </a:lnTo>
                <a:lnTo>
                  <a:pt x="2378" y="654"/>
                </a:lnTo>
                <a:lnTo>
                  <a:pt x="2384" y="658"/>
                </a:lnTo>
                <a:lnTo>
                  <a:pt x="2386" y="662"/>
                </a:lnTo>
                <a:lnTo>
                  <a:pt x="2386" y="664"/>
                </a:lnTo>
                <a:lnTo>
                  <a:pt x="2382" y="670"/>
                </a:lnTo>
                <a:lnTo>
                  <a:pt x="2378" y="672"/>
                </a:lnTo>
                <a:lnTo>
                  <a:pt x="2370" y="672"/>
                </a:lnTo>
                <a:lnTo>
                  <a:pt x="2362" y="670"/>
                </a:lnTo>
                <a:lnTo>
                  <a:pt x="2340" y="666"/>
                </a:lnTo>
                <a:lnTo>
                  <a:pt x="2326" y="666"/>
                </a:lnTo>
                <a:lnTo>
                  <a:pt x="2312" y="668"/>
                </a:lnTo>
                <a:lnTo>
                  <a:pt x="2298" y="670"/>
                </a:lnTo>
                <a:lnTo>
                  <a:pt x="2292" y="670"/>
                </a:lnTo>
                <a:lnTo>
                  <a:pt x="2288" y="666"/>
                </a:lnTo>
                <a:lnTo>
                  <a:pt x="2286" y="662"/>
                </a:lnTo>
                <a:lnTo>
                  <a:pt x="2282" y="656"/>
                </a:lnTo>
                <a:lnTo>
                  <a:pt x="2278" y="648"/>
                </a:lnTo>
                <a:lnTo>
                  <a:pt x="2266" y="638"/>
                </a:lnTo>
                <a:lnTo>
                  <a:pt x="2250" y="624"/>
                </a:lnTo>
                <a:lnTo>
                  <a:pt x="2230" y="616"/>
                </a:lnTo>
                <a:lnTo>
                  <a:pt x="2216" y="612"/>
                </a:lnTo>
                <a:lnTo>
                  <a:pt x="2206" y="612"/>
                </a:lnTo>
                <a:lnTo>
                  <a:pt x="2196" y="614"/>
                </a:lnTo>
                <a:lnTo>
                  <a:pt x="2190" y="618"/>
                </a:lnTo>
                <a:lnTo>
                  <a:pt x="2186" y="620"/>
                </a:lnTo>
                <a:lnTo>
                  <a:pt x="2180" y="618"/>
                </a:lnTo>
                <a:lnTo>
                  <a:pt x="2174" y="610"/>
                </a:lnTo>
                <a:lnTo>
                  <a:pt x="2168" y="602"/>
                </a:lnTo>
                <a:lnTo>
                  <a:pt x="2160" y="596"/>
                </a:lnTo>
                <a:lnTo>
                  <a:pt x="2152" y="594"/>
                </a:lnTo>
                <a:lnTo>
                  <a:pt x="2142" y="596"/>
                </a:lnTo>
                <a:lnTo>
                  <a:pt x="2132" y="598"/>
                </a:lnTo>
                <a:lnTo>
                  <a:pt x="2120" y="602"/>
                </a:lnTo>
                <a:lnTo>
                  <a:pt x="2090" y="614"/>
                </a:lnTo>
                <a:lnTo>
                  <a:pt x="2072" y="622"/>
                </a:lnTo>
                <a:lnTo>
                  <a:pt x="2072" y="624"/>
                </a:lnTo>
                <a:lnTo>
                  <a:pt x="2072" y="626"/>
                </a:lnTo>
                <a:lnTo>
                  <a:pt x="2076" y="628"/>
                </a:lnTo>
                <a:lnTo>
                  <a:pt x="2076" y="632"/>
                </a:lnTo>
                <a:lnTo>
                  <a:pt x="2072" y="638"/>
                </a:lnTo>
                <a:lnTo>
                  <a:pt x="2062" y="646"/>
                </a:lnTo>
                <a:lnTo>
                  <a:pt x="2054" y="654"/>
                </a:lnTo>
                <a:lnTo>
                  <a:pt x="2050" y="658"/>
                </a:lnTo>
                <a:lnTo>
                  <a:pt x="2050" y="662"/>
                </a:lnTo>
                <a:lnTo>
                  <a:pt x="2052" y="662"/>
                </a:lnTo>
                <a:lnTo>
                  <a:pt x="2056" y="664"/>
                </a:lnTo>
                <a:lnTo>
                  <a:pt x="2056" y="666"/>
                </a:lnTo>
                <a:lnTo>
                  <a:pt x="2052" y="670"/>
                </a:lnTo>
                <a:lnTo>
                  <a:pt x="2044" y="676"/>
                </a:lnTo>
                <a:lnTo>
                  <a:pt x="2034" y="684"/>
                </a:lnTo>
                <a:lnTo>
                  <a:pt x="2030" y="690"/>
                </a:lnTo>
                <a:lnTo>
                  <a:pt x="2032" y="694"/>
                </a:lnTo>
                <a:lnTo>
                  <a:pt x="2036" y="696"/>
                </a:lnTo>
                <a:lnTo>
                  <a:pt x="2056" y="702"/>
                </a:lnTo>
                <a:lnTo>
                  <a:pt x="2084" y="710"/>
                </a:lnTo>
                <a:lnTo>
                  <a:pt x="2096" y="712"/>
                </a:lnTo>
                <a:lnTo>
                  <a:pt x="2106" y="712"/>
                </a:lnTo>
                <a:lnTo>
                  <a:pt x="2114" y="710"/>
                </a:lnTo>
                <a:lnTo>
                  <a:pt x="2118" y="708"/>
                </a:lnTo>
                <a:lnTo>
                  <a:pt x="2124" y="702"/>
                </a:lnTo>
                <a:lnTo>
                  <a:pt x="2126" y="702"/>
                </a:lnTo>
                <a:lnTo>
                  <a:pt x="2130" y="704"/>
                </a:lnTo>
                <a:lnTo>
                  <a:pt x="2136" y="712"/>
                </a:lnTo>
                <a:lnTo>
                  <a:pt x="2140" y="714"/>
                </a:lnTo>
                <a:lnTo>
                  <a:pt x="2144" y="716"/>
                </a:lnTo>
                <a:lnTo>
                  <a:pt x="2148" y="714"/>
                </a:lnTo>
                <a:lnTo>
                  <a:pt x="2154" y="714"/>
                </a:lnTo>
                <a:lnTo>
                  <a:pt x="2158" y="710"/>
                </a:lnTo>
                <a:lnTo>
                  <a:pt x="2164" y="704"/>
                </a:lnTo>
                <a:lnTo>
                  <a:pt x="2174" y="692"/>
                </a:lnTo>
                <a:lnTo>
                  <a:pt x="2180" y="686"/>
                </a:lnTo>
                <a:lnTo>
                  <a:pt x="2182" y="686"/>
                </a:lnTo>
                <a:lnTo>
                  <a:pt x="2184" y="688"/>
                </a:lnTo>
                <a:lnTo>
                  <a:pt x="2182" y="696"/>
                </a:lnTo>
                <a:lnTo>
                  <a:pt x="2182" y="700"/>
                </a:lnTo>
                <a:lnTo>
                  <a:pt x="2184" y="704"/>
                </a:lnTo>
                <a:lnTo>
                  <a:pt x="2188" y="706"/>
                </a:lnTo>
                <a:lnTo>
                  <a:pt x="2196" y="706"/>
                </a:lnTo>
                <a:lnTo>
                  <a:pt x="2222" y="704"/>
                </a:lnTo>
                <a:lnTo>
                  <a:pt x="2262" y="698"/>
                </a:lnTo>
                <a:lnTo>
                  <a:pt x="2282" y="694"/>
                </a:lnTo>
                <a:lnTo>
                  <a:pt x="2292" y="694"/>
                </a:lnTo>
                <a:lnTo>
                  <a:pt x="2296" y="696"/>
                </a:lnTo>
                <a:lnTo>
                  <a:pt x="2294" y="700"/>
                </a:lnTo>
                <a:lnTo>
                  <a:pt x="2286" y="702"/>
                </a:lnTo>
                <a:lnTo>
                  <a:pt x="2274" y="706"/>
                </a:lnTo>
                <a:lnTo>
                  <a:pt x="2258" y="710"/>
                </a:lnTo>
                <a:lnTo>
                  <a:pt x="2242" y="712"/>
                </a:lnTo>
                <a:lnTo>
                  <a:pt x="2206" y="718"/>
                </a:lnTo>
                <a:lnTo>
                  <a:pt x="2188" y="722"/>
                </a:lnTo>
                <a:lnTo>
                  <a:pt x="2176" y="726"/>
                </a:lnTo>
                <a:lnTo>
                  <a:pt x="2166" y="732"/>
                </a:lnTo>
                <a:lnTo>
                  <a:pt x="2164" y="734"/>
                </a:lnTo>
                <a:lnTo>
                  <a:pt x="2164" y="738"/>
                </a:lnTo>
                <a:lnTo>
                  <a:pt x="2164" y="740"/>
                </a:lnTo>
                <a:lnTo>
                  <a:pt x="2168" y="744"/>
                </a:lnTo>
                <a:lnTo>
                  <a:pt x="2184" y="752"/>
                </a:lnTo>
                <a:lnTo>
                  <a:pt x="2196" y="756"/>
                </a:lnTo>
                <a:lnTo>
                  <a:pt x="2210" y="758"/>
                </a:lnTo>
                <a:lnTo>
                  <a:pt x="2222" y="756"/>
                </a:lnTo>
                <a:lnTo>
                  <a:pt x="2236" y="756"/>
                </a:lnTo>
                <a:lnTo>
                  <a:pt x="2266" y="748"/>
                </a:lnTo>
                <a:lnTo>
                  <a:pt x="2298" y="740"/>
                </a:lnTo>
                <a:lnTo>
                  <a:pt x="2312" y="736"/>
                </a:lnTo>
                <a:lnTo>
                  <a:pt x="2326" y="730"/>
                </a:lnTo>
                <a:lnTo>
                  <a:pt x="2348" y="718"/>
                </a:lnTo>
                <a:lnTo>
                  <a:pt x="2360" y="714"/>
                </a:lnTo>
                <a:lnTo>
                  <a:pt x="2370" y="712"/>
                </a:lnTo>
                <a:lnTo>
                  <a:pt x="2380" y="712"/>
                </a:lnTo>
                <a:lnTo>
                  <a:pt x="2390" y="714"/>
                </a:lnTo>
                <a:lnTo>
                  <a:pt x="2400" y="716"/>
                </a:lnTo>
                <a:lnTo>
                  <a:pt x="2408" y="716"/>
                </a:lnTo>
                <a:lnTo>
                  <a:pt x="2412" y="716"/>
                </a:lnTo>
                <a:lnTo>
                  <a:pt x="2416" y="714"/>
                </a:lnTo>
                <a:lnTo>
                  <a:pt x="2420" y="712"/>
                </a:lnTo>
                <a:lnTo>
                  <a:pt x="2424" y="710"/>
                </a:lnTo>
                <a:lnTo>
                  <a:pt x="2430" y="710"/>
                </a:lnTo>
                <a:lnTo>
                  <a:pt x="2440" y="712"/>
                </a:lnTo>
                <a:lnTo>
                  <a:pt x="2450" y="714"/>
                </a:lnTo>
                <a:lnTo>
                  <a:pt x="2460" y="716"/>
                </a:lnTo>
                <a:lnTo>
                  <a:pt x="2472" y="714"/>
                </a:lnTo>
                <a:lnTo>
                  <a:pt x="2480" y="710"/>
                </a:lnTo>
                <a:lnTo>
                  <a:pt x="2490" y="704"/>
                </a:lnTo>
                <a:lnTo>
                  <a:pt x="2500" y="696"/>
                </a:lnTo>
                <a:lnTo>
                  <a:pt x="2512" y="684"/>
                </a:lnTo>
                <a:lnTo>
                  <a:pt x="2522" y="672"/>
                </a:lnTo>
                <a:lnTo>
                  <a:pt x="2526" y="664"/>
                </a:lnTo>
                <a:lnTo>
                  <a:pt x="2530" y="658"/>
                </a:lnTo>
                <a:lnTo>
                  <a:pt x="2530" y="654"/>
                </a:lnTo>
                <a:lnTo>
                  <a:pt x="2530" y="648"/>
                </a:lnTo>
                <a:lnTo>
                  <a:pt x="2526" y="644"/>
                </a:lnTo>
                <a:lnTo>
                  <a:pt x="2522" y="642"/>
                </a:lnTo>
                <a:lnTo>
                  <a:pt x="2512" y="636"/>
                </a:lnTo>
                <a:lnTo>
                  <a:pt x="2500" y="634"/>
                </a:lnTo>
                <a:lnTo>
                  <a:pt x="2486" y="632"/>
                </a:lnTo>
                <a:lnTo>
                  <a:pt x="2474" y="632"/>
                </a:lnTo>
                <a:lnTo>
                  <a:pt x="2466" y="634"/>
                </a:lnTo>
                <a:lnTo>
                  <a:pt x="2450" y="640"/>
                </a:lnTo>
                <a:lnTo>
                  <a:pt x="2436" y="646"/>
                </a:lnTo>
                <a:lnTo>
                  <a:pt x="2432" y="646"/>
                </a:lnTo>
                <a:lnTo>
                  <a:pt x="2428" y="646"/>
                </a:lnTo>
                <a:lnTo>
                  <a:pt x="2428" y="644"/>
                </a:lnTo>
                <a:lnTo>
                  <a:pt x="2430" y="638"/>
                </a:lnTo>
                <a:lnTo>
                  <a:pt x="2432" y="632"/>
                </a:lnTo>
                <a:lnTo>
                  <a:pt x="2430" y="630"/>
                </a:lnTo>
                <a:lnTo>
                  <a:pt x="2424" y="628"/>
                </a:lnTo>
                <a:lnTo>
                  <a:pt x="2420" y="626"/>
                </a:lnTo>
                <a:lnTo>
                  <a:pt x="2414" y="626"/>
                </a:lnTo>
                <a:lnTo>
                  <a:pt x="2412" y="624"/>
                </a:lnTo>
                <a:lnTo>
                  <a:pt x="2410" y="622"/>
                </a:lnTo>
                <a:lnTo>
                  <a:pt x="2414" y="618"/>
                </a:lnTo>
                <a:lnTo>
                  <a:pt x="2418" y="612"/>
                </a:lnTo>
                <a:lnTo>
                  <a:pt x="2418" y="610"/>
                </a:lnTo>
                <a:lnTo>
                  <a:pt x="2416" y="608"/>
                </a:lnTo>
                <a:lnTo>
                  <a:pt x="2414" y="606"/>
                </a:lnTo>
                <a:lnTo>
                  <a:pt x="2410" y="604"/>
                </a:lnTo>
                <a:lnTo>
                  <a:pt x="2406" y="600"/>
                </a:lnTo>
                <a:lnTo>
                  <a:pt x="2402" y="592"/>
                </a:lnTo>
                <a:lnTo>
                  <a:pt x="2400" y="582"/>
                </a:lnTo>
                <a:lnTo>
                  <a:pt x="2398" y="574"/>
                </a:lnTo>
                <a:lnTo>
                  <a:pt x="2394" y="568"/>
                </a:lnTo>
                <a:lnTo>
                  <a:pt x="2388" y="566"/>
                </a:lnTo>
                <a:lnTo>
                  <a:pt x="2380" y="568"/>
                </a:lnTo>
                <a:lnTo>
                  <a:pt x="2370" y="570"/>
                </a:lnTo>
                <a:lnTo>
                  <a:pt x="2358" y="576"/>
                </a:lnTo>
                <a:lnTo>
                  <a:pt x="2332" y="594"/>
                </a:lnTo>
                <a:lnTo>
                  <a:pt x="2324" y="598"/>
                </a:lnTo>
                <a:lnTo>
                  <a:pt x="2322" y="602"/>
                </a:lnTo>
                <a:lnTo>
                  <a:pt x="2320" y="604"/>
                </a:lnTo>
                <a:lnTo>
                  <a:pt x="2322" y="608"/>
                </a:lnTo>
                <a:lnTo>
                  <a:pt x="2328" y="612"/>
                </a:lnTo>
                <a:lnTo>
                  <a:pt x="2338" y="616"/>
                </a:lnTo>
                <a:lnTo>
                  <a:pt x="2350" y="620"/>
                </a:lnTo>
                <a:lnTo>
                  <a:pt x="2358" y="624"/>
                </a:lnTo>
                <a:lnTo>
                  <a:pt x="2360" y="626"/>
                </a:lnTo>
                <a:lnTo>
                  <a:pt x="2360" y="628"/>
                </a:lnTo>
                <a:lnTo>
                  <a:pt x="2358" y="632"/>
                </a:lnTo>
                <a:lnTo>
                  <a:pt x="2352" y="636"/>
                </a:lnTo>
                <a:close/>
                <a:moveTo>
                  <a:pt x="2556" y="544"/>
                </a:moveTo>
                <a:lnTo>
                  <a:pt x="2556" y="544"/>
                </a:lnTo>
                <a:lnTo>
                  <a:pt x="2566" y="544"/>
                </a:lnTo>
                <a:lnTo>
                  <a:pt x="2568" y="542"/>
                </a:lnTo>
                <a:lnTo>
                  <a:pt x="2570" y="540"/>
                </a:lnTo>
                <a:lnTo>
                  <a:pt x="2570" y="536"/>
                </a:lnTo>
                <a:lnTo>
                  <a:pt x="2568" y="532"/>
                </a:lnTo>
                <a:lnTo>
                  <a:pt x="2556" y="520"/>
                </a:lnTo>
                <a:lnTo>
                  <a:pt x="2546" y="512"/>
                </a:lnTo>
                <a:lnTo>
                  <a:pt x="2536" y="504"/>
                </a:lnTo>
                <a:lnTo>
                  <a:pt x="2526" y="500"/>
                </a:lnTo>
                <a:lnTo>
                  <a:pt x="2516" y="496"/>
                </a:lnTo>
                <a:lnTo>
                  <a:pt x="2508" y="494"/>
                </a:lnTo>
                <a:lnTo>
                  <a:pt x="2502" y="494"/>
                </a:lnTo>
                <a:lnTo>
                  <a:pt x="2500" y="496"/>
                </a:lnTo>
                <a:lnTo>
                  <a:pt x="2500" y="500"/>
                </a:lnTo>
                <a:lnTo>
                  <a:pt x="2508" y="514"/>
                </a:lnTo>
                <a:lnTo>
                  <a:pt x="2518" y="530"/>
                </a:lnTo>
                <a:lnTo>
                  <a:pt x="2524" y="536"/>
                </a:lnTo>
                <a:lnTo>
                  <a:pt x="2534" y="542"/>
                </a:lnTo>
                <a:lnTo>
                  <a:pt x="2544" y="544"/>
                </a:lnTo>
                <a:lnTo>
                  <a:pt x="2556" y="544"/>
                </a:lnTo>
                <a:close/>
                <a:moveTo>
                  <a:pt x="1828" y="630"/>
                </a:moveTo>
                <a:lnTo>
                  <a:pt x="1828" y="630"/>
                </a:lnTo>
                <a:lnTo>
                  <a:pt x="1826" y="636"/>
                </a:lnTo>
                <a:lnTo>
                  <a:pt x="1826" y="638"/>
                </a:lnTo>
                <a:lnTo>
                  <a:pt x="1828" y="640"/>
                </a:lnTo>
                <a:lnTo>
                  <a:pt x="1830" y="640"/>
                </a:lnTo>
                <a:lnTo>
                  <a:pt x="1838" y="638"/>
                </a:lnTo>
                <a:lnTo>
                  <a:pt x="1850" y="632"/>
                </a:lnTo>
                <a:lnTo>
                  <a:pt x="1856" y="628"/>
                </a:lnTo>
                <a:lnTo>
                  <a:pt x="1860" y="628"/>
                </a:lnTo>
                <a:lnTo>
                  <a:pt x="1864" y="628"/>
                </a:lnTo>
                <a:lnTo>
                  <a:pt x="1868" y="630"/>
                </a:lnTo>
                <a:lnTo>
                  <a:pt x="1874" y="634"/>
                </a:lnTo>
                <a:lnTo>
                  <a:pt x="1880" y="636"/>
                </a:lnTo>
                <a:lnTo>
                  <a:pt x="1886" y="636"/>
                </a:lnTo>
                <a:lnTo>
                  <a:pt x="1892" y="636"/>
                </a:lnTo>
                <a:lnTo>
                  <a:pt x="1896" y="632"/>
                </a:lnTo>
                <a:lnTo>
                  <a:pt x="1900" y="626"/>
                </a:lnTo>
                <a:lnTo>
                  <a:pt x="1902" y="626"/>
                </a:lnTo>
                <a:lnTo>
                  <a:pt x="1904" y="626"/>
                </a:lnTo>
                <a:lnTo>
                  <a:pt x="1908" y="634"/>
                </a:lnTo>
                <a:lnTo>
                  <a:pt x="1914" y="642"/>
                </a:lnTo>
                <a:lnTo>
                  <a:pt x="1920" y="646"/>
                </a:lnTo>
                <a:lnTo>
                  <a:pt x="1926" y="650"/>
                </a:lnTo>
                <a:lnTo>
                  <a:pt x="1934" y="650"/>
                </a:lnTo>
                <a:lnTo>
                  <a:pt x="1940" y="648"/>
                </a:lnTo>
                <a:lnTo>
                  <a:pt x="1946" y="642"/>
                </a:lnTo>
                <a:lnTo>
                  <a:pt x="1950" y="636"/>
                </a:lnTo>
                <a:lnTo>
                  <a:pt x="1952" y="624"/>
                </a:lnTo>
                <a:lnTo>
                  <a:pt x="1952" y="616"/>
                </a:lnTo>
                <a:lnTo>
                  <a:pt x="1954" y="614"/>
                </a:lnTo>
                <a:lnTo>
                  <a:pt x="1960" y="622"/>
                </a:lnTo>
                <a:lnTo>
                  <a:pt x="1964" y="626"/>
                </a:lnTo>
                <a:lnTo>
                  <a:pt x="1968" y="626"/>
                </a:lnTo>
                <a:lnTo>
                  <a:pt x="1970" y="626"/>
                </a:lnTo>
                <a:lnTo>
                  <a:pt x="1974" y="624"/>
                </a:lnTo>
                <a:lnTo>
                  <a:pt x="1978" y="620"/>
                </a:lnTo>
                <a:lnTo>
                  <a:pt x="1988" y="606"/>
                </a:lnTo>
                <a:lnTo>
                  <a:pt x="1994" y="594"/>
                </a:lnTo>
                <a:lnTo>
                  <a:pt x="1996" y="586"/>
                </a:lnTo>
                <a:lnTo>
                  <a:pt x="1996" y="580"/>
                </a:lnTo>
                <a:lnTo>
                  <a:pt x="1998" y="578"/>
                </a:lnTo>
                <a:lnTo>
                  <a:pt x="2000" y="576"/>
                </a:lnTo>
                <a:lnTo>
                  <a:pt x="2014" y="570"/>
                </a:lnTo>
                <a:lnTo>
                  <a:pt x="2020" y="568"/>
                </a:lnTo>
                <a:lnTo>
                  <a:pt x="2022" y="568"/>
                </a:lnTo>
                <a:lnTo>
                  <a:pt x="2024" y="570"/>
                </a:lnTo>
                <a:lnTo>
                  <a:pt x="2022" y="576"/>
                </a:lnTo>
                <a:lnTo>
                  <a:pt x="2020" y="582"/>
                </a:lnTo>
                <a:lnTo>
                  <a:pt x="2020" y="590"/>
                </a:lnTo>
                <a:lnTo>
                  <a:pt x="2020" y="600"/>
                </a:lnTo>
                <a:lnTo>
                  <a:pt x="2022" y="602"/>
                </a:lnTo>
                <a:lnTo>
                  <a:pt x="2024" y="606"/>
                </a:lnTo>
                <a:lnTo>
                  <a:pt x="2030" y="608"/>
                </a:lnTo>
                <a:lnTo>
                  <a:pt x="2036" y="610"/>
                </a:lnTo>
                <a:lnTo>
                  <a:pt x="2050" y="612"/>
                </a:lnTo>
                <a:lnTo>
                  <a:pt x="2056" y="610"/>
                </a:lnTo>
                <a:lnTo>
                  <a:pt x="2060" y="608"/>
                </a:lnTo>
                <a:lnTo>
                  <a:pt x="2060" y="602"/>
                </a:lnTo>
                <a:lnTo>
                  <a:pt x="2058" y="598"/>
                </a:lnTo>
                <a:lnTo>
                  <a:pt x="2058" y="594"/>
                </a:lnTo>
                <a:lnTo>
                  <a:pt x="2060" y="590"/>
                </a:lnTo>
                <a:lnTo>
                  <a:pt x="2068" y="588"/>
                </a:lnTo>
                <a:lnTo>
                  <a:pt x="2090" y="584"/>
                </a:lnTo>
                <a:lnTo>
                  <a:pt x="2098" y="580"/>
                </a:lnTo>
                <a:lnTo>
                  <a:pt x="2104" y="576"/>
                </a:lnTo>
                <a:lnTo>
                  <a:pt x="2108" y="572"/>
                </a:lnTo>
                <a:lnTo>
                  <a:pt x="2108" y="566"/>
                </a:lnTo>
                <a:lnTo>
                  <a:pt x="2104" y="560"/>
                </a:lnTo>
                <a:lnTo>
                  <a:pt x="2094" y="552"/>
                </a:lnTo>
                <a:lnTo>
                  <a:pt x="2088" y="550"/>
                </a:lnTo>
                <a:lnTo>
                  <a:pt x="2086" y="548"/>
                </a:lnTo>
                <a:lnTo>
                  <a:pt x="2086" y="544"/>
                </a:lnTo>
                <a:lnTo>
                  <a:pt x="2088" y="542"/>
                </a:lnTo>
                <a:lnTo>
                  <a:pt x="2094" y="538"/>
                </a:lnTo>
                <a:lnTo>
                  <a:pt x="2102" y="536"/>
                </a:lnTo>
                <a:lnTo>
                  <a:pt x="2110" y="532"/>
                </a:lnTo>
                <a:lnTo>
                  <a:pt x="2114" y="530"/>
                </a:lnTo>
                <a:lnTo>
                  <a:pt x="2114" y="528"/>
                </a:lnTo>
                <a:lnTo>
                  <a:pt x="2112" y="524"/>
                </a:lnTo>
                <a:lnTo>
                  <a:pt x="2102" y="520"/>
                </a:lnTo>
                <a:lnTo>
                  <a:pt x="2080" y="512"/>
                </a:lnTo>
                <a:lnTo>
                  <a:pt x="2074" y="510"/>
                </a:lnTo>
                <a:lnTo>
                  <a:pt x="2068" y="512"/>
                </a:lnTo>
                <a:lnTo>
                  <a:pt x="2064" y="512"/>
                </a:lnTo>
                <a:lnTo>
                  <a:pt x="2060" y="516"/>
                </a:lnTo>
                <a:lnTo>
                  <a:pt x="2052" y="524"/>
                </a:lnTo>
                <a:lnTo>
                  <a:pt x="2050" y="526"/>
                </a:lnTo>
                <a:lnTo>
                  <a:pt x="2046" y="528"/>
                </a:lnTo>
                <a:lnTo>
                  <a:pt x="2038" y="528"/>
                </a:lnTo>
                <a:lnTo>
                  <a:pt x="2016" y="522"/>
                </a:lnTo>
                <a:lnTo>
                  <a:pt x="2002" y="522"/>
                </a:lnTo>
                <a:lnTo>
                  <a:pt x="1984" y="526"/>
                </a:lnTo>
                <a:lnTo>
                  <a:pt x="1974" y="528"/>
                </a:lnTo>
                <a:lnTo>
                  <a:pt x="1964" y="534"/>
                </a:lnTo>
                <a:lnTo>
                  <a:pt x="1954" y="540"/>
                </a:lnTo>
                <a:lnTo>
                  <a:pt x="1942" y="548"/>
                </a:lnTo>
                <a:lnTo>
                  <a:pt x="1926" y="562"/>
                </a:lnTo>
                <a:lnTo>
                  <a:pt x="1916" y="568"/>
                </a:lnTo>
                <a:lnTo>
                  <a:pt x="1908" y="572"/>
                </a:lnTo>
                <a:lnTo>
                  <a:pt x="1904" y="574"/>
                </a:lnTo>
                <a:lnTo>
                  <a:pt x="1896" y="576"/>
                </a:lnTo>
                <a:lnTo>
                  <a:pt x="1890" y="580"/>
                </a:lnTo>
                <a:lnTo>
                  <a:pt x="1882" y="588"/>
                </a:lnTo>
                <a:lnTo>
                  <a:pt x="1872" y="596"/>
                </a:lnTo>
                <a:lnTo>
                  <a:pt x="1864" y="600"/>
                </a:lnTo>
                <a:lnTo>
                  <a:pt x="1858" y="600"/>
                </a:lnTo>
                <a:lnTo>
                  <a:pt x="1852" y="600"/>
                </a:lnTo>
                <a:lnTo>
                  <a:pt x="1848" y="598"/>
                </a:lnTo>
                <a:lnTo>
                  <a:pt x="1842" y="598"/>
                </a:lnTo>
                <a:lnTo>
                  <a:pt x="1834" y="600"/>
                </a:lnTo>
                <a:lnTo>
                  <a:pt x="1826" y="608"/>
                </a:lnTo>
                <a:lnTo>
                  <a:pt x="1818" y="616"/>
                </a:lnTo>
                <a:lnTo>
                  <a:pt x="1816" y="620"/>
                </a:lnTo>
                <a:lnTo>
                  <a:pt x="1816" y="622"/>
                </a:lnTo>
                <a:lnTo>
                  <a:pt x="1818" y="624"/>
                </a:lnTo>
                <a:lnTo>
                  <a:pt x="1826" y="626"/>
                </a:lnTo>
                <a:lnTo>
                  <a:pt x="1828" y="628"/>
                </a:lnTo>
                <a:lnTo>
                  <a:pt x="1828" y="630"/>
                </a:lnTo>
                <a:close/>
                <a:moveTo>
                  <a:pt x="2226" y="448"/>
                </a:moveTo>
                <a:lnTo>
                  <a:pt x="2226" y="448"/>
                </a:lnTo>
                <a:lnTo>
                  <a:pt x="2232" y="448"/>
                </a:lnTo>
                <a:lnTo>
                  <a:pt x="2240" y="448"/>
                </a:lnTo>
                <a:lnTo>
                  <a:pt x="2268" y="452"/>
                </a:lnTo>
                <a:lnTo>
                  <a:pt x="2278" y="452"/>
                </a:lnTo>
                <a:lnTo>
                  <a:pt x="2282" y="450"/>
                </a:lnTo>
                <a:lnTo>
                  <a:pt x="2290" y="448"/>
                </a:lnTo>
                <a:lnTo>
                  <a:pt x="2314" y="450"/>
                </a:lnTo>
                <a:lnTo>
                  <a:pt x="2330" y="450"/>
                </a:lnTo>
                <a:lnTo>
                  <a:pt x="2346" y="450"/>
                </a:lnTo>
                <a:lnTo>
                  <a:pt x="2358" y="448"/>
                </a:lnTo>
                <a:lnTo>
                  <a:pt x="2366" y="444"/>
                </a:lnTo>
                <a:lnTo>
                  <a:pt x="2368" y="440"/>
                </a:lnTo>
                <a:lnTo>
                  <a:pt x="2368" y="436"/>
                </a:lnTo>
                <a:lnTo>
                  <a:pt x="2368" y="434"/>
                </a:lnTo>
                <a:lnTo>
                  <a:pt x="2360" y="428"/>
                </a:lnTo>
                <a:lnTo>
                  <a:pt x="2344" y="422"/>
                </a:lnTo>
                <a:lnTo>
                  <a:pt x="2328" y="416"/>
                </a:lnTo>
                <a:lnTo>
                  <a:pt x="2314" y="414"/>
                </a:lnTo>
                <a:lnTo>
                  <a:pt x="2302" y="416"/>
                </a:lnTo>
                <a:lnTo>
                  <a:pt x="2292" y="418"/>
                </a:lnTo>
                <a:lnTo>
                  <a:pt x="2270" y="426"/>
                </a:lnTo>
                <a:lnTo>
                  <a:pt x="2258" y="430"/>
                </a:lnTo>
                <a:lnTo>
                  <a:pt x="2242" y="432"/>
                </a:lnTo>
                <a:lnTo>
                  <a:pt x="2228" y="434"/>
                </a:lnTo>
                <a:lnTo>
                  <a:pt x="2216" y="438"/>
                </a:lnTo>
                <a:lnTo>
                  <a:pt x="2210" y="442"/>
                </a:lnTo>
                <a:lnTo>
                  <a:pt x="2206" y="446"/>
                </a:lnTo>
                <a:lnTo>
                  <a:pt x="2208" y="450"/>
                </a:lnTo>
                <a:lnTo>
                  <a:pt x="2210" y="450"/>
                </a:lnTo>
                <a:lnTo>
                  <a:pt x="2218" y="450"/>
                </a:lnTo>
                <a:lnTo>
                  <a:pt x="2226" y="448"/>
                </a:lnTo>
                <a:close/>
                <a:moveTo>
                  <a:pt x="2308" y="518"/>
                </a:moveTo>
                <a:lnTo>
                  <a:pt x="2308" y="518"/>
                </a:lnTo>
                <a:lnTo>
                  <a:pt x="2322" y="516"/>
                </a:lnTo>
                <a:lnTo>
                  <a:pt x="2332" y="512"/>
                </a:lnTo>
                <a:lnTo>
                  <a:pt x="2338" y="508"/>
                </a:lnTo>
                <a:lnTo>
                  <a:pt x="2340" y="502"/>
                </a:lnTo>
                <a:lnTo>
                  <a:pt x="2340" y="498"/>
                </a:lnTo>
                <a:lnTo>
                  <a:pt x="2336" y="494"/>
                </a:lnTo>
                <a:lnTo>
                  <a:pt x="2328" y="490"/>
                </a:lnTo>
                <a:lnTo>
                  <a:pt x="2316" y="488"/>
                </a:lnTo>
                <a:lnTo>
                  <a:pt x="2308" y="488"/>
                </a:lnTo>
                <a:lnTo>
                  <a:pt x="2306" y="486"/>
                </a:lnTo>
                <a:lnTo>
                  <a:pt x="2320" y="484"/>
                </a:lnTo>
                <a:lnTo>
                  <a:pt x="2340" y="480"/>
                </a:lnTo>
                <a:lnTo>
                  <a:pt x="2350" y="476"/>
                </a:lnTo>
                <a:lnTo>
                  <a:pt x="2356" y="470"/>
                </a:lnTo>
                <a:lnTo>
                  <a:pt x="2356" y="468"/>
                </a:lnTo>
                <a:lnTo>
                  <a:pt x="2356" y="466"/>
                </a:lnTo>
                <a:lnTo>
                  <a:pt x="2350" y="464"/>
                </a:lnTo>
                <a:lnTo>
                  <a:pt x="2340" y="462"/>
                </a:lnTo>
                <a:lnTo>
                  <a:pt x="2326" y="462"/>
                </a:lnTo>
                <a:lnTo>
                  <a:pt x="2292" y="466"/>
                </a:lnTo>
                <a:lnTo>
                  <a:pt x="2252" y="472"/>
                </a:lnTo>
                <a:lnTo>
                  <a:pt x="2220" y="478"/>
                </a:lnTo>
                <a:lnTo>
                  <a:pt x="2212" y="482"/>
                </a:lnTo>
                <a:lnTo>
                  <a:pt x="2206" y="484"/>
                </a:lnTo>
                <a:lnTo>
                  <a:pt x="2204" y="488"/>
                </a:lnTo>
                <a:lnTo>
                  <a:pt x="2204" y="494"/>
                </a:lnTo>
                <a:lnTo>
                  <a:pt x="2210" y="508"/>
                </a:lnTo>
                <a:lnTo>
                  <a:pt x="2216" y="516"/>
                </a:lnTo>
                <a:lnTo>
                  <a:pt x="2224" y="522"/>
                </a:lnTo>
                <a:lnTo>
                  <a:pt x="2236" y="524"/>
                </a:lnTo>
                <a:lnTo>
                  <a:pt x="2248" y="526"/>
                </a:lnTo>
                <a:lnTo>
                  <a:pt x="2278" y="524"/>
                </a:lnTo>
                <a:lnTo>
                  <a:pt x="2308" y="518"/>
                </a:lnTo>
                <a:close/>
                <a:moveTo>
                  <a:pt x="2768" y="590"/>
                </a:moveTo>
                <a:lnTo>
                  <a:pt x="2768" y="590"/>
                </a:lnTo>
                <a:lnTo>
                  <a:pt x="2762" y="586"/>
                </a:lnTo>
                <a:lnTo>
                  <a:pt x="2756" y="584"/>
                </a:lnTo>
                <a:lnTo>
                  <a:pt x="2742" y="582"/>
                </a:lnTo>
                <a:lnTo>
                  <a:pt x="2728" y="584"/>
                </a:lnTo>
                <a:lnTo>
                  <a:pt x="2712" y="588"/>
                </a:lnTo>
                <a:lnTo>
                  <a:pt x="2706" y="590"/>
                </a:lnTo>
                <a:lnTo>
                  <a:pt x="2704" y="592"/>
                </a:lnTo>
                <a:lnTo>
                  <a:pt x="2704" y="596"/>
                </a:lnTo>
                <a:lnTo>
                  <a:pt x="2710" y="602"/>
                </a:lnTo>
                <a:lnTo>
                  <a:pt x="2726" y="618"/>
                </a:lnTo>
                <a:lnTo>
                  <a:pt x="2748" y="640"/>
                </a:lnTo>
                <a:lnTo>
                  <a:pt x="2728" y="630"/>
                </a:lnTo>
                <a:lnTo>
                  <a:pt x="2714" y="620"/>
                </a:lnTo>
                <a:lnTo>
                  <a:pt x="2706" y="614"/>
                </a:lnTo>
                <a:lnTo>
                  <a:pt x="2702" y="608"/>
                </a:lnTo>
                <a:lnTo>
                  <a:pt x="2698" y="604"/>
                </a:lnTo>
                <a:lnTo>
                  <a:pt x="2696" y="600"/>
                </a:lnTo>
                <a:lnTo>
                  <a:pt x="2688" y="598"/>
                </a:lnTo>
                <a:lnTo>
                  <a:pt x="2678" y="598"/>
                </a:lnTo>
                <a:lnTo>
                  <a:pt x="2666" y="598"/>
                </a:lnTo>
                <a:lnTo>
                  <a:pt x="2656" y="600"/>
                </a:lnTo>
                <a:lnTo>
                  <a:pt x="2652" y="602"/>
                </a:lnTo>
                <a:lnTo>
                  <a:pt x="2650" y="604"/>
                </a:lnTo>
                <a:lnTo>
                  <a:pt x="2652" y="610"/>
                </a:lnTo>
                <a:lnTo>
                  <a:pt x="2656" y="616"/>
                </a:lnTo>
                <a:lnTo>
                  <a:pt x="2670" y="632"/>
                </a:lnTo>
                <a:lnTo>
                  <a:pt x="2680" y="642"/>
                </a:lnTo>
                <a:lnTo>
                  <a:pt x="2680" y="644"/>
                </a:lnTo>
                <a:lnTo>
                  <a:pt x="2676" y="642"/>
                </a:lnTo>
                <a:lnTo>
                  <a:pt x="2666" y="638"/>
                </a:lnTo>
                <a:lnTo>
                  <a:pt x="2660" y="640"/>
                </a:lnTo>
                <a:lnTo>
                  <a:pt x="2656" y="642"/>
                </a:lnTo>
                <a:lnTo>
                  <a:pt x="2650" y="646"/>
                </a:lnTo>
                <a:lnTo>
                  <a:pt x="2644" y="648"/>
                </a:lnTo>
                <a:lnTo>
                  <a:pt x="2632" y="654"/>
                </a:lnTo>
                <a:lnTo>
                  <a:pt x="2628" y="656"/>
                </a:lnTo>
                <a:lnTo>
                  <a:pt x="2624" y="658"/>
                </a:lnTo>
                <a:lnTo>
                  <a:pt x="2624" y="662"/>
                </a:lnTo>
                <a:lnTo>
                  <a:pt x="2628" y="666"/>
                </a:lnTo>
                <a:lnTo>
                  <a:pt x="2632" y="668"/>
                </a:lnTo>
                <a:lnTo>
                  <a:pt x="2636" y="670"/>
                </a:lnTo>
                <a:lnTo>
                  <a:pt x="2652" y="670"/>
                </a:lnTo>
                <a:lnTo>
                  <a:pt x="2670" y="668"/>
                </a:lnTo>
                <a:lnTo>
                  <a:pt x="2690" y="664"/>
                </a:lnTo>
                <a:lnTo>
                  <a:pt x="2730" y="658"/>
                </a:lnTo>
                <a:lnTo>
                  <a:pt x="2748" y="656"/>
                </a:lnTo>
                <a:lnTo>
                  <a:pt x="2760" y="656"/>
                </a:lnTo>
                <a:lnTo>
                  <a:pt x="2766" y="656"/>
                </a:lnTo>
                <a:lnTo>
                  <a:pt x="2762" y="658"/>
                </a:lnTo>
                <a:lnTo>
                  <a:pt x="2742" y="664"/>
                </a:lnTo>
                <a:lnTo>
                  <a:pt x="2730" y="670"/>
                </a:lnTo>
                <a:lnTo>
                  <a:pt x="2720" y="674"/>
                </a:lnTo>
                <a:lnTo>
                  <a:pt x="2718" y="676"/>
                </a:lnTo>
                <a:lnTo>
                  <a:pt x="2716" y="680"/>
                </a:lnTo>
                <a:lnTo>
                  <a:pt x="2716" y="682"/>
                </a:lnTo>
                <a:lnTo>
                  <a:pt x="2718" y="686"/>
                </a:lnTo>
                <a:lnTo>
                  <a:pt x="2722" y="694"/>
                </a:lnTo>
                <a:lnTo>
                  <a:pt x="2724" y="700"/>
                </a:lnTo>
                <a:lnTo>
                  <a:pt x="2728" y="712"/>
                </a:lnTo>
                <a:lnTo>
                  <a:pt x="2730" y="716"/>
                </a:lnTo>
                <a:lnTo>
                  <a:pt x="2734" y="716"/>
                </a:lnTo>
                <a:lnTo>
                  <a:pt x="2740" y="716"/>
                </a:lnTo>
                <a:lnTo>
                  <a:pt x="2752" y="712"/>
                </a:lnTo>
                <a:lnTo>
                  <a:pt x="2760" y="710"/>
                </a:lnTo>
                <a:lnTo>
                  <a:pt x="2768" y="708"/>
                </a:lnTo>
                <a:lnTo>
                  <a:pt x="2790" y="710"/>
                </a:lnTo>
                <a:lnTo>
                  <a:pt x="2808" y="712"/>
                </a:lnTo>
                <a:lnTo>
                  <a:pt x="2824" y="708"/>
                </a:lnTo>
                <a:lnTo>
                  <a:pt x="2830" y="706"/>
                </a:lnTo>
                <a:lnTo>
                  <a:pt x="2834" y="702"/>
                </a:lnTo>
                <a:lnTo>
                  <a:pt x="2834" y="698"/>
                </a:lnTo>
                <a:lnTo>
                  <a:pt x="2832" y="692"/>
                </a:lnTo>
                <a:lnTo>
                  <a:pt x="2826" y="680"/>
                </a:lnTo>
                <a:lnTo>
                  <a:pt x="2826" y="670"/>
                </a:lnTo>
                <a:lnTo>
                  <a:pt x="2826" y="668"/>
                </a:lnTo>
                <a:lnTo>
                  <a:pt x="2830" y="668"/>
                </a:lnTo>
                <a:lnTo>
                  <a:pt x="2834" y="668"/>
                </a:lnTo>
                <a:lnTo>
                  <a:pt x="2840" y="672"/>
                </a:lnTo>
                <a:lnTo>
                  <a:pt x="2848" y="678"/>
                </a:lnTo>
                <a:lnTo>
                  <a:pt x="2850" y="678"/>
                </a:lnTo>
                <a:lnTo>
                  <a:pt x="2852" y="676"/>
                </a:lnTo>
                <a:lnTo>
                  <a:pt x="2848" y="668"/>
                </a:lnTo>
                <a:lnTo>
                  <a:pt x="2842" y="656"/>
                </a:lnTo>
                <a:lnTo>
                  <a:pt x="2838" y="648"/>
                </a:lnTo>
                <a:lnTo>
                  <a:pt x="2836" y="638"/>
                </a:lnTo>
                <a:lnTo>
                  <a:pt x="2834" y="618"/>
                </a:lnTo>
                <a:lnTo>
                  <a:pt x="2832" y="608"/>
                </a:lnTo>
                <a:lnTo>
                  <a:pt x="2828" y="598"/>
                </a:lnTo>
                <a:lnTo>
                  <a:pt x="2820" y="590"/>
                </a:lnTo>
                <a:lnTo>
                  <a:pt x="2808" y="582"/>
                </a:lnTo>
                <a:lnTo>
                  <a:pt x="2796" y="578"/>
                </a:lnTo>
                <a:lnTo>
                  <a:pt x="2788" y="578"/>
                </a:lnTo>
                <a:lnTo>
                  <a:pt x="2784" y="582"/>
                </a:lnTo>
                <a:lnTo>
                  <a:pt x="2780" y="586"/>
                </a:lnTo>
                <a:lnTo>
                  <a:pt x="2776" y="592"/>
                </a:lnTo>
                <a:lnTo>
                  <a:pt x="2774" y="594"/>
                </a:lnTo>
                <a:lnTo>
                  <a:pt x="2768" y="590"/>
                </a:lnTo>
                <a:close/>
                <a:moveTo>
                  <a:pt x="3556" y="1666"/>
                </a:moveTo>
                <a:lnTo>
                  <a:pt x="3556" y="1666"/>
                </a:lnTo>
                <a:lnTo>
                  <a:pt x="3562" y="1664"/>
                </a:lnTo>
                <a:lnTo>
                  <a:pt x="3566" y="1656"/>
                </a:lnTo>
                <a:lnTo>
                  <a:pt x="3570" y="1646"/>
                </a:lnTo>
                <a:lnTo>
                  <a:pt x="3572" y="1636"/>
                </a:lnTo>
                <a:lnTo>
                  <a:pt x="3572" y="1626"/>
                </a:lnTo>
                <a:lnTo>
                  <a:pt x="3570" y="1618"/>
                </a:lnTo>
                <a:lnTo>
                  <a:pt x="3568" y="1614"/>
                </a:lnTo>
                <a:lnTo>
                  <a:pt x="3564" y="1614"/>
                </a:lnTo>
                <a:lnTo>
                  <a:pt x="3560" y="1612"/>
                </a:lnTo>
                <a:lnTo>
                  <a:pt x="3554" y="1614"/>
                </a:lnTo>
                <a:lnTo>
                  <a:pt x="3550" y="1616"/>
                </a:lnTo>
                <a:lnTo>
                  <a:pt x="3546" y="1618"/>
                </a:lnTo>
                <a:lnTo>
                  <a:pt x="3540" y="1626"/>
                </a:lnTo>
                <a:lnTo>
                  <a:pt x="3538" y="1634"/>
                </a:lnTo>
                <a:lnTo>
                  <a:pt x="3538" y="1644"/>
                </a:lnTo>
                <a:lnTo>
                  <a:pt x="3540" y="1654"/>
                </a:lnTo>
                <a:lnTo>
                  <a:pt x="3546" y="1660"/>
                </a:lnTo>
                <a:lnTo>
                  <a:pt x="3550" y="1666"/>
                </a:lnTo>
                <a:lnTo>
                  <a:pt x="3556" y="1666"/>
                </a:lnTo>
                <a:close/>
                <a:moveTo>
                  <a:pt x="2980" y="518"/>
                </a:moveTo>
                <a:lnTo>
                  <a:pt x="2980" y="518"/>
                </a:lnTo>
                <a:lnTo>
                  <a:pt x="2998" y="516"/>
                </a:lnTo>
                <a:lnTo>
                  <a:pt x="3008" y="514"/>
                </a:lnTo>
                <a:lnTo>
                  <a:pt x="3014" y="510"/>
                </a:lnTo>
                <a:lnTo>
                  <a:pt x="3014" y="508"/>
                </a:lnTo>
                <a:lnTo>
                  <a:pt x="3014" y="506"/>
                </a:lnTo>
                <a:lnTo>
                  <a:pt x="3010" y="502"/>
                </a:lnTo>
                <a:lnTo>
                  <a:pt x="3000" y="496"/>
                </a:lnTo>
                <a:lnTo>
                  <a:pt x="2988" y="494"/>
                </a:lnTo>
                <a:lnTo>
                  <a:pt x="2972" y="492"/>
                </a:lnTo>
                <a:lnTo>
                  <a:pt x="2938" y="490"/>
                </a:lnTo>
                <a:lnTo>
                  <a:pt x="2912" y="492"/>
                </a:lnTo>
                <a:lnTo>
                  <a:pt x="2902" y="494"/>
                </a:lnTo>
                <a:lnTo>
                  <a:pt x="2894" y="498"/>
                </a:lnTo>
                <a:lnTo>
                  <a:pt x="2890" y="502"/>
                </a:lnTo>
                <a:lnTo>
                  <a:pt x="2888" y="508"/>
                </a:lnTo>
                <a:lnTo>
                  <a:pt x="2890" y="512"/>
                </a:lnTo>
                <a:lnTo>
                  <a:pt x="2896" y="516"/>
                </a:lnTo>
                <a:lnTo>
                  <a:pt x="2904" y="518"/>
                </a:lnTo>
                <a:lnTo>
                  <a:pt x="2914" y="518"/>
                </a:lnTo>
                <a:lnTo>
                  <a:pt x="2944" y="518"/>
                </a:lnTo>
                <a:lnTo>
                  <a:pt x="2980" y="518"/>
                </a:lnTo>
                <a:close/>
                <a:moveTo>
                  <a:pt x="2546" y="696"/>
                </a:moveTo>
                <a:lnTo>
                  <a:pt x="2546" y="696"/>
                </a:lnTo>
                <a:lnTo>
                  <a:pt x="2546" y="700"/>
                </a:lnTo>
                <a:lnTo>
                  <a:pt x="2548" y="704"/>
                </a:lnTo>
                <a:lnTo>
                  <a:pt x="2554" y="708"/>
                </a:lnTo>
                <a:lnTo>
                  <a:pt x="2562" y="710"/>
                </a:lnTo>
                <a:lnTo>
                  <a:pt x="2572" y="710"/>
                </a:lnTo>
                <a:lnTo>
                  <a:pt x="2580" y="708"/>
                </a:lnTo>
                <a:lnTo>
                  <a:pt x="2588" y="704"/>
                </a:lnTo>
                <a:lnTo>
                  <a:pt x="2594" y="700"/>
                </a:lnTo>
                <a:lnTo>
                  <a:pt x="2594" y="698"/>
                </a:lnTo>
                <a:lnTo>
                  <a:pt x="2594" y="694"/>
                </a:lnTo>
                <a:lnTo>
                  <a:pt x="2590" y="690"/>
                </a:lnTo>
                <a:lnTo>
                  <a:pt x="2584" y="684"/>
                </a:lnTo>
                <a:lnTo>
                  <a:pt x="2576" y="680"/>
                </a:lnTo>
                <a:lnTo>
                  <a:pt x="2568" y="678"/>
                </a:lnTo>
                <a:lnTo>
                  <a:pt x="2560" y="678"/>
                </a:lnTo>
                <a:lnTo>
                  <a:pt x="2552" y="680"/>
                </a:lnTo>
                <a:lnTo>
                  <a:pt x="2548" y="686"/>
                </a:lnTo>
                <a:lnTo>
                  <a:pt x="2546" y="696"/>
                </a:lnTo>
                <a:close/>
                <a:moveTo>
                  <a:pt x="2018" y="630"/>
                </a:moveTo>
                <a:lnTo>
                  <a:pt x="2018" y="630"/>
                </a:lnTo>
                <a:lnTo>
                  <a:pt x="1994" y="640"/>
                </a:lnTo>
                <a:lnTo>
                  <a:pt x="1972" y="654"/>
                </a:lnTo>
                <a:lnTo>
                  <a:pt x="1966" y="660"/>
                </a:lnTo>
                <a:lnTo>
                  <a:pt x="1964" y="666"/>
                </a:lnTo>
                <a:lnTo>
                  <a:pt x="1964" y="668"/>
                </a:lnTo>
                <a:lnTo>
                  <a:pt x="1966" y="670"/>
                </a:lnTo>
                <a:lnTo>
                  <a:pt x="1978" y="672"/>
                </a:lnTo>
                <a:lnTo>
                  <a:pt x="1984" y="672"/>
                </a:lnTo>
                <a:lnTo>
                  <a:pt x="1992" y="670"/>
                </a:lnTo>
                <a:lnTo>
                  <a:pt x="2002" y="666"/>
                </a:lnTo>
                <a:lnTo>
                  <a:pt x="2012" y="658"/>
                </a:lnTo>
                <a:lnTo>
                  <a:pt x="2020" y="648"/>
                </a:lnTo>
                <a:lnTo>
                  <a:pt x="2026" y="640"/>
                </a:lnTo>
                <a:lnTo>
                  <a:pt x="2026" y="634"/>
                </a:lnTo>
                <a:lnTo>
                  <a:pt x="2026" y="630"/>
                </a:lnTo>
                <a:lnTo>
                  <a:pt x="2024" y="630"/>
                </a:lnTo>
                <a:lnTo>
                  <a:pt x="2022" y="630"/>
                </a:lnTo>
                <a:lnTo>
                  <a:pt x="2018" y="630"/>
                </a:lnTo>
                <a:close/>
                <a:moveTo>
                  <a:pt x="2144" y="570"/>
                </a:moveTo>
                <a:lnTo>
                  <a:pt x="2144" y="570"/>
                </a:lnTo>
                <a:lnTo>
                  <a:pt x="2144" y="572"/>
                </a:lnTo>
                <a:lnTo>
                  <a:pt x="2148" y="574"/>
                </a:lnTo>
                <a:lnTo>
                  <a:pt x="2162" y="578"/>
                </a:lnTo>
                <a:lnTo>
                  <a:pt x="2182" y="578"/>
                </a:lnTo>
                <a:lnTo>
                  <a:pt x="2190" y="576"/>
                </a:lnTo>
                <a:lnTo>
                  <a:pt x="2198" y="574"/>
                </a:lnTo>
                <a:lnTo>
                  <a:pt x="2200" y="572"/>
                </a:lnTo>
                <a:lnTo>
                  <a:pt x="2200" y="570"/>
                </a:lnTo>
                <a:lnTo>
                  <a:pt x="2198" y="566"/>
                </a:lnTo>
                <a:lnTo>
                  <a:pt x="2190" y="564"/>
                </a:lnTo>
                <a:lnTo>
                  <a:pt x="2182" y="562"/>
                </a:lnTo>
                <a:lnTo>
                  <a:pt x="2170" y="562"/>
                </a:lnTo>
                <a:lnTo>
                  <a:pt x="2160" y="562"/>
                </a:lnTo>
                <a:lnTo>
                  <a:pt x="2150" y="566"/>
                </a:lnTo>
                <a:lnTo>
                  <a:pt x="2144" y="570"/>
                </a:lnTo>
                <a:close/>
                <a:moveTo>
                  <a:pt x="2180" y="496"/>
                </a:moveTo>
                <a:lnTo>
                  <a:pt x="2180" y="496"/>
                </a:lnTo>
                <a:lnTo>
                  <a:pt x="2190" y="496"/>
                </a:lnTo>
                <a:lnTo>
                  <a:pt x="2192" y="494"/>
                </a:lnTo>
                <a:lnTo>
                  <a:pt x="2192" y="492"/>
                </a:lnTo>
                <a:lnTo>
                  <a:pt x="2188" y="486"/>
                </a:lnTo>
                <a:lnTo>
                  <a:pt x="2178" y="476"/>
                </a:lnTo>
                <a:lnTo>
                  <a:pt x="2172" y="470"/>
                </a:lnTo>
                <a:lnTo>
                  <a:pt x="2166" y="468"/>
                </a:lnTo>
                <a:lnTo>
                  <a:pt x="2160" y="468"/>
                </a:lnTo>
                <a:lnTo>
                  <a:pt x="2154" y="468"/>
                </a:lnTo>
                <a:lnTo>
                  <a:pt x="2146" y="472"/>
                </a:lnTo>
                <a:lnTo>
                  <a:pt x="2138" y="476"/>
                </a:lnTo>
                <a:lnTo>
                  <a:pt x="2138" y="478"/>
                </a:lnTo>
                <a:lnTo>
                  <a:pt x="2138" y="482"/>
                </a:lnTo>
                <a:lnTo>
                  <a:pt x="2148" y="488"/>
                </a:lnTo>
                <a:lnTo>
                  <a:pt x="2162" y="494"/>
                </a:lnTo>
                <a:lnTo>
                  <a:pt x="2170" y="496"/>
                </a:lnTo>
                <a:lnTo>
                  <a:pt x="2180" y="496"/>
                </a:lnTo>
                <a:close/>
                <a:moveTo>
                  <a:pt x="2616" y="594"/>
                </a:moveTo>
                <a:lnTo>
                  <a:pt x="2616" y="594"/>
                </a:lnTo>
                <a:lnTo>
                  <a:pt x="2606" y="592"/>
                </a:lnTo>
                <a:lnTo>
                  <a:pt x="2600" y="588"/>
                </a:lnTo>
                <a:lnTo>
                  <a:pt x="2588" y="580"/>
                </a:lnTo>
                <a:lnTo>
                  <a:pt x="2584" y="578"/>
                </a:lnTo>
                <a:lnTo>
                  <a:pt x="2578" y="576"/>
                </a:lnTo>
                <a:lnTo>
                  <a:pt x="2572" y="576"/>
                </a:lnTo>
                <a:lnTo>
                  <a:pt x="2562" y="580"/>
                </a:lnTo>
                <a:lnTo>
                  <a:pt x="2556" y="584"/>
                </a:lnTo>
                <a:lnTo>
                  <a:pt x="2554" y="588"/>
                </a:lnTo>
                <a:lnTo>
                  <a:pt x="2556" y="592"/>
                </a:lnTo>
                <a:lnTo>
                  <a:pt x="2562" y="602"/>
                </a:lnTo>
                <a:lnTo>
                  <a:pt x="2566" y="606"/>
                </a:lnTo>
                <a:lnTo>
                  <a:pt x="2570" y="608"/>
                </a:lnTo>
                <a:lnTo>
                  <a:pt x="2582" y="608"/>
                </a:lnTo>
                <a:lnTo>
                  <a:pt x="2594" y="608"/>
                </a:lnTo>
                <a:lnTo>
                  <a:pt x="2606" y="606"/>
                </a:lnTo>
                <a:lnTo>
                  <a:pt x="2616" y="602"/>
                </a:lnTo>
                <a:lnTo>
                  <a:pt x="2624" y="600"/>
                </a:lnTo>
                <a:lnTo>
                  <a:pt x="2624" y="598"/>
                </a:lnTo>
                <a:lnTo>
                  <a:pt x="2624" y="596"/>
                </a:lnTo>
                <a:lnTo>
                  <a:pt x="2616" y="594"/>
                </a:lnTo>
                <a:close/>
                <a:moveTo>
                  <a:pt x="2638" y="612"/>
                </a:moveTo>
                <a:lnTo>
                  <a:pt x="2638" y="612"/>
                </a:lnTo>
                <a:lnTo>
                  <a:pt x="2630" y="610"/>
                </a:lnTo>
                <a:lnTo>
                  <a:pt x="2620" y="610"/>
                </a:lnTo>
                <a:lnTo>
                  <a:pt x="2592" y="614"/>
                </a:lnTo>
                <a:lnTo>
                  <a:pt x="2578" y="616"/>
                </a:lnTo>
                <a:lnTo>
                  <a:pt x="2568" y="620"/>
                </a:lnTo>
                <a:lnTo>
                  <a:pt x="2564" y="622"/>
                </a:lnTo>
                <a:lnTo>
                  <a:pt x="2562" y="624"/>
                </a:lnTo>
                <a:lnTo>
                  <a:pt x="2564" y="626"/>
                </a:lnTo>
                <a:lnTo>
                  <a:pt x="2570" y="628"/>
                </a:lnTo>
                <a:lnTo>
                  <a:pt x="2582" y="628"/>
                </a:lnTo>
                <a:lnTo>
                  <a:pt x="2610" y="624"/>
                </a:lnTo>
                <a:lnTo>
                  <a:pt x="2634" y="618"/>
                </a:lnTo>
                <a:lnTo>
                  <a:pt x="2638" y="616"/>
                </a:lnTo>
                <a:lnTo>
                  <a:pt x="2640" y="614"/>
                </a:lnTo>
                <a:lnTo>
                  <a:pt x="2638" y="612"/>
                </a:lnTo>
                <a:close/>
                <a:moveTo>
                  <a:pt x="2590" y="642"/>
                </a:moveTo>
                <a:lnTo>
                  <a:pt x="2590" y="642"/>
                </a:lnTo>
                <a:lnTo>
                  <a:pt x="2596" y="642"/>
                </a:lnTo>
                <a:lnTo>
                  <a:pt x="2604" y="642"/>
                </a:lnTo>
                <a:lnTo>
                  <a:pt x="2624" y="638"/>
                </a:lnTo>
                <a:lnTo>
                  <a:pt x="2640" y="632"/>
                </a:lnTo>
                <a:lnTo>
                  <a:pt x="2642" y="630"/>
                </a:lnTo>
                <a:lnTo>
                  <a:pt x="2642" y="628"/>
                </a:lnTo>
                <a:lnTo>
                  <a:pt x="2636" y="628"/>
                </a:lnTo>
                <a:lnTo>
                  <a:pt x="2628" y="628"/>
                </a:lnTo>
                <a:lnTo>
                  <a:pt x="2606" y="632"/>
                </a:lnTo>
                <a:lnTo>
                  <a:pt x="2590" y="636"/>
                </a:lnTo>
                <a:lnTo>
                  <a:pt x="2588" y="640"/>
                </a:lnTo>
                <a:lnTo>
                  <a:pt x="2590" y="642"/>
                </a:lnTo>
                <a:close/>
                <a:moveTo>
                  <a:pt x="2610" y="654"/>
                </a:moveTo>
                <a:lnTo>
                  <a:pt x="2610" y="654"/>
                </a:lnTo>
                <a:lnTo>
                  <a:pt x="2616" y="654"/>
                </a:lnTo>
                <a:lnTo>
                  <a:pt x="2622" y="652"/>
                </a:lnTo>
                <a:lnTo>
                  <a:pt x="2638" y="646"/>
                </a:lnTo>
                <a:lnTo>
                  <a:pt x="2650" y="640"/>
                </a:lnTo>
                <a:lnTo>
                  <a:pt x="2654" y="636"/>
                </a:lnTo>
                <a:lnTo>
                  <a:pt x="2652" y="636"/>
                </a:lnTo>
                <a:lnTo>
                  <a:pt x="2642" y="636"/>
                </a:lnTo>
                <a:lnTo>
                  <a:pt x="2624" y="642"/>
                </a:lnTo>
                <a:lnTo>
                  <a:pt x="2610" y="648"/>
                </a:lnTo>
                <a:lnTo>
                  <a:pt x="2608" y="652"/>
                </a:lnTo>
                <a:lnTo>
                  <a:pt x="2610" y="654"/>
                </a:lnTo>
                <a:close/>
                <a:moveTo>
                  <a:pt x="3342" y="390"/>
                </a:moveTo>
                <a:lnTo>
                  <a:pt x="3342" y="390"/>
                </a:lnTo>
                <a:lnTo>
                  <a:pt x="3342" y="386"/>
                </a:lnTo>
                <a:lnTo>
                  <a:pt x="3338" y="386"/>
                </a:lnTo>
                <a:lnTo>
                  <a:pt x="3324" y="386"/>
                </a:lnTo>
                <a:lnTo>
                  <a:pt x="3306" y="392"/>
                </a:lnTo>
                <a:lnTo>
                  <a:pt x="3298" y="396"/>
                </a:lnTo>
                <a:lnTo>
                  <a:pt x="3290" y="400"/>
                </a:lnTo>
                <a:lnTo>
                  <a:pt x="3288" y="404"/>
                </a:lnTo>
                <a:lnTo>
                  <a:pt x="3292" y="404"/>
                </a:lnTo>
                <a:lnTo>
                  <a:pt x="3308" y="402"/>
                </a:lnTo>
                <a:lnTo>
                  <a:pt x="3330" y="398"/>
                </a:lnTo>
                <a:lnTo>
                  <a:pt x="3338" y="394"/>
                </a:lnTo>
                <a:lnTo>
                  <a:pt x="3342" y="390"/>
                </a:lnTo>
                <a:close/>
                <a:moveTo>
                  <a:pt x="3480" y="2214"/>
                </a:moveTo>
                <a:lnTo>
                  <a:pt x="3480" y="2214"/>
                </a:lnTo>
                <a:lnTo>
                  <a:pt x="3504" y="2224"/>
                </a:lnTo>
                <a:lnTo>
                  <a:pt x="3514" y="2226"/>
                </a:lnTo>
                <a:lnTo>
                  <a:pt x="3518" y="2226"/>
                </a:lnTo>
                <a:lnTo>
                  <a:pt x="3520" y="2226"/>
                </a:lnTo>
                <a:lnTo>
                  <a:pt x="3522" y="2222"/>
                </a:lnTo>
                <a:lnTo>
                  <a:pt x="3522" y="2218"/>
                </a:lnTo>
                <a:lnTo>
                  <a:pt x="3516" y="2210"/>
                </a:lnTo>
                <a:lnTo>
                  <a:pt x="3506" y="2196"/>
                </a:lnTo>
                <a:lnTo>
                  <a:pt x="3498" y="2194"/>
                </a:lnTo>
                <a:lnTo>
                  <a:pt x="3486" y="2194"/>
                </a:lnTo>
                <a:lnTo>
                  <a:pt x="3474" y="2196"/>
                </a:lnTo>
                <a:lnTo>
                  <a:pt x="3470" y="2198"/>
                </a:lnTo>
                <a:lnTo>
                  <a:pt x="3466" y="2202"/>
                </a:lnTo>
                <a:lnTo>
                  <a:pt x="3466" y="2204"/>
                </a:lnTo>
                <a:lnTo>
                  <a:pt x="3466" y="2208"/>
                </a:lnTo>
                <a:lnTo>
                  <a:pt x="3480" y="2214"/>
                </a:lnTo>
                <a:close/>
                <a:moveTo>
                  <a:pt x="3576" y="2034"/>
                </a:moveTo>
                <a:lnTo>
                  <a:pt x="3576" y="2034"/>
                </a:lnTo>
                <a:lnTo>
                  <a:pt x="3580" y="2032"/>
                </a:lnTo>
                <a:lnTo>
                  <a:pt x="3582" y="2028"/>
                </a:lnTo>
                <a:lnTo>
                  <a:pt x="3586" y="2010"/>
                </a:lnTo>
                <a:lnTo>
                  <a:pt x="3588" y="2002"/>
                </a:lnTo>
                <a:lnTo>
                  <a:pt x="3588" y="1998"/>
                </a:lnTo>
                <a:lnTo>
                  <a:pt x="3582" y="1992"/>
                </a:lnTo>
                <a:lnTo>
                  <a:pt x="3578" y="1988"/>
                </a:lnTo>
                <a:lnTo>
                  <a:pt x="3576" y="1988"/>
                </a:lnTo>
                <a:lnTo>
                  <a:pt x="3574" y="1996"/>
                </a:lnTo>
                <a:lnTo>
                  <a:pt x="3570" y="2006"/>
                </a:lnTo>
                <a:lnTo>
                  <a:pt x="3568" y="2006"/>
                </a:lnTo>
                <a:lnTo>
                  <a:pt x="3568" y="2002"/>
                </a:lnTo>
                <a:lnTo>
                  <a:pt x="3568" y="1994"/>
                </a:lnTo>
                <a:lnTo>
                  <a:pt x="3568" y="1992"/>
                </a:lnTo>
                <a:lnTo>
                  <a:pt x="3566" y="1992"/>
                </a:lnTo>
                <a:lnTo>
                  <a:pt x="3566" y="1994"/>
                </a:lnTo>
                <a:lnTo>
                  <a:pt x="3566" y="1996"/>
                </a:lnTo>
                <a:lnTo>
                  <a:pt x="3566" y="2000"/>
                </a:lnTo>
                <a:lnTo>
                  <a:pt x="3566" y="2004"/>
                </a:lnTo>
                <a:lnTo>
                  <a:pt x="3564" y="2008"/>
                </a:lnTo>
                <a:lnTo>
                  <a:pt x="3560" y="2010"/>
                </a:lnTo>
                <a:lnTo>
                  <a:pt x="3558" y="2014"/>
                </a:lnTo>
                <a:lnTo>
                  <a:pt x="3554" y="2018"/>
                </a:lnTo>
                <a:lnTo>
                  <a:pt x="3546" y="2028"/>
                </a:lnTo>
                <a:lnTo>
                  <a:pt x="3546" y="2030"/>
                </a:lnTo>
                <a:lnTo>
                  <a:pt x="3546" y="2034"/>
                </a:lnTo>
                <a:lnTo>
                  <a:pt x="3548" y="2036"/>
                </a:lnTo>
                <a:lnTo>
                  <a:pt x="3550" y="2034"/>
                </a:lnTo>
                <a:lnTo>
                  <a:pt x="3558" y="2024"/>
                </a:lnTo>
                <a:lnTo>
                  <a:pt x="3564" y="2018"/>
                </a:lnTo>
                <a:lnTo>
                  <a:pt x="3564" y="2020"/>
                </a:lnTo>
                <a:lnTo>
                  <a:pt x="3562" y="2026"/>
                </a:lnTo>
                <a:lnTo>
                  <a:pt x="3556" y="2036"/>
                </a:lnTo>
                <a:lnTo>
                  <a:pt x="3562" y="2034"/>
                </a:lnTo>
                <a:lnTo>
                  <a:pt x="3566" y="2032"/>
                </a:lnTo>
                <a:lnTo>
                  <a:pt x="3568" y="2030"/>
                </a:lnTo>
                <a:lnTo>
                  <a:pt x="3572" y="2024"/>
                </a:lnTo>
                <a:lnTo>
                  <a:pt x="3574" y="2016"/>
                </a:lnTo>
                <a:lnTo>
                  <a:pt x="3578" y="2012"/>
                </a:lnTo>
                <a:lnTo>
                  <a:pt x="3580" y="2012"/>
                </a:lnTo>
                <a:lnTo>
                  <a:pt x="3580" y="2016"/>
                </a:lnTo>
                <a:lnTo>
                  <a:pt x="3578" y="2024"/>
                </a:lnTo>
                <a:lnTo>
                  <a:pt x="3576" y="2032"/>
                </a:lnTo>
                <a:lnTo>
                  <a:pt x="3576" y="2034"/>
                </a:lnTo>
                <a:close/>
                <a:moveTo>
                  <a:pt x="3596" y="2016"/>
                </a:moveTo>
                <a:lnTo>
                  <a:pt x="3596" y="2016"/>
                </a:lnTo>
                <a:lnTo>
                  <a:pt x="3600" y="2012"/>
                </a:lnTo>
                <a:lnTo>
                  <a:pt x="3600" y="2004"/>
                </a:lnTo>
                <a:lnTo>
                  <a:pt x="3600" y="2000"/>
                </a:lnTo>
                <a:lnTo>
                  <a:pt x="3600" y="1998"/>
                </a:lnTo>
                <a:lnTo>
                  <a:pt x="3598" y="1998"/>
                </a:lnTo>
                <a:lnTo>
                  <a:pt x="3594" y="2000"/>
                </a:lnTo>
                <a:lnTo>
                  <a:pt x="3594" y="2004"/>
                </a:lnTo>
                <a:lnTo>
                  <a:pt x="3590" y="2016"/>
                </a:lnTo>
                <a:lnTo>
                  <a:pt x="3588" y="2018"/>
                </a:lnTo>
                <a:lnTo>
                  <a:pt x="3590" y="2018"/>
                </a:lnTo>
                <a:lnTo>
                  <a:pt x="3596" y="2016"/>
                </a:lnTo>
                <a:close/>
                <a:moveTo>
                  <a:pt x="3554" y="2010"/>
                </a:moveTo>
                <a:lnTo>
                  <a:pt x="3554" y="2010"/>
                </a:lnTo>
                <a:lnTo>
                  <a:pt x="3558" y="2004"/>
                </a:lnTo>
                <a:lnTo>
                  <a:pt x="3560" y="2000"/>
                </a:lnTo>
                <a:lnTo>
                  <a:pt x="3560" y="1998"/>
                </a:lnTo>
                <a:lnTo>
                  <a:pt x="3558" y="1998"/>
                </a:lnTo>
                <a:lnTo>
                  <a:pt x="3556" y="2002"/>
                </a:lnTo>
                <a:lnTo>
                  <a:pt x="3550" y="2002"/>
                </a:lnTo>
                <a:lnTo>
                  <a:pt x="3544" y="2004"/>
                </a:lnTo>
                <a:lnTo>
                  <a:pt x="3542" y="2006"/>
                </a:lnTo>
                <a:lnTo>
                  <a:pt x="3542" y="2010"/>
                </a:lnTo>
                <a:lnTo>
                  <a:pt x="3542" y="2014"/>
                </a:lnTo>
                <a:lnTo>
                  <a:pt x="3544" y="2014"/>
                </a:lnTo>
                <a:lnTo>
                  <a:pt x="3554" y="2010"/>
                </a:lnTo>
                <a:close/>
                <a:moveTo>
                  <a:pt x="4022" y="1754"/>
                </a:moveTo>
                <a:lnTo>
                  <a:pt x="4022" y="1754"/>
                </a:lnTo>
                <a:lnTo>
                  <a:pt x="4028" y="1754"/>
                </a:lnTo>
                <a:lnTo>
                  <a:pt x="4036" y="1748"/>
                </a:lnTo>
                <a:lnTo>
                  <a:pt x="4038" y="1744"/>
                </a:lnTo>
                <a:lnTo>
                  <a:pt x="4038" y="1740"/>
                </a:lnTo>
                <a:lnTo>
                  <a:pt x="4038" y="1736"/>
                </a:lnTo>
                <a:lnTo>
                  <a:pt x="4034" y="1734"/>
                </a:lnTo>
                <a:lnTo>
                  <a:pt x="4030" y="1732"/>
                </a:lnTo>
                <a:lnTo>
                  <a:pt x="4026" y="1734"/>
                </a:lnTo>
                <a:lnTo>
                  <a:pt x="4022" y="1736"/>
                </a:lnTo>
                <a:lnTo>
                  <a:pt x="4020" y="1740"/>
                </a:lnTo>
                <a:lnTo>
                  <a:pt x="4018" y="1746"/>
                </a:lnTo>
                <a:lnTo>
                  <a:pt x="4016" y="1750"/>
                </a:lnTo>
                <a:lnTo>
                  <a:pt x="4018" y="1754"/>
                </a:lnTo>
                <a:lnTo>
                  <a:pt x="4022" y="1754"/>
                </a:lnTo>
                <a:close/>
                <a:moveTo>
                  <a:pt x="4738" y="4884"/>
                </a:moveTo>
                <a:lnTo>
                  <a:pt x="4738" y="4884"/>
                </a:lnTo>
                <a:lnTo>
                  <a:pt x="4736" y="4888"/>
                </a:lnTo>
                <a:lnTo>
                  <a:pt x="4738" y="4892"/>
                </a:lnTo>
                <a:lnTo>
                  <a:pt x="4742" y="4896"/>
                </a:lnTo>
                <a:lnTo>
                  <a:pt x="4746" y="4896"/>
                </a:lnTo>
                <a:lnTo>
                  <a:pt x="4746" y="4894"/>
                </a:lnTo>
                <a:lnTo>
                  <a:pt x="4746" y="4890"/>
                </a:lnTo>
                <a:lnTo>
                  <a:pt x="4742" y="4884"/>
                </a:lnTo>
                <a:lnTo>
                  <a:pt x="4740" y="4884"/>
                </a:lnTo>
                <a:lnTo>
                  <a:pt x="4738" y="4884"/>
                </a:lnTo>
                <a:close/>
                <a:moveTo>
                  <a:pt x="4752" y="4972"/>
                </a:moveTo>
                <a:lnTo>
                  <a:pt x="4752" y="4972"/>
                </a:lnTo>
                <a:lnTo>
                  <a:pt x="4754" y="4968"/>
                </a:lnTo>
                <a:lnTo>
                  <a:pt x="4756" y="4962"/>
                </a:lnTo>
                <a:lnTo>
                  <a:pt x="4754" y="4958"/>
                </a:lnTo>
                <a:lnTo>
                  <a:pt x="4752" y="4958"/>
                </a:lnTo>
                <a:lnTo>
                  <a:pt x="4750" y="4958"/>
                </a:lnTo>
                <a:lnTo>
                  <a:pt x="4748" y="4960"/>
                </a:lnTo>
                <a:lnTo>
                  <a:pt x="4746" y="4964"/>
                </a:lnTo>
                <a:lnTo>
                  <a:pt x="4744" y="4968"/>
                </a:lnTo>
                <a:lnTo>
                  <a:pt x="4748" y="4972"/>
                </a:lnTo>
                <a:lnTo>
                  <a:pt x="4752" y="4972"/>
                </a:lnTo>
                <a:close/>
                <a:moveTo>
                  <a:pt x="4742" y="4980"/>
                </a:moveTo>
                <a:lnTo>
                  <a:pt x="4742" y="4980"/>
                </a:lnTo>
                <a:lnTo>
                  <a:pt x="4744" y="4978"/>
                </a:lnTo>
                <a:lnTo>
                  <a:pt x="4746" y="4976"/>
                </a:lnTo>
                <a:lnTo>
                  <a:pt x="4742" y="4966"/>
                </a:lnTo>
                <a:lnTo>
                  <a:pt x="4740" y="4962"/>
                </a:lnTo>
                <a:lnTo>
                  <a:pt x="4740" y="4964"/>
                </a:lnTo>
                <a:lnTo>
                  <a:pt x="4740" y="4970"/>
                </a:lnTo>
                <a:lnTo>
                  <a:pt x="4738" y="4974"/>
                </a:lnTo>
                <a:lnTo>
                  <a:pt x="4738" y="4976"/>
                </a:lnTo>
                <a:lnTo>
                  <a:pt x="4738" y="4980"/>
                </a:lnTo>
                <a:lnTo>
                  <a:pt x="4742" y="4980"/>
                </a:lnTo>
                <a:close/>
                <a:moveTo>
                  <a:pt x="4710" y="4996"/>
                </a:moveTo>
                <a:lnTo>
                  <a:pt x="4710" y="4996"/>
                </a:lnTo>
                <a:lnTo>
                  <a:pt x="4706" y="5000"/>
                </a:lnTo>
                <a:lnTo>
                  <a:pt x="4702" y="5006"/>
                </a:lnTo>
                <a:lnTo>
                  <a:pt x="4702" y="5010"/>
                </a:lnTo>
                <a:lnTo>
                  <a:pt x="4702" y="5012"/>
                </a:lnTo>
                <a:lnTo>
                  <a:pt x="4704" y="5012"/>
                </a:lnTo>
                <a:lnTo>
                  <a:pt x="4706" y="5008"/>
                </a:lnTo>
                <a:lnTo>
                  <a:pt x="4710" y="5002"/>
                </a:lnTo>
                <a:lnTo>
                  <a:pt x="4710" y="4998"/>
                </a:lnTo>
                <a:lnTo>
                  <a:pt x="4710" y="4996"/>
                </a:lnTo>
                <a:close/>
                <a:moveTo>
                  <a:pt x="4722" y="5018"/>
                </a:moveTo>
                <a:lnTo>
                  <a:pt x="4722" y="5018"/>
                </a:lnTo>
                <a:lnTo>
                  <a:pt x="4720" y="5018"/>
                </a:lnTo>
                <a:lnTo>
                  <a:pt x="4716" y="5020"/>
                </a:lnTo>
                <a:lnTo>
                  <a:pt x="4714" y="5024"/>
                </a:lnTo>
                <a:lnTo>
                  <a:pt x="4714" y="5026"/>
                </a:lnTo>
                <a:lnTo>
                  <a:pt x="4714" y="5028"/>
                </a:lnTo>
                <a:lnTo>
                  <a:pt x="4718" y="5026"/>
                </a:lnTo>
                <a:lnTo>
                  <a:pt x="4720" y="5024"/>
                </a:lnTo>
                <a:lnTo>
                  <a:pt x="4722" y="5022"/>
                </a:lnTo>
                <a:lnTo>
                  <a:pt x="4722" y="5018"/>
                </a:lnTo>
                <a:close/>
                <a:moveTo>
                  <a:pt x="4720" y="5008"/>
                </a:moveTo>
                <a:lnTo>
                  <a:pt x="4720" y="5008"/>
                </a:lnTo>
                <a:lnTo>
                  <a:pt x="4716" y="5008"/>
                </a:lnTo>
                <a:lnTo>
                  <a:pt x="4714" y="5012"/>
                </a:lnTo>
                <a:lnTo>
                  <a:pt x="4712" y="5014"/>
                </a:lnTo>
                <a:lnTo>
                  <a:pt x="4714" y="5016"/>
                </a:lnTo>
                <a:lnTo>
                  <a:pt x="4716" y="5014"/>
                </a:lnTo>
                <a:lnTo>
                  <a:pt x="4718" y="5012"/>
                </a:lnTo>
                <a:lnTo>
                  <a:pt x="4720" y="5010"/>
                </a:lnTo>
                <a:lnTo>
                  <a:pt x="4720" y="5008"/>
                </a:lnTo>
                <a:close/>
                <a:moveTo>
                  <a:pt x="4746" y="4952"/>
                </a:moveTo>
                <a:lnTo>
                  <a:pt x="4746" y="4952"/>
                </a:lnTo>
                <a:lnTo>
                  <a:pt x="4746" y="4954"/>
                </a:lnTo>
                <a:lnTo>
                  <a:pt x="4748" y="4954"/>
                </a:lnTo>
                <a:lnTo>
                  <a:pt x="4752" y="4952"/>
                </a:lnTo>
                <a:lnTo>
                  <a:pt x="4754" y="4950"/>
                </a:lnTo>
                <a:lnTo>
                  <a:pt x="4756" y="4948"/>
                </a:lnTo>
                <a:lnTo>
                  <a:pt x="4754" y="4946"/>
                </a:lnTo>
                <a:lnTo>
                  <a:pt x="4752" y="4948"/>
                </a:lnTo>
                <a:lnTo>
                  <a:pt x="4748" y="4950"/>
                </a:lnTo>
                <a:lnTo>
                  <a:pt x="4746" y="4952"/>
                </a:lnTo>
                <a:close/>
                <a:moveTo>
                  <a:pt x="6938" y="500"/>
                </a:moveTo>
                <a:lnTo>
                  <a:pt x="6938" y="500"/>
                </a:lnTo>
                <a:lnTo>
                  <a:pt x="6940" y="502"/>
                </a:lnTo>
                <a:lnTo>
                  <a:pt x="6942" y="504"/>
                </a:lnTo>
                <a:lnTo>
                  <a:pt x="6942" y="508"/>
                </a:lnTo>
                <a:lnTo>
                  <a:pt x="6944" y="510"/>
                </a:lnTo>
                <a:lnTo>
                  <a:pt x="6946" y="510"/>
                </a:lnTo>
                <a:lnTo>
                  <a:pt x="6958" y="506"/>
                </a:lnTo>
                <a:lnTo>
                  <a:pt x="6974" y="504"/>
                </a:lnTo>
                <a:lnTo>
                  <a:pt x="6990" y="502"/>
                </a:lnTo>
                <a:lnTo>
                  <a:pt x="6996" y="502"/>
                </a:lnTo>
                <a:lnTo>
                  <a:pt x="7000" y="500"/>
                </a:lnTo>
                <a:lnTo>
                  <a:pt x="7002" y="496"/>
                </a:lnTo>
                <a:lnTo>
                  <a:pt x="7002" y="490"/>
                </a:lnTo>
                <a:lnTo>
                  <a:pt x="7000" y="484"/>
                </a:lnTo>
                <a:lnTo>
                  <a:pt x="6996" y="480"/>
                </a:lnTo>
                <a:lnTo>
                  <a:pt x="6992" y="476"/>
                </a:lnTo>
                <a:lnTo>
                  <a:pt x="6984" y="474"/>
                </a:lnTo>
                <a:lnTo>
                  <a:pt x="6968" y="474"/>
                </a:lnTo>
                <a:lnTo>
                  <a:pt x="6950" y="478"/>
                </a:lnTo>
                <a:lnTo>
                  <a:pt x="6934" y="482"/>
                </a:lnTo>
                <a:lnTo>
                  <a:pt x="6924" y="486"/>
                </a:lnTo>
                <a:lnTo>
                  <a:pt x="6922" y="488"/>
                </a:lnTo>
                <a:lnTo>
                  <a:pt x="6924" y="490"/>
                </a:lnTo>
                <a:lnTo>
                  <a:pt x="6938" y="500"/>
                </a:lnTo>
                <a:close/>
                <a:moveTo>
                  <a:pt x="7100" y="536"/>
                </a:moveTo>
                <a:lnTo>
                  <a:pt x="7100" y="536"/>
                </a:lnTo>
                <a:lnTo>
                  <a:pt x="7092" y="534"/>
                </a:lnTo>
                <a:lnTo>
                  <a:pt x="7086" y="534"/>
                </a:lnTo>
                <a:lnTo>
                  <a:pt x="7078" y="536"/>
                </a:lnTo>
                <a:lnTo>
                  <a:pt x="7072" y="538"/>
                </a:lnTo>
                <a:lnTo>
                  <a:pt x="7066" y="538"/>
                </a:lnTo>
                <a:lnTo>
                  <a:pt x="7058" y="536"/>
                </a:lnTo>
                <a:lnTo>
                  <a:pt x="7048" y="530"/>
                </a:lnTo>
                <a:lnTo>
                  <a:pt x="7040" y="526"/>
                </a:lnTo>
                <a:lnTo>
                  <a:pt x="7038" y="520"/>
                </a:lnTo>
                <a:lnTo>
                  <a:pt x="7040" y="518"/>
                </a:lnTo>
                <a:lnTo>
                  <a:pt x="7046" y="514"/>
                </a:lnTo>
                <a:lnTo>
                  <a:pt x="7054" y="510"/>
                </a:lnTo>
                <a:lnTo>
                  <a:pt x="7054" y="508"/>
                </a:lnTo>
                <a:lnTo>
                  <a:pt x="7050" y="506"/>
                </a:lnTo>
                <a:lnTo>
                  <a:pt x="7038" y="504"/>
                </a:lnTo>
                <a:lnTo>
                  <a:pt x="7020" y="504"/>
                </a:lnTo>
                <a:lnTo>
                  <a:pt x="7000" y="506"/>
                </a:lnTo>
                <a:lnTo>
                  <a:pt x="6980" y="508"/>
                </a:lnTo>
                <a:lnTo>
                  <a:pt x="6964" y="512"/>
                </a:lnTo>
                <a:lnTo>
                  <a:pt x="6958" y="514"/>
                </a:lnTo>
                <a:lnTo>
                  <a:pt x="6954" y="516"/>
                </a:lnTo>
                <a:lnTo>
                  <a:pt x="6954" y="518"/>
                </a:lnTo>
                <a:lnTo>
                  <a:pt x="6956" y="522"/>
                </a:lnTo>
                <a:lnTo>
                  <a:pt x="6960" y="526"/>
                </a:lnTo>
                <a:lnTo>
                  <a:pt x="6970" y="528"/>
                </a:lnTo>
                <a:lnTo>
                  <a:pt x="6976" y="532"/>
                </a:lnTo>
                <a:lnTo>
                  <a:pt x="6976" y="534"/>
                </a:lnTo>
                <a:lnTo>
                  <a:pt x="6976" y="536"/>
                </a:lnTo>
                <a:lnTo>
                  <a:pt x="6970" y="542"/>
                </a:lnTo>
                <a:lnTo>
                  <a:pt x="6956" y="554"/>
                </a:lnTo>
                <a:lnTo>
                  <a:pt x="6950" y="560"/>
                </a:lnTo>
                <a:lnTo>
                  <a:pt x="6946" y="564"/>
                </a:lnTo>
                <a:lnTo>
                  <a:pt x="6948" y="566"/>
                </a:lnTo>
                <a:lnTo>
                  <a:pt x="6954" y="568"/>
                </a:lnTo>
                <a:lnTo>
                  <a:pt x="6972" y="566"/>
                </a:lnTo>
                <a:lnTo>
                  <a:pt x="6998" y="564"/>
                </a:lnTo>
                <a:lnTo>
                  <a:pt x="7010" y="564"/>
                </a:lnTo>
                <a:lnTo>
                  <a:pt x="7012" y="566"/>
                </a:lnTo>
                <a:lnTo>
                  <a:pt x="7014" y="568"/>
                </a:lnTo>
                <a:lnTo>
                  <a:pt x="7014" y="572"/>
                </a:lnTo>
                <a:lnTo>
                  <a:pt x="7012" y="578"/>
                </a:lnTo>
                <a:lnTo>
                  <a:pt x="7010" y="582"/>
                </a:lnTo>
                <a:lnTo>
                  <a:pt x="7010" y="584"/>
                </a:lnTo>
                <a:lnTo>
                  <a:pt x="7012" y="584"/>
                </a:lnTo>
                <a:lnTo>
                  <a:pt x="7020" y="582"/>
                </a:lnTo>
                <a:lnTo>
                  <a:pt x="7034" y="578"/>
                </a:lnTo>
                <a:lnTo>
                  <a:pt x="7062" y="566"/>
                </a:lnTo>
                <a:lnTo>
                  <a:pt x="7088" y="556"/>
                </a:lnTo>
                <a:lnTo>
                  <a:pt x="7096" y="550"/>
                </a:lnTo>
                <a:lnTo>
                  <a:pt x="7102" y="546"/>
                </a:lnTo>
                <a:lnTo>
                  <a:pt x="7104" y="544"/>
                </a:lnTo>
                <a:lnTo>
                  <a:pt x="7104" y="540"/>
                </a:lnTo>
                <a:lnTo>
                  <a:pt x="7102" y="538"/>
                </a:lnTo>
                <a:lnTo>
                  <a:pt x="7100" y="536"/>
                </a:lnTo>
                <a:close/>
                <a:moveTo>
                  <a:pt x="13128" y="7142"/>
                </a:moveTo>
                <a:lnTo>
                  <a:pt x="13128" y="7142"/>
                </a:lnTo>
                <a:lnTo>
                  <a:pt x="13130" y="7134"/>
                </a:lnTo>
                <a:lnTo>
                  <a:pt x="13130" y="7128"/>
                </a:lnTo>
                <a:lnTo>
                  <a:pt x="13130" y="7124"/>
                </a:lnTo>
                <a:lnTo>
                  <a:pt x="13126" y="7122"/>
                </a:lnTo>
                <a:lnTo>
                  <a:pt x="13120" y="7120"/>
                </a:lnTo>
                <a:lnTo>
                  <a:pt x="13114" y="7122"/>
                </a:lnTo>
                <a:lnTo>
                  <a:pt x="13104" y="7126"/>
                </a:lnTo>
                <a:lnTo>
                  <a:pt x="13096" y="7134"/>
                </a:lnTo>
                <a:lnTo>
                  <a:pt x="13088" y="7140"/>
                </a:lnTo>
                <a:lnTo>
                  <a:pt x="13084" y="7140"/>
                </a:lnTo>
                <a:lnTo>
                  <a:pt x="13082" y="7138"/>
                </a:lnTo>
                <a:lnTo>
                  <a:pt x="13080" y="7132"/>
                </a:lnTo>
                <a:lnTo>
                  <a:pt x="13082" y="7120"/>
                </a:lnTo>
                <a:lnTo>
                  <a:pt x="13080" y="7116"/>
                </a:lnTo>
                <a:lnTo>
                  <a:pt x="13078" y="7112"/>
                </a:lnTo>
                <a:lnTo>
                  <a:pt x="13072" y="7112"/>
                </a:lnTo>
                <a:lnTo>
                  <a:pt x="13068" y="7110"/>
                </a:lnTo>
                <a:lnTo>
                  <a:pt x="13070" y="7106"/>
                </a:lnTo>
                <a:lnTo>
                  <a:pt x="13074" y="7102"/>
                </a:lnTo>
                <a:lnTo>
                  <a:pt x="13078" y="7100"/>
                </a:lnTo>
                <a:lnTo>
                  <a:pt x="13078" y="7098"/>
                </a:lnTo>
                <a:lnTo>
                  <a:pt x="13078" y="7096"/>
                </a:lnTo>
                <a:lnTo>
                  <a:pt x="13076" y="7094"/>
                </a:lnTo>
                <a:lnTo>
                  <a:pt x="13072" y="7094"/>
                </a:lnTo>
                <a:lnTo>
                  <a:pt x="13066" y="7096"/>
                </a:lnTo>
                <a:lnTo>
                  <a:pt x="13058" y="7100"/>
                </a:lnTo>
                <a:lnTo>
                  <a:pt x="13050" y="7106"/>
                </a:lnTo>
                <a:lnTo>
                  <a:pt x="13046" y="7114"/>
                </a:lnTo>
                <a:lnTo>
                  <a:pt x="13044" y="7120"/>
                </a:lnTo>
                <a:lnTo>
                  <a:pt x="13044" y="7136"/>
                </a:lnTo>
                <a:lnTo>
                  <a:pt x="13044" y="7142"/>
                </a:lnTo>
                <a:lnTo>
                  <a:pt x="13042" y="7150"/>
                </a:lnTo>
                <a:lnTo>
                  <a:pt x="13036" y="7156"/>
                </a:lnTo>
                <a:lnTo>
                  <a:pt x="13028" y="7160"/>
                </a:lnTo>
                <a:lnTo>
                  <a:pt x="13022" y="7164"/>
                </a:lnTo>
                <a:lnTo>
                  <a:pt x="13016" y="7174"/>
                </a:lnTo>
                <a:lnTo>
                  <a:pt x="13006" y="7196"/>
                </a:lnTo>
                <a:lnTo>
                  <a:pt x="12994" y="7220"/>
                </a:lnTo>
                <a:lnTo>
                  <a:pt x="12988" y="7228"/>
                </a:lnTo>
                <a:lnTo>
                  <a:pt x="12982" y="7236"/>
                </a:lnTo>
                <a:lnTo>
                  <a:pt x="12968" y="7246"/>
                </a:lnTo>
                <a:lnTo>
                  <a:pt x="12956" y="7258"/>
                </a:lnTo>
                <a:lnTo>
                  <a:pt x="12946" y="7266"/>
                </a:lnTo>
                <a:lnTo>
                  <a:pt x="12940" y="7270"/>
                </a:lnTo>
                <a:lnTo>
                  <a:pt x="12934" y="7272"/>
                </a:lnTo>
                <a:lnTo>
                  <a:pt x="12930" y="7272"/>
                </a:lnTo>
                <a:lnTo>
                  <a:pt x="12926" y="7276"/>
                </a:lnTo>
                <a:lnTo>
                  <a:pt x="12922" y="7282"/>
                </a:lnTo>
                <a:lnTo>
                  <a:pt x="12916" y="7288"/>
                </a:lnTo>
                <a:lnTo>
                  <a:pt x="12912" y="7288"/>
                </a:lnTo>
                <a:lnTo>
                  <a:pt x="12906" y="7290"/>
                </a:lnTo>
                <a:lnTo>
                  <a:pt x="12900" y="7290"/>
                </a:lnTo>
                <a:lnTo>
                  <a:pt x="12894" y="7294"/>
                </a:lnTo>
                <a:lnTo>
                  <a:pt x="12888" y="7300"/>
                </a:lnTo>
                <a:lnTo>
                  <a:pt x="12882" y="7306"/>
                </a:lnTo>
                <a:lnTo>
                  <a:pt x="12870" y="7322"/>
                </a:lnTo>
                <a:lnTo>
                  <a:pt x="12856" y="7336"/>
                </a:lnTo>
                <a:lnTo>
                  <a:pt x="12844" y="7350"/>
                </a:lnTo>
                <a:lnTo>
                  <a:pt x="12834" y="7362"/>
                </a:lnTo>
                <a:lnTo>
                  <a:pt x="12830" y="7368"/>
                </a:lnTo>
                <a:lnTo>
                  <a:pt x="12828" y="7372"/>
                </a:lnTo>
                <a:lnTo>
                  <a:pt x="12826" y="7378"/>
                </a:lnTo>
                <a:lnTo>
                  <a:pt x="12828" y="7384"/>
                </a:lnTo>
                <a:lnTo>
                  <a:pt x="12830" y="7388"/>
                </a:lnTo>
                <a:lnTo>
                  <a:pt x="12828" y="7392"/>
                </a:lnTo>
                <a:lnTo>
                  <a:pt x="12822" y="7396"/>
                </a:lnTo>
                <a:lnTo>
                  <a:pt x="12816" y="7400"/>
                </a:lnTo>
                <a:lnTo>
                  <a:pt x="12816" y="7402"/>
                </a:lnTo>
                <a:lnTo>
                  <a:pt x="12816" y="7406"/>
                </a:lnTo>
                <a:lnTo>
                  <a:pt x="12824" y="7416"/>
                </a:lnTo>
                <a:lnTo>
                  <a:pt x="12832" y="7422"/>
                </a:lnTo>
                <a:lnTo>
                  <a:pt x="12838" y="7422"/>
                </a:lnTo>
                <a:lnTo>
                  <a:pt x="12844" y="7422"/>
                </a:lnTo>
                <a:lnTo>
                  <a:pt x="12848" y="7420"/>
                </a:lnTo>
                <a:lnTo>
                  <a:pt x="12854" y="7418"/>
                </a:lnTo>
                <a:lnTo>
                  <a:pt x="12860" y="7414"/>
                </a:lnTo>
                <a:lnTo>
                  <a:pt x="12862" y="7414"/>
                </a:lnTo>
                <a:lnTo>
                  <a:pt x="12864" y="7416"/>
                </a:lnTo>
                <a:lnTo>
                  <a:pt x="12866" y="7418"/>
                </a:lnTo>
                <a:lnTo>
                  <a:pt x="12870" y="7424"/>
                </a:lnTo>
                <a:lnTo>
                  <a:pt x="12872" y="7426"/>
                </a:lnTo>
                <a:lnTo>
                  <a:pt x="12878" y="7426"/>
                </a:lnTo>
                <a:lnTo>
                  <a:pt x="12884" y="7426"/>
                </a:lnTo>
                <a:lnTo>
                  <a:pt x="12886" y="7428"/>
                </a:lnTo>
                <a:lnTo>
                  <a:pt x="12888" y="7432"/>
                </a:lnTo>
                <a:lnTo>
                  <a:pt x="12888" y="7436"/>
                </a:lnTo>
                <a:lnTo>
                  <a:pt x="12890" y="7438"/>
                </a:lnTo>
                <a:lnTo>
                  <a:pt x="12896" y="7440"/>
                </a:lnTo>
                <a:lnTo>
                  <a:pt x="12902" y="7442"/>
                </a:lnTo>
                <a:lnTo>
                  <a:pt x="12918" y="7444"/>
                </a:lnTo>
                <a:lnTo>
                  <a:pt x="12926" y="7444"/>
                </a:lnTo>
                <a:lnTo>
                  <a:pt x="12932" y="7444"/>
                </a:lnTo>
                <a:lnTo>
                  <a:pt x="12938" y="7440"/>
                </a:lnTo>
                <a:lnTo>
                  <a:pt x="12946" y="7436"/>
                </a:lnTo>
                <a:lnTo>
                  <a:pt x="12952" y="7430"/>
                </a:lnTo>
                <a:lnTo>
                  <a:pt x="12958" y="7420"/>
                </a:lnTo>
                <a:lnTo>
                  <a:pt x="12966" y="7412"/>
                </a:lnTo>
                <a:lnTo>
                  <a:pt x="12972" y="7406"/>
                </a:lnTo>
                <a:lnTo>
                  <a:pt x="12978" y="7402"/>
                </a:lnTo>
                <a:lnTo>
                  <a:pt x="12984" y="7400"/>
                </a:lnTo>
                <a:lnTo>
                  <a:pt x="12990" y="7396"/>
                </a:lnTo>
                <a:lnTo>
                  <a:pt x="12992" y="7394"/>
                </a:lnTo>
                <a:lnTo>
                  <a:pt x="12990" y="7390"/>
                </a:lnTo>
                <a:lnTo>
                  <a:pt x="12988" y="7386"/>
                </a:lnTo>
                <a:lnTo>
                  <a:pt x="12988" y="7380"/>
                </a:lnTo>
                <a:lnTo>
                  <a:pt x="12996" y="7368"/>
                </a:lnTo>
                <a:lnTo>
                  <a:pt x="13004" y="7350"/>
                </a:lnTo>
                <a:lnTo>
                  <a:pt x="13006" y="7340"/>
                </a:lnTo>
                <a:lnTo>
                  <a:pt x="13008" y="7328"/>
                </a:lnTo>
                <a:lnTo>
                  <a:pt x="13010" y="7316"/>
                </a:lnTo>
                <a:lnTo>
                  <a:pt x="13016" y="7306"/>
                </a:lnTo>
                <a:lnTo>
                  <a:pt x="13024" y="7298"/>
                </a:lnTo>
                <a:lnTo>
                  <a:pt x="13034" y="7292"/>
                </a:lnTo>
                <a:lnTo>
                  <a:pt x="13046" y="7288"/>
                </a:lnTo>
                <a:lnTo>
                  <a:pt x="13056" y="7284"/>
                </a:lnTo>
                <a:lnTo>
                  <a:pt x="13064" y="7284"/>
                </a:lnTo>
                <a:lnTo>
                  <a:pt x="13070" y="7286"/>
                </a:lnTo>
                <a:lnTo>
                  <a:pt x="13076" y="7286"/>
                </a:lnTo>
                <a:lnTo>
                  <a:pt x="13080" y="7286"/>
                </a:lnTo>
                <a:lnTo>
                  <a:pt x="13084" y="7284"/>
                </a:lnTo>
                <a:lnTo>
                  <a:pt x="13086" y="7282"/>
                </a:lnTo>
                <a:lnTo>
                  <a:pt x="13088" y="7278"/>
                </a:lnTo>
                <a:lnTo>
                  <a:pt x="13088" y="7274"/>
                </a:lnTo>
                <a:lnTo>
                  <a:pt x="13086" y="7272"/>
                </a:lnTo>
                <a:lnTo>
                  <a:pt x="13080" y="7270"/>
                </a:lnTo>
                <a:lnTo>
                  <a:pt x="13076" y="7266"/>
                </a:lnTo>
                <a:lnTo>
                  <a:pt x="13072" y="7264"/>
                </a:lnTo>
                <a:lnTo>
                  <a:pt x="13070" y="7258"/>
                </a:lnTo>
                <a:lnTo>
                  <a:pt x="13070" y="7252"/>
                </a:lnTo>
                <a:lnTo>
                  <a:pt x="13070" y="7248"/>
                </a:lnTo>
                <a:lnTo>
                  <a:pt x="13074" y="7244"/>
                </a:lnTo>
                <a:lnTo>
                  <a:pt x="13076" y="7240"/>
                </a:lnTo>
                <a:lnTo>
                  <a:pt x="13082" y="7238"/>
                </a:lnTo>
                <a:lnTo>
                  <a:pt x="13086" y="7236"/>
                </a:lnTo>
                <a:lnTo>
                  <a:pt x="13090" y="7232"/>
                </a:lnTo>
                <a:lnTo>
                  <a:pt x="13100" y="7218"/>
                </a:lnTo>
                <a:lnTo>
                  <a:pt x="13110" y="7200"/>
                </a:lnTo>
                <a:lnTo>
                  <a:pt x="13126" y="7178"/>
                </a:lnTo>
                <a:lnTo>
                  <a:pt x="13132" y="7170"/>
                </a:lnTo>
                <a:lnTo>
                  <a:pt x="13134" y="7164"/>
                </a:lnTo>
                <a:lnTo>
                  <a:pt x="13132" y="7160"/>
                </a:lnTo>
                <a:lnTo>
                  <a:pt x="13130" y="7158"/>
                </a:lnTo>
                <a:lnTo>
                  <a:pt x="13128" y="7156"/>
                </a:lnTo>
                <a:lnTo>
                  <a:pt x="13124" y="7152"/>
                </a:lnTo>
                <a:lnTo>
                  <a:pt x="13124" y="7148"/>
                </a:lnTo>
                <a:lnTo>
                  <a:pt x="13128" y="7142"/>
                </a:lnTo>
                <a:close/>
                <a:moveTo>
                  <a:pt x="13270" y="6944"/>
                </a:moveTo>
                <a:lnTo>
                  <a:pt x="13270" y="6944"/>
                </a:lnTo>
                <a:lnTo>
                  <a:pt x="13266" y="6950"/>
                </a:lnTo>
                <a:lnTo>
                  <a:pt x="13262" y="6954"/>
                </a:lnTo>
                <a:lnTo>
                  <a:pt x="13258" y="6956"/>
                </a:lnTo>
                <a:lnTo>
                  <a:pt x="13250" y="6958"/>
                </a:lnTo>
                <a:lnTo>
                  <a:pt x="13244" y="6956"/>
                </a:lnTo>
                <a:lnTo>
                  <a:pt x="13236" y="6954"/>
                </a:lnTo>
                <a:lnTo>
                  <a:pt x="13218" y="6946"/>
                </a:lnTo>
                <a:lnTo>
                  <a:pt x="13210" y="6940"/>
                </a:lnTo>
                <a:lnTo>
                  <a:pt x="13204" y="6932"/>
                </a:lnTo>
                <a:lnTo>
                  <a:pt x="13200" y="6924"/>
                </a:lnTo>
                <a:lnTo>
                  <a:pt x="13198" y="6914"/>
                </a:lnTo>
                <a:lnTo>
                  <a:pt x="13192" y="6896"/>
                </a:lnTo>
                <a:lnTo>
                  <a:pt x="13190" y="6888"/>
                </a:lnTo>
                <a:lnTo>
                  <a:pt x="13184" y="6880"/>
                </a:lnTo>
                <a:lnTo>
                  <a:pt x="13178" y="6874"/>
                </a:lnTo>
                <a:lnTo>
                  <a:pt x="13176" y="6872"/>
                </a:lnTo>
                <a:lnTo>
                  <a:pt x="13174" y="6874"/>
                </a:lnTo>
                <a:lnTo>
                  <a:pt x="13174" y="6878"/>
                </a:lnTo>
                <a:lnTo>
                  <a:pt x="13176" y="6890"/>
                </a:lnTo>
                <a:lnTo>
                  <a:pt x="13184" y="6908"/>
                </a:lnTo>
                <a:lnTo>
                  <a:pt x="13184" y="6914"/>
                </a:lnTo>
                <a:lnTo>
                  <a:pt x="13182" y="6914"/>
                </a:lnTo>
                <a:lnTo>
                  <a:pt x="13176" y="6912"/>
                </a:lnTo>
                <a:lnTo>
                  <a:pt x="13168" y="6908"/>
                </a:lnTo>
                <a:lnTo>
                  <a:pt x="13162" y="6900"/>
                </a:lnTo>
                <a:lnTo>
                  <a:pt x="13156" y="6892"/>
                </a:lnTo>
                <a:lnTo>
                  <a:pt x="13152" y="6884"/>
                </a:lnTo>
                <a:lnTo>
                  <a:pt x="13152" y="6876"/>
                </a:lnTo>
                <a:lnTo>
                  <a:pt x="13152" y="6870"/>
                </a:lnTo>
                <a:lnTo>
                  <a:pt x="13152" y="6864"/>
                </a:lnTo>
                <a:lnTo>
                  <a:pt x="13148" y="6856"/>
                </a:lnTo>
                <a:lnTo>
                  <a:pt x="13144" y="6850"/>
                </a:lnTo>
                <a:lnTo>
                  <a:pt x="13142" y="6846"/>
                </a:lnTo>
                <a:lnTo>
                  <a:pt x="13142" y="6842"/>
                </a:lnTo>
                <a:lnTo>
                  <a:pt x="13142" y="6832"/>
                </a:lnTo>
                <a:lnTo>
                  <a:pt x="13140" y="6826"/>
                </a:lnTo>
                <a:lnTo>
                  <a:pt x="13138" y="6818"/>
                </a:lnTo>
                <a:lnTo>
                  <a:pt x="13132" y="6810"/>
                </a:lnTo>
                <a:lnTo>
                  <a:pt x="13124" y="6802"/>
                </a:lnTo>
                <a:lnTo>
                  <a:pt x="13118" y="6796"/>
                </a:lnTo>
                <a:lnTo>
                  <a:pt x="13110" y="6794"/>
                </a:lnTo>
                <a:lnTo>
                  <a:pt x="13100" y="6792"/>
                </a:lnTo>
                <a:lnTo>
                  <a:pt x="13096" y="6790"/>
                </a:lnTo>
                <a:lnTo>
                  <a:pt x="13092" y="6786"/>
                </a:lnTo>
                <a:lnTo>
                  <a:pt x="13088" y="6778"/>
                </a:lnTo>
                <a:lnTo>
                  <a:pt x="13082" y="6768"/>
                </a:lnTo>
                <a:lnTo>
                  <a:pt x="13078" y="6766"/>
                </a:lnTo>
                <a:lnTo>
                  <a:pt x="13074" y="6764"/>
                </a:lnTo>
                <a:lnTo>
                  <a:pt x="13064" y="6766"/>
                </a:lnTo>
                <a:lnTo>
                  <a:pt x="13064" y="6768"/>
                </a:lnTo>
                <a:lnTo>
                  <a:pt x="13070" y="6774"/>
                </a:lnTo>
                <a:lnTo>
                  <a:pt x="13080" y="6786"/>
                </a:lnTo>
                <a:lnTo>
                  <a:pt x="13084" y="6794"/>
                </a:lnTo>
                <a:lnTo>
                  <a:pt x="13086" y="6798"/>
                </a:lnTo>
                <a:lnTo>
                  <a:pt x="13086" y="6800"/>
                </a:lnTo>
                <a:lnTo>
                  <a:pt x="13086" y="6802"/>
                </a:lnTo>
                <a:lnTo>
                  <a:pt x="13084" y="6806"/>
                </a:lnTo>
                <a:lnTo>
                  <a:pt x="13090" y="6816"/>
                </a:lnTo>
                <a:lnTo>
                  <a:pt x="13096" y="6824"/>
                </a:lnTo>
                <a:lnTo>
                  <a:pt x="13102" y="6834"/>
                </a:lnTo>
                <a:lnTo>
                  <a:pt x="13110" y="6854"/>
                </a:lnTo>
                <a:lnTo>
                  <a:pt x="13116" y="6862"/>
                </a:lnTo>
                <a:lnTo>
                  <a:pt x="13120" y="6868"/>
                </a:lnTo>
                <a:lnTo>
                  <a:pt x="13122" y="6868"/>
                </a:lnTo>
                <a:lnTo>
                  <a:pt x="13126" y="6864"/>
                </a:lnTo>
                <a:lnTo>
                  <a:pt x="13128" y="6862"/>
                </a:lnTo>
                <a:lnTo>
                  <a:pt x="13130" y="6862"/>
                </a:lnTo>
                <a:lnTo>
                  <a:pt x="13134" y="6870"/>
                </a:lnTo>
                <a:lnTo>
                  <a:pt x="13136" y="6878"/>
                </a:lnTo>
                <a:lnTo>
                  <a:pt x="13136" y="6880"/>
                </a:lnTo>
                <a:lnTo>
                  <a:pt x="13134" y="6880"/>
                </a:lnTo>
                <a:lnTo>
                  <a:pt x="13128" y="6878"/>
                </a:lnTo>
                <a:lnTo>
                  <a:pt x="13130" y="6882"/>
                </a:lnTo>
                <a:lnTo>
                  <a:pt x="13144" y="6918"/>
                </a:lnTo>
                <a:lnTo>
                  <a:pt x="13150" y="6932"/>
                </a:lnTo>
                <a:lnTo>
                  <a:pt x="13152" y="6942"/>
                </a:lnTo>
                <a:lnTo>
                  <a:pt x="13152" y="6950"/>
                </a:lnTo>
                <a:lnTo>
                  <a:pt x="13152" y="6956"/>
                </a:lnTo>
                <a:lnTo>
                  <a:pt x="13148" y="6968"/>
                </a:lnTo>
                <a:lnTo>
                  <a:pt x="13146" y="6976"/>
                </a:lnTo>
                <a:lnTo>
                  <a:pt x="13146" y="6984"/>
                </a:lnTo>
                <a:lnTo>
                  <a:pt x="13146" y="6994"/>
                </a:lnTo>
                <a:lnTo>
                  <a:pt x="13142" y="7002"/>
                </a:lnTo>
                <a:lnTo>
                  <a:pt x="13138" y="7008"/>
                </a:lnTo>
                <a:lnTo>
                  <a:pt x="13130" y="7012"/>
                </a:lnTo>
                <a:lnTo>
                  <a:pt x="13118" y="7020"/>
                </a:lnTo>
                <a:lnTo>
                  <a:pt x="13112" y="7024"/>
                </a:lnTo>
                <a:lnTo>
                  <a:pt x="13110" y="7028"/>
                </a:lnTo>
                <a:lnTo>
                  <a:pt x="13110" y="7034"/>
                </a:lnTo>
                <a:lnTo>
                  <a:pt x="13114" y="7038"/>
                </a:lnTo>
                <a:lnTo>
                  <a:pt x="13126" y="7050"/>
                </a:lnTo>
                <a:lnTo>
                  <a:pt x="13144" y="7058"/>
                </a:lnTo>
                <a:lnTo>
                  <a:pt x="13158" y="7066"/>
                </a:lnTo>
                <a:lnTo>
                  <a:pt x="13164" y="7072"/>
                </a:lnTo>
                <a:lnTo>
                  <a:pt x="13166" y="7078"/>
                </a:lnTo>
                <a:lnTo>
                  <a:pt x="13168" y="7088"/>
                </a:lnTo>
                <a:lnTo>
                  <a:pt x="13166" y="7096"/>
                </a:lnTo>
                <a:lnTo>
                  <a:pt x="13162" y="7114"/>
                </a:lnTo>
                <a:lnTo>
                  <a:pt x="13158" y="7122"/>
                </a:lnTo>
                <a:lnTo>
                  <a:pt x="13154" y="7126"/>
                </a:lnTo>
                <a:lnTo>
                  <a:pt x="13148" y="7132"/>
                </a:lnTo>
                <a:lnTo>
                  <a:pt x="13144" y="7136"/>
                </a:lnTo>
                <a:lnTo>
                  <a:pt x="13144" y="7138"/>
                </a:lnTo>
                <a:lnTo>
                  <a:pt x="13146" y="7140"/>
                </a:lnTo>
                <a:lnTo>
                  <a:pt x="13158" y="7144"/>
                </a:lnTo>
                <a:lnTo>
                  <a:pt x="13162" y="7146"/>
                </a:lnTo>
                <a:lnTo>
                  <a:pt x="13164" y="7150"/>
                </a:lnTo>
                <a:lnTo>
                  <a:pt x="13168" y="7156"/>
                </a:lnTo>
                <a:lnTo>
                  <a:pt x="13170" y="7158"/>
                </a:lnTo>
                <a:lnTo>
                  <a:pt x="13172" y="7160"/>
                </a:lnTo>
                <a:lnTo>
                  <a:pt x="13176" y="7158"/>
                </a:lnTo>
                <a:lnTo>
                  <a:pt x="13182" y="7154"/>
                </a:lnTo>
                <a:lnTo>
                  <a:pt x="13190" y="7146"/>
                </a:lnTo>
                <a:lnTo>
                  <a:pt x="13200" y="7134"/>
                </a:lnTo>
                <a:lnTo>
                  <a:pt x="13222" y="7102"/>
                </a:lnTo>
                <a:lnTo>
                  <a:pt x="13232" y="7084"/>
                </a:lnTo>
                <a:lnTo>
                  <a:pt x="13238" y="7068"/>
                </a:lnTo>
                <a:lnTo>
                  <a:pt x="13242" y="7054"/>
                </a:lnTo>
                <a:lnTo>
                  <a:pt x="13240" y="7050"/>
                </a:lnTo>
                <a:lnTo>
                  <a:pt x="13238" y="7046"/>
                </a:lnTo>
                <a:lnTo>
                  <a:pt x="13238" y="7042"/>
                </a:lnTo>
                <a:lnTo>
                  <a:pt x="13238" y="7036"/>
                </a:lnTo>
                <a:lnTo>
                  <a:pt x="13240" y="7032"/>
                </a:lnTo>
                <a:lnTo>
                  <a:pt x="13244" y="7026"/>
                </a:lnTo>
                <a:lnTo>
                  <a:pt x="13250" y="7022"/>
                </a:lnTo>
                <a:lnTo>
                  <a:pt x="13258" y="7020"/>
                </a:lnTo>
                <a:lnTo>
                  <a:pt x="13264" y="7020"/>
                </a:lnTo>
                <a:lnTo>
                  <a:pt x="13274" y="7024"/>
                </a:lnTo>
                <a:lnTo>
                  <a:pt x="13280" y="7028"/>
                </a:lnTo>
                <a:lnTo>
                  <a:pt x="13282" y="7030"/>
                </a:lnTo>
                <a:lnTo>
                  <a:pt x="13282" y="7028"/>
                </a:lnTo>
                <a:lnTo>
                  <a:pt x="13282" y="7024"/>
                </a:lnTo>
                <a:lnTo>
                  <a:pt x="13280" y="7018"/>
                </a:lnTo>
                <a:lnTo>
                  <a:pt x="13280" y="7010"/>
                </a:lnTo>
                <a:lnTo>
                  <a:pt x="13278" y="7002"/>
                </a:lnTo>
                <a:lnTo>
                  <a:pt x="13280" y="6998"/>
                </a:lnTo>
                <a:lnTo>
                  <a:pt x="13282" y="6996"/>
                </a:lnTo>
                <a:lnTo>
                  <a:pt x="13286" y="6994"/>
                </a:lnTo>
                <a:lnTo>
                  <a:pt x="13290" y="6992"/>
                </a:lnTo>
                <a:lnTo>
                  <a:pt x="13294" y="6986"/>
                </a:lnTo>
                <a:lnTo>
                  <a:pt x="13296" y="6980"/>
                </a:lnTo>
                <a:lnTo>
                  <a:pt x="13296" y="6974"/>
                </a:lnTo>
                <a:lnTo>
                  <a:pt x="13298" y="6958"/>
                </a:lnTo>
                <a:lnTo>
                  <a:pt x="13298" y="6952"/>
                </a:lnTo>
                <a:lnTo>
                  <a:pt x="13300" y="6948"/>
                </a:lnTo>
                <a:lnTo>
                  <a:pt x="13302" y="6942"/>
                </a:lnTo>
                <a:lnTo>
                  <a:pt x="13300" y="6940"/>
                </a:lnTo>
                <a:lnTo>
                  <a:pt x="13296" y="6936"/>
                </a:lnTo>
                <a:lnTo>
                  <a:pt x="13292" y="6934"/>
                </a:lnTo>
                <a:lnTo>
                  <a:pt x="13286" y="6934"/>
                </a:lnTo>
                <a:lnTo>
                  <a:pt x="13280" y="6936"/>
                </a:lnTo>
                <a:lnTo>
                  <a:pt x="13274" y="6938"/>
                </a:lnTo>
                <a:lnTo>
                  <a:pt x="13270" y="6944"/>
                </a:lnTo>
                <a:close/>
                <a:moveTo>
                  <a:pt x="8116" y="5660"/>
                </a:moveTo>
                <a:lnTo>
                  <a:pt x="8116" y="5660"/>
                </a:lnTo>
                <a:lnTo>
                  <a:pt x="8110" y="5654"/>
                </a:lnTo>
                <a:lnTo>
                  <a:pt x="8106" y="5648"/>
                </a:lnTo>
                <a:lnTo>
                  <a:pt x="8102" y="5632"/>
                </a:lnTo>
                <a:lnTo>
                  <a:pt x="8100" y="5626"/>
                </a:lnTo>
                <a:lnTo>
                  <a:pt x="8096" y="5622"/>
                </a:lnTo>
                <a:lnTo>
                  <a:pt x="8094" y="5622"/>
                </a:lnTo>
                <a:lnTo>
                  <a:pt x="8090" y="5628"/>
                </a:lnTo>
                <a:lnTo>
                  <a:pt x="8084" y="5636"/>
                </a:lnTo>
                <a:lnTo>
                  <a:pt x="8082" y="5642"/>
                </a:lnTo>
                <a:lnTo>
                  <a:pt x="8080" y="5662"/>
                </a:lnTo>
                <a:lnTo>
                  <a:pt x="8078" y="5672"/>
                </a:lnTo>
                <a:lnTo>
                  <a:pt x="8076" y="5680"/>
                </a:lnTo>
                <a:lnTo>
                  <a:pt x="8072" y="5688"/>
                </a:lnTo>
                <a:lnTo>
                  <a:pt x="8070" y="5692"/>
                </a:lnTo>
                <a:lnTo>
                  <a:pt x="8062" y="5698"/>
                </a:lnTo>
                <a:lnTo>
                  <a:pt x="8052" y="5700"/>
                </a:lnTo>
                <a:lnTo>
                  <a:pt x="8040" y="5702"/>
                </a:lnTo>
                <a:lnTo>
                  <a:pt x="8036" y="5704"/>
                </a:lnTo>
                <a:lnTo>
                  <a:pt x="8038" y="5710"/>
                </a:lnTo>
                <a:lnTo>
                  <a:pt x="8042" y="5722"/>
                </a:lnTo>
                <a:lnTo>
                  <a:pt x="8042" y="5728"/>
                </a:lnTo>
                <a:lnTo>
                  <a:pt x="8040" y="5732"/>
                </a:lnTo>
                <a:lnTo>
                  <a:pt x="8030" y="5744"/>
                </a:lnTo>
                <a:lnTo>
                  <a:pt x="8010" y="5762"/>
                </a:lnTo>
                <a:lnTo>
                  <a:pt x="8000" y="5774"/>
                </a:lnTo>
                <a:lnTo>
                  <a:pt x="7992" y="5782"/>
                </a:lnTo>
                <a:lnTo>
                  <a:pt x="7982" y="5796"/>
                </a:lnTo>
                <a:lnTo>
                  <a:pt x="7976" y="5802"/>
                </a:lnTo>
                <a:lnTo>
                  <a:pt x="7970" y="5806"/>
                </a:lnTo>
                <a:lnTo>
                  <a:pt x="7958" y="5808"/>
                </a:lnTo>
                <a:lnTo>
                  <a:pt x="7942" y="5810"/>
                </a:lnTo>
                <a:lnTo>
                  <a:pt x="7934" y="5812"/>
                </a:lnTo>
                <a:lnTo>
                  <a:pt x="7930" y="5814"/>
                </a:lnTo>
                <a:lnTo>
                  <a:pt x="7926" y="5820"/>
                </a:lnTo>
                <a:lnTo>
                  <a:pt x="7924" y="5822"/>
                </a:lnTo>
                <a:lnTo>
                  <a:pt x="7922" y="5824"/>
                </a:lnTo>
                <a:lnTo>
                  <a:pt x="7918" y="5826"/>
                </a:lnTo>
                <a:lnTo>
                  <a:pt x="7910" y="5826"/>
                </a:lnTo>
                <a:lnTo>
                  <a:pt x="7904" y="5826"/>
                </a:lnTo>
                <a:lnTo>
                  <a:pt x="7902" y="5826"/>
                </a:lnTo>
                <a:lnTo>
                  <a:pt x="7900" y="5828"/>
                </a:lnTo>
                <a:lnTo>
                  <a:pt x="7900" y="5832"/>
                </a:lnTo>
                <a:lnTo>
                  <a:pt x="7898" y="5844"/>
                </a:lnTo>
                <a:lnTo>
                  <a:pt x="7896" y="5854"/>
                </a:lnTo>
                <a:lnTo>
                  <a:pt x="7890" y="5868"/>
                </a:lnTo>
                <a:lnTo>
                  <a:pt x="7884" y="5880"/>
                </a:lnTo>
                <a:lnTo>
                  <a:pt x="7882" y="5888"/>
                </a:lnTo>
                <a:lnTo>
                  <a:pt x="7882" y="5892"/>
                </a:lnTo>
                <a:lnTo>
                  <a:pt x="7882" y="5898"/>
                </a:lnTo>
                <a:lnTo>
                  <a:pt x="7886" y="5904"/>
                </a:lnTo>
                <a:lnTo>
                  <a:pt x="7886" y="5910"/>
                </a:lnTo>
                <a:lnTo>
                  <a:pt x="7886" y="5918"/>
                </a:lnTo>
                <a:lnTo>
                  <a:pt x="7884" y="5926"/>
                </a:lnTo>
                <a:lnTo>
                  <a:pt x="7886" y="5934"/>
                </a:lnTo>
                <a:lnTo>
                  <a:pt x="7888" y="5944"/>
                </a:lnTo>
                <a:lnTo>
                  <a:pt x="7892" y="5952"/>
                </a:lnTo>
                <a:lnTo>
                  <a:pt x="7892" y="5956"/>
                </a:lnTo>
                <a:lnTo>
                  <a:pt x="7892" y="5962"/>
                </a:lnTo>
                <a:lnTo>
                  <a:pt x="7892" y="5970"/>
                </a:lnTo>
                <a:lnTo>
                  <a:pt x="7894" y="5976"/>
                </a:lnTo>
                <a:lnTo>
                  <a:pt x="7898" y="5986"/>
                </a:lnTo>
                <a:lnTo>
                  <a:pt x="7902" y="6004"/>
                </a:lnTo>
                <a:lnTo>
                  <a:pt x="7902" y="6014"/>
                </a:lnTo>
                <a:lnTo>
                  <a:pt x="7900" y="6024"/>
                </a:lnTo>
                <a:lnTo>
                  <a:pt x="7898" y="6032"/>
                </a:lnTo>
                <a:lnTo>
                  <a:pt x="7894" y="6040"/>
                </a:lnTo>
                <a:lnTo>
                  <a:pt x="7884" y="6054"/>
                </a:lnTo>
                <a:lnTo>
                  <a:pt x="7880" y="6062"/>
                </a:lnTo>
                <a:lnTo>
                  <a:pt x="7878" y="6072"/>
                </a:lnTo>
                <a:lnTo>
                  <a:pt x="7876" y="6080"/>
                </a:lnTo>
                <a:lnTo>
                  <a:pt x="7874" y="6082"/>
                </a:lnTo>
                <a:lnTo>
                  <a:pt x="7872" y="6084"/>
                </a:lnTo>
                <a:lnTo>
                  <a:pt x="7868" y="6084"/>
                </a:lnTo>
                <a:lnTo>
                  <a:pt x="7866" y="6086"/>
                </a:lnTo>
                <a:lnTo>
                  <a:pt x="7862" y="6088"/>
                </a:lnTo>
                <a:lnTo>
                  <a:pt x="7858" y="6096"/>
                </a:lnTo>
                <a:lnTo>
                  <a:pt x="7856" y="6110"/>
                </a:lnTo>
                <a:lnTo>
                  <a:pt x="7852" y="6124"/>
                </a:lnTo>
                <a:lnTo>
                  <a:pt x="7852" y="6136"/>
                </a:lnTo>
                <a:lnTo>
                  <a:pt x="7852" y="6146"/>
                </a:lnTo>
                <a:lnTo>
                  <a:pt x="7854" y="6154"/>
                </a:lnTo>
                <a:lnTo>
                  <a:pt x="7860" y="6166"/>
                </a:lnTo>
                <a:lnTo>
                  <a:pt x="7868" y="6182"/>
                </a:lnTo>
                <a:lnTo>
                  <a:pt x="7870" y="6190"/>
                </a:lnTo>
                <a:lnTo>
                  <a:pt x="7872" y="6196"/>
                </a:lnTo>
                <a:lnTo>
                  <a:pt x="7870" y="6208"/>
                </a:lnTo>
                <a:lnTo>
                  <a:pt x="7868" y="6216"/>
                </a:lnTo>
                <a:lnTo>
                  <a:pt x="7870" y="6226"/>
                </a:lnTo>
                <a:lnTo>
                  <a:pt x="7872" y="6240"/>
                </a:lnTo>
                <a:lnTo>
                  <a:pt x="7878" y="6256"/>
                </a:lnTo>
                <a:lnTo>
                  <a:pt x="7886" y="6268"/>
                </a:lnTo>
                <a:lnTo>
                  <a:pt x="7892" y="6278"/>
                </a:lnTo>
                <a:lnTo>
                  <a:pt x="7898" y="6282"/>
                </a:lnTo>
                <a:lnTo>
                  <a:pt x="7902" y="6286"/>
                </a:lnTo>
                <a:lnTo>
                  <a:pt x="7914" y="6288"/>
                </a:lnTo>
                <a:lnTo>
                  <a:pt x="7920" y="6292"/>
                </a:lnTo>
                <a:lnTo>
                  <a:pt x="7924" y="6296"/>
                </a:lnTo>
                <a:lnTo>
                  <a:pt x="7926" y="6300"/>
                </a:lnTo>
                <a:lnTo>
                  <a:pt x="7930" y="6300"/>
                </a:lnTo>
                <a:lnTo>
                  <a:pt x="7938" y="6302"/>
                </a:lnTo>
                <a:lnTo>
                  <a:pt x="7948" y="6298"/>
                </a:lnTo>
                <a:lnTo>
                  <a:pt x="7958" y="6294"/>
                </a:lnTo>
                <a:lnTo>
                  <a:pt x="7978" y="6284"/>
                </a:lnTo>
                <a:lnTo>
                  <a:pt x="7988" y="6280"/>
                </a:lnTo>
                <a:lnTo>
                  <a:pt x="7998" y="6278"/>
                </a:lnTo>
                <a:lnTo>
                  <a:pt x="8002" y="6276"/>
                </a:lnTo>
                <a:lnTo>
                  <a:pt x="8006" y="6270"/>
                </a:lnTo>
                <a:lnTo>
                  <a:pt x="8014" y="6252"/>
                </a:lnTo>
                <a:lnTo>
                  <a:pt x="8024" y="6224"/>
                </a:lnTo>
                <a:lnTo>
                  <a:pt x="8032" y="6188"/>
                </a:lnTo>
                <a:lnTo>
                  <a:pt x="8052" y="6108"/>
                </a:lnTo>
                <a:lnTo>
                  <a:pt x="8072" y="6024"/>
                </a:lnTo>
                <a:lnTo>
                  <a:pt x="8086" y="5978"/>
                </a:lnTo>
                <a:lnTo>
                  <a:pt x="8098" y="5946"/>
                </a:lnTo>
                <a:lnTo>
                  <a:pt x="8102" y="5934"/>
                </a:lnTo>
                <a:lnTo>
                  <a:pt x="8104" y="5922"/>
                </a:lnTo>
                <a:lnTo>
                  <a:pt x="8104" y="5910"/>
                </a:lnTo>
                <a:lnTo>
                  <a:pt x="8102" y="5898"/>
                </a:lnTo>
                <a:lnTo>
                  <a:pt x="8102" y="5886"/>
                </a:lnTo>
                <a:lnTo>
                  <a:pt x="8102" y="5878"/>
                </a:lnTo>
                <a:lnTo>
                  <a:pt x="8104" y="5872"/>
                </a:lnTo>
                <a:lnTo>
                  <a:pt x="8108" y="5870"/>
                </a:lnTo>
                <a:lnTo>
                  <a:pt x="8114" y="5864"/>
                </a:lnTo>
                <a:lnTo>
                  <a:pt x="8116" y="5862"/>
                </a:lnTo>
                <a:lnTo>
                  <a:pt x="8116" y="5856"/>
                </a:lnTo>
                <a:lnTo>
                  <a:pt x="8114" y="5846"/>
                </a:lnTo>
                <a:lnTo>
                  <a:pt x="8116" y="5838"/>
                </a:lnTo>
                <a:lnTo>
                  <a:pt x="8118" y="5830"/>
                </a:lnTo>
                <a:lnTo>
                  <a:pt x="8116" y="5824"/>
                </a:lnTo>
                <a:lnTo>
                  <a:pt x="8114" y="5818"/>
                </a:lnTo>
                <a:lnTo>
                  <a:pt x="8112" y="5810"/>
                </a:lnTo>
                <a:lnTo>
                  <a:pt x="8110" y="5802"/>
                </a:lnTo>
                <a:lnTo>
                  <a:pt x="8110" y="5796"/>
                </a:lnTo>
                <a:lnTo>
                  <a:pt x="8112" y="5792"/>
                </a:lnTo>
                <a:lnTo>
                  <a:pt x="8114" y="5792"/>
                </a:lnTo>
                <a:lnTo>
                  <a:pt x="8118" y="5794"/>
                </a:lnTo>
                <a:lnTo>
                  <a:pt x="8122" y="5802"/>
                </a:lnTo>
                <a:lnTo>
                  <a:pt x="8126" y="5814"/>
                </a:lnTo>
                <a:lnTo>
                  <a:pt x="8130" y="5818"/>
                </a:lnTo>
                <a:lnTo>
                  <a:pt x="8132" y="5818"/>
                </a:lnTo>
                <a:lnTo>
                  <a:pt x="8136" y="5814"/>
                </a:lnTo>
                <a:lnTo>
                  <a:pt x="8138" y="5808"/>
                </a:lnTo>
                <a:lnTo>
                  <a:pt x="8140" y="5798"/>
                </a:lnTo>
                <a:lnTo>
                  <a:pt x="8142" y="5788"/>
                </a:lnTo>
                <a:lnTo>
                  <a:pt x="8142" y="5778"/>
                </a:lnTo>
                <a:lnTo>
                  <a:pt x="8138" y="5770"/>
                </a:lnTo>
                <a:lnTo>
                  <a:pt x="8136" y="5760"/>
                </a:lnTo>
                <a:lnTo>
                  <a:pt x="8134" y="5746"/>
                </a:lnTo>
                <a:lnTo>
                  <a:pt x="8130" y="5710"/>
                </a:lnTo>
                <a:lnTo>
                  <a:pt x="8124" y="5678"/>
                </a:lnTo>
                <a:lnTo>
                  <a:pt x="8120" y="5666"/>
                </a:lnTo>
                <a:lnTo>
                  <a:pt x="8116" y="5660"/>
                </a:lnTo>
                <a:close/>
                <a:moveTo>
                  <a:pt x="11994" y="2764"/>
                </a:moveTo>
                <a:lnTo>
                  <a:pt x="11994" y="2764"/>
                </a:lnTo>
                <a:lnTo>
                  <a:pt x="11986" y="2776"/>
                </a:lnTo>
                <a:lnTo>
                  <a:pt x="11978" y="2784"/>
                </a:lnTo>
                <a:lnTo>
                  <a:pt x="11972" y="2794"/>
                </a:lnTo>
                <a:lnTo>
                  <a:pt x="11972" y="2798"/>
                </a:lnTo>
                <a:lnTo>
                  <a:pt x="11974" y="2802"/>
                </a:lnTo>
                <a:lnTo>
                  <a:pt x="11976" y="2800"/>
                </a:lnTo>
                <a:lnTo>
                  <a:pt x="11982" y="2792"/>
                </a:lnTo>
                <a:lnTo>
                  <a:pt x="11988" y="2784"/>
                </a:lnTo>
                <a:lnTo>
                  <a:pt x="11994" y="2778"/>
                </a:lnTo>
                <a:lnTo>
                  <a:pt x="12000" y="2772"/>
                </a:lnTo>
                <a:lnTo>
                  <a:pt x="12010" y="2768"/>
                </a:lnTo>
                <a:lnTo>
                  <a:pt x="12014" y="2766"/>
                </a:lnTo>
                <a:lnTo>
                  <a:pt x="12008" y="2762"/>
                </a:lnTo>
                <a:lnTo>
                  <a:pt x="12000" y="2762"/>
                </a:lnTo>
                <a:lnTo>
                  <a:pt x="11996" y="2762"/>
                </a:lnTo>
                <a:lnTo>
                  <a:pt x="11994" y="2764"/>
                </a:lnTo>
                <a:close/>
                <a:moveTo>
                  <a:pt x="12064" y="2720"/>
                </a:moveTo>
                <a:lnTo>
                  <a:pt x="12064" y="2720"/>
                </a:lnTo>
                <a:lnTo>
                  <a:pt x="12054" y="2726"/>
                </a:lnTo>
                <a:lnTo>
                  <a:pt x="12046" y="2734"/>
                </a:lnTo>
                <a:lnTo>
                  <a:pt x="12036" y="2744"/>
                </a:lnTo>
                <a:lnTo>
                  <a:pt x="12030" y="2756"/>
                </a:lnTo>
                <a:lnTo>
                  <a:pt x="12028" y="2760"/>
                </a:lnTo>
                <a:lnTo>
                  <a:pt x="12028" y="2762"/>
                </a:lnTo>
                <a:lnTo>
                  <a:pt x="12030" y="2762"/>
                </a:lnTo>
                <a:lnTo>
                  <a:pt x="12032" y="2762"/>
                </a:lnTo>
                <a:lnTo>
                  <a:pt x="12040" y="2756"/>
                </a:lnTo>
                <a:lnTo>
                  <a:pt x="12050" y="2744"/>
                </a:lnTo>
                <a:lnTo>
                  <a:pt x="12058" y="2736"/>
                </a:lnTo>
                <a:lnTo>
                  <a:pt x="12064" y="2730"/>
                </a:lnTo>
                <a:lnTo>
                  <a:pt x="12072" y="2728"/>
                </a:lnTo>
                <a:lnTo>
                  <a:pt x="12080" y="2722"/>
                </a:lnTo>
                <a:lnTo>
                  <a:pt x="12084" y="2718"/>
                </a:lnTo>
                <a:lnTo>
                  <a:pt x="12090" y="2714"/>
                </a:lnTo>
                <a:lnTo>
                  <a:pt x="12100" y="2712"/>
                </a:lnTo>
                <a:lnTo>
                  <a:pt x="12104" y="2710"/>
                </a:lnTo>
                <a:lnTo>
                  <a:pt x="12106" y="2708"/>
                </a:lnTo>
                <a:lnTo>
                  <a:pt x="12108" y="2706"/>
                </a:lnTo>
                <a:lnTo>
                  <a:pt x="12104" y="2700"/>
                </a:lnTo>
                <a:lnTo>
                  <a:pt x="12102" y="2698"/>
                </a:lnTo>
                <a:lnTo>
                  <a:pt x="12098" y="2700"/>
                </a:lnTo>
                <a:lnTo>
                  <a:pt x="12092" y="2704"/>
                </a:lnTo>
                <a:lnTo>
                  <a:pt x="12084" y="2710"/>
                </a:lnTo>
                <a:lnTo>
                  <a:pt x="12078" y="2710"/>
                </a:lnTo>
                <a:lnTo>
                  <a:pt x="12074" y="2708"/>
                </a:lnTo>
                <a:lnTo>
                  <a:pt x="12070" y="2706"/>
                </a:lnTo>
                <a:lnTo>
                  <a:pt x="12070" y="2710"/>
                </a:lnTo>
                <a:lnTo>
                  <a:pt x="12070" y="2716"/>
                </a:lnTo>
                <a:lnTo>
                  <a:pt x="12068" y="2718"/>
                </a:lnTo>
                <a:lnTo>
                  <a:pt x="12064" y="2720"/>
                </a:lnTo>
                <a:close/>
                <a:moveTo>
                  <a:pt x="12172" y="2660"/>
                </a:moveTo>
                <a:lnTo>
                  <a:pt x="12172" y="2660"/>
                </a:lnTo>
                <a:lnTo>
                  <a:pt x="12170" y="2660"/>
                </a:lnTo>
                <a:lnTo>
                  <a:pt x="12166" y="2660"/>
                </a:lnTo>
                <a:lnTo>
                  <a:pt x="12154" y="2666"/>
                </a:lnTo>
                <a:lnTo>
                  <a:pt x="12142" y="2676"/>
                </a:lnTo>
                <a:lnTo>
                  <a:pt x="12138" y="2682"/>
                </a:lnTo>
                <a:lnTo>
                  <a:pt x="12134" y="2690"/>
                </a:lnTo>
                <a:lnTo>
                  <a:pt x="12132" y="2696"/>
                </a:lnTo>
                <a:lnTo>
                  <a:pt x="12136" y="2696"/>
                </a:lnTo>
                <a:lnTo>
                  <a:pt x="12144" y="2692"/>
                </a:lnTo>
                <a:lnTo>
                  <a:pt x="12152" y="2686"/>
                </a:lnTo>
                <a:lnTo>
                  <a:pt x="12168" y="2670"/>
                </a:lnTo>
                <a:lnTo>
                  <a:pt x="12172" y="2664"/>
                </a:lnTo>
                <a:lnTo>
                  <a:pt x="12172" y="2660"/>
                </a:lnTo>
                <a:close/>
                <a:moveTo>
                  <a:pt x="12350" y="2462"/>
                </a:moveTo>
                <a:lnTo>
                  <a:pt x="12350" y="2462"/>
                </a:lnTo>
                <a:lnTo>
                  <a:pt x="12348" y="2460"/>
                </a:lnTo>
                <a:lnTo>
                  <a:pt x="12344" y="2462"/>
                </a:lnTo>
                <a:lnTo>
                  <a:pt x="12340" y="2470"/>
                </a:lnTo>
                <a:lnTo>
                  <a:pt x="12336" y="2484"/>
                </a:lnTo>
                <a:lnTo>
                  <a:pt x="12336" y="2492"/>
                </a:lnTo>
                <a:lnTo>
                  <a:pt x="12338" y="2492"/>
                </a:lnTo>
                <a:lnTo>
                  <a:pt x="12340" y="2490"/>
                </a:lnTo>
                <a:lnTo>
                  <a:pt x="12346" y="2482"/>
                </a:lnTo>
                <a:lnTo>
                  <a:pt x="12350" y="2470"/>
                </a:lnTo>
                <a:lnTo>
                  <a:pt x="12352" y="2466"/>
                </a:lnTo>
                <a:lnTo>
                  <a:pt x="12350" y="2462"/>
                </a:lnTo>
                <a:close/>
                <a:moveTo>
                  <a:pt x="12316" y="2512"/>
                </a:moveTo>
                <a:lnTo>
                  <a:pt x="12316" y="2512"/>
                </a:lnTo>
                <a:lnTo>
                  <a:pt x="12316" y="2514"/>
                </a:lnTo>
                <a:lnTo>
                  <a:pt x="12316" y="2512"/>
                </a:lnTo>
                <a:lnTo>
                  <a:pt x="12320" y="2510"/>
                </a:lnTo>
                <a:lnTo>
                  <a:pt x="12324" y="2506"/>
                </a:lnTo>
                <a:lnTo>
                  <a:pt x="12326" y="2502"/>
                </a:lnTo>
                <a:lnTo>
                  <a:pt x="12324" y="2502"/>
                </a:lnTo>
                <a:lnTo>
                  <a:pt x="12322" y="2504"/>
                </a:lnTo>
                <a:lnTo>
                  <a:pt x="12316" y="2512"/>
                </a:lnTo>
                <a:close/>
                <a:moveTo>
                  <a:pt x="12280" y="2566"/>
                </a:moveTo>
                <a:lnTo>
                  <a:pt x="12280" y="2566"/>
                </a:lnTo>
                <a:lnTo>
                  <a:pt x="12278" y="2566"/>
                </a:lnTo>
                <a:lnTo>
                  <a:pt x="12276" y="2568"/>
                </a:lnTo>
                <a:lnTo>
                  <a:pt x="12276" y="2572"/>
                </a:lnTo>
                <a:lnTo>
                  <a:pt x="12278" y="2574"/>
                </a:lnTo>
                <a:lnTo>
                  <a:pt x="12280" y="2576"/>
                </a:lnTo>
                <a:lnTo>
                  <a:pt x="12282" y="2574"/>
                </a:lnTo>
                <a:lnTo>
                  <a:pt x="12282" y="2570"/>
                </a:lnTo>
                <a:lnTo>
                  <a:pt x="12280" y="2566"/>
                </a:lnTo>
                <a:close/>
                <a:moveTo>
                  <a:pt x="12258" y="2590"/>
                </a:moveTo>
                <a:lnTo>
                  <a:pt x="12258" y="2590"/>
                </a:lnTo>
                <a:lnTo>
                  <a:pt x="12254" y="2590"/>
                </a:lnTo>
                <a:lnTo>
                  <a:pt x="12252" y="2590"/>
                </a:lnTo>
                <a:lnTo>
                  <a:pt x="12252" y="2594"/>
                </a:lnTo>
                <a:lnTo>
                  <a:pt x="12252" y="2596"/>
                </a:lnTo>
                <a:lnTo>
                  <a:pt x="12256" y="2598"/>
                </a:lnTo>
                <a:lnTo>
                  <a:pt x="12258" y="2596"/>
                </a:lnTo>
                <a:lnTo>
                  <a:pt x="12258" y="2594"/>
                </a:lnTo>
                <a:lnTo>
                  <a:pt x="12258" y="2590"/>
                </a:lnTo>
                <a:close/>
                <a:moveTo>
                  <a:pt x="12416" y="2388"/>
                </a:moveTo>
                <a:lnTo>
                  <a:pt x="12416" y="2388"/>
                </a:lnTo>
                <a:lnTo>
                  <a:pt x="12414" y="2386"/>
                </a:lnTo>
                <a:lnTo>
                  <a:pt x="12408" y="2390"/>
                </a:lnTo>
                <a:lnTo>
                  <a:pt x="12406" y="2394"/>
                </a:lnTo>
                <a:lnTo>
                  <a:pt x="12406" y="2396"/>
                </a:lnTo>
                <a:lnTo>
                  <a:pt x="12408" y="2398"/>
                </a:lnTo>
                <a:lnTo>
                  <a:pt x="12410" y="2400"/>
                </a:lnTo>
                <a:lnTo>
                  <a:pt x="12412" y="2400"/>
                </a:lnTo>
                <a:lnTo>
                  <a:pt x="12416" y="2396"/>
                </a:lnTo>
                <a:lnTo>
                  <a:pt x="12418" y="2392"/>
                </a:lnTo>
                <a:lnTo>
                  <a:pt x="12416" y="2388"/>
                </a:lnTo>
                <a:close/>
                <a:moveTo>
                  <a:pt x="11190" y="3374"/>
                </a:moveTo>
                <a:lnTo>
                  <a:pt x="11190" y="3374"/>
                </a:lnTo>
                <a:lnTo>
                  <a:pt x="11194" y="3376"/>
                </a:lnTo>
                <a:lnTo>
                  <a:pt x="11198" y="3378"/>
                </a:lnTo>
                <a:lnTo>
                  <a:pt x="11210" y="3374"/>
                </a:lnTo>
                <a:lnTo>
                  <a:pt x="11220" y="3368"/>
                </a:lnTo>
                <a:lnTo>
                  <a:pt x="11222" y="3364"/>
                </a:lnTo>
                <a:lnTo>
                  <a:pt x="11222" y="3360"/>
                </a:lnTo>
                <a:lnTo>
                  <a:pt x="11220" y="3358"/>
                </a:lnTo>
                <a:lnTo>
                  <a:pt x="11216" y="3356"/>
                </a:lnTo>
                <a:lnTo>
                  <a:pt x="11210" y="3358"/>
                </a:lnTo>
                <a:lnTo>
                  <a:pt x="11204" y="3360"/>
                </a:lnTo>
                <a:lnTo>
                  <a:pt x="11198" y="3362"/>
                </a:lnTo>
                <a:lnTo>
                  <a:pt x="11192" y="3366"/>
                </a:lnTo>
                <a:lnTo>
                  <a:pt x="11190" y="3370"/>
                </a:lnTo>
                <a:lnTo>
                  <a:pt x="11190" y="3374"/>
                </a:lnTo>
                <a:close/>
                <a:moveTo>
                  <a:pt x="11324" y="3298"/>
                </a:moveTo>
                <a:lnTo>
                  <a:pt x="11324" y="3298"/>
                </a:lnTo>
                <a:lnTo>
                  <a:pt x="11320" y="3302"/>
                </a:lnTo>
                <a:lnTo>
                  <a:pt x="11318" y="3306"/>
                </a:lnTo>
                <a:lnTo>
                  <a:pt x="11318" y="3310"/>
                </a:lnTo>
                <a:lnTo>
                  <a:pt x="11318" y="3314"/>
                </a:lnTo>
                <a:lnTo>
                  <a:pt x="11314" y="3324"/>
                </a:lnTo>
                <a:lnTo>
                  <a:pt x="11314" y="3328"/>
                </a:lnTo>
                <a:lnTo>
                  <a:pt x="11314" y="3330"/>
                </a:lnTo>
                <a:lnTo>
                  <a:pt x="11318" y="3328"/>
                </a:lnTo>
                <a:lnTo>
                  <a:pt x="11318" y="3324"/>
                </a:lnTo>
                <a:lnTo>
                  <a:pt x="11320" y="3318"/>
                </a:lnTo>
                <a:lnTo>
                  <a:pt x="11322" y="3314"/>
                </a:lnTo>
                <a:lnTo>
                  <a:pt x="11324" y="3308"/>
                </a:lnTo>
                <a:lnTo>
                  <a:pt x="11326" y="3304"/>
                </a:lnTo>
                <a:lnTo>
                  <a:pt x="11326" y="3300"/>
                </a:lnTo>
                <a:lnTo>
                  <a:pt x="11324" y="3298"/>
                </a:lnTo>
                <a:close/>
                <a:moveTo>
                  <a:pt x="11190" y="3314"/>
                </a:moveTo>
                <a:lnTo>
                  <a:pt x="11190" y="3314"/>
                </a:lnTo>
                <a:lnTo>
                  <a:pt x="11192" y="3314"/>
                </a:lnTo>
                <a:lnTo>
                  <a:pt x="11196" y="3314"/>
                </a:lnTo>
                <a:lnTo>
                  <a:pt x="11200" y="3312"/>
                </a:lnTo>
                <a:lnTo>
                  <a:pt x="11198" y="3308"/>
                </a:lnTo>
                <a:lnTo>
                  <a:pt x="11194" y="3306"/>
                </a:lnTo>
                <a:lnTo>
                  <a:pt x="11192" y="3308"/>
                </a:lnTo>
                <a:lnTo>
                  <a:pt x="11190" y="3312"/>
                </a:lnTo>
                <a:lnTo>
                  <a:pt x="11190" y="3314"/>
                </a:lnTo>
                <a:close/>
                <a:moveTo>
                  <a:pt x="11180" y="3298"/>
                </a:moveTo>
                <a:lnTo>
                  <a:pt x="11180" y="3298"/>
                </a:lnTo>
                <a:lnTo>
                  <a:pt x="11182" y="3300"/>
                </a:lnTo>
                <a:lnTo>
                  <a:pt x="11184" y="3298"/>
                </a:lnTo>
                <a:lnTo>
                  <a:pt x="11184" y="3294"/>
                </a:lnTo>
                <a:lnTo>
                  <a:pt x="11184" y="3292"/>
                </a:lnTo>
                <a:lnTo>
                  <a:pt x="11182" y="3292"/>
                </a:lnTo>
                <a:lnTo>
                  <a:pt x="11180" y="3294"/>
                </a:lnTo>
                <a:lnTo>
                  <a:pt x="11180" y="3298"/>
                </a:lnTo>
                <a:close/>
                <a:moveTo>
                  <a:pt x="11186" y="3286"/>
                </a:moveTo>
                <a:lnTo>
                  <a:pt x="11186" y="3286"/>
                </a:lnTo>
                <a:lnTo>
                  <a:pt x="11184" y="3288"/>
                </a:lnTo>
                <a:lnTo>
                  <a:pt x="11186" y="3290"/>
                </a:lnTo>
                <a:lnTo>
                  <a:pt x="11190" y="3296"/>
                </a:lnTo>
                <a:lnTo>
                  <a:pt x="11192" y="3296"/>
                </a:lnTo>
                <a:lnTo>
                  <a:pt x="11192" y="3294"/>
                </a:lnTo>
                <a:lnTo>
                  <a:pt x="11190" y="3288"/>
                </a:lnTo>
                <a:lnTo>
                  <a:pt x="11188" y="3286"/>
                </a:lnTo>
                <a:lnTo>
                  <a:pt x="11186" y="3286"/>
                </a:lnTo>
                <a:close/>
                <a:moveTo>
                  <a:pt x="11198" y="3196"/>
                </a:moveTo>
                <a:lnTo>
                  <a:pt x="11198" y="3196"/>
                </a:lnTo>
                <a:lnTo>
                  <a:pt x="11196" y="3198"/>
                </a:lnTo>
                <a:lnTo>
                  <a:pt x="11196" y="3200"/>
                </a:lnTo>
                <a:lnTo>
                  <a:pt x="11198" y="3204"/>
                </a:lnTo>
                <a:lnTo>
                  <a:pt x="11202" y="3206"/>
                </a:lnTo>
                <a:lnTo>
                  <a:pt x="11202" y="3204"/>
                </a:lnTo>
                <a:lnTo>
                  <a:pt x="11202" y="3202"/>
                </a:lnTo>
                <a:lnTo>
                  <a:pt x="11200" y="3198"/>
                </a:lnTo>
                <a:lnTo>
                  <a:pt x="11198" y="3196"/>
                </a:lnTo>
                <a:close/>
                <a:moveTo>
                  <a:pt x="11290" y="3284"/>
                </a:moveTo>
                <a:lnTo>
                  <a:pt x="11290" y="3284"/>
                </a:lnTo>
                <a:lnTo>
                  <a:pt x="11288" y="3288"/>
                </a:lnTo>
                <a:lnTo>
                  <a:pt x="11286" y="3292"/>
                </a:lnTo>
                <a:lnTo>
                  <a:pt x="11288" y="3296"/>
                </a:lnTo>
                <a:lnTo>
                  <a:pt x="11290" y="3296"/>
                </a:lnTo>
                <a:lnTo>
                  <a:pt x="11292" y="3296"/>
                </a:lnTo>
                <a:lnTo>
                  <a:pt x="11294" y="3292"/>
                </a:lnTo>
                <a:lnTo>
                  <a:pt x="11296" y="3286"/>
                </a:lnTo>
                <a:lnTo>
                  <a:pt x="11294" y="3284"/>
                </a:lnTo>
                <a:lnTo>
                  <a:pt x="11292" y="3282"/>
                </a:lnTo>
                <a:lnTo>
                  <a:pt x="11290" y="3284"/>
                </a:lnTo>
                <a:close/>
                <a:moveTo>
                  <a:pt x="11268" y="3290"/>
                </a:moveTo>
                <a:lnTo>
                  <a:pt x="11268" y="3290"/>
                </a:lnTo>
                <a:lnTo>
                  <a:pt x="11266" y="3288"/>
                </a:lnTo>
                <a:lnTo>
                  <a:pt x="11264" y="3286"/>
                </a:lnTo>
                <a:lnTo>
                  <a:pt x="11260" y="3286"/>
                </a:lnTo>
                <a:lnTo>
                  <a:pt x="11258" y="3288"/>
                </a:lnTo>
                <a:lnTo>
                  <a:pt x="11260" y="3290"/>
                </a:lnTo>
                <a:lnTo>
                  <a:pt x="11264" y="3296"/>
                </a:lnTo>
                <a:lnTo>
                  <a:pt x="11266" y="3296"/>
                </a:lnTo>
                <a:lnTo>
                  <a:pt x="11268" y="3294"/>
                </a:lnTo>
                <a:lnTo>
                  <a:pt x="11268" y="3290"/>
                </a:lnTo>
                <a:close/>
                <a:moveTo>
                  <a:pt x="11210" y="3328"/>
                </a:moveTo>
                <a:lnTo>
                  <a:pt x="11210" y="3328"/>
                </a:lnTo>
                <a:lnTo>
                  <a:pt x="11212" y="3326"/>
                </a:lnTo>
                <a:lnTo>
                  <a:pt x="11206" y="3326"/>
                </a:lnTo>
                <a:lnTo>
                  <a:pt x="11206" y="3328"/>
                </a:lnTo>
                <a:lnTo>
                  <a:pt x="11208" y="3330"/>
                </a:lnTo>
                <a:lnTo>
                  <a:pt x="11210" y="3328"/>
                </a:lnTo>
                <a:close/>
                <a:moveTo>
                  <a:pt x="11204" y="3142"/>
                </a:moveTo>
                <a:lnTo>
                  <a:pt x="11204" y="3142"/>
                </a:lnTo>
                <a:lnTo>
                  <a:pt x="11206" y="3140"/>
                </a:lnTo>
                <a:lnTo>
                  <a:pt x="11206" y="3136"/>
                </a:lnTo>
                <a:lnTo>
                  <a:pt x="11204" y="3132"/>
                </a:lnTo>
                <a:lnTo>
                  <a:pt x="11200" y="3130"/>
                </a:lnTo>
                <a:lnTo>
                  <a:pt x="11198" y="3130"/>
                </a:lnTo>
                <a:lnTo>
                  <a:pt x="11198" y="3134"/>
                </a:lnTo>
                <a:lnTo>
                  <a:pt x="11200" y="3138"/>
                </a:lnTo>
                <a:lnTo>
                  <a:pt x="11204" y="3142"/>
                </a:lnTo>
                <a:close/>
                <a:moveTo>
                  <a:pt x="11018" y="4302"/>
                </a:moveTo>
                <a:lnTo>
                  <a:pt x="11018" y="4302"/>
                </a:lnTo>
                <a:lnTo>
                  <a:pt x="11016" y="4304"/>
                </a:lnTo>
                <a:lnTo>
                  <a:pt x="11016" y="4308"/>
                </a:lnTo>
                <a:lnTo>
                  <a:pt x="11020" y="4318"/>
                </a:lnTo>
                <a:lnTo>
                  <a:pt x="11022" y="4324"/>
                </a:lnTo>
                <a:lnTo>
                  <a:pt x="11024" y="4324"/>
                </a:lnTo>
                <a:lnTo>
                  <a:pt x="11026" y="4320"/>
                </a:lnTo>
                <a:lnTo>
                  <a:pt x="11024" y="4314"/>
                </a:lnTo>
                <a:lnTo>
                  <a:pt x="11022" y="4304"/>
                </a:lnTo>
                <a:lnTo>
                  <a:pt x="11020" y="4302"/>
                </a:lnTo>
                <a:lnTo>
                  <a:pt x="11018" y="4302"/>
                </a:lnTo>
                <a:close/>
                <a:moveTo>
                  <a:pt x="11110" y="4376"/>
                </a:moveTo>
                <a:lnTo>
                  <a:pt x="11110" y="4376"/>
                </a:lnTo>
                <a:lnTo>
                  <a:pt x="11112" y="4378"/>
                </a:lnTo>
                <a:lnTo>
                  <a:pt x="11116" y="4376"/>
                </a:lnTo>
                <a:lnTo>
                  <a:pt x="11120" y="4372"/>
                </a:lnTo>
                <a:lnTo>
                  <a:pt x="11122" y="4366"/>
                </a:lnTo>
                <a:lnTo>
                  <a:pt x="11122" y="4362"/>
                </a:lnTo>
                <a:lnTo>
                  <a:pt x="11120" y="4360"/>
                </a:lnTo>
                <a:lnTo>
                  <a:pt x="11118" y="4358"/>
                </a:lnTo>
                <a:lnTo>
                  <a:pt x="11116" y="4356"/>
                </a:lnTo>
                <a:lnTo>
                  <a:pt x="11114" y="4352"/>
                </a:lnTo>
                <a:lnTo>
                  <a:pt x="11112" y="4350"/>
                </a:lnTo>
                <a:lnTo>
                  <a:pt x="11110" y="4352"/>
                </a:lnTo>
                <a:lnTo>
                  <a:pt x="11110" y="4360"/>
                </a:lnTo>
                <a:lnTo>
                  <a:pt x="11110" y="4368"/>
                </a:lnTo>
                <a:lnTo>
                  <a:pt x="11108" y="4370"/>
                </a:lnTo>
                <a:lnTo>
                  <a:pt x="11108" y="4372"/>
                </a:lnTo>
                <a:lnTo>
                  <a:pt x="11110" y="4376"/>
                </a:lnTo>
                <a:close/>
                <a:moveTo>
                  <a:pt x="11116" y="4478"/>
                </a:moveTo>
                <a:lnTo>
                  <a:pt x="11116" y="4478"/>
                </a:lnTo>
                <a:lnTo>
                  <a:pt x="11118" y="4480"/>
                </a:lnTo>
                <a:lnTo>
                  <a:pt x="11120" y="4484"/>
                </a:lnTo>
                <a:lnTo>
                  <a:pt x="11122" y="4490"/>
                </a:lnTo>
                <a:lnTo>
                  <a:pt x="11122" y="4494"/>
                </a:lnTo>
                <a:lnTo>
                  <a:pt x="11122" y="4498"/>
                </a:lnTo>
                <a:lnTo>
                  <a:pt x="11122" y="4500"/>
                </a:lnTo>
                <a:lnTo>
                  <a:pt x="11120" y="4504"/>
                </a:lnTo>
                <a:lnTo>
                  <a:pt x="11120" y="4506"/>
                </a:lnTo>
                <a:lnTo>
                  <a:pt x="11122" y="4508"/>
                </a:lnTo>
                <a:lnTo>
                  <a:pt x="11126" y="4508"/>
                </a:lnTo>
                <a:lnTo>
                  <a:pt x="11128" y="4506"/>
                </a:lnTo>
                <a:lnTo>
                  <a:pt x="11128" y="4504"/>
                </a:lnTo>
                <a:lnTo>
                  <a:pt x="11130" y="4504"/>
                </a:lnTo>
                <a:lnTo>
                  <a:pt x="11134" y="4506"/>
                </a:lnTo>
                <a:lnTo>
                  <a:pt x="11136" y="4514"/>
                </a:lnTo>
                <a:lnTo>
                  <a:pt x="11136" y="4518"/>
                </a:lnTo>
                <a:lnTo>
                  <a:pt x="11136" y="4522"/>
                </a:lnTo>
                <a:lnTo>
                  <a:pt x="11134" y="4528"/>
                </a:lnTo>
                <a:lnTo>
                  <a:pt x="11136" y="4530"/>
                </a:lnTo>
                <a:lnTo>
                  <a:pt x="11136" y="4534"/>
                </a:lnTo>
                <a:lnTo>
                  <a:pt x="11136" y="4538"/>
                </a:lnTo>
                <a:lnTo>
                  <a:pt x="11134" y="4542"/>
                </a:lnTo>
                <a:lnTo>
                  <a:pt x="11136" y="4544"/>
                </a:lnTo>
                <a:lnTo>
                  <a:pt x="11144" y="4548"/>
                </a:lnTo>
                <a:lnTo>
                  <a:pt x="11146" y="4550"/>
                </a:lnTo>
                <a:lnTo>
                  <a:pt x="11146" y="4548"/>
                </a:lnTo>
                <a:lnTo>
                  <a:pt x="11146" y="4544"/>
                </a:lnTo>
                <a:lnTo>
                  <a:pt x="11144" y="4538"/>
                </a:lnTo>
                <a:lnTo>
                  <a:pt x="11144" y="4534"/>
                </a:lnTo>
                <a:lnTo>
                  <a:pt x="11146" y="4534"/>
                </a:lnTo>
                <a:lnTo>
                  <a:pt x="11148" y="4536"/>
                </a:lnTo>
                <a:lnTo>
                  <a:pt x="11148" y="4542"/>
                </a:lnTo>
                <a:lnTo>
                  <a:pt x="11152" y="4548"/>
                </a:lnTo>
                <a:lnTo>
                  <a:pt x="11154" y="4552"/>
                </a:lnTo>
                <a:lnTo>
                  <a:pt x="11158" y="4554"/>
                </a:lnTo>
                <a:lnTo>
                  <a:pt x="11158" y="4552"/>
                </a:lnTo>
                <a:lnTo>
                  <a:pt x="11154" y="4544"/>
                </a:lnTo>
                <a:lnTo>
                  <a:pt x="11154" y="4542"/>
                </a:lnTo>
                <a:lnTo>
                  <a:pt x="11154" y="4540"/>
                </a:lnTo>
                <a:lnTo>
                  <a:pt x="11156" y="4538"/>
                </a:lnTo>
                <a:lnTo>
                  <a:pt x="11158" y="4536"/>
                </a:lnTo>
                <a:lnTo>
                  <a:pt x="11156" y="4532"/>
                </a:lnTo>
                <a:lnTo>
                  <a:pt x="11154" y="4528"/>
                </a:lnTo>
                <a:lnTo>
                  <a:pt x="11154" y="4524"/>
                </a:lnTo>
                <a:lnTo>
                  <a:pt x="11152" y="4522"/>
                </a:lnTo>
                <a:lnTo>
                  <a:pt x="11150" y="4518"/>
                </a:lnTo>
                <a:lnTo>
                  <a:pt x="11148" y="4516"/>
                </a:lnTo>
                <a:lnTo>
                  <a:pt x="11148" y="4512"/>
                </a:lnTo>
                <a:lnTo>
                  <a:pt x="11148" y="4504"/>
                </a:lnTo>
                <a:lnTo>
                  <a:pt x="11148" y="4496"/>
                </a:lnTo>
                <a:lnTo>
                  <a:pt x="11146" y="4492"/>
                </a:lnTo>
                <a:lnTo>
                  <a:pt x="11144" y="4490"/>
                </a:lnTo>
                <a:lnTo>
                  <a:pt x="11144" y="4488"/>
                </a:lnTo>
                <a:lnTo>
                  <a:pt x="11144" y="4486"/>
                </a:lnTo>
                <a:lnTo>
                  <a:pt x="11144" y="4484"/>
                </a:lnTo>
                <a:lnTo>
                  <a:pt x="11140" y="4482"/>
                </a:lnTo>
                <a:lnTo>
                  <a:pt x="11136" y="4484"/>
                </a:lnTo>
                <a:lnTo>
                  <a:pt x="11134" y="4486"/>
                </a:lnTo>
                <a:lnTo>
                  <a:pt x="11132" y="4488"/>
                </a:lnTo>
                <a:lnTo>
                  <a:pt x="11128" y="4486"/>
                </a:lnTo>
                <a:lnTo>
                  <a:pt x="11122" y="4480"/>
                </a:lnTo>
                <a:lnTo>
                  <a:pt x="11120" y="4476"/>
                </a:lnTo>
                <a:lnTo>
                  <a:pt x="11116" y="4478"/>
                </a:lnTo>
                <a:close/>
                <a:moveTo>
                  <a:pt x="11048" y="4532"/>
                </a:moveTo>
                <a:lnTo>
                  <a:pt x="11048" y="4532"/>
                </a:lnTo>
                <a:lnTo>
                  <a:pt x="11050" y="4530"/>
                </a:lnTo>
                <a:lnTo>
                  <a:pt x="11054" y="4526"/>
                </a:lnTo>
                <a:lnTo>
                  <a:pt x="11056" y="4522"/>
                </a:lnTo>
                <a:lnTo>
                  <a:pt x="11054" y="4518"/>
                </a:lnTo>
                <a:lnTo>
                  <a:pt x="11052" y="4516"/>
                </a:lnTo>
                <a:lnTo>
                  <a:pt x="11050" y="4518"/>
                </a:lnTo>
                <a:lnTo>
                  <a:pt x="11048" y="4522"/>
                </a:lnTo>
                <a:lnTo>
                  <a:pt x="11048" y="4524"/>
                </a:lnTo>
                <a:lnTo>
                  <a:pt x="11048" y="4526"/>
                </a:lnTo>
                <a:lnTo>
                  <a:pt x="11046" y="4528"/>
                </a:lnTo>
                <a:lnTo>
                  <a:pt x="11046" y="4530"/>
                </a:lnTo>
                <a:lnTo>
                  <a:pt x="11048" y="4532"/>
                </a:lnTo>
                <a:close/>
                <a:moveTo>
                  <a:pt x="11128" y="4478"/>
                </a:moveTo>
                <a:lnTo>
                  <a:pt x="11128" y="4478"/>
                </a:lnTo>
                <a:lnTo>
                  <a:pt x="11130" y="4478"/>
                </a:lnTo>
                <a:lnTo>
                  <a:pt x="11130" y="4474"/>
                </a:lnTo>
                <a:lnTo>
                  <a:pt x="11128" y="4470"/>
                </a:lnTo>
                <a:lnTo>
                  <a:pt x="11124" y="4468"/>
                </a:lnTo>
                <a:lnTo>
                  <a:pt x="11122" y="4470"/>
                </a:lnTo>
                <a:lnTo>
                  <a:pt x="11122" y="4474"/>
                </a:lnTo>
                <a:lnTo>
                  <a:pt x="11124" y="4476"/>
                </a:lnTo>
                <a:lnTo>
                  <a:pt x="11128" y="4478"/>
                </a:lnTo>
                <a:close/>
                <a:moveTo>
                  <a:pt x="11174" y="4512"/>
                </a:moveTo>
                <a:lnTo>
                  <a:pt x="11174" y="4512"/>
                </a:lnTo>
                <a:lnTo>
                  <a:pt x="11172" y="4514"/>
                </a:lnTo>
                <a:lnTo>
                  <a:pt x="11174" y="4516"/>
                </a:lnTo>
                <a:lnTo>
                  <a:pt x="11176" y="4518"/>
                </a:lnTo>
                <a:lnTo>
                  <a:pt x="11178" y="4518"/>
                </a:lnTo>
                <a:lnTo>
                  <a:pt x="11180" y="4516"/>
                </a:lnTo>
                <a:lnTo>
                  <a:pt x="11178" y="4514"/>
                </a:lnTo>
                <a:lnTo>
                  <a:pt x="11176" y="4512"/>
                </a:lnTo>
                <a:lnTo>
                  <a:pt x="11174" y="4512"/>
                </a:lnTo>
                <a:close/>
                <a:moveTo>
                  <a:pt x="11094" y="4488"/>
                </a:moveTo>
                <a:lnTo>
                  <a:pt x="11094" y="4488"/>
                </a:lnTo>
                <a:lnTo>
                  <a:pt x="11092" y="4490"/>
                </a:lnTo>
                <a:lnTo>
                  <a:pt x="11092" y="4492"/>
                </a:lnTo>
                <a:lnTo>
                  <a:pt x="11094" y="4494"/>
                </a:lnTo>
                <a:lnTo>
                  <a:pt x="11096" y="4496"/>
                </a:lnTo>
                <a:lnTo>
                  <a:pt x="11096" y="4494"/>
                </a:lnTo>
                <a:lnTo>
                  <a:pt x="11096" y="4490"/>
                </a:lnTo>
                <a:lnTo>
                  <a:pt x="11096" y="4488"/>
                </a:lnTo>
                <a:lnTo>
                  <a:pt x="11094" y="4488"/>
                </a:lnTo>
                <a:close/>
                <a:moveTo>
                  <a:pt x="11036" y="4720"/>
                </a:moveTo>
                <a:lnTo>
                  <a:pt x="11036" y="4720"/>
                </a:lnTo>
                <a:lnTo>
                  <a:pt x="11034" y="4716"/>
                </a:lnTo>
                <a:lnTo>
                  <a:pt x="11026" y="4712"/>
                </a:lnTo>
                <a:lnTo>
                  <a:pt x="11024" y="4712"/>
                </a:lnTo>
                <a:lnTo>
                  <a:pt x="11020" y="4712"/>
                </a:lnTo>
                <a:lnTo>
                  <a:pt x="11018" y="4714"/>
                </a:lnTo>
                <a:lnTo>
                  <a:pt x="11018" y="4718"/>
                </a:lnTo>
                <a:lnTo>
                  <a:pt x="11020" y="4724"/>
                </a:lnTo>
                <a:lnTo>
                  <a:pt x="11022" y="4726"/>
                </a:lnTo>
                <a:lnTo>
                  <a:pt x="11024" y="4726"/>
                </a:lnTo>
                <a:lnTo>
                  <a:pt x="11028" y="4726"/>
                </a:lnTo>
                <a:lnTo>
                  <a:pt x="11034" y="4724"/>
                </a:lnTo>
                <a:lnTo>
                  <a:pt x="11036" y="4720"/>
                </a:lnTo>
                <a:close/>
                <a:moveTo>
                  <a:pt x="10980" y="4746"/>
                </a:moveTo>
                <a:lnTo>
                  <a:pt x="10980" y="4746"/>
                </a:lnTo>
                <a:lnTo>
                  <a:pt x="10978" y="4750"/>
                </a:lnTo>
                <a:lnTo>
                  <a:pt x="10980" y="4752"/>
                </a:lnTo>
                <a:lnTo>
                  <a:pt x="10982" y="4752"/>
                </a:lnTo>
                <a:lnTo>
                  <a:pt x="10988" y="4752"/>
                </a:lnTo>
                <a:lnTo>
                  <a:pt x="10992" y="4752"/>
                </a:lnTo>
                <a:lnTo>
                  <a:pt x="10996" y="4752"/>
                </a:lnTo>
                <a:lnTo>
                  <a:pt x="11000" y="4750"/>
                </a:lnTo>
                <a:lnTo>
                  <a:pt x="11000" y="4748"/>
                </a:lnTo>
                <a:lnTo>
                  <a:pt x="10998" y="4746"/>
                </a:lnTo>
                <a:lnTo>
                  <a:pt x="10994" y="4744"/>
                </a:lnTo>
                <a:lnTo>
                  <a:pt x="10992" y="4740"/>
                </a:lnTo>
                <a:lnTo>
                  <a:pt x="10988" y="4740"/>
                </a:lnTo>
                <a:lnTo>
                  <a:pt x="10986" y="4740"/>
                </a:lnTo>
                <a:lnTo>
                  <a:pt x="10984" y="4742"/>
                </a:lnTo>
                <a:lnTo>
                  <a:pt x="10980" y="4746"/>
                </a:lnTo>
                <a:close/>
                <a:moveTo>
                  <a:pt x="11090" y="4588"/>
                </a:moveTo>
                <a:lnTo>
                  <a:pt x="11090" y="4588"/>
                </a:lnTo>
                <a:lnTo>
                  <a:pt x="11088" y="4590"/>
                </a:lnTo>
                <a:lnTo>
                  <a:pt x="11084" y="4590"/>
                </a:lnTo>
                <a:lnTo>
                  <a:pt x="11084" y="4592"/>
                </a:lnTo>
                <a:lnTo>
                  <a:pt x="11086" y="4594"/>
                </a:lnTo>
                <a:lnTo>
                  <a:pt x="11090" y="4596"/>
                </a:lnTo>
                <a:lnTo>
                  <a:pt x="11092" y="4596"/>
                </a:lnTo>
                <a:lnTo>
                  <a:pt x="11094" y="4592"/>
                </a:lnTo>
                <a:lnTo>
                  <a:pt x="11094" y="4590"/>
                </a:lnTo>
                <a:lnTo>
                  <a:pt x="11092" y="4588"/>
                </a:lnTo>
                <a:lnTo>
                  <a:pt x="11090" y="4588"/>
                </a:lnTo>
                <a:close/>
                <a:moveTo>
                  <a:pt x="11132" y="4588"/>
                </a:moveTo>
                <a:lnTo>
                  <a:pt x="11132" y="4588"/>
                </a:lnTo>
                <a:lnTo>
                  <a:pt x="11130" y="4592"/>
                </a:lnTo>
                <a:lnTo>
                  <a:pt x="11132" y="4594"/>
                </a:lnTo>
                <a:lnTo>
                  <a:pt x="11134" y="4596"/>
                </a:lnTo>
                <a:lnTo>
                  <a:pt x="11138" y="4596"/>
                </a:lnTo>
                <a:lnTo>
                  <a:pt x="11140" y="4594"/>
                </a:lnTo>
                <a:lnTo>
                  <a:pt x="11138" y="4590"/>
                </a:lnTo>
                <a:lnTo>
                  <a:pt x="11134" y="4588"/>
                </a:lnTo>
                <a:lnTo>
                  <a:pt x="11132" y="4588"/>
                </a:lnTo>
                <a:close/>
                <a:moveTo>
                  <a:pt x="11030" y="4434"/>
                </a:moveTo>
                <a:lnTo>
                  <a:pt x="11030" y="4434"/>
                </a:lnTo>
                <a:lnTo>
                  <a:pt x="11032" y="4424"/>
                </a:lnTo>
                <a:lnTo>
                  <a:pt x="11030" y="4422"/>
                </a:lnTo>
                <a:lnTo>
                  <a:pt x="11026" y="4422"/>
                </a:lnTo>
                <a:lnTo>
                  <a:pt x="11024" y="4424"/>
                </a:lnTo>
                <a:lnTo>
                  <a:pt x="11024" y="4426"/>
                </a:lnTo>
                <a:lnTo>
                  <a:pt x="11026" y="4430"/>
                </a:lnTo>
                <a:lnTo>
                  <a:pt x="11022" y="4436"/>
                </a:lnTo>
                <a:lnTo>
                  <a:pt x="11022" y="4440"/>
                </a:lnTo>
                <a:lnTo>
                  <a:pt x="11024" y="4442"/>
                </a:lnTo>
                <a:lnTo>
                  <a:pt x="11028" y="4440"/>
                </a:lnTo>
                <a:lnTo>
                  <a:pt x="11030" y="4434"/>
                </a:lnTo>
                <a:close/>
                <a:moveTo>
                  <a:pt x="11026" y="4392"/>
                </a:moveTo>
                <a:lnTo>
                  <a:pt x="11026" y="4392"/>
                </a:lnTo>
                <a:lnTo>
                  <a:pt x="11028" y="4390"/>
                </a:lnTo>
                <a:lnTo>
                  <a:pt x="11030" y="4384"/>
                </a:lnTo>
                <a:lnTo>
                  <a:pt x="11028" y="4380"/>
                </a:lnTo>
                <a:lnTo>
                  <a:pt x="11026" y="4378"/>
                </a:lnTo>
                <a:lnTo>
                  <a:pt x="11024" y="4378"/>
                </a:lnTo>
                <a:lnTo>
                  <a:pt x="11020" y="4376"/>
                </a:lnTo>
                <a:lnTo>
                  <a:pt x="11018" y="4378"/>
                </a:lnTo>
                <a:lnTo>
                  <a:pt x="11018" y="4384"/>
                </a:lnTo>
                <a:lnTo>
                  <a:pt x="11018" y="4388"/>
                </a:lnTo>
                <a:lnTo>
                  <a:pt x="11020" y="4392"/>
                </a:lnTo>
                <a:lnTo>
                  <a:pt x="11024" y="4392"/>
                </a:lnTo>
                <a:lnTo>
                  <a:pt x="11026" y="4392"/>
                </a:lnTo>
                <a:close/>
                <a:moveTo>
                  <a:pt x="11052" y="4436"/>
                </a:moveTo>
                <a:lnTo>
                  <a:pt x="11052" y="4436"/>
                </a:lnTo>
                <a:lnTo>
                  <a:pt x="11052" y="4432"/>
                </a:lnTo>
                <a:lnTo>
                  <a:pt x="11050" y="4428"/>
                </a:lnTo>
                <a:lnTo>
                  <a:pt x="11046" y="4428"/>
                </a:lnTo>
                <a:lnTo>
                  <a:pt x="11042" y="4430"/>
                </a:lnTo>
                <a:lnTo>
                  <a:pt x="11042" y="4432"/>
                </a:lnTo>
                <a:lnTo>
                  <a:pt x="11042" y="4434"/>
                </a:lnTo>
                <a:lnTo>
                  <a:pt x="11044" y="4436"/>
                </a:lnTo>
                <a:lnTo>
                  <a:pt x="11048" y="4440"/>
                </a:lnTo>
                <a:lnTo>
                  <a:pt x="11050" y="4440"/>
                </a:lnTo>
                <a:lnTo>
                  <a:pt x="11052" y="4436"/>
                </a:lnTo>
                <a:close/>
                <a:moveTo>
                  <a:pt x="11074" y="4410"/>
                </a:moveTo>
                <a:lnTo>
                  <a:pt x="11074" y="4410"/>
                </a:lnTo>
                <a:lnTo>
                  <a:pt x="11072" y="4406"/>
                </a:lnTo>
                <a:lnTo>
                  <a:pt x="11070" y="4402"/>
                </a:lnTo>
                <a:lnTo>
                  <a:pt x="11066" y="4398"/>
                </a:lnTo>
                <a:lnTo>
                  <a:pt x="11064" y="4398"/>
                </a:lnTo>
                <a:lnTo>
                  <a:pt x="11062" y="4400"/>
                </a:lnTo>
                <a:lnTo>
                  <a:pt x="11062" y="4402"/>
                </a:lnTo>
                <a:lnTo>
                  <a:pt x="11066" y="4406"/>
                </a:lnTo>
                <a:lnTo>
                  <a:pt x="11068" y="4410"/>
                </a:lnTo>
                <a:lnTo>
                  <a:pt x="11072" y="4414"/>
                </a:lnTo>
                <a:lnTo>
                  <a:pt x="11078" y="4420"/>
                </a:lnTo>
                <a:lnTo>
                  <a:pt x="11080" y="4420"/>
                </a:lnTo>
                <a:lnTo>
                  <a:pt x="11080" y="4418"/>
                </a:lnTo>
                <a:lnTo>
                  <a:pt x="11078" y="4416"/>
                </a:lnTo>
                <a:lnTo>
                  <a:pt x="11076" y="4412"/>
                </a:lnTo>
                <a:lnTo>
                  <a:pt x="11074" y="4410"/>
                </a:lnTo>
                <a:close/>
                <a:moveTo>
                  <a:pt x="11098" y="4436"/>
                </a:moveTo>
                <a:lnTo>
                  <a:pt x="11098" y="4436"/>
                </a:lnTo>
                <a:lnTo>
                  <a:pt x="11098" y="4434"/>
                </a:lnTo>
                <a:lnTo>
                  <a:pt x="11096" y="4428"/>
                </a:lnTo>
                <a:lnTo>
                  <a:pt x="11092" y="4422"/>
                </a:lnTo>
                <a:lnTo>
                  <a:pt x="11090" y="4420"/>
                </a:lnTo>
                <a:lnTo>
                  <a:pt x="11088" y="4422"/>
                </a:lnTo>
                <a:lnTo>
                  <a:pt x="11090" y="4424"/>
                </a:lnTo>
                <a:lnTo>
                  <a:pt x="11092" y="4430"/>
                </a:lnTo>
                <a:lnTo>
                  <a:pt x="11098" y="4436"/>
                </a:lnTo>
                <a:close/>
                <a:moveTo>
                  <a:pt x="10946" y="4524"/>
                </a:moveTo>
                <a:lnTo>
                  <a:pt x="10946" y="4524"/>
                </a:lnTo>
                <a:lnTo>
                  <a:pt x="10946" y="4522"/>
                </a:lnTo>
                <a:lnTo>
                  <a:pt x="10944" y="4520"/>
                </a:lnTo>
                <a:lnTo>
                  <a:pt x="10940" y="4520"/>
                </a:lnTo>
                <a:lnTo>
                  <a:pt x="10936" y="4526"/>
                </a:lnTo>
                <a:lnTo>
                  <a:pt x="10936" y="4530"/>
                </a:lnTo>
                <a:lnTo>
                  <a:pt x="10940" y="4528"/>
                </a:lnTo>
                <a:lnTo>
                  <a:pt x="10946" y="4524"/>
                </a:lnTo>
                <a:close/>
                <a:moveTo>
                  <a:pt x="11172" y="4532"/>
                </a:moveTo>
                <a:lnTo>
                  <a:pt x="11172" y="4532"/>
                </a:lnTo>
                <a:lnTo>
                  <a:pt x="11172" y="4530"/>
                </a:lnTo>
                <a:lnTo>
                  <a:pt x="11170" y="4528"/>
                </a:lnTo>
                <a:lnTo>
                  <a:pt x="11168" y="4534"/>
                </a:lnTo>
                <a:lnTo>
                  <a:pt x="11166" y="4544"/>
                </a:lnTo>
                <a:lnTo>
                  <a:pt x="11168" y="4550"/>
                </a:lnTo>
                <a:lnTo>
                  <a:pt x="11170" y="4554"/>
                </a:lnTo>
                <a:lnTo>
                  <a:pt x="11174" y="4556"/>
                </a:lnTo>
                <a:lnTo>
                  <a:pt x="11174" y="4558"/>
                </a:lnTo>
                <a:lnTo>
                  <a:pt x="11176" y="4552"/>
                </a:lnTo>
                <a:lnTo>
                  <a:pt x="11172" y="4532"/>
                </a:lnTo>
                <a:close/>
                <a:moveTo>
                  <a:pt x="11186" y="4554"/>
                </a:moveTo>
                <a:lnTo>
                  <a:pt x="11186" y="4554"/>
                </a:lnTo>
                <a:lnTo>
                  <a:pt x="11184" y="4558"/>
                </a:lnTo>
                <a:lnTo>
                  <a:pt x="11184" y="4560"/>
                </a:lnTo>
                <a:lnTo>
                  <a:pt x="11186" y="4562"/>
                </a:lnTo>
                <a:lnTo>
                  <a:pt x="11188" y="4562"/>
                </a:lnTo>
                <a:lnTo>
                  <a:pt x="11192" y="4562"/>
                </a:lnTo>
                <a:lnTo>
                  <a:pt x="11192" y="4558"/>
                </a:lnTo>
                <a:lnTo>
                  <a:pt x="11192" y="4556"/>
                </a:lnTo>
                <a:lnTo>
                  <a:pt x="11188" y="4548"/>
                </a:lnTo>
                <a:lnTo>
                  <a:pt x="11186" y="4554"/>
                </a:lnTo>
                <a:close/>
                <a:moveTo>
                  <a:pt x="11082" y="4530"/>
                </a:moveTo>
                <a:lnTo>
                  <a:pt x="11082" y="4530"/>
                </a:lnTo>
                <a:lnTo>
                  <a:pt x="11086" y="4520"/>
                </a:lnTo>
                <a:lnTo>
                  <a:pt x="11086" y="4512"/>
                </a:lnTo>
                <a:lnTo>
                  <a:pt x="11086" y="4506"/>
                </a:lnTo>
                <a:lnTo>
                  <a:pt x="11084" y="4504"/>
                </a:lnTo>
                <a:lnTo>
                  <a:pt x="11082" y="4504"/>
                </a:lnTo>
                <a:lnTo>
                  <a:pt x="11078" y="4504"/>
                </a:lnTo>
                <a:lnTo>
                  <a:pt x="11076" y="4504"/>
                </a:lnTo>
                <a:lnTo>
                  <a:pt x="11072" y="4504"/>
                </a:lnTo>
                <a:lnTo>
                  <a:pt x="11068" y="4506"/>
                </a:lnTo>
                <a:lnTo>
                  <a:pt x="11064" y="4508"/>
                </a:lnTo>
                <a:lnTo>
                  <a:pt x="11064" y="4510"/>
                </a:lnTo>
                <a:lnTo>
                  <a:pt x="11064" y="4516"/>
                </a:lnTo>
                <a:lnTo>
                  <a:pt x="11064" y="4520"/>
                </a:lnTo>
                <a:lnTo>
                  <a:pt x="11062" y="4522"/>
                </a:lnTo>
                <a:lnTo>
                  <a:pt x="11060" y="4524"/>
                </a:lnTo>
                <a:lnTo>
                  <a:pt x="11058" y="4526"/>
                </a:lnTo>
                <a:lnTo>
                  <a:pt x="11058" y="4528"/>
                </a:lnTo>
                <a:lnTo>
                  <a:pt x="11060" y="4536"/>
                </a:lnTo>
                <a:lnTo>
                  <a:pt x="11062" y="4544"/>
                </a:lnTo>
                <a:lnTo>
                  <a:pt x="11060" y="4548"/>
                </a:lnTo>
                <a:lnTo>
                  <a:pt x="11056" y="4550"/>
                </a:lnTo>
                <a:lnTo>
                  <a:pt x="11052" y="4552"/>
                </a:lnTo>
                <a:lnTo>
                  <a:pt x="11050" y="4552"/>
                </a:lnTo>
                <a:lnTo>
                  <a:pt x="11046" y="4552"/>
                </a:lnTo>
                <a:lnTo>
                  <a:pt x="11044" y="4552"/>
                </a:lnTo>
                <a:lnTo>
                  <a:pt x="11040" y="4558"/>
                </a:lnTo>
                <a:lnTo>
                  <a:pt x="11040" y="4562"/>
                </a:lnTo>
                <a:lnTo>
                  <a:pt x="11044" y="4570"/>
                </a:lnTo>
                <a:lnTo>
                  <a:pt x="11050" y="4578"/>
                </a:lnTo>
                <a:lnTo>
                  <a:pt x="11054" y="4582"/>
                </a:lnTo>
                <a:lnTo>
                  <a:pt x="11058" y="4584"/>
                </a:lnTo>
                <a:lnTo>
                  <a:pt x="11062" y="4590"/>
                </a:lnTo>
                <a:lnTo>
                  <a:pt x="11064" y="4598"/>
                </a:lnTo>
                <a:lnTo>
                  <a:pt x="11066" y="4598"/>
                </a:lnTo>
                <a:lnTo>
                  <a:pt x="11068" y="4598"/>
                </a:lnTo>
                <a:lnTo>
                  <a:pt x="11072" y="4596"/>
                </a:lnTo>
                <a:lnTo>
                  <a:pt x="11076" y="4590"/>
                </a:lnTo>
                <a:lnTo>
                  <a:pt x="11078" y="4588"/>
                </a:lnTo>
                <a:lnTo>
                  <a:pt x="11078" y="4584"/>
                </a:lnTo>
                <a:lnTo>
                  <a:pt x="11074" y="4574"/>
                </a:lnTo>
                <a:lnTo>
                  <a:pt x="11072" y="4564"/>
                </a:lnTo>
                <a:lnTo>
                  <a:pt x="11072" y="4560"/>
                </a:lnTo>
                <a:lnTo>
                  <a:pt x="11074" y="4554"/>
                </a:lnTo>
                <a:lnTo>
                  <a:pt x="11076" y="4548"/>
                </a:lnTo>
                <a:lnTo>
                  <a:pt x="11076" y="4542"/>
                </a:lnTo>
                <a:lnTo>
                  <a:pt x="11078" y="4538"/>
                </a:lnTo>
                <a:lnTo>
                  <a:pt x="11082" y="4530"/>
                </a:lnTo>
                <a:close/>
                <a:moveTo>
                  <a:pt x="11084" y="4428"/>
                </a:moveTo>
                <a:lnTo>
                  <a:pt x="11084" y="4428"/>
                </a:lnTo>
                <a:lnTo>
                  <a:pt x="11082" y="4428"/>
                </a:lnTo>
                <a:lnTo>
                  <a:pt x="11078" y="4428"/>
                </a:lnTo>
                <a:lnTo>
                  <a:pt x="11076" y="4428"/>
                </a:lnTo>
                <a:lnTo>
                  <a:pt x="11076" y="4430"/>
                </a:lnTo>
                <a:lnTo>
                  <a:pt x="11076" y="4436"/>
                </a:lnTo>
                <a:lnTo>
                  <a:pt x="11076" y="4442"/>
                </a:lnTo>
                <a:lnTo>
                  <a:pt x="11070" y="4456"/>
                </a:lnTo>
                <a:lnTo>
                  <a:pt x="11070" y="4458"/>
                </a:lnTo>
                <a:lnTo>
                  <a:pt x="11072" y="4456"/>
                </a:lnTo>
                <a:lnTo>
                  <a:pt x="11076" y="4454"/>
                </a:lnTo>
                <a:lnTo>
                  <a:pt x="11084" y="4444"/>
                </a:lnTo>
                <a:lnTo>
                  <a:pt x="11086" y="4444"/>
                </a:lnTo>
                <a:lnTo>
                  <a:pt x="11088" y="4444"/>
                </a:lnTo>
                <a:lnTo>
                  <a:pt x="11090" y="4450"/>
                </a:lnTo>
                <a:lnTo>
                  <a:pt x="11094" y="4456"/>
                </a:lnTo>
                <a:lnTo>
                  <a:pt x="11094" y="4458"/>
                </a:lnTo>
                <a:lnTo>
                  <a:pt x="11096" y="4458"/>
                </a:lnTo>
                <a:lnTo>
                  <a:pt x="11102" y="4462"/>
                </a:lnTo>
                <a:lnTo>
                  <a:pt x="11106" y="4464"/>
                </a:lnTo>
                <a:lnTo>
                  <a:pt x="11110" y="4468"/>
                </a:lnTo>
                <a:lnTo>
                  <a:pt x="11108" y="4464"/>
                </a:lnTo>
                <a:lnTo>
                  <a:pt x="11106" y="4458"/>
                </a:lnTo>
                <a:lnTo>
                  <a:pt x="11104" y="4450"/>
                </a:lnTo>
                <a:lnTo>
                  <a:pt x="11102" y="4446"/>
                </a:lnTo>
                <a:lnTo>
                  <a:pt x="11098" y="4442"/>
                </a:lnTo>
                <a:lnTo>
                  <a:pt x="11094" y="4438"/>
                </a:lnTo>
                <a:lnTo>
                  <a:pt x="11090" y="4434"/>
                </a:lnTo>
                <a:lnTo>
                  <a:pt x="11086" y="4430"/>
                </a:lnTo>
                <a:lnTo>
                  <a:pt x="11084" y="4428"/>
                </a:lnTo>
                <a:close/>
                <a:moveTo>
                  <a:pt x="11108" y="4522"/>
                </a:moveTo>
                <a:lnTo>
                  <a:pt x="11108" y="4522"/>
                </a:lnTo>
                <a:lnTo>
                  <a:pt x="11108" y="4518"/>
                </a:lnTo>
                <a:lnTo>
                  <a:pt x="11108" y="4512"/>
                </a:lnTo>
                <a:lnTo>
                  <a:pt x="11110" y="4510"/>
                </a:lnTo>
                <a:lnTo>
                  <a:pt x="11110" y="4506"/>
                </a:lnTo>
                <a:lnTo>
                  <a:pt x="11108" y="4500"/>
                </a:lnTo>
                <a:lnTo>
                  <a:pt x="11108" y="4492"/>
                </a:lnTo>
                <a:lnTo>
                  <a:pt x="11108" y="4490"/>
                </a:lnTo>
                <a:lnTo>
                  <a:pt x="11106" y="4488"/>
                </a:lnTo>
                <a:lnTo>
                  <a:pt x="11104" y="4498"/>
                </a:lnTo>
                <a:lnTo>
                  <a:pt x="11098" y="4512"/>
                </a:lnTo>
                <a:lnTo>
                  <a:pt x="11096" y="4516"/>
                </a:lnTo>
                <a:lnTo>
                  <a:pt x="11094" y="4524"/>
                </a:lnTo>
                <a:lnTo>
                  <a:pt x="11092" y="4534"/>
                </a:lnTo>
                <a:lnTo>
                  <a:pt x="11088" y="4542"/>
                </a:lnTo>
                <a:lnTo>
                  <a:pt x="11084" y="4548"/>
                </a:lnTo>
                <a:lnTo>
                  <a:pt x="11082" y="4552"/>
                </a:lnTo>
                <a:lnTo>
                  <a:pt x="11080" y="4562"/>
                </a:lnTo>
                <a:lnTo>
                  <a:pt x="11078" y="4574"/>
                </a:lnTo>
                <a:lnTo>
                  <a:pt x="11080" y="4578"/>
                </a:lnTo>
                <a:lnTo>
                  <a:pt x="11080" y="4580"/>
                </a:lnTo>
                <a:lnTo>
                  <a:pt x="11080" y="4578"/>
                </a:lnTo>
                <a:lnTo>
                  <a:pt x="11084" y="4574"/>
                </a:lnTo>
                <a:lnTo>
                  <a:pt x="11086" y="4568"/>
                </a:lnTo>
                <a:lnTo>
                  <a:pt x="11088" y="4562"/>
                </a:lnTo>
                <a:lnTo>
                  <a:pt x="11090" y="4558"/>
                </a:lnTo>
                <a:lnTo>
                  <a:pt x="11092" y="4556"/>
                </a:lnTo>
                <a:lnTo>
                  <a:pt x="11092" y="4550"/>
                </a:lnTo>
                <a:lnTo>
                  <a:pt x="11092" y="4548"/>
                </a:lnTo>
                <a:lnTo>
                  <a:pt x="11094" y="4544"/>
                </a:lnTo>
                <a:lnTo>
                  <a:pt x="11100" y="4538"/>
                </a:lnTo>
                <a:lnTo>
                  <a:pt x="11106" y="4532"/>
                </a:lnTo>
                <a:lnTo>
                  <a:pt x="11108" y="4528"/>
                </a:lnTo>
                <a:lnTo>
                  <a:pt x="11108" y="4522"/>
                </a:lnTo>
                <a:close/>
                <a:moveTo>
                  <a:pt x="11114" y="4542"/>
                </a:moveTo>
                <a:lnTo>
                  <a:pt x="11114" y="4542"/>
                </a:lnTo>
                <a:lnTo>
                  <a:pt x="11110" y="4548"/>
                </a:lnTo>
                <a:lnTo>
                  <a:pt x="11104" y="4554"/>
                </a:lnTo>
                <a:lnTo>
                  <a:pt x="11102" y="4556"/>
                </a:lnTo>
                <a:lnTo>
                  <a:pt x="11100" y="4558"/>
                </a:lnTo>
                <a:lnTo>
                  <a:pt x="11098" y="4562"/>
                </a:lnTo>
                <a:lnTo>
                  <a:pt x="11100" y="4568"/>
                </a:lnTo>
                <a:lnTo>
                  <a:pt x="11102" y="4570"/>
                </a:lnTo>
                <a:lnTo>
                  <a:pt x="11106" y="4572"/>
                </a:lnTo>
                <a:lnTo>
                  <a:pt x="11112" y="4572"/>
                </a:lnTo>
                <a:lnTo>
                  <a:pt x="11118" y="4570"/>
                </a:lnTo>
                <a:lnTo>
                  <a:pt x="11122" y="4568"/>
                </a:lnTo>
                <a:lnTo>
                  <a:pt x="11126" y="4566"/>
                </a:lnTo>
                <a:lnTo>
                  <a:pt x="11128" y="4564"/>
                </a:lnTo>
                <a:lnTo>
                  <a:pt x="11130" y="4564"/>
                </a:lnTo>
                <a:lnTo>
                  <a:pt x="11128" y="4560"/>
                </a:lnTo>
                <a:lnTo>
                  <a:pt x="11128" y="4556"/>
                </a:lnTo>
                <a:lnTo>
                  <a:pt x="11130" y="4550"/>
                </a:lnTo>
                <a:lnTo>
                  <a:pt x="11130" y="4546"/>
                </a:lnTo>
                <a:lnTo>
                  <a:pt x="11130" y="4544"/>
                </a:lnTo>
                <a:lnTo>
                  <a:pt x="11128" y="4544"/>
                </a:lnTo>
                <a:lnTo>
                  <a:pt x="11128" y="4546"/>
                </a:lnTo>
                <a:lnTo>
                  <a:pt x="11126" y="4546"/>
                </a:lnTo>
                <a:lnTo>
                  <a:pt x="11122" y="4546"/>
                </a:lnTo>
                <a:lnTo>
                  <a:pt x="11120" y="4544"/>
                </a:lnTo>
                <a:lnTo>
                  <a:pt x="11118" y="4542"/>
                </a:lnTo>
                <a:lnTo>
                  <a:pt x="11116" y="4540"/>
                </a:lnTo>
                <a:lnTo>
                  <a:pt x="11114" y="4542"/>
                </a:lnTo>
                <a:close/>
                <a:moveTo>
                  <a:pt x="11168" y="4562"/>
                </a:moveTo>
                <a:lnTo>
                  <a:pt x="11168" y="4562"/>
                </a:lnTo>
                <a:lnTo>
                  <a:pt x="11164" y="4560"/>
                </a:lnTo>
                <a:lnTo>
                  <a:pt x="11162" y="4560"/>
                </a:lnTo>
                <a:lnTo>
                  <a:pt x="11162" y="4562"/>
                </a:lnTo>
                <a:lnTo>
                  <a:pt x="11166" y="4582"/>
                </a:lnTo>
                <a:lnTo>
                  <a:pt x="11166" y="4596"/>
                </a:lnTo>
                <a:lnTo>
                  <a:pt x="11166" y="4600"/>
                </a:lnTo>
                <a:lnTo>
                  <a:pt x="11164" y="4602"/>
                </a:lnTo>
                <a:lnTo>
                  <a:pt x="11160" y="4600"/>
                </a:lnTo>
                <a:lnTo>
                  <a:pt x="11156" y="4598"/>
                </a:lnTo>
                <a:lnTo>
                  <a:pt x="11154" y="4598"/>
                </a:lnTo>
                <a:lnTo>
                  <a:pt x="11152" y="4598"/>
                </a:lnTo>
                <a:lnTo>
                  <a:pt x="11152" y="4604"/>
                </a:lnTo>
                <a:lnTo>
                  <a:pt x="11150" y="4608"/>
                </a:lnTo>
                <a:lnTo>
                  <a:pt x="11148" y="4608"/>
                </a:lnTo>
                <a:lnTo>
                  <a:pt x="11146" y="4604"/>
                </a:lnTo>
                <a:lnTo>
                  <a:pt x="11142" y="4600"/>
                </a:lnTo>
                <a:lnTo>
                  <a:pt x="11140" y="4600"/>
                </a:lnTo>
                <a:lnTo>
                  <a:pt x="11138" y="4600"/>
                </a:lnTo>
                <a:lnTo>
                  <a:pt x="11138" y="4604"/>
                </a:lnTo>
                <a:lnTo>
                  <a:pt x="11136" y="4622"/>
                </a:lnTo>
                <a:lnTo>
                  <a:pt x="11136" y="4626"/>
                </a:lnTo>
                <a:lnTo>
                  <a:pt x="11134" y="4626"/>
                </a:lnTo>
                <a:lnTo>
                  <a:pt x="11128" y="4622"/>
                </a:lnTo>
                <a:lnTo>
                  <a:pt x="11126" y="4620"/>
                </a:lnTo>
                <a:lnTo>
                  <a:pt x="11122" y="4620"/>
                </a:lnTo>
                <a:lnTo>
                  <a:pt x="11120" y="4622"/>
                </a:lnTo>
                <a:lnTo>
                  <a:pt x="11118" y="4628"/>
                </a:lnTo>
                <a:lnTo>
                  <a:pt x="11114" y="4636"/>
                </a:lnTo>
                <a:lnTo>
                  <a:pt x="11112" y="4640"/>
                </a:lnTo>
                <a:lnTo>
                  <a:pt x="11110" y="4640"/>
                </a:lnTo>
                <a:lnTo>
                  <a:pt x="11104" y="4644"/>
                </a:lnTo>
                <a:lnTo>
                  <a:pt x="11098" y="4646"/>
                </a:lnTo>
                <a:lnTo>
                  <a:pt x="11098" y="4644"/>
                </a:lnTo>
                <a:lnTo>
                  <a:pt x="11100" y="4640"/>
                </a:lnTo>
                <a:lnTo>
                  <a:pt x="11100" y="4632"/>
                </a:lnTo>
                <a:lnTo>
                  <a:pt x="11098" y="4624"/>
                </a:lnTo>
                <a:lnTo>
                  <a:pt x="11096" y="4620"/>
                </a:lnTo>
                <a:lnTo>
                  <a:pt x="11092" y="4618"/>
                </a:lnTo>
                <a:lnTo>
                  <a:pt x="11088" y="4618"/>
                </a:lnTo>
                <a:lnTo>
                  <a:pt x="11086" y="4618"/>
                </a:lnTo>
                <a:lnTo>
                  <a:pt x="11086" y="4616"/>
                </a:lnTo>
                <a:lnTo>
                  <a:pt x="11086" y="4614"/>
                </a:lnTo>
                <a:lnTo>
                  <a:pt x="11084" y="4614"/>
                </a:lnTo>
                <a:lnTo>
                  <a:pt x="11082" y="4614"/>
                </a:lnTo>
                <a:lnTo>
                  <a:pt x="11080" y="4618"/>
                </a:lnTo>
                <a:lnTo>
                  <a:pt x="11078" y="4622"/>
                </a:lnTo>
                <a:lnTo>
                  <a:pt x="11074" y="4622"/>
                </a:lnTo>
                <a:lnTo>
                  <a:pt x="11070" y="4624"/>
                </a:lnTo>
                <a:lnTo>
                  <a:pt x="11066" y="4628"/>
                </a:lnTo>
                <a:lnTo>
                  <a:pt x="11064" y="4632"/>
                </a:lnTo>
                <a:lnTo>
                  <a:pt x="11066" y="4636"/>
                </a:lnTo>
                <a:lnTo>
                  <a:pt x="11066" y="4640"/>
                </a:lnTo>
                <a:lnTo>
                  <a:pt x="11064" y="4642"/>
                </a:lnTo>
                <a:lnTo>
                  <a:pt x="11058" y="4642"/>
                </a:lnTo>
                <a:lnTo>
                  <a:pt x="11054" y="4642"/>
                </a:lnTo>
                <a:lnTo>
                  <a:pt x="11052" y="4640"/>
                </a:lnTo>
                <a:lnTo>
                  <a:pt x="11050" y="4642"/>
                </a:lnTo>
                <a:lnTo>
                  <a:pt x="11048" y="4644"/>
                </a:lnTo>
                <a:lnTo>
                  <a:pt x="11044" y="4646"/>
                </a:lnTo>
                <a:lnTo>
                  <a:pt x="11038" y="4648"/>
                </a:lnTo>
                <a:lnTo>
                  <a:pt x="11034" y="4652"/>
                </a:lnTo>
                <a:lnTo>
                  <a:pt x="11030" y="4658"/>
                </a:lnTo>
                <a:lnTo>
                  <a:pt x="11030" y="4662"/>
                </a:lnTo>
                <a:lnTo>
                  <a:pt x="11028" y="4672"/>
                </a:lnTo>
                <a:lnTo>
                  <a:pt x="11026" y="4678"/>
                </a:lnTo>
                <a:lnTo>
                  <a:pt x="11022" y="4686"/>
                </a:lnTo>
                <a:lnTo>
                  <a:pt x="11022" y="4692"/>
                </a:lnTo>
                <a:lnTo>
                  <a:pt x="11022" y="4694"/>
                </a:lnTo>
                <a:lnTo>
                  <a:pt x="11024" y="4700"/>
                </a:lnTo>
                <a:lnTo>
                  <a:pt x="11028" y="4702"/>
                </a:lnTo>
                <a:lnTo>
                  <a:pt x="11030" y="4704"/>
                </a:lnTo>
                <a:lnTo>
                  <a:pt x="11032" y="4700"/>
                </a:lnTo>
                <a:lnTo>
                  <a:pt x="11036" y="4686"/>
                </a:lnTo>
                <a:lnTo>
                  <a:pt x="11040" y="4680"/>
                </a:lnTo>
                <a:lnTo>
                  <a:pt x="11040" y="4676"/>
                </a:lnTo>
                <a:lnTo>
                  <a:pt x="11040" y="4674"/>
                </a:lnTo>
                <a:lnTo>
                  <a:pt x="11042" y="4674"/>
                </a:lnTo>
                <a:lnTo>
                  <a:pt x="11044" y="4672"/>
                </a:lnTo>
                <a:lnTo>
                  <a:pt x="11046" y="4668"/>
                </a:lnTo>
                <a:lnTo>
                  <a:pt x="11046" y="4666"/>
                </a:lnTo>
                <a:lnTo>
                  <a:pt x="11048" y="4662"/>
                </a:lnTo>
                <a:lnTo>
                  <a:pt x="11052" y="4658"/>
                </a:lnTo>
                <a:lnTo>
                  <a:pt x="11056" y="4660"/>
                </a:lnTo>
                <a:lnTo>
                  <a:pt x="11058" y="4666"/>
                </a:lnTo>
                <a:lnTo>
                  <a:pt x="11056" y="4670"/>
                </a:lnTo>
                <a:lnTo>
                  <a:pt x="11058" y="4674"/>
                </a:lnTo>
                <a:lnTo>
                  <a:pt x="11060" y="4674"/>
                </a:lnTo>
                <a:lnTo>
                  <a:pt x="11066" y="4670"/>
                </a:lnTo>
                <a:lnTo>
                  <a:pt x="11070" y="4664"/>
                </a:lnTo>
                <a:lnTo>
                  <a:pt x="11072" y="4662"/>
                </a:lnTo>
                <a:lnTo>
                  <a:pt x="11072" y="4666"/>
                </a:lnTo>
                <a:lnTo>
                  <a:pt x="11072" y="4672"/>
                </a:lnTo>
                <a:lnTo>
                  <a:pt x="11072" y="4674"/>
                </a:lnTo>
                <a:lnTo>
                  <a:pt x="11074" y="4674"/>
                </a:lnTo>
                <a:lnTo>
                  <a:pt x="11080" y="4678"/>
                </a:lnTo>
                <a:lnTo>
                  <a:pt x="11084" y="4678"/>
                </a:lnTo>
                <a:lnTo>
                  <a:pt x="11082" y="4674"/>
                </a:lnTo>
                <a:lnTo>
                  <a:pt x="11082" y="4670"/>
                </a:lnTo>
                <a:lnTo>
                  <a:pt x="11084" y="4666"/>
                </a:lnTo>
                <a:lnTo>
                  <a:pt x="11086" y="4664"/>
                </a:lnTo>
                <a:lnTo>
                  <a:pt x="11084" y="4662"/>
                </a:lnTo>
                <a:lnTo>
                  <a:pt x="11082" y="4658"/>
                </a:lnTo>
                <a:lnTo>
                  <a:pt x="11084" y="4656"/>
                </a:lnTo>
                <a:lnTo>
                  <a:pt x="11088" y="4656"/>
                </a:lnTo>
                <a:lnTo>
                  <a:pt x="11094" y="4660"/>
                </a:lnTo>
                <a:lnTo>
                  <a:pt x="11098" y="4662"/>
                </a:lnTo>
                <a:lnTo>
                  <a:pt x="11104" y="4664"/>
                </a:lnTo>
                <a:lnTo>
                  <a:pt x="11108" y="4666"/>
                </a:lnTo>
                <a:lnTo>
                  <a:pt x="11110" y="4672"/>
                </a:lnTo>
                <a:lnTo>
                  <a:pt x="11112" y="4676"/>
                </a:lnTo>
                <a:lnTo>
                  <a:pt x="11112" y="4678"/>
                </a:lnTo>
                <a:lnTo>
                  <a:pt x="11114" y="4678"/>
                </a:lnTo>
                <a:lnTo>
                  <a:pt x="11114" y="4680"/>
                </a:lnTo>
                <a:lnTo>
                  <a:pt x="11112" y="4686"/>
                </a:lnTo>
                <a:lnTo>
                  <a:pt x="11108" y="4692"/>
                </a:lnTo>
                <a:lnTo>
                  <a:pt x="11104" y="4698"/>
                </a:lnTo>
                <a:lnTo>
                  <a:pt x="11104" y="4702"/>
                </a:lnTo>
                <a:lnTo>
                  <a:pt x="11104" y="4706"/>
                </a:lnTo>
                <a:lnTo>
                  <a:pt x="11106" y="4718"/>
                </a:lnTo>
                <a:lnTo>
                  <a:pt x="11108" y="4726"/>
                </a:lnTo>
                <a:lnTo>
                  <a:pt x="11110" y="4730"/>
                </a:lnTo>
                <a:lnTo>
                  <a:pt x="11112" y="4734"/>
                </a:lnTo>
                <a:lnTo>
                  <a:pt x="11114" y="4736"/>
                </a:lnTo>
                <a:lnTo>
                  <a:pt x="11116" y="4738"/>
                </a:lnTo>
                <a:lnTo>
                  <a:pt x="11122" y="4742"/>
                </a:lnTo>
                <a:lnTo>
                  <a:pt x="11140" y="4752"/>
                </a:lnTo>
                <a:lnTo>
                  <a:pt x="11146" y="4752"/>
                </a:lnTo>
                <a:lnTo>
                  <a:pt x="11150" y="4748"/>
                </a:lnTo>
                <a:lnTo>
                  <a:pt x="11152" y="4742"/>
                </a:lnTo>
                <a:lnTo>
                  <a:pt x="11154" y="4742"/>
                </a:lnTo>
                <a:lnTo>
                  <a:pt x="11156" y="4744"/>
                </a:lnTo>
                <a:lnTo>
                  <a:pt x="11156" y="4748"/>
                </a:lnTo>
                <a:lnTo>
                  <a:pt x="11154" y="4756"/>
                </a:lnTo>
                <a:lnTo>
                  <a:pt x="11156" y="4764"/>
                </a:lnTo>
                <a:lnTo>
                  <a:pt x="11158" y="4766"/>
                </a:lnTo>
                <a:lnTo>
                  <a:pt x="11160" y="4768"/>
                </a:lnTo>
                <a:lnTo>
                  <a:pt x="11162" y="4766"/>
                </a:lnTo>
                <a:lnTo>
                  <a:pt x="11166" y="4762"/>
                </a:lnTo>
                <a:lnTo>
                  <a:pt x="11170" y="4754"/>
                </a:lnTo>
                <a:lnTo>
                  <a:pt x="11174" y="4746"/>
                </a:lnTo>
                <a:lnTo>
                  <a:pt x="11174" y="4738"/>
                </a:lnTo>
                <a:lnTo>
                  <a:pt x="11172" y="4732"/>
                </a:lnTo>
                <a:lnTo>
                  <a:pt x="11170" y="4722"/>
                </a:lnTo>
                <a:lnTo>
                  <a:pt x="11166" y="4718"/>
                </a:lnTo>
                <a:lnTo>
                  <a:pt x="11164" y="4716"/>
                </a:lnTo>
                <a:lnTo>
                  <a:pt x="11162" y="4716"/>
                </a:lnTo>
                <a:lnTo>
                  <a:pt x="11162" y="4714"/>
                </a:lnTo>
                <a:lnTo>
                  <a:pt x="11162" y="4706"/>
                </a:lnTo>
                <a:lnTo>
                  <a:pt x="11164" y="4700"/>
                </a:lnTo>
                <a:lnTo>
                  <a:pt x="11168" y="4696"/>
                </a:lnTo>
                <a:lnTo>
                  <a:pt x="11172" y="4694"/>
                </a:lnTo>
                <a:lnTo>
                  <a:pt x="11172" y="4690"/>
                </a:lnTo>
                <a:lnTo>
                  <a:pt x="11172" y="4686"/>
                </a:lnTo>
                <a:lnTo>
                  <a:pt x="11176" y="4682"/>
                </a:lnTo>
                <a:lnTo>
                  <a:pt x="11180" y="4682"/>
                </a:lnTo>
                <a:lnTo>
                  <a:pt x="11182" y="4688"/>
                </a:lnTo>
                <a:lnTo>
                  <a:pt x="11184" y="4696"/>
                </a:lnTo>
                <a:lnTo>
                  <a:pt x="11184" y="4700"/>
                </a:lnTo>
                <a:lnTo>
                  <a:pt x="11188" y="4706"/>
                </a:lnTo>
                <a:lnTo>
                  <a:pt x="11190" y="4708"/>
                </a:lnTo>
                <a:lnTo>
                  <a:pt x="11188" y="4712"/>
                </a:lnTo>
                <a:lnTo>
                  <a:pt x="11188" y="4718"/>
                </a:lnTo>
                <a:lnTo>
                  <a:pt x="11192" y="4728"/>
                </a:lnTo>
                <a:lnTo>
                  <a:pt x="11192" y="4730"/>
                </a:lnTo>
                <a:lnTo>
                  <a:pt x="11194" y="4730"/>
                </a:lnTo>
                <a:lnTo>
                  <a:pt x="11196" y="4726"/>
                </a:lnTo>
                <a:lnTo>
                  <a:pt x="11196" y="4716"/>
                </a:lnTo>
                <a:lnTo>
                  <a:pt x="11194" y="4706"/>
                </a:lnTo>
                <a:lnTo>
                  <a:pt x="11194" y="4702"/>
                </a:lnTo>
                <a:lnTo>
                  <a:pt x="11196" y="4702"/>
                </a:lnTo>
                <a:lnTo>
                  <a:pt x="11198" y="4704"/>
                </a:lnTo>
                <a:lnTo>
                  <a:pt x="11200" y="4704"/>
                </a:lnTo>
                <a:lnTo>
                  <a:pt x="11200" y="4702"/>
                </a:lnTo>
                <a:lnTo>
                  <a:pt x="11198" y="4698"/>
                </a:lnTo>
                <a:lnTo>
                  <a:pt x="11200" y="4698"/>
                </a:lnTo>
                <a:lnTo>
                  <a:pt x="11204" y="4698"/>
                </a:lnTo>
                <a:lnTo>
                  <a:pt x="11208" y="4692"/>
                </a:lnTo>
                <a:lnTo>
                  <a:pt x="11210" y="4686"/>
                </a:lnTo>
                <a:lnTo>
                  <a:pt x="11210" y="4682"/>
                </a:lnTo>
                <a:lnTo>
                  <a:pt x="11210" y="4668"/>
                </a:lnTo>
                <a:lnTo>
                  <a:pt x="11208" y="4662"/>
                </a:lnTo>
                <a:lnTo>
                  <a:pt x="11206" y="4660"/>
                </a:lnTo>
                <a:lnTo>
                  <a:pt x="11204" y="4660"/>
                </a:lnTo>
                <a:lnTo>
                  <a:pt x="11202" y="4656"/>
                </a:lnTo>
                <a:lnTo>
                  <a:pt x="11202" y="4652"/>
                </a:lnTo>
                <a:lnTo>
                  <a:pt x="11204" y="4646"/>
                </a:lnTo>
                <a:lnTo>
                  <a:pt x="11206" y="4640"/>
                </a:lnTo>
                <a:lnTo>
                  <a:pt x="11204" y="4636"/>
                </a:lnTo>
                <a:lnTo>
                  <a:pt x="11202" y="4632"/>
                </a:lnTo>
                <a:lnTo>
                  <a:pt x="11202" y="4628"/>
                </a:lnTo>
                <a:lnTo>
                  <a:pt x="11200" y="4624"/>
                </a:lnTo>
                <a:lnTo>
                  <a:pt x="11200" y="4622"/>
                </a:lnTo>
                <a:lnTo>
                  <a:pt x="11196" y="4622"/>
                </a:lnTo>
                <a:lnTo>
                  <a:pt x="11192" y="4622"/>
                </a:lnTo>
                <a:lnTo>
                  <a:pt x="11190" y="4620"/>
                </a:lnTo>
                <a:lnTo>
                  <a:pt x="11190" y="4618"/>
                </a:lnTo>
                <a:lnTo>
                  <a:pt x="11192" y="4618"/>
                </a:lnTo>
                <a:lnTo>
                  <a:pt x="11196" y="4614"/>
                </a:lnTo>
                <a:lnTo>
                  <a:pt x="11198" y="4610"/>
                </a:lnTo>
                <a:lnTo>
                  <a:pt x="11200" y="4606"/>
                </a:lnTo>
                <a:lnTo>
                  <a:pt x="11198" y="4600"/>
                </a:lnTo>
                <a:lnTo>
                  <a:pt x="11194" y="4594"/>
                </a:lnTo>
                <a:lnTo>
                  <a:pt x="11194" y="4588"/>
                </a:lnTo>
                <a:lnTo>
                  <a:pt x="11194" y="4586"/>
                </a:lnTo>
                <a:lnTo>
                  <a:pt x="11192" y="4586"/>
                </a:lnTo>
                <a:lnTo>
                  <a:pt x="11188" y="4588"/>
                </a:lnTo>
                <a:lnTo>
                  <a:pt x="11186" y="4584"/>
                </a:lnTo>
                <a:lnTo>
                  <a:pt x="11184" y="4578"/>
                </a:lnTo>
                <a:lnTo>
                  <a:pt x="11182" y="4576"/>
                </a:lnTo>
                <a:lnTo>
                  <a:pt x="11178" y="4574"/>
                </a:lnTo>
                <a:lnTo>
                  <a:pt x="11172" y="4570"/>
                </a:lnTo>
                <a:lnTo>
                  <a:pt x="11170" y="4568"/>
                </a:lnTo>
                <a:lnTo>
                  <a:pt x="11170" y="4566"/>
                </a:lnTo>
                <a:lnTo>
                  <a:pt x="11168" y="4562"/>
                </a:lnTo>
                <a:close/>
                <a:moveTo>
                  <a:pt x="11152" y="4426"/>
                </a:moveTo>
                <a:lnTo>
                  <a:pt x="11152" y="4426"/>
                </a:lnTo>
                <a:lnTo>
                  <a:pt x="11146" y="4424"/>
                </a:lnTo>
                <a:lnTo>
                  <a:pt x="11138" y="4426"/>
                </a:lnTo>
                <a:lnTo>
                  <a:pt x="11130" y="4428"/>
                </a:lnTo>
                <a:lnTo>
                  <a:pt x="11122" y="4426"/>
                </a:lnTo>
                <a:lnTo>
                  <a:pt x="11118" y="4426"/>
                </a:lnTo>
                <a:lnTo>
                  <a:pt x="11116" y="4426"/>
                </a:lnTo>
                <a:lnTo>
                  <a:pt x="11118" y="4434"/>
                </a:lnTo>
                <a:lnTo>
                  <a:pt x="11122" y="4444"/>
                </a:lnTo>
                <a:lnTo>
                  <a:pt x="11130" y="4452"/>
                </a:lnTo>
                <a:lnTo>
                  <a:pt x="11134" y="4456"/>
                </a:lnTo>
                <a:lnTo>
                  <a:pt x="11136" y="4460"/>
                </a:lnTo>
                <a:lnTo>
                  <a:pt x="11138" y="4462"/>
                </a:lnTo>
                <a:lnTo>
                  <a:pt x="11142" y="4464"/>
                </a:lnTo>
                <a:lnTo>
                  <a:pt x="11146" y="4466"/>
                </a:lnTo>
                <a:lnTo>
                  <a:pt x="11148" y="4468"/>
                </a:lnTo>
                <a:lnTo>
                  <a:pt x="11146" y="4472"/>
                </a:lnTo>
                <a:lnTo>
                  <a:pt x="11142" y="4474"/>
                </a:lnTo>
                <a:lnTo>
                  <a:pt x="11142" y="4476"/>
                </a:lnTo>
                <a:lnTo>
                  <a:pt x="11142" y="4478"/>
                </a:lnTo>
                <a:lnTo>
                  <a:pt x="11144" y="4480"/>
                </a:lnTo>
                <a:lnTo>
                  <a:pt x="11150" y="4486"/>
                </a:lnTo>
                <a:lnTo>
                  <a:pt x="11152" y="4496"/>
                </a:lnTo>
                <a:lnTo>
                  <a:pt x="11154" y="4498"/>
                </a:lnTo>
                <a:lnTo>
                  <a:pt x="11156" y="4498"/>
                </a:lnTo>
                <a:lnTo>
                  <a:pt x="11160" y="4498"/>
                </a:lnTo>
                <a:lnTo>
                  <a:pt x="11164" y="4498"/>
                </a:lnTo>
                <a:lnTo>
                  <a:pt x="11168" y="4498"/>
                </a:lnTo>
                <a:lnTo>
                  <a:pt x="11170" y="4500"/>
                </a:lnTo>
                <a:lnTo>
                  <a:pt x="11174" y="4502"/>
                </a:lnTo>
                <a:lnTo>
                  <a:pt x="11176" y="4500"/>
                </a:lnTo>
                <a:lnTo>
                  <a:pt x="11174" y="4494"/>
                </a:lnTo>
                <a:lnTo>
                  <a:pt x="11172" y="4492"/>
                </a:lnTo>
                <a:lnTo>
                  <a:pt x="11170" y="4488"/>
                </a:lnTo>
                <a:lnTo>
                  <a:pt x="11170" y="4486"/>
                </a:lnTo>
                <a:lnTo>
                  <a:pt x="11170" y="4484"/>
                </a:lnTo>
                <a:lnTo>
                  <a:pt x="11166" y="4480"/>
                </a:lnTo>
                <a:lnTo>
                  <a:pt x="11164" y="4476"/>
                </a:lnTo>
                <a:lnTo>
                  <a:pt x="11164" y="4472"/>
                </a:lnTo>
                <a:lnTo>
                  <a:pt x="11164" y="4458"/>
                </a:lnTo>
                <a:lnTo>
                  <a:pt x="11166" y="4446"/>
                </a:lnTo>
                <a:lnTo>
                  <a:pt x="11164" y="4442"/>
                </a:lnTo>
                <a:lnTo>
                  <a:pt x="11162" y="4440"/>
                </a:lnTo>
                <a:lnTo>
                  <a:pt x="11158" y="4436"/>
                </a:lnTo>
                <a:lnTo>
                  <a:pt x="11158" y="4432"/>
                </a:lnTo>
                <a:lnTo>
                  <a:pt x="11156" y="4428"/>
                </a:lnTo>
                <a:lnTo>
                  <a:pt x="11152" y="4426"/>
                </a:lnTo>
                <a:close/>
                <a:moveTo>
                  <a:pt x="11024" y="4468"/>
                </a:moveTo>
                <a:lnTo>
                  <a:pt x="11024" y="4468"/>
                </a:lnTo>
                <a:lnTo>
                  <a:pt x="11026" y="4470"/>
                </a:lnTo>
                <a:lnTo>
                  <a:pt x="11028" y="4472"/>
                </a:lnTo>
                <a:lnTo>
                  <a:pt x="11028" y="4478"/>
                </a:lnTo>
                <a:lnTo>
                  <a:pt x="11026" y="4486"/>
                </a:lnTo>
                <a:lnTo>
                  <a:pt x="11028" y="4494"/>
                </a:lnTo>
                <a:lnTo>
                  <a:pt x="11028" y="4502"/>
                </a:lnTo>
                <a:lnTo>
                  <a:pt x="11026" y="4506"/>
                </a:lnTo>
                <a:lnTo>
                  <a:pt x="11022" y="4510"/>
                </a:lnTo>
                <a:lnTo>
                  <a:pt x="11022" y="4522"/>
                </a:lnTo>
                <a:lnTo>
                  <a:pt x="11022" y="4528"/>
                </a:lnTo>
                <a:lnTo>
                  <a:pt x="11024" y="4530"/>
                </a:lnTo>
                <a:lnTo>
                  <a:pt x="11026" y="4530"/>
                </a:lnTo>
                <a:lnTo>
                  <a:pt x="11028" y="4528"/>
                </a:lnTo>
                <a:lnTo>
                  <a:pt x="11034" y="4522"/>
                </a:lnTo>
                <a:lnTo>
                  <a:pt x="11036" y="4520"/>
                </a:lnTo>
                <a:lnTo>
                  <a:pt x="11040" y="4520"/>
                </a:lnTo>
                <a:lnTo>
                  <a:pt x="11046" y="4516"/>
                </a:lnTo>
                <a:lnTo>
                  <a:pt x="11054" y="4512"/>
                </a:lnTo>
                <a:lnTo>
                  <a:pt x="11066" y="4498"/>
                </a:lnTo>
                <a:lnTo>
                  <a:pt x="11070" y="4494"/>
                </a:lnTo>
                <a:lnTo>
                  <a:pt x="11072" y="4490"/>
                </a:lnTo>
                <a:lnTo>
                  <a:pt x="11072" y="4482"/>
                </a:lnTo>
                <a:lnTo>
                  <a:pt x="11070" y="4476"/>
                </a:lnTo>
                <a:lnTo>
                  <a:pt x="11068" y="4476"/>
                </a:lnTo>
                <a:lnTo>
                  <a:pt x="11066" y="4478"/>
                </a:lnTo>
                <a:lnTo>
                  <a:pt x="11064" y="4478"/>
                </a:lnTo>
                <a:lnTo>
                  <a:pt x="11060" y="4474"/>
                </a:lnTo>
                <a:lnTo>
                  <a:pt x="11056" y="4472"/>
                </a:lnTo>
                <a:lnTo>
                  <a:pt x="11054" y="4474"/>
                </a:lnTo>
                <a:lnTo>
                  <a:pt x="11050" y="4474"/>
                </a:lnTo>
                <a:lnTo>
                  <a:pt x="11048" y="4474"/>
                </a:lnTo>
                <a:lnTo>
                  <a:pt x="11042" y="4470"/>
                </a:lnTo>
                <a:lnTo>
                  <a:pt x="11036" y="4464"/>
                </a:lnTo>
                <a:lnTo>
                  <a:pt x="11028" y="4458"/>
                </a:lnTo>
                <a:lnTo>
                  <a:pt x="11020" y="4458"/>
                </a:lnTo>
                <a:lnTo>
                  <a:pt x="11018" y="4460"/>
                </a:lnTo>
                <a:lnTo>
                  <a:pt x="11018" y="4464"/>
                </a:lnTo>
                <a:lnTo>
                  <a:pt x="11024" y="4468"/>
                </a:lnTo>
                <a:close/>
                <a:moveTo>
                  <a:pt x="10976" y="4378"/>
                </a:moveTo>
                <a:lnTo>
                  <a:pt x="10976" y="4378"/>
                </a:lnTo>
                <a:lnTo>
                  <a:pt x="10964" y="4378"/>
                </a:lnTo>
                <a:lnTo>
                  <a:pt x="10958" y="4380"/>
                </a:lnTo>
                <a:lnTo>
                  <a:pt x="10956" y="4382"/>
                </a:lnTo>
                <a:lnTo>
                  <a:pt x="10960" y="4384"/>
                </a:lnTo>
                <a:lnTo>
                  <a:pt x="10964" y="4386"/>
                </a:lnTo>
                <a:lnTo>
                  <a:pt x="10966" y="4390"/>
                </a:lnTo>
                <a:lnTo>
                  <a:pt x="10966" y="4392"/>
                </a:lnTo>
                <a:lnTo>
                  <a:pt x="10970" y="4396"/>
                </a:lnTo>
                <a:lnTo>
                  <a:pt x="10974" y="4400"/>
                </a:lnTo>
                <a:lnTo>
                  <a:pt x="10976" y="4410"/>
                </a:lnTo>
                <a:lnTo>
                  <a:pt x="10980" y="4424"/>
                </a:lnTo>
                <a:lnTo>
                  <a:pt x="10986" y="4436"/>
                </a:lnTo>
                <a:lnTo>
                  <a:pt x="10990" y="4442"/>
                </a:lnTo>
                <a:lnTo>
                  <a:pt x="10992" y="4444"/>
                </a:lnTo>
                <a:lnTo>
                  <a:pt x="10996" y="4444"/>
                </a:lnTo>
                <a:lnTo>
                  <a:pt x="11000" y="4440"/>
                </a:lnTo>
                <a:lnTo>
                  <a:pt x="11004" y="4430"/>
                </a:lnTo>
                <a:lnTo>
                  <a:pt x="11006" y="4424"/>
                </a:lnTo>
                <a:lnTo>
                  <a:pt x="11006" y="4420"/>
                </a:lnTo>
                <a:lnTo>
                  <a:pt x="11004" y="4416"/>
                </a:lnTo>
                <a:lnTo>
                  <a:pt x="11006" y="4408"/>
                </a:lnTo>
                <a:lnTo>
                  <a:pt x="11006" y="4402"/>
                </a:lnTo>
                <a:lnTo>
                  <a:pt x="11004" y="4398"/>
                </a:lnTo>
                <a:lnTo>
                  <a:pt x="11002" y="4394"/>
                </a:lnTo>
                <a:lnTo>
                  <a:pt x="11000" y="4388"/>
                </a:lnTo>
                <a:lnTo>
                  <a:pt x="10988" y="4382"/>
                </a:lnTo>
                <a:lnTo>
                  <a:pt x="10976" y="4378"/>
                </a:lnTo>
                <a:close/>
                <a:moveTo>
                  <a:pt x="10900" y="4536"/>
                </a:moveTo>
                <a:lnTo>
                  <a:pt x="10900" y="4536"/>
                </a:lnTo>
                <a:lnTo>
                  <a:pt x="10884" y="4562"/>
                </a:lnTo>
                <a:lnTo>
                  <a:pt x="10866" y="4584"/>
                </a:lnTo>
                <a:lnTo>
                  <a:pt x="10848" y="4600"/>
                </a:lnTo>
                <a:lnTo>
                  <a:pt x="10840" y="4612"/>
                </a:lnTo>
                <a:lnTo>
                  <a:pt x="10836" y="4618"/>
                </a:lnTo>
                <a:lnTo>
                  <a:pt x="10834" y="4628"/>
                </a:lnTo>
                <a:lnTo>
                  <a:pt x="10832" y="4630"/>
                </a:lnTo>
                <a:lnTo>
                  <a:pt x="10834" y="4632"/>
                </a:lnTo>
                <a:lnTo>
                  <a:pt x="10836" y="4632"/>
                </a:lnTo>
                <a:lnTo>
                  <a:pt x="10838" y="4632"/>
                </a:lnTo>
                <a:lnTo>
                  <a:pt x="10844" y="4626"/>
                </a:lnTo>
                <a:lnTo>
                  <a:pt x="10848" y="4620"/>
                </a:lnTo>
                <a:lnTo>
                  <a:pt x="10858" y="4610"/>
                </a:lnTo>
                <a:lnTo>
                  <a:pt x="10882" y="4586"/>
                </a:lnTo>
                <a:lnTo>
                  <a:pt x="10890" y="4578"/>
                </a:lnTo>
                <a:lnTo>
                  <a:pt x="10894" y="4572"/>
                </a:lnTo>
                <a:lnTo>
                  <a:pt x="10896" y="4566"/>
                </a:lnTo>
                <a:lnTo>
                  <a:pt x="10898" y="4562"/>
                </a:lnTo>
                <a:lnTo>
                  <a:pt x="10898" y="4558"/>
                </a:lnTo>
                <a:lnTo>
                  <a:pt x="10900" y="4556"/>
                </a:lnTo>
                <a:lnTo>
                  <a:pt x="10904" y="4554"/>
                </a:lnTo>
                <a:lnTo>
                  <a:pt x="10910" y="4552"/>
                </a:lnTo>
                <a:lnTo>
                  <a:pt x="10914" y="4550"/>
                </a:lnTo>
                <a:lnTo>
                  <a:pt x="10916" y="4544"/>
                </a:lnTo>
                <a:lnTo>
                  <a:pt x="10918" y="4538"/>
                </a:lnTo>
                <a:lnTo>
                  <a:pt x="10920" y="4536"/>
                </a:lnTo>
                <a:lnTo>
                  <a:pt x="10922" y="4534"/>
                </a:lnTo>
                <a:lnTo>
                  <a:pt x="10928" y="4534"/>
                </a:lnTo>
                <a:lnTo>
                  <a:pt x="10930" y="4530"/>
                </a:lnTo>
                <a:lnTo>
                  <a:pt x="10932" y="4524"/>
                </a:lnTo>
                <a:lnTo>
                  <a:pt x="10930" y="4516"/>
                </a:lnTo>
                <a:lnTo>
                  <a:pt x="10928" y="4510"/>
                </a:lnTo>
                <a:lnTo>
                  <a:pt x="10928" y="4506"/>
                </a:lnTo>
                <a:lnTo>
                  <a:pt x="10928" y="4496"/>
                </a:lnTo>
                <a:lnTo>
                  <a:pt x="10928" y="4488"/>
                </a:lnTo>
                <a:lnTo>
                  <a:pt x="10928" y="4484"/>
                </a:lnTo>
                <a:lnTo>
                  <a:pt x="10924" y="4484"/>
                </a:lnTo>
                <a:lnTo>
                  <a:pt x="10922" y="4484"/>
                </a:lnTo>
                <a:lnTo>
                  <a:pt x="10920" y="4486"/>
                </a:lnTo>
                <a:lnTo>
                  <a:pt x="10920" y="4492"/>
                </a:lnTo>
                <a:lnTo>
                  <a:pt x="10918" y="4500"/>
                </a:lnTo>
                <a:lnTo>
                  <a:pt x="10918" y="4504"/>
                </a:lnTo>
                <a:lnTo>
                  <a:pt x="10914" y="4506"/>
                </a:lnTo>
                <a:lnTo>
                  <a:pt x="10912" y="4506"/>
                </a:lnTo>
                <a:lnTo>
                  <a:pt x="10912" y="4508"/>
                </a:lnTo>
                <a:lnTo>
                  <a:pt x="10914" y="4512"/>
                </a:lnTo>
                <a:lnTo>
                  <a:pt x="10916" y="4518"/>
                </a:lnTo>
                <a:lnTo>
                  <a:pt x="10916" y="4522"/>
                </a:lnTo>
                <a:lnTo>
                  <a:pt x="10914" y="4526"/>
                </a:lnTo>
                <a:lnTo>
                  <a:pt x="10912" y="4528"/>
                </a:lnTo>
                <a:lnTo>
                  <a:pt x="10908" y="4528"/>
                </a:lnTo>
                <a:lnTo>
                  <a:pt x="10906" y="4528"/>
                </a:lnTo>
                <a:lnTo>
                  <a:pt x="10900" y="4536"/>
                </a:lnTo>
                <a:close/>
                <a:moveTo>
                  <a:pt x="10936" y="4240"/>
                </a:moveTo>
                <a:lnTo>
                  <a:pt x="10936" y="4240"/>
                </a:lnTo>
                <a:lnTo>
                  <a:pt x="10934" y="4240"/>
                </a:lnTo>
                <a:lnTo>
                  <a:pt x="10932" y="4242"/>
                </a:lnTo>
                <a:lnTo>
                  <a:pt x="10930" y="4248"/>
                </a:lnTo>
                <a:lnTo>
                  <a:pt x="10932" y="4256"/>
                </a:lnTo>
                <a:lnTo>
                  <a:pt x="10934" y="4260"/>
                </a:lnTo>
                <a:lnTo>
                  <a:pt x="10938" y="4264"/>
                </a:lnTo>
                <a:lnTo>
                  <a:pt x="10938" y="4268"/>
                </a:lnTo>
                <a:lnTo>
                  <a:pt x="10940" y="4298"/>
                </a:lnTo>
                <a:lnTo>
                  <a:pt x="10942" y="4316"/>
                </a:lnTo>
                <a:lnTo>
                  <a:pt x="10944" y="4318"/>
                </a:lnTo>
                <a:lnTo>
                  <a:pt x="10946" y="4320"/>
                </a:lnTo>
                <a:lnTo>
                  <a:pt x="10950" y="4320"/>
                </a:lnTo>
                <a:lnTo>
                  <a:pt x="10952" y="4320"/>
                </a:lnTo>
                <a:lnTo>
                  <a:pt x="10954" y="4326"/>
                </a:lnTo>
                <a:lnTo>
                  <a:pt x="10958" y="4334"/>
                </a:lnTo>
                <a:lnTo>
                  <a:pt x="10962" y="4336"/>
                </a:lnTo>
                <a:lnTo>
                  <a:pt x="10964" y="4334"/>
                </a:lnTo>
                <a:lnTo>
                  <a:pt x="10966" y="4326"/>
                </a:lnTo>
                <a:lnTo>
                  <a:pt x="10966" y="4320"/>
                </a:lnTo>
                <a:lnTo>
                  <a:pt x="10966" y="4318"/>
                </a:lnTo>
                <a:lnTo>
                  <a:pt x="10970" y="4318"/>
                </a:lnTo>
                <a:lnTo>
                  <a:pt x="10974" y="4322"/>
                </a:lnTo>
                <a:lnTo>
                  <a:pt x="10980" y="4326"/>
                </a:lnTo>
                <a:lnTo>
                  <a:pt x="10980" y="4330"/>
                </a:lnTo>
                <a:lnTo>
                  <a:pt x="10978" y="4334"/>
                </a:lnTo>
                <a:lnTo>
                  <a:pt x="10974" y="4338"/>
                </a:lnTo>
                <a:lnTo>
                  <a:pt x="10968" y="4346"/>
                </a:lnTo>
                <a:lnTo>
                  <a:pt x="10966" y="4356"/>
                </a:lnTo>
                <a:lnTo>
                  <a:pt x="10966" y="4364"/>
                </a:lnTo>
                <a:lnTo>
                  <a:pt x="10968" y="4366"/>
                </a:lnTo>
                <a:lnTo>
                  <a:pt x="10970" y="4364"/>
                </a:lnTo>
                <a:lnTo>
                  <a:pt x="10974" y="4364"/>
                </a:lnTo>
                <a:lnTo>
                  <a:pt x="10976" y="4364"/>
                </a:lnTo>
                <a:lnTo>
                  <a:pt x="10980" y="4368"/>
                </a:lnTo>
                <a:lnTo>
                  <a:pt x="10984" y="4374"/>
                </a:lnTo>
                <a:lnTo>
                  <a:pt x="10988" y="4376"/>
                </a:lnTo>
                <a:lnTo>
                  <a:pt x="10992" y="4376"/>
                </a:lnTo>
                <a:lnTo>
                  <a:pt x="11000" y="4376"/>
                </a:lnTo>
                <a:lnTo>
                  <a:pt x="11000" y="4372"/>
                </a:lnTo>
                <a:lnTo>
                  <a:pt x="11000" y="4368"/>
                </a:lnTo>
                <a:lnTo>
                  <a:pt x="11002" y="4366"/>
                </a:lnTo>
                <a:lnTo>
                  <a:pt x="11004" y="4362"/>
                </a:lnTo>
                <a:lnTo>
                  <a:pt x="11008" y="4360"/>
                </a:lnTo>
                <a:lnTo>
                  <a:pt x="11012" y="4360"/>
                </a:lnTo>
                <a:lnTo>
                  <a:pt x="11028" y="4370"/>
                </a:lnTo>
                <a:lnTo>
                  <a:pt x="11032" y="4376"/>
                </a:lnTo>
                <a:lnTo>
                  <a:pt x="11036" y="4380"/>
                </a:lnTo>
                <a:lnTo>
                  <a:pt x="11040" y="4388"/>
                </a:lnTo>
                <a:lnTo>
                  <a:pt x="11042" y="4394"/>
                </a:lnTo>
                <a:lnTo>
                  <a:pt x="11044" y="4396"/>
                </a:lnTo>
                <a:lnTo>
                  <a:pt x="11048" y="4398"/>
                </a:lnTo>
                <a:lnTo>
                  <a:pt x="11050" y="4396"/>
                </a:lnTo>
                <a:lnTo>
                  <a:pt x="11050" y="4394"/>
                </a:lnTo>
                <a:lnTo>
                  <a:pt x="11050" y="4388"/>
                </a:lnTo>
                <a:lnTo>
                  <a:pt x="11042" y="4368"/>
                </a:lnTo>
                <a:lnTo>
                  <a:pt x="11042" y="4366"/>
                </a:lnTo>
                <a:lnTo>
                  <a:pt x="11044" y="4364"/>
                </a:lnTo>
                <a:lnTo>
                  <a:pt x="11048" y="4364"/>
                </a:lnTo>
                <a:lnTo>
                  <a:pt x="11054" y="4368"/>
                </a:lnTo>
                <a:lnTo>
                  <a:pt x="11056" y="4374"/>
                </a:lnTo>
                <a:lnTo>
                  <a:pt x="11060" y="4378"/>
                </a:lnTo>
                <a:lnTo>
                  <a:pt x="11064" y="4382"/>
                </a:lnTo>
                <a:lnTo>
                  <a:pt x="11068" y="4386"/>
                </a:lnTo>
                <a:lnTo>
                  <a:pt x="11072" y="4390"/>
                </a:lnTo>
                <a:lnTo>
                  <a:pt x="11074" y="4396"/>
                </a:lnTo>
                <a:lnTo>
                  <a:pt x="11074" y="4400"/>
                </a:lnTo>
                <a:lnTo>
                  <a:pt x="11078" y="4404"/>
                </a:lnTo>
                <a:lnTo>
                  <a:pt x="11086" y="4410"/>
                </a:lnTo>
                <a:lnTo>
                  <a:pt x="11094" y="4414"/>
                </a:lnTo>
                <a:lnTo>
                  <a:pt x="11098" y="4418"/>
                </a:lnTo>
                <a:lnTo>
                  <a:pt x="11100" y="4422"/>
                </a:lnTo>
                <a:lnTo>
                  <a:pt x="11102" y="4428"/>
                </a:lnTo>
                <a:lnTo>
                  <a:pt x="11104" y="4430"/>
                </a:lnTo>
                <a:lnTo>
                  <a:pt x="11106" y="4428"/>
                </a:lnTo>
                <a:lnTo>
                  <a:pt x="11108" y="4422"/>
                </a:lnTo>
                <a:lnTo>
                  <a:pt x="11110" y="4414"/>
                </a:lnTo>
                <a:lnTo>
                  <a:pt x="11110" y="4408"/>
                </a:lnTo>
                <a:lnTo>
                  <a:pt x="11110" y="4404"/>
                </a:lnTo>
                <a:lnTo>
                  <a:pt x="11106" y="4400"/>
                </a:lnTo>
                <a:lnTo>
                  <a:pt x="11098" y="4400"/>
                </a:lnTo>
                <a:lnTo>
                  <a:pt x="11094" y="4398"/>
                </a:lnTo>
                <a:lnTo>
                  <a:pt x="11094" y="4396"/>
                </a:lnTo>
                <a:lnTo>
                  <a:pt x="11094" y="4394"/>
                </a:lnTo>
                <a:lnTo>
                  <a:pt x="11094" y="4390"/>
                </a:lnTo>
                <a:lnTo>
                  <a:pt x="11092" y="4386"/>
                </a:lnTo>
                <a:lnTo>
                  <a:pt x="11088" y="4380"/>
                </a:lnTo>
                <a:lnTo>
                  <a:pt x="11084" y="4376"/>
                </a:lnTo>
                <a:lnTo>
                  <a:pt x="11082" y="4374"/>
                </a:lnTo>
                <a:lnTo>
                  <a:pt x="11084" y="4374"/>
                </a:lnTo>
                <a:lnTo>
                  <a:pt x="11088" y="4372"/>
                </a:lnTo>
                <a:lnTo>
                  <a:pt x="11096" y="4372"/>
                </a:lnTo>
                <a:lnTo>
                  <a:pt x="11098" y="4372"/>
                </a:lnTo>
                <a:lnTo>
                  <a:pt x="11100" y="4370"/>
                </a:lnTo>
                <a:lnTo>
                  <a:pt x="11102" y="4366"/>
                </a:lnTo>
                <a:lnTo>
                  <a:pt x="11098" y="4364"/>
                </a:lnTo>
                <a:lnTo>
                  <a:pt x="11082" y="4356"/>
                </a:lnTo>
                <a:lnTo>
                  <a:pt x="11078" y="4354"/>
                </a:lnTo>
                <a:lnTo>
                  <a:pt x="11076" y="4354"/>
                </a:lnTo>
                <a:lnTo>
                  <a:pt x="11074" y="4358"/>
                </a:lnTo>
                <a:lnTo>
                  <a:pt x="11074" y="4362"/>
                </a:lnTo>
                <a:lnTo>
                  <a:pt x="11072" y="4368"/>
                </a:lnTo>
                <a:lnTo>
                  <a:pt x="11070" y="4370"/>
                </a:lnTo>
                <a:lnTo>
                  <a:pt x="11068" y="4370"/>
                </a:lnTo>
                <a:lnTo>
                  <a:pt x="11066" y="4368"/>
                </a:lnTo>
                <a:lnTo>
                  <a:pt x="11064" y="4364"/>
                </a:lnTo>
                <a:lnTo>
                  <a:pt x="11064" y="4358"/>
                </a:lnTo>
                <a:lnTo>
                  <a:pt x="11064" y="4354"/>
                </a:lnTo>
                <a:lnTo>
                  <a:pt x="11062" y="4350"/>
                </a:lnTo>
                <a:lnTo>
                  <a:pt x="11058" y="4346"/>
                </a:lnTo>
                <a:lnTo>
                  <a:pt x="11052" y="4342"/>
                </a:lnTo>
                <a:lnTo>
                  <a:pt x="11046" y="4340"/>
                </a:lnTo>
                <a:lnTo>
                  <a:pt x="11042" y="4338"/>
                </a:lnTo>
                <a:lnTo>
                  <a:pt x="11040" y="4340"/>
                </a:lnTo>
                <a:lnTo>
                  <a:pt x="11038" y="4342"/>
                </a:lnTo>
                <a:lnTo>
                  <a:pt x="11038" y="4344"/>
                </a:lnTo>
                <a:lnTo>
                  <a:pt x="11036" y="4346"/>
                </a:lnTo>
                <a:lnTo>
                  <a:pt x="11032" y="4346"/>
                </a:lnTo>
                <a:lnTo>
                  <a:pt x="11030" y="4346"/>
                </a:lnTo>
                <a:lnTo>
                  <a:pt x="11030" y="4352"/>
                </a:lnTo>
                <a:lnTo>
                  <a:pt x="11030" y="4356"/>
                </a:lnTo>
                <a:lnTo>
                  <a:pt x="11028" y="4358"/>
                </a:lnTo>
                <a:lnTo>
                  <a:pt x="11024" y="4358"/>
                </a:lnTo>
                <a:lnTo>
                  <a:pt x="11020" y="4356"/>
                </a:lnTo>
                <a:lnTo>
                  <a:pt x="11016" y="4352"/>
                </a:lnTo>
                <a:lnTo>
                  <a:pt x="11010" y="4342"/>
                </a:lnTo>
                <a:lnTo>
                  <a:pt x="11008" y="4330"/>
                </a:lnTo>
                <a:lnTo>
                  <a:pt x="11008" y="4322"/>
                </a:lnTo>
                <a:lnTo>
                  <a:pt x="11008" y="4320"/>
                </a:lnTo>
                <a:lnTo>
                  <a:pt x="11008" y="4314"/>
                </a:lnTo>
                <a:lnTo>
                  <a:pt x="11004" y="4304"/>
                </a:lnTo>
                <a:lnTo>
                  <a:pt x="11000" y="4292"/>
                </a:lnTo>
                <a:lnTo>
                  <a:pt x="11002" y="4286"/>
                </a:lnTo>
                <a:lnTo>
                  <a:pt x="11004" y="4280"/>
                </a:lnTo>
                <a:lnTo>
                  <a:pt x="11008" y="4272"/>
                </a:lnTo>
                <a:lnTo>
                  <a:pt x="11008" y="4266"/>
                </a:lnTo>
                <a:lnTo>
                  <a:pt x="11008" y="4260"/>
                </a:lnTo>
                <a:lnTo>
                  <a:pt x="11014" y="4254"/>
                </a:lnTo>
                <a:lnTo>
                  <a:pt x="11016" y="4250"/>
                </a:lnTo>
                <a:lnTo>
                  <a:pt x="11018" y="4250"/>
                </a:lnTo>
                <a:lnTo>
                  <a:pt x="11020" y="4250"/>
                </a:lnTo>
                <a:lnTo>
                  <a:pt x="11022" y="4252"/>
                </a:lnTo>
                <a:lnTo>
                  <a:pt x="11024" y="4256"/>
                </a:lnTo>
                <a:lnTo>
                  <a:pt x="11026" y="4254"/>
                </a:lnTo>
                <a:lnTo>
                  <a:pt x="11032" y="4246"/>
                </a:lnTo>
                <a:lnTo>
                  <a:pt x="11036" y="4232"/>
                </a:lnTo>
                <a:lnTo>
                  <a:pt x="11042" y="4208"/>
                </a:lnTo>
                <a:lnTo>
                  <a:pt x="11042" y="4204"/>
                </a:lnTo>
                <a:lnTo>
                  <a:pt x="11040" y="4200"/>
                </a:lnTo>
                <a:lnTo>
                  <a:pt x="11034" y="4190"/>
                </a:lnTo>
                <a:lnTo>
                  <a:pt x="11032" y="4184"/>
                </a:lnTo>
                <a:lnTo>
                  <a:pt x="11030" y="4178"/>
                </a:lnTo>
                <a:lnTo>
                  <a:pt x="11030" y="4168"/>
                </a:lnTo>
                <a:lnTo>
                  <a:pt x="11032" y="4158"/>
                </a:lnTo>
                <a:lnTo>
                  <a:pt x="11036" y="4144"/>
                </a:lnTo>
                <a:lnTo>
                  <a:pt x="11036" y="4136"/>
                </a:lnTo>
                <a:lnTo>
                  <a:pt x="11034" y="4134"/>
                </a:lnTo>
                <a:lnTo>
                  <a:pt x="11032" y="4134"/>
                </a:lnTo>
                <a:lnTo>
                  <a:pt x="11028" y="4136"/>
                </a:lnTo>
                <a:lnTo>
                  <a:pt x="11024" y="4140"/>
                </a:lnTo>
                <a:lnTo>
                  <a:pt x="11020" y="4144"/>
                </a:lnTo>
                <a:lnTo>
                  <a:pt x="11016" y="4144"/>
                </a:lnTo>
                <a:lnTo>
                  <a:pt x="11010" y="4142"/>
                </a:lnTo>
                <a:lnTo>
                  <a:pt x="11004" y="4138"/>
                </a:lnTo>
                <a:lnTo>
                  <a:pt x="10988" y="4128"/>
                </a:lnTo>
                <a:lnTo>
                  <a:pt x="10982" y="4126"/>
                </a:lnTo>
                <a:lnTo>
                  <a:pt x="10974" y="4128"/>
                </a:lnTo>
                <a:lnTo>
                  <a:pt x="10966" y="4132"/>
                </a:lnTo>
                <a:lnTo>
                  <a:pt x="10964" y="4134"/>
                </a:lnTo>
                <a:lnTo>
                  <a:pt x="10964" y="4138"/>
                </a:lnTo>
                <a:lnTo>
                  <a:pt x="10964" y="4146"/>
                </a:lnTo>
                <a:lnTo>
                  <a:pt x="10962" y="4150"/>
                </a:lnTo>
                <a:lnTo>
                  <a:pt x="10960" y="4158"/>
                </a:lnTo>
                <a:lnTo>
                  <a:pt x="10958" y="4166"/>
                </a:lnTo>
                <a:lnTo>
                  <a:pt x="10956" y="4172"/>
                </a:lnTo>
                <a:lnTo>
                  <a:pt x="10958" y="4186"/>
                </a:lnTo>
                <a:lnTo>
                  <a:pt x="10958" y="4200"/>
                </a:lnTo>
                <a:lnTo>
                  <a:pt x="10958" y="4208"/>
                </a:lnTo>
                <a:lnTo>
                  <a:pt x="10954" y="4218"/>
                </a:lnTo>
                <a:lnTo>
                  <a:pt x="10952" y="4226"/>
                </a:lnTo>
                <a:lnTo>
                  <a:pt x="10950" y="4232"/>
                </a:lnTo>
                <a:lnTo>
                  <a:pt x="10952" y="4236"/>
                </a:lnTo>
                <a:lnTo>
                  <a:pt x="10954" y="4240"/>
                </a:lnTo>
                <a:lnTo>
                  <a:pt x="10958" y="4246"/>
                </a:lnTo>
                <a:lnTo>
                  <a:pt x="10958" y="4248"/>
                </a:lnTo>
                <a:lnTo>
                  <a:pt x="10956" y="4254"/>
                </a:lnTo>
                <a:lnTo>
                  <a:pt x="10954" y="4258"/>
                </a:lnTo>
                <a:lnTo>
                  <a:pt x="10952" y="4258"/>
                </a:lnTo>
                <a:lnTo>
                  <a:pt x="10948" y="4256"/>
                </a:lnTo>
                <a:lnTo>
                  <a:pt x="10946" y="4252"/>
                </a:lnTo>
                <a:lnTo>
                  <a:pt x="10942" y="4244"/>
                </a:lnTo>
                <a:lnTo>
                  <a:pt x="10938" y="4240"/>
                </a:lnTo>
                <a:lnTo>
                  <a:pt x="10936" y="4240"/>
                </a:lnTo>
                <a:close/>
                <a:moveTo>
                  <a:pt x="9396" y="4654"/>
                </a:moveTo>
                <a:lnTo>
                  <a:pt x="9396" y="4654"/>
                </a:lnTo>
                <a:lnTo>
                  <a:pt x="9392" y="4644"/>
                </a:lnTo>
                <a:lnTo>
                  <a:pt x="9386" y="4630"/>
                </a:lnTo>
                <a:lnTo>
                  <a:pt x="9380" y="4616"/>
                </a:lnTo>
                <a:lnTo>
                  <a:pt x="9372" y="4604"/>
                </a:lnTo>
                <a:lnTo>
                  <a:pt x="9366" y="4596"/>
                </a:lnTo>
                <a:lnTo>
                  <a:pt x="9364" y="4588"/>
                </a:lnTo>
                <a:lnTo>
                  <a:pt x="9360" y="4580"/>
                </a:lnTo>
                <a:lnTo>
                  <a:pt x="9352" y="4570"/>
                </a:lnTo>
                <a:lnTo>
                  <a:pt x="9344" y="4562"/>
                </a:lnTo>
                <a:lnTo>
                  <a:pt x="9336" y="4560"/>
                </a:lnTo>
                <a:lnTo>
                  <a:pt x="9330" y="4560"/>
                </a:lnTo>
                <a:lnTo>
                  <a:pt x="9326" y="4562"/>
                </a:lnTo>
                <a:lnTo>
                  <a:pt x="9326" y="4564"/>
                </a:lnTo>
                <a:lnTo>
                  <a:pt x="9330" y="4566"/>
                </a:lnTo>
                <a:lnTo>
                  <a:pt x="9332" y="4572"/>
                </a:lnTo>
                <a:lnTo>
                  <a:pt x="9334" y="4580"/>
                </a:lnTo>
                <a:lnTo>
                  <a:pt x="9334" y="4590"/>
                </a:lnTo>
                <a:lnTo>
                  <a:pt x="9332" y="4598"/>
                </a:lnTo>
                <a:lnTo>
                  <a:pt x="9328" y="4604"/>
                </a:lnTo>
                <a:lnTo>
                  <a:pt x="9328" y="4610"/>
                </a:lnTo>
                <a:lnTo>
                  <a:pt x="9328" y="4618"/>
                </a:lnTo>
                <a:lnTo>
                  <a:pt x="9326" y="4630"/>
                </a:lnTo>
                <a:lnTo>
                  <a:pt x="9324" y="4636"/>
                </a:lnTo>
                <a:lnTo>
                  <a:pt x="9324" y="4638"/>
                </a:lnTo>
                <a:lnTo>
                  <a:pt x="9324" y="4636"/>
                </a:lnTo>
                <a:lnTo>
                  <a:pt x="9322" y="4630"/>
                </a:lnTo>
                <a:lnTo>
                  <a:pt x="9320" y="4630"/>
                </a:lnTo>
                <a:lnTo>
                  <a:pt x="9320" y="4632"/>
                </a:lnTo>
                <a:lnTo>
                  <a:pt x="9318" y="4640"/>
                </a:lnTo>
                <a:lnTo>
                  <a:pt x="9320" y="4654"/>
                </a:lnTo>
                <a:lnTo>
                  <a:pt x="9322" y="4676"/>
                </a:lnTo>
                <a:lnTo>
                  <a:pt x="9322" y="4700"/>
                </a:lnTo>
                <a:lnTo>
                  <a:pt x="9324" y="4712"/>
                </a:lnTo>
                <a:lnTo>
                  <a:pt x="9326" y="4722"/>
                </a:lnTo>
                <a:lnTo>
                  <a:pt x="9332" y="4734"/>
                </a:lnTo>
                <a:lnTo>
                  <a:pt x="9338" y="4742"/>
                </a:lnTo>
                <a:lnTo>
                  <a:pt x="9346" y="4748"/>
                </a:lnTo>
                <a:lnTo>
                  <a:pt x="9352" y="4750"/>
                </a:lnTo>
                <a:lnTo>
                  <a:pt x="9358" y="4750"/>
                </a:lnTo>
                <a:lnTo>
                  <a:pt x="9364" y="4748"/>
                </a:lnTo>
                <a:lnTo>
                  <a:pt x="9376" y="4740"/>
                </a:lnTo>
                <a:lnTo>
                  <a:pt x="9390" y="4732"/>
                </a:lnTo>
                <a:lnTo>
                  <a:pt x="9396" y="4726"/>
                </a:lnTo>
                <a:lnTo>
                  <a:pt x="9402" y="4718"/>
                </a:lnTo>
                <a:lnTo>
                  <a:pt x="9404" y="4710"/>
                </a:lnTo>
                <a:lnTo>
                  <a:pt x="9406" y="4700"/>
                </a:lnTo>
                <a:lnTo>
                  <a:pt x="9406" y="4682"/>
                </a:lnTo>
                <a:lnTo>
                  <a:pt x="9406" y="4676"/>
                </a:lnTo>
                <a:lnTo>
                  <a:pt x="9404" y="4672"/>
                </a:lnTo>
                <a:lnTo>
                  <a:pt x="9400" y="4666"/>
                </a:lnTo>
                <a:lnTo>
                  <a:pt x="9400" y="4662"/>
                </a:lnTo>
                <a:lnTo>
                  <a:pt x="9400" y="4658"/>
                </a:lnTo>
                <a:lnTo>
                  <a:pt x="9396" y="4654"/>
                </a:lnTo>
                <a:close/>
                <a:moveTo>
                  <a:pt x="9854" y="4376"/>
                </a:moveTo>
                <a:lnTo>
                  <a:pt x="9854" y="4376"/>
                </a:lnTo>
                <a:lnTo>
                  <a:pt x="9854" y="4374"/>
                </a:lnTo>
                <a:lnTo>
                  <a:pt x="9852" y="4376"/>
                </a:lnTo>
                <a:lnTo>
                  <a:pt x="9848" y="4384"/>
                </a:lnTo>
                <a:lnTo>
                  <a:pt x="9846" y="4400"/>
                </a:lnTo>
                <a:lnTo>
                  <a:pt x="9844" y="4422"/>
                </a:lnTo>
                <a:lnTo>
                  <a:pt x="9842" y="4442"/>
                </a:lnTo>
                <a:lnTo>
                  <a:pt x="9840" y="4452"/>
                </a:lnTo>
                <a:lnTo>
                  <a:pt x="9838" y="4460"/>
                </a:lnTo>
                <a:lnTo>
                  <a:pt x="9840" y="4472"/>
                </a:lnTo>
                <a:lnTo>
                  <a:pt x="9842" y="4478"/>
                </a:lnTo>
                <a:lnTo>
                  <a:pt x="9844" y="4480"/>
                </a:lnTo>
                <a:lnTo>
                  <a:pt x="9846" y="4474"/>
                </a:lnTo>
                <a:lnTo>
                  <a:pt x="9850" y="4448"/>
                </a:lnTo>
                <a:lnTo>
                  <a:pt x="9850" y="4440"/>
                </a:lnTo>
                <a:lnTo>
                  <a:pt x="9850" y="4436"/>
                </a:lnTo>
                <a:lnTo>
                  <a:pt x="9850" y="4434"/>
                </a:lnTo>
                <a:lnTo>
                  <a:pt x="9852" y="4430"/>
                </a:lnTo>
                <a:lnTo>
                  <a:pt x="9854" y="4428"/>
                </a:lnTo>
                <a:lnTo>
                  <a:pt x="9854" y="4424"/>
                </a:lnTo>
                <a:lnTo>
                  <a:pt x="9852" y="4416"/>
                </a:lnTo>
                <a:lnTo>
                  <a:pt x="9852" y="4410"/>
                </a:lnTo>
                <a:lnTo>
                  <a:pt x="9852" y="4406"/>
                </a:lnTo>
                <a:lnTo>
                  <a:pt x="9854" y="4404"/>
                </a:lnTo>
                <a:lnTo>
                  <a:pt x="9856" y="4398"/>
                </a:lnTo>
                <a:lnTo>
                  <a:pt x="9858" y="4390"/>
                </a:lnTo>
                <a:lnTo>
                  <a:pt x="9858" y="4382"/>
                </a:lnTo>
                <a:lnTo>
                  <a:pt x="9854" y="4376"/>
                </a:lnTo>
                <a:close/>
                <a:moveTo>
                  <a:pt x="9834" y="4508"/>
                </a:moveTo>
                <a:lnTo>
                  <a:pt x="9834" y="4508"/>
                </a:lnTo>
                <a:lnTo>
                  <a:pt x="9832" y="4510"/>
                </a:lnTo>
                <a:lnTo>
                  <a:pt x="9828" y="4516"/>
                </a:lnTo>
                <a:lnTo>
                  <a:pt x="9828" y="4522"/>
                </a:lnTo>
                <a:lnTo>
                  <a:pt x="9830" y="4526"/>
                </a:lnTo>
                <a:lnTo>
                  <a:pt x="9832" y="4526"/>
                </a:lnTo>
                <a:lnTo>
                  <a:pt x="9834" y="4526"/>
                </a:lnTo>
                <a:lnTo>
                  <a:pt x="9838" y="4520"/>
                </a:lnTo>
                <a:lnTo>
                  <a:pt x="9838" y="4512"/>
                </a:lnTo>
                <a:lnTo>
                  <a:pt x="9836" y="4510"/>
                </a:lnTo>
                <a:lnTo>
                  <a:pt x="9834" y="4508"/>
                </a:lnTo>
                <a:close/>
                <a:moveTo>
                  <a:pt x="9884" y="4688"/>
                </a:moveTo>
                <a:lnTo>
                  <a:pt x="9884" y="4688"/>
                </a:lnTo>
                <a:lnTo>
                  <a:pt x="9882" y="4690"/>
                </a:lnTo>
                <a:lnTo>
                  <a:pt x="9882" y="4694"/>
                </a:lnTo>
                <a:lnTo>
                  <a:pt x="9882" y="4702"/>
                </a:lnTo>
                <a:lnTo>
                  <a:pt x="9886" y="4708"/>
                </a:lnTo>
                <a:lnTo>
                  <a:pt x="9888" y="4710"/>
                </a:lnTo>
                <a:lnTo>
                  <a:pt x="9890" y="4708"/>
                </a:lnTo>
                <a:lnTo>
                  <a:pt x="9892" y="4704"/>
                </a:lnTo>
                <a:lnTo>
                  <a:pt x="9892" y="4700"/>
                </a:lnTo>
                <a:lnTo>
                  <a:pt x="9892" y="4692"/>
                </a:lnTo>
                <a:lnTo>
                  <a:pt x="9888" y="4688"/>
                </a:lnTo>
                <a:lnTo>
                  <a:pt x="9886" y="4686"/>
                </a:lnTo>
                <a:lnTo>
                  <a:pt x="9884" y="4688"/>
                </a:lnTo>
                <a:close/>
                <a:moveTo>
                  <a:pt x="9842" y="4586"/>
                </a:moveTo>
                <a:lnTo>
                  <a:pt x="9842" y="4586"/>
                </a:lnTo>
                <a:lnTo>
                  <a:pt x="9840" y="4590"/>
                </a:lnTo>
                <a:lnTo>
                  <a:pt x="9840" y="4592"/>
                </a:lnTo>
                <a:lnTo>
                  <a:pt x="9844" y="4594"/>
                </a:lnTo>
                <a:lnTo>
                  <a:pt x="9846" y="4596"/>
                </a:lnTo>
                <a:lnTo>
                  <a:pt x="9848" y="4592"/>
                </a:lnTo>
                <a:lnTo>
                  <a:pt x="9848" y="4590"/>
                </a:lnTo>
                <a:lnTo>
                  <a:pt x="9846" y="4586"/>
                </a:lnTo>
                <a:lnTo>
                  <a:pt x="9844" y="4586"/>
                </a:lnTo>
                <a:lnTo>
                  <a:pt x="9842" y="4586"/>
                </a:lnTo>
                <a:close/>
                <a:moveTo>
                  <a:pt x="9868" y="4654"/>
                </a:moveTo>
                <a:lnTo>
                  <a:pt x="9868" y="4654"/>
                </a:lnTo>
                <a:lnTo>
                  <a:pt x="9872" y="4654"/>
                </a:lnTo>
                <a:lnTo>
                  <a:pt x="9870" y="4648"/>
                </a:lnTo>
                <a:lnTo>
                  <a:pt x="9868" y="4646"/>
                </a:lnTo>
                <a:lnTo>
                  <a:pt x="9868" y="4648"/>
                </a:lnTo>
                <a:lnTo>
                  <a:pt x="9866" y="4650"/>
                </a:lnTo>
                <a:lnTo>
                  <a:pt x="9868" y="4654"/>
                </a:lnTo>
                <a:close/>
                <a:moveTo>
                  <a:pt x="7488" y="3256"/>
                </a:moveTo>
                <a:lnTo>
                  <a:pt x="7488" y="3256"/>
                </a:lnTo>
                <a:lnTo>
                  <a:pt x="7494" y="3250"/>
                </a:lnTo>
                <a:lnTo>
                  <a:pt x="7496" y="3246"/>
                </a:lnTo>
                <a:lnTo>
                  <a:pt x="7496" y="3244"/>
                </a:lnTo>
                <a:lnTo>
                  <a:pt x="7492" y="3246"/>
                </a:lnTo>
                <a:lnTo>
                  <a:pt x="7486" y="3252"/>
                </a:lnTo>
                <a:lnTo>
                  <a:pt x="7474" y="3258"/>
                </a:lnTo>
                <a:lnTo>
                  <a:pt x="7460" y="3262"/>
                </a:lnTo>
                <a:lnTo>
                  <a:pt x="7454" y="3262"/>
                </a:lnTo>
                <a:lnTo>
                  <a:pt x="7446" y="3262"/>
                </a:lnTo>
                <a:lnTo>
                  <a:pt x="7438" y="3260"/>
                </a:lnTo>
                <a:lnTo>
                  <a:pt x="7436" y="3262"/>
                </a:lnTo>
                <a:lnTo>
                  <a:pt x="7434" y="3264"/>
                </a:lnTo>
                <a:lnTo>
                  <a:pt x="7432" y="3266"/>
                </a:lnTo>
                <a:lnTo>
                  <a:pt x="7432" y="3270"/>
                </a:lnTo>
                <a:lnTo>
                  <a:pt x="7430" y="3272"/>
                </a:lnTo>
                <a:lnTo>
                  <a:pt x="7428" y="3272"/>
                </a:lnTo>
                <a:lnTo>
                  <a:pt x="7420" y="3272"/>
                </a:lnTo>
                <a:lnTo>
                  <a:pt x="7416" y="3274"/>
                </a:lnTo>
                <a:lnTo>
                  <a:pt x="7414" y="3278"/>
                </a:lnTo>
                <a:lnTo>
                  <a:pt x="7410" y="3278"/>
                </a:lnTo>
                <a:lnTo>
                  <a:pt x="7406" y="3278"/>
                </a:lnTo>
                <a:lnTo>
                  <a:pt x="7406" y="3280"/>
                </a:lnTo>
                <a:lnTo>
                  <a:pt x="7410" y="3292"/>
                </a:lnTo>
                <a:lnTo>
                  <a:pt x="7412" y="3296"/>
                </a:lnTo>
                <a:lnTo>
                  <a:pt x="7416" y="3298"/>
                </a:lnTo>
                <a:lnTo>
                  <a:pt x="7422" y="3300"/>
                </a:lnTo>
                <a:lnTo>
                  <a:pt x="7426" y="3300"/>
                </a:lnTo>
                <a:lnTo>
                  <a:pt x="7432" y="3300"/>
                </a:lnTo>
                <a:lnTo>
                  <a:pt x="7436" y="3302"/>
                </a:lnTo>
                <a:lnTo>
                  <a:pt x="7438" y="3302"/>
                </a:lnTo>
                <a:lnTo>
                  <a:pt x="7438" y="3300"/>
                </a:lnTo>
                <a:lnTo>
                  <a:pt x="7440" y="3298"/>
                </a:lnTo>
                <a:lnTo>
                  <a:pt x="7442" y="3298"/>
                </a:lnTo>
                <a:lnTo>
                  <a:pt x="7448" y="3296"/>
                </a:lnTo>
                <a:lnTo>
                  <a:pt x="7456" y="3294"/>
                </a:lnTo>
                <a:lnTo>
                  <a:pt x="7458" y="3290"/>
                </a:lnTo>
                <a:lnTo>
                  <a:pt x="7462" y="3286"/>
                </a:lnTo>
                <a:lnTo>
                  <a:pt x="7464" y="3284"/>
                </a:lnTo>
                <a:lnTo>
                  <a:pt x="7468" y="3282"/>
                </a:lnTo>
                <a:lnTo>
                  <a:pt x="7474" y="3282"/>
                </a:lnTo>
                <a:lnTo>
                  <a:pt x="7480" y="3280"/>
                </a:lnTo>
                <a:lnTo>
                  <a:pt x="7478" y="3276"/>
                </a:lnTo>
                <a:lnTo>
                  <a:pt x="7474" y="3270"/>
                </a:lnTo>
                <a:lnTo>
                  <a:pt x="7474" y="3266"/>
                </a:lnTo>
                <a:lnTo>
                  <a:pt x="7480" y="3262"/>
                </a:lnTo>
                <a:lnTo>
                  <a:pt x="7488" y="3256"/>
                </a:lnTo>
                <a:close/>
                <a:moveTo>
                  <a:pt x="6684" y="3228"/>
                </a:moveTo>
                <a:lnTo>
                  <a:pt x="6684" y="3228"/>
                </a:lnTo>
                <a:lnTo>
                  <a:pt x="6684" y="3230"/>
                </a:lnTo>
                <a:lnTo>
                  <a:pt x="6686" y="3234"/>
                </a:lnTo>
                <a:lnTo>
                  <a:pt x="6688" y="3238"/>
                </a:lnTo>
                <a:lnTo>
                  <a:pt x="6692" y="3238"/>
                </a:lnTo>
                <a:lnTo>
                  <a:pt x="6692" y="3234"/>
                </a:lnTo>
                <a:lnTo>
                  <a:pt x="6690" y="3230"/>
                </a:lnTo>
                <a:lnTo>
                  <a:pt x="6688" y="3228"/>
                </a:lnTo>
                <a:lnTo>
                  <a:pt x="6684" y="3228"/>
                </a:lnTo>
                <a:close/>
                <a:moveTo>
                  <a:pt x="6456" y="4860"/>
                </a:moveTo>
                <a:lnTo>
                  <a:pt x="6456" y="4860"/>
                </a:lnTo>
                <a:lnTo>
                  <a:pt x="6448" y="4872"/>
                </a:lnTo>
                <a:lnTo>
                  <a:pt x="6446" y="4874"/>
                </a:lnTo>
                <a:lnTo>
                  <a:pt x="6448" y="4878"/>
                </a:lnTo>
                <a:lnTo>
                  <a:pt x="6448" y="4880"/>
                </a:lnTo>
                <a:lnTo>
                  <a:pt x="6452" y="4882"/>
                </a:lnTo>
                <a:lnTo>
                  <a:pt x="6456" y="4884"/>
                </a:lnTo>
                <a:lnTo>
                  <a:pt x="6456" y="4882"/>
                </a:lnTo>
                <a:lnTo>
                  <a:pt x="6464" y="4870"/>
                </a:lnTo>
                <a:lnTo>
                  <a:pt x="6466" y="4864"/>
                </a:lnTo>
                <a:lnTo>
                  <a:pt x="6466" y="4860"/>
                </a:lnTo>
                <a:lnTo>
                  <a:pt x="6466" y="4858"/>
                </a:lnTo>
                <a:lnTo>
                  <a:pt x="6464" y="4856"/>
                </a:lnTo>
                <a:lnTo>
                  <a:pt x="6460" y="4856"/>
                </a:lnTo>
                <a:lnTo>
                  <a:pt x="6456" y="4860"/>
                </a:lnTo>
                <a:close/>
                <a:moveTo>
                  <a:pt x="6376" y="5018"/>
                </a:moveTo>
                <a:lnTo>
                  <a:pt x="6376" y="5018"/>
                </a:lnTo>
                <a:lnTo>
                  <a:pt x="6372" y="5018"/>
                </a:lnTo>
                <a:lnTo>
                  <a:pt x="6370" y="5020"/>
                </a:lnTo>
                <a:lnTo>
                  <a:pt x="6368" y="5026"/>
                </a:lnTo>
                <a:lnTo>
                  <a:pt x="6366" y="5032"/>
                </a:lnTo>
                <a:lnTo>
                  <a:pt x="6368" y="5038"/>
                </a:lnTo>
                <a:lnTo>
                  <a:pt x="6370" y="5038"/>
                </a:lnTo>
                <a:lnTo>
                  <a:pt x="6372" y="5036"/>
                </a:lnTo>
                <a:lnTo>
                  <a:pt x="6376" y="5030"/>
                </a:lnTo>
                <a:lnTo>
                  <a:pt x="6378" y="5024"/>
                </a:lnTo>
                <a:lnTo>
                  <a:pt x="6378" y="5020"/>
                </a:lnTo>
                <a:lnTo>
                  <a:pt x="6376" y="5018"/>
                </a:lnTo>
                <a:close/>
                <a:moveTo>
                  <a:pt x="5466" y="4460"/>
                </a:moveTo>
                <a:lnTo>
                  <a:pt x="5466" y="4460"/>
                </a:lnTo>
                <a:lnTo>
                  <a:pt x="5466" y="4458"/>
                </a:lnTo>
                <a:lnTo>
                  <a:pt x="5464" y="4458"/>
                </a:lnTo>
                <a:lnTo>
                  <a:pt x="5462" y="4458"/>
                </a:lnTo>
                <a:lnTo>
                  <a:pt x="5458" y="4460"/>
                </a:lnTo>
                <a:lnTo>
                  <a:pt x="5458" y="4462"/>
                </a:lnTo>
                <a:lnTo>
                  <a:pt x="5462" y="4464"/>
                </a:lnTo>
                <a:lnTo>
                  <a:pt x="5466" y="4460"/>
                </a:lnTo>
                <a:close/>
                <a:moveTo>
                  <a:pt x="5468" y="4472"/>
                </a:moveTo>
                <a:lnTo>
                  <a:pt x="5468" y="4472"/>
                </a:lnTo>
                <a:lnTo>
                  <a:pt x="5466" y="4472"/>
                </a:lnTo>
                <a:lnTo>
                  <a:pt x="5464" y="4474"/>
                </a:lnTo>
                <a:lnTo>
                  <a:pt x="5462" y="4476"/>
                </a:lnTo>
                <a:lnTo>
                  <a:pt x="5462" y="4478"/>
                </a:lnTo>
                <a:lnTo>
                  <a:pt x="5466" y="4478"/>
                </a:lnTo>
                <a:lnTo>
                  <a:pt x="5468" y="4476"/>
                </a:lnTo>
                <a:lnTo>
                  <a:pt x="5468" y="4472"/>
                </a:lnTo>
                <a:close/>
                <a:moveTo>
                  <a:pt x="5454" y="4498"/>
                </a:moveTo>
                <a:lnTo>
                  <a:pt x="5454" y="4498"/>
                </a:lnTo>
                <a:lnTo>
                  <a:pt x="5456" y="4500"/>
                </a:lnTo>
                <a:lnTo>
                  <a:pt x="5458" y="4500"/>
                </a:lnTo>
                <a:lnTo>
                  <a:pt x="5460" y="4500"/>
                </a:lnTo>
                <a:lnTo>
                  <a:pt x="5462" y="4496"/>
                </a:lnTo>
                <a:lnTo>
                  <a:pt x="5460" y="4492"/>
                </a:lnTo>
                <a:lnTo>
                  <a:pt x="5458" y="4492"/>
                </a:lnTo>
                <a:lnTo>
                  <a:pt x="5456" y="4494"/>
                </a:lnTo>
                <a:lnTo>
                  <a:pt x="5454" y="4498"/>
                </a:lnTo>
                <a:close/>
                <a:moveTo>
                  <a:pt x="5466" y="4492"/>
                </a:moveTo>
                <a:lnTo>
                  <a:pt x="5466" y="4492"/>
                </a:lnTo>
                <a:lnTo>
                  <a:pt x="5464" y="4492"/>
                </a:lnTo>
                <a:lnTo>
                  <a:pt x="5464" y="4496"/>
                </a:lnTo>
                <a:lnTo>
                  <a:pt x="5466" y="4498"/>
                </a:lnTo>
                <a:lnTo>
                  <a:pt x="5468" y="4498"/>
                </a:lnTo>
                <a:lnTo>
                  <a:pt x="5470" y="4496"/>
                </a:lnTo>
                <a:lnTo>
                  <a:pt x="5468" y="4494"/>
                </a:lnTo>
                <a:lnTo>
                  <a:pt x="5466" y="4492"/>
                </a:lnTo>
                <a:close/>
                <a:moveTo>
                  <a:pt x="5474" y="4492"/>
                </a:moveTo>
                <a:lnTo>
                  <a:pt x="5474" y="4492"/>
                </a:lnTo>
                <a:lnTo>
                  <a:pt x="5476" y="4492"/>
                </a:lnTo>
                <a:lnTo>
                  <a:pt x="5478" y="4490"/>
                </a:lnTo>
                <a:lnTo>
                  <a:pt x="5478" y="4488"/>
                </a:lnTo>
                <a:lnTo>
                  <a:pt x="5478" y="4486"/>
                </a:lnTo>
                <a:lnTo>
                  <a:pt x="5476" y="4486"/>
                </a:lnTo>
                <a:lnTo>
                  <a:pt x="5474" y="4488"/>
                </a:lnTo>
                <a:lnTo>
                  <a:pt x="5474" y="4492"/>
                </a:lnTo>
                <a:close/>
                <a:moveTo>
                  <a:pt x="5456" y="4486"/>
                </a:moveTo>
                <a:lnTo>
                  <a:pt x="5456" y="4486"/>
                </a:lnTo>
                <a:lnTo>
                  <a:pt x="5454" y="4486"/>
                </a:lnTo>
                <a:lnTo>
                  <a:pt x="5454" y="4488"/>
                </a:lnTo>
                <a:lnTo>
                  <a:pt x="5454" y="4490"/>
                </a:lnTo>
                <a:lnTo>
                  <a:pt x="5456" y="4490"/>
                </a:lnTo>
                <a:lnTo>
                  <a:pt x="5458" y="4488"/>
                </a:lnTo>
                <a:lnTo>
                  <a:pt x="5456" y="4486"/>
                </a:lnTo>
                <a:close/>
                <a:moveTo>
                  <a:pt x="5448" y="4476"/>
                </a:moveTo>
                <a:lnTo>
                  <a:pt x="5448" y="4476"/>
                </a:lnTo>
                <a:lnTo>
                  <a:pt x="5450" y="4476"/>
                </a:lnTo>
                <a:lnTo>
                  <a:pt x="5454" y="4474"/>
                </a:lnTo>
                <a:lnTo>
                  <a:pt x="5454" y="4472"/>
                </a:lnTo>
                <a:lnTo>
                  <a:pt x="5450" y="4472"/>
                </a:lnTo>
                <a:lnTo>
                  <a:pt x="5448" y="4474"/>
                </a:lnTo>
                <a:lnTo>
                  <a:pt x="5448" y="4476"/>
                </a:lnTo>
                <a:close/>
                <a:moveTo>
                  <a:pt x="5480" y="4474"/>
                </a:moveTo>
                <a:lnTo>
                  <a:pt x="5480" y="4474"/>
                </a:lnTo>
                <a:lnTo>
                  <a:pt x="5484" y="4474"/>
                </a:lnTo>
                <a:lnTo>
                  <a:pt x="5484" y="4472"/>
                </a:lnTo>
                <a:lnTo>
                  <a:pt x="5482" y="4470"/>
                </a:lnTo>
                <a:lnTo>
                  <a:pt x="5480" y="4472"/>
                </a:lnTo>
                <a:lnTo>
                  <a:pt x="5480" y="4474"/>
                </a:lnTo>
                <a:close/>
                <a:moveTo>
                  <a:pt x="6488" y="2842"/>
                </a:moveTo>
                <a:lnTo>
                  <a:pt x="6488" y="2842"/>
                </a:lnTo>
                <a:lnTo>
                  <a:pt x="6484" y="2842"/>
                </a:lnTo>
                <a:lnTo>
                  <a:pt x="6484" y="2844"/>
                </a:lnTo>
                <a:lnTo>
                  <a:pt x="6484" y="2852"/>
                </a:lnTo>
                <a:lnTo>
                  <a:pt x="6482" y="2858"/>
                </a:lnTo>
                <a:lnTo>
                  <a:pt x="6482" y="2860"/>
                </a:lnTo>
                <a:lnTo>
                  <a:pt x="6480" y="2860"/>
                </a:lnTo>
                <a:lnTo>
                  <a:pt x="6476" y="2858"/>
                </a:lnTo>
                <a:lnTo>
                  <a:pt x="6472" y="2860"/>
                </a:lnTo>
                <a:lnTo>
                  <a:pt x="6468" y="2862"/>
                </a:lnTo>
                <a:lnTo>
                  <a:pt x="6464" y="2866"/>
                </a:lnTo>
                <a:lnTo>
                  <a:pt x="6460" y="2868"/>
                </a:lnTo>
                <a:lnTo>
                  <a:pt x="6458" y="2868"/>
                </a:lnTo>
                <a:lnTo>
                  <a:pt x="6456" y="2872"/>
                </a:lnTo>
                <a:lnTo>
                  <a:pt x="6454" y="2884"/>
                </a:lnTo>
                <a:lnTo>
                  <a:pt x="6454" y="2898"/>
                </a:lnTo>
                <a:lnTo>
                  <a:pt x="6454" y="2902"/>
                </a:lnTo>
                <a:lnTo>
                  <a:pt x="6456" y="2904"/>
                </a:lnTo>
                <a:lnTo>
                  <a:pt x="6460" y="2904"/>
                </a:lnTo>
                <a:lnTo>
                  <a:pt x="6460" y="2906"/>
                </a:lnTo>
                <a:lnTo>
                  <a:pt x="6458" y="2910"/>
                </a:lnTo>
                <a:lnTo>
                  <a:pt x="6456" y="2912"/>
                </a:lnTo>
                <a:lnTo>
                  <a:pt x="6462" y="2914"/>
                </a:lnTo>
                <a:lnTo>
                  <a:pt x="6464" y="2916"/>
                </a:lnTo>
                <a:lnTo>
                  <a:pt x="6462" y="2918"/>
                </a:lnTo>
                <a:lnTo>
                  <a:pt x="6460" y="2922"/>
                </a:lnTo>
                <a:lnTo>
                  <a:pt x="6460" y="2924"/>
                </a:lnTo>
                <a:lnTo>
                  <a:pt x="6464" y="2924"/>
                </a:lnTo>
                <a:lnTo>
                  <a:pt x="6470" y="2930"/>
                </a:lnTo>
                <a:lnTo>
                  <a:pt x="6474" y="2932"/>
                </a:lnTo>
                <a:lnTo>
                  <a:pt x="6474" y="2934"/>
                </a:lnTo>
                <a:lnTo>
                  <a:pt x="6476" y="2934"/>
                </a:lnTo>
                <a:lnTo>
                  <a:pt x="6480" y="2932"/>
                </a:lnTo>
                <a:lnTo>
                  <a:pt x="6480" y="2930"/>
                </a:lnTo>
                <a:lnTo>
                  <a:pt x="6480" y="2926"/>
                </a:lnTo>
                <a:lnTo>
                  <a:pt x="6480" y="2924"/>
                </a:lnTo>
                <a:lnTo>
                  <a:pt x="6484" y="2922"/>
                </a:lnTo>
                <a:lnTo>
                  <a:pt x="6486" y="2918"/>
                </a:lnTo>
                <a:lnTo>
                  <a:pt x="6486" y="2904"/>
                </a:lnTo>
                <a:lnTo>
                  <a:pt x="6488" y="2900"/>
                </a:lnTo>
                <a:lnTo>
                  <a:pt x="6490" y="2896"/>
                </a:lnTo>
                <a:lnTo>
                  <a:pt x="6492" y="2890"/>
                </a:lnTo>
                <a:lnTo>
                  <a:pt x="6492" y="2880"/>
                </a:lnTo>
                <a:lnTo>
                  <a:pt x="6490" y="2870"/>
                </a:lnTo>
                <a:lnTo>
                  <a:pt x="6490" y="2864"/>
                </a:lnTo>
                <a:lnTo>
                  <a:pt x="6488" y="2860"/>
                </a:lnTo>
                <a:lnTo>
                  <a:pt x="6488" y="2858"/>
                </a:lnTo>
                <a:lnTo>
                  <a:pt x="6490" y="2848"/>
                </a:lnTo>
                <a:lnTo>
                  <a:pt x="6488" y="2844"/>
                </a:lnTo>
                <a:lnTo>
                  <a:pt x="6488" y="2842"/>
                </a:lnTo>
                <a:close/>
                <a:moveTo>
                  <a:pt x="6706" y="3110"/>
                </a:moveTo>
                <a:lnTo>
                  <a:pt x="6706" y="3110"/>
                </a:lnTo>
                <a:lnTo>
                  <a:pt x="6702" y="3110"/>
                </a:lnTo>
                <a:lnTo>
                  <a:pt x="6696" y="3112"/>
                </a:lnTo>
                <a:lnTo>
                  <a:pt x="6682" y="3118"/>
                </a:lnTo>
                <a:lnTo>
                  <a:pt x="6674" y="3120"/>
                </a:lnTo>
                <a:lnTo>
                  <a:pt x="6666" y="3120"/>
                </a:lnTo>
                <a:lnTo>
                  <a:pt x="6658" y="3118"/>
                </a:lnTo>
                <a:lnTo>
                  <a:pt x="6652" y="3114"/>
                </a:lnTo>
                <a:lnTo>
                  <a:pt x="6644" y="3108"/>
                </a:lnTo>
                <a:lnTo>
                  <a:pt x="6638" y="3108"/>
                </a:lnTo>
                <a:lnTo>
                  <a:pt x="6634" y="3108"/>
                </a:lnTo>
                <a:lnTo>
                  <a:pt x="6632" y="3112"/>
                </a:lnTo>
                <a:lnTo>
                  <a:pt x="6628" y="3116"/>
                </a:lnTo>
                <a:lnTo>
                  <a:pt x="6626" y="3116"/>
                </a:lnTo>
                <a:lnTo>
                  <a:pt x="6622" y="3112"/>
                </a:lnTo>
                <a:lnTo>
                  <a:pt x="6622" y="3110"/>
                </a:lnTo>
                <a:lnTo>
                  <a:pt x="6620" y="3110"/>
                </a:lnTo>
                <a:lnTo>
                  <a:pt x="6614" y="3112"/>
                </a:lnTo>
                <a:lnTo>
                  <a:pt x="6610" y="3120"/>
                </a:lnTo>
                <a:lnTo>
                  <a:pt x="6610" y="3132"/>
                </a:lnTo>
                <a:lnTo>
                  <a:pt x="6610" y="3136"/>
                </a:lnTo>
                <a:lnTo>
                  <a:pt x="6614" y="3140"/>
                </a:lnTo>
                <a:lnTo>
                  <a:pt x="6628" y="3144"/>
                </a:lnTo>
                <a:lnTo>
                  <a:pt x="6640" y="3150"/>
                </a:lnTo>
                <a:lnTo>
                  <a:pt x="6650" y="3158"/>
                </a:lnTo>
                <a:lnTo>
                  <a:pt x="6660" y="3164"/>
                </a:lnTo>
                <a:lnTo>
                  <a:pt x="6666" y="3166"/>
                </a:lnTo>
                <a:lnTo>
                  <a:pt x="6670" y="3168"/>
                </a:lnTo>
                <a:lnTo>
                  <a:pt x="6678" y="3170"/>
                </a:lnTo>
                <a:lnTo>
                  <a:pt x="6684" y="3176"/>
                </a:lnTo>
                <a:lnTo>
                  <a:pt x="6692" y="3182"/>
                </a:lnTo>
                <a:lnTo>
                  <a:pt x="6702" y="3186"/>
                </a:lnTo>
                <a:lnTo>
                  <a:pt x="6714" y="3192"/>
                </a:lnTo>
                <a:lnTo>
                  <a:pt x="6716" y="3190"/>
                </a:lnTo>
                <a:lnTo>
                  <a:pt x="6716" y="3186"/>
                </a:lnTo>
                <a:lnTo>
                  <a:pt x="6718" y="3178"/>
                </a:lnTo>
                <a:lnTo>
                  <a:pt x="6720" y="3170"/>
                </a:lnTo>
                <a:lnTo>
                  <a:pt x="6720" y="3162"/>
                </a:lnTo>
                <a:lnTo>
                  <a:pt x="6720" y="3158"/>
                </a:lnTo>
                <a:lnTo>
                  <a:pt x="6716" y="3154"/>
                </a:lnTo>
                <a:lnTo>
                  <a:pt x="6714" y="3152"/>
                </a:lnTo>
                <a:lnTo>
                  <a:pt x="6716" y="3146"/>
                </a:lnTo>
                <a:lnTo>
                  <a:pt x="6720" y="3130"/>
                </a:lnTo>
                <a:lnTo>
                  <a:pt x="6736" y="3104"/>
                </a:lnTo>
                <a:lnTo>
                  <a:pt x="6736" y="3102"/>
                </a:lnTo>
                <a:lnTo>
                  <a:pt x="6734" y="3102"/>
                </a:lnTo>
                <a:lnTo>
                  <a:pt x="6728" y="3106"/>
                </a:lnTo>
                <a:lnTo>
                  <a:pt x="6716" y="3110"/>
                </a:lnTo>
                <a:lnTo>
                  <a:pt x="6712" y="3110"/>
                </a:lnTo>
                <a:lnTo>
                  <a:pt x="6706" y="3110"/>
                </a:lnTo>
                <a:close/>
                <a:moveTo>
                  <a:pt x="6434" y="2968"/>
                </a:moveTo>
                <a:lnTo>
                  <a:pt x="6434" y="2968"/>
                </a:lnTo>
                <a:lnTo>
                  <a:pt x="6436" y="2972"/>
                </a:lnTo>
                <a:lnTo>
                  <a:pt x="6438" y="2976"/>
                </a:lnTo>
                <a:lnTo>
                  <a:pt x="6442" y="2982"/>
                </a:lnTo>
                <a:lnTo>
                  <a:pt x="6446" y="2990"/>
                </a:lnTo>
                <a:lnTo>
                  <a:pt x="6446" y="2996"/>
                </a:lnTo>
                <a:lnTo>
                  <a:pt x="6446" y="3004"/>
                </a:lnTo>
                <a:lnTo>
                  <a:pt x="6446" y="3012"/>
                </a:lnTo>
                <a:lnTo>
                  <a:pt x="6448" y="3016"/>
                </a:lnTo>
                <a:lnTo>
                  <a:pt x="6448" y="3020"/>
                </a:lnTo>
                <a:lnTo>
                  <a:pt x="6446" y="3030"/>
                </a:lnTo>
                <a:lnTo>
                  <a:pt x="6446" y="3046"/>
                </a:lnTo>
                <a:lnTo>
                  <a:pt x="6448" y="3058"/>
                </a:lnTo>
                <a:lnTo>
                  <a:pt x="6450" y="3064"/>
                </a:lnTo>
                <a:lnTo>
                  <a:pt x="6454" y="3068"/>
                </a:lnTo>
                <a:lnTo>
                  <a:pt x="6458" y="3070"/>
                </a:lnTo>
                <a:lnTo>
                  <a:pt x="6462" y="3070"/>
                </a:lnTo>
                <a:lnTo>
                  <a:pt x="6466" y="3068"/>
                </a:lnTo>
                <a:lnTo>
                  <a:pt x="6468" y="3066"/>
                </a:lnTo>
                <a:lnTo>
                  <a:pt x="6472" y="3060"/>
                </a:lnTo>
                <a:lnTo>
                  <a:pt x="6474" y="3054"/>
                </a:lnTo>
                <a:lnTo>
                  <a:pt x="6476" y="3054"/>
                </a:lnTo>
                <a:lnTo>
                  <a:pt x="6480" y="3056"/>
                </a:lnTo>
                <a:lnTo>
                  <a:pt x="6488" y="3058"/>
                </a:lnTo>
                <a:lnTo>
                  <a:pt x="6490" y="3056"/>
                </a:lnTo>
                <a:lnTo>
                  <a:pt x="6492" y="3054"/>
                </a:lnTo>
                <a:lnTo>
                  <a:pt x="6496" y="3044"/>
                </a:lnTo>
                <a:lnTo>
                  <a:pt x="6498" y="3024"/>
                </a:lnTo>
                <a:lnTo>
                  <a:pt x="6500" y="3016"/>
                </a:lnTo>
                <a:lnTo>
                  <a:pt x="6500" y="3008"/>
                </a:lnTo>
                <a:lnTo>
                  <a:pt x="6496" y="3000"/>
                </a:lnTo>
                <a:lnTo>
                  <a:pt x="6496" y="2996"/>
                </a:lnTo>
                <a:lnTo>
                  <a:pt x="6498" y="2990"/>
                </a:lnTo>
                <a:lnTo>
                  <a:pt x="6502" y="2984"/>
                </a:lnTo>
                <a:lnTo>
                  <a:pt x="6502" y="2980"/>
                </a:lnTo>
                <a:lnTo>
                  <a:pt x="6502" y="2968"/>
                </a:lnTo>
                <a:lnTo>
                  <a:pt x="6498" y="2958"/>
                </a:lnTo>
                <a:lnTo>
                  <a:pt x="6494" y="2950"/>
                </a:lnTo>
                <a:lnTo>
                  <a:pt x="6488" y="2944"/>
                </a:lnTo>
                <a:lnTo>
                  <a:pt x="6486" y="2942"/>
                </a:lnTo>
                <a:lnTo>
                  <a:pt x="6484" y="2942"/>
                </a:lnTo>
                <a:lnTo>
                  <a:pt x="6480" y="2944"/>
                </a:lnTo>
                <a:lnTo>
                  <a:pt x="6474" y="2946"/>
                </a:lnTo>
                <a:lnTo>
                  <a:pt x="6460" y="2956"/>
                </a:lnTo>
                <a:lnTo>
                  <a:pt x="6454" y="2962"/>
                </a:lnTo>
                <a:lnTo>
                  <a:pt x="6448" y="2962"/>
                </a:lnTo>
                <a:lnTo>
                  <a:pt x="6442" y="2962"/>
                </a:lnTo>
                <a:lnTo>
                  <a:pt x="6440" y="2960"/>
                </a:lnTo>
                <a:lnTo>
                  <a:pt x="6438" y="2958"/>
                </a:lnTo>
                <a:lnTo>
                  <a:pt x="6436" y="2958"/>
                </a:lnTo>
                <a:lnTo>
                  <a:pt x="6434" y="2968"/>
                </a:lnTo>
                <a:close/>
                <a:moveTo>
                  <a:pt x="6714" y="2136"/>
                </a:moveTo>
                <a:lnTo>
                  <a:pt x="6714" y="2136"/>
                </a:lnTo>
                <a:lnTo>
                  <a:pt x="6718" y="2134"/>
                </a:lnTo>
                <a:lnTo>
                  <a:pt x="6718" y="2132"/>
                </a:lnTo>
                <a:lnTo>
                  <a:pt x="6716" y="2128"/>
                </a:lnTo>
                <a:lnTo>
                  <a:pt x="6714" y="2124"/>
                </a:lnTo>
                <a:lnTo>
                  <a:pt x="6706" y="2120"/>
                </a:lnTo>
                <a:lnTo>
                  <a:pt x="6702" y="2118"/>
                </a:lnTo>
                <a:lnTo>
                  <a:pt x="6700" y="2118"/>
                </a:lnTo>
                <a:lnTo>
                  <a:pt x="6698" y="2122"/>
                </a:lnTo>
                <a:lnTo>
                  <a:pt x="6702" y="2130"/>
                </a:lnTo>
                <a:lnTo>
                  <a:pt x="6706" y="2136"/>
                </a:lnTo>
                <a:lnTo>
                  <a:pt x="6710" y="2136"/>
                </a:lnTo>
                <a:lnTo>
                  <a:pt x="6714" y="2136"/>
                </a:lnTo>
                <a:close/>
                <a:moveTo>
                  <a:pt x="6546" y="1994"/>
                </a:moveTo>
                <a:lnTo>
                  <a:pt x="6546" y="1994"/>
                </a:lnTo>
                <a:lnTo>
                  <a:pt x="6546" y="1996"/>
                </a:lnTo>
                <a:lnTo>
                  <a:pt x="6548" y="1996"/>
                </a:lnTo>
                <a:lnTo>
                  <a:pt x="6556" y="1992"/>
                </a:lnTo>
                <a:lnTo>
                  <a:pt x="6556" y="1990"/>
                </a:lnTo>
                <a:lnTo>
                  <a:pt x="6552" y="1990"/>
                </a:lnTo>
                <a:lnTo>
                  <a:pt x="6548" y="1992"/>
                </a:lnTo>
                <a:lnTo>
                  <a:pt x="6546" y="1994"/>
                </a:lnTo>
                <a:close/>
                <a:moveTo>
                  <a:pt x="6520" y="2132"/>
                </a:moveTo>
                <a:lnTo>
                  <a:pt x="6520" y="2132"/>
                </a:lnTo>
                <a:lnTo>
                  <a:pt x="6530" y="2134"/>
                </a:lnTo>
                <a:lnTo>
                  <a:pt x="6536" y="2132"/>
                </a:lnTo>
                <a:lnTo>
                  <a:pt x="6542" y="2128"/>
                </a:lnTo>
                <a:lnTo>
                  <a:pt x="6542" y="2126"/>
                </a:lnTo>
                <a:lnTo>
                  <a:pt x="6544" y="2124"/>
                </a:lnTo>
                <a:lnTo>
                  <a:pt x="6542" y="2118"/>
                </a:lnTo>
                <a:lnTo>
                  <a:pt x="6540" y="2112"/>
                </a:lnTo>
                <a:lnTo>
                  <a:pt x="6540" y="2108"/>
                </a:lnTo>
                <a:lnTo>
                  <a:pt x="6540" y="2104"/>
                </a:lnTo>
                <a:lnTo>
                  <a:pt x="6538" y="2102"/>
                </a:lnTo>
                <a:lnTo>
                  <a:pt x="6534" y="2100"/>
                </a:lnTo>
                <a:lnTo>
                  <a:pt x="6534" y="2102"/>
                </a:lnTo>
                <a:lnTo>
                  <a:pt x="6534" y="2104"/>
                </a:lnTo>
                <a:lnTo>
                  <a:pt x="6532" y="2104"/>
                </a:lnTo>
                <a:lnTo>
                  <a:pt x="6524" y="2100"/>
                </a:lnTo>
                <a:lnTo>
                  <a:pt x="6520" y="2100"/>
                </a:lnTo>
                <a:lnTo>
                  <a:pt x="6514" y="2102"/>
                </a:lnTo>
                <a:lnTo>
                  <a:pt x="6508" y="2104"/>
                </a:lnTo>
                <a:lnTo>
                  <a:pt x="6504" y="2104"/>
                </a:lnTo>
                <a:lnTo>
                  <a:pt x="6500" y="2104"/>
                </a:lnTo>
                <a:lnTo>
                  <a:pt x="6498" y="2104"/>
                </a:lnTo>
                <a:lnTo>
                  <a:pt x="6498" y="2108"/>
                </a:lnTo>
                <a:lnTo>
                  <a:pt x="6500" y="2110"/>
                </a:lnTo>
                <a:lnTo>
                  <a:pt x="6504" y="2114"/>
                </a:lnTo>
                <a:lnTo>
                  <a:pt x="6508" y="2122"/>
                </a:lnTo>
                <a:lnTo>
                  <a:pt x="6510" y="2126"/>
                </a:lnTo>
                <a:lnTo>
                  <a:pt x="6512" y="2124"/>
                </a:lnTo>
                <a:lnTo>
                  <a:pt x="6514" y="2126"/>
                </a:lnTo>
                <a:lnTo>
                  <a:pt x="6516" y="2126"/>
                </a:lnTo>
                <a:lnTo>
                  <a:pt x="6514" y="2128"/>
                </a:lnTo>
                <a:lnTo>
                  <a:pt x="6516" y="2130"/>
                </a:lnTo>
                <a:lnTo>
                  <a:pt x="6520" y="2132"/>
                </a:lnTo>
                <a:close/>
                <a:moveTo>
                  <a:pt x="6534" y="2078"/>
                </a:moveTo>
                <a:lnTo>
                  <a:pt x="6534" y="2078"/>
                </a:lnTo>
                <a:lnTo>
                  <a:pt x="6532" y="2078"/>
                </a:lnTo>
                <a:lnTo>
                  <a:pt x="6532" y="2080"/>
                </a:lnTo>
                <a:lnTo>
                  <a:pt x="6532" y="2086"/>
                </a:lnTo>
                <a:lnTo>
                  <a:pt x="6534" y="2090"/>
                </a:lnTo>
                <a:lnTo>
                  <a:pt x="6534" y="2088"/>
                </a:lnTo>
                <a:lnTo>
                  <a:pt x="6536" y="2086"/>
                </a:lnTo>
                <a:lnTo>
                  <a:pt x="6536" y="2082"/>
                </a:lnTo>
                <a:lnTo>
                  <a:pt x="6534" y="2078"/>
                </a:lnTo>
                <a:close/>
                <a:moveTo>
                  <a:pt x="6544" y="2134"/>
                </a:moveTo>
                <a:lnTo>
                  <a:pt x="6544" y="2134"/>
                </a:lnTo>
                <a:lnTo>
                  <a:pt x="6544" y="2132"/>
                </a:lnTo>
                <a:lnTo>
                  <a:pt x="6544" y="2130"/>
                </a:lnTo>
                <a:lnTo>
                  <a:pt x="6542" y="2132"/>
                </a:lnTo>
                <a:lnTo>
                  <a:pt x="6540" y="2134"/>
                </a:lnTo>
                <a:lnTo>
                  <a:pt x="6534" y="2144"/>
                </a:lnTo>
                <a:lnTo>
                  <a:pt x="6532" y="2148"/>
                </a:lnTo>
                <a:lnTo>
                  <a:pt x="6532" y="2152"/>
                </a:lnTo>
                <a:lnTo>
                  <a:pt x="6534" y="2154"/>
                </a:lnTo>
                <a:lnTo>
                  <a:pt x="6536" y="2154"/>
                </a:lnTo>
                <a:lnTo>
                  <a:pt x="6538" y="2148"/>
                </a:lnTo>
                <a:lnTo>
                  <a:pt x="6544" y="2134"/>
                </a:lnTo>
                <a:close/>
                <a:moveTo>
                  <a:pt x="6582" y="2150"/>
                </a:moveTo>
                <a:lnTo>
                  <a:pt x="6582" y="2150"/>
                </a:lnTo>
                <a:lnTo>
                  <a:pt x="6578" y="2144"/>
                </a:lnTo>
                <a:lnTo>
                  <a:pt x="6576" y="2142"/>
                </a:lnTo>
                <a:lnTo>
                  <a:pt x="6576" y="2144"/>
                </a:lnTo>
                <a:lnTo>
                  <a:pt x="6574" y="2146"/>
                </a:lnTo>
                <a:lnTo>
                  <a:pt x="6572" y="2146"/>
                </a:lnTo>
                <a:lnTo>
                  <a:pt x="6562" y="2140"/>
                </a:lnTo>
                <a:lnTo>
                  <a:pt x="6556" y="2138"/>
                </a:lnTo>
                <a:lnTo>
                  <a:pt x="6552" y="2140"/>
                </a:lnTo>
                <a:lnTo>
                  <a:pt x="6552" y="2144"/>
                </a:lnTo>
                <a:lnTo>
                  <a:pt x="6552" y="2148"/>
                </a:lnTo>
                <a:lnTo>
                  <a:pt x="6554" y="2152"/>
                </a:lnTo>
                <a:lnTo>
                  <a:pt x="6560" y="2156"/>
                </a:lnTo>
                <a:lnTo>
                  <a:pt x="6570" y="2158"/>
                </a:lnTo>
                <a:lnTo>
                  <a:pt x="6578" y="2158"/>
                </a:lnTo>
                <a:lnTo>
                  <a:pt x="6582" y="2158"/>
                </a:lnTo>
                <a:lnTo>
                  <a:pt x="6584" y="2156"/>
                </a:lnTo>
                <a:lnTo>
                  <a:pt x="6582" y="2150"/>
                </a:lnTo>
                <a:close/>
                <a:moveTo>
                  <a:pt x="6566" y="2088"/>
                </a:moveTo>
                <a:lnTo>
                  <a:pt x="6566" y="2088"/>
                </a:lnTo>
                <a:lnTo>
                  <a:pt x="6560" y="2090"/>
                </a:lnTo>
                <a:lnTo>
                  <a:pt x="6554" y="2090"/>
                </a:lnTo>
                <a:lnTo>
                  <a:pt x="6550" y="2090"/>
                </a:lnTo>
                <a:lnTo>
                  <a:pt x="6546" y="2090"/>
                </a:lnTo>
                <a:lnTo>
                  <a:pt x="6544" y="2092"/>
                </a:lnTo>
                <a:lnTo>
                  <a:pt x="6546" y="2094"/>
                </a:lnTo>
                <a:lnTo>
                  <a:pt x="6550" y="2096"/>
                </a:lnTo>
                <a:lnTo>
                  <a:pt x="6554" y="2100"/>
                </a:lnTo>
                <a:lnTo>
                  <a:pt x="6556" y="2100"/>
                </a:lnTo>
                <a:lnTo>
                  <a:pt x="6554" y="2102"/>
                </a:lnTo>
                <a:lnTo>
                  <a:pt x="6554" y="2106"/>
                </a:lnTo>
                <a:lnTo>
                  <a:pt x="6556" y="2108"/>
                </a:lnTo>
                <a:lnTo>
                  <a:pt x="6558" y="2110"/>
                </a:lnTo>
                <a:lnTo>
                  <a:pt x="6556" y="2114"/>
                </a:lnTo>
                <a:lnTo>
                  <a:pt x="6554" y="2116"/>
                </a:lnTo>
                <a:lnTo>
                  <a:pt x="6556" y="2116"/>
                </a:lnTo>
                <a:lnTo>
                  <a:pt x="6558" y="2118"/>
                </a:lnTo>
                <a:lnTo>
                  <a:pt x="6560" y="2122"/>
                </a:lnTo>
                <a:lnTo>
                  <a:pt x="6560" y="2124"/>
                </a:lnTo>
                <a:lnTo>
                  <a:pt x="6564" y="2124"/>
                </a:lnTo>
                <a:lnTo>
                  <a:pt x="6566" y="2124"/>
                </a:lnTo>
                <a:lnTo>
                  <a:pt x="6570" y="2124"/>
                </a:lnTo>
                <a:lnTo>
                  <a:pt x="6574" y="2124"/>
                </a:lnTo>
                <a:lnTo>
                  <a:pt x="6576" y="2124"/>
                </a:lnTo>
                <a:lnTo>
                  <a:pt x="6578" y="2124"/>
                </a:lnTo>
                <a:lnTo>
                  <a:pt x="6580" y="2128"/>
                </a:lnTo>
                <a:lnTo>
                  <a:pt x="6580" y="2130"/>
                </a:lnTo>
                <a:lnTo>
                  <a:pt x="6578" y="2132"/>
                </a:lnTo>
                <a:lnTo>
                  <a:pt x="6576" y="2132"/>
                </a:lnTo>
                <a:lnTo>
                  <a:pt x="6574" y="2132"/>
                </a:lnTo>
                <a:lnTo>
                  <a:pt x="6576" y="2134"/>
                </a:lnTo>
                <a:lnTo>
                  <a:pt x="6580" y="2136"/>
                </a:lnTo>
                <a:lnTo>
                  <a:pt x="6582" y="2138"/>
                </a:lnTo>
                <a:lnTo>
                  <a:pt x="6582" y="2140"/>
                </a:lnTo>
                <a:lnTo>
                  <a:pt x="6580" y="2140"/>
                </a:lnTo>
                <a:lnTo>
                  <a:pt x="6580" y="2144"/>
                </a:lnTo>
                <a:lnTo>
                  <a:pt x="6586" y="2150"/>
                </a:lnTo>
                <a:lnTo>
                  <a:pt x="6588" y="2154"/>
                </a:lnTo>
                <a:lnTo>
                  <a:pt x="6588" y="2158"/>
                </a:lnTo>
                <a:lnTo>
                  <a:pt x="6588" y="2160"/>
                </a:lnTo>
                <a:lnTo>
                  <a:pt x="6590" y="2164"/>
                </a:lnTo>
                <a:lnTo>
                  <a:pt x="6592" y="2164"/>
                </a:lnTo>
                <a:lnTo>
                  <a:pt x="6592" y="2160"/>
                </a:lnTo>
                <a:lnTo>
                  <a:pt x="6592" y="2156"/>
                </a:lnTo>
                <a:lnTo>
                  <a:pt x="6594" y="2150"/>
                </a:lnTo>
                <a:lnTo>
                  <a:pt x="6596" y="2148"/>
                </a:lnTo>
                <a:lnTo>
                  <a:pt x="6598" y="2146"/>
                </a:lnTo>
                <a:lnTo>
                  <a:pt x="6592" y="2142"/>
                </a:lnTo>
                <a:lnTo>
                  <a:pt x="6586" y="2140"/>
                </a:lnTo>
                <a:lnTo>
                  <a:pt x="6588" y="2138"/>
                </a:lnTo>
                <a:lnTo>
                  <a:pt x="6590" y="2138"/>
                </a:lnTo>
                <a:lnTo>
                  <a:pt x="6594" y="2138"/>
                </a:lnTo>
                <a:lnTo>
                  <a:pt x="6596" y="2136"/>
                </a:lnTo>
                <a:lnTo>
                  <a:pt x="6596" y="2134"/>
                </a:lnTo>
                <a:lnTo>
                  <a:pt x="6596" y="2130"/>
                </a:lnTo>
                <a:lnTo>
                  <a:pt x="6596" y="2126"/>
                </a:lnTo>
                <a:lnTo>
                  <a:pt x="6596" y="2124"/>
                </a:lnTo>
                <a:lnTo>
                  <a:pt x="6604" y="2122"/>
                </a:lnTo>
                <a:lnTo>
                  <a:pt x="6608" y="2120"/>
                </a:lnTo>
                <a:lnTo>
                  <a:pt x="6610" y="2118"/>
                </a:lnTo>
                <a:lnTo>
                  <a:pt x="6608" y="2114"/>
                </a:lnTo>
                <a:lnTo>
                  <a:pt x="6602" y="2112"/>
                </a:lnTo>
                <a:lnTo>
                  <a:pt x="6598" y="2108"/>
                </a:lnTo>
                <a:lnTo>
                  <a:pt x="6598" y="2104"/>
                </a:lnTo>
                <a:lnTo>
                  <a:pt x="6602" y="2102"/>
                </a:lnTo>
                <a:lnTo>
                  <a:pt x="6608" y="2100"/>
                </a:lnTo>
                <a:lnTo>
                  <a:pt x="6610" y="2098"/>
                </a:lnTo>
                <a:lnTo>
                  <a:pt x="6612" y="2096"/>
                </a:lnTo>
                <a:lnTo>
                  <a:pt x="6614" y="2088"/>
                </a:lnTo>
                <a:lnTo>
                  <a:pt x="6614" y="2080"/>
                </a:lnTo>
                <a:lnTo>
                  <a:pt x="6614" y="2074"/>
                </a:lnTo>
                <a:lnTo>
                  <a:pt x="6616" y="2072"/>
                </a:lnTo>
                <a:lnTo>
                  <a:pt x="6614" y="2070"/>
                </a:lnTo>
                <a:lnTo>
                  <a:pt x="6604" y="2066"/>
                </a:lnTo>
                <a:lnTo>
                  <a:pt x="6598" y="2066"/>
                </a:lnTo>
                <a:lnTo>
                  <a:pt x="6592" y="2070"/>
                </a:lnTo>
                <a:lnTo>
                  <a:pt x="6588" y="2074"/>
                </a:lnTo>
                <a:lnTo>
                  <a:pt x="6588" y="2078"/>
                </a:lnTo>
                <a:lnTo>
                  <a:pt x="6588" y="2080"/>
                </a:lnTo>
                <a:lnTo>
                  <a:pt x="6588" y="2082"/>
                </a:lnTo>
                <a:lnTo>
                  <a:pt x="6586" y="2090"/>
                </a:lnTo>
                <a:lnTo>
                  <a:pt x="6584" y="2094"/>
                </a:lnTo>
                <a:lnTo>
                  <a:pt x="6582" y="2094"/>
                </a:lnTo>
                <a:lnTo>
                  <a:pt x="6580" y="2092"/>
                </a:lnTo>
                <a:lnTo>
                  <a:pt x="6580" y="2088"/>
                </a:lnTo>
                <a:lnTo>
                  <a:pt x="6582" y="2078"/>
                </a:lnTo>
                <a:lnTo>
                  <a:pt x="6580" y="2076"/>
                </a:lnTo>
                <a:lnTo>
                  <a:pt x="6578" y="2078"/>
                </a:lnTo>
                <a:lnTo>
                  <a:pt x="6574" y="2078"/>
                </a:lnTo>
                <a:lnTo>
                  <a:pt x="6568" y="2076"/>
                </a:lnTo>
                <a:lnTo>
                  <a:pt x="6564" y="2074"/>
                </a:lnTo>
                <a:lnTo>
                  <a:pt x="6562" y="2074"/>
                </a:lnTo>
                <a:lnTo>
                  <a:pt x="6560" y="2076"/>
                </a:lnTo>
                <a:lnTo>
                  <a:pt x="6562" y="2076"/>
                </a:lnTo>
                <a:lnTo>
                  <a:pt x="6566" y="2078"/>
                </a:lnTo>
                <a:lnTo>
                  <a:pt x="6570" y="2082"/>
                </a:lnTo>
                <a:lnTo>
                  <a:pt x="6568" y="2084"/>
                </a:lnTo>
                <a:lnTo>
                  <a:pt x="6566" y="2088"/>
                </a:lnTo>
                <a:close/>
                <a:moveTo>
                  <a:pt x="6598" y="2138"/>
                </a:moveTo>
                <a:lnTo>
                  <a:pt x="6598" y="2138"/>
                </a:lnTo>
                <a:lnTo>
                  <a:pt x="6596" y="2142"/>
                </a:lnTo>
                <a:lnTo>
                  <a:pt x="6598" y="2142"/>
                </a:lnTo>
                <a:lnTo>
                  <a:pt x="6604" y="2142"/>
                </a:lnTo>
                <a:lnTo>
                  <a:pt x="6610" y="2138"/>
                </a:lnTo>
                <a:lnTo>
                  <a:pt x="6610" y="2136"/>
                </a:lnTo>
                <a:lnTo>
                  <a:pt x="6610" y="2134"/>
                </a:lnTo>
                <a:lnTo>
                  <a:pt x="6606" y="2134"/>
                </a:lnTo>
                <a:lnTo>
                  <a:pt x="6602" y="2134"/>
                </a:lnTo>
                <a:lnTo>
                  <a:pt x="6598" y="2138"/>
                </a:lnTo>
                <a:close/>
                <a:moveTo>
                  <a:pt x="6552" y="2166"/>
                </a:moveTo>
                <a:lnTo>
                  <a:pt x="6552" y="2166"/>
                </a:lnTo>
                <a:lnTo>
                  <a:pt x="6552" y="2168"/>
                </a:lnTo>
                <a:lnTo>
                  <a:pt x="6556" y="2172"/>
                </a:lnTo>
                <a:lnTo>
                  <a:pt x="6560" y="2172"/>
                </a:lnTo>
                <a:lnTo>
                  <a:pt x="6564" y="2172"/>
                </a:lnTo>
                <a:lnTo>
                  <a:pt x="6562" y="2168"/>
                </a:lnTo>
                <a:lnTo>
                  <a:pt x="6560" y="2166"/>
                </a:lnTo>
                <a:lnTo>
                  <a:pt x="6556" y="2164"/>
                </a:lnTo>
                <a:lnTo>
                  <a:pt x="6552" y="2166"/>
                </a:lnTo>
                <a:close/>
                <a:moveTo>
                  <a:pt x="6636" y="2164"/>
                </a:moveTo>
                <a:lnTo>
                  <a:pt x="6636" y="2164"/>
                </a:lnTo>
                <a:lnTo>
                  <a:pt x="6636" y="2166"/>
                </a:lnTo>
                <a:lnTo>
                  <a:pt x="6638" y="2168"/>
                </a:lnTo>
                <a:lnTo>
                  <a:pt x="6640" y="2172"/>
                </a:lnTo>
                <a:lnTo>
                  <a:pt x="6638" y="2174"/>
                </a:lnTo>
                <a:lnTo>
                  <a:pt x="6636" y="2176"/>
                </a:lnTo>
                <a:lnTo>
                  <a:pt x="6638" y="2178"/>
                </a:lnTo>
                <a:lnTo>
                  <a:pt x="6644" y="2182"/>
                </a:lnTo>
                <a:lnTo>
                  <a:pt x="6646" y="2184"/>
                </a:lnTo>
                <a:lnTo>
                  <a:pt x="6648" y="2184"/>
                </a:lnTo>
                <a:lnTo>
                  <a:pt x="6648" y="2182"/>
                </a:lnTo>
                <a:lnTo>
                  <a:pt x="6648" y="2180"/>
                </a:lnTo>
                <a:lnTo>
                  <a:pt x="6650" y="2176"/>
                </a:lnTo>
                <a:lnTo>
                  <a:pt x="6652" y="2176"/>
                </a:lnTo>
                <a:lnTo>
                  <a:pt x="6656" y="2178"/>
                </a:lnTo>
                <a:lnTo>
                  <a:pt x="6660" y="2180"/>
                </a:lnTo>
                <a:lnTo>
                  <a:pt x="6662" y="2180"/>
                </a:lnTo>
                <a:lnTo>
                  <a:pt x="6660" y="2178"/>
                </a:lnTo>
                <a:lnTo>
                  <a:pt x="6658" y="2174"/>
                </a:lnTo>
                <a:lnTo>
                  <a:pt x="6656" y="2174"/>
                </a:lnTo>
                <a:lnTo>
                  <a:pt x="6656" y="2172"/>
                </a:lnTo>
                <a:lnTo>
                  <a:pt x="6658" y="2168"/>
                </a:lnTo>
                <a:lnTo>
                  <a:pt x="6658" y="2164"/>
                </a:lnTo>
                <a:lnTo>
                  <a:pt x="6658" y="2162"/>
                </a:lnTo>
                <a:lnTo>
                  <a:pt x="6654" y="2162"/>
                </a:lnTo>
                <a:lnTo>
                  <a:pt x="6650" y="2160"/>
                </a:lnTo>
                <a:lnTo>
                  <a:pt x="6648" y="2156"/>
                </a:lnTo>
                <a:lnTo>
                  <a:pt x="6644" y="2156"/>
                </a:lnTo>
                <a:lnTo>
                  <a:pt x="6640" y="2158"/>
                </a:lnTo>
                <a:lnTo>
                  <a:pt x="6640" y="2160"/>
                </a:lnTo>
                <a:lnTo>
                  <a:pt x="6642" y="2162"/>
                </a:lnTo>
                <a:lnTo>
                  <a:pt x="6648" y="2164"/>
                </a:lnTo>
                <a:lnTo>
                  <a:pt x="6650" y="2166"/>
                </a:lnTo>
                <a:lnTo>
                  <a:pt x="6650" y="2168"/>
                </a:lnTo>
                <a:lnTo>
                  <a:pt x="6646" y="2166"/>
                </a:lnTo>
                <a:lnTo>
                  <a:pt x="6636" y="2164"/>
                </a:lnTo>
                <a:close/>
                <a:moveTo>
                  <a:pt x="6990" y="1916"/>
                </a:moveTo>
                <a:lnTo>
                  <a:pt x="6990" y="1916"/>
                </a:lnTo>
                <a:lnTo>
                  <a:pt x="6988" y="1916"/>
                </a:lnTo>
                <a:lnTo>
                  <a:pt x="6988" y="1918"/>
                </a:lnTo>
                <a:lnTo>
                  <a:pt x="6990" y="1920"/>
                </a:lnTo>
                <a:lnTo>
                  <a:pt x="6992" y="1924"/>
                </a:lnTo>
                <a:lnTo>
                  <a:pt x="6992" y="1926"/>
                </a:lnTo>
                <a:lnTo>
                  <a:pt x="6988" y="1928"/>
                </a:lnTo>
                <a:lnTo>
                  <a:pt x="6986" y="1930"/>
                </a:lnTo>
                <a:lnTo>
                  <a:pt x="6988" y="1932"/>
                </a:lnTo>
                <a:lnTo>
                  <a:pt x="6994" y="1936"/>
                </a:lnTo>
                <a:lnTo>
                  <a:pt x="7000" y="1938"/>
                </a:lnTo>
                <a:lnTo>
                  <a:pt x="7000" y="1942"/>
                </a:lnTo>
                <a:lnTo>
                  <a:pt x="6996" y="1946"/>
                </a:lnTo>
                <a:lnTo>
                  <a:pt x="6994" y="1948"/>
                </a:lnTo>
                <a:lnTo>
                  <a:pt x="6992" y="1950"/>
                </a:lnTo>
                <a:lnTo>
                  <a:pt x="6994" y="1952"/>
                </a:lnTo>
                <a:lnTo>
                  <a:pt x="6998" y="1952"/>
                </a:lnTo>
                <a:lnTo>
                  <a:pt x="7000" y="1950"/>
                </a:lnTo>
                <a:lnTo>
                  <a:pt x="7002" y="1946"/>
                </a:lnTo>
                <a:lnTo>
                  <a:pt x="7006" y="1938"/>
                </a:lnTo>
                <a:lnTo>
                  <a:pt x="7010" y="1934"/>
                </a:lnTo>
                <a:lnTo>
                  <a:pt x="7012" y="1934"/>
                </a:lnTo>
                <a:lnTo>
                  <a:pt x="7014" y="1934"/>
                </a:lnTo>
                <a:lnTo>
                  <a:pt x="7018" y="1934"/>
                </a:lnTo>
                <a:lnTo>
                  <a:pt x="7024" y="1932"/>
                </a:lnTo>
                <a:lnTo>
                  <a:pt x="7032" y="1928"/>
                </a:lnTo>
                <a:lnTo>
                  <a:pt x="7038" y="1922"/>
                </a:lnTo>
                <a:lnTo>
                  <a:pt x="7040" y="1920"/>
                </a:lnTo>
                <a:lnTo>
                  <a:pt x="7042" y="1920"/>
                </a:lnTo>
                <a:lnTo>
                  <a:pt x="7044" y="1920"/>
                </a:lnTo>
                <a:lnTo>
                  <a:pt x="7046" y="1920"/>
                </a:lnTo>
                <a:lnTo>
                  <a:pt x="7048" y="1920"/>
                </a:lnTo>
                <a:lnTo>
                  <a:pt x="7048" y="1918"/>
                </a:lnTo>
                <a:lnTo>
                  <a:pt x="7038" y="1914"/>
                </a:lnTo>
                <a:lnTo>
                  <a:pt x="7032" y="1910"/>
                </a:lnTo>
                <a:lnTo>
                  <a:pt x="7026" y="1910"/>
                </a:lnTo>
                <a:lnTo>
                  <a:pt x="7022" y="1910"/>
                </a:lnTo>
                <a:lnTo>
                  <a:pt x="7018" y="1910"/>
                </a:lnTo>
                <a:lnTo>
                  <a:pt x="7016" y="1908"/>
                </a:lnTo>
                <a:lnTo>
                  <a:pt x="7010" y="1908"/>
                </a:lnTo>
                <a:lnTo>
                  <a:pt x="7004" y="1912"/>
                </a:lnTo>
                <a:lnTo>
                  <a:pt x="7000" y="1918"/>
                </a:lnTo>
                <a:lnTo>
                  <a:pt x="6998" y="1920"/>
                </a:lnTo>
                <a:lnTo>
                  <a:pt x="6996" y="1918"/>
                </a:lnTo>
                <a:lnTo>
                  <a:pt x="6992" y="1916"/>
                </a:lnTo>
                <a:lnTo>
                  <a:pt x="6990" y="1916"/>
                </a:lnTo>
                <a:close/>
                <a:moveTo>
                  <a:pt x="7006" y="1892"/>
                </a:moveTo>
                <a:lnTo>
                  <a:pt x="7006" y="1892"/>
                </a:lnTo>
                <a:lnTo>
                  <a:pt x="7008" y="1892"/>
                </a:lnTo>
                <a:lnTo>
                  <a:pt x="7010" y="1894"/>
                </a:lnTo>
                <a:lnTo>
                  <a:pt x="7012" y="1898"/>
                </a:lnTo>
                <a:lnTo>
                  <a:pt x="7012" y="1902"/>
                </a:lnTo>
                <a:lnTo>
                  <a:pt x="7014" y="1904"/>
                </a:lnTo>
                <a:lnTo>
                  <a:pt x="7016" y="1904"/>
                </a:lnTo>
                <a:lnTo>
                  <a:pt x="7020" y="1904"/>
                </a:lnTo>
                <a:lnTo>
                  <a:pt x="7022" y="1902"/>
                </a:lnTo>
                <a:lnTo>
                  <a:pt x="7024" y="1898"/>
                </a:lnTo>
                <a:lnTo>
                  <a:pt x="7026" y="1898"/>
                </a:lnTo>
                <a:lnTo>
                  <a:pt x="7028" y="1898"/>
                </a:lnTo>
                <a:lnTo>
                  <a:pt x="7030" y="1898"/>
                </a:lnTo>
                <a:lnTo>
                  <a:pt x="7030" y="1896"/>
                </a:lnTo>
                <a:lnTo>
                  <a:pt x="7032" y="1896"/>
                </a:lnTo>
                <a:lnTo>
                  <a:pt x="7034" y="1896"/>
                </a:lnTo>
                <a:lnTo>
                  <a:pt x="7036" y="1894"/>
                </a:lnTo>
                <a:lnTo>
                  <a:pt x="7034" y="1892"/>
                </a:lnTo>
                <a:lnTo>
                  <a:pt x="7030" y="1888"/>
                </a:lnTo>
                <a:lnTo>
                  <a:pt x="7022" y="1880"/>
                </a:lnTo>
                <a:lnTo>
                  <a:pt x="7018" y="1880"/>
                </a:lnTo>
                <a:lnTo>
                  <a:pt x="7016" y="1882"/>
                </a:lnTo>
                <a:lnTo>
                  <a:pt x="7010" y="1886"/>
                </a:lnTo>
                <a:lnTo>
                  <a:pt x="7006" y="1886"/>
                </a:lnTo>
                <a:lnTo>
                  <a:pt x="7000" y="1886"/>
                </a:lnTo>
                <a:lnTo>
                  <a:pt x="6996" y="1888"/>
                </a:lnTo>
                <a:lnTo>
                  <a:pt x="6994" y="1890"/>
                </a:lnTo>
                <a:lnTo>
                  <a:pt x="6996" y="1890"/>
                </a:lnTo>
                <a:lnTo>
                  <a:pt x="7006" y="1892"/>
                </a:lnTo>
                <a:close/>
                <a:moveTo>
                  <a:pt x="7048" y="1914"/>
                </a:moveTo>
                <a:lnTo>
                  <a:pt x="7048" y="1914"/>
                </a:lnTo>
                <a:lnTo>
                  <a:pt x="7048" y="1910"/>
                </a:lnTo>
                <a:lnTo>
                  <a:pt x="7044" y="1906"/>
                </a:lnTo>
                <a:lnTo>
                  <a:pt x="7042" y="1904"/>
                </a:lnTo>
                <a:lnTo>
                  <a:pt x="7038" y="1906"/>
                </a:lnTo>
                <a:lnTo>
                  <a:pt x="7038" y="1910"/>
                </a:lnTo>
                <a:lnTo>
                  <a:pt x="7042" y="1914"/>
                </a:lnTo>
                <a:lnTo>
                  <a:pt x="7046" y="1914"/>
                </a:lnTo>
                <a:lnTo>
                  <a:pt x="7048" y="1914"/>
                </a:lnTo>
                <a:close/>
                <a:moveTo>
                  <a:pt x="7050" y="1884"/>
                </a:moveTo>
                <a:lnTo>
                  <a:pt x="7050" y="1884"/>
                </a:lnTo>
                <a:lnTo>
                  <a:pt x="7048" y="1884"/>
                </a:lnTo>
                <a:lnTo>
                  <a:pt x="7044" y="1882"/>
                </a:lnTo>
                <a:lnTo>
                  <a:pt x="7040" y="1882"/>
                </a:lnTo>
                <a:lnTo>
                  <a:pt x="7042" y="1886"/>
                </a:lnTo>
                <a:lnTo>
                  <a:pt x="7044" y="1886"/>
                </a:lnTo>
                <a:lnTo>
                  <a:pt x="7048" y="1886"/>
                </a:lnTo>
                <a:lnTo>
                  <a:pt x="7050" y="1884"/>
                </a:lnTo>
                <a:close/>
                <a:moveTo>
                  <a:pt x="6872" y="1954"/>
                </a:moveTo>
                <a:lnTo>
                  <a:pt x="6872" y="1954"/>
                </a:lnTo>
                <a:lnTo>
                  <a:pt x="6864" y="1958"/>
                </a:lnTo>
                <a:lnTo>
                  <a:pt x="6860" y="1956"/>
                </a:lnTo>
                <a:lnTo>
                  <a:pt x="6858" y="1956"/>
                </a:lnTo>
                <a:lnTo>
                  <a:pt x="6850" y="1962"/>
                </a:lnTo>
                <a:lnTo>
                  <a:pt x="6840" y="1974"/>
                </a:lnTo>
                <a:lnTo>
                  <a:pt x="6836" y="1984"/>
                </a:lnTo>
                <a:lnTo>
                  <a:pt x="6836" y="1992"/>
                </a:lnTo>
                <a:lnTo>
                  <a:pt x="6838" y="2000"/>
                </a:lnTo>
                <a:lnTo>
                  <a:pt x="6840" y="2004"/>
                </a:lnTo>
                <a:lnTo>
                  <a:pt x="6840" y="2006"/>
                </a:lnTo>
                <a:lnTo>
                  <a:pt x="6838" y="2014"/>
                </a:lnTo>
                <a:lnTo>
                  <a:pt x="6838" y="2018"/>
                </a:lnTo>
                <a:lnTo>
                  <a:pt x="6840" y="2018"/>
                </a:lnTo>
                <a:lnTo>
                  <a:pt x="6842" y="2016"/>
                </a:lnTo>
                <a:lnTo>
                  <a:pt x="6846" y="2014"/>
                </a:lnTo>
                <a:lnTo>
                  <a:pt x="6850" y="2008"/>
                </a:lnTo>
                <a:lnTo>
                  <a:pt x="6856" y="2000"/>
                </a:lnTo>
                <a:lnTo>
                  <a:pt x="6864" y="1992"/>
                </a:lnTo>
                <a:lnTo>
                  <a:pt x="6866" y="1986"/>
                </a:lnTo>
                <a:lnTo>
                  <a:pt x="6868" y="1984"/>
                </a:lnTo>
                <a:lnTo>
                  <a:pt x="6866" y="1978"/>
                </a:lnTo>
                <a:lnTo>
                  <a:pt x="6864" y="1976"/>
                </a:lnTo>
                <a:lnTo>
                  <a:pt x="6864" y="1972"/>
                </a:lnTo>
                <a:lnTo>
                  <a:pt x="6866" y="1968"/>
                </a:lnTo>
                <a:lnTo>
                  <a:pt x="6870" y="1964"/>
                </a:lnTo>
                <a:lnTo>
                  <a:pt x="6878" y="1954"/>
                </a:lnTo>
                <a:lnTo>
                  <a:pt x="6882" y="1950"/>
                </a:lnTo>
                <a:lnTo>
                  <a:pt x="6882" y="1948"/>
                </a:lnTo>
                <a:lnTo>
                  <a:pt x="6880" y="1948"/>
                </a:lnTo>
                <a:lnTo>
                  <a:pt x="6872" y="1954"/>
                </a:lnTo>
                <a:close/>
                <a:moveTo>
                  <a:pt x="6794" y="1990"/>
                </a:moveTo>
                <a:lnTo>
                  <a:pt x="6794" y="1990"/>
                </a:lnTo>
                <a:lnTo>
                  <a:pt x="6790" y="1990"/>
                </a:lnTo>
                <a:lnTo>
                  <a:pt x="6788" y="1992"/>
                </a:lnTo>
                <a:lnTo>
                  <a:pt x="6786" y="2000"/>
                </a:lnTo>
                <a:lnTo>
                  <a:pt x="6784" y="2010"/>
                </a:lnTo>
                <a:lnTo>
                  <a:pt x="6780" y="2018"/>
                </a:lnTo>
                <a:lnTo>
                  <a:pt x="6774" y="2026"/>
                </a:lnTo>
                <a:lnTo>
                  <a:pt x="6770" y="2038"/>
                </a:lnTo>
                <a:lnTo>
                  <a:pt x="6768" y="2052"/>
                </a:lnTo>
                <a:lnTo>
                  <a:pt x="6768" y="2056"/>
                </a:lnTo>
                <a:lnTo>
                  <a:pt x="6770" y="2060"/>
                </a:lnTo>
                <a:lnTo>
                  <a:pt x="6776" y="2050"/>
                </a:lnTo>
                <a:lnTo>
                  <a:pt x="6786" y="2026"/>
                </a:lnTo>
                <a:lnTo>
                  <a:pt x="6792" y="2002"/>
                </a:lnTo>
                <a:lnTo>
                  <a:pt x="6794" y="1992"/>
                </a:lnTo>
                <a:lnTo>
                  <a:pt x="6794" y="1990"/>
                </a:lnTo>
                <a:close/>
                <a:moveTo>
                  <a:pt x="6856" y="1798"/>
                </a:moveTo>
                <a:lnTo>
                  <a:pt x="6856" y="1798"/>
                </a:lnTo>
                <a:lnTo>
                  <a:pt x="6856" y="1796"/>
                </a:lnTo>
                <a:lnTo>
                  <a:pt x="6854" y="1790"/>
                </a:lnTo>
                <a:lnTo>
                  <a:pt x="6852" y="1786"/>
                </a:lnTo>
                <a:lnTo>
                  <a:pt x="6848" y="1786"/>
                </a:lnTo>
                <a:lnTo>
                  <a:pt x="6848" y="1788"/>
                </a:lnTo>
                <a:lnTo>
                  <a:pt x="6848" y="1792"/>
                </a:lnTo>
                <a:lnTo>
                  <a:pt x="6852" y="1796"/>
                </a:lnTo>
                <a:lnTo>
                  <a:pt x="6856" y="1798"/>
                </a:lnTo>
                <a:close/>
                <a:moveTo>
                  <a:pt x="7008" y="1802"/>
                </a:moveTo>
                <a:lnTo>
                  <a:pt x="7008" y="1802"/>
                </a:lnTo>
                <a:lnTo>
                  <a:pt x="7006" y="1800"/>
                </a:lnTo>
                <a:lnTo>
                  <a:pt x="7002" y="1798"/>
                </a:lnTo>
                <a:lnTo>
                  <a:pt x="6998" y="1798"/>
                </a:lnTo>
                <a:lnTo>
                  <a:pt x="6996" y="1800"/>
                </a:lnTo>
                <a:lnTo>
                  <a:pt x="6998" y="1802"/>
                </a:lnTo>
                <a:lnTo>
                  <a:pt x="7002" y="1804"/>
                </a:lnTo>
                <a:lnTo>
                  <a:pt x="7006" y="1804"/>
                </a:lnTo>
                <a:lnTo>
                  <a:pt x="7008" y="1802"/>
                </a:lnTo>
                <a:close/>
                <a:moveTo>
                  <a:pt x="6986" y="1790"/>
                </a:moveTo>
                <a:lnTo>
                  <a:pt x="6986" y="1790"/>
                </a:lnTo>
                <a:lnTo>
                  <a:pt x="6984" y="1792"/>
                </a:lnTo>
                <a:lnTo>
                  <a:pt x="6984" y="1796"/>
                </a:lnTo>
                <a:lnTo>
                  <a:pt x="6986" y="1798"/>
                </a:lnTo>
                <a:lnTo>
                  <a:pt x="6990" y="1800"/>
                </a:lnTo>
                <a:lnTo>
                  <a:pt x="6992" y="1798"/>
                </a:lnTo>
                <a:lnTo>
                  <a:pt x="6992" y="1796"/>
                </a:lnTo>
                <a:lnTo>
                  <a:pt x="6990" y="1792"/>
                </a:lnTo>
                <a:lnTo>
                  <a:pt x="6986" y="1790"/>
                </a:lnTo>
                <a:close/>
                <a:moveTo>
                  <a:pt x="6980" y="1810"/>
                </a:moveTo>
                <a:lnTo>
                  <a:pt x="6980" y="1810"/>
                </a:lnTo>
                <a:lnTo>
                  <a:pt x="6978" y="1808"/>
                </a:lnTo>
                <a:lnTo>
                  <a:pt x="6976" y="1808"/>
                </a:lnTo>
                <a:lnTo>
                  <a:pt x="6974" y="1812"/>
                </a:lnTo>
                <a:lnTo>
                  <a:pt x="6976" y="1814"/>
                </a:lnTo>
                <a:lnTo>
                  <a:pt x="6978" y="1814"/>
                </a:lnTo>
                <a:lnTo>
                  <a:pt x="6980" y="1812"/>
                </a:lnTo>
                <a:lnTo>
                  <a:pt x="6980" y="1810"/>
                </a:lnTo>
                <a:close/>
                <a:moveTo>
                  <a:pt x="6992" y="1810"/>
                </a:moveTo>
                <a:lnTo>
                  <a:pt x="6992" y="1810"/>
                </a:lnTo>
                <a:lnTo>
                  <a:pt x="6992" y="1812"/>
                </a:lnTo>
                <a:lnTo>
                  <a:pt x="6994" y="1810"/>
                </a:lnTo>
                <a:lnTo>
                  <a:pt x="6996" y="1810"/>
                </a:lnTo>
                <a:lnTo>
                  <a:pt x="6996" y="1808"/>
                </a:lnTo>
                <a:lnTo>
                  <a:pt x="6994" y="1808"/>
                </a:lnTo>
                <a:lnTo>
                  <a:pt x="6992" y="1808"/>
                </a:lnTo>
                <a:lnTo>
                  <a:pt x="6992" y="1810"/>
                </a:lnTo>
                <a:close/>
                <a:moveTo>
                  <a:pt x="6982" y="1810"/>
                </a:moveTo>
                <a:lnTo>
                  <a:pt x="6982" y="1810"/>
                </a:lnTo>
                <a:lnTo>
                  <a:pt x="6984" y="1810"/>
                </a:lnTo>
                <a:lnTo>
                  <a:pt x="6986" y="1810"/>
                </a:lnTo>
                <a:lnTo>
                  <a:pt x="6988" y="1810"/>
                </a:lnTo>
                <a:lnTo>
                  <a:pt x="6988" y="1808"/>
                </a:lnTo>
                <a:lnTo>
                  <a:pt x="6986" y="1806"/>
                </a:lnTo>
                <a:lnTo>
                  <a:pt x="6984" y="1806"/>
                </a:lnTo>
                <a:lnTo>
                  <a:pt x="6982" y="1810"/>
                </a:lnTo>
                <a:close/>
                <a:moveTo>
                  <a:pt x="6916" y="1814"/>
                </a:moveTo>
                <a:lnTo>
                  <a:pt x="6916" y="1814"/>
                </a:lnTo>
                <a:lnTo>
                  <a:pt x="6916" y="1816"/>
                </a:lnTo>
                <a:lnTo>
                  <a:pt x="6918" y="1820"/>
                </a:lnTo>
                <a:lnTo>
                  <a:pt x="6920" y="1820"/>
                </a:lnTo>
                <a:lnTo>
                  <a:pt x="6922" y="1820"/>
                </a:lnTo>
                <a:lnTo>
                  <a:pt x="6922" y="1818"/>
                </a:lnTo>
                <a:lnTo>
                  <a:pt x="6920" y="1816"/>
                </a:lnTo>
                <a:lnTo>
                  <a:pt x="6918" y="1814"/>
                </a:lnTo>
                <a:lnTo>
                  <a:pt x="6916" y="1814"/>
                </a:lnTo>
                <a:close/>
                <a:moveTo>
                  <a:pt x="6902" y="1802"/>
                </a:moveTo>
                <a:lnTo>
                  <a:pt x="6902" y="1802"/>
                </a:lnTo>
                <a:lnTo>
                  <a:pt x="6898" y="1804"/>
                </a:lnTo>
                <a:lnTo>
                  <a:pt x="6894" y="1806"/>
                </a:lnTo>
                <a:lnTo>
                  <a:pt x="6894" y="1808"/>
                </a:lnTo>
                <a:lnTo>
                  <a:pt x="6894" y="1812"/>
                </a:lnTo>
                <a:lnTo>
                  <a:pt x="6896" y="1810"/>
                </a:lnTo>
                <a:lnTo>
                  <a:pt x="6898" y="1810"/>
                </a:lnTo>
                <a:lnTo>
                  <a:pt x="6902" y="1812"/>
                </a:lnTo>
                <a:lnTo>
                  <a:pt x="6904" y="1814"/>
                </a:lnTo>
                <a:lnTo>
                  <a:pt x="6906" y="1816"/>
                </a:lnTo>
                <a:lnTo>
                  <a:pt x="6910" y="1816"/>
                </a:lnTo>
                <a:lnTo>
                  <a:pt x="6914" y="1814"/>
                </a:lnTo>
                <a:lnTo>
                  <a:pt x="6914" y="1812"/>
                </a:lnTo>
                <a:lnTo>
                  <a:pt x="6914" y="1810"/>
                </a:lnTo>
                <a:lnTo>
                  <a:pt x="6914" y="1808"/>
                </a:lnTo>
                <a:lnTo>
                  <a:pt x="6914" y="1806"/>
                </a:lnTo>
                <a:lnTo>
                  <a:pt x="6916" y="1806"/>
                </a:lnTo>
                <a:lnTo>
                  <a:pt x="6918" y="1808"/>
                </a:lnTo>
                <a:lnTo>
                  <a:pt x="6920" y="1808"/>
                </a:lnTo>
                <a:lnTo>
                  <a:pt x="6924" y="1804"/>
                </a:lnTo>
                <a:lnTo>
                  <a:pt x="6926" y="1802"/>
                </a:lnTo>
                <a:lnTo>
                  <a:pt x="6924" y="1800"/>
                </a:lnTo>
                <a:lnTo>
                  <a:pt x="6910" y="1794"/>
                </a:lnTo>
                <a:lnTo>
                  <a:pt x="6904" y="1794"/>
                </a:lnTo>
                <a:lnTo>
                  <a:pt x="6906" y="1796"/>
                </a:lnTo>
                <a:lnTo>
                  <a:pt x="6908" y="1800"/>
                </a:lnTo>
                <a:lnTo>
                  <a:pt x="6908" y="1802"/>
                </a:lnTo>
                <a:lnTo>
                  <a:pt x="6908" y="1804"/>
                </a:lnTo>
                <a:lnTo>
                  <a:pt x="6906" y="1806"/>
                </a:lnTo>
                <a:lnTo>
                  <a:pt x="6904" y="1804"/>
                </a:lnTo>
                <a:lnTo>
                  <a:pt x="6904" y="1802"/>
                </a:lnTo>
                <a:lnTo>
                  <a:pt x="6902" y="1802"/>
                </a:lnTo>
                <a:close/>
                <a:moveTo>
                  <a:pt x="7118" y="1484"/>
                </a:moveTo>
                <a:lnTo>
                  <a:pt x="7118" y="1484"/>
                </a:lnTo>
                <a:lnTo>
                  <a:pt x="7120" y="1484"/>
                </a:lnTo>
                <a:lnTo>
                  <a:pt x="7118" y="1482"/>
                </a:lnTo>
                <a:lnTo>
                  <a:pt x="7108" y="1480"/>
                </a:lnTo>
                <a:lnTo>
                  <a:pt x="7104" y="1480"/>
                </a:lnTo>
                <a:lnTo>
                  <a:pt x="7102" y="1480"/>
                </a:lnTo>
                <a:lnTo>
                  <a:pt x="7100" y="1484"/>
                </a:lnTo>
                <a:lnTo>
                  <a:pt x="7100" y="1488"/>
                </a:lnTo>
                <a:lnTo>
                  <a:pt x="7104" y="1490"/>
                </a:lnTo>
                <a:lnTo>
                  <a:pt x="7108" y="1488"/>
                </a:lnTo>
                <a:lnTo>
                  <a:pt x="7110" y="1488"/>
                </a:lnTo>
                <a:lnTo>
                  <a:pt x="7114" y="1486"/>
                </a:lnTo>
                <a:lnTo>
                  <a:pt x="7118" y="1484"/>
                </a:lnTo>
                <a:close/>
                <a:moveTo>
                  <a:pt x="6972" y="1606"/>
                </a:moveTo>
                <a:lnTo>
                  <a:pt x="6972" y="1606"/>
                </a:lnTo>
                <a:lnTo>
                  <a:pt x="6972" y="1604"/>
                </a:lnTo>
                <a:lnTo>
                  <a:pt x="6970" y="1604"/>
                </a:lnTo>
                <a:lnTo>
                  <a:pt x="6964" y="1604"/>
                </a:lnTo>
                <a:lnTo>
                  <a:pt x="6962" y="1604"/>
                </a:lnTo>
                <a:lnTo>
                  <a:pt x="6960" y="1606"/>
                </a:lnTo>
                <a:lnTo>
                  <a:pt x="6960" y="1608"/>
                </a:lnTo>
                <a:lnTo>
                  <a:pt x="6964" y="1610"/>
                </a:lnTo>
                <a:lnTo>
                  <a:pt x="6966" y="1612"/>
                </a:lnTo>
                <a:lnTo>
                  <a:pt x="6968" y="1612"/>
                </a:lnTo>
                <a:lnTo>
                  <a:pt x="6972" y="1606"/>
                </a:lnTo>
                <a:close/>
                <a:moveTo>
                  <a:pt x="6758" y="1246"/>
                </a:moveTo>
                <a:lnTo>
                  <a:pt x="6758" y="1246"/>
                </a:lnTo>
                <a:lnTo>
                  <a:pt x="6758" y="1248"/>
                </a:lnTo>
                <a:lnTo>
                  <a:pt x="6762" y="1248"/>
                </a:lnTo>
                <a:lnTo>
                  <a:pt x="6766" y="1246"/>
                </a:lnTo>
                <a:lnTo>
                  <a:pt x="6770" y="1244"/>
                </a:lnTo>
                <a:lnTo>
                  <a:pt x="6768" y="1242"/>
                </a:lnTo>
                <a:lnTo>
                  <a:pt x="6766" y="1240"/>
                </a:lnTo>
                <a:lnTo>
                  <a:pt x="6760" y="1242"/>
                </a:lnTo>
                <a:lnTo>
                  <a:pt x="6758" y="1246"/>
                </a:lnTo>
                <a:close/>
                <a:moveTo>
                  <a:pt x="6586" y="426"/>
                </a:moveTo>
                <a:lnTo>
                  <a:pt x="6586" y="426"/>
                </a:lnTo>
                <a:lnTo>
                  <a:pt x="6586" y="432"/>
                </a:lnTo>
                <a:lnTo>
                  <a:pt x="6588" y="438"/>
                </a:lnTo>
                <a:lnTo>
                  <a:pt x="6590" y="440"/>
                </a:lnTo>
                <a:lnTo>
                  <a:pt x="6594" y="444"/>
                </a:lnTo>
                <a:lnTo>
                  <a:pt x="6596" y="444"/>
                </a:lnTo>
                <a:lnTo>
                  <a:pt x="6596" y="446"/>
                </a:lnTo>
                <a:lnTo>
                  <a:pt x="6584" y="446"/>
                </a:lnTo>
                <a:lnTo>
                  <a:pt x="6570" y="448"/>
                </a:lnTo>
                <a:lnTo>
                  <a:pt x="6568" y="450"/>
                </a:lnTo>
                <a:lnTo>
                  <a:pt x="6570" y="452"/>
                </a:lnTo>
                <a:lnTo>
                  <a:pt x="6582" y="464"/>
                </a:lnTo>
                <a:lnTo>
                  <a:pt x="6608" y="488"/>
                </a:lnTo>
                <a:lnTo>
                  <a:pt x="6622" y="502"/>
                </a:lnTo>
                <a:lnTo>
                  <a:pt x="6634" y="508"/>
                </a:lnTo>
                <a:lnTo>
                  <a:pt x="6644" y="512"/>
                </a:lnTo>
                <a:lnTo>
                  <a:pt x="6654" y="510"/>
                </a:lnTo>
                <a:lnTo>
                  <a:pt x="6664" y="506"/>
                </a:lnTo>
                <a:lnTo>
                  <a:pt x="6676" y="498"/>
                </a:lnTo>
                <a:lnTo>
                  <a:pt x="6702" y="480"/>
                </a:lnTo>
                <a:lnTo>
                  <a:pt x="6722" y="470"/>
                </a:lnTo>
                <a:lnTo>
                  <a:pt x="6724" y="470"/>
                </a:lnTo>
                <a:lnTo>
                  <a:pt x="6726" y="472"/>
                </a:lnTo>
                <a:lnTo>
                  <a:pt x="6728" y="474"/>
                </a:lnTo>
                <a:lnTo>
                  <a:pt x="6732" y="478"/>
                </a:lnTo>
                <a:lnTo>
                  <a:pt x="6740" y="482"/>
                </a:lnTo>
                <a:lnTo>
                  <a:pt x="6756" y="484"/>
                </a:lnTo>
                <a:lnTo>
                  <a:pt x="6772" y="484"/>
                </a:lnTo>
                <a:lnTo>
                  <a:pt x="6780" y="486"/>
                </a:lnTo>
                <a:lnTo>
                  <a:pt x="6780" y="488"/>
                </a:lnTo>
                <a:lnTo>
                  <a:pt x="6778" y="490"/>
                </a:lnTo>
                <a:lnTo>
                  <a:pt x="6772" y="494"/>
                </a:lnTo>
                <a:lnTo>
                  <a:pt x="6742" y="504"/>
                </a:lnTo>
                <a:lnTo>
                  <a:pt x="6698" y="516"/>
                </a:lnTo>
                <a:lnTo>
                  <a:pt x="6678" y="522"/>
                </a:lnTo>
                <a:lnTo>
                  <a:pt x="6664" y="528"/>
                </a:lnTo>
                <a:lnTo>
                  <a:pt x="6656" y="534"/>
                </a:lnTo>
                <a:lnTo>
                  <a:pt x="6654" y="536"/>
                </a:lnTo>
                <a:lnTo>
                  <a:pt x="6656" y="538"/>
                </a:lnTo>
                <a:lnTo>
                  <a:pt x="6660" y="540"/>
                </a:lnTo>
                <a:lnTo>
                  <a:pt x="6674" y="542"/>
                </a:lnTo>
                <a:lnTo>
                  <a:pt x="6692" y="540"/>
                </a:lnTo>
                <a:lnTo>
                  <a:pt x="6718" y="538"/>
                </a:lnTo>
                <a:lnTo>
                  <a:pt x="6742" y="536"/>
                </a:lnTo>
                <a:lnTo>
                  <a:pt x="6756" y="538"/>
                </a:lnTo>
                <a:lnTo>
                  <a:pt x="6758" y="538"/>
                </a:lnTo>
                <a:lnTo>
                  <a:pt x="6760" y="540"/>
                </a:lnTo>
                <a:lnTo>
                  <a:pt x="6756" y="544"/>
                </a:lnTo>
                <a:lnTo>
                  <a:pt x="6748" y="550"/>
                </a:lnTo>
                <a:lnTo>
                  <a:pt x="6734" y="554"/>
                </a:lnTo>
                <a:lnTo>
                  <a:pt x="6720" y="558"/>
                </a:lnTo>
                <a:lnTo>
                  <a:pt x="6704" y="562"/>
                </a:lnTo>
                <a:lnTo>
                  <a:pt x="6678" y="568"/>
                </a:lnTo>
                <a:lnTo>
                  <a:pt x="6672" y="570"/>
                </a:lnTo>
                <a:lnTo>
                  <a:pt x="6668" y="574"/>
                </a:lnTo>
                <a:lnTo>
                  <a:pt x="6670" y="576"/>
                </a:lnTo>
                <a:lnTo>
                  <a:pt x="6676" y="580"/>
                </a:lnTo>
                <a:lnTo>
                  <a:pt x="6698" y="592"/>
                </a:lnTo>
                <a:lnTo>
                  <a:pt x="6712" y="596"/>
                </a:lnTo>
                <a:lnTo>
                  <a:pt x="6720" y="602"/>
                </a:lnTo>
                <a:lnTo>
                  <a:pt x="6732" y="614"/>
                </a:lnTo>
                <a:lnTo>
                  <a:pt x="6738" y="620"/>
                </a:lnTo>
                <a:lnTo>
                  <a:pt x="6744" y="624"/>
                </a:lnTo>
                <a:lnTo>
                  <a:pt x="6756" y="630"/>
                </a:lnTo>
                <a:lnTo>
                  <a:pt x="6774" y="636"/>
                </a:lnTo>
                <a:lnTo>
                  <a:pt x="6782" y="636"/>
                </a:lnTo>
                <a:lnTo>
                  <a:pt x="6790" y="636"/>
                </a:lnTo>
                <a:lnTo>
                  <a:pt x="6794" y="636"/>
                </a:lnTo>
                <a:lnTo>
                  <a:pt x="6798" y="632"/>
                </a:lnTo>
                <a:lnTo>
                  <a:pt x="6800" y="628"/>
                </a:lnTo>
                <a:lnTo>
                  <a:pt x="6802" y="624"/>
                </a:lnTo>
                <a:lnTo>
                  <a:pt x="6804" y="612"/>
                </a:lnTo>
                <a:lnTo>
                  <a:pt x="6804" y="598"/>
                </a:lnTo>
                <a:lnTo>
                  <a:pt x="6808" y="586"/>
                </a:lnTo>
                <a:lnTo>
                  <a:pt x="6812" y="580"/>
                </a:lnTo>
                <a:lnTo>
                  <a:pt x="6816" y="574"/>
                </a:lnTo>
                <a:lnTo>
                  <a:pt x="6822" y="570"/>
                </a:lnTo>
                <a:lnTo>
                  <a:pt x="6830" y="566"/>
                </a:lnTo>
                <a:lnTo>
                  <a:pt x="6844" y="560"/>
                </a:lnTo>
                <a:lnTo>
                  <a:pt x="6850" y="554"/>
                </a:lnTo>
                <a:lnTo>
                  <a:pt x="6850" y="548"/>
                </a:lnTo>
                <a:lnTo>
                  <a:pt x="6848" y="542"/>
                </a:lnTo>
                <a:lnTo>
                  <a:pt x="6846" y="536"/>
                </a:lnTo>
                <a:lnTo>
                  <a:pt x="6846" y="530"/>
                </a:lnTo>
                <a:lnTo>
                  <a:pt x="6848" y="528"/>
                </a:lnTo>
                <a:lnTo>
                  <a:pt x="6850" y="526"/>
                </a:lnTo>
                <a:lnTo>
                  <a:pt x="6860" y="522"/>
                </a:lnTo>
                <a:lnTo>
                  <a:pt x="6866" y="520"/>
                </a:lnTo>
                <a:lnTo>
                  <a:pt x="6872" y="516"/>
                </a:lnTo>
                <a:lnTo>
                  <a:pt x="6874" y="514"/>
                </a:lnTo>
                <a:lnTo>
                  <a:pt x="6876" y="510"/>
                </a:lnTo>
                <a:lnTo>
                  <a:pt x="6878" y="502"/>
                </a:lnTo>
                <a:lnTo>
                  <a:pt x="6878" y="494"/>
                </a:lnTo>
                <a:lnTo>
                  <a:pt x="6880" y="488"/>
                </a:lnTo>
                <a:lnTo>
                  <a:pt x="6882" y="484"/>
                </a:lnTo>
                <a:lnTo>
                  <a:pt x="6886" y="482"/>
                </a:lnTo>
                <a:lnTo>
                  <a:pt x="6890" y="478"/>
                </a:lnTo>
                <a:lnTo>
                  <a:pt x="6898" y="476"/>
                </a:lnTo>
                <a:lnTo>
                  <a:pt x="6918" y="474"/>
                </a:lnTo>
                <a:lnTo>
                  <a:pt x="6956" y="468"/>
                </a:lnTo>
                <a:lnTo>
                  <a:pt x="6968" y="466"/>
                </a:lnTo>
                <a:lnTo>
                  <a:pt x="6974" y="464"/>
                </a:lnTo>
                <a:lnTo>
                  <a:pt x="6974" y="462"/>
                </a:lnTo>
                <a:lnTo>
                  <a:pt x="6974" y="460"/>
                </a:lnTo>
                <a:lnTo>
                  <a:pt x="6970" y="456"/>
                </a:lnTo>
                <a:lnTo>
                  <a:pt x="6958" y="452"/>
                </a:lnTo>
                <a:lnTo>
                  <a:pt x="6944" y="448"/>
                </a:lnTo>
                <a:lnTo>
                  <a:pt x="6928" y="444"/>
                </a:lnTo>
                <a:lnTo>
                  <a:pt x="6920" y="440"/>
                </a:lnTo>
                <a:lnTo>
                  <a:pt x="6910" y="434"/>
                </a:lnTo>
                <a:lnTo>
                  <a:pt x="6908" y="432"/>
                </a:lnTo>
                <a:lnTo>
                  <a:pt x="6904" y="432"/>
                </a:lnTo>
                <a:lnTo>
                  <a:pt x="6886" y="430"/>
                </a:lnTo>
                <a:lnTo>
                  <a:pt x="6876" y="430"/>
                </a:lnTo>
                <a:lnTo>
                  <a:pt x="6870" y="428"/>
                </a:lnTo>
                <a:lnTo>
                  <a:pt x="6868" y="424"/>
                </a:lnTo>
                <a:lnTo>
                  <a:pt x="6868" y="418"/>
                </a:lnTo>
                <a:lnTo>
                  <a:pt x="6868" y="414"/>
                </a:lnTo>
                <a:lnTo>
                  <a:pt x="6866" y="406"/>
                </a:lnTo>
                <a:lnTo>
                  <a:pt x="6862" y="400"/>
                </a:lnTo>
                <a:lnTo>
                  <a:pt x="6856" y="394"/>
                </a:lnTo>
                <a:lnTo>
                  <a:pt x="6846" y="392"/>
                </a:lnTo>
                <a:lnTo>
                  <a:pt x="6840" y="394"/>
                </a:lnTo>
                <a:lnTo>
                  <a:pt x="6836" y="398"/>
                </a:lnTo>
                <a:lnTo>
                  <a:pt x="6832" y="404"/>
                </a:lnTo>
                <a:lnTo>
                  <a:pt x="6830" y="414"/>
                </a:lnTo>
                <a:lnTo>
                  <a:pt x="6828" y="414"/>
                </a:lnTo>
                <a:lnTo>
                  <a:pt x="6826" y="410"/>
                </a:lnTo>
                <a:lnTo>
                  <a:pt x="6824" y="402"/>
                </a:lnTo>
                <a:lnTo>
                  <a:pt x="6824" y="396"/>
                </a:lnTo>
                <a:lnTo>
                  <a:pt x="6826" y="390"/>
                </a:lnTo>
                <a:lnTo>
                  <a:pt x="6830" y="388"/>
                </a:lnTo>
                <a:lnTo>
                  <a:pt x="6834" y="382"/>
                </a:lnTo>
                <a:lnTo>
                  <a:pt x="6836" y="382"/>
                </a:lnTo>
                <a:lnTo>
                  <a:pt x="6836" y="380"/>
                </a:lnTo>
                <a:lnTo>
                  <a:pt x="6816" y="370"/>
                </a:lnTo>
                <a:lnTo>
                  <a:pt x="6808" y="368"/>
                </a:lnTo>
                <a:lnTo>
                  <a:pt x="6792" y="368"/>
                </a:lnTo>
                <a:lnTo>
                  <a:pt x="6784" y="368"/>
                </a:lnTo>
                <a:lnTo>
                  <a:pt x="6778" y="366"/>
                </a:lnTo>
                <a:lnTo>
                  <a:pt x="6768" y="360"/>
                </a:lnTo>
                <a:lnTo>
                  <a:pt x="6766" y="358"/>
                </a:lnTo>
                <a:lnTo>
                  <a:pt x="6760" y="356"/>
                </a:lnTo>
                <a:lnTo>
                  <a:pt x="6754" y="358"/>
                </a:lnTo>
                <a:lnTo>
                  <a:pt x="6746" y="362"/>
                </a:lnTo>
                <a:lnTo>
                  <a:pt x="6742" y="366"/>
                </a:lnTo>
                <a:lnTo>
                  <a:pt x="6740" y="370"/>
                </a:lnTo>
                <a:lnTo>
                  <a:pt x="6740" y="376"/>
                </a:lnTo>
                <a:lnTo>
                  <a:pt x="6740" y="382"/>
                </a:lnTo>
                <a:lnTo>
                  <a:pt x="6746" y="396"/>
                </a:lnTo>
                <a:lnTo>
                  <a:pt x="6752" y="412"/>
                </a:lnTo>
                <a:lnTo>
                  <a:pt x="6768" y="438"/>
                </a:lnTo>
                <a:lnTo>
                  <a:pt x="6770" y="446"/>
                </a:lnTo>
                <a:lnTo>
                  <a:pt x="6770" y="448"/>
                </a:lnTo>
                <a:lnTo>
                  <a:pt x="6768" y="450"/>
                </a:lnTo>
                <a:lnTo>
                  <a:pt x="6764" y="450"/>
                </a:lnTo>
                <a:lnTo>
                  <a:pt x="6760" y="446"/>
                </a:lnTo>
                <a:lnTo>
                  <a:pt x="6752" y="438"/>
                </a:lnTo>
                <a:lnTo>
                  <a:pt x="6732" y="412"/>
                </a:lnTo>
                <a:lnTo>
                  <a:pt x="6720" y="400"/>
                </a:lnTo>
                <a:lnTo>
                  <a:pt x="6710" y="388"/>
                </a:lnTo>
                <a:lnTo>
                  <a:pt x="6704" y="386"/>
                </a:lnTo>
                <a:lnTo>
                  <a:pt x="6698" y="382"/>
                </a:lnTo>
                <a:lnTo>
                  <a:pt x="6694" y="382"/>
                </a:lnTo>
                <a:lnTo>
                  <a:pt x="6688" y="382"/>
                </a:lnTo>
                <a:lnTo>
                  <a:pt x="6684" y="384"/>
                </a:lnTo>
                <a:lnTo>
                  <a:pt x="6680" y="388"/>
                </a:lnTo>
                <a:lnTo>
                  <a:pt x="6674" y="396"/>
                </a:lnTo>
                <a:lnTo>
                  <a:pt x="6672" y="406"/>
                </a:lnTo>
                <a:lnTo>
                  <a:pt x="6670" y="414"/>
                </a:lnTo>
                <a:lnTo>
                  <a:pt x="6670" y="424"/>
                </a:lnTo>
                <a:lnTo>
                  <a:pt x="6668" y="424"/>
                </a:lnTo>
                <a:lnTo>
                  <a:pt x="6666" y="416"/>
                </a:lnTo>
                <a:lnTo>
                  <a:pt x="6660" y="408"/>
                </a:lnTo>
                <a:lnTo>
                  <a:pt x="6652" y="402"/>
                </a:lnTo>
                <a:lnTo>
                  <a:pt x="6644" y="398"/>
                </a:lnTo>
                <a:lnTo>
                  <a:pt x="6638" y="396"/>
                </a:lnTo>
                <a:lnTo>
                  <a:pt x="6634" y="394"/>
                </a:lnTo>
                <a:lnTo>
                  <a:pt x="6634" y="392"/>
                </a:lnTo>
                <a:lnTo>
                  <a:pt x="6646" y="390"/>
                </a:lnTo>
                <a:lnTo>
                  <a:pt x="6656" y="386"/>
                </a:lnTo>
                <a:lnTo>
                  <a:pt x="6664" y="384"/>
                </a:lnTo>
                <a:lnTo>
                  <a:pt x="6668" y="380"/>
                </a:lnTo>
                <a:lnTo>
                  <a:pt x="6668" y="376"/>
                </a:lnTo>
                <a:lnTo>
                  <a:pt x="6668" y="374"/>
                </a:lnTo>
                <a:lnTo>
                  <a:pt x="6662" y="374"/>
                </a:lnTo>
                <a:lnTo>
                  <a:pt x="6654" y="374"/>
                </a:lnTo>
                <a:lnTo>
                  <a:pt x="6642" y="376"/>
                </a:lnTo>
                <a:lnTo>
                  <a:pt x="6630" y="380"/>
                </a:lnTo>
                <a:lnTo>
                  <a:pt x="6622" y="380"/>
                </a:lnTo>
                <a:lnTo>
                  <a:pt x="6618" y="378"/>
                </a:lnTo>
                <a:lnTo>
                  <a:pt x="6614" y="376"/>
                </a:lnTo>
                <a:lnTo>
                  <a:pt x="6612" y="374"/>
                </a:lnTo>
                <a:lnTo>
                  <a:pt x="6610" y="374"/>
                </a:lnTo>
                <a:lnTo>
                  <a:pt x="6606" y="374"/>
                </a:lnTo>
                <a:lnTo>
                  <a:pt x="6600" y="378"/>
                </a:lnTo>
                <a:lnTo>
                  <a:pt x="6594" y="382"/>
                </a:lnTo>
                <a:lnTo>
                  <a:pt x="6590" y="382"/>
                </a:lnTo>
                <a:lnTo>
                  <a:pt x="6586" y="380"/>
                </a:lnTo>
                <a:lnTo>
                  <a:pt x="6584" y="378"/>
                </a:lnTo>
                <a:lnTo>
                  <a:pt x="6580" y="376"/>
                </a:lnTo>
                <a:lnTo>
                  <a:pt x="6576" y="374"/>
                </a:lnTo>
                <a:lnTo>
                  <a:pt x="6568" y="376"/>
                </a:lnTo>
                <a:lnTo>
                  <a:pt x="6558" y="382"/>
                </a:lnTo>
                <a:lnTo>
                  <a:pt x="6548" y="388"/>
                </a:lnTo>
                <a:lnTo>
                  <a:pt x="6542" y="394"/>
                </a:lnTo>
                <a:lnTo>
                  <a:pt x="6538" y="400"/>
                </a:lnTo>
                <a:lnTo>
                  <a:pt x="6538" y="404"/>
                </a:lnTo>
                <a:lnTo>
                  <a:pt x="6542" y="410"/>
                </a:lnTo>
                <a:lnTo>
                  <a:pt x="6546" y="416"/>
                </a:lnTo>
                <a:lnTo>
                  <a:pt x="6556" y="428"/>
                </a:lnTo>
                <a:lnTo>
                  <a:pt x="6562" y="434"/>
                </a:lnTo>
                <a:lnTo>
                  <a:pt x="6568" y="434"/>
                </a:lnTo>
                <a:lnTo>
                  <a:pt x="6574" y="432"/>
                </a:lnTo>
                <a:lnTo>
                  <a:pt x="6580" y="428"/>
                </a:lnTo>
                <a:lnTo>
                  <a:pt x="6586" y="420"/>
                </a:lnTo>
                <a:lnTo>
                  <a:pt x="6588" y="420"/>
                </a:lnTo>
                <a:lnTo>
                  <a:pt x="6586" y="426"/>
                </a:lnTo>
                <a:close/>
                <a:moveTo>
                  <a:pt x="6576" y="498"/>
                </a:moveTo>
                <a:lnTo>
                  <a:pt x="6576" y="498"/>
                </a:lnTo>
                <a:lnTo>
                  <a:pt x="6590" y="504"/>
                </a:lnTo>
                <a:lnTo>
                  <a:pt x="6596" y="506"/>
                </a:lnTo>
                <a:lnTo>
                  <a:pt x="6598" y="504"/>
                </a:lnTo>
                <a:lnTo>
                  <a:pt x="6596" y="498"/>
                </a:lnTo>
                <a:lnTo>
                  <a:pt x="6590" y="492"/>
                </a:lnTo>
                <a:lnTo>
                  <a:pt x="6584" y="486"/>
                </a:lnTo>
                <a:lnTo>
                  <a:pt x="6578" y="482"/>
                </a:lnTo>
                <a:lnTo>
                  <a:pt x="6572" y="480"/>
                </a:lnTo>
                <a:lnTo>
                  <a:pt x="6566" y="478"/>
                </a:lnTo>
                <a:lnTo>
                  <a:pt x="6562" y="474"/>
                </a:lnTo>
                <a:lnTo>
                  <a:pt x="6554" y="462"/>
                </a:lnTo>
                <a:lnTo>
                  <a:pt x="6550" y="456"/>
                </a:lnTo>
                <a:lnTo>
                  <a:pt x="6546" y="452"/>
                </a:lnTo>
                <a:lnTo>
                  <a:pt x="6540" y="448"/>
                </a:lnTo>
                <a:lnTo>
                  <a:pt x="6534" y="450"/>
                </a:lnTo>
                <a:lnTo>
                  <a:pt x="6530" y="454"/>
                </a:lnTo>
                <a:lnTo>
                  <a:pt x="6532" y="458"/>
                </a:lnTo>
                <a:lnTo>
                  <a:pt x="6544" y="480"/>
                </a:lnTo>
                <a:lnTo>
                  <a:pt x="6550" y="490"/>
                </a:lnTo>
                <a:lnTo>
                  <a:pt x="6552" y="492"/>
                </a:lnTo>
                <a:lnTo>
                  <a:pt x="6554" y="490"/>
                </a:lnTo>
                <a:lnTo>
                  <a:pt x="6556" y="490"/>
                </a:lnTo>
                <a:lnTo>
                  <a:pt x="6560" y="490"/>
                </a:lnTo>
                <a:lnTo>
                  <a:pt x="6568" y="492"/>
                </a:lnTo>
                <a:lnTo>
                  <a:pt x="6576" y="498"/>
                </a:lnTo>
                <a:close/>
                <a:moveTo>
                  <a:pt x="6840" y="358"/>
                </a:moveTo>
                <a:lnTo>
                  <a:pt x="6840" y="358"/>
                </a:lnTo>
                <a:lnTo>
                  <a:pt x="6848" y="362"/>
                </a:lnTo>
                <a:lnTo>
                  <a:pt x="6850" y="364"/>
                </a:lnTo>
                <a:lnTo>
                  <a:pt x="6848" y="366"/>
                </a:lnTo>
                <a:lnTo>
                  <a:pt x="6846" y="366"/>
                </a:lnTo>
                <a:lnTo>
                  <a:pt x="6844" y="368"/>
                </a:lnTo>
                <a:lnTo>
                  <a:pt x="6846" y="370"/>
                </a:lnTo>
                <a:lnTo>
                  <a:pt x="6850" y="374"/>
                </a:lnTo>
                <a:lnTo>
                  <a:pt x="6860" y="380"/>
                </a:lnTo>
                <a:lnTo>
                  <a:pt x="6870" y="384"/>
                </a:lnTo>
                <a:lnTo>
                  <a:pt x="6880" y="386"/>
                </a:lnTo>
                <a:lnTo>
                  <a:pt x="6888" y="386"/>
                </a:lnTo>
                <a:lnTo>
                  <a:pt x="6898" y="384"/>
                </a:lnTo>
                <a:lnTo>
                  <a:pt x="6922" y="380"/>
                </a:lnTo>
                <a:lnTo>
                  <a:pt x="6936" y="378"/>
                </a:lnTo>
                <a:lnTo>
                  <a:pt x="6954" y="376"/>
                </a:lnTo>
                <a:lnTo>
                  <a:pt x="6980" y="376"/>
                </a:lnTo>
                <a:lnTo>
                  <a:pt x="6982" y="378"/>
                </a:lnTo>
                <a:lnTo>
                  <a:pt x="6980" y="380"/>
                </a:lnTo>
                <a:lnTo>
                  <a:pt x="6958" y="384"/>
                </a:lnTo>
                <a:lnTo>
                  <a:pt x="6920" y="392"/>
                </a:lnTo>
                <a:lnTo>
                  <a:pt x="6904" y="396"/>
                </a:lnTo>
                <a:lnTo>
                  <a:pt x="6900" y="398"/>
                </a:lnTo>
                <a:lnTo>
                  <a:pt x="6900" y="400"/>
                </a:lnTo>
                <a:lnTo>
                  <a:pt x="6902" y="402"/>
                </a:lnTo>
                <a:lnTo>
                  <a:pt x="6904" y="402"/>
                </a:lnTo>
                <a:lnTo>
                  <a:pt x="6916" y="406"/>
                </a:lnTo>
                <a:lnTo>
                  <a:pt x="6954" y="410"/>
                </a:lnTo>
                <a:lnTo>
                  <a:pt x="6992" y="412"/>
                </a:lnTo>
                <a:lnTo>
                  <a:pt x="7008" y="414"/>
                </a:lnTo>
                <a:lnTo>
                  <a:pt x="7022" y="418"/>
                </a:lnTo>
                <a:lnTo>
                  <a:pt x="7044" y="428"/>
                </a:lnTo>
                <a:lnTo>
                  <a:pt x="7054" y="430"/>
                </a:lnTo>
                <a:lnTo>
                  <a:pt x="7064" y="432"/>
                </a:lnTo>
                <a:lnTo>
                  <a:pt x="7074" y="430"/>
                </a:lnTo>
                <a:lnTo>
                  <a:pt x="7086" y="424"/>
                </a:lnTo>
                <a:lnTo>
                  <a:pt x="7096" y="416"/>
                </a:lnTo>
                <a:lnTo>
                  <a:pt x="7104" y="412"/>
                </a:lnTo>
                <a:lnTo>
                  <a:pt x="7108" y="412"/>
                </a:lnTo>
                <a:lnTo>
                  <a:pt x="7114" y="412"/>
                </a:lnTo>
                <a:lnTo>
                  <a:pt x="7124" y="416"/>
                </a:lnTo>
                <a:lnTo>
                  <a:pt x="7130" y="416"/>
                </a:lnTo>
                <a:lnTo>
                  <a:pt x="7140" y="414"/>
                </a:lnTo>
                <a:lnTo>
                  <a:pt x="7148" y="410"/>
                </a:lnTo>
                <a:lnTo>
                  <a:pt x="7152" y="406"/>
                </a:lnTo>
                <a:lnTo>
                  <a:pt x="7154" y="402"/>
                </a:lnTo>
                <a:lnTo>
                  <a:pt x="7154" y="398"/>
                </a:lnTo>
                <a:lnTo>
                  <a:pt x="7156" y="394"/>
                </a:lnTo>
                <a:lnTo>
                  <a:pt x="7160" y="388"/>
                </a:lnTo>
                <a:lnTo>
                  <a:pt x="7172" y="382"/>
                </a:lnTo>
                <a:lnTo>
                  <a:pt x="7190" y="376"/>
                </a:lnTo>
                <a:lnTo>
                  <a:pt x="7202" y="370"/>
                </a:lnTo>
                <a:lnTo>
                  <a:pt x="7206" y="366"/>
                </a:lnTo>
                <a:lnTo>
                  <a:pt x="7206" y="360"/>
                </a:lnTo>
                <a:lnTo>
                  <a:pt x="7202" y="356"/>
                </a:lnTo>
                <a:lnTo>
                  <a:pt x="7194" y="350"/>
                </a:lnTo>
                <a:lnTo>
                  <a:pt x="7186" y="348"/>
                </a:lnTo>
                <a:lnTo>
                  <a:pt x="7178" y="346"/>
                </a:lnTo>
                <a:lnTo>
                  <a:pt x="7168" y="346"/>
                </a:lnTo>
                <a:lnTo>
                  <a:pt x="7152" y="346"/>
                </a:lnTo>
                <a:lnTo>
                  <a:pt x="7136" y="342"/>
                </a:lnTo>
                <a:lnTo>
                  <a:pt x="7116" y="336"/>
                </a:lnTo>
                <a:lnTo>
                  <a:pt x="7090" y="330"/>
                </a:lnTo>
                <a:lnTo>
                  <a:pt x="7080" y="330"/>
                </a:lnTo>
                <a:lnTo>
                  <a:pt x="7072" y="330"/>
                </a:lnTo>
                <a:lnTo>
                  <a:pt x="7068" y="334"/>
                </a:lnTo>
                <a:lnTo>
                  <a:pt x="7066" y="338"/>
                </a:lnTo>
                <a:lnTo>
                  <a:pt x="7062" y="344"/>
                </a:lnTo>
                <a:lnTo>
                  <a:pt x="7058" y="346"/>
                </a:lnTo>
                <a:lnTo>
                  <a:pt x="7050" y="346"/>
                </a:lnTo>
                <a:lnTo>
                  <a:pt x="7044" y="344"/>
                </a:lnTo>
                <a:lnTo>
                  <a:pt x="7042" y="342"/>
                </a:lnTo>
                <a:lnTo>
                  <a:pt x="7042" y="338"/>
                </a:lnTo>
                <a:lnTo>
                  <a:pt x="7044" y="334"/>
                </a:lnTo>
                <a:lnTo>
                  <a:pt x="7046" y="326"/>
                </a:lnTo>
                <a:lnTo>
                  <a:pt x="7046" y="324"/>
                </a:lnTo>
                <a:lnTo>
                  <a:pt x="7044" y="320"/>
                </a:lnTo>
                <a:lnTo>
                  <a:pt x="7034" y="318"/>
                </a:lnTo>
                <a:lnTo>
                  <a:pt x="7028" y="318"/>
                </a:lnTo>
                <a:lnTo>
                  <a:pt x="7024" y="318"/>
                </a:lnTo>
                <a:lnTo>
                  <a:pt x="7020" y="322"/>
                </a:lnTo>
                <a:lnTo>
                  <a:pt x="7016" y="326"/>
                </a:lnTo>
                <a:lnTo>
                  <a:pt x="7012" y="332"/>
                </a:lnTo>
                <a:lnTo>
                  <a:pt x="7012" y="340"/>
                </a:lnTo>
                <a:lnTo>
                  <a:pt x="7010" y="354"/>
                </a:lnTo>
                <a:lnTo>
                  <a:pt x="7008" y="356"/>
                </a:lnTo>
                <a:lnTo>
                  <a:pt x="7006" y="358"/>
                </a:lnTo>
                <a:lnTo>
                  <a:pt x="7002" y="356"/>
                </a:lnTo>
                <a:lnTo>
                  <a:pt x="6998" y="354"/>
                </a:lnTo>
                <a:lnTo>
                  <a:pt x="6990" y="342"/>
                </a:lnTo>
                <a:lnTo>
                  <a:pt x="6984" y="336"/>
                </a:lnTo>
                <a:lnTo>
                  <a:pt x="6980" y="334"/>
                </a:lnTo>
                <a:lnTo>
                  <a:pt x="6976" y="334"/>
                </a:lnTo>
                <a:lnTo>
                  <a:pt x="6970" y="336"/>
                </a:lnTo>
                <a:lnTo>
                  <a:pt x="6964" y="336"/>
                </a:lnTo>
                <a:lnTo>
                  <a:pt x="6952" y="336"/>
                </a:lnTo>
                <a:lnTo>
                  <a:pt x="6938" y="332"/>
                </a:lnTo>
                <a:lnTo>
                  <a:pt x="6918" y="326"/>
                </a:lnTo>
                <a:lnTo>
                  <a:pt x="6900" y="320"/>
                </a:lnTo>
                <a:lnTo>
                  <a:pt x="6894" y="318"/>
                </a:lnTo>
                <a:lnTo>
                  <a:pt x="6892" y="320"/>
                </a:lnTo>
                <a:lnTo>
                  <a:pt x="6892" y="322"/>
                </a:lnTo>
                <a:lnTo>
                  <a:pt x="6896" y="328"/>
                </a:lnTo>
                <a:lnTo>
                  <a:pt x="6900" y="334"/>
                </a:lnTo>
                <a:lnTo>
                  <a:pt x="6902" y="338"/>
                </a:lnTo>
                <a:lnTo>
                  <a:pt x="6900" y="340"/>
                </a:lnTo>
                <a:lnTo>
                  <a:pt x="6898" y="338"/>
                </a:lnTo>
                <a:lnTo>
                  <a:pt x="6884" y="334"/>
                </a:lnTo>
                <a:lnTo>
                  <a:pt x="6872" y="328"/>
                </a:lnTo>
                <a:lnTo>
                  <a:pt x="6868" y="328"/>
                </a:lnTo>
                <a:lnTo>
                  <a:pt x="6868" y="332"/>
                </a:lnTo>
                <a:lnTo>
                  <a:pt x="6872" y="336"/>
                </a:lnTo>
                <a:lnTo>
                  <a:pt x="6876" y="342"/>
                </a:lnTo>
                <a:lnTo>
                  <a:pt x="6878" y="346"/>
                </a:lnTo>
                <a:lnTo>
                  <a:pt x="6878" y="348"/>
                </a:lnTo>
                <a:lnTo>
                  <a:pt x="6876" y="348"/>
                </a:lnTo>
                <a:lnTo>
                  <a:pt x="6864" y="346"/>
                </a:lnTo>
                <a:lnTo>
                  <a:pt x="6850" y="342"/>
                </a:lnTo>
                <a:lnTo>
                  <a:pt x="6840" y="342"/>
                </a:lnTo>
                <a:lnTo>
                  <a:pt x="6832" y="342"/>
                </a:lnTo>
                <a:lnTo>
                  <a:pt x="6828" y="344"/>
                </a:lnTo>
                <a:lnTo>
                  <a:pt x="6826" y="346"/>
                </a:lnTo>
                <a:lnTo>
                  <a:pt x="6828" y="350"/>
                </a:lnTo>
                <a:lnTo>
                  <a:pt x="6832" y="354"/>
                </a:lnTo>
                <a:lnTo>
                  <a:pt x="6840" y="358"/>
                </a:lnTo>
                <a:close/>
                <a:moveTo>
                  <a:pt x="7084" y="1064"/>
                </a:moveTo>
                <a:lnTo>
                  <a:pt x="7084" y="1064"/>
                </a:lnTo>
                <a:lnTo>
                  <a:pt x="7080" y="1062"/>
                </a:lnTo>
                <a:lnTo>
                  <a:pt x="7076" y="1062"/>
                </a:lnTo>
                <a:lnTo>
                  <a:pt x="7074" y="1062"/>
                </a:lnTo>
                <a:lnTo>
                  <a:pt x="7074" y="1064"/>
                </a:lnTo>
                <a:lnTo>
                  <a:pt x="7078" y="1066"/>
                </a:lnTo>
                <a:lnTo>
                  <a:pt x="7082" y="1068"/>
                </a:lnTo>
                <a:lnTo>
                  <a:pt x="7086" y="1066"/>
                </a:lnTo>
                <a:lnTo>
                  <a:pt x="7084" y="1064"/>
                </a:lnTo>
                <a:close/>
                <a:moveTo>
                  <a:pt x="6940" y="1148"/>
                </a:moveTo>
                <a:lnTo>
                  <a:pt x="6940" y="1148"/>
                </a:lnTo>
                <a:lnTo>
                  <a:pt x="6944" y="1144"/>
                </a:lnTo>
                <a:lnTo>
                  <a:pt x="6946" y="1140"/>
                </a:lnTo>
                <a:lnTo>
                  <a:pt x="6944" y="1138"/>
                </a:lnTo>
                <a:lnTo>
                  <a:pt x="6942" y="1138"/>
                </a:lnTo>
                <a:lnTo>
                  <a:pt x="6940" y="1142"/>
                </a:lnTo>
                <a:lnTo>
                  <a:pt x="6938" y="1146"/>
                </a:lnTo>
                <a:lnTo>
                  <a:pt x="6938" y="1148"/>
                </a:lnTo>
                <a:lnTo>
                  <a:pt x="6940" y="1148"/>
                </a:lnTo>
                <a:close/>
                <a:moveTo>
                  <a:pt x="6956" y="1136"/>
                </a:moveTo>
                <a:lnTo>
                  <a:pt x="6956" y="1136"/>
                </a:lnTo>
                <a:lnTo>
                  <a:pt x="6958" y="1136"/>
                </a:lnTo>
                <a:lnTo>
                  <a:pt x="6958" y="1134"/>
                </a:lnTo>
                <a:lnTo>
                  <a:pt x="6954" y="1132"/>
                </a:lnTo>
                <a:lnTo>
                  <a:pt x="6952" y="1130"/>
                </a:lnTo>
                <a:lnTo>
                  <a:pt x="6948" y="1132"/>
                </a:lnTo>
                <a:lnTo>
                  <a:pt x="6948" y="1134"/>
                </a:lnTo>
                <a:lnTo>
                  <a:pt x="6950" y="1136"/>
                </a:lnTo>
                <a:lnTo>
                  <a:pt x="6956" y="1136"/>
                </a:lnTo>
                <a:close/>
                <a:moveTo>
                  <a:pt x="6912" y="1136"/>
                </a:moveTo>
                <a:lnTo>
                  <a:pt x="6912" y="1136"/>
                </a:lnTo>
                <a:lnTo>
                  <a:pt x="6910" y="1134"/>
                </a:lnTo>
                <a:lnTo>
                  <a:pt x="6906" y="1136"/>
                </a:lnTo>
                <a:lnTo>
                  <a:pt x="6902" y="1138"/>
                </a:lnTo>
                <a:lnTo>
                  <a:pt x="6898" y="1142"/>
                </a:lnTo>
                <a:lnTo>
                  <a:pt x="6898" y="1144"/>
                </a:lnTo>
                <a:lnTo>
                  <a:pt x="6900" y="1144"/>
                </a:lnTo>
                <a:lnTo>
                  <a:pt x="6904" y="1142"/>
                </a:lnTo>
                <a:lnTo>
                  <a:pt x="6908" y="1138"/>
                </a:lnTo>
                <a:lnTo>
                  <a:pt x="6912" y="1136"/>
                </a:lnTo>
                <a:close/>
                <a:moveTo>
                  <a:pt x="6886" y="1114"/>
                </a:moveTo>
                <a:lnTo>
                  <a:pt x="6886" y="1114"/>
                </a:lnTo>
                <a:lnTo>
                  <a:pt x="6882" y="1116"/>
                </a:lnTo>
                <a:lnTo>
                  <a:pt x="6880" y="1118"/>
                </a:lnTo>
                <a:lnTo>
                  <a:pt x="6878" y="1122"/>
                </a:lnTo>
                <a:lnTo>
                  <a:pt x="6878" y="1124"/>
                </a:lnTo>
                <a:lnTo>
                  <a:pt x="6880" y="1124"/>
                </a:lnTo>
                <a:lnTo>
                  <a:pt x="6884" y="1122"/>
                </a:lnTo>
                <a:lnTo>
                  <a:pt x="6886" y="1120"/>
                </a:lnTo>
                <a:lnTo>
                  <a:pt x="6886" y="1118"/>
                </a:lnTo>
                <a:lnTo>
                  <a:pt x="6886" y="1114"/>
                </a:lnTo>
                <a:close/>
                <a:moveTo>
                  <a:pt x="6874" y="1126"/>
                </a:moveTo>
                <a:lnTo>
                  <a:pt x="6874" y="1126"/>
                </a:lnTo>
                <a:lnTo>
                  <a:pt x="6872" y="1124"/>
                </a:lnTo>
                <a:lnTo>
                  <a:pt x="6870" y="1126"/>
                </a:lnTo>
                <a:lnTo>
                  <a:pt x="6868" y="1126"/>
                </a:lnTo>
                <a:lnTo>
                  <a:pt x="6866" y="1126"/>
                </a:lnTo>
                <a:lnTo>
                  <a:pt x="6864" y="1126"/>
                </a:lnTo>
                <a:lnTo>
                  <a:pt x="6862" y="1128"/>
                </a:lnTo>
                <a:lnTo>
                  <a:pt x="6862" y="1130"/>
                </a:lnTo>
                <a:lnTo>
                  <a:pt x="6862" y="1132"/>
                </a:lnTo>
                <a:lnTo>
                  <a:pt x="6864" y="1132"/>
                </a:lnTo>
                <a:lnTo>
                  <a:pt x="6868" y="1130"/>
                </a:lnTo>
                <a:lnTo>
                  <a:pt x="6872" y="1128"/>
                </a:lnTo>
                <a:lnTo>
                  <a:pt x="6874" y="1126"/>
                </a:lnTo>
                <a:close/>
                <a:moveTo>
                  <a:pt x="6800" y="1216"/>
                </a:moveTo>
                <a:lnTo>
                  <a:pt x="6800" y="1216"/>
                </a:lnTo>
                <a:lnTo>
                  <a:pt x="6804" y="1216"/>
                </a:lnTo>
                <a:lnTo>
                  <a:pt x="6808" y="1216"/>
                </a:lnTo>
                <a:lnTo>
                  <a:pt x="6810" y="1214"/>
                </a:lnTo>
                <a:lnTo>
                  <a:pt x="6808" y="1212"/>
                </a:lnTo>
                <a:lnTo>
                  <a:pt x="6804" y="1210"/>
                </a:lnTo>
                <a:lnTo>
                  <a:pt x="6802" y="1212"/>
                </a:lnTo>
                <a:lnTo>
                  <a:pt x="6800" y="1214"/>
                </a:lnTo>
                <a:lnTo>
                  <a:pt x="6800" y="1216"/>
                </a:lnTo>
                <a:close/>
                <a:moveTo>
                  <a:pt x="6786" y="1222"/>
                </a:moveTo>
                <a:lnTo>
                  <a:pt x="6786" y="1222"/>
                </a:lnTo>
                <a:lnTo>
                  <a:pt x="6786" y="1224"/>
                </a:lnTo>
                <a:lnTo>
                  <a:pt x="6788" y="1226"/>
                </a:lnTo>
                <a:lnTo>
                  <a:pt x="6796" y="1224"/>
                </a:lnTo>
                <a:lnTo>
                  <a:pt x="6798" y="1224"/>
                </a:lnTo>
                <a:lnTo>
                  <a:pt x="6798" y="1222"/>
                </a:lnTo>
                <a:lnTo>
                  <a:pt x="6796" y="1220"/>
                </a:lnTo>
                <a:lnTo>
                  <a:pt x="6790" y="1218"/>
                </a:lnTo>
                <a:lnTo>
                  <a:pt x="6788" y="1220"/>
                </a:lnTo>
                <a:lnTo>
                  <a:pt x="6786" y="1222"/>
                </a:lnTo>
                <a:close/>
                <a:moveTo>
                  <a:pt x="6714" y="1284"/>
                </a:moveTo>
                <a:lnTo>
                  <a:pt x="6714" y="1284"/>
                </a:lnTo>
                <a:lnTo>
                  <a:pt x="6718" y="1282"/>
                </a:lnTo>
                <a:lnTo>
                  <a:pt x="6714" y="1278"/>
                </a:lnTo>
                <a:lnTo>
                  <a:pt x="6712" y="1278"/>
                </a:lnTo>
                <a:lnTo>
                  <a:pt x="6710" y="1280"/>
                </a:lnTo>
                <a:lnTo>
                  <a:pt x="6710" y="1282"/>
                </a:lnTo>
                <a:lnTo>
                  <a:pt x="6714" y="1284"/>
                </a:lnTo>
                <a:close/>
                <a:moveTo>
                  <a:pt x="6764" y="1208"/>
                </a:moveTo>
                <a:lnTo>
                  <a:pt x="6764" y="1208"/>
                </a:lnTo>
                <a:lnTo>
                  <a:pt x="6764" y="1210"/>
                </a:lnTo>
                <a:lnTo>
                  <a:pt x="6768" y="1212"/>
                </a:lnTo>
                <a:lnTo>
                  <a:pt x="6772" y="1214"/>
                </a:lnTo>
                <a:lnTo>
                  <a:pt x="6776" y="1212"/>
                </a:lnTo>
                <a:lnTo>
                  <a:pt x="6776" y="1210"/>
                </a:lnTo>
                <a:lnTo>
                  <a:pt x="6772" y="1208"/>
                </a:lnTo>
                <a:lnTo>
                  <a:pt x="6768" y="1208"/>
                </a:lnTo>
                <a:lnTo>
                  <a:pt x="6764" y="1208"/>
                </a:lnTo>
                <a:close/>
                <a:moveTo>
                  <a:pt x="6900" y="1126"/>
                </a:moveTo>
                <a:lnTo>
                  <a:pt x="6900" y="1126"/>
                </a:lnTo>
                <a:lnTo>
                  <a:pt x="6900" y="1124"/>
                </a:lnTo>
                <a:lnTo>
                  <a:pt x="6896" y="1122"/>
                </a:lnTo>
                <a:lnTo>
                  <a:pt x="6894" y="1120"/>
                </a:lnTo>
                <a:lnTo>
                  <a:pt x="6890" y="1122"/>
                </a:lnTo>
                <a:lnTo>
                  <a:pt x="6890" y="1124"/>
                </a:lnTo>
                <a:lnTo>
                  <a:pt x="6894" y="1126"/>
                </a:lnTo>
                <a:lnTo>
                  <a:pt x="6898" y="1126"/>
                </a:lnTo>
                <a:lnTo>
                  <a:pt x="6900" y="1126"/>
                </a:lnTo>
                <a:close/>
                <a:moveTo>
                  <a:pt x="6680" y="1258"/>
                </a:moveTo>
                <a:lnTo>
                  <a:pt x="6680" y="1258"/>
                </a:lnTo>
                <a:lnTo>
                  <a:pt x="6680" y="1256"/>
                </a:lnTo>
                <a:lnTo>
                  <a:pt x="6678" y="1254"/>
                </a:lnTo>
                <a:lnTo>
                  <a:pt x="6676" y="1254"/>
                </a:lnTo>
                <a:lnTo>
                  <a:pt x="6674" y="1256"/>
                </a:lnTo>
                <a:lnTo>
                  <a:pt x="6674" y="1258"/>
                </a:lnTo>
                <a:lnTo>
                  <a:pt x="6676" y="1260"/>
                </a:lnTo>
                <a:lnTo>
                  <a:pt x="6678" y="1260"/>
                </a:lnTo>
                <a:lnTo>
                  <a:pt x="6680" y="1258"/>
                </a:lnTo>
                <a:close/>
                <a:moveTo>
                  <a:pt x="7072" y="1080"/>
                </a:moveTo>
                <a:lnTo>
                  <a:pt x="7072" y="1080"/>
                </a:lnTo>
                <a:lnTo>
                  <a:pt x="7068" y="1080"/>
                </a:lnTo>
                <a:lnTo>
                  <a:pt x="7066" y="1080"/>
                </a:lnTo>
                <a:lnTo>
                  <a:pt x="7064" y="1084"/>
                </a:lnTo>
                <a:lnTo>
                  <a:pt x="7064" y="1086"/>
                </a:lnTo>
                <a:lnTo>
                  <a:pt x="7068" y="1094"/>
                </a:lnTo>
                <a:lnTo>
                  <a:pt x="7070" y="1096"/>
                </a:lnTo>
                <a:lnTo>
                  <a:pt x="7072" y="1096"/>
                </a:lnTo>
                <a:lnTo>
                  <a:pt x="7078" y="1094"/>
                </a:lnTo>
                <a:lnTo>
                  <a:pt x="7080" y="1088"/>
                </a:lnTo>
                <a:lnTo>
                  <a:pt x="7080" y="1086"/>
                </a:lnTo>
                <a:lnTo>
                  <a:pt x="7080" y="1084"/>
                </a:lnTo>
                <a:lnTo>
                  <a:pt x="7078" y="1082"/>
                </a:lnTo>
                <a:lnTo>
                  <a:pt x="7072" y="1080"/>
                </a:lnTo>
                <a:close/>
                <a:moveTo>
                  <a:pt x="7054" y="1108"/>
                </a:moveTo>
                <a:lnTo>
                  <a:pt x="7054" y="1108"/>
                </a:lnTo>
                <a:lnTo>
                  <a:pt x="7062" y="1098"/>
                </a:lnTo>
                <a:lnTo>
                  <a:pt x="7064" y="1094"/>
                </a:lnTo>
                <a:lnTo>
                  <a:pt x="7064" y="1092"/>
                </a:lnTo>
                <a:lnTo>
                  <a:pt x="7060" y="1090"/>
                </a:lnTo>
                <a:lnTo>
                  <a:pt x="7056" y="1086"/>
                </a:lnTo>
                <a:lnTo>
                  <a:pt x="7056" y="1088"/>
                </a:lnTo>
                <a:lnTo>
                  <a:pt x="7054" y="1090"/>
                </a:lnTo>
                <a:lnTo>
                  <a:pt x="7048" y="1094"/>
                </a:lnTo>
                <a:lnTo>
                  <a:pt x="7038" y="1098"/>
                </a:lnTo>
                <a:lnTo>
                  <a:pt x="7034" y="1100"/>
                </a:lnTo>
                <a:lnTo>
                  <a:pt x="7034" y="1102"/>
                </a:lnTo>
                <a:lnTo>
                  <a:pt x="7034" y="1106"/>
                </a:lnTo>
                <a:lnTo>
                  <a:pt x="7040" y="1110"/>
                </a:lnTo>
                <a:lnTo>
                  <a:pt x="7048" y="1112"/>
                </a:lnTo>
                <a:lnTo>
                  <a:pt x="7050" y="1112"/>
                </a:lnTo>
                <a:lnTo>
                  <a:pt x="7054" y="1108"/>
                </a:lnTo>
                <a:close/>
                <a:moveTo>
                  <a:pt x="7036" y="1110"/>
                </a:moveTo>
                <a:lnTo>
                  <a:pt x="7036" y="1110"/>
                </a:lnTo>
                <a:lnTo>
                  <a:pt x="7032" y="1108"/>
                </a:lnTo>
                <a:lnTo>
                  <a:pt x="7028" y="1106"/>
                </a:lnTo>
                <a:lnTo>
                  <a:pt x="7022" y="1106"/>
                </a:lnTo>
                <a:lnTo>
                  <a:pt x="7014" y="1108"/>
                </a:lnTo>
                <a:lnTo>
                  <a:pt x="7012" y="1110"/>
                </a:lnTo>
                <a:lnTo>
                  <a:pt x="7014" y="1112"/>
                </a:lnTo>
                <a:lnTo>
                  <a:pt x="7024" y="1114"/>
                </a:lnTo>
                <a:lnTo>
                  <a:pt x="7034" y="1114"/>
                </a:lnTo>
                <a:lnTo>
                  <a:pt x="7036" y="1112"/>
                </a:lnTo>
                <a:lnTo>
                  <a:pt x="7036" y="1110"/>
                </a:lnTo>
                <a:close/>
                <a:moveTo>
                  <a:pt x="7010" y="1098"/>
                </a:moveTo>
                <a:lnTo>
                  <a:pt x="7010" y="1098"/>
                </a:lnTo>
                <a:lnTo>
                  <a:pt x="7014" y="1096"/>
                </a:lnTo>
                <a:lnTo>
                  <a:pt x="7018" y="1094"/>
                </a:lnTo>
                <a:lnTo>
                  <a:pt x="7022" y="1092"/>
                </a:lnTo>
                <a:lnTo>
                  <a:pt x="7026" y="1094"/>
                </a:lnTo>
                <a:lnTo>
                  <a:pt x="7030" y="1094"/>
                </a:lnTo>
                <a:lnTo>
                  <a:pt x="7034" y="1094"/>
                </a:lnTo>
                <a:lnTo>
                  <a:pt x="7048" y="1082"/>
                </a:lnTo>
                <a:lnTo>
                  <a:pt x="7056" y="1076"/>
                </a:lnTo>
                <a:lnTo>
                  <a:pt x="7056" y="1074"/>
                </a:lnTo>
                <a:lnTo>
                  <a:pt x="7052" y="1072"/>
                </a:lnTo>
                <a:lnTo>
                  <a:pt x="7046" y="1074"/>
                </a:lnTo>
                <a:lnTo>
                  <a:pt x="7042" y="1076"/>
                </a:lnTo>
                <a:lnTo>
                  <a:pt x="7042" y="1078"/>
                </a:lnTo>
                <a:lnTo>
                  <a:pt x="7040" y="1080"/>
                </a:lnTo>
                <a:lnTo>
                  <a:pt x="7034" y="1080"/>
                </a:lnTo>
                <a:lnTo>
                  <a:pt x="7032" y="1080"/>
                </a:lnTo>
                <a:lnTo>
                  <a:pt x="7030" y="1080"/>
                </a:lnTo>
                <a:lnTo>
                  <a:pt x="7028" y="1084"/>
                </a:lnTo>
                <a:lnTo>
                  <a:pt x="7026" y="1086"/>
                </a:lnTo>
                <a:lnTo>
                  <a:pt x="7024" y="1086"/>
                </a:lnTo>
                <a:lnTo>
                  <a:pt x="7022" y="1084"/>
                </a:lnTo>
                <a:lnTo>
                  <a:pt x="7018" y="1084"/>
                </a:lnTo>
                <a:lnTo>
                  <a:pt x="7002" y="1088"/>
                </a:lnTo>
                <a:lnTo>
                  <a:pt x="6998" y="1090"/>
                </a:lnTo>
                <a:lnTo>
                  <a:pt x="7002" y="1092"/>
                </a:lnTo>
                <a:lnTo>
                  <a:pt x="7006" y="1094"/>
                </a:lnTo>
                <a:lnTo>
                  <a:pt x="7004" y="1096"/>
                </a:lnTo>
                <a:lnTo>
                  <a:pt x="7004" y="1098"/>
                </a:lnTo>
                <a:lnTo>
                  <a:pt x="7010" y="1098"/>
                </a:lnTo>
                <a:close/>
                <a:moveTo>
                  <a:pt x="6948" y="1122"/>
                </a:moveTo>
                <a:lnTo>
                  <a:pt x="6948" y="1122"/>
                </a:lnTo>
                <a:lnTo>
                  <a:pt x="6948" y="1118"/>
                </a:lnTo>
                <a:lnTo>
                  <a:pt x="6946" y="1116"/>
                </a:lnTo>
                <a:lnTo>
                  <a:pt x="6942" y="1116"/>
                </a:lnTo>
                <a:lnTo>
                  <a:pt x="6936" y="1118"/>
                </a:lnTo>
                <a:lnTo>
                  <a:pt x="6932" y="1122"/>
                </a:lnTo>
                <a:lnTo>
                  <a:pt x="6932" y="1126"/>
                </a:lnTo>
                <a:lnTo>
                  <a:pt x="6934" y="1128"/>
                </a:lnTo>
                <a:lnTo>
                  <a:pt x="6940" y="1130"/>
                </a:lnTo>
                <a:lnTo>
                  <a:pt x="6944" y="1130"/>
                </a:lnTo>
                <a:lnTo>
                  <a:pt x="6946" y="1130"/>
                </a:lnTo>
                <a:lnTo>
                  <a:pt x="6948" y="1122"/>
                </a:lnTo>
                <a:close/>
                <a:moveTo>
                  <a:pt x="6920" y="1126"/>
                </a:moveTo>
                <a:lnTo>
                  <a:pt x="6920" y="1126"/>
                </a:lnTo>
                <a:lnTo>
                  <a:pt x="6922" y="1124"/>
                </a:lnTo>
                <a:lnTo>
                  <a:pt x="6922" y="1122"/>
                </a:lnTo>
                <a:lnTo>
                  <a:pt x="6912" y="1118"/>
                </a:lnTo>
                <a:lnTo>
                  <a:pt x="6908" y="1116"/>
                </a:lnTo>
                <a:lnTo>
                  <a:pt x="6904" y="1114"/>
                </a:lnTo>
                <a:lnTo>
                  <a:pt x="6900" y="1112"/>
                </a:lnTo>
                <a:lnTo>
                  <a:pt x="6900" y="1114"/>
                </a:lnTo>
                <a:lnTo>
                  <a:pt x="6900" y="1120"/>
                </a:lnTo>
                <a:lnTo>
                  <a:pt x="6906" y="1124"/>
                </a:lnTo>
                <a:lnTo>
                  <a:pt x="6912" y="1126"/>
                </a:lnTo>
                <a:lnTo>
                  <a:pt x="6920" y="1126"/>
                </a:lnTo>
                <a:close/>
                <a:moveTo>
                  <a:pt x="6898" y="1140"/>
                </a:moveTo>
                <a:lnTo>
                  <a:pt x="6898" y="1140"/>
                </a:lnTo>
                <a:lnTo>
                  <a:pt x="6904" y="1134"/>
                </a:lnTo>
                <a:lnTo>
                  <a:pt x="6902" y="1132"/>
                </a:lnTo>
                <a:lnTo>
                  <a:pt x="6900" y="1130"/>
                </a:lnTo>
                <a:lnTo>
                  <a:pt x="6896" y="1130"/>
                </a:lnTo>
                <a:lnTo>
                  <a:pt x="6892" y="1130"/>
                </a:lnTo>
                <a:lnTo>
                  <a:pt x="6890" y="1130"/>
                </a:lnTo>
                <a:lnTo>
                  <a:pt x="6886" y="1128"/>
                </a:lnTo>
                <a:lnTo>
                  <a:pt x="6884" y="1128"/>
                </a:lnTo>
                <a:lnTo>
                  <a:pt x="6882" y="1128"/>
                </a:lnTo>
                <a:lnTo>
                  <a:pt x="6880" y="1130"/>
                </a:lnTo>
                <a:lnTo>
                  <a:pt x="6876" y="1130"/>
                </a:lnTo>
                <a:lnTo>
                  <a:pt x="6874" y="1130"/>
                </a:lnTo>
                <a:lnTo>
                  <a:pt x="6872" y="1132"/>
                </a:lnTo>
                <a:lnTo>
                  <a:pt x="6872" y="1134"/>
                </a:lnTo>
                <a:lnTo>
                  <a:pt x="6868" y="1136"/>
                </a:lnTo>
                <a:lnTo>
                  <a:pt x="6866" y="1140"/>
                </a:lnTo>
                <a:lnTo>
                  <a:pt x="6870" y="1140"/>
                </a:lnTo>
                <a:lnTo>
                  <a:pt x="6874" y="1142"/>
                </a:lnTo>
                <a:lnTo>
                  <a:pt x="6880" y="1146"/>
                </a:lnTo>
                <a:lnTo>
                  <a:pt x="6884" y="1148"/>
                </a:lnTo>
                <a:lnTo>
                  <a:pt x="6888" y="1146"/>
                </a:lnTo>
                <a:lnTo>
                  <a:pt x="6898" y="1140"/>
                </a:lnTo>
                <a:close/>
                <a:moveTo>
                  <a:pt x="6854" y="1166"/>
                </a:moveTo>
                <a:lnTo>
                  <a:pt x="6854" y="1166"/>
                </a:lnTo>
                <a:lnTo>
                  <a:pt x="6860" y="1166"/>
                </a:lnTo>
                <a:lnTo>
                  <a:pt x="6864" y="1164"/>
                </a:lnTo>
                <a:lnTo>
                  <a:pt x="6866" y="1162"/>
                </a:lnTo>
                <a:lnTo>
                  <a:pt x="6868" y="1158"/>
                </a:lnTo>
                <a:lnTo>
                  <a:pt x="6874" y="1154"/>
                </a:lnTo>
                <a:lnTo>
                  <a:pt x="6876" y="1152"/>
                </a:lnTo>
                <a:lnTo>
                  <a:pt x="6876" y="1150"/>
                </a:lnTo>
                <a:lnTo>
                  <a:pt x="6876" y="1148"/>
                </a:lnTo>
                <a:lnTo>
                  <a:pt x="6872" y="1144"/>
                </a:lnTo>
                <a:lnTo>
                  <a:pt x="6866" y="1142"/>
                </a:lnTo>
                <a:lnTo>
                  <a:pt x="6864" y="1144"/>
                </a:lnTo>
                <a:lnTo>
                  <a:pt x="6864" y="1146"/>
                </a:lnTo>
                <a:lnTo>
                  <a:pt x="6862" y="1146"/>
                </a:lnTo>
                <a:lnTo>
                  <a:pt x="6858" y="1148"/>
                </a:lnTo>
                <a:lnTo>
                  <a:pt x="6856" y="1148"/>
                </a:lnTo>
                <a:lnTo>
                  <a:pt x="6856" y="1150"/>
                </a:lnTo>
                <a:lnTo>
                  <a:pt x="6854" y="1150"/>
                </a:lnTo>
                <a:lnTo>
                  <a:pt x="6852" y="1148"/>
                </a:lnTo>
                <a:lnTo>
                  <a:pt x="6848" y="1150"/>
                </a:lnTo>
                <a:lnTo>
                  <a:pt x="6846" y="1152"/>
                </a:lnTo>
                <a:lnTo>
                  <a:pt x="6846" y="1156"/>
                </a:lnTo>
                <a:lnTo>
                  <a:pt x="6844" y="1160"/>
                </a:lnTo>
                <a:lnTo>
                  <a:pt x="6840" y="1160"/>
                </a:lnTo>
                <a:lnTo>
                  <a:pt x="6838" y="1160"/>
                </a:lnTo>
                <a:lnTo>
                  <a:pt x="6836" y="1162"/>
                </a:lnTo>
                <a:lnTo>
                  <a:pt x="6836" y="1164"/>
                </a:lnTo>
                <a:lnTo>
                  <a:pt x="6838" y="1166"/>
                </a:lnTo>
                <a:lnTo>
                  <a:pt x="6854" y="1166"/>
                </a:lnTo>
                <a:close/>
                <a:moveTo>
                  <a:pt x="6834" y="1168"/>
                </a:moveTo>
                <a:lnTo>
                  <a:pt x="6834" y="1168"/>
                </a:lnTo>
                <a:lnTo>
                  <a:pt x="6832" y="1168"/>
                </a:lnTo>
                <a:lnTo>
                  <a:pt x="6832" y="1166"/>
                </a:lnTo>
                <a:lnTo>
                  <a:pt x="6830" y="1164"/>
                </a:lnTo>
                <a:lnTo>
                  <a:pt x="6828" y="1164"/>
                </a:lnTo>
                <a:lnTo>
                  <a:pt x="6826" y="1166"/>
                </a:lnTo>
                <a:lnTo>
                  <a:pt x="6824" y="1164"/>
                </a:lnTo>
                <a:lnTo>
                  <a:pt x="6822" y="1162"/>
                </a:lnTo>
                <a:lnTo>
                  <a:pt x="6822" y="1164"/>
                </a:lnTo>
                <a:lnTo>
                  <a:pt x="6820" y="1166"/>
                </a:lnTo>
                <a:lnTo>
                  <a:pt x="6818" y="1164"/>
                </a:lnTo>
                <a:lnTo>
                  <a:pt x="6814" y="1164"/>
                </a:lnTo>
                <a:lnTo>
                  <a:pt x="6814" y="1166"/>
                </a:lnTo>
                <a:lnTo>
                  <a:pt x="6814" y="1168"/>
                </a:lnTo>
                <a:lnTo>
                  <a:pt x="6812" y="1168"/>
                </a:lnTo>
                <a:lnTo>
                  <a:pt x="6810" y="1168"/>
                </a:lnTo>
                <a:lnTo>
                  <a:pt x="6804" y="1168"/>
                </a:lnTo>
                <a:lnTo>
                  <a:pt x="6804" y="1170"/>
                </a:lnTo>
                <a:lnTo>
                  <a:pt x="6806" y="1172"/>
                </a:lnTo>
                <a:lnTo>
                  <a:pt x="6808" y="1174"/>
                </a:lnTo>
                <a:lnTo>
                  <a:pt x="6808" y="1176"/>
                </a:lnTo>
                <a:lnTo>
                  <a:pt x="6804" y="1176"/>
                </a:lnTo>
                <a:lnTo>
                  <a:pt x="6798" y="1178"/>
                </a:lnTo>
                <a:lnTo>
                  <a:pt x="6794" y="1178"/>
                </a:lnTo>
                <a:lnTo>
                  <a:pt x="6792" y="1180"/>
                </a:lnTo>
                <a:lnTo>
                  <a:pt x="6794" y="1180"/>
                </a:lnTo>
                <a:lnTo>
                  <a:pt x="6796" y="1182"/>
                </a:lnTo>
                <a:lnTo>
                  <a:pt x="6794" y="1182"/>
                </a:lnTo>
                <a:lnTo>
                  <a:pt x="6792" y="1184"/>
                </a:lnTo>
                <a:lnTo>
                  <a:pt x="6792" y="1186"/>
                </a:lnTo>
                <a:lnTo>
                  <a:pt x="6794" y="1188"/>
                </a:lnTo>
                <a:lnTo>
                  <a:pt x="6792" y="1188"/>
                </a:lnTo>
                <a:lnTo>
                  <a:pt x="6792" y="1192"/>
                </a:lnTo>
                <a:lnTo>
                  <a:pt x="6792" y="1194"/>
                </a:lnTo>
                <a:lnTo>
                  <a:pt x="6790" y="1198"/>
                </a:lnTo>
                <a:lnTo>
                  <a:pt x="6788" y="1200"/>
                </a:lnTo>
                <a:lnTo>
                  <a:pt x="6792" y="1200"/>
                </a:lnTo>
                <a:lnTo>
                  <a:pt x="6798" y="1200"/>
                </a:lnTo>
                <a:lnTo>
                  <a:pt x="6798" y="1202"/>
                </a:lnTo>
                <a:lnTo>
                  <a:pt x="6798" y="1204"/>
                </a:lnTo>
                <a:lnTo>
                  <a:pt x="6800" y="1204"/>
                </a:lnTo>
                <a:lnTo>
                  <a:pt x="6804" y="1202"/>
                </a:lnTo>
                <a:lnTo>
                  <a:pt x="6808" y="1198"/>
                </a:lnTo>
                <a:lnTo>
                  <a:pt x="6810" y="1194"/>
                </a:lnTo>
                <a:lnTo>
                  <a:pt x="6814" y="1192"/>
                </a:lnTo>
                <a:lnTo>
                  <a:pt x="6816" y="1192"/>
                </a:lnTo>
                <a:lnTo>
                  <a:pt x="6816" y="1194"/>
                </a:lnTo>
                <a:lnTo>
                  <a:pt x="6818" y="1196"/>
                </a:lnTo>
                <a:lnTo>
                  <a:pt x="6826" y="1196"/>
                </a:lnTo>
                <a:lnTo>
                  <a:pt x="6832" y="1194"/>
                </a:lnTo>
                <a:lnTo>
                  <a:pt x="6832" y="1192"/>
                </a:lnTo>
                <a:lnTo>
                  <a:pt x="6830" y="1188"/>
                </a:lnTo>
                <a:lnTo>
                  <a:pt x="6830" y="1184"/>
                </a:lnTo>
                <a:lnTo>
                  <a:pt x="6832" y="1180"/>
                </a:lnTo>
                <a:lnTo>
                  <a:pt x="6834" y="1178"/>
                </a:lnTo>
                <a:lnTo>
                  <a:pt x="6834" y="1176"/>
                </a:lnTo>
                <a:lnTo>
                  <a:pt x="6836" y="1170"/>
                </a:lnTo>
                <a:lnTo>
                  <a:pt x="6836" y="1168"/>
                </a:lnTo>
                <a:lnTo>
                  <a:pt x="6834" y="1168"/>
                </a:lnTo>
                <a:close/>
                <a:moveTo>
                  <a:pt x="6690" y="1264"/>
                </a:moveTo>
                <a:lnTo>
                  <a:pt x="6690" y="1264"/>
                </a:lnTo>
                <a:lnTo>
                  <a:pt x="6700" y="1260"/>
                </a:lnTo>
                <a:lnTo>
                  <a:pt x="6712" y="1252"/>
                </a:lnTo>
                <a:lnTo>
                  <a:pt x="6716" y="1248"/>
                </a:lnTo>
                <a:lnTo>
                  <a:pt x="6710" y="1248"/>
                </a:lnTo>
                <a:lnTo>
                  <a:pt x="6702" y="1248"/>
                </a:lnTo>
                <a:lnTo>
                  <a:pt x="6692" y="1250"/>
                </a:lnTo>
                <a:lnTo>
                  <a:pt x="6690" y="1252"/>
                </a:lnTo>
                <a:lnTo>
                  <a:pt x="6690" y="1254"/>
                </a:lnTo>
                <a:lnTo>
                  <a:pt x="6686" y="1256"/>
                </a:lnTo>
                <a:lnTo>
                  <a:pt x="6684" y="1256"/>
                </a:lnTo>
                <a:lnTo>
                  <a:pt x="6684" y="1258"/>
                </a:lnTo>
                <a:lnTo>
                  <a:pt x="6684" y="1260"/>
                </a:lnTo>
                <a:lnTo>
                  <a:pt x="6682" y="1262"/>
                </a:lnTo>
                <a:lnTo>
                  <a:pt x="6680" y="1264"/>
                </a:lnTo>
                <a:lnTo>
                  <a:pt x="6680" y="1266"/>
                </a:lnTo>
                <a:lnTo>
                  <a:pt x="6684" y="1266"/>
                </a:lnTo>
                <a:lnTo>
                  <a:pt x="6690" y="1264"/>
                </a:lnTo>
                <a:close/>
                <a:moveTo>
                  <a:pt x="6712" y="1218"/>
                </a:moveTo>
                <a:lnTo>
                  <a:pt x="6712" y="1218"/>
                </a:lnTo>
                <a:lnTo>
                  <a:pt x="6708" y="1218"/>
                </a:lnTo>
                <a:lnTo>
                  <a:pt x="6706" y="1220"/>
                </a:lnTo>
                <a:lnTo>
                  <a:pt x="6706" y="1222"/>
                </a:lnTo>
                <a:lnTo>
                  <a:pt x="6704" y="1222"/>
                </a:lnTo>
                <a:lnTo>
                  <a:pt x="6700" y="1222"/>
                </a:lnTo>
                <a:lnTo>
                  <a:pt x="6698" y="1220"/>
                </a:lnTo>
                <a:lnTo>
                  <a:pt x="6698" y="1218"/>
                </a:lnTo>
                <a:lnTo>
                  <a:pt x="6696" y="1220"/>
                </a:lnTo>
                <a:lnTo>
                  <a:pt x="6694" y="1220"/>
                </a:lnTo>
                <a:lnTo>
                  <a:pt x="6692" y="1222"/>
                </a:lnTo>
                <a:lnTo>
                  <a:pt x="6690" y="1222"/>
                </a:lnTo>
                <a:lnTo>
                  <a:pt x="6690" y="1224"/>
                </a:lnTo>
                <a:lnTo>
                  <a:pt x="6688" y="1226"/>
                </a:lnTo>
                <a:lnTo>
                  <a:pt x="6686" y="1228"/>
                </a:lnTo>
                <a:lnTo>
                  <a:pt x="6686" y="1230"/>
                </a:lnTo>
                <a:lnTo>
                  <a:pt x="6688" y="1234"/>
                </a:lnTo>
                <a:lnTo>
                  <a:pt x="6694" y="1236"/>
                </a:lnTo>
                <a:lnTo>
                  <a:pt x="6696" y="1234"/>
                </a:lnTo>
                <a:lnTo>
                  <a:pt x="6700" y="1230"/>
                </a:lnTo>
                <a:lnTo>
                  <a:pt x="6710" y="1228"/>
                </a:lnTo>
                <a:lnTo>
                  <a:pt x="6716" y="1228"/>
                </a:lnTo>
                <a:lnTo>
                  <a:pt x="6710" y="1230"/>
                </a:lnTo>
                <a:lnTo>
                  <a:pt x="6704" y="1234"/>
                </a:lnTo>
                <a:lnTo>
                  <a:pt x="6704" y="1236"/>
                </a:lnTo>
                <a:lnTo>
                  <a:pt x="6714" y="1236"/>
                </a:lnTo>
                <a:lnTo>
                  <a:pt x="6724" y="1232"/>
                </a:lnTo>
                <a:lnTo>
                  <a:pt x="6726" y="1232"/>
                </a:lnTo>
                <a:lnTo>
                  <a:pt x="6726" y="1230"/>
                </a:lnTo>
                <a:lnTo>
                  <a:pt x="6726" y="1226"/>
                </a:lnTo>
                <a:lnTo>
                  <a:pt x="6724" y="1224"/>
                </a:lnTo>
                <a:lnTo>
                  <a:pt x="6724" y="1222"/>
                </a:lnTo>
                <a:lnTo>
                  <a:pt x="6726" y="1220"/>
                </a:lnTo>
                <a:lnTo>
                  <a:pt x="6726" y="1218"/>
                </a:lnTo>
                <a:lnTo>
                  <a:pt x="6724" y="1212"/>
                </a:lnTo>
                <a:lnTo>
                  <a:pt x="6718" y="1208"/>
                </a:lnTo>
                <a:lnTo>
                  <a:pt x="6716" y="1206"/>
                </a:lnTo>
                <a:lnTo>
                  <a:pt x="6714" y="1206"/>
                </a:lnTo>
                <a:lnTo>
                  <a:pt x="6712" y="1208"/>
                </a:lnTo>
                <a:lnTo>
                  <a:pt x="6712" y="1210"/>
                </a:lnTo>
                <a:lnTo>
                  <a:pt x="6714" y="1214"/>
                </a:lnTo>
                <a:lnTo>
                  <a:pt x="6716" y="1216"/>
                </a:lnTo>
                <a:lnTo>
                  <a:pt x="6712" y="1218"/>
                </a:lnTo>
                <a:close/>
                <a:moveTo>
                  <a:pt x="6740" y="1208"/>
                </a:moveTo>
                <a:lnTo>
                  <a:pt x="6740" y="1208"/>
                </a:lnTo>
                <a:lnTo>
                  <a:pt x="6744" y="1206"/>
                </a:lnTo>
                <a:lnTo>
                  <a:pt x="6746" y="1204"/>
                </a:lnTo>
                <a:lnTo>
                  <a:pt x="6752" y="1196"/>
                </a:lnTo>
                <a:lnTo>
                  <a:pt x="6756" y="1190"/>
                </a:lnTo>
                <a:lnTo>
                  <a:pt x="6758" y="1186"/>
                </a:lnTo>
                <a:lnTo>
                  <a:pt x="6756" y="1184"/>
                </a:lnTo>
                <a:lnTo>
                  <a:pt x="6750" y="1186"/>
                </a:lnTo>
                <a:lnTo>
                  <a:pt x="6740" y="1194"/>
                </a:lnTo>
                <a:lnTo>
                  <a:pt x="6734" y="1200"/>
                </a:lnTo>
                <a:lnTo>
                  <a:pt x="6730" y="1206"/>
                </a:lnTo>
                <a:lnTo>
                  <a:pt x="6728" y="1212"/>
                </a:lnTo>
                <a:lnTo>
                  <a:pt x="6728" y="1214"/>
                </a:lnTo>
                <a:lnTo>
                  <a:pt x="6730" y="1216"/>
                </a:lnTo>
                <a:lnTo>
                  <a:pt x="6732" y="1214"/>
                </a:lnTo>
                <a:lnTo>
                  <a:pt x="6734" y="1212"/>
                </a:lnTo>
                <a:lnTo>
                  <a:pt x="6736" y="1208"/>
                </a:lnTo>
                <a:lnTo>
                  <a:pt x="6740" y="1208"/>
                </a:lnTo>
                <a:close/>
                <a:moveTo>
                  <a:pt x="6766" y="1216"/>
                </a:moveTo>
                <a:lnTo>
                  <a:pt x="6766" y="1216"/>
                </a:lnTo>
                <a:lnTo>
                  <a:pt x="6762" y="1214"/>
                </a:lnTo>
                <a:lnTo>
                  <a:pt x="6758" y="1216"/>
                </a:lnTo>
                <a:lnTo>
                  <a:pt x="6756" y="1220"/>
                </a:lnTo>
                <a:lnTo>
                  <a:pt x="6756" y="1222"/>
                </a:lnTo>
                <a:lnTo>
                  <a:pt x="6756" y="1226"/>
                </a:lnTo>
                <a:lnTo>
                  <a:pt x="6750" y="1232"/>
                </a:lnTo>
                <a:lnTo>
                  <a:pt x="6746" y="1234"/>
                </a:lnTo>
                <a:lnTo>
                  <a:pt x="6748" y="1230"/>
                </a:lnTo>
                <a:lnTo>
                  <a:pt x="6750" y="1226"/>
                </a:lnTo>
                <a:lnTo>
                  <a:pt x="6746" y="1224"/>
                </a:lnTo>
                <a:lnTo>
                  <a:pt x="6744" y="1224"/>
                </a:lnTo>
                <a:lnTo>
                  <a:pt x="6746" y="1220"/>
                </a:lnTo>
                <a:lnTo>
                  <a:pt x="6750" y="1214"/>
                </a:lnTo>
                <a:lnTo>
                  <a:pt x="6750" y="1212"/>
                </a:lnTo>
                <a:lnTo>
                  <a:pt x="6748" y="1210"/>
                </a:lnTo>
                <a:lnTo>
                  <a:pt x="6742" y="1210"/>
                </a:lnTo>
                <a:lnTo>
                  <a:pt x="6738" y="1214"/>
                </a:lnTo>
                <a:lnTo>
                  <a:pt x="6734" y="1218"/>
                </a:lnTo>
                <a:lnTo>
                  <a:pt x="6730" y="1224"/>
                </a:lnTo>
                <a:lnTo>
                  <a:pt x="6730" y="1228"/>
                </a:lnTo>
                <a:lnTo>
                  <a:pt x="6732" y="1232"/>
                </a:lnTo>
                <a:lnTo>
                  <a:pt x="6730" y="1236"/>
                </a:lnTo>
                <a:lnTo>
                  <a:pt x="6726" y="1238"/>
                </a:lnTo>
                <a:lnTo>
                  <a:pt x="6722" y="1240"/>
                </a:lnTo>
                <a:lnTo>
                  <a:pt x="6720" y="1242"/>
                </a:lnTo>
                <a:lnTo>
                  <a:pt x="6720" y="1246"/>
                </a:lnTo>
                <a:lnTo>
                  <a:pt x="6716" y="1254"/>
                </a:lnTo>
                <a:lnTo>
                  <a:pt x="6714" y="1260"/>
                </a:lnTo>
                <a:lnTo>
                  <a:pt x="6718" y="1258"/>
                </a:lnTo>
                <a:lnTo>
                  <a:pt x="6726" y="1256"/>
                </a:lnTo>
                <a:lnTo>
                  <a:pt x="6728" y="1256"/>
                </a:lnTo>
                <a:lnTo>
                  <a:pt x="6732" y="1256"/>
                </a:lnTo>
                <a:lnTo>
                  <a:pt x="6734" y="1258"/>
                </a:lnTo>
                <a:lnTo>
                  <a:pt x="6736" y="1258"/>
                </a:lnTo>
                <a:lnTo>
                  <a:pt x="6738" y="1254"/>
                </a:lnTo>
                <a:lnTo>
                  <a:pt x="6742" y="1250"/>
                </a:lnTo>
                <a:lnTo>
                  <a:pt x="6744" y="1250"/>
                </a:lnTo>
                <a:lnTo>
                  <a:pt x="6746" y="1252"/>
                </a:lnTo>
                <a:lnTo>
                  <a:pt x="6748" y="1252"/>
                </a:lnTo>
                <a:lnTo>
                  <a:pt x="6752" y="1248"/>
                </a:lnTo>
                <a:lnTo>
                  <a:pt x="6754" y="1244"/>
                </a:lnTo>
                <a:lnTo>
                  <a:pt x="6756" y="1240"/>
                </a:lnTo>
                <a:lnTo>
                  <a:pt x="6760" y="1238"/>
                </a:lnTo>
                <a:lnTo>
                  <a:pt x="6768" y="1236"/>
                </a:lnTo>
                <a:lnTo>
                  <a:pt x="6772" y="1236"/>
                </a:lnTo>
                <a:lnTo>
                  <a:pt x="6774" y="1234"/>
                </a:lnTo>
                <a:lnTo>
                  <a:pt x="6774" y="1230"/>
                </a:lnTo>
                <a:lnTo>
                  <a:pt x="6774" y="1228"/>
                </a:lnTo>
                <a:lnTo>
                  <a:pt x="6770" y="1220"/>
                </a:lnTo>
                <a:lnTo>
                  <a:pt x="6766" y="1216"/>
                </a:lnTo>
                <a:close/>
                <a:moveTo>
                  <a:pt x="6654" y="1274"/>
                </a:moveTo>
                <a:lnTo>
                  <a:pt x="6654" y="1274"/>
                </a:lnTo>
                <a:lnTo>
                  <a:pt x="6656" y="1272"/>
                </a:lnTo>
                <a:lnTo>
                  <a:pt x="6658" y="1272"/>
                </a:lnTo>
                <a:lnTo>
                  <a:pt x="6660" y="1272"/>
                </a:lnTo>
                <a:lnTo>
                  <a:pt x="6664" y="1272"/>
                </a:lnTo>
                <a:lnTo>
                  <a:pt x="6666" y="1270"/>
                </a:lnTo>
                <a:lnTo>
                  <a:pt x="6668" y="1266"/>
                </a:lnTo>
                <a:lnTo>
                  <a:pt x="6672" y="1264"/>
                </a:lnTo>
                <a:lnTo>
                  <a:pt x="6676" y="1262"/>
                </a:lnTo>
                <a:lnTo>
                  <a:pt x="6674" y="1262"/>
                </a:lnTo>
                <a:lnTo>
                  <a:pt x="6664" y="1260"/>
                </a:lnTo>
                <a:lnTo>
                  <a:pt x="6660" y="1258"/>
                </a:lnTo>
                <a:lnTo>
                  <a:pt x="6656" y="1258"/>
                </a:lnTo>
                <a:lnTo>
                  <a:pt x="6654" y="1262"/>
                </a:lnTo>
                <a:lnTo>
                  <a:pt x="6650" y="1266"/>
                </a:lnTo>
                <a:lnTo>
                  <a:pt x="6652" y="1268"/>
                </a:lnTo>
                <a:lnTo>
                  <a:pt x="6650" y="1272"/>
                </a:lnTo>
                <a:lnTo>
                  <a:pt x="6650" y="1274"/>
                </a:lnTo>
                <a:lnTo>
                  <a:pt x="6652" y="1276"/>
                </a:lnTo>
                <a:lnTo>
                  <a:pt x="6654" y="1274"/>
                </a:lnTo>
                <a:close/>
                <a:moveTo>
                  <a:pt x="6642" y="1270"/>
                </a:moveTo>
                <a:lnTo>
                  <a:pt x="6642" y="1270"/>
                </a:lnTo>
                <a:lnTo>
                  <a:pt x="6642" y="1272"/>
                </a:lnTo>
                <a:lnTo>
                  <a:pt x="6640" y="1274"/>
                </a:lnTo>
                <a:lnTo>
                  <a:pt x="6638" y="1274"/>
                </a:lnTo>
                <a:lnTo>
                  <a:pt x="6638" y="1278"/>
                </a:lnTo>
                <a:lnTo>
                  <a:pt x="6640" y="1280"/>
                </a:lnTo>
                <a:lnTo>
                  <a:pt x="6642" y="1280"/>
                </a:lnTo>
                <a:lnTo>
                  <a:pt x="6646" y="1274"/>
                </a:lnTo>
                <a:lnTo>
                  <a:pt x="6648" y="1270"/>
                </a:lnTo>
                <a:lnTo>
                  <a:pt x="6646" y="1268"/>
                </a:lnTo>
                <a:lnTo>
                  <a:pt x="6644" y="1268"/>
                </a:lnTo>
                <a:lnTo>
                  <a:pt x="6642" y="1270"/>
                </a:lnTo>
                <a:close/>
                <a:moveTo>
                  <a:pt x="6634" y="1276"/>
                </a:moveTo>
                <a:lnTo>
                  <a:pt x="6634" y="1276"/>
                </a:lnTo>
                <a:lnTo>
                  <a:pt x="6634" y="1272"/>
                </a:lnTo>
                <a:lnTo>
                  <a:pt x="6632" y="1272"/>
                </a:lnTo>
                <a:lnTo>
                  <a:pt x="6626" y="1282"/>
                </a:lnTo>
                <a:lnTo>
                  <a:pt x="6624" y="1290"/>
                </a:lnTo>
                <a:lnTo>
                  <a:pt x="6630" y="1288"/>
                </a:lnTo>
                <a:lnTo>
                  <a:pt x="6634" y="1284"/>
                </a:lnTo>
                <a:lnTo>
                  <a:pt x="6634" y="1282"/>
                </a:lnTo>
                <a:lnTo>
                  <a:pt x="6634" y="1276"/>
                </a:lnTo>
                <a:close/>
                <a:moveTo>
                  <a:pt x="6742" y="1278"/>
                </a:moveTo>
                <a:lnTo>
                  <a:pt x="6742" y="1278"/>
                </a:lnTo>
                <a:lnTo>
                  <a:pt x="6736" y="1278"/>
                </a:lnTo>
                <a:lnTo>
                  <a:pt x="6732" y="1278"/>
                </a:lnTo>
                <a:lnTo>
                  <a:pt x="6730" y="1280"/>
                </a:lnTo>
                <a:lnTo>
                  <a:pt x="6732" y="1282"/>
                </a:lnTo>
                <a:lnTo>
                  <a:pt x="6738" y="1280"/>
                </a:lnTo>
                <a:lnTo>
                  <a:pt x="6742" y="1280"/>
                </a:lnTo>
                <a:lnTo>
                  <a:pt x="6742" y="1278"/>
                </a:lnTo>
                <a:close/>
                <a:moveTo>
                  <a:pt x="6610" y="1406"/>
                </a:moveTo>
                <a:lnTo>
                  <a:pt x="6610" y="1406"/>
                </a:lnTo>
                <a:lnTo>
                  <a:pt x="6608" y="1410"/>
                </a:lnTo>
                <a:lnTo>
                  <a:pt x="6606" y="1414"/>
                </a:lnTo>
                <a:lnTo>
                  <a:pt x="6604" y="1416"/>
                </a:lnTo>
                <a:lnTo>
                  <a:pt x="6606" y="1416"/>
                </a:lnTo>
                <a:lnTo>
                  <a:pt x="6612" y="1414"/>
                </a:lnTo>
                <a:lnTo>
                  <a:pt x="6614" y="1412"/>
                </a:lnTo>
                <a:lnTo>
                  <a:pt x="6616" y="1408"/>
                </a:lnTo>
                <a:lnTo>
                  <a:pt x="6616" y="1404"/>
                </a:lnTo>
                <a:lnTo>
                  <a:pt x="6614" y="1404"/>
                </a:lnTo>
                <a:lnTo>
                  <a:pt x="6610" y="1404"/>
                </a:lnTo>
                <a:lnTo>
                  <a:pt x="6610" y="1406"/>
                </a:lnTo>
                <a:close/>
                <a:moveTo>
                  <a:pt x="6608" y="1424"/>
                </a:moveTo>
                <a:lnTo>
                  <a:pt x="6608" y="1424"/>
                </a:lnTo>
                <a:lnTo>
                  <a:pt x="6608" y="1426"/>
                </a:lnTo>
                <a:lnTo>
                  <a:pt x="6610" y="1426"/>
                </a:lnTo>
                <a:lnTo>
                  <a:pt x="6618" y="1422"/>
                </a:lnTo>
                <a:lnTo>
                  <a:pt x="6624" y="1418"/>
                </a:lnTo>
                <a:lnTo>
                  <a:pt x="6620" y="1418"/>
                </a:lnTo>
                <a:lnTo>
                  <a:pt x="6612" y="1418"/>
                </a:lnTo>
                <a:lnTo>
                  <a:pt x="6610" y="1420"/>
                </a:lnTo>
                <a:lnTo>
                  <a:pt x="6608" y="1424"/>
                </a:lnTo>
                <a:close/>
                <a:moveTo>
                  <a:pt x="6606" y="1454"/>
                </a:moveTo>
                <a:lnTo>
                  <a:pt x="6606" y="1454"/>
                </a:lnTo>
                <a:lnTo>
                  <a:pt x="6602" y="1450"/>
                </a:lnTo>
                <a:lnTo>
                  <a:pt x="6600" y="1450"/>
                </a:lnTo>
                <a:lnTo>
                  <a:pt x="6600" y="1454"/>
                </a:lnTo>
                <a:lnTo>
                  <a:pt x="6600" y="1456"/>
                </a:lnTo>
                <a:lnTo>
                  <a:pt x="6598" y="1458"/>
                </a:lnTo>
                <a:lnTo>
                  <a:pt x="6596" y="1460"/>
                </a:lnTo>
                <a:lnTo>
                  <a:pt x="6596" y="1462"/>
                </a:lnTo>
                <a:lnTo>
                  <a:pt x="6594" y="1466"/>
                </a:lnTo>
                <a:lnTo>
                  <a:pt x="6592" y="1470"/>
                </a:lnTo>
                <a:lnTo>
                  <a:pt x="6592" y="1472"/>
                </a:lnTo>
                <a:lnTo>
                  <a:pt x="6594" y="1472"/>
                </a:lnTo>
                <a:lnTo>
                  <a:pt x="6598" y="1470"/>
                </a:lnTo>
                <a:lnTo>
                  <a:pt x="6598" y="1468"/>
                </a:lnTo>
                <a:lnTo>
                  <a:pt x="6600" y="1464"/>
                </a:lnTo>
                <a:lnTo>
                  <a:pt x="6602" y="1462"/>
                </a:lnTo>
                <a:lnTo>
                  <a:pt x="6608" y="1460"/>
                </a:lnTo>
                <a:lnTo>
                  <a:pt x="6608" y="1458"/>
                </a:lnTo>
                <a:lnTo>
                  <a:pt x="6606" y="1454"/>
                </a:lnTo>
                <a:close/>
                <a:moveTo>
                  <a:pt x="6590" y="1440"/>
                </a:moveTo>
                <a:lnTo>
                  <a:pt x="6590" y="1440"/>
                </a:lnTo>
                <a:lnTo>
                  <a:pt x="6588" y="1438"/>
                </a:lnTo>
                <a:lnTo>
                  <a:pt x="6584" y="1438"/>
                </a:lnTo>
                <a:lnTo>
                  <a:pt x="6580" y="1440"/>
                </a:lnTo>
                <a:lnTo>
                  <a:pt x="6580" y="1444"/>
                </a:lnTo>
                <a:lnTo>
                  <a:pt x="6582" y="1446"/>
                </a:lnTo>
                <a:lnTo>
                  <a:pt x="6586" y="1444"/>
                </a:lnTo>
                <a:lnTo>
                  <a:pt x="6590" y="1442"/>
                </a:lnTo>
                <a:lnTo>
                  <a:pt x="6590" y="1440"/>
                </a:lnTo>
                <a:close/>
                <a:moveTo>
                  <a:pt x="6602" y="1480"/>
                </a:moveTo>
                <a:lnTo>
                  <a:pt x="6602" y="1480"/>
                </a:lnTo>
                <a:lnTo>
                  <a:pt x="6604" y="1476"/>
                </a:lnTo>
                <a:lnTo>
                  <a:pt x="6602" y="1474"/>
                </a:lnTo>
                <a:lnTo>
                  <a:pt x="6598" y="1474"/>
                </a:lnTo>
                <a:lnTo>
                  <a:pt x="6596" y="1474"/>
                </a:lnTo>
                <a:lnTo>
                  <a:pt x="6594" y="1476"/>
                </a:lnTo>
                <a:lnTo>
                  <a:pt x="6590" y="1480"/>
                </a:lnTo>
                <a:lnTo>
                  <a:pt x="6592" y="1482"/>
                </a:lnTo>
                <a:lnTo>
                  <a:pt x="6596" y="1480"/>
                </a:lnTo>
                <a:lnTo>
                  <a:pt x="6602" y="1480"/>
                </a:lnTo>
                <a:close/>
                <a:moveTo>
                  <a:pt x="6572" y="1482"/>
                </a:moveTo>
                <a:lnTo>
                  <a:pt x="6572" y="1482"/>
                </a:lnTo>
                <a:lnTo>
                  <a:pt x="6574" y="1484"/>
                </a:lnTo>
                <a:lnTo>
                  <a:pt x="6582" y="1480"/>
                </a:lnTo>
                <a:lnTo>
                  <a:pt x="6584" y="1480"/>
                </a:lnTo>
                <a:lnTo>
                  <a:pt x="6582" y="1478"/>
                </a:lnTo>
                <a:lnTo>
                  <a:pt x="6576" y="1478"/>
                </a:lnTo>
                <a:lnTo>
                  <a:pt x="6572" y="1482"/>
                </a:lnTo>
                <a:close/>
                <a:moveTo>
                  <a:pt x="6564" y="1522"/>
                </a:moveTo>
                <a:lnTo>
                  <a:pt x="6564" y="1522"/>
                </a:lnTo>
                <a:lnTo>
                  <a:pt x="6566" y="1522"/>
                </a:lnTo>
                <a:lnTo>
                  <a:pt x="6568" y="1520"/>
                </a:lnTo>
                <a:lnTo>
                  <a:pt x="6566" y="1518"/>
                </a:lnTo>
                <a:lnTo>
                  <a:pt x="6564" y="1518"/>
                </a:lnTo>
                <a:lnTo>
                  <a:pt x="6562" y="1516"/>
                </a:lnTo>
                <a:lnTo>
                  <a:pt x="6560" y="1514"/>
                </a:lnTo>
                <a:lnTo>
                  <a:pt x="6558" y="1514"/>
                </a:lnTo>
                <a:lnTo>
                  <a:pt x="6556" y="1514"/>
                </a:lnTo>
                <a:lnTo>
                  <a:pt x="6556" y="1516"/>
                </a:lnTo>
                <a:lnTo>
                  <a:pt x="6556" y="1520"/>
                </a:lnTo>
                <a:lnTo>
                  <a:pt x="6560" y="1520"/>
                </a:lnTo>
                <a:lnTo>
                  <a:pt x="6564" y="1522"/>
                </a:lnTo>
                <a:close/>
                <a:moveTo>
                  <a:pt x="6564" y="1514"/>
                </a:moveTo>
                <a:lnTo>
                  <a:pt x="6564" y="1514"/>
                </a:lnTo>
                <a:lnTo>
                  <a:pt x="6566" y="1512"/>
                </a:lnTo>
                <a:lnTo>
                  <a:pt x="6564" y="1510"/>
                </a:lnTo>
                <a:lnTo>
                  <a:pt x="6560" y="1508"/>
                </a:lnTo>
                <a:lnTo>
                  <a:pt x="6558" y="1508"/>
                </a:lnTo>
                <a:lnTo>
                  <a:pt x="6560" y="1510"/>
                </a:lnTo>
                <a:lnTo>
                  <a:pt x="6562" y="1512"/>
                </a:lnTo>
                <a:lnTo>
                  <a:pt x="6564" y="1514"/>
                </a:lnTo>
                <a:close/>
                <a:moveTo>
                  <a:pt x="6550" y="1510"/>
                </a:moveTo>
                <a:lnTo>
                  <a:pt x="6550" y="1510"/>
                </a:lnTo>
                <a:lnTo>
                  <a:pt x="6550" y="1512"/>
                </a:lnTo>
                <a:lnTo>
                  <a:pt x="6552" y="1512"/>
                </a:lnTo>
                <a:lnTo>
                  <a:pt x="6556" y="1512"/>
                </a:lnTo>
                <a:lnTo>
                  <a:pt x="6556" y="1510"/>
                </a:lnTo>
                <a:lnTo>
                  <a:pt x="6554" y="1508"/>
                </a:lnTo>
                <a:lnTo>
                  <a:pt x="6552" y="1508"/>
                </a:lnTo>
                <a:lnTo>
                  <a:pt x="6550" y="1510"/>
                </a:lnTo>
                <a:close/>
                <a:moveTo>
                  <a:pt x="6620" y="1402"/>
                </a:moveTo>
                <a:lnTo>
                  <a:pt x="6620" y="1402"/>
                </a:lnTo>
                <a:lnTo>
                  <a:pt x="6622" y="1404"/>
                </a:lnTo>
                <a:lnTo>
                  <a:pt x="6626" y="1402"/>
                </a:lnTo>
                <a:lnTo>
                  <a:pt x="6626" y="1400"/>
                </a:lnTo>
                <a:lnTo>
                  <a:pt x="6626" y="1398"/>
                </a:lnTo>
                <a:lnTo>
                  <a:pt x="6624" y="1398"/>
                </a:lnTo>
                <a:lnTo>
                  <a:pt x="6620" y="1398"/>
                </a:lnTo>
                <a:lnTo>
                  <a:pt x="6620" y="1400"/>
                </a:lnTo>
                <a:lnTo>
                  <a:pt x="6620" y="1402"/>
                </a:lnTo>
                <a:close/>
                <a:moveTo>
                  <a:pt x="6436" y="1594"/>
                </a:moveTo>
                <a:lnTo>
                  <a:pt x="6436" y="1594"/>
                </a:lnTo>
                <a:lnTo>
                  <a:pt x="6434" y="1592"/>
                </a:lnTo>
                <a:lnTo>
                  <a:pt x="6428" y="1592"/>
                </a:lnTo>
                <a:lnTo>
                  <a:pt x="6422" y="1594"/>
                </a:lnTo>
                <a:lnTo>
                  <a:pt x="6420" y="1594"/>
                </a:lnTo>
                <a:lnTo>
                  <a:pt x="6420" y="1596"/>
                </a:lnTo>
                <a:lnTo>
                  <a:pt x="6426" y="1598"/>
                </a:lnTo>
                <a:lnTo>
                  <a:pt x="6432" y="1598"/>
                </a:lnTo>
                <a:lnTo>
                  <a:pt x="6436" y="1596"/>
                </a:lnTo>
                <a:lnTo>
                  <a:pt x="6436" y="1594"/>
                </a:lnTo>
                <a:close/>
                <a:moveTo>
                  <a:pt x="6460" y="1576"/>
                </a:moveTo>
                <a:lnTo>
                  <a:pt x="6460" y="1576"/>
                </a:lnTo>
                <a:lnTo>
                  <a:pt x="6464" y="1574"/>
                </a:lnTo>
                <a:lnTo>
                  <a:pt x="6464" y="1570"/>
                </a:lnTo>
                <a:lnTo>
                  <a:pt x="6462" y="1568"/>
                </a:lnTo>
                <a:lnTo>
                  <a:pt x="6460" y="1568"/>
                </a:lnTo>
                <a:lnTo>
                  <a:pt x="6456" y="1572"/>
                </a:lnTo>
                <a:lnTo>
                  <a:pt x="6450" y="1572"/>
                </a:lnTo>
                <a:lnTo>
                  <a:pt x="6444" y="1574"/>
                </a:lnTo>
                <a:lnTo>
                  <a:pt x="6442" y="1576"/>
                </a:lnTo>
                <a:lnTo>
                  <a:pt x="6442" y="1578"/>
                </a:lnTo>
                <a:lnTo>
                  <a:pt x="6448" y="1578"/>
                </a:lnTo>
                <a:lnTo>
                  <a:pt x="6460" y="1576"/>
                </a:lnTo>
                <a:close/>
                <a:moveTo>
                  <a:pt x="6456" y="1592"/>
                </a:moveTo>
                <a:lnTo>
                  <a:pt x="6456" y="1592"/>
                </a:lnTo>
                <a:lnTo>
                  <a:pt x="6468" y="1588"/>
                </a:lnTo>
                <a:lnTo>
                  <a:pt x="6474" y="1586"/>
                </a:lnTo>
                <a:lnTo>
                  <a:pt x="6476" y="1586"/>
                </a:lnTo>
                <a:lnTo>
                  <a:pt x="6476" y="1582"/>
                </a:lnTo>
                <a:lnTo>
                  <a:pt x="6472" y="1582"/>
                </a:lnTo>
                <a:lnTo>
                  <a:pt x="6470" y="1582"/>
                </a:lnTo>
                <a:lnTo>
                  <a:pt x="6470" y="1580"/>
                </a:lnTo>
                <a:lnTo>
                  <a:pt x="6470" y="1578"/>
                </a:lnTo>
                <a:lnTo>
                  <a:pt x="6468" y="1578"/>
                </a:lnTo>
                <a:lnTo>
                  <a:pt x="6464" y="1580"/>
                </a:lnTo>
                <a:lnTo>
                  <a:pt x="6452" y="1584"/>
                </a:lnTo>
                <a:lnTo>
                  <a:pt x="6444" y="1586"/>
                </a:lnTo>
                <a:lnTo>
                  <a:pt x="6442" y="1588"/>
                </a:lnTo>
                <a:lnTo>
                  <a:pt x="6442" y="1592"/>
                </a:lnTo>
                <a:lnTo>
                  <a:pt x="6446" y="1594"/>
                </a:lnTo>
                <a:lnTo>
                  <a:pt x="6456" y="1592"/>
                </a:lnTo>
                <a:close/>
                <a:moveTo>
                  <a:pt x="6428" y="1610"/>
                </a:moveTo>
                <a:lnTo>
                  <a:pt x="6428" y="1610"/>
                </a:lnTo>
                <a:lnTo>
                  <a:pt x="6430" y="1612"/>
                </a:lnTo>
                <a:lnTo>
                  <a:pt x="6432" y="1612"/>
                </a:lnTo>
                <a:lnTo>
                  <a:pt x="6436" y="1612"/>
                </a:lnTo>
                <a:lnTo>
                  <a:pt x="6436" y="1608"/>
                </a:lnTo>
                <a:lnTo>
                  <a:pt x="6434" y="1606"/>
                </a:lnTo>
                <a:lnTo>
                  <a:pt x="6430" y="1606"/>
                </a:lnTo>
                <a:lnTo>
                  <a:pt x="6428" y="1608"/>
                </a:lnTo>
                <a:lnTo>
                  <a:pt x="6428" y="1610"/>
                </a:lnTo>
                <a:close/>
                <a:moveTo>
                  <a:pt x="6418" y="1622"/>
                </a:moveTo>
                <a:lnTo>
                  <a:pt x="6418" y="1622"/>
                </a:lnTo>
                <a:lnTo>
                  <a:pt x="6418" y="1620"/>
                </a:lnTo>
                <a:lnTo>
                  <a:pt x="6418" y="1618"/>
                </a:lnTo>
                <a:lnTo>
                  <a:pt x="6414" y="1616"/>
                </a:lnTo>
                <a:lnTo>
                  <a:pt x="6412" y="1618"/>
                </a:lnTo>
                <a:lnTo>
                  <a:pt x="6410" y="1618"/>
                </a:lnTo>
                <a:lnTo>
                  <a:pt x="6408" y="1618"/>
                </a:lnTo>
                <a:lnTo>
                  <a:pt x="6406" y="1618"/>
                </a:lnTo>
                <a:lnTo>
                  <a:pt x="6404" y="1620"/>
                </a:lnTo>
                <a:lnTo>
                  <a:pt x="6404" y="1622"/>
                </a:lnTo>
                <a:lnTo>
                  <a:pt x="6408" y="1622"/>
                </a:lnTo>
                <a:lnTo>
                  <a:pt x="6418" y="1622"/>
                </a:lnTo>
                <a:close/>
                <a:moveTo>
                  <a:pt x="6384" y="1640"/>
                </a:moveTo>
                <a:lnTo>
                  <a:pt x="6384" y="1640"/>
                </a:lnTo>
                <a:lnTo>
                  <a:pt x="6382" y="1638"/>
                </a:lnTo>
                <a:lnTo>
                  <a:pt x="6378" y="1638"/>
                </a:lnTo>
                <a:lnTo>
                  <a:pt x="6374" y="1640"/>
                </a:lnTo>
                <a:lnTo>
                  <a:pt x="6374" y="1644"/>
                </a:lnTo>
                <a:lnTo>
                  <a:pt x="6376" y="1644"/>
                </a:lnTo>
                <a:lnTo>
                  <a:pt x="6380" y="1644"/>
                </a:lnTo>
                <a:lnTo>
                  <a:pt x="6384" y="1644"/>
                </a:lnTo>
                <a:lnTo>
                  <a:pt x="6386" y="1642"/>
                </a:lnTo>
                <a:lnTo>
                  <a:pt x="6384" y="1640"/>
                </a:lnTo>
                <a:close/>
                <a:moveTo>
                  <a:pt x="6346" y="1662"/>
                </a:moveTo>
                <a:lnTo>
                  <a:pt x="6346" y="1662"/>
                </a:lnTo>
                <a:lnTo>
                  <a:pt x="6344" y="1662"/>
                </a:lnTo>
                <a:lnTo>
                  <a:pt x="6342" y="1664"/>
                </a:lnTo>
                <a:lnTo>
                  <a:pt x="6340" y="1668"/>
                </a:lnTo>
                <a:lnTo>
                  <a:pt x="6340" y="1672"/>
                </a:lnTo>
                <a:lnTo>
                  <a:pt x="6344" y="1672"/>
                </a:lnTo>
                <a:lnTo>
                  <a:pt x="6348" y="1668"/>
                </a:lnTo>
                <a:lnTo>
                  <a:pt x="6350" y="1664"/>
                </a:lnTo>
                <a:lnTo>
                  <a:pt x="6348" y="1662"/>
                </a:lnTo>
                <a:lnTo>
                  <a:pt x="6346" y="1662"/>
                </a:lnTo>
                <a:close/>
                <a:moveTo>
                  <a:pt x="6336" y="1670"/>
                </a:moveTo>
                <a:lnTo>
                  <a:pt x="6336" y="1670"/>
                </a:lnTo>
                <a:lnTo>
                  <a:pt x="6332" y="1668"/>
                </a:lnTo>
                <a:lnTo>
                  <a:pt x="6330" y="1670"/>
                </a:lnTo>
                <a:lnTo>
                  <a:pt x="6328" y="1672"/>
                </a:lnTo>
                <a:lnTo>
                  <a:pt x="6330" y="1674"/>
                </a:lnTo>
                <a:lnTo>
                  <a:pt x="6332" y="1674"/>
                </a:lnTo>
                <a:lnTo>
                  <a:pt x="6336" y="1672"/>
                </a:lnTo>
                <a:lnTo>
                  <a:pt x="6336" y="1670"/>
                </a:lnTo>
                <a:close/>
                <a:moveTo>
                  <a:pt x="6302" y="1700"/>
                </a:moveTo>
                <a:lnTo>
                  <a:pt x="6302" y="1700"/>
                </a:lnTo>
                <a:lnTo>
                  <a:pt x="6306" y="1702"/>
                </a:lnTo>
                <a:lnTo>
                  <a:pt x="6310" y="1700"/>
                </a:lnTo>
                <a:lnTo>
                  <a:pt x="6312" y="1698"/>
                </a:lnTo>
                <a:lnTo>
                  <a:pt x="6312" y="1696"/>
                </a:lnTo>
                <a:lnTo>
                  <a:pt x="6308" y="1696"/>
                </a:lnTo>
                <a:lnTo>
                  <a:pt x="6302" y="1696"/>
                </a:lnTo>
                <a:lnTo>
                  <a:pt x="6300" y="1698"/>
                </a:lnTo>
                <a:lnTo>
                  <a:pt x="6302" y="1700"/>
                </a:lnTo>
                <a:close/>
                <a:moveTo>
                  <a:pt x="6302" y="1750"/>
                </a:moveTo>
                <a:lnTo>
                  <a:pt x="6302" y="1750"/>
                </a:lnTo>
                <a:lnTo>
                  <a:pt x="6306" y="1750"/>
                </a:lnTo>
                <a:lnTo>
                  <a:pt x="6306" y="1748"/>
                </a:lnTo>
                <a:lnTo>
                  <a:pt x="6306" y="1744"/>
                </a:lnTo>
                <a:lnTo>
                  <a:pt x="6304" y="1744"/>
                </a:lnTo>
                <a:lnTo>
                  <a:pt x="6300" y="1746"/>
                </a:lnTo>
                <a:lnTo>
                  <a:pt x="6300" y="1748"/>
                </a:lnTo>
                <a:lnTo>
                  <a:pt x="6302" y="1750"/>
                </a:lnTo>
                <a:close/>
                <a:moveTo>
                  <a:pt x="6330" y="1826"/>
                </a:moveTo>
                <a:lnTo>
                  <a:pt x="6330" y="1826"/>
                </a:lnTo>
                <a:lnTo>
                  <a:pt x="6332" y="1826"/>
                </a:lnTo>
                <a:lnTo>
                  <a:pt x="6334" y="1818"/>
                </a:lnTo>
                <a:lnTo>
                  <a:pt x="6334" y="1816"/>
                </a:lnTo>
                <a:lnTo>
                  <a:pt x="6334" y="1814"/>
                </a:lnTo>
                <a:lnTo>
                  <a:pt x="6330" y="1814"/>
                </a:lnTo>
                <a:lnTo>
                  <a:pt x="6324" y="1818"/>
                </a:lnTo>
                <a:lnTo>
                  <a:pt x="6320" y="1822"/>
                </a:lnTo>
                <a:lnTo>
                  <a:pt x="6318" y="1826"/>
                </a:lnTo>
                <a:lnTo>
                  <a:pt x="6320" y="1830"/>
                </a:lnTo>
                <a:lnTo>
                  <a:pt x="6322" y="1834"/>
                </a:lnTo>
                <a:lnTo>
                  <a:pt x="6328" y="1834"/>
                </a:lnTo>
                <a:lnTo>
                  <a:pt x="6328" y="1832"/>
                </a:lnTo>
                <a:lnTo>
                  <a:pt x="6326" y="1826"/>
                </a:lnTo>
                <a:lnTo>
                  <a:pt x="6324" y="1824"/>
                </a:lnTo>
                <a:lnTo>
                  <a:pt x="6326" y="1822"/>
                </a:lnTo>
                <a:lnTo>
                  <a:pt x="6330" y="1826"/>
                </a:lnTo>
                <a:close/>
                <a:moveTo>
                  <a:pt x="6316" y="1876"/>
                </a:moveTo>
                <a:lnTo>
                  <a:pt x="6316" y="1876"/>
                </a:lnTo>
                <a:lnTo>
                  <a:pt x="6318" y="1874"/>
                </a:lnTo>
                <a:lnTo>
                  <a:pt x="6318" y="1872"/>
                </a:lnTo>
                <a:lnTo>
                  <a:pt x="6318" y="1864"/>
                </a:lnTo>
                <a:lnTo>
                  <a:pt x="6316" y="1860"/>
                </a:lnTo>
                <a:lnTo>
                  <a:pt x="6314" y="1860"/>
                </a:lnTo>
                <a:lnTo>
                  <a:pt x="6314" y="1862"/>
                </a:lnTo>
                <a:lnTo>
                  <a:pt x="6314" y="1872"/>
                </a:lnTo>
                <a:lnTo>
                  <a:pt x="6314" y="1874"/>
                </a:lnTo>
                <a:lnTo>
                  <a:pt x="6316" y="1876"/>
                </a:lnTo>
                <a:close/>
                <a:moveTo>
                  <a:pt x="6314" y="1844"/>
                </a:moveTo>
                <a:lnTo>
                  <a:pt x="6314" y="1846"/>
                </a:lnTo>
                <a:lnTo>
                  <a:pt x="6314" y="1844"/>
                </a:lnTo>
                <a:lnTo>
                  <a:pt x="6316" y="1840"/>
                </a:lnTo>
                <a:lnTo>
                  <a:pt x="6318" y="1836"/>
                </a:lnTo>
                <a:lnTo>
                  <a:pt x="6318" y="1838"/>
                </a:lnTo>
                <a:lnTo>
                  <a:pt x="6320" y="1838"/>
                </a:lnTo>
                <a:lnTo>
                  <a:pt x="6320" y="1840"/>
                </a:lnTo>
                <a:lnTo>
                  <a:pt x="6322" y="1840"/>
                </a:lnTo>
                <a:lnTo>
                  <a:pt x="6322" y="1838"/>
                </a:lnTo>
                <a:lnTo>
                  <a:pt x="6322" y="1836"/>
                </a:lnTo>
                <a:lnTo>
                  <a:pt x="6316" y="1830"/>
                </a:lnTo>
                <a:lnTo>
                  <a:pt x="6314" y="1830"/>
                </a:lnTo>
                <a:lnTo>
                  <a:pt x="6312" y="1834"/>
                </a:lnTo>
                <a:lnTo>
                  <a:pt x="6314" y="1844"/>
                </a:lnTo>
                <a:close/>
                <a:moveTo>
                  <a:pt x="6308" y="1808"/>
                </a:moveTo>
                <a:lnTo>
                  <a:pt x="6308" y="1808"/>
                </a:lnTo>
                <a:lnTo>
                  <a:pt x="6310" y="1808"/>
                </a:lnTo>
                <a:lnTo>
                  <a:pt x="6312" y="1806"/>
                </a:lnTo>
                <a:lnTo>
                  <a:pt x="6312" y="1802"/>
                </a:lnTo>
                <a:lnTo>
                  <a:pt x="6308" y="1792"/>
                </a:lnTo>
                <a:lnTo>
                  <a:pt x="6306" y="1792"/>
                </a:lnTo>
                <a:lnTo>
                  <a:pt x="6306" y="1798"/>
                </a:lnTo>
                <a:lnTo>
                  <a:pt x="6306" y="1804"/>
                </a:lnTo>
                <a:lnTo>
                  <a:pt x="6308" y="1806"/>
                </a:lnTo>
                <a:lnTo>
                  <a:pt x="6308" y="1808"/>
                </a:lnTo>
                <a:close/>
                <a:moveTo>
                  <a:pt x="6314" y="1792"/>
                </a:moveTo>
                <a:lnTo>
                  <a:pt x="6314" y="1792"/>
                </a:lnTo>
                <a:lnTo>
                  <a:pt x="6310" y="1786"/>
                </a:lnTo>
                <a:lnTo>
                  <a:pt x="6308" y="1784"/>
                </a:lnTo>
                <a:lnTo>
                  <a:pt x="6306" y="1784"/>
                </a:lnTo>
                <a:lnTo>
                  <a:pt x="6310" y="1792"/>
                </a:lnTo>
                <a:lnTo>
                  <a:pt x="6312" y="1792"/>
                </a:lnTo>
                <a:lnTo>
                  <a:pt x="6314" y="1792"/>
                </a:lnTo>
                <a:close/>
                <a:moveTo>
                  <a:pt x="6304" y="1772"/>
                </a:moveTo>
                <a:lnTo>
                  <a:pt x="6304" y="1772"/>
                </a:lnTo>
                <a:lnTo>
                  <a:pt x="6300" y="1772"/>
                </a:lnTo>
                <a:lnTo>
                  <a:pt x="6302" y="1774"/>
                </a:lnTo>
                <a:lnTo>
                  <a:pt x="6308" y="1780"/>
                </a:lnTo>
                <a:lnTo>
                  <a:pt x="6310" y="1780"/>
                </a:lnTo>
                <a:lnTo>
                  <a:pt x="6310" y="1778"/>
                </a:lnTo>
                <a:lnTo>
                  <a:pt x="6308" y="1776"/>
                </a:lnTo>
                <a:lnTo>
                  <a:pt x="6304" y="1772"/>
                </a:lnTo>
                <a:close/>
                <a:moveTo>
                  <a:pt x="6046" y="2400"/>
                </a:moveTo>
                <a:lnTo>
                  <a:pt x="6046" y="2400"/>
                </a:lnTo>
                <a:lnTo>
                  <a:pt x="6054" y="2404"/>
                </a:lnTo>
                <a:lnTo>
                  <a:pt x="6060" y="2406"/>
                </a:lnTo>
                <a:lnTo>
                  <a:pt x="6064" y="2402"/>
                </a:lnTo>
                <a:lnTo>
                  <a:pt x="6064" y="2400"/>
                </a:lnTo>
                <a:lnTo>
                  <a:pt x="6060" y="2396"/>
                </a:lnTo>
                <a:lnTo>
                  <a:pt x="6056" y="2396"/>
                </a:lnTo>
                <a:lnTo>
                  <a:pt x="6052" y="2398"/>
                </a:lnTo>
                <a:lnTo>
                  <a:pt x="6046" y="2400"/>
                </a:lnTo>
                <a:close/>
                <a:moveTo>
                  <a:pt x="5812" y="1988"/>
                </a:moveTo>
                <a:lnTo>
                  <a:pt x="5812" y="1988"/>
                </a:lnTo>
                <a:lnTo>
                  <a:pt x="5810" y="1988"/>
                </a:lnTo>
                <a:lnTo>
                  <a:pt x="5808" y="1988"/>
                </a:lnTo>
                <a:lnTo>
                  <a:pt x="5808" y="1996"/>
                </a:lnTo>
                <a:lnTo>
                  <a:pt x="5810" y="2002"/>
                </a:lnTo>
                <a:lnTo>
                  <a:pt x="5810" y="2006"/>
                </a:lnTo>
                <a:lnTo>
                  <a:pt x="5812" y="2006"/>
                </a:lnTo>
                <a:lnTo>
                  <a:pt x="5814" y="2004"/>
                </a:lnTo>
                <a:lnTo>
                  <a:pt x="5814" y="2002"/>
                </a:lnTo>
                <a:lnTo>
                  <a:pt x="5812" y="1998"/>
                </a:lnTo>
                <a:lnTo>
                  <a:pt x="5812" y="1996"/>
                </a:lnTo>
                <a:lnTo>
                  <a:pt x="5816" y="1994"/>
                </a:lnTo>
                <a:lnTo>
                  <a:pt x="5816" y="1992"/>
                </a:lnTo>
                <a:lnTo>
                  <a:pt x="5814" y="1988"/>
                </a:lnTo>
                <a:lnTo>
                  <a:pt x="5812" y="1988"/>
                </a:lnTo>
                <a:close/>
                <a:moveTo>
                  <a:pt x="5874" y="2066"/>
                </a:moveTo>
                <a:lnTo>
                  <a:pt x="5874" y="2066"/>
                </a:lnTo>
                <a:lnTo>
                  <a:pt x="5870" y="2068"/>
                </a:lnTo>
                <a:lnTo>
                  <a:pt x="5866" y="2074"/>
                </a:lnTo>
                <a:lnTo>
                  <a:pt x="5862" y="2080"/>
                </a:lnTo>
                <a:lnTo>
                  <a:pt x="5864" y="2084"/>
                </a:lnTo>
                <a:lnTo>
                  <a:pt x="5864" y="2086"/>
                </a:lnTo>
                <a:lnTo>
                  <a:pt x="5868" y="2084"/>
                </a:lnTo>
                <a:lnTo>
                  <a:pt x="5872" y="2076"/>
                </a:lnTo>
                <a:lnTo>
                  <a:pt x="5876" y="2068"/>
                </a:lnTo>
                <a:lnTo>
                  <a:pt x="5876" y="2066"/>
                </a:lnTo>
                <a:lnTo>
                  <a:pt x="5874" y="2066"/>
                </a:lnTo>
                <a:close/>
                <a:moveTo>
                  <a:pt x="5978" y="1898"/>
                </a:moveTo>
                <a:lnTo>
                  <a:pt x="5978" y="1898"/>
                </a:lnTo>
                <a:lnTo>
                  <a:pt x="5980" y="1898"/>
                </a:lnTo>
                <a:lnTo>
                  <a:pt x="5978" y="1894"/>
                </a:lnTo>
                <a:lnTo>
                  <a:pt x="5974" y="1890"/>
                </a:lnTo>
                <a:lnTo>
                  <a:pt x="5972" y="1888"/>
                </a:lnTo>
                <a:lnTo>
                  <a:pt x="5970" y="1890"/>
                </a:lnTo>
                <a:lnTo>
                  <a:pt x="5972" y="1894"/>
                </a:lnTo>
                <a:lnTo>
                  <a:pt x="5974" y="1898"/>
                </a:lnTo>
                <a:lnTo>
                  <a:pt x="5978" y="1898"/>
                </a:lnTo>
                <a:close/>
                <a:moveTo>
                  <a:pt x="5986" y="1894"/>
                </a:moveTo>
                <a:lnTo>
                  <a:pt x="5986" y="1894"/>
                </a:lnTo>
                <a:lnTo>
                  <a:pt x="5986" y="1896"/>
                </a:lnTo>
                <a:lnTo>
                  <a:pt x="5986" y="1898"/>
                </a:lnTo>
                <a:lnTo>
                  <a:pt x="5986" y="1900"/>
                </a:lnTo>
                <a:lnTo>
                  <a:pt x="5988" y="1900"/>
                </a:lnTo>
                <a:lnTo>
                  <a:pt x="5990" y="1900"/>
                </a:lnTo>
                <a:lnTo>
                  <a:pt x="5990" y="1898"/>
                </a:lnTo>
                <a:lnTo>
                  <a:pt x="5988" y="1896"/>
                </a:lnTo>
                <a:lnTo>
                  <a:pt x="5986" y="1894"/>
                </a:lnTo>
                <a:close/>
                <a:moveTo>
                  <a:pt x="6004" y="1864"/>
                </a:moveTo>
                <a:lnTo>
                  <a:pt x="6004" y="1864"/>
                </a:lnTo>
                <a:lnTo>
                  <a:pt x="6002" y="1864"/>
                </a:lnTo>
                <a:lnTo>
                  <a:pt x="6000" y="1864"/>
                </a:lnTo>
                <a:lnTo>
                  <a:pt x="5998" y="1864"/>
                </a:lnTo>
                <a:lnTo>
                  <a:pt x="5996" y="1868"/>
                </a:lnTo>
                <a:lnTo>
                  <a:pt x="5996" y="1870"/>
                </a:lnTo>
                <a:lnTo>
                  <a:pt x="5998" y="1870"/>
                </a:lnTo>
                <a:lnTo>
                  <a:pt x="6002" y="1868"/>
                </a:lnTo>
                <a:lnTo>
                  <a:pt x="6004" y="1868"/>
                </a:lnTo>
                <a:lnTo>
                  <a:pt x="6006" y="1866"/>
                </a:lnTo>
                <a:lnTo>
                  <a:pt x="6006" y="1864"/>
                </a:lnTo>
                <a:lnTo>
                  <a:pt x="6004" y="1864"/>
                </a:lnTo>
                <a:close/>
                <a:moveTo>
                  <a:pt x="5996" y="1876"/>
                </a:moveTo>
                <a:lnTo>
                  <a:pt x="5996" y="1876"/>
                </a:lnTo>
                <a:lnTo>
                  <a:pt x="5998" y="1878"/>
                </a:lnTo>
                <a:lnTo>
                  <a:pt x="6002" y="1878"/>
                </a:lnTo>
                <a:lnTo>
                  <a:pt x="6000" y="1874"/>
                </a:lnTo>
                <a:lnTo>
                  <a:pt x="5998" y="1874"/>
                </a:lnTo>
                <a:lnTo>
                  <a:pt x="5996" y="1876"/>
                </a:lnTo>
                <a:close/>
                <a:moveTo>
                  <a:pt x="5990" y="1868"/>
                </a:moveTo>
                <a:lnTo>
                  <a:pt x="5990" y="1868"/>
                </a:lnTo>
                <a:lnTo>
                  <a:pt x="5990" y="1862"/>
                </a:lnTo>
                <a:lnTo>
                  <a:pt x="5988" y="1860"/>
                </a:lnTo>
                <a:lnTo>
                  <a:pt x="5984" y="1860"/>
                </a:lnTo>
                <a:lnTo>
                  <a:pt x="5984" y="1862"/>
                </a:lnTo>
                <a:lnTo>
                  <a:pt x="5986" y="1866"/>
                </a:lnTo>
                <a:lnTo>
                  <a:pt x="5990" y="1868"/>
                </a:lnTo>
                <a:close/>
                <a:moveTo>
                  <a:pt x="6040" y="1804"/>
                </a:moveTo>
                <a:lnTo>
                  <a:pt x="6040" y="1804"/>
                </a:lnTo>
                <a:lnTo>
                  <a:pt x="6040" y="1806"/>
                </a:lnTo>
                <a:lnTo>
                  <a:pt x="6042" y="1806"/>
                </a:lnTo>
                <a:lnTo>
                  <a:pt x="6044" y="1806"/>
                </a:lnTo>
                <a:lnTo>
                  <a:pt x="6046" y="1808"/>
                </a:lnTo>
                <a:lnTo>
                  <a:pt x="6048" y="1810"/>
                </a:lnTo>
                <a:lnTo>
                  <a:pt x="6050" y="1808"/>
                </a:lnTo>
                <a:lnTo>
                  <a:pt x="6052" y="1806"/>
                </a:lnTo>
                <a:lnTo>
                  <a:pt x="6054" y="1808"/>
                </a:lnTo>
                <a:lnTo>
                  <a:pt x="6056" y="1808"/>
                </a:lnTo>
                <a:lnTo>
                  <a:pt x="6056" y="1812"/>
                </a:lnTo>
                <a:lnTo>
                  <a:pt x="6054" y="1816"/>
                </a:lnTo>
                <a:lnTo>
                  <a:pt x="6052" y="1824"/>
                </a:lnTo>
                <a:lnTo>
                  <a:pt x="6052" y="1826"/>
                </a:lnTo>
                <a:lnTo>
                  <a:pt x="6054" y="1828"/>
                </a:lnTo>
                <a:lnTo>
                  <a:pt x="6056" y="1830"/>
                </a:lnTo>
                <a:lnTo>
                  <a:pt x="6056" y="1826"/>
                </a:lnTo>
                <a:lnTo>
                  <a:pt x="6058" y="1818"/>
                </a:lnTo>
                <a:lnTo>
                  <a:pt x="6060" y="1814"/>
                </a:lnTo>
                <a:lnTo>
                  <a:pt x="6060" y="1806"/>
                </a:lnTo>
                <a:lnTo>
                  <a:pt x="6058" y="1804"/>
                </a:lnTo>
                <a:lnTo>
                  <a:pt x="6060" y="1802"/>
                </a:lnTo>
                <a:lnTo>
                  <a:pt x="6064" y="1792"/>
                </a:lnTo>
                <a:lnTo>
                  <a:pt x="6064" y="1790"/>
                </a:lnTo>
                <a:lnTo>
                  <a:pt x="6062" y="1790"/>
                </a:lnTo>
                <a:lnTo>
                  <a:pt x="6060" y="1792"/>
                </a:lnTo>
                <a:lnTo>
                  <a:pt x="6060" y="1790"/>
                </a:lnTo>
                <a:lnTo>
                  <a:pt x="6058" y="1788"/>
                </a:lnTo>
                <a:lnTo>
                  <a:pt x="6058" y="1786"/>
                </a:lnTo>
                <a:lnTo>
                  <a:pt x="6056" y="1790"/>
                </a:lnTo>
                <a:lnTo>
                  <a:pt x="6054" y="1790"/>
                </a:lnTo>
                <a:lnTo>
                  <a:pt x="6054" y="1788"/>
                </a:lnTo>
                <a:lnTo>
                  <a:pt x="6054" y="1780"/>
                </a:lnTo>
                <a:lnTo>
                  <a:pt x="6054" y="1778"/>
                </a:lnTo>
                <a:lnTo>
                  <a:pt x="6052" y="1778"/>
                </a:lnTo>
                <a:lnTo>
                  <a:pt x="6048" y="1780"/>
                </a:lnTo>
                <a:lnTo>
                  <a:pt x="6042" y="1786"/>
                </a:lnTo>
                <a:lnTo>
                  <a:pt x="6042" y="1788"/>
                </a:lnTo>
                <a:lnTo>
                  <a:pt x="6050" y="1792"/>
                </a:lnTo>
                <a:lnTo>
                  <a:pt x="6052" y="1794"/>
                </a:lnTo>
                <a:lnTo>
                  <a:pt x="6052" y="1796"/>
                </a:lnTo>
                <a:lnTo>
                  <a:pt x="6050" y="1798"/>
                </a:lnTo>
                <a:lnTo>
                  <a:pt x="6046" y="1800"/>
                </a:lnTo>
                <a:lnTo>
                  <a:pt x="6042" y="1800"/>
                </a:lnTo>
                <a:lnTo>
                  <a:pt x="6040" y="1802"/>
                </a:lnTo>
                <a:lnTo>
                  <a:pt x="6040" y="1804"/>
                </a:lnTo>
                <a:close/>
                <a:moveTo>
                  <a:pt x="6064" y="1778"/>
                </a:moveTo>
                <a:lnTo>
                  <a:pt x="6064" y="1778"/>
                </a:lnTo>
                <a:lnTo>
                  <a:pt x="6066" y="1776"/>
                </a:lnTo>
                <a:lnTo>
                  <a:pt x="6066" y="1774"/>
                </a:lnTo>
                <a:lnTo>
                  <a:pt x="6066" y="1772"/>
                </a:lnTo>
                <a:lnTo>
                  <a:pt x="6064" y="1770"/>
                </a:lnTo>
                <a:lnTo>
                  <a:pt x="6062" y="1772"/>
                </a:lnTo>
                <a:lnTo>
                  <a:pt x="6060" y="1776"/>
                </a:lnTo>
                <a:lnTo>
                  <a:pt x="6058" y="1780"/>
                </a:lnTo>
                <a:lnTo>
                  <a:pt x="6060" y="1784"/>
                </a:lnTo>
                <a:lnTo>
                  <a:pt x="6062" y="1786"/>
                </a:lnTo>
                <a:lnTo>
                  <a:pt x="6062" y="1784"/>
                </a:lnTo>
                <a:lnTo>
                  <a:pt x="6064" y="1780"/>
                </a:lnTo>
                <a:lnTo>
                  <a:pt x="6064" y="1778"/>
                </a:lnTo>
                <a:close/>
                <a:moveTo>
                  <a:pt x="6072" y="1764"/>
                </a:moveTo>
                <a:lnTo>
                  <a:pt x="6072" y="1764"/>
                </a:lnTo>
                <a:lnTo>
                  <a:pt x="6070" y="1764"/>
                </a:lnTo>
                <a:lnTo>
                  <a:pt x="6068" y="1768"/>
                </a:lnTo>
                <a:lnTo>
                  <a:pt x="6068" y="1770"/>
                </a:lnTo>
                <a:lnTo>
                  <a:pt x="6070" y="1772"/>
                </a:lnTo>
                <a:lnTo>
                  <a:pt x="6072" y="1772"/>
                </a:lnTo>
                <a:lnTo>
                  <a:pt x="6074" y="1768"/>
                </a:lnTo>
                <a:lnTo>
                  <a:pt x="6074" y="1766"/>
                </a:lnTo>
                <a:lnTo>
                  <a:pt x="6072" y="1764"/>
                </a:lnTo>
                <a:close/>
                <a:moveTo>
                  <a:pt x="5808" y="1678"/>
                </a:moveTo>
                <a:lnTo>
                  <a:pt x="5808" y="1678"/>
                </a:lnTo>
                <a:lnTo>
                  <a:pt x="5808" y="1680"/>
                </a:lnTo>
                <a:lnTo>
                  <a:pt x="5816" y="1686"/>
                </a:lnTo>
                <a:lnTo>
                  <a:pt x="5820" y="1686"/>
                </a:lnTo>
                <a:lnTo>
                  <a:pt x="5822" y="1686"/>
                </a:lnTo>
                <a:lnTo>
                  <a:pt x="5822" y="1684"/>
                </a:lnTo>
                <a:lnTo>
                  <a:pt x="5820" y="1680"/>
                </a:lnTo>
                <a:lnTo>
                  <a:pt x="5816" y="1676"/>
                </a:lnTo>
                <a:lnTo>
                  <a:pt x="5814" y="1676"/>
                </a:lnTo>
                <a:lnTo>
                  <a:pt x="5808" y="1678"/>
                </a:lnTo>
                <a:close/>
                <a:moveTo>
                  <a:pt x="5838" y="1702"/>
                </a:moveTo>
                <a:lnTo>
                  <a:pt x="5838" y="1702"/>
                </a:lnTo>
                <a:lnTo>
                  <a:pt x="5842" y="1704"/>
                </a:lnTo>
                <a:lnTo>
                  <a:pt x="5844" y="1702"/>
                </a:lnTo>
                <a:lnTo>
                  <a:pt x="5842" y="1700"/>
                </a:lnTo>
                <a:lnTo>
                  <a:pt x="5838" y="1696"/>
                </a:lnTo>
                <a:lnTo>
                  <a:pt x="5834" y="1694"/>
                </a:lnTo>
                <a:lnTo>
                  <a:pt x="5832" y="1694"/>
                </a:lnTo>
                <a:lnTo>
                  <a:pt x="5832" y="1696"/>
                </a:lnTo>
                <a:lnTo>
                  <a:pt x="5834" y="1700"/>
                </a:lnTo>
                <a:lnTo>
                  <a:pt x="5838" y="1702"/>
                </a:lnTo>
                <a:close/>
                <a:moveTo>
                  <a:pt x="5830" y="1712"/>
                </a:moveTo>
                <a:lnTo>
                  <a:pt x="5830" y="1712"/>
                </a:lnTo>
                <a:lnTo>
                  <a:pt x="5830" y="1716"/>
                </a:lnTo>
                <a:lnTo>
                  <a:pt x="5830" y="1718"/>
                </a:lnTo>
                <a:lnTo>
                  <a:pt x="5836" y="1728"/>
                </a:lnTo>
                <a:lnTo>
                  <a:pt x="5840" y="1730"/>
                </a:lnTo>
                <a:lnTo>
                  <a:pt x="5842" y="1730"/>
                </a:lnTo>
                <a:lnTo>
                  <a:pt x="5842" y="1728"/>
                </a:lnTo>
                <a:lnTo>
                  <a:pt x="5840" y="1726"/>
                </a:lnTo>
                <a:lnTo>
                  <a:pt x="5840" y="1722"/>
                </a:lnTo>
                <a:lnTo>
                  <a:pt x="5838" y="1718"/>
                </a:lnTo>
                <a:lnTo>
                  <a:pt x="5836" y="1716"/>
                </a:lnTo>
                <a:lnTo>
                  <a:pt x="5832" y="1714"/>
                </a:lnTo>
                <a:lnTo>
                  <a:pt x="5832" y="1712"/>
                </a:lnTo>
                <a:lnTo>
                  <a:pt x="5830" y="1712"/>
                </a:lnTo>
                <a:close/>
                <a:moveTo>
                  <a:pt x="5818" y="1668"/>
                </a:moveTo>
                <a:lnTo>
                  <a:pt x="5818" y="1668"/>
                </a:lnTo>
                <a:lnTo>
                  <a:pt x="5820" y="1670"/>
                </a:lnTo>
                <a:lnTo>
                  <a:pt x="5818" y="1672"/>
                </a:lnTo>
                <a:lnTo>
                  <a:pt x="5818" y="1674"/>
                </a:lnTo>
                <a:lnTo>
                  <a:pt x="5822" y="1678"/>
                </a:lnTo>
                <a:lnTo>
                  <a:pt x="5824" y="1678"/>
                </a:lnTo>
                <a:lnTo>
                  <a:pt x="5826" y="1678"/>
                </a:lnTo>
                <a:lnTo>
                  <a:pt x="5828" y="1682"/>
                </a:lnTo>
                <a:lnTo>
                  <a:pt x="5834" y="1688"/>
                </a:lnTo>
                <a:lnTo>
                  <a:pt x="5838" y="1692"/>
                </a:lnTo>
                <a:lnTo>
                  <a:pt x="5840" y="1692"/>
                </a:lnTo>
                <a:lnTo>
                  <a:pt x="5838" y="1688"/>
                </a:lnTo>
                <a:lnTo>
                  <a:pt x="5836" y="1682"/>
                </a:lnTo>
                <a:lnTo>
                  <a:pt x="5832" y="1676"/>
                </a:lnTo>
                <a:lnTo>
                  <a:pt x="5830" y="1676"/>
                </a:lnTo>
                <a:lnTo>
                  <a:pt x="5828" y="1674"/>
                </a:lnTo>
                <a:lnTo>
                  <a:pt x="5826" y="1672"/>
                </a:lnTo>
                <a:lnTo>
                  <a:pt x="5824" y="1668"/>
                </a:lnTo>
                <a:lnTo>
                  <a:pt x="5820" y="1666"/>
                </a:lnTo>
                <a:lnTo>
                  <a:pt x="5818" y="1666"/>
                </a:lnTo>
                <a:lnTo>
                  <a:pt x="5818" y="1668"/>
                </a:lnTo>
                <a:close/>
                <a:moveTo>
                  <a:pt x="5830" y="1664"/>
                </a:moveTo>
                <a:lnTo>
                  <a:pt x="5830" y="1664"/>
                </a:lnTo>
                <a:lnTo>
                  <a:pt x="5826" y="1664"/>
                </a:lnTo>
                <a:lnTo>
                  <a:pt x="5828" y="1668"/>
                </a:lnTo>
                <a:lnTo>
                  <a:pt x="5832" y="1674"/>
                </a:lnTo>
                <a:lnTo>
                  <a:pt x="5838" y="1680"/>
                </a:lnTo>
                <a:lnTo>
                  <a:pt x="5842" y="1682"/>
                </a:lnTo>
                <a:lnTo>
                  <a:pt x="5844" y="1680"/>
                </a:lnTo>
                <a:lnTo>
                  <a:pt x="5846" y="1678"/>
                </a:lnTo>
                <a:lnTo>
                  <a:pt x="5844" y="1676"/>
                </a:lnTo>
                <a:lnTo>
                  <a:pt x="5842" y="1676"/>
                </a:lnTo>
                <a:lnTo>
                  <a:pt x="5844" y="1674"/>
                </a:lnTo>
                <a:lnTo>
                  <a:pt x="5842" y="1672"/>
                </a:lnTo>
                <a:lnTo>
                  <a:pt x="5840" y="1672"/>
                </a:lnTo>
                <a:lnTo>
                  <a:pt x="5838" y="1670"/>
                </a:lnTo>
                <a:lnTo>
                  <a:pt x="5838" y="1668"/>
                </a:lnTo>
                <a:lnTo>
                  <a:pt x="5836" y="1668"/>
                </a:lnTo>
                <a:lnTo>
                  <a:pt x="5834" y="1666"/>
                </a:lnTo>
                <a:lnTo>
                  <a:pt x="5832" y="1664"/>
                </a:lnTo>
                <a:lnTo>
                  <a:pt x="5830" y="1664"/>
                </a:lnTo>
                <a:close/>
                <a:moveTo>
                  <a:pt x="5848" y="1674"/>
                </a:moveTo>
                <a:lnTo>
                  <a:pt x="5848" y="1676"/>
                </a:lnTo>
                <a:lnTo>
                  <a:pt x="5850" y="1674"/>
                </a:lnTo>
                <a:lnTo>
                  <a:pt x="5852" y="1674"/>
                </a:lnTo>
                <a:lnTo>
                  <a:pt x="5854" y="1674"/>
                </a:lnTo>
                <a:lnTo>
                  <a:pt x="5856" y="1672"/>
                </a:lnTo>
                <a:lnTo>
                  <a:pt x="5856" y="1670"/>
                </a:lnTo>
                <a:lnTo>
                  <a:pt x="5852" y="1668"/>
                </a:lnTo>
                <a:lnTo>
                  <a:pt x="5848" y="1664"/>
                </a:lnTo>
                <a:lnTo>
                  <a:pt x="5848" y="1666"/>
                </a:lnTo>
                <a:lnTo>
                  <a:pt x="5848" y="1668"/>
                </a:lnTo>
                <a:lnTo>
                  <a:pt x="5848" y="1670"/>
                </a:lnTo>
                <a:lnTo>
                  <a:pt x="5848" y="1672"/>
                </a:lnTo>
                <a:lnTo>
                  <a:pt x="5848" y="1674"/>
                </a:lnTo>
                <a:close/>
                <a:moveTo>
                  <a:pt x="5844" y="1662"/>
                </a:moveTo>
                <a:lnTo>
                  <a:pt x="5844" y="1662"/>
                </a:lnTo>
                <a:lnTo>
                  <a:pt x="5844" y="1666"/>
                </a:lnTo>
                <a:lnTo>
                  <a:pt x="5844" y="1668"/>
                </a:lnTo>
                <a:lnTo>
                  <a:pt x="5846" y="1670"/>
                </a:lnTo>
                <a:lnTo>
                  <a:pt x="5846" y="1664"/>
                </a:lnTo>
                <a:lnTo>
                  <a:pt x="5844" y="1662"/>
                </a:lnTo>
                <a:close/>
                <a:moveTo>
                  <a:pt x="5858" y="1670"/>
                </a:moveTo>
                <a:lnTo>
                  <a:pt x="5858" y="1670"/>
                </a:lnTo>
                <a:lnTo>
                  <a:pt x="5860" y="1668"/>
                </a:lnTo>
                <a:lnTo>
                  <a:pt x="5860" y="1666"/>
                </a:lnTo>
                <a:lnTo>
                  <a:pt x="5858" y="1666"/>
                </a:lnTo>
                <a:lnTo>
                  <a:pt x="5858" y="1668"/>
                </a:lnTo>
                <a:lnTo>
                  <a:pt x="5858" y="1670"/>
                </a:lnTo>
                <a:close/>
                <a:moveTo>
                  <a:pt x="6210" y="3036"/>
                </a:moveTo>
                <a:lnTo>
                  <a:pt x="6210" y="3036"/>
                </a:lnTo>
                <a:lnTo>
                  <a:pt x="6214" y="3034"/>
                </a:lnTo>
                <a:lnTo>
                  <a:pt x="6218" y="3038"/>
                </a:lnTo>
                <a:lnTo>
                  <a:pt x="6220" y="3042"/>
                </a:lnTo>
                <a:lnTo>
                  <a:pt x="6226" y="3048"/>
                </a:lnTo>
                <a:lnTo>
                  <a:pt x="6230" y="3050"/>
                </a:lnTo>
                <a:lnTo>
                  <a:pt x="6232" y="3048"/>
                </a:lnTo>
                <a:lnTo>
                  <a:pt x="6238" y="3044"/>
                </a:lnTo>
                <a:lnTo>
                  <a:pt x="6246" y="3026"/>
                </a:lnTo>
                <a:lnTo>
                  <a:pt x="6248" y="3022"/>
                </a:lnTo>
                <a:lnTo>
                  <a:pt x="6242" y="3022"/>
                </a:lnTo>
                <a:lnTo>
                  <a:pt x="6238" y="3022"/>
                </a:lnTo>
                <a:lnTo>
                  <a:pt x="6234" y="3020"/>
                </a:lnTo>
                <a:lnTo>
                  <a:pt x="6234" y="3018"/>
                </a:lnTo>
                <a:lnTo>
                  <a:pt x="6232" y="3014"/>
                </a:lnTo>
                <a:lnTo>
                  <a:pt x="6228" y="3014"/>
                </a:lnTo>
                <a:lnTo>
                  <a:pt x="6222" y="3016"/>
                </a:lnTo>
                <a:lnTo>
                  <a:pt x="6216" y="3020"/>
                </a:lnTo>
                <a:lnTo>
                  <a:pt x="6206" y="3028"/>
                </a:lnTo>
                <a:lnTo>
                  <a:pt x="6202" y="3032"/>
                </a:lnTo>
                <a:lnTo>
                  <a:pt x="6204" y="3036"/>
                </a:lnTo>
                <a:lnTo>
                  <a:pt x="6204" y="3038"/>
                </a:lnTo>
                <a:lnTo>
                  <a:pt x="6210" y="3036"/>
                </a:lnTo>
                <a:close/>
                <a:moveTo>
                  <a:pt x="6272" y="3016"/>
                </a:moveTo>
                <a:lnTo>
                  <a:pt x="6272" y="3016"/>
                </a:lnTo>
                <a:lnTo>
                  <a:pt x="6278" y="3018"/>
                </a:lnTo>
                <a:lnTo>
                  <a:pt x="6280" y="3018"/>
                </a:lnTo>
                <a:lnTo>
                  <a:pt x="6280" y="3014"/>
                </a:lnTo>
                <a:lnTo>
                  <a:pt x="6278" y="3010"/>
                </a:lnTo>
                <a:lnTo>
                  <a:pt x="6278" y="3006"/>
                </a:lnTo>
                <a:lnTo>
                  <a:pt x="6276" y="3006"/>
                </a:lnTo>
                <a:lnTo>
                  <a:pt x="6268" y="3004"/>
                </a:lnTo>
                <a:lnTo>
                  <a:pt x="6262" y="3006"/>
                </a:lnTo>
                <a:lnTo>
                  <a:pt x="6260" y="3008"/>
                </a:lnTo>
                <a:lnTo>
                  <a:pt x="6260" y="3010"/>
                </a:lnTo>
                <a:lnTo>
                  <a:pt x="6262" y="3012"/>
                </a:lnTo>
                <a:lnTo>
                  <a:pt x="6264" y="3014"/>
                </a:lnTo>
                <a:lnTo>
                  <a:pt x="6268" y="3014"/>
                </a:lnTo>
                <a:lnTo>
                  <a:pt x="6272" y="3016"/>
                </a:lnTo>
                <a:close/>
                <a:moveTo>
                  <a:pt x="6168" y="3058"/>
                </a:moveTo>
                <a:lnTo>
                  <a:pt x="6168" y="3058"/>
                </a:lnTo>
                <a:lnTo>
                  <a:pt x="6166" y="3056"/>
                </a:lnTo>
                <a:lnTo>
                  <a:pt x="6164" y="3058"/>
                </a:lnTo>
                <a:lnTo>
                  <a:pt x="6158" y="3062"/>
                </a:lnTo>
                <a:lnTo>
                  <a:pt x="6154" y="3068"/>
                </a:lnTo>
                <a:lnTo>
                  <a:pt x="6154" y="3070"/>
                </a:lnTo>
                <a:lnTo>
                  <a:pt x="6156" y="3072"/>
                </a:lnTo>
                <a:lnTo>
                  <a:pt x="6158" y="3074"/>
                </a:lnTo>
                <a:lnTo>
                  <a:pt x="6160" y="3072"/>
                </a:lnTo>
                <a:lnTo>
                  <a:pt x="6166" y="3068"/>
                </a:lnTo>
                <a:lnTo>
                  <a:pt x="6170" y="3064"/>
                </a:lnTo>
                <a:lnTo>
                  <a:pt x="6170" y="3060"/>
                </a:lnTo>
                <a:lnTo>
                  <a:pt x="6168" y="3058"/>
                </a:lnTo>
                <a:close/>
                <a:moveTo>
                  <a:pt x="11926" y="5416"/>
                </a:moveTo>
                <a:lnTo>
                  <a:pt x="11926" y="5416"/>
                </a:lnTo>
                <a:lnTo>
                  <a:pt x="11940" y="5412"/>
                </a:lnTo>
                <a:lnTo>
                  <a:pt x="11942" y="5414"/>
                </a:lnTo>
                <a:lnTo>
                  <a:pt x="11942" y="5416"/>
                </a:lnTo>
                <a:lnTo>
                  <a:pt x="11944" y="5418"/>
                </a:lnTo>
                <a:lnTo>
                  <a:pt x="11948" y="5420"/>
                </a:lnTo>
                <a:lnTo>
                  <a:pt x="11954" y="5424"/>
                </a:lnTo>
                <a:lnTo>
                  <a:pt x="11966" y="5426"/>
                </a:lnTo>
                <a:lnTo>
                  <a:pt x="11978" y="5428"/>
                </a:lnTo>
                <a:lnTo>
                  <a:pt x="11988" y="5432"/>
                </a:lnTo>
                <a:lnTo>
                  <a:pt x="11994" y="5438"/>
                </a:lnTo>
                <a:lnTo>
                  <a:pt x="12000" y="5446"/>
                </a:lnTo>
                <a:lnTo>
                  <a:pt x="12010" y="5464"/>
                </a:lnTo>
                <a:lnTo>
                  <a:pt x="12018" y="5476"/>
                </a:lnTo>
                <a:lnTo>
                  <a:pt x="12028" y="5490"/>
                </a:lnTo>
                <a:lnTo>
                  <a:pt x="12044" y="5512"/>
                </a:lnTo>
                <a:lnTo>
                  <a:pt x="12050" y="5520"/>
                </a:lnTo>
                <a:lnTo>
                  <a:pt x="12056" y="5524"/>
                </a:lnTo>
                <a:lnTo>
                  <a:pt x="12062" y="5528"/>
                </a:lnTo>
                <a:lnTo>
                  <a:pt x="12072" y="5532"/>
                </a:lnTo>
                <a:lnTo>
                  <a:pt x="12102" y="5538"/>
                </a:lnTo>
                <a:lnTo>
                  <a:pt x="12120" y="5542"/>
                </a:lnTo>
                <a:lnTo>
                  <a:pt x="12132" y="5546"/>
                </a:lnTo>
                <a:lnTo>
                  <a:pt x="12140" y="5548"/>
                </a:lnTo>
                <a:lnTo>
                  <a:pt x="12146" y="5552"/>
                </a:lnTo>
                <a:lnTo>
                  <a:pt x="12154" y="5558"/>
                </a:lnTo>
                <a:lnTo>
                  <a:pt x="12158" y="5560"/>
                </a:lnTo>
                <a:lnTo>
                  <a:pt x="12164" y="5560"/>
                </a:lnTo>
                <a:lnTo>
                  <a:pt x="12170" y="5558"/>
                </a:lnTo>
                <a:lnTo>
                  <a:pt x="12176" y="5556"/>
                </a:lnTo>
                <a:lnTo>
                  <a:pt x="12182" y="5554"/>
                </a:lnTo>
                <a:lnTo>
                  <a:pt x="12184" y="5550"/>
                </a:lnTo>
                <a:lnTo>
                  <a:pt x="12186" y="5546"/>
                </a:lnTo>
                <a:lnTo>
                  <a:pt x="12182" y="5540"/>
                </a:lnTo>
                <a:lnTo>
                  <a:pt x="12178" y="5536"/>
                </a:lnTo>
                <a:lnTo>
                  <a:pt x="12168" y="5534"/>
                </a:lnTo>
                <a:lnTo>
                  <a:pt x="12152" y="5528"/>
                </a:lnTo>
                <a:lnTo>
                  <a:pt x="12144" y="5524"/>
                </a:lnTo>
                <a:lnTo>
                  <a:pt x="12142" y="5522"/>
                </a:lnTo>
                <a:lnTo>
                  <a:pt x="12142" y="5520"/>
                </a:lnTo>
                <a:lnTo>
                  <a:pt x="12146" y="5516"/>
                </a:lnTo>
                <a:lnTo>
                  <a:pt x="12148" y="5512"/>
                </a:lnTo>
                <a:lnTo>
                  <a:pt x="12150" y="5508"/>
                </a:lnTo>
                <a:lnTo>
                  <a:pt x="12146" y="5506"/>
                </a:lnTo>
                <a:lnTo>
                  <a:pt x="12134" y="5504"/>
                </a:lnTo>
                <a:lnTo>
                  <a:pt x="12124" y="5502"/>
                </a:lnTo>
                <a:lnTo>
                  <a:pt x="12120" y="5500"/>
                </a:lnTo>
                <a:lnTo>
                  <a:pt x="12120" y="5498"/>
                </a:lnTo>
                <a:lnTo>
                  <a:pt x="12120" y="5492"/>
                </a:lnTo>
                <a:lnTo>
                  <a:pt x="12122" y="5486"/>
                </a:lnTo>
                <a:lnTo>
                  <a:pt x="12124" y="5482"/>
                </a:lnTo>
                <a:lnTo>
                  <a:pt x="12124" y="5478"/>
                </a:lnTo>
                <a:lnTo>
                  <a:pt x="12118" y="5476"/>
                </a:lnTo>
                <a:lnTo>
                  <a:pt x="12108" y="5478"/>
                </a:lnTo>
                <a:lnTo>
                  <a:pt x="12102" y="5478"/>
                </a:lnTo>
                <a:lnTo>
                  <a:pt x="12098" y="5478"/>
                </a:lnTo>
                <a:lnTo>
                  <a:pt x="12092" y="5474"/>
                </a:lnTo>
                <a:lnTo>
                  <a:pt x="12086" y="5468"/>
                </a:lnTo>
                <a:lnTo>
                  <a:pt x="12084" y="5458"/>
                </a:lnTo>
                <a:lnTo>
                  <a:pt x="12078" y="5440"/>
                </a:lnTo>
                <a:lnTo>
                  <a:pt x="12074" y="5432"/>
                </a:lnTo>
                <a:lnTo>
                  <a:pt x="12070" y="5428"/>
                </a:lnTo>
                <a:lnTo>
                  <a:pt x="12064" y="5424"/>
                </a:lnTo>
                <a:lnTo>
                  <a:pt x="12058" y="5418"/>
                </a:lnTo>
                <a:lnTo>
                  <a:pt x="12040" y="5398"/>
                </a:lnTo>
                <a:lnTo>
                  <a:pt x="12034" y="5390"/>
                </a:lnTo>
                <a:lnTo>
                  <a:pt x="12028" y="5380"/>
                </a:lnTo>
                <a:lnTo>
                  <a:pt x="12026" y="5374"/>
                </a:lnTo>
                <a:lnTo>
                  <a:pt x="12026" y="5370"/>
                </a:lnTo>
                <a:lnTo>
                  <a:pt x="12028" y="5368"/>
                </a:lnTo>
                <a:lnTo>
                  <a:pt x="12032" y="5366"/>
                </a:lnTo>
                <a:lnTo>
                  <a:pt x="12036" y="5366"/>
                </a:lnTo>
                <a:lnTo>
                  <a:pt x="12048" y="5366"/>
                </a:lnTo>
                <a:lnTo>
                  <a:pt x="12058" y="5366"/>
                </a:lnTo>
                <a:lnTo>
                  <a:pt x="12062" y="5366"/>
                </a:lnTo>
                <a:lnTo>
                  <a:pt x="12064" y="5362"/>
                </a:lnTo>
                <a:lnTo>
                  <a:pt x="12066" y="5358"/>
                </a:lnTo>
                <a:lnTo>
                  <a:pt x="12066" y="5354"/>
                </a:lnTo>
                <a:lnTo>
                  <a:pt x="12060" y="5342"/>
                </a:lnTo>
                <a:lnTo>
                  <a:pt x="12056" y="5336"/>
                </a:lnTo>
                <a:lnTo>
                  <a:pt x="12050" y="5332"/>
                </a:lnTo>
                <a:lnTo>
                  <a:pt x="12046" y="5328"/>
                </a:lnTo>
                <a:lnTo>
                  <a:pt x="12040" y="5328"/>
                </a:lnTo>
                <a:lnTo>
                  <a:pt x="12034" y="5330"/>
                </a:lnTo>
                <a:lnTo>
                  <a:pt x="12030" y="5328"/>
                </a:lnTo>
                <a:lnTo>
                  <a:pt x="12024" y="5324"/>
                </a:lnTo>
                <a:lnTo>
                  <a:pt x="12016" y="5316"/>
                </a:lnTo>
                <a:lnTo>
                  <a:pt x="12008" y="5312"/>
                </a:lnTo>
                <a:lnTo>
                  <a:pt x="11998" y="5308"/>
                </a:lnTo>
                <a:lnTo>
                  <a:pt x="11984" y="5304"/>
                </a:lnTo>
                <a:lnTo>
                  <a:pt x="11980" y="5302"/>
                </a:lnTo>
                <a:lnTo>
                  <a:pt x="11978" y="5300"/>
                </a:lnTo>
                <a:lnTo>
                  <a:pt x="11980" y="5294"/>
                </a:lnTo>
                <a:lnTo>
                  <a:pt x="11984" y="5286"/>
                </a:lnTo>
                <a:lnTo>
                  <a:pt x="11982" y="5278"/>
                </a:lnTo>
                <a:lnTo>
                  <a:pt x="11978" y="5270"/>
                </a:lnTo>
                <a:lnTo>
                  <a:pt x="11970" y="5258"/>
                </a:lnTo>
                <a:lnTo>
                  <a:pt x="11958" y="5248"/>
                </a:lnTo>
                <a:lnTo>
                  <a:pt x="11948" y="5240"/>
                </a:lnTo>
                <a:lnTo>
                  <a:pt x="11936" y="5232"/>
                </a:lnTo>
                <a:lnTo>
                  <a:pt x="11926" y="5226"/>
                </a:lnTo>
                <a:lnTo>
                  <a:pt x="11918" y="5226"/>
                </a:lnTo>
                <a:lnTo>
                  <a:pt x="11914" y="5224"/>
                </a:lnTo>
                <a:lnTo>
                  <a:pt x="11908" y="5222"/>
                </a:lnTo>
                <a:lnTo>
                  <a:pt x="11902" y="5216"/>
                </a:lnTo>
                <a:lnTo>
                  <a:pt x="11892" y="5208"/>
                </a:lnTo>
                <a:lnTo>
                  <a:pt x="11884" y="5204"/>
                </a:lnTo>
                <a:lnTo>
                  <a:pt x="11874" y="5202"/>
                </a:lnTo>
                <a:lnTo>
                  <a:pt x="11860" y="5198"/>
                </a:lnTo>
                <a:lnTo>
                  <a:pt x="11844" y="5190"/>
                </a:lnTo>
                <a:lnTo>
                  <a:pt x="11810" y="5174"/>
                </a:lnTo>
                <a:lnTo>
                  <a:pt x="11776" y="5160"/>
                </a:lnTo>
                <a:lnTo>
                  <a:pt x="11762" y="5156"/>
                </a:lnTo>
                <a:lnTo>
                  <a:pt x="11750" y="5154"/>
                </a:lnTo>
                <a:lnTo>
                  <a:pt x="11752" y="5444"/>
                </a:lnTo>
                <a:lnTo>
                  <a:pt x="11764" y="5454"/>
                </a:lnTo>
                <a:lnTo>
                  <a:pt x="11774" y="5466"/>
                </a:lnTo>
                <a:lnTo>
                  <a:pt x="11788" y="5486"/>
                </a:lnTo>
                <a:lnTo>
                  <a:pt x="11792" y="5488"/>
                </a:lnTo>
                <a:lnTo>
                  <a:pt x="11798" y="5488"/>
                </a:lnTo>
                <a:lnTo>
                  <a:pt x="11812" y="5488"/>
                </a:lnTo>
                <a:lnTo>
                  <a:pt x="11828" y="5488"/>
                </a:lnTo>
                <a:lnTo>
                  <a:pt x="11836" y="5488"/>
                </a:lnTo>
                <a:lnTo>
                  <a:pt x="11844" y="5492"/>
                </a:lnTo>
                <a:lnTo>
                  <a:pt x="11850" y="5494"/>
                </a:lnTo>
                <a:lnTo>
                  <a:pt x="11856" y="5494"/>
                </a:lnTo>
                <a:lnTo>
                  <a:pt x="11860" y="5492"/>
                </a:lnTo>
                <a:lnTo>
                  <a:pt x="11866" y="5488"/>
                </a:lnTo>
                <a:lnTo>
                  <a:pt x="11874" y="5482"/>
                </a:lnTo>
                <a:lnTo>
                  <a:pt x="11878" y="5480"/>
                </a:lnTo>
                <a:lnTo>
                  <a:pt x="11882" y="5480"/>
                </a:lnTo>
                <a:lnTo>
                  <a:pt x="11886" y="5478"/>
                </a:lnTo>
                <a:lnTo>
                  <a:pt x="11888" y="5476"/>
                </a:lnTo>
                <a:lnTo>
                  <a:pt x="11890" y="5472"/>
                </a:lnTo>
                <a:lnTo>
                  <a:pt x="11888" y="5468"/>
                </a:lnTo>
                <a:lnTo>
                  <a:pt x="11884" y="5460"/>
                </a:lnTo>
                <a:lnTo>
                  <a:pt x="11876" y="5452"/>
                </a:lnTo>
                <a:lnTo>
                  <a:pt x="11870" y="5448"/>
                </a:lnTo>
                <a:lnTo>
                  <a:pt x="11868" y="5446"/>
                </a:lnTo>
                <a:lnTo>
                  <a:pt x="11872" y="5444"/>
                </a:lnTo>
                <a:lnTo>
                  <a:pt x="11876" y="5444"/>
                </a:lnTo>
                <a:lnTo>
                  <a:pt x="11888" y="5440"/>
                </a:lnTo>
                <a:lnTo>
                  <a:pt x="11892" y="5438"/>
                </a:lnTo>
                <a:lnTo>
                  <a:pt x="11892" y="5434"/>
                </a:lnTo>
                <a:lnTo>
                  <a:pt x="11894" y="5430"/>
                </a:lnTo>
                <a:lnTo>
                  <a:pt x="11900" y="5428"/>
                </a:lnTo>
                <a:lnTo>
                  <a:pt x="11902" y="5426"/>
                </a:lnTo>
                <a:lnTo>
                  <a:pt x="11902" y="5422"/>
                </a:lnTo>
                <a:lnTo>
                  <a:pt x="11902" y="5416"/>
                </a:lnTo>
                <a:lnTo>
                  <a:pt x="11898" y="5404"/>
                </a:lnTo>
                <a:lnTo>
                  <a:pt x="11906" y="5412"/>
                </a:lnTo>
                <a:lnTo>
                  <a:pt x="11910" y="5416"/>
                </a:lnTo>
                <a:lnTo>
                  <a:pt x="11918" y="5418"/>
                </a:lnTo>
                <a:lnTo>
                  <a:pt x="11926" y="5416"/>
                </a:lnTo>
                <a:close/>
                <a:moveTo>
                  <a:pt x="10506" y="4964"/>
                </a:moveTo>
                <a:lnTo>
                  <a:pt x="10506" y="4964"/>
                </a:lnTo>
                <a:lnTo>
                  <a:pt x="10502" y="4972"/>
                </a:lnTo>
                <a:lnTo>
                  <a:pt x="10498" y="4980"/>
                </a:lnTo>
                <a:lnTo>
                  <a:pt x="10494" y="5000"/>
                </a:lnTo>
                <a:lnTo>
                  <a:pt x="10494" y="5010"/>
                </a:lnTo>
                <a:lnTo>
                  <a:pt x="10496" y="5020"/>
                </a:lnTo>
                <a:lnTo>
                  <a:pt x="10498" y="5026"/>
                </a:lnTo>
                <a:lnTo>
                  <a:pt x="10504" y="5030"/>
                </a:lnTo>
                <a:lnTo>
                  <a:pt x="10508" y="5032"/>
                </a:lnTo>
                <a:lnTo>
                  <a:pt x="10508" y="5036"/>
                </a:lnTo>
                <a:lnTo>
                  <a:pt x="10504" y="5044"/>
                </a:lnTo>
                <a:lnTo>
                  <a:pt x="10502" y="5048"/>
                </a:lnTo>
                <a:lnTo>
                  <a:pt x="10502" y="5052"/>
                </a:lnTo>
                <a:lnTo>
                  <a:pt x="10502" y="5058"/>
                </a:lnTo>
                <a:lnTo>
                  <a:pt x="10506" y="5064"/>
                </a:lnTo>
                <a:lnTo>
                  <a:pt x="10510" y="5068"/>
                </a:lnTo>
                <a:lnTo>
                  <a:pt x="10512" y="5072"/>
                </a:lnTo>
                <a:lnTo>
                  <a:pt x="10512" y="5074"/>
                </a:lnTo>
                <a:lnTo>
                  <a:pt x="10510" y="5076"/>
                </a:lnTo>
                <a:lnTo>
                  <a:pt x="10510" y="5078"/>
                </a:lnTo>
                <a:lnTo>
                  <a:pt x="10514" y="5082"/>
                </a:lnTo>
                <a:lnTo>
                  <a:pt x="10520" y="5084"/>
                </a:lnTo>
                <a:lnTo>
                  <a:pt x="10520" y="5088"/>
                </a:lnTo>
                <a:lnTo>
                  <a:pt x="10520" y="5090"/>
                </a:lnTo>
                <a:lnTo>
                  <a:pt x="10518" y="5092"/>
                </a:lnTo>
                <a:lnTo>
                  <a:pt x="10516" y="5098"/>
                </a:lnTo>
                <a:lnTo>
                  <a:pt x="10516" y="5100"/>
                </a:lnTo>
                <a:lnTo>
                  <a:pt x="10516" y="5102"/>
                </a:lnTo>
                <a:lnTo>
                  <a:pt x="10520" y="5104"/>
                </a:lnTo>
                <a:lnTo>
                  <a:pt x="10522" y="5102"/>
                </a:lnTo>
                <a:lnTo>
                  <a:pt x="10530" y="5098"/>
                </a:lnTo>
                <a:lnTo>
                  <a:pt x="10536" y="5096"/>
                </a:lnTo>
                <a:lnTo>
                  <a:pt x="10538" y="5098"/>
                </a:lnTo>
                <a:lnTo>
                  <a:pt x="10540" y="5102"/>
                </a:lnTo>
                <a:lnTo>
                  <a:pt x="10540" y="5106"/>
                </a:lnTo>
                <a:lnTo>
                  <a:pt x="10540" y="5110"/>
                </a:lnTo>
                <a:lnTo>
                  <a:pt x="10538" y="5118"/>
                </a:lnTo>
                <a:lnTo>
                  <a:pt x="10536" y="5126"/>
                </a:lnTo>
                <a:lnTo>
                  <a:pt x="10538" y="5132"/>
                </a:lnTo>
                <a:lnTo>
                  <a:pt x="10540" y="5140"/>
                </a:lnTo>
                <a:lnTo>
                  <a:pt x="10546" y="5158"/>
                </a:lnTo>
                <a:lnTo>
                  <a:pt x="10548" y="5170"/>
                </a:lnTo>
                <a:lnTo>
                  <a:pt x="10548" y="5178"/>
                </a:lnTo>
                <a:lnTo>
                  <a:pt x="10548" y="5184"/>
                </a:lnTo>
                <a:lnTo>
                  <a:pt x="10548" y="5186"/>
                </a:lnTo>
                <a:lnTo>
                  <a:pt x="10554" y="5186"/>
                </a:lnTo>
                <a:lnTo>
                  <a:pt x="10566" y="5188"/>
                </a:lnTo>
                <a:lnTo>
                  <a:pt x="10574" y="5190"/>
                </a:lnTo>
                <a:lnTo>
                  <a:pt x="10580" y="5190"/>
                </a:lnTo>
                <a:lnTo>
                  <a:pt x="10586" y="5186"/>
                </a:lnTo>
                <a:lnTo>
                  <a:pt x="10590" y="5182"/>
                </a:lnTo>
                <a:lnTo>
                  <a:pt x="10594" y="5180"/>
                </a:lnTo>
                <a:lnTo>
                  <a:pt x="10600" y="5180"/>
                </a:lnTo>
                <a:lnTo>
                  <a:pt x="10604" y="5182"/>
                </a:lnTo>
                <a:lnTo>
                  <a:pt x="10608" y="5186"/>
                </a:lnTo>
                <a:lnTo>
                  <a:pt x="10612" y="5190"/>
                </a:lnTo>
                <a:lnTo>
                  <a:pt x="10612" y="5196"/>
                </a:lnTo>
                <a:lnTo>
                  <a:pt x="10612" y="5202"/>
                </a:lnTo>
                <a:lnTo>
                  <a:pt x="10612" y="5210"/>
                </a:lnTo>
                <a:lnTo>
                  <a:pt x="10614" y="5212"/>
                </a:lnTo>
                <a:lnTo>
                  <a:pt x="10616" y="5212"/>
                </a:lnTo>
                <a:lnTo>
                  <a:pt x="10622" y="5208"/>
                </a:lnTo>
                <a:lnTo>
                  <a:pt x="10628" y="5204"/>
                </a:lnTo>
                <a:lnTo>
                  <a:pt x="10630" y="5202"/>
                </a:lnTo>
                <a:lnTo>
                  <a:pt x="10634" y="5202"/>
                </a:lnTo>
                <a:lnTo>
                  <a:pt x="10642" y="5204"/>
                </a:lnTo>
                <a:lnTo>
                  <a:pt x="10646" y="5204"/>
                </a:lnTo>
                <a:lnTo>
                  <a:pt x="10650" y="5204"/>
                </a:lnTo>
                <a:lnTo>
                  <a:pt x="10652" y="5202"/>
                </a:lnTo>
                <a:lnTo>
                  <a:pt x="10656" y="5196"/>
                </a:lnTo>
                <a:lnTo>
                  <a:pt x="10658" y="5192"/>
                </a:lnTo>
                <a:lnTo>
                  <a:pt x="10662" y="5190"/>
                </a:lnTo>
                <a:lnTo>
                  <a:pt x="10664" y="5190"/>
                </a:lnTo>
                <a:lnTo>
                  <a:pt x="10668" y="5192"/>
                </a:lnTo>
                <a:lnTo>
                  <a:pt x="10674" y="5196"/>
                </a:lnTo>
                <a:lnTo>
                  <a:pt x="10676" y="5198"/>
                </a:lnTo>
                <a:lnTo>
                  <a:pt x="10680" y="5198"/>
                </a:lnTo>
                <a:lnTo>
                  <a:pt x="10682" y="5198"/>
                </a:lnTo>
                <a:lnTo>
                  <a:pt x="10684" y="5198"/>
                </a:lnTo>
                <a:lnTo>
                  <a:pt x="10684" y="5204"/>
                </a:lnTo>
                <a:lnTo>
                  <a:pt x="10684" y="5206"/>
                </a:lnTo>
                <a:lnTo>
                  <a:pt x="10686" y="5208"/>
                </a:lnTo>
                <a:lnTo>
                  <a:pt x="10690" y="5208"/>
                </a:lnTo>
                <a:lnTo>
                  <a:pt x="10696" y="5206"/>
                </a:lnTo>
                <a:lnTo>
                  <a:pt x="10702" y="5204"/>
                </a:lnTo>
                <a:lnTo>
                  <a:pt x="10708" y="5204"/>
                </a:lnTo>
                <a:lnTo>
                  <a:pt x="10714" y="5206"/>
                </a:lnTo>
                <a:lnTo>
                  <a:pt x="10718" y="5210"/>
                </a:lnTo>
                <a:lnTo>
                  <a:pt x="10722" y="5216"/>
                </a:lnTo>
                <a:lnTo>
                  <a:pt x="10724" y="5222"/>
                </a:lnTo>
                <a:lnTo>
                  <a:pt x="10726" y="5228"/>
                </a:lnTo>
                <a:lnTo>
                  <a:pt x="10724" y="5236"/>
                </a:lnTo>
                <a:lnTo>
                  <a:pt x="10724" y="5240"/>
                </a:lnTo>
                <a:lnTo>
                  <a:pt x="10728" y="5242"/>
                </a:lnTo>
                <a:lnTo>
                  <a:pt x="10734" y="5240"/>
                </a:lnTo>
                <a:lnTo>
                  <a:pt x="10742" y="5236"/>
                </a:lnTo>
                <a:lnTo>
                  <a:pt x="10758" y="5226"/>
                </a:lnTo>
                <a:lnTo>
                  <a:pt x="10764" y="5222"/>
                </a:lnTo>
                <a:lnTo>
                  <a:pt x="10770" y="5220"/>
                </a:lnTo>
                <a:lnTo>
                  <a:pt x="10774" y="5220"/>
                </a:lnTo>
                <a:lnTo>
                  <a:pt x="10778" y="5216"/>
                </a:lnTo>
                <a:lnTo>
                  <a:pt x="10782" y="5208"/>
                </a:lnTo>
                <a:lnTo>
                  <a:pt x="10784" y="5196"/>
                </a:lnTo>
                <a:lnTo>
                  <a:pt x="10786" y="5186"/>
                </a:lnTo>
                <a:lnTo>
                  <a:pt x="10788" y="5182"/>
                </a:lnTo>
                <a:lnTo>
                  <a:pt x="10790" y="5180"/>
                </a:lnTo>
                <a:lnTo>
                  <a:pt x="10792" y="5178"/>
                </a:lnTo>
                <a:lnTo>
                  <a:pt x="10794" y="5170"/>
                </a:lnTo>
                <a:lnTo>
                  <a:pt x="10796" y="5164"/>
                </a:lnTo>
                <a:lnTo>
                  <a:pt x="10798" y="5162"/>
                </a:lnTo>
                <a:lnTo>
                  <a:pt x="10804" y="5160"/>
                </a:lnTo>
                <a:lnTo>
                  <a:pt x="10806" y="5158"/>
                </a:lnTo>
                <a:lnTo>
                  <a:pt x="10806" y="5154"/>
                </a:lnTo>
                <a:lnTo>
                  <a:pt x="10806" y="5150"/>
                </a:lnTo>
                <a:lnTo>
                  <a:pt x="10804" y="5140"/>
                </a:lnTo>
                <a:lnTo>
                  <a:pt x="10802" y="5132"/>
                </a:lnTo>
                <a:lnTo>
                  <a:pt x="10802" y="5124"/>
                </a:lnTo>
                <a:lnTo>
                  <a:pt x="10806" y="5118"/>
                </a:lnTo>
                <a:lnTo>
                  <a:pt x="10810" y="5112"/>
                </a:lnTo>
                <a:lnTo>
                  <a:pt x="10818" y="5102"/>
                </a:lnTo>
                <a:lnTo>
                  <a:pt x="10822" y="5098"/>
                </a:lnTo>
                <a:lnTo>
                  <a:pt x="10826" y="5092"/>
                </a:lnTo>
                <a:lnTo>
                  <a:pt x="10828" y="5088"/>
                </a:lnTo>
                <a:lnTo>
                  <a:pt x="10832" y="5084"/>
                </a:lnTo>
                <a:lnTo>
                  <a:pt x="10840" y="5082"/>
                </a:lnTo>
                <a:lnTo>
                  <a:pt x="10844" y="5080"/>
                </a:lnTo>
                <a:lnTo>
                  <a:pt x="10846" y="5076"/>
                </a:lnTo>
                <a:lnTo>
                  <a:pt x="10846" y="5070"/>
                </a:lnTo>
                <a:lnTo>
                  <a:pt x="10846" y="5062"/>
                </a:lnTo>
                <a:lnTo>
                  <a:pt x="10846" y="5040"/>
                </a:lnTo>
                <a:lnTo>
                  <a:pt x="10846" y="5020"/>
                </a:lnTo>
                <a:lnTo>
                  <a:pt x="10850" y="5008"/>
                </a:lnTo>
                <a:lnTo>
                  <a:pt x="10852" y="5002"/>
                </a:lnTo>
                <a:lnTo>
                  <a:pt x="10856" y="5000"/>
                </a:lnTo>
                <a:lnTo>
                  <a:pt x="10860" y="4996"/>
                </a:lnTo>
                <a:lnTo>
                  <a:pt x="10862" y="4992"/>
                </a:lnTo>
                <a:lnTo>
                  <a:pt x="10866" y="4992"/>
                </a:lnTo>
                <a:lnTo>
                  <a:pt x="10872" y="4996"/>
                </a:lnTo>
                <a:lnTo>
                  <a:pt x="10876" y="4998"/>
                </a:lnTo>
                <a:lnTo>
                  <a:pt x="10880" y="5000"/>
                </a:lnTo>
                <a:lnTo>
                  <a:pt x="10890" y="5002"/>
                </a:lnTo>
                <a:lnTo>
                  <a:pt x="10898" y="5000"/>
                </a:lnTo>
                <a:lnTo>
                  <a:pt x="10900" y="4998"/>
                </a:lnTo>
                <a:lnTo>
                  <a:pt x="10902" y="4996"/>
                </a:lnTo>
                <a:lnTo>
                  <a:pt x="10900" y="4992"/>
                </a:lnTo>
                <a:lnTo>
                  <a:pt x="10894" y="4986"/>
                </a:lnTo>
                <a:lnTo>
                  <a:pt x="10876" y="4968"/>
                </a:lnTo>
                <a:lnTo>
                  <a:pt x="10868" y="4960"/>
                </a:lnTo>
                <a:lnTo>
                  <a:pt x="10862" y="4952"/>
                </a:lnTo>
                <a:lnTo>
                  <a:pt x="10858" y="4944"/>
                </a:lnTo>
                <a:lnTo>
                  <a:pt x="10858" y="4940"/>
                </a:lnTo>
                <a:lnTo>
                  <a:pt x="10860" y="4938"/>
                </a:lnTo>
                <a:lnTo>
                  <a:pt x="10862" y="4934"/>
                </a:lnTo>
                <a:lnTo>
                  <a:pt x="10864" y="4930"/>
                </a:lnTo>
                <a:lnTo>
                  <a:pt x="10862" y="4926"/>
                </a:lnTo>
                <a:lnTo>
                  <a:pt x="10860" y="4922"/>
                </a:lnTo>
                <a:lnTo>
                  <a:pt x="10856" y="4914"/>
                </a:lnTo>
                <a:lnTo>
                  <a:pt x="10852" y="4908"/>
                </a:lnTo>
                <a:lnTo>
                  <a:pt x="10850" y="4902"/>
                </a:lnTo>
                <a:lnTo>
                  <a:pt x="10850" y="4896"/>
                </a:lnTo>
                <a:lnTo>
                  <a:pt x="10848" y="4892"/>
                </a:lnTo>
                <a:lnTo>
                  <a:pt x="10842" y="4890"/>
                </a:lnTo>
                <a:lnTo>
                  <a:pt x="10838" y="4886"/>
                </a:lnTo>
                <a:lnTo>
                  <a:pt x="10838" y="4882"/>
                </a:lnTo>
                <a:lnTo>
                  <a:pt x="10838" y="4878"/>
                </a:lnTo>
                <a:lnTo>
                  <a:pt x="10838" y="4872"/>
                </a:lnTo>
                <a:lnTo>
                  <a:pt x="10842" y="4868"/>
                </a:lnTo>
                <a:lnTo>
                  <a:pt x="10844" y="4866"/>
                </a:lnTo>
                <a:lnTo>
                  <a:pt x="10846" y="4864"/>
                </a:lnTo>
                <a:lnTo>
                  <a:pt x="10852" y="4866"/>
                </a:lnTo>
                <a:lnTo>
                  <a:pt x="10854" y="4866"/>
                </a:lnTo>
                <a:lnTo>
                  <a:pt x="10856" y="4864"/>
                </a:lnTo>
                <a:lnTo>
                  <a:pt x="10854" y="4860"/>
                </a:lnTo>
                <a:lnTo>
                  <a:pt x="10852" y="4856"/>
                </a:lnTo>
                <a:lnTo>
                  <a:pt x="10844" y="4848"/>
                </a:lnTo>
                <a:lnTo>
                  <a:pt x="10842" y="4842"/>
                </a:lnTo>
                <a:lnTo>
                  <a:pt x="10842" y="4840"/>
                </a:lnTo>
                <a:lnTo>
                  <a:pt x="10844" y="4840"/>
                </a:lnTo>
                <a:lnTo>
                  <a:pt x="10844" y="4838"/>
                </a:lnTo>
                <a:lnTo>
                  <a:pt x="10848" y="4836"/>
                </a:lnTo>
                <a:lnTo>
                  <a:pt x="10848" y="4834"/>
                </a:lnTo>
                <a:lnTo>
                  <a:pt x="10848" y="4830"/>
                </a:lnTo>
                <a:lnTo>
                  <a:pt x="10848" y="4826"/>
                </a:lnTo>
                <a:lnTo>
                  <a:pt x="10854" y="4832"/>
                </a:lnTo>
                <a:lnTo>
                  <a:pt x="10860" y="4834"/>
                </a:lnTo>
                <a:lnTo>
                  <a:pt x="10864" y="4834"/>
                </a:lnTo>
                <a:lnTo>
                  <a:pt x="10868" y="4832"/>
                </a:lnTo>
                <a:lnTo>
                  <a:pt x="10874" y="4830"/>
                </a:lnTo>
                <a:lnTo>
                  <a:pt x="10880" y="4830"/>
                </a:lnTo>
                <a:lnTo>
                  <a:pt x="10886" y="4828"/>
                </a:lnTo>
                <a:lnTo>
                  <a:pt x="10886" y="4826"/>
                </a:lnTo>
                <a:lnTo>
                  <a:pt x="10886" y="4824"/>
                </a:lnTo>
                <a:lnTo>
                  <a:pt x="10880" y="4816"/>
                </a:lnTo>
                <a:lnTo>
                  <a:pt x="10872" y="4810"/>
                </a:lnTo>
                <a:lnTo>
                  <a:pt x="10868" y="4806"/>
                </a:lnTo>
                <a:lnTo>
                  <a:pt x="10870" y="4802"/>
                </a:lnTo>
                <a:lnTo>
                  <a:pt x="10874" y="4798"/>
                </a:lnTo>
                <a:lnTo>
                  <a:pt x="10876" y="4796"/>
                </a:lnTo>
                <a:lnTo>
                  <a:pt x="10880" y="4798"/>
                </a:lnTo>
                <a:lnTo>
                  <a:pt x="10882" y="4800"/>
                </a:lnTo>
                <a:lnTo>
                  <a:pt x="10892" y="4798"/>
                </a:lnTo>
                <a:lnTo>
                  <a:pt x="10902" y="4796"/>
                </a:lnTo>
                <a:lnTo>
                  <a:pt x="10908" y="4792"/>
                </a:lnTo>
                <a:lnTo>
                  <a:pt x="10912" y="4786"/>
                </a:lnTo>
                <a:lnTo>
                  <a:pt x="10912" y="4780"/>
                </a:lnTo>
                <a:lnTo>
                  <a:pt x="10912" y="4776"/>
                </a:lnTo>
                <a:lnTo>
                  <a:pt x="10910" y="4776"/>
                </a:lnTo>
                <a:lnTo>
                  <a:pt x="10906" y="4776"/>
                </a:lnTo>
                <a:lnTo>
                  <a:pt x="10902" y="4776"/>
                </a:lnTo>
                <a:lnTo>
                  <a:pt x="10900" y="4776"/>
                </a:lnTo>
                <a:lnTo>
                  <a:pt x="10898" y="4774"/>
                </a:lnTo>
                <a:lnTo>
                  <a:pt x="10894" y="4772"/>
                </a:lnTo>
                <a:lnTo>
                  <a:pt x="10892" y="4770"/>
                </a:lnTo>
                <a:lnTo>
                  <a:pt x="10888" y="4768"/>
                </a:lnTo>
                <a:lnTo>
                  <a:pt x="10886" y="4766"/>
                </a:lnTo>
                <a:lnTo>
                  <a:pt x="10882" y="4760"/>
                </a:lnTo>
                <a:lnTo>
                  <a:pt x="10878" y="4758"/>
                </a:lnTo>
                <a:lnTo>
                  <a:pt x="10872" y="4758"/>
                </a:lnTo>
                <a:lnTo>
                  <a:pt x="10870" y="4760"/>
                </a:lnTo>
                <a:lnTo>
                  <a:pt x="10864" y="4764"/>
                </a:lnTo>
                <a:lnTo>
                  <a:pt x="10862" y="4764"/>
                </a:lnTo>
                <a:lnTo>
                  <a:pt x="10860" y="4762"/>
                </a:lnTo>
                <a:lnTo>
                  <a:pt x="10860" y="4758"/>
                </a:lnTo>
                <a:lnTo>
                  <a:pt x="10862" y="4758"/>
                </a:lnTo>
                <a:lnTo>
                  <a:pt x="10864" y="4756"/>
                </a:lnTo>
                <a:lnTo>
                  <a:pt x="10864" y="4750"/>
                </a:lnTo>
                <a:lnTo>
                  <a:pt x="10862" y="4748"/>
                </a:lnTo>
                <a:lnTo>
                  <a:pt x="10862" y="4746"/>
                </a:lnTo>
                <a:lnTo>
                  <a:pt x="10856" y="4748"/>
                </a:lnTo>
                <a:lnTo>
                  <a:pt x="10852" y="4750"/>
                </a:lnTo>
                <a:lnTo>
                  <a:pt x="10850" y="4750"/>
                </a:lnTo>
                <a:lnTo>
                  <a:pt x="10848" y="4748"/>
                </a:lnTo>
                <a:lnTo>
                  <a:pt x="10848" y="4740"/>
                </a:lnTo>
                <a:lnTo>
                  <a:pt x="10848" y="4734"/>
                </a:lnTo>
                <a:lnTo>
                  <a:pt x="10850" y="4728"/>
                </a:lnTo>
                <a:lnTo>
                  <a:pt x="10846" y="4722"/>
                </a:lnTo>
                <a:lnTo>
                  <a:pt x="10842" y="4718"/>
                </a:lnTo>
                <a:lnTo>
                  <a:pt x="10840" y="4720"/>
                </a:lnTo>
                <a:lnTo>
                  <a:pt x="10838" y="4720"/>
                </a:lnTo>
                <a:lnTo>
                  <a:pt x="10834" y="4718"/>
                </a:lnTo>
                <a:lnTo>
                  <a:pt x="10832" y="4710"/>
                </a:lnTo>
                <a:lnTo>
                  <a:pt x="10830" y="4702"/>
                </a:lnTo>
                <a:lnTo>
                  <a:pt x="10828" y="4700"/>
                </a:lnTo>
                <a:lnTo>
                  <a:pt x="10826" y="4700"/>
                </a:lnTo>
                <a:lnTo>
                  <a:pt x="10824" y="4704"/>
                </a:lnTo>
                <a:lnTo>
                  <a:pt x="10822" y="4708"/>
                </a:lnTo>
                <a:lnTo>
                  <a:pt x="10820" y="4714"/>
                </a:lnTo>
                <a:lnTo>
                  <a:pt x="10816" y="4720"/>
                </a:lnTo>
                <a:lnTo>
                  <a:pt x="10814" y="4720"/>
                </a:lnTo>
                <a:lnTo>
                  <a:pt x="10814" y="4712"/>
                </a:lnTo>
                <a:lnTo>
                  <a:pt x="10816" y="4702"/>
                </a:lnTo>
                <a:lnTo>
                  <a:pt x="10814" y="4700"/>
                </a:lnTo>
                <a:lnTo>
                  <a:pt x="10812" y="4698"/>
                </a:lnTo>
                <a:lnTo>
                  <a:pt x="10808" y="4700"/>
                </a:lnTo>
                <a:lnTo>
                  <a:pt x="10808" y="4706"/>
                </a:lnTo>
                <a:lnTo>
                  <a:pt x="10804" y="4714"/>
                </a:lnTo>
                <a:lnTo>
                  <a:pt x="10798" y="4726"/>
                </a:lnTo>
                <a:lnTo>
                  <a:pt x="10792" y="4736"/>
                </a:lnTo>
                <a:lnTo>
                  <a:pt x="10788" y="4740"/>
                </a:lnTo>
                <a:lnTo>
                  <a:pt x="10786" y="4742"/>
                </a:lnTo>
                <a:lnTo>
                  <a:pt x="10784" y="4748"/>
                </a:lnTo>
                <a:lnTo>
                  <a:pt x="10782" y="4754"/>
                </a:lnTo>
                <a:lnTo>
                  <a:pt x="10780" y="4758"/>
                </a:lnTo>
                <a:lnTo>
                  <a:pt x="10778" y="4760"/>
                </a:lnTo>
                <a:lnTo>
                  <a:pt x="10778" y="4762"/>
                </a:lnTo>
                <a:lnTo>
                  <a:pt x="10776" y="4768"/>
                </a:lnTo>
                <a:lnTo>
                  <a:pt x="10774" y="4772"/>
                </a:lnTo>
                <a:lnTo>
                  <a:pt x="10770" y="4772"/>
                </a:lnTo>
                <a:lnTo>
                  <a:pt x="10768" y="4772"/>
                </a:lnTo>
                <a:lnTo>
                  <a:pt x="10766" y="4770"/>
                </a:lnTo>
                <a:lnTo>
                  <a:pt x="10762" y="4772"/>
                </a:lnTo>
                <a:lnTo>
                  <a:pt x="10756" y="4780"/>
                </a:lnTo>
                <a:lnTo>
                  <a:pt x="10756" y="4782"/>
                </a:lnTo>
                <a:lnTo>
                  <a:pt x="10758" y="4782"/>
                </a:lnTo>
                <a:lnTo>
                  <a:pt x="10762" y="4786"/>
                </a:lnTo>
                <a:lnTo>
                  <a:pt x="10764" y="4790"/>
                </a:lnTo>
                <a:lnTo>
                  <a:pt x="10764" y="4794"/>
                </a:lnTo>
                <a:lnTo>
                  <a:pt x="10760" y="4798"/>
                </a:lnTo>
                <a:lnTo>
                  <a:pt x="10756" y="4800"/>
                </a:lnTo>
                <a:lnTo>
                  <a:pt x="10754" y="4800"/>
                </a:lnTo>
                <a:lnTo>
                  <a:pt x="10750" y="4800"/>
                </a:lnTo>
                <a:lnTo>
                  <a:pt x="10746" y="4804"/>
                </a:lnTo>
                <a:lnTo>
                  <a:pt x="10742" y="4806"/>
                </a:lnTo>
                <a:lnTo>
                  <a:pt x="10742" y="4802"/>
                </a:lnTo>
                <a:lnTo>
                  <a:pt x="10744" y="4796"/>
                </a:lnTo>
                <a:lnTo>
                  <a:pt x="10744" y="4794"/>
                </a:lnTo>
                <a:lnTo>
                  <a:pt x="10742" y="4794"/>
                </a:lnTo>
                <a:lnTo>
                  <a:pt x="10738" y="4796"/>
                </a:lnTo>
                <a:lnTo>
                  <a:pt x="10732" y="4802"/>
                </a:lnTo>
                <a:lnTo>
                  <a:pt x="10724" y="4808"/>
                </a:lnTo>
                <a:lnTo>
                  <a:pt x="10716" y="4814"/>
                </a:lnTo>
                <a:lnTo>
                  <a:pt x="10710" y="4816"/>
                </a:lnTo>
                <a:lnTo>
                  <a:pt x="10704" y="4818"/>
                </a:lnTo>
                <a:lnTo>
                  <a:pt x="10702" y="4816"/>
                </a:lnTo>
                <a:lnTo>
                  <a:pt x="10700" y="4818"/>
                </a:lnTo>
                <a:lnTo>
                  <a:pt x="10700" y="4828"/>
                </a:lnTo>
                <a:lnTo>
                  <a:pt x="10698" y="4834"/>
                </a:lnTo>
                <a:lnTo>
                  <a:pt x="10696" y="4840"/>
                </a:lnTo>
                <a:lnTo>
                  <a:pt x="10686" y="4850"/>
                </a:lnTo>
                <a:lnTo>
                  <a:pt x="10674" y="4864"/>
                </a:lnTo>
                <a:lnTo>
                  <a:pt x="10670" y="4872"/>
                </a:lnTo>
                <a:lnTo>
                  <a:pt x="10666" y="4882"/>
                </a:lnTo>
                <a:lnTo>
                  <a:pt x="10662" y="4888"/>
                </a:lnTo>
                <a:lnTo>
                  <a:pt x="10654" y="4892"/>
                </a:lnTo>
                <a:lnTo>
                  <a:pt x="10634" y="4896"/>
                </a:lnTo>
                <a:lnTo>
                  <a:pt x="10612" y="4900"/>
                </a:lnTo>
                <a:lnTo>
                  <a:pt x="10604" y="4902"/>
                </a:lnTo>
                <a:lnTo>
                  <a:pt x="10600" y="4906"/>
                </a:lnTo>
                <a:lnTo>
                  <a:pt x="10598" y="4910"/>
                </a:lnTo>
                <a:lnTo>
                  <a:pt x="10598" y="4914"/>
                </a:lnTo>
                <a:lnTo>
                  <a:pt x="10598" y="4922"/>
                </a:lnTo>
                <a:lnTo>
                  <a:pt x="10598" y="4928"/>
                </a:lnTo>
                <a:lnTo>
                  <a:pt x="10596" y="4928"/>
                </a:lnTo>
                <a:lnTo>
                  <a:pt x="10592" y="4926"/>
                </a:lnTo>
                <a:lnTo>
                  <a:pt x="10590" y="4924"/>
                </a:lnTo>
                <a:lnTo>
                  <a:pt x="10588" y="4924"/>
                </a:lnTo>
                <a:lnTo>
                  <a:pt x="10586" y="4928"/>
                </a:lnTo>
                <a:lnTo>
                  <a:pt x="10586" y="4932"/>
                </a:lnTo>
                <a:lnTo>
                  <a:pt x="10588" y="4936"/>
                </a:lnTo>
                <a:lnTo>
                  <a:pt x="10590" y="4938"/>
                </a:lnTo>
                <a:lnTo>
                  <a:pt x="10590" y="4940"/>
                </a:lnTo>
                <a:lnTo>
                  <a:pt x="10588" y="4942"/>
                </a:lnTo>
                <a:lnTo>
                  <a:pt x="10586" y="4948"/>
                </a:lnTo>
                <a:lnTo>
                  <a:pt x="10584" y="4956"/>
                </a:lnTo>
                <a:lnTo>
                  <a:pt x="10582" y="4960"/>
                </a:lnTo>
                <a:lnTo>
                  <a:pt x="10580" y="4962"/>
                </a:lnTo>
                <a:lnTo>
                  <a:pt x="10584" y="4968"/>
                </a:lnTo>
                <a:lnTo>
                  <a:pt x="10586" y="4972"/>
                </a:lnTo>
                <a:lnTo>
                  <a:pt x="10586" y="4974"/>
                </a:lnTo>
                <a:lnTo>
                  <a:pt x="10578" y="4968"/>
                </a:lnTo>
                <a:lnTo>
                  <a:pt x="10572" y="4966"/>
                </a:lnTo>
                <a:lnTo>
                  <a:pt x="10566" y="4964"/>
                </a:lnTo>
                <a:lnTo>
                  <a:pt x="10562" y="4964"/>
                </a:lnTo>
                <a:lnTo>
                  <a:pt x="10560" y="4962"/>
                </a:lnTo>
                <a:lnTo>
                  <a:pt x="10560" y="4960"/>
                </a:lnTo>
                <a:lnTo>
                  <a:pt x="10562" y="4956"/>
                </a:lnTo>
                <a:lnTo>
                  <a:pt x="10560" y="4956"/>
                </a:lnTo>
                <a:lnTo>
                  <a:pt x="10558" y="4956"/>
                </a:lnTo>
                <a:lnTo>
                  <a:pt x="10554" y="4954"/>
                </a:lnTo>
                <a:lnTo>
                  <a:pt x="10552" y="4952"/>
                </a:lnTo>
                <a:lnTo>
                  <a:pt x="10552" y="4954"/>
                </a:lnTo>
                <a:lnTo>
                  <a:pt x="10550" y="4956"/>
                </a:lnTo>
                <a:lnTo>
                  <a:pt x="10546" y="4958"/>
                </a:lnTo>
                <a:lnTo>
                  <a:pt x="10540" y="4958"/>
                </a:lnTo>
                <a:lnTo>
                  <a:pt x="10534" y="4954"/>
                </a:lnTo>
                <a:lnTo>
                  <a:pt x="10528" y="4950"/>
                </a:lnTo>
                <a:lnTo>
                  <a:pt x="10526" y="4942"/>
                </a:lnTo>
                <a:lnTo>
                  <a:pt x="10520" y="4942"/>
                </a:lnTo>
                <a:lnTo>
                  <a:pt x="10516" y="4944"/>
                </a:lnTo>
                <a:lnTo>
                  <a:pt x="10512" y="4950"/>
                </a:lnTo>
                <a:lnTo>
                  <a:pt x="10508" y="4958"/>
                </a:lnTo>
                <a:lnTo>
                  <a:pt x="10506" y="4964"/>
                </a:lnTo>
                <a:close/>
                <a:moveTo>
                  <a:pt x="12348" y="4304"/>
                </a:moveTo>
                <a:lnTo>
                  <a:pt x="12348" y="4304"/>
                </a:lnTo>
                <a:lnTo>
                  <a:pt x="12352" y="4306"/>
                </a:lnTo>
                <a:lnTo>
                  <a:pt x="12354" y="4306"/>
                </a:lnTo>
                <a:lnTo>
                  <a:pt x="12358" y="4302"/>
                </a:lnTo>
                <a:lnTo>
                  <a:pt x="12362" y="4296"/>
                </a:lnTo>
                <a:lnTo>
                  <a:pt x="12366" y="4294"/>
                </a:lnTo>
                <a:lnTo>
                  <a:pt x="12368" y="4292"/>
                </a:lnTo>
                <a:lnTo>
                  <a:pt x="12370" y="4290"/>
                </a:lnTo>
                <a:lnTo>
                  <a:pt x="12372" y="4282"/>
                </a:lnTo>
                <a:lnTo>
                  <a:pt x="12376" y="4274"/>
                </a:lnTo>
                <a:lnTo>
                  <a:pt x="12376" y="4272"/>
                </a:lnTo>
                <a:lnTo>
                  <a:pt x="12374" y="4270"/>
                </a:lnTo>
                <a:lnTo>
                  <a:pt x="12370" y="4270"/>
                </a:lnTo>
                <a:lnTo>
                  <a:pt x="12370" y="4268"/>
                </a:lnTo>
                <a:lnTo>
                  <a:pt x="12368" y="4266"/>
                </a:lnTo>
                <a:lnTo>
                  <a:pt x="12366" y="4264"/>
                </a:lnTo>
                <a:lnTo>
                  <a:pt x="12362" y="4264"/>
                </a:lnTo>
                <a:lnTo>
                  <a:pt x="12358" y="4264"/>
                </a:lnTo>
                <a:lnTo>
                  <a:pt x="12348" y="4268"/>
                </a:lnTo>
                <a:lnTo>
                  <a:pt x="12338" y="4276"/>
                </a:lnTo>
                <a:lnTo>
                  <a:pt x="12336" y="4280"/>
                </a:lnTo>
                <a:lnTo>
                  <a:pt x="12336" y="4282"/>
                </a:lnTo>
                <a:lnTo>
                  <a:pt x="12334" y="4288"/>
                </a:lnTo>
                <a:lnTo>
                  <a:pt x="12332" y="4294"/>
                </a:lnTo>
                <a:lnTo>
                  <a:pt x="12328" y="4298"/>
                </a:lnTo>
                <a:lnTo>
                  <a:pt x="12326" y="4304"/>
                </a:lnTo>
                <a:lnTo>
                  <a:pt x="12328" y="4306"/>
                </a:lnTo>
                <a:lnTo>
                  <a:pt x="12332" y="4304"/>
                </a:lnTo>
                <a:lnTo>
                  <a:pt x="12338" y="4302"/>
                </a:lnTo>
                <a:lnTo>
                  <a:pt x="12348" y="4304"/>
                </a:lnTo>
                <a:close/>
                <a:moveTo>
                  <a:pt x="10758" y="5378"/>
                </a:moveTo>
                <a:lnTo>
                  <a:pt x="10758" y="5378"/>
                </a:lnTo>
                <a:lnTo>
                  <a:pt x="10760" y="5376"/>
                </a:lnTo>
                <a:lnTo>
                  <a:pt x="10762" y="5378"/>
                </a:lnTo>
                <a:lnTo>
                  <a:pt x="10764" y="5378"/>
                </a:lnTo>
                <a:lnTo>
                  <a:pt x="10766" y="5376"/>
                </a:lnTo>
                <a:lnTo>
                  <a:pt x="10766" y="5374"/>
                </a:lnTo>
                <a:lnTo>
                  <a:pt x="10764" y="5372"/>
                </a:lnTo>
                <a:lnTo>
                  <a:pt x="10760" y="5372"/>
                </a:lnTo>
                <a:lnTo>
                  <a:pt x="10754" y="5372"/>
                </a:lnTo>
                <a:lnTo>
                  <a:pt x="10752" y="5374"/>
                </a:lnTo>
                <a:lnTo>
                  <a:pt x="10752" y="5376"/>
                </a:lnTo>
                <a:lnTo>
                  <a:pt x="10754" y="5378"/>
                </a:lnTo>
                <a:lnTo>
                  <a:pt x="10758" y="5378"/>
                </a:lnTo>
                <a:close/>
                <a:moveTo>
                  <a:pt x="10962" y="5352"/>
                </a:moveTo>
                <a:lnTo>
                  <a:pt x="10962" y="5352"/>
                </a:lnTo>
                <a:lnTo>
                  <a:pt x="10964" y="5354"/>
                </a:lnTo>
                <a:lnTo>
                  <a:pt x="10966" y="5344"/>
                </a:lnTo>
                <a:lnTo>
                  <a:pt x="10966" y="5332"/>
                </a:lnTo>
                <a:lnTo>
                  <a:pt x="10964" y="5322"/>
                </a:lnTo>
                <a:lnTo>
                  <a:pt x="10962" y="5322"/>
                </a:lnTo>
                <a:lnTo>
                  <a:pt x="10962" y="5330"/>
                </a:lnTo>
                <a:lnTo>
                  <a:pt x="10960" y="5340"/>
                </a:lnTo>
                <a:lnTo>
                  <a:pt x="10962" y="5352"/>
                </a:lnTo>
                <a:close/>
                <a:moveTo>
                  <a:pt x="11064" y="5452"/>
                </a:moveTo>
                <a:lnTo>
                  <a:pt x="11064" y="5452"/>
                </a:lnTo>
                <a:lnTo>
                  <a:pt x="11060" y="5454"/>
                </a:lnTo>
                <a:lnTo>
                  <a:pt x="11060" y="5456"/>
                </a:lnTo>
                <a:lnTo>
                  <a:pt x="11064" y="5456"/>
                </a:lnTo>
                <a:lnTo>
                  <a:pt x="11068" y="5454"/>
                </a:lnTo>
                <a:lnTo>
                  <a:pt x="11070" y="5452"/>
                </a:lnTo>
                <a:lnTo>
                  <a:pt x="11070" y="5450"/>
                </a:lnTo>
                <a:lnTo>
                  <a:pt x="11064" y="5452"/>
                </a:lnTo>
                <a:close/>
                <a:moveTo>
                  <a:pt x="11078" y="5444"/>
                </a:moveTo>
                <a:lnTo>
                  <a:pt x="11078" y="5444"/>
                </a:lnTo>
                <a:lnTo>
                  <a:pt x="11076" y="5440"/>
                </a:lnTo>
                <a:lnTo>
                  <a:pt x="11074" y="5440"/>
                </a:lnTo>
                <a:lnTo>
                  <a:pt x="11070" y="5440"/>
                </a:lnTo>
                <a:lnTo>
                  <a:pt x="11068" y="5444"/>
                </a:lnTo>
                <a:lnTo>
                  <a:pt x="11066" y="5446"/>
                </a:lnTo>
                <a:lnTo>
                  <a:pt x="11066" y="5448"/>
                </a:lnTo>
                <a:lnTo>
                  <a:pt x="11072" y="5448"/>
                </a:lnTo>
                <a:lnTo>
                  <a:pt x="11076" y="5448"/>
                </a:lnTo>
                <a:lnTo>
                  <a:pt x="11078" y="5444"/>
                </a:lnTo>
                <a:close/>
                <a:moveTo>
                  <a:pt x="11112" y="5442"/>
                </a:moveTo>
                <a:lnTo>
                  <a:pt x="11112" y="5442"/>
                </a:lnTo>
                <a:lnTo>
                  <a:pt x="11108" y="5446"/>
                </a:lnTo>
                <a:lnTo>
                  <a:pt x="11106" y="5444"/>
                </a:lnTo>
                <a:lnTo>
                  <a:pt x="11104" y="5444"/>
                </a:lnTo>
                <a:lnTo>
                  <a:pt x="11102" y="5446"/>
                </a:lnTo>
                <a:lnTo>
                  <a:pt x="11102" y="5450"/>
                </a:lnTo>
                <a:lnTo>
                  <a:pt x="11106" y="5454"/>
                </a:lnTo>
                <a:lnTo>
                  <a:pt x="11108" y="5454"/>
                </a:lnTo>
                <a:lnTo>
                  <a:pt x="11110" y="5454"/>
                </a:lnTo>
                <a:lnTo>
                  <a:pt x="11112" y="5452"/>
                </a:lnTo>
                <a:lnTo>
                  <a:pt x="11116" y="5444"/>
                </a:lnTo>
                <a:lnTo>
                  <a:pt x="11116" y="5440"/>
                </a:lnTo>
                <a:lnTo>
                  <a:pt x="11116" y="5438"/>
                </a:lnTo>
                <a:lnTo>
                  <a:pt x="11112" y="5442"/>
                </a:lnTo>
                <a:close/>
                <a:moveTo>
                  <a:pt x="11080" y="5560"/>
                </a:moveTo>
                <a:lnTo>
                  <a:pt x="11080" y="5560"/>
                </a:lnTo>
                <a:lnTo>
                  <a:pt x="11082" y="5556"/>
                </a:lnTo>
                <a:lnTo>
                  <a:pt x="11082" y="5552"/>
                </a:lnTo>
                <a:lnTo>
                  <a:pt x="11080" y="5550"/>
                </a:lnTo>
                <a:lnTo>
                  <a:pt x="11078" y="5550"/>
                </a:lnTo>
                <a:lnTo>
                  <a:pt x="11076" y="5550"/>
                </a:lnTo>
                <a:lnTo>
                  <a:pt x="11074" y="5554"/>
                </a:lnTo>
                <a:lnTo>
                  <a:pt x="11068" y="5560"/>
                </a:lnTo>
                <a:lnTo>
                  <a:pt x="11062" y="5562"/>
                </a:lnTo>
                <a:lnTo>
                  <a:pt x="11058" y="5564"/>
                </a:lnTo>
                <a:lnTo>
                  <a:pt x="11056" y="5570"/>
                </a:lnTo>
                <a:lnTo>
                  <a:pt x="11056" y="5572"/>
                </a:lnTo>
                <a:lnTo>
                  <a:pt x="11058" y="5572"/>
                </a:lnTo>
                <a:lnTo>
                  <a:pt x="11066" y="5570"/>
                </a:lnTo>
                <a:lnTo>
                  <a:pt x="11080" y="5560"/>
                </a:lnTo>
                <a:close/>
                <a:moveTo>
                  <a:pt x="11070" y="5096"/>
                </a:moveTo>
                <a:lnTo>
                  <a:pt x="11070" y="5096"/>
                </a:lnTo>
                <a:lnTo>
                  <a:pt x="11064" y="5096"/>
                </a:lnTo>
                <a:lnTo>
                  <a:pt x="11060" y="5098"/>
                </a:lnTo>
                <a:lnTo>
                  <a:pt x="11058" y="5106"/>
                </a:lnTo>
                <a:lnTo>
                  <a:pt x="11060" y="5116"/>
                </a:lnTo>
                <a:lnTo>
                  <a:pt x="11062" y="5114"/>
                </a:lnTo>
                <a:lnTo>
                  <a:pt x="11068" y="5108"/>
                </a:lnTo>
                <a:lnTo>
                  <a:pt x="11072" y="5100"/>
                </a:lnTo>
                <a:lnTo>
                  <a:pt x="11072" y="5096"/>
                </a:lnTo>
                <a:lnTo>
                  <a:pt x="11070" y="5096"/>
                </a:lnTo>
                <a:close/>
                <a:moveTo>
                  <a:pt x="11084" y="5112"/>
                </a:moveTo>
                <a:lnTo>
                  <a:pt x="11084" y="5112"/>
                </a:lnTo>
                <a:lnTo>
                  <a:pt x="11086" y="5108"/>
                </a:lnTo>
                <a:lnTo>
                  <a:pt x="11088" y="5104"/>
                </a:lnTo>
                <a:lnTo>
                  <a:pt x="11086" y="5100"/>
                </a:lnTo>
                <a:lnTo>
                  <a:pt x="11080" y="5100"/>
                </a:lnTo>
                <a:lnTo>
                  <a:pt x="11078" y="5102"/>
                </a:lnTo>
                <a:lnTo>
                  <a:pt x="11078" y="5104"/>
                </a:lnTo>
                <a:lnTo>
                  <a:pt x="11078" y="5108"/>
                </a:lnTo>
                <a:lnTo>
                  <a:pt x="11080" y="5112"/>
                </a:lnTo>
                <a:lnTo>
                  <a:pt x="11082" y="5112"/>
                </a:lnTo>
                <a:lnTo>
                  <a:pt x="11084" y="5112"/>
                </a:lnTo>
                <a:close/>
                <a:moveTo>
                  <a:pt x="10794" y="5226"/>
                </a:moveTo>
                <a:lnTo>
                  <a:pt x="10794" y="5226"/>
                </a:lnTo>
                <a:lnTo>
                  <a:pt x="10796" y="5216"/>
                </a:lnTo>
                <a:lnTo>
                  <a:pt x="10794" y="5206"/>
                </a:lnTo>
                <a:lnTo>
                  <a:pt x="10792" y="5200"/>
                </a:lnTo>
                <a:lnTo>
                  <a:pt x="10790" y="5200"/>
                </a:lnTo>
                <a:lnTo>
                  <a:pt x="10788" y="5202"/>
                </a:lnTo>
                <a:lnTo>
                  <a:pt x="10786" y="5210"/>
                </a:lnTo>
                <a:lnTo>
                  <a:pt x="10786" y="5216"/>
                </a:lnTo>
                <a:lnTo>
                  <a:pt x="10786" y="5224"/>
                </a:lnTo>
                <a:lnTo>
                  <a:pt x="10784" y="5236"/>
                </a:lnTo>
                <a:lnTo>
                  <a:pt x="10784" y="5238"/>
                </a:lnTo>
                <a:lnTo>
                  <a:pt x="10788" y="5238"/>
                </a:lnTo>
                <a:lnTo>
                  <a:pt x="10790" y="5234"/>
                </a:lnTo>
                <a:lnTo>
                  <a:pt x="10794" y="5226"/>
                </a:lnTo>
                <a:close/>
                <a:moveTo>
                  <a:pt x="10466" y="4862"/>
                </a:moveTo>
                <a:lnTo>
                  <a:pt x="10466" y="4862"/>
                </a:lnTo>
                <a:lnTo>
                  <a:pt x="10470" y="4862"/>
                </a:lnTo>
                <a:lnTo>
                  <a:pt x="10472" y="4860"/>
                </a:lnTo>
                <a:lnTo>
                  <a:pt x="10474" y="4850"/>
                </a:lnTo>
                <a:lnTo>
                  <a:pt x="10472" y="4840"/>
                </a:lnTo>
                <a:lnTo>
                  <a:pt x="10470" y="4834"/>
                </a:lnTo>
                <a:lnTo>
                  <a:pt x="10466" y="4834"/>
                </a:lnTo>
                <a:lnTo>
                  <a:pt x="10462" y="4840"/>
                </a:lnTo>
                <a:lnTo>
                  <a:pt x="10460" y="4846"/>
                </a:lnTo>
                <a:lnTo>
                  <a:pt x="10460" y="4848"/>
                </a:lnTo>
                <a:lnTo>
                  <a:pt x="10462" y="4852"/>
                </a:lnTo>
                <a:lnTo>
                  <a:pt x="10466" y="4854"/>
                </a:lnTo>
                <a:lnTo>
                  <a:pt x="10464" y="4858"/>
                </a:lnTo>
                <a:lnTo>
                  <a:pt x="10462" y="4860"/>
                </a:lnTo>
                <a:lnTo>
                  <a:pt x="10466" y="4862"/>
                </a:lnTo>
                <a:close/>
                <a:moveTo>
                  <a:pt x="10118" y="5140"/>
                </a:moveTo>
                <a:lnTo>
                  <a:pt x="10118" y="5140"/>
                </a:lnTo>
                <a:lnTo>
                  <a:pt x="10118" y="5144"/>
                </a:lnTo>
                <a:lnTo>
                  <a:pt x="10118" y="5146"/>
                </a:lnTo>
                <a:lnTo>
                  <a:pt x="10122" y="5152"/>
                </a:lnTo>
                <a:lnTo>
                  <a:pt x="10128" y="5156"/>
                </a:lnTo>
                <a:lnTo>
                  <a:pt x="10130" y="5156"/>
                </a:lnTo>
                <a:lnTo>
                  <a:pt x="10132" y="5154"/>
                </a:lnTo>
                <a:lnTo>
                  <a:pt x="10132" y="5152"/>
                </a:lnTo>
                <a:lnTo>
                  <a:pt x="10132" y="5148"/>
                </a:lnTo>
                <a:lnTo>
                  <a:pt x="10130" y="5142"/>
                </a:lnTo>
                <a:lnTo>
                  <a:pt x="10124" y="5138"/>
                </a:lnTo>
                <a:lnTo>
                  <a:pt x="10122" y="5140"/>
                </a:lnTo>
                <a:lnTo>
                  <a:pt x="10118" y="5140"/>
                </a:lnTo>
                <a:close/>
                <a:moveTo>
                  <a:pt x="10136" y="5164"/>
                </a:moveTo>
                <a:lnTo>
                  <a:pt x="10136" y="5164"/>
                </a:lnTo>
                <a:lnTo>
                  <a:pt x="10134" y="5168"/>
                </a:lnTo>
                <a:lnTo>
                  <a:pt x="10134" y="5172"/>
                </a:lnTo>
                <a:lnTo>
                  <a:pt x="10136" y="5176"/>
                </a:lnTo>
                <a:lnTo>
                  <a:pt x="10140" y="5176"/>
                </a:lnTo>
                <a:lnTo>
                  <a:pt x="10142" y="5178"/>
                </a:lnTo>
                <a:lnTo>
                  <a:pt x="10144" y="5180"/>
                </a:lnTo>
                <a:lnTo>
                  <a:pt x="10148" y="5188"/>
                </a:lnTo>
                <a:lnTo>
                  <a:pt x="10150" y="5196"/>
                </a:lnTo>
                <a:lnTo>
                  <a:pt x="10152" y="5196"/>
                </a:lnTo>
                <a:lnTo>
                  <a:pt x="10154" y="5194"/>
                </a:lnTo>
                <a:lnTo>
                  <a:pt x="10154" y="5190"/>
                </a:lnTo>
                <a:lnTo>
                  <a:pt x="10154" y="5184"/>
                </a:lnTo>
                <a:lnTo>
                  <a:pt x="10148" y="5172"/>
                </a:lnTo>
                <a:lnTo>
                  <a:pt x="10142" y="5164"/>
                </a:lnTo>
                <a:lnTo>
                  <a:pt x="10138" y="5162"/>
                </a:lnTo>
                <a:lnTo>
                  <a:pt x="10136" y="5164"/>
                </a:lnTo>
                <a:close/>
                <a:moveTo>
                  <a:pt x="10316" y="5070"/>
                </a:moveTo>
                <a:lnTo>
                  <a:pt x="10316" y="5070"/>
                </a:lnTo>
                <a:lnTo>
                  <a:pt x="10320" y="5066"/>
                </a:lnTo>
                <a:lnTo>
                  <a:pt x="10322" y="5062"/>
                </a:lnTo>
                <a:lnTo>
                  <a:pt x="10322" y="5058"/>
                </a:lnTo>
                <a:lnTo>
                  <a:pt x="10320" y="5056"/>
                </a:lnTo>
                <a:lnTo>
                  <a:pt x="10318" y="5056"/>
                </a:lnTo>
                <a:lnTo>
                  <a:pt x="10314" y="5056"/>
                </a:lnTo>
                <a:lnTo>
                  <a:pt x="10312" y="5058"/>
                </a:lnTo>
                <a:lnTo>
                  <a:pt x="10308" y="5066"/>
                </a:lnTo>
                <a:lnTo>
                  <a:pt x="10308" y="5068"/>
                </a:lnTo>
                <a:lnTo>
                  <a:pt x="10310" y="5070"/>
                </a:lnTo>
                <a:lnTo>
                  <a:pt x="10312" y="5072"/>
                </a:lnTo>
                <a:lnTo>
                  <a:pt x="10316" y="5070"/>
                </a:lnTo>
                <a:close/>
                <a:moveTo>
                  <a:pt x="10338" y="5052"/>
                </a:moveTo>
                <a:lnTo>
                  <a:pt x="10338" y="5052"/>
                </a:lnTo>
                <a:lnTo>
                  <a:pt x="10332" y="5048"/>
                </a:lnTo>
                <a:lnTo>
                  <a:pt x="10322" y="5038"/>
                </a:lnTo>
                <a:lnTo>
                  <a:pt x="10318" y="5036"/>
                </a:lnTo>
                <a:lnTo>
                  <a:pt x="10316" y="5036"/>
                </a:lnTo>
                <a:lnTo>
                  <a:pt x="10318" y="5046"/>
                </a:lnTo>
                <a:lnTo>
                  <a:pt x="10318" y="5048"/>
                </a:lnTo>
                <a:lnTo>
                  <a:pt x="10320" y="5050"/>
                </a:lnTo>
                <a:lnTo>
                  <a:pt x="10328" y="5052"/>
                </a:lnTo>
                <a:lnTo>
                  <a:pt x="10334" y="5054"/>
                </a:lnTo>
                <a:lnTo>
                  <a:pt x="10338" y="5052"/>
                </a:lnTo>
                <a:close/>
                <a:moveTo>
                  <a:pt x="10204" y="4934"/>
                </a:moveTo>
                <a:lnTo>
                  <a:pt x="10204" y="4934"/>
                </a:lnTo>
                <a:lnTo>
                  <a:pt x="10202" y="4934"/>
                </a:lnTo>
                <a:lnTo>
                  <a:pt x="10198" y="4936"/>
                </a:lnTo>
                <a:lnTo>
                  <a:pt x="10196" y="4940"/>
                </a:lnTo>
                <a:lnTo>
                  <a:pt x="10194" y="4946"/>
                </a:lnTo>
                <a:lnTo>
                  <a:pt x="10196" y="4948"/>
                </a:lnTo>
                <a:lnTo>
                  <a:pt x="10198" y="4950"/>
                </a:lnTo>
                <a:lnTo>
                  <a:pt x="10200" y="4952"/>
                </a:lnTo>
                <a:lnTo>
                  <a:pt x="10202" y="4950"/>
                </a:lnTo>
                <a:lnTo>
                  <a:pt x="10206" y="4946"/>
                </a:lnTo>
                <a:lnTo>
                  <a:pt x="10208" y="4938"/>
                </a:lnTo>
                <a:lnTo>
                  <a:pt x="10206" y="4936"/>
                </a:lnTo>
                <a:lnTo>
                  <a:pt x="10204" y="4934"/>
                </a:lnTo>
                <a:close/>
                <a:moveTo>
                  <a:pt x="10274" y="4996"/>
                </a:moveTo>
                <a:lnTo>
                  <a:pt x="10274" y="4996"/>
                </a:lnTo>
                <a:lnTo>
                  <a:pt x="10272" y="4998"/>
                </a:lnTo>
                <a:lnTo>
                  <a:pt x="10272" y="5002"/>
                </a:lnTo>
                <a:lnTo>
                  <a:pt x="10274" y="5004"/>
                </a:lnTo>
                <a:lnTo>
                  <a:pt x="10278" y="5006"/>
                </a:lnTo>
                <a:lnTo>
                  <a:pt x="10280" y="5004"/>
                </a:lnTo>
                <a:lnTo>
                  <a:pt x="10280" y="5000"/>
                </a:lnTo>
                <a:lnTo>
                  <a:pt x="10276" y="4998"/>
                </a:lnTo>
                <a:lnTo>
                  <a:pt x="10274" y="4996"/>
                </a:lnTo>
                <a:close/>
                <a:moveTo>
                  <a:pt x="10218" y="4960"/>
                </a:moveTo>
                <a:lnTo>
                  <a:pt x="10218" y="4960"/>
                </a:lnTo>
                <a:lnTo>
                  <a:pt x="10220" y="4962"/>
                </a:lnTo>
                <a:lnTo>
                  <a:pt x="10222" y="4964"/>
                </a:lnTo>
                <a:lnTo>
                  <a:pt x="10230" y="4970"/>
                </a:lnTo>
                <a:lnTo>
                  <a:pt x="10236" y="4974"/>
                </a:lnTo>
                <a:lnTo>
                  <a:pt x="10238" y="4972"/>
                </a:lnTo>
                <a:lnTo>
                  <a:pt x="10238" y="4970"/>
                </a:lnTo>
                <a:lnTo>
                  <a:pt x="10238" y="4966"/>
                </a:lnTo>
                <a:lnTo>
                  <a:pt x="10236" y="4964"/>
                </a:lnTo>
                <a:lnTo>
                  <a:pt x="10228" y="4960"/>
                </a:lnTo>
                <a:lnTo>
                  <a:pt x="10222" y="4958"/>
                </a:lnTo>
                <a:lnTo>
                  <a:pt x="10220" y="4958"/>
                </a:lnTo>
                <a:lnTo>
                  <a:pt x="10218" y="4960"/>
                </a:lnTo>
                <a:close/>
                <a:moveTo>
                  <a:pt x="10232" y="4974"/>
                </a:moveTo>
                <a:lnTo>
                  <a:pt x="10232" y="4974"/>
                </a:lnTo>
                <a:lnTo>
                  <a:pt x="10230" y="4972"/>
                </a:lnTo>
                <a:lnTo>
                  <a:pt x="10228" y="4972"/>
                </a:lnTo>
                <a:lnTo>
                  <a:pt x="10226" y="4974"/>
                </a:lnTo>
                <a:lnTo>
                  <a:pt x="10226" y="4976"/>
                </a:lnTo>
                <a:lnTo>
                  <a:pt x="10230" y="4984"/>
                </a:lnTo>
                <a:lnTo>
                  <a:pt x="10232" y="4990"/>
                </a:lnTo>
                <a:lnTo>
                  <a:pt x="10234" y="4992"/>
                </a:lnTo>
                <a:lnTo>
                  <a:pt x="10236" y="4992"/>
                </a:lnTo>
                <a:lnTo>
                  <a:pt x="10236" y="4986"/>
                </a:lnTo>
                <a:lnTo>
                  <a:pt x="10236" y="4980"/>
                </a:lnTo>
                <a:lnTo>
                  <a:pt x="10234" y="4976"/>
                </a:lnTo>
                <a:lnTo>
                  <a:pt x="10232" y="4974"/>
                </a:lnTo>
                <a:close/>
                <a:moveTo>
                  <a:pt x="10242" y="4986"/>
                </a:moveTo>
                <a:lnTo>
                  <a:pt x="10242" y="4986"/>
                </a:lnTo>
                <a:lnTo>
                  <a:pt x="10240" y="4984"/>
                </a:lnTo>
                <a:lnTo>
                  <a:pt x="10238" y="4992"/>
                </a:lnTo>
                <a:lnTo>
                  <a:pt x="10236" y="4996"/>
                </a:lnTo>
                <a:lnTo>
                  <a:pt x="10238" y="4998"/>
                </a:lnTo>
                <a:lnTo>
                  <a:pt x="10240" y="5000"/>
                </a:lnTo>
                <a:lnTo>
                  <a:pt x="10246" y="5000"/>
                </a:lnTo>
                <a:lnTo>
                  <a:pt x="10254" y="5002"/>
                </a:lnTo>
                <a:lnTo>
                  <a:pt x="10258" y="5004"/>
                </a:lnTo>
                <a:lnTo>
                  <a:pt x="10262" y="5004"/>
                </a:lnTo>
                <a:lnTo>
                  <a:pt x="10262" y="5000"/>
                </a:lnTo>
                <a:lnTo>
                  <a:pt x="10260" y="4998"/>
                </a:lnTo>
                <a:lnTo>
                  <a:pt x="10258" y="4996"/>
                </a:lnTo>
                <a:lnTo>
                  <a:pt x="10252" y="4992"/>
                </a:lnTo>
                <a:lnTo>
                  <a:pt x="10246" y="4990"/>
                </a:lnTo>
                <a:lnTo>
                  <a:pt x="10242" y="4986"/>
                </a:lnTo>
                <a:close/>
                <a:moveTo>
                  <a:pt x="10264" y="4990"/>
                </a:moveTo>
                <a:lnTo>
                  <a:pt x="10264" y="4990"/>
                </a:lnTo>
                <a:lnTo>
                  <a:pt x="10260" y="4986"/>
                </a:lnTo>
                <a:lnTo>
                  <a:pt x="10254" y="4982"/>
                </a:lnTo>
                <a:lnTo>
                  <a:pt x="10248" y="4982"/>
                </a:lnTo>
                <a:lnTo>
                  <a:pt x="10246" y="4982"/>
                </a:lnTo>
                <a:lnTo>
                  <a:pt x="10246" y="4984"/>
                </a:lnTo>
                <a:lnTo>
                  <a:pt x="10246" y="4988"/>
                </a:lnTo>
                <a:lnTo>
                  <a:pt x="10252" y="4990"/>
                </a:lnTo>
                <a:lnTo>
                  <a:pt x="10260" y="4994"/>
                </a:lnTo>
                <a:lnTo>
                  <a:pt x="10262" y="4994"/>
                </a:lnTo>
                <a:lnTo>
                  <a:pt x="10264" y="4990"/>
                </a:lnTo>
                <a:close/>
                <a:moveTo>
                  <a:pt x="10266" y="5004"/>
                </a:moveTo>
                <a:lnTo>
                  <a:pt x="10266" y="5004"/>
                </a:lnTo>
                <a:lnTo>
                  <a:pt x="10264" y="5006"/>
                </a:lnTo>
                <a:lnTo>
                  <a:pt x="10264" y="5008"/>
                </a:lnTo>
                <a:lnTo>
                  <a:pt x="10264" y="5012"/>
                </a:lnTo>
                <a:lnTo>
                  <a:pt x="10268" y="5014"/>
                </a:lnTo>
                <a:lnTo>
                  <a:pt x="10270" y="5012"/>
                </a:lnTo>
                <a:lnTo>
                  <a:pt x="10270" y="5010"/>
                </a:lnTo>
                <a:lnTo>
                  <a:pt x="10268" y="5006"/>
                </a:lnTo>
                <a:lnTo>
                  <a:pt x="10266" y="5004"/>
                </a:lnTo>
                <a:close/>
                <a:moveTo>
                  <a:pt x="11334" y="5430"/>
                </a:moveTo>
                <a:lnTo>
                  <a:pt x="11334" y="5430"/>
                </a:lnTo>
                <a:lnTo>
                  <a:pt x="11336" y="5430"/>
                </a:lnTo>
                <a:lnTo>
                  <a:pt x="11338" y="5430"/>
                </a:lnTo>
                <a:lnTo>
                  <a:pt x="11340" y="5426"/>
                </a:lnTo>
                <a:lnTo>
                  <a:pt x="11340" y="5422"/>
                </a:lnTo>
                <a:lnTo>
                  <a:pt x="11336" y="5418"/>
                </a:lnTo>
                <a:lnTo>
                  <a:pt x="11332" y="5418"/>
                </a:lnTo>
                <a:lnTo>
                  <a:pt x="11330" y="5418"/>
                </a:lnTo>
                <a:lnTo>
                  <a:pt x="11328" y="5420"/>
                </a:lnTo>
                <a:lnTo>
                  <a:pt x="11330" y="5424"/>
                </a:lnTo>
                <a:lnTo>
                  <a:pt x="11334" y="5430"/>
                </a:lnTo>
                <a:close/>
                <a:moveTo>
                  <a:pt x="11454" y="5328"/>
                </a:moveTo>
                <a:lnTo>
                  <a:pt x="11454" y="5328"/>
                </a:lnTo>
                <a:lnTo>
                  <a:pt x="11456" y="5330"/>
                </a:lnTo>
                <a:lnTo>
                  <a:pt x="11458" y="5328"/>
                </a:lnTo>
                <a:lnTo>
                  <a:pt x="11460" y="5326"/>
                </a:lnTo>
                <a:lnTo>
                  <a:pt x="11460" y="5322"/>
                </a:lnTo>
                <a:lnTo>
                  <a:pt x="11458" y="5316"/>
                </a:lnTo>
                <a:lnTo>
                  <a:pt x="11454" y="5314"/>
                </a:lnTo>
                <a:lnTo>
                  <a:pt x="11452" y="5316"/>
                </a:lnTo>
                <a:lnTo>
                  <a:pt x="11454" y="5328"/>
                </a:lnTo>
                <a:close/>
                <a:moveTo>
                  <a:pt x="11464" y="5332"/>
                </a:moveTo>
                <a:lnTo>
                  <a:pt x="11464" y="5332"/>
                </a:lnTo>
                <a:lnTo>
                  <a:pt x="11470" y="5316"/>
                </a:lnTo>
                <a:lnTo>
                  <a:pt x="11476" y="5304"/>
                </a:lnTo>
                <a:lnTo>
                  <a:pt x="11476" y="5296"/>
                </a:lnTo>
                <a:lnTo>
                  <a:pt x="11476" y="5294"/>
                </a:lnTo>
                <a:lnTo>
                  <a:pt x="11474" y="5296"/>
                </a:lnTo>
                <a:lnTo>
                  <a:pt x="11468" y="5304"/>
                </a:lnTo>
                <a:lnTo>
                  <a:pt x="11464" y="5316"/>
                </a:lnTo>
                <a:lnTo>
                  <a:pt x="11464" y="5332"/>
                </a:lnTo>
                <a:close/>
                <a:moveTo>
                  <a:pt x="11260" y="5438"/>
                </a:moveTo>
                <a:lnTo>
                  <a:pt x="11260" y="5438"/>
                </a:lnTo>
                <a:lnTo>
                  <a:pt x="11264" y="5442"/>
                </a:lnTo>
                <a:lnTo>
                  <a:pt x="11268" y="5440"/>
                </a:lnTo>
                <a:lnTo>
                  <a:pt x="11268" y="5438"/>
                </a:lnTo>
                <a:lnTo>
                  <a:pt x="11266" y="5436"/>
                </a:lnTo>
                <a:lnTo>
                  <a:pt x="11262" y="5434"/>
                </a:lnTo>
                <a:lnTo>
                  <a:pt x="11258" y="5434"/>
                </a:lnTo>
                <a:lnTo>
                  <a:pt x="11258" y="5436"/>
                </a:lnTo>
                <a:lnTo>
                  <a:pt x="11260" y="5438"/>
                </a:lnTo>
                <a:close/>
                <a:moveTo>
                  <a:pt x="11524" y="5346"/>
                </a:moveTo>
                <a:lnTo>
                  <a:pt x="11524" y="5346"/>
                </a:lnTo>
                <a:lnTo>
                  <a:pt x="11518" y="5342"/>
                </a:lnTo>
                <a:lnTo>
                  <a:pt x="11516" y="5338"/>
                </a:lnTo>
                <a:lnTo>
                  <a:pt x="11516" y="5334"/>
                </a:lnTo>
                <a:lnTo>
                  <a:pt x="11514" y="5336"/>
                </a:lnTo>
                <a:lnTo>
                  <a:pt x="11514" y="5340"/>
                </a:lnTo>
                <a:lnTo>
                  <a:pt x="11516" y="5344"/>
                </a:lnTo>
                <a:lnTo>
                  <a:pt x="11522" y="5348"/>
                </a:lnTo>
                <a:lnTo>
                  <a:pt x="11528" y="5356"/>
                </a:lnTo>
                <a:lnTo>
                  <a:pt x="11530" y="5354"/>
                </a:lnTo>
                <a:lnTo>
                  <a:pt x="11528" y="5350"/>
                </a:lnTo>
                <a:lnTo>
                  <a:pt x="11524" y="5346"/>
                </a:lnTo>
                <a:close/>
                <a:moveTo>
                  <a:pt x="11702" y="5450"/>
                </a:moveTo>
                <a:lnTo>
                  <a:pt x="11702" y="5450"/>
                </a:lnTo>
                <a:lnTo>
                  <a:pt x="11706" y="5448"/>
                </a:lnTo>
                <a:lnTo>
                  <a:pt x="11706" y="5446"/>
                </a:lnTo>
                <a:lnTo>
                  <a:pt x="11704" y="5442"/>
                </a:lnTo>
                <a:lnTo>
                  <a:pt x="11702" y="5438"/>
                </a:lnTo>
                <a:lnTo>
                  <a:pt x="11702" y="5436"/>
                </a:lnTo>
                <a:lnTo>
                  <a:pt x="11700" y="5436"/>
                </a:lnTo>
                <a:lnTo>
                  <a:pt x="11698" y="5440"/>
                </a:lnTo>
                <a:lnTo>
                  <a:pt x="11694" y="5442"/>
                </a:lnTo>
                <a:lnTo>
                  <a:pt x="11694" y="5446"/>
                </a:lnTo>
                <a:lnTo>
                  <a:pt x="11696" y="5448"/>
                </a:lnTo>
                <a:lnTo>
                  <a:pt x="11702" y="5450"/>
                </a:lnTo>
                <a:close/>
                <a:moveTo>
                  <a:pt x="11672" y="5114"/>
                </a:moveTo>
                <a:lnTo>
                  <a:pt x="11672" y="5114"/>
                </a:lnTo>
                <a:lnTo>
                  <a:pt x="11666" y="5112"/>
                </a:lnTo>
                <a:lnTo>
                  <a:pt x="11658" y="5112"/>
                </a:lnTo>
                <a:lnTo>
                  <a:pt x="11652" y="5114"/>
                </a:lnTo>
                <a:lnTo>
                  <a:pt x="11646" y="5116"/>
                </a:lnTo>
                <a:lnTo>
                  <a:pt x="11642" y="5120"/>
                </a:lnTo>
                <a:lnTo>
                  <a:pt x="11638" y="5124"/>
                </a:lnTo>
                <a:lnTo>
                  <a:pt x="11636" y="5128"/>
                </a:lnTo>
                <a:lnTo>
                  <a:pt x="11636" y="5132"/>
                </a:lnTo>
                <a:lnTo>
                  <a:pt x="11636" y="5136"/>
                </a:lnTo>
                <a:lnTo>
                  <a:pt x="11634" y="5140"/>
                </a:lnTo>
                <a:lnTo>
                  <a:pt x="11626" y="5146"/>
                </a:lnTo>
                <a:lnTo>
                  <a:pt x="11618" y="5148"/>
                </a:lnTo>
                <a:lnTo>
                  <a:pt x="11612" y="5148"/>
                </a:lnTo>
                <a:lnTo>
                  <a:pt x="11610" y="5148"/>
                </a:lnTo>
                <a:lnTo>
                  <a:pt x="11608" y="5148"/>
                </a:lnTo>
                <a:lnTo>
                  <a:pt x="11604" y="5150"/>
                </a:lnTo>
                <a:lnTo>
                  <a:pt x="11598" y="5156"/>
                </a:lnTo>
                <a:lnTo>
                  <a:pt x="11584" y="5176"/>
                </a:lnTo>
                <a:lnTo>
                  <a:pt x="11576" y="5188"/>
                </a:lnTo>
                <a:lnTo>
                  <a:pt x="11568" y="5196"/>
                </a:lnTo>
                <a:lnTo>
                  <a:pt x="11560" y="5202"/>
                </a:lnTo>
                <a:lnTo>
                  <a:pt x="11556" y="5204"/>
                </a:lnTo>
                <a:lnTo>
                  <a:pt x="11552" y="5202"/>
                </a:lnTo>
                <a:lnTo>
                  <a:pt x="11546" y="5200"/>
                </a:lnTo>
                <a:lnTo>
                  <a:pt x="11542" y="5194"/>
                </a:lnTo>
                <a:lnTo>
                  <a:pt x="11540" y="5190"/>
                </a:lnTo>
                <a:lnTo>
                  <a:pt x="11538" y="5184"/>
                </a:lnTo>
                <a:lnTo>
                  <a:pt x="11534" y="5170"/>
                </a:lnTo>
                <a:lnTo>
                  <a:pt x="11532" y="5164"/>
                </a:lnTo>
                <a:lnTo>
                  <a:pt x="11530" y="5160"/>
                </a:lnTo>
                <a:lnTo>
                  <a:pt x="11526" y="5156"/>
                </a:lnTo>
                <a:lnTo>
                  <a:pt x="11524" y="5158"/>
                </a:lnTo>
                <a:lnTo>
                  <a:pt x="11524" y="5164"/>
                </a:lnTo>
                <a:lnTo>
                  <a:pt x="11522" y="5166"/>
                </a:lnTo>
                <a:lnTo>
                  <a:pt x="11516" y="5154"/>
                </a:lnTo>
                <a:lnTo>
                  <a:pt x="11514" y="5142"/>
                </a:lnTo>
                <a:lnTo>
                  <a:pt x="11512" y="5132"/>
                </a:lnTo>
                <a:lnTo>
                  <a:pt x="11514" y="5126"/>
                </a:lnTo>
                <a:lnTo>
                  <a:pt x="11514" y="5120"/>
                </a:lnTo>
                <a:lnTo>
                  <a:pt x="11518" y="5106"/>
                </a:lnTo>
                <a:lnTo>
                  <a:pt x="11516" y="5098"/>
                </a:lnTo>
                <a:lnTo>
                  <a:pt x="11514" y="5088"/>
                </a:lnTo>
                <a:lnTo>
                  <a:pt x="11512" y="5080"/>
                </a:lnTo>
                <a:lnTo>
                  <a:pt x="11508" y="5076"/>
                </a:lnTo>
                <a:lnTo>
                  <a:pt x="11504" y="5074"/>
                </a:lnTo>
                <a:lnTo>
                  <a:pt x="11502" y="5074"/>
                </a:lnTo>
                <a:lnTo>
                  <a:pt x="11496" y="5076"/>
                </a:lnTo>
                <a:lnTo>
                  <a:pt x="11490" y="5074"/>
                </a:lnTo>
                <a:lnTo>
                  <a:pt x="11480" y="5072"/>
                </a:lnTo>
                <a:lnTo>
                  <a:pt x="11468" y="5064"/>
                </a:lnTo>
                <a:lnTo>
                  <a:pt x="11456" y="5058"/>
                </a:lnTo>
                <a:lnTo>
                  <a:pt x="11448" y="5056"/>
                </a:lnTo>
                <a:lnTo>
                  <a:pt x="11440" y="5056"/>
                </a:lnTo>
                <a:lnTo>
                  <a:pt x="11434" y="5058"/>
                </a:lnTo>
                <a:lnTo>
                  <a:pt x="11426" y="5068"/>
                </a:lnTo>
                <a:lnTo>
                  <a:pt x="11422" y="5072"/>
                </a:lnTo>
                <a:lnTo>
                  <a:pt x="11420" y="5074"/>
                </a:lnTo>
                <a:lnTo>
                  <a:pt x="11410" y="5076"/>
                </a:lnTo>
                <a:lnTo>
                  <a:pt x="11404" y="5076"/>
                </a:lnTo>
                <a:lnTo>
                  <a:pt x="11398" y="5080"/>
                </a:lnTo>
                <a:lnTo>
                  <a:pt x="11396" y="5082"/>
                </a:lnTo>
                <a:lnTo>
                  <a:pt x="11396" y="5084"/>
                </a:lnTo>
                <a:lnTo>
                  <a:pt x="11396" y="5088"/>
                </a:lnTo>
                <a:lnTo>
                  <a:pt x="11394" y="5094"/>
                </a:lnTo>
                <a:lnTo>
                  <a:pt x="11388" y="5102"/>
                </a:lnTo>
                <a:lnTo>
                  <a:pt x="11386" y="5106"/>
                </a:lnTo>
                <a:lnTo>
                  <a:pt x="11386" y="5110"/>
                </a:lnTo>
                <a:lnTo>
                  <a:pt x="11390" y="5110"/>
                </a:lnTo>
                <a:lnTo>
                  <a:pt x="11398" y="5112"/>
                </a:lnTo>
                <a:lnTo>
                  <a:pt x="11408" y="5112"/>
                </a:lnTo>
                <a:lnTo>
                  <a:pt x="11412" y="5114"/>
                </a:lnTo>
                <a:lnTo>
                  <a:pt x="11416" y="5116"/>
                </a:lnTo>
                <a:lnTo>
                  <a:pt x="11422" y="5126"/>
                </a:lnTo>
                <a:lnTo>
                  <a:pt x="11430" y="5142"/>
                </a:lnTo>
                <a:lnTo>
                  <a:pt x="11432" y="5146"/>
                </a:lnTo>
                <a:lnTo>
                  <a:pt x="11436" y="5148"/>
                </a:lnTo>
                <a:lnTo>
                  <a:pt x="11444" y="5150"/>
                </a:lnTo>
                <a:lnTo>
                  <a:pt x="11456" y="5150"/>
                </a:lnTo>
                <a:lnTo>
                  <a:pt x="11468" y="5148"/>
                </a:lnTo>
                <a:lnTo>
                  <a:pt x="11480" y="5148"/>
                </a:lnTo>
                <a:lnTo>
                  <a:pt x="11490" y="5148"/>
                </a:lnTo>
                <a:lnTo>
                  <a:pt x="11498" y="5150"/>
                </a:lnTo>
                <a:lnTo>
                  <a:pt x="11500" y="5152"/>
                </a:lnTo>
                <a:lnTo>
                  <a:pt x="11500" y="5154"/>
                </a:lnTo>
                <a:lnTo>
                  <a:pt x="11500" y="5160"/>
                </a:lnTo>
                <a:lnTo>
                  <a:pt x="11496" y="5162"/>
                </a:lnTo>
                <a:lnTo>
                  <a:pt x="11492" y="5162"/>
                </a:lnTo>
                <a:lnTo>
                  <a:pt x="11486" y="5160"/>
                </a:lnTo>
                <a:lnTo>
                  <a:pt x="11480" y="5158"/>
                </a:lnTo>
                <a:lnTo>
                  <a:pt x="11474" y="5158"/>
                </a:lnTo>
                <a:lnTo>
                  <a:pt x="11468" y="5160"/>
                </a:lnTo>
                <a:lnTo>
                  <a:pt x="11466" y="5164"/>
                </a:lnTo>
                <a:lnTo>
                  <a:pt x="11462" y="5170"/>
                </a:lnTo>
                <a:lnTo>
                  <a:pt x="11456" y="5172"/>
                </a:lnTo>
                <a:lnTo>
                  <a:pt x="11448" y="5172"/>
                </a:lnTo>
                <a:lnTo>
                  <a:pt x="11442" y="5170"/>
                </a:lnTo>
                <a:lnTo>
                  <a:pt x="11436" y="5170"/>
                </a:lnTo>
                <a:lnTo>
                  <a:pt x="11430" y="5170"/>
                </a:lnTo>
                <a:lnTo>
                  <a:pt x="11426" y="5172"/>
                </a:lnTo>
                <a:lnTo>
                  <a:pt x="11426" y="5178"/>
                </a:lnTo>
                <a:lnTo>
                  <a:pt x="11428" y="5182"/>
                </a:lnTo>
                <a:lnTo>
                  <a:pt x="11432" y="5184"/>
                </a:lnTo>
                <a:lnTo>
                  <a:pt x="11438" y="5186"/>
                </a:lnTo>
                <a:lnTo>
                  <a:pt x="11450" y="5196"/>
                </a:lnTo>
                <a:lnTo>
                  <a:pt x="11456" y="5204"/>
                </a:lnTo>
                <a:lnTo>
                  <a:pt x="11460" y="5208"/>
                </a:lnTo>
                <a:lnTo>
                  <a:pt x="11460" y="5212"/>
                </a:lnTo>
                <a:lnTo>
                  <a:pt x="11460" y="5214"/>
                </a:lnTo>
                <a:lnTo>
                  <a:pt x="11454" y="5220"/>
                </a:lnTo>
                <a:lnTo>
                  <a:pt x="11454" y="5222"/>
                </a:lnTo>
                <a:lnTo>
                  <a:pt x="11456" y="5228"/>
                </a:lnTo>
                <a:lnTo>
                  <a:pt x="11458" y="5232"/>
                </a:lnTo>
                <a:lnTo>
                  <a:pt x="11462" y="5236"/>
                </a:lnTo>
                <a:lnTo>
                  <a:pt x="11468" y="5238"/>
                </a:lnTo>
                <a:lnTo>
                  <a:pt x="11472" y="5238"/>
                </a:lnTo>
                <a:lnTo>
                  <a:pt x="11476" y="5236"/>
                </a:lnTo>
                <a:lnTo>
                  <a:pt x="11480" y="5232"/>
                </a:lnTo>
                <a:lnTo>
                  <a:pt x="11484" y="5226"/>
                </a:lnTo>
                <a:lnTo>
                  <a:pt x="11486" y="5216"/>
                </a:lnTo>
                <a:lnTo>
                  <a:pt x="11492" y="5198"/>
                </a:lnTo>
                <a:lnTo>
                  <a:pt x="11496" y="5190"/>
                </a:lnTo>
                <a:lnTo>
                  <a:pt x="11498" y="5190"/>
                </a:lnTo>
                <a:lnTo>
                  <a:pt x="11498" y="5192"/>
                </a:lnTo>
                <a:lnTo>
                  <a:pt x="11494" y="5206"/>
                </a:lnTo>
                <a:lnTo>
                  <a:pt x="11494" y="5212"/>
                </a:lnTo>
                <a:lnTo>
                  <a:pt x="11494" y="5216"/>
                </a:lnTo>
                <a:lnTo>
                  <a:pt x="11498" y="5220"/>
                </a:lnTo>
                <a:lnTo>
                  <a:pt x="11502" y="5222"/>
                </a:lnTo>
                <a:lnTo>
                  <a:pt x="11516" y="5228"/>
                </a:lnTo>
                <a:lnTo>
                  <a:pt x="11522" y="5232"/>
                </a:lnTo>
                <a:lnTo>
                  <a:pt x="11530" y="5238"/>
                </a:lnTo>
                <a:lnTo>
                  <a:pt x="11540" y="5246"/>
                </a:lnTo>
                <a:lnTo>
                  <a:pt x="11548" y="5252"/>
                </a:lnTo>
                <a:lnTo>
                  <a:pt x="11556" y="5254"/>
                </a:lnTo>
                <a:lnTo>
                  <a:pt x="11562" y="5256"/>
                </a:lnTo>
                <a:lnTo>
                  <a:pt x="11578" y="5258"/>
                </a:lnTo>
                <a:lnTo>
                  <a:pt x="11586" y="5260"/>
                </a:lnTo>
                <a:lnTo>
                  <a:pt x="11596" y="5264"/>
                </a:lnTo>
                <a:lnTo>
                  <a:pt x="11612" y="5272"/>
                </a:lnTo>
                <a:lnTo>
                  <a:pt x="11624" y="5276"/>
                </a:lnTo>
                <a:lnTo>
                  <a:pt x="11636" y="5282"/>
                </a:lnTo>
                <a:lnTo>
                  <a:pt x="11650" y="5290"/>
                </a:lnTo>
                <a:lnTo>
                  <a:pt x="11658" y="5298"/>
                </a:lnTo>
                <a:lnTo>
                  <a:pt x="11664" y="5304"/>
                </a:lnTo>
                <a:lnTo>
                  <a:pt x="11676" y="5322"/>
                </a:lnTo>
                <a:lnTo>
                  <a:pt x="11684" y="5342"/>
                </a:lnTo>
                <a:lnTo>
                  <a:pt x="11694" y="5358"/>
                </a:lnTo>
                <a:lnTo>
                  <a:pt x="11698" y="5364"/>
                </a:lnTo>
                <a:lnTo>
                  <a:pt x="11700" y="5368"/>
                </a:lnTo>
                <a:lnTo>
                  <a:pt x="11700" y="5370"/>
                </a:lnTo>
                <a:lnTo>
                  <a:pt x="11698" y="5372"/>
                </a:lnTo>
                <a:lnTo>
                  <a:pt x="11692" y="5374"/>
                </a:lnTo>
                <a:lnTo>
                  <a:pt x="11692" y="5378"/>
                </a:lnTo>
                <a:lnTo>
                  <a:pt x="11692" y="5382"/>
                </a:lnTo>
                <a:lnTo>
                  <a:pt x="11694" y="5390"/>
                </a:lnTo>
                <a:lnTo>
                  <a:pt x="11698" y="5394"/>
                </a:lnTo>
                <a:lnTo>
                  <a:pt x="11706" y="5400"/>
                </a:lnTo>
                <a:lnTo>
                  <a:pt x="11710" y="5402"/>
                </a:lnTo>
                <a:lnTo>
                  <a:pt x="11714" y="5406"/>
                </a:lnTo>
                <a:lnTo>
                  <a:pt x="11714" y="5412"/>
                </a:lnTo>
                <a:lnTo>
                  <a:pt x="11712" y="5420"/>
                </a:lnTo>
                <a:lnTo>
                  <a:pt x="11706" y="5434"/>
                </a:lnTo>
                <a:lnTo>
                  <a:pt x="11706" y="5436"/>
                </a:lnTo>
                <a:lnTo>
                  <a:pt x="11708" y="5436"/>
                </a:lnTo>
                <a:lnTo>
                  <a:pt x="11714" y="5434"/>
                </a:lnTo>
                <a:lnTo>
                  <a:pt x="11718" y="5434"/>
                </a:lnTo>
                <a:lnTo>
                  <a:pt x="11720" y="5436"/>
                </a:lnTo>
                <a:lnTo>
                  <a:pt x="11722" y="5438"/>
                </a:lnTo>
                <a:lnTo>
                  <a:pt x="11724" y="5438"/>
                </a:lnTo>
                <a:lnTo>
                  <a:pt x="11730" y="5438"/>
                </a:lnTo>
                <a:lnTo>
                  <a:pt x="11740" y="5438"/>
                </a:lnTo>
                <a:lnTo>
                  <a:pt x="11744" y="5440"/>
                </a:lnTo>
                <a:lnTo>
                  <a:pt x="11752" y="5444"/>
                </a:lnTo>
                <a:lnTo>
                  <a:pt x="11750" y="5154"/>
                </a:lnTo>
                <a:lnTo>
                  <a:pt x="11740" y="5154"/>
                </a:lnTo>
                <a:lnTo>
                  <a:pt x="11730" y="5150"/>
                </a:lnTo>
                <a:lnTo>
                  <a:pt x="11708" y="5138"/>
                </a:lnTo>
                <a:lnTo>
                  <a:pt x="11672" y="5114"/>
                </a:lnTo>
                <a:close/>
                <a:moveTo>
                  <a:pt x="11698" y="5436"/>
                </a:moveTo>
                <a:lnTo>
                  <a:pt x="11698" y="5436"/>
                </a:lnTo>
                <a:lnTo>
                  <a:pt x="11702" y="5434"/>
                </a:lnTo>
                <a:lnTo>
                  <a:pt x="11704" y="5430"/>
                </a:lnTo>
                <a:lnTo>
                  <a:pt x="11706" y="5420"/>
                </a:lnTo>
                <a:lnTo>
                  <a:pt x="11710" y="5412"/>
                </a:lnTo>
                <a:lnTo>
                  <a:pt x="11710" y="5410"/>
                </a:lnTo>
                <a:lnTo>
                  <a:pt x="11708" y="5408"/>
                </a:lnTo>
                <a:lnTo>
                  <a:pt x="11704" y="5406"/>
                </a:lnTo>
                <a:lnTo>
                  <a:pt x="11702" y="5404"/>
                </a:lnTo>
                <a:lnTo>
                  <a:pt x="11702" y="5402"/>
                </a:lnTo>
                <a:lnTo>
                  <a:pt x="11700" y="5400"/>
                </a:lnTo>
                <a:lnTo>
                  <a:pt x="11694" y="5398"/>
                </a:lnTo>
                <a:lnTo>
                  <a:pt x="11690" y="5398"/>
                </a:lnTo>
                <a:lnTo>
                  <a:pt x="11678" y="5404"/>
                </a:lnTo>
                <a:lnTo>
                  <a:pt x="11668" y="5414"/>
                </a:lnTo>
                <a:lnTo>
                  <a:pt x="11664" y="5418"/>
                </a:lnTo>
                <a:lnTo>
                  <a:pt x="11664" y="5422"/>
                </a:lnTo>
                <a:lnTo>
                  <a:pt x="11662" y="5428"/>
                </a:lnTo>
                <a:lnTo>
                  <a:pt x="11658" y="5436"/>
                </a:lnTo>
                <a:lnTo>
                  <a:pt x="11656" y="5442"/>
                </a:lnTo>
                <a:lnTo>
                  <a:pt x="11654" y="5448"/>
                </a:lnTo>
                <a:lnTo>
                  <a:pt x="11654" y="5450"/>
                </a:lnTo>
                <a:lnTo>
                  <a:pt x="11658" y="5448"/>
                </a:lnTo>
                <a:lnTo>
                  <a:pt x="11666" y="5448"/>
                </a:lnTo>
                <a:lnTo>
                  <a:pt x="11672" y="5448"/>
                </a:lnTo>
                <a:lnTo>
                  <a:pt x="11678" y="5450"/>
                </a:lnTo>
                <a:lnTo>
                  <a:pt x="11682" y="5450"/>
                </a:lnTo>
                <a:lnTo>
                  <a:pt x="11686" y="5450"/>
                </a:lnTo>
                <a:lnTo>
                  <a:pt x="11690" y="5446"/>
                </a:lnTo>
                <a:lnTo>
                  <a:pt x="11694" y="5440"/>
                </a:lnTo>
                <a:lnTo>
                  <a:pt x="11698" y="5436"/>
                </a:lnTo>
                <a:close/>
                <a:moveTo>
                  <a:pt x="10850" y="5438"/>
                </a:moveTo>
                <a:lnTo>
                  <a:pt x="10850" y="5438"/>
                </a:lnTo>
                <a:lnTo>
                  <a:pt x="10850" y="5436"/>
                </a:lnTo>
                <a:lnTo>
                  <a:pt x="10846" y="5436"/>
                </a:lnTo>
                <a:lnTo>
                  <a:pt x="10842" y="5438"/>
                </a:lnTo>
                <a:lnTo>
                  <a:pt x="10842" y="5442"/>
                </a:lnTo>
                <a:lnTo>
                  <a:pt x="10844" y="5446"/>
                </a:lnTo>
                <a:lnTo>
                  <a:pt x="10846" y="5446"/>
                </a:lnTo>
                <a:lnTo>
                  <a:pt x="10850" y="5438"/>
                </a:lnTo>
                <a:close/>
                <a:moveTo>
                  <a:pt x="10926" y="5458"/>
                </a:moveTo>
                <a:lnTo>
                  <a:pt x="10926" y="5458"/>
                </a:lnTo>
                <a:lnTo>
                  <a:pt x="10928" y="5458"/>
                </a:lnTo>
                <a:lnTo>
                  <a:pt x="10928" y="5456"/>
                </a:lnTo>
                <a:lnTo>
                  <a:pt x="10928" y="5452"/>
                </a:lnTo>
                <a:lnTo>
                  <a:pt x="10926" y="5452"/>
                </a:lnTo>
                <a:lnTo>
                  <a:pt x="10922" y="5450"/>
                </a:lnTo>
                <a:lnTo>
                  <a:pt x="10920" y="5450"/>
                </a:lnTo>
                <a:lnTo>
                  <a:pt x="10920" y="5452"/>
                </a:lnTo>
                <a:lnTo>
                  <a:pt x="10920" y="5456"/>
                </a:lnTo>
                <a:lnTo>
                  <a:pt x="10920" y="5462"/>
                </a:lnTo>
                <a:lnTo>
                  <a:pt x="10920" y="5464"/>
                </a:lnTo>
                <a:lnTo>
                  <a:pt x="10922" y="5462"/>
                </a:lnTo>
                <a:lnTo>
                  <a:pt x="10924" y="5460"/>
                </a:lnTo>
                <a:lnTo>
                  <a:pt x="10926" y="5458"/>
                </a:lnTo>
                <a:close/>
                <a:moveTo>
                  <a:pt x="10930" y="5468"/>
                </a:moveTo>
                <a:lnTo>
                  <a:pt x="10930" y="5468"/>
                </a:lnTo>
                <a:lnTo>
                  <a:pt x="10932" y="5466"/>
                </a:lnTo>
                <a:lnTo>
                  <a:pt x="10934" y="5464"/>
                </a:lnTo>
                <a:lnTo>
                  <a:pt x="10934" y="5460"/>
                </a:lnTo>
                <a:lnTo>
                  <a:pt x="10930" y="5460"/>
                </a:lnTo>
                <a:lnTo>
                  <a:pt x="10928" y="5462"/>
                </a:lnTo>
                <a:lnTo>
                  <a:pt x="10928" y="5464"/>
                </a:lnTo>
                <a:lnTo>
                  <a:pt x="10928" y="5468"/>
                </a:lnTo>
                <a:lnTo>
                  <a:pt x="10930" y="5468"/>
                </a:lnTo>
                <a:close/>
                <a:moveTo>
                  <a:pt x="10910" y="5150"/>
                </a:moveTo>
                <a:lnTo>
                  <a:pt x="10910" y="5150"/>
                </a:lnTo>
                <a:lnTo>
                  <a:pt x="10908" y="5158"/>
                </a:lnTo>
                <a:lnTo>
                  <a:pt x="10906" y="5164"/>
                </a:lnTo>
                <a:lnTo>
                  <a:pt x="10902" y="5166"/>
                </a:lnTo>
                <a:lnTo>
                  <a:pt x="10900" y="5168"/>
                </a:lnTo>
                <a:lnTo>
                  <a:pt x="10894" y="5170"/>
                </a:lnTo>
                <a:lnTo>
                  <a:pt x="10894" y="5172"/>
                </a:lnTo>
                <a:lnTo>
                  <a:pt x="10896" y="5176"/>
                </a:lnTo>
                <a:lnTo>
                  <a:pt x="10898" y="5184"/>
                </a:lnTo>
                <a:lnTo>
                  <a:pt x="10896" y="5186"/>
                </a:lnTo>
                <a:lnTo>
                  <a:pt x="10894" y="5190"/>
                </a:lnTo>
                <a:lnTo>
                  <a:pt x="10896" y="5202"/>
                </a:lnTo>
                <a:lnTo>
                  <a:pt x="10900" y="5208"/>
                </a:lnTo>
                <a:lnTo>
                  <a:pt x="10902" y="5210"/>
                </a:lnTo>
                <a:lnTo>
                  <a:pt x="10906" y="5210"/>
                </a:lnTo>
                <a:lnTo>
                  <a:pt x="10908" y="5210"/>
                </a:lnTo>
                <a:lnTo>
                  <a:pt x="10912" y="5208"/>
                </a:lnTo>
                <a:lnTo>
                  <a:pt x="10916" y="5210"/>
                </a:lnTo>
                <a:lnTo>
                  <a:pt x="10920" y="5214"/>
                </a:lnTo>
                <a:lnTo>
                  <a:pt x="10924" y="5222"/>
                </a:lnTo>
                <a:lnTo>
                  <a:pt x="10928" y="5232"/>
                </a:lnTo>
                <a:lnTo>
                  <a:pt x="10928" y="5244"/>
                </a:lnTo>
                <a:lnTo>
                  <a:pt x="10926" y="5256"/>
                </a:lnTo>
                <a:lnTo>
                  <a:pt x="10924" y="5268"/>
                </a:lnTo>
                <a:lnTo>
                  <a:pt x="10920" y="5280"/>
                </a:lnTo>
                <a:lnTo>
                  <a:pt x="10918" y="5292"/>
                </a:lnTo>
                <a:lnTo>
                  <a:pt x="10920" y="5302"/>
                </a:lnTo>
                <a:lnTo>
                  <a:pt x="10922" y="5310"/>
                </a:lnTo>
                <a:lnTo>
                  <a:pt x="10926" y="5314"/>
                </a:lnTo>
                <a:lnTo>
                  <a:pt x="10930" y="5316"/>
                </a:lnTo>
                <a:lnTo>
                  <a:pt x="10934" y="5316"/>
                </a:lnTo>
                <a:lnTo>
                  <a:pt x="10938" y="5316"/>
                </a:lnTo>
                <a:lnTo>
                  <a:pt x="10946" y="5312"/>
                </a:lnTo>
                <a:lnTo>
                  <a:pt x="10956" y="5312"/>
                </a:lnTo>
                <a:lnTo>
                  <a:pt x="10960" y="5312"/>
                </a:lnTo>
                <a:lnTo>
                  <a:pt x="10962" y="5308"/>
                </a:lnTo>
                <a:lnTo>
                  <a:pt x="10960" y="5300"/>
                </a:lnTo>
                <a:lnTo>
                  <a:pt x="10956" y="5286"/>
                </a:lnTo>
                <a:lnTo>
                  <a:pt x="10956" y="5280"/>
                </a:lnTo>
                <a:lnTo>
                  <a:pt x="10958" y="5274"/>
                </a:lnTo>
                <a:lnTo>
                  <a:pt x="10962" y="5270"/>
                </a:lnTo>
                <a:lnTo>
                  <a:pt x="10962" y="5264"/>
                </a:lnTo>
                <a:lnTo>
                  <a:pt x="10962" y="5250"/>
                </a:lnTo>
                <a:lnTo>
                  <a:pt x="10960" y="5234"/>
                </a:lnTo>
                <a:lnTo>
                  <a:pt x="10962" y="5214"/>
                </a:lnTo>
                <a:lnTo>
                  <a:pt x="10962" y="5204"/>
                </a:lnTo>
                <a:lnTo>
                  <a:pt x="10962" y="5196"/>
                </a:lnTo>
                <a:lnTo>
                  <a:pt x="10956" y="5190"/>
                </a:lnTo>
                <a:lnTo>
                  <a:pt x="10956" y="5186"/>
                </a:lnTo>
                <a:lnTo>
                  <a:pt x="10956" y="5184"/>
                </a:lnTo>
                <a:lnTo>
                  <a:pt x="10964" y="5174"/>
                </a:lnTo>
                <a:lnTo>
                  <a:pt x="10972" y="5168"/>
                </a:lnTo>
                <a:lnTo>
                  <a:pt x="10978" y="5166"/>
                </a:lnTo>
                <a:lnTo>
                  <a:pt x="10982" y="5168"/>
                </a:lnTo>
                <a:lnTo>
                  <a:pt x="10986" y="5170"/>
                </a:lnTo>
                <a:lnTo>
                  <a:pt x="10988" y="5176"/>
                </a:lnTo>
                <a:lnTo>
                  <a:pt x="10988" y="5182"/>
                </a:lnTo>
                <a:lnTo>
                  <a:pt x="10986" y="5188"/>
                </a:lnTo>
                <a:lnTo>
                  <a:pt x="10982" y="5196"/>
                </a:lnTo>
                <a:lnTo>
                  <a:pt x="10980" y="5202"/>
                </a:lnTo>
                <a:lnTo>
                  <a:pt x="10978" y="5208"/>
                </a:lnTo>
                <a:lnTo>
                  <a:pt x="10980" y="5212"/>
                </a:lnTo>
                <a:lnTo>
                  <a:pt x="10982" y="5216"/>
                </a:lnTo>
                <a:lnTo>
                  <a:pt x="10990" y="5224"/>
                </a:lnTo>
                <a:lnTo>
                  <a:pt x="11000" y="5232"/>
                </a:lnTo>
                <a:lnTo>
                  <a:pt x="11004" y="5238"/>
                </a:lnTo>
                <a:lnTo>
                  <a:pt x="11004" y="5246"/>
                </a:lnTo>
                <a:lnTo>
                  <a:pt x="11002" y="5260"/>
                </a:lnTo>
                <a:lnTo>
                  <a:pt x="11002" y="5268"/>
                </a:lnTo>
                <a:lnTo>
                  <a:pt x="11004" y="5272"/>
                </a:lnTo>
                <a:lnTo>
                  <a:pt x="11010" y="5276"/>
                </a:lnTo>
                <a:lnTo>
                  <a:pt x="11018" y="5278"/>
                </a:lnTo>
                <a:lnTo>
                  <a:pt x="11024" y="5276"/>
                </a:lnTo>
                <a:lnTo>
                  <a:pt x="11028" y="5274"/>
                </a:lnTo>
                <a:lnTo>
                  <a:pt x="11028" y="5272"/>
                </a:lnTo>
                <a:lnTo>
                  <a:pt x="11028" y="5268"/>
                </a:lnTo>
                <a:lnTo>
                  <a:pt x="11028" y="5262"/>
                </a:lnTo>
                <a:lnTo>
                  <a:pt x="11032" y="5258"/>
                </a:lnTo>
                <a:lnTo>
                  <a:pt x="11036" y="5256"/>
                </a:lnTo>
                <a:lnTo>
                  <a:pt x="11040" y="5254"/>
                </a:lnTo>
                <a:lnTo>
                  <a:pt x="11046" y="5254"/>
                </a:lnTo>
                <a:lnTo>
                  <a:pt x="11052" y="5256"/>
                </a:lnTo>
                <a:lnTo>
                  <a:pt x="11054" y="5256"/>
                </a:lnTo>
                <a:lnTo>
                  <a:pt x="11056" y="5256"/>
                </a:lnTo>
                <a:lnTo>
                  <a:pt x="11060" y="5246"/>
                </a:lnTo>
                <a:lnTo>
                  <a:pt x="11060" y="5240"/>
                </a:lnTo>
                <a:lnTo>
                  <a:pt x="11058" y="5236"/>
                </a:lnTo>
                <a:lnTo>
                  <a:pt x="11052" y="5232"/>
                </a:lnTo>
                <a:lnTo>
                  <a:pt x="11046" y="5228"/>
                </a:lnTo>
                <a:lnTo>
                  <a:pt x="11042" y="5224"/>
                </a:lnTo>
                <a:lnTo>
                  <a:pt x="11036" y="5220"/>
                </a:lnTo>
                <a:lnTo>
                  <a:pt x="11036" y="5216"/>
                </a:lnTo>
                <a:lnTo>
                  <a:pt x="11038" y="5210"/>
                </a:lnTo>
                <a:lnTo>
                  <a:pt x="11040" y="5204"/>
                </a:lnTo>
                <a:lnTo>
                  <a:pt x="11040" y="5196"/>
                </a:lnTo>
                <a:lnTo>
                  <a:pt x="11038" y="5188"/>
                </a:lnTo>
                <a:lnTo>
                  <a:pt x="11036" y="5180"/>
                </a:lnTo>
                <a:lnTo>
                  <a:pt x="11024" y="5162"/>
                </a:lnTo>
                <a:lnTo>
                  <a:pt x="11012" y="5146"/>
                </a:lnTo>
                <a:lnTo>
                  <a:pt x="11006" y="5140"/>
                </a:lnTo>
                <a:lnTo>
                  <a:pt x="11006" y="5134"/>
                </a:lnTo>
                <a:lnTo>
                  <a:pt x="11010" y="5130"/>
                </a:lnTo>
                <a:lnTo>
                  <a:pt x="11018" y="5126"/>
                </a:lnTo>
                <a:lnTo>
                  <a:pt x="11034" y="5114"/>
                </a:lnTo>
                <a:lnTo>
                  <a:pt x="11042" y="5106"/>
                </a:lnTo>
                <a:lnTo>
                  <a:pt x="11050" y="5096"/>
                </a:lnTo>
                <a:lnTo>
                  <a:pt x="11056" y="5088"/>
                </a:lnTo>
                <a:lnTo>
                  <a:pt x="11060" y="5084"/>
                </a:lnTo>
                <a:lnTo>
                  <a:pt x="11066" y="5084"/>
                </a:lnTo>
                <a:lnTo>
                  <a:pt x="11068" y="5084"/>
                </a:lnTo>
                <a:lnTo>
                  <a:pt x="11076" y="5090"/>
                </a:lnTo>
                <a:lnTo>
                  <a:pt x="11078" y="5090"/>
                </a:lnTo>
                <a:lnTo>
                  <a:pt x="11080" y="5088"/>
                </a:lnTo>
                <a:lnTo>
                  <a:pt x="11084" y="5080"/>
                </a:lnTo>
                <a:lnTo>
                  <a:pt x="11084" y="5076"/>
                </a:lnTo>
                <a:lnTo>
                  <a:pt x="11084" y="5074"/>
                </a:lnTo>
                <a:lnTo>
                  <a:pt x="11080" y="5072"/>
                </a:lnTo>
                <a:lnTo>
                  <a:pt x="11076" y="5070"/>
                </a:lnTo>
                <a:lnTo>
                  <a:pt x="11058" y="5070"/>
                </a:lnTo>
                <a:lnTo>
                  <a:pt x="11048" y="5072"/>
                </a:lnTo>
                <a:lnTo>
                  <a:pt x="11042" y="5074"/>
                </a:lnTo>
                <a:lnTo>
                  <a:pt x="11032" y="5080"/>
                </a:lnTo>
                <a:lnTo>
                  <a:pt x="11024" y="5084"/>
                </a:lnTo>
                <a:lnTo>
                  <a:pt x="11020" y="5084"/>
                </a:lnTo>
                <a:lnTo>
                  <a:pt x="11012" y="5082"/>
                </a:lnTo>
                <a:lnTo>
                  <a:pt x="11006" y="5082"/>
                </a:lnTo>
                <a:lnTo>
                  <a:pt x="11000" y="5084"/>
                </a:lnTo>
                <a:lnTo>
                  <a:pt x="10998" y="5088"/>
                </a:lnTo>
                <a:lnTo>
                  <a:pt x="10994" y="5094"/>
                </a:lnTo>
                <a:lnTo>
                  <a:pt x="10992" y="5100"/>
                </a:lnTo>
                <a:lnTo>
                  <a:pt x="10988" y="5104"/>
                </a:lnTo>
                <a:lnTo>
                  <a:pt x="10984" y="5108"/>
                </a:lnTo>
                <a:lnTo>
                  <a:pt x="10976" y="5108"/>
                </a:lnTo>
                <a:lnTo>
                  <a:pt x="10970" y="5106"/>
                </a:lnTo>
                <a:lnTo>
                  <a:pt x="10966" y="5104"/>
                </a:lnTo>
                <a:lnTo>
                  <a:pt x="10966" y="5102"/>
                </a:lnTo>
                <a:lnTo>
                  <a:pt x="10966" y="5098"/>
                </a:lnTo>
                <a:lnTo>
                  <a:pt x="10964" y="5090"/>
                </a:lnTo>
                <a:lnTo>
                  <a:pt x="10962" y="5086"/>
                </a:lnTo>
                <a:lnTo>
                  <a:pt x="10956" y="5082"/>
                </a:lnTo>
                <a:lnTo>
                  <a:pt x="10952" y="5080"/>
                </a:lnTo>
                <a:lnTo>
                  <a:pt x="10950" y="5076"/>
                </a:lnTo>
                <a:lnTo>
                  <a:pt x="10946" y="5064"/>
                </a:lnTo>
                <a:lnTo>
                  <a:pt x="10946" y="5052"/>
                </a:lnTo>
                <a:lnTo>
                  <a:pt x="10950" y="5038"/>
                </a:lnTo>
                <a:lnTo>
                  <a:pt x="10954" y="5026"/>
                </a:lnTo>
                <a:lnTo>
                  <a:pt x="10960" y="5018"/>
                </a:lnTo>
                <a:lnTo>
                  <a:pt x="10962" y="5016"/>
                </a:lnTo>
                <a:lnTo>
                  <a:pt x="10966" y="5014"/>
                </a:lnTo>
                <a:lnTo>
                  <a:pt x="10970" y="5014"/>
                </a:lnTo>
                <a:lnTo>
                  <a:pt x="10974" y="5016"/>
                </a:lnTo>
                <a:lnTo>
                  <a:pt x="10980" y="5018"/>
                </a:lnTo>
                <a:lnTo>
                  <a:pt x="10984" y="5018"/>
                </a:lnTo>
                <a:lnTo>
                  <a:pt x="10994" y="5018"/>
                </a:lnTo>
                <a:lnTo>
                  <a:pt x="11004" y="5016"/>
                </a:lnTo>
                <a:lnTo>
                  <a:pt x="11010" y="5016"/>
                </a:lnTo>
                <a:lnTo>
                  <a:pt x="11014" y="5018"/>
                </a:lnTo>
                <a:lnTo>
                  <a:pt x="11020" y="5018"/>
                </a:lnTo>
                <a:lnTo>
                  <a:pt x="11028" y="5018"/>
                </a:lnTo>
                <a:lnTo>
                  <a:pt x="11046" y="5016"/>
                </a:lnTo>
                <a:lnTo>
                  <a:pt x="11062" y="5016"/>
                </a:lnTo>
                <a:lnTo>
                  <a:pt x="11068" y="5016"/>
                </a:lnTo>
                <a:lnTo>
                  <a:pt x="11070" y="5018"/>
                </a:lnTo>
                <a:lnTo>
                  <a:pt x="11074" y="5022"/>
                </a:lnTo>
                <a:lnTo>
                  <a:pt x="11080" y="5024"/>
                </a:lnTo>
                <a:lnTo>
                  <a:pt x="11088" y="5026"/>
                </a:lnTo>
                <a:lnTo>
                  <a:pt x="11096" y="5026"/>
                </a:lnTo>
                <a:lnTo>
                  <a:pt x="11106" y="5024"/>
                </a:lnTo>
                <a:lnTo>
                  <a:pt x="11114" y="5020"/>
                </a:lnTo>
                <a:lnTo>
                  <a:pt x="11122" y="5016"/>
                </a:lnTo>
                <a:lnTo>
                  <a:pt x="11128" y="5010"/>
                </a:lnTo>
                <a:lnTo>
                  <a:pt x="11148" y="4980"/>
                </a:lnTo>
                <a:lnTo>
                  <a:pt x="11150" y="4974"/>
                </a:lnTo>
                <a:lnTo>
                  <a:pt x="11152" y="4970"/>
                </a:lnTo>
                <a:lnTo>
                  <a:pt x="11152" y="4964"/>
                </a:lnTo>
                <a:lnTo>
                  <a:pt x="11150" y="4958"/>
                </a:lnTo>
                <a:lnTo>
                  <a:pt x="11146" y="4956"/>
                </a:lnTo>
                <a:lnTo>
                  <a:pt x="11142" y="4956"/>
                </a:lnTo>
                <a:lnTo>
                  <a:pt x="11138" y="4958"/>
                </a:lnTo>
                <a:lnTo>
                  <a:pt x="11134" y="4962"/>
                </a:lnTo>
                <a:lnTo>
                  <a:pt x="11124" y="4976"/>
                </a:lnTo>
                <a:lnTo>
                  <a:pt x="11116" y="4990"/>
                </a:lnTo>
                <a:lnTo>
                  <a:pt x="11110" y="4996"/>
                </a:lnTo>
                <a:lnTo>
                  <a:pt x="11104" y="4998"/>
                </a:lnTo>
                <a:lnTo>
                  <a:pt x="11096" y="4998"/>
                </a:lnTo>
                <a:lnTo>
                  <a:pt x="11086" y="4996"/>
                </a:lnTo>
                <a:lnTo>
                  <a:pt x="11072" y="4994"/>
                </a:lnTo>
                <a:lnTo>
                  <a:pt x="11066" y="4994"/>
                </a:lnTo>
                <a:lnTo>
                  <a:pt x="11062" y="4994"/>
                </a:lnTo>
                <a:lnTo>
                  <a:pt x="11060" y="4996"/>
                </a:lnTo>
                <a:lnTo>
                  <a:pt x="11056" y="4996"/>
                </a:lnTo>
                <a:lnTo>
                  <a:pt x="11048" y="4994"/>
                </a:lnTo>
                <a:lnTo>
                  <a:pt x="11034" y="4990"/>
                </a:lnTo>
                <a:lnTo>
                  <a:pt x="11028" y="4990"/>
                </a:lnTo>
                <a:lnTo>
                  <a:pt x="11018" y="4990"/>
                </a:lnTo>
                <a:lnTo>
                  <a:pt x="11010" y="4990"/>
                </a:lnTo>
                <a:lnTo>
                  <a:pt x="11006" y="4988"/>
                </a:lnTo>
                <a:lnTo>
                  <a:pt x="11004" y="4986"/>
                </a:lnTo>
                <a:lnTo>
                  <a:pt x="11004" y="4984"/>
                </a:lnTo>
                <a:lnTo>
                  <a:pt x="11004" y="4980"/>
                </a:lnTo>
                <a:lnTo>
                  <a:pt x="11002" y="4978"/>
                </a:lnTo>
                <a:lnTo>
                  <a:pt x="11000" y="4978"/>
                </a:lnTo>
                <a:lnTo>
                  <a:pt x="10992" y="4978"/>
                </a:lnTo>
                <a:lnTo>
                  <a:pt x="10986" y="4976"/>
                </a:lnTo>
                <a:lnTo>
                  <a:pt x="10980" y="4976"/>
                </a:lnTo>
                <a:lnTo>
                  <a:pt x="10978" y="4976"/>
                </a:lnTo>
                <a:lnTo>
                  <a:pt x="10976" y="4980"/>
                </a:lnTo>
                <a:lnTo>
                  <a:pt x="10974" y="4988"/>
                </a:lnTo>
                <a:lnTo>
                  <a:pt x="10968" y="4996"/>
                </a:lnTo>
                <a:lnTo>
                  <a:pt x="10966" y="4998"/>
                </a:lnTo>
                <a:lnTo>
                  <a:pt x="10962" y="5000"/>
                </a:lnTo>
                <a:lnTo>
                  <a:pt x="10960" y="4998"/>
                </a:lnTo>
                <a:lnTo>
                  <a:pt x="10958" y="4996"/>
                </a:lnTo>
                <a:lnTo>
                  <a:pt x="10954" y="4992"/>
                </a:lnTo>
                <a:lnTo>
                  <a:pt x="10952" y="4992"/>
                </a:lnTo>
                <a:lnTo>
                  <a:pt x="10950" y="4998"/>
                </a:lnTo>
                <a:lnTo>
                  <a:pt x="10946" y="5008"/>
                </a:lnTo>
                <a:lnTo>
                  <a:pt x="10940" y="5020"/>
                </a:lnTo>
                <a:lnTo>
                  <a:pt x="10936" y="5024"/>
                </a:lnTo>
                <a:lnTo>
                  <a:pt x="10936" y="5028"/>
                </a:lnTo>
                <a:lnTo>
                  <a:pt x="10936" y="5034"/>
                </a:lnTo>
                <a:lnTo>
                  <a:pt x="10936" y="5038"/>
                </a:lnTo>
                <a:lnTo>
                  <a:pt x="10936" y="5040"/>
                </a:lnTo>
                <a:lnTo>
                  <a:pt x="10932" y="5040"/>
                </a:lnTo>
                <a:lnTo>
                  <a:pt x="10928" y="5044"/>
                </a:lnTo>
                <a:lnTo>
                  <a:pt x="10930" y="5046"/>
                </a:lnTo>
                <a:lnTo>
                  <a:pt x="10932" y="5054"/>
                </a:lnTo>
                <a:lnTo>
                  <a:pt x="10932" y="5064"/>
                </a:lnTo>
                <a:lnTo>
                  <a:pt x="10928" y="5076"/>
                </a:lnTo>
                <a:lnTo>
                  <a:pt x="10922" y="5086"/>
                </a:lnTo>
                <a:lnTo>
                  <a:pt x="10918" y="5098"/>
                </a:lnTo>
                <a:lnTo>
                  <a:pt x="10918" y="5106"/>
                </a:lnTo>
                <a:lnTo>
                  <a:pt x="10918" y="5118"/>
                </a:lnTo>
                <a:lnTo>
                  <a:pt x="10918" y="5132"/>
                </a:lnTo>
                <a:lnTo>
                  <a:pt x="10916" y="5134"/>
                </a:lnTo>
                <a:lnTo>
                  <a:pt x="10916" y="5136"/>
                </a:lnTo>
                <a:lnTo>
                  <a:pt x="10914" y="5136"/>
                </a:lnTo>
                <a:lnTo>
                  <a:pt x="10912" y="5138"/>
                </a:lnTo>
                <a:lnTo>
                  <a:pt x="10910" y="5142"/>
                </a:lnTo>
                <a:lnTo>
                  <a:pt x="10910" y="5150"/>
                </a:lnTo>
                <a:close/>
                <a:moveTo>
                  <a:pt x="11186" y="5194"/>
                </a:moveTo>
                <a:lnTo>
                  <a:pt x="11186" y="5194"/>
                </a:lnTo>
                <a:lnTo>
                  <a:pt x="11188" y="5202"/>
                </a:lnTo>
                <a:lnTo>
                  <a:pt x="11192" y="5208"/>
                </a:lnTo>
                <a:lnTo>
                  <a:pt x="11200" y="5216"/>
                </a:lnTo>
                <a:lnTo>
                  <a:pt x="11210" y="5224"/>
                </a:lnTo>
                <a:lnTo>
                  <a:pt x="11214" y="5226"/>
                </a:lnTo>
                <a:lnTo>
                  <a:pt x="11220" y="5224"/>
                </a:lnTo>
                <a:lnTo>
                  <a:pt x="11226" y="5222"/>
                </a:lnTo>
                <a:lnTo>
                  <a:pt x="11230" y="5220"/>
                </a:lnTo>
                <a:lnTo>
                  <a:pt x="11232" y="5214"/>
                </a:lnTo>
                <a:lnTo>
                  <a:pt x="11234" y="5210"/>
                </a:lnTo>
                <a:lnTo>
                  <a:pt x="11234" y="5204"/>
                </a:lnTo>
                <a:lnTo>
                  <a:pt x="11230" y="5198"/>
                </a:lnTo>
                <a:lnTo>
                  <a:pt x="11226" y="5192"/>
                </a:lnTo>
                <a:lnTo>
                  <a:pt x="11218" y="5188"/>
                </a:lnTo>
                <a:lnTo>
                  <a:pt x="11212" y="5186"/>
                </a:lnTo>
                <a:lnTo>
                  <a:pt x="11204" y="5186"/>
                </a:lnTo>
                <a:lnTo>
                  <a:pt x="11198" y="5186"/>
                </a:lnTo>
                <a:lnTo>
                  <a:pt x="11192" y="5188"/>
                </a:lnTo>
                <a:lnTo>
                  <a:pt x="11188" y="5190"/>
                </a:lnTo>
                <a:lnTo>
                  <a:pt x="11186" y="5194"/>
                </a:lnTo>
                <a:close/>
                <a:moveTo>
                  <a:pt x="11302" y="5178"/>
                </a:moveTo>
                <a:lnTo>
                  <a:pt x="11302" y="5178"/>
                </a:lnTo>
                <a:lnTo>
                  <a:pt x="11294" y="5178"/>
                </a:lnTo>
                <a:lnTo>
                  <a:pt x="11284" y="5178"/>
                </a:lnTo>
                <a:lnTo>
                  <a:pt x="11278" y="5178"/>
                </a:lnTo>
                <a:lnTo>
                  <a:pt x="11272" y="5182"/>
                </a:lnTo>
                <a:lnTo>
                  <a:pt x="11268" y="5186"/>
                </a:lnTo>
                <a:lnTo>
                  <a:pt x="11264" y="5190"/>
                </a:lnTo>
                <a:lnTo>
                  <a:pt x="11262" y="5196"/>
                </a:lnTo>
                <a:lnTo>
                  <a:pt x="11262" y="5202"/>
                </a:lnTo>
                <a:lnTo>
                  <a:pt x="11264" y="5208"/>
                </a:lnTo>
                <a:lnTo>
                  <a:pt x="11266" y="5204"/>
                </a:lnTo>
                <a:lnTo>
                  <a:pt x="11270" y="5196"/>
                </a:lnTo>
                <a:lnTo>
                  <a:pt x="11272" y="5194"/>
                </a:lnTo>
                <a:lnTo>
                  <a:pt x="11272" y="5192"/>
                </a:lnTo>
                <a:lnTo>
                  <a:pt x="11274" y="5192"/>
                </a:lnTo>
                <a:lnTo>
                  <a:pt x="11276" y="5194"/>
                </a:lnTo>
                <a:lnTo>
                  <a:pt x="11282" y="5200"/>
                </a:lnTo>
                <a:lnTo>
                  <a:pt x="11284" y="5202"/>
                </a:lnTo>
                <a:lnTo>
                  <a:pt x="11288" y="5202"/>
                </a:lnTo>
                <a:lnTo>
                  <a:pt x="11292" y="5202"/>
                </a:lnTo>
                <a:lnTo>
                  <a:pt x="11296" y="5200"/>
                </a:lnTo>
                <a:lnTo>
                  <a:pt x="11302" y="5198"/>
                </a:lnTo>
                <a:lnTo>
                  <a:pt x="11306" y="5198"/>
                </a:lnTo>
                <a:lnTo>
                  <a:pt x="11316" y="5202"/>
                </a:lnTo>
                <a:lnTo>
                  <a:pt x="11324" y="5206"/>
                </a:lnTo>
                <a:lnTo>
                  <a:pt x="11328" y="5206"/>
                </a:lnTo>
                <a:lnTo>
                  <a:pt x="11330" y="5204"/>
                </a:lnTo>
                <a:lnTo>
                  <a:pt x="11332" y="5202"/>
                </a:lnTo>
                <a:lnTo>
                  <a:pt x="11334" y="5202"/>
                </a:lnTo>
                <a:lnTo>
                  <a:pt x="11344" y="5204"/>
                </a:lnTo>
                <a:lnTo>
                  <a:pt x="11356" y="5212"/>
                </a:lnTo>
                <a:lnTo>
                  <a:pt x="11370" y="5222"/>
                </a:lnTo>
                <a:lnTo>
                  <a:pt x="11376" y="5226"/>
                </a:lnTo>
                <a:lnTo>
                  <a:pt x="11380" y="5226"/>
                </a:lnTo>
                <a:lnTo>
                  <a:pt x="11384" y="5226"/>
                </a:lnTo>
                <a:lnTo>
                  <a:pt x="11384" y="5222"/>
                </a:lnTo>
                <a:lnTo>
                  <a:pt x="11382" y="5210"/>
                </a:lnTo>
                <a:lnTo>
                  <a:pt x="11372" y="5194"/>
                </a:lnTo>
                <a:lnTo>
                  <a:pt x="11368" y="5186"/>
                </a:lnTo>
                <a:lnTo>
                  <a:pt x="11364" y="5184"/>
                </a:lnTo>
                <a:lnTo>
                  <a:pt x="11360" y="5182"/>
                </a:lnTo>
                <a:lnTo>
                  <a:pt x="11358" y="5182"/>
                </a:lnTo>
                <a:lnTo>
                  <a:pt x="11352" y="5184"/>
                </a:lnTo>
                <a:lnTo>
                  <a:pt x="11346" y="5182"/>
                </a:lnTo>
                <a:lnTo>
                  <a:pt x="11340" y="5178"/>
                </a:lnTo>
                <a:lnTo>
                  <a:pt x="11328" y="5174"/>
                </a:lnTo>
                <a:lnTo>
                  <a:pt x="11326" y="5174"/>
                </a:lnTo>
                <a:lnTo>
                  <a:pt x="11324" y="5176"/>
                </a:lnTo>
                <a:lnTo>
                  <a:pt x="11318" y="5178"/>
                </a:lnTo>
                <a:lnTo>
                  <a:pt x="11312" y="5178"/>
                </a:lnTo>
                <a:lnTo>
                  <a:pt x="11302" y="5178"/>
                </a:lnTo>
                <a:close/>
                <a:moveTo>
                  <a:pt x="11158" y="5128"/>
                </a:moveTo>
                <a:lnTo>
                  <a:pt x="11158" y="5128"/>
                </a:lnTo>
                <a:lnTo>
                  <a:pt x="11156" y="5126"/>
                </a:lnTo>
                <a:lnTo>
                  <a:pt x="11152" y="5122"/>
                </a:lnTo>
                <a:lnTo>
                  <a:pt x="11138" y="5118"/>
                </a:lnTo>
                <a:lnTo>
                  <a:pt x="11132" y="5118"/>
                </a:lnTo>
                <a:lnTo>
                  <a:pt x="11126" y="5120"/>
                </a:lnTo>
                <a:lnTo>
                  <a:pt x="11120" y="5124"/>
                </a:lnTo>
                <a:lnTo>
                  <a:pt x="11118" y="5128"/>
                </a:lnTo>
                <a:lnTo>
                  <a:pt x="11120" y="5132"/>
                </a:lnTo>
                <a:lnTo>
                  <a:pt x="11124" y="5136"/>
                </a:lnTo>
                <a:lnTo>
                  <a:pt x="11132" y="5136"/>
                </a:lnTo>
                <a:lnTo>
                  <a:pt x="11138" y="5136"/>
                </a:lnTo>
                <a:lnTo>
                  <a:pt x="11152" y="5132"/>
                </a:lnTo>
                <a:lnTo>
                  <a:pt x="11156" y="5130"/>
                </a:lnTo>
                <a:lnTo>
                  <a:pt x="11158" y="5128"/>
                </a:lnTo>
                <a:close/>
                <a:moveTo>
                  <a:pt x="11162" y="5130"/>
                </a:moveTo>
                <a:lnTo>
                  <a:pt x="11162" y="5130"/>
                </a:lnTo>
                <a:lnTo>
                  <a:pt x="11162" y="5132"/>
                </a:lnTo>
                <a:lnTo>
                  <a:pt x="11166" y="5134"/>
                </a:lnTo>
                <a:lnTo>
                  <a:pt x="11176" y="5132"/>
                </a:lnTo>
                <a:lnTo>
                  <a:pt x="11200" y="5128"/>
                </a:lnTo>
                <a:lnTo>
                  <a:pt x="11200" y="5126"/>
                </a:lnTo>
                <a:lnTo>
                  <a:pt x="11198" y="5124"/>
                </a:lnTo>
                <a:lnTo>
                  <a:pt x="11184" y="5124"/>
                </a:lnTo>
                <a:lnTo>
                  <a:pt x="11170" y="5124"/>
                </a:lnTo>
                <a:lnTo>
                  <a:pt x="11164" y="5126"/>
                </a:lnTo>
                <a:lnTo>
                  <a:pt x="11162" y="5130"/>
                </a:lnTo>
                <a:close/>
                <a:moveTo>
                  <a:pt x="11242" y="5116"/>
                </a:moveTo>
                <a:lnTo>
                  <a:pt x="11242" y="5116"/>
                </a:lnTo>
                <a:lnTo>
                  <a:pt x="11242" y="5122"/>
                </a:lnTo>
                <a:lnTo>
                  <a:pt x="11246" y="5122"/>
                </a:lnTo>
                <a:lnTo>
                  <a:pt x="11254" y="5122"/>
                </a:lnTo>
                <a:lnTo>
                  <a:pt x="11270" y="5122"/>
                </a:lnTo>
                <a:lnTo>
                  <a:pt x="11272" y="5120"/>
                </a:lnTo>
                <a:lnTo>
                  <a:pt x="11268" y="5112"/>
                </a:lnTo>
                <a:lnTo>
                  <a:pt x="11262" y="5108"/>
                </a:lnTo>
                <a:lnTo>
                  <a:pt x="11258" y="5106"/>
                </a:lnTo>
                <a:lnTo>
                  <a:pt x="11254" y="5104"/>
                </a:lnTo>
                <a:lnTo>
                  <a:pt x="11250" y="5104"/>
                </a:lnTo>
                <a:lnTo>
                  <a:pt x="11246" y="5106"/>
                </a:lnTo>
                <a:lnTo>
                  <a:pt x="11244" y="5108"/>
                </a:lnTo>
                <a:lnTo>
                  <a:pt x="11242" y="5110"/>
                </a:lnTo>
                <a:lnTo>
                  <a:pt x="11242" y="5116"/>
                </a:lnTo>
                <a:close/>
                <a:moveTo>
                  <a:pt x="11340" y="5134"/>
                </a:moveTo>
                <a:lnTo>
                  <a:pt x="11340" y="5134"/>
                </a:lnTo>
                <a:lnTo>
                  <a:pt x="11344" y="5138"/>
                </a:lnTo>
                <a:lnTo>
                  <a:pt x="11352" y="5140"/>
                </a:lnTo>
                <a:lnTo>
                  <a:pt x="11358" y="5140"/>
                </a:lnTo>
                <a:lnTo>
                  <a:pt x="11360" y="5136"/>
                </a:lnTo>
                <a:lnTo>
                  <a:pt x="11362" y="5134"/>
                </a:lnTo>
                <a:lnTo>
                  <a:pt x="11362" y="5126"/>
                </a:lnTo>
                <a:lnTo>
                  <a:pt x="11360" y="5122"/>
                </a:lnTo>
                <a:lnTo>
                  <a:pt x="11354" y="5122"/>
                </a:lnTo>
                <a:lnTo>
                  <a:pt x="11346" y="5124"/>
                </a:lnTo>
                <a:lnTo>
                  <a:pt x="11336" y="5130"/>
                </a:lnTo>
                <a:lnTo>
                  <a:pt x="11336" y="5132"/>
                </a:lnTo>
                <a:lnTo>
                  <a:pt x="11340" y="5134"/>
                </a:lnTo>
                <a:close/>
                <a:moveTo>
                  <a:pt x="11380" y="5104"/>
                </a:moveTo>
                <a:lnTo>
                  <a:pt x="11380" y="5104"/>
                </a:lnTo>
                <a:lnTo>
                  <a:pt x="11382" y="5104"/>
                </a:lnTo>
                <a:lnTo>
                  <a:pt x="11384" y="5102"/>
                </a:lnTo>
                <a:lnTo>
                  <a:pt x="11386" y="5096"/>
                </a:lnTo>
                <a:lnTo>
                  <a:pt x="11386" y="5090"/>
                </a:lnTo>
                <a:lnTo>
                  <a:pt x="11386" y="5086"/>
                </a:lnTo>
                <a:lnTo>
                  <a:pt x="11386" y="5084"/>
                </a:lnTo>
                <a:lnTo>
                  <a:pt x="11380" y="5084"/>
                </a:lnTo>
                <a:lnTo>
                  <a:pt x="11374" y="5084"/>
                </a:lnTo>
                <a:lnTo>
                  <a:pt x="11370" y="5086"/>
                </a:lnTo>
                <a:lnTo>
                  <a:pt x="11370" y="5088"/>
                </a:lnTo>
                <a:lnTo>
                  <a:pt x="11370" y="5090"/>
                </a:lnTo>
                <a:lnTo>
                  <a:pt x="11374" y="5096"/>
                </a:lnTo>
                <a:lnTo>
                  <a:pt x="11380" y="5104"/>
                </a:lnTo>
                <a:close/>
                <a:moveTo>
                  <a:pt x="11362" y="5052"/>
                </a:moveTo>
                <a:lnTo>
                  <a:pt x="11362" y="5052"/>
                </a:lnTo>
                <a:lnTo>
                  <a:pt x="11368" y="5054"/>
                </a:lnTo>
                <a:lnTo>
                  <a:pt x="11372" y="5056"/>
                </a:lnTo>
                <a:lnTo>
                  <a:pt x="11378" y="5060"/>
                </a:lnTo>
                <a:lnTo>
                  <a:pt x="11384" y="5060"/>
                </a:lnTo>
                <a:lnTo>
                  <a:pt x="11386" y="5058"/>
                </a:lnTo>
                <a:lnTo>
                  <a:pt x="11382" y="5054"/>
                </a:lnTo>
                <a:lnTo>
                  <a:pt x="11380" y="5052"/>
                </a:lnTo>
                <a:lnTo>
                  <a:pt x="11380" y="5050"/>
                </a:lnTo>
                <a:lnTo>
                  <a:pt x="11384" y="5052"/>
                </a:lnTo>
                <a:lnTo>
                  <a:pt x="11388" y="5056"/>
                </a:lnTo>
                <a:lnTo>
                  <a:pt x="11394" y="5058"/>
                </a:lnTo>
                <a:lnTo>
                  <a:pt x="11398" y="5056"/>
                </a:lnTo>
                <a:lnTo>
                  <a:pt x="11400" y="5054"/>
                </a:lnTo>
                <a:lnTo>
                  <a:pt x="11400" y="5052"/>
                </a:lnTo>
                <a:lnTo>
                  <a:pt x="11394" y="5046"/>
                </a:lnTo>
                <a:lnTo>
                  <a:pt x="11384" y="5040"/>
                </a:lnTo>
                <a:lnTo>
                  <a:pt x="11378" y="5040"/>
                </a:lnTo>
                <a:lnTo>
                  <a:pt x="11372" y="5040"/>
                </a:lnTo>
                <a:lnTo>
                  <a:pt x="11364" y="5044"/>
                </a:lnTo>
                <a:lnTo>
                  <a:pt x="11358" y="5046"/>
                </a:lnTo>
                <a:lnTo>
                  <a:pt x="11358" y="5050"/>
                </a:lnTo>
                <a:lnTo>
                  <a:pt x="11362" y="5052"/>
                </a:lnTo>
                <a:close/>
                <a:moveTo>
                  <a:pt x="11246" y="4990"/>
                </a:moveTo>
                <a:lnTo>
                  <a:pt x="11246" y="4990"/>
                </a:lnTo>
                <a:lnTo>
                  <a:pt x="11248" y="4998"/>
                </a:lnTo>
                <a:lnTo>
                  <a:pt x="11246" y="5006"/>
                </a:lnTo>
                <a:lnTo>
                  <a:pt x="11246" y="5012"/>
                </a:lnTo>
                <a:lnTo>
                  <a:pt x="11248" y="5016"/>
                </a:lnTo>
                <a:lnTo>
                  <a:pt x="11250" y="5020"/>
                </a:lnTo>
                <a:lnTo>
                  <a:pt x="11252" y="5024"/>
                </a:lnTo>
                <a:lnTo>
                  <a:pt x="11254" y="5028"/>
                </a:lnTo>
                <a:lnTo>
                  <a:pt x="11252" y="5038"/>
                </a:lnTo>
                <a:lnTo>
                  <a:pt x="11252" y="5046"/>
                </a:lnTo>
                <a:lnTo>
                  <a:pt x="11254" y="5050"/>
                </a:lnTo>
                <a:lnTo>
                  <a:pt x="11256" y="5056"/>
                </a:lnTo>
                <a:lnTo>
                  <a:pt x="11270" y="5074"/>
                </a:lnTo>
                <a:lnTo>
                  <a:pt x="11276" y="5080"/>
                </a:lnTo>
                <a:lnTo>
                  <a:pt x="11278" y="5082"/>
                </a:lnTo>
                <a:lnTo>
                  <a:pt x="11282" y="5082"/>
                </a:lnTo>
                <a:lnTo>
                  <a:pt x="11284" y="5082"/>
                </a:lnTo>
                <a:lnTo>
                  <a:pt x="11282" y="5080"/>
                </a:lnTo>
                <a:lnTo>
                  <a:pt x="11278" y="5076"/>
                </a:lnTo>
                <a:lnTo>
                  <a:pt x="11272" y="5068"/>
                </a:lnTo>
                <a:lnTo>
                  <a:pt x="11268" y="5058"/>
                </a:lnTo>
                <a:lnTo>
                  <a:pt x="11264" y="5046"/>
                </a:lnTo>
                <a:lnTo>
                  <a:pt x="11262" y="5036"/>
                </a:lnTo>
                <a:lnTo>
                  <a:pt x="11262" y="5026"/>
                </a:lnTo>
                <a:lnTo>
                  <a:pt x="11266" y="5018"/>
                </a:lnTo>
                <a:lnTo>
                  <a:pt x="11268" y="5018"/>
                </a:lnTo>
                <a:lnTo>
                  <a:pt x="11270" y="5016"/>
                </a:lnTo>
                <a:lnTo>
                  <a:pt x="11278" y="5018"/>
                </a:lnTo>
                <a:lnTo>
                  <a:pt x="11290" y="5024"/>
                </a:lnTo>
                <a:lnTo>
                  <a:pt x="11294" y="5026"/>
                </a:lnTo>
                <a:lnTo>
                  <a:pt x="11298" y="5026"/>
                </a:lnTo>
                <a:lnTo>
                  <a:pt x="11298" y="5024"/>
                </a:lnTo>
                <a:lnTo>
                  <a:pt x="11298" y="5022"/>
                </a:lnTo>
                <a:lnTo>
                  <a:pt x="11294" y="5014"/>
                </a:lnTo>
                <a:lnTo>
                  <a:pt x="11288" y="5012"/>
                </a:lnTo>
                <a:lnTo>
                  <a:pt x="11282" y="5008"/>
                </a:lnTo>
                <a:lnTo>
                  <a:pt x="11278" y="5006"/>
                </a:lnTo>
                <a:lnTo>
                  <a:pt x="11276" y="5004"/>
                </a:lnTo>
                <a:lnTo>
                  <a:pt x="11274" y="5002"/>
                </a:lnTo>
                <a:lnTo>
                  <a:pt x="11276" y="5000"/>
                </a:lnTo>
                <a:lnTo>
                  <a:pt x="11282" y="4994"/>
                </a:lnTo>
                <a:lnTo>
                  <a:pt x="11290" y="4990"/>
                </a:lnTo>
                <a:lnTo>
                  <a:pt x="11292" y="4988"/>
                </a:lnTo>
                <a:lnTo>
                  <a:pt x="11294" y="4984"/>
                </a:lnTo>
                <a:lnTo>
                  <a:pt x="11296" y="4974"/>
                </a:lnTo>
                <a:lnTo>
                  <a:pt x="11294" y="4970"/>
                </a:lnTo>
                <a:lnTo>
                  <a:pt x="11292" y="4966"/>
                </a:lnTo>
                <a:lnTo>
                  <a:pt x="11290" y="4964"/>
                </a:lnTo>
                <a:lnTo>
                  <a:pt x="11284" y="4964"/>
                </a:lnTo>
                <a:lnTo>
                  <a:pt x="11278" y="4968"/>
                </a:lnTo>
                <a:lnTo>
                  <a:pt x="11274" y="4974"/>
                </a:lnTo>
                <a:lnTo>
                  <a:pt x="11266" y="4988"/>
                </a:lnTo>
                <a:lnTo>
                  <a:pt x="11262" y="4998"/>
                </a:lnTo>
                <a:lnTo>
                  <a:pt x="11260" y="5000"/>
                </a:lnTo>
                <a:lnTo>
                  <a:pt x="11258" y="4998"/>
                </a:lnTo>
                <a:lnTo>
                  <a:pt x="11256" y="4992"/>
                </a:lnTo>
                <a:lnTo>
                  <a:pt x="11258" y="4988"/>
                </a:lnTo>
                <a:lnTo>
                  <a:pt x="11262" y="4982"/>
                </a:lnTo>
                <a:lnTo>
                  <a:pt x="11266" y="4972"/>
                </a:lnTo>
                <a:lnTo>
                  <a:pt x="11268" y="4966"/>
                </a:lnTo>
                <a:lnTo>
                  <a:pt x="11268" y="4962"/>
                </a:lnTo>
                <a:lnTo>
                  <a:pt x="11264" y="4954"/>
                </a:lnTo>
                <a:lnTo>
                  <a:pt x="11262" y="4950"/>
                </a:lnTo>
                <a:lnTo>
                  <a:pt x="11262" y="4946"/>
                </a:lnTo>
                <a:lnTo>
                  <a:pt x="11262" y="4944"/>
                </a:lnTo>
                <a:lnTo>
                  <a:pt x="11266" y="4932"/>
                </a:lnTo>
                <a:lnTo>
                  <a:pt x="11258" y="4936"/>
                </a:lnTo>
                <a:lnTo>
                  <a:pt x="11254" y="4940"/>
                </a:lnTo>
                <a:lnTo>
                  <a:pt x="11250" y="4946"/>
                </a:lnTo>
                <a:lnTo>
                  <a:pt x="11246" y="4960"/>
                </a:lnTo>
                <a:lnTo>
                  <a:pt x="11244" y="4976"/>
                </a:lnTo>
                <a:lnTo>
                  <a:pt x="11244" y="4984"/>
                </a:lnTo>
                <a:lnTo>
                  <a:pt x="11246" y="4990"/>
                </a:lnTo>
                <a:close/>
                <a:moveTo>
                  <a:pt x="11276" y="4936"/>
                </a:moveTo>
                <a:lnTo>
                  <a:pt x="11276" y="4936"/>
                </a:lnTo>
                <a:lnTo>
                  <a:pt x="11276" y="4940"/>
                </a:lnTo>
                <a:lnTo>
                  <a:pt x="11280" y="4942"/>
                </a:lnTo>
                <a:lnTo>
                  <a:pt x="11284" y="4940"/>
                </a:lnTo>
                <a:lnTo>
                  <a:pt x="11288" y="4936"/>
                </a:lnTo>
                <a:lnTo>
                  <a:pt x="11290" y="4930"/>
                </a:lnTo>
                <a:lnTo>
                  <a:pt x="11292" y="4924"/>
                </a:lnTo>
                <a:lnTo>
                  <a:pt x="11294" y="4918"/>
                </a:lnTo>
                <a:lnTo>
                  <a:pt x="11292" y="4914"/>
                </a:lnTo>
                <a:lnTo>
                  <a:pt x="11288" y="4912"/>
                </a:lnTo>
                <a:lnTo>
                  <a:pt x="11286" y="4912"/>
                </a:lnTo>
                <a:lnTo>
                  <a:pt x="11282" y="4912"/>
                </a:lnTo>
                <a:lnTo>
                  <a:pt x="11280" y="4916"/>
                </a:lnTo>
                <a:lnTo>
                  <a:pt x="11276" y="4926"/>
                </a:lnTo>
                <a:lnTo>
                  <a:pt x="11276" y="4936"/>
                </a:lnTo>
                <a:close/>
                <a:moveTo>
                  <a:pt x="11022" y="5302"/>
                </a:moveTo>
                <a:lnTo>
                  <a:pt x="11022" y="5302"/>
                </a:lnTo>
                <a:lnTo>
                  <a:pt x="11024" y="5306"/>
                </a:lnTo>
                <a:lnTo>
                  <a:pt x="11026" y="5302"/>
                </a:lnTo>
                <a:lnTo>
                  <a:pt x="11026" y="5296"/>
                </a:lnTo>
                <a:lnTo>
                  <a:pt x="11022" y="5288"/>
                </a:lnTo>
                <a:lnTo>
                  <a:pt x="11020" y="5284"/>
                </a:lnTo>
                <a:lnTo>
                  <a:pt x="11018" y="5288"/>
                </a:lnTo>
                <a:lnTo>
                  <a:pt x="11018" y="5294"/>
                </a:lnTo>
                <a:lnTo>
                  <a:pt x="11022" y="5302"/>
                </a:lnTo>
                <a:close/>
                <a:moveTo>
                  <a:pt x="11040" y="5304"/>
                </a:moveTo>
                <a:lnTo>
                  <a:pt x="11040" y="5304"/>
                </a:lnTo>
                <a:lnTo>
                  <a:pt x="11048" y="5300"/>
                </a:lnTo>
                <a:lnTo>
                  <a:pt x="11050" y="5296"/>
                </a:lnTo>
                <a:lnTo>
                  <a:pt x="11050" y="5292"/>
                </a:lnTo>
                <a:lnTo>
                  <a:pt x="11050" y="5288"/>
                </a:lnTo>
                <a:lnTo>
                  <a:pt x="11050" y="5284"/>
                </a:lnTo>
                <a:lnTo>
                  <a:pt x="11052" y="5278"/>
                </a:lnTo>
                <a:lnTo>
                  <a:pt x="11054" y="5270"/>
                </a:lnTo>
                <a:lnTo>
                  <a:pt x="11054" y="5266"/>
                </a:lnTo>
                <a:lnTo>
                  <a:pt x="11052" y="5264"/>
                </a:lnTo>
                <a:lnTo>
                  <a:pt x="11048" y="5264"/>
                </a:lnTo>
                <a:lnTo>
                  <a:pt x="11046" y="5264"/>
                </a:lnTo>
                <a:lnTo>
                  <a:pt x="11040" y="5270"/>
                </a:lnTo>
                <a:lnTo>
                  <a:pt x="11038" y="5274"/>
                </a:lnTo>
                <a:lnTo>
                  <a:pt x="11038" y="5278"/>
                </a:lnTo>
                <a:lnTo>
                  <a:pt x="11038" y="5288"/>
                </a:lnTo>
                <a:lnTo>
                  <a:pt x="11036" y="5298"/>
                </a:lnTo>
                <a:lnTo>
                  <a:pt x="11036" y="5304"/>
                </a:lnTo>
                <a:lnTo>
                  <a:pt x="11038" y="5304"/>
                </a:lnTo>
                <a:lnTo>
                  <a:pt x="11040" y="5304"/>
                </a:lnTo>
                <a:close/>
                <a:moveTo>
                  <a:pt x="11052" y="5316"/>
                </a:moveTo>
                <a:lnTo>
                  <a:pt x="11052" y="5316"/>
                </a:lnTo>
                <a:lnTo>
                  <a:pt x="11056" y="5318"/>
                </a:lnTo>
                <a:lnTo>
                  <a:pt x="11058" y="5316"/>
                </a:lnTo>
                <a:lnTo>
                  <a:pt x="11060" y="5308"/>
                </a:lnTo>
                <a:lnTo>
                  <a:pt x="11062" y="5306"/>
                </a:lnTo>
                <a:lnTo>
                  <a:pt x="11066" y="5304"/>
                </a:lnTo>
                <a:lnTo>
                  <a:pt x="11072" y="5302"/>
                </a:lnTo>
                <a:lnTo>
                  <a:pt x="11074" y="5302"/>
                </a:lnTo>
                <a:lnTo>
                  <a:pt x="11074" y="5300"/>
                </a:lnTo>
                <a:lnTo>
                  <a:pt x="11068" y="5292"/>
                </a:lnTo>
                <a:lnTo>
                  <a:pt x="11064" y="5286"/>
                </a:lnTo>
                <a:lnTo>
                  <a:pt x="11064" y="5282"/>
                </a:lnTo>
                <a:lnTo>
                  <a:pt x="11064" y="5278"/>
                </a:lnTo>
                <a:lnTo>
                  <a:pt x="11068" y="5274"/>
                </a:lnTo>
                <a:lnTo>
                  <a:pt x="11072" y="5268"/>
                </a:lnTo>
                <a:lnTo>
                  <a:pt x="11072" y="5264"/>
                </a:lnTo>
                <a:lnTo>
                  <a:pt x="11070" y="5258"/>
                </a:lnTo>
                <a:lnTo>
                  <a:pt x="11068" y="5254"/>
                </a:lnTo>
                <a:lnTo>
                  <a:pt x="11066" y="5252"/>
                </a:lnTo>
                <a:lnTo>
                  <a:pt x="11064" y="5252"/>
                </a:lnTo>
                <a:lnTo>
                  <a:pt x="11062" y="5256"/>
                </a:lnTo>
                <a:lnTo>
                  <a:pt x="11058" y="5270"/>
                </a:lnTo>
                <a:lnTo>
                  <a:pt x="11056" y="5286"/>
                </a:lnTo>
                <a:lnTo>
                  <a:pt x="11056" y="5294"/>
                </a:lnTo>
                <a:lnTo>
                  <a:pt x="11052" y="5300"/>
                </a:lnTo>
                <a:lnTo>
                  <a:pt x="11048" y="5306"/>
                </a:lnTo>
                <a:lnTo>
                  <a:pt x="11046" y="5310"/>
                </a:lnTo>
                <a:lnTo>
                  <a:pt x="11046" y="5312"/>
                </a:lnTo>
                <a:lnTo>
                  <a:pt x="11052" y="5316"/>
                </a:lnTo>
                <a:close/>
                <a:moveTo>
                  <a:pt x="11240" y="5058"/>
                </a:moveTo>
                <a:lnTo>
                  <a:pt x="11240" y="5058"/>
                </a:lnTo>
                <a:lnTo>
                  <a:pt x="11240" y="5062"/>
                </a:lnTo>
                <a:lnTo>
                  <a:pt x="11242" y="5068"/>
                </a:lnTo>
                <a:lnTo>
                  <a:pt x="11246" y="5074"/>
                </a:lnTo>
                <a:lnTo>
                  <a:pt x="11250" y="5076"/>
                </a:lnTo>
                <a:lnTo>
                  <a:pt x="11252" y="5072"/>
                </a:lnTo>
                <a:lnTo>
                  <a:pt x="11252" y="5064"/>
                </a:lnTo>
                <a:lnTo>
                  <a:pt x="11250" y="5058"/>
                </a:lnTo>
                <a:lnTo>
                  <a:pt x="11248" y="5054"/>
                </a:lnTo>
                <a:lnTo>
                  <a:pt x="11244" y="5054"/>
                </a:lnTo>
                <a:lnTo>
                  <a:pt x="11240" y="5058"/>
                </a:lnTo>
                <a:close/>
                <a:moveTo>
                  <a:pt x="11412" y="5392"/>
                </a:moveTo>
                <a:lnTo>
                  <a:pt x="11412" y="5392"/>
                </a:lnTo>
                <a:lnTo>
                  <a:pt x="11412" y="5390"/>
                </a:lnTo>
                <a:lnTo>
                  <a:pt x="11410" y="5390"/>
                </a:lnTo>
                <a:lnTo>
                  <a:pt x="11406" y="5392"/>
                </a:lnTo>
                <a:lnTo>
                  <a:pt x="11402" y="5398"/>
                </a:lnTo>
                <a:lnTo>
                  <a:pt x="11398" y="5406"/>
                </a:lnTo>
                <a:lnTo>
                  <a:pt x="11394" y="5420"/>
                </a:lnTo>
                <a:lnTo>
                  <a:pt x="11394" y="5426"/>
                </a:lnTo>
                <a:lnTo>
                  <a:pt x="11396" y="5426"/>
                </a:lnTo>
                <a:lnTo>
                  <a:pt x="11406" y="5420"/>
                </a:lnTo>
                <a:lnTo>
                  <a:pt x="11412" y="5412"/>
                </a:lnTo>
                <a:lnTo>
                  <a:pt x="11414" y="5402"/>
                </a:lnTo>
                <a:lnTo>
                  <a:pt x="11412" y="5392"/>
                </a:lnTo>
                <a:close/>
                <a:moveTo>
                  <a:pt x="11514" y="5376"/>
                </a:moveTo>
                <a:lnTo>
                  <a:pt x="11514" y="5376"/>
                </a:lnTo>
                <a:lnTo>
                  <a:pt x="11522" y="5372"/>
                </a:lnTo>
                <a:lnTo>
                  <a:pt x="11526" y="5366"/>
                </a:lnTo>
                <a:lnTo>
                  <a:pt x="11526" y="5360"/>
                </a:lnTo>
                <a:lnTo>
                  <a:pt x="11520" y="5352"/>
                </a:lnTo>
                <a:lnTo>
                  <a:pt x="11516" y="5346"/>
                </a:lnTo>
                <a:lnTo>
                  <a:pt x="11512" y="5346"/>
                </a:lnTo>
                <a:lnTo>
                  <a:pt x="11510" y="5350"/>
                </a:lnTo>
                <a:lnTo>
                  <a:pt x="11510" y="5356"/>
                </a:lnTo>
                <a:lnTo>
                  <a:pt x="11510" y="5370"/>
                </a:lnTo>
                <a:lnTo>
                  <a:pt x="11512" y="5374"/>
                </a:lnTo>
                <a:lnTo>
                  <a:pt x="11514" y="5376"/>
                </a:lnTo>
                <a:close/>
                <a:moveTo>
                  <a:pt x="10442" y="5192"/>
                </a:moveTo>
                <a:lnTo>
                  <a:pt x="10442" y="5192"/>
                </a:lnTo>
                <a:lnTo>
                  <a:pt x="10446" y="5198"/>
                </a:lnTo>
                <a:lnTo>
                  <a:pt x="10448" y="5198"/>
                </a:lnTo>
                <a:lnTo>
                  <a:pt x="10450" y="5194"/>
                </a:lnTo>
                <a:lnTo>
                  <a:pt x="10452" y="5192"/>
                </a:lnTo>
                <a:lnTo>
                  <a:pt x="10454" y="5192"/>
                </a:lnTo>
                <a:lnTo>
                  <a:pt x="10458" y="5194"/>
                </a:lnTo>
                <a:lnTo>
                  <a:pt x="10462" y="5194"/>
                </a:lnTo>
                <a:lnTo>
                  <a:pt x="10468" y="5188"/>
                </a:lnTo>
                <a:lnTo>
                  <a:pt x="10470" y="5180"/>
                </a:lnTo>
                <a:lnTo>
                  <a:pt x="10470" y="5176"/>
                </a:lnTo>
                <a:lnTo>
                  <a:pt x="10470" y="5174"/>
                </a:lnTo>
                <a:lnTo>
                  <a:pt x="10464" y="5168"/>
                </a:lnTo>
                <a:lnTo>
                  <a:pt x="10456" y="5164"/>
                </a:lnTo>
                <a:lnTo>
                  <a:pt x="10450" y="5162"/>
                </a:lnTo>
                <a:lnTo>
                  <a:pt x="10448" y="5164"/>
                </a:lnTo>
                <a:lnTo>
                  <a:pt x="10444" y="5166"/>
                </a:lnTo>
                <a:lnTo>
                  <a:pt x="10442" y="5170"/>
                </a:lnTo>
                <a:lnTo>
                  <a:pt x="10440" y="5182"/>
                </a:lnTo>
                <a:lnTo>
                  <a:pt x="10440" y="5186"/>
                </a:lnTo>
                <a:lnTo>
                  <a:pt x="10442" y="5192"/>
                </a:lnTo>
                <a:close/>
                <a:moveTo>
                  <a:pt x="10396" y="5160"/>
                </a:moveTo>
                <a:lnTo>
                  <a:pt x="10396" y="5160"/>
                </a:lnTo>
                <a:lnTo>
                  <a:pt x="10392" y="5156"/>
                </a:lnTo>
                <a:lnTo>
                  <a:pt x="10388" y="5150"/>
                </a:lnTo>
                <a:lnTo>
                  <a:pt x="10386" y="5132"/>
                </a:lnTo>
                <a:lnTo>
                  <a:pt x="10382" y="5124"/>
                </a:lnTo>
                <a:lnTo>
                  <a:pt x="10380" y="5116"/>
                </a:lnTo>
                <a:lnTo>
                  <a:pt x="10372" y="5112"/>
                </a:lnTo>
                <a:lnTo>
                  <a:pt x="10364" y="5112"/>
                </a:lnTo>
                <a:lnTo>
                  <a:pt x="10356" y="5116"/>
                </a:lnTo>
                <a:lnTo>
                  <a:pt x="10352" y="5120"/>
                </a:lnTo>
                <a:lnTo>
                  <a:pt x="10352" y="5124"/>
                </a:lnTo>
                <a:lnTo>
                  <a:pt x="10352" y="5128"/>
                </a:lnTo>
                <a:lnTo>
                  <a:pt x="10348" y="5130"/>
                </a:lnTo>
                <a:lnTo>
                  <a:pt x="10344" y="5134"/>
                </a:lnTo>
                <a:lnTo>
                  <a:pt x="10342" y="5138"/>
                </a:lnTo>
                <a:lnTo>
                  <a:pt x="10344" y="5140"/>
                </a:lnTo>
                <a:lnTo>
                  <a:pt x="10346" y="5142"/>
                </a:lnTo>
                <a:lnTo>
                  <a:pt x="10354" y="5142"/>
                </a:lnTo>
                <a:lnTo>
                  <a:pt x="10362" y="5142"/>
                </a:lnTo>
                <a:lnTo>
                  <a:pt x="10366" y="5144"/>
                </a:lnTo>
                <a:lnTo>
                  <a:pt x="10368" y="5146"/>
                </a:lnTo>
                <a:lnTo>
                  <a:pt x="10372" y="5158"/>
                </a:lnTo>
                <a:lnTo>
                  <a:pt x="10376" y="5170"/>
                </a:lnTo>
                <a:lnTo>
                  <a:pt x="10378" y="5176"/>
                </a:lnTo>
                <a:lnTo>
                  <a:pt x="10384" y="5178"/>
                </a:lnTo>
                <a:lnTo>
                  <a:pt x="10392" y="5182"/>
                </a:lnTo>
                <a:lnTo>
                  <a:pt x="10396" y="5186"/>
                </a:lnTo>
                <a:lnTo>
                  <a:pt x="10400" y="5190"/>
                </a:lnTo>
                <a:lnTo>
                  <a:pt x="10404" y="5190"/>
                </a:lnTo>
                <a:lnTo>
                  <a:pt x="10406" y="5188"/>
                </a:lnTo>
                <a:lnTo>
                  <a:pt x="10408" y="5186"/>
                </a:lnTo>
                <a:lnTo>
                  <a:pt x="10406" y="5182"/>
                </a:lnTo>
                <a:lnTo>
                  <a:pt x="10404" y="5178"/>
                </a:lnTo>
                <a:lnTo>
                  <a:pt x="10404" y="5176"/>
                </a:lnTo>
                <a:lnTo>
                  <a:pt x="10404" y="5172"/>
                </a:lnTo>
                <a:lnTo>
                  <a:pt x="10406" y="5168"/>
                </a:lnTo>
                <a:lnTo>
                  <a:pt x="10406" y="5166"/>
                </a:lnTo>
                <a:lnTo>
                  <a:pt x="10402" y="5162"/>
                </a:lnTo>
                <a:lnTo>
                  <a:pt x="10396" y="5160"/>
                </a:lnTo>
                <a:close/>
                <a:moveTo>
                  <a:pt x="10682" y="5374"/>
                </a:moveTo>
                <a:lnTo>
                  <a:pt x="10682" y="5374"/>
                </a:lnTo>
                <a:lnTo>
                  <a:pt x="10670" y="5374"/>
                </a:lnTo>
                <a:lnTo>
                  <a:pt x="10658" y="5376"/>
                </a:lnTo>
                <a:lnTo>
                  <a:pt x="10652" y="5378"/>
                </a:lnTo>
                <a:lnTo>
                  <a:pt x="10652" y="5382"/>
                </a:lnTo>
                <a:lnTo>
                  <a:pt x="10652" y="5384"/>
                </a:lnTo>
                <a:lnTo>
                  <a:pt x="10656" y="5388"/>
                </a:lnTo>
                <a:lnTo>
                  <a:pt x="10668" y="5390"/>
                </a:lnTo>
                <a:lnTo>
                  <a:pt x="10680" y="5392"/>
                </a:lnTo>
                <a:lnTo>
                  <a:pt x="10684" y="5390"/>
                </a:lnTo>
                <a:lnTo>
                  <a:pt x="10686" y="5390"/>
                </a:lnTo>
                <a:lnTo>
                  <a:pt x="10692" y="5386"/>
                </a:lnTo>
                <a:lnTo>
                  <a:pt x="10700" y="5382"/>
                </a:lnTo>
                <a:lnTo>
                  <a:pt x="10706" y="5378"/>
                </a:lnTo>
                <a:lnTo>
                  <a:pt x="10706" y="5376"/>
                </a:lnTo>
                <a:lnTo>
                  <a:pt x="10702" y="5374"/>
                </a:lnTo>
                <a:lnTo>
                  <a:pt x="10700" y="5374"/>
                </a:lnTo>
                <a:lnTo>
                  <a:pt x="10694" y="5374"/>
                </a:lnTo>
                <a:lnTo>
                  <a:pt x="10682" y="5374"/>
                </a:lnTo>
                <a:close/>
                <a:moveTo>
                  <a:pt x="11090" y="5452"/>
                </a:moveTo>
                <a:lnTo>
                  <a:pt x="11090" y="5452"/>
                </a:lnTo>
                <a:lnTo>
                  <a:pt x="11092" y="5450"/>
                </a:lnTo>
                <a:lnTo>
                  <a:pt x="11094" y="5448"/>
                </a:lnTo>
                <a:lnTo>
                  <a:pt x="11096" y="5446"/>
                </a:lnTo>
                <a:lnTo>
                  <a:pt x="11098" y="5444"/>
                </a:lnTo>
                <a:lnTo>
                  <a:pt x="11102" y="5440"/>
                </a:lnTo>
                <a:lnTo>
                  <a:pt x="11100" y="5440"/>
                </a:lnTo>
                <a:lnTo>
                  <a:pt x="11096" y="5438"/>
                </a:lnTo>
                <a:lnTo>
                  <a:pt x="11086" y="5440"/>
                </a:lnTo>
                <a:lnTo>
                  <a:pt x="11082" y="5442"/>
                </a:lnTo>
                <a:lnTo>
                  <a:pt x="11082" y="5444"/>
                </a:lnTo>
                <a:lnTo>
                  <a:pt x="11082" y="5446"/>
                </a:lnTo>
                <a:lnTo>
                  <a:pt x="11082" y="5448"/>
                </a:lnTo>
                <a:lnTo>
                  <a:pt x="11076" y="5452"/>
                </a:lnTo>
                <a:lnTo>
                  <a:pt x="11074" y="5454"/>
                </a:lnTo>
                <a:lnTo>
                  <a:pt x="11074" y="5456"/>
                </a:lnTo>
                <a:lnTo>
                  <a:pt x="11086" y="5456"/>
                </a:lnTo>
                <a:lnTo>
                  <a:pt x="11088" y="5456"/>
                </a:lnTo>
                <a:lnTo>
                  <a:pt x="11088" y="5454"/>
                </a:lnTo>
                <a:lnTo>
                  <a:pt x="11088" y="5452"/>
                </a:lnTo>
                <a:lnTo>
                  <a:pt x="11090" y="5452"/>
                </a:lnTo>
                <a:close/>
                <a:moveTo>
                  <a:pt x="11138" y="5436"/>
                </a:moveTo>
                <a:lnTo>
                  <a:pt x="11138" y="5436"/>
                </a:lnTo>
                <a:lnTo>
                  <a:pt x="11130" y="5436"/>
                </a:lnTo>
                <a:lnTo>
                  <a:pt x="11126" y="5434"/>
                </a:lnTo>
                <a:lnTo>
                  <a:pt x="11124" y="5434"/>
                </a:lnTo>
                <a:lnTo>
                  <a:pt x="11122" y="5434"/>
                </a:lnTo>
                <a:lnTo>
                  <a:pt x="11120" y="5442"/>
                </a:lnTo>
                <a:lnTo>
                  <a:pt x="11118" y="5448"/>
                </a:lnTo>
                <a:lnTo>
                  <a:pt x="11120" y="5450"/>
                </a:lnTo>
                <a:lnTo>
                  <a:pt x="11122" y="5450"/>
                </a:lnTo>
                <a:lnTo>
                  <a:pt x="11132" y="5448"/>
                </a:lnTo>
                <a:lnTo>
                  <a:pt x="11146" y="5446"/>
                </a:lnTo>
                <a:lnTo>
                  <a:pt x="11148" y="5446"/>
                </a:lnTo>
                <a:lnTo>
                  <a:pt x="11152" y="5444"/>
                </a:lnTo>
                <a:lnTo>
                  <a:pt x="11152" y="5442"/>
                </a:lnTo>
                <a:lnTo>
                  <a:pt x="11152" y="5440"/>
                </a:lnTo>
                <a:lnTo>
                  <a:pt x="11146" y="5438"/>
                </a:lnTo>
                <a:lnTo>
                  <a:pt x="11142" y="5436"/>
                </a:lnTo>
                <a:lnTo>
                  <a:pt x="11138" y="5436"/>
                </a:lnTo>
                <a:close/>
                <a:moveTo>
                  <a:pt x="10372" y="5326"/>
                </a:moveTo>
                <a:lnTo>
                  <a:pt x="10372" y="5326"/>
                </a:lnTo>
                <a:lnTo>
                  <a:pt x="10374" y="5322"/>
                </a:lnTo>
                <a:lnTo>
                  <a:pt x="10374" y="5318"/>
                </a:lnTo>
                <a:lnTo>
                  <a:pt x="10376" y="5306"/>
                </a:lnTo>
                <a:lnTo>
                  <a:pt x="10376" y="5292"/>
                </a:lnTo>
                <a:lnTo>
                  <a:pt x="10376" y="5274"/>
                </a:lnTo>
                <a:lnTo>
                  <a:pt x="10376" y="5262"/>
                </a:lnTo>
                <a:lnTo>
                  <a:pt x="10374" y="5254"/>
                </a:lnTo>
                <a:lnTo>
                  <a:pt x="10374" y="5250"/>
                </a:lnTo>
                <a:lnTo>
                  <a:pt x="10376" y="5238"/>
                </a:lnTo>
                <a:lnTo>
                  <a:pt x="10376" y="5226"/>
                </a:lnTo>
                <a:lnTo>
                  <a:pt x="10376" y="5220"/>
                </a:lnTo>
                <a:lnTo>
                  <a:pt x="10376" y="5214"/>
                </a:lnTo>
                <a:lnTo>
                  <a:pt x="10380" y="5204"/>
                </a:lnTo>
                <a:lnTo>
                  <a:pt x="10382" y="5198"/>
                </a:lnTo>
                <a:lnTo>
                  <a:pt x="10384" y="5192"/>
                </a:lnTo>
                <a:lnTo>
                  <a:pt x="10382" y="5190"/>
                </a:lnTo>
                <a:lnTo>
                  <a:pt x="10380" y="5186"/>
                </a:lnTo>
                <a:lnTo>
                  <a:pt x="10374" y="5180"/>
                </a:lnTo>
                <a:lnTo>
                  <a:pt x="10372" y="5176"/>
                </a:lnTo>
                <a:lnTo>
                  <a:pt x="10368" y="5172"/>
                </a:lnTo>
                <a:lnTo>
                  <a:pt x="10364" y="5160"/>
                </a:lnTo>
                <a:lnTo>
                  <a:pt x="10360" y="5154"/>
                </a:lnTo>
                <a:lnTo>
                  <a:pt x="10356" y="5154"/>
                </a:lnTo>
                <a:lnTo>
                  <a:pt x="10348" y="5156"/>
                </a:lnTo>
                <a:lnTo>
                  <a:pt x="10344" y="5158"/>
                </a:lnTo>
                <a:lnTo>
                  <a:pt x="10342" y="5156"/>
                </a:lnTo>
                <a:lnTo>
                  <a:pt x="10338" y="5154"/>
                </a:lnTo>
                <a:lnTo>
                  <a:pt x="10334" y="5158"/>
                </a:lnTo>
                <a:lnTo>
                  <a:pt x="10330" y="5162"/>
                </a:lnTo>
                <a:lnTo>
                  <a:pt x="10328" y="5162"/>
                </a:lnTo>
                <a:lnTo>
                  <a:pt x="10330" y="5154"/>
                </a:lnTo>
                <a:lnTo>
                  <a:pt x="10334" y="5144"/>
                </a:lnTo>
                <a:lnTo>
                  <a:pt x="10334" y="5142"/>
                </a:lnTo>
                <a:lnTo>
                  <a:pt x="10330" y="5140"/>
                </a:lnTo>
                <a:lnTo>
                  <a:pt x="10326" y="5136"/>
                </a:lnTo>
                <a:lnTo>
                  <a:pt x="10324" y="5130"/>
                </a:lnTo>
                <a:lnTo>
                  <a:pt x="10320" y="5114"/>
                </a:lnTo>
                <a:lnTo>
                  <a:pt x="10316" y="5104"/>
                </a:lnTo>
                <a:lnTo>
                  <a:pt x="10314" y="5096"/>
                </a:lnTo>
                <a:lnTo>
                  <a:pt x="10310" y="5092"/>
                </a:lnTo>
                <a:lnTo>
                  <a:pt x="10308" y="5090"/>
                </a:lnTo>
                <a:lnTo>
                  <a:pt x="10304" y="5090"/>
                </a:lnTo>
                <a:lnTo>
                  <a:pt x="10298" y="5090"/>
                </a:lnTo>
                <a:lnTo>
                  <a:pt x="10292" y="5088"/>
                </a:lnTo>
                <a:lnTo>
                  <a:pt x="10282" y="5084"/>
                </a:lnTo>
                <a:lnTo>
                  <a:pt x="10278" y="5080"/>
                </a:lnTo>
                <a:lnTo>
                  <a:pt x="10276" y="5076"/>
                </a:lnTo>
                <a:lnTo>
                  <a:pt x="10276" y="5072"/>
                </a:lnTo>
                <a:lnTo>
                  <a:pt x="10278" y="5066"/>
                </a:lnTo>
                <a:lnTo>
                  <a:pt x="10280" y="5062"/>
                </a:lnTo>
                <a:lnTo>
                  <a:pt x="10280" y="5058"/>
                </a:lnTo>
                <a:lnTo>
                  <a:pt x="10278" y="5052"/>
                </a:lnTo>
                <a:lnTo>
                  <a:pt x="10278" y="5048"/>
                </a:lnTo>
                <a:lnTo>
                  <a:pt x="10280" y="5046"/>
                </a:lnTo>
                <a:lnTo>
                  <a:pt x="10284" y="5044"/>
                </a:lnTo>
                <a:lnTo>
                  <a:pt x="10288" y="5040"/>
                </a:lnTo>
                <a:lnTo>
                  <a:pt x="10290" y="5036"/>
                </a:lnTo>
                <a:lnTo>
                  <a:pt x="10290" y="5030"/>
                </a:lnTo>
                <a:lnTo>
                  <a:pt x="10288" y="5026"/>
                </a:lnTo>
                <a:lnTo>
                  <a:pt x="10284" y="5020"/>
                </a:lnTo>
                <a:lnTo>
                  <a:pt x="10280" y="5018"/>
                </a:lnTo>
                <a:lnTo>
                  <a:pt x="10274" y="5016"/>
                </a:lnTo>
                <a:lnTo>
                  <a:pt x="10270" y="5018"/>
                </a:lnTo>
                <a:lnTo>
                  <a:pt x="10264" y="5020"/>
                </a:lnTo>
                <a:lnTo>
                  <a:pt x="10262" y="5018"/>
                </a:lnTo>
                <a:lnTo>
                  <a:pt x="10262" y="5014"/>
                </a:lnTo>
                <a:lnTo>
                  <a:pt x="10260" y="5010"/>
                </a:lnTo>
                <a:lnTo>
                  <a:pt x="10258" y="5008"/>
                </a:lnTo>
                <a:lnTo>
                  <a:pt x="10252" y="5004"/>
                </a:lnTo>
                <a:lnTo>
                  <a:pt x="10244" y="5004"/>
                </a:lnTo>
                <a:lnTo>
                  <a:pt x="10236" y="5000"/>
                </a:lnTo>
                <a:lnTo>
                  <a:pt x="10232" y="4996"/>
                </a:lnTo>
                <a:lnTo>
                  <a:pt x="10228" y="4990"/>
                </a:lnTo>
                <a:lnTo>
                  <a:pt x="10226" y="4982"/>
                </a:lnTo>
                <a:lnTo>
                  <a:pt x="10224" y="4974"/>
                </a:lnTo>
                <a:lnTo>
                  <a:pt x="10220" y="4968"/>
                </a:lnTo>
                <a:lnTo>
                  <a:pt x="10212" y="4962"/>
                </a:lnTo>
                <a:lnTo>
                  <a:pt x="10202" y="4958"/>
                </a:lnTo>
                <a:lnTo>
                  <a:pt x="10196" y="4956"/>
                </a:lnTo>
                <a:lnTo>
                  <a:pt x="10194" y="4952"/>
                </a:lnTo>
                <a:lnTo>
                  <a:pt x="10190" y="4948"/>
                </a:lnTo>
                <a:lnTo>
                  <a:pt x="10190" y="4940"/>
                </a:lnTo>
                <a:lnTo>
                  <a:pt x="10188" y="4936"/>
                </a:lnTo>
                <a:lnTo>
                  <a:pt x="10184" y="4932"/>
                </a:lnTo>
                <a:lnTo>
                  <a:pt x="10176" y="4928"/>
                </a:lnTo>
                <a:lnTo>
                  <a:pt x="10172" y="4926"/>
                </a:lnTo>
                <a:lnTo>
                  <a:pt x="10172" y="4928"/>
                </a:lnTo>
                <a:lnTo>
                  <a:pt x="10170" y="4932"/>
                </a:lnTo>
                <a:lnTo>
                  <a:pt x="10172" y="4940"/>
                </a:lnTo>
                <a:lnTo>
                  <a:pt x="10170" y="4940"/>
                </a:lnTo>
                <a:lnTo>
                  <a:pt x="10168" y="4938"/>
                </a:lnTo>
                <a:lnTo>
                  <a:pt x="10162" y="4934"/>
                </a:lnTo>
                <a:lnTo>
                  <a:pt x="10158" y="4932"/>
                </a:lnTo>
                <a:lnTo>
                  <a:pt x="10154" y="4928"/>
                </a:lnTo>
                <a:lnTo>
                  <a:pt x="10150" y="4918"/>
                </a:lnTo>
                <a:lnTo>
                  <a:pt x="10146" y="4908"/>
                </a:lnTo>
                <a:lnTo>
                  <a:pt x="10144" y="4908"/>
                </a:lnTo>
                <a:lnTo>
                  <a:pt x="10140" y="4908"/>
                </a:lnTo>
                <a:lnTo>
                  <a:pt x="10138" y="4902"/>
                </a:lnTo>
                <a:lnTo>
                  <a:pt x="10132" y="4892"/>
                </a:lnTo>
                <a:lnTo>
                  <a:pt x="10122" y="4880"/>
                </a:lnTo>
                <a:lnTo>
                  <a:pt x="10110" y="4868"/>
                </a:lnTo>
                <a:lnTo>
                  <a:pt x="10104" y="4866"/>
                </a:lnTo>
                <a:lnTo>
                  <a:pt x="10098" y="4862"/>
                </a:lnTo>
                <a:lnTo>
                  <a:pt x="10092" y="4860"/>
                </a:lnTo>
                <a:lnTo>
                  <a:pt x="10088" y="4858"/>
                </a:lnTo>
                <a:lnTo>
                  <a:pt x="10084" y="4852"/>
                </a:lnTo>
                <a:lnTo>
                  <a:pt x="10080" y="4844"/>
                </a:lnTo>
                <a:lnTo>
                  <a:pt x="10078" y="4842"/>
                </a:lnTo>
                <a:lnTo>
                  <a:pt x="10074" y="4842"/>
                </a:lnTo>
                <a:lnTo>
                  <a:pt x="10070" y="4840"/>
                </a:lnTo>
                <a:lnTo>
                  <a:pt x="10068" y="4838"/>
                </a:lnTo>
                <a:lnTo>
                  <a:pt x="10068" y="4832"/>
                </a:lnTo>
                <a:lnTo>
                  <a:pt x="10068" y="4826"/>
                </a:lnTo>
                <a:lnTo>
                  <a:pt x="10066" y="4824"/>
                </a:lnTo>
                <a:lnTo>
                  <a:pt x="10062" y="4822"/>
                </a:lnTo>
                <a:lnTo>
                  <a:pt x="10058" y="4820"/>
                </a:lnTo>
                <a:lnTo>
                  <a:pt x="10056" y="4818"/>
                </a:lnTo>
                <a:lnTo>
                  <a:pt x="10056" y="4812"/>
                </a:lnTo>
                <a:lnTo>
                  <a:pt x="10054" y="4804"/>
                </a:lnTo>
                <a:lnTo>
                  <a:pt x="10050" y="4798"/>
                </a:lnTo>
                <a:lnTo>
                  <a:pt x="10046" y="4790"/>
                </a:lnTo>
                <a:lnTo>
                  <a:pt x="10038" y="4782"/>
                </a:lnTo>
                <a:lnTo>
                  <a:pt x="10036" y="4782"/>
                </a:lnTo>
                <a:lnTo>
                  <a:pt x="10034" y="4782"/>
                </a:lnTo>
                <a:lnTo>
                  <a:pt x="10030" y="4786"/>
                </a:lnTo>
                <a:lnTo>
                  <a:pt x="10028" y="4786"/>
                </a:lnTo>
                <a:lnTo>
                  <a:pt x="10024" y="4784"/>
                </a:lnTo>
                <a:lnTo>
                  <a:pt x="10020" y="4780"/>
                </a:lnTo>
                <a:lnTo>
                  <a:pt x="10016" y="4780"/>
                </a:lnTo>
                <a:lnTo>
                  <a:pt x="10010" y="4782"/>
                </a:lnTo>
                <a:lnTo>
                  <a:pt x="10002" y="4784"/>
                </a:lnTo>
                <a:lnTo>
                  <a:pt x="9996" y="4784"/>
                </a:lnTo>
                <a:lnTo>
                  <a:pt x="9988" y="4784"/>
                </a:lnTo>
                <a:lnTo>
                  <a:pt x="9976" y="4780"/>
                </a:lnTo>
                <a:lnTo>
                  <a:pt x="9974" y="4778"/>
                </a:lnTo>
                <a:lnTo>
                  <a:pt x="9972" y="4776"/>
                </a:lnTo>
                <a:lnTo>
                  <a:pt x="9970" y="4770"/>
                </a:lnTo>
                <a:lnTo>
                  <a:pt x="9966" y="4768"/>
                </a:lnTo>
                <a:lnTo>
                  <a:pt x="9960" y="4764"/>
                </a:lnTo>
                <a:lnTo>
                  <a:pt x="9952" y="4764"/>
                </a:lnTo>
                <a:lnTo>
                  <a:pt x="9946" y="4764"/>
                </a:lnTo>
                <a:lnTo>
                  <a:pt x="9944" y="4770"/>
                </a:lnTo>
                <a:lnTo>
                  <a:pt x="9944" y="4776"/>
                </a:lnTo>
                <a:lnTo>
                  <a:pt x="9946" y="4784"/>
                </a:lnTo>
                <a:lnTo>
                  <a:pt x="9950" y="4792"/>
                </a:lnTo>
                <a:lnTo>
                  <a:pt x="9958" y="4812"/>
                </a:lnTo>
                <a:lnTo>
                  <a:pt x="9968" y="4826"/>
                </a:lnTo>
                <a:lnTo>
                  <a:pt x="9976" y="4834"/>
                </a:lnTo>
                <a:lnTo>
                  <a:pt x="9982" y="4840"/>
                </a:lnTo>
                <a:lnTo>
                  <a:pt x="9990" y="4850"/>
                </a:lnTo>
                <a:lnTo>
                  <a:pt x="9994" y="4854"/>
                </a:lnTo>
                <a:lnTo>
                  <a:pt x="9996" y="4856"/>
                </a:lnTo>
                <a:lnTo>
                  <a:pt x="10002" y="4856"/>
                </a:lnTo>
                <a:lnTo>
                  <a:pt x="10004" y="4858"/>
                </a:lnTo>
                <a:lnTo>
                  <a:pt x="10008" y="4860"/>
                </a:lnTo>
                <a:lnTo>
                  <a:pt x="10012" y="4864"/>
                </a:lnTo>
                <a:lnTo>
                  <a:pt x="10018" y="4872"/>
                </a:lnTo>
                <a:lnTo>
                  <a:pt x="10026" y="4884"/>
                </a:lnTo>
                <a:lnTo>
                  <a:pt x="10026" y="4890"/>
                </a:lnTo>
                <a:lnTo>
                  <a:pt x="10028" y="4892"/>
                </a:lnTo>
                <a:lnTo>
                  <a:pt x="10034" y="4896"/>
                </a:lnTo>
                <a:lnTo>
                  <a:pt x="10040" y="4902"/>
                </a:lnTo>
                <a:lnTo>
                  <a:pt x="10042" y="4906"/>
                </a:lnTo>
                <a:lnTo>
                  <a:pt x="10042" y="4914"/>
                </a:lnTo>
                <a:lnTo>
                  <a:pt x="10044" y="4920"/>
                </a:lnTo>
                <a:lnTo>
                  <a:pt x="10046" y="4924"/>
                </a:lnTo>
                <a:lnTo>
                  <a:pt x="10050" y="4930"/>
                </a:lnTo>
                <a:lnTo>
                  <a:pt x="10060" y="4934"/>
                </a:lnTo>
                <a:lnTo>
                  <a:pt x="10070" y="4940"/>
                </a:lnTo>
                <a:lnTo>
                  <a:pt x="10080" y="4948"/>
                </a:lnTo>
                <a:lnTo>
                  <a:pt x="10086" y="4954"/>
                </a:lnTo>
                <a:lnTo>
                  <a:pt x="10088" y="4958"/>
                </a:lnTo>
                <a:lnTo>
                  <a:pt x="10088" y="4962"/>
                </a:lnTo>
                <a:lnTo>
                  <a:pt x="10086" y="4966"/>
                </a:lnTo>
                <a:lnTo>
                  <a:pt x="10088" y="4970"/>
                </a:lnTo>
                <a:lnTo>
                  <a:pt x="10096" y="4994"/>
                </a:lnTo>
                <a:lnTo>
                  <a:pt x="10102" y="5020"/>
                </a:lnTo>
                <a:lnTo>
                  <a:pt x="10106" y="5026"/>
                </a:lnTo>
                <a:lnTo>
                  <a:pt x="10116" y="5032"/>
                </a:lnTo>
                <a:lnTo>
                  <a:pt x="10122" y="5038"/>
                </a:lnTo>
                <a:lnTo>
                  <a:pt x="10124" y="5044"/>
                </a:lnTo>
                <a:lnTo>
                  <a:pt x="10130" y="5054"/>
                </a:lnTo>
                <a:lnTo>
                  <a:pt x="10144" y="5070"/>
                </a:lnTo>
                <a:lnTo>
                  <a:pt x="10148" y="5076"/>
                </a:lnTo>
                <a:lnTo>
                  <a:pt x="10152" y="5080"/>
                </a:lnTo>
                <a:lnTo>
                  <a:pt x="10152" y="5086"/>
                </a:lnTo>
                <a:lnTo>
                  <a:pt x="10152" y="5090"/>
                </a:lnTo>
                <a:lnTo>
                  <a:pt x="10150" y="5096"/>
                </a:lnTo>
                <a:lnTo>
                  <a:pt x="10152" y="5100"/>
                </a:lnTo>
                <a:lnTo>
                  <a:pt x="10154" y="5104"/>
                </a:lnTo>
                <a:lnTo>
                  <a:pt x="10162" y="5112"/>
                </a:lnTo>
                <a:lnTo>
                  <a:pt x="10166" y="5122"/>
                </a:lnTo>
                <a:lnTo>
                  <a:pt x="10170" y="5132"/>
                </a:lnTo>
                <a:lnTo>
                  <a:pt x="10174" y="5146"/>
                </a:lnTo>
                <a:lnTo>
                  <a:pt x="10178" y="5160"/>
                </a:lnTo>
                <a:lnTo>
                  <a:pt x="10188" y="5176"/>
                </a:lnTo>
                <a:lnTo>
                  <a:pt x="10200" y="5192"/>
                </a:lnTo>
                <a:lnTo>
                  <a:pt x="10214" y="5206"/>
                </a:lnTo>
                <a:lnTo>
                  <a:pt x="10224" y="5218"/>
                </a:lnTo>
                <a:lnTo>
                  <a:pt x="10230" y="5226"/>
                </a:lnTo>
                <a:lnTo>
                  <a:pt x="10238" y="5238"/>
                </a:lnTo>
                <a:lnTo>
                  <a:pt x="10252" y="5254"/>
                </a:lnTo>
                <a:lnTo>
                  <a:pt x="10270" y="5272"/>
                </a:lnTo>
                <a:lnTo>
                  <a:pt x="10282" y="5284"/>
                </a:lnTo>
                <a:lnTo>
                  <a:pt x="10294" y="5294"/>
                </a:lnTo>
                <a:lnTo>
                  <a:pt x="10304" y="5306"/>
                </a:lnTo>
                <a:lnTo>
                  <a:pt x="10314" y="5322"/>
                </a:lnTo>
                <a:lnTo>
                  <a:pt x="10322" y="5332"/>
                </a:lnTo>
                <a:lnTo>
                  <a:pt x="10326" y="5334"/>
                </a:lnTo>
                <a:lnTo>
                  <a:pt x="10326" y="5332"/>
                </a:lnTo>
                <a:lnTo>
                  <a:pt x="10324" y="5320"/>
                </a:lnTo>
                <a:lnTo>
                  <a:pt x="10322" y="5312"/>
                </a:lnTo>
                <a:lnTo>
                  <a:pt x="10322" y="5310"/>
                </a:lnTo>
                <a:lnTo>
                  <a:pt x="10326" y="5310"/>
                </a:lnTo>
                <a:lnTo>
                  <a:pt x="10332" y="5314"/>
                </a:lnTo>
                <a:lnTo>
                  <a:pt x="10338" y="5316"/>
                </a:lnTo>
                <a:lnTo>
                  <a:pt x="10342" y="5318"/>
                </a:lnTo>
                <a:lnTo>
                  <a:pt x="10348" y="5318"/>
                </a:lnTo>
                <a:lnTo>
                  <a:pt x="10348" y="5312"/>
                </a:lnTo>
                <a:lnTo>
                  <a:pt x="10350" y="5308"/>
                </a:lnTo>
                <a:lnTo>
                  <a:pt x="10352" y="5308"/>
                </a:lnTo>
                <a:lnTo>
                  <a:pt x="10358" y="5314"/>
                </a:lnTo>
                <a:lnTo>
                  <a:pt x="10366" y="5324"/>
                </a:lnTo>
                <a:lnTo>
                  <a:pt x="10368" y="5328"/>
                </a:lnTo>
                <a:lnTo>
                  <a:pt x="10372" y="5326"/>
                </a:lnTo>
                <a:close/>
                <a:moveTo>
                  <a:pt x="10716" y="5464"/>
                </a:moveTo>
                <a:lnTo>
                  <a:pt x="10716" y="5464"/>
                </a:lnTo>
                <a:lnTo>
                  <a:pt x="10722" y="5468"/>
                </a:lnTo>
                <a:lnTo>
                  <a:pt x="10724" y="5466"/>
                </a:lnTo>
                <a:lnTo>
                  <a:pt x="10726" y="5466"/>
                </a:lnTo>
                <a:lnTo>
                  <a:pt x="10724" y="5462"/>
                </a:lnTo>
                <a:lnTo>
                  <a:pt x="10722" y="5458"/>
                </a:lnTo>
                <a:lnTo>
                  <a:pt x="10718" y="5454"/>
                </a:lnTo>
                <a:lnTo>
                  <a:pt x="10716" y="5448"/>
                </a:lnTo>
                <a:lnTo>
                  <a:pt x="10720" y="5432"/>
                </a:lnTo>
                <a:lnTo>
                  <a:pt x="10720" y="5426"/>
                </a:lnTo>
                <a:lnTo>
                  <a:pt x="10720" y="5418"/>
                </a:lnTo>
                <a:lnTo>
                  <a:pt x="10716" y="5414"/>
                </a:lnTo>
                <a:lnTo>
                  <a:pt x="10708" y="5410"/>
                </a:lnTo>
                <a:lnTo>
                  <a:pt x="10696" y="5412"/>
                </a:lnTo>
                <a:lnTo>
                  <a:pt x="10686" y="5414"/>
                </a:lnTo>
                <a:lnTo>
                  <a:pt x="10676" y="5416"/>
                </a:lnTo>
                <a:lnTo>
                  <a:pt x="10668" y="5414"/>
                </a:lnTo>
                <a:lnTo>
                  <a:pt x="10660" y="5412"/>
                </a:lnTo>
                <a:lnTo>
                  <a:pt x="10650" y="5406"/>
                </a:lnTo>
                <a:lnTo>
                  <a:pt x="10650" y="5404"/>
                </a:lnTo>
                <a:lnTo>
                  <a:pt x="10650" y="5402"/>
                </a:lnTo>
                <a:lnTo>
                  <a:pt x="10652" y="5396"/>
                </a:lnTo>
                <a:lnTo>
                  <a:pt x="10650" y="5390"/>
                </a:lnTo>
                <a:lnTo>
                  <a:pt x="10648" y="5382"/>
                </a:lnTo>
                <a:lnTo>
                  <a:pt x="10644" y="5376"/>
                </a:lnTo>
                <a:lnTo>
                  <a:pt x="10640" y="5374"/>
                </a:lnTo>
                <a:lnTo>
                  <a:pt x="10636" y="5374"/>
                </a:lnTo>
                <a:lnTo>
                  <a:pt x="10634" y="5374"/>
                </a:lnTo>
                <a:lnTo>
                  <a:pt x="10630" y="5378"/>
                </a:lnTo>
                <a:lnTo>
                  <a:pt x="10626" y="5376"/>
                </a:lnTo>
                <a:lnTo>
                  <a:pt x="10624" y="5374"/>
                </a:lnTo>
                <a:lnTo>
                  <a:pt x="10618" y="5368"/>
                </a:lnTo>
                <a:lnTo>
                  <a:pt x="10616" y="5368"/>
                </a:lnTo>
                <a:lnTo>
                  <a:pt x="10614" y="5370"/>
                </a:lnTo>
                <a:lnTo>
                  <a:pt x="10608" y="5366"/>
                </a:lnTo>
                <a:lnTo>
                  <a:pt x="10606" y="5362"/>
                </a:lnTo>
                <a:lnTo>
                  <a:pt x="10602" y="5362"/>
                </a:lnTo>
                <a:lnTo>
                  <a:pt x="10596" y="5364"/>
                </a:lnTo>
                <a:lnTo>
                  <a:pt x="10592" y="5366"/>
                </a:lnTo>
                <a:lnTo>
                  <a:pt x="10590" y="5366"/>
                </a:lnTo>
                <a:lnTo>
                  <a:pt x="10588" y="5362"/>
                </a:lnTo>
                <a:lnTo>
                  <a:pt x="10582" y="5352"/>
                </a:lnTo>
                <a:lnTo>
                  <a:pt x="10580" y="5350"/>
                </a:lnTo>
                <a:lnTo>
                  <a:pt x="10578" y="5348"/>
                </a:lnTo>
                <a:lnTo>
                  <a:pt x="10574" y="5348"/>
                </a:lnTo>
                <a:lnTo>
                  <a:pt x="10572" y="5352"/>
                </a:lnTo>
                <a:lnTo>
                  <a:pt x="10568" y="5356"/>
                </a:lnTo>
                <a:lnTo>
                  <a:pt x="10564" y="5364"/>
                </a:lnTo>
                <a:lnTo>
                  <a:pt x="10560" y="5378"/>
                </a:lnTo>
                <a:lnTo>
                  <a:pt x="10556" y="5380"/>
                </a:lnTo>
                <a:lnTo>
                  <a:pt x="10554" y="5380"/>
                </a:lnTo>
                <a:lnTo>
                  <a:pt x="10548" y="5376"/>
                </a:lnTo>
                <a:lnTo>
                  <a:pt x="10542" y="5374"/>
                </a:lnTo>
                <a:lnTo>
                  <a:pt x="10536" y="5372"/>
                </a:lnTo>
                <a:lnTo>
                  <a:pt x="10524" y="5372"/>
                </a:lnTo>
                <a:lnTo>
                  <a:pt x="10518" y="5374"/>
                </a:lnTo>
                <a:lnTo>
                  <a:pt x="10514" y="5374"/>
                </a:lnTo>
                <a:lnTo>
                  <a:pt x="10508" y="5374"/>
                </a:lnTo>
                <a:lnTo>
                  <a:pt x="10500" y="5372"/>
                </a:lnTo>
                <a:lnTo>
                  <a:pt x="10492" y="5372"/>
                </a:lnTo>
                <a:lnTo>
                  <a:pt x="10488" y="5370"/>
                </a:lnTo>
                <a:lnTo>
                  <a:pt x="10484" y="5366"/>
                </a:lnTo>
                <a:lnTo>
                  <a:pt x="10482" y="5362"/>
                </a:lnTo>
                <a:lnTo>
                  <a:pt x="10478" y="5352"/>
                </a:lnTo>
                <a:lnTo>
                  <a:pt x="10476" y="5346"/>
                </a:lnTo>
                <a:lnTo>
                  <a:pt x="10474" y="5344"/>
                </a:lnTo>
                <a:lnTo>
                  <a:pt x="10472" y="5342"/>
                </a:lnTo>
                <a:lnTo>
                  <a:pt x="10470" y="5342"/>
                </a:lnTo>
                <a:lnTo>
                  <a:pt x="10464" y="5344"/>
                </a:lnTo>
                <a:lnTo>
                  <a:pt x="10462" y="5344"/>
                </a:lnTo>
                <a:lnTo>
                  <a:pt x="10458" y="5342"/>
                </a:lnTo>
                <a:lnTo>
                  <a:pt x="10454" y="5340"/>
                </a:lnTo>
                <a:lnTo>
                  <a:pt x="10452" y="5338"/>
                </a:lnTo>
                <a:lnTo>
                  <a:pt x="10446" y="5340"/>
                </a:lnTo>
                <a:lnTo>
                  <a:pt x="10442" y="5340"/>
                </a:lnTo>
                <a:lnTo>
                  <a:pt x="10440" y="5340"/>
                </a:lnTo>
                <a:lnTo>
                  <a:pt x="10438" y="5336"/>
                </a:lnTo>
                <a:lnTo>
                  <a:pt x="10432" y="5330"/>
                </a:lnTo>
                <a:lnTo>
                  <a:pt x="10426" y="5326"/>
                </a:lnTo>
                <a:lnTo>
                  <a:pt x="10420" y="5326"/>
                </a:lnTo>
                <a:lnTo>
                  <a:pt x="10418" y="5328"/>
                </a:lnTo>
                <a:lnTo>
                  <a:pt x="10418" y="5332"/>
                </a:lnTo>
                <a:lnTo>
                  <a:pt x="10416" y="5334"/>
                </a:lnTo>
                <a:lnTo>
                  <a:pt x="10414" y="5336"/>
                </a:lnTo>
                <a:lnTo>
                  <a:pt x="10410" y="5334"/>
                </a:lnTo>
                <a:lnTo>
                  <a:pt x="10400" y="5332"/>
                </a:lnTo>
                <a:lnTo>
                  <a:pt x="10386" y="5328"/>
                </a:lnTo>
                <a:lnTo>
                  <a:pt x="10380" y="5328"/>
                </a:lnTo>
                <a:lnTo>
                  <a:pt x="10376" y="5330"/>
                </a:lnTo>
                <a:lnTo>
                  <a:pt x="10374" y="5334"/>
                </a:lnTo>
                <a:lnTo>
                  <a:pt x="10372" y="5340"/>
                </a:lnTo>
                <a:lnTo>
                  <a:pt x="10370" y="5348"/>
                </a:lnTo>
                <a:lnTo>
                  <a:pt x="10368" y="5352"/>
                </a:lnTo>
                <a:lnTo>
                  <a:pt x="10366" y="5354"/>
                </a:lnTo>
                <a:lnTo>
                  <a:pt x="10362" y="5356"/>
                </a:lnTo>
                <a:lnTo>
                  <a:pt x="10362" y="5360"/>
                </a:lnTo>
                <a:lnTo>
                  <a:pt x="10360" y="5362"/>
                </a:lnTo>
                <a:lnTo>
                  <a:pt x="10354" y="5364"/>
                </a:lnTo>
                <a:lnTo>
                  <a:pt x="10350" y="5366"/>
                </a:lnTo>
                <a:lnTo>
                  <a:pt x="10348" y="5368"/>
                </a:lnTo>
                <a:lnTo>
                  <a:pt x="10348" y="5370"/>
                </a:lnTo>
                <a:lnTo>
                  <a:pt x="10354" y="5374"/>
                </a:lnTo>
                <a:lnTo>
                  <a:pt x="10362" y="5374"/>
                </a:lnTo>
                <a:lnTo>
                  <a:pt x="10370" y="5372"/>
                </a:lnTo>
                <a:lnTo>
                  <a:pt x="10378" y="5372"/>
                </a:lnTo>
                <a:lnTo>
                  <a:pt x="10382" y="5374"/>
                </a:lnTo>
                <a:lnTo>
                  <a:pt x="10386" y="5376"/>
                </a:lnTo>
                <a:lnTo>
                  <a:pt x="10388" y="5380"/>
                </a:lnTo>
                <a:lnTo>
                  <a:pt x="10392" y="5380"/>
                </a:lnTo>
                <a:lnTo>
                  <a:pt x="10398" y="5378"/>
                </a:lnTo>
                <a:lnTo>
                  <a:pt x="10400" y="5378"/>
                </a:lnTo>
                <a:lnTo>
                  <a:pt x="10400" y="5380"/>
                </a:lnTo>
                <a:lnTo>
                  <a:pt x="10398" y="5388"/>
                </a:lnTo>
                <a:lnTo>
                  <a:pt x="10396" y="5394"/>
                </a:lnTo>
                <a:lnTo>
                  <a:pt x="10396" y="5396"/>
                </a:lnTo>
                <a:lnTo>
                  <a:pt x="10398" y="5398"/>
                </a:lnTo>
                <a:lnTo>
                  <a:pt x="10404" y="5400"/>
                </a:lnTo>
                <a:lnTo>
                  <a:pt x="10424" y="5404"/>
                </a:lnTo>
                <a:lnTo>
                  <a:pt x="10440" y="5408"/>
                </a:lnTo>
                <a:lnTo>
                  <a:pt x="10458" y="5416"/>
                </a:lnTo>
                <a:lnTo>
                  <a:pt x="10464" y="5420"/>
                </a:lnTo>
                <a:lnTo>
                  <a:pt x="10472" y="5420"/>
                </a:lnTo>
                <a:lnTo>
                  <a:pt x="10478" y="5418"/>
                </a:lnTo>
                <a:lnTo>
                  <a:pt x="10482" y="5416"/>
                </a:lnTo>
                <a:lnTo>
                  <a:pt x="10490" y="5412"/>
                </a:lnTo>
                <a:lnTo>
                  <a:pt x="10494" y="5412"/>
                </a:lnTo>
                <a:lnTo>
                  <a:pt x="10496" y="5414"/>
                </a:lnTo>
                <a:lnTo>
                  <a:pt x="10502" y="5416"/>
                </a:lnTo>
                <a:lnTo>
                  <a:pt x="10508" y="5416"/>
                </a:lnTo>
                <a:lnTo>
                  <a:pt x="10516" y="5416"/>
                </a:lnTo>
                <a:lnTo>
                  <a:pt x="10530" y="5418"/>
                </a:lnTo>
                <a:lnTo>
                  <a:pt x="10536" y="5420"/>
                </a:lnTo>
                <a:lnTo>
                  <a:pt x="10542" y="5422"/>
                </a:lnTo>
                <a:lnTo>
                  <a:pt x="10550" y="5430"/>
                </a:lnTo>
                <a:lnTo>
                  <a:pt x="10556" y="5434"/>
                </a:lnTo>
                <a:lnTo>
                  <a:pt x="10566" y="5438"/>
                </a:lnTo>
                <a:lnTo>
                  <a:pt x="10578" y="5440"/>
                </a:lnTo>
                <a:lnTo>
                  <a:pt x="10594" y="5444"/>
                </a:lnTo>
                <a:lnTo>
                  <a:pt x="10610" y="5446"/>
                </a:lnTo>
                <a:lnTo>
                  <a:pt x="10614" y="5444"/>
                </a:lnTo>
                <a:lnTo>
                  <a:pt x="10616" y="5444"/>
                </a:lnTo>
                <a:lnTo>
                  <a:pt x="10620" y="5444"/>
                </a:lnTo>
                <a:lnTo>
                  <a:pt x="10640" y="5446"/>
                </a:lnTo>
                <a:lnTo>
                  <a:pt x="10652" y="5448"/>
                </a:lnTo>
                <a:lnTo>
                  <a:pt x="10658" y="5448"/>
                </a:lnTo>
                <a:lnTo>
                  <a:pt x="10662" y="5446"/>
                </a:lnTo>
                <a:lnTo>
                  <a:pt x="10662" y="5444"/>
                </a:lnTo>
                <a:lnTo>
                  <a:pt x="10662" y="5442"/>
                </a:lnTo>
                <a:lnTo>
                  <a:pt x="10664" y="5442"/>
                </a:lnTo>
                <a:lnTo>
                  <a:pt x="10682" y="5450"/>
                </a:lnTo>
                <a:lnTo>
                  <a:pt x="10694" y="5456"/>
                </a:lnTo>
                <a:lnTo>
                  <a:pt x="10702" y="5458"/>
                </a:lnTo>
                <a:lnTo>
                  <a:pt x="10708" y="5460"/>
                </a:lnTo>
                <a:lnTo>
                  <a:pt x="10716" y="5464"/>
                </a:lnTo>
                <a:close/>
                <a:moveTo>
                  <a:pt x="10750" y="5470"/>
                </a:moveTo>
                <a:lnTo>
                  <a:pt x="10750" y="5470"/>
                </a:lnTo>
                <a:lnTo>
                  <a:pt x="10754" y="5468"/>
                </a:lnTo>
                <a:lnTo>
                  <a:pt x="10756" y="5464"/>
                </a:lnTo>
                <a:lnTo>
                  <a:pt x="10760" y="5460"/>
                </a:lnTo>
                <a:lnTo>
                  <a:pt x="10766" y="5454"/>
                </a:lnTo>
                <a:lnTo>
                  <a:pt x="10770" y="5448"/>
                </a:lnTo>
                <a:lnTo>
                  <a:pt x="10770" y="5446"/>
                </a:lnTo>
                <a:lnTo>
                  <a:pt x="10770" y="5444"/>
                </a:lnTo>
                <a:lnTo>
                  <a:pt x="10764" y="5440"/>
                </a:lnTo>
                <a:lnTo>
                  <a:pt x="10758" y="5434"/>
                </a:lnTo>
                <a:lnTo>
                  <a:pt x="10754" y="5432"/>
                </a:lnTo>
                <a:lnTo>
                  <a:pt x="10752" y="5432"/>
                </a:lnTo>
                <a:lnTo>
                  <a:pt x="10748" y="5434"/>
                </a:lnTo>
                <a:lnTo>
                  <a:pt x="10742" y="5436"/>
                </a:lnTo>
                <a:lnTo>
                  <a:pt x="10738" y="5436"/>
                </a:lnTo>
                <a:lnTo>
                  <a:pt x="10734" y="5436"/>
                </a:lnTo>
                <a:lnTo>
                  <a:pt x="10726" y="5432"/>
                </a:lnTo>
                <a:lnTo>
                  <a:pt x="10724" y="5434"/>
                </a:lnTo>
                <a:lnTo>
                  <a:pt x="10722" y="5434"/>
                </a:lnTo>
                <a:lnTo>
                  <a:pt x="10724" y="5440"/>
                </a:lnTo>
                <a:lnTo>
                  <a:pt x="10726" y="5446"/>
                </a:lnTo>
                <a:lnTo>
                  <a:pt x="10728" y="5448"/>
                </a:lnTo>
                <a:lnTo>
                  <a:pt x="10732" y="5448"/>
                </a:lnTo>
                <a:lnTo>
                  <a:pt x="10738" y="5450"/>
                </a:lnTo>
                <a:lnTo>
                  <a:pt x="10744" y="5456"/>
                </a:lnTo>
                <a:lnTo>
                  <a:pt x="10748" y="5462"/>
                </a:lnTo>
                <a:lnTo>
                  <a:pt x="10748" y="5466"/>
                </a:lnTo>
                <a:lnTo>
                  <a:pt x="10748" y="5468"/>
                </a:lnTo>
                <a:lnTo>
                  <a:pt x="10750" y="5470"/>
                </a:lnTo>
                <a:close/>
                <a:moveTo>
                  <a:pt x="10784" y="5464"/>
                </a:moveTo>
                <a:lnTo>
                  <a:pt x="10784" y="5464"/>
                </a:lnTo>
                <a:lnTo>
                  <a:pt x="10778" y="5466"/>
                </a:lnTo>
                <a:lnTo>
                  <a:pt x="10778" y="5468"/>
                </a:lnTo>
                <a:lnTo>
                  <a:pt x="10782" y="5472"/>
                </a:lnTo>
                <a:lnTo>
                  <a:pt x="10792" y="5474"/>
                </a:lnTo>
                <a:lnTo>
                  <a:pt x="10802" y="5474"/>
                </a:lnTo>
                <a:lnTo>
                  <a:pt x="10804" y="5472"/>
                </a:lnTo>
                <a:lnTo>
                  <a:pt x="10806" y="5470"/>
                </a:lnTo>
                <a:lnTo>
                  <a:pt x="10806" y="5466"/>
                </a:lnTo>
                <a:lnTo>
                  <a:pt x="10810" y="5456"/>
                </a:lnTo>
                <a:lnTo>
                  <a:pt x="10812" y="5448"/>
                </a:lnTo>
                <a:lnTo>
                  <a:pt x="10814" y="5444"/>
                </a:lnTo>
                <a:lnTo>
                  <a:pt x="10810" y="5442"/>
                </a:lnTo>
                <a:lnTo>
                  <a:pt x="10804" y="5440"/>
                </a:lnTo>
                <a:lnTo>
                  <a:pt x="10800" y="5440"/>
                </a:lnTo>
                <a:lnTo>
                  <a:pt x="10796" y="5440"/>
                </a:lnTo>
                <a:lnTo>
                  <a:pt x="10790" y="5442"/>
                </a:lnTo>
                <a:lnTo>
                  <a:pt x="10786" y="5448"/>
                </a:lnTo>
                <a:lnTo>
                  <a:pt x="10784" y="5452"/>
                </a:lnTo>
                <a:lnTo>
                  <a:pt x="10786" y="5460"/>
                </a:lnTo>
                <a:lnTo>
                  <a:pt x="10784" y="5464"/>
                </a:lnTo>
                <a:close/>
                <a:moveTo>
                  <a:pt x="10826" y="5482"/>
                </a:moveTo>
                <a:lnTo>
                  <a:pt x="10826" y="5482"/>
                </a:lnTo>
                <a:lnTo>
                  <a:pt x="10836" y="5480"/>
                </a:lnTo>
                <a:lnTo>
                  <a:pt x="10848" y="5476"/>
                </a:lnTo>
                <a:lnTo>
                  <a:pt x="10860" y="5472"/>
                </a:lnTo>
                <a:lnTo>
                  <a:pt x="10866" y="5472"/>
                </a:lnTo>
                <a:lnTo>
                  <a:pt x="10872" y="5470"/>
                </a:lnTo>
                <a:lnTo>
                  <a:pt x="10874" y="5468"/>
                </a:lnTo>
                <a:lnTo>
                  <a:pt x="10878" y="5466"/>
                </a:lnTo>
                <a:lnTo>
                  <a:pt x="10878" y="5468"/>
                </a:lnTo>
                <a:lnTo>
                  <a:pt x="10880" y="5470"/>
                </a:lnTo>
                <a:lnTo>
                  <a:pt x="10884" y="5470"/>
                </a:lnTo>
                <a:lnTo>
                  <a:pt x="10888" y="5468"/>
                </a:lnTo>
                <a:lnTo>
                  <a:pt x="10892" y="5470"/>
                </a:lnTo>
                <a:lnTo>
                  <a:pt x="10902" y="5472"/>
                </a:lnTo>
                <a:lnTo>
                  <a:pt x="10904" y="5470"/>
                </a:lnTo>
                <a:lnTo>
                  <a:pt x="10902" y="5468"/>
                </a:lnTo>
                <a:lnTo>
                  <a:pt x="10896" y="5466"/>
                </a:lnTo>
                <a:lnTo>
                  <a:pt x="10894" y="5464"/>
                </a:lnTo>
                <a:lnTo>
                  <a:pt x="10896" y="5462"/>
                </a:lnTo>
                <a:lnTo>
                  <a:pt x="10900" y="5462"/>
                </a:lnTo>
                <a:lnTo>
                  <a:pt x="10908" y="5466"/>
                </a:lnTo>
                <a:lnTo>
                  <a:pt x="10910" y="5464"/>
                </a:lnTo>
                <a:lnTo>
                  <a:pt x="10912" y="5462"/>
                </a:lnTo>
                <a:lnTo>
                  <a:pt x="10910" y="5458"/>
                </a:lnTo>
                <a:lnTo>
                  <a:pt x="10908" y="5450"/>
                </a:lnTo>
                <a:lnTo>
                  <a:pt x="10902" y="5444"/>
                </a:lnTo>
                <a:lnTo>
                  <a:pt x="10900" y="5442"/>
                </a:lnTo>
                <a:lnTo>
                  <a:pt x="10896" y="5444"/>
                </a:lnTo>
                <a:lnTo>
                  <a:pt x="10894" y="5444"/>
                </a:lnTo>
                <a:lnTo>
                  <a:pt x="10892" y="5444"/>
                </a:lnTo>
                <a:lnTo>
                  <a:pt x="10888" y="5442"/>
                </a:lnTo>
                <a:lnTo>
                  <a:pt x="10886" y="5440"/>
                </a:lnTo>
                <a:lnTo>
                  <a:pt x="10884" y="5440"/>
                </a:lnTo>
                <a:lnTo>
                  <a:pt x="10880" y="5442"/>
                </a:lnTo>
                <a:lnTo>
                  <a:pt x="10878" y="5444"/>
                </a:lnTo>
                <a:lnTo>
                  <a:pt x="10874" y="5444"/>
                </a:lnTo>
                <a:lnTo>
                  <a:pt x="10870" y="5440"/>
                </a:lnTo>
                <a:lnTo>
                  <a:pt x="10866" y="5434"/>
                </a:lnTo>
                <a:lnTo>
                  <a:pt x="10862" y="5434"/>
                </a:lnTo>
                <a:lnTo>
                  <a:pt x="10858" y="5434"/>
                </a:lnTo>
                <a:lnTo>
                  <a:pt x="10854" y="5434"/>
                </a:lnTo>
                <a:lnTo>
                  <a:pt x="10852" y="5436"/>
                </a:lnTo>
                <a:lnTo>
                  <a:pt x="10852" y="5440"/>
                </a:lnTo>
                <a:lnTo>
                  <a:pt x="10854" y="5444"/>
                </a:lnTo>
                <a:lnTo>
                  <a:pt x="10858" y="5450"/>
                </a:lnTo>
                <a:lnTo>
                  <a:pt x="10862" y="5450"/>
                </a:lnTo>
                <a:lnTo>
                  <a:pt x="10866" y="5452"/>
                </a:lnTo>
                <a:lnTo>
                  <a:pt x="10872" y="5454"/>
                </a:lnTo>
                <a:lnTo>
                  <a:pt x="10874" y="5458"/>
                </a:lnTo>
                <a:lnTo>
                  <a:pt x="10874" y="5460"/>
                </a:lnTo>
                <a:lnTo>
                  <a:pt x="10870" y="5460"/>
                </a:lnTo>
                <a:lnTo>
                  <a:pt x="10864" y="5460"/>
                </a:lnTo>
                <a:lnTo>
                  <a:pt x="10862" y="5462"/>
                </a:lnTo>
                <a:lnTo>
                  <a:pt x="10858" y="5464"/>
                </a:lnTo>
                <a:lnTo>
                  <a:pt x="10854" y="5460"/>
                </a:lnTo>
                <a:lnTo>
                  <a:pt x="10848" y="5452"/>
                </a:lnTo>
                <a:lnTo>
                  <a:pt x="10846" y="5450"/>
                </a:lnTo>
                <a:lnTo>
                  <a:pt x="10842" y="5450"/>
                </a:lnTo>
                <a:lnTo>
                  <a:pt x="10838" y="5450"/>
                </a:lnTo>
                <a:lnTo>
                  <a:pt x="10832" y="5448"/>
                </a:lnTo>
                <a:lnTo>
                  <a:pt x="10828" y="5446"/>
                </a:lnTo>
                <a:lnTo>
                  <a:pt x="10826" y="5446"/>
                </a:lnTo>
                <a:lnTo>
                  <a:pt x="10824" y="5448"/>
                </a:lnTo>
                <a:lnTo>
                  <a:pt x="10820" y="5452"/>
                </a:lnTo>
                <a:lnTo>
                  <a:pt x="10818" y="5456"/>
                </a:lnTo>
                <a:lnTo>
                  <a:pt x="10814" y="5458"/>
                </a:lnTo>
                <a:lnTo>
                  <a:pt x="10814" y="5464"/>
                </a:lnTo>
                <a:lnTo>
                  <a:pt x="10814" y="5470"/>
                </a:lnTo>
                <a:lnTo>
                  <a:pt x="10814" y="5474"/>
                </a:lnTo>
                <a:lnTo>
                  <a:pt x="10814" y="5476"/>
                </a:lnTo>
                <a:lnTo>
                  <a:pt x="10816" y="5480"/>
                </a:lnTo>
                <a:lnTo>
                  <a:pt x="10826" y="5482"/>
                </a:lnTo>
                <a:close/>
                <a:moveTo>
                  <a:pt x="10994" y="5474"/>
                </a:moveTo>
                <a:lnTo>
                  <a:pt x="10994" y="5474"/>
                </a:lnTo>
                <a:lnTo>
                  <a:pt x="10996" y="5474"/>
                </a:lnTo>
                <a:lnTo>
                  <a:pt x="10998" y="5472"/>
                </a:lnTo>
                <a:lnTo>
                  <a:pt x="11000" y="5470"/>
                </a:lnTo>
                <a:lnTo>
                  <a:pt x="11008" y="5470"/>
                </a:lnTo>
                <a:lnTo>
                  <a:pt x="11012" y="5472"/>
                </a:lnTo>
                <a:lnTo>
                  <a:pt x="11016" y="5472"/>
                </a:lnTo>
                <a:lnTo>
                  <a:pt x="11022" y="5470"/>
                </a:lnTo>
                <a:lnTo>
                  <a:pt x="11028" y="5466"/>
                </a:lnTo>
                <a:lnTo>
                  <a:pt x="11032" y="5466"/>
                </a:lnTo>
                <a:lnTo>
                  <a:pt x="11038" y="5466"/>
                </a:lnTo>
                <a:lnTo>
                  <a:pt x="11046" y="5462"/>
                </a:lnTo>
                <a:lnTo>
                  <a:pt x="11054" y="5458"/>
                </a:lnTo>
                <a:lnTo>
                  <a:pt x="11058" y="5456"/>
                </a:lnTo>
                <a:lnTo>
                  <a:pt x="11058" y="5454"/>
                </a:lnTo>
                <a:lnTo>
                  <a:pt x="11058" y="5450"/>
                </a:lnTo>
                <a:lnTo>
                  <a:pt x="11062" y="5448"/>
                </a:lnTo>
                <a:lnTo>
                  <a:pt x="11064" y="5444"/>
                </a:lnTo>
                <a:lnTo>
                  <a:pt x="11064" y="5436"/>
                </a:lnTo>
                <a:lnTo>
                  <a:pt x="11062" y="5434"/>
                </a:lnTo>
                <a:lnTo>
                  <a:pt x="11060" y="5432"/>
                </a:lnTo>
                <a:lnTo>
                  <a:pt x="11056" y="5434"/>
                </a:lnTo>
                <a:lnTo>
                  <a:pt x="11054" y="5438"/>
                </a:lnTo>
                <a:lnTo>
                  <a:pt x="11056" y="5440"/>
                </a:lnTo>
                <a:lnTo>
                  <a:pt x="11058" y="5440"/>
                </a:lnTo>
                <a:lnTo>
                  <a:pt x="11058" y="5442"/>
                </a:lnTo>
                <a:lnTo>
                  <a:pt x="11056" y="5444"/>
                </a:lnTo>
                <a:lnTo>
                  <a:pt x="11050" y="5448"/>
                </a:lnTo>
                <a:lnTo>
                  <a:pt x="11044" y="5452"/>
                </a:lnTo>
                <a:lnTo>
                  <a:pt x="11044" y="5454"/>
                </a:lnTo>
                <a:lnTo>
                  <a:pt x="11044" y="5456"/>
                </a:lnTo>
                <a:lnTo>
                  <a:pt x="11040" y="5460"/>
                </a:lnTo>
                <a:lnTo>
                  <a:pt x="11036" y="5460"/>
                </a:lnTo>
                <a:lnTo>
                  <a:pt x="11034" y="5458"/>
                </a:lnTo>
                <a:lnTo>
                  <a:pt x="11030" y="5454"/>
                </a:lnTo>
                <a:lnTo>
                  <a:pt x="11026" y="5450"/>
                </a:lnTo>
                <a:lnTo>
                  <a:pt x="11024" y="5450"/>
                </a:lnTo>
                <a:lnTo>
                  <a:pt x="11020" y="5450"/>
                </a:lnTo>
                <a:lnTo>
                  <a:pt x="11016" y="5454"/>
                </a:lnTo>
                <a:lnTo>
                  <a:pt x="11012" y="5454"/>
                </a:lnTo>
                <a:lnTo>
                  <a:pt x="11010" y="5454"/>
                </a:lnTo>
                <a:lnTo>
                  <a:pt x="11006" y="5456"/>
                </a:lnTo>
                <a:lnTo>
                  <a:pt x="11002" y="5456"/>
                </a:lnTo>
                <a:lnTo>
                  <a:pt x="11000" y="5456"/>
                </a:lnTo>
                <a:lnTo>
                  <a:pt x="10994" y="5452"/>
                </a:lnTo>
                <a:lnTo>
                  <a:pt x="10988" y="5448"/>
                </a:lnTo>
                <a:lnTo>
                  <a:pt x="10980" y="5446"/>
                </a:lnTo>
                <a:lnTo>
                  <a:pt x="10966" y="5440"/>
                </a:lnTo>
                <a:lnTo>
                  <a:pt x="10956" y="5440"/>
                </a:lnTo>
                <a:lnTo>
                  <a:pt x="10952" y="5442"/>
                </a:lnTo>
                <a:lnTo>
                  <a:pt x="10948" y="5446"/>
                </a:lnTo>
                <a:lnTo>
                  <a:pt x="10944" y="5448"/>
                </a:lnTo>
                <a:lnTo>
                  <a:pt x="10940" y="5452"/>
                </a:lnTo>
                <a:lnTo>
                  <a:pt x="10936" y="5454"/>
                </a:lnTo>
                <a:lnTo>
                  <a:pt x="10936" y="5462"/>
                </a:lnTo>
                <a:lnTo>
                  <a:pt x="10938" y="5470"/>
                </a:lnTo>
                <a:lnTo>
                  <a:pt x="10940" y="5470"/>
                </a:lnTo>
                <a:lnTo>
                  <a:pt x="10944" y="5468"/>
                </a:lnTo>
                <a:lnTo>
                  <a:pt x="10950" y="5468"/>
                </a:lnTo>
                <a:lnTo>
                  <a:pt x="10966" y="5470"/>
                </a:lnTo>
                <a:lnTo>
                  <a:pt x="10974" y="5470"/>
                </a:lnTo>
                <a:lnTo>
                  <a:pt x="10980" y="5474"/>
                </a:lnTo>
                <a:lnTo>
                  <a:pt x="10984" y="5476"/>
                </a:lnTo>
                <a:lnTo>
                  <a:pt x="10988" y="5476"/>
                </a:lnTo>
                <a:lnTo>
                  <a:pt x="10990" y="5474"/>
                </a:lnTo>
                <a:lnTo>
                  <a:pt x="10994" y="5474"/>
                </a:lnTo>
                <a:close/>
                <a:moveTo>
                  <a:pt x="10934" y="5522"/>
                </a:moveTo>
                <a:lnTo>
                  <a:pt x="10934" y="5522"/>
                </a:lnTo>
                <a:lnTo>
                  <a:pt x="10942" y="5528"/>
                </a:lnTo>
                <a:lnTo>
                  <a:pt x="10946" y="5534"/>
                </a:lnTo>
                <a:lnTo>
                  <a:pt x="10950" y="5538"/>
                </a:lnTo>
                <a:lnTo>
                  <a:pt x="10952" y="5538"/>
                </a:lnTo>
                <a:lnTo>
                  <a:pt x="10956" y="5540"/>
                </a:lnTo>
                <a:lnTo>
                  <a:pt x="10958" y="5540"/>
                </a:lnTo>
                <a:lnTo>
                  <a:pt x="10962" y="5542"/>
                </a:lnTo>
                <a:lnTo>
                  <a:pt x="10964" y="5540"/>
                </a:lnTo>
                <a:lnTo>
                  <a:pt x="10966" y="5538"/>
                </a:lnTo>
                <a:lnTo>
                  <a:pt x="10968" y="5536"/>
                </a:lnTo>
                <a:lnTo>
                  <a:pt x="10970" y="5536"/>
                </a:lnTo>
                <a:lnTo>
                  <a:pt x="10974" y="5532"/>
                </a:lnTo>
                <a:lnTo>
                  <a:pt x="10974" y="5530"/>
                </a:lnTo>
                <a:lnTo>
                  <a:pt x="10974" y="5526"/>
                </a:lnTo>
                <a:lnTo>
                  <a:pt x="10970" y="5518"/>
                </a:lnTo>
                <a:lnTo>
                  <a:pt x="10964" y="5512"/>
                </a:lnTo>
                <a:lnTo>
                  <a:pt x="10958" y="5508"/>
                </a:lnTo>
                <a:lnTo>
                  <a:pt x="10956" y="5508"/>
                </a:lnTo>
                <a:lnTo>
                  <a:pt x="10954" y="5506"/>
                </a:lnTo>
                <a:lnTo>
                  <a:pt x="10952" y="5502"/>
                </a:lnTo>
                <a:lnTo>
                  <a:pt x="10948" y="5498"/>
                </a:lnTo>
                <a:lnTo>
                  <a:pt x="10942" y="5494"/>
                </a:lnTo>
                <a:lnTo>
                  <a:pt x="10938" y="5494"/>
                </a:lnTo>
                <a:lnTo>
                  <a:pt x="10934" y="5494"/>
                </a:lnTo>
                <a:lnTo>
                  <a:pt x="10930" y="5494"/>
                </a:lnTo>
                <a:lnTo>
                  <a:pt x="10924" y="5494"/>
                </a:lnTo>
                <a:lnTo>
                  <a:pt x="10914" y="5494"/>
                </a:lnTo>
                <a:lnTo>
                  <a:pt x="10910" y="5496"/>
                </a:lnTo>
                <a:lnTo>
                  <a:pt x="10906" y="5498"/>
                </a:lnTo>
                <a:lnTo>
                  <a:pt x="10902" y="5500"/>
                </a:lnTo>
                <a:lnTo>
                  <a:pt x="10902" y="5506"/>
                </a:lnTo>
                <a:lnTo>
                  <a:pt x="10902" y="5508"/>
                </a:lnTo>
                <a:lnTo>
                  <a:pt x="10906" y="5512"/>
                </a:lnTo>
                <a:lnTo>
                  <a:pt x="10914" y="5514"/>
                </a:lnTo>
                <a:lnTo>
                  <a:pt x="10924" y="5518"/>
                </a:lnTo>
                <a:lnTo>
                  <a:pt x="10934" y="5522"/>
                </a:lnTo>
                <a:close/>
                <a:moveTo>
                  <a:pt x="11090" y="5546"/>
                </a:moveTo>
                <a:lnTo>
                  <a:pt x="11090" y="5546"/>
                </a:lnTo>
                <a:lnTo>
                  <a:pt x="11094" y="5544"/>
                </a:lnTo>
                <a:lnTo>
                  <a:pt x="11098" y="5544"/>
                </a:lnTo>
                <a:lnTo>
                  <a:pt x="11104" y="5540"/>
                </a:lnTo>
                <a:lnTo>
                  <a:pt x="11108" y="5536"/>
                </a:lnTo>
                <a:lnTo>
                  <a:pt x="11112" y="5534"/>
                </a:lnTo>
                <a:lnTo>
                  <a:pt x="11114" y="5534"/>
                </a:lnTo>
                <a:lnTo>
                  <a:pt x="11118" y="5536"/>
                </a:lnTo>
                <a:lnTo>
                  <a:pt x="11122" y="5534"/>
                </a:lnTo>
                <a:lnTo>
                  <a:pt x="11134" y="5520"/>
                </a:lnTo>
                <a:lnTo>
                  <a:pt x="11140" y="5512"/>
                </a:lnTo>
                <a:lnTo>
                  <a:pt x="11144" y="5506"/>
                </a:lnTo>
                <a:lnTo>
                  <a:pt x="11148" y="5500"/>
                </a:lnTo>
                <a:lnTo>
                  <a:pt x="11156" y="5494"/>
                </a:lnTo>
                <a:lnTo>
                  <a:pt x="11168" y="5488"/>
                </a:lnTo>
                <a:lnTo>
                  <a:pt x="11176" y="5484"/>
                </a:lnTo>
                <a:lnTo>
                  <a:pt x="11182" y="5484"/>
                </a:lnTo>
                <a:lnTo>
                  <a:pt x="11188" y="5480"/>
                </a:lnTo>
                <a:lnTo>
                  <a:pt x="11192" y="5476"/>
                </a:lnTo>
                <a:lnTo>
                  <a:pt x="11196" y="5476"/>
                </a:lnTo>
                <a:lnTo>
                  <a:pt x="11202" y="5476"/>
                </a:lnTo>
                <a:lnTo>
                  <a:pt x="11206" y="5470"/>
                </a:lnTo>
                <a:lnTo>
                  <a:pt x="11212" y="5466"/>
                </a:lnTo>
                <a:lnTo>
                  <a:pt x="11218" y="5464"/>
                </a:lnTo>
                <a:lnTo>
                  <a:pt x="11222" y="5464"/>
                </a:lnTo>
                <a:lnTo>
                  <a:pt x="11228" y="5460"/>
                </a:lnTo>
                <a:lnTo>
                  <a:pt x="11236" y="5450"/>
                </a:lnTo>
                <a:lnTo>
                  <a:pt x="11238" y="5448"/>
                </a:lnTo>
                <a:lnTo>
                  <a:pt x="11232" y="5444"/>
                </a:lnTo>
                <a:lnTo>
                  <a:pt x="11230" y="5444"/>
                </a:lnTo>
                <a:lnTo>
                  <a:pt x="11226" y="5444"/>
                </a:lnTo>
                <a:lnTo>
                  <a:pt x="11218" y="5446"/>
                </a:lnTo>
                <a:lnTo>
                  <a:pt x="11210" y="5450"/>
                </a:lnTo>
                <a:lnTo>
                  <a:pt x="11204" y="5450"/>
                </a:lnTo>
                <a:lnTo>
                  <a:pt x="11200" y="5450"/>
                </a:lnTo>
                <a:lnTo>
                  <a:pt x="11194" y="5452"/>
                </a:lnTo>
                <a:lnTo>
                  <a:pt x="11188" y="5454"/>
                </a:lnTo>
                <a:lnTo>
                  <a:pt x="11184" y="5454"/>
                </a:lnTo>
                <a:lnTo>
                  <a:pt x="11180" y="5452"/>
                </a:lnTo>
                <a:lnTo>
                  <a:pt x="11176" y="5452"/>
                </a:lnTo>
                <a:lnTo>
                  <a:pt x="11158" y="5458"/>
                </a:lnTo>
                <a:lnTo>
                  <a:pt x="11150" y="5460"/>
                </a:lnTo>
                <a:lnTo>
                  <a:pt x="11146" y="5466"/>
                </a:lnTo>
                <a:lnTo>
                  <a:pt x="11144" y="5470"/>
                </a:lnTo>
                <a:lnTo>
                  <a:pt x="11138" y="5478"/>
                </a:lnTo>
                <a:lnTo>
                  <a:pt x="11128" y="5484"/>
                </a:lnTo>
                <a:lnTo>
                  <a:pt x="11122" y="5486"/>
                </a:lnTo>
                <a:lnTo>
                  <a:pt x="11114" y="5488"/>
                </a:lnTo>
                <a:lnTo>
                  <a:pt x="11104" y="5496"/>
                </a:lnTo>
                <a:lnTo>
                  <a:pt x="11094" y="5504"/>
                </a:lnTo>
                <a:lnTo>
                  <a:pt x="11090" y="5510"/>
                </a:lnTo>
                <a:lnTo>
                  <a:pt x="11088" y="5522"/>
                </a:lnTo>
                <a:lnTo>
                  <a:pt x="11088" y="5524"/>
                </a:lnTo>
                <a:lnTo>
                  <a:pt x="11088" y="5526"/>
                </a:lnTo>
                <a:lnTo>
                  <a:pt x="11092" y="5528"/>
                </a:lnTo>
                <a:lnTo>
                  <a:pt x="11094" y="5530"/>
                </a:lnTo>
                <a:lnTo>
                  <a:pt x="11092" y="5532"/>
                </a:lnTo>
                <a:lnTo>
                  <a:pt x="11086" y="5536"/>
                </a:lnTo>
                <a:lnTo>
                  <a:pt x="11082" y="5540"/>
                </a:lnTo>
                <a:lnTo>
                  <a:pt x="11082" y="5542"/>
                </a:lnTo>
                <a:lnTo>
                  <a:pt x="11090" y="5546"/>
                </a:lnTo>
                <a:close/>
                <a:moveTo>
                  <a:pt x="11218" y="5414"/>
                </a:moveTo>
                <a:lnTo>
                  <a:pt x="11218" y="5414"/>
                </a:lnTo>
                <a:lnTo>
                  <a:pt x="11218" y="5412"/>
                </a:lnTo>
                <a:lnTo>
                  <a:pt x="11214" y="5410"/>
                </a:lnTo>
                <a:lnTo>
                  <a:pt x="11202" y="5410"/>
                </a:lnTo>
                <a:lnTo>
                  <a:pt x="11190" y="5414"/>
                </a:lnTo>
                <a:lnTo>
                  <a:pt x="11184" y="5416"/>
                </a:lnTo>
                <a:lnTo>
                  <a:pt x="11180" y="5420"/>
                </a:lnTo>
                <a:lnTo>
                  <a:pt x="11178" y="5422"/>
                </a:lnTo>
                <a:lnTo>
                  <a:pt x="11180" y="5424"/>
                </a:lnTo>
                <a:lnTo>
                  <a:pt x="11194" y="5424"/>
                </a:lnTo>
                <a:lnTo>
                  <a:pt x="11210" y="5418"/>
                </a:lnTo>
                <a:lnTo>
                  <a:pt x="11216" y="5416"/>
                </a:lnTo>
                <a:lnTo>
                  <a:pt x="11218" y="5414"/>
                </a:lnTo>
                <a:close/>
                <a:moveTo>
                  <a:pt x="9966" y="4902"/>
                </a:moveTo>
                <a:lnTo>
                  <a:pt x="9966" y="4902"/>
                </a:lnTo>
                <a:lnTo>
                  <a:pt x="9966" y="4906"/>
                </a:lnTo>
                <a:lnTo>
                  <a:pt x="9968" y="4910"/>
                </a:lnTo>
                <a:lnTo>
                  <a:pt x="9972" y="4914"/>
                </a:lnTo>
                <a:lnTo>
                  <a:pt x="9980" y="4918"/>
                </a:lnTo>
                <a:lnTo>
                  <a:pt x="9990" y="4928"/>
                </a:lnTo>
                <a:lnTo>
                  <a:pt x="9994" y="4928"/>
                </a:lnTo>
                <a:lnTo>
                  <a:pt x="9994" y="4926"/>
                </a:lnTo>
                <a:lnTo>
                  <a:pt x="9990" y="4916"/>
                </a:lnTo>
                <a:lnTo>
                  <a:pt x="9982" y="4906"/>
                </a:lnTo>
                <a:lnTo>
                  <a:pt x="9972" y="4900"/>
                </a:lnTo>
                <a:lnTo>
                  <a:pt x="9970" y="4900"/>
                </a:lnTo>
                <a:lnTo>
                  <a:pt x="9966" y="4902"/>
                </a:lnTo>
                <a:close/>
                <a:moveTo>
                  <a:pt x="10026" y="4966"/>
                </a:moveTo>
                <a:lnTo>
                  <a:pt x="10026" y="4966"/>
                </a:lnTo>
                <a:lnTo>
                  <a:pt x="10022" y="4968"/>
                </a:lnTo>
                <a:lnTo>
                  <a:pt x="10022" y="4970"/>
                </a:lnTo>
                <a:lnTo>
                  <a:pt x="10026" y="4980"/>
                </a:lnTo>
                <a:lnTo>
                  <a:pt x="10044" y="5006"/>
                </a:lnTo>
                <a:lnTo>
                  <a:pt x="10046" y="5010"/>
                </a:lnTo>
                <a:lnTo>
                  <a:pt x="10050" y="5012"/>
                </a:lnTo>
                <a:lnTo>
                  <a:pt x="10052" y="5008"/>
                </a:lnTo>
                <a:lnTo>
                  <a:pt x="10054" y="5004"/>
                </a:lnTo>
                <a:lnTo>
                  <a:pt x="10054" y="4994"/>
                </a:lnTo>
                <a:lnTo>
                  <a:pt x="10052" y="4988"/>
                </a:lnTo>
                <a:lnTo>
                  <a:pt x="10050" y="4984"/>
                </a:lnTo>
                <a:lnTo>
                  <a:pt x="10044" y="4978"/>
                </a:lnTo>
                <a:lnTo>
                  <a:pt x="10038" y="4972"/>
                </a:lnTo>
                <a:lnTo>
                  <a:pt x="10032" y="4966"/>
                </a:lnTo>
                <a:lnTo>
                  <a:pt x="10030" y="4966"/>
                </a:lnTo>
                <a:lnTo>
                  <a:pt x="10026" y="4966"/>
                </a:lnTo>
                <a:close/>
                <a:moveTo>
                  <a:pt x="10084" y="5086"/>
                </a:moveTo>
                <a:lnTo>
                  <a:pt x="10084" y="5086"/>
                </a:lnTo>
                <a:lnTo>
                  <a:pt x="10080" y="5090"/>
                </a:lnTo>
                <a:lnTo>
                  <a:pt x="10080" y="5096"/>
                </a:lnTo>
                <a:lnTo>
                  <a:pt x="10082" y="5102"/>
                </a:lnTo>
                <a:lnTo>
                  <a:pt x="10086" y="5110"/>
                </a:lnTo>
                <a:lnTo>
                  <a:pt x="10098" y="5120"/>
                </a:lnTo>
                <a:lnTo>
                  <a:pt x="10102" y="5122"/>
                </a:lnTo>
                <a:lnTo>
                  <a:pt x="10106" y="5122"/>
                </a:lnTo>
                <a:lnTo>
                  <a:pt x="10108" y="5120"/>
                </a:lnTo>
                <a:lnTo>
                  <a:pt x="10108" y="5114"/>
                </a:lnTo>
                <a:lnTo>
                  <a:pt x="10102" y="5100"/>
                </a:lnTo>
                <a:lnTo>
                  <a:pt x="10098" y="5092"/>
                </a:lnTo>
                <a:lnTo>
                  <a:pt x="10092" y="5088"/>
                </a:lnTo>
                <a:lnTo>
                  <a:pt x="10088" y="5084"/>
                </a:lnTo>
                <a:lnTo>
                  <a:pt x="10084" y="5086"/>
                </a:lnTo>
                <a:close/>
                <a:moveTo>
                  <a:pt x="10070" y="5066"/>
                </a:moveTo>
                <a:lnTo>
                  <a:pt x="10070" y="5066"/>
                </a:lnTo>
                <a:lnTo>
                  <a:pt x="10072" y="5066"/>
                </a:lnTo>
                <a:lnTo>
                  <a:pt x="10074" y="5066"/>
                </a:lnTo>
                <a:lnTo>
                  <a:pt x="10076" y="5060"/>
                </a:lnTo>
                <a:lnTo>
                  <a:pt x="10076" y="5054"/>
                </a:lnTo>
                <a:lnTo>
                  <a:pt x="10074" y="5050"/>
                </a:lnTo>
                <a:lnTo>
                  <a:pt x="10072" y="5048"/>
                </a:lnTo>
                <a:lnTo>
                  <a:pt x="10070" y="5048"/>
                </a:lnTo>
                <a:lnTo>
                  <a:pt x="10068" y="5054"/>
                </a:lnTo>
                <a:lnTo>
                  <a:pt x="10068" y="5060"/>
                </a:lnTo>
                <a:lnTo>
                  <a:pt x="10068" y="5062"/>
                </a:lnTo>
                <a:lnTo>
                  <a:pt x="10070" y="5066"/>
                </a:lnTo>
                <a:close/>
                <a:moveTo>
                  <a:pt x="11590" y="5128"/>
                </a:moveTo>
                <a:lnTo>
                  <a:pt x="11590" y="5128"/>
                </a:lnTo>
                <a:lnTo>
                  <a:pt x="11592" y="5130"/>
                </a:lnTo>
                <a:lnTo>
                  <a:pt x="11598" y="5130"/>
                </a:lnTo>
                <a:lnTo>
                  <a:pt x="11618" y="5128"/>
                </a:lnTo>
                <a:lnTo>
                  <a:pt x="11628" y="5124"/>
                </a:lnTo>
                <a:lnTo>
                  <a:pt x="11628" y="5122"/>
                </a:lnTo>
                <a:lnTo>
                  <a:pt x="11624" y="5122"/>
                </a:lnTo>
                <a:lnTo>
                  <a:pt x="11590" y="5118"/>
                </a:lnTo>
                <a:lnTo>
                  <a:pt x="11576" y="5116"/>
                </a:lnTo>
                <a:lnTo>
                  <a:pt x="11572" y="5116"/>
                </a:lnTo>
                <a:lnTo>
                  <a:pt x="11578" y="5120"/>
                </a:lnTo>
                <a:lnTo>
                  <a:pt x="11590" y="5128"/>
                </a:lnTo>
                <a:close/>
                <a:moveTo>
                  <a:pt x="11600" y="5086"/>
                </a:moveTo>
                <a:lnTo>
                  <a:pt x="11600" y="5086"/>
                </a:lnTo>
                <a:lnTo>
                  <a:pt x="11594" y="5082"/>
                </a:lnTo>
                <a:lnTo>
                  <a:pt x="11592" y="5078"/>
                </a:lnTo>
                <a:lnTo>
                  <a:pt x="11586" y="5074"/>
                </a:lnTo>
                <a:lnTo>
                  <a:pt x="11576" y="5070"/>
                </a:lnTo>
                <a:lnTo>
                  <a:pt x="11566" y="5068"/>
                </a:lnTo>
                <a:lnTo>
                  <a:pt x="11566" y="5070"/>
                </a:lnTo>
                <a:lnTo>
                  <a:pt x="11566" y="5072"/>
                </a:lnTo>
                <a:lnTo>
                  <a:pt x="11572" y="5078"/>
                </a:lnTo>
                <a:lnTo>
                  <a:pt x="11580" y="5082"/>
                </a:lnTo>
                <a:lnTo>
                  <a:pt x="11582" y="5084"/>
                </a:lnTo>
                <a:lnTo>
                  <a:pt x="11584" y="5088"/>
                </a:lnTo>
                <a:lnTo>
                  <a:pt x="11584" y="5092"/>
                </a:lnTo>
                <a:lnTo>
                  <a:pt x="11586" y="5094"/>
                </a:lnTo>
                <a:lnTo>
                  <a:pt x="11588" y="5096"/>
                </a:lnTo>
                <a:lnTo>
                  <a:pt x="11592" y="5096"/>
                </a:lnTo>
                <a:lnTo>
                  <a:pt x="11600" y="5096"/>
                </a:lnTo>
                <a:lnTo>
                  <a:pt x="11606" y="5094"/>
                </a:lnTo>
                <a:lnTo>
                  <a:pt x="11608" y="5092"/>
                </a:lnTo>
                <a:lnTo>
                  <a:pt x="11606" y="5090"/>
                </a:lnTo>
                <a:lnTo>
                  <a:pt x="11600" y="5086"/>
                </a:lnTo>
                <a:close/>
                <a:moveTo>
                  <a:pt x="11538" y="5324"/>
                </a:moveTo>
                <a:lnTo>
                  <a:pt x="11538" y="5324"/>
                </a:lnTo>
                <a:lnTo>
                  <a:pt x="11536" y="5310"/>
                </a:lnTo>
                <a:lnTo>
                  <a:pt x="11532" y="5304"/>
                </a:lnTo>
                <a:lnTo>
                  <a:pt x="11530" y="5304"/>
                </a:lnTo>
                <a:lnTo>
                  <a:pt x="11528" y="5304"/>
                </a:lnTo>
                <a:lnTo>
                  <a:pt x="11526" y="5310"/>
                </a:lnTo>
                <a:lnTo>
                  <a:pt x="11524" y="5316"/>
                </a:lnTo>
                <a:lnTo>
                  <a:pt x="11520" y="5316"/>
                </a:lnTo>
                <a:lnTo>
                  <a:pt x="11518" y="5316"/>
                </a:lnTo>
                <a:lnTo>
                  <a:pt x="11518" y="5318"/>
                </a:lnTo>
                <a:lnTo>
                  <a:pt x="11518" y="5320"/>
                </a:lnTo>
                <a:lnTo>
                  <a:pt x="11520" y="5320"/>
                </a:lnTo>
                <a:lnTo>
                  <a:pt x="11520" y="5322"/>
                </a:lnTo>
                <a:lnTo>
                  <a:pt x="11520" y="5328"/>
                </a:lnTo>
                <a:lnTo>
                  <a:pt x="11520" y="5334"/>
                </a:lnTo>
                <a:lnTo>
                  <a:pt x="11522" y="5340"/>
                </a:lnTo>
                <a:lnTo>
                  <a:pt x="11530" y="5348"/>
                </a:lnTo>
                <a:lnTo>
                  <a:pt x="11534" y="5348"/>
                </a:lnTo>
                <a:lnTo>
                  <a:pt x="11536" y="5344"/>
                </a:lnTo>
                <a:lnTo>
                  <a:pt x="11538" y="5336"/>
                </a:lnTo>
                <a:lnTo>
                  <a:pt x="11538" y="5324"/>
                </a:lnTo>
                <a:close/>
                <a:moveTo>
                  <a:pt x="11188" y="5150"/>
                </a:moveTo>
                <a:lnTo>
                  <a:pt x="11188" y="5150"/>
                </a:lnTo>
                <a:lnTo>
                  <a:pt x="11186" y="5144"/>
                </a:lnTo>
                <a:lnTo>
                  <a:pt x="11186" y="5138"/>
                </a:lnTo>
                <a:lnTo>
                  <a:pt x="11184" y="5136"/>
                </a:lnTo>
                <a:lnTo>
                  <a:pt x="11182" y="5136"/>
                </a:lnTo>
                <a:lnTo>
                  <a:pt x="11180" y="5138"/>
                </a:lnTo>
                <a:lnTo>
                  <a:pt x="11180" y="5142"/>
                </a:lnTo>
                <a:lnTo>
                  <a:pt x="11184" y="5154"/>
                </a:lnTo>
                <a:lnTo>
                  <a:pt x="11186" y="5160"/>
                </a:lnTo>
                <a:lnTo>
                  <a:pt x="11188" y="5160"/>
                </a:lnTo>
                <a:lnTo>
                  <a:pt x="11188" y="5156"/>
                </a:lnTo>
                <a:lnTo>
                  <a:pt x="11188" y="5150"/>
                </a:lnTo>
                <a:close/>
                <a:moveTo>
                  <a:pt x="11232" y="5052"/>
                </a:moveTo>
                <a:lnTo>
                  <a:pt x="11232" y="5052"/>
                </a:lnTo>
                <a:lnTo>
                  <a:pt x="11232" y="5054"/>
                </a:lnTo>
                <a:lnTo>
                  <a:pt x="11230" y="5060"/>
                </a:lnTo>
                <a:lnTo>
                  <a:pt x="11232" y="5064"/>
                </a:lnTo>
                <a:lnTo>
                  <a:pt x="11234" y="5064"/>
                </a:lnTo>
                <a:lnTo>
                  <a:pt x="11236" y="5062"/>
                </a:lnTo>
                <a:lnTo>
                  <a:pt x="11238" y="5056"/>
                </a:lnTo>
                <a:lnTo>
                  <a:pt x="11236" y="5052"/>
                </a:lnTo>
                <a:lnTo>
                  <a:pt x="11234" y="5052"/>
                </a:lnTo>
                <a:lnTo>
                  <a:pt x="11232" y="5052"/>
                </a:lnTo>
                <a:close/>
                <a:moveTo>
                  <a:pt x="11262" y="5078"/>
                </a:moveTo>
                <a:lnTo>
                  <a:pt x="11262" y="5078"/>
                </a:lnTo>
                <a:lnTo>
                  <a:pt x="11262" y="5076"/>
                </a:lnTo>
                <a:lnTo>
                  <a:pt x="11260" y="5072"/>
                </a:lnTo>
                <a:lnTo>
                  <a:pt x="11256" y="5072"/>
                </a:lnTo>
                <a:lnTo>
                  <a:pt x="11254" y="5076"/>
                </a:lnTo>
                <a:lnTo>
                  <a:pt x="11254" y="5078"/>
                </a:lnTo>
                <a:lnTo>
                  <a:pt x="11256" y="5080"/>
                </a:lnTo>
                <a:lnTo>
                  <a:pt x="11258" y="5080"/>
                </a:lnTo>
                <a:lnTo>
                  <a:pt x="11262" y="5078"/>
                </a:lnTo>
                <a:close/>
                <a:moveTo>
                  <a:pt x="11280" y="5212"/>
                </a:moveTo>
                <a:lnTo>
                  <a:pt x="11280" y="5212"/>
                </a:lnTo>
                <a:lnTo>
                  <a:pt x="11278" y="5210"/>
                </a:lnTo>
                <a:lnTo>
                  <a:pt x="11276" y="5210"/>
                </a:lnTo>
                <a:lnTo>
                  <a:pt x="11270" y="5212"/>
                </a:lnTo>
                <a:lnTo>
                  <a:pt x="11264" y="5218"/>
                </a:lnTo>
                <a:lnTo>
                  <a:pt x="11262" y="5220"/>
                </a:lnTo>
                <a:lnTo>
                  <a:pt x="11264" y="5222"/>
                </a:lnTo>
                <a:lnTo>
                  <a:pt x="11266" y="5222"/>
                </a:lnTo>
                <a:lnTo>
                  <a:pt x="11272" y="5222"/>
                </a:lnTo>
                <a:lnTo>
                  <a:pt x="11276" y="5218"/>
                </a:lnTo>
                <a:lnTo>
                  <a:pt x="11280" y="5212"/>
                </a:lnTo>
                <a:close/>
                <a:moveTo>
                  <a:pt x="11234" y="5078"/>
                </a:moveTo>
                <a:lnTo>
                  <a:pt x="11234" y="5078"/>
                </a:lnTo>
                <a:lnTo>
                  <a:pt x="11238" y="5078"/>
                </a:lnTo>
                <a:lnTo>
                  <a:pt x="11240" y="5076"/>
                </a:lnTo>
                <a:lnTo>
                  <a:pt x="11238" y="5074"/>
                </a:lnTo>
                <a:lnTo>
                  <a:pt x="11236" y="5072"/>
                </a:lnTo>
                <a:lnTo>
                  <a:pt x="11234" y="5070"/>
                </a:lnTo>
                <a:lnTo>
                  <a:pt x="11232" y="5072"/>
                </a:lnTo>
                <a:lnTo>
                  <a:pt x="11232" y="5076"/>
                </a:lnTo>
                <a:lnTo>
                  <a:pt x="11234" y="5078"/>
                </a:lnTo>
                <a:close/>
                <a:moveTo>
                  <a:pt x="11378" y="5078"/>
                </a:moveTo>
                <a:lnTo>
                  <a:pt x="11378" y="5078"/>
                </a:lnTo>
                <a:lnTo>
                  <a:pt x="11366" y="5078"/>
                </a:lnTo>
                <a:lnTo>
                  <a:pt x="11360" y="5080"/>
                </a:lnTo>
                <a:lnTo>
                  <a:pt x="11360" y="5082"/>
                </a:lnTo>
                <a:lnTo>
                  <a:pt x="11362" y="5084"/>
                </a:lnTo>
                <a:lnTo>
                  <a:pt x="11364" y="5084"/>
                </a:lnTo>
                <a:lnTo>
                  <a:pt x="11372" y="5082"/>
                </a:lnTo>
                <a:lnTo>
                  <a:pt x="11378" y="5078"/>
                </a:lnTo>
                <a:close/>
                <a:moveTo>
                  <a:pt x="11216" y="4816"/>
                </a:moveTo>
                <a:lnTo>
                  <a:pt x="11216" y="4816"/>
                </a:lnTo>
                <a:lnTo>
                  <a:pt x="11214" y="4820"/>
                </a:lnTo>
                <a:lnTo>
                  <a:pt x="11214" y="4828"/>
                </a:lnTo>
                <a:lnTo>
                  <a:pt x="11214" y="4830"/>
                </a:lnTo>
                <a:lnTo>
                  <a:pt x="11216" y="4830"/>
                </a:lnTo>
                <a:lnTo>
                  <a:pt x="11216" y="4834"/>
                </a:lnTo>
                <a:lnTo>
                  <a:pt x="11214" y="4838"/>
                </a:lnTo>
                <a:lnTo>
                  <a:pt x="11212" y="4842"/>
                </a:lnTo>
                <a:lnTo>
                  <a:pt x="11214" y="4844"/>
                </a:lnTo>
                <a:lnTo>
                  <a:pt x="11218" y="4842"/>
                </a:lnTo>
                <a:lnTo>
                  <a:pt x="11220" y="4838"/>
                </a:lnTo>
                <a:lnTo>
                  <a:pt x="11220" y="4836"/>
                </a:lnTo>
                <a:lnTo>
                  <a:pt x="11222" y="4832"/>
                </a:lnTo>
                <a:lnTo>
                  <a:pt x="11222" y="4830"/>
                </a:lnTo>
                <a:lnTo>
                  <a:pt x="11222" y="4826"/>
                </a:lnTo>
                <a:lnTo>
                  <a:pt x="11220" y="4824"/>
                </a:lnTo>
                <a:lnTo>
                  <a:pt x="11220" y="4820"/>
                </a:lnTo>
                <a:lnTo>
                  <a:pt x="11220" y="4816"/>
                </a:lnTo>
                <a:lnTo>
                  <a:pt x="11216" y="4816"/>
                </a:lnTo>
                <a:close/>
                <a:moveTo>
                  <a:pt x="13306" y="5908"/>
                </a:moveTo>
                <a:lnTo>
                  <a:pt x="13306" y="5908"/>
                </a:lnTo>
                <a:lnTo>
                  <a:pt x="13306" y="5902"/>
                </a:lnTo>
                <a:lnTo>
                  <a:pt x="13304" y="5898"/>
                </a:lnTo>
                <a:lnTo>
                  <a:pt x="13302" y="5896"/>
                </a:lnTo>
                <a:lnTo>
                  <a:pt x="13296" y="5892"/>
                </a:lnTo>
                <a:lnTo>
                  <a:pt x="13286" y="5890"/>
                </a:lnTo>
                <a:lnTo>
                  <a:pt x="13278" y="5890"/>
                </a:lnTo>
                <a:lnTo>
                  <a:pt x="13266" y="5898"/>
                </a:lnTo>
                <a:lnTo>
                  <a:pt x="13260" y="5904"/>
                </a:lnTo>
                <a:lnTo>
                  <a:pt x="13254" y="5910"/>
                </a:lnTo>
                <a:lnTo>
                  <a:pt x="13250" y="5916"/>
                </a:lnTo>
                <a:lnTo>
                  <a:pt x="13250" y="5918"/>
                </a:lnTo>
                <a:lnTo>
                  <a:pt x="13250" y="5922"/>
                </a:lnTo>
                <a:lnTo>
                  <a:pt x="13252" y="5924"/>
                </a:lnTo>
                <a:lnTo>
                  <a:pt x="13256" y="5928"/>
                </a:lnTo>
                <a:lnTo>
                  <a:pt x="13270" y="5932"/>
                </a:lnTo>
                <a:lnTo>
                  <a:pt x="13280" y="5934"/>
                </a:lnTo>
                <a:lnTo>
                  <a:pt x="13286" y="5934"/>
                </a:lnTo>
                <a:lnTo>
                  <a:pt x="13292" y="5930"/>
                </a:lnTo>
                <a:lnTo>
                  <a:pt x="13294" y="5926"/>
                </a:lnTo>
                <a:lnTo>
                  <a:pt x="13296" y="5926"/>
                </a:lnTo>
                <a:lnTo>
                  <a:pt x="13302" y="5926"/>
                </a:lnTo>
                <a:lnTo>
                  <a:pt x="13306" y="5930"/>
                </a:lnTo>
                <a:lnTo>
                  <a:pt x="13308" y="5930"/>
                </a:lnTo>
                <a:lnTo>
                  <a:pt x="13312" y="5928"/>
                </a:lnTo>
                <a:lnTo>
                  <a:pt x="13312" y="5926"/>
                </a:lnTo>
                <a:lnTo>
                  <a:pt x="13312" y="5924"/>
                </a:lnTo>
                <a:lnTo>
                  <a:pt x="13310" y="5920"/>
                </a:lnTo>
                <a:lnTo>
                  <a:pt x="13308" y="5914"/>
                </a:lnTo>
                <a:lnTo>
                  <a:pt x="13306" y="5912"/>
                </a:lnTo>
                <a:lnTo>
                  <a:pt x="13306" y="5908"/>
                </a:lnTo>
                <a:close/>
                <a:moveTo>
                  <a:pt x="13336" y="5840"/>
                </a:moveTo>
                <a:lnTo>
                  <a:pt x="13336" y="5840"/>
                </a:lnTo>
                <a:lnTo>
                  <a:pt x="13328" y="5844"/>
                </a:lnTo>
                <a:lnTo>
                  <a:pt x="13322" y="5844"/>
                </a:lnTo>
                <a:lnTo>
                  <a:pt x="13318" y="5846"/>
                </a:lnTo>
                <a:lnTo>
                  <a:pt x="13316" y="5850"/>
                </a:lnTo>
                <a:lnTo>
                  <a:pt x="13314" y="5854"/>
                </a:lnTo>
                <a:lnTo>
                  <a:pt x="13312" y="5854"/>
                </a:lnTo>
                <a:lnTo>
                  <a:pt x="13306" y="5854"/>
                </a:lnTo>
                <a:lnTo>
                  <a:pt x="13304" y="5854"/>
                </a:lnTo>
                <a:lnTo>
                  <a:pt x="13306" y="5864"/>
                </a:lnTo>
                <a:lnTo>
                  <a:pt x="13310" y="5870"/>
                </a:lnTo>
                <a:lnTo>
                  <a:pt x="13312" y="5872"/>
                </a:lnTo>
                <a:lnTo>
                  <a:pt x="13326" y="5862"/>
                </a:lnTo>
                <a:lnTo>
                  <a:pt x="13330" y="5860"/>
                </a:lnTo>
                <a:lnTo>
                  <a:pt x="13334" y="5858"/>
                </a:lnTo>
                <a:lnTo>
                  <a:pt x="13336" y="5860"/>
                </a:lnTo>
                <a:lnTo>
                  <a:pt x="13338" y="5864"/>
                </a:lnTo>
                <a:lnTo>
                  <a:pt x="13340" y="5862"/>
                </a:lnTo>
                <a:lnTo>
                  <a:pt x="13348" y="5860"/>
                </a:lnTo>
                <a:lnTo>
                  <a:pt x="13354" y="5858"/>
                </a:lnTo>
                <a:lnTo>
                  <a:pt x="13360" y="5860"/>
                </a:lnTo>
                <a:lnTo>
                  <a:pt x="13360" y="5858"/>
                </a:lnTo>
                <a:lnTo>
                  <a:pt x="13358" y="5854"/>
                </a:lnTo>
                <a:lnTo>
                  <a:pt x="13360" y="5848"/>
                </a:lnTo>
                <a:lnTo>
                  <a:pt x="13358" y="5846"/>
                </a:lnTo>
                <a:lnTo>
                  <a:pt x="13354" y="5848"/>
                </a:lnTo>
                <a:lnTo>
                  <a:pt x="13350" y="5850"/>
                </a:lnTo>
                <a:lnTo>
                  <a:pt x="13350" y="5848"/>
                </a:lnTo>
                <a:lnTo>
                  <a:pt x="13352" y="5842"/>
                </a:lnTo>
                <a:lnTo>
                  <a:pt x="13358" y="5834"/>
                </a:lnTo>
                <a:lnTo>
                  <a:pt x="13360" y="5830"/>
                </a:lnTo>
                <a:lnTo>
                  <a:pt x="13360" y="5828"/>
                </a:lnTo>
                <a:lnTo>
                  <a:pt x="13358" y="5828"/>
                </a:lnTo>
                <a:lnTo>
                  <a:pt x="13356" y="5828"/>
                </a:lnTo>
                <a:lnTo>
                  <a:pt x="13346" y="5832"/>
                </a:lnTo>
                <a:lnTo>
                  <a:pt x="13336" y="5840"/>
                </a:lnTo>
                <a:close/>
                <a:moveTo>
                  <a:pt x="12084" y="5310"/>
                </a:moveTo>
                <a:lnTo>
                  <a:pt x="12084" y="5310"/>
                </a:lnTo>
                <a:lnTo>
                  <a:pt x="12086" y="5316"/>
                </a:lnTo>
                <a:lnTo>
                  <a:pt x="12090" y="5320"/>
                </a:lnTo>
                <a:lnTo>
                  <a:pt x="12098" y="5324"/>
                </a:lnTo>
                <a:lnTo>
                  <a:pt x="12106" y="5330"/>
                </a:lnTo>
                <a:lnTo>
                  <a:pt x="12112" y="5336"/>
                </a:lnTo>
                <a:lnTo>
                  <a:pt x="12116" y="5338"/>
                </a:lnTo>
                <a:lnTo>
                  <a:pt x="12120" y="5338"/>
                </a:lnTo>
                <a:lnTo>
                  <a:pt x="12122" y="5336"/>
                </a:lnTo>
                <a:lnTo>
                  <a:pt x="12124" y="5336"/>
                </a:lnTo>
                <a:lnTo>
                  <a:pt x="12126" y="5336"/>
                </a:lnTo>
                <a:lnTo>
                  <a:pt x="12128" y="5336"/>
                </a:lnTo>
                <a:lnTo>
                  <a:pt x="12132" y="5342"/>
                </a:lnTo>
                <a:lnTo>
                  <a:pt x="12140" y="5346"/>
                </a:lnTo>
                <a:lnTo>
                  <a:pt x="12148" y="5346"/>
                </a:lnTo>
                <a:lnTo>
                  <a:pt x="12160" y="5346"/>
                </a:lnTo>
                <a:lnTo>
                  <a:pt x="12172" y="5342"/>
                </a:lnTo>
                <a:lnTo>
                  <a:pt x="12184" y="5336"/>
                </a:lnTo>
                <a:lnTo>
                  <a:pt x="12196" y="5330"/>
                </a:lnTo>
                <a:lnTo>
                  <a:pt x="12204" y="5324"/>
                </a:lnTo>
                <a:lnTo>
                  <a:pt x="12208" y="5318"/>
                </a:lnTo>
                <a:lnTo>
                  <a:pt x="12212" y="5312"/>
                </a:lnTo>
                <a:lnTo>
                  <a:pt x="12214" y="5310"/>
                </a:lnTo>
                <a:lnTo>
                  <a:pt x="12218" y="5308"/>
                </a:lnTo>
                <a:lnTo>
                  <a:pt x="12220" y="5310"/>
                </a:lnTo>
                <a:lnTo>
                  <a:pt x="12228" y="5310"/>
                </a:lnTo>
                <a:lnTo>
                  <a:pt x="12232" y="5310"/>
                </a:lnTo>
                <a:lnTo>
                  <a:pt x="12236" y="5306"/>
                </a:lnTo>
                <a:lnTo>
                  <a:pt x="12238" y="5302"/>
                </a:lnTo>
                <a:lnTo>
                  <a:pt x="12240" y="5298"/>
                </a:lnTo>
                <a:lnTo>
                  <a:pt x="12236" y="5290"/>
                </a:lnTo>
                <a:lnTo>
                  <a:pt x="12234" y="5284"/>
                </a:lnTo>
                <a:lnTo>
                  <a:pt x="12234" y="5282"/>
                </a:lnTo>
                <a:lnTo>
                  <a:pt x="12238" y="5282"/>
                </a:lnTo>
                <a:lnTo>
                  <a:pt x="12242" y="5280"/>
                </a:lnTo>
                <a:lnTo>
                  <a:pt x="12246" y="5276"/>
                </a:lnTo>
                <a:lnTo>
                  <a:pt x="12250" y="5266"/>
                </a:lnTo>
                <a:lnTo>
                  <a:pt x="12250" y="5256"/>
                </a:lnTo>
                <a:lnTo>
                  <a:pt x="12250" y="5250"/>
                </a:lnTo>
                <a:lnTo>
                  <a:pt x="12246" y="5246"/>
                </a:lnTo>
                <a:lnTo>
                  <a:pt x="12242" y="5242"/>
                </a:lnTo>
                <a:lnTo>
                  <a:pt x="12236" y="5240"/>
                </a:lnTo>
                <a:lnTo>
                  <a:pt x="12218" y="5242"/>
                </a:lnTo>
                <a:lnTo>
                  <a:pt x="12216" y="5242"/>
                </a:lnTo>
                <a:lnTo>
                  <a:pt x="12214" y="5244"/>
                </a:lnTo>
                <a:lnTo>
                  <a:pt x="12212" y="5250"/>
                </a:lnTo>
                <a:lnTo>
                  <a:pt x="12216" y="5264"/>
                </a:lnTo>
                <a:lnTo>
                  <a:pt x="12220" y="5276"/>
                </a:lnTo>
                <a:lnTo>
                  <a:pt x="12218" y="5280"/>
                </a:lnTo>
                <a:lnTo>
                  <a:pt x="12214" y="5278"/>
                </a:lnTo>
                <a:lnTo>
                  <a:pt x="12206" y="5278"/>
                </a:lnTo>
                <a:lnTo>
                  <a:pt x="12202" y="5282"/>
                </a:lnTo>
                <a:lnTo>
                  <a:pt x="12196" y="5286"/>
                </a:lnTo>
                <a:lnTo>
                  <a:pt x="12194" y="5294"/>
                </a:lnTo>
                <a:lnTo>
                  <a:pt x="12190" y="5300"/>
                </a:lnTo>
                <a:lnTo>
                  <a:pt x="12186" y="5306"/>
                </a:lnTo>
                <a:lnTo>
                  <a:pt x="12180" y="5308"/>
                </a:lnTo>
                <a:lnTo>
                  <a:pt x="12174" y="5306"/>
                </a:lnTo>
                <a:lnTo>
                  <a:pt x="12170" y="5304"/>
                </a:lnTo>
                <a:lnTo>
                  <a:pt x="12168" y="5304"/>
                </a:lnTo>
                <a:lnTo>
                  <a:pt x="12164" y="5306"/>
                </a:lnTo>
                <a:lnTo>
                  <a:pt x="12162" y="5308"/>
                </a:lnTo>
                <a:lnTo>
                  <a:pt x="12158" y="5302"/>
                </a:lnTo>
                <a:lnTo>
                  <a:pt x="12156" y="5294"/>
                </a:lnTo>
                <a:lnTo>
                  <a:pt x="12158" y="5290"/>
                </a:lnTo>
                <a:lnTo>
                  <a:pt x="12160" y="5288"/>
                </a:lnTo>
                <a:lnTo>
                  <a:pt x="12160" y="5284"/>
                </a:lnTo>
                <a:lnTo>
                  <a:pt x="12160" y="5282"/>
                </a:lnTo>
                <a:lnTo>
                  <a:pt x="12158" y="5282"/>
                </a:lnTo>
                <a:lnTo>
                  <a:pt x="12154" y="5284"/>
                </a:lnTo>
                <a:lnTo>
                  <a:pt x="12150" y="5290"/>
                </a:lnTo>
                <a:lnTo>
                  <a:pt x="12150" y="5302"/>
                </a:lnTo>
                <a:lnTo>
                  <a:pt x="12150" y="5304"/>
                </a:lnTo>
                <a:lnTo>
                  <a:pt x="12148" y="5306"/>
                </a:lnTo>
                <a:lnTo>
                  <a:pt x="12140" y="5308"/>
                </a:lnTo>
                <a:lnTo>
                  <a:pt x="12130" y="5308"/>
                </a:lnTo>
                <a:lnTo>
                  <a:pt x="12118" y="5306"/>
                </a:lnTo>
                <a:lnTo>
                  <a:pt x="12106" y="5304"/>
                </a:lnTo>
                <a:lnTo>
                  <a:pt x="12094" y="5304"/>
                </a:lnTo>
                <a:lnTo>
                  <a:pt x="12088" y="5306"/>
                </a:lnTo>
                <a:lnTo>
                  <a:pt x="12086" y="5308"/>
                </a:lnTo>
                <a:lnTo>
                  <a:pt x="12084" y="5310"/>
                </a:lnTo>
                <a:close/>
                <a:moveTo>
                  <a:pt x="12010" y="5142"/>
                </a:moveTo>
                <a:lnTo>
                  <a:pt x="12010" y="5142"/>
                </a:lnTo>
                <a:lnTo>
                  <a:pt x="12010" y="5148"/>
                </a:lnTo>
                <a:lnTo>
                  <a:pt x="12014" y="5148"/>
                </a:lnTo>
                <a:lnTo>
                  <a:pt x="12022" y="5146"/>
                </a:lnTo>
                <a:lnTo>
                  <a:pt x="12032" y="5146"/>
                </a:lnTo>
                <a:lnTo>
                  <a:pt x="12040" y="5146"/>
                </a:lnTo>
                <a:lnTo>
                  <a:pt x="12046" y="5142"/>
                </a:lnTo>
                <a:lnTo>
                  <a:pt x="12046" y="5140"/>
                </a:lnTo>
                <a:lnTo>
                  <a:pt x="12046" y="5138"/>
                </a:lnTo>
                <a:lnTo>
                  <a:pt x="12044" y="5136"/>
                </a:lnTo>
                <a:lnTo>
                  <a:pt x="12042" y="5136"/>
                </a:lnTo>
                <a:lnTo>
                  <a:pt x="12032" y="5134"/>
                </a:lnTo>
                <a:lnTo>
                  <a:pt x="12022" y="5134"/>
                </a:lnTo>
                <a:lnTo>
                  <a:pt x="12014" y="5136"/>
                </a:lnTo>
                <a:lnTo>
                  <a:pt x="12012" y="5138"/>
                </a:lnTo>
                <a:lnTo>
                  <a:pt x="12010" y="5142"/>
                </a:lnTo>
                <a:close/>
                <a:moveTo>
                  <a:pt x="12154" y="5158"/>
                </a:moveTo>
                <a:lnTo>
                  <a:pt x="12154" y="5158"/>
                </a:lnTo>
                <a:lnTo>
                  <a:pt x="12154" y="5160"/>
                </a:lnTo>
                <a:lnTo>
                  <a:pt x="12154" y="5164"/>
                </a:lnTo>
                <a:lnTo>
                  <a:pt x="12158" y="5168"/>
                </a:lnTo>
                <a:lnTo>
                  <a:pt x="12166" y="5170"/>
                </a:lnTo>
                <a:lnTo>
                  <a:pt x="12168" y="5168"/>
                </a:lnTo>
                <a:lnTo>
                  <a:pt x="12170" y="5168"/>
                </a:lnTo>
                <a:lnTo>
                  <a:pt x="12172" y="5164"/>
                </a:lnTo>
                <a:lnTo>
                  <a:pt x="12172" y="5162"/>
                </a:lnTo>
                <a:lnTo>
                  <a:pt x="12166" y="5156"/>
                </a:lnTo>
                <a:lnTo>
                  <a:pt x="12164" y="5154"/>
                </a:lnTo>
                <a:lnTo>
                  <a:pt x="12160" y="5152"/>
                </a:lnTo>
                <a:lnTo>
                  <a:pt x="12156" y="5154"/>
                </a:lnTo>
                <a:lnTo>
                  <a:pt x="12154" y="5158"/>
                </a:lnTo>
                <a:close/>
                <a:moveTo>
                  <a:pt x="12228" y="5192"/>
                </a:moveTo>
                <a:lnTo>
                  <a:pt x="12228" y="5192"/>
                </a:lnTo>
                <a:lnTo>
                  <a:pt x="12208" y="5182"/>
                </a:lnTo>
                <a:lnTo>
                  <a:pt x="12196" y="5172"/>
                </a:lnTo>
                <a:lnTo>
                  <a:pt x="12190" y="5166"/>
                </a:lnTo>
                <a:lnTo>
                  <a:pt x="12186" y="5166"/>
                </a:lnTo>
                <a:lnTo>
                  <a:pt x="12186" y="5168"/>
                </a:lnTo>
                <a:lnTo>
                  <a:pt x="12180" y="5170"/>
                </a:lnTo>
                <a:lnTo>
                  <a:pt x="12178" y="5172"/>
                </a:lnTo>
                <a:lnTo>
                  <a:pt x="12182" y="5174"/>
                </a:lnTo>
                <a:lnTo>
                  <a:pt x="12186" y="5178"/>
                </a:lnTo>
                <a:lnTo>
                  <a:pt x="12200" y="5184"/>
                </a:lnTo>
                <a:lnTo>
                  <a:pt x="12208" y="5190"/>
                </a:lnTo>
                <a:lnTo>
                  <a:pt x="12216" y="5196"/>
                </a:lnTo>
                <a:lnTo>
                  <a:pt x="12222" y="5202"/>
                </a:lnTo>
                <a:lnTo>
                  <a:pt x="12232" y="5210"/>
                </a:lnTo>
                <a:lnTo>
                  <a:pt x="12242" y="5218"/>
                </a:lnTo>
                <a:lnTo>
                  <a:pt x="12254" y="5230"/>
                </a:lnTo>
                <a:lnTo>
                  <a:pt x="12258" y="5236"/>
                </a:lnTo>
                <a:lnTo>
                  <a:pt x="12260" y="5242"/>
                </a:lnTo>
                <a:lnTo>
                  <a:pt x="12260" y="5250"/>
                </a:lnTo>
                <a:lnTo>
                  <a:pt x="12260" y="5258"/>
                </a:lnTo>
                <a:lnTo>
                  <a:pt x="12262" y="5264"/>
                </a:lnTo>
                <a:lnTo>
                  <a:pt x="12264" y="5272"/>
                </a:lnTo>
                <a:lnTo>
                  <a:pt x="12268" y="5274"/>
                </a:lnTo>
                <a:lnTo>
                  <a:pt x="12272" y="5274"/>
                </a:lnTo>
                <a:lnTo>
                  <a:pt x="12276" y="5270"/>
                </a:lnTo>
                <a:lnTo>
                  <a:pt x="12278" y="5262"/>
                </a:lnTo>
                <a:lnTo>
                  <a:pt x="12278" y="5254"/>
                </a:lnTo>
                <a:lnTo>
                  <a:pt x="12278" y="5244"/>
                </a:lnTo>
                <a:lnTo>
                  <a:pt x="12274" y="5236"/>
                </a:lnTo>
                <a:lnTo>
                  <a:pt x="12266" y="5230"/>
                </a:lnTo>
                <a:lnTo>
                  <a:pt x="12252" y="5218"/>
                </a:lnTo>
                <a:lnTo>
                  <a:pt x="12244" y="5208"/>
                </a:lnTo>
                <a:lnTo>
                  <a:pt x="12236" y="5200"/>
                </a:lnTo>
                <a:lnTo>
                  <a:pt x="12228" y="5192"/>
                </a:lnTo>
                <a:close/>
                <a:moveTo>
                  <a:pt x="12134" y="5108"/>
                </a:moveTo>
                <a:lnTo>
                  <a:pt x="12134" y="5108"/>
                </a:lnTo>
                <a:lnTo>
                  <a:pt x="12134" y="5112"/>
                </a:lnTo>
                <a:lnTo>
                  <a:pt x="12136" y="5116"/>
                </a:lnTo>
                <a:lnTo>
                  <a:pt x="12138" y="5118"/>
                </a:lnTo>
                <a:lnTo>
                  <a:pt x="12144" y="5120"/>
                </a:lnTo>
                <a:lnTo>
                  <a:pt x="12146" y="5118"/>
                </a:lnTo>
                <a:lnTo>
                  <a:pt x="12144" y="5112"/>
                </a:lnTo>
                <a:lnTo>
                  <a:pt x="12140" y="5108"/>
                </a:lnTo>
                <a:lnTo>
                  <a:pt x="12136" y="5106"/>
                </a:lnTo>
                <a:lnTo>
                  <a:pt x="12134" y="5108"/>
                </a:lnTo>
                <a:close/>
                <a:moveTo>
                  <a:pt x="12378" y="5340"/>
                </a:moveTo>
                <a:lnTo>
                  <a:pt x="12378" y="5340"/>
                </a:lnTo>
                <a:lnTo>
                  <a:pt x="12374" y="5338"/>
                </a:lnTo>
                <a:lnTo>
                  <a:pt x="12370" y="5334"/>
                </a:lnTo>
                <a:lnTo>
                  <a:pt x="12364" y="5324"/>
                </a:lnTo>
                <a:lnTo>
                  <a:pt x="12360" y="5314"/>
                </a:lnTo>
                <a:lnTo>
                  <a:pt x="12356" y="5310"/>
                </a:lnTo>
                <a:lnTo>
                  <a:pt x="12352" y="5308"/>
                </a:lnTo>
                <a:lnTo>
                  <a:pt x="12348" y="5306"/>
                </a:lnTo>
                <a:lnTo>
                  <a:pt x="12346" y="5302"/>
                </a:lnTo>
                <a:lnTo>
                  <a:pt x="12342" y="5290"/>
                </a:lnTo>
                <a:lnTo>
                  <a:pt x="12340" y="5284"/>
                </a:lnTo>
                <a:lnTo>
                  <a:pt x="12338" y="5282"/>
                </a:lnTo>
                <a:lnTo>
                  <a:pt x="12334" y="5284"/>
                </a:lnTo>
                <a:lnTo>
                  <a:pt x="12334" y="5288"/>
                </a:lnTo>
                <a:lnTo>
                  <a:pt x="12334" y="5290"/>
                </a:lnTo>
                <a:lnTo>
                  <a:pt x="12336" y="5296"/>
                </a:lnTo>
                <a:lnTo>
                  <a:pt x="12342" y="5304"/>
                </a:lnTo>
                <a:lnTo>
                  <a:pt x="12342" y="5308"/>
                </a:lnTo>
                <a:lnTo>
                  <a:pt x="12342" y="5314"/>
                </a:lnTo>
                <a:lnTo>
                  <a:pt x="12342" y="5322"/>
                </a:lnTo>
                <a:lnTo>
                  <a:pt x="12344" y="5328"/>
                </a:lnTo>
                <a:lnTo>
                  <a:pt x="12350" y="5336"/>
                </a:lnTo>
                <a:lnTo>
                  <a:pt x="12358" y="5346"/>
                </a:lnTo>
                <a:lnTo>
                  <a:pt x="12362" y="5350"/>
                </a:lnTo>
                <a:lnTo>
                  <a:pt x="12362" y="5354"/>
                </a:lnTo>
                <a:lnTo>
                  <a:pt x="12364" y="5364"/>
                </a:lnTo>
                <a:lnTo>
                  <a:pt x="12370" y="5368"/>
                </a:lnTo>
                <a:lnTo>
                  <a:pt x="12378" y="5370"/>
                </a:lnTo>
                <a:lnTo>
                  <a:pt x="12388" y="5370"/>
                </a:lnTo>
                <a:lnTo>
                  <a:pt x="12390" y="5368"/>
                </a:lnTo>
                <a:lnTo>
                  <a:pt x="12392" y="5364"/>
                </a:lnTo>
                <a:lnTo>
                  <a:pt x="12392" y="5360"/>
                </a:lnTo>
                <a:lnTo>
                  <a:pt x="12392" y="5356"/>
                </a:lnTo>
                <a:lnTo>
                  <a:pt x="12386" y="5346"/>
                </a:lnTo>
                <a:lnTo>
                  <a:pt x="12382" y="5342"/>
                </a:lnTo>
                <a:lnTo>
                  <a:pt x="12378" y="5340"/>
                </a:lnTo>
                <a:close/>
                <a:moveTo>
                  <a:pt x="12070" y="5308"/>
                </a:moveTo>
                <a:lnTo>
                  <a:pt x="12070" y="5308"/>
                </a:lnTo>
                <a:lnTo>
                  <a:pt x="12064" y="5304"/>
                </a:lnTo>
                <a:lnTo>
                  <a:pt x="12062" y="5304"/>
                </a:lnTo>
                <a:lnTo>
                  <a:pt x="12062" y="5306"/>
                </a:lnTo>
                <a:lnTo>
                  <a:pt x="12062" y="5310"/>
                </a:lnTo>
                <a:lnTo>
                  <a:pt x="12066" y="5320"/>
                </a:lnTo>
                <a:lnTo>
                  <a:pt x="12068" y="5322"/>
                </a:lnTo>
                <a:lnTo>
                  <a:pt x="12070" y="5322"/>
                </a:lnTo>
                <a:lnTo>
                  <a:pt x="12072" y="5322"/>
                </a:lnTo>
                <a:lnTo>
                  <a:pt x="12074" y="5320"/>
                </a:lnTo>
                <a:lnTo>
                  <a:pt x="12074" y="5314"/>
                </a:lnTo>
                <a:lnTo>
                  <a:pt x="12074" y="5310"/>
                </a:lnTo>
                <a:lnTo>
                  <a:pt x="12070" y="5308"/>
                </a:lnTo>
                <a:close/>
                <a:moveTo>
                  <a:pt x="12042" y="5304"/>
                </a:moveTo>
                <a:lnTo>
                  <a:pt x="12042" y="5304"/>
                </a:lnTo>
                <a:lnTo>
                  <a:pt x="12044" y="5302"/>
                </a:lnTo>
                <a:lnTo>
                  <a:pt x="12044" y="5300"/>
                </a:lnTo>
                <a:lnTo>
                  <a:pt x="12040" y="5294"/>
                </a:lnTo>
                <a:lnTo>
                  <a:pt x="12036" y="5290"/>
                </a:lnTo>
                <a:lnTo>
                  <a:pt x="12034" y="5292"/>
                </a:lnTo>
                <a:lnTo>
                  <a:pt x="12032" y="5292"/>
                </a:lnTo>
                <a:lnTo>
                  <a:pt x="12030" y="5296"/>
                </a:lnTo>
                <a:lnTo>
                  <a:pt x="12030" y="5298"/>
                </a:lnTo>
                <a:lnTo>
                  <a:pt x="12032" y="5304"/>
                </a:lnTo>
                <a:lnTo>
                  <a:pt x="12038" y="5306"/>
                </a:lnTo>
                <a:lnTo>
                  <a:pt x="12042" y="5304"/>
                </a:lnTo>
                <a:close/>
                <a:moveTo>
                  <a:pt x="11990" y="5256"/>
                </a:moveTo>
                <a:lnTo>
                  <a:pt x="11990" y="5256"/>
                </a:lnTo>
                <a:lnTo>
                  <a:pt x="11988" y="5256"/>
                </a:lnTo>
                <a:lnTo>
                  <a:pt x="11986" y="5256"/>
                </a:lnTo>
                <a:lnTo>
                  <a:pt x="11984" y="5260"/>
                </a:lnTo>
                <a:lnTo>
                  <a:pt x="11984" y="5266"/>
                </a:lnTo>
                <a:lnTo>
                  <a:pt x="11986" y="5270"/>
                </a:lnTo>
                <a:lnTo>
                  <a:pt x="11988" y="5272"/>
                </a:lnTo>
                <a:lnTo>
                  <a:pt x="11990" y="5272"/>
                </a:lnTo>
                <a:lnTo>
                  <a:pt x="11994" y="5268"/>
                </a:lnTo>
                <a:lnTo>
                  <a:pt x="11994" y="5262"/>
                </a:lnTo>
                <a:lnTo>
                  <a:pt x="11994" y="5260"/>
                </a:lnTo>
                <a:lnTo>
                  <a:pt x="11990" y="5256"/>
                </a:lnTo>
                <a:close/>
                <a:moveTo>
                  <a:pt x="12272" y="5478"/>
                </a:moveTo>
                <a:lnTo>
                  <a:pt x="12272" y="5478"/>
                </a:lnTo>
                <a:lnTo>
                  <a:pt x="12264" y="5474"/>
                </a:lnTo>
                <a:lnTo>
                  <a:pt x="12258" y="5474"/>
                </a:lnTo>
                <a:lnTo>
                  <a:pt x="12256" y="5476"/>
                </a:lnTo>
                <a:lnTo>
                  <a:pt x="12258" y="5478"/>
                </a:lnTo>
                <a:lnTo>
                  <a:pt x="12260" y="5480"/>
                </a:lnTo>
                <a:lnTo>
                  <a:pt x="12260" y="5482"/>
                </a:lnTo>
                <a:lnTo>
                  <a:pt x="12262" y="5486"/>
                </a:lnTo>
                <a:lnTo>
                  <a:pt x="12266" y="5486"/>
                </a:lnTo>
                <a:lnTo>
                  <a:pt x="12270" y="5488"/>
                </a:lnTo>
                <a:lnTo>
                  <a:pt x="12274" y="5486"/>
                </a:lnTo>
                <a:lnTo>
                  <a:pt x="12276" y="5482"/>
                </a:lnTo>
                <a:lnTo>
                  <a:pt x="12272" y="5478"/>
                </a:lnTo>
                <a:close/>
                <a:moveTo>
                  <a:pt x="12280" y="5594"/>
                </a:moveTo>
                <a:lnTo>
                  <a:pt x="12280" y="5594"/>
                </a:lnTo>
                <a:lnTo>
                  <a:pt x="12286" y="5598"/>
                </a:lnTo>
                <a:lnTo>
                  <a:pt x="12296" y="5602"/>
                </a:lnTo>
                <a:lnTo>
                  <a:pt x="12302" y="5604"/>
                </a:lnTo>
                <a:lnTo>
                  <a:pt x="12304" y="5604"/>
                </a:lnTo>
                <a:lnTo>
                  <a:pt x="12304" y="5602"/>
                </a:lnTo>
                <a:lnTo>
                  <a:pt x="12298" y="5596"/>
                </a:lnTo>
                <a:lnTo>
                  <a:pt x="12288" y="5592"/>
                </a:lnTo>
                <a:lnTo>
                  <a:pt x="12280" y="5590"/>
                </a:lnTo>
                <a:lnTo>
                  <a:pt x="12280" y="5594"/>
                </a:lnTo>
                <a:close/>
                <a:moveTo>
                  <a:pt x="12164" y="5488"/>
                </a:moveTo>
                <a:lnTo>
                  <a:pt x="12164" y="5488"/>
                </a:lnTo>
                <a:lnTo>
                  <a:pt x="12160" y="5486"/>
                </a:lnTo>
                <a:lnTo>
                  <a:pt x="12158" y="5486"/>
                </a:lnTo>
                <a:lnTo>
                  <a:pt x="12156" y="5492"/>
                </a:lnTo>
                <a:lnTo>
                  <a:pt x="12160" y="5498"/>
                </a:lnTo>
                <a:lnTo>
                  <a:pt x="12164" y="5502"/>
                </a:lnTo>
                <a:lnTo>
                  <a:pt x="12166" y="5502"/>
                </a:lnTo>
                <a:lnTo>
                  <a:pt x="12168" y="5500"/>
                </a:lnTo>
                <a:lnTo>
                  <a:pt x="12168" y="5494"/>
                </a:lnTo>
                <a:lnTo>
                  <a:pt x="12164" y="5488"/>
                </a:lnTo>
                <a:close/>
                <a:moveTo>
                  <a:pt x="12190" y="5504"/>
                </a:moveTo>
                <a:lnTo>
                  <a:pt x="12190" y="5504"/>
                </a:lnTo>
                <a:lnTo>
                  <a:pt x="12188" y="5498"/>
                </a:lnTo>
                <a:lnTo>
                  <a:pt x="12182" y="5494"/>
                </a:lnTo>
                <a:lnTo>
                  <a:pt x="12178" y="5494"/>
                </a:lnTo>
                <a:lnTo>
                  <a:pt x="12176" y="5494"/>
                </a:lnTo>
                <a:lnTo>
                  <a:pt x="12174" y="5496"/>
                </a:lnTo>
                <a:lnTo>
                  <a:pt x="12172" y="5500"/>
                </a:lnTo>
                <a:lnTo>
                  <a:pt x="12170" y="5506"/>
                </a:lnTo>
                <a:lnTo>
                  <a:pt x="12170" y="5508"/>
                </a:lnTo>
                <a:lnTo>
                  <a:pt x="12174" y="5510"/>
                </a:lnTo>
                <a:lnTo>
                  <a:pt x="12186" y="5510"/>
                </a:lnTo>
                <a:lnTo>
                  <a:pt x="12188" y="5510"/>
                </a:lnTo>
                <a:lnTo>
                  <a:pt x="12190" y="5504"/>
                </a:lnTo>
                <a:close/>
                <a:moveTo>
                  <a:pt x="12204" y="5532"/>
                </a:moveTo>
                <a:lnTo>
                  <a:pt x="12204" y="5532"/>
                </a:lnTo>
                <a:lnTo>
                  <a:pt x="12206" y="5526"/>
                </a:lnTo>
                <a:lnTo>
                  <a:pt x="12204" y="5522"/>
                </a:lnTo>
                <a:lnTo>
                  <a:pt x="12202" y="5520"/>
                </a:lnTo>
                <a:lnTo>
                  <a:pt x="12200" y="5522"/>
                </a:lnTo>
                <a:lnTo>
                  <a:pt x="12198" y="5524"/>
                </a:lnTo>
                <a:lnTo>
                  <a:pt x="12196" y="5524"/>
                </a:lnTo>
                <a:lnTo>
                  <a:pt x="12192" y="5520"/>
                </a:lnTo>
                <a:lnTo>
                  <a:pt x="12188" y="5516"/>
                </a:lnTo>
                <a:lnTo>
                  <a:pt x="12186" y="5518"/>
                </a:lnTo>
                <a:lnTo>
                  <a:pt x="12188" y="5526"/>
                </a:lnTo>
                <a:lnTo>
                  <a:pt x="12194" y="5532"/>
                </a:lnTo>
                <a:lnTo>
                  <a:pt x="12198" y="5536"/>
                </a:lnTo>
                <a:lnTo>
                  <a:pt x="12202" y="5534"/>
                </a:lnTo>
                <a:lnTo>
                  <a:pt x="12204" y="5532"/>
                </a:lnTo>
                <a:close/>
                <a:moveTo>
                  <a:pt x="12424" y="5380"/>
                </a:moveTo>
                <a:lnTo>
                  <a:pt x="12424" y="5380"/>
                </a:lnTo>
                <a:lnTo>
                  <a:pt x="12430" y="5386"/>
                </a:lnTo>
                <a:lnTo>
                  <a:pt x="12436" y="5394"/>
                </a:lnTo>
                <a:lnTo>
                  <a:pt x="12446" y="5398"/>
                </a:lnTo>
                <a:lnTo>
                  <a:pt x="12450" y="5400"/>
                </a:lnTo>
                <a:lnTo>
                  <a:pt x="12454" y="5400"/>
                </a:lnTo>
                <a:lnTo>
                  <a:pt x="12458" y="5398"/>
                </a:lnTo>
                <a:lnTo>
                  <a:pt x="12454" y="5394"/>
                </a:lnTo>
                <a:lnTo>
                  <a:pt x="12446" y="5390"/>
                </a:lnTo>
                <a:lnTo>
                  <a:pt x="12444" y="5388"/>
                </a:lnTo>
                <a:lnTo>
                  <a:pt x="12442" y="5384"/>
                </a:lnTo>
                <a:lnTo>
                  <a:pt x="12438" y="5376"/>
                </a:lnTo>
                <a:lnTo>
                  <a:pt x="12434" y="5372"/>
                </a:lnTo>
                <a:lnTo>
                  <a:pt x="12416" y="5360"/>
                </a:lnTo>
                <a:lnTo>
                  <a:pt x="12412" y="5358"/>
                </a:lnTo>
                <a:lnTo>
                  <a:pt x="12410" y="5358"/>
                </a:lnTo>
                <a:lnTo>
                  <a:pt x="12412" y="5366"/>
                </a:lnTo>
                <a:lnTo>
                  <a:pt x="12414" y="5370"/>
                </a:lnTo>
                <a:lnTo>
                  <a:pt x="12418" y="5372"/>
                </a:lnTo>
                <a:lnTo>
                  <a:pt x="12422" y="5376"/>
                </a:lnTo>
                <a:lnTo>
                  <a:pt x="12424" y="5380"/>
                </a:lnTo>
                <a:close/>
                <a:moveTo>
                  <a:pt x="12528" y="5426"/>
                </a:moveTo>
                <a:lnTo>
                  <a:pt x="12528" y="5426"/>
                </a:lnTo>
                <a:lnTo>
                  <a:pt x="12520" y="5420"/>
                </a:lnTo>
                <a:lnTo>
                  <a:pt x="12516" y="5416"/>
                </a:lnTo>
                <a:lnTo>
                  <a:pt x="12512" y="5412"/>
                </a:lnTo>
                <a:lnTo>
                  <a:pt x="12502" y="5408"/>
                </a:lnTo>
                <a:lnTo>
                  <a:pt x="12498" y="5406"/>
                </a:lnTo>
                <a:lnTo>
                  <a:pt x="12496" y="5406"/>
                </a:lnTo>
                <a:lnTo>
                  <a:pt x="12498" y="5416"/>
                </a:lnTo>
                <a:lnTo>
                  <a:pt x="12500" y="5422"/>
                </a:lnTo>
                <a:lnTo>
                  <a:pt x="12504" y="5426"/>
                </a:lnTo>
                <a:lnTo>
                  <a:pt x="12518" y="5434"/>
                </a:lnTo>
                <a:lnTo>
                  <a:pt x="12534" y="5444"/>
                </a:lnTo>
                <a:lnTo>
                  <a:pt x="12548" y="5452"/>
                </a:lnTo>
                <a:lnTo>
                  <a:pt x="12552" y="5456"/>
                </a:lnTo>
                <a:lnTo>
                  <a:pt x="12552" y="5454"/>
                </a:lnTo>
                <a:lnTo>
                  <a:pt x="12550" y="5446"/>
                </a:lnTo>
                <a:lnTo>
                  <a:pt x="12540" y="5434"/>
                </a:lnTo>
                <a:lnTo>
                  <a:pt x="12534" y="5430"/>
                </a:lnTo>
                <a:lnTo>
                  <a:pt x="12528" y="5426"/>
                </a:lnTo>
                <a:close/>
                <a:moveTo>
                  <a:pt x="12608" y="5498"/>
                </a:moveTo>
                <a:lnTo>
                  <a:pt x="12608" y="5498"/>
                </a:lnTo>
                <a:lnTo>
                  <a:pt x="12608" y="5492"/>
                </a:lnTo>
                <a:lnTo>
                  <a:pt x="12608" y="5488"/>
                </a:lnTo>
                <a:lnTo>
                  <a:pt x="12606" y="5482"/>
                </a:lnTo>
                <a:lnTo>
                  <a:pt x="12602" y="5476"/>
                </a:lnTo>
                <a:lnTo>
                  <a:pt x="12598" y="5472"/>
                </a:lnTo>
                <a:lnTo>
                  <a:pt x="12596" y="5468"/>
                </a:lnTo>
                <a:lnTo>
                  <a:pt x="12594" y="5458"/>
                </a:lnTo>
                <a:lnTo>
                  <a:pt x="12590" y="5450"/>
                </a:lnTo>
                <a:lnTo>
                  <a:pt x="12586" y="5446"/>
                </a:lnTo>
                <a:lnTo>
                  <a:pt x="12582" y="5444"/>
                </a:lnTo>
                <a:lnTo>
                  <a:pt x="12578" y="5444"/>
                </a:lnTo>
                <a:lnTo>
                  <a:pt x="12576" y="5444"/>
                </a:lnTo>
                <a:lnTo>
                  <a:pt x="12578" y="5450"/>
                </a:lnTo>
                <a:lnTo>
                  <a:pt x="12582" y="5462"/>
                </a:lnTo>
                <a:lnTo>
                  <a:pt x="12586" y="5480"/>
                </a:lnTo>
                <a:lnTo>
                  <a:pt x="12588" y="5484"/>
                </a:lnTo>
                <a:lnTo>
                  <a:pt x="12592" y="5488"/>
                </a:lnTo>
                <a:lnTo>
                  <a:pt x="12596" y="5492"/>
                </a:lnTo>
                <a:lnTo>
                  <a:pt x="12600" y="5498"/>
                </a:lnTo>
                <a:lnTo>
                  <a:pt x="12606" y="5504"/>
                </a:lnTo>
                <a:lnTo>
                  <a:pt x="12610" y="5508"/>
                </a:lnTo>
                <a:lnTo>
                  <a:pt x="12612" y="5508"/>
                </a:lnTo>
                <a:lnTo>
                  <a:pt x="12612" y="5506"/>
                </a:lnTo>
                <a:lnTo>
                  <a:pt x="12608" y="5498"/>
                </a:lnTo>
                <a:close/>
                <a:moveTo>
                  <a:pt x="12552" y="5494"/>
                </a:moveTo>
                <a:lnTo>
                  <a:pt x="12552" y="5494"/>
                </a:lnTo>
                <a:lnTo>
                  <a:pt x="12548" y="5490"/>
                </a:lnTo>
                <a:lnTo>
                  <a:pt x="12544" y="5490"/>
                </a:lnTo>
                <a:lnTo>
                  <a:pt x="12540" y="5492"/>
                </a:lnTo>
                <a:lnTo>
                  <a:pt x="12540" y="5502"/>
                </a:lnTo>
                <a:lnTo>
                  <a:pt x="12542" y="5508"/>
                </a:lnTo>
                <a:lnTo>
                  <a:pt x="12546" y="5512"/>
                </a:lnTo>
                <a:lnTo>
                  <a:pt x="12554" y="5516"/>
                </a:lnTo>
                <a:lnTo>
                  <a:pt x="12562" y="5516"/>
                </a:lnTo>
                <a:lnTo>
                  <a:pt x="12570" y="5516"/>
                </a:lnTo>
                <a:lnTo>
                  <a:pt x="12572" y="5518"/>
                </a:lnTo>
                <a:lnTo>
                  <a:pt x="12574" y="5520"/>
                </a:lnTo>
                <a:lnTo>
                  <a:pt x="12582" y="5522"/>
                </a:lnTo>
                <a:lnTo>
                  <a:pt x="12586" y="5522"/>
                </a:lnTo>
                <a:lnTo>
                  <a:pt x="12590" y="5520"/>
                </a:lnTo>
                <a:lnTo>
                  <a:pt x="12590" y="5518"/>
                </a:lnTo>
                <a:lnTo>
                  <a:pt x="12590" y="5516"/>
                </a:lnTo>
                <a:lnTo>
                  <a:pt x="12584" y="5508"/>
                </a:lnTo>
                <a:lnTo>
                  <a:pt x="12576" y="5500"/>
                </a:lnTo>
                <a:lnTo>
                  <a:pt x="12574" y="5496"/>
                </a:lnTo>
                <a:lnTo>
                  <a:pt x="12570" y="5496"/>
                </a:lnTo>
                <a:lnTo>
                  <a:pt x="12562" y="5496"/>
                </a:lnTo>
                <a:lnTo>
                  <a:pt x="12556" y="5496"/>
                </a:lnTo>
                <a:lnTo>
                  <a:pt x="12554" y="5496"/>
                </a:lnTo>
                <a:lnTo>
                  <a:pt x="12552" y="5494"/>
                </a:lnTo>
                <a:close/>
                <a:moveTo>
                  <a:pt x="12636" y="5548"/>
                </a:moveTo>
                <a:lnTo>
                  <a:pt x="12636" y="5548"/>
                </a:lnTo>
                <a:lnTo>
                  <a:pt x="12628" y="5546"/>
                </a:lnTo>
                <a:lnTo>
                  <a:pt x="12620" y="5540"/>
                </a:lnTo>
                <a:lnTo>
                  <a:pt x="12612" y="5538"/>
                </a:lnTo>
                <a:lnTo>
                  <a:pt x="12608" y="5538"/>
                </a:lnTo>
                <a:lnTo>
                  <a:pt x="12606" y="5538"/>
                </a:lnTo>
                <a:lnTo>
                  <a:pt x="12604" y="5540"/>
                </a:lnTo>
                <a:lnTo>
                  <a:pt x="12606" y="5542"/>
                </a:lnTo>
                <a:lnTo>
                  <a:pt x="12608" y="5544"/>
                </a:lnTo>
                <a:lnTo>
                  <a:pt x="12612" y="5546"/>
                </a:lnTo>
                <a:lnTo>
                  <a:pt x="12614" y="5548"/>
                </a:lnTo>
                <a:lnTo>
                  <a:pt x="12614" y="5552"/>
                </a:lnTo>
                <a:lnTo>
                  <a:pt x="12616" y="5554"/>
                </a:lnTo>
                <a:lnTo>
                  <a:pt x="12618" y="5558"/>
                </a:lnTo>
                <a:lnTo>
                  <a:pt x="12628" y="5564"/>
                </a:lnTo>
                <a:lnTo>
                  <a:pt x="12638" y="5566"/>
                </a:lnTo>
                <a:lnTo>
                  <a:pt x="12646" y="5568"/>
                </a:lnTo>
                <a:lnTo>
                  <a:pt x="12648" y="5568"/>
                </a:lnTo>
                <a:lnTo>
                  <a:pt x="12648" y="5564"/>
                </a:lnTo>
                <a:lnTo>
                  <a:pt x="12646" y="5558"/>
                </a:lnTo>
                <a:lnTo>
                  <a:pt x="12642" y="5552"/>
                </a:lnTo>
                <a:lnTo>
                  <a:pt x="12640" y="5548"/>
                </a:lnTo>
                <a:lnTo>
                  <a:pt x="12636" y="5548"/>
                </a:lnTo>
                <a:close/>
                <a:moveTo>
                  <a:pt x="12554" y="5600"/>
                </a:moveTo>
                <a:lnTo>
                  <a:pt x="12554" y="5600"/>
                </a:lnTo>
                <a:lnTo>
                  <a:pt x="12558" y="5604"/>
                </a:lnTo>
                <a:lnTo>
                  <a:pt x="12564" y="5610"/>
                </a:lnTo>
                <a:lnTo>
                  <a:pt x="12574" y="5614"/>
                </a:lnTo>
                <a:lnTo>
                  <a:pt x="12576" y="5616"/>
                </a:lnTo>
                <a:lnTo>
                  <a:pt x="12580" y="5614"/>
                </a:lnTo>
                <a:lnTo>
                  <a:pt x="12580" y="5612"/>
                </a:lnTo>
                <a:lnTo>
                  <a:pt x="12578" y="5610"/>
                </a:lnTo>
                <a:lnTo>
                  <a:pt x="12570" y="5602"/>
                </a:lnTo>
                <a:lnTo>
                  <a:pt x="12560" y="5598"/>
                </a:lnTo>
                <a:lnTo>
                  <a:pt x="12556" y="5598"/>
                </a:lnTo>
                <a:lnTo>
                  <a:pt x="12554" y="5600"/>
                </a:lnTo>
                <a:close/>
                <a:moveTo>
                  <a:pt x="12456" y="5426"/>
                </a:moveTo>
                <a:lnTo>
                  <a:pt x="12456" y="5426"/>
                </a:lnTo>
                <a:lnTo>
                  <a:pt x="12454" y="5426"/>
                </a:lnTo>
                <a:lnTo>
                  <a:pt x="12450" y="5428"/>
                </a:lnTo>
                <a:lnTo>
                  <a:pt x="12446" y="5434"/>
                </a:lnTo>
                <a:lnTo>
                  <a:pt x="12446" y="5442"/>
                </a:lnTo>
                <a:lnTo>
                  <a:pt x="12448" y="5444"/>
                </a:lnTo>
                <a:lnTo>
                  <a:pt x="12450" y="5444"/>
                </a:lnTo>
                <a:lnTo>
                  <a:pt x="12456" y="5442"/>
                </a:lnTo>
                <a:lnTo>
                  <a:pt x="12458" y="5444"/>
                </a:lnTo>
                <a:lnTo>
                  <a:pt x="12460" y="5448"/>
                </a:lnTo>
                <a:lnTo>
                  <a:pt x="12464" y="5454"/>
                </a:lnTo>
                <a:lnTo>
                  <a:pt x="12468" y="5454"/>
                </a:lnTo>
                <a:lnTo>
                  <a:pt x="12470" y="5452"/>
                </a:lnTo>
                <a:lnTo>
                  <a:pt x="12468" y="5446"/>
                </a:lnTo>
                <a:lnTo>
                  <a:pt x="12464" y="5440"/>
                </a:lnTo>
                <a:lnTo>
                  <a:pt x="12460" y="5436"/>
                </a:lnTo>
                <a:lnTo>
                  <a:pt x="12460" y="5432"/>
                </a:lnTo>
                <a:lnTo>
                  <a:pt x="12460" y="5428"/>
                </a:lnTo>
                <a:lnTo>
                  <a:pt x="12456" y="5426"/>
                </a:lnTo>
                <a:close/>
                <a:moveTo>
                  <a:pt x="12432" y="5420"/>
                </a:moveTo>
                <a:lnTo>
                  <a:pt x="12432" y="5420"/>
                </a:lnTo>
                <a:lnTo>
                  <a:pt x="12432" y="5426"/>
                </a:lnTo>
                <a:lnTo>
                  <a:pt x="12436" y="5432"/>
                </a:lnTo>
                <a:lnTo>
                  <a:pt x="12438" y="5434"/>
                </a:lnTo>
                <a:lnTo>
                  <a:pt x="12440" y="5434"/>
                </a:lnTo>
                <a:lnTo>
                  <a:pt x="12442" y="5432"/>
                </a:lnTo>
                <a:lnTo>
                  <a:pt x="12444" y="5428"/>
                </a:lnTo>
                <a:lnTo>
                  <a:pt x="12444" y="5426"/>
                </a:lnTo>
                <a:lnTo>
                  <a:pt x="12440" y="5420"/>
                </a:lnTo>
                <a:lnTo>
                  <a:pt x="12436" y="5418"/>
                </a:lnTo>
                <a:lnTo>
                  <a:pt x="12434" y="5418"/>
                </a:lnTo>
                <a:lnTo>
                  <a:pt x="12432" y="5420"/>
                </a:lnTo>
                <a:close/>
                <a:moveTo>
                  <a:pt x="12414" y="5408"/>
                </a:moveTo>
                <a:lnTo>
                  <a:pt x="12414" y="5408"/>
                </a:lnTo>
                <a:lnTo>
                  <a:pt x="12416" y="5412"/>
                </a:lnTo>
                <a:lnTo>
                  <a:pt x="12418" y="5418"/>
                </a:lnTo>
                <a:lnTo>
                  <a:pt x="12422" y="5420"/>
                </a:lnTo>
                <a:lnTo>
                  <a:pt x="12424" y="5420"/>
                </a:lnTo>
                <a:lnTo>
                  <a:pt x="12428" y="5418"/>
                </a:lnTo>
                <a:lnTo>
                  <a:pt x="12428" y="5416"/>
                </a:lnTo>
                <a:lnTo>
                  <a:pt x="12428" y="5414"/>
                </a:lnTo>
                <a:lnTo>
                  <a:pt x="12424" y="5408"/>
                </a:lnTo>
                <a:lnTo>
                  <a:pt x="12418" y="5406"/>
                </a:lnTo>
                <a:lnTo>
                  <a:pt x="12416" y="5406"/>
                </a:lnTo>
                <a:lnTo>
                  <a:pt x="12414" y="5408"/>
                </a:lnTo>
                <a:close/>
                <a:moveTo>
                  <a:pt x="12472" y="5456"/>
                </a:moveTo>
                <a:lnTo>
                  <a:pt x="12472" y="5456"/>
                </a:lnTo>
                <a:lnTo>
                  <a:pt x="12470" y="5460"/>
                </a:lnTo>
                <a:lnTo>
                  <a:pt x="12472" y="5464"/>
                </a:lnTo>
                <a:lnTo>
                  <a:pt x="12474" y="5464"/>
                </a:lnTo>
                <a:lnTo>
                  <a:pt x="12480" y="5464"/>
                </a:lnTo>
                <a:lnTo>
                  <a:pt x="12482" y="5462"/>
                </a:lnTo>
                <a:lnTo>
                  <a:pt x="12482" y="5460"/>
                </a:lnTo>
                <a:lnTo>
                  <a:pt x="12480" y="5456"/>
                </a:lnTo>
                <a:lnTo>
                  <a:pt x="12476" y="5454"/>
                </a:lnTo>
                <a:lnTo>
                  <a:pt x="12474" y="5454"/>
                </a:lnTo>
                <a:lnTo>
                  <a:pt x="12472" y="5456"/>
                </a:lnTo>
                <a:close/>
                <a:moveTo>
                  <a:pt x="12382" y="5382"/>
                </a:moveTo>
                <a:lnTo>
                  <a:pt x="12382" y="5382"/>
                </a:lnTo>
                <a:lnTo>
                  <a:pt x="12382" y="5384"/>
                </a:lnTo>
                <a:lnTo>
                  <a:pt x="12386" y="5386"/>
                </a:lnTo>
                <a:lnTo>
                  <a:pt x="12388" y="5386"/>
                </a:lnTo>
                <a:lnTo>
                  <a:pt x="12390" y="5384"/>
                </a:lnTo>
                <a:lnTo>
                  <a:pt x="12390" y="5380"/>
                </a:lnTo>
                <a:lnTo>
                  <a:pt x="12386" y="5378"/>
                </a:lnTo>
                <a:lnTo>
                  <a:pt x="12384" y="5378"/>
                </a:lnTo>
                <a:lnTo>
                  <a:pt x="12382" y="5382"/>
                </a:lnTo>
                <a:close/>
                <a:moveTo>
                  <a:pt x="12828" y="5768"/>
                </a:moveTo>
                <a:lnTo>
                  <a:pt x="12828" y="5768"/>
                </a:lnTo>
                <a:lnTo>
                  <a:pt x="12826" y="5762"/>
                </a:lnTo>
                <a:lnTo>
                  <a:pt x="12824" y="5758"/>
                </a:lnTo>
                <a:lnTo>
                  <a:pt x="12822" y="5756"/>
                </a:lnTo>
                <a:lnTo>
                  <a:pt x="12820" y="5754"/>
                </a:lnTo>
                <a:lnTo>
                  <a:pt x="12818" y="5756"/>
                </a:lnTo>
                <a:lnTo>
                  <a:pt x="12816" y="5758"/>
                </a:lnTo>
                <a:lnTo>
                  <a:pt x="12816" y="5762"/>
                </a:lnTo>
                <a:lnTo>
                  <a:pt x="12818" y="5766"/>
                </a:lnTo>
                <a:lnTo>
                  <a:pt x="12822" y="5776"/>
                </a:lnTo>
                <a:lnTo>
                  <a:pt x="12822" y="5780"/>
                </a:lnTo>
                <a:lnTo>
                  <a:pt x="12822" y="5786"/>
                </a:lnTo>
                <a:lnTo>
                  <a:pt x="12822" y="5792"/>
                </a:lnTo>
                <a:lnTo>
                  <a:pt x="12826" y="5800"/>
                </a:lnTo>
                <a:lnTo>
                  <a:pt x="12828" y="5804"/>
                </a:lnTo>
                <a:lnTo>
                  <a:pt x="12830" y="5806"/>
                </a:lnTo>
                <a:lnTo>
                  <a:pt x="12838" y="5804"/>
                </a:lnTo>
                <a:lnTo>
                  <a:pt x="12842" y="5802"/>
                </a:lnTo>
                <a:lnTo>
                  <a:pt x="12844" y="5800"/>
                </a:lnTo>
                <a:lnTo>
                  <a:pt x="12846" y="5798"/>
                </a:lnTo>
                <a:lnTo>
                  <a:pt x="12846" y="5794"/>
                </a:lnTo>
                <a:lnTo>
                  <a:pt x="12844" y="5786"/>
                </a:lnTo>
                <a:lnTo>
                  <a:pt x="12840" y="5776"/>
                </a:lnTo>
                <a:lnTo>
                  <a:pt x="12838" y="5772"/>
                </a:lnTo>
                <a:lnTo>
                  <a:pt x="12836" y="5770"/>
                </a:lnTo>
                <a:lnTo>
                  <a:pt x="12834" y="5774"/>
                </a:lnTo>
                <a:lnTo>
                  <a:pt x="12832" y="5776"/>
                </a:lnTo>
                <a:lnTo>
                  <a:pt x="12828" y="5768"/>
                </a:lnTo>
                <a:close/>
                <a:moveTo>
                  <a:pt x="12844" y="5822"/>
                </a:moveTo>
                <a:lnTo>
                  <a:pt x="12844" y="5822"/>
                </a:lnTo>
                <a:lnTo>
                  <a:pt x="12844" y="5828"/>
                </a:lnTo>
                <a:lnTo>
                  <a:pt x="12850" y="5832"/>
                </a:lnTo>
                <a:lnTo>
                  <a:pt x="12852" y="5834"/>
                </a:lnTo>
                <a:lnTo>
                  <a:pt x="12854" y="5836"/>
                </a:lnTo>
                <a:lnTo>
                  <a:pt x="12856" y="5842"/>
                </a:lnTo>
                <a:lnTo>
                  <a:pt x="12858" y="5848"/>
                </a:lnTo>
                <a:lnTo>
                  <a:pt x="12862" y="5848"/>
                </a:lnTo>
                <a:lnTo>
                  <a:pt x="12866" y="5848"/>
                </a:lnTo>
                <a:lnTo>
                  <a:pt x="12870" y="5844"/>
                </a:lnTo>
                <a:lnTo>
                  <a:pt x="12868" y="5840"/>
                </a:lnTo>
                <a:lnTo>
                  <a:pt x="12866" y="5834"/>
                </a:lnTo>
                <a:lnTo>
                  <a:pt x="12862" y="5828"/>
                </a:lnTo>
                <a:lnTo>
                  <a:pt x="12856" y="5822"/>
                </a:lnTo>
                <a:lnTo>
                  <a:pt x="12850" y="5820"/>
                </a:lnTo>
                <a:lnTo>
                  <a:pt x="12846" y="5820"/>
                </a:lnTo>
                <a:lnTo>
                  <a:pt x="12844" y="5822"/>
                </a:lnTo>
                <a:close/>
                <a:moveTo>
                  <a:pt x="12888" y="5902"/>
                </a:moveTo>
                <a:lnTo>
                  <a:pt x="12888" y="5902"/>
                </a:lnTo>
                <a:lnTo>
                  <a:pt x="12886" y="5906"/>
                </a:lnTo>
                <a:lnTo>
                  <a:pt x="12888" y="5910"/>
                </a:lnTo>
                <a:lnTo>
                  <a:pt x="12892" y="5912"/>
                </a:lnTo>
                <a:lnTo>
                  <a:pt x="12898" y="5912"/>
                </a:lnTo>
                <a:lnTo>
                  <a:pt x="12900" y="5912"/>
                </a:lnTo>
                <a:lnTo>
                  <a:pt x="12902" y="5910"/>
                </a:lnTo>
                <a:lnTo>
                  <a:pt x="12898" y="5904"/>
                </a:lnTo>
                <a:lnTo>
                  <a:pt x="12892" y="5900"/>
                </a:lnTo>
                <a:lnTo>
                  <a:pt x="12890" y="5898"/>
                </a:lnTo>
                <a:lnTo>
                  <a:pt x="12888" y="5902"/>
                </a:lnTo>
                <a:close/>
                <a:moveTo>
                  <a:pt x="12890" y="5864"/>
                </a:moveTo>
                <a:lnTo>
                  <a:pt x="12890" y="5864"/>
                </a:lnTo>
                <a:lnTo>
                  <a:pt x="12892" y="5862"/>
                </a:lnTo>
                <a:lnTo>
                  <a:pt x="12888" y="5854"/>
                </a:lnTo>
                <a:lnTo>
                  <a:pt x="12886" y="5852"/>
                </a:lnTo>
                <a:lnTo>
                  <a:pt x="12884" y="5852"/>
                </a:lnTo>
                <a:lnTo>
                  <a:pt x="12882" y="5856"/>
                </a:lnTo>
                <a:lnTo>
                  <a:pt x="12884" y="5860"/>
                </a:lnTo>
                <a:lnTo>
                  <a:pt x="12886" y="5862"/>
                </a:lnTo>
                <a:lnTo>
                  <a:pt x="12890" y="5864"/>
                </a:lnTo>
                <a:close/>
                <a:moveTo>
                  <a:pt x="12876" y="5836"/>
                </a:moveTo>
                <a:lnTo>
                  <a:pt x="12876" y="5836"/>
                </a:lnTo>
                <a:lnTo>
                  <a:pt x="12880" y="5840"/>
                </a:lnTo>
                <a:lnTo>
                  <a:pt x="12884" y="5840"/>
                </a:lnTo>
                <a:lnTo>
                  <a:pt x="12888" y="5838"/>
                </a:lnTo>
                <a:lnTo>
                  <a:pt x="12888" y="5832"/>
                </a:lnTo>
                <a:lnTo>
                  <a:pt x="12886" y="5830"/>
                </a:lnTo>
                <a:lnTo>
                  <a:pt x="12884" y="5828"/>
                </a:lnTo>
                <a:lnTo>
                  <a:pt x="12878" y="5828"/>
                </a:lnTo>
                <a:lnTo>
                  <a:pt x="12876" y="5832"/>
                </a:lnTo>
                <a:lnTo>
                  <a:pt x="12876" y="5834"/>
                </a:lnTo>
                <a:lnTo>
                  <a:pt x="12876" y="5836"/>
                </a:lnTo>
                <a:close/>
                <a:moveTo>
                  <a:pt x="12866" y="5796"/>
                </a:moveTo>
                <a:lnTo>
                  <a:pt x="12866" y="5796"/>
                </a:lnTo>
                <a:lnTo>
                  <a:pt x="12874" y="5792"/>
                </a:lnTo>
                <a:lnTo>
                  <a:pt x="12876" y="5790"/>
                </a:lnTo>
                <a:lnTo>
                  <a:pt x="12878" y="5788"/>
                </a:lnTo>
                <a:lnTo>
                  <a:pt x="12878" y="5786"/>
                </a:lnTo>
                <a:lnTo>
                  <a:pt x="12872" y="5786"/>
                </a:lnTo>
                <a:lnTo>
                  <a:pt x="12868" y="5788"/>
                </a:lnTo>
                <a:lnTo>
                  <a:pt x="12864" y="5792"/>
                </a:lnTo>
                <a:lnTo>
                  <a:pt x="12864" y="5794"/>
                </a:lnTo>
                <a:lnTo>
                  <a:pt x="12866" y="5796"/>
                </a:lnTo>
                <a:close/>
                <a:moveTo>
                  <a:pt x="12918" y="5954"/>
                </a:moveTo>
                <a:lnTo>
                  <a:pt x="12918" y="5954"/>
                </a:lnTo>
                <a:lnTo>
                  <a:pt x="12918" y="5956"/>
                </a:lnTo>
                <a:lnTo>
                  <a:pt x="12918" y="5960"/>
                </a:lnTo>
                <a:lnTo>
                  <a:pt x="12920" y="5966"/>
                </a:lnTo>
                <a:lnTo>
                  <a:pt x="12926" y="5970"/>
                </a:lnTo>
                <a:lnTo>
                  <a:pt x="12928" y="5970"/>
                </a:lnTo>
                <a:lnTo>
                  <a:pt x="12930" y="5970"/>
                </a:lnTo>
                <a:lnTo>
                  <a:pt x="12932" y="5968"/>
                </a:lnTo>
                <a:lnTo>
                  <a:pt x="12932" y="5964"/>
                </a:lnTo>
                <a:lnTo>
                  <a:pt x="12930" y="5956"/>
                </a:lnTo>
                <a:lnTo>
                  <a:pt x="12924" y="5952"/>
                </a:lnTo>
                <a:lnTo>
                  <a:pt x="12922" y="5952"/>
                </a:lnTo>
                <a:lnTo>
                  <a:pt x="12918" y="5954"/>
                </a:lnTo>
                <a:close/>
                <a:moveTo>
                  <a:pt x="12928" y="5988"/>
                </a:moveTo>
                <a:lnTo>
                  <a:pt x="12928" y="5988"/>
                </a:lnTo>
                <a:lnTo>
                  <a:pt x="12926" y="5990"/>
                </a:lnTo>
                <a:lnTo>
                  <a:pt x="12926" y="5992"/>
                </a:lnTo>
                <a:lnTo>
                  <a:pt x="12928" y="5998"/>
                </a:lnTo>
                <a:lnTo>
                  <a:pt x="12932" y="6004"/>
                </a:lnTo>
                <a:lnTo>
                  <a:pt x="12936" y="6006"/>
                </a:lnTo>
                <a:lnTo>
                  <a:pt x="12938" y="6004"/>
                </a:lnTo>
                <a:lnTo>
                  <a:pt x="12938" y="6000"/>
                </a:lnTo>
                <a:lnTo>
                  <a:pt x="12936" y="5994"/>
                </a:lnTo>
                <a:lnTo>
                  <a:pt x="12932" y="5988"/>
                </a:lnTo>
                <a:lnTo>
                  <a:pt x="12930" y="5986"/>
                </a:lnTo>
                <a:lnTo>
                  <a:pt x="12928" y="5988"/>
                </a:lnTo>
                <a:close/>
                <a:moveTo>
                  <a:pt x="12874" y="6102"/>
                </a:moveTo>
                <a:lnTo>
                  <a:pt x="12874" y="6102"/>
                </a:lnTo>
                <a:lnTo>
                  <a:pt x="12876" y="6104"/>
                </a:lnTo>
                <a:lnTo>
                  <a:pt x="12878" y="6106"/>
                </a:lnTo>
                <a:lnTo>
                  <a:pt x="12882" y="6104"/>
                </a:lnTo>
                <a:lnTo>
                  <a:pt x="12884" y="6100"/>
                </a:lnTo>
                <a:lnTo>
                  <a:pt x="12884" y="6096"/>
                </a:lnTo>
                <a:lnTo>
                  <a:pt x="12884" y="6092"/>
                </a:lnTo>
                <a:lnTo>
                  <a:pt x="12880" y="6090"/>
                </a:lnTo>
                <a:lnTo>
                  <a:pt x="12878" y="6088"/>
                </a:lnTo>
                <a:lnTo>
                  <a:pt x="12876" y="6088"/>
                </a:lnTo>
                <a:lnTo>
                  <a:pt x="12874" y="6088"/>
                </a:lnTo>
                <a:lnTo>
                  <a:pt x="12872" y="6094"/>
                </a:lnTo>
                <a:lnTo>
                  <a:pt x="12874" y="6102"/>
                </a:lnTo>
                <a:close/>
                <a:moveTo>
                  <a:pt x="12842" y="6076"/>
                </a:moveTo>
                <a:lnTo>
                  <a:pt x="12842" y="6076"/>
                </a:lnTo>
                <a:lnTo>
                  <a:pt x="12848" y="6078"/>
                </a:lnTo>
                <a:lnTo>
                  <a:pt x="12852" y="6078"/>
                </a:lnTo>
                <a:lnTo>
                  <a:pt x="12854" y="6078"/>
                </a:lnTo>
                <a:lnTo>
                  <a:pt x="12856" y="6076"/>
                </a:lnTo>
                <a:lnTo>
                  <a:pt x="12856" y="6070"/>
                </a:lnTo>
                <a:lnTo>
                  <a:pt x="12854" y="6062"/>
                </a:lnTo>
                <a:lnTo>
                  <a:pt x="12848" y="6058"/>
                </a:lnTo>
                <a:lnTo>
                  <a:pt x="12842" y="6056"/>
                </a:lnTo>
                <a:lnTo>
                  <a:pt x="12838" y="6058"/>
                </a:lnTo>
                <a:lnTo>
                  <a:pt x="12840" y="6060"/>
                </a:lnTo>
                <a:lnTo>
                  <a:pt x="12842" y="6062"/>
                </a:lnTo>
                <a:lnTo>
                  <a:pt x="12842" y="6064"/>
                </a:lnTo>
                <a:lnTo>
                  <a:pt x="12840" y="6068"/>
                </a:lnTo>
                <a:lnTo>
                  <a:pt x="12838" y="6072"/>
                </a:lnTo>
                <a:lnTo>
                  <a:pt x="12840" y="6074"/>
                </a:lnTo>
                <a:lnTo>
                  <a:pt x="12842" y="6076"/>
                </a:lnTo>
                <a:close/>
                <a:moveTo>
                  <a:pt x="12794" y="6104"/>
                </a:moveTo>
                <a:lnTo>
                  <a:pt x="12794" y="6104"/>
                </a:lnTo>
                <a:lnTo>
                  <a:pt x="12790" y="6100"/>
                </a:lnTo>
                <a:lnTo>
                  <a:pt x="12786" y="6098"/>
                </a:lnTo>
                <a:lnTo>
                  <a:pt x="12786" y="6100"/>
                </a:lnTo>
                <a:lnTo>
                  <a:pt x="12766" y="6082"/>
                </a:lnTo>
                <a:lnTo>
                  <a:pt x="12764" y="6076"/>
                </a:lnTo>
                <a:lnTo>
                  <a:pt x="12760" y="6070"/>
                </a:lnTo>
                <a:lnTo>
                  <a:pt x="12746" y="6058"/>
                </a:lnTo>
                <a:lnTo>
                  <a:pt x="12730" y="6046"/>
                </a:lnTo>
                <a:lnTo>
                  <a:pt x="12720" y="6038"/>
                </a:lnTo>
                <a:lnTo>
                  <a:pt x="12720" y="6044"/>
                </a:lnTo>
                <a:lnTo>
                  <a:pt x="12714" y="6036"/>
                </a:lnTo>
                <a:lnTo>
                  <a:pt x="12710" y="6032"/>
                </a:lnTo>
                <a:lnTo>
                  <a:pt x="12708" y="6032"/>
                </a:lnTo>
                <a:lnTo>
                  <a:pt x="12710" y="6040"/>
                </a:lnTo>
                <a:lnTo>
                  <a:pt x="12722" y="6060"/>
                </a:lnTo>
                <a:lnTo>
                  <a:pt x="12722" y="6064"/>
                </a:lnTo>
                <a:lnTo>
                  <a:pt x="12724" y="6064"/>
                </a:lnTo>
                <a:lnTo>
                  <a:pt x="12722" y="6066"/>
                </a:lnTo>
                <a:lnTo>
                  <a:pt x="12734" y="6076"/>
                </a:lnTo>
                <a:lnTo>
                  <a:pt x="12740" y="6080"/>
                </a:lnTo>
                <a:lnTo>
                  <a:pt x="12746" y="6094"/>
                </a:lnTo>
                <a:lnTo>
                  <a:pt x="12748" y="6092"/>
                </a:lnTo>
                <a:lnTo>
                  <a:pt x="12750" y="6098"/>
                </a:lnTo>
                <a:lnTo>
                  <a:pt x="12752" y="6098"/>
                </a:lnTo>
                <a:lnTo>
                  <a:pt x="12758" y="6104"/>
                </a:lnTo>
                <a:lnTo>
                  <a:pt x="12764" y="6108"/>
                </a:lnTo>
                <a:lnTo>
                  <a:pt x="12772" y="6114"/>
                </a:lnTo>
                <a:lnTo>
                  <a:pt x="12780" y="6120"/>
                </a:lnTo>
                <a:lnTo>
                  <a:pt x="12788" y="6126"/>
                </a:lnTo>
                <a:lnTo>
                  <a:pt x="12806" y="6136"/>
                </a:lnTo>
                <a:lnTo>
                  <a:pt x="12806" y="6140"/>
                </a:lnTo>
                <a:lnTo>
                  <a:pt x="12806" y="6142"/>
                </a:lnTo>
                <a:lnTo>
                  <a:pt x="12824" y="6138"/>
                </a:lnTo>
                <a:lnTo>
                  <a:pt x="12828" y="6136"/>
                </a:lnTo>
                <a:lnTo>
                  <a:pt x="12828" y="6134"/>
                </a:lnTo>
                <a:lnTo>
                  <a:pt x="12818" y="6126"/>
                </a:lnTo>
                <a:lnTo>
                  <a:pt x="12794" y="6104"/>
                </a:lnTo>
                <a:close/>
                <a:moveTo>
                  <a:pt x="10286" y="4978"/>
                </a:moveTo>
                <a:lnTo>
                  <a:pt x="10286" y="4978"/>
                </a:lnTo>
                <a:lnTo>
                  <a:pt x="10288" y="4980"/>
                </a:lnTo>
                <a:lnTo>
                  <a:pt x="10290" y="4980"/>
                </a:lnTo>
                <a:lnTo>
                  <a:pt x="10294" y="4978"/>
                </a:lnTo>
                <a:lnTo>
                  <a:pt x="10298" y="4976"/>
                </a:lnTo>
                <a:lnTo>
                  <a:pt x="10300" y="4974"/>
                </a:lnTo>
                <a:lnTo>
                  <a:pt x="10296" y="4972"/>
                </a:lnTo>
                <a:lnTo>
                  <a:pt x="10290" y="4972"/>
                </a:lnTo>
                <a:lnTo>
                  <a:pt x="10286" y="4974"/>
                </a:lnTo>
                <a:lnTo>
                  <a:pt x="10286" y="4976"/>
                </a:lnTo>
                <a:lnTo>
                  <a:pt x="10286" y="4978"/>
                </a:lnTo>
                <a:close/>
                <a:moveTo>
                  <a:pt x="10310" y="4974"/>
                </a:moveTo>
                <a:lnTo>
                  <a:pt x="10310" y="4974"/>
                </a:lnTo>
                <a:lnTo>
                  <a:pt x="10304" y="4978"/>
                </a:lnTo>
                <a:lnTo>
                  <a:pt x="10300" y="4982"/>
                </a:lnTo>
                <a:lnTo>
                  <a:pt x="10298" y="4984"/>
                </a:lnTo>
                <a:lnTo>
                  <a:pt x="10294" y="4986"/>
                </a:lnTo>
                <a:lnTo>
                  <a:pt x="10296" y="4990"/>
                </a:lnTo>
                <a:lnTo>
                  <a:pt x="10298" y="4990"/>
                </a:lnTo>
                <a:lnTo>
                  <a:pt x="10302" y="4990"/>
                </a:lnTo>
                <a:lnTo>
                  <a:pt x="10308" y="4996"/>
                </a:lnTo>
                <a:lnTo>
                  <a:pt x="10306" y="4996"/>
                </a:lnTo>
                <a:lnTo>
                  <a:pt x="10304" y="4996"/>
                </a:lnTo>
                <a:lnTo>
                  <a:pt x="10302" y="4998"/>
                </a:lnTo>
                <a:lnTo>
                  <a:pt x="10302" y="5000"/>
                </a:lnTo>
                <a:lnTo>
                  <a:pt x="10306" y="5004"/>
                </a:lnTo>
                <a:lnTo>
                  <a:pt x="10308" y="5004"/>
                </a:lnTo>
                <a:lnTo>
                  <a:pt x="10310" y="5002"/>
                </a:lnTo>
                <a:lnTo>
                  <a:pt x="10308" y="4998"/>
                </a:lnTo>
                <a:lnTo>
                  <a:pt x="10308" y="4996"/>
                </a:lnTo>
                <a:lnTo>
                  <a:pt x="10322" y="5008"/>
                </a:lnTo>
                <a:lnTo>
                  <a:pt x="10324" y="5006"/>
                </a:lnTo>
                <a:lnTo>
                  <a:pt x="10326" y="5002"/>
                </a:lnTo>
                <a:lnTo>
                  <a:pt x="10328" y="4996"/>
                </a:lnTo>
                <a:lnTo>
                  <a:pt x="10326" y="4988"/>
                </a:lnTo>
                <a:lnTo>
                  <a:pt x="10326" y="4982"/>
                </a:lnTo>
                <a:lnTo>
                  <a:pt x="10322" y="4976"/>
                </a:lnTo>
                <a:lnTo>
                  <a:pt x="10316" y="4972"/>
                </a:lnTo>
                <a:lnTo>
                  <a:pt x="10310" y="4974"/>
                </a:lnTo>
                <a:close/>
                <a:moveTo>
                  <a:pt x="8358" y="3706"/>
                </a:moveTo>
                <a:lnTo>
                  <a:pt x="8358" y="3706"/>
                </a:lnTo>
                <a:lnTo>
                  <a:pt x="8356" y="3708"/>
                </a:lnTo>
                <a:lnTo>
                  <a:pt x="8354" y="3710"/>
                </a:lnTo>
                <a:lnTo>
                  <a:pt x="8346" y="3714"/>
                </a:lnTo>
                <a:lnTo>
                  <a:pt x="8340" y="3718"/>
                </a:lnTo>
                <a:lnTo>
                  <a:pt x="8338" y="3720"/>
                </a:lnTo>
                <a:lnTo>
                  <a:pt x="8338" y="3722"/>
                </a:lnTo>
                <a:lnTo>
                  <a:pt x="8340" y="3722"/>
                </a:lnTo>
                <a:lnTo>
                  <a:pt x="8344" y="3722"/>
                </a:lnTo>
                <a:lnTo>
                  <a:pt x="8352" y="3720"/>
                </a:lnTo>
                <a:lnTo>
                  <a:pt x="8364" y="3712"/>
                </a:lnTo>
                <a:lnTo>
                  <a:pt x="8374" y="3704"/>
                </a:lnTo>
                <a:lnTo>
                  <a:pt x="8374" y="3702"/>
                </a:lnTo>
                <a:lnTo>
                  <a:pt x="8374" y="3700"/>
                </a:lnTo>
                <a:lnTo>
                  <a:pt x="8368" y="3700"/>
                </a:lnTo>
                <a:lnTo>
                  <a:pt x="8358" y="3706"/>
                </a:lnTo>
                <a:close/>
                <a:moveTo>
                  <a:pt x="8050" y="3552"/>
                </a:moveTo>
                <a:lnTo>
                  <a:pt x="8050" y="3552"/>
                </a:lnTo>
                <a:lnTo>
                  <a:pt x="8050" y="3556"/>
                </a:lnTo>
                <a:lnTo>
                  <a:pt x="8050" y="3562"/>
                </a:lnTo>
                <a:lnTo>
                  <a:pt x="8054" y="3566"/>
                </a:lnTo>
                <a:lnTo>
                  <a:pt x="8056" y="3566"/>
                </a:lnTo>
                <a:lnTo>
                  <a:pt x="8056" y="3562"/>
                </a:lnTo>
                <a:lnTo>
                  <a:pt x="8056" y="3556"/>
                </a:lnTo>
                <a:lnTo>
                  <a:pt x="8052" y="3552"/>
                </a:lnTo>
                <a:lnTo>
                  <a:pt x="8050" y="3552"/>
                </a:lnTo>
                <a:close/>
                <a:moveTo>
                  <a:pt x="7034" y="3210"/>
                </a:moveTo>
                <a:lnTo>
                  <a:pt x="7034" y="3210"/>
                </a:lnTo>
                <a:lnTo>
                  <a:pt x="7032" y="3208"/>
                </a:lnTo>
                <a:lnTo>
                  <a:pt x="7030" y="3210"/>
                </a:lnTo>
                <a:lnTo>
                  <a:pt x="7030" y="3214"/>
                </a:lnTo>
                <a:lnTo>
                  <a:pt x="7032" y="3220"/>
                </a:lnTo>
                <a:lnTo>
                  <a:pt x="7036" y="3222"/>
                </a:lnTo>
                <a:lnTo>
                  <a:pt x="7038" y="3220"/>
                </a:lnTo>
                <a:lnTo>
                  <a:pt x="7036" y="3214"/>
                </a:lnTo>
                <a:lnTo>
                  <a:pt x="7034" y="3210"/>
                </a:lnTo>
                <a:close/>
                <a:moveTo>
                  <a:pt x="7154" y="3110"/>
                </a:moveTo>
                <a:lnTo>
                  <a:pt x="7154" y="3110"/>
                </a:lnTo>
                <a:lnTo>
                  <a:pt x="7158" y="3108"/>
                </a:lnTo>
                <a:lnTo>
                  <a:pt x="7160" y="3104"/>
                </a:lnTo>
                <a:lnTo>
                  <a:pt x="7162" y="3100"/>
                </a:lnTo>
                <a:lnTo>
                  <a:pt x="7160" y="3094"/>
                </a:lnTo>
                <a:lnTo>
                  <a:pt x="7160" y="3090"/>
                </a:lnTo>
                <a:lnTo>
                  <a:pt x="7158" y="3088"/>
                </a:lnTo>
                <a:lnTo>
                  <a:pt x="7154" y="3086"/>
                </a:lnTo>
                <a:lnTo>
                  <a:pt x="7150" y="3088"/>
                </a:lnTo>
                <a:lnTo>
                  <a:pt x="7148" y="3090"/>
                </a:lnTo>
                <a:lnTo>
                  <a:pt x="7148" y="3092"/>
                </a:lnTo>
                <a:lnTo>
                  <a:pt x="7152" y="3096"/>
                </a:lnTo>
                <a:lnTo>
                  <a:pt x="7152" y="3100"/>
                </a:lnTo>
                <a:lnTo>
                  <a:pt x="7150" y="3106"/>
                </a:lnTo>
                <a:lnTo>
                  <a:pt x="7150" y="3110"/>
                </a:lnTo>
                <a:lnTo>
                  <a:pt x="7152" y="3112"/>
                </a:lnTo>
                <a:lnTo>
                  <a:pt x="7154" y="3110"/>
                </a:lnTo>
                <a:close/>
                <a:moveTo>
                  <a:pt x="7226" y="3234"/>
                </a:moveTo>
                <a:lnTo>
                  <a:pt x="7226" y="3234"/>
                </a:lnTo>
                <a:lnTo>
                  <a:pt x="7228" y="3234"/>
                </a:lnTo>
                <a:lnTo>
                  <a:pt x="7232" y="3232"/>
                </a:lnTo>
                <a:lnTo>
                  <a:pt x="7238" y="3222"/>
                </a:lnTo>
                <a:lnTo>
                  <a:pt x="7244" y="3210"/>
                </a:lnTo>
                <a:lnTo>
                  <a:pt x="7244" y="3206"/>
                </a:lnTo>
                <a:lnTo>
                  <a:pt x="7244" y="3204"/>
                </a:lnTo>
                <a:lnTo>
                  <a:pt x="7242" y="3204"/>
                </a:lnTo>
                <a:lnTo>
                  <a:pt x="7238" y="3204"/>
                </a:lnTo>
                <a:lnTo>
                  <a:pt x="7230" y="3208"/>
                </a:lnTo>
                <a:lnTo>
                  <a:pt x="7224" y="3214"/>
                </a:lnTo>
                <a:lnTo>
                  <a:pt x="7222" y="3218"/>
                </a:lnTo>
                <a:lnTo>
                  <a:pt x="7224" y="3220"/>
                </a:lnTo>
                <a:lnTo>
                  <a:pt x="7224" y="3224"/>
                </a:lnTo>
                <a:lnTo>
                  <a:pt x="7224" y="3226"/>
                </a:lnTo>
                <a:lnTo>
                  <a:pt x="7224" y="3230"/>
                </a:lnTo>
                <a:lnTo>
                  <a:pt x="7226" y="3234"/>
                </a:lnTo>
                <a:close/>
                <a:moveTo>
                  <a:pt x="7168" y="3044"/>
                </a:moveTo>
                <a:lnTo>
                  <a:pt x="7168" y="3044"/>
                </a:lnTo>
                <a:lnTo>
                  <a:pt x="7166" y="3042"/>
                </a:lnTo>
                <a:lnTo>
                  <a:pt x="7162" y="3044"/>
                </a:lnTo>
                <a:lnTo>
                  <a:pt x="7152" y="3048"/>
                </a:lnTo>
                <a:lnTo>
                  <a:pt x="7150" y="3050"/>
                </a:lnTo>
                <a:lnTo>
                  <a:pt x="7148" y="3052"/>
                </a:lnTo>
                <a:lnTo>
                  <a:pt x="7150" y="3056"/>
                </a:lnTo>
                <a:lnTo>
                  <a:pt x="7156" y="3060"/>
                </a:lnTo>
                <a:lnTo>
                  <a:pt x="7166" y="3064"/>
                </a:lnTo>
                <a:lnTo>
                  <a:pt x="7170" y="3066"/>
                </a:lnTo>
                <a:lnTo>
                  <a:pt x="7176" y="3064"/>
                </a:lnTo>
                <a:lnTo>
                  <a:pt x="7178" y="3062"/>
                </a:lnTo>
                <a:lnTo>
                  <a:pt x="7178" y="3060"/>
                </a:lnTo>
                <a:lnTo>
                  <a:pt x="7178" y="3058"/>
                </a:lnTo>
                <a:lnTo>
                  <a:pt x="7176" y="3054"/>
                </a:lnTo>
                <a:lnTo>
                  <a:pt x="7172" y="3050"/>
                </a:lnTo>
                <a:lnTo>
                  <a:pt x="7170" y="3048"/>
                </a:lnTo>
                <a:lnTo>
                  <a:pt x="7170" y="3046"/>
                </a:lnTo>
                <a:lnTo>
                  <a:pt x="7168" y="3044"/>
                </a:lnTo>
                <a:close/>
                <a:moveTo>
                  <a:pt x="7100" y="2966"/>
                </a:moveTo>
                <a:lnTo>
                  <a:pt x="7100" y="2966"/>
                </a:lnTo>
                <a:lnTo>
                  <a:pt x="7096" y="2968"/>
                </a:lnTo>
                <a:lnTo>
                  <a:pt x="7094" y="2970"/>
                </a:lnTo>
                <a:lnTo>
                  <a:pt x="7096" y="2974"/>
                </a:lnTo>
                <a:lnTo>
                  <a:pt x="7098" y="2976"/>
                </a:lnTo>
                <a:lnTo>
                  <a:pt x="7100" y="2978"/>
                </a:lnTo>
                <a:lnTo>
                  <a:pt x="7102" y="2976"/>
                </a:lnTo>
                <a:lnTo>
                  <a:pt x="7104" y="2972"/>
                </a:lnTo>
                <a:lnTo>
                  <a:pt x="7104" y="2968"/>
                </a:lnTo>
                <a:lnTo>
                  <a:pt x="7102" y="2966"/>
                </a:lnTo>
                <a:lnTo>
                  <a:pt x="7100" y="2966"/>
                </a:lnTo>
                <a:close/>
                <a:moveTo>
                  <a:pt x="6938" y="3124"/>
                </a:moveTo>
                <a:lnTo>
                  <a:pt x="6938" y="3124"/>
                </a:lnTo>
                <a:lnTo>
                  <a:pt x="6938" y="3126"/>
                </a:lnTo>
                <a:lnTo>
                  <a:pt x="6940" y="3132"/>
                </a:lnTo>
                <a:lnTo>
                  <a:pt x="6944" y="3136"/>
                </a:lnTo>
                <a:lnTo>
                  <a:pt x="6950" y="3136"/>
                </a:lnTo>
                <a:lnTo>
                  <a:pt x="6952" y="3136"/>
                </a:lnTo>
                <a:lnTo>
                  <a:pt x="6952" y="3134"/>
                </a:lnTo>
                <a:lnTo>
                  <a:pt x="6948" y="3128"/>
                </a:lnTo>
                <a:lnTo>
                  <a:pt x="6942" y="3124"/>
                </a:lnTo>
                <a:lnTo>
                  <a:pt x="6938" y="3124"/>
                </a:lnTo>
                <a:close/>
                <a:moveTo>
                  <a:pt x="7062" y="3248"/>
                </a:moveTo>
                <a:lnTo>
                  <a:pt x="7062" y="3248"/>
                </a:lnTo>
                <a:lnTo>
                  <a:pt x="7060" y="3252"/>
                </a:lnTo>
                <a:lnTo>
                  <a:pt x="7058" y="3252"/>
                </a:lnTo>
                <a:lnTo>
                  <a:pt x="7056" y="3256"/>
                </a:lnTo>
                <a:lnTo>
                  <a:pt x="7056" y="3264"/>
                </a:lnTo>
                <a:lnTo>
                  <a:pt x="7058" y="3268"/>
                </a:lnTo>
                <a:lnTo>
                  <a:pt x="7060" y="3270"/>
                </a:lnTo>
                <a:lnTo>
                  <a:pt x="7072" y="3270"/>
                </a:lnTo>
                <a:lnTo>
                  <a:pt x="7086" y="3272"/>
                </a:lnTo>
                <a:lnTo>
                  <a:pt x="7094" y="3274"/>
                </a:lnTo>
                <a:lnTo>
                  <a:pt x="7102" y="3278"/>
                </a:lnTo>
                <a:lnTo>
                  <a:pt x="7106" y="3282"/>
                </a:lnTo>
                <a:lnTo>
                  <a:pt x="7112" y="3284"/>
                </a:lnTo>
                <a:lnTo>
                  <a:pt x="7124" y="3284"/>
                </a:lnTo>
                <a:lnTo>
                  <a:pt x="7136" y="3282"/>
                </a:lnTo>
                <a:lnTo>
                  <a:pt x="7152" y="3280"/>
                </a:lnTo>
                <a:lnTo>
                  <a:pt x="7160" y="3280"/>
                </a:lnTo>
                <a:lnTo>
                  <a:pt x="7164" y="3278"/>
                </a:lnTo>
                <a:lnTo>
                  <a:pt x="7168" y="3274"/>
                </a:lnTo>
                <a:lnTo>
                  <a:pt x="7168" y="3272"/>
                </a:lnTo>
                <a:lnTo>
                  <a:pt x="7166" y="3270"/>
                </a:lnTo>
                <a:lnTo>
                  <a:pt x="7164" y="3268"/>
                </a:lnTo>
                <a:lnTo>
                  <a:pt x="7158" y="3268"/>
                </a:lnTo>
                <a:lnTo>
                  <a:pt x="7152" y="3272"/>
                </a:lnTo>
                <a:lnTo>
                  <a:pt x="7148" y="3274"/>
                </a:lnTo>
                <a:lnTo>
                  <a:pt x="7146" y="3274"/>
                </a:lnTo>
                <a:lnTo>
                  <a:pt x="7146" y="3270"/>
                </a:lnTo>
                <a:lnTo>
                  <a:pt x="7144" y="3266"/>
                </a:lnTo>
                <a:lnTo>
                  <a:pt x="7142" y="3264"/>
                </a:lnTo>
                <a:lnTo>
                  <a:pt x="7136" y="3264"/>
                </a:lnTo>
                <a:lnTo>
                  <a:pt x="7130" y="3264"/>
                </a:lnTo>
                <a:lnTo>
                  <a:pt x="7126" y="3264"/>
                </a:lnTo>
                <a:lnTo>
                  <a:pt x="7118" y="3262"/>
                </a:lnTo>
                <a:lnTo>
                  <a:pt x="7108" y="3260"/>
                </a:lnTo>
                <a:lnTo>
                  <a:pt x="7102" y="3260"/>
                </a:lnTo>
                <a:lnTo>
                  <a:pt x="7094" y="3260"/>
                </a:lnTo>
                <a:lnTo>
                  <a:pt x="7090" y="3260"/>
                </a:lnTo>
                <a:lnTo>
                  <a:pt x="7086" y="3260"/>
                </a:lnTo>
                <a:lnTo>
                  <a:pt x="7084" y="3256"/>
                </a:lnTo>
                <a:lnTo>
                  <a:pt x="7080" y="3250"/>
                </a:lnTo>
                <a:lnTo>
                  <a:pt x="7078" y="3250"/>
                </a:lnTo>
                <a:lnTo>
                  <a:pt x="7076" y="3252"/>
                </a:lnTo>
                <a:lnTo>
                  <a:pt x="7074" y="3252"/>
                </a:lnTo>
                <a:lnTo>
                  <a:pt x="7072" y="3252"/>
                </a:lnTo>
                <a:lnTo>
                  <a:pt x="7068" y="3248"/>
                </a:lnTo>
                <a:lnTo>
                  <a:pt x="7064" y="3246"/>
                </a:lnTo>
                <a:lnTo>
                  <a:pt x="7062" y="3248"/>
                </a:lnTo>
                <a:close/>
                <a:moveTo>
                  <a:pt x="6928" y="3106"/>
                </a:moveTo>
                <a:lnTo>
                  <a:pt x="6928" y="3106"/>
                </a:lnTo>
                <a:lnTo>
                  <a:pt x="6928" y="3110"/>
                </a:lnTo>
                <a:lnTo>
                  <a:pt x="6932" y="3112"/>
                </a:lnTo>
                <a:lnTo>
                  <a:pt x="6936" y="3112"/>
                </a:lnTo>
                <a:lnTo>
                  <a:pt x="6940" y="3114"/>
                </a:lnTo>
                <a:lnTo>
                  <a:pt x="6944" y="3116"/>
                </a:lnTo>
                <a:lnTo>
                  <a:pt x="6944" y="3114"/>
                </a:lnTo>
                <a:lnTo>
                  <a:pt x="6944" y="3112"/>
                </a:lnTo>
                <a:lnTo>
                  <a:pt x="6942" y="3108"/>
                </a:lnTo>
                <a:lnTo>
                  <a:pt x="6938" y="3104"/>
                </a:lnTo>
                <a:lnTo>
                  <a:pt x="6936" y="3098"/>
                </a:lnTo>
                <a:lnTo>
                  <a:pt x="6936" y="3096"/>
                </a:lnTo>
                <a:lnTo>
                  <a:pt x="6934" y="3098"/>
                </a:lnTo>
                <a:lnTo>
                  <a:pt x="6932" y="3100"/>
                </a:lnTo>
                <a:lnTo>
                  <a:pt x="6930" y="3100"/>
                </a:lnTo>
                <a:lnTo>
                  <a:pt x="6928" y="3102"/>
                </a:lnTo>
                <a:lnTo>
                  <a:pt x="6928" y="3106"/>
                </a:lnTo>
                <a:close/>
                <a:moveTo>
                  <a:pt x="7092" y="3110"/>
                </a:moveTo>
                <a:lnTo>
                  <a:pt x="7092" y="3110"/>
                </a:lnTo>
                <a:lnTo>
                  <a:pt x="7086" y="3106"/>
                </a:lnTo>
                <a:lnTo>
                  <a:pt x="7084" y="3102"/>
                </a:lnTo>
                <a:lnTo>
                  <a:pt x="7080" y="3086"/>
                </a:lnTo>
                <a:lnTo>
                  <a:pt x="7080" y="3084"/>
                </a:lnTo>
                <a:lnTo>
                  <a:pt x="7078" y="3082"/>
                </a:lnTo>
                <a:lnTo>
                  <a:pt x="7072" y="3080"/>
                </a:lnTo>
                <a:lnTo>
                  <a:pt x="7064" y="3078"/>
                </a:lnTo>
                <a:lnTo>
                  <a:pt x="7058" y="3074"/>
                </a:lnTo>
                <a:lnTo>
                  <a:pt x="7050" y="3068"/>
                </a:lnTo>
                <a:lnTo>
                  <a:pt x="7048" y="3066"/>
                </a:lnTo>
                <a:lnTo>
                  <a:pt x="7044" y="3066"/>
                </a:lnTo>
                <a:lnTo>
                  <a:pt x="7036" y="3066"/>
                </a:lnTo>
                <a:lnTo>
                  <a:pt x="7030" y="3070"/>
                </a:lnTo>
                <a:lnTo>
                  <a:pt x="7028" y="3072"/>
                </a:lnTo>
                <a:lnTo>
                  <a:pt x="7038" y="3074"/>
                </a:lnTo>
                <a:lnTo>
                  <a:pt x="7052" y="3082"/>
                </a:lnTo>
                <a:lnTo>
                  <a:pt x="7058" y="3088"/>
                </a:lnTo>
                <a:lnTo>
                  <a:pt x="7060" y="3092"/>
                </a:lnTo>
                <a:lnTo>
                  <a:pt x="7062" y="3096"/>
                </a:lnTo>
                <a:lnTo>
                  <a:pt x="7068" y="3098"/>
                </a:lnTo>
                <a:lnTo>
                  <a:pt x="7072" y="3098"/>
                </a:lnTo>
                <a:lnTo>
                  <a:pt x="7076" y="3100"/>
                </a:lnTo>
                <a:lnTo>
                  <a:pt x="7082" y="3108"/>
                </a:lnTo>
                <a:lnTo>
                  <a:pt x="7086" y="3116"/>
                </a:lnTo>
                <a:lnTo>
                  <a:pt x="7092" y="3122"/>
                </a:lnTo>
                <a:lnTo>
                  <a:pt x="7096" y="3122"/>
                </a:lnTo>
                <a:lnTo>
                  <a:pt x="7098" y="3118"/>
                </a:lnTo>
                <a:lnTo>
                  <a:pt x="7096" y="3114"/>
                </a:lnTo>
                <a:lnTo>
                  <a:pt x="7092" y="3110"/>
                </a:lnTo>
                <a:close/>
                <a:moveTo>
                  <a:pt x="7132" y="3176"/>
                </a:moveTo>
                <a:lnTo>
                  <a:pt x="7132" y="3176"/>
                </a:lnTo>
                <a:lnTo>
                  <a:pt x="7136" y="3178"/>
                </a:lnTo>
                <a:lnTo>
                  <a:pt x="7136" y="3176"/>
                </a:lnTo>
                <a:lnTo>
                  <a:pt x="7138" y="3172"/>
                </a:lnTo>
                <a:lnTo>
                  <a:pt x="7138" y="3166"/>
                </a:lnTo>
                <a:lnTo>
                  <a:pt x="7136" y="3164"/>
                </a:lnTo>
                <a:lnTo>
                  <a:pt x="7134" y="3164"/>
                </a:lnTo>
                <a:lnTo>
                  <a:pt x="7130" y="3166"/>
                </a:lnTo>
                <a:lnTo>
                  <a:pt x="7128" y="3170"/>
                </a:lnTo>
                <a:lnTo>
                  <a:pt x="7130" y="3174"/>
                </a:lnTo>
                <a:lnTo>
                  <a:pt x="7132" y="3176"/>
                </a:lnTo>
                <a:close/>
                <a:moveTo>
                  <a:pt x="7202" y="3244"/>
                </a:moveTo>
                <a:lnTo>
                  <a:pt x="7202" y="3244"/>
                </a:lnTo>
                <a:lnTo>
                  <a:pt x="7200" y="3242"/>
                </a:lnTo>
                <a:lnTo>
                  <a:pt x="7198" y="3248"/>
                </a:lnTo>
                <a:lnTo>
                  <a:pt x="7198" y="3256"/>
                </a:lnTo>
                <a:lnTo>
                  <a:pt x="7200" y="3258"/>
                </a:lnTo>
                <a:lnTo>
                  <a:pt x="7202" y="3258"/>
                </a:lnTo>
                <a:lnTo>
                  <a:pt x="7206" y="3258"/>
                </a:lnTo>
                <a:lnTo>
                  <a:pt x="7206" y="3254"/>
                </a:lnTo>
                <a:lnTo>
                  <a:pt x="7202" y="3244"/>
                </a:lnTo>
                <a:close/>
                <a:moveTo>
                  <a:pt x="6898" y="3024"/>
                </a:moveTo>
                <a:lnTo>
                  <a:pt x="6898" y="3024"/>
                </a:lnTo>
                <a:lnTo>
                  <a:pt x="6898" y="3028"/>
                </a:lnTo>
                <a:lnTo>
                  <a:pt x="6902" y="3034"/>
                </a:lnTo>
                <a:lnTo>
                  <a:pt x="6908" y="3040"/>
                </a:lnTo>
                <a:lnTo>
                  <a:pt x="6914" y="3044"/>
                </a:lnTo>
                <a:lnTo>
                  <a:pt x="6916" y="3042"/>
                </a:lnTo>
                <a:lnTo>
                  <a:pt x="6912" y="3036"/>
                </a:lnTo>
                <a:lnTo>
                  <a:pt x="6908" y="3030"/>
                </a:lnTo>
                <a:lnTo>
                  <a:pt x="6906" y="3026"/>
                </a:lnTo>
                <a:lnTo>
                  <a:pt x="6906" y="3022"/>
                </a:lnTo>
                <a:lnTo>
                  <a:pt x="6904" y="3020"/>
                </a:lnTo>
                <a:lnTo>
                  <a:pt x="6900" y="3020"/>
                </a:lnTo>
                <a:lnTo>
                  <a:pt x="6898" y="3024"/>
                </a:lnTo>
                <a:close/>
                <a:moveTo>
                  <a:pt x="7128" y="3010"/>
                </a:moveTo>
                <a:lnTo>
                  <a:pt x="7128" y="3010"/>
                </a:lnTo>
                <a:lnTo>
                  <a:pt x="7124" y="3010"/>
                </a:lnTo>
                <a:lnTo>
                  <a:pt x="7120" y="3008"/>
                </a:lnTo>
                <a:lnTo>
                  <a:pt x="7116" y="3010"/>
                </a:lnTo>
                <a:lnTo>
                  <a:pt x="7116" y="3012"/>
                </a:lnTo>
                <a:lnTo>
                  <a:pt x="7114" y="3016"/>
                </a:lnTo>
                <a:lnTo>
                  <a:pt x="7114" y="3018"/>
                </a:lnTo>
                <a:lnTo>
                  <a:pt x="7116" y="3020"/>
                </a:lnTo>
                <a:lnTo>
                  <a:pt x="7118" y="3020"/>
                </a:lnTo>
                <a:lnTo>
                  <a:pt x="7122" y="3018"/>
                </a:lnTo>
                <a:lnTo>
                  <a:pt x="7122" y="3016"/>
                </a:lnTo>
                <a:lnTo>
                  <a:pt x="7124" y="3016"/>
                </a:lnTo>
                <a:lnTo>
                  <a:pt x="7126" y="3018"/>
                </a:lnTo>
                <a:lnTo>
                  <a:pt x="7128" y="3020"/>
                </a:lnTo>
                <a:lnTo>
                  <a:pt x="7132" y="3010"/>
                </a:lnTo>
                <a:lnTo>
                  <a:pt x="7132" y="3008"/>
                </a:lnTo>
                <a:lnTo>
                  <a:pt x="7128" y="3010"/>
                </a:lnTo>
                <a:close/>
                <a:moveTo>
                  <a:pt x="7142" y="3002"/>
                </a:moveTo>
                <a:lnTo>
                  <a:pt x="7142" y="3002"/>
                </a:lnTo>
                <a:lnTo>
                  <a:pt x="7142" y="3004"/>
                </a:lnTo>
                <a:lnTo>
                  <a:pt x="7144" y="3004"/>
                </a:lnTo>
                <a:lnTo>
                  <a:pt x="7154" y="3002"/>
                </a:lnTo>
                <a:lnTo>
                  <a:pt x="7156" y="3000"/>
                </a:lnTo>
                <a:lnTo>
                  <a:pt x="7152" y="2996"/>
                </a:lnTo>
                <a:lnTo>
                  <a:pt x="7146" y="2996"/>
                </a:lnTo>
                <a:lnTo>
                  <a:pt x="7144" y="2998"/>
                </a:lnTo>
                <a:lnTo>
                  <a:pt x="7142" y="3002"/>
                </a:lnTo>
                <a:close/>
                <a:moveTo>
                  <a:pt x="7120" y="3174"/>
                </a:moveTo>
                <a:lnTo>
                  <a:pt x="7120" y="3174"/>
                </a:lnTo>
                <a:lnTo>
                  <a:pt x="7122" y="3174"/>
                </a:lnTo>
                <a:lnTo>
                  <a:pt x="7124" y="3172"/>
                </a:lnTo>
                <a:lnTo>
                  <a:pt x="7126" y="3168"/>
                </a:lnTo>
                <a:lnTo>
                  <a:pt x="7124" y="3166"/>
                </a:lnTo>
                <a:lnTo>
                  <a:pt x="7122" y="3166"/>
                </a:lnTo>
                <a:lnTo>
                  <a:pt x="7118" y="3168"/>
                </a:lnTo>
                <a:lnTo>
                  <a:pt x="7118" y="3170"/>
                </a:lnTo>
                <a:lnTo>
                  <a:pt x="7120" y="3174"/>
                </a:lnTo>
                <a:close/>
                <a:moveTo>
                  <a:pt x="7094" y="3190"/>
                </a:moveTo>
                <a:lnTo>
                  <a:pt x="7094" y="3190"/>
                </a:lnTo>
                <a:lnTo>
                  <a:pt x="7096" y="3188"/>
                </a:lnTo>
                <a:lnTo>
                  <a:pt x="7094" y="3186"/>
                </a:lnTo>
                <a:lnTo>
                  <a:pt x="7092" y="3186"/>
                </a:lnTo>
                <a:lnTo>
                  <a:pt x="7088" y="3188"/>
                </a:lnTo>
                <a:lnTo>
                  <a:pt x="7086" y="3188"/>
                </a:lnTo>
                <a:lnTo>
                  <a:pt x="7084" y="3192"/>
                </a:lnTo>
                <a:lnTo>
                  <a:pt x="7086" y="3194"/>
                </a:lnTo>
                <a:lnTo>
                  <a:pt x="7090" y="3194"/>
                </a:lnTo>
                <a:lnTo>
                  <a:pt x="7094" y="3190"/>
                </a:lnTo>
                <a:close/>
                <a:moveTo>
                  <a:pt x="7086" y="3144"/>
                </a:moveTo>
                <a:lnTo>
                  <a:pt x="7086" y="3144"/>
                </a:lnTo>
                <a:lnTo>
                  <a:pt x="7088" y="3144"/>
                </a:lnTo>
                <a:lnTo>
                  <a:pt x="7090" y="3142"/>
                </a:lnTo>
                <a:lnTo>
                  <a:pt x="7090" y="3138"/>
                </a:lnTo>
                <a:lnTo>
                  <a:pt x="7090" y="3136"/>
                </a:lnTo>
                <a:lnTo>
                  <a:pt x="7088" y="3136"/>
                </a:lnTo>
                <a:lnTo>
                  <a:pt x="7086" y="3138"/>
                </a:lnTo>
                <a:lnTo>
                  <a:pt x="7084" y="3142"/>
                </a:lnTo>
                <a:lnTo>
                  <a:pt x="7086" y="3144"/>
                </a:lnTo>
                <a:close/>
                <a:moveTo>
                  <a:pt x="7090" y="3156"/>
                </a:moveTo>
                <a:lnTo>
                  <a:pt x="7090" y="3156"/>
                </a:lnTo>
                <a:lnTo>
                  <a:pt x="7094" y="3156"/>
                </a:lnTo>
                <a:lnTo>
                  <a:pt x="7092" y="3150"/>
                </a:lnTo>
                <a:lnTo>
                  <a:pt x="7090" y="3150"/>
                </a:lnTo>
                <a:lnTo>
                  <a:pt x="7088" y="3152"/>
                </a:lnTo>
                <a:lnTo>
                  <a:pt x="7088" y="3156"/>
                </a:lnTo>
                <a:lnTo>
                  <a:pt x="7090" y="3156"/>
                </a:lnTo>
                <a:close/>
                <a:moveTo>
                  <a:pt x="7170" y="3136"/>
                </a:moveTo>
                <a:lnTo>
                  <a:pt x="7170" y="3136"/>
                </a:lnTo>
                <a:lnTo>
                  <a:pt x="7168" y="3136"/>
                </a:lnTo>
                <a:lnTo>
                  <a:pt x="7162" y="3136"/>
                </a:lnTo>
                <a:lnTo>
                  <a:pt x="7156" y="3140"/>
                </a:lnTo>
                <a:lnTo>
                  <a:pt x="7154" y="3144"/>
                </a:lnTo>
                <a:lnTo>
                  <a:pt x="7156" y="3146"/>
                </a:lnTo>
                <a:lnTo>
                  <a:pt x="7162" y="3144"/>
                </a:lnTo>
                <a:lnTo>
                  <a:pt x="7166" y="3140"/>
                </a:lnTo>
                <a:lnTo>
                  <a:pt x="7170" y="3136"/>
                </a:lnTo>
                <a:close/>
                <a:moveTo>
                  <a:pt x="6936" y="3086"/>
                </a:moveTo>
                <a:lnTo>
                  <a:pt x="6936" y="3086"/>
                </a:lnTo>
                <a:lnTo>
                  <a:pt x="6938" y="3086"/>
                </a:lnTo>
                <a:lnTo>
                  <a:pt x="6940" y="3084"/>
                </a:lnTo>
                <a:lnTo>
                  <a:pt x="6940" y="3080"/>
                </a:lnTo>
                <a:lnTo>
                  <a:pt x="6940" y="3076"/>
                </a:lnTo>
                <a:lnTo>
                  <a:pt x="6938" y="3076"/>
                </a:lnTo>
                <a:lnTo>
                  <a:pt x="6936" y="3076"/>
                </a:lnTo>
                <a:lnTo>
                  <a:pt x="6934" y="3080"/>
                </a:lnTo>
                <a:lnTo>
                  <a:pt x="6932" y="3084"/>
                </a:lnTo>
                <a:lnTo>
                  <a:pt x="6934" y="3086"/>
                </a:lnTo>
                <a:lnTo>
                  <a:pt x="6936" y="3086"/>
                </a:lnTo>
                <a:close/>
                <a:moveTo>
                  <a:pt x="7094" y="3066"/>
                </a:moveTo>
                <a:lnTo>
                  <a:pt x="7094" y="3066"/>
                </a:lnTo>
                <a:lnTo>
                  <a:pt x="7094" y="3072"/>
                </a:lnTo>
                <a:lnTo>
                  <a:pt x="7096" y="3076"/>
                </a:lnTo>
                <a:lnTo>
                  <a:pt x="7100" y="3078"/>
                </a:lnTo>
                <a:lnTo>
                  <a:pt x="7102" y="3076"/>
                </a:lnTo>
                <a:lnTo>
                  <a:pt x="7102" y="3074"/>
                </a:lnTo>
                <a:lnTo>
                  <a:pt x="7098" y="3070"/>
                </a:lnTo>
                <a:lnTo>
                  <a:pt x="7096" y="3066"/>
                </a:lnTo>
                <a:lnTo>
                  <a:pt x="7094" y="3064"/>
                </a:lnTo>
                <a:lnTo>
                  <a:pt x="7094" y="3066"/>
                </a:lnTo>
                <a:close/>
                <a:moveTo>
                  <a:pt x="7102" y="3120"/>
                </a:moveTo>
                <a:lnTo>
                  <a:pt x="7102" y="3120"/>
                </a:lnTo>
                <a:lnTo>
                  <a:pt x="7102" y="3124"/>
                </a:lnTo>
                <a:lnTo>
                  <a:pt x="7106" y="3128"/>
                </a:lnTo>
                <a:lnTo>
                  <a:pt x="7116" y="3140"/>
                </a:lnTo>
                <a:lnTo>
                  <a:pt x="7120" y="3144"/>
                </a:lnTo>
                <a:lnTo>
                  <a:pt x="7122" y="3146"/>
                </a:lnTo>
                <a:lnTo>
                  <a:pt x="7124" y="3142"/>
                </a:lnTo>
                <a:lnTo>
                  <a:pt x="7120" y="3138"/>
                </a:lnTo>
                <a:lnTo>
                  <a:pt x="7116" y="3132"/>
                </a:lnTo>
                <a:lnTo>
                  <a:pt x="7110" y="3124"/>
                </a:lnTo>
                <a:lnTo>
                  <a:pt x="7106" y="3120"/>
                </a:lnTo>
                <a:lnTo>
                  <a:pt x="7104" y="3120"/>
                </a:lnTo>
                <a:lnTo>
                  <a:pt x="7102" y="3120"/>
                </a:lnTo>
                <a:close/>
                <a:moveTo>
                  <a:pt x="11690" y="3124"/>
                </a:moveTo>
                <a:lnTo>
                  <a:pt x="11690" y="3124"/>
                </a:lnTo>
                <a:lnTo>
                  <a:pt x="11694" y="3116"/>
                </a:lnTo>
                <a:lnTo>
                  <a:pt x="11694" y="3108"/>
                </a:lnTo>
                <a:lnTo>
                  <a:pt x="11694" y="3106"/>
                </a:lnTo>
                <a:lnTo>
                  <a:pt x="11692" y="3104"/>
                </a:lnTo>
                <a:lnTo>
                  <a:pt x="11688" y="3106"/>
                </a:lnTo>
                <a:lnTo>
                  <a:pt x="11684" y="3110"/>
                </a:lnTo>
                <a:lnTo>
                  <a:pt x="11682" y="3114"/>
                </a:lnTo>
                <a:lnTo>
                  <a:pt x="11680" y="3118"/>
                </a:lnTo>
                <a:lnTo>
                  <a:pt x="11680" y="3122"/>
                </a:lnTo>
                <a:lnTo>
                  <a:pt x="11682" y="3124"/>
                </a:lnTo>
                <a:lnTo>
                  <a:pt x="11684" y="3126"/>
                </a:lnTo>
                <a:lnTo>
                  <a:pt x="11686" y="3126"/>
                </a:lnTo>
                <a:lnTo>
                  <a:pt x="11688" y="3126"/>
                </a:lnTo>
                <a:lnTo>
                  <a:pt x="11690" y="3124"/>
                </a:lnTo>
                <a:close/>
                <a:moveTo>
                  <a:pt x="11438" y="3278"/>
                </a:moveTo>
                <a:lnTo>
                  <a:pt x="11438" y="3278"/>
                </a:lnTo>
                <a:lnTo>
                  <a:pt x="11430" y="3286"/>
                </a:lnTo>
                <a:lnTo>
                  <a:pt x="11426" y="3292"/>
                </a:lnTo>
                <a:lnTo>
                  <a:pt x="11418" y="3294"/>
                </a:lnTo>
                <a:lnTo>
                  <a:pt x="11412" y="3296"/>
                </a:lnTo>
                <a:lnTo>
                  <a:pt x="11406" y="3306"/>
                </a:lnTo>
                <a:lnTo>
                  <a:pt x="11402" y="3310"/>
                </a:lnTo>
                <a:lnTo>
                  <a:pt x="11398" y="3314"/>
                </a:lnTo>
                <a:lnTo>
                  <a:pt x="11392" y="3314"/>
                </a:lnTo>
                <a:lnTo>
                  <a:pt x="11388" y="3314"/>
                </a:lnTo>
                <a:lnTo>
                  <a:pt x="11386" y="3316"/>
                </a:lnTo>
                <a:lnTo>
                  <a:pt x="11384" y="3320"/>
                </a:lnTo>
                <a:lnTo>
                  <a:pt x="11384" y="3326"/>
                </a:lnTo>
                <a:lnTo>
                  <a:pt x="11384" y="3332"/>
                </a:lnTo>
                <a:lnTo>
                  <a:pt x="11388" y="3336"/>
                </a:lnTo>
                <a:lnTo>
                  <a:pt x="11392" y="3336"/>
                </a:lnTo>
                <a:lnTo>
                  <a:pt x="11398" y="3336"/>
                </a:lnTo>
                <a:lnTo>
                  <a:pt x="11410" y="3334"/>
                </a:lnTo>
                <a:lnTo>
                  <a:pt x="11418" y="3334"/>
                </a:lnTo>
                <a:lnTo>
                  <a:pt x="11424" y="3336"/>
                </a:lnTo>
                <a:lnTo>
                  <a:pt x="11430" y="3340"/>
                </a:lnTo>
                <a:lnTo>
                  <a:pt x="11434" y="3338"/>
                </a:lnTo>
                <a:lnTo>
                  <a:pt x="11434" y="3336"/>
                </a:lnTo>
                <a:lnTo>
                  <a:pt x="11434" y="3332"/>
                </a:lnTo>
                <a:lnTo>
                  <a:pt x="11434" y="3324"/>
                </a:lnTo>
                <a:lnTo>
                  <a:pt x="11436" y="3320"/>
                </a:lnTo>
                <a:lnTo>
                  <a:pt x="11440" y="3316"/>
                </a:lnTo>
                <a:lnTo>
                  <a:pt x="11444" y="3314"/>
                </a:lnTo>
                <a:lnTo>
                  <a:pt x="11448" y="3316"/>
                </a:lnTo>
                <a:lnTo>
                  <a:pt x="11450" y="3320"/>
                </a:lnTo>
                <a:lnTo>
                  <a:pt x="11460" y="3320"/>
                </a:lnTo>
                <a:lnTo>
                  <a:pt x="11484" y="3314"/>
                </a:lnTo>
                <a:lnTo>
                  <a:pt x="11510" y="3306"/>
                </a:lnTo>
                <a:lnTo>
                  <a:pt x="11514" y="3304"/>
                </a:lnTo>
                <a:lnTo>
                  <a:pt x="11518" y="3302"/>
                </a:lnTo>
                <a:lnTo>
                  <a:pt x="11520" y="3296"/>
                </a:lnTo>
                <a:lnTo>
                  <a:pt x="11522" y="3294"/>
                </a:lnTo>
                <a:lnTo>
                  <a:pt x="11524" y="3294"/>
                </a:lnTo>
                <a:lnTo>
                  <a:pt x="11536" y="3298"/>
                </a:lnTo>
                <a:lnTo>
                  <a:pt x="11544" y="3300"/>
                </a:lnTo>
                <a:lnTo>
                  <a:pt x="11550" y="3300"/>
                </a:lnTo>
                <a:lnTo>
                  <a:pt x="11560" y="3298"/>
                </a:lnTo>
                <a:lnTo>
                  <a:pt x="11564" y="3296"/>
                </a:lnTo>
                <a:lnTo>
                  <a:pt x="11566" y="3302"/>
                </a:lnTo>
                <a:lnTo>
                  <a:pt x="11566" y="3306"/>
                </a:lnTo>
                <a:lnTo>
                  <a:pt x="11564" y="3308"/>
                </a:lnTo>
                <a:lnTo>
                  <a:pt x="11560" y="3314"/>
                </a:lnTo>
                <a:lnTo>
                  <a:pt x="11556" y="3318"/>
                </a:lnTo>
                <a:lnTo>
                  <a:pt x="11554" y="3320"/>
                </a:lnTo>
                <a:lnTo>
                  <a:pt x="11554" y="3324"/>
                </a:lnTo>
                <a:lnTo>
                  <a:pt x="11554" y="3330"/>
                </a:lnTo>
                <a:lnTo>
                  <a:pt x="11552" y="3336"/>
                </a:lnTo>
                <a:lnTo>
                  <a:pt x="11552" y="3340"/>
                </a:lnTo>
                <a:lnTo>
                  <a:pt x="11554" y="3342"/>
                </a:lnTo>
                <a:lnTo>
                  <a:pt x="11556" y="3346"/>
                </a:lnTo>
                <a:lnTo>
                  <a:pt x="11562" y="3348"/>
                </a:lnTo>
                <a:lnTo>
                  <a:pt x="11562" y="3352"/>
                </a:lnTo>
                <a:lnTo>
                  <a:pt x="11564" y="3356"/>
                </a:lnTo>
                <a:lnTo>
                  <a:pt x="11574" y="3362"/>
                </a:lnTo>
                <a:lnTo>
                  <a:pt x="11572" y="3364"/>
                </a:lnTo>
                <a:lnTo>
                  <a:pt x="11576" y="3366"/>
                </a:lnTo>
                <a:lnTo>
                  <a:pt x="11580" y="3364"/>
                </a:lnTo>
                <a:lnTo>
                  <a:pt x="11584" y="3360"/>
                </a:lnTo>
                <a:lnTo>
                  <a:pt x="11588" y="3354"/>
                </a:lnTo>
                <a:lnTo>
                  <a:pt x="11604" y="3328"/>
                </a:lnTo>
                <a:lnTo>
                  <a:pt x="11608" y="3324"/>
                </a:lnTo>
                <a:lnTo>
                  <a:pt x="11612" y="3320"/>
                </a:lnTo>
                <a:lnTo>
                  <a:pt x="11622" y="3318"/>
                </a:lnTo>
                <a:lnTo>
                  <a:pt x="11626" y="3316"/>
                </a:lnTo>
                <a:lnTo>
                  <a:pt x="11626" y="3314"/>
                </a:lnTo>
                <a:lnTo>
                  <a:pt x="11624" y="3312"/>
                </a:lnTo>
                <a:lnTo>
                  <a:pt x="11618" y="3308"/>
                </a:lnTo>
                <a:lnTo>
                  <a:pt x="11612" y="3302"/>
                </a:lnTo>
                <a:lnTo>
                  <a:pt x="11610" y="3296"/>
                </a:lnTo>
                <a:lnTo>
                  <a:pt x="11610" y="3290"/>
                </a:lnTo>
                <a:lnTo>
                  <a:pt x="11612" y="3284"/>
                </a:lnTo>
                <a:lnTo>
                  <a:pt x="11616" y="3280"/>
                </a:lnTo>
                <a:lnTo>
                  <a:pt x="11620" y="3280"/>
                </a:lnTo>
                <a:lnTo>
                  <a:pt x="11622" y="3280"/>
                </a:lnTo>
                <a:lnTo>
                  <a:pt x="11624" y="3286"/>
                </a:lnTo>
                <a:lnTo>
                  <a:pt x="11624" y="3292"/>
                </a:lnTo>
                <a:lnTo>
                  <a:pt x="11626" y="3294"/>
                </a:lnTo>
                <a:lnTo>
                  <a:pt x="11630" y="3296"/>
                </a:lnTo>
                <a:lnTo>
                  <a:pt x="11634" y="3296"/>
                </a:lnTo>
                <a:lnTo>
                  <a:pt x="11638" y="3294"/>
                </a:lnTo>
                <a:lnTo>
                  <a:pt x="11634" y="3300"/>
                </a:lnTo>
                <a:lnTo>
                  <a:pt x="11632" y="3302"/>
                </a:lnTo>
                <a:lnTo>
                  <a:pt x="11630" y="3304"/>
                </a:lnTo>
                <a:lnTo>
                  <a:pt x="11638" y="3304"/>
                </a:lnTo>
                <a:lnTo>
                  <a:pt x="11650" y="3302"/>
                </a:lnTo>
                <a:lnTo>
                  <a:pt x="11662" y="3302"/>
                </a:lnTo>
                <a:lnTo>
                  <a:pt x="11670" y="3302"/>
                </a:lnTo>
                <a:lnTo>
                  <a:pt x="11674" y="3302"/>
                </a:lnTo>
                <a:lnTo>
                  <a:pt x="11676" y="3300"/>
                </a:lnTo>
                <a:lnTo>
                  <a:pt x="11682" y="3292"/>
                </a:lnTo>
                <a:lnTo>
                  <a:pt x="11688" y="3282"/>
                </a:lnTo>
                <a:lnTo>
                  <a:pt x="11696" y="3276"/>
                </a:lnTo>
                <a:lnTo>
                  <a:pt x="11698" y="3276"/>
                </a:lnTo>
                <a:lnTo>
                  <a:pt x="11700" y="3276"/>
                </a:lnTo>
                <a:lnTo>
                  <a:pt x="11700" y="3282"/>
                </a:lnTo>
                <a:lnTo>
                  <a:pt x="11700" y="3288"/>
                </a:lnTo>
                <a:lnTo>
                  <a:pt x="11698" y="3296"/>
                </a:lnTo>
                <a:lnTo>
                  <a:pt x="11700" y="3300"/>
                </a:lnTo>
                <a:lnTo>
                  <a:pt x="11702" y="3302"/>
                </a:lnTo>
                <a:lnTo>
                  <a:pt x="11704" y="3302"/>
                </a:lnTo>
                <a:lnTo>
                  <a:pt x="11708" y="3298"/>
                </a:lnTo>
                <a:lnTo>
                  <a:pt x="11712" y="3286"/>
                </a:lnTo>
                <a:lnTo>
                  <a:pt x="11714" y="3274"/>
                </a:lnTo>
                <a:lnTo>
                  <a:pt x="11718" y="3268"/>
                </a:lnTo>
                <a:lnTo>
                  <a:pt x="11720" y="3266"/>
                </a:lnTo>
                <a:lnTo>
                  <a:pt x="11722" y="3264"/>
                </a:lnTo>
                <a:lnTo>
                  <a:pt x="11730" y="3270"/>
                </a:lnTo>
                <a:lnTo>
                  <a:pt x="11736" y="3274"/>
                </a:lnTo>
                <a:lnTo>
                  <a:pt x="11736" y="3270"/>
                </a:lnTo>
                <a:lnTo>
                  <a:pt x="11736" y="3264"/>
                </a:lnTo>
                <a:lnTo>
                  <a:pt x="11736" y="3258"/>
                </a:lnTo>
                <a:lnTo>
                  <a:pt x="11738" y="3254"/>
                </a:lnTo>
                <a:lnTo>
                  <a:pt x="11740" y="3250"/>
                </a:lnTo>
                <a:lnTo>
                  <a:pt x="11744" y="3248"/>
                </a:lnTo>
                <a:lnTo>
                  <a:pt x="11750" y="3246"/>
                </a:lnTo>
                <a:lnTo>
                  <a:pt x="11752" y="3248"/>
                </a:lnTo>
                <a:lnTo>
                  <a:pt x="11752" y="3252"/>
                </a:lnTo>
                <a:lnTo>
                  <a:pt x="11750" y="3256"/>
                </a:lnTo>
                <a:lnTo>
                  <a:pt x="11746" y="3266"/>
                </a:lnTo>
                <a:lnTo>
                  <a:pt x="11742" y="3280"/>
                </a:lnTo>
                <a:lnTo>
                  <a:pt x="11742" y="3288"/>
                </a:lnTo>
                <a:lnTo>
                  <a:pt x="11744" y="3288"/>
                </a:lnTo>
                <a:lnTo>
                  <a:pt x="11748" y="3284"/>
                </a:lnTo>
                <a:lnTo>
                  <a:pt x="11752" y="3280"/>
                </a:lnTo>
                <a:lnTo>
                  <a:pt x="11754" y="3278"/>
                </a:lnTo>
                <a:lnTo>
                  <a:pt x="11760" y="3276"/>
                </a:lnTo>
                <a:lnTo>
                  <a:pt x="11762" y="3274"/>
                </a:lnTo>
                <a:lnTo>
                  <a:pt x="11764" y="3272"/>
                </a:lnTo>
                <a:lnTo>
                  <a:pt x="11766" y="3258"/>
                </a:lnTo>
                <a:lnTo>
                  <a:pt x="11770" y="3252"/>
                </a:lnTo>
                <a:lnTo>
                  <a:pt x="11774" y="3248"/>
                </a:lnTo>
                <a:lnTo>
                  <a:pt x="11778" y="3246"/>
                </a:lnTo>
                <a:lnTo>
                  <a:pt x="11784" y="3248"/>
                </a:lnTo>
                <a:lnTo>
                  <a:pt x="11786" y="3248"/>
                </a:lnTo>
                <a:lnTo>
                  <a:pt x="11788" y="3246"/>
                </a:lnTo>
                <a:lnTo>
                  <a:pt x="11786" y="3242"/>
                </a:lnTo>
                <a:lnTo>
                  <a:pt x="11780" y="3232"/>
                </a:lnTo>
                <a:lnTo>
                  <a:pt x="11776" y="3226"/>
                </a:lnTo>
                <a:lnTo>
                  <a:pt x="11774" y="3222"/>
                </a:lnTo>
                <a:lnTo>
                  <a:pt x="11772" y="3210"/>
                </a:lnTo>
                <a:lnTo>
                  <a:pt x="11776" y="3200"/>
                </a:lnTo>
                <a:lnTo>
                  <a:pt x="11780" y="3188"/>
                </a:lnTo>
                <a:lnTo>
                  <a:pt x="11786" y="3176"/>
                </a:lnTo>
                <a:lnTo>
                  <a:pt x="11790" y="3164"/>
                </a:lnTo>
                <a:lnTo>
                  <a:pt x="11792" y="3152"/>
                </a:lnTo>
                <a:lnTo>
                  <a:pt x="11790" y="3138"/>
                </a:lnTo>
                <a:lnTo>
                  <a:pt x="11788" y="3128"/>
                </a:lnTo>
                <a:lnTo>
                  <a:pt x="11786" y="3120"/>
                </a:lnTo>
                <a:lnTo>
                  <a:pt x="11788" y="3112"/>
                </a:lnTo>
                <a:lnTo>
                  <a:pt x="11790" y="3106"/>
                </a:lnTo>
                <a:lnTo>
                  <a:pt x="11792" y="3100"/>
                </a:lnTo>
                <a:lnTo>
                  <a:pt x="11796" y="3098"/>
                </a:lnTo>
                <a:lnTo>
                  <a:pt x="11800" y="3098"/>
                </a:lnTo>
                <a:lnTo>
                  <a:pt x="11806" y="3102"/>
                </a:lnTo>
                <a:lnTo>
                  <a:pt x="11810" y="3104"/>
                </a:lnTo>
                <a:lnTo>
                  <a:pt x="11812" y="3104"/>
                </a:lnTo>
                <a:lnTo>
                  <a:pt x="11812" y="3096"/>
                </a:lnTo>
                <a:lnTo>
                  <a:pt x="11812" y="3082"/>
                </a:lnTo>
                <a:lnTo>
                  <a:pt x="11814" y="3074"/>
                </a:lnTo>
                <a:lnTo>
                  <a:pt x="11820" y="3068"/>
                </a:lnTo>
                <a:lnTo>
                  <a:pt x="11824" y="3058"/>
                </a:lnTo>
                <a:lnTo>
                  <a:pt x="11828" y="3050"/>
                </a:lnTo>
                <a:lnTo>
                  <a:pt x="11830" y="3040"/>
                </a:lnTo>
                <a:lnTo>
                  <a:pt x="11832" y="3030"/>
                </a:lnTo>
                <a:lnTo>
                  <a:pt x="11832" y="3020"/>
                </a:lnTo>
                <a:lnTo>
                  <a:pt x="11830" y="3010"/>
                </a:lnTo>
                <a:lnTo>
                  <a:pt x="11826" y="3002"/>
                </a:lnTo>
                <a:lnTo>
                  <a:pt x="11820" y="2994"/>
                </a:lnTo>
                <a:lnTo>
                  <a:pt x="11814" y="2988"/>
                </a:lnTo>
                <a:lnTo>
                  <a:pt x="11810" y="2980"/>
                </a:lnTo>
                <a:lnTo>
                  <a:pt x="11806" y="2964"/>
                </a:lnTo>
                <a:lnTo>
                  <a:pt x="11806" y="2950"/>
                </a:lnTo>
                <a:lnTo>
                  <a:pt x="11806" y="2940"/>
                </a:lnTo>
                <a:lnTo>
                  <a:pt x="11808" y="2936"/>
                </a:lnTo>
                <a:lnTo>
                  <a:pt x="11806" y="2934"/>
                </a:lnTo>
                <a:lnTo>
                  <a:pt x="11802" y="2932"/>
                </a:lnTo>
                <a:lnTo>
                  <a:pt x="11796" y="2930"/>
                </a:lnTo>
                <a:lnTo>
                  <a:pt x="11790" y="2926"/>
                </a:lnTo>
                <a:lnTo>
                  <a:pt x="11788" y="2926"/>
                </a:lnTo>
                <a:lnTo>
                  <a:pt x="11786" y="2928"/>
                </a:lnTo>
                <a:lnTo>
                  <a:pt x="11782" y="2936"/>
                </a:lnTo>
                <a:lnTo>
                  <a:pt x="11782" y="2940"/>
                </a:lnTo>
                <a:lnTo>
                  <a:pt x="11784" y="2944"/>
                </a:lnTo>
                <a:lnTo>
                  <a:pt x="11786" y="2944"/>
                </a:lnTo>
                <a:lnTo>
                  <a:pt x="11790" y="2944"/>
                </a:lnTo>
                <a:lnTo>
                  <a:pt x="11796" y="2944"/>
                </a:lnTo>
                <a:lnTo>
                  <a:pt x="11798" y="2946"/>
                </a:lnTo>
                <a:lnTo>
                  <a:pt x="11800" y="2948"/>
                </a:lnTo>
                <a:lnTo>
                  <a:pt x="11800" y="2952"/>
                </a:lnTo>
                <a:lnTo>
                  <a:pt x="11798" y="2960"/>
                </a:lnTo>
                <a:lnTo>
                  <a:pt x="11794" y="2960"/>
                </a:lnTo>
                <a:lnTo>
                  <a:pt x="11792" y="2960"/>
                </a:lnTo>
                <a:lnTo>
                  <a:pt x="11790" y="2958"/>
                </a:lnTo>
                <a:lnTo>
                  <a:pt x="11786" y="2958"/>
                </a:lnTo>
                <a:lnTo>
                  <a:pt x="11782" y="2962"/>
                </a:lnTo>
                <a:lnTo>
                  <a:pt x="11780" y="2964"/>
                </a:lnTo>
                <a:lnTo>
                  <a:pt x="11778" y="2964"/>
                </a:lnTo>
                <a:lnTo>
                  <a:pt x="11776" y="2962"/>
                </a:lnTo>
                <a:lnTo>
                  <a:pt x="11776" y="2956"/>
                </a:lnTo>
                <a:lnTo>
                  <a:pt x="11774" y="2944"/>
                </a:lnTo>
                <a:lnTo>
                  <a:pt x="11772" y="2942"/>
                </a:lnTo>
                <a:lnTo>
                  <a:pt x="11770" y="2940"/>
                </a:lnTo>
                <a:lnTo>
                  <a:pt x="11766" y="2940"/>
                </a:lnTo>
                <a:lnTo>
                  <a:pt x="11764" y="2944"/>
                </a:lnTo>
                <a:lnTo>
                  <a:pt x="11762" y="2948"/>
                </a:lnTo>
                <a:lnTo>
                  <a:pt x="11762" y="2956"/>
                </a:lnTo>
                <a:lnTo>
                  <a:pt x="11760" y="2964"/>
                </a:lnTo>
                <a:lnTo>
                  <a:pt x="11758" y="2966"/>
                </a:lnTo>
                <a:lnTo>
                  <a:pt x="11754" y="2968"/>
                </a:lnTo>
                <a:lnTo>
                  <a:pt x="11750" y="2968"/>
                </a:lnTo>
                <a:lnTo>
                  <a:pt x="11746" y="2970"/>
                </a:lnTo>
                <a:lnTo>
                  <a:pt x="11744" y="2972"/>
                </a:lnTo>
                <a:lnTo>
                  <a:pt x="11744" y="2976"/>
                </a:lnTo>
                <a:lnTo>
                  <a:pt x="11746" y="2984"/>
                </a:lnTo>
                <a:lnTo>
                  <a:pt x="11748" y="2994"/>
                </a:lnTo>
                <a:lnTo>
                  <a:pt x="11748" y="3000"/>
                </a:lnTo>
                <a:lnTo>
                  <a:pt x="11746" y="3004"/>
                </a:lnTo>
                <a:lnTo>
                  <a:pt x="11744" y="3006"/>
                </a:lnTo>
                <a:lnTo>
                  <a:pt x="11740" y="3008"/>
                </a:lnTo>
                <a:lnTo>
                  <a:pt x="11738" y="3010"/>
                </a:lnTo>
                <a:lnTo>
                  <a:pt x="11738" y="3014"/>
                </a:lnTo>
                <a:lnTo>
                  <a:pt x="11738" y="3016"/>
                </a:lnTo>
                <a:lnTo>
                  <a:pt x="11740" y="3016"/>
                </a:lnTo>
                <a:lnTo>
                  <a:pt x="11744" y="3018"/>
                </a:lnTo>
                <a:lnTo>
                  <a:pt x="11746" y="3020"/>
                </a:lnTo>
                <a:lnTo>
                  <a:pt x="11748" y="3024"/>
                </a:lnTo>
                <a:lnTo>
                  <a:pt x="11748" y="3032"/>
                </a:lnTo>
                <a:lnTo>
                  <a:pt x="11748" y="3046"/>
                </a:lnTo>
                <a:lnTo>
                  <a:pt x="11742" y="3066"/>
                </a:lnTo>
                <a:lnTo>
                  <a:pt x="11738" y="3082"/>
                </a:lnTo>
                <a:lnTo>
                  <a:pt x="11732" y="3094"/>
                </a:lnTo>
                <a:lnTo>
                  <a:pt x="11728" y="3104"/>
                </a:lnTo>
                <a:lnTo>
                  <a:pt x="11722" y="3112"/>
                </a:lnTo>
                <a:lnTo>
                  <a:pt x="11710" y="3124"/>
                </a:lnTo>
                <a:lnTo>
                  <a:pt x="11698" y="3142"/>
                </a:lnTo>
                <a:lnTo>
                  <a:pt x="11690" y="3152"/>
                </a:lnTo>
                <a:lnTo>
                  <a:pt x="11684" y="3158"/>
                </a:lnTo>
                <a:lnTo>
                  <a:pt x="11676" y="3164"/>
                </a:lnTo>
                <a:lnTo>
                  <a:pt x="11670" y="3166"/>
                </a:lnTo>
                <a:lnTo>
                  <a:pt x="11656" y="3172"/>
                </a:lnTo>
                <a:lnTo>
                  <a:pt x="11648" y="3176"/>
                </a:lnTo>
                <a:lnTo>
                  <a:pt x="11640" y="3182"/>
                </a:lnTo>
                <a:lnTo>
                  <a:pt x="11632" y="3190"/>
                </a:lnTo>
                <a:lnTo>
                  <a:pt x="11630" y="3188"/>
                </a:lnTo>
                <a:lnTo>
                  <a:pt x="11630" y="3186"/>
                </a:lnTo>
                <a:lnTo>
                  <a:pt x="11632" y="3178"/>
                </a:lnTo>
                <a:lnTo>
                  <a:pt x="11632" y="3174"/>
                </a:lnTo>
                <a:lnTo>
                  <a:pt x="11630" y="3170"/>
                </a:lnTo>
                <a:lnTo>
                  <a:pt x="11628" y="3168"/>
                </a:lnTo>
                <a:lnTo>
                  <a:pt x="11628" y="3164"/>
                </a:lnTo>
                <a:lnTo>
                  <a:pt x="11636" y="3160"/>
                </a:lnTo>
                <a:lnTo>
                  <a:pt x="11644" y="3152"/>
                </a:lnTo>
                <a:lnTo>
                  <a:pt x="11644" y="3148"/>
                </a:lnTo>
                <a:lnTo>
                  <a:pt x="11642" y="3144"/>
                </a:lnTo>
                <a:lnTo>
                  <a:pt x="11640" y="3144"/>
                </a:lnTo>
                <a:lnTo>
                  <a:pt x="11636" y="3144"/>
                </a:lnTo>
                <a:lnTo>
                  <a:pt x="11628" y="3148"/>
                </a:lnTo>
                <a:lnTo>
                  <a:pt x="11622" y="3152"/>
                </a:lnTo>
                <a:lnTo>
                  <a:pt x="11620" y="3156"/>
                </a:lnTo>
                <a:lnTo>
                  <a:pt x="11618" y="3160"/>
                </a:lnTo>
                <a:lnTo>
                  <a:pt x="11618" y="3166"/>
                </a:lnTo>
                <a:lnTo>
                  <a:pt x="11618" y="3176"/>
                </a:lnTo>
                <a:lnTo>
                  <a:pt x="11616" y="3186"/>
                </a:lnTo>
                <a:lnTo>
                  <a:pt x="11612" y="3196"/>
                </a:lnTo>
                <a:lnTo>
                  <a:pt x="11604" y="3206"/>
                </a:lnTo>
                <a:lnTo>
                  <a:pt x="11592" y="3220"/>
                </a:lnTo>
                <a:lnTo>
                  <a:pt x="11588" y="3226"/>
                </a:lnTo>
                <a:lnTo>
                  <a:pt x="11588" y="3230"/>
                </a:lnTo>
                <a:lnTo>
                  <a:pt x="11588" y="3236"/>
                </a:lnTo>
                <a:lnTo>
                  <a:pt x="11588" y="3242"/>
                </a:lnTo>
                <a:lnTo>
                  <a:pt x="11586" y="3246"/>
                </a:lnTo>
                <a:lnTo>
                  <a:pt x="11584" y="3248"/>
                </a:lnTo>
                <a:lnTo>
                  <a:pt x="11578" y="3250"/>
                </a:lnTo>
                <a:lnTo>
                  <a:pt x="11570" y="3252"/>
                </a:lnTo>
                <a:lnTo>
                  <a:pt x="11564" y="3254"/>
                </a:lnTo>
                <a:lnTo>
                  <a:pt x="11560" y="3252"/>
                </a:lnTo>
                <a:lnTo>
                  <a:pt x="11560" y="3250"/>
                </a:lnTo>
                <a:lnTo>
                  <a:pt x="11560" y="3248"/>
                </a:lnTo>
                <a:lnTo>
                  <a:pt x="11562" y="3242"/>
                </a:lnTo>
                <a:lnTo>
                  <a:pt x="11560" y="3242"/>
                </a:lnTo>
                <a:lnTo>
                  <a:pt x="11558" y="3240"/>
                </a:lnTo>
                <a:lnTo>
                  <a:pt x="11550" y="3242"/>
                </a:lnTo>
                <a:lnTo>
                  <a:pt x="11540" y="3244"/>
                </a:lnTo>
                <a:lnTo>
                  <a:pt x="11514" y="3252"/>
                </a:lnTo>
                <a:lnTo>
                  <a:pt x="11502" y="3256"/>
                </a:lnTo>
                <a:lnTo>
                  <a:pt x="11492" y="3258"/>
                </a:lnTo>
                <a:lnTo>
                  <a:pt x="11482" y="3258"/>
                </a:lnTo>
                <a:lnTo>
                  <a:pt x="11480" y="3256"/>
                </a:lnTo>
                <a:lnTo>
                  <a:pt x="11478" y="3254"/>
                </a:lnTo>
                <a:lnTo>
                  <a:pt x="11476" y="3250"/>
                </a:lnTo>
                <a:lnTo>
                  <a:pt x="11472" y="3248"/>
                </a:lnTo>
                <a:lnTo>
                  <a:pt x="11468" y="3250"/>
                </a:lnTo>
                <a:lnTo>
                  <a:pt x="11464" y="3252"/>
                </a:lnTo>
                <a:lnTo>
                  <a:pt x="11452" y="3262"/>
                </a:lnTo>
                <a:lnTo>
                  <a:pt x="11438" y="3278"/>
                </a:lnTo>
                <a:close/>
                <a:moveTo>
                  <a:pt x="11364" y="3348"/>
                </a:moveTo>
                <a:lnTo>
                  <a:pt x="11364" y="3348"/>
                </a:lnTo>
                <a:lnTo>
                  <a:pt x="11362" y="3354"/>
                </a:lnTo>
                <a:lnTo>
                  <a:pt x="11358" y="3354"/>
                </a:lnTo>
                <a:lnTo>
                  <a:pt x="11356" y="3354"/>
                </a:lnTo>
                <a:lnTo>
                  <a:pt x="11352" y="3360"/>
                </a:lnTo>
                <a:lnTo>
                  <a:pt x="11350" y="3362"/>
                </a:lnTo>
                <a:lnTo>
                  <a:pt x="11348" y="3364"/>
                </a:lnTo>
                <a:lnTo>
                  <a:pt x="11344" y="3360"/>
                </a:lnTo>
                <a:lnTo>
                  <a:pt x="11342" y="3358"/>
                </a:lnTo>
                <a:lnTo>
                  <a:pt x="11340" y="3362"/>
                </a:lnTo>
                <a:lnTo>
                  <a:pt x="11340" y="3366"/>
                </a:lnTo>
                <a:lnTo>
                  <a:pt x="11338" y="3368"/>
                </a:lnTo>
                <a:lnTo>
                  <a:pt x="11332" y="3368"/>
                </a:lnTo>
                <a:lnTo>
                  <a:pt x="11328" y="3368"/>
                </a:lnTo>
                <a:lnTo>
                  <a:pt x="11330" y="3374"/>
                </a:lnTo>
                <a:lnTo>
                  <a:pt x="11334" y="3382"/>
                </a:lnTo>
                <a:lnTo>
                  <a:pt x="11332" y="3386"/>
                </a:lnTo>
                <a:lnTo>
                  <a:pt x="11332" y="3390"/>
                </a:lnTo>
                <a:lnTo>
                  <a:pt x="11334" y="3396"/>
                </a:lnTo>
                <a:lnTo>
                  <a:pt x="11338" y="3400"/>
                </a:lnTo>
                <a:lnTo>
                  <a:pt x="11338" y="3404"/>
                </a:lnTo>
                <a:lnTo>
                  <a:pt x="11338" y="3408"/>
                </a:lnTo>
                <a:lnTo>
                  <a:pt x="11338" y="3410"/>
                </a:lnTo>
                <a:lnTo>
                  <a:pt x="11346" y="3404"/>
                </a:lnTo>
                <a:lnTo>
                  <a:pt x="11350" y="3400"/>
                </a:lnTo>
                <a:lnTo>
                  <a:pt x="11352" y="3400"/>
                </a:lnTo>
                <a:lnTo>
                  <a:pt x="11352" y="3402"/>
                </a:lnTo>
                <a:lnTo>
                  <a:pt x="11354" y="3406"/>
                </a:lnTo>
                <a:lnTo>
                  <a:pt x="11356" y="3406"/>
                </a:lnTo>
                <a:lnTo>
                  <a:pt x="11360" y="3404"/>
                </a:lnTo>
                <a:lnTo>
                  <a:pt x="11362" y="3402"/>
                </a:lnTo>
                <a:lnTo>
                  <a:pt x="11364" y="3400"/>
                </a:lnTo>
                <a:lnTo>
                  <a:pt x="11362" y="3398"/>
                </a:lnTo>
                <a:lnTo>
                  <a:pt x="11358" y="3394"/>
                </a:lnTo>
                <a:lnTo>
                  <a:pt x="11354" y="3392"/>
                </a:lnTo>
                <a:lnTo>
                  <a:pt x="11354" y="3388"/>
                </a:lnTo>
                <a:lnTo>
                  <a:pt x="11354" y="3382"/>
                </a:lnTo>
                <a:lnTo>
                  <a:pt x="11354" y="3380"/>
                </a:lnTo>
                <a:lnTo>
                  <a:pt x="11356" y="3380"/>
                </a:lnTo>
                <a:lnTo>
                  <a:pt x="11360" y="3382"/>
                </a:lnTo>
                <a:lnTo>
                  <a:pt x="11362" y="3386"/>
                </a:lnTo>
                <a:lnTo>
                  <a:pt x="11368" y="3396"/>
                </a:lnTo>
                <a:lnTo>
                  <a:pt x="11370" y="3406"/>
                </a:lnTo>
                <a:lnTo>
                  <a:pt x="11368" y="3416"/>
                </a:lnTo>
                <a:lnTo>
                  <a:pt x="11362" y="3428"/>
                </a:lnTo>
                <a:lnTo>
                  <a:pt x="11356" y="3436"/>
                </a:lnTo>
                <a:lnTo>
                  <a:pt x="11354" y="3442"/>
                </a:lnTo>
                <a:lnTo>
                  <a:pt x="11358" y="3458"/>
                </a:lnTo>
                <a:lnTo>
                  <a:pt x="11358" y="3464"/>
                </a:lnTo>
                <a:lnTo>
                  <a:pt x="11358" y="3468"/>
                </a:lnTo>
                <a:lnTo>
                  <a:pt x="11354" y="3474"/>
                </a:lnTo>
                <a:lnTo>
                  <a:pt x="11354" y="3476"/>
                </a:lnTo>
                <a:lnTo>
                  <a:pt x="11364" y="3480"/>
                </a:lnTo>
                <a:lnTo>
                  <a:pt x="11370" y="3482"/>
                </a:lnTo>
                <a:lnTo>
                  <a:pt x="11374" y="3486"/>
                </a:lnTo>
                <a:lnTo>
                  <a:pt x="11374" y="3490"/>
                </a:lnTo>
                <a:lnTo>
                  <a:pt x="11376" y="3492"/>
                </a:lnTo>
                <a:lnTo>
                  <a:pt x="11384" y="3486"/>
                </a:lnTo>
                <a:lnTo>
                  <a:pt x="11388" y="3482"/>
                </a:lnTo>
                <a:lnTo>
                  <a:pt x="11392" y="3480"/>
                </a:lnTo>
                <a:lnTo>
                  <a:pt x="11392" y="3476"/>
                </a:lnTo>
                <a:lnTo>
                  <a:pt x="11390" y="3474"/>
                </a:lnTo>
                <a:lnTo>
                  <a:pt x="11388" y="3472"/>
                </a:lnTo>
                <a:lnTo>
                  <a:pt x="11388" y="3470"/>
                </a:lnTo>
                <a:lnTo>
                  <a:pt x="11390" y="3468"/>
                </a:lnTo>
                <a:lnTo>
                  <a:pt x="11394" y="3468"/>
                </a:lnTo>
                <a:lnTo>
                  <a:pt x="11396" y="3470"/>
                </a:lnTo>
                <a:lnTo>
                  <a:pt x="11398" y="3472"/>
                </a:lnTo>
                <a:lnTo>
                  <a:pt x="11402" y="3472"/>
                </a:lnTo>
                <a:lnTo>
                  <a:pt x="11404" y="3468"/>
                </a:lnTo>
                <a:lnTo>
                  <a:pt x="11406" y="3458"/>
                </a:lnTo>
                <a:lnTo>
                  <a:pt x="11410" y="3434"/>
                </a:lnTo>
                <a:lnTo>
                  <a:pt x="11416" y="3410"/>
                </a:lnTo>
                <a:lnTo>
                  <a:pt x="11420" y="3402"/>
                </a:lnTo>
                <a:lnTo>
                  <a:pt x="11422" y="3400"/>
                </a:lnTo>
                <a:lnTo>
                  <a:pt x="11426" y="3398"/>
                </a:lnTo>
                <a:lnTo>
                  <a:pt x="11428" y="3396"/>
                </a:lnTo>
                <a:lnTo>
                  <a:pt x="11430" y="3394"/>
                </a:lnTo>
                <a:lnTo>
                  <a:pt x="11428" y="3386"/>
                </a:lnTo>
                <a:lnTo>
                  <a:pt x="11424" y="3380"/>
                </a:lnTo>
                <a:lnTo>
                  <a:pt x="11418" y="3378"/>
                </a:lnTo>
                <a:lnTo>
                  <a:pt x="11414" y="3376"/>
                </a:lnTo>
                <a:lnTo>
                  <a:pt x="11410" y="3376"/>
                </a:lnTo>
                <a:lnTo>
                  <a:pt x="11408" y="3374"/>
                </a:lnTo>
                <a:lnTo>
                  <a:pt x="11412" y="3368"/>
                </a:lnTo>
                <a:lnTo>
                  <a:pt x="11414" y="3362"/>
                </a:lnTo>
                <a:lnTo>
                  <a:pt x="11416" y="3358"/>
                </a:lnTo>
                <a:lnTo>
                  <a:pt x="11414" y="3354"/>
                </a:lnTo>
                <a:lnTo>
                  <a:pt x="11410" y="3352"/>
                </a:lnTo>
                <a:lnTo>
                  <a:pt x="11406" y="3352"/>
                </a:lnTo>
                <a:lnTo>
                  <a:pt x="11398" y="3354"/>
                </a:lnTo>
                <a:lnTo>
                  <a:pt x="11396" y="3356"/>
                </a:lnTo>
                <a:lnTo>
                  <a:pt x="11392" y="3356"/>
                </a:lnTo>
                <a:lnTo>
                  <a:pt x="11390" y="3354"/>
                </a:lnTo>
                <a:lnTo>
                  <a:pt x="11388" y="3348"/>
                </a:lnTo>
                <a:lnTo>
                  <a:pt x="11386" y="3344"/>
                </a:lnTo>
                <a:lnTo>
                  <a:pt x="11384" y="3342"/>
                </a:lnTo>
                <a:lnTo>
                  <a:pt x="11378" y="3338"/>
                </a:lnTo>
                <a:lnTo>
                  <a:pt x="11374" y="3338"/>
                </a:lnTo>
                <a:lnTo>
                  <a:pt x="11370" y="3340"/>
                </a:lnTo>
                <a:lnTo>
                  <a:pt x="11368" y="3342"/>
                </a:lnTo>
                <a:lnTo>
                  <a:pt x="11364" y="3348"/>
                </a:lnTo>
                <a:close/>
                <a:moveTo>
                  <a:pt x="11528" y="3322"/>
                </a:moveTo>
                <a:lnTo>
                  <a:pt x="11528" y="3322"/>
                </a:lnTo>
                <a:lnTo>
                  <a:pt x="11522" y="3318"/>
                </a:lnTo>
                <a:lnTo>
                  <a:pt x="11516" y="3316"/>
                </a:lnTo>
                <a:lnTo>
                  <a:pt x="11508" y="3316"/>
                </a:lnTo>
                <a:lnTo>
                  <a:pt x="11500" y="3318"/>
                </a:lnTo>
                <a:lnTo>
                  <a:pt x="11496" y="3322"/>
                </a:lnTo>
                <a:lnTo>
                  <a:pt x="11492" y="3326"/>
                </a:lnTo>
                <a:lnTo>
                  <a:pt x="11490" y="3332"/>
                </a:lnTo>
                <a:lnTo>
                  <a:pt x="11488" y="3336"/>
                </a:lnTo>
                <a:lnTo>
                  <a:pt x="11486" y="3336"/>
                </a:lnTo>
                <a:lnTo>
                  <a:pt x="11484" y="3336"/>
                </a:lnTo>
                <a:lnTo>
                  <a:pt x="11482" y="3334"/>
                </a:lnTo>
                <a:lnTo>
                  <a:pt x="11478" y="3336"/>
                </a:lnTo>
                <a:lnTo>
                  <a:pt x="11474" y="3338"/>
                </a:lnTo>
                <a:lnTo>
                  <a:pt x="11472" y="3340"/>
                </a:lnTo>
                <a:lnTo>
                  <a:pt x="11470" y="3334"/>
                </a:lnTo>
                <a:lnTo>
                  <a:pt x="11468" y="3328"/>
                </a:lnTo>
                <a:lnTo>
                  <a:pt x="11466" y="3328"/>
                </a:lnTo>
                <a:lnTo>
                  <a:pt x="11462" y="3332"/>
                </a:lnTo>
                <a:lnTo>
                  <a:pt x="11456" y="3344"/>
                </a:lnTo>
                <a:lnTo>
                  <a:pt x="11452" y="3350"/>
                </a:lnTo>
                <a:lnTo>
                  <a:pt x="11448" y="3356"/>
                </a:lnTo>
                <a:lnTo>
                  <a:pt x="11438" y="3364"/>
                </a:lnTo>
                <a:lnTo>
                  <a:pt x="11432" y="3368"/>
                </a:lnTo>
                <a:lnTo>
                  <a:pt x="11438" y="3368"/>
                </a:lnTo>
                <a:lnTo>
                  <a:pt x="11442" y="3368"/>
                </a:lnTo>
                <a:lnTo>
                  <a:pt x="11444" y="3368"/>
                </a:lnTo>
                <a:lnTo>
                  <a:pt x="11446" y="3370"/>
                </a:lnTo>
                <a:lnTo>
                  <a:pt x="11446" y="3374"/>
                </a:lnTo>
                <a:lnTo>
                  <a:pt x="11446" y="3380"/>
                </a:lnTo>
                <a:lnTo>
                  <a:pt x="11448" y="3384"/>
                </a:lnTo>
                <a:lnTo>
                  <a:pt x="11450" y="3388"/>
                </a:lnTo>
                <a:lnTo>
                  <a:pt x="11452" y="3392"/>
                </a:lnTo>
                <a:lnTo>
                  <a:pt x="11454" y="3394"/>
                </a:lnTo>
                <a:lnTo>
                  <a:pt x="11452" y="3398"/>
                </a:lnTo>
                <a:lnTo>
                  <a:pt x="11452" y="3400"/>
                </a:lnTo>
                <a:lnTo>
                  <a:pt x="11462" y="3402"/>
                </a:lnTo>
                <a:lnTo>
                  <a:pt x="11466" y="3400"/>
                </a:lnTo>
                <a:lnTo>
                  <a:pt x="11468" y="3398"/>
                </a:lnTo>
                <a:lnTo>
                  <a:pt x="11474" y="3386"/>
                </a:lnTo>
                <a:lnTo>
                  <a:pt x="11476" y="3378"/>
                </a:lnTo>
                <a:lnTo>
                  <a:pt x="11478" y="3372"/>
                </a:lnTo>
                <a:lnTo>
                  <a:pt x="11484" y="3366"/>
                </a:lnTo>
                <a:lnTo>
                  <a:pt x="11490" y="3362"/>
                </a:lnTo>
                <a:lnTo>
                  <a:pt x="11496" y="3362"/>
                </a:lnTo>
                <a:lnTo>
                  <a:pt x="11502" y="3364"/>
                </a:lnTo>
                <a:lnTo>
                  <a:pt x="11510" y="3368"/>
                </a:lnTo>
                <a:lnTo>
                  <a:pt x="11512" y="3370"/>
                </a:lnTo>
                <a:lnTo>
                  <a:pt x="11514" y="3372"/>
                </a:lnTo>
                <a:lnTo>
                  <a:pt x="11516" y="3370"/>
                </a:lnTo>
                <a:lnTo>
                  <a:pt x="11518" y="3364"/>
                </a:lnTo>
                <a:lnTo>
                  <a:pt x="11520" y="3358"/>
                </a:lnTo>
                <a:lnTo>
                  <a:pt x="11524" y="3354"/>
                </a:lnTo>
                <a:lnTo>
                  <a:pt x="11530" y="3350"/>
                </a:lnTo>
                <a:lnTo>
                  <a:pt x="11534" y="3346"/>
                </a:lnTo>
                <a:lnTo>
                  <a:pt x="11536" y="3344"/>
                </a:lnTo>
                <a:lnTo>
                  <a:pt x="11534" y="3340"/>
                </a:lnTo>
                <a:lnTo>
                  <a:pt x="11532" y="3332"/>
                </a:lnTo>
                <a:lnTo>
                  <a:pt x="11534" y="3328"/>
                </a:lnTo>
                <a:lnTo>
                  <a:pt x="11532" y="3324"/>
                </a:lnTo>
                <a:lnTo>
                  <a:pt x="11528" y="3322"/>
                </a:lnTo>
                <a:close/>
                <a:moveTo>
                  <a:pt x="11746" y="2888"/>
                </a:moveTo>
                <a:lnTo>
                  <a:pt x="11746" y="2888"/>
                </a:lnTo>
                <a:lnTo>
                  <a:pt x="11752" y="2894"/>
                </a:lnTo>
                <a:lnTo>
                  <a:pt x="11754" y="2900"/>
                </a:lnTo>
                <a:lnTo>
                  <a:pt x="11754" y="2904"/>
                </a:lnTo>
                <a:lnTo>
                  <a:pt x="11752" y="2910"/>
                </a:lnTo>
                <a:lnTo>
                  <a:pt x="11748" y="2920"/>
                </a:lnTo>
                <a:lnTo>
                  <a:pt x="11750" y="2926"/>
                </a:lnTo>
                <a:lnTo>
                  <a:pt x="11752" y="2932"/>
                </a:lnTo>
                <a:lnTo>
                  <a:pt x="11756" y="2934"/>
                </a:lnTo>
                <a:lnTo>
                  <a:pt x="11758" y="2934"/>
                </a:lnTo>
                <a:lnTo>
                  <a:pt x="11762" y="2930"/>
                </a:lnTo>
                <a:lnTo>
                  <a:pt x="11768" y="2920"/>
                </a:lnTo>
                <a:lnTo>
                  <a:pt x="11774" y="2910"/>
                </a:lnTo>
                <a:lnTo>
                  <a:pt x="11776" y="2910"/>
                </a:lnTo>
                <a:lnTo>
                  <a:pt x="11778" y="2910"/>
                </a:lnTo>
                <a:lnTo>
                  <a:pt x="11784" y="2914"/>
                </a:lnTo>
                <a:lnTo>
                  <a:pt x="11790" y="2914"/>
                </a:lnTo>
                <a:lnTo>
                  <a:pt x="11796" y="2912"/>
                </a:lnTo>
                <a:lnTo>
                  <a:pt x="11800" y="2908"/>
                </a:lnTo>
                <a:lnTo>
                  <a:pt x="11798" y="2906"/>
                </a:lnTo>
                <a:lnTo>
                  <a:pt x="11782" y="2896"/>
                </a:lnTo>
                <a:lnTo>
                  <a:pt x="11774" y="2892"/>
                </a:lnTo>
                <a:lnTo>
                  <a:pt x="11766" y="2886"/>
                </a:lnTo>
                <a:lnTo>
                  <a:pt x="11764" y="2878"/>
                </a:lnTo>
                <a:lnTo>
                  <a:pt x="11764" y="2876"/>
                </a:lnTo>
                <a:lnTo>
                  <a:pt x="11764" y="2872"/>
                </a:lnTo>
                <a:lnTo>
                  <a:pt x="11770" y="2866"/>
                </a:lnTo>
                <a:lnTo>
                  <a:pt x="11774" y="2864"/>
                </a:lnTo>
                <a:lnTo>
                  <a:pt x="11778" y="2866"/>
                </a:lnTo>
                <a:lnTo>
                  <a:pt x="11780" y="2870"/>
                </a:lnTo>
                <a:lnTo>
                  <a:pt x="11784" y="2874"/>
                </a:lnTo>
                <a:lnTo>
                  <a:pt x="11788" y="2876"/>
                </a:lnTo>
                <a:lnTo>
                  <a:pt x="11794" y="2876"/>
                </a:lnTo>
                <a:lnTo>
                  <a:pt x="11800" y="2874"/>
                </a:lnTo>
                <a:lnTo>
                  <a:pt x="11808" y="2868"/>
                </a:lnTo>
                <a:lnTo>
                  <a:pt x="11814" y="2866"/>
                </a:lnTo>
                <a:lnTo>
                  <a:pt x="11818" y="2866"/>
                </a:lnTo>
                <a:lnTo>
                  <a:pt x="11826" y="2868"/>
                </a:lnTo>
                <a:lnTo>
                  <a:pt x="11842" y="2878"/>
                </a:lnTo>
                <a:lnTo>
                  <a:pt x="11872" y="2896"/>
                </a:lnTo>
                <a:lnTo>
                  <a:pt x="11880" y="2898"/>
                </a:lnTo>
                <a:lnTo>
                  <a:pt x="11884" y="2896"/>
                </a:lnTo>
                <a:lnTo>
                  <a:pt x="11888" y="2890"/>
                </a:lnTo>
                <a:lnTo>
                  <a:pt x="11890" y="2882"/>
                </a:lnTo>
                <a:lnTo>
                  <a:pt x="11896" y="2864"/>
                </a:lnTo>
                <a:lnTo>
                  <a:pt x="11900" y="2856"/>
                </a:lnTo>
                <a:lnTo>
                  <a:pt x="11906" y="2850"/>
                </a:lnTo>
                <a:lnTo>
                  <a:pt x="11918" y="2846"/>
                </a:lnTo>
                <a:lnTo>
                  <a:pt x="11930" y="2846"/>
                </a:lnTo>
                <a:lnTo>
                  <a:pt x="11942" y="2844"/>
                </a:lnTo>
                <a:lnTo>
                  <a:pt x="11956" y="2840"/>
                </a:lnTo>
                <a:lnTo>
                  <a:pt x="11978" y="2828"/>
                </a:lnTo>
                <a:lnTo>
                  <a:pt x="11984" y="2824"/>
                </a:lnTo>
                <a:lnTo>
                  <a:pt x="11984" y="2822"/>
                </a:lnTo>
                <a:lnTo>
                  <a:pt x="11984" y="2820"/>
                </a:lnTo>
                <a:lnTo>
                  <a:pt x="11982" y="2820"/>
                </a:lnTo>
                <a:lnTo>
                  <a:pt x="11978" y="2820"/>
                </a:lnTo>
                <a:lnTo>
                  <a:pt x="11972" y="2822"/>
                </a:lnTo>
                <a:lnTo>
                  <a:pt x="11970" y="2822"/>
                </a:lnTo>
                <a:lnTo>
                  <a:pt x="11966" y="2820"/>
                </a:lnTo>
                <a:lnTo>
                  <a:pt x="11962" y="2818"/>
                </a:lnTo>
                <a:lnTo>
                  <a:pt x="11958" y="2810"/>
                </a:lnTo>
                <a:lnTo>
                  <a:pt x="11956" y="2802"/>
                </a:lnTo>
                <a:lnTo>
                  <a:pt x="11956" y="2794"/>
                </a:lnTo>
                <a:lnTo>
                  <a:pt x="11958" y="2786"/>
                </a:lnTo>
                <a:lnTo>
                  <a:pt x="11962" y="2780"/>
                </a:lnTo>
                <a:lnTo>
                  <a:pt x="11966" y="2770"/>
                </a:lnTo>
                <a:lnTo>
                  <a:pt x="11966" y="2768"/>
                </a:lnTo>
                <a:lnTo>
                  <a:pt x="11964" y="2768"/>
                </a:lnTo>
                <a:lnTo>
                  <a:pt x="11960" y="2770"/>
                </a:lnTo>
                <a:lnTo>
                  <a:pt x="11958" y="2772"/>
                </a:lnTo>
                <a:lnTo>
                  <a:pt x="11950" y="2780"/>
                </a:lnTo>
                <a:lnTo>
                  <a:pt x="11944" y="2788"/>
                </a:lnTo>
                <a:lnTo>
                  <a:pt x="11938" y="2790"/>
                </a:lnTo>
                <a:lnTo>
                  <a:pt x="11932" y="2792"/>
                </a:lnTo>
                <a:lnTo>
                  <a:pt x="11928" y="2790"/>
                </a:lnTo>
                <a:lnTo>
                  <a:pt x="11926" y="2788"/>
                </a:lnTo>
                <a:lnTo>
                  <a:pt x="11924" y="2784"/>
                </a:lnTo>
                <a:lnTo>
                  <a:pt x="11922" y="2782"/>
                </a:lnTo>
                <a:lnTo>
                  <a:pt x="11920" y="2780"/>
                </a:lnTo>
                <a:lnTo>
                  <a:pt x="11916" y="2778"/>
                </a:lnTo>
                <a:lnTo>
                  <a:pt x="11910" y="2776"/>
                </a:lnTo>
                <a:lnTo>
                  <a:pt x="11900" y="2774"/>
                </a:lnTo>
                <a:lnTo>
                  <a:pt x="11892" y="2770"/>
                </a:lnTo>
                <a:lnTo>
                  <a:pt x="11882" y="2762"/>
                </a:lnTo>
                <a:lnTo>
                  <a:pt x="11872" y="2754"/>
                </a:lnTo>
                <a:lnTo>
                  <a:pt x="11854" y="2734"/>
                </a:lnTo>
                <a:lnTo>
                  <a:pt x="11840" y="2716"/>
                </a:lnTo>
                <a:lnTo>
                  <a:pt x="11836" y="2710"/>
                </a:lnTo>
                <a:lnTo>
                  <a:pt x="11828" y="2706"/>
                </a:lnTo>
                <a:lnTo>
                  <a:pt x="11822" y="2704"/>
                </a:lnTo>
                <a:lnTo>
                  <a:pt x="11818" y="2704"/>
                </a:lnTo>
                <a:lnTo>
                  <a:pt x="11814" y="2706"/>
                </a:lnTo>
                <a:lnTo>
                  <a:pt x="11812" y="2712"/>
                </a:lnTo>
                <a:lnTo>
                  <a:pt x="11812" y="2720"/>
                </a:lnTo>
                <a:lnTo>
                  <a:pt x="11816" y="2728"/>
                </a:lnTo>
                <a:lnTo>
                  <a:pt x="11820" y="2738"/>
                </a:lnTo>
                <a:lnTo>
                  <a:pt x="11822" y="2746"/>
                </a:lnTo>
                <a:lnTo>
                  <a:pt x="11820" y="2752"/>
                </a:lnTo>
                <a:lnTo>
                  <a:pt x="11820" y="2756"/>
                </a:lnTo>
                <a:lnTo>
                  <a:pt x="11816" y="2764"/>
                </a:lnTo>
                <a:lnTo>
                  <a:pt x="11814" y="2768"/>
                </a:lnTo>
                <a:lnTo>
                  <a:pt x="11816" y="2774"/>
                </a:lnTo>
                <a:lnTo>
                  <a:pt x="11818" y="2778"/>
                </a:lnTo>
                <a:lnTo>
                  <a:pt x="11816" y="2784"/>
                </a:lnTo>
                <a:lnTo>
                  <a:pt x="11812" y="2792"/>
                </a:lnTo>
                <a:lnTo>
                  <a:pt x="11806" y="2800"/>
                </a:lnTo>
                <a:lnTo>
                  <a:pt x="11804" y="2806"/>
                </a:lnTo>
                <a:lnTo>
                  <a:pt x="11804" y="2810"/>
                </a:lnTo>
                <a:lnTo>
                  <a:pt x="11806" y="2820"/>
                </a:lnTo>
                <a:lnTo>
                  <a:pt x="11806" y="2830"/>
                </a:lnTo>
                <a:lnTo>
                  <a:pt x="11804" y="2834"/>
                </a:lnTo>
                <a:lnTo>
                  <a:pt x="11800" y="2836"/>
                </a:lnTo>
                <a:lnTo>
                  <a:pt x="11794" y="2836"/>
                </a:lnTo>
                <a:lnTo>
                  <a:pt x="11788" y="2832"/>
                </a:lnTo>
                <a:lnTo>
                  <a:pt x="11774" y="2826"/>
                </a:lnTo>
                <a:lnTo>
                  <a:pt x="11764" y="2824"/>
                </a:lnTo>
                <a:lnTo>
                  <a:pt x="11762" y="2824"/>
                </a:lnTo>
                <a:lnTo>
                  <a:pt x="11762" y="2826"/>
                </a:lnTo>
                <a:lnTo>
                  <a:pt x="11762" y="2830"/>
                </a:lnTo>
                <a:lnTo>
                  <a:pt x="11766" y="2836"/>
                </a:lnTo>
                <a:lnTo>
                  <a:pt x="11768" y="2838"/>
                </a:lnTo>
                <a:lnTo>
                  <a:pt x="11770" y="2842"/>
                </a:lnTo>
                <a:lnTo>
                  <a:pt x="11766" y="2848"/>
                </a:lnTo>
                <a:lnTo>
                  <a:pt x="11760" y="2854"/>
                </a:lnTo>
                <a:lnTo>
                  <a:pt x="11754" y="2862"/>
                </a:lnTo>
                <a:lnTo>
                  <a:pt x="11746" y="2868"/>
                </a:lnTo>
                <a:lnTo>
                  <a:pt x="11742" y="2876"/>
                </a:lnTo>
                <a:lnTo>
                  <a:pt x="11740" y="2878"/>
                </a:lnTo>
                <a:lnTo>
                  <a:pt x="11740" y="2882"/>
                </a:lnTo>
                <a:lnTo>
                  <a:pt x="11742" y="2886"/>
                </a:lnTo>
                <a:lnTo>
                  <a:pt x="11746" y="2888"/>
                </a:lnTo>
                <a:close/>
                <a:moveTo>
                  <a:pt x="11370" y="3520"/>
                </a:moveTo>
                <a:lnTo>
                  <a:pt x="11370" y="3520"/>
                </a:lnTo>
                <a:lnTo>
                  <a:pt x="11368" y="3522"/>
                </a:lnTo>
                <a:lnTo>
                  <a:pt x="11366" y="3524"/>
                </a:lnTo>
                <a:lnTo>
                  <a:pt x="11366" y="3528"/>
                </a:lnTo>
                <a:lnTo>
                  <a:pt x="11366" y="3530"/>
                </a:lnTo>
                <a:lnTo>
                  <a:pt x="11370" y="3532"/>
                </a:lnTo>
                <a:lnTo>
                  <a:pt x="11374" y="3530"/>
                </a:lnTo>
                <a:lnTo>
                  <a:pt x="11374" y="3528"/>
                </a:lnTo>
                <a:lnTo>
                  <a:pt x="11372" y="3524"/>
                </a:lnTo>
                <a:lnTo>
                  <a:pt x="11370" y="3520"/>
                </a:lnTo>
                <a:close/>
                <a:moveTo>
                  <a:pt x="11300" y="3398"/>
                </a:moveTo>
                <a:lnTo>
                  <a:pt x="11300" y="3398"/>
                </a:lnTo>
                <a:lnTo>
                  <a:pt x="11296" y="3398"/>
                </a:lnTo>
                <a:lnTo>
                  <a:pt x="11294" y="3402"/>
                </a:lnTo>
                <a:lnTo>
                  <a:pt x="11294" y="3406"/>
                </a:lnTo>
                <a:lnTo>
                  <a:pt x="11296" y="3408"/>
                </a:lnTo>
                <a:lnTo>
                  <a:pt x="11302" y="3406"/>
                </a:lnTo>
                <a:lnTo>
                  <a:pt x="11304" y="3404"/>
                </a:lnTo>
                <a:lnTo>
                  <a:pt x="11304" y="3402"/>
                </a:lnTo>
                <a:lnTo>
                  <a:pt x="11300" y="3398"/>
                </a:lnTo>
                <a:close/>
                <a:moveTo>
                  <a:pt x="11356" y="3414"/>
                </a:moveTo>
                <a:lnTo>
                  <a:pt x="11356" y="3414"/>
                </a:lnTo>
                <a:lnTo>
                  <a:pt x="11356" y="3412"/>
                </a:lnTo>
                <a:lnTo>
                  <a:pt x="11352" y="3412"/>
                </a:lnTo>
                <a:lnTo>
                  <a:pt x="11348" y="3416"/>
                </a:lnTo>
                <a:lnTo>
                  <a:pt x="11348" y="3424"/>
                </a:lnTo>
                <a:lnTo>
                  <a:pt x="11350" y="3426"/>
                </a:lnTo>
                <a:lnTo>
                  <a:pt x="11352" y="3424"/>
                </a:lnTo>
                <a:lnTo>
                  <a:pt x="11356" y="3420"/>
                </a:lnTo>
                <a:lnTo>
                  <a:pt x="11356" y="3414"/>
                </a:lnTo>
                <a:close/>
                <a:moveTo>
                  <a:pt x="11550" y="3304"/>
                </a:moveTo>
                <a:lnTo>
                  <a:pt x="11550" y="3304"/>
                </a:lnTo>
                <a:lnTo>
                  <a:pt x="11548" y="3304"/>
                </a:lnTo>
                <a:lnTo>
                  <a:pt x="11544" y="3308"/>
                </a:lnTo>
                <a:lnTo>
                  <a:pt x="11540" y="3316"/>
                </a:lnTo>
                <a:lnTo>
                  <a:pt x="11540" y="3320"/>
                </a:lnTo>
                <a:lnTo>
                  <a:pt x="11542" y="3324"/>
                </a:lnTo>
                <a:lnTo>
                  <a:pt x="11544" y="3324"/>
                </a:lnTo>
                <a:lnTo>
                  <a:pt x="11548" y="3318"/>
                </a:lnTo>
                <a:lnTo>
                  <a:pt x="11550" y="3310"/>
                </a:lnTo>
                <a:lnTo>
                  <a:pt x="11550" y="3304"/>
                </a:lnTo>
                <a:close/>
                <a:moveTo>
                  <a:pt x="11484" y="3218"/>
                </a:moveTo>
                <a:lnTo>
                  <a:pt x="11484" y="3218"/>
                </a:lnTo>
                <a:lnTo>
                  <a:pt x="11486" y="3216"/>
                </a:lnTo>
                <a:lnTo>
                  <a:pt x="11484" y="3212"/>
                </a:lnTo>
                <a:lnTo>
                  <a:pt x="11482" y="3210"/>
                </a:lnTo>
                <a:lnTo>
                  <a:pt x="11480" y="3208"/>
                </a:lnTo>
                <a:lnTo>
                  <a:pt x="11478" y="3210"/>
                </a:lnTo>
                <a:lnTo>
                  <a:pt x="11476" y="3214"/>
                </a:lnTo>
                <a:lnTo>
                  <a:pt x="11478" y="3216"/>
                </a:lnTo>
                <a:lnTo>
                  <a:pt x="11482" y="3218"/>
                </a:lnTo>
                <a:lnTo>
                  <a:pt x="11484" y="3218"/>
                </a:lnTo>
                <a:close/>
                <a:moveTo>
                  <a:pt x="11262" y="3740"/>
                </a:moveTo>
                <a:lnTo>
                  <a:pt x="11262" y="3740"/>
                </a:lnTo>
                <a:lnTo>
                  <a:pt x="11262" y="3736"/>
                </a:lnTo>
                <a:lnTo>
                  <a:pt x="11264" y="3732"/>
                </a:lnTo>
                <a:lnTo>
                  <a:pt x="11276" y="3720"/>
                </a:lnTo>
                <a:lnTo>
                  <a:pt x="11282" y="3712"/>
                </a:lnTo>
                <a:lnTo>
                  <a:pt x="11282" y="3708"/>
                </a:lnTo>
                <a:lnTo>
                  <a:pt x="11278" y="3708"/>
                </a:lnTo>
                <a:lnTo>
                  <a:pt x="11272" y="3712"/>
                </a:lnTo>
                <a:lnTo>
                  <a:pt x="11262" y="3722"/>
                </a:lnTo>
                <a:lnTo>
                  <a:pt x="11258" y="3728"/>
                </a:lnTo>
                <a:lnTo>
                  <a:pt x="11254" y="3738"/>
                </a:lnTo>
                <a:lnTo>
                  <a:pt x="11254" y="3742"/>
                </a:lnTo>
                <a:lnTo>
                  <a:pt x="11256" y="3744"/>
                </a:lnTo>
                <a:lnTo>
                  <a:pt x="11260" y="3744"/>
                </a:lnTo>
                <a:lnTo>
                  <a:pt x="11262" y="3740"/>
                </a:lnTo>
                <a:close/>
                <a:moveTo>
                  <a:pt x="11304" y="3662"/>
                </a:moveTo>
                <a:lnTo>
                  <a:pt x="11304" y="3662"/>
                </a:lnTo>
                <a:lnTo>
                  <a:pt x="11308" y="3664"/>
                </a:lnTo>
                <a:lnTo>
                  <a:pt x="11310" y="3664"/>
                </a:lnTo>
                <a:lnTo>
                  <a:pt x="11310" y="3660"/>
                </a:lnTo>
                <a:lnTo>
                  <a:pt x="11308" y="3654"/>
                </a:lnTo>
                <a:lnTo>
                  <a:pt x="11306" y="3652"/>
                </a:lnTo>
                <a:lnTo>
                  <a:pt x="11304" y="3654"/>
                </a:lnTo>
                <a:lnTo>
                  <a:pt x="11304" y="3658"/>
                </a:lnTo>
                <a:lnTo>
                  <a:pt x="11304" y="3662"/>
                </a:lnTo>
                <a:close/>
                <a:moveTo>
                  <a:pt x="11320" y="3638"/>
                </a:moveTo>
                <a:lnTo>
                  <a:pt x="11320" y="3638"/>
                </a:lnTo>
                <a:lnTo>
                  <a:pt x="11320" y="3640"/>
                </a:lnTo>
                <a:lnTo>
                  <a:pt x="11322" y="3640"/>
                </a:lnTo>
                <a:lnTo>
                  <a:pt x="11330" y="3636"/>
                </a:lnTo>
                <a:lnTo>
                  <a:pt x="11336" y="3628"/>
                </a:lnTo>
                <a:lnTo>
                  <a:pt x="11336" y="3624"/>
                </a:lnTo>
                <a:lnTo>
                  <a:pt x="11336" y="3622"/>
                </a:lnTo>
                <a:lnTo>
                  <a:pt x="11332" y="3622"/>
                </a:lnTo>
                <a:lnTo>
                  <a:pt x="11328" y="3624"/>
                </a:lnTo>
                <a:lnTo>
                  <a:pt x="11322" y="3630"/>
                </a:lnTo>
                <a:lnTo>
                  <a:pt x="11320" y="3632"/>
                </a:lnTo>
                <a:lnTo>
                  <a:pt x="11320" y="3638"/>
                </a:lnTo>
                <a:close/>
                <a:moveTo>
                  <a:pt x="11104" y="3838"/>
                </a:moveTo>
                <a:lnTo>
                  <a:pt x="11104" y="3838"/>
                </a:lnTo>
                <a:lnTo>
                  <a:pt x="11104" y="3834"/>
                </a:lnTo>
                <a:lnTo>
                  <a:pt x="11100" y="3830"/>
                </a:lnTo>
                <a:lnTo>
                  <a:pt x="11098" y="3830"/>
                </a:lnTo>
                <a:lnTo>
                  <a:pt x="11096" y="3832"/>
                </a:lnTo>
                <a:lnTo>
                  <a:pt x="11094" y="3834"/>
                </a:lnTo>
                <a:lnTo>
                  <a:pt x="11096" y="3838"/>
                </a:lnTo>
                <a:lnTo>
                  <a:pt x="11098" y="3840"/>
                </a:lnTo>
                <a:lnTo>
                  <a:pt x="11102" y="3840"/>
                </a:lnTo>
                <a:lnTo>
                  <a:pt x="11104" y="3838"/>
                </a:lnTo>
                <a:close/>
                <a:moveTo>
                  <a:pt x="11122" y="3824"/>
                </a:moveTo>
                <a:lnTo>
                  <a:pt x="11122" y="3824"/>
                </a:lnTo>
                <a:lnTo>
                  <a:pt x="11120" y="3824"/>
                </a:lnTo>
                <a:lnTo>
                  <a:pt x="11116" y="3826"/>
                </a:lnTo>
                <a:lnTo>
                  <a:pt x="11110" y="3830"/>
                </a:lnTo>
                <a:lnTo>
                  <a:pt x="11110" y="3832"/>
                </a:lnTo>
                <a:lnTo>
                  <a:pt x="11112" y="3834"/>
                </a:lnTo>
                <a:lnTo>
                  <a:pt x="11116" y="3836"/>
                </a:lnTo>
                <a:lnTo>
                  <a:pt x="11118" y="3834"/>
                </a:lnTo>
                <a:lnTo>
                  <a:pt x="11122" y="3824"/>
                </a:lnTo>
                <a:close/>
                <a:moveTo>
                  <a:pt x="11164" y="3810"/>
                </a:moveTo>
                <a:lnTo>
                  <a:pt x="11164" y="3810"/>
                </a:lnTo>
                <a:lnTo>
                  <a:pt x="11162" y="3810"/>
                </a:lnTo>
                <a:lnTo>
                  <a:pt x="11158" y="3810"/>
                </a:lnTo>
                <a:lnTo>
                  <a:pt x="11156" y="3814"/>
                </a:lnTo>
                <a:lnTo>
                  <a:pt x="11156" y="3816"/>
                </a:lnTo>
                <a:lnTo>
                  <a:pt x="11160" y="3818"/>
                </a:lnTo>
                <a:lnTo>
                  <a:pt x="11162" y="3816"/>
                </a:lnTo>
                <a:lnTo>
                  <a:pt x="11164" y="3814"/>
                </a:lnTo>
                <a:lnTo>
                  <a:pt x="11164" y="3810"/>
                </a:lnTo>
                <a:close/>
                <a:moveTo>
                  <a:pt x="11654" y="2152"/>
                </a:moveTo>
                <a:lnTo>
                  <a:pt x="11654" y="2152"/>
                </a:lnTo>
                <a:lnTo>
                  <a:pt x="11660" y="2154"/>
                </a:lnTo>
                <a:lnTo>
                  <a:pt x="11664" y="2152"/>
                </a:lnTo>
                <a:lnTo>
                  <a:pt x="11668" y="2148"/>
                </a:lnTo>
                <a:lnTo>
                  <a:pt x="11670" y="2144"/>
                </a:lnTo>
                <a:lnTo>
                  <a:pt x="11672" y="2138"/>
                </a:lnTo>
                <a:lnTo>
                  <a:pt x="11672" y="2134"/>
                </a:lnTo>
                <a:lnTo>
                  <a:pt x="11668" y="2130"/>
                </a:lnTo>
                <a:lnTo>
                  <a:pt x="11664" y="2128"/>
                </a:lnTo>
                <a:lnTo>
                  <a:pt x="11658" y="2128"/>
                </a:lnTo>
                <a:lnTo>
                  <a:pt x="11652" y="2128"/>
                </a:lnTo>
                <a:lnTo>
                  <a:pt x="11650" y="2132"/>
                </a:lnTo>
                <a:lnTo>
                  <a:pt x="11648" y="2134"/>
                </a:lnTo>
                <a:lnTo>
                  <a:pt x="11646" y="2138"/>
                </a:lnTo>
                <a:lnTo>
                  <a:pt x="11648" y="2142"/>
                </a:lnTo>
                <a:lnTo>
                  <a:pt x="11650" y="2146"/>
                </a:lnTo>
                <a:lnTo>
                  <a:pt x="11654" y="2152"/>
                </a:lnTo>
                <a:close/>
                <a:moveTo>
                  <a:pt x="13688" y="1366"/>
                </a:moveTo>
                <a:lnTo>
                  <a:pt x="13688" y="1366"/>
                </a:lnTo>
                <a:lnTo>
                  <a:pt x="13680" y="1356"/>
                </a:lnTo>
                <a:lnTo>
                  <a:pt x="13670" y="1348"/>
                </a:lnTo>
                <a:lnTo>
                  <a:pt x="13660" y="1344"/>
                </a:lnTo>
                <a:lnTo>
                  <a:pt x="13648" y="1340"/>
                </a:lnTo>
                <a:lnTo>
                  <a:pt x="13620" y="1338"/>
                </a:lnTo>
                <a:lnTo>
                  <a:pt x="13588" y="1336"/>
                </a:lnTo>
                <a:lnTo>
                  <a:pt x="13580" y="1336"/>
                </a:lnTo>
                <a:lnTo>
                  <a:pt x="13576" y="1340"/>
                </a:lnTo>
                <a:lnTo>
                  <a:pt x="13574" y="1342"/>
                </a:lnTo>
                <a:lnTo>
                  <a:pt x="13574" y="1348"/>
                </a:lnTo>
                <a:lnTo>
                  <a:pt x="13578" y="1358"/>
                </a:lnTo>
                <a:lnTo>
                  <a:pt x="13584" y="1372"/>
                </a:lnTo>
                <a:lnTo>
                  <a:pt x="13590" y="1382"/>
                </a:lnTo>
                <a:lnTo>
                  <a:pt x="13592" y="1390"/>
                </a:lnTo>
                <a:lnTo>
                  <a:pt x="13592" y="1392"/>
                </a:lnTo>
                <a:lnTo>
                  <a:pt x="13588" y="1392"/>
                </a:lnTo>
                <a:lnTo>
                  <a:pt x="13572" y="1384"/>
                </a:lnTo>
                <a:lnTo>
                  <a:pt x="13564" y="1378"/>
                </a:lnTo>
                <a:lnTo>
                  <a:pt x="13558" y="1372"/>
                </a:lnTo>
                <a:lnTo>
                  <a:pt x="13554" y="1366"/>
                </a:lnTo>
                <a:lnTo>
                  <a:pt x="13552" y="1362"/>
                </a:lnTo>
                <a:lnTo>
                  <a:pt x="13552" y="1350"/>
                </a:lnTo>
                <a:lnTo>
                  <a:pt x="13554" y="1338"/>
                </a:lnTo>
                <a:lnTo>
                  <a:pt x="13554" y="1326"/>
                </a:lnTo>
                <a:lnTo>
                  <a:pt x="13552" y="1320"/>
                </a:lnTo>
                <a:lnTo>
                  <a:pt x="13550" y="1314"/>
                </a:lnTo>
                <a:lnTo>
                  <a:pt x="13544" y="1306"/>
                </a:lnTo>
                <a:lnTo>
                  <a:pt x="13534" y="1300"/>
                </a:lnTo>
                <a:lnTo>
                  <a:pt x="13522" y="1292"/>
                </a:lnTo>
                <a:lnTo>
                  <a:pt x="13506" y="1284"/>
                </a:lnTo>
                <a:lnTo>
                  <a:pt x="13470" y="1266"/>
                </a:lnTo>
                <a:lnTo>
                  <a:pt x="13434" y="1248"/>
                </a:lnTo>
                <a:lnTo>
                  <a:pt x="13366" y="1214"/>
                </a:lnTo>
                <a:lnTo>
                  <a:pt x="13366" y="1208"/>
                </a:lnTo>
                <a:lnTo>
                  <a:pt x="13336" y="1194"/>
                </a:lnTo>
                <a:lnTo>
                  <a:pt x="13306" y="1180"/>
                </a:lnTo>
                <a:lnTo>
                  <a:pt x="13276" y="1170"/>
                </a:lnTo>
                <a:lnTo>
                  <a:pt x="13244" y="1162"/>
                </a:lnTo>
                <a:lnTo>
                  <a:pt x="13200" y="1150"/>
                </a:lnTo>
                <a:lnTo>
                  <a:pt x="13182" y="1146"/>
                </a:lnTo>
                <a:lnTo>
                  <a:pt x="13158" y="1142"/>
                </a:lnTo>
                <a:lnTo>
                  <a:pt x="13098" y="1138"/>
                </a:lnTo>
                <a:lnTo>
                  <a:pt x="13058" y="1134"/>
                </a:lnTo>
                <a:lnTo>
                  <a:pt x="13032" y="1128"/>
                </a:lnTo>
                <a:lnTo>
                  <a:pt x="13014" y="1122"/>
                </a:lnTo>
                <a:lnTo>
                  <a:pt x="13004" y="1118"/>
                </a:lnTo>
                <a:lnTo>
                  <a:pt x="12996" y="1116"/>
                </a:lnTo>
                <a:lnTo>
                  <a:pt x="12992" y="1118"/>
                </a:lnTo>
                <a:lnTo>
                  <a:pt x="12984" y="1126"/>
                </a:lnTo>
                <a:lnTo>
                  <a:pt x="12974" y="1142"/>
                </a:lnTo>
                <a:lnTo>
                  <a:pt x="12968" y="1150"/>
                </a:lnTo>
                <a:lnTo>
                  <a:pt x="12966" y="1158"/>
                </a:lnTo>
                <a:lnTo>
                  <a:pt x="12966" y="1162"/>
                </a:lnTo>
                <a:lnTo>
                  <a:pt x="12968" y="1168"/>
                </a:lnTo>
                <a:lnTo>
                  <a:pt x="12972" y="1170"/>
                </a:lnTo>
                <a:lnTo>
                  <a:pt x="12976" y="1174"/>
                </a:lnTo>
                <a:lnTo>
                  <a:pt x="12988" y="1178"/>
                </a:lnTo>
                <a:lnTo>
                  <a:pt x="12998" y="1182"/>
                </a:lnTo>
                <a:lnTo>
                  <a:pt x="13002" y="1184"/>
                </a:lnTo>
                <a:lnTo>
                  <a:pt x="13004" y="1188"/>
                </a:lnTo>
                <a:lnTo>
                  <a:pt x="13004" y="1192"/>
                </a:lnTo>
                <a:lnTo>
                  <a:pt x="13002" y="1196"/>
                </a:lnTo>
                <a:lnTo>
                  <a:pt x="12998" y="1204"/>
                </a:lnTo>
                <a:lnTo>
                  <a:pt x="12988" y="1212"/>
                </a:lnTo>
                <a:lnTo>
                  <a:pt x="12972" y="1224"/>
                </a:lnTo>
                <a:lnTo>
                  <a:pt x="12966" y="1228"/>
                </a:lnTo>
                <a:lnTo>
                  <a:pt x="12960" y="1228"/>
                </a:lnTo>
                <a:lnTo>
                  <a:pt x="12956" y="1228"/>
                </a:lnTo>
                <a:lnTo>
                  <a:pt x="12952" y="1226"/>
                </a:lnTo>
                <a:lnTo>
                  <a:pt x="12946" y="1220"/>
                </a:lnTo>
                <a:lnTo>
                  <a:pt x="12940" y="1210"/>
                </a:lnTo>
                <a:lnTo>
                  <a:pt x="12934" y="1202"/>
                </a:lnTo>
                <a:lnTo>
                  <a:pt x="12928" y="1198"/>
                </a:lnTo>
                <a:lnTo>
                  <a:pt x="12922" y="1196"/>
                </a:lnTo>
                <a:lnTo>
                  <a:pt x="12916" y="1194"/>
                </a:lnTo>
                <a:lnTo>
                  <a:pt x="12908" y="1194"/>
                </a:lnTo>
                <a:lnTo>
                  <a:pt x="12900" y="1194"/>
                </a:lnTo>
                <a:lnTo>
                  <a:pt x="12894" y="1192"/>
                </a:lnTo>
                <a:lnTo>
                  <a:pt x="12892" y="1190"/>
                </a:lnTo>
                <a:lnTo>
                  <a:pt x="12890" y="1186"/>
                </a:lnTo>
                <a:lnTo>
                  <a:pt x="12888" y="1178"/>
                </a:lnTo>
                <a:lnTo>
                  <a:pt x="12888" y="1170"/>
                </a:lnTo>
                <a:lnTo>
                  <a:pt x="12888" y="1162"/>
                </a:lnTo>
                <a:lnTo>
                  <a:pt x="12886" y="1158"/>
                </a:lnTo>
                <a:lnTo>
                  <a:pt x="12882" y="1156"/>
                </a:lnTo>
                <a:lnTo>
                  <a:pt x="12876" y="1156"/>
                </a:lnTo>
                <a:lnTo>
                  <a:pt x="12870" y="1156"/>
                </a:lnTo>
                <a:lnTo>
                  <a:pt x="12846" y="1164"/>
                </a:lnTo>
                <a:lnTo>
                  <a:pt x="12832" y="1168"/>
                </a:lnTo>
                <a:lnTo>
                  <a:pt x="12820" y="1170"/>
                </a:lnTo>
                <a:lnTo>
                  <a:pt x="12808" y="1170"/>
                </a:lnTo>
                <a:lnTo>
                  <a:pt x="12796" y="1170"/>
                </a:lnTo>
                <a:lnTo>
                  <a:pt x="12778" y="1168"/>
                </a:lnTo>
                <a:lnTo>
                  <a:pt x="12758" y="1162"/>
                </a:lnTo>
                <a:lnTo>
                  <a:pt x="12740" y="1158"/>
                </a:lnTo>
                <a:lnTo>
                  <a:pt x="12716" y="1154"/>
                </a:lnTo>
                <a:lnTo>
                  <a:pt x="12704" y="1152"/>
                </a:lnTo>
                <a:lnTo>
                  <a:pt x="12688" y="1154"/>
                </a:lnTo>
                <a:lnTo>
                  <a:pt x="12672" y="1154"/>
                </a:lnTo>
                <a:lnTo>
                  <a:pt x="12654" y="1158"/>
                </a:lnTo>
                <a:lnTo>
                  <a:pt x="12620" y="1164"/>
                </a:lnTo>
                <a:lnTo>
                  <a:pt x="12594" y="1166"/>
                </a:lnTo>
                <a:lnTo>
                  <a:pt x="12574" y="1164"/>
                </a:lnTo>
                <a:lnTo>
                  <a:pt x="12562" y="1160"/>
                </a:lnTo>
                <a:lnTo>
                  <a:pt x="12558" y="1156"/>
                </a:lnTo>
                <a:lnTo>
                  <a:pt x="12554" y="1152"/>
                </a:lnTo>
                <a:lnTo>
                  <a:pt x="12552" y="1142"/>
                </a:lnTo>
                <a:lnTo>
                  <a:pt x="12552" y="1132"/>
                </a:lnTo>
                <a:lnTo>
                  <a:pt x="12556" y="1122"/>
                </a:lnTo>
                <a:lnTo>
                  <a:pt x="12558" y="1118"/>
                </a:lnTo>
                <a:lnTo>
                  <a:pt x="12558" y="1112"/>
                </a:lnTo>
                <a:lnTo>
                  <a:pt x="12556" y="1104"/>
                </a:lnTo>
                <a:lnTo>
                  <a:pt x="12552" y="1098"/>
                </a:lnTo>
                <a:lnTo>
                  <a:pt x="12544" y="1090"/>
                </a:lnTo>
                <a:lnTo>
                  <a:pt x="12536" y="1084"/>
                </a:lnTo>
                <a:lnTo>
                  <a:pt x="12524" y="1078"/>
                </a:lnTo>
                <a:lnTo>
                  <a:pt x="12512" y="1072"/>
                </a:lnTo>
                <a:lnTo>
                  <a:pt x="12496" y="1066"/>
                </a:lnTo>
                <a:lnTo>
                  <a:pt x="12480" y="1062"/>
                </a:lnTo>
                <a:lnTo>
                  <a:pt x="12460" y="1058"/>
                </a:lnTo>
                <a:lnTo>
                  <a:pt x="12440" y="1056"/>
                </a:lnTo>
                <a:lnTo>
                  <a:pt x="12416" y="1056"/>
                </a:lnTo>
                <a:lnTo>
                  <a:pt x="12392" y="1056"/>
                </a:lnTo>
                <a:lnTo>
                  <a:pt x="12364" y="1058"/>
                </a:lnTo>
                <a:lnTo>
                  <a:pt x="12336" y="1064"/>
                </a:lnTo>
                <a:lnTo>
                  <a:pt x="12308" y="1068"/>
                </a:lnTo>
                <a:lnTo>
                  <a:pt x="12284" y="1068"/>
                </a:lnTo>
                <a:lnTo>
                  <a:pt x="12264" y="1068"/>
                </a:lnTo>
                <a:lnTo>
                  <a:pt x="12246" y="1064"/>
                </a:lnTo>
                <a:lnTo>
                  <a:pt x="12230" y="1060"/>
                </a:lnTo>
                <a:lnTo>
                  <a:pt x="12218" y="1054"/>
                </a:lnTo>
                <a:lnTo>
                  <a:pt x="12206" y="1046"/>
                </a:lnTo>
                <a:lnTo>
                  <a:pt x="12196" y="1038"/>
                </a:lnTo>
                <a:lnTo>
                  <a:pt x="12180" y="1022"/>
                </a:lnTo>
                <a:lnTo>
                  <a:pt x="12168" y="1004"/>
                </a:lnTo>
                <a:lnTo>
                  <a:pt x="12152" y="988"/>
                </a:lnTo>
                <a:lnTo>
                  <a:pt x="12144" y="982"/>
                </a:lnTo>
                <a:lnTo>
                  <a:pt x="12136" y="978"/>
                </a:lnTo>
                <a:lnTo>
                  <a:pt x="12116" y="972"/>
                </a:lnTo>
                <a:lnTo>
                  <a:pt x="12102" y="968"/>
                </a:lnTo>
                <a:lnTo>
                  <a:pt x="12076" y="966"/>
                </a:lnTo>
                <a:lnTo>
                  <a:pt x="12042" y="964"/>
                </a:lnTo>
                <a:lnTo>
                  <a:pt x="12018" y="960"/>
                </a:lnTo>
                <a:lnTo>
                  <a:pt x="11988" y="954"/>
                </a:lnTo>
                <a:lnTo>
                  <a:pt x="11958" y="946"/>
                </a:lnTo>
                <a:lnTo>
                  <a:pt x="11932" y="942"/>
                </a:lnTo>
                <a:lnTo>
                  <a:pt x="11890" y="940"/>
                </a:lnTo>
                <a:lnTo>
                  <a:pt x="11854" y="936"/>
                </a:lnTo>
                <a:lnTo>
                  <a:pt x="11834" y="934"/>
                </a:lnTo>
                <a:lnTo>
                  <a:pt x="11810" y="928"/>
                </a:lnTo>
                <a:lnTo>
                  <a:pt x="11790" y="924"/>
                </a:lnTo>
                <a:lnTo>
                  <a:pt x="11782" y="924"/>
                </a:lnTo>
                <a:lnTo>
                  <a:pt x="11780" y="926"/>
                </a:lnTo>
                <a:lnTo>
                  <a:pt x="11778" y="928"/>
                </a:lnTo>
                <a:lnTo>
                  <a:pt x="11780" y="934"/>
                </a:lnTo>
                <a:lnTo>
                  <a:pt x="11780" y="940"/>
                </a:lnTo>
                <a:lnTo>
                  <a:pt x="11778" y="942"/>
                </a:lnTo>
                <a:lnTo>
                  <a:pt x="11776" y="946"/>
                </a:lnTo>
                <a:lnTo>
                  <a:pt x="11772" y="948"/>
                </a:lnTo>
                <a:lnTo>
                  <a:pt x="11764" y="950"/>
                </a:lnTo>
                <a:lnTo>
                  <a:pt x="11742" y="954"/>
                </a:lnTo>
                <a:lnTo>
                  <a:pt x="11730" y="954"/>
                </a:lnTo>
                <a:lnTo>
                  <a:pt x="11722" y="958"/>
                </a:lnTo>
                <a:lnTo>
                  <a:pt x="11720" y="962"/>
                </a:lnTo>
                <a:lnTo>
                  <a:pt x="11718" y="968"/>
                </a:lnTo>
                <a:lnTo>
                  <a:pt x="11720" y="974"/>
                </a:lnTo>
                <a:lnTo>
                  <a:pt x="11724" y="982"/>
                </a:lnTo>
                <a:lnTo>
                  <a:pt x="11734" y="996"/>
                </a:lnTo>
                <a:lnTo>
                  <a:pt x="11746" y="1010"/>
                </a:lnTo>
                <a:lnTo>
                  <a:pt x="11748" y="1016"/>
                </a:lnTo>
                <a:lnTo>
                  <a:pt x="11750" y="1022"/>
                </a:lnTo>
                <a:lnTo>
                  <a:pt x="11748" y="1024"/>
                </a:lnTo>
                <a:lnTo>
                  <a:pt x="11744" y="1026"/>
                </a:lnTo>
                <a:lnTo>
                  <a:pt x="11736" y="1026"/>
                </a:lnTo>
                <a:lnTo>
                  <a:pt x="11724" y="1024"/>
                </a:lnTo>
                <a:lnTo>
                  <a:pt x="11698" y="1018"/>
                </a:lnTo>
                <a:lnTo>
                  <a:pt x="11680" y="1016"/>
                </a:lnTo>
                <a:lnTo>
                  <a:pt x="11668" y="1018"/>
                </a:lnTo>
                <a:lnTo>
                  <a:pt x="11658" y="1020"/>
                </a:lnTo>
                <a:lnTo>
                  <a:pt x="11650" y="1022"/>
                </a:lnTo>
                <a:lnTo>
                  <a:pt x="11640" y="1024"/>
                </a:lnTo>
                <a:lnTo>
                  <a:pt x="11624" y="1024"/>
                </a:lnTo>
                <a:lnTo>
                  <a:pt x="11604" y="1020"/>
                </a:lnTo>
                <a:lnTo>
                  <a:pt x="11592" y="1018"/>
                </a:lnTo>
                <a:lnTo>
                  <a:pt x="11582" y="1016"/>
                </a:lnTo>
                <a:lnTo>
                  <a:pt x="11574" y="1018"/>
                </a:lnTo>
                <a:lnTo>
                  <a:pt x="11566" y="1020"/>
                </a:lnTo>
                <a:lnTo>
                  <a:pt x="11552" y="1024"/>
                </a:lnTo>
                <a:lnTo>
                  <a:pt x="11538" y="1030"/>
                </a:lnTo>
                <a:lnTo>
                  <a:pt x="11526" y="1036"/>
                </a:lnTo>
                <a:lnTo>
                  <a:pt x="11520" y="1036"/>
                </a:lnTo>
                <a:lnTo>
                  <a:pt x="11512" y="1036"/>
                </a:lnTo>
                <a:lnTo>
                  <a:pt x="11504" y="1034"/>
                </a:lnTo>
                <a:lnTo>
                  <a:pt x="11496" y="1032"/>
                </a:lnTo>
                <a:lnTo>
                  <a:pt x="11486" y="1026"/>
                </a:lnTo>
                <a:lnTo>
                  <a:pt x="11474" y="1018"/>
                </a:lnTo>
                <a:lnTo>
                  <a:pt x="11464" y="1012"/>
                </a:lnTo>
                <a:lnTo>
                  <a:pt x="11454" y="1010"/>
                </a:lnTo>
                <a:lnTo>
                  <a:pt x="11446" y="1010"/>
                </a:lnTo>
                <a:lnTo>
                  <a:pt x="11440" y="1014"/>
                </a:lnTo>
                <a:lnTo>
                  <a:pt x="11434" y="1020"/>
                </a:lnTo>
                <a:lnTo>
                  <a:pt x="11428" y="1028"/>
                </a:lnTo>
                <a:lnTo>
                  <a:pt x="11418" y="1046"/>
                </a:lnTo>
                <a:lnTo>
                  <a:pt x="11408" y="1064"/>
                </a:lnTo>
                <a:lnTo>
                  <a:pt x="11404" y="1070"/>
                </a:lnTo>
                <a:lnTo>
                  <a:pt x="11396" y="1076"/>
                </a:lnTo>
                <a:lnTo>
                  <a:pt x="11390" y="1078"/>
                </a:lnTo>
                <a:lnTo>
                  <a:pt x="11380" y="1078"/>
                </a:lnTo>
                <a:lnTo>
                  <a:pt x="11370" y="1072"/>
                </a:lnTo>
                <a:lnTo>
                  <a:pt x="11358" y="1062"/>
                </a:lnTo>
                <a:lnTo>
                  <a:pt x="11316" y="1022"/>
                </a:lnTo>
                <a:lnTo>
                  <a:pt x="11290" y="994"/>
                </a:lnTo>
                <a:lnTo>
                  <a:pt x="11278" y="984"/>
                </a:lnTo>
                <a:lnTo>
                  <a:pt x="11268" y="976"/>
                </a:lnTo>
                <a:lnTo>
                  <a:pt x="11256" y="968"/>
                </a:lnTo>
                <a:lnTo>
                  <a:pt x="11242" y="962"/>
                </a:lnTo>
                <a:lnTo>
                  <a:pt x="11234" y="960"/>
                </a:lnTo>
                <a:lnTo>
                  <a:pt x="11230" y="960"/>
                </a:lnTo>
                <a:lnTo>
                  <a:pt x="11226" y="962"/>
                </a:lnTo>
                <a:lnTo>
                  <a:pt x="11226" y="964"/>
                </a:lnTo>
                <a:lnTo>
                  <a:pt x="11228" y="972"/>
                </a:lnTo>
                <a:lnTo>
                  <a:pt x="11232" y="982"/>
                </a:lnTo>
                <a:lnTo>
                  <a:pt x="11236" y="992"/>
                </a:lnTo>
                <a:lnTo>
                  <a:pt x="11238" y="996"/>
                </a:lnTo>
                <a:lnTo>
                  <a:pt x="11238" y="998"/>
                </a:lnTo>
                <a:lnTo>
                  <a:pt x="11234" y="996"/>
                </a:lnTo>
                <a:lnTo>
                  <a:pt x="11224" y="988"/>
                </a:lnTo>
                <a:lnTo>
                  <a:pt x="11206" y="976"/>
                </a:lnTo>
                <a:lnTo>
                  <a:pt x="11184" y="964"/>
                </a:lnTo>
                <a:lnTo>
                  <a:pt x="11158" y="954"/>
                </a:lnTo>
                <a:lnTo>
                  <a:pt x="11130" y="944"/>
                </a:lnTo>
                <a:lnTo>
                  <a:pt x="11096" y="934"/>
                </a:lnTo>
                <a:lnTo>
                  <a:pt x="11058" y="926"/>
                </a:lnTo>
                <a:lnTo>
                  <a:pt x="11018" y="920"/>
                </a:lnTo>
                <a:lnTo>
                  <a:pt x="10970" y="916"/>
                </a:lnTo>
                <a:lnTo>
                  <a:pt x="10918" y="910"/>
                </a:lnTo>
                <a:lnTo>
                  <a:pt x="10900" y="908"/>
                </a:lnTo>
                <a:lnTo>
                  <a:pt x="10890" y="904"/>
                </a:lnTo>
                <a:lnTo>
                  <a:pt x="10882" y="900"/>
                </a:lnTo>
                <a:lnTo>
                  <a:pt x="10880" y="898"/>
                </a:lnTo>
                <a:lnTo>
                  <a:pt x="10880" y="894"/>
                </a:lnTo>
                <a:lnTo>
                  <a:pt x="10882" y="890"/>
                </a:lnTo>
                <a:lnTo>
                  <a:pt x="10890" y="884"/>
                </a:lnTo>
                <a:lnTo>
                  <a:pt x="10896" y="878"/>
                </a:lnTo>
                <a:lnTo>
                  <a:pt x="10898" y="874"/>
                </a:lnTo>
                <a:lnTo>
                  <a:pt x="10896" y="872"/>
                </a:lnTo>
                <a:lnTo>
                  <a:pt x="10890" y="870"/>
                </a:lnTo>
                <a:lnTo>
                  <a:pt x="10880" y="870"/>
                </a:lnTo>
                <a:lnTo>
                  <a:pt x="10834" y="866"/>
                </a:lnTo>
                <a:lnTo>
                  <a:pt x="10792" y="864"/>
                </a:lnTo>
                <a:lnTo>
                  <a:pt x="10752" y="864"/>
                </a:lnTo>
                <a:lnTo>
                  <a:pt x="10732" y="866"/>
                </a:lnTo>
                <a:lnTo>
                  <a:pt x="10710" y="868"/>
                </a:lnTo>
                <a:lnTo>
                  <a:pt x="10702" y="870"/>
                </a:lnTo>
                <a:lnTo>
                  <a:pt x="10694" y="870"/>
                </a:lnTo>
                <a:lnTo>
                  <a:pt x="10688" y="870"/>
                </a:lnTo>
                <a:lnTo>
                  <a:pt x="10684" y="866"/>
                </a:lnTo>
                <a:lnTo>
                  <a:pt x="10678" y="860"/>
                </a:lnTo>
                <a:lnTo>
                  <a:pt x="10674" y="854"/>
                </a:lnTo>
                <a:lnTo>
                  <a:pt x="10672" y="848"/>
                </a:lnTo>
                <a:lnTo>
                  <a:pt x="10668" y="842"/>
                </a:lnTo>
                <a:lnTo>
                  <a:pt x="10666" y="842"/>
                </a:lnTo>
                <a:lnTo>
                  <a:pt x="10662" y="842"/>
                </a:lnTo>
                <a:lnTo>
                  <a:pt x="10650" y="848"/>
                </a:lnTo>
                <a:lnTo>
                  <a:pt x="10636" y="852"/>
                </a:lnTo>
                <a:lnTo>
                  <a:pt x="10626" y="854"/>
                </a:lnTo>
                <a:lnTo>
                  <a:pt x="10618" y="852"/>
                </a:lnTo>
                <a:lnTo>
                  <a:pt x="10610" y="848"/>
                </a:lnTo>
                <a:lnTo>
                  <a:pt x="10602" y="842"/>
                </a:lnTo>
                <a:lnTo>
                  <a:pt x="10594" y="838"/>
                </a:lnTo>
                <a:lnTo>
                  <a:pt x="10580" y="838"/>
                </a:lnTo>
                <a:lnTo>
                  <a:pt x="10564" y="840"/>
                </a:lnTo>
                <a:lnTo>
                  <a:pt x="10548" y="844"/>
                </a:lnTo>
                <a:lnTo>
                  <a:pt x="10542" y="850"/>
                </a:lnTo>
                <a:lnTo>
                  <a:pt x="10538" y="856"/>
                </a:lnTo>
                <a:lnTo>
                  <a:pt x="10536" y="864"/>
                </a:lnTo>
                <a:lnTo>
                  <a:pt x="10532" y="872"/>
                </a:lnTo>
                <a:lnTo>
                  <a:pt x="10522" y="878"/>
                </a:lnTo>
                <a:lnTo>
                  <a:pt x="10504" y="886"/>
                </a:lnTo>
                <a:lnTo>
                  <a:pt x="10474" y="892"/>
                </a:lnTo>
                <a:lnTo>
                  <a:pt x="10442" y="896"/>
                </a:lnTo>
                <a:lnTo>
                  <a:pt x="10418" y="896"/>
                </a:lnTo>
                <a:lnTo>
                  <a:pt x="10404" y="896"/>
                </a:lnTo>
                <a:lnTo>
                  <a:pt x="10402" y="894"/>
                </a:lnTo>
                <a:lnTo>
                  <a:pt x="10400" y="892"/>
                </a:lnTo>
                <a:lnTo>
                  <a:pt x="10400" y="888"/>
                </a:lnTo>
                <a:lnTo>
                  <a:pt x="10404" y="886"/>
                </a:lnTo>
                <a:lnTo>
                  <a:pt x="10416" y="876"/>
                </a:lnTo>
                <a:lnTo>
                  <a:pt x="10438" y="866"/>
                </a:lnTo>
                <a:lnTo>
                  <a:pt x="10468" y="852"/>
                </a:lnTo>
                <a:lnTo>
                  <a:pt x="10498" y="838"/>
                </a:lnTo>
                <a:lnTo>
                  <a:pt x="10520" y="828"/>
                </a:lnTo>
                <a:lnTo>
                  <a:pt x="10548" y="808"/>
                </a:lnTo>
                <a:lnTo>
                  <a:pt x="10562" y="800"/>
                </a:lnTo>
                <a:lnTo>
                  <a:pt x="10576" y="792"/>
                </a:lnTo>
                <a:lnTo>
                  <a:pt x="10596" y="784"/>
                </a:lnTo>
                <a:lnTo>
                  <a:pt x="10622" y="776"/>
                </a:lnTo>
                <a:lnTo>
                  <a:pt x="10650" y="766"/>
                </a:lnTo>
                <a:lnTo>
                  <a:pt x="10670" y="754"/>
                </a:lnTo>
                <a:lnTo>
                  <a:pt x="10678" y="748"/>
                </a:lnTo>
                <a:lnTo>
                  <a:pt x="10684" y="740"/>
                </a:lnTo>
                <a:lnTo>
                  <a:pt x="10692" y="728"/>
                </a:lnTo>
                <a:lnTo>
                  <a:pt x="10694" y="714"/>
                </a:lnTo>
                <a:lnTo>
                  <a:pt x="10694" y="700"/>
                </a:lnTo>
                <a:lnTo>
                  <a:pt x="10692" y="688"/>
                </a:lnTo>
                <a:lnTo>
                  <a:pt x="10686" y="678"/>
                </a:lnTo>
                <a:lnTo>
                  <a:pt x="10680" y="670"/>
                </a:lnTo>
                <a:lnTo>
                  <a:pt x="10672" y="664"/>
                </a:lnTo>
                <a:lnTo>
                  <a:pt x="10664" y="660"/>
                </a:lnTo>
                <a:lnTo>
                  <a:pt x="10656" y="658"/>
                </a:lnTo>
                <a:lnTo>
                  <a:pt x="10636" y="652"/>
                </a:lnTo>
                <a:lnTo>
                  <a:pt x="10626" y="646"/>
                </a:lnTo>
                <a:lnTo>
                  <a:pt x="10614" y="638"/>
                </a:lnTo>
                <a:lnTo>
                  <a:pt x="10600" y="630"/>
                </a:lnTo>
                <a:lnTo>
                  <a:pt x="10588" y="624"/>
                </a:lnTo>
                <a:lnTo>
                  <a:pt x="10574" y="624"/>
                </a:lnTo>
                <a:lnTo>
                  <a:pt x="10562" y="624"/>
                </a:lnTo>
                <a:lnTo>
                  <a:pt x="10532" y="626"/>
                </a:lnTo>
                <a:lnTo>
                  <a:pt x="10518" y="626"/>
                </a:lnTo>
                <a:lnTo>
                  <a:pt x="10500" y="624"/>
                </a:lnTo>
                <a:lnTo>
                  <a:pt x="10486" y="622"/>
                </a:lnTo>
                <a:lnTo>
                  <a:pt x="10478" y="622"/>
                </a:lnTo>
                <a:lnTo>
                  <a:pt x="10472" y="624"/>
                </a:lnTo>
                <a:lnTo>
                  <a:pt x="10466" y="628"/>
                </a:lnTo>
                <a:lnTo>
                  <a:pt x="10462" y="632"/>
                </a:lnTo>
                <a:lnTo>
                  <a:pt x="10454" y="636"/>
                </a:lnTo>
                <a:lnTo>
                  <a:pt x="10442" y="640"/>
                </a:lnTo>
                <a:lnTo>
                  <a:pt x="10426" y="642"/>
                </a:lnTo>
                <a:lnTo>
                  <a:pt x="10404" y="644"/>
                </a:lnTo>
                <a:lnTo>
                  <a:pt x="10400" y="644"/>
                </a:lnTo>
                <a:lnTo>
                  <a:pt x="10400" y="642"/>
                </a:lnTo>
                <a:lnTo>
                  <a:pt x="10406" y="636"/>
                </a:lnTo>
                <a:lnTo>
                  <a:pt x="10416" y="628"/>
                </a:lnTo>
                <a:lnTo>
                  <a:pt x="10426" y="620"/>
                </a:lnTo>
                <a:lnTo>
                  <a:pt x="10430" y="616"/>
                </a:lnTo>
                <a:lnTo>
                  <a:pt x="10430" y="612"/>
                </a:lnTo>
                <a:lnTo>
                  <a:pt x="10428" y="608"/>
                </a:lnTo>
                <a:lnTo>
                  <a:pt x="10422" y="606"/>
                </a:lnTo>
                <a:lnTo>
                  <a:pt x="10412" y="604"/>
                </a:lnTo>
                <a:lnTo>
                  <a:pt x="10396" y="602"/>
                </a:lnTo>
                <a:lnTo>
                  <a:pt x="10366" y="600"/>
                </a:lnTo>
                <a:lnTo>
                  <a:pt x="10348" y="598"/>
                </a:lnTo>
                <a:lnTo>
                  <a:pt x="10336" y="594"/>
                </a:lnTo>
                <a:lnTo>
                  <a:pt x="10334" y="592"/>
                </a:lnTo>
                <a:lnTo>
                  <a:pt x="10338" y="588"/>
                </a:lnTo>
                <a:lnTo>
                  <a:pt x="10346" y="584"/>
                </a:lnTo>
                <a:lnTo>
                  <a:pt x="10374" y="578"/>
                </a:lnTo>
                <a:lnTo>
                  <a:pt x="10380" y="576"/>
                </a:lnTo>
                <a:lnTo>
                  <a:pt x="10384" y="572"/>
                </a:lnTo>
                <a:lnTo>
                  <a:pt x="10384" y="570"/>
                </a:lnTo>
                <a:lnTo>
                  <a:pt x="10384" y="566"/>
                </a:lnTo>
                <a:lnTo>
                  <a:pt x="10380" y="562"/>
                </a:lnTo>
                <a:lnTo>
                  <a:pt x="10374" y="558"/>
                </a:lnTo>
                <a:lnTo>
                  <a:pt x="10358" y="552"/>
                </a:lnTo>
                <a:lnTo>
                  <a:pt x="10336" y="548"/>
                </a:lnTo>
                <a:lnTo>
                  <a:pt x="10310" y="546"/>
                </a:lnTo>
                <a:lnTo>
                  <a:pt x="10296" y="548"/>
                </a:lnTo>
                <a:lnTo>
                  <a:pt x="10280" y="550"/>
                </a:lnTo>
                <a:lnTo>
                  <a:pt x="10266" y="554"/>
                </a:lnTo>
                <a:lnTo>
                  <a:pt x="10250" y="560"/>
                </a:lnTo>
                <a:lnTo>
                  <a:pt x="10230" y="570"/>
                </a:lnTo>
                <a:lnTo>
                  <a:pt x="10214" y="578"/>
                </a:lnTo>
                <a:lnTo>
                  <a:pt x="10202" y="586"/>
                </a:lnTo>
                <a:lnTo>
                  <a:pt x="10192" y="594"/>
                </a:lnTo>
                <a:lnTo>
                  <a:pt x="10184" y="602"/>
                </a:lnTo>
                <a:lnTo>
                  <a:pt x="10180" y="608"/>
                </a:lnTo>
                <a:lnTo>
                  <a:pt x="10174" y="618"/>
                </a:lnTo>
                <a:lnTo>
                  <a:pt x="10172" y="626"/>
                </a:lnTo>
                <a:lnTo>
                  <a:pt x="10168" y="634"/>
                </a:lnTo>
                <a:lnTo>
                  <a:pt x="10166" y="636"/>
                </a:lnTo>
                <a:lnTo>
                  <a:pt x="10160" y="638"/>
                </a:lnTo>
                <a:lnTo>
                  <a:pt x="10144" y="640"/>
                </a:lnTo>
                <a:lnTo>
                  <a:pt x="10112" y="640"/>
                </a:lnTo>
                <a:lnTo>
                  <a:pt x="10098" y="642"/>
                </a:lnTo>
                <a:lnTo>
                  <a:pt x="10094" y="644"/>
                </a:lnTo>
                <a:lnTo>
                  <a:pt x="10094" y="646"/>
                </a:lnTo>
                <a:lnTo>
                  <a:pt x="10096" y="648"/>
                </a:lnTo>
                <a:lnTo>
                  <a:pt x="10098" y="652"/>
                </a:lnTo>
                <a:lnTo>
                  <a:pt x="10098" y="654"/>
                </a:lnTo>
                <a:lnTo>
                  <a:pt x="10094" y="658"/>
                </a:lnTo>
                <a:lnTo>
                  <a:pt x="10080" y="664"/>
                </a:lnTo>
                <a:lnTo>
                  <a:pt x="10050" y="670"/>
                </a:lnTo>
                <a:lnTo>
                  <a:pt x="10020" y="676"/>
                </a:lnTo>
                <a:lnTo>
                  <a:pt x="10006" y="676"/>
                </a:lnTo>
                <a:lnTo>
                  <a:pt x="10002" y="676"/>
                </a:lnTo>
                <a:lnTo>
                  <a:pt x="10000" y="674"/>
                </a:lnTo>
                <a:lnTo>
                  <a:pt x="10000" y="670"/>
                </a:lnTo>
                <a:lnTo>
                  <a:pt x="10000" y="666"/>
                </a:lnTo>
                <a:lnTo>
                  <a:pt x="9998" y="664"/>
                </a:lnTo>
                <a:lnTo>
                  <a:pt x="9994" y="662"/>
                </a:lnTo>
                <a:lnTo>
                  <a:pt x="9988" y="660"/>
                </a:lnTo>
                <a:lnTo>
                  <a:pt x="9964" y="660"/>
                </a:lnTo>
                <a:lnTo>
                  <a:pt x="9922" y="664"/>
                </a:lnTo>
                <a:lnTo>
                  <a:pt x="9882" y="670"/>
                </a:lnTo>
                <a:lnTo>
                  <a:pt x="9870" y="674"/>
                </a:lnTo>
                <a:lnTo>
                  <a:pt x="9862" y="678"/>
                </a:lnTo>
                <a:lnTo>
                  <a:pt x="9858" y="680"/>
                </a:lnTo>
                <a:lnTo>
                  <a:pt x="9856" y="684"/>
                </a:lnTo>
                <a:lnTo>
                  <a:pt x="9858" y="690"/>
                </a:lnTo>
                <a:lnTo>
                  <a:pt x="9860" y="692"/>
                </a:lnTo>
                <a:lnTo>
                  <a:pt x="9858" y="696"/>
                </a:lnTo>
                <a:lnTo>
                  <a:pt x="9856" y="698"/>
                </a:lnTo>
                <a:lnTo>
                  <a:pt x="9852" y="700"/>
                </a:lnTo>
                <a:lnTo>
                  <a:pt x="9844" y="704"/>
                </a:lnTo>
                <a:lnTo>
                  <a:pt x="9830" y="706"/>
                </a:lnTo>
                <a:lnTo>
                  <a:pt x="9786" y="710"/>
                </a:lnTo>
                <a:lnTo>
                  <a:pt x="9738" y="716"/>
                </a:lnTo>
                <a:lnTo>
                  <a:pt x="9708" y="720"/>
                </a:lnTo>
                <a:lnTo>
                  <a:pt x="9688" y="726"/>
                </a:lnTo>
                <a:lnTo>
                  <a:pt x="9678" y="732"/>
                </a:lnTo>
                <a:lnTo>
                  <a:pt x="9672" y="738"/>
                </a:lnTo>
                <a:lnTo>
                  <a:pt x="9664" y="742"/>
                </a:lnTo>
                <a:lnTo>
                  <a:pt x="9652" y="746"/>
                </a:lnTo>
                <a:lnTo>
                  <a:pt x="9630" y="748"/>
                </a:lnTo>
                <a:lnTo>
                  <a:pt x="9618" y="750"/>
                </a:lnTo>
                <a:lnTo>
                  <a:pt x="9606" y="752"/>
                </a:lnTo>
                <a:lnTo>
                  <a:pt x="9596" y="756"/>
                </a:lnTo>
                <a:lnTo>
                  <a:pt x="9588" y="760"/>
                </a:lnTo>
                <a:lnTo>
                  <a:pt x="9580" y="766"/>
                </a:lnTo>
                <a:lnTo>
                  <a:pt x="9574" y="772"/>
                </a:lnTo>
                <a:lnTo>
                  <a:pt x="9570" y="778"/>
                </a:lnTo>
                <a:lnTo>
                  <a:pt x="9568" y="784"/>
                </a:lnTo>
                <a:lnTo>
                  <a:pt x="9566" y="790"/>
                </a:lnTo>
                <a:lnTo>
                  <a:pt x="9566" y="796"/>
                </a:lnTo>
                <a:lnTo>
                  <a:pt x="9568" y="802"/>
                </a:lnTo>
                <a:lnTo>
                  <a:pt x="9570" y="806"/>
                </a:lnTo>
                <a:lnTo>
                  <a:pt x="9574" y="810"/>
                </a:lnTo>
                <a:lnTo>
                  <a:pt x="9580" y="814"/>
                </a:lnTo>
                <a:lnTo>
                  <a:pt x="9586" y="818"/>
                </a:lnTo>
                <a:lnTo>
                  <a:pt x="9592" y="818"/>
                </a:lnTo>
                <a:lnTo>
                  <a:pt x="9604" y="820"/>
                </a:lnTo>
                <a:lnTo>
                  <a:pt x="9612" y="824"/>
                </a:lnTo>
                <a:lnTo>
                  <a:pt x="9614" y="828"/>
                </a:lnTo>
                <a:lnTo>
                  <a:pt x="9612" y="832"/>
                </a:lnTo>
                <a:lnTo>
                  <a:pt x="9604" y="838"/>
                </a:lnTo>
                <a:lnTo>
                  <a:pt x="9594" y="842"/>
                </a:lnTo>
                <a:lnTo>
                  <a:pt x="9578" y="848"/>
                </a:lnTo>
                <a:lnTo>
                  <a:pt x="9560" y="852"/>
                </a:lnTo>
                <a:lnTo>
                  <a:pt x="9526" y="858"/>
                </a:lnTo>
                <a:lnTo>
                  <a:pt x="9494" y="860"/>
                </a:lnTo>
                <a:lnTo>
                  <a:pt x="9430" y="862"/>
                </a:lnTo>
                <a:lnTo>
                  <a:pt x="9402" y="862"/>
                </a:lnTo>
                <a:lnTo>
                  <a:pt x="9378" y="866"/>
                </a:lnTo>
                <a:lnTo>
                  <a:pt x="9368" y="868"/>
                </a:lnTo>
                <a:lnTo>
                  <a:pt x="9358" y="870"/>
                </a:lnTo>
                <a:lnTo>
                  <a:pt x="9352" y="876"/>
                </a:lnTo>
                <a:lnTo>
                  <a:pt x="9346" y="882"/>
                </a:lnTo>
                <a:lnTo>
                  <a:pt x="9340" y="892"/>
                </a:lnTo>
                <a:lnTo>
                  <a:pt x="9338" y="894"/>
                </a:lnTo>
                <a:lnTo>
                  <a:pt x="9340" y="898"/>
                </a:lnTo>
                <a:lnTo>
                  <a:pt x="9344" y="900"/>
                </a:lnTo>
                <a:lnTo>
                  <a:pt x="9352" y="902"/>
                </a:lnTo>
                <a:lnTo>
                  <a:pt x="9358" y="906"/>
                </a:lnTo>
                <a:lnTo>
                  <a:pt x="9364" y="910"/>
                </a:lnTo>
                <a:lnTo>
                  <a:pt x="9366" y="914"/>
                </a:lnTo>
                <a:lnTo>
                  <a:pt x="9366" y="918"/>
                </a:lnTo>
                <a:lnTo>
                  <a:pt x="9364" y="924"/>
                </a:lnTo>
                <a:lnTo>
                  <a:pt x="9360" y="930"/>
                </a:lnTo>
                <a:lnTo>
                  <a:pt x="9356" y="938"/>
                </a:lnTo>
                <a:lnTo>
                  <a:pt x="9356" y="944"/>
                </a:lnTo>
                <a:lnTo>
                  <a:pt x="9356" y="948"/>
                </a:lnTo>
                <a:lnTo>
                  <a:pt x="9360" y="952"/>
                </a:lnTo>
                <a:lnTo>
                  <a:pt x="9368" y="956"/>
                </a:lnTo>
                <a:lnTo>
                  <a:pt x="9382" y="958"/>
                </a:lnTo>
                <a:lnTo>
                  <a:pt x="9394" y="960"/>
                </a:lnTo>
                <a:lnTo>
                  <a:pt x="9408" y="962"/>
                </a:lnTo>
                <a:lnTo>
                  <a:pt x="9412" y="966"/>
                </a:lnTo>
                <a:lnTo>
                  <a:pt x="9418" y="968"/>
                </a:lnTo>
                <a:lnTo>
                  <a:pt x="9420" y="974"/>
                </a:lnTo>
                <a:lnTo>
                  <a:pt x="9422" y="978"/>
                </a:lnTo>
                <a:lnTo>
                  <a:pt x="9422" y="984"/>
                </a:lnTo>
                <a:lnTo>
                  <a:pt x="9426" y="988"/>
                </a:lnTo>
                <a:lnTo>
                  <a:pt x="9428" y="992"/>
                </a:lnTo>
                <a:lnTo>
                  <a:pt x="9434" y="994"/>
                </a:lnTo>
                <a:lnTo>
                  <a:pt x="9446" y="996"/>
                </a:lnTo>
                <a:lnTo>
                  <a:pt x="9458" y="996"/>
                </a:lnTo>
                <a:lnTo>
                  <a:pt x="9468" y="998"/>
                </a:lnTo>
                <a:lnTo>
                  <a:pt x="9472" y="1000"/>
                </a:lnTo>
                <a:lnTo>
                  <a:pt x="9474" y="1002"/>
                </a:lnTo>
                <a:lnTo>
                  <a:pt x="9476" y="1006"/>
                </a:lnTo>
                <a:lnTo>
                  <a:pt x="9476" y="1012"/>
                </a:lnTo>
                <a:lnTo>
                  <a:pt x="9474" y="1018"/>
                </a:lnTo>
                <a:lnTo>
                  <a:pt x="9470" y="1028"/>
                </a:lnTo>
                <a:lnTo>
                  <a:pt x="9466" y="1036"/>
                </a:lnTo>
                <a:lnTo>
                  <a:pt x="9466" y="1044"/>
                </a:lnTo>
                <a:lnTo>
                  <a:pt x="9464" y="1050"/>
                </a:lnTo>
                <a:lnTo>
                  <a:pt x="9466" y="1056"/>
                </a:lnTo>
                <a:lnTo>
                  <a:pt x="9470" y="1066"/>
                </a:lnTo>
                <a:lnTo>
                  <a:pt x="9478" y="1074"/>
                </a:lnTo>
                <a:lnTo>
                  <a:pt x="9484" y="1082"/>
                </a:lnTo>
                <a:lnTo>
                  <a:pt x="9486" y="1086"/>
                </a:lnTo>
                <a:lnTo>
                  <a:pt x="9486" y="1090"/>
                </a:lnTo>
                <a:lnTo>
                  <a:pt x="9486" y="1094"/>
                </a:lnTo>
                <a:lnTo>
                  <a:pt x="9484" y="1100"/>
                </a:lnTo>
                <a:lnTo>
                  <a:pt x="9480" y="1106"/>
                </a:lnTo>
                <a:lnTo>
                  <a:pt x="9472" y="1112"/>
                </a:lnTo>
                <a:lnTo>
                  <a:pt x="9458" y="1122"/>
                </a:lnTo>
                <a:lnTo>
                  <a:pt x="9456" y="1122"/>
                </a:lnTo>
                <a:lnTo>
                  <a:pt x="9454" y="1120"/>
                </a:lnTo>
                <a:lnTo>
                  <a:pt x="9454" y="1112"/>
                </a:lnTo>
                <a:lnTo>
                  <a:pt x="9458" y="1098"/>
                </a:lnTo>
                <a:lnTo>
                  <a:pt x="9460" y="1084"/>
                </a:lnTo>
                <a:lnTo>
                  <a:pt x="9460" y="1076"/>
                </a:lnTo>
                <a:lnTo>
                  <a:pt x="9460" y="1070"/>
                </a:lnTo>
                <a:lnTo>
                  <a:pt x="9458" y="1066"/>
                </a:lnTo>
                <a:lnTo>
                  <a:pt x="9454" y="1064"/>
                </a:lnTo>
                <a:lnTo>
                  <a:pt x="9448" y="1062"/>
                </a:lnTo>
                <a:lnTo>
                  <a:pt x="9440" y="1064"/>
                </a:lnTo>
                <a:lnTo>
                  <a:pt x="9432" y="1066"/>
                </a:lnTo>
                <a:lnTo>
                  <a:pt x="9426" y="1068"/>
                </a:lnTo>
                <a:lnTo>
                  <a:pt x="9424" y="1066"/>
                </a:lnTo>
                <a:lnTo>
                  <a:pt x="9424" y="1064"/>
                </a:lnTo>
                <a:lnTo>
                  <a:pt x="9430" y="1054"/>
                </a:lnTo>
                <a:lnTo>
                  <a:pt x="9440" y="1042"/>
                </a:lnTo>
                <a:lnTo>
                  <a:pt x="9448" y="1030"/>
                </a:lnTo>
                <a:lnTo>
                  <a:pt x="9450" y="1024"/>
                </a:lnTo>
                <a:lnTo>
                  <a:pt x="9452" y="1020"/>
                </a:lnTo>
                <a:lnTo>
                  <a:pt x="9450" y="1016"/>
                </a:lnTo>
                <a:lnTo>
                  <a:pt x="9446" y="1012"/>
                </a:lnTo>
                <a:lnTo>
                  <a:pt x="9440" y="1010"/>
                </a:lnTo>
                <a:lnTo>
                  <a:pt x="9428" y="1010"/>
                </a:lnTo>
                <a:lnTo>
                  <a:pt x="9408" y="1008"/>
                </a:lnTo>
                <a:lnTo>
                  <a:pt x="9392" y="1004"/>
                </a:lnTo>
                <a:lnTo>
                  <a:pt x="9380" y="998"/>
                </a:lnTo>
                <a:lnTo>
                  <a:pt x="9372" y="990"/>
                </a:lnTo>
                <a:lnTo>
                  <a:pt x="9362" y="982"/>
                </a:lnTo>
                <a:lnTo>
                  <a:pt x="9348" y="974"/>
                </a:lnTo>
                <a:lnTo>
                  <a:pt x="9330" y="966"/>
                </a:lnTo>
                <a:lnTo>
                  <a:pt x="9304" y="962"/>
                </a:lnTo>
                <a:lnTo>
                  <a:pt x="9288" y="960"/>
                </a:lnTo>
                <a:lnTo>
                  <a:pt x="9274" y="958"/>
                </a:lnTo>
                <a:lnTo>
                  <a:pt x="9262" y="960"/>
                </a:lnTo>
                <a:lnTo>
                  <a:pt x="9254" y="962"/>
                </a:lnTo>
                <a:lnTo>
                  <a:pt x="9246" y="964"/>
                </a:lnTo>
                <a:lnTo>
                  <a:pt x="9240" y="968"/>
                </a:lnTo>
                <a:lnTo>
                  <a:pt x="9234" y="974"/>
                </a:lnTo>
                <a:lnTo>
                  <a:pt x="9230" y="982"/>
                </a:lnTo>
                <a:lnTo>
                  <a:pt x="9228" y="988"/>
                </a:lnTo>
                <a:lnTo>
                  <a:pt x="9226" y="992"/>
                </a:lnTo>
                <a:lnTo>
                  <a:pt x="9222" y="992"/>
                </a:lnTo>
                <a:lnTo>
                  <a:pt x="9218" y="992"/>
                </a:lnTo>
                <a:lnTo>
                  <a:pt x="9204" y="988"/>
                </a:lnTo>
                <a:lnTo>
                  <a:pt x="9190" y="988"/>
                </a:lnTo>
                <a:lnTo>
                  <a:pt x="9180" y="990"/>
                </a:lnTo>
                <a:lnTo>
                  <a:pt x="9172" y="996"/>
                </a:lnTo>
                <a:lnTo>
                  <a:pt x="9170" y="1000"/>
                </a:lnTo>
                <a:lnTo>
                  <a:pt x="9170" y="1004"/>
                </a:lnTo>
                <a:lnTo>
                  <a:pt x="9170" y="1006"/>
                </a:lnTo>
                <a:lnTo>
                  <a:pt x="9172" y="1012"/>
                </a:lnTo>
                <a:lnTo>
                  <a:pt x="9178" y="1016"/>
                </a:lnTo>
                <a:lnTo>
                  <a:pt x="9184" y="1020"/>
                </a:lnTo>
                <a:lnTo>
                  <a:pt x="9202" y="1028"/>
                </a:lnTo>
                <a:lnTo>
                  <a:pt x="9220" y="1034"/>
                </a:lnTo>
                <a:lnTo>
                  <a:pt x="9230" y="1040"/>
                </a:lnTo>
                <a:lnTo>
                  <a:pt x="9232" y="1042"/>
                </a:lnTo>
                <a:lnTo>
                  <a:pt x="9234" y="1044"/>
                </a:lnTo>
                <a:lnTo>
                  <a:pt x="9230" y="1046"/>
                </a:lnTo>
                <a:lnTo>
                  <a:pt x="9220" y="1048"/>
                </a:lnTo>
                <a:lnTo>
                  <a:pt x="9206" y="1048"/>
                </a:lnTo>
                <a:lnTo>
                  <a:pt x="9168" y="1044"/>
                </a:lnTo>
                <a:lnTo>
                  <a:pt x="9160" y="1042"/>
                </a:lnTo>
                <a:lnTo>
                  <a:pt x="9152" y="1040"/>
                </a:lnTo>
                <a:lnTo>
                  <a:pt x="9148" y="1036"/>
                </a:lnTo>
                <a:lnTo>
                  <a:pt x="9146" y="1030"/>
                </a:lnTo>
                <a:lnTo>
                  <a:pt x="9144" y="1024"/>
                </a:lnTo>
                <a:lnTo>
                  <a:pt x="9144" y="1018"/>
                </a:lnTo>
                <a:lnTo>
                  <a:pt x="9148" y="1004"/>
                </a:lnTo>
                <a:lnTo>
                  <a:pt x="9152" y="988"/>
                </a:lnTo>
                <a:lnTo>
                  <a:pt x="9156" y="972"/>
                </a:lnTo>
                <a:lnTo>
                  <a:pt x="9158" y="956"/>
                </a:lnTo>
                <a:lnTo>
                  <a:pt x="9156" y="950"/>
                </a:lnTo>
                <a:lnTo>
                  <a:pt x="9154" y="944"/>
                </a:lnTo>
                <a:lnTo>
                  <a:pt x="9146" y="934"/>
                </a:lnTo>
                <a:lnTo>
                  <a:pt x="9140" y="926"/>
                </a:lnTo>
                <a:lnTo>
                  <a:pt x="9132" y="922"/>
                </a:lnTo>
                <a:lnTo>
                  <a:pt x="9128" y="920"/>
                </a:lnTo>
                <a:lnTo>
                  <a:pt x="9124" y="922"/>
                </a:lnTo>
                <a:lnTo>
                  <a:pt x="9122" y="928"/>
                </a:lnTo>
                <a:lnTo>
                  <a:pt x="9122" y="938"/>
                </a:lnTo>
                <a:lnTo>
                  <a:pt x="9126" y="952"/>
                </a:lnTo>
                <a:lnTo>
                  <a:pt x="9128" y="962"/>
                </a:lnTo>
                <a:lnTo>
                  <a:pt x="9128" y="970"/>
                </a:lnTo>
                <a:lnTo>
                  <a:pt x="9124" y="978"/>
                </a:lnTo>
                <a:lnTo>
                  <a:pt x="9118" y="984"/>
                </a:lnTo>
                <a:lnTo>
                  <a:pt x="9112" y="988"/>
                </a:lnTo>
                <a:lnTo>
                  <a:pt x="9104" y="992"/>
                </a:lnTo>
                <a:lnTo>
                  <a:pt x="9086" y="998"/>
                </a:lnTo>
                <a:lnTo>
                  <a:pt x="9070" y="1004"/>
                </a:lnTo>
                <a:lnTo>
                  <a:pt x="9064" y="1008"/>
                </a:lnTo>
                <a:lnTo>
                  <a:pt x="9060" y="1012"/>
                </a:lnTo>
                <a:lnTo>
                  <a:pt x="9056" y="1018"/>
                </a:lnTo>
                <a:lnTo>
                  <a:pt x="9056" y="1024"/>
                </a:lnTo>
                <a:lnTo>
                  <a:pt x="9060" y="1032"/>
                </a:lnTo>
                <a:lnTo>
                  <a:pt x="9066" y="1042"/>
                </a:lnTo>
                <a:lnTo>
                  <a:pt x="9090" y="1068"/>
                </a:lnTo>
                <a:lnTo>
                  <a:pt x="9096" y="1078"/>
                </a:lnTo>
                <a:lnTo>
                  <a:pt x="9100" y="1086"/>
                </a:lnTo>
                <a:lnTo>
                  <a:pt x="9100" y="1094"/>
                </a:lnTo>
                <a:lnTo>
                  <a:pt x="9098" y="1102"/>
                </a:lnTo>
                <a:lnTo>
                  <a:pt x="9092" y="1112"/>
                </a:lnTo>
                <a:lnTo>
                  <a:pt x="9082" y="1126"/>
                </a:lnTo>
                <a:lnTo>
                  <a:pt x="9072" y="1138"/>
                </a:lnTo>
                <a:lnTo>
                  <a:pt x="9068" y="1148"/>
                </a:lnTo>
                <a:lnTo>
                  <a:pt x="9068" y="1156"/>
                </a:lnTo>
                <a:lnTo>
                  <a:pt x="9070" y="1162"/>
                </a:lnTo>
                <a:lnTo>
                  <a:pt x="9078" y="1172"/>
                </a:lnTo>
                <a:lnTo>
                  <a:pt x="9080" y="1180"/>
                </a:lnTo>
                <a:lnTo>
                  <a:pt x="9082" y="1190"/>
                </a:lnTo>
                <a:lnTo>
                  <a:pt x="9082" y="1196"/>
                </a:lnTo>
                <a:lnTo>
                  <a:pt x="9084" y="1198"/>
                </a:lnTo>
                <a:lnTo>
                  <a:pt x="9088" y="1200"/>
                </a:lnTo>
                <a:lnTo>
                  <a:pt x="9092" y="1202"/>
                </a:lnTo>
                <a:lnTo>
                  <a:pt x="9106" y="1200"/>
                </a:lnTo>
                <a:lnTo>
                  <a:pt x="9122" y="1196"/>
                </a:lnTo>
                <a:lnTo>
                  <a:pt x="9142" y="1192"/>
                </a:lnTo>
                <a:lnTo>
                  <a:pt x="9164" y="1190"/>
                </a:lnTo>
                <a:lnTo>
                  <a:pt x="9176" y="1192"/>
                </a:lnTo>
                <a:lnTo>
                  <a:pt x="9188" y="1194"/>
                </a:lnTo>
                <a:lnTo>
                  <a:pt x="9198" y="1198"/>
                </a:lnTo>
                <a:lnTo>
                  <a:pt x="9210" y="1204"/>
                </a:lnTo>
                <a:lnTo>
                  <a:pt x="9228" y="1216"/>
                </a:lnTo>
                <a:lnTo>
                  <a:pt x="9240" y="1226"/>
                </a:lnTo>
                <a:lnTo>
                  <a:pt x="9246" y="1236"/>
                </a:lnTo>
                <a:lnTo>
                  <a:pt x="9248" y="1242"/>
                </a:lnTo>
                <a:lnTo>
                  <a:pt x="9248" y="1248"/>
                </a:lnTo>
                <a:lnTo>
                  <a:pt x="9246" y="1254"/>
                </a:lnTo>
                <a:lnTo>
                  <a:pt x="9238" y="1264"/>
                </a:lnTo>
                <a:lnTo>
                  <a:pt x="9232" y="1278"/>
                </a:lnTo>
                <a:lnTo>
                  <a:pt x="9224" y="1292"/>
                </a:lnTo>
                <a:lnTo>
                  <a:pt x="9220" y="1296"/>
                </a:lnTo>
                <a:lnTo>
                  <a:pt x="9218" y="1296"/>
                </a:lnTo>
                <a:lnTo>
                  <a:pt x="9218" y="1292"/>
                </a:lnTo>
                <a:lnTo>
                  <a:pt x="9220" y="1280"/>
                </a:lnTo>
                <a:lnTo>
                  <a:pt x="9222" y="1266"/>
                </a:lnTo>
                <a:lnTo>
                  <a:pt x="9222" y="1252"/>
                </a:lnTo>
                <a:lnTo>
                  <a:pt x="9218" y="1238"/>
                </a:lnTo>
                <a:lnTo>
                  <a:pt x="9212" y="1226"/>
                </a:lnTo>
                <a:lnTo>
                  <a:pt x="9206" y="1220"/>
                </a:lnTo>
                <a:lnTo>
                  <a:pt x="9200" y="1216"/>
                </a:lnTo>
                <a:lnTo>
                  <a:pt x="9194" y="1212"/>
                </a:lnTo>
                <a:lnTo>
                  <a:pt x="9186" y="1210"/>
                </a:lnTo>
                <a:lnTo>
                  <a:pt x="9176" y="1210"/>
                </a:lnTo>
                <a:lnTo>
                  <a:pt x="9166" y="1210"/>
                </a:lnTo>
                <a:lnTo>
                  <a:pt x="9154" y="1212"/>
                </a:lnTo>
                <a:lnTo>
                  <a:pt x="9142" y="1216"/>
                </a:lnTo>
                <a:lnTo>
                  <a:pt x="9130" y="1220"/>
                </a:lnTo>
                <a:lnTo>
                  <a:pt x="9122" y="1224"/>
                </a:lnTo>
                <a:lnTo>
                  <a:pt x="9116" y="1230"/>
                </a:lnTo>
                <a:lnTo>
                  <a:pt x="9112" y="1236"/>
                </a:lnTo>
                <a:lnTo>
                  <a:pt x="9110" y="1242"/>
                </a:lnTo>
                <a:lnTo>
                  <a:pt x="9110" y="1248"/>
                </a:lnTo>
                <a:lnTo>
                  <a:pt x="9114" y="1262"/>
                </a:lnTo>
                <a:lnTo>
                  <a:pt x="9118" y="1274"/>
                </a:lnTo>
                <a:lnTo>
                  <a:pt x="9122" y="1286"/>
                </a:lnTo>
                <a:lnTo>
                  <a:pt x="9122" y="1292"/>
                </a:lnTo>
                <a:lnTo>
                  <a:pt x="9120" y="1296"/>
                </a:lnTo>
                <a:lnTo>
                  <a:pt x="9116" y="1302"/>
                </a:lnTo>
                <a:lnTo>
                  <a:pt x="9110" y="1304"/>
                </a:lnTo>
                <a:lnTo>
                  <a:pt x="9098" y="1312"/>
                </a:lnTo>
                <a:lnTo>
                  <a:pt x="9090" y="1320"/>
                </a:lnTo>
                <a:lnTo>
                  <a:pt x="9086" y="1328"/>
                </a:lnTo>
                <a:lnTo>
                  <a:pt x="9084" y="1336"/>
                </a:lnTo>
                <a:lnTo>
                  <a:pt x="9082" y="1344"/>
                </a:lnTo>
                <a:lnTo>
                  <a:pt x="9078" y="1352"/>
                </a:lnTo>
                <a:lnTo>
                  <a:pt x="9068" y="1360"/>
                </a:lnTo>
                <a:lnTo>
                  <a:pt x="9054" y="1368"/>
                </a:lnTo>
                <a:lnTo>
                  <a:pt x="9040" y="1376"/>
                </a:lnTo>
                <a:lnTo>
                  <a:pt x="9032" y="1382"/>
                </a:lnTo>
                <a:lnTo>
                  <a:pt x="9024" y="1396"/>
                </a:lnTo>
                <a:lnTo>
                  <a:pt x="9018" y="1400"/>
                </a:lnTo>
                <a:lnTo>
                  <a:pt x="9006" y="1402"/>
                </a:lnTo>
                <a:lnTo>
                  <a:pt x="8988" y="1400"/>
                </a:lnTo>
                <a:lnTo>
                  <a:pt x="8958" y="1394"/>
                </a:lnTo>
                <a:lnTo>
                  <a:pt x="8932" y="1390"/>
                </a:lnTo>
                <a:lnTo>
                  <a:pt x="8924" y="1386"/>
                </a:lnTo>
                <a:lnTo>
                  <a:pt x="8924" y="1384"/>
                </a:lnTo>
                <a:lnTo>
                  <a:pt x="8928" y="1384"/>
                </a:lnTo>
                <a:lnTo>
                  <a:pt x="8942" y="1380"/>
                </a:lnTo>
                <a:lnTo>
                  <a:pt x="8960" y="1374"/>
                </a:lnTo>
                <a:lnTo>
                  <a:pt x="8982" y="1368"/>
                </a:lnTo>
                <a:lnTo>
                  <a:pt x="8992" y="1362"/>
                </a:lnTo>
                <a:lnTo>
                  <a:pt x="9002" y="1356"/>
                </a:lnTo>
                <a:lnTo>
                  <a:pt x="9010" y="1348"/>
                </a:lnTo>
                <a:lnTo>
                  <a:pt x="9016" y="1338"/>
                </a:lnTo>
                <a:lnTo>
                  <a:pt x="9026" y="1322"/>
                </a:lnTo>
                <a:lnTo>
                  <a:pt x="9034" y="1312"/>
                </a:lnTo>
                <a:lnTo>
                  <a:pt x="9042" y="1306"/>
                </a:lnTo>
                <a:lnTo>
                  <a:pt x="9048" y="1302"/>
                </a:lnTo>
                <a:lnTo>
                  <a:pt x="9054" y="1300"/>
                </a:lnTo>
                <a:lnTo>
                  <a:pt x="9058" y="1294"/>
                </a:lnTo>
                <a:lnTo>
                  <a:pt x="9062" y="1286"/>
                </a:lnTo>
                <a:lnTo>
                  <a:pt x="9066" y="1272"/>
                </a:lnTo>
                <a:lnTo>
                  <a:pt x="9066" y="1256"/>
                </a:lnTo>
                <a:lnTo>
                  <a:pt x="9062" y="1244"/>
                </a:lnTo>
                <a:lnTo>
                  <a:pt x="9056" y="1234"/>
                </a:lnTo>
                <a:lnTo>
                  <a:pt x="9048" y="1224"/>
                </a:lnTo>
                <a:lnTo>
                  <a:pt x="9040" y="1214"/>
                </a:lnTo>
                <a:lnTo>
                  <a:pt x="9034" y="1202"/>
                </a:lnTo>
                <a:lnTo>
                  <a:pt x="9030" y="1186"/>
                </a:lnTo>
                <a:lnTo>
                  <a:pt x="9032" y="1166"/>
                </a:lnTo>
                <a:lnTo>
                  <a:pt x="9038" y="1126"/>
                </a:lnTo>
                <a:lnTo>
                  <a:pt x="9040" y="1110"/>
                </a:lnTo>
                <a:lnTo>
                  <a:pt x="9042" y="1094"/>
                </a:lnTo>
                <a:lnTo>
                  <a:pt x="9040" y="1080"/>
                </a:lnTo>
                <a:lnTo>
                  <a:pt x="9036" y="1068"/>
                </a:lnTo>
                <a:lnTo>
                  <a:pt x="9028" y="1056"/>
                </a:lnTo>
                <a:lnTo>
                  <a:pt x="9014" y="1042"/>
                </a:lnTo>
                <a:lnTo>
                  <a:pt x="9004" y="1032"/>
                </a:lnTo>
                <a:lnTo>
                  <a:pt x="9002" y="1028"/>
                </a:lnTo>
                <a:lnTo>
                  <a:pt x="9002" y="1024"/>
                </a:lnTo>
                <a:lnTo>
                  <a:pt x="9002" y="1020"/>
                </a:lnTo>
                <a:lnTo>
                  <a:pt x="9006" y="1018"/>
                </a:lnTo>
                <a:lnTo>
                  <a:pt x="9014" y="1012"/>
                </a:lnTo>
                <a:lnTo>
                  <a:pt x="9024" y="1004"/>
                </a:lnTo>
                <a:lnTo>
                  <a:pt x="9034" y="994"/>
                </a:lnTo>
                <a:lnTo>
                  <a:pt x="9038" y="988"/>
                </a:lnTo>
                <a:lnTo>
                  <a:pt x="9042" y="982"/>
                </a:lnTo>
                <a:lnTo>
                  <a:pt x="9044" y="974"/>
                </a:lnTo>
                <a:lnTo>
                  <a:pt x="9044" y="964"/>
                </a:lnTo>
                <a:lnTo>
                  <a:pt x="9044" y="952"/>
                </a:lnTo>
                <a:lnTo>
                  <a:pt x="9040" y="944"/>
                </a:lnTo>
                <a:lnTo>
                  <a:pt x="9036" y="936"/>
                </a:lnTo>
                <a:lnTo>
                  <a:pt x="9030" y="932"/>
                </a:lnTo>
                <a:lnTo>
                  <a:pt x="9022" y="928"/>
                </a:lnTo>
                <a:lnTo>
                  <a:pt x="9014" y="924"/>
                </a:lnTo>
                <a:lnTo>
                  <a:pt x="8994" y="922"/>
                </a:lnTo>
                <a:lnTo>
                  <a:pt x="8974" y="922"/>
                </a:lnTo>
                <a:lnTo>
                  <a:pt x="8952" y="922"/>
                </a:lnTo>
                <a:lnTo>
                  <a:pt x="8932" y="924"/>
                </a:lnTo>
                <a:lnTo>
                  <a:pt x="8916" y="922"/>
                </a:lnTo>
                <a:lnTo>
                  <a:pt x="8908" y="920"/>
                </a:lnTo>
                <a:lnTo>
                  <a:pt x="8900" y="922"/>
                </a:lnTo>
                <a:lnTo>
                  <a:pt x="8896" y="926"/>
                </a:lnTo>
                <a:lnTo>
                  <a:pt x="8890" y="932"/>
                </a:lnTo>
                <a:lnTo>
                  <a:pt x="8882" y="946"/>
                </a:lnTo>
                <a:lnTo>
                  <a:pt x="8876" y="966"/>
                </a:lnTo>
                <a:lnTo>
                  <a:pt x="8868" y="986"/>
                </a:lnTo>
                <a:lnTo>
                  <a:pt x="8860" y="1006"/>
                </a:lnTo>
                <a:lnTo>
                  <a:pt x="8854" y="1016"/>
                </a:lnTo>
                <a:lnTo>
                  <a:pt x="8846" y="1024"/>
                </a:lnTo>
                <a:lnTo>
                  <a:pt x="8838" y="1030"/>
                </a:lnTo>
                <a:lnTo>
                  <a:pt x="8826" y="1036"/>
                </a:lnTo>
                <a:lnTo>
                  <a:pt x="8804" y="1048"/>
                </a:lnTo>
                <a:lnTo>
                  <a:pt x="8798" y="1052"/>
                </a:lnTo>
                <a:lnTo>
                  <a:pt x="8794" y="1058"/>
                </a:lnTo>
                <a:lnTo>
                  <a:pt x="8792" y="1062"/>
                </a:lnTo>
                <a:lnTo>
                  <a:pt x="8794" y="1066"/>
                </a:lnTo>
                <a:lnTo>
                  <a:pt x="8800" y="1074"/>
                </a:lnTo>
                <a:lnTo>
                  <a:pt x="8808" y="1082"/>
                </a:lnTo>
                <a:lnTo>
                  <a:pt x="8812" y="1088"/>
                </a:lnTo>
                <a:lnTo>
                  <a:pt x="8814" y="1094"/>
                </a:lnTo>
                <a:lnTo>
                  <a:pt x="8816" y="1102"/>
                </a:lnTo>
                <a:lnTo>
                  <a:pt x="8814" y="1108"/>
                </a:lnTo>
                <a:lnTo>
                  <a:pt x="8812" y="1118"/>
                </a:lnTo>
                <a:lnTo>
                  <a:pt x="8806" y="1128"/>
                </a:lnTo>
                <a:lnTo>
                  <a:pt x="8800" y="1138"/>
                </a:lnTo>
                <a:lnTo>
                  <a:pt x="8798" y="1146"/>
                </a:lnTo>
                <a:lnTo>
                  <a:pt x="8800" y="1154"/>
                </a:lnTo>
                <a:lnTo>
                  <a:pt x="8804" y="1162"/>
                </a:lnTo>
                <a:lnTo>
                  <a:pt x="8812" y="1168"/>
                </a:lnTo>
                <a:lnTo>
                  <a:pt x="8820" y="1174"/>
                </a:lnTo>
                <a:lnTo>
                  <a:pt x="8842" y="1184"/>
                </a:lnTo>
                <a:lnTo>
                  <a:pt x="8862" y="1196"/>
                </a:lnTo>
                <a:lnTo>
                  <a:pt x="8872" y="1200"/>
                </a:lnTo>
                <a:lnTo>
                  <a:pt x="8878" y="1208"/>
                </a:lnTo>
                <a:lnTo>
                  <a:pt x="8884" y="1214"/>
                </a:lnTo>
                <a:lnTo>
                  <a:pt x="8886" y="1220"/>
                </a:lnTo>
                <a:lnTo>
                  <a:pt x="8886" y="1230"/>
                </a:lnTo>
                <a:lnTo>
                  <a:pt x="8880" y="1238"/>
                </a:lnTo>
                <a:lnTo>
                  <a:pt x="8870" y="1254"/>
                </a:lnTo>
                <a:lnTo>
                  <a:pt x="8866" y="1258"/>
                </a:lnTo>
                <a:lnTo>
                  <a:pt x="8862" y="1260"/>
                </a:lnTo>
                <a:lnTo>
                  <a:pt x="8858" y="1260"/>
                </a:lnTo>
                <a:lnTo>
                  <a:pt x="8854" y="1258"/>
                </a:lnTo>
                <a:lnTo>
                  <a:pt x="8844" y="1252"/>
                </a:lnTo>
                <a:lnTo>
                  <a:pt x="8830" y="1240"/>
                </a:lnTo>
                <a:lnTo>
                  <a:pt x="8806" y="1224"/>
                </a:lnTo>
                <a:lnTo>
                  <a:pt x="8772" y="1204"/>
                </a:lnTo>
                <a:lnTo>
                  <a:pt x="8752" y="1194"/>
                </a:lnTo>
                <a:lnTo>
                  <a:pt x="8726" y="1184"/>
                </a:lnTo>
                <a:lnTo>
                  <a:pt x="8698" y="1174"/>
                </a:lnTo>
                <a:lnTo>
                  <a:pt x="8674" y="1166"/>
                </a:lnTo>
                <a:lnTo>
                  <a:pt x="8652" y="1160"/>
                </a:lnTo>
                <a:lnTo>
                  <a:pt x="8630" y="1156"/>
                </a:lnTo>
                <a:lnTo>
                  <a:pt x="8612" y="1152"/>
                </a:lnTo>
                <a:lnTo>
                  <a:pt x="8594" y="1152"/>
                </a:lnTo>
                <a:lnTo>
                  <a:pt x="8580" y="1152"/>
                </a:lnTo>
                <a:lnTo>
                  <a:pt x="8568" y="1152"/>
                </a:lnTo>
                <a:lnTo>
                  <a:pt x="8556" y="1156"/>
                </a:lnTo>
                <a:lnTo>
                  <a:pt x="8548" y="1158"/>
                </a:lnTo>
                <a:lnTo>
                  <a:pt x="8542" y="1162"/>
                </a:lnTo>
                <a:lnTo>
                  <a:pt x="8540" y="1168"/>
                </a:lnTo>
                <a:lnTo>
                  <a:pt x="8538" y="1174"/>
                </a:lnTo>
                <a:lnTo>
                  <a:pt x="8538" y="1180"/>
                </a:lnTo>
                <a:lnTo>
                  <a:pt x="8542" y="1186"/>
                </a:lnTo>
                <a:lnTo>
                  <a:pt x="8548" y="1194"/>
                </a:lnTo>
                <a:lnTo>
                  <a:pt x="8552" y="1198"/>
                </a:lnTo>
                <a:lnTo>
                  <a:pt x="8552" y="1204"/>
                </a:lnTo>
                <a:lnTo>
                  <a:pt x="8552" y="1210"/>
                </a:lnTo>
                <a:lnTo>
                  <a:pt x="8550" y="1216"/>
                </a:lnTo>
                <a:lnTo>
                  <a:pt x="8542" y="1228"/>
                </a:lnTo>
                <a:lnTo>
                  <a:pt x="8530" y="1238"/>
                </a:lnTo>
                <a:lnTo>
                  <a:pt x="8518" y="1244"/>
                </a:lnTo>
                <a:lnTo>
                  <a:pt x="8512" y="1246"/>
                </a:lnTo>
                <a:lnTo>
                  <a:pt x="8506" y="1246"/>
                </a:lnTo>
                <a:lnTo>
                  <a:pt x="8500" y="1244"/>
                </a:lnTo>
                <a:lnTo>
                  <a:pt x="8496" y="1242"/>
                </a:lnTo>
                <a:lnTo>
                  <a:pt x="8494" y="1236"/>
                </a:lnTo>
                <a:lnTo>
                  <a:pt x="8494" y="1230"/>
                </a:lnTo>
                <a:lnTo>
                  <a:pt x="8492" y="1216"/>
                </a:lnTo>
                <a:lnTo>
                  <a:pt x="8490" y="1208"/>
                </a:lnTo>
                <a:lnTo>
                  <a:pt x="8486" y="1206"/>
                </a:lnTo>
                <a:lnTo>
                  <a:pt x="8478" y="1206"/>
                </a:lnTo>
                <a:lnTo>
                  <a:pt x="8470" y="1208"/>
                </a:lnTo>
                <a:lnTo>
                  <a:pt x="8458" y="1214"/>
                </a:lnTo>
                <a:lnTo>
                  <a:pt x="8430" y="1234"/>
                </a:lnTo>
                <a:lnTo>
                  <a:pt x="8416" y="1242"/>
                </a:lnTo>
                <a:lnTo>
                  <a:pt x="8410" y="1242"/>
                </a:lnTo>
                <a:lnTo>
                  <a:pt x="8404" y="1242"/>
                </a:lnTo>
                <a:lnTo>
                  <a:pt x="8394" y="1240"/>
                </a:lnTo>
                <a:lnTo>
                  <a:pt x="8386" y="1236"/>
                </a:lnTo>
                <a:lnTo>
                  <a:pt x="8378" y="1232"/>
                </a:lnTo>
                <a:lnTo>
                  <a:pt x="8366" y="1230"/>
                </a:lnTo>
                <a:lnTo>
                  <a:pt x="8358" y="1232"/>
                </a:lnTo>
                <a:lnTo>
                  <a:pt x="8350" y="1234"/>
                </a:lnTo>
                <a:lnTo>
                  <a:pt x="8330" y="1246"/>
                </a:lnTo>
                <a:lnTo>
                  <a:pt x="8308" y="1256"/>
                </a:lnTo>
                <a:lnTo>
                  <a:pt x="8300" y="1258"/>
                </a:lnTo>
                <a:lnTo>
                  <a:pt x="8294" y="1260"/>
                </a:lnTo>
                <a:lnTo>
                  <a:pt x="8288" y="1260"/>
                </a:lnTo>
                <a:lnTo>
                  <a:pt x="8284" y="1258"/>
                </a:lnTo>
                <a:lnTo>
                  <a:pt x="8280" y="1254"/>
                </a:lnTo>
                <a:lnTo>
                  <a:pt x="8278" y="1250"/>
                </a:lnTo>
                <a:lnTo>
                  <a:pt x="8278" y="1240"/>
                </a:lnTo>
                <a:lnTo>
                  <a:pt x="8280" y="1230"/>
                </a:lnTo>
                <a:lnTo>
                  <a:pt x="8286" y="1220"/>
                </a:lnTo>
                <a:lnTo>
                  <a:pt x="8294" y="1212"/>
                </a:lnTo>
                <a:lnTo>
                  <a:pt x="8300" y="1206"/>
                </a:lnTo>
                <a:lnTo>
                  <a:pt x="8300" y="1204"/>
                </a:lnTo>
                <a:lnTo>
                  <a:pt x="8298" y="1204"/>
                </a:lnTo>
                <a:lnTo>
                  <a:pt x="8290" y="1204"/>
                </a:lnTo>
                <a:lnTo>
                  <a:pt x="8276" y="1206"/>
                </a:lnTo>
                <a:lnTo>
                  <a:pt x="8256" y="1214"/>
                </a:lnTo>
                <a:lnTo>
                  <a:pt x="8230" y="1224"/>
                </a:lnTo>
                <a:lnTo>
                  <a:pt x="8200" y="1236"/>
                </a:lnTo>
                <a:lnTo>
                  <a:pt x="8164" y="1254"/>
                </a:lnTo>
                <a:lnTo>
                  <a:pt x="8130" y="1270"/>
                </a:lnTo>
                <a:lnTo>
                  <a:pt x="8104" y="1278"/>
                </a:lnTo>
                <a:lnTo>
                  <a:pt x="8084" y="1282"/>
                </a:lnTo>
                <a:lnTo>
                  <a:pt x="8068" y="1286"/>
                </a:lnTo>
                <a:lnTo>
                  <a:pt x="8056" y="1288"/>
                </a:lnTo>
                <a:lnTo>
                  <a:pt x="8048" y="1294"/>
                </a:lnTo>
                <a:lnTo>
                  <a:pt x="8040" y="1304"/>
                </a:lnTo>
                <a:lnTo>
                  <a:pt x="8034" y="1322"/>
                </a:lnTo>
                <a:lnTo>
                  <a:pt x="8026" y="1342"/>
                </a:lnTo>
                <a:lnTo>
                  <a:pt x="8020" y="1352"/>
                </a:lnTo>
                <a:lnTo>
                  <a:pt x="8016" y="1356"/>
                </a:lnTo>
                <a:lnTo>
                  <a:pt x="8010" y="1358"/>
                </a:lnTo>
                <a:lnTo>
                  <a:pt x="7996" y="1354"/>
                </a:lnTo>
                <a:lnTo>
                  <a:pt x="7986" y="1356"/>
                </a:lnTo>
                <a:lnTo>
                  <a:pt x="7976" y="1360"/>
                </a:lnTo>
                <a:lnTo>
                  <a:pt x="7966" y="1364"/>
                </a:lnTo>
                <a:lnTo>
                  <a:pt x="7960" y="1364"/>
                </a:lnTo>
                <a:lnTo>
                  <a:pt x="7956" y="1362"/>
                </a:lnTo>
                <a:lnTo>
                  <a:pt x="7954" y="1358"/>
                </a:lnTo>
                <a:lnTo>
                  <a:pt x="7952" y="1352"/>
                </a:lnTo>
                <a:lnTo>
                  <a:pt x="7948" y="1344"/>
                </a:lnTo>
                <a:lnTo>
                  <a:pt x="7942" y="1338"/>
                </a:lnTo>
                <a:lnTo>
                  <a:pt x="7930" y="1330"/>
                </a:lnTo>
                <a:lnTo>
                  <a:pt x="7920" y="1324"/>
                </a:lnTo>
                <a:lnTo>
                  <a:pt x="7918" y="1322"/>
                </a:lnTo>
                <a:lnTo>
                  <a:pt x="7918" y="1318"/>
                </a:lnTo>
                <a:lnTo>
                  <a:pt x="7918" y="1314"/>
                </a:lnTo>
                <a:lnTo>
                  <a:pt x="7920" y="1312"/>
                </a:lnTo>
                <a:lnTo>
                  <a:pt x="7926" y="1304"/>
                </a:lnTo>
                <a:lnTo>
                  <a:pt x="7934" y="1300"/>
                </a:lnTo>
                <a:lnTo>
                  <a:pt x="7946" y="1296"/>
                </a:lnTo>
                <a:lnTo>
                  <a:pt x="7958" y="1292"/>
                </a:lnTo>
                <a:lnTo>
                  <a:pt x="7970" y="1292"/>
                </a:lnTo>
                <a:lnTo>
                  <a:pt x="7976" y="1290"/>
                </a:lnTo>
                <a:lnTo>
                  <a:pt x="7980" y="1288"/>
                </a:lnTo>
                <a:lnTo>
                  <a:pt x="7982" y="1286"/>
                </a:lnTo>
                <a:lnTo>
                  <a:pt x="7984" y="1282"/>
                </a:lnTo>
                <a:lnTo>
                  <a:pt x="7982" y="1274"/>
                </a:lnTo>
                <a:lnTo>
                  <a:pt x="7978" y="1264"/>
                </a:lnTo>
                <a:lnTo>
                  <a:pt x="7968" y="1254"/>
                </a:lnTo>
                <a:lnTo>
                  <a:pt x="7956" y="1246"/>
                </a:lnTo>
                <a:lnTo>
                  <a:pt x="7942" y="1240"/>
                </a:lnTo>
                <a:lnTo>
                  <a:pt x="7934" y="1238"/>
                </a:lnTo>
                <a:lnTo>
                  <a:pt x="7926" y="1238"/>
                </a:lnTo>
                <a:lnTo>
                  <a:pt x="7910" y="1238"/>
                </a:lnTo>
                <a:lnTo>
                  <a:pt x="7892" y="1236"/>
                </a:lnTo>
                <a:lnTo>
                  <a:pt x="7866" y="1230"/>
                </a:lnTo>
                <a:lnTo>
                  <a:pt x="7858" y="1230"/>
                </a:lnTo>
                <a:lnTo>
                  <a:pt x="7856" y="1230"/>
                </a:lnTo>
                <a:lnTo>
                  <a:pt x="7860" y="1236"/>
                </a:lnTo>
                <a:lnTo>
                  <a:pt x="7870" y="1246"/>
                </a:lnTo>
                <a:lnTo>
                  <a:pt x="7876" y="1252"/>
                </a:lnTo>
                <a:lnTo>
                  <a:pt x="7880" y="1258"/>
                </a:lnTo>
                <a:lnTo>
                  <a:pt x="7882" y="1264"/>
                </a:lnTo>
                <a:lnTo>
                  <a:pt x="7884" y="1270"/>
                </a:lnTo>
                <a:lnTo>
                  <a:pt x="7882" y="1284"/>
                </a:lnTo>
                <a:lnTo>
                  <a:pt x="7876" y="1296"/>
                </a:lnTo>
                <a:lnTo>
                  <a:pt x="7872" y="1306"/>
                </a:lnTo>
                <a:lnTo>
                  <a:pt x="7870" y="1318"/>
                </a:lnTo>
                <a:lnTo>
                  <a:pt x="7870" y="1324"/>
                </a:lnTo>
                <a:lnTo>
                  <a:pt x="7874" y="1328"/>
                </a:lnTo>
                <a:lnTo>
                  <a:pt x="7878" y="1334"/>
                </a:lnTo>
                <a:lnTo>
                  <a:pt x="7884" y="1340"/>
                </a:lnTo>
                <a:lnTo>
                  <a:pt x="7896" y="1348"/>
                </a:lnTo>
                <a:lnTo>
                  <a:pt x="7900" y="1352"/>
                </a:lnTo>
                <a:lnTo>
                  <a:pt x="7902" y="1356"/>
                </a:lnTo>
                <a:lnTo>
                  <a:pt x="7902" y="1364"/>
                </a:lnTo>
                <a:lnTo>
                  <a:pt x="7898" y="1372"/>
                </a:lnTo>
                <a:lnTo>
                  <a:pt x="7892" y="1380"/>
                </a:lnTo>
                <a:lnTo>
                  <a:pt x="7888" y="1390"/>
                </a:lnTo>
                <a:lnTo>
                  <a:pt x="7884" y="1400"/>
                </a:lnTo>
                <a:lnTo>
                  <a:pt x="7886" y="1414"/>
                </a:lnTo>
                <a:lnTo>
                  <a:pt x="7886" y="1424"/>
                </a:lnTo>
                <a:lnTo>
                  <a:pt x="7884" y="1422"/>
                </a:lnTo>
                <a:lnTo>
                  <a:pt x="7876" y="1414"/>
                </a:lnTo>
                <a:lnTo>
                  <a:pt x="7864" y="1402"/>
                </a:lnTo>
                <a:lnTo>
                  <a:pt x="7850" y="1390"/>
                </a:lnTo>
                <a:lnTo>
                  <a:pt x="7842" y="1386"/>
                </a:lnTo>
                <a:lnTo>
                  <a:pt x="7832" y="1382"/>
                </a:lnTo>
                <a:lnTo>
                  <a:pt x="7822" y="1382"/>
                </a:lnTo>
                <a:lnTo>
                  <a:pt x="7810" y="1382"/>
                </a:lnTo>
                <a:lnTo>
                  <a:pt x="7798" y="1386"/>
                </a:lnTo>
                <a:lnTo>
                  <a:pt x="7786" y="1394"/>
                </a:lnTo>
                <a:lnTo>
                  <a:pt x="7762" y="1410"/>
                </a:lnTo>
                <a:lnTo>
                  <a:pt x="7740" y="1422"/>
                </a:lnTo>
                <a:lnTo>
                  <a:pt x="7724" y="1432"/>
                </a:lnTo>
                <a:lnTo>
                  <a:pt x="7712" y="1440"/>
                </a:lnTo>
                <a:lnTo>
                  <a:pt x="7706" y="1448"/>
                </a:lnTo>
                <a:lnTo>
                  <a:pt x="7706" y="1452"/>
                </a:lnTo>
                <a:lnTo>
                  <a:pt x="7706" y="1456"/>
                </a:lnTo>
                <a:lnTo>
                  <a:pt x="7712" y="1468"/>
                </a:lnTo>
                <a:lnTo>
                  <a:pt x="7724" y="1482"/>
                </a:lnTo>
                <a:lnTo>
                  <a:pt x="7736" y="1498"/>
                </a:lnTo>
                <a:lnTo>
                  <a:pt x="7738" y="1504"/>
                </a:lnTo>
                <a:lnTo>
                  <a:pt x="7740" y="1508"/>
                </a:lnTo>
                <a:lnTo>
                  <a:pt x="7738" y="1512"/>
                </a:lnTo>
                <a:lnTo>
                  <a:pt x="7736" y="1516"/>
                </a:lnTo>
                <a:lnTo>
                  <a:pt x="7732" y="1518"/>
                </a:lnTo>
                <a:lnTo>
                  <a:pt x="7726" y="1520"/>
                </a:lnTo>
                <a:lnTo>
                  <a:pt x="7710" y="1520"/>
                </a:lnTo>
                <a:lnTo>
                  <a:pt x="7690" y="1516"/>
                </a:lnTo>
                <a:lnTo>
                  <a:pt x="7668" y="1508"/>
                </a:lnTo>
                <a:lnTo>
                  <a:pt x="7642" y="1496"/>
                </a:lnTo>
                <a:lnTo>
                  <a:pt x="7618" y="1486"/>
                </a:lnTo>
                <a:lnTo>
                  <a:pt x="7600" y="1482"/>
                </a:lnTo>
                <a:lnTo>
                  <a:pt x="7586" y="1480"/>
                </a:lnTo>
                <a:lnTo>
                  <a:pt x="7576" y="1482"/>
                </a:lnTo>
                <a:lnTo>
                  <a:pt x="7574" y="1484"/>
                </a:lnTo>
                <a:lnTo>
                  <a:pt x="7572" y="1486"/>
                </a:lnTo>
                <a:lnTo>
                  <a:pt x="7572" y="1494"/>
                </a:lnTo>
                <a:lnTo>
                  <a:pt x="7576" y="1504"/>
                </a:lnTo>
                <a:lnTo>
                  <a:pt x="7584" y="1514"/>
                </a:lnTo>
                <a:lnTo>
                  <a:pt x="7596" y="1524"/>
                </a:lnTo>
                <a:lnTo>
                  <a:pt x="7610" y="1530"/>
                </a:lnTo>
                <a:lnTo>
                  <a:pt x="7632" y="1540"/>
                </a:lnTo>
                <a:lnTo>
                  <a:pt x="7638" y="1544"/>
                </a:lnTo>
                <a:lnTo>
                  <a:pt x="7640" y="1546"/>
                </a:lnTo>
                <a:lnTo>
                  <a:pt x="7640" y="1548"/>
                </a:lnTo>
                <a:lnTo>
                  <a:pt x="7636" y="1554"/>
                </a:lnTo>
                <a:lnTo>
                  <a:pt x="7624" y="1562"/>
                </a:lnTo>
                <a:lnTo>
                  <a:pt x="7610" y="1568"/>
                </a:lnTo>
                <a:lnTo>
                  <a:pt x="7604" y="1570"/>
                </a:lnTo>
                <a:lnTo>
                  <a:pt x="7600" y="1568"/>
                </a:lnTo>
                <a:lnTo>
                  <a:pt x="7592" y="1564"/>
                </a:lnTo>
                <a:lnTo>
                  <a:pt x="7586" y="1558"/>
                </a:lnTo>
                <a:lnTo>
                  <a:pt x="7580" y="1550"/>
                </a:lnTo>
                <a:lnTo>
                  <a:pt x="7570" y="1540"/>
                </a:lnTo>
                <a:lnTo>
                  <a:pt x="7560" y="1532"/>
                </a:lnTo>
                <a:lnTo>
                  <a:pt x="7552" y="1530"/>
                </a:lnTo>
                <a:lnTo>
                  <a:pt x="7544" y="1528"/>
                </a:lnTo>
                <a:lnTo>
                  <a:pt x="7528" y="1524"/>
                </a:lnTo>
                <a:lnTo>
                  <a:pt x="7520" y="1518"/>
                </a:lnTo>
                <a:lnTo>
                  <a:pt x="7516" y="1512"/>
                </a:lnTo>
                <a:lnTo>
                  <a:pt x="7516" y="1506"/>
                </a:lnTo>
                <a:lnTo>
                  <a:pt x="7516" y="1498"/>
                </a:lnTo>
                <a:lnTo>
                  <a:pt x="7514" y="1490"/>
                </a:lnTo>
                <a:lnTo>
                  <a:pt x="7512" y="1482"/>
                </a:lnTo>
                <a:lnTo>
                  <a:pt x="7504" y="1474"/>
                </a:lnTo>
                <a:lnTo>
                  <a:pt x="7498" y="1468"/>
                </a:lnTo>
                <a:lnTo>
                  <a:pt x="7496" y="1464"/>
                </a:lnTo>
                <a:lnTo>
                  <a:pt x="7496" y="1460"/>
                </a:lnTo>
                <a:lnTo>
                  <a:pt x="7496" y="1458"/>
                </a:lnTo>
                <a:lnTo>
                  <a:pt x="7500" y="1452"/>
                </a:lnTo>
                <a:lnTo>
                  <a:pt x="7506" y="1446"/>
                </a:lnTo>
                <a:lnTo>
                  <a:pt x="7512" y="1438"/>
                </a:lnTo>
                <a:lnTo>
                  <a:pt x="7514" y="1432"/>
                </a:lnTo>
                <a:lnTo>
                  <a:pt x="7512" y="1428"/>
                </a:lnTo>
                <a:lnTo>
                  <a:pt x="7510" y="1424"/>
                </a:lnTo>
                <a:lnTo>
                  <a:pt x="7506" y="1418"/>
                </a:lnTo>
                <a:lnTo>
                  <a:pt x="7500" y="1412"/>
                </a:lnTo>
                <a:lnTo>
                  <a:pt x="7484" y="1402"/>
                </a:lnTo>
                <a:lnTo>
                  <a:pt x="7470" y="1394"/>
                </a:lnTo>
                <a:lnTo>
                  <a:pt x="7442" y="1378"/>
                </a:lnTo>
                <a:lnTo>
                  <a:pt x="7432" y="1370"/>
                </a:lnTo>
                <a:lnTo>
                  <a:pt x="7422" y="1364"/>
                </a:lnTo>
                <a:lnTo>
                  <a:pt x="7416" y="1354"/>
                </a:lnTo>
                <a:lnTo>
                  <a:pt x="7412" y="1344"/>
                </a:lnTo>
                <a:lnTo>
                  <a:pt x="7410" y="1336"/>
                </a:lnTo>
                <a:lnTo>
                  <a:pt x="7410" y="1334"/>
                </a:lnTo>
                <a:lnTo>
                  <a:pt x="7420" y="1344"/>
                </a:lnTo>
                <a:lnTo>
                  <a:pt x="7430" y="1352"/>
                </a:lnTo>
                <a:lnTo>
                  <a:pt x="7446" y="1362"/>
                </a:lnTo>
                <a:lnTo>
                  <a:pt x="7466" y="1370"/>
                </a:lnTo>
                <a:lnTo>
                  <a:pt x="7492" y="1376"/>
                </a:lnTo>
                <a:lnTo>
                  <a:pt x="7520" y="1382"/>
                </a:lnTo>
                <a:lnTo>
                  <a:pt x="7548" y="1390"/>
                </a:lnTo>
                <a:lnTo>
                  <a:pt x="7606" y="1408"/>
                </a:lnTo>
                <a:lnTo>
                  <a:pt x="7632" y="1414"/>
                </a:lnTo>
                <a:lnTo>
                  <a:pt x="7646" y="1416"/>
                </a:lnTo>
                <a:lnTo>
                  <a:pt x="7660" y="1416"/>
                </a:lnTo>
                <a:lnTo>
                  <a:pt x="7674" y="1416"/>
                </a:lnTo>
                <a:lnTo>
                  <a:pt x="7686" y="1414"/>
                </a:lnTo>
                <a:lnTo>
                  <a:pt x="7700" y="1408"/>
                </a:lnTo>
                <a:lnTo>
                  <a:pt x="7714" y="1402"/>
                </a:lnTo>
                <a:lnTo>
                  <a:pt x="7738" y="1388"/>
                </a:lnTo>
                <a:lnTo>
                  <a:pt x="7756" y="1374"/>
                </a:lnTo>
                <a:lnTo>
                  <a:pt x="7770" y="1360"/>
                </a:lnTo>
                <a:lnTo>
                  <a:pt x="7774" y="1354"/>
                </a:lnTo>
                <a:lnTo>
                  <a:pt x="7776" y="1346"/>
                </a:lnTo>
                <a:lnTo>
                  <a:pt x="7778" y="1340"/>
                </a:lnTo>
                <a:lnTo>
                  <a:pt x="7778" y="1334"/>
                </a:lnTo>
                <a:lnTo>
                  <a:pt x="7774" y="1326"/>
                </a:lnTo>
                <a:lnTo>
                  <a:pt x="7770" y="1320"/>
                </a:lnTo>
                <a:lnTo>
                  <a:pt x="7764" y="1312"/>
                </a:lnTo>
                <a:lnTo>
                  <a:pt x="7756" y="1304"/>
                </a:lnTo>
                <a:lnTo>
                  <a:pt x="7734" y="1288"/>
                </a:lnTo>
                <a:lnTo>
                  <a:pt x="7694" y="1264"/>
                </a:lnTo>
                <a:lnTo>
                  <a:pt x="7666" y="1252"/>
                </a:lnTo>
                <a:lnTo>
                  <a:pt x="7638" y="1238"/>
                </a:lnTo>
                <a:lnTo>
                  <a:pt x="7594" y="1212"/>
                </a:lnTo>
                <a:lnTo>
                  <a:pt x="7570" y="1198"/>
                </a:lnTo>
                <a:lnTo>
                  <a:pt x="7552" y="1190"/>
                </a:lnTo>
                <a:lnTo>
                  <a:pt x="7538" y="1188"/>
                </a:lnTo>
                <a:lnTo>
                  <a:pt x="7528" y="1188"/>
                </a:lnTo>
                <a:lnTo>
                  <a:pt x="7518" y="1190"/>
                </a:lnTo>
                <a:lnTo>
                  <a:pt x="7508" y="1190"/>
                </a:lnTo>
                <a:lnTo>
                  <a:pt x="7492" y="1188"/>
                </a:lnTo>
                <a:lnTo>
                  <a:pt x="7472" y="1182"/>
                </a:lnTo>
                <a:lnTo>
                  <a:pt x="7452" y="1176"/>
                </a:lnTo>
                <a:lnTo>
                  <a:pt x="7442" y="1170"/>
                </a:lnTo>
                <a:lnTo>
                  <a:pt x="7440" y="1166"/>
                </a:lnTo>
                <a:lnTo>
                  <a:pt x="7440" y="1164"/>
                </a:lnTo>
                <a:lnTo>
                  <a:pt x="7442" y="1160"/>
                </a:lnTo>
                <a:lnTo>
                  <a:pt x="7442" y="1156"/>
                </a:lnTo>
                <a:lnTo>
                  <a:pt x="7436" y="1152"/>
                </a:lnTo>
                <a:lnTo>
                  <a:pt x="7424" y="1146"/>
                </a:lnTo>
                <a:lnTo>
                  <a:pt x="7410" y="1140"/>
                </a:lnTo>
                <a:lnTo>
                  <a:pt x="7402" y="1140"/>
                </a:lnTo>
                <a:lnTo>
                  <a:pt x="7398" y="1144"/>
                </a:lnTo>
                <a:lnTo>
                  <a:pt x="7394" y="1148"/>
                </a:lnTo>
                <a:lnTo>
                  <a:pt x="7390" y="1152"/>
                </a:lnTo>
                <a:lnTo>
                  <a:pt x="7384" y="1156"/>
                </a:lnTo>
                <a:lnTo>
                  <a:pt x="7370" y="1156"/>
                </a:lnTo>
                <a:lnTo>
                  <a:pt x="7350" y="1150"/>
                </a:lnTo>
                <a:lnTo>
                  <a:pt x="7342" y="1150"/>
                </a:lnTo>
                <a:lnTo>
                  <a:pt x="7336" y="1150"/>
                </a:lnTo>
                <a:lnTo>
                  <a:pt x="7332" y="1148"/>
                </a:lnTo>
                <a:lnTo>
                  <a:pt x="7328" y="1146"/>
                </a:lnTo>
                <a:lnTo>
                  <a:pt x="7326" y="1144"/>
                </a:lnTo>
                <a:lnTo>
                  <a:pt x="7322" y="1148"/>
                </a:lnTo>
                <a:lnTo>
                  <a:pt x="7320" y="1152"/>
                </a:lnTo>
                <a:lnTo>
                  <a:pt x="7314" y="1154"/>
                </a:lnTo>
                <a:lnTo>
                  <a:pt x="7304" y="1156"/>
                </a:lnTo>
                <a:lnTo>
                  <a:pt x="7302" y="1154"/>
                </a:lnTo>
                <a:lnTo>
                  <a:pt x="7304" y="1152"/>
                </a:lnTo>
                <a:lnTo>
                  <a:pt x="7306" y="1148"/>
                </a:lnTo>
                <a:lnTo>
                  <a:pt x="7306" y="1142"/>
                </a:lnTo>
                <a:lnTo>
                  <a:pt x="7304" y="1140"/>
                </a:lnTo>
                <a:lnTo>
                  <a:pt x="7302" y="1138"/>
                </a:lnTo>
                <a:lnTo>
                  <a:pt x="7298" y="1136"/>
                </a:lnTo>
                <a:lnTo>
                  <a:pt x="7292" y="1134"/>
                </a:lnTo>
                <a:lnTo>
                  <a:pt x="7282" y="1134"/>
                </a:lnTo>
                <a:lnTo>
                  <a:pt x="7276" y="1130"/>
                </a:lnTo>
                <a:lnTo>
                  <a:pt x="7270" y="1128"/>
                </a:lnTo>
                <a:lnTo>
                  <a:pt x="7264" y="1128"/>
                </a:lnTo>
                <a:lnTo>
                  <a:pt x="7260" y="1126"/>
                </a:lnTo>
                <a:lnTo>
                  <a:pt x="7264" y="1124"/>
                </a:lnTo>
                <a:lnTo>
                  <a:pt x="7276" y="1124"/>
                </a:lnTo>
                <a:lnTo>
                  <a:pt x="7298" y="1128"/>
                </a:lnTo>
                <a:lnTo>
                  <a:pt x="7308" y="1130"/>
                </a:lnTo>
                <a:lnTo>
                  <a:pt x="7318" y="1130"/>
                </a:lnTo>
                <a:lnTo>
                  <a:pt x="7324" y="1128"/>
                </a:lnTo>
                <a:lnTo>
                  <a:pt x="7330" y="1124"/>
                </a:lnTo>
                <a:lnTo>
                  <a:pt x="7338" y="1118"/>
                </a:lnTo>
                <a:lnTo>
                  <a:pt x="7342" y="1116"/>
                </a:lnTo>
                <a:lnTo>
                  <a:pt x="7348" y="1116"/>
                </a:lnTo>
                <a:lnTo>
                  <a:pt x="7352" y="1116"/>
                </a:lnTo>
                <a:lnTo>
                  <a:pt x="7356" y="1116"/>
                </a:lnTo>
                <a:lnTo>
                  <a:pt x="7358" y="1114"/>
                </a:lnTo>
                <a:lnTo>
                  <a:pt x="7360" y="1110"/>
                </a:lnTo>
                <a:lnTo>
                  <a:pt x="7360" y="1108"/>
                </a:lnTo>
                <a:lnTo>
                  <a:pt x="7358" y="1106"/>
                </a:lnTo>
                <a:lnTo>
                  <a:pt x="7356" y="1104"/>
                </a:lnTo>
                <a:lnTo>
                  <a:pt x="7352" y="1104"/>
                </a:lnTo>
                <a:lnTo>
                  <a:pt x="7346" y="1102"/>
                </a:lnTo>
                <a:lnTo>
                  <a:pt x="7342" y="1100"/>
                </a:lnTo>
                <a:lnTo>
                  <a:pt x="7340" y="1096"/>
                </a:lnTo>
                <a:lnTo>
                  <a:pt x="7336" y="1094"/>
                </a:lnTo>
                <a:lnTo>
                  <a:pt x="7332" y="1094"/>
                </a:lnTo>
                <a:lnTo>
                  <a:pt x="7328" y="1092"/>
                </a:lnTo>
                <a:lnTo>
                  <a:pt x="7326" y="1088"/>
                </a:lnTo>
                <a:lnTo>
                  <a:pt x="7320" y="1084"/>
                </a:lnTo>
                <a:lnTo>
                  <a:pt x="7318" y="1084"/>
                </a:lnTo>
                <a:lnTo>
                  <a:pt x="7314" y="1084"/>
                </a:lnTo>
                <a:lnTo>
                  <a:pt x="7308" y="1086"/>
                </a:lnTo>
                <a:lnTo>
                  <a:pt x="7308" y="1084"/>
                </a:lnTo>
                <a:lnTo>
                  <a:pt x="7306" y="1082"/>
                </a:lnTo>
                <a:lnTo>
                  <a:pt x="7298" y="1084"/>
                </a:lnTo>
                <a:lnTo>
                  <a:pt x="7290" y="1084"/>
                </a:lnTo>
                <a:lnTo>
                  <a:pt x="7290" y="1082"/>
                </a:lnTo>
                <a:lnTo>
                  <a:pt x="7290" y="1080"/>
                </a:lnTo>
                <a:lnTo>
                  <a:pt x="7290" y="1078"/>
                </a:lnTo>
                <a:lnTo>
                  <a:pt x="7286" y="1074"/>
                </a:lnTo>
                <a:lnTo>
                  <a:pt x="7280" y="1072"/>
                </a:lnTo>
                <a:lnTo>
                  <a:pt x="7274" y="1072"/>
                </a:lnTo>
                <a:lnTo>
                  <a:pt x="7268" y="1072"/>
                </a:lnTo>
                <a:lnTo>
                  <a:pt x="7262" y="1074"/>
                </a:lnTo>
                <a:lnTo>
                  <a:pt x="7258" y="1078"/>
                </a:lnTo>
                <a:lnTo>
                  <a:pt x="7256" y="1082"/>
                </a:lnTo>
                <a:lnTo>
                  <a:pt x="7254" y="1088"/>
                </a:lnTo>
                <a:lnTo>
                  <a:pt x="7254" y="1098"/>
                </a:lnTo>
                <a:lnTo>
                  <a:pt x="7256" y="1104"/>
                </a:lnTo>
                <a:lnTo>
                  <a:pt x="7254" y="1102"/>
                </a:lnTo>
                <a:lnTo>
                  <a:pt x="7248" y="1100"/>
                </a:lnTo>
                <a:lnTo>
                  <a:pt x="7246" y="1100"/>
                </a:lnTo>
                <a:lnTo>
                  <a:pt x="7242" y="1100"/>
                </a:lnTo>
                <a:lnTo>
                  <a:pt x="7236" y="1102"/>
                </a:lnTo>
                <a:lnTo>
                  <a:pt x="7232" y="1100"/>
                </a:lnTo>
                <a:lnTo>
                  <a:pt x="7232" y="1098"/>
                </a:lnTo>
                <a:lnTo>
                  <a:pt x="7238" y="1094"/>
                </a:lnTo>
                <a:lnTo>
                  <a:pt x="7244" y="1090"/>
                </a:lnTo>
                <a:lnTo>
                  <a:pt x="7248" y="1086"/>
                </a:lnTo>
                <a:lnTo>
                  <a:pt x="7250" y="1084"/>
                </a:lnTo>
                <a:lnTo>
                  <a:pt x="7246" y="1082"/>
                </a:lnTo>
                <a:lnTo>
                  <a:pt x="7240" y="1084"/>
                </a:lnTo>
                <a:lnTo>
                  <a:pt x="7238" y="1082"/>
                </a:lnTo>
                <a:lnTo>
                  <a:pt x="7240" y="1078"/>
                </a:lnTo>
                <a:lnTo>
                  <a:pt x="7242" y="1076"/>
                </a:lnTo>
                <a:lnTo>
                  <a:pt x="7250" y="1074"/>
                </a:lnTo>
                <a:lnTo>
                  <a:pt x="7256" y="1070"/>
                </a:lnTo>
                <a:lnTo>
                  <a:pt x="7258" y="1068"/>
                </a:lnTo>
                <a:lnTo>
                  <a:pt x="7258" y="1066"/>
                </a:lnTo>
                <a:lnTo>
                  <a:pt x="7258" y="1064"/>
                </a:lnTo>
                <a:lnTo>
                  <a:pt x="7256" y="1062"/>
                </a:lnTo>
                <a:lnTo>
                  <a:pt x="7250" y="1064"/>
                </a:lnTo>
                <a:lnTo>
                  <a:pt x="7246" y="1064"/>
                </a:lnTo>
                <a:lnTo>
                  <a:pt x="7246" y="1062"/>
                </a:lnTo>
                <a:lnTo>
                  <a:pt x="7244" y="1060"/>
                </a:lnTo>
                <a:lnTo>
                  <a:pt x="7244" y="1058"/>
                </a:lnTo>
                <a:lnTo>
                  <a:pt x="7244" y="1056"/>
                </a:lnTo>
                <a:lnTo>
                  <a:pt x="7238" y="1058"/>
                </a:lnTo>
                <a:lnTo>
                  <a:pt x="7232" y="1058"/>
                </a:lnTo>
                <a:lnTo>
                  <a:pt x="7230" y="1058"/>
                </a:lnTo>
                <a:lnTo>
                  <a:pt x="7226" y="1056"/>
                </a:lnTo>
                <a:lnTo>
                  <a:pt x="7222" y="1054"/>
                </a:lnTo>
                <a:lnTo>
                  <a:pt x="7220" y="1054"/>
                </a:lnTo>
                <a:lnTo>
                  <a:pt x="7218" y="1058"/>
                </a:lnTo>
                <a:lnTo>
                  <a:pt x="7216" y="1062"/>
                </a:lnTo>
                <a:lnTo>
                  <a:pt x="7214" y="1062"/>
                </a:lnTo>
                <a:lnTo>
                  <a:pt x="7212" y="1062"/>
                </a:lnTo>
                <a:lnTo>
                  <a:pt x="7208" y="1060"/>
                </a:lnTo>
                <a:lnTo>
                  <a:pt x="7206" y="1060"/>
                </a:lnTo>
                <a:lnTo>
                  <a:pt x="7202" y="1064"/>
                </a:lnTo>
                <a:lnTo>
                  <a:pt x="7202" y="1066"/>
                </a:lnTo>
                <a:lnTo>
                  <a:pt x="7202" y="1068"/>
                </a:lnTo>
                <a:lnTo>
                  <a:pt x="7204" y="1070"/>
                </a:lnTo>
                <a:lnTo>
                  <a:pt x="7208" y="1070"/>
                </a:lnTo>
                <a:lnTo>
                  <a:pt x="7214" y="1072"/>
                </a:lnTo>
                <a:lnTo>
                  <a:pt x="7212" y="1074"/>
                </a:lnTo>
                <a:lnTo>
                  <a:pt x="7208" y="1076"/>
                </a:lnTo>
                <a:lnTo>
                  <a:pt x="7208" y="1080"/>
                </a:lnTo>
                <a:lnTo>
                  <a:pt x="7204" y="1082"/>
                </a:lnTo>
                <a:lnTo>
                  <a:pt x="7200" y="1082"/>
                </a:lnTo>
                <a:lnTo>
                  <a:pt x="7200" y="1086"/>
                </a:lnTo>
                <a:lnTo>
                  <a:pt x="7198" y="1088"/>
                </a:lnTo>
                <a:lnTo>
                  <a:pt x="7196" y="1090"/>
                </a:lnTo>
                <a:lnTo>
                  <a:pt x="7194" y="1092"/>
                </a:lnTo>
                <a:lnTo>
                  <a:pt x="7194" y="1096"/>
                </a:lnTo>
                <a:lnTo>
                  <a:pt x="7196" y="1100"/>
                </a:lnTo>
                <a:lnTo>
                  <a:pt x="7194" y="1102"/>
                </a:lnTo>
                <a:lnTo>
                  <a:pt x="7190" y="1102"/>
                </a:lnTo>
                <a:lnTo>
                  <a:pt x="7180" y="1106"/>
                </a:lnTo>
                <a:lnTo>
                  <a:pt x="7176" y="1108"/>
                </a:lnTo>
                <a:lnTo>
                  <a:pt x="7176" y="1102"/>
                </a:lnTo>
                <a:lnTo>
                  <a:pt x="7180" y="1094"/>
                </a:lnTo>
                <a:lnTo>
                  <a:pt x="7180" y="1088"/>
                </a:lnTo>
                <a:lnTo>
                  <a:pt x="7180" y="1084"/>
                </a:lnTo>
                <a:lnTo>
                  <a:pt x="7182" y="1078"/>
                </a:lnTo>
                <a:lnTo>
                  <a:pt x="7184" y="1070"/>
                </a:lnTo>
                <a:lnTo>
                  <a:pt x="7184" y="1068"/>
                </a:lnTo>
                <a:lnTo>
                  <a:pt x="7182" y="1066"/>
                </a:lnTo>
                <a:lnTo>
                  <a:pt x="7178" y="1066"/>
                </a:lnTo>
                <a:lnTo>
                  <a:pt x="7174" y="1070"/>
                </a:lnTo>
                <a:lnTo>
                  <a:pt x="7164" y="1078"/>
                </a:lnTo>
                <a:lnTo>
                  <a:pt x="7140" y="1102"/>
                </a:lnTo>
                <a:lnTo>
                  <a:pt x="7134" y="1108"/>
                </a:lnTo>
                <a:lnTo>
                  <a:pt x="7134" y="1112"/>
                </a:lnTo>
                <a:lnTo>
                  <a:pt x="7134" y="1116"/>
                </a:lnTo>
                <a:lnTo>
                  <a:pt x="7130" y="1122"/>
                </a:lnTo>
                <a:lnTo>
                  <a:pt x="7124" y="1126"/>
                </a:lnTo>
                <a:lnTo>
                  <a:pt x="7122" y="1128"/>
                </a:lnTo>
                <a:lnTo>
                  <a:pt x="7118" y="1126"/>
                </a:lnTo>
                <a:lnTo>
                  <a:pt x="7116" y="1128"/>
                </a:lnTo>
                <a:lnTo>
                  <a:pt x="7112" y="1130"/>
                </a:lnTo>
                <a:lnTo>
                  <a:pt x="7112" y="1128"/>
                </a:lnTo>
                <a:lnTo>
                  <a:pt x="7112" y="1126"/>
                </a:lnTo>
                <a:lnTo>
                  <a:pt x="7116" y="1120"/>
                </a:lnTo>
                <a:lnTo>
                  <a:pt x="7120" y="1114"/>
                </a:lnTo>
                <a:lnTo>
                  <a:pt x="7120" y="1112"/>
                </a:lnTo>
                <a:lnTo>
                  <a:pt x="7120" y="1110"/>
                </a:lnTo>
                <a:lnTo>
                  <a:pt x="7122" y="1106"/>
                </a:lnTo>
                <a:lnTo>
                  <a:pt x="7126" y="1102"/>
                </a:lnTo>
                <a:lnTo>
                  <a:pt x="7124" y="1100"/>
                </a:lnTo>
                <a:lnTo>
                  <a:pt x="7124" y="1098"/>
                </a:lnTo>
                <a:lnTo>
                  <a:pt x="7124" y="1096"/>
                </a:lnTo>
                <a:lnTo>
                  <a:pt x="7132" y="1088"/>
                </a:lnTo>
                <a:lnTo>
                  <a:pt x="7150" y="1072"/>
                </a:lnTo>
                <a:lnTo>
                  <a:pt x="7152" y="1072"/>
                </a:lnTo>
                <a:lnTo>
                  <a:pt x="7150" y="1070"/>
                </a:lnTo>
                <a:lnTo>
                  <a:pt x="7144" y="1070"/>
                </a:lnTo>
                <a:lnTo>
                  <a:pt x="7138" y="1070"/>
                </a:lnTo>
                <a:lnTo>
                  <a:pt x="7136" y="1068"/>
                </a:lnTo>
                <a:lnTo>
                  <a:pt x="7132" y="1064"/>
                </a:lnTo>
                <a:lnTo>
                  <a:pt x="7130" y="1064"/>
                </a:lnTo>
                <a:lnTo>
                  <a:pt x="7128" y="1070"/>
                </a:lnTo>
                <a:lnTo>
                  <a:pt x="7126" y="1076"/>
                </a:lnTo>
                <a:lnTo>
                  <a:pt x="7122" y="1070"/>
                </a:lnTo>
                <a:lnTo>
                  <a:pt x="7118" y="1066"/>
                </a:lnTo>
                <a:lnTo>
                  <a:pt x="7114" y="1066"/>
                </a:lnTo>
                <a:lnTo>
                  <a:pt x="7112" y="1066"/>
                </a:lnTo>
                <a:lnTo>
                  <a:pt x="7108" y="1066"/>
                </a:lnTo>
                <a:lnTo>
                  <a:pt x="7106" y="1066"/>
                </a:lnTo>
                <a:lnTo>
                  <a:pt x="7102" y="1064"/>
                </a:lnTo>
                <a:lnTo>
                  <a:pt x="7098" y="1064"/>
                </a:lnTo>
                <a:lnTo>
                  <a:pt x="7096" y="1066"/>
                </a:lnTo>
                <a:lnTo>
                  <a:pt x="7098" y="1068"/>
                </a:lnTo>
                <a:lnTo>
                  <a:pt x="7100" y="1072"/>
                </a:lnTo>
                <a:lnTo>
                  <a:pt x="7100" y="1076"/>
                </a:lnTo>
                <a:lnTo>
                  <a:pt x="7098" y="1076"/>
                </a:lnTo>
                <a:lnTo>
                  <a:pt x="7094" y="1074"/>
                </a:lnTo>
                <a:lnTo>
                  <a:pt x="7088" y="1072"/>
                </a:lnTo>
                <a:lnTo>
                  <a:pt x="7084" y="1074"/>
                </a:lnTo>
                <a:lnTo>
                  <a:pt x="7086" y="1078"/>
                </a:lnTo>
                <a:lnTo>
                  <a:pt x="7094" y="1082"/>
                </a:lnTo>
                <a:lnTo>
                  <a:pt x="7102" y="1086"/>
                </a:lnTo>
                <a:lnTo>
                  <a:pt x="7106" y="1088"/>
                </a:lnTo>
                <a:lnTo>
                  <a:pt x="7104" y="1088"/>
                </a:lnTo>
                <a:lnTo>
                  <a:pt x="7094" y="1086"/>
                </a:lnTo>
                <a:lnTo>
                  <a:pt x="7088" y="1084"/>
                </a:lnTo>
                <a:lnTo>
                  <a:pt x="7088" y="1086"/>
                </a:lnTo>
                <a:lnTo>
                  <a:pt x="7086" y="1088"/>
                </a:lnTo>
                <a:lnTo>
                  <a:pt x="7084" y="1090"/>
                </a:lnTo>
                <a:lnTo>
                  <a:pt x="7080" y="1094"/>
                </a:lnTo>
                <a:lnTo>
                  <a:pt x="7072" y="1100"/>
                </a:lnTo>
                <a:lnTo>
                  <a:pt x="7060" y="1106"/>
                </a:lnTo>
                <a:lnTo>
                  <a:pt x="7056" y="1110"/>
                </a:lnTo>
                <a:lnTo>
                  <a:pt x="7056" y="1112"/>
                </a:lnTo>
                <a:lnTo>
                  <a:pt x="7050" y="1116"/>
                </a:lnTo>
                <a:lnTo>
                  <a:pt x="7046" y="1118"/>
                </a:lnTo>
                <a:lnTo>
                  <a:pt x="7044" y="1120"/>
                </a:lnTo>
                <a:lnTo>
                  <a:pt x="7044" y="1122"/>
                </a:lnTo>
                <a:lnTo>
                  <a:pt x="7048" y="1124"/>
                </a:lnTo>
                <a:lnTo>
                  <a:pt x="7046" y="1126"/>
                </a:lnTo>
                <a:lnTo>
                  <a:pt x="7044" y="1126"/>
                </a:lnTo>
                <a:lnTo>
                  <a:pt x="7042" y="1128"/>
                </a:lnTo>
                <a:lnTo>
                  <a:pt x="7042" y="1130"/>
                </a:lnTo>
                <a:lnTo>
                  <a:pt x="7046" y="1132"/>
                </a:lnTo>
                <a:lnTo>
                  <a:pt x="7052" y="1134"/>
                </a:lnTo>
                <a:lnTo>
                  <a:pt x="7054" y="1136"/>
                </a:lnTo>
                <a:lnTo>
                  <a:pt x="7052" y="1136"/>
                </a:lnTo>
                <a:lnTo>
                  <a:pt x="7048" y="1136"/>
                </a:lnTo>
                <a:lnTo>
                  <a:pt x="7040" y="1136"/>
                </a:lnTo>
                <a:lnTo>
                  <a:pt x="7034" y="1132"/>
                </a:lnTo>
                <a:lnTo>
                  <a:pt x="7034" y="1130"/>
                </a:lnTo>
                <a:lnTo>
                  <a:pt x="7034" y="1128"/>
                </a:lnTo>
                <a:lnTo>
                  <a:pt x="7036" y="1124"/>
                </a:lnTo>
                <a:lnTo>
                  <a:pt x="7034" y="1122"/>
                </a:lnTo>
                <a:lnTo>
                  <a:pt x="7028" y="1118"/>
                </a:lnTo>
                <a:lnTo>
                  <a:pt x="7018" y="1116"/>
                </a:lnTo>
                <a:lnTo>
                  <a:pt x="7012" y="1116"/>
                </a:lnTo>
                <a:lnTo>
                  <a:pt x="7008" y="1116"/>
                </a:lnTo>
                <a:lnTo>
                  <a:pt x="7006" y="1114"/>
                </a:lnTo>
                <a:lnTo>
                  <a:pt x="7004" y="1114"/>
                </a:lnTo>
                <a:lnTo>
                  <a:pt x="7002" y="1114"/>
                </a:lnTo>
                <a:lnTo>
                  <a:pt x="6998" y="1114"/>
                </a:lnTo>
                <a:lnTo>
                  <a:pt x="6992" y="1112"/>
                </a:lnTo>
                <a:lnTo>
                  <a:pt x="6990" y="1112"/>
                </a:lnTo>
                <a:lnTo>
                  <a:pt x="6988" y="1120"/>
                </a:lnTo>
                <a:lnTo>
                  <a:pt x="6988" y="1124"/>
                </a:lnTo>
                <a:lnTo>
                  <a:pt x="6984" y="1120"/>
                </a:lnTo>
                <a:lnTo>
                  <a:pt x="6982" y="1116"/>
                </a:lnTo>
                <a:lnTo>
                  <a:pt x="6978" y="1114"/>
                </a:lnTo>
                <a:lnTo>
                  <a:pt x="6974" y="1114"/>
                </a:lnTo>
                <a:lnTo>
                  <a:pt x="6968" y="1114"/>
                </a:lnTo>
                <a:lnTo>
                  <a:pt x="6964" y="1118"/>
                </a:lnTo>
                <a:lnTo>
                  <a:pt x="6964" y="1120"/>
                </a:lnTo>
                <a:lnTo>
                  <a:pt x="6966" y="1122"/>
                </a:lnTo>
                <a:lnTo>
                  <a:pt x="6970" y="1124"/>
                </a:lnTo>
                <a:lnTo>
                  <a:pt x="6972" y="1124"/>
                </a:lnTo>
                <a:lnTo>
                  <a:pt x="6972" y="1126"/>
                </a:lnTo>
                <a:lnTo>
                  <a:pt x="6974" y="1128"/>
                </a:lnTo>
                <a:lnTo>
                  <a:pt x="6978" y="1128"/>
                </a:lnTo>
                <a:lnTo>
                  <a:pt x="6982" y="1128"/>
                </a:lnTo>
                <a:lnTo>
                  <a:pt x="6986" y="1132"/>
                </a:lnTo>
                <a:lnTo>
                  <a:pt x="6988" y="1134"/>
                </a:lnTo>
                <a:lnTo>
                  <a:pt x="6992" y="1134"/>
                </a:lnTo>
                <a:lnTo>
                  <a:pt x="6994" y="1134"/>
                </a:lnTo>
                <a:lnTo>
                  <a:pt x="6992" y="1138"/>
                </a:lnTo>
                <a:lnTo>
                  <a:pt x="6990" y="1140"/>
                </a:lnTo>
                <a:lnTo>
                  <a:pt x="6990" y="1142"/>
                </a:lnTo>
                <a:lnTo>
                  <a:pt x="6996" y="1150"/>
                </a:lnTo>
                <a:lnTo>
                  <a:pt x="6998" y="1154"/>
                </a:lnTo>
                <a:lnTo>
                  <a:pt x="6996" y="1152"/>
                </a:lnTo>
                <a:lnTo>
                  <a:pt x="6980" y="1140"/>
                </a:lnTo>
                <a:lnTo>
                  <a:pt x="6970" y="1134"/>
                </a:lnTo>
                <a:lnTo>
                  <a:pt x="6964" y="1134"/>
                </a:lnTo>
                <a:lnTo>
                  <a:pt x="6962" y="1136"/>
                </a:lnTo>
                <a:lnTo>
                  <a:pt x="6964" y="1138"/>
                </a:lnTo>
                <a:lnTo>
                  <a:pt x="6964" y="1140"/>
                </a:lnTo>
                <a:lnTo>
                  <a:pt x="6964" y="1142"/>
                </a:lnTo>
                <a:lnTo>
                  <a:pt x="6960" y="1144"/>
                </a:lnTo>
                <a:lnTo>
                  <a:pt x="6958" y="1144"/>
                </a:lnTo>
                <a:lnTo>
                  <a:pt x="6956" y="1142"/>
                </a:lnTo>
                <a:lnTo>
                  <a:pt x="6958" y="1140"/>
                </a:lnTo>
                <a:lnTo>
                  <a:pt x="6958" y="1138"/>
                </a:lnTo>
                <a:lnTo>
                  <a:pt x="6956" y="1138"/>
                </a:lnTo>
                <a:lnTo>
                  <a:pt x="6950" y="1142"/>
                </a:lnTo>
                <a:lnTo>
                  <a:pt x="6938" y="1152"/>
                </a:lnTo>
                <a:lnTo>
                  <a:pt x="6936" y="1152"/>
                </a:lnTo>
                <a:lnTo>
                  <a:pt x="6934" y="1154"/>
                </a:lnTo>
                <a:lnTo>
                  <a:pt x="6934" y="1162"/>
                </a:lnTo>
                <a:lnTo>
                  <a:pt x="6932" y="1168"/>
                </a:lnTo>
                <a:lnTo>
                  <a:pt x="6928" y="1172"/>
                </a:lnTo>
                <a:lnTo>
                  <a:pt x="6922" y="1180"/>
                </a:lnTo>
                <a:lnTo>
                  <a:pt x="6914" y="1186"/>
                </a:lnTo>
                <a:lnTo>
                  <a:pt x="6922" y="1172"/>
                </a:lnTo>
                <a:lnTo>
                  <a:pt x="6926" y="1160"/>
                </a:lnTo>
                <a:lnTo>
                  <a:pt x="6928" y="1150"/>
                </a:lnTo>
                <a:lnTo>
                  <a:pt x="6928" y="1140"/>
                </a:lnTo>
                <a:lnTo>
                  <a:pt x="6926" y="1136"/>
                </a:lnTo>
                <a:lnTo>
                  <a:pt x="6924" y="1138"/>
                </a:lnTo>
                <a:lnTo>
                  <a:pt x="6922" y="1142"/>
                </a:lnTo>
                <a:lnTo>
                  <a:pt x="6920" y="1142"/>
                </a:lnTo>
                <a:lnTo>
                  <a:pt x="6918" y="1140"/>
                </a:lnTo>
                <a:lnTo>
                  <a:pt x="6916" y="1140"/>
                </a:lnTo>
                <a:lnTo>
                  <a:pt x="6908" y="1150"/>
                </a:lnTo>
                <a:lnTo>
                  <a:pt x="6906" y="1156"/>
                </a:lnTo>
                <a:lnTo>
                  <a:pt x="6906" y="1160"/>
                </a:lnTo>
                <a:lnTo>
                  <a:pt x="6908" y="1160"/>
                </a:lnTo>
                <a:lnTo>
                  <a:pt x="6904" y="1164"/>
                </a:lnTo>
                <a:lnTo>
                  <a:pt x="6902" y="1166"/>
                </a:lnTo>
                <a:lnTo>
                  <a:pt x="6898" y="1166"/>
                </a:lnTo>
                <a:lnTo>
                  <a:pt x="6898" y="1162"/>
                </a:lnTo>
                <a:lnTo>
                  <a:pt x="6900" y="1158"/>
                </a:lnTo>
                <a:lnTo>
                  <a:pt x="6902" y="1152"/>
                </a:lnTo>
                <a:lnTo>
                  <a:pt x="6902" y="1150"/>
                </a:lnTo>
                <a:lnTo>
                  <a:pt x="6900" y="1148"/>
                </a:lnTo>
                <a:lnTo>
                  <a:pt x="6896" y="1148"/>
                </a:lnTo>
                <a:lnTo>
                  <a:pt x="6888" y="1150"/>
                </a:lnTo>
                <a:lnTo>
                  <a:pt x="6882" y="1152"/>
                </a:lnTo>
                <a:lnTo>
                  <a:pt x="6870" y="1160"/>
                </a:lnTo>
                <a:lnTo>
                  <a:pt x="6868" y="1162"/>
                </a:lnTo>
                <a:lnTo>
                  <a:pt x="6870" y="1164"/>
                </a:lnTo>
                <a:lnTo>
                  <a:pt x="6872" y="1166"/>
                </a:lnTo>
                <a:lnTo>
                  <a:pt x="6872" y="1168"/>
                </a:lnTo>
                <a:lnTo>
                  <a:pt x="6872" y="1170"/>
                </a:lnTo>
                <a:lnTo>
                  <a:pt x="6872" y="1174"/>
                </a:lnTo>
                <a:lnTo>
                  <a:pt x="6874" y="1174"/>
                </a:lnTo>
                <a:lnTo>
                  <a:pt x="6882" y="1178"/>
                </a:lnTo>
                <a:lnTo>
                  <a:pt x="6886" y="1178"/>
                </a:lnTo>
                <a:lnTo>
                  <a:pt x="6890" y="1182"/>
                </a:lnTo>
                <a:lnTo>
                  <a:pt x="6892" y="1186"/>
                </a:lnTo>
                <a:lnTo>
                  <a:pt x="6894" y="1192"/>
                </a:lnTo>
                <a:lnTo>
                  <a:pt x="6884" y="1188"/>
                </a:lnTo>
                <a:lnTo>
                  <a:pt x="6884" y="1186"/>
                </a:lnTo>
                <a:lnTo>
                  <a:pt x="6886" y="1184"/>
                </a:lnTo>
                <a:lnTo>
                  <a:pt x="6880" y="1182"/>
                </a:lnTo>
                <a:lnTo>
                  <a:pt x="6874" y="1180"/>
                </a:lnTo>
                <a:lnTo>
                  <a:pt x="6870" y="1178"/>
                </a:lnTo>
                <a:lnTo>
                  <a:pt x="6868" y="1172"/>
                </a:lnTo>
                <a:lnTo>
                  <a:pt x="6864" y="1168"/>
                </a:lnTo>
                <a:lnTo>
                  <a:pt x="6858" y="1168"/>
                </a:lnTo>
                <a:lnTo>
                  <a:pt x="6850" y="1172"/>
                </a:lnTo>
                <a:lnTo>
                  <a:pt x="6850" y="1174"/>
                </a:lnTo>
                <a:lnTo>
                  <a:pt x="6858" y="1180"/>
                </a:lnTo>
                <a:lnTo>
                  <a:pt x="6862" y="1184"/>
                </a:lnTo>
                <a:lnTo>
                  <a:pt x="6860" y="1186"/>
                </a:lnTo>
                <a:lnTo>
                  <a:pt x="6856" y="1184"/>
                </a:lnTo>
                <a:lnTo>
                  <a:pt x="6852" y="1180"/>
                </a:lnTo>
                <a:lnTo>
                  <a:pt x="6842" y="1172"/>
                </a:lnTo>
                <a:lnTo>
                  <a:pt x="6838" y="1172"/>
                </a:lnTo>
                <a:lnTo>
                  <a:pt x="6838" y="1174"/>
                </a:lnTo>
                <a:lnTo>
                  <a:pt x="6840" y="1178"/>
                </a:lnTo>
                <a:lnTo>
                  <a:pt x="6838" y="1180"/>
                </a:lnTo>
                <a:lnTo>
                  <a:pt x="6836" y="1182"/>
                </a:lnTo>
                <a:lnTo>
                  <a:pt x="6834" y="1184"/>
                </a:lnTo>
                <a:lnTo>
                  <a:pt x="6836" y="1190"/>
                </a:lnTo>
                <a:lnTo>
                  <a:pt x="6836" y="1194"/>
                </a:lnTo>
                <a:lnTo>
                  <a:pt x="6836" y="1196"/>
                </a:lnTo>
                <a:lnTo>
                  <a:pt x="6830" y="1198"/>
                </a:lnTo>
                <a:lnTo>
                  <a:pt x="6822" y="1200"/>
                </a:lnTo>
                <a:lnTo>
                  <a:pt x="6818" y="1202"/>
                </a:lnTo>
                <a:lnTo>
                  <a:pt x="6814" y="1206"/>
                </a:lnTo>
                <a:lnTo>
                  <a:pt x="6812" y="1210"/>
                </a:lnTo>
                <a:lnTo>
                  <a:pt x="6814" y="1212"/>
                </a:lnTo>
                <a:lnTo>
                  <a:pt x="6818" y="1214"/>
                </a:lnTo>
                <a:lnTo>
                  <a:pt x="6822" y="1214"/>
                </a:lnTo>
                <a:lnTo>
                  <a:pt x="6816" y="1216"/>
                </a:lnTo>
                <a:lnTo>
                  <a:pt x="6808" y="1220"/>
                </a:lnTo>
                <a:lnTo>
                  <a:pt x="6804" y="1222"/>
                </a:lnTo>
                <a:lnTo>
                  <a:pt x="6802" y="1226"/>
                </a:lnTo>
                <a:lnTo>
                  <a:pt x="6798" y="1228"/>
                </a:lnTo>
                <a:lnTo>
                  <a:pt x="6792" y="1230"/>
                </a:lnTo>
                <a:lnTo>
                  <a:pt x="6786" y="1230"/>
                </a:lnTo>
                <a:lnTo>
                  <a:pt x="6780" y="1232"/>
                </a:lnTo>
                <a:lnTo>
                  <a:pt x="6774" y="1240"/>
                </a:lnTo>
                <a:lnTo>
                  <a:pt x="6772" y="1244"/>
                </a:lnTo>
                <a:lnTo>
                  <a:pt x="6772" y="1246"/>
                </a:lnTo>
                <a:lnTo>
                  <a:pt x="6776" y="1248"/>
                </a:lnTo>
                <a:lnTo>
                  <a:pt x="6780" y="1246"/>
                </a:lnTo>
                <a:lnTo>
                  <a:pt x="6790" y="1244"/>
                </a:lnTo>
                <a:lnTo>
                  <a:pt x="6792" y="1244"/>
                </a:lnTo>
                <a:lnTo>
                  <a:pt x="6794" y="1244"/>
                </a:lnTo>
                <a:lnTo>
                  <a:pt x="6794" y="1246"/>
                </a:lnTo>
                <a:lnTo>
                  <a:pt x="6796" y="1248"/>
                </a:lnTo>
                <a:lnTo>
                  <a:pt x="6808" y="1242"/>
                </a:lnTo>
                <a:lnTo>
                  <a:pt x="6812" y="1240"/>
                </a:lnTo>
                <a:lnTo>
                  <a:pt x="6814" y="1240"/>
                </a:lnTo>
                <a:lnTo>
                  <a:pt x="6812" y="1244"/>
                </a:lnTo>
                <a:lnTo>
                  <a:pt x="6804" y="1250"/>
                </a:lnTo>
                <a:lnTo>
                  <a:pt x="6794" y="1254"/>
                </a:lnTo>
                <a:lnTo>
                  <a:pt x="6786" y="1254"/>
                </a:lnTo>
                <a:lnTo>
                  <a:pt x="6784" y="1252"/>
                </a:lnTo>
                <a:lnTo>
                  <a:pt x="6780" y="1252"/>
                </a:lnTo>
                <a:lnTo>
                  <a:pt x="6772" y="1250"/>
                </a:lnTo>
                <a:lnTo>
                  <a:pt x="6764" y="1252"/>
                </a:lnTo>
                <a:lnTo>
                  <a:pt x="6756" y="1254"/>
                </a:lnTo>
                <a:lnTo>
                  <a:pt x="6754" y="1258"/>
                </a:lnTo>
                <a:lnTo>
                  <a:pt x="6758" y="1260"/>
                </a:lnTo>
                <a:lnTo>
                  <a:pt x="6760" y="1262"/>
                </a:lnTo>
                <a:lnTo>
                  <a:pt x="6760" y="1264"/>
                </a:lnTo>
                <a:lnTo>
                  <a:pt x="6764" y="1264"/>
                </a:lnTo>
                <a:lnTo>
                  <a:pt x="6770" y="1266"/>
                </a:lnTo>
                <a:lnTo>
                  <a:pt x="6768" y="1270"/>
                </a:lnTo>
                <a:lnTo>
                  <a:pt x="6764" y="1274"/>
                </a:lnTo>
                <a:lnTo>
                  <a:pt x="6762" y="1278"/>
                </a:lnTo>
                <a:lnTo>
                  <a:pt x="6762" y="1282"/>
                </a:lnTo>
                <a:lnTo>
                  <a:pt x="6760" y="1286"/>
                </a:lnTo>
                <a:lnTo>
                  <a:pt x="6758" y="1284"/>
                </a:lnTo>
                <a:lnTo>
                  <a:pt x="6756" y="1278"/>
                </a:lnTo>
                <a:lnTo>
                  <a:pt x="6754" y="1272"/>
                </a:lnTo>
                <a:lnTo>
                  <a:pt x="6754" y="1266"/>
                </a:lnTo>
                <a:lnTo>
                  <a:pt x="6754" y="1262"/>
                </a:lnTo>
                <a:lnTo>
                  <a:pt x="6750" y="1262"/>
                </a:lnTo>
                <a:lnTo>
                  <a:pt x="6748" y="1266"/>
                </a:lnTo>
                <a:lnTo>
                  <a:pt x="6744" y="1270"/>
                </a:lnTo>
                <a:lnTo>
                  <a:pt x="6742" y="1272"/>
                </a:lnTo>
                <a:lnTo>
                  <a:pt x="6742" y="1270"/>
                </a:lnTo>
                <a:lnTo>
                  <a:pt x="6740" y="1268"/>
                </a:lnTo>
                <a:lnTo>
                  <a:pt x="6736" y="1268"/>
                </a:lnTo>
                <a:lnTo>
                  <a:pt x="6730" y="1270"/>
                </a:lnTo>
                <a:lnTo>
                  <a:pt x="6726" y="1272"/>
                </a:lnTo>
                <a:lnTo>
                  <a:pt x="6724" y="1274"/>
                </a:lnTo>
                <a:lnTo>
                  <a:pt x="6724" y="1276"/>
                </a:lnTo>
                <a:lnTo>
                  <a:pt x="6726" y="1278"/>
                </a:lnTo>
                <a:lnTo>
                  <a:pt x="6728" y="1276"/>
                </a:lnTo>
                <a:lnTo>
                  <a:pt x="6732" y="1276"/>
                </a:lnTo>
                <a:lnTo>
                  <a:pt x="6740" y="1276"/>
                </a:lnTo>
                <a:lnTo>
                  <a:pt x="6746" y="1278"/>
                </a:lnTo>
                <a:lnTo>
                  <a:pt x="6750" y="1280"/>
                </a:lnTo>
                <a:lnTo>
                  <a:pt x="6748" y="1282"/>
                </a:lnTo>
                <a:lnTo>
                  <a:pt x="6744" y="1282"/>
                </a:lnTo>
                <a:lnTo>
                  <a:pt x="6734" y="1284"/>
                </a:lnTo>
                <a:lnTo>
                  <a:pt x="6716" y="1286"/>
                </a:lnTo>
                <a:lnTo>
                  <a:pt x="6704" y="1290"/>
                </a:lnTo>
                <a:lnTo>
                  <a:pt x="6702" y="1294"/>
                </a:lnTo>
                <a:lnTo>
                  <a:pt x="6704" y="1296"/>
                </a:lnTo>
                <a:lnTo>
                  <a:pt x="6706" y="1296"/>
                </a:lnTo>
                <a:lnTo>
                  <a:pt x="6706" y="1298"/>
                </a:lnTo>
                <a:lnTo>
                  <a:pt x="6702" y="1300"/>
                </a:lnTo>
                <a:lnTo>
                  <a:pt x="6700" y="1302"/>
                </a:lnTo>
                <a:lnTo>
                  <a:pt x="6704" y="1304"/>
                </a:lnTo>
                <a:lnTo>
                  <a:pt x="6710" y="1304"/>
                </a:lnTo>
                <a:lnTo>
                  <a:pt x="6714" y="1304"/>
                </a:lnTo>
                <a:lnTo>
                  <a:pt x="6720" y="1298"/>
                </a:lnTo>
                <a:lnTo>
                  <a:pt x="6726" y="1294"/>
                </a:lnTo>
                <a:lnTo>
                  <a:pt x="6732" y="1294"/>
                </a:lnTo>
                <a:lnTo>
                  <a:pt x="6736" y="1294"/>
                </a:lnTo>
                <a:lnTo>
                  <a:pt x="6744" y="1296"/>
                </a:lnTo>
                <a:lnTo>
                  <a:pt x="6742" y="1298"/>
                </a:lnTo>
                <a:lnTo>
                  <a:pt x="6734" y="1298"/>
                </a:lnTo>
                <a:lnTo>
                  <a:pt x="6724" y="1300"/>
                </a:lnTo>
                <a:lnTo>
                  <a:pt x="6718" y="1304"/>
                </a:lnTo>
                <a:lnTo>
                  <a:pt x="6720" y="1306"/>
                </a:lnTo>
                <a:lnTo>
                  <a:pt x="6718" y="1308"/>
                </a:lnTo>
                <a:lnTo>
                  <a:pt x="6710" y="1310"/>
                </a:lnTo>
                <a:lnTo>
                  <a:pt x="6700" y="1312"/>
                </a:lnTo>
                <a:lnTo>
                  <a:pt x="6700" y="1314"/>
                </a:lnTo>
                <a:lnTo>
                  <a:pt x="6700" y="1316"/>
                </a:lnTo>
                <a:lnTo>
                  <a:pt x="6706" y="1318"/>
                </a:lnTo>
                <a:lnTo>
                  <a:pt x="6706" y="1320"/>
                </a:lnTo>
                <a:lnTo>
                  <a:pt x="6706" y="1322"/>
                </a:lnTo>
                <a:lnTo>
                  <a:pt x="6704" y="1322"/>
                </a:lnTo>
                <a:lnTo>
                  <a:pt x="6702" y="1320"/>
                </a:lnTo>
                <a:lnTo>
                  <a:pt x="6698" y="1320"/>
                </a:lnTo>
                <a:lnTo>
                  <a:pt x="6694" y="1322"/>
                </a:lnTo>
                <a:lnTo>
                  <a:pt x="6688" y="1328"/>
                </a:lnTo>
                <a:lnTo>
                  <a:pt x="6688" y="1330"/>
                </a:lnTo>
                <a:lnTo>
                  <a:pt x="6692" y="1332"/>
                </a:lnTo>
                <a:lnTo>
                  <a:pt x="6696" y="1332"/>
                </a:lnTo>
                <a:lnTo>
                  <a:pt x="6700" y="1330"/>
                </a:lnTo>
                <a:lnTo>
                  <a:pt x="6708" y="1330"/>
                </a:lnTo>
                <a:lnTo>
                  <a:pt x="6720" y="1330"/>
                </a:lnTo>
                <a:lnTo>
                  <a:pt x="6736" y="1332"/>
                </a:lnTo>
                <a:lnTo>
                  <a:pt x="6732" y="1334"/>
                </a:lnTo>
                <a:lnTo>
                  <a:pt x="6730" y="1336"/>
                </a:lnTo>
                <a:lnTo>
                  <a:pt x="6730" y="1338"/>
                </a:lnTo>
                <a:lnTo>
                  <a:pt x="6732" y="1342"/>
                </a:lnTo>
                <a:lnTo>
                  <a:pt x="6728" y="1340"/>
                </a:lnTo>
                <a:lnTo>
                  <a:pt x="6722" y="1336"/>
                </a:lnTo>
                <a:lnTo>
                  <a:pt x="6718" y="1334"/>
                </a:lnTo>
                <a:lnTo>
                  <a:pt x="6712" y="1332"/>
                </a:lnTo>
                <a:lnTo>
                  <a:pt x="6704" y="1334"/>
                </a:lnTo>
                <a:lnTo>
                  <a:pt x="6698" y="1334"/>
                </a:lnTo>
                <a:lnTo>
                  <a:pt x="6692" y="1336"/>
                </a:lnTo>
                <a:lnTo>
                  <a:pt x="6686" y="1338"/>
                </a:lnTo>
                <a:lnTo>
                  <a:pt x="6682" y="1338"/>
                </a:lnTo>
                <a:lnTo>
                  <a:pt x="6680" y="1338"/>
                </a:lnTo>
                <a:lnTo>
                  <a:pt x="6678" y="1340"/>
                </a:lnTo>
                <a:lnTo>
                  <a:pt x="6674" y="1340"/>
                </a:lnTo>
                <a:lnTo>
                  <a:pt x="6672" y="1340"/>
                </a:lnTo>
                <a:lnTo>
                  <a:pt x="6672" y="1342"/>
                </a:lnTo>
                <a:lnTo>
                  <a:pt x="6672" y="1346"/>
                </a:lnTo>
                <a:lnTo>
                  <a:pt x="6672" y="1348"/>
                </a:lnTo>
                <a:lnTo>
                  <a:pt x="6670" y="1350"/>
                </a:lnTo>
                <a:lnTo>
                  <a:pt x="6666" y="1350"/>
                </a:lnTo>
                <a:lnTo>
                  <a:pt x="6660" y="1352"/>
                </a:lnTo>
                <a:lnTo>
                  <a:pt x="6652" y="1352"/>
                </a:lnTo>
                <a:lnTo>
                  <a:pt x="6654" y="1356"/>
                </a:lnTo>
                <a:lnTo>
                  <a:pt x="6658" y="1360"/>
                </a:lnTo>
                <a:lnTo>
                  <a:pt x="6658" y="1362"/>
                </a:lnTo>
                <a:lnTo>
                  <a:pt x="6656" y="1364"/>
                </a:lnTo>
                <a:lnTo>
                  <a:pt x="6652" y="1366"/>
                </a:lnTo>
                <a:lnTo>
                  <a:pt x="6648" y="1366"/>
                </a:lnTo>
                <a:lnTo>
                  <a:pt x="6646" y="1366"/>
                </a:lnTo>
                <a:lnTo>
                  <a:pt x="6642" y="1370"/>
                </a:lnTo>
                <a:lnTo>
                  <a:pt x="6638" y="1374"/>
                </a:lnTo>
                <a:lnTo>
                  <a:pt x="6640" y="1374"/>
                </a:lnTo>
                <a:lnTo>
                  <a:pt x="6644" y="1376"/>
                </a:lnTo>
                <a:lnTo>
                  <a:pt x="6642" y="1378"/>
                </a:lnTo>
                <a:lnTo>
                  <a:pt x="6640" y="1380"/>
                </a:lnTo>
                <a:lnTo>
                  <a:pt x="6640" y="1382"/>
                </a:lnTo>
                <a:lnTo>
                  <a:pt x="6638" y="1382"/>
                </a:lnTo>
                <a:lnTo>
                  <a:pt x="6634" y="1382"/>
                </a:lnTo>
                <a:lnTo>
                  <a:pt x="6632" y="1382"/>
                </a:lnTo>
                <a:lnTo>
                  <a:pt x="6630" y="1382"/>
                </a:lnTo>
                <a:lnTo>
                  <a:pt x="6632" y="1386"/>
                </a:lnTo>
                <a:lnTo>
                  <a:pt x="6634" y="1388"/>
                </a:lnTo>
                <a:lnTo>
                  <a:pt x="6634" y="1390"/>
                </a:lnTo>
                <a:lnTo>
                  <a:pt x="6632" y="1394"/>
                </a:lnTo>
                <a:lnTo>
                  <a:pt x="6632" y="1396"/>
                </a:lnTo>
                <a:lnTo>
                  <a:pt x="6638" y="1398"/>
                </a:lnTo>
                <a:lnTo>
                  <a:pt x="6642" y="1398"/>
                </a:lnTo>
                <a:lnTo>
                  <a:pt x="6638" y="1400"/>
                </a:lnTo>
                <a:lnTo>
                  <a:pt x="6632" y="1402"/>
                </a:lnTo>
                <a:lnTo>
                  <a:pt x="6632" y="1404"/>
                </a:lnTo>
                <a:lnTo>
                  <a:pt x="6638" y="1404"/>
                </a:lnTo>
                <a:lnTo>
                  <a:pt x="6648" y="1402"/>
                </a:lnTo>
                <a:lnTo>
                  <a:pt x="6674" y="1396"/>
                </a:lnTo>
                <a:lnTo>
                  <a:pt x="6678" y="1396"/>
                </a:lnTo>
                <a:lnTo>
                  <a:pt x="6676" y="1398"/>
                </a:lnTo>
                <a:lnTo>
                  <a:pt x="6666" y="1402"/>
                </a:lnTo>
                <a:lnTo>
                  <a:pt x="6656" y="1404"/>
                </a:lnTo>
                <a:lnTo>
                  <a:pt x="6638" y="1408"/>
                </a:lnTo>
                <a:lnTo>
                  <a:pt x="6630" y="1408"/>
                </a:lnTo>
                <a:lnTo>
                  <a:pt x="6622" y="1412"/>
                </a:lnTo>
                <a:lnTo>
                  <a:pt x="6616" y="1414"/>
                </a:lnTo>
                <a:lnTo>
                  <a:pt x="6620" y="1414"/>
                </a:lnTo>
                <a:lnTo>
                  <a:pt x="6626" y="1414"/>
                </a:lnTo>
                <a:lnTo>
                  <a:pt x="6630" y="1416"/>
                </a:lnTo>
                <a:lnTo>
                  <a:pt x="6630" y="1418"/>
                </a:lnTo>
                <a:lnTo>
                  <a:pt x="6628" y="1422"/>
                </a:lnTo>
                <a:lnTo>
                  <a:pt x="6624" y="1422"/>
                </a:lnTo>
                <a:lnTo>
                  <a:pt x="6620" y="1426"/>
                </a:lnTo>
                <a:lnTo>
                  <a:pt x="6616" y="1432"/>
                </a:lnTo>
                <a:lnTo>
                  <a:pt x="6614" y="1436"/>
                </a:lnTo>
                <a:lnTo>
                  <a:pt x="6612" y="1438"/>
                </a:lnTo>
                <a:lnTo>
                  <a:pt x="6608" y="1438"/>
                </a:lnTo>
                <a:lnTo>
                  <a:pt x="6604" y="1440"/>
                </a:lnTo>
                <a:lnTo>
                  <a:pt x="6604" y="1444"/>
                </a:lnTo>
                <a:lnTo>
                  <a:pt x="6606" y="1450"/>
                </a:lnTo>
                <a:lnTo>
                  <a:pt x="6608" y="1450"/>
                </a:lnTo>
                <a:lnTo>
                  <a:pt x="6612" y="1450"/>
                </a:lnTo>
                <a:lnTo>
                  <a:pt x="6612" y="1454"/>
                </a:lnTo>
                <a:lnTo>
                  <a:pt x="6612" y="1458"/>
                </a:lnTo>
                <a:lnTo>
                  <a:pt x="6612" y="1460"/>
                </a:lnTo>
                <a:lnTo>
                  <a:pt x="6608" y="1464"/>
                </a:lnTo>
                <a:lnTo>
                  <a:pt x="6604" y="1468"/>
                </a:lnTo>
                <a:lnTo>
                  <a:pt x="6602" y="1468"/>
                </a:lnTo>
                <a:lnTo>
                  <a:pt x="6604" y="1470"/>
                </a:lnTo>
                <a:lnTo>
                  <a:pt x="6606" y="1474"/>
                </a:lnTo>
                <a:lnTo>
                  <a:pt x="6606" y="1478"/>
                </a:lnTo>
                <a:lnTo>
                  <a:pt x="6602" y="1482"/>
                </a:lnTo>
                <a:lnTo>
                  <a:pt x="6596" y="1484"/>
                </a:lnTo>
                <a:lnTo>
                  <a:pt x="6588" y="1484"/>
                </a:lnTo>
                <a:lnTo>
                  <a:pt x="6586" y="1486"/>
                </a:lnTo>
                <a:lnTo>
                  <a:pt x="6582" y="1488"/>
                </a:lnTo>
                <a:lnTo>
                  <a:pt x="6576" y="1490"/>
                </a:lnTo>
                <a:lnTo>
                  <a:pt x="6572" y="1490"/>
                </a:lnTo>
                <a:lnTo>
                  <a:pt x="6568" y="1492"/>
                </a:lnTo>
                <a:lnTo>
                  <a:pt x="6564" y="1494"/>
                </a:lnTo>
                <a:lnTo>
                  <a:pt x="6562" y="1494"/>
                </a:lnTo>
                <a:lnTo>
                  <a:pt x="6552" y="1492"/>
                </a:lnTo>
                <a:lnTo>
                  <a:pt x="6546" y="1494"/>
                </a:lnTo>
                <a:lnTo>
                  <a:pt x="6544" y="1496"/>
                </a:lnTo>
                <a:lnTo>
                  <a:pt x="6544" y="1498"/>
                </a:lnTo>
                <a:lnTo>
                  <a:pt x="6548" y="1498"/>
                </a:lnTo>
                <a:lnTo>
                  <a:pt x="6552" y="1498"/>
                </a:lnTo>
                <a:lnTo>
                  <a:pt x="6560" y="1498"/>
                </a:lnTo>
                <a:lnTo>
                  <a:pt x="6562" y="1500"/>
                </a:lnTo>
                <a:lnTo>
                  <a:pt x="6564" y="1500"/>
                </a:lnTo>
                <a:lnTo>
                  <a:pt x="6564" y="1504"/>
                </a:lnTo>
                <a:lnTo>
                  <a:pt x="6562" y="1506"/>
                </a:lnTo>
                <a:lnTo>
                  <a:pt x="6564" y="1506"/>
                </a:lnTo>
                <a:lnTo>
                  <a:pt x="6570" y="1502"/>
                </a:lnTo>
                <a:lnTo>
                  <a:pt x="6576" y="1500"/>
                </a:lnTo>
                <a:lnTo>
                  <a:pt x="6578" y="1500"/>
                </a:lnTo>
                <a:lnTo>
                  <a:pt x="6576" y="1504"/>
                </a:lnTo>
                <a:lnTo>
                  <a:pt x="6570" y="1506"/>
                </a:lnTo>
                <a:lnTo>
                  <a:pt x="6568" y="1508"/>
                </a:lnTo>
                <a:lnTo>
                  <a:pt x="6570" y="1512"/>
                </a:lnTo>
                <a:lnTo>
                  <a:pt x="6574" y="1514"/>
                </a:lnTo>
                <a:lnTo>
                  <a:pt x="6574" y="1516"/>
                </a:lnTo>
                <a:lnTo>
                  <a:pt x="6570" y="1520"/>
                </a:lnTo>
                <a:lnTo>
                  <a:pt x="6570" y="1524"/>
                </a:lnTo>
                <a:lnTo>
                  <a:pt x="6568" y="1524"/>
                </a:lnTo>
                <a:lnTo>
                  <a:pt x="6562" y="1526"/>
                </a:lnTo>
                <a:lnTo>
                  <a:pt x="6560" y="1526"/>
                </a:lnTo>
                <a:lnTo>
                  <a:pt x="6558" y="1524"/>
                </a:lnTo>
                <a:lnTo>
                  <a:pt x="6554" y="1520"/>
                </a:lnTo>
                <a:lnTo>
                  <a:pt x="6552" y="1516"/>
                </a:lnTo>
                <a:lnTo>
                  <a:pt x="6552" y="1514"/>
                </a:lnTo>
                <a:lnTo>
                  <a:pt x="6548" y="1514"/>
                </a:lnTo>
                <a:lnTo>
                  <a:pt x="6546" y="1516"/>
                </a:lnTo>
                <a:lnTo>
                  <a:pt x="6546" y="1518"/>
                </a:lnTo>
                <a:lnTo>
                  <a:pt x="6546" y="1520"/>
                </a:lnTo>
                <a:lnTo>
                  <a:pt x="6544" y="1520"/>
                </a:lnTo>
                <a:lnTo>
                  <a:pt x="6536" y="1522"/>
                </a:lnTo>
                <a:lnTo>
                  <a:pt x="6532" y="1524"/>
                </a:lnTo>
                <a:lnTo>
                  <a:pt x="6530" y="1528"/>
                </a:lnTo>
                <a:lnTo>
                  <a:pt x="6530" y="1530"/>
                </a:lnTo>
                <a:lnTo>
                  <a:pt x="6530" y="1534"/>
                </a:lnTo>
                <a:lnTo>
                  <a:pt x="6528" y="1536"/>
                </a:lnTo>
                <a:lnTo>
                  <a:pt x="6524" y="1538"/>
                </a:lnTo>
                <a:lnTo>
                  <a:pt x="6520" y="1538"/>
                </a:lnTo>
                <a:lnTo>
                  <a:pt x="6516" y="1540"/>
                </a:lnTo>
                <a:lnTo>
                  <a:pt x="6514" y="1544"/>
                </a:lnTo>
                <a:lnTo>
                  <a:pt x="6512" y="1552"/>
                </a:lnTo>
                <a:lnTo>
                  <a:pt x="6510" y="1556"/>
                </a:lnTo>
                <a:lnTo>
                  <a:pt x="6502" y="1562"/>
                </a:lnTo>
                <a:lnTo>
                  <a:pt x="6496" y="1566"/>
                </a:lnTo>
                <a:lnTo>
                  <a:pt x="6494" y="1570"/>
                </a:lnTo>
                <a:lnTo>
                  <a:pt x="6492" y="1572"/>
                </a:lnTo>
                <a:lnTo>
                  <a:pt x="6490" y="1576"/>
                </a:lnTo>
                <a:lnTo>
                  <a:pt x="6492" y="1578"/>
                </a:lnTo>
                <a:lnTo>
                  <a:pt x="6496" y="1576"/>
                </a:lnTo>
                <a:lnTo>
                  <a:pt x="6500" y="1574"/>
                </a:lnTo>
                <a:lnTo>
                  <a:pt x="6502" y="1574"/>
                </a:lnTo>
                <a:lnTo>
                  <a:pt x="6502" y="1576"/>
                </a:lnTo>
                <a:lnTo>
                  <a:pt x="6502" y="1578"/>
                </a:lnTo>
                <a:lnTo>
                  <a:pt x="6504" y="1580"/>
                </a:lnTo>
                <a:lnTo>
                  <a:pt x="6506" y="1582"/>
                </a:lnTo>
                <a:lnTo>
                  <a:pt x="6506" y="1584"/>
                </a:lnTo>
                <a:lnTo>
                  <a:pt x="6508" y="1586"/>
                </a:lnTo>
                <a:lnTo>
                  <a:pt x="6510" y="1588"/>
                </a:lnTo>
                <a:lnTo>
                  <a:pt x="6520" y="1586"/>
                </a:lnTo>
                <a:lnTo>
                  <a:pt x="6532" y="1582"/>
                </a:lnTo>
                <a:lnTo>
                  <a:pt x="6546" y="1572"/>
                </a:lnTo>
                <a:lnTo>
                  <a:pt x="6552" y="1566"/>
                </a:lnTo>
                <a:lnTo>
                  <a:pt x="6554" y="1564"/>
                </a:lnTo>
                <a:lnTo>
                  <a:pt x="6552" y="1562"/>
                </a:lnTo>
                <a:lnTo>
                  <a:pt x="6548" y="1562"/>
                </a:lnTo>
                <a:lnTo>
                  <a:pt x="6544" y="1562"/>
                </a:lnTo>
                <a:lnTo>
                  <a:pt x="6542" y="1562"/>
                </a:lnTo>
                <a:lnTo>
                  <a:pt x="6546" y="1560"/>
                </a:lnTo>
                <a:lnTo>
                  <a:pt x="6554" y="1554"/>
                </a:lnTo>
                <a:lnTo>
                  <a:pt x="6558" y="1552"/>
                </a:lnTo>
                <a:lnTo>
                  <a:pt x="6560" y="1552"/>
                </a:lnTo>
                <a:lnTo>
                  <a:pt x="6566" y="1552"/>
                </a:lnTo>
                <a:lnTo>
                  <a:pt x="6568" y="1554"/>
                </a:lnTo>
                <a:lnTo>
                  <a:pt x="6562" y="1558"/>
                </a:lnTo>
                <a:lnTo>
                  <a:pt x="6558" y="1560"/>
                </a:lnTo>
                <a:lnTo>
                  <a:pt x="6556" y="1562"/>
                </a:lnTo>
                <a:lnTo>
                  <a:pt x="6558" y="1564"/>
                </a:lnTo>
                <a:lnTo>
                  <a:pt x="6564" y="1566"/>
                </a:lnTo>
                <a:lnTo>
                  <a:pt x="6568" y="1568"/>
                </a:lnTo>
                <a:lnTo>
                  <a:pt x="6564" y="1570"/>
                </a:lnTo>
                <a:lnTo>
                  <a:pt x="6544" y="1580"/>
                </a:lnTo>
                <a:lnTo>
                  <a:pt x="6538" y="1584"/>
                </a:lnTo>
                <a:lnTo>
                  <a:pt x="6540" y="1584"/>
                </a:lnTo>
                <a:lnTo>
                  <a:pt x="6542" y="1584"/>
                </a:lnTo>
                <a:lnTo>
                  <a:pt x="6542" y="1586"/>
                </a:lnTo>
                <a:lnTo>
                  <a:pt x="6540" y="1588"/>
                </a:lnTo>
                <a:lnTo>
                  <a:pt x="6544" y="1590"/>
                </a:lnTo>
                <a:lnTo>
                  <a:pt x="6546" y="1592"/>
                </a:lnTo>
                <a:lnTo>
                  <a:pt x="6544" y="1594"/>
                </a:lnTo>
                <a:lnTo>
                  <a:pt x="6538" y="1594"/>
                </a:lnTo>
                <a:lnTo>
                  <a:pt x="6528" y="1592"/>
                </a:lnTo>
                <a:lnTo>
                  <a:pt x="6520" y="1592"/>
                </a:lnTo>
                <a:lnTo>
                  <a:pt x="6514" y="1594"/>
                </a:lnTo>
                <a:lnTo>
                  <a:pt x="6510" y="1596"/>
                </a:lnTo>
                <a:lnTo>
                  <a:pt x="6506" y="1600"/>
                </a:lnTo>
                <a:lnTo>
                  <a:pt x="6506" y="1598"/>
                </a:lnTo>
                <a:lnTo>
                  <a:pt x="6506" y="1594"/>
                </a:lnTo>
                <a:lnTo>
                  <a:pt x="6502" y="1586"/>
                </a:lnTo>
                <a:lnTo>
                  <a:pt x="6498" y="1580"/>
                </a:lnTo>
                <a:lnTo>
                  <a:pt x="6494" y="1580"/>
                </a:lnTo>
                <a:lnTo>
                  <a:pt x="6490" y="1582"/>
                </a:lnTo>
                <a:lnTo>
                  <a:pt x="6484" y="1584"/>
                </a:lnTo>
                <a:lnTo>
                  <a:pt x="6480" y="1586"/>
                </a:lnTo>
                <a:lnTo>
                  <a:pt x="6478" y="1586"/>
                </a:lnTo>
                <a:lnTo>
                  <a:pt x="6476" y="1590"/>
                </a:lnTo>
                <a:lnTo>
                  <a:pt x="6476" y="1594"/>
                </a:lnTo>
                <a:lnTo>
                  <a:pt x="6474" y="1592"/>
                </a:lnTo>
                <a:lnTo>
                  <a:pt x="6468" y="1590"/>
                </a:lnTo>
                <a:lnTo>
                  <a:pt x="6462" y="1592"/>
                </a:lnTo>
                <a:lnTo>
                  <a:pt x="6446" y="1598"/>
                </a:lnTo>
                <a:lnTo>
                  <a:pt x="6444" y="1600"/>
                </a:lnTo>
                <a:lnTo>
                  <a:pt x="6444" y="1602"/>
                </a:lnTo>
                <a:lnTo>
                  <a:pt x="6450" y="1606"/>
                </a:lnTo>
                <a:lnTo>
                  <a:pt x="6452" y="1608"/>
                </a:lnTo>
                <a:lnTo>
                  <a:pt x="6454" y="1610"/>
                </a:lnTo>
                <a:lnTo>
                  <a:pt x="6450" y="1612"/>
                </a:lnTo>
                <a:lnTo>
                  <a:pt x="6444" y="1612"/>
                </a:lnTo>
                <a:lnTo>
                  <a:pt x="6438" y="1614"/>
                </a:lnTo>
                <a:lnTo>
                  <a:pt x="6436" y="1614"/>
                </a:lnTo>
                <a:lnTo>
                  <a:pt x="6436" y="1616"/>
                </a:lnTo>
                <a:lnTo>
                  <a:pt x="6438" y="1618"/>
                </a:lnTo>
                <a:lnTo>
                  <a:pt x="6440" y="1620"/>
                </a:lnTo>
                <a:lnTo>
                  <a:pt x="6432" y="1618"/>
                </a:lnTo>
                <a:lnTo>
                  <a:pt x="6424" y="1616"/>
                </a:lnTo>
                <a:lnTo>
                  <a:pt x="6426" y="1618"/>
                </a:lnTo>
                <a:lnTo>
                  <a:pt x="6428" y="1622"/>
                </a:lnTo>
                <a:lnTo>
                  <a:pt x="6428" y="1624"/>
                </a:lnTo>
                <a:lnTo>
                  <a:pt x="6424" y="1624"/>
                </a:lnTo>
                <a:lnTo>
                  <a:pt x="6412" y="1626"/>
                </a:lnTo>
                <a:lnTo>
                  <a:pt x="6402" y="1624"/>
                </a:lnTo>
                <a:lnTo>
                  <a:pt x="6394" y="1624"/>
                </a:lnTo>
                <a:lnTo>
                  <a:pt x="6388" y="1624"/>
                </a:lnTo>
                <a:lnTo>
                  <a:pt x="6386" y="1628"/>
                </a:lnTo>
                <a:lnTo>
                  <a:pt x="6388" y="1632"/>
                </a:lnTo>
                <a:lnTo>
                  <a:pt x="6388" y="1634"/>
                </a:lnTo>
                <a:lnTo>
                  <a:pt x="6392" y="1636"/>
                </a:lnTo>
                <a:lnTo>
                  <a:pt x="6396" y="1638"/>
                </a:lnTo>
                <a:lnTo>
                  <a:pt x="6404" y="1638"/>
                </a:lnTo>
                <a:lnTo>
                  <a:pt x="6410" y="1636"/>
                </a:lnTo>
                <a:lnTo>
                  <a:pt x="6410" y="1638"/>
                </a:lnTo>
                <a:lnTo>
                  <a:pt x="6406" y="1642"/>
                </a:lnTo>
                <a:lnTo>
                  <a:pt x="6404" y="1646"/>
                </a:lnTo>
                <a:lnTo>
                  <a:pt x="6406" y="1648"/>
                </a:lnTo>
                <a:lnTo>
                  <a:pt x="6408" y="1652"/>
                </a:lnTo>
                <a:lnTo>
                  <a:pt x="6402" y="1650"/>
                </a:lnTo>
                <a:lnTo>
                  <a:pt x="6388" y="1646"/>
                </a:lnTo>
                <a:lnTo>
                  <a:pt x="6380" y="1646"/>
                </a:lnTo>
                <a:lnTo>
                  <a:pt x="6370" y="1648"/>
                </a:lnTo>
                <a:lnTo>
                  <a:pt x="6362" y="1650"/>
                </a:lnTo>
                <a:lnTo>
                  <a:pt x="6360" y="1652"/>
                </a:lnTo>
                <a:lnTo>
                  <a:pt x="6362" y="1654"/>
                </a:lnTo>
                <a:lnTo>
                  <a:pt x="6366" y="1654"/>
                </a:lnTo>
                <a:lnTo>
                  <a:pt x="6378" y="1656"/>
                </a:lnTo>
                <a:lnTo>
                  <a:pt x="6384" y="1658"/>
                </a:lnTo>
                <a:lnTo>
                  <a:pt x="6386" y="1662"/>
                </a:lnTo>
                <a:lnTo>
                  <a:pt x="6388" y="1666"/>
                </a:lnTo>
                <a:lnTo>
                  <a:pt x="6384" y="1664"/>
                </a:lnTo>
                <a:lnTo>
                  <a:pt x="6382" y="1662"/>
                </a:lnTo>
                <a:lnTo>
                  <a:pt x="6376" y="1662"/>
                </a:lnTo>
                <a:lnTo>
                  <a:pt x="6368" y="1662"/>
                </a:lnTo>
                <a:lnTo>
                  <a:pt x="6360" y="1664"/>
                </a:lnTo>
                <a:lnTo>
                  <a:pt x="6352" y="1668"/>
                </a:lnTo>
                <a:lnTo>
                  <a:pt x="6348" y="1670"/>
                </a:lnTo>
                <a:lnTo>
                  <a:pt x="6348" y="1672"/>
                </a:lnTo>
                <a:lnTo>
                  <a:pt x="6348" y="1674"/>
                </a:lnTo>
                <a:lnTo>
                  <a:pt x="6348" y="1676"/>
                </a:lnTo>
                <a:lnTo>
                  <a:pt x="6342" y="1676"/>
                </a:lnTo>
                <a:lnTo>
                  <a:pt x="6338" y="1674"/>
                </a:lnTo>
                <a:lnTo>
                  <a:pt x="6336" y="1676"/>
                </a:lnTo>
                <a:lnTo>
                  <a:pt x="6338" y="1678"/>
                </a:lnTo>
                <a:lnTo>
                  <a:pt x="6338" y="1680"/>
                </a:lnTo>
                <a:lnTo>
                  <a:pt x="6330" y="1680"/>
                </a:lnTo>
                <a:lnTo>
                  <a:pt x="6314" y="1678"/>
                </a:lnTo>
                <a:lnTo>
                  <a:pt x="6312" y="1678"/>
                </a:lnTo>
                <a:lnTo>
                  <a:pt x="6316" y="1684"/>
                </a:lnTo>
                <a:lnTo>
                  <a:pt x="6318" y="1686"/>
                </a:lnTo>
                <a:lnTo>
                  <a:pt x="6316" y="1686"/>
                </a:lnTo>
                <a:lnTo>
                  <a:pt x="6312" y="1686"/>
                </a:lnTo>
                <a:lnTo>
                  <a:pt x="6306" y="1686"/>
                </a:lnTo>
                <a:lnTo>
                  <a:pt x="6306" y="1688"/>
                </a:lnTo>
                <a:lnTo>
                  <a:pt x="6308" y="1690"/>
                </a:lnTo>
                <a:lnTo>
                  <a:pt x="6312" y="1692"/>
                </a:lnTo>
                <a:lnTo>
                  <a:pt x="6318" y="1694"/>
                </a:lnTo>
                <a:lnTo>
                  <a:pt x="6330" y="1694"/>
                </a:lnTo>
                <a:lnTo>
                  <a:pt x="6344" y="1694"/>
                </a:lnTo>
                <a:lnTo>
                  <a:pt x="6350" y="1696"/>
                </a:lnTo>
                <a:lnTo>
                  <a:pt x="6358" y="1698"/>
                </a:lnTo>
                <a:lnTo>
                  <a:pt x="6366" y="1702"/>
                </a:lnTo>
                <a:lnTo>
                  <a:pt x="6364" y="1702"/>
                </a:lnTo>
                <a:lnTo>
                  <a:pt x="6356" y="1702"/>
                </a:lnTo>
                <a:lnTo>
                  <a:pt x="6352" y="1702"/>
                </a:lnTo>
                <a:lnTo>
                  <a:pt x="6350" y="1702"/>
                </a:lnTo>
                <a:lnTo>
                  <a:pt x="6346" y="1704"/>
                </a:lnTo>
                <a:lnTo>
                  <a:pt x="6344" y="1702"/>
                </a:lnTo>
                <a:lnTo>
                  <a:pt x="6338" y="1698"/>
                </a:lnTo>
                <a:lnTo>
                  <a:pt x="6334" y="1696"/>
                </a:lnTo>
                <a:lnTo>
                  <a:pt x="6328" y="1696"/>
                </a:lnTo>
                <a:lnTo>
                  <a:pt x="6322" y="1698"/>
                </a:lnTo>
                <a:lnTo>
                  <a:pt x="6314" y="1702"/>
                </a:lnTo>
                <a:lnTo>
                  <a:pt x="6308" y="1706"/>
                </a:lnTo>
                <a:lnTo>
                  <a:pt x="6306" y="1710"/>
                </a:lnTo>
                <a:lnTo>
                  <a:pt x="6308" y="1714"/>
                </a:lnTo>
                <a:lnTo>
                  <a:pt x="6312" y="1716"/>
                </a:lnTo>
                <a:lnTo>
                  <a:pt x="6316" y="1720"/>
                </a:lnTo>
                <a:lnTo>
                  <a:pt x="6316" y="1722"/>
                </a:lnTo>
                <a:lnTo>
                  <a:pt x="6312" y="1724"/>
                </a:lnTo>
                <a:lnTo>
                  <a:pt x="6306" y="1728"/>
                </a:lnTo>
                <a:lnTo>
                  <a:pt x="6308" y="1730"/>
                </a:lnTo>
                <a:lnTo>
                  <a:pt x="6312" y="1732"/>
                </a:lnTo>
                <a:lnTo>
                  <a:pt x="6312" y="1734"/>
                </a:lnTo>
                <a:lnTo>
                  <a:pt x="6312" y="1736"/>
                </a:lnTo>
                <a:lnTo>
                  <a:pt x="6310" y="1738"/>
                </a:lnTo>
                <a:lnTo>
                  <a:pt x="6310" y="1740"/>
                </a:lnTo>
                <a:lnTo>
                  <a:pt x="6310" y="1744"/>
                </a:lnTo>
                <a:lnTo>
                  <a:pt x="6312" y="1746"/>
                </a:lnTo>
                <a:lnTo>
                  <a:pt x="6316" y="1748"/>
                </a:lnTo>
                <a:lnTo>
                  <a:pt x="6320" y="1748"/>
                </a:lnTo>
                <a:lnTo>
                  <a:pt x="6326" y="1748"/>
                </a:lnTo>
                <a:lnTo>
                  <a:pt x="6332" y="1744"/>
                </a:lnTo>
                <a:lnTo>
                  <a:pt x="6338" y="1742"/>
                </a:lnTo>
                <a:lnTo>
                  <a:pt x="6344" y="1742"/>
                </a:lnTo>
                <a:lnTo>
                  <a:pt x="6354" y="1744"/>
                </a:lnTo>
                <a:lnTo>
                  <a:pt x="6362" y="1744"/>
                </a:lnTo>
                <a:lnTo>
                  <a:pt x="6366" y="1744"/>
                </a:lnTo>
                <a:lnTo>
                  <a:pt x="6368" y="1740"/>
                </a:lnTo>
                <a:lnTo>
                  <a:pt x="6370" y="1736"/>
                </a:lnTo>
                <a:lnTo>
                  <a:pt x="6372" y="1736"/>
                </a:lnTo>
                <a:lnTo>
                  <a:pt x="6376" y="1738"/>
                </a:lnTo>
                <a:lnTo>
                  <a:pt x="6384" y="1742"/>
                </a:lnTo>
                <a:lnTo>
                  <a:pt x="6388" y="1742"/>
                </a:lnTo>
                <a:lnTo>
                  <a:pt x="6394" y="1742"/>
                </a:lnTo>
                <a:lnTo>
                  <a:pt x="6404" y="1742"/>
                </a:lnTo>
                <a:lnTo>
                  <a:pt x="6410" y="1742"/>
                </a:lnTo>
                <a:lnTo>
                  <a:pt x="6408" y="1744"/>
                </a:lnTo>
                <a:lnTo>
                  <a:pt x="6400" y="1746"/>
                </a:lnTo>
                <a:lnTo>
                  <a:pt x="6394" y="1748"/>
                </a:lnTo>
                <a:lnTo>
                  <a:pt x="6392" y="1752"/>
                </a:lnTo>
                <a:lnTo>
                  <a:pt x="6392" y="1754"/>
                </a:lnTo>
                <a:lnTo>
                  <a:pt x="6392" y="1756"/>
                </a:lnTo>
                <a:lnTo>
                  <a:pt x="6392" y="1758"/>
                </a:lnTo>
                <a:lnTo>
                  <a:pt x="6384" y="1750"/>
                </a:lnTo>
                <a:lnTo>
                  <a:pt x="6378" y="1746"/>
                </a:lnTo>
                <a:lnTo>
                  <a:pt x="6374" y="1744"/>
                </a:lnTo>
                <a:lnTo>
                  <a:pt x="6372" y="1746"/>
                </a:lnTo>
                <a:lnTo>
                  <a:pt x="6370" y="1748"/>
                </a:lnTo>
                <a:lnTo>
                  <a:pt x="6366" y="1750"/>
                </a:lnTo>
                <a:lnTo>
                  <a:pt x="6364" y="1752"/>
                </a:lnTo>
                <a:lnTo>
                  <a:pt x="6360" y="1750"/>
                </a:lnTo>
                <a:lnTo>
                  <a:pt x="6356" y="1748"/>
                </a:lnTo>
                <a:lnTo>
                  <a:pt x="6350" y="1748"/>
                </a:lnTo>
                <a:lnTo>
                  <a:pt x="6340" y="1750"/>
                </a:lnTo>
                <a:lnTo>
                  <a:pt x="6330" y="1754"/>
                </a:lnTo>
                <a:lnTo>
                  <a:pt x="6324" y="1754"/>
                </a:lnTo>
                <a:lnTo>
                  <a:pt x="6320" y="1754"/>
                </a:lnTo>
                <a:lnTo>
                  <a:pt x="6310" y="1752"/>
                </a:lnTo>
                <a:lnTo>
                  <a:pt x="6310" y="1754"/>
                </a:lnTo>
                <a:lnTo>
                  <a:pt x="6310" y="1760"/>
                </a:lnTo>
                <a:lnTo>
                  <a:pt x="6310" y="1764"/>
                </a:lnTo>
                <a:lnTo>
                  <a:pt x="6312" y="1764"/>
                </a:lnTo>
                <a:lnTo>
                  <a:pt x="6316" y="1766"/>
                </a:lnTo>
                <a:lnTo>
                  <a:pt x="6320" y="1766"/>
                </a:lnTo>
                <a:lnTo>
                  <a:pt x="6322" y="1768"/>
                </a:lnTo>
                <a:lnTo>
                  <a:pt x="6322" y="1770"/>
                </a:lnTo>
                <a:lnTo>
                  <a:pt x="6322" y="1774"/>
                </a:lnTo>
                <a:lnTo>
                  <a:pt x="6320" y="1774"/>
                </a:lnTo>
                <a:lnTo>
                  <a:pt x="6314" y="1772"/>
                </a:lnTo>
                <a:lnTo>
                  <a:pt x="6310" y="1770"/>
                </a:lnTo>
                <a:lnTo>
                  <a:pt x="6308" y="1772"/>
                </a:lnTo>
                <a:lnTo>
                  <a:pt x="6310" y="1774"/>
                </a:lnTo>
                <a:lnTo>
                  <a:pt x="6312" y="1778"/>
                </a:lnTo>
                <a:lnTo>
                  <a:pt x="6314" y="1780"/>
                </a:lnTo>
                <a:lnTo>
                  <a:pt x="6318" y="1780"/>
                </a:lnTo>
                <a:lnTo>
                  <a:pt x="6322" y="1780"/>
                </a:lnTo>
                <a:lnTo>
                  <a:pt x="6324" y="1782"/>
                </a:lnTo>
                <a:lnTo>
                  <a:pt x="6324" y="1786"/>
                </a:lnTo>
                <a:lnTo>
                  <a:pt x="6322" y="1790"/>
                </a:lnTo>
                <a:lnTo>
                  <a:pt x="6320" y="1792"/>
                </a:lnTo>
                <a:lnTo>
                  <a:pt x="6314" y="1796"/>
                </a:lnTo>
                <a:lnTo>
                  <a:pt x="6310" y="1798"/>
                </a:lnTo>
                <a:lnTo>
                  <a:pt x="6320" y="1808"/>
                </a:lnTo>
                <a:lnTo>
                  <a:pt x="6324" y="1810"/>
                </a:lnTo>
                <a:lnTo>
                  <a:pt x="6328" y="1806"/>
                </a:lnTo>
                <a:lnTo>
                  <a:pt x="6330" y="1806"/>
                </a:lnTo>
                <a:lnTo>
                  <a:pt x="6332" y="1808"/>
                </a:lnTo>
                <a:lnTo>
                  <a:pt x="6334" y="1810"/>
                </a:lnTo>
                <a:lnTo>
                  <a:pt x="6336" y="1810"/>
                </a:lnTo>
                <a:lnTo>
                  <a:pt x="6338" y="1808"/>
                </a:lnTo>
                <a:lnTo>
                  <a:pt x="6338" y="1814"/>
                </a:lnTo>
                <a:lnTo>
                  <a:pt x="6338" y="1818"/>
                </a:lnTo>
                <a:lnTo>
                  <a:pt x="6338" y="1820"/>
                </a:lnTo>
                <a:lnTo>
                  <a:pt x="6340" y="1820"/>
                </a:lnTo>
                <a:lnTo>
                  <a:pt x="6342" y="1818"/>
                </a:lnTo>
                <a:lnTo>
                  <a:pt x="6344" y="1816"/>
                </a:lnTo>
                <a:lnTo>
                  <a:pt x="6344" y="1812"/>
                </a:lnTo>
                <a:lnTo>
                  <a:pt x="6346" y="1806"/>
                </a:lnTo>
                <a:lnTo>
                  <a:pt x="6348" y="1804"/>
                </a:lnTo>
                <a:lnTo>
                  <a:pt x="6350" y="1802"/>
                </a:lnTo>
                <a:lnTo>
                  <a:pt x="6352" y="1804"/>
                </a:lnTo>
                <a:lnTo>
                  <a:pt x="6354" y="1806"/>
                </a:lnTo>
                <a:lnTo>
                  <a:pt x="6350" y="1812"/>
                </a:lnTo>
                <a:lnTo>
                  <a:pt x="6346" y="1820"/>
                </a:lnTo>
                <a:lnTo>
                  <a:pt x="6338" y="1826"/>
                </a:lnTo>
                <a:lnTo>
                  <a:pt x="6336" y="1828"/>
                </a:lnTo>
                <a:lnTo>
                  <a:pt x="6334" y="1828"/>
                </a:lnTo>
                <a:lnTo>
                  <a:pt x="6338" y="1832"/>
                </a:lnTo>
                <a:lnTo>
                  <a:pt x="6342" y="1834"/>
                </a:lnTo>
                <a:lnTo>
                  <a:pt x="6342" y="1836"/>
                </a:lnTo>
                <a:lnTo>
                  <a:pt x="6340" y="1838"/>
                </a:lnTo>
                <a:lnTo>
                  <a:pt x="6336" y="1840"/>
                </a:lnTo>
                <a:lnTo>
                  <a:pt x="6334" y="1840"/>
                </a:lnTo>
                <a:lnTo>
                  <a:pt x="6332" y="1840"/>
                </a:lnTo>
                <a:lnTo>
                  <a:pt x="6328" y="1838"/>
                </a:lnTo>
                <a:lnTo>
                  <a:pt x="6320" y="1844"/>
                </a:lnTo>
                <a:lnTo>
                  <a:pt x="6318" y="1848"/>
                </a:lnTo>
                <a:lnTo>
                  <a:pt x="6316" y="1852"/>
                </a:lnTo>
                <a:lnTo>
                  <a:pt x="6316" y="1858"/>
                </a:lnTo>
                <a:lnTo>
                  <a:pt x="6318" y="1862"/>
                </a:lnTo>
                <a:lnTo>
                  <a:pt x="6324" y="1866"/>
                </a:lnTo>
                <a:lnTo>
                  <a:pt x="6328" y="1866"/>
                </a:lnTo>
                <a:lnTo>
                  <a:pt x="6330" y="1864"/>
                </a:lnTo>
                <a:lnTo>
                  <a:pt x="6330" y="1862"/>
                </a:lnTo>
                <a:lnTo>
                  <a:pt x="6332" y="1862"/>
                </a:lnTo>
                <a:lnTo>
                  <a:pt x="6336" y="1864"/>
                </a:lnTo>
                <a:lnTo>
                  <a:pt x="6338" y="1864"/>
                </a:lnTo>
                <a:lnTo>
                  <a:pt x="6340" y="1862"/>
                </a:lnTo>
                <a:lnTo>
                  <a:pt x="6342" y="1858"/>
                </a:lnTo>
                <a:lnTo>
                  <a:pt x="6344" y="1858"/>
                </a:lnTo>
                <a:lnTo>
                  <a:pt x="6348" y="1858"/>
                </a:lnTo>
                <a:lnTo>
                  <a:pt x="6350" y="1862"/>
                </a:lnTo>
                <a:lnTo>
                  <a:pt x="6348" y="1864"/>
                </a:lnTo>
                <a:lnTo>
                  <a:pt x="6346" y="1866"/>
                </a:lnTo>
                <a:lnTo>
                  <a:pt x="6344" y="1868"/>
                </a:lnTo>
                <a:lnTo>
                  <a:pt x="6346" y="1870"/>
                </a:lnTo>
                <a:lnTo>
                  <a:pt x="6348" y="1872"/>
                </a:lnTo>
                <a:lnTo>
                  <a:pt x="6346" y="1876"/>
                </a:lnTo>
                <a:lnTo>
                  <a:pt x="6344" y="1878"/>
                </a:lnTo>
                <a:lnTo>
                  <a:pt x="6346" y="1882"/>
                </a:lnTo>
                <a:lnTo>
                  <a:pt x="6348" y="1884"/>
                </a:lnTo>
                <a:lnTo>
                  <a:pt x="6346" y="1886"/>
                </a:lnTo>
                <a:lnTo>
                  <a:pt x="6342" y="1888"/>
                </a:lnTo>
                <a:lnTo>
                  <a:pt x="6338" y="1890"/>
                </a:lnTo>
                <a:lnTo>
                  <a:pt x="6336" y="1888"/>
                </a:lnTo>
                <a:lnTo>
                  <a:pt x="6332" y="1884"/>
                </a:lnTo>
                <a:lnTo>
                  <a:pt x="6330" y="1884"/>
                </a:lnTo>
                <a:lnTo>
                  <a:pt x="6328" y="1892"/>
                </a:lnTo>
                <a:lnTo>
                  <a:pt x="6326" y="1904"/>
                </a:lnTo>
                <a:lnTo>
                  <a:pt x="6330" y="1910"/>
                </a:lnTo>
                <a:lnTo>
                  <a:pt x="6338" y="1916"/>
                </a:lnTo>
                <a:lnTo>
                  <a:pt x="6342" y="1918"/>
                </a:lnTo>
                <a:lnTo>
                  <a:pt x="6346" y="1918"/>
                </a:lnTo>
                <a:lnTo>
                  <a:pt x="6348" y="1920"/>
                </a:lnTo>
                <a:lnTo>
                  <a:pt x="6352" y="1926"/>
                </a:lnTo>
                <a:lnTo>
                  <a:pt x="6358" y="1928"/>
                </a:lnTo>
                <a:lnTo>
                  <a:pt x="6372" y="1934"/>
                </a:lnTo>
                <a:lnTo>
                  <a:pt x="6374" y="1936"/>
                </a:lnTo>
                <a:lnTo>
                  <a:pt x="6374" y="1938"/>
                </a:lnTo>
                <a:lnTo>
                  <a:pt x="6372" y="1940"/>
                </a:lnTo>
                <a:lnTo>
                  <a:pt x="6372" y="1942"/>
                </a:lnTo>
                <a:lnTo>
                  <a:pt x="6374" y="1944"/>
                </a:lnTo>
                <a:lnTo>
                  <a:pt x="6376" y="1946"/>
                </a:lnTo>
                <a:lnTo>
                  <a:pt x="6378" y="1944"/>
                </a:lnTo>
                <a:lnTo>
                  <a:pt x="6380" y="1942"/>
                </a:lnTo>
                <a:lnTo>
                  <a:pt x="6384" y="1944"/>
                </a:lnTo>
                <a:lnTo>
                  <a:pt x="6390" y="1946"/>
                </a:lnTo>
                <a:lnTo>
                  <a:pt x="6390" y="1948"/>
                </a:lnTo>
                <a:lnTo>
                  <a:pt x="6390" y="1950"/>
                </a:lnTo>
                <a:lnTo>
                  <a:pt x="6394" y="1948"/>
                </a:lnTo>
                <a:lnTo>
                  <a:pt x="6404" y="1946"/>
                </a:lnTo>
                <a:lnTo>
                  <a:pt x="6418" y="1944"/>
                </a:lnTo>
                <a:lnTo>
                  <a:pt x="6430" y="1942"/>
                </a:lnTo>
                <a:lnTo>
                  <a:pt x="6436" y="1940"/>
                </a:lnTo>
                <a:lnTo>
                  <a:pt x="6440" y="1938"/>
                </a:lnTo>
                <a:lnTo>
                  <a:pt x="6444" y="1934"/>
                </a:lnTo>
                <a:lnTo>
                  <a:pt x="6452" y="1930"/>
                </a:lnTo>
                <a:lnTo>
                  <a:pt x="6458" y="1926"/>
                </a:lnTo>
                <a:lnTo>
                  <a:pt x="6464" y="1918"/>
                </a:lnTo>
                <a:lnTo>
                  <a:pt x="6466" y="1914"/>
                </a:lnTo>
                <a:lnTo>
                  <a:pt x="6470" y="1912"/>
                </a:lnTo>
                <a:lnTo>
                  <a:pt x="6474" y="1910"/>
                </a:lnTo>
                <a:lnTo>
                  <a:pt x="6478" y="1910"/>
                </a:lnTo>
                <a:lnTo>
                  <a:pt x="6478" y="1906"/>
                </a:lnTo>
                <a:lnTo>
                  <a:pt x="6478" y="1904"/>
                </a:lnTo>
                <a:lnTo>
                  <a:pt x="6480" y="1902"/>
                </a:lnTo>
                <a:lnTo>
                  <a:pt x="6484" y="1902"/>
                </a:lnTo>
                <a:lnTo>
                  <a:pt x="6488" y="1900"/>
                </a:lnTo>
                <a:lnTo>
                  <a:pt x="6488" y="1898"/>
                </a:lnTo>
                <a:lnTo>
                  <a:pt x="6486" y="1896"/>
                </a:lnTo>
                <a:lnTo>
                  <a:pt x="6482" y="1894"/>
                </a:lnTo>
                <a:lnTo>
                  <a:pt x="6482" y="1892"/>
                </a:lnTo>
                <a:lnTo>
                  <a:pt x="6488" y="1892"/>
                </a:lnTo>
                <a:lnTo>
                  <a:pt x="6494" y="1890"/>
                </a:lnTo>
                <a:lnTo>
                  <a:pt x="6496" y="1888"/>
                </a:lnTo>
                <a:lnTo>
                  <a:pt x="6496" y="1884"/>
                </a:lnTo>
                <a:lnTo>
                  <a:pt x="6498" y="1880"/>
                </a:lnTo>
                <a:lnTo>
                  <a:pt x="6500" y="1882"/>
                </a:lnTo>
                <a:lnTo>
                  <a:pt x="6504" y="1886"/>
                </a:lnTo>
                <a:lnTo>
                  <a:pt x="6506" y="1886"/>
                </a:lnTo>
                <a:lnTo>
                  <a:pt x="6508" y="1886"/>
                </a:lnTo>
                <a:lnTo>
                  <a:pt x="6514" y="1884"/>
                </a:lnTo>
                <a:lnTo>
                  <a:pt x="6518" y="1884"/>
                </a:lnTo>
                <a:lnTo>
                  <a:pt x="6522" y="1882"/>
                </a:lnTo>
                <a:lnTo>
                  <a:pt x="6522" y="1876"/>
                </a:lnTo>
                <a:lnTo>
                  <a:pt x="6524" y="1872"/>
                </a:lnTo>
                <a:lnTo>
                  <a:pt x="6524" y="1870"/>
                </a:lnTo>
                <a:lnTo>
                  <a:pt x="6528" y="1866"/>
                </a:lnTo>
                <a:lnTo>
                  <a:pt x="6530" y="1866"/>
                </a:lnTo>
                <a:lnTo>
                  <a:pt x="6530" y="1864"/>
                </a:lnTo>
                <a:lnTo>
                  <a:pt x="6528" y="1858"/>
                </a:lnTo>
                <a:lnTo>
                  <a:pt x="6524" y="1854"/>
                </a:lnTo>
                <a:lnTo>
                  <a:pt x="6522" y="1848"/>
                </a:lnTo>
                <a:lnTo>
                  <a:pt x="6524" y="1846"/>
                </a:lnTo>
                <a:lnTo>
                  <a:pt x="6528" y="1848"/>
                </a:lnTo>
                <a:lnTo>
                  <a:pt x="6530" y="1850"/>
                </a:lnTo>
                <a:lnTo>
                  <a:pt x="6532" y="1850"/>
                </a:lnTo>
                <a:lnTo>
                  <a:pt x="6534" y="1848"/>
                </a:lnTo>
                <a:lnTo>
                  <a:pt x="6536" y="1846"/>
                </a:lnTo>
                <a:lnTo>
                  <a:pt x="6536" y="1848"/>
                </a:lnTo>
                <a:lnTo>
                  <a:pt x="6536" y="1852"/>
                </a:lnTo>
                <a:lnTo>
                  <a:pt x="6534" y="1854"/>
                </a:lnTo>
                <a:lnTo>
                  <a:pt x="6534" y="1856"/>
                </a:lnTo>
                <a:lnTo>
                  <a:pt x="6536" y="1860"/>
                </a:lnTo>
                <a:lnTo>
                  <a:pt x="6540" y="1864"/>
                </a:lnTo>
                <a:lnTo>
                  <a:pt x="6540" y="1870"/>
                </a:lnTo>
                <a:lnTo>
                  <a:pt x="6540" y="1872"/>
                </a:lnTo>
                <a:lnTo>
                  <a:pt x="6546" y="1874"/>
                </a:lnTo>
                <a:lnTo>
                  <a:pt x="6550" y="1874"/>
                </a:lnTo>
                <a:lnTo>
                  <a:pt x="6554" y="1876"/>
                </a:lnTo>
                <a:lnTo>
                  <a:pt x="6560" y="1878"/>
                </a:lnTo>
                <a:lnTo>
                  <a:pt x="6558" y="1880"/>
                </a:lnTo>
                <a:lnTo>
                  <a:pt x="6558" y="1884"/>
                </a:lnTo>
                <a:lnTo>
                  <a:pt x="6556" y="1888"/>
                </a:lnTo>
                <a:lnTo>
                  <a:pt x="6558" y="1894"/>
                </a:lnTo>
                <a:lnTo>
                  <a:pt x="6560" y="1902"/>
                </a:lnTo>
                <a:lnTo>
                  <a:pt x="6560" y="1910"/>
                </a:lnTo>
                <a:lnTo>
                  <a:pt x="6560" y="1920"/>
                </a:lnTo>
                <a:lnTo>
                  <a:pt x="6560" y="1924"/>
                </a:lnTo>
                <a:lnTo>
                  <a:pt x="6564" y="1930"/>
                </a:lnTo>
                <a:lnTo>
                  <a:pt x="6566" y="1932"/>
                </a:lnTo>
                <a:lnTo>
                  <a:pt x="6570" y="1934"/>
                </a:lnTo>
                <a:lnTo>
                  <a:pt x="6576" y="1930"/>
                </a:lnTo>
                <a:lnTo>
                  <a:pt x="6580" y="1928"/>
                </a:lnTo>
                <a:lnTo>
                  <a:pt x="6582" y="1928"/>
                </a:lnTo>
                <a:lnTo>
                  <a:pt x="6584" y="1932"/>
                </a:lnTo>
                <a:lnTo>
                  <a:pt x="6586" y="1936"/>
                </a:lnTo>
                <a:lnTo>
                  <a:pt x="6586" y="1940"/>
                </a:lnTo>
                <a:lnTo>
                  <a:pt x="6584" y="1946"/>
                </a:lnTo>
                <a:lnTo>
                  <a:pt x="6582" y="1954"/>
                </a:lnTo>
                <a:lnTo>
                  <a:pt x="6582" y="1960"/>
                </a:lnTo>
                <a:lnTo>
                  <a:pt x="6584" y="1968"/>
                </a:lnTo>
                <a:lnTo>
                  <a:pt x="6592" y="1988"/>
                </a:lnTo>
                <a:lnTo>
                  <a:pt x="6602" y="2010"/>
                </a:lnTo>
                <a:lnTo>
                  <a:pt x="6612" y="2028"/>
                </a:lnTo>
                <a:lnTo>
                  <a:pt x="6618" y="2032"/>
                </a:lnTo>
                <a:lnTo>
                  <a:pt x="6622" y="2034"/>
                </a:lnTo>
                <a:lnTo>
                  <a:pt x="6628" y="2034"/>
                </a:lnTo>
                <a:lnTo>
                  <a:pt x="6628" y="2036"/>
                </a:lnTo>
                <a:lnTo>
                  <a:pt x="6630" y="2038"/>
                </a:lnTo>
                <a:lnTo>
                  <a:pt x="6626" y="2042"/>
                </a:lnTo>
                <a:lnTo>
                  <a:pt x="6620" y="2046"/>
                </a:lnTo>
                <a:lnTo>
                  <a:pt x="6618" y="2048"/>
                </a:lnTo>
                <a:lnTo>
                  <a:pt x="6618" y="2050"/>
                </a:lnTo>
                <a:lnTo>
                  <a:pt x="6620" y="2056"/>
                </a:lnTo>
                <a:lnTo>
                  <a:pt x="6622" y="2060"/>
                </a:lnTo>
                <a:lnTo>
                  <a:pt x="6616" y="2058"/>
                </a:lnTo>
                <a:lnTo>
                  <a:pt x="6610" y="2056"/>
                </a:lnTo>
                <a:lnTo>
                  <a:pt x="6610" y="2058"/>
                </a:lnTo>
                <a:lnTo>
                  <a:pt x="6618" y="2068"/>
                </a:lnTo>
                <a:lnTo>
                  <a:pt x="6624" y="2076"/>
                </a:lnTo>
                <a:lnTo>
                  <a:pt x="6628" y="2086"/>
                </a:lnTo>
                <a:lnTo>
                  <a:pt x="6630" y="2094"/>
                </a:lnTo>
                <a:lnTo>
                  <a:pt x="6630" y="2098"/>
                </a:lnTo>
                <a:lnTo>
                  <a:pt x="6628" y="2104"/>
                </a:lnTo>
                <a:lnTo>
                  <a:pt x="6626" y="2110"/>
                </a:lnTo>
                <a:lnTo>
                  <a:pt x="6626" y="2114"/>
                </a:lnTo>
                <a:lnTo>
                  <a:pt x="6632" y="2116"/>
                </a:lnTo>
                <a:lnTo>
                  <a:pt x="6638" y="2114"/>
                </a:lnTo>
                <a:lnTo>
                  <a:pt x="6656" y="2112"/>
                </a:lnTo>
                <a:lnTo>
                  <a:pt x="6666" y="2112"/>
                </a:lnTo>
                <a:lnTo>
                  <a:pt x="6674" y="2112"/>
                </a:lnTo>
                <a:lnTo>
                  <a:pt x="6680" y="2110"/>
                </a:lnTo>
                <a:lnTo>
                  <a:pt x="6682" y="2106"/>
                </a:lnTo>
                <a:lnTo>
                  <a:pt x="6684" y="2092"/>
                </a:lnTo>
                <a:lnTo>
                  <a:pt x="6684" y="2084"/>
                </a:lnTo>
                <a:lnTo>
                  <a:pt x="6686" y="2078"/>
                </a:lnTo>
                <a:lnTo>
                  <a:pt x="6690" y="2074"/>
                </a:lnTo>
                <a:lnTo>
                  <a:pt x="6694" y="2074"/>
                </a:lnTo>
                <a:lnTo>
                  <a:pt x="6702" y="2074"/>
                </a:lnTo>
                <a:lnTo>
                  <a:pt x="6702" y="2070"/>
                </a:lnTo>
                <a:lnTo>
                  <a:pt x="6702" y="2068"/>
                </a:lnTo>
                <a:lnTo>
                  <a:pt x="6704" y="2066"/>
                </a:lnTo>
                <a:lnTo>
                  <a:pt x="6710" y="2064"/>
                </a:lnTo>
                <a:lnTo>
                  <a:pt x="6718" y="2064"/>
                </a:lnTo>
                <a:lnTo>
                  <a:pt x="6728" y="2062"/>
                </a:lnTo>
                <a:lnTo>
                  <a:pt x="6734" y="2064"/>
                </a:lnTo>
                <a:lnTo>
                  <a:pt x="6744" y="2068"/>
                </a:lnTo>
                <a:lnTo>
                  <a:pt x="6746" y="2068"/>
                </a:lnTo>
                <a:lnTo>
                  <a:pt x="6748" y="2066"/>
                </a:lnTo>
                <a:lnTo>
                  <a:pt x="6754" y="2054"/>
                </a:lnTo>
                <a:lnTo>
                  <a:pt x="6760" y="2038"/>
                </a:lnTo>
                <a:lnTo>
                  <a:pt x="6766" y="2026"/>
                </a:lnTo>
                <a:lnTo>
                  <a:pt x="6770" y="2018"/>
                </a:lnTo>
                <a:lnTo>
                  <a:pt x="6772" y="2010"/>
                </a:lnTo>
                <a:lnTo>
                  <a:pt x="6772" y="2002"/>
                </a:lnTo>
                <a:lnTo>
                  <a:pt x="6774" y="1992"/>
                </a:lnTo>
                <a:lnTo>
                  <a:pt x="6776" y="1984"/>
                </a:lnTo>
                <a:lnTo>
                  <a:pt x="6776" y="1976"/>
                </a:lnTo>
                <a:lnTo>
                  <a:pt x="6776" y="1972"/>
                </a:lnTo>
                <a:lnTo>
                  <a:pt x="6776" y="1968"/>
                </a:lnTo>
                <a:lnTo>
                  <a:pt x="6780" y="1962"/>
                </a:lnTo>
                <a:lnTo>
                  <a:pt x="6782" y="1956"/>
                </a:lnTo>
                <a:lnTo>
                  <a:pt x="6782" y="1952"/>
                </a:lnTo>
                <a:lnTo>
                  <a:pt x="6782" y="1948"/>
                </a:lnTo>
                <a:lnTo>
                  <a:pt x="6780" y="1944"/>
                </a:lnTo>
                <a:lnTo>
                  <a:pt x="6782" y="1940"/>
                </a:lnTo>
                <a:lnTo>
                  <a:pt x="6784" y="1934"/>
                </a:lnTo>
                <a:lnTo>
                  <a:pt x="6782" y="1928"/>
                </a:lnTo>
                <a:lnTo>
                  <a:pt x="6780" y="1924"/>
                </a:lnTo>
                <a:lnTo>
                  <a:pt x="6780" y="1922"/>
                </a:lnTo>
                <a:lnTo>
                  <a:pt x="6782" y="1920"/>
                </a:lnTo>
                <a:lnTo>
                  <a:pt x="6786" y="1920"/>
                </a:lnTo>
                <a:lnTo>
                  <a:pt x="6786" y="1918"/>
                </a:lnTo>
                <a:lnTo>
                  <a:pt x="6784" y="1916"/>
                </a:lnTo>
                <a:lnTo>
                  <a:pt x="6784" y="1912"/>
                </a:lnTo>
                <a:lnTo>
                  <a:pt x="6786" y="1910"/>
                </a:lnTo>
                <a:lnTo>
                  <a:pt x="6796" y="1906"/>
                </a:lnTo>
                <a:lnTo>
                  <a:pt x="6810" y="1900"/>
                </a:lnTo>
                <a:lnTo>
                  <a:pt x="6814" y="1896"/>
                </a:lnTo>
                <a:lnTo>
                  <a:pt x="6816" y="1892"/>
                </a:lnTo>
                <a:lnTo>
                  <a:pt x="6818" y="1888"/>
                </a:lnTo>
                <a:lnTo>
                  <a:pt x="6820" y="1886"/>
                </a:lnTo>
                <a:lnTo>
                  <a:pt x="6822" y="1888"/>
                </a:lnTo>
                <a:lnTo>
                  <a:pt x="6826" y="1892"/>
                </a:lnTo>
                <a:lnTo>
                  <a:pt x="6828" y="1892"/>
                </a:lnTo>
                <a:lnTo>
                  <a:pt x="6830" y="1890"/>
                </a:lnTo>
                <a:lnTo>
                  <a:pt x="6836" y="1882"/>
                </a:lnTo>
                <a:lnTo>
                  <a:pt x="6842" y="1880"/>
                </a:lnTo>
                <a:lnTo>
                  <a:pt x="6848" y="1876"/>
                </a:lnTo>
                <a:lnTo>
                  <a:pt x="6848" y="1874"/>
                </a:lnTo>
                <a:lnTo>
                  <a:pt x="6848" y="1872"/>
                </a:lnTo>
                <a:lnTo>
                  <a:pt x="6850" y="1872"/>
                </a:lnTo>
                <a:lnTo>
                  <a:pt x="6854" y="1870"/>
                </a:lnTo>
                <a:lnTo>
                  <a:pt x="6856" y="1868"/>
                </a:lnTo>
                <a:lnTo>
                  <a:pt x="6858" y="1866"/>
                </a:lnTo>
                <a:lnTo>
                  <a:pt x="6856" y="1864"/>
                </a:lnTo>
                <a:lnTo>
                  <a:pt x="6854" y="1858"/>
                </a:lnTo>
                <a:lnTo>
                  <a:pt x="6852" y="1856"/>
                </a:lnTo>
                <a:lnTo>
                  <a:pt x="6848" y="1858"/>
                </a:lnTo>
                <a:lnTo>
                  <a:pt x="6836" y="1864"/>
                </a:lnTo>
                <a:lnTo>
                  <a:pt x="6828" y="1866"/>
                </a:lnTo>
                <a:lnTo>
                  <a:pt x="6820" y="1868"/>
                </a:lnTo>
                <a:lnTo>
                  <a:pt x="6812" y="1866"/>
                </a:lnTo>
                <a:lnTo>
                  <a:pt x="6806" y="1862"/>
                </a:lnTo>
                <a:lnTo>
                  <a:pt x="6798" y="1858"/>
                </a:lnTo>
                <a:lnTo>
                  <a:pt x="6788" y="1856"/>
                </a:lnTo>
                <a:lnTo>
                  <a:pt x="6778" y="1854"/>
                </a:lnTo>
                <a:lnTo>
                  <a:pt x="6770" y="1856"/>
                </a:lnTo>
                <a:lnTo>
                  <a:pt x="6762" y="1856"/>
                </a:lnTo>
                <a:lnTo>
                  <a:pt x="6768" y="1852"/>
                </a:lnTo>
                <a:lnTo>
                  <a:pt x="6776" y="1848"/>
                </a:lnTo>
                <a:lnTo>
                  <a:pt x="6782" y="1846"/>
                </a:lnTo>
                <a:lnTo>
                  <a:pt x="6794" y="1848"/>
                </a:lnTo>
                <a:lnTo>
                  <a:pt x="6802" y="1850"/>
                </a:lnTo>
                <a:lnTo>
                  <a:pt x="6806" y="1850"/>
                </a:lnTo>
                <a:lnTo>
                  <a:pt x="6808" y="1850"/>
                </a:lnTo>
                <a:lnTo>
                  <a:pt x="6810" y="1848"/>
                </a:lnTo>
                <a:lnTo>
                  <a:pt x="6814" y="1850"/>
                </a:lnTo>
                <a:lnTo>
                  <a:pt x="6820" y="1856"/>
                </a:lnTo>
                <a:lnTo>
                  <a:pt x="6826" y="1860"/>
                </a:lnTo>
                <a:lnTo>
                  <a:pt x="6830" y="1862"/>
                </a:lnTo>
                <a:lnTo>
                  <a:pt x="6834" y="1860"/>
                </a:lnTo>
                <a:lnTo>
                  <a:pt x="6862" y="1844"/>
                </a:lnTo>
                <a:lnTo>
                  <a:pt x="6874" y="1836"/>
                </a:lnTo>
                <a:lnTo>
                  <a:pt x="6876" y="1832"/>
                </a:lnTo>
                <a:lnTo>
                  <a:pt x="6876" y="1828"/>
                </a:lnTo>
                <a:lnTo>
                  <a:pt x="6868" y="1818"/>
                </a:lnTo>
                <a:lnTo>
                  <a:pt x="6862" y="1814"/>
                </a:lnTo>
                <a:lnTo>
                  <a:pt x="6856" y="1812"/>
                </a:lnTo>
                <a:lnTo>
                  <a:pt x="6852" y="1812"/>
                </a:lnTo>
                <a:lnTo>
                  <a:pt x="6852" y="1806"/>
                </a:lnTo>
                <a:lnTo>
                  <a:pt x="6854" y="1802"/>
                </a:lnTo>
                <a:lnTo>
                  <a:pt x="6852" y="1800"/>
                </a:lnTo>
                <a:lnTo>
                  <a:pt x="6850" y="1798"/>
                </a:lnTo>
                <a:lnTo>
                  <a:pt x="6842" y="1794"/>
                </a:lnTo>
                <a:lnTo>
                  <a:pt x="6838" y="1788"/>
                </a:lnTo>
                <a:lnTo>
                  <a:pt x="6832" y="1784"/>
                </a:lnTo>
                <a:lnTo>
                  <a:pt x="6828" y="1784"/>
                </a:lnTo>
                <a:lnTo>
                  <a:pt x="6824" y="1784"/>
                </a:lnTo>
                <a:lnTo>
                  <a:pt x="6818" y="1786"/>
                </a:lnTo>
                <a:lnTo>
                  <a:pt x="6818" y="1782"/>
                </a:lnTo>
                <a:lnTo>
                  <a:pt x="6816" y="1780"/>
                </a:lnTo>
                <a:lnTo>
                  <a:pt x="6816" y="1778"/>
                </a:lnTo>
                <a:lnTo>
                  <a:pt x="6812" y="1778"/>
                </a:lnTo>
                <a:lnTo>
                  <a:pt x="6808" y="1778"/>
                </a:lnTo>
                <a:lnTo>
                  <a:pt x="6806" y="1776"/>
                </a:lnTo>
                <a:lnTo>
                  <a:pt x="6804" y="1768"/>
                </a:lnTo>
                <a:lnTo>
                  <a:pt x="6800" y="1758"/>
                </a:lnTo>
                <a:lnTo>
                  <a:pt x="6800" y="1746"/>
                </a:lnTo>
                <a:lnTo>
                  <a:pt x="6800" y="1734"/>
                </a:lnTo>
                <a:lnTo>
                  <a:pt x="6800" y="1722"/>
                </a:lnTo>
                <a:lnTo>
                  <a:pt x="6804" y="1716"/>
                </a:lnTo>
                <a:lnTo>
                  <a:pt x="6806" y="1714"/>
                </a:lnTo>
                <a:lnTo>
                  <a:pt x="6808" y="1712"/>
                </a:lnTo>
                <a:lnTo>
                  <a:pt x="6812" y="1712"/>
                </a:lnTo>
                <a:lnTo>
                  <a:pt x="6812" y="1710"/>
                </a:lnTo>
                <a:lnTo>
                  <a:pt x="6812" y="1702"/>
                </a:lnTo>
                <a:lnTo>
                  <a:pt x="6810" y="1692"/>
                </a:lnTo>
                <a:lnTo>
                  <a:pt x="6810" y="1686"/>
                </a:lnTo>
                <a:lnTo>
                  <a:pt x="6814" y="1678"/>
                </a:lnTo>
                <a:lnTo>
                  <a:pt x="6816" y="1672"/>
                </a:lnTo>
                <a:lnTo>
                  <a:pt x="6816" y="1670"/>
                </a:lnTo>
                <a:lnTo>
                  <a:pt x="6816" y="1668"/>
                </a:lnTo>
                <a:lnTo>
                  <a:pt x="6812" y="1668"/>
                </a:lnTo>
                <a:lnTo>
                  <a:pt x="6808" y="1668"/>
                </a:lnTo>
                <a:lnTo>
                  <a:pt x="6806" y="1664"/>
                </a:lnTo>
                <a:lnTo>
                  <a:pt x="6806" y="1660"/>
                </a:lnTo>
                <a:lnTo>
                  <a:pt x="6806" y="1654"/>
                </a:lnTo>
                <a:lnTo>
                  <a:pt x="6810" y="1656"/>
                </a:lnTo>
                <a:lnTo>
                  <a:pt x="6814" y="1658"/>
                </a:lnTo>
                <a:lnTo>
                  <a:pt x="6820" y="1658"/>
                </a:lnTo>
                <a:lnTo>
                  <a:pt x="6826" y="1656"/>
                </a:lnTo>
                <a:lnTo>
                  <a:pt x="6832" y="1652"/>
                </a:lnTo>
                <a:lnTo>
                  <a:pt x="6834" y="1650"/>
                </a:lnTo>
                <a:lnTo>
                  <a:pt x="6832" y="1646"/>
                </a:lnTo>
                <a:lnTo>
                  <a:pt x="6830" y="1644"/>
                </a:lnTo>
                <a:lnTo>
                  <a:pt x="6828" y="1642"/>
                </a:lnTo>
                <a:lnTo>
                  <a:pt x="6826" y="1640"/>
                </a:lnTo>
                <a:lnTo>
                  <a:pt x="6830" y="1638"/>
                </a:lnTo>
                <a:lnTo>
                  <a:pt x="6836" y="1638"/>
                </a:lnTo>
                <a:lnTo>
                  <a:pt x="6844" y="1634"/>
                </a:lnTo>
                <a:lnTo>
                  <a:pt x="6850" y="1630"/>
                </a:lnTo>
                <a:lnTo>
                  <a:pt x="6854" y="1624"/>
                </a:lnTo>
                <a:lnTo>
                  <a:pt x="6856" y="1620"/>
                </a:lnTo>
                <a:lnTo>
                  <a:pt x="6862" y="1610"/>
                </a:lnTo>
                <a:lnTo>
                  <a:pt x="6866" y="1608"/>
                </a:lnTo>
                <a:lnTo>
                  <a:pt x="6870" y="1610"/>
                </a:lnTo>
                <a:lnTo>
                  <a:pt x="6874" y="1612"/>
                </a:lnTo>
                <a:lnTo>
                  <a:pt x="6878" y="1610"/>
                </a:lnTo>
                <a:lnTo>
                  <a:pt x="6880" y="1602"/>
                </a:lnTo>
                <a:lnTo>
                  <a:pt x="6884" y="1594"/>
                </a:lnTo>
                <a:lnTo>
                  <a:pt x="6888" y="1592"/>
                </a:lnTo>
                <a:lnTo>
                  <a:pt x="6892" y="1592"/>
                </a:lnTo>
                <a:lnTo>
                  <a:pt x="6898" y="1592"/>
                </a:lnTo>
                <a:lnTo>
                  <a:pt x="6902" y="1590"/>
                </a:lnTo>
                <a:lnTo>
                  <a:pt x="6906" y="1586"/>
                </a:lnTo>
                <a:lnTo>
                  <a:pt x="6910" y="1582"/>
                </a:lnTo>
                <a:lnTo>
                  <a:pt x="6912" y="1580"/>
                </a:lnTo>
                <a:lnTo>
                  <a:pt x="6916" y="1582"/>
                </a:lnTo>
                <a:lnTo>
                  <a:pt x="6920" y="1582"/>
                </a:lnTo>
                <a:lnTo>
                  <a:pt x="6922" y="1580"/>
                </a:lnTo>
                <a:lnTo>
                  <a:pt x="6926" y="1576"/>
                </a:lnTo>
                <a:lnTo>
                  <a:pt x="6928" y="1572"/>
                </a:lnTo>
                <a:lnTo>
                  <a:pt x="6930" y="1570"/>
                </a:lnTo>
                <a:lnTo>
                  <a:pt x="6934" y="1570"/>
                </a:lnTo>
                <a:lnTo>
                  <a:pt x="6938" y="1570"/>
                </a:lnTo>
                <a:lnTo>
                  <a:pt x="6942" y="1568"/>
                </a:lnTo>
                <a:lnTo>
                  <a:pt x="6946" y="1558"/>
                </a:lnTo>
                <a:lnTo>
                  <a:pt x="6954" y="1544"/>
                </a:lnTo>
                <a:lnTo>
                  <a:pt x="6960" y="1538"/>
                </a:lnTo>
                <a:lnTo>
                  <a:pt x="6968" y="1530"/>
                </a:lnTo>
                <a:lnTo>
                  <a:pt x="6974" y="1526"/>
                </a:lnTo>
                <a:lnTo>
                  <a:pt x="6976" y="1524"/>
                </a:lnTo>
                <a:lnTo>
                  <a:pt x="6976" y="1520"/>
                </a:lnTo>
                <a:lnTo>
                  <a:pt x="6974" y="1520"/>
                </a:lnTo>
                <a:lnTo>
                  <a:pt x="6968" y="1514"/>
                </a:lnTo>
                <a:lnTo>
                  <a:pt x="6964" y="1512"/>
                </a:lnTo>
                <a:lnTo>
                  <a:pt x="6962" y="1506"/>
                </a:lnTo>
                <a:lnTo>
                  <a:pt x="6960" y="1502"/>
                </a:lnTo>
                <a:lnTo>
                  <a:pt x="6962" y="1498"/>
                </a:lnTo>
                <a:lnTo>
                  <a:pt x="6966" y="1492"/>
                </a:lnTo>
                <a:lnTo>
                  <a:pt x="6972" y="1486"/>
                </a:lnTo>
                <a:lnTo>
                  <a:pt x="6974" y="1480"/>
                </a:lnTo>
                <a:lnTo>
                  <a:pt x="6976" y="1474"/>
                </a:lnTo>
                <a:lnTo>
                  <a:pt x="6978" y="1468"/>
                </a:lnTo>
                <a:lnTo>
                  <a:pt x="6980" y="1464"/>
                </a:lnTo>
                <a:lnTo>
                  <a:pt x="6982" y="1462"/>
                </a:lnTo>
                <a:lnTo>
                  <a:pt x="6986" y="1460"/>
                </a:lnTo>
                <a:lnTo>
                  <a:pt x="6992" y="1460"/>
                </a:lnTo>
                <a:lnTo>
                  <a:pt x="6994" y="1458"/>
                </a:lnTo>
                <a:lnTo>
                  <a:pt x="6994" y="1456"/>
                </a:lnTo>
                <a:lnTo>
                  <a:pt x="6998" y="1450"/>
                </a:lnTo>
                <a:lnTo>
                  <a:pt x="7004" y="1444"/>
                </a:lnTo>
                <a:lnTo>
                  <a:pt x="7022" y="1430"/>
                </a:lnTo>
                <a:lnTo>
                  <a:pt x="7026" y="1428"/>
                </a:lnTo>
                <a:lnTo>
                  <a:pt x="7028" y="1430"/>
                </a:lnTo>
                <a:lnTo>
                  <a:pt x="7030" y="1434"/>
                </a:lnTo>
                <a:lnTo>
                  <a:pt x="7032" y="1436"/>
                </a:lnTo>
                <a:lnTo>
                  <a:pt x="7034" y="1438"/>
                </a:lnTo>
                <a:lnTo>
                  <a:pt x="7038" y="1438"/>
                </a:lnTo>
                <a:lnTo>
                  <a:pt x="7042" y="1436"/>
                </a:lnTo>
                <a:lnTo>
                  <a:pt x="7048" y="1434"/>
                </a:lnTo>
                <a:lnTo>
                  <a:pt x="7054" y="1432"/>
                </a:lnTo>
                <a:lnTo>
                  <a:pt x="7062" y="1434"/>
                </a:lnTo>
                <a:lnTo>
                  <a:pt x="7072" y="1434"/>
                </a:lnTo>
                <a:lnTo>
                  <a:pt x="7076" y="1434"/>
                </a:lnTo>
                <a:lnTo>
                  <a:pt x="7082" y="1432"/>
                </a:lnTo>
                <a:lnTo>
                  <a:pt x="7092" y="1434"/>
                </a:lnTo>
                <a:lnTo>
                  <a:pt x="7098" y="1438"/>
                </a:lnTo>
                <a:lnTo>
                  <a:pt x="7102" y="1440"/>
                </a:lnTo>
                <a:lnTo>
                  <a:pt x="7112" y="1444"/>
                </a:lnTo>
                <a:lnTo>
                  <a:pt x="7122" y="1448"/>
                </a:lnTo>
                <a:lnTo>
                  <a:pt x="7126" y="1450"/>
                </a:lnTo>
                <a:lnTo>
                  <a:pt x="7126" y="1454"/>
                </a:lnTo>
                <a:lnTo>
                  <a:pt x="7126" y="1462"/>
                </a:lnTo>
                <a:lnTo>
                  <a:pt x="7124" y="1472"/>
                </a:lnTo>
                <a:lnTo>
                  <a:pt x="7124" y="1480"/>
                </a:lnTo>
                <a:lnTo>
                  <a:pt x="7126" y="1484"/>
                </a:lnTo>
                <a:lnTo>
                  <a:pt x="7130" y="1486"/>
                </a:lnTo>
                <a:lnTo>
                  <a:pt x="7130" y="1490"/>
                </a:lnTo>
                <a:lnTo>
                  <a:pt x="7128" y="1494"/>
                </a:lnTo>
                <a:lnTo>
                  <a:pt x="7124" y="1494"/>
                </a:lnTo>
                <a:lnTo>
                  <a:pt x="7118" y="1494"/>
                </a:lnTo>
                <a:lnTo>
                  <a:pt x="7106" y="1496"/>
                </a:lnTo>
                <a:lnTo>
                  <a:pt x="7100" y="1498"/>
                </a:lnTo>
                <a:lnTo>
                  <a:pt x="7096" y="1502"/>
                </a:lnTo>
                <a:lnTo>
                  <a:pt x="7090" y="1512"/>
                </a:lnTo>
                <a:lnTo>
                  <a:pt x="7082" y="1526"/>
                </a:lnTo>
                <a:lnTo>
                  <a:pt x="7076" y="1532"/>
                </a:lnTo>
                <a:lnTo>
                  <a:pt x="7066" y="1540"/>
                </a:lnTo>
                <a:lnTo>
                  <a:pt x="7058" y="1546"/>
                </a:lnTo>
                <a:lnTo>
                  <a:pt x="7052" y="1550"/>
                </a:lnTo>
                <a:lnTo>
                  <a:pt x="7050" y="1554"/>
                </a:lnTo>
                <a:lnTo>
                  <a:pt x="7050" y="1556"/>
                </a:lnTo>
                <a:lnTo>
                  <a:pt x="7050" y="1558"/>
                </a:lnTo>
                <a:lnTo>
                  <a:pt x="7044" y="1560"/>
                </a:lnTo>
                <a:lnTo>
                  <a:pt x="7038" y="1562"/>
                </a:lnTo>
                <a:lnTo>
                  <a:pt x="7034" y="1566"/>
                </a:lnTo>
                <a:lnTo>
                  <a:pt x="7030" y="1572"/>
                </a:lnTo>
                <a:lnTo>
                  <a:pt x="7028" y="1576"/>
                </a:lnTo>
                <a:lnTo>
                  <a:pt x="7026" y="1578"/>
                </a:lnTo>
                <a:lnTo>
                  <a:pt x="7024" y="1576"/>
                </a:lnTo>
                <a:lnTo>
                  <a:pt x="7020" y="1576"/>
                </a:lnTo>
                <a:lnTo>
                  <a:pt x="7016" y="1578"/>
                </a:lnTo>
                <a:lnTo>
                  <a:pt x="7014" y="1582"/>
                </a:lnTo>
                <a:lnTo>
                  <a:pt x="7010" y="1586"/>
                </a:lnTo>
                <a:lnTo>
                  <a:pt x="7008" y="1588"/>
                </a:lnTo>
                <a:lnTo>
                  <a:pt x="7006" y="1588"/>
                </a:lnTo>
                <a:lnTo>
                  <a:pt x="7004" y="1588"/>
                </a:lnTo>
                <a:lnTo>
                  <a:pt x="7002" y="1590"/>
                </a:lnTo>
                <a:lnTo>
                  <a:pt x="7002" y="1596"/>
                </a:lnTo>
                <a:lnTo>
                  <a:pt x="7002" y="1602"/>
                </a:lnTo>
                <a:lnTo>
                  <a:pt x="7002" y="1606"/>
                </a:lnTo>
                <a:lnTo>
                  <a:pt x="6998" y="1610"/>
                </a:lnTo>
                <a:lnTo>
                  <a:pt x="6996" y="1610"/>
                </a:lnTo>
                <a:lnTo>
                  <a:pt x="6992" y="1612"/>
                </a:lnTo>
                <a:lnTo>
                  <a:pt x="6984" y="1610"/>
                </a:lnTo>
                <a:lnTo>
                  <a:pt x="6978" y="1608"/>
                </a:lnTo>
                <a:lnTo>
                  <a:pt x="6976" y="1610"/>
                </a:lnTo>
                <a:lnTo>
                  <a:pt x="6976" y="1612"/>
                </a:lnTo>
                <a:lnTo>
                  <a:pt x="6974" y="1616"/>
                </a:lnTo>
                <a:lnTo>
                  <a:pt x="6972" y="1622"/>
                </a:lnTo>
                <a:lnTo>
                  <a:pt x="6964" y="1632"/>
                </a:lnTo>
                <a:lnTo>
                  <a:pt x="6960" y="1638"/>
                </a:lnTo>
                <a:lnTo>
                  <a:pt x="6958" y="1646"/>
                </a:lnTo>
                <a:lnTo>
                  <a:pt x="6960" y="1654"/>
                </a:lnTo>
                <a:lnTo>
                  <a:pt x="6962" y="1664"/>
                </a:lnTo>
                <a:lnTo>
                  <a:pt x="6966" y="1672"/>
                </a:lnTo>
                <a:lnTo>
                  <a:pt x="6966" y="1678"/>
                </a:lnTo>
                <a:lnTo>
                  <a:pt x="6966" y="1680"/>
                </a:lnTo>
                <a:lnTo>
                  <a:pt x="6964" y="1684"/>
                </a:lnTo>
                <a:lnTo>
                  <a:pt x="6962" y="1686"/>
                </a:lnTo>
                <a:lnTo>
                  <a:pt x="6962" y="1690"/>
                </a:lnTo>
                <a:lnTo>
                  <a:pt x="6966" y="1696"/>
                </a:lnTo>
                <a:lnTo>
                  <a:pt x="6972" y="1704"/>
                </a:lnTo>
                <a:lnTo>
                  <a:pt x="6978" y="1710"/>
                </a:lnTo>
                <a:lnTo>
                  <a:pt x="6978" y="1714"/>
                </a:lnTo>
                <a:lnTo>
                  <a:pt x="6978" y="1716"/>
                </a:lnTo>
                <a:lnTo>
                  <a:pt x="6976" y="1716"/>
                </a:lnTo>
                <a:lnTo>
                  <a:pt x="6972" y="1718"/>
                </a:lnTo>
                <a:lnTo>
                  <a:pt x="6970" y="1720"/>
                </a:lnTo>
                <a:lnTo>
                  <a:pt x="6970" y="1724"/>
                </a:lnTo>
                <a:lnTo>
                  <a:pt x="6972" y="1732"/>
                </a:lnTo>
                <a:lnTo>
                  <a:pt x="6972" y="1740"/>
                </a:lnTo>
                <a:lnTo>
                  <a:pt x="6968" y="1762"/>
                </a:lnTo>
                <a:lnTo>
                  <a:pt x="6964" y="1772"/>
                </a:lnTo>
                <a:lnTo>
                  <a:pt x="6964" y="1780"/>
                </a:lnTo>
                <a:lnTo>
                  <a:pt x="6966" y="1782"/>
                </a:lnTo>
                <a:lnTo>
                  <a:pt x="6970" y="1784"/>
                </a:lnTo>
                <a:lnTo>
                  <a:pt x="6982" y="1788"/>
                </a:lnTo>
                <a:lnTo>
                  <a:pt x="7006" y="1792"/>
                </a:lnTo>
                <a:lnTo>
                  <a:pt x="7012" y="1796"/>
                </a:lnTo>
                <a:lnTo>
                  <a:pt x="7014" y="1798"/>
                </a:lnTo>
                <a:lnTo>
                  <a:pt x="7012" y="1802"/>
                </a:lnTo>
                <a:lnTo>
                  <a:pt x="7012" y="1810"/>
                </a:lnTo>
                <a:lnTo>
                  <a:pt x="7014" y="1818"/>
                </a:lnTo>
                <a:lnTo>
                  <a:pt x="7016" y="1820"/>
                </a:lnTo>
                <a:lnTo>
                  <a:pt x="7018" y="1822"/>
                </a:lnTo>
                <a:lnTo>
                  <a:pt x="7020" y="1820"/>
                </a:lnTo>
                <a:lnTo>
                  <a:pt x="7024" y="1818"/>
                </a:lnTo>
                <a:lnTo>
                  <a:pt x="7030" y="1812"/>
                </a:lnTo>
                <a:lnTo>
                  <a:pt x="7036" y="1812"/>
                </a:lnTo>
                <a:lnTo>
                  <a:pt x="7038" y="1812"/>
                </a:lnTo>
                <a:lnTo>
                  <a:pt x="7040" y="1814"/>
                </a:lnTo>
                <a:lnTo>
                  <a:pt x="7038" y="1818"/>
                </a:lnTo>
                <a:lnTo>
                  <a:pt x="7036" y="1822"/>
                </a:lnTo>
                <a:lnTo>
                  <a:pt x="7032" y="1830"/>
                </a:lnTo>
                <a:lnTo>
                  <a:pt x="7030" y="1832"/>
                </a:lnTo>
                <a:lnTo>
                  <a:pt x="7036" y="1832"/>
                </a:lnTo>
                <a:lnTo>
                  <a:pt x="7050" y="1824"/>
                </a:lnTo>
                <a:lnTo>
                  <a:pt x="7060" y="1822"/>
                </a:lnTo>
                <a:lnTo>
                  <a:pt x="7074" y="1820"/>
                </a:lnTo>
                <a:lnTo>
                  <a:pt x="7092" y="1816"/>
                </a:lnTo>
                <a:lnTo>
                  <a:pt x="7122" y="1806"/>
                </a:lnTo>
                <a:lnTo>
                  <a:pt x="7132" y="1802"/>
                </a:lnTo>
                <a:lnTo>
                  <a:pt x="7138" y="1800"/>
                </a:lnTo>
                <a:lnTo>
                  <a:pt x="7144" y="1802"/>
                </a:lnTo>
                <a:lnTo>
                  <a:pt x="7146" y="1802"/>
                </a:lnTo>
                <a:lnTo>
                  <a:pt x="7150" y="1804"/>
                </a:lnTo>
                <a:lnTo>
                  <a:pt x="7154" y="1798"/>
                </a:lnTo>
                <a:lnTo>
                  <a:pt x="7160" y="1794"/>
                </a:lnTo>
                <a:lnTo>
                  <a:pt x="7164" y="1794"/>
                </a:lnTo>
                <a:lnTo>
                  <a:pt x="7168" y="1796"/>
                </a:lnTo>
                <a:lnTo>
                  <a:pt x="7174" y="1794"/>
                </a:lnTo>
                <a:lnTo>
                  <a:pt x="7182" y="1792"/>
                </a:lnTo>
                <a:lnTo>
                  <a:pt x="7190" y="1788"/>
                </a:lnTo>
                <a:lnTo>
                  <a:pt x="7196" y="1788"/>
                </a:lnTo>
                <a:lnTo>
                  <a:pt x="7206" y="1788"/>
                </a:lnTo>
                <a:lnTo>
                  <a:pt x="7216" y="1788"/>
                </a:lnTo>
                <a:lnTo>
                  <a:pt x="7222" y="1786"/>
                </a:lnTo>
                <a:lnTo>
                  <a:pt x="7230" y="1784"/>
                </a:lnTo>
                <a:lnTo>
                  <a:pt x="7234" y="1786"/>
                </a:lnTo>
                <a:lnTo>
                  <a:pt x="7240" y="1786"/>
                </a:lnTo>
                <a:lnTo>
                  <a:pt x="7250" y="1780"/>
                </a:lnTo>
                <a:lnTo>
                  <a:pt x="7258" y="1772"/>
                </a:lnTo>
                <a:lnTo>
                  <a:pt x="7262" y="1772"/>
                </a:lnTo>
                <a:lnTo>
                  <a:pt x="7264" y="1772"/>
                </a:lnTo>
                <a:lnTo>
                  <a:pt x="7266" y="1774"/>
                </a:lnTo>
                <a:lnTo>
                  <a:pt x="7262" y="1776"/>
                </a:lnTo>
                <a:lnTo>
                  <a:pt x="7260" y="1778"/>
                </a:lnTo>
                <a:lnTo>
                  <a:pt x="7262" y="1784"/>
                </a:lnTo>
                <a:lnTo>
                  <a:pt x="7264" y="1788"/>
                </a:lnTo>
                <a:lnTo>
                  <a:pt x="7262" y="1788"/>
                </a:lnTo>
                <a:lnTo>
                  <a:pt x="7258" y="1786"/>
                </a:lnTo>
                <a:lnTo>
                  <a:pt x="7254" y="1786"/>
                </a:lnTo>
                <a:lnTo>
                  <a:pt x="7256" y="1792"/>
                </a:lnTo>
                <a:lnTo>
                  <a:pt x="7262" y="1798"/>
                </a:lnTo>
                <a:lnTo>
                  <a:pt x="7266" y="1798"/>
                </a:lnTo>
                <a:lnTo>
                  <a:pt x="7268" y="1798"/>
                </a:lnTo>
                <a:lnTo>
                  <a:pt x="7272" y="1804"/>
                </a:lnTo>
                <a:lnTo>
                  <a:pt x="7276" y="1806"/>
                </a:lnTo>
                <a:lnTo>
                  <a:pt x="7282" y="1808"/>
                </a:lnTo>
                <a:lnTo>
                  <a:pt x="7292" y="1808"/>
                </a:lnTo>
                <a:lnTo>
                  <a:pt x="7302" y="1808"/>
                </a:lnTo>
                <a:lnTo>
                  <a:pt x="7308" y="1810"/>
                </a:lnTo>
                <a:lnTo>
                  <a:pt x="7310" y="1812"/>
                </a:lnTo>
                <a:lnTo>
                  <a:pt x="7312" y="1816"/>
                </a:lnTo>
                <a:lnTo>
                  <a:pt x="7316" y="1818"/>
                </a:lnTo>
                <a:lnTo>
                  <a:pt x="7322" y="1820"/>
                </a:lnTo>
                <a:lnTo>
                  <a:pt x="7326" y="1820"/>
                </a:lnTo>
                <a:lnTo>
                  <a:pt x="7326" y="1822"/>
                </a:lnTo>
                <a:lnTo>
                  <a:pt x="7326" y="1824"/>
                </a:lnTo>
                <a:lnTo>
                  <a:pt x="7322" y="1828"/>
                </a:lnTo>
                <a:lnTo>
                  <a:pt x="7318" y="1828"/>
                </a:lnTo>
                <a:lnTo>
                  <a:pt x="7294" y="1820"/>
                </a:lnTo>
                <a:lnTo>
                  <a:pt x="7286" y="1820"/>
                </a:lnTo>
                <a:lnTo>
                  <a:pt x="7280" y="1820"/>
                </a:lnTo>
                <a:lnTo>
                  <a:pt x="7278" y="1824"/>
                </a:lnTo>
                <a:lnTo>
                  <a:pt x="7276" y="1826"/>
                </a:lnTo>
                <a:lnTo>
                  <a:pt x="7274" y="1830"/>
                </a:lnTo>
                <a:lnTo>
                  <a:pt x="7272" y="1832"/>
                </a:lnTo>
                <a:lnTo>
                  <a:pt x="7268" y="1834"/>
                </a:lnTo>
                <a:lnTo>
                  <a:pt x="7264" y="1832"/>
                </a:lnTo>
                <a:lnTo>
                  <a:pt x="7258" y="1830"/>
                </a:lnTo>
                <a:lnTo>
                  <a:pt x="7254" y="1830"/>
                </a:lnTo>
                <a:lnTo>
                  <a:pt x="7254" y="1834"/>
                </a:lnTo>
                <a:lnTo>
                  <a:pt x="7254" y="1836"/>
                </a:lnTo>
                <a:lnTo>
                  <a:pt x="7252" y="1840"/>
                </a:lnTo>
                <a:lnTo>
                  <a:pt x="7250" y="1840"/>
                </a:lnTo>
                <a:lnTo>
                  <a:pt x="7244" y="1838"/>
                </a:lnTo>
                <a:lnTo>
                  <a:pt x="7240" y="1834"/>
                </a:lnTo>
                <a:lnTo>
                  <a:pt x="7236" y="1834"/>
                </a:lnTo>
                <a:lnTo>
                  <a:pt x="7236" y="1836"/>
                </a:lnTo>
                <a:lnTo>
                  <a:pt x="7236" y="1838"/>
                </a:lnTo>
                <a:lnTo>
                  <a:pt x="7238" y="1846"/>
                </a:lnTo>
                <a:lnTo>
                  <a:pt x="7238" y="1850"/>
                </a:lnTo>
                <a:lnTo>
                  <a:pt x="7236" y="1854"/>
                </a:lnTo>
                <a:lnTo>
                  <a:pt x="7226" y="1858"/>
                </a:lnTo>
                <a:lnTo>
                  <a:pt x="7214" y="1858"/>
                </a:lnTo>
                <a:lnTo>
                  <a:pt x="7204" y="1858"/>
                </a:lnTo>
                <a:lnTo>
                  <a:pt x="7192" y="1854"/>
                </a:lnTo>
                <a:lnTo>
                  <a:pt x="7182" y="1848"/>
                </a:lnTo>
                <a:lnTo>
                  <a:pt x="7172" y="1846"/>
                </a:lnTo>
                <a:lnTo>
                  <a:pt x="7160" y="1846"/>
                </a:lnTo>
                <a:lnTo>
                  <a:pt x="7144" y="1842"/>
                </a:lnTo>
                <a:lnTo>
                  <a:pt x="7138" y="1842"/>
                </a:lnTo>
                <a:lnTo>
                  <a:pt x="7134" y="1842"/>
                </a:lnTo>
                <a:lnTo>
                  <a:pt x="7132" y="1844"/>
                </a:lnTo>
                <a:lnTo>
                  <a:pt x="7132" y="1846"/>
                </a:lnTo>
                <a:lnTo>
                  <a:pt x="7130" y="1850"/>
                </a:lnTo>
                <a:lnTo>
                  <a:pt x="7126" y="1852"/>
                </a:lnTo>
                <a:lnTo>
                  <a:pt x="7120" y="1852"/>
                </a:lnTo>
                <a:lnTo>
                  <a:pt x="7106" y="1850"/>
                </a:lnTo>
                <a:lnTo>
                  <a:pt x="7092" y="1852"/>
                </a:lnTo>
                <a:lnTo>
                  <a:pt x="7082" y="1856"/>
                </a:lnTo>
                <a:lnTo>
                  <a:pt x="7078" y="1858"/>
                </a:lnTo>
                <a:lnTo>
                  <a:pt x="7076" y="1862"/>
                </a:lnTo>
                <a:lnTo>
                  <a:pt x="7074" y="1864"/>
                </a:lnTo>
                <a:lnTo>
                  <a:pt x="7072" y="1866"/>
                </a:lnTo>
                <a:lnTo>
                  <a:pt x="7064" y="1868"/>
                </a:lnTo>
                <a:lnTo>
                  <a:pt x="7058" y="1872"/>
                </a:lnTo>
                <a:lnTo>
                  <a:pt x="7056" y="1874"/>
                </a:lnTo>
                <a:lnTo>
                  <a:pt x="7054" y="1880"/>
                </a:lnTo>
                <a:lnTo>
                  <a:pt x="7052" y="1890"/>
                </a:lnTo>
                <a:lnTo>
                  <a:pt x="7052" y="1898"/>
                </a:lnTo>
                <a:lnTo>
                  <a:pt x="7054" y="1904"/>
                </a:lnTo>
                <a:lnTo>
                  <a:pt x="7056" y="1912"/>
                </a:lnTo>
                <a:lnTo>
                  <a:pt x="7062" y="1920"/>
                </a:lnTo>
                <a:lnTo>
                  <a:pt x="7066" y="1928"/>
                </a:lnTo>
                <a:lnTo>
                  <a:pt x="7070" y="1930"/>
                </a:lnTo>
                <a:lnTo>
                  <a:pt x="7074" y="1932"/>
                </a:lnTo>
                <a:lnTo>
                  <a:pt x="7080" y="1930"/>
                </a:lnTo>
                <a:lnTo>
                  <a:pt x="7086" y="1928"/>
                </a:lnTo>
                <a:lnTo>
                  <a:pt x="7094" y="1924"/>
                </a:lnTo>
                <a:lnTo>
                  <a:pt x="7096" y="1924"/>
                </a:lnTo>
                <a:lnTo>
                  <a:pt x="7096" y="1928"/>
                </a:lnTo>
                <a:lnTo>
                  <a:pt x="7086" y="1956"/>
                </a:lnTo>
                <a:lnTo>
                  <a:pt x="7086" y="1964"/>
                </a:lnTo>
                <a:lnTo>
                  <a:pt x="7088" y="1972"/>
                </a:lnTo>
                <a:lnTo>
                  <a:pt x="7092" y="1986"/>
                </a:lnTo>
                <a:lnTo>
                  <a:pt x="7092" y="1992"/>
                </a:lnTo>
                <a:lnTo>
                  <a:pt x="7090" y="1998"/>
                </a:lnTo>
                <a:lnTo>
                  <a:pt x="7086" y="2004"/>
                </a:lnTo>
                <a:lnTo>
                  <a:pt x="7076" y="2008"/>
                </a:lnTo>
                <a:lnTo>
                  <a:pt x="7064" y="2012"/>
                </a:lnTo>
                <a:lnTo>
                  <a:pt x="7054" y="2010"/>
                </a:lnTo>
                <a:lnTo>
                  <a:pt x="7048" y="2008"/>
                </a:lnTo>
                <a:lnTo>
                  <a:pt x="7044" y="2002"/>
                </a:lnTo>
                <a:lnTo>
                  <a:pt x="7038" y="1990"/>
                </a:lnTo>
                <a:lnTo>
                  <a:pt x="7034" y="1984"/>
                </a:lnTo>
                <a:lnTo>
                  <a:pt x="7028" y="1980"/>
                </a:lnTo>
                <a:lnTo>
                  <a:pt x="7022" y="1976"/>
                </a:lnTo>
                <a:lnTo>
                  <a:pt x="7018" y="1974"/>
                </a:lnTo>
                <a:lnTo>
                  <a:pt x="7018" y="1970"/>
                </a:lnTo>
                <a:lnTo>
                  <a:pt x="7018" y="1968"/>
                </a:lnTo>
                <a:lnTo>
                  <a:pt x="7018" y="1966"/>
                </a:lnTo>
                <a:lnTo>
                  <a:pt x="7016" y="1964"/>
                </a:lnTo>
                <a:lnTo>
                  <a:pt x="7010" y="1966"/>
                </a:lnTo>
                <a:lnTo>
                  <a:pt x="6986" y="1974"/>
                </a:lnTo>
                <a:lnTo>
                  <a:pt x="6980" y="1978"/>
                </a:lnTo>
                <a:lnTo>
                  <a:pt x="6976" y="1980"/>
                </a:lnTo>
                <a:lnTo>
                  <a:pt x="6970" y="1992"/>
                </a:lnTo>
                <a:lnTo>
                  <a:pt x="6968" y="1996"/>
                </a:lnTo>
                <a:lnTo>
                  <a:pt x="6970" y="2002"/>
                </a:lnTo>
                <a:lnTo>
                  <a:pt x="6970" y="2006"/>
                </a:lnTo>
                <a:lnTo>
                  <a:pt x="6970" y="2008"/>
                </a:lnTo>
                <a:lnTo>
                  <a:pt x="6966" y="2012"/>
                </a:lnTo>
                <a:lnTo>
                  <a:pt x="6960" y="2018"/>
                </a:lnTo>
                <a:lnTo>
                  <a:pt x="6956" y="2022"/>
                </a:lnTo>
                <a:lnTo>
                  <a:pt x="6954" y="2026"/>
                </a:lnTo>
                <a:lnTo>
                  <a:pt x="6952" y="2038"/>
                </a:lnTo>
                <a:lnTo>
                  <a:pt x="6952" y="2048"/>
                </a:lnTo>
                <a:lnTo>
                  <a:pt x="6952" y="2070"/>
                </a:lnTo>
                <a:lnTo>
                  <a:pt x="6954" y="2084"/>
                </a:lnTo>
                <a:lnTo>
                  <a:pt x="6954" y="2088"/>
                </a:lnTo>
                <a:lnTo>
                  <a:pt x="6958" y="2094"/>
                </a:lnTo>
                <a:lnTo>
                  <a:pt x="6962" y="2100"/>
                </a:lnTo>
                <a:lnTo>
                  <a:pt x="6964" y="2108"/>
                </a:lnTo>
                <a:lnTo>
                  <a:pt x="6964" y="2120"/>
                </a:lnTo>
                <a:lnTo>
                  <a:pt x="6964" y="2124"/>
                </a:lnTo>
                <a:lnTo>
                  <a:pt x="6962" y="2124"/>
                </a:lnTo>
                <a:lnTo>
                  <a:pt x="6960" y="2126"/>
                </a:lnTo>
                <a:lnTo>
                  <a:pt x="6962" y="2134"/>
                </a:lnTo>
                <a:lnTo>
                  <a:pt x="6962" y="2136"/>
                </a:lnTo>
                <a:lnTo>
                  <a:pt x="6960" y="2138"/>
                </a:lnTo>
                <a:lnTo>
                  <a:pt x="6956" y="2142"/>
                </a:lnTo>
                <a:lnTo>
                  <a:pt x="6948" y="2142"/>
                </a:lnTo>
                <a:lnTo>
                  <a:pt x="6942" y="2142"/>
                </a:lnTo>
                <a:lnTo>
                  <a:pt x="6942" y="2140"/>
                </a:lnTo>
                <a:lnTo>
                  <a:pt x="6940" y="2140"/>
                </a:lnTo>
                <a:lnTo>
                  <a:pt x="6942" y="2134"/>
                </a:lnTo>
                <a:lnTo>
                  <a:pt x="6952" y="2122"/>
                </a:lnTo>
                <a:lnTo>
                  <a:pt x="6954" y="2118"/>
                </a:lnTo>
                <a:lnTo>
                  <a:pt x="6952" y="2118"/>
                </a:lnTo>
                <a:lnTo>
                  <a:pt x="6940" y="2130"/>
                </a:lnTo>
                <a:lnTo>
                  <a:pt x="6934" y="2138"/>
                </a:lnTo>
                <a:lnTo>
                  <a:pt x="6930" y="2138"/>
                </a:lnTo>
                <a:lnTo>
                  <a:pt x="6924" y="2138"/>
                </a:lnTo>
                <a:lnTo>
                  <a:pt x="6916" y="2138"/>
                </a:lnTo>
                <a:lnTo>
                  <a:pt x="6912" y="2140"/>
                </a:lnTo>
                <a:lnTo>
                  <a:pt x="6910" y="2142"/>
                </a:lnTo>
                <a:lnTo>
                  <a:pt x="6908" y="2148"/>
                </a:lnTo>
                <a:lnTo>
                  <a:pt x="6910" y="2152"/>
                </a:lnTo>
                <a:lnTo>
                  <a:pt x="6908" y="2158"/>
                </a:lnTo>
                <a:lnTo>
                  <a:pt x="6904" y="2162"/>
                </a:lnTo>
                <a:lnTo>
                  <a:pt x="6898" y="2168"/>
                </a:lnTo>
                <a:lnTo>
                  <a:pt x="6886" y="2174"/>
                </a:lnTo>
                <a:lnTo>
                  <a:pt x="6874" y="2176"/>
                </a:lnTo>
                <a:lnTo>
                  <a:pt x="6866" y="2176"/>
                </a:lnTo>
                <a:lnTo>
                  <a:pt x="6862" y="2174"/>
                </a:lnTo>
                <a:lnTo>
                  <a:pt x="6858" y="2170"/>
                </a:lnTo>
                <a:lnTo>
                  <a:pt x="6854" y="2166"/>
                </a:lnTo>
                <a:lnTo>
                  <a:pt x="6850" y="2154"/>
                </a:lnTo>
                <a:lnTo>
                  <a:pt x="6852" y="2154"/>
                </a:lnTo>
                <a:lnTo>
                  <a:pt x="6858" y="2158"/>
                </a:lnTo>
                <a:lnTo>
                  <a:pt x="6864" y="2162"/>
                </a:lnTo>
                <a:lnTo>
                  <a:pt x="6868" y="2162"/>
                </a:lnTo>
                <a:lnTo>
                  <a:pt x="6868" y="2160"/>
                </a:lnTo>
                <a:lnTo>
                  <a:pt x="6866" y="2158"/>
                </a:lnTo>
                <a:lnTo>
                  <a:pt x="6852" y="2150"/>
                </a:lnTo>
                <a:lnTo>
                  <a:pt x="6844" y="2146"/>
                </a:lnTo>
                <a:lnTo>
                  <a:pt x="6836" y="2146"/>
                </a:lnTo>
                <a:lnTo>
                  <a:pt x="6822" y="2148"/>
                </a:lnTo>
                <a:lnTo>
                  <a:pt x="6802" y="2152"/>
                </a:lnTo>
                <a:lnTo>
                  <a:pt x="6798" y="2156"/>
                </a:lnTo>
                <a:lnTo>
                  <a:pt x="6794" y="2158"/>
                </a:lnTo>
                <a:lnTo>
                  <a:pt x="6784" y="2162"/>
                </a:lnTo>
                <a:lnTo>
                  <a:pt x="6776" y="2164"/>
                </a:lnTo>
                <a:lnTo>
                  <a:pt x="6770" y="2168"/>
                </a:lnTo>
                <a:lnTo>
                  <a:pt x="6766" y="2172"/>
                </a:lnTo>
                <a:lnTo>
                  <a:pt x="6764" y="2176"/>
                </a:lnTo>
                <a:lnTo>
                  <a:pt x="6760" y="2178"/>
                </a:lnTo>
                <a:lnTo>
                  <a:pt x="6752" y="2182"/>
                </a:lnTo>
                <a:lnTo>
                  <a:pt x="6738" y="2186"/>
                </a:lnTo>
                <a:lnTo>
                  <a:pt x="6718" y="2192"/>
                </a:lnTo>
                <a:lnTo>
                  <a:pt x="6704" y="2198"/>
                </a:lnTo>
                <a:lnTo>
                  <a:pt x="6692" y="2202"/>
                </a:lnTo>
                <a:lnTo>
                  <a:pt x="6686" y="2202"/>
                </a:lnTo>
                <a:lnTo>
                  <a:pt x="6680" y="2202"/>
                </a:lnTo>
                <a:lnTo>
                  <a:pt x="6676" y="2200"/>
                </a:lnTo>
                <a:lnTo>
                  <a:pt x="6672" y="2196"/>
                </a:lnTo>
                <a:lnTo>
                  <a:pt x="6664" y="2188"/>
                </a:lnTo>
                <a:lnTo>
                  <a:pt x="6664" y="2192"/>
                </a:lnTo>
                <a:lnTo>
                  <a:pt x="6668" y="2200"/>
                </a:lnTo>
                <a:lnTo>
                  <a:pt x="6668" y="2202"/>
                </a:lnTo>
                <a:lnTo>
                  <a:pt x="6668" y="2204"/>
                </a:lnTo>
                <a:lnTo>
                  <a:pt x="6666" y="2206"/>
                </a:lnTo>
                <a:lnTo>
                  <a:pt x="6666" y="2208"/>
                </a:lnTo>
                <a:lnTo>
                  <a:pt x="6670" y="2208"/>
                </a:lnTo>
                <a:lnTo>
                  <a:pt x="6674" y="2206"/>
                </a:lnTo>
                <a:lnTo>
                  <a:pt x="6678" y="2206"/>
                </a:lnTo>
                <a:lnTo>
                  <a:pt x="6680" y="2206"/>
                </a:lnTo>
                <a:lnTo>
                  <a:pt x="6684" y="2210"/>
                </a:lnTo>
                <a:lnTo>
                  <a:pt x="6686" y="2208"/>
                </a:lnTo>
                <a:lnTo>
                  <a:pt x="6688" y="2208"/>
                </a:lnTo>
                <a:lnTo>
                  <a:pt x="6692" y="2208"/>
                </a:lnTo>
                <a:lnTo>
                  <a:pt x="6694" y="2210"/>
                </a:lnTo>
                <a:lnTo>
                  <a:pt x="6694" y="2218"/>
                </a:lnTo>
                <a:lnTo>
                  <a:pt x="6694" y="2220"/>
                </a:lnTo>
                <a:lnTo>
                  <a:pt x="6692" y="2220"/>
                </a:lnTo>
                <a:lnTo>
                  <a:pt x="6688" y="2218"/>
                </a:lnTo>
                <a:lnTo>
                  <a:pt x="6682" y="2216"/>
                </a:lnTo>
                <a:lnTo>
                  <a:pt x="6680" y="2214"/>
                </a:lnTo>
                <a:lnTo>
                  <a:pt x="6670" y="2212"/>
                </a:lnTo>
                <a:lnTo>
                  <a:pt x="6664" y="2210"/>
                </a:lnTo>
                <a:lnTo>
                  <a:pt x="6664" y="2208"/>
                </a:lnTo>
                <a:lnTo>
                  <a:pt x="6664" y="2204"/>
                </a:lnTo>
                <a:lnTo>
                  <a:pt x="6664" y="2200"/>
                </a:lnTo>
                <a:lnTo>
                  <a:pt x="6662" y="2198"/>
                </a:lnTo>
                <a:lnTo>
                  <a:pt x="6662" y="2194"/>
                </a:lnTo>
                <a:lnTo>
                  <a:pt x="6660" y="2188"/>
                </a:lnTo>
                <a:lnTo>
                  <a:pt x="6658" y="2188"/>
                </a:lnTo>
                <a:lnTo>
                  <a:pt x="6654" y="2190"/>
                </a:lnTo>
                <a:lnTo>
                  <a:pt x="6646" y="2190"/>
                </a:lnTo>
                <a:lnTo>
                  <a:pt x="6642" y="2188"/>
                </a:lnTo>
                <a:lnTo>
                  <a:pt x="6638" y="2184"/>
                </a:lnTo>
                <a:lnTo>
                  <a:pt x="6634" y="2178"/>
                </a:lnTo>
                <a:lnTo>
                  <a:pt x="6632" y="2174"/>
                </a:lnTo>
                <a:lnTo>
                  <a:pt x="6632" y="2172"/>
                </a:lnTo>
                <a:lnTo>
                  <a:pt x="6628" y="2172"/>
                </a:lnTo>
                <a:lnTo>
                  <a:pt x="6622" y="2172"/>
                </a:lnTo>
                <a:lnTo>
                  <a:pt x="6618" y="2170"/>
                </a:lnTo>
                <a:lnTo>
                  <a:pt x="6614" y="2168"/>
                </a:lnTo>
                <a:lnTo>
                  <a:pt x="6612" y="2168"/>
                </a:lnTo>
                <a:lnTo>
                  <a:pt x="6608" y="2172"/>
                </a:lnTo>
                <a:lnTo>
                  <a:pt x="6604" y="2178"/>
                </a:lnTo>
                <a:lnTo>
                  <a:pt x="6596" y="2184"/>
                </a:lnTo>
                <a:lnTo>
                  <a:pt x="6592" y="2186"/>
                </a:lnTo>
                <a:lnTo>
                  <a:pt x="6586" y="2188"/>
                </a:lnTo>
                <a:lnTo>
                  <a:pt x="6580" y="2188"/>
                </a:lnTo>
                <a:lnTo>
                  <a:pt x="6576" y="2190"/>
                </a:lnTo>
                <a:lnTo>
                  <a:pt x="6572" y="2198"/>
                </a:lnTo>
                <a:lnTo>
                  <a:pt x="6568" y="2202"/>
                </a:lnTo>
                <a:lnTo>
                  <a:pt x="6566" y="2202"/>
                </a:lnTo>
                <a:lnTo>
                  <a:pt x="6562" y="2200"/>
                </a:lnTo>
                <a:lnTo>
                  <a:pt x="6558" y="2198"/>
                </a:lnTo>
                <a:lnTo>
                  <a:pt x="6554" y="2198"/>
                </a:lnTo>
                <a:lnTo>
                  <a:pt x="6550" y="2198"/>
                </a:lnTo>
                <a:lnTo>
                  <a:pt x="6544" y="2200"/>
                </a:lnTo>
                <a:lnTo>
                  <a:pt x="6542" y="2200"/>
                </a:lnTo>
                <a:lnTo>
                  <a:pt x="6540" y="2198"/>
                </a:lnTo>
                <a:lnTo>
                  <a:pt x="6540" y="2196"/>
                </a:lnTo>
                <a:lnTo>
                  <a:pt x="6542" y="2194"/>
                </a:lnTo>
                <a:lnTo>
                  <a:pt x="6548" y="2190"/>
                </a:lnTo>
                <a:lnTo>
                  <a:pt x="6554" y="2186"/>
                </a:lnTo>
                <a:lnTo>
                  <a:pt x="6556" y="2184"/>
                </a:lnTo>
                <a:lnTo>
                  <a:pt x="6554" y="2182"/>
                </a:lnTo>
                <a:lnTo>
                  <a:pt x="6554" y="2180"/>
                </a:lnTo>
                <a:lnTo>
                  <a:pt x="6556" y="2176"/>
                </a:lnTo>
                <a:lnTo>
                  <a:pt x="6556" y="2174"/>
                </a:lnTo>
                <a:lnTo>
                  <a:pt x="6554" y="2174"/>
                </a:lnTo>
                <a:lnTo>
                  <a:pt x="6546" y="2176"/>
                </a:lnTo>
                <a:lnTo>
                  <a:pt x="6540" y="2178"/>
                </a:lnTo>
                <a:lnTo>
                  <a:pt x="6536" y="2178"/>
                </a:lnTo>
                <a:lnTo>
                  <a:pt x="6532" y="2178"/>
                </a:lnTo>
                <a:lnTo>
                  <a:pt x="6530" y="2176"/>
                </a:lnTo>
                <a:lnTo>
                  <a:pt x="6528" y="2172"/>
                </a:lnTo>
                <a:lnTo>
                  <a:pt x="6526" y="2172"/>
                </a:lnTo>
                <a:lnTo>
                  <a:pt x="6522" y="2172"/>
                </a:lnTo>
                <a:lnTo>
                  <a:pt x="6520" y="2174"/>
                </a:lnTo>
                <a:lnTo>
                  <a:pt x="6518" y="2172"/>
                </a:lnTo>
                <a:lnTo>
                  <a:pt x="6514" y="2168"/>
                </a:lnTo>
                <a:lnTo>
                  <a:pt x="6510" y="2168"/>
                </a:lnTo>
                <a:lnTo>
                  <a:pt x="6506" y="2168"/>
                </a:lnTo>
                <a:lnTo>
                  <a:pt x="6508" y="2166"/>
                </a:lnTo>
                <a:lnTo>
                  <a:pt x="6512" y="2162"/>
                </a:lnTo>
                <a:lnTo>
                  <a:pt x="6512" y="2158"/>
                </a:lnTo>
                <a:lnTo>
                  <a:pt x="6510" y="2156"/>
                </a:lnTo>
                <a:lnTo>
                  <a:pt x="6508" y="2150"/>
                </a:lnTo>
                <a:lnTo>
                  <a:pt x="6506" y="2150"/>
                </a:lnTo>
                <a:lnTo>
                  <a:pt x="6504" y="2150"/>
                </a:lnTo>
                <a:lnTo>
                  <a:pt x="6500" y="2150"/>
                </a:lnTo>
                <a:lnTo>
                  <a:pt x="6496" y="2148"/>
                </a:lnTo>
                <a:lnTo>
                  <a:pt x="6494" y="2148"/>
                </a:lnTo>
                <a:lnTo>
                  <a:pt x="6490" y="2148"/>
                </a:lnTo>
                <a:lnTo>
                  <a:pt x="6488" y="2148"/>
                </a:lnTo>
                <a:lnTo>
                  <a:pt x="6492" y="2142"/>
                </a:lnTo>
                <a:lnTo>
                  <a:pt x="6494" y="2142"/>
                </a:lnTo>
                <a:lnTo>
                  <a:pt x="6494" y="2144"/>
                </a:lnTo>
                <a:lnTo>
                  <a:pt x="6496" y="2144"/>
                </a:lnTo>
                <a:lnTo>
                  <a:pt x="6500" y="2146"/>
                </a:lnTo>
                <a:lnTo>
                  <a:pt x="6502" y="2144"/>
                </a:lnTo>
                <a:lnTo>
                  <a:pt x="6504" y="2144"/>
                </a:lnTo>
                <a:lnTo>
                  <a:pt x="6506" y="2144"/>
                </a:lnTo>
                <a:lnTo>
                  <a:pt x="6508" y="2146"/>
                </a:lnTo>
                <a:lnTo>
                  <a:pt x="6512" y="2144"/>
                </a:lnTo>
                <a:lnTo>
                  <a:pt x="6512" y="2142"/>
                </a:lnTo>
                <a:lnTo>
                  <a:pt x="6512" y="2140"/>
                </a:lnTo>
                <a:lnTo>
                  <a:pt x="6506" y="2134"/>
                </a:lnTo>
                <a:lnTo>
                  <a:pt x="6500" y="2132"/>
                </a:lnTo>
                <a:lnTo>
                  <a:pt x="6496" y="2134"/>
                </a:lnTo>
                <a:lnTo>
                  <a:pt x="6494" y="2134"/>
                </a:lnTo>
                <a:lnTo>
                  <a:pt x="6490" y="2132"/>
                </a:lnTo>
                <a:lnTo>
                  <a:pt x="6490" y="2130"/>
                </a:lnTo>
                <a:lnTo>
                  <a:pt x="6490" y="2128"/>
                </a:lnTo>
                <a:lnTo>
                  <a:pt x="6494" y="2124"/>
                </a:lnTo>
                <a:lnTo>
                  <a:pt x="6498" y="2122"/>
                </a:lnTo>
                <a:lnTo>
                  <a:pt x="6498" y="2120"/>
                </a:lnTo>
                <a:lnTo>
                  <a:pt x="6496" y="2118"/>
                </a:lnTo>
                <a:lnTo>
                  <a:pt x="6494" y="2114"/>
                </a:lnTo>
                <a:lnTo>
                  <a:pt x="6494" y="2112"/>
                </a:lnTo>
                <a:lnTo>
                  <a:pt x="6494" y="2110"/>
                </a:lnTo>
                <a:lnTo>
                  <a:pt x="6492" y="2106"/>
                </a:lnTo>
                <a:lnTo>
                  <a:pt x="6492" y="2104"/>
                </a:lnTo>
                <a:lnTo>
                  <a:pt x="6498" y="2102"/>
                </a:lnTo>
                <a:lnTo>
                  <a:pt x="6502" y="2100"/>
                </a:lnTo>
                <a:lnTo>
                  <a:pt x="6504" y="2098"/>
                </a:lnTo>
                <a:lnTo>
                  <a:pt x="6502" y="2096"/>
                </a:lnTo>
                <a:lnTo>
                  <a:pt x="6504" y="2094"/>
                </a:lnTo>
                <a:lnTo>
                  <a:pt x="6508" y="2092"/>
                </a:lnTo>
                <a:lnTo>
                  <a:pt x="6510" y="2090"/>
                </a:lnTo>
                <a:lnTo>
                  <a:pt x="6510" y="2088"/>
                </a:lnTo>
                <a:lnTo>
                  <a:pt x="6508" y="2086"/>
                </a:lnTo>
                <a:lnTo>
                  <a:pt x="6506" y="2082"/>
                </a:lnTo>
                <a:lnTo>
                  <a:pt x="6508" y="2082"/>
                </a:lnTo>
                <a:lnTo>
                  <a:pt x="6514" y="2084"/>
                </a:lnTo>
                <a:lnTo>
                  <a:pt x="6516" y="2084"/>
                </a:lnTo>
                <a:lnTo>
                  <a:pt x="6518" y="2084"/>
                </a:lnTo>
                <a:lnTo>
                  <a:pt x="6520" y="2080"/>
                </a:lnTo>
                <a:lnTo>
                  <a:pt x="6520" y="2078"/>
                </a:lnTo>
                <a:lnTo>
                  <a:pt x="6518" y="2068"/>
                </a:lnTo>
                <a:lnTo>
                  <a:pt x="6520" y="2060"/>
                </a:lnTo>
                <a:lnTo>
                  <a:pt x="6522" y="2056"/>
                </a:lnTo>
                <a:lnTo>
                  <a:pt x="6524" y="2056"/>
                </a:lnTo>
                <a:lnTo>
                  <a:pt x="6528" y="2056"/>
                </a:lnTo>
                <a:lnTo>
                  <a:pt x="6528" y="2058"/>
                </a:lnTo>
                <a:lnTo>
                  <a:pt x="6526" y="2062"/>
                </a:lnTo>
                <a:lnTo>
                  <a:pt x="6526" y="2064"/>
                </a:lnTo>
                <a:lnTo>
                  <a:pt x="6528" y="2066"/>
                </a:lnTo>
                <a:lnTo>
                  <a:pt x="6532" y="2068"/>
                </a:lnTo>
                <a:lnTo>
                  <a:pt x="6534" y="2066"/>
                </a:lnTo>
                <a:lnTo>
                  <a:pt x="6534" y="2064"/>
                </a:lnTo>
                <a:lnTo>
                  <a:pt x="6536" y="2064"/>
                </a:lnTo>
                <a:lnTo>
                  <a:pt x="6538" y="2064"/>
                </a:lnTo>
                <a:lnTo>
                  <a:pt x="6540" y="2064"/>
                </a:lnTo>
                <a:lnTo>
                  <a:pt x="6542" y="2060"/>
                </a:lnTo>
                <a:lnTo>
                  <a:pt x="6548" y="2050"/>
                </a:lnTo>
                <a:lnTo>
                  <a:pt x="6548" y="2046"/>
                </a:lnTo>
                <a:lnTo>
                  <a:pt x="6548" y="2044"/>
                </a:lnTo>
                <a:lnTo>
                  <a:pt x="6542" y="2042"/>
                </a:lnTo>
                <a:lnTo>
                  <a:pt x="6530" y="2042"/>
                </a:lnTo>
                <a:lnTo>
                  <a:pt x="6526" y="2040"/>
                </a:lnTo>
                <a:lnTo>
                  <a:pt x="6522" y="2040"/>
                </a:lnTo>
                <a:lnTo>
                  <a:pt x="6522" y="2038"/>
                </a:lnTo>
                <a:lnTo>
                  <a:pt x="6524" y="2036"/>
                </a:lnTo>
                <a:lnTo>
                  <a:pt x="6526" y="2030"/>
                </a:lnTo>
                <a:lnTo>
                  <a:pt x="6524" y="2026"/>
                </a:lnTo>
                <a:lnTo>
                  <a:pt x="6522" y="2022"/>
                </a:lnTo>
                <a:lnTo>
                  <a:pt x="6522" y="2018"/>
                </a:lnTo>
                <a:lnTo>
                  <a:pt x="6524" y="2008"/>
                </a:lnTo>
                <a:lnTo>
                  <a:pt x="6526" y="2004"/>
                </a:lnTo>
                <a:lnTo>
                  <a:pt x="6528" y="2002"/>
                </a:lnTo>
                <a:lnTo>
                  <a:pt x="6530" y="1998"/>
                </a:lnTo>
                <a:lnTo>
                  <a:pt x="6532" y="1994"/>
                </a:lnTo>
                <a:lnTo>
                  <a:pt x="6532" y="1988"/>
                </a:lnTo>
                <a:lnTo>
                  <a:pt x="6530" y="1980"/>
                </a:lnTo>
                <a:lnTo>
                  <a:pt x="6528" y="1976"/>
                </a:lnTo>
                <a:lnTo>
                  <a:pt x="6528" y="1974"/>
                </a:lnTo>
                <a:lnTo>
                  <a:pt x="6532" y="1968"/>
                </a:lnTo>
                <a:lnTo>
                  <a:pt x="6534" y="1966"/>
                </a:lnTo>
                <a:lnTo>
                  <a:pt x="6534" y="1964"/>
                </a:lnTo>
                <a:lnTo>
                  <a:pt x="6530" y="1964"/>
                </a:lnTo>
                <a:lnTo>
                  <a:pt x="6528" y="1966"/>
                </a:lnTo>
                <a:lnTo>
                  <a:pt x="6522" y="1970"/>
                </a:lnTo>
                <a:lnTo>
                  <a:pt x="6514" y="1974"/>
                </a:lnTo>
                <a:lnTo>
                  <a:pt x="6510" y="1974"/>
                </a:lnTo>
                <a:lnTo>
                  <a:pt x="6506" y="1978"/>
                </a:lnTo>
                <a:lnTo>
                  <a:pt x="6500" y="1988"/>
                </a:lnTo>
                <a:lnTo>
                  <a:pt x="6494" y="1994"/>
                </a:lnTo>
                <a:lnTo>
                  <a:pt x="6488" y="1998"/>
                </a:lnTo>
                <a:lnTo>
                  <a:pt x="6480" y="2002"/>
                </a:lnTo>
                <a:lnTo>
                  <a:pt x="6470" y="2002"/>
                </a:lnTo>
                <a:lnTo>
                  <a:pt x="6460" y="2004"/>
                </a:lnTo>
                <a:lnTo>
                  <a:pt x="6452" y="2006"/>
                </a:lnTo>
                <a:lnTo>
                  <a:pt x="6446" y="2012"/>
                </a:lnTo>
                <a:lnTo>
                  <a:pt x="6442" y="2018"/>
                </a:lnTo>
                <a:lnTo>
                  <a:pt x="6438" y="2026"/>
                </a:lnTo>
                <a:lnTo>
                  <a:pt x="6436" y="2034"/>
                </a:lnTo>
                <a:lnTo>
                  <a:pt x="6432" y="2054"/>
                </a:lnTo>
                <a:lnTo>
                  <a:pt x="6432" y="2070"/>
                </a:lnTo>
                <a:lnTo>
                  <a:pt x="6434" y="2080"/>
                </a:lnTo>
                <a:lnTo>
                  <a:pt x="6436" y="2088"/>
                </a:lnTo>
                <a:lnTo>
                  <a:pt x="6434" y="2096"/>
                </a:lnTo>
                <a:lnTo>
                  <a:pt x="6432" y="2102"/>
                </a:lnTo>
                <a:lnTo>
                  <a:pt x="6434" y="2104"/>
                </a:lnTo>
                <a:lnTo>
                  <a:pt x="6438" y="2106"/>
                </a:lnTo>
                <a:lnTo>
                  <a:pt x="6442" y="2110"/>
                </a:lnTo>
                <a:lnTo>
                  <a:pt x="6442" y="2108"/>
                </a:lnTo>
                <a:lnTo>
                  <a:pt x="6444" y="2104"/>
                </a:lnTo>
                <a:lnTo>
                  <a:pt x="6446" y="2106"/>
                </a:lnTo>
                <a:lnTo>
                  <a:pt x="6450" y="2108"/>
                </a:lnTo>
                <a:lnTo>
                  <a:pt x="6452" y="2110"/>
                </a:lnTo>
                <a:lnTo>
                  <a:pt x="6456" y="2114"/>
                </a:lnTo>
                <a:lnTo>
                  <a:pt x="6456" y="2122"/>
                </a:lnTo>
                <a:lnTo>
                  <a:pt x="6456" y="2128"/>
                </a:lnTo>
                <a:lnTo>
                  <a:pt x="6452" y="2126"/>
                </a:lnTo>
                <a:lnTo>
                  <a:pt x="6450" y="2124"/>
                </a:lnTo>
                <a:lnTo>
                  <a:pt x="6448" y="2128"/>
                </a:lnTo>
                <a:lnTo>
                  <a:pt x="6448" y="2132"/>
                </a:lnTo>
                <a:lnTo>
                  <a:pt x="6450" y="2132"/>
                </a:lnTo>
                <a:lnTo>
                  <a:pt x="6452" y="2130"/>
                </a:lnTo>
                <a:lnTo>
                  <a:pt x="6454" y="2130"/>
                </a:lnTo>
                <a:lnTo>
                  <a:pt x="6454" y="2142"/>
                </a:lnTo>
                <a:lnTo>
                  <a:pt x="6456" y="2148"/>
                </a:lnTo>
                <a:lnTo>
                  <a:pt x="6458" y="2154"/>
                </a:lnTo>
                <a:lnTo>
                  <a:pt x="6468" y="2164"/>
                </a:lnTo>
                <a:lnTo>
                  <a:pt x="6470" y="2168"/>
                </a:lnTo>
                <a:lnTo>
                  <a:pt x="6470" y="2170"/>
                </a:lnTo>
                <a:lnTo>
                  <a:pt x="6466" y="2172"/>
                </a:lnTo>
                <a:lnTo>
                  <a:pt x="6458" y="2172"/>
                </a:lnTo>
                <a:lnTo>
                  <a:pt x="6456" y="2174"/>
                </a:lnTo>
                <a:lnTo>
                  <a:pt x="6454" y="2178"/>
                </a:lnTo>
                <a:lnTo>
                  <a:pt x="6454" y="2180"/>
                </a:lnTo>
                <a:lnTo>
                  <a:pt x="6454" y="2182"/>
                </a:lnTo>
                <a:lnTo>
                  <a:pt x="6460" y="2180"/>
                </a:lnTo>
                <a:lnTo>
                  <a:pt x="6464" y="2180"/>
                </a:lnTo>
                <a:lnTo>
                  <a:pt x="6464" y="2184"/>
                </a:lnTo>
                <a:lnTo>
                  <a:pt x="6462" y="2186"/>
                </a:lnTo>
                <a:lnTo>
                  <a:pt x="6462" y="2188"/>
                </a:lnTo>
                <a:lnTo>
                  <a:pt x="6466" y="2192"/>
                </a:lnTo>
                <a:lnTo>
                  <a:pt x="6470" y="2194"/>
                </a:lnTo>
                <a:lnTo>
                  <a:pt x="6468" y="2196"/>
                </a:lnTo>
                <a:lnTo>
                  <a:pt x="6464" y="2198"/>
                </a:lnTo>
                <a:lnTo>
                  <a:pt x="6464" y="2200"/>
                </a:lnTo>
                <a:lnTo>
                  <a:pt x="6466" y="2202"/>
                </a:lnTo>
                <a:lnTo>
                  <a:pt x="6474" y="2204"/>
                </a:lnTo>
                <a:lnTo>
                  <a:pt x="6482" y="2206"/>
                </a:lnTo>
                <a:lnTo>
                  <a:pt x="6488" y="2212"/>
                </a:lnTo>
                <a:lnTo>
                  <a:pt x="6490" y="2214"/>
                </a:lnTo>
                <a:lnTo>
                  <a:pt x="6486" y="2212"/>
                </a:lnTo>
                <a:lnTo>
                  <a:pt x="6478" y="2208"/>
                </a:lnTo>
                <a:lnTo>
                  <a:pt x="6472" y="2208"/>
                </a:lnTo>
                <a:lnTo>
                  <a:pt x="6464" y="2208"/>
                </a:lnTo>
                <a:lnTo>
                  <a:pt x="6456" y="2206"/>
                </a:lnTo>
                <a:lnTo>
                  <a:pt x="6454" y="2206"/>
                </a:lnTo>
                <a:lnTo>
                  <a:pt x="6452" y="2208"/>
                </a:lnTo>
                <a:lnTo>
                  <a:pt x="6452" y="2216"/>
                </a:lnTo>
                <a:lnTo>
                  <a:pt x="6454" y="2228"/>
                </a:lnTo>
                <a:lnTo>
                  <a:pt x="6454" y="2232"/>
                </a:lnTo>
                <a:lnTo>
                  <a:pt x="6450" y="2236"/>
                </a:lnTo>
                <a:lnTo>
                  <a:pt x="6448" y="2236"/>
                </a:lnTo>
                <a:lnTo>
                  <a:pt x="6448" y="2232"/>
                </a:lnTo>
                <a:lnTo>
                  <a:pt x="6448" y="2226"/>
                </a:lnTo>
                <a:lnTo>
                  <a:pt x="6448" y="2224"/>
                </a:lnTo>
                <a:lnTo>
                  <a:pt x="6446" y="2222"/>
                </a:lnTo>
                <a:lnTo>
                  <a:pt x="6442" y="2222"/>
                </a:lnTo>
                <a:lnTo>
                  <a:pt x="6440" y="2224"/>
                </a:lnTo>
                <a:lnTo>
                  <a:pt x="6440" y="2228"/>
                </a:lnTo>
                <a:lnTo>
                  <a:pt x="6438" y="2232"/>
                </a:lnTo>
                <a:lnTo>
                  <a:pt x="6438" y="2234"/>
                </a:lnTo>
                <a:lnTo>
                  <a:pt x="6436" y="2232"/>
                </a:lnTo>
                <a:lnTo>
                  <a:pt x="6434" y="2230"/>
                </a:lnTo>
                <a:lnTo>
                  <a:pt x="6432" y="2226"/>
                </a:lnTo>
                <a:lnTo>
                  <a:pt x="6434" y="2222"/>
                </a:lnTo>
                <a:lnTo>
                  <a:pt x="6432" y="2220"/>
                </a:lnTo>
                <a:lnTo>
                  <a:pt x="6430" y="2218"/>
                </a:lnTo>
                <a:lnTo>
                  <a:pt x="6426" y="2216"/>
                </a:lnTo>
                <a:lnTo>
                  <a:pt x="6418" y="2216"/>
                </a:lnTo>
                <a:lnTo>
                  <a:pt x="6406" y="2216"/>
                </a:lnTo>
                <a:lnTo>
                  <a:pt x="6398" y="2218"/>
                </a:lnTo>
                <a:lnTo>
                  <a:pt x="6394" y="2222"/>
                </a:lnTo>
                <a:lnTo>
                  <a:pt x="6392" y="2230"/>
                </a:lnTo>
                <a:lnTo>
                  <a:pt x="6390" y="2234"/>
                </a:lnTo>
                <a:lnTo>
                  <a:pt x="6392" y="2236"/>
                </a:lnTo>
                <a:lnTo>
                  <a:pt x="6394" y="2238"/>
                </a:lnTo>
                <a:lnTo>
                  <a:pt x="6398" y="2240"/>
                </a:lnTo>
                <a:lnTo>
                  <a:pt x="6398" y="2242"/>
                </a:lnTo>
                <a:lnTo>
                  <a:pt x="6394" y="2244"/>
                </a:lnTo>
                <a:lnTo>
                  <a:pt x="6390" y="2242"/>
                </a:lnTo>
                <a:lnTo>
                  <a:pt x="6384" y="2234"/>
                </a:lnTo>
                <a:lnTo>
                  <a:pt x="6380" y="2232"/>
                </a:lnTo>
                <a:lnTo>
                  <a:pt x="6374" y="2230"/>
                </a:lnTo>
                <a:lnTo>
                  <a:pt x="6348" y="2234"/>
                </a:lnTo>
                <a:lnTo>
                  <a:pt x="6338" y="2238"/>
                </a:lnTo>
                <a:lnTo>
                  <a:pt x="6330" y="2240"/>
                </a:lnTo>
                <a:lnTo>
                  <a:pt x="6324" y="2244"/>
                </a:lnTo>
                <a:lnTo>
                  <a:pt x="6322" y="2248"/>
                </a:lnTo>
                <a:lnTo>
                  <a:pt x="6318" y="2252"/>
                </a:lnTo>
                <a:lnTo>
                  <a:pt x="6318" y="2254"/>
                </a:lnTo>
                <a:lnTo>
                  <a:pt x="6318" y="2258"/>
                </a:lnTo>
                <a:lnTo>
                  <a:pt x="6320" y="2258"/>
                </a:lnTo>
                <a:lnTo>
                  <a:pt x="6322" y="2258"/>
                </a:lnTo>
                <a:lnTo>
                  <a:pt x="6324" y="2260"/>
                </a:lnTo>
                <a:lnTo>
                  <a:pt x="6324" y="2264"/>
                </a:lnTo>
                <a:lnTo>
                  <a:pt x="6324" y="2266"/>
                </a:lnTo>
                <a:lnTo>
                  <a:pt x="6326" y="2268"/>
                </a:lnTo>
                <a:lnTo>
                  <a:pt x="6328" y="2268"/>
                </a:lnTo>
                <a:lnTo>
                  <a:pt x="6330" y="2270"/>
                </a:lnTo>
                <a:lnTo>
                  <a:pt x="6330" y="2276"/>
                </a:lnTo>
                <a:lnTo>
                  <a:pt x="6330" y="2280"/>
                </a:lnTo>
                <a:lnTo>
                  <a:pt x="6332" y="2282"/>
                </a:lnTo>
                <a:lnTo>
                  <a:pt x="6334" y="2284"/>
                </a:lnTo>
                <a:lnTo>
                  <a:pt x="6338" y="2286"/>
                </a:lnTo>
                <a:lnTo>
                  <a:pt x="6340" y="2288"/>
                </a:lnTo>
                <a:lnTo>
                  <a:pt x="6338" y="2292"/>
                </a:lnTo>
                <a:lnTo>
                  <a:pt x="6336" y="2298"/>
                </a:lnTo>
                <a:lnTo>
                  <a:pt x="6332" y="2300"/>
                </a:lnTo>
                <a:lnTo>
                  <a:pt x="6328" y="2304"/>
                </a:lnTo>
                <a:lnTo>
                  <a:pt x="6324" y="2304"/>
                </a:lnTo>
                <a:lnTo>
                  <a:pt x="6318" y="2304"/>
                </a:lnTo>
                <a:lnTo>
                  <a:pt x="6312" y="2298"/>
                </a:lnTo>
                <a:lnTo>
                  <a:pt x="6308" y="2292"/>
                </a:lnTo>
                <a:lnTo>
                  <a:pt x="6308" y="2288"/>
                </a:lnTo>
                <a:lnTo>
                  <a:pt x="6308" y="2286"/>
                </a:lnTo>
                <a:lnTo>
                  <a:pt x="6312" y="2282"/>
                </a:lnTo>
                <a:lnTo>
                  <a:pt x="6314" y="2280"/>
                </a:lnTo>
                <a:lnTo>
                  <a:pt x="6318" y="2278"/>
                </a:lnTo>
                <a:lnTo>
                  <a:pt x="6316" y="2276"/>
                </a:lnTo>
                <a:lnTo>
                  <a:pt x="6312" y="2272"/>
                </a:lnTo>
                <a:lnTo>
                  <a:pt x="6310" y="2272"/>
                </a:lnTo>
                <a:lnTo>
                  <a:pt x="6310" y="2270"/>
                </a:lnTo>
                <a:lnTo>
                  <a:pt x="6312" y="2264"/>
                </a:lnTo>
                <a:lnTo>
                  <a:pt x="6314" y="2260"/>
                </a:lnTo>
                <a:lnTo>
                  <a:pt x="6314" y="2258"/>
                </a:lnTo>
                <a:lnTo>
                  <a:pt x="6312" y="2258"/>
                </a:lnTo>
                <a:lnTo>
                  <a:pt x="6302" y="2262"/>
                </a:lnTo>
                <a:lnTo>
                  <a:pt x="6298" y="2262"/>
                </a:lnTo>
                <a:lnTo>
                  <a:pt x="6296" y="2262"/>
                </a:lnTo>
                <a:lnTo>
                  <a:pt x="6294" y="2272"/>
                </a:lnTo>
                <a:lnTo>
                  <a:pt x="6292" y="2286"/>
                </a:lnTo>
                <a:lnTo>
                  <a:pt x="6288" y="2294"/>
                </a:lnTo>
                <a:lnTo>
                  <a:pt x="6286" y="2304"/>
                </a:lnTo>
                <a:lnTo>
                  <a:pt x="6278" y="2316"/>
                </a:lnTo>
                <a:lnTo>
                  <a:pt x="6272" y="2320"/>
                </a:lnTo>
                <a:lnTo>
                  <a:pt x="6270" y="2322"/>
                </a:lnTo>
                <a:lnTo>
                  <a:pt x="6270" y="2324"/>
                </a:lnTo>
                <a:lnTo>
                  <a:pt x="6270" y="2328"/>
                </a:lnTo>
                <a:lnTo>
                  <a:pt x="6270" y="2330"/>
                </a:lnTo>
                <a:lnTo>
                  <a:pt x="6262" y="2332"/>
                </a:lnTo>
                <a:lnTo>
                  <a:pt x="6256" y="2334"/>
                </a:lnTo>
                <a:lnTo>
                  <a:pt x="6256" y="2336"/>
                </a:lnTo>
                <a:lnTo>
                  <a:pt x="6256" y="2338"/>
                </a:lnTo>
                <a:lnTo>
                  <a:pt x="6262" y="2340"/>
                </a:lnTo>
                <a:lnTo>
                  <a:pt x="6272" y="2342"/>
                </a:lnTo>
                <a:lnTo>
                  <a:pt x="6276" y="2344"/>
                </a:lnTo>
                <a:lnTo>
                  <a:pt x="6268" y="2346"/>
                </a:lnTo>
                <a:lnTo>
                  <a:pt x="6254" y="2344"/>
                </a:lnTo>
                <a:lnTo>
                  <a:pt x="6250" y="2344"/>
                </a:lnTo>
                <a:lnTo>
                  <a:pt x="6246" y="2346"/>
                </a:lnTo>
                <a:lnTo>
                  <a:pt x="6246" y="2348"/>
                </a:lnTo>
                <a:lnTo>
                  <a:pt x="6252" y="2352"/>
                </a:lnTo>
                <a:lnTo>
                  <a:pt x="6260" y="2354"/>
                </a:lnTo>
                <a:lnTo>
                  <a:pt x="6264" y="2354"/>
                </a:lnTo>
                <a:lnTo>
                  <a:pt x="6270" y="2352"/>
                </a:lnTo>
                <a:lnTo>
                  <a:pt x="6272" y="2354"/>
                </a:lnTo>
                <a:lnTo>
                  <a:pt x="6274" y="2356"/>
                </a:lnTo>
                <a:lnTo>
                  <a:pt x="6272" y="2356"/>
                </a:lnTo>
                <a:lnTo>
                  <a:pt x="6264" y="2358"/>
                </a:lnTo>
                <a:lnTo>
                  <a:pt x="6260" y="2360"/>
                </a:lnTo>
                <a:lnTo>
                  <a:pt x="6256" y="2358"/>
                </a:lnTo>
                <a:lnTo>
                  <a:pt x="6252" y="2356"/>
                </a:lnTo>
                <a:lnTo>
                  <a:pt x="6248" y="2356"/>
                </a:lnTo>
                <a:lnTo>
                  <a:pt x="6242" y="2356"/>
                </a:lnTo>
                <a:lnTo>
                  <a:pt x="6234" y="2360"/>
                </a:lnTo>
                <a:lnTo>
                  <a:pt x="6226" y="2366"/>
                </a:lnTo>
                <a:lnTo>
                  <a:pt x="6216" y="2372"/>
                </a:lnTo>
                <a:lnTo>
                  <a:pt x="6208" y="2374"/>
                </a:lnTo>
                <a:lnTo>
                  <a:pt x="6190" y="2378"/>
                </a:lnTo>
                <a:lnTo>
                  <a:pt x="6176" y="2382"/>
                </a:lnTo>
                <a:lnTo>
                  <a:pt x="6172" y="2384"/>
                </a:lnTo>
                <a:lnTo>
                  <a:pt x="6170" y="2388"/>
                </a:lnTo>
                <a:lnTo>
                  <a:pt x="6170" y="2390"/>
                </a:lnTo>
                <a:lnTo>
                  <a:pt x="6170" y="2396"/>
                </a:lnTo>
                <a:lnTo>
                  <a:pt x="6170" y="2402"/>
                </a:lnTo>
                <a:lnTo>
                  <a:pt x="6170" y="2408"/>
                </a:lnTo>
                <a:lnTo>
                  <a:pt x="6170" y="2410"/>
                </a:lnTo>
                <a:lnTo>
                  <a:pt x="6170" y="2414"/>
                </a:lnTo>
                <a:lnTo>
                  <a:pt x="6170" y="2416"/>
                </a:lnTo>
                <a:lnTo>
                  <a:pt x="6170" y="2418"/>
                </a:lnTo>
                <a:lnTo>
                  <a:pt x="6168" y="2420"/>
                </a:lnTo>
                <a:lnTo>
                  <a:pt x="6170" y="2424"/>
                </a:lnTo>
                <a:lnTo>
                  <a:pt x="6172" y="2426"/>
                </a:lnTo>
                <a:lnTo>
                  <a:pt x="6170" y="2428"/>
                </a:lnTo>
                <a:lnTo>
                  <a:pt x="6168" y="2428"/>
                </a:lnTo>
                <a:lnTo>
                  <a:pt x="6164" y="2432"/>
                </a:lnTo>
                <a:lnTo>
                  <a:pt x="6162" y="2436"/>
                </a:lnTo>
                <a:lnTo>
                  <a:pt x="6156" y="2438"/>
                </a:lnTo>
                <a:lnTo>
                  <a:pt x="6128" y="2448"/>
                </a:lnTo>
                <a:lnTo>
                  <a:pt x="6120" y="2454"/>
                </a:lnTo>
                <a:lnTo>
                  <a:pt x="6114" y="2458"/>
                </a:lnTo>
                <a:lnTo>
                  <a:pt x="6110" y="2460"/>
                </a:lnTo>
                <a:lnTo>
                  <a:pt x="6110" y="2464"/>
                </a:lnTo>
                <a:lnTo>
                  <a:pt x="6110" y="2466"/>
                </a:lnTo>
                <a:lnTo>
                  <a:pt x="6112" y="2468"/>
                </a:lnTo>
                <a:lnTo>
                  <a:pt x="6118" y="2470"/>
                </a:lnTo>
                <a:lnTo>
                  <a:pt x="6120" y="2472"/>
                </a:lnTo>
                <a:lnTo>
                  <a:pt x="6116" y="2474"/>
                </a:lnTo>
                <a:lnTo>
                  <a:pt x="6104" y="2480"/>
                </a:lnTo>
                <a:lnTo>
                  <a:pt x="6100" y="2480"/>
                </a:lnTo>
                <a:lnTo>
                  <a:pt x="6096" y="2480"/>
                </a:lnTo>
                <a:lnTo>
                  <a:pt x="6088" y="2478"/>
                </a:lnTo>
                <a:lnTo>
                  <a:pt x="6076" y="2476"/>
                </a:lnTo>
                <a:lnTo>
                  <a:pt x="6068" y="2476"/>
                </a:lnTo>
                <a:lnTo>
                  <a:pt x="6060" y="2478"/>
                </a:lnTo>
                <a:lnTo>
                  <a:pt x="6058" y="2476"/>
                </a:lnTo>
                <a:lnTo>
                  <a:pt x="6058" y="2474"/>
                </a:lnTo>
                <a:lnTo>
                  <a:pt x="6056" y="2466"/>
                </a:lnTo>
                <a:lnTo>
                  <a:pt x="6054" y="2458"/>
                </a:lnTo>
                <a:lnTo>
                  <a:pt x="6052" y="2456"/>
                </a:lnTo>
                <a:lnTo>
                  <a:pt x="6048" y="2456"/>
                </a:lnTo>
                <a:lnTo>
                  <a:pt x="6040" y="2458"/>
                </a:lnTo>
                <a:lnTo>
                  <a:pt x="6034" y="2456"/>
                </a:lnTo>
                <a:lnTo>
                  <a:pt x="6030" y="2456"/>
                </a:lnTo>
                <a:lnTo>
                  <a:pt x="6030" y="2460"/>
                </a:lnTo>
                <a:lnTo>
                  <a:pt x="6032" y="2464"/>
                </a:lnTo>
                <a:lnTo>
                  <a:pt x="6032" y="2470"/>
                </a:lnTo>
                <a:lnTo>
                  <a:pt x="6032" y="2474"/>
                </a:lnTo>
                <a:lnTo>
                  <a:pt x="6036" y="2476"/>
                </a:lnTo>
                <a:lnTo>
                  <a:pt x="6040" y="2480"/>
                </a:lnTo>
                <a:lnTo>
                  <a:pt x="6042" y="2488"/>
                </a:lnTo>
                <a:lnTo>
                  <a:pt x="6044" y="2498"/>
                </a:lnTo>
                <a:lnTo>
                  <a:pt x="6044" y="2506"/>
                </a:lnTo>
                <a:lnTo>
                  <a:pt x="6044" y="2510"/>
                </a:lnTo>
                <a:lnTo>
                  <a:pt x="6044" y="2512"/>
                </a:lnTo>
                <a:lnTo>
                  <a:pt x="6046" y="2516"/>
                </a:lnTo>
                <a:lnTo>
                  <a:pt x="6048" y="2520"/>
                </a:lnTo>
                <a:lnTo>
                  <a:pt x="6042" y="2522"/>
                </a:lnTo>
                <a:lnTo>
                  <a:pt x="6036" y="2522"/>
                </a:lnTo>
                <a:lnTo>
                  <a:pt x="6034" y="2518"/>
                </a:lnTo>
                <a:lnTo>
                  <a:pt x="6032" y="2516"/>
                </a:lnTo>
                <a:lnTo>
                  <a:pt x="6030" y="2514"/>
                </a:lnTo>
                <a:lnTo>
                  <a:pt x="6028" y="2516"/>
                </a:lnTo>
                <a:lnTo>
                  <a:pt x="6026" y="2518"/>
                </a:lnTo>
                <a:lnTo>
                  <a:pt x="6022" y="2520"/>
                </a:lnTo>
                <a:lnTo>
                  <a:pt x="6018" y="2520"/>
                </a:lnTo>
                <a:lnTo>
                  <a:pt x="6016" y="2518"/>
                </a:lnTo>
                <a:lnTo>
                  <a:pt x="6014" y="2516"/>
                </a:lnTo>
                <a:lnTo>
                  <a:pt x="6010" y="2518"/>
                </a:lnTo>
                <a:lnTo>
                  <a:pt x="6002" y="2524"/>
                </a:lnTo>
                <a:lnTo>
                  <a:pt x="5998" y="2526"/>
                </a:lnTo>
                <a:lnTo>
                  <a:pt x="5994" y="2522"/>
                </a:lnTo>
                <a:lnTo>
                  <a:pt x="5988" y="2508"/>
                </a:lnTo>
                <a:lnTo>
                  <a:pt x="5982" y="2504"/>
                </a:lnTo>
                <a:lnTo>
                  <a:pt x="5980" y="2504"/>
                </a:lnTo>
                <a:lnTo>
                  <a:pt x="5976" y="2504"/>
                </a:lnTo>
                <a:lnTo>
                  <a:pt x="5970" y="2508"/>
                </a:lnTo>
                <a:lnTo>
                  <a:pt x="5966" y="2508"/>
                </a:lnTo>
                <a:lnTo>
                  <a:pt x="5964" y="2508"/>
                </a:lnTo>
                <a:lnTo>
                  <a:pt x="5964" y="2512"/>
                </a:lnTo>
                <a:lnTo>
                  <a:pt x="5962" y="2514"/>
                </a:lnTo>
                <a:lnTo>
                  <a:pt x="5960" y="2516"/>
                </a:lnTo>
                <a:lnTo>
                  <a:pt x="5956" y="2518"/>
                </a:lnTo>
                <a:lnTo>
                  <a:pt x="5950" y="2516"/>
                </a:lnTo>
                <a:lnTo>
                  <a:pt x="5946" y="2514"/>
                </a:lnTo>
                <a:lnTo>
                  <a:pt x="5944" y="2514"/>
                </a:lnTo>
                <a:lnTo>
                  <a:pt x="5942" y="2516"/>
                </a:lnTo>
                <a:lnTo>
                  <a:pt x="5934" y="2518"/>
                </a:lnTo>
                <a:lnTo>
                  <a:pt x="5924" y="2520"/>
                </a:lnTo>
                <a:lnTo>
                  <a:pt x="5918" y="2524"/>
                </a:lnTo>
                <a:lnTo>
                  <a:pt x="5914" y="2528"/>
                </a:lnTo>
                <a:lnTo>
                  <a:pt x="5914" y="2534"/>
                </a:lnTo>
                <a:lnTo>
                  <a:pt x="5916" y="2536"/>
                </a:lnTo>
                <a:lnTo>
                  <a:pt x="5920" y="2536"/>
                </a:lnTo>
                <a:lnTo>
                  <a:pt x="5924" y="2534"/>
                </a:lnTo>
                <a:lnTo>
                  <a:pt x="5928" y="2536"/>
                </a:lnTo>
                <a:lnTo>
                  <a:pt x="5930" y="2538"/>
                </a:lnTo>
                <a:lnTo>
                  <a:pt x="5926" y="2538"/>
                </a:lnTo>
                <a:lnTo>
                  <a:pt x="5922" y="2540"/>
                </a:lnTo>
                <a:lnTo>
                  <a:pt x="5922" y="2542"/>
                </a:lnTo>
                <a:lnTo>
                  <a:pt x="5924" y="2544"/>
                </a:lnTo>
                <a:lnTo>
                  <a:pt x="5926" y="2544"/>
                </a:lnTo>
                <a:lnTo>
                  <a:pt x="5930" y="2544"/>
                </a:lnTo>
                <a:lnTo>
                  <a:pt x="5934" y="2546"/>
                </a:lnTo>
                <a:lnTo>
                  <a:pt x="5934" y="2548"/>
                </a:lnTo>
                <a:lnTo>
                  <a:pt x="5932" y="2550"/>
                </a:lnTo>
                <a:lnTo>
                  <a:pt x="5924" y="2550"/>
                </a:lnTo>
                <a:lnTo>
                  <a:pt x="5918" y="2552"/>
                </a:lnTo>
                <a:lnTo>
                  <a:pt x="5918" y="2554"/>
                </a:lnTo>
                <a:lnTo>
                  <a:pt x="5920" y="2556"/>
                </a:lnTo>
                <a:lnTo>
                  <a:pt x="5928" y="2562"/>
                </a:lnTo>
                <a:lnTo>
                  <a:pt x="5930" y="2566"/>
                </a:lnTo>
                <a:lnTo>
                  <a:pt x="5932" y="2568"/>
                </a:lnTo>
                <a:lnTo>
                  <a:pt x="5938" y="2566"/>
                </a:lnTo>
                <a:lnTo>
                  <a:pt x="5942" y="2566"/>
                </a:lnTo>
                <a:lnTo>
                  <a:pt x="5950" y="2566"/>
                </a:lnTo>
                <a:lnTo>
                  <a:pt x="5964" y="2572"/>
                </a:lnTo>
                <a:lnTo>
                  <a:pt x="5972" y="2574"/>
                </a:lnTo>
                <a:lnTo>
                  <a:pt x="5976" y="2578"/>
                </a:lnTo>
                <a:lnTo>
                  <a:pt x="5980" y="2580"/>
                </a:lnTo>
                <a:lnTo>
                  <a:pt x="5986" y="2580"/>
                </a:lnTo>
                <a:lnTo>
                  <a:pt x="5990" y="2580"/>
                </a:lnTo>
                <a:lnTo>
                  <a:pt x="5990" y="2582"/>
                </a:lnTo>
                <a:lnTo>
                  <a:pt x="5992" y="2584"/>
                </a:lnTo>
                <a:lnTo>
                  <a:pt x="5998" y="2586"/>
                </a:lnTo>
                <a:lnTo>
                  <a:pt x="6004" y="2584"/>
                </a:lnTo>
                <a:lnTo>
                  <a:pt x="6006" y="2586"/>
                </a:lnTo>
                <a:lnTo>
                  <a:pt x="6008" y="2588"/>
                </a:lnTo>
                <a:lnTo>
                  <a:pt x="6008" y="2590"/>
                </a:lnTo>
                <a:lnTo>
                  <a:pt x="6004" y="2594"/>
                </a:lnTo>
                <a:lnTo>
                  <a:pt x="6004" y="2596"/>
                </a:lnTo>
                <a:lnTo>
                  <a:pt x="6006" y="2598"/>
                </a:lnTo>
                <a:lnTo>
                  <a:pt x="6014" y="2600"/>
                </a:lnTo>
                <a:lnTo>
                  <a:pt x="6020" y="2600"/>
                </a:lnTo>
                <a:lnTo>
                  <a:pt x="6018" y="2602"/>
                </a:lnTo>
                <a:lnTo>
                  <a:pt x="6018" y="2606"/>
                </a:lnTo>
                <a:lnTo>
                  <a:pt x="6018" y="2608"/>
                </a:lnTo>
                <a:lnTo>
                  <a:pt x="6020" y="2608"/>
                </a:lnTo>
                <a:lnTo>
                  <a:pt x="6024" y="2610"/>
                </a:lnTo>
                <a:lnTo>
                  <a:pt x="6026" y="2612"/>
                </a:lnTo>
                <a:lnTo>
                  <a:pt x="6026" y="2614"/>
                </a:lnTo>
                <a:lnTo>
                  <a:pt x="6024" y="2618"/>
                </a:lnTo>
                <a:lnTo>
                  <a:pt x="6022" y="2620"/>
                </a:lnTo>
                <a:lnTo>
                  <a:pt x="6020" y="2624"/>
                </a:lnTo>
                <a:lnTo>
                  <a:pt x="6024" y="2632"/>
                </a:lnTo>
                <a:lnTo>
                  <a:pt x="6032" y="2642"/>
                </a:lnTo>
                <a:lnTo>
                  <a:pt x="6044" y="2650"/>
                </a:lnTo>
                <a:lnTo>
                  <a:pt x="6052" y="2654"/>
                </a:lnTo>
                <a:lnTo>
                  <a:pt x="6058" y="2656"/>
                </a:lnTo>
                <a:lnTo>
                  <a:pt x="6060" y="2656"/>
                </a:lnTo>
                <a:lnTo>
                  <a:pt x="6060" y="2658"/>
                </a:lnTo>
                <a:lnTo>
                  <a:pt x="6058" y="2662"/>
                </a:lnTo>
                <a:lnTo>
                  <a:pt x="6060" y="2664"/>
                </a:lnTo>
                <a:lnTo>
                  <a:pt x="6062" y="2668"/>
                </a:lnTo>
                <a:lnTo>
                  <a:pt x="6062" y="2678"/>
                </a:lnTo>
                <a:lnTo>
                  <a:pt x="6060" y="2682"/>
                </a:lnTo>
                <a:lnTo>
                  <a:pt x="6058" y="2684"/>
                </a:lnTo>
                <a:lnTo>
                  <a:pt x="6054" y="2686"/>
                </a:lnTo>
                <a:lnTo>
                  <a:pt x="6054" y="2688"/>
                </a:lnTo>
                <a:lnTo>
                  <a:pt x="6062" y="2692"/>
                </a:lnTo>
                <a:lnTo>
                  <a:pt x="6072" y="2700"/>
                </a:lnTo>
                <a:lnTo>
                  <a:pt x="6078" y="2706"/>
                </a:lnTo>
                <a:lnTo>
                  <a:pt x="6078" y="2712"/>
                </a:lnTo>
                <a:lnTo>
                  <a:pt x="6080" y="2720"/>
                </a:lnTo>
                <a:lnTo>
                  <a:pt x="6078" y="2722"/>
                </a:lnTo>
                <a:lnTo>
                  <a:pt x="6076" y="2716"/>
                </a:lnTo>
                <a:lnTo>
                  <a:pt x="6072" y="2706"/>
                </a:lnTo>
                <a:lnTo>
                  <a:pt x="6068" y="2702"/>
                </a:lnTo>
                <a:lnTo>
                  <a:pt x="6064" y="2700"/>
                </a:lnTo>
                <a:lnTo>
                  <a:pt x="6062" y="2708"/>
                </a:lnTo>
                <a:lnTo>
                  <a:pt x="6058" y="2728"/>
                </a:lnTo>
                <a:lnTo>
                  <a:pt x="6056" y="2744"/>
                </a:lnTo>
                <a:lnTo>
                  <a:pt x="6058" y="2744"/>
                </a:lnTo>
                <a:lnTo>
                  <a:pt x="6060" y="2742"/>
                </a:lnTo>
                <a:lnTo>
                  <a:pt x="6062" y="2744"/>
                </a:lnTo>
                <a:lnTo>
                  <a:pt x="6062" y="2746"/>
                </a:lnTo>
                <a:lnTo>
                  <a:pt x="6060" y="2748"/>
                </a:lnTo>
                <a:lnTo>
                  <a:pt x="6058" y="2750"/>
                </a:lnTo>
                <a:lnTo>
                  <a:pt x="6056" y="2752"/>
                </a:lnTo>
                <a:lnTo>
                  <a:pt x="6054" y="2778"/>
                </a:lnTo>
                <a:lnTo>
                  <a:pt x="6050" y="2798"/>
                </a:lnTo>
                <a:lnTo>
                  <a:pt x="6046" y="2810"/>
                </a:lnTo>
                <a:lnTo>
                  <a:pt x="6042" y="2816"/>
                </a:lnTo>
                <a:lnTo>
                  <a:pt x="6036" y="2820"/>
                </a:lnTo>
                <a:lnTo>
                  <a:pt x="6026" y="2822"/>
                </a:lnTo>
                <a:lnTo>
                  <a:pt x="6020" y="2824"/>
                </a:lnTo>
                <a:lnTo>
                  <a:pt x="6010" y="2820"/>
                </a:lnTo>
                <a:lnTo>
                  <a:pt x="5998" y="2818"/>
                </a:lnTo>
                <a:lnTo>
                  <a:pt x="5992" y="2818"/>
                </a:lnTo>
                <a:lnTo>
                  <a:pt x="5984" y="2818"/>
                </a:lnTo>
                <a:lnTo>
                  <a:pt x="5972" y="2816"/>
                </a:lnTo>
                <a:lnTo>
                  <a:pt x="5962" y="2814"/>
                </a:lnTo>
                <a:lnTo>
                  <a:pt x="5954" y="2814"/>
                </a:lnTo>
                <a:lnTo>
                  <a:pt x="5936" y="2816"/>
                </a:lnTo>
                <a:lnTo>
                  <a:pt x="5916" y="2816"/>
                </a:lnTo>
                <a:lnTo>
                  <a:pt x="5904" y="2814"/>
                </a:lnTo>
                <a:lnTo>
                  <a:pt x="5890" y="2810"/>
                </a:lnTo>
                <a:lnTo>
                  <a:pt x="5876" y="2808"/>
                </a:lnTo>
                <a:lnTo>
                  <a:pt x="5868" y="2808"/>
                </a:lnTo>
                <a:lnTo>
                  <a:pt x="5856" y="2810"/>
                </a:lnTo>
                <a:lnTo>
                  <a:pt x="5838" y="2810"/>
                </a:lnTo>
                <a:lnTo>
                  <a:pt x="5828" y="2810"/>
                </a:lnTo>
                <a:lnTo>
                  <a:pt x="5818" y="2808"/>
                </a:lnTo>
                <a:lnTo>
                  <a:pt x="5806" y="2802"/>
                </a:lnTo>
                <a:lnTo>
                  <a:pt x="5794" y="2800"/>
                </a:lnTo>
                <a:lnTo>
                  <a:pt x="5788" y="2800"/>
                </a:lnTo>
                <a:lnTo>
                  <a:pt x="5782" y="2802"/>
                </a:lnTo>
                <a:lnTo>
                  <a:pt x="5776" y="2806"/>
                </a:lnTo>
                <a:lnTo>
                  <a:pt x="5774" y="2810"/>
                </a:lnTo>
                <a:lnTo>
                  <a:pt x="5772" y="2816"/>
                </a:lnTo>
                <a:lnTo>
                  <a:pt x="5770" y="2822"/>
                </a:lnTo>
                <a:lnTo>
                  <a:pt x="5768" y="2822"/>
                </a:lnTo>
                <a:lnTo>
                  <a:pt x="5762" y="2822"/>
                </a:lnTo>
                <a:lnTo>
                  <a:pt x="5756" y="2824"/>
                </a:lnTo>
                <a:lnTo>
                  <a:pt x="5750" y="2826"/>
                </a:lnTo>
                <a:lnTo>
                  <a:pt x="5740" y="2834"/>
                </a:lnTo>
                <a:lnTo>
                  <a:pt x="5736" y="2838"/>
                </a:lnTo>
                <a:lnTo>
                  <a:pt x="5734" y="2842"/>
                </a:lnTo>
                <a:lnTo>
                  <a:pt x="5732" y="2844"/>
                </a:lnTo>
                <a:lnTo>
                  <a:pt x="5734" y="2848"/>
                </a:lnTo>
                <a:lnTo>
                  <a:pt x="5740" y="2852"/>
                </a:lnTo>
                <a:lnTo>
                  <a:pt x="5740" y="2856"/>
                </a:lnTo>
                <a:lnTo>
                  <a:pt x="5742" y="2862"/>
                </a:lnTo>
                <a:lnTo>
                  <a:pt x="5746" y="2870"/>
                </a:lnTo>
                <a:lnTo>
                  <a:pt x="5748" y="2878"/>
                </a:lnTo>
                <a:lnTo>
                  <a:pt x="5750" y="2886"/>
                </a:lnTo>
                <a:lnTo>
                  <a:pt x="5750" y="2896"/>
                </a:lnTo>
                <a:lnTo>
                  <a:pt x="5752" y="2904"/>
                </a:lnTo>
                <a:lnTo>
                  <a:pt x="5750" y="2910"/>
                </a:lnTo>
                <a:lnTo>
                  <a:pt x="5750" y="2914"/>
                </a:lnTo>
                <a:lnTo>
                  <a:pt x="5752" y="2916"/>
                </a:lnTo>
                <a:lnTo>
                  <a:pt x="5752" y="2920"/>
                </a:lnTo>
                <a:lnTo>
                  <a:pt x="5750" y="2924"/>
                </a:lnTo>
                <a:lnTo>
                  <a:pt x="5752" y="2930"/>
                </a:lnTo>
                <a:lnTo>
                  <a:pt x="5758" y="2944"/>
                </a:lnTo>
                <a:lnTo>
                  <a:pt x="5760" y="2950"/>
                </a:lnTo>
                <a:lnTo>
                  <a:pt x="5758" y="2956"/>
                </a:lnTo>
                <a:lnTo>
                  <a:pt x="5756" y="2972"/>
                </a:lnTo>
                <a:lnTo>
                  <a:pt x="5750" y="2986"/>
                </a:lnTo>
                <a:lnTo>
                  <a:pt x="5750" y="2996"/>
                </a:lnTo>
                <a:lnTo>
                  <a:pt x="5750" y="3000"/>
                </a:lnTo>
                <a:lnTo>
                  <a:pt x="5748" y="3004"/>
                </a:lnTo>
                <a:lnTo>
                  <a:pt x="5746" y="3012"/>
                </a:lnTo>
                <a:lnTo>
                  <a:pt x="5740" y="3026"/>
                </a:lnTo>
                <a:lnTo>
                  <a:pt x="5738" y="3032"/>
                </a:lnTo>
                <a:lnTo>
                  <a:pt x="5734" y="3038"/>
                </a:lnTo>
                <a:lnTo>
                  <a:pt x="5730" y="3042"/>
                </a:lnTo>
                <a:lnTo>
                  <a:pt x="5728" y="3042"/>
                </a:lnTo>
                <a:lnTo>
                  <a:pt x="5728" y="3048"/>
                </a:lnTo>
                <a:lnTo>
                  <a:pt x="5728" y="3052"/>
                </a:lnTo>
                <a:lnTo>
                  <a:pt x="5728" y="3056"/>
                </a:lnTo>
                <a:lnTo>
                  <a:pt x="5724" y="3068"/>
                </a:lnTo>
                <a:lnTo>
                  <a:pt x="5722" y="3074"/>
                </a:lnTo>
                <a:lnTo>
                  <a:pt x="5722" y="3078"/>
                </a:lnTo>
                <a:lnTo>
                  <a:pt x="5724" y="3080"/>
                </a:lnTo>
                <a:lnTo>
                  <a:pt x="5728" y="3080"/>
                </a:lnTo>
                <a:lnTo>
                  <a:pt x="5736" y="3080"/>
                </a:lnTo>
                <a:lnTo>
                  <a:pt x="5736" y="3082"/>
                </a:lnTo>
                <a:lnTo>
                  <a:pt x="5734" y="3084"/>
                </a:lnTo>
                <a:lnTo>
                  <a:pt x="5734" y="3086"/>
                </a:lnTo>
                <a:lnTo>
                  <a:pt x="5734" y="3090"/>
                </a:lnTo>
                <a:lnTo>
                  <a:pt x="5734" y="3094"/>
                </a:lnTo>
                <a:lnTo>
                  <a:pt x="5734" y="3096"/>
                </a:lnTo>
                <a:lnTo>
                  <a:pt x="5738" y="3096"/>
                </a:lnTo>
                <a:lnTo>
                  <a:pt x="5742" y="3094"/>
                </a:lnTo>
                <a:lnTo>
                  <a:pt x="5748" y="3094"/>
                </a:lnTo>
                <a:lnTo>
                  <a:pt x="5750" y="3096"/>
                </a:lnTo>
                <a:lnTo>
                  <a:pt x="5752" y="3100"/>
                </a:lnTo>
                <a:lnTo>
                  <a:pt x="5752" y="3104"/>
                </a:lnTo>
                <a:lnTo>
                  <a:pt x="5750" y="3110"/>
                </a:lnTo>
                <a:lnTo>
                  <a:pt x="5748" y="3120"/>
                </a:lnTo>
                <a:lnTo>
                  <a:pt x="5750" y="3126"/>
                </a:lnTo>
                <a:lnTo>
                  <a:pt x="5750" y="3138"/>
                </a:lnTo>
                <a:lnTo>
                  <a:pt x="5748" y="3160"/>
                </a:lnTo>
                <a:lnTo>
                  <a:pt x="5744" y="3172"/>
                </a:lnTo>
                <a:lnTo>
                  <a:pt x="5746" y="3174"/>
                </a:lnTo>
                <a:lnTo>
                  <a:pt x="5748" y="3172"/>
                </a:lnTo>
                <a:lnTo>
                  <a:pt x="5752" y="3170"/>
                </a:lnTo>
                <a:lnTo>
                  <a:pt x="5756" y="3168"/>
                </a:lnTo>
                <a:lnTo>
                  <a:pt x="5764" y="3168"/>
                </a:lnTo>
                <a:lnTo>
                  <a:pt x="5778" y="3172"/>
                </a:lnTo>
                <a:lnTo>
                  <a:pt x="5788" y="3174"/>
                </a:lnTo>
                <a:lnTo>
                  <a:pt x="5794" y="3172"/>
                </a:lnTo>
                <a:lnTo>
                  <a:pt x="5798" y="3168"/>
                </a:lnTo>
                <a:lnTo>
                  <a:pt x="5808" y="3162"/>
                </a:lnTo>
                <a:lnTo>
                  <a:pt x="5814" y="3162"/>
                </a:lnTo>
                <a:lnTo>
                  <a:pt x="5820" y="3162"/>
                </a:lnTo>
                <a:lnTo>
                  <a:pt x="5828" y="3164"/>
                </a:lnTo>
                <a:lnTo>
                  <a:pt x="5834" y="3166"/>
                </a:lnTo>
                <a:lnTo>
                  <a:pt x="5842" y="3176"/>
                </a:lnTo>
                <a:lnTo>
                  <a:pt x="5846" y="3180"/>
                </a:lnTo>
                <a:lnTo>
                  <a:pt x="5846" y="3184"/>
                </a:lnTo>
                <a:lnTo>
                  <a:pt x="5848" y="3192"/>
                </a:lnTo>
                <a:lnTo>
                  <a:pt x="5852" y="3200"/>
                </a:lnTo>
                <a:lnTo>
                  <a:pt x="5858" y="3210"/>
                </a:lnTo>
                <a:lnTo>
                  <a:pt x="5866" y="3218"/>
                </a:lnTo>
                <a:lnTo>
                  <a:pt x="5874" y="3226"/>
                </a:lnTo>
                <a:lnTo>
                  <a:pt x="5880" y="3228"/>
                </a:lnTo>
                <a:lnTo>
                  <a:pt x="5882" y="3228"/>
                </a:lnTo>
                <a:lnTo>
                  <a:pt x="5886" y="3224"/>
                </a:lnTo>
                <a:lnTo>
                  <a:pt x="5890" y="3220"/>
                </a:lnTo>
                <a:lnTo>
                  <a:pt x="5892" y="3216"/>
                </a:lnTo>
                <a:lnTo>
                  <a:pt x="5896" y="3210"/>
                </a:lnTo>
                <a:lnTo>
                  <a:pt x="5900" y="3206"/>
                </a:lnTo>
                <a:lnTo>
                  <a:pt x="5902" y="3204"/>
                </a:lnTo>
                <a:lnTo>
                  <a:pt x="5912" y="3202"/>
                </a:lnTo>
                <a:lnTo>
                  <a:pt x="5920" y="3200"/>
                </a:lnTo>
                <a:lnTo>
                  <a:pt x="5924" y="3198"/>
                </a:lnTo>
                <a:lnTo>
                  <a:pt x="5924" y="3196"/>
                </a:lnTo>
                <a:lnTo>
                  <a:pt x="5930" y="3190"/>
                </a:lnTo>
                <a:lnTo>
                  <a:pt x="5938" y="3186"/>
                </a:lnTo>
                <a:lnTo>
                  <a:pt x="5948" y="3184"/>
                </a:lnTo>
                <a:lnTo>
                  <a:pt x="5954" y="3186"/>
                </a:lnTo>
                <a:lnTo>
                  <a:pt x="5960" y="3188"/>
                </a:lnTo>
                <a:lnTo>
                  <a:pt x="5968" y="3190"/>
                </a:lnTo>
                <a:lnTo>
                  <a:pt x="5976" y="3190"/>
                </a:lnTo>
                <a:lnTo>
                  <a:pt x="5994" y="3188"/>
                </a:lnTo>
                <a:lnTo>
                  <a:pt x="6008" y="3184"/>
                </a:lnTo>
                <a:lnTo>
                  <a:pt x="6012" y="3184"/>
                </a:lnTo>
                <a:lnTo>
                  <a:pt x="6016" y="3186"/>
                </a:lnTo>
                <a:lnTo>
                  <a:pt x="6020" y="3186"/>
                </a:lnTo>
                <a:lnTo>
                  <a:pt x="6024" y="3184"/>
                </a:lnTo>
                <a:lnTo>
                  <a:pt x="6030" y="3170"/>
                </a:lnTo>
                <a:lnTo>
                  <a:pt x="6036" y="3162"/>
                </a:lnTo>
                <a:lnTo>
                  <a:pt x="6042" y="3154"/>
                </a:lnTo>
                <a:lnTo>
                  <a:pt x="6048" y="3148"/>
                </a:lnTo>
                <a:lnTo>
                  <a:pt x="6060" y="3144"/>
                </a:lnTo>
                <a:lnTo>
                  <a:pt x="6074" y="3144"/>
                </a:lnTo>
                <a:lnTo>
                  <a:pt x="6076" y="3140"/>
                </a:lnTo>
                <a:lnTo>
                  <a:pt x="6076" y="3136"/>
                </a:lnTo>
                <a:lnTo>
                  <a:pt x="6076" y="3124"/>
                </a:lnTo>
                <a:lnTo>
                  <a:pt x="6080" y="3114"/>
                </a:lnTo>
                <a:lnTo>
                  <a:pt x="6086" y="3106"/>
                </a:lnTo>
                <a:lnTo>
                  <a:pt x="6094" y="3098"/>
                </a:lnTo>
                <a:lnTo>
                  <a:pt x="6108" y="3086"/>
                </a:lnTo>
                <a:lnTo>
                  <a:pt x="6114" y="3082"/>
                </a:lnTo>
                <a:lnTo>
                  <a:pt x="6114" y="3078"/>
                </a:lnTo>
                <a:lnTo>
                  <a:pt x="6112" y="3074"/>
                </a:lnTo>
                <a:lnTo>
                  <a:pt x="6106" y="3070"/>
                </a:lnTo>
                <a:lnTo>
                  <a:pt x="6100" y="3064"/>
                </a:lnTo>
                <a:lnTo>
                  <a:pt x="6098" y="3058"/>
                </a:lnTo>
                <a:lnTo>
                  <a:pt x="6094" y="3050"/>
                </a:lnTo>
                <a:lnTo>
                  <a:pt x="6094" y="3042"/>
                </a:lnTo>
                <a:lnTo>
                  <a:pt x="6096" y="3032"/>
                </a:lnTo>
                <a:lnTo>
                  <a:pt x="6102" y="3020"/>
                </a:lnTo>
                <a:lnTo>
                  <a:pt x="6108" y="3008"/>
                </a:lnTo>
                <a:lnTo>
                  <a:pt x="6124" y="2988"/>
                </a:lnTo>
                <a:lnTo>
                  <a:pt x="6130" y="2982"/>
                </a:lnTo>
                <a:lnTo>
                  <a:pt x="6134" y="2978"/>
                </a:lnTo>
                <a:lnTo>
                  <a:pt x="6144" y="2972"/>
                </a:lnTo>
                <a:lnTo>
                  <a:pt x="6144" y="2970"/>
                </a:lnTo>
                <a:lnTo>
                  <a:pt x="6140" y="2966"/>
                </a:lnTo>
                <a:lnTo>
                  <a:pt x="6138" y="2964"/>
                </a:lnTo>
                <a:lnTo>
                  <a:pt x="6138" y="2960"/>
                </a:lnTo>
                <a:lnTo>
                  <a:pt x="6142" y="2956"/>
                </a:lnTo>
                <a:lnTo>
                  <a:pt x="6150" y="2952"/>
                </a:lnTo>
                <a:lnTo>
                  <a:pt x="6168" y="2946"/>
                </a:lnTo>
                <a:lnTo>
                  <a:pt x="6186" y="2940"/>
                </a:lnTo>
                <a:lnTo>
                  <a:pt x="6192" y="2938"/>
                </a:lnTo>
                <a:lnTo>
                  <a:pt x="6196" y="2934"/>
                </a:lnTo>
                <a:lnTo>
                  <a:pt x="6198" y="2930"/>
                </a:lnTo>
                <a:lnTo>
                  <a:pt x="6204" y="2926"/>
                </a:lnTo>
                <a:lnTo>
                  <a:pt x="6220" y="2918"/>
                </a:lnTo>
                <a:lnTo>
                  <a:pt x="6228" y="2912"/>
                </a:lnTo>
                <a:lnTo>
                  <a:pt x="6234" y="2908"/>
                </a:lnTo>
                <a:lnTo>
                  <a:pt x="6238" y="2900"/>
                </a:lnTo>
                <a:lnTo>
                  <a:pt x="6236" y="2896"/>
                </a:lnTo>
                <a:lnTo>
                  <a:pt x="6236" y="2892"/>
                </a:lnTo>
                <a:lnTo>
                  <a:pt x="6234" y="2890"/>
                </a:lnTo>
                <a:lnTo>
                  <a:pt x="6236" y="2888"/>
                </a:lnTo>
                <a:lnTo>
                  <a:pt x="6240" y="2884"/>
                </a:lnTo>
                <a:lnTo>
                  <a:pt x="6240" y="2882"/>
                </a:lnTo>
                <a:lnTo>
                  <a:pt x="6240" y="2880"/>
                </a:lnTo>
                <a:lnTo>
                  <a:pt x="6238" y="2876"/>
                </a:lnTo>
                <a:lnTo>
                  <a:pt x="6232" y="2872"/>
                </a:lnTo>
                <a:lnTo>
                  <a:pt x="6232" y="2860"/>
                </a:lnTo>
                <a:lnTo>
                  <a:pt x="6232" y="2854"/>
                </a:lnTo>
                <a:lnTo>
                  <a:pt x="6234" y="2848"/>
                </a:lnTo>
                <a:lnTo>
                  <a:pt x="6234" y="2840"/>
                </a:lnTo>
                <a:lnTo>
                  <a:pt x="6234" y="2836"/>
                </a:lnTo>
                <a:lnTo>
                  <a:pt x="6234" y="2832"/>
                </a:lnTo>
                <a:lnTo>
                  <a:pt x="6240" y="2828"/>
                </a:lnTo>
                <a:lnTo>
                  <a:pt x="6248" y="2824"/>
                </a:lnTo>
                <a:lnTo>
                  <a:pt x="6256" y="2820"/>
                </a:lnTo>
                <a:lnTo>
                  <a:pt x="6268" y="2810"/>
                </a:lnTo>
                <a:lnTo>
                  <a:pt x="6272" y="2810"/>
                </a:lnTo>
                <a:lnTo>
                  <a:pt x="6272" y="2812"/>
                </a:lnTo>
                <a:lnTo>
                  <a:pt x="6274" y="2816"/>
                </a:lnTo>
                <a:lnTo>
                  <a:pt x="6278" y="2818"/>
                </a:lnTo>
                <a:lnTo>
                  <a:pt x="6282" y="2818"/>
                </a:lnTo>
                <a:lnTo>
                  <a:pt x="6290" y="2820"/>
                </a:lnTo>
                <a:lnTo>
                  <a:pt x="6292" y="2822"/>
                </a:lnTo>
                <a:lnTo>
                  <a:pt x="6294" y="2824"/>
                </a:lnTo>
                <a:lnTo>
                  <a:pt x="6302" y="2822"/>
                </a:lnTo>
                <a:lnTo>
                  <a:pt x="6310" y="2820"/>
                </a:lnTo>
                <a:lnTo>
                  <a:pt x="6316" y="2822"/>
                </a:lnTo>
                <a:lnTo>
                  <a:pt x="6320" y="2824"/>
                </a:lnTo>
                <a:lnTo>
                  <a:pt x="6324" y="2830"/>
                </a:lnTo>
                <a:lnTo>
                  <a:pt x="6328" y="2834"/>
                </a:lnTo>
                <a:lnTo>
                  <a:pt x="6332" y="2832"/>
                </a:lnTo>
                <a:lnTo>
                  <a:pt x="6336" y="2832"/>
                </a:lnTo>
                <a:lnTo>
                  <a:pt x="6338" y="2832"/>
                </a:lnTo>
                <a:lnTo>
                  <a:pt x="6340" y="2834"/>
                </a:lnTo>
                <a:lnTo>
                  <a:pt x="6344" y="2836"/>
                </a:lnTo>
                <a:lnTo>
                  <a:pt x="6350" y="2836"/>
                </a:lnTo>
                <a:lnTo>
                  <a:pt x="6362" y="2834"/>
                </a:lnTo>
                <a:lnTo>
                  <a:pt x="6374" y="2830"/>
                </a:lnTo>
                <a:lnTo>
                  <a:pt x="6378" y="2826"/>
                </a:lnTo>
                <a:lnTo>
                  <a:pt x="6378" y="2822"/>
                </a:lnTo>
                <a:lnTo>
                  <a:pt x="6378" y="2820"/>
                </a:lnTo>
                <a:lnTo>
                  <a:pt x="6380" y="2818"/>
                </a:lnTo>
                <a:lnTo>
                  <a:pt x="6390" y="2812"/>
                </a:lnTo>
                <a:lnTo>
                  <a:pt x="6410" y="2800"/>
                </a:lnTo>
                <a:lnTo>
                  <a:pt x="6422" y="2794"/>
                </a:lnTo>
                <a:lnTo>
                  <a:pt x="6432" y="2788"/>
                </a:lnTo>
                <a:lnTo>
                  <a:pt x="6438" y="2784"/>
                </a:lnTo>
                <a:lnTo>
                  <a:pt x="6442" y="2778"/>
                </a:lnTo>
                <a:lnTo>
                  <a:pt x="6448" y="2770"/>
                </a:lnTo>
                <a:lnTo>
                  <a:pt x="6452" y="2766"/>
                </a:lnTo>
                <a:lnTo>
                  <a:pt x="6458" y="2762"/>
                </a:lnTo>
                <a:lnTo>
                  <a:pt x="6464" y="2760"/>
                </a:lnTo>
                <a:lnTo>
                  <a:pt x="6472" y="2762"/>
                </a:lnTo>
                <a:lnTo>
                  <a:pt x="6478" y="2766"/>
                </a:lnTo>
                <a:lnTo>
                  <a:pt x="6482" y="2770"/>
                </a:lnTo>
                <a:lnTo>
                  <a:pt x="6492" y="2780"/>
                </a:lnTo>
                <a:lnTo>
                  <a:pt x="6498" y="2782"/>
                </a:lnTo>
                <a:lnTo>
                  <a:pt x="6504" y="2782"/>
                </a:lnTo>
                <a:lnTo>
                  <a:pt x="6510" y="2782"/>
                </a:lnTo>
                <a:lnTo>
                  <a:pt x="6514" y="2786"/>
                </a:lnTo>
                <a:lnTo>
                  <a:pt x="6516" y="2790"/>
                </a:lnTo>
                <a:lnTo>
                  <a:pt x="6518" y="2798"/>
                </a:lnTo>
                <a:lnTo>
                  <a:pt x="6520" y="2812"/>
                </a:lnTo>
                <a:lnTo>
                  <a:pt x="6522" y="2818"/>
                </a:lnTo>
                <a:lnTo>
                  <a:pt x="6526" y="2822"/>
                </a:lnTo>
                <a:lnTo>
                  <a:pt x="6528" y="2826"/>
                </a:lnTo>
                <a:lnTo>
                  <a:pt x="6530" y="2828"/>
                </a:lnTo>
                <a:lnTo>
                  <a:pt x="6530" y="2836"/>
                </a:lnTo>
                <a:lnTo>
                  <a:pt x="6530" y="2840"/>
                </a:lnTo>
                <a:lnTo>
                  <a:pt x="6530" y="2844"/>
                </a:lnTo>
                <a:lnTo>
                  <a:pt x="6534" y="2848"/>
                </a:lnTo>
                <a:lnTo>
                  <a:pt x="6538" y="2852"/>
                </a:lnTo>
                <a:lnTo>
                  <a:pt x="6554" y="2864"/>
                </a:lnTo>
                <a:lnTo>
                  <a:pt x="6556" y="2868"/>
                </a:lnTo>
                <a:lnTo>
                  <a:pt x="6556" y="2874"/>
                </a:lnTo>
                <a:lnTo>
                  <a:pt x="6556" y="2876"/>
                </a:lnTo>
                <a:lnTo>
                  <a:pt x="6558" y="2878"/>
                </a:lnTo>
                <a:lnTo>
                  <a:pt x="6566" y="2880"/>
                </a:lnTo>
                <a:lnTo>
                  <a:pt x="6574" y="2884"/>
                </a:lnTo>
                <a:lnTo>
                  <a:pt x="6578" y="2888"/>
                </a:lnTo>
                <a:lnTo>
                  <a:pt x="6582" y="2894"/>
                </a:lnTo>
                <a:lnTo>
                  <a:pt x="6586" y="2900"/>
                </a:lnTo>
                <a:lnTo>
                  <a:pt x="6590" y="2902"/>
                </a:lnTo>
                <a:lnTo>
                  <a:pt x="6594" y="2906"/>
                </a:lnTo>
                <a:lnTo>
                  <a:pt x="6604" y="2916"/>
                </a:lnTo>
                <a:lnTo>
                  <a:pt x="6616" y="2928"/>
                </a:lnTo>
                <a:lnTo>
                  <a:pt x="6628" y="2936"/>
                </a:lnTo>
                <a:lnTo>
                  <a:pt x="6642" y="2940"/>
                </a:lnTo>
                <a:lnTo>
                  <a:pt x="6654" y="2942"/>
                </a:lnTo>
                <a:lnTo>
                  <a:pt x="6658" y="2942"/>
                </a:lnTo>
                <a:lnTo>
                  <a:pt x="6662" y="2946"/>
                </a:lnTo>
                <a:lnTo>
                  <a:pt x="6666" y="2956"/>
                </a:lnTo>
                <a:lnTo>
                  <a:pt x="6672" y="2964"/>
                </a:lnTo>
                <a:lnTo>
                  <a:pt x="6676" y="2966"/>
                </a:lnTo>
                <a:lnTo>
                  <a:pt x="6680" y="2968"/>
                </a:lnTo>
                <a:lnTo>
                  <a:pt x="6686" y="2966"/>
                </a:lnTo>
                <a:lnTo>
                  <a:pt x="6688" y="2968"/>
                </a:lnTo>
                <a:lnTo>
                  <a:pt x="6688" y="2972"/>
                </a:lnTo>
                <a:lnTo>
                  <a:pt x="6688" y="2974"/>
                </a:lnTo>
                <a:lnTo>
                  <a:pt x="6688" y="2976"/>
                </a:lnTo>
                <a:lnTo>
                  <a:pt x="6690" y="2976"/>
                </a:lnTo>
                <a:lnTo>
                  <a:pt x="6696" y="2976"/>
                </a:lnTo>
                <a:lnTo>
                  <a:pt x="6702" y="2976"/>
                </a:lnTo>
                <a:lnTo>
                  <a:pt x="6706" y="2976"/>
                </a:lnTo>
                <a:lnTo>
                  <a:pt x="6706" y="2980"/>
                </a:lnTo>
                <a:lnTo>
                  <a:pt x="6706" y="2982"/>
                </a:lnTo>
                <a:lnTo>
                  <a:pt x="6706" y="2992"/>
                </a:lnTo>
                <a:lnTo>
                  <a:pt x="6708" y="2998"/>
                </a:lnTo>
                <a:lnTo>
                  <a:pt x="6714" y="3002"/>
                </a:lnTo>
                <a:lnTo>
                  <a:pt x="6726" y="3008"/>
                </a:lnTo>
                <a:lnTo>
                  <a:pt x="6734" y="3012"/>
                </a:lnTo>
                <a:lnTo>
                  <a:pt x="6738" y="3014"/>
                </a:lnTo>
                <a:lnTo>
                  <a:pt x="6742" y="3020"/>
                </a:lnTo>
                <a:lnTo>
                  <a:pt x="6746" y="3026"/>
                </a:lnTo>
                <a:lnTo>
                  <a:pt x="6750" y="3038"/>
                </a:lnTo>
                <a:lnTo>
                  <a:pt x="6754" y="3058"/>
                </a:lnTo>
                <a:lnTo>
                  <a:pt x="6756" y="3068"/>
                </a:lnTo>
                <a:lnTo>
                  <a:pt x="6756" y="3076"/>
                </a:lnTo>
                <a:lnTo>
                  <a:pt x="6752" y="3080"/>
                </a:lnTo>
                <a:lnTo>
                  <a:pt x="6748" y="3084"/>
                </a:lnTo>
                <a:lnTo>
                  <a:pt x="6748" y="3090"/>
                </a:lnTo>
                <a:lnTo>
                  <a:pt x="6746" y="3094"/>
                </a:lnTo>
                <a:lnTo>
                  <a:pt x="6744" y="3100"/>
                </a:lnTo>
                <a:lnTo>
                  <a:pt x="6740" y="3108"/>
                </a:lnTo>
                <a:lnTo>
                  <a:pt x="6738" y="3114"/>
                </a:lnTo>
                <a:lnTo>
                  <a:pt x="6738" y="3120"/>
                </a:lnTo>
                <a:lnTo>
                  <a:pt x="6742" y="3124"/>
                </a:lnTo>
                <a:lnTo>
                  <a:pt x="6748" y="3126"/>
                </a:lnTo>
                <a:lnTo>
                  <a:pt x="6752" y="3126"/>
                </a:lnTo>
                <a:lnTo>
                  <a:pt x="6754" y="3124"/>
                </a:lnTo>
                <a:lnTo>
                  <a:pt x="6756" y="3122"/>
                </a:lnTo>
                <a:lnTo>
                  <a:pt x="6760" y="3112"/>
                </a:lnTo>
                <a:lnTo>
                  <a:pt x="6768" y="3102"/>
                </a:lnTo>
                <a:lnTo>
                  <a:pt x="6772" y="3096"/>
                </a:lnTo>
                <a:lnTo>
                  <a:pt x="6774" y="3092"/>
                </a:lnTo>
                <a:lnTo>
                  <a:pt x="6776" y="3086"/>
                </a:lnTo>
                <a:lnTo>
                  <a:pt x="6780" y="3078"/>
                </a:lnTo>
                <a:lnTo>
                  <a:pt x="6784" y="3074"/>
                </a:lnTo>
                <a:lnTo>
                  <a:pt x="6790" y="3070"/>
                </a:lnTo>
                <a:lnTo>
                  <a:pt x="6796" y="3066"/>
                </a:lnTo>
                <a:lnTo>
                  <a:pt x="6798" y="3060"/>
                </a:lnTo>
                <a:lnTo>
                  <a:pt x="6800" y="3054"/>
                </a:lnTo>
                <a:lnTo>
                  <a:pt x="6800" y="3050"/>
                </a:lnTo>
                <a:lnTo>
                  <a:pt x="6796" y="3044"/>
                </a:lnTo>
                <a:lnTo>
                  <a:pt x="6794" y="3040"/>
                </a:lnTo>
                <a:lnTo>
                  <a:pt x="6788" y="3036"/>
                </a:lnTo>
                <a:lnTo>
                  <a:pt x="6784" y="3034"/>
                </a:lnTo>
                <a:lnTo>
                  <a:pt x="6774" y="3030"/>
                </a:lnTo>
                <a:lnTo>
                  <a:pt x="6770" y="3026"/>
                </a:lnTo>
                <a:lnTo>
                  <a:pt x="6770" y="3022"/>
                </a:lnTo>
                <a:lnTo>
                  <a:pt x="6774" y="3016"/>
                </a:lnTo>
                <a:lnTo>
                  <a:pt x="6778" y="3008"/>
                </a:lnTo>
                <a:lnTo>
                  <a:pt x="6778" y="3002"/>
                </a:lnTo>
                <a:lnTo>
                  <a:pt x="6780" y="2994"/>
                </a:lnTo>
                <a:lnTo>
                  <a:pt x="6784" y="2990"/>
                </a:lnTo>
                <a:lnTo>
                  <a:pt x="6788" y="2986"/>
                </a:lnTo>
                <a:lnTo>
                  <a:pt x="6796" y="2984"/>
                </a:lnTo>
                <a:lnTo>
                  <a:pt x="6802" y="2984"/>
                </a:lnTo>
                <a:lnTo>
                  <a:pt x="6808" y="2988"/>
                </a:lnTo>
                <a:lnTo>
                  <a:pt x="6818" y="2990"/>
                </a:lnTo>
                <a:lnTo>
                  <a:pt x="6824" y="2992"/>
                </a:lnTo>
                <a:lnTo>
                  <a:pt x="6828" y="2996"/>
                </a:lnTo>
                <a:lnTo>
                  <a:pt x="6832" y="3004"/>
                </a:lnTo>
                <a:lnTo>
                  <a:pt x="6836" y="3014"/>
                </a:lnTo>
                <a:lnTo>
                  <a:pt x="6838" y="3018"/>
                </a:lnTo>
                <a:lnTo>
                  <a:pt x="6842" y="3020"/>
                </a:lnTo>
                <a:lnTo>
                  <a:pt x="6850" y="3020"/>
                </a:lnTo>
                <a:lnTo>
                  <a:pt x="6850" y="3018"/>
                </a:lnTo>
                <a:lnTo>
                  <a:pt x="6850" y="3014"/>
                </a:lnTo>
                <a:lnTo>
                  <a:pt x="6852" y="3006"/>
                </a:lnTo>
                <a:lnTo>
                  <a:pt x="6854" y="3000"/>
                </a:lnTo>
                <a:lnTo>
                  <a:pt x="6852" y="2996"/>
                </a:lnTo>
                <a:lnTo>
                  <a:pt x="6850" y="2992"/>
                </a:lnTo>
                <a:lnTo>
                  <a:pt x="6846" y="2986"/>
                </a:lnTo>
                <a:lnTo>
                  <a:pt x="6836" y="2978"/>
                </a:lnTo>
                <a:lnTo>
                  <a:pt x="6826" y="2972"/>
                </a:lnTo>
                <a:lnTo>
                  <a:pt x="6810" y="2962"/>
                </a:lnTo>
                <a:lnTo>
                  <a:pt x="6804" y="2958"/>
                </a:lnTo>
                <a:lnTo>
                  <a:pt x="6798" y="2952"/>
                </a:lnTo>
                <a:lnTo>
                  <a:pt x="6794" y="2950"/>
                </a:lnTo>
                <a:lnTo>
                  <a:pt x="6786" y="2946"/>
                </a:lnTo>
                <a:lnTo>
                  <a:pt x="6768" y="2938"/>
                </a:lnTo>
                <a:lnTo>
                  <a:pt x="6758" y="2932"/>
                </a:lnTo>
                <a:lnTo>
                  <a:pt x="6752" y="2928"/>
                </a:lnTo>
                <a:lnTo>
                  <a:pt x="6750" y="2922"/>
                </a:lnTo>
                <a:lnTo>
                  <a:pt x="6752" y="2920"/>
                </a:lnTo>
                <a:lnTo>
                  <a:pt x="6754" y="2918"/>
                </a:lnTo>
                <a:lnTo>
                  <a:pt x="6760" y="2912"/>
                </a:lnTo>
                <a:lnTo>
                  <a:pt x="6760" y="2908"/>
                </a:lnTo>
                <a:lnTo>
                  <a:pt x="6758" y="2908"/>
                </a:lnTo>
                <a:lnTo>
                  <a:pt x="6752" y="2906"/>
                </a:lnTo>
                <a:lnTo>
                  <a:pt x="6744" y="2904"/>
                </a:lnTo>
                <a:lnTo>
                  <a:pt x="6722" y="2902"/>
                </a:lnTo>
                <a:lnTo>
                  <a:pt x="6710" y="2898"/>
                </a:lnTo>
                <a:lnTo>
                  <a:pt x="6702" y="2894"/>
                </a:lnTo>
                <a:lnTo>
                  <a:pt x="6686" y="2878"/>
                </a:lnTo>
                <a:lnTo>
                  <a:pt x="6676" y="2862"/>
                </a:lnTo>
                <a:lnTo>
                  <a:pt x="6668" y="2848"/>
                </a:lnTo>
                <a:lnTo>
                  <a:pt x="6664" y="2834"/>
                </a:lnTo>
                <a:lnTo>
                  <a:pt x="6658" y="2816"/>
                </a:lnTo>
                <a:lnTo>
                  <a:pt x="6654" y="2810"/>
                </a:lnTo>
                <a:lnTo>
                  <a:pt x="6650" y="2808"/>
                </a:lnTo>
                <a:lnTo>
                  <a:pt x="6642" y="2806"/>
                </a:lnTo>
                <a:lnTo>
                  <a:pt x="6636" y="2800"/>
                </a:lnTo>
                <a:lnTo>
                  <a:pt x="6628" y="2794"/>
                </a:lnTo>
                <a:lnTo>
                  <a:pt x="6618" y="2786"/>
                </a:lnTo>
                <a:lnTo>
                  <a:pt x="6612" y="2780"/>
                </a:lnTo>
                <a:lnTo>
                  <a:pt x="6608" y="2774"/>
                </a:lnTo>
                <a:lnTo>
                  <a:pt x="6604" y="2766"/>
                </a:lnTo>
                <a:lnTo>
                  <a:pt x="6602" y="2758"/>
                </a:lnTo>
                <a:lnTo>
                  <a:pt x="6602" y="2752"/>
                </a:lnTo>
                <a:lnTo>
                  <a:pt x="6602" y="2746"/>
                </a:lnTo>
                <a:lnTo>
                  <a:pt x="6604" y="2742"/>
                </a:lnTo>
                <a:lnTo>
                  <a:pt x="6608" y="2738"/>
                </a:lnTo>
                <a:lnTo>
                  <a:pt x="6610" y="2738"/>
                </a:lnTo>
                <a:lnTo>
                  <a:pt x="6612" y="2736"/>
                </a:lnTo>
                <a:lnTo>
                  <a:pt x="6612" y="2730"/>
                </a:lnTo>
                <a:lnTo>
                  <a:pt x="6602" y="2718"/>
                </a:lnTo>
                <a:lnTo>
                  <a:pt x="6600" y="2710"/>
                </a:lnTo>
                <a:lnTo>
                  <a:pt x="6600" y="2704"/>
                </a:lnTo>
                <a:lnTo>
                  <a:pt x="6604" y="2702"/>
                </a:lnTo>
                <a:lnTo>
                  <a:pt x="6608" y="2704"/>
                </a:lnTo>
                <a:lnTo>
                  <a:pt x="6612" y="2704"/>
                </a:lnTo>
                <a:lnTo>
                  <a:pt x="6614" y="2704"/>
                </a:lnTo>
                <a:lnTo>
                  <a:pt x="6618" y="2702"/>
                </a:lnTo>
                <a:lnTo>
                  <a:pt x="6626" y="2696"/>
                </a:lnTo>
                <a:lnTo>
                  <a:pt x="6634" y="2690"/>
                </a:lnTo>
                <a:lnTo>
                  <a:pt x="6642" y="2688"/>
                </a:lnTo>
                <a:lnTo>
                  <a:pt x="6642" y="2690"/>
                </a:lnTo>
                <a:lnTo>
                  <a:pt x="6644" y="2692"/>
                </a:lnTo>
                <a:lnTo>
                  <a:pt x="6650" y="2690"/>
                </a:lnTo>
                <a:lnTo>
                  <a:pt x="6656" y="2690"/>
                </a:lnTo>
                <a:lnTo>
                  <a:pt x="6658" y="2690"/>
                </a:lnTo>
                <a:lnTo>
                  <a:pt x="6658" y="2696"/>
                </a:lnTo>
                <a:lnTo>
                  <a:pt x="6658" y="2698"/>
                </a:lnTo>
                <a:lnTo>
                  <a:pt x="6656" y="2698"/>
                </a:lnTo>
                <a:lnTo>
                  <a:pt x="6654" y="2700"/>
                </a:lnTo>
                <a:lnTo>
                  <a:pt x="6652" y="2702"/>
                </a:lnTo>
                <a:lnTo>
                  <a:pt x="6652" y="2704"/>
                </a:lnTo>
                <a:lnTo>
                  <a:pt x="6654" y="2716"/>
                </a:lnTo>
                <a:lnTo>
                  <a:pt x="6660" y="2730"/>
                </a:lnTo>
                <a:lnTo>
                  <a:pt x="6666" y="2742"/>
                </a:lnTo>
                <a:lnTo>
                  <a:pt x="6670" y="2744"/>
                </a:lnTo>
                <a:lnTo>
                  <a:pt x="6672" y="2742"/>
                </a:lnTo>
                <a:lnTo>
                  <a:pt x="6678" y="2718"/>
                </a:lnTo>
                <a:lnTo>
                  <a:pt x="6680" y="2714"/>
                </a:lnTo>
                <a:lnTo>
                  <a:pt x="6684" y="2712"/>
                </a:lnTo>
                <a:lnTo>
                  <a:pt x="6688" y="2712"/>
                </a:lnTo>
                <a:lnTo>
                  <a:pt x="6694" y="2714"/>
                </a:lnTo>
                <a:lnTo>
                  <a:pt x="6700" y="2722"/>
                </a:lnTo>
                <a:lnTo>
                  <a:pt x="6706" y="2728"/>
                </a:lnTo>
                <a:lnTo>
                  <a:pt x="6706" y="2732"/>
                </a:lnTo>
                <a:lnTo>
                  <a:pt x="6708" y="2736"/>
                </a:lnTo>
                <a:lnTo>
                  <a:pt x="6708" y="2746"/>
                </a:lnTo>
                <a:lnTo>
                  <a:pt x="6710" y="2752"/>
                </a:lnTo>
                <a:lnTo>
                  <a:pt x="6714" y="2758"/>
                </a:lnTo>
                <a:lnTo>
                  <a:pt x="6720" y="2764"/>
                </a:lnTo>
                <a:lnTo>
                  <a:pt x="6720" y="2768"/>
                </a:lnTo>
                <a:lnTo>
                  <a:pt x="6720" y="2770"/>
                </a:lnTo>
                <a:lnTo>
                  <a:pt x="6718" y="2772"/>
                </a:lnTo>
                <a:lnTo>
                  <a:pt x="6718" y="2774"/>
                </a:lnTo>
                <a:lnTo>
                  <a:pt x="6718" y="2778"/>
                </a:lnTo>
                <a:lnTo>
                  <a:pt x="6722" y="2782"/>
                </a:lnTo>
                <a:lnTo>
                  <a:pt x="6732" y="2790"/>
                </a:lnTo>
                <a:lnTo>
                  <a:pt x="6740" y="2798"/>
                </a:lnTo>
                <a:lnTo>
                  <a:pt x="6746" y="2804"/>
                </a:lnTo>
                <a:lnTo>
                  <a:pt x="6750" y="2812"/>
                </a:lnTo>
                <a:lnTo>
                  <a:pt x="6750" y="2814"/>
                </a:lnTo>
                <a:lnTo>
                  <a:pt x="6752" y="2814"/>
                </a:lnTo>
                <a:lnTo>
                  <a:pt x="6762" y="2814"/>
                </a:lnTo>
                <a:lnTo>
                  <a:pt x="6768" y="2814"/>
                </a:lnTo>
                <a:lnTo>
                  <a:pt x="6774" y="2814"/>
                </a:lnTo>
                <a:lnTo>
                  <a:pt x="6786" y="2822"/>
                </a:lnTo>
                <a:lnTo>
                  <a:pt x="6800" y="2832"/>
                </a:lnTo>
                <a:lnTo>
                  <a:pt x="6812" y="2844"/>
                </a:lnTo>
                <a:lnTo>
                  <a:pt x="6798" y="2842"/>
                </a:lnTo>
                <a:lnTo>
                  <a:pt x="6794" y="2842"/>
                </a:lnTo>
                <a:lnTo>
                  <a:pt x="6800" y="2846"/>
                </a:lnTo>
                <a:lnTo>
                  <a:pt x="6818" y="2854"/>
                </a:lnTo>
                <a:lnTo>
                  <a:pt x="6828" y="2858"/>
                </a:lnTo>
                <a:lnTo>
                  <a:pt x="6836" y="2862"/>
                </a:lnTo>
                <a:lnTo>
                  <a:pt x="6844" y="2870"/>
                </a:lnTo>
                <a:lnTo>
                  <a:pt x="6848" y="2876"/>
                </a:lnTo>
                <a:lnTo>
                  <a:pt x="6852" y="2876"/>
                </a:lnTo>
                <a:lnTo>
                  <a:pt x="6858" y="2876"/>
                </a:lnTo>
                <a:lnTo>
                  <a:pt x="6862" y="2880"/>
                </a:lnTo>
                <a:lnTo>
                  <a:pt x="6868" y="2882"/>
                </a:lnTo>
                <a:lnTo>
                  <a:pt x="6872" y="2886"/>
                </a:lnTo>
                <a:lnTo>
                  <a:pt x="6874" y="2892"/>
                </a:lnTo>
                <a:lnTo>
                  <a:pt x="6876" y="2898"/>
                </a:lnTo>
                <a:lnTo>
                  <a:pt x="6876" y="2902"/>
                </a:lnTo>
                <a:lnTo>
                  <a:pt x="6880" y="2904"/>
                </a:lnTo>
                <a:lnTo>
                  <a:pt x="6888" y="2904"/>
                </a:lnTo>
                <a:lnTo>
                  <a:pt x="6892" y="2908"/>
                </a:lnTo>
                <a:lnTo>
                  <a:pt x="6894" y="2912"/>
                </a:lnTo>
                <a:lnTo>
                  <a:pt x="6892" y="2928"/>
                </a:lnTo>
                <a:lnTo>
                  <a:pt x="6890" y="2944"/>
                </a:lnTo>
                <a:lnTo>
                  <a:pt x="6890" y="2950"/>
                </a:lnTo>
                <a:lnTo>
                  <a:pt x="6890" y="2954"/>
                </a:lnTo>
                <a:lnTo>
                  <a:pt x="6892" y="2956"/>
                </a:lnTo>
                <a:lnTo>
                  <a:pt x="6890" y="2958"/>
                </a:lnTo>
                <a:lnTo>
                  <a:pt x="6888" y="2962"/>
                </a:lnTo>
                <a:lnTo>
                  <a:pt x="6884" y="2968"/>
                </a:lnTo>
                <a:lnTo>
                  <a:pt x="6884" y="2974"/>
                </a:lnTo>
                <a:lnTo>
                  <a:pt x="6886" y="2978"/>
                </a:lnTo>
                <a:lnTo>
                  <a:pt x="6888" y="2984"/>
                </a:lnTo>
                <a:lnTo>
                  <a:pt x="6888" y="2988"/>
                </a:lnTo>
                <a:lnTo>
                  <a:pt x="6886" y="2990"/>
                </a:lnTo>
                <a:lnTo>
                  <a:pt x="6886" y="2992"/>
                </a:lnTo>
                <a:lnTo>
                  <a:pt x="6894" y="2996"/>
                </a:lnTo>
                <a:lnTo>
                  <a:pt x="6902" y="3002"/>
                </a:lnTo>
                <a:lnTo>
                  <a:pt x="6906" y="3008"/>
                </a:lnTo>
                <a:lnTo>
                  <a:pt x="6908" y="3012"/>
                </a:lnTo>
                <a:lnTo>
                  <a:pt x="6910" y="3016"/>
                </a:lnTo>
                <a:lnTo>
                  <a:pt x="6910" y="3022"/>
                </a:lnTo>
                <a:lnTo>
                  <a:pt x="6912" y="3026"/>
                </a:lnTo>
                <a:lnTo>
                  <a:pt x="6916" y="3026"/>
                </a:lnTo>
                <a:lnTo>
                  <a:pt x="6924" y="3044"/>
                </a:lnTo>
                <a:lnTo>
                  <a:pt x="6930" y="3052"/>
                </a:lnTo>
                <a:lnTo>
                  <a:pt x="6936" y="3058"/>
                </a:lnTo>
                <a:lnTo>
                  <a:pt x="6940" y="3062"/>
                </a:lnTo>
                <a:lnTo>
                  <a:pt x="6942" y="3066"/>
                </a:lnTo>
                <a:lnTo>
                  <a:pt x="6944" y="3064"/>
                </a:lnTo>
                <a:lnTo>
                  <a:pt x="6946" y="3064"/>
                </a:lnTo>
                <a:lnTo>
                  <a:pt x="6948" y="3062"/>
                </a:lnTo>
                <a:lnTo>
                  <a:pt x="6952" y="3064"/>
                </a:lnTo>
                <a:lnTo>
                  <a:pt x="6958" y="3068"/>
                </a:lnTo>
                <a:lnTo>
                  <a:pt x="6960" y="3070"/>
                </a:lnTo>
                <a:lnTo>
                  <a:pt x="6958" y="3070"/>
                </a:lnTo>
                <a:lnTo>
                  <a:pt x="6950" y="3070"/>
                </a:lnTo>
                <a:lnTo>
                  <a:pt x="6942" y="3072"/>
                </a:lnTo>
                <a:lnTo>
                  <a:pt x="6942" y="3074"/>
                </a:lnTo>
                <a:lnTo>
                  <a:pt x="6944" y="3078"/>
                </a:lnTo>
                <a:lnTo>
                  <a:pt x="6952" y="3088"/>
                </a:lnTo>
                <a:lnTo>
                  <a:pt x="6956" y="3098"/>
                </a:lnTo>
                <a:lnTo>
                  <a:pt x="6958" y="3102"/>
                </a:lnTo>
                <a:lnTo>
                  <a:pt x="6962" y="3102"/>
                </a:lnTo>
                <a:lnTo>
                  <a:pt x="6964" y="3100"/>
                </a:lnTo>
                <a:lnTo>
                  <a:pt x="6968" y="3098"/>
                </a:lnTo>
                <a:lnTo>
                  <a:pt x="6970" y="3098"/>
                </a:lnTo>
                <a:lnTo>
                  <a:pt x="6974" y="3100"/>
                </a:lnTo>
                <a:lnTo>
                  <a:pt x="6984" y="3098"/>
                </a:lnTo>
                <a:lnTo>
                  <a:pt x="6996" y="3098"/>
                </a:lnTo>
                <a:lnTo>
                  <a:pt x="7000" y="3098"/>
                </a:lnTo>
                <a:lnTo>
                  <a:pt x="7004" y="3100"/>
                </a:lnTo>
                <a:lnTo>
                  <a:pt x="7008" y="3100"/>
                </a:lnTo>
                <a:lnTo>
                  <a:pt x="7014" y="3100"/>
                </a:lnTo>
                <a:lnTo>
                  <a:pt x="7020" y="3104"/>
                </a:lnTo>
                <a:lnTo>
                  <a:pt x="7026" y="3106"/>
                </a:lnTo>
                <a:lnTo>
                  <a:pt x="7032" y="3108"/>
                </a:lnTo>
                <a:lnTo>
                  <a:pt x="7038" y="3108"/>
                </a:lnTo>
                <a:lnTo>
                  <a:pt x="7042" y="3110"/>
                </a:lnTo>
                <a:lnTo>
                  <a:pt x="7042" y="3112"/>
                </a:lnTo>
                <a:lnTo>
                  <a:pt x="7042" y="3114"/>
                </a:lnTo>
                <a:lnTo>
                  <a:pt x="7036" y="3116"/>
                </a:lnTo>
                <a:lnTo>
                  <a:pt x="7028" y="3118"/>
                </a:lnTo>
                <a:lnTo>
                  <a:pt x="7022" y="3118"/>
                </a:lnTo>
                <a:lnTo>
                  <a:pt x="7006" y="3108"/>
                </a:lnTo>
                <a:lnTo>
                  <a:pt x="6996" y="3104"/>
                </a:lnTo>
                <a:lnTo>
                  <a:pt x="6990" y="3102"/>
                </a:lnTo>
                <a:lnTo>
                  <a:pt x="6986" y="3104"/>
                </a:lnTo>
                <a:lnTo>
                  <a:pt x="6982" y="3108"/>
                </a:lnTo>
                <a:lnTo>
                  <a:pt x="6980" y="3110"/>
                </a:lnTo>
                <a:lnTo>
                  <a:pt x="6978" y="3110"/>
                </a:lnTo>
                <a:lnTo>
                  <a:pt x="6972" y="3110"/>
                </a:lnTo>
                <a:lnTo>
                  <a:pt x="6968" y="3110"/>
                </a:lnTo>
                <a:lnTo>
                  <a:pt x="6966" y="3112"/>
                </a:lnTo>
                <a:lnTo>
                  <a:pt x="6966" y="3116"/>
                </a:lnTo>
                <a:lnTo>
                  <a:pt x="6964" y="3120"/>
                </a:lnTo>
                <a:lnTo>
                  <a:pt x="6962" y="3122"/>
                </a:lnTo>
                <a:lnTo>
                  <a:pt x="6960" y="3124"/>
                </a:lnTo>
                <a:lnTo>
                  <a:pt x="6958" y="3126"/>
                </a:lnTo>
                <a:lnTo>
                  <a:pt x="6960" y="3130"/>
                </a:lnTo>
                <a:lnTo>
                  <a:pt x="6964" y="3134"/>
                </a:lnTo>
                <a:lnTo>
                  <a:pt x="6964" y="3138"/>
                </a:lnTo>
                <a:lnTo>
                  <a:pt x="6964" y="3140"/>
                </a:lnTo>
                <a:lnTo>
                  <a:pt x="6970" y="3142"/>
                </a:lnTo>
                <a:lnTo>
                  <a:pt x="6974" y="3142"/>
                </a:lnTo>
                <a:lnTo>
                  <a:pt x="6976" y="3144"/>
                </a:lnTo>
                <a:lnTo>
                  <a:pt x="6980" y="3148"/>
                </a:lnTo>
                <a:lnTo>
                  <a:pt x="6978" y="3156"/>
                </a:lnTo>
                <a:lnTo>
                  <a:pt x="6976" y="3162"/>
                </a:lnTo>
                <a:lnTo>
                  <a:pt x="6976" y="3166"/>
                </a:lnTo>
                <a:lnTo>
                  <a:pt x="6976" y="3170"/>
                </a:lnTo>
                <a:lnTo>
                  <a:pt x="6982" y="3180"/>
                </a:lnTo>
                <a:lnTo>
                  <a:pt x="6986" y="3184"/>
                </a:lnTo>
                <a:lnTo>
                  <a:pt x="6988" y="3186"/>
                </a:lnTo>
                <a:lnTo>
                  <a:pt x="6990" y="3184"/>
                </a:lnTo>
                <a:lnTo>
                  <a:pt x="6992" y="3178"/>
                </a:lnTo>
                <a:lnTo>
                  <a:pt x="6994" y="3174"/>
                </a:lnTo>
                <a:lnTo>
                  <a:pt x="6996" y="3172"/>
                </a:lnTo>
                <a:lnTo>
                  <a:pt x="6998" y="3172"/>
                </a:lnTo>
                <a:lnTo>
                  <a:pt x="7000" y="3174"/>
                </a:lnTo>
                <a:lnTo>
                  <a:pt x="7006" y="3184"/>
                </a:lnTo>
                <a:lnTo>
                  <a:pt x="7008" y="3196"/>
                </a:lnTo>
                <a:lnTo>
                  <a:pt x="7008" y="3204"/>
                </a:lnTo>
                <a:lnTo>
                  <a:pt x="7010" y="3206"/>
                </a:lnTo>
                <a:lnTo>
                  <a:pt x="7012" y="3206"/>
                </a:lnTo>
                <a:lnTo>
                  <a:pt x="7014" y="3200"/>
                </a:lnTo>
                <a:lnTo>
                  <a:pt x="7018" y="3190"/>
                </a:lnTo>
                <a:lnTo>
                  <a:pt x="7018" y="3184"/>
                </a:lnTo>
                <a:lnTo>
                  <a:pt x="7020" y="3182"/>
                </a:lnTo>
                <a:lnTo>
                  <a:pt x="7022" y="3184"/>
                </a:lnTo>
                <a:lnTo>
                  <a:pt x="7026" y="3190"/>
                </a:lnTo>
                <a:lnTo>
                  <a:pt x="7032" y="3200"/>
                </a:lnTo>
                <a:lnTo>
                  <a:pt x="7036" y="3204"/>
                </a:lnTo>
                <a:lnTo>
                  <a:pt x="7040" y="3204"/>
                </a:lnTo>
                <a:lnTo>
                  <a:pt x="7040" y="3200"/>
                </a:lnTo>
                <a:lnTo>
                  <a:pt x="7040" y="3192"/>
                </a:lnTo>
                <a:lnTo>
                  <a:pt x="7032" y="3172"/>
                </a:lnTo>
                <a:lnTo>
                  <a:pt x="7024" y="3150"/>
                </a:lnTo>
                <a:lnTo>
                  <a:pt x="7022" y="3144"/>
                </a:lnTo>
                <a:lnTo>
                  <a:pt x="7022" y="3142"/>
                </a:lnTo>
                <a:lnTo>
                  <a:pt x="7024" y="3142"/>
                </a:lnTo>
                <a:lnTo>
                  <a:pt x="7030" y="3144"/>
                </a:lnTo>
                <a:lnTo>
                  <a:pt x="7034" y="3146"/>
                </a:lnTo>
                <a:lnTo>
                  <a:pt x="7036" y="3150"/>
                </a:lnTo>
                <a:lnTo>
                  <a:pt x="7038" y="3154"/>
                </a:lnTo>
                <a:lnTo>
                  <a:pt x="7040" y="3158"/>
                </a:lnTo>
                <a:lnTo>
                  <a:pt x="7044" y="3158"/>
                </a:lnTo>
                <a:lnTo>
                  <a:pt x="7052" y="3152"/>
                </a:lnTo>
                <a:lnTo>
                  <a:pt x="7054" y="3152"/>
                </a:lnTo>
                <a:lnTo>
                  <a:pt x="7056" y="3150"/>
                </a:lnTo>
                <a:lnTo>
                  <a:pt x="7054" y="3146"/>
                </a:lnTo>
                <a:lnTo>
                  <a:pt x="7050" y="3142"/>
                </a:lnTo>
                <a:lnTo>
                  <a:pt x="7044" y="3140"/>
                </a:lnTo>
                <a:lnTo>
                  <a:pt x="7040" y="3140"/>
                </a:lnTo>
                <a:lnTo>
                  <a:pt x="7040" y="3138"/>
                </a:lnTo>
                <a:lnTo>
                  <a:pt x="7040" y="3134"/>
                </a:lnTo>
                <a:lnTo>
                  <a:pt x="7038" y="3130"/>
                </a:lnTo>
                <a:lnTo>
                  <a:pt x="7036" y="3128"/>
                </a:lnTo>
                <a:lnTo>
                  <a:pt x="7038" y="3124"/>
                </a:lnTo>
                <a:lnTo>
                  <a:pt x="7044" y="3120"/>
                </a:lnTo>
                <a:lnTo>
                  <a:pt x="7052" y="3118"/>
                </a:lnTo>
                <a:lnTo>
                  <a:pt x="7056" y="3118"/>
                </a:lnTo>
                <a:lnTo>
                  <a:pt x="7058" y="3120"/>
                </a:lnTo>
                <a:lnTo>
                  <a:pt x="7066" y="3132"/>
                </a:lnTo>
                <a:lnTo>
                  <a:pt x="7072" y="3136"/>
                </a:lnTo>
                <a:lnTo>
                  <a:pt x="7074" y="3138"/>
                </a:lnTo>
                <a:lnTo>
                  <a:pt x="7076" y="3138"/>
                </a:lnTo>
                <a:lnTo>
                  <a:pt x="7078" y="3136"/>
                </a:lnTo>
                <a:lnTo>
                  <a:pt x="7078" y="3134"/>
                </a:lnTo>
                <a:lnTo>
                  <a:pt x="7078" y="3128"/>
                </a:lnTo>
                <a:lnTo>
                  <a:pt x="7076" y="3120"/>
                </a:lnTo>
                <a:lnTo>
                  <a:pt x="7076" y="3114"/>
                </a:lnTo>
                <a:lnTo>
                  <a:pt x="7076" y="3110"/>
                </a:lnTo>
                <a:lnTo>
                  <a:pt x="7076" y="3108"/>
                </a:lnTo>
                <a:lnTo>
                  <a:pt x="7070" y="3104"/>
                </a:lnTo>
                <a:lnTo>
                  <a:pt x="7062" y="3102"/>
                </a:lnTo>
                <a:lnTo>
                  <a:pt x="7060" y="3100"/>
                </a:lnTo>
                <a:lnTo>
                  <a:pt x="7058" y="3096"/>
                </a:lnTo>
                <a:lnTo>
                  <a:pt x="7054" y="3092"/>
                </a:lnTo>
                <a:lnTo>
                  <a:pt x="7052" y="3092"/>
                </a:lnTo>
                <a:lnTo>
                  <a:pt x="7048" y="3090"/>
                </a:lnTo>
                <a:lnTo>
                  <a:pt x="7044" y="3086"/>
                </a:lnTo>
                <a:lnTo>
                  <a:pt x="7042" y="3082"/>
                </a:lnTo>
                <a:lnTo>
                  <a:pt x="7036" y="3078"/>
                </a:lnTo>
                <a:lnTo>
                  <a:pt x="7024" y="3074"/>
                </a:lnTo>
                <a:lnTo>
                  <a:pt x="7016" y="3072"/>
                </a:lnTo>
                <a:lnTo>
                  <a:pt x="7016" y="3070"/>
                </a:lnTo>
                <a:lnTo>
                  <a:pt x="7022" y="3068"/>
                </a:lnTo>
                <a:lnTo>
                  <a:pt x="7030" y="3068"/>
                </a:lnTo>
                <a:lnTo>
                  <a:pt x="7032" y="3064"/>
                </a:lnTo>
                <a:lnTo>
                  <a:pt x="7032" y="3060"/>
                </a:lnTo>
                <a:lnTo>
                  <a:pt x="7032" y="3056"/>
                </a:lnTo>
                <a:lnTo>
                  <a:pt x="7028" y="3050"/>
                </a:lnTo>
                <a:lnTo>
                  <a:pt x="7030" y="3048"/>
                </a:lnTo>
                <a:lnTo>
                  <a:pt x="7034" y="3046"/>
                </a:lnTo>
                <a:lnTo>
                  <a:pt x="7036" y="3048"/>
                </a:lnTo>
                <a:lnTo>
                  <a:pt x="7038" y="3048"/>
                </a:lnTo>
                <a:lnTo>
                  <a:pt x="7038" y="3054"/>
                </a:lnTo>
                <a:lnTo>
                  <a:pt x="7038" y="3060"/>
                </a:lnTo>
                <a:lnTo>
                  <a:pt x="7040" y="3060"/>
                </a:lnTo>
                <a:lnTo>
                  <a:pt x="7042" y="3058"/>
                </a:lnTo>
                <a:lnTo>
                  <a:pt x="7044" y="3056"/>
                </a:lnTo>
                <a:lnTo>
                  <a:pt x="7046" y="3052"/>
                </a:lnTo>
                <a:lnTo>
                  <a:pt x="7044" y="3046"/>
                </a:lnTo>
                <a:lnTo>
                  <a:pt x="7038" y="3038"/>
                </a:lnTo>
                <a:lnTo>
                  <a:pt x="7032" y="3028"/>
                </a:lnTo>
                <a:lnTo>
                  <a:pt x="7024" y="3018"/>
                </a:lnTo>
                <a:lnTo>
                  <a:pt x="7018" y="3010"/>
                </a:lnTo>
                <a:lnTo>
                  <a:pt x="7016" y="3000"/>
                </a:lnTo>
                <a:lnTo>
                  <a:pt x="7014" y="2996"/>
                </a:lnTo>
                <a:lnTo>
                  <a:pt x="7016" y="2990"/>
                </a:lnTo>
                <a:lnTo>
                  <a:pt x="7020" y="2984"/>
                </a:lnTo>
                <a:lnTo>
                  <a:pt x="7026" y="2978"/>
                </a:lnTo>
                <a:lnTo>
                  <a:pt x="7028" y="2976"/>
                </a:lnTo>
                <a:lnTo>
                  <a:pt x="7030" y="2976"/>
                </a:lnTo>
                <a:lnTo>
                  <a:pt x="7030" y="2980"/>
                </a:lnTo>
                <a:lnTo>
                  <a:pt x="7030" y="2984"/>
                </a:lnTo>
                <a:lnTo>
                  <a:pt x="7030" y="2988"/>
                </a:lnTo>
                <a:lnTo>
                  <a:pt x="7032" y="2988"/>
                </a:lnTo>
                <a:lnTo>
                  <a:pt x="7036" y="2990"/>
                </a:lnTo>
                <a:lnTo>
                  <a:pt x="7042" y="2994"/>
                </a:lnTo>
                <a:lnTo>
                  <a:pt x="7044" y="2998"/>
                </a:lnTo>
                <a:lnTo>
                  <a:pt x="7046" y="3004"/>
                </a:lnTo>
                <a:lnTo>
                  <a:pt x="7048" y="3008"/>
                </a:lnTo>
                <a:lnTo>
                  <a:pt x="7050" y="3012"/>
                </a:lnTo>
                <a:lnTo>
                  <a:pt x="7056" y="3014"/>
                </a:lnTo>
                <a:lnTo>
                  <a:pt x="7058" y="3014"/>
                </a:lnTo>
                <a:lnTo>
                  <a:pt x="7060" y="3012"/>
                </a:lnTo>
                <a:lnTo>
                  <a:pt x="7060" y="3010"/>
                </a:lnTo>
                <a:lnTo>
                  <a:pt x="7058" y="3008"/>
                </a:lnTo>
                <a:lnTo>
                  <a:pt x="7054" y="3002"/>
                </a:lnTo>
                <a:lnTo>
                  <a:pt x="7052" y="2996"/>
                </a:lnTo>
                <a:lnTo>
                  <a:pt x="7054" y="2996"/>
                </a:lnTo>
                <a:lnTo>
                  <a:pt x="7062" y="3002"/>
                </a:lnTo>
                <a:lnTo>
                  <a:pt x="7070" y="3010"/>
                </a:lnTo>
                <a:lnTo>
                  <a:pt x="7074" y="3012"/>
                </a:lnTo>
                <a:lnTo>
                  <a:pt x="7076" y="3010"/>
                </a:lnTo>
                <a:lnTo>
                  <a:pt x="7076" y="3008"/>
                </a:lnTo>
                <a:lnTo>
                  <a:pt x="7070" y="3000"/>
                </a:lnTo>
                <a:lnTo>
                  <a:pt x="7064" y="2992"/>
                </a:lnTo>
                <a:lnTo>
                  <a:pt x="7066" y="2990"/>
                </a:lnTo>
                <a:lnTo>
                  <a:pt x="7080" y="2998"/>
                </a:lnTo>
                <a:lnTo>
                  <a:pt x="7086" y="3002"/>
                </a:lnTo>
                <a:lnTo>
                  <a:pt x="7090" y="3002"/>
                </a:lnTo>
                <a:lnTo>
                  <a:pt x="7090" y="3000"/>
                </a:lnTo>
                <a:lnTo>
                  <a:pt x="7084" y="2994"/>
                </a:lnTo>
                <a:lnTo>
                  <a:pt x="7076" y="2988"/>
                </a:lnTo>
                <a:lnTo>
                  <a:pt x="7072" y="2986"/>
                </a:lnTo>
                <a:lnTo>
                  <a:pt x="7068" y="2986"/>
                </a:lnTo>
                <a:lnTo>
                  <a:pt x="7070" y="2982"/>
                </a:lnTo>
                <a:lnTo>
                  <a:pt x="7070" y="2980"/>
                </a:lnTo>
                <a:lnTo>
                  <a:pt x="7068" y="2976"/>
                </a:lnTo>
                <a:lnTo>
                  <a:pt x="7066" y="2974"/>
                </a:lnTo>
                <a:lnTo>
                  <a:pt x="7064" y="2972"/>
                </a:lnTo>
                <a:lnTo>
                  <a:pt x="7072" y="2970"/>
                </a:lnTo>
                <a:lnTo>
                  <a:pt x="7078" y="2968"/>
                </a:lnTo>
                <a:lnTo>
                  <a:pt x="7082" y="2966"/>
                </a:lnTo>
                <a:lnTo>
                  <a:pt x="7088" y="2962"/>
                </a:lnTo>
                <a:lnTo>
                  <a:pt x="7094" y="2958"/>
                </a:lnTo>
                <a:lnTo>
                  <a:pt x="7096" y="2958"/>
                </a:lnTo>
                <a:lnTo>
                  <a:pt x="7102" y="2960"/>
                </a:lnTo>
                <a:lnTo>
                  <a:pt x="7106" y="2962"/>
                </a:lnTo>
                <a:lnTo>
                  <a:pt x="7110" y="2960"/>
                </a:lnTo>
                <a:lnTo>
                  <a:pt x="7114" y="2958"/>
                </a:lnTo>
                <a:lnTo>
                  <a:pt x="7120" y="2956"/>
                </a:lnTo>
                <a:lnTo>
                  <a:pt x="7124" y="2956"/>
                </a:lnTo>
                <a:lnTo>
                  <a:pt x="7128" y="2958"/>
                </a:lnTo>
                <a:lnTo>
                  <a:pt x="7134" y="2960"/>
                </a:lnTo>
                <a:lnTo>
                  <a:pt x="7140" y="2962"/>
                </a:lnTo>
                <a:lnTo>
                  <a:pt x="7148" y="2962"/>
                </a:lnTo>
                <a:lnTo>
                  <a:pt x="7154" y="2962"/>
                </a:lnTo>
                <a:lnTo>
                  <a:pt x="7156" y="2964"/>
                </a:lnTo>
                <a:lnTo>
                  <a:pt x="7158" y="2968"/>
                </a:lnTo>
                <a:lnTo>
                  <a:pt x="7158" y="2974"/>
                </a:lnTo>
                <a:lnTo>
                  <a:pt x="7164" y="2976"/>
                </a:lnTo>
                <a:lnTo>
                  <a:pt x="7170" y="2978"/>
                </a:lnTo>
                <a:lnTo>
                  <a:pt x="7178" y="2976"/>
                </a:lnTo>
                <a:lnTo>
                  <a:pt x="7188" y="2974"/>
                </a:lnTo>
                <a:lnTo>
                  <a:pt x="7186" y="2976"/>
                </a:lnTo>
                <a:lnTo>
                  <a:pt x="7168" y="2986"/>
                </a:lnTo>
                <a:lnTo>
                  <a:pt x="7164" y="2990"/>
                </a:lnTo>
                <a:lnTo>
                  <a:pt x="7162" y="2998"/>
                </a:lnTo>
                <a:lnTo>
                  <a:pt x="7164" y="3002"/>
                </a:lnTo>
                <a:lnTo>
                  <a:pt x="7166" y="3000"/>
                </a:lnTo>
                <a:lnTo>
                  <a:pt x="7180" y="2988"/>
                </a:lnTo>
                <a:lnTo>
                  <a:pt x="7190" y="2980"/>
                </a:lnTo>
                <a:lnTo>
                  <a:pt x="7200" y="2976"/>
                </a:lnTo>
                <a:lnTo>
                  <a:pt x="7206" y="2972"/>
                </a:lnTo>
                <a:lnTo>
                  <a:pt x="7212" y="2964"/>
                </a:lnTo>
                <a:lnTo>
                  <a:pt x="7216" y="2956"/>
                </a:lnTo>
                <a:lnTo>
                  <a:pt x="7220" y="2952"/>
                </a:lnTo>
                <a:lnTo>
                  <a:pt x="7222" y="2952"/>
                </a:lnTo>
                <a:lnTo>
                  <a:pt x="7224" y="2952"/>
                </a:lnTo>
                <a:lnTo>
                  <a:pt x="7230" y="2956"/>
                </a:lnTo>
                <a:lnTo>
                  <a:pt x="7232" y="2956"/>
                </a:lnTo>
                <a:lnTo>
                  <a:pt x="7236" y="2954"/>
                </a:lnTo>
                <a:lnTo>
                  <a:pt x="7240" y="2952"/>
                </a:lnTo>
                <a:lnTo>
                  <a:pt x="7246" y="2952"/>
                </a:lnTo>
                <a:lnTo>
                  <a:pt x="7256" y="2954"/>
                </a:lnTo>
                <a:lnTo>
                  <a:pt x="7266" y="2956"/>
                </a:lnTo>
                <a:lnTo>
                  <a:pt x="7270" y="2954"/>
                </a:lnTo>
                <a:lnTo>
                  <a:pt x="7274" y="2950"/>
                </a:lnTo>
                <a:lnTo>
                  <a:pt x="7278" y="2944"/>
                </a:lnTo>
                <a:lnTo>
                  <a:pt x="7278" y="2942"/>
                </a:lnTo>
                <a:lnTo>
                  <a:pt x="7276" y="2940"/>
                </a:lnTo>
                <a:lnTo>
                  <a:pt x="7268" y="2938"/>
                </a:lnTo>
                <a:lnTo>
                  <a:pt x="7256" y="2934"/>
                </a:lnTo>
                <a:lnTo>
                  <a:pt x="7244" y="2926"/>
                </a:lnTo>
                <a:lnTo>
                  <a:pt x="7238" y="2918"/>
                </a:lnTo>
                <a:lnTo>
                  <a:pt x="7236" y="2910"/>
                </a:lnTo>
                <a:lnTo>
                  <a:pt x="7236" y="2900"/>
                </a:lnTo>
                <a:lnTo>
                  <a:pt x="7236" y="2896"/>
                </a:lnTo>
                <a:lnTo>
                  <a:pt x="7234" y="2892"/>
                </a:lnTo>
                <a:lnTo>
                  <a:pt x="7230" y="2890"/>
                </a:lnTo>
                <a:lnTo>
                  <a:pt x="7226" y="2888"/>
                </a:lnTo>
                <a:lnTo>
                  <a:pt x="7224" y="2884"/>
                </a:lnTo>
                <a:lnTo>
                  <a:pt x="7224" y="2882"/>
                </a:lnTo>
                <a:lnTo>
                  <a:pt x="7224" y="2878"/>
                </a:lnTo>
                <a:lnTo>
                  <a:pt x="7222" y="2876"/>
                </a:lnTo>
                <a:lnTo>
                  <a:pt x="7216" y="2874"/>
                </a:lnTo>
                <a:lnTo>
                  <a:pt x="7212" y="2872"/>
                </a:lnTo>
                <a:lnTo>
                  <a:pt x="7220" y="2864"/>
                </a:lnTo>
                <a:lnTo>
                  <a:pt x="7226" y="2860"/>
                </a:lnTo>
                <a:lnTo>
                  <a:pt x="7230" y="2856"/>
                </a:lnTo>
                <a:lnTo>
                  <a:pt x="7232" y="2852"/>
                </a:lnTo>
                <a:lnTo>
                  <a:pt x="7232" y="2848"/>
                </a:lnTo>
                <a:lnTo>
                  <a:pt x="7230" y="2840"/>
                </a:lnTo>
                <a:lnTo>
                  <a:pt x="7232" y="2834"/>
                </a:lnTo>
                <a:lnTo>
                  <a:pt x="7234" y="2826"/>
                </a:lnTo>
                <a:lnTo>
                  <a:pt x="7240" y="2822"/>
                </a:lnTo>
                <a:lnTo>
                  <a:pt x="7244" y="2820"/>
                </a:lnTo>
                <a:lnTo>
                  <a:pt x="7250" y="2822"/>
                </a:lnTo>
                <a:lnTo>
                  <a:pt x="7254" y="2822"/>
                </a:lnTo>
                <a:lnTo>
                  <a:pt x="7256" y="2818"/>
                </a:lnTo>
                <a:lnTo>
                  <a:pt x="7258" y="2812"/>
                </a:lnTo>
                <a:lnTo>
                  <a:pt x="7258" y="2800"/>
                </a:lnTo>
                <a:lnTo>
                  <a:pt x="7262" y="2776"/>
                </a:lnTo>
                <a:lnTo>
                  <a:pt x="7264" y="2766"/>
                </a:lnTo>
                <a:lnTo>
                  <a:pt x="7268" y="2758"/>
                </a:lnTo>
                <a:lnTo>
                  <a:pt x="7272" y="2752"/>
                </a:lnTo>
                <a:lnTo>
                  <a:pt x="7278" y="2746"/>
                </a:lnTo>
                <a:lnTo>
                  <a:pt x="7284" y="2742"/>
                </a:lnTo>
                <a:lnTo>
                  <a:pt x="7292" y="2740"/>
                </a:lnTo>
                <a:lnTo>
                  <a:pt x="7300" y="2736"/>
                </a:lnTo>
                <a:lnTo>
                  <a:pt x="7302" y="2730"/>
                </a:lnTo>
                <a:lnTo>
                  <a:pt x="7304" y="2724"/>
                </a:lnTo>
                <a:lnTo>
                  <a:pt x="7306" y="2716"/>
                </a:lnTo>
                <a:lnTo>
                  <a:pt x="7306" y="2708"/>
                </a:lnTo>
                <a:lnTo>
                  <a:pt x="7304" y="2704"/>
                </a:lnTo>
                <a:lnTo>
                  <a:pt x="7302" y="2702"/>
                </a:lnTo>
                <a:lnTo>
                  <a:pt x="7300" y="2696"/>
                </a:lnTo>
                <a:lnTo>
                  <a:pt x="7300" y="2688"/>
                </a:lnTo>
                <a:lnTo>
                  <a:pt x="7304" y="2688"/>
                </a:lnTo>
                <a:lnTo>
                  <a:pt x="7310" y="2690"/>
                </a:lnTo>
                <a:lnTo>
                  <a:pt x="7316" y="2688"/>
                </a:lnTo>
                <a:lnTo>
                  <a:pt x="7320" y="2684"/>
                </a:lnTo>
                <a:lnTo>
                  <a:pt x="7332" y="2674"/>
                </a:lnTo>
                <a:lnTo>
                  <a:pt x="7340" y="2666"/>
                </a:lnTo>
                <a:lnTo>
                  <a:pt x="7344" y="2658"/>
                </a:lnTo>
                <a:lnTo>
                  <a:pt x="7346" y="2648"/>
                </a:lnTo>
                <a:lnTo>
                  <a:pt x="7346" y="2644"/>
                </a:lnTo>
                <a:lnTo>
                  <a:pt x="7348" y="2640"/>
                </a:lnTo>
                <a:lnTo>
                  <a:pt x="7352" y="2640"/>
                </a:lnTo>
                <a:lnTo>
                  <a:pt x="7356" y="2638"/>
                </a:lnTo>
                <a:lnTo>
                  <a:pt x="7366" y="2638"/>
                </a:lnTo>
                <a:lnTo>
                  <a:pt x="7374" y="2636"/>
                </a:lnTo>
                <a:lnTo>
                  <a:pt x="7382" y="2634"/>
                </a:lnTo>
                <a:lnTo>
                  <a:pt x="7386" y="2636"/>
                </a:lnTo>
                <a:lnTo>
                  <a:pt x="7390" y="2636"/>
                </a:lnTo>
                <a:lnTo>
                  <a:pt x="7390" y="2630"/>
                </a:lnTo>
                <a:lnTo>
                  <a:pt x="7392" y="2612"/>
                </a:lnTo>
                <a:lnTo>
                  <a:pt x="7394" y="2610"/>
                </a:lnTo>
                <a:lnTo>
                  <a:pt x="7396" y="2616"/>
                </a:lnTo>
                <a:lnTo>
                  <a:pt x="7396" y="2626"/>
                </a:lnTo>
                <a:lnTo>
                  <a:pt x="7396" y="2634"/>
                </a:lnTo>
                <a:lnTo>
                  <a:pt x="7398" y="2636"/>
                </a:lnTo>
                <a:lnTo>
                  <a:pt x="7402" y="2638"/>
                </a:lnTo>
                <a:lnTo>
                  <a:pt x="7408" y="2640"/>
                </a:lnTo>
                <a:lnTo>
                  <a:pt x="7418" y="2640"/>
                </a:lnTo>
                <a:lnTo>
                  <a:pt x="7410" y="2642"/>
                </a:lnTo>
                <a:lnTo>
                  <a:pt x="7404" y="2644"/>
                </a:lnTo>
                <a:lnTo>
                  <a:pt x="7392" y="2642"/>
                </a:lnTo>
                <a:lnTo>
                  <a:pt x="7384" y="2640"/>
                </a:lnTo>
                <a:lnTo>
                  <a:pt x="7382" y="2640"/>
                </a:lnTo>
                <a:lnTo>
                  <a:pt x="7380" y="2642"/>
                </a:lnTo>
                <a:lnTo>
                  <a:pt x="7380" y="2644"/>
                </a:lnTo>
                <a:lnTo>
                  <a:pt x="7384" y="2648"/>
                </a:lnTo>
                <a:lnTo>
                  <a:pt x="7392" y="2654"/>
                </a:lnTo>
                <a:lnTo>
                  <a:pt x="7402" y="2660"/>
                </a:lnTo>
                <a:lnTo>
                  <a:pt x="7406" y="2664"/>
                </a:lnTo>
                <a:lnTo>
                  <a:pt x="7406" y="2666"/>
                </a:lnTo>
                <a:lnTo>
                  <a:pt x="7408" y="2668"/>
                </a:lnTo>
                <a:lnTo>
                  <a:pt x="7412" y="2668"/>
                </a:lnTo>
                <a:lnTo>
                  <a:pt x="7424" y="2666"/>
                </a:lnTo>
                <a:lnTo>
                  <a:pt x="7438" y="2666"/>
                </a:lnTo>
                <a:lnTo>
                  <a:pt x="7444" y="2666"/>
                </a:lnTo>
                <a:lnTo>
                  <a:pt x="7448" y="2666"/>
                </a:lnTo>
                <a:lnTo>
                  <a:pt x="7450" y="2668"/>
                </a:lnTo>
                <a:lnTo>
                  <a:pt x="7454" y="2668"/>
                </a:lnTo>
                <a:lnTo>
                  <a:pt x="7458" y="2668"/>
                </a:lnTo>
                <a:lnTo>
                  <a:pt x="7460" y="2666"/>
                </a:lnTo>
                <a:lnTo>
                  <a:pt x="7464" y="2672"/>
                </a:lnTo>
                <a:lnTo>
                  <a:pt x="7464" y="2676"/>
                </a:lnTo>
                <a:lnTo>
                  <a:pt x="7464" y="2678"/>
                </a:lnTo>
                <a:lnTo>
                  <a:pt x="7458" y="2682"/>
                </a:lnTo>
                <a:lnTo>
                  <a:pt x="7440" y="2692"/>
                </a:lnTo>
                <a:lnTo>
                  <a:pt x="7422" y="2700"/>
                </a:lnTo>
                <a:lnTo>
                  <a:pt x="7416" y="2704"/>
                </a:lnTo>
                <a:lnTo>
                  <a:pt x="7416" y="2706"/>
                </a:lnTo>
                <a:lnTo>
                  <a:pt x="7416" y="2708"/>
                </a:lnTo>
                <a:lnTo>
                  <a:pt x="7420" y="2710"/>
                </a:lnTo>
                <a:lnTo>
                  <a:pt x="7426" y="2712"/>
                </a:lnTo>
                <a:lnTo>
                  <a:pt x="7440" y="2716"/>
                </a:lnTo>
                <a:lnTo>
                  <a:pt x="7446" y="2718"/>
                </a:lnTo>
                <a:lnTo>
                  <a:pt x="7452" y="2722"/>
                </a:lnTo>
                <a:lnTo>
                  <a:pt x="7458" y="2726"/>
                </a:lnTo>
                <a:lnTo>
                  <a:pt x="7458" y="2734"/>
                </a:lnTo>
                <a:lnTo>
                  <a:pt x="7458" y="2742"/>
                </a:lnTo>
                <a:lnTo>
                  <a:pt x="7456" y="2746"/>
                </a:lnTo>
                <a:lnTo>
                  <a:pt x="7452" y="2750"/>
                </a:lnTo>
                <a:lnTo>
                  <a:pt x="7452" y="2752"/>
                </a:lnTo>
                <a:lnTo>
                  <a:pt x="7458" y="2760"/>
                </a:lnTo>
                <a:lnTo>
                  <a:pt x="7466" y="2764"/>
                </a:lnTo>
                <a:lnTo>
                  <a:pt x="7472" y="2764"/>
                </a:lnTo>
                <a:lnTo>
                  <a:pt x="7478" y="2762"/>
                </a:lnTo>
                <a:lnTo>
                  <a:pt x="7484" y="2760"/>
                </a:lnTo>
                <a:lnTo>
                  <a:pt x="7494" y="2750"/>
                </a:lnTo>
                <a:lnTo>
                  <a:pt x="7506" y="2740"/>
                </a:lnTo>
                <a:lnTo>
                  <a:pt x="7510" y="2738"/>
                </a:lnTo>
                <a:lnTo>
                  <a:pt x="7514" y="2736"/>
                </a:lnTo>
                <a:lnTo>
                  <a:pt x="7518" y="2738"/>
                </a:lnTo>
                <a:lnTo>
                  <a:pt x="7520" y="2738"/>
                </a:lnTo>
                <a:lnTo>
                  <a:pt x="7528" y="2734"/>
                </a:lnTo>
                <a:lnTo>
                  <a:pt x="7534" y="2728"/>
                </a:lnTo>
                <a:lnTo>
                  <a:pt x="7540" y="2724"/>
                </a:lnTo>
                <a:lnTo>
                  <a:pt x="7544" y="2724"/>
                </a:lnTo>
                <a:lnTo>
                  <a:pt x="7546" y="2726"/>
                </a:lnTo>
                <a:lnTo>
                  <a:pt x="7554" y="2730"/>
                </a:lnTo>
                <a:lnTo>
                  <a:pt x="7560" y="2730"/>
                </a:lnTo>
                <a:lnTo>
                  <a:pt x="7566" y="2730"/>
                </a:lnTo>
                <a:lnTo>
                  <a:pt x="7576" y="2724"/>
                </a:lnTo>
                <a:lnTo>
                  <a:pt x="7578" y="2724"/>
                </a:lnTo>
                <a:lnTo>
                  <a:pt x="7578" y="2722"/>
                </a:lnTo>
                <a:lnTo>
                  <a:pt x="7576" y="2718"/>
                </a:lnTo>
                <a:lnTo>
                  <a:pt x="7576" y="2716"/>
                </a:lnTo>
                <a:lnTo>
                  <a:pt x="7578" y="2712"/>
                </a:lnTo>
                <a:lnTo>
                  <a:pt x="7580" y="2706"/>
                </a:lnTo>
                <a:lnTo>
                  <a:pt x="7578" y="2704"/>
                </a:lnTo>
                <a:lnTo>
                  <a:pt x="7570" y="2702"/>
                </a:lnTo>
                <a:lnTo>
                  <a:pt x="7558" y="2704"/>
                </a:lnTo>
                <a:lnTo>
                  <a:pt x="7552" y="2706"/>
                </a:lnTo>
                <a:lnTo>
                  <a:pt x="7548" y="2708"/>
                </a:lnTo>
                <a:lnTo>
                  <a:pt x="7540" y="2712"/>
                </a:lnTo>
                <a:lnTo>
                  <a:pt x="7536" y="2712"/>
                </a:lnTo>
                <a:lnTo>
                  <a:pt x="7532" y="2710"/>
                </a:lnTo>
                <a:lnTo>
                  <a:pt x="7526" y="2704"/>
                </a:lnTo>
                <a:lnTo>
                  <a:pt x="7520" y="2694"/>
                </a:lnTo>
                <a:lnTo>
                  <a:pt x="7510" y="2676"/>
                </a:lnTo>
                <a:lnTo>
                  <a:pt x="7508" y="2666"/>
                </a:lnTo>
                <a:lnTo>
                  <a:pt x="7508" y="2664"/>
                </a:lnTo>
                <a:lnTo>
                  <a:pt x="7510" y="2662"/>
                </a:lnTo>
                <a:lnTo>
                  <a:pt x="7514" y="2660"/>
                </a:lnTo>
                <a:lnTo>
                  <a:pt x="7520" y="2656"/>
                </a:lnTo>
                <a:lnTo>
                  <a:pt x="7522" y="2656"/>
                </a:lnTo>
                <a:lnTo>
                  <a:pt x="7524" y="2658"/>
                </a:lnTo>
                <a:lnTo>
                  <a:pt x="7522" y="2662"/>
                </a:lnTo>
                <a:lnTo>
                  <a:pt x="7522" y="2666"/>
                </a:lnTo>
                <a:lnTo>
                  <a:pt x="7526" y="2662"/>
                </a:lnTo>
                <a:lnTo>
                  <a:pt x="7536" y="2654"/>
                </a:lnTo>
                <a:lnTo>
                  <a:pt x="7546" y="2644"/>
                </a:lnTo>
                <a:lnTo>
                  <a:pt x="7556" y="2636"/>
                </a:lnTo>
                <a:lnTo>
                  <a:pt x="7560" y="2634"/>
                </a:lnTo>
                <a:lnTo>
                  <a:pt x="7564" y="2634"/>
                </a:lnTo>
                <a:lnTo>
                  <a:pt x="7572" y="2636"/>
                </a:lnTo>
                <a:lnTo>
                  <a:pt x="7580" y="2634"/>
                </a:lnTo>
                <a:lnTo>
                  <a:pt x="7590" y="2630"/>
                </a:lnTo>
                <a:lnTo>
                  <a:pt x="7600" y="2624"/>
                </a:lnTo>
                <a:lnTo>
                  <a:pt x="7618" y="2614"/>
                </a:lnTo>
                <a:lnTo>
                  <a:pt x="7628" y="2608"/>
                </a:lnTo>
                <a:lnTo>
                  <a:pt x="7638" y="2610"/>
                </a:lnTo>
                <a:lnTo>
                  <a:pt x="7642" y="2612"/>
                </a:lnTo>
                <a:lnTo>
                  <a:pt x="7644" y="2614"/>
                </a:lnTo>
                <a:lnTo>
                  <a:pt x="7648" y="2610"/>
                </a:lnTo>
                <a:lnTo>
                  <a:pt x="7658" y="2604"/>
                </a:lnTo>
                <a:lnTo>
                  <a:pt x="7660" y="2604"/>
                </a:lnTo>
                <a:lnTo>
                  <a:pt x="7660" y="2606"/>
                </a:lnTo>
                <a:lnTo>
                  <a:pt x="7666" y="2608"/>
                </a:lnTo>
                <a:lnTo>
                  <a:pt x="7670" y="2606"/>
                </a:lnTo>
                <a:lnTo>
                  <a:pt x="7676" y="2604"/>
                </a:lnTo>
                <a:lnTo>
                  <a:pt x="7682" y="2602"/>
                </a:lnTo>
                <a:lnTo>
                  <a:pt x="7686" y="2600"/>
                </a:lnTo>
                <a:lnTo>
                  <a:pt x="7688" y="2602"/>
                </a:lnTo>
                <a:lnTo>
                  <a:pt x="7690" y="2604"/>
                </a:lnTo>
                <a:lnTo>
                  <a:pt x="7688" y="2608"/>
                </a:lnTo>
                <a:lnTo>
                  <a:pt x="7686" y="2612"/>
                </a:lnTo>
                <a:lnTo>
                  <a:pt x="7680" y="2614"/>
                </a:lnTo>
                <a:lnTo>
                  <a:pt x="7674" y="2618"/>
                </a:lnTo>
                <a:lnTo>
                  <a:pt x="7664" y="2620"/>
                </a:lnTo>
                <a:lnTo>
                  <a:pt x="7658" y="2624"/>
                </a:lnTo>
                <a:lnTo>
                  <a:pt x="7652" y="2628"/>
                </a:lnTo>
                <a:lnTo>
                  <a:pt x="7646" y="2632"/>
                </a:lnTo>
                <a:lnTo>
                  <a:pt x="7634" y="2634"/>
                </a:lnTo>
                <a:lnTo>
                  <a:pt x="7630" y="2636"/>
                </a:lnTo>
                <a:lnTo>
                  <a:pt x="7628" y="2638"/>
                </a:lnTo>
                <a:lnTo>
                  <a:pt x="7628" y="2640"/>
                </a:lnTo>
                <a:lnTo>
                  <a:pt x="7630" y="2644"/>
                </a:lnTo>
                <a:lnTo>
                  <a:pt x="7636" y="2650"/>
                </a:lnTo>
                <a:lnTo>
                  <a:pt x="7640" y="2652"/>
                </a:lnTo>
                <a:lnTo>
                  <a:pt x="7644" y="2652"/>
                </a:lnTo>
                <a:lnTo>
                  <a:pt x="7648" y="2652"/>
                </a:lnTo>
                <a:lnTo>
                  <a:pt x="7652" y="2654"/>
                </a:lnTo>
                <a:lnTo>
                  <a:pt x="7660" y="2662"/>
                </a:lnTo>
                <a:lnTo>
                  <a:pt x="7662" y="2668"/>
                </a:lnTo>
                <a:lnTo>
                  <a:pt x="7662" y="2670"/>
                </a:lnTo>
                <a:lnTo>
                  <a:pt x="7658" y="2670"/>
                </a:lnTo>
                <a:lnTo>
                  <a:pt x="7648" y="2668"/>
                </a:lnTo>
                <a:lnTo>
                  <a:pt x="7642" y="2668"/>
                </a:lnTo>
                <a:lnTo>
                  <a:pt x="7636" y="2670"/>
                </a:lnTo>
                <a:lnTo>
                  <a:pt x="7634" y="2678"/>
                </a:lnTo>
                <a:lnTo>
                  <a:pt x="7626" y="2694"/>
                </a:lnTo>
                <a:lnTo>
                  <a:pt x="7624" y="2698"/>
                </a:lnTo>
                <a:lnTo>
                  <a:pt x="7626" y="2704"/>
                </a:lnTo>
                <a:lnTo>
                  <a:pt x="7628" y="2712"/>
                </a:lnTo>
                <a:lnTo>
                  <a:pt x="7628" y="2714"/>
                </a:lnTo>
                <a:lnTo>
                  <a:pt x="7624" y="2712"/>
                </a:lnTo>
                <a:lnTo>
                  <a:pt x="7618" y="2710"/>
                </a:lnTo>
                <a:lnTo>
                  <a:pt x="7614" y="2710"/>
                </a:lnTo>
                <a:lnTo>
                  <a:pt x="7610" y="2710"/>
                </a:lnTo>
                <a:lnTo>
                  <a:pt x="7606" y="2710"/>
                </a:lnTo>
                <a:lnTo>
                  <a:pt x="7602" y="2710"/>
                </a:lnTo>
                <a:lnTo>
                  <a:pt x="7594" y="2708"/>
                </a:lnTo>
                <a:lnTo>
                  <a:pt x="7590" y="2706"/>
                </a:lnTo>
                <a:lnTo>
                  <a:pt x="7588" y="2706"/>
                </a:lnTo>
                <a:lnTo>
                  <a:pt x="7588" y="2710"/>
                </a:lnTo>
                <a:lnTo>
                  <a:pt x="7588" y="2712"/>
                </a:lnTo>
                <a:lnTo>
                  <a:pt x="7588" y="2716"/>
                </a:lnTo>
                <a:lnTo>
                  <a:pt x="7584" y="2718"/>
                </a:lnTo>
                <a:lnTo>
                  <a:pt x="7584" y="2720"/>
                </a:lnTo>
                <a:lnTo>
                  <a:pt x="7586" y="2722"/>
                </a:lnTo>
                <a:lnTo>
                  <a:pt x="7596" y="2728"/>
                </a:lnTo>
                <a:lnTo>
                  <a:pt x="7604" y="2732"/>
                </a:lnTo>
                <a:lnTo>
                  <a:pt x="7608" y="2736"/>
                </a:lnTo>
                <a:lnTo>
                  <a:pt x="7614" y="2742"/>
                </a:lnTo>
                <a:lnTo>
                  <a:pt x="7618" y="2748"/>
                </a:lnTo>
                <a:lnTo>
                  <a:pt x="7622" y="2750"/>
                </a:lnTo>
                <a:lnTo>
                  <a:pt x="7630" y="2750"/>
                </a:lnTo>
                <a:lnTo>
                  <a:pt x="7636" y="2752"/>
                </a:lnTo>
                <a:lnTo>
                  <a:pt x="7638" y="2754"/>
                </a:lnTo>
                <a:lnTo>
                  <a:pt x="7640" y="2758"/>
                </a:lnTo>
                <a:lnTo>
                  <a:pt x="7642" y="2760"/>
                </a:lnTo>
                <a:lnTo>
                  <a:pt x="7646" y="2762"/>
                </a:lnTo>
                <a:lnTo>
                  <a:pt x="7650" y="2766"/>
                </a:lnTo>
                <a:lnTo>
                  <a:pt x="7660" y="2768"/>
                </a:lnTo>
                <a:lnTo>
                  <a:pt x="7674" y="2774"/>
                </a:lnTo>
                <a:lnTo>
                  <a:pt x="7678" y="2776"/>
                </a:lnTo>
                <a:lnTo>
                  <a:pt x="7680" y="2778"/>
                </a:lnTo>
                <a:lnTo>
                  <a:pt x="7690" y="2792"/>
                </a:lnTo>
                <a:lnTo>
                  <a:pt x="7718" y="2820"/>
                </a:lnTo>
                <a:lnTo>
                  <a:pt x="7726" y="2828"/>
                </a:lnTo>
                <a:lnTo>
                  <a:pt x="7734" y="2832"/>
                </a:lnTo>
                <a:lnTo>
                  <a:pt x="7746" y="2838"/>
                </a:lnTo>
                <a:lnTo>
                  <a:pt x="7754" y="2840"/>
                </a:lnTo>
                <a:lnTo>
                  <a:pt x="7758" y="2844"/>
                </a:lnTo>
                <a:lnTo>
                  <a:pt x="7760" y="2848"/>
                </a:lnTo>
                <a:lnTo>
                  <a:pt x="7764" y="2852"/>
                </a:lnTo>
                <a:lnTo>
                  <a:pt x="7766" y="2854"/>
                </a:lnTo>
                <a:lnTo>
                  <a:pt x="7772" y="2856"/>
                </a:lnTo>
                <a:lnTo>
                  <a:pt x="7776" y="2858"/>
                </a:lnTo>
                <a:lnTo>
                  <a:pt x="7778" y="2862"/>
                </a:lnTo>
                <a:lnTo>
                  <a:pt x="7782" y="2868"/>
                </a:lnTo>
                <a:lnTo>
                  <a:pt x="7786" y="2880"/>
                </a:lnTo>
                <a:lnTo>
                  <a:pt x="7788" y="2902"/>
                </a:lnTo>
                <a:lnTo>
                  <a:pt x="7788" y="2916"/>
                </a:lnTo>
                <a:lnTo>
                  <a:pt x="7786" y="2922"/>
                </a:lnTo>
                <a:lnTo>
                  <a:pt x="7782" y="2926"/>
                </a:lnTo>
                <a:lnTo>
                  <a:pt x="7770" y="2936"/>
                </a:lnTo>
                <a:lnTo>
                  <a:pt x="7750" y="2948"/>
                </a:lnTo>
                <a:lnTo>
                  <a:pt x="7740" y="2954"/>
                </a:lnTo>
                <a:lnTo>
                  <a:pt x="7728" y="2956"/>
                </a:lnTo>
                <a:lnTo>
                  <a:pt x="7718" y="2956"/>
                </a:lnTo>
                <a:lnTo>
                  <a:pt x="7712" y="2954"/>
                </a:lnTo>
                <a:lnTo>
                  <a:pt x="7708" y="2952"/>
                </a:lnTo>
                <a:lnTo>
                  <a:pt x="7698" y="2948"/>
                </a:lnTo>
                <a:lnTo>
                  <a:pt x="7690" y="2946"/>
                </a:lnTo>
                <a:lnTo>
                  <a:pt x="7680" y="2950"/>
                </a:lnTo>
                <a:lnTo>
                  <a:pt x="7670" y="2954"/>
                </a:lnTo>
                <a:lnTo>
                  <a:pt x="7662" y="2956"/>
                </a:lnTo>
                <a:lnTo>
                  <a:pt x="7652" y="2960"/>
                </a:lnTo>
                <a:lnTo>
                  <a:pt x="7644" y="2958"/>
                </a:lnTo>
                <a:lnTo>
                  <a:pt x="7640" y="2956"/>
                </a:lnTo>
                <a:lnTo>
                  <a:pt x="7636" y="2954"/>
                </a:lnTo>
                <a:lnTo>
                  <a:pt x="7626" y="2946"/>
                </a:lnTo>
                <a:lnTo>
                  <a:pt x="7624" y="2946"/>
                </a:lnTo>
                <a:lnTo>
                  <a:pt x="7624" y="2948"/>
                </a:lnTo>
                <a:lnTo>
                  <a:pt x="7622" y="2950"/>
                </a:lnTo>
                <a:lnTo>
                  <a:pt x="7620" y="2950"/>
                </a:lnTo>
                <a:lnTo>
                  <a:pt x="7616" y="2950"/>
                </a:lnTo>
                <a:lnTo>
                  <a:pt x="7610" y="2948"/>
                </a:lnTo>
                <a:lnTo>
                  <a:pt x="7602" y="2944"/>
                </a:lnTo>
                <a:lnTo>
                  <a:pt x="7598" y="2940"/>
                </a:lnTo>
                <a:lnTo>
                  <a:pt x="7594" y="2936"/>
                </a:lnTo>
                <a:lnTo>
                  <a:pt x="7592" y="2934"/>
                </a:lnTo>
                <a:lnTo>
                  <a:pt x="7590" y="2934"/>
                </a:lnTo>
                <a:lnTo>
                  <a:pt x="7582" y="2938"/>
                </a:lnTo>
                <a:lnTo>
                  <a:pt x="7574" y="2938"/>
                </a:lnTo>
                <a:lnTo>
                  <a:pt x="7572" y="2936"/>
                </a:lnTo>
                <a:lnTo>
                  <a:pt x="7568" y="2932"/>
                </a:lnTo>
                <a:lnTo>
                  <a:pt x="7566" y="2926"/>
                </a:lnTo>
                <a:lnTo>
                  <a:pt x="7564" y="2920"/>
                </a:lnTo>
                <a:lnTo>
                  <a:pt x="7560" y="2916"/>
                </a:lnTo>
                <a:lnTo>
                  <a:pt x="7554" y="2914"/>
                </a:lnTo>
                <a:lnTo>
                  <a:pt x="7544" y="2916"/>
                </a:lnTo>
                <a:lnTo>
                  <a:pt x="7534" y="2916"/>
                </a:lnTo>
                <a:lnTo>
                  <a:pt x="7528" y="2914"/>
                </a:lnTo>
                <a:lnTo>
                  <a:pt x="7526" y="2910"/>
                </a:lnTo>
                <a:lnTo>
                  <a:pt x="7524" y="2904"/>
                </a:lnTo>
                <a:lnTo>
                  <a:pt x="7524" y="2898"/>
                </a:lnTo>
                <a:lnTo>
                  <a:pt x="7522" y="2894"/>
                </a:lnTo>
                <a:lnTo>
                  <a:pt x="7520" y="2894"/>
                </a:lnTo>
                <a:lnTo>
                  <a:pt x="7514" y="2896"/>
                </a:lnTo>
                <a:lnTo>
                  <a:pt x="7506" y="2900"/>
                </a:lnTo>
                <a:lnTo>
                  <a:pt x="7498" y="2902"/>
                </a:lnTo>
                <a:lnTo>
                  <a:pt x="7482" y="2900"/>
                </a:lnTo>
                <a:lnTo>
                  <a:pt x="7474" y="2898"/>
                </a:lnTo>
                <a:lnTo>
                  <a:pt x="7462" y="2898"/>
                </a:lnTo>
                <a:lnTo>
                  <a:pt x="7450" y="2898"/>
                </a:lnTo>
                <a:lnTo>
                  <a:pt x="7436" y="2902"/>
                </a:lnTo>
                <a:lnTo>
                  <a:pt x="7408" y="2914"/>
                </a:lnTo>
                <a:lnTo>
                  <a:pt x="7390" y="2924"/>
                </a:lnTo>
                <a:lnTo>
                  <a:pt x="7378" y="2934"/>
                </a:lnTo>
                <a:lnTo>
                  <a:pt x="7372" y="2942"/>
                </a:lnTo>
                <a:lnTo>
                  <a:pt x="7368" y="2948"/>
                </a:lnTo>
                <a:lnTo>
                  <a:pt x="7362" y="2950"/>
                </a:lnTo>
                <a:lnTo>
                  <a:pt x="7354" y="2950"/>
                </a:lnTo>
                <a:lnTo>
                  <a:pt x="7342" y="2946"/>
                </a:lnTo>
                <a:lnTo>
                  <a:pt x="7330" y="2944"/>
                </a:lnTo>
                <a:lnTo>
                  <a:pt x="7322" y="2944"/>
                </a:lnTo>
                <a:lnTo>
                  <a:pt x="7314" y="2946"/>
                </a:lnTo>
                <a:lnTo>
                  <a:pt x="7302" y="2944"/>
                </a:lnTo>
                <a:lnTo>
                  <a:pt x="7292" y="2942"/>
                </a:lnTo>
                <a:lnTo>
                  <a:pt x="7286" y="2942"/>
                </a:lnTo>
                <a:lnTo>
                  <a:pt x="7282" y="2946"/>
                </a:lnTo>
                <a:lnTo>
                  <a:pt x="7280" y="2952"/>
                </a:lnTo>
                <a:lnTo>
                  <a:pt x="7278" y="2956"/>
                </a:lnTo>
                <a:lnTo>
                  <a:pt x="7280" y="2958"/>
                </a:lnTo>
                <a:lnTo>
                  <a:pt x="7284" y="2960"/>
                </a:lnTo>
                <a:lnTo>
                  <a:pt x="7288" y="2964"/>
                </a:lnTo>
                <a:lnTo>
                  <a:pt x="7292" y="2966"/>
                </a:lnTo>
                <a:lnTo>
                  <a:pt x="7296" y="2968"/>
                </a:lnTo>
                <a:lnTo>
                  <a:pt x="7304" y="2970"/>
                </a:lnTo>
                <a:lnTo>
                  <a:pt x="7306" y="2970"/>
                </a:lnTo>
                <a:lnTo>
                  <a:pt x="7290" y="2974"/>
                </a:lnTo>
                <a:lnTo>
                  <a:pt x="7270" y="2978"/>
                </a:lnTo>
                <a:lnTo>
                  <a:pt x="7268" y="2980"/>
                </a:lnTo>
                <a:lnTo>
                  <a:pt x="7270" y="2982"/>
                </a:lnTo>
                <a:lnTo>
                  <a:pt x="7276" y="2984"/>
                </a:lnTo>
                <a:lnTo>
                  <a:pt x="7278" y="2986"/>
                </a:lnTo>
                <a:lnTo>
                  <a:pt x="7278" y="2990"/>
                </a:lnTo>
                <a:lnTo>
                  <a:pt x="7270" y="2990"/>
                </a:lnTo>
                <a:lnTo>
                  <a:pt x="7256" y="2990"/>
                </a:lnTo>
                <a:lnTo>
                  <a:pt x="7242" y="2988"/>
                </a:lnTo>
                <a:lnTo>
                  <a:pt x="7238" y="2986"/>
                </a:lnTo>
                <a:lnTo>
                  <a:pt x="7236" y="2984"/>
                </a:lnTo>
                <a:lnTo>
                  <a:pt x="7236" y="2982"/>
                </a:lnTo>
                <a:lnTo>
                  <a:pt x="7236" y="2980"/>
                </a:lnTo>
                <a:lnTo>
                  <a:pt x="7228" y="2980"/>
                </a:lnTo>
                <a:lnTo>
                  <a:pt x="7222" y="2982"/>
                </a:lnTo>
                <a:lnTo>
                  <a:pt x="7222" y="2984"/>
                </a:lnTo>
                <a:lnTo>
                  <a:pt x="7222" y="2986"/>
                </a:lnTo>
                <a:lnTo>
                  <a:pt x="7224" y="2990"/>
                </a:lnTo>
                <a:lnTo>
                  <a:pt x="7220" y="2994"/>
                </a:lnTo>
                <a:lnTo>
                  <a:pt x="7214" y="2994"/>
                </a:lnTo>
                <a:lnTo>
                  <a:pt x="7212" y="2992"/>
                </a:lnTo>
                <a:lnTo>
                  <a:pt x="7210" y="2990"/>
                </a:lnTo>
                <a:lnTo>
                  <a:pt x="7208" y="2986"/>
                </a:lnTo>
                <a:lnTo>
                  <a:pt x="7204" y="2986"/>
                </a:lnTo>
                <a:lnTo>
                  <a:pt x="7200" y="2984"/>
                </a:lnTo>
                <a:lnTo>
                  <a:pt x="7196" y="2984"/>
                </a:lnTo>
                <a:lnTo>
                  <a:pt x="7190" y="2986"/>
                </a:lnTo>
                <a:lnTo>
                  <a:pt x="7184" y="2990"/>
                </a:lnTo>
                <a:lnTo>
                  <a:pt x="7178" y="2996"/>
                </a:lnTo>
                <a:lnTo>
                  <a:pt x="7172" y="3004"/>
                </a:lnTo>
                <a:lnTo>
                  <a:pt x="7168" y="3010"/>
                </a:lnTo>
                <a:lnTo>
                  <a:pt x="7164" y="3010"/>
                </a:lnTo>
                <a:lnTo>
                  <a:pt x="7162" y="3014"/>
                </a:lnTo>
                <a:lnTo>
                  <a:pt x="7160" y="3022"/>
                </a:lnTo>
                <a:lnTo>
                  <a:pt x="7158" y="3032"/>
                </a:lnTo>
                <a:lnTo>
                  <a:pt x="7160" y="3036"/>
                </a:lnTo>
                <a:lnTo>
                  <a:pt x="7160" y="3038"/>
                </a:lnTo>
                <a:lnTo>
                  <a:pt x="7168" y="3038"/>
                </a:lnTo>
                <a:lnTo>
                  <a:pt x="7180" y="3034"/>
                </a:lnTo>
                <a:lnTo>
                  <a:pt x="7188" y="3032"/>
                </a:lnTo>
                <a:lnTo>
                  <a:pt x="7190" y="3032"/>
                </a:lnTo>
                <a:lnTo>
                  <a:pt x="7190" y="3034"/>
                </a:lnTo>
                <a:lnTo>
                  <a:pt x="7188" y="3038"/>
                </a:lnTo>
                <a:lnTo>
                  <a:pt x="7184" y="3044"/>
                </a:lnTo>
                <a:lnTo>
                  <a:pt x="7184" y="3048"/>
                </a:lnTo>
                <a:lnTo>
                  <a:pt x="7186" y="3052"/>
                </a:lnTo>
                <a:lnTo>
                  <a:pt x="7188" y="3054"/>
                </a:lnTo>
                <a:lnTo>
                  <a:pt x="7190" y="3058"/>
                </a:lnTo>
                <a:lnTo>
                  <a:pt x="7188" y="3064"/>
                </a:lnTo>
                <a:lnTo>
                  <a:pt x="7186" y="3068"/>
                </a:lnTo>
                <a:lnTo>
                  <a:pt x="7188" y="3068"/>
                </a:lnTo>
                <a:lnTo>
                  <a:pt x="7192" y="3070"/>
                </a:lnTo>
                <a:lnTo>
                  <a:pt x="7194" y="3070"/>
                </a:lnTo>
                <a:lnTo>
                  <a:pt x="7194" y="3072"/>
                </a:lnTo>
                <a:lnTo>
                  <a:pt x="7188" y="3078"/>
                </a:lnTo>
                <a:lnTo>
                  <a:pt x="7182" y="3082"/>
                </a:lnTo>
                <a:lnTo>
                  <a:pt x="7182" y="3086"/>
                </a:lnTo>
                <a:lnTo>
                  <a:pt x="7186" y="3088"/>
                </a:lnTo>
                <a:lnTo>
                  <a:pt x="7192" y="3092"/>
                </a:lnTo>
                <a:lnTo>
                  <a:pt x="7194" y="3094"/>
                </a:lnTo>
                <a:lnTo>
                  <a:pt x="7194" y="3098"/>
                </a:lnTo>
                <a:lnTo>
                  <a:pt x="7192" y="3100"/>
                </a:lnTo>
                <a:lnTo>
                  <a:pt x="7188" y="3100"/>
                </a:lnTo>
                <a:lnTo>
                  <a:pt x="7184" y="3100"/>
                </a:lnTo>
                <a:lnTo>
                  <a:pt x="7182" y="3096"/>
                </a:lnTo>
                <a:lnTo>
                  <a:pt x="7178" y="3090"/>
                </a:lnTo>
                <a:lnTo>
                  <a:pt x="7176" y="3086"/>
                </a:lnTo>
                <a:lnTo>
                  <a:pt x="7174" y="3084"/>
                </a:lnTo>
                <a:lnTo>
                  <a:pt x="7170" y="3086"/>
                </a:lnTo>
                <a:lnTo>
                  <a:pt x="7170" y="3090"/>
                </a:lnTo>
                <a:lnTo>
                  <a:pt x="7170" y="3100"/>
                </a:lnTo>
                <a:lnTo>
                  <a:pt x="7170" y="3104"/>
                </a:lnTo>
                <a:lnTo>
                  <a:pt x="7174" y="3108"/>
                </a:lnTo>
                <a:lnTo>
                  <a:pt x="7180" y="3112"/>
                </a:lnTo>
                <a:lnTo>
                  <a:pt x="7182" y="3112"/>
                </a:lnTo>
                <a:lnTo>
                  <a:pt x="7186" y="3110"/>
                </a:lnTo>
                <a:lnTo>
                  <a:pt x="7188" y="3114"/>
                </a:lnTo>
                <a:lnTo>
                  <a:pt x="7192" y="3116"/>
                </a:lnTo>
                <a:lnTo>
                  <a:pt x="7196" y="3118"/>
                </a:lnTo>
                <a:lnTo>
                  <a:pt x="7202" y="3120"/>
                </a:lnTo>
                <a:lnTo>
                  <a:pt x="7204" y="3120"/>
                </a:lnTo>
                <a:lnTo>
                  <a:pt x="7206" y="3122"/>
                </a:lnTo>
                <a:lnTo>
                  <a:pt x="7206" y="3124"/>
                </a:lnTo>
                <a:lnTo>
                  <a:pt x="7204" y="3128"/>
                </a:lnTo>
                <a:lnTo>
                  <a:pt x="7200" y="3136"/>
                </a:lnTo>
                <a:lnTo>
                  <a:pt x="7202" y="3140"/>
                </a:lnTo>
                <a:lnTo>
                  <a:pt x="7204" y="3144"/>
                </a:lnTo>
                <a:lnTo>
                  <a:pt x="7204" y="3150"/>
                </a:lnTo>
                <a:lnTo>
                  <a:pt x="7204" y="3154"/>
                </a:lnTo>
                <a:lnTo>
                  <a:pt x="7208" y="3154"/>
                </a:lnTo>
                <a:lnTo>
                  <a:pt x="7212" y="3156"/>
                </a:lnTo>
                <a:lnTo>
                  <a:pt x="7214" y="3158"/>
                </a:lnTo>
                <a:lnTo>
                  <a:pt x="7214" y="3162"/>
                </a:lnTo>
                <a:lnTo>
                  <a:pt x="7216" y="3164"/>
                </a:lnTo>
                <a:lnTo>
                  <a:pt x="7214" y="3166"/>
                </a:lnTo>
                <a:lnTo>
                  <a:pt x="7208" y="3166"/>
                </a:lnTo>
                <a:lnTo>
                  <a:pt x="7204" y="3166"/>
                </a:lnTo>
                <a:lnTo>
                  <a:pt x="7202" y="3168"/>
                </a:lnTo>
                <a:lnTo>
                  <a:pt x="7204" y="3172"/>
                </a:lnTo>
                <a:lnTo>
                  <a:pt x="7208" y="3174"/>
                </a:lnTo>
                <a:lnTo>
                  <a:pt x="7212" y="3174"/>
                </a:lnTo>
                <a:lnTo>
                  <a:pt x="7226" y="3174"/>
                </a:lnTo>
                <a:lnTo>
                  <a:pt x="7238" y="3174"/>
                </a:lnTo>
                <a:lnTo>
                  <a:pt x="7240" y="3174"/>
                </a:lnTo>
                <a:lnTo>
                  <a:pt x="7238" y="3178"/>
                </a:lnTo>
                <a:lnTo>
                  <a:pt x="7234" y="3182"/>
                </a:lnTo>
                <a:lnTo>
                  <a:pt x="7230" y="3184"/>
                </a:lnTo>
                <a:lnTo>
                  <a:pt x="7220" y="3186"/>
                </a:lnTo>
                <a:lnTo>
                  <a:pt x="7210" y="3186"/>
                </a:lnTo>
                <a:lnTo>
                  <a:pt x="7210" y="3188"/>
                </a:lnTo>
                <a:lnTo>
                  <a:pt x="7210" y="3190"/>
                </a:lnTo>
                <a:lnTo>
                  <a:pt x="7212" y="3192"/>
                </a:lnTo>
                <a:lnTo>
                  <a:pt x="7216" y="3192"/>
                </a:lnTo>
                <a:lnTo>
                  <a:pt x="7224" y="3190"/>
                </a:lnTo>
                <a:lnTo>
                  <a:pt x="7232" y="3190"/>
                </a:lnTo>
                <a:lnTo>
                  <a:pt x="7236" y="3190"/>
                </a:lnTo>
                <a:lnTo>
                  <a:pt x="7236" y="3194"/>
                </a:lnTo>
                <a:lnTo>
                  <a:pt x="7236" y="3196"/>
                </a:lnTo>
                <a:lnTo>
                  <a:pt x="7238" y="3196"/>
                </a:lnTo>
                <a:lnTo>
                  <a:pt x="7244" y="3190"/>
                </a:lnTo>
                <a:lnTo>
                  <a:pt x="7248" y="3186"/>
                </a:lnTo>
                <a:lnTo>
                  <a:pt x="7252" y="3184"/>
                </a:lnTo>
                <a:lnTo>
                  <a:pt x="7256" y="3184"/>
                </a:lnTo>
                <a:lnTo>
                  <a:pt x="7260" y="3188"/>
                </a:lnTo>
                <a:lnTo>
                  <a:pt x="7264" y="3192"/>
                </a:lnTo>
                <a:lnTo>
                  <a:pt x="7268" y="3192"/>
                </a:lnTo>
                <a:lnTo>
                  <a:pt x="7272" y="3190"/>
                </a:lnTo>
                <a:lnTo>
                  <a:pt x="7274" y="3190"/>
                </a:lnTo>
                <a:lnTo>
                  <a:pt x="7276" y="3190"/>
                </a:lnTo>
                <a:lnTo>
                  <a:pt x="7278" y="3192"/>
                </a:lnTo>
                <a:lnTo>
                  <a:pt x="7280" y="3198"/>
                </a:lnTo>
                <a:lnTo>
                  <a:pt x="7282" y="3204"/>
                </a:lnTo>
                <a:lnTo>
                  <a:pt x="7286" y="3210"/>
                </a:lnTo>
                <a:lnTo>
                  <a:pt x="7296" y="3218"/>
                </a:lnTo>
                <a:lnTo>
                  <a:pt x="7300" y="3220"/>
                </a:lnTo>
                <a:lnTo>
                  <a:pt x="7304" y="3222"/>
                </a:lnTo>
                <a:lnTo>
                  <a:pt x="7310" y="3220"/>
                </a:lnTo>
                <a:lnTo>
                  <a:pt x="7312" y="3218"/>
                </a:lnTo>
                <a:lnTo>
                  <a:pt x="7318" y="3214"/>
                </a:lnTo>
                <a:lnTo>
                  <a:pt x="7322" y="3212"/>
                </a:lnTo>
                <a:lnTo>
                  <a:pt x="7326" y="3212"/>
                </a:lnTo>
                <a:lnTo>
                  <a:pt x="7328" y="3212"/>
                </a:lnTo>
                <a:lnTo>
                  <a:pt x="7330" y="3214"/>
                </a:lnTo>
                <a:lnTo>
                  <a:pt x="7332" y="3214"/>
                </a:lnTo>
                <a:lnTo>
                  <a:pt x="7336" y="3212"/>
                </a:lnTo>
                <a:lnTo>
                  <a:pt x="7338" y="3208"/>
                </a:lnTo>
                <a:lnTo>
                  <a:pt x="7338" y="3202"/>
                </a:lnTo>
                <a:lnTo>
                  <a:pt x="7338" y="3188"/>
                </a:lnTo>
                <a:lnTo>
                  <a:pt x="7340" y="3184"/>
                </a:lnTo>
                <a:lnTo>
                  <a:pt x="7346" y="3180"/>
                </a:lnTo>
                <a:lnTo>
                  <a:pt x="7356" y="3180"/>
                </a:lnTo>
                <a:lnTo>
                  <a:pt x="7370" y="3184"/>
                </a:lnTo>
                <a:lnTo>
                  <a:pt x="7384" y="3192"/>
                </a:lnTo>
                <a:lnTo>
                  <a:pt x="7396" y="3200"/>
                </a:lnTo>
                <a:lnTo>
                  <a:pt x="7404" y="3208"/>
                </a:lnTo>
                <a:lnTo>
                  <a:pt x="7412" y="3214"/>
                </a:lnTo>
                <a:lnTo>
                  <a:pt x="7418" y="3222"/>
                </a:lnTo>
                <a:lnTo>
                  <a:pt x="7422" y="3226"/>
                </a:lnTo>
                <a:lnTo>
                  <a:pt x="7428" y="3228"/>
                </a:lnTo>
                <a:lnTo>
                  <a:pt x="7436" y="3226"/>
                </a:lnTo>
                <a:lnTo>
                  <a:pt x="7450" y="3222"/>
                </a:lnTo>
                <a:lnTo>
                  <a:pt x="7462" y="3220"/>
                </a:lnTo>
                <a:lnTo>
                  <a:pt x="7466" y="3218"/>
                </a:lnTo>
                <a:lnTo>
                  <a:pt x="7472" y="3214"/>
                </a:lnTo>
                <a:lnTo>
                  <a:pt x="7480" y="3210"/>
                </a:lnTo>
                <a:lnTo>
                  <a:pt x="7488" y="3200"/>
                </a:lnTo>
                <a:lnTo>
                  <a:pt x="7498" y="3190"/>
                </a:lnTo>
                <a:lnTo>
                  <a:pt x="7506" y="3186"/>
                </a:lnTo>
                <a:lnTo>
                  <a:pt x="7514" y="3186"/>
                </a:lnTo>
                <a:lnTo>
                  <a:pt x="7518" y="3190"/>
                </a:lnTo>
                <a:lnTo>
                  <a:pt x="7524" y="3194"/>
                </a:lnTo>
                <a:lnTo>
                  <a:pt x="7528" y="3196"/>
                </a:lnTo>
                <a:lnTo>
                  <a:pt x="7534" y="3198"/>
                </a:lnTo>
                <a:lnTo>
                  <a:pt x="7540" y="3194"/>
                </a:lnTo>
                <a:lnTo>
                  <a:pt x="7552" y="3182"/>
                </a:lnTo>
                <a:lnTo>
                  <a:pt x="7560" y="3178"/>
                </a:lnTo>
                <a:lnTo>
                  <a:pt x="7562" y="3178"/>
                </a:lnTo>
                <a:lnTo>
                  <a:pt x="7564" y="3178"/>
                </a:lnTo>
                <a:lnTo>
                  <a:pt x="7566" y="3186"/>
                </a:lnTo>
                <a:lnTo>
                  <a:pt x="7566" y="3192"/>
                </a:lnTo>
                <a:lnTo>
                  <a:pt x="7564" y="3196"/>
                </a:lnTo>
                <a:lnTo>
                  <a:pt x="7556" y="3202"/>
                </a:lnTo>
                <a:lnTo>
                  <a:pt x="7550" y="3208"/>
                </a:lnTo>
                <a:lnTo>
                  <a:pt x="7550" y="3212"/>
                </a:lnTo>
                <a:lnTo>
                  <a:pt x="7550" y="3214"/>
                </a:lnTo>
                <a:lnTo>
                  <a:pt x="7556" y="3222"/>
                </a:lnTo>
                <a:lnTo>
                  <a:pt x="7558" y="3226"/>
                </a:lnTo>
                <a:lnTo>
                  <a:pt x="7556" y="3230"/>
                </a:lnTo>
                <a:lnTo>
                  <a:pt x="7552" y="3236"/>
                </a:lnTo>
                <a:lnTo>
                  <a:pt x="7548" y="3242"/>
                </a:lnTo>
                <a:lnTo>
                  <a:pt x="7546" y="3248"/>
                </a:lnTo>
                <a:lnTo>
                  <a:pt x="7550" y="3256"/>
                </a:lnTo>
                <a:lnTo>
                  <a:pt x="7554" y="3264"/>
                </a:lnTo>
                <a:lnTo>
                  <a:pt x="7554" y="3272"/>
                </a:lnTo>
                <a:lnTo>
                  <a:pt x="7554" y="3284"/>
                </a:lnTo>
                <a:lnTo>
                  <a:pt x="7556" y="3298"/>
                </a:lnTo>
                <a:lnTo>
                  <a:pt x="7556" y="3304"/>
                </a:lnTo>
                <a:lnTo>
                  <a:pt x="7556" y="3308"/>
                </a:lnTo>
                <a:lnTo>
                  <a:pt x="7550" y="3312"/>
                </a:lnTo>
                <a:lnTo>
                  <a:pt x="7544" y="3318"/>
                </a:lnTo>
                <a:lnTo>
                  <a:pt x="7542" y="3322"/>
                </a:lnTo>
                <a:lnTo>
                  <a:pt x="7542" y="3328"/>
                </a:lnTo>
                <a:lnTo>
                  <a:pt x="7544" y="3336"/>
                </a:lnTo>
                <a:lnTo>
                  <a:pt x="7542" y="3338"/>
                </a:lnTo>
                <a:lnTo>
                  <a:pt x="7538" y="3340"/>
                </a:lnTo>
                <a:lnTo>
                  <a:pt x="7536" y="3350"/>
                </a:lnTo>
                <a:lnTo>
                  <a:pt x="7532" y="3362"/>
                </a:lnTo>
                <a:lnTo>
                  <a:pt x="7530" y="3366"/>
                </a:lnTo>
                <a:lnTo>
                  <a:pt x="7526" y="3372"/>
                </a:lnTo>
                <a:lnTo>
                  <a:pt x="7522" y="3382"/>
                </a:lnTo>
                <a:lnTo>
                  <a:pt x="7508" y="3424"/>
                </a:lnTo>
                <a:lnTo>
                  <a:pt x="7502" y="3446"/>
                </a:lnTo>
                <a:lnTo>
                  <a:pt x="7498" y="3460"/>
                </a:lnTo>
                <a:lnTo>
                  <a:pt x="7492" y="3472"/>
                </a:lnTo>
                <a:lnTo>
                  <a:pt x="7486" y="3478"/>
                </a:lnTo>
                <a:lnTo>
                  <a:pt x="7452" y="3488"/>
                </a:lnTo>
                <a:lnTo>
                  <a:pt x="7448" y="3488"/>
                </a:lnTo>
                <a:lnTo>
                  <a:pt x="7444" y="3484"/>
                </a:lnTo>
                <a:lnTo>
                  <a:pt x="7440" y="3482"/>
                </a:lnTo>
                <a:lnTo>
                  <a:pt x="7438" y="3482"/>
                </a:lnTo>
                <a:lnTo>
                  <a:pt x="7432" y="3486"/>
                </a:lnTo>
                <a:lnTo>
                  <a:pt x="7428" y="3488"/>
                </a:lnTo>
                <a:lnTo>
                  <a:pt x="7424" y="3488"/>
                </a:lnTo>
                <a:lnTo>
                  <a:pt x="7418" y="3486"/>
                </a:lnTo>
                <a:lnTo>
                  <a:pt x="7414" y="3482"/>
                </a:lnTo>
                <a:lnTo>
                  <a:pt x="7410" y="3478"/>
                </a:lnTo>
                <a:lnTo>
                  <a:pt x="7408" y="3478"/>
                </a:lnTo>
                <a:lnTo>
                  <a:pt x="7408" y="3482"/>
                </a:lnTo>
                <a:lnTo>
                  <a:pt x="7408" y="3484"/>
                </a:lnTo>
                <a:lnTo>
                  <a:pt x="7406" y="3486"/>
                </a:lnTo>
                <a:lnTo>
                  <a:pt x="7402" y="3488"/>
                </a:lnTo>
                <a:lnTo>
                  <a:pt x="7400" y="3484"/>
                </a:lnTo>
                <a:lnTo>
                  <a:pt x="7398" y="3482"/>
                </a:lnTo>
                <a:lnTo>
                  <a:pt x="7394" y="3482"/>
                </a:lnTo>
                <a:lnTo>
                  <a:pt x="7390" y="3482"/>
                </a:lnTo>
                <a:lnTo>
                  <a:pt x="7388" y="3480"/>
                </a:lnTo>
                <a:lnTo>
                  <a:pt x="7388" y="3478"/>
                </a:lnTo>
                <a:lnTo>
                  <a:pt x="7390" y="3476"/>
                </a:lnTo>
                <a:lnTo>
                  <a:pt x="7392" y="3474"/>
                </a:lnTo>
                <a:lnTo>
                  <a:pt x="7392" y="3470"/>
                </a:lnTo>
                <a:lnTo>
                  <a:pt x="7394" y="3470"/>
                </a:lnTo>
                <a:lnTo>
                  <a:pt x="7398" y="3472"/>
                </a:lnTo>
                <a:lnTo>
                  <a:pt x="7402" y="3476"/>
                </a:lnTo>
                <a:lnTo>
                  <a:pt x="7404" y="3478"/>
                </a:lnTo>
                <a:lnTo>
                  <a:pt x="7404" y="3476"/>
                </a:lnTo>
                <a:lnTo>
                  <a:pt x="7402" y="3472"/>
                </a:lnTo>
                <a:lnTo>
                  <a:pt x="7396" y="3466"/>
                </a:lnTo>
                <a:lnTo>
                  <a:pt x="7392" y="3464"/>
                </a:lnTo>
                <a:lnTo>
                  <a:pt x="7390" y="3464"/>
                </a:lnTo>
                <a:lnTo>
                  <a:pt x="7384" y="3468"/>
                </a:lnTo>
                <a:lnTo>
                  <a:pt x="7382" y="3468"/>
                </a:lnTo>
                <a:lnTo>
                  <a:pt x="7378" y="3468"/>
                </a:lnTo>
                <a:lnTo>
                  <a:pt x="7370" y="3464"/>
                </a:lnTo>
                <a:lnTo>
                  <a:pt x="7362" y="3460"/>
                </a:lnTo>
                <a:lnTo>
                  <a:pt x="7358" y="3460"/>
                </a:lnTo>
                <a:lnTo>
                  <a:pt x="7352" y="3462"/>
                </a:lnTo>
                <a:lnTo>
                  <a:pt x="7342" y="3466"/>
                </a:lnTo>
                <a:lnTo>
                  <a:pt x="7336" y="3468"/>
                </a:lnTo>
                <a:lnTo>
                  <a:pt x="7332" y="3468"/>
                </a:lnTo>
                <a:lnTo>
                  <a:pt x="7326" y="3474"/>
                </a:lnTo>
                <a:lnTo>
                  <a:pt x="7324" y="3476"/>
                </a:lnTo>
                <a:lnTo>
                  <a:pt x="7320" y="3476"/>
                </a:lnTo>
                <a:lnTo>
                  <a:pt x="7312" y="3482"/>
                </a:lnTo>
                <a:lnTo>
                  <a:pt x="7298" y="3496"/>
                </a:lnTo>
                <a:lnTo>
                  <a:pt x="7290" y="3500"/>
                </a:lnTo>
                <a:lnTo>
                  <a:pt x="7284" y="3502"/>
                </a:lnTo>
                <a:lnTo>
                  <a:pt x="7278" y="3502"/>
                </a:lnTo>
                <a:lnTo>
                  <a:pt x="7270" y="3498"/>
                </a:lnTo>
                <a:lnTo>
                  <a:pt x="7258" y="3492"/>
                </a:lnTo>
                <a:lnTo>
                  <a:pt x="7254" y="3490"/>
                </a:lnTo>
                <a:lnTo>
                  <a:pt x="7248" y="3490"/>
                </a:lnTo>
                <a:lnTo>
                  <a:pt x="7240" y="3488"/>
                </a:lnTo>
                <a:lnTo>
                  <a:pt x="7236" y="3484"/>
                </a:lnTo>
                <a:lnTo>
                  <a:pt x="7230" y="3482"/>
                </a:lnTo>
                <a:lnTo>
                  <a:pt x="7226" y="3482"/>
                </a:lnTo>
                <a:lnTo>
                  <a:pt x="7222" y="3482"/>
                </a:lnTo>
                <a:lnTo>
                  <a:pt x="7218" y="3482"/>
                </a:lnTo>
                <a:lnTo>
                  <a:pt x="7216" y="3478"/>
                </a:lnTo>
                <a:lnTo>
                  <a:pt x="7214" y="3476"/>
                </a:lnTo>
                <a:lnTo>
                  <a:pt x="7208" y="3474"/>
                </a:lnTo>
                <a:lnTo>
                  <a:pt x="7198" y="3470"/>
                </a:lnTo>
                <a:lnTo>
                  <a:pt x="7182" y="3466"/>
                </a:lnTo>
                <a:lnTo>
                  <a:pt x="7166" y="3464"/>
                </a:lnTo>
                <a:lnTo>
                  <a:pt x="7154" y="3462"/>
                </a:lnTo>
                <a:lnTo>
                  <a:pt x="7138" y="3464"/>
                </a:lnTo>
                <a:lnTo>
                  <a:pt x="7128" y="3466"/>
                </a:lnTo>
                <a:lnTo>
                  <a:pt x="7124" y="3466"/>
                </a:lnTo>
                <a:lnTo>
                  <a:pt x="7122" y="3464"/>
                </a:lnTo>
                <a:lnTo>
                  <a:pt x="7120" y="3456"/>
                </a:lnTo>
                <a:lnTo>
                  <a:pt x="7118" y="3448"/>
                </a:lnTo>
                <a:lnTo>
                  <a:pt x="7116" y="3444"/>
                </a:lnTo>
                <a:lnTo>
                  <a:pt x="7112" y="3442"/>
                </a:lnTo>
                <a:lnTo>
                  <a:pt x="7106" y="3440"/>
                </a:lnTo>
                <a:lnTo>
                  <a:pt x="7096" y="3440"/>
                </a:lnTo>
                <a:lnTo>
                  <a:pt x="7082" y="3440"/>
                </a:lnTo>
                <a:lnTo>
                  <a:pt x="7076" y="3438"/>
                </a:lnTo>
                <a:lnTo>
                  <a:pt x="7072" y="3436"/>
                </a:lnTo>
                <a:lnTo>
                  <a:pt x="7060" y="3434"/>
                </a:lnTo>
                <a:lnTo>
                  <a:pt x="7052" y="3432"/>
                </a:lnTo>
                <a:lnTo>
                  <a:pt x="7048" y="3430"/>
                </a:lnTo>
                <a:lnTo>
                  <a:pt x="7044" y="3422"/>
                </a:lnTo>
                <a:lnTo>
                  <a:pt x="7042" y="3416"/>
                </a:lnTo>
                <a:lnTo>
                  <a:pt x="7036" y="3410"/>
                </a:lnTo>
                <a:lnTo>
                  <a:pt x="7028" y="3404"/>
                </a:lnTo>
                <a:lnTo>
                  <a:pt x="7016" y="3398"/>
                </a:lnTo>
                <a:lnTo>
                  <a:pt x="7000" y="3392"/>
                </a:lnTo>
                <a:lnTo>
                  <a:pt x="6988" y="3390"/>
                </a:lnTo>
                <a:lnTo>
                  <a:pt x="6980" y="3392"/>
                </a:lnTo>
                <a:lnTo>
                  <a:pt x="6972" y="3398"/>
                </a:lnTo>
                <a:lnTo>
                  <a:pt x="6968" y="3400"/>
                </a:lnTo>
                <a:lnTo>
                  <a:pt x="6964" y="3400"/>
                </a:lnTo>
                <a:lnTo>
                  <a:pt x="6956" y="3402"/>
                </a:lnTo>
                <a:lnTo>
                  <a:pt x="6948" y="3404"/>
                </a:lnTo>
                <a:lnTo>
                  <a:pt x="6942" y="3408"/>
                </a:lnTo>
                <a:lnTo>
                  <a:pt x="6932" y="3416"/>
                </a:lnTo>
                <a:lnTo>
                  <a:pt x="6920" y="3428"/>
                </a:lnTo>
                <a:lnTo>
                  <a:pt x="6914" y="3438"/>
                </a:lnTo>
                <a:lnTo>
                  <a:pt x="6912" y="3448"/>
                </a:lnTo>
                <a:lnTo>
                  <a:pt x="6914" y="3458"/>
                </a:lnTo>
                <a:lnTo>
                  <a:pt x="6914" y="3468"/>
                </a:lnTo>
                <a:lnTo>
                  <a:pt x="6916" y="3478"/>
                </a:lnTo>
                <a:lnTo>
                  <a:pt x="6918" y="3488"/>
                </a:lnTo>
                <a:lnTo>
                  <a:pt x="6916" y="3498"/>
                </a:lnTo>
                <a:lnTo>
                  <a:pt x="6910" y="3508"/>
                </a:lnTo>
                <a:lnTo>
                  <a:pt x="6904" y="3518"/>
                </a:lnTo>
                <a:lnTo>
                  <a:pt x="6896" y="3524"/>
                </a:lnTo>
                <a:lnTo>
                  <a:pt x="6888" y="3528"/>
                </a:lnTo>
                <a:lnTo>
                  <a:pt x="6882" y="3530"/>
                </a:lnTo>
                <a:lnTo>
                  <a:pt x="6874" y="3530"/>
                </a:lnTo>
                <a:lnTo>
                  <a:pt x="6868" y="3528"/>
                </a:lnTo>
                <a:lnTo>
                  <a:pt x="6862" y="3524"/>
                </a:lnTo>
                <a:lnTo>
                  <a:pt x="6856" y="3518"/>
                </a:lnTo>
                <a:lnTo>
                  <a:pt x="6850" y="3510"/>
                </a:lnTo>
                <a:lnTo>
                  <a:pt x="6842" y="3504"/>
                </a:lnTo>
                <a:lnTo>
                  <a:pt x="6824" y="3494"/>
                </a:lnTo>
                <a:lnTo>
                  <a:pt x="6802" y="3486"/>
                </a:lnTo>
                <a:lnTo>
                  <a:pt x="6780" y="3482"/>
                </a:lnTo>
                <a:lnTo>
                  <a:pt x="6762" y="3480"/>
                </a:lnTo>
                <a:lnTo>
                  <a:pt x="6754" y="3478"/>
                </a:lnTo>
                <a:lnTo>
                  <a:pt x="6748" y="3476"/>
                </a:lnTo>
                <a:lnTo>
                  <a:pt x="6742" y="3472"/>
                </a:lnTo>
                <a:lnTo>
                  <a:pt x="6738" y="3464"/>
                </a:lnTo>
                <a:lnTo>
                  <a:pt x="6734" y="3454"/>
                </a:lnTo>
                <a:lnTo>
                  <a:pt x="6732" y="3442"/>
                </a:lnTo>
                <a:lnTo>
                  <a:pt x="6728" y="3430"/>
                </a:lnTo>
                <a:lnTo>
                  <a:pt x="6724" y="3422"/>
                </a:lnTo>
                <a:lnTo>
                  <a:pt x="6718" y="3418"/>
                </a:lnTo>
                <a:lnTo>
                  <a:pt x="6712" y="3416"/>
                </a:lnTo>
                <a:lnTo>
                  <a:pt x="6698" y="3414"/>
                </a:lnTo>
                <a:lnTo>
                  <a:pt x="6692" y="3412"/>
                </a:lnTo>
                <a:lnTo>
                  <a:pt x="6688" y="3410"/>
                </a:lnTo>
                <a:lnTo>
                  <a:pt x="6676" y="3402"/>
                </a:lnTo>
                <a:lnTo>
                  <a:pt x="6660" y="3396"/>
                </a:lnTo>
                <a:lnTo>
                  <a:pt x="6644" y="3394"/>
                </a:lnTo>
                <a:lnTo>
                  <a:pt x="6636" y="3394"/>
                </a:lnTo>
                <a:lnTo>
                  <a:pt x="6628" y="3396"/>
                </a:lnTo>
                <a:lnTo>
                  <a:pt x="6622" y="3396"/>
                </a:lnTo>
                <a:lnTo>
                  <a:pt x="6614" y="3396"/>
                </a:lnTo>
                <a:lnTo>
                  <a:pt x="6600" y="3392"/>
                </a:lnTo>
                <a:lnTo>
                  <a:pt x="6586" y="3386"/>
                </a:lnTo>
                <a:lnTo>
                  <a:pt x="6576" y="3380"/>
                </a:lnTo>
                <a:lnTo>
                  <a:pt x="6564" y="3374"/>
                </a:lnTo>
                <a:lnTo>
                  <a:pt x="6560" y="3370"/>
                </a:lnTo>
                <a:lnTo>
                  <a:pt x="6558" y="3362"/>
                </a:lnTo>
                <a:lnTo>
                  <a:pt x="6556" y="3354"/>
                </a:lnTo>
                <a:lnTo>
                  <a:pt x="6554" y="3352"/>
                </a:lnTo>
                <a:lnTo>
                  <a:pt x="6552" y="3354"/>
                </a:lnTo>
                <a:lnTo>
                  <a:pt x="6548" y="3354"/>
                </a:lnTo>
                <a:lnTo>
                  <a:pt x="6546" y="3354"/>
                </a:lnTo>
                <a:lnTo>
                  <a:pt x="6544" y="3354"/>
                </a:lnTo>
                <a:lnTo>
                  <a:pt x="6536" y="3352"/>
                </a:lnTo>
                <a:lnTo>
                  <a:pt x="6528" y="3350"/>
                </a:lnTo>
                <a:lnTo>
                  <a:pt x="6522" y="3348"/>
                </a:lnTo>
                <a:lnTo>
                  <a:pt x="6518" y="3344"/>
                </a:lnTo>
                <a:lnTo>
                  <a:pt x="6516" y="3340"/>
                </a:lnTo>
                <a:lnTo>
                  <a:pt x="6512" y="3332"/>
                </a:lnTo>
                <a:lnTo>
                  <a:pt x="6514" y="3326"/>
                </a:lnTo>
                <a:lnTo>
                  <a:pt x="6520" y="3318"/>
                </a:lnTo>
                <a:lnTo>
                  <a:pt x="6538" y="3298"/>
                </a:lnTo>
                <a:lnTo>
                  <a:pt x="6548" y="3288"/>
                </a:lnTo>
                <a:lnTo>
                  <a:pt x="6554" y="3280"/>
                </a:lnTo>
                <a:lnTo>
                  <a:pt x="6558" y="3272"/>
                </a:lnTo>
                <a:lnTo>
                  <a:pt x="6558" y="3268"/>
                </a:lnTo>
                <a:lnTo>
                  <a:pt x="6556" y="3266"/>
                </a:lnTo>
                <a:lnTo>
                  <a:pt x="6554" y="3262"/>
                </a:lnTo>
                <a:lnTo>
                  <a:pt x="6554" y="3258"/>
                </a:lnTo>
                <a:lnTo>
                  <a:pt x="6554" y="3252"/>
                </a:lnTo>
                <a:lnTo>
                  <a:pt x="6552" y="3248"/>
                </a:lnTo>
                <a:lnTo>
                  <a:pt x="6550" y="3244"/>
                </a:lnTo>
                <a:lnTo>
                  <a:pt x="6548" y="3242"/>
                </a:lnTo>
                <a:lnTo>
                  <a:pt x="6540" y="3236"/>
                </a:lnTo>
                <a:lnTo>
                  <a:pt x="6536" y="3234"/>
                </a:lnTo>
                <a:lnTo>
                  <a:pt x="6532" y="3230"/>
                </a:lnTo>
                <a:lnTo>
                  <a:pt x="6528" y="3220"/>
                </a:lnTo>
                <a:lnTo>
                  <a:pt x="6528" y="3216"/>
                </a:lnTo>
                <a:lnTo>
                  <a:pt x="6528" y="3210"/>
                </a:lnTo>
                <a:lnTo>
                  <a:pt x="6532" y="3208"/>
                </a:lnTo>
                <a:lnTo>
                  <a:pt x="6534" y="3204"/>
                </a:lnTo>
                <a:lnTo>
                  <a:pt x="6544" y="3198"/>
                </a:lnTo>
                <a:lnTo>
                  <a:pt x="6552" y="3190"/>
                </a:lnTo>
                <a:lnTo>
                  <a:pt x="6556" y="3180"/>
                </a:lnTo>
                <a:lnTo>
                  <a:pt x="6556" y="3176"/>
                </a:lnTo>
                <a:lnTo>
                  <a:pt x="6556" y="3172"/>
                </a:lnTo>
                <a:lnTo>
                  <a:pt x="6552" y="3170"/>
                </a:lnTo>
                <a:lnTo>
                  <a:pt x="6550" y="3170"/>
                </a:lnTo>
                <a:lnTo>
                  <a:pt x="6542" y="3176"/>
                </a:lnTo>
                <a:lnTo>
                  <a:pt x="6532" y="3184"/>
                </a:lnTo>
                <a:lnTo>
                  <a:pt x="6530" y="3186"/>
                </a:lnTo>
                <a:lnTo>
                  <a:pt x="6526" y="3188"/>
                </a:lnTo>
                <a:lnTo>
                  <a:pt x="6524" y="3186"/>
                </a:lnTo>
                <a:lnTo>
                  <a:pt x="6524" y="3182"/>
                </a:lnTo>
                <a:lnTo>
                  <a:pt x="6522" y="3174"/>
                </a:lnTo>
                <a:lnTo>
                  <a:pt x="6520" y="3164"/>
                </a:lnTo>
                <a:lnTo>
                  <a:pt x="6516" y="3162"/>
                </a:lnTo>
                <a:lnTo>
                  <a:pt x="6512" y="3158"/>
                </a:lnTo>
                <a:lnTo>
                  <a:pt x="6502" y="3156"/>
                </a:lnTo>
                <a:lnTo>
                  <a:pt x="6492" y="3156"/>
                </a:lnTo>
                <a:lnTo>
                  <a:pt x="6484" y="3158"/>
                </a:lnTo>
                <a:lnTo>
                  <a:pt x="6478" y="3162"/>
                </a:lnTo>
                <a:lnTo>
                  <a:pt x="6468" y="3170"/>
                </a:lnTo>
                <a:lnTo>
                  <a:pt x="6462" y="3176"/>
                </a:lnTo>
                <a:lnTo>
                  <a:pt x="6456" y="3178"/>
                </a:lnTo>
                <a:lnTo>
                  <a:pt x="6444" y="3178"/>
                </a:lnTo>
                <a:lnTo>
                  <a:pt x="6438" y="3178"/>
                </a:lnTo>
                <a:lnTo>
                  <a:pt x="6432" y="3180"/>
                </a:lnTo>
                <a:lnTo>
                  <a:pt x="6426" y="3182"/>
                </a:lnTo>
                <a:lnTo>
                  <a:pt x="6422" y="3180"/>
                </a:lnTo>
                <a:lnTo>
                  <a:pt x="6420" y="3174"/>
                </a:lnTo>
                <a:lnTo>
                  <a:pt x="6410" y="3168"/>
                </a:lnTo>
                <a:lnTo>
                  <a:pt x="6406" y="3168"/>
                </a:lnTo>
                <a:lnTo>
                  <a:pt x="6404" y="3168"/>
                </a:lnTo>
                <a:lnTo>
                  <a:pt x="6398" y="3174"/>
                </a:lnTo>
                <a:lnTo>
                  <a:pt x="6396" y="3176"/>
                </a:lnTo>
                <a:lnTo>
                  <a:pt x="6392" y="3178"/>
                </a:lnTo>
                <a:lnTo>
                  <a:pt x="6388" y="3178"/>
                </a:lnTo>
                <a:lnTo>
                  <a:pt x="6382" y="3176"/>
                </a:lnTo>
                <a:lnTo>
                  <a:pt x="6370" y="3172"/>
                </a:lnTo>
                <a:lnTo>
                  <a:pt x="6366" y="3172"/>
                </a:lnTo>
                <a:lnTo>
                  <a:pt x="6364" y="3172"/>
                </a:lnTo>
                <a:lnTo>
                  <a:pt x="6358" y="3176"/>
                </a:lnTo>
                <a:lnTo>
                  <a:pt x="6346" y="3182"/>
                </a:lnTo>
                <a:lnTo>
                  <a:pt x="6340" y="3184"/>
                </a:lnTo>
                <a:lnTo>
                  <a:pt x="6334" y="3186"/>
                </a:lnTo>
                <a:lnTo>
                  <a:pt x="6328" y="3192"/>
                </a:lnTo>
                <a:lnTo>
                  <a:pt x="6326" y="3192"/>
                </a:lnTo>
                <a:lnTo>
                  <a:pt x="6322" y="3192"/>
                </a:lnTo>
                <a:lnTo>
                  <a:pt x="6318" y="3192"/>
                </a:lnTo>
                <a:lnTo>
                  <a:pt x="6314" y="3188"/>
                </a:lnTo>
                <a:lnTo>
                  <a:pt x="6310" y="3184"/>
                </a:lnTo>
                <a:lnTo>
                  <a:pt x="6304" y="3182"/>
                </a:lnTo>
                <a:lnTo>
                  <a:pt x="6290" y="3178"/>
                </a:lnTo>
                <a:lnTo>
                  <a:pt x="6274" y="3178"/>
                </a:lnTo>
                <a:lnTo>
                  <a:pt x="6258" y="3182"/>
                </a:lnTo>
                <a:lnTo>
                  <a:pt x="6252" y="3184"/>
                </a:lnTo>
                <a:lnTo>
                  <a:pt x="6246" y="3184"/>
                </a:lnTo>
                <a:lnTo>
                  <a:pt x="6236" y="3184"/>
                </a:lnTo>
                <a:lnTo>
                  <a:pt x="6228" y="3184"/>
                </a:lnTo>
                <a:lnTo>
                  <a:pt x="6224" y="3184"/>
                </a:lnTo>
                <a:lnTo>
                  <a:pt x="6222" y="3188"/>
                </a:lnTo>
                <a:lnTo>
                  <a:pt x="6216" y="3194"/>
                </a:lnTo>
                <a:lnTo>
                  <a:pt x="6208" y="3196"/>
                </a:lnTo>
                <a:lnTo>
                  <a:pt x="6180" y="3196"/>
                </a:lnTo>
                <a:lnTo>
                  <a:pt x="6158" y="3200"/>
                </a:lnTo>
                <a:lnTo>
                  <a:pt x="6138" y="3208"/>
                </a:lnTo>
                <a:lnTo>
                  <a:pt x="6128" y="3212"/>
                </a:lnTo>
                <a:lnTo>
                  <a:pt x="6120" y="3218"/>
                </a:lnTo>
                <a:lnTo>
                  <a:pt x="6114" y="3226"/>
                </a:lnTo>
                <a:lnTo>
                  <a:pt x="6110" y="3232"/>
                </a:lnTo>
                <a:lnTo>
                  <a:pt x="6108" y="3238"/>
                </a:lnTo>
                <a:lnTo>
                  <a:pt x="6106" y="3240"/>
                </a:lnTo>
                <a:lnTo>
                  <a:pt x="6102" y="3240"/>
                </a:lnTo>
                <a:lnTo>
                  <a:pt x="6100" y="3240"/>
                </a:lnTo>
                <a:lnTo>
                  <a:pt x="6094" y="3236"/>
                </a:lnTo>
                <a:lnTo>
                  <a:pt x="6090" y="3236"/>
                </a:lnTo>
                <a:lnTo>
                  <a:pt x="6086" y="3240"/>
                </a:lnTo>
                <a:lnTo>
                  <a:pt x="6084" y="3242"/>
                </a:lnTo>
                <a:lnTo>
                  <a:pt x="6080" y="3244"/>
                </a:lnTo>
                <a:lnTo>
                  <a:pt x="6076" y="3242"/>
                </a:lnTo>
                <a:lnTo>
                  <a:pt x="6072" y="3242"/>
                </a:lnTo>
                <a:lnTo>
                  <a:pt x="6070" y="3242"/>
                </a:lnTo>
                <a:lnTo>
                  <a:pt x="6066" y="3246"/>
                </a:lnTo>
                <a:lnTo>
                  <a:pt x="6062" y="3250"/>
                </a:lnTo>
                <a:lnTo>
                  <a:pt x="6054" y="3260"/>
                </a:lnTo>
                <a:lnTo>
                  <a:pt x="6044" y="3270"/>
                </a:lnTo>
                <a:lnTo>
                  <a:pt x="6038" y="3274"/>
                </a:lnTo>
                <a:lnTo>
                  <a:pt x="6032" y="3276"/>
                </a:lnTo>
                <a:lnTo>
                  <a:pt x="6026" y="3276"/>
                </a:lnTo>
                <a:lnTo>
                  <a:pt x="6020" y="3276"/>
                </a:lnTo>
                <a:lnTo>
                  <a:pt x="6006" y="3274"/>
                </a:lnTo>
                <a:lnTo>
                  <a:pt x="6000" y="3274"/>
                </a:lnTo>
                <a:lnTo>
                  <a:pt x="5996" y="3272"/>
                </a:lnTo>
                <a:lnTo>
                  <a:pt x="5992" y="3268"/>
                </a:lnTo>
                <a:lnTo>
                  <a:pt x="5990" y="3262"/>
                </a:lnTo>
                <a:lnTo>
                  <a:pt x="5990" y="3258"/>
                </a:lnTo>
                <a:lnTo>
                  <a:pt x="5988" y="3258"/>
                </a:lnTo>
                <a:lnTo>
                  <a:pt x="5986" y="3262"/>
                </a:lnTo>
                <a:lnTo>
                  <a:pt x="5982" y="3266"/>
                </a:lnTo>
                <a:lnTo>
                  <a:pt x="5978" y="3268"/>
                </a:lnTo>
                <a:lnTo>
                  <a:pt x="5974" y="3268"/>
                </a:lnTo>
                <a:lnTo>
                  <a:pt x="5968" y="3266"/>
                </a:lnTo>
                <a:lnTo>
                  <a:pt x="5962" y="3266"/>
                </a:lnTo>
                <a:lnTo>
                  <a:pt x="5958" y="3266"/>
                </a:lnTo>
                <a:lnTo>
                  <a:pt x="5948" y="3270"/>
                </a:lnTo>
                <a:lnTo>
                  <a:pt x="5942" y="3272"/>
                </a:lnTo>
                <a:lnTo>
                  <a:pt x="5934" y="3272"/>
                </a:lnTo>
                <a:lnTo>
                  <a:pt x="5926" y="3272"/>
                </a:lnTo>
                <a:lnTo>
                  <a:pt x="5914" y="3266"/>
                </a:lnTo>
                <a:lnTo>
                  <a:pt x="5904" y="3260"/>
                </a:lnTo>
                <a:lnTo>
                  <a:pt x="5898" y="3254"/>
                </a:lnTo>
                <a:lnTo>
                  <a:pt x="5896" y="3248"/>
                </a:lnTo>
                <a:lnTo>
                  <a:pt x="5896" y="3242"/>
                </a:lnTo>
                <a:lnTo>
                  <a:pt x="5896" y="3236"/>
                </a:lnTo>
                <a:lnTo>
                  <a:pt x="5894" y="3234"/>
                </a:lnTo>
                <a:lnTo>
                  <a:pt x="5890" y="3232"/>
                </a:lnTo>
                <a:lnTo>
                  <a:pt x="5884" y="3234"/>
                </a:lnTo>
                <a:lnTo>
                  <a:pt x="5880" y="3238"/>
                </a:lnTo>
                <a:lnTo>
                  <a:pt x="5874" y="3242"/>
                </a:lnTo>
                <a:lnTo>
                  <a:pt x="5868" y="3254"/>
                </a:lnTo>
                <a:lnTo>
                  <a:pt x="5856" y="3290"/>
                </a:lnTo>
                <a:lnTo>
                  <a:pt x="5848" y="3310"/>
                </a:lnTo>
                <a:lnTo>
                  <a:pt x="5838" y="3328"/>
                </a:lnTo>
                <a:lnTo>
                  <a:pt x="5830" y="3336"/>
                </a:lnTo>
                <a:lnTo>
                  <a:pt x="5822" y="3344"/>
                </a:lnTo>
                <a:lnTo>
                  <a:pt x="5814" y="3350"/>
                </a:lnTo>
                <a:lnTo>
                  <a:pt x="5804" y="3354"/>
                </a:lnTo>
                <a:lnTo>
                  <a:pt x="5786" y="3362"/>
                </a:lnTo>
                <a:lnTo>
                  <a:pt x="5772" y="3368"/>
                </a:lnTo>
                <a:lnTo>
                  <a:pt x="5766" y="3374"/>
                </a:lnTo>
                <a:lnTo>
                  <a:pt x="5762" y="3378"/>
                </a:lnTo>
                <a:lnTo>
                  <a:pt x="5756" y="3386"/>
                </a:lnTo>
                <a:lnTo>
                  <a:pt x="5752" y="3392"/>
                </a:lnTo>
                <a:lnTo>
                  <a:pt x="5746" y="3400"/>
                </a:lnTo>
                <a:lnTo>
                  <a:pt x="5738" y="3406"/>
                </a:lnTo>
                <a:lnTo>
                  <a:pt x="5736" y="3412"/>
                </a:lnTo>
                <a:lnTo>
                  <a:pt x="5734" y="3416"/>
                </a:lnTo>
                <a:lnTo>
                  <a:pt x="5736" y="3420"/>
                </a:lnTo>
                <a:lnTo>
                  <a:pt x="5736" y="3424"/>
                </a:lnTo>
                <a:lnTo>
                  <a:pt x="5734" y="3430"/>
                </a:lnTo>
                <a:lnTo>
                  <a:pt x="5732" y="3438"/>
                </a:lnTo>
                <a:lnTo>
                  <a:pt x="5724" y="3448"/>
                </a:lnTo>
                <a:lnTo>
                  <a:pt x="5716" y="3462"/>
                </a:lnTo>
                <a:lnTo>
                  <a:pt x="5714" y="3476"/>
                </a:lnTo>
                <a:lnTo>
                  <a:pt x="5712" y="3490"/>
                </a:lnTo>
                <a:lnTo>
                  <a:pt x="5714" y="3504"/>
                </a:lnTo>
                <a:lnTo>
                  <a:pt x="5718" y="3530"/>
                </a:lnTo>
                <a:lnTo>
                  <a:pt x="5718" y="3542"/>
                </a:lnTo>
                <a:lnTo>
                  <a:pt x="5714" y="3554"/>
                </a:lnTo>
                <a:lnTo>
                  <a:pt x="5702" y="3576"/>
                </a:lnTo>
                <a:lnTo>
                  <a:pt x="5694" y="3590"/>
                </a:lnTo>
                <a:lnTo>
                  <a:pt x="5686" y="3598"/>
                </a:lnTo>
                <a:lnTo>
                  <a:pt x="5680" y="3602"/>
                </a:lnTo>
                <a:lnTo>
                  <a:pt x="5668" y="3606"/>
                </a:lnTo>
                <a:lnTo>
                  <a:pt x="5662" y="3612"/>
                </a:lnTo>
                <a:lnTo>
                  <a:pt x="5654" y="3622"/>
                </a:lnTo>
                <a:lnTo>
                  <a:pt x="5644" y="3632"/>
                </a:lnTo>
                <a:lnTo>
                  <a:pt x="5634" y="3640"/>
                </a:lnTo>
                <a:lnTo>
                  <a:pt x="5622" y="3642"/>
                </a:lnTo>
                <a:lnTo>
                  <a:pt x="5610" y="3646"/>
                </a:lnTo>
                <a:lnTo>
                  <a:pt x="5600" y="3648"/>
                </a:lnTo>
                <a:lnTo>
                  <a:pt x="5592" y="3650"/>
                </a:lnTo>
                <a:lnTo>
                  <a:pt x="5584" y="3656"/>
                </a:lnTo>
                <a:lnTo>
                  <a:pt x="5580" y="3666"/>
                </a:lnTo>
                <a:lnTo>
                  <a:pt x="5570" y="3694"/>
                </a:lnTo>
                <a:lnTo>
                  <a:pt x="5560" y="3712"/>
                </a:lnTo>
                <a:lnTo>
                  <a:pt x="5552" y="3722"/>
                </a:lnTo>
                <a:lnTo>
                  <a:pt x="5544" y="3726"/>
                </a:lnTo>
                <a:lnTo>
                  <a:pt x="5538" y="3730"/>
                </a:lnTo>
                <a:lnTo>
                  <a:pt x="5534" y="3732"/>
                </a:lnTo>
                <a:lnTo>
                  <a:pt x="5528" y="3738"/>
                </a:lnTo>
                <a:lnTo>
                  <a:pt x="5524" y="3752"/>
                </a:lnTo>
                <a:lnTo>
                  <a:pt x="5520" y="3766"/>
                </a:lnTo>
                <a:lnTo>
                  <a:pt x="5518" y="3770"/>
                </a:lnTo>
                <a:lnTo>
                  <a:pt x="5516" y="3776"/>
                </a:lnTo>
                <a:lnTo>
                  <a:pt x="5512" y="3794"/>
                </a:lnTo>
                <a:lnTo>
                  <a:pt x="5508" y="3816"/>
                </a:lnTo>
                <a:lnTo>
                  <a:pt x="5506" y="3822"/>
                </a:lnTo>
                <a:lnTo>
                  <a:pt x="5502" y="3826"/>
                </a:lnTo>
                <a:lnTo>
                  <a:pt x="5494" y="3834"/>
                </a:lnTo>
                <a:lnTo>
                  <a:pt x="5482" y="3848"/>
                </a:lnTo>
                <a:lnTo>
                  <a:pt x="5468" y="3862"/>
                </a:lnTo>
                <a:lnTo>
                  <a:pt x="5462" y="3868"/>
                </a:lnTo>
                <a:lnTo>
                  <a:pt x="5462" y="3870"/>
                </a:lnTo>
                <a:lnTo>
                  <a:pt x="5464" y="3870"/>
                </a:lnTo>
                <a:lnTo>
                  <a:pt x="5470" y="3870"/>
                </a:lnTo>
                <a:lnTo>
                  <a:pt x="5470" y="3872"/>
                </a:lnTo>
                <a:lnTo>
                  <a:pt x="5466" y="3880"/>
                </a:lnTo>
                <a:lnTo>
                  <a:pt x="5458" y="3896"/>
                </a:lnTo>
                <a:lnTo>
                  <a:pt x="5456" y="3906"/>
                </a:lnTo>
                <a:lnTo>
                  <a:pt x="5454" y="3918"/>
                </a:lnTo>
                <a:lnTo>
                  <a:pt x="5452" y="3928"/>
                </a:lnTo>
                <a:lnTo>
                  <a:pt x="5450" y="3934"/>
                </a:lnTo>
                <a:lnTo>
                  <a:pt x="5446" y="3938"/>
                </a:lnTo>
                <a:lnTo>
                  <a:pt x="5442" y="3940"/>
                </a:lnTo>
                <a:lnTo>
                  <a:pt x="5436" y="3944"/>
                </a:lnTo>
                <a:lnTo>
                  <a:pt x="5432" y="3948"/>
                </a:lnTo>
                <a:lnTo>
                  <a:pt x="5428" y="3956"/>
                </a:lnTo>
                <a:lnTo>
                  <a:pt x="5424" y="3966"/>
                </a:lnTo>
                <a:lnTo>
                  <a:pt x="5420" y="3990"/>
                </a:lnTo>
                <a:lnTo>
                  <a:pt x="5420" y="4006"/>
                </a:lnTo>
                <a:lnTo>
                  <a:pt x="5420" y="4014"/>
                </a:lnTo>
                <a:lnTo>
                  <a:pt x="5422" y="4016"/>
                </a:lnTo>
                <a:lnTo>
                  <a:pt x="5424" y="4016"/>
                </a:lnTo>
                <a:lnTo>
                  <a:pt x="5424" y="4014"/>
                </a:lnTo>
                <a:lnTo>
                  <a:pt x="5426" y="4012"/>
                </a:lnTo>
                <a:lnTo>
                  <a:pt x="5426" y="4006"/>
                </a:lnTo>
                <a:lnTo>
                  <a:pt x="5428" y="4002"/>
                </a:lnTo>
                <a:lnTo>
                  <a:pt x="5430" y="4000"/>
                </a:lnTo>
                <a:lnTo>
                  <a:pt x="5432" y="4000"/>
                </a:lnTo>
                <a:lnTo>
                  <a:pt x="5434" y="4002"/>
                </a:lnTo>
                <a:lnTo>
                  <a:pt x="5434" y="4006"/>
                </a:lnTo>
                <a:lnTo>
                  <a:pt x="5436" y="4014"/>
                </a:lnTo>
                <a:lnTo>
                  <a:pt x="5438" y="4022"/>
                </a:lnTo>
                <a:lnTo>
                  <a:pt x="5440" y="4024"/>
                </a:lnTo>
                <a:lnTo>
                  <a:pt x="5442" y="4024"/>
                </a:lnTo>
                <a:lnTo>
                  <a:pt x="5446" y="4022"/>
                </a:lnTo>
                <a:lnTo>
                  <a:pt x="5448" y="4024"/>
                </a:lnTo>
                <a:lnTo>
                  <a:pt x="5452" y="4032"/>
                </a:lnTo>
                <a:lnTo>
                  <a:pt x="5454" y="4044"/>
                </a:lnTo>
                <a:lnTo>
                  <a:pt x="5454" y="4058"/>
                </a:lnTo>
                <a:lnTo>
                  <a:pt x="5454" y="4066"/>
                </a:lnTo>
                <a:lnTo>
                  <a:pt x="5452" y="4072"/>
                </a:lnTo>
                <a:lnTo>
                  <a:pt x="5446" y="4080"/>
                </a:lnTo>
                <a:lnTo>
                  <a:pt x="5442" y="4086"/>
                </a:lnTo>
                <a:lnTo>
                  <a:pt x="5444" y="4088"/>
                </a:lnTo>
                <a:lnTo>
                  <a:pt x="5446" y="4090"/>
                </a:lnTo>
                <a:lnTo>
                  <a:pt x="5450" y="4096"/>
                </a:lnTo>
                <a:lnTo>
                  <a:pt x="5456" y="4104"/>
                </a:lnTo>
                <a:lnTo>
                  <a:pt x="5458" y="4114"/>
                </a:lnTo>
                <a:lnTo>
                  <a:pt x="5462" y="4128"/>
                </a:lnTo>
                <a:lnTo>
                  <a:pt x="5464" y="4142"/>
                </a:lnTo>
                <a:lnTo>
                  <a:pt x="5464" y="4156"/>
                </a:lnTo>
                <a:lnTo>
                  <a:pt x="5462" y="4172"/>
                </a:lnTo>
                <a:lnTo>
                  <a:pt x="5460" y="4186"/>
                </a:lnTo>
                <a:lnTo>
                  <a:pt x="5448" y="4222"/>
                </a:lnTo>
                <a:lnTo>
                  <a:pt x="5446" y="4232"/>
                </a:lnTo>
                <a:lnTo>
                  <a:pt x="5444" y="4242"/>
                </a:lnTo>
                <a:lnTo>
                  <a:pt x="5444" y="4258"/>
                </a:lnTo>
                <a:lnTo>
                  <a:pt x="5438" y="4278"/>
                </a:lnTo>
                <a:lnTo>
                  <a:pt x="5434" y="4288"/>
                </a:lnTo>
                <a:lnTo>
                  <a:pt x="5428" y="4298"/>
                </a:lnTo>
                <a:lnTo>
                  <a:pt x="5420" y="4304"/>
                </a:lnTo>
                <a:lnTo>
                  <a:pt x="5412" y="4310"/>
                </a:lnTo>
                <a:lnTo>
                  <a:pt x="5406" y="4314"/>
                </a:lnTo>
                <a:lnTo>
                  <a:pt x="5404" y="4318"/>
                </a:lnTo>
                <a:lnTo>
                  <a:pt x="5408" y="4320"/>
                </a:lnTo>
                <a:lnTo>
                  <a:pt x="5414" y="4318"/>
                </a:lnTo>
                <a:lnTo>
                  <a:pt x="5418" y="4320"/>
                </a:lnTo>
                <a:lnTo>
                  <a:pt x="5422" y="4324"/>
                </a:lnTo>
                <a:lnTo>
                  <a:pt x="5428" y="4338"/>
                </a:lnTo>
                <a:lnTo>
                  <a:pt x="5434" y="4358"/>
                </a:lnTo>
                <a:lnTo>
                  <a:pt x="5438" y="4366"/>
                </a:lnTo>
                <a:lnTo>
                  <a:pt x="5442" y="4374"/>
                </a:lnTo>
                <a:lnTo>
                  <a:pt x="5444" y="4378"/>
                </a:lnTo>
                <a:lnTo>
                  <a:pt x="5448" y="4380"/>
                </a:lnTo>
                <a:lnTo>
                  <a:pt x="5452" y="4382"/>
                </a:lnTo>
                <a:lnTo>
                  <a:pt x="5456" y="4382"/>
                </a:lnTo>
                <a:lnTo>
                  <a:pt x="5468" y="4380"/>
                </a:lnTo>
                <a:lnTo>
                  <a:pt x="5484" y="4378"/>
                </a:lnTo>
                <a:lnTo>
                  <a:pt x="5466" y="4382"/>
                </a:lnTo>
                <a:lnTo>
                  <a:pt x="5454" y="4386"/>
                </a:lnTo>
                <a:lnTo>
                  <a:pt x="5446" y="4388"/>
                </a:lnTo>
                <a:lnTo>
                  <a:pt x="5442" y="4386"/>
                </a:lnTo>
                <a:lnTo>
                  <a:pt x="5440" y="4384"/>
                </a:lnTo>
                <a:lnTo>
                  <a:pt x="5438" y="4380"/>
                </a:lnTo>
                <a:lnTo>
                  <a:pt x="5436" y="4380"/>
                </a:lnTo>
                <a:lnTo>
                  <a:pt x="5432" y="4382"/>
                </a:lnTo>
                <a:lnTo>
                  <a:pt x="5430" y="4390"/>
                </a:lnTo>
                <a:lnTo>
                  <a:pt x="5432" y="4398"/>
                </a:lnTo>
                <a:lnTo>
                  <a:pt x="5434" y="4408"/>
                </a:lnTo>
                <a:lnTo>
                  <a:pt x="5434" y="4416"/>
                </a:lnTo>
                <a:lnTo>
                  <a:pt x="5436" y="4420"/>
                </a:lnTo>
                <a:lnTo>
                  <a:pt x="5440" y="4418"/>
                </a:lnTo>
                <a:lnTo>
                  <a:pt x="5444" y="4416"/>
                </a:lnTo>
                <a:lnTo>
                  <a:pt x="5448" y="4418"/>
                </a:lnTo>
                <a:lnTo>
                  <a:pt x="5452" y="4420"/>
                </a:lnTo>
                <a:lnTo>
                  <a:pt x="5458" y="4420"/>
                </a:lnTo>
                <a:lnTo>
                  <a:pt x="5464" y="4418"/>
                </a:lnTo>
                <a:lnTo>
                  <a:pt x="5468" y="4420"/>
                </a:lnTo>
                <a:lnTo>
                  <a:pt x="5474" y="4422"/>
                </a:lnTo>
                <a:lnTo>
                  <a:pt x="5480" y="4424"/>
                </a:lnTo>
                <a:lnTo>
                  <a:pt x="5468" y="4426"/>
                </a:lnTo>
                <a:lnTo>
                  <a:pt x="5460" y="4426"/>
                </a:lnTo>
                <a:lnTo>
                  <a:pt x="5448" y="4424"/>
                </a:lnTo>
                <a:lnTo>
                  <a:pt x="5442" y="4422"/>
                </a:lnTo>
                <a:lnTo>
                  <a:pt x="5440" y="4422"/>
                </a:lnTo>
                <a:lnTo>
                  <a:pt x="5436" y="4426"/>
                </a:lnTo>
                <a:lnTo>
                  <a:pt x="5434" y="4430"/>
                </a:lnTo>
                <a:lnTo>
                  <a:pt x="5434" y="4432"/>
                </a:lnTo>
                <a:lnTo>
                  <a:pt x="5438" y="4434"/>
                </a:lnTo>
                <a:lnTo>
                  <a:pt x="5442" y="4438"/>
                </a:lnTo>
                <a:lnTo>
                  <a:pt x="5444" y="4440"/>
                </a:lnTo>
                <a:lnTo>
                  <a:pt x="5446" y="4440"/>
                </a:lnTo>
                <a:lnTo>
                  <a:pt x="5452" y="4440"/>
                </a:lnTo>
                <a:lnTo>
                  <a:pt x="5456" y="4440"/>
                </a:lnTo>
                <a:lnTo>
                  <a:pt x="5454" y="4444"/>
                </a:lnTo>
                <a:lnTo>
                  <a:pt x="5452" y="4452"/>
                </a:lnTo>
                <a:lnTo>
                  <a:pt x="5452" y="4454"/>
                </a:lnTo>
                <a:lnTo>
                  <a:pt x="5454" y="4456"/>
                </a:lnTo>
                <a:lnTo>
                  <a:pt x="5458" y="4456"/>
                </a:lnTo>
                <a:lnTo>
                  <a:pt x="5464" y="4454"/>
                </a:lnTo>
                <a:lnTo>
                  <a:pt x="5468" y="4454"/>
                </a:lnTo>
                <a:lnTo>
                  <a:pt x="5470" y="4456"/>
                </a:lnTo>
                <a:lnTo>
                  <a:pt x="5468" y="4462"/>
                </a:lnTo>
                <a:lnTo>
                  <a:pt x="5468" y="4468"/>
                </a:lnTo>
                <a:lnTo>
                  <a:pt x="5470" y="4468"/>
                </a:lnTo>
                <a:lnTo>
                  <a:pt x="5474" y="4464"/>
                </a:lnTo>
                <a:lnTo>
                  <a:pt x="5484" y="4458"/>
                </a:lnTo>
                <a:lnTo>
                  <a:pt x="5490" y="4456"/>
                </a:lnTo>
                <a:lnTo>
                  <a:pt x="5492" y="4456"/>
                </a:lnTo>
                <a:lnTo>
                  <a:pt x="5488" y="4460"/>
                </a:lnTo>
                <a:lnTo>
                  <a:pt x="5484" y="4462"/>
                </a:lnTo>
                <a:lnTo>
                  <a:pt x="5484" y="4464"/>
                </a:lnTo>
                <a:lnTo>
                  <a:pt x="5484" y="4468"/>
                </a:lnTo>
                <a:lnTo>
                  <a:pt x="5488" y="4472"/>
                </a:lnTo>
                <a:lnTo>
                  <a:pt x="5488" y="4476"/>
                </a:lnTo>
                <a:lnTo>
                  <a:pt x="5486" y="4478"/>
                </a:lnTo>
                <a:lnTo>
                  <a:pt x="5486" y="4482"/>
                </a:lnTo>
                <a:lnTo>
                  <a:pt x="5486" y="4484"/>
                </a:lnTo>
                <a:lnTo>
                  <a:pt x="5488" y="4484"/>
                </a:lnTo>
                <a:lnTo>
                  <a:pt x="5490" y="4488"/>
                </a:lnTo>
                <a:lnTo>
                  <a:pt x="5490" y="4492"/>
                </a:lnTo>
                <a:lnTo>
                  <a:pt x="5492" y="4492"/>
                </a:lnTo>
                <a:lnTo>
                  <a:pt x="5494" y="4492"/>
                </a:lnTo>
                <a:lnTo>
                  <a:pt x="5496" y="4496"/>
                </a:lnTo>
                <a:lnTo>
                  <a:pt x="5496" y="4500"/>
                </a:lnTo>
                <a:lnTo>
                  <a:pt x="5498" y="4500"/>
                </a:lnTo>
                <a:lnTo>
                  <a:pt x="5504" y="4492"/>
                </a:lnTo>
                <a:lnTo>
                  <a:pt x="5502" y="4500"/>
                </a:lnTo>
                <a:lnTo>
                  <a:pt x="5504" y="4504"/>
                </a:lnTo>
                <a:lnTo>
                  <a:pt x="5502" y="4508"/>
                </a:lnTo>
                <a:lnTo>
                  <a:pt x="5504" y="4510"/>
                </a:lnTo>
                <a:lnTo>
                  <a:pt x="5506" y="4512"/>
                </a:lnTo>
                <a:lnTo>
                  <a:pt x="5508" y="4510"/>
                </a:lnTo>
                <a:lnTo>
                  <a:pt x="5508" y="4506"/>
                </a:lnTo>
                <a:lnTo>
                  <a:pt x="5512" y="4502"/>
                </a:lnTo>
                <a:lnTo>
                  <a:pt x="5514" y="4500"/>
                </a:lnTo>
                <a:lnTo>
                  <a:pt x="5518" y="4498"/>
                </a:lnTo>
                <a:lnTo>
                  <a:pt x="5520" y="4500"/>
                </a:lnTo>
                <a:lnTo>
                  <a:pt x="5518" y="4502"/>
                </a:lnTo>
                <a:lnTo>
                  <a:pt x="5514" y="4506"/>
                </a:lnTo>
                <a:lnTo>
                  <a:pt x="5514" y="4508"/>
                </a:lnTo>
                <a:lnTo>
                  <a:pt x="5516" y="4512"/>
                </a:lnTo>
                <a:lnTo>
                  <a:pt x="5516" y="4514"/>
                </a:lnTo>
                <a:lnTo>
                  <a:pt x="5518" y="4516"/>
                </a:lnTo>
                <a:lnTo>
                  <a:pt x="5522" y="4512"/>
                </a:lnTo>
                <a:lnTo>
                  <a:pt x="5524" y="4510"/>
                </a:lnTo>
                <a:lnTo>
                  <a:pt x="5522" y="4518"/>
                </a:lnTo>
                <a:lnTo>
                  <a:pt x="5522" y="4528"/>
                </a:lnTo>
                <a:lnTo>
                  <a:pt x="5524" y="4528"/>
                </a:lnTo>
                <a:lnTo>
                  <a:pt x="5524" y="4534"/>
                </a:lnTo>
                <a:lnTo>
                  <a:pt x="5528" y="4538"/>
                </a:lnTo>
                <a:lnTo>
                  <a:pt x="5532" y="4542"/>
                </a:lnTo>
                <a:lnTo>
                  <a:pt x="5538" y="4544"/>
                </a:lnTo>
                <a:lnTo>
                  <a:pt x="5544" y="4548"/>
                </a:lnTo>
                <a:lnTo>
                  <a:pt x="5550" y="4554"/>
                </a:lnTo>
                <a:lnTo>
                  <a:pt x="5558" y="4556"/>
                </a:lnTo>
                <a:lnTo>
                  <a:pt x="5562" y="4560"/>
                </a:lnTo>
                <a:lnTo>
                  <a:pt x="5564" y="4562"/>
                </a:lnTo>
                <a:lnTo>
                  <a:pt x="5562" y="4564"/>
                </a:lnTo>
                <a:lnTo>
                  <a:pt x="5560" y="4568"/>
                </a:lnTo>
                <a:lnTo>
                  <a:pt x="5560" y="4572"/>
                </a:lnTo>
                <a:lnTo>
                  <a:pt x="5560" y="4576"/>
                </a:lnTo>
                <a:lnTo>
                  <a:pt x="5566" y="4578"/>
                </a:lnTo>
                <a:lnTo>
                  <a:pt x="5570" y="4582"/>
                </a:lnTo>
                <a:lnTo>
                  <a:pt x="5570" y="4584"/>
                </a:lnTo>
                <a:lnTo>
                  <a:pt x="5572" y="4586"/>
                </a:lnTo>
                <a:lnTo>
                  <a:pt x="5574" y="4588"/>
                </a:lnTo>
                <a:lnTo>
                  <a:pt x="5576" y="4592"/>
                </a:lnTo>
                <a:lnTo>
                  <a:pt x="5574" y="4594"/>
                </a:lnTo>
                <a:lnTo>
                  <a:pt x="5574" y="4596"/>
                </a:lnTo>
                <a:lnTo>
                  <a:pt x="5580" y="4604"/>
                </a:lnTo>
                <a:lnTo>
                  <a:pt x="5580" y="4606"/>
                </a:lnTo>
                <a:lnTo>
                  <a:pt x="5576" y="4608"/>
                </a:lnTo>
                <a:lnTo>
                  <a:pt x="5576" y="4610"/>
                </a:lnTo>
                <a:lnTo>
                  <a:pt x="5576" y="4612"/>
                </a:lnTo>
                <a:lnTo>
                  <a:pt x="5578" y="4618"/>
                </a:lnTo>
                <a:lnTo>
                  <a:pt x="5580" y="4618"/>
                </a:lnTo>
                <a:lnTo>
                  <a:pt x="5584" y="4616"/>
                </a:lnTo>
                <a:lnTo>
                  <a:pt x="5590" y="4620"/>
                </a:lnTo>
                <a:lnTo>
                  <a:pt x="5586" y="4624"/>
                </a:lnTo>
                <a:lnTo>
                  <a:pt x="5584" y="4624"/>
                </a:lnTo>
                <a:lnTo>
                  <a:pt x="5578" y="4624"/>
                </a:lnTo>
                <a:lnTo>
                  <a:pt x="5574" y="4624"/>
                </a:lnTo>
                <a:lnTo>
                  <a:pt x="5574" y="4628"/>
                </a:lnTo>
                <a:lnTo>
                  <a:pt x="5580" y="4636"/>
                </a:lnTo>
                <a:lnTo>
                  <a:pt x="5584" y="4638"/>
                </a:lnTo>
                <a:lnTo>
                  <a:pt x="5586" y="4638"/>
                </a:lnTo>
                <a:lnTo>
                  <a:pt x="5590" y="4642"/>
                </a:lnTo>
                <a:lnTo>
                  <a:pt x="5590" y="4648"/>
                </a:lnTo>
                <a:lnTo>
                  <a:pt x="5588" y="4650"/>
                </a:lnTo>
                <a:lnTo>
                  <a:pt x="5586" y="4650"/>
                </a:lnTo>
                <a:lnTo>
                  <a:pt x="5588" y="4654"/>
                </a:lnTo>
                <a:lnTo>
                  <a:pt x="5590" y="4656"/>
                </a:lnTo>
                <a:lnTo>
                  <a:pt x="5596" y="4658"/>
                </a:lnTo>
                <a:lnTo>
                  <a:pt x="5602" y="4660"/>
                </a:lnTo>
                <a:lnTo>
                  <a:pt x="5606" y="4666"/>
                </a:lnTo>
                <a:lnTo>
                  <a:pt x="5608" y="4668"/>
                </a:lnTo>
                <a:lnTo>
                  <a:pt x="5608" y="4670"/>
                </a:lnTo>
                <a:lnTo>
                  <a:pt x="5606" y="4672"/>
                </a:lnTo>
                <a:lnTo>
                  <a:pt x="5606" y="4674"/>
                </a:lnTo>
                <a:lnTo>
                  <a:pt x="5606" y="4676"/>
                </a:lnTo>
                <a:lnTo>
                  <a:pt x="5612" y="4680"/>
                </a:lnTo>
                <a:lnTo>
                  <a:pt x="5632" y="4688"/>
                </a:lnTo>
                <a:lnTo>
                  <a:pt x="5640" y="4694"/>
                </a:lnTo>
                <a:lnTo>
                  <a:pt x="5646" y="4700"/>
                </a:lnTo>
                <a:lnTo>
                  <a:pt x="5650" y="4706"/>
                </a:lnTo>
                <a:lnTo>
                  <a:pt x="5656" y="4710"/>
                </a:lnTo>
                <a:lnTo>
                  <a:pt x="5664" y="4716"/>
                </a:lnTo>
                <a:lnTo>
                  <a:pt x="5672" y="4722"/>
                </a:lnTo>
                <a:lnTo>
                  <a:pt x="5676" y="4724"/>
                </a:lnTo>
                <a:lnTo>
                  <a:pt x="5676" y="4728"/>
                </a:lnTo>
                <a:lnTo>
                  <a:pt x="5678" y="4732"/>
                </a:lnTo>
                <a:lnTo>
                  <a:pt x="5680" y="4734"/>
                </a:lnTo>
                <a:lnTo>
                  <a:pt x="5686" y="4738"/>
                </a:lnTo>
                <a:lnTo>
                  <a:pt x="5698" y="4744"/>
                </a:lnTo>
                <a:lnTo>
                  <a:pt x="5706" y="4752"/>
                </a:lnTo>
                <a:lnTo>
                  <a:pt x="5714" y="4762"/>
                </a:lnTo>
                <a:lnTo>
                  <a:pt x="5732" y="4782"/>
                </a:lnTo>
                <a:lnTo>
                  <a:pt x="5752" y="4798"/>
                </a:lnTo>
                <a:lnTo>
                  <a:pt x="5768" y="4810"/>
                </a:lnTo>
                <a:lnTo>
                  <a:pt x="5784" y="4816"/>
                </a:lnTo>
                <a:lnTo>
                  <a:pt x="5794" y="4820"/>
                </a:lnTo>
                <a:lnTo>
                  <a:pt x="5796" y="4824"/>
                </a:lnTo>
                <a:lnTo>
                  <a:pt x="5800" y="4826"/>
                </a:lnTo>
                <a:lnTo>
                  <a:pt x="5808" y="4826"/>
                </a:lnTo>
                <a:lnTo>
                  <a:pt x="5812" y="4824"/>
                </a:lnTo>
                <a:lnTo>
                  <a:pt x="5816" y="4822"/>
                </a:lnTo>
                <a:lnTo>
                  <a:pt x="5826" y="4814"/>
                </a:lnTo>
                <a:lnTo>
                  <a:pt x="5840" y="4804"/>
                </a:lnTo>
                <a:lnTo>
                  <a:pt x="5852" y="4798"/>
                </a:lnTo>
                <a:lnTo>
                  <a:pt x="5866" y="4794"/>
                </a:lnTo>
                <a:lnTo>
                  <a:pt x="5892" y="4788"/>
                </a:lnTo>
                <a:lnTo>
                  <a:pt x="5908" y="4788"/>
                </a:lnTo>
                <a:lnTo>
                  <a:pt x="5920" y="4788"/>
                </a:lnTo>
                <a:lnTo>
                  <a:pt x="5934" y="4786"/>
                </a:lnTo>
                <a:lnTo>
                  <a:pt x="5944" y="4782"/>
                </a:lnTo>
                <a:lnTo>
                  <a:pt x="5958" y="4786"/>
                </a:lnTo>
                <a:lnTo>
                  <a:pt x="5972" y="4786"/>
                </a:lnTo>
                <a:lnTo>
                  <a:pt x="5976" y="4786"/>
                </a:lnTo>
                <a:lnTo>
                  <a:pt x="5980" y="4784"/>
                </a:lnTo>
                <a:lnTo>
                  <a:pt x="5984" y="4784"/>
                </a:lnTo>
                <a:lnTo>
                  <a:pt x="5994" y="4786"/>
                </a:lnTo>
                <a:lnTo>
                  <a:pt x="5996" y="4788"/>
                </a:lnTo>
                <a:lnTo>
                  <a:pt x="5994" y="4788"/>
                </a:lnTo>
                <a:lnTo>
                  <a:pt x="5986" y="4790"/>
                </a:lnTo>
                <a:lnTo>
                  <a:pt x="5982" y="4790"/>
                </a:lnTo>
                <a:lnTo>
                  <a:pt x="5980" y="4790"/>
                </a:lnTo>
                <a:lnTo>
                  <a:pt x="5982" y="4792"/>
                </a:lnTo>
                <a:lnTo>
                  <a:pt x="6000" y="4796"/>
                </a:lnTo>
                <a:lnTo>
                  <a:pt x="6010" y="4800"/>
                </a:lnTo>
                <a:lnTo>
                  <a:pt x="6022" y="4804"/>
                </a:lnTo>
                <a:lnTo>
                  <a:pt x="6026" y="4806"/>
                </a:lnTo>
                <a:lnTo>
                  <a:pt x="6030" y="4806"/>
                </a:lnTo>
                <a:lnTo>
                  <a:pt x="6040" y="4800"/>
                </a:lnTo>
                <a:lnTo>
                  <a:pt x="6052" y="4790"/>
                </a:lnTo>
                <a:lnTo>
                  <a:pt x="6060" y="4786"/>
                </a:lnTo>
                <a:lnTo>
                  <a:pt x="6068" y="4784"/>
                </a:lnTo>
                <a:lnTo>
                  <a:pt x="6078" y="4782"/>
                </a:lnTo>
                <a:lnTo>
                  <a:pt x="6084" y="4778"/>
                </a:lnTo>
                <a:lnTo>
                  <a:pt x="6096" y="4770"/>
                </a:lnTo>
                <a:lnTo>
                  <a:pt x="6102" y="4766"/>
                </a:lnTo>
                <a:lnTo>
                  <a:pt x="6110" y="4762"/>
                </a:lnTo>
                <a:lnTo>
                  <a:pt x="6120" y="4758"/>
                </a:lnTo>
                <a:lnTo>
                  <a:pt x="6134" y="4756"/>
                </a:lnTo>
                <a:lnTo>
                  <a:pt x="6146" y="4754"/>
                </a:lnTo>
                <a:lnTo>
                  <a:pt x="6150" y="4752"/>
                </a:lnTo>
                <a:lnTo>
                  <a:pt x="6152" y="4750"/>
                </a:lnTo>
                <a:lnTo>
                  <a:pt x="6152" y="4746"/>
                </a:lnTo>
                <a:lnTo>
                  <a:pt x="6158" y="4740"/>
                </a:lnTo>
                <a:lnTo>
                  <a:pt x="6164" y="4736"/>
                </a:lnTo>
                <a:lnTo>
                  <a:pt x="6178" y="4732"/>
                </a:lnTo>
                <a:lnTo>
                  <a:pt x="6202" y="4730"/>
                </a:lnTo>
                <a:lnTo>
                  <a:pt x="6218" y="4728"/>
                </a:lnTo>
                <a:lnTo>
                  <a:pt x="6236" y="4726"/>
                </a:lnTo>
                <a:lnTo>
                  <a:pt x="6242" y="4726"/>
                </a:lnTo>
                <a:lnTo>
                  <a:pt x="6246" y="4722"/>
                </a:lnTo>
                <a:lnTo>
                  <a:pt x="6248" y="4720"/>
                </a:lnTo>
                <a:lnTo>
                  <a:pt x="6250" y="4722"/>
                </a:lnTo>
                <a:lnTo>
                  <a:pt x="6254" y="4724"/>
                </a:lnTo>
                <a:lnTo>
                  <a:pt x="6264" y="4726"/>
                </a:lnTo>
                <a:lnTo>
                  <a:pt x="6278" y="4726"/>
                </a:lnTo>
                <a:lnTo>
                  <a:pt x="6290" y="4730"/>
                </a:lnTo>
                <a:lnTo>
                  <a:pt x="6294" y="4734"/>
                </a:lnTo>
                <a:lnTo>
                  <a:pt x="6300" y="4738"/>
                </a:lnTo>
                <a:lnTo>
                  <a:pt x="6314" y="4756"/>
                </a:lnTo>
                <a:lnTo>
                  <a:pt x="6320" y="4772"/>
                </a:lnTo>
                <a:lnTo>
                  <a:pt x="6328" y="4796"/>
                </a:lnTo>
                <a:lnTo>
                  <a:pt x="6334" y="4808"/>
                </a:lnTo>
                <a:lnTo>
                  <a:pt x="6340" y="4818"/>
                </a:lnTo>
                <a:lnTo>
                  <a:pt x="6348" y="4826"/>
                </a:lnTo>
                <a:lnTo>
                  <a:pt x="6352" y="4826"/>
                </a:lnTo>
                <a:lnTo>
                  <a:pt x="6358" y="4828"/>
                </a:lnTo>
                <a:lnTo>
                  <a:pt x="6374" y="4828"/>
                </a:lnTo>
                <a:lnTo>
                  <a:pt x="6380" y="4828"/>
                </a:lnTo>
                <a:lnTo>
                  <a:pt x="6388" y="4826"/>
                </a:lnTo>
                <a:lnTo>
                  <a:pt x="6394" y="4822"/>
                </a:lnTo>
                <a:lnTo>
                  <a:pt x="6396" y="4820"/>
                </a:lnTo>
                <a:lnTo>
                  <a:pt x="6398" y="4816"/>
                </a:lnTo>
                <a:lnTo>
                  <a:pt x="6398" y="4814"/>
                </a:lnTo>
                <a:lnTo>
                  <a:pt x="6396" y="4810"/>
                </a:lnTo>
                <a:lnTo>
                  <a:pt x="6402" y="4814"/>
                </a:lnTo>
                <a:lnTo>
                  <a:pt x="6406" y="4816"/>
                </a:lnTo>
                <a:lnTo>
                  <a:pt x="6414" y="4818"/>
                </a:lnTo>
                <a:lnTo>
                  <a:pt x="6422" y="4818"/>
                </a:lnTo>
                <a:lnTo>
                  <a:pt x="6432" y="4818"/>
                </a:lnTo>
                <a:lnTo>
                  <a:pt x="6440" y="4816"/>
                </a:lnTo>
                <a:lnTo>
                  <a:pt x="6444" y="4812"/>
                </a:lnTo>
                <a:lnTo>
                  <a:pt x="6446" y="4808"/>
                </a:lnTo>
                <a:lnTo>
                  <a:pt x="6446" y="4806"/>
                </a:lnTo>
                <a:lnTo>
                  <a:pt x="6440" y="4796"/>
                </a:lnTo>
                <a:lnTo>
                  <a:pt x="6452" y="4806"/>
                </a:lnTo>
                <a:lnTo>
                  <a:pt x="6452" y="4814"/>
                </a:lnTo>
                <a:lnTo>
                  <a:pt x="6454" y="4818"/>
                </a:lnTo>
                <a:lnTo>
                  <a:pt x="6458" y="4818"/>
                </a:lnTo>
                <a:lnTo>
                  <a:pt x="6460" y="4818"/>
                </a:lnTo>
                <a:lnTo>
                  <a:pt x="6464" y="4816"/>
                </a:lnTo>
                <a:lnTo>
                  <a:pt x="6466" y="4816"/>
                </a:lnTo>
                <a:lnTo>
                  <a:pt x="6468" y="4822"/>
                </a:lnTo>
                <a:lnTo>
                  <a:pt x="6470" y="4836"/>
                </a:lnTo>
                <a:lnTo>
                  <a:pt x="6474" y="4840"/>
                </a:lnTo>
                <a:lnTo>
                  <a:pt x="6482" y="4844"/>
                </a:lnTo>
                <a:lnTo>
                  <a:pt x="6486" y="4846"/>
                </a:lnTo>
                <a:lnTo>
                  <a:pt x="6488" y="4844"/>
                </a:lnTo>
                <a:lnTo>
                  <a:pt x="6492" y="4842"/>
                </a:lnTo>
                <a:lnTo>
                  <a:pt x="6494" y="4838"/>
                </a:lnTo>
                <a:lnTo>
                  <a:pt x="6498" y="4840"/>
                </a:lnTo>
                <a:lnTo>
                  <a:pt x="6500" y="4844"/>
                </a:lnTo>
                <a:lnTo>
                  <a:pt x="6500" y="4846"/>
                </a:lnTo>
                <a:lnTo>
                  <a:pt x="6498" y="4850"/>
                </a:lnTo>
                <a:lnTo>
                  <a:pt x="6494" y="4852"/>
                </a:lnTo>
                <a:lnTo>
                  <a:pt x="6494" y="4856"/>
                </a:lnTo>
                <a:lnTo>
                  <a:pt x="6496" y="4858"/>
                </a:lnTo>
                <a:lnTo>
                  <a:pt x="6500" y="4862"/>
                </a:lnTo>
                <a:lnTo>
                  <a:pt x="6500" y="4864"/>
                </a:lnTo>
                <a:lnTo>
                  <a:pt x="6500" y="4866"/>
                </a:lnTo>
                <a:lnTo>
                  <a:pt x="6504" y="4874"/>
                </a:lnTo>
                <a:lnTo>
                  <a:pt x="6506" y="4880"/>
                </a:lnTo>
                <a:lnTo>
                  <a:pt x="6508" y="4886"/>
                </a:lnTo>
                <a:lnTo>
                  <a:pt x="6508" y="4898"/>
                </a:lnTo>
                <a:lnTo>
                  <a:pt x="6504" y="4910"/>
                </a:lnTo>
                <a:lnTo>
                  <a:pt x="6504" y="4924"/>
                </a:lnTo>
                <a:lnTo>
                  <a:pt x="6504" y="4936"/>
                </a:lnTo>
                <a:lnTo>
                  <a:pt x="6502" y="4946"/>
                </a:lnTo>
                <a:lnTo>
                  <a:pt x="6498" y="4954"/>
                </a:lnTo>
                <a:lnTo>
                  <a:pt x="6494" y="4960"/>
                </a:lnTo>
                <a:lnTo>
                  <a:pt x="6488" y="4970"/>
                </a:lnTo>
                <a:lnTo>
                  <a:pt x="6486" y="4974"/>
                </a:lnTo>
                <a:lnTo>
                  <a:pt x="6486" y="4978"/>
                </a:lnTo>
                <a:lnTo>
                  <a:pt x="6486" y="4982"/>
                </a:lnTo>
                <a:lnTo>
                  <a:pt x="6488" y="4984"/>
                </a:lnTo>
                <a:lnTo>
                  <a:pt x="6494" y="4984"/>
                </a:lnTo>
                <a:lnTo>
                  <a:pt x="6496" y="4984"/>
                </a:lnTo>
                <a:lnTo>
                  <a:pt x="6496" y="4988"/>
                </a:lnTo>
                <a:lnTo>
                  <a:pt x="6494" y="4994"/>
                </a:lnTo>
                <a:lnTo>
                  <a:pt x="6496" y="4998"/>
                </a:lnTo>
                <a:lnTo>
                  <a:pt x="6498" y="5002"/>
                </a:lnTo>
                <a:lnTo>
                  <a:pt x="6496" y="5006"/>
                </a:lnTo>
                <a:lnTo>
                  <a:pt x="6494" y="5006"/>
                </a:lnTo>
                <a:lnTo>
                  <a:pt x="6492" y="5004"/>
                </a:lnTo>
                <a:lnTo>
                  <a:pt x="6490" y="5004"/>
                </a:lnTo>
                <a:lnTo>
                  <a:pt x="6486" y="5006"/>
                </a:lnTo>
                <a:lnTo>
                  <a:pt x="6486" y="5010"/>
                </a:lnTo>
                <a:lnTo>
                  <a:pt x="6486" y="5014"/>
                </a:lnTo>
                <a:lnTo>
                  <a:pt x="6490" y="5018"/>
                </a:lnTo>
                <a:lnTo>
                  <a:pt x="6500" y="5024"/>
                </a:lnTo>
                <a:lnTo>
                  <a:pt x="6510" y="5026"/>
                </a:lnTo>
                <a:lnTo>
                  <a:pt x="6514" y="5028"/>
                </a:lnTo>
                <a:lnTo>
                  <a:pt x="6516" y="5030"/>
                </a:lnTo>
                <a:lnTo>
                  <a:pt x="6514" y="5032"/>
                </a:lnTo>
                <a:lnTo>
                  <a:pt x="6512" y="5034"/>
                </a:lnTo>
                <a:lnTo>
                  <a:pt x="6508" y="5034"/>
                </a:lnTo>
                <a:lnTo>
                  <a:pt x="6502" y="5034"/>
                </a:lnTo>
                <a:lnTo>
                  <a:pt x="6498" y="5034"/>
                </a:lnTo>
                <a:lnTo>
                  <a:pt x="6494" y="5030"/>
                </a:lnTo>
                <a:lnTo>
                  <a:pt x="6488" y="5022"/>
                </a:lnTo>
                <a:lnTo>
                  <a:pt x="6486" y="5022"/>
                </a:lnTo>
                <a:lnTo>
                  <a:pt x="6484" y="5022"/>
                </a:lnTo>
                <a:lnTo>
                  <a:pt x="6484" y="5026"/>
                </a:lnTo>
                <a:lnTo>
                  <a:pt x="6484" y="5038"/>
                </a:lnTo>
                <a:lnTo>
                  <a:pt x="6484" y="5052"/>
                </a:lnTo>
                <a:lnTo>
                  <a:pt x="6480" y="5066"/>
                </a:lnTo>
                <a:lnTo>
                  <a:pt x="6476" y="5070"/>
                </a:lnTo>
                <a:lnTo>
                  <a:pt x="6474" y="5072"/>
                </a:lnTo>
                <a:lnTo>
                  <a:pt x="6470" y="5072"/>
                </a:lnTo>
                <a:lnTo>
                  <a:pt x="6466" y="5070"/>
                </a:lnTo>
                <a:lnTo>
                  <a:pt x="6460" y="5066"/>
                </a:lnTo>
                <a:lnTo>
                  <a:pt x="6460" y="5068"/>
                </a:lnTo>
                <a:lnTo>
                  <a:pt x="6462" y="5076"/>
                </a:lnTo>
                <a:lnTo>
                  <a:pt x="6468" y="5092"/>
                </a:lnTo>
                <a:lnTo>
                  <a:pt x="6480" y="5120"/>
                </a:lnTo>
                <a:lnTo>
                  <a:pt x="6484" y="5130"/>
                </a:lnTo>
                <a:lnTo>
                  <a:pt x="6488" y="5136"/>
                </a:lnTo>
                <a:lnTo>
                  <a:pt x="6494" y="5144"/>
                </a:lnTo>
                <a:lnTo>
                  <a:pt x="6498" y="5152"/>
                </a:lnTo>
                <a:lnTo>
                  <a:pt x="6504" y="5162"/>
                </a:lnTo>
                <a:lnTo>
                  <a:pt x="6514" y="5174"/>
                </a:lnTo>
                <a:lnTo>
                  <a:pt x="6536" y="5198"/>
                </a:lnTo>
                <a:lnTo>
                  <a:pt x="6544" y="5208"/>
                </a:lnTo>
                <a:lnTo>
                  <a:pt x="6546" y="5214"/>
                </a:lnTo>
                <a:lnTo>
                  <a:pt x="6556" y="5224"/>
                </a:lnTo>
                <a:lnTo>
                  <a:pt x="6576" y="5248"/>
                </a:lnTo>
                <a:lnTo>
                  <a:pt x="6582" y="5256"/>
                </a:lnTo>
                <a:lnTo>
                  <a:pt x="6584" y="5264"/>
                </a:lnTo>
                <a:lnTo>
                  <a:pt x="6588" y="5274"/>
                </a:lnTo>
                <a:lnTo>
                  <a:pt x="6594" y="5282"/>
                </a:lnTo>
                <a:lnTo>
                  <a:pt x="6600" y="5292"/>
                </a:lnTo>
                <a:lnTo>
                  <a:pt x="6600" y="5296"/>
                </a:lnTo>
                <a:lnTo>
                  <a:pt x="6600" y="5302"/>
                </a:lnTo>
                <a:lnTo>
                  <a:pt x="6598" y="5310"/>
                </a:lnTo>
                <a:lnTo>
                  <a:pt x="6598" y="5314"/>
                </a:lnTo>
                <a:lnTo>
                  <a:pt x="6600" y="5314"/>
                </a:lnTo>
                <a:lnTo>
                  <a:pt x="6602" y="5318"/>
                </a:lnTo>
                <a:lnTo>
                  <a:pt x="6606" y="5324"/>
                </a:lnTo>
                <a:lnTo>
                  <a:pt x="6608" y="5324"/>
                </a:lnTo>
                <a:lnTo>
                  <a:pt x="6614" y="5322"/>
                </a:lnTo>
                <a:lnTo>
                  <a:pt x="6620" y="5320"/>
                </a:lnTo>
                <a:lnTo>
                  <a:pt x="6626" y="5318"/>
                </a:lnTo>
                <a:lnTo>
                  <a:pt x="6630" y="5316"/>
                </a:lnTo>
                <a:lnTo>
                  <a:pt x="6638" y="5318"/>
                </a:lnTo>
                <a:lnTo>
                  <a:pt x="6630" y="5324"/>
                </a:lnTo>
                <a:lnTo>
                  <a:pt x="6624" y="5328"/>
                </a:lnTo>
                <a:lnTo>
                  <a:pt x="6612" y="5330"/>
                </a:lnTo>
                <a:lnTo>
                  <a:pt x="6606" y="5332"/>
                </a:lnTo>
                <a:lnTo>
                  <a:pt x="6604" y="5334"/>
                </a:lnTo>
                <a:lnTo>
                  <a:pt x="6606" y="5336"/>
                </a:lnTo>
                <a:lnTo>
                  <a:pt x="6616" y="5358"/>
                </a:lnTo>
                <a:lnTo>
                  <a:pt x="6630" y="5394"/>
                </a:lnTo>
                <a:lnTo>
                  <a:pt x="6638" y="5416"/>
                </a:lnTo>
                <a:lnTo>
                  <a:pt x="6642" y="5434"/>
                </a:lnTo>
                <a:lnTo>
                  <a:pt x="6642" y="5450"/>
                </a:lnTo>
                <a:lnTo>
                  <a:pt x="6642" y="5456"/>
                </a:lnTo>
                <a:lnTo>
                  <a:pt x="6638" y="5460"/>
                </a:lnTo>
                <a:lnTo>
                  <a:pt x="6634" y="5470"/>
                </a:lnTo>
                <a:lnTo>
                  <a:pt x="6634" y="5480"/>
                </a:lnTo>
                <a:lnTo>
                  <a:pt x="6636" y="5490"/>
                </a:lnTo>
                <a:lnTo>
                  <a:pt x="6638" y="5502"/>
                </a:lnTo>
                <a:lnTo>
                  <a:pt x="6650" y="5526"/>
                </a:lnTo>
                <a:lnTo>
                  <a:pt x="6660" y="5552"/>
                </a:lnTo>
                <a:lnTo>
                  <a:pt x="6664" y="5564"/>
                </a:lnTo>
                <a:lnTo>
                  <a:pt x="6666" y="5578"/>
                </a:lnTo>
                <a:lnTo>
                  <a:pt x="6668" y="5592"/>
                </a:lnTo>
                <a:lnTo>
                  <a:pt x="6666" y="5606"/>
                </a:lnTo>
                <a:lnTo>
                  <a:pt x="6664" y="5618"/>
                </a:lnTo>
                <a:lnTo>
                  <a:pt x="6658" y="5630"/>
                </a:lnTo>
                <a:lnTo>
                  <a:pt x="6652" y="5642"/>
                </a:lnTo>
                <a:lnTo>
                  <a:pt x="6642" y="5650"/>
                </a:lnTo>
                <a:lnTo>
                  <a:pt x="6634" y="5658"/>
                </a:lnTo>
                <a:lnTo>
                  <a:pt x="6628" y="5666"/>
                </a:lnTo>
                <a:lnTo>
                  <a:pt x="6622" y="5674"/>
                </a:lnTo>
                <a:lnTo>
                  <a:pt x="6618" y="5684"/>
                </a:lnTo>
                <a:lnTo>
                  <a:pt x="6610" y="5704"/>
                </a:lnTo>
                <a:lnTo>
                  <a:pt x="6606" y="5724"/>
                </a:lnTo>
                <a:lnTo>
                  <a:pt x="6600" y="5764"/>
                </a:lnTo>
                <a:lnTo>
                  <a:pt x="6598" y="5782"/>
                </a:lnTo>
                <a:lnTo>
                  <a:pt x="6592" y="5794"/>
                </a:lnTo>
                <a:lnTo>
                  <a:pt x="6586" y="5806"/>
                </a:lnTo>
                <a:lnTo>
                  <a:pt x="6582" y="5816"/>
                </a:lnTo>
                <a:lnTo>
                  <a:pt x="6582" y="5826"/>
                </a:lnTo>
                <a:lnTo>
                  <a:pt x="6582" y="5836"/>
                </a:lnTo>
                <a:lnTo>
                  <a:pt x="6584" y="5854"/>
                </a:lnTo>
                <a:lnTo>
                  <a:pt x="6584" y="5868"/>
                </a:lnTo>
                <a:lnTo>
                  <a:pt x="6582" y="5882"/>
                </a:lnTo>
                <a:lnTo>
                  <a:pt x="6580" y="5892"/>
                </a:lnTo>
                <a:lnTo>
                  <a:pt x="6582" y="5900"/>
                </a:lnTo>
                <a:lnTo>
                  <a:pt x="6586" y="5920"/>
                </a:lnTo>
                <a:lnTo>
                  <a:pt x="6594" y="5938"/>
                </a:lnTo>
                <a:lnTo>
                  <a:pt x="6604" y="5960"/>
                </a:lnTo>
                <a:lnTo>
                  <a:pt x="6628" y="6004"/>
                </a:lnTo>
                <a:lnTo>
                  <a:pt x="6638" y="6030"/>
                </a:lnTo>
                <a:lnTo>
                  <a:pt x="6646" y="6060"/>
                </a:lnTo>
                <a:lnTo>
                  <a:pt x="6654" y="6084"/>
                </a:lnTo>
                <a:lnTo>
                  <a:pt x="6664" y="6102"/>
                </a:lnTo>
                <a:lnTo>
                  <a:pt x="6672" y="6112"/>
                </a:lnTo>
                <a:lnTo>
                  <a:pt x="6682" y="6122"/>
                </a:lnTo>
                <a:lnTo>
                  <a:pt x="6688" y="6132"/>
                </a:lnTo>
                <a:lnTo>
                  <a:pt x="6692" y="6144"/>
                </a:lnTo>
                <a:lnTo>
                  <a:pt x="6692" y="6164"/>
                </a:lnTo>
                <a:lnTo>
                  <a:pt x="6690" y="6194"/>
                </a:lnTo>
                <a:lnTo>
                  <a:pt x="6688" y="6208"/>
                </a:lnTo>
                <a:lnTo>
                  <a:pt x="6690" y="6226"/>
                </a:lnTo>
                <a:lnTo>
                  <a:pt x="6698" y="6266"/>
                </a:lnTo>
                <a:lnTo>
                  <a:pt x="6708" y="6312"/>
                </a:lnTo>
                <a:lnTo>
                  <a:pt x="6712" y="6334"/>
                </a:lnTo>
                <a:lnTo>
                  <a:pt x="6714" y="6356"/>
                </a:lnTo>
                <a:lnTo>
                  <a:pt x="6718" y="6376"/>
                </a:lnTo>
                <a:lnTo>
                  <a:pt x="6722" y="6394"/>
                </a:lnTo>
                <a:lnTo>
                  <a:pt x="6730" y="6408"/>
                </a:lnTo>
                <a:lnTo>
                  <a:pt x="6738" y="6422"/>
                </a:lnTo>
                <a:lnTo>
                  <a:pt x="6748" y="6432"/>
                </a:lnTo>
                <a:lnTo>
                  <a:pt x="6756" y="6442"/>
                </a:lnTo>
                <a:lnTo>
                  <a:pt x="6772" y="6456"/>
                </a:lnTo>
                <a:lnTo>
                  <a:pt x="6782" y="6470"/>
                </a:lnTo>
                <a:lnTo>
                  <a:pt x="6788" y="6484"/>
                </a:lnTo>
                <a:lnTo>
                  <a:pt x="6792" y="6498"/>
                </a:lnTo>
                <a:lnTo>
                  <a:pt x="6796" y="6514"/>
                </a:lnTo>
                <a:lnTo>
                  <a:pt x="6800" y="6530"/>
                </a:lnTo>
                <a:lnTo>
                  <a:pt x="6806" y="6548"/>
                </a:lnTo>
                <a:lnTo>
                  <a:pt x="6816" y="6568"/>
                </a:lnTo>
                <a:lnTo>
                  <a:pt x="6830" y="6592"/>
                </a:lnTo>
                <a:lnTo>
                  <a:pt x="6840" y="6612"/>
                </a:lnTo>
                <a:lnTo>
                  <a:pt x="6848" y="6630"/>
                </a:lnTo>
                <a:lnTo>
                  <a:pt x="6850" y="6644"/>
                </a:lnTo>
                <a:lnTo>
                  <a:pt x="6850" y="6656"/>
                </a:lnTo>
                <a:lnTo>
                  <a:pt x="6846" y="6666"/>
                </a:lnTo>
                <a:lnTo>
                  <a:pt x="6844" y="6672"/>
                </a:lnTo>
                <a:lnTo>
                  <a:pt x="6840" y="6674"/>
                </a:lnTo>
                <a:lnTo>
                  <a:pt x="6836" y="6674"/>
                </a:lnTo>
                <a:lnTo>
                  <a:pt x="6834" y="6672"/>
                </a:lnTo>
                <a:lnTo>
                  <a:pt x="6832" y="6672"/>
                </a:lnTo>
                <a:lnTo>
                  <a:pt x="6830" y="6674"/>
                </a:lnTo>
                <a:lnTo>
                  <a:pt x="6828" y="6676"/>
                </a:lnTo>
                <a:lnTo>
                  <a:pt x="6828" y="6682"/>
                </a:lnTo>
                <a:lnTo>
                  <a:pt x="6830" y="6686"/>
                </a:lnTo>
                <a:lnTo>
                  <a:pt x="6832" y="6694"/>
                </a:lnTo>
                <a:lnTo>
                  <a:pt x="6836" y="6700"/>
                </a:lnTo>
                <a:lnTo>
                  <a:pt x="6846" y="6714"/>
                </a:lnTo>
                <a:lnTo>
                  <a:pt x="6850" y="6722"/>
                </a:lnTo>
                <a:lnTo>
                  <a:pt x="6852" y="6730"/>
                </a:lnTo>
                <a:lnTo>
                  <a:pt x="6848" y="6734"/>
                </a:lnTo>
                <a:lnTo>
                  <a:pt x="6846" y="6738"/>
                </a:lnTo>
                <a:lnTo>
                  <a:pt x="6846" y="6742"/>
                </a:lnTo>
                <a:lnTo>
                  <a:pt x="6848" y="6752"/>
                </a:lnTo>
                <a:lnTo>
                  <a:pt x="6850" y="6758"/>
                </a:lnTo>
                <a:lnTo>
                  <a:pt x="6852" y="6756"/>
                </a:lnTo>
                <a:lnTo>
                  <a:pt x="6854" y="6754"/>
                </a:lnTo>
                <a:lnTo>
                  <a:pt x="6854" y="6750"/>
                </a:lnTo>
                <a:lnTo>
                  <a:pt x="6856" y="6746"/>
                </a:lnTo>
                <a:lnTo>
                  <a:pt x="6858" y="6744"/>
                </a:lnTo>
                <a:lnTo>
                  <a:pt x="6862" y="6744"/>
                </a:lnTo>
                <a:lnTo>
                  <a:pt x="6864" y="6744"/>
                </a:lnTo>
                <a:lnTo>
                  <a:pt x="6866" y="6746"/>
                </a:lnTo>
                <a:lnTo>
                  <a:pt x="6868" y="6748"/>
                </a:lnTo>
                <a:lnTo>
                  <a:pt x="6868" y="6752"/>
                </a:lnTo>
                <a:lnTo>
                  <a:pt x="6870" y="6758"/>
                </a:lnTo>
                <a:lnTo>
                  <a:pt x="6870" y="6760"/>
                </a:lnTo>
                <a:lnTo>
                  <a:pt x="6874" y="6760"/>
                </a:lnTo>
                <a:lnTo>
                  <a:pt x="6876" y="6760"/>
                </a:lnTo>
                <a:lnTo>
                  <a:pt x="6882" y="6762"/>
                </a:lnTo>
                <a:lnTo>
                  <a:pt x="6884" y="6764"/>
                </a:lnTo>
                <a:lnTo>
                  <a:pt x="6886" y="6768"/>
                </a:lnTo>
                <a:lnTo>
                  <a:pt x="6888" y="6774"/>
                </a:lnTo>
                <a:lnTo>
                  <a:pt x="6890" y="6776"/>
                </a:lnTo>
                <a:lnTo>
                  <a:pt x="6894" y="6776"/>
                </a:lnTo>
                <a:lnTo>
                  <a:pt x="6898" y="6780"/>
                </a:lnTo>
                <a:lnTo>
                  <a:pt x="6902" y="6782"/>
                </a:lnTo>
                <a:lnTo>
                  <a:pt x="6906" y="6782"/>
                </a:lnTo>
                <a:lnTo>
                  <a:pt x="6910" y="6782"/>
                </a:lnTo>
                <a:lnTo>
                  <a:pt x="6916" y="6782"/>
                </a:lnTo>
                <a:lnTo>
                  <a:pt x="6918" y="6782"/>
                </a:lnTo>
                <a:lnTo>
                  <a:pt x="6920" y="6782"/>
                </a:lnTo>
                <a:lnTo>
                  <a:pt x="6924" y="6774"/>
                </a:lnTo>
                <a:lnTo>
                  <a:pt x="6932" y="6768"/>
                </a:lnTo>
                <a:lnTo>
                  <a:pt x="6936" y="6764"/>
                </a:lnTo>
                <a:lnTo>
                  <a:pt x="6944" y="6762"/>
                </a:lnTo>
                <a:lnTo>
                  <a:pt x="6956" y="6762"/>
                </a:lnTo>
                <a:lnTo>
                  <a:pt x="6962" y="6764"/>
                </a:lnTo>
                <a:lnTo>
                  <a:pt x="6970" y="6764"/>
                </a:lnTo>
                <a:lnTo>
                  <a:pt x="6982" y="6760"/>
                </a:lnTo>
                <a:lnTo>
                  <a:pt x="6988" y="6758"/>
                </a:lnTo>
                <a:lnTo>
                  <a:pt x="6994" y="6754"/>
                </a:lnTo>
                <a:lnTo>
                  <a:pt x="7000" y="6748"/>
                </a:lnTo>
                <a:lnTo>
                  <a:pt x="7004" y="6742"/>
                </a:lnTo>
                <a:lnTo>
                  <a:pt x="7008" y="6740"/>
                </a:lnTo>
                <a:lnTo>
                  <a:pt x="7012" y="6740"/>
                </a:lnTo>
                <a:lnTo>
                  <a:pt x="7024" y="6740"/>
                </a:lnTo>
                <a:lnTo>
                  <a:pt x="7036" y="6742"/>
                </a:lnTo>
                <a:lnTo>
                  <a:pt x="7046" y="6744"/>
                </a:lnTo>
                <a:lnTo>
                  <a:pt x="7052" y="6744"/>
                </a:lnTo>
                <a:lnTo>
                  <a:pt x="7056" y="6742"/>
                </a:lnTo>
                <a:lnTo>
                  <a:pt x="7062" y="6740"/>
                </a:lnTo>
                <a:lnTo>
                  <a:pt x="7068" y="6742"/>
                </a:lnTo>
                <a:lnTo>
                  <a:pt x="7084" y="6746"/>
                </a:lnTo>
                <a:lnTo>
                  <a:pt x="7092" y="6750"/>
                </a:lnTo>
                <a:lnTo>
                  <a:pt x="7098" y="6750"/>
                </a:lnTo>
                <a:lnTo>
                  <a:pt x="7106" y="6748"/>
                </a:lnTo>
                <a:lnTo>
                  <a:pt x="7112" y="6744"/>
                </a:lnTo>
                <a:lnTo>
                  <a:pt x="7116" y="6740"/>
                </a:lnTo>
                <a:lnTo>
                  <a:pt x="7122" y="6738"/>
                </a:lnTo>
                <a:lnTo>
                  <a:pt x="7128" y="6738"/>
                </a:lnTo>
                <a:lnTo>
                  <a:pt x="7134" y="6740"/>
                </a:lnTo>
                <a:lnTo>
                  <a:pt x="7142" y="6742"/>
                </a:lnTo>
                <a:lnTo>
                  <a:pt x="7144" y="6740"/>
                </a:lnTo>
                <a:lnTo>
                  <a:pt x="7144" y="6734"/>
                </a:lnTo>
                <a:lnTo>
                  <a:pt x="7144" y="6730"/>
                </a:lnTo>
                <a:lnTo>
                  <a:pt x="7148" y="6728"/>
                </a:lnTo>
                <a:lnTo>
                  <a:pt x="7152" y="6726"/>
                </a:lnTo>
                <a:lnTo>
                  <a:pt x="7160" y="6726"/>
                </a:lnTo>
                <a:lnTo>
                  <a:pt x="7168" y="6726"/>
                </a:lnTo>
                <a:lnTo>
                  <a:pt x="7178" y="6726"/>
                </a:lnTo>
                <a:lnTo>
                  <a:pt x="7188" y="6724"/>
                </a:lnTo>
                <a:lnTo>
                  <a:pt x="7196" y="6718"/>
                </a:lnTo>
                <a:lnTo>
                  <a:pt x="7214" y="6704"/>
                </a:lnTo>
                <a:lnTo>
                  <a:pt x="7236" y="6686"/>
                </a:lnTo>
                <a:lnTo>
                  <a:pt x="7262" y="6662"/>
                </a:lnTo>
                <a:lnTo>
                  <a:pt x="7276" y="6646"/>
                </a:lnTo>
                <a:lnTo>
                  <a:pt x="7288" y="6626"/>
                </a:lnTo>
                <a:lnTo>
                  <a:pt x="7296" y="6618"/>
                </a:lnTo>
                <a:lnTo>
                  <a:pt x="7302" y="6610"/>
                </a:lnTo>
                <a:lnTo>
                  <a:pt x="7316" y="6598"/>
                </a:lnTo>
                <a:lnTo>
                  <a:pt x="7324" y="6588"/>
                </a:lnTo>
                <a:lnTo>
                  <a:pt x="7334" y="6574"/>
                </a:lnTo>
                <a:lnTo>
                  <a:pt x="7344" y="6554"/>
                </a:lnTo>
                <a:lnTo>
                  <a:pt x="7356" y="6528"/>
                </a:lnTo>
                <a:lnTo>
                  <a:pt x="7372" y="6498"/>
                </a:lnTo>
                <a:lnTo>
                  <a:pt x="7384" y="6480"/>
                </a:lnTo>
                <a:lnTo>
                  <a:pt x="7396" y="6468"/>
                </a:lnTo>
                <a:lnTo>
                  <a:pt x="7406" y="6460"/>
                </a:lnTo>
                <a:lnTo>
                  <a:pt x="7416" y="6448"/>
                </a:lnTo>
                <a:lnTo>
                  <a:pt x="7424" y="6432"/>
                </a:lnTo>
                <a:lnTo>
                  <a:pt x="7430" y="6406"/>
                </a:lnTo>
                <a:lnTo>
                  <a:pt x="7436" y="6366"/>
                </a:lnTo>
                <a:lnTo>
                  <a:pt x="7438" y="6338"/>
                </a:lnTo>
                <a:lnTo>
                  <a:pt x="7438" y="6332"/>
                </a:lnTo>
                <a:lnTo>
                  <a:pt x="7436" y="6330"/>
                </a:lnTo>
                <a:lnTo>
                  <a:pt x="7430" y="6332"/>
                </a:lnTo>
                <a:lnTo>
                  <a:pt x="7428" y="6330"/>
                </a:lnTo>
                <a:lnTo>
                  <a:pt x="7426" y="6326"/>
                </a:lnTo>
                <a:lnTo>
                  <a:pt x="7426" y="6320"/>
                </a:lnTo>
                <a:lnTo>
                  <a:pt x="7428" y="6312"/>
                </a:lnTo>
                <a:lnTo>
                  <a:pt x="7434" y="6304"/>
                </a:lnTo>
                <a:lnTo>
                  <a:pt x="7440" y="6296"/>
                </a:lnTo>
                <a:lnTo>
                  <a:pt x="7450" y="6288"/>
                </a:lnTo>
                <a:lnTo>
                  <a:pt x="7462" y="6280"/>
                </a:lnTo>
                <a:lnTo>
                  <a:pt x="7474" y="6274"/>
                </a:lnTo>
                <a:lnTo>
                  <a:pt x="7488" y="6268"/>
                </a:lnTo>
                <a:lnTo>
                  <a:pt x="7502" y="6262"/>
                </a:lnTo>
                <a:lnTo>
                  <a:pt x="7514" y="6256"/>
                </a:lnTo>
                <a:lnTo>
                  <a:pt x="7524" y="6248"/>
                </a:lnTo>
                <a:lnTo>
                  <a:pt x="7530" y="6242"/>
                </a:lnTo>
                <a:lnTo>
                  <a:pt x="7536" y="6234"/>
                </a:lnTo>
                <a:lnTo>
                  <a:pt x="7540" y="6226"/>
                </a:lnTo>
                <a:lnTo>
                  <a:pt x="7540" y="6218"/>
                </a:lnTo>
                <a:lnTo>
                  <a:pt x="7538" y="6210"/>
                </a:lnTo>
                <a:lnTo>
                  <a:pt x="7534" y="6206"/>
                </a:lnTo>
                <a:lnTo>
                  <a:pt x="7534" y="6200"/>
                </a:lnTo>
                <a:lnTo>
                  <a:pt x="7536" y="6188"/>
                </a:lnTo>
                <a:lnTo>
                  <a:pt x="7540" y="6172"/>
                </a:lnTo>
                <a:lnTo>
                  <a:pt x="7542" y="6160"/>
                </a:lnTo>
                <a:lnTo>
                  <a:pt x="7542" y="6146"/>
                </a:lnTo>
                <a:lnTo>
                  <a:pt x="7540" y="6126"/>
                </a:lnTo>
                <a:lnTo>
                  <a:pt x="7538" y="6128"/>
                </a:lnTo>
                <a:lnTo>
                  <a:pt x="7536" y="6130"/>
                </a:lnTo>
                <a:lnTo>
                  <a:pt x="7534" y="6130"/>
                </a:lnTo>
                <a:lnTo>
                  <a:pt x="7532" y="6126"/>
                </a:lnTo>
                <a:lnTo>
                  <a:pt x="7530" y="6118"/>
                </a:lnTo>
                <a:lnTo>
                  <a:pt x="7526" y="6090"/>
                </a:lnTo>
                <a:lnTo>
                  <a:pt x="7524" y="6074"/>
                </a:lnTo>
                <a:lnTo>
                  <a:pt x="7522" y="6064"/>
                </a:lnTo>
                <a:lnTo>
                  <a:pt x="7512" y="6052"/>
                </a:lnTo>
                <a:lnTo>
                  <a:pt x="7508" y="6046"/>
                </a:lnTo>
                <a:lnTo>
                  <a:pt x="7506" y="6042"/>
                </a:lnTo>
                <a:lnTo>
                  <a:pt x="7506" y="6034"/>
                </a:lnTo>
                <a:lnTo>
                  <a:pt x="7508" y="6026"/>
                </a:lnTo>
                <a:lnTo>
                  <a:pt x="7508" y="6016"/>
                </a:lnTo>
                <a:lnTo>
                  <a:pt x="7508" y="6010"/>
                </a:lnTo>
                <a:lnTo>
                  <a:pt x="7514" y="6008"/>
                </a:lnTo>
                <a:lnTo>
                  <a:pt x="7518" y="6008"/>
                </a:lnTo>
                <a:lnTo>
                  <a:pt x="7524" y="6004"/>
                </a:lnTo>
                <a:lnTo>
                  <a:pt x="7530" y="5998"/>
                </a:lnTo>
                <a:lnTo>
                  <a:pt x="7540" y="5988"/>
                </a:lnTo>
                <a:lnTo>
                  <a:pt x="7548" y="5976"/>
                </a:lnTo>
                <a:lnTo>
                  <a:pt x="7556" y="5972"/>
                </a:lnTo>
                <a:lnTo>
                  <a:pt x="7566" y="5966"/>
                </a:lnTo>
                <a:lnTo>
                  <a:pt x="7570" y="5964"/>
                </a:lnTo>
                <a:lnTo>
                  <a:pt x="7576" y="5960"/>
                </a:lnTo>
                <a:lnTo>
                  <a:pt x="7582" y="5950"/>
                </a:lnTo>
                <a:lnTo>
                  <a:pt x="7590" y="5936"/>
                </a:lnTo>
                <a:lnTo>
                  <a:pt x="7600" y="5918"/>
                </a:lnTo>
                <a:lnTo>
                  <a:pt x="7610" y="5906"/>
                </a:lnTo>
                <a:lnTo>
                  <a:pt x="7620" y="5896"/>
                </a:lnTo>
                <a:lnTo>
                  <a:pt x="7630" y="5888"/>
                </a:lnTo>
                <a:lnTo>
                  <a:pt x="7640" y="5884"/>
                </a:lnTo>
                <a:lnTo>
                  <a:pt x="7650" y="5880"/>
                </a:lnTo>
                <a:lnTo>
                  <a:pt x="7670" y="5874"/>
                </a:lnTo>
                <a:lnTo>
                  <a:pt x="7680" y="5868"/>
                </a:lnTo>
                <a:lnTo>
                  <a:pt x="7690" y="5862"/>
                </a:lnTo>
                <a:lnTo>
                  <a:pt x="7698" y="5854"/>
                </a:lnTo>
                <a:lnTo>
                  <a:pt x="7708" y="5844"/>
                </a:lnTo>
                <a:lnTo>
                  <a:pt x="7724" y="5822"/>
                </a:lnTo>
                <a:lnTo>
                  <a:pt x="7742" y="5792"/>
                </a:lnTo>
                <a:lnTo>
                  <a:pt x="7748" y="5778"/>
                </a:lnTo>
                <a:lnTo>
                  <a:pt x="7748" y="5774"/>
                </a:lnTo>
                <a:lnTo>
                  <a:pt x="7748" y="5772"/>
                </a:lnTo>
                <a:lnTo>
                  <a:pt x="7752" y="5762"/>
                </a:lnTo>
                <a:lnTo>
                  <a:pt x="7756" y="5754"/>
                </a:lnTo>
                <a:lnTo>
                  <a:pt x="7756" y="5748"/>
                </a:lnTo>
                <a:lnTo>
                  <a:pt x="7754" y="5744"/>
                </a:lnTo>
                <a:lnTo>
                  <a:pt x="7752" y="5742"/>
                </a:lnTo>
                <a:lnTo>
                  <a:pt x="7748" y="5736"/>
                </a:lnTo>
                <a:lnTo>
                  <a:pt x="7744" y="5730"/>
                </a:lnTo>
                <a:lnTo>
                  <a:pt x="7742" y="5720"/>
                </a:lnTo>
                <a:lnTo>
                  <a:pt x="7742" y="5706"/>
                </a:lnTo>
                <a:lnTo>
                  <a:pt x="7744" y="5654"/>
                </a:lnTo>
                <a:lnTo>
                  <a:pt x="7742" y="5632"/>
                </a:lnTo>
                <a:lnTo>
                  <a:pt x="7738" y="5610"/>
                </a:lnTo>
                <a:lnTo>
                  <a:pt x="7738" y="5596"/>
                </a:lnTo>
                <a:lnTo>
                  <a:pt x="7740" y="5588"/>
                </a:lnTo>
                <a:lnTo>
                  <a:pt x="7742" y="5582"/>
                </a:lnTo>
                <a:lnTo>
                  <a:pt x="7746" y="5578"/>
                </a:lnTo>
                <a:lnTo>
                  <a:pt x="7748" y="5576"/>
                </a:lnTo>
                <a:lnTo>
                  <a:pt x="7748" y="5570"/>
                </a:lnTo>
                <a:lnTo>
                  <a:pt x="7746" y="5562"/>
                </a:lnTo>
                <a:lnTo>
                  <a:pt x="7738" y="5550"/>
                </a:lnTo>
                <a:lnTo>
                  <a:pt x="7728" y="5538"/>
                </a:lnTo>
                <a:lnTo>
                  <a:pt x="7722" y="5536"/>
                </a:lnTo>
                <a:lnTo>
                  <a:pt x="7716" y="5532"/>
                </a:lnTo>
                <a:lnTo>
                  <a:pt x="7712" y="5524"/>
                </a:lnTo>
                <a:lnTo>
                  <a:pt x="7708" y="5512"/>
                </a:lnTo>
                <a:lnTo>
                  <a:pt x="7708" y="5502"/>
                </a:lnTo>
                <a:lnTo>
                  <a:pt x="7704" y="5488"/>
                </a:lnTo>
                <a:lnTo>
                  <a:pt x="7696" y="5466"/>
                </a:lnTo>
                <a:lnTo>
                  <a:pt x="7692" y="5454"/>
                </a:lnTo>
                <a:lnTo>
                  <a:pt x="7692" y="5446"/>
                </a:lnTo>
                <a:lnTo>
                  <a:pt x="7692" y="5440"/>
                </a:lnTo>
                <a:lnTo>
                  <a:pt x="7694" y="5436"/>
                </a:lnTo>
                <a:lnTo>
                  <a:pt x="7698" y="5432"/>
                </a:lnTo>
                <a:lnTo>
                  <a:pt x="7700" y="5428"/>
                </a:lnTo>
                <a:lnTo>
                  <a:pt x="7700" y="5422"/>
                </a:lnTo>
                <a:lnTo>
                  <a:pt x="7696" y="5414"/>
                </a:lnTo>
                <a:lnTo>
                  <a:pt x="7694" y="5402"/>
                </a:lnTo>
                <a:lnTo>
                  <a:pt x="7692" y="5396"/>
                </a:lnTo>
                <a:lnTo>
                  <a:pt x="7694" y="5390"/>
                </a:lnTo>
                <a:lnTo>
                  <a:pt x="7696" y="5388"/>
                </a:lnTo>
                <a:lnTo>
                  <a:pt x="7700" y="5386"/>
                </a:lnTo>
                <a:lnTo>
                  <a:pt x="7700" y="5384"/>
                </a:lnTo>
                <a:lnTo>
                  <a:pt x="7700" y="5380"/>
                </a:lnTo>
                <a:lnTo>
                  <a:pt x="7698" y="5374"/>
                </a:lnTo>
                <a:lnTo>
                  <a:pt x="7686" y="5360"/>
                </a:lnTo>
                <a:lnTo>
                  <a:pt x="7676" y="5348"/>
                </a:lnTo>
                <a:lnTo>
                  <a:pt x="7672" y="5340"/>
                </a:lnTo>
                <a:lnTo>
                  <a:pt x="7670" y="5330"/>
                </a:lnTo>
                <a:lnTo>
                  <a:pt x="7672" y="5318"/>
                </a:lnTo>
                <a:lnTo>
                  <a:pt x="7676" y="5304"/>
                </a:lnTo>
                <a:lnTo>
                  <a:pt x="7680" y="5294"/>
                </a:lnTo>
                <a:lnTo>
                  <a:pt x="7682" y="5286"/>
                </a:lnTo>
                <a:lnTo>
                  <a:pt x="7686" y="5278"/>
                </a:lnTo>
                <a:lnTo>
                  <a:pt x="7692" y="5264"/>
                </a:lnTo>
                <a:lnTo>
                  <a:pt x="7708" y="5240"/>
                </a:lnTo>
                <a:lnTo>
                  <a:pt x="7712" y="5228"/>
                </a:lnTo>
                <a:lnTo>
                  <a:pt x="7714" y="5214"/>
                </a:lnTo>
                <a:lnTo>
                  <a:pt x="7716" y="5208"/>
                </a:lnTo>
                <a:lnTo>
                  <a:pt x="7718" y="5204"/>
                </a:lnTo>
                <a:lnTo>
                  <a:pt x="7724" y="5202"/>
                </a:lnTo>
                <a:lnTo>
                  <a:pt x="7726" y="5200"/>
                </a:lnTo>
                <a:lnTo>
                  <a:pt x="7728" y="5198"/>
                </a:lnTo>
                <a:lnTo>
                  <a:pt x="7728" y="5192"/>
                </a:lnTo>
                <a:lnTo>
                  <a:pt x="7728" y="5182"/>
                </a:lnTo>
                <a:lnTo>
                  <a:pt x="7728" y="5170"/>
                </a:lnTo>
                <a:lnTo>
                  <a:pt x="7732" y="5164"/>
                </a:lnTo>
                <a:lnTo>
                  <a:pt x="7736" y="5160"/>
                </a:lnTo>
                <a:lnTo>
                  <a:pt x="7744" y="5158"/>
                </a:lnTo>
                <a:lnTo>
                  <a:pt x="7754" y="5154"/>
                </a:lnTo>
                <a:lnTo>
                  <a:pt x="7758" y="5150"/>
                </a:lnTo>
                <a:lnTo>
                  <a:pt x="7758" y="5144"/>
                </a:lnTo>
                <a:lnTo>
                  <a:pt x="7756" y="5136"/>
                </a:lnTo>
                <a:lnTo>
                  <a:pt x="7760" y="5136"/>
                </a:lnTo>
                <a:lnTo>
                  <a:pt x="7764" y="5134"/>
                </a:lnTo>
                <a:lnTo>
                  <a:pt x="7770" y="5132"/>
                </a:lnTo>
                <a:lnTo>
                  <a:pt x="7776" y="5126"/>
                </a:lnTo>
                <a:lnTo>
                  <a:pt x="7786" y="5116"/>
                </a:lnTo>
                <a:lnTo>
                  <a:pt x="7792" y="5106"/>
                </a:lnTo>
                <a:lnTo>
                  <a:pt x="7796" y="5098"/>
                </a:lnTo>
                <a:lnTo>
                  <a:pt x="7798" y="5088"/>
                </a:lnTo>
                <a:lnTo>
                  <a:pt x="7800" y="5082"/>
                </a:lnTo>
                <a:lnTo>
                  <a:pt x="7804" y="5074"/>
                </a:lnTo>
                <a:lnTo>
                  <a:pt x="7814" y="5062"/>
                </a:lnTo>
                <a:lnTo>
                  <a:pt x="7826" y="5046"/>
                </a:lnTo>
                <a:lnTo>
                  <a:pt x="7854" y="5016"/>
                </a:lnTo>
                <a:lnTo>
                  <a:pt x="7874" y="4990"/>
                </a:lnTo>
                <a:lnTo>
                  <a:pt x="7898" y="4966"/>
                </a:lnTo>
                <a:lnTo>
                  <a:pt x="7936" y="4934"/>
                </a:lnTo>
                <a:lnTo>
                  <a:pt x="7960" y="4914"/>
                </a:lnTo>
                <a:lnTo>
                  <a:pt x="7984" y="4892"/>
                </a:lnTo>
                <a:lnTo>
                  <a:pt x="8008" y="4864"/>
                </a:lnTo>
                <a:lnTo>
                  <a:pt x="8030" y="4834"/>
                </a:lnTo>
                <a:lnTo>
                  <a:pt x="8050" y="4802"/>
                </a:lnTo>
                <a:lnTo>
                  <a:pt x="8070" y="4766"/>
                </a:lnTo>
                <a:lnTo>
                  <a:pt x="8090" y="4726"/>
                </a:lnTo>
                <a:lnTo>
                  <a:pt x="8108" y="4682"/>
                </a:lnTo>
                <a:lnTo>
                  <a:pt x="8116" y="4658"/>
                </a:lnTo>
                <a:lnTo>
                  <a:pt x="8126" y="4638"/>
                </a:lnTo>
                <a:lnTo>
                  <a:pt x="8142" y="4606"/>
                </a:lnTo>
                <a:lnTo>
                  <a:pt x="8154" y="4582"/>
                </a:lnTo>
                <a:lnTo>
                  <a:pt x="8158" y="4570"/>
                </a:lnTo>
                <a:lnTo>
                  <a:pt x="8160" y="4558"/>
                </a:lnTo>
                <a:lnTo>
                  <a:pt x="8162" y="4542"/>
                </a:lnTo>
                <a:lnTo>
                  <a:pt x="8166" y="4534"/>
                </a:lnTo>
                <a:lnTo>
                  <a:pt x="8172" y="4530"/>
                </a:lnTo>
                <a:lnTo>
                  <a:pt x="8176" y="4530"/>
                </a:lnTo>
                <a:lnTo>
                  <a:pt x="8180" y="4532"/>
                </a:lnTo>
                <a:lnTo>
                  <a:pt x="8182" y="4532"/>
                </a:lnTo>
                <a:lnTo>
                  <a:pt x="8174" y="4518"/>
                </a:lnTo>
                <a:lnTo>
                  <a:pt x="8168" y="4508"/>
                </a:lnTo>
                <a:lnTo>
                  <a:pt x="8168" y="4496"/>
                </a:lnTo>
                <a:lnTo>
                  <a:pt x="8168" y="4486"/>
                </a:lnTo>
                <a:lnTo>
                  <a:pt x="8172" y="4478"/>
                </a:lnTo>
                <a:lnTo>
                  <a:pt x="8174" y="4470"/>
                </a:lnTo>
                <a:lnTo>
                  <a:pt x="8174" y="4464"/>
                </a:lnTo>
                <a:lnTo>
                  <a:pt x="8172" y="4460"/>
                </a:lnTo>
                <a:lnTo>
                  <a:pt x="8166" y="4456"/>
                </a:lnTo>
                <a:lnTo>
                  <a:pt x="8158" y="4454"/>
                </a:lnTo>
                <a:lnTo>
                  <a:pt x="8150" y="4458"/>
                </a:lnTo>
                <a:lnTo>
                  <a:pt x="8134" y="4468"/>
                </a:lnTo>
                <a:lnTo>
                  <a:pt x="8124" y="4474"/>
                </a:lnTo>
                <a:lnTo>
                  <a:pt x="8112" y="4480"/>
                </a:lnTo>
                <a:lnTo>
                  <a:pt x="8098" y="4484"/>
                </a:lnTo>
                <a:lnTo>
                  <a:pt x="8080" y="4486"/>
                </a:lnTo>
                <a:lnTo>
                  <a:pt x="8064" y="4486"/>
                </a:lnTo>
                <a:lnTo>
                  <a:pt x="8056" y="4488"/>
                </a:lnTo>
                <a:lnTo>
                  <a:pt x="8052" y="4490"/>
                </a:lnTo>
                <a:lnTo>
                  <a:pt x="8050" y="4492"/>
                </a:lnTo>
                <a:lnTo>
                  <a:pt x="8050" y="4494"/>
                </a:lnTo>
                <a:lnTo>
                  <a:pt x="8048" y="4496"/>
                </a:lnTo>
                <a:lnTo>
                  <a:pt x="8044" y="4496"/>
                </a:lnTo>
                <a:lnTo>
                  <a:pt x="8034" y="4496"/>
                </a:lnTo>
                <a:lnTo>
                  <a:pt x="8022" y="4496"/>
                </a:lnTo>
                <a:lnTo>
                  <a:pt x="8014" y="4498"/>
                </a:lnTo>
                <a:lnTo>
                  <a:pt x="8006" y="4502"/>
                </a:lnTo>
                <a:lnTo>
                  <a:pt x="8000" y="4508"/>
                </a:lnTo>
                <a:lnTo>
                  <a:pt x="7994" y="4512"/>
                </a:lnTo>
                <a:lnTo>
                  <a:pt x="7988" y="4516"/>
                </a:lnTo>
                <a:lnTo>
                  <a:pt x="7980" y="4516"/>
                </a:lnTo>
                <a:lnTo>
                  <a:pt x="7968" y="4514"/>
                </a:lnTo>
                <a:lnTo>
                  <a:pt x="7956" y="4510"/>
                </a:lnTo>
                <a:lnTo>
                  <a:pt x="7948" y="4512"/>
                </a:lnTo>
                <a:lnTo>
                  <a:pt x="7940" y="4516"/>
                </a:lnTo>
                <a:lnTo>
                  <a:pt x="7932" y="4522"/>
                </a:lnTo>
                <a:lnTo>
                  <a:pt x="7924" y="4526"/>
                </a:lnTo>
                <a:lnTo>
                  <a:pt x="7918" y="4530"/>
                </a:lnTo>
                <a:lnTo>
                  <a:pt x="7908" y="4532"/>
                </a:lnTo>
                <a:lnTo>
                  <a:pt x="7898" y="4530"/>
                </a:lnTo>
                <a:lnTo>
                  <a:pt x="7888" y="4524"/>
                </a:lnTo>
                <a:lnTo>
                  <a:pt x="7880" y="4518"/>
                </a:lnTo>
                <a:lnTo>
                  <a:pt x="7874" y="4512"/>
                </a:lnTo>
                <a:lnTo>
                  <a:pt x="7870" y="4504"/>
                </a:lnTo>
                <a:lnTo>
                  <a:pt x="7862" y="4490"/>
                </a:lnTo>
                <a:lnTo>
                  <a:pt x="7858" y="4484"/>
                </a:lnTo>
                <a:lnTo>
                  <a:pt x="7852" y="4476"/>
                </a:lnTo>
                <a:lnTo>
                  <a:pt x="7848" y="4472"/>
                </a:lnTo>
                <a:lnTo>
                  <a:pt x="7842" y="4472"/>
                </a:lnTo>
                <a:lnTo>
                  <a:pt x="7832" y="4472"/>
                </a:lnTo>
                <a:lnTo>
                  <a:pt x="7830" y="4472"/>
                </a:lnTo>
                <a:lnTo>
                  <a:pt x="7832" y="4470"/>
                </a:lnTo>
                <a:lnTo>
                  <a:pt x="7848" y="4458"/>
                </a:lnTo>
                <a:lnTo>
                  <a:pt x="7854" y="4454"/>
                </a:lnTo>
                <a:lnTo>
                  <a:pt x="7856" y="4448"/>
                </a:lnTo>
                <a:lnTo>
                  <a:pt x="7858" y="4444"/>
                </a:lnTo>
                <a:lnTo>
                  <a:pt x="7856" y="4438"/>
                </a:lnTo>
                <a:lnTo>
                  <a:pt x="7852" y="4428"/>
                </a:lnTo>
                <a:lnTo>
                  <a:pt x="7846" y="4414"/>
                </a:lnTo>
                <a:lnTo>
                  <a:pt x="7842" y="4412"/>
                </a:lnTo>
                <a:lnTo>
                  <a:pt x="7836" y="4410"/>
                </a:lnTo>
                <a:lnTo>
                  <a:pt x="7832" y="4408"/>
                </a:lnTo>
                <a:lnTo>
                  <a:pt x="7826" y="4400"/>
                </a:lnTo>
                <a:lnTo>
                  <a:pt x="7824" y="4394"/>
                </a:lnTo>
                <a:lnTo>
                  <a:pt x="7822" y="4392"/>
                </a:lnTo>
                <a:lnTo>
                  <a:pt x="7818" y="4388"/>
                </a:lnTo>
                <a:lnTo>
                  <a:pt x="7814" y="4380"/>
                </a:lnTo>
                <a:lnTo>
                  <a:pt x="7808" y="4370"/>
                </a:lnTo>
                <a:lnTo>
                  <a:pt x="7808" y="4368"/>
                </a:lnTo>
                <a:lnTo>
                  <a:pt x="7808" y="4370"/>
                </a:lnTo>
                <a:lnTo>
                  <a:pt x="7806" y="4370"/>
                </a:lnTo>
                <a:lnTo>
                  <a:pt x="7802" y="4364"/>
                </a:lnTo>
                <a:lnTo>
                  <a:pt x="7798" y="4360"/>
                </a:lnTo>
                <a:lnTo>
                  <a:pt x="7796" y="4358"/>
                </a:lnTo>
                <a:lnTo>
                  <a:pt x="7792" y="4358"/>
                </a:lnTo>
                <a:lnTo>
                  <a:pt x="7790" y="4356"/>
                </a:lnTo>
                <a:lnTo>
                  <a:pt x="7786" y="4354"/>
                </a:lnTo>
                <a:lnTo>
                  <a:pt x="7782" y="4348"/>
                </a:lnTo>
                <a:lnTo>
                  <a:pt x="7776" y="4336"/>
                </a:lnTo>
                <a:lnTo>
                  <a:pt x="7770" y="4326"/>
                </a:lnTo>
                <a:lnTo>
                  <a:pt x="7766" y="4320"/>
                </a:lnTo>
                <a:lnTo>
                  <a:pt x="7762" y="4320"/>
                </a:lnTo>
                <a:lnTo>
                  <a:pt x="7760" y="4320"/>
                </a:lnTo>
                <a:lnTo>
                  <a:pt x="7758" y="4320"/>
                </a:lnTo>
                <a:lnTo>
                  <a:pt x="7756" y="4320"/>
                </a:lnTo>
                <a:lnTo>
                  <a:pt x="7752" y="4318"/>
                </a:lnTo>
                <a:lnTo>
                  <a:pt x="7748" y="4312"/>
                </a:lnTo>
                <a:lnTo>
                  <a:pt x="7744" y="4306"/>
                </a:lnTo>
                <a:lnTo>
                  <a:pt x="7742" y="4304"/>
                </a:lnTo>
                <a:lnTo>
                  <a:pt x="7740" y="4306"/>
                </a:lnTo>
                <a:lnTo>
                  <a:pt x="7736" y="4308"/>
                </a:lnTo>
                <a:lnTo>
                  <a:pt x="7734" y="4308"/>
                </a:lnTo>
                <a:lnTo>
                  <a:pt x="7732" y="4306"/>
                </a:lnTo>
                <a:lnTo>
                  <a:pt x="7726" y="4300"/>
                </a:lnTo>
                <a:lnTo>
                  <a:pt x="7720" y="4288"/>
                </a:lnTo>
                <a:lnTo>
                  <a:pt x="7716" y="4280"/>
                </a:lnTo>
                <a:lnTo>
                  <a:pt x="7714" y="4276"/>
                </a:lnTo>
                <a:lnTo>
                  <a:pt x="7714" y="4278"/>
                </a:lnTo>
                <a:lnTo>
                  <a:pt x="7712" y="4284"/>
                </a:lnTo>
                <a:lnTo>
                  <a:pt x="7714" y="4296"/>
                </a:lnTo>
                <a:lnTo>
                  <a:pt x="7712" y="4300"/>
                </a:lnTo>
                <a:lnTo>
                  <a:pt x="7710" y="4300"/>
                </a:lnTo>
                <a:lnTo>
                  <a:pt x="7708" y="4298"/>
                </a:lnTo>
                <a:lnTo>
                  <a:pt x="7706" y="4292"/>
                </a:lnTo>
                <a:lnTo>
                  <a:pt x="7702" y="4282"/>
                </a:lnTo>
                <a:lnTo>
                  <a:pt x="7696" y="4266"/>
                </a:lnTo>
                <a:lnTo>
                  <a:pt x="7692" y="4254"/>
                </a:lnTo>
                <a:lnTo>
                  <a:pt x="7688" y="4242"/>
                </a:lnTo>
                <a:lnTo>
                  <a:pt x="7684" y="4212"/>
                </a:lnTo>
                <a:lnTo>
                  <a:pt x="7680" y="4196"/>
                </a:lnTo>
                <a:lnTo>
                  <a:pt x="7676" y="4182"/>
                </a:lnTo>
                <a:lnTo>
                  <a:pt x="7672" y="4166"/>
                </a:lnTo>
                <a:lnTo>
                  <a:pt x="7664" y="4154"/>
                </a:lnTo>
                <a:lnTo>
                  <a:pt x="7656" y="4142"/>
                </a:lnTo>
                <a:lnTo>
                  <a:pt x="7652" y="4140"/>
                </a:lnTo>
                <a:lnTo>
                  <a:pt x="7648" y="4142"/>
                </a:lnTo>
                <a:lnTo>
                  <a:pt x="7646" y="4142"/>
                </a:lnTo>
                <a:lnTo>
                  <a:pt x="7644" y="4140"/>
                </a:lnTo>
                <a:lnTo>
                  <a:pt x="7640" y="4132"/>
                </a:lnTo>
                <a:lnTo>
                  <a:pt x="7634" y="4124"/>
                </a:lnTo>
                <a:lnTo>
                  <a:pt x="7630" y="4120"/>
                </a:lnTo>
                <a:lnTo>
                  <a:pt x="7626" y="4120"/>
                </a:lnTo>
                <a:lnTo>
                  <a:pt x="7624" y="4120"/>
                </a:lnTo>
                <a:lnTo>
                  <a:pt x="7622" y="4118"/>
                </a:lnTo>
                <a:lnTo>
                  <a:pt x="7618" y="4110"/>
                </a:lnTo>
                <a:lnTo>
                  <a:pt x="7614" y="4098"/>
                </a:lnTo>
                <a:lnTo>
                  <a:pt x="7610" y="4084"/>
                </a:lnTo>
                <a:lnTo>
                  <a:pt x="7606" y="4056"/>
                </a:lnTo>
                <a:lnTo>
                  <a:pt x="7606" y="4046"/>
                </a:lnTo>
                <a:lnTo>
                  <a:pt x="7606" y="4040"/>
                </a:lnTo>
                <a:lnTo>
                  <a:pt x="7608" y="4032"/>
                </a:lnTo>
                <a:lnTo>
                  <a:pt x="7608" y="4024"/>
                </a:lnTo>
                <a:lnTo>
                  <a:pt x="7606" y="4014"/>
                </a:lnTo>
                <a:lnTo>
                  <a:pt x="7602" y="4006"/>
                </a:lnTo>
                <a:lnTo>
                  <a:pt x="7604" y="4004"/>
                </a:lnTo>
                <a:lnTo>
                  <a:pt x="7608" y="4004"/>
                </a:lnTo>
                <a:lnTo>
                  <a:pt x="7612" y="4006"/>
                </a:lnTo>
                <a:lnTo>
                  <a:pt x="7614" y="4004"/>
                </a:lnTo>
                <a:lnTo>
                  <a:pt x="7610" y="3996"/>
                </a:lnTo>
                <a:lnTo>
                  <a:pt x="7602" y="3982"/>
                </a:lnTo>
                <a:lnTo>
                  <a:pt x="7598" y="3970"/>
                </a:lnTo>
                <a:lnTo>
                  <a:pt x="7596" y="3958"/>
                </a:lnTo>
                <a:lnTo>
                  <a:pt x="7594" y="3950"/>
                </a:lnTo>
                <a:lnTo>
                  <a:pt x="7592" y="3944"/>
                </a:lnTo>
                <a:lnTo>
                  <a:pt x="7588" y="3942"/>
                </a:lnTo>
                <a:lnTo>
                  <a:pt x="7582" y="3940"/>
                </a:lnTo>
                <a:lnTo>
                  <a:pt x="7578" y="3938"/>
                </a:lnTo>
                <a:lnTo>
                  <a:pt x="7574" y="3936"/>
                </a:lnTo>
                <a:lnTo>
                  <a:pt x="7572" y="3928"/>
                </a:lnTo>
                <a:lnTo>
                  <a:pt x="7568" y="3922"/>
                </a:lnTo>
                <a:lnTo>
                  <a:pt x="7564" y="3920"/>
                </a:lnTo>
                <a:lnTo>
                  <a:pt x="7558" y="3918"/>
                </a:lnTo>
                <a:lnTo>
                  <a:pt x="7554" y="3918"/>
                </a:lnTo>
                <a:lnTo>
                  <a:pt x="7550" y="3914"/>
                </a:lnTo>
                <a:lnTo>
                  <a:pt x="7544" y="3902"/>
                </a:lnTo>
                <a:lnTo>
                  <a:pt x="7538" y="3908"/>
                </a:lnTo>
                <a:lnTo>
                  <a:pt x="7544" y="3902"/>
                </a:lnTo>
                <a:lnTo>
                  <a:pt x="7538" y="3886"/>
                </a:lnTo>
                <a:lnTo>
                  <a:pt x="7536" y="3872"/>
                </a:lnTo>
                <a:lnTo>
                  <a:pt x="7536" y="3866"/>
                </a:lnTo>
                <a:lnTo>
                  <a:pt x="7538" y="3860"/>
                </a:lnTo>
                <a:lnTo>
                  <a:pt x="7542" y="3858"/>
                </a:lnTo>
                <a:lnTo>
                  <a:pt x="7546" y="3856"/>
                </a:lnTo>
                <a:lnTo>
                  <a:pt x="7550" y="3856"/>
                </a:lnTo>
                <a:lnTo>
                  <a:pt x="7542" y="3852"/>
                </a:lnTo>
                <a:lnTo>
                  <a:pt x="7538" y="3848"/>
                </a:lnTo>
                <a:lnTo>
                  <a:pt x="7532" y="3840"/>
                </a:lnTo>
                <a:lnTo>
                  <a:pt x="7526" y="3830"/>
                </a:lnTo>
                <a:lnTo>
                  <a:pt x="7520" y="3818"/>
                </a:lnTo>
                <a:lnTo>
                  <a:pt x="7512" y="3798"/>
                </a:lnTo>
                <a:lnTo>
                  <a:pt x="7504" y="3780"/>
                </a:lnTo>
                <a:lnTo>
                  <a:pt x="7488" y="3750"/>
                </a:lnTo>
                <a:lnTo>
                  <a:pt x="7476" y="3728"/>
                </a:lnTo>
                <a:lnTo>
                  <a:pt x="7474" y="3718"/>
                </a:lnTo>
                <a:lnTo>
                  <a:pt x="7474" y="3710"/>
                </a:lnTo>
                <a:lnTo>
                  <a:pt x="7476" y="3704"/>
                </a:lnTo>
                <a:lnTo>
                  <a:pt x="7474" y="3700"/>
                </a:lnTo>
                <a:lnTo>
                  <a:pt x="7470" y="3690"/>
                </a:lnTo>
                <a:lnTo>
                  <a:pt x="7464" y="3680"/>
                </a:lnTo>
                <a:lnTo>
                  <a:pt x="7462" y="3674"/>
                </a:lnTo>
                <a:lnTo>
                  <a:pt x="7460" y="3668"/>
                </a:lnTo>
                <a:lnTo>
                  <a:pt x="7460" y="3658"/>
                </a:lnTo>
                <a:lnTo>
                  <a:pt x="7454" y="3648"/>
                </a:lnTo>
                <a:lnTo>
                  <a:pt x="7440" y="3628"/>
                </a:lnTo>
                <a:lnTo>
                  <a:pt x="7426" y="3608"/>
                </a:lnTo>
                <a:lnTo>
                  <a:pt x="7422" y="3598"/>
                </a:lnTo>
                <a:lnTo>
                  <a:pt x="7420" y="3588"/>
                </a:lnTo>
                <a:lnTo>
                  <a:pt x="7420" y="3582"/>
                </a:lnTo>
                <a:lnTo>
                  <a:pt x="7418" y="3576"/>
                </a:lnTo>
                <a:lnTo>
                  <a:pt x="7414" y="3570"/>
                </a:lnTo>
                <a:lnTo>
                  <a:pt x="7412" y="3568"/>
                </a:lnTo>
                <a:lnTo>
                  <a:pt x="7412" y="3562"/>
                </a:lnTo>
                <a:lnTo>
                  <a:pt x="7414" y="3556"/>
                </a:lnTo>
                <a:lnTo>
                  <a:pt x="7420" y="3546"/>
                </a:lnTo>
                <a:lnTo>
                  <a:pt x="7422" y="3550"/>
                </a:lnTo>
                <a:lnTo>
                  <a:pt x="7424" y="3552"/>
                </a:lnTo>
                <a:lnTo>
                  <a:pt x="7424" y="3560"/>
                </a:lnTo>
                <a:lnTo>
                  <a:pt x="7426" y="3570"/>
                </a:lnTo>
                <a:lnTo>
                  <a:pt x="7428" y="3576"/>
                </a:lnTo>
                <a:lnTo>
                  <a:pt x="7434" y="3584"/>
                </a:lnTo>
                <a:lnTo>
                  <a:pt x="7438" y="3590"/>
                </a:lnTo>
                <a:lnTo>
                  <a:pt x="7442" y="3594"/>
                </a:lnTo>
                <a:lnTo>
                  <a:pt x="7444" y="3606"/>
                </a:lnTo>
                <a:lnTo>
                  <a:pt x="7446" y="3618"/>
                </a:lnTo>
                <a:lnTo>
                  <a:pt x="7450" y="3622"/>
                </a:lnTo>
                <a:lnTo>
                  <a:pt x="7454" y="3628"/>
                </a:lnTo>
                <a:lnTo>
                  <a:pt x="7468" y="3644"/>
                </a:lnTo>
                <a:lnTo>
                  <a:pt x="7478" y="3658"/>
                </a:lnTo>
                <a:lnTo>
                  <a:pt x="7480" y="3660"/>
                </a:lnTo>
                <a:lnTo>
                  <a:pt x="7484" y="3662"/>
                </a:lnTo>
                <a:lnTo>
                  <a:pt x="7486" y="3662"/>
                </a:lnTo>
                <a:lnTo>
                  <a:pt x="7490" y="3658"/>
                </a:lnTo>
                <a:lnTo>
                  <a:pt x="7494" y="3644"/>
                </a:lnTo>
                <a:lnTo>
                  <a:pt x="7496" y="3632"/>
                </a:lnTo>
                <a:lnTo>
                  <a:pt x="7502" y="3610"/>
                </a:lnTo>
                <a:lnTo>
                  <a:pt x="7514" y="3572"/>
                </a:lnTo>
                <a:lnTo>
                  <a:pt x="7516" y="3568"/>
                </a:lnTo>
                <a:lnTo>
                  <a:pt x="7516" y="3572"/>
                </a:lnTo>
                <a:lnTo>
                  <a:pt x="7516" y="3578"/>
                </a:lnTo>
                <a:lnTo>
                  <a:pt x="7510" y="3602"/>
                </a:lnTo>
                <a:lnTo>
                  <a:pt x="7510" y="3614"/>
                </a:lnTo>
                <a:lnTo>
                  <a:pt x="7510" y="3620"/>
                </a:lnTo>
                <a:lnTo>
                  <a:pt x="7508" y="3630"/>
                </a:lnTo>
                <a:lnTo>
                  <a:pt x="7502" y="3644"/>
                </a:lnTo>
                <a:lnTo>
                  <a:pt x="7502" y="3646"/>
                </a:lnTo>
                <a:lnTo>
                  <a:pt x="7508" y="3644"/>
                </a:lnTo>
                <a:lnTo>
                  <a:pt x="7512" y="3644"/>
                </a:lnTo>
                <a:lnTo>
                  <a:pt x="7518" y="3644"/>
                </a:lnTo>
                <a:lnTo>
                  <a:pt x="7522" y="3646"/>
                </a:lnTo>
                <a:lnTo>
                  <a:pt x="7526" y="3648"/>
                </a:lnTo>
                <a:lnTo>
                  <a:pt x="7532" y="3658"/>
                </a:lnTo>
                <a:lnTo>
                  <a:pt x="7548" y="3688"/>
                </a:lnTo>
                <a:lnTo>
                  <a:pt x="7564" y="3722"/>
                </a:lnTo>
                <a:lnTo>
                  <a:pt x="7572" y="3736"/>
                </a:lnTo>
                <a:lnTo>
                  <a:pt x="7580" y="3746"/>
                </a:lnTo>
                <a:lnTo>
                  <a:pt x="7584" y="3752"/>
                </a:lnTo>
                <a:lnTo>
                  <a:pt x="7586" y="3756"/>
                </a:lnTo>
                <a:lnTo>
                  <a:pt x="7586" y="3762"/>
                </a:lnTo>
                <a:lnTo>
                  <a:pt x="7592" y="3768"/>
                </a:lnTo>
                <a:lnTo>
                  <a:pt x="7600" y="3776"/>
                </a:lnTo>
                <a:lnTo>
                  <a:pt x="7608" y="3788"/>
                </a:lnTo>
                <a:lnTo>
                  <a:pt x="7610" y="3798"/>
                </a:lnTo>
                <a:lnTo>
                  <a:pt x="7610" y="3804"/>
                </a:lnTo>
                <a:lnTo>
                  <a:pt x="7608" y="3808"/>
                </a:lnTo>
                <a:lnTo>
                  <a:pt x="7608" y="3814"/>
                </a:lnTo>
                <a:lnTo>
                  <a:pt x="7608" y="3818"/>
                </a:lnTo>
                <a:lnTo>
                  <a:pt x="7610" y="3824"/>
                </a:lnTo>
                <a:lnTo>
                  <a:pt x="7612" y="3830"/>
                </a:lnTo>
                <a:lnTo>
                  <a:pt x="7622" y="3840"/>
                </a:lnTo>
                <a:lnTo>
                  <a:pt x="7628" y="3844"/>
                </a:lnTo>
                <a:lnTo>
                  <a:pt x="7636" y="3846"/>
                </a:lnTo>
                <a:lnTo>
                  <a:pt x="7642" y="3850"/>
                </a:lnTo>
                <a:lnTo>
                  <a:pt x="7648" y="3856"/>
                </a:lnTo>
                <a:lnTo>
                  <a:pt x="7656" y="3866"/>
                </a:lnTo>
                <a:lnTo>
                  <a:pt x="7662" y="3878"/>
                </a:lnTo>
                <a:lnTo>
                  <a:pt x="7672" y="3904"/>
                </a:lnTo>
                <a:lnTo>
                  <a:pt x="7680" y="3928"/>
                </a:lnTo>
                <a:lnTo>
                  <a:pt x="7684" y="3938"/>
                </a:lnTo>
                <a:lnTo>
                  <a:pt x="7684" y="3944"/>
                </a:lnTo>
                <a:lnTo>
                  <a:pt x="7682" y="3948"/>
                </a:lnTo>
                <a:lnTo>
                  <a:pt x="7680" y="3952"/>
                </a:lnTo>
                <a:lnTo>
                  <a:pt x="7678" y="3956"/>
                </a:lnTo>
                <a:lnTo>
                  <a:pt x="7678" y="3960"/>
                </a:lnTo>
                <a:lnTo>
                  <a:pt x="7678" y="3966"/>
                </a:lnTo>
                <a:lnTo>
                  <a:pt x="7680" y="3972"/>
                </a:lnTo>
                <a:lnTo>
                  <a:pt x="7684" y="3980"/>
                </a:lnTo>
                <a:lnTo>
                  <a:pt x="7684" y="3984"/>
                </a:lnTo>
                <a:lnTo>
                  <a:pt x="7684" y="3988"/>
                </a:lnTo>
                <a:lnTo>
                  <a:pt x="7682" y="3990"/>
                </a:lnTo>
                <a:lnTo>
                  <a:pt x="7680" y="3992"/>
                </a:lnTo>
                <a:lnTo>
                  <a:pt x="7680" y="3994"/>
                </a:lnTo>
                <a:lnTo>
                  <a:pt x="7688" y="4006"/>
                </a:lnTo>
                <a:lnTo>
                  <a:pt x="7698" y="4022"/>
                </a:lnTo>
                <a:lnTo>
                  <a:pt x="7704" y="4032"/>
                </a:lnTo>
                <a:lnTo>
                  <a:pt x="7710" y="4040"/>
                </a:lnTo>
                <a:lnTo>
                  <a:pt x="7720" y="4044"/>
                </a:lnTo>
                <a:lnTo>
                  <a:pt x="7726" y="4046"/>
                </a:lnTo>
                <a:lnTo>
                  <a:pt x="7732" y="4050"/>
                </a:lnTo>
                <a:lnTo>
                  <a:pt x="7742" y="4062"/>
                </a:lnTo>
                <a:lnTo>
                  <a:pt x="7750" y="4074"/>
                </a:lnTo>
                <a:lnTo>
                  <a:pt x="7756" y="4088"/>
                </a:lnTo>
                <a:lnTo>
                  <a:pt x="7762" y="4096"/>
                </a:lnTo>
                <a:lnTo>
                  <a:pt x="7766" y="4100"/>
                </a:lnTo>
                <a:lnTo>
                  <a:pt x="7768" y="4104"/>
                </a:lnTo>
                <a:lnTo>
                  <a:pt x="7768" y="4112"/>
                </a:lnTo>
                <a:lnTo>
                  <a:pt x="7770" y="4122"/>
                </a:lnTo>
                <a:lnTo>
                  <a:pt x="7772" y="4128"/>
                </a:lnTo>
                <a:lnTo>
                  <a:pt x="7776" y="4132"/>
                </a:lnTo>
                <a:lnTo>
                  <a:pt x="7778" y="4142"/>
                </a:lnTo>
                <a:lnTo>
                  <a:pt x="7780" y="4148"/>
                </a:lnTo>
                <a:lnTo>
                  <a:pt x="7782" y="4154"/>
                </a:lnTo>
                <a:lnTo>
                  <a:pt x="7792" y="4166"/>
                </a:lnTo>
                <a:lnTo>
                  <a:pt x="7804" y="4180"/>
                </a:lnTo>
                <a:lnTo>
                  <a:pt x="7808" y="4188"/>
                </a:lnTo>
                <a:lnTo>
                  <a:pt x="7812" y="4196"/>
                </a:lnTo>
                <a:lnTo>
                  <a:pt x="7814" y="4202"/>
                </a:lnTo>
                <a:lnTo>
                  <a:pt x="7816" y="4204"/>
                </a:lnTo>
                <a:lnTo>
                  <a:pt x="7820" y="4202"/>
                </a:lnTo>
                <a:lnTo>
                  <a:pt x="7822" y="4204"/>
                </a:lnTo>
                <a:lnTo>
                  <a:pt x="7824" y="4210"/>
                </a:lnTo>
                <a:lnTo>
                  <a:pt x="7828" y="4220"/>
                </a:lnTo>
                <a:lnTo>
                  <a:pt x="7832" y="4236"/>
                </a:lnTo>
                <a:lnTo>
                  <a:pt x="7832" y="4254"/>
                </a:lnTo>
                <a:lnTo>
                  <a:pt x="7830" y="4260"/>
                </a:lnTo>
                <a:lnTo>
                  <a:pt x="7826" y="4268"/>
                </a:lnTo>
                <a:lnTo>
                  <a:pt x="7826" y="4272"/>
                </a:lnTo>
                <a:lnTo>
                  <a:pt x="7826" y="4276"/>
                </a:lnTo>
                <a:lnTo>
                  <a:pt x="7828" y="4282"/>
                </a:lnTo>
                <a:lnTo>
                  <a:pt x="7832" y="4286"/>
                </a:lnTo>
                <a:lnTo>
                  <a:pt x="7830" y="4288"/>
                </a:lnTo>
                <a:lnTo>
                  <a:pt x="7828" y="4290"/>
                </a:lnTo>
                <a:lnTo>
                  <a:pt x="7824" y="4294"/>
                </a:lnTo>
                <a:lnTo>
                  <a:pt x="7826" y="4296"/>
                </a:lnTo>
                <a:lnTo>
                  <a:pt x="7832" y="4300"/>
                </a:lnTo>
                <a:lnTo>
                  <a:pt x="7832" y="4302"/>
                </a:lnTo>
                <a:lnTo>
                  <a:pt x="7834" y="4306"/>
                </a:lnTo>
                <a:lnTo>
                  <a:pt x="7834" y="4312"/>
                </a:lnTo>
                <a:lnTo>
                  <a:pt x="7836" y="4318"/>
                </a:lnTo>
                <a:lnTo>
                  <a:pt x="7840" y="4326"/>
                </a:lnTo>
                <a:lnTo>
                  <a:pt x="7840" y="4336"/>
                </a:lnTo>
                <a:lnTo>
                  <a:pt x="7842" y="4350"/>
                </a:lnTo>
                <a:lnTo>
                  <a:pt x="7846" y="4362"/>
                </a:lnTo>
                <a:lnTo>
                  <a:pt x="7850" y="4370"/>
                </a:lnTo>
                <a:lnTo>
                  <a:pt x="7850" y="4376"/>
                </a:lnTo>
                <a:lnTo>
                  <a:pt x="7850" y="4380"/>
                </a:lnTo>
                <a:lnTo>
                  <a:pt x="7850" y="4388"/>
                </a:lnTo>
                <a:lnTo>
                  <a:pt x="7850" y="4394"/>
                </a:lnTo>
                <a:lnTo>
                  <a:pt x="7854" y="4398"/>
                </a:lnTo>
                <a:lnTo>
                  <a:pt x="7856" y="4410"/>
                </a:lnTo>
                <a:lnTo>
                  <a:pt x="7860" y="4418"/>
                </a:lnTo>
                <a:lnTo>
                  <a:pt x="7862" y="4418"/>
                </a:lnTo>
                <a:lnTo>
                  <a:pt x="7864" y="4418"/>
                </a:lnTo>
                <a:lnTo>
                  <a:pt x="7868" y="4418"/>
                </a:lnTo>
                <a:lnTo>
                  <a:pt x="7872" y="4420"/>
                </a:lnTo>
                <a:lnTo>
                  <a:pt x="7874" y="4422"/>
                </a:lnTo>
                <a:lnTo>
                  <a:pt x="7880" y="4424"/>
                </a:lnTo>
                <a:lnTo>
                  <a:pt x="7884" y="4424"/>
                </a:lnTo>
                <a:lnTo>
                  <a:pt x="7888" y="4422"/>
                </a:lnTo>
                <a:lnTo>
                  <a:pt x="7892" y="4422"/>
                </a:lnTo>
                <a:lnTo>
                  <a:pt x="7896" y="4420"/>
                </a:lnTo>
                <a:lnTo>
                  <a:pt x="7900" y="4418"/>
                </a:lnTo>
                <a:lnTo>
                  <a:pt x="7902" y="4416"/>
                </a:lnTo>
                <a:lnTo>
                  <a:pt x="7910" y="4416"/>
                </a:lnTo>
                <a:lnTo>
                  <a:pt x="7916" y="4416"/>
                </a:lnTo>
                <a:lnTo>
                  <a:pt x="7920" y="4416"/>
                </a:lnTo>
                <a:lnTo>
                  <a:pt x="7922" y="4414"/>
                </a:lnTo>
                <a:lnTo>
                  <a:pt x="7924" y="4412"/>
                </a:lnTo>
                <a:lnTo>
                  <a:pt x="7926" y="4408"/>
                </a:lnTo>
                <a:lnTo>
                  <a:pt x="7928" y="4406"/>
                </a:lnTo>
                <a:lnTo>
                  <a:pt x="7932" y="4404"/>
                </a:lnTo>
                <a:lnTo>
                  <a:pt x="7936" y="4404"/>
                </a:lnTo>
                <a:lnTo>
                  <a:pt x="7938" y="4400"/>
                </a:lnTo>
                <a:lnTo>
                  <a:pt x="7942" y="4392"/>
                </a:lnTo>
                <a:lnTo>
                  <a:pt x="7946" y="4388"/>
                </a:lnTo>
                <a:lnTo>
                  <a:pt x="7950" y="4384"/>
                </a:lnTo>
                <a:lnTo>
                  <a:pt x="7958" y="4382"/>
                </a:lnTo>
                <a:lnTo>
                  <a:pt x="7968" y="4382"/>
                </a:lnTo>
                <a:lnTo>
                  <a:pt x="7984" y="4384"/>
                </a:lnTo>
                <a:lnTo>
                  <a:pt x="7998" y="4380"/>
                </a:lnTo>
                <a:lnTo>
                  <a:pt x="8008" y="4374"/>
                </a:lnTo>
                <a:lnTo>
                  <a:pt x="8018" y="4368"/>
                </a:lnTo>
                <a:lnTo>
                  <a:pt x="8034" y="4356"/>
                </a:lnTo>
                <a:lnTo>
                  <a:pt x="8040" y="4354"/>
                </a:lnTo>
                <a:lnTo>
                  <a:pt x="8048" y="4354"/>
                </a:lnTo>
                <a:lnTo>
                  <a:pt x="8054" y="4356"/>
                </a:lnTo>
                <a:lnTo>
                  <a:pt x="8058" y="4356"/>
                </a:lnTo>
                <a:lnTo>
                  <a:pt x="8066" y="4352"/>
                </a:lnTo>
                <a:lnTo>
                  <a:pt x="8074" y="4346"/>
                </a:lnTo>
                <a:lnTo>
                  <a:pt x="8082" y="4336"/>
                </a:lnTo>
                <a:lnTo>
                  <a:pt x="8090" y="4328"/>
                </a:lnTo>
                <a:lnTo>
                  <a:pt x="8100" y="4320"/>
                </a:lnTo>
                <a:lnTo>
                  <a:pt x="8110" y="4316"/>
                </a:lnTo>
                <a:lnTo>
                  <a:pt x="8116" y="4314"/>
                </a:lnTo>
                <a:lnTo>
                  <a:pt x="8124" y="4314"/>
                </a:lnTo>
                <a:lnTo>
                  <a:pt x="8128" y="4314"/>
                </a:lnTo>
                <a:lnTo>
                  <a:pt x="8130" y="4314"/>
                </a:lnTo>
                <a:lnTo>
                  <a:pt x="8136" y="4310"/>
                </a:lnTo>
                <a:lnTo>
                  <a:pt x="8146" y="4302"/>
                </a:lnTo>
                <a:lnTo>
                  <a:pt x="8154" y="4300"/>
                </a:lnTo>
                <a:lnTo>
                  <a:pt x="8164" y="4296"/>
                </a:lnTo>
                <a:lnTo>
                  <a:pt x="8184" y="4290"/>
                </a:lnTo>
                <a:lnTo>
                  <a:pt x="8192" y="4286"/>
                </a:lnTo>
                <a:lnTo>
                  <a:pt x="8194" y="4282"/>
                </a:lnTo>
                <a:lnTo>
                  <a:pt x="8204" y="4280"/>
                </a:lnTo>
                <a:lnTo>
                  <a:pt x="8210" y="4276"/>
                </a:lnTo>
                <a:lnTo>
                  <a:pt x="8212" y="4272"/>
                </a:lnTo>
                <a:lnTo>
                  <a:pt x="8212" y="4260"/>
                </a:lnTo>
                <a:lnTo>
                  <a:pt x="8212" y="4252"/>
                </a:lnTo>
                <a:lnTo>
                  <a:pt x="8216" y="4244"/>
                </a:lnTo>
                <a:lnTo>
                  <a:pt x="8228" y="4234"/>
                </a:lnTo>
                <a:lnTo>
                  <a:pt x="8246" y="4222"/>
                </a:lnTo>
                <a:lnTo>
                  <a:pt x="8252" y="4220"/>
                </a:lnTo>
                <a:lnTo>
                  <a:pt x="8256" y="4218"/>
                </a:lnTo>
                <a:lnTo>
                  <a:pt x="8264" y="4218"/>
                </a:lnTo>
                <a:lnTo>
                  <a:pt x="8268" y="4218"/>
                </a:lnTo>
                <a:lnTo>
                  <a:pt x="8272" y="4216"/>
                </a:lnTo>
                <a:lnTo>
                  <a:pt x="8280" y="4212"/>
                </a:lnTo>
                <a:lnTo>
                  <a:pt x="8284" y="4208"/>
                </a:lnTo>
                <a:lnTo>
                  <a:pt x="8290" y="4206"/>
                </a:lnTo>
                <a:lnTo>
                  <a:pt x="8298" y="4206"/>
                </a:lnTo>
                <a:lnTo>
                  <a:pt x="8308" y="4206"/>
                </a:lnTo>
                <a:lnTo>
                  <a:pt x="8314" y="4208"/>
                </a:lnTo>
                <a:lnTo>
                  <a:pt x="8320" y="4208"/>
                </a:lnTo>
                <a:lnTo>
                  <a:pt x="8322" y="4206"/>
                </a:lnTo>
                <a:lnTo>
                  <a:pt x="8326" y="4202"/>
                </a:lnTo>
                <a:lnTo>
                  <a:pt x="8330" y="4194"/>
                </a:lnTo>
                <a:lnTo>
                  <a:pt x="8334" y="4186"/>
                </a:lnTo>
                <a:lnTo>
                  <a:pt x="8338" y="4176"/>
                </a:lnTo>
                <a:lnTo>
                  <a:pt x="8342" y="4168"/>
                </a:lnTo>
                <a:lnTo>
                  <a:pt x="8350" y="4160"/>
                </a:lnTo>
                <a:lnTo>
                  <a:pt x="8354" y="4160"/>
                </a:lnTo>
                <a:lnTo>
                  <a:pt x="8360" y="4158"/>
                </a:lnTo>
                <a:lnTo>
                  <a:pt x="8374" y="4158"/>
                </a:lnTo>
                <a:lnTo>
                  <a:pt x="8382" y="4154"/>
                </a:lnTo>
                <a:lnTo>
                  <a:pt x="8386" y="4146"/>
                </a:lnTo>
                <a:lnTo>
                  <a:pt x="8390" y="4138"/>
                </a:lnTo>
                <a:lnTo>
                  <a:pt x="8392" y="4130"/>
                </a:lnTo>
                <a:lnTo>
                  <a:pt x="8396" y="4122"/>
                </a:lnTo>
                <a:lnTo>
                  <a:pt x="8406" y="4116"/>
                </a:lnTo>
                <a:lnTo>
                  <a:pt x="8420" y="4110"/>
                </a:lnTo>
                <a:lnTo>
                  <a:pt x="8430" y="4108"/>
                </a:lnTo>
                <a:lnTo>
                  <a:pt x="8436" y="4104"/>
                </a:lnTo>
                <a:lnTo>
                  <a:pt x="8438" y="4100"/>
                </a:lnTo>
                <a:lnTo>
                  <a:pt x="8438" y="4094"/>
                </a:lnTo>
                <a:lnTo>
                  <a:pt x="8436" y="4086"/>
                </a:lnTo>
                <a:lnTo>
                  <a:pt x="8434" y="4076"/>
                </a:lnTo>
                <a:lnTo>
                  <a:pt x="8434" y="4062"/>
                </a:lnTo>
                <a:lnTo>
                  <a:pt x="8438" y="4046"/>
                </a:lnTo>
                <a:lnTo>
                  <a:pt x="8444" y="4034"/>
                </a:lnTo>
                <a:lnTo>
                  <a:pt x="8448" y="4028"/>
                </a:lnTo>
                <a:lnTo>
                  <a:pt x="8452" y="4028"/>
                </a:lnTo>
                <a:lnTo>
                  <a:pt x="8454" y="4032"/>
                </a:lnTo>
                <a:lnTo>
                  <a:pt x="8458" y="4036"/>
                </a:lnTo>
                <a:lnTo>
                  <a:pt x="8460" y="4036"/>
                </a:lnTo>
                <a:lnTo>
                  <a:pt x="8464" y="4034"/>
                </a:lnTo>
                <a:lnTo>
                  <a:pt x="8470" y="4022"/>
                </a:lnTo>
                <a:lnTo>
                  <a:pt x="8476" y="4010"/>
                </a:lnTo>
                <a:lnTo>
                  <a:pt x="8480" y="4002"/>
                </a:lnTo>
                <a:lnTo>
                  <a:pt x="8490" y="3992"/>
                </a:lnTo>
                <a:lnTo>
                  <a:pt x="8500" y="3982"/>
                </a:lnTo>
                <a:lnTo>
                  <a:pt x="8504" y="3974"/>
                </a:lnTo>
                <a:lnTo>
                  <a:pt x="8510" y="3962"/>
                </a:lnTo>
                <a:lnTo>
                  <a:pt x="8516" y="3946"/>
                </a:lnTo>
                <a:lnTo>
                  <a:pt x="8518" y="3936"/>
                </a:lnTo>
                <a:lnTo>
                  <a:pt x="8518" y="3932"/>
                </a:lnTo>
                <a:lnTo>
                  <a:pt x="8516" y="3930"/>
                </a:lnTo>
                <a:lnTo>
                  <a:pt x="8508" y="3926"/>
                </a:lnTo>
                <a:lnTo>
                  <a:pt x="8502" y="3922"/>
                </a:lnTo>
                <a:lnTo>
                  <a:pt x="8498" y="3916"/>
                </a:lnTo>
                <a:lnTo>
                  <a:pt x="8488" y="3896"/>
                </a:lnTo>
                <a:lnTo>
                  <a:pt x="8482" y="3886"/>
                </a:lnTo>
                <a:lnTo>
                  <a:pt x="8476" y="3880"/>
                </a:lnTo>
                <a:lnTo>
                  <a:pt x="8470" y="3874"/>
                </a:lnTo>
                <a:lnTo>
                  <a:pt x="8468" y="3874"/>
                </a:lnTo>
                <a:lnTo>
                  <a:pt x="8464" y="3874"/>
                </a:lnTo>
                <a:lnTo>
                  <a:pt x="8460" y="3876"/>
                </a:lnTo>
                <a:lnTo>
                  <a:pt x="8458" y="3876"/>
                </a:lnTo>
                <a:lnTo>
                  <a:pt x="8452" y="3872"/>
                </a:lnTo>
                <a:lnTo>
                  <a:pt x="8446" y="3868"/>
                </a:lnTo>
                <a:lnTo>
                  <a:pt x="8440" y="3866"/>
                </a:lnTo>
                <a:lnTo>
                  <a:pt x="8432" y="3864"/>
                </a:lnTo>
                <a:lnTo>
                  <a:pt x="8422" y="3862"/>
                </a:lnTo>
                <a:lnTo>
                  <a:pt x="8412" y="3856"/>
                </a:lnTo>
                <a:lnTo>
                  <a:pt x="8404" y="3850"/>
                </a:lnTo>
                <a:lnTo>
                  <a:pt x="8396" y="3842"/>
                </a:lnTo>
                <a:lnTo>
                  <a:pt x="8390" y="3834"/>
                </a:lnTo>
                <a:lnTo>
                  <a:pt x="8386" y="3824"/>
                </a:lnTo>
                <a:lnTo>
                  <a:pt x="8382" y="3814"/>
                </a:lnTo>
                <a:lnTo>
                  <a:pt x="8378" y="3804"/>
                </a:lnTo>
                <a:lnTo>
                  <a:pt x="8378" y="3780"/>
                </a:lnTo>
                <a:lnTo>
                  <a:pt x="8378" y="3774"/>
                </a:lnTo>
                <a:lnTo>
                  <a:pt x="8376" y="3770"/>
                </a:lnTo>
                <a:lnTo>
                  <a:pt x="8376" y="3766"/>
                </a:lnTo>
                <a:lnTo>
                  <a:pt x="8378" y="3760"/>
                </a:lnTo>
                <a:lnTo>
                  <a:pt x="8382" y="3756"/>
                </a:lnTo>
                <a:lnTo>
                  <a:pt x="8382" y="3752"/>
                </a:lnTo>
                <a:lnTo>
                  <a:pt x="8382" y="3746"/>
                </a:lnTo>
                <a:lnTo>
                  <a:pt x="8384" y="3740"/>
                </a:lnTo>
                <a:lnTo>
                  <a:pt x="8384" y="3734"/>
                </a:lnTo>
                <a:lnTo>
                  <a:pt x="8384" y="3732"/>
                </a:lnTo>
                <a:lnTo>
                  <a:pt x="8380" y="3732"/>
                </a:lnTo>
                <a:lnTo>
                  <a:pt x="8378" y="3732"/>
                </a:lnTo>
                <a:lnTo>
                  <a:pt x="8378" y="3734"/>
                </a:lnTo>
                <a:lnTo>
                  <a:pt x="8378" y="3738"/>
                </a:lnTo>
                <a:lnTo>
                  <a:pt x="8378" y="3742"/>
                </a:lnTo>
                <a:lnTo>
                  <a:pt x="8376" y="3742"/>
                </a:lnTo>
                <a:lnTo>
                  <a:pt x="8372" y="3740"/>
                </a:lnTo>
                <a:lnTo>
                  <a:pt x="8370" y="3740"/>
                </a:lnTo>
                <a:lnTo>
                  <a:pt x="8368" y="3748"/>
                </a:lnTo>
                <a:lnTo>
                  <a:pt x="8364" y="3760"/>
                </a:lnTo>
                <a:lnTo>
                  <a:pt x="8362" y="3762"/>
                </a:lnTo>
                <a:lnTo>
                  <a:pt x="8360" y="3762"/>
                </a:lnTo>
                <a:lnTo>
                  <a:pt x="8358" y="3762"/>
                </a:lnTo>
                <a:lnTo>
                  <a:pt x="8354" y="3770"/>
                </a:lnTo>
                <a:lnTo>
                  <a:pt x="8350" y="3776"/>
                </a:lnTo>
                <a:lnTo>
                  <a:pt x="8344" y="3780"/>
                </a:lnTo>
                <a:lnTo>
                  <a:pt x="8338" y="3784"/>
                </a:lnTo>
                <a:lnTo>
                  <a:pt x="8330" y="3794"/>
                </a:lnTo>
                <a:lnTo>
                  <a:pt x="8322" y="3804"/>
                </a:lnTo>
                <a:lnTo>
                  <a:pt x="8312" y="3814"/>
                </a:lnTo>
                <a:lnTo>
                  <a:pt x="8300" y="3826"/>
                </a:lnTo>
                <a:lnTo>
                  <a:pt x="8300" y="3828"/>
                </a:lnTo>
                <a:lnTo>
                  <a:pt x="8302" y="3830"/>
                </a:lnTo>
                <a:lnTo>
                  <a:pt x="8302" y="3832"/>
                </a:lnTo>
                <a:lnTo>
                  <a:pt x="8298" y="3840"/>
                </a:lnTo>
                <a:lnTo>
                  <a:pt x="8290" y="3848"/>
                </a:lnTo>
                <a:lnTo>
                  <a:pt x="8282" y="3850"/>
                </a:lnTo>
                <a:lnTo>
                  <a:pt x="8272" y="3850"/>
                </a:lnTo>
                <a:lnTo>
                  <a:pt x="8262" y="3850"/>
                </a:lnTo>
                <a:lnTo>
                  <a:pt x="8242" y="3846"/>
                </a:lnTo>
                <a:lnTo>
                  <a:pt x="8232" y="3846"/>
                </a:lnTo>
                <a:lnTo>
                  <a:pt x="8222" y="3848"/>
                </a:lnTo>
                <a:lnTo>
                  <a:pt x="8208" y="3854"/>
                </a:lnTo>
                <a:lnTo>
                  <a:pt x="8200" y="3856"/>
                </a:lnTo>
                <a:lnTo>
                  <a:pt x="8196" y="3854"/>
                </a:lnTo>
                <a:lnTo>
                  <a:pt x="8196" y="3852"/>
                </a:lnTo>
                <a:lnTo>
                  <a:pt x="8194" y="3846"/>
                </a:lnTo>
                <a:lnTo>
                  <a:pt x="8194" y="3840"/>
                </a:lnTo>
                <a:lnTo>
                  <a:pt x="8190" y="3838"/>
                </a:lnTo>
                <a:lnTo>
                  <a:pt x="8186" y="3838"/>
                </a:lnTo>
                <a:lnTo>
                  <a:pt x="8180" y="3838"/>
                </a:lnTo>
                <a:lnTo>
                  <a:pt x="8176" y="3838"/>
                </a:lnTo>
                <a:lnTo>
                  <a:pt x="8176" y="3836"/>
                </a:lnTo>
                <a:lnTo>
                  <a:pt x="8176" y="3832"/>
                </a:lnTo>
                <a:lnTo>
                  <a:pt x="8180" y="3826"/>
                </a:lnTo>
                <a:lnTo>
                  <a:pt x="8182" y="3824"/>
                </a:lnTo>
                <a:lnTo>
                  <a:pt x="8180" y="3824"/>
                </a:lnTo>
                <a:lnTo>
                  <a:pt x="8176" y="3824"/>
                </a:lnTo>
                <a:lnTo>
                  <a:pt x="8174" y="3826"/>
                </a:lnTo>
                <a:lnTo>
                  <a:pt x="8172" y="3824"/>
                </a:lnTo>
                <a:lnTo>
                  <a:pt x="8172" y="3822"/>
                </a:lnTo>
                <a:lnTo>
                  <a:pt x="8176" y="3822"/>
                </a:lnTo>
                <a:lnTo>
                  <a:pt x="8178" y="3820"/>
                </a:lnTo>
                <a:lnTo>
                  <a:pt x="8180" y="3818"/>
                </a:lnTo>
                <a:lnTo>
                  <a:pt x="8184" y="3812"/>
                </a:lnTo>
                <a:lnTo>
                  <a:pt x="8188" y="3796"/>
                </a:lnTo>
                <a:lnTo>
                  <a:pt x="8186" y="3790"/>
                </a:lnTo>
                <a:lnTo>
                  <a:pt x="8184" y="3786"/>
                </a:lnTo>
                <a:lnTo>
                  <a:pt x="8182" y="3780"/>
                </a:lnTo>
                <a:lnTo>
                  <a:pt x="8182" y="3776"/>
                </a:lnTo>
                <a:lnTo>
                  <a:pt x="8182" y="3772"/>
                </a:lnTo>
                <a:lnTo>
                  <a:pt x="8184" y="3764"/>
                </a:lnTo>
                <a:lnTo>
                  <a:pt x="8184" y="3758"/>
                </a:lnTo>
                <a:lnTo>
                  <a:pt x="8180" y="3750"/>
                </a:lnTo>
                <a:lnTo>
                  <a:pt x="8174" y="3746"/>
                </a:lnTo>
                <a:lnTo>
                  <a:pt x="8170" y="3744"/>
                </a:lnTo>
                <a:lnTo>
                  <a:pt x="8168" y="3744"/>
                </a:lnTo>
                <a:lnTo>
                  <a:pt x="8164" y="3748"/>
                </a:lnTo>
                <a:lnTo>
                  <a:pt x="8160" y="3762"/>
                </a:lnTo>
                <a:lnTo>
                  <a:pt x="8156" y="3774"/>
                </a:lnTo>
                <a:lnTo>
                  <a:pt x="8154" y="3784"/>
                </a:lnTo>
                <a:lnTo>
                  <a:pt x="8152" y="3816"/>
                </a:lnTo>
                <a:lnTo>
                  <a:pt x="8148" y="3804"/>
                </a:lnTo>
                <a:lnTo>
                  <a:pt x="8146" y="3794"/>
                </a:lnTo>
                <a:lnTo>
                  <a:pt x="8142" y="3786"/>
                </a:lnTo>
                <a:lnTo>
                  <a:pt x="8138" y="3778"/>
                </a:lnTo>
                <a:lnTo>
                  <a:pt x="8132" y="3774"/>
                </a:lnTo>
                <a:lnTo>
                  <a:pt x="8132" y="3770"/>
                </a:lnTo>
                <a:lnTo>
                  <a:pt x="8132" y="3768"/>
                </a:lnTo>
                <a:lnTo>
                  <a:pt x="8130" y="3760"/>
                </a:lnTo>
                <a:lnTo>
                  <a:pt x="8128" y="3756"/>
                </a:lnTo>
                <a:lnTo>
                  <a:pt x="8126" y="3752"/>
                </a:lnTo>
                <a:lnTo>
                  <a:pt x="8128" y="3744"/>
                </a:lnTo>
                <a:lnTo>
                  <a:pt x="8128" y="3736"/>
                </a:lnTo>
                <a:lnTo>
                  <a:pt x="8126" y="3732"/>
                </a:lnTo>
                <a:lnTo>
                  <a:pt x="8124" y="3726"/>
                </a:lnTo>
                <a:lnTo>
                  <a:pt x="8122" y="3720"/>
                </a:lnTo>
                <a:lnTo>
                  <a:pt x="8122" y="3718"/>
                </a:lnTo>
                <a:lnTo>
                  <a:pt x="8126" y="3718"/>
                </a:lnTo>
                <a:lnTo>
                  <a:pt x="8128" y="3722"/>
                </a:lnTo>
                <a:lnTo>
                  <a:pt x="8130" y="3722"/>
                </a:lnTo>
                <a:lnTo>
                  <a:pt x="8132" y="3722"/>
                </a:lnTo>
                <a:lnTo>
                  <a:pt x="8132" y="3724"/>
                </a:lnTo>
                <a:lnTo>
                  <a:pt x="8130" y="3726"/>
                </a:lnTo>
                <a:lnTo>
                  <a:pt x="8128" y="3728"/>
                </a:lnTo>
                <a:lnTo>
                  <a:pt x="8132" y="3728"/>
                </a:lnTo>
                <a:lnTo>
                  <a:pt x="8134" y="3730"/>
                </a:lnTo>
                <a:lnTo>
                  <a:pt x="8132" y="3732"/>
                </a:lnTo>
                <a:lnTo>
                  <a:pt x="8134" y="3734"/>
                </a:lnTo>
                <a:lnTo>
                  <a:pt x="8138" y="3736"/>
                </a:lnTo>
                <a:lnTo>
                  <a:pt x="8140" y="3738"/>
                </a:lnTo>
                <a:lnTo>
                  <a:pt x="8142" y="3740"/>
                </a:lnTo>
                <a:lnTo>
                  <a:pt x="8144" y="3740"/>
                </a:lnTo>
                <a:lnTo>
                  <a:pt x="8144" y="3738"/>
                </a:lnTo>
                <a:lnTo>
                  <a:pt x="8146" y="3738"/>
                </a:lnTo>
                <a:lnTo>
                  <a:pt x="8146" y="3736"/>
                </a:lnTo>
                <a:lnTo>
                  <a:pt x="8146" y="3734"/>
                </a:lnTo>
                <a:lnTo>
                  <a:pt x="8150" y="3730"/>
                </a:lnTo>
                <a:lnTo>
                  <a:pt x="8150" y="3722"/>
                </a:lnTo>
                <a:lnTo>
                  <a:pt x="8150" y="3720"/>
                </a:lnTo>
                <a:lnTo>
                  <a:pt x="8152" y="3718"/>
                </a:lnTo>
                <a:lnTo>
                  <a:pt x="8158" y="3720"/>
                </a:lnTo>
                <a:lnTo>
                  <a:pt x="8160" y="3722"/>
                </a:lnTo>
                <a:lnTo>
                  <a:pt x="8160" y="3720"/>
                </a:lnTo>
                <a:lnTo>
                  <a:pt x="8162" y="3718"/>
                </a:lnTo>
                <a:lnTo>
                  <a:pt x="8164" y="3718"/>
                </a:lnTo>
                <a:lnTo>
                  <a:pt x="8164" y="3714"/>
                </a:lnTo>
                <a:lnTo>
                  <a:pt x="8166" y="3712"/>
                </a:lnTo>
                <a:lnTo>
                  <a:pt x="8168" y="3708"/>
                </a:lnTo>
                <a:lnTo>
                  <a:pt x="8166" y="3706"/>
                </a:lnTo>
                <a:lnTo>
                  <a:pt x="8166" y="3704"/>
                </a:lnTo>
                <a:lnTo>
                  <a:pt x="8166" y="3702"/>
                </a:lnTo>
                <a:lnTo>
                  <a:pt x="8164" y="3700"/>
                </a:lnTo>
                <a:lnTo>
                  <a:pt x="8162" y="3700"/>
                </a:lnTo>
                <a:lnTo>
                  <a:pt x="8162" y="3702"/>
                </a:lnTo>
                <a:lnTo>
                  <a:pt x="8162" y="3704"/>
                </a:lnTo>
                <a:lnTo>
                  <a:pt x="8160" y="3704"/>
                </a:lnTo>
                <a:lnTo>
                  <a:pt x="8156" y="3704"/>
                </a:lnTo>
                <a:lnTo>
                  <a:pt x="8154" y="3706"/>
                </a:lnTo>
                <a:lnTo>
                  <a:pt x="8152" y="3700"/>
                </a:lnTo>
                <a:lnTo>
                  <a:pt x="8152" y="3696"/>
                </a:lnTo>
                <a:lnTo>
                  <a:pt x="8152" y="3690"/>
                </a:lnTo>
                <a:lnTo>
                  <a:pt x="8152" y="3688"/>
                </a:lnTo>
                <a:lnTo>
                  <a:pt x="8150" y="3688"/>
                </a:lnTo>
                <a:lnTo>
                  <a:pt x="8148" y="3688"/>
                </a:lnTo>
                <a:lnTo>
                  <a:pt x="8148" y="3692"/>
                </a:lnTo>
                <a:lnTo>
                  <a:pt x="8148" y="3696"/>
                </a:lnTo>
                <a:lnTo>
                  <a:pt x="8146" y="3698"/>
                </a:lnTo>
                <a:lnTo>
                  <a:pt x="8144" y="3698"/>
                </a:lnTo>
                <a:lnTo>
                  <a:pt x="8140" y="3696"/>
                </a:lnTo>
                <a:lnTo>
                  <a:pt x="8136" y="3698"/>
                </a:lnTo>
                <a:lnTo>
                  <a:pt x="8134" y="3700"/>
                </a:lnTo>
                <a:lnTo>
                  <a:pt x="8130" y="3702"/>
                </a:lnTo>
                <a:lnTo>
                  <a:pt x="8128" y="3704"/>
                </a:lnTo>
                <a:lnTo>
                  <a:pt x="8126" y="3712"/>
                </a:lnTo>
                <a:lnTo>
                  <a:pt x="8118" y="3704"/>
                </a:lnTo>
                <a:lnTo>
                  <a:pt x="8106" y="3696"/>
                </a:lnTo>
                <a:lnTo>
                  <a:pt x="8098" y="3686"/>
                </a:lnTo>
                <a:lnTo>
                  <a:pt x="8094" y="3680"/>
                </a:lnTo>
                <a:lnTo>
                  <a:pt x="8094" y="3676"/>
                </a:lnTo>
                <a:lnTo>
                  <a:pt x="8094" y="3672"/>
                </a:lnTo>
                <a:lnTo>
                  <a:pt x="8092" y="3670"/>
                </a:lnTo>
                <a:lnTo>
                  <a:pt x="8086" y="3668"/>
                </a:lnTo>
                <a:lnTo>
                  <a:pt x="8080" y="3666"/>
                </a:lnTo>
                <a:lnTo>
                  <a:pt x="8078" y="3664"/>
                </a:lnTo>
                <a:lnTo>
                  <a:pt x="8076" y="3662"/>
                </a:lnTo>
                <a:lnTo>
                  <a:pt x="8074" y="3654"/>
                </a:lnTo>
                <a:lnTo>
                  <a:pt x="8072" y="3648"/>
                </a:lnTo>
                <a:lnTo>
                  <a:pt x="8066" y="3638"/>
                </a:lnTo>
                <a:lnTo>
                  <a:pt x="8060" y="3620"/>
                </a:lnTo>
                <a:lnTo>
                  <a:pt x="8056" y="3608"/>
                </a:lnTo>
                <a:lnTo>
                  <a:pt x="8052" y="3602"/>
                </a:lnTo>
                <a:lnTo>
                  <a:pt x="8048" y="3596"/>
                </a:lnTo>
                <a:lnTo>
                  <a:pt x="8046" y="3588"/>
                </a:lnTo>
                <a:lnTo>
                  <a:pt x="8046" y="3584"/>
                </a:lnTo>
                <a:lnTo>
                  <a:pt x="8042" y="3580"/>
                </a:lnTo>
                <a:lnTo>
                  <a:pt x="8036" y="3578"/>
                </a:lnTo>
                <a:lnTo>
                  <a:pt x="8030" y="3578"/>
                </a:lnTo>
                <a:lnTo>
                  <a:pt x="8030" y="3576"/>
                </a:lnTo>
                <a:lnTo>
                  <a:pt x="8032" y="3572"/>
                </a:lnTo>
                <a:lnTo>
                  <a:pt x="8034" y="3568"/>
                </a:lnTo>
                <a:lnTo>
                  <a:pt x="8038" y="3566"/>
                </a:lnTo>
                <a:lnTo>
                  <a:pt x="8046" y="3566"/>
                </a:lnTo>
                <a:lnTo>
                  <a:pt x="8046" y="3562"/>
                </a:lnTo>
                <a:lnTo>
                  <a:pt x="8038" y="3546"/>
                </a:lnTo>
                <a:lnTo>
                  <a:pt x="8038" y="3542"/>
                </a:lnTo>
                <a:lnTo>
                  <a:pt x="8040" y="3540"/>
                </a:lnTo>
                <a:lnTo>
                  <a:pt x="8048" y="3544"/>
                </a:lnTo>
                <a:lnTo>
                  <a:pt x="8056" y="3548"/>
                </a:lnTo>
                <a:lnTo>
                  <a:pt x="8060" y="3548"/>
                </a:lnTo>
                <a:lnTo>
                  <a:pt x="8062" y="3548"/>
                </a:lnTo>
                <a:lnTo>
                  <a:pt x="8070" y="3544"/>
                </a:lnTo>
                <a:lnTo>
                  <a:pt x="8074" y="3544"/>
                </a:lnTo>
                <a:lnTo>
                  <a:pt x="8076" y="3540"/>
                </a:lnTo>
                <a:lnTo>
                  <a:pt x="8078" y="3532"/>
                </a:lnTo>
                <a:lnTo>
                  <a:pt x="8080" y="3530"/>
                </a:lnTo>
                <a:lnTo>
                  <a:pt x="8082" y="3530"/>
                </a:lnTo>
                <a:lnTo>
                  <a:pt x="8090" y="3534"/>
                </a:lnTo>
                <a:lnTo>
                  <a:pt x="8096" y="3538"/>
                </a:lnTo>
                <a:lnTo>
                  <a:pt x="8102" y="3540"/>
                </a:lnTo>
                <a:lnTo>
                  <a:pt x="8108" y="3542"/>
                </a:lnTo>
                <a:lnTo>
                  <a:pt x="8114" y="3538"/>
                </a:lnTo>
                <a:lnTo>
                  <a:pt x="8120" y="3536"/>
                </a:lnTo>
                <a:lnTo>
                  <a:pt x="8122" y="3536"/>
                </a:lnTo>
                <a:lnTo>
                  <a:pt x="8126" y="3538"/>
                </a:lnTo>
                <a:lnTo>
                  <a:pt x="8126" y="3540"/>
                </a:lnTo>
                <a:lnTo>
                  <a:pt x="8130" y="3550"/>
                </a:lnTo>
                <a:lnTo>
                  <a:pt x="8132" y="3556"/>
                </a:lnTo>
                <a:lnTo>
                  <a:pt x="8138" y="3562"/>
                </a:lnTo>
                <a:lnTo>
                  <a:pt x="8142" y="3566"/>
                </a:lnTo>
                <a:lnTo>
                  <a:pt x="8146" y="3572"/>
                </a:lnTo>
                <a:lnTo>
                  <a:pt x="8150" y="3582"/>
                </a:lnTo>
                <a:lnTo>
                  <a:pt x="8154" y="3594"/>
                </a:lnTo>
                <a:lnTo>
                  <a:pt x="8156" y="3600"/>
                </a:lnTo>
                <a:lnTo>
                  <a:pt x="8160" y="3606"/>
                </a:lnTo>
                <a:lnTo>
                  <a:pt x="8164" y="3612"/>
                </a:lnTo>
                <a:lnTo>
                  <a:pt x="8166" y="3616"/>
                </a:lnTo>
                <a:lnTo>
                  <a:pt x="8166" y="3624"/>
                </a:lnTo>
                <a:lnTo>
                  <a:pt x="8168" y="3632"/>
                </a:lnTo>
                <a:lnTo>
                  <a:pt x="8170" y="3636"/>
                </a:lnTo>
                <a:lnTo>
                  <a:pt x="8176" y="3644"/>
                </a:lnTo>
                <a:lnTo>
                  <a:pt x="8182" y="3650"/>
                </a:lnTo>
                <a:lnTo>
                  <a:pt x="8190" y="3656"/>
                </a:lnTo>
                <a:lnTo>
                  <a:pt x="8208" y="3664"/>
                </a:lnTo>
                <a:lnTo>
                  <a:pt x="8222" y="3670"/>
                </a:lnTo>
                <a:lnTo>
                  <a:pt x="8226" y="3672"/>
                </a:lnTo>
                <a:lnTo>
                  <a:pt x="8226" y="3678"/>
                </a:lnTo>
                <a:lnTo>
                  <a:pt x="8226" y="3680"/>
                </a:lnTo>
                <a:lnTo>
                  <a:pt x="8230" y="3684"/>
                </a:lnTo>
                <a:lnTo>
                  <a:pt x="8238" y="3690"/>
                </a:lnTo>
                <a:lnTo>
                  <a:pt x="8248" y="3696"/>
                </a:lnTo>
                <a:lnTo>
                  <a:pt x="8254" y="3700"/>
                </a:lnTo>
                <a:lnTo>
                  <a:pt x="8262" y="3708"/>
                </a:lnTo>
                <a:lnTo>
                  <a:pt x="8270" y="3712"/>
                </a:lnTo>
                <a:lnTo>
                  <a:pt x="8276" y="3714"/>
                </a:lnTo>
                <a:lnTo>
                  <a:pt x="8282" y="3714"/>
                </a:lnTo>
                <a:lnTo>
                  <a:pt x="8292" y="3714"/>
                </a:lnTo>
                <a:lnTo>
                  <a:pt x="8298" y="3716"/>
                </a:lnTo>
                <a:lnTo>
                  <a:pt x="8302" y="3720"/>
                </a:lnTo>
                <a:lnTo>
                  <a:pt x="8308" y="3724"/>
                </a:lnTo>
                <a:lnTo>
                  <a:pt x="8312" y="3726"/>
                </a:lnTo>
                <a:lnTo>
                  <a:pt x="8316" y="3724"/>
                </a:lnTo>
                <a:lnTo>
                  <a:pt x="8322" y="3722"/>
                </a:lnTo>
                <a:lnTo>
                  <a:pt x="8330" y="3714"/>
                </a:lnTo>
                <a:lnTo>
                  <a:pt x="8334" y="3712"/>
                </a:lnTo>
                <a:lnTo>
                  <a:pt x="8340" y="3712"/>
                </a:lnTo>
                <a:lnTo>
                  <a:pt x="8346" y="3710"/>
                </a:lnTo>
                <a:lnTo>
                  <a:pt x="8348" y="3706"/>
                </a:lnTo>
                <a:lnTo>
                  <a:pt x="8350" y="3702"/>
                </a:lnTo>
                <a:lnTo>
                  <a:pt x="8352" y="3702"/>
                </a:lnTo>
                <a:lnTo>
                  <a:pt x="8356" y="3700"/>
                </a:lnTo>
                <a:lnTo>
                  <a:pt x="8360" y="3700"/>
                </a:lnTo>
                <a:lnTo>
                  <a:pt x="8364" y="3698"/>
                </a:lnTo>
                <a:lnTo>
                  <a:pt x="8368" y="3692"/>
                </a:lnTo>
                <a:lnTo>
                  <a:pt x="8372" y="3690"/>
                </a:lnTo>
                <a:lnTo>
                  <a:pt x="8376" y="3690"/>
                </a:lnTo>
                <a:lnTo>
                  <a:pt x="8382" y="3690"/>
                </a:lnTo>
                <a:lnTo>
                  <a:pt x="8388" y="3690"/>
                </a:lnTo>
                <a:lnTo>
                  <a:pt x="8396" y="3694"/>
                </a:lnTo>
                <a:lnTo>
                  <a:pt x="8402" y="3702"/>
                </a:lnTo>
                <a:lnTo>
                  <a:pt x="8406" y="3712"/>
                </a:lnTo>
                <a:lnTo>
                  <a:pt x="8408" y="3722"/>
                </a:lnTo>
                <a:lnTo>
                  <a:pt x="8412" y="3742"/>
                </a:lnTo>
                <a:lnTo>
                  <a:pt x="8414" y="3758"/>
                </a:lnTo>
                <a:lnTo>
                  <a:pt x="8418" y="3762"/>
                </a:lnTo>
                <a:lnTo>
                  <a:pt x="8420" y="3764"/>
                </a:lnTo>
                <a:lnTo>
                  <a:pt x="8430" y="3766"/>
                </a:lnTo>
                <a:lnTo>
                  <a:pt x="8438" y="3768"/>
                </a:lnTo>
                <a:lnTo>
                  <a:pt x="8444" y="3770"/>
                </a:lnTo>
                <a:lnTo>
                  <a:pt x="8446" y="3772"/>
                </a:lnTo>
                <a:lnTo>
                  <a:pt x="8450" y="3774"/>
                </a:lnTo>
                <a:lnTo>
                  <a:pt x="8454" y="3774"/>
                </a:lnTo>
                <a:lnTo>
                  <a:pt x="8458" y="3772"/>
                </a:lnTo>
                <a:lnTo>
                  <a:pt x="8468" y="3772"/>
                </a:lnTo>
                <a:lnTo>
                  <a:pt x="8474" y="3774"/>
                </a:lnTo>
                <a:lnTo>
                  <a:pt x="8478" y="3776"/>
                </a:lnTo>
                <a:lnTo>
                  <a:pt x="8484" y="3780"/>
                </a:lnTo>
                <a:lnTo>
                  <a:pt x="8490" y="3782"/>
                </a:lnTo>
                <a:lnTo>
                  <a:pt x="8492" y="3782"/>
                </a:lnTo>
                <a:lnTo>
                  <a:pt x="8496" y="3782"/>
                </a:lnTo>
                <a:lnTo>
                  <a:pt x="8502" y="3780"/>
                </a:lnTo>
                <a:lnTo>
                  <a:pt x="8508" y="3780"/>
                </a:lnTo>
                <a:lnTo>
                  <a:pt x="8524" y="3784"/>
                </a:lnTo>
                <a:lnTo>
                  <a:pt x="8538" y="3788"/>
                </a:lnTo>
                <a:lnTo>
                  <a:pt x="8542" y="3788"/>
                </a:lnTo>
                <a:lnTo>
                  <a:pt x="8542" y="3786"/>
                </a:lnTo>
                <a:lnTo>
                  <a:pt x="8542" y="3782"/>
                </a:lnTo>
                <a:lnTo>
                  <a:pt x="8544" y="3780"/>
                </a:lnTo>
                <a:lnTo>
                  <a:pt x="8546" y="3780"/>
                </a:lnTo>
                <a:lnTo>
                  <a:pt x="8550" y="3786"/>
                </a:lnTo>
                <a:lnTo>
                  <a:pt x="8554" y="3790"/>
                </a:lnTo>
                <a:lnTo>
                  <a:pt x="8560" y="3792"/>
                </a:lnTo>
                <a:lnTo>
                  <a:pt x="8568" y="3792"/>
                </a:lnTo>
                <a:lnTo>
                  <a:pt x="8578" y="3796"/>
                </a:lnTo>
                <a:lnTo>
                  <a:pt x="8582" y="3798"/>
                </a:lnTo>
                <a:lnTo>
                  <a:pt x="8584" y="3798"/>
                </a:lnTo>
                <a:lnTo>
                  <a:pt x="8586" y="3796"/>
                </a:lnTo>
                <a:lnTo>
                  <a:pt x="8586" y="3792"/>
                </a:lnTo>
                <a:lnTo>
                  <a:pt x="8588" y="3790"/>
                </a:lnTo>
                <a:lnTo>
                  <a:pt x="8590" y="3790"/>
                </a:lnTo>
                <a:lnTo>
                  <a:pt x="8594" y="3798"/>
                </a:lnTo>
                <a:lnTo>
                  <a:pt x="8598" y="3800"/>
                </a:lnTo>
                <a:lnTo>
                  <a:pt x="8602" y="3800"/>
                </a:lnTo>
                <a:lnTo>
                  <a:pt x="8604" y="3798"/>
                </a:lnTo>
                <a:lnTo>
                  <a:pt x="8612" y="3794"/>
                </a:lnTo>
                <a:lnTo>
                  <a:pt x="8616" y="3792"/>
                </a:lnTo>
                <a:lnTo>
                  <a:pt x="8618" y="3792"/>
                </a:lnTo>
                <a:lnTo>
                  <a:pt x="8620" y="3794"/>
                </a:lnTo>
                <a:lnTo>
                  <a:pt x="8622" y="3794"/>
                </a:lnTo>
                <a:lnTo>
                  <a:pt x="8626" y="3790"/>
                </a:lnTo>
                <a:lnTo>
                  <a:pt x="8628" y="3788"/>
                </a:lnTo>
                <a:lnTo>
                  <a:pt x="8634" y="3788"/>
                </a:lnTo>
                <a:lnTo>
                  <a:pt x="8640" y="3788"/>
                </a:lnTo>
                <a:lnTo>
                  <a:pt x="8650" y="3790"/>
                </a:lnTo>
                <a:lnTo>
                  <a:pt x="8658" y="3792"/>
                </a:lnTo>
                <a:lnTo>
                  <a:pt x="8664" y="3794"/>
                </a:lnTo>
                <a:lnTo>
                  <a:pt x="8666" y="3792"/>
                </a:lnTo>
                <a:lnTo>
                  <a:pt x="8666" y="3790"/>
                </a:lnTo>
                <a:lnTo>
                  <a:pt x="8668" y="3788"/>
                </a:lnTo>
                <a:lnTo>
                  <a:pt x="8670" y="3786"/>
                </a:lnTo>
                <a:lnTo>
                  <a:pt x="8674" y="3786"/>
                </a:lnTo>
                <a:lnTo>
                  <a:pt x="8682" y="3786"/>
                </a:lnTo>
                <a:lnTo>
                  <a:pt x="8698" y="3790"/>
                </a:lnTo>
                <a:lnTo>
                  <a:pt x="8708" y="3792"/>
                </a:lnTo>
                <a:lnTo>
                  <a:pt x="8712" y="3794"/>
                </a:lnTo>
                <a:lnTo>
                  <a:pt x="8716" y="3790"/>
                </a:lnTo>
                <a:lnTo>
                  <a:pt x="8720" y="3788"/>
                </a:lnTo>
                <a:lnTo>
                  <a:pt x="8728" y="3786"/>
                </a:lnTo>
                <a:lnTo>
                  <a:pt x="8754" y="3782"/>
                </a:lnTo>
                <a:lnTo>
                  <a:pt x="8780" y="3782"/>
                </a:lnTo>
                <a:lnTo>
                  <a:pt x="8788" y="3784"/>
                </a:lnTo>
                <a:lnTo>
                  <a:pt x="8792" y="3786"/>
                </a:lnTo>
                <a:lnTo>
                  <a:pt x="8792" y="3788"/>
                </a:lnTo>
                <a:lnTo>
                  <a:pt x="8794" y="3798"/>
                </a:lnTo>
                <a:lnTo>
                  <a:pt x="8792" y="3804"/>
                </a:lnTo>
                <a:lnTo>
                  <a:pt x="8794" y="3808"/>
                </a:lnTo>
                <a:lnTo>
                  <a:pt x="8796" y="3810"/>
                </a:lnTo>
                <a:lnTo>
                  <a:pt x="8804" y="3812"/>
                </a:lnTo>
                <a:lnTo>
                  <a:pt x="8810" y="3812"/>
                </a:lnTo>
                <a:lnTo>
                  <a:pt x="8812" y="3814"/>
                </a:lnTo>
                <a:lnTo>
                  <a:pt x="8814" y="3816"/>
                </a:lnTo>
                <a:lnTo>
                  <a:pt x="8814" y="3820"/>
                </a:lnTo>
                <a:lnTo>
                  <a:pt x="8814" y="3826"/>
                </a:lnTo>
                <a:lnTo>
                  <a:pt x="8814" y="3830"/>
                </a:lnTo>
                <a:lnTo>
                  <a:pt x="8816" y="3832"/>
                </a:lnTo>
                <a:lnTo>
                  <a:pt x="8820" y="3838"/>
                </a:lnTo>
                <a:lnTo>
                  <a:pt x="8820" y="3842"/>
                </a:lnTo>
                <a:lnTo>
                  <a:pt x="8820" y="3846"/>
                </a:lnTo>
                <a:lnTo>
                  <a:pt x="8822" y="3850"/>
                </a:lnTo>
                <a:lnTo>
                  <a:pt x="8826" y="3854"/>
                </a:lnTo>
                <a:lnTo>
                  <a:pt x="8824" y="3856"/>
                </a:lnTo>
                <a:lnTo>
                  <a:pt x="8824" y="3858"/>
                </a:lnTo>
                <a:lnTo>
                  <a:pt x="8828" y="3862"/>
                </a:lnTo>
                <a:lnTo>
                  <a:pt x="8832" y="3864"/>
                </a:lnTo>
                <a:lnTo>
                  <a:pt x="8834" y="3864"/>
                </a:lnTo>
                <a:lnTo>
                  <a:pt x="8838" y="3862"/>
                </a:lnTo>
                <a:lnTo>
                  <a:pt x="8840" y="3862"/>
                </a:lnTo>
                <a:lnTo>
                  <a:pt x="8844" y="3862"/>
                </a:lnTo>
                <a:lnTo>
                  <a:pt x="8846" y="3864"/>
                </a:lnTo>
                <a:lnTo>
                  <a:pt x="8852" y="3870"/>
                </a:lnTo>
                <a:lnTo>
                  <a:pt x="8856" y="3874"/>
                </a:lnTo>
                <a:lnTo>
                  <a:pt x="8860" y="3876"/>
                </a:lnTo>
                <a:lnTo>
                  <a:pt x="8864" y="3880"/>
                </a:lnTo>
                <a:lnTo>
                  <a:pt x="8870" y="3888"/>
                </a:lnTo>
                <a:lnTo>
                  <a:pt x="8874" y="3896"/>
                </a:lnTo>
                <a:lnTo>
                  <a:pt x="8880" y="3902"/>
                </a:lnTo>
                <a:lnTo>
                  <a:pt x="8888" y="3908"/>
                </a:lnTo>
                <a:lnTo>
                  <a:pt x="8896" y="3912"/>
                </a:lnTo>
                <a:lnTo>
                  <a:pt x="8904" y="3914"/>
                </a:lnTo>
                <a:lnTo>
                  <a:pt x="8912" y="3916"/>
                </a:lnTo>
                <a:lnTo>
                  <a:pt x="8920" y="3914"/>
                </a:lnTo>
                <a:lnTo>
                  <a:pt x="8926" y="3910"/>
                </a:lnTo>
                <a:lnTo>
                  <a:pt x="8932" y="3908"/>
                </a:lnTo>
                <a:lnTo>
                  <a:pt x="8936" y="3908"/>
                </a:lnTo>
                <a:lnTo>
                  <a:pt x="8940" y="3910"/>
                </a:lnTo>
                <a:lnTo>
                  <a:pt x="8940" y="3914"/>
                </a:lnTo>
                <a:lnTo>
                  <a:pt x="8940" y="3920"/>
                </a:lnTo>
                <a:lnTo>
                  <a:pt x="8934" y="3926"/>
                </a:lnTo>
                <a:lnTo>
                  <a:pt x="8928" y="3930"/>
                </a:lnTo>
                <a:lnTo>
                  <a:pt x="8916" y="3934"/>
                </a:lnTo>
                <a:lnTo>
                  <a:pt x="8904" y="3934"/>
                </a:lnTo>
                <a:lnTo>
                  <a:pt x="8894" y="3934"/>
                </a:lnTo>
                <a:lnTo>
                  <a:pt x="8880" y="3932"/>
                </a:lnTo>
                <a:lnTo>
                  <a:pt x="8880" y="3934"/>
                </a:lnTo>
                <a:lnTo>
                  <a:pt x="8884" y="3940"/>
                </a:lnTo>
                <a:lnTo>
                  <a:pt x="8908" y="3970"/>
                </a:lnTo>
                <a:lnTo>
                  <a:pt x="8938" y="4004"/>
                </a:lnTo>
                <a:lnTo>
                  <a:pt x="8948" y="4014"/>
                </a:lnTo>
                <a:lnTo>
                  <a:pt x="8958" y="4020"/>
                </a:lnTo>
                <a:lnTo>
                  <a:pt x="8968" y="4020"/>
                </a:lnTo>
                <a:lnTo>
                  <a:pt x="8978" y="4018"/>
                </a:lnTo>
                <a:lnTo>
                  <a:pt x="8990" y="4010"/>
                </a:lnTo>
                <a:lnTo>
                  <a:pt x="9006" y="3998"/>
                </a:lnTo>
                <a:lnTo>
                  <a:pt x="9012" y="3990"/>
                </a:lnTo>
                <a:lnTo>
                  <a:pt x="9016" y="3980"/>
                </a:lnTo>
                <a:lnTo>
                  <a:pt x="9016" y="3972"/>
                </a:lnTo>
                <a:lnTo>
                  <a:pt x="9016" y="3964"/>
                </a:lnTo>
                <a:lnTo>
                  <a:pt x="9016" y="3956"/>
                </a:lnTo>
                <a:lnTo>
                  <a:pt x="9018" y="3950"/>
                </a:lnTo>
                <a:lnTo>
                  <a:pt x="9020" y="3944"/>
                </a:lnTo>
                <a:lnTo>
                  <a:pt x="9026" y="3940"/>
                </a:lnTo>
                <a:lnTo>
                  <a:pt x="9034" y="3940"/>
                </a:lnTo>
                <a:lnTo>
                  <a:pt x="9036" y="3940"/>
                </a:lnTo>
                <a:lnTo>
                  <a:pt x="9036" y="3942"/>
                </a:lnTo>
                <a:lnTo>
                  <a:pt x="9034" y="3944"/>
                </a:lnTo>
                <a:lnTo>
                  <a:pt x="9030" y="3954"/>
                </a:lnTo>
                <a:lnTo>
                  <a:pt x="9030" y="3958"/>
                </a:lnTo>
                <a:lnTo>
                  <a:pt x="9032" y="3964"/>
                </a:lnTo>
                <a:lnTo>
                  <a:pt x="9034" y="3968"/>
                </a:lnTo>
                <a:lnTo>
                  <a:pt x="9034" y="3972"/>
                </a:lnTo>
                <a:lnTo>
                  <a:pt x="9032" y="3978"/>
                </a:lnTo>
                <a:lnTo>
                  <a:pt x="9032" y="3982"/>
                </a:lnTo>
                <a:lnTo>
                  <a:pt x="9032" y="3988"/>
                </a:lnTo>
                <a:lnTo>
                  <a:pt x="9034" y="3994"/>
                </a:lnTo>
                <a:lnTo>
                  <a:pt x="9038" y="4004"/>
                </a:lnTo>
                <a:lnTo>
                  <a:pt x="9042" y="4014"/>
                </a:lnTo>
                <a:lnTo>
                  <a:pt x="9042" y="4022"/>
                </a:lnTo>
                <a:lnTo>
                  <a:pt x="9040" y="4038"/>
                </a:lnTo>
                <a:lnTo>
                  <a:pt x="9038" y="4048"/>
                </a:lnTo>
                <a:lnTo>
                  <a:pt x="9036" y="4062"/>
                </a:lnTo>
                <a:lnTo>
                  <a:pt x="9036" y="4084"/>
                </a:lnTo>
                <a:lnTo>
                  <a:pt x="9040" y="4112"/>
                </a:lnTo>
                <a:lnTo>
                  <a:pt x="9058" y="4210"/>
                </a:lnTo>
                <a:lnTo>
                  <a:pt x="9064" y="4240"/>
                </a:lnTo>
                <a:lnTo>
                  <a:pt x="9072" y="4260"/>
                </a:lnTo>
                <a:lnTo>
                  <a:pt x="9082" y="4284"/>
                </a:lnTo>
                <a:lnTo>
                  <a:pt x="9098" y="4320"/>
                </a:lnTo>
                <a:lnTo>
                  <a:pt x="9112" y="4364"/>
                </a:lnTo>
                <a:lnTo>
                  <a:pt x="9118" y="4384"/>
                </a:lnTo>
                <a:lnTo>
                  <a:pt x="9122" y="4404"/>
                </a:lnTo>
                <a:lnTo>
                  <a:pt x="9124" y="4418"/>
                </a:lnTo>
                <a:lnTo>
                  <a:pt x="9130" y="4432"/>
                </a:lnTo>
                <a:lnTo>
                  <a:pt x="9142" y="4454"/>
                </a:lnTo>
                <a:lnTo>
                  <a:pt x="9150" y="4468"/>
                </a:lnTo>
                <a:lnTo>
                  <a:pt x="9158" y="4484"/>
                </a:lnTo>
                <a:lnTo>
                  <a:pt x="9164" y="4504"/>
                </a:lnTo>
                <a:lnTo>
                  <a:pt x="9170" y="4530"/>
                </a:lnTo>
                <a:lnTo>
                  <a:pt x="9178" y="4558"/>
                </a:lnTo>
                <a:lnTo>
                  <a:pt x="9186" y="4582"/>
                </a:lnTo>
                <a:lnTo>
                  <a:pt x="9194" y="4604"/>
                </a:lnTo>
                <a:lnTo>
                  <a:pt x="9202" y="4622"/>
                </a:lnTo>
                <a:lnTo>
                  <a:pt x="9212" y="4636"/>
                </a:lnTo>
                <a:lnTo>
                  <a:pt x="9218" y="4640"/>
                </a:lnTo>
                <a:lnTo>
                  <a:pt x="9222" y="4644"/>
                </a:lnTo>
                <a:lnTo>
                  <a:pt x="9228" y="4646"/>
                </a:lnTo>
                <a:lnTo>
                  <a:pt x="9232" y="4646"/>
                </a:lnTo>
                <a:lnTo>
                  <a:pt x="9238" y="4644"/>
                </a:lnTo>
                <a:lnTo>
                  <a:pt x="9242" y="4640"/>
                </a:lnTo>
                <a:lnTo>
                  <a:pt x="9250" y="4630"/>
                </a:lnTo>
                <a:lnTo>
                  <a:pt x="9254" y="4624"/>
                </a:lnTo>
                <a:lnTo>
                  <a:pt x="9256" y="4616"/>
                </a:lnTo>
                <a:lnTo>
                  <a:pt x="9256" y="4610"/>
                </a:lnTo>
                <a:lnTo>
                  <a:pt x="9258" y="4604"/>
                </a:lnTo>
                <a:lnTo>
                  <a:pt x="9260" y="4600"/>
                </a:lnTo>
                <a:lnTo>
                  <a:pt x="9264" y="4596"/>
                </a:lnTo>
                <a:lnTo>
                  <a:pt x="9272" y="4592"/>
                </a:lnTo>
                <a:lnTo>
                  <a:pt x="9290" y="4590"/>
                </a:lnTo>
                <a:lnTo>
                  <a:pt x="9300" y="4590"/>
                </a:lnTo>
                <a:lnTo>
                  <a:pt x="9306" y="4590"/>
                </a:lnTo>
                <a:lnTo>
                  <a:pt x="9308" y="4590"/>
                </a:lnTo>
                <a:lnTo>
                  <a:pt x="9308" y="4588"/>
                </a:lnTo>
                <a:lnTo>
                  <a:pt x="9308" y="4586"/>
                </a:lnTo>
                <a:lnTo>
                  <a:pt x="9304" y="4584"/>
                </a:lnTo>
                <a:lnTo>
                  <a:pt x="9296" y="4582"/>
                </a:lnTo>
                <a:lnTo>
                  <a:pt x="9292" y="4578"/>
                </a:lnTo>
                <a:lnTo>
                  <a:pt x="9290" y="4574"/>
                </a:lnTo>
                <a:lnTo>
                  <a:pt x="9290" y="4570"/>
                </a:lnTo>
                <a:lnTo>
                  <a:pt x="9294" y="4562"/>
                </a:lnTo>
                <a:lnTo>
                  <a:pt x="9300" y="4554"/>
                </a:lnTo>
                <a:lnTo>
                  <a:pt x="9302" y="4548"/>
                </a:lnTo>
                <a:lnTo>
                  <a:pt x="9302" y="4540"/>
                </a:lnTo>
                <a:lnTo>
                  <a:pt x="9304" y="4538"/>
                </a:lnTo>
                <a:lnTo>
                  <a:pt x="9316" y="4538"/>
                </a:lnTo>
                <a:lnTo>
                  <a:pt x="9324" y="4536"/>
                </a:lnTo>
                <a:lnTo>
                  <a:pt x="9326" y="4534"/>
                </a:lnTo>
                <a:lnTo>
                  <a:pt x="9326" y="4530"/>
                </a:lnTo>
                <a:lnTo>
                  <a:pt x="9326" y="4522"/>
                </a:lnTo>
                <a:lnTo>
                  <a:pt x="9324" y="4512"/>
                </a:lnTo>
                <a:lnTo>
                  <a:pt x="9322" y="4498"/>
                </a:lnTo>
                <a:lnTo>
                  <a:pt x="9322" y="4482"/>
                </a:lnTo>
                <a:lnTo>
                  <a:pt x="9322" y="4464"/>
                </a:lnTo>
                <a:lnTo>
                  <a:pt x="9328" y="4446"/>
                </a:lnTo>
                <a:lnTo>
                  <a:pt x="9336" y="4424"/>
                </a:lnTo>
                <a:lnTo>
                  <a:pt x="9342" y="4406"/>
                </a:lnTo>
                <a:lnTo>
                  <a:pt x="9344" y="4396"/>
                </a:lnTo>
                <a:lnTo>
                  <a:pt x="9344" y="4384"/>
                </a:lnTo>
                <a:lnTo>
                  <a:pt x="9342" y="4370"/>
                </a:lnTo>
                <a:lnTo>
                  <a:pt x="9338" y="4354"/>
                </a:lnTo>
                <a:lnTo>
                  <a:pt x="9336" y="4342"/>
                </a:lnTo>
                <a:lnTo>
                  <a:pt x="9338" y="4336"/>
                </a:lnTo>
                <a:lnTo>
                  <a:pt x="9338" y="4328"/>
                </a:lnTo>
                <a:lnTo>
                  <a:pt x="9334" y="4308"/>
                </a:lnTo>
                <a:lnTo>
                  <a:pt x="9332" y="4296"/>
                </a:lnTo>
                <a:lnTo>
                  <a:pt x="9330" y="4288"/>
                </a:lnTo>
                <a:lnTo>
                  <a:pt x="9332" y="4282"/>
                </a:lnTo>
                <a:lnTo>
                  <a:pt x="9334" y="4276"/>
                </a:lnTo>
                <a:lnTo>
                  <a:pt x="9336" y="4272"/>
                </a:lnTo>
                <a:lnTo>
                  <a:pt x="9340" y="4270"/>
                </a:lnTo>
                <a:lnTo>
                  <a:pt x="9348" y="4266"/>
                </a:lnTo>
                <a:lnTo>
                  <a:pt x="9358" y="4264"/>
                </a:lnTo>
                <a:lnTo>
                  <a:pt x="9368" y="4262"/>
                </a:lnTo>
                <a:lnTo>
                  <a:pt x="9376" y="4258"/>
                </a:lnTo>
                <a:lnTo>
                  <a:pt x="9378" y="4254"/>
                </a:lnTo>
                <a:lnTo>
                  <a:pt x="9380" y="4248"/>
                </a:lnTo>
                <a:lnTo>
                  <a:pt x="9382" y="4240"/>
                </a:lnTo>
                <a:lnTo>
                  <a:pt x="9384" y="4236"/>
                </a:lnTo>
                <a:lnTo>
                  <a:pt x="9386" y="4236"/>
                </a:lnTo>
                <a:lnTo>
                  <a:pt x="9390" y="4238"/>
                </a:lnTo>
                <a:lnTo>
                  <a:pt x="9396" y="4240"/>
                </a:lnTo>
                <a:lnTo>
                  <a:pt x="9402" y="4242"/>
                </a:lnTo>
                <a:lnTo>
                  <a:pt x="9408" y="4240"/>
                </a:lnTo>
                <a:lnTo>
                  <a:pt x="9418" y="4232"/>
                </a:lnTo>
                <a:lnTo>
                  <a:pt x="9424" y="4224"/>
                </a:lnTo>
                <a:lnTo>
                  <a:pt x="9426" y="4218"/>
                </a:lnTo>
                <a:lnTo>
                  <a:pt x="9426" y="4216"/>
                </a:lnTo>
                <a:lnTo>
                  <a:pt x="9426" y="4214"/>
                </a:lnTo>
                <a:lnTo>
                  <a:pt x="9426" y="4210"/>
                </a:lnTo>
                <a:lnTo>
                  <a:pt x="9430" y="4204"/>
                </a:lnTo>
                <a:lnTo>
                  <a:pt x="9440" y="4196"/>
                </a:lnTo>
                <a:lnTo>
                  <a:pt x="9454" y="4182"/>
                </a:lnTo>
                <a:lnTo>
                  <a:pt x="9472" y="4166"/>
                </a:lnTo>
                <a:lnTo>
                  <a:pt x="9488" y="4148"/>
                </a:lnTo>
                <a:lnTo>
                  <a:pt x="9512" y="4118"/>
                </a:lnTo>
                <a:lnTo>
                  <a:pt x="9532" y="4090"/>
                </a:lnTo>
                <a:lnTo>
                  <a:pt x="9542" y="4080"/>
                </a:lnTo>
                <a:lnTo>
                  <a:pt x="9554" y="4070"/>
                </a:lnTo>
                <a:lnTo>
                  <a:pt x="9562" y="4066"/>
                </a:lnTo>
                <a:lnTo>
                  <a:pt x="9568" y="4064"/>
                </a:lnTo>
                <a:lnTo>
                  <a:pt x="9576" y="4064"/>
                </a:lnTo>
                <a:lnTo>
                  <a:pt x="9580" y="4062"/>
                </a:lnTo>
                <a:lnTo>
                  <a:pt x="9586" y="4060"/>
                </a:lnTo>
                <a:lnTo>
                  <a:pt x="9592" y="4052"/>
                </a:lnTo>
                <a:lnTo>
                  <a:pt x="9602" y="4040"/>
                </a:lnTo>
                <a:lnTo>
                  <a:pt x="9610" y="4026"/>
                </a:lnTo>
                <a:lnTo>
                  <a:pt x="9612" y="4016"/>
                </a:lnTo>
                <a:lnTo>
                  <a:pt x="9612" y="4008"/>
                </a:lnTo>
                <a:lnTo>
                  <a:pt x="9610" y="4000"/>
                </a:lnTo>
                <a:lnTo>
                  <a:pt x="9608" y="3994"/>
                </a:lnTo>
                <a:lnTo>
                  <a:pt x="9608" y="3988"/>
                </a:lnTo>
                <a:lnTo>
                  <a:pt x="9614" y="3984"/>
                </a:lnTo>
                <a:lnTo>
                  <a:pt x="9624" y="3978"/>
                </a:lnTo>
                <a:lnTo>
                  <a:pt x="9636" y="3972"/>
                </a:lnTo>
                <a:lnTo>
                  <a:pt x="9646" y="3966"/>
                </a:lnTo>
                <a:lnTo>
                  <a:pt x="9656" y="3958"/>
                </a:lnTo>
                <a:lnTo>
                  <a:pt x="9658" y="3956"/>
                </a:lnTo>
                <a:lnTo>
                  <a:pt x="9660" y="3956"/>
                </a:lnTo>
                <a:lnTo>
                  <a:pt x="9662" y="3966"/>
                </a:lnTo>
                <a:lnTo>
                  <a:pt x="9664" y="3972"/>
                </a:lnTo>
                <a:lnTo>
                  <a:pt x="9666" y="3976"/>
                </a:lnTo>
                <a:lnTo>
                  <a:pt x="9668" y="3976"/>
                </a:lnTo>
                <a:lnTo>
                  <a:pt x="9672" y="3976"/>
                </a:lnTo>
                <a:lnTo>
                  <a:pt x="9678" y="3974"/>
                </a:lnTo>
                <a:lnTo>
                  <a:pt x="9682" y="3972"/>
                </a:lnTo>
                <a:lnTo>
                  <a:pt x="9686" y="3974"/>
                </a:lnTo>
                <a:lnTo>
                  <a:pt x="9694" y="3976"/>
                </a:lnTo>
                <a:lnTo>
                  <a:pt x="9696" y="3976"/>
                </a:lnTo>
                <a:lnTo>
                  <a:pt x="9698" y="3972"/>
                </a:lnTo>
                <a:lnTo>
                  <a:pt x="9696" y="3966"/>
                </a:lnTo>
                <a:lnTo>
                  <a:pt x="9694" y="3960"/>
                </a:lnTo>
                <a:lnTo>
                  <a:pt x="9694" y="3958"/>
                </a:lnTo>
                <a:lnTo>
                  <a:pt x="9698" y="3956"/>
                </a:lnTo>
                <a:lnTo>
                  <a:pt x="9700" y="3962"/>
                </a:lnTo>
                <a:lnTo>
                  <a:pt x="9704" y="3964"/>
                </a:lnTo>
                <a:lnTo>
                  <a:pt x="9706" y="3966"/>
                </a:lnTo>
                <a:lnTo>
                  <a:pt x="9708" y="3966"/>
                </a:lnTo>
                <a:lnTo>
                  <a:pt x="9714" y="3964"/>
                </a:lnTo>
                <a:lnTo>
                  <a:pt x="9716" y="3966"/>
                </a:lnTo>
                <a:lnTo>
                  <a:pt x="9716" y="3968"/>
                </a:lnTo>
                <a:lnTo>
                  <a:pt x="9718" y="3970"/>
                </a:lnTo>
                <a:lnTo>
                  <a:pt x="9720" y="3970"/>
                </a:lnTo>
                <a:lnTo>
                  <a:pt x="9726" y="3964"/>
                </a:lnTo>
                <a:lnTo>
                  <a:pt x="9730" y="3958"/>
                </a:lnTo>
                <a:lnTo>
                  <a:pt x="9734" y="3958"/>
                </a:lnTo>
                <a:lnTo>
                  <a:pt x="9736" y="3962"/>
                </a:lnTo>
                <a:lnTo>
                  <a:pt x="9740" y="3964"/>
                </a:lnTo>
                <a:lnTo>
                  <a:pt x="9744" y="3964"/>
                </a:lnTo>
                <a:lnTo>
                  <a:pt x="9748" y="3960"/>
                </a:lnTo>
                <a:lnTo>
                  <a:pt x="9752" y="3954"/>
                </a:lnTo>
                <a:lnTo>
                  <a:pt x="9754" y="3948"/>
                </a:lnTo>
                <a:lnTo>
                  <a:pt x="9756" y="3940"/>
                </a:lnTo>
                <a:lnTo>
                  <a:pt x="9756" y="3932"/>
                </a:lnTo>
                <a:lnTo>
                  <a:pt x="9756" y="3926"/>
                </a:lnTo>
                <a:lnTo>
                  <a:pt x="9752" y="3916"/>
                </a:lnTo>
                <a:lnTo>
                  <a:pt x="9754" y="3906"/>
                </a:lnTo>
                <a:lnTo>
                  <a:pt x="9754" y="3898"/>
                </a:lnTo>
                <a:lnTo>
                  <a:pt x="9754" y="3890"/>
                </a:lnTo>
                <a:lnTo>
                  <a:pt x="9752" y="3884"/>
                </a:lnTo>
                <a:lnTo>
                  <a:pt x="9754" y="3884"/>
                </a:lnTo>
                <a:lnTo>
                  <a:pt x="9756" y="3878"/>
                </a:lnTo>
                <a:lnTo>
                  <a:pt x="9758" y="3876"/>
                </a:lnTo>
                <a:lnTo>
                  <a:pt x="9760" y="3876"/>
                </a:lnTo>
                <a:lnTo>
                  <a:pt x="9762" y="3884"/>
                </a:lnTo>
                <a:lnTo>
                  <a:pt x="9764" y="3910"/>
                </a:lnTo>
                <a:lnTo>
                  <a:pt x="9768" y="3920"/>
                </a:lnTo>
                <a:lnTo>
                  <a:pt x="9770" y="3924"/>
                </a:lnTo>
                <a:lnTo>
                  <a:pt x="9772" y="3926"/>
                </a:lnTo>
                <a:lnTo>
                  <a:pt x="9776" y="3926"/>
                </a:lnTo>
                <a:lnTo>
                  <a:pt x="9780" y="3926"/>
                </a:lnTo>
                <a:lnTo>
                  <a:pt x="9786" y="3920"/>
                </a:lnTo>
                <a:lnTo>
                  <a:pt x="9788" y="3918"/>
                </a:lnTo>
                <a:lnTo>
                  <a:pt x="9792" y="3918"/>
                </a:lnTo>
                <a:lnTo>
                  <a:pt x="9794" y="3920"/>
                </a:lnTo>
                <a:lnTo>
                  <a:pt x="9798" y="3924"/>
                </a:lnTo>
                <a:lnTo>
                  <a:pt x="9804" y="3938"/>
                </a:lnTo>
                <a:lnTo>
                  <a:pt x="9812" y="3958"/>
                </a:lnTo>
                <a:lnTo>
                  <a:pt x="9814" y="3968"/>
                </a:lnTo>
                <a:lnTo>
                  <a:pt x="9816" y="3972"/>
                </a:lnTo>
                <a:lnTo>
                  <a:pt x="9818" y="3974"/>
                </a:lnTo>
                <a:lnTo>
                  <a:pt x="9816" y="3978"/>
                </a:lnTo>
                <a:lnTo>
                  <a:pt x="9814" y="3986"/>
                </a:lnTo>
                <a:lnTo>
                  <a:pt x="9814" y="3992"/>
                </a:lnTo>
                <a:lnTo>
                  <a:pt x="9820" y="4004"/>
                </a:lnTo>
                <a:lnTo>
                  <a:pt x="9824" y="4012"/>
                </a:lnTo>
                <a:lnTo>
                  <a:pt x="9824" y="4010"/>
                </a:lnTo>
                <a:lnTo>
                  <a:pt x="9824" y="4000"/>
                </a:lnTo>
                <a:lnTo>
                  <a:pt x="9826" y="4006"/>
                </a:lnTo>
                <a:lnTo>
                  <a:pt x="9830" y="4016"/>
                </a:lnTo>
                <a:lnTo>
                  <a:pt x="9834" y="4026"/>
                </a:lnTo>
                <a:lnTo>
                  <a:pt x="9840" y="4038"/>
                </a:lnTo>
                <a:lnTo>
                  <a:pt x="9858" y="4062"/>
                </a:lnTo>
                <a:lnTo>
                  <a:pt x="9862" y="4064"/>
                </a:lnTo>
                <a:lnTo>
                  <a:pt x="9862" y="4058"/>
                </a:lnTo>
                <a:lnTo>
                  <a:pt x="9864" y="4054"/>
                </a:lnTo>
                <a:lnTo>
                  <a:pt x="9866" y="4052"/>
                </a:lnTo>
                <a:lnTo>
                  <a:pt x="9868" y="4052"/>
                </a:lnTo>
                <a:lnTo>
                  <a:pt x="9872" y="4054"/>
                </a:lnTo>
                <a:lnTo>
                  <a:pt x="9878" y="4060"/>
                </a:lnTo>
                <a:lnTo>
                  <a:pt x="9882" y="4068"/>
                </a:lnTo>
                <a:lnTo>
                  <a:pt x="9888" y="4076"/>
                </a:lnTo>
                <a:lnTo>
                  <a:pt x="9892" y="4080"/>
                </a:lnTo>
                <a:lnTo>
                  <a:pt x="9896" y="4086"/>
                </a:lnTo>
                <a:lnTo>
                  <a:pt x="9896" y="4088"/>
                </a:lnTo>
                <a:lnTo>
                  <a:pt x="9894" y="4090"/>
                </a:lnTo>
                <a:lnTo>
                  <a:pt x="9890" y="4092"/>
                </a:lnTo>
                <a:lnTo>
                  <a:pt x="9888" y="4092"/>
                </a:lnTo>
                <a:lnTo>
                  <a:pt x="9884" y="4088"/>
                </a:lnTo>
                <a:lnTo>
                  <a:pt x="9880" y="4086"/>
                </a:lnTo>
                <a:lnTo>
                  <a:pt x="9878" y="4086"/>
                </a:lnTo>
                <a:lnTo>
                  <a:pt x="9876" y="4086"/>
                </a:lnTo>
                <a:lnTo>
                  <a:pt x="9874" y="4090"/>
                </a:lnTo>
                <a:lnTo>
                  <a:pt x="9876" y="4094"/>
                </a:lnTo>
                <a:lnTo>
                  <a:pt x="9880" y="4104"/>
                </a:lnTo>
                <a:lnTo>
                  <a:pt x="9886" y="4110"/>
                </a:lnTo>
                <a:lnTo>
                  <a:pt x="9888" y="4112"/>
                </a:lnTo>
                <a:lnTo>
                  <a:pt x="9888" y="4110"/>
                </a:lnTo>
                <a:lnTo>
                  <a:pt x="9890" y="4104"/>
                </a:lnTo>
                <a:lnTo>
                  <a:pt x="9892" y="4098"/>
                </a:lnTo>
                <a:lnTo>
                  <a:pt x="9894" y="4098"/>
                </a:lnTo>
                <a:lnTo>
                  <a:pt x="9896" y="4100"/>
                </a:lnTo>
                <a:lnTo>
                  <a:pt x="9898" y="4110"/>
                </a:lnTo>
                <a:lnTo>
                  <a:pt x="9904" y="4128"/>
                </a:lnTo>
                <a:lnTo>
                  <a:pt x="9914" y="4150"/>
                </a:lnTo>
                <a:lnTo>
                  <a:pt x="9918" y="4160"/>
                </a:lnTo>
                <a:lnTo>
                  <a:pt x="9920" y="4170"/>
                </a:lnTo>
                <a:lnTo>
                  <a:pt x="9920" y="4182"/>
                </a:lnTo>
                <a:lnTo>
                  <a:pt x="9920" y="4192"/>
                </a:lnTo>
                <a:lnTo>
                  <a:pt x="9906" y="4234"/>
                </a:lnTo>
                <a:lnTo>
                  <a:pt x="9902" y="4250"/>
                </a:lnTo>
                <a:lnTo>
                  <a:pt x="9902" y="4256"/>
                </a:lnTo>
                <a:lnTo>
                  <a:pt x="9906" y="4258"/>
                </a:lnTo>
                <a:lnTo>
                  <a:pt x="9908" y="4258"/>
                </a:lnTo>
                <a:lnTo>
                  <a:pt x="9910" y="4256"/>
                </a:lnTo>
                <a:lnTo>
                  <a:pt x="9914" y="4250"/>
                </a:lnTo>
                <a:lnTo>
                  <a:pt x="9916" y="4242"/>
                </a:lnTo>
                <a:lnTo>
                  <a:pt x="9918" y="4242"/>
                </a:lnTo>
                <a:lnTo>
                  <a:pt x="9922" y="4240"/>
                </a:lnTo>
                <a:lnTo>
                  <a:pt x="9924" y="4242"/>
                </a:lnTo>
                <a:lnTo>
                  <a:pt x="9924" y="4244"/>
                </a:lnTo>
                <a:lnTo>
                  <a:pt x="9922" y="4248"/>
                </a:lnTo>
                <a:lnTo>
                  <a:pt x="9920" y="4252"/>
                </a:lnTo>
                <a:lnTo>
                  <a:pt x="9920" y="4256"/>
                </a:lnTo>
                <a:lnTo>
                  <a:pt x="9924" y="4260"/>
                </a:lnTo>
                <a:lnTo>
                  <a:pt x="9928" y="4262"/>
                </a:lnTo>
                <a:lnTo>
                  <a:pt x="9930" y="4264"/>
                </a:lnTo>
                <a:lnTo>
                  <a:pt x="9934" y="4262"/>
                </a:lnTo>
                <a:lnTo>
                  <a:pt x="9936" y="4260"/>
                </a:lnTo>
                <a:lnTo>
                  <a:pt x="9938" y="4260"/>
                </a:lnTo>
                <a:lnTo>
                  <a:pt x="9940" y="4262"/>
                </a:lnTo>
                <a:lnTo>
                  <a:pt x="9944" y="4264"/>
                </a:lnTo>
                <a:lnTo>
                  <a:pt x="9950" y="4268"/>
                </a:lnTo>
                <a:lnTo>
                  <a:pt x="9954" y="4268"/>
                </a:lnTo>
                <a:lnTo>
                  <a:pt x="9958" y="4264"/>
                </a:lnTo>
                <a:lnTo>
                  <a:pt x="9962" y="4260"/>
                </a:lnTo>
                <a:lnTo>
                  <a:pt x="9970" y="4246"/>
                </a:lnTo>
                <a:lnTo>
                  <a:pt x="9974" y="4242"/>
                </a:lnTo>
                <a:lnTo>
                  <a:pt x="9980" y="4238"/>
                </a:lnTo>
                <a:lnTo>
                  <a:pt x="9994" y="4232"/>
                </a:lnTo>
                <a:lnTo>
                  <a:pt x="10000" y="4228"/>
                </a:lnTo>
                <a:lnTo>
                  <a:pt x="10006" y="4222"/>
                </a:lnTo>
                <a:lnTo>
                  <a:pt x="10010" y="4216"/>
                </a:lnTo>
                <a:lnTo>
                  <a:pt x="10014" y="4208"/>
                </a:lnTo>
                <a:lnTo>
                  <a:pt x="10014" y="4198"/>
                </a:lnTo>
                <a:lnTo>
                  <a:pt x="10012" y="4184"/>
                </a:lnTo>
                <a:lnTo>
                  <a:pt x="10016" y="4190"/>
                </a:lnTo>
                <a:lnTo>
                  <a:pt x="10018" y="4192"/>
                </a:lnTo>
                <a:lnTo>
                  <a:pt x="10020" y="4196"/>
                </a:lnTo>
                <a:lnTo>
                  <a:pt x="10022" y="4200"/>
                </a:lnTo>
                <a:lnTo>
                  <a:pt x="10024" y="4204"/>
                </a:lnTo>
                <a:lnTo>
                  <a:pt x="10026" y="4208"/>
                </a:lnTo>
                <a:lnTo>
                  <a:pt x="10028" y="4218"/>
                </a:lnTo>
                <a:lnTo>
                  <a:pt x="10032" y="4228"/>
                </a:lnTo>
                <a:lnTo>
                  <a:pt x="10034" y="4230"/>
                </a:lnTo>
                <a:lnTo>
                  <a:pt x="10036" y="4230"/>
                </a:lnTo>
                <a:lnTo>
                  <a:pt x="10040" y="4228"/>
                </a:lnTo>
                <a:lnTo>
                  <a:pt x="10044" y="4226"/>
                </a:lnTo>
                <a:lnTo>
                  <a:pt x="10046" y="4226"/>
                </a:lnTo>
                <a:lnTo>
                  <a:pt x="10046" y="4228"/>
                </a:lnTo>
                <a:lnTo>
                  <a:pt x="10044" y="4232"/>
                </a:lnTo>
                <a:lnTo>
                  <a:pt x="10040" y="4238"/>
                </a:lnTo>
                <a:lnTo>
                  <a:pt x="10038" y="4246"/>
                </a:lnTo>
                <a:lnTo>
                  <a:pt x="10040" y="4252"/>
                </a:lnTo>
                <a:lnTo>
                  <a:pt x="10042" y="4258"/>
                </a:lnTo>
                <a:lnTo>
                  <a:pt x="10046" y="4270"/>
                </a:lnTo>
                <a:lnTo>
                  <a:pt x="10046" y="4290"/>
                </a:lnTo>
                <a:lnTo>
                  <a:pt x="10048" y="4312"/>
                </a:lnTo>
                <a:lnTo>
                  <a:pt x="10052" y="4328"/>
                </a:lnTo>
                <a:lnTo>
                  <a:pt x="10058" y="4340"/>
                </a:lnTo>
                <a:lnTo>
                  <a:pt x="10060" y="4354"/>
                </a:lnTo>
                <a:lnTo>
                  <a:pt x="10060" y="4372"/>
                </a:lnTo>
                <a:lnTo>
                  <a:pt x="10062" y="4372"/>
                </a:lnTo>
                <a:lnTo>
                  <a:pt x="10062" y="4370"/>
                </a:lnTo>
                <a:lnTo>
                  <a:pt x="10064" y="4366"/>
                </a:lnTo>
                <a:lnTo>
                  <a:pt x="10066" y="4366"/>
                </a:lnTo>
                <a:lnTo>
                  <a:pt x="10068" y="4372"/>
                </a:lnTo>
                <a:lnTo>
                  <a:pt x="10074" y="4384"/>
                </a:lnTo>
                <a:lnTo>
                  <a:pt x="10076" y="4398"/>
                </a:lnTo>
                <a:lnTo>
                  <a:pt x="10078" y="4408"/>
                </a:lnTo>
                <a:lnTo>
                  <a:pt x="10080" y="4416"/>
                </a:lnTo>
                <a:lnTo>
                  <a:pt x="10082" y="4424"/>
                </a:lnTo>
                <a:lnTo>
                  <a:pt x="10080" y="4432"/>
                </a:lnTo>
                <a:lnTo>
                  <a:pt x="10080" y="4440"/>
                </a:lnTo>
                <a:lnTo>
                  <a:pt x="10080" y="4442"/>
                </a:lnTo>
                <a:lnTo>
                  <a:pt x="10082" y="4444"/>
                </a:lnTo>
                <a:lnTo>
                  <a:pt x="10082" y="4446"/>
                </a:lnTo>
                <a:lnTo>
                  <a:pt x="10082" y="4450"/>
                </a:lnTo>
                <a:lnTo>
                  <a:pt x="10080" y="4458"/>
                </a:lnTo>
                <a:lnTo>
                  <a:pt x="10080" y="4464"/>
                </a:lnTo>
                <a:lnTo>
                  <a:pt x="10080" y="4466"/>
                </a:lnTo>
                <a:lnTo>
                  <a:pt x="10084" y="4468"/>
                </a:lnTo>
                <a:lnTo>
                  <a:pt x="10088" y="4468"/>
                </a:lnTo>
                <a:lnTo>
                  <a:pt x="10088" y="4470"/>
                </a:lnTo>
                <a:lnTo>
                  <a:pt x="10088" y="4476"/>
                </a:lnTo>
                <a:lnTo>
                  <a:pt x="10084" y="4486"/>
                </a:lnTo>
                <a:lnTo>
                  <a:pt x="10084" y="4496"/>
                </a:lnTo>
                <a:lnTo>
                  <a:pt x="10084" y="4504"/>
                </a:lnTo>
                <a:lnTo>
                  <a:pt x="10080" y="4510"/>
                </a:lnTo>
                <a:lnTo>
                  <a:pt x="10078" y="4518"/>
                </a:lnTo>
                <a:lnTo>
                  <a:pt x="10076" y="4542"/>
                </a:lnTo>
                <a:lnTo>
                  <a:pt x="10078" y="4550"/>
                </a:lnTo>
                <a:lnTo>
                  <a:pt x="10078" y="4552"/>
                </a:lnTo>
                <a:lnTo>
                  <a:pt x="10080" y="4552"/>
                </a:lnTo>
                <a:lnTo>
                  <a:pt x="10086" y="4536"/>
                </a:lnTo>
                <a:lnTo>
                  <a:pt x="10086" y="4540"/>
                </a:lnTo>
                <a:lnTo>
                  <a:pt x="10086" y="4544"/>
                </a:lnTo>
                <a:lnTo>
                  <a:pt x="10078" y="4560"/>
                </a:lnTo>
                <a:lnTo>
                  <a:pt x="10076" y="4568"/>
                </a:lnTo>
                <a:lnTo>
                  <a:pt x="10076" y="4572"/>
                </a:lnTo>
                <a:lnTo>
                  <a:pt x="10076" y="4574"/>
                </a:lnTo>
                <a:lnTo>
                  <a:pt x="10074" y="4578"/>
                </a:lnTo>
                <a:lnTo>
                  <a:pt x="10070" y="4590"/>
                </a:lnTo>
                <a:lnTo>
                  <a:pt x="10070" y="4594"/>
                </a:lnTo>
                <a:lnTo>
                  <a:pt x="10070" y="4600"/>
                </a:lnTo>
                <a:lnTo>
                  <a:pt x="10070" y="4606"/>
                </a:lnTo>
                <a:lnTo>
                  <a:pt x="10066" y="4616"/>
                </a:lnTo>
                <a:lnTo>
                  <a:pt x="10066" y="4626"/>
                </a:lnTo>
                <a:lnTo>
                  <a:pt x="10066" y="4634"/>
                </a:lnTo>
                <a:lnTo>
                  <a:pt x="10068" y="4638"/>
                </a:lnTo>
                <a:lnTo>
                  <a:pt x="10070" y="4642"/>
                </a:lnTo>
                <a:lnTo>
                  <a:pt x="10072" y="4642"/>
                </a:lnTo>
                <a:lnTo>
                  <a:pt x="10076" y="4638"/>
                </a:lnTo>
                <a:lnTo>
                  <a:pt x="10078" y="4632"/>
                </a:lnTo>
                <a:lnTo>
                  <a:pt x="10078" y="4630"/>
                </a:lnTo>
                <a:lnTo>
                  <a:pt x="10080" y="4630"/>
                </a:lnTo>
                <a:lnTo>
                  <a:pt x="10086" y="4638"/>
                </a:lnTo>
                <a:lnTo>
                  <a:pt x="10092" y="4650"/>
                </a:lnTo>
                <a:lnTo>
                  <a:pt x="10100" y="4664"/>
                </a:lnTo>
                <a:lnTo>
                  <a:pt x="10108" y="4680"/>
                </a:lnTo>
                <a:lnTo>
                  <a:pt x="10112" y="4684"/>
                </a:lnTo>
                <a:lnTo>
                  <a:pt x="10116" y="4684"/>
                </a:lnTo>
                <a:lnTo>
                  <a:pt x="10120" y="4684"/>
                </a:lnTo>
                <a:lnTo>
                  <a:pt x="10122" y="4688"/>
                </a:lnTo>
                <a:lnTo>
                  <a:pt x="10122" y="4692"/>
                </a:lnTo>
                <a:lnTo>
                  <a:pt x="10122" y="4698"/>
                </a:lnTo>
                <a:lnTo>
                  <a:pt x="10124" y="4702"/>
                </a:lnTo>
                <a:lnTo>
                  <a:pt x="10128" y="4706"/>
                </a:lnTo>
                <a:lnTo>
                  <a:pt x="10136" y="4716"/>
                </a:lnTo>
                <a:lnTo>
                  <a:pt x="10142" y="4726"/>
                </a:lnTo>
                <a:lnTo>
                  <a:pt x="10148" y="4734"/>
                </a:lnTo>
                <a:lnTo>
                  <a:pt x="10150" y="4744"/>
                </a:lnTo>
                <a:lnTo>
                  <a:pt x="10154" y="4762"/>
                </a:lnTo>
                <a:lnTo>
                  <a:pt x="10156" y="4778"/>
                </a:lnTo>
                <a:lnTo>
                  <a:pt x="10154" y="4788"/>
                </a:lnTo>
                <a:lnTo>
                  <a:pt x="10152" y="4792"/>
                </a:lnTo>
                <a:lnTo>
                  <a:pt x="10154" y="4794"/>
                </a:lnTo>
                <a:lnTo>
                  <a:pt x="10156" y="4798"/>
                </a:lnTo>
                <a:lnTo>
                  <a:pt x="10158" y="4802"/>
                </a:lnTo>
                <a:lnTo>
                  <a:pt x="10160" y="4806"/>
                </a:lnTo>
                <a:lnTo>
                  <a:pt x="10162" y="4812"/>
                </a:lnTo>
                <a:lnTo>
                  <a:pt x="10160" y="4820"/>
                </a:lnTo>
                <a:lnTo>
                  <a:pt x="10160" y="4834"/>
                </a:lnTo>
                <a:lnTo>
                  <a:pt x="10164" y="4838"/>
                </a:lnTo>
                <a:lnTo>
                  <a:pt x="10166" y="4840"/>
                </a:lnTo>
                <a:lnTo>
                  <a:pt x="10166" y="4844"/>
                </a:lnTo>
                <a:lnTo>
                  <a:pt x="10166" y="4848"/>
                </a:lnTo>
                <a:lnTo>
                  <a:pt x="10170" y="4854"/>
                </a:lnTo>
                <a:lnTo>
                  <a:pt x="10180" y="4866"/>
                </a:lnTo>
                <a:lnTo>
                  <a:pt x="10184" y="4872"/>
                </a:lnTo>
                <a:lnTo>
                  <a:pt x="10188" y="4880"/>
                </a:lnTo>
                <a:lnTo>
                  <a:pt x="10192" y="4888"/>
                </a:lnTo>
                <a:lnTo>
                  <a:pt x="10190" y="4894"/>
                </a:lnTo>
                <a:lnTo>
                  <a:pt x="10190" y="4900"/>
                </a:lnTo>
                <a:lnTo>
                  <a:pt x="10190" y="4902"/>
                </a:lnTo>
                <a:lnTo>
                  <a:pt x="10196" y="4906"/>
                </a:lnTo>
                <a:lnTo>
                  <a:pt x="10210" y="4916"/>
                </a:lnTo>
                <a:lnTo>
                  <a:pt x="10220" y="4924"/>
                </a:lnTo>
                <a:lnTo>
                  <a:pt x="10232" y="4936"/>
                </a:lnTo>
                <a:lnTo>
                  <a:pt x="10244" y="4946"/>
                </a:lnTo>
                <a:lnTo>
                  <a:pt x="10252" y="4952"/>
                </a:lnTo>
                <a:lnTo>
                  <a:pt x="10264" y="4958"/>
                </a:lnTo>
                <a:lnTo>
                  <a:pt x="10270" y="4962"/>
                </a:lnTo>
                <a:lnTo>
                  <a:pt x="10272" y="4966"/>
                </a:lnTo>
                <a:lnTo>
                  <a:pt x="10276" y="4970"/>
                </a:lnTo>
                <a:lnTo>
                  <a:pt x="10278" y="4976"/>
                </a:lnTo>
                <a:lnTo>
                  <a:pt x="10280" y="4974"/>
                </a:lnTo>
                <a:lnTo>
                  <a:pt x="10284" y="4970"/>
                </a:lnTo>
                <a:lnTo>
                  <a:pt x="10288" y="4968"/>
                </a:lnTo>
                <a:lnTo>
                  <a:pt x="10292" y="4970"/>
                </a:lnTo>
                <a:lnTo>
                  <a:pt x="10296" y="4968"/>
                </a:lnTo>
                <a:lnTo>
                  <a:pt x="10298" y="4966"/>
                </a:lnTo>
                <a:lnTo>
                  <a:pt x="10298" y="4964"/>
                </a:lnTo>
                <a:lnTo>
                  <a:pt x="10302" y="4964"/>
                </a:lnTo>
                <a:lnTo>
                  <a:pt x="10304" y="4966"/>
                </a:lnTo>
                <a:lnTo>
                  <a:pt x="10304" y="4968"/>
                </a:lnTo>
                <a:lnTo>
                  <a:pt x="10302" y="4972"/>
                </a:lnTo>
                <a:lnTo>
                  <a:pt x="10306" y="4974"/>
                </a:lnTo>
                <a:lnTo>
                  <a:pt x="10308" y="4974"/>
                </a:lnTo>
                <a:lnTo>
                  <a:pt x="10310" y="4972"/>
                </a:lnTo>
                <a:lnTo>
                  <a:pt x="10310" y="4964"/>
                </a:lnTo>
                <a:lnTo>
                  <a:pt x="10308" y="4956"/>
                </a:lnTo>
                <a:lnTo>
                  <a:pt x="10304" y="4948"/>
                </a:lnTo>
                <a:lnTo>
                  <a:pt x="10302" y="4944"/>
                </a:lnTo>
                <a:lnTo>
                  <a:pt x="10300" y="4940"/>
                </a:lnTo>
                <a:lnTo>
                  <a:pt x="10298" y="4928"/>
                </a:lnTo>
                <a:lnTo>
                  <a:pt x="10294" y="4918"/>
                </a:lnTo>
                <a:lnTo>
                  <a:pt x="10292" y="4912"/>
                </a:lnTo>
                <a:lnTo>
                  <a:pt x="10286" y="4908"/>
                </a:lnTo>
                <a:lnTo>
                  <a:pt x="10280" y="4902"/>
                </a:lnTo>
                <a:lnTo>
                  <a:pt x="10276" y="4896"/>
                </a:lnTo>
                <a:lnTo>
                  <a:pt x="10276" y="4890"/>
                </a:lnTo>
                <a:lnTo>
                  <a:pt x="10276" y="4884"/>
                </a:lnTo>
                <a:lnTo>
                  <a:pt x="10278" y="4872"/>
                </a:lnTo>
                <a:lnTo>
                  <a:pt x="10278" y="4868"/>
                </a:lnTo>
                <a:lnTo>
                  <a:pt x="10276" y="4862"/>
                </a:lnTo>
                <a:lnTo>
                  <a:pt x="10274" y="4858"/>
                </a:lnTo>
                <a:lnTo>
                  <a:pt x="10274" y="4852"/>
                </a:lnTo>
                <a:lnTo>
                  <a:pt x="10276" y="4846"/>
                </a:lnTo>
                <a:lnTo>
                  <a:pt x="10276" y="4842"/>
                </a:lnTo>
                <a:lnTo>
                  <a:pt x="10276" y="4836"/>
                </a:lnTo>
                <a:lnTo>
                  <a:pt x="10278" y="4826"/>
                </a:lnTo>
                <a:lnTo>
                  <a:pt x="10278" y="4814"/>
                </a:lnTo>
                <a:lnTo>
                  <a:pt x="10276" y="4798"/>
                </a:lnTo>
                <a:lnTo>
                  <a:pt x="10272" y="4790"/>
                </a:lnTo>
                <a:lnTo>
                  <a:pt x="10266" y="4782"/>
                </a:lnTo>
                <a:lnTo>
                  <a:pt x="10254" y="4768"/>
                </a:lnTo>
                <a:lnTo>
                  <a:pt x="10244" y="4756"/>
                </a:lnTo>
                <a:lnTo>
                  <a:pt x="10238" y="4750"/>
                </a:lnTo>
                <a:lnTo>
                  <a:pt x="10236" y="4744"/>
                </a:lnTo>
                <a:lnTo>
                  <a:pt x="10234" y="4738"/>
                </a:lnTo>
                <a:lnTo>
                  <a:pt x="10230" y="4736"/>
                </a:lnTo>
                <a:lnTo>
                  <a:pt x="10222" y="4734"/>
                </a:lnTo>
                <a:lnTo>
                  <a:pt x="10212" y="4724"/>
                </a:lnTo>
                <a:lnTo>
                  <a:pt x="10200" y="4706"/>
                </a:lnTo>
                <a:lnTo>
                  <a:pt x="10196" y="4702"/>
                </a:lnTo>
                <a:lnTo>
                  <a:pt x="10192" y="4700"/>
                </a:lnTo>
                <a:lnTo>
                  <a:pt x="10188" y="4702"/>
                </a:lnTo>
                <a:lnTo>
                  <a:pt x="10184" y="4704"/>
                </a:lnTo>
                <a:lnTo>
                  <a:pt x="10180" y="4704"/>
                </a:lnTo>
                <a:lnTo>
                  <a:pt x="10174" y="4700"/>
                </a:lnTo>
                <a:lnTo>
                  <a:pt x="10166" y="4692"/>
                </a:lnTo>
                <a:lnTo>
                  <a:pt x="10160" y="4686"/>
                </a:lnTo>
                <a:lnTo>
                  <a:pt x="10158" y="4676"/>
                </a:lnTo>
                <a:lnTo>
                  <a:pt x="10154" y="4652"/>
                </a:lnTo>
                <a:lnTo>
                  <a:pt x="10150" y="4632"/>
                </a:lnTo>
                <a:lnTo>
                  <a:pt x="10148" y="4626"/>
                </a:lnTo>
                <a:lnTo>
                  <a:pt x="10146" y="4626"/>
                </a:lnTo>
                <a:lnTo>
                  <a:pt x="10144" y="4626"/>
                </a:lnTo>
                <a:lnTo>
                  <a:pt x="10140" y="4624"/>
                </a:lnTo>
                <a:lnTo>
                  <a:pt x="10136" y="4614"/>
                </a:lnTo>
                <a:lnTo>
                  <a:pt x="10134" y="4602"/>
                </a:lnTo>
                <a:lnTo>
                  <a:pt x="10132" y="4588"/>
                </a:lnTo>
                <a:lnTo>
                  <a:pt x="10130" y="4584"/>
                </a:lnTo>
                <a:lnTo>
                  <a:pt x="10128" y="4584"/>
                </a:lnTo>
                <a:lnTo>
                  <a:pt x="10118" y="4588"/>
                </a:lnTo>
                <a:lnTo>
                  <a:pt x="10114" y="4588"/>
                </a:lnTo>
                <a:lnTo>
                  <a:pt x="10110" y="4590"/>
                </a:lnTo>
                <a:lnTo>
                  <a:pt x="10108" y="4586"/>
                </a:lnTo>
                <a:lnTo>
                  <a:pt x="10108" y="4580"/>
                </a:lnTo>
                <a:lnTo>
                  <a:pt x="10106" y="4550"/>
                </a:lnTo>
                <a:lnTo>
                  <a:pt x="10108" y="4528"/>
                </a:lnTo>
                <a:lnTo>
                  <a:pt x="10108" y="4520"/>
                </a:lnTo>
                <a:lnTo>
                  <a:pt x="10112" y="4514"/>
                </a:lnTo>
                <a:lnTo>
                  <a:pt x="10116" y="4510"/>
                </a:lnTo>
                <a:lnTo>
                  <a:pt x="10118" y="4506"/>
                </a:lnTo>
                <a:lnTo>
                  <a:pt x="10120" y="4494"/>
                </a:lnTo>
                <a:lnTo>
                  <a:pt x="10122" y="4484"/>
                </a:lnTo>
                <a:lnTo>
                  <a:pt x="10126" y="4474"/>
                </a:lnTo>
                <a:lnTo>
                  <a:pt x="10132" y="4458"/>
                </a:lnTo>
                <a:lnTo>
                  <a:pt x="10138" y="4432"/>
                </a:lnTo>
                <a:lnTo>
                  <a:pt x="10140" y="4408"/>
                </a:lnTo>
                <a:lnTo>
                  <a:pt x="10142" y="4400"/>
                </a:lnTo>
                <a:lnTo>
                  <a:pt x="10140" y="4396"/>
                </a:lnTo>
                <a:lnTo>
                  <a:pt x="10138" y="4392"/>
                </a:lnTo>
                <a:lnTo>
                  <a:pt x="10136" y="4388"/>
                </a:lnTo>
                <a:lnTo>
                  <a:pt x="10136" y="4386"/>
                </a:lnTo>
                <a:lnTo>
                  <a:pt x="10138" y="4382"/>
                </a:lnTo>
                <a:lnTo>
                  <a:pt x="10140" y="4380"/>
                </a:lnTo>
                <a:lnTo>
                  <a:pt x="10146" y="4378"/>
                </a:lnTo>
                <a:lnTo>
                  <a:pt x="10160" y="4376"/>
                </a:lnTo>
                <a:lnTo>
                  <a:pt x="10166" y="4376"/>
                </a:lnTo>
                <a:lnTo>
                  <a:pt x="10172" y="4378"/>
                </a:lnTo>
                <a:lnTo>
                  <a:pt x="10174" y="4380"/>
                </a:lnTo>
                <a:lnTo>
                  <a:pt x="10174" y="4384"/>
                </a:lnTo>
                <a:lnTo>
                  <a:pt x="10174" y="4394"/>
                </a:lnTo>
                <a:lnTo>
                  <a:pt x="10170" y="4410"/>
                </a:lnTo>
                <a:lnTo>
                  <a:pt x="10170" y="4420"/>
                </a:lnTo>
                <a:lnTo>
                  <a:pt x="10172" y="4422"/>
                </a:lnTo>
                <a:lnTo>
                  <a:pt x="10174" y="4422"/>
                </a:lnTo>
                <a:lnTo>
                  <a:pt x="10182" y="4420"/>
                </a:lnTo>
                <a:lnTo>
                  <a:pt x="10184" y="4420"/>
                </a:lnTo>
                <a:lnTo>
                  <a:pt x="10188" y="4422"/>
                </a:lnTo>
                <a:lnTo>
                  <a:pt x="10192" y="4422"/>
                </a:lnTo>
                <a:lnTo>
                  <a:pt x="10194" y="4422"/>
                </a:lnTo>
                <a:lnTo>
                  <a:pt x="10200" y="4420"/>
                </a:lnTo>
                <a:lnTo>
                  <a:pt x="10204" y="4418"/>
                </a:lnTo>
                <a:lnTo>
                  <a:pt x="10206" y="4418"/>
                </a:lnTo>
                <a:lnTo>
                  <a:pt x="10210" y="4420"/>
                </a:lnTo>
                <a:lnTo>
                  <a:pt x="10218" y="4428"/>
                </a:lnTo>
                <a:lnTo>
                  <a:pt x="10224" y="4436"/>
                </a:lnTo>
                <a:lnTo>
                  <a:pt x="10232" y="4442"/>
                </a:lnTo>
                <a:lnTo>
                  <a:pt x="10234" y="4446"/>
                </a:lnTo>
                <a:lnTo>
                  <a:pt x="10238" y="4448"/>
                </a:lnTo>
                <a:lnTo>
                  <a:pt x="10242" y="4448"/>
                </a:lnTo>
                <a:lnTo>
                  <a:pt x="10244" y="4452"/>
                </a:lnTo>
                <a:lnTo>
                  <a:pt x="10248" y="4458"/>
                </a:lnTo>
                <a:lnTo>
                  <a:pt x="10250" y="4464"/>
                </a:lnTo>
                <a:lnTo>
                  <a:pt x="10252" y="4466"/>
                </a:lnTo>
                <a:lnTo>
                  <a:pt x="10256" y="4468"/>
                </a:lnTo>
                <a:lnTo>
                  <a:pt x="10250" y="4454"/>
                </a:lnTo>
                <a:lnTo>
                  <a:pt x="10250" y="4446"/>
                </a:lnTo>
                <a:lnTo>
                  <a:pt x="10250" y="4454"/>
                </a:lnTo>
                <a:lnTo>
                  <a:pt x="10256" y="4468"/>
                </a:lnTo>
                <a:lnTo>
                  <a:pt x="10262" y="4480"/>
                </a:lnTo>
                <a:lnTo>
                  <a:pt x="10264" y="4486"/>
                </a:lnTo>
                <a:lnTo>
                  <a:pt x="10262" y="4490"/>
                </a:lnTo>
                <a:lnTo>
                  <a:pt x="10262" y="4500"/>
                </a:lnTo>
                <a:lnTo>
                  <a:pt x="10264" y="4508"/>
                </a:lnTo>
                <a:lnTo>
                  <a:pt x="10264" y="4510"/>
                </a:lnTo>
                <a:lnTo>
                  <a:pt x="10266" y="4510"/>
                </a:lnTo>
                <a:lnTo>
                  <a:pt x="10270" y="4508"/>
                </a:lnTo>
                <a:lnTo>
                  <a:pt x="10274" y="4506"/>
                </a:lnTo>
                <a:lnTo>
                  <a:pt x="10276" y="4506"/>
                </a:lnTo>
                <a:lnTo>
                  <a:pt x="10276" y="4504"/>
                </a:lnTo>
                <a:lnTo>
                  <a:pt x="10276" y="4498"/>
                </a:lnTo>
                <a:lnTo>
                  <a:pt x="10276" y="4496"/>
                </a:lnTo>
                <a:lnTo>
                  <a:pt x="10278" y="4494"/>
                </a:lnTo>
                <a:lnTo>
                  <a:pt x="10280" y="4496"/>
                </a:lnTo>
                <a:lnTo>
                  <a:pt x="10284" y="4500"/>
                </a:lnTo>
                <a:lnTo>
                  <a:pt x="10286" y="4504"/>
                </a:lnTo>
                <a:lnTo>
                  <a:pt x="10288" y="4508"/>
                </a:lnTo>
                <a:lnTo>
                  <a:pt x="10284" y="4514"/>
                </a:lnTo>
                <a:lnTo>
                  <a:pt x="10280" y="4518"/>
                </a:lnTo>
                <a:lnTo>
                  <a:pt x="10280" y="4522"/>
                </a:lnTo>
                <a:lnTo>
                  <a:pt x="10282" y="4524"/>
                </a:lnTo>
                <a:lnTo>
                  <a:pt x="10284" y="4526"/>
                </a:lnTo>
                <a:lnTo>
                  <a:pt x="10286" y="4526"/>
                </a:lnTo>
                <a:lnTo>
                  <a:pt x="10290" y="4524"/>
                </a:lnTo>
                <a:lnTo>
                  <a:pt x="10292" y="4520"/>
                </a:lnTo>
                <a:lnTo>
                  <a:pt x="10294" y="4520"/>
                </a:lnTo>
                <a:lnTo>
                  <a:pt x="10296" y="4522"/>
                </a:lnTo>
                <a:lnTo>
                  <a:pt x="10300" y="4524"/>
                </a:lnTo>
                <a:lnTo>
                  <a:pt x="10304" y="4524"/>
                </a:lnTo>
                <a:lnTo>
                  <a:pt x="10310" y="4526"/>
                </a:lnTo>
                <a:lnTo>
                  <a:pt x="10312" y="4528"/>
                </a:lnTo>
                <a:lnTo>
                  <a:pt x="10316" y="4532"/>
                </a:lnTo>
                <a:lnTo>
                  <a:pt x="10320" y="4540"/>
                </a:lnTo>
                <a:lnTo>
                  <a:pt x="10322" y="4542"/>
                </a:lnTo>
                <a:lnTo>
                  <a:pt x="10324" y="4544"/>
                </a:lnTo>
                <a:lnTo>
                  <a:pt x="10328" y="4542"/>
                </a:lnTo>
                <a:lnTo>
                  <a:pt x="10332" y="4542"/>
                </a:lnTo>
                <a:lnTo>
                  <a:pt x="10334" y="4542"/>
                </a:lnTo>
                <a:lnTo>
                  <a:pt x="10338" y="4544"/>
                </a:lnTo>
                <a:lnTo>
                  <a:pt x="10340" y="4548"/>
                </a:lnTo>
                <a:lnTo>
                  <a:pt x="10340" y="4552"/>
                </a:lnTo>
                <a:lnTo>
                  <a:pt x="10336" y="4558"/>
                </a:lnTo>
                <a:lnTo>
                  <a:pt x="10332" y="4568"/>
                </a:lnTo>
                <a:lnTo>
                  <a:pt x="10330" y="4576"/>
                </a:lnTo>
                <a:lnTo>
                  <a:pt x="10330" y="4588"/>
                </a:lnTo>
                <a:lnTo>
                  <a:pt x="10328" y="4608"/>
                </a:lnTo>
                <a:lnTo>
                  <a:pt x="10330" y="4620"/>
                </a:lnTo>
                <a:lnTo>
                  <a:pt x="10332" y="4624"/>
                </a:lnTo>
                <a:lnTo>
                  <a:pt x="10334" y="4624"/>
                </a:lnTo>
                <a:lnTo>
                  <a:pt x="10338" y="4622"/>
                </a:lnTo>
                <a:lnTo>
                  <a:pt x="10344" y="4616"/>
                </a:lnTo>
                <a:lnTo>
                  <a:pt x="10366" y="4594"/>
                </a:lnTo>
                <a:lnTo>
                  <a:pt x="10376" y="4588"/>
                </a:lnTo>
                <a:lnTo>
                  <a:pt x="10384" y="4584"/>
                </a:lnTo>
                <a:lnTo>
                  <a:pt x="10388" y="4582"/>
                </a:lnTo>
                <a:lnTo>
                  <a:pt x="10390" y="4580"/>
                </a:lnTo>
                <a:lnTo>
                  <a:pt x="10390" y="4576"/>
                </a:lnTo>
                <a:lnTo>
                  <a:pt x="10390" y="4574"/>
                </a:lnTo>
                <a:lnTo>
                  <a:pt x="10396" y="4572"/>
                </a:lnTo>
                <a:lnTo>
                  <a:pt x="10400" y="4570"/>
                </a:lnTo>
                <a:lnTo>
                  <a:pt x="10404" y="4564"/>
                </a:lnTo>
                <a:lnTo>
                  <a:pt x="10408" y="4544"/>
                </a:lnTo>
                <a:lnTo>
                  <a:pt x="10412" y="4528"/>
                </a:lnTo>
                <a:lnTo>
                  <a:pt x="10414" y="4522"/>
                </a:lnTo>
                <a:lnTo>
                  <a:pt x="10416" y="4522"/>
                </a:lnTo>
                <a:lnTo>
                  <a:pt x="10422" y="4528"/>
                </a:lnTo>
                <a:lnTo>
                  <a:pt x="10424" y="4530"/>
                </a:lnTo>
                <a:lnTo>
                  <a:pt x="10428" y="4532"/>
                </a:lnTo>
                <a:lnTo>
                  <a:pt x="10432" y="4532"/>
                </a:lnTo>
                <a:lnTo>
                  <a:pt x="10438" y="4530"/>
                </a:lnTo>
                <a:lnTo>
                  <a:pt x="10444" y="4526"/>
                </a:lnTo>
                <a:lnTo>
                  <a:pt x="10454" y="4518"/>
                </a:lnTo>
                <a:lnTo>
                  <a:pt x="10464" y="4510"/>
                </a:lnTo>
                <a:lnTo>
                  <a:pt x="10472" y="4504"/>
                </a:lnTo>
                <a:lnTo>
                  <a:pt x="10488" y="4494"/>
                </a:lnTo>
                <a:lnTo>
                  <a:pt x="10494" y="4492"/>
                </a:lnTo>
                <a:lnTo>
                  <a:pt x="10498" y="4486"/>
                </a:lnTo>
                <a:lnTo>
                  <a:pt x="10502" y="4480"/>
                </a:lnTo>
                <a:lnTo>
                  <a:pt x="10506" y="4470"/>
                </a:lnTo>
                <a:lnTo>
                  <a:pt x="10510" y="4452"/>
                </a:lnTo>
                <a:lnTo>
                  <a:pt x="10510" y="4436"/>
                </a:lnTo>
                <a:lnTo>
                  <a:pt x="10512" y="4426"/>
                </a:lnTo>
                <a:lnTo>
                  <a:pt x="10512" y="4424"/>
                </a:lnTo>
                <a:lnTo>
                  <a:pt x="10514" y="4422"/>
                </a:lnTo>
                <a:lnTo>
                  <a:pt x="10518" y="4420"/>
                </a:lnTo>
                <a:lnTo>
                  <a:pt x="10518" y="4418"/>
                </a:lnTo>
                <a:lnTo>
                  <a:pt x="10518" y="4412"/>
                </a:lnTo>
                <a:lnTo>
                  <a:pt x="10516" y="4406"/>
                </a:lnTo>
                <a:lnTo>
                  <a:pt x="10512" y="4398"/>
                </a:lnTo>
                <a:lnTo>
                  <a:pt x="10510" y="4394"/>
                </a:lnTo>
                <a:lnTo>
                  <a:pt x="10510" y="4388"/>
                </a:lnTo>
                <a:lnTo>
                  <a:pt x="10512" y="4374"/>
                </a:lnTo>
                <a:lnTo>
                  <a:pt x="10512" y="4352"/>
                </a:lnTo>
                <a:lnTo>
                  <a:pt x="10510" y="4338"/>
                </a:lnTo>
                <a:lnTo>
                  <a:pt x="10506" y="4322"/>
                </a:lnTo>
                <a:lnTo>
                  <a:pt x="10494" y="4294"/>
                </a:lnTo>
                <a:lnTo>
                  <a:pt x="10486" y="4278"/>
                </a:lnTo>
                <a:lnTo>
                  <a:pt x="10478" y="4268"/>
                </a:lnTo>
                <a:lnTo>
                  <a:pt x="10474" y="4256"/>
                </a:lnTo>
                <a:lnTo>
                  <a:pt x="10468" y="4246"/>
                </a:lnTo>
                <a:lnTo>
                  <a:pt x="10462" y="4240"/>
                </a:lnTo>
                <a:lnTo>
                  <a:pt x="10452" y="4234"/>
                </a:lnTo>
                <a:lnTo>
                  <a:pt x="10438" y="4220"/>
                </a:lnTo>
                <a:lnTo>
                  <a:pt x="10422" y="4202"/>
                </a:lnTo>
                <a:lnTo>
                  <a:pt x="10410" y="4186"/>
                </a:lnTo>
                <a:lnTo>
                  <a:pt x="10402" y="4172"/>
                </a:lnTo>
                <a:lnTo>
                  <a:pt x="10398" y="4166"/>
                </a:lnTo>
                <a:lnTo>
                  <a:pt x="10398" y="4158"/>
                </a:lnTo>
                <a:lnTo>
                  <a:pt x="10396" y="4154"/>
                </a:lnTo>
                <a:lnTo>
                  <a:pt x="10394" y="4150"/>
                </a:lnTo>
                <a:lnTo>
                  <a:pt x="10388" y="4146"/>
                </a:lnTo>
                <a:lnTo>
                  <a:pt x="10380" y="4138"/>
                </a:lnTo>
                <a:lnTo>
                  <a:pt x="10376" y="4132"/>
                </a:lnTo>
                <a:lnTo>
                  <a:pt x="10370" y="4124"/>
                </a:lnTo>
                <a:lnTo>
                  <a:pt x="10368" y="4114"/>
                </a:lnTo>
                <a:lnTo>
                  <a:pt x="10366" y="4104"/>
                </a:lnTo>
                <a:lnTo>
                  <a:pt x="10368" y="4094"/>
                </a:lnTo>
                <a:lnTo>
                  <a:pt x="10370" y="4082"/>
                </a:lnTo>
                <a:lnTo>
                  <a:pt x="10374" y="4072"/>
                </a:lnTo>
                <a:lnTo>
                  <a:pt x="10380" y="4064"/>
                </a:lnTo>
                <a:lnTo>
                  <a:pt x="10386" y="4054"/>
                </a:lnTo>
                <a:lnTo>
                  <a:pt x="10394" y="4048"/>
                </a:lnTo>
                <a:lnTo>
                  <a:pt x="10400" y="4042"/>
                </a:lnTo>
                <a:lnTo>
                  <a:pt x="10404" y="4036"/>
                </a:lnTo>
                <a:lnTo>
                  <a:pt x="10408" y="4024"/>
                </a:lnTo>
                <a:lnTo>
                  <a:pt x="10410" y="4016"/>
                </a:lnTo>
                <a:lnTo>
                  <a:pt x="10412" y="4012"/>
                </a:lnTo>
                <a:lnTo>
                  <a:pt x="10414" y="4008"/>
                </a:lnTo>
                <a:lnTo>
                  <a:pt x="10420" y="4006"/>
                </a:lnTo>
                <a:lnTo>
                  <a:pt x="10424" y="4006"/>
                </a:lnTo>
                <a:lnTo>
                  <a:pt x="10426" y="4008"/>
                </a:lnTo>
                <a:lnTo>
                  <a:pt x="10430" y="4006"/>
                </a:lnTo>
                <a:lnTo>
                  <a:pt x="10432" y="4002"/>
                </a:lnTo>
                <a:lnTo>
                  <a:pt x="10434" y="3998"/>
                </a:lnTo>
                <a:lnTo>
                  <a:pt x="10436" y="3994"/>
                </a:lnTo>
                <a:lnTo>
                  <a:pt x="10442" y="3988"/>
                </a:lnTo>
                <a:lnTo>
                  <a:pt x="10450" y="3984"/>
                </a:lnTo>
                <a:lnTo>
                  <a:pt x="10456" y="3982"/>
                </a:lnTo>
                <a:lnTo>
                  <a:pt x="10460" y="3980"/>
                </a:lnTo>
                <a:lnTo>
                  <a:pt x="10462" y="3978"/>
                </a:lnTo>
                <a:lnTo>
                  <a:pt x="10464" y="3980"/>
                </a:lnTo>
                <a:lnTo>
                  <a:pt x="10468" y="3980"/>
                </a:lnTo>
                <a:lnTo>
                  <a:pt x="10470" y="3980"/>
                </a:lnTo>
                <a:lnTo>
                  <a:pt x="10472" y="3976"/>
                </a:lnTo>
                <a:lnTo>
                  <a:pt x="10474" y="3974"/>
                </a:lnTo>
                <a:lnTo>
                  <a:pt x="10476" y="3974"/>
                </a:lnTo>
                <a:lnTo>
                  <a:pt x="10478" y="3976"/>
                </a:lnTo>
                <a:lnTo>
                  <a:pt x="10480" y="3976"/>
                </a:lnTo>
                <a:lnTo>
                  <a:pt x="10482" y="3974"/>
                </a:lnTo>
                <a:lnTo>
                  <a:pt x="10482" y="3970"/>
                </a:lnTo>
                <a:lnTo>
                  <a:pt x="10480" y="3966"/>
                </a:lnTo>
                <a:lnTo>
                  <a:pt x="10480" y="3962"/>
                </a:lnTo>
                <a:lnTo>
                  <a:pt x="10480" y="3960"/>
                </a:lnTo>
                <a:lnTo>
                  <a:pt x="10482" y="3960"/>
                </a:lnTo>
                <a:lnTo>
                  <a:pt x="10484" y="3966"/>
                </a:lnTo>
                <a:lnTo>
                  <a:pt x="10490" y="3972"/>
                </a:lnTo>
                <a:lnTo>
                  <a:pt x="10494" y="3974"/>
                </a:lnTo>
                <a:lnTo>
                  <a:pt x="10498" y="3974"/>
                </a:lnTo>
                <a:lnTo>
                  <a:pt x="10502" y="3976"/>
                </a:lnTo>
                <a:lnTo>
                  <a:pt x="10504" y="3976"/>
                </a:lnTo>
                <a:lnTo>
                  <a:pt x="10504" y="3980"/>
                </a:lnTo>
                <a:lnTo>
                  <a:pt x="10502" y="3984"/>
                </a:lnTo>
                <a:lnTo>
                  <a:pt x="10504" y="3984"/>
                </a:lnTo>
                <a:lnTo>
                  <a:pt x="10508" y="3984"/>
                </a:lnTo>
                <a:lnTo>
                  <a:pt x="10518" y="3984"/>
                </a:lnTo>
                <a:lnTo>
                  <a:pt x="10522" y="3982"/>
                </a:lnTo>
                <a:lnTo>
                  <a:pt x="10522" y="3978"/>
                </a:lnTo>
                <a:lnTo>
                  <a:pt x="10522" y="3970"/>
                </a:lnTo>
                <a:lnTo>
                  <a:pt x="10522" y="3972"/>
                </a:lnTo>
                <a:lnTo>
                  <a:pt x="10526" y="3976"/>
                </a:lnTo>
                <a:lnTo>
                  <a:pt x="10528" y="3982"/>
                </a:lnTo>
                <a:lnTo>
                  <a:pt x="10530" y="3982"/>
                </a:lnTo>
                <a:lnTo>
                  <a:pt x="10534" y="3982"/>
                </a:lnTo>
                <a:lnTo>
                  <a:pt x="10536" y="3982"/>
                </a:lnTo>
                <a:lnTo>
                  <a:pt x="10538" y="3986"/>
                </a:lnTo>
                <a:lnTo>
                  <a:pt x="10534" y="3988"/>
                </a:lnTo>
                <a:lnTo>
                  <a:pt x="10530" y="3994"/>
                </a:lnTo>
                <a:lnTo>
                  <a:pt x="10528" y="4002"/>
                </a:lnTo>
                <a:lnTo>
                  <a:pt x="10528" y="4010"/>
                </a:lnTo>
                <a:lnTo>
                  <a:pt x="10528" y="4014"/>
                </a:lnTo>
                <a:lnTo>
                  <a:pt x="10530" y="4016"/>
                </a:lnTo>
                <a:lnTo>
                  <a:pt x="10530" y="4020"/>
                </a:lnTo>
                <a:lnTo>
                  <a:pt x="10530" y="4024"/>
                </a:lnTo>
                <a:lnTo>
                  <a:pt x="10532" y="4028"/>
                </a:lnTo>
                <a:lnTo>
                  <a:pt x="10534" y="4030"/>
                </a:lnTo>
                <a:lnTo>
                  <a:pt x="10536" y="4034"/>
                </a:lnTo>
                <a:lnTo>
                  <a:pt x="10536" y="4038"/>
                </a:lnTo>
                <a:lnTo>
                  <a:pt x="10536" y="4042"/>
                </a:lnTo>
                <a:lnTo>
                  <a:pt x="10540" y="4044"/>
                </a:lnTo>
                <a:lnTo>
                  <a:pt x="10552" y="4042"/>
                </a:lnTo>
                <a:lnTo>
                  <a:pt x="10560" y="4038"/>
                </a:lnTo>
                <a:lnTo>
                  <a:pt x="10562" y="4036"/>
                </a:lnTo>
                <a:lnTo>
                  <a:pt x="10562" y="4032"/>
                </a:lnTo>
                <a:lnTo>
                  <a:pt x="10560" y="4026"/>
                </a:lnTo>
                <a:lnTo>
                  <a:pt x="10556" y="4018"/>
                </a:lnTo>
                <a:lnTo>
                  <a:pt x="10554" y="4012"/>
                </a:lnTo>
                <a:lnTo>
                  <a:pt x="10550" y="4012"/>
                </a:lnTo>
                <a:lnTo>
                  <a:pt x="10548" y="4012"/>
                </a:lnTo>
                <a:lnTo>
                  <a:pt x="10546" y="4008"/>
                </a:lnTo>
                <a:lnTo>
                  <a:pt x="10548" y="4004"/>
                </a:lnTo>
                <a:lnTo>
                  <a:pt x="10554" y="4000"/>
                </a:lnTo>
                <a:lnTo>
                  <a:pt x="10572" y="3988"/>
                </a:lnTo>
                <a:lnTo>
                  <a:pt x="10580" y="3982"/>
                </a:lnTo>
                <a:lnTo>
                  <a:pt x="10586" y="3982"/>
                </a:lnTo>
                <a:lnTo>
                  <a:pt x="10592" y="3982"/>
                </a:lnTo>
                <a:lnTo>
                  <a:pt x="10604" y="3980"/>
                </a:lnTo>
                <a:lnTo>
                  <a:pt x="10610" y="3976"/>
                </a:lnTo>
                <a:lnTo>
                  <a:pt x="10614" y="3974"/>
                </a:lnTo>
                <a:lnTo>
                  <a:pt x="10618" y="3968"/>
                </a:lnTo>
                <a:lnTo>
                  <a:pt x="10620" y="3964"/>
                </a:lnTo>
                <a:lnTo>
                  <a:pt x="10624" y="3964"/>
                </a:lnTo>
                <a:lnTo>
                  <a:pt x="10630" y="3968"/>
                </a:lnTo>
                <a:lnTo>
                  <a:pt x="10630" y="3972"/>
                </a:lnTo>
                <a:lnTo>
                  <a:pt x="10632" y="3972"/>
                </a:lnTo>
                <a:lnTo>
                  <a:pt x="10634" y="3966"/>
                </a:lnTo>
                <a:lnTo>
                  <a:pt x="10638" y="3964"/>
                </a:lnTo>
                <a:lnTo>
                  <a:pt x="10640" y="3966"/>
                </a:lnTo>
                <a:lnTo>
                  <a:pt x="10642" y="3966"/>
                </a:lnTo>
                <a:lnTo>
                  <a:pt x="10646" y="3962"/>
                </a:lnTo>
                <a:lnTo>
                  <a:pt x="10650" y="3960"/>
                </a:lnTo>
                <a:lnTo>
                  <a:pt x="10652" y="3958"/>
                </a:lnTo>
                <a:lnTo>
                  <a:pt x="10658" y="3960"/>
                </a:lnTo>
                <a:lnTo>
                  <a:pt x="10660" y="3962"/>
                </a:lnTo>
                <a:lnTo>
                  <a:pt x="10662" y="3960"/>
                </a:lnTo>
                <a:lnTo>
                  <a:pt x="10662" y="3956"/>
                </a:lnTo>
                <a:lnTo>
                  <a:pt x="10664" y="3948"/>
                </a:lnTo>
                <a:lnTo>
                  <a:pt x="10666" y="3950"/>
                </a:lnTo>
                <a:lnTo>
                  <a:pt x="10670" y="3954"/>
                </a:lnTo>
                <a:lnTo>
                  <a:pt x="10670" y="3952"/>
                </a:lnTo>
                <a:lnTo>
                  <a:pt x="10672" y="3950"/>
                </a:lnTo>
                <a:lnTo>
                  <a:pt x="10676" y="3948"/>
                </a:lnTo>
                <a:lnTo>
                  <a:pt x="10678" y="3948"/>
                </a:lnTo>
                <a:lnTo>
                  <a:pt x="10682" y="3948"/>
                </a:lnTo>
                <a:lnTo>
                  <a:pt x="10684" y="3944"/>
                </a:lnTo>
                <a:lnTo>
                  <a:pt x="10686" y="3940"/>
                </a:lnTo>
                <a:lnTo>
                  <a:pt x="10686" y="3934"/>
                </a:lnTo>
                <a:lnTo>
                  <a:pt x="10682" y="3924"/>
                </a:lnTo>
                <a:lnTo>
                  <a:pt x="10680" y="3914"/>
                </a:lnTo>
                <a:lnTo>
                  <a:pt x="10680" y="3910"/>
                </a:lnTo>
                <a:lnTo>
                  <a:pt x="10680" y="3908"/>
                </a:lnTo>
                <a:lnTo>
                  <a:pt x="10682" y="3906"/>
                </a:lnTo>
                <a:lnTo>
                  <a:pt x="10686" y="3908"/>
                </a:lnTo>
                <a:lnTo>
                  <a:pt x="10692" y="3918"/>
                </a:lnTo>
                <a:lnTo>
                  <a:pt x="10696" y="3924"/>
                </a:lnTo>
                <a:lnTo>
                  <a:pt x="10700" y="3930"/>
                </a:lnTo>
                <a:lnTo>
                  <a:pt x="10700" y="3934"/>
                </a:lnTo>
                <a:lnTo>
                  <a:pt x="10698" y="3936"/>
                </a:lnTo>
                <a:lnTo>
                  <a:pt x="10702" y="3938"/>
                </a:lnTo>
                <a:lnTo>
                  <a:pt x="10706" y="3938"/>
                </a:lnTo>
                <a:lnTo>
                  <a:pt x="10708" y="3940"/>
                </a:lnTo>
                <a:lnTo>
                  <a:pt x="10712" y="3940"/>
                </a:lnTo>
                <a:lnTo>
                  <a:pt x="10716" y="3938"/>
                </a:lnTo>
                <a:lnTo>
                  <a:pt x="10716" y="3936"/>
                </a:lnTo>
                <a:lnTo>
                  <a:pt x="10716" y="3932"/>
                </a:lnTo>
                <a:lnTo>
                  <a:pt x="10714" y="3930"/>
                </a:lnTo>
                <a:lnTo>
                  <a:pt x="10714" y="3926"/>
                </a:lnTo>
                <a:lnTo>
                  <a:pt x="10716" y="3924"/>
                </a:lnTo>
                <a:lnTo>
                  <a:pt x="10718" y="3928"/>
                </a:lnTo>
                <a:lnTo>
                  <a:pt x="10722" y="3930"/>
                </a:lnTo>
                <a:lnTo>
                  <a:pt x="10724" y="3930"/>
                </a:lnTo>
                <a:lnTo>
                  <a:pt x="10726" y="3930"/>
                </a:lnTo>
                <a:lnTo>
                  <a:pt x="10728" y="3926"/>
                </a:lnTo>
                <a:lnTo>
                  <a:pt x="10726" y="3924"/>
                </a:lnTo>
                <a:lnTo>
                  <a:pt x="10726" y="3920"/>
                </a:lnTo>
                <a:lnTo>
                  <a:pt x="10726" y="3918"/>
                </a:lnTo>
                <a:lnTo>
                  <a:pt x="10728" y="3916"/>
                </a:lnTo>
                <a:lnTo>
                  <a:pt x="10730" y="3916"/>
                </a:lnTo>
                <a:lnTo>
                  <a:pt x="10732" y="3918"/>
                </a:lnTo>
                <a:lnTo>
                  <a:pt x="10734" y="3924"/>
                </a:lnTo>
                <a:lnTo>
                  <a:pt x="10736" y="3926"/>
                </a:lnTo>
                <a:lnTo>
                  <a:pt x="10736" y="3928"/>
                </a:lnTo>
                <a:lnTo>
                  <a:pt x="10738" y="3926"/>
                </a:lnTo>
                <a:lnTo>
                  <a:pt x="10742" y="3922"/>
                </a:lnTo>
                <a:lnTo>
                  <a:pt x="10748" y="3916"/>
                </a:lnTo>
                <a:lnTo>
                  <a:pt x="10752" y="3916"/>
                </a:lnTo>
                <a:lnTo>
                  <a:pt x="10762" y="3922"/>
                </a:lnTo>
                <a:lnTo>
                  <a:pt x="10764" y="3922"/>
                </a:lnTo>
                <a:lnTo>
                  <a:pt x="10766" y="3922"/>
                </a:lnTo>
                <a:lnTo>
                  <a:pt x="10766" y="3918"/>
                </a:lnTo>
                <a:lnTo>
                  <a:pt x="10766" y="3914"/>
                </a:lnTo>
                <a:lnTo>
                  <a:pt x="10766" y="3912"/>
                </a:lnTo>
                <a:lnTo>
                  <a:pt x="10768" y="3912"/>
                </a:lnTo>
                <a:lnTo>
                  <a:pt x="10770" y="3912"/>
                </a:lnTo>
                <a:lnTo>
                  <a:pt x="10772" y="3916"/>
                </a:lnTo>
                <a:lnTo>
                  <a:pt x="10776" y="3918"/>
                </a:lnTo>
                <a:lnTo>
                  <a:pt x="10782" y="3916"/>
                </a:lnTo>
                <a:lnTo>
                  <a:pt x="10792" y="3910"/>
                </a:lnTo>
                <a:lnTo>
                  <a:pt x="10798" y="3908"/>
                </a:lnTo>
                <a:lnTo>
                  <a:pt x="10804" y="3906"/>
                </a:lnTo>
                <a:lnTo>
                  <a:pt x="10806" y="3900"/>
                </a:lnTo>
                <a:lnTo>
                  <a:pt x="10806" y="3898"/>
                </a:lnTo>
                <a:lnTo>
                  <a:pt x="10808" y="3896"/>
                </a:lnTo>
                <a:lnTo>
                  <a:pt x="10812" y="3894"/>
                </a:lnTo>
                <a:lnTo>
                  <a:pt x="10814" y="3892"/>
                </a:lnTo>
                <a:lnTo>
                  <a:pt x="10812" y="3890"/>
                </a:lnTo>
                <a:lnTo>
                  <a:pt x="10810" y="3888"/>
                </a:lnTo>
                <a:lnTo>
                  <a:pt x="10812" y="3886"/>
                </a:lnTo>
                <a:lnTo>
                  <a:pt x="10814" y="3884"/>
                </a:lnTo>
                <a:lnTo>
                  <a:pt x="10818" y="3878"/>
                </a:lnTo>
                <a:lnTo>
                  <a:pt x="10822" y="3874"/>
                </a:lnTo>
                <a:lnTo>
                  <a:pt x="10824" y="3874"/>
                </a:lnTo>
                <a:lnTo>
                  <a:pt x="10830" y="3874"/>
                </a:lnTo>
                <a:lnTo>
                  <a:pt x="10832" y="3872"/>
                </a:lnTo>
                <a:lnTo>
                  <a:pt x="10836" y="3868"/>
                </a:lnTo>
                <a:lnTo>
                  <a:pt x="10842" y="3862"/>
                </a:lnTo>
                <a:lnTo>
                  <a:pt x="10844" y="3862"/>
                </a:lnTo>
                <a:lnTo>
                  <a:pt x="10846" y="3862"/>
                </a:lnTo>
                <a:lnTo>
                  <a:pt x="10846" y="3866"/>
                </a:lnTo>
                <a:lnTo>
                  <a:pt x="10850" y="3862"/>
                </a:lnTo>
                <a:lnTo>
                  <a:pt x="10862" y="3846"/>
                </a:lnTo>
                <a:lnTo>
                  <a:pt x="10868" y="3840"/>
                </a:lnTo>
                <a:lnTo>
                  <a:pt x="10868" y="3838"/>
                </a:lnTo>
                <a:lnTo>
                  <a:pt x="10868" y="3836"/>
                </a:lnTo>
                <a:lnTo>
                  <a:pt x="10864" y="3832"/>
                </a:lnTo>
                <a:lnTo>
                  <a:pt x="10866" y="3826"/>
                </a:lnTo>
                <a:lnTo>
                  <a:pt x="10868" y="3822"/>
                </a:lnTo>
                <a:lnTo>
                  <a:pt x="10870" y="3822"/>
                </a:lnTo>
                <a:lnTo>
                  <a:pt x="10872" y="3824"/>
                </a:lnTo>
                <a:lnTo>
                  <a:pt x="10874" y="3828"/>
                </a:lnTo>
                <a:lnTo>
                  <a:pt x="10876" y="3826"/>
                </a:lnTo>
                <a:lnTo>
                  <a:pt x="10878" y="3824"/>
                </a:lnTo>
                <a:lnTo>
                  <a:pt x="10884" y="3826"/>
                </a:lnTo>
                <a:lnTo>
                  <a:pt x="10886" y="3828"/>
                </a:lnTo>
                <a:lnTo>
                  <a:pt x="10888" y="3828"/>
                </a:lnTo>
                <a:lnTo>
                  <a:pt x="10890" y="3824"/>
                </a:lnTo>
                <a:lnTo>
                  <a:pt x="10892" y="3816"/>
                </a:lnTo>
                <a:lnTo>
                  <a:pt x="10896" y="3812"/>
                </a:lnTo>
                <a:lnTo>
                  <a:pt x="10900" y="3810"/>
                </a:lnTo>
                <a:lnTo>
                  <a:pt x="10906" y="3808"/>
                </a:lnTo>
                <a:lnTo>
                  <a:pt x="10904" y="3804"/>
                </a:lnTo>
                <a:lnTo>
                  <a:pt x="10900" y="3800"/>
                </a:lnTo>
                <a:lnTo>
                  <a:pt x="10900" y="3798"/>
                </a:lnTo>
                <a:lnTo>
                  <a:pt x="10900" y="3794"/>
                </a:lnTo>
                <a:lnTo>
                  <a:pt x="10902" y="3790"/>
                </a:lnTo>
                <a:lnTo>
                  <a:pt x="10904" y="3794"/>
                </a:lnTo>
                <a:lnTo>
                  <a:pt x="10906" y="3796"/>
                </a:lnTo>
                <a:lnTo>
                  <a:pt x="10910" y="3796"/>
                </a:lnTo>
                <a:lnTo>
                  <a:pt x="10914" y="3794"/>
                </a:lnTo>
                <a:lnTo>
                  <a:pt x="10918" y="3788"/>
                </a:lnTo>
                <a:lnTo>
                  <a:pt x="10916" y="3788"/>
                </a:lnTo>
                <a:lnTo>
                  <a:pt x="10912" y="3786"/>
                </a:lnTo>
                <a:lnTo>
                  <a:pt x="10908" y="3784"/>
                </a:lnTo>
                <a:lnTo>
                  <a:pt x="10908" y="3780"/>
                </a:lnTo>
                <a:lnTo>
                  <a:pt x="10910" y="3776"/>
                </a:lnTo>
                <a:lnTo>
                  <a:pt x="10912" y="3776"/>
                </a:lnTo>
                <a:lnTo>
                  <a:pt x="10916" y="3776"/>
                </a:lnTo>
                <a:lnTo>
                  <a:pt x="10918" y="3776"/>
                </a:lnTo>
                <a:lnTo>
                  <a:pt x="10920" y="3780"/>
                </a:lnTo>
                <a:lnTo>
                  <a:pt x="10926" y="3786"/>
                </a:lnTo>
                <a:lnTo>
                  <a:pt x="10928" y="3786"/>
                </a:lnTo>
                <a:lnTo>
                  <a:pt x="10930" y="3782"/>
                </a:lnTo>
                <a:lnTo>
                  <a:pt x="10926" y="3776"/>
                </a:lnTo>
                <a:lnTo>
                  <a:pt x="10926" y="3772"/>
                </a:lnTo>
                <a:lnTo>
                  <a:pt x="10926" y="3766"/>
                </a:lnTo>
                <a:lnTo>
                  <a:pt x="10930" y="3758"/>
                </a:lnTo>
                <a:lnTo>
                  <a:pt x="10932" y="3752"/>
                </a:lnTo>
                <a:lnTo>
                  <a:pt x="10932" y="3750"/>
                </a:lnTo>
                <a:lnTo>
                  <a:pt x="10928" y="3750"/>
                </a:lnTo>
                <a:lnTo>
                  <a:pt x="10926" y="3750"/>
                </a:lnTo>
                <a:lnTo>
                  <a:pt x="10924" y="3750"/>
                </a:lnTo>
                <a:lnTo>
                  <a:pt x="10926" y="3746"/>
                </a:lnTo>
                <a:lnTo>
                  <a:pt x="10930" y="3740"/>
                </a:lnTo>
                <a:lnTo>
                  <a:pt x="10936" y="3736"/>
                </a:lnTo>
                <a:lnTo>
                  <a:pt x="10942" y="3732"/>
                </a:lnTo>
                <a:lnTo>
                  <a:pt x="10938" y="3730"/>
                </a:lnTo>
                <a:lnTo>
                  <a:pt x="10934" y="3726"/>
                </a:lnTo>
                <a:lnTo>
                  <a:pt x="10932" y="3720"/>
                </a:lnTo>
                <a:lnTo>
                  <a:pt x="10928" y="3718"/>
                </a:lnTo>
                <a:lnTo>
                  <a:pt x="10928" y="3716"/>
                </a:lnTo>
                <a:lnTo>
                  <a:pt x="10930" y="3714"/>
                </a:lnTo>
                <a:lnTo>
                  <a:pt x="10934" y="3714"/>
                </a:lnTo>
                <a:lnTo>
                  <a:pt x="10936" y="3714"/>
                </a:lnTo>
                <a:lnTo>
                  <a:pt x="10938" y="3718"/>
                </a:lnTo>
                <a:lnTo>
                  <a:pt x="10940" y="3722"/>
                </a:lnTo>
                <a:lnTo>
                  <a:pt x="10942" y="3722"/>
                </a:lnTo>
                <a:lnTo>
                  <a:pt x="10946" y="3722"/>
                </a:lnTo>
                <a:lnTo>
                  <a:pt x="10948" y="3720"/>
                </a:lnTo>
                <a:lnTo>
                  <a:pt x="10950" y="3716"/>
                </a:lnTo>
                <a:lnTo>
                  <a:pt x="10950" y="3712"/>
                </a:lnTo>
                <a:lnTo>
                  <a:pt x="10948" y="3708"/>
                </a:lnTo>
                <a:lnTo>
                  <a:pt x="10948" y="3706"/>
                </a:lnTo>
                <a:lnTo>
                  <a:pt x="10950" y="3706"/>
                </a:lnTo>
                <a:lnTo>
                  <a:pt x="10956" y="3700"/>
                </a:lnTo>
                <a:lnTo>
                  <a:pt x="10964" y="3692"/>
                </a:lnTo>
                <a:lnTo>
                  <a:pt x="10968" y="3682"/>
                </a:lnTo>
                <a:lnTo>
                  <a:pt x="10970" y="3676"/>
                </a:lnTo>
                <a:lnTo>
                  <a:pt x="10968" y="3674"/>
                </a:lnTo>
                <a:lnTo>
                  <a:pt x="10968" y="3670"/>
                </a:lnTo>
                <a:lnTo>
                  <a:pt x="10968" y="3668"/>
                </a:lnTo>
                <a:lnTo>
                  <a:pt x="10972" y="3662"/>
                </a:lnTo>
                <a:lnTo>
                  <a:pt x="10980" y="3654"/>
                </a:lnTo>
                <a:lnTo>
                  <a:pt x="10986" y="3640"/>
                </a:lnTo>
                <a:lnTo>
                  <a:pt x="10988" y="3634"/>
                </a:lnTo>
                <a:lnTo>
                  <a:pt x="10990" y="3632"/>
                </a:lnTo>
                <a:lnTo>
                  <a:pt x="10992" y="3632"/>
                </a:lnTo>
                <a:lnTo>
                  <a:pt x="10994" y="3634"/>
                </a:lnTo>
                <a:lnTo>
                  <a:pt x="10996" y="3640"/>
                </a:lnTo>
                <a:lnTo>
                  <a:pt x="10998" y="3640"/>
                </a:lnTo>
                <a:lnTo>
                  <a:pt x="11000" y="3638"/>
                </a:lnTo>
                <a:lnTo>
                  <a:pt x="11004" y="3634"/>
                </a:lnTo>
                <a:lnTo>
                  <a:pt x="11008" y="3634"/>
                </a:lnTo>
                <a:lnTo>
                  <a:pt x="11010" y="3632"/>
                </a:lnTo>
                <a:lnTo>
                  <a:pt x="11006" y="3624"/>
                </a:lnTo>
                <a:lnTo>
                  <a:pt x="11004" y="3618"/>
                </a:lnTo>
                <a:lnTo>
                  <a:pt x="11004" y="3616"/>
                </a:lnTo>
                <a:lnTo>
                  <a:pt x="11006" y="3614"/>
                </a:lnTo>
                <a:lnTo>
                  <a:pt x="11008" y="3612"/>
                </a:lnTo>
                <a:lnTo>
                  <a:pt x="11010" y="3610"/>
                </a:lnTo>
                <a:lnTo>
                  <a:pt x="11012" y="3610"/>
                </a:lnTo>
                <a:lnTo>
                  <a:pt x="11010" y="3606"/>
                </a:lnTo>
                <a:lnTo>
                  <a:pt x="11010" y="3602"/>
                </a:lnTo>
                <a:lnTo>
                  <a:pt x="11012" y="3600"/>
                </a:lnTo>
                <a:lnTo>
                  <a:pt x="11012" y="3596"/>
                </a:lnTo>
                <a:lnTo>
                  <a:pt x="11008" y="3592"/>
                </a:lnTo>
                <a:lnTo>
                  <a:pt x="11006" y="3590"/>
                </a:lnTo>
                <a:lnTo>
                  <a:pt x="11008" y="3590"/>
                </a:lnTo>
                <a:lnTo>
                  <a:pt x="11012" y="3590"/>
                </a:lnTo>
                <a:lnTo>
                  <a:pt x="11016" y="3590"/>
                </a:lnTo>
                <a:lnTo>
                  <a:pt x="11020" y="3588"/>
                </a:lnTo>
                <a:lnTo>
                  <a:pt x="11022" y="3582"/>
                </a:lnTo>
                <a:lnTo>
                  <a:pt x="11024" y="3574"/>
                </a:lnTo>
                <a:lnTo>
                  <a:pt x="11022" y="3568"/>
                </a:lnTo>
                <a:lnTo>
                  <a:pt x="11020" y="3566"/>
                </a:lnTo>
                <a:lnTo>
                  <a:pt x="11016" y="3562"/>
                </a:lnTo>
                <a:lnTo>
                  <a:pt x="11016" y="3560"/>
                </a:lnTo>
                <a:lnTo>
                  <a:pt x="11026" y="3554"/>
                </a:lnTo>
                <a:lnTo>
                  <a:pt x="11028" y="3550"/>
                </a:lnTo>
                <a:lnTo>
                  <a:pt x="11024" y="3550"/>
                </a:lnTo>
                <a:lnTo>
                  <a:pt x="11016" y="3546"/>
                </a:lnTo>
                <a:lnTo>
                  <a:pt x="11010" y="3544"/>
                </a:lnTo>
                <a:lnTo>
                  <a:pt x="11006" y="3538"/>
                </a:lnTo>
                <a:lnTo>
                  <a:pt x="11002" y="3532"/>
                </a:lnTo>
                <a:lnTo>
                  <a:pt x="10996" y="3528"/>
                </a:lnTo>
                <a:lnTo>
                  <a:pt x="10990" y="3530"/>
                </a:lnTo>
                <a:lnTo>
                  <a:pt x="10984" y="3532"/>
                </a:lnTo>
                <a:lnTo>
                  <a:pt x="10976" y="3538"/>
                </a:lnTo>
                <a:lnTo>
                  <a:pt x="10970" y="3538"/>
                </a:lnTo>
                <a:lnTo>
                  <a:pt x="10966" y="3534"/>
                </a:lnTo>
                <a:lnTo>
                  <a:pt x="10966" y="3532"/>
                </a:lnTo>
                <a:lnTo>
                  <a:pt x="10964" y="3530"/>
                </a:lnTo>
                <a:lnTo>
                  <a:pt x="10960" y="3530"/>
                </a:lnTo>
                <a:lnTo>
                  <a:pt x="10958" y="3530"/>
                </a:lnTo>
                <a:lnTo>
                  <a:pt x="10958" y="3528"/>
                </a:lnTo>
                <a:lnTo>
                  <a:pt x="10960" y="3524"/>
                </a:lnTo>
                <a:lnTo>
                  <a:pt x="10964" y="3524"/>
                </a:lnTo>
                <a:lnTo>
                  <a:pt x="10970" y="3524"/>
                </a:lnTo>
                <a:lnTo>
                  <a:pt x="10976" y="3526"/>
                </a:lnTo>
                <a:lnTo>
                  <a:pt x="10978" y="3524"/>
                </a:lnTo>
                <a:lnTo>
                  <a:pt x="10980" y="3522"/>
                </a:lnTo>
                <a:lnTo>
                  <a:pt x="10986" y="3516"/>
                </a:lnTo>
                <a:lnTo>
                  <a:pt x="10994" y="3508"/>
                </a:lnTo>
                <a:lnTo>
                  <a:pt x="11004" y="3504"/>
                </a:lnTo>
                <a:lnTo>
                  <a:pt x="11012" y="3502"/>
                </a:lnTo>
                <a:lnTo>
                  <a:pt x="11018" y="3500"/>
                </a:lnTo>
                <a:lnTo>
                  <a:pt x="11020" y="3498"/>
                </a:lnTo>
                <a:lnTo>
                  <a:pt x="11020" y="3494"/>
                </a:lnTo>
                <a:lnTo>
                  <a:pt x="11018" y="3488"/>
                </a:lnTo>
                <a:lnTo>
                  <a:pt x="11010" y="3478"/>
                </a:lnTo>
                <a:lnTo>
                  <a:pt x="10998" y="3466"/>
                </a:lnTo>
                <a:lnTo>
                  <a:pt x="10988" y="3458"/>
                </a:lnTo>
                <a:lnTo>
                  <a:pt x="10980" y="3454"/>
                </a:lnTo>
                <a:lnTo>
                  <a:pt x="10974" y="3450"/>
                </a:lnTo>
                <a:lnTo>
                  <a:pt x="10974" y="3448"/>
                </a:lnTo>
                <a:lnTo>
                  <a:pt x="10976" y="3446"/>
                </a:lnTo>
                <a:lnTo>
                  <a:pt x="10974" y="3444"/>
                </a:lnTo>
                <a:lnTo>
                  <a:pt x="10970" y="3442"/>
                </a:lnTo>
                <a:lnTo>
                  <a:pt x="10966" y="3440"/>
                </a:lnTo>
                <a:lnTo>
                  <a:pt x="10962" y="3442"/>
                </a:lnTo>
                <a:lnTo>
                  <a:pt x="10956" y="3444"/>
                </a:lnTo>
                <a:lnTo>
                  <a:pt x="10950" y="3446"/>
                </a:lnTo>
                <a:lnTo>
                  <a:pt x="10944" y="3444"/>
                </a:lnTo>
                <a:lnTo>
                  <a:pt x="10940" y="3440"/>
                </a:lnTo>
                <a:lnTo>
                  <a:pt x="10936" y="3436"/>
                </a:lnTo>
                <a:lnTo>
                  <a:pt x="10932" y="3432"/>
                </a:lnTo>
                <a:lnTo>
                  <a:pt x="10932" y="3428"/>
                </a:lnTo>
                <a:lnTo>
                  <a:pt x="10932" y="3424"/>
                </a:lnTo>
                <a:lnTo>
                  <a:pt x="10934" y="3424"/>
                </a:lnTo>
                <a:lnTo>
                  <a:pt x="10936" y="3424"/>
                </a:lnTo>
                <a:lnTo>
                  <a:pt x="10940" y="3430"/>
                </a:lnTo>
                <a:lnTo>
                  <a:pt x="10944" y="3438"/>
                </a:lnTo>
                <a:lnTo>
                  <a:pt x="10948" y="3442"/>
                </a:lnTo>
                <a:lnTo>
                  <a:pt x="10952" y="3442"/>
                </a:lnTo>
                <a:lnTo>
                  <a:pt x="10954" y="3442"/>
                </a:lnTo>
                <a:lnTo>
                  <a:pt x="10960" y="3438"/>
                </a:lnTo>
                <a:lnTo>
                  <a:pt x="10966" y="3436"/>
                </a:lnTo>
                <a:lnTo>
                  <a:pt x="10968" y="3434"/>
                </a:lnTo>
                <a:lnTo>
                  <a:pt x="10972" y="3436"/>
                </a:lnTo>
                <a:lnTo>
                  <a:pt x="10976" y="3438"/>
                </a:lnTo>
                <a:lnTo>
                  <a:pt x="10978" y="3442"/>
                </a:lnTo>
                <a:lnTo>
                  <a:pt x="10980" y="3444"/>
                </a:lnTo>
                <a:lnTo>
                  <a:pt x="10984" y="3448"/>
                </a:lnTo>
                <a:lnTo>
                  <a:pt x="10988" y="3448"/>
                </a:lnTo>
                <a:lnTo>
                  <a:pt x="10992" y="3448"/>
                </a:lnTo>
                <a:lnTo>
                  <a:pt x="10998" y="3450"/>
                </a:lnTo>
                <a:lnTo>
                  <a:pt x="11010" y="3454"/>
                </a:lnTo>
                <a:lnTo>
                  <a:pt x="11016" y="3458"/>
                </a:lnTo>
                <a:lnTo>
                  <a:pt x="11020" y="3458"/>
                </a:lnTo>
                <a:lnTo>
                  <a:pt x="11020" y="3456"/>
                </a:lnTo>
                <a:lnTo>
                  <a:pt x="11020" y="3452"/>
                </a:lnTo>
                <a:lnTo>
                  <a:pt x="11016" y="3444"/>
                </a:lnTo>
                <a:lnTo>
                  <a:pt x="11008" y="3436"/>
                </a:lnTo>
                <a:lnTo>
                  <a:pt x="11002" y="3430"/>
                </a:lnTo>
                <a:lnTo>
                  <a:pt x="11000" y="3424"/>
                </a:lnTo>
                <a:lnTo>
                  <a:pt x="10996" y="3420"/>
                </a:lnTo>
                <a:lnTo>
                  <a:pt x="10988" y="3412"/>
                </a:lnTo>
                <a:lnTo>
                  <a:pt x="10980" y="3406"/>
                </a:lnTo>
                <a:lnTo>
                  <a:pt x="10980" y="3400"/>
                </a:lnTo>
                <a:lnTo>
                  <a:pt x="10978" y="3390"/>
                </a:lnTo>
                <a:lnTo>
                  <a:pt x="10978" y="3384"/>
                </a:lnTo>
                <a:lnTo>
                  <a:pt x="10974" y="3376"/>
                </a:lnTo>
                <a:lnTo>
                  <a:pt x="10970" y="3366"/>
                </a:lnTo>
                <a:lnTo>
                  <a:pt x="10966" y="3356"/>
                </a:lnTo>
                <a:lnTo>
                  <a:pt x="10962" y="3338"/>
                </a:lnTo>
                <a:lnTo>
                  <a:pt x="10958" y="3328"/>
                </a:lnTo>
                <a:lnTo>
                  <a:pt x="10954" y="3320"/>
                </a:lnTo>
                <a:lnTo>
                  <a:pt x="10948" y="3314"/>
                </a:lnTo>
                <a:lnTo>
                  <a:pt x="10940" y="3310"/>
                </a:lnTo>
                <a:lnTo>
                  <a:pt x="10934" y="3308"/>
                </a:lnTo>
                <a:lnTo>
                  <a:pt x="10928" y="3304"/>
                </a:lnTo>
                <a:lnTo>
                  <a:pt x="10924" y="3298"/>
                </a:lnTo>
                <a:lnTo>
                  <a:pt x="10922" y="3294"/>
                </a:lnTo>
                <a:lnTo>
                  <a:pt x="10920" y="3294"/>
                </a:lnTo>
                <a:lnTo>
                  <a:pt x="10914" y="3294"/>
                </a:lnTo>
                <a:lnTo>
                  <a:pt x="10910" y="3294"/>
                </a:lnTo>
                <a:lnTo>
                  <a:pt x="10910" y="3290"/>
                </a:lnTo>
                <a:lnTo>
                  <a:pt x="10912" y="3284"/>
                </a:lnTo>
                <a:lnTo>
                  <a:pt x="10916" y="3276"/>
                </a:lnTo>
                <a:lnTo>
                  <a:pt x="10926" y="3258"/>
                </a:lnTo>
                <a:lnTo>
                  <a:pt x="10932" y="3252"/>
                </a:lnTo>
                <a:lnTo>
                  <a:pt x="10936" y="3248"/>
                </a:lnTo>
                <a:lnTo>
                  <a:pt x="10942" y="3244"/>
                </a:lnTo>
                <a:lnTo>
                  <a:pt x="10944" y="3242"/>
                </a:lnTo>
                <a:lnTo>
                  <a:pt x="10946" y="3238"/>
                </a:lnTo>
                <a:lnTo>
                  <a:pt x="10950" y="3232"/>
                </a:lnTo>
                <a:lnTo>
                  <a:pt x="10952" y="3230"/>
                </a:lnTo>
                <a:lnTo>
                  <a:pt x="10952" y="3228"/>
                </a:lnTo>
                <a:lnTo>
                  <a:pt x="10950" y="3224"/>
                </a:lnTo>
                <a:lnTo>
                  <a:pt x="10948" y="3220"/>
                </a:lnTo>
                <a:lnTo>
                  <a:pt x="10948" y="3218"/>
                </a:lnTo>
                <a:lnTo>
                  <a:pt x="10950" y="3216"/>
                </a:lnTo>
                <a:lnTo>
                  <a:pt x="10952" y="3216"/>
                </a:lnTo>
                <a:lnTo>
                  <a:pt x="10954" y="3216"/>
                </a:lnTo>
                <a:lnTo>
                  <a:pt x="10956" y="3220"/>
                </a:lnTo>
                <a:lnTo>
                  <a:pt x="10956" y="3222"/>
                </a:lnTo>
                <a:lnTo>
                  <a:pt x="10958" y="3224"/>
                </a:lnTo>
                <a:lnTo>
                  <a:pt x="10960" y="3224"/>
                </a:lnTo>
                <a:lnTo>
                  <a:pt x="10966" y="3222"/>
                </a:lnTo>
                <a:lnTo>
                  <a:pt x="10968" y="3220"/>
                </a:lnTo>
                <a:lnTo>
                  <a:pt x="10970" y="3218"/>
                </a:lnTo>
                <a:lnTo>
                  <a:pt x="10972" y="3212"/>
                </a:lnTo>
                <a:lnTo>
                  <a:pt x="10974" y="3208"/>
                </a:lnTo>
                <a:lnTo>
                  <a:pt x="10976" y="3206"/>
                </a:lnTo>
                <a:lnTo>
                  <a:pt x="10978" y="3206"/>
                </a:lnTo>
                <a:lnTo>
                  <a:pt x="10980" y="3206"/>
                </a:lnTo>
                <a:lnTo>
                  <a:pt x="10982" y="3206"/>
                </a:lnTo>
                <a:lnTo>
                  <a:pt x="10984" y="3202"/>
                </a:lnTo>
                <a:lnTo>
                  <a:pt x="10988" y="3196"/>
                </a:lnTo>
                <a:lnTo>
                  <a:pt x="10994" y="3190"/>
                </a:lnTo>
                <a:lnTo>
                  <a:pt x="11002" y="3186"/>
                </a:lnTo>
                <a:lnTo>
                  <a:pt x="11006" y="3186"/>
                </a:lnTo>
                <a:lnTo>
                  <a:pt x="11010" y="3186"/>
                </a:lnTo>
                <a:lnTo>
                  <a:pt x="11016" y="3180"/>
                </a:lnTo>
                <a:lnTo>
                  <a:pt x="11022" y="3176"/>
                </a:lnTo>
                <a:lnTo>
                  <a:pt x="11024" y="3176"/>
                </a:lnTo>
                <a:lnTo>
                  <a:pt x="11026" y="3178"/>
                </a:lnTo>
                <a:lnTo>
                  <a:pt x="11028" y="3176"/>
                </a:lnTo>
                <a:lnTo>
                  <a:pt x="11030" y="3176"/>
                </a:lnTo>
                <a:lnTo>
                  <a:pt x="11032" y="3176"/>
                </a:lnTo>
                <a:lnTo>
                  <a:pt x="11032" y="3180"/>
                </a:lnTo>
                <a:lnTo>
                  <a:pt x="11032" y="3182"/>
                </a:lnTo>
                <a:lnTo>
                  <a:pt x="11034" y="3182"/>
                </a:lnTo>
                <a:lnTo>
                  <a:pt x="11036" y="3182"/>
                </a:lnTo>
                <a:lnTo>
                  <a:pt x="11042" y="3182"/>
                </a:lnTo>
                <a:lnTo>
                  <a:pt x="11046" y="3180"/>
                </a:lnTo>
                <a:lnTo>
                  <a:pt x="11046" y="3178"/>
                </a:lnTo>
                <a:lnTo>
                  <a:pt x="11046" y="3174"/>
                </a:lnTo>
                <a:lnTo>
                  <a:pt x="11044" y="3172"/>
                </a:lnTo>
                <a:lnTo>
                  <a:pt x="11044" y="3168"/>
                </a:lnTo>
                <a:lnTo>
                  <a:pt x="11046" y="3164"/>
                </a:lnTo>
                <a:lnTo>
                  <a:pt x="11050" y="3160"/>
                </a:lnTo>
                <a:lnTo>
                  <a:pt x="11052" y="3156"/>
                </a:lnTo>
                <a:lnTo>
                  <a:pt x="11052" y="3154"/>
                </a:lnTo>
                <a:lnTo>
                  <a:pt x="11046" y="3152"/>
                </a:lnTo>
                <a:lnTo>
                  <a:pt x="11038" y="3148"/>
                </a:lnTo>
                <a:lnTo>
                  <a:pt x="11032" y="3146"/>
                </a:lnTo>
                <a:lnTo>
                  <a:pt x="11028" y="3142"/>
                </a:lnTo>
                <a:lnTo>
                  <a:pt x="11026" y="3144"/>
                </a:lnTo>
                <a:lnTo>
                  <a:pt x="11024" y="3146"/>
                </a:lnTo>
                <a:lnTo>
                  <a:pt x="11020" y="3148"/>
                </a:lnTo>
                <a:lnTo>
                  <a:pt x="11014" y="3148"/>
                </a:lnTo>
                <a:lnTo>
                  <a:pt x="11006" y="3146"/>
                </a:lnTo>
                <a:lnTo>
                  <a:pt x="11002" y="3144"/>
                </a:lnTo>
                <a:lnTo>
                  <a:pt x="11000" y="3142"/>
                </a:lnTo>
                <a:lnTo>
                  <a:pt x="10996" y="3142"/>
                </a:lnTo>
                <a:lnTo>
                  <a:pt x="10992" y="3142"/>
                </a:lnTo>
                <a:lnTo>
                  <a:pt x="10990" y="3140"/>
                </a:lnTo>
                <a:lnTo>
                  <a:pt x="10988" y="3138"/>
                </a:lnTo>
                <a:lnTo>
                  <a:pt x="10984" y="3132"/>
                </a:lnTo>
                <a:lnTo>
                  <a:pt x="10982" y="3130"/>
                </a:lnTo>
                <a:lnTo>
                  <a:pt x="10978" y="3130"/>
                </a:lnTo>
                <a:lnTo>
                  <a:pt x="10968" y="3130"/>
                </a:lnTo>
                <a:lnTo>
                  <a:pt x="10960" y="3134"/>
                </a:lnTo>
                <a:lnTo>
                  <a:pt x="10956" y="3140"/>
                </a:lnTo>
                <a:lnTo>
                  <a:pt x="10950" y="3146"/>
                </a:lnTo>
                <a:lnTo>
                  <a:pt x="10944" y="3150"/>
                </a:lnTo>
                <a:lnTo>
                  <a:pt x="10940" y="3152"/>
                </a:lnTo>
                <a:lnTo>
                  <a:pt x="10938" y="3154"/>
                </a:lnTo>
                <a:lnTo>
                  <a:pt x="10938" y="3156"/>
                </a:lnTo>
                <a:lnTo>
                  <a:pt x="10940" y="3162"/>
                </a:lnTo>
                <a:lnTo>
                  <a:pt x="10938" y="3164"/>
                </a:lnTo>
                <a:lnTo>
                  <a:pt x="10932" y="3166"/>
                </a:lnTo>
                <a:lnTo>
                  <a:pt x="10920" y="3166"/>
                </a:lnTo>
                <a:lnTo>
                  <a:pt x="10914" y="3166"/>
                </a:lnTo>
                <a:lnTo>
                  <a:pt x="10910" y="3164"/>
                </a:lnTo>
                <a:lnTo>
                  <a:pt x="10906" y="3160"/>
                </a:lnTo>
                <a:lnTo>
                  <a:pt x="10904" y="3156"/>
                </a:lnTo>
                <a:lnTo>
                  <a:pt x="10902" y="3144"/>
                </a:lnTo>
                <a:lnTo>
                  <a:pt x="10902" y="3140"/>
                </a:lnTo>
                <a:lnTo>
                  <a:pt x="10906" y="3138"/>
                </a:lnTo>
                <a:lnTo>
                  <a:pt x="10906" y="3134"/>
                </a:lnTo>
                <a:lnTo>
                  <a:pt x="10906" y="3130"/>
                </a:lnTo>
                <a:lnTo>
                  <a:pt x="10904" y="3120"/>
                </a:lnTo>
                <a:lnTo>
                  <a:pt x="10896" y="3112"/>
                </a:lnTo>
                <a:lnTo>
                  <a:pt x="10894" y="3110"/>
                </a:lnTo>
                <a:lnTo>
                  <a:pt x="10890" y="3112"/>
                </a:lnTo>
                <a:lnTo>
                  <a:pt x="10884" y="3114"/>
                </a:lnTo>
                <a:lnTo>
                  <a:pt x="10876" y="3114"/>
                </a:lnTo>
                <a:lnTo>
                  <a:pt x="10868" y="3112"/>
                </a:lnTo>
                <a:lnTo>
                  <a:pt x="10864" y="3110"/>
                </a:lnTo>
                <a:lnTo>
                  <a:pt x="10864" y="3108"/>
                </a:lnTo>
                <a:lnTo>
                  <a:pt x="10860" y="3106"/>
                </a:lnTo>
                <a:lnTo>
                  <a:pt x="10854" y="3102"/>
                </a:lnTo>
                <a:lnTo>
                  <a:pt x="10850" y="3098"/>
                </a:lnTo>
                <a:lnTo>
                  <a:pt x="10846" y="3090"/>
                </a:lnTo>
                <a:lnTo>
                  <a:pt x="10846" y="3080"/>
                </a:lnTo>
                <a:lnTo>
                  <a:pt x="10848" y="3072"/>
                </a:lnTo>
                <a:lnTo>
                  <a:pt x="10850" y="3066"/>
                </a:lnTo>
                <a:lnTo>
                  <a:pt x="10852" y="3062"/>
                </a:lnTo>
                <a:lnTo>
                  <a:pt x="10854" y="3056"/>
                </a:lnTo>
                <a:lnTo>
                  <a:pt x="10858" y="3054"/>
                </a:lnTo>
                <a:lnTo>
                  <a:pt x="10864" y="3054"/>
                </a:lnTo>
                <a:lnTo>
                  <a:pt x="10872" y="3060"/>
                </a:lnTo>
                <a:lnTo>
                  <a:pt x="10874" y="3062"/>
                </a:lnTo>
                <a:lnTo>
                  <a:pt x="10876" y="3064"/>
                </a:lnTo>
                <a:lnTo>
                  <a:pt x="10880" y="3060"/>
                </a:lnTo>
                <a:lnTo>
                  <a:pt x="10886" y="3056"/>
                </a:lnTo>
                <a:lnTo>
                  <a:pt x="10888" y="3056"/>
                </a:lnTo>
                <a:lnTo>
                  <a:pt x="10892" y="3056"/>
                </a:lnTo>
                <a:lnTo>
                  <a:pt x="10900" y="3056"/>
                </a:lnTo>
                <a:lnTo>
                  <a:pt x="10906" y="3052"/>
                </a:lnTo>
                <a:lnTo>
                  <a:pt x="10912" y="3046"/>
                </a:lnTo>
                <a:lnTo>
                  <a:pt x="10914" y="3036"/>
                </a:lnTo>
                <a:lnTo>
                  <a:pt x="10916" y="3030"/>
                </a:lnTo>
                <a:lnTo>
                  <a:pt x="10920" y="3024"/>
                </a:lnTo>
                <a:lnTo>
                  <a:pt x="10932" y="3014"/>
                </a:lnTo>
                <a:lnTo>
                  <a:pt x="10948" y="3006"/>
                </a:lnTo>
                <a:lnTo>
                  <a:pt x="10958" y="3000"/>
                </a:lnTo>
                <a:lnTo>
                  <a:pt x="10964" y="2998"/>
                </a:lnTo>
                <a:lnTo>
                  <a:pt x="10966" y="2992"/>
                </a:lnTo>
                <a:lnTo>
                  <a:pt x="10970" y="2986"/>
                </a:lnTo>
                <a:lnTo>
                  <a:pt x="10976" y="2978"/>
                </a:lnTo>
                <a:lnTo>
                  <a:pt x="10982" y="2970"/>
                </a:lnTo>
                <a:lnTo>
                  <a:pt x="10984" y="2966"/>
                </a:lnTo>
                <a:lnTo>
                  <a:pt x="10984" y="2964"/>
                </a:lnTo>
                <a:lnTo>
                  <a:pt x="10988" y="2960"/>
                </a:lnTo>
                <a:lnTo>
                  <a:pt x="10992" y="2958"/>
                </a:lnTo>
                <a:lnTo>
                  <a:pt x="10996" y="2958"/>
                </a:lnTo>
                <a:lnTo>
                  <a:pt x="11002" y="2960"/>
                </a:lnTo>
                <a:lnTo>
                  <a:pt x="11008" y="2962"/>
                </a:lnTo>
                <a:lnTo>
                  <a:pt x="11010" y="2962"/>
                </a:lnTo>
                <a:lnTo>
                  <a:pt x="11012" y="2960"/>
                </a:lnTo>
                <a:lnTo>
                  <a:pt x="11016" y="2958"/>
                </a:lnTo>
                <a:lnTo>
                  <a:pt x="11018" y="2960"/>
                </a:lnTo>
                <a:lnTo>
                  <a:pt x="11020" y="2964"/>
                </a:lnTo>
                <a:lnTo>
                  <a:pt x="11026" y="2970"/>
                </a:lnTo>
                <a:lnTo>
                  <a:pt x="11032" y="2976"/>
                </a:lnTo>
                <a:lnTo>
                  <a:pt x="11034" y="2982"/>
                </a:lnTo>
                <a:lnTo>
                  <a:pt x="11032" y="2988"/>
                </a:lnTo>
                <a:lnTo>
                  <a:pt x="11026" y="3000"/>
                </a:lnTo>
                <a:lnTo>
                  <a:pt x="11022" y="3006"/>
                </a:lnTo>
                <a:lnTo>
                  <a:pt x="11016" y="3010"/>
                </a:lnTo>
                <a:lnTo>
                  <a:pt x="11008" y="3016"/>
                </a:lnTo>
                <a:lnTo>
                  <a:pt x="11004" y="3020"/>
                </a:lnTo>
                <a:lnTo>
                  <a:pt x="11002" y="3022"/>
                </a:lnTo>
                <a:lnTo>
                  <a:pt x="11004" y="3024"/>
                </a:lnTo>
                <a:lnTo>
                  <a:pt x="11004" y="3026"/>
                </a:lnTo>
                <a:lnTo>
                  <a:pt x="11002" y="3028"/>
                </a:lnTo>
                <a:lnTo>
                  <a:pt x="10998" y="3032"/>
                </a:lnTo>
                <a:lnTo>
                  <a:pt x="10994" y="3034"/>
                </a:lnTo>
                <a:lnTo>
                  <a:pt x="10992" y="3036"/>
                </a:lnTo>
                <a:lnTo>
                  <a:pt x="10994" y="3036"/>
                </a:lnTo>
                <a:lnTo>
                  <a:pt x="11000" y="3038"/>
                </a:lnTo>
                <a:lnTo>
                  <a:pt x="11004" y="3044"/>
                </a:lnTo>
                <a:lnTo>
                  <a:pt x="11010" y="3050"/>
                </a:lnTo>
                <a:lnTo>
                  <a:pt x="11010" y="3054"/>
                </a:lnTo>
                <a:lnTo>
                  <a:pt x="11010" y="3058"/>
                </a:lnTo>
                <a:lnTo>
                  <a:pt x="11008" y="3062"/>
                </a:lnTo>
                <a:lnTo>
                  <a:pt x="11004" y="3062"/>
                </a:lnTo>
                <a:lnTo>
                  <a:pt x="11000" y="3060"/>
                </a:lnTo>
                <a:lnTo>
                  <a:pt x="10998" y="3062"/>
                </a:lnTo>
                <a:lnTo>
                  <a:pt x="10996" y="3064"/>
                </a:lnTo>
                <a:lnTo>
                  <a:pt x="10994" y="3068"/>
                </a:lnTo>
                <a:lnTo>
                  <a:pt x="10992" y="3068"/>
                </a:lnTo>
                <a:lnTo>
                  <a:pt x="10990" y="3068"/>
                </a:lnTo>
                <a:lnTo>
                  <a:pt x="10988" y="3074"/>
                </a:lnTo>
                <a:lnTo>
                  <a:pt x="10988" y="3078"/>
                </a:lnTo>
                <a:lnTo>
                  <a:pt x="10990" y="3080"/>
                </a:lnTo>
                <a:lnTo>
                  <a:pt x="10992" y="3082"/>
                </a:lnTo>
                <a:lnTo>
                  <a:pt x="10994" y="3080"/>
                </a:lnTo>
                <a:lnTo>
                  <a:pt x="11000" y="3076"/>
                </a:lnTo>
                <a:lnTo>
                  <a:pt x="11008" y="3074"/>
                </a:lnTo>
                <a:lnTo>
                  <a:pt x="11014" y="3072"/>
                </a:lnTo>
                <a:lnTo>
                  <a:pt x="11014" y="3070"/>
                </a:lnTo>
                <a:lnTo>
                  <a:pt x="11012" y="3068"/>
                </a:lnTo>
                <a:lnTo>
                  <a:pt x="11012" y="3066"/>
                </a:lnTo>
                <a:lnTo>
                  <a:pt x="11016" y="3066"/>
                </a:lnTo>
                <a:lnTo>
                  <a:pt x="11020" y="3066"/>
                </a:lnTo>
                <a:lnTo>
                  <a:pt x="11026" y="3064"/>
                </a:lnTo>
                <a:lnTo>
                  <a:pt x="11030" y="3056"/>
                </a:lnTo>
                <a:lnTo>
                  <a:pt x="11036" y="3048"/>
                </a:lnTo>
                <a:lnTo>
                  <a:pt x="11040" y="3042"/>
                </a:lnTo>
                <a:lnTo>
                  <a:pt x="11044" y="3040"/>
                </a:lnTo>
                <a:lnTo>
                  <a:pt x="11050" y="3036"/>
                </a:lnTo>
                <a:lnTo>
                  <a:pt x="11054" y="3032"/>
                </a:lnTo>
                <a:lnTo>
                  <a:pt x="11056" y="3032"/>
                </a:lnTo>
                <a:lnTo>
                  <a:pt x="11064" y="3030"/>
                </a:lnTo>
                <a:lnTo>
                  <a:pt x="11072" y="3028"/>
                </a:lnTo>
                <a:lnTo>
                  <a:pt x="11074" y="3028"/>
                </a:lnTo>
                <a:lnTo>
                  <a:pt x="11076" y="3024"/>
                </a:lnTo>
                <a:lnTo>
                  <a:pt x="11080" y="3020"/>
                </a:lnTo>
                <a:lnTo>
                  <a:pt x="11082" y="3022"/>
                </a:lnTo>
                <a:lnTo>
                  <a:pt x="11086" y="3022"/>
                </a:lnTo>
                <a:lnTo>
                  <a:pt x="11088" y="3020"/>
                </a:lnTo>
                <a:lnTo>
                  <a:pt x="11090" y="3018"/>
                </a:lnTo>
                <a:lnTo>
                  <a:pt x="11094" y="3018"/>
                </a:lnTo>
                <a:lnTo>
                  <a:pt x="11100" y="3018"/>
                </a:lnTo>
                <a:lnTo>
                  <a:pt x="11110" y="3018"/>
                </a:lnTo>
                <a:lnTo>
                  <a:pt x="11114" y="3014"/>
                </a:lnTo>
                <a:lnTo>
                  <a:pt x="11120" y="3010"/>
                </a:lnTo>
                <a:lnTo>
                  <a:pt x="11120" y="3008"/>
                </a:lnTo>
                <a:lnTo>
                  <a:pt x="11120" y="3010"/>
                </a:lnTo>
                <a:lnTo>
                  <a:pt x="11122" y="3018"/>
                </a:lnTo>
                <a:lnTo>
                  <a:pt x="11126" y="3024"/>
                </a:lnTo>
                <a:lnTo>
                  <a:pt x="11130" y="3028"/>
                </a:lnTo>
                <a:lnTo>
                  <a:pt x="11132" y="3028"/>
                </a:lnTo>
                <a:lnTo>
                  <a:pt x="11136" y="3028"/>
                </a:lnTo>
                <a:lnTo>
                  <a:pt x="11138" y="3026"/>
                </a:lnTo>
                <a:lnTo>
                  <a:pt x="11142" y="3026"/>
                </a:lnTo>
                <a:lnTo>
                  <a:pt x="11152" y="3032"/>
                </a:lnTo>
                <a:lnTo>
                  <a:pt x="11156" y="3036"/>
                </a:lnTo>
                <a:lnTo>
                  <a:pt x="11160" y="3040"/>
                </a:lnTo>
                <a:lnTo>
                  <a:pt x="11162" y="3044"/>
                </a:lnTo>
                <a:lnTo>
                  <a:pt x="11160" y="3050"/>
                </a:lnTo>
                <a:lnTo>
                  <a:pt x="11152" y="3068"/>
                </a:lnTo>
                <a:lnTo>
                  <a:pt x="11150" y="3074"/>
                </a:lnTo>
                <a:lnTo>
                  <a:pt x="11150" y="3078"/>
                </a:lnTo>
                <a:lnTo>
                  <a:pt x="11152" y="3080"/>
                </a:lnTo>
                <a:lnTo>
                  <a:pt x="11154" y="3084"/>
                </a:lnTo>
                <a:lnTo>
                  <a:pt x="11150" y="3086"/>
                </a:lnTo>
                <a:lnTo>
                  <a:pt x="11146" y="3090"/>
                </a:lnTo>
                <a:lnTo>
                  <a:pt x="11142" y="3100"/>
                </a:lnTo>
                <a:lnTo>
                  <a:pt x="11140" y="3104"/>
                </a:lnTo>
                <a:lnTo>
                  <a:pt x="11136" y="3108"/>
                </a:lnTo>
                <a:lnTo>
                  <a:pt x="11132" y="3112"/>
                </a:lnTo>
                <a:lnTo>
                  <a:pt x="11130" y="3114"/>
                </a:lnTo>
                <a:lnTo>
                  <a:pt x="11132" y="3114"/>
                </a:lnTo>
                <a:lnTo>
                  <a:pt x="11140" y="3116"/>
                </a:lnTo>
                <a:lnTo>
                  <a:pt x="11146" y="3116"/>
                </a:lnTo>
                <a:lnTo>
                  <a:pt x="11148" y="3118"/>
                </a:lnTo>
                <a:lnTo>
                  <a:pt x="11148" y="3120"/>
                </a:lnTo>
                <a:lnTo>
                  <a:pt x="11146" y="3122"/>
                </a:lnTo>
                <a:lnTo>
                  <a:pt x="11144" y="3124"/>
                </a:lnTo>
                <a:lnTo>
                  <a:pt x="11144" y="3126"/>
                </a:lnTo>
                <a:lnTo>
                  <a:pt x="11150" y="3126"/>
                </a:lnTo>
                <a:lnTo>
                  <a:pt x="11156" y="3128"/>
                </a:lnTo>
                <a:lnTo>
                  <a:pt x="11158" y="3130"/>
                </a:lnTo>
                <a:lnTo>
                  <a:pt x="11160" y="3132"/>
                </a:lnTo>
                <a:lnTo>
                  <a:pt x="11158" y="3134"/>
                </a:lnTo>
                <a:lnTo>
                  <a:pt x="11158" y="3136"/>
                </a:lnTo>
                <a:lnTo>
                  <a:pt x="11164" y="3136"/>
                </a:lnTo>
                <a:lnTo>
                  <a:pt x="11166" y="3132"/>
                </a:lnTo>
                <a:lnTo>
                  <a:pt x="11168" y="3130"/>
                </a:lnTo>
                <a:lnTo>
                  <a:pt x="11170" y="3124"/>
                </a:lnTo>
                <a:lnTo>
                  <a:pt x="11172" y="3122"/>
                </a:lnTo>
                <a:lnTo>
                  <a:pt x="11174" y="3122"/>
                </a:lnTo>
                <a:lnTo>
                  <a:pt x="11180" y="3124"/>
                </a:lnTo>
                <a:lnTo>
                  <a:pt x="11190" y="3134"/>
                </a:lnTo>
                <a:lnTo>
                  <a:pt x="11190" y="3132"/>
                </a:lnTo>
                <a:lnTo>
                  <a:pt x="11192" y="3128"/>
                </a:lnTo>
                <a:lnTo>
                  <a:pt x="11194" y="3126"/>
                </a:lnTo>
                <a:lnTo>
                  <a:pt x="11196" y="3126"/>
                </a:lnTo>
                <a:lnTo>
                  <a:pt x="11200" y="3128"/>
                </a:lnTo>
                <a:lnTo>
                  <a:pt x="11206" y="3128"/>
                </a:lnTo>
                <a:lnTo>
                  <a:pt x="11214" y="3128"/>
                </a:lnTo>
                <a:lnTo>
                  <a:pt x="11214" y="3134"/>
                </a:lnTo>
                <a:lnTo>
                  <a:pt x="11212" y="3134"/>
                </a:lnTo>
                <a:lnTo>
                  <a:pt x="11210" y="3134"/>
                </a:lnTo>
                <a:lnTo>
                  <a:pt x="11208" y="3136"/>
                </a:lnTo>
                <a:lnTo>
                  <a:pt x="11210" y="3142"/>
                </a:lnTo>
                <a:lnTo>
                  <a:pt x="11212" y="3148"/>
                </a:lnTo>
                <a:lnTo>
                  <a:pt x="11214" y="3154"/>
                </a:lnTo>
                <a:lnTo>
                  <a:pt x="11214" y="3156"/>
                </a:lnTo>
                <a:lnTo>
                  <a:pt x="11214" y="3160"/>
                </a:lnTo>
                <a:lnTo>
                  <a:pt x="11212" y="3162"/>
                </a:lnTo>
                <a:lnTo>
                  <a:pt x="11212" y="3164"/>
                </a:lnTo>
                <a:lnTo>
                  <a:pt x="11216" y="3168"/>
                </a:lnTo>
                <a:lnTo>
                  <a:pt x="11220" y="3174"/>
                </a:lnTo>
                <a:lnTo>
                  <a:pt x="11222" y="3176"/>
                </a:lnTo>
                <a:lnTo>
                  <a:pt x="11222" y="3178"/>
                </a:lnTo>
                <a:lnTo>
                  <a:pt x="11220" y="3182"/>
                </a:lnTo>
                <a:lnTo>
                  <a:pt x="11220" y="3180"/>
                </a:lnTo>
                <a:lnTo>
                  <a:pt x="11216" y="3176"/>
                </a:lnTo>
                <a:lnTo>
                  <a:pt x="11214" y="3174"/>
                </a:lnTo>
                <a:lnTo>
                  <a:pt x="11210" y="3172"/>
                </a:lnTo>
                <a:lnTo>
                  <a:pt x="11200" y="3172"/>
                </a:lnTo>
                <a:lnTo>
                  <a:pt x="11198" y="3174"/>
                </a:lnTo>
                <a:lnTo>
                  <a:pt x="11200" y="3176"/>
                </a:lnTo>
                <a:lnTo>
                  <a:pt x="11200" y="3180"/>
                </a:lnTo>
                <a:lnTo>
                  <a:pt x="11198" y="3182"/>
                </a:lnTo>
                <a:lnTo>
                  <a:pt x="11196" y="3180"/>
                </a:lnTo>
                <a:lnTo>
                  <a:pt x="11194" y="3180"/>
                </a:lnTo>
                <a:lnTo>
                  <a:pt x="11192" y="3182"/>
                </a:lnTo>
                <a:lnTo>
                  <a:pt x="11190" y="3188"/>
                </a:lnTo>
                <a:lnTo>
                  <a:pt x="11192" y="3192"/>
                </a:lnTo>
                <a:lnTo>
                  <a:pt x="11198" y="3192"/>
                </a:lnTo>
                <a:lnTo>
                  <a:pt x="11200" y="3192"/>
                </a:lnTo>
                <a:lnTo>
                  <a:pt x="11204" y="3192"/>
                </a:lnTo>
                <a:lnTo>
                  <a:pt x="11206" y="3196"/>
                </a:lnTo>
                <a:lnTo>
                  <a:pt x="11206" y="3212"/>
                </a:lnTo>
                <a:lnTo>
                  <a:pt x="11206" y="3218"/>
                </a:lnTo>
                <a:lnTo>
                  <a:pt x="11208" y="3222"/>
                </a:lnTo>
                <a:lnTo>
                  <a:pt x="11212" y="3226"/>
                </a:lnTo>
                <a:lnTo>
                  <a:pt x="11212" y="3228"/>
                </a:lnTo>
                <a:lnTo>
                  <a:pt x="11212" y="3230"/>
                </a:lnTo>
                <a:lnTo>
                  <a:pt x="11212" y="3232"/>
                </a:lnTo>
                <a:lnTo>
                  <a:pt x="11216" y="3238"/>
                </a:lnTo>
                <a:lnTo>
                  <a:pt x="11212" y="3240"/>
                </a:lnTo>
                <a:lnTo>
                  <a:pt x="11208" y="3244"/>
                </a:lnTo>
                <a:lnTo>
                  <a:pt x="11204" y="3252"/>
                </a:lnTo>
                <a:lnTo>
                  <a:pt x="11198" y="3270"/>
                </a:lnTo>
                <a:lnTo>
                  <a:pt x="11196" y="3274"/>
                </a:lnTo>
                <a:lnTo>
                  <a:pt x="11196" y="3278"/>
                </a:lnTo>
                <a:lnTo>
                  <a:pt x="11198" y="3280"/>
                </a:lnTo>
                <a:lnTo>
                  <a:pt x="11200" y="3284"/>
                </a:lnTo>
                <a:lnTo>
                  <a:pt x="11200" y="3288"/>
                </a:lnTo>
                <a:lnTo>
                  <a:pt x="11202" y="3292"/>
                </a:lnTo>
                <a:lnTo>
                  <a:pt x="11202" y="3294"/>
                </a:lnTo>
                <a:lnTo>
                  <a:pt x="11200" y="3296"/>
                </a:lnTo>
                <a:lnTo>
                  <a:pt x="11196" y="3296"/>
                </a:lnTo>
                <a:lnTo>
                  <a:pt x="11196" y="3298"/>
                </a:lnTo>
                <a:lnTo>
                  <a:pt x="11198" y="3304"/>
                </a:lnTo>
                <a:lnTo>
                  <a:pt x="11200" y="3304"/>
                </a:lnTo>
                <a:lnTo>
                  <a:pt x="11204" y="3304"/>
                </a:lnTo>
                <a:lnTo>
                  <a:pt x="11204" y="3308"/>
                </a:lnTo>
                <a:lnTo>
                  <a:pt x="11206" y="3314"/>
                </a:lnTo>
                <a:lnTo>
                  <a:pt x="11206" y="3318"/>
                </a:lnTo>
                <a:lnTo>
                  <a:pt x="11210" y="3316"/>
                </a:lnTo>
                <a:lnTo>
                  <a:pt x="11214" y="3310"/>
                </a:lnTo>
                <a:lnTo>
                  <a:pt x="11218" y="3304"/>
                </a:lnTo>
                <a:lnTo>
                  <a:pt x="11218" y="3306"/>
                </a:lnTo>
                <a:lnTo>
                  <a:pt x="11218" y="3310"/>
                </a:lnTo>
                <a:lnTo>
                  <a:pt x="11220" y="3312"/>
                </a:lnTo>
                <a:lnTo>
                  <a:pt x="11222" y="3310"/>
                </a:lnTo>
                <a:lnTo>
                  <a:pt x="11224" y="3306"/>
                </a:lnTo>
                <a:lnTo>
                  <a:pt x="11226" y="3302"/>
                </a:lnTo>
                <a:lnTo>
                  <a:pt x="11230" y="3298"/>
                </a:lnTo>
                <a:lnTo>
                  <a:pt x="11234" y="3294"/>
                </a:lnTo>
                <a:lnTo>
                  <a:pt x="11238" y="3294"/>
                </a:lnTo>
                <a:lnTo>
                  <a:pt x="11238" y="3296"/>
                </a:lnTo>
                <a:lnTo>
                  <a:pt x="11234" y="3300"/>
                </a:lnTo>
                <a:lnTo>
                  <a:pt x="11232" y="3304"/>
                </a:lnTo>
                <a:lnTo>
                  <a:pt x="11234" y="3308"/>
                </a:lnTo>
                <a:lnTo>
                  <a:pt x="11238" y="3310"/>
                </a:lnTo>
                <a:lnTo>
                  <a:pt x="11242" y="3308"/>
                </a:lnTo>
                <a:lnTo>
                  <a:pt x="11244" y="3306"/>
                </a:lnTo>
                <a:lnTo>
                  <a:pt x="11246" y="3302"/>
                </a:lnTo>
                <a:lnTo>
                  <a:pt x="11244" y="3296"/>
                </a:lnTo>
                <a:lnTo>
                  <a:pt x="11242" y="3292"/>
                </a:lnTo>
                <a:lnTo>
                  <a:pt x="11244" y="3290"/>
                </a:lnTo>
                <a:lnTo>
                  <a:pt x="11246" y="3290"/>
                </a:lnTo>
                <a:lnTo>
                  <a:pt x="11248" y="3294"/>
                </a:lnTo>
                <a:lnTo>
                  <a:pt x="11250" y="3300"/>
                </a:lnTo>
                <a:lnTo>
                  <a:pt x="11254" y="3296"/>
                </a:lnTo>
                <a:lnTo>
                  <a:pt x="11256" y="3294"/>
                </a:lnTo>
                <a:lnTo>
                  <a:pt x="11256" y="3292"/>
                </a:lnTo>
                <a:lnTo>
                  <a:pt x="11252" y="3288"/>
                </a:lnTo>
                <a:lnTo>
                  <a:pt x="11250" y="3286"/>
                </a:lnTo>
                <a:lnTo>
                  <a:pt x="11254" y="3284"/>
                </a:lnTo>
                <a:lnTo>
                  <a:pt x="11264" y="3284"/>
                </a:lnTo>
                <a:lnTo>
                  <a:pt x="11272" y="3286"/>
                </a:lnTo>
                <a:lnTo>
                  <a:pt x="11278" y="3288"/>
                </a:lnTo>
                <a:lnTo>
                  <a:pt x="11282" y="3288"/>
                </a:lnTo>
                <a:lnTo>
                  <a:pt x="11284" y="3286"/>
                </a:lnTo>
                <a:lnTo>
                  <a:pt x="11284" y="3284"/>
                </a:lnTo>
                <a:lnTo>
                  <a:pt x="11284" y="3280"/>
                </a:lnTo>
                <a:lnTo>
                  <a:pt x="11288" y="3278"/>
                </a:lnTo>
                <a:lnTo>
                  <a:pt x="11296" y="3276"/>
                </a:lnTo>
                <a:lnTo>
                  <a:pt x="11302" y="3276"/>
                </a:lnTo>
                <a:lnTo>
                  <a:pt x="11306" y="3278"/>
                </a:lnTo>
                <a:lnTo>
                  <a:pt x="11310" y="3276"/>
                </a:lnTo>
                <a:lnTo>
                  <a:pt x="11316" y="3268"/>
                </a:lnTo>
                <a:lnTo>
                  <a:pt x="11322" y="3256"/>
                </a:lnTo>
                <a:lnTo>
                  <a:pt x="11326" y="3244"/>
                </a:lnTo>
                <a:lnTo>
                  <a:pt x="11328" y="3232"/>
                </a:lnTo>
                <a:lnTo>
                  <a:pt x="11328" y="3226"/>
                </a:lnTo>
                <a:lnTo>
                  <a:pt x="11326" y="3226"/>
                </a:lnTo>
                <a:lnTo>
                  <a:pt x="11322" y="3226"/>
                </a:lnTo>
                <a:lnTo>
                  <a:pt x="11322" y="3218"/>
                </a:lnTo>
                <a:lnTo>
                  <a:pt x="11322" y="3208"/>
                </a:lnTo>
                <a:lnTo>
                  <a:pt x="11324" y="3200"/>
                </a:lnTo>
                <a:lnTo>
                  <a:pt x="11324" y="3192"/>
                </a:lnTo>
                <a:lnTo>
                  <a:pt x="11324" y="3180"/>
                </a:lnTo>
                <a:lnTo>
                  <a:pt x="11320" y="3164"/>
                </a:lnTo>
                <a:lnTo>
                  <a:pt x="11314" y="3148"/>
                </a:lnTo>
                <a:lnTo>
                  <a:pt x="11306" y="3134"/>
                </a:lnTo>
                <a:lnTo>
                  <a:pt x="11298" y="3122"/>
                </a:lnTo>
                <a:lnTo>
                  <a:pt x="11292" y="3110"/>
                </a:lnTo>
                <a:lnTo>
                  <a:pt x="11286" y="3100"/>
                </a:lnTo>
                <a:lnTo>
                  <a:pt x="11280" y="3086"/>
                </a:lnTo>
                <a:lnTo>
                  <a:pt x="11278" y="3080"/>
                </a:lnTo>
                <a:lnTo>
                  <a:pt x="11274" y="3078"/>
                </a:lnTo>
                <a:lnTo>
                  <a:pt x="11270" y="3074"/>
                </a:lnTo>
                <a:lnTo>
                  <a:pt x="11262" y="3066"/>
                </a:lnTo>
                <a:lnTo>
                  <a:pt x="11258" y="3060"/>
                </a:lnTo>
                <a:lnTo>
                  <a:pt x="11254" y="3058"/>
                </a:lnTo>
                <a:lnTo>
                  <a:pt x="11248" y="3056"/>
                </a:lnTo>
                <a:lnTo>
                  <a:pt x="11244" y="3054"/>
                </a:lnTo>
                <a:lnTo>
                  <a:pt x="11242" y="3050"/>
                </a:lnTo>
                <a:lnTo>
                  <a:pt x="11242" y="3048"/>
                </a:lnTo>
                <a:lnTo>
                  <a:pt x="11246" y="3048"/>
                </a:lnTo>
                <a:lnTo>
                  <a:pt x="11248" y="3046"/>
                </a:lnTo>
                <a:lnTo>
                  <a:pt x="11248" y="3038"/>
                </a:lnTo>
                <a:lnTo>
                  <a:pt x="11246" y="3030"/>
                </a:lnTo>
                <a:lnTo>
                  <a:pt x="11248" y="3026"/>
                </a:lnTo>
                <a:lnTo>
                  <a:pt x="11248" y="3022"/>
                </a:lnTo>
                <a:lnTo>
                  <a:pt x="11250" y="3020"/>
                </a:lnTo>
                <a:lnTo>
                  <a:pt x="11256" y="3018"/>
                </a:lnTo>
                <a:lnTo>
                  <a:pt x="11260" y="3016"/>
                </a:lnTo>
                <a:lnTo>
                  <a:pt x="11262" y="3012"/>
                </a:lnTo>
                <a:lnTo>
                  <a:pt x="11266" y="3008"/>
                </a:lnTo>
                <a:lnTo>
                  <a:pt x="11268" y="3008"/>
                </a:lnTo>
                <a:lnTo>
                  <a:pt x="11272" y="3008"/>
                </a:lnTo>
                <a:lnTo>
                  <a:pt x="11276" y="3010"/>
                </a:lnTo>
                <a:lnTo>
                  <a:pt x="11280" y="3008"/>
                </a:lnTo>
                <a:lnTo>
                  <a:pt x="11284" y="3006"/>
                </a:lnTo>
                <a:lnTo>
                  <a:pt x="11290" y="3000"/>
                </a:lnTo>
                <a:lnTo>
                  <a:pt x="11314" y="2976"/>
                </a:lnTo>
                <a:lnTo>
                  <a:pt x="11322" y="2968"/>
                </a:lnTo>
                <a:lnTo>
                  <a:pt x="11330" y="2964"/>
                </a:lnTo>
                <a:lnTo>
                  <a:pt x="11334" y="2964"/>
                </a:lnTo>
                <a:lnTo>
                  <a:pt x="11334" y="2960"/>
                </a:lnTo>
                <a:lnTo>
                  <a:pt x="11336" y="2954"/>
                </a:lnTo>
                <a:lnTo>
                  <a:pt x="11336" y="2944"/>
                </a:lnTo>
                <a:lnTo>
                  <a:pt x="11336" y="2938"/>
                </a:lnTo>
                <a:lnTo>
                  <a:pt x="11338" y="2934"/>
                </a:lnTo>
                <a:lnTo>
                  <a:pt x="11336" y="2932"/>
                </a:lnTo>
                <a:lnTo>
                  <a:pt x="11334" y="2928"/>
                </a:lnTo>
                <a:lnTo>
                  <a:pt x="11334" y="2926"/>
                </a:lnTo>
                <a:lnTo>
                  <a:pt x="11334" y="2924"/>
                </a:lnTo>
                <a:lnTo>
                  <a:pt x="11338" y="2914"/>
                </a:lnTo>
                <a:lnTo>
                  <a:pt x="11352" y="2894"/>
                </a:lnTo>
                <a:lnTo>
                  <a:pt x="11362" y="2884"/>
                </a:lnTo>
                <a:lnTo>
                  <a:pt x="11366" y="2882"/>
                </a:lnTo>
                <a:lnTo>
                  <a:pt x="11368" y="2882"/>
                </a:lnTo>
                <a:lnTo>
                  <a:pt x="11372" y="2884"/>
                </a:lnTo>
                <a:lnTo>
                  <a:pt x="11376" y="2882"/>
                </a:lnTo>
                <a:lnTo>
                  <a:pt x="11380" y="2878"/>
                </a:lnTo>
                <a:lnTo>
                  <a:pt x="11382" y="2872"/>
                </a:lnTo>
                <a:lnTo>
                  <a:pt x="11380" y="2866"/>
                </a:lnTo>
                <a:lnTo>
                  <a:pt x="11380" y="2862"/>
                </a:lnTo>
                <a:lnTo>
                  <a:pt x="11386" y="2864"/>
                </a:lnTo>
                <a:lnTo>
                  <a:pt x="11396" y="2864"/>
                </a:lnTo>
                <a:lnTo>
                  <a:pt x="11398" y="2862"/>
                </a:lnTo>
                <a:lnTo>
                  <a:pt x="11402" y="2858"/>
                </a:lnTo>
                <a:lnTo>
                  <a:pt x="11408" y="2848"/>
                </a:lnTo>
                <a:lnTo>
                  <a:pt x="11412" y="2840"/>
                </a:lnTo>
                <a:lnTo>
                  <a:pt x="11414" y="2832"/>
                </a:lnTo>
                <a:lnTo>
                  <a:pt x="11414" y="2828"/>
                </a:lnTo>
                <a:lnTo>
                  <a:pt x="11416" y="2826"/>
                </a:lnTo>
                <a:lnTo>
                  <a:pt x="11420" y="2826"/>
                </a:lnTo>
                <a:lnTo>
                  <a:pt x="11424" y="2826"/>
                </a:lnTo>
                <a:lnTo>
                  <a:pt x="11424" y="2828"/>
                </a:lnTo>
                <a:lnTo>
                  <a:pt x="11424" y="2834"/>
                </a:lnTo>
                <a:lnTo>
                  <a:pt x="11422" y="2836"/>
                </a:lnTo>
                <a:lnTo>
                  <a:pt x="11424" y="2838"/>
                </a:lnTo>
                <a:lnTo>
                  <a:pt x="11426" y="2838"/>
                </a:lnTo>
                <a:lnTo>
                  <a:pt x="11430" y="2834"/>
                </a:lnTo>
                <a:lnTo>
                  <a:pt x="11436" y="2832"/>
                </a:lnTo>
                <a:lnTo>
                  <a:pt x="11438" y="2832"/>
                </a:lnTo>
                <a:lnTo>
                  <a:pt x="11440" y="2834"/>
                </a:lnTo>
                <a:lnTo>
                  <a:pt x="11440" y="2836"/>
                </a:lnTo>
                <a:lnTo>
                  <a:pt x="11440" y="2844"/>
                </a:lnTo>
                <a:lnTo>
                  <a:pt x="11442" y="2848"/>
                </a:lnTo>
                <a:lnTo>
                  <a:pt x="11444" y="2850"/>
                </a:lnTo>
                <a:lnTo>
                  <a:pt x="11458" y="2854"/>
                </a:lnTo>
                <a:lnTo>
                  <a:pt x="11468" y="2860"/>
                </a:lnTo>
                <a:lnTo>
                  <a:pt x="11474" y="2860"/>
                </a:lnTo>
                <a:lnTo>
                  <a:pt x="11478" y="2858"/>
                </a:lnTo>
                <a:lnTo>
                  <a:pt x="11486" y="2854"/>
                </a:lnTo>
                <a:lnTo>
                  <a:pt x="11496" y="2852"/>
                </a:lnTo>
                <a:lnTo>
                  <a:pt x="11506" y="2848"/>
                </a:lnTo>
                <a:lnTo>
                  <a:pt x="11512" y="2844"/>
                </a:lnTo>
                <a:lnTo>
                  <a:pt x="11520" y="2836"/>
                </a:lnTo>
                <a:lnTo>
                  <a:pt x="11536" y="2826"/>
                </a:lnTo>
                <a:lnTo>
                  <a:pt x="11546" y="2820"/>
                </a:lnTo>
                <a:lnTo>
                  <a:pt x="11554" y="2810"/>
                </a:lnTo>
                <a:lnTo>
                  <a:pt x="11574" y="2784"/>
                </a:lnTo>
                <a:lnTo>
                  <a:pt x="11600" y="2748"/>
                </a:lnTo>
                <a:lnTo>
                  <a:pt x="11616" y="2728"/>
                </a:lnTo>
                <a:lnTo>
                  <a:pt x="11638" y="2708"/>
                </a:lnTo>
                <a:lnTo>
                  <a:pt x="11656" y="2686"/>
                </a:lnTo>
                <a:lnTo>
                  <a:pt x="11668" y="2668"/>
                </a:lnTo>
                <a:lnTo>
                  <a:pt x="11678" y="2652"/>
                </a:lnTo>
                <a:lnTo>
                  <a:pt x="11684" y="2638"/>
                </a:lnTo>
                <a:lnTo>
                  <a:pt x="11692" y="2616"/>
                </a:lnTo>
                <a:lnTo>
                  <a:pt x="11696" y="2608"/>
                </a:lnTo>
                <a:lnTo>
                  <a:pt x="11704" y="2600"/>
                </a:lnTo>
                <a:lnTo>
                  <a:pt x="11712" y="2592"/>
                </a:lnTo>
                <a:lnTo>
                  <a:pt x="11716" y="2586"/>
                </a:lnTo>
                <a:lnTo>
                  <a:pt x="11720" y="2576"/>
                </a:lnTo>
                <a:lnTo>
                  <a:pt x="11722" y="2572"/>
                </a:lnTo>
                <a:lnTo>
                  <a:pt x="11726" y="2564"/>
                </a:lnTo>
                <a:lnTo>
                  <a:pt x="11732" y="2556"/>
                </a:lnTo>
                <a:lnTo>
                  <a:pt x="11742" y="2546"/>
                </a:lnTo>
                <a:lnTo>
                  <a:pt x="11748" y="2540"/>
                </a:lnTo>
                <a:lnTo>
                  <a:pt x="11754" y="2532"/>
                </a:lnTo>
                <a:lnTo>
                  <a:pt x="11762" y="2516"/>
                </a:lnTo>
                <a:lnTo>
                  <a:pt x="11768" y="2496"/>
                </a:lnTo>
                <a:lnTo>
                  <a:pt x="11772" y="2476"/>
                </a:lnTo>
                <a:lnTo>
                  <a:pt x="11772" y="2456"/>
                </a:lnTo>
                <a:lnTo>
                  <a:pt x="11772" y="2438"/>
                </a:lnTo>
                <a:lnTo>
                  <a:pt x="11770" y="2422"/>
                </a:lnTo>
                <a:lnTo>
                  <a:pt x="11768" y="2412"/>
                </a:lnTo>
                <a:lnTo>
                  <a:pt x="11768" y="2404"/>
                </a:lnTo>
                <a:lnTo>
                  <a:pt x="11768" y="2398"/>
                </a:lnTo>
                <a:lnTo>
                  <a:pt x="11768" y="2392"/>
                </a:lnTo>
                <a:lnTo>
                  <a:pt x="11770" y="2388"/>
                </a:lnTo>
                <a:lnTo>
                  <a:pt x="11778" y="2376"/>
                </a:lnTo>
                <a:lnTo>
                  <a:pt x="11780" y="2370"/>
                </a:lnTo>
                <a:lnTo>
                  <a:pt x="11784" y="2360"/>
                </a:lnTo>
                <a:lnTo>
                  <a:pt x="11788" y="2350"/>
                </a:lnTo>
                <a:lnTo>
                  <a:pt x="11792" y="2340"/>
                </a:lnTo>
                <a:lnTo>
                  <a:pt x="11804" y="2328"/>
                </a:lnTo>
                <a:lnTo>
                  <a:pt x="11808" y="2322"/>
                </a:lnTo>
                <a:lnTo>
                  <a:pt x="11810" y="2316"/>
                </a:lnTo>
                <a:lnTo>
                  <a:pt x="11810" y="2310"/>
                </a:lnTo>
                <a:lnTo>
                  <a:pt x="11804" y="2304"/>
                </a:lnTo>
                <a:lnTo>
                  <a:pt x="11800" y="2298"/>
                </a:lnTo>
                <a:lnTo>
                  <a:pt x="11798" y="2292"/>
                </a:lnTo>
                <a:lnTo>
                  <a:pt x="11796" y="2288"/>
                </a:lnTo>
                <a:lnTo>
                  <a:pt x="11798" y="2284"/>
                </a:lnTo>
                <a:lnTo>
                  <a:pt x="11800" y="2276"/>
                </a:lnTo>
                <a:lnTo>
                  <a:pt x="11798" y="2272"/>
                </a:lnTo>
                <a:lnTo>
                  <a:pt x="11794" y="2266"/>
                </a:lnTo>
                <a:lnTo>
                  <a:pt x="11792" y="2260"/>
                </a:lnTo>
                <a:lnTo>
                  <a:pt x="11794" y="2258"/>
                </a:lnTo>
                <a:lnTo>
                  <a:pt x="11804" y="2252"/>
                </a:lnTo>
                <a:lnTo>
                  <a:pt x="11808" y="2248"/>
                </a:lnTo>
                <a:lnTo>
                  <a:pt x="11808" y="2246"/>
                </a:lnTo>
                <a:lnTo>
                  <a:pt x="11806" y="2240"/>
                </a:lnTo>
                <a:lnTo>
                  <a:pt x="11798" y="2234"/>
                </a:lnTo>
                <a:lnTo>
                  <a:pt x="11780" y="2220"/>
                </a:lnTo>
                <a:lnTo>
                  <a:pt x="11768" y="2208"/>
                </a:lnTo>
                <a:lnTo>
                  <a:pt x="11752" y="2188"/>
                </a:lnTo>
                <a:lnTo>
                  <a:pt x="11746" y="2186"/>
                </a:lnTo>
                <a:lnTo>
                  <a:pt x="11742" y="2184"/>
                </a:lnTo>
                <a:lnTo>
                  <a:pt x="11732" y="2184"/>
                </a:lnTo>
                <a:lnTo>
                  <a:pt x="11720" y="2186"/>
                </a:lnTo>
                <a:lnTo>
                  <a:pt x="11714" y="2186"/>
                </a:lnTo>
                <a:lnTo>
                  <a:pt x="11708" y="2182"/>
                </a:lnTo>
                <a:lnTo>
                  <a:pt x="11702" y="2182"/>
                </a:lnTo>
                <a:lnTo>
                  <a:pt x="11700" y="2184"/>
                </a:lnTo>
                <a:lnTo>
                  <a:pt x="11696" y="2196"/>
                </a:lnTo>
                <a:lnTo>
                  <a:pt x="11692" y="2202"/>
                </a:lnTo>
                <a:lnTo>
                  <a:pt x="11688" y="2210"/>
                </a:lnTo>
                <a:lnTo>
                  <a:pt x="11680" y="2218"/>
                </a:lnTo>
                <a:lnTo>
                  <a:pt x="11670" y="2222"/>
                </a:lnTo>
                <a:lnTo>
                  <a:pt x="11660" y="2224"/>
                </a:lnTo>
                <a:lnTo>
                  <a:pt x="11656" y="2224"/>
                </a:lnTo>
                <a:lnTo>
                  <a:pt x="11652" y="2224"/>
                </a:lnTo>
                <a:lnTo>
                  <a:pt x="11650" y="2220"/>
                </a:lnTo>
                <a:lnTo>
                  <a:pt x="11650" y="2216"/>
                </a:lnTo>
                <a:lnTo>
                  <a:pt x="11650" y="2212"/>
                </a:lnTo>
                <a:lnTo>
                  <a:pt x="11654" y="2202"/>
                </a:lnTo>
                <a:lnTo>
                  <a:pt x="11658" y="2192"/>
                </a:lnTo>
                <a:lnTo>
                  <a:pt x="11660" y="2184"/>
                </a:lnTo>
                <a:lnTo>
                  <a:pt x="11660" y="2182"/>
                </a:lnTo>
                <a:lnTo>
                  <a:pt x="11658" y="2180"/>
                </a:lnTo>
                <a:lnTo>
                  <a:pt x="11654" y="2180"/>
                </a:lnTo>
                <a:lnTo>
                  <a:pt x="11648" y="2180"/>
                </a:lnTo>
                <a:lnTo>
                  <a:pt x="11638" y="2186"/>
                </a:lnTo>
                <a:lnTo>
                  <a:pt x="11634" y="2190"/>
                </a:lnTo>
                <a:lnTo>
                  <a:pt x="11634" y="2194"/>
                </a:lnTo>
                <a:lnTo>
                  <a:pt x="11636" y="2198"/>
                </a:lnTo>
                <a:lnTo>
                  <a:pt x="11638" y="2202"/>
                </a:lnTo>
                <a:lnTo>
                  <a:pt x="11638" y="2204"/>
                </a:lnTo>
                <a:lnTo>
                  <a:pt x="11634" y="2206"/>
                </a:lnTo>
                <a:lnTo>
                  <a:pt x="11626" y="2208"/>
                </a:lnTo>
                <a:lnTo>
                  <a:pt x="11622" y="2208"/>
                </a:lnTo>
                <a:lnTo>
                  <a:pt x="11618" y="2206"/>
                </a:lnTo>
                <a:lnTo>
                  <a:pt x="11616" y="2204"/>
                </a:lnTo>
                <a:lnTo>
                  <a:pt x="11616" y="2202"/>
                </a:lnTo>
                <a:lnTo>
                  <a:pt x="11618" y="2194"/>
                </a:lnTo>
                <a:lnTo>
                  <a:pt x="11622" y="2186"/>
                </a:lnTo>
                <a:lnTo>
                  <a:pt x="11624" y="2176"/>
                </a:lnTo>
                <a:lnTo>
                  <a:pt x="11624" y="2172"/>
                </a:lnTo>
                <a:lnTo>
                  <a:pt x="11622" y="2168"/>
                </a:lnTo>
                <a:lnTo>
                  <a:pt x="11620" y="2164"/>
                </a:lnTo>
                <a:lnTo>
                  <a:pt x="11616" y="2162"/>
                </a:lnTo>
                <a:lnTo>
                  <a:pt x="11610" y="2160"/>
                </a:lnTo>
                <a:lnTo>
                  <a:pt x="11602" y="2160"/>
                </a:lnTo>
                <a:lnTo>
                  <a:pt x="11584" y="2160"/>
                </a:lnTo>
                <a:lnTo>
                  <a:pt x="11570" y="2160"/>
                </a:lnTo>
                <a:lnTo>
                  <a:pt x="11560" y="2158"/>
                </a:lnTo>
                <a:lnTo>
                  <a:pt x="11556" y="2154"/>
                </a:lnTo>
                <a:lnTo>
                  <a:pt x="11554" y="2150"/>
                </a:lnTo>
                <a:lnTo>
                  <a:pt x="11556" y="2146"/>
                </a:lnTo>
                <a:lnTo>
                  <a:pt x="11562" y="2138"/>
                </a:lnTo>
                <a:lnTo>
                  <a:pt x="11574" y="2126"/>
                </a:lnTo>
                <a:lnTo>
                  <a:pt x="11594" y="2112"/>
                </a:lnTo>
                <a:lnTo>
                  <a:pt x="11634" y="2086"/>
                </a:lnTo>
                <a:lnTo>
                  <a:pt x="11658" y="2068"/>
                </a:lnTo>
                <a:lnTo>
                  <a:pt x="11666" y="2060"/>
                </a:lnTo>
                <a:lnTo>
                  <a:pt x="11672" y="2052"/>
                </a:lnTo>
                <a:lnTo>
                  <a:pt x="11676" y="2042"/>
                </a:lnTo>
                <a:lnTo>
                  <a:pt x="11682" y="2030"/>
                </a:lnTo>
                <a:lnTo>
                  <a:pt x="11690" y="2018"/>
                </a:lnTo>
                <a:lnTo>
                  <a:pt x="11700" y="2008"/>
                </a:lnTo>
                <a:lnTo>
                  <a:pt x="11714" y="1998"/>
                </a:lnTo>
                <a:lnTo>
                  <a:pt x="11728" y="1990"/>
                </a:lnTo>
                <a:lnTo>
                  <a:pt x="11742" y="1982"/>
                </a:lnTo>
                <a:lnTo>
                  <a:pt x="11754" y="1972"/>
                </a:lnTo>
                <a:lnTo>
                  <a:pt x="11766" y="1960"/>
                </a:lnTo>
                <a:lnTo>
                  <a:pt x="11770" y="1952"/>
                </a:lnTo>
                <a:lnTo>
                  <a:pt x="11774" y="1944"/>
                </a:lnTo>
                <a:lnTo>
                  <a:pt x="11782" y="1928"/>
                </a:lnTo>
                <a:lnTo>
                  <a:pt x="11796" y="1912"/>
                </a:lnTo>
                <a:lnTo>
                  <a:pt x="11814" y="1896"/>
                </a:lnTo>
                <a:lnTo>
                  <a:pt x="11834" y="1882"/>
                </a:lnTo>
                <a:lnTo>
                  <a:pt x="11854" y="1870"/>
                </a:lnTo>
                <a:lnTo>
                  <a:pt x="11874" y="1864"/>
                </a:lnTo>
                <a:lnTo>
                  <a:pt x="11894" y="1860"/>
                </a:lnTo>
                <a:lnTo>
                  <a:pt x="11902" y="1860"/>
                </a:lnTo>
                <a:lnTo>
                  <a:pt x="11912" y="1862"/>
                </a:lnTo>
                <a:lnTo>
                  <a:pt x="11926" y="1864"/>
                </a:lnTo>
                <a:lnTo>
                  <a:pt x="11936" y="1866"/>
                </a:lnTo>
                <a:lnTo>
                  <a:pt x="11956" y="1864"/>
                </a:lnTo>
                <a:lnTo>
                  <a:pt x="11970" y="1864"/>
                </a:lnTo>
                <a:lnTo>
                  <a:pt x="11978" y="1866"/>
                </a:lnTo>
                <a:lnTo>
                  <a:pt x="11986" y="1868"/>
                </a:lnTo>
                <a:lnTo>
                  <a:pt x="11994" y="1872"/>
                </a:lnTo>
                <a:lnTo>
                  <a:pt x="11996" y="1872"/>
                </a:lnTo>
                <a:lnTo>
                  <a:pt x="11998" y="1870"/>
                </a:lnTo>
                <a:lnTo>
                  <a:pt x="12002" y="1866"/>
                </a:lnTo>
                <a:lnTo>
                  <a:pt x="12006" y="1862"/>
                </a:lnTo>
                <a:lnTo>
                  <a:pt x="12012" y="1858"/>
                </a:lnTo>
                <a:lnTo>
                  <a:pt x="12024" y="1858"/>
                </a:lnTo>
                <a:lnTo>
                  <a:pt x="12042" y="1860"/>
                </a:lnTo>
                <a:lnTo>
                  <a:pt x="12076" y="1868"/>
                </a:lnTo>
                <a:lnTo>
                  <a:pt x="12088" y="1870"/>
                </a:lnTo>
                <a:lnTo>
                  <a:pt x="12096" y="1870"/>
                </a:lnTo>
                <a:lnTo>
                  <a:pt x="12104" y="1868"/>
                </a:lnTo>
                <a:lnTo>
                  <a:pt x="12108" y="1866"/>
                </a:lnTo>
                <a:lnTo>
                  <a:pt x="12112" y="1858"/>
                </a:lnTo>
                <a:lnTo>
                  <a:pt x="12116" y="1848"/>
                </a:lnTo>
                <a:lnTo>
                  <a:pt x="12118" y="1846"/>
                </a:lnTo>
                <a:lnTo>
                  <a:pt x="12124" y="1844"/>
                </a:lnTo>
                <a:lnTo>
                  <a:pt x="12140" y="1842"/>
                </a:lnTo>
                <a:lnTo>
                  <a:pt x="12160" y="1842"/>
                </a:lnTo>
                <a:lnTo>
                  <a:pt x="12182" y="1844"/>
                </a:lnTo>
                <a:lnTo>
                  <a:pt x="12202" y="1848"/>
                </a:lnTo>
                <a:lnTo>
                  <a:pt x="12210" y="1852"/>
                </a:lnTo>
                <a:lnTo>
                  <a:pt x="12216" y="1854"/>
                </a:lnTo>
                <a:lnTo>
                  <a:pt x="12218" y="1858"/>
                </a:lnTo>
                <a:lnTo>
                  <a:pt x="12220" y="1864"/>
                </a:lnTo>
                <a:lnTo>
                  <a:pt x="12216" y="1870"/>
                </a:lnTo>
                <a:lnTo>
                  <a:pt x="12208" y="1876"/>
                </a:lnTo>
                <a:lnTo>
                  <a:pt x="12202" y="1880"/>
                </a:lnTo>
                <a:lnTo>
                  <a:pt x="12200" y="1884"/>
                </a:lnTo>
                <a:lnTo>
                  <a:pt x="12200" y="1888"/>
                </a:lnTo>
                <a:lnTo>
                  <a:pt x="12202" y="1890"/>
                </a:lnTo>
                <a:lnTo>
                  <a:pt x="12214" y="1890"/>
                </a:lnTo>
                <a:lnTo>
                  <a:pt x="12228" y="1890"/>
                </a:lnTo>
                <a:lnTo>
                  <a:pt x="12246" y="1888"/>
                </a:lnTo>
                <a:lnTo>
                  <a:pt x="12262" y="1884"/>
                </a:lnTo>
                <a:lnTo>
                  <a:pt x="12276" y="1880"/>
                </a:lnTo>
                <a:lnTo>
                  <a:pt x="12282" y="1876"/>
                </a:lnTo>
                <a:lnTo>
                  <a:pt x="12286" y="1870"/>
                </a:lnTo>
                <a:lnTo>
                  <a:pt x="12292" y="1870"/>
                </a:lnTo>
                <a:lnTo>
                  <a:pt x="12298" y="1872"/>
                </a:lnTo>
                <a:lnTo>
                  <a:pt x="12306" y="1878"/>
                </a:lnTo>
                <a:lnTo>
                  <a:pt x="12316" y="1882"/>
                </a:lnTo>
                <a:lnTo>
                  <a:pt x="12326" y="1884"/>
                </a:lnTo>
                <a:lnTo>
                  <a:pt x="12336" y="1882"/>
                </a:lnTo>
                <a:lnTo>
                  <a:pt x="12344" y="1880"/>
                </a:lnTo>
                <a:lnTo>
                  <a:pt x="12350" y="1876"/>
                </a:lnTo>
                <a:lnTo>
                  <a:pt x="12354" y="1870"/>
                </a:lnTo>
                <a:lnTo>
                  <a:pt x="12358" y="1866"/>
                </a:lnTo>
                <a:lnTo>
                  <a:pt x="12356" y="1862"/>
                </a:lnTo>
                <a:lnTo>
                  <a:pt x="12354" y="1858"/>
                </a:lnTo>
                <a:lnTo>
                  <a:pt x="12346" y="1852"/>
                </a:lnTo>
                <a:lnTo>
                  <a:pt x="12336" y="1844"/>
                </a:lnTo>
                <a:lnTo>
                  <a:pt x="12332" y="1840"/>
                </a:lnTo>
                <a:lnTo>
                  <a:pt x="12328" y="1836"/>
                </a:lnTo>
                <a:lnTo>
                  <a:pt x="12326" y="1830"/>
                </a:lnTo>
                <a:lnTo>
                  <a:pt x="12326" y="1824"/>
                </a:lnTo>
                <a:lnTo>
                  <a:pt x="12328" y="1818"/>
                </a:lnTo>
                <a:lnTo>
                  <a:pt x="12334" y="1810"/>
                </a:lnTo>
                <a:lnTo>
                  <a:pt x="12344" y="1802"/>
                </a:lnTo>
                <a:lnTo>
                  <a:pt x="12358" y="1792"/>
                </a:lnTo>
                <a:lnTo>
                  <a:pt x="12384" y="1772"/>
                </a:lnTo>
                <a:lnTo>
                  <a:pt x="12402" y="1756"/>
                </a:lnTo>
                <a:lnTo>
                  <a:pt x="12424" y="1730"/>
                </a:lnTo>
                <a:lnTo>
                  <a:pt x="12434" y="1720"/>
                </a:lnTo>
                <a:lnTo>
                  <a:pt x="12450" y="1714"/>
                </a:lnTo>
                <a:lnTo>
                  <a:pt x="12472" y="1708"/>
                </a:lnTo>
                <a:lnTo>
                  <a:pt x="12504" y="1702"/>
                </a:lnTo>
                <a:lnTo>
                  <a:pt x="12520" y="1702"/>
                </a:lnTo>
                <a:lnTo>
                  <a:pt x="12530" y="1702"/>
                </a:lnTo>
                <a:lnTo>
                  <a:pt x="12540" y="1706"/>
                </a:lnTo>
                <a:lnTo>
                  <a:pt x="12546" y="1712"/>
                </a:lnTo>
                <a:lnTo>
                  <a:pt x="12550" y="1720"/>
                </a:lnTo>
                <a:lnTo>
                  <a:pt x="12552" y="1728"/>
                </a:lnTo>
                <a:lnTo>
                  <a:pt x="12554" y="1744"/>
                </a:lnTo>
                <a:lnTo>
                  <a:pt x="12554" y="1762"/>
                </a:lnTo>
                <a:lnTo>
                  <a:pt x="12554" y="1768"/>
                </a:lnTo>
                <a:lnTo>
                  <a:pt x="12556" y="1774"/>
                </a:lnTo>
                <a:lnTo>
                  <a:pt x="12560" y="1778"/>
                </a:lnTo>
                <a:lnTo>
                  <a:pt x="12566" y="1778"/>
                </a:lnTo>
                <a:lnTo>
                  <a:pt x="12572" y="1778"/>
                </a:lnTo>
                <a:lnTo>
                  <a:pt x="12582" y="1774"/>
                </a:lnTo>
                <a:lnTo>
                  <a:pt x="12604" y="1762"/>
                </a:lnTo>
                <a:lnTo>
                  <a:pt x="12618" y="1750"/>
                </a:lnTo>
                <a:lnTo>
                  <a:pt x="12628" y="1740"/>
                </a:lnTo>
                <a:lnTo>
                  <a:pt x="12634" y="1730"/>
                </a:lnTo>
                <a:lnTo>
                  <a:pt x="12640" y="1724"/>
                </a:lnTo>
                <a:lnTo>
                  <a:pt x="12646" y="1718"/>
                </a:lnTo>
                <a:lnTo>
                  <a:pt x="12654" y="1718"/>
                </a:lnTo>
                <a:lnTo>
                  <a:pt x="12666" y="1720"/>
                </a:lnTo>
                <a:lnTo>
                  <a:pt x="12672" y="1720"/>
                </a:lnTo>
                <a:lnTo>
                  <a:pt x="12676" y="1720"/>
                </a:lnTo>
                <a:lnTo>
                  <a:pt x="12678" y="1716"/>
                </a:lnTo>
                <a:lnTo>
                  <a:pt x="12680" y="1712"/>
                </a:lnTo>
                <a:lnTo>
                  <a:pt x="12680" y="1700"/>
                </a:lnTo>
                <a:lnTo>
                  <a:pt x="12678" y="1686"/>
                </a:lnTo>
                <a:lnTo>
                  <a:pt x="12676" y="1670"/>
                </a:lnTo>
                <a:lnTo>
                  <a:pt x="12678" y="1664"/>
                </a:lnTo>
                <a:lnTo>
                  <a:pt x="12680" y="1658"/>
                </a:lnTo>
                <a:lnTo>
                  <a:pt x="12684" y="1652"/>
                </a:lnTo>
                <a:lnTo>
                  <a:pt x="12692" y="1648"/>
                </a:lnTo>
                <a:lnTo>
                  <a:pt x="12700" y="1646"/>
                </a:lnTo>
                <a:lnTo>
                  <a:pt x="12712" y="1644"/>
                </a:lnTo>
                <a:lnTo>
                  <a:pt x="12744" y="1646"/>
                </a:lnTo>
                <a:lnTo>
                  <a:pt x="12746" y="1646"/>
                </a:lnTo>
                <a:lnTo>
                  <a:pt x="12746" y="1648"/>
                </a:lnTo>
                <a:lnTo>
                  <a:pt x="12742" y="1652"/>
                </a:lnTo>
                <a:lnTo>
                  <a:pt x="12736" y="1660"/>
                </a:lnTo>
                <a:lnTo>
                  <a:pt x="12728" y="1672"/>
                </a:lnTo>
                <a:lnTo>
                  <a:pt x="12718" y="1688"/>
                </a:lnTo>
                <a:lnTo>
                  <a:pt x="12716" y="1700"/>
                </a:lnTo>
                <a:lnTo>
                  <a:pt x="12712" y="1712"/>
                </a:lnTo>
                <a:lnTo>
                  <a:pt x="12710" y="1724"/>
                </a:lnTo>
                <a:lnTo>
                  <a:pt x="12706" y="1736"/>
                </a:lnTo>
                <a:lnTo>
                  <a:pt x="12702" y="1744"/>
                </a:lnTo>
                <a:lnTo>
                  <a:pt x="12698" y="1752"/>
                </a:lnTo>
                <a:lnTo>
                  <a:pt x="12686" y="1762"/>
                </a:lnTo>
                <a:lnTo>
                  <a:pt x="12672" y="1772"/>
                </a:lnTo>
                <a:lnTo>
                  <a:pt x="12654" y="1782"/>
                </a:lnTo>
                <a:lnTo>
                  <a:pt x="12636" y="1794"/>
                </a:lnTo>
                <a:lnTo>
                  <a:pt x="12616" y="1810"/>
                </a:lnTo>
                <a:lnTo>
                  <a:pt x="12604" y="1822"/>
                </a:lnTo>
                <a:lnTo>
                  <a:pt x="12594" y="1836"/>
                </a:lnTo>
                <a:lnTo>
                  <a:pt x="12552" y="1886"/>
                </a:lnTo>
                <a:lnTo>
                  <a:pt x="12534" y="1904"/>
                </a:lnTo>
                <a:lnTo>
                  <a:pt x="12518" y="1920"/>
                </a:lnTo>
                <a:lnTo>
                  <a:pt x="12502" y="1934"/>
                </a:lnTo>
                <a:lnTo>
                  <a:pt x="12488" y="1944"/>
                </a:lnTo>
                <a:lnTo>
                  <a:pt x="12472" y="1950"/>
                </a:lnTo>
                <a:lnTo>
                  <a:pt x="12456" y="1956"/>
                </a:lnTo>
                <a:lnTo>
                  <a:pt x="12442" y="1960"/>
                </a:lnTo>
                <a:lnTo>
                  <a:pt x="12436" y="1964"/>
                </a:lnTo>
                <a:lnTo>
                  <a:pt x="12432" y="1968"/>
                </a:lnTo>
                <a:lnTo>
                  <a:pt x="12432" y="1976"/>
                </a:lnTo>
                <a:lnTo>
                  <a:pt x="12430" y="1982"/>
                </a:lnTo>
                <a:lnTo>
                  <a:pt x="12428" y="1990"/>
                </a:lnTo>
                <a:lnTo>
                  <a:pt x="12422" y="2000"/>
                </a:lnTo>
                <a:lnTo>
                  <a:pt x="12408" y="2012"/>
                </a:lnTo>
                <a:lnTo>
                  <a:pt x="12402" y="2018"/>
                </a:lnTo>
                <a:lnTo>
                  <a:pt x="12396" y="2028"/>
                </a:lnTo>
                <a:lnTo>
                  <a:pt x="12390" y="2040"/>
                </a:lnTo>
                <a:lnTo>
                  <a:pt x="12386" y="2054"/>
                </a:lnTo>
                <a:lnTo>
                  <a:pt x="12384" y="2068"/>
                </a:lnTo>
                <a:lnTo>
                  <a:pt x="12382" y="2084"/>
                </a:lnTo>
                <a:lnTo>
                  <a:pt x="12382" y="2122"/>
                </a:lnTo>
                <a:lnTo>
                  <a:pt x="12384" y="2162"/>
                </a:lnTo>
                <a:lnTo>
                  <a:pt x="12390" y="2204"/>
                </a:lnTo>
                <a:lnTo>
                  <a:pt x="12398" y="2248"/>
                </a:lnTo>
                <a:lnTo>
                  <a:pt x="12406" y="2292"/>
                </a:lnTo>
                <a:lnTo>
                  <a:pt x="12408" y="2310"/>
                </a:lnTo>
                <a:lnTo>
                  <a:pt x="12412" y="2330"/>
                </a:lnTo>
                <a:lnTo>
                  <a:pt x="12414" y="2350"/>
                </a:lnTo>
                <a:lnTo>
                  <a:pt x="12418" y="2366"/>
                </a:lnTo>
                <a:lnTo>
                  <a:pt x="12422" y="2372"/>
                </a:lnTo>
                <a:lnTo>
                  <a:pt x="12426" y="2376"/>
                </a:lnTo>
                <a:lnTo>
                  <a:pt x="12430" y="2378"/>
                </a:lnTo>
                <a:lnTo>
                  <a:pt x="12436" y="2376"/>
                </a:lnTo>
                <a:lnTo>
                  <a:pt x="12444" y="2372"/>
                </a:lnTo>
                <a:lnTo>
                  <a:pt x="12452" y="2364"/>
                </a:lnTo>
                <a:lnTo>
                  <a:pt x="12464" y="2352"/>
                </a:lnTo>
                <a:lnTo>
                  <a:pt x="12476" y="2336"/>
                </a:lnTo>
                <a:lnTo>
                  <a:pt x="12484" y="2324"/>
                </a:lnTo>
                <a:lnTo>
                  <a:pt x="12490" y="2312"/>
                </a:lnTo>
                <a:lnTo>
                  <a:pt x="12496" y="2294"/>
                </a:lnTo>
                <a:lnTo>
                  <a:pt x="12498" y="2280"/>
                </a:lnTo>
                <a:lnTo>
                  <a:pt x="12500" y="2268"/>
                </a:lnTo>
                <a:lnTo>
                  <a:pt x="12502" y="2258"/>
                </a:lnTo>
                <a:lnTo>
                  <a:pt x="12502" y="2256"/>
                </a:lnTo>
                <a:lnTo>
                  <a:pt x="12506" y="2254"/>
                </a:lnTo>
                <a:lnTo>
                  <a:pt x="12516" y="2250"/>
                </a:lnTo>
                <a:lnTo>
                  <a:pt x="12532" y="2248"/>
                </a:lnTo>
                <a:lnTo>
                  <a:pt x="12542" y="2248"/>
                </a:lnTo>
                <a:lnTo>
                  <a:pt x="12548" y="2246"/>
                </a:lnTo>
                <a:lnTo>
                  <a:pt x="12552" y="2242"/>
                </a:lnTo>
                <a:lnTo>
                  <a:pt x="12556" y="2236"/>
                </a:lnTo>
                <a:lnTo>
                  <a:pt x="12558" y="2224"/>
                </a:lnTo>
                <a:lnTo>
                  <a:pt x="12558" y="2210"/>
                </a:lnTo>
                <a:lnTo>
                  <a:pt x="12560" y="2194"/>
                </a:lnTo>
                <a:lnTo>
                  <a:pt x="12560" y="2188"/>
                </a:lnTo>
                <a:lnTo>
                  <a:pt x="12564" y="2182"/>
                </a:lnTo>
                <a:lnTo>
                  <a:pt x="12568" y="2176"/>
                </a:lnTo>
                <a:lnTo>
                  <a:pt x="12574" y="2172"/>
                </a:lnTo>
                <a:lnTo>
                  <a:pt x="12582" y="2168"/>
                </a:lnTo>
                <a:lnTo>
                  <a:pt x="12594" y="2166"/>
                </a:lnTo>
                <a:lnTo>
                  <a:pt x="12620" y="2162"/>
                </a:lnTo>
                <a:lnTo>
                  <a:pt x="12628" y="2160"/>
                </a:lnTo>
                <a:lnTo>
                  <a:pt x="12634" y="2156"/>
                </a:lnTo>
                <a:lnTo>
                  <a:pt x="12636" y="2152"/>
                </a:lnTo>
                <a:lnTo>
                  <a:pt x="12638" y="2148"/>
                </a:lnTo>
                <a:lnTo>
                  <a:pt x="12638" y="2142"/>
                </a:lnTo>
                <a:lnTo>
                  <a:pt x="12636" y="2136"/>
                </a:lnTo>
                <a:lnTo>
                  <a:pt x="12632" y="2124"/>
                </a:lnTo>
                <a:lnTo>
                  <a:pt x="12628" y="2110"/>
                </a:lnTo>
                <a:lnTo>
                  <a:pt x="12628" y="2104"/>
                </a:lnTo>
                <a:lnTo>
                  <a:pt x="12628" y="2096"/>
                </a:lnTo>
                <a:lnTo>
                  <a:pt x="12628" y="2088"/>
                </a:lnTo>
                <a:lnTo>
                  <a:pt x="12632" y="2080"/>
                </a:lnTo>
                <a:lnTo>
                  <a:pt x="12636" y="2074"/>
                </a:lnTo>
                <a:lnTo>
                  <a:pt x="12640" y="2068"/>
                </a:lnTo>
                <a:lnTo>
                  <a:pt x="12644" y="2066"/>
                </a:lnTo>
                <a:lnTo>
                  <a:pt x="12650" y="2064"/>
                </a:lnTo>
                <a:lnTo>
                  <a:pt x="12658" y="2066"/>
                </a:lnTo>
                <a:lnTo>
                  <a:pt x="12666" y="2068"/>
                </a:lnTo>
                <a:lnTo>
                  <a:pt x="12674" y="2072"/>
                </a:lnTo>
                <a:lnTo>
                  <a:pt x="12680" y="2074"/>
                </a:lnTo>
                <a:lnTo>
                  <a:pt x="12682" y="2074"/>
                </a:lnTo>
                <a:lnTo>
                  <a:pt x="12684" y="2070"/>
                </a:lnTo>
                <a:lnTo>
                  <a:pt x="12688" y="2060"/>
                </a:lnTo>
                <a:lnTo>
                  <a:pt x="12690" y="2052"/>
                </a:lnTo>
                <a:lnTo>
                  <a:pt x="12688" y="2046"/>
                </a:lnTo>
                <a:lnTo>
                  <a:pt x="12686" y="2040"/>
                </a:lnTo>
                <a:lnTo>
                  <a:pt x="12684" y="2034"/>
                </a:lnTo>
                <a:lnTo>
                  <a:pt x="12678" y="2028"/>
                </a:lnTo>
                <a:lnTo>
                  <a:pt x="12670" y="2022"/>
                </a:lnTo>
                <a:lnTo>
                  <a:pt x="12664" y="2016"/>
                </a:lnTo>
                <a:lnTo>
                  <a:pt x="12662" y="2014"/>
                </a:lnTo>
                <a:lnTo>
                  <a:pt x="12660" y="2010"/>
                </a:lnTo>
                <a:lnTo>
                  <a:pt x="12660" y="2006"/>
                </a:lnTo>
                <a:lnTo>
                  <a:pt x="12662" y="2002"/>
                </a:lnTo>
                <a:lnTo>
                  <a:pt x="12672" y="1988"/>
                </a:lnTo>
                <a:lnTo>
                  <a:pt x="12678" y="1978"/>
                </a:lnTo>
                <a:lnTo>
                  <a:pt x="12682" y="1970"/>
                </a:lnTo>
                <a:lnTo>
                  <a:pt x="12684" y="1964"/>
                </a:lnTo>
                <a:lnTo>
                  <a:pt x="12682" y="1960"/>
                </a:lnTo>
                <a:lnTo>
                  <a:pt x="12676" y="1956"/>
                </a:lnTo>
                <a:lnTo>
                  <a:pt x="12672" y="1952"/>
                </a:lnTo>
                <a:lnTo>
                  <a:pt x="12658" y="1948"/>
                </a:lnTo>
                <a:lnTo>
                  <a:pt x="12644" y="1942"/>
                </a:lnTo>
                <a:lnTo>
                  <a:pt x="12638" y="1940"/>
                </a:lnTo>
                <a:lnTo>
                  <a:pt x="12634" y="1936"/>
                </a:lnTo>
                <a:lnTo>
                  <a:pt x="12634" y="1932"/>
                </a:lnTo>
                <a:lnTo>
                  <a:pt x="12636" y="1926"/>
                </a:lnTo>
                <a:lnTo>
                  <a:pt x="12642" y="1920"/>
                </a:lnTo>
                <a:lnTo>
                  <a:pt x="12650" y="1912"/>
                </a:lnTo>
                <a:lnTo>
                  <a:pt x="12670" y="1894"/>
                </a:lnTo>
                <a:lnTo>
                  <a:pt x="12682" y="1878"/>
                </a:lnTo>
                <a:lnTo>
                  <a:pt x="12690" y="1864"/>
                </a:lnTo>
                <a:lnTo>
                  <a:pt x="12692" y="1852"/>
                </a:lnTo>
                <a:lnTo>
                  <a:pt x="12694" y="1842"/>
                </a:lnTo>
                <a:lnTo>
                  <a:pt x="12698" y="1834"/>
                </a:lnTo>
                <a:lnTo>
                  <a:pt x="12704" y="1826"/>
                </a:lnTo>
                <a:lnTo>
                  <a:pt x="12716" y="1820"/>
                </a:lnTo>
                <a:lnTo>
                  <a:pt x="12728" y="1818"/>
                </a:lnTo>
                <a:lnTo>
                  <a:pt x="12736" y="1818"/>
                </a:lnTo>
                <a:lnTo>
                  <a:pt x="12740" y="1820"/>
                </a:lnTo>
                <a:lnTo>
                  <a:pt x="12742" y="1822"/>
                </a:lnTo>
                <a:lnTo>
                  <a:pt x="12744" y="1824"/>
                </a:lnTo>
                <a:lnTo>
                  <a:pt x="12750" y="1822"/>
                </a:lnTo>
                <a:lnTo>
                  <a:pt x="12760" y="1816"/>
                </a:lnTo>
                <a:lnTo>
                  <a:pt x="12776" y="1804"/>
                </a:lnTo>
                <a:lnTo>
                  <a:pt x="12788" y="1796"/>
                </a:lnTo>
                <a:lnTo>
                  <a:pt x="12796" y="1792"/>
                </a:lnTo>
                <a:lnTo>
                  <a:pt x="12802" y="1790"/>
                </a:lnTo>
                <a:lnTo>
                  <a:pt x="12804" y="1792"/>
                </a:lnTo>
                <a:lnTo>
                  <a:pt x="12806" y="1794"/>
                </a:lnTo>
                <a:lnTo>
                  <a:pt x="12806" y="1800"/>
                </a:lnTo>
                <a:lnTo>
                  <a:pt x="12802" y="1812"/>
                </a:lnTo>
                <a:lnTo>
                  <a:pt x="12798" y="1824"/>
                </a:lnTo>
                <a:lnTo>
                  <a:pt x="12798" y="1828"/>
                </a:lnTo>
                <a:lnTo>
                  <a:pt x="12798" y="1832"/>
                </a:lnTo>
                <a:lnTo>
                  <a:pt x="12800" y="1832"/>
                </a:lnTo>
                <a:lnTo>
                  <a:pt x="12806" y="1830"/>
                </a:lnTo>
                <a:lnTo>
                  <a:pt x="12824" y="1816"/>
                </a:lnTo>
                <a:lnTo>
                  <a:pt x="12846" y="1800"/>
                </a:lnTo>
                <a:lnTo>
                  <a:pt x="12868" y="1788"/>
                </a:lnTo>
                <a:lnTo>
                  <a:pt x="12878" y="1786"/>
                </a:lnTo>
                <a:lnTo>
                  <a:pt x="12888" y="1784"/>
                </a:lnTo>
                <a:lnTo>
                  <a:pt x="12906" y="1784"/>
                </a:lnTo>
                <a:lnTo>
                  <a:pt x="12922" y="1788"/>
                </a:lnTo>
                <a:lnTo>
                  <a:pt x="12936" y="1794"/>
                </a:lnTo>
                <a:lnTo>
                  <a:pt x="12948" y="1804"/>
                </a:lnTo>
                <a:lnTo>
                  <a:pt x="12960" y="1818"/>
                </a:lnTo>
                <a:lnTo>
                  <a:pt x="12968" y="1826"/>
                </a:lnTo>
                <a:lnTo>
                  <a:pt x="12972" y="1830"/>
                </a:lnTo>
                <a:lnTo>
                  <a:pt x="12972" y="1826"/>
                </a:lnTo>
                <a:lnTo>
                  <a:pt x="12976" y="1820"/>
                </a:lnTo>
                <a:lnTo>
                  <a:pt x="12982" y="1808"/>
                </a:lnTo>
                <a:lnTo>
                  <a:pt x="12996" y="1792"/>
                </a:lnTo>
                <a:lnTo>
                  <a:pt x="13006" y="1782"/>
                </a:lnTo>
                <a:lnTo>
                  <a:pt x="13020" y="1772"/>
                </a:lnTo>
                <a:lnTo>
                  <a:pt x="13036" y="1762"/>
                </a:lnTo>
                <a:lnTo>
                  <a:pt x="13056" y="1752"/>
                </a:lnTo>
                <a:lnTo>
                  <a:pt x="13074" y="1742"/>
                </a:lnTo>
                <a:lnTo>
                  <a:pt x="13090" y="1730"/>
                </a:lnTo>
                <a:lnTo>
                  <a:pt x="13124" y="1706"/>
                </a:lnTo>
                <a:lnTo>
                  <a:pt x="13142" y="1694"/>
                </a:lnTo>
                <a:lnTo>
                  <a:pt x="13160" y="1684"/>
                </a:lnTo>
                <a:lnTo>
                  <a:pt x="13178" y="1674"/>
                </a:lnTo>
                <a:lnTo>
                  <a:pt x="13200" y="1666"/>
                </a:lnTo>
                <a:lnTo>
                  <a:pt x="13218" y="1660"/>
                </a:lnTo>
                <a:lnTo>
                  <a:pt x="13236" y="1656"/>
                </a:lnTo>
                <a:lnTo>
                  <a:pt x="13250" y="1654"/>
                </a:lnTo>
                <a:lnTo>
                  <a:pt x="13264" y="1654"/>
                </a:lnTo>
                <a:lnTo>
                  <a:pt x="13284" y="1654"/>
                </a:lnTo>
                <a:lnTo>
                  <a:pt x="13298" y="1658"/>
                </a:lnTo>
                <a:lnTo>
                  <a:pt x="13310" y="1662"/>
                </a:lnTo>
                <a:lnTo>
                  <a:pt x="13318" y="1666"/>
                </a:lnTo>
                <a:lnTo>
                  <a:pt x="13322" y="1666"/>
                </a:lnTo>
                <a:lnTo>
                  <a:pt x="13326" y="1664"/>
                </a:lnTo>
                <a:lnTo>
                  <a:pt x="13336" y="1658"/>
                </a:lnTo>
                <a:lnTo>
                  <a:pt x="13344" y="1648"/>
                </a:lnTo>
                <a:lnTo>
                  <a:pt x="13346" y="1640"/>
                </a:lnTo>
                <a:lnTo>
                  <a:pt x="13344" y="1630"/>
                </a:lnTo>
                <a:lnTo>
                  <a:pt x="13340" y="1622"/>
                </a:lnTo>
                <a:lnTo>
                  <a:pt x="13324" y="1600"/>
                </a:lnTo>
                <a:lnTo>
                  <a:pt x="13316" y="1586"/>
                </a:lnTo>
                <a:lnTo>
                  <a:pt x="13308" y="1568"/>
                </a:lnTo>
                <a:lnTo>
                  <a:pt x="13300" y="1548"/>
                </a:lnTo>
                <a:lnTo>
                  <a:pt x="13292" y="1538"/>
                </a:lnTo>
                <a:lnTo>
                  <a:pt x="13288" y="1536"/>
                </a:lnTo>
                <a:lnTo>
                  <a:pt x="13286" y="1536"/>
                </a:lnTo>
                <a:lnTo>
                  <a:pt x="13278" y="1536"/>
                </a:lnTo>
                <a:lnTo>
                  <a:pt x="13272" y="1538"/>
                </a:lnTo>
                <a:lnTo>
                  <a:pt x="13268" y="1538"/>
                </a:lnTo>
                <a:lnTo>
                  <a:pt x="13264" y="1536"/>
                </a:lnTo>
                <a:lnTo>
                  <a:pt x="13262" y="1532"/>
                </a:lnTo>
                <a:lnTo>
                  <a:pt x="13258" y="1520"/>
                </a:lnTo>
                <a:lnTo>
                  <a:pt x="13256" y="1516"/>
                </a:lnTo>
                <a:lnTo>
                  <a:pt x="13258" y="1512"/>
                </a:lnTo>
                <a:lnTo>
                  <a:pt x="13260" y="1510"/>
                </a:lnTo>
                <a:lnTo>
                  <a:pt x="13264" y="1508"/>
                </a:lnTo>
                <a:lnTo>
                  <a:pt x="13274" y="1508"/>
                </a:lnTo>
                <a:lnTo>
                  <a:pt x="13288" y="1510"/>
                </a:lnTo>
                <a:lnTo>
                  <a:pt x="13302" y="1510"/>
                </a:lnTo>
                <a:lnTo>
                  <a:pt x="13320" y="1510"/>
                </a:lnTo>
                <a:lnTo>
                  <a:pt x="13328" y="1508"/>
                </a:lnTo>
                <a:lnTo>
                  <a:pt x="13336" y="1504"/>
                </a:lnTo>
                <a:lnTo>
                  <a:pt x="13344" y="1498"/>
                </a:lnTo>
                <a:lnTo>
                  <a:pt x="13350" y="1490"/>
                </a:lnTo>
                <a:lnTo>
                  <a:pt x="13366" y="1472"/>
                </a:lnTo>
                <a:lnTo>
                  <a:pt x="13366" y="1458"/>
                </a:lnTo>
                <a:lnTo>
                  <a:pt x="13376" y="1446"/>
                </a:lnTo>
                <a:lnTo>
                  <a:pt x="13378" y="1442"/>
                </a:lnTo>
                <a:lnTo>
                  <a:pt x="13378" y="1438"/>
                </a:lnTo>
                <a:lnTo>
                  <a:pt x="13378" y="1436"/>
                </a:lnTo>
                <a:lnTo>
                  <a:pt x="13376" y="1432"/>
                </a:lnTo>
                <a:lnTo>
                  <a:pt x="13368" y="1420"/>
                </a:lnTo>
                <a:lnTo>
                  <a:pt x="13366" y="1414"/>
                </a:lnTo>
                <a:lnTo>
                  <a:pt x="13366" y="1402"/>
                </a:lnTo>
                <a:lnTo>
                  <a:pt x="13370" y="1400"/>
                </a:lnTo>
                <a:lnTo>
                  <a:pt x="13374" y="1398"/>
                </a:lnTo>
                <a:lnTo>
                  <a:pt x="13378" y="1398"/>
                </a:lnTo>
                <a:lnTo>
                  <a:pt x="13384" y="1400"/>
                </a:lnTo>
                <a:lnTo>
                  <a:pt x="13392" y="1404"/>
                </a:lnTo>
                <a:lnTo>
                  <a:pt x="13398" y="1410"/>
                </a:lnTo>
                <a:lnTo>
                  <a:pt x="13404" y="1418"/>
                </a:lnTo>
                <a:lnTo>
                  <a:pt x="13410" y="1430"/>
                </a:lnTo>
                <a:lnTo>
                  <a:pt x="13414" y="1436"/>
                </a:lnTo>
                <a:lnTo>
                  <a:pt x="13418" y="1442"/>
                </a:lnTo>
                <a:lnTo>
                  <a:pt x="13424" y="1444"/>
                </a:lnTo>
                <a:lnTo>
                  <a:pt x="13430" y="1446"/>
                </a:lnTo>
                <a:lnTo>
                  <a:pt x="13446" y="1444"/>
                </a:lnTo>
                <a:lnTo>
                  <a:pt x="13460" y="1440"/>
                </a:lnTo>
                <a:lnTo>
                  <a:pt x="13476" y="1438"/>
                </a:lnTo>
                <a:lnTo>
                  <a:pt x="13484" y="1438"/>
                </a:lnTo>
                <a:lnTo>
                  <a:pt x="13492" y="1438"/>
                </a:lnTo>
                <a:lnTo>
                  <a:pt x="13500" y="1440"/>
                </a:lnTo>
                <a:lnTo>
                  <a:pt x="13506" y="1444"/>
                </a:lnTo>
                <a:lnTo>
                  <a:pt x="13512" y="1452"/>
                </a:lnTo>
                <a:lnTo>
                  <a:pt x="13516" y="1460"/>
                </a:lnTo>
                <a:lnTo>
                  <a:pt x="13526" y="1478"/>
                </a:lnTo>
                <a:lnTo>
                  <a:pt x="13536" y="1488"/>
                </a:lnTo>
                <a:lnTo>
                  <a:pt x="13544" y="1494"/>
                </a:lnTo>
                <a:lnTo>
                  <a:pt x="13554" y="1496"/>
                </a:lnTo>
                <a:lnTo>
                  <a:pt x="13562" y="1496"/>
                </a:lnTo>
                <a:lnTo>
                  <a:pt x="13570" y="1498"/>
                </a:lnTo>
                <a:lnTo>
                  <a:pt x="13578" y="1502"/>
                </a:lnTo>
                <a:lnTo>
                  <a:pt x="13586" y="1510"/>
                </a:lnTo>
                <a:lnTo>
                  <a:pt x="13590" y="1514"/>
                </a:lnTo>
                <a:lnTo>
                  <a:pt x="13594" y="1518"/>
                </a:lnTo>
                <a:lnTo>
                  <a:pt x="13598" y="1520"/>
                </a:lnTo>
                <a:lnTo>
                  <a:pt x="13604" y="1522"/>
                </a:lnTo>
                <a:lnTo>
                  <a:pt x="13614" y="1522"/>
                </a:lnTo>
                <a:lnTo>
                  <a:pt x="13626" y="1516"/>
                </a:lnTo>
                <a:lnTo>
                  <a:pt x="13636" y="1508"/>
                </a:lnTo>
                <a:lnTo>
                  <a:pt x="13646" y="1498"/>
                </a:lnTo>
                <a:lnTo>
                  <a:pt x="13652" y="1482"/>
                </a:lnTo>
                <a:lnTo>
                  <a:pt x="13654" y="1466"/>
                </a:lnTo>
                <a:lnTo>
                  <a:pt x="13656" y="1452"/>
                </a:lnTo>
                <a:lnTo>
                  <a:pt x="13660" y="1448"/>
                </a:lnTo>
                <a:lnTo>
                  <a:pt x="13662" y="1444"/>
                </a:lnTo>
                <a:lnTo>
                  <a:pt x="13670" y="1440"/>
                </a:lnTo>
                <a:lnTo>
                  <a:pt x="13680" y="1438"/>
                </a:lnTo>
                <a:lnTo>
                  <a:pt x="13690" y="1436"/>
                </a:lnTo>
                <a:lnTo>
                  <a:pt x="13704" y="1434"/>
                </a:lnTo>
                <a:lnTo>
                  <a:pt x="13718" y="1426"/>
                </a:lnTo>
                <a:lnTo>
                  <a:pt x="13724" y="1422"/>
                </a:lnTo>
                <a:lnTo>
                  <a:pt x="13732" y="1414"/>
                </a:lnTo>
                <a:lnTo>
                  <a:pt x="13742" y="1402"/>
                </a:lnTo>
                <a:lnTo>
                  <a:pt x="13744" y="1396"/>
                </a:lnTo>
                <a:lnTo>
                  <a:pt x="13744" y="1394"/>
                </a:lnTo>
                <a:lnTo>
                  <a:pt x="13742" y="1394"/>
                </a:lnTo>
                <a:lnTo>
                  <a:pt x="13734" y="1392"/>
                </a:lnTo>
                <a:lnTo>
                  <a:pt x="13724" y="1392"/>
                </a:lnTo>
                <a:lnTo>
                  <a:pt x="13712" y="1388"/>
                </a:lnTo>
                <a:lnTo>
                  <a:pt x="13706" y="1384"/>
                </a:lnTo>
                <a:lnTo>
                  <a:pt x="13698" y="1380"/>
                </a:lnTo>
                <a:lnTo>
                  <a:pt x="13692" y="1374"/>
                </a:lnTo>
                <a:lnTo>
                  <a:pt x="13688" y="1366"/>
                </a:lnTo>
                <a:close/>
                <a:moveTo>
                  <a:pt x="6176" y="2870"/>
                </a:moveTo>
                <a:lnTo>
                  <a:pt x="6176" y="2870"/>
                </a:lnTo>
                <a:lnTo>
                  <a:pt x="6174" y="2872"/>
                </a:lnTo>
                <a:lnTo>
                  <a:pt x="6170" y="2870"/>
                </a:lnTo>
                <a:lnTo>
                  <a:pt x="6168" y="2868"/>
                </a:lnTo>
                <a:lnTo>
                  <a:pt x="6166" y="2864"/>
                </a:lnTo>
                <a:lnTo>
                  <a:pt x="6170" y="2862"/>
                </a:lnTo>
                <a:lnTo>
                  <a:pt x="6174" y="2864"/>
                </a:lnTo>
                <a:lnTo>
                  <a:pt x="6176" y="2866"/>
                </a:lnTo>
                <a:lnTo>
                  <a:pt x="6176" y="2870"/>
                </a:lnTo>
                <a:close/>
                <a:moveTo>
                  <a:pt x="7520" y="3416"/>
                </a:moveTo>
                <a:lnTo>
                  <a:pt x="7520" y="3416"/>
                </a:lnTo>
                <a:lnTo>
                  <a:pt x="7524" y="3412"/>
                </a:lnTo>
                <a:lnTo>
                  <a:pt x="7526" y="3412"/>
                </a:lnTo>
                <a:lnTo>
                  <a:pt x="7524" y="3412"/>
                </a:lnTo>
                <a:lnTo>
                  <a:pt x="7520" y="3416"/>
                </a:lnTo>
                <a:close/>
                <a:moveTo>
                  <a:pt x="7540" y="3418"/>
                </a:moveTo>
                <a:lnTo>
                  <a:pt x="7540" y="3418"/>
                </a:lnTo>
                <a:lnTo>
                  <a:pt x="7540" y="3406"/>
                </a:lnTo>
                <a:lnTo>
                  <a:pt x="7542" y="3402"/>
                </a:lnTo>
                <a:lnTo>
                  <a:pt x="7544" y="3400"/>
                </a:lnTo>
                <a:lnTo>
                  <a:pt x="7542" y="3402"/>
                </a:lnTo>
                <a:lnTo>
                  <a:pt x="7540" y="3406"/>
                </a:lnTo>
                <a:lnTo>
                  <a:pt x="7540" y="3418"/>
                </a:lnTo>
                <a:close/>
                <a:moveTo>
                  <a:pt x="8152" y="3716"/>
                </a:moveTo>
                <a:lnTo>
                  <a:pt x="8152" y="3716"/>
                </a:lnTo>
                <a:lnTo>
                  <a:pt x="8154" y="3718"/>
                </a:lnTo>
                <a:lnTo>
                  <a:pt x="8152" y="3718"/>
                </a:lnTo>
                <a:lnTo>
                  <a:pt x="8152" y="3716"/>
                </a:lnTo>
                <a:close/>
                <a:moveTo>
                  <a:pt x="8302" y="2962"/>
                </a:moveTo>
                <a:lnTo>
                  <a:pt x="8302" y="2962"/>
                </a:lnTo>
                <a:lnTo>
                  <a:pt x="8300" y="2960"/>
                </a:lnTo>
                <a:lnTo>
                  <a:pt x="8296" y="2960"/>
                </a:lnTo>
                <a:lnTo>
                  <a:pt x="8296" y="2962"/>
                </a:lnTo>
                <a:lnTo>
                  <a:pt x="8298" y="2968"/>
                </a:lnTo>
                <a:lnTo>
                  <a:pt x="8296" y="2968"/>
                </a:lnTo>
                <a:lnTo>
                  <a:pt x="8294" y="2970"/>
                </a:lnTo>
                <a:lnTo>
                  <a:pt x="8284" y="2974"/>
                </a:lnTo>
                <a:lnTo>
                  <a:pt x="8280" y="2974"/>
                </a:lnTo>
                <a:lnTo>
                  <a:pt x="8274" y="2974"/>
                </a:lnTo>
                <a:lnTo>
                  <a:pt x="8272" y="2970"/>
                </a:lnTo>
                <a:lnTo>
                  <a:pt x="8270" y="2966"/>
                </a:lnTo>
                <a:lnTo>
                  <a:pt x="8268" y="2960"/>
                </a:lnTo>
                <a:lnTo>
                  <a:pt x="8266" y="2962"/>
                </a:lnTo>
                <a:lnTo>
                  <a:pt x="8264" y="2966"/>
                </a:lnTo>
                <a:lnTo>
                  <a:pt x="8262" y="2966"/>
                </a:lnTo>
                <a:lnTo>
                  <a:pt x="8260" y="2966"/>
                </a:lnTo>
                <a:lnTo>
                  <a:pt x="8256" y="2964"/>
                </a:lnTo>
                <a:lnTo>
                  <a:pt x="8254" y="2966"/>
                </a:lnTo>
                <a:lnTo>
                  <a:pt x="8250" y="2966"/>
                </a:lnTo>
                <a:lnTo>
                  <a:pt x="8248" y="2964"/>
                </a:lnTo>
                <a:lnTo>
                  <a:pt x="8246" y="2958"/>
                </a:lnTo>
                <a:lnTo>
                  <a:pt x="8242" y="2954"/>
                </a:lnTo>
                <a:lnTo>
                  <a:pt x="8240" y="2952"/>
                </a:lnTo>
                <a:lnTo>
                  <a:pt x="8238" y="2958"/>
                </a:lnTo>
                <a:lnTo>
                  <a:pt x="8238" y="2970"/>
                </a:lnTo>
                <a:lnTo>
                  <a:pt x="8234" y="2980"/>
                </a:lnTo>
                <a:lnTo>
                  <a:pt x="8232" y="2990"/>
                </a:lnTo>
                <a:lnTo>
                  <a:pt x="8230" y="2998"/>
                </a:lnTo>
                <a:lnTo>
                  <a:pt x="8232" y="3006"/>
                </a:lnTo>
                <a:lnTo>
                  <a:pt x="8236" y="3014"/>
                </a:lnTo>
                <a:lnTo>
                  <a:pt x="8242" y="3022"/>
                </a:lnTo>
                <a:lnTo>
                  <a:pt x="8244" y="3022"/>
                </a:lnTo>
                <a:lnTo>
                  <a:pt x="8246" y="3020"/>
                </a:lnTo>
                <a:lnTo>
                  <a:pt x="8244" y="3016"/>
                </a:lnTo>
                <a:lnTo>
                  <a:pt x="8244" y="3012"/>
                </a:lnTo>
                <a:lnTo>
                  <a:pt x="8248" y="3012"/>
                </a:lnTo>
                <a:lnTo>
                  <a:pt x="8254" y="3012"/>
                </a:lnTo>
                <a:lnTo>
                  <a:pt x="8260" y="3010"/>
                </a:lnTo>
                <a:lnTo>
                  <a:pt x="8264" y="3010"/>
                </a:lnTo>
                <a:lnTo>
                  <a:pt x="8262" y="3016"/>
                </a:lnTo>
                <a:lnTo>
                  <a:pt x="8260" y="3022"/>
                </a:lnTo>
                <a:lnTo>
                  <a:pt x="8260" y="3026"/>
                </a:lnTo>
                <a:lnTo>
                  <a:pt x="8262" y="3028"/>
                </a:lnTo>
                <a:lnTo>
                  <a:pt x="8264" y="3028"/>
                </a:lnTo>
                <a:lnTo>
                  <a:pt x="8268" y="3030"/>
                </a:lnTo>
                <a:lnTo>
                  <a:pt x="8270" y="3034"/>
                </a:lnTo>
                <a:lnTo>
                  <a:pt x="8268" y="3036"/>
                </a:lnTo>
                <a:lnTo>
                  <a:pt x="8262" y="3038"/>
                </a:lnTo>
                <a:lnTo>
                  <a:pt x="8256" y="3036"/>
                </a:lnTo>
                <a:lnTo>
                  <a:pt x="8254" y="3034"/>
                </a:lnTo>
                <a:lnTo>
                  <a:pt x="8256" y="3030"/>
                </a:lnTo>
                <a:lnTo>
                  <a:pt x="8254" y="3028"/>
                </a:lnTo>
                <a:lnTo>
                  <a:pt x="8252" y="3030"/>
                </a:lnTo>
                <a:lnTo>
                  <a:pt x="8250" y="3032"/>
                </a:lnTo>
                <a:lnTo>
                  <a:pt x="8248" y="3042"/>
                </a:lnTo>
                <a:lnTo>
                  <a:pt x="8248" y="3050"/>
                </a:lnTo>
                <a:lnTo>
                  <a:pt x="8248" y="3054"/>
                </a:lnTo>
                <a:lnTo>
                  <a:pt x="8250" y="3054"/>
                </a:lnTo>
                <a:lnTo>
                  <a:pt x="8252" y="3054"/>
                </a:lnTo>
                <a:lnTo>
                  <a:pt x="8252" y="3050"/>
                </a:lnTo>
                <a:lnTo>
                  <a:pt x="8252" y="3046"/>
                </a:lnTo>
                <a:lnTo>
                  <a:pt x="8258" y="3046"/>
                </a:lnTo>
                <a:lnTo>
                  <a:pt x="8262" y="3048"/>
                </a:lnTo>
                <a:lnTo>
                  <a:pt x="8266" y="3050"/>
                </a:lnTo>
                <a:lnTo>
                  <a:pt x="8270" y="3058"/>
                </a:lnTo>
                <a:lnTo>
                  <a:pt x="8274" y="3064"/>
                </a:lnTo>
                <a:lnTo>
                  <a:pt x="8280" y="3066"/>
                </a:lnTo>
                <a:lnTo>
                  <a:pt x="8282" y="3070"/>
                </a:lnTo>
                <a:lnTo>
                  <a:pt x="8282" y="3072"/>
                </a:lnTo>
                <a:lnTo>
                  <a:pt x="8282" y="3076"/>
                </a:lnTo>
                <a:lnTo>
                  <a:pt x="8278" y="3084"/>
                </a:lnTo>
                <a:lnTo>
                  <a:pt x="8276" y="3100"/>
                </a:lnTo>
                <a:lnTo>
                  <a:pt x="8276" y="3120"/>
                </a:lnTo>
                <a:lnTo>
                  <a:pt x="8280" y="3152"/>
                </a:lnTo>
                <a:lnTo>
                  <a:pt x="8280" y="3154"/>
                </a:lnTo>
                <a:lnTo>
                  <a:pt x="8286" y="3174"/>
                </a:lnTo>
                <a:lnTo>
                  <a:pt x="8286" y="3180"/>
                </a:lnTo>
                <a:lnTo>
                  <a:pt x="8286" y="3182"/>
                </a:lnTo>
                <a:lnTo>
                  <a:pt x="8284" y="3184"/>
                </a:lnTo>
                <a:lnTo>
                  <a:pt x="8280" y="3186"/>
                </a:lnTo>
                <a:lnTo>
                  <a:pt x="8270" y="3184"/>
                </a:lnTo>
                <a:lnTo>
                  <a:pt x="8272" y="3182"/>
                </a:lnTo>
                <a:lnTo>
                  <a:pt x="8276" y="3180"/>
                </a:lnTo>
                <a:lnTo>
                  <a:pt x="8278" y="3178"/>
                </a:lnTo>
                <a:lnTo>
                  <a:pt x="8266" y="3180"/>
                </a:lnTo>
                <a:lnTo>
                  <a:pt x="8244" y="3184"/>
                </a:lnTo>
                <a:lnTo>
                  <a:pt x="8206" y="3196"/>
                </a:lnTo>
                <a:lnTo>
                  <a:pt x="8200" y="3196"/>
                </a:lnTo>
                <a:lnTo>
                  <a:pt x="8192" y="3196"/>
                </a:lnTo>
                <a:lnTo>
                  <a:pt x="8180" y="3192"/>
                </a:lnTo>
                <a:lnTo>
                  <a:pt x="8170" y="3188"/>
                </a:lnTo>
                <a:lnTo>
                  <a:pt x="8158" y="3184"/>
                </a:lnTo>
                <a:lnTo>
                  <a:pt x="8148" y="3176"/>
                </a:lnTo>
                <a:lnTo>
                  <a:pt x="8138" y="3168"/>
                </a:lnTo>
                <a:lnTo>
                  <a:pt x="8132" y="3158"/>
                </a:lnTo>
                <a:lnTo>
                  <a:pt x="8130" y="3154"/>
                </a:lnTo>
                <a:lnTo>
                  <a:pt x="8126" y="3150"/>
                </a:lnTo>
                <a:lnTo>
                  <a:pt x="8120" y="3148"/>
                </a:lnTo>
                <a:lnTo>
                  <a:pt x="8102" y="3146"/>
                </a:lnTo>
                <a:lnTo>
                  <a:pt x="8092" y="3144"/>
                </a:lnTo>
                <a:lnTo>
                  <a:pt x="8088" y="3140"/>
                </a:lnTo>
                <a:lnTo>
                  <a:pt x="8084" y="3136"/>
                </a:lnTo>
                <a:lnTo>
                  <a:pt x="8082" y="3130"/>
                </a:lnTo>
                <a:lnTo>
                  <a:pt x="8080" y="3120"/>
                </a:lnTo>
                <a:lnTo>
                  <a:pt x="8076" y="3096"/>
                </a:lnTo>
                <a:lnTo>
                  <a:pt x="8070" y="3098"/>
                </a:lnTo>
                <a:lnTo>
                  <a:pt x="8066" y="3098"/>
                </a:lnTo>
                <a:lnTo>
                  <a:pt x="8064" y="3096"/>
                </a:lnTo>
                <a:lnTo>
                  <a:pt x="8064" y="3094"/>
                </a:lnTo>
                <a:lnTo>
                  <a:pt x="8062" y="3088"/>
                </a:lnTo>
                <a:lnTo>
                  <a:pt x="8062" y="3086"/>
                </a:lnTo>
                <a:lnTo>
                  <a:pt x="8058" y="3084"/>
                </a:lnTo>
                <a:lnTo>
                  <a:pt x="8062" y="3086"/>
                </a:lnTo>
                <a:lnTo>
                  <a:pt x="8062" y="3088"/>
                </a:lnTo>
                <a:lnTo>
                  <a:pt x="8064" y="3092"/>
                </a:lnTo>
                <a:lnTo>
                  <a:pt x="8064" y="3096"/>
                </a:lnTo>
                <a:lnTo>
                  <a:pt x="8066" y="3096"/>
                </a:lnTo>
                <a:lnTo>
                  <a:pt x="8070" y="3096"/>
                </a:lnTo>
                <a:lnTo>
                  <a:pt x="8076" y="3096"/>
                </a:lnTo>
                <a:lnTo>
                  <a:pt x="8076" y="3082"/>
                </a:lnTo>
                <a:lnTo>
                  <a:pt x="8078" y="3062"/>
                </a:lnTo>
                <a:lnTo>
                  <a:pt x="8082" y="3052"/>
                </a:lnTo>
                <a:lnTo>
                  <a:pt x="8082" y="3054"/>
                </a:lnTo>
                <a:lnTo>
                  <a:pt x="8084" y="3056"/>
                </a:lnTo>
                <a:lnTo>
                  <a:pt x="8086" y="3064"/>
                </a:lnTo>
                <a:lnTo>
                  <a:pt x="8086" y="3066"/>
                </a:lnTo>
                <a:lnTo>
                  <a:pt x="8088" y="3066"/>
                </a:lnTo>
                <a:lnTo>
                  <a:pt x="8090" y="3062"/>
                </a:lnTo>
                <a:lnTo>
                  <a:pt x="8092" y="3058"/>
                </a:lnTo>
                <a:lnTo>
                  <a:pt x="8092" y="3054"/>
                </a:lnTo>
                <a:lnTo>
                  <a:pt x="8094" y="3048"/>
                </a:lnTo>
                <a:lnTo>
                  <a:pt x="8096" y="3046"/>
                </a:lnTo>
                <a:lnTo>
                  <a:pt x="8096" y="3044"/>
                </a:lnTo>
                <a:lnTo>
                  <a:pt x="8094" y="3040"/>
                </a:lnTo>
                <a:lnTo>
                  <a:pt x="8092" y="3036"/>
                </a:lnTo>
                <a:lnTo>
                  <a:pt x="8094" y="3034"/>
                </a:lnTo>
                <a:lnTo>
                  <a:pt x="8096" y="3030"/>
                </a:lnTo>
                <a:lnTo>
                  <a:pt x="8098" y="3026"/>
                </a:lnTo>
                <a:lnTo>
                  <a:pt x="8100" y="3020"/>
                </a:lnTo>
                <a:lnTo>
                  <a:pt x="8100" y="3010"/>
                </a:lnTo>
                <a:lnTo>
                  <a:pt x="8102" y="3006"/>
                </a:lnTo>
                <a:lnTo>
                  <a:pt x="8104" y="3000"/>
                </a:lnTo>
                <a:lnTo>
                  <a:pt x="8106" y="2996"/>
                </a:lnTo>
                <a:lnTo>
                  <a:pt x="8114" y="2992"/>
                </a:lnTo>
                <a:lnTo>
                  <a:pt x="8122" y="2990"/>
                </a:lnTo>
                <a:lnTo>
                  <a:pt x="8128" y="2990"/>
                </a:lnTo>
                <a:lnTo>
                  <a:pt x="8132" y="2992"/>
                </a:lnTo>
                <a:lnTo>
                  <a:pt x="8134" y="2994"/>
                </a:lnTo>
                <a:lnTo>
                  <a:pt x="8138" y="2996"/>
                </a:lnTo>
                <a:lnTo>
                  <a:pt x="8138" y="2990"/>
                </a:lnTo>
                <a:lnTo>
                  <a:pt x="8134" y="2984"/>
                </a:lnTo>
                <a:lnTo>
                  <a:pt x="8130" y="2982"/>
                </a:lnTo>
                <a:lnTo>
                  <a:pt x="8118" y="2980"/>
                </a:lnTo>
                <a:lnTo>
                  <a:pt x="8108" y="2978"/>
                </a:lnTo>
                <a:lnTo>
                  <a:pt x="8104" y="2976"/>
                </a:lnTo>
                <a:lnTo>
                  <a:pt x="8104" y="2970"/>
                </a:lnTo>
                <a:lnTo>
                  <a:pt x="8104" y="2968"/>
                </a:lnTo>
                <a:lnTo>
                  <a:pt x="8102" y="2964"/>
                </a:lnTo>
                <a:lnTo>
                  <a:pt x="8098" y="2958"/>
                </a:lnTo>
                <a:lnTo>
                  <a:pt x="8094" y="2954"/>
                </a:lnTo>
                <a:lnTo>
                  <a:pt x="8090" y="2948"/>
                </a:lnTo>
                <a:lnTo>
                  <a:pt x="8088" y="2940"/>
                </a:lnTo>
                <a:lnTo>
                  <a:pt x="8082" y="2928"/>
                </a:lnTo>
                <a:lnTo>
                  <a:pt x="8072" y="2916"/>
                </a:lnTo>
                <a:lnTo>
                  <a:pt x="8066" y="2908"/>
                </a:lnTo>
                <a:lnTo>
                  <a:pt x="8056" y="2892"/>
                </a:lnTo>
                <a:lnTo>
                  <a:pt x="8046" y="2882"/>
                </a:lnTo>
                <a:lnTo>
                  <a:pt x="8032" y="2864"/>
                </a:lnTo>
                <a:lnTo>
                  <a:pt x="8028" y="2856"/>
                </a:lnTo>
                <a:lnTo>
                  <a:pt x="8024" y="2846"/>
                </a:lnTo>
                <a:lnTo>
                  <a:pt x="8024" y="2832"/>
                </a:lnTo>
                <a:lnTo>
                  <a:pt x="8026" y="2816"/>
                </a:lnTo>
                <a:lnTo>
                  <a:pt x="8028" y="2794"/>
                </a:lnTo>
                <a:lnTo>
                  <a:pt x="8028" y="2792"/>
                </a:lnTo>
                <a:lnTo>
                  <a:pt x="8026" y="2794"/>
                </a:lnTo>
                <a:lnTo>
                  <a:pt x="8024" y="2798"/>
                </a:lnTo>
                <a:lnTo>
                  <a:pt x="8020" y="2800"/>
                </a:lnTo>
                <a:lnTo>
                  <a:pt x="8018" y="2798"/>
                </a:lnTo>
                <a:lnTo>
                  <a:pt x="8016" y="2790"/>
                </a:lnTo>
                <a:lnTo>
                  <a:pt x="8014" y="2778"/>
                </a:lnTo>
                <a:lnTo>
                  <a:pt x="8008" y="2772"/>
                </a:lnTo>
                <a:lnTo>
                  <a:pt x="8002" y="2766"/>
                </a:lnTo>
                <a:lnTo>
                  <a:pt x="7996" y="2762"/>
                </a:lnTo>
                <a:lnTo>
                  <a:pt x="7990" y="2760"/>
                </a:lnTo>
                <a:lnTo>
                  <a:pt x="7986" y="2756"/>
                </a:lnTo>
                <a:lnTo>
                  <a:pt x="7988" y="2754"/>
                </a:lnTo>
                <a:lnTo>
                  <a:pt x="7992" y="2748"/>
                </a:lnTo>
                <a:lnTo>
                  <a:pt x="7998" y="2742"/>
                </a:lnTo>
                <a:lnTo>
                  <a:pt x="8004" y="2736"/>
                </a:lnTo>
                <a:lnTo>
                  <a:pt x="8014" y="2722"/>
                </a:lnTo>
                <a:lnTo>
                  <a:pt x="8024" y="2706"/>
                </a:lnTo>
                <a:lnTo>
                  <a:pt x="8038" y="2690"/>
                </a:lnTo>
                <a:lnTo>
                  <a:pt x="8048" y="2684"/>
                </a:lnTo>
                <a:lnTo>
                  <a:pt x="8054" y="2680"/>
                </a:lnTo>
                <a:lnTo>
                  <a:pt x="8060" y="2678"/>
                </a:lnTo>
                <a:lnTo>
                  <a:pt x="8064" y="2680"/>
                </a:lnTo>
                <a:lnTo>
                  <a:pt x="8070" y="2680"/>
                </a:lnTo>
                <a:lnTo>
                  <a:pt x="8070" y="2678"/>
                </a:lnTo>
                <a:lnTo>
                  <a:pt x="8070" y="2676"/>
                </a:lnTo>
                <a:lnTo>
                  <a:pt x="8070" y="2668"/>
                </a:lnTo>
                <a:lnTo>
                  <a:pt x="8072" y="2664"/>
                </a:lnTo>
                <a:lnTo>
                  <a:pt x="8076" y="2658"/>
                </a:lnTo>
                <a:lnTo>
                  <a:pt x="8080" y="2648"/>
                </a:lnTo>
                <a:lnTo>
                  <a:pt x="8076" y="2658"/>
                </a:lnTo>
                <a:lnTo>
                  <a:pt x="8072" y="2664"/>
                </a:lnTo>
                <a:lnTo>
                  <a:pt x="8070" y="2668"/>
                </a:lnTo>
                <a:lnTo>
                  <a:pt x="8070" y="2676"/>
                </a:lnTo>
                <a:lnTo>
                  <a:pt x="8070" y="2672"/>
                </a:lnTo>
                <a:lnTo>
                  <a:pt x="8072" y="2668"/>
                </a:lnTo>
                <a:lnTo>
                  <a:pt x="8076" y="2666"/>
                </a:lnTo>
                <a:lnTo>
                  <a:pt x="8084" y="2662"/>
                </a:lnTo>
                <a:lnTo>
                  <a:pt x="8086" y="2658"/>
                </a:lnTo>
                <a:lnTo>
                  <a:pt x="8088" y="2652"/>
                </a:lnTo>
                <a:lnTo>
                  <a:pt x="8092" y="2646"/>
                </a:lnTo>
                <a:lnTo>
                  <a:pt x="8096" y="2644"/>
                </a:lnTo>
                <a:lnTo>
                  <a:pt x="8104" y="2642"/>
                </a:lnTo>
                <a:lnTo>
                  <a:pt x="8114" y="2642"/>
                </a:lnTo>
                <a:lnTo>
                  <a:pt x="8122" y="2638"/>
                </a:lnTo>
                <a:lnTo>
                  <a:pt x="8130" y="2632"/>
                </a:lnTo>
                <a:lnTo>
                  <a:pt x="8146" y="2618"/>
                </a:lnTo>
                <a:lnTo>
                  <a:pt x="8154" y="2614"/>
                </a:lnTo>
                <a:lnTo>
                  <a:pt x="8160" y="2612"/>
                </a:lnTo>
                <a:lnTo>
                  <a:pt x="8168" y="2610"/>
                </a:lnTo>
                <a:lnTo>
                  <a:pt x="8176" y="2610"/>
                </a:lnTo>
                <a:lnTo>
                  <a:pt x="8182" y="2612"/>
                </a:lnTo>
                <a:lnTo>
                  <a:pt x="8190" y="2616"/>
                </a:lnTo>
                <a:lnTo>
                  <a:pt x="8208" y="2626"/>
                </a:lnTo>
                <a:lnTo>
                  <a:pt x="8212" y="2626"/>
                </a:lnTo>
                <a:lnTo>
                  <a:pt x="8218" y="2620"/>
                </a:lnTo>
                <a:lnTo>
                  <a:pt x="8220" y="2616"/>
                </a:lnTo>
                <a:lnTo>
                  <a:pt x="8224" y="2616"/>
                </a:lnTo>
                <a:lnTo>
                  <a:pt x="8234" y="2616"/>
                </a:lnTo>
                <a:lnTo>
                  <a:pt x="8242" y="2620"/>
                </a:lnTo>
                <a:lnTo>
                  <a:pt x="8246" y="2628"/>
                </a:lnTo>
                <a:lnTo>
                  <a:pt x="8248" y="2634"/>
                </a:lnTo>
                <a:lnTo>
                  <a:pt x="8246" y="2638"/>
                </a:lnTo>
                <a:lnTo>
                  <a:pt x="8244" y="2644"/>
                </a:lnTo>
                <a:lnTo>
                  <a:pt x="8248" y="2652"/>
                </a:lnTo>
                <a:lnTo>
                  <a:pt x="8250" y="2656"/>
                </a:lnTo>
                <a:lnTo>
                  <a:pt x="8248" y="2662"/>
                </a:lnTo>
                <a:lnTo>
                  <a:pt x="8242" y="2676"/>
                </a:lnTo>
                <a:lnTo>
                  <a:pt x="8238" y="2684"/>
                </a:lnTo>
                <a:lnTo>
                  <a:pt x="8236" y="2690"/>
                </a:lnTo>
                <a:lnTo>
                  <a:pt x="8236" y="2696"/>
                </a:lnTo>
                <a:lnTo>
                  <a:pt x="8242" y="2702"/>
                </a:lnTo>
                <a:lnTo>
                  <a:pt x="8248" y="2708"/>
                </a:lnTo>
                <a:lnTo>
                  <a:pt x="8250" y="2710"/>
                </a:lnTo>
                <a:lnTo>
                  <a:pt x="8248" y="2712"/>
                </a:lnTo>
                <a:lnTo>
                  <a:pt x="8242" y="2712"/>
                </a:lnTo>
                <a:lnTo>
                  <a:pt x="8226" y="2708"/>
                </a:lnTo>
                <a:lnTo>
                  <a:pt x="8216" y="2708"/>
                </a:lnTo>
                <a:lnTo>
                  <a:pt x="8208" y="2708"/>
                </a:lnTo>
                <a:lnTo>
                  <a:pt x="8202" y="2710"/>
                </a:lnTo>
                <a:lnTo>
                  <a:pt x="8198" y="2710"/>
                </a:lnTo>
                <a:lnTo>
                  <a:pt x="8192" y="2706"/>
                </a:lnTo>
                <a:lnTo>
                  <a:pt x="8188" y="2706"/>
                </a:lnTo>
                <a:lnTo>
                  <a:pt x="8178" y="2710"/>
                </a:lnTo>
                <a:lnTo>
                  <a:pt x="8174" y="2714"/>
                </a:lnTo>
                <a:lnTo>
                  <a:pt x="8172" y="2716"/>
                </a:lnTo>
                <a:lnTo>
                  <a:pt x="8172" y="2718"/>
                </a:lnTo>
                <a:lnTo>
                  <a:pt x="8174" y="2720"/>
                </a:lnTo>
                <a:lnTo>
                  <a:pt x="8174" y="2722"/>
                </a:lnTo>
                <a:lnTo>
                  <a:pt x="8174" y="2724"/>
                </a:lnTo>
                <a:lnTo>
                  <a:pt x="8172" y="2726"/>
                </a:lnTo>
                <a:lnTo>
                  <a:pt x="8166" y="2728"/>
                </a:lnTo>
                <a:lnTo>
                  <a:pt x="8162" y="2730"/>
                </a:lnTo>
                <a:lnTo>
                  <a:pt x="8160" y="2732"/>
                </a:lnTo>
                <a:lnTo>
                  <a:pt x="8160" y="2734"/>
                </a:lnTo>
                <a:lnTo>
                  <a:pt x="8162" y="2736"/>
                </a:lnTo>
                <a:lnTo>
                  <a:pt x="8166" y="2742"/>
                </a:lnTo>
                <a:lnTo>
                  <a:pt x="8172" y="2746"/>
                </a:lnTo>
                <a:lnTo>
                  <a:pt x="8184" y="2754"/>
                </a:lnTo>
                <a:lnTo>
                  <a:pt x="8184" y="2756"/>
                </a:lnTo>
                <a:lnTo>
                  <a:pt x="8184" y="2758"/>
                </a:lnTo>
                <a:lnTo>
                  <a:pt x="8178" y="2758"/>
                </a:lnTo>
                <a:lnTo>
                  <a:pt x="8170" y="2758"/>
                </a:lnTo>
                <a:lnTo>
                  <a:pt x="8164" y="2758"/>
                </a:lnTo>
                <a:lnTo>
                  <a:pt x="8162" y="2756"/>
                </a:lnTo>
                <a:lnTo>
                  <a:pt x="8160" y="2754"/>
                </a:lnTo>
                <a:lnTo>
                  <a:pt x="8158" y="2752"/>
                </a:lnTo>
                <a:lnTo>
                  <a:pt x="8156" y="2750"/>
                </a:lnTo>
                <a:lnTo>
                  <a:pt x="8152" y="2750"/>
                </a:lnTo>
                <a:lnTo>
                  <a:pt x="8144" y="2750"/>
                </a:lnTo>
                <a:lnTo>
                  <a:pt x="8136" y="2752"/>
                </a:lnTo>
                <a:lnTo>
                  <a:pt x="8132" y="2754"/>
                </a:lnTo>
                <a:lnTo>
                  <a:pt x="8128" y="2758"/>
                </a:lnTo>
                <a:lnTo>
                  <a:pt x="8128" y="2762"/>
                </a:lnTo>
                <a:lnTo>
                  <a:pt x="8130" y="2764"/>
                </a:lnTo>
                <a:lnTo>
                  <a:pt x="8134" y="2768"/>
                </a:lnTo>
                <a:lnTo>
                  <a:pt x="8140" y="2770"/>
                </a:lnTo>
                <a:lnTo>
                  <a:pt x="8146" y="2772"/>
                </a:lnTo>
                <a:lnTo>
                  <a:pt x="8152" y="2774"/>
                </a:lnTo>
                <a:lnTo>
                  <a:pt x="8158" y="2780"/>
                </a:lnTo>
                <a:lnTo>
                  <a:pt x="8162" y="2790"/>
                </a:lnTo>
                <a:lnTo>
                  <a:pt x="8166" y="2800"/>
                </a:lnTo>
                <a:lnTo>
                  <a:pt x="8172" y="2818"/>
                </a:lnTo>
                <a:lnTo>
                  <a:pt x="8172" y="2828"/>
                </a:lnTo>
                <a:lnTo>
                  <a:pt x="8174" y="2832"/>
                </a:lnTo>
                <a:lnTo>
                  <a:pt x="8174" y="2834"/>
                </a:lnTo>
                <a:lnTo>
                  <a:pt x="8180" y="2834"/>
                </a:lnTo>
                <a:lnTo>
                  <a:pt x="8184" y="2832"/>
                </a:lnTo>
                <a:lnTo>
                  <a:pt x="8188" y="2834"/>
                </a:lnTo>
                <a:lnTo>
                  <a:pt x="8192" y="2836"/>
                </a:lnTo>
                <a:lnTo>
                  <a:pt x="8196" y="2842"/>
                </a:lnTo>
                <a:lnTo>
                  <a:pt x="8198" y="2846"/>
                </a:lnTo>
                <a:lnTo>
                  <a:pt x="8202" y="2850"/>
                </a:lnTo>
                <a:lnTo>
                  <a:pt x="8204" y="2850"/>
                </a:lnTo>
                <a:lnTo>
                  <a:pt x="8208" y="2848"/>
                </a:lnTo>
                <a:lnTo>
                  <a:pt x="8210" y="2848"/>
                </a:lnTo>
                <a:lnTo>
                  <a:pt x="8216" y="2848"/>
                </a:lnTo>
                <a:lnTo>
                  <a:pt x="8220" y="2850"/>
                </a:lnTo>
                <a:lnTo>
                  <a:pt x="8228" y="2854"/>
                </a:lnTo>
                <a:lnTo>
                  <a:pt x="8232" y="2860"/>
                </a:lnTo>
                <a:lnTo>
                  <a:pt x="8234" y="2866"/>
                </a:lnTo>
                <a:lnTo>
                  <a:pt x="8232" y="2872"/>
                </a:lnTo>
                <a:lnTo>
                  <a:pt x="8228" y="2876"/>
                </a:lnTo>
                <a:lnTo>
                  <a:pt x="8224" y="2882"/>
                </a:lnTo>
                <a:lnTo>
                  <a:pt x="8220" y="2890"/>
                </a:lnTo>
                <a:lnTo>
                  <a:pt x="8218" y="2900"/>
                </a:lnTo>
                <a:lnTo>
                  <a:pt x="8220" y="2912"/>
                </a:lnTo>
                <a:lnTo>
                  <a:pt x="8238" y="2894"/>
                </a:lnTo>
                <a:lnTo>
                  <a:pt x="8220" y="2912"/>
                </a:lnTo>
                <a:lnTo>
                  <a:pt x="8226" y="2918"/>
                </a:lnTo>
                <a:lnTo>
                  <a:pt x="8228" y="2922"/>
                </a:lnTo>
                <a:lnTo>
                  <a:pt x="8226" y="2924"/>
                </a:lnTo>
                <a:lnTo>
                  <a:pt x="8228" y="2930"/>
                </a:lnTo>
                <a:lnTo>
                  <a:pt x="8234" y="2940"/>
                </a:lnTo>
                <a:lnTo>
                  <a:pt x="8236" y="2942"/>
                </a:lnTo>
                <a:lnTo>
                  <a:pt x="8236" y="2938"/>
                </a:lnTo>
                <a:lnTo>
                  <a:pt x="8238" y="2932"/>
                </a:lnTo>
                <a:lnTo>
                  <a:pt x="8240" y="2924"/>
                </a:lnTo>
                <a:lnTo>
                  <a:pt x="8240" y="2920"/>
                </a:lnTo>
                <a:lnTo>
                  <a:pt x="8238" y="2918"/>
                </a:lnTo>
                <a:lnTo>
                  <a:pt x="8236" y="2914"/>
                </a:lnTo>
                <a:lnTo>
                  <a:pt x="8236" y="2908"/>
                </a:lnTo>
                <a:lnTo>
                  <a:pt x="8238" y="2904"/>
                </a:lnTo>
                <a:lnTo>
                  <a:pt x="8242" y="2900"/>
                </a:lnTo>
                <a:lnTo>
                  <a:pt x="8246" y="2896"/>
                </a:lnTo>
                <a:lnTo>
                  <a:pt x="8254" y="2894"/>
                </a:lnTo>
                <a:lnTo>
                  <a:pt x="8266" y="2892"/>
                </a:lnTo>
                <a:lnTo>
                  <a:pt x="8274" y="2890"/>
                </a:lnTo>
                <a:lnTo>
                  <a:pt x="8276" y="2892"/>
                </a:lnTo>
                <a:lnTo>
                  <a:pt x="8278" y="2892"/>
                </a:lnTo>
                <a:lnTo>
                  <a:pt x="8280" y="2900"/>
                </a:lnTo>
                <a:lnTo>
                  <a:pt x="8282" y="2912"/>
                </a:lnTo>
                <a:lnTo>
                  <a:pt x="8284" y="2922"/>
                </a:lnTo>
                <a:lnTo>
                  <a:pt x="8286" y="2928"/>
                </a:lnTo>
                <a:lnTo>
                  <a:pt x="8290" y="2932"/>
                </a:lnTo>
                <a:lnTo>
                  <a:pt x="8296" y="2936"/>
                </a:lnTo>
                <a:lnTo>
                  <a:pt x="8304" y="2942"/>
                </a:lnTo>
                <a:lnTo>
                  <a:pt x="8310" y="2946"/>
                </a:lnTo>
                <a:lnTo>
                  <a:pt x="8312" y="2950"/>
                </a:lnTo>
                <a:lnTo>
                  <a:pt x="8314" y="2956"/>
                </a:lnTo>
                <a:lnTo>
                  <a:pt x="8312" y="2960"/>
                </a:lnTo>
                <a:lnTo>
                  <a:pt x="8310" y="2962"/>
                </a:lnTo>
                <a:lnTo>
                  <a:pt x="8308" y="2964"/>
                </a:lnTo>
                <a:lnTo>
                  <a:pt x="8304" y="2964"/>
                </a:lnTo>
                <a:lnTo>
                  <a:pt x="8302" y="2962"/>
                </a:lnTo>
                <a:close/>
                <a:moveTo>
                  <a:pt x="8570" y="2768"/>
                </a:moveTo>
                <a:lnTo>
                  <a:pt x="8570" y="2768"/>
                </a:lnTo>
                <a:lnTo>
                  <a:pt x="8558" y="2782"/>
                </a:lnTo>
                <a:lnTo>
                  <a:pt x="8556" y="2788"/>
                </a:lnTo>
                <a:lnTo>
                  <a:pt x="8560" y="2790"/>
                </a:lnTo>
                <a:lnTo>
                  <a:pt x="8564" y="2796"/>
                </a:lnTo>
                <a:lnTo>
                  <a:pt x="8566" y="2800"/>
                </a:lnTo>
                <a:lnTo>
                  <a:pt x="8566" y="2802"/>
                </a:lnTo>
                <a:lnTo>
                  <a:pt x="8564" y="2804"/>
                </a:lnTo>
                <a:lnTo>
                  <a:pt x="8560" y="2806"/>
                </a:lnTo>
                <a:lnTo>
                  <a:pt x="8552" y="2808"/>
                </a:lnTo>
                <a:lnTo>
                  <a:pt x="8540" y="2808"/>
                </a:lnTo>
                <a:lnTo>
                  <a:pt x="8534" y="2808"/>
                </a:lnTo>
                <a:lnTo>
                  <a:pt x="8532" y="2810"/>
                </a:lnTo>
                <a:lnTo>
                  <a:pt x="8528" y="2814"/>
                </a:lnTo>
                <a:lnTo>
                  <a:pt x="8526" y="2816"/>
                </a:lnTo>
                <a:lnTo>
                  <a:pt x="8520" y="2818"/>
                </a:lnTo>
                <a:lnTo>
                  <a:pt x="8516" y="2818"/>
                </a:lnTo>
                <a:lnTo>
                  <a:pt x="8514" y="2816"/>
                </a:lnTo>
                <a:lnTo>
                  <a:pt x="8514" y="2810"/>
                </a:lnTo>
                <a:lnTo>
                  <a:pt x="8514" y="2808"/>
                </a:lnTo>
                <a:lnTo>
                  <a:pt x="8512" y="2804"/>
                </a:lnTo>
                <a:lnTo>
                  <a:pt x="8510" y="2802"/>
                </a:lnTo>
                <a:lnTo>
                  <a:pt x="8502" y="2798"/>
                </a:lnTo>
                <a:lnTo>
                  <a:pt x="8492" y="2798"/>
                </a:lnTo>
                <a:lnTo>
                  <a:pt x="8484" y="2798"/>
                </a:lnTo>
                <a:lnTo>
                  <a:pt x="8470" y="2804"/>
                </a:lnTo>
                <a:lnTo>
                  <a:pt x="8464" y="2806"/>
                </a:lnTo>
                <a:lnTo>
                  <a:pt x="8460" y="2808"/>
                </a:lnTo>
                <a:lnTo>
                  <a:pt x="8458" y="2806"/>
                </a:lnTo>
                <a:lnTo>
                  <a:pt x="8458" y="2802"/>
                </a:lnTo>
                <a:lnTo>
                  <a:pt x="8456" y="2788"/>
                </a:lnTo>
                <a:lnTo>
                  <a:pt x="8454" y="2774"/>
                </a:lnTo>
                <a:lnTo>
                  <a:pt x="8454" y="2764"/>
                </a:lnTo>
                <a:lnTo>
                  <a:pt x="8454" y="2758"/>
                </a:lnTo>
                <a:lnTo>
                  <a:pt x="8456" y="2756"/>
                </a:lnTo>
                <a:lnTo>
                  <a:pt x="8456" y="2752"/>
                </a:lnTo>
                <a:lnTo>
                  <a:pt x="8456" y="2750"/>
                </a:lnTo>
                <a:lnTo>
                  <a:pt x="8452" y="2742"/>
                </a:lnTo>
                <a:lnTo>
                  <a:pt x="8452" y="2736"/>
                </a:lnTo>
                <a:lnTo>
                  <a:pt x="8454" y="2726"/>
                </a:lnTo>
                <a:lnTo>
                  <a:pt x="8460" y="2714"/>
                </a:lnTo>
                <a:lnTo>
                  <a:pt x="8468" y="2696"/>
                </a:lnTo>
                <a:lnTo>
                  <a:pt x="8474" y="2686"/>
                </a:lnTo>
                <a:lnTo>
                  <a:pt x="8478" y="2678"/>
                </a:lnTo>
                <a:lnTo>
                  <a:pt x="8482" y="2674"/>
                </a:lnTo>
                <a:lnTo>
                  <a:pt x="8488" y="2672"/>
                </a:lnTo>
                <a:lnTo>
                  <a:pt x="8494" y="2674"/>
                </a:lnTo>
                <a:lnTo>
                  <a:pt x="8498" y="2672"/>
                </a:lnTo>
                <a:lnTo>
                  <a:pt x="8502" y="2670"/>
                </a:lnTo>
                <a:lnTo>
                  <a:pt x="8506" y="2668"/>
                </a:lnTo>
                <a:lnTo>
                  <a:pt x="8506" y="2664"/>
                </a:lnTo>
                <a:lnTo>
                  <a:pt x="8504" y="2660"/>
                </a:lnTo>
                <a:lnTo>
                  <a:pt x="8502" y="2656"/>
                </a:lnTo>
                <a:lnTo>
                  <a:pt x="8506" y="2654"/>
                </a:lnTo>
                <a:lnTo>
                  <a:pt x="8508" y="2652"/>
                </a:lnTo>
                <a:lnTo>
                  <a:pt x="8512" y="2654"/>
                </a:lnTo>
                <a:lnTo>
                  <a:pt x="8518" y="2660"/>
                </a:lnTo>
                <a:lnTo>
                  <a:pt x="8520" y="2664"/>
                </a:lnTo>
                <a:lnTo>
                  <a:pt x="8522" y="2664"/>
                </a:lnTo>
                <a:lnTo>
                  <a:pt x="8526" y="2664"/>
                </a:lnTo>
                <a:lnTo>
                  <a:pt x="8528" y="2660"/>
                </a:lnTo>
                <a:lnTo>
                  <a:pt x="8528" y="2654"/>
                </a:lnTo>
                <a:lnTo>
                  <a:pt x="8528" y="2650"/>
                </a:lnTo>
                <a:lnTo>
                  <a:pt x="8522" y="2646"/>
                </a:lnTo>
                <a:lnTo>
                  <a:pt x="8518" y="2644"/>
                </a:lnTo>
                <a:lnTo>
                  <a:pt x="8518" y="2642"/>
                </a:lnTo>
                <a:lnTo>
                  <a:pt x="8520" y="2640"/>
                </a:lnTo>
                <a:lnTo>
                  <a:pt x="8526" y="2636"/>
                </a:lnTo>
                <a:lnTo>
                  <a:pt x="8542" y="2628"/>
                </a:lnTo>
                <a:lnTo>
                  <a:pt x="8554" y="2626"/>
                </a:lnTo>
                <a:lnTo>
                  <a:pt x="8558" y="2626"/>
                </a:lnTo>
                <a:lnTo>
                  <a:pt x="8560" y="2628"/>
                </a:lnTo>
                <a:lnTo>
                  <a:pt x="8562" y="2632"/>
                </a:lnTo>
                <a:lnTo>
                  <a:pt x="8560" y="2636"/>
                </a:lnTo>
                <a:lnTo>
                  <a:pt x="8558" y="2642"/>
                </a:lnTo>
                <a:lnTo>
                  <a:pt x="8558" y="2644"/>
                </a:lnTo>
                <a:lnTo>
                  <a:pt x="8560" y="2646"/>
                </a:lnTo>
                <a:lnTo>
                  <a:pt x="8562" y="2646"/>
                </a:lnTo>
                <a:lnTo>
                  <a:pt x="8568" y="2642"/>
                </a:lnTo>
                <a:lnTo>
                  <a:pt x="8570" y="2640"/>
                </a:lnTo>
                <a:lnTo>
                  <a:pt x="8572" y="2636"/>
                </a:lnTo>
                <a:lnTo>
                  <a:pt x="8576" y="2628"/>
                </a:lnTo>
                <a:lnTo>
                  <a:pt x="8582" y="2622"/>
                </a:lnTo>
                <a:lnTo>
                  <a:pt x="8584" y="2622"/>
                </a:lnTo>
                <a:lnTo>
                  <a:pt x="8588" y="2622"/>
                </a:lnTo>
                <a:lnTo>
                  <a:pt x="8590" y="2624"/>
                </a:lnTo>
                <a:lnTo>
                  <a:pt x="8590" y="2628"/>
                </a:lnTo>
                <a:lnTo>
                  <a:pt x="8590" y="2636"/>
                </a:lnTo>
                <a:lnTo>
                  <a:pt x="8590" y="2642"/>
                </a:lnTo>
                <a:lnTo>
                  <a:pt x="8588" y="2644"/>
                </a:lnTo>
                <a:lnTo>
                  <a:pt x="8586" y="2646"/>
                </a:lnTo>
                <a:lnTo>
                  <a:pt x="8580" y="2650"/>
                </a:lnTo>
                <a:lnTo>
                  <a:pt x="8580" y="2652"/>
                </a:lnTo>
                <a:lnTo>
                  <a:pt x="8578" y="2658"/>
                </a:lnTo>
                <a:lnTo>
                  <a:pt x="8578" y="2662"/>
                </a:lnTo>
                <a:lnTo>
                  <a:pt x="8576" y="2664"/>
                </a:lnTo>
                <a:lnTo>
                  <a:pt x="8570" y="2664"/>
                </a:lnTo>
                <a:lnTo>
                  <a:pt x="8566" y="2662"/>
                </a:lnTo>
                <a:lnTo>
                  <a:pt x="8566" y="2664"/>
                </a:lnTo>
                <a:lnTo>
                  <a:pt x="8564" y="2666"/>
                </a:lnTo>
                <a:lnTo>
                  <a:pt x="8566" y="2674"/>
                </a:lnTo>
                <a:lnTo>
                  <a:pt x="8572" y="2686"/>
                </a:lnTo>
                <a:lnTo>
                  <a:pt x="8576" y="2692"/>
                </a:lnTo>
                <a:lnTo>
                  <a:pt x="8580" y="2698"/>
                </a:lnTo>
                <a:lnTo>
                  <a:pt x="8584" y="2710"/>
                </a:lnTo>
                <a:lnTo>
                  <a:pt x="8584" y="2716"/>
                </a:lnTo>
                <a:lnTo>
                  <a:pt x="8586" y="2718"/>
                </a:lnTo>
                <a:lnTo>
                  <a:pt x="8590" y="2718"/>
                </a:lnTo>
                <a:lnTo>
                  <a:pt x="8594" y="2718"/>
                </a:lnTo>
                <a:lnTo>
                  <a:pt x="8596" y="2718"/>
                </a:lnTo>
                <a:lnTo>
                  <a:pt x="8600" y="2720"/>
                </a:lnTo>
                <a:lnTo>
                  <a:pt x="8602" y="2722"/>
                </a:lnTo>
                <a:lnTo>
                  <a:pt x="8604" y="2730"/>
                </a:lnTo>
                <a:lnTo>
                  <a:pt x="8594" y="2740"/>
                </a:lnTo>
                <a:lnTo>
                  <a:pt x="8586" y="2744"/>
                </a:lnTo>
                <a:lnTo>
                  <a:pt x="8576" y="2750"/>
                </a:lnTo>
                <a:lnTo>
                  <a:pt x="8572" y="2752"/>
                </a:lnTo>
                <a:lnTo>
                  <a:pt x="8570" y="2754"/>
                </a:lnTo>
                <a:lnTo>
                  <a:pt x="8570" y="2758"/>
                </a:lnTo>
                <a:lnTo>
                  <a:pt x="8570" y="2768"/>
                </a:lnTo>
                <a:close/>
                <a:moveTo>
                  <a:pt x="11370" y="2874"/>
                </a:moveTo>
                <a:lnTo>
                  <a:pt x="11370" y="2874"/>
                </a:lnTo>
                <a:lnTo>
                  <a:pt x="11370" y="2870"/>
                </a:lnTo>
                <a:lnTo>
                  <a:pt x="11376" y="2882"/>
                </a:lnTo>
                <a:lnTo>
                  <a:pt x="11370" y="2874"/>
                </a:lnTo>
                <a:close/>
                <a:moveTo>
                  <a:pt x="8546" y="1146"/>
                </a:moveTo>
                <a:lnTo>
                  <a:pt x="8546" y="1146"/>
                </a:lnTo>
                <a:lnTo>
                  <a:pt x="8546" y="1144"/>
                </a:lnTo>
                <a:lnTo>
                  <a:pt x="8544" y="1140"/>
                </a:lnTo>
                <a:lnTo>
                  <a:pt x="8532" y="1134"/>
                </a:lnTo>
                <a:lnTo>
                  <a:pt x="8518" y="1126"/>
                </a:lnTo>
                <a:lnTo>
                  <a:pt x="8508" y="1120"/>
                </a:lnTo>
                <a:lnTo>
                  <a:pt x="8500" y="1112"/>
                </a:lnTo>
                <a:lnTo>
                  <a:pt x="8490" y="1104"/>
                </a:lnTo>
                <a:lnTo>
                  <a:pt x="8482" y="1102"/>
                </a:lnTo>
                <a:lnTo>
                  <a:pt x="8478" y="1104"/>
                </a:lnTo>
                <a:lnTo>
                  <a:pt x="8470" y="1108"/>
                </a:lnTo>
                <a:lnTo>
                  <a:pt x="8468" y="1108"/>
                </a:lnTo>
                <a:lnTo>
                  <a:pt x="8468" y="1110"/>
                </a:lnTo>
                <a:lnTo>
                  <a:pt x="8470" y="1116"/>
                </a:lnTo>
                <a:lnTo>
                  <a:pt x="8472" y="1120"/>
                </a:lnTo>
                <a:lnTo>
                  <a:pt x="8470" y="1118"/>
                </a:lnTo>
                <a:lnTo>
                  <a:pt x="8466" y="1118"/>
                </a:lnTo>
                <a:lnTo>
                  <a:pt x="8464" y="1118"/>
                </a:lnTo>
                <a:lnTo>
                  <a:pt x="8464" y="1120"/>
                </a:lnTo>
                <a:lnTo>
                  <a:pt x="8464" y="1122"/>
                </a:lnTo>
                <a:lnTo>
                  <a:pt x="8468" y="1130"/>
                </a:lnTo>
                <a:lnTo>
                  <a:pt x="8476" y="1140"/>
                </a:lnTo>
                <a:lnTo>
                  <a:pt x="8482" y="1144"/>
                </a:lnTo>
                <a:lnTo>
                  <a:pt x="8486" y="1144"/>
                </a:lnTo>
                <a:lnTo>
                  <a:pt x="8488" y="1144"/>
                </a:lnTo>
                <a:lnTo>
                  <a:pt x="8488" y="1142"/>
                </a:lnTo>
                <a:lnTo>
                  <a:pt x="8492" y="1140"/>
                </a:lnTo>
                <a:lnTo>
                  <a:pt x="8500" y="1142"/>
                </a:lnTo>
                <a:lnTo>
                  <a:pt x="8506" y="1146"/>
                </a:lnTo>
                <a:lnTo>
                  <a:pt x="8508" y="1148"/>
                </a:lnTo>
                <a:lnTo>
                  <a:pt x="8508" y="1152"/>
                </a:lnTo>
                <a:lnTo>
                  <a:pt x="8510" y="1154"/>
                </a:lnTo>
                <a:lnTo>
                  <a:pt x="8514" y="1156"/>
                </a:lnTo>
                <a:lnTo>
                  <a:pt x="8526" y="1156"/>
                </a:lnTo>
                <a:lnTo>
                  <a:pt x="8540" y="1152"/>
                </a:lnTo>
                <a:lnTo>
                  <a:pt x="8544" y="1150"/>
                </a:lnTo>
                <a:lnTo>
                  <a:pt x="8546" y="1146"/>
                </a:lnTo>
                <a:close/>
                <a:moveTo>
                  <a:pt x="8966" y="906"/>
                </a:moveTo>
                <a:lnTo>
                  <a:pt x="8966" y="906"/>
                </a:lnTo>
                <a:lnTo>
                  <a:pt x="8984" y="902"/>
                </a:lnTo>
                <a:lnTo>
                  <a:pt x="8988" y="900"/>
                </a:lnTo>
                <a:lnTo>
                  <a:pt x="8992" y="896"/>
                </a:lnTo>
                <a:lnTo>
                  <a:pt x="8994" y="894"/>
                </a:lnTo>
                <a:lnTo>
                  <a:pt x="8994" y="890"/>
                </a:lnTo>
                <a:lnTo>
                  <a:pt x="8990" y="884"/>
                </a:lnTo>
                <a:lnTo>
                  <a:pt x="8982" y="878"/>
                </a:lnTo>
                <a:lnTo>
                  <a:pt x="8972" y="874"/>
                </a:lnTo>
                <a:lnTo>
                  <a:pt x="8960" y="874"/>
                </a:lnTo>
                <a:lnTo>
                  <a:pt x="8948" y="876"/>
                </a:lnTo>
                <a:lnTo>
                  <a:pt x="8936" y="880"/>
                </a:lnTo>
                <a:lnTo>
                  <a:pt x="8928" y="886"/>
                </a:lnTo>
                <a:lnTo>
                  <a:pt x="8924" y="892"/>
                </a:lnTo>
                <a:lnTo>
                  <a:pt x="8924" y="898"/>
                </a:lnTo>
                <a:lnTo>
                  <a:pt x="8928" y="904"/>
                </a:lnTo>
                <a:lnTo>
                  <a:pt x="8936" y="906"/>
                </a:lnTo>
                <a:lnTo>
                  <a:pt x="8948" y="908"/>
                </a:lnTo>
                <a:lnTo>
                  <a:pt x="8966" y="906"/>
                </a:lnTo>
                <a:close/>
                <a:moveTo>
                  <a:pt x="8184" y="986"/>
                </a:moveTo>
                <a:lnTo>
                  <a:pt x="8184" y="986"/>
                </a:lnTo>
                <a:lnTo>
                  <a:pt x="8178" y="1004"/>
                </a:lnTo>
                <a:lnTo>
                  <a:pt x="8176" y="1012"/>
                </a:lnTo>
                <a:lnTo>
                  <a:pt x="8178" y="1018"/>
                </a:lnTo>
                <a:lnTo>
                  <a:pt x="8182" y="1022"/>
                </a:lnTo>
                <a:lnTo>
                  <a:pt x="8188" y="1024"/>
                </a:lnTo>
                <a:lnTo>
                  <a:pt x="8198" y="1026"/>
                </a:lnTo>
                <a:lnTo>
                  <a:pt x="8212" y="1028"/>
                </a:lnTo>
                <a:lnTo>
                  <a:pt x="8228" y="1028"/>
                </a:lnTo>
                <a:lnTo>
                  <a:pt x="8228" y="1030"/>
                </a:lnTo>
                <a:lnTo>
                  <a:pt x="8224" y="1032"/>
                </a:lnTo>
                <a:lnTo>
                  <a:pt x="8220" y="1036"/>
                </a:lnTo>
                <a:lnTo>
                  <a:pt x="8218" y="1040"/>
                </a:lnTo>
                <a:lnTo>
                  <a:pt x="8218" y="1044"/>
                </a:lnTo>
                <a:lnTo>
                  <a:pt x="8222" y="1046"/>
                </a:lnTo>
                <a:lnTo>
                  <a:pt x="8232" y="1054"/>
                </a:lnTo>
                <a:lnTo>
                  <a:pt x="8238" y="1058"/>
                </a:lnTo>
                <a:lnTo>
                  <a:pt x="8244" y="1060"/>
                </a:lnTo>
                <a:lnTo>
                  <a:pt x="8248" y="1058"/>
                </a:lnTo>
                <a:lnTo>
                  <a:pt x="8250" y="1058"/>
                </a:lnTo>
                <a:lnTo>
                  <a:pt x="8254" y="1052"/>
                </a:lnTo>
                <a:lnTo>
                  <a:pt x="8254" y="1044"/>
                </a:lnTo>
                <a:lnTo>
                  <a:pt x="8254" y="1038"/>
                </a:lnTo>
                <a:lnTo>
                  <a:pt x="8254" y="1032"/>
                </a:lnTo>
                <a:lnTo>
                  <a:pt x="8256" y="1032"/>
                </a:lnTo>
                <a:lnTo>
                  <a:pt x="8258" y="1034"/>
                </a:lnTo>
                <a:lnTo>
                  <a:pt x="8264" y="1040"/>
                </a:lnTo>
                <a:lnTo>
                  <a:pt x="8268" y="1046"/>
                </a:lnTo>
                <a:lnTo>
                  <a:pt x="8270" y="1052"/>
                </a:lnTo>
                <a:lnTo>
                  <a:pt x="8272" y="1056"/>
                </a:lnTo>
                <a:lnTo>
                  <a:pt x="8270" y="1060"/>
                </a:lnTo>
                <a:lnTo>
                  <a:pt x="8266" y="1066"/>
                </a:lnTo>
                <a:lnTo>
                  <a:pt x="8262" y="1070"/>
                </a:lnTo>
                <a:lnTo>
                  <a:pt x="8258" y="1072"/>
                </a:lnTo>
                <a:lnTo>
                  <a:pt x="8256" y="1074"/>
                </a:lnTo>
                <a:lnTo>
                  <a:pt x="8258" y="1076"/>
                </a:lnTo>
                <a:lnTo>
                  <a:pt x="8262" y="1076"/>
                </a:lnTo>
                <a:lnTo>
                  <a:pt x="8276" y="1078"/>
                </a:lnTo>
                <a:lnTo>
                  <a:pt x="8292" y="1080"/>
                </a:lnTo>
                <a:lnTo>
                  <a:pt x="8302" y="1082"/>
                </a:lnTo>
                <a:lnTo>
                  <a:pt x="8308" y="1084"/>
                </a:lnTo>
                <a:lnTo>
                  <a:pt x="8312" y="1086"/>
                </a:lnTo>
                <a:lnTo>
                  <a:pt x="8314" y="1088"/>
                </a:lnTo>
                <a:lnTo>
                  <a:pt x="8320" y="1090"/>
                </a:lnTo>
                <a:lnTo>
                  <a:pt x="8338" y="1092"/>
                </a:lnTo>
                <a:lnTo>
                  <a:pt x="8352" y="1092"/>
                </a:lnTo>
                <a:lnTo>
                  <a:pt x="8364" y="1094"/>
                </a:lnTo>
                <a:lnTo>
                  <a:pt x="8384" y="1098"/>
                </a:lnTo>
                <a:lnTo>
                  <a:pt x="8392" y="1098"/>
                </a:lnTo>
                <a:lnTo>
                  <a:pt x="8402" y="1096"/>
                </a:lnTo>
                <a:lnTo>
                  <a:pt x="8412" y="1094"/>
                </a:lnTo>
                <a:lnTo>
                  <a:pt x="8426" y="1086"/>
                </a:lnTo>
                <a:lnTo>
                  <a:pt x="8428" y="1084"/>
                </a:lnTo>
                <a:lnTo>
                  <a:pt x="8430" y="1082"/>
                </a:lnTo>
                <a:lnTo>
                  <a:pt x="8428" y="1080"/>
                </a:lnTo>
                <a:lnTo>
                  <a:pt x="8426" y="1078"/>
                </a:lnTo>
                <a:lnTo>
                  <a:pt x="8418" y="1074"/>
                </a:lnTo>
                <a:lnTo>
                  <a:pt x="8408" y="1068"/>
                </a:lnTo>
                <a:lnTo>
                  <a:pt x="8394" y="1062"/>
                </a:lnTo>
                <a:lnTo>
                  <a:pt x="8382" y="1054"/>
                </a:lnTo>
                <a:lnTo>
                  <a:pt x="8372" y="1046"/>
                </a:lnTo>
                <a:lnTo>
                  <a:pt x="8364" y="1036"/>
                </a:lnTo>
                <a:lnTo>
                  <a:pt x="8360" y="1026"/>
                </a:lnTo>
                <a:lnTo>
                  <a:pt x="8354" y="1018"/>
                </a:lnTo>
                <a:lnTo>
                  <a:pt x="8344" y="1006"/>
                </a:lnTo>
                <a:lnTo>
                  <a:pt x="8340" y="1000"/>
                </a:lnTo>
                <a:lnTo>
                  <a:pt x="8338" y="992"/>
                </a:lnTo>
                <a:lnTo>
                  <a:pt x="8336" y="980"/>
                </a:lnTo>
                <a:lnTo>
                  <a:pt x="8338" y="964"/>
                </a:lnTo>
                <a:lnTo>
                  <a:pt x="8340" y="956"/>
                </a:lnTo>
                <a:lnTo>
                  <a:pt x="8344" y="948"/>
                </a:lnTo>
                <a:lnTo>
                  <a:pt x="8352" y="936"/>
                </a:lnTo>
                <a:lnTo>
                  <a:pt x="8362" y="926"/>
                </a:lnTo>
                <a:lnTo>
                  <a:pt x="8372" y="918"/>
                </a:lnTo>
                <a:lnTo>
                  <a:pt x="8378" y="912"/>
                </a:lnTo>
                <a:lnTo>
                  <a:pt x="8380" y="906"/>
                </a:lnTo>
                <a:lnTo>
                  <a:pt x="8380" y="904"/>
                </a:lnTo>
                <a:lnTo>
                  <a:pt x="8376" y="900"/>
                </a:lnTo>
                <a:lnTo>
                  <a:pt x="8366" y="894"/>
                </a:lnTo>
                <a:lnTo>
                  <a:pt x="8346" y="886"/>
                </a:lnTo>
                <a:lnTo>
                  <a:pt x="8342" y="886"/>
                </a:lnTo>
                <a:lnTo>
                  <a:pt x="8338" y="886"/>
                </a:lnTo>
                <a:lnTo>
                  <a:pt x="8324" y="888"/>
                </a:lnTo>
                <a:lnTo>
                  <a:pt x="8288" y="894"/>
                </a:lnTo>
                <a:lnTo>
                  <a:pt x="8266" y="896"/>
                </a:lnTo>
                <a:lnTo>
                  <a:pt x="8256" y="900"/>
                </a:lnTo>
                <a:lnTo>
                  <a:pt x="8250" y="902"/>
                </a:lnTo>
                <a:lnTo>
                  <a:pt x="8250" y="904"/>
                </a:lnTo>
                <a:lnTo>
                  <a:pt x="8250" y="908"/>
                </a:lnTo>
                <a:lnTo>
                  <a:pt x="8250" y="910"/>
                </a:lnTo>
                <a:lnTo>
                  <a:pt x="8246" y="916"/>
                </a:lnTo>
                <a:lnTo>
                  <a:pt x="8236" y="920"/>
                </a:lnTo>
                <a:lnTo>
                  <a:pt x="8226" y="926"/>
                </a:lnTo>
                <a:lnTo>
                  <a:pt x="8222" y="930"/>
                </a:lnTo>
                <a:lnTo>
                  <a:pt x="8220" y="932"/>
                </a:lnTo>
                <a:lnTo>
                  <a:pt x="8222" y="936"/>
                </a:lnTo>
                <a:lnTo>
                  <a:pt x="8226" y="940"/>
                </a:lnTo>
                <a:lnTo>
                  <a:pt x="8228" y="946"/>
                </a:lnTo>
                <a:lnTo>
                  <a:pt x="8228" y="954"/>
                </a:lnTo>
                <a:lnTo>
                  <a:pt x="8224" y="964"/>
                </a:lnTo>
                <a:lnTo>
                  <a:pt x="8218" y="974"/>
                </a:lnTo>
                <a:lnTo>
                  <a:pt x="8212" y="976"/>
                </a:lnTo>
                <a:lnTo>
                  <a:pt x="8208" y="976"/>
                </a:lnTo>
                <a:lnTo>
                  <a:pt x="8204" y="976"/>
                </a:lnTo>
                <a:lnTo>
                  <a:pt x="8198" y="974"/>
                </a:lnTo>
                <a:lnTo>
                  <a:pt x="8194" y="974"/>
                </a:lnTo>
                <a:lnTo>
                  <a:pt x="8190" y="978"/>
                </a:lnTo>
                <a:lnTo>
                  <a:pt x="8184" y="986"/>
                </a:lnTo>
                <a:close/>
                <a:moveTo>
                  <a:pt x="8658" y="660"/>
                </a:moveTo>
                <a:lnTo>
                  <a:pt x="8658" y="660"/>
                </a:lnTo>
                <a:lnTo>
                  <a:pt x="8640" y="666"/>
                </a:lnTo>
                <a:lnTo>
                  <a:pt x="8630" y="668"/>
                </a:lnTo>
                <a:lnTo>
                  <a:pt x="8624" y="668"/>
                </a:lnTo>
                <a:lnTo>
                  <a:pt x="8620" y="664"/>
                </a:lnTo>
                <a:lnTo>
                  <a:pt x="8616" y="662"/>
                </a:lnTo>
                <a:lnTo>
                  <a:pt x="8610" y="660"/>
                </a:lnTo>
                <a:lnTo>
                  <a:pt x="8602" y="658"/>
                </a:lnTo>
                <a:lnTo>
                  <a:pt x="8586" y="658"/>
                </a:lnTo>
                <a:lnTo>
                  <a:pt x="8570" y="660"/>
                </a:lnTo>
                <a:lnTo>
                  <a:pt x="8564" y="664"/>
                </a:lnTo>
                <a:lnTo>
                  <a:pt x="8560" y="666"/>
                </a:lnTo>
                <a:lnTo>
                  <a:pt x="8560" y="670"/>
                </a:lnTo>
                <a:lnTo>
                  <a:pt x="8562" y="674"/>
                </a:lnTo>
                <a:lnTo>
                  <a:pt x="8562" y="676"/>
                </a:lnTo>
                <a:lnTo>
                  <a:pt x="8560" y="676"/>
                </a:lnTo>
                <a:lnTo>
                  <a:pt x="8552" y="676"/>
                </a:lnTo>
                <a:lnTo>
                  <a:pt x="8540" y="676"/>
                </a:lnTo>
                <a:lnTo>
                  <a:pt x="8524" y="680"/>
                </a:lnTo>
                <a:lnTo>
                  <a:pt x="8508" y="684"/>
                </a:lnTo>
                <a:lnTo>
                  <a:pt x="8490" y="690"/>
                </a:lnTo>
                <a:lnTo>
                  <a:pt x="8472" y="698"/>
                </a:lnTo>
                <a:lnTo>
                  <a:pt x="8456" y="708"/>
                </a:lnTo>
                <a:lnTo>
                  <a:pt x="8442" y="718"/>
                </a:lnTo>
                <a:lnTo>
                  <a:pt x="8432" y="728"/>
                </a:lnTo>
                <a:lnTo>
                  <a:pt x="8426" y="734"/>
                </a:lnTo>
                <a:lnTo>
                  <a:pt x="8420" y="738"/>
                </a:lnTo>
                <a:lnTo>
                  <a:pt x="8418" y="738"/>
                </a:lnTo>
                <a:lnTo>
                  <a:pt x="8414" y="736"/>
                </a:lnTo>
                <a:lnTo>
                  <a:pt x="8412" y="734"/>
                </a:lnTo>
                <a:lnTo>
                  <a:pt x="8408" y="734"/>
                </a:lnTo>
                <a:lnTo>
                  <a:pt x="8402" y="736"/>
                </a:lnTo>
                <a:lnTo>
                  <a:pt x="8394" y="740"/>
                </a:lnTo>
                <a:lnTo>
                  <a:pt x="8388" y="746"/>
                </a:lnTo>
                <a:lnTo>
                  <a:pt x="8382" y="748"/>
                </a:lnTo>
                <a:lnTo>
                  <a:pt x="8380" y="748"/>
                </a:lnTo>
                <a:lnTo>
                  <a:pt x="8378" y="746"/>
                </a:lnTo>
                <a:lnTo>
                  <a:pt x="8376" y="744"/>
                </a:lnTo>
                <a:lnTo>
                  <a:pt x="8374" y="742"/>
                </a:lnTo>
                <a:lnTo>
                  <a:pt x="8370" y="742"/>
                </a:lnTo>
                <a:lnTo>
                  <a:pt x="8362" y="744"/>
                </a:lnTo>
                <a:lnTo>
                  <a:pt x="8358" y="750"/>
                </a:lnTo>
                <a:lnTo>
                  <a:pt x="8356" y="754"/>
                </a:lnTo>
                <a:lnTo>
                  <a:pt x="8360" y="756"/>
                </a:lnTo>
                <a:lnTo>
                  <a:pt x="8362" y="760"/>
                </a:lnTo>
                <a:lnTo>
                  <a:pt x="8370" y="764"/>
                </a:lnTo>
                <a:lnTo>
                  <a:pt x="8368" y="766"/>
                </a:lnTo>
                <a:lnTo>
                  <a:pt x="8364" y="770"/>
                </a:lnTo>
                <a:lnTo>
                  <a:pt x="8360" y="772"/>
                </a:lnTo>
                <a:lnTo>
                  <a:pt x="8358" y="774"/>
                </a:lnTo>
                <a:lnTo>
                  <a:pt x="8360" y="778"/>
                </a:lnTo>
                <a:lnTo>
                  <a:pt x="8364" y="780"/>
                </a:lnTo>
                <a:lnTo>
                  <a:pt x="8366" y="782"/>
                </a:lnTo>
                <a:lnTo>
                  <a:pt x="8368" y="784"/>
                </a:lnTo>
                <a:lnTo>
                  <a:pt x="8364" y="786"/>
                </a:lnTo>
                <a:lnTo>
                  <a:pt x="8356" y="786"/>
                </a:lnTo>
                <a:lnTo>
                  <a:pt x="8348" y="788"/>
                </a:lnTo>
                <a:lnTo>
                  <a:pt x="8342" y="792"/>
                </a:lnTo>
                <a:lnTo>
                  <a:pt x="8338" y="798"/>
                </a:lnTo>
                <a:lnTo>
                  <a:pt x="8334" y="806"/>
                </a:lnTo>
                <a:lnTo>
                  <a:pt x="8330" y="814"/>
                </a:lnTo>
                <a:lnTo>
                  <a:pt x="8324" y="822"/>
                </a:lnTo>
                <a:lnTo>
                  <a:pt x="8316" y="830"/>
                </a:lnTo>
                <a:lnTo>
                  <a:pt x="8302" y="836"/>
                </a:lnTo>
                <a:lnTo>
                  <a:pt x="8280" y="848"/>
                </a:lnTo>
                <a:lnTo>
                  <a:pt x="8272" y="854"/>
                </a:lnTo>
                <a:lnTo>
                  <a:pt x="8268" y="858"/>
                </a:lnTo>
                <a:lnTo>
                  <a:pt x="8268" y="862"/>
                </a:lnTo>
                <a:lnTo>
                  <a:pt x="8270" y="864"/>
                </a:lnTo>
                <a:lnTo>
                  <a:pt x="8278" y="866"/>
                </a:lnTo>
                <a:lnTo>
                  <a:pt x="8288" y="866"/>
                </a:lnTo>
                <a:lnTo>
                  <a:pt x="8296" y="866"/>
                </a:lnTo>
                <a:lnTo>
                  <a:pt x="8298" y="870"/>
                </a:lnTo>
                <a:lnTo>
                  <a:pt x="8296" y="872"/>
                </a:lnTo>
                <a:lnTo>
                  <a:pt x="8294" y="876"/>
                </a:lnTo>
                <a:lnTo>
                  <a:pt x="8290" y="880"/>
                </a:lnTo>
                <a:lnTo>
                  <a:pt x="8290" y="882"/>
                </a:lnTo>
                <a:lnTo>
                  <a:pt x="8294" y="882"/>
                </a:lnTo>
                <a:lnTo>
                  <a:pt x="8304" y="882"/>
                </a:lnTo>
                <a:lnTo>
                  <a:pt x="8326" y="876"/>
                </a:lnTo>
                <a:lnTo>
                  <a:pt x="8334" y="876"/>
                </a:lnTo>
                <a:lnTo>
                  <a:pt x="8342" y="876"/>
                </a:lnTo>
                <a:lnTo>
                  <a:pt x="8348" y="878"/>
                </a:lnTo>
                <a:lnTo>
                  <a:pt x="8356" y="880"/>
                </a:lnTo>
                <a:lnTo>
                  <a:pt x="8374" y="892"/>
                </a:lnTo>
                <a:lnTo>
                  <a:pt x="8384" y="894"/>
                </a:lnTo>
                <a:lnTo>
                  <a:pt x="8396" y="894"/>
                </a:lnTo>
                <a:lnTo>
                  <a:pt x="8402" y="892"/>
                </a:lnTo>
                <a:lnTo>
                  <a:pt x="8406" y="888"/>
                </a:lnTo>
                <a:lnTo>
                  <a:pt x="8410" y="884"/>
                </a:lnTo>
                <a:lnTo>
                  <a:pt x="8412" y="878"/>
                </a:lnTo>
                <a:lnTo>
                  <a:pt x="8414" y="874"/>
                </a:lnTo>
                <a:lnTo>
                  <a:pt x="8418" y="870"/>
                </a:lnTo>
                <a:lnTo>
                  <a:pt x="8426" y="868"/>
                </a:lnTo>
                <a:lnTo>
                  <a:pt x="8430" y="868"/>
                </a:lnTo>
                <a:lnTo>
                  <a:pt x="8434" y="864"/>
                </a:lnTo>
                <a:lnTo>
                  <a:pt x="8440" y="858"/>
                </a:lnTo>
                <a:lnTo>
                  <a:pt x="8442" y="850"/>
                </a:lnTo>
                <a:lnTo>
                  <a:pt x="8446" y="840"/>
                </a:lnTo>
                <a:lnTo>
                  <a:pt x="8450" y="834"/>
                </a:lnTo>
                <a:lnTo>
                  <a:pt x="8456" y="830"/>
                </a:lnTo>
                <a:lnTo>
                  <a:pt x="8460" y="828"/>
                </a:lnTo>
                <a:lnTo>
                  <a:pt x="8470" y="824"/>
                </a:lnTo>
                <a:lnTo>
                  <a:pt x="8472" y="820"/>
                </a:lnTo>
                <a:lnTo>
                  <a:pt x="8474" y="816"/>
                </a:lnTo>
                <a:lnTo>
                  <a:pt x="8476" y="804"/>
                </a:lnTo>
                <a:lnTo>
                  <a:pt x="8480" y="802"/>
                </a:lnTo>
                <a:lnTo>
                  <a:pt x="8484" y="800"/>
                </a:lnTo>
                <a:lnTo>
                  <a:pt x="8498" y="794"/>
                </a:lnTo>
                <a:lnTo>
                  <a:pt x="8526" y="784"/>
                </a:lnTo>
                <a:lnTo>
                  <a:pt x="8540" y="778"/>
                </a:lnTo>
                <a:lnTo>
                  <a:pt x="8546" y="772"/>
                </a:lnTo>
                <a:lnTo>
                  <a:pt x="8550" y="768"/>
                </a:lnTo>
                <a:lnTo>
                  <a:pt x="8552" y="764"/>
                </a:lnTo>
                <a:lnTo>
                  <a:pt x="8556" y="758"/>
                </a:lnTo>
                <a:lnTo>
                  <a:pt x="8564" y="752"/>
                </a:lnTo>
                <a:lnTo>
                  <a:pt x="8578" y="744"/>
                </a:lnTo>
                <a:lnTo>
                  <a:pt x="8600" y="734"/>
                </a:lnTo>
                <a:lnTo>
                  <a:pt x="8632" y="722"/>
                </a:lnTo>
                <a:lnTo>
                  <a:pt x="8666" y="712"/>
                </a:lnTo>
                <a:lnTo>
                  <a:pt x="8742" y="692"/>
                </a:lnTo>
                <a:lnTo>
                  <a:pt x="8814" y="674"/>
                </a:lnTo>
                <a:lnTo>
                  <a:pt x="8844" y="664"/>
                </a:lnTo>
                <a:lnTo>
                  <a:pt x="8870" y="654"/>
                </a:lnTo>
                <a:lnTo>
                  <a:pt x="8878" y="648"/>
                </a:lnTo>
                <a:lnTo>
                  <a:pt x="8886" y="642"/>
                </a:lnTo>
                <a:lnTo>
                  <a:pt x="8890" y="638"/>
                </a:lnTo>
                <a:lnTo>
                  <a:pt x="8892" y="632"/>
                </a:lnTo>
                <a:lnTo>
                  <a:pt x="8890" y="628"/>
                </a:lnTo>
                <a:lnTo>
                  <a:pt x="8888" y="622"/>
                </a:lnTo>
                <a:lnTo>
                  <a:pt x="8884" y="618"/>
                </a:lnTo>
                <a:lnTo>
                  <a:pt x="8878" y="614"/>
                </a:lnTo>
                <a:lnTo>
                  <a:pt x="8862" y="608"/>
                </a:lnTo>
                <a:lnTo>
                  <a:pt x="8842" y="606"/>
                </a:lnTo>
                <a:lnTo>
                  <a:pt x="8820" y="606"/>
                </a:lnTo>
                <a:lnTo>
                  <a:pt x="8798" y="610"/>
                </a:lnTo>
                <a:lnTo>
                  <a:pt x="8768" y="622"/>
                </a:lnTo>
                <a:lnTo>
                  <a:pt x="8762" y="624"/>
                </a:lnTo>
                <a:lnTo>
                  <a:pt x="8758" y="628"/>
                </a:lnTo>
                <a:lnTo>
                  <a:pt x="8756" y="630"/>
                </a:lnTo>
                <a:lnTo>
                  <a:pt x="8754" y="634"/>
                </a:lnTo>
                <a:lnTo>
                  <a:pt x="8746" y="638"/>
                </a:lnTo>
                <a:lnTo>
                  <a:pt x="8732" y="642"/>
                </a:lnTo>
                <a:lnTo>
                  <a:pt x="8708" y="650"/>
                </a:lnTo>
                <a:lnTo>
                  <a:pt x="8698" y="650"/>
                </a:lnTo>
                <a:lnTo>
                  <a:pt x="8686" y="652"/>
                </a:lnTo>
                <a:lnTo>
                  <a:pt x="8658" y="660"/>
                </a:lnTo>
                <a:close/>
                <a:moveTo>
                  <a:pt x="7934" y="316"/>
                </a:moveTo>
                <a:lnTo>
                  <a:pt x="7934" y="316"/>
                </a:lnTo>
                <a:lnTo>
                  <a:pt x="7942" y="318"/>
                </a:lnTo>
                <a:lnTo>
                  <a:pt x="7950" y="314"/>
                </a:lnTo>
                <a:lnTo>
                  <a:pt x="7954" y="314"/>
                </a:lnTo>
                <a:lnTo>
                  <a:pt x="7958" y="316"/>
                </a:lnTo>
                <a:lnTo>
                  <a:pt x="7964" y="320"/>
                </a:lnTo>
                <a:lnTo>
                  <a:pt x="7968" y="322"/>
                </a:lnTo>
                <a:lnTo>
                  <a:pt x="7974" y="322"/>
                </a:lnTo>
                <a:lnTo>
                  <a:pt x="7980" y="322"/>
                </a:lnTo>
                <a:lnTo>
                  <a:pt x="7990" y="318"/>
                </a:lnTo>
                <a:lnTo>
                  <a:pt x="8006" y="310"/>
                </a:lnTo>
                <a:lnTo>
                  <a:pt x="8018" y="304"/>
                </a:lnTo>
                <a:lnTo>
                  <a:pt x="8022" y="302"/>
                </a:lnTo>
                <a:lnTo>
                  <a:pt x="8028" y="300"/>
                </a:lnTo>
                <a:lnTo>
                  <a:pt x="8036" y="302"/>
                </a:lnTo>
                <a:lnTo>
                  <a:pt x="8046" y="304"/>
                </a:lnTo>
                <a:lnTo>
                  <a:pt x="8056" y="308"/>
                </a:lnTo>
                <a:lnTo>
                  <a:pt x="8064" y="308"/>
                </a:lnTo>
                <a:lnTo>
                  <a:pt x="8070" y="308"/>
                </a:lnTo>
                <a:lnTo>
                  <a:pt x="8072" y="306"/>
                </a:lnTo>
                <a:lnTo>
                  <a:pt x="8070" y="302"/>
                </a:lnTo>
                <a:lnTo>
                  <a:pt x="8064" y="298"/>
                </a:lnTo>
                <a:lnTo>
                  <a:pt x="8054" y="294"/>
                </a:lnTo>
                <a:lnTo>
                  <a:pt x="8038" y="290"/>
                </a:lnTo>
                <a:lnTo>
                  <a:pt x="8014" y="286"/>
                </a:lnTo>
                <a:lnTo>
                  <a:pt x="8010" y="286"/>
                </a:lnTo>
                <a:lnTo>
                  <a:pt x="8008" y="288"/>
                </a:lnTo>
                <a:lnTo>
                  <a:pt x="8006" y="290"/>
                </a:lnTo>
                <a:lnTo>
                  <a:pt x="8002" y="294"/>
                </a:lnTo>
                <a:lnTo>
                  <a:pt x="7996" y="296"/>
                </a:lnTo>
                <a:lnTo>
                  <a:pt x="7984" y="300"/>
                </a:lnTo>
                <a:lnTo>
                  <a:pt x="7954" y="304"/>
                </a:lnTo>
                <a:lnTo>
                  <a:pt x="7930" y="308"/>
                </a:lnTo>
                <a:lnTo>
                  <a:pt x="7924" y="310"/>
                </a:lnTo>
                <a:lnTo>
                  <a:pt x="7920" y="312"/>
                </a:lnTo>
                <a:lnTo>
                  <a:pt x="7924" y="314"/>
                </a:lnTo>
                <a:lnTo>
                  <a:pt x="7934" y="316"/>
                </a:lnTo>
                <a:close/>
                <a:moveTo>
                  <a:pt x="8090" y="300"/>
                </a:moveTo>
                <a:lnTo>
                  <a:pt x="8090" y="300"/>
                </a:lnTo>
                <a:lnTo>
                  <a:pt x="8098" y="306"/>
                </a:lnTo>
                <a:lnTo>
                  <a:pt x="8100" y="308"/>
                </a:lnTo>
                <a:lnTo>
                  <a:pt x="8098" y="310"/>
                </a:lnTo>
                <a:lnTo>
                  <a:pt x="8096" y="312"/>
                </a:lnTo>
                <a:lnTo>
                  <a:pt x="8090" y="314"/>
                </a:lnTo>
                <a:lnTo>
                  <a:pt x="8068" y="316"/>
                </a:lnTo>
                <a:lnTo>
                  <a:pt x="8042" y="316"/>
                </a:lnTo>
                <a:lnTo>
                  <a:pt x="8024" y="318"/>
                </a:lnTo>
                <a:lnTo>
                  <a:pt x="8020" y="318"/>
                </a:lnTo>
                <a:lnTo>
                  <a:pt x="8020" y="320"/>
                </a:lnTo>
                <a:lnTo>
                  <a:pt x="8022" y="322"/>
                </a:lnTo>
                <a:lnTo>
                  <a:pt x="8028" y="326"/>
                </a:lnTo>
                <a:lnTo>
                  <a:pt x="8036" y="332"/>
                </a:lnTo>
                <a:lnTo>
                  <a:pt x="8034" y="332"/>
                </a:lnTo>
                <a:lnTo>
                  <a:pt x="8032" y="334"/>
                </a:lnTo>
                <a:lnTo>
                  <a:pt x="8012" y="332"/>
                </a:lnTo>
                <a:lnTo>
                  <a:pt x="8000" y="330"/>
                </a:lnTo>
                <a:lnTo>
                  <a:pt x="7988" y="332"/>
                </a:lnTo>
                <a:lnTo>
                  <a:pt x="7986" y="332"/>
                </a:lnTo>
                <a:lnTo>
                  <a:pt x="7986" y="334"/>
                </a:lnTo>
                <a:lnTo>
                  <a:pt x="7988" y="338"/>
                </a:lnTo>
                <a:lnTo>
                  <a:pt x="7998" y="344"/>
                </a:lnTo>
                <a:lnTo>
                  <a:pt x="8006" y="346"/>
                </a:lnTo>
                <a:lnTo>
                  <a:pt x="8010" y="346"/>
                </a:lnTo>
                <a:lnTo>
                  <a:pt x="8016" y="344"/>
                </a:lnTo>
                <a:lnTo>
                  <a:pt x="8028" y="340"/>
                </a:lnTo>
                <a:lnTo>
                  <a:pt x="8034" y="338"/>
                </a:lnTo>
                <a:lnTo>
                  <a:pt x="8036" y="340"/>
                </a:lnTo>
                <a:lnTo>
                  <a:pt x="8034" y="346"/>
                </a:lnTo>
                <a:lnTo>
                  <a:pt x="8034" y="350"/>
                </a:lnTo>
                <a:lnTo>
                  <a:pt x="8034" y="352"/>
                </a:lnTo>
                <a:lnTo>
                  <a:pt x="8038" y="352"/>
                </a:lnTo>
                <a:lnTo>
                  <a:pt x="8048" y="350"/>
                </a:lnTo>
                <a:lnTo>
                  <a:pt x="8058" y="346"/>
                </a:lnTo>
                <a:lnTo>
                  <a:pt x="8064" y="346"/>
                </a:lnTo>
                <a:lnTo>
                  <a:pt x="8074" y="348"/>
                </a:lnTo>
                <a:lnTo>
                  <a:pt x="8078" y="350"/>
                </a:lnTo>
                <a:lnTo>
                  <a:pt x="8082" y="348"/>
                </a:lnTo>
                <a:lnTo>
                  <a:pt x="8086" y="346"/>
                </a:lnTo>
                <a:lnTo>
                  <a:pt x="8088" y="344"/>
                </a:lnTo>
                <a:lnTo>
                  <a:pt x="8088" y="342"/>
                </a:lnTo>
                <a:lnTo>
                  <a:pt x="8080" y="340"/>
                </a:lnTo>
                <a:lnTo>
                  <a:pt x="8072" y="336"/>
                </a:lnTo>
                <a:lnTo>
                  <a:pt x="8074" y="332"/>
                </a:lnTo>
                <a:lnTo>
                  <a:pt x="8084" y="330"/>
                </a:lnTo>
                <a:lnTo>
                  <a:pt x="8094" y="328"/>
                </a:lnTo>
                <a:lnTo>
                  <a:pt x="8104" y="328"/>
                </a:lnTo>
                <a:lnTo>
                  <a:pt x="8108" y="326"/>
                </a:lnTo>
                <a:lnTo>
                  <a:pt x="8114" y="322"/>
                </a:lnTo>
                <a:lnTo>
                  <a:pt x="8118" y="320"/>
                </a:lnTo>
                <a:lnTo>
                  <a:pt x="8124" y="318"/>
                </a:lnTo>
                <a:lnTo>
                  <a:pt x="8134" y="318"/>
                </a:lnTo>
                <a:lnTo>
                  <a:pt x="8150" y="316"/>
                </a:lnTo>
                <a:lnTo>
                  <a:pt x="8174" y="314"/>
                </a:lnTo>
                <a:lnTo>
                  <a:pt x="8186" y="310"/>
                </a:lnTo>
                <a:lnTo>
                  <a:pt x="8192" y="308"/>
                </a:lnTo>
                <a:lnTo>
                  <a:pt x="8194" y="304"/>
                </a:lnTo>
                <a:lnTo>
                  <a:pt x="8192" y="300"/>
                </a:lnTo>
                <a:lnTo>
                  <a:pt x="8188" y="298"/>
                </a:lnTo>
                <a:lnTo>
                  <a:pt x="8180" y="296"/>
                </a:lnTo>
                <a:lnTo>
                  <a:pt x="8170" y="296"/>
                </a:lnTo>
                <a:lnTo>
                  <a:pt x="8158" y="296"/>
                </a:lnTo>
                <a:lnTo>
                  <a:pt x="8146" y="298"/>
                </a:lnTo>
                <a:lnTo>
                  <a:pt x="8146" y="296"/>
                </a:lnTo>
                <a:lnTo>
                  <a:pt x="8148" y="294"/>
                </a:lnTo>
                <a:lnTo>
                  <a:pt x="8150" y="292"/>
                </a:lnTo>
                <a:lnTo>
                  <a:pt x="8150" y="290"/>
                </a:lnTo>
                <a:lnTo>
                  <a:pt x="8148" y="288"/>
                </a:lnTo>
                <a:lnTo>
                  <a:pt x="8138" y="288"/>
                </a:lnTo>
                <a:lnTo>
                  <a:pt x="8116" y="286"/>
                </a:lnTo>
                <a:lnTo>
                  <a:pt x="8098" y="290"/>
                </a:lnTo>
                <a:lnTo>
                  <a:pt x="8092" y="292"/>
                </a:lnTo>
                <a:lnTo>
                  <a:pt x="8088" y="294"/>
                </a:lnTo>
                <a:lnTo>
                  <a:pt x="8086" y="298"/>
                </a:lnTo>
                <a:lnTo>
                  <a:pt x="8090" y="300"/>
                </a:lnTo>
                <a:close/>
                <a:moveTo>
                  <a:pt x="8270" y="334"/>
                </a:moveTo>
                <a:lnTo>
                  <a:pt x="8270" y="334"/>
                </a:lnTo>
                <a:lnTo>
                  <a:pt x="8260" y="326"/>
                </a:lnTo>
                <a:lnTo>
                  <a:pt x="8256" y="324"/>
                </a:lnTo>
                <a:lnTo>
                  <a:pt x="8252" y="324"/>
                </a:lnTo>
                <a:lnTo>
                  <a:pt x="8240" y="326"/>
                </a:lnTo>
                <a:lnTo>
                  <a:pt x="8220" y="336"/>
                </a:lnTo>
                <a:lnTo>
                  <a:pt x="8216" y="338"/>
                </a:lnTo>
                <a:lnTo>
                  <a:pt x="8216" y="340"/>
                </a:lnTo>
                <a:lnTo>
                  <a:pt x="8220" y="342"/>
                </a:lnTo>
                <a:lnTo>
                  <a:pt x="8230" y="346"/>
                </a:lnTo>
                <a:lnTo>
                  <a:pt x="8244" y="346"/>
                </a:lnTo>
                <a:lnTo>
                  <a:pt x="8258" y="348"/>
                </a:lnTo>
                <a:lnTo>
                  <a:pt x="8270" y="346"/>
                </a:lnTo>
                <a:lnTo>
                  <a:pt x="8272" y="344"/>
                </a:lnTo>
                <a:lnTo>
                  <a:pt x="8274" y="342"/>
                </a:lnTo>
                <a:lnTo>
                  <a:pt x="8274" y="338"/>
                </a:lnTo>
                <a:lnTo>
                  <a:pt x="8270" y="334"/>
                </a:lnTo>
                <a:close/>
                <a:moveTo>
                  <a:pt x="8160" y="268"/>
                </a:moveTo>
                <a:lnTo>
                  <a:pt x="8160" y="268"/>
                </a:lnTo>
                <a:lnTo>
                  <a:pt x="8164" y="266"/>
                </a:lnTo>
                <a:lnTo>
                  <a:pt x="8166" y="264"/>
                </a:lnTo>
                <a:lnTo>
                  <a:pt x="8164" y="260"/>
                </a:lnTo>
                <a:lnTo>
                  <a:pt x="8162" y="260"/>
                </a:lnTo>
                <a:lnTo>
                  <a:pt x="8156" y="258"/>
                </a:lnTo>
                <a:lnTo>
                  <a:pt x="8152" y="260"/>
                </a:lnTo>
                <a:lnTo>
                  <a:pt x="8146" y="262"/>
                </a:lnTo>
                <a:lnTo>
                  <a:pt x="8140" y="266"/>
                </a:lnTo>
                <a:lnTo>
                  <a:pt x="8134" y="272"/>
                </a:lnTo>
                <a:lnTo>
                  <a:pt x="8132" y="276"/>
                </a:lnTo>
                <a:lnTo>
                  <a:pt x="8136" y="278"/>
                </a:lnTo>
                <a:lnTo>
                  <a:pt x="8146" y="274"/>
                </a:lnTo>
                <a:lnTo>
                  <a:pt x="8160" y="268"/>
                </a:lnTo>
                <a:close/>
                <a:moveTo>
                  <a:pt x="8684" y="298"/>
                </a:moveTo>
                <a:lnTo>
                  <a:pt x="8684" y="298"/>
                </a:lnTo>
                <a:lnTo>
                  <a:pt x="8710" y="294"/>
                </a:lnTo>
                <a:lnTo>
                  <a:pt x="8730" y="292"/>
                </a:lnTo>
                <a:lnTo>
                  <a:pt x="8738" y="290"/>
                </a:lnTo>
                <a:lnTo>
                  <a:pt x="8742" y="288"/>
                </a:lnTo>
                <a:lnTo>
                  <a:pt x="8746" y="282"/>
                </a:lnTo>
                <a:lnTo>
                  <a:pt x="8746" y="276"/>
                </a:lnTo>
                <a:lnTo>
                  <a:pt x="8744" y="270"/>
                </a:lnTo>
                <a:lnTo>
                  <a:pt x="8740" y="264"/>
                </a:lnTo>
                <a:lnTo>
                  <a:pt x="8734" y="262"/>
                </a:lnTo>
                <a:lnTo>
                  <a:pt x="8726" y="258"/>
                </a:lnTo>
                <a:lnTo>
                  <a:pt x="8716" y="258"/>
                </a:lnTo>
                <a:lnTo>
                  <a:pt x="8708" y="260"/>
                </a:lnTo>
                <a:lnTo>
                  <a:pt x="8700" y="262"/>
                </a:lnTo>
                <a:lnTo>
                  <a:pt x="8694" y="266"/>
                </a:lnTo>
                <a:lnTo>
                  <a:pt x="8688" y="270"/>
                </a:lnTo>
                <a:lnTo>
                  <a:pt x="8684" y="272"/>
                </a:lnTo>
                <a:lnTo>
                  <a:pt x="8672" y="272"/>
                </a:lnTo>
                <a:lnTo>
                  <a:pt x="8656" y="276"/>
                </a:lnTo>
                <a:lnTo>
                  <a:pt x="8648" y="278"/>
                </a:lnTo>
                <a:lnTo>
                  <a:pt x="8636" y="286"/>
                </a:lnTo>
                <a:lnTo>
                  <a:pt x="8630" y="290"/>
                </a:lnTo>
                <a:lnTo>
                  <a:pt x="8628" y="294"/>
                </a:lnTo>
                <a:lnTo>
                  <a:pt x="8630" y="298"/>
                </a:lnTo>
                <a:lnTo>
                  <a:pt x="8636" y="300"/>
                </a:lnTo>
                <a:lnTo>
                  <a:pt x="8646" y="302"/>
                </a:lnTo>
                <a:lnTo>
                  <a:pt x="8656" y="302"/>
                </a:lnTo>
                <a:lnTo>
                  <a:pt x="8684" y="298"/>
                </a:lnTo>
                <a:close/>
                <a:moveTo>
                  <a:pt x="8680" y="222"/>
                </a:moveTo>
                <a:lnTo>
                  <a:pt x="8680" y="222"/>
                </a:lnTo>
                <a:lnTo>
                  <a:pt x="8680" y="220"/>
                </a:lnTo>
                <a:lnTo>
                  <a:pt x="8680" y="218"/>
                </a:lnTo>
                <a:lnTo>
                  <a:pt x="8676" y="214"/>
                </a:lnTo>
                <a:lnTo>
                  <a:pt x="8670" y="212"/>
                </a:lnTo>
                <a:lnTo>
                  <a:pt x="8660" y="212"/>
                </a:lnTo>
                <a:lnTo>
                  <a:pt x="8636" y="212"/>
                </a:lnTo>
                <a:lnTo>
                  <a:pt x="8626" y="214"/>
                </a:lnTo>
                <a:lnTo>
                  <a:pt x="8616" y="216"/>
                </a:lnTo>
                <a:lnTo>
                  <a:pt x="8614" y="218"/>
                </a:lnTo>
                <a:lnTo>
                  <a:pt x="8616" y="220"/>
                </a:lnTo>
                <a:lnTo>
                  <a:pt x="8620" y="222"/>
                </a:lnTo>
                <a:lnTo>
                  <a:pt x="8638" y="226"/>
                </a:lnTo>
                <a:lnTo>
                  <a:pt x="8662" y="226"/>
                </a:lnTo>
                <a:lnTo>
                  <a:pt x="8672" y="224"/>
                </a:lnTo>
                <a:lnTo>
                  <a:pt x="8680" y="222"/>
                </a:lnTo>
                <a:close/>
                <a:moveTo>
                  <a:pt x="8502" y="208"/>
                </a:moveTo>
                <a:lnTo>
                  <a:pt x="8502" y="208"/>
                </a:lnTo>
                <a:lnTo>
                  <a:pt x="8502" y="206"/>
                </a:lnTo>
                <a:lnTo>
                  <a:pt x="8500" y="206"/>
                </a:lnTo>
                <a:lnTo>
                  <a:pt x="8496" y="202"/>
                </a:lnTo>
                <a:lnTo>
                  <a:pt x="8476" y="200"/>
                </a:lnTo>
                <a:lnTo>
                  <a:pt x="8464" y="200"/>
                </a:lnTo>
                <a:lnTo>
                  <a:pt x="8454" y="202"/>
                </a:lnTo>
                <a:lnTo>
                  <a:pt x="8446" y="204"/>
                </a:lnTo>
                <a:lnTo>
                  <a:pt x="8442" y="208"/>
                </a:lnTo>
                <a:lnTo>
                  <a:pt x="8442" y="212"/>
                </a:lnTo>
                <a:lnTo>
                  <a:pt x="8442" y="214"/>
                </a:lnTo>
                <a:lnTo>
                  <a:pt x="8448" y="216"/>
                </a:lnTo>
                <a:lnTo>
                  <a:pt x="8456" y="218"/>
                </a:lnTo>
                <a:lnTo>
                  <a:pt x="8468" y="218"/>
                </a:lnTo>
                <a:lnTo>
                  <a:pt x="8490" y="214"/>
                </a:lnTo>
                <a:lnTo>
                  <a:pt x="8498" y="212"/>
                </a:lnTo>
                <a:lnTo>
                  <a:pt x="8502" y="208"/>
                </a:lnTo>
                <a:close/>
                <a:moveTo>
                  <a:pt x="8566" y="284"/>
                </a:moveTo>
                <a:lnTo>
                  <a:pt x="8566" y="284"/>
                </a:lnTo>
                <a:lnTo>
                  <a:pt x="8576" y="282"/>
                </a:lnTo>
                <a:lnTo>
                  <a:pt x="8586" y="278"/>
                </a:lnTo>
                <a:lnTo>
                  <a:pt x="8592" y="274"/>
                </a:lnTo>
                <a:lnTo>
                  <a:pt x="8598" y="268"/>
                </a:lnTo>
                <a:lnTo>
                  <a:pt x="8598" y="266"/>
                </a:lnTo>
                <a:lnTo>
                  <a:pt x="8592" y="264"/>
                </a:lnTo>
                <a:lnTo>
                  <a:pt x="8580" y="264"/>
                </a:lnTo>
                <a:lnTo>
                  <a:pt x="8558" y="268"/>
                </a:lnTo>
                <a:lnTo>
                  <a:pt x="8544" y="272"/>
                </a:lnTo>
                <a:lnTo>
                  <a:pt x="8534" y="276"/>
                </a:lnTo>
                <a:lnTo>
                  <a:pt x="8532" y="278"/>
                </a:lnTo>
                <a:lnTo>
                  <a:pt x="8534" y="280"/>
                </a:lnTo>
                <a:lnTo>
                  <a:pt x="8548" y="284"/>
                </a:lnTo>
                <a:lnTo>
                  <a:pt x="8566" y="284"/>
                </a:lnTo>
                <a:close/>
                <a:moveTo>
                  <a:pt x="8560" y="322"/>
                </a:moveTo>
                <a:lnTo>
                  <a:pt x="8560" y="322"/>
                </a:lnTo>
                <a:lnTo>
                  <a:pt x="8570" y="324"/>
                </a:lnTo>
                <a:lnTo>
                  <a:pt x="8578" y="324"/>
                </a:lnTo>
                <a:lnTo>
                  <a:pt x="8582" y="322"/>
                </a:lnTo>
                <a:lnTo>
                  <a:pt x="8586" y="320"/>
                </a:lnTo>
                <a:lnTo>
                  <a:pt x="8594" y="314"/>
                </a:lnTo>
                <a:lnTo>
                  <a:pt x="8600" y="312"/>
                </a:lnTo>
                <a:lnTo>
                  <a:pt x="8606" y="312"/>
                </a:lnTo>
                <a:lnTo>
                  <a:pt x="8614" y="310"/>
                </a:lnTo>
                <a:lnTo>
                  <a:pt x="8618" y="306"/>
                </a:lnTo>
                <a:lnTo>
                  <a:pt x="8618" y="300"/>
                </a:lnTo>
                <a:lnTo>
                  <a:pt x="8618" y="292"/>
                </a:lnTo>
                <a:lnTo>
                  <a:pt x="8612" y="288"/>
                </a:lnTo>
                <a:lnTo>
                  <a:pt x="8604" y="284"/>
                </a:lnTo>
                <a:lnTo>
                  <a:pt x="8592" y="284"/>
                </a:lnTo>
                <a:lnTo>
                  <a:pt x="8576" y="288"/>
                </a:lnTo>
                <a:lnTo>
                  <a:pt x="8558" y="292"/>
                </a:lnTo>
                <a:lnTo>
                  <a:pt x="8544" y="294"/>
                </a:lnTo>
                <a:lnTo>
                  <a:pt x="8532" y="292"/>
                </a:lnTo>
                <a:lnTo>
                  <a:pt x="8522" y="290"/>
                </a:lnTo>
                <a:lnTo>
                  <a:pt x="8514" y="288"/>
                </a:lnTo>
                <a:lnTo>
                  <a:pt x="8508" y="290"/>
                </a:lnTo>
                <a:lnTo>
                  <a:pt x="8502" y="294"/>
                </a:lnTo>
                <a:lnTo>
                  <a:pt x="8496" y="304"/>
                </a:lnTo>
                <a:lnTo>
                  <a:pt x="8494" y="314"/>
                </a:lnTo>
                <a:lnTo>
                  <a:pt x="8494" y="318"/>
                </a:lnTo>
                <a:lnTo>
                  <a:pt x="8496" y="320"/>
                </a:lnTo>
                <a:lnTo>
                  <a:pt x="8502" y="324"/>
                </a:lnTo>
                <a:lnTo>
                  <a:pt x="8512" y="324"/>
                </a:lnTo>
                <a:lnTo>
                  <a:pt x="8534" y="320"/>
                </a:lnTo>
                <a:lnTo>
                  <a:pt x="8548" y="320"/>
                </a:lnTo>
                <a:lnTo>
                  <a:pt x="8560" y="322"/>
                </a:lnTo>
                <a:close/>
                <a:moveTo>
                  <a:pt x="8116" y="340"/>
                </a:moveTo>
                <a:lnTo>
                  <a:pt x="8116" y="340"/>
                </a:lnTo>
                <a:lnTo>
                  <a:pt x="8110" y="342"/>
                </a:lnTo>
                <a:lnTo>
                  <a:pt x="8108" y="346"/>
                </a:lnTo>
                <a:lnTo>
                  <a:pt x="8108" y="350"/>
                </a:lnTo>
                <a:lnTo>
                  <a:pt x="8108" y="352"/>
                </a:lnTo>
                <a:lnTo>
                  <a:pt x="8112" y="354"/>
                </a:lnTo>
                <a:lnTo>
                  <a:pt x="8116" y="356"/>
                </a:lnTo>
                <a:lnTo>
                  <a:pt x="8120" y="356"/>
                </a:lnTo>
                <a:lnTo>
                  <a:pt x="8126" y="354"/>
                </a:lnTo>
                <a:lnTo>
                  <a:pt x="8134" y="346"/>
                </a:lnTo>
                <a:lnTo>
                  <a:pt x="8136" y="344"/>
                </a:lnTo>
                <a:lnTo>
                  <a:pt x="8136" y="340"/>
                </a:lnTo>
                <a:lnTo>
                  <a:pt x="8134" y="338"/>
                </a:lnTo>
                <a:lnTo>
                  <a:pt x="8130" y="338"/>
                </a:lnTo>
                <a:lnTo>
                  <a:pt x="8116" y="340"/>
                </a:lnTo>
                <a:close/>
                <a:moveTo>
                  <a:pt x="8170" y="368"/>
                </a:moveTo>
                <a:lnTo>
                  <a:pt x="8170" y="368"/>
                </a:lnTo>
                <a:lnTo>
                  <a:pt x="8178" y="366"/>
                </a:lnTo>
                <a:lnTo>
                  <a:pt x="8182" y="364"/>
                </a:lnTo>
                <a:lnTo>
                  <a:pt x="8180" y="360"/>
                </a:lnTo>
                <a:lnTo>
                  <a:pt x="8176" y="356"/>
                </a:lnTo>
                <a:lnTo>
                  <a:pt x="8168" y="354"/>
                </a:lnTo>
                <a:lnTo>
                  <a:pt x="8158" y="352"/>
                </a:lnTo>
                <a:lnTo>
                  <a:pt x="8148" y="352"/>
                </a:lnTo>
                <a:lnTo>
                  <a:pt x="8138" y="356"/>
                </a:lnTo>
                <a:lnTo>
                  <a:pt x="8132" y="360"/>
                </a:lnTo>
                <a:lnTo>
                  <a:pt x="8128" y="362"/>
                </a:lnTo>
                <a:lnTo>
                  <a:pt x="8130" y="364"/>
                </a:lnTo>
                <a:lnTo>
                  <a:pt x="8134" y="366"/>
                </a:lnTo>
                <a:lnTo>
                  <a:pt x="8148" y="366"/>
                </a:lnTo>
                <a:lnTo>
                  <a:pt x="8170" y="368"/>
                </a:lnTo>
                <a:close/>
                <a:moveTo>
                  <a:pt x="8394" y="332"/>
                </a:moveTo>
                <a:lnTo>
                  <a:pt x="8394" y="332"/>
                </a:lnTo>
                <a:lnTo>
                  <a:pt x="8382" y="332"/>
                </a:lnTo>
                <a:lnTo>
                  <a:pt x="8370" y="332"/>
                </a:lnTo>
                <a:lnTo>
                  <a:pt x="8366" y="332"/>
                </a:lnTo>
                <a:lnTo>
                  <a:pt x="8360" y="336"/>
                </a:lnTo>
                <a:lnTo>
                  <a:pt x="8358" y="340"/>
                </a:lnTo>
                <a:lnTo>
                  <a:pt x="8354" y="346"/>
                </a:lnTo>
                <a:lnTo>
                  <a:pt x="8354" y="352"/>
                </a:lnTo>
                <a:lnTo>
                  <a:pt x="8356" y="356"/>
                </a:lnTo>
                <a:lnTo>
                  <a:pt x="8360" y="358"/>
                </a:lnTo>
                <a:lnTo>
                  <a:pt x="8366" y="358"/>
                </a:lnTo>
                <a:lnTo>
                  <a:pt x="8382" y="356"/>
                </a:lnTo>
                <a:lnTo>
                  <a:pt x="8400" y="356"/>
                </a:lnTo>
                <a:lnTo>
                  <a:pt x="8408" y="356"/>
                </a:lnTo>
                <a:lnTo>
                  <a:pt x="8412" y="354"/>
                </a:lnTo>
                <a:lnTo>
                  <a:pt x="8414" y="348"/>
                </a:lnTo>
                <a:lnTo>
                  <a:pt x="8412" y="344"/>
                </a:lnTo>
                <a:lnTo>
                  <a:pt x="8410" y="338"/>
                </a:lnTo>
                <a:lnTo>
                  <a:pt x="8406" y="334"/>
                </a:lnTo>
                <a:lnTo>
                  <a:pt x="8400" y="332"/>
                </a:lnTo>
                <a:lnTo>
                  <a:pt x="8394" y="332"/>
                </a:lnTo>
                <a:close/>
                <a:moveTo>
                  <a:pt x="8414" y="336"/>
                </a:moveTo>
                <a:lnTo>
                  <a:pt x="8414" y="336"/>
                </a:lnTo>
                <a:lnTo>
                  <a:pt x="8420" y="344"/>
                </a:lnTo>
                <a:lnTo>
                  <a:pt x="8428" y="348"/>
                </a:lnTo>
                <a:lnTo>
                  <a:pt x="8440" y="352"/>
                </a:lnTo>
                <a:lnTo>
                  <a:pt x="8446" y="354"/>
                </a:lnTo>
                <a:lnTo>
                  <a:pt x="8450" y="352"/>
                </a:lnTo>
                <a:lnTo>
                  <a:pt x="8452" y="350"/>
                </a:lnTo>
                <a:lnTo>
                  <a:pt x="8452" y="346"/>
                </a:lnTo>
                <a:lnTo>
                  <a:pt x="8454" y="342"/>
                </a:lnTo>
                <a:lnTo>
                  <a:pt x="8456" y="338"/>
                </a:lnTo>
                <a:lnTo>
                  <a:pt x="8462" y="336"/>
                </a:lnTo>
                <a:lnTo>
                  <a:pt x="8470" y="336"/>
                </a:lnTo>
                <a:lnTo>
                  <a:pt x="8488" y="334"/>
                </a:lnTo>
                <a:lnTo>
                  <a:pt x="8492" y="332"/>
                </a:lnTo>
                <a:lnTo>
                  <a:pt x="8494" y="330"/>
                </a:lnTo>
                <a:lnTo>
                  <a:pt x="8492" y="328"/>
                </a:lnTo>
                <a:lnTo>
                  <a:pt x="8488" y="326"/>
                </a:lnTo>
                <a:lnTo>
                  <a:pt x="8468" y="322"/>
                </a:lnTo>
                <a:lnTo>
                  <a:pt x="8444" y="320"/>
                </a:lnTo>
                <a:lnTo>
                  <a:pt x="8422" y="320"/>
                </a:lnTo>
                <a:lnTo>
                  <a:pt x="8414" y="322"/>
                </a:lnTo>
                <a:lnTo>
                  <a:pt x="8410" y="326"/>
                </a:lnTo>
                <a:lnTo>
                  <a:pt x="8410" y="330"/>
                </a:lnTo>
                <a:lnTo>
                  <a:pt x="8414" y="336"/>
                </a:lnTo>
                <a:close/>
                <a:moveTo>
                  <a:pt x="8486" y="354"/>
                </a:moveTo>
                <a:lnTo>
                  <a:pt x="8486" y="354"/>
                </a:lnTo>
                <a:lnTo>
                  <a:pt x="8476" y="356"/>
                </a:lnTo>
                <a:lnTo>
                  <a:pt x="8474" y="360"/>
                </a:lnTo>
                <a:lnTo>
                  <a:pt x="8476" y="362"/>
                </a:lnTo>
                <a:lnTo>
                  <a:pt x="8480" y="362"/>
                </a:lnTo>
                <a:lnTo>
                  <a:pt x="8498" y="364"/>
                </a:lnTo>
                <a:lnTo>
                  <a:pt x="8516" y="362"/>
                </a:lnTo>
                <a:lnTo>
                  <a:pt x="8524" y="362"/>
                </a:lnTo>
                <a:lnTo>
                  <a:pt x="8526" y="360"/>
                </a:lnTo>
                <a:lnTo>
                  <a:pt x="8524" y="356"/>
                </a:lnTo>
                <a:lnTo>
                  <a:pt x="8522" y="354"/>
                </a:lnTo>
                <a:lnTo>
                  <a:pt x="8506" y="352"/>
                </a:lnTo>
                <a:lnTo>
                  <a:pt x="8498" y="352"/>
                </a:lnTo>
                <a:lnTo>
                  <a:pt x="8488" y="352"/>
                </a:lnTo>
                <a:lnTo>
                  <a:pt x="8486" y="354"/>
                </a:lnTo>
                <a:close/>
                <a:moveTo>
                  <a:pt x="8458" y="244"/>
                </a:moveTo>
                <a:lnTo>
                  <a:pt x="8458" y="244"/>
                </a:lnTo>
                <a:lnTo>
                  <a:pt x="8468" y="244"/>
                </a:lnTo>
                <a:lnTo>
                  <a:pt x="8470" y="242"/>
                </a:lnTo>
                <a:lnTo>
                  <a:pt x="8468" y="242"/>
                </a:lnTo>
                <a:lnTo>
                  <a:pt x="8460" y="238"/>
                </a:lnTo>
                <a:lnTo>
                  <a:pt x="8444" y="232"/>
                </a:lnTo>
                <a:lnTo>
                  <a:pt x="8432" y="228"/>
                </a:lnTo>
                <a:lnTo>
                  <a:pt x="8424" y="228"/>
                </a:lnTo>
                <a:lnTo>
                  <a:pt x="8416" y="230"/>
                </a:lnTo>
                <a:lnTo>
                  <a:pt x="8406" y="234"/>
                </a:lnTo>
                <a:lnTo>
                  <a:pt x="8398" y="238"/>
                </a:lnTo>
                <a:lnTo>
                  <a:pt x="8396" y="240"/>
                </a:lnTo>
                <a:lnTo>
                  <a:pt x="8400" y="240"/>
                </a:lnTo>
                <a:lnTo>
                  <a:pt x="8408" y="240"/>
                </a:lnTo>
                <a:lnTo>
                  <a:pt x="8430" y="242"/>
                </a:lnTo>
                <a:lnTo>
                  <a:pt x="8458" y="244"/>
                </a:lnTo>
                <a:close/>
                <a:moveTo>
                  <a:pt x="8344" y="256"/>
                </a:moveTo>
                <a:lnTo>
                  <a:pt x="8344" y="256"/>
                </a:lnTo>
                <a:lnTo>
                  <a:pt x="8348" y="258"/>
                </a:lnTo>
                <a:lnTo>
                  <a:pt x="8352" y="258"/>
                </a:lnTo>
                <a:lnTo>
                  <a:pt x="8360" y="256"/>
                </a:lnTo>
                <a:lnTo>
                  <a:pt x="8368" y="256"/>
                </a:lnTo>
                <a:lnTo>
                  <a:pt x="8374" y="258"/>
                </a:lnTo>
                <a:lnTo>
                  <a:pt x="8380" y="260"/>
                </a:lnTo>
                <a:lnTo>
                  <a:pt x="8384" y="262"/>
                </a:lnTo>
                <a:lnTo>
                  <a:pt x="8388" y="262"/>
                </a:lnTo>
                <a:lnTo>
                  <a:pt x="8398" y="260"/>
                </a:lnTo>
                <a:lnTo>
                  <a:pt x="8412" y="256"/>
                </a:lnTo>
                <a:lnTo>
                  <a:pt x="8436" y="252"/>
                </a:lnTo>
                <a:lnTo>
                  <a:pt x="8440" y="252"/>
                </a:lnTo>
                <a:lnTo>
                  <a:pt x="8440" y="250"/>
                </a:lnTo>
                <a:lnTo>
                  <a:pt x="8428" y="248"/>
                </a:lnTo>
                <a:lnTo>
                  <a:pt x="8386" y="242"/>
                </a:lnTo>
                <a:lnTo>
                  <a:pt x="8380" y="242"/>
                </a:lnTo>
                <a:lnTo>
                  <a:pt x="8376" y="244"/>
                </a:lnTo>
                <a:lnTo>
                  <a:pt x="8376" y="246"/>
                </a:lnTo>
                <a:lnTo>
                  <a:pt x="8378" y="248"/>
                </a:lnTo>
                <a:lnTo>
                  <a:pt x="8382" y="252"/>
                </a:lnTo>
                <a:lnTo>
                  <a:pt x="8380" y="252"/>
                </a:lnTo>
                <a:lnTo>
                  <a:pt x="8376" y="252"/>
                </a:lnTo>
                <a:lnTo>
                  <a:pt x="8350" y="252"/>
                </a:lnTo>
                <a:lnTo>
                  <a:pt x="8342" y="254"/>
                </a:lnTo>
                <a:lnTo>
                  <a:pt x="8344" y="256"/>
                </a:lnTo>
                <a:close/>
                <a:moveTo>
                  <a:pt x="8442" y="270"/>
                </a:moveTo>
                <a:lnTo>
                  <a:pt x="8442" y="270"/>
                </a:lnTo>
                <a:lnTo>
                  <a:pt x="8442" y="272"/>
                </a:lnTo>
                <a:lnTo>
                  <a:pt x="8450" y="276"/>
                </a:lnTo>
                <a:lnTo>
                  <a:pt x="8462" y="278"/>
                </a:lnTo>
                <a:lnTo>
                  <a:pt x="8472" y="278"/>
                </a:lnTo>
                <a:lnTo>
                  <a:pt x="8474" y="278"/>
                </a:lnTo>
                <a:lnTo>
                  <a:pt x="8472" y="276"/>
                </a:lnTo>
                <a:lnTo>
                  <a:pt x="8464" y="270"/>
                </a:lnTo>
                <a:lnTo>
                  <a:pt x="8452" y="268"/>
                </a:lnTo>
                <a:lnTo>
                  <a:pt x="8446" y="268"/>
                </a:lnTo>
                <a:lnTo>
                  <a:pt x="8442" y="270"/>
                </a:lnTo>
                <a:close/>
                <a:moveTo>
                  <a:pt x="8478" y="296"/>
                </a:moveTo>
                <a:lnTo>
                  <a:pt x="8478" y="296"/>
                </a:lnTo>
                <a:lnTo>
                  <a:pt x="8484" y="294"/>
                </a:lnTo>
                <a:lnTo>
                  <a:pt x="8486" y="290"/>
                </a:lnTo>
                <a:lnTo>
                  <a:pt x="8486" y="288"/>
                </a:lnTo>
                <a:lnTo>
                  <a:pt x="8484" y="286"/>
                </a:lnTo>
                <a:lnTo>
                  <a:pt x="8480" y="286"/>
                </a:lnTo>
                <a:lnTo>
                  <a:pt x="8472" y="286"/>
                </a:lnTo>
                <a:lnTo>
                  <a:pt x="8462" y="286"/>
                </a:lnTo>
                <a:lnTo>
                  <a:pt x="8450" y="290"/>
                </a:lnTo>
                <a:lnTo>
                  <a:pt x="8444" y="292"/>
                </a:lnTo>
                <a:lnTo>
                  <a:pt x="8444" y="294"/>
                </a:lnTo>
                <a:lnTo>
                  <a:pt x="8450" y="294"/>
                </a:lnTo>
                <a:lnTo>
                  <a:pt x="8464" y="296"/>
                </a:lnTo>
                <a:lnTo>
                  <a:pt x="8478" y="296"/>
                </a:lnTo>
                <a:close/>
                <a:moveTo>
                  <a:pt x="8372" y="268"/>
                </a:moveTo>
                <a:lnTo>
                  <a:pt x="8372" y="268"/>
                </a:lnTo>
                <a:lnTo>
                  <a:pt x="8370" y="268"/>
                </a:lnTo>
                <a:lnTo>
                  <a:pt x="8372" y="270"/>
                </a:lnTo>
                <a:lnTo>
                  <a:pt x="8378" y="272"/>
                </a:lnTo>
                <a:lnTo>
                  <a:pt x="8388" y="274"/>
                </a:lnTo>
                <a:lnTo>
                  <a:pt x="8400" y="278"/>
                </a:lnTo>
                <a:lnTo>
                  <a:pt x="8416" y="284"/>
                </a:lnTo>
                <a:lnTo>
                  <a:pt x="8426" y="286"/>
                </a:lnTo>
                <a:lnTo>
                  <a:pt x="8444" y="286"/>
                </a:lnTo>
                <a:lnTo>
                  <a:pt x="8456" y="284"/>
                </a:lnTo>
                <a:lnTo>
                  <a:pt x="8458" y="284"/>
                </a:lnTo>
                <a:lnTo>
                  <a:pt x="8456" y="282"/>
                </a:lnTo>
                <a:lnTo>
                  <a:pt x="8432" y="276"/>
                </a:lnTo>
                <a:lnTo>
                  <a:pt x="8418" y="272"/>
                </a:lnTo>
                <a:lnTo>
                  <a:pt x="8400" y="268"/>
                </a:lnTo>
                <a:lnTo>
                  <a:pt x="8384" y="268"/>
                </a:lnTo>
                <a:lnTo>
                  <a:pt x="8372" y="268"/>
                </a:lnTo>
                <a:close/>
                <a:moveTo>
                  <a:pt x="8332" y="280"/>
                </a:moveTo>
                <a:lnTo>
                  <a:pt x="8332" y="280"/>
                </a:lnTo>
                <a:lnTo>
                  <a:pt x="8338" y="282"/>
                </a:lnTo>
                <a:lnTo>
                  <a:pt x="8344" y="284"/>
                </a:lnTo>
                <a:lnTo>
                  <a:pt x="8364" y="288"/>
                </a:lnTo>
                <a:lnTo>
                  <a:pt x="8390" y="294"/>
                </a:lnTo>
                <a:lnTo>
                  <a:pt x="8404" y="298"/>
                </a:lnTo>
                <a:lnTo>
                  <a:pt x="8412" y="302"/>
                </a:lnTo>
                <a:lnTo>
                  <a:pt x="8424" y="300"/>
                </a:lnTo>
                <a:lnTo>
                  <a:pt x="8432" y="296"/>
                </a:lnTo>
                <a:lnTo>
                  <a:pt x="8434" y="294"/>
                </a:lnTo>
                <a:lnTo>
                  <a:pt x="8432" y="294"/>
                </a:lnTo>
                <a:lnTo>
                  <a:pt x="8410" y="286"/>
                </a:lnTo>
                <a:lnTo>
                  <a:pt x="8380" y="276"/>
                </a:lnTo>
                <a:lnTo>
                  <a:pt x="8366" y="274"/>
                </a:lnTo>
                <a:lnTo>
                  <a:pt x="8354" y="274"/>
                </a:lnTo>
                <a:lnTo>
                  <a:pt x="8348" y="274"/>
                </a:lnTo>
                <a:lnTo>
                  <a:pt x="8340" y="274"/>
                </a:lnTo>
                <a:lnTo>
                  <a:pt x="8326" y="268"/>
                </a:lnTo>
                <a:lnTo>
                  <a:pt x="8320" y="266"/>
                </a:lnTo>
                <a:lnTo>
                  <a:pt x="8314" y="266"/>
                </a:lnTo>
                <a:lnTo>
                  <a:pt x="8308" y="268"/>
                </a:lnTo>
                <a:lnTo>
                  <a:pt x="8302" y="272"/>
                </a:lnTo>
                <a:lnTo>
                  <a:pt x="8300" y="274"/>
                </a:lnTo>
                <a:lnTo>
                  <a:pt x="8302" y="276"/>
                </a:lnTo>
                <a:lnTo>
                  <a:pt x="8308" y="278"/>
                </a:lnTo>
                <a:lnTo>
                  <a:pt x="8320" y="278"/>
                </a:lnTo>
                <a:lnTo>
                  <a:pt x="8332" y="280"/>
                </a:lnTo>
                <a:close/>
                <a:moveTo>
                  <a:pt x="8304" y="294"/>
                </a:moveTo>
                <a:lnTo>
                  <a:pt x="8304" y="294"/>
                </a:lnTo>
                <a:lnTo>
                  <a:pt x="8312" y="296"/>
                </a:lnTo>
                <a:lnTo>
                  <a:pt x="8316" y="298"/>
                </a:lnTo>
                <a:lnTo>
                  <a:pt x="8320" y="300"/>
                </a:lnTo>
                <a:lnTo>
                  <a:pt x="8328" y="298"/>
                </a:lnTo>
                <a:lnTo>
                  <a:pt x="8340" y="296"/>
                </a:lnTo>
                <a:lnTo>
                  <a:pt x="8352" y="296"/>
                </a:lnTo>
                <a:lnTo>
                  <a:pt x="8360" y="294"/>
                </a:lnTo>
                <a:lnTo>
                  <a:pt x="8358" y="294"/>
                </a:lnTo>
                <a:lnTo>
                  <a:pt x="8340" y="288"/>
                </a:lnTo>
                <a:lnTo>
                  <a:pt x="8330" y="286"/>
                </a:lnTo>
                <a:lnTo>
                  <a:pt x="8324" y="286"/>
                </a:lnTo>
                <a:lnTo>
                  <a:pt x="8320" y="288"/>
                </a:lnTo>
                <a:lnTo>
                  <a:pt x="8318" y="290"/>
                </a:lnTo>
                <a:lnTo>
                  <a:pt x="8312" y="290"/>
                </a:lnTo>
                <a:lnTo>
                  <a:pt x="8302" y="286"/>
                </a:lnTo>
                <a:lnTo>
                  <a:pt x="8292" y="286"/>
                </a:lnTo>
                <a:lnTo>
                  <a:pt x="8288" y="288"/>
                </a:lnTo>
                <a:lnTo>
                  <a:pt x="8284" y="292"/>
                </a:lnTo>
                <a:lnTo>
                  <a:pt x="8282" y="294"/>
                </a:lnTo>
                <a:lnTo>
                  <a:pt x="8286" y="294"/>
                </a:lnTo>
                <a:lnTo>
                  <a:pt x="8304" y="294"/>
                </a:lnTo>
                <a:close/>
                <a:moveTo>
                  <a:pt x="8370" y="298"/>
                </a:moveTo>
                <a:lnTo>
                  <a:pt x="8370" y="298"/>
                </a:lnTo>
                <a:lnTo>
                  <a:pt x="8350" y="300"/>
                </a:lnTo>
                <a:lnTo>
                  <a:pt x="8346" y="302"/>
                </a:lnTo>
                <a:lnTo>
                  <a:pt x="8350" y="306"/>
                </a:lnTo>
                <a:lnTo>
                  <a:pt x="8358" y="308"/>
                </a:lnTo>
                <a:lnTo>
                  <a:pt x="8372" y="308"/>
                </a:lnTo>
                <a:lnTo>
                  <a:pt x="8398" y="306"/>
                </a:lnTo>
                <a:lnTo>
                  <a:pt x="8402" y="304"/>
                </a:lnTo>
                <a:lnTo>
                  <a:pt x="8404" y="304"/>
                </a:lnTo>
                <a:lnTo>
                  <a:pt x="8398" y="300"/>
                </a:lnTo>
                <a:lnTo>
                  <a:pt x="8384" y="298"/>
                </a:lnTo>
                <a:lnTo>
                  <a:pt x="8370" y="298"/>
                </a:lnTo>
                <a:close/>
                <a:moveTo>
                  <a:pt x="8432" y="314"/>
                </a:moveTo>
                <a:lnTo>
                  <a:pt x="8432" y="314"/>
                </a:lnTo>
                <a:lnTo>
                  <a:pt x="8442" y="314"/>
                </a:lnTo>
                <a:lnTo>
                  <a:pt x="8446" y="314"/>
                </a:lnTo>
                <a:lnTo>
                  <a:pt x="8448" y="312"/>
                </a:lnTo>
                <a:lnTo>
                  <a:pt x="8448" y="310"/>
                </a:lnTo>
                <a:lnTo>
                  <a:pt x="8448" y="308"/>
                </a:lnTo>
                <a:lnTo>
                  <a:pt x="8442" y="306"/>
                </a:lnTo>
                <a:lnTo>
                  <a:pt x="8430" y="306"/>
                </a:lnTo>
                <a:lnTo>
                  <a:pt x="8420" y="308"/>
                </a:lnTo>
                <a:lnTo>
                  <a:pt x="8418" y="308"/>
                </a:lnTo>
                <a:lnTo>
                  <a:pt x="8420" y="310"/>
                </a:lnTo>
                <a:lnTo>
                  <a:pt x="8424" y="312"/>
                </a:lnTo>
                <a:lnTo>
                  <a:pt x="8432" y="314"/>
                </a:lnTo>
                <a:close/>
                <a:moveTo>
                  <a:pt x="8294" y="324"/>
                </a:moveTo>
                <a:lnTo>
                  <a:pt x="8294" y="324"/>
                </a:lnTo>
                <a:lnTo>
                  <a:pt x="8304" y="322"/>
                </a:lnTo>
                <a:lnTo>
                  <a:pt x="8304" y="320"/>
                </a:lnTo>
                <a:lnTo>
                  <a:pt x="8302" y="316"/>
                </a:lnTo>
                <a:lnTo>
                  <a:pt x="8296" y="312"/>
                </a:lnTo>
                <a:lnTo>
                  <a:pt x="8290" y="310"/>
                </a:lnTo>
                <a:lnTo>
                  <a:pt x="8284" y="308"/>
                </a:lnTo>
                <a:lnTo>
                  <a:pt x="8280" y="310"/>
                </a:lnTo>
                <a:lnTo>
                  <a:pt x="8278" y="312"/>
                </a:lnTo>
                <a:lnTo>
                  <a:pt x="8280" y="314"/>
                </a:lnTo>
                <a:lnTo>
                  <a:pt x="8282" y="314"/>
                </a:lnTo>
                <a:lnTo>
                  <a:pt x="8280" y="316"/>
                </a:lnTo>
                <a:lnTo>
                  <a:pt x="8278" y="320"/>
                </a:lnTo>
                <a:lnTo>
                  <a:pt x="8278" y="322"/>
                </a:lnTo>
                <a:lnTo>
                  <a:pt x="8280" y="322"/>
                </a:lnTo>
                <a:lnTo>
                  <a:pt x="8294" y="324"/>
                </a:lnTo>
                <a:close/>
                <a:moveTo>
                  <a:pt x="11820" y="2336"/>
                </a:moveTo>
                <a:lnTo>
                  <a:pt x="11820" y="2336"/>
                </a:lnTo>
                <a:lnTo>
                  <a:pt x="11820" y="2338"/>
                </a:lnTo>
                <a:lnTo>
                  <a:pt x="11824" y="2342"/>
                </a:lnTo>
                <a:lnTo>
                  <a:pt x="11830" y="2348"/>
                </a:lnTo>
                <a:lnTo>
                  <a:pt x="11838" y="2360"/>
                </a:lnTo>
                <a:lnTo>
                  <a:pt x="11840" y="2368"/>
                </a:lnTo>
                <a:lnTo>
                  <a:pt x="11840" y="2374"/>
                </a:lnTo>
                <a:lnTo>
                  <a:pt x="11838" y="2386"/>
                </a:lnTo>
                <a:lnTo>
                  <a:pt x="11832" y="2398"/>
                </a:lnTo>
                <a:lnTo>
                  <a:pt x="11832" y="2404"/>
                </a:lnTo>
                <a:lnTo>
                  <a:pt x="11834" y="2412"/>
                </a:lnTo>
                <a:lnTo>
                  <a:pt x="11836" y="2422"/>
                </a:lnTo>
                <a:lnTo>
                  <a:pt x="11836" y="2436"/>
                </a:lnTo>
                <a:lnTo>
                  <a:pt x="11836" y="2466"/>
                </a:lnTo>
                <a:lnTo>
                  <a:pt x="11832" y="2492"/>
                </a:lnTo>
                <a:lnTo>
                  <a:pt x="11828" y="2504"/>
                </a:lnTo>
                <a:lnTo>
                  <a:pt x="11826" y="2510"/>
                </a:lnTo>
                <a:lnTo>
                  <a:pt x="11824" y="2514"/>
                </a:lnTo>
                <a:lnTo>
                  <a:pt x="11826" y="2520"/>
                </a:lnTo>
                <a:lnTo>
                  <a:pt x="11832" y="2530"/>
                </a:lnTo>
                <a:lnTo>
                  <a:pt x="11834" y="2536"/>
                </a:lnTo>
                <a:lnTo>
                  <a:pt x="11836" y="2544"/>
                </a:lnTo>
                <a:lnTo>
                  <a:pt x="11836" y="2554"/>
                </a:lnTo>
                <a:lnTo>
                  <a:pt x="11830" y="2568"/>
                </a:lnTo>
                <a:lnTo>
                  <a:pt x="11828" y="2578"/>
                </a:lnTo>
                <a:lnTo>
                  <a:pt x="11828" y="2586"/>
                </a:lnTo>
                <a:lnTo>
                  <a:pt x="11830" y="2600"/>
                </a:lnTo>
                <a:lnTo>
                  <a:pt x="11832" y="2612"/>
                </a:lnTo>
                <a:lnTo>
                  <a:pt x="11832" y="2618"/>
                </a:lnTo>
                <a:lnTo>
                  <a:pt x="11830" y="2624"/>
                </a:lnTo>
                <a:lnTo>
                  <a:pt x="11824" y="2634"/>
                </a:lnTo>
                <a:lnTo>
                  <a:pt x="11822" y="2644"/>
                </a:lnTo>
                <a:lnTo>
                  <a:pt x="11824" y="2654"/>
                </a:lnTo>
                <a:lnTo>
                  <a:pt x="11828" y="2666"/>
                </a:lnTo>
                <a:lnTo>
                  <a:pt x="11830" y="2678"/>
                </a:lnTo>
                <a:lnTo>
                  <a:pt x="11832" y="2678"/>
                </a:lnTo>
                <a:lnTo>
                  <a:pt x="11834" y="2676"/>
                </a:lnTo>
                <a:lnTo>
                  <a:pt x="11838" y="2668"/>
                </a:lnTo>
                <a:lnTo>
                  <a:pt x="11842" y="2654"/>
                </a:lnTo>
                <a:lnTo>
                  <a:pt x="11846" y="2642"/>
                </a:lnTo>
                <a:lnTo>
                  <a:pt x="11852" y="2632"/>
                </a:lnTo>
                <a:lnTo>
                  <a:pt x="11854" y="2630"/>
                </a:lnTo>
                <a:lnTo>
                  <a:pt x="11856" y="2630"/>
                </a:lnTo>
                <a:lnTo>
                  <a:pt x="11860" y="2634"/>
                </a:lnTo>
                <a:lnTo>
                  <a:pt x="11864" y="2638"/>
                </a:lnTo>
                <a:lnTo>
                  <a:pt x="11868" y="2638"/>
                </a:lnTo>
                <a:lnTo>
                  <a:pt x="11874" y="2638"/>
                </a:lnTo>
                <a:lnTo>
                  <a:pt x="11880" y="2638"/>
                </a:lnTo>
                <a:lnTo>
                  <a:pt x="11882" y="2642"/>
                </a:lnTo>
                <a:lnTo>
                  <a:pt x="11884" y="2646"/>
                </a:lnTo>
                <a:lnTo>
                  <a:pt x="11886" y="2656"/>
                </a:lnTo>
                <a:lnTo>
                  <a:pt x="11888" y="2664"/>
                </a:lnTo>
                <a:lnTo>
                  <a:pt x="11888" y="2666"/>
                </a:lnTo>
                <a:lnTo>
                  <a:pt x="11890" y="2664"/>
                </a:lnTo>
                <a:lnTo>
                  <a:pt x="11894" y="2652"/>
                </a:lnTo>
                <a:lnTo>
                  <a:pt x="11894" y="2648"/>
                </a:lnTo>
                <a:lnTo>
                  <a:pt x="11892" y="2642"/>
                </a:lnTo>
                <a:lnTo>
                  <a:pt x="11892" y="2634"/>
                </a:lnTo>
                <a:lnTo>
                  <a:pt x="11892" y="2626"/>
                </a:lnTo>
                <a:lnTo>
                  <a:pt x="11890" y="2624"/>
                </a:lnTo>
                <a:lnTo>
                  <a:pt x="11888" y="2626"/>
                </a:lnTo>
                <a:lnTo>
                  <a:pt x="11882" y="2624"/>
                </a:lnTo>
                <a:lnTo>
                  <a:pt x="11878" y="2622"/>
                </a:lnTo>
                <a:lnTo>
                  <a:pt x="11876" y="2618"/>
                </a:lnTo>
                <a:lnTo>
                  <a:pt x="11872" y="2610"/>
                </a:lnTo>
                <a:lnTo>
                  <a:pt x="11868" y="2598"/>
                </a:lnTo>
                <a:lnTo>
                  <a:pt x="11864" y="2594"/>
                </a:lnTo>
                <a:lnTo>
                  <a:pt x="11860" y="2588"/>
                </a:lnTo>
                <a:lnTo>
                  <a:pt x="11856" y="2582"/>
                </a:lnTo>
                <a:lnTo>
                  <a:pt x="11852" y="2572"/>
                </a:lnTo>
                <a:lnTo>
                  <a:pt x="11852" y="2562"/>
                </a:lnTo>
                <a:lnTo>
                  <a:pt x="11854" y="2550"/>
                </a:lnTo>
                <a:lnTo>
                  <a:pt x="11860" y="2528"/>
                </a:lnTo>
                <a:lnTo>
                  <a:pt x="11866" y="2512"/>
                </a:lnTo>
                <a:lnTo>
                  <a:pt x="11870" y="2508"/>
                </a:lnTo>
                <a:lnTo>
                  <a:pt x="11870" y="2502"/>
                </a:lnTo>
                <a:lnTo>
                  <a:pt x="11870" y="2494"/>
                </a:lnTo>
                <a:lnTo>
                  <a:pt x="11872" y="2490"/>
                </a:lnTo>
                <a:lnTo>
                  <a:pt x="11874" y="2486"/>
                </a:lnTo>
                <a:lnTo>
                  <a:pt x="11876" y="2484"/>
                </a:lnTo>
                <a:lnTo>
                  <a:pt x="11882" y="2482"/>
                </a:lnTo>
                <a:lnTo>
                  <a:pt x="11892" y="2480"/>
                </a:lnTo>
                <a:lnTo>
                  <a:pt x="11902" y="2480"/>
                </a:lnTo>
                <a:lnTo>
                  <a:pt x="11914" y="2484"/>
                </a:lnTo>
                <a:lnTo>
                  <a:pt x="11924" y="2494"/>
                </a:lnTo>
                <a:lnTo>
                  <a:pt x="11938" y="2512"/>
                </a:lnTo>
                <a:lnTo>
                  <a:pt x="11940" y="2516"/>
                </a:lnTo>
                <a:lnTo>
                  <a:pt x="11940" y="2510"/>
                </a:lnTo>
                <a:lnTo>
                  <a:pt x="11936" y="2502"/>
                </a:lnTo>
                <a:lnTo>
                  <a:pt x="11930" y="2492"/>
                </a:lnTo>
                <a:lnTo>
                  <a:pt x="11922" y="2482"/>
                </a:lnTo>
                <a:lnTo>
                  <a:pt x="11920" y="2476"/>
                </a:lnTo>
                <a:lnTo>
                  <a:pt x="11920" y="2468"/>
                </a:lnTo>
                <a:lnTo>
                  <a:pt x="11914" y="2450"/>
                </a:lnTo>
                <a:lnTo>
                  <a:pt x="11908" y="2432"/>
                </a:lnTo>
                <a:lnTo>
                  <a:pt x="11902" y="2414"/>
                </a:lnTo>
                <a:lnTo>
                  <a:pt x="11898" y="2404"/>
                </a:lnTo>
                <a:lnTo>
                  <a:pt x="11898" y="2396"/>
                </a:lnTo>
                <a:lnTo>
                  <a:pt x="11896" y="2380"/>
                </a:lnTo>
                <a:lnTo>
                  <a:pt x="11892" y="2368"/>
                </a:lnTo>
                <a:lnTo>
                  <a:pt x="11890" y="2356"/>
                </a:lnTo>
                <a:lnTo>
                  <a:pt x="11888" y="2346"/>
                </a:lnTo>
                <a:lnTo>
                  <a:pt x="11886" y="2344"/>
                </a:lnTo>
                <a:lnTo>
                  <a:pt x="11886" y="2342"/>
                </a:lnTo>
                <a:lnTo>
                  <a:pt x="11882" y="2344"/>
                </a:lnTo>
                <a:lnTo>
                  <a:pt x="11882" y="2346"/>
                </a:lnTo>
                <a:lnTo>
                  <a:pt x="11882" y="2344"/>
                </a:lnTo>
                <a:lnTo>
                  <a:pt x="11882" y="2336"/>
                </a:lnTo>
                <a:lnTo>
                  <a:pt x="11882" y="2328"/>
                </a:lnTo>
                <a:lnTo>
                  <a:pt x="11882" y="2326"/>
                </a:lnTo>
                <a:lnTo>
                  <a:pt x="11882" y="2328"/>
                </a:lnTo>
                <a:lnTo>
                  <a:pt x="11880" y="2328"/>
                </a:lnTo>
                <a:lnTo>
                  <a:pt x="11876" y="2322"/>
                </a:lnTo>
                <a:lnTo>
                  <a:pt x="11876" y="2314"/>
                </a:lnTo>
                <a:lnTo>
                  <a:pt x="11876" y="2308"/>
                </a:lnTo>
                <a:lnTo>
                  <a:pt x="11880" y="2296"/>
                </a:lnTo>
                <a:lnTo>
                  <a:pt x="11884" y="2290"/>
                </a:lnTo>
                <a:lnTo>
                  <a:pt x="11884" y="2282"/>
                </a:lnTo>
                <a:lnTo>
                  <a:pt x="11884" y="2270"/>
                </a:lnTo>
                <a:lnTo>
                  <a:pt x="11882" y="2256"/>
                </a:lnTo>
                <a:lnTo>
                  <a:pt x="11878" y="2240"/>
                </a:lnTo>
                <a:lnTo>
                  <a:pt x="11876" y="2234"/>
                </a:lnTo>
                <a:lnTo>
                  <a:pt x="11876" y="2230"/>
                </a:lnTo>
                <a:lnTo>
                  <a:pt x="11876" y="2228"/>
                </a:lnTo>
                <a:lnTo>
                  <a:pt x="11874" y="2226"/>
                </a:lnTo>
                <a:lnTo>
                  <a:pt x="11872" y="2226"/>
                </a:lnTo>
                <a:lnTo>
                  <a:pt x="11872" y="2222"/>
                </a:lnTo>
                <a:lnTo>
                  <a:pt x="11870" y="2214"/>
                </a:lnTo>
                <a:lnTo>
                  <a:pt x="11868" y="2208"/>
                </a:lnTo>
                <a:lnTo>
                  <a:pt x="11866" y="2204"/>
                </a:lnTo>
                <a:lnTo>
                  <a:pt x="11868" y="2200"/>
                </a:lnTo>
                <a:lnTo>
                  <a:pt x="11872" y="2192"/>
                </a:lnTo>
                <a:lnTo>
                  <a:pt x="11870" y="2188"/>
                </a:lnTo>
                <a:lnTo>
                  <a:pt x="11866" y="2182"/>
                </a:lnTo>
                <a:lnTo>
                  <a:pt x="11862" y="2176"/>
                </a:lnTo>
                <a:lnTo>
                  <a:pt x="11860" y="2172"/>
                </a:lnTo>
                <a:lnTo>
                  <a:pt x="11858" y="2174"/>
                </a:lnTo>
                <a:lnTo>
                  <a:pt x="11854" y="2178"/>
                </a:lnTo>
                <a:lnTo>
                  <a:pt x="11852" y="2180"/>
                </a:lnTo>
                <a:lnTo>
                  <a:pt x="11846" y="2180"/>
                </a:lnTo>
                <a:lnTo>
                  <a:pt x="11844" y="2182"/>
                </a:lnTo>
                <a:lnTo>
                  <a:pt x="11842" y="2182"/>
                </a:lnTo>
                <a:lnTo>
                  <a:pt x="11848" y="2188"/>
                </a:lnTo>
                <a:lnTo>
                  <a:pt x="11854" y="2198"/>
                </a:lnTo>
                <a:lnTo>
                  <a:pt x="11858" y="2202"/>
                </a:lnTo>
                <a:lnTo>
                  <a:pt x="11858" y="2208"/>
                </a:lnTo>
                <a:lnTo>
                  <a:pt x="11856" y="2214"/>
                </a:lnTo>
                <a:lnTo>
                  <a:pt x="11854" y="2216"/>
                </a:lnTo>
                <a:lnTo>
                  <a:pt x="11850" y="2216"/>
                </a:lnTo>
                <a:lnTo>
                  <a:pt x="11850" y="2220"/>
                </a:lnTo>
                <a:lnTo>
                  <a:pt x="11848" y="2222"/>
                </a:lnTo>
                <a:lnTo>
                  <a:pt x="11850" y="2224"/>
                </a:lnTo>
                <a:lnTo>
                  <a:pt x="11854" y="2226"/>
                </a:lnTo>
                <a:lnTo>
                  <a:pt x="11854" y="2228"/>
                </a:lnTo>
                <a:lnTo>
                  <a:pt x="11850" y="2234"/>
                </a:lnTo>
                <a:lnTo>
                  <a:pt x="11846" y="2236"/>
                </a:lnTo>
                <a:lnTo>
                  <a:pt x="11844" y="2236"/>
                </a:lnTo>
                <a:lnTo>
                  <a:pt x="11842" y="2236"/>
                </a:lnTo>
                <a:lnTo>
                  <a:pt x="11840" y="2232"/>
                </a:lnTo>
                <a:lnTo>
                  <a:pt x="11840" y="2228"/>
                </a:lnTo>
                <a:lnTo>
                  <a:pt x="11838" y="2228"/>
                </a:lnTo>
                <a:lnTo>
                  <a:pt x="11834" y="2228"/>
                </a:lnTo>
                <a:lnTo>
                  <a:pt x="11828" y="2232"/>
                </a:lnTo>
                <a:lnTo>
                  <a:pt x="11824" y="2232"/>
                </a:lnTo>
                <a:lnTo>
                  <a:pt x="11822" y="2236"/>
                </a:lnTo>
                <a:lnTo>
                  <a:pt x="11822" y="2244"/>
                </a:lnTo>
                <a:lnTo>
                  <a:pt x="11826" y="2254"/>
                </a:lnTo>
                <a:lnTo>
                  <a:pt x="11826" y="2266"/>
                </a:lnTo>
                <a:lnTo>
                  <a:pt x="11824" y="2278"/>
                </a:lnTo>
                <a:lnTo>
                  <a:pt x="11820" y="2288"/>
                </a:lnTo>
                <a:lnTo>
                  <a:pt x="11816" y="2298"/>
                </a:lnTo>
                <a:lnTo>
                  <a:pt x="11816" y="2302"/>
                </a:lnTo>
                <a:lnTo>
                  <a:pt x="11818" y="2308"/>
                </a:lnTo>
                <a:lnTo>
                  <a:pt x="11816" y="2318"/>
                </a:lnTo>
                <a:lnTo>
                  <a:pt x="11816" y="2322"/>
                </a:lnTo>
                <a:lnTo>
                  <a:pt x="11816" y="2326"/>
                </a:lnTo>
                <a:lnTo>
                  <a:pt x="11818" y="2332"/>
                </a:lnTo>
                <a:lnTo>
                  <a:pt x="11822" y="2334"/>
                </a:lnTo>
                <a:lnTo>
                  <a:pt x="11820" y="2336"/>
                </a:lnTo>
                <a:close/>
                <a:moveTo>
                  <a:pt x="12398" y="2392"/>
                </a:moveTo>
                <a:lnTo>
                  <a:pt x="12398" y="2392"/>
                </a:lnTo>
                <a:lnTo>
                  <a:pt x="12396" y="2392"/>
                </a:lnTo>
                <a:lnTo>
                  <a:pt x="12394" y="2394"/>
                </a:lnTo>
                <a:lnTo>
                  <a:pt x="12392" y="2402"/>
                </a:lnTo>
                <a:lnTo>
                  <a:pt x="12388" y="2410"/>
                </a:lnTo>
                <a:lnTo>
                  <a:pt x="12384" y="2412"/>
                </a:lnTo>
                <a:lnTo>
                  <a:pt x="12380" y="2416"/>
                </a:lnTo>
                <a:lnTo>
                  <a:pt x="12372" y="2418"/>
                </a:lnTo>
                <a:lnTo>
                  <a:pt x="12366" y="2422"/>
                </a:lnTo>
                <a:lnTo>
                  <a:pt x="12364" y="2426"/>
                </a:lnTo>
                <a:lnTo>
                  <a:pt x="12364" y="2428"/>
                </a:lnTo>
                <a:lnTo>
                  <a:pt x="12366" y="2434"/>
                </a:lnTo>
                <a:lnTo>
                  <a:pt x="12368" y="2438"/>
                </a:lnTo>
                <a:lnTo>
                  <a:pt x="12370" y="2438"/>
                </a:lnTo>
                <a:lnTo>
                  <a:pt x="12374" y="2434"/>
                </a:lnTo>
                <a:lnTo>
                  <a:pt x="12378" y="2430"/>
                </a:lnTo>
                <a:lnTo>
                  <a:pt x="12382" y="2428"/>
                </a:lnTo>
                <a:lnTo>
                  <a:pt x="12388" y="2426"/>
                </a:lnTo>
                <a:lnTo>
                  <a:pt x="12392" y="2422"/>
                </a:lnTo>
                <a:lnTo>
                  <a:pt x="12396" y="2418"/>
                </a:lnTo>
                <a:lnTo>
                  <a:pt x="12400" y="2414"/>
                </a:lnTo>
                <a:lnTo>
                  <a:pt x="12402" y="2408"/>
                </a:lnTo>
                <a:lnTo>
                  <a:pt x="12402" y="2396"/>
                </a:lnTo>
                <a:lnTo>
                  <a:pt x="12400" y="2394"/>
                </a:lnTo>
                <a:lnTo>
                  <a:pt x="12398" y="2392"/>
                </a:lnTo>
                <a:close/>
                <a:moveTo>
                  <a:pt x="12802" y="2114"/>
                </a:moveTo>
                <a:lnTo>
                  <a:pt x="12802" y="2114"/>
                </a:lnTo>
                <a:lnTo>
                  <a:pt x="12798" y="2118"/>
                </a:lnTo>
                <a:lnTo>
                  <a:pt x="12798" y="2122"/>
                </a:lnTo>
                <a:lnTo>
                  <a:pt x="12800" y="2128"/>
                </a:lnTo>
                <a:lnTo>
                  <a:pt x="12804" y="2132"/>
                </a:lnTo>
                <a:lnTo>
                  <a:pt x="12814" y="2142"/>
                </a:lnTo>
                <a:lnTo>
                  <a:pt x="12826" y="2154"/>
                </a:lnTo>
                <a:lnTo>
                  <a:pt x="12830" y="2156"/>
                </a:lnTo>
                <a:lnTo>
                  <a:pt x="12830" y="2152"/>
                </a:lnTo>
                <a:lnTo>
                  <a:pt x="12828" y="2146"/>
                </a:lnTo>
                <a:lnTo>
                  <a:pt x="12824" y="2136"/>
                </a:lnTo>
                <a:lnTo>
                  <a:pt x="12820" y="2126"/>
                </a:lnTo>
                <a:lnTo>
                  <a:pt x="12814" y="2118"/>
                </a:lnTo>
                <a:lnTo>
                  <a:pt x="12808" y="2114"/>
                </a:lnTo>
                <a:lnTo>
                  <a:pt x="12804" y="2114"/>
                </a:lnTo>
                <a:lnTo>
                  <a:pt x="12802" y="2114"/>
                </a:lnTo>
                <a:close/>
                <a:moveTo>
                  <a:pt x="12746" y="1878"/>
                </a:moveTo>
                <a:lnTo>
                  <a:pt x="12746" y="1878"/>
                </a:lnTo>
                <a:lnTo>
                  <a:pt x="12744" y="1872"/>
                </a:lnTo>
                <a:lnTo>
                  <a:pt x="12740" y="1870"/>
                </a:lnTo>
                <a:lnTo>
                  <a:pt x="12736" y="1872"/>
                </a:lnTo>
                <a:lnTo>
                  <a:pt x="12730" y="1874"/>
                </a:lnTo>
                <a:lnTo>
                  <a:pt x="12716" y="1884"/>
                </a:lnTo>
                <a:lnTo>
                  <a:pt x="12702" y="1902"/>
                </a:lnTo>
                <a:lnTo>
                  <a:pt x="12700" y="1904"/>
                </a:lnTo>
                <a:lnTo>
                  <a:pt x="12702" y="1904"/>
                </a:lnTo>
                <a:lnTo>
                  <a:pt x="12706" y="1906"/>
                </a:lnTo>
                <a:lnTo>
                  <a:pt x="12722" y="1900"/>
                </a:lnTo>
                <a:lnTo>
                  <a:pt x="12730" y="1896"/>
                </a:lnTo>
                <a:lnTo>
                  <a:pt x="12738" y="1890"/>
                </a:lnTo>
                <a:lnTo>
                  <a:pt x="12744" y="1884"/>
                </a:lnTo>
                <a:lnTo>
                  <a:pt x="12746" y="1878"/>
                </a:lnTo>
                <a:close/>
                <a:moveTo>
                  <a:pt x="13366" y="1070"/>
                </a:moveTo>
                <a:lnTo>
                  <a:pt x="13366" y="1066"/>
                </a:lnTo>
                <a:lnTo>
                  <a:pt x="13438" y="1054"/>
                </a:lnTo>
                <a:lnTo>
                  <a:pt x="13446" y="1054"/>
                </a:lnTo>
                <a:lnTo>
                  <a:pt x="13454" y="1050"/>
                </a:lnTo>
                <a:lnTo>
                  <a:pt x="13458" y="1048"/>
                </a:lnTo>
                <a:lnTo>
                  <a:pt x="13460" y="1044"/>
                </a:lnTo>
                <a:lnTo>
                  <a:pt x="13460" y="1042"/>
                </a:lnTo>
                <a:lnTo>
                  <a:pt x="13458" y="1038"/>
                </a:lnTo>
                <a:lnTo>
                  <a:pt x="13448" y="1030"/>
                </a:lnTo>
                <a:lnTo>
                  <a:pt x="13434" y="1024"/>
                </a:lnTo>
                <a:lnTo>
                  <a:pt x="13418" y="1020"/>
                </a:lnTo>
                <a:lnTo>
                  <a:pt x="13400" y="1016"/>
                </a:lnTo>
                <a:lnTo>
                  <a:pt x="13382" y="1016"/>
                </a:lnTo>
                <a:lnTo>
                  <a:pt x="13366" y="1020"/>
                </a:lnTo>
                <a:lnTo>
                  <a:pt x="13366" y="1018"/>
                </a:lnTo>
                <a:lnTo>
                  <a:pt x="13342" y="1026"/>
                </a:lnTo>
                <a:lnTo>
                  <a:pt x="13332" y="1030"/>
                </a:lnTo>
                <a:lnTo>
                  <a:pt x="13324" y="1036"/>
                </a:lnTo>
                <a:lnTo>
                  <a:pt x="13316" y="1042"/>
                </a:lnTo>
                <a:lnTo>
                  <a:pt x="13310" y="1050"/>
                </a:lnTo>
                <a:lnTo>
                  <a:pt x="13308" y="1056"/>
                </a:lnTo>
                <a:lnTo>
                  <a:pt x="13306" y="1064"/>
                </a:lnTo>
                <a:lnTo>
                  <a:pt x="13306" y="1068"/>
                </a:lnTo>
                <a:lnTo>
                  <a:pt x="13310" y="1072"/>
                </a:lnTo>
                <a:lnTo>
                  <a:pt x="13314" y="1074"/>
                </a:lnTo>
                <a:lnTo>
                  <a:pt x="13322" y="1074"/>
                </a:lnTo>
                <a:lnTo>
                  <a:pt x="13342" y="1074"/>
                </a:lnTo>
                <a:lnTo>
                  <a:pt x="13366" y="1070"/>
                </a:lnTo>
                <a:close/>
                <a:moveTo>
                  <a:pt x="12932" y="1154"/>
                </a:moveTo>
                <a:lnTo>
                  <a:pt x="12932" y="1154"/>
                </a:lnTo>
                <a:lnTo>
                  <a:pt x="12934" y="1152"/>
                </a:lnTo>
                <a:lnTo>
                  <a:pt x="12934" y="1150"/>
                </a:lnTo>
                <a:lnTo>
                  <a:pt x="12934" y="1148"/>
                </a:lnTo>
                <a:lnTo>
                  <a:pt x="12932" y="1146"/>
                </a:lnTo>
                <a:lnTo>
                  <a:pt x="12924" y="1142"/>
                </a:lnTo>
                <a:lnTo>
                  <a:pt x="12912" y="1138"/>
                </a:lnTo>
                <a:lnTo>
                  <a:pt x="12900" y="1136"/>
                </a:lnTo>
                <a:lnTo>
                  <a:pt x="12888" y="1136"/>
                </a:lnTo>
                <a:lnTo>
                  <a:pt x="12878" y="1138"/>
                </a:lnTo>
                <a:lnTo>
                  <a:pt x="12872" y="1140"/>
                </a:lnTo>
                <a:lnTo>
                  <a:pt x="12870" y="1142"/>
                </a:lnTo>
                <a:lnTo>
                  <a:pt x="12870" y="1146"/>
                </a:lnTo>
                <a:lnTo>
                  <a:pt x="12874" y="1150"/>
                </a:lnTo>
                <a:lnTo>
                  <a:pt x="12882" y="1154"/>
                </a:lnTo>
                <a:lnTo>
                  <a:pt x="12890" y="1158"/>
                </a:lnTo>
                <a:lnTo>
                  <a:pt x="12902" y="1160"/>
                </a:lnTo>
                <a:lnTo>
                  <a:pt x="12912" y="1160"/>
                </a:lnTo>
                <a:lnTo>
                  <a:pt x="12924" y="1160"/>
                </a:lnTo>
                <a:lnTo>
                  <a:pt x="12932" y="1154"/>
                </a:lnTo>
                <a:close/>
                <a:moveTo>
                  <a:pt x="11756" y="878"/>
                </a:moveTo>
                <a:lnTo>
                  <a:pt x="11756" y="878"/>
                </a:lnTo>
                <a:lnTo>
                  <a:pt x="11746" y="884"/>
                </a:lnTo>
                <a:lnTo>
                  <a:pt x="11744" y="888"/>
                </a:lnTo>
                <a:lnTo>
                  <a:pt x="11746" y="890"/>
                </a:lnTo>
                <a:lnTo>
                  <a:pt x="11754" y="888"/>
                </a:lnTo>
                <a:lnTo>
                  <a:pt x="11784" y="888"/>
                </a:lnTo>
                <a:lnTo>
                  <a:pt x="11804" y="888"/>
                </a:lnTo>
                <a:lnTo>
                  <a:pt x="11828" y="890"/>
                </a:lnTo>
                <a:lnTo>
                  <a:pt x="11858" y="896"/>
                </a:lnTo>
                <a:lnTo>
                  <a:pt x="11880" y="896"/>
                </a:lnTo>
                <a:lnTo>
                  <a:pt x="11892" y="894"/>
                </a:lnTo>
                <a:lnTo>
                  <a:pt x="11894" y="892"/>
                </a:lnTo>
                <a:lnTo>
                  <a:pt x="11896" y="888"/>
                </a:lnTo>
                <a:lnTo>
                  <a:pt x="11896" y="886"/>
                </a:lnTo>
                <a:lnTo>
                  <a:pt x="11896" y="882"/>
                </a:lnTo>
                <a:lnTo>
                  <a:pt x="11888" y="872"/>
                </a:lnTo>
                <a:lnTo>
                  <a:pt x="11876" y="864"/>
                </a:lnTo>
                <a:lnTo>
                  <a:pt x="11860" y="854"/>
                </a:lnTo>
                <a:lnTo>
                  <a:pt x="11844" y="846"/>
                </a:lnTo>
                <a:lnTo>
                  <a:pt x="11830" y="844"/>
                </a:lnTo>
                <a:lnTo>
                  <a:pt x="11816" y="844"/>
                </a:lnTo>
                <a:lnTo>
                  <a:pt x="11804" y="848"/>
                </a:lnTo>
                <a:lnTo>
                  <a:pt x="11792" y="854"/>
                </a:lnTo>
                <a:lnTo>
                  <a:pt x="11782" y="862"/>
                </a:lnTo>
                <a:lnTo>
                  <a:pt x="11756" y="878"/>
                </a:lnTo>
                <a:close/>
                <a:moveTo>
                  <a:pt x="12060" y="772"/>
                </a:moveTo>
                <a:lnTo>
                  <a:pt x="12060" y="772"/>
                </a:lnTo>
                <a:lnTo>
                  <a:pt x="12086" y="776"/>
                </a:lnTo>
                <a:lnTo>
                  <a:pt x="12106" y="778"/>
                </a:lnTo>
                <a:lnTo>
                  <a:pt x="12152" y="776"/>
                </a:lnTo>
                <a:lnTo>
                  <a:pt x="12164" y="774"/>
                </a:lnTo>
                <a:lnTo>
                  <a:pt x="12176" y="770"/>
                </a:lnTo>
                <a:lnTo>
                  <a:pt x="12182" y="766"/>
                </a:lnTo>
                <a:lnTo>
                  <a:pt x="12188" y="760"/>
                </a:lnTo>
                <a:lnTo>
                  <a:pt x="12190" y="756"/>
                </a:lnTo>
                <a:lnTo>
                  <a:pt x="12188" y="752"/>
                </a:lnTo>
                <a:lnTo>
                  <a:pt x="12184" y="750"/>
                </a:lnTo>
                <a:lnTo>
                  <a:pt x="12176" y="750"/>
                </a:lnTo>
                <a:lnTo>
                  <a:pt x="12168" y="748"/>
                </a:lnTo>
                <a:lnTo>
                  <a:pt x="12164" y="746"/>
                </a:lnTo>
                <a:lnTo>
                  <a:pt x="12154" y="740"/>
                </a:lnTo>
                <a:lnTo>
                  <a:pt x="12148" y="736"/>
                </a:lnTo>
                <a:lnTo>
                  <a:pt x="12142" y="734"/>
                </a:lnTo>
                <a:lnTo>
                  <a:pt x="12132" y="734"/>
                </a:lnTo>
                <a:lnTo>
                  <a:pt x="12120" y="738"/>
                </a:lnTo>
                <a:lnTo>
                  <a:pt x="12108" y="742"/>
                </a:lnTo>
                <a:lnTo>
                  <a:pt x="12102" y="742"/>
                </a:lnTo>
                <a:lnTo>
                  <a:pt x="12100" y="740"/>
                </a:lnTo>
                <a:lnTo>
                  <a:pt x="12100" y="736"/>
                </a:lnTo>
                <a:lnTo>
                  <a:pt x="12098" y="730"/>
                </a:lnTo>
                <a:lnTo>
                  <a:pt x="12092" y="728"/>
                </a:lnTo>
                <a:lnTo>
                  <a:pt x="12082" y="726"/>
                </a:lnTo>
                <a:lnTo>
                  <a:pt x="12062" y="726"/>
                </a:lnTo>
                <a:lnTo>
                  <a:pt x="12044" y="728"/>
                </a:lnTo>
                <a:lnTo>
                  <a:pt x="12030" y="726"/>
                </a:lnTo>
                <a:lnTo>
                  <a:pt x="12020" y="724"/>
                </a:lnTo>
                <a:lnTo>
                  <a:pt x="12016" y="720"/>
                </a:lnTo>
                <a:lnTo>
                  <a:pt x="12012" y="714"/>
                </a:lnTo>
                <a:lnTo>
                  <a:pt x="12010" y="714"/>
                </a:lnTo>
                <a:lnTo>
                  <a:pt x="12008" y="718"/>
                </a:lnTo>
                <a:lnTo>
                  <a:pt x="12000" y="730"/>
                </a:lnTo>
                <a:lnTo>
                  <a:pt x="11998" y="736"/>
                </a:lnTo>
                <a:lnTo>
                  <a:pt x="11998" y="742"/>
                </a:lnTo>
                <a:lnTo>
                  <a:pt x="12002" y="748"/>
                </a:lnTo>
                <a:lnTo>
                  <a:pt x="12014" y="756"/>
                </a:lnTo>
                <a:lnTo>
                  <a:pt x="12032" y="764"/>
                </a:lnTo>
                <a:lnTo>
                  <a:pt x="12060" y="772"/>
                </a:lnTo>
                <a:close/>
                <a:moveTo>
                  <a:pt x="11698" y="782"/>
                </a:moveTo>
                <a:lnTo>
                  <a:pt x="11698" y="782"/>
                </a:lnTo>
                <a:lnTo>
                  <a:pt x="11714" y="788"/>
                </a:lnTo>
                <a:lnTo>
                  <a:pt x="11724" y="788"/>
                </a:lnTo>
                <a:lnTo>
                  <a:pt x="11728" y="784"/>
                </a:lnTo>
                <a:lnTo>
                  <a:pt x="11730" y="780"/>
                </a:lnTo>
                <a:lnTo>
                  <a:pt x="11732" y="774"/>
                </a:lnTo>
                <a:lnTo>
                  <a:pt x="11734" y="770"/>
                </a:lnTo>
                <a:lnTo>
                  <a:pt x="11740" y="768"/>
                </a:lnTo>
                <a:lnTo>
                  <a:pt x="11752" y="770"/>
                </a:lnTo>
                <a:lnTo>
                  <a:pt x="11766" y="772"/>
                </a:lnTo>
                <a:lnTo>
                  <a:pt x="11778" y="772"/>
                </a:lnTo>
                <a:lnTo>
                  <a:pt x="11788" y="770"/>
                </a:lnTo>
                <a:lnTo>
                  <a:pt x="11798" y="766"/>
                </a:lnTo>
                <a:lnTo>
                  <a:pt x="11808" y="762"/>
                </a:lnTo>
                <a:lnTo>
                  <a:pt x="11816" y="760"/>
                </a:lnTo>
                <a:lnTo>
                  <a:pt x="11824" y="760"/>
                </a:lnTo>
                <a:lnTo>
                  <a:pt x="11832" y="764"/>
                </a:lnTo>
                <a:lnTo>
                  <a:pt x="11840" y="770"/>
                </a:lnTo>
                <a:lnTo>
                  <a:pt x="11850" y="772"/>
                </a:lnTo>
                <a:lnTo>
                  <a:pt x="11862" y="772"/>
                </a:lnTo>
                <a:lnTo>
                  <a:pt x="11874" y="768"/>
                </a:lnTo>
                <a:lnTo>
                  <a:pt x="11902" y="760"/>
                </a:lnTo>
                <a:lnTo>
                  <a:pt x="11936" y="750"/>
                </a:lnTo>
                <a:lnTo>
                  <a:pt x="11944" y="746"/>
                </a:lnTo>
                <a:lnTo>
                  <a:pt x="11948" y="742"/>
                </a:lnTo>
                <a:lnTo>
                  <a:pt x="11948" y="738"/>
                </a:lnTo>
                <a:lnTo>
                  <a:pt x="11944" y="734"/>
                </a:lnTo>
                <a:lnTo>
                  <a:pt x="11942" y="730"/>
                </a:lnTo>
                <a:lnTo>
                  <a:pt x="11942" y="726"/>
                </a:lnTo>
                <a:lnTo>
                  <a:pt x="11944" y="724"/>
                </a:lnTo>
                <a:lnTo>
                  <a:pt x="11954" y="722"/>
                </a:lnTo>
                <a:lnTo>
                  <a:pt x="11960" y="722"/>
                </a:lnTo>
                <a:lnTo>
                  <a:pt x="11962" y="720"/>
                </a:lnTo>
                <a:lnTo>
                  <a:pt x="11964" y="718"/>
                </a:lnTo>
                <a:lnTo>
                  <a:pt x="11962" y="716"/>
                </a:lnTo>
                <a:lnTo>
                  <a:pt x="11956" y="710"/>
                </a:lnTo>
                <a:lnTo>
                  <a:pt x="11946" y="706"/>
                </a:lnTo>
                <a:lnTo>
                  <a:pt x="11930" y="700"/>
                </a:lnTo>
                <a:lnTo>
                  <a:pt x="11914" y="696"/>
                </a:lnTo>
                <a:lnTo>
                  <a:pt x="11898" y="696"/>
                </a:lnTo>
                <a:lnTo>
                  <a:pt x="11882" y="696"/>
                </a:lnTo>
                <a:lnTo>
                  <a:pt x="11868" y="698"/>
                </a:lnTo>
                <a:lnTo>
                  <a:pt x="11858" y="694"/>
                </a:lnTo>
                <a:lnTo>
                  <a:pt x="11846" y="690"/>
                </a:lnTo>
                <a:lnTo>
                  <a:pt x="11836" y="682"/>
                </a:lnTo>
                <a:lnTo>
                  <a:pt x="11826" y="676"/>
                </a:lnTo>
                <a:lnTo>
                  <a:pt x="11816" y="672"/>
                </a:lnTo>
                <a:lnTo>
                  <a:pt x="11806" y="670"/>
                </a:lnTo>
                <a:lnTo>
                  <a:pt x="11800" y="672"/>
                </a:lnTo>
                <a:lnTo>
                  <a:pt x="11794" y="674"/>
                </a:lnTo>
                <a:lnTo>
                  <a:pt x="11786" y="678"/>
                </a:lnTo>
                <a:lnTo>
                  <a:pt x="11782" y="686"/>
                </a:lnTo>
                <a:lnTo>
                  <a:pt x="11782" y="692"/>
                </a:lnTo>
                <a:lnTo>
                  <a:pt x="11784" y="696"/>
                </a:lnTo>
                <a:lnTo>
                  <a:pt x="11788" y="706"/>
                </a:lnTo>
                <a:lnTo>
                  <a:pt x="11788" y="710"/>
                </a:lnTo>
                <a:lnTo>
                  <a:pt x="11786" y="712"/>
                </a:lnTo>
                <a:lnTo>
                  <a:pt x="11780" y="712"/>
                </a:lnTo>
                <a:lnTo>
                  <a:pt x="11770" y="708"/>
                </a:lnTo>
                <a:lnTo>
                  <a:pt x="11752" y="698"/>
                </a:lnTo>
                <a:lnTo>
                  <a:pt x="11730" y="684"/>
                </a:lnTo>
                <a:lnTo>
                  <a:pt x="11710" y="672"/>
                </a:lnTo>
                <a:lnTo>
                  <a:pt x="11702" y="668"/>
                </a:lnTo>
                <a:lnTo>
                  <a:pt x="11696" y="666"/>
                </a:lnTo>
                <a:lnTo>
                  <a:pt x="11688" y="666"/>
                </a:lnTo>
                <a:lnTo>
                  <a:pt x="11682" y="668"/>
                </a:lnTo>
                <a:lnTo>
                  <a:pt x="11666" y="674"/>
                </a:lnTo>
                <a:lnTo>
                  <a:pt x="11646" y="688"/>
                </a:lnTo>
                <a:lnTo>
                  <a:pt x="11638" y="694"/>
                </a:lnTo>
                <a:lnTo>
                  <a:pt x="11634" y="702"/>
                </a:lnTo>
                <a:lnTo>
                  <a:pt x="11634" y="708"/>
                </a:lnTo>
                <a:lnTo>
                  <a:pt x="11636" y="714"/>
                </a:lnTo>
                <a:lnTo>
                  <a:pt x="11640" y="724"/>
                </a:lnTo>
                <a:lnTo>
                  <a:pt x="11640" y="728"/>
                </a:lnTo>
                <a:lnTo>
                  <a:pt x="11634" y="732"/>
                </a:lnTo>
                <a:lnTo>
                  <a:pt x="11630" y="736"/>
                </a:lnTo>
                <a:lnTo>
                  <a:pt x="11630" y="740"/>
                </a:lnTo>
                <a:lnTo>
                  <a:pt x="11634" y="746"/>
                </a:lnTo>
                <a:lnTo>
                  <a:pt x="11640" y="754"/>
                </a:lnTo>
                <a:lnTo>
                  <a:pt x="11650" y="760"/>
                </a:lnTo>
                <a:lnTo>
                  <a:pt x="11664" y="768"/>
                </a:lnTo>
                <a:lnTo>
                  <a:pt x="11698" y="782"/>
                </a:lnTo>
                <a:close/>
                <a:moveTo>
                  <a:pt x="11586" y="730"/>
                </a:moveTo>
                <a:lnTo>
                  <a:pt x="11586" y="730"/>
                </a:lnTo>
                <a:lnTo>
                  <a:pt x="11592" y="724"/>
                </a:lnTo>
                <a:lnTo>
                  <a:pt x="11594" y="716"/>
                </a:lnTo>
                <a:lnTo>
                  <a:pt x="11592" y="708"/>
                </a:lnTo>
                <a:lnTo>
                  <a:pt x="11584" y="698"/>
                </a:lnTo>
                <a:lnTo>
                  <a:pt x="11582" y="696"/>
                </a:lnTo>
                <a:lnTo>
                  <a:pt x="11580" y="696"/>
                </a:lnTo>
                <a:lnTo>
                  <a:pt x="11576" y="698"/>
                </a:lnTo>
                <a:lnTo>
                  <a:pt x="11572" y="706"/>
                </a:lnTo>
                <a:lnTo>
                  <a:pt x="11570" y="714"/>
                </a:lnTo>
                <a:lnTo>
                  <a:pt x="11570" y="722"/>
                </a:lnTo>
                <a:lnTo>
                  <a:pt x="11572" y="730"/>
                </a:lnTo>
                <a:lnTo>
                  <a:pt x="11574" y="732"/>
                </a:lnTo>
                <a:lnTo>
                  <a:pt x="11578" y="732"/>
                </a:lnTo>
                <a:lnTo>
                  <a:pt x="11582" y="732"/>
                </a:lnTo>
                <a:lnTo>
                  <a:pt x="11586" y="730"/>
                </a:lnTo>
                <a:close/>
                <a:moveTo>
                  <a:pt x="11080" y="922"/>
                </a:moveTo>
                <a:lnTo>
                  <a:pt x="11080" y="922"/>
                </a:lnTo>
                <a:lnTo>
                  <a:pt x="11108" y="928"/>
                </a:lnTo>
                <a:lnTo>
                  <a:pt x="11130" y="934"/>
                </a:lnTo>
                <a:lnTo>
                  <a:pt x="11156" y="942"/>
                </a:lnTo>
                <a:lnTo>
                  <a:pt x="11188" y="958"/>
                </a:lnTo>
                <a:lnTo>
                  <a:pt x="11198" y="962"/>
                </a:lnTo>
                <a:lnTo>
                  <a:pt x="11202" y="962"/>
                </a:lnTo>
                <a:lnTo>
                  <a:pt x="11204" y="962"/>
                </a:lnTo>
                <a:lnTo>
                  <a:pt x="11204" y="958"/>
                </a:lnTo>
                <a:lnTo>
                  <a:pt x="11202" y="952"/>
                </a:lnTo>
                <a:lnTo>
                  <a:pt x="11204" y="948"/>
                </a:lnTo>
                <a:lnTo>
                  <a:pt x="11210" y="946"/>
                </a:lnTo>
                <a:lnTo>
                  <a:pt x="11220" y="944"/>
                </a:lnTo>
                <a:lnTo>
                  <a:pt x="11226" y="946"/>
                </a:lnTo>
                <a:lnTo>
                  <a:pt x="11256" y="958"/>
                </a:lnTo>
                <a:lnTo>
                  <a:pt x="11280" y="968"/>
                </a:lnTo>
                <a:lnTo>
                  <a:pt x="11300" y="978"/>
                </a:lnTo>
                <a:lnTo>
                  <a:pt x="11308" y="980"/>
                </a:lnTo>
                <a:lnTo>
                  <a:pt x="11316" y="982"/>
                </a:lnTo>
                <a:lnTo>
                  <a:pt x="11322" y="978"/>
                </a:lnTo>
                <a:lnTo>
                  <a:pt x="11328" y="970"/>
                </a:lnTo>
                <a:lnTo>
                  <a:pt x="11328" y="966"/>
                </a:lnTo>
                <a:lnTo>
                  <a:pt x="11328" y="962"/>
                </a:lnTo>
                <a:lnTo>
                  <a:pt x="11324" y="956"/>
                </a:lnTo>
                <a:lnTo>
                  <a:pt x="11318" y="952"/>
                </a:lnTo>
                <a:lnTo>
                  <a:pt x="11310" y="948"/>
                </a:lnTo>
                <a:lnTo>
                  <a:pt x="11304" y="946"/>
                </a:lnTo>
                <a:lnTo>
                  <a:pt x="11300" y="944"/>
                </a:lnTo>
                <a:lnTo>
                  <a:pt x="11300" y="942"/>
                </a:lnTo>
                <a:lnTo>
                  <a:pt x="11302" y="940"/>
                </a:lnTo>
                <a:lnTo>
                  <a:pt x="11312" y="938"/>
                </a:lnTo>
                <a:lnTo>
                  <a:pt x="11320" y="934"/>
                </a:lnTo>
                <a:lnTo>
                  <a:pt x="11320" y="932"/>
                </a:lnTo>
                <a:lnTo>
                  <a:pt x="11314" y="928"/>
                </a:lnTo>
                <a:lnTo>
                  <a:pt x="11306" y="926"/>
                </a:lnTo>
                <a:lnTo>
                  <a:pt x="11298" y="922"/>
                </a:lnTo>
                <a:lnTo>
                  <a:pt x="11294" y="920"/>
                </a:lnTo>
                <a:lnTo>
                  <a:pt x="11294" y="918"/>
                </a:lnTo>
                <a:lnTo>
                  <a:pt x="11296" y="916"/>
                </a:lnTo>
                <a:lnTo>
                  <a:pt x="11306" y="914"/>
                </a:lnTo>
                <a:lnTo>
                  <a:pt x="11316" y="910"/>
                </a:lnTo>
                <a:lnTo>
                  <a:pt x="11318" y="908"/>
                </a:lnTo>
                <a:lnTo>
                  <a:pt x="11318" y="906"/>
                </a:lnTo>
                <a:lnTo>
                  <a:pt x="11316" y="900"/>
                </a:lnTo>
                <a:lnTo>
                  <a:pt x="11306" y="896"/>
                </a:lnTo>
                <a:lnTo>
                  <a:pt x="11280" y="884"/>
                </a:lnTo>
                <a:lnTo>
                  <a:pt x="11252" y="876"/>
                </a:lnTo>
                <a:lnTo>
                  <a:pt x="11240" y="872"/>
                </a:lnTo>
                <a:lnTo>
                  <a:pt x="11232" y="874"/>
                </a:lnTo>
                <a:lnTo>
                  <a:pt x="11224" y="878"/>
                </a:lnTo>
                <a:lnTo>
                  <a:pt x="11218" y="882"/>
                </a:lnTo>
                <a:lnTo>
                  <a:pt x="11214" y="888"/>
                </a:lnTo>
                <a:lnTo>
                  <a:pt x="11210" y="890"/>
                </a:lnTo>
                <a:lnTo>
                  <a:pt x="11208" y="888"/>
                </a:lnTo>
                <a:lnTo>
                  <a:pt x="11204" y="882"/>
                </a:lnTo>
                <a:lnTo>
                  <a:pt x="11200" y="874"/>
                </a:lnTo>
                <a:lnTo>
                  <a:pt x="11196" y="870"/>
                </a:lnTo>
                <a:lnTo>
                  <a:pt x="11190" y="868"/>
                </a:lnTo>
                <a:lnTo>
                  <a:pt x="11184" y="868"/>
                </a:lnTo>
                <a:lnTo>
                  <a:pt x="11168" y="866"/>
                </a:lnTo>
                <a:lnTo>
                  <a:pt x="11158" y="862"/>
                </a:lnTo>
                <a:lnTo>
                  <a:pt x="11146" y="858"/>
                </a:lnTo>
                <a:lnTo>
                  <a:pt x="11134" y="854"/>
                </a:lnTo>
                <a:lnTo>
                  <a:pt x="11120" y="854"/>
                </a:lnTo>
                <a:lnTo>
                  <a:pt x="11104" y="856"/>
                </a:lnTo>
                <a:lnTo>
                  <a:pt x="11092" y="860"/>
                </a:lnTo>
                <a:lnTo>
                  <a:pt x="11082" y="866"/>
                </a:lnTo>
                <a:lnTo>
                  <a:pt x="11076" y="872"/>
                </a:lnTo>
                <a:lnTo>
                  <a:pt x="11074" y="876"/>
                </a:lnTo>
                <a:lnTo>
                  <a:pt x="11074" y="880"/>
                </a:lnTo>
                <a:lnTo>
                  <a:pt x="11076" y="884"/>
                </a:lnTo>
                <a:lnTo>
                  <a:pt x="11080" y="888"/>
                </a:lnTo>
                <a:lnTo>
                  <a:pt x="11082" y="892"/>
                </a:lnTo>
                <a:lnTo>
                  <a:pt x="11084" y="896"/>
                </a:lnTo>
                <a:lnTo>
                  <a:pt x="11084" y="898"/>
                </a:lnTo>
                <a:lnTo>
                  <a:pt x="11084" y="902"/>
                </a:lnTo>
                <a:lnTo>
                  <a:pt x="11078" y="906"/>
                </a:lnTo>
                <a:lnTo>
                  <a:pt x="11072" y="910"/>
                </a:lnTo>
                <a:lnTo>
                  <a:pt x="11068" y="914"/>
                </a:lnTo>
                <a:lnTo>
                  <a:pt x="11066" y="916"/>
                </a:lnTo>
                <a:lnTo>
                  <a:pt x="11068" y="920"/>
                </a:lnTo>
                <a:lnTo>
                  <a:pt x="11080" y="922"/>
                </a:lnTo>
                <a:close/>
                <a:moveTo>
                  <a:pt x="10628" y="824"/>
                </a:moveTo>
                <a:lnTo>
                  <a:pt x="10628" y="824"/>
                </a:lnTo>
                <a:lnTo>
                  <a:pt x="10644" y="828"/>
                </a:lnTo>
                <a:lnTo>
                  <a:pt x="10656" y="828"/>
                </a:lnTo>
                <a:lnTo>
                  <a:pt x="10666" y="824"/>
                </a:lnTo>
                <a:lnTo>
                  <a:pt x="10672" y="818"/>
                </a:lnTo>
                <a:lnTo>
                  <a:pt x="10674" y="810"/>
                </a:lnTo>
                <a:lnTo>
                  <a:pt x="10674" y="808"/>
                </a:lnTo>
                <a:lnTo>
                  <a:pt x="10672" y="804"/>
                </a:lnTo>
                <a:lnTo>
                  <a:pt x="10670" y="802"/>
                </a:lnTo>
                <a:lnTo>
                  <a:pt x="10666" y="800"/>
                </a:lnTo>
                <a:lnTo>
                  <a:pt x="10652" y="796"/>
                </a:lnTo>
                <a:lnTo>
                  <a:pt x="10636" y="796"/>
                </a:lnTo>
                <a:lnTo>
                  <a:pt x="10624" y="798"/>
                </a:lnTo>
                <a:lnTo>
                  <a:pt x="10614" y="800"/>
                </a:lnTo>
                <a:lnTo>
                  <a:pt x="10608" y="804"/>
                </a:lnTo>
                <a:lnTo>
                  <a:pt x="10606" y="808"/>
                </a:lnTo>
                <a:lnTo>
                  <a:pt x="10608" y="812"/>
                </a:lnTo>
                <a:lnTo>
                  <a:pt x="10616" y="818"/>
                </a:lnTo>
                <a:lnTo>
                  <a:pt x="10628" y="824"/>
                </a:lnTo>
                <a:close/>
                <a:moveTo>
                  <a:pt x="10148" y="522"/>
                </a:moveTo>
                <a:lnTo>
                  <a:pt x="10148" y="522"/>
                </a:lnTo>
                <a:lnTo>
                  <a:pt x="10174" y="514"/>
                </a:lnTo>
                <a:lnTo>
                  <a:pt x="10202" y="510"/>
                </a:lnTo>
                <a:lnTo>
                  <a:pt x="10238" y="506"/>
                </a:lnTo>
                <a:lnTo>
                  <a:pt x="10286" y="502"/>
                </a:lnTo>
                <a:lnTo>
                  <a:pt x="10312" y="500"/>
                </a:lnTo>
                <a:lnTo>
                  <a:pt x="10330" y="498"/>
                </a:lnTo>
                <a:lnTo>
                  <a:pt x="10344" y="492"/>
                </a:lnTo>
                <a:lnTo>
                  <a:pt x="10352" y="486"/>
                </a:lnTo>
                <a:lnTo>
                  <a:pt x="10354" y="484"/>
                </a:lnTo>
                <a:lnTo>
                  <a:pt x="10354" y="480"/>
                </a:lnTo>
                <a:lnTo>
                  <a:pt x="10352" y="472"/>
                </a:lnTo>
                <a:lnTo>
                  <a:pt x="10344" y="464"/>
                </a:lnTo>
                <a:lnTo>
                  <a:pt x="10332" y="456"/>
                </a:lnTo>
                <a:lnTo>
                  <a:pt x="10308" y="440"/>
                </a:lnTo>
                <a:lnTo>
                  <a:pt x="10300" y="434"/>
                </a:lnTo>
                <a:lnTo>
                  <a:pt x="10294" y="432"/>
                </a:lnTo>
                <a:lnTo>
                  <a:pt x="10286" y="432"/>
                </a:lnTo>
                <a:lnTo>
                  <a:pt x="10276" y="436"/>
                </a:lnTo>
                <a:lnTo>
                  <a:pt x="10264" y="442"/>
                </a:lnTo>
                <a:lnTo>
                  <a:pt x="10248" y="454"/>
                </a:lnTo>
                <a:lnTo>
                  <a:pt x="10236" y="462"/>
                </a:lnTo>
                <a:lnTo>
                  <a:pt x="10232" y="462"/>
                </a:lnTo>
                <a:lnTo>
                  <a:pt x="10244" y="448"/>
                </a:lnTo>
                <a:lnTo>
                  <a:pt x="10254" y="436"/>
                </a:lnTo>
                <a:lnTo>
                  <a:pt x="10260" y="426"/>
                </a:lnTo>
                <a:lnTo>
                  <a:pt x="10264" y="416"/>
                </a:lnTo>
                <a:lnTo>
                  <a:pt x="10264" y="414"/>
                </a:lnTo>
                <a:lnTo>
                  <a:pt x="10260" y="412"/>
                </a:lnTo>
                <a:lnTo>
                  <a:pt x="10242" y="406"/>
                </a:lnTo>
                <a:lnTo>
                  <a:pt x="10234" y="406"/>
                </a:lnTo>
                <a:lnTo>
                  <a:pt x="10224" y="404"/>
                </a:lnTo>
                <a:lnTo>
                  <a:pt x="10214" y="406"/>
                </a:lnTo>
                <a:lnTo>
                  <a:pt x="10204" y="412"/>
                </a:lnTo>
                <a:lnTo>
                  <a:pt x="10194" y="422"/>
                </a:lnTo>
                <a:lnTo>
                  <a:pt x="10184" y="436"/>
                </a:lnTo>
                <a:lnTo>
                  <a:pt x="10174" y="448"/>
                </a:lnTo>
                <a:lnTo>
                  <a:pt x="10166" y="456"/>
                </a:lnTo>
                <a:lnTo>
                  <a:pt x="10154" y="464"/>
                </a:lnTo>
                <a:lnTo>
                  <a:pt x="10148" y="468"/>
                </a:lnTo>
                <a:lnTo>
                  <a:pt x="10140" y="478"/>
                </a:lnTo>
                <a:lnTo>
                  <a:pt x="10130" y="492"/>
                </a:lnTo>
                <a:lnTo>
                  <a:pt x="10118" y="514"/>
                </a:lnTo>
                <a:lnTo>
                  <a:pt x="10114" y="524"/>
                </a:lnTo>
                <a:lnTo>
                  <a:pt x="10114" y="526"/>
                </a:lnTo>
                <a:lnTo>
                  <a:pt x="10116" y="528"/>
                </a:lnTo>
                <a:lnTo>
                  <a:pt x="10128" y="528"/>
                </a:lnTo>
                <a:lnTo>
                  <a:pt x="10148" y="522"/>
                </a:lnTo>
                <a:close/>
                <a:moveTo>
                  <a:pt x="10046" y="348"/>
                </a:moveTo>
                <a:lnTo>
                  <a:pt x="10046" y="348"/>
                </a:lnTo>
                <a:lnTo>
                  <a:pt x="10020" y="348"/>
                </a:lnTo>
                <a:lnTo>
                  <a:pt x="9990" y="348"/>
                </a:lnTo>
                <a:lnTo>
                  <a:pt x="9972" y="350"/>
                </a:lnTo>
                <a:lnTo>
                  <a:pt x="9956" y="352"/>
                </a:lnTo>
                <a:lnTo>
                  <a:pt x="9942" y="356"/>
                </a:lnTo>
                <a:lnTo>
                  <a:pt x="9930" y="362"/>
                </a:lnTo>
                <a:lnTo>
                  <a:pt x="9904" y="376"/>
                </a:lnTo>
                <a:lnTo>
                  <a:pt x="9878" y="390"/>
                </a:lnTo>
                <a:lnTo>
                  <a:pt x="9870" y="396"/>
                </a:lnTo>
                <a:lnTo>
                  <a:pt x="9866" y="400"/>
                </a:lnTo>
                <a:lnTo>
                  <a:pt x="9866" y="402"/>
                </a:lnTo>
                <a:lnTo>
                  <a:pt x="9868" y="404"/>
                </a:lnTo>
                <a:lnTo>
                  <a:pt x="9872" y="404"/>
                </a:lnTo>
                <a:lnTo>
                  <a:pt x="9884" y="404"/>
                </a:lnTo>
                <a:lnTo>
                  <a:pt x="9900" y="406"/>
                </a:lnTo>
                <a:lnTo>
                  <a:pt x="9908" y="406"/>
                </a:lnTo>
                <a:lnTo>
                  <a:pt x="9912" y="410"/>
                </a:lnTo>
                <a:lnTo>
                  <a:pt x="9914" y="414"/>
                </a:lnTo>
                <a:lnTo>
                  <a:pt x="9914" y="418"/>
                </a:lnTo>
                <a:lnTo>
                  <a:pt x="9914" y="424"/>
                </a:lnTo>
                <a:lnTo>
                  <a:pt x="9918" y="428"/>
                </a:lnTo>
                <a:lnTo>
                  <a:pt x="9926" y="434"/>
                </a:lnTo>
                <a:lnTo>
                  <a:pt x="9934" y="436"/>
                </a:lnTo>
                <a:lnTo>
                  <a:pt x="9944" y="438"/>
                </a:lnTo>
                <a:lnTo>
                  <a:pt x="9962" y="440"/>
                </a:lnTo>
                <a:lnTo>
                  <a:pt x="9988" y="442"/>
                </a:lnTo>
                <a:lnTo>
                  <a:pt x="10006" y="446"/>
                </a:lnTo>
                <a:lnTo>
                  <a:pt x="10026" y="452"/>
                </a:lnTo>
                <a:lnTo>
                  <a:pt x="10048" y="458"/>
                </a:lnTo>
                <a:lnTo>
                  <a:pt x="10068" y="460"/>
                </a:lnTo>
                <a:lnTo>
                  <a:pt x="10088" y="460"/>
                </a:lnTo>
                <a:lnTo>
                  <a:pt x="10106" y="456"/>
                </a:lnTo>
                <a:lnTo>
                  <a:pt x="10120" y="452"/>
                </a:lnTo>
                <a:lnTo>
                  <a:pt x="10130" y="446"/>
                </a:lnTo>
                <a:lnTo>
                  <a:pt x="10132" y="444"/>
                </a:lnTo>
                <a:lnTo>
                  <a:pt x="10132" y="440"/>
                </a:lnTo>
                <a:lnTo>
                  <a:pt x="10132" y="438"/>
                </a:lnTo>
                <a:lnTo>
                  <a:pt x="10128" y="434"/>
                </a:lnTo>
                <a:lnTo>
                  <a:pt x="10126" y="430"/>
                </a:lnTo>
                <a:lnTo>
                  <a:pt x="10124" y="426"/>
                </a:lnTo>
                <a:lnTo>
                  <a:pt x="10124" y="418"/>
                </a:lnTo>
                <a:lnTo>
                  <a:pt x="10128" y="410"/>
                </a:lnTo>
                <a:lnTo>
                  <a:pt x="10132" y="400"/>
                </a:lnTo>
                <a:lnTo>
                  <a:pt x="10138" y="392"/>
                </a:lnTo>
                <a:lnTo>
                  <a:pt x="10140" y="384"/>
                </a:lnTo>
                <a:lnTo>
                  <a:pt x="10140" y="380"/>
                </a:lnTo>
                <a:lnTo>
                  <a:pt x="10140" y="376"/>
                </a:lnTo>
                <a:lnTo>
                  <a:pt x="10138" y="372"/>
                </a:lnTo>
                <a:lnTo>
                  <a:pt x="10134" y="370"/>
                </a:lnTo>
                <a:lnTo>
                  <a:pt x="10126" y="366"/>
                </a:lnTo>
                <a:lnTo>
                  <a:pt x="10122" y="362"/>
                </a:lnTo>
                <a:lnTo>
                  <a:pt x="10118" y="358"/>
                </a:lnTo>
                <a:lnTo>
                  <a:pt x="10114" y="356"/>
                </a:lnTo>
                <a:lnTo>
                  <a:pt x="10108" y="356"/>
                </a:lnTo>
                <a:lnTo>
                  <a:pt x="10102" y="356"/>
                </a:lnTo>
                <a:lnTo>
                  <a:pt x="10074" y="364"/>
                </a:lnTo>
                <a:lnTo>
                  <a:pt x="10058" y="368"/>
                </a:lnTo>
                <a:lnTo>
                  <a:pt x="10050" y="370"/>
                </a:lnTo>
                <a:lnTo>
                  <a:pt x="10050" y="368"/>
                </a:lnTo>
                <a:lnTo>
                  <a:pt x="10048" y="366"/>
                </a:lnTo>
                <a:lnTo>
                  <a:pt x="10050" y="362"/>
                </a:lnTo>
                <a:lnTo>
                  <a:pt x="10052" y="358"/>
                </a:lnTo>
                <a:lnTo>
                  <a:pt x="10054" y="352"/>
                </a:lnTo>
                <a:lnTo>
                  <a:pt x="10052" y="350"/>
                </a:lnTo>
                <a:lnTo>
                  <a:pt x="10046" y="348"/>
                </a:lnTo>
                <a:close/>
                <a:moveTo>
                  <a:pt x="9818" y="352"/>
                </a:moveTo>
                <a:lnTo>
                  <a:pt x="9818" y="352"/>
                </a:lnTo>
                <a:lnTo>
                  <a:pt x="9802" y="352"/>
                </a:lnTo>
                <a:lnTo>
                  <a:pt x="9790" y="354"/>
                </a:lnTo>
                <a:lnTo>
                  <a:pt x="9784" y="356"/>
                </a:lnTo>
                <a:lnTo>
                  <a:pt x="9780" y="360"/>
                </a:lnTo>
                <a:lnTo>
                  <a:pt x="9778" y="364"/>
                </a:lnTo>
                <a:lnTo>
                  <a:pt x="9782" y="368"/>
                </a:lnTo>
                <a:lnTo>
                  <a:pt x="9788" y="372"/>
                </a:lnTo>
                <a:lnTo>
                  <a:pt x="9798" y="374"/>
                </a:lnTo>
                <a:lnTo>
                  <a:pt x="9808" y="376"/>
                </a:lnTo>
                <a:lnTo>
                  <a:pt x="9814" y="380"/>
                </a:lnTo>
                <a:lnTo>
                  <a:pt x="9820" y="386"/>
                </a:lnTo>
                <a:lnTo>
                  <a:pt x="9822" y="388"/>
                </a:lnTo>
                <a:lnTo>
                  <a:pt x="9826" y="388"/>
                </a:lnTo>
                <a:lnTo>
                  <a:pt x="9844" y="386"/>
                </a:lnTo>
                <a:lnTo>
                  <a:pt x="9872" y="380"/>
                </a:lnTo>
                <a:lnTo>
                  <a:pt x="9884" y="374"/>
                </a:lnTo>
                <a:lnTo>
                  <a:pt x="9888" y="372"/>
                </a:lnTo>
                <a:lnTo>
                  <a:pt x="9888" y="370"/>
                </a:lnTo>
                <a:lnTo>
                  <a:pt x="9886" y="366"/>
                </a:lnTo>
                <a:lnTo>
                  <a:pt x="9882" y="364"/>
                </a:lnTo>
                <a:lnTo>
                  <a:pt x="9870" y="362"/>
                </a:lnTo>
                <a:lnTo>
                  <a:pt x="9854" y="358"/>
                </a:lnTo>
                <a:lnTo>
                  <a:pt x="9818" y="352"/>
                </a:lnTo>
                <a:close/>
                <a:moveTo>
                  <a:pt x="9850" y="306"/>
                </a:moveTo>
                <a:lnTo>
                  <a:pt x="9850" y="306"/>
                </a:lnTo>
                <a:lnTo>
                  <a:pt x="9838" y="314"/>
                </a:lnTo>
                <a:lnTo>
                  <a:pt x="9826" y="318"/>
                </a:lnTo>
                <a:lnTo>
                  <a:pt x="9804" y="328"/>
                </a:lnTo>
                <a:lnTo>
                  <a:pt x="9798" y="330"/>
                </a:lnTo>
                <a:lnTo>
                  <a:pt x="9794" y="334"/>
                </a:lnTo>
                <a:lnTo>
                  <a:pt x="9798" y="336"/>
                </a:lnTo>
                <a:lnTo>
                  <a:pt x="9806" y="336"/>
                </a:lnTo>
                <a:lnTo>
                  <a:pt x="9818" y="338"/>
                </a:lnTo>
                <a:lnTo>
                  <a:pt x="9826" y="340"/>
                </a:lnTo>
                <a:lnTo>
                  <a:pt x="9840" y="346"/>
                </a:lnTo>
                <a:lnTo>
                  <a:pt x="9858" y="352"/>
                </a:lnTo>
                <a:lnTo>
                  <a:pt x="9868" y="354"/>
                </a:lnTo>
                <a:lnTo>
                  <a:pt x="9884" y="356"/>
                </a:lnTo>
                <a:lnTo>
                  <a:pt x="9898" y="358"/>
                </a:lnTo>
                <a:lnTo>
                  <a:pt x="9906" y="358"/>
                </a:lnTo>
                <a:lnTo>
                  <a:pt x="9908" y="354"/>
                </a:lnTo>
                <a:lnTo>
                  <a:pt x="9910" y="352"/>
                </a:lnTo>
                <a:lnTo>
                  <a:pt x="9912" y="348"/>
                </a:lnTo>
                <a:lnTo>
                  <a:pt x="9916" y="346"/>
                </a:lnTo>
                <a:lnTo>
                  <a:pt x="9928" y="342"/>
                </a:lnTo>
                <a:lnTo>
                  <a:pt x="9946" y="340"/>
                </a:lnTo>
                <a:lnTo>
                  <a:pt x="9990" y="340"/>
                </a:lnTo>
                <a:lnTo>
                  <a:pt x="10018" y="340"/>
                </a:lnTo>
                <a:lnTo>
                  <a:pt x="10026" y="338"/>
                </a:lnTo>
                <a:lnTo>
                  <a:pt x="10030" y="336"/>
                </a:lnTo>
                <a:lnTo>
                  <a:pt x="10030" y="330"/>
                </a:lnTo>
                <a:lnTo>
                  <a:pt x="10026" y="322"/>
                </a:lnTo>
                <a:lnTo>
                  <a:pt x="10022" y="314"/>
                </a:lnTo>
                <a:lnTo>
                  <a:pt x="10022" y="312"/>
                </a:lnTo>
                <a:lnTo>
                  <a:pt x="10022" y="308"/>
                </a:lnTo>
                <a:lnTo>
                  <a:pt x="10028" y="306"/>
                </a:lnTo>
                <a:lnTo>
                  <a:pt x="10036" y="306"/>
                </a:lnTo>
                <a:lnTo>
                  <a:pt x="10050" y="304"/>
                </a:lnTo>
                <a:lnTo>
                  <a:pt x="10054" y="300"/>
                </a:lnTo>
                <a:lnTo>
                  <a:pt x="10054" y="298"/>
                </a:lnTo>
                <a:lnTo>
                  <a:pt x="10052" y="296"/>
                </a:lnTo>
                <a:lnTo>
                  <a:pt x="10048" y="292"/>
                </a:lnTo>
                <a:lnTo>
                  <a:pt x="10044" y="288"/>
                </a:lnTo>
                <a:lnTo>
                  <a:pt x="10032" y="288"/>
                </a:lnTo>
                <a:lnTo>
                  <a:pt x="10024" y="286"/>
                </a:lnTo>
                <a:lnTo>
                  <a:pt x="10016" y="284"/>
                </a:lnTo>
                <a:lnTo>
                  <a:pt x="10008" y="280"/>
                </a:lnTo>
                <a:lnTo>
                  <a:pt x="9998" y="274"/>
                </a:lnTo>
                <a:lnTo>
                  <a:pt x="9980" y="260"/>
                </a:lnTo>
                <a:lnTo>
                  <a:pt x="9972" y="254"/>
                </a:lnTo>
                <a:lnTo>
                  <a:pt x="9964" y="252"/>
                </a:lnTo>
                <a:lnTo>
                  <a:pt x="9956" y="250"/>
                </a:lnTo>
                <a:lnTo>
                  <a:pt x="9948" y="250"/>
                </a:lnTo>
                <a:lnTo>
                  <a:pt x="9940" y="252"/>
                </a:lnTo>
                <a:lnTo>
                  <a:pt x="9932" y="258"/>
                </a:lnTo>
                <a:lnTo>
                  <a:pt x="9922" y="262"/>
                </a:lnTo>
                <a:lnTo>
                  <a:pt x="9914" y="264"/>
                </a:lnTo>
                <a:lnTo>
                  <a:pt x="9898" y="268"/>
                </a:lnTo>
                <a:lnTo>
                  <a:pt x="9878" y="272"/>
                </a:lnTo>
                <a:lnTo>
                  <a:pt x="9866" y="276"/>
                </a:lnTo>
                <a:lnTo>
                  <a:pt x="9852" y="284"/>
                </a:lnTo>
                <a:lnTo>
                  <a:pt x="9842" y="290"/>
                </a:lnTo>
                <a:lnTo>
                  <a:pt x="9840" y="294"/>
                </a:lnTo>
                <a:lnTo>
                  <a:pt x="9842" y="296"/>
                </a:lnTo>
                <a:lnTo>
                  <a:pt x="9848" y="296"/>
                </a:lnTo>
                <a:lnTo>
                  <a:pt x="9854" y="296"/>
                </a:lnTo>
                <a:lnTo>
                  <a:pt x="9856" y="298"/>
                </a:lnTo>
                <a:lnTo>
                  <a:pt x="9858" y="298"/>
                </a:lnTo>
                <a:lnTo>
                  <a:pt x="9856" y="300"/>
                </a:lnTo>
                <a:lnTo>
                  <a:pt x="9850" y="306"/>
                </a:lnTo>
                <a:close/>
                <a:moveTo>
                  <a:pt x="9800" y="264"/>
                </a:moveTo>
                <a:lnTo>
                  <a:pt x="9800" y="264"/>
                </a:lnTo>
                <a:lnTo>
                  <a:pt x="9798" y="260"/>
                </a:lnTo>
                <a:lnTo>
                  <a:pt x="9792" y="258"/>
                </a:lnTo>
                <a:lnTo>
                  <a:pt x="9772" y="254"/>
                </a:lnTo>
                <a:lnTo>
                  <a:pt x="9750" y="254"/>
                </a:lnTo>
                <a:lnTo>
                  <a:pt x="9744" y="256"/>
                </a:lnTo>
                <a:lnTo>
                  <a:pt x="9740" y="258"/>
                </a:lnTo>
                <a:lnTo>
                  <a:pt x="9740" y="260"/>
                </a:lnTo>
                <a:lnTo>
                  <a:pt x="9740" y="264"/>
                </a:lnTo>
                <a:lnTo>
                  <a:pt x="9746" y="266"/>
                </a:lnTo>
                <a:lnTo>
                  <a:pt x="9756" y="268"/>
                </a:lnTo>
                <a:lnTo>
                  <a:pt x="9768" y="270"/>
                </a:lnTo>
                <a:lnTo>
                  <a:pt x="9790" y="268"/>
                </a:lnTo>
                <a:lnTo>
                  <a:pt x="9798" y="266"/>
                </a:lnTo>
                <a:lnTo>
                  <a:pt x="9800" y="264"/>
                </a:lnTo>
                <a:close/>
                <a:moveTo>
                  <a:pt x="9948" y="604"/>
                </a:moveTo>
                <a:lnTo>
                  <a:pt x="9948" y="604"/>
                </a:lnTo>
                <a:lnTo>
                  <a:pt x="9956" y="608"/>
                </a:lnTo>
                <a:lnTo>
                  <a:pt x="9966" y="608"/>
                </a:lnTo>
                <a:lnTo>
                  <a:pt x="9976" y="606"/>
                </a:lnTo>
                <a:lnTo>
                  <a:pt x="9984" y="602"/>
                </a:lnTo>
                <a:lnTo>
                  <a:pt x="9992" y="598"/>
                </a:lnTo>
                <a:lnTo>
                  <a:pt x="9998" y="594"/>
                </a:lnTo>
                <a:lnTo>
                  <a:pt x="10000" y="590"/>
                </a:lnTo>
                <a:lnTo>
                  <a:pt x="10000" y="586"/>
                </a:lnTo>
                <a:lnTo>
                  <a:pt x="9996" y="586"/>
                </a:lnTo>
                <a:lnTo>
                  <a:pt x="9988" y="586"/>
                </a:lnTo>
                <a:lnTo>
                  <a:pt x="9968" y="590"/>
                </a:lnTo>
                <a:lnTo>
                  <a:pt x="9952" y="598"/>
                </a:lnTo>
                <a:lnTo>
                  <a:pt x="9948" y="602"/>
                </a:lnTo>
                <a:lnTo>
                  <a:pt x="9948" y="604"/>
                </a:lnTo>
                <a:close/>
                <a:moveTo>
                  <a:pt x="12072" y="7092"/>
                </a:moveTo>
                <a:lnTo>
                  <a:pt x="12072" y="7092"/>
                </a:lnTo>
                <a:lnTo>
                  <a:pt x="12074" y="7094"/>
                </a:lnTo>
                <a:lnTo>
                  <a:pt x="12080" y="7094"/>
                </a:lnTo>
                <a:lnTo>
                  <a:pt x="12086" y="7096"/>
                </a:lnTo>
                <a:lnTo>
                  <a:pt x="12090" y="7094"/>
                </a:lnTo>
                <a:lnTo>
                  <a:pt x="12090" y="7090"/>
                </a:lnTo>
                <a:lnTo>
                  <a:pt x="12088" y="7088"/>
                </a:lnTo>
                <a:lnTo>
                  <a:pt x="12082" y="7086"/>
                </a:lnTo>
                <a:lnTo>
                  <a:pt x="12076" y="7088"/>
                </a:lnTo>
                <a:lnTo>
                  <a:pt x="12072" y="7090"/>
                </a:lnTo>
                <a:lnTo>
                  <a:pt x="12072" y="7092"/>
                </a:lnTo>
                <a:close/>
                <a:moveTo>
                  <a:pt x="11908" y="7044"/>
                </a:moveTo>
                <a:lnTo>
                  <a:pt x="11908" y="7044"/>
                </a:lnTo>
                <a:lnTo>
                  <a:pt x="11906" y="7052"/>
                </a:lnTo>
                <a:lnTo>
                  <a:pt x="11906" y="7062"/>
                </a:lnTo>
                <a:lnTo>
                  <a:pt x="11908" y="7070"/>
                </a:lnTo>
                <a:lnTo>
                  <a:pt x="11910" y="7072"/>
                </a:lnTo>
                <a:lnTo>
                  <a:pt x="11912" y="7072"/>
                </a:lnTo>
                <a:lnTo>
                  <a:pt x="11916" y="7068"/>
                </a:lnTo>
                <a:lnTo>
                  <a:pt x="11916" y="7064"/>
                </a:lnTo>
                <a:lnTo>
                  <a:pt x="11916" y="7054"/>
                </a:lnTo>
                <a:lnTo>
                  <a:pt x="11912" y="7046"/>
                </a:lnTo>
                <a:lnTo>
                  <a:pt x="11910" y="7044"/>
                </a:lnTo>
                <a:lnTo>
                  <a:pt x="11908" y="7044"/>
                </a:lnTo>
                <a:close/>
                <a:moveTo>
                  <a:pt x="12082" y="7064"/>
                </a:moveTo>
                <a:lnTo>
                  <a:pt x="12082" y="7064"/>
                </a:lnTo>
                <a:lnTo>
                  <a:pt x="12080" y="7062"/>
                </a:lnTo>
                <a:lnTo>
                  <a:pt x="12076" y="7060"/>
                </a:lnTo>
                <a:lnTo>
                  <a:pt x="12074" y="7054"/>
                </a:lnTo>
                <a:lnTo>
                  <a:pt x="12072" y="7054"/>
                </a:lnTo>
                <a:lnTo>
                  <a:pt x="12070" y="7052"/>
                </a:lnTo>
                <a:lnTo>
                  <a:pt x="12066" y="7056"/>
                </a:lnTo>
                <a:lnTo>
                  <a:pt x="12062" y="7062"/>
                </a:lnTo>
                <a:lnTo>
                  <a:pt x="12064" y="7064"/>
                </a:lnTo>
                <a:lnTo>
                  <a:pt x="12068" y="7066"/>
                </a:lnTo>
                <a:lnTo>
                  <a:pt x="12068" y="7068"/>
                </a:lnTo>
                <a:lnTo>
                  <a:pt x="12072" y="7076"/>
                </a:lnTo>
                <a:lnTo>
                  <a:pt x="12072" y="7080"/>
                </a:lnTo>
                <a:lnTo>
                  <a:pt x="12076" y="7082"/>
                </a:lnTo>
                <a:lnTo>
                  <a:pt x="12080" y="7082"/>
                </a:lnTo>
                <a:lnTo>
                  <a:pt x="12084" y="7080"/>
                </a:lnTo>
                <a:lnTo>
                  <a:pt x="12086" y="7078"/>
                </a:lnTo>
                <a:lnTo>
                  <a:pt x="12084" y="7076"/>
                </a:lnTo>
                <a:lnTo>
                  <a:pt x="12082" y="7074"/>
                </a:lnTo>
                <a:lnTo>
                  <a:pt x="12082" y="7072"/>
                </a:lnTo>
                <a:lnTo>
                  <a:pt x="12084" y="7068"/>
                </a:lnTo>
                <a:lnTo>
                  <a:pt x="12086" y="7066"/>
                </a:lnTo>
                <a:lnTo>
                  <a:pt x="12082" y="7064"/>
                </a:lnTo>
                <a:close/>
                <a:moveTo>
                  <a:pt x="11654" y="6830"/>
                </a:moveTo>
                <a:lnTo>
                  <a:pt x="11654" y="6830"/>
                </a:lnTo>
                <a:lnTo>
                  <a:pt x="11650" y="6828"/>
                </a:lnTo>
                <a:lnTo>
                  <a:pt x="11644" y="6828"/>
                </a:lnTo>
                <a:lnTo>
                  <a:pt x="11636" y="6828"/>
                </a:lnTo>
                <a:lnTo>
                  <a:pt x="11628" y="6830"/>
                </a:lnTo>
                <a:lnTo>
                  <a:pt x="11622" y="6834"/>
                </a:lnTo>
                <a:lnTo>
                  <a:pt x="11616" y="6838"/>
                </a:lnTo>
                <a:lnTo>
                  <a:pt x="11612" y="6842"/>
                </a:lnTo>
                <a:lnTo>
                  <a:pt x="11610" y="6848"/>
                </a:lnTo>
                <a:lnTo>
                  <a:pt x="11614" y="6850"/>
                </a:lnTo>
                <a:lnTo>
                  <a:pt x="11618" y="6852"/>
                </a:lnTo>
                <a:lnTo>
                  <a:pt x="11630" y="6852"/>
                </a:lnTo>
                <a:lnTo>
                  <a:pt x="11644" y="6852"/>
                </a:lnTo>
                <a:lnTo>
                  <a:pt x="11652" y="6850"/>
                </a:lnTo>
                <a:lnTo>
                  <a:pt x="11660" y="6848"/>
                </a:lnTo>
                <a:lnTo>
                  <a:pt x="11668" y="6846"/>
                </a:lnTo>
                <a:lnTo>
                  <a:pt x="11674" y="6846"/>
                </a:lnTo>
                <a:lnTo>
                  <a:pt x="11674" y="6844"/>
                </a:lnTo>
                <a:lnTo>
                  <a:pt x="11674" y="6840"/>
                </a:lnTo>
                <a:lnTo>
                  <a:pt x="11670" y="6838"/>
                </a:lnTo>
                <a:lnTo>
                  <a:pt x="11666" y="6838"/>
                </a:lnTo>
                <a:lnTo>
                  <a:pt x="11660" y="6836"/>
                </a:lnTo>
                <a:lnTo>
                  <a:pt x="11654" y="6830"/>
                </a:lnTo>
                <a:close/>
                <a:moveTo>
                  <a:pt x="12084" y="7156"/>
                </a:moveTo>
                <a:lnTo>
                  <a:pt x="12084" y="7156"/>
                </a:lnTo>
                <a:lnTo>
                  <a:pt x="12086" y="7146"/>
                </a:lnTo>
                <a:lnTo>
                  <a:pt x="12086" y="7136"/>
                </a:lnTo>
                <a:lnTo>
                  <a:pt x="12084" y="7128"/>
                </a:lnTo>
                <a:lnTo>
                  <a:pt x="12082" y="7120"/>
                </a:lnTo>
                <a:lnTo>
                  <a:pt x="12078" y="7114"/>
                </a:lnTo>
                <a:lnTo>
                  <a:pt x="12076" y="7112"/>
                </a:lnTo>
                <a:lnTo>
                  <a:pt x="12074" y="7112"/>
                </a:lnTo>
                <a:lnTo>
                  <a:pt x="12072" y="7114"/>
                </a:lnTo>
                <a:lnTo>
                  <a:pt x="12070" y="7116"/>
                </a:lnTo>
                <a:lnTo>
                  <a:pt x="12068" y="7118"/>
                </a:lnTo>
                <a:lnTo>
                  <a:pt x="12064" y="7116"/>
                </a:lnTo>
                <a:lnTo>
                  <a:pt x="12058" y="7116"/>
                </a:lnTo>
                <a:lnTo>
                  <a:pt x="12056" y="7116"/>
                </a:lnTo>
                <a:lnTo>
                  <a:pt x="12054" y="7120"/>
                </a:lnTo>
                <a:lnTo>
                  <a:pt x="12050" y="7122"/>
                </a:lnTo>
                <a:lnTo>
                  <a:pt x="12048" y="7122"/>
                </a:lnTo>
                <a:lnTo>
                  <a:pt x="12040" y="7122"/>
                </a:lnTo>
                <a:lnTo>
                  <a:pt x="12022" y="7128"/>
                </a:lnTo>
                <a:lnTo>
                  <a:pt x="12010" y="7132"/>
                </a:lnTo>
                <a:lnTo>
                  <a:pt x="12002" y="7132"/>
                </a:lnTo>
                <a:lnTo>
                  <a:pt x="11996" y="7130"/>
                </a:lnTo>
                <a:lnTo>
                  <a:pt x="11990" y="7128"/>
                </a:lnTo>
                <a:lnTo>
                  <a:pt x="11980" y="7120"/>
                </a:lnTo>
                <a:lnTo>
                  <a:pt x="11974" y="7116"/>
                </a:lnTo>
                <a:lnTo>
                  <a:pt x="11966" y="7114"/>
                </a:lnTo>
                <a:lnTo>
                  <a:pt x="11958" y="7114"/>
                </a:lnTo>
                <a:lnTo>
                  <a:pt x="11952" y="7110"/>
                </a:lnTo>
                <a:lnTo>
                  <a:pt x="11944" y="7104"/>
                </a:lnTo>
                <a:lnTo>
                  <a:pt x="11942" y="7104"/>
                </a:lnTo>
                <a:lnTo>
                  <a:pt x="11940" y="7104"/>
                </a:lnTo>
                <a:lnTo>
                  <a:pt x="11936" y="7118"/>
                </a:lnTo>
                <a:lnTo>
                  <a:pt x="11936" y="7126"/>
                </a:lnTo>
                <a:lnTo>
                  <a:pt x="11938" y="7134"/>
                </a:lnTo>
                <a:lnTo>
                  <a:pt x="11946" y="7158"/>
                </a:lnTo>
                <a:lnTo>
                  <a:pt x="11950" y="7168"/>
                </a:lnTo>
                <a:lnTo>
                  <a:pt x="11954" y="7172"/>
                </a:lnTo>
                <a:lnTo>
                  <a:pt x="11958" y="7176"/>
                </a:lnTo>
                <a:lnTo>
                  <a:pt x="11958" y="7184"/>
                </a:lnTo>
                <a:lnTo>
                  <a:pt x="11960" y="7198"/>
                </a:lnTo>
                <a:lnTo>
                  <a:pt x="11962" y="7212"/>
                </a:lnTo>
                <a:lnTo>
                  <a:pt x="11966" y="7226"/>
                </a:lnTo>
                <a:lnTo>
                  <a:pt x="11970" y="7232"/>
                </a:lnTo>
                <a:lnTo>
                  <a:pt x="11976" y="7236"/>
                </a:lnTo>
                <a:lnTo>
                  <a:pt x="11980" y="7240"/>
                </a:lnTo>
                <a:lnTo>
                  <a:pt x="11984" y="7246"/>
                </a:lnTo>
                <a:lnTo>
                  <a:pt x="11988" y="7256"/>
                </a:lnTo>
                <a:lnTo>
                  <a:pt x="11992" y="7264"/>
                </a:lnTo>
                <a:lnTo>
                  <a:pt x="11996" y="7266"/>
                </a:lnTo>
                <a:lnTo>
                  <a:pt x="11998" y="7266"/>
                </a:lnTo>
                <a:lnTo>
                  <a:pt x="12004" y="7264"/>
                </a:lnTo>
                <a:lnTo>
                  <a:pt x="12008" y="7266"/>
                </a:lnTo>
                <a:lnTo>
                  <a:pt x="12022" y="7270"/>
                </a:lnTo>
                <a:lnTo>
                  <a:pt x="12026" y="7270"/>
                </a:lnTo>
                <a:lnTo>
                  <a:pt x="12028" y="7270"/>
                </a:lnTo>
                <a:lnTo>
                  <a:pt x="12030" y="7264"/>
                </a:lnTo>
                <a:lnTo>
                  <a:pt x="12032" y="7258"/>
                </a:lnTo>
                <a:lnTo>
                  <a:pt x="12038" y="7254"/>
                </a:lnTo>
                <a:lnTo>
                  <a:pt x="12040" y="7250"/>
                </a:lnTo>
                <a:lnTo>
                  <a:pt x="12042" y="7246"/>
                </a:lnTo>
                <a:lnTo>
                  <a:pt x="12046" y="7238"/>
                </a:lnTo>
                <a:lnTo>
                  <a:pt x="12046" y="7234"/>
                </a:lnTo>
                <a:lnTo>
                  <a:pt x="12048" y="7232"/>
                </a:lnTo>
                <a:lnTo>
                  <a:pt x="12050" y="7234"/>
                </a:lnTo>
                <a:lnTo>
                  <a:pt x="12050" y="7236"/>
                </a:lnTo>
                <a:lnTo>
                  <a:pt x="12052" y="7238"/>
                </a:lnTo>
                <a:lnTo>
                  <a:pt x="12054" y="7234"/>
                </a:lnTo>
                <a:lnTo>
                  <a:pt x="12056" y="7228"/>
                </a:lnTo>
                <a:lnTo>
                  <a:pt x="12060" y="7228"/>
                </a:lnTo>
                <a:lnTo>
                  <a:pt x="12062" y="7230"/>
                </a:lnTo>
                <a:lnTo>
                  <a:pt x="12064" y="7234"/>
                </a:lnTo>
                <a:lnTo>
                  <a:pt x="12064" y="7236"/>
                </a:lnTo>
                <a:lnTo>
                  <a:pt x="12062" y="7236"/>
                </a:lnTo>
                <a:lnTo>
                  <a:pt x="12058" y="7238"/>
                </a:lnTo>
                <a:lnTo>
                  <a:pt x="12058" y="7240"/>
                </a:lnTo>
                <a:lnTo>
                  <a:pt x="12060" y="7246"/>
                </a:lnTo>
                <a:lnTo>
                  <a:pt x="12068" y="7248"/>
                </a:lnTo>
                <a:lnTo>
                  <a:pt x="12072" y="7248"/>
                </a:lnTo>
                <a:lnTo>
                  <a:pt x="12074" y="7244"/>
                </a:lnTo>
                <a:lnTo>
                  <a:pt x="12072" y="7232"/>
                </a:lnTo>
                <a:lnTo>
                  <a:pt x="12070" y="7218"/>
                </a:lnTo>
                <a:lnTo>
                  <a:pt x="12070" y="7214"/>
                </a:lnTo>
                <a:lnTo>
                  <a:pt x="12072" y="7210"/>
                </a:lnTo>
                <a:lnTo>
                  <a:pt x="12074" y="7208"/>
                </a:lnTo>
                <a:lnTo>
                  <a:pt x="12074" y="7204"/>
                </a:lnTo>
                <a:lnTo>
                  <a:pt x="12074" y="7198"/>
                </a:lnTo>
                <a:lnTo>
                  <a:pt x="12072" y="7192"/>
                </a:lnTo>
                <a:lnTo>
                  <a:pt x="12072" y="7188"/>
                </a:lnTo>
                <a:lnTo>
                  <a:pt x="12076" y="7186"/>
                </a:lnTo>
                <a:lnTo>
                  <a:pt x="12078" y="7184"/>
                </a:lnTo>
                <a:lnTo>
                  <a:pt x="12080" y="7184"/>
                </a:lnTo>
                <a:lnTo>
                  <a:pt x="12082" y="7190"/>
                </a:lnTo>
                <a:lnTo>
                  <a:pt x="12082" y="7194"/>
                </a:lnTo>
                <a:lnTo>
                  <a:pt x="12084" y="7194"/>
                </a:lnTo>
                <a:lnTo>
                  <a:pt x="12086" y="7192"/>
                </a:lnTo>
                <a:lnTo>
                  <a:pt x="12086" y="7188"/>
                </a:lnTo>
                <a:lnTo>
                  <a:pt x="12086" y="7186"/>
                </a:lnTo>
                <a:lnTo>
                  <a:pt x="12084" y="7180"/>
                </a:lnTo>
                <a:lnTo>
                  <a:pt x="12082" y="7170"/>
                </a:lnTo>
                <a:lnTo>
                  <a:pt x="12082" y="7164"/>
                </a:lnTo>
                <a:lnTo>
                  <a:pt x="12084" y="7156"/>
                </a:lnTo>
                <a:close/>
                <a:moveTo>
                  <a:pt x="12280" y="6382"/>
                </a:moveTo>
                <a:lnTo>
                  <a:pt x="12280" y="6382"/>
                </a:lnTo>
                <a:lnTo>
                  <a:pt x="12284" y="6378"/>
                </a:lnTo>
                <a:lnTo>
                  <a:pt x="12284" y="6372"/>
                </a:lnTo>
                <a:lnTo>
                  <a:pt x="12282" y="6364"/>
                </a:lnTo>
                <a:lnTo>
                  <a:pt x="12280" y="6352"/>
                </a:lnTo>
                <a:lnTo>
                  <a:pt x="12280" y="6344"/>
                </a:lnTo>
                <a:lnTo>
                  <a:pt x="12280" y="6334"/>
                </a:lnTo>
                <a:lnTo>
                  <a:pt x="12280" y="6318"/>
                </a:lnTo>
                <a:lnTo>
                  <a:pt x="12278" y="6316"/>
                </a:lnTo>
                <a:lnTo>
                  <a:pt x="12276" y="6314"/>
                </a:lnTo>
                <a:lnTo>
                  <a:pt x="12274" y="6312"/>
                </a:lnTo>
                <a:lnTo>
                  <a:pt x="12272" y="6310"/>
                </a:lnTo>
                <a:lnTo>
                  <a:pt x="12268" y="6304"/>
                </a:lnTo>
                <a:lnTo>
                  <a:pt x="12266" y="6296"/>
                </a:lnTo>
                <a:lnTo>
                  <a:pt x="12264" y="6284"/>
                </a:lnTo>
                <a:lnTo>
                  <a:pt x="12260" y="6276"/>
                </a:lnTo>
                <a:lnTo>
                  <a:pt x="12252" y="6264"/>
                </a:lnTo>
                <a:lnTo>
                  <a:pt x="12242" y="6252"/>
                </a:lnTo>
                <a:lnTo>
                  <a:pt x="12230" y="6236"/>
                </a:lnTo>
                <a:lnTo>
                  <a:pt x="12222" y="6224"/>
                </a:lnTo>
                <a:lnTo>
                  <a:pt x="12218" y="6222"/>
                </a:lnTo>
                <a:lnTo>
                  <a:pt x="12216" y="6222"/>
                </a:lnTo>
                <a:lnTo>
                  <a:pt x="12214" y="6220"/>
                </a:lnTo>
                <a:lnTo>
                  <a:pt x="12210" y="6218"/>
                </a:lnTo>
                <a:lnTo>
                  <a:pt x="12204" y="6214"/>
                </a:lnTo>
                <a:lnTo>
                  <a:pt x="12196" y="6206"/>
                </a:lnTo>
                <a:lnTo>
                  <a:pt x="12190" y="6194"/>
                </a:lnTo>
                <a:lnTo>
                  <a:pt x="12186" y="6184"/>
                </a:lnTo>
                <a:lnTo>
                  <a:pt x="12184" y="6174"/>
                </a:lnTo>
                <a:lnTo>
                  <a:pt x="12184" y="6166"/>
                </a:lnTo>
                <a:lnTo>
                  <a:pt x="12184" y="6150"/>
                </a:lnTo>
                <a:lnTo>
                  <a:pt x="12184" y="6144"/>
                </a:lnTo>
                <a:lnTo>
                  <a:pt x="12182" y="6138"/>
                </a:lnTo>
                <a:lnTo>
                  <a:pt x="12178" y="6136"/>
                </a:lnTo>
                <a:lnTo>
                  <a:pt x="12176" y="6136"/>
                </a:lnTo>
                <a:lnTo>
                  <a:pt x="12172" y="6140"/>
                </a:lnTo>
                <a:lnTo>
                  <a:pt x="12172" y="6142"/>
                </a:lnTo>
                <a:lnTo>
                  <a:pt x="12170" y="6144"/>
                </a:lnTo>
                <a:lnTo>
                  <a:pt x="12166" y="6140"/>
                </a:lnTo>
                <a:lnTo>
                  <a:pt x="12160" y="6134"/>
                </a:lnTo>
                <a:lnTo>
                  <a:pt x="12154" y="6130"/>
                </a:lnTo>
                <a:lnTo>
                  <a:pt x="12152" y="6128"/>
                </a:lnTo>
                <a:lnTo>
                  <a:pt x="12150" y="6132"/>
                </a:lnTo>
                <a:lnTo>
                  <a:pt x="12150" y="6136"/>
                </a:lnTo>
                <a:lnTo>
                  <a:pt x="12150" y="6142"/>
                </a:lnTo>
                <a:lnTo>
                  <a:pt x="12148" y="6144"/>
                </a:lnTo>
                <a:lnTo>
                  <a:pt x="12146" y="6144"/>
                </a:lnTo>
                <a:lnTo>
                  <a:pt x="12140" y="6140"/>
                </a:lnTo>
                <a:lnTo>
                  <a:pt x="12134" y="6132"/>
                </a:lnTo>
                <a:lnTo>
                  <a:pt x="12132" y="6126"/>
                </a:lnTo>
                <a:lnTo>
                  <a:pt x="12132" y="6120"/>
                </a:lnTo>
                <a:lnTo>
                  <a:pt x="12132" y="6114"/>
                </a:lnTo>
                <a:lnTo>
                  <a:pt x="12134" y="6104"/>
                </a:lnTo>
                <a:lnTo>
                  <a:pt x="12134" y="6100"/>
                </a:lnTo>
                <a:lnTo>
                  <a:pt x="12132" y="6092"/>
                </a:lnTo>
                <a:lnTo>
                  <a:pt x="12128" y="6086"/>
                </a:lnTo>
                <a:lnTo>
                  <a:pt x="12122" y="6078"/>
                </a:lnTo>
                <a:lnTo>
                  <a:pt x="12110" y="6062"/>
                </a:lnTo>
                <a:lnTo>
                  <a:pt x="12100" y="6050"/>
                </a:lnTo>
                <a:lnTo>
                  <a:pt x="12100" y="6048"/>
                </a:lnTo>
                <a:lnTo>
                  <a:pt x="12102" y="6046"/>
                </a:lnTo>
                <a:lnTo>
                  <a:pt x="12106" y="6046"/>
                </a:lnTo>
                <a:lnTo>
                  <a:pt x="12110" y="6044"/>
                </a:lnTo>
                <a:lnTo>
                  <a:pt x="12110" y="6042"/>
                </a:lnTo>
                <a:lnTo>
                  <a:pt x="12110" y="6038"/>
                </a:lnTo>
                <a:lnTo>
                  <a:pt x="12106" y="6034"/>
                </a:lnTo>
                <a:lnTo>
                  <a:pt x="12100" y="6028"/>
                </a:lnTo>
                <a:lnTo>
                  <a:pt x="12092" y="6022"/>
                </a:lnTo>
                <a:lnTo>
                  <a:pt x="12080" y="6018"/>
                </a:lnTo>
                <a:lnTo>
                  <a:pt x="12070" y="6012"/>
                </a:lnTo>
                <a:lnTo>
                  <a:pt x="12062" y="6008"/>
                </a:lnTo>
                <a:lnTo>
                  <a:pt x="12058" y="6004"/>
                </a:lnTo>
                <a:lnTo>
                  <a:pt x="12056" y="6000"/>
                </a:lnTo>
                <a:lnTo>
                  <a:pt x="12054" y="5996"/>
                </a:lnTo>
                <a:lnTo>
                  <a:pt x="12050" y="5992"/>
                </a:lnTo>
                <a:lnTo>
                  <a:pt x="12044" y="5988"/>
                </a:lnTo>
                <a:lnTo>
                  <a:pt x="12034" y="5986"/>
                </a:lnTo>
                <a:lnTo>
                  <a:pt x="12024" y="5982"/>
                </a:lnTo>
                <a:lnTo>
                  <a:pt x="12016" y="5978"/>
                </a:lnTo>
                <a:lnTo>
                  <a:pt x="12012" y="5972"/>
                </a:lnTo>
                <a:lnTo>
                  <a:pt x="12008" y="5968"/>
                </a:lnTo>
                <a:lnTo>
                  <a:pt x="12004" y="5954"/>
                </a:lnTo>
                <a:lnTo>
                  <a:pt x="12002" y="5948"/>
                </a:lnTo>
                <a:lnTo>
                  <a:pt x="11998" y="5942"/>
                </a:lnTo>
                <a:lnTo>
                  <a:pt x="11996" y="5934"/>
                </a:lnTo>
                <a:lnTo>
                  <a:pt x="11994" y="5926"/>
                </a:lnTo>
                <a:lnTo>
                  <a:pt x="11994" y="5904"/>
                </a:lnTo>
                <a:lnTo>
                  <a:pt x="11992" y="5892"/>
                </a:lnTo>
                <a:lnTo>
                  <a:pt x="11990" y="5880"/>
                </a:lnTo>
                <a:lnTo>
                  <a:pt x="11986" y="5868"/>
                </a:lnTo>
                <a:lnTo>
                  <a:pt x="11978" y="5856"/>
                </a:lnTo>
                <a:lnTo>
                  <a:pt x="11974" y="5852"/>
                </a:lnTo>
                <a:lnTo>
                  <a:pt x="11972" y="5846"/>
                </a:lnTo>
                <a:lnTo>
                  <a:pt x="11968" y="5832"/>
                </a:lnTo>
                <a:lnTo>
                  <a:pt x="11968" y="5818"/>
                </a:lnTo>
                <a:lnTo>
                  <a:pt x="11968" y="5804"/>
                </a:lnTo>
                <a:lnTo>
                  <a:pt x="11966" y="5790"/>
                </a:lnTo>
                <a:lnTo>
                  <a:pt x="11964" y="5776"/>
                </a:lnTo>
                <a:lnTo>
                  <a:pt x="11960" y="5766"/>
                </a:lnTo>
                <a:lnTo>
                  <a:pt x="11958" y="5760"/>
                </a:lnTo>
                <a:lnTo>
                  <a:pt x="11952" y="5758"/>
                </a:lnTo>
                <a:lnTo>
                  <a:pt x="11944" y="5750"/>
                </a:lnTo>
                <a:lnTo>
                  <a:pt x="11938" y="5744"/>
                </a:lnTo>
                <a:lnTo>
                  <a:pt x="11932" y="5732"/>
                </a:lnTo>
                <a:lnTo>
                  <a:pt x="11930" y="5728"/>
                </a:lnTo>
                <a:lnTo>
                  <a:pt x="11928" y="5728"/>
                </a:lnTo>
                <a:lnTo>
                  <a:pt x="11924" y="5730"/>
                </a:lnTo>
                <a:lnTo>
                  <a:pt x="11920" y="5736"/>
                </a:lnTo>
                <a:lnTo>
                  <a:pt x="11914" y="5742"/>
                </a:lnTo>
                <a:lnTo>
                  <a:pt x="11910" y="5744"/>
                </a:lnTo>
                <a:lnTo>
                  <a:pt x="11906" y="5740"/>
                </a:lnTo>
                <a:lnTo>
                  <a:pt x="11902" y="5736"/>
                </a:lnTo>
                <a:lnTo>
                  <a:pt x="11898" y="5728"/>
                </a:lnTo>
                <a:lnTo>
                  <a:pt x="11896" y="5720"/>
                </a:lnTo>
                <a:lnTo>
                  <a:pt x="11894" y="5704"/>
                </a:lnTo>
                <a:lnTo>
                  <a:pt x="11894" y="5690"/>
                </a:lnTo>
                <a:lnTo>
                  <a:pt x="11894" y="5674"/>
                </a:lnTo>
                <a:lnTo>
                  <a:pt x="11890" y="5660"/>
                </a:lnTo>
                <a:lnTo>
                  <a:pt x="11886" y="5652"/>
                </a:lnTo>
                <a:lnTo>
                  <a:pt x="11882" y="5646"/>
                </a:lnTo>
                <a:lnTo>
                  <a:pt x="11878" y="5640"/>
                </a:lnTo>
                <a:lnTo>
                  <a:pt x="11876" y="5636"/>
                </a:lnTo>
                <a:lnTo>
                  <a:pt x="11878" y="5628"/>
                </a:lnTo>
                <a:lnTo>
                  <a:pt x="11878" y="5622"/>
                </a:lnTo>
                <a:lnTo>
                  <a:pt x="11878" y="5620"/>
                </a:lnTo>
                <a:lnTo>
                  <a:pt x="11874" y="5618"/>
                </a:lnTo>
                <a:lnTo>
                  <a:pt x="11870" y="5616"/>
                </a:lnTo>
                <a:lnTo>
                  <a:pt x="11868" y="5612"/>
                </a:lnTo>
                <a:lnTo>
                  <a:pt x="11864" y="5602"/>
                </a:lnTo>
                <a:lnTo>
                  <a:pt x="11862" y="5588"/>
                </a:lnTo>
                <a:lnTo>
                  <a:pt x="11860" y="5572"/>
                </a:lnTo>
                <a:lnTo>
                  <a:pt x="11858" y="5566"/>
                </a:lnTo>
                <a:lnTo>
                  <a:pt x="11854" y="5562"/>
                </a:lnTo>
                <a:lnTo>
                  <a:pt x="11850" y="5560"/>
                </a:lnTo>
                <a:lnTo>
                  <a:pt x="11846" y="5560"/>
                </a:lnTo>
                <a:lnTo>
                  <a:pt x="11842" y="5562"/>
                </a:lnTo>
                <a:lnTo>
                  <a:pt x="11840" y="5566"/>
                </a:lnTo>
                <a:lnTo>
                  <a:pt x="11838" y="5570"/>
                </a:lnTo>
                <a:lnTo>
                  <a:pt x="11836" y="5578"/>
                </a:lnTo>
                <a:lnTo>
                  <a:pt x="11834" y="5592"/>
                </a:lnTo>
                <a:lnTo>
                  <a:pt x="11832" y="5602"/>
                </a:lnTo>
                <a:lnTo>
                  <a:pt x="11820" y="5632"/>
                </a:lnTo>
                <a:lnTo>
                  <a:pt x="11816" y="5642"/>
                </a:lnTo>
                <a:lnTo>
                  <a:pt x="11816" y="5648"/>
                </a:lnTo>
                <a:lnTo>
                  <a:pt x="11818" y="5650"/>
                </a:lnTo>
                <a:lnTo>
                  <a:pt x="11820" y="5652"/>
                </a:lnTo>
                <a:lnTo>
                  <a:pt x="11824" y="5654"/>
                </a:lnTo>
                <a:lnTo>
                  <a:pt x="11822" y="5656"/>
                </a:lnTo>
                <a:lnTo>
                  <a:pt x="11820" y="5660"/>
                </a:lnTo>
                <a:lnTo>
                  <a:pt x="11814" y="5668"/>
                </a:lnTo>
                <a:lnTo>
                  <a:pt x="11814" y="5676"/>
                </a:lnTo>
                <a:lnTo>
                  <a:pt x="11814" y="5684"/>
                </a:lnTo>
                <a:lnTo>
                  <a:pt x="11810" y="5698"/>
                </a:lnTo>
                <a:lnTo>
                  <a:pt x="11808" y="5706"/>
                </a:lnTo>
                <a:lnTo>
                  <a:pt x="11808" y="5716"/>
                </a:lnTo>
                <a:lnTo>
                  <a:pt x="11810" y="5738"/>
                </a:lnTo>
                <a:lnTo>
                  <a:pt x="11814" y="5762"/>
                </a:lnTo>
                <a:lnTo>
                  <a:pt x="11814" y="5776"/>
                </a:lnTo>
                <a:lnTo>
                  <a:pt x="11812" y="5788"/>
                </a:lnTo>
                <a:lnTo>
                  <a:pt x="11808" y="5808"/>
                </a:lnTo>
                <a:lnTo>
                  <a:pt x="11806" y="5820"/>
                </a:lnTo>
                <a:lnTo>
                  <a:pt x="11806" y="5830"/>
                </a:lnTo>
                <a:lnTo>
                  <a:pt x="11800" y="5844"/>
                </a:lnTo>
                <a:lnTo>
                  <a:pt x="11794" y="5856"/>
                </a:lnTo>
                <a:lnTo>
                  <a:pt x="11790" y="5864"/>
                </a:lnTo>
                <a:lnTo>
                  <a:pt x="11788" y="5878"/>
                </a:lnTo>
                <a:lnTo>
                  <a:pt x="11784" y="5890"/>
                </a:lnTo>
                <a:lnTo>
                  <a:pt x="11780" y="5896"/>
                </a:lnTo>
                <a:lnTo>
                  <a:pt x="11774" y="5902"/>
                </a:lnTo>
                <a:lnTo>
                  <a:pt x="11766" y="5906"/>
                </a:lnTo>
                <a:lnTo>
                  <a:pt x="11758" y="5906"/>
                </a:lnTo>
                <a:lnTo>
                  <a:pt x="11748" y="5904"/>
                </a:lnTo>
                <a:lnTo>
                  <a:pt x="11738" y="5900"/>
                </a:lnTo>
                <a:lnTo>
                  <a:pt x="11730" y="5894"/>
                </a:lnTo>
                <a:lnTo>
                  <a:pt x="11722" y="5888"/>
                </a:lnTo>
                <a:lnTo>
                  <a:pt x="11716" y="5880"/>
                </a:lnTo>
                <a:lnTo>
                  <a:pt x="11714" y="5876"/>
                </a:lnTo>
                <a:lnTo>
                  <a:pt x="11710" y="5870"/>
                </a:lnTo>
                <a:lnTo>
                  <a:pt x="11708" y="5866"/>
                </a:lnTo>
                <a:lnTo>
                  <a:pt x="11698" y="5862"/>
                </a:lnTo>
                <a:lnTo>
                  <a:pt x="11692" y="5862"/>
                </a:lnTo>
                <a:lnTo>
                  <a:pt x="11684" y="5858"/>
                </a:lnTo>
                <a:lnTo>
                  <a:pt x="11674" y="5850"/>
                </a:lnTo>
                <a:lnTo>
                  <a:pt x="11662" y="5840"/>
                </a:lnTo>
                <a:lnTo>
                  <a:pt x="11648" y="5828"/>
                </a:lnTo>
                <a:lnTo>
                  <a:pt x="11640" y="5822"/>
                </a:lnTo>
                <a:lnTo>
                  <a:pt x="11632" y="5818"/>
                </a:lnTo>
                <a:lnTo>
                  <a:pt x="11626" y="5816"/>
                </a:lnTo>
                <a:lnTo>
                  <a:pt x="11618" y="5814"/>
                </a:lnTo>
                <a:lnTo>
                  <a:pt x="11612" y="5812"/>
                </a:lnTo>
                <a:lnTo>
                  <a:pt x="11604" y="5804"/>
                </a:lnTo>
                <a:lnTo>
                  <a:pt x="11592" y="5792"/>
                </a:lnTo>
                <a:lnTo>
                  <a:pt x="11582" y="5784"/>
                </a:lnTo>
                <a:lnTo>
                  <a:pt x="11570" y="5772"/>
                </a:lnTo>
                <a:lnTo>
                  <a:pt x="11566" y="5766"/>
                </a:lnTo>
                <a:lnTo>
                  <a:pt x="11568" y="5760"/>
                </a:lnTo>
                <a:lnTo>
                  <a:pt x="11572" y="5752"/>
                </a:lnTo>
                <a:lnTo>
                  <a:pt x="11578" y="5738"/>
                </a:lnTo>
                <a:lnTo>
                  <a:pt x="11586" y="5724"/>
                </a:lnTo>
                <a:lnTo>
                  <a:pt x="11590" y="5714"/>
                </a:lnTo>
                <a:lnTo>
                  <a:pt x="11590" y="5710"/>
                </a:lnTo>
                <a:lnTo>
                  <a:pt x="11588" y="5708"/>
                </a:lnTo>
                <a:lnTo>
                  <a:pt x="11586" y="5708"/>
                </a:lnTo>
                <a:lnTo>
                  <a:pt x="11584" y="5706"/>
                </a:lnTo>
                <a:lnTo>
                  <a:pt x="11584" y="5702"/>
                </a:lnTo>
                <a:lnTo>
                  <a:pt x="11588" y="5692"/>
                </a:lnTo>
                <a:lnTo>
                  <a:pt x="11594" y="5682"/>
                </a:lnTo>
                <a:lnTo>
                  <a:pt x="11598" y="5680"/>
                </a:lnTo>
                <a:lnTo>
                  <a:pt x="11602" y="5682"/>
                </a:lnTo>
                <a:lnTo>
                  <a:pt x="11604" y="5684"/>
                </a:lnTo>
                <a:lnTo>
                  <a:pt x="11606" y="5688"/>
                </a:lnTo>
                <a:lnTo>
                  <a:pt x="11608" y="5690"/>
                </a:lnTo>
                <a:lnTo>
                  <a:pt x="11608" y="5686"/>
                </a:lnTo>
                <a:lnTo>
                  <a:pt x="11610" y="5676"/>
                </a:lnTo>
                <a:lnTo>
                  <a:pt x="11612" y="5664"/>
                </a:lnTo>
                <a:lnTo>
                  <a:pt x="11616" y="5656"/>
                </a:lnTo>
                <a:lnTo>
                  <a:pt x="11620" y="5650"/>
                </a:lnTo>
                <a:lnTo>
                  <a:pt x="11626" y="5646"/>
                </a:lnTo>
                <a:lnTo>
                  <a:pt x="11630" y="5644"/>
                </a:lnTo>
                <a:lnTo>
                  <a:pt x="11630" y="5640"/>
                </a:lnTo>
                <a:lnTo>
                  <a:pt x="11630" y="5638"/>
                </a:lnTo>
                <a:lnTo>
                  <a:pt x="11626" y="5634"/>
                </a:lnTo>
                <a:lnTo>
                  <a:pt x="11620" y="5630"/>
                </a:lnTo>
                <a:lnTo>
                  <a:pt x="11616" y="5626"/>
                </a:lnTo>
                <a:lnTo>
                  <a:pt x="11614" y="5620"/>
                </a:lnTo>
                <a:lnTo>
                  <a:pt x="11612" y="5618"/>
                </a:lnTo>
                <a:lnTo>
                  <a:pt x="11610" y="5616"/>
                </a:lnTo>
                <a:lnTo>
                  <a:pt x="11604" y="5620"/>
                </a:lnTo>
                <a:lnTo>
                  <a:pt x="11600" y="5624"/>
                </a:lnTo>
                <a:lnTo>
                  <a:pt x="11598" y="5628"/>
                </a:lnTo>
                <a:lnTo>
                  <a:pt x="11598" y="5632"/>
                </a:lnTo>
                <a:lnTo>
                  <a:pt x="11600" y="5636"/>
                </a:lnTo>
                <a:lnTo>
                  <a:pt x="11598" y="5640"/>
                </a:lnTo>
                <a:lnTo>
                  <a:pt x="11596" y="5642"/>
                </a:lnTo>
                <a:lnTo>
                  <a:pt x="11592" y="5644"/>
                </a:lnTo>
                <a:lnTo>
                  <a:pt x="11590" y="5642"/>
                </a:lnTo>
                <a:lnTo>
                  <a:pt x="11588" y="5638"/>
                </a:lnTo>
                <a:lnTo>
                  <a:pt x="11588" y="5632"/>
                </a:lnTo>
                <a:lnTo>
                  <a:pt x="11588" y="5630"/>
                </a:lnTo>
                <a:lnTo>
                  <a:pt x="11586" y="5628"/>
                </a:lnTo>
                <a:lnTo>
                  <a:pt x="11584" y="5628"/>
                </a:lnTo>
                <a:lnTo>
                  <a:pt x="11584" y="5624"/>
                </a:lnTo>
                <a:lnTo>
                  <a:pt x="11584" y="5616"/>
                </a:lnTo>
                <a:lnTo>
                  <a:pt x="11584" y="5614"/>
                </a:lnTo>
                <a:lnTo>
                  <a:pt x="11582" y="5614"/>
                </a:lnTo>
                <a:lnTo>
                  <a:pt x="11576" y="5616"/>
                </a:lnTo>
                <a:lnTo>
                  <a:pt x="11568" y="5622"/>
                </a:lnTo>
                <a:lnTo>
                  <a:pt x="11558" y="5630"/>
                </a:lnTo>
                <a:lnTo>
                  <a:pt x="11552" y="5632"/>
                </a:lnTo>
                <a:lnTo>
                  <a:pt x="11548" y="5632"/>
                </a:lnTo>
                <a:lnTo>
                  <a:pt x="11544" y="5630"/>
                </a:lnTo>
                <a:lnTo>
                  <a:pt x="11540" y="5624"/>
                </a:lnTo>
                <a:lnTo>
                  <a:pt x="11536" y="5622"/>
                </a:lnTo>
                <a:lnTo>
                  <a:pt x="11530" y="5624"/>
                </a:lnTo>
                <a:lnTo>
                  <a:pt x="11524" y="5626"/>
                </a:lnTo>
                <a:lnTo>
                  <a:pt x="11518" y="5624"/>
                </a:lnTo>
                <a:lnTo>
                  <a:pt x="11514" y="5622"/>
                </a:lnTo>
                <a:lnTo>
                  <a:pt x="11512" y="5618"/>
                </a:lnTo>
                <a:lnTo>
                  <a:pt x="11506" y="5612"/>
                </a:lnTo>
                <a:lnTo>
                  <a:pt x="11500" y="5610"/>
                </a:lnTo>
                <a:lnTo>
                  <a:pt x="11494" y="5608"/>
                </a:lnTo>
                <a:lnTo>
                  <a:pt x="11484" y="5608"/>
                </a:lnTo>
                <a:lnTo>
                  <a:pt x="11478" y="5606"/>
                </a:lnTo>
                <a:lnTo>
                  <a:pt x="11474" y="5604"/>
                </a:lnTo>
                <a:lnTo>
                  <a:pt x="11472" y="5600"/>
                </a:lnTo>
                <a:lnTo>
                  <a:pt x="11468" y="5594"/>
                </a:lnTo>
                <a:lnTo>
                  <a:pt x="11466" y="5592"/>
                </a:lnTo>
                <a:lnTo>
                  <a:pt x="11462" y="5592"/>
                </a:lnTo>
                <a:lnTo>
                  <a:pt x="11458" y="5594"/>
                </a:lnTo>
                <a:lnTo>
                  <a:pt x="11456" y="5594"/>
                </a:lnTo>
                <a:lnTo>
                  <a:pt x="11452" y="5590"/>
                </a:lnTo>
                <a:lnTo>
                  <a:pt x="11448" y="5586"/>
                </a:lnTo>
                <a:lnTo>
                  <a:pt x="11444" y="5584"/>
                </a:lnTo>
                <a:lnTo>
                  <a:pt x="11438" y="5582"/>
                </a:lnTo>
                <a:lnTo>
                  <a:pt x="11428" y="5582"/>
                </a:lnTo>
                <a:lnTo>
                  <a:pt x="11422" y="5584"/>
                </a:lnTo>
                <a:lnTo>
                  <a:pt x="11420" y="5586"/>
                </a:lnTo>
                <a:lnTo>
                  <a:pt x="11420" y="5588"/>
                </a:lnTo>
                <a:lnTo>
                  <a:pt x="11424" y="5596"/>
                </a:lnTo>
                <a:lnTo>
                  <a:pt x="11428" y="5598"/>
                </a:lnTo>
                <a:lnTo>
                  <a:pt x="11432" y="5600"/>
                </a:lnTo>
                <a:lnTo>
                  <a:pt x="11444" y="5600"/>
                </a:lnTo>
                <a:lnTo>
                  <a:pt x="11448" y="5600"/>
                </a:lnTo>
                <a:lnTo>
                  <a:pt x="11452" y="5604"/>
                </a:lnTo>
                <a:lnTo>
                  <a:pt x="11454" y="5608"/>
                </a:lnTo>
                <a:lnTo>
                  <a:pt x="11452" y="5618"/>
                </a:lnTo>
                <a:lnTo>
                  <a:pt x="11448" y="5634"/>
                </a:lnTo>
                <a:lnTo>
                  <a:pt x="11448" y="5636"/>
                </a:lnTo>
                <a:lnTo>
                  <a:pt x="11446" y="5636"/>
                </a:lnTo>
                <a:lnTo>
                  <a:pt x="11438" y="5634"/>
                </a:lnTo>
                <a:lnTo>
                  <a:pt x="11432" y="5634"/>
                </a:lnTo>
                <a:lnTo>
                  <a:pt x="11422" y="5634"/>
                </a:lnTo>
                <a:lnTo>
                  <a:pt x="11412" y="5636"/>
                </a:lnTo>
                <a:lnTo>
                  <a:pt x="11406" y="5636"/>
                </a:lnTo>
                <a:lnTo>
                  <a:pt x="11400" y="5632"/>
                </a:lnTo>
                <a:lnTo>
                  <a:pt x="11396" y="5632"/>
                </a:lnTo>
                <a:lnTo>
                  <a:pt x="11390" y="5634"/>
                </a:lnTo>
                <a:lnTo>
                  <a:pt x="11370" y="5648"/>
                </a:lnTo>
                <a:lnTo>
                  <a:pt x="11358" y="5658"/>
                </a:lnTo>
                <a:lnTo>
                  <a:pt x="11350" y="5666"/>
                </a:lnTo>
                <a:lnTo>
                  <a:pt x="11348" y="5672"/>
                </a:lnTo>
                <a:lnTo>
                  <a:pt x="11346" y="5678"/>
                </a:lnTo>
                <a:lnTo>
                  <a:pt x="11346" y="5684"/>
                </a:lnTo>
                <a:lnTo>
                  <a:pt x="11344" y="5690"/>
                </a:lnTo>
                <a:lnTo>
                  <a:pt x="11340" y="5700"/>
                </a:lnTo>
                <a:lnTo>
                  <a:pt x="11332" y="5714"/>
                </a:lnTo>
                <a:lnTo>
                  <a:pt x="11324" y="5728"/>
                </a:lnTo>
                <a:lnTo>
                  <a:pt x="11320" y="5738"/>
                </a:lnTo>
                <a:lnTo>
                  <a:pt x="11322" y="5744"/>
                </a:lnTo>
                <a:lnTo>
                  <a:pt x="11324" y="5750"/>
                </a:lnTo>
                <a:lnTo>
                  <a:pt x="11332" y="5756"/>
                </a:lnTo>
                <a:lnTo>
                  <a:pt x="11332" y="5760"/>
                </a:lnTo>
                <a:lnTo>
                  <a:pt x="11328" y="5764"/>
                </a:lnTo>
                <a:lnTo>
                  <a:pt x="11322" y="5768"/>
                </a:lnTo>
                <a:lnTo>
                  <a:pt x="11318" y="5770"/>
                </a:lnTo>
                <a:lnTo>
                  <a:pt x="11314" y="5768"/>
                </a:lnTo>
                <a:lnTo>
                  <a:pt x="11310" y="5766"/>
                </a:lnTo>
                <a:lnTo>
                  <a:pt x="11302" y="5762"/>
                </a:lnTo>
                <a:lnTo>
                  <a:pt x="11296" y="5760"/>
                </a:lnTo>
                <a:lnTo>
                  <a:pt x="11288" y="5760"/>
                </a:lnTo>
                <a:lnTo>
                  <a:pt x="11284" y="5760"/>
                </a:lnTo>
                <a:lnTo>
                  <a:pt x="11278" y="5758"/>
                </a:lnTo>
                <a:lnTo>
                  <a:pt x="11268" y="5750"/>
                </a:lnTo>
                <a:lnTo>
                  <a:pt x="11244" y="5726"/>
                </a:lnTo>
                <a:lnTo>
                  <a:pt x="11232" y="5716"/>
                </a:lnTo>
                <a:lnTo>
                  <a:pt x="11224" y="5708"/>
                </a:lnTo>
                <a:lnTo>
                  <a:pt x="11220" y="5706"/>
                </a:lnTo>
                <a:lnTo>
                  <a:pt x="11218" y="5706"/>
                </a:lnTo>
                <a:lnTo>
                  <a:pt x="11216" y="5710"/>
                </a:lnTo>
                <a:lnTo>
                  <a:pt x="11214" y="5714"/>
                </a:lnTo>
                <a:lnTo>
                  <a:pt x="11214" y="5722"/>
                </a:lnTo>
                <a:lnTo>
                  <a:pt x="11210" y="5724"/>
                </a:lnTo>
                <a:lnTo>
                  <a:pt x="11206" y="5724"/>
                </a:lnTo>
                <a:lnTo>
                  <a:pt x="11202" y="5720"/>
                </a:lnTo>
                <a:lnTo>
                  <a:pt x="11196" y="5718"/>
                </a:lnTo>
                <a:lnTo>
                  <a:pt x="11192" y="5718"/>
                </a:lnTo>
                <a:lnTo>
                  <a:pt x="11188" y="5720"/>
                </a:lnTo>
                <a:lnTo>
                  <a:pt x="11186" y="5730"/>
                </a:lnTo>
                <a:lnTo>
                  <a:pt x="11186" y="5738"/>
                </a:lnTo>
                <a:lnTo>
                  <a:pt x="11184" y="5740"/>
                </a:lnTo>
                <a:lnTo>
                  <a:pt x="11180" y="5740"/>
                </a:lnTo>
                <a:lnTo>
                  <a:pt x="11178" y="5738"/>
                </a:lnTo>
                <a:lnTo>
                  <a:pt x="11174" y="5736"/>
                </a:lnTo>
                <a:lnTo>
                  <a:pt x="11168" y="5738"/>
                </a:lnTo>
                <a:lnTo>
                  <a:pt x="11162" y="5744"/>
                </a:lnTo>
                <a:lnTo>
                  <a:pt x="11154" y="5756"/>
                </a:lnTo>
                <a:lnTo>
                  <a:pt x="11146" y="5772"/>
                </a:lnTo>
                <a:lnTo>
                  <a:pt x="11138" y="5780"/>
                </a:lnTo>
                <a:lnTo>
                  <a:pt x="11128" y="5792"/>
                </a:lnTo>
                <a:lnTo>
                  <a:pt x="11124" y="5796"/>
                </a:lnTo>
                <a:lnTo>
                  <a:pt x="11122" y="5800"/>
                </a:lnTo>
                <a:lnTo>
                  <a:pt x="11120" y="5808"/>
                </a:lnTo>
                <a:lnTo>
                  <a:pt x="11120" y="5820"/>
                </a:lnTo>
                <a:lnTo>
                  <a:pt x="11118" y="5834"/>
                </a:lnTo>
                <a:lnTo>
                  <a:pt x="11116" y="5838"/>
                </a:lnTo>
                <a:lnTo>
                  <a:pt x="11114" y="5838"/>
                </a:lnTo>
                <a:lnTo>
                  <a:pt x="11110" y="5838"/>
                </a:lnTo>
                <a:lnTo>
                  <a:pt x="11104" y="5834"/>
                </a:lnTo>
                <a:lnTo>
                  <a:pt x="11098" y="5832"/>
                </a:lnTo>
                <a:lnTo>
                  <a:pt x="11096" y="5832"/>
                </a:lnTo>
                <a:lnTo>
                  <a:pt x="11094" y="5834"/>
                </a:lnTo>
                <a:lnTo>
                  <a:pt x="11090" y="5838"/>
                </a:lnTo>
                <a:lnTo>
                  <a:pt x="11088" y="5842"/>
                </a:lnTo>
                <a:lnTo>
                  <a:pt x="11086" y="5864"/>
                </a:lnTo>
                <a:lnTo>
                  <a:pt x="11084" y="5878"/>
                </a:lnTo>
                <a:lnTo>
                  <a:pt x="11084" y="5882"/>
                </a:lnTo>
                <a:lnTo>
                  <a:pt x="11078" y="5866"/>
                </a:lnTo>
                <a:lnTo>
                  <a:pt x="11074" y="5856"/>
                </a:lnTo>
                <a:lnTo>
                  <a:pt x="11070" y="5852"/>
                </a:lnTo>
                <a:lnTo>
                  <a:pt x="11066" y="5850"/>
                </a:lnTo>
                <a:lnTo>
                  <a:pt x="11062" y="5848"/>
                </a:lnTo>
                <a:lnTo>
                  <a:pt x="11058" y="5850"/>
                </a:lnTo>
                <a:lnTo>
                  <a:pt x="11052" y="5854"/>
                </a:lnTo>
                <a:lnTo>
                  <a:pt x="11046" y="5862"/>
                </a:lnTo>
                <a:lnTo>
                  <a:pt x="11036" y="5878"/>
                </a:lnTo>
                <a:lnTo>
                  <a:pt x="11032" y="5892"/>
                </a:lnTo>
                <a:lnTo>
                  <a:pt x="11030" y="5902"/>
                </a:lnTo>
                <a:lnTo>
                  <a:pt x="11032" y="5912"/>
                </a:lnTo>
                <a:lnTo>
                  <a:pt x="11034" y="5918"/>
                </a:lnTo>
                <a:lnTo>
                  <a:pt x="11032" y="5926"/>
                </a:lnTo>
                <a:lnTo>
                  <a:pt x="11030" y="5932"/>
                </a:lnTo>
                <a:lnTo>
                  <a:pt x="11020" y="5942"/>
                </a:lnTo>
                <a:lnTo>
                  <a:pt x="11014" y="5948"/>
                </a:lnTo>
                <a:lnTo>
                  <a:pt x="11010" y="5954"/>
                </a:lnTo>
                <a:lnTo>
                  <a:pt x="11004" y="5970"/>
                </a:lnTo>
                <a:lnTo>
                  <a:pt x="11000" y="5978"/>
                </a:lnTo>
                <a:lnTo>
                  <a:pt x="10994" y="5988"/>
                </a:lnTo>
                <a:lnTo>
                  <a:pt x="10986" y="5998"/>
                </a:lnTo>
                <a:lnTo>
                  <a:pt x="10974" y="6006"/>
                </a:lnTo>
                <a:lnTo>
                  <a:pt x="10960" y="6014"/>
                </a:lnTo>
                <a:lnTo>
                  <a:pt x="10948" y="6020"/>
                </a:lnTo>
                <a:lnTo>
                  <a:pt x="10936" y="6020"/>
                </a:lnTo>
                <a:lnTo>
                  <a:pt x="10926" y="6020"/>
                </a:lnTo>
                <a:lnTo>
                  <a:pt x="10910" y="6020"/>
                </a:lnTo>
                <a:lnTo>
                  <a:pt x="10906" y="6020"/>
                </a:lnTo>
                <a:lnTo>
                  <a:pt x="10902" y="6024"/>
                </a:lnTo>
                <a:lnTo>
                  <a:pt x="10898" y="6030"/>
                </a:lnTo>
                <a:lnTo>
                  <a:pt x="10894" y="6032"/>
                </a:lnTo>
                <a:lnTo>
                  <a:pt x="10884" y="6038"/>
                </a:lnTo>
                <a:lnTo>
                  <a:pt x="10868" y="6042"/>
                </a:lnTo>
                <a:lnTo>
                  <a:pt x="10850" y="6052"/>
                </a:lnTo>
                <a:lnTo>
                  <a:pt x="10840" y="6056"/>
                </a:lnTo>
                <a:lnTo>
                  <a:pt x="10832" y="6056"/>
                </a:lnTo>
                <a:lnTo>
                  <a:pt x="10820" y="6052"/>
                </a:lnTo>
                <a:lnTo>
                  <a:pt x="10812" y="6050"/>
                </a:lnTo>
                <a:lnTo>
                  <a:pt x="10804" y="6052"/>
                </a:lnTo>
                <a:lnTo>
                  <a:pt x="10794" y="6060"/>
                </a:lnTo>
                <a:lnTo>
                  <a:pt x="10782" y="6074"/>
                </a:lnTo>
                <a:lnTo>
                  <a:pt x="10768" y="6088"/>
                </a:lnTo>
                <a:lnTo>
                  <a:pt x="10758" y="6096"/>
                </a:lnTo>
                <a:lnTo>
                  <a:pt x="10748" y="6102"/>
                </a:lnTo>
                <a:lnTo>
                  <a:pt x="10742" y="6106"/>
                </a:lnTo>
                <a:lnTo>
                  <a:pt x="10736" y="6108"/>
                </a:lnTo>
                <a:lnTo>
                  <a:pt x="10730" y="6112"/>
                </a:lnTo>
                <a:lnTo>
                  <a:pt x="10726" y="6120"/>
                </a:lnTo>
                <a:lnTo>
                  <a:pt x="10720" y="6134"/>
                </a:lnTo>
                <a:lnTo>
                  <a:pt x="10714" y="6144"/>
                </a:lnTo>
                <a:lnTo>
                  <a:pt x="10712" y="6144"/>
                </a:lnTo>
                <a:lnTo>
                  <a:pt x="10710" y="6140"/>
                </a:lnTo>
                <a:lnTo>
                  <a:pt x="10710" y="6132"/>
                </a:lnTo>
                <a:lnTo>
                  <a:pt x="10708" y="6124"/>
                </a:lnTo>
                <a:lnTo>
                  <a:pt x="10706" y="6118"/>
                </a:lnTo>
                <a:lnTo>
                  <a:pt x="10704" y="6116"/>
                </a:lnTo>
                <a:lnTo>
                  <a:pt x="10702" y="6118"/>
                </a:lnTo>
                <a:lnTo>
                  <a:pt x="10694" y="6128"/>
                </a:lnTo>
                <a:lnTo>
                  <a:pt x="10688" y="6140"/>
                </a:lnTo>
                <a:lnTo>
                  <a:pt x="10686" y="6150"/>
                </a:lnTo>
                <a:lnTo>
                  <a:pt x="10688" y="6158"/>
                </a:lnTo>
                <a:lnTo>
                  <a:pt x="10690" y="6166"/>
                </a:lnTo>
                <a:lnTo>
                  <a:pt x="10692" y="6174"/>
                </a:lnTo>
                <a:lnTo>
                  <a:pt x="10692" y="6182"/>
                </a:lnTo>
                <a:lnTo>
                  <a:pt x="10690" y="6194"/>
                </a:lnTo>
                <a:lnTo>
                  <a:pt x="10682" y="6210"/>
                </a:lnTo>
                <a:lnTo>
                  <a:pt x="10678" y="6218"/>
                </a:lnTo>
                <a:lnTo>
                  <a:pt x="10676" y="6226"/>
                </a:lnTo>
                <a:lnTo>
                  <a:pt x="10674" y="6236"/>
                </a:lnTo>
                <a:lnTo>
                  <a:pt x="10674" y="6244"/>
                </a:lnTo>
                <a:lnTo>
                  <a:pt x="10680" y="6260"/>
                </a:lnTo>
                <a:lnTo>
                  <a:pt x="10686" y="6276"/>
                </a:lnTo>
                <a:lnTo>
                  <a:pt x="10704" y="6306"/>
                </a:lnTo>
                <a:lnTo>
                  <a:pt x="10710" y="6320"/>
                </a:lnTo>
                <a:lnTo>
                  <a:pt x="10712" y="6326"/>
                </a:lnTo>
                <a:lnTo>
                  <a:pt x="10712" y="6334"/>
                </a:lnTo>
                <a:lnTo>
                  <a:pt x="10710" y="6342"/>
                </a:lnTo>
                <a:lnTo>
                  <a:pt x="10708" y="6344"/>
                </a:lnTo>
                <a:lnTo>
                  <a:pt x="10706" y="6342"/>
                </a:lnTo>
                <a:lnTo>
                  <a:pt x="10702" y="6338"/>
                </a:lnTo>
                <a:lnTo>
                  <a:pt x="10696" y="6328"/>
                </a:lnTo>
                <a:lnTo>
                  <a:pt x="10686" y="6308"/>
                </a:lnTo>
                <a:lnTo>
                  <a:pt x="10680" y="6302"/>
                </a:lnTo>
                <a:lnTo>
                  <a:pt x="10678" y="6304"/>
                </a:lnTo>
                <a:lnTo>
                  <a:pt x="10676" y="6310"/>
                </a:lnTo>
                <a:lnTo>
                  <a:pt x="10678" y="6316"/>
                </a:lnTo>
                <a:lnTo>
                  <a:pt x="10684" y="6330"/>
                </a:lnTo>
                <a:lnTo>
                  <a:pt x="10692" y="6344"/>
                </a:lnTo>
                <a:lnTo>
                  <a:pt x="10692" y="6350"/>
                </a:lnTo>
                <a:lnTo>
                  <a:pt x="10692" y="6354"/>
                </a:lnTo>
                <a:lnTo>
                  <a:pt x="10692" y="6356"/>
                </a:lnTo>
                <a:lnTo>
                  <a:pt x="10690" y="6356"/>
                </a:lnTo>
                <a:lnTo>
                  <a:pt x="10686" y="6352"/>
                </a:lnTo>
                <a:lnTo>
                  <a:pt x="10680" y="6338"/>
                </a:lnTo>
                <a:lnTo>
                  <a:pt x="10676" y="6332"/>
                </a:lnTo>
                <a:lnTo>
                  <a:pt x="10674" y="6328"/>
                </a:lnTo>
                <a:lnTo>
                  <a:pt x="10672" y="6328"/>
                </a:lnTo>
                <a:lnTo>
                  <a:pt x="10670" y="6336"/>
                </a:lnTo>
                <a:lnTo>
                  <a:pt x="10672" y="6346"/>
                </a:lnTo>
                <a:lnTo>
                  <a:pt x="10676" y="6354"/>
                </a:lnTo>
                <a:lnTo>
                  <a:pt x="10688" y="6374"/>
                </a:lnTo>
                <a:lnTo>
                  <a:pt x="10700" y="6394"/>
                </a:lnTo>
                <a:lnTo>
                  <a:pt x="10704" y="6404"/>
                </a:lnTo>
                <a:lnTo>
                  <a:pt x="10706" y="6414"/>
                </a:lnTo>
                <a:lnTo>
                  <a:pt x="10706" y="6430"/>
                </a:lnTo>
                <a:lnTo>
                  <a:pt x="10710" y="6440"/>
                </a:lnTo>
                <a:lnTo>
                  <a:pt x="10718" y="6454"/>
                </a:lnTo>
                <a:lnTo>
                  <a:pt x="10732" y="6478"/>
                </a:lnTo>
                <a:lnTo>
                  <a:pt x="10736" y="6490"/>
                </a:lnTo>
                <a:lnTo>
                  <a:pt x="10738" y="6502"/>
                </a:lnTo>
                <a:lnTo>
                  <a:pt x="10740" y="6522"/>
                </a:lnTo>
                <a:lnTo>
                  <a:pt x="10740" y="6534"/>
                </a:lnTo>
                <a:lnTo>
                  <a:pt x="10742" y="6550"/>
                </a:lnTo>
                <a:lnTo>
                  <a:pt x="10746" y="6570"/>
                </a:lnTo>
                <a:lnTo>
                  <a:pt x="10756" y="6594"/>
                </a:lnTo>
                <a:lnTo>
                  <a:pt x="10766" y="6620"/>
                </a:lnTo>
                <a:lnTo>
                  <a:pt x="10770" y="6638"/>
                </a:lnTo>
                <a:lnTo>
                  <a:pt x="10772" y="6650"/>
                </a:lnTo>
                <a:lnTo>
                  <a:pt x="10772" y="6658"/>
                </a:lnTo>
                <a:lnTo>
                  <a:pt x="10766" y="6670"/>
                </a:lnTo>
                <a:lnTo>
                  <a:pt x="10764" y="6676"/>
                </a:lnTo>
                <a:lnTo>
                  <a:pt x="10766" y="6686"/>
                </a:lnTo>
                <a:lnTo>
                  <a:pt x="10766" y="6696"/>
                </a:lnTo>
                <a:lnTo>
                  <a:pt x="10766" y="6704"/>
                </a:lnTo>
                <a:lnTo>
                  <a:pt x="10764" y="6712"/>
                </a:lnTo>
                <a:lnTo>
                  <a:pt x="10762" y="6716"/>
                </a:lnTo>
                <a:lnTo>
                  <a:pt x="10758" y="6720"/>
                </a:lnTo>
                <a:lnTo>
                  <a:pt x="10754" y="6724"/>
                </a:lnTo>
                <a:lnTo>
                  <a:pt x="10750" y="6724"/>
                </a:lnTo>
                <a:lnTo>
                  <a:pt x="10744" y="6722"/>
                </a:lnTo>
                <a:lnTo>
                  <a:pt x="10740" y="6722"/>
                </a:lnTo>
                <a:lnTo>
                  <a:pt x="10738" y="6726"/>
                </a:lnTo>
                <a:lnTo>
                  <a:pt x="10736" y="6734"/>
                </a:lnTo>
                <a:lnTo>
                  <a:pt x="10736" y="6742"/>
                </a:lnTo>
                <a:lnTo>
                  <a:pt x="10738" y="6750"/>
                </a:lnTo>
                <a:lnTo>
                  <a:pt x="10742" y="6756"/>
                </a:lnTo>
                <a:lnTo>
                  <a:pt x="10746" y="6760"/>
                </a:lnTo>
                <a:lnTo>
                  <a:pt x="10752" y="6762"/>
                </a:lnTo>
                <a:lnTo>
                  <a:pt x="10758" y="6762"/>
                </a:lnTo>
                <a:lnTo>
                  <a:pt x="10764" y="6766"/>
                </a:lnTo>
                <a:lnTo>
                  <a:pt x="10776" y="6778"/>
                </a:lnTo>
                <a:lnTo>
                  <a:pt x="10784" y="6786"/>
                </a:lnTo>
                <a:lnTo>
                  <a:pt x="10794" y="6792"/>
                </a:lnTo>
                <a:lnTo>
                  <a:pt x="10808" y="6798"/>
                </a:lnTo>
                <a:lnTo>
                  <a:pt x="10826" y="6802"/>
                </a:lnTo>
                <a:lnTo>
                  <a:pt x="10844" y="6802"/>
                </a:lnTo>
                <a:lnTo>
                  <a:pt x="10858" y="6800"/>
                </a:lnTo>
                <a:lnTo>
                  <a:pt x="10870" y="6794"/>
                </a:lnTo>
                <a:lnTo>
                  <a:pt x="10878" y="6788"/>
                </a:lnTo>
                <a:lnTo>
                  <a:pt x="10894" y="6776"/>
                </a:lnTo>
                <a:lnTo>
                  <a:pt x="10900" y="6772"/>
                </a:lnTo>
                <a:lnTo>
                  <a:pt x="10908" y="6770"/>
                </a:lnTo>
                <a:lnTo>
                  <a:pt x="10916" y="6768"/>
                </a:lnTo>
                <a:lnTo>
                  <a:pt x="10922" y="6764"/>
                </a:lnTo>
                <a:lnTo>
                  <a:pt x="10926" y="6760"/>
                </a:lnTo>
                <a:lnTo>
                  <a:pt x="10928" y="6754"/>
                </a:lnTo>
                <a:lnTo>
                  <a:pt x="10930" y="6748"/>
                </a:lnTo>
                <a:lnTo>
                  <a:pt x="10934" y="6744"/>
                </a:lnTo>
                <a:lnTo>
                  <a:pt x="10940" y="6740"/>
                </a:lnTo>
                <a:lnTo>
                  <a:pt x="10948" y="6740"/>
                </a:lnTo>
                <a:lnTo>
                  <a:pt x="10960" y="6740"/>
                </a:lnTo>
                <a:lnTo>
                  <a:pt x="10972" y="6738"/>
                </a:lnTo>
                <a:lnTo>
                  <a:pt x="10986" y="6734"/>
                </a:lnTo>
                <a:lnTo>
                  <a:pt x="10994" y="6734"/>
                </a:lnTo>
                <a:lnTo>
                  <a:pt x="11000" y="6732"/>
                </a:lnTo>
                <a:lnTo>
                  <a:pt x="11006" y="6734"/>
                </a:lnTo>
                <a:lnTo>
                  <a:pt x="11014" y="6738"/>
                </a:lnTo>
                <a:lnTo>
                  <a:pt x="11024" y="6742"/>
                </a:lnTo>
                <a:lnTo>
                  <a:pt x="11030" y="6744"/>
                </a:lnTo>
                <a:lnTo>
                  <a:pt x="11036" y="6742"/>
                </a:lnTo>
                <a:lnTo>
                  <a:pt x="11038" y="6740"/>
                </a:lnTo>
                <a:lnTo>
                  <a:pt x="11042" y="6738"/>
                </a:lnTo>
                <a:lnTo>
                  <a:pt x="11048" y="6736"/>
                </a:lnTo>
                <a:lnTo>
                  <a:pt x="11056" y="6738"/>
                </a:lnTo>
                <a:lnTo>
                  <a:pt x="11068" y="6740"/>
                </a:lnTo>
                <a:lnTo>
                  <a:pt x="11076" y="6742"/>
                </a:lnTo>
                <a:lnTo>
                  <a:pt x="11082" y="6742"/>
                </a:lnTo>
                <a:lnTo>
                  <a:pt x="11086" y="6740"/>
                </a:lnTo>
                <a:lnTo>
                  <a:pt x="11090" y="6738"/>
                </a:lnTo>
                <a:lnTo>
                  <a:pt x="11096" y="6730"/>
                </a:lnTo>
                <a:lnTo>
                  <a:pt x="11100" y="6718"/>
                </a:lnTo>
                <a:lnTo>
                  <a:pt x="11104" y="6706"/>
                </a:lnTo>
                <a:lnTo>
                  <a:pt x="11110" y="6696"/>
                </a:lnTo>
                <a:lnTo>
                  <a:pt x="11116" y="6688"/>
                </a:lnTo>
                <a:lnTo>
                  <a:pt x="11120" y="6686"/>
                </a:lnTo>
                <a:lnTo>
                  <a:pt x="11126" y="6686"/>
                </a:lnTo>
                <a:lnTo>
                  <a:pt x="11136" y="6684"/>
                </a:lnTo>
                <a:lnTo>
                  <a:pt x="11142" y="6680"/>
                </a:lnTo>
                <a:lnTo>
                  <a:pt x="11156" y="6666"/>
                </a:lnTo>
                <a:lnTo>
                  <a:pt x="11162" y="6660"/>
                </a:lnTo>
                <a:lnTo>
                  <a:pt x="11172" y="6656"/>
                </a:lnTo>
                <a:lnTo>
                  <a:pt x="11184" y="6652"/>
                </a:lnTo>
                <a:lnTo>
                  <a:pt x="11200" y="6654"/>
                </a:lnTo>
                <a:lnTo>
                  <a:pt x="11214" y="6654"/>
                </a:lnTo>
                <a:lnTo>
                  <a:pt x="11226" y="6654"/>
                </a:lnTo>
                <a:lnTo>
                  <a:pt x="11248" y="6650"/>
                </a:lnTo>
                <a:lnTo>
                  <a:pt x="11268" y="6642"/>
                </a:lnTo>
                <a:lnTo>
                  <a:pt x="11284" y="6634"/>
                </a:lnTo>
                <a:lnTo>
                  <a:pt x="11300" y="6626"/>
                </a:lnTo>
                <a:lnTo>
                  <a:pt x="11316" y="6618"/>
                </a:lnTo>
                <a:lnTo>
                  <a:pt x="11330" y="6614"/>
                </a:lnTo>
                <a:lnTo>
                  <a:pt x="11338" y="6614"/>
                </a:lnTo>
                <a:lnTo>
                  <a:pt x="11346" y="6614"/>
                </a:lnTo>
                <a:lnTo>
                  <a:pt x="11366" y="6616"/>
                </a:lnTo>
                <a:lnTo>
                  <a:pt x="11378" y="6616"/>
                </a:lnTo>
                <a:lnTo>
                  <a:pt x="11384" y="6614"/>
                </a:lnTo>
                <a:lnTo>
                  <a:pt x="11386" y="6612"/>
                </a:lnTo>
                <a:lnTo>
                  <a:pt x="11390" y="6610"/>
                </a:lnTo>
                <a:lnTo>
                  <a:pt x="11394" y="6612"/>
                </a:lnTo>
                <a:lnTo>
                  <a:pt x="11422" y="6626"/>
                </a:lnTo>
                <a:lnTo>
                  <a:pt x="11442" y="6636"/>
                </a:lnTo>
                <a:lnTo>
                  <a:pt x="11456" y="6642"/>
                </a:lnTo>
                <a:lnTo>
                  <a:pt x="11468" y="6644"/>
                </a:lnTo>
                <a:lnTo>
                  <a:pt x="11478" y="6646"/>
                </a:lnTo>
                <a:lnTo>
                  <a:pt x="11492" y="6648"/>
                </a:lnTo>
                <a:lnTo>
                  <a:pt x="11500" y="6652"/>
                </a:lnTo>
                <a:lnTo>
                  <a:pt x="11508" y="6658"/>
                </a:lnTo>
                <a:lnTo>
                  <a:pt x="11516" y="6664"/>
                </a:lnTo>
                <a:lnTo>
                  <a:pt x="11518" y="6670"/>
                </a:lnTo>
                <a:lnTo>
                  <a:pt x="11518" y="6676"/>
                </a:lnTo>
                <a:lnTo>
                  <a:pt x="11516" y="6680"/>
                </a:lnTo>
                <a:lnTo>
                  <a:pt x="11514" y="6684"/>
                </a:lnTo>
                <a:lnTo>
                  <a:pt x="11514" y="6690"/>
                </a:lnTo>
                <a:lnTo>
                  <a:pt x="11520" y="6696"/>
                </a:lnTo>
                <a:lnTo>
                  <a:pt x="11530" y="6702"/>
                </a:lnTo>
                <a:lnTo>
                  <a:pt x="11536" y="6706"/>
                </a:lnTo>
                <a:lnTo>
                  <a:pt x="11540" y="6710"/>
                </a:lnTo>
                <a:lnTo>
                  <a:pt x="11546" y="6722"/>
                </a:lnTo>
                <a:lnTo>
                  <a:pt x="11550" y="6734"/>
                </a:lnTo>
                <a:lnTo>
                  <a:pt x="11552" y="6748"/>
                </a:lnTo>
                <a:lnTo>
                  <a:pt x="11554" y="6760"/>
                </a:lnTo>
                <a:lnTo>
                  <a:pt x="11558" y="6772"/>
                </a:lnTo>
                <a:lnTo>
                  <a:pt x="11562" y="6782"/>
                </a:lnTo>
                <a:lnTo>
                  <a:pt x="11566" y="6786"/>
                </a:lnTo>
                <a:lnTo>
                  <a:pt x="11570" y="6788"/>
                </a:lnTo>
                <a:lnTo>
                  <a:pt x="11584" y="6796"/>
                </a:lnTo>
                <a:lnTo>
                  <a:pt x="11586" y="6796"/>
                </a:lnTo>
                <a:lnTo>
                  <a:pt x="11584" y="6794"/>
                </a:lnTo>
                <a:lnTo>
                  <a:pt x="11584" y="6790"/>
                </a:lnTo>
                <a:lnTo>
                  <a:pt x="11586" y="6782"/>
                </a:lnTo>
                <a:lnTo>
                  <a:pt x="11592" y="6770"/>
                </a:lnTo>
                <a:lnTo>
                  <a:pt x="11602" y="6754"/>
                </a:lnTo>
                <a:lnTo>
                  <a:pt x="11614" y="6740"/>
                </a:lnTo>
                <a:lnTo>
                  <a:pt x="11622" y="6732"/>
                </a:lnTo>
                <a:lnTo>
                  <a:pt x="11628" y="6730"/>
                </a:lnTo>
                <a:lnTo>
                  <a:pt x="11632" y="6730"/>
                </a:lnTo>
                <a:lnTo>
                  <a:pt x="11634" y="6730"/>
                </a:lnTo>
                <a:lnTo>
                  <a:pt x="11636" y="6720"/>
                </a:lnTo>
                <a:lnTo>
                  <a:pt x="11640" y="6712"/>
                </a:lnTo>
                <a:lnTo>
                  <a:pt x="11642" y="6706"/>
                </a:lnTo>
                <a:lnTo>
                  <a:pt x="11650" y="6698"/>
                </a:lnTo>
                <a:lnTo>
                  <a:pt x="11656" y="6690"/>
                </a:lnTo>
                <a:lnTo>
                  <a:pt x="11658" y="6686"/>
                </a:lnTo>
                <a:lnTo>
                  <a:pt x="11660" y="6680"/>
                </a:lnTo>
                <a:lnTo>
                  <a:pt x="11660" y="6670"/>
                </a:lnTo>
                <a:lnTo>
                  <a:pt x="11668" y="6686"/>
                </a:lnTo>
                <a:lnTo>
                  <a:pt x="11668" y="6694"/>
                </a:lnTo>
                <a:lnTo>
                  <a:pt x="11666" y="6702"/>
                </a:lnTo>
                <a:lnTo>
                  <a:pt x="11658" y="6726"/>
                </a:lnTo>
                <a:lnTo>
                  <a:pt x="11650" y="6748"/>
                </a:lnTo>
                <a:lnTo>
                  <a:pt x="11648" y="6758"/>
                </a:lnTo>
                <a:lnTo>
                  <a:pt x="11648" y="6766"/>
                </a:lnTo>
                <a:lnTo>
                  <a:pt x="11652" y="6776"/>
                </a:lnTo>
                <a:lnTo>
                  <a:pt x="11650" y="6784"/>
                </a:lnTo>
                <a:lnTo>
                  <a:pt x="11646" y="6790"/>
                </a:lnTo>
                <a:lnTo>
                  <a:pt x="11642" y="6792"/>
                </a:lnTo>
                <a:lnTo>
                  <a:pt x="11638" y="6792"/>
                </a:lnTo>
                <a:lnTo>
                  <a:pt x="11634" y="6792"/>
                </a:lnTo>
                <a:lnTo>
                  <a:pt x="11630" y="6794"/>
                </a:lnTo>
                <a:lnTo>
                  <a:pt x="11626" y="6798"/>
                </a:lnTo>
                <a:lnTo>
                  <a:pt x="11624" y="6802"/>
                </a:lnTo>
                <a:lnTo>
                  <a:pt x="11624" y="6806"/>
                </a:lnTo>
                <a:lnTo>
                  <a:pt x="11628" y="6808"/>
                </a:lnTo>
                <a:lnTo>
                  <a:pt x="11634" y="6810"/>
                </a:lnTo>
                <a:lnTo>
                  <a:pt x="11642" y="6810"/>
                </a:lnTo>
                <a:lnTo>
                  <a:pt x="11648" y="6808"/>
                </a:lnTo>
                <a:lnTo>
                  <a:pt x="11652" y="6806"/>
                </a:lnTo>
                <a:lnTo>
                  <a:pt x="11660" y="6798"/>
                </a:lnTo>
                <a:lnTo>
                  <a:pt x="11664" y="6788"/>
                </a:lnTo>
                <a:lnTo>
                  <a:pt x="11668" y="6778"/>
                </a:lnTo>
                <a:lnTo>
                  <a:pt x="11670" y="6770"/>
                </a:lnTo>
                <a:lnTo>
                  <a:pt x="11672" y="6764"/>
                </a:lnTo>
                <a:lnTo>
                  <a:pt x="11674" y="6764"/>
                </a:lnTo>
                <a:lnTo>
                  <a:pt x="11676" y="6766"/>
                </a:lnTo>
                <a:lnTo>
                  <a:pt x="11682" y="6772"/>
                </a:lnTo>
                <a:lnTo>
                  <a:pt x="11688" y="6784"/>
                </a:lnTo>
                <a:lnTo>
                  <a:pt x="11688" y="6794"/>
                </a:lnTo>
                <a:lnTo>
                  <a:pt x="11688" y="6802"/>
                </a:lnTo>
                <a:lnTo>
                  <a:pt x="11684" y="6810"/>
                </a:lnTo>
                <a:lnTo>
                  <a:pt x="11676" y="6822"/>
                </a:lnTo>
                <a:lnTo>
                  <a:pt x="11676" y="6828"/>
                </a:lnTo>
                <a:lnTo>
                  <a:pt x="11676" y="6832"/>
                </a:lnTo>
                <a:lnTo>
                  <a:pt x="11678" y="6834"/>
                </a:lnTo>
                <a:lnTo>
                  <a:pt x="11682" y="6834"/>
                </a:lnTo>
                <a:lnTo>
                  <a:pt x="11690" y="6832"/>
                </a:lnTo>
                <a:lnTo>
                  <a:pt x="11700" y="6830"/>
                </a:lnTo>
                <a:lnTo>
                  <a:pt x="11706" y="6832"/>
                </a:lnTo>
                <a:lnTo>
                  <a:pt x="11712" y="6834"/>
                </a:lnTo>
                <a:lnTo>
                  <a:pt x="11718" y="6838"/>
                </a:lnTo>
                <a:lnTo>
                  <a:pt x="11726" y="6846"/>
                </a:lnTo>
                <a:lnTo>
                  <a:pt x="11732" y="6854"/>
                </a:lnTo>
                <a:lnTo>
                  <a:pt x="11736" y="6862"/>
                </a:lnTo>
                <a:lnTo>
                  <a:pt x="11740" y="6872"/>
                </a:lnTo>
                <a:lnTo>
                  <a:pt x="11742" y="6882"/>
                </a:lnTo>
                <a:lnTo>
                  <a:pt x="11742" y="6890"/>
                </a:lnTo>
                <a:lnTo>
                  <a:pt x="11740" y="6898"/>
                </a:lnTo>
                <a:lnTo>
                  <a:pt x="11738" y="6904"/>
                </a:lnTo>
                <a:lnTo>
                  <a:pt x="11740" y="6914"/>
                </a:lnTo>
                <a:lnTo>
                  <a:pt x="11744" y="6924"/>
                </a:lnTo>
                <a:lnTo>
                  <a:pt x="11750" y="6934"/>
                </a:lnTo>
                <a:lnTo>
                  <a:pt x="11758" y="6944"/>
                </a:lnTo>
                <a:lnTo>
                  <a:pt x="11768" y="6952"/>
                </a:lnTo>
                <a:lnTo>
                  <a:pt x="11776" y="6958"/>
                </a:lnTo>
                <a:lnTo>
                  <a:pt x="11784" y="6962"/>
                </a:lnTo>
                <a:lnTo>
                  <a:pt x="11792" y="6966"/>
                </a:lnTo>
                <a:lnTo>
                  <a:pt x="11796" y="6968"/>
                </a:lnTo>
                <a:lnTo>
                  <a:pt x="11804" y="6978"/>
                </a:lnTo>
                <a:lnTo>
                  <a:pt x="11810" y="6982"/>
                </a:lnTo>
                <a:lnTo>
                  <a:pt x="11812" y="6982"/>
                </a:lnTo>
                <a:lnTo>
                  <a:pt x="11816" y="6980"/>
                </a:lnTo>
                <a:lnTo>
                  <a:pt x="11822" y="6976"/>
                </a:lnTo>
                <a:lnTo>
                  <a:pt x="11826" y="6976"/>
                </a:lnTo>
                <a:lnTo>
                  <a:pt x="11832" y="6976"/>
                </a:lnTo>
                <a:lnTo>
                  <a:pt x="11846" y="6982"/>
                </a:lnTo>
                <a:lnTo>
                  <a:pt x="11868" y="6994"/>
                </a:lnTo>
                <a:lnTo>
                  <a:pt x="11880" y="7000"/>
                </a:lnTo>
                <a:lnTo>
                  <a:pt x="11890" y="7004"/>
                </a:lnTo>
                <a:lnTo>
                  <a:pt x="11896" y="7002"/>
                </a:lnTo>
                <a:lnTo>
                  <a:pt x="11900" y="7000"/>
                </a:lnTo>
                <a:lnTo>
                  <a:pt x="11908" y="6990"/>
                </a:lnTo>
                <a:lnTo>
                  <a:pt x="11914" y="6986"/>
                </a:lnTo>
                <a:lnTo>
                  <a:pt x="11922" y="6980"/>
                </a:lnTo>
                <a:lnTo>
                  <a:pt x="11930" y="6976"/>
                </a:lnTo>
                <a:lnTo>
                  <a:pt x="11936" y="6970"/>
                </a:lnTo>
                <a:lnTo>
                  <a:pt x="11940" y="6960"/>
                </a:lnTo>
                <a:lnTo>
                  <a:pt x="11942" y="6956"/>
                </a:lnTo>
                <a:lnTo>
                  <a:pt x="11944" y="6954"/>
                </a:lnTo>
                <a:lnTo>
                  <a:pt x="11946" y="6956"/>
                </a:lnTo>
                <a:lnTo>
                  <a:pt x="11952" y="6958"/>
                </a:lnTo>
                <a:lnTo>
                  <a:pt x="11958" y="6962"/>
                </a:lnTo>
                <a:lnTo>
                  <a:pt x="11958" y="6966"/>
                </a:lnTo>
                <a:lnTo>
                  <a:pt x="11956" y="6970"/>
                </a:lnTo>
                <a:lnTo>
                  <a:pt x="11952" y="6974"/>
                </a:lnTo>
                <a:lnTo>
                  <a:pt x="11944" y="6980"/>
                </a:lnTo>
                <a:lnTo>
                  <a:pt x="11944" y="6982"/>
                </a:lnTo>
                <a:lnTo>
                  <a:pt x="11948" y="6986"/>
                </a:lnTo>
                <a:lnTo>
                  <a:pt x="11954" y="6988"/>
                </a:lnTo>
                <a:lnTo>
                  <a:pt x="11958" y="6986"/>
                </a:lnTo>
                <a:lnTo>
                  <a:pt x="11960" y="6984"/>
                </a:lnTo>
                <a:lnTo>
                  <a:pt x="11964" y="6980"/>
                </a:lnTo>
                <a:lnTo>
                  <a:pt x="11966" y="6976"/>
                </a:lnTo>
                <a:lnTo>
                  <a:pt x="11966" y="6982"/>
                </a:lnTo>
                <a:lnTo>
                  <a:pt x="11968" y="6986"/>
                </a:lnTo>
                <a:lnTo>
                  <a:pt x="11970" y="6990"/>
                </a:lnTo>
                <a:lnTo>
                  <a:pt x="11976" y="6996"/>
                </a:lnTo>
                <a:lnTo>
                  <a:pt x="11988" y="7004"/>
                </a:lnTo>
                <a:lnTo>
                  <a:pt x="11994" y="7010"/>
                </a:lnTo>
                <a:lnTo>
                  <a:pt x="12004" y="7020"/>
                </a:lnTo>
                <a:lnTo>
                  <a:pt x="12008" y="7026"/>
                </a:lnTo>
                <a:lnTo>
                  <a:pt x="12010" y="7028"/>
                </a:lnTo>
                <a:lnTo>
                  <a:pt x="12010" y="7020"/>
                </a:lnTo>
                <a:lnTo>
                  <a:pt x="12010" y="7014"/>
                </a:lnTo>
                <a:lnTo>
                  <a:pt x="12010" y="7008"/>
                </a:lnTo>
                <a:lnTo>
                  <a:pt x="12012" y="7002"/>
                </a:lnTo>
                <a:lnTo>
                  <a:pt x="12016" y="6998"/>
                </a:lnTo>
                <a:lnTo>
                  <a:pt x="12024" y="6996"/>
                </a:lnTo>
                <a:lnTo>
                  <a:pt x="12034" y="6988"/>
                </a:lnTo>
                <a:lnTo>
                  <a:pt x="12056" y="6970"/>
                </a:lnTo>
                <a:lnTo>
                  <a:pt x="12070" y="6960"/>
                </a:lnTo>
                <a:lnTo>
                  <a:pt x="12084" y="6952"/>
                </a:lnTo>
                <a:lnTo>
                  <a:pt x="12098" y="6948"/>
                </a:lnTo>
                <a:lnTo>
                  <a:pt x="12104" y="6948"/>
                </a:lnTo>
                <a:lnTo>
                  <a:pt x="12112" y="6948"/>
                </a:lnTo>
                <a:lnTo>
                  <a:pt x="12126" y="6948"/>
                </a:lnTo>
                <a:lnTo>
                  <a:pt x="12136" y="6946"/>
                </a:lnTo>
                <a:lnTo>
                  <a:pt x="12144" y="6942"/>
                </a:lnTo>
                <a:lnTo>
                  <a:pt x="12150" y="6936"/>
                </a:lnTo>
                <a:lnTo>
                  <a:pt x="12152" y="6930"/>
                </a:lnTo>
                <a:lnTo>
                  <a:pt x="12154" y="6922"/>
                </a:lnTo>
                <a:lnTo>
                  <a:pt x="12152" y="6918"/>
                </a:lnTo>
                <a:lnTo>
                  <a:pt x="12150" y="6914"/>
                </a:lnTo>
                <a:lnTo>
                  <a:pt x="12146" y="6910"/>
                </a:lnTo>
                <a:lnTo>
                  <a:pt x="12146" y="6906"/>
                </a:lnTo>
                <a:lnTo>
                  <a:pt x="12150" y="6894"/>
                </a:lnTo>
                <a:lnTo>
                  <a:pt x="12156" y="6882"/>
                </a:lnTo>
                <a:lnTo>
                  <a:pt x="12158" y="6876"/>
                </a:lnTo>
                <a:lnTo>
                  <a:pt x="12158" y="6868"/>
                </a:lnTo>
                <a:lnTo>
                  <a:pt x="12160" y="6852"/>
                </a:lnTo>
                <a:lnTo>
                  <a:pt x="12164" y="6832"/>
                </a:lnTo>
                <a:lnTo>
                  <a:pt x="12172" y="6816"/>
                </a:lnTo>
                <a:lnTo>
                  <a:pt x="12176" y="6810"/>
                </a:lnTo>
                <a:lnTo>
                  <a:pt x="12180" y="6806"/>
                </a:lnTo>
                <a:lnTo>
                  <a:pt x="12186" y="6800"/>
                </a:lnTo>
                <a:lnTo>
                  <a:pt x="12188" y="6790"/>
                </a:lnTo>
                <a:lnTo>
                  <a:pt x="12196" y="6758"/>
                </a:lnTo>
                <a:lnTo>
                  <a:pt x="12200" y="6738"/>
                </a:lnTo>
                <a:lnTo>
                  <a:pt x="12208" y="6720"/>
                </a:lnTo>
                <a:lnTo>
                  <a:pt x="12218" y="6702"/>
                </a:lnTo>
                <a:lnTo>
                  <a:pt x="12224" y="6694"/>
                </a:lnTo>
                <a:lnTo>
                  <a:pt x="12232" y="6686"/>
                </a:lnTo>
                <a:lnTo>
                  <a:pt x="12244" y="6674"/>
                </a:lnTo>
                <a:lnTo>
                  <a:pt x="12252" y="6664"/>
                </a:lnTo>
                <a:lnTo>
                  <a:pt x="12256" y="6658"/>
                </a:lnTo>
                <a:lnTo>
                  <a:pt x="12258" y="6652"/>
                </a:lnTo>
                <a:lnTo>
                  <a:pt x="12260" y="6642"/>
                </a:lnTo>
                <a:lnTo>
                  <a:pt x="12260" y="6636"/>
                </a:lnTo>
                <a:lnTo>
                  <a:pt x="12264" y="6628"/>
                </a:lnTo>
                <a:lnTo>
                  <a:pt x="12270" y="6616"/>
                </a:lnTo>
                <a:lnTo>
                  <a:pt x="12272" y="6604"/>
                </a:lnTo>
                <a:lnTo>
                  <a:pt x="12274" y="6596"/>
                </a:lnTo>
                <a:lnTo>
                  <a:pt x="12272" y="6586"/>
                </a:lnTo>
                <a:lnTo>
                  <a:pt x="12272" y="6570"/>
                </a:lnTo>
                <a:lnTo>
                  <a:pt x="12274" y="6562"/>
                </a:lnTo>
                <a:lnTo>
                  <a:pt x="12276" y="6554"/>
                </a:lnTo>
                <a:lnTo>
                  <a:pt x="12282" y="6544"/>
                </a:lnTo>
                <a:lnTo>
                  <a:pt x="12284" y="6532"/>
                </a:lnTo>
                <a:lnTo>
                  <a:pt x="12286" y="6514"/>
                </a:lnTo>
                <a:lnTo>
                  <a:pt x="12288" y="6496"/>
                </a:lnTo>
                <a:lnTo>
                  <a:pt x="12292" y="6488"/>
                </a:lnTo>
                <a:lnTo>
                  <a:pt x="12296" y="6476"/>
                </a:lnTo>
                <a:lnTo>
                  <a:pt x="12298" y="6472"/>
                </a:lnTo>
                <a:lnTo>
                  <a:pt x="12300" y="6464"/>
                </a:lnTo>
                <a:lnTo>
                  <a:pt x="12300" y="6452"/>
                </a:lnTo>
                <a:lnTo>
                  <a:pt x="12296" y="6438"/>
                </a:lnTo>
                <a:lnTo>
                  <a:pt x="12292" y="6422"/>
                </a:lnTo>
                <a:lnTo>
                  <a:pt x="12282" y="6398"/>
                </a:lnTo>
                <a:lnTo>
                  <a:pt x="12280" y="6388"/>
                </a:lnTo>
                <a:lnTo>
                  <a:pt x="12280" y="6382"/>
                </a:lnTo>
                <a:close/>
                <a:moveTo>
                  <a:pt x="11380" y="5618"/>
                </a:moveTo>
                <a:lnTo>
                  <a:pt x="11380" y="5618"/>
                </a:lnTo>
                <a:lnTo>
                  <a:pt x="11384" y="5618"/>
                </a:lnTo>
                <a:lnTo>
                  <a:pt x="11388" y="5618"/>
                </a:lnTo>
                <a:lnTo>
                  <a:pt x="11394" y="5616"/>
                </a:lnTo>
                <a:lnTo>
                  <a:pt x="11400" y="5612"/>
                </a:lnTo>
                <a:lnTo>
                  <a:pt x="11404" y="5608"/>
                </a:lnTo>
                <a:lnTo>
                  <a:pt x="11406" y="5602"/>
                </a:lnTo>
                <a:lnTo>
                  <a:pt x="11408" y="5596"/>
                </a:lnTo>
                <a:lnTo>
                  <a:pt x="11406" y="5592"/>
                </a:lnTo>
                <a:lnTo>
                  <a:pt x="11402" y="5586"/>
                </a:lnTo>
                <a:lnTo>
                  <a:pt x="11398" y="5584"/>
                </a:lnTo>
                <a:lnTo>
                  <a:pt x="11396" y="5586"/>
                </a:lnTo>
                <a:lnTo>
                  <a:pt x="11392" y="5588"/>
                </a:lnTo>
                <a:lnTo>
                  <a:pt x="11388" y="5592"/>
                </a:lnTo>
                <a:lnTo>
                  <a:pt x="11382" y="5594"/>
                </a:lnTo>
                <a:lnTo>
                  <a:pt x="11376" y="5592"/>
                </a:lnTo>
                <a:lnTo>
                  <a:pt x="11366" y="5588"/>
                </a:lnTo>
                <a:lnTo>
                  <a:pt x="11362" y="5588"/>
                </a:lnTo>
                <a:lnTo>
                  <a:pt x="11360" y="5588"/>
                </a:lnTo>
                <a:lnTo>
                  <a:pt x="11360" y="5590"/>
                </a:lnTo>
                <a:lnTo>
                  <a:pt x="11362" y="5596"/>
                </a:lnTo>
                <a:lnTo>
                  <a:pt x="11370" y="5606"/>
                </a:lnTo>
                <a:lnTo>
                  <a:pt x="11380" y="5618"/>
                </a:lnTo>
                <a:close/>
                <a:moveTo>
                  <a:pt x="11350" y="5602"/>
                </a:moveTo>
                <a:lnTo>
                  <a:pt x="11350" y="5602"/>
                </a:lnTo>
                <a:lnTo>
                  <a:pt x="11350" y="5608"/>
                </a:lnTo>
                <a:lnTo>
                  <a:pt x="11350" y="5612"/>
                </a:lnTo>
                <a:lnTo>
                  <a:pt x="11354" y="5614"/>
                </a:lnTo>
                <a:lnTo>
                  <a:pt x="11360" y="5616"/>
                </a:lnTo>
                <a:lnTo>
                  <a:pt x="11364" y="5618"/>
                </a:lnTo>
                <a:lnTo>
                  <a:pt x="11366" y="5616"/>
                </a:lnTo>
                <a:lnTo>
                  <a:pt x="11366" y="5610"/>
                </a:lnTo>
                <a:lnTo>
                  <a:pt x="11362" y="5604"/>
                </a:lnTo>
                <a:lnTo>
                  <a:pt x="11356" y="5596"/>
                </a:lnTo>
                <a:lnTo>
                  <a:pt x="11352" y="5594"/>
                </a:lnTo>
                <a:lnTo>
                  <a:pt x="11350" y="5596"/>
                </a:lnTo>
                <a:lnTo>
                  <a:pt x="11350" y="5602"/>
                </a:lnTo>
                <a:close/>
                <a:moveTo>
                  <a:pt x="11606" y="5728"/>
                </a:moveTo>
                <a:lnTo>
                  <a:pt x="11606" y="5728"/>
                </a:lnTo>
                <a:lnTo>
                  <a:pt x="11608" y="5734"/>
                </a:lnTo>
                <a:lnTo>
                  <a:pt x="11610" y="5736"/>
                </a:lnTo>
                <a:lnTo>
                  <a:pt x="11612" y="5736"/>
                </a:lnTo>
                <a:lnTo>
                  <a:pt x="11616" y="5732"/>
                </a:lnTo>
                <a:lnTo>
                  <a:pt x="11620" y="5724"/>
                </a:lnTo>
                <a:lnTo>
                  <a:pt x="11622" y="5720"/>
                </a:lnTo>
                <a:lnTo>
                  <a:pt x="11620" y="5716"/>
                </a:lnTo>
                <a:lnTo>
                  <a:pt x="11616" y="5716"/>
                </a:lnTo>
                <a:lnTo>
                  <a:pt x="11614" y="5714"/>
                </a:lnTo>
                <a:lnTo>
                  <a:pt x="11610" y="5716"/>
                </a:lnTo>
                <a:lnTo>
                  <a:pt x="11606" y="5718"/>
                </a:lnTo>
                <a:lnTo>
                  <a:pt x="11606" y="5722"/>
                </a:lnTo>
                <a:lnTo>
                  <a:pt x="11606" y="5728"/>
                </a:lnTo>
                <a:close/>
                <a:moveTo>
                  <a:pt x="12276" y="6286"/>
                </a:moveTo>
                <a:lnTo>
                  <a:pt x="12276" y="6286"/>
                </a:lnTo>
                <a:lnTo>
                  <a:pt x="12276" y="6292"/>
                </a:lnTo>
                <a:lnTo>
                  <a:pt x="12274" y="6300"/>
                </a:lnTo>
                <a:lnTo>
                  <a:pt x="12274" y="6308"/>
                </a:lnTo>
                <a:lnTo>
                  <a:pt x="12274" y="6310"/>
                </a:lnTo>
                <a:lnTo>
                  <a:pt x="12276" y="6312"/>
                </a:lnTo>
                <a:lnTo>
                  <a:pt x="12280" y="6314"/>
                </a:lnTo>
                <a:lnTo>
                  <a:pt x="12280" y="6310"/>
                </a:lnTo>
                <a:lnTo>
                  <a:pt x="12282" y="6300"/>
                </a:lnTo>
                <a:lnTo>
                  <a:pt x="12284" y="6290"/>
                </a:lnTo>
                <a:lnTo>
                  <a:pt x="12290" y="6280"/>
                </a:lnTo>
                <a:lnTo>
                  <a:pt x="12290" y="6276"/>
                </a:lnTo>
                <a:lnTo>
                  <a:pt x="12290" y="6272"/>
                </a:lnTo>
                <a:lnTo>
                  <a:pt x="12288" y="6268"/>
                </a:lnTo>
                <a:lnTo>
                  <a:pt x="12288" y="6262"/>
                </a:lnTo>
                <a:lnTo>
                  <a:pt x="12286" y="6258"/>
                </a:lnTo>
                <a:lnTo>
                  <a:pt x="12284" y="6260"/>
                </a:lnTo>
                <a:lnTo>
                  <a:pt x="12282" y="6264"/>
                </a:lnTo>
                <a:lnTo>
                  <a:pt x="12282" y="6270"/>
                </a:lnTo>
                <a:lnTo>
                  <a:pt x="12284" y="6272"/>
                </a:lnTo>
                <a:lnTo>
                  <a:pt x="12282" y="6276"/>
                </a:lnTo>
                <a:lnTo>
                  <a:pt x="12280" y="6280"/>
                </a:lnTo>
                <a:lnTo>
                  <a:pt x="12276" y="6284"/>
                </a:lnTo>
                <a:lnTo>
                  <a:pt x="12276" y="6286"/>
                </a:lnTo>
                <a:close/>
                <a:moveTo>
                  <a:pt x="11714" y="5858"/>
                </a:moveTo>
                <a:lnTo>
                  <a:pt x="11714" y="5858"/>
                </a:lnTo>
                <a:lnTo>
                  <a:pt x="11716" y="5860"/>
                </a:lnTo>
                <a:lnTo>
                  <a:pt x="11720" y="5858"/>
                </a:lnTo>
                <a:lnTo>
                  <a:pt x="11724" y="5856"/>
                </a:lnTo>
                <a:lnTo>
                  <a:pt x="11728" y="5852"/>
                </a:lnTo>
                <a:lnTo>
                  <a:pt x="11730" y="5850"/>
                </a:lnTo>
                <a:lnTo>
                  <a:pt x="11736" y="5850"/>
                </a:lnTo>
                <a:lnTo>
                  <a:pt x="11738" y="5848"/>
                </a:lnTo>
                <a:lnTo>
                  <a:pt x="11738" y="5846"/>
                </a:lnTo>
                <a:lnTo>
                  <a:pt x="11738" y="5844"/>
                </a:lnTo>
                <a:lnTo>
                  <a:pt x="11734" y="5842"/>
                </a:lnTo>
                <a:lnTo>
                  <a:pt x="11730" y="5842"/>
                </a:lnTo>
                <a:lnTo>
                  <a:pt x="11722" y="5846"/>
                </a:lnTo>
                <a:lnTo>
                  <a:pt x="11716" y="5854"/>
                </a:lnTo>
                <a:lnTo>
                  <a:pt x="11714" y="5856"/>
                </a:lnTo>
                <a:lnTo>
                  <a:pt x="11714" y="5858"/>
                </a:lnTo>
                <a:close/>
                <a:moveTo>
                  <a:pt x="7856" y="5622"/>
                </a:moveTo>
                <a:lnTo>
                  <a:pt x="7856" y="5622"/>
                </a:lnTo>
                <a:lnTo>
                  <a:pt x="7858" y="5620"/>
                </a:lnTo>
                <a:lnTo>
                  <a:pt x="7860" y="5616"/>
                </a:lnTo>
                <a:lnTo>
                  <a:pt x="7860" y="5606"/>
                </a:lnTo>
                <a:lnTo>
                  <a:pt x="7856" y="5596"/>
                </a:lnTo>
                <a:lnTo>
                  <a:pt x="7854" y="5594"/>
                </a:lnTo>
                <a:lnTo>
                  <a:pt x="7852" y="5594"/>
                </a:lnTo>
                <a:lnTo>
                  <a:pt x="7848" y="5600"/>
                </a:lnTo>
                <a:lnTo>
                  <a:pt x="7848" y="5608"/>
                </a:lnTo>
                <a:lnTo>
                  <a:pt x="7850" y="5618"/>
                </a:lnTo>
                <a:lnTo>
                  <a:pt x="7854" y="5620"/>
                </a:lnTo>
                <a:lnTo>
                  <a:pt x="7856" y="5622"/>
                </a:lnTo>
                <a:close/>
                <a:moveTo>
                  <a:pt x="7924" y="5658"/>
                </a:moveTo>
                <a:lnTo>
                  <a:pt x="7924" y="5658"/>
                </a:lnTo>
                <a:lnTo>
                  <a:pt x="7920" y="5658"/>
                </a:lnTo>
                <a:lnTo>
                  <a:pt x="7920" y="5660"/>
                </a:lnTo>
                <a:lnTo>
                  <a:pt x="7920" y="5664"/>
                </a:lnTo>
                <a:lnTo>
                  <a:pt x="7924" y="5670"/>
                </a:lnTo>
                <a:lnTo>
                  <a:pt x="7926" y="5672"/>
                </a:lnTo>
                <a:lnTo>
                  <a:pt x="7928" y="5670"/>
                </a:lnTo>
                <a:lnTo>
                  <a:pt x="7928" y="5666"/>
                </a:lnTo>
                <a:lnTo>
                  <a:pt x="7928" y="5662"/>
                </a:lnTo>
                <a:lnTo>
                  <a:pt x="7924" y="5658"/>
                </a:lnTo>
                <a:close/>
                <a:moveTo>
                  <a:pt x="7902" y="5642"/>
                </a:moveTo>
                <a:lnTo>
                  <a:pt x="7902" y="5642"/>
                </a:lnTo>
                <a:lnTo>
                  <a:pt x="7902" y="5638"/>
                </a:lnTo>
                <a:lnTo>
                  <a:pt x="7902" y="5634"/>
                </a:lnTo>
                <a:lnTo>
                  <a:pt x="7900" y="5630"/>
                </a:lnTo>
                <a:lnTo>
                  <a:pt x="7898" y="5630"/>
                </a:lnTo>
                <a:lnTo>
                  <a:pt x="7896" y="5630"/>
                </a:lnTo>
                <a:lnTo>
                  <a:pt x="7894" y="5632"/>
                </a:lnTo>
                <a:lnTo>
                  <a:pt x="7894" y="5634"/>
                </a:lnTo>
                <a:lnTo>
                  <a:pt x="7896" y="5640"/>
                </a:lnTo>
                <a:lnTo>
                  <a:pt x="7898" y="5642"/>
                </a:lnTo>
                <a:lnTo>
                  <a:pt x="7902" y="5642"/>
                </a:lnTo>
                <a:close/>
                <a:moveTo>
                  <a:pt x="7690" y="5324"/>
                </a:moveTo>
                <a:lnTo>
                  <a:pt x="7690" y="5324"/>
                </a:lnTo>
                <a:lnTo>
                  <a:pt x="7688" y="5328"/>
                </a:lnTo>
                <a:lnTo>
                  <a:pt x="7688" y="5334"/>
                </a:lnTo>
                <a:lnTo>
                  <a:pt x="7692" y="5342"/>
                </a:lnTo>
                <a:lnTo>
                  <a:pt x="7696" y="5348"/>
                </a:lnTo>
                <a:lnTo>
                  <a:pt x="7702" y="5352"/>
                </a:lnTo>
                <a:lnTo>
                  <a:pt x="7704" y="5352"/>
                </a:lnTo>
                <a:lnTo>
                  <a:pt x="7704" y="5348"/>
                </a:lnTo>
                <a:lnTo>
                  <a:pt x="7704" y="5342"/>
                </a:lnTo>
                <a:lnTo>
                  <a:pt x="7702" y="5338"/>
                </a:lnTo>
                <a:lnTo>
                  <a:pt x="7700" y="5336"/>
                </a:lnTo>
                <a:lnTo>
                  <a:pt x="7698" y="5332"/>
                </a:lnTo>
                <a:lnTo>
                  <a:pt x="7696" y="5326"/>
                </a:lnTo>
                <a:lnTo>
                  <a:pt x="7694" y="5318"/>
                </a:lnTo>
                <a:lnTo>
                  <a:pt x="7694" y="5316"/>
                </a:lnTo>
                <a:lnTo>
                  <a:pt x="7690" y="5324"/>
                </a:lnTo>
                <a:close/>
                <a:moveTo>
                  <a:pt x="7710" y="5302"/>
                </a:moveTo>
                <a:lnTo>
                  <a:pt x="7710" y="5302"/>
                </a:lnTo>
                <a:lnTo>
                  <a:pt x="7712" y="5304"/>
                </a:lnTo>
                <a:lnTo>
                  <a:pt x="7712" y="5302"/>
                </a:lnTo>
                <a:lnTo>
                  <a:pt x="7716" y="5292"/>
                </a:lnTo>
                <a:lnTo>
                  <a:pt x="7716" y="5282"/>
                </a:lnTo>
                <a:lnTo>
                  <a:pt x="7716" y="5280"/>
                </a:lnTo>
                <a:lnTo>
                  <a:pt x="7712" y="5276"/>
                </a:lnTo>
                <a:lnTo>
                  <a:pt x="7710" y="5276"/>
                </a:lnTo>
                <a:lnTo>
                  <a:pt x="7708" y="5278"/>
                </a:lnTo>
                <a:lnTo>
                  <a:pt x="7710" y="5288"/>
                </a:lnTo>
                <a:lnTo>
                  <a:pt x="7710" y="5292"/>
                </a:lnTo>
                <a:lnTo>
                  <a:pt x="7708" y="5296"/>
                </a:lnTo>
                <a:lnTo>
                  <a:pt x="7708" y="5300"/>
                </a:lnTo>
                <a:lnTo>
                  <a:pt x="7710" y="5302"/>
                </a:lnTo>
                <a:close/>
                <a:moveTo>
                  <a:pt x="7710" y="5426"/>
                </a:moveTo>
                <a:lnTo>
                  <a:pt x="7710" y="5426"/>
                </a:lnTo>
                <a:lnTo>
                  <a:pt x="7714" y="5424"/>
                </a:lnTo>
                <a:lnTo>
                  <a:pt x="7716" y="5422"/>
                </a:lnTo>
                <a:lnTo>
                  <a:pt x="7718" y="5412"/>
                </a:lnTo>
                <a:lnTo>
                  <a:pt x="7718" y="5410"/>
                </a:lnTo>
                <a:lnTo>
                  <a:pt x="7716" y="5410"/>
                </a:lnTo>
                <a:lnTo>
                  <a:pt x="7710" y="5416"/>
                </a:lnTo>
                <a:lnTo>
                  <a:pt x="7706" y="5424"/>
                </a:lnTo>
                <a:lnTo>
                  <a:pt x="7708" y="5426"/>
                </a:lnTo>
                <a:lnTo>
                  <a:pt x="7710" y="5426"/>
                </a:lnTo>
                <a:close/>
                <a:moveTo>
                  <a:pt x="8334" y="6072"/>
                </a:moveTo>
                <a:lnTo>
                  <a:pt x="8334" y="6072"/>
                </a:lnTo>
                <a:lnTo>
                  <a:pt x="8332" y="6076"/>
                </a:lnTo>
                <a:lnTo>
                  <a:pt x="8334" y="6080"/>
                </a:lnTo>
                <a:lnTo>
                  <a:pt x="8340" y="6088"/>
                </a:lnTo>
                <a:lnTo>
                  <a:pt x="8344" y="6090"/>
                </a:lnTo>
                <a:lnTo>
                  <a:pt x="8348" y="6090"/>
                </a:lnTo>
                <a:lnTo>
                  <a:pt x="8354" y="6090"/>
                </a:lnTo>
                <a:lnTo>
                  <a:pt x="8358" y="6088"/>
                </a:lnTo>
                <a:lnTo>
                  <a:pt x="8358" y="6084"/>
                </a:lnTo>
                <a:lnTo>
                  <a:pt x="8358" y="6080"/>
                </a:lnTo>
                <a:lnTo>
                  <a:pt x="8356" y="6074"/>
                </a:lnTo>
                <a:lnTo>
                  <a:pt x="8350" y="6072"/>
                </a:lnTo>
                <a:lnTo>
                  <a:pt x="8346" y="6068"/>
                </a:lnTo>
                <a:lnTo>
                  <a:pt x="8340" y="6068"/>
                </a:lnTo>
                <a:lnTo>
                  <a:pt x="8336" y="6068"/>
                </a:lnTo>
                <a:lnTo>
                  <a:pt x="8334" y="6072"/>
                </a:lnTo>
                <a:close/>
                <a:moveTo>
                  <a:pt x="8428" y="6048"/>
                </a:moveTo>
                <a:lnTo>
                  <a:pt x="8428" y="6048"/>
                </a:lnTo>
                <a:lnTo>
                  <a:pt x="8432" y="6046"/>
                </a:lnTo>
                <a:lnTo>
                  <a:pt x="8436" y="6044"/>
                </a:lnTo>
                <a:lnTo>
                  <a:pt x="8436" y="6042"/>
                </a:lnTo>
                <a:lnTo>
                  <a:pt x="8436" y="6038"/>
                </a:lnTo>
                <a:lnTo>
                  <a:pt x="8434" y="6032"/>
                </a:lnTo>
                <a:lnTo>
                  <a:pt x="8432" y="6022"/>
                </a:lnTo>
                <a:lnTo>
                  <a:pt x="8430" y="6018"/>
                </a:lnTo>
                <a:lnTo>
                  <a:pt x="8428" y="6020"/>
                </a:lnTo>
                <a:lnTo>
                  <a:pt x="8420" y="6030"/>
                </a:lnTo>
                <a:lnTo>
                  <a:pt x="8418" y="6038"/>
                </a:lnTo>
                <a:lnTo>
                  <a:pt x="8418" y="6042"/>
                </a:lnTo>
                <a:lnTo>
                  <a:pt x="8422" y="6046"/>
                </a:lnTo>
                <a:lnTo>
                  <a:pt x="8428" y="6048"/>
                </a:lnTo>
                <a:close/>
                <a:moveTo>
                  <a:pt x="6776" y="2836"/>
                </a:moveTo>
                <a:lnTo>
                  <a:pt x="6776" y="2836"/>
                </a:lnTo>
                <a:lnTo>
                  <a:pt x="6792" y="2836"/>
                </a:lnTo>
                <a:lnTo>
                  <a:pt x="6794" y="2836"/>
                </a:lnTo>
                <a:lnTo>
                  <a:pt x="6794" y="2834"/>
                </a:lnTo>
                <a:lnTo>
                  <a:pt x="6784" y="2832"/>
                </a:lnTo>
                <a:lnTo>
                  <a:pt x="6772" y="2830"/>
                </a:lnTo>
                <a:lnTo>
                  <a:pt x="6768" y="2832"/>
                </a:lnTo>
                <a:lnTo>
                  <a:pt x="6776" y="2836"/>
                </a:lnTo>
                <a:close/>
                <a:moveTo>
                  <a:pt x="6786" y="2826"/>
                </a:moveTo>
                <a:lnTo>
                  <a:pt x="6786" y="2826"/>
                </a:lnTo>
                <a:lnTo>
                  <a:pt x="6786" y="2824"/>
                </a:lnTo>
                <a:lnTo>
                  <a:pt x="6784" y="2824"/>
                </a:lnTo>
                <a:lnTo>
                  <a:pt x="6778" y="2822"/>
                </a:lnTo>
                <a:lnTo>
                  <a:pt x="6770" y="2822"/>
                </a:lnTo>
                <a:lnTo>
                  <a:pt x="6768" y="2822"/>
                </a:lnTo>
                <a:lnTo>
                  <a:pt x="6768" y="2824"/>
                </a:lnTo>
                <a:lnTo>
                  <a:pt x="6772" y="2826"/>
                </a:lnTo>
                <a:lnTo>
                  <a:pt x="6776" y="2826"/>
                </a:lnTo>
                <a:lnTo>
                  <a:pt x="6780" y="2826"/>
                </a:lnTo>
                <a:lnTo>
                  <a:pt x="6786" y="2826"/>
                </a:lnTo>
                <a:close/>
                <a:moveTo>
                  <a:pt x="6786" y="2850"/>
                </a:moveTo>
                <a:lnTo>
                  <a:pt x="6786" y="2850"/>
                </a:lnTo>
                <a:lnTo>
                  <a:pt x="6794" y="2848"/>
                </a:lnTo>
                <a:lnTo>
                  <a:pt x="6796" y="2848"/>
                </a:lnTo>
                <a:lnTo>
                  <a:pt x="6796" y="2846"/>
                </a:lnTo>
                <a:lnTo>
                  <a:pt x="6782" y="2844"/>
                </a:lnTo>
                <a:lnTo>
                  <a:pt x="6778" y="2844"/>
                </a:lnTo>
                <a:lnTo>
                  <a:pt x="6776" y="2846"/>
                </a:lnTo>
                <a:lnTo>
                  <a:pt x="6778" y="2848"/>
                </a:lnTo>
                <a:lnTo>
                  <a:pt x="6780" y="2850"/>
                </a:lnTo>
                <a:lnTo>
                  <a:pt x="6786" y="2850"/>
                </a:lnTo>
                <a:close/>
                <a:moveTo>
                  <a:pt x="6698" y="2726"/>
                </a:moveTo>
                <a:lnTo>
                  <a:pt x="6698" y="2726"/>
                </a:lnTo>
                <a:lnTo>
                  <a:pt x="6696" y="2720"/>
                </a:lnTo>
                <a:lnTo>
                  <a:pt x="6694" y="2718"/>
                </a:lnTo>
                <a:lnTo>
                  <a:pt x="6692" y="2718"/>
                </a:lnTo>
                <a:lnTo>
                  <a:pt x="6690" y="2718"/>
                </a:lnTo>
                <a:lnTo>
                  <a:pt x="6690" y="2720"/>
                </a:lnTo>
                <a:lnTo>
                  <a:pt x="6690" y="2724"/>
                </a:lnTo>
                <a:lnTo>
                  <a:pt x="6690" y="2726"/>
                </a:lnTo>
                <a:lnTo>
                  <a:pt x="6692" y="2728"/>
                </a:lnTo>
                <a:lnTo>
                  <a:pt x="6698" y="2730"/>
                </a:lnTo>
                <a:lnTo>
                  <a:pt x="6702" y="2730"/>
                </a:lnTo>
                <a:lnTo>
                  <a:pt x="6698" y="2726"/>
                </a:lnTo>
                <a:close/>
                <a:moveTo>
                  <a:pt x="6682" y="2734"/>
                </a:moveTo>
                <a:lnTo>
                  <a:pt x="6682" y="2734"/>
                </a:lnTo>
                <a:lnTo>
                  <a:pt x="6682" y="2738"/>
                </a:lnTo>
                <a:lnTo>
                  <a:pt x="6684" y="2740"/>
                </a:lnTo>
                <a:lnTo>
                  <a:pt x="6692" y="2750"/>
                </a:lnTo>
                <a:lnTo>
                  <a:pt x="6692" y="2748"/>
                </a:lnTo>
                <a:lnTo>
                  <a:pt x="6690" y="2738"/>
                </a:lnTo>
                <a:lnTo>
                  <a:pt x="6686" y="2720"/>
                </a:lnTo>
                <a:lnTo>
                  <a:pt x="6684" y="2718"/>
                </a:lnTo>
                <a:lnTo>
                  <a:pt x="6682" y="2720"/>
                </a:lnTo>
                <a:lnTo>
                  <a:pt x="6682" y="2724"/>
                </a:lnTo>
                <a:lnTo>
                  <a:pt x="6684" y="2730"/>
                </a:lnTo>
                <a:lnTo>
                  <a:pt x="6686" y="2734"/>
                </a:lnTo>
                <a:lnTo>
                  <a:pt x="6684" y="2734"/>
                </a:lnTo>
                <a:lnTo>
                  <a:pt x="6682" y="2734"/>
                </a:lnTo>
                <a:close/>
                <a:moveTo>
                  <a:pt x="6714" y="2766"/>
                </a:moveTo>
                <a:lnTo>
                  <a:pt x="6714" y="2766"/>
                </a:lnTo>
                <a:lnTo>
                  <a:pt x="6716" y="2768"/>
                </a:lnTo>
                <a:lnTo>
                  <a:pt x="6714" y="2764"/>
                </a:lnTo>
                <a:lnTo>
                  <a:pt x="6706" y="2754"/>
                </a:lnTo>
                <a:lnTo>
                  <a:pt x="6698" y="2748"/>
                </a:lnTo>
                <a:lnTo>
                  <a:pt x="6698" y="2746"/>
                </a:lnTo>
                <a:lnTo>
                  <a:pt x="6698" y="2750"/>
                </a:lnTo>
                <a:lnTo>
                  <a:pt x="6704" y="2758"/>
                </a:lnTo>
                <a:lnTo>
                  <a:pt x="6714" y="2766"/>
                </a:lnTo>
                <a:close/>
                <a:moveTo>
                  <a:pt x="5870" y="2188"/>
                </a:moveTo>
                <a:lnTo>
                  <a:pt x="5870" y="2188"/>
                </a:lnTo>
                <a:lnTo>
                  <a:pt x="5874" y="2184"/>
                </a:lnTo>
                <a:lnTo>
                  <a:pt x="5878" y="2182"/>
                </a:lnTo>
                <a:lnTo>
                  <a:pt x="5880" y="2182"/>
                </a:lnTo>
                <a:lnTo>
                  <a:pt x="5882" y="2180"/>
                </a:lnTo>
                <a:lnTo>
                  <a:pt x="5880" y="2176"/>
                </a:lnTo>
                <a:lnTo>
                  <a:pt x="5878" y="2176"/>
                </a:lnTo>
                <a:lnTo>
                  <a:pt x="5876" y="2176"/>
                </a:lnTo>
                <a:lnTo>
                  <a:pt x="5876" y="2174"/>
                </a:lnTo>
                <a:lnTo>
                  <a:pt x="5878" y="2172"/>
                </a:lnTo>
                <a:lnTo>
                  <a:pt x="5880" y="2168"/>
                </a:lnTo>
                <a:lnTo>
                  <a:pt x="5880" y="2166"/>
                </a:lnTo>
                <a:lnTo>
                  <a:pt x="5882" y="2168"/>
                </a:lnTo>
                <a:lnTo>
                  <a:pt x="5884" y="2174"/>
                </a:lnTo>
                <a:lnTo>
                  <a:pt x="5886" y="2176"/>
                </a:lnTo>
                <a:lnTo>
                  <a:pt x="5888" y="2172"/>
                </a:lnTo>
                <a:lnTo>
                  <a:pt x="5888" y="2168"/>
                </a:lnTo>
                <a:lnTo>
                  <a:pt x="5886" y="2162"/>
                </a:lnTo>
                <a:lnTo>
                  <a:pt x="5884" y="2156"/>
                </a:lnTo>
                <a:lnTo>
                  <a:pt x="5882" y="2156"/>
                </a:lnTo>
                <a:lnTo>
                  <a:pt x="5880" y="2156"/>
                </a:lnTo>
                <a:lnTo>
                  <a:pt x="5870" y="2158"/>
                </a:lnTo>
                <a:lnTo>
                  <a:pt x="5868" y="2158"/>
                </a:lnTo>
                <a:lnTo>
                  <a:pt x="5870" y="2154"/>
                </a:lnTo>
                <a:lnTo>
                  <a:pt x="5876" y="2152"/>
                </a:lnTo>
                <a:lnTo>
                  <a:pt x="5878" y="2148"/>
                </a:lnTo>
                <a:lnTo>
                  <a:pt x="5878" y="2146"/>
                </a:lnTo>
                <a:lnTo>
                  <a:pt x="5874" y="2146"/>
                </a:lnTo>
                <a:lnTo>
                  <a:pt x="5870" y="2144"/>
                </a:lnTo>
                <a:lnTo>
                  <a:pt x="5868" y="2138"/>
                </a:lnTo>
                <a:lnTo>
                  <a:pt x="5860" y="2124"/>
                </a:lnTo>
                <a:lnTo>
                  <a:pt x="5858" y="2122"/>
                </a:lnTo>
                <a:lnTo>
                  <a:pt x="5856" y="2122"/>
                </a:lnTo>
                <a:lnTo>
                  <a:pt x="5848" y="2122"/>
                </a:lnTo>
                <a:lnTo>
                  <a:pt x="5840" y="2124"/>
                </a:lnTo>
                <a:lnTo>
                  <a:pt x="5832" y="2126"/>
                </a:lnTo>
                <a:lnTo>
                  <a:pt x="5826" y="2126"/>
                </a:lnTo>
                <a:lnTo>
                  <a:pt x="5826" y="2130"/>
                </a:lnTo>
                <a:lnTo>
                  <a:pt x="5822" y="2132"/>
                </a:lnTo>
                <a:lnTo>
                  <a:pt x="5816" y="2134"/>
                </a:lnTo>
                <a:lnTo>
                  <a:pt x="5810" y="2136"/>
                </a:lnTo>
                <a:lnTo>
                  <a:pt x="5808" y="2138"/>
                </a:lnTo>
                <a:lnTo>
                  <a:pt x="5806" y="2146"/>
                </a:lnTo>
                <a:lnTo>
                  <a:pt x="5804" y="2150"/>
                </a:lnTo>
                <a:lnTo>
                  <a:pt x="5802" y="2152"/>
                </a:lnTo>
                <a:lnTo>
                  <a:pt x="5796" y="2154"/>
                </a:lnTo>
                <a:lnTo>
                  <a:pt x="5802" y="2152"/>
                </a:lnTo>
                <a:lnTo>
                  <a:pt x="5804" y="2150"/>
                </a:lnTo>
                <a:lnTo>
                  <a:pt x="5806" y="2144"/>
                </a:lnTo>
                <a:lnTo>
                  <a:pt x="5808" y="2136"/>
                </a:lnTo>
                <a:lnTo>
                  <a:pt x="5812" y="2134"/>
                </a:lnTo>
                <a:lnTo>
                  <a:pt x="5816" y="2130"/>
                </a:lnTo>
                <a:lnTo>
                  <a:pt x="5816" y="2128"/>
                </a:lnTo>
                <a:lnTo>
                  <a:pt x="5818" y="2126"/>
                </a:lnTo>
                <a:lnTo>
                  <a:pt x="5822" y="2124"/>
                </a:lnTo>
                <a:lnTo>
                  <a:pt x="5824" y="2122"/>
                </a:lnTo>
                <a:lnTo>
                  <a:pt x="5824" y="2120"/>
                </a:lnTo>
                <a:lnTo>
                  <a:pt x="5818" y="2116"/>
                </a:lnTo>
                <a:lnTo>
                  <a:pt x="5814" y="2114"/>
                </a:lnTo>
                <a:lnTo>
                  <a:pt x="5810" y="2114"/>
                </a:lnTo>
                <a:lnTo>
                  <a:pt x="5808" y="2114"/>
                </a:lnTo>
                <a:lnTo>
                  <a:pt x="5806" y="2116"/>
                </a:lnTo>
                <a:lnTo>
                  <a:pt x="5804" y="2120"/>
                </a:lnTo>
                <a:lnTo>
                  <a:pt x="5800" y="2122"/>
                </a:lnTo>
                <a:lnTo>
                  <a:pt x="5796" y="2122"/>
                </a:lnTo>
                <a:lnTo>
                  <a:pt x="5788" y="2122"/>
                </a:lnTo>
                <a:lnTo>
                  <a:pt x="5778" y="2128"/>
                </a:lnTo>
                <a:lnTo>
                  <a:pt x="5770" y="2134"/>
                </a:lnTo>
                <a:lnTo>
                  <a:pt x="5768" y="2138"/>
                </a:lnTo>
                <a:lnTo>
                  <a:pt x="5768" y="2142"/>
                </a:lnTo>
                <a:lnTo>
                  <a:pt x="5768" y="2144"/>
                </a:lnTo>
                <a:lnTo>
                  <a:pt x="5766" y="2146"/>
                </a:lnTo>
                <a:lnTo>
                  <a:pt x="5760" y="2150"/>
                </a:lnTo>
                <a:lnTo>
                  <a:pt x="5754" y="2154"/>
                </a:lnTo>
                <a:lnTo>
                  <a:pt x="5752" y="2156"/>
                </a:lnTo>
                <a:lnTo>
                  <a:pt x="5752" y="2158"/>
                </a:lnTo>
                <a:lnTo>
                  <a:pt x="5754" y="2160"/>
                </a:lnTo>
                <a:lnTo>
                  <a:pt x="5760" y="2160"/>
                </a:lnTo>
                <a:lnTo>
                  <a:pt x="5770" y="2160"/>
                </a:lnTo>
                <a:lnTo>
                  <a:pt x="5778" y="2160"/>
                </a:lnTo>
                <a:lnTo>
                  <a:pt x="5778" y="2162"/>
                </a:lnTo>
                <a:lnTo>
                  <a:pt x="5774" y="2166"/>
                </a:lnTo>
                <a:lnTo>
                  <a:pt x="5766" y="2174"/>
                </a:lnTo>
                <a:lnTo>
                  <a:pt x="5762" y="2180"/>
                </a:lnTo>
                <a:lnTo>
                  <a:pt x="5758" y="2182"/>
                </a:lnTo>
                <a:lnTo>
                  <a:pt x="5754" y="2182"/>
                </a:lnTo>
                <a:lnTo>
                  <a:pt x="5748" y="2182"/>
                </a:lnTo>
                <a:lnTo>
                  <a:pt x="5742" y="2184"/>
                </a:lnTo>
                <a:lnTo>
                  <a:pt x="5738" y="2184"/>
                </a:lnTo>
                <a:lnTo>
                  <a:pt x="5732" y="2180"/>
                </a:lnTo>
                <a:lnTo>
                  <a:pt x="5724" y="2178"/>
                </a:lnTo>
                <a:lnTo>
                  <a:pt x="5714" y="2178"/>
                </a:lnTo>
                <a:lnTo>
                  <a:pt x="5706" y="2180"/>
                </a:lnTo>
                <a:lnTo>
                  <a:pt x="5700" y="2186"/>
                </a:lnTo>
                <a:lnTo>
                  <a:pt x="5698" y="2188"/>
                </a:lnTo>
                <a:lnTo>
                  <a:pt x="5702" y="2188"/>
                </a:lnTo>
                <a:lnTo>
                  <a:pt x="5704" y="2188"/>
                </a:lnTo>
                <a:lnTo>
                  <a:pt x="5706" y="2188"/>
                </a:lnTo>
                <a:lnTo>
                  <a:pt x="5704" y="2192"/>
                </a:lnTo>
                <a:lnTo>
                  <a:pt x="5702" y="2196"/>
                </a:lnTo>
                <a:lnTo>
                  <a:pt x="5700" y="2200"/>
                </a:lnTo>
                <a:lnTo>
                  <a:pt x="5702" y="2204"/>
                </a:lnTo>
                <a:lnTo>
                  <a:pt x="5708" y="2204"/>
                </a:lnTo>
                <a:lnTo>
                  <a:pt x="5714" y="2206"/>
                </a:lnTo>
                <a:lnTo>
                  <a:pt x="5722" y="2206"/>
                </a:lnTo>
                <a:lnTo>
                  <a:pt x="5722" y="2208"/>
                </a:lnTo>
                <a:lnTo>
                  <a:pt x="5718" y="2210"/>
                </a:lnTo>
                <a:lnTo>
                  <a:pt x="5710" y="2214"/>
                </a:lnTo>
                <a:lnTo>
                  <a:pt x="5706" y="2218"/>
                </a:lnTo>
                <a:lnTo>
                  <a:pt x="5704" y="2222"/>
                </a:lnTo>
                <a:lnTo>
                  <a:pt x="5700" y="2226"/>
                </a:lnTo>
                <a:lnTo>
                  <a:pt x="5698" y="2228"/>
                </a:lnTo>
                <a:lnTo>
                  <a:pt x="5700" y="2232"/>
                </a:lnTo>
                <a:lnTo>
                  <a:pt x="5708" y="2240"/>
                </a:lnTo>
                <a:lnTo>
                  <a:pt x="5720" y="2244"/>
                </a:lnTo>
                <a:lnTo>
                  <a:pt x="5726" y="2246"/>
                </a:lnTo>
                <a:lnTo>
                  <a:pt x="5730" y="2246"/>
                </a:lnTo>
                <a:lnTo>
                  <a:pt x="5736" y="2244"/>
                </a:lnTo>
                <a:lnTo>
                  <a:pt x="5742" y="2244"/>
                </a:lnTo>
                <a:lnTo>
                  <a:pt x="5744" y="2246"/>
                </a:lnTo>
                <a:lnTo>
                  <a:pt x="5744" y="2248"/>
                </a:lnTo>
                <a:lnTo>
                  <a:pt x="5734" y="2250"/>
                </a:lnTo>
                <a:lnTo>
                  <a:pt x="5730" y="2252"/>
                </a:lnTo>
                <a:lnTo>
                  <a:pt x="5726" y="2256"/>
                </a:lnTo>
                <a:lnTo>
                  <a:pt x="5726" y="2258"/>
                </a:lnTo>
                <a:lnTo>
                  <a:pt x="5726" y="2262"/>
                </a:lnTo>
                <a:lnTo>
                  <a:pt x="5726" y="2264"/>
                </a:lnTo>
                <a:lnTo>
                  <a:pt x="5724" y="2268"/>
                </a:lnTo>
                <a:lnTo>
                  <a:pt x="5720" y="2274"/>
                </a:lnTo>
                <a:lnTo>
                  <a:pt x="5714" y="2278"/>
                </a:lnTo>
                <a:lnTo>
                  <a:pt x="5708" y="2284"/>
                </a:lnTo>
                <a:lnTo>
                  <a:pt x="5706" y="2286"/>
                </a:lnTo>
                <a:lnTo>
                  <a:pt x="5710" y="2286"/>
                </a:lnTo>
                <a:lnTo>
                  <a:pt x="5716" y="2286"/>
                </a:lnTo>
                <a:lnTo>
                  <a:pt x="5742" y="2278"/>
                </a:lnTo>
                <a:lnTo>
                  <a:pt x="5748" y="2276"/>
                </a:lnTo>
                <a:lnTo>
                  <a:pt x="5750" y="2278"/>
                </a:lnTo>
                <a:lnTo>
                  <a:pt x="5750" y="2280"/>
                </a:lnTo>
                <a:lnTo>
                  <a:pt x="5750" y="2282"/>
                </a:lnTo>
                <a:lnTo>
                  <a:pt x="5748" y="2284"/>
                </a:lnTo>
                <a:lnTo>
                  <a:pt x="5736" y="2286"/>
                </a:lnTo>
                <a:lnTo>
                  <a:pt x="5720" y="2288"/>
                </a:lnTo>
                <a:lnTo>
                  <a:pt x="5712" y="2292"/>
                </a:lnTo>
                <a:lnTo>
                  <a:pt x="5708" y="2296"/>
                </a:lnTo>
                <a:lnTo>
                  <a:pt x="5710" y="2300"/>
                </a:lnTo>
                <a:lnTo>
                  <a:pt x="5712" y="2302"/>
                </a:lnTo>
                <a:lnTo>
                  <a:pt x="5706" y="2302"/>
                </a:lnTo>
                <a:lnTo>
                  <a:pt x="5698" y="2302"/>
                </a:lnTo>
                <a:lnTo>
                  <a:pt x="5694" y="2302"/>
                </a:lnTo>
                <a:lnTo>
                  <a:pt x="5690" y="2306"/>
                </a:lnTo>
                <a:lnTo>
                  <a:pt x="5684" y="2310"/>
                </a:lnTo>
                <a:lnTo>
                  <a:pt x="5684" y="2314"/>
                </a:lnTo>
                <a:lnTo>
                  <a:pt x="5686" y="2314"/>
                </a:lnTo>
                <a:lnTo>
                  <a:pt x="5690" y="2314"/>
                </a:lnTo>
                <a:lnTo>
                  <a:pt x="5694" y="2314"/>
                </a:lnTo>
                <a:lnTo>
                  <a:pt x="5698" y="2314"/>
                </a:lnTo>
                <a:lnTo>
                  <a:pt x="5698" y="2316"/>
                </a:lnTo>
                <a:lnTo>
                  <a:pt x="5694" y="2322"/>
                </a:lnTo>
                <a:lnTo>
                  <a:pt x="5690" y="2326"/>
                </a:lnTo>
                <a:lnTo>
                  <a:pt x="5690" y="2330"/>
                </a:lnTo>
                <a:lnTo>
                  <a:pt x="5692" y="2332"/>
                </a:lnTo>
                <a:lnTo>
                  <a:pt x="5696" y="2332"/>
                </a:lnTo>
                <a:lnTo>
                  <a:pt x="5702" y="2334"/>
                </a:lnTo>
                <a:lnTo>
                  <a:pt x="5704" y="2336"/>
                </a:lnTo>
                <a:lnTo>
                  <a:pt x="5702" y="2340"/>
                </a:lnTo>
                <a:lnTo>
                  <a:pt x="5700" y="2344"/>
                </a:lnTo>
                <a:lnTo>
                  <a:pt x="5702" y="2344"/>
                </a:lnTo>
                <a:lnTo>
                  <a:pt x="5712" y="2340"/>
                </a:lnTo>
                <a:lnTo>
                  <a:pt x="5720" y="2338"/>
                </a:lnTo>
                <a:lnTo>
                  <a:pt x="5714" y="2344"/>
                </a:lnTo>
                <a:lnTo>
                  <a:pt x="5712" y="2346"/>
                </a:lnTo>
                <a:lnTo>
                  <a:pt x="5712" y="2348"/>
                </a:lnTo>
                <a:lnTo>
                  <a:pt x="5716" y="2350"/>
                </a:lnTo>
                <a:lnTo>
                  <a:pt x="5724" y="2352"/>
                </a:lnTo>
                <a:lnTo>
                  <a:pt x="5734" y="2350"/>
                </a:lnTo>
                <a:lnTo>
                  <a:pt x="5756" y="2344"/>
                </a:lnTo>
                <a:lnTo>
                  <a:pt x="5764" y="2342"/>
                </a:lnTo>
                <a:lnTo>
                  <a:pt x="5768" y="2338"/>
                </a:lnTo>
                <a:lnTo>
                  <a:pt x="5772" y="2326"/>
                </a:lnTo>
                <a:lnTo>
                  <a:pt x="5774" y="2324"/>
                </a:lnTo>
                <a:lnTo>
                  <a:pt x="5776" y="2328"/>
                </a:lnTo>
                <a:lnTo>
                  <a:pt x="5778" y="2330"/>
                </a:lnTo>
                <a:lnTo>
                  <a:pt x="5780" y="2330"/>
                </a:lnTo>
                <a:lnTo>
                  <a:pt x="5792" y="2324"/>
                </a:lnTo>
                <a:lnTo>
                  <a:pt x="5804" y="2316"/>
                </a:lnTo>
                <a:lnTo>
                  <a:pt x="5810" y="2314"/>
                </a:lnTo>
                <a:lnTo>
                  <a:pt x="5818" y="2312"/>
                </a:lnTo>
                <a:lnTo>
                  <a:pt x="5828" y="2310"/>
                </a:lnTo>
                <a:lnTo>
                  <a:pt x="5832" y="2308"/>
                </a:lnTo>
                <a:lnTo>
                  <a:pt x="5838" y="2306"/>
                </a:lnTo>
                <a:lnTo>
                  <a:pt x="5846" y="2308"/>
                </a:lnTo>
                <a:lnTo>
                  <a:pt x="5852" y="2310"/>
                </a:lnTo>
                <a:lnTo>
                  <a:pt x="5852" y="2306"/>
                </a:lnTo>
                <a:lnTo>
                  <a:pt x="5852" y="2298"/>
                </a:lnTo>
                <a:lnTo>
                  <a:pt x="5854" y="2292"/>
                </a:lnTo>
                <a:lnTo>
                  <a:pt x="5856" y="2284"/>
                </a:lnTo>
                <a:lnTo>
                  <a:pt x="5860" y="2276"/>
                </a:lnTo>
                <a:lnTo>
                  <a:pt x="5864" y="2268"/>
                </a:lnTo>
                <a:lnTo>
                  <a:pt x="5866" y="2252"/>
                </a:lnTo>
                <a:lnTo>
                  <a:pt x="5864" y="2236"/>
                </a:lnTo>
                <a:lnTo>
                  <a:pt x="5860" y="2222"/>
                </a:lnTo>
                <a:lnTo>
                  <a:pt x="5852" y="2206"/>
                </a:lnTo>
                <a:lnTo>
                  <a:pt x="5852" y="2202"/>
                </a:lnTo>
                <a:lnTo>
                  <a:pt x="5854" y="2200"/>
                </a:lnTo>
                <a:lnTo>
                  <a:pt x="5858" y="2200"/>
                </a:lnTo>
                <a:lnTo>
                  <a:pt x="5858" y="2196"/>
                </a:lnTo>
                <a:lnTo>
                  <a:pt x="5854" y="2192"/>
                </a:lnTo>
                <a:lnTo>
                  <a:pt x="5856" y="2192"/>
                </a:lnTo>
                <a:lnTo>
                  <a:pt x="5860" y="2192"/>
                </a:lnTo>
                <a:lnTo>
                  <a:pt x="5862" y="2196"/>
                </a:lnTo>
                <a:lnTo>
                  <a:pt x="5864" y="2196"/>
                </a:lnTo>
                <a:lnTo>
                  <a:pt x="5870" y="2188"/>
                </a:lnTo>
                <a:close/>
                <a:moveTo>
                  <a:pt x="6178" y="2288"/>
                </a:moveTo>
                <a:lnTo>
                  <a:pt x="6178" y="2288"/>
                </a:lnTo>
                <a:lnTo>
                  <a:pt x="6176" y="2278"/>
                </a:lnTo>
                <a:lnTo>
                  <a:pt x="6170" y="2270"/>
                </a:lnTo>
                <a:lnTo>
                  <a:pt x="6162" y="2266"/>
                </a:lnTo>
                <a:lnTo>
                  <a:pt x="6154" y="2262"/>
                </a:lnTo>
                <a:lnTo>
                  <a:pt x="6146" y="2260"/>
                </a:lnTo>
                <a:lnTo>
                  <a:pt x="6136" y="2260"/>
                </a:lnTo>
                <a:lnTo>
                  <a:pt x="6130" y="2262"/>
                </a:lnTo>
                <a:lnTo>
                  <a:pt x="6126" y="2266"/>
                </a:lnTo>
                <a:lnTo>
                  <a:pt x="6122" y="2272"/>
                </a:lnTo>
                <a:lnTo>
                  <a:pt x="6118" y="2272"/>
                </a:lnTo>
                <a:lnTo>
                  <a:pt x="6116" y="2268"/>
                </a:lnTo>
                <a:lnTo>
                  <a:pt x="6112" y="2268"/>
                </a:lnTo>
                <a:lnTo>
                  <a:pt x="6108" y="2266"/>
                </a:lnTo>
                <a:lnTo>
                  <a:pt x="6110" y="2262"/>
                </a:lnTo>
                <a:lnTo>
                  <a:pt x="6114" y="2258"/>
                </a:lnTo>
                <a:lnTo>
                  <a:pt x="6120" y="2256"/>
                </a:lnTo>
                <a:lnTo>
                  <a:pt x="6122" y="2254"/>
                </a:lnTo>
                <a:lnTo>
                  <a:pt x="6122" y="2250"/>
                </a:lnTo>
                <a:lnTo>
                  <a:pt x="6120" y="2242"/>
                </a:lnTo>
                <a:lnTo>
                  <a:pt x="6112" y="2232"/>
                </a:lnTo>
                <a:lnTo>
                  <a:pt x="6102" y="2224"/>
                </a:lnTo>
                <a:lnTo>
                  <a:pt x="6094" y="2218"/>
                </a:lnTo>
                <a:lnTo>
                  <a:pt x="6092" y="2216"/>
                </a:lnTo>
                <a:lnTo>
                  <a:pt x="6096" y="2216"/>
                </a:lnTo>
                <a:lnTo>
                  <a:pt x="6102" y="2218"/>
                </a:lnTo>
                <a:lnTo>
                  <a:pt x="6108" y="2222"/>
                </a:lnTo>
                <a:lnTo>
                  <a:pt x="6114" y="2224"/>
                </a:lnTo>
                <a:lnTo>
                  <a:pt x="6114" y="2222"/>
                </a:lnTo>
                <a:lnTo>
                  <a:pt x="6112" y="2220"/>
                </a:lnTo>
                <a:lnTo>
                  <a:pt x="6106" y="2210"/>
                </a:lnTo>
                <a:lnTo>
                  <a:pt x="6102" y="2206"/>
                </a:lnTo>
                <a:lnTo>
                  <a:pt x="6102" y="2200"/>
                </a:lnTo>
                <a:lnTo>
                  <a:pt x="6102" y="2194"/>
                </a:lnTo>
                <a:lnTo>
                  <a:pt x="6102" y="2190"/>
                </a:lnTo>
                <a:lnTo>
                  <a:pt x="6100" y="2188"/>
                </a:lnTo>
                <a:lnTo>
                  <a:pt x="6096" y="2186"/>
                </a:lnTo>
                <a:lnTo>
                  <a:pt x="6092" y="2184"/>
                </a:lnTo>
                <a:lnTo>
                  <a:pt x="6090" y="2182"/>
                </a:lnTo>
                <a:lnTo>
                  <a:pt x="6088" y="2176"/>
                </a:lnTo>
                <a:lnTo>
                  <a:pt x="6084" y="2170"/>
                </a:lnTo>
                <a:lnTo>
                  <a:pt x="6080" y="2166"/>
                </a:lnTo>
                <a:lnTo>
                  <a:pt x="6074" y="2164"/>
                </a:lnTo>
                <a:lnTo>
                  <a:pt x="6066" y="2162"/>
                </a:lnTo>
                <a:lnTo>
                  <a:pt x="6060" y="2160"/>
                </a:lnTo>
                <a:lnTo>
                  <a:pt x="6058" y="2154"/>
                </a:lnTo>
                <a:lnTo>
                  <a:pt x="6050" y="2140"/>
                </a:lnTo>
                <a:lnTo>
                  <a:pt x="6044" y="2124"/>
                </a:lnTo>
                <a:lnTo>
                  <a:pt x="6042" y="2112"/>
                </a:lnTo>
                <a:lnTo>
                  <a:pt x="6042" y="2104"/>
                </a:lnTo>
                <a:lnTo>
                  <a:pt x="6040" y="2100"/>
                </a:lnTo>
                <a:lnTo>
                  <a:pt x="6036" y="2098"/>
                </a:lnTo>
                <a:lnTo>
                  <a:pt x="6030" y="2092"/>
                </a:lnTo>
                <a:lnTo>
                  <a:pt x="6026" y="2086"/>
                </a:lnTo>
                <a:lnTo>
                  <a:pt x="6020" y="2080"/>
                </a:lnTo>
                <a:lnTo>
                  <a:pt x="6006" y="2074"/>
                </a:lnTo>
                <a:lnTo>
                  <a:pt x="6000" y="2072"/>
                </a:lnTo>
                <a:lnTo>
                  <a:pt x="5994" y="2070"/>
                </a:lnTo>
                <a:lnTo>
                  <a:pt x="5992" y="2072"/>
                </a:lnTo>
                <a:lnTo>
                  <a:pt x="5990" y="2074"/>
                </a:lnTo>
                <a:lnTo>
                  <a:pt x="5986" y="2076"/>
                </a:lnTo>
                <a:lnTo>
                  <a:pt x="5982" y="2076"/>
                </a:lnTo>
                <a:lnTo>
                  <a:pt x="5976" y="2076"/>
                </a:lnTo>
                <a:lnTo>
                  <a:pt x="5970" y="2074"/>
                </a:lnTo>
                <a:lnTo>
                  <a:pt x="5974" y="2072"/>
                </a:lnTo>
                <a:lnTo>
                  <a:pt x="5980" y="2070"/>
                </a:lnTo>
                <a:lnTo>
                  <a:pt x="5984" y="2066"/>
                </a:lnTo>
                <a:lnTo>
                  <a:pt x="5986" y="2062"/>
                </a:lnTo>
                <a:lnTo>
                  <a:pt x="5988" y="2062"/>
                </a:lnTo>
                <a:lnTo>
                  <a:pt x="5992" y="2062"/>
                </a:lnTo>
                <a:lnTo>
                  <a:pt x="6000" y="2060"/>
                </a:lnTo>
                <a:lnTo>
                  <a:pt x="6002" y="2058"/>
                </a:lnTo>
                <a:lnTo>
                  <a:pt x="6004" y="2058"/>
                </a:lnTo>
                <a:lnTo>
                  <a:pt x="6000" y="2056"/>
                </a:lnTo>
                <a:lnTo>
                  <a:pt x="5996" y="2054"/>
                </a:lnTo>
                <a:lnTo>
                  <a:pt x="5994" y="2052"/>
                </a:lnTo>
                <a:lnTo>
                  <a:pt x="5992" y="2050"/>
                </a:lnTo>
                <a:lnTo>
                  <a:pt x="5992" y="2048"/>
                </a:lnTo>
                <a:lnTo>
                  <a:pt x="5990" y="2046"/>
                </a:lnTo>
                <a:lnTo>
                  <a:pt x="5988" y="2044"/>
                </a:lnTo>
                <a:lnTo>
                  <a:pt x="5990" y="2044"/>
                </a:lnTo>
                <a:lnTo>
                  <a:pt x="5996" y="2046"/>
                </a:lnTo>
                <a:lnTo>
                  <a:pt x="6000" y="2044"/>
                </a:lnTo>
                <a:lnTo>
                  <a:pt x="6002" y="2042"/>
                </a:lnTo>
                <a:lnTo>
                  <a:pt x="6010" y="2034"/>
                </a:lnTo>
                <a:lnTo>
                  <a:pt x="6018" y="2014"/>
                </a:lnTo>
                <a:lnTo>
                  <a:pt x="6026" y="1996"/>
                </a:lnTo>
                <a:lnTo>
                  <a:pt x="6032" y="1986"/>
                </a:lnTo>
                <a:lnTo>
                  <a:pt x="6034" y="1980"/>
                </a:lnTo>
                <a:lnTo>
                  <a:pt x="6032" y="1974"/>
                </a:lnTo>
                <a:lnTo>
                  <a:pt x="6030" y="1970"/>
                </a:lnTo>
                <a:lnTo>
                  <a:pt x="6026" y="1968"/>
                </a:lnTo>
                <a:lnTo>
                  <a:pt x="6016" y="1966"/>
                </a:lnTo>
                <a:lnTo>
                  <a:pt x="6004" y="1968"/>
                </a:lnTo>
                <a:lnTo>
                  <a:pt x="5986" y="1968"/>
                </a:lnTo>
                <a:lnTo>
                  <a:pt x="5970" y="1966"/>
                </a:lnTo>
                <a:lnTo>
                  <a:pt x="5960" y="1968"/>
                </a:lnTo>
                <a:lnTo>
                  <a:pt x="5952" y="1972"/>
                </a:lnTo>
                <a:lnTo>
                  <a:pt x="5946" y="1976"/>
                </a:lnTo>
                <a:lnTo>
                  <a:pt x="5942" y="1974"/>
                </a:lnTo>
                <a:lnTo>
                  <a:pt x="5944" y="1972"/>
                </a:lnTo>
                <a:lnTo>
                  <a:pt x="5952" y="1962"/>
                </a:lnTo>
                <a:lnTo>
                  <a:pt x="5954" y="1960"/>
                </a:lnTo>
                <a:lnTo>
                  <a:pt x="5954" y="1958"/>
                </a:lnTo>
                <a:lnTo>
                  <a:pt x="5948" y="1958"/>
                </a:lnTo>
                <a:lnTo>
                  <a:pt x="5942" y="1960"/>
                </a:lnTo>
                <a:lnTo>
                  <a:pt x="5942" y="1958"/>
                </a:lnTo>
                <a:lnTo>
                  <a:pt x="5944" y="1958"/>
                </a:lnTo>
                <a:lnTo>
                  <a:pt x="5954" y="1950"/>
                </a:lnTo>
                <a:lnTo>
                  <a:pt x="5968" y="1938"/>
                </a:lnTo>
                <a:lnTo>
                  <a:pt x="5980" y="1926"/>
                </a:lnTo>
                <a:lnTo>
                  <a:pt x="5984" y="1920"/>
                </a:lnTo>
                <a:lnTo>
                  <a:pt x="5984" y="1918"/>
                </a:lnTo>
                <a:lnTo>
                  <a:pt x="5984" y="1916"/>
                </a:lnTo>
                <a:lnTo>
                  <a:pt x="5984" y="1914"/>
                </a:lnTo>
                <a:lnTo>
                  <a:pt x="5984" y="1910"/>
                </a:lnTo>
                <a:lnTo>
                  <a:pt x="5986" y="1908"/>
                </a:lnTo>
                <a:lnTo>
                  <a:pt x="5984" y="1906"/>
                </a:lnTo>
                <a:lnTo>
                  <a:pt x="5978" y="1904"/>
                </a:lnTo>
                <a:lnTo>
                  <a:pt x="5970" y="1906"/>
                </a:lnTo>
                <a:lnTo>
                  <a:pt x="5968" y="1908"/>
                </a:lnTo>
                <a:lnTo>
                  <a:pt x="5964" y="1908"/>
                </a:lnTo>
                <a:lnTo>
                  <a:pt x="5956" y="1908"/>
                </a:lnTo>
                <a:lnTo>
                  <a:pt x="5948" y="1912"/>
                </a:lnTo>
                <a:lnTo>
                  <a:pt x="5938" y="1914"/>
                </a:lnTo>
                <a:lnTo>
                  <a:pt x="5932" y="1912"/>
                </a:lnTo>
                <a:lnTo>
                  <a:pt x="5926" y="1912"/>
                </a:lnTo>
                <a:lnTo>
                  <a:pt x="5924" y="1912"/>
                </a:lnTo>
                <a:lnTo>
                  <a:pt x="5920" y="1914"/>
                </a:lnTo>
                <a:lnTo>
                  <a:pt x="5916" y="1912"/>
                </a:lnTo>
                <a:lnTo>
                  <a:pt x="5910" y="1910"/>
                </a:lnTo>
                <a:lnTo>
                  <a:pt x="5906" y="1908"/>
                </a:lnTo>
                <a:lnTo>
                  <a:pt x="5902" y="1910"/>
                </a:lnTo>
                <a:lnTo>
                  <a:pt x="5904" y="1916"/>
                </a:lnTo>
                <a:lnTo>
                  <a:pt x="5904" y="1920"/>
                </a:lnTo>
                <a:lnTo>
                  <a:pt x="5902" y="1922"/>
                </a:lnTo>
                <a:lnTo>
                  <a:pt x="5900" y="1924"/>
                </a:lnTo>
                <a:lnTo>
                  <a:pt x="5898" y="1924"/>
                </a:lnTo>
                <a:lnTo>
                  <a:pt x="5900" y="1930"/>
                </a:lnTo>
                <a:lnTo>
                  <a:pt x="5904" y="1932"/>
                </a:lnTo>
                <a:lnTo>
                  <a:pt x="5902" y="1934"/>
                </a:lnTo>
                <a:lnTo>
                  <a:pt x="5896" y="1932"/>
                </a:lnTo>
                <a:lnTo>
                  <a:pt x="5890" y="1932"/>
                </a:lnTo>
                <a:lnTo>
                  <a:pt x="5892" y="1934"/>
                </a:lnTo>
                <a:lnTo>
                  <a:pt x="5894" y="1938"/>
                </a:lnTo>
                <a:lnTo>
                  <a:pt x="5894" y="1942"/>
                </a:lnTo>
                <a:lnTo>
                  <a:pt x="5892" y="1942"/>
                </a:lnTo>
                <a:lnTo>
                  <a:pt x="5888" y="1942"/>
                </a:lnTo>
                <a:lnTo>
                  <a:pt x="5888" y="1944"/>
                </a:lnTo>
                <a:lnTo>
                  <a:pt x="5890" y="1948"/>
                </a:lnTo>
                <a:lnTo>
                  <a:pt x="5892" y="1952"/>
                </a:lnTo>
                <a:lnTo>
                  <a:pt x="5890" y="1956"/>
                </a:lnTo>
                <a:lnTo>
                  <a:pt x="5886" y="1956"/>
                </a:lnTo>
                <a:lnTo>
                  <a:pt x="5876" y="1956"/>
                </a:lnTo>
                <a:lnTo>
                  <a:pt x="5872" y="1958"/>
                </a:lnTo>
                <a:lnTo>
                  <a:pt x="5874" y="1962"/>
                </a:lnTo>
                <a:lnTo>
                  <a:pt x="5876" y="1968"/>
                </a:lnTo>
                <a:lnTo>
                  <a:pt x="5874" y="1972"/>
                </a:lnTo>
                <a:lnTo>
                  <a:pt x="5872" y="1976"/>
                </a:lnTo>
                <a:lnTo>
                  <a:pt x="5872" y="1986"/>
                </a:lnTo>
                <a:lnTo>
                  <a:pt x="5872" y="1988"/>
                </a:lnTo>
                <a:lnTo>
                  <a:pt x="5874" y="1990"/>
                </a:lnTo>
                <a:lnTo>
                  <a:pt x="5878" y="1992"/>
                </a:lnTo>
                <a:lnTo>
                  <a:pt x="5880" y="1994"/>
                </a:lnTo>
                <a:lnTo>
                  <a:pt x="5880" y="1998"/>
                </a:lnTo>
                <a:lnTo>
                  <a:pt x="5876" y="2004"/>
                </a:lnTo>
                <a:lnTo>
                  <a:pt x="5874" y="2006"/>
                </a:lnTo>
                <a:lnTo>
                  <a:pt x="5872" y="2008"/>
                </a:lnTo>
                <a:lnTo>
                  <a:pt x="5874" y="2010"/>
                </a:lnTo>
                <a:lnTo>
                  <a:pt x="5876" y="2012"/>
                </a:lnTo>
                <a:lnTo>
                  <a:pt x="5874" y="2014"/>
                </a:lnTo>
                <a:lnTo>
                  <a:pt x="5870" y="2016"/>
                </a:lnTo>
                <a:lnTo>
                  <a:pt x="5868" y="2018"/>
                </a:lnTo>
                <a:lnTo>
                  <a:pt x="5872" y="2020"/>
                </a:lnTo>
                <a:lnTo>
                  <a:pt x="5872" y="2024"/>
                </a:lnTo>
                <a:lnTo>
                  <a:pt x="5868" y="2026"/>
                </a:lnTo>
                <a:lnTo>
                  <a:pt x="5862" y="2026"/>
                </a:lnTo>
                <a:lnTo>
                  <a:pt x="5858" y="2026"/>
                </a:lnTo>
                <a:lnTo>
                  <a:pt x="5856" y="2028"/>
                </a:lnTo>
                <a:lnTo>
                  <a:pt x="5856" y="2030"/>
                </a:lnTo>
                <a:lnTo>
                  <a:pt x="5858" y="2030"/>
                </a:lnTo>
                <a:lnTo>
                  <a:pt x="5866" y="2030"/>
                </a:lnTo>
                <a:lnTo>
                  <a:pt x="5874" y="2030"/>
                </a:lnTo>
                <a:lnTo>
                  <a:pt x="5876" y="2032"/>
                </a:lnTo>
                <a:lnTo>
                  <a:pt x="5868" y="2034"/>
                </a:lnTo>
                <a:lnTo>
                  <a:pt x="5864" y="2036"/>
                </a:lnTo>
                <a:lnTo>
                  <a:pt x="5864" y="2038"/>
                </a:lnTo>
                <a:lnTo>
                  <a:pt x="5868" y="2038"/>
                </a:lnTo>
                <a:lnTo>
                  <a:pt x="5872" y="2040"/>
                </a:lnTo>
                <a:lnTo>
                  <a:pt x="5876" y="2040"/>
                </a:lnTo>
                <a:lnTo>
                  <a:pt x="5878" y="2040"/>
                </a:lnTo>
                <a:lnTo>
                  <a:pt x="5880" y="2040"/>
                </a:lnTo>
                <a:lnTo>
                  <a:pt x="5884" y="2038"/>
                </a:lnTo>
                <a:lnTo>
                  <a:pt x="5892" y="2030"/>
                </a:lnTo>
                <a:lnTo>
                  <a:pt x="5890" y="2036"/>
                </a:lnTo>
                <a:lnTo>
                  <a:pt x="5888" y="2042"/>
                </a:lnTo>
                <a:lnTo>
                  <a:pt x="5886" y="2048"/>
                </a:lnTo>
                <a:lnTo>
                  <a:pt x="5886" y="2052"/>
                </a:lnTo>
                <a:lnTo>
                  <a:pt x="5882" y="2054"/>
                </a:lnTo>
                <a:lnTo>
                  <a:pt x="5880" y="2058"/>
                </a:lnTo>
                <a:lnTo>
                  <a:pt x="5882" y="2062"/>
                </a:lnTo>
                <a:lnTo>
                  <a:pt x="5882" y="2066"/>
                </a:lnTo>
                <a:lnTo>
                  <a:pt x="5880" y="2070"/>
                </a:lnTo>
                <a:lnTo>
                  <a:pt x="5876" y="2076"/>
                </a:lnTo>
                <a:lnTo>
                  <a:pt x="5878" y="2078"/>
                </a:lnTo>
                <a:lnTo>
                  <a:pt x="5878" y="2082"/>
                </a:lnTo>
                <a:lnTo>
                  <a:pt x="5878" y="2086"/>
                </a:lnTo>
                <a:lnTo>
                  <a:pt x="5878" y="2088"/>
                </a:lnTo>
                <a:lnTo>
                  <a:pt x="5880" y="2090"/>
                </a:lnTo>
                <a:lnTo>
                  <a:pt x="5884" y="2088"/>
                </a:lnTo>
                <a:lnTo>
                  <a:pt x="5882" y="2090"/>
                </a:lnTo>
                <a:lnTo>
                  <a:pt x="5878" y="2100"/>
                </a:lnTo>
                <a:lnTo>
                  <a:pt x="5874" y="2112"/>
                </a:lnTo>
                <a:lnTo>
                  <a:pt x="5874" y="2116"/>
                </a:lnTo>
                <a:lnTo>
                  <a:pt x="5876" y="2118"/>
                </a:lnTo>
                <a:lnTo>
                  <a:pt x="5878" y="2120"/>
                </a:lnTo>
                <a:lnTo>
                  <a:pt x="5880" y="2118"/>
                </a:lnTo>
                <a:lnTo>
                  <a:pt x="5884" y="2108"/>
                </a:lnTo>
                <a:lnTo>
                  <a:pt x="5886" y="2098"/>
                </a:lnTo>
                <a:lnTo>
                  <a:pt x="5888" y="2094"/>
                </a:lnTo>
                <a:lnTo>
                  <a:pt x="5892" y="2090"/>
                </a:lnTo>
                <a:lnTo>
                  <a:pt x="5892" y="2088"/>
                </a:lnTo>
                <a:lnTo>
                  <a:pt x="5892" y="2086"/>
                </a:lnTo>
                <a:lnTo>
                  <a:pt x="5890" y="2082"/>
                </a:lnTo>
                <a:lnTo>
                  <a:pt x="5888" y="2078"/>
                </a:lnTo>
                <a:lnTo>
                  <a:pt x="5888" y="2076"/>
                </a:lnTo>
                <a:lnTo>
                  <a:pt x="5890" y="2072"/>
                </a:lnTo>
                <a:lnTo>
                  <a:pt x="5894" y="2070"/>
                </a:lnTo>
                <a:lnTo>
                  <a:pt x="5892" y="2074"/>
                </a:lnTo>
                <a:lnTo>
                  <a:pt x="5892" y="2078"/>
                </a:lnTo>
                <a:lnTo>
                  <a:pt x="5894" y="2080"/>
                </a:lnTo>
                <a:lnTo>
                  <a:pt x="5896" y="2082"/>
                </a:lnTo>
                <a:lnTo>
                  <a:pt x="5898" y="2084"/>
                </a:lnTo>
                <a:lnTo>
                  <a:pt x="5900" y="2080"/>
                </a:lnTo>
                <a:lnTo>
                  <a:pt x="5900" y="2078"/>
                </a:lnTo>
                <a:lnTo>
                  <a:pt x="5904" y="2080"/>
                </a:lnTo>
                <a:lnTo>
                  <a:pt x="5906" y="2082"/>
                </a:lnTo>
                <a:lnTo>
                  <a:pt x="5906" y="2080"/>
                </a:lnTo>
                <a:lnTo>
                  <a:pt x="5908" y="2076"/>
                </a:lnTo>
                <a:lnTo>
                  <a:pt x="5910" y="2074"/>
                </a:lnTo>
                <a:lnTo>
                  <a:pt x="5912" y="2072"/>
                </a:lnTo>
                <a:lnTo>
                  <a:pt x="5916" y="2074"/>
                </a:lnTo>
                <a:lnTo>
                  <a:pt x="5922" y="2080"/>
                </a:lnTo>
                <a:lnTo>
                  <a:pt x="5914" y="2080"/>
                </a:lnTo>
                <a:lnTo>
                  <a:pt x="5908" y="2084"/>
                </a:lnTo>
                <a:lnTo>
                  <a:pt x="5908" y="2086"/>
                </a:lnTo>
                <a:lnTo>
                  <a:pt x="5908" y="2090"/>
                </a:lnTo>
                <a:lnTo>
                  <a:pt x="5916" y="2098"/>
                </a:lnTo>
                <a:lnTo>
                  <a:pt x="5918" y="2102"/>
                </a:lnTo>
                <a:lnTo>
                  <a:pt x="5920" y="2108"/>
                </a:lnTo>
                <a:lnTo>
                  <a:pt x="5918" y="2112"/>
                </a:lnTo>
                <a:lnTo>
                  <a:pt x="5914" y="2116"/>
                </a:lnTo>
                <a:lnTo>
                  <a:pt x="5908" y="2124"/>
                </a:lnTo>
                <a:lnTo>
                  <a:pt x="5906" y="2128"/>
                </a:lnTo>
                <a:lnTo>
                  <a:pt x="5906" y="2134"/>
                </a:lnTo>
                <a:lnTo>
                  <a:pt x="5906" y="2140"/>
                </a:lnTo>
                <a:lnTo>
                  <a:pt x="5904" y="2138"/>
                </a:lnTo>
                <a:lnTo>
                  <a:pt x="5902" y="2136"/>
                </a:lnTo>
                <a:lnTo>
                  <a:pt x="5900" y="2136"/>
                </a:lnTo>
                <a:lnTo>
                  <a:pt x="5898" y="2138"/>
                </a:lnTo>
                <a:lnTo>
                  <a:pt x="5898" y="2140"/>
                </a:lnTo>
                <a:lnTo>
                  <a:pt x="5898" y="2144"/>
                </a:lnTo>
                <a:lnTo>
                  <a:pt x="5904" y="2152"/>
                </a:lnTo>
                <a:lnTo>
                  <a:pt x="5908" y="2156"/>
                </a:lnTo>
                <a:lnTo>
                  <a:pt x="5910" y="2156"/>
                </a:lnTo>
                <a:lnTo>
                  <a:pt x="5908" y="2152"/>
                </a:lnTo>
                <a:lnTo>
                  <a:pt x="5908" y="2148"/>
                </a:lnTo>
                <a:lnTo>
                  <a:pt x="5908" y="2146"/>
                </a:lnTo>
                <a:lnTo>
                  <a:pt x="5910" y="2144"/>
                </a:lnTo>
                <a:lnTo>
                  <a:pt x="5912" y="2146"/>
                </a:lnTo>
                <a:lnTo>
                  <a:pt x="5918" y="2148"/>
                </a:lnTo>
                <a:lnTo>
                  <a:pt x="5924" y="2154"/>
                </a:lnTo>
                <a:lnTo>
                  <a:pt x="5928" y="2156"/>
                </a:lnTo>
                <a:lnTo>
                  <a:pt x="5930" y="2156"/>
                </a:lnTo>
                <a:lnTo>
                  <a:pt x="5932" y="2152"/>
                </a:lnTo>
                <a:lnTo>
                  <a:pt x="5930" y="2146"/>
                </a:lnTo>
                <a:lnTo>
                  <a:pt x="5930" y="2144"/>
                </a:lnTo>
                <a:lnTo>
                  <a:pt x="5936" y="2148"/>
                </a:lnTo>
                <a:lnTo>
                  <a:pt x="5944" y="2152"/>
                </a:lnTo>
                <a:lnTo>
                  <a:pt x="5948" y="2150"/>
                </a:lnTo>
                <a:lnTo>
                  <a:pt x="5950" y="2148"/>
                </a:lnTo>
                <a:lnTo>
                  <a:pt x="5956" y="2144"/>
                </a:lnTo>
                <a:lnTo>
                  <a:pt x="5958" y="2144"/>
                </a:lnTo>
                <a:lnTo>
                  <a:pt x="5962" y="2144"/>
                </a:lnTo>
                <a:lnTo>
                  <a:pt x="5964" y="2140"/>
                </a:lnTo>
                <a:lnTo>
                  <a:pt x="5966" y="2138"/>
                </a:lnTo>
                <a:lnTo>
                  <a:pt x="5972" y="2138"/>
                </a:lnTo>
                <a:lnTo>
                  <a:pt x="5976" y="2138"/>
                </a:lnTo>
                <a:lnTo>
                  <a:pt x="5976" y="2140"/>
                </a:lnTo>
                <a:lnTo>
                  <a:pt x="5972" y="2144"/>
                </a:lnTo>
                <a:lnTo>
                  <a:pt x="5964" y="2154"/>
                </a:lnTo>
                <a:lnTo>
                  <a:pt x="5962" y="2162"/>
                </a:lnTo>
                <a:lnTo>
                  <a:pt x="5960" y="2166"/>
                </a:lnTo>
                <a:lnTo>
                  <a:pt x="5960" y="2172"/>
                </a:lnTo>
                <a:lnTo>
                  <a:pt x="5962" y="2176"/>
                </a:lnTo>
                <a:lnTo>
                  <a:pt x="5970" y="2182"/>
                </a:lnTo>
                <a:lnTo>
                  <a:pt x="5976" y="2190"/>
                </a:lnTo>
                <a:lnTo>
                  <a:pt x="5980" y="2194"/>
                </a:lnTo>
                <a:lnTo>
                  <a:pt x="5982" y="2192"/>
                </a:lnTo>
                <a:lnTo>
                  <a:pt x="5984" y="2188"/>
                </a:lnTo>
                <a:lnTo>
                  <a:pt x="5986" y="2188"/>
                </a:lnTo>
                <a:lnTo>
                  <a:pt x="5990" y="2186"/>
                </a:lnTo>
                <a:lnTo>
                  <a:pt x="5992" y="2188"/>
                </a:lnTo>
                <a:lnTo>
                  <a:pt x="5992" y="2192"/>
                </a:lnTo>
                <a:lnTo>
                  <a:pt x="5990" y="2196"/>
                </a:lnTo>
                <a:lnTo>
                  <a:pt x="5990" y="2198"/>
                </a:lnTo>
                <a:lnTo>
                  <a:pt x="5992" y="2200"/>
                </a:lnTo>
                <a:lnTo>
                  <a:pt x="5990" y="2202"/>
                </a:lnTo>
                <a:lnTo>
                  <a:pt x="5986" y="2204"/>
                </a:lnTo>
                <a:lnTo>
                  <a:pt x="5984" y="2206"/>
                </a:lnTo>
                <a:lnTo>
                  <a:pt x="5982" y="2208"/>
                </a:lnTo>
                <a:lnTo>
                  <a:pt x="5984" y="2212"/>
                </a:lnTo>
                <a:lnTo>
                  <a:pt x="5988" y="2214"/>
                </a:lnTo>
                <a:lnTo>
                  <a:pt x="5988" y="2216"/>
                </a:lnTo>
                <a:lnTo>
                  <a:pt x="5986" y="2218"/>
                </a:lnTo>
                <a:lnTo>
                  <a:pt x="5984" y="2220"/>
                </a:lnTo>
                <a:lnTo>
                  <a:pt x="5984" y="2222"/>
                </a:lnTo>
                <a:lnTo>
                  <a:pt x="5984" y="2226"/>
                </a:lnTo>
                <a:lnTo>
                  <a:pt x="5988" y="2232"/>
                </a:lnTo>
                <a:lnTo>
                  <a:pt x="5992" y="2242"/>
                </a:lnTo>
                <a:lnTo>
                  <a:pt x="5988" y="2238"/>
                </a:lnTo>
                <a:lnTo>
                  <a:pt x="5984" y="2234"/>
                </a:lnTo>
                <a:lnTo>
                  <a:pt x="5980" y="2234"/>
                </a:lnTo>
                <a:lnTo>
                  <a:pt x="5978" y="2236"/>
                </a:lnTo>
                <a:lnTo>
                  <a:pt x="5980" y="2240"/>
                </a:lnTo>
                <a:lnTo>
                  <a:pt x="5982" y="2244"/>
                </a:lnTo>
                <a:lnTo>
                  <a:pt x="5980" y="2242"/>
                </a:lnTo>
                <a:lnTo>
                  <a:pt x="5974" y="2238"/>
                </a:lnTo>
                <a:lnTo>
                  <a:pt x="5970" y="2238"/>
                </a:lnTo>
                <a:lnTo>
                  <a:pt x="5966" y="2240"/>
                </a:lnTo>
                <a:lnTo>
                  <a:pt x="5960" y="2242"/>
                </a:lnTo>
                <a:lnTo>
                  <a:pt x="5956" y="2240"/>
                </a:lnTo>
                <a:lnTo>
                  <a:pt x="5954" y="2240"/>
                </a:lnTo>
                <a:lnTo>
                  <a:pt x="5950" y="2240"/>
                </a:lnTo>
                <a:lnTo>
                  <a:pt x="5948" y="2242"/>
                </a:lnTo>
                <a:lnTo>
                  <a:pt x="5944" y="2244"/>
                </a:lnTo>
                <a:lnTo>
                  <a:pt x="5940" y="2246"/>
                </a:lnTo>
                <a:lnTo>
                  <a:pt x="5936" y="2250"/>
                </a:lnTo>
                <a:lnTo>
                  <a:pt x="5930" y="2258"/>
                </a:lnTo>
                <a:lnTo>
                  <a:pt x="5924" y="2260"/>
                </a:lnTo>
                <a:lnTo>
                  <a:pt x="5920" y="2264"/>
                </a:lnTo>
                <a:lnTo>
                  <a:pt x="5916" y="2268"/>
                </a:lnTo>
                <a:lnTo>
                  <a:pt x="5914" y="2274"/>
                </a:lnTo>
                <a:lnTo>
                  <a:pt x="5916" y="2274"/>
                </a:lnTo>
                <a:lnTo>
                  <a:pt x="5918" y="2272"/>
                </a:lnTo>
                <a:lnTo>
                  <a:pt x="5922" y="2272"/>
                </a:lnTo>
                <a:lnTo>
                  <a:pt x="5924" y="2272"/>
                </a:lnTo>
                <a:lnTo>
                  <a:pt x="5928" y="2270"/>
                </a:lnTo>
                <a:lnTo>
                  <a:pt x="5936" y="2266"/>
                </a:lnTo>
                <a:lnTo>
                  <a:pt x="5942" y="2264"/>
                </a:lnTo>
                <a:lnTo>
                  <a:pt x="5942" y="2266"/>
                </a:lnTo>
                <a:lnTo>
                  <a:pt x="5940" y="2270"/>
                </a:lnTo>
                <a:lnTo>
                  <a:pt x="5942" y="2272"/>
                </a:lnTo>
                <a:lnTo>
                  <a:pt x="5944" y="2274"/>
                </a:lnTo>
                <a:lnTo>
                  <a:pt x="5942" y="2278"/>
                </a:lnTo>
                <a:lnTo>
                  <a:pt x="5942" y="2282"/>
                </a:lnTo>
                <a:lnTo>
                  <a:pt x="5942" y="2284"/>
                </a:lnTo>
                <a:lnTo>
                  <a:pt x="5942" y="2290"/>
                </a:lnTo>
                <a:lnTo>
                  <a:pt x="5942" y="2294"/>
                </a:lnTo>
                <a:lnTo>
                  <a:pt x="5940" y="2298"/>
                </a:lnTo>
                <a:lnTo>
                  <a:pt x="5936" y="2304"/>
                </a:lnTo>
                <a:lnTo>
                  <a:pt x="5930" y="2308"/>
                </a:lnTo>
                <a:lnTo>
                  <a:pt x="5916" y="2314"/>
                </a:lnTo>
                <a:lnTo>
                  <a:pt x="5908" y="2316"/>
                </a:lnTo>
                <a:lnTo>
                  <a:pt x="5902" y="2318"/>
                </a:lnTo>
                <a:lnTo>
                  <a:pt x="5896" y="2322"/>
                </a:lnTo>
                <a:lnTo>
                  <a:pt x="5894" y="2326"/>
                </a:lnTo>
                <a:lnTo>
                  <a:pt x="5894" y="2328"/>
                </a:lnTo>
                <a:lnTo>
                  <a:pt x="5896" y="2328"/>
                </a:lnTo>
                <a:lnTo>
                  <a:pt x="5900" y="2330"/>
                </a:lnTo>
                <a:lnTo>
                  <a:pt x="5900" y="2332"/>
                </a:lnTo>
                <a:lnTo>
                  <a:pt x="5898" y="2334"/>
                </a:lnTo>
                <a:lnTo>
                  <a:pt x="5898" y="2338"/>
                </a:lnTo>
                <a:lnTo>
                  <a:pt x="5902" y="2342"/>
                </a:lnTo>
                <a:lnTo>
                  <a:pt x="5908" y="2342"/>
                </a:lnTo>
                <a:lnTo>
                  <a:pt x="5916" y="2338"/>
                </a:lnTo>
                <a:lnTo>
                  <a:pt x="5924" y="2336"/>
                </a:lnTo>
                <a:lnTo>
                  <a:pt x="5930" y="2336"/>
                </a:lnTo>
                <a:lnTo>
                  <a:pt x="5934" y="2338"/>
                </a:lnTo>
                <a:lnTo>
                  <a:pt x="5934" y="2344"/>
                </a:lnTo>
                <a:lnTo>
                  <a:pt x="5934" y="2346"/>
                </a:lnTo>
                <a:lnTo>
                  <a:pt x="5934" y="2348"/>
                </a:lnTo>
                <a:lnTo>
                  <a:pt x="5940" y="2346"/>
                </a:lnTo>
                <a:lnTo>
                  <a:pt x="5944" y="2346"/>
                </a:lnTo>
                <a:lnTo>
                  <a:pt x="5948" y="2346"/>
                </a:lnTo>
                <a:lnTo>
                  <a:pt x="5954" y="2348"/>
                </a:lnTo>
                <a:lnTo>
                  <a:pt x="5960" y="2352"/>
                </a:lnTo>
                <a:lnTo>
                  <a:pt x="5964" y="2356"/>
                </a:lnTo>
                <a:lnTo>
                  <a:pt x="5968" y="2358"/>
                </a:lnTo>
                <a:lnTo>
                  <a:pt x="5972" y="2356"/>
                </a:lnTo>
                <a:lnTo>
                  <a:pt x="5976" y="2354"/>
                </a:lnTo>
                <a:lnTo>
                  <a:pt x="5982" y="2348"/>
                </a:lnTo>
                <a:lnTo>
                  <a:pt x="5986" y="2346"/>
                </a:lnTo>
                <a:lnTo>
                  <a:pt x="5990" y="2346"/>
                </a:lnTo>
                <a:lnTo>
                  <a:pt x="5994" y="2344"/>
                </a:lnTo>
                <a:lnTo>
                  <a:pt x="5998" y="2342"/>
                </a:lnTo>
                <a:lnTo>
                  <a:pt x="6004" y="2338"/>
                </a:lnTo>
                <a:lnTo>
                  <a:pt x="6012" y="2334"/>
                </a:lnTo>
                <a:lnTo>
                  <a:pt x="6006" y="2338"/>
                </a:lnTo>
                <a:lnTo>
                  <a:pt x="6004" y="2344"/>
                </a:lnTo>
                <a:lnTo>
                  <a:pt x="5996" y="2350"/>
                </a:lnTo>
                <a:lnTo>
                  <a:pt x="5990" y="2354"/>
                </a:lnTo>
                <a:lnTo>
                  <a:pt x="5988" y="2362"/>
                </a:lnTo>
                <a:lnTo>
                  <a:pt x="5986" y="2366"/>
                </a:lnTo>
                <a:lnTo>
                  <a:pt x="5978" y="2368"/>
                </a:lnTo>
                <a:lnTo>
                  <a:pt x="5970" y="2368"/>
                </a:lnTo>
                <a:lnTo>
                  <a:pt x="5964" y="2366"/>
                </a:lnTo>
                <a:lnTo>
                  <a:pt x="5958" y="2366"/>
                </a:lnTo>
                <a:lnTo>
                  <a:pt x="5946" y="2364"/>
                </a:lnTo>
                <a:lnTo>
                  <a:pt x="5940" y="2366"/>
                </a:lnTo>
                <a:lnTo>
                  <a:pt x="5936" y="2366"/>
                </a:lnTo>
                <a:lnTo>
                  <a:pt x="5936" y="2368"/>
                </a:lnTo>
                <a:lnTo>
                  <a:pt x="5936" y="2370"/>
                </a:lnTo>
                <a:lnTo>
                  <a:pt x="5936" y="2374"/>
                </a:lnTo>
                <a:lnTo>
                  <a:pt x="5934" y="2376"/>
                </a:lnTo>
                <a:lnTo>
                  <a:pt x="5930" y="2378"/>
                </a:lnTo>
                <a:lnTo>
                  <a:pt x="5926" y="2378"/>
                </a:lnTo>
                <a:lnTo>
                  <a:pt x="5924" y="2380"/>
                </a:lnTo>
                <a:lnTo>
                  <a:pt x="5922" y="2384"/>
                </a:lnTo>
                <a:lnTo>
                  <a:pt x="5922" y="2388"/>
                </a:lnTo>
                <a:lnTo>
                  <a:pt x="5922" y="2390"/>
                </a:lnTo>
                <a:lnTo>
                  <a:pt x="5920" y="2392"/>
                </a:lnTo>
                <a:lnTo>
                  <a:pt x="5916" y="2396"/>
                </a:lnTo>
                <a:lnTo>
                  <a:pt x="5916" y="2398"/>
                </a:lnTo>
                <a:lnTo>
                  <a:pt x="5914" y="2402"/>
                </a:lnTo>
                <a:lnTo>
                  <a:pt x="5910" y="2404"/>
                </a:lnTo>
                <a:lnTo>
                  <a:pt x="5904" y="2410"/>
                </a:lnTo>
                <a:lnTo>
                  <a:pt x="5900" y="2416"/>
                </a:lnTo>
                <a:lnTo>
                  <a:pt x="5894" y="2422"/>
                </a:lnTo>
                <a:lnTo>
                  <a:pt x="5890" y="2424"/>
                </a:lnTo>
                <a:lnTo>
                  <a:pt x="5886" y="2424"/>
                </a:lnTo>
                <a:lnTo>
                  <a:pt x="5882" y="2424"/>
                </a:lnTo>
                <a:lnTo>
                  <a:pt x="5878" y="2426"/>
                </a:lnTo>
                <a:lnTo>
                  <a:pt x="5876" y="2428"/>
                </a:lnTo>
                <a:lnTo>
                  <a:pt x="5876" y="2432"/>
                </a:lnTo>
                <a:lnTo>
                  <a:pt x="5876" y="2436"/>
                </a:lnTo>
                <a:lnTo>
                  <a:pt x="5878" y="2436"/>
                </a:lnTo>
                <a:lnTo>
                  <a:pt x="5882" y="2434"/>
                </a:lnTo>
                <a:lnTo>
                  <a:pt x="5884" y="2434"/>
                </a:lnTo>
                <a:lnTo>
                  <a:pt x="5886" y="2434"/>
                </a:lnTo>
                <a:lnTo>
                  <a:pt x="5890" y="2436"/>
                </a:lnTo>
                <a:lnTo>
                  <a:pt x="5894" y="2440"/>
                </a:lnTo>
                <a:lnTo>
                  <a:pt x="5896" y="2440"/>
                </a:lnTo>
                <a:lnTo>
                  <a:pt x="5898" y="2440"/>
                </a:lnTo>
                <a:lnTo>
                  <a:pt x="5900" y="2438"/>
                </a:lnTo>
                <a:lnTo>
                  <a:pt x="5902" y="2434"/>
                </a:lnTo>
                <a:lnTo>
                  <a:pt x="5902" y="2432"/>
                </a:lnTo>
                <a:lnTo>
                  <a:pt x="5906" y="2430"/>
                </a:lnTo>
                <a:lnTo>
                  <a:pt x="5912" y="2426"/>
                </a:lnTo>
                <a:lnTo>
                  <a:pt x="5914" y="2424"/>
                </a:lnTo>
                <a:lnTo>
                  <a:pt x="5918" y="2420"/>
                </a:lnTo>
                <a:lnTo>
                  <a:pt x="5928" y="2418"/>
                </a:lnTo>
                <a:lnTo>
                  <a:pt x="5936" y="2416"/>
                </a:lnTo>
                <a:lnTo>
                  <a:pt x="5942" y="2418"/>
                </a:lnTo>
                <a:lnTo>
                  <a:pt x="5954" y="2426"/>
                </a:lnTo>
                <a:lnTo>
                  <a:pt x="5958" y="2426"/>
                </a:lnTo>
                <a:lnTo>
                  <a:pt x="5962" y="2424"/>
                </a:lnTo>
                <a:lnTo>
                  <a:pt x="5964" y="2416"/>
                </a:lnTo>
                <a:lnTo>
                  <a:pt x="5966" y="2406"/>
                </a:lnTo>
                <a:lnTo>
                  <a:pt x="5968" y="2402"/>
                </a:lnTo>
                <a:lnTo>
                  <a:pt x="5970" y="2402"/>
                </a:lnTo>
                <a:lnTo>
                  <a:pt x="5972" y="2402"/>
                </a:lnTo>
                <a:lnTo>
                  <a:pt x="5976" y="2402"/>
                </a:lnTo>
                <a:lnTo>
                  <a:pt x="5982" y="2398"/>
                </a:lnTo>
                <a:lnTo>
                  <a:pt x="5986" y="2396"/>
                </a:lnTo>
                <a:lnTo>
                  <a:pt x="5992" y="2396"/>
                </a:lnTo>
                <a:lnTo>
                  <a:pt x="5996" y="2396"/>
                </a:lnTo>
                <a:lnTo>
                  <a:pt x="6000" y="2400"/>
                </a:lnTo>
                <a:lnTo>
                  <a:pt x="6006" y="2406"/>
                </a:lnTo>
                <a:lnTo>
                  <a:pt x="6008" y="2406"/>
                </a:lnTo>
                <a:lnTo>
                  <a:pt x="6010" y="2406"/>
                </a:lnTo>
                <a:lnTo>
                  <a:pt x="6012" y="2404"/>
                </a:lnTo>
                <a:lnTo>
                  <a:pt x="6014" y="2402"/>
                </a:lnTo>
                <a:lnTo>
                  <a:pt x="6020" y="2404"/>
                </a:lnTo>
                <a:lnTo>
                  <a:pt x="6026" y="2404"/>
                </a:lnTo>
                <a:lnTo>
                  <a:pt x="6028" y="2402"/>
                </a:lnTo>
                <a:lnTo>
                  <a:pt x="6030" y="2398"/>
                </a:lnTo>
                <a:lnTo>
                  <a:pt x="6040" y="2396"/>
                </a:lnTo>
                <a:lnTo>
                  <a:pt x="6050" y="2394"/>
                </a:lnTo>
                <a:lnTo>
                  <a:pt x="6052" y="2390"/>
                </a:lnTo>
                <a:lnTo>
                  <a:pt x="6054" y="2388"/>
                </a:lnTo>
                <a:lnTo>
                  <a:pt x="6058" y="2390"/>
                </a:lnTo>
                <a:lnTo>
                  <a:pt x="6064" y="2394"/>
                </a:lnTo>
                <a:lnTo>
                  <a:pt x="6066" y="2392"/>
                </a:lnTo>
                <a:lnTo>
                  <a:pt x="6068" y="2392"/>
                </a:lnTo>
                <a:lnTo>
                  <a:pt x="6070" y="2394"/>
                </a:lnTo>
                <a:lnTo>
                  <a:pt x="6072" y="2394"/>
                </a:lnTo>
                <a:lnTo>
                  <a:pt x="6076" y="2394"/>
                </a:lnTo>
                <a:lnTo>
                  <a:pt x="6084" y="2392"/>
                </a:lnTo>
                <a:lnTo>
                  <a:pt x="6094" y="2390"/>
                </a:lnTo>
                <a:lnTo>
                  <a:pt x="6100" y="2390"/>
                </a:lnTo>
                <a:lnTo>
                  <a:pt x="6106" y="2392"/>
                </a:lnTo>
                <a:lnTo>
                  <a:pt x="6112" y="2394"/>
                </a:lnTo>
                <a:lnTo>
                  <a:pt x="6116" y="2394"/>
                </a:lnTo>
                <a:lnTo>
                  <a:pt x="6124" y="2392"/>
                </a:lnTo>
                <a:lnTo>
                  <a:pt x="6132" y="2388"/>
                </a:lnTo>
                <a:lnTo>
                  <a:pt x="6140" y="2386"/>
                </a:lnTo>
                <a:lnTo>
                  <a:pt x="6144" y="2384"/>
                </a:lnTo>
                <a:lnTo>
                  <a:pt x="6146" y="2382"/>
                </a:lnTo>
                <a:lnTo>
                  <a:pt x="6148" y="2378"/>
                </a:lnTo>
                <a:lnTo>
                  <a:pt x="6154" y="2374"/>
                </a:lnTo>
                <a:lnTo>
                  <a:pt x="6162" y="2370"/>
                </a:lnTo>
                <a:lnTo>
                  <a:pt x="6164" y="2366"/>
                </a:lnTo>
                <a:lnTo>
                  <a:pt x="6164" y="2362"/>
                </a:lnTo>
                <a:lnTo>
                  <a:pt x="6164" y="2358"/>
                </a:lnTo>
                <a:lnTo>
                  <a:pt x="6164" y="2356"/>
                </a:lnTo>
                <a:lnTo>
                  <a:pt x="6164" y="2354"/>
                </a:lnTo>
                <a:lnTo>
                  <a:pt x="6156" y="2356"/>
                </a:lnTo>
                <a:lnTo>
                  <a:pt x="6148" y="2358"/>
                </a:lnTo>
                <a:lnTo>
                  <a:pt x="6140" y="2358"/>
                </a:lnTo>
                <a:lnTo>
                  <a:pt x="6134" y="2356"/>
                </a:lnTo>
                <a:lnTo>
                  <a:pt x="6134" y="2354"/>
                </a:lnTo>
                <a:lnTo>
                  <a:pt x="6130" y="2350"/>
                </a:lnTo>
                <a:lnTo>
                  <a:pt x="6128" y="2350"/>
                </a:lnTo>
                <a:lnTo>
                  <a:pt x="6128" y="2348"/>
                </a:lnTo>
                <a:lnTo>
                  <a:pt x="6132" y="2348"/>
                </a:lnTo>
                <a:lnTo>
                  <a:pt x="6140" y="2346"/>
                </a:lnTo>
                <a:lnTo>
                  <a:pt x="6142" y="2346"/>
                </a:lnTo>
                <a:lnTo>
                  <a:pt x="6144" y="2344"/>
                </a:lnTo>
                <a:lnTo>
                  <a:pt x="6146" y="2338"/>
                </a:lnTo>
                <a:lnTo>
                  <a:pt x="6144" y="2336"/>
                </a:lnTo>
                <a:lnTo>
                  <a:pt x="6142" y="2336"/>
                </a:lnTo>
                <a:lnTo>
                  <a:pt x="6142" y="2334"/>
                </a:lnTo>
                <a:lnTo>
                  <a:pt x="6146" y="2332"/>
                </a:lnTo>
                <a:lnTo>
                  <a:pt x="6148" y="2332"/>
                </a:lnTo>
                <a:lnTo>
                  <a:pt x="6156" y="2332"/>
                </a:lnTo>
                <a:lnTo>
                  <a:pt x="6160" y="2330"/>
                </a:lnTo>
                <a:lnTo>
                  <a:pt x="6162" y="2330"/>
                </a:lnTo>
                <a:lnTo>
                  <a:pt x="6160" y="2328"/>
                </a:lnTo>
                <a:lnTo>
                  <a:pt x="6158" y="2326"/>
                </a:lnTo>
                <a:lnTo>
                  <a:pt x="6160" y="2324"/>
                </a:lnTo>
                <a:lnTo>
                  <a:pt x="6166" y="2318"/>
                </a:lnTo>
                <a:lnTo>
                  <a:pt x="6170" y="2314"/>
                </a:lnTo>
                <a:lnTo>
                  <a:pt x="6174" y="2308"/>
                </a:lnTo>
                <a:lnTo>
                  <a:pt x="6178" y="2300"/>
                </a:lnTo>
                <a:lnTo>
                  <a:pt x="6178" y="2288"/>
                </a:lnTo>
                <a:close/>
                <a:moveTo>
                  <a:pt x="5916" y="2196"/>
                </a:moveTo>
                <a:lnTo>
                  <a:pt x="5916" y="2196"/>
                </a:lnTo>
                <a:lnTo>
                  <a:pt x="5920" y="2196"/>
                </a:lnTo>
                <a:lnTo>
                  <a:pt x="5924" y="2194"/>
                </a:lnTo>
                <a:lnTo>
                  <a:pt x="5930" y="2188"/>
                </a:lnTo>
                <a:lnTo>
                  <a:pt x="5932" y="2180"/>
                </a:lnTo>
                <a:lnTo>
                  <a:pt x="5932" y="2176"/>
                </a:lnTo>
                <a:lnTo>
                  <a:pt x="5928" y="2172"/>
                </a:lnTo>
                <a:lnTo>
                  <a:pt x="5924" y="2176"/>
                </a:lnTo>
                <a:lnTo>
                  <a:pt x="5918" y="2182"/>
                </a:lnTo>
                <a:lnTo>
                  <a:pt x="5914" y="2190"/>
                </a:lnTo>
                <a:lnTo>
                  <a:pt x="5914" y="2194"/>
                </a:lnTo>
                <a:lnTo>
                  <a:pt x="5916" y="2196"/>
                </a:lnTo>
                <a:close/>
                <a:moveTo>
                  <a:pt x="5922" y="2238"/>
                </a:moveTo>
                <a:lnTo>
                  <a:pt x="5922" y="2238"/>
                </a:lnTo>
                <a:lnTo>
                  <a:pt x="5922" y="2240"/>
                </a:lnTo>
                <a:lnTo>
                  <a:pt x="5922" y="2242"/>
                </a:lnTo>
                <a:lnTo>
                  <a:pt x="5924" y="2246"/>
                </a:lnTo>
                <a:lnTo>
                  <a:pt x="5930" y="2248"/>
                </a:lnTo>
                <a:lnTo>
                  <a:pt x="5934" y="2246"/>
                </a:lnTo>
                <a:lnTo>
                  <a:pt x="5936" y="2244"/>
                </a:lnTo>
                <a:lnTo>
                  <a:pt x="5938" y="2240"/>
                </a:lnTo>
                <a:lnTo>
                  <a:pt x="5938" y="2238"/>
                </a:lnTo>
                <a:lnTo>
                  <a:pt x="5936" y="2234"/>
                </a:lnTo>
                <a:lnTo>
                  <a:pt x="5934" y="2234"/>
                </a:lnTo>
                <a:lnTo>
                  <a:pt x="5932" y="2232"/>
                </a:lnTo>
                <a:lnTo>
                  <a:pt x="5928" y="2232"/>
                </a:lnTo>
                <a:lnTo>
                  <a:pt x="5926" y="2234"/>
                </a:lnTo>
                <a:lnTo>
                  <a:pt x="5922" y="2238"/>
                </a:lnTo>
                <a:close/>
                <a:moveTo>
                  <a:pt x="5892" y="2096"/>
                </a:moveTo>
                <a:lnTo>
                  <a:pt x="5892" y="2096"/>
                </a:lnTo>
                <a:lnTo>
                  <a:pt x="5890" y="2100"/>
                </a:lnTo>
                <a:lnTo>
                  <a:pt x="5890" y="2106"/>
                </a:lnTo>
                <a:lnTo>
                  <a:pt x="5894" y="2108"/>
                </a:lnTo>
                <a:lnTo>
                  <a:pt x="5900" y="2110"/>
                </a:lnTo>
                <a:lnTo>
                  <a:pt x="5902" y="2108"/>
                </a:lnTo>
                <a:lnTo>
                  <a:pt x="5902" y="2106"/>
                </a:lnTo>
                <a:lnTo>
                  <a:pt x="5900" y="2100"/>
                </a:lnTo>
                <a:lnTo>
                  <a:pt x="5896" y="2094"/>
                </a:lnTo>
                <a:lnTo>
                  <a:pt x="5894" y="2094"/>
                </a:lnTo>
                <a:lnTo>
                  <a:pt x="5892" y="2096"/>
                </a:lnTo>
                <a:close/>
                <a:moveTo>
                  <a:pt x="5832" y="1938"/>
                </a:moveTo>
                <a:lnTo>
                  <a:pt x="5832" y="1938"/>
                </a:lnTo>
                <a:lnTo>
                  <a:pt x="5830" y="1938"/>
                </a:lnTo>
                <a:lnTo>
                  <a:pt x="5828" y="1936"/>
                </a:lnTo>
                <a:lnTo>
                  <a:pt x="5826" y="1934"/>
                </a:lnTo>
                <a:lnTo>
                  <a:pt x="5824" y="1934"/>
                </a:lnTo>
                <a:lnTo>
                  <a:pt x="5820" y="1940"/>
                </a:lnTo>
                <a:lnTo>
                  <a:pt x="5820" y="1942"/>
                </a:lnTo>
                <a:lnTo>
                  <a:pt x="5822" y="1946"/>
                </a:lnTo>
                <a:lnTo>
                  <a:pt x="5824" y="1946"/>
                </a:lnTo>
                <a:lnTo>
                  <a:pt x="5824" y="1948"/>
                </a:lnTo>
                <a:lnTo>
                  <a:pt x="5822" y="1950"/>
                </a:lnTo>
                <a:lnTo>
                  <a:pt x="5828" y="1952"/>
                </a:lnTo>
                <a:lnTo>
                  <a:pt x="5830" y="1954"/>
                </a:lnTo>
                <a:lnTo>
                  <a:pt x="5826" y="1956"/>
                </a:lnTo>
                <a:lnTo>
                  <a:pt x="5822" y="1958"/>
                </a:lnTo>
                <a:lnTo>
                  <a:pt x="5820" y="1960"/>
                </a:lnTo>
                <a:lnTo>
                  <a:pt x="5822" y="1964"/>
                </a:lnTo>
                <a:lnTo>
                  <a:pt x="5824" y="1966"/>
                </a:lnTo>
                <a:lnTo>
                  <a:pt x="5826" y="1964"/>
                </a:lnTo>
                <a:lnTo>
                  <a:pt x="5828" y="1962"/>
                </a:lnTo>
                <a:lnTo>
                  <a:pt x="5832" y="1960"/>
                </a:lnTo>
                <a:lnTo>
                  <a:pt x="5834" y="1960"/>
                </a:lnTo>
                <a:lnTo>
                  <a:pt x="5834" y="1958"/>
                </a:lnTo>
                <a:lnTo>
                  <a:pt x="5836" y="1956"/>
                </a:lnTo>
                <a:lnTo>
                  <a:pt x="5838" y="1954"/>
                </a:lnTo>
                <a:lnTo>
                  <a:pt x="5840" y="1952"/>
                </a:lnTo>
                <a:lnTo>
                  <a:pt x="5844" y="1952"/>
                </a:lnTo>
                <a:lnTo>
                  <a:pt x="5846" y="1952"/>
                </a:lnTo>
                <a:lnTo>
                  <a:pt x="5846" y="1950"/>
                </a:lnTo>
                <a:lnTo>
                  <a:pt x="5848" y="1948"/>
                </a:lnTo>
                <a:lnTo>
                  <a:pt x="5850" y="1946"/>
                </a:lnTo>
                <a:lnTo>
                  <a:pt x="5850" y="1944"/>
                </a:lnTo>
                <a:lnTo>
                  <a:pt x="5848" y="1942"/>
                </a:lnTo>
                <a:lnTo>
                  <a:pt x="5848" y="1940"/>
                </a:lnTo>
                <a:lnTo>
                  <a:pt x="5850" y="1940"/>
                </a:lnTo>
                <a:lnTo>
                  <a:pt x="5850" y="1936"/>
                </a:lnTo>
                <a:lnTo>
                  <a:pt x="5852" y="1936"/>
                </a:lnTo>
                <a:lnTo>
                  <a:pt x="5854" y="1936"/>
                </a:lnTo>
                <a:lnTo>
                  <a:pt x="5860" y="1934"/>
                </a:lnTo>
                <a:lnTo>
                  <a:pt x="5860" y="1932"/>
                </a:lnTo>
                <a:lnTo>
                  <a:pt x="5856" y="1932"/>
                </a:lnTo>
                <a:lnTo>
                  <a:pt x="5854" y="1932"/>
                </a:lnTo>
                <a:lnTo>
                  <a:pt x="5852" y="1932"/>
                </a:lnTo>
                <a:lnTo>
                  <a:pt x="5854" y="1930"/>
                </a:lnTo>
                <a:lnTo>
                  <a:pt x="5856" y="1928"/>
                </a:lnTo>
                <a:lnTo>
                  <a:pt x="5858" y="1922"/>
                </a:lnTo>
                <a:lnTo>
                  <a:pt x="5858" y="1918"/>
                </a:lnTo>
                <a:lnTo>
                  <a:pt x="5858" y="1916"/>
                </a:lnTo>
                <a:lnTo>
                  <a:pt x="5854" y="1916"/>
                </a:lnTo>
                <a:lnTo>
                  <a:pt x="5850" y="1918"/>
                </a:lnTo>
                <a:lnTo>
                  <a:pt x="5842" y="1922"/>
                </a:lnTo>
                <a:lnTo>
                  <a:pt x="5834" y="1926"/>
                </a:lnTo>
                <a:lnTo>
                  <a:pt x="5832" y="1928"/>
                </a:lnTo>
                <a:lnTo>
                  <a:pt x="5834" y="1932"/>
                </a:lnTo>
                <a:lnTo>
                  <a:pt x="5834" y="1934"/>
                </a:lnTo>
                <a:lnTo>
                  <a:pt x="5832" y="1938"/>
                </a:lnTo>
                <a:close/>
                <a:moveTo>
                  <a:pt x="5822" y="1974"/>
                </a:moveTo>
                <a:lnTo>
                  <a:pt x="5822" y="1974"/>
                </a:lnTo>
                <a:lnTo>
                  <a:pt x="5824" y="1970"/>
                </a:lnTo>
                <a:lnTo>
                  <a:pt x="5822" y="1968"/>
                </a:lnTo>
                <a:lnTo>
                  <a:pt x="5820" y="1968"/>
                </a:lnTo>
                <a:lnTo>
                  <a:pt x="5818" y="1968"/>
                </a:lnTo>
                <a:lnTo>
                  <a:pt x="5812" y="1968"/>
                </a:lnTo>
                <a:lnTo>
                  <a:pt x="5810" y="1970"/>
                </a:lnTo>
                <a:lnTo>
                  <a:pt x="5806" y="1972"/>
                </a:lnTo>
                <a:lnTo>
                  <a:pt x="5804" y="1972"/>
                </a:lnTo>
                <a:lnTo>
                  <a:pt x="5806" y="1974"/>
                </a:lnTo>
                <a:lnTo>
                  <a:pt x="5812" y="1976"/>
                </a:lnTo>
                <a:lnTo>
                  <a:pt x="5818" y="1978"/>
                </a:lnTo>
                <a:lnTo>
                  <a:pt x="5820" y="1976"/>
                </a:lnTo>
                <a:lnTo>
                  <a:pt x="5822" y="1974"/>
                </a:lnTo>
                <a:close/>
                <a:moveTo>
                  <a:pt x="5864" y="2010"/>
                </a:moveTo>
                <a:lnTo>
                  <a:pt x="5864" y="2010"/>
                </a:lnTo>
                <a:lnTo>
                  <a:pt x="5868" y="2010"/>
                </a:lnTo>
                <a:lnTo>
                  <a:pt x="5872" y="2006"/>
                </a:lnTo>
                <a:lnTo>
                  <a:pt x="5878" y="1996"/>
                </a:lnTo>
                <a:lnTo>
                  <a:pt x="5876" y="1994"/>
                </a:lnTo>
                <a:lnTo>
                  <a:pt x="5874" y="1994"/>
                </a:lnTo>
                <a:lnTo>
                  <a:pt x="5868" y="1994"/>
                </a:lnTo>
                <a:lnTo>
                  <a:pt x="5864" y="1994"/>
                </a:lnTo>
                <a:lnTo>
                  <a:pt x="5862" y="1992"/>
                </a:lnTo>
                <a:lnTo>
                  <a:pt x="5860" y="1988"/>
                </a:lnTo>
                <a:lnTo>
                  <a:pt x="5858" y="1980"/>
                </a:lnTo>
                <a:lnTo>
                  <a:pt x="5856" y="1972"/>
                </a:lnTo>
                <a:lnTo>
                  <a:pt x="5856" y="1968"/>
                </a:lnTo>
                <a:lnTo>
                  <a:pt x="5854" y="1968"/>
                </a:lnTo>
                <a:lnTo>
                  <a:pt x="5852" y="1968"/>
                </a:lnTo>
                <a:lnTo>
                  <a:pt x="5850" y="1968"/>
                </a:lnTo>
                <a:lnTo>
                  <a:pt x="5850" y="1974"/>
                </a:lnTo>
                <a:lnTo>
                  <a:pt x="5850" y="1978"/>
                </a:lnTo>
                <a:lnTo>
                  <a:pt x="5850" y="1982"/>
                </a:lnTo>
                <a:lnTo>
                  <a:pt x="5848" y="1982"/>
                </a:lnTo>
                <a:lnTo>
                  <a:pt x="5844" y="1978"/>
                </a:lnTo>
                <a:lnTo>
                  <a:pt x="5842" y="1974"/>
                </a:lnTo>
                <a:lnTo>
                  <a:pt x="5840" y="1974"/>
                </a:lnTo>
                <a:lnTo>
                  <a:pt x="5838" y="1976"/>
                </a:lnTo>
                <a:lnTo>
                  <a:pt x="5840" y="1978"/>
                </a:lnTo>
                <a:lnTo>
                  <a:pt x="5840" y="1982"/>
                </a:lnTo>
                <a:lnTo>
                  <a:pt x="5838" y="1984"/>
                </a:lnTo>
                <a:lnTo>
                  <a:pt x="5836" y="1984"/>
                </a:lnTo>
                <a:lnTo>
                  <a:pt x="5834" y="1986"/>
                </a:lnTo>
                <a:lnTo>
                  <a:pt x="5838" y="1990"/>
                </a:lnTo>
                <a:lnTo>
                  <a:pt x="5840" y="1990"/>
                </a:lnTo>
                <a:lnTo>
                  <a:pt x="5842" y="1988"/>
                </a:lnTo>
                <a:lnTo>
                  <a:pt x="5846" y="1990"/>
                </a:lnTo>
                <a:lnTo>
                  <a:pt x="5848" y="1992"/>
                </a:lnTo>
                <a:lnTo>
                  <a:pt x="5846" y="1992"/>
                </a:lnTo>
                <a:lnTo>
                  <a:pt x="5846" y="1994"/>
                </a:lnTo>
                <a:lnTo>
                  <a:pt x="5850" y="1998"/>
                </a:lnTo>
                <a:lnTo>
                  <a:pt x="5852" y="2002"/>
                </a:lnTo>
                <a:lnTo>
                  <a:pt x="5856" y="2002"/>
                </a:lnTo>
                <a:lnTo>
                  <a:pt x="5858" y="2000"/>
                </a:lnTo>
                <a:lnTo>
                  <a:pt x="5864" y="2000"/>
                </a:lnTo>
                <a:lnTo>
                  <a:pt x="5866" y="2000"/>
                </a:lnTo>
                <a:lnTo>
                  <a:pt x="5866" y="2002"/>
                </a:lnTo>
                <a:lnTo>
                  <a:pt x="5866" y="2004"/>
                </a:lnTo>
                <a:lnTo>
                  <a:pt x="5864" y="2008"/>
                </a:lnTo>
                <a:lnTo>
                  <a:pt x="5864" y="2010"/>
                </a:lnTo>
                <a:close/>
                <a:moveTo>
                  <a:pt x="5868" y="2042"/>
                </a:moveTo>
                <a:lnTo>
                  <a:pt x="5868" y="2042"/>
                </a:lnTo>
                <a:lnTo>
                  <a:pt x="5862" y="2040"/>
                </a:lnTo>
                <a:lnTo>
                  <a:pt x="5860" y="2036"/>
                </a:lnTo>
                <a:lnTo>
                  <a:pt x="5858" y="2034"/>
                </a:lnTo>
                <a:lnTo>
                  <a:pt x="5854" y="2036"/>
                </a:lnTo>
                <a:lnTo>
                  <a:pt x="5852" y="2040"/>
                </a:lnTo>
                <a:lnTo>
                  <a:pt x="5852" y="2042"/>
                </a:lnTo>
                <a:lnTo>
                  <a:pt x="5858" y="2046"/>
                </a:lnTo>
                <a:lnTo>
                  <a:pt x="5860" y="2046"/>
                </a:lnTo>
                <a:lnTo>
                  <a:pt x="5860" y="2048"/>
                </a:lnTo>
                <a:lnTo>
                  <a:pt x="5858" y="2050"/>
                </a:lnTo>
                <a:lnTo>
                  <a:pt x="5858" y="2052"/>
                </a:lnTo>
                <a:lnTo>
                  <a:pt x="5856" y="2054"/>
                </a:lnTo>
                <a:lnTo>
                  <a:pt x="5854" y="2054"/>
                </a:lnTo>
                <a:lnTo>
                  <a:pt x="5852" y="2054"/>
                </a:lnTo>
                <a:lnTo>
                  <a:pt x="5850" y="2058"/>
                </a:lnTo>
                <a:lnTo>
                  <a:pt x="5852" y="2058"/>
                </a:lnTo>
                <a:lnTo>
                  <a:pt x="5852" y="2060"/>
                </a:lnTo>
                <a:lnTo>
                  <a:pt x="5858" y="2058"/>
                </a:lnTo>
                <a:lnTo>
                  <a:pt x="5874" y="2054"/>
                </a:lnTo>
                <a:lnTo>
                  <a:pt x="5878" y="2052"/>
                </a:lnTo>
                <a:lnTo>
                  <a:pt x="5878" y="2048"/>
                </a:lnTo>
                <a:lnTo>
                  <a:pt x="5874" y="2044"/>
                </a:lnTo>
                <a:lnTo>
                  <a:pt x="5868" y="2042"/>
                </a:lnTo>
                <a:close/>
                <a:moveTo>
                  <a:pt x="5852" y="2100"/>
                </a:moveTo>
                <a:lnTo>
                  <a:pt x="5852" y="2100"/>
                </a:lnTo>
                <a:lnTo>
                  <a:pt x="5854" y="2102"/>
                </a:lnTo>
                <a:lnTo>
                  <a:pt x="5860" y="2096"/>
                </a:lnTo>
                <a:lnTo>
                  <a:pt x="5864" y="2094"/>
                </a:lnTo>
                <a:lnTo>
                  <a:pt x="5862" y="2090"/>
                </a:lnTo>
                <a:lnTo>
                  <a:pt x="5862" y="2086"/>
                </a:lnTo>
                <a:lnTo>
                  <a:pt x="5860" y="2080"/>
                </a:lnTo>
                <a:lnTo>
                  <a:pt x="5858" y="2078"/>
                </a:lnTo>
                <a:lnTo>
                  <a:pt x="5856" y="2080"/>
                </a:lnTo>
                <a:lnTo>
                  <a:pt x="5854" y="2084"/>
                </a:lnTo>
                <a:lnTo>
                  <a:pt x="5852" y="2084"/>
                </a:lnTo>
                <a:lnTo>
                  <a:pt x="5852" y="2082"/>
                </a:lnTo>
                <a:lnTo>
                  <a:pt x="5850" y="2082"/>
                </a:lnTo>
                <a:lnTo>
                  <a:pt x="5846" y="2086"/>
                </a:lnTo>
                <a:lnTo>
                  <a:pt x="5842" y="2090"/>
                </a:lnTo>
                <a:lnTo>
                  <a:pt x="5842" y="2092"/>
                </a:lnTo>
                <a:lnTo>
                  <a:pt x="5844" y="2094"/>
                </a:lnTo>
                <a:lnTo>
                  <a:pt x="5848" y="2094"/>
                </a:lnTo>
                <a:lnTo>
                  <a:pt x="5850" y="2092"/>
                </a:lnTo>
                <a:lnTo>
                  <a:pt x="5852" y="2090"/>
                </a:lnTo>
                <a:lnTo>
                  <a:pt x="5854" y="2092"/>
                </a:lnTo>
                <a:lnTo>
                  <a:pt x="5854" y="2096"/>
                </a:lnTo>
                <a:lnTo>
                  <a:pt x="5852" y="2098"/>
                </a:lnTo>
                <a:lnTo>
                  <a:pt x="5852" y="2100"/>
                </a:lnTo>
                <a:close/>
                <a:moveTo>
                  <a:pt x="5974" y="1886"/>
                </a:moveTo>
                <a:lnTo>
                  <a:pt x="5974" y="1886"/>
                </a:lnTo>
                <a:lnTo>
                  <a:pt x="5978" y="1888"/>
                </a:lnTo>
                <a:lnTo>
                  <a:pt x="5982" y="1888"/>
                </a:lnTo>
                <a:lnTo>
                  <a:pt x="5986" y="1888"/>
                </a:lnTo>
                <a:lnTo>
                  <a:pt x="5988" y="1890"/>
                </a:lnTo>
                <a:lnTo>
                  <a:pt x="5992" y="1892"/>
                </a:lnTo>
                <a:lnTo>
                  <a:pt x="5994" y="1890"/>
                </a:lnTo>
                <a:lnTo>
                  <a:pt x="5996" y="1888"/>
                </a:lnTo>
                <a:lnTo>
                  <a:pt x="5996" y="1886"/>
                </a:lnTo>
                <a:lnTo>
                  <a:pt x="5994" y="1886"/>
                </a:lnTo>
                <a:lnTo>
                  <a:pt x="5994" y="1888"/>
                </a:lnTo>
                <a:lnTo>
                  <a:pt x="5992" y="1886"/>
                </a:lnTo>
                <a:lnTo>
                  <a:pt x="5990" y="1884"/>
                </a:lnTo>
                <a:lnTo>
                  <a:pt x="5986" y="1884"/>
                </a:lnTo>
                <a:lnTo>
                  <a:pt x="5984" y="1884"/>
                </a:lnTo>
                <a:lnTo>
                  <a:pt x="5984" y="1882"/>
                </a:lnTo>
                <a:lnTo>
                  <a:pt x="5986" y="1878"/>
                </a:lnTo>
                <a:lnTo>
                  <a:pt x="5986" y="1876"/>
                </a:lnTo>
                <a:lnTo>
                  <a:pt x="5980" y="1874"/>
                </a:lnTo>
                <a:lnTo>
                  <a:pt x="5976" y="1874"/>
                </a:lnTo>
                <a:lnTo>
                  <a:pt x="5974" y="1878"/>
                </a:lnTo>
                <a:lnTo>
                  <a:pt x="5974" y="1882"/>
                </a:lnTo>
                <a:lnTo>
                  <a:pt x="5974" y="1886"/>
                </a:lnTo>
                <a:close/>
                <a:moveTo>
                  <a:pt x="11016" y="3794"/>
                </a:moveTo>
                <a:lnTo>
                  <a:pt x="11016" y="3794"/>
                </a:lnTo>
                <a:lnTo>
                  <a:pt x="11010" y="3790"/>
                </a:lnTo>
                <a:lnTo>
                  <a:pt x="11006" y="3788"/>
                </a:lnTo>
                <a:lnTo>
                  <a:pt x="11004" y="3788"/>
                </a:lnTo>
                <a:lnTo>
                  <a:pt x="11002" y="3790"/>
                </a:lnTo>
                <a:lnTo>
                  <a:pt x="10998" y="3794"/>
                </a:lnTo>
                <a:lnTo>
                  <a:pt x="10994" y="3798"/>
                </a:lnTo>
                <a:lnTo>
                  <a:pt x="10988" y="3800"/>
                </a:lnTo>
                <a:lnTo>
                  <a:pt x="10980" y="3808"/>
                </a:lnTo>
                <a:lnTo>
                  <a:pt x="10960" y="3844"/>
                </a:lnTo>
                <a:lnTo>
                  <a:pt x="10952" y="3862"/>
                </a:lnTo>
                <a:lnTo>
                  <a:pt x="10948" y="3876"/>
                </a:lnTo>
                <a:lnTo>
                  <a:pt x="10948" y="3892"/>
                </a:lnTo>
                <a:lnTo>
                  <a:pt x="10950" y="3910"/>
                </a:lnTo>
                <a:lnTo>
                  <a:pt x="10954" y="3924"/>
                </a:lnTo>
                <a:lnTo>
                  <a:pt x="10958" y="3930"/>
                </a:lnTo>
                <a:lnTo>
                  <a:pt x="10962" y="3934"/>
                </a:lnTo>
                <a:lnTo>
                  <a:pt x="10966" y="3940"/>
                </a:lnTo>
                <a:lnTo>
                  <a:pt x="10970" y="3952"/>
                </a:lnTo>
                <a:lnTo>
                  <a:pt x="10974" y="3960"/>
                </a:lnTo>
                <a:lnTo>
                  <a:pt x="10976" y="3962"/>
                </a:lnTo>
                <a:lnTo>
                  <a:pt x="10978" y="3960"/>
                </a:lnTo>
                <a:lnTo>
                  <a:pt x="10978" y="3956"/>
                </a:lnTo>
                <a:lnTo>
                  <a:pt x="10980" y="3946"/>
                </a:lnTo>
                <a:lnTo>
                  <a:pt x="10980" y="3936"/>
                </a:lnTo>
                <a:lnTo>
                  <a:pt x="10982" y="3930"/>
                </a:lnTo>
                <a:lnTo>
                  <a:pt x="10984" y="3926"/>
                </a:lnTo>
                <a:lnTo>
                  <a:pt x="10988" y="3922"/>
                </a:lnTo>
                <a:lnTo>
                  <a:pt x="10990" y="3918"/>
                </a:lnTo>
                <a:lnTo>
                  <a:pt x="10994" y="3912"/>
                </a:lnTo>
                <a:lnTo>
                  <a:pt x="10998" y="3902"/>
                </a:lnTo>
                <a:lnTo>
                  <a:pt x="11002" y="3888"/>
                </a:lnTo>
                <a:lnTo>
                  <a:pt x="11008" y="3862"/>
                </a:lnTo>
                <a:lnTo>
                  <a:pt x="11014" y="3844"/>
                </a:lnTo>
                <a:lnTo>
                  <a:pt x="11018" y="3832"/>
                </a:lnTo>
                <a:lnTo>
                  <a:pt x="11018" y="3826"/>
                </a:lnTo>
                <a:lnTo>
                  <a:pt x="11018" y="3822"/>
                </a:lnTo>
                <a:lnTo>
                  <a:pt x="11016" y="3818"/>
                </a:lnTo>
                <a:lnTo>
                  <a:pt x="11016" y="3814"/>
                </a:lnTo>
                <a:lnTo>
                  <a:pt x="11020" y="3808"/>
                </a:lnTo>
                <a:lnTo>
                  <a:pt x="11020" y="3806"/>
                </a:lnTo>
                <a:lnTo>
                  <a:pt x="11020" y="3804"/>
                </a:lnTo>
                <a:lnTo>
                  <a:pt x="11020" y="3800"/>
                </a:lnTo>
                <a:lnTo>
                  <a:pt x="11016" y="3794"/>
                </a:lnTo>
                <a:close/>
                <a:moveTo>
                  <a:pt x="10494" y="4138"/>
                </a:moveTo>
                <a:lnTo>
                  <a:pt x="10494" y="4138"/>
                </a:lnTo>
                <a:lnTo>
                  <a:pt x="10504" y="4142"/>
                </a:lnTo>
                <a:lnTo>
                  <a:pt x="10510" y="4142"/>
                </a:lnTo>
                <a:lnTo>
                  <a:pt x="10512" y="4142"/>
                </a:lnTo>
                <a:lnTo>
                  <a:pt x="10514" y="4144"/>
                </a:lnTo>
                <a:lnTo>
                  <a:pt x="10518" y="4148"/>
                </a:lnTo>
                <a:lnTo>
                  <a:pt x="10522" y="4148"/>
                </a:lnTo>
                <a:lnTo>
                  <a:pt x="10526" y="4148"/>
                </a:lnTo>
                <a:lnTo>
                  <a:pt x="10528" y="4142"/>
                </a:lnTo>
                <a:lnTo>
                  <a:pt x="10528" y="4140"/>
                </a:lnTo>
                <a:lnTo>
                  <a:pt x="10530" y="4138"/>
                </a:lnTo>
                <a:lnTo>
                  <a:pt x="10534" y="4138"/>
                </a:lnTo>
                <a:lnTo>
                  <a:pt x="10540" y="4138"/>
                </a:lnTo>
                <a:lnTo>
                  <a:pt x="10542" y="4136"/>
                </a:lnTo>
                <a:lnTo>
                  <a:pt x="10542" y="4132"/>
                </a:lnTo>
                <a:lnTo>
                  <a:pt x="10544" y="4130"/>
                </a:lnTo>
                <a:lnTo>
                  <a:pt x="10546" y="4128"/>
                </a:lnTo>
                <a:lnTo>
                  <a:pt x="10552" y="4124"/>
                </a:lnTo>
                <a:lnTo>
                  <a:pt x="10556" y="4124"/>
                </a:lnTo>
                <a:lnTo>
                  <a:pt x="10558" y="4120"/>
                </a:lnTo>
                <a:lnTo>
                  <a:pt x="10560" y="4116"/>
                </a:lnTo>
                <a:lnTo>
                  <a:pt x="10560" y="4110"/>
                </a:lnTo>
                <a:lnTo>
                  <a:pt x="10562" y="4100"/>
                </a:lnTo>
                <a:lnTo>
                  <a:pt x="10568" y="4090"/>
                </a:lnTo>
                <a:lnTo>
                  <a:pt x="10574" y="4082"/>
                </a:lnTo>
                <a:lnTo>
                  <a:pt x="10578" y="4078"/>
                </a:lnTo>
                <a:lnTo>
                  <a:pt x="10580" y="4074"/>
                </a:lnTo>
                <a:lnTo>
                  <a:pt x="10580" y="4068"/>
                </a:lnTo>
                <a:lnTo>
                  <a:pt x="10578" y="4060"/>
                </a:lnTo>
                <a:lnTo>
                  <a:pt x="10574" y="4058"/>
                </a:lnTo>
                <a:lnTo>
                  <a:pt x="10570" y="4056"/>
                </a:lnTo>
                <a:lnTo>
                  <a:pt x="10568" y="4052"/>
                </a:lnTo>
                <a:lnTo>
                  <a:pt x="10566" y="4052"/>
                </a:lnTo>
                <a:lnTo>
                  <a:pt x="10562" y="4054"/>
                </a:lnTo>
                <a:lnTo>
                  <a:pt x="10558" y="4056"/>
                </a:lnTo>
                <a:lnTo>
                  <a:pt x="10554" y="4056"/>
                </a:lnTo>
                <a:lnTo>
                  <a:pt x="10548" y="4056"/>
                </a:lnTo>
                <a:lnTo>
                  <a:pt x="10542" y="4058"/>
                </a:lnTo>
                <a:lnTo>
                  <a:pt x="10540" y="4060"/>
                </a:lnTo>
                <a:lnTo>
                  <a:pt x="10536" y="4060"/>
                </a:lnTo>
                <a:lnTo>
                  <a:pt x="10530" y="4058"/>
                </a:lnTo>
                <a:lnTo>
                  <a:pt x="10526" y="4058"/>
                </a:lnTo>
                <a:lnTo>
                  <a:pt x="10522" y="4058"/>
                </a:lnTo>
                <a:lnTo>
                  <a:pt x="10520" y="4060"/>
                </a:lnTo>
                <a:lnTo>
                  <a:pt x="10518" y="4064"/>
                </a:lnTo>
                <a:lnTo>
                  <a:pt x="10514" y="4062"/>
                </a:lnTo>
                <a:lnTo>
                  <a:pt x="10512" y="4062"/>
                </a:lnTo>
                <a:lnTo>
                  <a:pt x="10510" y="4062"/>
                </a:lnTo>
                <a:lnTo>
                  <a:pt x="10508" y="4064"/>
                </a:lnTo>
                <a:lnTo>
                  <a:pt x="10504" y="4068"/>
                </a:lnTo>
                <a:lnTo>
                  <a:pt x="10504" y="4070"/>
                </a:lnTo>
                <a:lnTo>
                  <a:pt x="10502" y="4074"/>
                </a:lnTo>
                <a:lnTo>
                  <a:pt x="10496" y="4082"/>
                </a:lnTo>
                <a:lnTo>
                  <a:pt x="10492" y="4084"/>
                </a:lnTo>
                <a:lnTo>
                  <a:pt x="10488" y="4088"/>
                </a:lnTo>
                <a:lnTo>
                  <a:pt x="10484" y="4096"/>
                </a:lnTo>
                <a:lnTo>
                  <a:pt x="10484" y="4108"/>
                </a:lnTo>
                <a:lnTo>
                  <a:pt x="10484" y="4118"/>
                </a:lnTo>
                <a:lnTo>
                  <a:pt x="10486" y="4126"/>
                </a:lnTo>
                <a:lnTo>
                  <a:pt x="10488" y="4132"/>
                </a:lnTo>
                <a:lnTo>
                  <a:pt x="10494" y="4138"/>
                </a:lnTo>
                <a:close/>
                <a:moveTo>
                  <a:pt x="10696" y="3976"/>
                </a:moveTo>
                <a:lnTo>
                  <a:pt x="10696" y="3976"/>
                </a:lnTo>
                <a:lnTo>
                  <a:pt x="10698" y="3978"/>
                </a:lnTo>
                <a:lnTo>
                  <a:pt x="10702" y="3978"/>
                </a:lnTo>
                <a:lnTo>
                  <a:pt x="10706" y="3976"/>
                </a:lnTo>
                <a:lnTo>
                  <a:pt x="10708" y="3974"/>
                </a:lnTo>
                <a:lnTo>
                  <a:pt x="10708" y="3968"/>
                </a:lnTo>
                <a:lnTo>
                  <a:pt x="10706" y="3962"/>
                </a:lnTo>
                <a:lnTo>
                  <a:pt x="10708" y="3958"/>
                </a:lnTo>
                <a:lnTo>
                  <a:pt x="10708" y="3954"/>
                </a:lnTo>
                <a:lnTo>
                  <a:pt x="10708" y="3952"/>
                </a:lnTo>
                <a:lnTo>
                  <a:pt x="10706" y="3950"/>
                </a:lnTo>
                <a:lnTo>
                  <a:pt x="10702" y="3952"/>
                </a:lnTo>
                <a:lnTo>
                  <a:pt x="10702" y="3950"/>
                </a:lnTo>
                <a:lnTo>
                  <a:pt x="10702" y="3948"/>
                </a:lnTo>
                <a:lnTo>
                  <a:pt x="10700" y="3948"/>
                </a:lnTo>
                <a:lnTo>
                  <a:pt x="10698" y="3948"/>
                </a:lnTo>
                <a:lnTo>
                  <a:pt x="10698" y="3952"/>
                </a:lnTo>
                <a:lnTo>
                  <a:pt x="10696" y="3954"/>
                </a:lnTo>
                <a:lnTo>
                  <a:pt x="10694" y="3958"/>
                </a:lnTo>
                <a:lnTo>
                  <a:pt x="10690" y="3960"/>
                </a:lnTo>
                <a:lnTo>
                  <a:pt x="10690" y="3966"/>
                </a:lnTo>
                <a:lnTo>
                  <a:pt x="10690" y="3974"/>
                </a:lnTo>
                <a:lnTo>
                  <a:pt x="10692" y="3974"/>
                </a:lnTo>
                <a:lnTo>
                  <a:pt x="10696" y="3976"/>
                </a:lnTo>
                <a:close/>
              </a:path>
            </a:pathLst>
          </a:custGeom>
          <a:solidFill>
            <a:srgbClr val="AFABAB"/>
          </a:solidFill>
          <a:ln w="9525">
            <a:noFill/>
            <a:round/>
            <a:headEnd/>
            <a:tailEn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 name="Text Placeholder 1"/>
          <p:cNvSpPr>
            <a:spLocks noGrp="1"/>
          </p:cNvSpPr>
          <p:nvPr>
            <p:ph type="body" sz="quarter" idx="13"/>
          </p:nvPr>
        </p:nvSpPr>
        <p:spPr/>
        <p:txBody>
          <a:bodyPr/>
          <a:lstStyle/>
          <a:p>
            <a:r>
              <a:rPr lang="en-ID" dirty="0"/>
              <a:t>PowerPoint Templates</a:t>
            </a:r>
            <a:endParaRPr lang="en-US" dirty="0"/>
          </a:p>
        </p:txBody>
      </p:sp>
      <p:sp>
        <p:nvSpPr>
          <p:cNvPr id="3" name="Date Placeholder 2"/>
          <p:cNvSpPr>
            <a:spLocks noGrp="1"/>
          </p:cNvSpPr>
          <p:nvPr>
            <p:ph type="dt" sz="half" idx="10"/>
          </p:nvPr>
        </p:nvSpPr>
        <p:spPr/>
        <p:txBody>
          <a:bodyPr/>
          <a:lstStyle/>
          <a:p>
            <a:fld id="{C9852138-FCC6-44DD-9FFC-1C789392E7AA}" type="datetime1">
              <a:rPr lang="en-US" smtClean="0"/>
              <a:t>10/28/2022</a:t>
            </a:fld>
            <a:endParaRPr lang="en-US"/>
          </a:p>
        </p:txBody>
      </p:sp>
      <p:sp>
        <p:nvSpPr>
          <p:cNvPr id="4" name="Slide Number Placeholder 3"/>
          <p:cNvSpPr>
            <a:spLocks noGrp="1"/>
          </p:cNvSpPr>
          <p:nvPr>
            <p:ph type="sldNum" sz="quarter" idx="12"/>
          </p:nvPr>
        </p:nvSpPr>
        <p:spPr/>
        <p:txBody>
          <a:bodyPr/>
          <a:lstStyle/>
          <a:p>
            <a:fld id="{03206E70-9524-410D-AE9B-78D656EAA14D}" type="slidenum">
              <a:rPr lang="en-US" smtClean="0"/>
              <a:pPr/>
              <a:t>22</a:t>
            </a:fld>
            <a:endParaRPr lang="en-US"/>
          </a:p>
        </p:txBody>
      </p:sp>
      <p:grpSp>
        <p:nvGrpSpPr>
          <p:cNvPr id="5" name="Group 4"/>
          <p:cNvGrpSpPr/>
          <p:nvPr/>
        </p:nvGrpSpPr>
        <p:grpSpPr>
          <a:xfrm>
            <a:off x="0" y="1773875"/>
            <a:ext cx="12192000" cy="3954188"/>
            <a:chOff x="-1524000" y="1773875"/>
            <a:chExt cx="12192000" cy="3954188"/>
          </a:xfrm>
        </p:grpSpPr>
        <p:cxnSp>
          <p:nvCxnSpPr>
            <p:cNvPr id="87" name="Straight Connector 86"/>
            <p:cNvCxnSpPr/>
            <p:nvPr/>
          </p:nvCxnSpPr>
          <p:spPr>
            <a:xfrm>
              <a:off x="-1524000" y="3791977"/>
              <a:ext cx="12192000" cy="0"/>
            </a:xfrm>
            <a:prstGeom prst="line">
              <a:avLst/>
            </a:prstGeom>
            <a:noFill/>
            <a:ln w="28575">
              <a:solidFill>
                <a:srgbClr val="252323"/>
              </a:solidFill>
            </a:ln>
          </p:spPr>
          <p:style>
            <a:lnRef idx="2">
              <a:schemeClr val="accent1">
                <a:shade val="50000"/>
              </a:schemeClr>
            </a:lnRef>
            <a:fillRef idx="1">
              <a:schemeClr val="accent1"/>
            </a:fillRef>
            <a:effectRef idx="0">
              <a:schemeClr val="accent1"/>
            </a:effectRef>
            <a:fontRef idx="minor">
              <a:schemeClr val="lt1"/>
            </a:fontRef>
          </p:style>
        </p:cxnSp>
        <p:sp>
          <p:nvSpPr>
            <p:cNvPr id="38" name="Hexagon 37"/>
            <p:cNvSpPr/>
            <p:nvPr/>
          </p:nvSpPr>
          <p:spPr>
            <a:xfrm>
              <a:off x="611188" y="3357563"/>
              <a:ext cx="1007840" cy="868828"/>
            </a:xfrm>
            <a:prstGeom prst="hexagon">
              <a:avLst/>
            </a:prstGeom>
            <a:solidFill>
              <a:srgbClr val="E2583D"/>
            </a:solidFill>
            <a:ln w="28575">
              <a:solidFill>
                <a:srgbClr val="D63E20"/>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Open Sans Light"/>
                <a:ea typeface="+mn-ea"/>
                <a:cs typeface="+mn-cs"/>
              </a:endParaRPr>
            </a:p>
          </p:txBody>
        </p:sp>
        <p:sp>
          <p:nvSpPr>
            <p:cNvPr id="40" name="Hexagon 39"/>
            <p:cNvSpPr/>
            <p:nvPr/>
          </p:nvSpPr>
          <p:spPr>
            <a:xfrm>
              <a:off x="7524973" y="3357563"/>
              <a:ext cx="1007840" cy="868828"/>
            </a:xfrm>
            <a:prstGeom prst="hexagon">
              <a:avLst/>
            </a:prstGeom>
            <a:solidFill>
              <a:srgbClr val="78D2D2"/>
            </a:solidFill>
            <a:ln w="28575">
              <a:solidFill>
                <a:srgbClr val="4CC7C4"/>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Open Sans Light"/>
                <a:ea typeface="+mn-ea"/>
                <a:cs typeface="+mn-cs"/>
              </a:endParaRPr>
            </a:p>
          </p:txBody>
        </p:sp>
        <p:sp>
          <p:nvSpPr>
            <p:cNvPr id="41" name="Hexagon 40"/>
            <p:cNvSpPr/>
            <p:nvPr/>
          </p:nvSpPr>
          <p:spPr>
            <a:xfrm>
              <a:off x="5796526" y="3357563"/>
              <a:ext cx="1007840" cy="868828"/>
            </a:xfrm>
            <a:prstGeom prst="hexagon">
              <a:avLst/>
            </a:prstGeom>
            <a:solidFill>
              <a:srgbClr val="E2583D"/>
            </a:solidFill>
            <a:ln w="28575">
              <a:solidFill>
                <a:srgbClr val="D63E20"/>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Open Sans Light"/>
                <a:ea typeface="+mn-ea"/>
                <a:cs typeface="+mn-cs"/>
              </a:endParaRPr>
            </a:p>
          </p:txBody>
        </p:sp>
        <p:sp>
          <p:nvSpPr>
            <p:cNvPr id="42" name="Hexagon 41"/>
            <p:cNvSpPr/>
            <p:nvPr/>
          </p:nvSpPr>
          <p:spPr>
            <a:xfrm>
              <a:off x="2339634" y="3357563"/>
              <a:ext cx="1007840" cy="868828"/>
            </a:xfrm>
            <a:prstGeom prst="hexagon">
              <a:avLst/>
            </a:prstGeom>
            <a:solidFill>
              <a:srgbClr val="78D2D2"/>
            </a:solidFill>
            <a:ln w="28575">
              <a:solidFill>
                <a:srgbClr val="4CC7C4"/>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Open Sans Light"/>
                <a:ea typeface="+mn-ea"/>
                <a:cs typeface="+mn-cs"/>
              </a:endParaRPr>
            </a:p>
          </p:txBody>
        </p:sp>
        <p:sp>
          <p:nvSpPr>
            <p:cNvPr id="43" name="Hexagon 42"/>
            <p:cNvSpPr/>
            <p:nvPr/>
          </p:nvSpPr>
          <p:spPr>
            <a:xfrm>
              <a:off x="4068080" y="3357563"/>
              <a:ext cx="1007840" cy="868828"/>
            </a:xfrm>
            <a:prstGeom prst="hexagon">
              <a:avLst/>
            </a:prstGeom>
            <a:solidFill>
              <a:srgbClr val="3B3939"/>
            </a:solidFill>
            <a:ln w="28575">
              <a:solidFill>
                <a:srgbClr val="252323"/>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Open Sans Light"/>
                <a:ea typeface="+mn-ea"/>
                <a:cs typeface="+mn-cs"/>
              </a:endParaRPr>
            </a:p>
          </p:txBody>
        </p:sp>
        <p:sp>
          <p:nvSpPr>
            <p:cNvPr id="48" name="Text Placeholder 2"/>
            <p:cNvSpPr txBox="1">
              <a:spLocks/>
            </p:cNvSpPr>
            <p:nvPr/>
          </p:nvSpPr>
          <p:spPr>
            <a:xfrm>
              <a:off x="832013" y="3667328"/>
              <a:ext cx="566191" cy="249299"/>
            </a:xfrm>
            <a:prstGeom prst="rect">
              <a:avLst/>
            </a:prstGeom>
          </p:spPr>
          <p:txBody>
            <a:bodyPr vert="horz" wrap="square" lIns="0" tIns="0" rIns="0" bIns="0" rtlCol="0">
              <a:spAutoFit/>
            </a:bodyPr>
            <a:lstStyle>
              <a:lvl1pPr marL="0" indent="0" algn="l" defTabSz="914400" rtl="0" eaLnBrk="1" latinLnBrk="0" hangingPunct="1">
                <a:lnSpc>
                  <a:spcPct val="90000"/>
                </a:lnSpc>
                <a:spcBef>
                  <a:spcPts val="600"/>
                </a:spcBef>
                <a:buFont typeface="Arial" panose="020B0604020202020204" pitchFamily="34" charset="0"/>
                <a:buNone/>
                <a:defRPr sz="1100" kern="1200">
                  <a:solidFill>
                    <a:schemeClr val="tx1"/>
                  </a:solidFill>
                  <a:latin typeface="+mn-lt"/>
                  <a:ea typeface="+mn-ea"/>
                  <a:cs typeface="+mn-cs"/>
                </a:defRPr>
              </a:lvl1pPr>
              <a:lvl2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2pPr>
              <a:lvl3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3pPr>
              <a:lvl4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4pPr>
              <a:lvl5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600"/>
                </a:spcBef>
                <a:spcAft>
                  <a:spcPts val="0"/>
                </a:spcAft>
                <a:buClrTx/>
                <a:buSzTx/>
                <a:buFont typeface="Arial" panose="020B0604020202020204" pitchFamily="34" charset="0"/>
                <a:buNone/>
                <a:tabLst/>
                <a:defRPr/>
              </a:pPr>
              <a:r>
                <a:rPr kumimoji="0" lang="en-US" sz="1800" b="1" i="0" u="none" strike="noStrike" kern="1200" cap="none" spc="0" normalizeH="0" baseline="0" noProof="0" dirty="0">
                  <a:ln>
                    <a:noFill/>
                  </a:ln>
                  <a:solidFill>
                    <a:prstClr val="white"/>
                  </a:solidFill>
                  <a:effectLst/>
                  <a:uLnTx/>
                  <a:uFillTx/>
                  <a:latin typeface="+mj-lt"/>
                  <a:ea typeface="+mn-ea"/>
                  <a:cs typeface="+mn-cs"/>
                </a:rPr>
                <a:t>2000</a:t>
              </a:r>
              <a:endParaRPr kumimoji="0" lang="en-US" sz="1400" b="1" i="0" u="none" strike="noStrike" kern="1200" cap="none" spc="0" normalizeH="0" baseline="0" noProof="0" dirty="0">
                <a:ln>
                  <a:noFill/>
                </a:ln>
                <a:solidFill>
                  <a:prstClr val="white"/>
                </a:solidFill>
                <a:effectLst/>
                <a:uLnTx/>
                <a:uFillTx/>
                <a:latin typeface="+mj-lt"/>
                <a:ea typeface="+mn-ea"/>
                <a:cs typeface="+mn-cs"/>
              </a:endParaRPr>
            </a:p>
          </p:txBody>
        </p:sp>
        <p:sp>
          <p:nvSpPr>
            <p:cNvPr id="49" name="Text Placeholder 2"/>
            <p:cNvSpPr txBox="1">
              <a:spLocks/>
            </p:cNvSpPr>
            <p:nvPr/>
          </p:nvSpPr>
          <p:spPr>
            <a:xfrm>
              <a:off x="2560459" y="3667328"/>
              <a:ext cx="566191" cy="249299"/>
            </a:xfrm>
            <a:prstGeom prst="rect">
              <a:avLst/>
            </a:prstGeom>
          </p:spPr>
          <p:txBody>
            <a:bodyPr vert="horz" wrap="square" lIns="0" tIns="0" rIns="0" bIns="0" rtlCol="0">
              <a:spAutoFit/>
            </a:bodyPr>
            <a:lstStyle>
              <a:lvl1pPr marL="0" indent="0" algn="l" defTabSz="914400" rtl="0" eaLnBrk="1" latinLnBrk="0" hangingPunct="1">
                <a:lnSpc>
                  <a:spcPct val="90000"/>
                </a:lnSpc>
                <a:spcBef>
                  <a:spcPts val="600"/>
                </a:spcBef>
                <a:buFont typeface="Arial" panose="020B0604020202020204" pitchFamily="34" charset="0"/>
                <a:buNone/>
                <a:defRPr sz="1100" kern="1200">
                  <a:solidFill>
                    <a:schemeClr val="tx1"/>
                  </a:solidFill>
                  <a:latin typeface="+mn-lt"/>
                  <a:ea typeface="+mn-ea"/>
                  <a:cs typeface="+mn-cs"/>
                </a:defRPr>
              </a:lvl1pPr>
              <a:lvl2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2pPr>
              <a:lvl3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3pPr>
              <a:lvl4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4pPr>
              <a:lvl5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600"/>
                </a:spcBef>
                <a:spcAft>
                  <a:spcPts val="0"/>
                </a:spcAft>
                <a:buClrTx/>
                <a:buSzTx/>
                <a:buFont typeface="Arial" panose="020B0604020202020204" pitchFamily="34" charset="0"/>
                <a:buNone/>
                <a:tabLst/>
                <a:defRPr/>
              </a:pPr>
              <a:r>
                <a:rPr kumimoji="0" lang="en-US" sz="1800" b="1" i="0" u="none" strike="noStrike" kern="1200" cap="none" spc="0" normalizeH="0" baseline="0" noProof="0" dirty="0">
                  <a:ln>
                    <a:noFill/>
                  </a:ln>
                  <a:solidFill>
                    <a:prstClr val="white"/>
                  </a:solidFill>
                  <a:effectLst/>
                  <a:uLnTx/>
                  <a:uFillTx/>
                  <a:latin typeface="+mj-lt"/>
                  <a:ea typeface="+mn-ea"/>
                  <a:cs typeface="+mn-cs"/>
                </a:rPr>
                <a:t>2005</a:t>
              </a:r>
              <a:endParaRPr kumimoji="0" lang="en-US" sz="1400" b="1" i="0" u="none" strike="noStrike" kern="1200" cap="none" spc="0" normalizeH="0" baseline="0" noProof="0" dirty="0">
                <a:ln>
                  <a:noFill/>
                </a:ln>
                <a:solidFill>
                  <a:prstClr val="white"/>
                </a:solidFill>
                <a:effectLst/>
                <a:uLnTx/>
                <a:uFillTx/>
                <a:latin typeface="+mj-lt"/>
                <a:ea typeface="+mn-ea"/>
                <a:cs typeface="+mn-cs"/>
              </a:endParaRPr>
            </a:p>
          </p:txBody>
        </p:sp>
        <p:sp>
          <p:nvSpPr>
            <p:cNvPr id="50" name="Text Placeholder 2"/>
            <p:cNvSpPr txBox="1">
              <a:spLocks/>
            </p:cNvSpPr>
            <p:nvPr/>
          </p:nvSpPr>
          <p:spPr>
            <a:xfrm>
              <a:off x="4288905" y="3667328"/>
              <a:ext cx="566191" cy="249299"/>
            </a:xfrm>
            <a:prstGeom prst="rect">
              <a:avLst/>
            </a:prstGeom>
          </p:spPr>
          <p:txBody>
            <a:bodyPr vert="horz" wrap="square" lIns="0" tIns="0" rIns="0" bIns="0" rtlCol="0">
              <a:spAutoFit/>
            </a:bodyPr>
            <a:lstStyle>
              <a:lvl1pPr marL="0" indent="0" algn="l" defTabSz="914400" rtl="0" eaLnBrk="1" latinLnBrk="0" hangingPunct="1">
                <a:lnSpc>
                  <a:spcPct val="90000"/>
                </a:lnSpc>
                <a:spcBef>
                  <a:spcPts val="600"/>
                </a:spcBef>
                <a:buFont typeface="Arial" panose="020B0604020202020204" pitchFamily="34" charset="0"/>
                <a:buNone/>
                <a:defRPr sz="1100" kern="1200">
                  <a:solidFill>
                    <a:schemeClr val="tx1"/>
                  </a:solidFill>
                  <a:latin typeface="+mn-lt"/>
                  <a:ea typeface="+mn-ea"/>
                  <a:cs typeface="+mn-cs"/>
                </a:defRPr>
              </a:lvl1pPr>
              <a:lvl2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2pPr>
              <a:lvl3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3pPr>
              <a:lvl4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4pPr>
              <a:lvl5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600"/>
                </a:spcBef>
                <a:spcAft>
                  <a:spcPts val="0"/>
                </a:spcAft>
                <a:buClrTx/>
                <a:buSzTx/>
                <a:buFont typeface="Arial" panose="020B0604020202020204" pitchFamily="34" charset="0"/>
                <a:buNone/>
                <a:tabLst/>
                <a:defRPr/>
              </a:pPr>
              <a:r>
                <a:rPr kumimoji="0" lang="en-US" sz="1800" b="1" i="0" u="none" strike="noStrike" kern="1200" cap="none" spc="0" normalizeH="0" baseline="0" noProof="0" dirty="0">
                  <a:ln>
                    <a:noFill/>
                  </a:ln>
                  <a:solidFill>
                    <a:prstClr val="white"/>
                  </a:solidFill>
                  <a:effectLst/>
                  <a:uLnTx/>
                  <a:uFillTx/>
                  <a:latin typeface="+mj-lt"/>
                  <a:ea typeface="+mn-ea"/>
                  <a:cs typeface="+mn-cs"/>
                </a:rPr>
                <a:t>2010</a:t>
              </a:r>
              <a:endParaRPr kumimoji="0" lang="en-US" sz="1400" b="1" i="0" u="none" strike="noStrike" kern="1200" cap="none" spc="0" normalizeH="0" baseline="0" noProof="0" dirty="0">
                <a:ln>
                  <a:noFill/>
                </a:ln>
                <a:solidFill>
                  <a:prstClr val="white"/>
                </a:solidFill>
                <a:effectLst/>
                <a:uLnTx/>
                <a:uFillTx/>
                <a:latin typeface="+mj-lt"/>
                <a:ea typeface="+mn-ea"/>
                <a:cs typeface="+mn-cs"/>
              </a:endParaRPr>
            </a:p>
          </p:txBody>
        </p:sp>
        <p:sp>
          <p:nvSpPr>
            <p:cNvPr id="51" name="Text Placeholder 2"/>
            <p:cNvSpPr txBox="1">
              <a:spLocks/>
            </p:cNvSpPr>
            <p:nvPr/>
          </p:nvSpPr>
          <p:spPr>
            <a:xfrm>
              <a:off x="6010312" y="3667328"/>
              <a:ext cx="566191" cy="249299"/>
            </a:xfrm>
            <a:prstGeom prst="rect">
              <a:avLst/>
            </a:prstGeom>
          </p:spPr>
          <p:txBody>
            <a:bodyPr vert="horz" wrap="square" lIns="0" tIns="0" rIns="0" bIns="0" rtlCol="0">
              <a:spAutoFit/>
            </a:bodyPr>
            <a:lstStyle>
              <a:lvl1pPr marL="0" indent="0" algn="l" defTabSz="914400" rtl="0" eaLnBrk="1" latinLnBrk="0" hangingPunct="1">
                <a:lnSpc>
                  <a:spcPct val="90000"/>
                </a:lnSpc>
                <a:spcBef>
                  <a:spcPts val="600"/>
                </a:spcBef>
                <a:buFont typeface="Arial" panose="020B0604020202020204" pitchFamily="34" charset="0"/>
                <a:buNone/>
                <a:defRPr sz="1100" kern="1200">
                  <a:solidFill>
                    <a:schemeClr val="tx1"/>
                  </a:solidFill>
                  <a:latin typeface="+mn-lt"/>
                  <a:ea typeface="+mn-ea"/>
                  <a:cs typeface="+mn-cs"/>
                </a:defRPr>
              </a:lvl1pPr>
              <a:lvl2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2pPr>
              <a:lvl3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3pPr>
              <a:lvl4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4pPr>
              <a:lvl5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600"/>
                </a:spcBef>
                <a:spcAft>
                  <a:spcPts val="0"/>
                </a:spcAft>
                <a:buClrTx/>
                <a:buSzTx/>
                <a:buFont typeface="Arial" panose="020B0604020202020204" pitchFamily="34" charset="0"/>
                <a:buNone/>
                <a:tabLst/>
                <a:defRPr/>
              </a:pPr>
              <a:r>
                <a:rPr kumimoji="0" lang="en-US" sz="1800" b="1" i="0" u="none" strike="noStrike" kern="1200" cap="none" spc="0" normalizeH="0" baseline="0" noProof="0" dirty="0">
                  <a:ln>
                    <a:noFill/>
                  </a:ln>
                  <a:solidFill>
                    <a:schemeClr val="bg1"/>
                  </a:solidFill>
                  <a:effectLst/>
                  <a:uLnTx/>
                  <a:uFillTx/>
                  <a:latin typeface="+mj-lt"/>
                  <a:ea typeface="+mn-ea"/>
                  <a:cs typeface="+mn-cs"/>
                </a:rPr>
                <a:t>2015</a:t>
              </a:r>
              <a:endParaRPr kumimoji="0" lang="en-US" sz="1400" b="1" i="0" u="none" strike="noStrike" kern="1200" cap="none" spc="0" normalizeH="0" baseline="0" noProof="0" dirty="0">
                <a:ln>
                  <a:noFill/>
                </a:ln>
                <a:solidFill>
                  <a:schemeClr val="bg1"/>
                </a:solidFill>
                <a:effectLst/>
                <a:uLnTx/>
                <a:uFillTx/>
                <a:latin typeface="+mj-lt"/>
                <a:ea typeface="+mn-ea"/>
                <a:cs typeface="+mn-cs"/>
              </a:endParaRPr>
            </a:p>
          </p:txBody>
        </p:sp>
        <p:sp>
          <p:nvSpPr>
            <p:cNvPr id="52" name="Text Placeholder 2"/>
            <p:cNvSpPr txBox="1">
              <a:spLocks/>
            </p:cNvSpPr>
            <p:nvPr/>
          </p:nvSpPr>
          <p:spPr>
            <a:xfrm>
              <a:off x="7720626" y="3667328"/>
              <a:ext cx="566191" cy="249299"/>
            </a:xfrm>
            <a:prstGeom prst="rect">
              <a:avLst/>
            </a:prstGeom>
          </p:spPr>
          <p:txBody>
            <a:bodyPr vert="horz" wrap="square" lIns="0" tIns="0" rIns="0" bIns="0" rtlCol="0">
              <a:spAutoFit/>
            </a:bodyPr>
            <a:lstStyle>
              <a:lvl1pPr marL="0" indent="0" algn="l" defTabSz="914400" rtl="0" eaLnBrk="1" latinLnBrk="0" hangingPunct="1">
                <a:lnSpc>
                  <a:spcPct val="90000"/>
                </a:lnSpc>
                <a:spcBef>
                  <a:spcPts val="600"/>
                </a:spcBef>
                <a:buFont typeface="Arial" panose="020B0604020202020204" pitchFamily="34" charset="0"/>
                <a:buNone/>
                <a:defRPr sz="1100" kern="1200">
                  <a:solidFill>
                    <a:schemeClr val="tx1"/>
                  </a:solidFill>
                  <a:latin typeface="+mn-lt"/>
                  <a:ea typeface="+mn-ea"/>
                  <a:cs typeface="+mn-cs"/>
                </a:defRPr>
              </a:lvl1pPr>
              <a:lvl2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2pPr>
              <a:lvl3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3pPr>
              <a:lvl4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4pPr>
              <a:lvl5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600"/>
                </a:spcBef>
                <a:spcAft>
                  <a:spcPts val="0"/>
                </a:spcAft>
                <a:buClrTx/>
                <a:buSzTx/>
                <a:buFont typeface="Arial" panose="020B0604020202020204" pitchFamily="34" charset="0"/>
                <a:buNone/>
                <a:tabLst/>
                <a:defRPr/>
              </a:pPr>
              <a:r>
                <a:rPr kumimoji="0" lang="en-US" sz="1800" b="1" i="0" u="none" strike="noStrike" kern="1200" cap="none" spc="0" normalizeH="0" baseline="0" noProof="0" dirty="0">
                  <a:ln>
                    <a:noFill/>
                  </a:ln>
                  <a:solidFill>
                    <a:prstClr val="white"/>
                  </a:solidFill>
                  <a:effectLst/>
                  <a:uLnTx/>
                  <a:uFillTx/>
                  <a:latin typeface="+mj-lt"/>
                  <a:ea typeface="+mn-ea"/>
                  <a:cs typeface="+mn-cs"/>
                </a:rPr>
                <a:t>2020</a:t>
              </a:r>
              <a:endParaRPr kumimoji="0" lang="en-US" sz="1400" b="1" i="0" u="none" strike="noStrike" kern="1200" cap="none" spc="0" normalizeH="0" baseline="0" noProof="0" dirty="0">
                <a:ln>
                  <a:noFill/>
                </a:ln>
                <a:solidFill>
                  <a:prstClr val="white"/>
                </a:solidFill>
                <a:effectLst/>
                <a:uLnTx/>
                <a:uFillTx/>
                <a:latin typeface="+mj-lt"/>
                <a:ea typeface="+mn-ea"/>
                <a:cs typeface="+mn-cs"/>
              </a:endParaRPr>
            </a:p>
          </p:txBody>
        </p:sp>
        <p:sp>
          <p:nvSpPr>
            <p:cNvPr id="53" name="Text Placeholder 2"/>
            <p:cNvSpPr txBox="1">
              <a:spLocks/>
            </p:cNvSpPr>
            <p:nvPr/>
          </p:nvSpPr>
          <p:spPr>
            <a:xfrm>
              <a:off x="611188" y="5035566"/>
              <a:ext cx="1442114" cy="692497"/>
            </a:xfrm>
            <a:prstGeom prst="rect">
              <a:avLst/>
            </a:prstGeom>
          </p:spPr>
          <p:txBody>
            <a:bodyPr vert="horz" wrap="square" lIns="0" tIns="0" rIns="0" bIns="0" rtlCol="0">
              <a:spAutoFit/>
            </a:bodyPr>
            <a:lstStyle>
              <a:lvl1pPr marL="0" indent="0" algn="l" defTabSz="914400" rtl="0" eaLnBrk="1" latinLnBrk="0" hangingPunct="1">
                <a:lnSpc>
                  <a:spcPct val="90000"/>
                </a:lnSpc>
                <a:spcBef>
                  <a:spcPts val="600"/>
                </a:spcBef>
                <a:buFont typeface="Arial" panose="020B0604020202020204" pitchFamily="34" charset="0"/>
                <a:buNone/>
                <a:defRPr sz="1100" kern="1200">
                  <a:solidFill>
                    <a:schemeClr val="tx1"/>
                  </a:solidFill>
                  <a:latin typeface="+mn-lt"/>
                  <a:ea typeface="+mn-ea"/>
                  <a:cs typeface="+mn-cs"/>
                </a:defRPr>
              </a:lvl1pPr>
              <a:lvl2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2pPr>
              <a:lvl3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3pPr>
              <a:lvl4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4pPr>
              <a:lvl5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50000"/>
                </a:lnSpc>
                <a:spcBef>
                  <a:spcPts val="600"/>
                </a:spcBef>
                <a:spcAft>
                  <a:spcPts val="0"/>
                </a:spcAft>
                <a:buClrTx/>
                <a:buSzTx/>
                <a:buFont typeface="Arial" panose="020B0604020202020204" pitchFamily="34" charset="0"/>
                <a:buNone/>
                <a:tabLst/>
                <a:defRPr/>
              </a:pPr>
              <a:r>
                <a:rPr kumimoji="0" lang="en-US" sz="1000" b="0" i="0" u="none" strike="noStrike" kern="1200" cap="none" spc="0" normalizeH="0" baseline="0" noProof="0" dirty="0">
                  <a:ln>
                    <a:noFill/>
                  </a:ln>
                  <a:effectLst/>
                  <a:uLnTx/>
                  <a:uFillTx/>
                  <a:ea typeface="+mn-ea"/>
                  <a:cs typeface="+mn-cs"/>
                </a:rPr>
                <a:t>Lorem Ipsum is simply dummy text of the printing and typesetting industry.</a:t>
              </a:r>
            </a:p>
          </p:txBody>
        </p:sp>
        <p:sp>
          <p:nvSpPr>
            <p:cNvPr id="54" name="Rectangle 53"/>
            <p:cNvSpPr/>
            <p:nvPr/>
          </p:nvSpPr>
          <p:spPr>
            <a:xfrm>
              <a:off x="611188" y="4737169"/>
              <a:ext cx="1442114" cy="276536"/>
            </a:xfrm>
            <a:prstGeom prst="rect">
              <a:avLst/>
            </a:prstGeom>
            <a:solidFill>
              <a:srgbClr val="E2583D"/>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Open Sans Light"/>
                <a:ea typeface="+mn-ea"/>
                <a:cs typeface="+mn-cs"/>
              </a:endParaRPr>
            </a:p>
          </p:txBody>
        </p:sp>
        <p:sp>
          <p:nvSpPr>
            <p:cNvPr id="55" name="Text Placeholder 2"/>
            <p:cNvSpPr txBox="1">
              <a:spLocks/>
            </p:cNvSpPr>
            <p:nvPr/>
          </p:nvSpPr>
          <p:spPr>
            <a:xfrm>
              <a:off x="684745" y="4807578"/>
              <a:ext cx="1295000" cy="166199"/>
            </a:xfrm>
            <a:prstGeom prst="rect">
              <a:avLst/>
            </a:prstGeom>
          </p:spPr>
          <p:txBody>
            <a:bodyPr vert="horz" wrap="square" lIns="0" tIns="0" rIns="0" bIns="0" rtlCol="0">
              <a:spAutoFit/>
            </a:bodyPr>
            <a:lstStyle>
              <a:lvl1pPr marL="0" indent="0" algn="l" defTabSz="914400" rtl="0" eaLnBrk="1" latinLnBrk="0" hangingPunct="1">
                <a:lnSpc>
                  <a:spcPct val="90000"/>
                </a:lnSpc>
                <a:spcBef>
                  <a:spcPts val="600"/>
                </a:spcBef>
                <a:buFont typeface="Arial" panose="020B0604020202020204" pitchFamily="34" charset="0"/>
                <a:buNone/>
                <a:defRPr sz="1100" kern="1200">
                  <a:solidFill>
                    <a:schemeClr val="tx1"/>
                  </a:solidFill>
                  <a:latin typeface="+mn-lt"/>
                  <a:ea typeface="+mn-ea"/>
                  <a:cs typeface="+mn-cs"/>
                </a:defRPr>
              </a:lvl1pPr>
              <a:lvl2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2pPr>
              <a:lvl3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3pPr>
              <a:lvl4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4pPr>
              <a:lvl5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600"/>
                </a:spcBef>
                <a:spcAft>
                  <a:spcPts val="0"/>
                </a:spcAft>
                <a:buClrTx/>
                <a:buSzTx/>
                <a:buFont typeface="Arial" panose="020B0604020202020204" pitchFamily="34" charset="0"/>
                <a:buNone/>
                <a:tabLst/>
                <a:defRPr/>
              </a:pPr>
              <a:r>
                <a:rPr kumimoji="0" lang="en-US" sz="1200" b="1" i="0" u="none" strike="noStrike" kern="1200" cap="none" spc="0" normalizeH="0" baseline="0" noProof="0" dirty="0">
                  <a:ln>
                    <a:noFill/>
                  </a:ln>
                  <a:solidFill>
                    <a:prstClr val="white"/>
                  </a:solidFill>
                  <a:effectLst/>
                  <a:uLnTx/>
                  <a:uFillTx/>
                  <a:latin typeface="+mj-lt"/>
                  <a:ea typeface="+mn-ea"/>
                  <a:cs typeface="+mn-cs"/>
                </a:rPr>
                <a:t>LOREM IPSUM</a:t>
              </a:r>
            </a:p>
          </p:txBody>
        </p:sp>
        <p:cxnSp>
          <p:nvCxnSpPr>
            <p:cNvPr id="56" name="Straight Connector 55"/>
            <p:cNvCxnSpPr/>
            <p:nvPr/>
          </p:nvCxnSpPr>
          <p:spPr>
            <a:xfrm>
              <a:off x="1115108" y="4226391"/>
              <a:ext cx="0" cy="397436"/>
            </a:xfrm>
            <a:prstGeom prst="line">
              <a:avLst/>
            </a:prstGeom>
            <a:noFill/>
            <a:ln w="6350" cap="flat">
              <a:solidFill>
                <a:srgbClr val="D63E20"/>
              </a:solidFill>
              <a:prstDash val="solid"/>
              <a:miter lim="800000"/>
              <a:headEnd/>
              <a:tailEnd/>
            </a:ln>
            <a:extLst>
              <a:ext uri="{909E8E84-426E-40DD-AFC4-6F175D3DCCD1}">
                <a14:hiddenFill xmlns:a14="http://schemas.microsoft.com/office/drawing/2010/main">
                  <a:solidFill>
                    <a:srgbClr val="FFFFFF"/>
                  </a:solidFill>
                </a14:hiddenFill>
              </a:ext>
            </a:extLst>
          </p:spPr>
        </p:cxnSp>
        <p:grpSp>
          <p:nvGrpSpPr>
            <p:cNvPr id="57" name="Group 56"/>
            <p:cNvGrpSpPr/>
            <p:nvPr/>
          </p:nvGrpSpPr>
          <p:grpSpPr>
            <a:xfrm>
              <a:off x="3872529" y="4737169"/>
              <a:ext cx="1442114" cy="990894"/>
              <a:chOff x="4068080" y="4374192"/>
              <a:chExt cx="1442114" cy="990894"/>
            </a:xfrm>
          </p:grpSpPr>
          <p:sp>
            <p:nvSpPr>
              <p:cNvPr id="58" name="Text Placeholder 2"/>
              <p:cNvSpPr txBox="1">
                <a:spLocks/>
              </p:cNvSpPr>
              <p:nvPr/>
            </p:nvSpPr>
            <p:spPr>
              <a:xfrm>
                <a:off x="4068080" y="4672589"/>
                <a:ext cx="1442114" cy="692497"/>
              </a:xfrm>
              <a:prstGeom prst="rect">
                <a:avLst/>
              </a:prstGeom>
            </p:spPr>
            <p:txBody>
              <a:bodyPr vert="horz" wrap="square" lIns="0" tIns="0" rIns="0" bIns="0" rtlCol="0">
                <a:spAutoFit/>
              </a:bodyPr>
              <a:lstStyle>
                <a:lvl1pPr marL="0" indent="0" algn="l" defTabSz="914400" rtl="0" eaLnBrk="1" latinLnBrk="0" hangingPunct="1">
                  <a:lnSpc>
                    <a:spcPct val="90000"/>
                  </a:lnSpc>
                  <a:spcBef>
                    <a:spcPts val="600"/>
                  </a:spcBef>
                  <a:buFont typeface="Arial" panose="020B0604020202020204" pitchFamily="34" charset="0"/>
                  <a:buNone/>
                  <a:defRPr sz="1100" kern="1200">
                    <a:solidFill>
                      <a:schemeClr val="tx1"/>
                    </a:solidFill>
                    <a:latin typeface="+mn-lt"/>
                    <a:ea typeface="+mn-ea"/>
                    <a:cs typeface="+mn-cs"/>
                  </a:defRPr>
                </a:lvl1pPr>
                <a:lvl2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2pPr>
                <a:lvl3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3pPr>
                <a:lvl4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4pPr>
                <a:lvl5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50000"/>
                  </a:lnSpc>
                  <a:spcBef>
                    <a:spcPts val="600"/>
                  </a:spcBef>
                  <a:spcAft>
                    <a:spcPts val="0"/>
                  </a:spcAft>
                  <a:buClrTx/>
                  <a:buSzTx/>
                  <a:buFont typeface="Arial" panose="020B0604020202020204" pitchFamily="34" charset="0"/>
                  <a:buNone/>
                  <a:tabLst/>
                  <a:defRPr/>
                </a:pPr>
                <a:r>
                  <a:rPr kumimoji="0" lang="en-US" sz="1000" b="0" i="0" u="none" strike="noStrike" kern="1200" cap="none" spc="0" normalizeH="0" baseline="0" noProof="0" dirty="0">
                    <a:ln>
                      <a:noFill/>
                    </a:ln>
                    <a:effectLst/>
                    <a:uLnTx/>
                    <a:uFillTx/>
                    <a:ea typeface="+mn-ea"/>
                    <a:cs typeface="+mn-cs"/>
                  </a:rPr>
                  <a:t>Lorem Ipsum is simply dummy text of the printing and typesetting industry.</a:t>
                </a:r>
              </a:p>
            </p:txBody>
          </p:sp>
          <p:sp>
            <p:nvSpPr>
              <p:cNvPr id="61" name="Rectangle 60"/>
              <p:cNvSpPr/>
              <p:nvPr/>
            </p:nvSpPr>
            <p:spPr>
              <a:xfrm>
                <a:off x="4068080" y="4374192"/>
                <a:ext cx="1442114" cy="276536"/>
              </a:xfrm>
              <a:prstGeom prst="rect">
                <a:avLst/>
              </a:prstGeom>
              <a:solidFill>
                <a:srgbClr val="3B3939"/>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Open Sans Light"/>
                  <a:ea typeface="+mn-ea"/>
                  <a:cs typeface="+mn-cs"/>
                </a:endParaRPr>
              </a:p>
            </p:txBody>
          </p:sp>
          <p:sp>
            <p:nvSpPr>
              <p:cNvPr id="71" name="Text Placeholder 2"/>
              <p:cNvSpPr txBox="1">
                <a:spLocks/>
              </p:cNvSpPr>
              <p:nvPr/>
            </p:nvSpPr>
            <p:spPr>
              <a:xfrm>
                <a:off x="4141637" y="4444601"/>
                <a:ext cx="1295000" cy="166199"/>
              </a:xfrm>
              <a:prstGeom prst="rect">
                <a:avLst/>
              </a:prstGeom>
            </p:spPr>
            <p:txBody>
              <a:bodyPr vert="horz" wrap="square" lIns="0" tIns="0" rIns="0" bIns="0" rtlCol="0">
                <a:spAutoFit/>
              </a:bodyPr>
              <a:lstStyle>
                <a:lvl1pPr marL="0" indent="0" algn="l" defTabSz="914400" rtl="0" eaLnBrk="1" latinLnBrk="0" hangingPunct="1">
                  <a:lnSpc>
                    <a:spcPct val="90000"/>
                  </a:lnSpc>
                  <a:spcBef>
                    <a:spcPts val="600"/>
                  </a:spcBef>
                  <a:buFont typeface="Arial" panose="020B0604020202020204" pitchFamily="34" charset="0"/>
                  <a:buNone/>
                  <a:defRPr sz="1100" kern="1200">
                    <a:solidFill>
                      <a:schemeClr val="tx1"/>
                    </a:solidFill>
                    <a:latin typeface="+mn-lt"/>
                    <a:ea typeface="+mn-ea"/>
                    <a:cs typeface="+mn-cs"/>
                  </a:defRPr>
                </a:lvl1pPr>
                <a:lvl2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2pPr>
                <a:lvl3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3pPr>
                <a:lvl4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4pPr>
                <a:lvl5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600"/>
                  </a:spcBef>
                  <a:spcAft>
                    <a:spcPts val="0"/>
                  </a:spcAft>
                  <a:buClrTx/>
                  <a:buSzTx/>
                  <a:buFont typeface="Arial" panose="020B0604020202020204" pitchFamily="34" charset="0"/>
                  <a:buNone/>
                  <a:tabLst/>
                  <a:defRPr/>
                </a:pPr>
                <a:r>
                  <a:rPr kumimoji="0" lang="en-US" sz="1200" b="1" i="0" u="none" strike="noStrike" kern="1200" cap="none" spc="0" normalizeH="0" baseline="0" noProof="0" dirty="0">
                    <a:ln>
                      <a:noFill/>
                    </a:ln>
                    <a:solidFill>
                      <a:prstClr val="white"/>
                    </a:solidFill>
                    <a:effectLst/>
                    <a:uLnTx/>
                    <a:uFillTx/>
                    <a:latin typeface="+mj-lt"/>
                    <a:ea typeface="+mn-ea"/>
                    <a:cs typeface="+mn-cs"/>
                  </a:rPr>
                  <a:t>LOREM IPSUM</a:t>
                </a:r>
              </a:p>
            </p:txBody>
          </p:sp>
        </p:grpSp>
        <p:cxnSp>
          <p:nvCxnSpPr>
            <p:cNvPr id="72" name="Straight Connector 71"/>
            <p:cNvCxnSpPr/>
            <p:nvPr/>
          </p:nvCxnSpPr>
          <p:spPr>
            <a:xfrm>
              <a:off x="4572000" y="4226391"/>
              <a:ext cx="0" cy="397436"/>
            </a:xfrm>
            <a:prstGeom prst="line">
              <a:avLst/>
            </a:prstGeom>
            <a:noFill/>
            <a:ln w="6350" cap="flat">
              <a:solidFill>
                <a:srgbClr val="252323"/>
              </a:solidFill>
              <a:prstDash val="solid"/>
              <a:miter lim="800000"/>
              <a:headEnd/>
              <a:tailEnd/>
            </a:ln>
            <a:extLst>
              <a:ext uri="{909E8E84-426E-40DD-AFC4-6F175D3DCCD1}">
                <a14:hiddenFill xmlns:a14="http://schemas.microsoft.com/office/drawing/2010/main">
                  <a:solidFill>
                    <a:srgbClr val="FFFFFF"/>
                  </a:solidFill>
                </a14:hiddenFill>
              </a:ext>
            </a:extLst>
          </p:spPr>
        </p:cxnSp>
        <p:sp>
          <p:nvSpPr>
            <p:cNvPr id="73" name="Text Placeholder 2"/>
            <p:cNvSpPr txBox="1">
              <a:spLocks/>
            </p:cNvSpPr>
            <p:nvPr/>
          </p:nvSpPr>
          <p:spPr>
            <a:xfrm>
              <a:off x="7090699" y="5035566"/>
              <a:ext cx="1442114" cy="692497"/>
            </a:xfrm>
            <a:prstGeom prst="rect">
              <a:avLst/>
            </a:prstGeom>
          </p:spPr>
          <p:txBody>
            <a:bodyPr vert="horz" wrap="square" lIns="0" tIns="0" rIns="0" bIns="0" rtlCol="0">
              <a:spAutoFit/>
            </a:bodyPr>
            <a:lstStyle>
              <a:lvl1pPr marL="0" indent="0" algn="l" defTabSz="914400" rtl="0" eaLnBrk="1" latinLnBrk="0" hangingPunct="1">
                <a:lnSpc>
                  <a:spcPct val="90000"/>
                </a:lnSpc>
                <a:spcBef>
                  <a:spcPts val="600"/>
                </a:spcBef>
                <a:buFont typeface="Arial" panose="020B0604020202020204" pitchFamily="34" charset="0"/>
                <a:buNone/>
                <a:defRPr sz="1100" kern="1200">
                  <a:solidFill>
                    <a:schemeClr val="tx1"/>
                  </a:solidFill>
                  <a:latin typeface="+mn-lt"/>
                  <a:ea typeface="+mn-ea"/>
                  <a:cs typeface="+mn-cs"/>
                </a:defRPr>
              </a:lvl1pPr>
              <a:lvl2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2pPr>
              <a:lvl3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3pPr>
              <a:lvl4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4pPr>
              <a:lvl5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50000"/>
                </a:lnSpc>
                <a:spcBef>
                  <a:spcPts val="600"/>
                </a:spcBef>
                <a:spcAft>
                  <a:spcPts val="0"/>
                </a:spcAft>
                <a:buClrTx/>
                <a:buSzTx/>
                <a:buFont typeface="Arial" panose="020B0604020202020204" pitchFamily="34" charset="0"/>
                <a:buNone/>
                <a:tabLst/>
                <a:defRPr/>
              </a:pPr>
              <a:r>
                <a:rPr kumimoji="0" lang="en-US" sz="1000" b="0" i="0" u="none" strike="noStrike" kern="1200" cap="none" spc="0" normalizeH="0" baseline="0" noProof="0" dirty="0">
                  <a:ln>
                    <a:noFill/>
                  </a:ln>
                  <a:effectLst/>
                  <a:uLnTx/>
                  <a:uFillTx/>
                  <a:ea typeface="+mn-ea"/>
                  <a:cs typeface="+mn-cs"/>
                </a:rPr>
                <a:t>Lorem Ipsum is simply dummy text of the printing and typesetting industry.</a:t>
              </a:r>
            </a:p>
          </p:txBody>
        </p:sp>
        <p:sp>
          <p:nvSpPr>
            <p:cNvPr id="74" name="Rectangle 73"/>
            <p:cNvSpPr/>
            <p:nvPr/>
          </p:nvSpPr>
          <p:spPr>
            <a:xfrm>
              <a:off x="7090699" y="4737169"/>
              <a:ext cx="1442114" cy="276536"/>
            </a:xfrm>
            <a:prstGeom prst="rect">
              <a:avLst/>
            </a:prstGeom>
            <a:solidFill>
              <a:srgbClr val="78D2D2"/>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Open Sans Light"/>
                <a:ea typeface="+mn-ea"/>
                <a:cs typeface="+mn-cs"/>
              </a:endParaRPr>
            </a:p>
          </p:txBody>
        </p:sp>
        <p:sp>
          <p:nvSpPr>
            <p:cNvPr id="75" name="Text Placeholder 2"/>
            <p:cNvSpPr txBox="1">
              <a:spLocks/>
            </p:cNvSpPr>
            <p:nvPr/>
          </p:nvSpPr>
          <p:spPr>
            <a:xfrm>
              <a:off x="7164256" y="4807578"/>
              <a:ext cx="1295000" cy="166199"/>
            </a:xfrm>
            <a:prstGeom prst="rect">
              <a:avLst/>
            </a:prstGeom>
          </p:spPr>
          <p:txBody>
            <a:bodyPr vert="horz" wrap="square" lIns="0" tIns="0" rIns="0" bIns="0" rtlCol="0">
              <a:spAutoFit/>
            </a:bodyPr>
            <a:lstStyle>
              <a:lvl1pPr marL="0" indent="0" algn="l" defTabSz="914400" rtl="0" eaLnBrk="1" latinLnBrk="0" hangingPunct="1">
                <a:lnSpc>
                  <a:spcPct val="90000"/>
                </a:lnSpc>
                <a:spcBef>
                  <a:spcPts val="600"/>
                </a:spcBef>
                <a:buFont typeface="Arial" panose="020B0604020202020204" pitchFamily="34" charset="0"/>
                <a:buNone/>
                <a:defRPr sz="1100" kern="1200">
                  <a:solidFill>
                    <a:schemeClr val="tx1"/>
                  </a:solidFill>
                  <a:latin typeface="+mn-lt"/>
                  <a:ea typeface="+mn-ea"/>
                  <a:cs typeface="+mn-cs"/>
                </a:defRPr>
              </a:lvl1pPr>
              <a:lvl2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2pPr>
              <a:lvl3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3pPr>
              <a:lvl4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4pPr>
              <a:lvl5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600"/>
                </a:spcBef>
                <a:spcAft>
                  <a:spcPts val="0"/>
                </a:spcAft>
                <a:buClrTx/>
                <a:buSzTx/>
                <a:buFont typeface="Arial" panose="020B0604020202020204" pitchFamily="34" charset="0"/>
                <a:buNone/>
                <a:tabLst/>
                <a:defRPr/>
              </a:pPr>
              <a:r>
                <a:rPr kumimoji="0" lang="en-US" sz="1200" b="1" i="0" u="none" strike="noStrike" kern="1200" cap="none" spc="0" normalizeH="0" baseline="0" noProof="0" dirty="0">
                  <a:ln>
                    <a:noFill/>
                  </a:ln>
                  <a:solidFill>
                    <a:prstClr val="white"/>
                  </a:solidFill>
                  <a:effectLst/>
                  <a:uLnTx/>
                  <a:uFillTx/>
                  <a:latin typeface="+mj-lt"/>
                  <a:ea typeface="+mn-ea"/>
                  <a:cs typeface="+mn-cs"/>
                </a:rPr>
                <a:t>LOREM IPSUM</a:t>
              </a:r>
            </a:p>
          </p:txBody>
        </p:sp>
        <p:cxnSp>
          <p:nvCxnSpPr>
            <p:cNvPr id="76" name="Straight Connector 75"/>
            <p:cNvCxnSpPr/>
            <p:nvPr/>
          </p:nvCxnSpPr>
          <p:spPr>
            <a:xfrm>
              <a:off x="8028893" y="4226391"/>
              <a:ext cx="0" cy="397436"/>
            </a:xfrm>
            <a:prstGeom prst="line">
              <a:avLst/>
            </a:prstGeom>
            <a:noFill/>
            <a:ln w="6350" cap="flat">
              <a:solidFill>
                <a:srgbClr val="4CC7C4"/>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77" name="Straight Connector 76"/>
            <p:cNvCxnSpPr/>
            <p:nvPr/>
          </p:nvCxnSpPr>
          <p:spPr>
            <a:xfrm>
              <a:off x="2843554" y="2960127"/>
              <a:ext cx="0" cy="397436"/>
            </a:xfrm>
            <a:prstGeom prst="line">
              <a:avLst/>
            </a:prstGeom>
            <a:noFill/>
            <a:ln w="6350" cap="flat">
              <a:solidFill>
                <a:srgbClr val="4CC7C4"/>
              </a:solidFill>
              <a:prstDash val="solid"/>
              <a:miter lim="800000"/>
              <a:headEnd/>
              <a:tailEnd/>
            </a:ln>
            <a:extLst>
              <a:ext uri="{909E8E84-426E-40DD-AFC4-6F175D3DCCD1}">
                <a14:hiddenFill xmlns:a14="http://schemas.microsoft.com/office/drawing/2010/main">
                  <a:solidFill>
                    <a:srgbClr val="FFFFFF"/>
                  </a:solidFill>
                </a14:hiddenFill>
              </a:ext>
            </a:extLst>
          </p:spPr>
        </p:cxnSp>
        <p:grpSp>
          <p:nvGrpSpPr>
            <p:cNvPr id="78" name="Group 77"/>
            <p:cNvGrpSpPr/>
            <p:nvPr/>
          </p:nvGrpSpPr>
          <p:grpSpPr>
            <a:xfrm>
              <a:off x="2122497" y="1773875"/>
              <a:ext cx="1442114" cy="1087890"/>
              <a:chOff x="4068080" y="4842356"/>
              <a:chExt cx="1442114" cy="1087890"/>
            </a:xfrm>
          </p:grpSpPr>
          <p:sp>
            <p:nvSpPr>
              <p:cNvPr id="79" name="Text Placeholder 2"/>
              <p:cNvSpPr txBox="1">
                <a:spLocks/>
              </p:cNvSpPr>
              <p:nvPr/>
            </p:nvSpPr>
            <p:spPr>
              <a:xfrm>
                <a:off x="4068080" y="4842356"/>
                <a:ext cx="1442114" cy="692497"/>
              </a:xfrm>
              <a:prstGeom prst="rect">
                <a:avLst/>
              </a:prstGeom>
            </p:spPr>
            <p:txBody>
              <a:bodyPr vert="horz" wrap="square" lIns="0" tIns="0" rIns="0" bIns="0" rtlCol="0">
                <a:spAutoFit/>
              </a:bodyPr>
              <a:lstStyle>
                <a:lvl1pPr marL="0" indent="0" algn="l" defTabSz="914400" rtl="0" eaLnBrk="1" latinLnBrk="0" hangingPunct="1">
                  <a:lnSpc>
                    <a:spcPct val="90000"/>
                  </a:lnSpc>
                  <a:spcBef>
                    <a:spcPts val="600"/>
                  </a:spcBef>
                  <a:buFont typeface="Arial" panose="020B0604020202020204" pitchFamily="34" charset="0"/>
                  <a:buNone/>
                  <a:defRPr sz="1100" kern="1200">
                    <a:solidFill>
                      <a:schemeClr val="tx1"/>
                    </a:solidFill>
                    <a:latin typeface="+mn-lt"/>
                    <a:ea typeface="+mn-ea"/>
                    <a:cs typeface="+mn-cs"/>
                  </a:defRPr>
                </a:lvl1pPr>
                <a:lvl2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2pPr>
                <a:lvl3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3pPr>
                <a:lvl4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4pPr>
                <a:lvl5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50000"/>
                  </a:lnSpc>
                  <a:spcBef>
                    <a:spcPts val="600"/>
                  </a:spcBef>
                  <a:spcAft>
                    <a:spcPts val="0"/>
                  </a:spcAft>
                  <a:buClrTx/>
                  <a:buSzTx/>
                  <a:buFont typeface="Arial" panose="020B0604020202020204" pitchFamily="34" charset="0"/>
                  <a:buNone/>
                  <a:tabLst/>
                  <a:defRPr/>
                </a:pPr>
                <a:r>
                  <a:rPr kumimoji="0" lang="en-US" sz="1000" b="0" i="0" u="none" strike="noStrike" kern="1200" cap="none" spc="0" normalizeH="0" baseline="0" noProof="0" dirty="0">
                    <a:ln>
                      <a:noFill/>
                    </a:ln>
                    <a:effectLst/>
                    <a:uLnTx/>
                    <a:uFillTx/>
                    <a:ea typeface="+mn-ea"/>
                    <a:cs typeface="+mn-cs"/>
                  </a:rPr>
                  <a:t>Lorem Ipsum is simply dummy text of the printing and typesetting industry.</a:t>
                </a:r>
              </a:p>
            </p:txBody>
          </p:sp>
          <p:sp>
            <p:nvSpPr>
              <p:cNvPr id="80" name="Rectangle 79"/>
              <p:cNvSpPr/>
              <p:nvPr/>
            </p:nvSpPr>
            <p:spPr>
              <a:xfrm>
                <a:off x="4068080" y="5653710"/>
                <a:ext cx="1442114" cy="276536"/>
              </a:xfrm>
              <a:prstGeom prst="rect">
                <a:avLst/>
              </a:prstGeom>
              <a:solidFill>
                <a:srgbClr val="78D2D2"/>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Open Sans Light"/>
                  <a:ea typeface="+mn-ea"/>
                  <a:cs typeface="+mn-cs"/>
                </a:endParaRPr>
              </a:p>
            </p:txBody>
          </p:sp>
          <p:sp>
            <p:nvSpPr>
              <p:cNvPr id="81" name="Text Placeholder 2"/>
              <p:cNvSpPr txBox="1">
                <a:spLocks/>
              </p:cNvSpPr>
              <p:nvPr/>
            </p:nvSpPr>
            <p:spPr>
              <a:xfrm>
                <a:off x="4141637" y="5724119"/>
                <a:ext cx="1295000" cy="166199"/>
              </a:xfrm>
              <a:prstGeom prst="rect">
                <a:avLst/>
              </a:prstGeom>
            </p:spPr>
            <p:txBody>
              <a:bodyPr vert="horz" wrap="square" lIns="0" tIns="0" rIns="0" bIns="0" rtlCol="0">
                <a:spAutoFit/>
              </a:bodyPr>
              <a:lstStyle>
                <a:lvl1pPr marL="0" indent="0" algn="l" defTabSz="914400" rtl="0" eaLnBrk="1" latinLnBrk="0" hangingPunct="1">
                  <a:lnSpc>
                    <a:spcPct val="90000"/>
                  </a:lnSpc>
                  <a:spcBef>
                    <a:spcPts val="600"/>
                  </a:spcBef>
                  <a:buFont typeface="Arial" panose="020B0604020202020204" pitchFamily="34" charset="0"/>
                  <a:buNone/>
                  <a:defRPr sz="1100" kern="1200">
                    <a:solidFill>
                      <a:schemeClr val="tx1"/>
                    </a:solidFill>
                    <a:latin typeface="+mn-lt"/>
                    <a:ea typeface="+mn-ea"/>
                    <a:cs typeface="+mn-cs"/>
                  </a:defRPr>
                </a:lvl1pPr>
                <a:lvl2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2pPr>
                <a:lvl3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3pPr>
                <a:lvl4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4pPr>
                <a:lvl5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600"/>
                  </a:spcBef>
                  <a:spcAft>
                    <a:spcPts val="0"/>
                  </a:spcAft>
                  <a:buClrTx/>
                  <a:buSzTx/>
                  <a:buFont typeface="Arial" panose="020B0604020202020204" pitchFamily="34" charset="0"/>
                  <a:buNone/>
                  <a:tabLst/>
                  <a:defRPr/>
                </a:pPr>
                <a:r>
                  <a:rPr kumimoji="0" lang="en-US" sz="1200" b="1" i="0" u="none" strike="noStrike" kern="1200" cap="none" spc="0" normalizeH="0" baseline="0" noProof="0" dirty="0">
                    <a:ln>
                      <a:noFill/>
                    </a:ln>
                    <a:solidFill>
                      <a:prstClr val="white"/>
                    </a:solidFill>
                    <a:effectLst/>
                    <a:uLnTx/>
                    <a:uFillTx/>
                    <a:latin typeface="+mj-lt"/>
                    <a:ea typeface="+mn-ea"/>
                    <a:cs typeface="+mn-cs"/>
                  </a:rPr>
                  <a:t>LOREM IPSUM</a:t>
                </a:r>
              </a:p>
            </p:txBody>
          </p:sp>
        </p:grpSp>
        <p:cxnSp>
          <p:nvCxnSpPr>
            <p:cNvPr id="82" name="Straight Connector 81"/>
            <p:cNvCxnSpPr/>
            <p:nvPr/>
          </p:nvCxnSpPr>
          <p:spPr>
            <a:xfrm>
              <a:off x="6300446" y="2960127"/>
              <a:ext cx="0" cy="397436"/>
            </a:xfrm>
            <a:prstGeom prst="line">
              <a:avLst/>
            </a:prstGeom>
            <a:noFill/>
            <a:ln w="6350" cap="flat">
              <a:solidFill>
                <a:srgbClr val="D63E20"/>
              </a:solidFill>
              <a:prstDash val="solid"/>
              <a:miter lim="800000"/>
              <a:headEnd/>
              <a:tailEnd/>
            </a:ln>
            <a:extLst>
              <a:ext uri="{909E8E84-426E-40DD-AFC4-6F175D3DCCD1}">
                <a14:hiddenFill xmlns:a14="http://schemas.microsoft.com/office/drawing/2010/main">
                  <a:solidFill>
                    <a:srgbClr val="FFFFFF"/>
                  </a:solidFill>
                </a14:hiddenFill>
              </a:ext>
            </a:extLst>
          </p:spPr>
        </p:cxnSp>
        <p:grpSp>
          <p:nvGrpSpPr>
            <p:cNvPr id="83" name="Group 82"/>
            <p:cNvGrpSpPr/>
            <p:nvPr/>
          </p:nvGrpSpPr>
          <p:grpSpPr>
            <a:xfrm>
              <a:off x="5579389" y="1773875"/>
              <a:ext cx="1442114" cy="1087890"/>
              <a:chOff x="4068080" y="4842356"/>
              <a:chExt cx="1442114" cy="1087890"/>
            </a:xfrm>
          </p:grpSpPr>
          <p:sp>
            <p:nvSpPr>
              <p:cNvPr id="84" name="Text Placeholder 2"/>
              <p:cNvSpPr txBox="1">
                <a:spLocks/>
              </p:cNvSpPr>
              <p:nvPr/>
            </p:nvSpPr>
            <p:spPr>
              <a:xfrm>
                <a:off x="4068080" y="4842356"/>
                <a:ext cx="1442114" cy="692497"/>
              </a:xfrm>
              <a:prstGeom prst="rect">
                <a:avLst/>
              </a:prstGeom>
            </p:spPr>
            <p:txBody>
              <a:bodyPr vert="horz" wrap="square" lIns="0" tIns="0" rIns="0" bIns="0" rtlCol="0">
                <a:spAutoFit/>
              </a:bodyPr>
              <a:lstStyle>
                <a:lvl1pPr marL="0" indent="0" algn="l" defTabSz="914400" rtl="0" eaLnBrk="1" latinLnBrk="0" hangingPunct="1">
                  <a:lnSpc>
                    <a:spcPct val="90000"/>
                  </a:lnSpc>
                  <a:spcBef>
                    <a:spcPts val="600"/>
                  </a:spcBef>
                  <a:buFont typeface="Arial" panose="020B0604020202020204" pitchFamily="34" charset="0"/>
                  <a:buNone/>
                  <a:defRPr sz="1100" kern="1200">
                    <a:solidFill>
                      <a:schemeClr val="tx1"/>
                    </a:solidFill>
                    <a:latin typeface="+mn-lt"/>
                    <a:ea typeface="+mn-ea"/>
                    <a:cs typeface="+mn-cs"/>
                  </a:defRPr>
                </a:lvl1pPr>
                <a:lvl2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2pPr>
                <a:lvl3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3pPr>
                <a:lvl4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4pPr>
                <a:lvl5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50000"/>
                  </a:lnSpc>
                  <a:spcBef>
                    <a:spcPts val="600"/>
                  </a:spcBef>
                  <a:spcAft>
                    <a:spcPts val="0"/>
                  </a:spcAft>
                  <a:buClrTx/>
                  <a:buSzTx/>
                  <a:buFont typeface="Arial" panose="020B0604020202020204" pitchFamily="34" charset="0"/>
                  <a:buNone/>
                  <a:tabLst/>
                  <a:defRPr/>
                </a:pPr>
                <a:r>
                  <a:rPr kumimoji="0" lang="en-US" sz="1000" b="0" i="0" u="none" strike="noStrike" kern="1200" cap="none" spc="0" normalizeH="0" baseline="0" noProof="0" dirty="0">
                    <a:ln>
                      <a:noFill/>
                    </a:ln>
                    <a:effectLst/>
                    <a:uLnTx/>
                    <a:uFillTx/>
                    <a:ea typeface="+mn-ea"/>
                    <a:cs typeface="+mn-cs"/>
                  </a:rPr>
                  <a:t>Lorem Ipsum is simply dummy text of the printing and typesetting industry.</a:t>
                </a:r>
              </a:p>
            </p:txBody>
          </p:sp>
          <p:sp>
            <p:nvSpPr>
              <p:cNvPr id="85" name="Rectangle 84"/>
              <p:cNvSpPr/>
              <p:nvPr/>
            </p:nvSpPr>
            <p:spPr>
              <a:xfrm>
                <a:off x="4068080" y="5653710"/>
                <a:ext cx="1442114" cy="276536"/>
              </a:xfrm>
              <a:prstGeom prst="rect">
                <a:avLst/>
              </a:prstGeom>
              <a:solidFill>
                <a:srgbClr val="E2583D"/>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Open Sans Light"/>
                  <a:ea typeface="+mn-ea"/>
                  <a:cs typeface="+mn-cs"/>
                </a:endParaRPr>
              </a:p>
            </p:txBody>
          </p:sp>
          <p:sp>
            <p:nvSpPr>
              <p:cNvPr id="86" name="Text Placeholder 2"/>
              <p:cNvSpPr txBox="1">
                <a:spLocks/>
              </p:cNvSpPr>
              <p:nvPr/>
            </p:nvSpPr>
            <p:spPr>
              <a:xfrm>
                <a:off x="4141637" y="5724119"/>
                <a:ext cx="1295000" cy="166199"/>
              </a:xfrm>
              <a:prstGeom prst="rect">
                <a:avLst/>
              </a:prstGeom>
            </p:spPr>
            <p:txBody>
              <a:bodyPr vert="horz" wrap="square" lIns="0" tIns="0" rIns="0" bIns="0" rtlCol="0">
                <a:spAutoFit/>
              </a:bodyPr>
              <a:lstStyle>
                <a:lvl1pPr marL="0" indent="0" algn="l" defTabSz="914400" rtl="0" eaLnBrk="1" latinLnBrk="0" hangingPunct="1">
                  <a:lnSpc>
                    <a:spcPct val="90000"/>
                  </a:lnSpc>
                  <a:spcBef>
                    <a:spcPts val="600"/>
                  </a:spcBef>
                  <a:buFont typeface="Arial" panose="020B0604020202020204" pitchFamily="34" charset="0"/>
                  <a:buNone/>
                  <a:defRPr sz="1100" kern="1200">
                    <a:solidFill>
                      <a:schemeClr val="tx1"/>
                    </a:solidFill>
                    <a:latin typeface="+mn-lt"/>
                    <a:ea typeface="+mn-ea"/>
                    <a:cs typeface="+mn-cs"/>
                  </a:defRPr>
                </a:lvl1pPr>
                <a:lvl2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2pPr>
                <a:lvl3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3pPr>
                <a:lvl4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4pPr>
                <a:lvl5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600"/>
                  </a:spcBef>
                  <a:spcAft>
                    <a:spcPts val="0"/>
                  </a:spcAft>
                  <a:buClrTx/>
                  <a:buSzTx/>
                  <a:buFont typeface="Arial" panose="020B0604020202020204" pitchFamily="34" charset="0"/>
                  <a:buNone/>
                  <a:tabLst/>
                  <a:defRPr/>
                </a:pPr>
                <a:r>
                  <a:rPr kumimoji="0" lang="en-US" sz="1200" b="1" i="0" u="none" strike="noStrike" kern="1200" cap="none" spc="0" normalizeH="0" baseline="0" noProof="0" dirty="0">
                    <a:ln>
                      <a:noFill/>
                    </a:ln>
                    <a:solidFill>
                      <a:prstClr val="white"/>
                    </a:solidFill>
                    <a:effectLst/>
                    <a:uLnTx/>
                    <a:uFillTx/>
                    <a:latin typeface="+mj-lt"/>
                    <a:ea typeface="+mn-ea"/>
                    <a:cs typeface="+mn-cs"/>
                  </a:rPr>
                  <a:t>LOREM IPSUM</a:t>
                </a:r>
              </a:p>
            </p:txBody>
          </p:sp>
        </p:grpSp>
      </p:grpSp>
      <p:sp>
        <p:nvSpPr>
          <p:cNvPr id="88" name="Rectangle 87"/>
          <p:cNvSpPr/>
          <p:nvPr/>
        </p:nvSpPr>
        <p:spPr>
          <a:xfrm>
            <a:off x="12344400" y="0"/>
            <a:ext cx="469900" cy="469900"/>
          </a:xfrm>
          <a:prstGeom prst="rect">
            <a:avLst/>
          </a:prstGeom>
          <a:solidFill>
            <a:srgbClr val="E7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9" name="Rectangle 88"/>
          <p:cNvSpPr/>
          <p:nvPr/>
        </p:nvSpPr>
        <p:spPr>
          <a:xfrm>
            <a:off x="12344400" y="649557"/>
            <a:ext cx="469900" cy="469900"/>
          </a:xfrm>
          <a:prstGeom prst="rect">
            <a:avLst/>
          </a:prstGeom>
          <a:solidFill>
            <a:srgbClr val="AFABA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0" name="Rectangle 89"/>
          <p:cNvSpPr/>
          <p:nvPr/>
        </p:nvSpPr>
        <p:spPr>
          <a:xfrm>
            <a:off x="12344400" y="1299114"/>
            <a:ext cx="469900" cy="469900"/>
          </a:xfrm>
          <a:prstGeom prst="rect">
            <a:avLst/>
          </a:prstGeom>
          <a:solidFill>
            <a:srgbClr val="76717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1" name="Rectangle 90"/>
          <p:cNvSpPr/>
          <p:nvPr/>
        </p:nvSpPr>
        <p:spPr>
          <a:xfrm>
            <a:off x="12966699" y="0"/>
            <a:ext cx="469900" cy="469900"/>
          </a:xfrm>
          <a:prstGeom prst="rect">
            <a:avLst/>
          </a:prstGeom>
          <a:solidFill>
            <a:srgbClr val="E8786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2" name="Rectangle 91"/>
          <p:cNvSpPr/>
          <p:nvPr/>
        </p:nvSpPr>
        <p:spPr>
          <a:xfrm>
            <a:off x="12966699" y="649557"/>
            <a:ext cx="469900" cy="469900"/>
          </a:xfrm>
          <a:prstGeom prst="rect">
            <a:avLst/>
          </a:prstGeom>
          <a:solidFill>
            <a:srgbClr val="E258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3" name="Rectangle 92"/>
          <p:cNvSpPr/>
          <p:nvPr/>
        </p:nvSpPr>
        <p:spPr>
          <a:xfrm>
            <a:off x="12966699" y="1299114"/>
            <a:ext cx="469900" cy="469900"/>
          </a:xfrm>
          <a:prstGeom prst="rect">
            <a:avLst/>
          </a:prstGeom>
          <a:solidFill>
            <a:srgbClr val="D63E2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4" name="Rectangle 93"/>
          <p:cNvSpPr/>
          <p:nvPr/>
        </p:nvSpPr>
        <p:spPr>
          <a:xfrm>
            <a:off x="13588998" y="0"/>
            <a:ext cx="469900" cy="469900"/>
          </a:xfrm>
          <a:prstGeom prst="rect">
            <a:avLst/>
          </a:prstGeom>
          <a:solidFill>
            <a:srgbClr val="8EDCD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5" name="Rectangle 94"/>
          <p:cNvSpPr/>
          <p:nvPr/>
        </p:nvSpPr>
        <p:spPr>
          <a:xfrm>
            <a:off x="13588998" y="649557"/>
            <a:ext cx="469900" cy="469900"/>
          </a:xfrm>
          <a:prstGeom prst="rect">
            <a:avLst/>
          </a:prstGeom>
          <a:solidFill>
            <a:srgbClr val="78D2D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6" name="Rectangle 95"/>
          <p:cNvSpPr/>
          <p:nvPr/>
        </p:nvSpPr>
        <p:spPr>
          <a:xfrm>
            <a:off x="13588998" y="1299114"/>
            <a:ext cx="469900" cy="469900"/>
          </a:xfrm>
          <a:prstGeom prst="rect">
            <a:avLst/>
          </a:prstGeom>
          <a:solidFill>
            <a:srgbClr val="4CC7C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7" name="Rectangle 96"/>
          <p:cNvSpPr/>
          <p:nvPr/>
        </p:nvSpPr>
        <p:spPr>
          <a:xfrm>
            <a:off x="14211297" y="0"/>
            <a:ext cx="469900" cy="469900"/>
          </a:xfrm>
          <a:prstGeom prst="rect">
            <a:avLst/>
          </a:prstGeom>
          <a:solidFill>
            <a:srgbClr val="55535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9" name="Rectangle 118"/>
          <p:cNvSpPr/>
          <p:nvPr/>
        </p:nvSpPr>
        <p:spPr>
          <a:xfrm>
            <a:off x="14211297" y="649557"/>
            <a:ext cx="469900" cy="469900"/>
          </a:xfrm>
          <a:prstGeom prst="rect">
            <a:avLst/>
          </a:prstGeom>
          <a:solidFill>
            <a:srgbClr val="3B393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0" name="Rectangle 119"/>
          <p:cNvSpPr/>
          <p:nvPr/>
        </p:nvSpPr>
        <p:spPr>
          <a:xfrm>
            <a:off x="14211297" y="1299114"/>
            <a:ext cx="469900" cy="469900"/>
          </a:xfrm>
          <a:prstGeom prst="rect">
            <a:avLst/>
          </a:prstGeom>
          <a:solidFill>
            <a:srgbClr val="25232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87940519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en-ID" dirty="0"/>
              <a:t>PowerPoint Templates</a:t>
            </a:r>
            <a:endParaRPr lang="en-US" dirty="0"/>
          </a:p>
        </p:txBody>
      </p:sp>
      <p:sp>
        <p:nvSpPr>
          <p:cNvPr id="3" name="Date Placeholder 2"/>
          <p:cNvSpPr>
            <a:spLocks noGrp="1"/>
          </p:cNvSpPr>
          <p:nvPr>
            <p:ph type="dt" sz="half" idx="10"/>
          </p:nvPr>
        </p:nvSpPr>
        <p:spPr/>
        <p:txBody>
          <a:bodyPr/>
          <a:lstStyle/>
          <a:p>
            <a:fld id="{C9852138-FCC6-44DD-9FFC-1C789392E7AA}" type="datetime1">
              <a:rPr lang="en-US" smtClean="0"/>
              <a:t>10/28/2022</a:t>
            </a:fld>
            <a:endParaRPr lang="en-US"/>
          </a:p>
        </p:txBody>
      </p:sp>
      <p:sp>
        <p:nvSpPr>
          <p:cNvPr id="4" name="Slide Number Placeholder 3"/>
          <p:cNvSpPr>
            <a:spLocks noGrp="1"/>
          </p:cNvSpPr>
          <p:nvPr>
            <p:ph type="sldNum" sz="quarter" idx="12"/>
          </p:nvPr>
        </p:nvSpPr>
        <p:spPr/>
        <p:txBody>
          <a:bodyPr/>
          <a:lstStyle/>
          <a:p>
            <a:fld id="{03206E70-9524-410D-AE9B-78D656EAA14D}" type="slidenum">
              <a:rPr lang="en-US" smtClean="0"/>
              <a:pPr/>
              <a:t>23</a:t>
            </a:fld>
            <a:endParaRPr lang="en-US"/>
          </a:p>
        </p:txBody>
      </p:sp>
      <p:sp>
        <p:nvSpPr>
          <p:cNvPr id="88" name="Rectangle 87"/>
          <p:cNvSpPr/>
          <p:nvPr/>
        </p:nvSpPr>
        <p:spPr>
          <a:xfrm>
            <a:off x="12344400" y="0"/>
            <a:ext cx="469900" cy="469900"/>
          </a:xfrm>
          <a:prstGeom prst="rect">
            <a:avLst/>
          </a:prstGeom>
          <a:solidFill>
            <a:srgbClr val="E7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9" name="Rectangle 88"/>
          <p:cNvSpPr/>
          <p:nvPr/>
        </p:nvSpPr>
        <p:spPr>
          <a:xfrm>
            <a:off x="12344400" y="649557"/>
            <a:ext cx="469900" cy="469900"/>
          </a:xfrm>
          <a:prstGeom prst="rect">
            <a:avLst/>
          </a:prstGeom>
          <a:solidFill>
            <a:srgbClr val="AFABA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0" name="Rectangle 89"/>
          <p:cNvSpPr/>
          <p:nvPr/>
        </p:nvSpPr>
        <p:spPr>
          <a:xfrm>
            <a:off x="12344400" y="1299114"/>
            <a:ext cx="469900" cy="469900"/>
          </a:xfrm>
          <a:prstGeom prst="rect">
            <a:avLst/>
          </a:prstGeom>
          <a:solidFill>
            <a:srgbClr val="76717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1" name="Rectangle 90"/>
          <p:cNvSpPr/>
          <p:nvPr/>
        </p:nvSpPr>
        <p:spPr>
          <a:xfrm>
            <a:off x="12966699" y="0"/>
            <a:ext cx="469900" cy="469900"/>
          </a:xfrm>
          <a:prstGeom prst="rect">
            <a:avLst/>
          </a:prstGeom>
          <a:solidFill>
            <a:srgbClr val="E8786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2" name="Rectangle 91"/>
          <p:cNvSpPr/>
          <p:nvPr/>
        </p:nvSpPr>
        <p:spPr>
          <a:xfrm>
            <a:off x="12966699" y="649557"/>
            <a:ext cx="469900" cy="469900"/>
          </a:xfrm>
          <a:prstGeom prst="rect">
            <a:avLst/>
          </a:prstGeom>
          <a:solidFill>
            <a:srgbClr val="E258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3" name="Rectangle 92"/>
          <p:cNvSpPr/>
          <p:nvPr/>
        </p:nvSpPr>
        <p:spPr>
          <a:xfrm>
            <a:off x="12966699" y="1299114"/>
            <a:ext cx="469900" cy="469900"/>
          </a:xfrm>
          <a:prstGeom prst="rect">
            <a:avLst/>
          </a:prstGeom>
          <a:solidFill>
            <a:srgbClr val="D63E2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4" name="Rectangle 93"/>
          <p:cNvSpPr/>
          <p:nvPr/>
        </p:nvSpPr>
        <p:spPr>
          <a:xfrm>
            <a:off x="13588998" y="0"/>
            <a:ext cx="469900" cy="469900"/>
          </a:xfrm>
          <a:prstGeom prst="rect">
            <a:avLst/>
          </a:prstGeom>
          <a:solidFill>
            <a:srgbClr val="8EDCD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5" name="Rectangle 94"/>
          <p:cNvSpPr/>
          <p:nvPr/>
        </p:nvSpPr>
        <p:spPr>
          <a:xfrm>
            <a:off x="13588998" y="649557"/>
            <a:ext cx="469900" cy="469900"/>
          </a:xfrm>
          <a:prstGeom prst="rect">
            <a:avLst/>
          </a:prstGeom>
          <a:solidFill>
            <a:srgbClr val="78D2D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6" name="Rectangle 95"/>
          <p:cNvSpPr/>
          <p:nvPr/>
        </p:nvSpPr>
        <p:spPr>
          <a:xfrm>
            <a:off x="13588998" y="1299114"/>
            <a:ext cx="469900" cy="469900"/>
          </a:xfrm>
          <a:prstGeom prst="rect">
            <a:avLst/>
          </a:prstGeom>
          <a:solidFill>
            <a:srgbClr val="4CC7C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7" name="Rectangle 96"/>
          <p:cNvSpPr/>
          <p:nvPr/>
        </p:nvSpPr>
        <p:spPr>
          <a:xfrm>
            <a:off x="14211297" y="0"/>
            <a:ext cx="469900" cy="469900"/>
          </a:xfrm>
          <a:prstGeom prst="rect">
            <a:avLst/>
          </a:prstGeom>
          <a:solidFill>
            <a:srgbClr val="55535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9" name="Rectangle 118"/>
          <p:cNvSpPr/>
          <p:nvPr/>
        </p:nvSpPr>
        <p:spPr>
          <a:xfrm>
            <a:off x="14211297" y="649557"/>
            <a:ext cx="469900" cy="469900"/>
          </a:xfrm>
          <a:prstGeom prst="rect">
            <a:avLst/>
          </a:prstGeom>
          <a:solidFill>
            <a:srgbClr val="3B393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0" name="Rectangle 119"/>
          <p:cNvSpPr/>
          <p:nvPr/>
        </p:nvSpPr>
        <p:spPr>
          <a:xfrm>
            <a:off x="14211297" y="1299114"/>
            <a:ext cx="469900" cy="469900"/>
          </a:xfrm>
          <a:prstGeom prst="rect">
            <a:avLst/>
          </a:prstGeom>
          <a:solidFill>
            <a:srgbClr val="25232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9" name="Freeform 33"/>
          <p:cNvSpPr>
            <a:spLocks/>
          </p:cNvSpPr>
          <p:nvPr/>
        </p:nvSpPr>
        <p:spPr bwMode="auto">
          <a:xfrm>
            <a:off x="3017603" y="2366336"/>
            <a:ext cx="170083" cy="160737"/>
          </a:xfrm>
          <a:custGeom>
            <a:avLst/>
            <a:gdLst>
              <a:gd name="T0" fmla="*/ 0 w 91"/>
              <a:gd name="T1" fmla="*/ 86 h 86"/>
              <a:gd name="T2" fmla="*/ 91 w 91"/>
              <a:gd name="T3" fmla="*/ 0 h 86"/>
              <a:gd name="T4" fmla="*/ 91 w 91"/>
              <a:gd name="T5" fmla="*/ 86 h 86"/>
              <a:gd name="T6" fmla="*/ 0 w 91"/>
              <a:gd name="T7" fmla="*/ 86 h 86"/>
            </a:gdLst>
            <a:ahLst/>
            <a:cxnLst>
              <a:cxn ang="0">
                <a:pos x="T0" y="T1"/>
              </a:cxn>
              <a:cxn ang="0">
                <a:pos x="T2" y="T3"/>
              </a:cxn>
              <a:cxn ang="0">
                <a:pos x="T4" y="T5"/>
              </a:cxn>
              <a:cxn ang="0">
                <a:pos x="T6" y="T7"/>
              </a:cxn>
            </a:cxnLst>
            <a:rect l="0" t="0" r="r" b="b"/>
            <a:pathLst>
              <a:path w="91" h="86">
                <a:moveTo>
                  <a:pt x="0" y="86"/>
                </a:moveTo>
                <a:lnTo>
                  <a:pt x="91" y="0"/>
                </a:lnTo>
                <a:lnTo>
                  <a:pt x="91" y="86"/>
                </a:lnTo>
                <a:lnTo>
                  <a:pt x="0" y="86"/>
                </a:lnTo>
                <a:close/>
              </a:path>
            </a:pathLst>
          </a:custGeom>
          <a:solidFill>
            <a:srgbClr val="514A45"/>
          </a:solidFill>
          <a:ln>
            <a:noFill/>
          </a:ln>
        </p:spPr>
        <p:txBody>
          <a:bodyPr vert="horz" wrap="square" lIns="91440" tIns="45720" rIns="91440" bIns="45720" numCol="1" anchor="t" anchorCtr="0" compatLnSpc="1">
            <a:prstTxWarp prst="textNoShape">
              <a:avLst/>
            </a:prstTxWarp>
          </a:bodyPr>
          <a:lstStyle/>
          <a:p>
            <a:endParaRPr lang="en-US"/>
          </a:p>
        </p:txBody>
      </p:sp>
      <p:sp>
        <p:nvSpPr>
          <p:cNvPr id="62" name="Freeform 6"/>
          <p:cNvSpPr>
            <a:spLocks/>
          </p:cNvSpPr>
          <p:nvPr/>
        </p:nvSpPr>
        <p:spPr bwMode="auto">
          <a:xfrm>
            <a:off x="2331668" y="4547492"/>
            <a:ext cx="1786795" cy="22428"/>
          </a:xfrm>
          <a:custGeom>
            <a:avLst/>
            <a:gdLst>
              <a:gd name="T0" fmla="*/ 956 w 956"/>
              <a:gd name="T1" fmla="*/ 0 h 12"/>
              <a:gd name="T2" fmla="*/ 0 w 956"/>
              <a:gd name="T3" fmla="*/ 0 h 12"/>
              <a:gd name="T4" fmla="*/ 0 w 956"/>
              <a:gd name="T5" fmla="*/ 12 h 12"/>
              <a:gd name="T6" fmla="*/ 956 w 956"/>
              <a:gd name="T7" fmla="*/ 12 h 12"/>
            </a:gdLst>
            <a:ahLst/>
            <a:cxnLst>
              <a:cxn ang="0">
                <a:pos x="T0" y="T1"/>
              </a:cxn>
              <a:cxn ang="0">
                <a:pos x="T2" y="T3"/>
              </a:cxn>
              <a:cxn ang="0">
                <a:pos x="T4" y="T5"/>
              </a:cxn>
              <a:cxn ang="0">
                <a:pos x="T6" y="T7"/>
              </a:cxn>
            </a:cxnLst>
            <a:rect l="0" t="0" r="r" b="b"/>
            <a:pathLst>
              <a:path w="956" h="12">
                <a:moveTo>
                  <a:pt x="956" y="0"/>
                </a:moveTo>
                <a:lnTo>
                  <a:pt x="0" y="0"/>
                </a:lnTo>
                <a:lnTo>
                  <a:pt x="0" y="12"/>
                </a:lnTo>
                <a:lnTo>
                  <a:pt x="956" y="1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 name="Oval 7"/>
          <p:cNvSpPr>
            <a:spLocks noChangeArrowheads="1"/>
          </p:cNvSpPr>
          <p:nvPr/>
        </p:nvSpPr>
        <p:spPr bwMode="auto">
          <a:xfrm>
            <a:off x="2694259" y="4526933"/>
            <a:ext cx="59809" cy="61679"/>
          </a:xfrm>
          <a:prstGeom prst="ellipse">
            <a:avLst/>
          </a:prstGeom>
          <a:solidFill>
            <a:srgbClr val="78D2D2"/>
          </a:solidFill>
          <a:ln>
            <a:noFill/>
          </a:ln>
        </p:spPr>
        <p:txBody>
          <a:bodyPr vert="horz" wrap="square" lIns="91440" tIns="45720" rIns="91440" bIns="45720" numCol="1" anchor="t" anchorCtr="0" compatLnSpc="1">
            <a:prstTxWarp prst="textNoShape">
              <a:avLst/>
            </a:prstTxWarp>
          </a:bodyPr>
          <a:lstStyle/>
          <a:p>
            <a:endParaRPr lang="en-US"/>
          </a:p>
        </p:txBody>
      </p:sp>
      <p:sp>
        <p:nvSpPr>
          <p:cNvPr id="64" name="Freeform 9"/>
          <p:cNvSpPr>
            <a:spLocks/>
          </p:cNvSpPr>
          <p:nvPr/>
        </p:nvSpPr>
        <p:spPr bwMode="auto">
          <a:xfrm>
            <a:off x="2331668" y="5627793"/>
            <a:ext cx="2334422" cy="22428"/>
          </a:xfrm>
          <a:custGeom>
            <a:avLst/>
            <a:gdLst>
              <a:gd name="T0" fmla="*/ 1249 w 1249"/>
              <a:gd name="T1" fmla="*/ 0 h 12"/>
              <a:gd name="T2" fmla="*/ 0 w 1249"/>
              <a:gd name="T3" fmla="*/ 0 h 12"/>
              <a:gd name="T4" fmla="*/ 0 w 1249"/>
              <a:gd name="T5" fmla="*/ 12 h 12"/>
              <a:gd name="T6" fmla="*/ 1249 w 1249"/>
              <a:gd name="T7" fmla="*/ 12 h 12"/>
            </a:gdLst>
            <a:ahLst/>
            <a:cxnLst>
              <a:cxn ang="0">
                <a:pos x="T0" y="T1"/>
              </a:cxn>
              <a:cxn ang="0">
                <a:pos x="T2" y="T3"/>
              </a:cxn>
              <a:cxn ang="0">
                <a:pos x="T4" y="T5"/>
              </a:cxn>
              <a:cxn ang="0">
                <a:pos x="T6" y="T7"/>
              </a:cxn>
            </a:cxnLst>
            <a:rect l="0" t="0" r="r" b="b"/>
            <a:pathLst>
              <a:path w="1249" h="12">
                <a:moveTo>
                  <a:pt x="1249" y="0"/>
                </a:moveTo>
                <a:lnTo>
                  <a:pt x="0" y="0"/>
                </a:lnTo>
                <a:lnTo>
                  <a:pt x="0" y="12"/>
                </a:lnTo>
                <a:lnTo>
                  <a:pt x="1249" y="1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 name="Oval 10"/>
          <p:cNvSpPr>
            <a:spLocks noChangeArrowheads="1"/>
          </p:cNvSpPr>
          <p:nvPr/>
        </p:nvSpPr>
        <p:spPr bwMode="auto">
          <a:xfrm>
            <a:off x="2694259" y="5607234"/>
            <a:ext cx="59809" cy="61679"/>
          </a:xfrm>
          <a:prstGeom prst="ellipse">
            <a:avLst/>
          </a:prstGeom>
          <a:solidFill>
            <a:srgbClr val="3B3939"/>
          </a:solidFill>
          <a:ln>
            <a:noFill/>
          </a:ln>
        </p:spPr>
        <p:txBody>
          <a:bodyPr vert="horz" wrap="square" lIns="91440" tIns="45720" rIns="91440" bIns="45720" numCol="1" anchor="t" anchorCtr="0" compatLnSpc="1">
            <a:prstTxWarp prst="textNoShape">
              <a:avLst/>
            </a:prstTxWarp>
          </a:bodyPr>
          <a:lstStyle/>
          <a:p>
            <a:endParaRPr lang="en-US"/>
          </a:p>
        </p:txBody>
      </p:sp>
      <p:sp>
        <p:nvSpPr>
          <p:cNvPr id="66" name="Freeform 12"/>
          <p:cNvSpPr>
            <a:spLocks/>
          </p:cNvSpPr>
          <p:nvPr/>
        </p:nvSpPr>
        <p:spPr bwMode="auto">
          <a:xfrm>
            <a:off x="2331669" y="2403713"/>
            <a:ext cx="955076" cy="22428"/>
          </a:xfrm>
          <a:custGeom>
            <a:avLst/>
            <a:gdLst>
              <a:gd name="T0" fmla="*/ 511 w 511"/>
              <a:gd name="T1" fmla="*/ 0 h 12"/>
              <a:gd name="T2" fmla="*/ 0 w 511"/>
              <a:gd name="T3" fmla="*/ 0 h 12"/>
              <a:gd name="T4" fmla="*/ 0 w 511"/>
              <a:gd name="T5" fmla="*/ 12 h 12"/>
              <a:gd name="T6" fmla="*/ 511 w 511"/>
              <a:gd name="T7" fmla="*/ 12 h 12"/>
            </a:gdLst>
            <a:ahLst/>
            <a:cxnLst>
              <a:cxn ang="0">
                <a:pos x="T0" y="T1"/>
              </a:cxn>
              <a:cxn ang="0">
                <a:pos x="T2" y="T3"/>
              </a:cxn>
              <a:cxn ang="0">
                <a:pos x="T4" y="T5"/>
              </a:cxn>
              <a:cxn ang="0">
                <a:pos x="T6" y="T7"/>
              </a:cxn>
            </a:cxnLst>
            <a:rect l="0" t="0" r="r" b="b"/>
            <a:pathLst>
              <a:path w="511" h="12">
                <a:moveTo>
                  <a:pt x="511" y="0"/>
                </a:moveTo>
                <a:lnTo>
                  <a:pt x="0" y="0"/>
                </a:lnTo>
                <a:lnTo>
                  <a:pt x="0" y="12"/>
                </a:lnTo>
                <a:lnTo>
                  <a:pt x="511" y="1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 name="Oval 13"/>
          <p:cNvSpPr>
            <a:spLocks noChangeArrowheads="1"/>
          </p:cNvSpPr>
          <p:nvPr/>
        </p:nvSpPr>
        <p:spPr bwMode="auto">
          <a:xfrm>
            <a:off x="2694259" y="2383153"/>
            <a:ext cx="59809" cy="61679"/>
          </a:xfrm>
          <a:prstGeom prst="ellipse">
            <a:avLst/>
          </a:prstGeom>
          <a:solidFill>
            <a:srgbClr val="E2583D"/>
          </a:solidFill>
          <a:ln>
            <a:noFill/>
          </a:ln>
        </p:spPr>
        <p:txBody>
          <a:bodyPr vert="horz" wrap="square" lIns="91440" tIns="45720" rIns="91440" bIns="45720" numCol="1" anchor="t" anchorCtr="0" compatLnSpc="1">
            <a:prstTxWarp prst="textNoShape">
              <a:avLst/>
            </a:prstTxWarp>
          </a:bodyPr>
          <a:lstStyle/>
          <a:p>
            <a:endParaRPr lang="en-US"/>
          </a:p>
        </p:txBody>
      </p:sp>
      <p:sp>
        <p:nvSpPr>
          <p:cNvPr id="68" name="Freeform 15"/>
          <p:cNvSpPr>
            <a:spLocks/>
          </p:cNvSpPr>
          <p:nvPr/>
        </p:nvSpPr>
        <p:spPr bwMode="auto">
          <a:xfrm>
            <a:off x="2331668" y="3467192"/>
            <a:ext cx="1293370" cy="22428"/>
          </a:xfrm>
          <a:custGeom>
            <a:avLst/>
            <a:gdLst>
              <a:gd name="T0" fmla="*/ 692 w 692"/>
              <a:gd name="T1" fmla="*/ 0 h 12"/>
              <a:gd name="T2" fmla="*/ 0 w 692"/>
              <a:gd name="T3" fmla="*/ 0 h 12"/>
              <a:gd name="T4" fmla="*/ 0 w 692"/>
              <a:gd name="T5" fmla="*/ 12 h 12"/>
              <a:gd name="T6" fmla="*/ 692 w 692"/>
              <a:gd name="T7" fmla="*/ 12 h 12"/>
            </a:gdLst>
            <a:ahLst/>
            <a:cxnLst>
              <a:cxn ang="0">
                <a:pos x="T0" y="T1"/>
              </a:cxn>
              <a:cxn ang="0">
                <a:pos x="T2" y="T3"/>
              </a:cxn>
              <a:cxn ang="0">
                <a:pos x="T4" y="T5"/>
              </a:cxn>
              <a:cxn ang="0">
                <a:pos x="T6" y="T7"/>
              </a:cxn>
            </a:cxnLst>
            <a:rect l="0" t="0" r="r" b="b"/>
            <a:pathLst>
              <a:path w="692" h="12">
                <a:moveTo>
                  <a:pt x="692" y="0"/>
                </a:moveTo>
                <a:lnTo>
                  <a:pt x="0" y="0"/>
                </a:lnTo>
                <a:lnTo>
                  <a:pt x="0" y="12"/>
                </a:lnTo>
                <a:lnTo>
                  <a:pt x="692" y="1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 name="Oval 16"/>
          <p:cNvSpPr>
            <a:spLocks noChangeArrowheads="1"/>
          </p:cNvSpPr>
          <p:nvPr/>
        </p:nvSpPr>
        <p:spPr bwMode="auto">
          <a:xfrm>
            <a:off x="2694259" y="3448501"/>
            <a:ext cx="59809" cy="59809"/>
          </a:xfrm>
          <a:prstGeom prst="ellipse">
            <a:avLst/>
          </a:prstGeom>
          <a:solidFill>
            <a:srgbClr val="AFABAB"/>
          </a:solidFill>
          <a:ln>
            <a:noFill/>
          </a:ln>
        </p:spPr>
        <p:txBody>
          <a:bodyPr vert="horz" wrap="square" lIns="91440" tIns="45720" rIns="91440" bIns="45720" numCol="1" anchor="t" anchorCtr="0" compatLnSpc="1">
            <a:prstTxWarp prst="textNoShape">
              <a:avLst/>
            </a:prstTxWarp>
          </a:bodyPr>
          <a:lstStyle/>
          <a:p>
            <a:endParaRPr lang="en-US"/>
          </a:p>
        </p:txBody>
      </p:sp>
      <p:sp>
        <p:nvSpPr>
          <p:cNvPr id="70" name="Freeform 17"/>
          <p:cNvSpPr>
            <a:spLocks/>
          </p:cNvSpPr>
          <p:nvPr/>
        </p:nvSpPr>
        <p:spPr bwMode="auto">
          <a:xfrm>
            <a:off x="4624970" y="5014751"/>
            <a:ext cx="5106196" cy="1067218"/>
          </a:xfrm>
          <a:custGeom>
            <a:avLst/>
            <a:gdLst>
              <a:gd name="T0" fmla="*/ 2732 w 2732"/>
              <a:gd name="T1" fmla="*/ 571 h 571"/>
              <a:gd name="T2" fmla="*/ 2732 w 2732"/>
              <a:gd name="T3" fmla="*/ 0 h 571"/>
              <a:gd name="T4" fmla="*/ 330 w 2732"/>
              <a:gd name="T5" fmla="*/ 0 h 571"/>
              <a:gd name="T6" fmla="*/ 0 w 2732"/>
              <a:gd name="T7" fmla="*/ 571 h 571"/>
              <a:gd name="T8" fmla="*/ 2732 w 2732"/>
              <a:gd name="T9" fmla="*/ 571 h 571"/>
            </a:gdLst>
            <a:ahLst/>
            <a:cxnLst>
              <a:cxn ang="0">
                <a:pos x="T0" y="T1"/>
              </a:cxn>
              <a:cxn ang="0">
                <a:pos x="T2" y="T3"/>
              </a:cxn>
              <a:cxn ang="0">
                <a:pos x="T4" y="T5"/>
              </a:cxn>
              <a:cxn ang="0">
                <a:pos x="T6" y="T7"/>
              </a:cxn>
              <a:cxn ang="0">
                <a:pos x="T8" y="T9"/>
              </a:cxn>
            </a:cxnLst>
            <a:rect l="0" t="0" r="r" b="b"/>
            <a:pathLst>
              <a:path w="2732" h="571">
                <a:moveTo>
                  <a:pt x="2732" y="571"/>
                </a:moveTo>
                <a:lnTo>
                  <a:pt x="2732" y="0"/>
                </a:lnTo>
                <a:lnTo>
                  <a:pt x="330" y="0"/>
                </a:lnTo>
                <a:lnTo>
                  <a:pt x="0" y="571"/>
                </a:lnTo>
                <a:lnTo>
                  <a:pt x="2732" y="571"/>
                </a:lnTo>
                <a:close/>
              </a:path>
            </a:pathLst>
          </a:custGeom>
          <a:solidFill>
            <a:srgbClr val="252323"/>
          </a:solidFill>
          <a:ln>
            <a:noFill/>
          </a:ln>
          <a:effectLst>
            <a:outerShdw blurRad="50800" dist="38100" dir="5400000" algn="t" rotWithShape="0">
              <a:prstClr val="black">
                <a:alpha val="40000"/>
              </a:prstClr>
            </a:outerShdw>
          </a:effectLst>
        </p:spPr>
        <p:txBody>
          <a:bodyPr vert="horz" wrap="square" lIns="91440" tIns="45720" rIns="91440" bIns="45720" numCol="1" anchor="t" anchorCtr="0" compatLnSpc="1">
            <a:prstTxWarp prst="textNoShape">
              <a:avLst/>
            </a:prstTxWarp>
          </a:bodyPr>
          <a:lstStyle/>
          <a:p>
            <a:endParaRPr lang="en-US"/>
          </a:p>
        </p:txBody>
      </p:sp>
      <p:sp>
        <p:nvSpPr>
          <p:cNvPr id="98" name="Freeform 18"/>
          <p:cNvSpPr>
            <a:spLocks/>
          </p:cNvSpPr>
          <p:nvPr/>
        </p:nvSpPr>
        <p:spPr bwMode="auto">
          <a:xfrm>
            <a:off x="4624970" y="5014751"/>
            <a:ext cx="5106196" cy="1067218"/>
          </a:xfrm>
          <a:custGeom>
            <a:avLst/>
            <a:gdLst>
              <a:gd name="T0" fmla="*/ 2732 w 2732"/>
              <a:gd name="T1" fmla="*/ 571 h 571"/>
              <a:gd name="T2" fmla="*/ 2732 w 2732"/>
              <a:gd name="T3" fmla="*/ 0 h 571"/>
              <a:gd name="T4" fmla="*/ 330 w 2732"/>
              <a:gd name="T5" fmla="*/ 0 h 571"/>
              <a:gd name="T6" fmla="*/ 0 w 2732"/>
              <a:gd name="T7" fmla="*/ 571 h 571"/>
              <a:gd name="T8" fmla="*/ 2732 w 2732"/>
              <a:gd name="T9" fmla="*/ 571 h 571"/>
            </a:gdLst>
            <a:ahLst/>
            <a:cxnLst>
              <a:cxn ang="0">
                <a:pos x="T0" y="T1"/>
              </a:cxn>
              <a:cxn ang="0">
                <a:pos x="T2" y="T3"/>
              </a:cxn>
              <a:cxn ang="0">
                <a:pos x="T4" y="T5"/>
              </a:cxn>
              <a:cxn ang="0">
                <a:pos x="T6" y="T7"/>
              </a:cxn>
              <a:cxn ang="0">
                <a:pos x="T8" y="T9"/>
              </a:cxn>
            </a:cxnLst>
            <a:rect l="0" t="0" r="r" b="b"/>
            <a:pathLst>
              <a:path w="2732" h="571">
                <a:moveTo>
                  <a:pt x="2732" y="571"/>
                </a:moveTo>
                <a:lnTo>
                  <a:pt x="2732" y="0"/>
                </a:lnTo>
                <a:lnTo>
                  <a:pt x="330" y="0"/>
                </a:lnTo>
                <a:lnTo>
                  <a:pt x="0" y="571"/>
                </a:lnTo>
                <a:lnTo>
                  <a:pt x="2732" y="57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9" name="Freeform 19"/>
          <p:cNvSpPr>
            <a:spLocks/>
          </p:cNvSpPr>
          <p:nvPr/>
        </p:nvSpPr>
        <p:spPr bwMode="auto">
          <a:xfrm>
            <a:off x="4624970" y="3949403"/>
            <a:ext cx="5106196" cy="1065348"/>
          </a:xfrm>
          <a:custGeom>
            <a:avLst/>
            <a:gdLst>
              <a:gd name="T0" fmla="*/ 2732 w 2732"/>
              <a:gd name="T1" fmla="*/ 570 h 570"/>
              <a:gd name="T2" fmla="*/ 2732 w 2732"/>
              <a:gd name="T3" fmla="*/ 0 h 570"/>
              <a:gd name="T4" fmla="*/ 330 w 2732"/>
              <a:gd name="T5" fmla="*/ 0 h 570"/>
              <a:gd name="T6" fmla="*/ 0 w 2732"/>
              <a:gd name="T7" fmla="*/ 570 h 570"/>
              <a:gd name="T8" fmla="*/ 2732 w 2732"/>
              <a:gd name="T9" fmla="*/ 570 h 570"/>
            </a:gdLst>
            <a:ahLst/>
            <a:cxnLst>
              <a:cxn ang="0">
                <a:pos x="T0" y="T1"/>
              </a:cxn>
              <a:cxn ang="0">
                <a:pos x="T2" y="T3"/>
              </a:cxn>
              <a:cxn ang="0">
                <a:pos x="T4" y="T5"/>
              </a:cxn>
              <a:cxn ang="0">
                <a:pos x="T6" y="T7"/>
              </a:cxn>
              <a:cxn ang="0">
                <a:pos x="T8" y="T9"/>
              </a:cxn>
            </a:cxnLst>
            <a:rect l="0" t="0" r="r" b="b"/>
            <a:pathLst>
              <a:path w="2732" h="570">
                <a:moveTo>
                  <a:pt x="2732" y="570"/>
                </a:moveTo>
                <a:lnTo>
                  <a:pt x="2732" y="0"/>
                </a:lnTo>
                <a:lnTo>
                  <a:pt x="330" y="0"/>
                </a:lnTo>
                <a:lnTo>
                  <a:pt x="0" y="570"/>
                </a:lnTo>
                <a:lnTo>
                  <a:pt x="2732" y="570"/>
                </a:lnTo>
                <a:close/>
              </a:path>
            </a:pathLst>
          </a:custGeom>
          <a:solidFill>
            <a:srgbClr val="4CC7C4"/>
          </a:solidFill>
          <a:ln>
            <a:noFill/>
          </a:ln>
          <a:effectLst>
            <a:outerShdw blurRad="50800" dist="38100" dir="5400000" algn="t" rotWithShape="0">
              <a:prstClr val="black">
                <a:alpha val="40000"/>
              </a:prstClr>
            </a:outerShdw>
          </a:effectLst>
        </p:spPr>
        <p:txBody>
          <a:bodyPr vert="horz" wrap="square" lIns="91440" tIns="45720" rIns="91440" bIns="45720" numCol="1" anchor="t" anchorCtr="0" compatLnSpc="1">
            <a:prstTxWarp prst="textNoShape">
              <a:avLst/>
            </a:prstTxWarp>
          </a:bodyPr>
          <a:lstStyle/>
          <a:p>
            <a:endParaRPr lang="en-US"/>
          </a:p>
        </p:txBody>
      </p:sp>
      <p:sp>
        <p:nvSpPr>
          <p:cNvPr id="100" name="Freeform 20"/>
          <p:cNvSpPr>
            <a:spLocks/>
          </p:cNvSpPr>
          <p:nvPr/>
        </p:nvSpPr>
        <p:spPr bwMode="auto">
          <a:xfrm>
            <a:off x="4624970" y="3949403"/>
            <a:ext cx="5106196" cy="1065348"/>
          </a:xfrm>
          <a:custGeom>
            <a:avLst/>
            <a:gdLst>
              <a:gd name="T0" fmla="*/ 2732 w 2732"/>
              <a:gd name="T1" fmla="*/ 570 h 570"/>
              <a:gd name="T2" fmla="*/ 2732 w 2732"/>
              <a:gd name="T3" fmla="*/ 0 h 570"/>
              <a:gd name="T4" fmla="*/ 330 w 2732"/>
              <a:gd name="T5" fmla="*/ 0 h 570"/>
              <a:gd name="T6" fmla="*/ 0 w 2732"/>
              <a:gd name="T7" fmla="*/ 570 h 570"/>
              <a:gd name="T8" fmla="*/ 2732 w 2732"/>
              <a:gd name="T9" fmla="*/ 570 h 570"/>
            </a:gdLst>
            <a:ahLst/>
            <a:cxnLst>
              <a:cxn ang="0">
                <a:pos x="T0" y="T1"/>
              </a:cxn>
              <a:cxn ang="0">
                <a:pos x="T2" y="T3"/>
              </a:cxn>
              <a:cxn ang="0">
                <a:pos x="T4" y="T5"/>
              </a:cxn>
              <a:cxn ang="0">
                <a:pos x="T6" y="T7"/>
              </a:cxn>
              <a:cxn ang="0">
                <a:pos x="T8" y="T9"/>
              </a:cxn>
            </a:cxnLst>
            <a:rect l="0" t="0" r="r" b="b"/>
            <a:pathLst>
              <a:path w="2732" h="570">
                <a:moveTo>
                  <a:pt x="2732" y="570"/>
                </a:moveTo>
                <a:lnTo>
                  <a:pt x="2732" y="0"/>
                </a:lnTo>
                <a:lnTo>
                  <a:pt x="330" y="0"/>
                </a:lnTo>
                <a:lnTo>
                  <a:pt x="0" y="570"/>
                </a:lnTo>
                <a:lnTo>
                  <a:pt x="2732" y="57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1" name="Freeform 21"/>
          <p:cNvSpPr>
            <a:spLocks/>
          </p:cNvSpPr>
          <p:nvPr/>
        </p:nvSpPr>
        <p:spPr bwMode="auto">
          <a:xfrm>
            <a:off x="4624970" y="2885923"/>
            <a:ext cx="5106196" cy="1063480"/>
          </a:xfrm>
          <a:custGeom>
            <a:avLst/>
            <a:gdLst>
              <a:gd name="T0" fmla="*/ 2732 w 2732"/>
              <a:gd name="T1" fmla="*/ 569 h 569"/>
              <a:gd name="T2" fmla="*/ 2732 w 2732"/>
              <a:gd name="T3" fmla="*/ 0 h 569"/>
              <a:gd name="T4" fmla="*/ 330 w 2732"/>
              <a:gd name="T5" fmla="*/ 0 h 569"/>
              <a:gd name="T6" fmla="*/ 0 w 2732"/>
              <a:gd name="T7" fmla="*/ 569 h 569"/>
              <a:gd name="T8" fmla="*/ 2732 w 2732"/>
              <a:gd name="T9" fmla="*/ 569 h 569"/>
            </a:gdLst>
            <a:ahLst/>
            <a:cxnLst>
              <a:cxn ang="0">
                <a:pos x="T0" y="T1"/>
              </a:cxn>
              <a:cxn ang="0">
                <a:pos x="T2" y="T3"/>
              </a:cxn>
              <a:cxn ang="0">
                <a:pos x="T4" y="T5"/>
              </a:cxn>
              <a:cxn ang="0">
                <a:pos x="T6" y="T7"/>
              </a:cxn>
              <a:cxn ang="0">
                <a:pos x="T8" y="T9"/>
              </a:cxn>
            </a:cxnLst>
            <a:rect l="0" t="0" r="r" b="b"/>
            <a:pathLst>
              <a:path w="2732" h="569">
                <a:moveTo>
                  <a:pt x="2732" y="569"/>
                </a:moveTo>
                <a:lnTo>
                  <a:pt x="2732" y="0"/>
                </a:lnTo>
                <a:lnTo>
                  <a:pt x="330" y="0"/>
                </a:lnTo>
                <a:lnTo>
                  <a:pt x="0" y="569"/>
                </a:lnTo>
                <a:lnTo>
                  <a:pt x="2732" y="569"/>
                </a:lnTo>
                <a:close/>
              </a:path>
            </a:pathLst>
          </a:custGeom>
          <a:solidFill>
            <a:srgbClr val="767171"/>
          </a:solidFill>
          <a:ln>
            <a:noFill/>
          </a:ln>
          <a:effectLst>
            <a:outerShdw blurRad="50800" dist="38100" dir="5400000" algn="t" rotWithShape="0">
              <a:prstClr val="black">
                <a:alpha val="40000"/>
              </a:prstClr>
            </a:outerShdw>
          </a:effectLst>
        </p:spPr>
        <p:txBody>
          <a:bodyPr vert="horz" wrap="square" lIns="91440" tIns="45720" rIns="91440" bIns="45720" numCol="1" anchor="t" anchorCtr="0" compatLnSpc="1">
            <a:prstTxWarp prst="textNoShape">
              <a:avLst/>
            </a:prstTxWarp>
          </a:bodyPr>
          <a:lstStyle/>
          <a:p>
            <a:endParaRPr lang="en-US"/>
          </a:p>
        </p:txBody>
      </p:sp>
      <p:sp>
        <p:nvSpPr>
          <p:cNvPr id="102" name="Freeform 22"/>
          <p:cNvSpPr>
            <a:spLocks/>
          </p:cNvSpPr>
          <p:nvPr/>
        </p:nvSpPr>
        <p:spPr bwMode="auto">
          <a:xfrm>
            <a:off x="4624970" y="2885923"/>
            <a:ext cx="5106196" cy="1063480"/>
          </a:xfrm>
          <a:custGeom>
            <a:avLst/>
            <a:gdLst>
              <a:gd name="T0" fmla="*/ 2732 w 2732"/>
              <a:gd name="T1" fmla="*/ 569 h 569"/>
              <a:gd name="T2" fmla="*/ 2732 w 2732"/>
              <a:gd name="T3" fmla="*/ 0 h 569"/>
              <a:gd name="T4" fmla="*/ 330 w 2732"/>
              <a:gd name="T5" fmla="*/ 0 h 569"/>
              <a:gd name="T6" fmla="*/ 0 w 2732"/>
              <a:gd name="T7" fmla="*/ 569 h 569"/>
              <a:gd name="T8" fmla="*/ 2732 w 2732"/>
              <a:gd name="T9" fmla="*/ 569 h 569"/>
            </a:gdLst>
            <a:ahLst/>
            <a:cxnLst>
              <a:cxn ang="0">
                <a:pos x="T0" y="T1"/>
              </a:cxn>
              <a:cxn ang="0">
                <a:pos x="T2" y="T3"/>
              </a:cxn>
              <a:cxn ang="0">
                <a:pos x="T4" y="T5"/>
              </a:cxn>
              <a:cxn ang="0">
                <a:pos x="T6" y="T7"/>
              </a:cxn>
              <a:cxn ang="0">
                <a:pos x="T8" y="T9"/>
              </a:cxn>
            </a:cxnLst>
            <a:rect l="0" t="0" r="r" b="b"/>
            <a:pathLst>
              <a:path w="2732" h="569">
                <a:moveTo>
                  <a:pt x="2732" y="569"/>
                </a:moveTo>
                <a:lnTo>
                  <a:pt x="2732" y="0"/>
                </a:lnTo>
                <a:lnTo>
                  <a:pt x="330" y="0"/>
                </a:lnTo>
                <a:lnTo>
                  <a:pt x="0" y="569"/>
                </a:lnTo>
                <a:lnTo>
                  <a:pt x="2732" y="56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3" name="Freeform 23"/>
          <p:cNvSpPr>
            <a:spLocks/>
          </p:cNvSpPr>
          <p:nvPr/>
        </p:nvSpPr>
        <p:spPr bwMode="auto">
          <a:xfrm>
            <a:off x="4624970" y="1818706"/>
            <a:ext cx="5106196" cy="1067218"/>
          </a:xfrm>
          <a:custGeom>
            <a:avLst/>
            <a:gdLst>
              <a:gd name="T0" fmla="*/ 2732 w 2732"/>
              <a:gd name="T1" fmla="*/ 571 h 571"/>
              <a:gd name="T2" fmla="*/ 2732 w 2732"/>
              <a:gd name="T3" fmla="*/ 0 h 571"/>
              <a:gd name="T4" fmla="*/ 330 w 2732"/>
              <a:gd name="T5" fmla="*/ 0 h 571"/>
              <a:gd name="T6" fmla="*/ 0 w 2732"/>
              <a:gd name="T7" fmla="*/ 571 h 571"/>
              <a:gd name="T8" fmla="*/ 2732 w 2732"/>
              <a:gd name="T9" fmla="*/ 571 h 571"/>
            </a:gdLst>
            <a:ahLst/>
            <a:cxnLst>
              <a:cxn ang="0">
                <a:pos x="T0" y="T1"/>
              </a:cxn>
              <a:cxn ang="0">
                <a:pos x="T2" y="T3"/>
              </a:cxn>
              <a:cxn ang="0">
                <a:pos x="T4" y="T5"/>
              </a:cxn>
              <a:cxn ang="0">
                <a:pos x="T6" y="T7"/>
              </a:cxn>
              <a:cxn ang="0">
                <a:pos x="T8" y="T9"/>
              </a:cxn>
            </a:cxnLst>
            <a:rect l="0" t="0" r="r" b="b"/>
            <a:pathLst>
              <a:path w="2732" h="571">
                <a:moveTo>
                  <a:pt x="2732" y="571"/>
                </a:moveTo>
                <a:lnTo>
                  <a:pt x="2732" y="0"/>
                </a:lnTo>
                <a:lnTo>
                  <a:pt x="330" y="0"/>
                </a:lnTo>
                <a:lnTo>
                  <a:pt x="0" y="571"/>
                </a:lnTo>
                <a:lnTo>
                  <a:pt x="2732" y="571"/>
                </a:lnTo>
                <a:close/>
              </a:path>
            </a:pathLst>
          </a:custGeom>
          <a:solidFill>
            <a:srgbClr val="D63E20"/>
          </a:solidFill>
          <a:ln>
            <a:noFill/>
          </a:ln>
          <a:effectLst>
            <a:outerShdw blurRad="50800" dist="38100" dir="5400000" algn="t" rotWithShape="0">
              <a:prstClr val="black">
                <a:alpha val="40000"/>
              </a:prstClr>
            </a:outerShdw>
          </a:effectLst>
        </p:spPr>
        <p:txBody>
          <a:bodyPr vert="horz" wrap="square" lIns="91440" tIns="45720" rIns="91440" bIns="45720" numCol="1" anchor="t" anchorCtr="0" compatLnSpc="1">
            <a:prstTxWarp prst="textNoShape">
              <a:avLst/>
            </a:prstTxWarp>
          </a:bodyPr>
          <a:lstStyle/>
          <a:p>
            <a:endParaRPr lang="en-US"/>
          </a:p>
        </p:txBody>
      </p:sp>
      <p:sp>
        <p:nvSpPr>
          <p:cNvPr id="104" name="Freeform 24"/>
          <p:cNvSpPr>
            <a:spLocks/>
          </p:cNvSpPr>
          <p:nvPr/>
        </p:nvSpPr>
        <p:spPr bwMode="auto">
          <a:xfrm>
            <a:off x="4624970" y="1818706"/>
            <a:ext cx="5106196" cy="1067218"/>
          </a:xfrm>
          <a:custGeom>
            <a:avLst/>
            <a:gdLst>
              <a:gd name="T0" fmla="*/ 2732 w 2732"/>
              <a:gd name="T1" fmla="*/ 571 h 571"/>
              <a:gd name="T2" fmla="*/ 2732 w 2732"/>
              <a:gd name="T3" fmla="*/ 0 h 571"/>
              <a:gd name="T4" fmla="*/ 330 w 2732"/>
              <a:gd name="T5" fmla="*/ 0 h 571"/>
              <a:gd name="T6" fmla="*/ 0 w 2732"/>
              <a:gd name="T7" fmla="*/ 571 h 571"/>
              <a:gd name="T8" fmla="*/ 2732 w 2732"/>
              <a:gd name="T9" fmla="*/ 571 h 571"/>
            </a:gdLst>
            <a:ahLst/>
            <a:cxnLst>
              <a:cxn ang="0">
                <a:pos x="T0" y="T1"/>
              </a:cxn>
              <a:cxn ang="0">
                <a:pos x="T2" y="T3"/>
              </a:cxn>
              <a:cxn ang="0">
                <a:pos x="T4" y="T5"/>
              </a:cxn>
              <a:cxn ang="0">
                <a:pos x="T6" y="T7"/>
              </a:cxn>
              <a:cxn ang="0">
                <a:pos x="T8" y="T9"/>
              </a:cxn>
            </a:cxnLst>
            <a:rect l="0" t="0" r="r" b="b"/>
            <a:pathLst>
              <a:path w="2732" h="571">
                <a:moveTo>
                  <a:pt x="2732" y="571"/>
                </a:moveTo>
                <a:lnTo>
                  <a:pt x="2732" y="0"/>
                </a:lnTo>
                <a:lnTo>
                  <a:pt x="330" y="0"/>
                </a:lnTo>
                <a:lnTo>
                  <a:pt x="0" y="571"/>
                </a:lnTo>
                <a:lnTo>
                  <a:pt x="2732" y="57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5" name="Freeform 32"/>
          <p:cNvSpPr>
            <a:spLocks/>
          </p:cNvSpPr>
          <p:nvPr/>
        </p:nvSpPr>
        <p:spPr bwMode="auto">
          <a:xfrm>
            <a:off x="2557821" y="1299114"/>
            <a:ext cx="1919497" cy="994325"/>
          </a:xfrm>
          <a:custGeom>
            <a:avLst/>
            <a:gdLst>
              <a:gd name="T0" fmla="*/ 790 w 1027"/>
              <a:gd name="T1" fmla="*/ 0 h 532"/>
              <a:gd name="T2" fmla="*/ 91 w 1027"/>
              <a:gd name="T3" fmla="*/ 0 h 532"/>
              <a:gd name="T4" fmla="*/ 0 w 1027"/>
              <a:gd name="T5" fmla="*/ 85 h 532"/>
              <a:gd name="T6" fmla="*/ 91 w 1027"/>
              <a:gd name="T7" fmla="*/ 85 h 532"/>
              <a:gd name="T8" fmla="*/ 292 w 1027"/>
              <a:gd name="T9" fmla="*/ 532 h 532"/>
              <a:gd name="T10" fmla="*/ 1027 w 1027"/>
              <a:gd name="T11" fmla="*/ 532 h 532"/>
              <a:gd name="T12" fmla="*/ 790 w 1027"/>
              <a:gd name="T13" fmla="*/ 0 h 532"/>
            </a:gdLst>
            <a:ahLst/>
            <a:cxnLst>
              <a:cxn ang="0">
                <a:pos x="T0" y="T1"/>
              </a:cxn>
              <a:cxn ang="0">
                <a:pos x="T2" y="T3"/>
              </a:cxn>
              <a:cxn ang="0">
                <a:pos x="T4" y="T5"/>
              </a:cxn>
              <a:cxn ang="0">
                <a:pos x="T6" y="T7"/>
              </a:cxn>
              <a:cxn ang="0">
                <a:pos x="T8" y="T9"/>
              </a:cxn>
              <a:cxn ang="0">
                <a:pos x="T10" y="T11"/>
              </a:cxn>
              <a:cxn ang="0">
                <a:pos x="T12" y="T13"/>
              </a:cxn>
            </a:cxnLst>
            <a:rect l="0" t="0" r="r" b="b"/>
            <a:pathLst>
              <a:path w="1027" h="532">
                <a:moveTo>
                  <a:pt x="790" y="0"/>
                </a:moveTo>
                <a:lnTo>
                  <a:pt x="91" y="0"/>
                </a:lnTo>
                <a:lnTo>
                  <a:pt x="0" y="85"/>
                </a:lnTo>
                <a:lnTo>
                  <a:pt x="91" y="85"/>
                </a:lnTo>
                <a:lnTo>
                  <a:pt x="292" y="532"/>
                </a:lnTo>
                <a:lnTo>
                  <a:pt x="1027" y="532"/>
                </a:lnTo>
                <a:lnTo>
                  <a:pt x="790" y="0"/>
                </a:lnTo>
                <a:close/>
              </a:path>
            </a:pathLst>
          </a:custGeom>
          <a:solidFill>
            <a:srgbClr val="514A45"/>
          </a:solidFill>
          <a:ln>
            <a:noFill/>
          </a:ln>
        </p:spPr>
        <p:txBody>
          <a:bodyPr vert="horz" wrap="square" lIns="91440" tIns="45720" rIns="91440" bIns="45720" numCol="1" anchor="t" anchorCtr="0" compatLnSpc="1">
            <a:prstTxWarp prst="textNoShape">
              <a:avLst/>
            </a:prstTxWarp>
          </a:bodyPr>
          <a:lstStyle/>
          <a:p>
            <a:endParaRPr lang="en-US"/>
          </a:p>
        </p:txBody>
      </p:sp>
      <p:sp>
        <p:nvSpPr>
          <p:cNvPr id="106" name="Freeform 33"/>
          <p:cNvSpPr>
            <a:spLocks/>
          </p:cNvSpPr>
          <p:nvPr/>
        </p:nvSpPr>
        <p:spPr bwMode="auto">
          <a:xfrm>
            <a:off x="3488599" y="3427944"/>
            <a:ext cx="170083" cy="160737"/>
          </a:xfrm>
          <a:custGeom>
            <a:avLst/>
            <a:gdLst>
              <a:gd name="T0" fmla="*/ 0 w 91"/>
              <a:gd name="T1" fmla="*/ 86 h 86"/>
              <a:gd name="T2" fmla="*/ 91 w 91"/>
              <a:gd name="T3" fmla="*/ 0 h 86"/>
              <a:gd name="T4" fmla="*/ 91 w 91"/>
              <a:gd name="T5" fmla="*/ 86 h 86"/>
              <a:gd name="T6" fmla="*/ 0 w 91"/>
              <a:gd name="T7" fmla="*/ 86 h 86"/>
            </a:gdLst>
            <a:ahLst/>
            <a:cxnLst>
              <a:cxn ang="0">
                <a:pos x="T0" y="T1"/>
              </a:cxn>
              <a:cxn ang="0">
                <a:pos x="T2" y="T3"/>
              </a:cxn>
              <a:cxn ang="0">
                <a:pos x="T4" y="T5"/>
              </a:cxn>
              <a:cxn ang="0">
                <a:pos x="T6" y="T7"/>
              </a:cxn>
            </a:cxnLst>
            <a:rect l="0" t="0" r="r" b="b"/>
            <a:pathLst>
              <a:path w="91" h="86">
                <a:moveTo>
                  <a:pt x="0" y="86"/>
                </a:moveTo>
                <a:lnTo>
                  <a:pt x="91" y="0"/>
                </a:lnTo>
                <a:lnTo>
                  <a:pt x="91" y="86"/>
                </a:lnTo>
                <a:lnTo>
                  <a:pt x="0" y="86"/>
                </a:lnTo>
                <a:close/>
              </a:path>
            </a:pathLst>
          </a:custGeom>
          <a:solidFill>
            <a:srgbClr val="514A45"/>
          </a:solidFill>
          <a:ln>
            <a:noFill/>
          </a:ln>
        </p:spPr>
        <p:txBody>
          <a:bodyPr vert="horz" wrap="square" lIns="91440" tIns="45720" rIns="91440" bIns="45720" numCol="1" anchor="t" anchorCtr="0" compatLnSpc="1">
            <a:prstTxWarp prst="textNoShape">
              <a:avLst/>
            </a:prstTxWarp>
          </a:bodyPr>
          <a:lstStyle/>
          <a:p>
            <a:endParaRPr lang="en-US"/>
          </a:p>
        </p:txBody>
      </p:sp>
      <p:sp>
        <p:nvSpPr>
          <p:cNvPr id="107" name="Freeform 34"/>
          <p:cNvSpPr>
            <a:spLocks/>
          </p:cNvSpPr>
          <p:nvPr/>
        </p:nvSpPr>
        <p:spPr bwMode="auto">
          <a:xfrm>
            <a:off x="3488599" y="3427944"/>
            <a:ext cx="170083" cy="160737"/>
          </a:xfrm>
          <a:custGeom>
            <a:avLst/>
            <a:gdLst>
              <a:gd name="T0" fmla="*/ 0 w 91"/>
              <a:gd name="T1" fmla="*/ 86 h 86"/>
              <a:gd name="T2" fmla="*/ 91 w 91"/>
              <a:gd name="T3" fmla="*/ 0 h 86"/>
              <a:gd name="T4" fmla="*/ 91 w 91"/>
              <a:gd name="T5" fmla="*/ 86 h 86"/>
              <a:gd name="T6" fmla="*/ 0 w 91"/>
              <a:gd name="T7" fmla="*/ 86 h 86"/>
            </a:gdLst>
            <a:ahLst/>
            <a:cxnLst>
              <a:cxn ang="0">
                <a:pos x="T0" y="T1"/>
              </a:cxn>
              <a:cxn ang="0">
                <a:pos x="T2" y="T3"/>
              </a:cxn>
              <a:cxn ang="0">
                <a:pos x="T4" y="T5"/>
              </a:cxn>
              <a:cxn ang="0">
                <a:pos x="T6" y="T7"/>
              </a:cxn>
            </a:cxnLst>
            <a:rect l="0" t="0" r="r" b="b"/>
            <a:pathLst>
              <a:path w="91" h="86">
                <a:moveTo>
                  <a:pt x="0" y="86"/>
                </a:moveTo>
                <a:lnTo>
                  <a:pt x="91" y="0"/>
                </a:lnTo>
                <a:lnTo>
                  <a:pt x="91" y="86"/>
                </a:lnTo>
                <a:lnTo>
                  <a:pt x="0" y="8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8" name="Freeform 35"/>
          <p:cNvSpPr>
            <a:spLocks/>
          </p:cNvSpPr>
          <p:nvPr/>
        </p:nvSpPr>
        <p:spPr bwMode="auto">
          <a:xfrm>
            <a:off x="3948381" y="4495159"/>
            <a:ext cx="170083" cy="158868"/>
          </a:xfrm>
          <a:custGeom>
            <a:avLst/>
            <a:gdLst>
              <a:gd name="T0" fmla="*/ 0 w 91"/>
              <a:gd name="T1" fmla="*/ 85 h 85"/>
              <a:gd name="T2" fmla="*/ 91 w 91"/>
              <a:gd name="T3" fmla="*/ 0 h 85"/>
              <a:gd name="T4" fmla="*/ 91 w 91"/>
              <a:gd name="T5" fmla="*/ 85 h 85"/>
              <a:gd name="T6" fmla="*/ 0 w 91"/>
              <a:gd name="T7" fmla="*/ 85 h 85"/>
            </a:gdLst>
            <a:ahLst/>
            <a:cxnLst>
              <a:cxn ang="0">
                <a:pos x="T0" y="T1"/>
              </a:cxn>
              <a:cxn ang="0">
                <a:pos x="T2" y="T3"/>
              </a:cxn>
              <a:cxn ang="0">
                <a:pos x="T4" y="T5"/>
              </a:cxn>
              <a:cxn ang="0">
                <a:pos x="T6" y="T7"/>
              </a:cxn>
            </a:cxnLst>
            <a:rect l="0" t="0" r="r" b="b"/>
            <a:pathLst>
              <a:path w="91" h="85">
                <a:moveTo>
                  <a:pt x="0" y="85"/>
                </a:moveTo>
                <a:lnTo>
                  <a:pt x="91" y="0"/>
                </a:lnTo>
                <a:lnTo>
                  <a:pt x="91" y="85"/>
                </a:lnTo>
                <a:lnTo>
                  <a:pt x="0" y="85"/>
                </a:lnTo>
                <a:close/>
              </a:path>
            </a:pathLst>
          </a:custGeom>
          <a:solidFill>
            <a:srgbClr val="514A45"/>
          </a:solidFill>
          <a:ln>
            <a:noFill/>
          </a:ln>
        </p:spPr>
        <p:txBody>
          <a:bodyPr vert="horz" wrap="square" lIns="91440" tIns="45720" rIns="91440" bIns="45720" numCol="1" anchor="t" anchorCtr="0" compatLnSpc="1">
            <a:prstTxWarp prst="textNoShape">
              <a:avLst/>
            </a:prstTxWarp>
          </a:bodyPr>
          <a:lstStyle/>
          <a:p>
            <a:endParaRPr lang="en-US"/>
          </a:p>
        </p:txBody>
      </p:sp>
      <p:sp>
        <p:nvSpPr>
          <p:cNvPr id="109" name="Freeform 36"/>
          <p:cNvSpPr>
            <a:spLocks/>
          </p:cNvSpPr>
          <p:nvPr/>
        </p:nvSpPr>
        <p:spPr bwMode="auto">
          <a:xfrm>
            <a:off x="3948381" y="4495159"/>
            <a:ext cx="170083" cy="158868"/>
          </a:xfrm>
          <a:custGeom>
            <a:avLst/>
            <a:gdLst>
              <a:gd name="T0" fmla="*/ 0 w 91"/>
              <a:gd name="T1" fmla="*/ 85 h 85"/>
              <a:gd name="T2" fmla="*/ 91 w 91"/>
              <a:gd name="T3" fmla="*/ 0 h 85"/>
              <a:gd name="T4" fmla="*/ 91 w 91"/>
              <a:gd name="T5" fmla="*/ 85 h 85"/>
              <a:gd name="T6" fmla="*/ 0 w 91"/>
              <a:gd name="T7" fmla="*/ 85 h 85"/>
            </a:gdLst>
            <a:ahLst/>
            <a:cxnLst>
              <a:cxn ang="0">
                <a:pos x="T0" y="T1"/>
              </a:cxn>
              <a:cxn ang="0">
                <a:pos x="T2" y="T3"/>
              </a:cxn>
              <a:cxn ang="0">
                <a:pos x="T4" y="T5"/>
              </a:cxn>
              <a:cxn ang="0">
                <a:pos x="T6" y="T7"/>
              </a:cxn>
            </a:cxnLst>
            <a:rect l="0" t="0" r="r" b="b"/>
            <a:pathLst>
              <a:path w="91" h="85">
                <a:moveTo>
                  <a:pt x="0" y="85"/>
                </a:moveTo>
                <a:lnTo>
                  <a:pt x="91" y="0"/>
                </a:lnTo>
                <a:lnTo>
                  <a:pt x="91" y="85"/>
                </a:lnTo>
                <a:lnTo>
                  <a:pt x="0" y="8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0" name="Freeform 37"/>
          <p:cNvSpPr>
            <a:spLocks/>
          </p:cNvSpPr>
          <p:nvPr/>
        </p:nvSpPr>
        <p:spPr bwMode="auto">
          <a:xfrm>
            <a:off x="2557821" y="1457982"/>
            <a:ext cx="4939853" cy="1063480"/>
          </a:xfrm>
          <a:custGeom>
            <a:avLst/>
            <a:gdLst>
              <a:gd name="T0" fmla="*/ 2300 w 2643"/>
              <a:gd name="T1" fmla="*/ 569 h 569"/>
              <a:gd name="T2" fmla="*/ 330 w 2643"/>
              <a:gd name="T3" fmla="*/ 569 h 569"/>
              <a:gd name="T4" fmla="*/ 0 w 2643"/>
              <a:gd name="T5" fmla="*/ 0 h 569"/>
              <a:gd name="T6" fmla="*/ 2643 w 2643"/>
              <a:gd name="T7" fmla="*/ 0 h 569"/>
              <a:gd name="T8" fmla="*/ 2300 w 2643"/>
              <a:gd name="T9" fmla="*/ 569 h 569"/>
            </a:gdLst>
            <a:ahLst/>
            <a:cxnLst>
              <a:cxn ang="0">
                <a:pos x="T0" y="T1"/>
              </a:cxn>
              <a:cxn ang="0">
                <a:pos x="T2" y="T3"/>
              </a:cxn>
              <a:cxn ang="0">
                <a:pos x="T4" y="T5"/>
              </a:cxn>
              <a:cxn ang="0">
                <a:pos x="T6" y="T7"/>
              </a:cxn>
              <a:cxn ang="0">
                <a:pos x="T8" y="T9"/>
              </a:cxn>
            </a:cxnLst>
            <a:rect l="0" t="0" r="r" b="b"/>
            <a:pathLst>
              <a:path w="2643" h="569">
                <a:moveTo>
                  <a:pt x="2300" y="569"/>
                </a:moveTo>
                <a:lnTo>
                  <a:pt x="330" y="569"/>
                </a:lnTo>
                <a:lnTo>
                  <a:pt x="0" y="0"/>
                </a:lnTo>
                <a:lnTo>
                  <a:pt x="2643" y="0"/>
                </a:lnTo>
                <a:lnTo>
                  <a:pt x="2300" y="569"/>
                </a:lnTo>
                <a:close/>
              </a:path>
            </a:pathLst>
          </a:custGeom>
          <a:solidFill>
            <a:srgbClr val="E2583D"/>
          </a:solidFill>
          <a:ln>
            <a:noFill/>
          </a:ln>
        </p:spPr>
        <p:txBody>
          <a:bodyPr vert="horz" wrap="square" lIns="91440" tIns="45720" rIns="91440" bIns="45720" numCol="1" anchor="t" anchorCtr="0" compatLnSpc="1">
            <a:prstTxWarp prst="textNoShape">
              <a:avLst/>
            </a:prstTxWarp>
          </a:bodyPr>
          <a:lstStyle/>
          <a:p>
            <a:endParaRPr lang="en-US"/>
          </a:p>
        </p:txBody>
      </p:sp>
      <p:sp>
        <p:nvSpPr>
          <p:cNvPr id="111" name="Freeform 38"/>
          <p:cNvSpPr>
            <a:spLocks/>
          </p:cNvSpPr>
          <p:nvPr/>
        </p:nvSpPr>
        <p:spPr bwMode="auto">
          <a:xfrm>
            <a:off x="2557821" y="1457982"/>
            <a:ext cx="4939853" cy="1063480"/>
          </a:xfrm>
          <a:custGeom>
            <a:avLst/>
            <a:gdLst>
              <a:gd name="T0" fmla="*/ 2300 w 2643"/>
              <a:gd name="T1" fmla="*/ 569 h 569"/>
              <a:gd name="T2" fmla="*/ 330 w 2643"/>
              <a:gd name="T3" fmla="*/ 569 h 569"/>
              <a:gd name="T4" fmla="*/ 0 w 2643"/>
              <a:gd name="T5" fmla="*/ 0 h 569"/>
              <a:gd name="T6" fmla="*/ 2643 w 2643"/>
              <a:gd name="T7" fmla="*/ 0 h 569"/>
              <a:gd name="T8" fmla="*/ 2300 w 2643"/>
              <a:gd name="T9" fmla="*/ 569 h 569"/>
            </a:gdLst>
            <a:ahLst/>
            <a:cxnLst>
              <a:cxn ang="0">
                <a:pos x="T0" y="T1"/>
              </a:cxn>
              <a:cxn ang="0">
                <a:pos x="T2" y="T3"/>
              </a:cxn>
              <a:cxn ang="0">
                <a:pos x="T4" y="T5"/>
              </a:cxn>
              <a:cxn ang="0">
                <a:pos x="T6" y="T7"/>
              </a:cxn>
              <a:cxn ang="0">
                <a:pos x="T8" y="T9"/>
              </a:cxn>
            </a:cxnLst>
            <a:rect l="0" t="0" r="r" b="b"/>
            <a:pathLst>
              <a:path w="2643" h="569">
                <a:moveTo>
                  <a:pt x="2300" y="569"/>
                </a:moveTo>
                <a:lnTo>
                  <a:pt x="330" y="569"/>
                </a:lnTo>
                <a:lnTo>
                  <a:pt x="0" y="0"/>
                </a:lnTo>
                <a:lnTo>
                  <a:pt x="2643" y="0"/>
                </a:lnTo>
                <a:lnTo>
                  <a:pt x="2300" y="56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2" name="Freeform 42"/>
          <p:cNvSpPr>
            <a:spLocks/>
          </p:cNvSpPr>
          <p:nvPr/>
        </p:nvSpPr>
        <p:spPr bwMode="auto">
          <a:xfrm>
            <a:off x="3017603" y="2521462"/>
            <a:ext cx="3855814" cy="1067218"/>
          </a:xfrm>
          <a:custGeom>
            <a:avLst/>
            <a:gdLst>
              <a:gd name="T0" fmla="*/ 1727 w 2063"/>
              <a:gd name="T1" fmla="*/ 571 h 571"/>
              <a:gd name="T2" fmla="*/ 330 w 2063"/>
              <a:gd name="T3" fmla="*/ 571 h 571"/>
              <a:gd name="T4" fmla="*/ 0 w 2063"/>
              <a:gd name="T5" fmla="*/ 0 h 571"/>
              <a:gd name="T6" fmla="*/ 2063 w 2063"/>
              <a:gd name="T7" fmla="*/ 0 h 571"/>
              <a:gd name="T8" fmla="*/ 1727 w 2063"/>
              <a:gd name="T9" fmla="*/ 571 h 571"/>
            </a:gdLst>
            <a:ahLst/>
            <a:cxnLst>
              <a:cxn ang="0">
                <a:pos x="T0" y="T1"/>
              </a:cxn>
              <a:cxn ang="0">
                <a:pos x="T2" y="T3"/>
              </a:cxn>
              <a:cxn ang="0">
                <a:pos x="T4" y="T5"/>
              </a:cxn>
              <a:cxn ang="0">
                <a:pos x="T6" y="T7"/>
              </a:cxn>
              <a:cxn ang="0">
                <a:pos x="T8" y="T9"/>
              </a:cxn>
            </a:cxnLst>
            <a:rect l="0" t="0" r="r" b="b"/>
            <a:pathLst>
              <a:path w="2063" h="571">
                <a:moveTo>
                  <a:pt x="1727" y="571"/>
                </a:moveTo>
                <a:lnTo>
                  <a:pt x="330" y="571"/>
                </a:lnTo>
                <a:lnTo>
                  <a:pt x="0" y="0"/>
                </a:lnTo>
                <a:lnTo>
                  <a:pt x="2063" y="0"/>
                </a:lnTo>
                <a:lnTo>
                  <a:pt x="1727" y="571"/>
                </a:lnTo>
                <a:close/>
              </a:path>
            </a:pathLst>
          </a:custGeom>
          <a:solidFill>
            <a:srgbClr val="AFABAB"/>
          </a:solidFill>
          <a:ln>
            <a:noFill/>
          </a:ln>
        </p:spPr>
        <p:txBody>
          <a:bodyPr vert="horz" wrap="square" lIns="91440" tIns="45720" rIns="91440" bIns="45720" numCol="1" anchor="t" anchorCtr="0" compatLnSpc="1">
            <a:prstTxWarp prst="textNoShape">
              <a:avLst/>
            </a:prstTxWarp>
          </a:bodyPr>
          <a:lstStyle/>
          <a:p>
            <a:endParaRPr lang="en-US"/>
          </a:p>
        </p:txBody>
      </p:sp>
      <p:sp>
        <p:nvSpPr>
          <p:cNvPr id="113" name="Freeform 43"/>
          <p:cNvSpPr>
            <a:spLocks/>
          </p:cNvSpPr>
          <p:nvPr/>
        </p:nvSpPr>
        <p:spPr bwMode="auto">
          <a:xfrm>
            <a:off x="3017603" y="2521462"/>
            <a:ext cx="3855814" cy="1067218"/>
          </a:xfrm>
          <a:custGeom>
            <a:avLst/>
            <a:gdLst>
              <a:gd name="T0" fmla="*/ 1727 w 2063"/>
              <a:gd name="T1" fmla="*/ 571 h 571"/>
              <a:gd name="T2" fmla="*/ 330 w 2063"/>
              <a:gd name="T3" fmla="*/ 571 h 571"/>
              <a:gd name="T4" fmla="*/ 0 w 2063"/>
              <a:gd name="T5" fmla="*/ 0 h 571"/>
              <a:gd name="T6" fmla="*/ 2063 w 2063"/>
              <a:gd name="T7" fmla="*/ 0 h 571"/>
              <a:gd name="T8" fmla="*/ 1727 w 2063"/>
              <a:gd name="T9" fmla="*/ 571 h 571"/>
            </a:gdLst>
            <a:ahLst/>
            <a:cxnLst>
              <a:cxn ang="0">
                <a:pos x="T0" y="T1"/>
              </a:cxn>
              <a:cxn ang="0">
                <a:pos x="T2" y="T3"/>
              </a:cxn>
              <a:cxn ang="0">
                <a:pos x="T4" y="T5"/>
              </a:cxn>
              <a:cxn ang="0">
                <a:pos x="T6" y="T7"/>
              </a:cxn>
              <a:cxn ang="0">
                <a:pos x="T8" y="T9"/>
              </a:cxn>
            </a:cxnLst>
            <a:rect l="0" t="0" r="r" b="b"/>
            <a:pathLst>
              <a:path w="2063" h="571">
                <a:moveTo>
                  <a:pt x="1727" y="571"/>
                </a:moveTo>
                <a:lnTo>
                  <a:pt x="330" y="571"/>
                </a:lnTo>
                <a:lnTo>
                  <a:pt x="0" y="0"/>
                </a:lnTo>
                <a:lnTo>
                  <a:pt x="2063" y="0"/>
                </a:lnTo>
                <a:lnTo>
                  <a:pt x="1727" y="57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4" name="Freeform 44"/>
          <p:cNvSpPr>
            <a:spLocks/>
          </p:cNvSpPr>
          <p:nvPr/>
        </p:nvSpPr>
        <p:spPr bwMode="auto">
          <a:xfrm>
            <a:off x="3488599" y="3588680"/>
            <a:ext cx="2764299" cy="1065348"/>
          </a:xfrm>
          <a:custGeom>
            <a:avLst/>
            <a:gdLst>
              <a:gd name="T0" fmla="*/ 1148 w 1479"/>
              <a:gd name="T1" fmla="*/ 570 h 570"/>
              <a:gd name="T2" fmla="*/ 325 w 1479"/>
              <a:gd name="T3" fmla="*/ 570 h 570"/>
              <a:gd name="T4" fmla="*/ 0 w 1479"/>
              <a:gd name="T5" fmla="*/ 0 h 570"/>
              <a:gd name="T6" fmla="*/ 1479 w 1479"/>
              <a:gd name="T7" fmla="*/ 0 h 570"/>
              <a:gd name="T8" fmla="*/ 1148 w 1479"/>
              <a:gd name="T9" fmla="*/ 570 h 570"/>
            </a:gdLst>
            <a:ahLst/>
            <a:cxnLst>
              <a:cxn ang="0">
                <a:pos x="T0" y="T1"/>
              </a:cxn>
              <a:cxn ang="0">
                <a:pos x="T2" y="T3"/>
              </a:cxn>
              <a:cxn ang="0">
                <a:pos x="T4" y="T5"/>
              </a:cxn>
              <a:cxn ang="0">
                <a:pos x="T6" y="T7"/>
              </a:cxn>
              <a:cxn ang="0">
                <a:pos x="T8" y="T9"/>
              </a:cxn>
            </a:cxnLst>
            <a:rect l="0" t="0" r="r" b="b"/>
            <a:pathLst>
              <a:path w="1479" h="570">
                <a:moveTo>
                  <a:pt x="1148" y="570"/>
                </a:moveTo>
                <a:lnTo>
                  <a:pt x="325" y="570"/>
                </a:lnTo>
                <a:lnTo>
                  <a:pt x="0" y="0"/>
                </a:lnTo>
                <a:lnTo>
                  <a:pt x="1479" y="0"/>
                </a:lnTo>
                <a:lnTo>
                  <a:pt x="1148" y="570"/>
                </a:lnTo>
                <a:close/>
              </a:path>
            </a:pathLst>
          </a:custGeom>
          <a:solidFill>
            <a:srgbClr val="78D2D2"/>
          </a:solidFill>
          <a:ln>
            <a:noFill/>
          </a:ln>
        </p:spPr>
        <p:txBody>
          <a:bodyPr vert="horz" wrap="square" lIns="91440" tIns="45720" rIns="91440" bIns="45720" numCol="1" anchor="t" anchorCtr="0" compatLnSpc="1">
            <a:prstTxWarp prst="textNoShape">
              <a:avLst/>
            </a:prstTxWarp>
          </a:bodyPr>
          <a:lstStyle/>
          <a:p>
            <a:endParaRPr lang="en-US"/>
          </a:p>
        </p:txBody>
      </p:sp>
      <p:sp>
        <p:nvSpPr>
          <p:cNvPr id="115" name="Freeform 45"/>
          <p:cNvSpPr>
            <a:spLocks/>
          </p:cNvSpPr>
          <p:nvPr/>
        </p:nvSpPr>
        <p:spPr bwMode="auto">
          <a:xfrm>
            <a:off x="3488599" y="3588680"/>
            <a:ext cx="2764299" cy="1065348"/>
          </a:xfrm>
          <a:custGeom>
            <a:avLst/>
            <a:gdLst>
              <a:gd name="T0" fmla="*/ 1148 w 1479"/>
              <a:gd name="T1" fmla="*/ 570 h 570"/>
              <a:gd name="T2" fmla="*/ 325 w 1479"/>
              <a:gd name="T3" fmla="*/ 570 h 570"/>
              <a:gd name="T4" fmla="*/ 0 w 1479"/>
              <a:gd name="T5" fmla="*/ 0 h 570"/>
              <a:gd name="T6" fmla="*/ 1479 w 1479"/>
              <a:gd name="T7" fmla="*/ 0 h 570"/>
              <a:gd name="T8" fmla="*/ 1148 w 1479"/>
              <a:gd name="T9" fmla="*/ 570 h 570"/>
            </a:gdLst>
            <a:ahLst/>
            <a:cxnLst>
              <a:cxn ang="0">
                <a:pos x="T0" y="T1"/>
              </a:cxn>
              <a:cxn ang="0">
                <a:pos x="T2" y="T3"/>
              </a:cxn>
              <a:cxn ang="0">
                <a:pos x="T4" y="T5"/>
              </a:cxn>
              <a:cxn ang="0">
                <a:pos x="T6" y="T7"/>
              </a:cxn>
              <a:cxn ang="0">
                <a:pos x="T8" y="T9"/>
              </a:cxn>
            </a:cxnLst>
            <a:rect l="0" t="0" r="r" b="b"/>
            <a:pathLst>
              <a:path w="1479" h="570">
                <a:moveTo>
                  <a:pt x="1148" y="570"/>
                </a:moveTo>
                <a:lnTo>
                  <a:pt x="325" y="570"/>
                </a:lnTo>
                <a:lnTo>
                  <a:pt x="0" y="0"/>
                </a:lnTo>
                <a:lnTo>
                  <a:pt x="1479" y="0"/>
                </a:lnTo>
                <a:lnTo>
                  <a:pt x="1148" y="57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6" name="Freeform 46"/>
          <p:cNvSpPr>
            <a:spLocks/>
          </p:cNvSpPr>
          <p:nvPr/>
        </p:nvSpPr>
        <p:spPr bwMode="auto">
          <a:xfrm>
            <a:off x="3948381" y="4654029"/>
            <a:ext cx="1685867" cy="1067218"/>
          </a:xfrm>
          <a:custGeom>
            <a:avLst/>
            <a:gdLst>
              <a:gd name="T0" fmla="*/ 330 w 902"/>
              <a:gd name="T1" fmla="*/ 571 h 571"/>
              <a:gd name="T2" fmla="*/ 0 w 902"/>
              <a:gd name="T3" fmla="*/ 0 h 571"/>
              <a:gd name="T4" fmla="*/ 902 w 902"/>
              <a:gd name="T5" fmla="*/ 0 h 571"/>
              <a:gd name="T6" fmla="*/ 572 w 902"/>
              <a:gd name="T7" fmla="*/ 571 h 571"/>
              <a:gd name="T8" fmla="*/ 330 w 902"/>
              <a:gd name="T9" fmla="*/ 571 h 571"/>
            </a:gdLst>
            <a:ahLst/>
            <a:cxnLst>
              <a:cxn ang="0">
                <a:pos x="T0" y="T1"/>
              </a:cxn>
              <a:cxn ang="0">
                <a:pos x="T2" y="T3"/>
              </a:cxn>
              <a:cxn ang="0">
                <a:pos x="T4" y="T5"/>
              </a:cxn>
              <a:cxn ang="0">
                <a:pos x="T6" y="T7"/>
              </a:cxn>
              <a:cxn ang="0">
                <a:pos x="T8" y="T9"/>
              </a:cxn>
            </a:cxnLst>
            <a:rect l="0" t="0" r="r" b="b"/>
            <a:pathLst>
              <a:path w="902" h="571">
                <a:moveTo>
                  <a:pt x="330" y="571"/>
                </a:moveTo>
                <a:lnTo>
                  <a:pt x="0" y="0"/>
                </a:lnTo>
                <a:lnTo>
                  <a:pt x="902" y="0"/>
                </a:lnTo>
                <a:lnTo>
                  <a:pt x="572" y="571"/>
                </a:lnTo>
                <a:lnTo>
                  <a:pt x="330" y="571"/>
                </a:lnTo>
                <a:close/>
              </a:path>
            </a:pathLst>
          </a:custGeom>
          <a:solidFill>
            <a:srgbClr val="3B3939"/>
          </a:solidFill>
          <a:ln>
            <a:noFill/>
          </a:ln>
        </p:spPr>
        <p:txBody>
          <a:bodyPr vert="horz" wrap="square" lIns="91440" tIns="45720" rIns="91440" bIns="45720" numCol="1" anchor="t" anchorCtr="0" compatLnSpc="1">
            <a:prstTxWarp prst="textNoShape">
              <a:avLst/>
            </a:prstTxWarp>
          </a:bodyPr>
          <a:lstStyle/>
          <a:p>
            <a:endParaRPr lang="en-US"/>
          </a:p>
        </p:txBody>
      </p:sp>
      <p:sp>
        <p:nvSpPr>
          <p:cNvPr id="117" name="Freeform 47"/>
          <p:cNvSpPr>
            <a:spLocks/>
          </p:cNvSpPr>
          <p:nvPr/>
        </p:nvSpPr>
        <p:spPr bwMode="auto">
          <a:xfrm>
            <a:off x="3948381" y="4654029"/>
            <a:ext cx="1685867" cy="1067218"/>
          </a:xfrm>
          <a:custGeom>
            <a:avLst/>
            <a:gdLst>
              <a:gd name="T0" fmla="*/ 330 w 902"/>
              <a:gd name="T1" fmla="*/ 571 h 571"/>
              <a:gd name="T2" fmla="*/ 0 w 902"/>
              <a:gd name="T3" fmla="*/ 0 h 571"/>
              <a:gd name="T4" fmla="*/ 902 w 902"/>
              <a:gd name="T5" fmla="*/ 0 h 571"/>
              <a:gd name="T6" fmla="*/ 572 w 902"/>
              <a:gd name="T7" fmla="*/ 571 h 571"/>
              <a:gd name="T8" fmla="*/ 330 w 902"/>
              <a:gd name="T9" fmla="*/ 571 h 571"/>
            </a:gdLst>
            <a:ahLst/>
            <a:cxnLst>
              <a:cxn ang="0">
                <a:pos x="T0" y="T1"/>
              </a:cxn>
              <a:cxn ang="0">
                <a:pos x="T2" y="T3"/>
              </a:cxn>
              <a:cxn ang="0">
                <a:pos x="T4" y="T5"/>
              </a:cxn>
              <a:cxn ang="0">
                <a:pos x="T6" y="T7"/>
              </a:cxn>
              <a:cxn ang="0">
                <a:pos x="T8" y="T9"/>
              </a:cxn>
            </a:cxnLst>
            <a:rect l="0" t="0" r="r" b="b"/>
            <a:pathLst>
              <a:path w="902" h="571">
                <a:moveTo>
                  <a:pt x="330" y="571"/>
                </a:moveTo>
                <a:lnTo>
                  <a:pt x="0" y="0"/>
                </a:lnTo>
                <a:lnTo>
                  <a:pt x="902" y="0"/>
                </a:lnTo>
                <a:lnTo>
                  <a:pt x="572" y="571"/>
                </a:lnTo>
                <a:lnTo>
                  <a:pt x="330" y="57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8" name="Freeform 48"/>
          <p:cNvSpPr>
            <a:spLocks/>
          </p:cNvSpPr>
          <p:nvPr/>
        </p:nvSpPr>
        <p:spPr bwMode="auto">
          <a:xfrm>
            <a:off x="7280866" y="1672922"/>
            <a:ext cx="87845" cy="145785"/>
          </a:xfrm>
          <a:custGeom>
            <a:avLst/>
            <a:gdLst>
              <a:gd name="T0" fmla="*/ 47 w 47"/>
              <a:gd name="T1" fmla="*/ 0 h 78"/>
              <a:gd name="T2" fmla="*/ 0 w 47"/>
              <a:gd name="T3" fmla="*/ 78 h 78"/>
              <a:gd name="T4" fmla="*/ 1 w 47"/>
              <a:gd name="T5" fmla="*/ 78 h 78"/>
              <a:gd name="T6" fmla="*/ 47 w 47"/>
              <a:gd name="T7" fmla="*/ 0 h 78"/>
            </a:gdLst>
            <a:ahLst/>
            <a:cxnLst>
              <a:cxn ang="0">
                <a:pos x="T0" y="T1"/>
              </a:cxn>
              <a:cxn ang="0">
                <a:pos x="T2" y="T3"/>
              </a:cxn>
              <a:cxn ang="0">
                <a:pos x="T4" y="T5"/>
              </a:cxn>
              <a:cxn ang="0">
                <a:pos x="T6" y="T7"/>
              </a:cxn>
            </a:cxnLst>
            <a:rect l="0" t="0" r="r" b="b"/>
            <a:pathLst>
              <a:path w="47" h="78">
                <a:moveTo>
                  <a:pt x="47" y="0"/>
                </a:moveTo>
                <a:lnTo>
                  <a:pt x="0" y="78"/>
                </a:lnTo>
                <a:lnTo>
                  <a:pt x="1" y="78"/>
                </a:lnTo>
                <a:lnTo>
                  <a:pt x="47" y="0"/>
                </a:lnTo>
                <a:close/>
              </a:path>
            </a:pathLst>
          </a:custGeom>
          <a:solidFill>
            <a:srgbClr val="D1D3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1" name="Freeform 49"/>
          <p:cNvSpPr>
            <a:spLocks/>
          </p:cNvSpPr>
          <p:nvPr/>
        </p:nvSpPr>
        <p:spPr bwMode="auto">
          <a:xfrm>
            <a:off x="7280866" y="1672922"/>
            <a:ext cx="87845" cy="145785"/>
          </a:xfrm>
          <a:custGeom>
            <a:avLst/>
            <a:gdLst>
              <a:gd name="T0" fmla="*/ 47 w 47"/>
              <a:gd name="T1" fmla="*/ 0 h 78"/>
              <a:gd name="T2" fmla="*/ 0 w 47"/>
              <a:gd name="T3" fmla="*/ 78 h 78"/>
              <a:gd name="T4" fmla="*/ 1 w 47"/>
              <a:gd name="T5" fmla="*/ 78 h 78"/>
              <a:gd name="T6" fmla="*/ 47 w 47"/>
              <a:gd name="T7" fmla="*/ 0 h 78"/>
            </a:gdLst>
            <a:ahLst/>
            <a:cxnLst>
              <a:cxn ang="0">
                <a:pos x="T0" y="T1"/>
              </a:cxn>
              <a:cxn ang="0">
                <a:pos x="T2" y="T3"/>
              </a:cxn>
              <a:cxn ang="0">
                <a:pos x="T4" y="T5"/>
              </a:cxn>
              <a:cxn ang="0">
                <a:pos x="T6" y="T7"/>
              </a:cxn>
            </a:cxnLst>
            <a:rect l="0" t="0" r="r" b="b"/>
            <a:pathLst>
              <a:path w="47" h="78">
                <a:moveTo>
                  <a:pt x="47" y="0"/>
                </a:moveTo>
                <a:lnTo>
                  <a:pt x="0" y="78"/>
                </a:lnTo>
                <a:lnTo>
                  <a:pt x="1" y="78"/>
                </a:lnTo>
                <a:lnTo>
                  <a:pt x="4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2" name="Freeform 50"/>
          <p:cNvSpPr>
            <a:spLocks/>
          </p:cNvSpPr>
          <p:nvPr/>
        </p:nvSpPr>
        <p:spPr bwMode="auto">
          <a:xfrm>
            <a:off x="6856594" y="1958883"/>
            <a:ext cx="338295" cy="562579"/>
          </a:xfrm>
          <a:custGeom>
            <a:avLst/>
            <a:gdLst>
              <a:gd name="T0" fmla="*/ 123 w 123"/>
              <a:gd name="T1" fmla="*/ 0 h 204"/>
              <a:gd name="T2" fmla="*/ 0 w 123"/>
              <a:gd name="T3" fmla="*/ 204 h 204"/>
              <a:gd name="T4" fmla="*/ 2 w 123"/>
              <a:gd name="T5" fmla="*/ 204 h 204"/>
              <a:gd name="T6" fmla="*/ 0 w 123"/>
              <a:gd name="T7" fmla="*/ 204 h 204"/>
              <a:gd name="T8" fmla="*/ 4 w 123"/>
              <a:gd name="T9" fmla="*/ 204 h 204"/>
              <a:gd name="T10" fmla="*/ 5 w 123"/>
              <a:gd name="T11" fmla="*/ 204 h 204"/>
              <a:gd name="T12" fmla="*/ 123 w 123"/>
              <a:gd name="T13" fmla="*/ 0 h 204"/>
            </a:gdLst>
            <a:ahLst/>
            <a:cxnLst>
              <a:cxn ang="0">
                <a:pos x="T0" y="T1"/>
              </a:cxn>
              <a:cxn ang="0">
                <a:pos x="T2" y="T3"/>
              </a:cxn>
              <a:cxn ang="0">
                <a:pos x="T4" y="T5"/>
              </a:cxn>
              <a:cxn ang="0">
                <a:pos x="T6" y="T7"/>
              </a:cxn>
              <a:cxn ang="0">
                <a:pos x="T8" y="T9"/>
              </a:cxn>
              <a:cxn ang="0">
                <a:pos x="T10" y="T11"/>
              </a:cxn>
              <a:cxn ang="0">
                <a:pos x="T12" y="T13"/>
              </a:cxn>
            </a:cxnLst>
            <a:rect l="0" t="0" r="r" b="b"/>
            <a:pathLst>
              <a:path w="123" h="204">
                <a:moveTo>
                  <a:pt x="123" y="0"/>
                </a:moveTo>
                <a:cubicBezTo>
                  <a:pt x="0" y="204"/>
                  <a:pt x="0" y="204"/>
                  <a:pt x="0" y="204"/>
                </a:cubicBezTo>
                <a:cubicBezTo>
                  <a:pt x="1" y="204"/>
                  <a:pt x="1" y="204"/>
                  <a:pt x="2" y="204"/>
                </a:cubicBezTo>
                <a:cubicBezTo>
                  <a:pt x="0" y="204"/>
                  <a:pt x="0" y="204"/>
                  <a:pt x="0" y="204"/>
                </a:cubicBezTo>
                <a:cubicBezTo>
                  <a:pt x="4" y="204"/>
                  <a:pt x="4" y="204"/>
                  <a:pt x="4" y="204"/>
                </a:cubicBezTo>
                <a:cubicBezTo>
                  <a:pt x="5" y="204"/>
                  <a:pt x="5" y="204"/>
                  <a:pt x="5" y="204"/>
                </a:cubicBezTo>
                <a:cubicBezTo>
                  <a:pt x="123" y="0"/>
                  <a:pt x="123" y="0"/>
                  <a:pt x="123" y="0"/>
                </a:cubicBezTo>
              </a:path>
            </a:pathLst>
          </a:custGeom>
          <a:solidFill>
            <a:srgbClr val="FFCB7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3" name="Freeform 51"/>
          <p:cNvSpPr>
            <a:spLocks/>
          </p:cNvSpPr>
          <p:nvPr/>
        </p:nvSpPr>
        <p:spPr bwMode="auto">
          <a:xfrm>
            <a:off x="6245421" y="2915828"/>
            <a:ext cx="396235" cy="672852"/>
          </a:xfrm>
          <a:custGeom>
            <a:avLst/>
            <a:gdLst>
              <a:gd name="T0" fmla="*/ 212 w 212"/>
              <a:gd name="T1" fmla="*/ 0 h 360"/>
              <a:gd name="T2" fmla="*/ 0 w 212"/>
              <a:gd name="T3" fmla="*/ 360 h 360"/>
              <a:gd name="T4" fmla="*/ 3 w 212"/>
              <a:gd name="T5" fmla="*/ 360 h 360"/>
              <a:gd name="T6" fmla="*/ 212 w 212"/>
              <a:gd name="T7" fmla="*/ 0 h 360"/>
            </a:gdLst>
            <a:ahLst/>
            <a:cxnLst>
              <a:cxn ang="0">
                <a:pos x="T0" y="T1"/>
              </a:cxn>
              <a:cxn ang="0">
                <a:pos x="T2" y="T3"/>
              </a:cxn>
              <a:cxn ang="0">
                <a:pos x="T4" y="T5"/>
              </a:cxn>
              <a:cxn ang="0">
                <a:pos x="T6" y="T7"/>
              </a:cxn>
            </a:cxnLst>
            <a:rect l="0" t="0" r="r" b="b"/>
            <a:pathLst>
              <a:path w="212" h="360">
                <a:moveTo>
                  <a:pt x="212" y="0"/>
                </a:moveTo>
                <a:lnTo>
                  <a:pt x="0" y="360"/>
                </a:lnTo>
                <a:lnTo>
                  <a:pt x="3" y="360"/>
                </a:lnTo>
                <a:lnTo>
                  <a:pt x="212" y="0"/>
                </a:lnTo>
                <a:close/>
              </a:path>
            </a:pathLst>
          </a:custGeom>
          <a:solidFill>
            <a:srgbClr val="DF536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4" name="Freeform 52"/>
          <p:cNvSpPr>
            <a:spLocks/>
          </p:cNvSpPr>
          <p:nvPr/>
        </p:nvSpPr>
        <p:spPr bwMode="auto">
          <a:xfrm>
            <a:off x="6245421" y="2915828"/>
            <a:ext cx="396235" cy="672852"/>
          </a:xfrm>
          <a:custGeom>
            <a:avLst/>
            <a:gdLst>
              <a:gd name="T0" fmla="*/ 212 w 212"/>
              <a:gd name="T1" fmla="*/ 0 h 360"/>
              <a:gd name="T2" fmla="*/ 0 w 212"/>
              <a:gd name="T3" fmla="*/ 360 h 360"/>
              <a:gd name="T4" fmla="*/ 3 w 212"/>
              <a:gd name="T5" fmla="*/ 360 h 360"/>
              <a:gd name="T6" fmla="*/ 212 w 212"/>
              <a:gd name="T7" fmla="*/ 0 h 360"/>
            </a:gdLst>
            <a:ahLst/>
            <a:cxnLst>
              <a:cxn ang="0">
                <a:pos x="T0" y="T1"/>
              </a:cxn>
              <a:cxn ang="0">
                <a:pos x="T2" y="T3"/>
              </a:cxn>
              <a:cxn ang="0">
                <a:pos x="T4" y="T5"/>
              </a:cxn>
              <a:cxn ang="0">
                <a:pos x="T6" y="T7"/>
              </a:cxn>
            </a:cxnLst>
            <a:rect l="0" t="0" r="r" b="b"/>
            <a:pathLst>
              <a:path w="212" h="360">
                <a:moveTo>
                  <a:pt x="212" y="0"/>
                </a:moveTo>
                <a:lnTo>
                  <a:pt x="0" y="360"/>
                </a:lnTo>
                <a:lnTo>
                  <a:pt x="3" y="360"/>
                </a:lnTo>
                <a:lnTo>
                  <a:pt x="2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5" name="Freeform 73"/>
          <p:cNvSpPr>
            <a:spLocks noEditPoints="1"/>
          </p:cNvSpPr>
          <p:nvPr/>
        </p:nvSpPr>
        <p:spPr bwMode="auto">
          <a:xfrm>
            <a:off x="4623101" y="3949402"/>
            <a:ext cx="1704557" cy="2132567"/>
          </a:xfrm>
          <a:custGeom>
            <a:avLst/>
            <a:gdLst>
              <a:gd name="T0" fmla="*/ 4 w 912"/>
              <a:gd name="T1" fmla="*/ 1138 h 1141"/>
              <a:gd name="T2" fmla="*/ 0 w 912"/>
              <a:gd name="T3" fmla="*/ 1141 h 1141"/>
              <a:gd name="T4" fmla="*/ 1 w 912"/>
              <a:gd name="T5" fmla="*/ 1141 h 1141"/>
              <a:gd name="T6" fmla="*/ 4 w 912"/>
              <a:gd name="T7" fmla="*/ 1138 h 1141"/>
              <a:gd name="T8" fmla="*/ 588 w 912"/>
              <a:gd name="T9" fmla="*/ 570 h 1141"/>
              <a:gd name="T10" fmla="*/ 429 w 912"/>
              <a:gd name="T11" fmla="*/ 570 h 1141"/>
              <a:gd name="T12" fmla="*/ 429 w 912"/>
              <a:gd name="T13" fmla="*/ 570 h 1141"/>
              <a:gd name="T14" fmla="*/ 588 w 912"/>
              <a:gd name="T15" fmla="*/ 570 h 1141"/>
              <a:gd name="T16" fmla="*/ 588 w 912"/>
              <a:gd name="T17" fmla="*/ 570 h 1141"/>
              <a:gd name="T18" fmla="*/ 912 w 912"/>
              <a:gd name="T19" fmla="*/ 0 h 1141"/>
              <a:gd name="T20" fmla="*/ 760 w 912"/>
              <a:gd name="T21" fmla="*/ 0 h 1141"/>
              <a:gd name="T22" fmla="*/ 760 w 912"/>
              <a:gd name="T23" fmla="*/ 0 h 1141"/>
              <a:gd name="T24" fmla="*/ 912 w 912"/>
              <a:gd name="T25" fmla="*/ 0 h 1141"/>
              <a:gd name="T26" fmla="*/ 912 w 912"/>
              <a:gd name="T27" fmla="*/ 0 h 1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12" h="1141">
                <a:moveTo>
                  <a:pt x="4" y="1138"/>
                </a:moveTo>
                <a:lnTo>
                  <a:pt x="0" y="1141"/>
                </a:lnTo>
                <a:lnTo>
                  <a:pt x="1" y="1141"/>
                </a:lnTo>
                <a:lnTo>
                  <a:pt x="4" y="1138"/>
                </a:lnTo>
                <a:close/>
                <a:moveTo>
                  <a:pt x="588" y="570"/>
                </a:moveTo>
                <a:lnTo>
                  <a:pt x="429" y="570"/>
                </a:lnTo>
                <a:lnTo>
                  <a:pt x="429" y="570"/>
                </a:lnTo>
                <a:lnTo>
                  <a:pt x="588" y="570"/>
                </a:lnTo>
                <a:lnTo>
                  <a:pt x="588" y="570"/>
                </a:lnTo>
                <a:close/>
                <a:moveTo>
                  <a:pt x="912" y="0"/>
                </a:moveTo>
                <a:lnTo>
                  <a:pt x="760" y="0"/>
                </a:lnTo>
                <a:lnTo>
                  <a:pt x="760" y="0"/>
                </a:lnTo>
                <a:lnTo>
                  <a:pt x="912" y="0"/>
                </a:lnTo>
                <a:lnTo>
                  <a:pt x="912" y="0"/>
                </a:lnTo>
                <a:close/>
              </a:path>
            </a:pathLst>
          </a:custGeom>
          <a:solidFill>
            <a:srgbClr val="D1D3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6" name="Freeform 74"/>
          <p:cNvSpPr>
            <a:spLocks noEditPoints="1"/>
          </p:cNvSpPr>
          <p:nvPr/>
        </p:nvSpPr>
        <p:spPr bwMode="auto">
          <a:xfrm>
            <a:off x="4623101" y="3949402"/>
            <a:ext cx="1704557" cy="2132567"/>
          </a:xfrm>
          <a:custGeom>
            <a:avLst/>
            <a:gdLst>
              <a:gd name="T0" fmla="*/ 4 w 912"/>
              <a:gd name="T1" fmla="*/ 1138 h 1141"/>
              <a:gd name="T2" fmla="*/ 0 w 912"/>
              <a:gd name="T3" fmla="*/ 1141 h 1141"/>
              <a:gd name="T4" fmla="*/ 1 w 912"/>
              <a:gd name="T5" fmla="*/ 1141 h 1141"/>
              <a:gd name="T6" fmla="*/ 4 w 912"/>
              <a:gd name="T7" fmla="*/ 1138 h 1141"/>
              <a:gd name="T8" fmla="*/ 588 w 912"/>
              <a:gd name="T9" fmla="*/ 570 h 1141"/>
              <a:gd name="T10" fmla="*/ 429 w 912"/>
              <a:gd name="T11" fmla="*/ 570 h 1141"/>
              <a:gd name="T12" fmla="*/ 429 w 912"/>
              <a:gd name="T13" fmla="*/ 570 h 1141"/>
              <a:gd name="T14" fmla="*/ 588 w 912"/>
              <a:gd name="T15" fmla="*/ 570 h 1141"/>
              <a:gd name="T16" fmla="*/ 588 w 912"/>
              <a:gd name="T17" fmla="*/ 570 h 1141"/>
              <a:gd name="T18" fmla="*/ 912 w 912"/>
              <a:gd name="T19" fmla="*/ 0 h 1141"/>
              <a:gd name="T20" fmla="*/ 760 w 912"/>
              <a:gd name="T21" fmla="*/ 0 h 1141"/>
              <a:gd name="T22" fmla="*/ 760 w 912"/>
              <a:gd name="T23" fmla="*/ 0 h 1141"/>
              <a:gd name="T24" fmla="*/ 912 w 912"/>
              <a:gd name="T25" fmla="*/ 0 h 1141"/>
              <a:gd name="T26" fmla="*/ 912 w 912"/>
              <a:gd name="T27" fmla="*/ 0 h 1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12" h="1141">
                <a:moveTo>
                  <a:pt x="4" y="1138"/>
                </a:moveTo>
                <a:lnTo>
                  <a:pt x="0" y="1141"/>
                </a:lnTo>
                <a:lnTo>
                  <a:pt x="1" y="1141"/>
                </a:lnTo>
                <a:lnTo>
                  <a:pt x="4" y="1138"/>
                </a:lnTo>
                <a:moveTo>
                  <a:pt x="588" y="570"/>
                </a:moveTo>
                <a:lnTo>
                  <a:pt x="429" y="570"/>
                </a:lnTo>
                <a:lnTo>
                  <a:pt x="429" y="570"/>
                </a:lnTo>
                <a:lnTo>
                  <a:pt x="588" y="570"/>
                </a:lnTo>
                <a:lnTo>
                  <a:pt x="588" y="570"/>
                </a:lnTo>
                <a:moveTo>
                  <a:pt x="912" y="0"/>
                </a:moveTo>
                <a:lnTo>
                  <a:pt x="760" y="0"/>
                </a:lnTo>
                <a:lnTo>
                  <a:pt x="760" y="0"/>
                </a:lnTo>
                <a:lnTo>
                  <a:pt x="912" y="0"/>
                </a:lnTo>
                <a:lnTo>
                  <a:pt x="9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7" name="Freeform 76"/>
          <p:cNvSpPr>
            <a:spLocks/>
          </p:cNvSpPr>
          <p:nvPr/>
        </p:nvSpPr>
        <p:spPr bwMode="auto">
          <a:xfrm>
            <a:off x="4624971" y="5014751"/>
            <a:ext cx="1097122" cy="1067218"/>
          </a:xfrm>
          <a:custGeom>
            <a:avLst/>
            <a:gdLst>
              <a:gd name="T0" fmla="*/ 587 w 587"/>
              <a:gd name="T1" fmla="*/ 0 h 571"/>
              <a:gd name="T2" fmla="*/ 428 w 587"/>
              <a:gd name="T3" fmla="*/ 0 h 571"/>
              <a:gd name="T4" fmla="*/ 210 w 587"/>
              <a:gd name="T5" fmla="*/ 378 h 571"/>
              <a:gd name="T6" fmla="*/ 208 w 587"/>
              <a:gd name="T7" fmla="*/ 378 h 571"/>
              <a:gd name="T8" fmla="*/ 3 w 587"/>
              <a:gd name="T9" fmla="*/ 568 h 571"/>
              <a:gd name="T10" fmla="*/ 0 w 587"/>
              <a:gd name="T11" fmla="*/ 571 h 571"/>
              <a:gd name="T12" fmla="*/ 263 w 587"/>
              <a:gd name="T13" fmla="*/ 571 h 571"/>
              <a:gd name="T14" fmla="*/ 587 w 587"/>
              <a:gd name="T15" fmla="*/ 0 h 57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7" h="571">
                <a:moveTo>
                  <a:pt x="587" y="0"/>
                </a:moveTo>
                <a:lnTo>
                  <a:pt x="428" y="0"/>
                </a:lnTo>
                <a:lnTo>
                  <a:pt x="210" y="378"/>
                </a:lnTo>
                <a:lnTo>
                  <a:pt x="208" y="378"/>
                </a:lnTo>
                <a:lnTo>
                  <a:pt x="3" y="568"/>
                </a:lnTo>
                <a:lnTo>
                  <a:pt x="0" y="571"/>
                </a:lnTo>
                <a:lnTo>
                  <a:pt x="263" y="571"/>
                </a:lnTo>
                <a:lnTo>
                  <a:pt x="58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8" name="Freeform 78"/>
          <p:cNvSpPr>
            <a:spLocks/>
          </p:cNvSpPr>
          <p:nvPr/>
        </p:nvSpPr>
        <p:spPr bwMode="auto">
          <a:xfrm>
            <a:off x="5424917" y="3949403"/>
            <a:ext cx="902743" cy="1065348"/>
          </a:xfrm>
          <a:custGeom>
            <a:avLst/>
            <a:gdLst>
              <a:gd name="T0" fmla="*/ 483 w 483"/>
              <a:gd name="T1" fmla="*/ 0 h 570"/>
              <a:gd name="T2" fmla="*/ 331 w 483"/>
              <a:gd name="T3" fmla="*/ 0 h 570"/>
              <a:gd name="T4" fmla="*/ 112 w 483"/>
              <a:gd name="T5" fmla="*/ 377 h 570"/>
              <a:gd name="T6" fmla="*/ 112 w 483"/>
              <a:gd name="T7" fmla="*/ 377 h 570"/>
              <a:gd name="T8" fmla="*/ 0 w 483"/>
              <a:gd name="T9" fmla="*/ 570 h 570"/>
              <a:gd name="T10" fmla="*/ 159 w 483"/>
              <a:gd name="T11" fmla="*/ 570 h 570"/>
              <a:gd name="T12" fmla="*/ 483 w 483"/>
              <a:gd name="T13" fmla="*/ 0 h 570"/>
            </a:gdLst>
            <a:ahLst/>
            <a:cxnLst>
              <a:cxn ang="0">
                <a:pos x="T0" y="T1"/>
              </a:cxn>
              <a:cxn ang="0">
                <a:pos x="T2" y="T3"/>
              </a:cxn>
              <a:cxn ang="0">
                <a:pos x="T4" y="T5"/>
              </a:cxn>
              <a:cxn ang="0">
                <a:pos x="T6" y="T7"/>
              </a:cxn>
              <a:cxn ang="0">
                <a:pos x="T8" y="T9"/>
              </a:cxn>
              <a:cxn ang="0">
                <a:pos x="T10" y="T11"/>
              </a:cxn>
              <a:cxn ang="0">
                <a:pos x="T12" y="T13"/>
              </a:cxn>
            </a:cxnLst>
            <a:rect l="0" t="0" r="r" b="b"/>
            <a:pathLst>
              <a:path w="483" h="570">
                <a:moveTo>
                  <a:pt x="483" y="0"/>
                </a:moveTo>
                <a:lnTo>
                  <a:pt x="331" y="0"/>
                </a:lnTo>
                <a:lnTo>
                  <a:pt x="112" y="377"/>
                </a:lnTo>
                <a:lnTo>
                  <a:pt x="112" y="377"/>
                </a:lnTo>
                <a:lnTo>
                  <a:pt x="0" y="570"/>
                </a:lnTo>
                <a:lnTo>
                  <a:pt x="159" y="570"/>
                </a:lnTo>
                <a:lnTo>
                  <a:pt x="48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9" name="Freeform 85"/>
          <p:cNvSpPr>
            <a:spLocks/>
          </p:cNvSpPr>
          <p:nvPr/>
        </p:nvSpPr>
        <p:spPr bwMode="auto">
          <a:xfrm>
            <a:off x="6641656" y="2521461"/>
            <a:ext cx="231760" cy="390628"/>
          </a:xfrm>
          <a:custGeom>
            <a:avLst/>
            <a:gdLst>
              <a:gd name="T0" fmla="*/ 124 w 124"/>
              <a:gd name="T1" fmla="*/ 0 h 209"/>
              <a:gd name="T2" fmla="*/ 121 w 124"/>
              <a:gd name="T3" fmla="*/ 0 h 209"/>
              <a:gd name="T4" fmla="*/ 0 w 124"/>
              <a:gd name="T5" fmla="*/ 209 h 209"/>
              <a:gd name="T6" fmla="*/ 9 w 124"/>
              <a:gd name="T7" fmla="*/ 195 h 209"/>
              <a:gd name="T8" fmla="*/ 9 w 124"/>
              <a:gd name="T9" fmla="*/ 195 h 209"/>
              <a:gd name="T10" fmla="*/ 9 w 124"/>
              <a:gd name="T11" fmla="*/ 195 h 209"/>
              <a:gd name="T12" fmla="*/ 28 w 124"/>
              <a:gd name="T13" fmla="*/ 161 h 209"/>
              <a:gd name="T14" fmla="*/ 124 w 124"/>
              <a:gd name="T15" fmla="*/ 0 h 20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4" h="209">
                <a:moveTo>
                  <a:pt x="124" y="0"/>
                </a:moveTo>
                <a:lnTo>
                  <a:pt x="121" y="0"/>
                </a:lnTo>
                <a:lnTo>
                  <a:pt x="0" y="209"/>
                </a:lnTo>
                <a:lnTo>
                  <a:pt x="9" y="195"/>
                </a:lnTo>
                <a:lnTo>
                  <a:pt x="9" y="195"/>
                </a:lnTo>
                <a:lnTo>
                  <a:pt x="9" y="195"/>
                </a:lnTo>
                <a:lnTo>
                  <a:pt x="28" y="161"/>
                </a:lnTo>
                <a:lnTo>
                  <a:pt x="124" y="0"/>
                </a:lnTo>
                <a:close/>
              </a:path>
            </a:pathLst>
          </a:custGeom>
          <a:solidFill>
            <a:srgbClr val="AC243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0" name="Freeform 86"/>
          <p:cNvSpPr>
            <a:spLocks/>
          </p:cNvSpPr>
          <p:nvPr/>
        </p:nvSpPr>
        <p:spPr bwMode="auto">
          <a:xfrm>
            <a:off x="6641656" y="2521461"/>
            <a:ext cx="231760" cy="390628"/>
          </a:xfrm>
          <a:custGeom>
            <a:avLst/>
            <a:gdLst>
              <a:gd name="T0" fmla="*/ 124 w 124"/>
              <a:gd name="T1" fmla="*/ 0 h 209"/>
              <a:gd name="T2" fmla="*/ 121 w 124"/>
              <a:gd name="T3" fmla="*/ 0 h 209"/>
              <a:gd name="T4" fmla="*/ 0 w 124"/>
              <a:gd name="T5" fmla="*/ 209 h 209"/>
              <a:gd name="T6" fmla="*/ 9 w 124"/>
              <a:gd name="T7" fmla="*/ 195 h 209"/>
              <a:gd name="T8" fmla="*/ 9 w 124"/>
              <a:gd name="T9" fmla="*/ 195 h 209"/>
              <a:gd name="T10" fmla="*/ 9 w 124"/>
              <a:gd name="T11" fmla="*/ 195 h 209"/>
              <a:gd name="T12" fmla="*/ 28 w 124"/>
              <a:gd name="T13" fmla="*/ 161 h 209"/>
              <a:gd name="T14" fmla="*/ 124 w 124"/>
              <a:gd name="T15" fmla="*/ 0 h 20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4" h="209">
                <a:moveTo>
                  <a:pt x="124" y="0"/>
                </a:moveTo>
                <a:lnTo>
                  <a:pt x="121" y="0"/>
                </a:lnTo>
                <a:lnTo>
                  <a:pt x="0" y="209"/>
                </a:lnTo>
                <a:lnTo>
                  <a:pt x="9" y="195"/>
                </a:lnTo>
                <a:lnTo>
                  <a:pt x="9" y="195"/>
                </a:lnTo>
                <a:lnTo>
                  <a:pt x="9" y="195"/>
                </a:lnTo>
                <a:lnTo>
                  <a:pt x="28" y="161"/>
                </a:lnTo>
                <a:lnTo>
                  <a:pt x="12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1" name="Freeform 87"/>
          <p:cNvSpPr>
            <a:spLocks/>
          </p:cNvSpPr>
          <p:nvPr/>
        </p:nvSpPr>
        <p:spPr bwMode="auto">
          <a:xfrm>
            <a:off x="5630509" y="3588680"/>
            <a:ext cx="622388" cy="1065348"/>
          </a:xfrm>
          <a:custGeom>
            <a:avLst/>
            <a:gdLst>
              <a:gd name="T0" fmla="*/ 333 w 333"/>
              <a:gd name="T1" fmla="*/ 0 h 570"/>
              <a:gd name="T2" fmla="*/ 332 w 333"/>
              <a:gd name="T3" fmla="*/ 0 h 570"/>
              <a:gd name="T4" fmla="*/ 0 w 333"/>
              <a:gd name="T5" fmla="*/ 570 h 570"/>
              <a:gd name="T6" fmla="*/ 2 w 333"/>
              <a:gd name="T7" fmla="*/ 570 h 570"/>
              <a:gd name="T8" fmla="*/ 221 w 333"/>
              <a:gd name="T9" fmla="*/ 193 h 570"/>
              <a:gd name="T10" fmla="*/ 221 w 333"/>
              <a:gd name="T11" fmla="*/ 193 h 570"/>
              <a:gd name="T12" fmla="*/ 221 w 333"/>
              <a:gd name="T13" fmla="*/ 193 h 570"/>
              <a:gd name="T14" fmla="*/ 227 w 333"/>
              <a:gd name="T15" fmla="*/ 183 h 570"/>
              <a:gd name="T16" fmla="*/ 333 w 333"/>
              <a:gd name="T17" fmla="*/ 0 h 5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3" h="570">
                <a:moveTo>
                  <a:pt x="333" y="0"/>
                </a:moveTo>
                <a:lnTo>
                  <a:pt x="332" y="0"/>
                </a:lnTo>
                <a:lnTo>
                  <a:pt x="0" y="570"/>
                </a:lnTo>
                <a:lnTo>
                  <a:pt x="2" y="570"/>
                </a:lnTo>
                <a:lnTo>
                  <a:pt x="221" y="193"/>
                </a:lnTo>
                <a:lnTo>
                  <a:pt x="221" y="193"/>
                </a:lnTo>
                <a:lnTo>
                  <a:pt x="221" y="193"/>
                </a:lnTo>
                <a:lnTo>
                  <a:pt x="227" y="183"/>
                </a:lnTo>
                <a:lnTo>
                  <a:pt x="333" y="0"/>
                </a:lnTo>
                <a:close/>
              </a:path>
            </a:pathLst>
          </a:custGeom>
          <a:solidFill>
            <a:srgbClr val="228C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2" name="Freeform 88"/>
          <p:cNvSpPr>
            <a:spLocks/>
          </p:cNvSpPr>
          <p:nvPr/>
        </p:nvSpPr>
        <p:spPr bwMode="auto">
          <a:xfrm>
            <a:off x="5630509" y="3588680"/>
            <a:ext cx="622388" cy="1065348"/>
          </a:xfrm>
          <a:custGeom>
            <a:avLst/>
            <a:gdLst>
              <a:gd name="T0" fmla="*/ 333 w 333"/>
              <a:gd name="T1" fmla="*/ 0 h 570"/>
              <a:gd name="T2" fmla="*/ 332 w 333"/>
              <a:gd name="T3" fmla="*/ 0 h 570"/>
              <a:gd name="T4" fmla="*/ 0 w 333"/>
              <a:gd name="T5" fmla="*/ 570 h 570"/>
              <a:gd name="T6" fmla="*/ 2 w 333"/>
              <a:gd name="T7" fmla="*/ 570 h 570"/>
              <a:gd name="T8" fmla="*/ 221 w 333"/>
              <a:gd name="T9" fmla="*/ 193 h 570"/>
              <a:gd name="T10" fmla="*/ 221 w 333"/>
              <a:gd name="T11" fmla="*/ 193 h 570"/>
              <a:gd name="T12" fmla="*/ 221 w 333"/>
              <a:gd name="T13" fmla="*/ 193 h 570"/>
              <a:gd name="T14" fmla="*/ 227 w 333"/>
              <a:gd name="T15" fmla="*/ 183 h 570"/>
              <a:gd name="T16" fmla="*/ 333 w 333"/>
              <a:gd name="T17" fmla="*/ 0 h 5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3" h="570">
                <a:moveTo>
                  <a:pt x="333" y="0"/>
                </a:moveTo>
                <a:lnTo>
                  <a:pt x="332" y="0"/>
                </a:lnTo>
                <a:lnTo>
                  <a:pt x="0" y="570"/>
                </a:lnTo>
                <a:lnTo>
                  <a:pt x="2" y="570"/>
                </a:lnTo>
                <a:lnTo>
                  <a:pt x="221" y="193"/>
                </a:lnTo>
                <a:lnTo>
                  <a:pt x="221" y="193"/>
                </a:lnTo>
                <a:lnTo>
                  <a:pt x="221" y="193"/>
                </a:lnTo>
                <a:lnTo>
                  <a:pt x="227" y="183"/>
                </a:lnTo>
                <a:lnTo>
                  <a:pt x="33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3" name="Freeform 89"/>
          <p:cNvSpPr>
            <a:spLocks/>
          </p:cNvSpPr>
          <p:nvPr/>
        </p:nvSpPr>
        <p:spPr bwMode="auto">
          <a:xfrm>
            <a:off x="5013729" y="4654029"/>
            <a:ext cx="620519" cy="1067218"/>
          </a:xfrm>
          <a:custGeom>
            <a:avLst/>
            <a:gdLst>
              <a:gd name="T0" fmla="*/ 332 w 332"/>
              <a:gd name="T1" fmla="*/ 0 h 571"/>
              <a:gd name="T2" fmla="*/ 332 w 332"/>
              <a:gd name="T3" fmla="*/ 0 h 571"/>
              <a:gd name="T4" fmla="*/ 330 w 332"/>
              <a:gd name="T5" fmla="*/ 0 h 571"/>
              <a:gd name="T6" fmla="*/ 0 w 332"/>
              <a:gd name="T7" fmla="*/ 571 h 571"/>
              <a:gd name="T8" fmla="*/ 2 w 332"/>
              <a:gd name="T9" fmla="*/ 571 h 571"/>
              <a:gd name="T10" fmla="*/ 220 w 332"/>
              <a:gd name="T11" fmla="*/ 193 h 571"/>
              <a:gd name="T12" fmla="*/ 220 w 332"/>
              <a:gd name="T13" fmla="*/ 193 h 571"/>
              <a:gd name="T14" fmla="*/ 332 w 332"/>
              <a:gd name="T15" fmla="*/ 0 h 57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32" h="571">
                <a:moveTo>
                  <a:pt x="332" y="0"/>
                </a:moveTo>
                <a:lnTo>
                  <a:pt x="332" y="0"/>
                </a:lnTo>
                <a:lnTo>
                  <a:pt x="330" y="0"/>
                </a:lnTo>
                <a:lnTo>
                  <a:pt x="0" y="571"/>
                </a:lnTo>
                <a:lnTo>
                  <a:pt x="2" y="571"/>
                </a:lnTo>
                <a:lnTo>
                  <a:pt x="220" y="193"/>
                </a:lnTo>
                <a:lnTo>
                  <a:pt x="220" y="193"/>
                </a:lnTo>
                <a:lnTo>
                  <a:pt x="332" y="0"/>
                </a:lnTo>
                <a:close/>
              </a:path>
            </a:pathLst>
          </a:custGeom>
          <a:solidFill>
            <a:srgbClr val="246EA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4" name="Freeform 90"/>
          <p:cNvSpPr>
            <a:spLocks/>
          </p:cNvSpPr>
          <p:nvPr/>
        </p:nvSpPr>
        <p:spPr bwMode="auto">
          <a:xfrm>
            <a:off x="5013729" y="4654029"/>
            <a:ext cx="620519" cy="1067218"/>
          </a:xfrm>
          <a:custGeom>
            <a:avLst/>
            <a:gdLst>
              <a:gd name="T0" fmla="*/ 332 w 332"/>
              <a:gd name="T1" fmla="*/ 0 h 571"/>
              <a:gd name="T2" fmla="*/ 332 w 332"/>
              <a:gd name="T3" fmla="*/ 0 h 571"/>
              <a:gd name="T4" fmla="*/ 330 w 332"/>
              <a:gd name="T5" fmla="*/ 0 h 571"/>
              <a:gd name="T6" fmla="*/ 0 w 332"/>
              <a:gd name="T7" fmla="*/ 571 h 571"/>
              <a:gd name="T8" fmla="*/ 2 w 332"/>
              <a:gd name="T9" fmla="*/ 571 h 571"/>
              <a:gd name="T10" fmla="*/ 220 w 332"/>
              <a:gd name="T11" fmla="*/ 193 h 571"/>
              <a:gd name="T12" fmla="*/ 220 w 332"/>
              <a:gd name="T13" fmla="*/ 193 h 571"/>
              <a:gd name="T14" fmla="*/ 332 w 332"/>
              <a:gd name="T15" fmla="*/ 0 h 57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32" h="571">
                <a:moveTo>
                  <a:pt x="332" y="0"/>
                </a:moveTo>
                <a:lnTo>
                  <a:pt x="332" y="0"/>
                </a:lnTo>
                <a:lnTo>
                  <a:pt x="330" y="0"/>
                </a:lnTo>
                <a:lnTo>
                  <a:pt x="0" y="571"/>
                </a:lnTo>
                <a:lnTo>
                  <a:pt x="2" y="571"/>
                </a:lnTo>
                <a:lnTo>
                  <a:pt x="220" y="193"/>
                </a:lnTo>
                <a:lnTo>
                  <a:pt x="220" y="193"/>
                </a:lnTo>
                <a:lnTo>
                  <a:pt x="33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5" name="Freeform 91"/>
          <p:cNvSpPr>
            <a:spLocks/>
          </p:cNvSpPr>
          <p:nvPr/>
        </p:nvSpPr>
        <p:spPr bwMode="auto">
          <a:xfrm>
            <a:off x="6869678" y="1818705"/>
            <a:ext cx="413057" cy="702756"/>
          </a:xfrm>
          <a:custGeom>
            <a:avLst/>
            <a:gdLst>
              <a:gd name="T0" fmla="*/ 221 w 221"/>
              <a:gd name="T1" fmla="*/ 0 h 376"/>
              <a:gd name="T2" fmla="*/ 220 w 221"/>
              <a:gd name="T3" fmla="*/ 0 h 376"/>
              <a:gd name="T4" fmla="*/ 174 w 221"/>
              <a:gd name="T5" fmla="*/ 75 h 376"/>
              <a:gd name="T6" fmla="*/ 0 w 221"/>
              <a:gd name="T7" fmla="*/ 376 h 376"/>
              <a:gd name="T8" fmla="*/ 221 w 221"/>
              <a:gd name="T9" fmla="*/ 0 h 376"/>
            </a:gdLst>
            <a:ahLst/>
            <a:cxnLst>
              <a:cxn ang="0">
                <a:pos x="T0" y="T1"/>
              </a:cxn>
              <a:cxn ang="0">
                <a:pos x="T2" y="T3"/>
              </a:cxn>
              <a:cxn ang="0">
                <a:pos x="T4" y="T5"/>
              </a:cxn>
              <a:cxn ang="0">
                <a:pos x="T6" y="T7"/>
              </a:cxn>
              <a:cxn ang="0">
                <a:pos x="T8" y="T9"/>
              </a:cxn>
            </a:cxnLst>
            <a:rect l="0" t="0" r="r" b="b"/>
            <a:pathLst>
              <a:path w="221" h="376">
                <a:moveTo>
                  <a:pt x="221" y="0"/>
                </a:moveTo>
                <a:lnTo>
                  <a:pt x="220" y="0"/>
                </a:lnTo>
                <a:lnTo>
                  <a:pt x="174" y="75"/>
                </a:lnTo>
                <a:lnTo>
                  <a:pt x="0" y="376"/>
                </a:lnTo>
                <a:lnTo>
                  <a:pt x="221" y="0"/>
                </a:lnTo>
                <a:close/>
              </a:path>
            </a:pathLst>
          </a:custGeom>
          <a:solidFill>
            <a:srgbClr val="D1A8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6" name="Freeform 92"/>
          <p:cNvSpPr>
            <a:spLocks/>
          </p:cNvSpPr>
          <p:nvPr/>
        </p:nvSpPr>
        <p:spPr bwMode="auto">
          <a:xfrm>
            <a:off x="6869678" y="1818705"/>
            <a:ext cx="413057" cy="702756"/>
          </a:xfrm>
          <a:custGeom>
            <a:avLst/>
            <a:gdLst>
              <a:gd name="T0" fmla="*/ 221 w 221"/>
              <a:gd name="T1" fmla="*/ 0 h 376"/>
              <a:gd name="T2" fmla="*/ 220 w 221"/>
              <a:gd name="T3" fmla="*/ 0 h 376"/>
              <a:gd name="T4" fmla="*/ 174 w 221"/>
              <a:gd name="T5" fmla="*/ 75 h 376"/>
              <a:gd name="T6" fmla="*/ 0 w 221"/>
              <a:gd name="T7" fmla="*/ 376 h 376"/>
              <a:gd name="T8" fmla="*/ 221 w 221"/>
              <a:gd name="T9" fmla="*/ 0 h 376"/>
            </a:gdLst>
            <a:ahLst/>
            <a:cxnLst>
              <a:cxn ang="0">
                <a:pos x="T0" y="T1"/>
              </a:cxn>
              <a:cxn ang="0">
                <a:pos x="T2" y="T3"/>
              </a:cxn>
              <a:cxn ang="0">
                <a:pos x="T4" y="T5"/>
              </a:cxn>
              <a:cxn ang="0">
                <a:pos x="T6" y="T7"/>
              </a:cxn>
              <a:cxn ang="0">
                <a:pos x="T8" y="T9"/>
              </a:cxn>
            </a:cxnLst>
            <a:rect l="0" t="0" r="r" b="b"/>
            <a:pathLst>
              <a:path w="221" h="376">
                <a:moveTo>
                  <a:pt x="221" y="0"/>
                </a:moveTo>
                <a:lnTo>
                  <a:pt x="220" y="0"/>
                </a:lnTo>
                <a:lnTo>
                  <a:pt x="174" y="75"/>
                </a:lnTo>
                <a:lnTo>
                  <a:pt x="0" y="376"/>
                </a:lnTo>
                <a:lnTo>
                  <a:pt x="22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7" name="Freeform 93"/>
          <p:cNvSpPr>
            <a:spLocks/>
          </p:cNvSpPr>
          <p:nvPr/>
        </p:nvSpPr>
        <p:spPr bwMode="auto">
          <a:xfrm>
            <a:off x="7194891" y="1818706"/>
            <a:ext cx="85975" cy="140178"/>
          </a:xfrm>
          <a:custGeom>
            <a:avLst/>
            <a:gdLst>
              <a:gd name="T0" fmla="*/ 46 w 46"/>
              <a:gd name="T1" fmla="*/ 0 h 75"/>
              <a:gd name="T2" fmla="*/ 44 w 46"/>
              <a:gd name="T3" fmla="*/ 0 h 75"/>
              <a:gd name="T4" fmla="*/ 0 w 46"/>
              <a:gd name="T5" fmla="*/ 75 h 75"/>
              <a:gd name="T6" fmla="*/ 46 w 46"/>
              <a:gd name="T7" fmla="*/ 0 h 75"/>
            </a:gdLst>
            <a:ahLst/>
            <a:cxnLst>
              <a:cxn ang="0">
                <a:pos x="T0" y="T1"/>
              </a:cxn>
              <a:cxn ang="0">
                <a:pos x="T2" y="T3"/>
              </a:cxn>
              <a:cxn ang="0">
                <a:pos x="T4" y="T5"/>
              </a:cxn>
              <a:cxn ang="0">
                <a:pos x="T6" y="T7"/>
              </a:cxn>
            </a:cxnLst>
            <a:rect l="0" t="0" r="r" b="b"/>
            <a:pathLst>
              <a:path w="46" h="75">
                <a:moveTo>
                  <a:pt x="46" y="0"/>
                </a:moveTo>
                <a:lnTo>
                  <a:pt x="44" y="0"/>
                </a:lnTo>
                <a:lnTo>
                  <a:pt x="0" y="75"/>
                </a:lnTo>
                <a:lnTo>
                  <a:pt x="46" y="0"/>
                </a:lnTo>
                <a:close/>
              </a:path>
            </a:pathLst>
          </a:custGeom>
          <a:solidFill>
            <a:srgbClr val="D1A8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8" name="Freeform 94"/>
          <p:cNvSpPr>
            <a:spLocks/>
          </p:cNvSpPr>
          <p:nvPr/>
        </p:nvSpPr>
        <p:spPr bwMode="auto">
          <a:xfrm>
            <a:off x="7194891" y="1818706"/>
            <a:ext cx="85975" cy="140178"/>
          </a:xfrm>
          <a:custGeom>
            <a:avLst/>
            <a:gdLst>
              <a:gd name="T0" fmla="*/ 46 w 46"/>
              <a:gd name="T1" fmla="*/ 0 h 75"/>
              <a:gd name="T2" fmla="*/ 44 w 46"/>
              <a:gd name="T3" fmla="*/ 0 h 75"/>
              <a:gd name="T4" fmla="*/ 0 w 46"/>
              <a:gd name="T5" fmla="*/ 75 h 75"/>
              <a:gd name="T6" fmla="*/ 46 w 46"/>
              <a:gd name="T7" fmla="*/ 0 h 75"/>
            </a:gdLst>
            <a:ahLst/>
            <a:cxnLst>
              <a:cxn ang="0">
                <a:pos x="T0" y="T1"/>
              </a:cxn>
              <a:cxn ang="0">
                <a:pos x="T2" y="T3"/>
              </a:cxn>
              <a:cxn ang="0">
                <a:pos x="T4" y="T5"/>
              </a:cxn>
              <a:cxn ang="0">
                <a:pos x="T6" y="T7"/>
              </a:cxn>
            </a:cxnLst>
            <a:rect l="0" t="0" r="r" b="b"/>
            <a:pathLst>
              <a:path w="46" h="75">
                <a:moveTo>
                  <a:pt x="46" y="0"/>
                </a:moveTo>
                <a:lnTo>
                  <a:pt x="44" y="0"/>
                </a:lnTo>
                <a:lnTo>
                  <a:pt x="0" y="75"/>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9" name="Freeform 95"/>
          <p:cNvSpPr>
            <a:spLocks/>
          </p:cNvSpPr>
          <p:nvPr/>
        </p:nvSpPr>
        <p:spPr bwMode="auto">
          <a:xfrm>
            <a:off x="4624971" y="5721245"/>
            <a:ext cx="392497" cy="360724"/>
          </a:xfrm>
          <a:custGeom>
            <a:avLst/>
            <a:gdLst>
              <a:gd name="T0" fmla="*/ 210 w 210"/>
              <a:gd name="T1" fmla="*/ 0 h 193"/>
              <a:gd name="T2" fmla="*/ 0 w 210"/>
              <a:gd name="T3" fmla="*/ 193 h 193"/>
              <a:gd name="T4" fmla="*/ 112 w 210"/>
              <a:gd name="T5" fmla="*/ 0 h 193"/>
              <a:gd name="T6" fmla="*/ 210 w 210"/>
              <a:gd name="T7" fmla="*/ 0 h 193"/>
            </a:gdLst>
            <a:ahLst/>
            <a:cxnLst>
              <a:cxn ang="0">
                <a:pos x="T0" y="T1"/>
              </a:cxn>
              <a:cxn ang="0">
                <a:pos x="T2" y="T3"/>
              </a:cxn>
              <a:cxn ang="0">
                <a:pos x="T4" y="T5"/>
              </a:cxn>
              <a:cxn ang="0">
                <a:pos x="T6" y="T7"/>
              </a:cxn>
            </a:cxnLst>
            <a:rect l="0" t="0" r="r" b="b"/>
            <a:pathLst>
              <a:path w="210" h="193">
                <a:moveTo>
                  <a:pt x="210" y="0"/>
                </a:moveTo>
                <a:lnTo>
                  <a:pt x="0" y="193"/>
                </a:lnTo>
                <a:lnTo>
                  <a:pt x="112" y="0"/>
                </a:lnTo>
                <a:lnTo>
                  <a:pt x="210" y="0"/>
                </a:lnTo>
                <a:close/>
              </a:path>
            </a:pathLst>
          </a:custGeom>
          <a:solidFill>
            <a:srgbClr val="514A45"/>
          </a:solidFill>
          <a:ln>
            <a:noFill/>
          </a:ln>
        </p:spPr>
        <p:txBody>
          <a:bodyPr vert="horz" wrap="square" lIns="91440" tIns="45720" rIns="91440" bIns="45720" numCol="1" anchor="t" anchorCtr="0" compatLnSpc="1">
            <a:prstTxWarp prst="textNoShape">
              <a:avLst/>
            </a:prstTxWarp>
          </a:bodyPr>
          <a:lstStyle/>
          <a:p>
            <a:endParaRPr lang="en-US"/>
          </a:p>
        </p:txBody>
      </p:sp>
      <p:sp>
        <p:nvSpPr>
          <p:cNvPr id="140" name="Rectangle 96"/>
          <p:cNvSpPr>
            <a:spLocks noChangeArrowheads="1"/>
          </p:cNvSpPr>
          <p:nvPr/>
        </p:nvSpPr>
        <p:spPr bwMode="auto">
          <a:xfrm>
            <a:off x="8804126" y="6081968"/>
            <a:ext cx="927040" cy="1870"/>
          </a:xfrm>
          <a:prstGeom prst="rect">
            <a:avLst/>
          </a:prstGeom>
          <a:solidFill>
            <a:srgbClr val="D1D3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1" name="Freeform 97"/>
          <p:cNvSpPr>
            <a:spLocks/>
          </p:cNvSpPr>
          <p:nvPr/>
        </p:nvSpPr>
        <p:spPr bwMode="auto">
          <a:xfrm>
            <a:off x="8804126" y="6081968"/>
            <a:ext cx="927040" cy="0"/>
          </a:xfrm>
          <a:custGeom>
            <a:avLst/>
            <a:gdLst>
              <a:gd name="T0" fmla="*/ 496 w 496"/>
              <a:gd name="T1" fmla="*/ 0 w 496"/>
              <a:gd name="T2" fmla="*/ 0 w 496"/>
              <a:gd name="T3" fmla="*/ 496 w 496"/>
            </a:gdLst>
            <a:ahLst/>
            <a:cxnLst>
              <a:cxn ang="0">
                <a:pos x="T0" y="0"/>
              </a:cxn>
              <a:cxn ang="0">
                <a:pos x="T1" y="0"/>
              </a:cxn>
              <a:cxn ang="0">
                <a:pos x="T2" y="0"/>
              </a:cxn>
              <a:cxn ang="0">
                <a:pos x="T3" y="0"/>
              </a:cxn>
            </a:cxnLst>
            <a:rect l="0" t="0" r="r" b="b"/>
            <a:pathLst>
              <a:path w="496">
                <a:moveTo>
                  <a:pt x="496" y="0"/>
                </a:moveTo>
                <a:lnTo>
                  <a:pt x="0" y="0"/>
                </a:lnTo>
                <a:lnTo>
                  <a:pt x="0" y="0"/>
                </a:lnTo>
                <a:lnTo>
                  <a:pt x="4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2" name="Oval 107"/>
          <p:cNvSpPr>
            <a:spLocks noChangeArrowheads="1"/>
          </p:cNvSpPr>
          <p:nvPr/>
        </p:nvSpPr>
        <p:spPr bwMode="auto">
          <a:xfrm>
            <a:off x="9200362" y="5014751"/>
            <a:ext cx="1065348" cy="1067218"/>
          </a:xfrm>
          <a:prstGeom prst="ellipse">
            <a:avLst/>
          </a:pr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143" name="Oval 108"/>
          <p:cNvSpPr>
            <a:spLocks noChangeArrowheads="1"/>
          </p:cNvSpPr>
          <p:nvPr/>
        </p:nvSpPr>
        <p:spPr bwMode="auto">
          <a:xfrm>
            <a:off x="9200362" y="1818706"/>
            <a:ext cx="1065348" cy="1067218"/>
          </a:xfrm>
          <a:prstGeom prst="ellipse">
            <a:avLst/>
          </a:pr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144" name="Oval 109"/>
          <p:cNvSpPr>
            <a:spLocks noChangeArrowheads="1"/>
          </p:cNvSpPr>
          <p:nvPr/>
        </p:nvSpPr>
        <p:spPr bwMode="auto">
          <a:xfrm>
            <a:off x="9200362" y="2885923"/>
            <a:ext cx="1065348" cy="1063480"/>
          </a:xfrm>
          <a:prstGeom prst="ellipse">
            <a:avLst/>
          </a:pr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145" name="Oval 110"/>
          <p:cNvSpPr>
            <a:spLocks noChangeArrowheads="1"/>
          </p:cNvSpPr>
          <p:nvPr/>
        </p:nvSpPr>
        <p:spPr bwMode="auto">
          <a:xfrm>
            <a:off x="9200362" y="3949403"/>
            <a:ext cx="1065348" cy="1065348"/>
          </a:xfrm>
          <a:prstGeom prst="ellipse">
            <a:avLst/>
          </a:pr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146" name="Oval 108"/>
          <p:cNvSpPr>
            <a:spLocks noChangeArrowheads="1"/>
          </p:cNvSpPr>
          <p:nvPr/>
        </p:nvSpPr>
        <p:spPr bwMode="auto">
          <a:xfrm>
            <a:off x="9288054" y="1906551"/>
            <a:ext cx="889963" cy="891527"/>
          </a:xfrm>
          <a:prstGeom prst="ellipse">
            <a:avLst/>
          </a:prstGeom>
          <a:solidFill>
            <a:schemeClr val="bg1"/>
          </a:solidFill>
          <a:ln>
            <a:noFill/>
          </a:ln>
          <a:effectLst>
            <a:outerShdw blurRad="50800" dist="38100" dir="5400000" algn="t" rotWithShape="0">
              <a:prstClr val="black">
                <a:alpha val="40000"/>
              </a:prstClr>
            </a:outerShdw>
          </a:effectLst>
        </p:spPr>
        <p:txBody>
          <a:bodyPr vert="horz" wrap="square" lIns="91440" tIns="45720" rIns="91440" bIns="45720" numCol="1" anchor="t" anchorCtr="0" compatLnSpc="1">
            <a:prstTxWarp prst="textNoShape">
              <a:avLst/>
            </a:prstTxWarp>
          </a:bodyPr>
          <a:lstStyle/>
          <a:p>
            <a:endParaRPr lang="en-US"/>
          </a:p>
        </p:txBody>
      </p:sp>
      <p:sp>
        <p:nvSpPr>
          <p:cNvPr id="147" name="Oval 108"/>
          <p:cNvSpPr>
            <a:spLocks noChangeArrowheads="1"/>
          </p:cNvSpPr>
          <p:nvPr/>
        </p:nvSpPr>
        <p:spPr bwMode="auto">
          <a:xfrm>
            <a:off x="9288054" y="2973769"/>
            <a:ext cx="889963" cy="891527"/>
          </a:xfrm>
          <a:prstGeom prst="ellipse">
            <a:avLst/>
          </a:prstGeom>
          <a:solidFill>
            <a:schemeClr val="bg1"/>
          </a:solidFill>
          <a:ln>
            <a:noFill/>
          </a:ln>
          <a:effectLst>
            <a:outerShdw blurRad="50800" dist="38100" dir="5400000" algn="t" rotWithShape="0">
              <a:prstClr val="black">
                <a:alpha val="40000"/>
              </a:prstClr>
            </a:outerShdw>
          </a:effectLst>
        </p:spPr>
        <p:txBody>
          <a:bodyPr vert="horz" wrap="square" lIns="91440" tIns="45720" rIns="91440" bIns="45720" numCol="1" anchor="t" anchorCtr="0" compatLnSpc="1">
            <a:prstTxWarp prst="textNoShape">
              <a:avLst/>
            </a:prstTxWarp>
          </a:bodyPr>
          <a:lstStyle/>
          <a:p>
            <a:endParaRPr lang="en-US"/>
          </a:p>
        </p:txBody>
      </p:sp>
      <p:sp>
        <p:nvSpPr>
          <p:cNvPr id="148" name="Oval 108"/>
          <p:cNvSpPr>
            <a:spLocks noChangeArrowheads="1"/>
          </p:cNvSpPr>
          <p:nvPr/>
        </p:nvSpPr>
        <p:spPr bwMode="auto">
          <a:xfrm>
            <a:off x="9288054" y="4030708"/>
            <a:ext cx="889963" cy="891527"/>
          </a:xfrm>
          <a:prstGeom prst="ellipse">
            <a:avLst/>
          </a:prstGeom>
          <a:solidFill>
            <a:schemeClr val="bg1"/>
          </a:solidFill>
          <a:ln>
            <a:noFill/>
          </a:ln>
          <a:effectLst>
            <a:outerShdw blurRad="50800" dist="38100" dir="5400000" algn="t" rotWithShape="0">
              <a:prstClr val="black">
                <a:alpha val="40000"/>
              </a:prstClr>
            </a:outerShdw>
          </a:effectLst>
        </p:spPr>
        <p:txBody>
          <a:bodyPr vert="horz" wrap="square" lIns="91440" tIns="45720" rIns="91440" bIns="45720" numCol="1" anchor="t" anchorCtr="0" compatLnSpc="1">
            <a:prstTxWarp prst="textNoShape">
              <a:avLst/>
            </a:prstTxWarp>
          </a:bodyPr>
          <a:lstStyle/>
          <a:p>
            <a:endParaRPr lang="en-US"/>
          </a:p>
        </p:txBody>
      </p:sp>
      <p:sp>
        <p:nvSpPr>
          <p:cNvPr id="149" name="Oval 108"/>
          <p:cNvSpPr>
            <a:spLocks noChangeArrowheads="1"/>
          </p:cNvSpPr>
          <p:nvPr/>
        </p:nvSpPr>
        <p:spPr bwMode="auto">
          <a:xfrm>
            <a:off x="9288054" y="5096055"/>
            <a:ext cx="889963" cy="891527"/>
          </a:xfrm>
          <a:prstGeom prst="ellipse">
            <a:avLst/>
          </a:prstGeom>
          <a:solidFill>
            <a:schemeClr val="bg1"/>
          </a:solidFill>
          <a:ln>
            <a:noFill/>
          </a:ln>
          <a:effectLst>
            <a:outerShdw blurRad="50800" dist="38100" dir="5400000" algn="t" rotWithShape="0">
              <a:prstClr val="black">
                <a:alpha val="40000"/>
              </a:prstClr>
            </a:outerShdw>
          </a:effectLst>
        </p:spPr>
        <p:txBody>
          <a:bodyPr vert="horz" wrap="square" lIns="91440" tIns="45720" rIns="91440" bIns="45720" numCol="1" anchor="t" anchorCtr="0" compatLnSpc="1">
            <a:prstTxWarp prst="textNoShape">
              <a:avLst/>
            </a:prstTxWarp>
          </a:bodyPr>
          <a:lstStyle/>
          <a:p>
            <a:endParaRPr lang="en-US"/>
          </a:p>
        </p:txBody>
      </p:sp>
      <p:sp>
        <p:nvSpPr>
          <p:cNvPr id="150" name="Rectangle 149"/>
          <p:cNvSpPr/>
          <p:nvPr/>
        </p:nvSpPr>
        <p:spPr>
          <a:xfrm>
            <a:off x="1442648" y="2253850"/>
            <a:ext cx="1163767" cy="276999"/>
          </a:xfrm>
          <a:prstGeom prst="rect">
            <a:avLst/>
          </a:prstGeom>
        </p:spPr>
        <p:txBody>
          <a:bodyPr wrap="square" anchor="ctr">
            <a:spAutoFit/>
          </a:bodyPr>
          <a:lstStyle/>
          <a:p>
            <a:pPr algn="ctr"/>
            <a:r>
              <a:rPr lang="en-US" sz="1200" b="1" dirty="0"/>
              <a:t>LOREM IPSUM</a:t>
            </a:r>
            <a:endParaRPr lang="en-US" sz="1200" dirty="0"/>
          </a:p>
        </p:txBody>
      </p:sp>
      <p:sp>
        <p:nvSpPr>
          <p:cNvPr id="151" name="Rectangle 150"/>
          <p:cNvSpPr/>
          <p:nvPr/>
        </p:nvSpPr>
        <p:spPr>
          <a:xfrm>
            <a:off x="1442648" y="3318075"/>
            <a:ext cx="1163767" cy="276999"/>
          </a:xfrm>
          <a:prstGeom prst="rect">
            <a:avLst/>
          </a:prstGeom>
        </p:spPr>
        <p:txBody>
          <a:bodyPr wrap="square" anchor="ctr">
            <a:spAutoFit/>
          </a:bodyPr>
          <a:lstStyle/>
          <a:p>
            <a:pPr algn="ctr"/>
            <a:r>
              <a:rPr lang="en-US" sz="1200" b="1" dirty="0"/>
              <a:t>LOREM IPSUM</a:t>
            </a:r>
            <a:endParaRPr lang="en-US" sz="1200" dirty="0"/>
          </a:p>
        </p:txBody>
      </p:sp>
      <p:sp>
        <p:nvSpPr>
          <p:cNvPr id="152" name="Rectangle 151"/>
          <p:cNvSpPr/>
          <p:nvPr/>
        </p:nvSpPr>
        <p:spPr>
          <a:xfrm>
            <a:off x="1442648" y="4397442"/>
            <a:ext cx="1163767" cy="276999"/>
          </a:xfrm>
          <a:prstGeom prst="rect">
            <a:avLst/>
          </a:prstGeom>
        </p:spPr>
        <p:txBody>
          <a:bodyPr wrap="square" anchor="ctr">
            <a:spAutoFit/>
          </a:bodyPr>
          <a:lstStyle/>
          <a:p>
            <a:pPr algn="ctr"/>
            <a:r>
              <a:rPr lang="en-US" sz="1200" b="1" dirty="0"/>
              <a:t>LOREM IPSUM</a:t>
            </a:r>
            <a:endParaRPr lang="en-US" sz="1200" dirty="0"/>
          </a:p>
        </p:txBody>
      </p:sp>
      <p:sp>
        <p:nvSpPr>
          <p:cNvPr id="153" name="Rectangle 152"/>
          <p:cNvSpPr/>
          <p:nvPr/>
        </p:nvSpPr>
        <p:spPr>
          <a:xfrm>
            <a:off x="1442648" y="5476809"/>
            <a:ext cx="1163767" cy="276999"/>
          </a:xfrm>
          <a:prstGeom prst="rect">
            <a:avLst/>
          </a:prstGeom>
        </p:spPr>
        <p:txBody>
          <a:bodyPr wrap="square" anchor="ctr">
            <a:spAutoFit/>
          </a:bodyPr>
          <a:lstStyle/>
          <a:p>
            <a:pPr algn="ctr"/>
            <a:r>
              <a:rPr lang="en-US" sz="1200" b="1" dirty="0"/>
              <a:t>LOREM IPSUM</a:t>
            </a:r>
            <a:endParaRPr lang="en-US" sz="1200" dirty="0"/>
          </a:p>
        </p:txBody>
      </p:sp>
      <p:grpSp>
        <p:nvGrpSpPr>
          <p:cNvPr id="154" name="Group 153"/>
          <p:cNvGrpSpPr/>
          <p:nvPr/>
        </p:nvGrpSpPr>
        <p:grpSpPr>
          <a:xfrm>
            <a:off x="9591925" y="2183167"/>
            <a:ext cx="282224" cy="338295"/>
            <a:chOff x="5510213" y="777875"/>
            <a:chExt cx="239713" cy="287338"/>
          </a:xfrm>
          <a:solidFill>
            <a:srgbClr val="E2583D"/>
          </a:solidFill>
        </p:grpSpPr>
        <p:sp>
          <p:nvSpPr>
            <p:cNvPr id="155" name="Freeform 9"/>
            <p:cNvSpPr>
              <a:spLocks noEditPoints="1"/>
            </p:cNvSpPr>
            <p:nvPr/>
          </p:nvSpPr>
          <p:spPr bwMode="auto">
            <a:xfrm>
              <a:off x="5510213" y="777875"/>
              <a:ext cx="239713" cy="287338"/>
            </a:xfrm>
            <a:custGeom>
              <a:avLst/>
              <a:gdLst>
                <a:gd name="T0" fmla="*/ 31 w 754"/>
                <a:gd name="T1" fmla="*/ 443 h 904"/>
                <a:gd name="T2" fmla="*/ 63 w 754"/>
                <a:gd name="T3" fmla="*/ 396 h 904"/>
                <a:gd name="T4" fmla="*/ 284 w 754"/>
                <a:gd name="T5" fmla="*/ 390 h 904"/>
                <a:gd name="T6" fmla="*/ 314 w 754"/>
                <a:gd name="T7" fmla="*/ 370 h 904"/>
                <a:gd name="T8" fmla="*/ 319 w 754"/>
                <a:gd name="T9" fmla="*/ 324 h 904"/>
                <a:gd name="T10" fmla="*/ 301 w 754"/>
                <a:gd name="T11" fmla="*/ 241 h 904"/>
                <a:gd name="T12" fmla="*/ 310 w 754"/>
                <a:gd name="T13" fmla="*/ 69 h 904"/>
                <a:gd name="T14" fmla="*/ 340 w 754"/>
                <a:gd name="T15" fmla="*/ 39 h 904"/>
                <a:gd name="T16" fmla="*/ 386 w 754"/>
                <a:gd name="T17" fmla="*/ 30 h 904"/>
                <a:gd name="T18" fmla="*/ 428 w 754"/>
                <a:gd name="T19" fmla="*/ 48 h 904"/>
                <a:gd name="T20" fmla="*/ 454 w 754"/>
                <a:gd name="T21" fmla="*/ 86 h 904"/>
                <a:gd name="T22" fmla="*/ 449 w 754"/>
                <a:gd name="T23" fmla="*/ 276 h 904"/>
                <a:gd name="T24" fmla="*/ 432 w 754"/>
                <a:gd name="T25" fmla="*/ 340 h 904"/>
                <a:gd name="T26" fmla="*/ 447 w 754"/>
                <a:gd name="T27" fmla="*/ 379 h 904"/>
                <a:gd name="T28" fmla="*/ 483 w 754"/>
                <a:gd name="T29" fmla="*/ 391 h 904"/>
                <a:gd name="T30" fmla="*/ 702 w 754"/>
                <a:gd name="T31" fmla="*/ 404 h 904"/>
                <a:gd name="T32" fmla="*/ 724 w 754"/>
                <a:gd name="T33" fmla="*/ 573 h 904"/>
                <a:gd name="T34" fmla="*/ 630 w 754"/>
                <a:gd name="T35" fmla="*/ 685 h 904"/>
                <a:gd name="T36" fmla="*/ 615 w 754"/>
                <a:gd name="T37" fmla="*/ 678 h 904"/>
                <a:gd name="T38" fmla="*/ 603 w 754"/>
                <a:gd name="T39" fmla="*/ 690 h 904"/>
                <a:gd name="T40" fmla="*/ 542 w 754"/>
                <a:gd name="T41" fmla="*/ 732 h 904"/>
                <a:gd name="T42" fmla="*/ 528 w 754"/>
                <a:gd name="T43" fmla="*/ 724 h 904"/>
                <a:gd name="T44" fmla="*/ 514 w 754"/>
                <a:gd name="T45" fmla="*/ 732 h 904"/>
                <a:gd name="T46" fmla="*/ 452 w 754"/>
                <a:gd name="T47" fmla="*/ 796 h 904"/>
                <a:gd name="T48" fmla="*/ 440 w 754"/>
                <a:gd name="T49" fmla="*/ 784 h 904"/>
                <a:gd name="T50" fmla="*/ 425 w 754"/>
                <a:gd name="T51" fmla="*/ 790 h 904"/>
                <a:gd name="T52" fmla="*/ 241 w 754"/>
                <a:gd name="T53" fmla="*/ 739 h 904"/>
                <a:gd name="T54" fmla="*/ 219 w 754"/>
                <a:gd name="T55" fmla="*/ 725 h 904"/>
                <a:gd name="T56" fmla="*/ 694 w 754"/>
                <a:gd name="T57" fmla="*/ 603 h 904"/>
                <a:gd name="T58" fmla="*/ 467 w 754"/>
                <a:gd name="T59" fmla="*/ 356 h 904"/>
                <a:gd name="T60" fmla="*/ 474 w 754"/>
                <a:gd name="T61" fmla="*/ 301 h 904"/>
                <a:gd name="T62" fmla="*/ 485 w 754"/>
                <a:gd name="T63" fmla="*/ 88 h 904"/>
                <a:gd name="T64" fmla="*/ 455 w 754"/>
                <a:gd name="T65" fmla="*/ 32 h 904"/>
                <a:gd name="T66" fmla="*/ 400 w 754"/>
                <a:gd name="T67" fmla="*/ 2 h 904"/>
                <a:gd name="T68" fmla="*/ 335 w 754"/>
                <a:gd name="T69" fmla="*/ 7 h 904"/>
                <a:gd name="T70" fmla="*/ 289 w 754"/>
                <a:gd name="T71" fmla="*/ 45 h 904"/>
                <a:gd name="T72" fmla="*/ 271 w 754"/>
                <a:gd name="T73" fmla="*/ 105 h 904"/>
                <a:gd name="T74" fmla="*/ 289 w 754"/>
                <a:gd name="T75" fmla="*/ 330 h 904"/>
                <a:gd name="T76" fmla="*/ 278 w 754"/>
                <a:gd name="T77" fmla="*/ 361 h 904"/>
                <a:gd name="T78" fmla="*/ 46 w 754"/>
                <a:gd name="T79" fmla="*/ 370 h 904"/>
                <a:gd name="T80" fmla="*/ 13 w 754"/>
                <a:gd name="T81" fmla="*/ 406 h 904"/>
                <a:gd name="T82" fmla="*/ 0 w 754"/>
                <a:gd name="T83" fmla="*/ 453 h 904"/>
                <a:gd name="T84" fmla="*/ 6 w 754"/>
                <a:gd name="T85" fmla="*/ 600 h 904"/>
                <a:gd name="T86" fmla="*/ 30 w 754"/>
                <a:gd name="T87" fmla="*/ 892 h 904"/>
                <a:gd name="T88" fmla="*/ 42 w 754"/>
                <a:gd name="T89" fmla="*/ 904 h 904"/>
                <a:gd name="T90" fmla="*/ 164 w 754"/>
                <a:gd name="T91" fmla="*/ 896 h 904"/>
                <a:gd name="T92" fmla="*/ 215 w 754"/>
                <a:gd name="T93" fmla="*/ 900 h 904"/>
                <a:gd name="T94" fmla="*/ 712 w 754"/>
                <a:gd name="T95" fmla="*/ 904 h 904"/>
                <a:gd name="T96" fmla="*/ 724 w 754"/>
                <a:gd name="T97" fmla="*/ 892 h 904"/>
                <a:gd name="T98" fmla="*/ 747 w 754"/>
                <a:gd name="T99" fmla="*/ 600 h 904"/>
                <a:gd name="T100" fmla="*/ 754 w 754"/>
                <a:gd name="T101" fmla="*/ 451 h 904"/>
                <a:gd name="T102" fmla="*/ 741 w 754"/>
                <a:gd name="T103" fmla="*/ 406 h 904"/>
                <a:gd name="T104" fmla="*/ 706 w 754"/>
                <a:gd name="T105" fmla="*/ 370 h 9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754" h="904">
                  <a:moveTo>
                    <a:pt x="724" y="573"/>
                  </a:moveTo>
                  <a:lnTo>
                    <a:pt x="709" y="573"/>
                  </a:lnTo>
                  <a:lnTo>
                    <a:pt x="45" y="573"/>
                  </a:lnTo>
                  <a:lnTo>
                    <a:pt x="30" y="573"/>
                  </a:lnTo>
                  <a:lnTo>
                    <a:pt x="30" y="451"/>
                  </a:lnTo>
                  <a:lnTo>
                    <a:pt x="31" y="443"/>
                  </a:lnTo>
                  <a:lnTo>
                    <a:pt x="34" y="432"/>
                  </a:lnTo>
                  <a:lnTo>
                    <a:pt x="38" y="422"/>
                  </a:lnTo>
                  <a:lnTo>
                    <a:pt x="45" y="413"/>
                  </a:lnTo>
                  <a:lnTo>
                    <a:pt x="51" y="404"/>
                  </a:lnTo>
                  <a:lnTo>
                    <a:pt x="59" y="398"/>
                  </a:lnTo>
                  <a:lnTo>
                    <a:pt x="63" y="396"/>
                  </a:lnTo>
                  <a:lnTo>
                    <a:pt x="66" y="393"/>
                  </a:lnTo>
                  <a:lnTo>
                    <a:pt x="71" y="392"/>
                  </a:lnTo>
                  <a:lnTo>
                    <a:pt x="75" y="391"/>
                  </a:lnTo>
                  <a:lnTo>
                    <a:pt x="271" y="391"/>
                  </a:lnTo>
                  <a:lnTo>
                    <a:pt x="277" y="391"/>
                  </a:lnTo>
                  <a:lnTo>
                    <a:pt x="284" y="390"/>
                  </a:lnTo>
                  <a:lnTo>
                    <a:pt x="290" y="389"/>
                  </a:lnTo>
                  <a:lnTo>
                    <a:pt x="296" y="386"/>
                  </a:lnTo>
                  <a:lnTo>
                    <a:pt x="301" y="383"/>
                  </a:lnTo>
                  <a:lnTo>
                    <a:pt x="305" y="379"/>
                  </a:lnTo>
                  <a:lnTo>
                    <a:pt x="310" y="375"/>
                  </a:lnTo>
                  <a:lnTo>
                    <a:pt x="314" y="370"/>
                  </a:lnTo>
                  <a:lnTo>
                    <a:pt x="317" y="363"/>
                  </a:lnTo>
                  <a:lnTo>
                    <a:pt x="319" y="356"/>
                  </a:lnTo>
                  <a:lnTo>
                    <a:pt x="320" y="348"/>
                  </a:lnTo>
                  <a:lnTo>
                    <a:pt x="320" y="340"/>
                  </a:lnTo>
                  <a:lnTo>
                    <a:pt x="320" y="332"/>
                  </a:lnTo>
                  <a:lnTo>
                    <a:pt x="319" y="324"/>
                  </a:lnTo>
                  <a:lnTo>
                    <a:pt x="317" y="317"/>
                  </a:lnTo>
                  <a:lnTo>
                    <a:pt x="315" y="311"/>
                  </a:lnTo>
                  <a:lnTo>
                    <a:pt x="308" y="292"/>
                  </a:lnTo>
                  <a:lnTo>
                    <a:pt x="304" y="276"/>
                  </a:lnTo>
                  <a:lnTo>
                    <a:pt x="302" y="260"/>
                  </a:lnTo>
                  <a:lnTo>
                    <a:pt x="301" y="241"/>
                  </a:lnTo>
                  <a:lnTo>
                    <a:pt x="301" y="105"/>
                  </a:lnTo>
                  <a:lnTo>
                    <a:pt x="302" y="98"/>
                  </a:lnTo>
                  <a:lnTo>
                    <a:pt x="303" y="89"/>
                  </a:lnTo>
                  <a:lnTo>
                    <a:pt x="304" y="82"/>
                  </a:lnTo>
                  <a:lnTo>
                    <a:pt x="307" y="75"/>
                  </a:lnTo>
                  <a:lnTo>
                    <a:pt x="310" y="69"/>
                  </a:lnTo>
                  <a:lnTo>
                    <a:pt x="314" y="62"/>
                  </a:lnTo>
                  <a:lnTo>
                    <a:pt x="318" y="57"/>
                  </a:lnTo>
                  <a:lnTo>
                    <a:pt x="322" y="51"/>
                  </a:lnTo>
                  <a:lnTo>
                    <a:pt x="328" y="46"/>
                  </a:lnTo>
                  <a:lnTo>
                    <a:pt x="334" y="42"/>
                  </a:lnTo>
                  <a:lnTo>
                    <a:pt x="340" y="39"/>
                  </a:lnTo>
                  <a:lnTo>
                    <a:pt x="347" y="35"/>
                  </a:lnTo>
                  <a:lnTo>
                    <a:pt x="354" y="33"/>
                  </a:lnTo>
                  <a:lnTo>
                    <a:pt x="361" y="31"/>
                  </a:lnTo>
                  <a:lnTo>
                    <a:pt x="369" y="30"/>
                  </a:lnTo>
                  <a:lnTo>
                    <a:pt x="377" y="30"/>
                  </a:lnTo>
                  <a:lnTo>
                    <a:pt x="386" y="30"/>
                  </a:lnTo>
                  <a:lnTo>
                    <a:pt x="393" y="31"/>
                  </a:lnTo>
                  <a:lnTo>
                    <a:pt x="401" y="33"/>
                  </a:lnTo>
                  <a:lnTo>
                    <a:pt x="408" y="36"/>
                  </a:lnTo>
                  <a:lnTo>
                    <a:pt x="415" y="40"/>
                  </a:lnTo>
                  <a:lnTo>
                    <a:pt x="422" y="44"/>
                  </a:lnTo>
                  <a:lnTo>
                    <a:pt x="428" y="48"/>
                  </a:lnTo>
                  <a:lnTo>
                    <a:pt x="434" y="54"/>
                  </a:lnTo>
                  <a:lnTo>
                    <a:pt x="439" y="59"/>
                  </a:lnTo>
                  <a:lnTo>
                    <a:pt x="444" y="65"/>
                  </a:lnTo>
                  <a:lnTo>
                    <a:pt x="447" y="72"/>
                  </a:lnTo>
                  <a:lnTo>
                    <a:pt x="452" y="78"/>
                  </a:lnTo>
                  <a:lnTo>
                    <a:pt x="454" y="86"/>
                  </a:lnTo>
                  <a:lnTo>
                    <a:pt x="456" y="93"/>
                  </a:lnTo>
                  <a:lnTo>
                    <a:pt x="457" y="101"/>
                  </a:lnTo>
                  <a:lnTo>
                    <a:pt x="457" y="110"/>
                  </a:lnTo>
                  <a:lnTo>
                    <a:pt x="453" y="241"/>
                  </a:lnTo>
                  <a:lnTo>
                    <a:pt x="452" y="260"/>
                  </a:lnTo>
                  <a:lnTo>
                    <a:pt x="449" y="276"/>
                  </a:lnTo>
                  <a:lnTo>
                    <a:pt x="445" y="292"/>
                  </a:lnTo>
                  <a:lnTo>
                    <a:pt x="438" y="311"/>
                  </a:lnTo>
                  <a:lnTo>
                    <a:pt x="436" y="317"/>
                  </a:lnTo>
                  <a:lnTo>
                    <a:pt x="434" y="324"/>
                  </a:lnTo>
                  <a:lnTo>
                    <a:pt x="433" y="332"/>
                  </a:lnTo>
                  <a:lnTo>
                    <a:pt x="432" y="340"/>
                  </a:lnTo>
                  <a:lnTo>
                    <a:pt x="433" y="348"/>
                  </a:lnTo>
                  <a:lnTo>
                    <a:pt x="434" y="356"/>
                  </a:lnTo>
                  <a:lnTo>
                    <a:pt x="436" y="363"/>
                  </a:lnTo>
                  <a:lnTo>
                    <a:pt x="440" y="370"/>
                  </a:lnTo>
                  <a:lnTo>
                    <a:pt x="443" y="375"/>
                  </a:lnTo>
                  <a:lnTo>
                    <a:pt x="447" y="379"/>
                  </a:lnTo>
                  <a:lnTo>
                    <a:pt x="453" y="383"/>
                  </a:lnTo>
                  <a:lnTo>
                    <a:pt x="458" y="386"/>
                  </a:lnTo>
                  <a:lnTo>
                    <a:pt x="463" y="389"/>
                  </a:lnTo>
                  <a:lnTo>
                    <a:pt x="469" y="390"/>
                  </a:lnTo>
                  <a:lnTo>
                    <a:pt x="475" y="391"/>
                  </a:lnTo>
                  <a:lnTo>
                    <a:pt x="483" y="391"/>
                  </a:lnTo>
                  <a:lnTo>
                    <a:pt x="678" y="391"/>
                  </a:lnTo>
                  <a:lnTo>
                    <a:pt x="683" y="392"/>
                  </a:lnTo>
                  <a:lnTo>
                    <a:pt x="686" y="393"/>
                  </a:lnTo>
                  <a:lnTo>
                    <a:pt x="690" y="396"/>
                  </a:lnTo>
                  <a:lnTo>
                    <a:pt x="695" y="398"/>
                  </a:lnTo>
                  <a:lnTo>
                    <a:pt x="702" y="404"/>
                  </a:lnTo>
                  <a:lnTo>
                    <a:pt x="709" y="413"/>
                  </a:lnTo>
                  <a:lnTo>
                    <a:pt x="715" y="422"/>
                  </a:lnTo>
                  <a:lnTo>
                    <a:pt x="719" y="432"/>
                  </a:lnTo>
                  <a:lnTo>
                    <a:pt x="723" y="443"/>
                  </a:lnTo>
                  <a:lnTo>
                    <a:pt x="724" y="453"/>
                  </a:lnTo>
                  <a:lnTo>
                    <a:pt x="724" y="573"/>
                  </a:lnTo>
                  <a:close/>
                  <a:moveTo>
                    <a:pt x="694" y="874"/>
                  </a:moveTo>
                  <a:lnTo>
                    <a:pt x="633" y="874"/>
                  </a:lnTo>
                  <a:lnTo>
                    <a:pt x="633" y="693"/>
                  </a:lnTo>
                  <a:lnTo>
                    <a:pt x="632" y="690"/>
                  </a:lnTo>
                  <a:lnTo>
                    <a:pt x="632" y="687"/>
                  </a:lnTo>
                  <a:lnTo>
                    <a:pt x="630" y="685"/>
                  </a:lnTo>
                  <a:lnTo>
                    <a:pt x="629" y="683"/>
                  </a:lnTo>
                  <a:lnTo>
                    <a:pt x="627" y="681"/>
                  </a:lnTo>
                  <a:lnTo>
                    <a:pt x="624" y="679"/>
                  </a:lnTo>
                  <a:lnTo>
                    <a:pt x="621" y="678"/>
                  </a:lnTo>
                  <a:lnTo>
                    <a:pt x="618" y="678"/>
                  </a:lnTo>
                  <a:lnTo>
                    <a:pt x="615" y="678"/>
                  </a:lnTo>
                  <a:lnTo>
                    <a:pt x="612" y="679"/>
                  </a:lnTo>
                  <a:lnTo>
                    <a:pt x="610" y="681"/>
                  </a:lnTo>
                  <a:lnTo>
                    <a:pt x="607" y="683"/>
                  </a:lnTo>
                  <a:lnTo>
                    <a:pt x="605" y="685"/>
                  </a:lnTo>
                  <a:lnTo>
                    <a:pt x="604" y="687"/>
                  </a:lnTo>
                  <a:lnTo>
                    <a:pt x="603" y="690"/>
                  </a:lnTo>
                  <a:lnTo>
                    <a:pt x="603" y="693"/>
                  </a:lnTo>
                  <a:lnTo>
                    <a:pt x="603" y="874"/>
                  </a:lnTo>
                  <a:lnTo>
                    <a:pt x="543" y="874"/>
                  </a:lnTo>
                  <a:lnTo>
                    <a:pt x="543" y="739"/>
                  </a:lnTo>
                  <a:lnTo>
                    <a:pt x="542" y="735"/>
                  </a:lnTo>
                  <a:lnTo>
                    <a:pt x="542" y="732"/>
                  </a:lnTo>
                  <a:lnTo>
                    <a:pt x="540" y="730"/>
                  </a:lnTo>
                  <a:lnTo>
                    <a:pt x="539" y="728"/>
                  </a:lnTo>
                  <a:lnTo>
                    <a:pt x="535" y="726"/>
                  </a:lnTo>
                  <a:lnTo>
                    <a:pt x="533" y="725"/>
                  </a:lnTo>
                  <a:lnTo>
                    <a:pt x="530" y="724"/>
                  </a:lnTo>
                  <a:lnTo>
                    <a:pt x="528" y="724"/>
                  </a:lnTo>
                  <a:lnTo>
                    <a:pt x="525" y="724"/>
                  </a:lnTo>
                  <a:lnTo>
                    <a:pt x="521" y="725"/>
                  </a:lnTo>
                  <a:lnTo>
                    <a:pt x="519" y="726"/>
                  </a:lnTo>
                  <a:lnTo>
                    <a:pt x="517" y="728"/>
                  </a:lnTo>
                  <a:lnTo>
                    <a:pt x="515" y="730"/>
                  </a:lnTo>
                  <a:lnTo>
                    <a:pt x="514" y="732"/>
                  </a:lnTo>
                  <a:lnTo>
                    <a:pt x="513" y="735"/>
                  </a:lnTo>
                  <a:lnTo>
                    <a:pt x="513" y="739"/>
                  </a:lnTo>
                  <a:lnTo>
                    <a:pt x="513" y="874"/>
                  </a:lnTo>
                  <a:lnTo>
                    <a:pt x="453" y="874"/>
                  </a:lnTo>
                  <a:lnTo>
                    <a:pt x="453" y="799"/>
                  </a:lnTo>
                  <a:lnTo>
                    <a:pt x="452" y="796"/>
                  </a:lnTo>
                  <a:lnTo>
                    <a:pt x="450" y="793"/>
                  </a:lnTo>
                  <a:lnTo>
                    <a:pt x="449" y="790"/>
                  </a:lnTo>
                  <a:lnTo>
                    <a:pt x="447" y="788"/>
                  </a:lnTo>
                  <a:lnTo>
                    <a:pt x="445" y="786"/>
                  </a:lnTo>
                  <a:lnTo>
                    <a:pt x="443" y="785"/>
                  </a:lnTo>
                  <a:lnTo>
                    <a:pt x="440" y="784"/>
                  </a:lnTo>
                  <a:lnTo>
                    <a:pt x="436" y="784"/>
                  </a:lnTo>
                  <a:lnTo>
                    <a:pt x="434" y="784"/>
                  </a:lnTo>
                  <a:lnTo>
                    <a:pt x="431" y="785"/>
                  </a:lnTo>
                  <a:lnTo>
                    <a:pt x="429" y="786"/>
                  </a:lnTo>
                  <a:lnTo>
                    <a:pt x="427" y="788"/>
                  </a:lnTo>
                  <a:lnTo>
                    <a:pt x="425" y="790"/>
                  </a:lnTo>
                  <a:lnTo>
                    <a:pt x="424" y="793"/>
                  </a:lnTo>
                  <a:lnTo>
                    <a:pt x="422" y="796"/>
                  </a:lnTo>
                  <a:lnTo>
                    <a:pt x="421" y="799"/>
                  </a:lnTo>
                  <a:lnTo>
                    <a:pt x="421" y="874"/>
                  </a:lnTo>
                  <a:lnTo>
                    <a:pt x="241" y="874"/>
                  </a:lnTo>
                  <a:lnTo>
                    <a:pt x="241" y="739"/>
                  </a:lnTo>
                  <a:lnTo>
                    <a:pt x="240" y="733"/>
                  </a:lnTo>
                  <a:lnTo>
                    <a:pt x="237" y="729"/>
                  </a:lnTo>
                  <a:lnTo>
                    <a:pt x="234" y="726"/>
                  </a:lnTo>
                  <a:lnTo>
                    <a:pt x="229" y="724"/>
                  </a:lnTo>
                  <a:lnTo>
                    <a:pt x="225" y="724"/>
                  </a:lnTo>
                  <a:lnTo>
                    <a:pt x="219" y="725"/>
                  </a:lnTo>
                  <a:lnTo>
                    <a:pt x="215" y="728"/>
                  </a:lnTo>
                  <a:lnTo>
                    <a:pt x="213" y="732"/>
                  </a:lnTo>
                  <a:lnTo>
                    <a:pt x="141" y="874"/>
                  </a:lnTo>
                  <a:lnTo>
                    <a:pt x="60" y="874"/>
                  </a:lnTo>
                  <a:lnTo>
                    <a:pt x="60" y="603"/>
                  </a:lnTo>
                  <a:lnTo>
                    <a:pt x="694" y="603"/>
                  </a:lnTo>
                  <a:lnTo>
                    <a:pt x="694" y="874"/>
                  </a:lnTo>
                  <a:close/>
                  <a:moveTo>
                    <a:pt x="678" y="361"/>
                  </a:moveTo>
                  <a:lnTo>
                    <a:pt x="483" y="361"/>
                  </a:lnTo>
                  <a:lnTo>
                    <a:pt x="475" y="361"/>
                  </a:lnTo>
                  <a:lnTo>
                    <a:pt x="471" y="359"/>
                  </a:lnTo>
                  <a:lnTo>
                    <a:pt x="467" y="356"/>
                  </a:lnTo>
                  <a:lnTo>
                    <a:pt x="464" y="354"/>
                  </a:lnTo>
                  <a:lnTo>
                    <a:pt x="463" y="348"/>
                  </a:lnTo>
                  <a:lnTo>
                    <a:pt x="462" y="340"/>
                  </a:lnTo>
                  <a:lnTo>
                    <a:pt x="463" y="330"/>
                  </a:lnTo>
                  <a:lnTo>
                    <a:pt x="467" y="322"/>
                  </a:lnTo>
                  <a:lnTo>
                    <a:pt x="474" y="301"/>
                  </a:lnTo>
                  <a:lnTo>
                    <a:pt x="478" y="282"/>
                  </a:lnTo>
                  <a:lnTo>
                    <a:pt x="482" y="263"/>
                  </a:lnTo>
                  <a:lnTo>
                    <a:pt x="483" y="242"/>
                  </a:lnTo>
                  <a:lnTo>
                    <a:pt x="487" y="110"/>
                  </a:lnTo>
                  <a:lnTo>
                    <a:pt x="487" y="99"/>
                  </a:lnTo>
                  <a:lnTo>
                    <a:pt x="485" y="88"/>
                  </a:lnTo>
                  <a:lnTo>
                    <a:pt x="483" y="77"/>
                  </a:lnTo>
                  <a:lnTo>
                    <a:pt x="478" y="67"/>
                  </a:lnTo>
                  <a:lnTo>
                    <a:pt x="474" y="58"/>
                  </a:lnTo>
                  <a:lnTo>
                    <a:pt x="469" y="48"/>
                  </a:lnTo>
                  <a:lnTo>
                    <a:pt x="462" y="40"/>
                  </a:lnTo>
                  <a:lnTo>
                    <a:pt x="455" y="32"/>
                  </a:lnTo>
                  <a:lnTo>
                    <a:pt x="447" y="25"/>
                  </a:lnTo>
                  <a:lnTo>
                    <a:pt x="439" y="18"/>
                  </a:lnTo>
                  <a:lnTo>
                    <a:pt x="430" y="13"/>
                  </a:lnTo>
                  <a:lnTo>
                    <a:pt x="420" y="8"/>
                  </a:lnTo>
                  <a:lnTo>
                    <a:pt x="410" y="5"/>
                  </a:lnTo>
                  <a:lnTo>
                    <a:pt x="400" y="2"/>
                  </a:lnTo>
                  <a:lnTo>
                    <a:pt x="388" y="0"/>
                  </a:lnTo>
                  <a:lnTo>
                    <a:pt x="377" y="0"/>
                  </a:lnTo>
                  <a:lnTo>
                    <a:pt x="367" y="0"/>
                  </a:lnTo>
                  <a:lnTo>
                    <a:pt x="356" y="2"/>
                  </a:lnTo>
                  <a:lnTo>
                    <a:pt x="345" y="4"/>
                  </a:lnTo>
                  <a:lnTo>
                    <a:pt x="335" y="7"/>
                  </a:lnTo>
                  <a:lnTo>
                    <a:pt x="326" y="12"/>
                  </a:lnTo>
                  <a:lnTo>
                    <a:pt x="317" y="17"/>
                  </a:lnTo>
                  <a:lnTo>
                    <a:pt x="308" y="24"/>
                  </a:lnTo>
                  <a:lnTo>
                    <a:pt x="302" y="30"/>
                  </a:lnTo>
                  <a:lnTo>
                    <a:pt x="294" y="37"/>
                  </a:lnTo>
                  <a:lnTo>
                    <a:pt x="289" y="45"/>
                  </a:lnTo>
                  <a:lnTo>
                    <a:pt x="284" y="55"/>
                  </a:lnTo>
                  <a:lnTo>
                    <a:pt x="279" y="63"/>
                  </a:lnTo>
                  <a:lnTo>
                    <a:pt x="276" y="73"/>
                  </a:lnTo>
                  <a:lnTo>
                    <a:pt x="273" y="84"/>
                  </a:lnTo>
                  <a:lnTo>
                    <a:pt x="272" y="94"/>
                  </a:lnTo>
                  <a:lnTo>
                    <a:pt x="271" y="105"/>
                  </a:lnTo>
                  <a:lnTo>
                    <a:pt x="271" y="241"/>
                  </a:lnTo>
                  <a:lnTo>
                    <a:pt x="272" y="262"/>
                  </a:lnTo>
                  <a:lnTo>
                    <a:pt x="274" y="282"/>
                  </a:lnTo>
                  <a:lnTo>
                    <a:pt x="279" y="301"/>
                  </a:lnTo>
                  <a:lnTo>
                    <a:pt x="287" y="322"/>
                  </a:lnTo>
                  <a:lnTo>
                    <a:pt x="289" y="330"/>
                  </a:lnTo>
                  <a:lnTo>
                    <a:pt x="290" y="340"/>
                  </a:lnTo>
                  <a:lnTo>
                    <a:pt x="290" y="348"/>
                  </a:lnTo>
                  <a:lnTo>
                    <a:pt x="289" y="354"/>
                  </a:lnTo>
                  <a:lnTo>
                    <a:pt x="286" y="356"/>
                  </a:lnTo>
                  <a:lnTo>
                    <a:pt x="283" y="359"/>
                  </a:lnTo>
                  <a:lnTo>
                    <a:pt x="278" y="361"/>
                  </a:lnTo>
                  <a:lnTo>
                    <a:pt x="271" y="361"/>
                  </a:lnTo>
                  <a:lnTo>
                    <a:pt x="75" y="361"/>
                  </a:lnTo>
                  <a:lnTo>
                    <a:pt x="68" y="362"/>
                  </a:lnTo>
                  <a:lnTo>
                    <a:pt x="60" y="363"/>
                  </a:lnTo>
                  <a:lnTo>
                    <a:pt x="54" y="367"/>
                  </a:lnTo>
                  <a:lnTo>
                    <a:pt x="46" y="370"/>
                  </a:lnTo>
                  <a:lnTo>
                    <a:pt x="40" y="374"/>
                  </a:lnTo>
                  <a:lnTo>
                    <a:pt x="34" y="379"/>
                  </a:lnTo>
                  <a:lnTo>
                    <a:pt x="28" y="386"/>
                  </a:lnTo>
                  <a:lnTo>
                    <a:pt x="22" y="392"/>
                  </a:lnTo>
                  <a:lnTo>
                    <a:pt x="17" y="399"/>
                  </a:lnTo>
                  <a:lnTo>
                    <a:pt x="13" y="406"/>
                  </a:lnTo>
                  <a:lnTo>
                    <a:pt x="9" y="414"/>
                  </a:lnTo>
                  <a:lnTo>
                    <a:pt x="6" y="421"/>
                  </a:lnTo>
                  <a:lnTo>
                    <a:pt x="3" y="429"/>
                  </a:lnTo>
                  <a:lnTo>
                    <a:pt x="1" y="436"/>
                  </a:lnTo>
                  <a:lnTo>
                    <a:pt x="0" y="444"/>
                  </a:lnTo>
                  <a:lnTo>
                    <a:pt x="0" y="453"/>
                  </a:lnTo>
                  <a:lnTo>
                    <a:pt x="0" y="588"/>
                  </a:lnTo>
                  <a:lnTo>
                    <a:pt x="0" y="590"/>
                  </a:lnTo>
                  <a:lnTo>
                    <a:pt x="1" y="593"/>
                  </a:lnTo>
                  <a:lnTo>
                    <a:pt x="2" y="597"/>
                  </a:lnTo>
                  <a:lnTo>
                    <a:pt x="4" y="599"/>
                  </a:lnTo>
                  <a:lnTo>
                    <a:pt x="6" y="600"/>
                  </a:lnTo>
                  <a:lnTo>
                    <a:pt x="8" y="602"/>
                  </a:lnTo>
                  <a:lnTo>
                    <a:pt x="12" y="602"/>
                  </a:lnTo>
                  <a:lnTo>
                    <a:pt x="15" y="603"/>
                  </a:lnTo>
                  <a:lnTo>
                    <a:pt x="30" y="603"/>
                  </a:lnTo>
                  <a:lnTo>
                    <a:pt x="30" y="889"/>
                  </a:lnTo>
                  <a:lnTo>
                    <a:pt x="30" y="892"/>
                  </a:lnTo>
                  <a:lnTo>
                    <a:pt x="31" y="896"/>
                  </a:lnTo>
                  <a:lnTo>
                    <a:pt x="32" y="898"/>
                  </a:lnTo>
                  <a:lnTo>
                    <a:pt x="34" y="900"/>
                  </a:lnTo>
                  <a:lnTo>
                    <a:pt x="36" y="902"/>
                  </a:lnTo>
                  <a:lnTo>
                    <a:pt x="40" y="903"/>
                  </a:lnTo>
                  <a:lnTo>
                    <a:pt x="42" y="904"/>
                  </a:lnTo>
                  <a:lnTo>
                    <a:pt x="45" y="904"/>
                  </a:lnTo>
                  <a:lnTo>
                    <a:pt x="150" y="904"/>
                  </a:lnTo>
                  <a:lnTo>
                    <a:pt x="155" y="904"/>
                  </a:lnTo>
                  <a:lnTo>
                    <a:pt x="158" y="902"/>
                  </a:lnTo>
                  <a:lnTo>
                    <a:pt x="161" y="900"/>
                  </a:lnTo>
                  <a:lnTo>
                    <a:pt x="164" y="896"/>
                  </a:lnTo>
                  <a:lnTo>
                    <a:pt x="211" y="802"/>
                  </a:lnTo>
                  <a:lnTo>
                    <a:pt x="211" y="889"/>
                  </a:lnTo>
                  <a:lnTo>
                    <a:pt x="211" y="892"/>
                  </a:lnTo>
                  <a:lnTo>
                    <a:pt x="212" y="896"/>
                  </a:lnTo>
                  <a:lnTo>
                    <a:pt x="214" y="898"/>
                  </a:lnTo>
                  <a:lnTo>
                    <a:pt x="215" y="900"/>
                  </a:lnTo>
                  <a:lnTo>
                    <a:pt x="217" y="902"/>
                  </a:lnTo>
                  <a:lnTo>
                    <a:pt x="220" y="903"/>
                  </a:lnTo>
                  <a:lnTo>
                    <a:pt x="222" y="904"/>
                  </a:lnTo>
                  <a:lnTo>
                    <a:pt x="226" y="904"/>
                  </a:lnTo>
                  <a:lnTo>
                    <a:pt x="709" y="904"/>
                  </a:lnTo>
                  <a:lnTo>
                    <a:pt x="712" y="904"/>
                  </a:lnTo>
                  <a:lnTo>
                    <a:pt x="714" y="903"/>
                  </a:lnTo>
                  <a:lnTo>
                    <a:pt x="717" y="902"/>
                  </a:lnTo>
                  <a:lnTo>
                    <a:pt x="719" y="900"/>
                  </a:lnTo>
                  <a:lnTo>
                    <a:pt x="720" y="898"/>
                  </a:lnTo>
                  <a:lnTo>
                    <a:pt x="723" y="896"/>
                  </a:lnTo>
                  <a:lnTo>
                    <a:pt x="724" y="892"/>
                  </a:lnTo>
                  <a:lnTo>
                    <a:pt x="724" y="889"/>
                  </a:lnTo>
                  <a:lnTo>
                    <a:pt x="724" y="603"/>
                  </a:lnTo>
                  <a:lnTo>
                    <a:pt x="739" y="603"/>
                  </a:lnTo>
                  <a:lnTo>
                    <a:pt x="742" y="602"/>
                  </a:lnTo>
                  <a:lnTo>
                    <a:pt x="744" y="602"/>
                  </a:lnTo>
                  <a:lnTo>
                    <a:pt x="747" y="600"/>
                  </a:lnTo>
                  <a:lnTo>
                    <a:pt x="749" y="599"/>
                  </a:lnTo>
                  <a:lnTo>
                    <a:pt x="752" y="597"/>
                  </a:lnTo>
                  <a:lnTo>
                    <a:pt x="753" y="593"/>
                  </a:lnTo>
                  <a:lnTo>
                    <a:pt x="754" y="591"/>
                  </a:lnTo>
                  <a:lnTo>
                    <a:pt x="754" y="588"/>
                  </a:lnTo>
                  <a:lnTo>
                    <a:pt x="754" y="451"/>
                  </a:lnTo>
                  <a:lnTo>
                    <a:pt x="754" y="444"/>
                  </a:lnTo>
                  <a:lnTo>
                    <a:pt x="752" y="436"/>
                  </a:lnTo>
                  <a:lnTo>
                    <a:pt x="751" y="429"/>
                  </a:lnTo>
                  <a:lnTo>
                    <a:pt x="747" y="421"/>
                  </a:lnTo>
                  <a:lnTo>
                    <a:pt x="744" y="414"/>
                  </a:lnTo>
                  <a:lnTo>
                    <a:pt x="741" y="406"/>
                  </a:lnTo>
                  <a:lnTo>
                    <a:pt x="735" y="399"/>
                  </a:lnTo>
                  <a:lnTo>
                    <a:pt x="731" y="392"/>
                  </a:lnTo>
                  <a:lnTo>
                    <a:pt x="726" y="386"/>
                  </a:lnTo>
                  <a:lnTo>
                    <a:pt x="719" y="379"/>
                  </a:lnTo>
                  <a:lnTo>
                    <a:pt x="714" y="374"/>
                  </a:lnTo>
                  <a:lnTo>
                    <a:pt x="706" y="370"/>
                  </a:lnTo>
                  <a:lnTo>
                    <a:pt x="700" y="367"/>
                  </a:lnTo>
                  <a:lnTo>
                    <a:pt x="692" y="364"/>
                  </a:lnTo>
                  <a:lnTo>
                    <a:pt x="686" y="362"/>
                  </a:lnTo>
                  <a:lnTo>
                    <a:pt x="678" y="361"/>
                  </a:lnTo>
                  <a:lnTo>
                    <a:pt x="678" y="3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10"/>
            <p:cNvSpPr>
              <a:spLocks noEditPoints="1"/>
            </p:cNvSpPr>
            <p:nvPr/>
          </p:nvSpPr>
          <p:spPr bwMode="auto">
            <a:xfrm>
              <a:off x="5619750" y="801688"/>
              <a:ext cx="22225" cy="22225"/>
            </a:xfrm>
            <a:custGeom>
              <a:avLst/>
              <a:gdLst>
                <a:gd name="T0" fmla="*/ 30 w 69"/>
                <a:gd name="T1" fmla="*/ 34 h 68"/>
                <a:gd name="T2" fmla="*/ 31 w 69"/>
                <a:gd name="T3" fmla="*/ 32 h 68"/>
                <a:gd name="T4" fmla="*/ 31 w 69"/>
                <a:gd name="T5" fmla="*/ 31 h 68"/>
                <a:gd name="T6" fmla="*/ 33 w 69"/>
                <a:gd name="T7" fmla="*/ 30 h 68"/>
                <a:gd name="T8" fmla="*/ 34 w 69"/>
                <a:gd name="T9" fmla="*/ 30 h 68"/>
                <a:gd name="T10" fmla="*/ 35 w 69"/>
                <a:gd name="T11" fmla="*/ 30 h 68"/>
                <a:gd name="T12" fmla="*/ 38 w 69"/>
                <a:gd name="T13" fmla="*/ 31 h 68"/>
                <a:gd name="T14" fmla="*/ 38 w 69"/>
                <a:gd name="T15" fmla="*/ 32 h 68"/>
                <a:gd name="T16" fmla="*/ 39 w 69"/>
                <a:gd name="T17" fmla="*/ 34 h 68"/>
                <a:gd name="T18" fmla="*/ 38 w 69"/>
                <a:gd name="T19" fmla="*/ 36 h 68"/>
                <a:gd name="T20" fmla="*/ 36 w 69"/>
                <a:gd name="T21" fmla="*/ 37 h 68"/>
                <a:gd name="T22" fmla="*/ 35 w 69"/>
                <a:gd name="T23" fmla="*/ 37 h 68"/>
                <a:gd name="T24" fmla="*/ 34 w 69"/>
                <a:gd name="T25" fmla="*/ 37 h 68"/>
                <a:gd name="T26" fmla="*/ 33 w 69"/>
                <a:gd name="T27" fmla="*/ 37 h 68"/>
                <a:gd name="T28" fmla="*/ 31 w 69"/>
                <a:gd name="T29" fmla="*/ 37 h 68"/>
                <a:gd name="T30" fmla="*/ 31 w 69"/>
                <a:gd name="T31" fmla="*/ 36 h 68"/>
                <a:gd name="T32" fmla="*/ 30 w 69"/>
                <a:gd name="T33" fmla="*/ 34 h 68"/>
                <a:gd name="T34" fmla="*/ 34 w 69"/>
                <a:gd name="T35" fmla="*/ 0 h 68"/>
                <a:gd name="T36" fmla="*/ 28 w 69"/>
                <a:gd name="T37" fmla="*/ 0 h 68"/>
                <a:gd name="T38" fmla="*/ 21 w 69"/>
                <a:gd name="T39" fmla="*/ 2 h 68"/>
                <a:gd name="T40" fmla="*/ 15 w 69"/>
                <a:gd name="T41" fmla="*/ 6 h 68"/>
                <a:gd name="T42" fmla="*/ 11 w 69"/>
                <a:gd name="T43" fmla="*/ 10 h 68"/>
                <a:gd name="T44" fmla="*/ 6 w 69"/>
                <a:gd name="T45" fmla="*/ 15 h 68"/>
                <a:gd name="T46" fmla="*/ 3 w 69"/>
                <a:gd name="T47" fmla="*/ 21 h 68"/>
                <a:gd name="T48" fmla="*/ 1 w 69"/>
                <a:gd name="T49" fmla="*/ 27 h 68"/>
                <a:gd name="T50" fmla="*/ 0 w 69"/>
                <a:gd name="T51" fmla="*/ 34 h 68"/>
                <a:gd name="T52" fmla="*/ 1 w 69"/>
                <a:gd name="T53" fmla="*/ 41 h 68"/>
                <a:gd name="T54" fmla="*/ 3 w 69"/>
                <a:gd name="T55" fmla="*/ 48 h 68"/>
                <a:gd name="T56" fmla="*/ 6 w 69"/>
                <a:gd name="T57" fmla="*/ 53 h 68"/>
                <a:gd name="T58" fmla="*/ 11 w 69"/>
                <a:gd name="T59" fmla="*/ 58 h 68"/>
                <a:gd name="T60" fmla="*/ 15 w 69"/>
                <a:gd name="T61" fmla="*/ 63 h 68"/>
                <a:gd name="T62" fmla="*/ 21 w 69"/>
                <a:gd name="T63" fmla="*/ 65 h 68"/>
                <a:gd name="T64" fmla="*/ 28 w 69"/>
                <a:gd name="T65" fmla="*/ 67 h 68"/>
                <a:gd name="T66" fmla="*/ 34 w 69"/>
                <a:gd name="T67" fmla="*/ 68 h 68"/>
                <a:gd name="T68" fmla="*/ 41 w 69"/>
                <a:gd name="T69" fmla="*/ 67 h 68"/>
                <a:gd name="T70" fmla="*/ 47 w 69"/>
                <a:gd name="T71" fmla="*/ 65 h 68"/>
                <a:gd name="T72" fmla="*/ 54 w 69"/>
                <a:gd name="T73" fmla="*/ 63 h 68"/>
                <a:gd name="T74" fmla="*/ 58 w 69"/>
                <a:gd name="T75" fmla="*/ 58 h 68"/>
                <a:gd name="T76" fmla="*/ 62 w 69"/>
                <a:gd name="T77" fmla="*/ 53 h 68"/>
                <a:gd name="T78" fmla="*/ 65 w 69"/>
                <a:gd name="T79" fmla="*/ 48 h 68"/>
                <a:gd name="T80" fmla="*/ 68 w 69"/>
                <a:gd name="T81" fmla="*/ 41 h 68"/>
                <a:gd name="T82" fmla="*/ 69 w 69"/>
                <a:gd name="T83" fmla="*/ 34 h 68"/>
                <a:gd name="T84" fmla="*/ 68 w 69"/>
                <a:gd name="T85" fmla="*/ 27 h 68"/>
                <a:gd name="T86" fmla="*/ 65 w 69"/>
                <a:gd name="T87" fmla="*/ 21 h 68"/>
                <a:gd name="T88" fmla="*/ 62 w 69"/>
                <a:gd name="T89" fmla="*/ 15 h 68"/>
                <a:gd name="T90" fmla="*/ 58 w 69"/>
                <a:gd name="T91" fmla="*/ 10 h 68"/>
                <a:gd name="T92" fmla="*/ 54 w 69"/>
                <a:gd name="T93" fmla="*/ 6 h 68"/>
                <a:gd name="T94" fmla="*/ 47 w 69"/>
                <a:gd name="T95" fmla="*/ 2 h 68"/>
                <a:gd name="T96" fmla="*/ 41 w 69"/>
                <a:gd name="T97" fmla="*/ 0 h 68"/>
                <a:gd name="T98" fmla="*/ 34 w 69"/>
                <a:gd name="T99"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69" h="68">
                  <a:moveTo>
                    <a:pt x="30" y="34"/>
                  </a:moveTo>
                  <a:lnTo>
                    <a:pt x="31" y="32"/>
                  </a:lnTo>
                  <a:lnTo>
                    <a:pt x="31" y="31"/>
                  </a:lnTo>
                  <a:lnTo>
                    <a:pt x="33" y="30"/>
                  </a:lnTo>
                  <a:lnTo>
                    <a:pt x="34" y="30"/>
                  </a:lnTo>
                  <a:lnTo>
                    <a:pt x="35" y="30"/>
                  </a:lnTo>
                  <a:lnTo>
                    <a:pt x="38" y="31"/>
                  </a:lnTo>
                  <a:lnTo>
                    <a:pt x="38" y="32"/>
                  </a:lnTo>
                  <a:lnTo>
                    <a:pt x="39" y="34"/>
                  </a:lnTo>
                  <a:lnTo>
                    <a:pt x="38" y="36"/>
                  </a:lnTo>
                  <a:lnTo>
                    <a:pt x="36" y="37"/>
                  </a:lnTo>
                  <a:lnTo>
                    <a:pt x="35" y="37"/>
                  </a:lnTo>
                  <a:lnTo>
                    <a:pt x="34" y="37"/>
                  </a:lnTo>
                  <a:lnTo>
                    <a:pt x="33" y="37"/>
                  </a:lnTo>
                  <a:lnTo>
                    <a:pt x="31" y="37"/>
                  </a:lnTo>
                  <a:lnTo>
                    <a:pt x="31" y="36"/>
                  </a:lnTo>
                  <a:lnTo>
                    <a:pt x="30" y="34"/>
                  </a:lnTo>
                  <a:close/>
                  <a:moveTo>
                    <a:pt x="34" y="0"/>
                  </a:moveTo>
                  <a:lnTo>
                    <a:pt x="28" y="0"/>
                  </a:lnTo>
                  <a:lnTo>
                    <a:pt x="21" y="2"/>
                  </a:lnTo>
                  <a:lnTo>
                    <a:pt x="15" y="6"/>
                  </a:lnTo>
                  <a:lnTo>
                    <a:pt x="11" y="10"/>
                  </a:lnTo>
                  <a:lnTo>
                    <a:pt x="6" y="15"/>
                  </a:lnTo>
                  <a:lnTo>
                    <a:pt x="3" y="21"/>
                  </a:lnTo>
                  <a:lnTo>
                    <a:pt x="1" y="27"/>
                  </a:lnTo>
                  <a:lnTo>
                    <a:pt x="0" y="34"/>
                  </a:lnTo>
                  <a:lnTo>
                    <a:pt x="1" y="41"/>
                  </a:lnTo>
                  <a:lnTo>
                    <a:pt x="3" y="48"/>
                  </a:lnTo>
                  <a:lnTo>
                    <a:pt x="6" y="53"/>
                  </a:lnTo>
                  <a:lnTo>
                    <a:pt x="11" y="58"/>
                  </a:lnTo>
                  <a:lnTo>
                    <a:pt x="15" y="63"/>
                  </a:lnTo>
                  <a:lnTo>
                    <a:pt x="21" y="65"/>
                  </a:lnTo>
                  <a:lnTo>
                    <a:pt x="28" y="67"/>
                  </a:lnTo>
                  <a:lnTo>
                    <a:pt x="34" y="68"/>
                  </a:lnTo>
                  <a:lnTo>
                    <a:pt x="41" y="67"/>
                  </a:lnTo>
                  <a:lnTo>
                    <a:pt x="47" y="65"/>
                  </a:lnTo>
                  <a:lnTo>
                    <a:pt x="54" y="63"/>
                  </a:lnTo>
                  <a:lnTo>
                    <a:pt x="58" y="58"/>
                  </a:lnTo>
                  <a:lnTo>
                    <a:pt x="62" y="53"/>
                  </a:lnTo>
                  <a:lnTo>
                    <a:pt x="65" y="48"/>
                  </a:lnTo>
                  <a:lnTo>
                    <a:pt x="68" y="41"/>
                  </a:lnTo>
                  <a:lnTo>
                    <a:pt x="69" y="34"/>
                  </a:lnTo>
                  <a:lnTo>
                    <a:pt x="68" y="27"/>
                  </a:lnTo>
                  <a:lnTo>
                    <a:pt x="65" y="21"/>
                  </a:lnTo>
                  <a:lnTo>
                    <a:pt x="62" y="15"/>
                  </a:lnTo>
                  <a:lnTo>
                    <a:pt x="58" y="10"/>
                  </a:lnTo>
                  <a:lnTo>
                    <a:pt x="54" y="6"/>
                  </a:lnTo>
                  <a:lnTo>
                    <a:pt x="47" y="2"/>
                  </a:lnTo>
                  <a:lnTo>
                    <a:pt x="41" y="0"/>
                  </a:lnTo>
                  <a:lnTo>
                    <a:pt x="3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57" name="Group 156"/>
          <p:cNvGrpSpPr/>
          <p:nvPr/>
        </p:nvGrpSpPr>
        <p:grpSpPr>
          <a:xfrm>
            <a:off x="9604074" y="4348442"/>
            <a:ext cx="257926" cy="256058"/>
            <a:chOff x="7045325" y="2544763"/>
            <a:chExt cx="219075" cy="217488"/>
          </a:xfrm>
          <a:solidFill>
            <a:srgbClr val="78D2D2"/>
          </a:solidFill>
        </p:grpSpPr>
        <p:sp>
          <p:nvSpPr>
            <p:cNvPr id="158" name="Freeform 174"/>
            <p:cNvSpPr>
              <a:spLocks/>
            </p:cNvSpPr>
            <p:nvPr/>
          </p:nvSpPr>
          <p:spPr bwMode="auto">
            <a:xfrm>
              <a:off x="7045325" y="2614613"/>
              <a:ext cx="133350" cy="147638"/>
            </a:xfrm>
            <a:custGeom>
              <a:avLst/>
              <a:gdLst>
                <a:gd name="T0" fmla="*/ 237 w 422"/>
                <a:gd name="T1" fmla="*/ 402 h 465"/>
                <a:gd name="T2" fmla="*/ 206 w 422"/>
                <a:gd name="T3" fmla="*/ 422 h 465"/>
                <a:gd name="T4" fmla="*/ 172 w 422"/>
                <a:gd name="T5" fmla="*/ 433 h 465"/>
                <a:gd name="T6" fmla="*/ 141 w 422"/>
                <a:gd name="T7" fmla="*/ 434 h 465"/>
                <a:gd name="T8" fmla="*/ 113 w 422"/>
                <a:gd name="T9" fmla="*/ 424 h 465"/>
                <a:gd name="T10" fmla="*/ 88 w 422"/>
                <a:gd name="T11" fmla="*/ 407 h 465"/>
                <a:gd name="T12" fmla="*/ 47 w 422"/>
                <a:gd name="T13" fmla="*/ 362 h 465"/>
                <a:gd name="T14" fmla="*/ 34 w 422"/>
                <a:gd name="T15" fmla="*/ 334 h 465"/>
                <a:gd name="T16" fmla="*/ 30 w 422"/>
                <a:gd name="T17" fmla="*/ 306 h 465"/>
                <a:gd name="T18" fmla="*/ 34 w 422"/>
                <a:gd name="T19" fmla="*/ 277 h 465"/>
                <a:gd name="T20" fmla="*/ 47 w 422"/>
                <a:gd name="T21" fmla="*/ 250 h 465"/>
                <a:gd name="T22" fmla="*/ 223 w 422"/>
                <a:gd name="T23" fmla="*/ 69 h 465"/>
                <a:gd name="T24" fmla="*/ 255 w 422"/>
                <a:gd name="T25" fmla="*/ 44 h 465"/>
                <a:gd name="T26" fmla="*/ 288 w 422"/>
                <a:gd name="T27" fmla="*/ 32 h 465"/>
                <a:gd name="T28" fmla="*/ 322 w 422"/>
                <a:gd name="T29" fmla="*/ 32 h 465"/>
                <a:gd name="T30" fmla="*/ 355 w 422"/>
                <a:gd name="T31" fmla="*/ 46 h 465"/>
                <a:gd name="T32" fmla="*/ 386 w 422"/>
                <a:gd name="T33" fmla="*/ 71 h 465"/>
                <a:gd name="T34" fmla="*/ 400 w 422"/>
                <a:gd name="T35" fmla="*/ 87 h 465"/>
                <a:gd name="T36" fmla="*/ 407 w 422"/>
                <a:gd name="T37" fmla="*/ 90 h 465"/>
                <a:gd name="T38" fmla="*/ 416 w 422"/>
                <a:gd name="T39" fmla="*/ 86 h 465"/>
                <a:gd name="T40" fmla="*/ 421 w 422"/>
                <a:gd name="T41" fmla="*/ 79 h 465"/>
                <a:gd name="T42" fmla="*/ 421 w 422"/>
                <a:gd name="T43" fmla="*/ 70 h 465"/>
                <a:gd name="T44" fmla="*/ 407 w 422"/>
                <a:gd name="T45" fmla="*/ 51 h 465"/>
                <a:gd name="T46" fmla="*/ 370 w 422"/>
                <a:gd name="T47" fmla="*/ 19 h 465"/>
                <a:gd name="T48" fmla="*/ 327 w 422"/>
                <a:gd name="T49" fmla="*/ 2 h 465"/>
                <a:gd name="T50" fmla="*/ 284 w 422"/>
                <a:gd name="T51" fmla="*/ 2 h 465"/>
                <a:gd name="T52" fmla="*/ 242 w 422"/>
                <a:gd name="T53" fmla="*/ 18 h 465"/>
                <a:gd name="T54" fmla="*/ 202 w 422"/>
                <a:gd name="T55" fmla="*/ 49 h 465"/>
                <a:gd name="T56" fmla="*/ 21 w 422"/>
                <a:gd name="T57" fmla="*/ 233 h 465"/>
                <a:gd name="T58" fmla="*/ 5 w 422"/>
                <a:gd name="T59" fmla="*/ 268 h 465"/>
                <a:gd name="T60" fmla="*/ 0 w 422"/>
                <a:gd name="T61" fmla="*/ 306 h 465"/>
                <a:gd name="T62" fmla="*/ 5 w 422"/>
                <a:gd name="T63" fmla="*/ 343 h 465"/>
                <a:gd name="T64" fmla="*/ 21 w 422"/>
                <a:gd name="T65" fmla="*/ 378 h 465"/>
                <a:gd name="T66" fmla="*/ 67 w 422"/>
                <a:gd name="T67" fmla="*/ 429 h 465"/>
                <a:gd name="T68" fmla="*/ 97 w 422"/>
                <a:gd name="T69" fmla="*/ 450 h 465"/>
                <a:gd name="T70" fmla="*/ 131 w 422"/>
                <a:gd name="T71" fmla="*/ 462 h 465"/>
                <a:gd name="T72" fmla="*/ 159 w 422"/>
                <a:gd name="T73" fmla="*/ 464 h 465"/>
                <a:gd name="T74" fmla="*/ 191 w 422"/>
                <a:gd name="T75" fmla="*/ 460 h 465"/>
                <a:gd name="T76" fmla="*/ 231 w 422"/>
                <a:gd name="T77" fmla="*/ 442 h 465"/>
                <a:gd name="T78" fmla="*/ 268 w 422"/>
                <a:gd name="T79" fmla="*/ 414 h 465"/>
                <a:gd name="T80" fmla="*/ 391 w 422"/>
                <a:gd name="T81" fmla="*/ 288 h 465"/>
                <a:gd name="T82" fmla="*/ 391 w 422"/>
                <a:gd name="T83" fmla="*/ 281 h 465"/>
                <a:gd name="T84" fmla="*/ 388 w 422"/>
                <a:gd name="T85" fmla="*/ 272 h 465"/>
                <a:gd name="T86" fmla="*/ 379 w 422"/>
                <a:gd name="T87" fmla="*/ 268 h 465"/>
                <a:gd name="T88" fmla="*/ 371 w 422"/>
                <a:gd name="T89" fmla="*/ 269 h 4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22" h="465">
                  <a:moveTo>
                    <a:pt x="367" y="272"/>
                  </a:moveTo>
                  <a:lnTo>
                    <a:pt x="247" y="392"/>
                  </a:lnTo>
                  <a:lnTo>
                    <a:pt x="237" y="402"/>
                  </a:lnTo>
                  <a:lnTo>
                    <a:pt x="226" y="409"/>
                  </a:lnTo>
                  <a:lnTo>
                    <a:pt x="217" y="417"/>
                  </a:lnTo>
                  <a:lnTo>
                    <a:pt x="206" y="422"/>
                  </a:lnTo>
                  <a:lnTo>
                    <a:pt x="194" y="427"/>
                  </a:lnTo>
                  <a:lnTo>
                    <a:pt x="184" y="431"/>
                  </a:lnTo>
                  <a:lnTo>
                    <a:pt x="172" y="433"/>
                  </a:lnTo>
                  <a:lnTo>
                    <a:pt x="161" y="434"/>
                  </a:lnTo>
                  <a:lnTo>
                    <a:pt x="150" y="434"/>
                  </a:lnTo>
                  <a:lnTo>
                    <a:pt x="141" y="434"/>
                  </a:lnTo>
                  <a:lnTo>
                    <a:pt x="131" y="432"/>
                  </a:lnTo>
                  <a:lnTo>
                    <a:pt x="122" y="429"/>
                  </a:lnTo>
                  <a:lnTo>
                    <a:pt x="113" y="424"/>
                  </a:lnTo>
                  <a:lnTo>
                    <a:pt x="104" y="420"/>
                  </a:lnTo>
                  <a:lnTo>
                    <a:pt x="96" y="414"/>
                  </a:lnTo>
                  <a:lnTo>
                    <a:pt x="88" y="407"/>
                  </a:lnTo>
                  <a:lnTo>
                    <a:pt x="58" y="377"/>
                  </a:lnTo>
                  <a:lnTo>
                    <a:pt x="52" y="370"/>
                  </a:lnTo>
                  <a:lnTo>
                    <a:pt x="47" y="362"/>
                  </a:lnTo>
                  <a:lnTo>
                    <a:pt x="41" y="354"/>
                  </a:lnTo>
                  <a:lnTo>
                    <a:pt x="37" y="344"/>
                  </a:lnTo>
                  <a:lnTo>
                    <a:pt x="34" y="334"/>
                  </a:lnTo>
                  <a:lnTo>
                    <a:pt x="32" y="325"/>
                  </a:lnTo>
                  <a:lnTo>
                    <a:pt x="31" y="315"/>
                  </a:lnTo>
                  <a:lnTo>
                    <a:pt x="30" y="306"/>
                  </a:lnTo>
                  <a:lnTo>
                    <a:pt x="31" y="296"/>
                  </a:lnTo>
                  <a:lnTo>
                    <a:pt x="32" y="286"/>
                  </a:lnTo>
                  <a:lnTo>
                    <a:pt x="34" y="277"/>
                  </a:lnTo>
                  <a:lnTo>
                    <a:pt x="37" y="267"/>
                  </a:lnTo>
                  <a:lnTo>
                    <a:pt x="41" y="258"/>
                  </a:lnTo>
                  <a:lnTo>
                    <a:pt x="47" y="250"/>
                  </a:lnTo>
                  <a:lnTo>
                    <a:pt x="52" y="241"/>
                  </a:lnTo>
                  <a:lnTo>
                    <a:pt x="58" y="234"/>
                  </a:lnTo>
                  <a:lnTo>
                    <a:pt x="223" y="69"/>
                  </a:lnTo>
                  <a:lnTo>
                    <a:pt x="234" y="60"/>
                  </a:lnTo>
                  <a:lnTo>
                    <a:pt x="245" y="51"/>
                  </a:lnTo>
                  <a:lnTo>
                    <a:pt x="255" y="44"/>
                  </a:lnTo>
                  <a:lnTo>
                    <a:pt x="266" y="38"/>
                  </a:lnTo>
                  <a:lnTo>
                    <a:pt x="278" y="34"/>
                  </a:lnTo>
                  <a:lnTo>
                    <a:pt x="288" y="32"/>
                  </a:lnTo>
                  <a:lnTo>
                    <a:pt x="299" y="30"/>
                  </a:lnTo>
                  <a:lnTo>
                    <a:pt x="311" y="30"/>
                  </a:lnTo>
                  <a:lnTo>
                    <a:pt x="322" y="32"/>
                  </a:lnTo>
                  <a:lnTo>
                    <a:pt x="333" y="35"/>
                  </a:lnTo>
                  <a:lnTo>
                    <a:pt x="344" y="39"/>
                  </a:lnTo>
                  <a:lnTo>
                    <a:pt x="355" y="46"/>
                  </a:lnTo>
                  <a:lnTo>
                    <a:pt x="365" y="53"/>
                  </a:lnTo>
                  <a:lnTo>
                    <a:pt x="376" y="62"/>
                  </a:lnTo>
                  <a:lnTo>
                    <a:pt x="386" y="71"/>
                  </a:lnTo>
                  <a:lnTo>
                    <a:pt x="394" y="83"/>
                  </a:lnTo>
                  <a:lnTo>
                    <a:pt x="397" y="85"/>
                  </a:lnTo>
                  <a:lnTo>
                    <a:pt x="400" y="87"/>
                  </a:lnTo>
                  <a:lnTo>
                    <a:pt x="402" y="88"/>
                  </a:lnTo>
                  <a:lnTo>
                    <a:pt x="405" y="88"/>
                  </a:lnTo>
                  <a:lnTo>
                    <a:pt x="407" y="90"/>
                  </a:lnTo>
                  <a:lnTo>
                    <a:pt x="410" y="88"/>
                  </a:lnTo>
                  <a:lnTo>
                    <a:pt x="414" y="87"/>
                  </a:lnTo>
                  <a:lnTo>
                    <a:pt x="416" y="86"/>
                  </a:lnTo>
                  <a:lnTo>
                    <a:pt x="418" y="84"/>
                  </a:lnTo>
                  <a:lnTo>
                    <a:pt x="420" y="82"/>
                  </a:lnTo>
                  <a:lnTo>
                    <a:pt x="421" y="79"/>
                  </a:lnTo>
                  <a:lnTo>
                    <a:pt x="422" y="77"/>
                  </a:lnTo>
                  <a:lnTo>
                    <a:pt x="422" y="74"/>
                  </a:lnTo>
                  <a:lnTo>
                    <a:pt x="421" y="70"/>
                  </a:lnTo>
                  <a:lnTo>
                    <a:pt x="420" y="68"/>
                  </a:lnTo>
                  <a:lnTo>
                    <a:pt x="419" y="65"/>
                  </a:lnTo>
                  <a:lnTo>
                    <a:pt x="407" y="51"/>
                  </a:lnTo>
                  <a:lnTo>
                    <a:pt x="395" y="39"/>
                  </a:lnTo>
                  <a:lnTo>
                    <a:pt x="383" y="29"/>
                  </a:lnTo>
                  <a:lnTo>
                    <a:pt x="370" y="19"/>
                  </a:lnTo>
                  <a:lnTo>
                    <a:pt x="356" y="11"/>
                  </a:lnTo>
                  <a:lnTo>
                    <a:pt x="342" y="6"/>
                  </a:lnTo>
                  <a:lnTo>
                    <a:pt x="327" y="2"/>
                  </a:lnTo>
                  <a:lnTo>
                    <a:pt x="313" y="0"/>
                  </a:lnTo>
                  <a:lnTo>
                    <a:pt x="298" y="0"/>
                  </a:lnTo>
                  <a:lnTo>
                    <a:pt x="284" y="2"/>
                  </a:lnTo>
                  <a:lnTo>
                    <a:pt x="270" y="5"/>
                  </a:lnTo>
                  <a:lnTo>
                    <a:pt x="256" y="10"/>
                  </a:lnTo>
                  <a:lnTo>
                    <a:pt x="242" y="18"/>
                  </a:lnTo>
                  <a:lnTo>
                    <a:pt x="229" y="26"/>
                  </a:lnTo>
                  <a:lnTo>
                    <a:pt x="215" y="36"/>
                  </a:lnTo>
                  <a:lnTo>
                    <a:pt x="202" y="49"/>
                  </a:lnTo>
                  <a:lnTo>
                    <a:pt x="37" y="213"/>
                  </a:lnTo>
                  <a:lnTo>
                    <a:pt x="29" y="223"/>
                  </a:lnTo>
                  <a:lnTo>
                    <a:pt x="21" y="233"/>
                  </a:lnTo>
                  <a:lnTo>
                    <a:pt x="15" y="245"/>
                  </a:lnTo>
                  <a:lnTo>
                    <a:pt x="9" y="256"/>
                  </a:lnTo>
                  <a:lnTo>
                    <a:pt x="5" y="268"/>
                  </a:lnTo>
                  <a:lnTo>
                    <a:pt x="2" y="281"/>
                  </a:lnTo>
                  <a:lnTo>
                    <a:pt x="1" y="293"/>
                  </a:lnTo>
                  <a:lnTo>
                    <a:pt x="0" y="306"/>
                  </a:lnTo>
                  <a:lnTo>
                    <a:pt x="1" y="318"/>
                  </a:lnTo>
                  <a:lnTo>
                    <a:pt x="2" y="331"/>
                  </a:lnTo>
                  <a:lnTo>
                    <a:pt x="5" y="343"/>
                  </a:lnTo>
                  <a:lnTo>
                    <a:pt x="9" y="356"/>
                  </a:lnTo>
                  <a:lnTo>
                    <a:pt x="15" y="366"/>
                  </a:lnTo>
                  <a:lnTo>
                    <a:pt x="21" y="378"/>
                  </a:lnTo>
                  <a:lnTo>
                    <a:pt x="29" y="389"/>
                  </a:lnTo>
                  <a:lnTo>
                    <a:pt x="37" y="399"/>
                  </a:lnTo>
                  <a:lnTo>
                    <a:pt x="67" y="429"/>
                  </a:lnTo>
                  <a:lnTo>
                    <a:pt x="77" y="436"/>
                  </a:lnTo>
                  <a:lnTo>
                    <a:pt x="86" y="443"/>
                  </a:lnTo>
                  <a:lnTo>
                    <a:pt x="97" y="450"/>
                  </a:lnTo>
                  <a:lnTo>
                    <a:pt x="108" y="455"/>
                  </a:lnTo>
                  <a:lnTo>
                    <a:pt x="119" y="460"/>
                  </a:lnTo>
                  <a:lnTo>
                    <a:pt x="131" y="462"/>
                  </a:lnTo>
                  <a:lnTo>
                    <a:pt x="143" y="464"/>
                  </a:lnTo>
                  <a:lnTo>
                    <a:pt x="155" y="465"/>
                  </a:lnTo>
                  <a:lnTo>
                    <a:pt x="159" y="464"/>
                  </a:lnTo>
                  <a:lnTo>
                    <a:pt x="162" y="464"/>
                  </a:lnTo>
                  <a:lnTo>
                    <a:pt x="177" y="463"/>
                  </a:lnTo>
                  <a:lnTo>
                    <a:pt x="191" y="460"/>
                  </a:lnTo>
                  <a:lnTo>
                    <a:pt x="204" y="455"/>
                  </a:lnTo>
                  <a:lnTo>
                    <a:pt x="218" y="450"/>
                  </a:lnTo>
                  <a:lnTo>
                    <a:pt x="231" y="442"/>
                  </a:lnTo>
                  <a:lnTo>
                    <a:pt x="244" y="434"/>
                  </a:lnTo>
                  <a:lnTo>
                    <a:pt x="256" y="424"/>
                  </a:lnTo>
                  <a:lnTo>
                    <a:pt x="268" y="414"/>
                  </a:lnTo>
                  <a:lnTo>
                    <a:pt x="388" y="294"/>
                  </a:lnTo>
                  <a:lnTo>
                    <a:pt x="389" y="292"/>
                  </a:lnTo>
                  <a:lnTo>
                    <a:pt x="391" y="288"/>
                  </a:lnTo>
                  <a:lnTo>
                    <a:pt x="391" y="286"/>
                  </a:lnTo>
                  <a:lnTo>
                    <a:pt x="392" y="283"/>
                  </a:lnTo>
                  <a:lnTo>
                    <a:pt x="391" y="281"/>
                  </a:lnTo>
                  <a:lnTo>
                    <a:pt x="391" y="278"/>
                  </a:lnTo>
                  <a:lnTo>
                    <a:pt x="389" y="275"/>
                  </a:lnTo>
                  <a:lnTo>
                    <a:pt x="388" y="272"/>
                  </a:lnTo>
                  <a:lnTo>
                    <a:pt x="385" y="270"/>
                  </a:lnTo>
                  <a:lnTo>
                    <a:pt x="383" y="269"/>
                  </a:lnTo>
                  <a:lnTo>
                    <a:pt x="379" y="268"/>
                  </a:lnTo>
                  <a:lnTo>
                    <a:pt x="377" y="268"/>
                  </a:lnTo>
                  <a:lnTo>
                    <a:pt x="374" y="268"/>
                  </a:lnTo>
                  <a:lnTo>
                    <a:pt x="371" y="269"/>
                  </a:lnTo>
                  <a:lnTo>
                    <a:pt x="369" y="270"/>
                  </a:lnTo>
                  <a:lnTo>
                    <a:pt x="367" y="2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175"/>
            <p:cNvSpPr>
              <a:spLocks/>
            </p:cNvSpPr>
            <p:nvPr/>
          </p:nvSpPr>
          <p:spPr bwMode="auto">
            <a:xfrm>
              <a:off x="7140575" y="2544763"/>
              <a:ext cx="123825" cy="146050"/>
            </a:xfrm>
            <a:custGeom>
              <a:avLst/>
              <a:gdLst>
                <a:gd name="T0" fmla="*/ 315 w 392"/>
                <a:gd name="T1" fmla="*/ 38 h 458"/>
                <a:gd name="T2" fmla="*/ 283 w 392"/>
                <a:gd name="T3" fmla="*/ 16 h 458"/>
                <a:gd name="T4" fmla="*/ 245 w 392"/>
                <a:gd name="T5" fmla="*/ 4 h 458"/>
                <a:gd name="T6" fmla="*/ 208 w 392"/>
                <a:gd name="T7" fmla="*/ 1 h 458"/>
                <a:gd name="T8" fmla="*/ 172 w 392"/>
                <a:gd name="T9" fmla="*/ 10 h 458"/>
                <a:gd name="T10" fmla="*/ 139 w 392"/>
                <a:gd name="T11" fmla="*/ 31 h 458"/>
                <a:gd name="T12" fmla="*/ 1 w 392"/>
                <a:gd name="T13" fmla="*/ 171 h 458"/>
                <a:gd name="T14" fmla="*/ 0 w 392"/>
                <a:gd name="T15" fmla="*/ 179 h 458"/>
                <a:gd name="T16" fmla="*/ 5 w 392"/>
                <a:gd name="T17" fmla="*/ 188 h 458"/>
                <a:gd name="T18" fmla="*/ 12 w 392"/>
                <a:gd name="T19" fmla="*/ 192 h 458"/>
                <a:gd name="T20" fmla="*/ 21 w 392"/>
                <a:gd name="T21" fmla="*/ 191 h 458"/>
                <a:gd name="T22" fmla="*/ 160 w 392"/>
                <a:gd name="T23" fmla="*/ 53 h 458"/>
                <a:gd name="T24" fmla="*/ 184 w 392"/>
                <a:gd name="T25" fmla="*/ 37 h 458"/>
                <a:gd name="T26" fmla="*/ 212 w 392"/>
                <a:gd name="T27" fmla="*/ 30 h 458"/>
                <a:gd name="T28" fmla="*/ 242 w 392"/>
                <a:gd name="T29" fmla="*/ 34 h 458"/>
                <a:gd name="T30" fmla="*/ 270 w 392"/>
                <a:gd name="T31" fmla="*/ 44 h 458"/>
                <a:gd name="T32" fmla="*/ 296 w 392"/>
                <a:gd name="T33" fmla="*/ 60 h 458"/>
                <a:gd name="T34" fmla="*/ 341 w 392"/>
                <a:gd name="T35" fmla="*/ 105 h 458"/>
                <a:gd name="T36" fmla="*/ 354 w 392"/>
                <a:gd name="T37" fmla="*/ 128 h 458"/>
                <a:gd name="T38" fmla="*/ 362 w 392"/>
                <a:gd name="T39" fmla="*/ 153 h 458"/>
                <a:gd name="T40" fmla="*/ 360 w 392"/>
                <a:gd name="T41" fmla="*/ 179 h 458"/>
                <a:gd name="T42" fmla="*/ 351 w 392"/>
                <a:gd name="T43" fmla="*/ 204 h 458"/>
                <a:gd name="T44" fmla="*/ 333 w 392"/>
                <a:gd name="T45" fmla="*/ 226 h 458"/>
                <a:gd name="T46" fmla="*/ 141 w 392"/>
                <a:gd name="T47" fmla="*/ 416 h 458"/>
                <a:gd name="T48" fmla="*/ 116 w 392"/>
                <a:gd name="T49" fmla="*/ 426 h 458"/>
                <a:gd name="T50" fmla="*/ 89 w 392"/>
                <a:gd name="T51" fmla="*/ 427 h 458"/>
                <a:gd name="T52" fmla="*/ 62 w 392"/>
                <a:gd name="T53" fmla="*/ 421 h 458"/>
                <a:gd name="T54" fmla="*/ 39 w 392"/>
                <a:gd name="T55" fmla="*/ 406 h 458"/>
                <a:gd name="T56" fmla="*/ 26 w 392"/>
                <a:gd name="T57" fmla="*/ 390 h 458"/>
                <a:gd name="T58" fmla="*/ 19 w 392"/>
                <a:gd name="T59" fmla="*/ 386 h 458"/>
                <a:gd name="T60" fmla="*/ 10 w 392"/>
                <a:gd name="T61" fmla="*/ 386 h 458"/>
                <a:gd name="T62" fmla="*/ 3 w 392"/>
                <a:gd name="T63" fmla="*/ 393 h 458"/>
                <a:gd name="T64" fmla="*/ 0 w 392"/>
                <a:gd name="T65" fmla="*/ 400 h 458"/>
                <a:gd name="T66" fmla="*/ 3 w 392"/>
                <a:gd name="T67" fmla="*/ 409 h 458"/>
                <a:gd name="T68" fmla="*/ 28 w 392"/>
                <a:gd name="T69" fmla="*/ 435 h 458"/>
                <a:gd name="T70" fmla="*/ 61 w 392"/>
                <a:gd name="T71" fmla="*/ 452 h 458"/>
                <a:gd name="T72" fmla="*/ 92 w 392"/>
                <a:gd name="T73" fmla="*/ 457 h 458"/>
                <a:gd name="T74" fmla="*/ 120 w 392"/>
                <a:gd name="T75" fmla="*/ 456 h 458"/>
                <a:gd name="T76" fmla="*/ 150 w 392"/>
                <a:gd name="T77" fmla="*/ 445 h 458"/>
                <a:gd name="T78" fmla="*/ 175 w 392"/>
                <a:gd name="T79" fmla="*/ 426 h 458"/>
                <a:gd name="T80" fmla="*/ 370 w 392"/>
                <a:gd name="T81" fmla="*/ 228 h 458"/>
                <a:gd name="T82" fmla="*/ 387 w 392"/>
                <a:gd name="T83" fmla="*/ 196 h 458"/>
                <a:gd name="T84" fmla="*/ 392 w 392"/>
                <a:gd name="T85" fmla="*/ 162 h 458"/>
                <a:gd name="T86" fmla="*/ 387 w 392"/>
                <a:gd name="T87" fmla="*/ 128 h 458"/>
                <a:gd name="T88" fmla="*/ 370 w 392"/>
                <a:gd name="T89" fmla="*/ 96 h 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392" h="458">
                  <a:moveTo>
                    <a:pt x="354" y="76"/>
                  </a:moveTo>
                  <a:lnTo>
                    <a:pt x="324" y="46"/>
                  </a:lnTo>
                  <a:lnTo>
                    <a:pt x="315" y="38"/>
                  </a:lnTo>
                  <a:lnTo>
                    <a:pt x="305" y="30"/>
                  </a:lnTo>
                  <a:lnTo>
                    <a:pt x="293" y="23"/>
                  </a:lnTo>
                  <a:lnTo>
                    <a:pt x="283" y="16"/>
                  </a:lnTo>
                  <a:lnTo>
                    <a:pt x="270" y="11"/>
                  </a:lnTo>
                  <a:lnTo>
                    <a:pt x="258" y="7"/>
                  </a:lnTo>
                  <a:lnTo>
                    <a:pt x="245" y="4"/>
                  </a:lnTo>
                  <a:lnTo>
                    <a:pt x="232" y="1"/>
                  </a:lnTo>
                  <a:lnTo>
                    <a:pt x="220" y="0"/>
                  </a:lnTo>
                  <a:lnTo>
                    <a:pt x="208" y="1"/>
                  </a:lnTo>
                  <a:lnTo>
                    <a:pt x="195" y="3"/>
                  </a:lnTo>
                  <a:lnTo>
                    <a:pt x="183" y="6"/>
                  </a:lnTo>
                  <a:lnTo>
                    <a:pt x="172" y="10"/>
                  </a:lnTo>
                  <a:lnTo>
                    <a:pt x="160" y="15"/>
                  </a:lnTo>
                  <a:lnTo>
                    <a:pt x="149" y="23"/>
                  </a:lnTo>
                  <a:lnTo>
                    <a:pt x="139" y="31"/>
                  </a:lnTo>
                  <a:lnTo>
                    <a:pt x="5" y="166"/>
                  </a:lnTo>
                  <a:lnTo>
                    <a:pt x="3" y="168"/>
                  </a:lnTo>
                  <a:lnTo>
                    <a:pt x="1" y="171"/>
                  </a:lnTo>
                  <a:lnTo>
                    <a:pt x="0" y="174"/>
                  </a:lnTo>
                  <a:lnTo>
                    <a:pt x="0" y="177"/>
                  </a:lnTo>
                  <a:lnTo>
                    <a:pt x="0" y="179"/>
                  </a:lnTo>
                  <a:lnTo>
                    <a:pt x="1" y="182"/>
                  </a:lnTo>
                  <a:lnTo>
                    <a:pt x="3" y="184"/>
                  </a:lnTo>
                  <a:lnTo>
                    <a:pt x="5" y="188"/>
                  </a:lnTo>
                  <a:lnTo>
                    <a:pt x="7" y="189"/>
                  </a:lnTo>
                  <a:lnTo>
                    <a:pt x="10" y="191"/>
                  </a:lnTo>
                  <a:lnTo>
                    <a:pt x="12" y="192"/>
                  </a:lnTo>
                  <a:lnTo>
                    <a:pt x="15" y="192"/>
                  </a:lnTo>
                  <a:lnTo>
                    <a:pt x="19" y="192"/>
                  </a:lnTo>
                  <a:lnTo>
                    <a:pt x="21" y="191"/>
                  </a:lnTo>
                  <a:lnTo>
                    <a:pt x="24" y="189"/>
                  </a:lnTo>
                  <a:lnTo>
                    <a:pt x="26" y="188"/>
                  </a:lnTo>
                  <a:lnTo>
                    <a:pt x="160" y="53"/>
                  </a:lnTo>
                  <a:lnTo>
                    <a:pt x="167" y="46"/>
                  </a:lnTo>
                  <a:lnTo>
                    <a:pt x="176" y="41"/>
                  </a:lnTo>
                  <a:lnTo>
                    <a:pt x="184" y="37"/>
                  </a:lnTo>
                  <a:lnTo>
                    <a:pt x="193" y="34"/>
                  </a:lnTo>
                  <a:lnTo>
                    <a:pt x="203" y="31"/>
                  </a:lnTo>
                  <a:lnTo>
                    <a:pt x="212" y="30"/>
                  </a:lnTo>
                  <a:lnTo>
                    <a:pt x="222" y="30"/>
                  </a:lnTo>
                  <a:lnTo>
                    <a:pt x="231" y="31"/>
                  </a:lnTo>
                  <a:lnTo>
                    <a:pt x="242" y="34"/>
                  </a:lnTo>
                  <a:lnTo>
                    <a:pt x="252" y="36"/>
                  </a:lnTo>
                  <a:lnTo>
                    <a:pt x="261" y="40"/>
                  </a:lnTo>
                  <a:lnTo>
                    <a:pt x="270" y="44"/>
                  </a:lnTo>
                  <a:lnTo>
                    <a:pt x="280" y="48"/>
                  </a:lnTo>
                  <a:lnTo>
                    <a:pt x="288" y="55"/>
                  </a:lnTo>
                  <a:lnTo>
                    <a:pt x="296" y="60"/>
                  </a:lnTo>
                  <a:lnTo>
                    <a:pt x="303" y="68"/>
                  </a:lnTo>
                  <a:lnTo>
                    <a:pt x="333" y="98"/>
                  </a:lnTo>
                  <a:lnTo>
                    <a:pt x="341" y="105"/>
                  </a:lnTo>
                  <a:lnTo>
                    <a:pt x="346" y="113"/>
                  </a:lnTo>
                  <a:lnTo>
                    <a:pt x="351" y="120"/>
                  </a:lnTo>
                  <a:lnTo>
                    <a:pt x="354" y="128"/>
                  </a:lnTo>
                  <a:lnTo>
                    <a:pt x="358" y="136"/>
                  </a:lnTo>
                  <a:lnTo>
                    <a:pt x="360" y="145"/>
                  </a:lnTo>
                  <a:lnTo>
                    <a:pt x="362" y="153"/>
                  </a:lnTo>
                  <a:lnTo>
                    <a:pt x="362" y="162"/>
                  </a:lnTo>
                  <a:lnTo>
                    <a:pt x="362" y="170"/>
                  </a:lnTo>
                  <a:lnTo>
                    <a:pt x="360" y="179"/>
                  </a:lnTo>
                  <a:lnTo>
                    <a:pt x="358" y="188"/>
                  </a:lnTo>
                  <a:lnTo>
                    <a:pt x="354" y="195"/>
                  </a:lnTo>
                  <a:lnTo>
                    <a:pt x="351" y="204"/>
                  </a:lnTo>
                  <a:lnTo>
                    <a:pt x="346" y="211"/>
                  </a:lnTo>
                  <a:lnTo>
                    <a:pt x="341" y="219"/>
                  </a:lnTo>
                  <a:lnTo>
                    <a:pt x="333" y="226"/>
                  </a:lnTo>
                  <a:lnTo>
                    <a:pt x="154" y="405"/>
                  </a:lnTo>
                  <a:lnTo>
                    <a:pt x="148" y="411"/>
                  </a:lnTo>
                  <a:lnTo>
                    <a:pt x="141" y="416"/>
                  </a:lnTo>
                  <a:lnTo>
                    <a:pt x="133" y="421"/>
                  </a:lnTo>
                  <a:lnTo>
                    <a:pt x="124" y="424"/>
                  </a:lnTo>
                  <a:lnTo>
                    <a:pt x="116" y="426"/>
                  </a:lnTo>
                  <a:lnTo>
                    <a:pt x="107" y="427"/>
                  </a:lnTo>
                  <a:lnTo>
                    <a:pt x="99" y="428"/>
                  </a:lnTo>
                  <a:lnTo>
                    <a:pt x="89" y="427"/>
                  </a:lnTo>
                  <a:lnTo>
                    <a:pt x="80" y="426"/>
                  </a:lnTo>
                  <a:lnTo>
                    <a:pt x="71" y="424"/>
                  </a:lnTo>
                  <a:lnTo>
                    <a:pt x="62" y="421"/>
                  </a:lnTo>
                  <a:lnTo>
                    <a:pt x="54" y="416"/>
                  </a:lnTo>
                  <a:lnTo>
                    <a:pt x="46" y="411"/>
                  </a:lnTo>
                  <a:lnTo>
                    <a:pt x="39" y="406"/>
                  </a:lnTo>
                  <a:lnTo>
                    <a:pt x="32" y="399"/>
                  </a:lnTo>
                  <a:lnTo>
                    <a:pt x="27" y="393"/>
                  </a:lnTo>
                  <a:lnTo>
                    <a:pt x="26" y="390"/>
                  </a:lnTo>
                  <a:lnTo>
                    <a:pt x="24" y="389"/>
                  </a:lnTo>
                  <a:lnTo>
                    <a:pt x="21" y="386"/>
                  </a:lnTo>
                  <a:lnTo>
                    <a:pt x="19" y="386"/>
                  </a:lnTo>
                  <a:lnTo>
                    <a:pt x="15" y="385"/>
                  </a:lnTo>
                  <a:lnTo>
                    <a:pt x="12" y="386"/>
                  </a:lnTo>
                  <a:lnTo>
                    <a:pt x="10" y="386"/>
                  </a:lnTo>
                  <a:lnTo>
                    <a:pt x="7" y="389"/>
                  </a:lnTo>
                  <a:lnTo>
                    <a:pt x="5" y="391"/>
                  </a:lnTo>
                  <a:lnTo>
                    <a:pt x="3" y="393"/>
                  </a:lnTo>
                  <a:lnTo>
                    <a:pt x="1" y="395"/>
                  </a:lnTo>
                  <a:lnTo>
                    <a:pt x="0" y="398"/>
                  </a:lnTo>
                  <a:lnTo>
                    <a:pt x="0" y="400"/>
                  </a:lnTo>
                  <a:lnTo>
                    <a:pt x="0" y="403"/>
                  </a:lnTo>
                  <a:lnTo>
                    <a:pt x="1" y="407"/>
                  </a:lnTo>
                  <a:lnTo>
                    <a:pt x="3" y="409"/>
                  </a:lnTo>
                  <a:lnTo>
                    <a:pt x="10" y="418"/>
                  </a:lnTo>
                  <a:lnTo>
                    <a:pt x="19" y="427"/>
                  </a:lnTo>
                  <a:lnTo>
                    <a:pt x="28" y="435"/>
                  </a:lnTo>
                  <a:lnTo>
                    <a:pt x="38" y="442"/>
                  </a:lnTo>
                  <a:lnTo>
                    <a:pt x="50" y="447"/>
                  </a:lnTo>
                  <a:lnTo>
                    <a:pt x="61" y="452"/>
                  </a:lnTo>
                  <a:lnTo>
                    <a:pt x="73" y="455"/>
                  </a:lnTo>
                  <a:lnTo>
                    <a:pt x="86" y="457"/>
                  </a:lnTo>
                  <a:lnTo>
                    <a:pt x="92" y="457"/>
                  </a:lnTo>
                  <a:lnTo>
                    <a:pt x="99" y="458"/>
                  </a:lnTo>
                  <a:lnTo>
                    <a:pt x="109" y="457"/>
                  </a:lnTo>
                  <a:lnTo>
                    <a:pt x="120" y="456"/>
                  </a:lnTo>
                  <a:lnTo>
                    <a:pt x="130" y="453"/>
                  </a:lnTo>
                  <a:lnTo>
                    <a:pt x="141" y="449"/>
                  </a:lnTo>
                  <a:lnTo>
                    <a:pt x="150" y="445"/>
                  </a:lnTo>
                  <a:lnTo>
                    <a:pt x="159" y="440"/>
                  </a:lnTo>
                  <a:lnTo>
                    <a:pt x="167" y="433"/>
                  </a:lnTo>
                  <a:lnTo>
                    <a:pt x="175" y="426"/>
                  </a:lnTo>
                  <a:lnTo>
                    <a:pt x="354" y="247"/>
                  </a:lnTo>
                  <a:lnTo>
                    <a:pt x="363" y="238"/>
                  </a:lnTo>
                  <a:lnTo>
                    <a:pt x="370" y="228"/>
                  </a:lnTo>
                  <a:lnTo>
                    <a:pt x="377" y="217"/>
                  </a:lnTo>
                  <a:lnTo>
                    <a:pt x="382" y="207"/>
                  </a:lnTo>
                  <a:lnTo>
                    <a:pt x="387" y="196"/>
                  </a:lnTo>
                  <a:lnTo>
                    <a:pt x="390" y="184"/>
                  </a:lnTo>
                  <a:lnTo>
                    <a:pt x="392" y="174"/>
                  </a:lnTo>
                  <a:lnTo>
                    <a:pt x="392" y="162"/>
                  </a:lnTo>
                  <a:lnTo>
                    <a:pt x="392" y="150"/>
                  </a:lnTo>
                  <a:lnTo>
                    <a:pt x="390" y="138"/>
                  </a:lnTo>
                  <a:lnTo>
                    <a:pt x="387" y="128"/>
                  </a:lnTo>
                  <a:lnTo>
                    <a:pt x="382" y="117"/>
                  </a:lnTo>
                  <a:lnTo>
                    <a:pt x="377" y="106"/>
                  </a:lnTo>
                  <a:lnTo>
                    <a:pt x="370" y="96"/>
                  </a:lnTo>
                  <a:lnTo>
                    <a:pt x="363" y="86"/>
                  </a:lnTo>
                  <a:lnTo>
                    <a:pt x="354" y="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60" name="Group 159"/>
          <p:cNvGrpSpPr/>
          <p:nvPr/>
        </p:nvGrpSpPr>
        <p:grpSpPr>
          <a:xfrm>
            <a:off x="9563888" y="3272813"/>
            <a:ext cx="338295" cy="293439"/>
            <a:chOff x="3171825" y="1955800"/>
            <a:chExt cx="287338" cy="249238"/>
          </a:xfrm>
          <a:solidFill>
            <a:srgbClr val="AFABAB"/>
          </a:solidFill>
        </p:grpSpPr>
        <p:sp>
          <p:nvSpPr>
            <p:cNvPr id="161" name="Freeform 75"/>
            <p:cNvSpPr>
              <a:spLocks noEditPoints="1"/>
            </p:cNvSpPr>
            <p:nvPr/>
          </p:nvSpPr>
          <p:spPr bwMode="auto">
            <a:xfrm>
              <a:off x="3171825" y="1955800"/>
              <a:ext cx="258763" cy="173038"/>
            </a:xfrm>
            <a:custGeom>
              <a:avLst/>
              <a:gdLst>
                <a:gd name="T0" fmla="*/ 54 w 813"/>
                <a:gd name="T1" fmla="*/ 30 h 542"/>
                <a:gd name="T2" fmla="*/ 60 w 813"/>
                <a:gd name="T3" fmla="*/ 30 h 542"/>
                <a:gd name="T4" fmla="*/ 756 w 813"/>
                <a:gd name="T5" fmla="*/ 30 h 542"/>
                <a:gd name="T6" fmla="*/ 413 w 813"/>
                <a:gd name="T7" fmla="*/ 311 h 542"/>
                <a:gd name="T8" fmla="*/ 782 w 813"/>
                <a:gd name="T9" fmla="*/ 240 h 542"/>
                <a:gd name="T10" fmla="*/ 784 w 813"/>
                <a:gd name="T11" fmla="*/ 246 h 542"/>
                <a:gd name="T12" fmla="*/ 787 w 813"/>
                <a:gd name="T13" fmla="*/ 251 h 542"/>
                <a:gd name="T14" fmla="*/ 791 w 813"/>
                <a:gd name="T15" fmla="*/ 254 h 542"/>
                <a:gd name="T16" fmla="*/ 798 w 813"/>
                <a:gd name="T17" fmla="*/ 255 h 542"/>
                <a:gd name="T18" fmla="*/ 803 w 813"/>
                <a:gd name="T19" fmla="*/ 254 h 542"/>
                <a:gd name="T20" fmla="*/ 807 w 813"/>
                <a:gd name="T21" fmla="*/ 251 h 542"/>
                <a:gd name="T22" fmla="*/ 811 w 813"/>
                <a:gd name="T23" fmla="*/ 247 h 542"/>
                <a:gd name="T24" fmla="*/ 813 w 813"/>
                <a:gd name="T25" fmla="*/ 240 h 542"/>
                <a:gd name="T26" fmla="*/ 812 w 813"/>
                <a:gd name="T27" fmla="*/ 67 h 542"/>
                <a:gd name="T28" fmla="*/ 810 w 813"/>
                <a:gd name="T29" fmla="*/ 52 h 542"/>
                <a:gd name="T30" fmla="*/ 805 w 813"/>
                <a:gd name="T31" fmla="*/ 38 h 542"/>
                <a:gd name="T32" fmla="*/ 800 w 813"/>
                <a:gd name="T33" fmla="*/ 26 h 542"/>
                <a:gd name="T34" fmla="*/ 791 w 813"/>
                <a:gd name="T35" fmla="*/ 16 h 542"/>
                <a:gd name="T36" fmla="*/ 782 w 813"/>
                <a:gd name="T37" fmla="*/ 8 h 542"/>
                <a:gd name="T38" fmla="*/ 771 w 813"/>
                <a:gd name="T39" fmla="*/ 2 h 542"/>
                <a:gd name="T40" fmla="*/ 759 w 813"/>
                <a:gd name="T41" fmla="*/ 0 h 542"/>
                <a:gd name="T42" fmla="*/ 60 w 813"/>
                <a:gd name="T43" fmla="*/ 0 h 542"/>
                <a:gd name="T44" fmla="*/ 47 w 813"/>
                <a:gd name="T45" fmla="*/ 1 h 542"/>
                <a:gd name="T46" fmla="*/ 35 w 813"/>
                <a:gd name="T47" fmla="*/ 6 h 542"/>
                <a:gd name="T48" fmla="*/ 25 w 813"/>
                <a:gd name="T49" fmla="*/ 12 h 542"/>
                <a:gd name="T50" fmla="*/ 16 w 813"/>
                <a:gd name="T51" fmla="*/ 21 h 542"/>
                <a:gd name="T52" fmla="*/ 10 w 813"/>
                <a:gd name="T53" fmla="*/ 31 h 542"/>
                <a:gd name="T54" fmla="*/ 4 w 813"/>
                <a:gd name="T55" fmla="*/ 44 h 542"/>
                <a:gd name="T56" fmla="*/ 1 w 813"/>
                <a:gd name="T57" fmla="*/ 59 h 542"/>
                <a:gd name="T58" fmla="*/ 0 w 813"/>
                <a:gd name="T59" fmla="*/ 75 h 542"/>
                <a:gd name="T60" fmla="*/ 0 w 813"/>
                <a:gd name="T61" fmla="*/ 474 h 542"/>
                <a:gd name="T62" fmla="*/ 2 w 813"/>
                <a:gd name="T63" fmla="*/ 490 h 542"/>
                <a:gd name="T64" fmla="*/ 6 w 813"/>
                <a:gd name="T65" fmla="*/ 503 h 542"/>
                <a:gd name="T66" fmla="*/ 13 w 813"/>
                <a:gd name="T67" fmla="*/ 516 h 542"/>
                <a:gd name="T68" fmla="*/ 20 w 813"/>
                <a:gd name="T69" fmla="*/ 526 h 542"/>
                <a:gd name="T70" fmla="*/ 30 w 813"/>
                <a:gd name="T71" fmla="*/ 533 h 542"/>
                <a:gd name="T72" fmla="*/ 41 w 813"/>
                <a:gd name="T73" fmla="*/ 538 h 542"/>
                <a:gd name="T74" fmla="*/ 54 w 813"/>
                <a:gd name="T75" fmla="*/ 541 h 542"/>
                <a:gd name="T76" fmla="*/ 376 w 813"/>
                <a:gd name="T77" fmla="*/ 542 h 542"/>
                <a:gd name="T78" fmla="*/ 382 w 813"/>
                <a:gd name="T79" fmla="*/ 541 h 542"/>
                <a:gd name="T80" fmla="*/ 387 w 813"/>
                <a:gd name="T81" fmla="*/ 537 h 542"/>
                <a:gd name="T82" fmla="*/ 390 w 813"/>
                <a:gd name="T83" fmla="*/ 532 h 542"/>
                <a:gd name="T84" fmla="*/ 391 w 813"/>
                <a:gd name="T85" fmla="*/ 527 h 542"/>
                <a:gd name="T86" fmla="*/ 390 w 813"/>
                <a:gd name="T87" fmla="*/ 520 h 542"/>
                <a:gd name="T88" fmla="*/ 387 w 813"/>
                <a:gd name="T89" fmla="*/ 516 h 542"/>
                <a:gd name="T90" fmla="*/ 382 w 813"/>
                <a:gd name="T91" fmla="*/ 513 h 542"/>
                <a:gd name="T92" fmla="*/ 376 w 813"/>
                <a:gd name="T93" fmla="*/ 512 h 542"/>
                <a:gd name="T94" fmla="*/ 55 w 813"/>
                <a:gd name="T95" fmla="*/ 511 h 542"/>
                <a:gd name="T96" fmla="*/ 47 w 813"/>
                <a:gd name="T97" fmla="*/ 508 h 542"/>
                <a:gd name="T98" fmla="*/ 39 w 813"/>
                <a:gd name="T99" fmla="*/ 500 h 542"/>
                <a:gd name="T100" fmla="*/ 32 w 813"/>
                <a:gd name="T101" fmla="*/ 485 h 542"/>
                <a:gd name="T102" fmla="*/ 30 w 813"/>
                <a:gd name="T103" fmla="*/ 471 h 542"/>
                <a:gd name="T104" fmla="*/ 30 w 813"/>
                <a:gd name="T105" fmla="*/ 75 h 542"/>
                <a:gd name="T106" fmla="*/ 33 w 813"/>
                <a:gd name="T107" fmla="*/ 53 h 542"/>
                <a:gd name="T108" fmla="*/ 409 w 813"/>
                <a:gd name="T109" fmla="*/ 345 h 542"/>
                <a:gd name="T110" fmla="*/ 418 w 813"/>
                <a:gd name="T111" fmla="*/ 344 h 542"/>
                <a:gd name="T112" fmla="*/ 780 w 813"/>
                <a:gd name="T113" fmla="*/ 53 h 542"/>
                <a:gd name="T114" fmla="*/ 782 w 813"/>
                <a:gd name="T115" fmla="*/ 75 h 5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813" h="542">
                  <a:moveTo>
                    <a:pt x="413" y="311"/>
                  </a:moveTo>
                  <a:lnTo>
                    <a:pt x="54" y="30"/>
                  </a:lnTo>
                  <a:lnTo>
                    <a:pt x="57" y="30"/>
                  </a:lnTo>
                  <a:lnTo>
                    <a:pt x="60" y="30"/>
                  </a:lnTo>
                  <a:lnTo>
                    <a:pt x="752" y="30"/>
                  </a:lnTo>
                  <a:lnTo>
                    <a:pt x="756" y="30"/>
                  </a:lnTo>
                  <a:lnTo>
                    <a:pt x="759" y="31"/>
                  </a:lnTo>
                  <a:lnTo>
                    <a:pt x="413" y="311"/>
                  </a:lnTo>
                  <a:close/>
                  <a:moveTo>
                    <a:pt x="782" y="75"/>
                  </a:moveTo>
                  <a:lnTo>
                    <a:pt x="782" y="240"/>
                  </a:lnTo>
                  <a:lnTo>
                    <a:pt x="783" y="244"/>
                  </a:lnTo>
                  <a:lnTo>
                    <a:pt x="784" y="246"/>
                  </a:lnTo>
                  <a:lnTo>
                    <a:pt x="785" y="249"/>
                  </a:lnTo>
                  <a:lnTo>
                    <a:pt x="787" y="251"/>
                  </a:lnTo>
                  <a:lnTo>
                    <a:pt x="789" y="253"/>
                  </a:lnTo>
                  <a:lnTo>
                    <a:pt x="791" y="254"/>
                  </a:lnTo>
                  <a:lnTo>
                    <a:pt x="795" y="255"/>
                  </a:lnTo>
                  <a:lnTo>
                    <a:pt x="798" y="255"/>
                  </a:lnTo>
                  <a:lnTo>
                    <a:pt x="800" y="255"/>
                  </a:lnTo>
                  <a:lnTo>
                    <a:pt x="803" y="254"/>
                  </a:lnTo>
                  <a:lnTo>
                    <a:pt x="805" y="253"/>
                  </a:lnTo>
                  <a:lnTo>
                    <a:pt x="807" y="251"/>
                  </a:lnTo>
                  <a:lnTo>
                    <a:pt x="810" y="249"/>
                  </a:lnTo>
                  <a:lnTo>
                    <a:pt x="811" y="247"/>
                  </a:lnTo>
                  <a:lnTo>
                    <a:pt x="812" y="244"/>
                  </a:lnTo>
                  <a:lnTo>
                    <a:pt x="813" y="240"/>
                  </a:lnTo>
                  <a:lnTo>
                    <a:pt x="813" y="75"/>
                  </a:lnTo>
                  <a:lnTo>
                    <a:pt x="812" y="67"/>
                  </a:lnTo>
                  <a:lnTo>
                    <a:pt x="812" y="59"/>
                  </a:lnTo>
                  <a:lnTo>
                    <a:pt x="810" y="52"/>
                  </a:lnTo>
                  <a:lnTo>
                    <a:pt x="808" y="44"/>
                  </a:lnTo>
                  <a:lnTo>
                    <a:pt x="805" y="38"/>
                  </a:lnTo>
                  <a:lnTo>
                    <a:pt x="803" y="31"/>
                  </a:lnTo>
                  <a:lnTo>
                    <a:pt x="800" y="26"/>
                  </a:lnTo>
                  <a:lnTo>
                    <a:pt x="796" y="21"/>
                  </a:lnTo>
                  <a:lnTo>
                    <a:pt x="791" y="16"/>
                  </a:lnTo>
                  <a:lnTo>
                    <a:pt x="787" y="12"/>
                  </a:lnTo>
                  <a:lnTo>
                    <a:pt x="782" y="8"/>
                  </a:lnTo>
                  <a:lnTo>
                    <a:pt x="776" y="6"/>
                  </a:lnTo>
                  <a:lnTo>
                    <a:pt x="771" y="2"/>
                  </a:lnTo>
                  <a:lnTo>
                    <a:pt x="765" y="1"/>
                  </a:lnTo>
                  <a:lnTo>
                    <a:pt x="759" y="0"/>
                  </a:lnTo>
                  <a:lnTo>
                    <a:pt x="752" y="0"/>
                  </a:lnTo>
                  <a:lnTo>
                    <a:pt x="60" y="0"/>
                  </a:lnTo>
                  <a:lnTo>
                    <a:pt x="54" y="0"/>
                  </a:lnTo>
                  <a:lnTo>
                    <a:pt x="47" y="1"/>
                  </a:lnTo>
                  <a:lnTo>
                    <a:pt x="41" y="2"/>
                  </a:lnTo>
                  <a:lnTo>
                    <a:pt x="35" y="6"/>
                  </a:lnTo>
                  <a:lnTo>
                    <a:pt x="30" y="8"/>
                  </a:lnTo>
                  <a:lnTo>
                    <a:pt x="25" y="12"/>
                  </a:lnTo>
                  <a:lnTo>
                    <a:pt x="20" y="16"/>
                  </a:lnTo>
                  <a:lnTo>
                    <a:pt x="16" y="21"/>
                  </a:lnTo>
                  <a:lnTo>
                    <a:pt x="13" y="26"/>
                  </a:lnTo>
                  <a:lnTo>
                    <a:pt x="10" y="31"/>
                  </a:lnTo>
                  <a:lnTo>
                    <a:pt x="6" y="38"/>
                  </a:lnTo>
                  <a:lnTo>
                    <a:pt x="4" y="44"/>
                  </a:lnTo>
                  <a:lnTo>
                    <a:pt x="2" y="52"/>
                  </a:lnTo>
                  <a:lnTo>
                    <a:pt x="1" y="59"/>
                  </a:lnTo>
                  <a:lnTo>
                    <a:pt x="0" y="67"/>
                  </a:lnTo>
                  <a:lnTo>
                    <a:pt x="0" y="75"/>
                  </a:lnTo>
                  <a:lnTo>
                    <a:pt x="0" y="467"/>
                  </a:lnTo>
                  <a:lnTo>
                    <a:pt x="0" y="474"/>
                  </a:lnTo>
                  <a:lnTo>
                    <a:pt x="1" y="483"/>
                  </a:lnTo>
                  <a:lnTo>
                    <a:pt x="2" y="490"/>
                  </a:lnTo>
                  <a:lnTo>
                    <a:pt x="4" y="497"/>
                  </a:lnTo>
                  <a:lnTo>
                    <a:pt x="6" y="503"/>
                  </a:lnTo>
                  <a:lnTo>
                    <a:pt x="10" y="510"/>
                  </a:lnTo>
                  <a:lnTo>
                    <a:pt x="13" y="516"/>
                  </a:lnTo>
                  <a:lnTo>
                    <a:pt x="16" y="520"/>
                  </a:lnTo>
                  <a:lnTo>
                    <a:pt x="20" y="526"/>
                  </a:lnTo>
                  <a:lnTo>
                    <a:pt x="25" y="530"/>
                  </a:lnTo>
                  <a:lnTo>
                    <a:pt x="30" y="533"/>
                  </a:lnTo>
                  <a:lnTo>
                    <a:pt x="35" y="536"/>
                  </a:lnTo>
                  <a:lnTo>
                    <a:pt x="41" y="538"/>
                  </a:lnTo>
                  <a:lnTo>
                    <a:pt x="47" y="540"/>
                  </a:lnTo>
                  <a:lnTo>
                    <a:pt x="54" y="541"/>
                  </a:lnTo>
                  <a:lnTo>
                    <a:pt x="60" y="542"/>
                  </a:lnTo>
                  <a:lnTo>
                    <a:pt x="376" y="542"/>
                  </a:lnTo>
                  <a:lnTo>
                    <a:pt x="379" y="541"/>
                  </a:lnTo>
                  <a:lnTo>
                    <a:pt x="382" y="541"/>
                  </a:lnTo>
                  <a:lnTo>
                    <a:pt x="384" y="538"/>
                  </a:lnTo>
                  <a:lnTo>
                    <a:pt x="387" y="537"/>
                  </a:lnTo>
                  <a:lnTo>
                    <a:pt x="388" y="535"/>
                  </a:lnTo>
                  <a:lnTo>
                    <a:pt x="390" y="532"/>
                  </a:lnTo>
                  <a:lnTo>
                    <a:pt x="390" y="530"/>
                  </a:lnTo>
                  <a:lnTo>
                    <a:pt x="391" y="527"/>
                  </a:lnTo>
                  <a:lnTo>
                    <a:pt x="390" y="523"/>
                  </a:lnTo>
                  <a:lnTo>
                    <a:pt x="390" y="520"/>
                  </a:lnTo>
                  <a:lnTo>
                    <a:pt x="388" y="518"/>
                  </a:lnTo>
                  <a:lnTo>
                    <a:pt x="387" y="516"/>
                  </a:lnTo>
                  <a:lnTo>
                    <a:pt x="384" y="514"/>
                  </a:lnTo>
                  <a:lnTo>
                    <a:pt x="382" y="513"/>
                  </a:lnTo>
                  <a:lnTo>
                    <a:pt x="379" y="512"/>
                  </a:lnTo>
                  <a:lnTo>
                    <a:pt x="376" y="512"/>
                  </a:lnTo>
                  <a:lnTo>
                    <a:pt x="60" y="512"/>
                  </a:lnTo>
                  <a:lnTo>
                    <a:pt x="55" y="511"/>
                  </a:lnTo>
                  <a:lnTo>
                    <a:pt x="50" y="510"/>
                  </a:lnTo>
                  <a:lnTo>
                    <a:pt x="47" y="508"/>
                  </a:lnTo>
                  <a:lnTo>
                    <a:pt x="44" y="505"/>
                  </a:lnTo>
                  <a:lnTo>
                    <a:pt x="39" y="500"/>
                  </a:lnTo>
                  <a:lnTo>
                    <a:pt x="34" y="492"/>
                  </a:lnTo>
                  <a:lnTo>
                    <a:pt x="32" y="485"/>
                  </a:lnTo>
                  <a:lnTo>
                    <a:pt x="31" y="477"/>
                  </a:lnTo>
                  <a:lnTo>
                    <a:pt x="30" y="471"/>
                  </a:lnTo>
                  <a:lnTo>
                    <a:pt x="30" y="467"/>
                  </a:lnTo>
                  <a:lnTo>
                    <a:pt x="30" y="75"/>
                  </a:lnTo>
                  <a:lnTo>
                    <a:pt x="30" y="66"/>
                  </a:lnTo>
                  <a:lnTo>
                    <a:pt x="33" y="53"/>
                  </a:lnTo>
                  <a:lnTo>
                    <a:pt x="404" y="342"/>
                  </a:lnTo>
                  <a:lnTo>
                    <a:pt x="409" y="345"/>
                  </a:lnTo>
                  <a:lnTo>
                    <a:pt x="413" y="345"/>
                  </a:lnTo>
                  <a:lnTo>
                    <a:pt x="418" y="344"/>
                  </a:lnTo>
                  <a:lnTo>
                    <a:pt x="422" y="342"/>
                  </a:lnTo>
                  <a:lnTo>
                    <a:pt x="780" y="53"/>
                  </a:lnTo>
                  <a:lnTo>
                    <a:pt x="782" y="66"/>
                  </a:lnTo>
                  <a:lnTo>
                    <a:pt x="782" y="7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76"/>
            <p:cNvSpPr>
              <a:spLocks noEditPoints="1"/>
            </p:cNvSpPr>
            <p:nvPr/>
          </p:nvSpPr>
          <p:spPr bwMode="auto">
            <a:xfrm>
              <a:off x="3314700" y="2062163"/>
              <a:ext cx="144463" cy="142875"/>
            </a:xfrm>
            <a:custGeom>
              <a:avLst/>
              <a:gdLst>
                <a:gd name="T0" fmla="*/ 310 w 452"/>
                <a:gd name="T1" fmla="*/ 253 h 448"/>
                <a:gd name="T2" fmla="*/ 308 w 452"/>
                <a:gd name="T3" fmla="*/ 261 h 448"/>
                <a:gd name="T4" fmla="*/ 349 w 452"/>
                <a:gd name="T5" fmla="*/ 395 h 448"/>
                <a:gd name="T6" fmla="*/ 232 w 452"/>
                <a:gd name="T7" fmla="*/ 313 h 448"/>
                <a:gd name="T8" fmla="*/ 223 w 452"/>
                <a:gd name="T9" fmla="*/ 313 h 448"/>
                <a:gd name="T10" fmla="*/ 104 w 452"/>
                <a:gd name="T11" fmla="*/ 395 h 448"/>
                <a:gd name="T12" fmla="*/ 148 w 452"/>
                <a:gd name="T13" fmla="*/ 261 h 448"/>
                <a:gd name="T14" fmla="*/ 145 w 452"/>
                <a:gd name="T15" fmla="*/ 253 h 448"/>
                <a:gd name="T16" fmla="*/ 56 w 452"/>
                <a:gd name="T17" fmla="*/ 178 h 448"/>
                <a:gd name="T18" fmla="*/ 155 w 452"/>
                <a:gd name="T19" fmla="*/ 177 h 448"/>
                <a:gd name="T20" fmla="*/ 161 w 452"/>
                <a:gd name="T21" fmla="*/ 172 h 448"/>
                <a:gd name="T22" fmla="*/ 228 w 452"/>
                <a:gd name="T23" fmla="*/ 48 h 448"/>
                <a:gd name="T24" fmla="*/ 290 w 452"/>
                <a:gd name="T25" fmla="*/ 172 h 448"/>
                <a:gd name="T26" fmla="*/ 297 w 452"/>
                <a:gd name="T27" fmla="*/ 177 h 448"/>
                <a:gd name="T28" fmla="*/ 396 w 452"/>
                <a:gd name="T29" fmla="*/ 178 h 448"/>
                <a:gd name="T30" fmla="*/ 451 w 452"/>
                <a:gd name="T31" fmla="*/ 157 h 448"/>
                <a:gd name="T32" fmla="*/ 445 w 452"/>
                <a:gd name="T33" fmla="*/ 150 h 448"/>
                <a:gd name="T34" fmla="*/ 437 w 452"/>
                <a:gd name="T35" fmla="*/ 148 h 448"/>
                <a:gd name="T36" fmla="*/ 242 w 452"/>
                <a:gd name="T37" fmla="*/ 8 h 448"/>
                <a:gd name="T38" fmla="*/ 236 w 452"/>
                <a:gd name="T39" fmla="*/ 2 h 448"/>
                <a:gd name="T40" fmla="*/ 229 w 452"/>
                <a:gd name="T41" fmla="*/ 0 h 448"/>
                <a:gd name="T42" fmla="*/ 228 w 452"/>
                <a:gd name="T43" fmla="*/ 0 h 448"/>
                <a:gd name="T44" fmla="*/ 220 w 452"/>
                <a:gd name="T45" fmla="*/ 2 h 448"/>
                <a:gd name="T46" fmla="*/ 215 w 452"/>
                <a:gd name="T47" fmla="*/ 7 h 448"/>
                <a:gd name="T48" fmla="*/ 15 w 452"/>
                <a:gd name="T49" fmla="*/ 148 h 448"/>
                <a:gd name="T50" fmla="*/ 7 w 452"/>
                <a:gd name="T51" fmla="*/ 150 h 448"/>
                <a:gd name="T52" fmla="*/ 1 w 452"/>
                <a:gd name="T53" fmla="*/ 157 h 448"/>
                <a:gd name="T54" fmla="*/ 0 w 452"/>
                <a:gd name="T55" fmla="*/ 166 h 448"/>
                <a:gd name="T56" fmla="*/ 6 w 452"/>
                <a:gd name="T57" fmla="*/ 173 h 448"/>
                <a:gd name="T58" fmla="*/ 62 w 452"/>
                <a:gd name="T59" fmla="*/ 429 h 448"/>
                <a:gd name="T60" fmla="*/ 62 w 452"/>
                <a:gd name="T61" fmla="*/ 437 h 448"/>
                <a:gd name="T62" fmla="*/ 67 w 452"/>
                <a:gd name="T63" fmla="*/ 445 h 448"/>
                <a:gd name="T64" fmla="*/ 75 w 452"/>
                <a:gd name="T65" fmla="*/ 448 h 448"/>
                <a:gd name="T66" fmla="*/ 84 w 452"/>
                <a:gd name="T67" fmla="*/ 446 h 448"/>
                <a:gd name="T68" fmla="*/ 367 w 452"/>
                <a:gd name="T69" fmla="*/ 446 h 448"/>
                <a:gd name="T70" fmla="*/ 377 w 452"/>
                <a:gd name="T71" fmla="*/ 448 h 448"/>
                <a:gd name="T72" fmla="*/ 385 w 452"/>
                <a:gd name="T73" fmla="*/ 446 h 448"/>
                <a:gd name="T74" fmla="*/ 391 w 452"/>
                <a:gd name="T75" fmla="*/ 438 h 448"/>
                <a:gd name="T76" fmla="*/ 391 w 452"/>
                <a:gd name="T77" fmla="*/ 429 h 448"/>
                <a:gd name="T78" fmla="*/ 446 w 452"/>
                <a:gd name="T79" fmla="*/ 173 h 448"/>
                <a:gd name="T80" fmla="*/ 451 w 452"/>
                <a:gd name="T81" fmla="*/ 166 h 448"/>
                <a:gd name="T82" fmla="*/ 451 w 452"/>
                <a:gd name="T83" fmla="*/ 157 h 4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52" h="448">
                  <a:moveTo>
                    <a:pt x="312" y="249"/>
                  </a:moveTo>
                  <a:lnTo>
                    <a:pt x="310" y="253"/>
                  </a:lnTo>
                  <a:lnTo>
                    <a:pt x="308" y="257"/>
                  </a:lnTo>
                  <a:lnTo>
                    <a:pt x="308" y="261"/>
                  </a:lnTo>
                  <a:lnTo>
                    <a:pt x="308" y="266"/>
                  </a:lnTo>
                  <a:lnTo>
                    <a:pt x="349" y="395"/>
                  </a:lnTo>
                  <a:lnTo>
                    <a:pt x="236" y="315"/>
                  </a:lnTo>
                  <a:lnTo>
                    <a:pt x="232" y="313"/>
                  </a:lnTo>
                  <a:lnTo>
                    <a:pt x="228" y="313"/>
                  </a:lnTo>
                  <a:lnTo>
                    <a:pt x="223" y="313"/>
                  </a:lnTo>
                  <a:lnTo>
                    <a:pt x="219" y="315"/>
                  </a:lnTo>
                  <a:lnTo>
                    <a:pt x="104" y="395"/>
                  </a:lnTo>
                  <a:lnTo>
                    <a:pt x="147" y="266"/>
                  </a:lnTo>
                  <a:lnTo>
                    <a:pt x="148" y="261"/>
                  </a:lnTo>
                  <a:lnTo>
                    <a:pt x="147" y="257"/>
                  </a:lnTo>
                  <a:lnTo>
                    <a:pt x="145" y="253"/>
                  </a:lnTo>
                  <a:lnTo>
                    <a:pt x="143" y="249"/>
                  </a:lnTo>
                  <a:lnTo>
                    <a:pt x="56" y="178"/>
                  </a:lnTo>
                  <a:lnTo>
                    <a:pt x="151" y="178"/>
                  </a:lnTo>
                  <a:lnTo>
                    <a:pt x="155" y="177"/>
                  </a:lnTo>
                  <a:lnTo>
                    <a:pt x="158" y="176"/>
                  </a:lnTo>
                  <a:lnTo>
                    <a:pt x="161" y="172"/>
                  </a:lnTo>
                  <a:lnTo>
                    <a:pt x="164" y="169"/>
                  </a:lnTo>
                  <a:lnTo>
                    <a:pt x="228" y="48"/>
                  </a:lnTo>
                  <a:lnTo>
                    <a:pt x="288" y="169"/>
                  </a:lnTo>
                  <a:lnTo>
                    <a:pt x="290" y="172"/>
                  </a:lnTo>
                  <a:lnTo>
                    <a:pt x="293" y="176"/>
                  </a:lnTo>
                  <a:lnTo>
                    <a:pt x="297" y="177"/>
                  </a:lnTo>
                  <a:lnTo>
                    <a:pt x="301" y="178"/>
                  </a:lnTo>
                  <a:lnTo>
                    <a:pt x="396" y="178"/>
                  </a:lnTo>
                  <a:lnTo>
                    <a:pt x="312" y="249"/>
                  </a:lnTo>
                  <a:close/>
                  <a:moveTo>
                    <a:pt x="451" y="157"/>
                  </a:moveTo>
                  <a:lnTo>
                    <a:pt x="449" y="153"/>
                  </a:lnTo>
                  <a:lnTo>
                    <a:pt x="445" y="150"/>
                  </a:lnTo>
                  <a:lnTo>
                    <a:pt x="441" y="148"/>
                  </a:lnTo>
                  <a:lnTo>
                    <a:pt x="437" y="148"/>
                  </a:lnTo>
                  <a:lnTo>
                    <a:pt x="310" y="148"/>
                  </a:lnTo>
                  <a:lnTo>
                    <a:pt x="242" y="8"/>
                  </a:lnTo>
                  <a:lnTo>
                    <a:pt x="240" y="4"/>
                  </a:lnTo>
                  <a:lnTo>
                    <a:pt x="236" y="2"/>
                  </a:lnTo>
                  <a:lnTo>
                    <a:pt x="232" y="0"/>
                  </a:lnTo>
                  <a:lnTo>
                    <a:pt x="229" y="0"/>
                  </a:lnTo>
                  <a:lnTo>
                    <a:pt x="228" y="0"/>
                  </a:lnTo>
                  <a:lnTo>
                    <a:pt x="228" y="0"/>
                  </a:lnTo>
                  <a:lnTo>
                    <a:pt x="225" y="0"/>
                  </a:lnTo>
                  <a:lnTo>
                    <a:pt x="220" y="2"/>
                  </a:lnTo>
                  <a:lnTo>
                    <a:pt x="217" y="4"/>
                  </a:lnTo>
                  <a:lnTo>
                    <a:pt x="215" y="7"/>
                  </a:lnTo>
                  <a:lnTo>
                    <a:pt x="142" y="148"/>
                  </a:lnTo>
                  <a:lnTo>
                    <a:pt x="15" y="148"/>
                  </a:lnTo>
                  <a:lnTo>
                    <a:pt x="11" y="148"/>
                  </a:lnTo>
                  <a:lnTo>
                    <a:pt x="7" y="150"/>
                  </a:lnTo>
                  <a:lnTo>
                    <a:pt x="4" y="153"/>
                  </a:lnTo>
                  <a:lnTo>
                    <a:pt x="1" y="157"/>
                  </a:lnTo>
                  <a:lnTo>
                    <a:pt x="0" y="162"/>
                  </a:lnTo>
                  <a:lnTo>
                    <a:pt x="0" y="166"/>
                  </a:lnTo>
                  <a:lnTo>
                    <a:pt x="3" y="170"/>
                  </a:lnTo>
                  <a:lnTo>
                    <a:pt x="6" y="173"/>
                  </a:lnTo>
                  <a:lnTo>
                    <a:pt x="115" y="266"/>
                  </a:lnTo>
                  <a:lnTo>
                    <a:pt x="62" y="429"/>
                  </a:lnTo>
                  <a:lnTo>
                    <a:pt x="60" y="433"/>
                  </a:lnTo>
                  <a:lnTo>
                    <a:pt x="62" y="437"/>
                  </a:lnTo>
                  <a:lnTo>
                    <a:pt x="63" y="441"/>
                  </a:lnTo>
                  <a:lnTo>
                    <a:pt x="67" y="445"/>
                  </a:lnTo>
                  <a:lnTo>
                    <a:pt x="71" y="448"/>
                  </a:lnTo>
                  <a:lnTo>
                    <a:pt x="75" y="448"/>
                  </a:lnTo>
                  <a:lnTo>
                    <a:pt x="80" y="448"/>
                  </a:lnTo>
                  <a:lnTo>
                    <a:pt x="84" y="446"/>
                  </a:lnTo>
                  <a:lnTo>
                    <a:pt x="228" y="346"/>
                  </a:lnTo>
                  <a:lnTo>
                    <a:pt x="367" y="446"/>
                  </a:lnTo>
                  <a:lnTo>
                    <a:pt x="371" y="448"/>
                  </a:lnTo>
                  <a:lnTo>
                    <a:pt x="377" y="448"/>
                  </a:lnTo>
                  <a:lnTo>
                    <a:pt x="381" y="448"/>
                  </a:lnTo>
                  <a:lnTo>
                    <a:pt x="385" y="446"/>
                  </a:lnTo>
                  <a:lnTo>
                    <a:pt x="389" y="441"/>
                  </a:lnTo>
                  <a:lnTo>
                    <a:pt x="391" y="438"/>
                  </a:lnTo>
                  <a:lnTo>
                    <a:pt x="392" y="433"/>
                  </a:lnTo>
                  <a:lnTo>
                    <a:pt x="391" y="429"/>
                  </a:lnTo>
                  <a:lnTo>
                    <a:pt x="340" y="266"/>
                  </a:lnTo>
                  <a:lnTo>
                    <a:pt x="446" y="173"/>
                  </a:lnTo>
                  <a:lnTo>
                    <a:pt x="450" y="170"/>
                  </a:lnTo>
                  <a:lnTo>
                    <a:pt x="451" y="166"/>
                  </a:lnTo>
                  <a:lnTo>
                    <a:pt x="452" y="162"/>
                  </a:lnTo>
                  <a:lnTo>
                    <a:pt x="451" y="15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63" name="Group 162"/>
          <p:cNvGrpSpPr/>
          <p:nvPr/>
        </p:nvGrpSpPr>
        <p:grpSpPr>
          <a:xfrm>
            <a:off x="9563888" y="5372671"/>
            <a:ext cx="338295" cy="338295"/>
            <a:chOff x="2598738" y="1933575"/>
            <a:chExt cx="287338" cy="287338"/>
          </a:xfrm>
          <a:solidFill>
            <a:srgbClr val="3B3939"/>
          </a:solidFill>
        </p:grpSpPr>
        <p:sp>
          <p:nvSpPr>
            <p:cNvPr id="164" name="Freeform 10"/>
            <p:cNvSpPr>
              <a:spLocks/>
            </p:cNvSpPr>
            <p:nvPr/>
          </p:nvSpPr>
          <p:spPr bwMode="auto">
            <a:xfrm>
              <a:off x="2813050" y="1933575"/>
              <a:ext cx="63500" cy="106363"/>
            </a:xfrm>
            <a:custGeom>
              <a:avLst/>
              <a:gdLst>
                <a:gd name="T0" fmla="*/ 3 w 196"/>
                <a:gd name="T1" fmla="*/ 99 h 331"/>
                <a:gd name="T2" fmla="*/ 81 w 196"/>
                <a:gd name="T3" fmla="*/ 176 h 331"/>
                <a:gd name="T4" fmla="*/ 85 w 196"/>
                <a:gd name="T5" fmla="*/ 179 h 331"/>
                <a:gd name="T6" fmla="*/ 91 w 196"/>
                <a:gd name="T7" fmla="*/ 180 h 331"/>
                <a:gd name="T8" fmla="*/ 97 w 196"/>
                <a:gd name="T9" fmla="*/ 179 h 331"/>
                <a:gd name="T10" fmla="*/ 102 w 196"/>
                <a:gd name="T11" fmla="*/ 176 h 331"/>
                <a:gd name="T12" fmla="*/ 105 w 196"/>
                <a:gd name="T13" fmla="*/ 172 h 331"/>
                <a:gd name="T14" fmla="*/ 106 w 196"/>
                <a:gd name="T15" fmla="*/ 166 h 331"/>
                <a:gd name="T16" fmla="*/ 105 w 196"/>
                <a:gd name="T17" fmla="*/ 160 h 331"/>
                <a:gd name="T18" fmla="*/ 102 w 196"/>
                <a:gd name="T19" fmla="*/ 155 h 331"/>
                <a:gd name="T20" fmla="*/ 121 w 196"/>
                <a:gd name="T21" fmla="*/ 105 h 331"/>
                <a:gd name="T22" fmla="*/ 137 w 196"/>
                <a:gd name="T23" fmla="*/ 109 h 331"/>
                <a:gd name="T24" fmla="*/ 152 w 196"/>
                <a:gd name="T25" fmla="*/ 120 h 331"/>
                <a:gd name="T26" fmla="*/ 162 w 196"/>
                <a:gd name="T27" fmla="*/ 134 h 331"/>
                <a:gd name="T28" fmla="*/ 166 w 196"/>
                <a:gd name="T29" fmla="*/ 150 h 331"/>
                <a:gd name="T30" fmla="*/ 166 w 196"/>
                <a:gd name="T31" fmla="*/ 320 h 331"/>
                <a:gd name="T32" fmla="*/ 169 w 196"/>
                <a:gd name="T33" fmla="*/ 325 h 331"/>
                <a:gd name="T34" fmla="*/ 173 w 196"/>
                <a:gd name="T35" fmla="*/ 328 h 331"/>
                <a:gd name="T36" fmla="*/ 178 w 196"/>
                <a:gd name="T37" fmla="*/ 330 h 331"/>
                <a:gd name="T38" fmla="*/ 185 w 196"/>
                <a:gd name="T39" fmla="*/ 330 h 331"/>
                <a:gd name="T40" fmla="*/ 190 w 196"/>
                <a:gd name="T41" fmla="*/ 328 h 331"/>
                <a:gd name="T42" fmla="*/ 193 w 196"/>
                <a:gd name="T43" fmla="*/ 325 h 331"/>
                <a:gd name="T44" fmla="*/ 196 w 196"/>
                <a:gd name="T45" fmla="*/ 320 h 331"/>
                <a:gd name="T46" fmla="*/ 196 w 196"/>
                <a:gd name="T47" fmla="*/ 150 h 331"/>
                <a:gd name="T48" fmla="*/ 194 w 196"/>
                <a:gd name="T49" fmla="*/ 136 h 331"/>
                <a:gd name="T50" fmla="*/ 190 w 196"/>
                <a:gd name="T51" fmla="*/ 122 h 331"/>
                <a:gd name="T52" fmla="*/ 183 w 196"/>
                <a:gd name="T53" fmla="*/ 109 h 331"/>
                <a:gd name="T54" fmla="*/ 174 w 196"/>
                <a:gd name="T55" fmla="*/ 98 h 331"/>
                <a:gd name="T56" fmla="*/ 162 w 196"/>
                <a:gd name="T57" fmla="*/ 89 h 331"/>
                <a:gd name="T58" fmla="*/ 149 w 196"/>
                <a:gd name="T59" fmla="*/ 82 h 331"/>
                <a:gd name="T60" fmla="*/ 135 w 196"/>
                <a:gd name="T61" fmla="*/ 77 h 331"/>
                <a:gd name="T62" fmla="*/ 121 w 196"/>
                <a:gd name="T63" fmla="*/ 75 h 331"/>
                <a:gd name="T64" fmla="*/ 102 w 196"/>
                <a:gd name="T65" fmla="*/ 26 h 331"/>
                <a:gd name="T66" fmla="*/ 105 w 196"/>
                <a:gd name="T67" fmla="*/ 22 h 331"/>
                <a:gd name="T68" fmla="*/ 106 w 196"/>
                <a:gd name="T69" fmla="*/ 15 h 331"/>
                <a:gd name="T70" fmla="*/ 105 w 196"/>
                <a:gd name="T71" fmla="*/ 10 h 331"/>
                <a:gd name="T72" fmla="*/ 102 w 196"/>
                <a:gd name="T73" fmla="*/ 4 h 331"/>
                <a:gd name="T74" fmla="*/ 97 w 196"/>
                <a:gd name="T75" fmla="*/ 1 h 331"/>
                <a:gd name="T76" fmla="*/ 91 w 196"/>
                <a:gd name="T77" fmla="*/ 0 h 331"/>
                <a:gd name="T78" fmla="*/ 85 w 196"/>
                <a:gd name="T79" fmla="*/ 1 h 331"/>
                <a:gd name="T80" fmla="*/ 81 w 196"/>
                <a:gd name="T81" fmla="*/ 4 h 331"/>
                <a:gd name="T82" fmla="*/ 3 w 196"/>
                <a:gd name="T83" fmla="*/ 83 h 331"/>
                <a:gd name="T84" fmla="*/ 1 w 196"/>
                <a:gd name="T85" fmla="*/ 88 h 331"/>
                <a:gd name="T86" fmla="*/ 1 w 196"/>
                <a:gd name="T87" fmla="*/ 93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96" h="331">
                  <a:moveTo>
                    <a:pt x="1" y="97"/>
                  </a:moveTo>
                  <a:lnTo>
                    <a:pt x="3" y="99"/>
                  </a:lnTo>
                  <a:lnTo>
                    <a:pt x="6" y="101"/>
                  </a:lnTo>
                  <a:lnTo>
                    <a:pt x="81" y="176"/>
                  </a:lnTo>
                  <a:lnTo>
                    <a:pt x="83" y="178"/>
                  </a:lnTo>
                  <a:lnTo>
                    <a:pt x="85" y="179"/>
                  </a:lnTo>
                  <a:lnTo>
                    <a:pt x="88" y="180"/>
                  </a:lnTo>
                  <a:lnTo>
                    <a:pt x="91" y="180"/>
                  </a:lnTo>
                  <a:lnTo>
                    <a:pt x="93" y="180"/>
                  </a:lnTo>
                  <a:lnTo>
                    <a:pt x="97" y="179"/>
                  </a:lnTo>
                  <a:lnTo>
                    <a:pt x="99" y="178"/>
                  </a:lnTo>
                  <a:lnTo>
                    <a:pt x="102" y="176"/>
                  </a:lnTo>
                  <a:lnTo>
                    <a:pt x="103" y="174"/>
                  </a:lnTo>
                  <a:lnTo>
                    <a:pt x="105" y="172"/>
                  </a:lnTo>
                  <a:lnTo>
                    <a:pt x="105" y="168"/>
                  </a:lnTo>
                  <a:lnTo>
                    <a:pt x="106" y="166"/>
                  </a:lnTo>
                  <a:lnTo>
                    <a:pt x="105" y="163"/>
                  </a:lnTo>
                  <a:lnTo>
                    <a:pt x="105" y="160"/>
                  </a:lnTo>
                  <a:lnTo>
                    <a:pt x="103" y="158"/>
                  </a:lnTo>
                  <a:lnTo>
                    <a:pt x="102" y="155"/>
                  </a:lnTo>
                  <a:lnTo>
                    <a:pt x="52" y="105"/>
                  </a:lnTo>
                  <a:lnTo>
                    <a:pt x="121" y="105"/>
                  </a:lnTo>
                  <a:lnTo>
                    <a:pt x="129" y="106"/>
                  </a:lnTo>
                  <a:lnTo>
                    <a:pt x="137" y="109"/>
                  </a:lnTo>
                  <a:lnTo>
                    <a:pt x="145" y="114"/>
                  </a:lnTo>
                  <a:lnTo>
                    <a:pt x="152" y="120"/>
                  </a:lnTo>
                  <a:lnTo>
                    <a:pt x="158" y="127"/>
                  </a:lnTo>
                  <a:lnTo>
                    <a:pt x="162" y="134"/>
                  </a:lnTo>
                  <a:lnTo>
                    <a:pt x="165" y="143"/>
                  </a:lnTo>
                  <a:lnTo>
                    <a:pt x="166" y="150"/>
                  </a:lnTo>
                  <a:lnTo>
                    <a:pt x="166" y="316"/>
                  </a:lnTo>
                  <a:lnTo>
                    <a:pt x="166" y="320"/>
                  </a:lnTo>
                  <a:lnTo>
                    <a:pt x="167" y="322"/>
                  </a:lnTo>
                  <a:lnTo>
                    <a:pt x="169" y="325"/>
                  </a:lnTo>
                  <a:lnTo>
                    <a:pt x="171" y="327"/>
                  </a:lnTo>
                  <a:lnTo>
                    <a:pt x="173" y="328"/>
                  </a:lnTo>
                  <a:lnTo>
                    <a:pt x="175" y="330"/>
                  </a:lnTo>
                  <a:lnTo>
                    <a:pt x="178" y="330"/>
                  </a:lnTo>
                  <a:lnTo>
                    <a:pt x="181" y="331"/>
                  </a:lnTo>
                  <a:lnTo>
                    <a:pt x="185" y="330"/>
                  </a:lnTo>
                  <a:lnTo>
                    <a:pt x="187" y="330"/>
                  </a:lnTo>
                  <a:lnTo>
                    <a:pt x="190" y="328"/>
                  </a:lnTo>
                  <a:lnTo>
                    <a:pt x="192" y="327"/>
                  </a:lnTo>
                  <a:lnTo>
                    <a:pt x="193" y="325"/>
                  </a:lnTo>
                  <a:lnTo>
                    <a:pt x="195" y="322"/>
                  </a:lnTo>
                  <a:lnTo>
                    <a:pt x="196" y="320"/>
                  </a:lnTo>
                  <a:lnTo>
                    <a:pt x="196" y="316"/>
                  </a:lnTo>
                  <a:lnTo>
                    <a:pt x="196" y="150"/>
                  </a:lnTo>
                  <a:lnTo>
                    <a:pt x="195" y="143"/>
                  </a:lnTo>
                  <a:lnTo>
                    <a:pt x="194" y="136"/>
                  </a:lnTo>
                  <a:lnTo>
                    <a:pt x="193" y="129"/>
                  </a:lnTo>
                  <a:lnTo>
                    <a:pt x="190" y="122"/>
                  </a:lnTo>
                  <a:lnTo>
                    <a:pt x="187" y="116"/>
                  </a:lnTo>
                  <a:lnTo>
                    <a:pt x="183" y="109"/>
                  </a:lnTo>
                  <a:lnTo>
                    <a:pt x="178" y="104"/>
                  </a:lnTo>
                  <a:lnTo>
                    <a:pt x="174" y="98"/>
                  </a:lnTo>
                  <a:lnTo>
                    <a:pt x="167" y="93"/>
                  </a:lnTo>
                  <a:lnTo>
                    <a:pt x="162" y="89"/>
                  </a:lnTo>
                  <a:lnTo>
                    <a:pt x="156" y="85"/>
                  </a:lnTo>
                  <a:lnTo>
                    <a:pt x="149" y="82"/>
                  </a:lnTo>
                  <a:lnTo>
                    <a:pt x="143" y="78"/>
                  </a:lnTo>
                  <a:lnTo>
                    <a:pt x="135" y="77"/>
                  </a:lnTo>
                  <a:lnTo>
                    <a:pt x="129" y="75"/>
                  </a:lnTo>
                  <a:lnTo>
                    <a:pt x="121" y="75"/>
                  </a:lnTo>
                  <a:lnTo>
                    <a:pt x="52" y="75"/>
                  </a:lnTo>
                  <a:lnTo>
                    <a:pt x="102" y="26"/>
                  </a:lnTo>
                  <a:lnTo>
                    <a:pt x="103" y="24"/>
                  </a:lnTo>
                  <a:lnTo>
                    <a:pt x="105" y="22"/>
                  </a:lnTo>
                  <a:lnTo>
                    <a:pt x="105" y="18"/>
                  </a:lnTo>
                  <a:lnTo>
                    <a:pt x="106" y="15"/>
                  </a:lnTo>
                  <a:lnTo>
                    <a:pt x="105" y="13"/>
                  </a:lnTo>
                  <a:lnTo>
                    <a:pt x="105" y="10"/>
                  </a:lnTo>
                  <a:lnTo>
                    <a:pt x="103" y="7"/>
                  </a:lnTo>
                  <a:lnTo>
                    <a:pt x="102" y="4"/>
                  </a:lnTo>
                  <a:lnTo>
                    <a:pt x="99" y="2"/>
                  </a:lnTo>
                  <a:lnTo>
                    <a:pt x="97" y="1"/>
                  </a:lnTo>
                  <a:lnTo>
                    <a:pt x="93" y="0"/>
                  </a:lnTo>
                  <a:lnTo>
                    <a:pt x="91" y="0"/>
                  </a:lnTo>
                  <a:lnTo>
                    <a:pt x="88" y="0"/>
                  </a:lnTo>
                  <a:lnTo>
                    <a:pt x="85" y="1"/>
                  </a:lnTo>
                  <a:lnTo>
                    <a:pt x="83" y="2"/>
                  </a:lnTo>
                  <a:lnTo>
                    <a:pt x="81" y="4"/>
                  </a:lnTo>
                  <a:lnTo>
                    <a:pt x="6" y="79"/>
                  </a:lnTo>
                  <a:lnTo>
                    <a:pt x="3" y="83"/>
                  </a:lnTo>
                  <a:lnTo>
                    <a:pt x="1" y="86"/>
                  </a:lnTo>
                  <a:lnTo>
                    <a:pt x="1" y="88"/>
                  </a:lnTo>
                  <a:lnTo>
                    <a:pt x="0" y="91"/>
                  </a:lnTo>
                  <a:lnTo>
                    <a:pt x="1" y="93"/>
                  </a:lnTo>
                  <a:lnTo>
                    <a:pt x="1" y="9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11"/>
            <p:cNvSpPr>
              <a:spLocks noEditPoints="1"/>
            </p:cNvSpPr>
            <p:nvPr/>
          </p:nvSpPr>
          <p:spPr bwMode="auto">
            <a:xfrm>
              <a:off x="2598738" y="1933575"/>
              <a:ext cx="287338" cy="287338"/>
            </a:xfrm>
            <a:custGeom>
              <a:avLst/>
              <a:gdLst>
                <a:gd name="T0" fmla="*/ 866 w 903"/>
                <a:gd name="T1" fmla="*/ 819 h 903"/>
                <a:gd name="T2" fmla="*/ 838 w 903"/>
                <a:gd name="T3" fmla="*/ 854 h 903"/>
                <a:gd name="T4" fmla="*/ 795 w 903"/>
                <a:gd name="T5" fmla="*/ 871 h 903"/>
                <a:gd name="T6" fmla="*/ 417 w 903"/>
                <a:gd name="T7" fmla="*/ 850 h 903"/>
                <a:gd name="T8" fmla="*/ 422 w 903"/>
                <a:gd name="T9" fmla="*/ 572 h 903"/>
                <a:gd name="T10" fmla="*/ 391 w 903"/>
                <a:gd name="T11" fmla="*/ 835 h 903"/>
                <a:gd name="T12" fmla="*/ 363 w 903"/>
                <a:gd name="T13" fmla="*/ 869 h 903"/>
                <a:gd name="T14" fmla="*/ 322 w 903"/>
                <a:gd name="T15" fmla="*/ 863 h 903"/>
                <a:gd name="T16" fmla="*/ 302 w 903"/>
                <a:gd name="T17" fmla="*/ 828 h 903"/>
                <a:gd name="T18" fmla="*/ 419 w 903"/>
                <a:gd name="T19" fmla="*/ 473 h 903"/>
                <a:gd name="T20" fmla="*/ 429 w 903"/>
                <a:gd name="T21" fmla="*/ 482 h 903"/>
                <a:gd name="T22" fmla="*/ 783 w 903"/>
                <a:gd name="T23" fmla="*/ 542 h 903"/>
                <a:gd name="T24" fmla="*/ 396 w 903"/>
                <a:gd name="T25" fmla="*/ 547 h 903"/>
                <a:gd name="T26" fmla="*/ 140 w 903"/>
                <a:gd name="T27" fmla="*/ 452 h 903"/>
                <a:gd name="T28" fmla="*/ 151 w 903"/>
                <a:gd name="T29" fmla="*/ 180 h 903"/>
                <a:gd name="T30" fmla="*/ 602 w 903"/>
                <a:gd name="T31" fmla="*/ 399 h 903"/>
                <a:gd name="T32" fmla="*/ 588 w 903"/>
                <a:gd name="T33" fmla="*/ 427 h 903"/>
                <a:gd name="T34" fmla="*/ 547 w 903"/>
                <a:gd name="T35" fmla="*/ 448 h 903"/>
                <a:gd name="T36" fmla="*/ 448 w 903"/>
                <a:gd name="T37" fmla="*/ 437 h 903"/>
                <a:gd name="T38" fmla="*/ 441 w 903"/>
                <a:gd name="T39" fmla="*/ 424 h 903"/>
                <a:gd name="T40" fmla="*/ 284 w 903"/>
                <a:gd name="T41" fmla="*/ 422 h 903"/>
                <a:gd name="T42" fmla="*/ 273 w 903"/>
                <a:gd name="T43" fmla="*/ 431 h 903"/>
                <a:gd name="T44" fmla="*/ 30 w 903"/>
                <a:gd name="T45" fmla="*/ 414 h 903"/>
                <a:gd name="T46" fmla="*/ 182 w 903"/>
                <a:gd name="T47" fmla="*/ 82 h 903"/>
                <a:gd name="T48" fmla="*/ 192 w 903"/>
                <a:gd name="T49" fmla="*/ 90 h 903"/>
                <a:gd name="T50" fmla="*/ 132 w 903"/>
                <a:gd name="T51" fmla="*/ 151 h 903"/>
                <a:gd name="T52" fmla="*/ 122 w 903"/>
                <a:gd name="T53" fmla="*/ 160 h 903"/>
                <a:gd name="T54" fmla="*/ 119 w 903"/>
                <a:gd name="T55" fmla="*/ 425 h 903"/>
                <a:gd name="T56" fmla="*/ 108 w 903"/>
                <a:gd name="T57" fmla="*/ 443 h 903"/>
                <a:gd name="T58" fmla="*/ 76 w 903"/>
                <a:gd name="T59" fmla="*/ 452 h 903"/>
                <a:gd name="T60" fmla="*/ 43 w 903"/>
                <a:gd name="T61" fmla="*/ 443 h 903"/>
                <a:gd name="T62" fmla="*/ 32 w 903"/>
                <a:gd name="T63" fmla="*/ 425 h 903"/>
                <a:gd name="T64" fmla="*/ 813 w 903"/>
                <a:gd name="T65" fmla="*/ 467 h 903"/>
                <a:gd name="T66" fmla="*/ 807 w 903"/>
                <a:gd name="T67" fmla="*/ 455 h 903"/>
                <a:gd name="T68" fmla="*/ 607 w 903"/>
                <a:gd name="T69" fmla="*/ 449 h 903"/>
                <a:gd name="T70" fmla="*/ 629 w 903"/>
                <a:gd name="T71" fmla="*/ 415 h 903"/>
                <a:gd name="T72" fmla="*/ 632 w 903"/>
                <a:gd name="T73" fmla="*/ 165 h 903"/>
                <a:gd name="T74" fmla="*/ 626 w 903"/>
                <a:gd name="T75" fmla="*/ 153 h 903"/>
                <a:gd name="T76" fmla="*/ 572 w 903"/>
                <a:gd name="T77" fmla="*/ 75 h 903"/>
                <a:gd name="T78" fmla="*/ 566 w 903"/>
                <a:gd name="T79" fmla="*/ 63 h 903"/>
                <a:gd name="T80" fmla="*/ 211 w 903"/>
                <a:gd name="T81" fmla="*/ 15 h 903"/>
                <a:gd name="T82" fmla="*/ 204 w 903"/>
                <a:gd name="T83" fmla="*/ 2 h 903"/>
                <a:gd name="T84" fmla="*/ 12 w 903"/>
                <a:gd name="T85" fmla="*/ 0 h 903"/>
                <a:gd name="T86" fmla="*/ 2 w 903"/>
                <a:gd name="T87" fmla="*/ 10 h 903"/>
                <a:gd name="T88" fmla="*/ 2 w 903"/>
                <a:gd name="T89" fmla="*/ 429 h 903"/>
                <a:gd name="T90" fmla="*/ 17 w 903"/>
                <a:gd name="T91" fmla="*/ 459 h 903"/>
                <a:gd name="T92" fmla="*/ 44 w 903"/>
                <a:gd name="T93" fmla="*/ 477 h 903"/>
                <a:gd name="T94" fmla="*/ 271 w 903"/>
                <a:gd name="T95" fmla="*/ 482 h 903"/>
                <a:gd name="T96" fmla="*/ 277 w 903"/>
                <a:gd name="T97" fmla="*/ 854 h 903"/>
                <a:gd name="T98" fmla="*/ 299 w 903"/>
                <a:gd name="T99" fmla="*/ 884 h 903"/>
                <a:gd name="T100" fmla="*/ 332 w 903"/>
                <a:gd name="T101" fmla="*/ 901 h 903"/>
                <a:gd name="T102" fmla="*/ 802 w 903"/>
                <a:gd name="T103" fmla="*/ 901 h 903"/>
                <a:gd name="T104" fmla="*/ 857 w 903"/>
                <a:gd name="T105" fmla="*/ 876 h 903"/>
                <a:gd name="T106" fmla="*/ 894 w 903"/>
                <a:gd name="T107" fmla="*/ 830 h 903"/>
                <a:gd name="T108" fmla="*/ 903 w 903"/>
                <a:gd name="T109" fmla="*/ 557 h 903"/>
                <a:gd name="T110" fmla="*/ 897 w 903"/>
                <a:gd name="T111" fmla="*/ 545 h 9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903" h="903">
                  <a:moveTo>
                    <a:pt x="873" y="783"/>
                  </a:moveTo>
                  <a:lnTo>
                    <a:pt x="872" y="793"/>
                  </a:lnTo>
                  <a:lnTo>
                    <a:pt x="871" y="801"/>
                  </a:lnTo>
                  <a:lnTo>
                    <a:pt x="869" y="811"/>
                  </a:lnTo>
                  <a:lnTo>
                    <a:pt x="866" y="819"/>
                  </a:lnTo>
                  <a:lnTo>
                    <a:pt x="862" y="827"/>
                  </a:lnTo>
                  <a:lnTo>
                    <a:pt x="857" y="834"/>
                  </a:lnTo>
                  <a:lnTo>
                    <a:pt x="852" y="841"/>
                  </a:lnTo>
                  <a:lnTo>
                    <a:pt x="846" y="847"/>
                  </a:lnTo>
                  <a:lnTo>
                    <a:pt x="838" y="854"/>
                  </a:lnTo>
                  <a:lnTo>
                    <a:pt x="831" y="858"/>
                  </a:lnTo>
                  <a:lnTo>
                    <a:pt x="823" y="862"/>
                  </a:lnTo>
                  <a:lnTo>
                    <a:pt x="814" y="867"/>
                  </a:lnTo>
                  <a:lnTo>
                    <a:pt x="805" y="869"/>
                  </a:lnTo>
                  <a:lnTo>
                    <a:pt x="795" y="871"/>
                  </a:lnTo>
                  <a:lnTo>
                    <a:pt x="786" y="873"/>
                  </a:lnTo>
                  <a:lnTo>
                    <a:pt x="775" y="873"/>
                  </a:lnTo>
                  <a:lnTo>
                    <a:pt x="404" y="873"/>
                  </a:lnTo>
                  <a:lnTo>
                    <a:pt x="411" y="862"/>
                  </a:lnTo>
                  <a:lnTo>
                    <a:pt x="417" y="850"/>
                  </a:lnTo>
                  <a:lnTo>
                    <a:pt x="419" y="845"/>
                  </a:lnTo>
                  <a:lnTo>
                    <a:pt x="421" y="840"/>
                  </a:lnTo>
                  <a:lnTo>
                    <a:pt x="422" y="833"/>
                  </a:lnTo>
                  <a:lnTo>
                    <a:pt x="422" y="828"/>
                  </a:lnTo>
                  <a:lnTo>
                    <a:pt x="422" y="572"/>
                  </a:lnTo>
                  <a:lnTo>
                    <a:pt x="873" y="572"/>
                  </a:lnTo>
                  <a:lnTo>
                    <a:pt x="873" y="783"/>
                  </a:lnTo>
                  <a:close/>
                  <a:moveTo>
                    <a:pt x="392" y="557"/>
                  </a:moveTo>
                  <a:lnTo>
                    <a:pt x="392" y="828"/>
                  </a:lnTo>
                  <a:lnTo>
                    <a:pt x="391" y="835"/>
                  </a:lnTo>
                  <a:lnTo>
                    <a:pt x="388" y="843"/>
                  </a:lnTo>
                  <a:lnTo>
                    <a:pt x="383" y="850"/>
                  </a:lnTo>
                  <a:lnTo>
                    <a:pt x="378" y="858"/>
                  </a:lnTo>
                  <a:lnTo>
                    <a:pt x="370" y="863"/>
                  </a:lnTo>
                  <a:lnTo>
                    <a:pt x="363" y="869"/>
                  </a:lnTo>
                  <a:lnTo>
                    <a:pt x="354" y="872"/>
                  </a:lnTo>
                  <a:lnTo>
                    <a:pt x="347" y="873"/>
                  </a:lnTo>
                  <a:lnTo>
                    <a:pt x="338" y="872"/>
                  </a:lnTo>
                  <a:lnTo>
                    <a:pt x="330" y="869"/>
                  </a:lnTo>
                  <a:lnTo>
                    <a:pt x="322" y="863"/>
                  </a:lnTo>
                  <a:lnTo>
                    <a:pt x="316" y="858"/>
                  </a:lnTo>
                  <a:lnTo>
                    <a:pt x="309" y="850"/>
                  </a:lnTo>
                  <a:lnTo>
                    <a:pt x="305" y="843"/>
                  </a:lnTo>
                  <a:lnTo>
                    <a:pt x="302" y="835"/>
                  </a:lnTo>
                  <a:lnTo>
                    <a:pt x="302" y="828"/>
                  </a:lnTo>
                  <a:lnTo>
                    <a:pt x="302" y="452"/>
                  </a:lnTo>
                  <a:lnTo>
                    <a:pt x="418" y="452"/>
                  </a:lnTo>
                  <a:lnTo>
                    <a:pt x="418" y="467"/>
                  </a:lnTo>
                  <a:lnTo>
                    <a:pt x="418" y="470"/>
                  </a:lnTo>
                  <a:lnTo>
                    <a:pt x="419" y="473"/>
                  </a:lnTo>
                  <a:lnTo>
                    <a:pt x="421" y="475"/>
                  </a:lnTo>
                  <a:lnTo>
                    <a:pt x="422" y="477"/>
                  </a:lnTo>
                  <a:lnTo>
                    <a:pt x="424" y="479"/>
                  </a:lnTo>
                  <a:lnTo>
                    <a:pt x="427" y="481"/>
                  </a:lnTo>
                  <a:lnTo>
                    <a:pt x="429" y="482"/>
                  </a:lnTo>
                  <a:lnTo>
                    <a:pt x="433" y="482"/>
                  </a:lnTo>
                  <a:lnTo>
                    <a:pt x="437" y="482"/>
                  </a:lnTo>
                  <a:lnTo>
                    <a:pt x="512" y="482"/>
                  </a:lnTo>
                  <a:lnTo>
                    <a:pt x="783" y="482"/>
                  </a:lnTo>
                  <a:lnTo>
                    <a:pt x="783" y="542"/>
                  </a:lnTo>
                  <a:lnTo>
                    <a:pt x="407" y="542"/>
                  </a:lnTo>
                  <a:lnTo>
                    <a:pt x="404" y="542"/>
                  </a:lnTo>
                  <a:lnTo>
                    <a:pt x="400" y="543"/>
                  </a:lnTo>
                  <a:lnTo>
                    <a:pt x="398" y="545"/>
                  </a:lnTo>
                  <a:lnTo>
                    <a:pt x="396" y="547"/>
                  </a:lnTo>
                  <a:lnTo>
                    <a:pt x="394" y="549"/>
                  </a:lnTo>
                  <a:lnTo>
                    <a:pt x="393" y="551"/>
                  </a:lnTo>
                  <a:lnTo>
                    <a:pt x="392" y="554"/>
                  </a:lnTo>
                  <a:lnTo>
                    <a:pt x="392" y="557"/>
                  </a:lnTo>
                  <a:close/>
                  <a:moveTo>
                    <a:pt x="140" y="452"/>
                  </a:moveTo>
                  <a:lnTo>
                    <a:pt x="144" y="443"/>
                  </a:lnTo>
                  <a:lnTo>
                    <a:pt x="148" y="434"/>
                  </a:lnTo>
                  <a:lnTo>
                    <a:pt x="151" y="425"/>
                  </a:lnTo>
                  <a:lnTo>
                    <a:pt x="151" y="414"/>
                  </a:lnTo>
                  <a:lnTo>
                    <a:pt x="151" y="180"/>
                  </a:lnTo>
                  <a:lnTo>
                    <a:pt x="602" y="180"/>
                  </a:lnTo>
                  <a:lnTo>
                    <a:pt x="602" y="378"/>
                  </a:lnTo>
                  <a:lnTo>
                    <a:pt x="603" y="385"/>
                  </a:lnTo>
                  <a:lnTo>
                    <a:pt x="602" y="393"/>
                  </a:lnTo>
                  <a:lnTo>
                    <a:pt x="602" y="399"/>
                  </a:lnTo>
                  <a:lnTo>
                    <a:pt x="600" y="405"/>
                  </a:lnTo>
                  <a:lnTo>
                    <a:pt x="598" y="412"/>
                  </a:lnTo>
                  <a:lnTo>
                    <a:pt x="596" y="417"/>
                  </a:lnTo>
                  <a:lnTo>
                    <a:pt x="592" y="423"/>
                  </a:lnTo>
                  <a:lnTo>
                    <a:pt x="588" y="427"/>
                  </a:lnTo>
                  <a:lnTo>
                    <a:pt x="582" y="432"/>
                  </a:lnTo>
                  <a:lnTo>
                    <a:pt x="574" y="438"/>
                  </a:lnTo>
                  <a:lnTo>
                    <a:pt x="567" y="442"/>
                  </a:lnTo>
                  <a:lnTo>
                    <a:pt x="557" y="445"/>
                  </a:lnTo>
                  <a:lnTo>
                    <a:pt x="547" y="448"/>
                  </a:lnTo>
                  <a:lnTo>
                    <a:pt x="537" y="449"/>
                  </a:lnTo>
                  <a:lnTo>
                    <a:pt x="525" y="452"/>
                  </a:lnTo>
                  <a:lnTo>
                    <a:pt x="512" y="452"/>
                  </a:lnTo>
                  <a:lnTo>
                    <a:pt x="448" y="452"/>
                  </a:lnTo>
                  <a:lnTo>
                    <a:pt x="448" y="437"/>
                  </a:lnTo>
                  <a:lnTo>
                    <a:pt x="448" y="433"/>
                  </a:lnTo>
                  <a:lnTo>
                    <a:pt x="447" y="431"/>
                  </a:lnTo>
                  <a:lnTo>
                    <a:pt x="446" y="428"/>
                  </a:lnTo>
                  <a:lnTo>
                    <a:pt x="443" y="426"/>
                  </a:lnTo>
                  <a:lnTo>
                    <a:pt x="441" y="424"/>
                  </a:lnTo>
                  <a:lnTo>
                    <a:pt x="439" y="423"/>
                  </a:lnTo>
                  <a:lnTo>
                    <a:pt x="436" y="422"/>
                  </a:lnTo>
                  <a:lnTo>
                    <a:pt x="433" y="422"/>
                  </a:lnTo>
                  <a:lnTo>
                    <a:pt x="286" y="422"/>
                  </a:lnTo>
                  <a:lnTo>
                    <a:pt x="284" y="422"/>
                  </a:lnTo>
                  <a:lnTo>
                    <a:pt x="280" y="423"/>
                  </a:lnTo>
                  <a:lnTo>
                    <a:pt x="278" y="424"/>
                  </a:lnTo>
                  <a:lnTo>
                    <a:pt x="276" y="426"/>
                  </a:lnTo>
                  <a:lnTo>
                    <a:pt x="274" y="428"/>
                  </a:lnTo>
                  <a:lnTo>
                    <a:pt x="273" y="431"/>
                  </a:lnTo>
                  <a:lnTo>
                    <a:pt x="272" y="433"/>
                  </a:lnTo>
                  <a:lnTo>
                    <a:pt x="271" y="437"/>
                  </a:lnTo>
                  <a:lnTo>
                    <a:pt x="271" y="452"/>
                  </a:lnTo>
                  <a:lnTo>
                    <a:pt x="140" y="452"/>
                  </a:lnTo>
                  <a:close/>
                  <a:moveTo>
                    <a:pt x="30" y="414"/>
                  </a:moveTo>
                  <a:lnTo>
                    <a:pt x="30" y="30"/>
                  </a:lnTo>
                  <a:lnTo>
                    <a:pt x="181" y="30"/>
                  </a:lnTo>
                  <a:lnTo>
                    <a:pt x="181" y="75"/>
                  </a:lnTo>
                  <a:lnTo>
                    <a:pt x="182" y="78"/>
                  </a:lnTo>
                  <a:lnTo>
                    <a:pt x="182" y="82"/>
                  </a:lnTo>
                  <a:lnTo>
                    <a:pt x="184" y="84"/>
                  </a:lnTo>
                  <a:lnTo>
                    <a:pt x="185" y="86"/>
                  </a:lnTo>
                  <a:lnTo>
                    <a:pt x="187" y="88"/>
                  </a:lnTo>
                  <a:lnTo>
                    <a:pt x="190" y="89"/>
                  </a:lnTo>
                  <a:lnTo>
                    <a:pt x="192" y="90"/>
                  </a:lnTo>
                  <a:lnTo>
                    <a:pt x="196" y="90"/>
                  </a:lnTo>
                  <a:lnTo>
                    <a:pt x="542" y="90"/>
                  </a:lnTo>
                  <a:lnTo>
                    <a:pt x="542" y="150"/>
                  </a:lnTo>
                  <a:lnTo>
                    <a:pt x="136" y="150"/>
                  </a:lnTo>
                  <a:lnTo>
                    <a:pt x="132" y="151"/>
                  </a:lnTo>
                  <a:lnTo>
                    <a:pt x="130" y="151"/>
                  </a:lnTo>
                  <a:lnTo>
                    <a:pt x="127" y="153"/>
                  </a:lnTo>
                  <a:lnTo>
                    <a:pt x="125" y="156"/>
                  </a:lnTo>
                  <a:lnTo>
                    <a:pt x="124" y="158"/>
                  </a:lnTo>
                  <a:lnTo>
                    <a:pt x="122" y="160"/>
                  </a:lnTo>
                  <a:lnTo>
                    <a:pt x="121" y="163"/>
                  </a:lnTo>
                  <a:lnTo>
                    <a:pt x="121" y="165"/>
                  </a:lnTo>
                  <a:lnTo>
                    <a:pt x="121" y="414"/>
                  </a:lnTo>
                  <a:lnTo>
                    <a:pt x="121" y="419"/>
                  </a:lnTo>
                  <a:lnTo>
                    <a:pt x="119" y="425"/>
                  </a:lnTo>
                  <a:lnTo>
                    <a:pt x="118" y="430"/>
                  </a:lnTo>
                  <a:lnTo>
                    <a:pt x="116" y="433"/>
                  </a:lnTo>
                  <a:lnTo>
                    <a:pt x="114" y="438"/>
                  </a:lnTo>
                  <a:lnTo>
                    <a:pt x="111" y="441"/>
                  </a:lnTo>
                  <a:lnTo>
                    <a:pt x="108" y="443"/>
                  </a:lnTo>
                  <a:lnTo>
                    <a:pt x="104" y="445"/>
                  </a:lnTo>
                  <a:lnTo>
                    <a:pt x="97" y="448"/>
                  </a:lnTo>
                  <a:lnTo>
                    <a:pt x="89" y="450"/>
                  </a:lnTo>
                  <a:lnTo>
                    <a:pt x="82" y="452"/>
                  </a:lnTo>
                  <a:lnTo>
                    <a:pt x="76" y="452"/>
                  </a:lnTo>
                  <a:lnTo>
                    <a:pt x="69" y="452"/>
                  </a:lnTo>
                  <a:lnTo>
                    <a:pt x="62" y="450"/>
                  </a:lnTo>
                  <a:lnTo>
                    <a:pt x="54" y="448"/>
                  </a:lnTo>
                  <a:lnTo>
                    <a:pt x="47" y="445"/>
                  </a:lnTo>
                  <a:lnTo>
                    <a:pt x="43" y="443"/>
                  </a:lnTo>
                  <a:lnTo>
                    <a:pt x="40" y="441"/>
                  </a:lnTo>
                  <a:lnTo>
                    <a:pt x="38" y="438"/>
                  </a:lnTo>
                  <a:lnTo>
                    <a:pt x="35" y="433"/>
                  </a:lnTo>
                  <a:lnTo>
                    <a:pt x="33" y="430"/>
                  </a:lnTo>
                  <a:lnTo>
                    <a:pt x="32" y="425"/>
                  </a:lnTo>
                  <a:lnTo>
                    <a:pt x="30" y="419"/>
                  </a:lnTo>
                  <a:lnTo>
                    <a:pt x="30" y="414"/>
                  </a:lnTo>
                  <a:close/>
                  <a:moveTo>
                    <a:pt x="888" y="542"/>
                  </a:moveTo>
                  <a:lnTo>
                    <a:pt x="813" y="542"/>
                  </a:lnTo>
                  <a:lnTo>
                    <a:pt x="813" y="467"/>
                  </a:lnTo>
                  <a:lnTo>
                    <a:pt x="812" y="463"/>
                  </a:lnTo>
                  <a:lnTo>
                    <a:pt x="812" y="461"/>
                  </a:lnTo>
                  <a:lnTo>
                    <a:pt x="810" y="458"/>
                  </a:lnTo>
                  <a:lnTo>
                    <a:pt x="809" y="456"/>
                  </a:lnTo>
                  <a:lnTo>
                    <a:pt x="807" y="455"/>
                  </a:lnTo>
                  <a:lnTo>
                    <a:pt x="804" y="453"/>
                  </a:lnTo>
                  <a:lnTo>
                    <a:pt x="802" y="452"/>
                  </a:lnTo>
                  <a:lnTo>
                    <a:pt x="798" y="452"/>
                  </a:lnTo>
                  <a:lnTo>
                    <a:pt x="605" y="452"/>
                  </a:lnTo>
                  <a:lnTo>
                    <a:pt x="607" y="449"/>
                  </a:lnTo>
                  <a:lnTo>
                    <a:pt x="611" y="447"/>
                  </a:lnTo>
                  <a:lnTo>
                    <a:pt x="616" y="440"/>
                  </a:lnTo>
                  <a:lnTo>
                    <a:pt x="621" y="432"/>
                  </a:lnTo>
                  <a:lnTo>
                    <a:pt x="626" y="424"/>
                  </a:lnTo>
                  <a:lnTo>
                    <a:pt x="629" y="415"/>
                  </a:lnTo>
                  <a:lnTo>
                    <a:pt x="631" y="405"/>
                  </a:lnTo>
                  <a:lnTo>
                    <a:pt x="632" y="396"/>
                  </a:lnTo>
                  <a:lnTo>
                    <a:pt x="633" y="386"/>
                  </a:lnTo>
                  <a:lnTo>
                    <a:pt x="632" y="376"/>
                  </a:lnTo>
                  <a:lnTo>
                    <a:pt x="632" y="165"/>
                  </a:lnTo>
                  <a:lnTo>
                    <a:pt x="632" y="163"/>
                  </a:lnTo>
                  <a:lnTo>
                    <a:pt x="631" y="160"/>
                  </a:lnTo>
                  <a:lnTo>
                    <a:pt x="630" y="158"/>
                  </a:lnTo>
                  <a:lnTo>
                    <a:pt x="628" y="156"/>
                  </a:lnTo>
                  <a:lnTo>
                    <a:pt x="626" y="153"/>
                  </a:lnTo>
                  <a:lnTo>
                    <a:pt x="624" y="151"/>
                  </a:lnTo>
                  <a:lnTo>
                    <a:pt x="620" y="151"/>
                  </a:lnTo>
                  <a:lnTo>
                    <a:pt x="617" y="150"/>
                  </a:lnTo>
                  <a:lnTo>
                    <a:pt x="572" y="150"/>
                  </a:lnTo>
                  <a:lnTo>
                    <a:pt x="572" y="75"/>
                  </a:lnTo>
                  <a:lnTo>
                    <a:pt x="572" y="72"/>
                  </a:lnTo>
                  <a:lnTo>
                    <a:pt x="571" y="70"/>
                  </a:lnTo>
                  <a:lnTo>
                    <a:pt x="570" y="68"/>
                  </a:lnTo>
                  <a:lnTo>
                    <a:pt x="568" y="64"/>
                  </a:lnTo>
                  <a:lnTo>
                    <a:pt x="566" y="63"/>
                  </a:lnTo>
                  <a:lnTo>
                    <a:pt x="563" y="61"/>
                  </a:lnTo>
                  <a:lnTo>
                    <a:pt x="560" y="60"/>
                  </a:lnTo>
                  <a:lnTo>
                    <a:pt x="557" y="60"/>
                  </a:lnTo>
                  <a:lnTo>
                    <a:pt x="211" y="60"/>
                  </a:lnTo>
                  <a:lnTo>
                    <a:pt x="211" y="15"/>
                  </a:lnTo>
                  <a:lnTo>
                    <a:pt x="211" y="12"/>
                  </a:lnTo>
                  <a:lnTo>
                    <a:pt x="210" y="10"/>
                  </a:lnTo>
                  <a:lnTo>
                    <a:pt x="208" y="7"/>
                  </a:lnTo>
                  <a:lnTo>
                    <a:pt x="206" y="4"/>
                  </a:lnTo>
                  <a:lnTo>
                    <a:pt x="204" y="2"/>
                  </a:lnTo>
                  <a:lnTo>
                    <a:pt x="202" y="1"/>
                  </a:lnTo>
                  <a:lnTo>
                    <a:pt x="199" y="0"/>
                  </a:lnTo>
                  <a:lnTo>
                    <a:pt x="196" y="0"/>
                  </a:lnTo>
                  <a:lnTo>
                    <a:pt x="15" y="0"/>
                  </a:lnTo>
                  <a:lnTo>
                    <a:pt x="12" y="0"/>
                  </a:lnTo>
                  <a:lnTo>
                    <a:pt x="9" y="1"/>
                  </a:lnTo>
                  <a:lnTo>
                    <a:pt x="7" y="2"/>
                  </a:lnTo>
                  <a:lnTo>
                    <a:pt x="5" y="4"/>
                  </a:lnTo>
                  <a:lnTo>
                    <a:pt x="3" y="7"/>
                  </a:lnTo>
                  <a:lnTo>
                    <a:pt x="2" y="10"/>
                  </a:lnTo>
                  <a:lnTo>
                    <a:pt x="0" y="12"/>
                  </a:lnTo>
                  <a:lnTo>
                    <a:pt x="0" y="15"/>
                  </a:lnTo>
                  <a:lnTo>
                    <a:pt x="0" y="414"/>
                  </a:lnTo>
                  <a:lnTo>
                    <a:pt x="0" y="422"/>
                  </a:lnTo>
                  <a:lnTo>
                    <a:pt x="2" y="429"/>
                  </a:lnTo>
                  <a:lnTo>
                    <a:pt x="4" y="435"/>
                  </a:lnTo>
                  <a:lnTo>
                    <a:pt x="6" y="442"/>
                  </a:lnTo>
                  <a:lnTo>
                    <a:pt x="9" y="448"/>
                  </a:lnTo>
                  <a:lnTo>
                    <a:pt x="12" y="454"/>
                  </a:lnTo>
                  <a:lnTo>
                    <a:pt x="17" y="459"/>
                  </a:lnTo>
                  <a:lnTo>
                    <a:pt x="21" y="463"/>
                  </a:lnTo>
                  <a:lnTo>
                    <a:pt x="26" y="468"/>
                  </a:lnTo>
                  <a:lnTo>
                    <a:pt x="32" y="471"/>
                  </a:lnTo>
                  <a:lnTo>
                    <a:pt x="38" y="474"/>
                  </a:lnTo>
                  <a:lnTo>
                    <a:pt x="44" y="477"/>
                  </a:lnTo>
                  <a:lnTo>
                    <a:pt x="52" y="479"/>
                  </a:lnTo>
                  <a:lnTo>
                    <a:pt x="59" y="481"/>
                  </a:lnTo>
                  <a:lnTo>
                    <a:pt x="67" y="482"/>
                  </a:lnTo>
                  <a:lnTo>
                    <a:pt x="76" y="482"/>
                  </a:lnTo>
                  <a:lnTo>
                    <a:pt x="271" y="482"/>
                  </a:lnTo>
                  <a:lnTo>
                    <a:pt x="271" y="828"/>
                  </a:lnTo>
                  <a:lnTo>
                    <a:pt x="272" y="834"/>
                  </a:lnTo>
                  <a:lnTo>
                    <a:pt x="273" y="841"/>
                  </a:lnTo>
                  <a:lnTo>
                    <a:pt x="275" y="847"/>
                  </a:lnTo>
                  <a:lnTo>
                    <a:pt x="277" y="854"/>
                  </a:lnTo>
                  <a:lnTo>
                    <a:pt x="280" y="860"/>
                  </a:lnTo>
                  <a:lnTo>
                    <a:pt x="285" y="867"/>
                  </a:lnTo>
                  <a:lnTo>
                    <a:pt x="289" y="873"/>
                  </a:lnTo>
                  <a:lnTo>
                    <a:pt x="293" y="878"/>
                  </a:lnTo>
                  <a:lnTo>
                    <a:pt x="299" y="884"/>
                  </a:lnTo>
                  <a:lnTo>
                    <a:pt x="305" y="888"/>
                  </a:lnTo>
                  <a:lnTo>
                    <a:pt x="311" y="892"/>
                  </a:lnTo>
                  <a:lnTo>
                    <a:pt x="318" y="897"/>
                  </a:lnTo>
                  <a:lnTo>
                    <a:pt x="324" y="899"/>
                  </a:lnTo>
                  <a:lnTo>
                    <a:pt x="332" y="901"/>
                  </a:lnTo>
                  <a:lnTo>
                    <a:pt x="339" y="903"/>
                  </a:lnTo>
                  <a:lnTo>
                    <a:pt x="347" y="903"/>
                  </a:lnTo>
                  <a:lnTo>
                    <a:pt x="775" y="903"/>
                  </a:lnTo>
                  <a:lnTo>
                    <a:pt x="788" y="902"/>
                  </a:lnTo>
                  <a:lnTo>
                    <a:pt x="802" y="901"/>
                  </a:lnTo>
                  <a:lnTo>
                    <a:pt x="813" y="898"/>
                  </a:lnTo>
                  <a:lnTo>
                    <a:pt x="825" y="894"/>
                  </a:lnTo>
                  <a:lnTo>
                    <a:pt x="837" y="889"/>
                  </a:lnTo>
                  <a:lnTo>
                    <a:pt x="848" y="883"/>
                  </a:lnTo>
                  <a:lnTo>
                    <a:pt x="857" y="876"/>
                  </a:lnTo>
                  <a:lnTo>
                    <a:pt x="867" y="869"/>
                  </a:lnTo>
                  <a:lnTo>
                    <a:pt x="875" y="860"/>
                  </a:lnTo>
                  <a:lnTo>
                    <a:pt x="882" y="852"/>
                  </a:lnTo>
                  <a:lnTo>
                    <a:pt x="888" y="841"/>
                  </a:lnTo>
                  <a:lnTo>
                    <a:pt x="894" y="830"/>
                  </a:lnTo>
                  <a:lnTo>
                    <a:pt x="898" y="819"/>
                  </a:lnTo>
                  <a:lnTo>
                    <a:pt x="901" y="808"/>
                  </a:lnTo>
                  <a:lnTo>
                    <a:pt x="902" y="796"/>
                  </a:lnTo>
                  <a:lnTo>
                    <a:pt x="903" y="783"/>
                  </a:lnTo>
                  <a:lnTo>
                    <a:pt x="903" y="557"/>
                  </a:lnTo>
                  <a:lnTo>
                    <a:pt x="903" y="554"/>
                  </a:lnTo>
                  <a:lnTo>
                    <a:pt x="902" y="551"/>
                  </a:lnTo>
                  <a:lnTo>
                    <a:pt x="901" y="549"/>
                  </a:lnTo>
                  <a:lnTo>
                    <a:pt x="899" y="547"/>
                  </a:lnTo>
                  <a:lnTo>
                    <a:pt x="897" y="545"/>
                  </a:lnTo>
                  <a:lnTo>
                    <a:pt x="894" y="543"/>
                  </a:lnTo>
                  <a:lnTo>
                    <a:pt x="892" y="542"/>
                  </a:lnTo>
                  <a:lnTo>
                    <a:pt x="888" y="5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Freeform 12"/>
            <p:cNvSpPr>
              <a:spLocks/>
            </p:cNvSpPr>
            <p:nvPr/>
          </p:nvSpPr>
          <p:spPr bwMode="auto">
            <a:xfrm>
              <a:off x="2608263" y="2125663"/>
              <a:ext cx="61913" cy="95250"/>
            </a:xfrm>
            <a:custGeom>
              <a:avLst/>
              <a:gdLst>
                <a:gd name="T0" fmla="*/ 194 w 196"/>
                <a:gd name="T1" fmla="*/ 202 h 301"/>
                <a:gd name="T2" fmla="*/ 116 w 196"/>
                <a:gd name="T3" fmla="*/ 125 h 301"/>
                <a:gd name="T4" fmla="*/ 111 w 196"/>
                <a:gd name="T5" fmla="*/ 122 h 301"/>
                <a:gd name="T6" fmla="*/ 106 w 196"/>
                <a:gd name="T7" fmla="*/ 121 h 301"/>
                <a:gd name="T8" fmla="*/ 100 w 196"/>
                <a:gd name="T9" fmla="*/ 122 h 301"/>
                <a:gd name="T10" fmla="*/ 95 w 196"/>
                <a:gd name="T11" fmla="*/ 125 h 301"/>
                <a:gd name="T12" fmla="*/ 92 w 196"/>
                <a:gd name="T13" fmla="*/ 130 h 301"/>
                <a:gd name="T14" fmla="*/ 91 w 196"/>
                <a:gd name="T15" fmla="*/ 136 h 301"/>
                <a:gd name="T16" fmla="*/ 92 w 196"/>
                <a:gd name="T17" fmla="*/ 141 h 301"/>
                <a:gd name="T18" fmla="*/ 95 w 196"/>
                <a:gd name="T19" fmla="*/ 146 h 301"/>
                <a:gd name="T20" fmla="*/ 76 w 196"/>
                <a:gd name="T21" fmla="*/ 196 h 301"/>
                <a:gd name="T22" fmla="*/ 58 w 196"/>
                <a:gd name="T23" fmla="*/ 192 h 301"/>
                <a:gd name="T24" fmla="*/ 44 w 196"/>
                <a:gd name="T25" fmla="*/ 182 h 301"/>
                <a:gd name="T26" fmla="*/ 34 w 196"/>
                <a:gd name="T27" fmla="*/ 168 h 301"/>
                <a:gd name="T28" fmla="*/ 30 w 196"/>
                <a:gd name="T29" fmla="*/ 153 h 301"/>
                <a:gd name="T30" fmla="*/ 30 w 196"/>
                <a:gd name="T31" fmla="*/ 13 h 301"/>
                <a:gd name="T32" fmla="*/ 28 w 196"/>
                <a:gd name="T33" fmla="*/ 7 h 301"/>
                <a:gd name="T34" fmla="*/ 24 w 196"/>
                <a:gd name="T35" fmla="*/ 3 h 301"/>
                <a:gd name="T36" fmla="*/ 19 w 196"/>
                <a:gd name="T37" fmla="*/ 1 h 301"/>
                <a:gd name="T38" fmla="*/ 12 w 196"/>
                <a:gd name="T39" fmla="*/ 1 h 301"/>
                <a:gd name="T40" fmla="*/ 7 w 196"/>
                <a:gd name="T41" fmla="*/ 3 h 301"/>
                <a:gd name="T42" fmla="*/ 3 w 196"/>
                <a:gd name="T43" fmla="*/ 7 h 301"/>
                <a:gd name="T44" fmla="*/ 0 w 196"/>
                <a:gd name="T45" fmla="*/ 13 h 301"/>
                <a:gd name="T46" fmla="*/ 0 w 196"/>
                <a:gd name="T47" fmla="*/ 153 h 301"/>
                <a:gd name="T48" fmla="*/ 2 w 196"/>
                <a:gd name="T49" fmla="*/ 167 h 301"/>
                <a:gd name="T50" fmla="*/ 7 w 196"/>
                <a:gd name="T51" fmla="*/ 181 h 301"/>
                <a:gd name="T52" fmla="*/ 14 w 196"/>
                <a:gd name="T53" fmla="*/ 193 h 301"/>
                <a:gd name="T54" fmla="*/ 23 w 196"/>
                <a:gd name="T55" fmla="*/ 203 h 301"/>
                <a:gd name="T56" fmla="*/ 35 w 196"/>
                <a:gd name="T57" fmla="*/ 213 h 301"/>
                <a:gd name="T58" fmla="*/ 48 w 196"/>
                <a:gd name="T59" fmla="*/ 220 h 301"/>
                <a:gd name="T60" fmla="*/ 62 w 196"/>
                <a:gd name="T61" fmla="*/ 224 h 301"/>
                <a:gd name="T62" fmla="*/ 76 w 196"/>
                <a:gd name="T63" fmla="*/ 226 h 301"/>
                <a:gd name="T64" fmla="*/ 95 w 196"/>
                <a:gd name="T65" fmla="*/ 275 h 301"/>
                <a:gd name="T66" fmla="*/ 92 w 196"/>
                <a:gd name="T67" fmla="*/ 281 h 301"/>
                <a:gd name="T68" fmla="*/ 91 w 196"/>
                <a:gd name="T69" fmla="*/ 286 h 301"/>
                <a:gd name="T70" fmla="*/ 92 w 196"/>
                <a:gd name="T71" fmla="*/ 292 h 301"/>
                <a:gd name="T72" fmla="*/ 95 w 196"/>
                <a:gd name="T73" fmla="*/ 297 h 301"/>
                <a:gd name="T74" fmla="*/ 100 w 196"/>
                <a:gd name="T75" fmla="*/ 300 h 301"/>
                <a:gd name="T76" fmla="*/ 106 w 196"/>
                <a:gd name="T77" fmla="*/ 301 h 301"/>
                <a:gd name="T78" fmla="*/ 111 w 196"/>
                <a:gd name="T79" fmla="*/ 300 h 301"/>
                <a:gd name="T80" fmla="*/ 116 w 196"/>
                <a:gd name="T81" fmla="*/ 297 h 301"/>
                <a:gd name="T82" fmla="*/ 194 w 196"/>
                <a:gd name="T83" fmla="*/ 220 h 301"/>
                <a:gd name="T84" fmla="*/ 196 w 196"/>
                <a:gd name="T85" fmla="*/ 214 h 301"/>
                <a:gd name="T86" fmla="*/ 196 w 196"/>
                <a:gd name="T87" fmla="*/ 209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96" h="301">
                  <a:moveTo>
                    <a:pt x="195" y="207"/>
                  </a:moveTo>
                  <a:lnTo>
                    <a:pt x="194" y="202"/>
                  </a:lnTo>
                  <a:lnTo>
                    <a:pt x="191" y="200"/>
                  </a:lnTo>
                  <a:lnTo>
                    <a:pt x="116" y="125"/>
                  </a:lnTo>
                  <a:lnTo>
                    <a:pt x="114" y="123"/>
                  </a:lnTo>
                  <a:lnTo>
                    <a:pt x="111" y="122"/>
                  </a:lnTo>
                  <a:lnTo>
                    <a:pt x="109" y="121"/>
                  </a:lnTo>
                  <a:lnTo>
                    <a:pt x="106" y="121"/>
                  </a:lnTo>
                  <a:lnTo>
                    <a:pt x="102" y="121"/>
                  </a:lnTo>
                  <a:lnTo>
                    <a:pt x="100" y="122"/>
                  </a:lnTo>
                  <a:lnTo>
                    <a:pt x="97" y="123"/>
                  </a:lnTo>
                  <a:lnTo>
                    <a:pt x="95" y="125"/>
                  </a:lnTo>
                  <a:lnTo>
                    <a:pt x="93" y="127"/>
                  </a:lnTo>
                  <a:lnTo>
                    <a:pt x="92" y="130"/>
                  </a:lnTo>
                  <a:lnTo>
                    <a:pt x="91" y="133"/>
                  </a:lnTo>
                  <a:lnTo>
                    <a:pt x="91" y="136"/>
                  </a:lnTo>
                  <a:lnTo>
                    <a:pt x="91" y="139"/>
                  </a:lnTo>
                  <a:lnTo>
                    <a:pt x="92" y="141"/>
                  </a:lnTo>
                  <a:lnTo>
                    <a:pt x="93" y="144"/>
                  </a:lnTo>
                  <a:lnTo>
                    <a:pt x="95" y="146"/>
                  </a:lnTo>
                  <a:lnTo>
                    <a:pt x="144" y="196"/>
                  </a:lnTo>
                  <a:lnTo>
                    <a:pt x="76" y="196"/>
                  </a:lnTo>
                  <a:lnTo>
                    <a:pt x="67" y="195"/>
                  </a:lnTo>
                  <a:lnTo>
                    <a:pt x="58" y="192"/>
                  </a:lnTo>
                  <a:lnTo>
                    <a:pt x="51" y="187"/>
                  </a:lnTo>
                  <a:lnTo>
                    <a:pt x="44" y="182"/>
                  </a:lnTo>
                  <a:lnTo>
                    <a:pt x="38" y="176"/>
                  </a:lnTo>
                  <a:lnTo>
                    <a:pt x="34" y="168"/>
                  </a:lnTo>
                  <a:lnTo>
                    <a:pt x="32" y="161"/>
                  </a:lnTo>
                  <a:lnTo>
                    <a:pt x="30" y="153"/>
                  </a:lnTo>
                  <a:lnTo>
                    <a:pt x="30" y="15"/>
                  </a:lnTo>
                  <a:lnTo>
                    <a:pt x="30" y="13"/>
                  </a:lnTo>
                  <a:lnTo>
                    <a:pt x="29" y="9"/>
                  </a:lnTo>
                  <a:lnTo>
                    <a:pt x="28" y="7"/>
                  </a:lnTo>
                  <a:lnTo>
                    <a:pt x="26" y="5"/>
                  </a:lnTo>
                  <a:lnTo>
                    <a:pt x="24" y="3"/>
                  </a:lnTo>
                  <a:lnTo>
                    <a:pt x="21" y="1"/>
                  </a:lnTo>
                  <a:lnTo>
                    <a:pt x="19" y="1"/>
                  </a:lnTo>
                  <a:lnTo>
                    <a:pt x="15" y="0"/>
                  </a:lnTo>
                  <a:lnTo>
                    <a:pt x="12" y="1"/>
                  </a:lnTo>
                  <a:lnTo>
                    <a:pt x="9" y="1"/>
                  </a:lnTo>
                  <a:lnTo>
                    <a:pt x="7" y="3"/>
                  </a:lnTo>
                  <a:lnTo>
                    <a:pt x="5" y="5"/>
                  </a:lnTo>
                  <a:lnTo>
                    <a:pt x="3" y="7"/>
                  </a:lnTo>
                  <a:lnTo>
                    <a:pt x="2" y="9"/>
                  </a:lnTo>
                  <a:lnTo>
                    <a:pt x="0" y="13"/>
                  </a:lnTo>
                  <a:lnTo>
                    <a:pt x="0" y="15"/>
                  </a:lnTo>
                  <a:lnTo>
                    <a:pt x="0" y="153"/>
                  </a:lnTo>
                  <a:lnTo>
                    <a:pt x="0" y="161"/>
                  </a:lnTo>
                  <a:lnTo>
                    <a:pt x="2" y="167"/>
                  </a:lnTo>
                  <a:lnTo>
                    <a:pt x="4" y="174"/>
                  </a:lnTo>
                  <a:lnTo>
                    <a:pt x="7" y="181"/>
                  </a:lnTo>
                  <a:lnTo>
                    <a:pt x="10" y="187"/>
                  </a:lnTo>
                  <a:lnTo>
                    <a:pt x="14" y="193"/>
                  </a:lnTo>
                  <a:lnTo>
                    <a:pt x="19" y="198"/>
                  </a:lnTo>
                  <a:lnTo>
                    <a:pt x="23" y="203"/>
                  </a:lnTo>
                  <a:lnTo>
                    <a:pt x="29" y="209"/>
                  </a:lnTo>
                  <a:lnTo>
                    <a:pt x="35" y="213"/>
                  </a:lnTo>
                  <a:lnTo>
                    <a:pt x="41" y="216"/>
                  </a:lnTo>
                  <a:lnTo>
                    <a:pt x="48" y="220"/>
                  </a:lnTo>
                  <a:lnTo>
                    <a:pt x="54" y="223"/>
                  </a:lnTo>
                  <a:lnTo>
                    <a:pt x="62" y="224"/>
                  </a:lnTo>
                  <a:lnTo>
                    <a:pt x="68" y="225"/>
                  </a:lnTo>
                  <a:lnTo>
                    <a:pt x="76" y="226"/>
                  </a:lnTo>
                  <a:lnTo>
                    <a:pt x="144" y="226"/>
                  </a:lnTo>
                  <a:lnTo>
                    <a:pt x="95" y="275"/>
                  </a:lnTo>
                  <a:lnTo>
                    <a:pt x="93" y="277"/>
                  </a:lnTo>
                  <a:lnTo>
                    <a:pt x="92" y="281"/>
                  </a:lnTo>
                  <a:lnTo>
                    <a:pt x="91" y="284"/>
                  </a:lnTo>
                  <a:lnTo>
                    <a:pt x="91" y="286"/>
                  </a:lnTo>
                  <a:lnTo>
                    <a:pt x="91" y="289"/>
                  </a:lnTo>
                  <a:lnTo>
                    <a:pt x="92" y="292"/>
                  </a:lnTo>
                  <a:lnTo>
                    <a:pt x="93" y="295"/>
                  </a:lnTo>
                  <a:lnTo>
                    <a:pt x="95" y="297"/>
                  </a:lnTo>
                  <a:lnTo>
                    <a:pt x="97" y="299"/>
                  </a:lnTo>
                  <a:lnTo>
                    <a:pt x="100" y="300"/>
                  </a:lnTo>
                  <a:lnTo>
                    <a:pt x="102" y="301"/>
                  </a:lnTo>
                  <a:lnTo>
                    <a:pt x="106" y="301"/>
                  </a:lnTo>
                  <a:lnTo>
                    <a:pt x="109" y="301"/>
                  </a:lnTo>
                  <a:lnTo>
                    <a:pt x="111" y="300"/>
                  </a:lnTo>
                  <a:lnTo>
                    <a:pt x="114" y="299"/>
                  </a:lnTo>
                  <a:lnTo>
                    <a:pt x="116" y="297"/>
                  </a:lnTo>
                  <a:lnTo>
                    <a:pt x="191" y="222"/>
                  </a:lnTo>
                  <a:lnTo>
                    <a:pt x="194" y="220"/>
                  </a:lnTo>
                  <a:lnTo>
                    <a:pt x="195" y="216"/>
                  </a:lnTo>
                  <a:lnTo>
                    <a:pt x="196" y="214"/>
                  </a:lnTo>
                  <a:lnTo>
                    <a:pt x="196" y="211"/>
                  </a:lnTo>
                  <a:lnTo>
                    <a:pt x="196" y="209"/>
                  </a:lnTo>
                  <a:lnTo>
                    <a:pt x="195" y="20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67" name="Rectangle 166"/>
          <p:cNvSpPr/>
          <p:nvPr/>
        </p:nvSpPr>
        <p:spPr>
          <a:xfrm>
            <a:off x="4323941" y="1609251"/>
            <a:ext cx="946910" cy="760953"/>
          </a:xfrm>
          <a:prstGeom prst="rect">
            <a:avLst/>
          </a:prstGeom>
        </p:spPr>
        <p:txBody>
          <a:bodyPr wrap="square" anchor="ctr">
            <a:spAutoFit/>
          </a:bodyPr>
          <a:lstStyle/>
          <a:p>
            <a:pPr algn="ctr"/>
            <a:r>
              <a:rPr lang="en-US" sz="3600" dirty="0">
                <a:solidFill>
                  <a:schemeClr val="bg1"/>
                </a:solidFill>
              </a:rPr>
              <a:t>01</a:t>
            </a:r>
          </a:p>
        </p:txBody>
      </p:sp>
      <p:sp>
        <p:nvSpPr>
          <p:cNvPr id="168" name="Rectangle 167"/>
          <p:cNvSpPr/>
          <p:nvPr/>
        </p:nvSpPr>
        <p:spPr>
          <a:xfrm>
            <a:off x="4323941" y="2674598"/>
            <a:ext cx="946910" cy="760953"/>
          </a:xfrm>
          <a:prstGeom prst="rect">
            <a:avLst/>
          </a:prstGeom>
        </p:spPr>
        <p:txBody>
          <a:bodyPr wrap="square" anchor="ctr">
            <a:spAutoFit/>
          </a:bodyPr>
          <a:lstStyle/>
          <a:p>
            <a:pPr algn="ctr"/>
            <a:r>
              <a:rPr lang="en-US" sz="3600" dirty="0">
                <a:solidFill>
                  <a:schemeClr val="bg1"/>
                </a:solidFill>
              </a:rPr>
              <a:t>02</a:t>
            </a:r>
          </a:p>
        </p:txBody>
      </p:sp>
      <p:sp>
        <p:nvSpPr>
          <p:cNvPr id="169" name="Rectangle 168"/>
          <p:cNvSpPr/>
          <p:nvPr/>
        </p:nvSpPr>
        <p:spPr>
          <a:xfrm>
            <a:off x="4323941" y="3762371"/>
            <a:ext cx="946910" cy="760953"/>
          </a:xfrm>
          <a:prstGeom prst="rect">
            <a:avLst/>
          </a:prstGeom>
        </p:spPr>
        <p:txBody>
          <a:bodyPr wrap="square" anchor="ctr">
            <a:spAutoFit/>
          </a:bodyPr>
          <a:lstStyle/>
          <a:p>
            <a:pPr algn="ctr"/>
            <a:r>
              <a:rPr lang="en-US" sz="3600" dirty="0">
                <a:solidFill>
                  <a:schemeClr val="bg1"/>
                </a:solidFill>
              </a:rPr>
              <a:t>03</a:t>
            </a:r>
          </a:p>
        </p:txBody>
      </p:sp>
      <p:sp>
        <p:nvSpPr>
          <p:cNvPr id="170" name="Rectangle 169"/>
          <p:cNvSpPr/>
          <p:nvPr/>
        </p:nvSpPr>
        <p:spPr>
          <a:xfrm>
            <a:off x="4323941" y="4784733"/>
            <a:ext cx="946910" cy="760953"/>
          </a:xfrm>
          <a:prstGeom prst="rect">
            <a:avLst/>
          </a:prstGeom>
        </p:spPr>
        <p:txBody>
          <a:bodyPr wrap="square" anchor="ctr">
            <a:spAutoFit/>
          </a:bodyPr>
          <a:lstStyle/>
          <a:p>
            <a:pPr algn="ctr"/>
            <a:r>
              <a:rPr lang="en-US" sz="3600" dirty="0">
                <a:solidFill>
                  <a:schemeClr val="bg1"/>
                </a:solidFill>
              </a:rPr>
              <a:t>04</a:t>
            </a:r>
          </a:p>
        </p:txBody>
      </p:sp>
      <p:sp>
        <p:nvSpPr>
          <p:cNvPr id="171" name="Rectangle 170"/>
          <p:cNvSpPr/>
          <p:nvPr>
            <p:custDataLst>
              <p:tags r:id="rId1"/>
            </p:custDataLst>
          </p:nvPr>
        </p:nvSpPr>
        <p:spPr>
          <a:xfrm>
            <a:off x="7174447" y="2050364"/>
            <a:ext cx="2022199" cy="600164"/>
          </a:xfrm>
          <a:prstGeom prst="rect">
            <a:avLst/>
          </a:prstGeom>
        </p:spPr>
        <p:txBody>
          <a:bodyPr wrap="square" anchor="ctr">
            <a:spAutoFit/>
          </a:bodyPr>
          <a:lstStyle/>
          <a:p>
            <a:pPr algn="r"/>
            <a:r>
              <a:rPr lang="en-US" sz="1100" dirty="0">
                <a:solidFill>
                  <a:schemeClr val="bg1"/>
                </a:solidFill>
              </a:rPr>
              <a:t>Lorem Ipsum is simply dummy text of the printing and typesetting industry. </a:t>
            </a:r>
          </a:p>
        </p:txBody>
      </p:sp>
      <p:sp>
        <p:nvSpPr>
          <p:cNvPr id="172" name="Rectangle 171"/>
          <p:cNvSpPr/>
          <p:nvPr>
            <p:custDataLst>
              <p:tags r:id="rId2"/>
            </p:custDataLst>
          </p:nvPr>
        </p:nvSpPr>
        <p:spPr>
          <a:xfrm>
            <a:off x="7174447" y="3117582"/>
            <a:ext cx="2022199" cy="600164"/>
          </a:xfrm>
          <a:prstGeom prst="rect">
            <a:avLst/>
          </a:prstGeom>
        </p:spPr>
        <p:txBody>
          <a:bodyPr wrap="square" anchor="ctr">
            <a:spAutoFit/>
          </a:bodyPr>
          <a:lstStyle/>
          <a:p>
            <a:pPr algn="r"/>
            <a:r>
              <a:rPr lang="en-US" sz="1100" dirty="0">
                <a:solidFill>
                  <a:schemeClr val="bg1"/>
                </a:solidFill>
              </a:rPr>
              <a:t>Lorem Ipsum is simply dummy text of the printing and typesetting industry. </a:t>
            </a:r>
          </a:p>
        </p:txBody>
      </p:sp>
      <p:sp>
        <p:nvSpPr>
          <p:cNvPr id="173" name="Rectangle 172"/>
          <p:cNvSpPr/>
          <p:nvPr>
            <p:custDataLst>
              <p:tags r:id="rId3"/>
            </p:custDataLst>
          </p:nvPr>
        </p:nvSpPr>
        <p:spPr>
          <a:xfrm>
            <a:off x="7174447" y="4195078"/>
            <a:ext cx="2022199" cy="600164"/>
          </a:xfrm>
          <a:prstGeom prst="rect">
            <a:avLst/>
          </a:prstGeom>
        </p:spPr>
        <p:txBody>
          <a:bodyPr wrap="square" anchor="ctr">
            <a:spAutoFit/>
          </a:bodyPr>
          <a:lstStyle/>
          <a:p>
            <a:pPr algn="r"/>
            <a:r>
              <a:rPr lang="en-US" sz="1100" dirty="0">
                <a:solidFill>
                  <a:schemeClr val="bg1"/>
                </a:solidFill>
              </a:rPr>
              <a:t>Lorem Ipsum is simply dummy text of the printing and typesetting industry. </a:t>
            </a:r>
          </a:p>
        </p:txBody>
      </p:sp>
      <p:sp>
        <p:nvSpPr>
          <p:cNvPr id="174" name="Rectangle 173"/>
          <p:cNvSpPr/>
          <p:nvPr>
            <p:custDataLst>
              <p:tags r:id="rId4"/>
            </p:custDataLst>
          </p:nvPr>
        </p:nvSpPr>
        <p:spPr>
          <a:xfrm>
            <a:off x="7174447" y="5235860"/>
            <a:ext cx="2022199" cy="600164"/>
          </a:xfrm>
          <a:prstGeom prst="rect">
            <a:avLst/>
          </a:prstGeom>
        </p:spPr>
        <p:txBody>
          <a:bodyPr wrap="square" anchor="ctr">
            <a:spAutoFit/>
          </a:bodyPr>
          <a:lstStyle/>
          <a:p>
            <a:pPr algn="r"/>
            <a:r>
              <a:rPr lang="en-US" sz="1100" dirty="0">
                <a:solidFill>
                  <a:schemeClr val="bg1"/>
                </a:solidFill>
              </a:rPr>
              <a:t>Lorem Ipsum is simply dummy text of the printing and typesetting industry. </a:t>
            </a:r>
          </a:p>
        </p:txBody>
      </p:sp>
    </p:spTree>
    <p:extLst>
      <p:ext uri="{BB962C8B-B14F-4D97-AF65-F5344CB8AC3E}">
        <p14:creationId xmlns:p14="http://schemas.microsoft.com/office/powerpoint/2010/main" val="235197267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Date Placeholder 2"/>
          <p:cNvSpPr>
            <a:spLocks noGrp="1"/>
          </p:cNvSpPr>
          <p:nvPr>
            <p:ph type="dt" sz="half" idx="4294967295"/>
          </p:nvPr>
        </p:nvSpPr>
        <p:spPr>
          <a:xfrm>
            <a:off x="0" y="6356350"/>
            <a:ext cx="2743200" cy="365125"/>
          </a:xfrm>
        </p:spPr>
        <p:txBody>
          <a:bodyPr/>
          <a:lstStyle/>
          <a:p>
            <a:fld id="{C9852138-FCC6-44DD-9FFC-1C789392E7AA}" type="datetime1">
              <a:rPr lang="en-US" smtClean="0"/>
              <a:t>10/28/2022</a:t>
            </a:fld>
            <a:endParaRPr lang="en-US"/>
          </a:p>
        </p:txBody>
      </p:sp>
      <p:sp>
        <p:nvSpPr>
          <p:cNvPr id="4" name="Slide Number Placeholder 3"/>
          <p:cNvSpPr>
            <a:spLocks noGrp="1"/>
          </p:cNvSpPr>
          <p:nvPr>
            <p:ph type="sldNum" sz="quarter" idx="4294967295"/>
          </p:nvPr>
        </p:nvSpPr>
        <p:spPr>
          <a:xfrm>
            <a:off x="9448800" y="6356350"/>
            <a:ext cx="2743200" cy="365125"/>
          </a:xfrm>
        </p:spPr>
        <p:txBody>
          <a:bodyPr/>
          <a:lstStyle/>
          <a:p>
            <a:fld id="{03206E70-9524-410D-AE9B-78D656EAA14D}" type="slidenum">
              <a:rPr lang="en-US" smtClean="0"/>
              <a:pPr/>
              <a:t>24</a:t>
            </a:fld>
            <a:endParaRPr lang="en-US"/>
          </a:p>
        </p:txBody>
      </p:sp>
      <p:sp>
        <p:nvSpPr>
          <p:cNvPr id="5" name="Rectangle 4"/>
          <p:cNvSpPr/>
          <p:nvPr/>
        </p:nvSpPr>
        <p:spPr>
          <a:xfrm>
            <a:off x="1" y="0"/>
            <a:ext cx="12192000" cy="6858000"/>
          </a:xfrm>
          <a:prstGeom prst="rect">
            <a:avLst/>
          </a:prstGeom>
          <a:blipFill>
            <a:blip r:embed="rId2"/>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Calibri"/>
            </a:endParaRPr>
          </a:p>
        </p:txBody>
      </p:sp>
      <p:sp>
        <p:nvSpPr>
          <p:cNvPr id="6" name="Rectangle 5"/>
          <p:cNvSpPr/>
          <p:nvPr/>
        </p:nvSpPr>
        <p:spPr>
          <a:xfrm>
            <a:off x="1" y="0"/>
            <a:ext cx="12192000" cy="6858000"/>
          </a:xfrm>
          <a:prstGeom prst="rect">
            <a:avLst/>
          </a:prstGeom>
          <a:solidFill>
            <a:schemeClr val="tx1">
              <a:alpha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Calibri"/>
            </a:endParaRPr>
          </a:p>
        </p:txBody>
      </p:sp>
      <p:sp>
        <p:nvSpPr>
          <p:cNvPr id="7" name="Freeform 6"/>
          <p:cNvSpPr>
            <a:spLocks/>
          </p:cNvSpPr>
          <p:nvPr/>
        </p:nvSpPr>
        <p:spPr bwMode="auto">
          <a:xfrm>
            <a:off x="0" y="-639708"/>
            <a:ext cx="12192001" cy="8099370"/>
          </a:xfrm>
          <a:custGeom>
            <a:avLst/>
            <a:gdLst>
              <a:gd name="T0" fmla="*/ 471 w 542"/>
              <a:gd name="T1" fmla="*/ 110 h 359"/>
              <a:gd name="T2" fmla="*/ 494 w 542"/>
              <a:gd name="T3" fmla="*/ 124 h 359"/>
              <a:gd name="T4" fmla="*/ 473 w 542"/>
              <a:gd name="T5" fmla="*/ 118 h 359"/>
              <a:gd name="T6" fmla="*/ 352 w 542"/>
              <a:gd name="T7" fmla="*/ 60 h 359"/>
              <a:gd name="T8" fmla="*/ 361 w 542"/>
              <a:gd name="T9" fmla="*/ 68 h 359"/>
              <a:gd name="T10" fmla="*/ 315 w 542"/>
              <a:gd name="T11" fmla="*/ 52 h 359"/>
              <a:gd name="T12" fmla="*/ 341 w 542"/>
              <a:gd name="T13" fmla="*/ 68 h 359"/>
              <a:gd name="T14" fmla="*/ 369 w 542"/>
              <a:gd name="T15" fmla="*/ 86 h 359"/>
              <a:gd name="T16" fmla="*/ 325 w 542"/>
              <a:gd name="T17" fmla="*/ 66 h 359"/>
              <a:gd name="T18" fmla="*/ 304 w 542"/>
              <a:gd name="T19" fmla="*/ 63 h 359"/>
              <a:gd name="T20" fmla="*/ 254 w 542"/>
              <a:gd name="T21" fmla="*/ 49 h 359"/>
              <a:gd name="T22" fmla="*/ 302 w 542"/>
              <a:gd name="T23" fmla="*/ 75 h 359"/>
              <a:gd name="T24" fmla="*/ 245 w 542"/>
              <a:gd name="T25" fmla="*/ 49 h 359"/>
              <a:gd name="T26" fmla="*/ 240 w 542"/>
              <a:gd name="T27" fmla="*/ 54 h 359"/>
              <a:gd name="T28" fmla="*/ 217 w 542"/>
              <a:gd name="T29" fmla="*/ 54 h 359"/>
              <a:gd name="T30" fmla="*/ 215 w 542"/>
              <a:gd name="T31" fmla="*/ 65 h 359"/>
              <a:gd name="T32" fmla="*/ 211 w 542"/>
              <a:gd name="T33" fmla="*/ 69 h 359"/>
              <a:gd name="T34" fmla="*/ 270 w 542"/>
              <a:gd name="T35" fmla="*/ 101 h 359"/>
              <a:gd name="T36" fmla="*/ 242 w 542"/>
              <a:gd name="T37" fmla="*/ 92 h 359"/>
              <a:gd name="T38" fmla="*/ 149 w 542"/>
              <a:gd name="T39" fmla="*/ 52 h 359"/>
              <a:gd name="T40" fmla="*/ 101 w 542"/>
              <a:gd name="T41" fmla="*/ 27 h 359"/>
              <a:gd name="T42" fmla="*/ 123 w 542"/>
              <a:gd name="T43" fmla="*/ 42 h 359"/>
              <a:gd name="T44" fmla="*/ 159 w 542"/>
              <a:gd name="T45" fmla="*/ 62 h 359"/>
              <a:gd name="T46" fmla="*/ 118 w 542"/>
              <a:gd name="T47" fmla="*/ 46 h 359"/>
              <a:gd name="T48" fmla="*/ 108 w 542"/>
              <a:gd name="T49" fmla="*/ 52 h 359"/>
              <a:gd name="T50" fmla="*/ 14 w 542"/>
              <a:gd name="T51" fmla="*/ 2 h 359"/>
              <a:gd name="T52" fmla="*/ 36 w 542"/>
              <a:gd name="T53" fmla="*/ 19 h 359"/>
              <a:gd name="T54" fmla="*/ 35 w 542"/>
              <a:gd name="T55" fmla="*/ 27 h 359"/>
              <a:gd name="T56" fmla="*/ 21 w 542"/>
              <a:gd name="T57" fmla="*/ 35 h 359"/>
              <a:gd name="T58" fmla="*/ 0 w 542"/>
              <a:gd name="T59" fmla="*/ 108 h 359"/>
              <a:gd name="T60" fmla="*/ 3 w 542"/>
              <a:gd name="T61" fmla="*/ 221 h 359"/>
              <a:gd name="T62" fmla="*/ 75 w 542"/>
              <a:gd name="T63" fmla="*/ 257 h 359"/>
              <a:gd name="T64" fmla="*/ 99 w 542"/>
              <a:gd name="T65" fmla="*/ 264 h 359"/>
              <a:gd name="T66" fmla="*/ 28 w 542"/>
              <a:gd name="T67" fmla="*/ 229 h 359"/>
              <a:gd name="T68" fmla="*/ 169 w 542"/>
              <a:gd name="T69" fmla="*/ 290 h 359"/>
              <a:gd name="T70" fmla="*/ 204 w 542"/>
              <a:gd name="T71" fmla="*/ 306 h 359"/>
              <a:gd name="T72" fmla="*/ 218 w 542"/>
              <a:gd name="T73" fmla="*/ 308 h 359"/>
              <a:gd name="T74" fmla="*/ 208 w 542"/>
              <a:gd name="T75" fmla="*/ 294 h 359"/>
              <a:gd name="T76" fmla="*/ 150 w 542"/>
              <a:gd name="T77" fmla="*/ 267 h 359"/>
              <a:gd name="T78" fmla="*/ 226 w 542"/>
              <a:gd name="T79" fmla="*/ 299 h 359"/>
              <a:gd name="T80" fmla="*/ 250 w 542"/>
              <a:gd name="T81" fmla="*/ 305 h 359"/>
              <a:gd name="T82" fmla="*/ 275 w 542"/>
              <a:gd name="T83" fmla="*/ 305 h 359"/>
              <a:gd name="T84" fmla="*/ 242 w 542"/>
              <a:gd name="T85" fmla="*/ 287 h 359"/>
              <a:gd name="T86" fmla="*/ 263 w 542"/>
              <a:gd name="T87" fmla="*/ 294 h 359"/>
              <a:gd name="T88" fmla="*/ 307 w 542"/>
              <a:gd name="T89" fmla="*/ 304 h 359"/>
              <a:gd name="T90" fmla="*/ 317 w 542"/>
              <a:gd name="T91" fmla="*/ 302 h 359"/>
              <a:gd name="T92" fmla="*/ 328 w 542"/>
              <a:gd name="T93" fmla="*/ 298 h 359"/>
              <a:gd name="T94" fmla="*/ 344 w 542"/>
              <a:gd name="T95" fmla="*/ 299 h 359"/>
              <a:gd name="T96" fmla="*/ 277 w 542"/>
              <a:gd name="T97" fmla="*/ 263 h 359"/>
              <a:gd name="T98" fmla="*/ 293 w 542"/>
              <a:gd name="T99" fmla="*/ 267 h 359"/>
              <a:gd name="T100" fmla="*/ 380 w 542"/>
              <a:gd name="T101" fmla="*/ 302 h 359"/>
              <a:gd name="T102" fmla="*/ 448 w 542"/>
              <a:gd name="T103" fmla="*/ 334 h 359"/>
              <a:gd name="T104" fmla="*/ 414 w 542"/>
              <a:gd name="T105" fmla="*/ 314 h 359"/>
              <a:gd name="T106" fmla="*/ 385 w 542"/>
              <a:gd name="T107" fmla="*/ 303 h 359"/>
              <a:gd name="T108" fmla="*/ 396 w 542"/>
              <a:gd name="T109" fmla="*/ 300 h 359"/>
              <a:gd name="T110" fmla="*/ 460 w 542"/>
              <a:gd name="T111" fmla="*/ 320 h 359"/>
              <a:gd name="T112" fmla="*/ 519 w 542"/>
              <a:gd name="T113" fmla="*/ 351 h 359"/>
              <a:gd name="T114" fmla="*/ 509 w 542"/>
              <a:gd name="T115" fmla="*/ 341 h 359"/>
              <a:gd name="T116" fmla="*/ 503 w 542"/>
              <a:gd name="T117" fmla="*/ 328 h 359"/>
              <a:gd name="T118" fmla="*/ 504 w 542"/>
              <a:gd name="T119" fmla="*/ 317 h 359"/>
              <a:gd name="T120" fmla="*/ 541 w 542"/>
              <a:gd name="T121" fmla="*/ 254 h 359"/>
              <a:gd name="T122" fmla="*/ 542 w 542"/>
              <a:gd name="T123" fmla="*/ 147 h 3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42" h="359">
                <a:moveTo>
                  <a:pt x="542" y="144"/>
                </a:moveTo>
                <a:cubicBezTo>
                  <a:pt x="542" y="139"/>
                  <a:pt x="542" y="139"/>
                  <a:pt x="542" y="139"/>
                </a:cubicBezTo>
                <a:cubicBezTo>
                  <a:pt x="537" y="139"/>
                  <a:pt x="537" y="139"/>
                  <a:pt x="537" y="139"/>
                </a:cubicBezTo>
                <a:cubicBezTo>
                  <a:pt x="529" y="135"/>
                  <a:pt x="522" y="131"/>
                  <a:pt x="514" y="127"/>
                </a:cubicBezTo>
                <a:cubicBezTo>
                  <a:pt x="500" y="120"/>
                  <a:pt x="485" y="114"/>
                  <a:pt x="472" y="106"/>
                </a:cubicBezTo>
                <a:cubicBezTo>
                  <a:pt x="472" y="106"/>
                  <a:pt x="472" y="106"/>
                  <a:pt x="472" y="106"/>
                </a:cubicBezTo>
                <a:cubicBezTo>
                  <a:pt x="470" y="105"/>
                  <a:pt x="469" y="104"/>
                  <a:pt x="466" y="104"/>
                </a:cubicBezTo>
                <a:cubicBezTo>
                  <a:pt x="464" y="103"/>
                  <a:pt x="463" y="102"/>
                  <a:pt x="461" y="101"/>
                </a:cubicBezTo>
                <a:cubicBezTo>
                  <a:pt x="462" y="102"/>
                  <a:pt x="465" y="104"/>
                  <a:pt x="465" y="104"/>
                </a:cubicBezTo>
                <a:cubicBezTo>
                  <a:pt x="466" y="105"/>
                  <a:pt x="467" y="105"/>
                  <a:pt x="467" y="105"/>
                </a:cubicBezTo>
                <a:cubicBezTo>
                  <a:pt x="468" y="106"/>
                  <a:pt x="470" y="107"/>
                  <a:pt x="470" y="107"/>
                </a:cubicBezTo>
                <a:cubicBezTo>
                  <a:pt x="468" y="107"/>
                  <a:pt x="472" y="108"/>
                  <a:pt x="471" y="109"/>
                </a:cubicBezTo>
                <a:cubicBezTo>
                  <a:pt x="470" y="109"/>
                  <a:pt x="469" y="108"/>
                  <a:pt x="469" y="108"/>
                </a:cubicBezTo>
                <a:cubicBezTo>
                  <a:pt x="469" y="109"/>
                  <a:pt x="471" y="109"/>
                  <a:pt x="472" y="110"/>
                </a:cubicBezTo>
                <a:cubicBezTo>
                  <a:pt x="473" y="110"/>
                  <a:pt x="475" y="111"/>
                  <a:pt x="475" y="112"/>
                </a:cubicBezTo>
                <a:cubicBezTo>
                  <a:pt x="474" y="111"/>
                  <a:pt x="472" y="110"/>
                  <a:pt x="471" y="110"/>
                </a:cubicBezTo>
                <a:cubicBezTo>
                  <a:pt x="471" y="110"/>
                  <a:pt x="470" y="110"/>
                  <a:pt x="470" y="110"/>
                </a:cubicBezTo>
                <a:cubicBezTo>
                  <a:pt x="472" y="111"/>
                  <a:pt x="473" y="111"/>
                  <a:pt x="475" y="112"/>
                </a:cubicBezTo>
                <a:cubicBezTo>
                  <a:pt x="476" y="113"/>
                  <a:pt x="477" y="113"/>
                  <a:pt x="479" y="114"/>
                </a:cubicBezTo>
                <a:cubicBezTo>
                  <a:pt x="479" y="114"/>
                  <a:pt x="479" y="115"/>
                  <a:pt x="478" y="115"/>
                </a:cubicBezTo>
                <a:cubicBezTo>
                  <a:pt x="476" y="114"/>
                  <a:pt x="474" y="112"/>
                  <a:pt x="472" y="111"/>
                </a:cubicBezTo>
                <a:cubicBezTo>
                  <a:pt x="468" y="109"/>
                  <a:pt x="463" y="107"/>
                  <a:pt x="458" y="105"/>
                </a:cubicBezTo>
                <a:cubicBezTo>
                  <a:pt x="458" y="105"/>
                  <a:pt x="457" y="105"/>
                  <a:pt x="457" y="104"/>
                </a:cubicBezTo>
                <a:cubicBezTo>
                  <a:pt x="456" y="104"/>
                  <a:pt x="454" y="103"/>
                  <a:pt x="453" y="102"/>
                </a:cubicBezTo>
                <a:cubicBezTo>
                  <a:pt x="452" y="102"/>
                  <a:pt x="451" y="101"/>
                  <a:pt x="449" y="101"/>
                </a:cubicBezTo>
                <a:cubicBezTo>
                  <a:pt x="447" y="100"/>
                  <a:pt x="446" y="99"/>
                  <a:pt x="443" y="98"/>
                </a:cubicBezTo>
                <a:cubicBezTo>
                  <a:pt x="443" y="99"/>
                  <a:pt x="445" y="100"/>
                  <a:pt x="448" y="101"/>
                </a:cubicBezTo>
                <a:cubicBezTo>
                  <a:pt x="452" y="104"/>
                  <a:pt x="456" y="106"/>
                  <a:pt x="460" y="106"/>
                </a:cubicBezTo>
                <a:cubicBezTo>
                  <a:pt x="465" y="109"/>
                  <a:pt x="469" y="111"/>
                  <a:pt x="474" y="113"/>
                </a:cubicBezTo>
                <a:cubicBezTo>
                  <a:pt x="477" y="115"/>
                  <a:pt x="481" y="116"/>
                  <a:pt x="484" y="118"/>
                </a:cubicBezTo>
                <a:cubicBezTo>
                  <a:pt x="486" y="119"/>
                  <a:pt x="488" y="120"/>
                  <a:pt x="490" y="121"/>
                </a:cubicBezTo>
                <a:cubicBezTo>
                  <a:pt x="491" y="122"/>
                  <a:pt x="493" y="123"/>
                  <a:pt x="494" y="124"/>
                </a:cubicBezTo>
                <a:cubicBezTo>
                  <a:pt x="492" y="123"/>
                  <a:pt x="491" y="122"/>
                  <a:pt x="489" y="121"/>
                </a:cubicBezTo>
                <a:cubicBezTo>
                  <a:pt x="489" y="121"/>
                  <a:pt x="488" y="121"/>
                  <a:pt x="487" y="121"/>
                </a:cubicBezTo>
                <a:cubicBezTo>
                  <a:pt x="487" y="121"/>
                  <a:pt x="487" y="121"/>
                  <a:pt x="487" y="121"/>
                </a:cubicBezTo>
                <a:cubicBezTo>
                  <a:pt x="487" y="121"/>
                  <a:pt x="489" y="122"/>
                  <a:pt x="491" y="123"/>
                </a:cubicBezTo>
                <a:cubicBezTo>
                  <a:pt x="491" y="123"/>
                  <a:pt x="492" y="124"/>
                  <a:pt x="492" y="124"/>
                </a:cubicBezTo>
                <a:cubicBezTo>
                  <a:pt x="494" y="125"/>
                  <a:pt x="495" y="125"/>
                  <a:pt x="496" y="126"/>
                </a:cubicBezTo>
                <a:cubicBezTo>
                  <a:pt x="498" y="126"/>
                  <a:pt x="499" y="127"/>
                  <a:pt x="501" y="127"/>
                </a:cubicBezTo>
                <a:cubicBezTo>
                  <a:pt x="501" y="127"/>
                  <a:pt x="501" y="128"/>
                  <a:pt x="501" y="128"/>
                </a:cubicBezTo>
                <a:cubicBezTo>
                  <a:pt x="503" y="130"/>
                  <a:pt x="504" y="131"/>
                  <a:pt x="507" y="131"/>
                </a:cubicBezTo>
                <a:cubicBezTo>
                  <a:pt x="510" y="132"/>
                  <a:pt x="511" y="133"/>
                  <a:pt x="514" y="134"/>
                </a:cubicBezTo>
                <a:cubicBezTo>
                  <a:pt x="514" y="135"/>
                  <a:pt x="513" y="135"/>
                  <a:pt x="510" y="135"/>
                </a:cubicBezTo>
                <a:cubicBezTo>
                  <a:pt x="512" y="136"/>
                  <a:pt x="514" y="136"/>
                  <a:pt x="515" y="137"/>
                </a:cubicBezTo>
                <a:cubicBezTo>
                  <a:pt x="515" y="137"/>
                  <a:pt x="515" y="137"/>
                  <a:pt x="515" y="137"/>
                </a:cubicBezTo>
                <a:cubicBezTo>
                  <a:pt x="505" y="133"/>
                  <a:pt x="494" y="128"/>
                  <a:pt x="485" y="123"/>
                </a:cubicBezTo>
                <a:cubicBezTo>
                  <a:pt x="484" y="123"/>
                  <a:pt x="483" y="123"/>
                  <a:pt x="482" y="122"/>
                </a:cubicBezTo>
                <a:cubicBezTo>
                  <a:pt x="479" y="121"/>
                  <a:pt x="476" y="119"/>
                  <a:pt x="473" y="118"/>
                </a:cubicBezTo>
                <a:cubicBezTo>
                  <a:pt x="472" y="117"/>
                  <a:pt x="471" y="117"/>
                  <a:pt x="471" y="117"/>
                </a:cubicBezTo>
                <a:cubicBezTo>
                  <a:pt x="470" y="117"/>
                  <a:pt x="469" y="117"/>
                  <a:pt x="468" y="117"/>
                </a:cubicBezTo>
                <a:cubicBezTo>
                  <a:pt x="455" y="110"/>
                  <a:pt x="444" y="104"/>
                  <a:pt x="430" y="97"/>
                </a:cubicBezTo>
                <a:cubicBezTo>
                  <a:pt x="430" y="96"/>
                  <a:pt x="428" y="95"/>
                  <a:pt x="426" y="94"/>
                </a:cubicBezTo>
                <a:cubicBezTo>
                  <a:pt x="425" y="94"/>
                  <a:pt x="425" y="93"/>
                  <a:pt x="421" y="92"/>
                </a:cubicBezTo>
                <a:cubicBezTo>
                  <a:pt x="421" y="92"/>
                  <a:pt x="418" y="92"/>
                  <a:pt x="417" y="91"/>
                </a:cubicBezTo>
                <a:cubicBezTo>
                  <a:pt x="412" y="89"/>
                  <a:pt x="409" y="87"/>
                  <a:pt x="403" y="84"/>
                </a:cubicBezTo>
                <a:cubicBezTo>
                  <a:pt x="405" y="86"/>
                  <a:pt x="409" y="87"/>
                  <a:pt x="409" y="89"/>
                </a:cubicBezTo>
                <a:cubicBezTo>
                  <a:pt x="399" y="84"/>
                  <a:pt x="390" y="80"/>
                  <a:pt x="382" y="76"/>
                </a:cubicBezTo>
                <a:cubicBezTo>
                  <a:pt x="380" y="74"/>
                  <a:pt x="378" y="73"/>
                  <a:pt x="374" y="72"/>
                </a:cubicBezTo>
                <a:cubicBezTo>
                  <a:pt x="374" y="72"/>
                  <a:pt x="373" y="71"/>
                  <a:pt x="373" y="71"/>
                </a:cubicBezTo>
                <a:cubicBezTo>
                  <a:pt x="371" y="69"/>
                  <a:pt x="366" y="68"/>
                  <a:pt x="364" y="66"/>
                </a:cubicBezTo>
                <a:cubicBezTo>
                  <a:pt x="363" y="66"/>
                  <a:pt x="363" y="66"/>
                  <a:pt x="363" y="66"/>
                </a:cubicBezTo>
                <a:cubicBezTo>
                  <a:pt x="363" y="66"/>
                  <a:pt x="363" y="66"/>
                  <a:pt x="363" y="66"/>
                </a:cubicBezTo>
                <a:cubicBezTo>
                  <a:pt x="363" y="66"/>
                  <a:pt x="363" y="66"/>
                  <a:pt x="364" y="66"/>
                </a:cubicBezTo>
                <a:cubicBezTo>
                  <a:pt x="361" y="64"/>
                  <a:pt x="356" y="62"/>
                  <a:pt x="352" y="60"/>
                </a:cubicBezTo>
                <a:cubicBezTo>
                  <a:pt x="347" y="57"/>
                  <a:pt x="342" y="54"/>
                  <a:pt x="340" y="52"/>
                </a:cubicBezTo>
                <a:cubicBezTo>
                  <a:pt x="339" y="52"/>
                  <a:pt x="338" y="51"/>
                  <a:pt x="338" y="51"/>
                </a:cubicBezTo>
                <a:cubicBezTo>
                  <a:pt x="334" y="49"/>
                  <a:pt x="328" y="46"/>
                  <a:pt x="324" y="44"/>
                </a:cubicBezTo>
                <a:cubicBezTo>
                  <a:pt x="323" y="43"/>
                  <a:pt x="321" y="42"/>
                  <a:pt x="318" y="42"/>
                </a:cubicBezTo>
                <a:cubicBezTo>
                  <a:pt x="317" y="41"/>
                  <a:pt x="316" y="41"/>
                  <a:pt x="314" y="40"/>
                </a:cubicBezTo>
                <a:cubicBezTo>
                  <a:pt x="314" y="40"/>
                  <a:pt x="313" y="40"/>
                  <a:pt x="313" y="40"/>
                </a:cubicBezTo>
                <a:cubicBezTo>
                  <a:pt x="313" y="40"/>
                  <a:pt x="313" y="40"/>
                  <a:pt x="313" y="40"/>
                </a:cubicBezTo>
                <a:cubicBezTo>
                  <a:pt x="316" y="42"/>
                  <a:pt x="321" y="45"/>
                  <a:pt x="326" y="47"/>
                </a:cubicBezTo>
                <a:cubicBezTo>
                  <a:pt x="328" y="48"/>
                  <a:pt x="331" y="49"/>
                  <a:pt x="331" y="50"/>
                </a:cubicBezTo>
                <a:cubicBezTo>
                  <a:pt x="338" y="52"/>
                  <a:pt x="333" y="53"/>
                  <a:pt x="338" y="54"/>
                </a:cubicBezTo>
                <a:cubicBezTo>
                  <a:pt x="338" y="54"/>
                  <a:pt x="338" y="54"/>
                  <a:pt x="338" y="54"/>
                </a:cubicBezTo>
                <a:cubicBezTo>
                  <a:pt x="339" y="55"/>
                  <a:pt x="339" y="56"/>
                  <a:pt x="342" y="57"/>
                </a:cubicBezTo>
                <a:cubicBezTo>
                  <a:pt x="345" y="59"/>
                  <a:pt x="349" y="60"/>
                  <a:pt x="351" y="62"/>
                </a:cubicBezTo>
                <a:cubicBezTo>
                  <a:pt x="353" y="63"/>
                  <a:pt x="354" y="63"/>
                  <a:pt x="356" y="63"/>
                </a:cubicBezTo>
                <a:cubicBezTo>
                  <a:pt x="356" y="64"/>
                  <a:pt x="354" y="64"/>
                  <a:pt x="357" y="65"/>
                </a:cubicBezTo>
                <a:cubicBezTo>
                  <a:pt x="357" y="66"/>
                  <a:pt x="361" y="67"/>
                  <a:pt x="361" y="68"/>
                </a:cubicBezTo>
                <a:cubicBezTo>
                  <a:pt x="361" y="68"/>
                  <a:pt x="360" y="68"/>
                  <a:pt x="360" y="68"/>
                </a:cubicBezTo>
                <a:cubicBezTo>
                  <a:pt x="358" y="67"/>
                  <a:pt x="359" y="68"/>
                  <a:pt x="359" y="69"/>
                </a:cubicBezTo>
                <a:cubicBezTo>
                  <a:pt x="355" y="68"/>
                  <a:pt x="352" y="66"/>
                  <a:pt x="352" y="66"/>
                </a:cubicBezTo>
                <a:cubicBezTo>
                  <a:pt x="352" y="64"/>
                  <a:pt x="350" y="63"/>
                  <a:pt x="346" y="62"/>
                </a:cubicBezTo>
                <a:cubicBezTo>
                  <a:pt x="344" y="62"/>
                  <a:pt x="342" y="61"/>
                  <a:pt x="341" y="60"/>
                </a:cubicBezTo>
                <a:cubicBezTo>
                  <a:pt x="340" y="59"/>
                  <a:pt x="338" y="58"/>
                  <a:pt x="336" y="58"/>
                </a:cubicBezTo>
                <a:cubicBezTo>
                  <a:pt x="336" y="58"/>
                  <a:pt x="336" y="58"/>
                  <a:pt x="335" y="58"/>
                </a:cubicBezTo>
                <a:cubicBezTo>
                  <a:pt x="332" y="56"/>
                  <a:pt x="328" y="54"/>
                  <a:pt x="324" y="53"/>
                </a:cubicBezTo>
                <a:cubicBezTo>
                  <a:pt x="324" y="53"/>
                  <a:pt x="324" y="53"/>
                  <a:pt x="324" y="53"/>
                </a:cubicBezTo>
                <a:cubicBezTo>
                  <a:pt x="324" y="53"/>
                  <a:pt x="324" y="53"/>
                  <a:pt x="324" y="53"/>
                </a:cubicBezTo>
                <a:cubicBezTo>
                  <a:pt x="324" y="53"/>
                  <a:pt x="324" y="53"/>
                  <a:pt x="324" y="53"/>
                </a:cubicBezTo>
                <a:cubicBezTo>
                  <a:pt x="322" y="51"/>
                  <a:pt x="319" y="50"/>
                  <a:pt x="317" y="49"/>
                </a:cubicBezTo>
                <a:cubicBezTo>
                  <a:pt x="313" y="48"/>
                  <a:pt x="310" y="46"/>
                  <a:pt x="306" y="44"/>
                </a:cubicBezTo>
                <a:cubicBezTo>
                  <a:pt x="307" y="46"/>
                  <a:pt x="317" y="49"/>
                  <a:pt x="315" y="51"/>
                </a:cubicBezTo>
                <a:cubicBezTo>
                  <a:pt x="314" y="50"/>
                  <a:pt x="314" y="51"/>
                  <a:pt x="314" y="52"/>
                </a:cubicBezTo>
                <a:cubicBezTo>
                  <a:pt x="314" y="52"/>
                  <a:pt x="314" y="52"/>
                  <a:pt x="315" y="52"/>
                </a:cubicBezTo>
                <a:cubicBezTo>
                  <a:pt x="317" y="53"/>
                  <a:pt x="319" y="53"/>
                  <a:pt x="322" y="54"/>
                </a:cubicBezTo>
                <a:cubicBezTo>
                  <a:pt x="322" y="55"/>
                  <a:pt x="323" y="55"/>
                  <a:pt x="324" y="55"/>
                </a:cubicBezTo>
                <a:cubicBezTo>
                  <a:pt x="325" y="56"/>
                  <a:pt x="326" y="56"/>
                  <a:pt x="326" y="57"/>
                </a:cubicBezTo>
                <a:cubicBezTo>
                  <a:pt x="332" y="59"/>
                  <a:pt x="336" y="62"/>
                  <a:pt x="340" y="65"/>
                </a:cubicBezTo>
                <a:cubicBezTo>
                  <a:pt x="338" y="65"/>
                  <a:pt x="336" y="63"/>
                  <a:pt x="334" y="63"/>
                </a:cubicBezTo>
                <a:cubicBezTo>
                  <a:pt x="334" y="64"/>
                  <a:pt x="338" y="65"/>
                  <a:pt x="339" y="66"/>
                </a:cubicBezTo>
                <a:cubicBezTo>
                  <a:pt x="339" y="66"/>
                  <a:pt x="339" y="66"/>
                  <a:pt x="338" y="66"/>
                </a:cubicBezTo>
                <a:cubicBezTo>
                  <a:pt x="338" y="66"/>
                  <a:pt x="338" y="66"/>
                  <a:pt x="338" y="66"/>
                </a:cubicBezTo>
                <a:cubicBezTo>
                  <a:pt x="338" y="66"/>
                  <a:pt x="338" y="67"/>
                  <a:pt x="337" y="66"/>
                </a:cubicBezTo>
                <a:cubicBezTo>
                  <a:pt x="334" y="65"/>
                  <a:pt x="333" y="65"/>
                  <a:pt x="332" y="65"/>
                </a:cubicBezTo>
                <a:cubicBezTo>
                  <a:pt x="331" y="65"/>
                  <a:pt x="333" y="66"/>
                  <a:pt x="334" y="67"/>
                </a:cubicBezTo>
                <a:cubicBezTo>
                  <a:pt x="337" y="68"/>
                  <a:pt x="340" y="69"/>
                  <a:pt x="341" y="70"/>
                </a:cubicBezTo>
                <a:cubicBezTo>
                  <a:pt x="343" y="72"/>
                  <a:pt x="345" y="72"/>
                  <a:pt x="347" y="72"/>
                </a:cubicBezTo>
                <a:cubicBezTo>
                  <a:pt x="349" y="73"/>
                  <a:pt x="351" y="74"/>
                  <a:pt x="355" y="76"/>
                </a:cubicBezTo>
                <a:cubicBezTo>
                  <a:pt x="353" y="74"/>
                  <a:pt x="351" y="73"/>
                  <a:pt x="347" y="72"/>
                </a:cubicBezTo>
                <a:cubicBezTo>
                  <a:pt x="345" y="71"/>
                  <a:pt x="343" y="70"/>
                  <a:pt x="341" y="68"/>
                </a:cubicBezTo>
                <a:cubicBezTo>
                  <a:pt x="339" y="68"/>
                  <a:pt x="339" y="67"/>
                  <a:pt x="341" y="67"/>
                </a:cubicBezTo>
                <a:cubicBezTo>
                  <a:pt x="343" y="68"/>
                  <a:pt x="346" y="69"/>
                  <a:pt x="347" y="68"/>
                </a:cubicBezTo>
                <a:cubicBezTo>
                  <a:pt x="347" y="69"/>
                  <a:pt x="348" y="69"/>
                  <a:pt x="349" y="69"/>
                </a:cubicBezTo>
                <a:cubicBezTo>
                  <a:pt x="349" y="70"/>
                  <a:pt x="351" y="71"/>
                  <a:pt x="353" y="72"/>
                </a:cubicBezTo>
                <a:cubicBezTo>
                  <a:pt x="359" y="75"/>
                  <a:pt x="364" y="78"/>
                  <a:pt x="370" y="81"/>
                </a:cubicBezTo>
                <a:cubicBezTo>
                  <a:pt x="373" y="83"/>
                  <a:pt x="375" y="84"/>
                  <a:pt x="380" y="86"/>
                </a:cubicBezTo>
                <a:cubicBezTo>
                  <a:pt x="382" y="88"/>
                  <a:pt x="388" y="90"/>
                  <a:pt x="390" y="92"/>
                </a:cubicBezTo>
                <a:cubicBezTo>
                  <a:pt x="391" y="93"/>
                  <a:pt x="393" y="94"/>
                  <a:pt x="394" y="95"/>
                </a:cubicBezTo>
                <a:cubicBezTo>
                  <a:pt x="395" y="96"/>
                  <a:pt x="396" y="96"/>
                  <a:pt x="396" y="97"/>
                </a:cubicBezTo>
                <a:cubicBezTo>
                  <a:pt x="397" y="97"/>
                  <a:pt x="397" y="98"/>
                  <a:pt x="398" y="98"/>
                </a:cubicBezTo>
                <a:cubicBezTo>
                  <a:pt x="396" y="97"/>
                  <a:pt x="394" y="96"/>
                  <a:pt x="392" y="95"/>
                </a:cubicBezTo>
                <a:cubicBezTo>
                  <a:pt x="390" y="95"/>
                  <a:pt x="390" y="94"/>
                  <a:pt x="388" y="94"/>
                </a:cubicBezTo>
                <a:cubicBezTo>
                  <a:pt x="387" y="93"/>
                  <a:pt x="385" y="92"/>
                  <a:pt x="384" y="92"/>
                </a:cubicBezTo>
                <a:cubicBezTo>
                  <a:pt x="384" y="92"/>
                  <a:pt x="384" y="93"/>
                  <a:pt x="383" y="93"/>
                </a:cubicBezTo>
                <a:cubicBezTo>
                  <a:pt x="380" y="91"/>
                  <a:pt x="378" y="90"/>
                  <a:pt x="374" y="88"/>
                </a:cubicBezTo>
                <a:cubicBezTo>
                  <a:pt x="372" y="87"/>
                  <a:pt x="370" y="87"/>
                  <a:pt x="369" y="86"/>
                </a:cubicBezTo>
                <a:cubicBezTo>
                  <a:pt x="369" y="86"/>
                  <a:pt x="370" y="85"/>
                  <a:pt x="369" y="85"/>
                </a:cubicBezTo>
                <a:cubicBezTo>
                  <a:pt x="367" y="84"/>
                  <a:pt x="367" y="85"/>
                  <a:pt x="367" y="85"/>
                </a:cubicBezTo>
                <a:cubicBezTo>
                  <a:pt x="365" y="84"/>
                  <a:pt x="364" y="83"/>
                  <a:pt x="362" y="83"/>
                </a:cubicBezTo>
                <a:cubicBezTo>
                  <a:pt x="362" y="83"/>
                  <a:pt x="362" y="83"/>
                  <a:pt x="362" y="83"/>
                </a:cubicBezTo>
                <a:cubicBezTo>
                  <a:pt x="356" y="78"/>
                  <a:pt x="346" y="74"/>
                  <a:pt x="338" y="70"/>
                </a:cubicBezTo>
                <a:cubicBezTo>
                  <a:pt x="334" y="67"/>
                  <a:pt x="330" y="65"/>
                  <a:pt x="326" y="63"/>
                </a:cubicBezTo>
                <a:cubicBezTo>
                  <a:pt x="324" y="61"/>
                  <a:pt x="321" y="60"/>
                  <a:pt x="318" y="59"/>
                </a:cubicBezTo>
                <a:cubicBezTo>
                  <a:pt x="317" y="58"/>
                  <a:pt x="317" y="57"/>
                  <a:pt x="314" y="57"/>
                </a:cubicBezTo>
                <a:cubicBezTo>
                  <a:pt x="309" y="56"/>
                  <a:pt x="312" y="57"/>
                  <a:pt x="312" y="58"/>
                </a:cubicBezTo>
                <a:cubicBezTo>
                  <a:pt x="311" y="57"/>
                  <a:pt x="310" y="57"/>
                  <a:pt x="308" y="56"/>
                </a:cubicBezTo>
                <a:cubicBezTo>
                  <a:pt x="310" y="58"/>
                  <a:pt x="313" y="60"/>
                  <a:pt x="316" y="61"/>
                </a:cubicBezTo>
                <a:cubicBezTo>
                  <a:pt x="315" y="61"/>
                  <a:pt x="314" y="62"/>
                  <a:pt x="316" y="62"/>
                </a:cubicBezTo>
                <a:cubicBezTo>
                  <a:pt x="319" y="64"/>
                  <a:pt x="321" y="65"/>
                  <a:pt x="325" y="66"/>
                </a:cubicBezTo>
                <a:cubicBezTo>
                  <a:pt x="325" y="66"/>
                  <a:pt x="325" y="66"/>
                  <a:pt x="325" y="67"/>
                </a:cubicBezTo>
                <a:cubicBezTo>
                  <a:pt x="325" y="67"/>
                  <a:pt x="325" y="67"/>
                  <a:pt x="325" y="67"/>
                </a:cubicBezTo>
                <a:cubicBezTo>
                  <a:pt x="325" y="67"/>
                  <a:pt x="325" y="66"/>
                  <a:pt x="325" y="66"/>
                </a:cubicBezTo>
                <a:cubicBezTo>
                  <a:pt x="325" y="67"/>
                  <a:pt x="322" y="67"/>
                  <a:pt x="327" y="68"/>
                </a:cubicBezTo>
                <a:cubicBezTo>
                  <a:pt x="328" y="69"/>
                  <a:pt x="330" y="70"/>
                  <a:pt x="328" y="70"/>
                </a:cubicBezTo>
                <a:cubicBezTo>
                  <a:pt x="328" y="70"/>
                  <a:pt x="328" y="70"/>
                  <a:pt x="328" y="70"/>
                </a:cubicBezTo>
                <a:cubicBezTo>
                  <a:pt x="328" y="70"/>
                  <a:pt x="328" y="70"/>
                  <a:pt x="328" y="70"/>
                </a:cubicBezTo>
                <a:cubicBezTo>
                  <a:pt x="328" y="70"/>
                  <a:pt x="328" y="70"/>
                  <a:pt x="328" y="70"/>
                </a:cubicBezTo>
                <a:cubicBezTo>
                  <a:pt x="323" y="67"/>
                  <a:pt x="319" y="65"/>
                  <a:pt x="312" y="62"/>
                </a:cubicBezTo>
                <a:cubicBezTo>
                  <a:pt x="311" y="62"/>
                  <a:pt x="310" y="61"/>
                  <a:pt x="309" y="60"/>
                </a:cubicBezTo>
                <a:cubicBezTo>
                  <a:pt x="306" y="60"/>
                  <a:pt x="310" y="62"/>
                  <a:pt x="310" y="62"/>
                </a:cubicBezTo>
                <a:cubicBezTo>
                  <a:pt x="309" y="62"/>
                  <a:pt x="308" y="62"/>
                  <a:pt x="307" y="62"/>
                </a:cubicBezTo>
                <a:cubicBezTo>
                  <a:pt x="303" y="61"/>
                  <a:pt x="301" y="59"/>
                  <a:pt x="298" y="58"/>
                </a:cubicBezTo>
                <a:cubicBezTo>
                  <a:pt x="296" y="57"/>
                  <a:pt x="294" y="55"/>
                  <a:pt x="292" y="55"/>
                </a:cubicBezTo>
                <a:cubicBezTo>
                  <a:pt x="289" y="55"/>
                  <a:pt x="295" y="57"/>
                  <a:pt x="296" y="58"/>
                </a:cubicBezTo>
                <a:cubicBezTo>
                  <a:pt x="296" y="58"/>
                  <a:pt x="296" y="58"/>
                  <a:pt x="296" y="58"/>
                </a:cubicBezTo>
                <a:cubicBezTo>
                  <a:pt x="296" y="58"/>
                  <a:pt x="296" y="58"/>
                  <a:pt x="296" y="58"/>
                </a:cubicBezTo>
                <a:cubicBezTo>
                  <a:pt x="295" y="58"/>
                  <a:pt x="295" y="58"/>
                  <a:pt x="294" y="58"/>
                </a:cubicBezTo>
                <a:cubicBezTo>
                  <a:pt x="297" y="60"/>
                  <a:pt x="302" y="61"/>
                  <a:pt x="304" y="63"/>
                </a:cubicBezTo>
                <a:cubicBezTo>
                  <a:pt x="305" y="63"/>
                  <a:pt x="305" y="64"/>
                  <a:pt x="306" y="64"/>
                </a:cubicBezTo>
                <a:cubicBezTo>
                  <a:pt x="306" y="64"/>
                  <a:pt x="305" y="64"/>
                  <a:pt x="304" y="64"/>
                </a:cubicBezTo>
                <a:cubicBezTo>
                  <a:pt x="304" y="65"/>
                  <a:pt x="304" y="65"/>
                  <a:pt x="305" y="66"/>
                </a:cubicBezTo>
                <a:cubicBezTo>
                  <a:pt x="311" y="69"/>
                  <a:pt x="311" y="69"/>
                  <a:pt x="305" y="69"/>
                </a:cubicBezTo>
                <a:cubicBezTo>
                  <a:pt x="305" y="69"/>
                  <a:pt x="305" y="69"/>
                  <a:pt x="305" y="69"/>
                </a:cubicBezTo>
                <a:cubicBezTo>
                  <a:pt x="305" y="69"/>
                  <a:pt x="305" y="69"/>
                  <a:pt x="305" y="69"/>
                </a:cubicBezTo>
                <a:cubicBezTo>
                  <a:pt x="305" y="69"/>
                  <a:pt x="305" y="69"/>
                  <a:pt x="305" y="69"/>
                </a:cubicBezTo>
                <a:cubicBezTo>
                  <a:pt x="303" y="69"/>
                  <a:pt x="303" y="67"/>
                  <a:pt x="300" y="67"/>
                </a:cubicBezTo>
                <a:cubicBezTo>
                  <a:pt x="298" y="68"/>
                  <a:pt x="301" y="69"/>
                  <a:pt x="302" y="69"/>
                </a:cubicBezTo>
                <a:cubicBezTo>
                  <a:pt x="303" y="70"/>
                  <a:pt x="303" y="71"/>
                  <a:pt x="301" y="70"/>
                </a:cubicBezTo>
                <a:cubicBezTo>
                  <a:pt x="295" y="68"/>
                  <a:pt x="289" y="67"/>
                  <a:pt x="284" y="64"/>
                </a:cubicBezTo>
                <a:cubicBezTo>
                  <a:pt x="284" y="64"/>
                  <a:pt x="283" y="63"/>
                  <a:pt x="284" y="63"/>
                </a:cubicBezTo>
                <a:cubicBezTo>
                  <a:pt x="284" y="63"/>
                  <a:pt x="286" y="64"/>
                  <a:pt x="287" y="64"/>
                </a:cubicBezTo>
                <a:cubicBezTo>
                  <a:pt x="282" y="61"/>
                  <a:pt x="272" y="58"/>
                  <a:pt x="267" y="55"/>
                </a:cubicBezTo>
                <a:cubicBezTo>
                  <a:pt x="265" y="54"/>
                  <a:pt x="262" y="52"/>
                  <a:pt x="258" y="50"/>
                </a:cubicBezTo>
                <a:cubicBezTo>
                  <a:pt x="257" y="50"/>
                  <a:pt x="256" y="49"/>
                  <a:pt x="254" y="49"/>
                </a:cubicBezTo>
                <a:cubicBezTo>
                  <a:pt x="252" y="49"/>
                  <a:pt x="253" y="50"/>
                  <a:pt x="255" y="50"/>
                </a:cubicBezTo>
                <a:cubicBezTo>
                  <a:pt x="259" y="52"/>
                  <a:pt x="255" y="52"/>
                  <a:pt x="255" y="52"/>
                </a:cubicBezTo>
                <a:cubicBezTo>
                  <a:pt x="254" y="52"/>
                  <a:pt x="253" y="52"/>
                  <a:pt x="253" y="52"/>
                </a:cubicBezTo>
                <a:cubicBezTo>
                  <a:pt x="255" y="53"/>
                  <a:pt x="255" y="54"/>
                  <a:pt x="260" y="55"/>
                </a:cubicBezTo>
                <a:cubicBezTo>
                  <a:pt x="261" y="54"/>
                  <a:pt x="259" y="53"/>
                  <a:pt x="259" y="53"/>
                </a:cubicBezTo>
                <a:cubicBezTo>
                  <a:pt x="262" y="54"/>
                  <a:pt x="262" y="55"/>
                  <a:pt x="264" y="55"/>
                </a:cubicBezTo>
                <a:cubicBezTo>
                  <a:pt x="269" y="57"/>
                  <a:pt x="269" y="59"/>
                  <a:pt x="274" y="61"/>
                </a:cubicBezTo>
                <a:cubicBezTo>
                  <a:pt x="276" y="62"/>
                  <a:pt x="278" y="63"/>
                  <a:pt x="280" y="64"/>
                </a:cubicBezTo>
                <a:cubicBezTo>
                  <a:pt x="280" y="64"/>
                  <a:pt x="279" y="65"/>
                  <a:pt x="280" y="66"/>
                </a:cubicBezTo>
                <a:cubicBezTo>
                  <a:pt x="282" y="67"/>
                  <a:pt x="284" y="68"/>
                  <a:pt x="286" y="69"/>
                </a:cubicBezTo>
                <a:cubicBezTo>
                  <a:pt x="286" y="69"/>
                  <a:pt x="287" y="69"/>
                  <a:pt x="287" y="69"/>
                </a:cubicBezTo>
                <a:cubicBezTo>
                  <a:pt x="285" y="68"/>
                  <a:pt x="283" y="67"/>
                  <a:pt x="281" y="66"/>
                </a:cubicBezTo>
                <a:cubicBezTo>
                  <a:pt x="286" y="66"/>
                  <a:pt x="287" y="68"/>
                  <a:pt x="290" y="69"/>
                </a:cubicBezTo>
                <a:cubicBezTo>
                  <a:pt x="291" y="71"/>
                  <a:pt x="297" y="73"/>
                  <a:pt x="300" y="74"/>
                </a:cubicBezTo>
                <a:cubicBezTo>
                  <a:pt x="300" y="75"/>
                  <a:pt x="301" y="75"/>
                  <a:pt x="302" y="75"/>
                </a:cubicBezTo>
                <a:cubicBezTo>
                  <a:pt x="302" y="75"/>
                  <a:pt x="302" y="75"/>
                  <a:pt x="302" y="75"/>
                </a:cubicBezTo>
                <a:cubicBezTo>
                  <a:pt x="302" y="75"/>
                  <a:pt x="302" y="75"/>
                  <a:pt x="302" y="75"/>
                </a:cubicBezTo>
                <a:cubicBezTo>
                  <a:pt x="302" y="75"/>
                  <a:pt x="302" y="75"/>
                  <a:pt x="302" y="75"/>
                </a:cubicBezTo>
                <a:cubicBezTo>
                  <a:pt x="306" y="77"/>
                  <a:pt x="308" y="79"/>
                  <a:pt x="313" y="80"/>
                </a:cubicBezTo>
                <a:cubicBezTo>
                  <a:pt x="313" y="80"/>
                  <a:pt x="313" y="80"/>
                  <a:pt x="313" y="80"/>
                </a:cubicBezTo>
                <a:cubicBezTo>
                  <a:pt x="313" y="80"/>
                  <a:pt x="313" y="80"/>
                  <a:pt x="313" y="80"/>
                </a:cubicBezTo>
                <a:cubicBezTo>
                  <a:pt x="314" y="81"/>
                  <a:pt x="316" y="82"/>
                  <a:pt x="318" y="83"/>
                </a:cubicBezTo>
                <a:cubicBezTo>
                  <a:pt x="319" y="84"/>
                  <a:pt x="322" y="85"/>
                  <a:pt x="325" y="86"/>
                </a:cubicBezTo>
                <a:cubicBezTo>
                  <a:pt x="327" y="87"/>
                  <a:pt x="328" y="88"/>
                  <a:pt x="330" y="89"/>
                </a:cubicBezTo>
                <a:cubicBezTo>
                  <a:pt x="330" y="89"/>
                  <a:pt x="330" y="90"/>
                  <a:pt x="330" y="90"/>
                </a:cubicBezTo>
                <a:cubicBezTo>
                  <a:pt x="332" y="91"/>
                  <a:pt x="335" y="92"/>
                  <a:pt x="334" y="93"/>
                </a:cubicBezTo>
                <a:cubicBezTo>
                  <a:pt x="328" y="90"/>
                  <a:pt x="324" y="88"/>
                  <a:pt x="317" y="85"/>
                </a:cubicBezTo>
                <a:cubicBezTo>
                  <a:pt x="306" y="80"/>
                  <a:pt x="296" y="74"/>
                  <a:pt x="285" y="69"/>
                </a:cubicBezTo>
                <a:cubicBezTo>
                  <a:pt x="284" y="68"/>
                  <a:pt x="282" y="68"/>
                  <a:pt x="281" y="67"/>
                </a:cubicBezTo>
                <a:cubicBezTo>
                  <a:pt x="280" y="67"/>
                  <a:pt x="280" y="67"/>
                  <a:pt x="279" y="66"/>
                </a:cubicBezTo>
                <a:cubicBezTo>
                  <a:pt x="273" y="64"/>
                  <a:pt x="268" y="61"/>
                  <a:pt x="262" y="58"/>
                </a:cubicBezTo>
                <a:cubicBezTo>
                  <a:pt x="256" y="55"/>
                  <a:pt x="249" y="52"/>
                  <a:pt x="245" y="49"/>
                </a:cubicBezTo>
                <a:cubicBezTo>
                  <a:pt x="244" y="48"/>
                  <a:pt x="241" y="47"/>
                  <a:pt x="239" y="45"/>
                </a:cubicBezTo>
                <a:cubicBezTo>
                  <a:pt x="240" y="46"/>
                  <a:pt x="241" y="46"/>
                  <a:pt x="242" y="46"/>
                </a:cubicBezTo>
                <a:cubicBezTo>
                  <a:pt x="242" y="45"/>
                  <a:pt x="240" y="45"/>
                  <a:pt x="238" y="44"/>
                </a:cubicBezTo>
                <a:cubicBezTo>
                  <a:pt x="237" y="44"/>
                  <a:pt x="238" y="45"/>
                  <a:pt x="238" y="45"/>
                </a:cubicBezTo>
                <a:cubicBezTo>
                  <a:pt x="237" y="45"/>
                  <a:pt x="236" y="44"/>
                  <a:pt x="233" y="44"/>
                </a:cubicBezTo>
                <a:cubicBezTo>
                  <a:pt x="238" y="46"/>
                  <a:pt x="239" y="47"/>
                  <a:pt x="243" y="49"/>
                </a:cubicBezTo>
                <a:cubicBezTo>
                  <a:pt x="245" y="50"/>
                  <a:pt x="246" y="51"/>
                  <a:pt x="248" y="52"/>
                </a:cubicBezTo>
                <a:cubicBezTo>
                  <a:pt x="252" y="55"/>
                  <a:pt x="258" y="58"/>
                  <a:pt x="262" y="60"/>
                </a:cubicBezTo>
                <a:cubicBezTo>
                  <a:pt x="261" y="60"/>
                  <a:pt x="262" y="61"/>
                  <a:pt x="262" y="61"/>
                </a:cubicBezTo>
                <a:cubicBezTo>
                  <a:pt x="263" y="62"/>
                  <a:pt x="263" y="63"/>
                  <a:pt x="262" y="63"/>
                </a:cubicBezTo>
                <a:cubicBezTo>
                  <a:pt x="260" y="63"/>
                  <a:pt x="258" y="62"/>
                  <a:pt x="257" y="61"/>
                </a:cubicBezTo>
                <a:cubicBezTo>
                  <a:pt x="254" y="60"/>
                  <a:pt x="250" y="59"/>
                  <a:pt x="246" y="57"/>
                </a:cubicBezTo>
                <a:cubicBezTo>
                  <a:pt x="242" y="56"/>
                  <a:pt x="240" y="56"/>
                  <a:pt x="238" y="57"/>
                </a:cubicBezTo>
                <a:cubicBezTo>
                  <a:pt x="238" y="57"/>
                  <a:pt x="236" y="57"/>
                  <a:pt x="235" y="56"/>
                </a:cubicBezTo>
                <a:cubicBezTo>
                  <a:pt x="234" y="55"/>
                  <a:pt x="234" y="55"/>
                  <a:pt x="236" y="55"/>
                </a:cubicBezTo>
                <a:cubicBezTo>
                  <a:pt x="239" y="56"/>
                  <a:pt x="238" y="54"/>
                  <a:pt x="240" y="54"/>
                </a:cubicBezTo>
                <a:cubicBezTo>
                  <a:pt x="236" y="53"/>
                  <a:pt x="232" y="52"/>
                  <a:pt x="228" y="50"/>
                </a:cubicBezTo>
                <a:cubicBezTo>
                  <a:pt x="229" y="52"/>
                  <a:pt x="230" y="52"/>
                  <a:pt x="230" y="53"/>
                </a:cubicBezTo>
                <a:cubicBezTo>
                  <a:pt x="228" y="53"/>
                  <a:pt x="223" y="51"/>
                  <a:pt x="224" y="53"/>
                </a:cubicBezTo>
                <a:cubicBezTo>
                  <a:pt x="225" y="55"/>
                  <a:pt x="225" y="55"/>
                  <a:pt x="221" y="55"/>
                </a:cubicBezTo>
                <a:cubicBezTo>
                  <a:pt x="225" y="57"/>
                  <a:pt x="228" y="58"/>
                  <a:pt x="232" y="59"/>
                </a:cubicBezTo>
                <a:cubicBezTo>
                  <a:pt x="232" y="59"/>
                  <a:pt x="233" y="59"/>
                  <a:pt x="233" y="59"/>
                </a:cubicBezTo>
                <a:cubicBezTo>
                  <a:pt x="233" y="59"/>
                  <a:pt x="233" y="60"/>
                  <a:pt x="232" y="60"/>
                </a:cubicBezTo>
                <a:cubicBezTo>
                  <a:pt x="230" y="60"/>
                  <a:pt x="232" y="60"/>
                  <a:pt x="233" y="61"/>
                </a:cubicBezTo>
                <a:cubicBezTo>
                  <a:pt x="234" y="61"/>
                  <a:pt x="234" y="61"/>
                  <a:pt x="234" y="61"/>
                </a:cubicBezTo>
                <a:cubicBezTo>
                  <a:pt x="234" y="61"/>
                  <a:pt x="234" y="62"/>
                  <a:pt x="236" y="62"/>
                </a:cubicBezTo>
                <a:cubicBezTo>
                  <a:pt x="238" y="63"/>
                  <a:pt x="238" y="64"/>
                  <a:pt x="236" y="64"/>
                </a:cubicBezTo>
                <a:cubicBezTo>
                  <a:pt x="235" y="64"/>
                  <a:pt x="238" y="65"/>
                  <a:pt x="238" y="65"/>
                </a:cubicBezTo>
                <a:cubicBezTo>
                  <a:pt x="236" y="65"/>
                  <a:pt x="235" y="64"/>
                  <a:pt x="234" y="63"/>
                </a:cubicBezTo>
                <a:cubicBezTo>
                  <a:pt x="232" y="62"/>
                  <a:pt x="228" y="60"/>
                  <a:pt x="225" y="58"/>
                </a:cubicBezTo>
                <a:cubicBezTo>
                  <a:pt x="224" y="58"/>
                  <a:pt x="222" y="57"/>
                  <a:pt x="220" y="56"/>
                </a:cubicBezTo>
                <a:cubicBezTo>
                  <a:pt x="219" y="55"/>
                  <a:pt x="218" y="55"/>
                  <a:pt x="217" y="54"/>
                </a:cubicBezTo>
                <a:cubicBezTo>
                  <a:pt x="216" y="54"/>
                  <a:pt x="215" y="53"/>
                  <a:pt x="215" y="53"/>
                </a:cubicBezTo>
                <a:cubicBezTo>
                  <a:pt x="215" y="53"/>
                  <a:pt x="214" y="52"/>
                  <a:pt x="213" y="52"/>
                </a:cubicBezTo>
                <a:cubicBezTo>
                  <a:pt x="212" y="53"/>
                  <a:pt x="211" y="52"/>
                  <a:pt x="210" y="52"/>
                </a:cubicBezTo>
                <a:cubicBezTo>
                  <a:pt x="210" y="52"/>
                  <a:pt x="211" y="52"/>
                  <a:pt x="212" y="53"/>
                </a:cubicBezTo>
                <a:cubicBezTo>
                  <a:pt x="213" y="53"/>
                  <a:pt x="214" y="54"/>
                  <a:pt x="216" y="54"/>
                </a:cubicBezTo>
                <a:cubicBezTo>
                  <a:pt x="221" y="57"/>
                  <a:pt x="225" y="60"/>
                  <a:pt x="233" y="63"/>
                </a:cubicBezTo>
                <a:cubicBezTo>
                  <a:pt x="237" y="67"/>
                  <a:pt x="244" y="70"/>
                  <a:pt x="250" y="73"/>
                </a:cubicBezTo>
                <a:cubicBezTo>
                  <a:pt x="253" y="74"/>
                  <a:pt x="255" y="76"/>
                  <a:pt x="258" y="77"/>
                </a:cubicBezTo>
                <a:cubicBezTo>
                  <a:pt x="259" y="79"/>
                  <a:pt x="263" y="80"/>
                  <a:pt x="266" y="82"/>
                </a:cubicBezTo>
                <a:cubicBezTo>
                  <a:pt x="262" y="81"/>
                  <a:pt x="258" y="81"/>
                  <a:pt x="253" y="79"/>
                </a:cubicBezTo>
                <a:cubicBezTo>
                  <a:pt x="248" y="77"/>
                  <a:pt x="243" y="75"/>
                  <a:pt x="239" y="73"/>
                </a:cubicBezTo>
                <a:cubicBezTo>
                  <a:pt x="233" y="69"/>
                  <a:pt x="228" y="66"/>
                  <a:pt x="220" y="63"/>
                </a:cubicBezTo>
                <a:cubicBezTo>
                  <a:pt x="217" y="61"/>
                  <a:pt x="212" y="60"/>
                  <a:pt x="208" y="59"/>
                </a:cubicBezTo>
                <a:cubicBezTo>
                  <a:pt x="207" y="60"/>
                  <a:pt x="211" y="62"/>
                  <a:pt x="214" y="63"/>
                </a:cubicBezTo>
                <a:cubicBezTo>
                  <a:pt x="216" y="63"/>
                  <a:pt x="219" y="64"/>
                  <a:pt x="219" y="65"/>
                </a:cubicBezTo>
                <a:cubicBezTo>
                  <a:pt x="219" y="65"/>
                  <a:pt x="217" y="65"/>
                  <a:pt x="215" y="65"/>
                </a:cubicBezTo>
                <a:cubicBezTo>
                  <a:pt x="214" y="65"/>
                  <a:pt x="212" y="64"/>
                  <a:pt x="211" y="65"/>
                </a:cubicBezTo>
                <a:cubicBezTo>
                  <a:pt x="211" y="64"/>
                  <a:pt x="210" y="64"/>
                  <a:pt x="209" y="63"/>
                </a:cubicBezTo>
                <a:cubicBezTo>
                  <a:pt x="209" y="63"/>
                  <a:pt x="209" y="63"/>
                  <a:pt x="209" y="62"/>
                </a:cubicBezTo>
                <a:cubicBezTo>
                  <a:pt x="209" y="62"/>
                  <a:pt x="209" y="62"/>
                  <a:pt x="209" y="62"/>
                </a:cubicBezTo>
                <a:cubicBezTo>
                  <a:pt x="210" y="63"/>
                  <a:pt x="212" y="64"/>
                  <a:pt x="212" y="63"/>
                </a:cubicBezTo>
                <a:cubicBezTo>
                  <a:pt x="212" y="63"/>
                  <a:pt x="212" y="62"/>
                  <a:pt x="208" y="61"/>
                </a:cubicBezTo>
                <a:cubicBezTo>
                  <a:pt x="208" y="61"/>
                  <a:pt x="207" y="61"/>
                  <a:pt x="207" y="61"/>
                </a:cubicBezTo>
                <a:cubicBezTo>
                  <a:pt x="205" y="60"/>
                  <a:pt x="203" y="59"/>
                  <a:pt x="201" y="58"/>
                </a:cubicBezTo>
                <a:cubicBezTo>
                  <a:pt x="201" y="58"/>
                  <a:pt x="200" y="58"/>
                  <a:pt x="200" y="58"/>
                </a:cubicBezTo>
                <a:cubicBezTo>
                  <a:pt x="202" y="59"/>
                  <a:pt x="204" y="60"/>
                  <a:pt x="206" y="61"/>
                </a:cubicBezTo>
                <a:cubicBezTo>
                  <a:pt x="207" y="62"/>
                  <a:pt x="207" y="62"/>
                  <a:pt x="205" y="62"/>
                </a:cubicBezTo>
                <a:cubicBezTo>
                  <a:pt x="203" y="62"/>
                  <a:pt x="202" y="62"/>
                  <a:pt x="201" y="62"/>
                </a:cubicBezTo>
                <a:cubicBezTo>
                  <a:pt x="200" y="61"/>
                  <a:pt x="199" y="60"/>
                  <a:pt x="195" y="59"/>
                </a:cubicBezTo>
                <a:cubicBezTo>
                  <a:pt x="196" y="60"/>
                  <a:pt x="197" y="61"/>
                  <a:pt x="198" y="62"/>
                </a:cubicBezTo>
                <a:cubicBezTo>
                  <a:pt x="199" y="64"/>
                  <a:pt x="203" y="65"/>
                  <a:pt x="207" y="67"/>
                </a:cubicBezTo>
                <a:cubicBezTo>
                  <a:pt x="208" y="68"/>
                  <a:pt x="209" y="68"/>
                  <a:pt x="211" y="69"/>
                </a:cubicBezTo>
                <a:cubicBezTo>
                  <a:pt x="211" y="69"/>
                  <a:pt x="211" y="69"/>
                  <a:pt x="212" y="70"/>
                </a:cubicBezTo>
                <a:cubicBezTo>
                  <a:pt x="212" y="70"/>
                  <a:pt x="213" y="71"/>
                  <a:pt x="215" y="71"/>
                </a:cubicBezTo>
                <a:cubicBezTo>
                  <a:pt x="216" y="72"/>
                  <a:pt x="217" y="72"/>
                  <a:pt x="217" y="72"/>
                </a:cubicBezTo>
                <a:cubicBezTo>
                  <a:pt x="215" y="73"/>
                  <a:pt x="219" y="74"/>
                  <a:pt x="218" y="75"/>
                </a:cubicBezTo>
                <a:cubicBezTo>
                  <a:pt x="217" y="74"/>
                  <a:pt x="213" y="73"/>
                  <a:pt x="213" y="74"/>
                </a:cubicBezTo>
                <a:cubicBezTo>
                  <a:pt x="212" y="74"/>
                  <a:pt x="214" y="75"/>
                  <a:pt x="216" y="76"/>
                </a:cubicBezTo>
                <a:cubicBezTo>
                  <a:pt x="218" y="77"/>
                  <a:pt x="219" y="77"/>
                  <a:pt x="220" y="78"/>
                </a:cubicBezTo>
                <a:cubicBezTo>
                  <a:pt x="221" y="80"/>
                  <a:pt x="224" y="82"/>
                  <a:pt x="231" y="83"/>
                </a:cubicBezTo>
                <a:cubicBezTo>
                  <a:pt x="232" y="85"/>
                  <a:pt x="238" y="87"/>
                  <a:pt x="241" y="88"/>
                </a:cubicBezTo>
                <a:cubicBezTo>
                  <a:pt x="246" y="91"/>
                  <a:pt x="252" y="94"/>
                  <a:pt x="258" y="97"/>
                </a:cubicBezTo>
                <a:cubicBezTo>
                  <a:pt x="259" y="98"/>
                  <a:pt x="261" y="99"/>
                  <a:pt x="266" y="101"/>
                </a:cubicBezTo>
                <a:cubicBezTo>
                  <a:pt x="264" y="99"/>
                  <a:pt x="261" y="98"/>
                  <a:pt x="259" y="97"/>
                </a:cubicBezTo>
                <a:cubicBezTo>
                  <a:pt x="257" y="96"/>
                  <a:pt x="256" y="95"/>
                  <a:pt x="254" y="94"/>
                </a:cubicBezTo>
                <a:cubicBezTo>
                  <a:pt x="260" y="96"/>
                  <a:pt x="261" y="98"/>
                  <a:pt x="265" y="99"/>
                </a:cubicBezTo>
                <a:cubicBezTo>
                  <a:pt x="267" y="100"/>
                  <a:pt x="269" y="101"/>
                  <a:pt x="270" y="101"/>
                </a:cubicBezTo>
                <a:cubicBezTo>
                  <a:pt x="270" y="101"/>
                  <a:pt x="270" y="101"/>
                  <a:pt x="270" y="101"/>
                </a:cubicBezTo>
                <a:cubicBezTo>
                  <a:pt x="270" y="102"/>
                  <a:pt x="270" y="102"/>
                  <a:pt x="272" y="103"/>
                </a:cubicBezTo>
                <a:cubicBezTo>
                  <a:pt x="274" y="104"/>
                  <a:pt x="274" y="103"/>
                  <a:pt x="274" y="103"/>
                </a:cubicBezTo>
                <a:cubicBezTo>
                  <a:pt x="277" y="104"/>
                  <a:pt x="280" y="105"/>
                  <a:pt x="282" y="107"/>
                </a:cubicBezTo>
                <a:cubicBezTo>
                  <a:pt x="282" y="107"/>
                  <a:pt x="281" y="107"/>
                  <a:pt x="280" y="106"/>
                </a:cubicBezTo>
                <a:cubicBezTo>
                  <a:pt x="279" y="106"/>
                  <a:pt x="278" y="105"/>
                  <a:pt x="277" y="106"/>
                </a:cubicBezTo>
                <a:cubicBezTo>
                  <a:pt x="273" y="105"/>
                  <a:pt x="270" y="104"/>
                  <a:pt x="269" y="102"/>
                </a:cubicBezTo>
                <a:cubicBezTo>
                  <a:pt x="268" y="102"/>
                  <a:pt x="267" y="101"/>
                  <a:pt x="266" y="101"/>
                </a:cubicBezTo>
                <a:cubicBezTo>
                  <a:pt x="265" y="101"/>
                  <a:pt x="266" y="102"/>
                  <a:pt x="267" y="102"/>
                </a:cubicBezTo>
                <a:cubicBezTo>
                  <a:pt x="266" y="102"/>
                  <a:pt x="265" y="102"/>
                  <a:pt x="265" y="102"/>
                </a:cubicBezTo>
                <a:cubicBezTo>
                  <a:pt x="264" y="102"/>
                  <a:pt x="263" y="101"/>
                  <a:pt x="262" y="101"/>
                </a:cubicBezTo>
                <a:cubicBezTo>
                  <a:pt x="257" y="99"/>
                  <a:pt x="253" y="96"/>
                  <a:pt x="248" y="94"/>
                </a:cubicBezTo>
                <a:cubicBezTo>
                  <a:pt x="248" y="94"/>
                  <a:pt x="248" y="94"/>
                  <a:pt x="248" y="95"/>
                </a:cubicBezTo>
                <a:cubicBezTo>
                  <a:pt x="248" y="95"/>
                  <a:pt x="249" y="95"/>
                  <a:pt x="249" y="95"/>
                </a:cubicBezTo>
                <a:cubicBezTo>
                  <a:pt x="249" y="95"/>
                  <a:pt x="249" y="95"/>
                  <a:pt x="249" y="95"/>
                </a:cubicBezTo>
                <a:cubicBezTo>
                  <a:pt x="249" y="95"/>
                  <a:pt x="249" y="95"/>
                  <a:pt x="249" y="95"/>
                </a:cubicBezTo>
                <a:cubicBezTo>
                  <a:pt x="246" y="95"/>
                  <a:pt x="243" y="94"/>
                  <a:pt x="242" y="92"/>
                </a:cubicBezTo>
                <a:cubicBezTo>
                  <a:pt x="241" y="92"/>
                  <a:pt x="239" y="90"/>
                  <a:pt x="236" y="90"/>
                </a:cubicBezTo>
                <a:cubicBezTo>
                  <a:pt x="235" y="90"/>
                  <a:pt x="234" y="90"/>
                  <a:pt x="234" y="90"/>
                </a:cubicBezTo>
                <a:cubicBezTo>
                  <a:pt x="232" y="91"/>
                  <a:pt x="235" y="92"/>
                  <a:pt x="237" y="92"/>
                </a:cubicBezTo>
                <a:cubicBezTo>
                  <a:pt x="244" y="96"/>
                  <a:pt x="253" y="100"/>
                  <a:pt x="260" y="103"/>
                </a:cubicBezTo>
                <a:cubicBezTo>
                  <a:pt x="260" y="103"/>
                  <a:pt x="260" y="103"/>
                  <a:pt x="260" y="103"/>
                </a:cubicBezTo>
                <a:cubicBezTo>
                  <a:pt x="263" y="105"/>
                  <a:pt x="270" y="107"/>
                  <a:pt x="271" y="109"/>
                </a:cubicBezTo>
                <a:cubicBezTo>
                  <a:pt x="261" y="105"/>
                  <a:pt x="252" y="101"/>
                  <a:pt x="243" y="96"/>
                </a:cubicBezTo>
                <a:cubicBezTo>
                  <a:pt x="234" y="91"/>
                  <a:pt x="224" y="87"/>
                  <a:pt x="212" y="82"/>
                </a:cubicBezTo>
                <a:cubicBezTo>
                  <a:pt x="210" y="81"/>
                  <a:pt x="208" y="80"/>
                  <a:pt x="206" y="79"/>
                </a:cubicBezTo>
                <a:cubicBezTo>
                  <a:pt x="202" y="76"/>
                  <a:pt x="195" y="73"/>
                  <a:pt x="190" y="70"/>
                </a:cubicBezTo>
                <a:cubicBezTo>
                  <a:pt x="189" y="70"/>
                  <a:pt x="193" y="71"/>
                  <a:pt x="193" y="72"/>
                </a:cubicBezTo>
                <a:cubicBezTo>
                  <a:pt x="188" y="71"/>
                  <a:pt x="184" y="69"/>
                  <a:pt x="181" y="67"/>
                </a:cubicBezTo>
                <a:cubicBezTo>
                  <a:pt x="179" y="65"/>
                  <a:pt x="177" y="64"/>
                  <a:pt x="171" y="63"/>
                </a:cubicBezTo>
                <a:cubicBezTo>
                  <a:pt x="166" y="62"/>
                  <a:pt x="165" y="60"/>
                  <a:pt x="162" y="59"/>
                </a:cubicBezTo>
                <a:cubicBezTo>
                  <a:pt x="162" y="59"/>
                  <a:pt x="162" y="59"/>
                  <a:pt x="162" y="59"/>
                </a:cubicBezTo>
                <a:cubicBezTo>
                  <a:pt x="157" y="57"/>
                  <a:pt x="153" y="54"/>
                  <a:pt x="149" y="52"/>
                </a:cubicBezTo>
                <a:cubicBezTo>
                  <a:pt x="152" y="53"/>
                  <a:pt x="153" y="54"/>
                  <a:pt x="155" y="55"/>
                </a:cubicBezTo>
                <a:cubicBezTo>
                  <a:pt x="156" y="55"/>
                  <a:pt x="158" y="56"/>
                  <a:pt x="161" y="57"/>
                </a:cubicBezTo>
                <a:cubicBezTo>
                  <a:pt x="160" y="56"/>
                  <a:pt x="159" y="55"/>
                  <a:pt x="156" y="55"/>
                </a:cubicBezTo>
                <a:cubicBezTo>
                  <a:pt x="153" y="53"/>
                  <a:pt x="151" y="52"/>
                  <a:pt x="148" y="50"/>
                </a:cubicBezTo>
                <a:cubicBezTo>
                  <a:pt x="146" y="49"/>
                  <a:pt x="145" y="49"/>
                  <a:pt x="143" y="48"/>
                </a:cubicBezTo>
                <a:cubicBezTo>
                  <a:pt x="143" y="48"/>
                  <a:pt x="142" y="48"/>
                  <a:pt x="142" y="48"/>
                </a:cubicBezTo>
                <a:cubicBezTo>
                  <a:pt x="144" y="49"/>
                  <a:pt x="145" y="49"/>
                  <a:pt x="146" y="50"/>
                </a:cubicBezTo>
                <a:cubicBezTo>
                  <a:pt x="146" y="50"/>
                  <a:pt x="145" y="50"/>
                  <a:pt x="145" y="50"/>
                </a:cubicBezTo>
                <a:cubicBezTo>
                  <a:pt x="140" y="47"/>
                  <a:pt x="132" y="44"/>
                  <a:pt x="129" y="41"/>
                </a:cubicBezTo>
                <a:cubicBezTo>
                  <a:pt x="126" y="40"/>
                  <a:pt x="124" y="39"/>
                  <a:pt x="121" y="38"/>
                </a:cubicBezTo>
                <a:cubicBezTo>
                  <a:pt x="121" y="37"/>
                  <a:pt x="120" y="36"/>
                  <a:pt x="116" y="34"/>
                </a:cubicBezTo>
                <a:cubicBezTo>
                  <a:pt x="113" y="32"/>
                  <a:pt x="106" y="30"/>
                  <a:pt x="100" y="28"/>
                </a:cubicBezTo>
                <a:cubicBezTo>
                  <a:pt x="100" y="28"/>
                  <a:pt x="100" y="28"/>
                  <a:pt x="99" y="28"/>
                </a:cubicBezTo>
                <a:cubicBezTo>
                  <a:pt x="98" y="27"/>
                  <a:pt x="96" y="26"/>
                  <a:pt x="94" y="25"/>
                </a:cubicBezTo>
                <a:cubicBezTo>
                  <a:pt x="92" y="24"/>
                  <a:pt x="94" y="24"/>
                  <a:pt x="96" y="25"/>
                </a:cubicBezTo>
                <a:cubicBezTo>
                  <a:pt x="97" y="25"/>
                  <a:pt x="98" y="26"/>
                  <a:pt x="101" y="27"/>
                </a:cubicBezTo>
                <a:cubicBezTo>
                  <a:pt x="100" y="26"/>
                  <a:pt x="98" y="25"/>
                  <a:pt x="97" y="25"/>
                </a:cubicBezTo>
                <a:cubicBezTo>
                  <a:pt x="96" y="24"/>
                  <a:pt x="95" y="24"/>
                  <a:pt x="94" y="24"/>
                </a:cubicBezTo>
                <a:cubicBezTo>
                  <a:pt x="90" y="21"/>
                  <a:pt x="83" y="17"/>
                  <a:pt x="77" y="14"/>
                </a:cubicBezTo>
                <a:cubicBezTo>
                  <a:pt x="75" y="13"/>
                  <a:pt x="74" y="12"/>
                  <a:pt x="69" y="11"/>
                </a:cubicBezTo>
                <a:cubicBezTo>
                  <a:pt x="70" y="12"/>
                  <a:pt x="73" y="13"/>
                  <a:pt x="76" y="14"/>
                </a:cubicBezTo>
                <a:cubicBezTo>
                  <a:pt x="79" y="16"/>
                  <a:pt x="83" y="18"/>
                  <a:pt x="87" y="20"/>
                </a:cubicBezTo>
                <a:cubicBezTo>
                  <a:pt x="85" y="21"/>
                  <a:pt x="90" y="24"/>
                  <a:pt x="92" y="25"/>
                </a:cubicBezTo>
                <a:cubicBezTo>
                  <a:pt x="93" y="27"/>
                  <a:pt x="96" y="28"/>
                  <a:pt x="98" y="29"/>
                </a:cubicBezTo>
                <a:cubicBezTo>
                  <a:pt x="98" y="30"/>
                  <a:pt x="101" y="31"/>
                  <a:pt x="103" y="31"/>
                </a:cubicBezTo>
                <a:cubicBezTo>
                  <a:pt x="108" y="33"/>
                  <a:pt x="113" y="35"/>
                  <a:pt x="110" y="36"/>
                </a:cubicBezTo>
                <a:cubicBezTo>
                  <a:pt x="109" y="37"/>
                  <a:pt x="111" y="38"/>
                  <a:pt x="115" y="39"/>
                </a:cubicBezTo>
                <a:cubicBezTo>
                  <a:pt x="117" y="40"/>
                  <a:pt x="119" y="41"/>
                  <a:pt x="121" y="42"/>
                </a:cubicBezTo>
                <a:cubicBezTo>
                  <a:pt x="122" y="42"/>
                  <a:pt x="124" y="43"/>
                  <a:pt x="125" y="44"/>
                </a:cubicBezTo>
                <a:cubicBezTo>
                  <a:pt x="125" y="44"/>
                  <a:pt x="126" y="45"/>
                  <a:pt x="128" y="46"/>
                </a:cubicBezTo>
                <a:cubicBezTo>
                  <a:pt x="129" y="46"/>
                  <a:pt x="128" y="45"/>
                  <a:pt x="127" y="44"/>
                </a:cubicBezTo>
                <a:cubicBezTo>
                  <a:pt x="126" y="43"/>
                  <a:pt x="125" y="42"/>
                  <a:pt x="123" y="42"/>
                </a:cubicBezTo>
                <a:cubicBezTo>
                  <a:pt x="121" y="40"/>
                  <a:pt x="121" y="40"/>
                  <a:pt x="123" y="40"/>
                </a:cubicBezTo>
                <a:cubicBezTo>
                  <a:pt x="125" y="40"/>
                  <a:pt x="125" y="41"/>
                  <a:pt x="126" y="41"/>
                </a:cubicBezTo>
                <a:cubicBezTo>
                  <a:pt x="134" y="46"/>
                  <a:pt x="143" y="50"/>
                  <a:pt x="151" y="55"/>
                </a:cubicBezTo>
                <a:cubicBezTo>
                  <a:pt x="149" y="54"/>
                  <a:pt x="146" y="53"/>
                  <a:pt x="145" y="53"/>
                </a:cubicBezTo>
                <a:cubicBezTo>
                  <a:pt x="140" y="50"/>
                  <a:pt x="135" y="49"/>
                  <a:pt x="129" y="49"/>
                </a:cubicBezTo>
                <a:cubicBezTo>
                  <a:pt x="129" y="49"/>
                  <a:pt x="130" y="48"/>
                  <a:pt x="129" y="48"/>
                </a:cubicBezTo>
                <a:cubicBezTo>
                  <a:pt x="129" y="48"/>
                  <a:pt x="128" y="47"/>
                  <a:pt x="127" y="47"/>
                </a:cubicBezTo>
                <a:cubicBezTo>
                  <a:pt x="127" y="48"/>
                  <a:pt x="126" y="48"/>
                  <a:pt x="128" y="49"/>
                </a:cubicBezTo>
                <a:cubicBezTo>
                  <a:pt x="129" y="50"/>
                  <a:pt x="122" y="48"/>
                  <a:pt x="126" y="50"/>
                </a:cubicBezTo>
                <a:cubicBezTo>
                  <a:pt x="128" y="51"/>
                  <a:pt x="132" y="52"/>
                  <a:pt x="132" y="51"/>
                </a:cubicBezTo>
                <a:cubicBezTo>
                  <a:pt x="136" y="49"/>
                  <a:pt x="139" y="52"/>
                  <a:pt x="143" y="53"/>
                </a:cubicBezTo>
                <a:cubicBezTo>
                  <a:pt x="144" y="54"/>
                  <a:pt x="146" y="55"/>
                  <a:pt x="147" y="56"/>
                </a:cubicBezTo>
                <a:cubicBezTo>
                  <a:pt x="151" y="58"/>
                  <a:pt x="154" y="57"/>
                  <a:pt x="157" y="58"/>
                </a:cubicBezTo>
                <a:cubicBezTo>
                  <a:pt x="157" y="58"/>
                  <a:pt x="157" y="58"/>
                  <a:pt x="157" y="58"/>
                </a:cubicBezTo>
                <a:cubicBezTo>
                  <a:pt x="158" y="58"/>
                  <a:pt x="158" y="58"/>
                  <a:pt x="158" y="58"/>
                </a:cubicBezTo>
                <a:cubicBezTo>
                  <a:pt x="161" y="60"/>
                  <a:pt x="157" y="60"/>
                  <a:pt x="159" y="62"/>
                </a:cubicBezTo>
                <a:cubicBezTo>
                  <a:pt x="162" y="64"/>
                  <a:pt x="169" y="67"/>
                  <a:pt x="173" y="70"/>
                </a:cubicBezTo>
                <a:cubicBezTo>
                  <a:pt x="175" y="70"/>
                  <a:pt x="176" y="71"/>
                  <a:pt x="177" y="72"/>
                </a:cubicBezTo>
                <a:cubicBezTo>
                  <a:pt x="183" y="74"/>
                  <a:pt x="185" y="76"/>
                  <a:pt x="188" y="78"/>
                </a:cubicBezTo>
                <a:cubicBezTo>
                  <a:pt x="194" y="80"/>
                  <a:pt x="196" y="82"/>
                  <a:pt x="202" y="85"/>
                </a:cubicBezTo>
                <a:cubicBezTo>
                  <a:pt x="204" y="86"/>
                  <a:pt x="207" y="87"/>
                  <a:pt x="209" y="89"/>
                </a:cubicBezTo>
                <a:cubicBezTo>
                  <a:pt x="215" y="92"/>
                  <a:pt x="222" y="95"/>
                  <a:pt x="228" y="98"/>
                </a:cubicBezTo>
                <a:cubicBezTo>
                  <a:pt x="229" y="99"/>
                  <a:pt x="231" y="100"/>
                  <a:pt x="232" y="100"/>
                </a:cubicBezTo>
                <a:cubicBezTo>
                  <a:pt x="231" y="100"/>
                  <a:pt x="230" y="100"/>
                  <a:pt x="229" y="100"/>
                </a:cubicBezTo>
                <a:cubicBezTo>
                  <a:pt x="224" y="97"/>
                  <a:pt x="219" y="95"/>
                  <a:pt x="213" y="93"/>
                </a:cubicBezTo>
                <a:cubicBezTo>
                  <a:pt x="214" y="93"/>
                  <a:pt x="214" y="93"/>
                  <a:pt x="214" y="94"/>
                </a:cubicBezTo>
                <a:cubicBezTo>
                  <a:pt x="214" y="93"/>
                  <a:pt x="213" y="93"/>
                  <a:pt x="213" y="93"/>
                </a:cubicBezTo>
                <a:cubicBezTo>
                  <a:pt x="207" y="89"/>
                  <a:pt x="200" y="86"/>
                  <a:pt x="194" y="83"/>
                </a:cubicBezTo>
                <a:cubicBezTo>
                  <a:pt x="188" y="80"/>
                  <a:pt x="181" y="77"/>
                  <a:pt x="175" y="74"/>
                </a:cubicBezTo>
                <a:cubicBezTo>
                  <a:pt x="165" y="70"/>
                  <a:pt x="155" y="65"/>
                  <a:pt x="146" y="60"/>
                </a:cubicBezTo>
                <a:cubicBezTo>
                  <a:pt x="144" y="59"/>
                  <a:pt x="141" y="58"/>
                  <a:pt x="138" y="57"/>
                </a:cubicBezTo>
                <a:cubicBezTo>
                  <a:pt x="133" y="53"/>
                  <a:pt x="124" y="50"/>
                  <a:pt x="118" y="46"/>
                </a:cubicBezTo>
                <a:cubicBezTo>
                  <a:pt x="118" y="45"/>
                  <a:pt x="113" y="44"/>
                  <a:pt x="110" y="42"/>
                </a:cubicBezTo>
                <a:cubicBezTo>
                  <a:pt x="109" y="43"/>
                  <a:pt x="114" y="45"/>
                  <a:pt x="116" y="46"/>
                </a:cubicBezTo>
                <a:cubicBezTo>
                  <a:pt x="116" y="46"/>
                  <a:pt x="116" y="46"/>
                  <a:pt x="116" y="46"/>
                </a:cubicBezTo>
                <a:cubicBezTo>
                  <a:pt x="115" y="47"/>
                  <a:pt x="113" y="47"/>
                  <a:pt x="106" y="45"/>
                </a:cubicBezTo>
                <a:cubicBezTo>
                  <a:pt x="108" y="46"/>
                  <a:pt x="108" y="48"/>
                  <a:pt x="112" y="49"/>
                </a:cubicBezTo>
                <a:cubicBezTo>
                  <a:pt x="114" y="49"/>
                  <a:pt x="111" y="47"/>
                  <a:pt x="116" y="49"/>
                </a:cubicBezTo>
                <a:cubicBezTo>
                  <a:pt x="120" y="50"/>
                  <a:pt x="119" y="51"/>
                  <a:pt x="122" y="52"/>
                </a:cubicBezTo>
                <a:cubicBezTo>
                  <a:pt x="122" y="54"/>
                  <a:pt x="117" y="53"/>
                  <a:pt x="117" y="53"/>
                </a:cubicBezTo>
                <a:cubicBezTo>
                  <a:pt x="108" y="51"/>
                  <a:pt x="117" y="54"/>
                  <a:pt x="116" y="54"/>
                </a:cubicBezTo>
                <a:cubicBezTo>
                  <a:pt x="117" y="54"/>
                  <a:pt x="116" y="54"/>
                  <a:pt x="115" y="55"/>
                </a:cubicBezTo>
                <a:cubicBezTo>
                  <a:pt x="115" y="55"/>
                  <a:pt x="114" y="55"/>
                  <a:pt x="113" y="55"/>
                </a:cubicBezTo>
                <a:cubicBezTo>
                  <a:pt x="112" y="54"/>
                  <a:pt x="110" y="53"/>
                  <a:pt x="108" y="52"/>
                </a:cubicBezTo>
                <a:cubicBezTo>
                  <a:pt x="106" y="51"/>
                  <a:pt x="104" y="50"/>
                  <a:pt x="102" y="49"/>
                </a:cubicBezTo>
                <a:cubicBezTo>
                  <a:pt x="98" y="46"/>
                  <a:pt x="90" y="43"/>
                  <a:pt x="82" y="39"/>
                </a:cubicBezTo>
                <a:cubicBezTo>
                  <a:pt x="89" y="43"/>
                  <a:pt x="93" y="46"/>
                  <a:pt x="101" y="49"/>
                </a:cubicBezTo>
                <a:cubicBezTo>
                  <a:pt x="103" y="50"/>
                  <a:pt x="105" y="51"/>
                  <a:pt x="108" y="52"/>
                </a:cubicBezTo>
                <a:cubicBezTo>
                  <a:pt x="109" y="54"/>
                  <a:pt x="111" y="55"/>
                  <a:pt x="113" y="56"/>
                </a:cubicBezTo>
                <a:cubicBezTo>
                  <a:pt x="111" y="56"/>
                  <a:pt x="113" y="57"/>
                  <a:pt x="112" y="57"/>
                </a:cubicBezTo>
                <a:cubicBezTo>
                  <a:pt x="108" y="57"/>
                  <a:pt x="106" y="56"/>
                  <a:pt x="104" y="55"/>
                </a:cubicBezTo>
                <a:cubicBezTo>
                  <a:pt x="93" y="49"/>
                  <a:pt x="82" y="42"/>
                  <a:pt x="71" y="36"/>
                </a:cubicBezTo>
                <a:cubicBezTo>
                  <a:pt x="70" y="36"/>
                  <a:pt x="69" y="35"/>
                  <a:pt x="67" y="35"/>
                </a:cubicBezTo>
                <a:cubicBezTo>
                  <a:pt x="66" y="33"/>
                  <a:pt x="63" y="32"/>
                  <a:pt x="60" y="31"/>
                </a:cubicBezTo>
                <a:cubicBezTo>
                  <a:pt x="60" y="30"/>
                  <a:pt x="60" y="30"/>
                  <a:pt x="60" y="30"/>
                </a:cubicBezTo>
                <a:cubicBezTo>
                  <a:pt x="60" y="30"/>
                  <a:pt x="59" y="30"/>
                  <a:pt x="59" y="29"/>
                </a:cubicBezTo>
                <a:cubicBezTo>
                  <a:pt x="57" y="28"/>
                  <a:pt x="55" y="27"/>
                  <a:pt x="52" y="25"/>
                </a:cubicBezTo>
                <a:cubicBezTo>
                  <a:pt x="51" y="24"/>
                  <a:pt x="51" y="23"/>
                  <a:pt x="44" y="20"/>
                </a:cubicBezTo>
                <a:cubicBezTo>
                  <a:pt x="37" y="18"/>
                  <a:pt x="34" y="15"/>
                  <a:pt x="35" y="13"/>
                </a:cubicBezTo>
                <a:cubicBezTo>
                  <a:pt x="35" y="12"/>
                  <a:pt x="37" y="12"/>
                  <a:pt x="36" y="11"/>
                </a:cubicBezTo>
                <a:cubicBezTo>
                  <a:pt x="33" y="11"/>
                  <a:pt x="30" y="10"/>
                  <a:pt x="27" y="10"/>
                </a:cubicBezTo>
                <a:cubicBezTo>
                  <a:pt x="25" y="9"/>
                  <a:pt x="24" y="8"/>
                  <a:pt x="23" y="8"/>
                </a:cubicBezTo>
                <a:cubicBezTo>
                  <a:pt x="23" y="7"/>
                  <a:pt x="22" y="7"/>
                  <a:pt x="22" y="7"/>
                </a:cubicBezTo>
                <a:cubicBezTo>
                  <a:pt x="19" y="5"/>
                  <a:pt x="17" y="4"/>
                  <a:pt x="14" y="2"/>
                </a:cubicBezTo>
                <a:cubicBezTo>
                  <a:pt x="13" y="2"/>
                  <a:pt x="12" y="1"/>
                  <a:pt x="9" y="0"/>
                </a:cubicBezTo>
                <a:cubicBezTo>
                  <a:pt x="9" y="1"/>
                  <a:pt x="11" y="2"/>
                  <a:pt x="13" y="2"/>
                </a:cubicBezTo>
                <a:cubicBezTo>
                  <a:pt x="13" y="3"/>
                  <a:pt x="13" y="3"/>
                  <a:pt x="13" y="3"/>
                </a:cubicBezTo>
                <a:cubicBezTo>
                  <a:pt x="13" y="3"/>
                  <a:pt x="12" y="3"/>
                  <a:pt x="12" y="3"/>
                </a:cubicBezTo>
                <a:cubicBezTo>
                  <a:pt x="11" y="3"/>
                  <a:pt x="11" y="3"/>
                  <a:pt x="11" y="3"/>
                </a:cubicBezTo>
                <a:cubicBezTo>
                  <a:pt x="9" y="2"/>
                  <a:pt x="9" y="1"/>
                  <a:pt x="5" y="0"/>
                </a:cubicBezTo>
                <a:cubicBezTo>
                  <a:pt x="5" y="0"/>
                  <a:pt x="7" y="1"/>
                  <a:pt x="10" y="3"/>
                </a:cubicBezTo>
                <a:cubicBezTo>
                  <a:pt x="11" y="3"/>
                  <a:pt x="12" y="4"/>
                  <a:pt x="14" y="5"/>
                </a:cubicBezTo>
                <a:cubicBezTo>
                  <a:pt x="13" y="5"/>
                  <a:pt x="16" y="6"/>
                  <a:pt x="17" y="7"/>
                </a:cubicBezTo>
                <a:cubicBezTo>
                  <a:pt x="17" y="7"/>
                  <a:pt x="17" y="8"/>
                  <a:pt x="18" y="8"/>
                </a:cubicBezTo>
                <a:cubicBezTo>
                  <a:pt x="21" y="9"/>
                  <a:pt x="22" y="11"/>
                  <a:pt x="25" y="12"/>
                </a:cubicBezTo>
                <a:cubicBezTo>
                  <a:pt x="25" y="13"/>
                  <a:pt x="28" y="14"/>
                  <a:pt x="30" y="15"/>
                </a:cubicBezTo>
                <a:cubicBezTo>
                  <a:pt x="31" y="16"/>
                  <a:pt x="33" y="17"/>
                  <a:pt x="33" y="18"/>
                </a:cubicBezTo>
                <a:cubicBezTo>
                  <a:pt x="33" y="18"/>
                  <a:pt x="33" y="18"/>
                  <a:pt x="33" y="18"/>
                </a:cubicBezTo>
                <a:cubicBezTo>
                  <a:pt x="32" y="18"/>
                  <a:pt x="31" y="18"/>
                  <a:pt x="32" y="18"/>
                </a:cubicBezTo>
                <a:cubicBezTo>
                  <a:pt x="33" y="19"/>
                  <a:pt x="35" y="19"/>
                  <a:pt x="36" y="19"/>
                </a:cubicBezTo>
                <a:cubicBezTo>
                  <a:pt x="42" y="22"/>
                  <a:pt x="41" y="23"/>
                  <a:pt x="46" y="26"/>
                </a:cubicBezTo>
                <a:cubicBezTo>
                  <a:pt x="47" y="27"/>
                  <a:pt x="51" y="28"/>
                  <a:pt x="51" y="29"/>
                </a:cubicBezTo>
                <a:cubicBezTo>
                  <a:pt x="42" y="25"/>
                  <a:pt x="34" y="21"/>
                  <a:pt x="28" y="18"/>
                </a:cubicBezTo>
                <a:cubicBezTo>
                  <a:pt x="28" y="17"/>
                  <a:pt x="28" y="17"/>
                  <a:pt x="26" y="16"/>
                </a:cubicBezTo>
                <a:cubicBezTo>
                  <a:pt x="24" y="15"/>
                  <a:pt x="22" y="14"/>
                  <a:pt x="19" y="13"/>
                </a:cubicBezTo>
                <a:cubicBezTo>
                  <a:pt x="20" y="14"/>
                  <a:pt x="21" y="15"/>
                  <a:pt x="23" y="16"/>
                </a:cubicBezTo>
                <a:cubicBezTo>
                  <a:pt x="24" y="16"/>
                  <a:pt x="25" y="17"/>
                  <a:pt x="26" y="17"/>
                </a:cubicBezTo>
                <a:cubicBezTo>
                  <a:pt x="26" y="18"/>
                  <a:pt x="29" y="19"/>
                  <a:pt x="29" y="20"/>
                </a:cubicBezTo>
                <a:cubicBezTo>
                  <a:pt x="28" y="19"/>
                  <a:pt x="27" y="19"/>
                  <a:pt x="25" y="18"/>
                </a:cubicBezTo>
                <a:cubicBezTo>
                  <a:pt x="23" y="18"/>
                  <a:pt x="25" y="19"/>
                  <a:pt x="26" y="20"/>
                </a:cubicBezTo>
                <a:cubicBezTo>
                  <a:pt x="28" y="21"/>
                  <a:pt x="31" y="22"/>
                  <a:pt x="35" y="23"/>
                </a:cubicBezTo>
                <a:cubicBezTo>
                  <a:pt x="37" y="25"/>
                  <a:pt x="41" y="28"/>
                  <a:pt x="46" y="30"/>
                </a:cubicBezTo>
                <a:cubicBezTo>
                  <a:pt x="50" y="32"/>
                  <a:pt x="43" y="31"/>
                  <a:pt x="43" y="33"/>
                </a:cubicBezTo>
                <a:cubicBezTo>
                  <a:pt x="42" y="33"/>
                  <a:pt x="41" y="33"/>
                  <a:pt x="39" y="32"/>
                </a:cubicBezTo>
                <a:cubicBezTo>
                  <a:pt x="35" y="30"/>
                  <a:pt x="31" y="28"/>
                  <a:pt x="29" y="26"/>
                </a:cubicBezTo>
                <a:cubicBezTo>
                  <a:pt x="31" y="25"/>
                  <a:pt x="33" y="27"/>
                  <a:pt x="35" y="27"/>
                </a:cubicBezTo>
                <a:cubicBezTo>
                  <a:pt x="33" y="26"/>
                  <a:pt x="32" y="24"/>
                  <a:pt x="28" y="24"/>
                </a:cubicBezTo>
                <a:cubicBezTo>
                  <a:pt x="25" y="23"/>
                  <a:pt x="28" y="25"/>
                  <a:pt x="27" y="25"/>
                </a:cubicBezTo>
                <a:cubicBezTo>
                  <a:pt x="22" y="24"/>
                  <a:pt x="22" y="25"/>
                  <a:pt x="24" y="26"/>
                </a:cubicBezTo>
                <a:cubicBezTo>
                  <a:pt x="28" y="28"/>
                  <a:pt x="32" y="30"/>
                  <a:pt x="36" y="32"/>
                </a:cubicBezTo>
                <a:cubicBezTo>
                  <a:pt x="37" y="33"/>
                  <a:pt x="41" y="34"/>
                  <a:pt x="40" y="35"/>
                </a:cubicBezTo>
                <a:cubicBezTo>
                  <a:pt x="36" y="34"/>
                  <a:pt x="40" y="36"/>
                  <a:pt x="39" y="36"/>
                </a:cubicBezTo>
                <a:cubicBezTo>
                  <a:pt x="36" y="36"/>
                  <a:pt x="35" y="35"/>
                  <a:pt x="33" y="35"/>
                </a:cubicBezTo>
                <a:cubicBezTo>
                  <a:pt x="27" y="33"/>
                  <a:pt x="26" y="31"/>
                  <a:pt x="19" y="29"/>
                </a:cubicBezTo>
                <a:cubicBezTo>
                  <a:pt x="20" y="30"/>
                  <a:pt x="25" y="31"/>
                  <a:pt x="25" y="32"/>
                </a:cubicBezTo>
                <a:cubicBezTo>
                  <a:pt x="25" y="34"/>
                  <a:pt x="35" y="37"/>
                  <a:pt x="32" y="38"/>
                </a:cubicBezTo>
                <a:cubicBezTo>
                  <a:pt x="31" y="38"/>
                  <a:pt x="30" y="37"/>
                  <a:pt x="29" y="37"/>
                </a:cubicBezTo>
                <a:cubicBezTo>
                  <a:pt x="29" y="35"/>
                  <a:pt x="21" y="33"/>
                  <a:pt x="18" y="31"/>
                </a:cubicBezTo>
                <a:cubicBezTo>
                  <a:pt x="19" y="33"/>
                  <a:pt x="21" y="34"/>
                  <a:pt x="25" y="36"/>
                </a:cubicBezTo>
                <a:cubicBezTo>
                  <a:pt x="29" y="38"/>
                  <a:pt x="34" y="40"/>
                  <a:pt x="38" y="43"/>
                </a:cubicBezTo>
                <a:cubicBezTo>
                  <a:pt x="33" y="41"/>
                  <a:pt x="29" y="40"/>
                  <a:pt x="24" y="38"/>
                </a:cubicBezTo>
                <a:cubicBezTo>
                  <a:pt x="24" y="37"/>
                  <a:pt x="23" y="36"/>
                  <a:pt x="21" y="35"/>
                </a:cubicBezTo>
                <a:cubicBezTo>
                  <a:pt x="19" y="35"/>
                  <a:pt x="19" y="36"/>
                  <a:pt x="21" y="37"/>
                </a:cubicBezTo>
                <a:cubicBezTo>
                  <a:pt x="22" y="38"/>
                  <a:pt x="22" y="38"/>
                  <a:pt x="22" y="38"/>
                </a:cubicBezTo>
                <a:cubicBezTo>
                  <a:pt x="28" y="44"/>
                  <a:pt x="35" y="49"/>
                  <a:pt x="44" y="55"/>
                </a:cubicBezTo>
                <a:cubicBezTo>
                  <a:pt x="43" y="55"/>
                  <a:pt x="43" y="55"/>
                  <a:pt x="42" y="54"/>
                </a:cubicBezTo>
                <a:cubicBezTo>
                  <a:pt x="34" y="50"/>
                  <a:pt x="25" y="45"/>
                  <a:pt x="17" y="40"/>
                </a:cubicBezTo>
                <a:cubicBezTo>
                  <a:pt x="12" y="37"/>
                  <a:pt x="6" y="34"/>
                  <a:pt x="0" y="31"/>
                </a:cubicBezTo>
                <a:cubicBezTo>
                  <a:pt x="0" y="84"/>
                  <a:pt x="0" y="84"/>
                  <a:pt x="0" y="84"/>
                </a:cubicBezTo>
                <a:cubicBezTo>
                  <a:pt x="0" y="84"/>
                  <a:pt x="1" y="85"/>
                  <a:pt x="1" y="85"/>
                </a:cubicBezTo>
                <a:cubicBezTo>
                  <a:pt x="2" y="86"/>
                  <a:pt x="3" y="86"/>
                  <a:pt x="4" y="87"/>
                </a:cubicBezTo>
                <a:cubicBezTo>
                  <a:pt x="4" y="87"/>
                  <a:pt x="5" y="88"/>
                  <a:pt x="6" y="88"/>
                </a:cubicBezTo>
                <a:cubicBezTo>
                  <a:pt x="4" y="88"/>
                  <a:pt x="2" y="88"/>
                  <a:pt x="0" y="88"/>
                </a:cubicBezTo>
                <a:cubicBezTo>
                  <a:pt x="0" y="107"/>
                  <a:pt x="0" y="107"/>
                  <a:pt x="0" y="107"/>
                </a:cubicBezTo>
                <a:cubicBezTo>
                  <a:pt x="0" y="107"/>
                  <a:pt x="0" y="107"/>
                  <a:pt x="1" y="107"/>
                </a:cubicBezTo>
                <a:cubicBezTo>
                  <a:pt x="1" y="108"/>
                  <a:pt x="1" y="108"/>
                  <a:pt x="2" y="109"/>
                </a:cubicBezTo>
                <a:cubicBezTo>
                  <a:pt x="1" y="109"/>
                  <a:pt x="1" y="109"/>
                  <a:pt x="0" y="109"/>
                </a:cubicBezTo>
                <a:cubicBezTo>
                  <a:pt x="0" y="109"/>
                  <a:pt x="0" y="109"/>
                  <a:pt x="0" y="108"/>
                </a:cubicBezTo>
                <a:cubicBezTo>
                  <a:pt x="0" y="126"/>
                  <a:pt x="0" y="126"/>
                  <a:pt x="0" y="126"/>
                </a:cubicBezTo>
                <a:cubicBezTo>
                  <a:pt x="0" y="127"/>
                  <a:pt x="0" y="127"/>
                  <a:pt x="0" y="127"/>
                </a:cubicBezTo>
                <a:cubicBezTo>
                  <a:pt x="0" y="127"/>
                  <a:pt x="0" y="127"/>
                  <a:pt x="0" y="127"/>
                </a:cubicBezTo>
                <a:cubicBezTo>
                  <a:pt x="0" y="158"/>
                  <a:pt x="0" y="158"/>
                  <a:pt x="0" y="158"/>
                </a:cubicBezTo>
                <a:cubicBezTo>
                  <a:pt x="0" y="158"/>
                  <a:pt x="0" y="158"/>
                  <a:pt x="0" y="158"/>
                </a:cubicBezTo>
                <a:cubicBezTo>
                  <a:pt x="0" y="159"/>
                  <a:pt x="0" y="159"/>
                  <a:pt x="0" y="159"/>
                </a:cubicBezTo>
                <a:cubicBezTo>
                  <a:pt x="0" y="159"/>
                  <a:pt x="0" y="159"/>
                  <a:pt x="0" y="159"/>
                </a:cubicBezTo>
                <a:cubicBezTo>
                  <a:pt x="0" y="173"/>
                  <a:pt x="0" y="173"/>
                  <a:pt x="0" y="173"/>
                </a:cubicBezTo>
                <a:cubicBezTo>
                  <a:pt x="0" y="173"/>
                  <a:pt x="0" y="173"/>
                  <a:pt x="0" y="173"/>
                </a:cubicBezTo>
                <a:cubicBezTo>
                  <a:pt x="0" y="173"/>
                  <a:pt x="0" y="173"/>
                  <a:pt x="0" y="173"/>
                </a:cubicBezTo>
                <a:cubicBezTo>
                  <a:pt x="0" y="173"/>
                  <a:pt x="0" y="173"/>
                  <a:pt x="0" y="173"/>
                </a:cubicBezTo>
                <a:cubicBezTo>
                  <a:pt x="0" y="220"/>
                  <a:pt x="0" y="220"/>
                  <a:pt x="0" y="220"/>
                </a:cubicBezTo>
                <a:cubicBezTo>
                  <a:pt x="1" y="220"/>
                  <a:pt x="2" y="220"/>
                  <a:pt x="3" y="221"/>
                </a:cubicBezTo>
                <a:cubicBezTo>
                  <a:pt x="3" y="221"/>
                  <a:pt x="3" y="221"/>
                  <a:pt x="3" y="221"/>
                </a:cubicBezTo>
                <a:cubicBezTo>
                  <a:pt x="3" y="221"/>
                  <a:pt x="3" y="221"/>
                  <a:pt x="3" y="221"/>
                </a:cubicBezTo>
                <a:cubicBezTo>
                  <a:pt x="3" y="221"/>
                  <a:pt x="3" y="221"/>
                  <a:pt x="3" y="221"/>
                </a:cubicBezTo>
                <a:cubicBezTo>
                  <a:pt x="2" y="221"/>
                  <a:pt x="1" y="220"/>
                  <a:pt x="0" y="220"/>
                </a:cubicBezTo>
                <a:cubicBezTo>
                  <a:pt x="0" y="220"/>
                  <a:pt x="0" y="220"/>
                  <a:pt x="0" y="220"/>
                </a:cubicBezTo>
                <a:cubicBezTo>
                  <a:pt x="0" y="220"/>
                  <a:pt x="0" y="220"/>
                  <a:pt x="0" y="220"/>
                </a:cubicBezTo>
                <a:cubicBezTo>
                  <a:pt x="0" y="223"/>
                  <a:pt x="0" y="223"/>
                  <a:pt x="0" y="223"/>
                </a:cubicBezTo>
                <a:cubicBezTo>
                  <a:pt x="0" y="223"/>
                  <a:pt x="0" y="223"/>
                  <a:pt x="0" y="223"/>
                </a:cubicBezTo>
                <a:cubicBezTo>
                  <a:pt x="0" y="223"/>
                  <a:pt x="0" y="223"/>
                  <a:pt x="0" y="223"/>
                </a:cubicBezTo>
                <a:cubicBezTo>
                  <a:pt x="0" y="223"/>
                  <a:pt x="0" y="223"/>
                  <a:pt x="0" y="223"/>
                </a:cubicBezTo>
                <a:cubicBezTo>
                  <a:pt x="0" y="229"/>
                  <a:pt x="0" y="229"/>
                  <a:pt x="0" y="229"/>
                </a:cubicBezTo>
                <a:cubicBezTo>
                  <a:pt x="13" y="229"/>
                  <a:pt x="13" y="229"/>
                  <a:pt x="13" y="229"/>
                </a:cubicBezTo>
                <a:cubicBezTo>
                  <a:pt x="18" y="231"/>
                  <a:pt x="23" y="234"/>
                  <a:pt x="28" y="236"/>
                </a:cubicBezTo>
                <a:cubicBezTo>
                  <a:pt x="42" y="243"/>
                  <a:pt x="57" y="249"/>
                  <a:pt x="70" y="256"/>
                </a:cubicBezTo>
                <a:cubicBezTo>
                  <a:pt x="70" y="256"/>
                  <a:pt x="70" y="256"/>
                  <a:pt x="70" y="256"/>
                </a:cubicBezTo>
                <a:cubicBezTo>
                  <a:pt x="72" y="257"/>
                  <a:pt x="73" y="258"/>
                  <a:pt x="76" y="258"/>
                </a:cubicBezTo>
                <a:cubicBezTo>
                  <a:pt x="78" y="259"/>
                  <a:pt x="79" y="260"/>
                  <a:pt x="81" y="261"/>
                </a:cubicBezTo>
                <a:cubicBezTo>
                  <a:pt x="80" y="260"/>
                  <a:pt x="77" y="259"/>
                  <a:pt x="77" y="258"/>
                </a:cubicBezTo>
                <a:cubicBezTo>
                  <a:pt x="76" y="258"/>
                  <a:pt x="75" y="257"/>
                  <a:pt x="75" y="257"/>
                </a:cubicBezTo>
                <a:cubicBezTo>
                  <a:pt x="74" y="256"/>
                  <a:pt x="72" y="256"/>
                  <a:pt x="72" y="255"/>
                </a:cubicBezTo>
                <a:cubicBezTo>
                  <a:pt x="74" y="255"/>
                  <a:pt x="70" y="254"/>
                  <a:pt x="71" y="254"/>
                </a:cubicBezTo>
                <a:cubicBezTo>
                  <a:pt x="72" y="254"/>
                  <a:pt x="73" y="254"/>
                  <a:pt x="73" y="254"/>
                </a:cubicBezTo>
                <a:cubicBezTo>
                  <a:pt x="73" y="254"/>
                  <a:pt x="71" y="253"/>
                  <a:pt x="70" y="253"/>
                </a:cubicBezTo>
                <a:cubicBezTo>
                  <a:pt x="69" y="252"/>
                  <a:pt x="67" y="252"/>
                  <a:pt x="67" y="251"/>
                </a:cubicBezTo>
                <a:cubicBezTo>
                  <a:pt x="68" y="252"/>
                  <a:pt x="70" y="252"/>
                  <a:pt x="71" y="253"/>
                </a:cubicBezTo>
                <a:cubicBezTo>
                  <a:pt x="72" y="253"/>
                  <a:pt x="72" y="253"/>
                  <a:pt x="72" y="253"/>
                </a:cubicBezTo>
                <a:cubicBezTo>
                  <a:pt x="70" y="252"/>
                  <a:pt x="69" y="251"/>
                  <a:pt x="67" y="251"/>
                </a:cubicBezTo>
                <a:cubicBezTo>
                  <a:pt x="66" y="250"/>
                  <a:pt x="65" y="249"/>
                  <a:pt x="63" y="249"/>
                </a:cubicBezTo>
                <a:cubicBezTo>
                  <a:pt x="63" y="248"/>
                  <a:pt x="64" y="248"/>
                  <a:pt x="64" y="248"/>
                </a:cubicBezTo>
                <a:cubicBezTo>
                  <a:pt x="66" y="249"/>
                  <a:pt x="68" y="250"/>
                  <a:pt x="70" y="251"/>
                </a:cubicBezTo>
                <a:cubicBezTo>
                  <a:pt x="74" y="253"/>
                  <a:pt x="79" y="255"/>
                  <a:pt x="84" y="258"/>
                </a:cubicBezTo>
                <a:cubicBezTo>
                  <a:pt x="84" y="258"/>
                  <a:pt x="85" y="258"/>
                  <a:pt x="85" y="258"/>
                </a:cubicBezTo>
                <a:cubicBezTo>
                  <a:pt x="86" y="259"/>
                  <a:pt x="88" y="259"/>
                  <a:pt x="89" y="260"/>
                </a:cubicBezTo>
                <a:cubicBezTo>
                  <a:pt x="90" y="260"/>
                  <a:pt x="91" y="261"/>
                  <a:pt x="93" y="261"/>
                </a:cubicBezTo>
                <a:cubicBezTo>
                  <a:pt x="95" y="262"/>
                  <a:pt x="96" y="263"/>
                  <a:pt x="99" y="264"/>
                </a:cubicBezTo>
                <a:cubicBezTo>
                  <a:pt x="99" y="263"/>
                  <a:pt x="97" y="262"/>
                  <a:pt x="94" y="261"/>
                </a:cubicBezTo>
                <a:cubicBezTo>
                  <a:pt x="90" y="258"/>
                  <a:pt x="86" y="257"/>
                  <a:pt x="82" y="256"/>
                </a:cubicBezTo>
                <a:cubicBezTo>
                  <a:pt x="77" y="254"/>
                  <a:pt x="73" y="252"/>
                  <a:pt x="68" y="250"/>
                </a:cubicBezTo>
                <a:cubicBezTo>
                  <a:pt x="65" y="248"/>
                  <a:pt x="61" y="247"/>
                  <a:pt x="58" y="245"/>
                </a:cubicBezTo>
                <a:cubicBezTo>
                  <a:pt x="56" y="244"/>
                  <a:pt x="54" y="243"/>
                  <a:pt x="52" y="242"/>
                </a:cubicBezTo>
                <a:cubicBezTo>
                  <a:pt x="51" y="241"/>
                  <a:pt x="49" y="240"/>
                  <a:pt x="48" y="240"/>
                </a:cubicBezTo>
                <a:cubicBezTo>
                  <a:pt x="50" y="240"/>
                  <a:pt x="51" y="241"/>
                  <a:pt x="53" y="242"/>
                </a:cubicBezTo>
                <a:cubicBezTo>
                  <a:pt x="53" y="242"/>
                  <a:pt x="54" y="242"/>
                  <a:pt x="55" y="242"/>
                </a:cubicBezTo>
                <a:cubicBezTo>
                  <a:pt x="55" y="242"/>
                  <a:pt x="55" y="242"/>
                  <a:pt x="55" y="242"/>
                </a:cubicBezTo>
                <a:cubicBezTo>
                  <a:pt x="55" y="242"/>
                  <a:pt x="53" y="241"/>
                  <a:pt x="51" y="240"/>
                </a:cubicBezTo>
                <a:cubicBezTo>
                  <a:pt x="51" y="240"/>
                  <a:pt x="50" y="240"/>
                  <a:pt x="50" y="239"/>
                </a:cubicBezTo>
                <a:cubicBezTo>
                  <a:pt x="48" y="239"/>
                  <a:pt x="47" y="238"/>
                  <a:pt x="46" y="237"/>
                </a:cubicBezTo>
                <a:cubicBezTo>
                  <a:pt x="44" y="237"/>
                  <a:pt x="43" y="237"/>
                  <a:pt x="41" y="236"/>
                </a:cubicBezTo>
                <a:cubicBezTo>
                  <a:pt x="41" y="236"/>
                  <a:pt x="41" y="235"/>
                  <a:pt x="41" y="235"/>
                </a:cubicBezTo>
                <a:cubicBezTo>
                  <a:pt x="39" y="234"/>
                  <a:pt x="38" y="233"/>
                  <a:pt x="35" y="233"/>
                </a:cubicBezTo>
                <a:cubicBezTo>
                  <a:pt x="33" y="232"/>
                  <a:pt x="31" y="230"/>
                  <a:pt x="28" y="229"/>
                </a:cubicBezTo>
                <a:cubicBezTo>
                  <a:pt x="28" y="229"/>
                  <a:pt x="28" y="229"/>
                  <a:pt x="28" y="229"/>
                </a:cubicBezTo>
                <a:cubicBezTo>
                  <a:pt x="33" y="229"/>
                  <a:pt x="33" y="229"/>
                  <a:pt x="33" y="229"/>
                </a:cubicBezTo>
                <a:cubicBezTo>
                  <a:pt x="41" y="233"/>
                  <a:pt x="49" y="236"/>
                  <a:pt x="57" y="240"/>
                </a:cubicBezTo>
                <a:cubicBezTo>
                  <a:pt x="58" y="240"/>
                  <a:pt x="59" y="240"/>
                  <a:pt x="60" y="241"/>
                </a:cubicBezTo>
                <a:cubicBezTo>
                  <a:pt x="63" y="242"/>
                  <a:pt x="66" y="244"/>
                  <a:pt x="69" y="245"/>
                </a:cubicBezTo>
                <a:cubicBezTo>
                  <a:pt x="70" y="246"/>
                  <a:pt x="71" y="246"/>
                  <a:pt x="71" y="246"/>
                </a:cubicBezTo>
                <a:cubicBezTo>
                  <a:pt x="72" y="246"/>
                  <a:pt x="73" y="246"/>
                  <a:pt x="74" y="246"/>
                </a:cubicBezTo>
                <a:cubicBezTo>
                  <a:pt x="87" y="252"/>
                  <a:pt x="98" y="259"/>
                  <a:pt x="112" y="265"/>
                </a:cubicBezTo>
                <a:cubicBezTo>
                  <a:pt x="112" y="266"/>
                  <a:pt x="114" y="267"/>
                  <a:pt x="116" y="268"/>
                </a:cubicBezTo>
                <a:cubicBezTo>
                  <a:pt x="117" y="268"/>
                  <a:pt x="117" y="269"/>
                  <a:pt x="121" y="269"/>
                </a:cubicBezTo>
                <a:cubicBezTo>
                  <a:pt x="122" y="269"/>
                  <a:pt x="124" y="270"/>
                  <a:pt x="125" y="271"/>
                </a:cubicBezTo>
                <a:cubicBezTo>
                  <a:pt x="130" y="273"/>
                  <a:pt x="133" y="275"/>
                  <a:pt x="139" y="277"/>
                </a:cubicBezTo>
                <a:cubicBezTo>
                  <a:pt x="137" y="276"/>
                  <a:pt x="133" y="274"/>
                  <a:pt x="133" y="273"/>
                </a:cubicBezTo>
                <a:cubicBezTo>
                  <a:pt x="143" y="277"/>
                  <a:pt x="152" y="281"/>
                  <a:pt x="160" y="286"/>
                </a:cubicBezTo>
                <a:cubicBezTo>
                  <a:pt x="162" y="287"/>
                  <a:pt x="164" y="288"/>
                  <a:pt x="168" y="289"/>
                </a:cubicBezTo>
                <a:cubicBezTo>
                  <a:pt x="168" y="289"/>
                  <a:pt x="169" y="290"/>
                  <a:pt x="169" y="290"/>
                </a:cubicBezTo>
                <a:cubicBezTo>
                  <a:pt x="171" y="291"/>
                  <a:pt x="176" y="293"/>
                  <a:pt x="178" y="295"/>
                </a:cubicBezTo>
                <a:cubicBezTo>
                  <a:pt x="179" y="295"/>
                  <a:pt x="179" y="295"/>
                  <a:pt x="179" y="295"/>
                </a:cubicBezTo>
                <a:cubicBezTo>
                  <a:pt x="179" y="295"/>
                  <a:pt x="179" y="295"/>
                  <a:pt x="179" y="295"/>
                </a:cubicBezTo>
                <a:cubicBezTo>
                  <a:pt x="179" y="295"/>
                  <a:pt x="179" y="295"/>
                  <a:pt x="178" y="295"/>
                </a:cubicBezTo>
                <a:cubicBezTo>
                  <a:pt x="181" y="297"/>
                  <a:pt x="186" y="299"/>
                  <a:pt x="190" y="301"/>
                </a:cubicBezTo>
                <a:cubicBezTo>
                  <a:pt x="195" y="303"/>
                  <a:pt x="200" y="306"/>
                  <a:pt x="202" y="308"/>
                </a:cubicBezTo>
                <a:cubicBezTo>
                  <a:pt x="203" y="309"/>
                  <a:pt x="204" y="309"/>
                  <a:pt x="204" y="309"/>
                </a:cubicBezTo>
                <a:cubicBezTo>
                  <a:pt x="208" y="311"/>
                  <a:pt x="214" y="314"/>
                  <a:pt x="218" y="316"/>
                </a:cubicBezTo>
                <a:cubicBezTo>
                  <a:pt x="219" y="317"/>
                  <a:pt x="221" y="318"/>
                  <a:pt x="224" y="318"/>
                </a:cubicBezTo>
                <a:cubicBezTo>
                  <a:pt x="225" y="318"/>
                  <a:pt x="226" y="319"/>
                  <a:pt x="228" y="320"/>
                </a:cubicBezTo>
                <a:cubicBezTo>
                  <a:pt x="228" y="320"/>
                  <a:pt x="229" y="320"/>
                  <a:pt x="229" y="320"/>
                </a:cubicBezTo>
                <a:cubicBezTo>
                  <a:pt x="229" y="320"/>
                  <a:pt x="229" y="320"/>
                  <a:pt x="229" y="320"/>
                </a:cubicBezTo>
                <a:cubicBezTo>
                  <a:pt x="226" y="317"/>
                  <a:pt x="221" y="315"/>
                  <a:pt x="216" y="313"/>
                </a:cubicBezTo>
                <a:cubicBezTo>
                  <a:pt x="214" y="312"/>
                  <a:pt x="211" y="311"/>
                  <a:pt x="211" y="310"/>
                </a:cubicBezTo>
                <a:cubicBezTo>
                  <a:pt x="204" y="309"/>
                  <a:pt x="209" y="308"/>
                  <a:pt x="204" y="306"/>
                </a:cubicBezTo>
                <a:cubicBezTo>
                  <a:pt x="204" y="306"/>
                  <a:pt x="204" y="306"/>
                  <a:pt x="204" y="306"/>
                </a:cubicBezTo>
                <a:cubicBezTo>
                  <a:pt x="203" y="305"/>
                  <a:pt x="203" y="304"/>
                  <a:pt x="200" y="303"/>
                </a:cubicBezTo>
                <a:cubicBezTo>
                  <a:pt x="197" y="302"/>
                  <a:pt x="193" y="300"/>
                  <a:pt x="191" y="299"/>
                </a:cubicBezTo>
                <a:cubicBezTo>
                  <a:pt x="189" y="297"/>
                  <a:pt x="188" y="298"/>
                  <a:pt x="186" y="298"/>
                </a:cubicBezTo>
                <a:cubicBezTo>
                  <a:pt x="186" y="297"/>
                  <a:pt x="188" y="297"/>
                  <a:pt x="185" y="296"/>
                </a:cubicBezTo>
                <a:cubicBezTo>
                  <a:pt x="185" y="295"/>
                  <a:pt x="181" y="294"/>
                  <a:pt x="181" y="293"/>
                </a:cubicBezTo>
                <a:cubicBezTo>
                  <a:pt x="181" y="293"/>
                  <a:pt x="182" y="293"/>
                  <a:pt x="182" y="293"/>
                </a:cubicBezTo>
                <a:cubicBezTo>
                  <a:pt x="184" y="293"/>
                  <a:pt x="183" y="293"/>
                  <a:pt x="183" y="292"/>
                </a:cubicBezTo>
                <a:cubicBezTo>
                  <a:pt x="187" y="293"/>
                  <a:pt x="190" y="295"/>
                  <a:pt x="190" y="295"/>
                </a:cubicBezTo>
                <a:cubicBezTo>
                  <a:pt x="190" y="297"/>
                  <a:pt x="192" y="297"/>
                  <a:pt x="196" y="298"/>
                </a:cubicBezTo>
                <a:cubicBezTo>
                  <a:pt x="198" y="299"/>
                  <a:pt x="200" y="300"/>
                  <a:pt x="201" y="301"/>
                </a:cubicBezTo>
                <a:cubicBezTo>
                  <a:pt x="202" y="301"/>
                  <a:pt x="204" y="302"/>
                  <a:pt x="206" y="302"/>
                </a:cubicBezTo>
                <a:cubicBezTo>
                  <a:pt x="206" y="303"/>
                  <a:pt x="206" y="303"/>
                  <a:pt x="207" y="303"/>
                </a:cubicBezTo>
                <a:cubicBezTo>
                  <a:pt x="210" y="304"/>
                  <a:pt x="214" y="306"/>
                  <a:pt x="218" y="308"/>
                </a:cubicBezTo>
                <a:cubicBezTo>
                  <a:pt x="218" y="308"/>
                  <a:pt x="218" y="308"/>
                  <a:pt x="218" y="308"/>
                </a:cubicBezTo>
                <a:cubicBezTo>
                  <a:pt x="218" y="308"/>
                  <a:pt x="218" y="308"/>
                  <a:pt x="218" y="308"/>
                </a:cubicBezTo>
                <a:cubicBezTo>
                  <a:pt x="218" y="308"/>
                  <a:pt x="218" y="308"/>
                  <a:pt x="218" y="308"/>
                </a:cubicBezTo>
                <a:cubicBezTo>
                  <a:pt x="220" y="309"/>
                  <a:pt x="223" y="310"/>
                  <a:pt x="225" y="311"/>
                </a:cubicBezTo>
                <a:cubicBezTo>
                  <a:pt x="229" y="312"/>
                  <a:pt x="232" y="314"/>
                  <a:pt x="236" y="316"/>
                </a:cubicBezTo>
                <a:cubicBezTo>
                  <a:pt x="235" y="314"/>
                  <a:pt x="225" y="311"/>
                  <a:pt x="227" y="310"/>
                </a:cubicBezTo>
                <a:cubicBezTo>
                  <a:pt x="228" y="310"/>
                  <a:pt x="228" y="309"/>
                  <a:pt x="228" y="309"/>
                </a:cubicBezTo>
                <a:cubicBezTo>
                  <a:pt x="228" y="309"/>
                  <a:pt x="228" y="308"/>
                  <a:pt x="227" y="308"/>
                </a:cubicBezTo>
                <a:cubicBezTo>
                  <a:pt x="225" y="308"/>
                  <a:pt x="223" y="307"/>
                  <a:pt x="220" y="306"/>
                </a:cubicBezTo>
                <a:cubicBezTo>
                  <a:pt x="220" y="306"/>
                  <a:pt x="219" y="305"/>
                  <a:pt x="218" y="305"/>
                </a:cubicBezTo>
                <a:cubicBezTo>
                  <a:pt x="217" y="305"/>
                  <a:pt x="216" y="304"/>
                  <a:pt x="216" y="304"/>
                </a:cubicBezTo>
                <a:cubicBezTo>
                  <a:pt x="210" y="301"/>
                  <a:pt x="206" y="298"/>
                  <a:pt x="202" y="296"/>
                </a:cubicBezTo>
                <a:cubicBezTo>
                  <a:pt x="204" y="296"/>
                  <a:pt x="206" y="297"/>
                  <a:pt x="208" y="298"/>
                </a:cubicBezTo>
                <a:cubicBezTo>
                  <a:pt x="208" y="297"/>
                  <a:pt x="204" y="296"/>
                  <a:pt x="203" y="295"/>
                </a:cubicBezTo>
                <a:cubicBezTo>
                  <a:pt x="203" y="295"/>
                  <a:pt x="203" y="295"/>
                  <a:pt x="204" y="295"/>
                </a:cubicBezTo>
                <a:cubicBezTo>
                  <a:pt x="204" y="295"/>
                  <a:pt x="204" y="295"/>
                  <a:pt x="204" y="295"/>
                </a:cubicBezTo>
                <a:cubicBezTo>
                  <a:pt x="204" y="295"/>
                  <a:pt x="204" y="294"/>
                  <a:pt x="205" y="295"/>
                </a:cubicBezTo>
                <a:cubicBezTo>
                  <a:pt x="208" y="296"/>
                  <a:pt x="209" y="296"/>
                  <a:pt x="210" y="296"/>
                </a:cubicBezTo>
                <a:cubicBezTo>
                  <a:pt x="211" y="295"/>
                  <a:pt x="209" y="295"/>
                  <a:pt x="208" y="294"/>
                </a:cubicBezTo>
                <a:cubicBezTo>
                  <a:pt x="205" y="293"/>
                  <a:pt x="202" y="292"/>
                  <a:pt x="201" y="291"/>
                </a:cubicBezTo>
                <a:cubicBezTo>
                  <a:pt x="199" y="289"/>
                  <a:pt x="197" y="289"/>
                  <a:pt x="195" y="289"/>
                </a:cubicBezTo>
                <a:cubicBezTo>
                  <a:pt x="193" y="288"/>
                  <a:pt x="191" y="287"/>
                  <a:pt x="187" y="285"/>
                </a:cubicBezTo>
                <a:cubicBezTo>
                  <a:pt x="189" y="287"/>
                  <a:pt x="191" y="288"/>
                  <a:pt x="195" y="289"/>
                </a:cubicBezTo>
                <a:cubicBezTo>
                  <a:pt x="197" y="290"/>
                  <a:pt x="199" y="291"/>
                  <a:pt x="201" y="292"/>
                </a:cubicBezTo>
                <a:cubicBezTo>
                  <a:pt x="203" y="293"/>
                  <a:pt x="203" y="294"/>
                  <a:pt x="201" y="294"/>
                </a:cubicBezTo>
                <a:cubicBezTo>
                  <a:pt x="199" y="293"/>
                  <a:pt x="196" y="291"/>
                  <a:pt x="195" y="293"/>
                </a:cubicBezTo>
                <a:cubicBezTo>
                  <a:pt x="195" y="292"/>
                  <a:pt x="194" y="292"/>
                  <a:pt x="193" y="292"/>
                </a:cubicBezTo>
                <a:cubicBezTo>
                  <a:pt x="193" y="291"/>
                  <a:pt x="191" y="290"/>
                  <a:pt x="189" y="290"/>
                </a:cubicBezTo>
                <a:cubicBezTo>
                  <a:pt x="184" y="287"/>
                  <a:pt x="178" y="284"/>
                  <a:pt x="172" y="281"/>
                </a:cubicBezTo>
                <a:cubicBezTo>
                  <a:pt x="169" y="279"/>
                  <a:pt x="167" y="277"/>
                  <a:pt x="162" y="275"/>
                </a:cubicBezTo>
                <a:cubicBezTo>
                  <a:pt x="160" y="273"/>
                  <a:pt x="154" y="271"/>
                  <a:pt x="152" y="269"/>
                </a:cubicBezTo>
                <a:cubicBezTo>
                  <a:pt x="151" y="269"/>
                  <a:pt x="149" y="268"/>
                  <a:pt x="148" y="267"/>
                </a:cubicBezTo>
                <a:cubicBezTo>
                  <a:pt x="147" y="266"/>
                  <a:pt x="146" y="266"/>
                  <a:pt x="146" y="265"/>
                </a:cubicBezTo>
                <a:cubicBezTo>
                  <a:pt x="145" y="265"/>
                  <a:pt x="145" y="264"/>
                  <a:pt x="144" y="264"/>
                </a:cubicBezTo>
                <a:cubicBezTo>
                  <a:pt x="146" y="265"/>
                  <a:pt x="148" y="266"/>
                  <a:pt x="150" y="267"/>
                </a:cubicBezTo>
                <a:cubicBezTo>
                  <a:pt x="152" y="267"/>
                  <a:pt x="152" y="268"/>
                  <a:pt x="154" y="268"/>
                </a:cubicBezTo>
                <a:cubicBezTo>
                  <a:pt x="155" y="269"/>
                  <a:pt x="157" y="269"/>
                  <a:pt x="158" y="270"/>
                </a:cubicBezTo>
                <a:cubicBezTo>
                  <a:pt x="158" y="269"/>
                  <a:pt x="158" y="269"/>
                  <a:pt x="159" y="269"/>
                </a:cubicBezTo>
                <a:cubicBezTo>
                  <a:pt x="162" y="270"/>
                  <a:pt x="164" y="272"/>
                  <a:pt x="168" y="273"/>
                </a:cubicBezTo>
                <a:cubicBezTo>
                  <a:pt x="170" y="274"/>
                  <a:pt x="172" y="275"/>
                  <a:pt x="173" y="276"/>
                </a:cubicBezTo>
                <a:cubicBezTo>
                  <a:pt x="173" y="276"/>
                  <a:pt x="172" y="276"/>
                  <a:pt x="173" y="277"/>
                </a:cubicBezTo>
                <a:cubicBezTo>
                  <a:pt x="175" y="277"/>
                  <a:pt x="175" y="277"/>
                  <a:pt x="176" y="277"/>
                </a:cubicBezTo>
                <a:cubicBezTo>
                  <a:pt x="177" y="277"/>
                  <a:pt x="178" y="278"/>
                  <a:pt x="180" y="279"/>
                </a:cubicBezTo>
                <a:cubicBezTo>
                  <a:pt x="180" y="279"/>
                  <a:pt x="180" y="279"/>
                  <a:pt x="180" y="279"/>
                </a:cubicBezTo>
                <a:cubicBezTo>
                  <a:pt x="186" y="283"/>
                  <a:pt x="196" y="287"/>
                  <a:pt x="204" y="291"/>
                </a:cubicBezTo>
                <a:cubicBezTo>
                  <a:pt x="208" y="293"/>
                  <a:pt x="212" y="296"/>
                  <a:pt x="216" y="298"/>
                </a:cubicBezTo>
                <a:cubicBezTo>
                  <a:pt x="218" y="299"/>
                  <a:pt x="221" y="301"/>
                  <a:pt x="224" y="302"/>
                </a:cubicBezTo>
                <a:cubicBezTo>
                  <a:pt x="225" y="303"/>
                  <a:pt x="225" y="304"/>
                  <a:pt x="228" y="304"/>
                </a:cubicBezTo>
                <a:cubicBezTo>
                  <a:pt x="233" y="305"/>
                  <a:pt x="230" y="303"/>
                  <a:pt x="230" y="303"/>
                </a:cubicBezTo>
                <a:cubicBezTo>
                  <a:pt x="231" y="303"/>
                  <a:pt x="232" y="304"/>
                  <a:pt x="234" y="304"/>
                </a:cubicBezTo>
                <a:cubicBezTo>
                  <a:pt x="232" y="303"/>
                  <a:pt x="229" y="301"/>
                  <a:pt x="226" y="299"/>
                </a:cubicBezTo>
                <a:cubicBezTo>
                  <a:pt x="227" y="299"/>
                  <a:pt x="228" y="299"/>
                  <a:pt x="226" y="298"/>
                </a:cubicBezTo>
                <a:cubicBezTo>
                  <a:pt x="223" y="297"/>
                  <a:pt x="221" y="296"/>
                  <a:pt x="217" y="294"/>
                </a:cubicBezTo>
                <a:cubicBezTo>
                  <a:pt x="217" y="294"/>
                  <a:pt x="217" y="294"/>
                  <a:pt x="217" y="294"/>
                </a:cubicBezTo>
                <a:cubicBezTo>
                  <a:pt x="217" y="294"/>
                  <a:pt x="217" y="294"/>
                  <a:pt x="217" y="294"/>
                </a:cubicBezTo>
                <a:cubicBezTo>
                  <a:pt x="217" y="294"/>
                  <a:pt x="217" y="294"/>
                  <a:pt x="217" y="294"/>
                </a:cubicBezTo>
                <a:cubicBezTo>
                  <a:pt x="217" y="294"/>
                  <a:pt x="220" y="294"/>
                  <a:pt x="215" y="293"/>
                </a:cubicBezTo>
                <a:cubicBezTo>
                  <a:pt x="214" y="292"/>
                  <a:pt x="212" y="291"/>
                  <a:pt x="214" y="291"/>
                </a:cubicBezTo>
                <a:cubicBezTo>
                  <a:pt x="214" y="291"/>
                  <a:pt x="214" y="291"/>
                  <a:pt x="214" y="291"/>
                </a:cubicBezTo>
                <a:cubicBezTo>
                  <a:pt x="214" y="291"/>
                  <a:pt x="214" y="291"/>
                  <a:pt x="214" y="291"/>
                </a:cubicBezTo>
                <a:cubicBezTo>
                  <a:pt x="214" y="291"/>
                  <a:pt x="214" y="291"/>
                  <a:pt x="214" y="291"/>
                </a:cubicBezTo>
                <a:cubicBezTo>
                  <a:pt x="219" y="293"/>
                  <a:pt x="223" y="296"/>
                  <a:pt x="230" y="298"/>
                </a:cubicBezTo>
                <a:cubicBezTo>
                  <a:pt x="231" y="299"/>
                  <a:pt x="232" y="299"/>
                  <a:pt x="233" y="300"/>
                </a:cubicBezTo>
                <a:cubicBezTo>
                  <a:pt x="236" y="300"/>
                  <a:pt x="232" y="299"/>
                  <a:pt x="232" y="299"/>
                </a:cubicBezTo>
                <a:cubicBezTo>
                  <a:pt x="233" y="299"/>
                  <a:pt x="234" y="298"/>
                  <a:pt x="235" y="298"/>
                </a:cubicBezTo>
                <a:cubicBezTo>
                  <a:pt x="239" y="300"/>
                  <a:pt x="241" y="301"/>
                  <a:pt x="244" y="303"/>
                </a:cubicBezTo>
                <a:cubicBezTo>
                  <a:pt x="246" y="304"/>
                  <a:pt x="248" y="305"/>
                  <a:pt x="250" y="305"/>
                </a:cubicBezTo>
                <a:cubicBezTo>
                  <a:pt x="253" y="306"/>
                  <a:pt x="247" y="304"/>
                  <a:pt x="246" y="303"/>
                </a:cubicBezTo>
                <a:cubicBezTo>
                  <a:pt x="246" y="303"/>
                  <a:pt x="246" y="303"/>
                  <a:pt x="246" y="302"/>
                </a:cubicBezTo>
                <a:cubicBezTo>
                  <a:pt x="246" y="302"/>
                  <a:pt x="246" y="302"/>
                  <a:pt x="246" y="302"/>
                </a:cubicBezTo>
                <a:cubicBezTo>
                  <a:pt x="247" y="302"/>
                  <a:pt x="247" y="302"/>
                  <a:pt x="248" y="302"/>
                </a:cubicBezTo>
                <a:cubicBezTo>
                  <a:pt x="245" y="301"/>
                  <a:pt x="240" y="299"/>
                  <a:pt x="238" y="298"/>
                </a:cubicBezTo>
                <a:cubicBezTo>
                  <a:pt x="237" y="297"/>
                  <a:pt x="237" y="297"/>
                  <a:pt x="236" y="296"/>
                </a:cubicBezTo>
                <a:cubicBezTo>
                  <a:pt x="236" y="296"/>
                  <a:pt x="237" y="296"/>
                  <a:pt x="238" y="296"/>
                </a:cubicBezTo>
                <a:cubicBezTo>
                  <a:pt x="238" y="296"/>
                  <a:pt x="238" y="296"/>
                  <a:pt x="237" y="295"/>
                </a:cubicBezTo>
                <a:cubicBezTo>
                  <a:pt x="231" y="292"/>
                  <a:pt x="231" y="292"/>
                  <a:pt x="237" y="292"/>
                </a:cubicBezTo>
                <a:cubicBezTo>
                  <a:pt x="239" y="292"/>
                  <a:pt x="239" y="293"/>
                  <a:pt x="242" y="293"/>
                </a:cubicBezTo>
                <a:cubicBezTo>
                  <a:pt x="244" y="293"/>
                  <a:pt x="241" y="292"/>
                  <a:pt x="240" y="292"/>
                </a:cubicBezTo>
                <a:cubicBezTo>
                  <a:pt x="239" y="291"/>
                  <a:pt x="239" y="290"/>
                  <a:pt x="241" y="291"/>
                </a:cubicBezTo>
                <a:cubicBezTo>
                  <a:pt x="247" y="293"/>
                  <a:pt x="253" y="294"/>
                  <a:pt x="258" y="297"/>
                </a:cubicBezTo>
                <a:cubicBezTo>
                  <a:pt x="258" y="297"/>
                  <a:pt x="259" y="297"/>
                  <a:pt x="258" y="297"/>
                </a:cubicBezTo>
                <a:cubicBezTo>
                  <a:pt x="258" y="297"/>
                  <a:pt x="256" y="296"/>
                  <a:pt x="255" y="297"/>
                </a:cubicBezTo>
                <a:cubicBezTo>
                  <a:pt x="260" y="300"/>
                  <a:pt x="270" y="302"/>
                  <a:pt x="275" y="305"/>
                </a:cubicBezTo>
                <a:cubicBezTo>
                  <a:pt x="277" y="307"/>
                  <a:pt x="280" y="308"/>
                  <a:pt x="284" y="310"/>
                </a:cubicBezTo>
                <a:cubicBezTo>
                  <a:pt x="285" y="311"/>
                  <a:pt x="286" y="311"/>
                  <a:pt x="288" y="311"/>
                </a:cubicBezTo>
                <a:cubicBezTo>
                  <a:pt x="290" y="311"/>
                  <a:pt x="289" y="310"/>
                  <a:pt x="287" y="310"/>
                </a:cubicBezTo>
                <a:cubicBezTo>
                  <a:pt x="283" y="308"/>
                  <a:pt x="287" y="309"/>
                  <a:pt x="287" y="308"/>
                </a:cubicBezTo>
                <a:cubicBezTo>
                  <a:pt x="288" y="308"/>
                  <a:pt x="289" y="308"/>
                  <a:pt x="289" y="309"/>
                </a:cubicBezTo>
                <a:cubicBezTo>
                  <a:pt x="287" y="308"/>
                  <a:pt x="287" y="306"/>
                  <a:pt x="282" y="306"/>
                </a:cubicBezTo>
                <a:cubicBezTo>
                  <a:pt x="281" y="306"/>
                  <a:pt x="283" y="307"/>
                  <a:pt x="283" y="307"/>
                </a:cubicBezTo>
                <a:cubicBezTo>
                  <a:pt x="280" y="307"/>
                  <a:pt x="280" y="306"/>
                  <a:pt x="278" y="305"/>
                </a:cubicBezTo>
                <a:cubicBezTo>
                  <a:pt x="273" y="303"/>
                  <a:pt x="273" y="302"/>
                  <a:pt x="268" y="300"/>
                </a:cubicBezTo>
                <a:cubicBezTo>
                  <a:pt x="266" y="299"/>
                  <a:pt x="264" y="298"/>
                  <a:pt x="262" y="297"/>
                </a:cubicBezTo>
                <a:cubicBezTo>
                  <a:pt x="262" y="296"/>
                  <a:pt x="263" y="296"/>
                  <a:pt x="262" y="295"/>
                </a:cubicBezTo>
                <a:cubicBezTo>
                  <a:pt x="260" y="294"/>
                  <a:pt x="258" y="293"/>
                  <a:pt x="256" y="292"/>
                </a:cubicBezTo>
                <a:cubicBezTo>
                  <a:pt x="256" y="292"/>
                  <a:pt x="255" y="292"/>
                  <a:pt x="255" y="292"/>
                </a:cubicBezTo>
                <a:cubicBezTo>
                  <a:pt x="257" y="293"/>
                  <a:pt x="259" y="294"/>
                  <a:pt x="261" y="295"/>
                </a:cubicBezTo>
                <a:cubicBezTo>
                  <a:pt x="256" y="294"/>
                  <a:pt x="255" y="293"/>
                  <a:pt x="252" y="292"/>
                </a:cubicBezTo>
                <a:cubicBezTo>
                  <a:pt x="251" y="290"/>
                  <a:pt x="245" y="288"/>
                  <a:pt x="242" y="287"/>
                </a:cubicBezTo>
                <a:cubicBezTo>
                  <a:pt x="242" y="286"/>
                  <a:pt x="241" y="286"/>
                  <a:pt x="240" y="286"/>
                </a:cubicBezTo>
                <a:cubicBezTo>
                  <a:pt x="240" y="286"/>
                  <a:pt x="240" y="286"/>
                  <a:pt x="240" y="286"/>
                </a:cubicBezTo>
                <a:cubicBezTo>
                  <a:pt x="240" y="286"/>
                  <a:pt x="240" y="286"/>
                  <a:pt x="240" y="286"/>
                </a:cubicBezTo>
                <a:cubicBezTo>
                  <a:pt x="240" y="286"/>
                  <a:pt x="240" y="286"/>
                  <a:pt x="240" y="286"/>
                </a:cubicBezTo>
                <a:cubicBezTo>
                  <a:pt x="236" y="285"/>
                  <a:pt x="234" y="283"/>
                  <a:pt x="229" y="281"/>
                </a:cubicBezTo>
                <a:cubicBezTo>
                  <a:pt x="229" y="281"/>
                  <a:pt x="229" y="281"/>
                  <a:pt x="229" y="281"/>
                </a:cubicBezTo>
                <a:cubicBezTo>
                  <a:pt x="229" y="281"/>
                  <a:pt x="229" y="281"/>
                  <a:pt x="229" y="281"/>
                </a:cubicBezTo>
                <a:cubicBezTo>
                  <a:pt x="228" y="280"/>
                  <a:pt x="226" y="279"/>
                  <a:pt x="224" y="279"/>
                </a:cubicBezTo>
                <a:cubicBezTo>
                  <a:pt x="223" y="277"/>
                  <a:pt x="220" y="276"/>
                  <a:pt x="217" y="275"/>
                </a:cubicBezTo>
                <a:cubicBezTo>
                  <a:pt x="215" y="274"/>
                  <a:pt x="214" y="273"/>
                  <a:pt x="212" y="273"/>
                </a:cubicBezTo>
                <a:cubicBezTo>
                  <a:pt x="212" y="272"/>
                  <a:pt x="212" y="272"/>
                  <a:pt x="212" y="272"/>
                </a:cubicBezTo>
                <a:cubicBezTo>
                  <a:pt x="210" y="271"/>
                  <a:pt x="207" y="270"/>
                  <a:pt x="208" y="269"/>
                </a:cubicBezTo>
                <a:cubicBezTo>
                  <a:pt x="214" y="271"/>
                  <a:pt x="218" y="274"/>
                  <a:pt x="225" y="276"/>
                </a:cubicBezTo>
                <a:cubicBezTo>
                  <a:pt x="236" y="282"/>
                  <a:pt x="246" y="287"/>
                  <a:pt x="257" y="292"/>
                </a:cubicBezTo>
                <a:cubicBezTo>
                  <a:pt x="258" y="292"/>
                  <a:pt x="260" y="293"/>
                  <a:pt x="261" y="293"/>
                </a:cubicBezTo>
                <a:cubicBezTo>
                  <a:pt x="262" y="294"/>
                  <a:pt x="262" y="294"/>
                  <a:pt x="263" y="294"/>
                </a:cubicBezTo>
                <a:cubicBezTo>
                  <a:pt x="269" y="297"/>
                  <a:pt x="274" y="300"/>
                  <a:pt x="280" y="302"/>
                </a:cubicBezTo>
                <a:cubicBezTo>
                  <a:pt x="286" y="305"/>
                  <a:pt x="293" y="308"/>
                  <a:pt x="297" y="311"/>
                </a:cubicBezTo>
                <a:cubicBezTo>
                  <a:pt x="298" y="312"/>
                  <a:pt x="301" y="313"/>
                  <a:pt x="303" y="315"/>
                </a:cubicBezTo>
                <a:cubicBezTo>
                  <a:pt x="302" y="314"/>
                  <a:pt x="301" y="314"/>
                  <a:pt x="300" y="314"/>
                </a:cubicBezTo>
                <a:cubicBezTo>
                  <a:pt x="301" y="315"/>
                  <a:pt x="302" y="315"/>
                  <a:pt x="304" y="316"/>
                </a:cubicBezTo>
                <a:cubicBezTo>
                  <a:pt x="305" y="316"/>
                  <a:pt x="304" y="315"/>
                  <a:pt x="304" y="315"/>
                </a:cubicBezTo>
                <a:cubicBezTo>
                  <a:pt x="305" y="315"/>
                  <a:pt x="306" y="316"/>
                  <a:pt x="309" y="316"/>
                </a:cubicBezTo>
                <a:cubicBezTo>
                  <a:pt x="304" y="314"/>
                  <a:pt x="303" y="313"/>
                  <a:pt x="299" y="311"/>
                </a:cubicBezTo>
                <a:cubicBezTo>
                  <a:pt x="297" y="310"/>
                  <a:pt x="296" y="309"/>
                  <a:pt x="294" y="308"/>
                </a:cubicBezTo>
                <a:cubicBezTo>
                  <a:pt x="290" y="306"/>
                  <a:pt x="284" y="303"/>
                  <a:pt x="280" y="300"/>
                </a:cubicBezTo>
                <a:cubicBezTo>
                  <a:pt x="281" y="300"/>
                  <a:pt x="280" y="300"/>
                  <a:pt x="280" y="299"/>
                </a:cubicBezTo>
                <a:cubicBezTo>
                  <a:pt x="279" y="299"/>
                  <a:pt x="279" y="298"/>
                  <a:pt x="280" y="298"/>
                </a:cubicBezTo>
                <a:cubicBezTo>
                  <a:pt x="282" y="298"/>
                  <a:pt x="284" y="299"/>
                  <a:pt x="285" y="300"/>
                </a:cubicBezTo>
                <a:cubicBezTo>
                  <a:pt x="288" y="301"/>
                  <a:pt x="292" y="302"/>
                  <a:pt x="296" y="303"/>
                </a:cubicBezTo>
                <a:cubicBezTo>
                  <a:pt x="300" y="305"/>
                  <a:pt x="302" y="304"/>
                  <a:pt x="304" y="304"/>
                </a:cubicBezTo>
                <a:cubicBezTo>
                  <a:pt x="304" y="304"/>
                  <a:pt x="306" y="304"/>
                  <a:pt x="307" y="304"/>
                </a:cubicBezTo>
                <a:cubicBezTo>
                  <a:pt x="308" y="305"/>
                  <a:pt x="308" y="305"/>
                  <a:pt x="306" y="305"/>
                </a:cubicBezTo>
                <a:cubicBezTo>
                  <a:pt x="303" y="305"/>
                  <a:pt x="304" y="306"/>
                  <a:pt x="302" y="306"/>
                </a:cubicBezTo>
                <a:cubicBezTo>
                  <a:pt x="306" y="307"/>
                  <a:pt x="310" y="308"/>
                  <a:pt x="314" y="310"/>
                </a:cubicBezTo>
                <a:cubicBezTo>
                  <a:pt x="313" y="309"/>
                  <a:pt x="312" y="308"/>
                  <a:pt x="312" y="307"/>
                </a:cubicBezTo>
                <a:cubicBezTo>
                  <a:pt x="314" y="308"/>
                  <a:pt x="319" y="309"/>
                  <a:pt x="318" y="307"/>
                </a:cubicBezTo>
                <a:cubicBezTo>
                  <a:pt x="317" y="305"/>
                  <a:pt x="317" y="305"/>
                  <a:pt x="321" y="305"/>
                </a:cubicBezTo>
                <a:cubicBezTo>
                  <a:pt x="317" y="304"/>
                  <a:pt x="314" y="302"/>
                  <a:pt x="310" y="302"/>
                </a:cubicBezTo>
                <a:cubicBezTo>
                  <a:pt x="310" y="302"/>
                  <a:pt x="309" y="302"/>
                  <a:pt x="309" y="302"/>
                </a:cubicBezTo>
                <a:cubicBezTo>
                  <a:pt x="309" y="301"/>
                  <a:pt x="309" y="301"/>
                  <a:pt x="310" y="301"/>
                </a:cubicBezTo>
                <a:cubicBezTo>
                  <a:pt x="312" y="301"/>
                  <a:pt x="310" y="300"/>
                  <a:pt x="309" y="300"/>
                </a:cubicBezTo>
                <a:cubicBezTo>
                  <a:pt x="308" y="300"/>
                  <a:pt x="308" y="300"/>
                  <a:pt x="308" y="299"/>
                </a:cubicBezTo>
                <a:cubicBezTo>
                  <a:pt x="308" y="299"/>
                  <a:pt x="308" y="299"/>
                  <a:pt x="306" y="298"/>
                </a:cubicBezTo>
                <a:cubicBezTo>
                  <a:pt x="304" y="297"/>
                  <a:pt x="304" y="297"/>
                  <a:pt x="306" y="297"/>
                </a:cubicBezTo>
                <a:cubicBezTo>
                  <a:pt x="307" y="297"/>
                  <a:pt x="304" y="296"/>
                  <a:pt x="305" y="295"/>
                </a:cubicBezTo>
                <a:cubicBezTo>
                  <a:pt x="306" y="296"/>
                  <a:pt x="307" y="297"/>
                  <a:pt x="308" y="297"/>
                </a:cubicBezTo>
                <a:cubicBezTo>
                  <a:pt x="310" y="299"/>
                  <a:pt x="314" y="300"/>
                  <a:pt x="317" y="302"/>
                </a:cubicBezTo>
                <a:cubicBezTo>
                  <a:pt x="318" y="303"/>
                  <a:pt x="320" y="304"/>
                  <a:pt x="322" y="305"/>
                </a:cubicBezTo>
                <a:cubicBezTo>
                  <a:pt x="323" y="305"/>
                  <a:pt x="324" y="306"/>
                  <a:pt x="325" y="306"/>
                </a:cubicBezTo>
                <a:cubicBezTo>
                  <a:pt x="326" y="306"/>
                  <a:pt x="327" y="307"/>
                  <a:pt x="327" y="307"/>
                </a:cubicBezTo>
                <a:cubicBezTo>
                  <a:pt x="327" y="307"/>
                  <a:pt x="328" y="308"/>
                  <a:pt x="329" y="308"/>
                </a:cubicBezTo>
                <a:cubicBezTo>
                  <a:pt x="330" y="308"/>
                  <a:pt x="331" y="309"/>
                  <a:pt x="332" y="309"/>
                </a:cubicBezTo>
                <a:cubicBezTo>
                  <a:pt x="332" y="308"/>
                  <a:pt x="331" y="308"/>
                  <a:pt x="330" y="308"/>
                </a:cubicBezTo>
                <a:cubicBezTo>
                  <a:pt x="329" y="307"/>
                  <a:pt x="328" y="306"/>
                  <a:pt x="326" y="306"/>
                </a:cubicBezTo>
                <a:cubicBezTo>
                  <a:pt x="321" y="303"/>
                  <a:pt x="317" y="300"/>
                  <a:pt x="309" y="297"/>
                </a:cubicBezTo>
                <a:cubicBezTo>
                  <a:pt x="305" y="294"/>
                  <a:pt x="298" y="291"/>
                  <a:pt x="292" y="288"/>
                </a:cubicBezTo>
                <a:cubicBezTo>
                  <a:pt x="289" y="287"/>
                  <a:pt x="287" y="285"/>
                  <a:pt x="284" y="284"/>
                </a:cubicBezTo>
                <a:cubicBezTo>
                  <a:pt x="283" y="283"/>
                  <a:pt x="279" y="281"/>
                  <a:pt x="276" y="280"/>
                </a:cubicBezTo>
                <a:cubicBezTo>
                  <a:pt x="280" y="281"/>
                  <a:pt x="284" y="280"/>
                  <a:pt x="289" y="282"/>
                </a:cubicBezTo>
                <a:cubicBezTo>
                  <a:pt x="294" y="284"/>
                  <a:pt x="299" y="286"/>
                  <a:pt x="303" y="288"/>
                </a:cubicBezTo>
                <a:cubicBezTo>
                  <a:pt x="309" y="291"/>
                  <a:pt x="314" y="295"/>
                  <a:pt x="322" y="298"/>
                </a:cubicBezTo>
                <a:cubicBezTo>
                  <a:pt x="325" y="299"/>
                  <a:pt x="330" y="300"/>
                  <a:pt x="334" y="302"/>
                </a:cubicBezTo>
                <a:cubicBezTo>
                  <a:pt x="335" y="300"/>
                  <a:pt x="331" y="299"/>
                  <a:pt x="328" y="298"/>
                </a:cubicBezTo>
                <a:cubicBezTo>
                  <a:pt x="326" y="297"/>
                  <a:pt x="323" y="297"/>
                  <a:pt x="323" y="296"/>
                </a:cubicBezTo>
                <a:cubicBezTo>
                  <a:pt x="323" y="295"/>
                  <a:pt x="325" y="296"/>
                  <a:pt x="327" y="296"/>
                </a:cubicBezTo>
                <a:cubicBezTo>
                  <a:pt x="328" y="296"/>
                  <a:pt x="330" y="296"/>
                  <a:pt x="331" y="296"/>
                </a:cubicBezTo>
                <a:cubicBezTo>
                  <a:pt x="331" y="297"/>
                  <a:pt x="332" y="297"/>
                  <a:pt x="333" y="298"/>
                </a:cubicBezTo>
                <a:cubicBezTo>
                  <a:pt x="333" y="298"/>
                  <a:pt x="333" y="298"/>
                  <a:pt x="333" y="298"/>
                </a:cubicBezTo>
                <a:cubicBezTo>
                  <a:pt x="333" y="298"/>
                  <a:pt x="333" y="298"/>
                  <a:pt x="333" y="298"/>
                </a:cubicBezTo>
                <a:cubicBezTo>
                  <a:pt x="332" y="298"/>
                  <a:pt x="330" y="297"/>
                  <a:pt x="330" y="297"/>
                </a:cubicBezTo>
                <a:cubicBezTo>
                  <a:pt x="330" y="298"/>
                  <a:pt x="331" y="299"/>
                  <a:pt x="334" y="299"/>
                </a:cubicBezTo>
                <a:cubicBezTo>
                  <a:pt x="334" y="299"/>
                  <a:pt x="335" y="300"/>
                  <a:pt x="335" y="300"/>
                </a:cubicBezTo>
                <a:cubicBezTo>
                  <a:pt x="337" y="301"/>
                  <a:pt x="339" y="302"/>
                  <a:pt x="341" y="303"/>
                </a:cubicBezTo>
                <a:cubicBezTo>
                  <a:pt x="341" y="303"/>
                  <a:pt x="342" y="303"/>
                  <a:pt x="342" y="303"/>
                </a:cubicBezTo>
                <a:cubicBezTo>
                  <a:pt x="340" y="302"/>
                  <a:pt x="338" y="301"/>
                  <a:pt x="336" y="300"/>
                </a:cubicBezTo>
                <a:cubicBezTo>
                  <a:pt x="335" y="299"/>
                  <a:pt x="335" y="299"/>
                  <a:pt x="337" y="298"/>
                </a:cubicBezTo>
                <a:cubicBezTo>
                  <a:pt x="339" y="299"/>
                  <a:pt x="340" y="299"/>
                  <a:pt x="341" y="299"/>
                </a:cubicBezTo>
                <a:cubicBezTo>
                  <a:pt x="342" y="300"/>
                  <a:pt x="344" y="301"/>
                  <a:pt x="347" y="301"/>
                </a:cubicBezTo>
                <a:cubicBezTo>
                  <a:pt x="346" y="300"/>
                  <a:pt x="345" y="299"/>
                  <a:pt x="344" y="299"/>
                </a:cubicBezTo>
                <a:cubicBezTo>
                  <a:pt x="343" y="297"/>
                  <a:pt x="339" y="295"/>
                  <a:pt x="335" y="294"/>
                </a:cubicBezTo>
                <a:cubicBezTo>
                  <a:pt x="334" y="293"/>
                  <a:pt x="333" y="293"/>
                  <a:pt x="331" y="292"/>
                </a:cubicBezTo>
                <a:cubicBezTo>
                  <a:pt x="331" y="292"/>
                  <a:pt x="331" y="292"/>
                  <a:pt x="330" y="291"/>
                </a:cubicBezTo>
                <a:cubicBezTo>
                  <a:pt x="330" y="291"/>
                  <a:pt x="329" y="290"/>
                  <a:pt x="327" y="290"/>
                </a:cubicBezTo>
                <a:cubicBezTo>
                  <a:pt x="326" y="289"/>
                  <a:pt x="325" y="289"/>
                  <a:pt x="325" y="289"/>
                </a:cubicBezTo>
                <a:cubicBezTo>
                  <a:pt x="327" y="288"/>
                  <a:pt x="323" y="287"/>
                  <a:pt x="324" y="287"/>
                </a:cubicBezTo>
                <a:cubicBezTo>
                  <a:pt x="325" y="287"/>
                  <a:pt x="329" y="288"/>
                  <a:pt x="329" y="287"/>
                </a:cubicBezTo>
                <a:cubicBezTo>
                  <a:pt x="330" y="287"/>
                  <a:pt x="328" y="286"/>
                  <a:pt x="326" y="285"/>
                </a:cubicBezTo>
                <a:cubicBezTo>
                  <a:pt x="324" y="284"/>
                  <a:pt x="323" y="284"/>
                  <a:pt x="322" y="283"/>
                </a:cubicBezTo>
                <a:cubicBezTo>
                  <a:pt x="320" y="281"/>
                  <a:pt x="318" y="280"/>
                  <a:pt x="311" y="278"/>
                </a:cubicBezTo>
                <a:cubicBezTo>
                  <a:pt x="310" y="277"/>
                  <a:pt x="304" y="275"/>
                  <a:pt x="301" y="273"/>
                </a:cubicBezTo>
                <a:cubicBezTo>
                  <a:pt x="296" y="271"/>
                  <a:pt x="290" y="268"/>
                  <a:pt x="284" y="265"/>
                </a:cubicBezTo>
                <a:cubicBezTo>
                  <a:pt x="283" y="264"/>
                  <a:pt x="281" y="263"/>
                  <a:pt x="276" y="262"/>
                </a:cubicBezTo>
                <a:cubicBezTo>
                  <a:pt x="278" y="263"/>
                  <a:pt x="281" y="264"/>
                  <a:pt x="283" y="265"/>
                </a:cubicBezTo>
                <a:cubicBezTo>
                  <a:pt x="285" y="266"/>
                  <a:pt x="286" y="267"/>
                  <a:pt x="288" y="268"/>
                </a:cubicBezTo>
                <a:cubicBezTo>
                  <a:pt x="282" y="266"/>
                  <a:pt x="281" y="264"/>
                  <a:pt x="277" y="263"/>
                </a:cubicBezTo>
                <a:cubicBezTo>
                  <a:pt x="275" y="262"/>
                  <a:pt x="273" y="262"/>
                  <a:pt x="272" y="261"/>
                </a:cubicBezTo>
                <a:cubicBezTo>
                  <a:pt x="272" y="261"/>
                  <a:pt x="272" y="261"/>
                  <a:pt x="272" y="261"/>
                </a:cubicBezTo>
                <a:cubicBezTo>
                  <a:pt x="272" y="261"/>
                  <a:pt x="272" y="260"/>
                  <a:pt x="270" y="259"/>
                </a:cubicBezTo>
                <a:cubicBezTo>
                  <a:pt x="268" y="259"/>
                  <a:pt x="268" y="259"/>
                  <a:pt x="268" y="260"/>
                </a:cubicBezTo>
                <a:cubicBezTo>
                  <a:pt x="265" y="258"/>
                  <a:pt x="262" y="257"/>
                  <a:pt x="260" y="256"/>
                </a:cubicBezTo>
                <a:cubicBezTo>
                  <a:pt x="260" y="256"/>
                  <a:pt x="261" y="256"/>
                  <a:pt x="262" y="256"/>
                </a:cubicBezTo>
                <a:cubicBezTo>
                  <a:pt x="263" y="256"/>
                  <a:pt x="264" y="257"/>
                  <a:pt x="265" y="257"/>
                </a:cubicBezTo>
                <a:cubicBezTo>
                  <a:pt x="269" y="258"/>
                  <a:pt x="272" y="259"/>
                  <a:pt x="273" y="260"/>
                </a:cubicBezTo>
                <a:cubicBezTo>
                  <a:pt x="274" y="260"/>
                  <a:pt x="275" y="261"/>
                  <a:pt x="276" y="261"/>
                </a:cubicBezTo>
                <a:cubicBezTo>
                  <a:pt x="277" y="261"/>
                  <a:pt x="276" y="260"/>
                  <a:pt x="275" y="260"/>
                </a:cubicBezTo>
                <a:cubicBezTo>
                  <a:pt x="276" y="260"/>
                  <a:pt x="277" y="260"/>
                  <a:pt x="277" y="260"/>
                </a:cubicBezTo>
                <a:cubicBezTo>
                  <a:pt x="278" y="260"/>
                  <a:pt x="279" y="261"/>
                  <a:pt x="280" y="261"/>
                </a:cubicBezTo>
                <a:cubicBezTo>
                  <a:pt x="285" y="263"/>
                  <a:pt x="289" y="266"/>
                  <a:pt x="294" y="268"/>
                </a:cubicBezTo>
                <a:cubicBezTo>
                  <a:pt x="294" y="268"/>
                  <a:pt x="294" y="268"/>
                  <a:pt x="294" y="267"/>
                </a:cubicBezTo>
                <a:cubicBezTo>
                  <a:pt x="294" y="267"/>
                  <a:pt x="293" y="267"/>
                  <a:pt x="293" y="267"/>
                </a:cubicBezTo>
                <a:cubicBezTo>
                  <a:pt x="293" y="267"/>
                  <a:pt x="293" y="267"/>
                  <a:pt x="293" y="267"/>
                </a:cubicBezTo>
                <a:cubicBezTo>
                  <a:pt x="293" y="267"/>
                  <a:pt x="293" y="267"/>
                  <a:pt x="293" y="267"/>
                </a:cubicBezTo>
                <a:cubicBezTo>
                  <a:pt x="296" y="267"/>
                  <a:pt x="299" y="268"/>
                  <a:pt x="300" y="270"/>
                </a:cubicBezTo>
                <a:cubicBezTo>
                  <a:pt x="301" y="270"/>
                  <a:pt x="303" y="271"/>
                  <a:pt x="306" y="272"/>
                </a:cubicBezTo>
                <a:cubicBezTo>
                  <a:pt x="307" y="272"/>
                  <a:pt x="308" y="272"/>
                  <a:pt x="308" y="272"/>
                </a:cubicBezTo>
                <a:cubicBezTo>
                  <a:pt x="310" y="271"/>
                  <a:pt x="307" y="270"/>
                  <a:pt x="305" y="270"/>
                </a:cubicBezTo>
                <a:cubicBezTo>
                  <a:pt x="298" y="266"/>
                  <a:pt x="289" y="262"/>
                  <a:pt x="282" y="259"/>
                </a:cubicBezTo>
                <a:cubicBezTo>
                  <a:pt x="282" y="259"/>
                  <a:pt x="282" y="259"/>
                  <a:pt x="282" y="259"/>
                </a:cubicBezTo>
                <a:cubicBezTo>
                  <a:pt x="279" y="257"/>
                  <a:pt x="272" y="255"/>
                  <a:pt x="271" y="253"/>
                </a:cubicBezTo>
                <a:cubicBezTo>
                  <a:pt x="281" y="257"/>
                  <a:pt x="290" y="262"/>
                  <a:pt x="299" y="266"/>
                </a:cubicBezTo>
                <a:cubicBezTo>
                  <a:pt x="308" y="270"/>
                  <a:pt x="318" y="275"/>
                  <a:pt x="330" y="280"/>
                </a:cubicBezTo>
                <a:cubicBezTo>
                  <a:pt x="332" y="281"/>
                  <a:pt x="334" y="281"/>
                  <a:pt x="336" y="282"/>
                </a:cubicBezTo>
                <a:cubicBezTo>
                  <a:pt x="340" y="285"/>
                  <a:pt x="347" y="288"/>
                  <a:pt x="352" y="291"/>
                </a:cubicBezTo>
                <a:cubicBezTo>
                  <a:pt x="353" y="291"/>
                  <a:pt x="349" y="290"/>
                  <a:pt x="349" y="289"/>
                </a:cubicBezTo>
                <a:cubicBezTo>
                  <a:pt x="355" y="290"/>
                  <a:pt x="358" y="292"/>
                  <a:pt x="361" y="294"/>
                </a:cubicBezTo>
                <a:cubicBezTo>
                  <a:pt x="363" y="295"/>
                  <a:pt x="365" y="297"/>
                  <a:pt x="371" y="298"/>
                </a:cubicBezTo>
                <a:cubicBezTo>
                  <a:pt x="376" y="299"/>
                  <a:pt x="377" y="300"/>
                  <a:pt x="380" y="302"/>
                </a:cubicBezTo>
                <a:cubicBezTo>
                  <a:pt x="380" y="302"/>
                  <a:pt x="380" y="302"/>
                  <a:pt x="380" y="302"/>
                </a:cubicBezTo>
                <a:cubicBezTo>
                  <a:pt x="385" y="304"/>
                  <a:pt x="389" y="306"/>
                  <a:pt x="393" y="308"/>
                </a:cubicBezTo>
                <a:cubicBezTo>
                  <a:pt x="390" y="307"/>
                  <a:pt x="389" y="306"/>
                  <a:pt x="387" y="306"/>
                </a:cubicBezTo>
                <a:cubicBezTo>
                  <a:pt x="386" y="305"/>
                  <a:pt x="385" y="304"/>
                  <a:pt x="381" y="303"/>
                </a:cubicBezTo>
                <a:cubicBezTo>
                  <a:pt x="382" y="304"/>
                  <a:pt x="383" y="305"/>
                  <a:pt x="386" y="306"/>
                </a:cubicBezTo>
                <a:cubicBezTo>
                  <a:pt x="389" y="307"/>
                  <a:pt x="391" y="308"/>
                  <a:pt x="394" y="310"/>
                </a:cubicBezTo>
                <a:cubicBezTo>
                  <a:pt x="396" y="311"/>
                  <a:pt x="398" y="311"/>
                  <a:pt x="399" y="312"/>
                </a:cubicBezTo>
                <a:cubicBezTo>
                  <a:pt x="399" y="312"/>
                  <a:pt x="400" y="312"/>
                  <a:pt x="400" y="312"/>
                </a:cubicBezTo>
                <a:cubicBezTo>
                  <a:pt x="398" y="311"/>
                  <a:pt x="397" y="311"/>
                  <a:pt x="396" y="310"/>
                </a:cubicBezTo>
                <a:cubicBezTo>
                  <a:pt x="396" y="310"/>
                  <a:pt x="397" y="310"/>
                  <a:pt x="397" y="310"/>
                </a:cubicBezTo>
                <a:cubicBezTo>
                  <a:pt x="402" y="313"/>
                  <a:pt x="410" y="316"/>
                  <a:pt x="413" y="319"/>
                </a:cubicBezTo>
                <a:cubicBezTo>
                  <a:pt x="416" y="320"/>
                  <a:pt x="418" y="321"/>
                  <a:pt x="421" y="322"/>
                </a:cubicBezTo>
                <a:cubicBezTo>
                  <a:pt x="421" y="323"/>
                  <a:pt x="422" y="324"/>
                  <a:pt x="426" y="325"/>
                </a:cubicBezTo>
                <a:cubicBezTo>
                  <a:pt x="429" y="328"/>
                  <a:pt x="436" y="329"/>
                  <a:pt x="442" y="331"/>
                </a:cubicBezTo>
                <a:cubicBezTo>
                  <a:pt x="442" y="331"/>
                  <a:pt x="442" y="331"/>
                  <a:pt x="443" y="331"/>
                </a:cubicBezTo>
                <a:cubicBezTo>
                  <a:pt x="444" y="332"/>
                  <a:pt x="446" y="333"/>
                  <a:pt x="448" y="334"/>
                </a:cubicBezTo>
                <a:cubicBezTo>
                  <a:pt x="450" y="335"/>
                  <a:pt x="448" y="335"/>
                  <a:pt x="446" y="334"/>
                </a:cubicBezTo>
                <a:cubicBezTo>
                  <a:pt x="445" y="334"/>
                  <a:pt x="444" y="333"/>
                  <a:pt x="441" y="333"/>
                </a:cubicBezTo>
                <a:cubicBezTo>
                  <a:pt x="442" y="333"/>
                  <a:pt x="444" y="334"/>
                  <a:pt x="445" y="334"/>
                </a:cubicBezTo>
                <a:cubicBezTo>
                  <a:pt x="446" y="335"/>
                  <a:pt x="447" y="335"/>
                  <a:pt x="448" y="336"/>
                </a:cubicBezTo>
                <a:cubicBezTo>
                  <a:pt x="452" y="338"/>
                  <a:pt x="459" y="341"/>
                  <a:pt x="465" y="344"/>
                </a:cubicBezTo>
                <a:cubicBezTo>
                  <a:pt x="467" y="345"/>
                  <a:pt x="468" y="347"/>
                  <a:pt x="473" y="348"/>
                </a:cubicBezTo>
                <a:cubicBezTo>
                  <a:pt x="472" y="347"/>
                  <a:pt x="469" y="345"/>
                  <a:pt x="466" y="344"/>
                </a:cubicBezTo>
                <a:cubicBezTo>
                  <a:pt x="463" y="342"/>
                  <a:pt x="459" y="340"/>
                  <a:pt x="455" y="339"/>
                </a:cubicBezTo>
                <a:cubicBezTo>
                  <a:pt x="457" y="338"/>
                  <a:pt x="452" y="335"/>
                  <a:pt x="450" y="334"/>
                </a:cubicBezTo>
                <a:cubicBezTo>
                  <a:pt x="449" y="333"/>
                  <a:pt x="446" y="331"/>
                  <a:pt x="444" y="330"/>
                </a:cubicBezTo>
                <a:cubicBezTo>
                  <a:pt x="444" y="329"/>
                  <a:pt x="441" y="329"/>
                  <a:pt x="439" y="328"/>
                </a:cubicBezTo>
                <a:cubicBezTo>
                  <a:pt x="435" y="326"/>
                  <a:pt x="429" y="324"/>
                  <a:pt x="432" y="323"/>
                </a:cubicBezTo>
                <a:cubicBezTo>
                  <a:pt x="433" y="323"/>
                  <a:pt x="431" y="321"/>
                  <a:pt x="427" y="321"/>
                </a:cubicBezTo>
                <a:cubicBezTo>
                  <a:pt x="425" y="320"/>
                  <a:pt x="423" y="319"/>
                  <a:pt x="421" y="318"/>
                </a:cubicBezTo>
                <a:cubicBezTo>
                  <a:pt x="420" y="317"/>
                  <a:pt x="418" y="317"/>
                  <a:pt x="417" y="316"/>
                </a:cubicBezTo>
                <a:cubicBezTo>
                  <a:pt x="417" y="315"/>
                  <a:pt x="416" y="315"/>
                  <a:pt x="414" y="314"/>
                </a:cubicBezTo>
                <a:cubicBezTo>
                  <a:pt x="413" y="314"/>
                  <a:pt x="414" y="315"/>
                  <a:pt x="415" y="316"/>
                </a:cubicBezTo>
                <a:cubicBezTo>
                  <a:pt x="416" y="317"/>
                  <a:pt x="417" y="317"/>
                  <a:pt x="419" y="318"/>
                </a:cubicBezTo>
                <a:cubicBezTo>
                  <a:pt x="421" y="319"/>
                  <a:pt x="421" y="320"/>
                  <a:pt x="419" y="320"/>
                </a:cubicBezTo>
                <a:cubicBezTo>
                  <a:pt x="417" y="320"/>
                  <a:pt x="417" y="319"/>
                  <a:pt x="416" y="319"/>
                </a:cubicBezTo>
                <a:cubicBezTo>
                  <a:pt x="408" y="314"/>
                  <a:pt x="399" y="310"/>
                  <a:pt x="391" y="306"/>
                </a:cubicBezTo>
                <a:cubicBezTo>
                  <a:pt x="393" y="306"/>
                  <a:pt x="396" y="307"/>
                  <a:pt x="397" y="308"/>
                </a:cubicBezTo>
                <a:cubicBezTo>
                  <a:pt x="402" y="311"/>
                  <a:pt x="407" y="311"/>
                  <a:pt x="413" y="311"/>
                </a:cubicBezTo>
                <a:cubicBezTo>
                  <a:pt x="413" y="312"/>
                  <a:pt x="412" y="312"/>
                  <a:pt x="413" y="312"/>
                </a:cubicBezTo>
                <a:cubicBezTo>
                  <a:pt x="413" y="313"/>
                  <a:pt x="414" y="313"/>
                  <a:pt x="415" y="313"/>
                </a:cubicBezTo>
                <a:cubicBezTo>
                  <a:pt x="415" y="312"/>
                  <a:pt x="416" y="312"/>
                  <a:pt x="414" y="311"/>
                </a:cubicBezTo>
                <a:cubicBezTo>
                  <a:pt x="413" y="311"/>
                  <a:pt x="420" y="312"/>
                  <a:pt x="416" y="310"/>
                </a:cubicBezTo>
                <a:cubicBezTo>
                  <a:pt x="414" y="309"/>
                  <a:pt x="410" y="309"/>
                  <a:pt x="410" y="309"/>
                </a:cubicBezTo>
                <a:cubicBezTo>
                  <a:pt x="406" y="311"/>
                  <a:pt x="403" y="308"/>
                  <a:pt x="399" y="307"/>
                </a:cubicBezTo>
                <a:cubicBezTo>
                  <a:pt x="398" y="306"/>
                  <a:pt x="396" y="305"/>
                  <a:pt x="395" y="305"/>
                </a:cubicBezTo>
                <a:cubicBezTo>
                  <a:pt x="391" y="302"/>
                  <a:pt x="388" y="303"/>
                  <a:pt x="385" y="303"/>
                </a:cubicBezTo>
                <a:cubicBezTo>
                  <a:pt x="385" y="303"/>
                  <a:pt x="385" y="303"/>
                  <a:pt x="385" y="303"/>
                </a:cubicBezTo>
                <a:cubicBezTo>
                  <a:pt x="384" y="302"/>
                  <a:pt x="384" y="302"/>
                  <a:pt x="384" y="302"/>
                </a:cubicBezTo>
                <a:cubicBezTo>
                  <a:pt x="382" y="301"/>
                  <a:pt x="385" y="301"/>
                  <a:pt x="384" y="299"/>
                </a:cubicBezTo>
                <a:cubicBezTo>
                  <a:pt x="380" y="296"/>
                  <a:pt x="373" y="294"/>
                  <a:pt x="369" y="291"/>
                </a:cubicBezTo>
                <a:cubicBezTo>
                  <a:pt x="367" y="291"/>
                  <a:pt x="366" y="290"/>
                  <a:pt x="365" y="289"/>
                </a:cubicBezTo>
                <a:cubicBezTo>
                  <a:pt x="359" y="288"/>
                  <a:pt x="358" y="286"/>
                  <a:pt x="354" y="284"/>
                </a:cubicBezTo>
                <a:cubicBezTo>
                  <a:pt x="348" y="282"/>
                  <a:pt x="346" y="279"/>
                  <a:pt x="341" y="277"/>
                </a:cubicBezTo>
                <a:cubicBezTo>
                  <a:pt x="338" y="276"/>
                  <a:pt x="335" y="274"/>
                  <a:pt x="333" y="273"/>
                </a:cubicBezTo>
                <a:cubicBezTo>
                  <a:pt x="327" y="270"/>
                  <a:pt x="320" y="267"/>
                  <a:pt x="314" y="264"/>
                </a:cubicBezTo>
                <a:cubicBezTo>
                  <a:pt x="313" y="263"/>
                  <a:pt x="311" y="263"/>
                  <a:pt x="310" y="262"/>
                </a:cubicBezTo>
                <a:cubicBezTo>
                  <a:pt x="311" y="262"/>
                  <a:pt x="312" y="262"/>
                  <a:pt x="313" y="262"/>
                </a:cubicBezTo>
                <a:cubicBezTo>
                  <a:pt x="318" y="265"/>
                  <a:pt x="323" y="267"/>
                  <a:pt x="329" y="269"/>
                </a:cubicBezTo>
                <a:cubicBezTo>
                  <a:pt x="328" y="269"/>
                  <a:pt x="328" y="269"/>
                  <a:pt x="328" y="268"/>
                </a:cubicBezTo>
                <a:cubicBezTo>
                  <a:pt x="328" y="269"/>
                  <a:pt x="329" y="269"/>
                  <a:pt x="329" y="269"/>
                </a:cubicBezTo>
                <a:cubicBezTo>
                  <a:pt x="335" y="272"/>
                  <a:pt x="342" y="275"/>
                  <a:pt x="348" y="279"/>
                </a:cubicBezTo>
                <a:cubicBezTo>
                  <a:pt x="354" y="281"/>
                  <a:pt x="361" y="284"/>
                  <a:pt x="367" y="287"/>
                </a:cubicBezTo>
                <a:cubicBezTo>
                  <a:pt x="377" y="291"/>
                  <a:pt x="387" y="296"/>
                  <a:pt x="396" y="300"/>
                </a:cubicBezTo>
                <a:cubicBezTo>
                  <a:pt x="398" y="301"/>
                  <a:pt x="401" y="303"/>
                  <a:pt x="404" y="304"/>
                </a:cubicBezTo>
                <a:cubicBezTo>
                  <a:pt x="409" y="307"/>
                  <a:pt x="418" y="310"/>
                  <a:pt x="424" y="314"/>
                </a:cubicBezTo>
                <a:cubicBezTo>
                  <a:pt x="425" y="315"/>
                  <a:pt x="429" y="316"/>
                  <a:pt x="432" y="318"/>
                </a:cubicBezTo>
                <a:cubicBezTo>
                  <a:pt x="433" y="317"/>
                  <a:pt x="428" y="315"/>
                  <a:pt x="426" y="314"/>
                </a:cubicBezTo>
                <a:cubicBezTo>
                  <a:pt x="426" y="314"/>
                  <a:pt x="426" y="314"/>
                  <a:pt x="426" y="314"/>
                </a:cubicBezTo>
                <a:cubicBezTo>
                  <a:pt x="428" y="313"/>
                  <a:pt x="429" y="313"/>
                  <a:pt x="436" y="315"/>
                </a:cubicBezTo>
                <a:cubicBezTo>
                  <a:pt x="434" y="314"/>
                  <a:pt x="434" y="312"/>
                  <a:pt x="430" y="311"/>
                </a:cubicBezTo>
                <a:cubicBezTo>
                  <a:pt x="428" y="311"/>
                  <a:pt x="431" y="313"/>
                  <a:pt x="426" y="311"/>
                </a:cubicBezTo>
                <a:cubicBezTo>
                  <a:pt x="422" y="310"/>
                  <a:pt x="423" y="309"/>
                  <a:pt x="420" y="308"/>
                </a:cubicBezTo>
                <a:cubicBezTo>
                  <a:pt x="420" y="307"/>
                  <a:pt x="425" y="307"/>
                  <a:pt x="425" y="307"/>
                </a:cubicBezTo>
                <a:cubicBezTo>
                  <a:pt x="434" y="309"/>
                  <a:pt x="425" y="307"/>
                  <a:pt x="426" y="306"/>
                </a:cubicBezTo>
                <a:cubicBezTo>
                  <a:pt x="425" y="306"/>
                  <a:pt x="426" y="306"/>
                  <a:pt x="427" y="306"/>
                </a:cubicBezTo>
                <a:cubicBezTo>
                  <a:pt x="427" y="306"/>
                  <a:pt x="428" y="306"/>
                  <a:pt x="429" y="306"/>
                </a:cubicBezTo>
                <a:cubicBezTo>
                  <a:pt x="430" y="306"/>
                  <a:pt x="432" y="307"/>
                  <a:pt x="434" y="308"/>
                </a:cubicBezTo>
                <a:cubicBezTo>
                  <a:pt x="436" y="309"/>
                  <a:pt x="438" y="310"/>
                  <a:pt x="440" y="311"/>
                </a:cubicBezTo>
                <a:cubicBezTo>
                  <a:pt x="444" y="314"/>
                  <a:pt x="452" y="317"/>
                  <a:pt x="460" y="320"/>
                </a:cubicBezTo>
                <a:cubicBezTo>
                  <a:pt x="453" y="317"/>
                  <a:pt x="449" y="314"/>
                  <a:pt x="441" y="311"/>
                </a:cubicBezTo>
                <a:cubicBezTo>
                  <a:pt x="439" y="310"/>
                  <a:pt x="437" y="309"/>
                  <a:pt x="434" y="308"/>
                </a:cubicBezTo>
                <a:cubicBezTo>
                  <a:pt x="433" y="307"/>
                  <a:pt x="431" y="306"/>
                  <a:pt x="429" y="305"/>
                </a:cubicBezTo>
                <a:cubicBezTo>
                  <a:pt x="431" y="305"/>
                  <a:pt x="429" y="304"/>
                  <a:pt x="430" y="303"/>
                </a:cubicBezTo>
                <a:cubicBezTo>
                  <a:pt x="434" y="303"/>
                  <a:pt x="436" y="305"/>
                  <a:pt x="438" y="306"/>
                </a:cubicBezTo>
                <a:cubicBezTo>
                  <a:pt x="449" y="312"/>
                  <a:pt x="460" y="317"/>
                  <a:pt x="471" y="323"/>
                </a:cubicBezTo>
                <a:cubicBezTo>
                  <a:pt x="472" y="324"/>
                  <a:pt x="473" y="325"/>
                  <a:pt x="475" y="325"/>
                </a:cubicBezTo>
                <a:cubicBezTo>
                  <a:pt x="476" y="326"/>
                  <a:pt x="479" y="328"/>
                  <a:pt x="482" y="329"/>
                </a:cubicBezTo>
                <a:cubicBezTo>
                  <a:pt x="482" y="329"/>
                  <a:pt x="482" y="329"/>
                  <a:pt x="482" y="329"/>
                </a:cubicBezTo>
                <a:cubicBezTo>
                  <a:pt x="482" y="329"/>
                  <a:pt x="483" y="329"/>
                  <a:pt x="483" y="330"/>
                </a:cubicBezTo>
                <a:cubicBezTo>
                  <a:pt x="485" y="331"/>
                  <a:pt x="487" y="332"/>
                  <a:pt x="490" y="334"/>
                </a:cubicBezTo>
                <a:cubicBezTo>
                  <a:pt x="491" y="335"/>
                  <a:pt x="491" y="336"/>
                  <a:pt x="498" y="339"/>
                </a:cubicBezTo>
                <a:cubicBezTo>
                  <a:pt x="505" y="341"/>
                  <a:pt x="509" y="344"/>
                  <a:pt x="507" y="346"/>
                </a:cubicBezTo>
                <a:cubicBezTo>
                  <a:pt x="507" y="346"/>
                  <a:pt x="505" y="346"/>
                  <a:pt x="506" y="347"/>
                </a:cubicBezTo>
                <a:cubicBezTo>
                  <a:pt x="509" y="348"/>
                  <a:pt x="512" y="348"/>
                  <a:pt x="515" y="349"/>
                </a:cubicBezTo>
                <a:cubicBezTo>
                  <a:pt x="517" y="349"/>
                  <a:pt x="518" y="350"/>
                  <a:pt x="519" y="351"/>
                </a:cubicBezTo>
                <a:cubicBezTo>
                  <a:pt x="519" y="351"/>
                  <a:pt x="520" y="351"/>
                  <a:pt x="520" y="351"/>
                </a:cubicBezTo>
                <a:cubicBezTo>
                  <a:pt x="523" y="353"/>
                  <a:pt x="525" y="354"/>
                  <a:pt x="528" y="356"/>
                </a:cubicBezTo>
                <a:cubicBezTo>
                  <a:pt x="529" y="357"/>
                  <a:pt x="530" y="357"/>
                  <a:pt x="533" y="358"/>
                </a:cubicBezTo>
                <a:cubicBezTo>
                  <a:pt x="533" y="357"/>
                  <a:pt x="531" y="357"/>
                  <a:pt x="529" y="356"/>
                </a:cubicBezTo>
                <a:cubicBezTo>
                  <a:pt x="529" y="356"/>
                  <a:pt x="529" y="355"/>
                  <a:pt x="529" y="355"/>
                </a:cubicBezTo>
                <a:cubicBezTo>
                  <a:pt x="529" y="355"/>
                  <a:pt x="530" y="355"/>
                  <a:pt x="530" y="355"/>
                </a:cubicBezTo>
                <a:cubicBezTo>
                  <a:pt x="531" y="355"/>
                  <a:pt x="531" y="355"/>
                  <a:pt x="531" y="356"/>
                </a:cubicBezTo>
                <a:cubicBezTo>
                  <a:pt x="533" y="357"/>
                  <a:pt x="533" y="357"/>
                  <a:pt x="537" y="359"/>
                </a:cubicBezTo>
                <a:cubicBezTo>
                  <a:pt x="537" y="358"/>
                  <a:pt x="535" y="357"/>
                  <a:pt x="532" y="356"/>
                </a:cubicBezTo>
                <a:cubicBezTo>
                  <a:pt x="531" y="355"/>
                  <a:pt x="530" y="354"/>
                  <a:pt x="528" y="354"/>
                </a:cubicBezTo>
                <a:cubicBezTo>
                  <a:pt x="529" y="353"/>
                  <a:pt x="526" y="352"/>
                  <a:pt x="525" y="351"/>
                </a:cubicBezTo>
                <a:cubicBezTo>
                  <a:pt x="525" y="351"/>
                  <a:pt x="525" y="351"/>
                  <a:pt x="524" y="350"/>
                </a:cubicBezTo>
                <a:cubicBezTo>
                  <a:pt x="521" y="349"/>
                  <a:pt x="520" y="348"/>
                  <a:pt x="517" y="347"/>
                </a:cubicBezTo>
                <a:cubicBezTo>
                  <a:pt x="517" y="346"/>
                  <a:pt x="514" y="345"/>
                  <a:pt x="512" y="344"/>
                </a:cubicBezTo>
                <a:cubicBezTo>
                  <a:pt x="511" y="343"/>
                  <a:pt x="509" y="342"/>
                  <a:pt x="509" y="341"/>
                </a:cubicBezTo>
                <a:cubicBezTo>
                  <a:pt x="509" y="341"/>
                  <a:pt x="509" y="341"/>
                  <a:pt x="509" y="341"/>
                </a:cubicBezTo>
                <a:cubicBezTo>
                  <a:pt x="510" y="341"/>
                  <a:pt x="511" y="341"/>
                  <a:pt x="510" y="341"/>
                </a:cubicBezTo>
                <a:cubicBezTo>
                  <a:pt x="509" y="340"/>
                  <a:pt x="507" y="340"/>
                  <a:pt x="506" y="340"/>
                </a:cubicBezTo>
                <a:cubicBezTo>
                  <a:pt x="500" y="337"/>
                  <a:pt x="501" y="336"/>
                  <a:pt x="496" y="334"/>
                </a:cubicBezTo>
                <a:cubicBezTo>
                  <a:pt x="495" y="333"/>
                  <a:pt x="491" y="331"/>
                  <a:pt x="491" y="330"/>
                </a:cubicBezTo>
                <a:cubicBezTo>
                  <a:pt x="500" y="334"/>
                  <a:pt x="508" y="338"/>
                  <a:pt x="514" y="341"/>
                </a:cubicBezTo>
                <a:cubicBezTo>
                  <a:pt x="514" y="342"/>
                  <a:pt x="514" y="342"/>
                  <a:pt x="516" y="343"/>
                </a:cubicBezTo>
                <a:cubicBezTo>
                  <a:pt x="518" y="344"/>
                  <a:pt x="520" y="345"/>
                  <a:pt x="523" y="346"/>
                </a:cubicBezTo>
                <a:cubicBezTo>
                  <a:pt x="522" y="345"/>
                  <a:pt x="521" y="344"/>
                  <a:pt x="519" y="343"/>
                </a:cubicBezTo>
                <a:cubicBezTo>
                  <a:pt x="518" y="342"/>
                  <a:pt x="517" y="342"/>
                  <a:pt x="516" y="342"/>
                </a:cubicBezTo>
                <a:cubicBezTo>
                  <a:pt x="516" y="341"/>
                  <a:pt x="513" y="340"/>
                  <a:pt x="513" y="339"/>
                </a:cubicBezTo>
                <a:cubicBezTo>
                  <a:pt x="514" y="339"/>
                  <a:pt x="515" y="340"/>
                  <a:pt x="517" y="340"/>
                </a:cubicBezTo>
                <a:cubicBezTo>
                  <a:pt x="519" y="341"/>
                  <a:pt x="517" y="340"/>
                  <a:pt x="517" y="339"/>
                </a:cubicBezTo>
                <a:cubicBezTo>
                  <a:pt x="514" y="338"/>
                  <a:pt x="511" y="337"/>
                  <a:pt x="507" y="336"/>
                </a:cubicBezTo>
                <a:cubicBezTo>
                  <a:pt x="505" y="334"/>
                  <a:pt x="501" y="332"/>
                  <a:pt x="496" y="330"/>
                </a:cubicBezTo>
                <a:cubicBezTo>
                  <a:pt x="492" y="328"/>
                  <a:pt x="499" y="328"/>
                  <a:pt x="499" y="327"/>
                </a:cubicBezTo>
                <a:cubicBezTo>
                  <a:pt x="500" y="327"/>
                  <a:pt x="501" y="327"/>
                  <a:pt x="503" y="328"/>
                </a:cubicBezTo>
                <a:cubicBezTo>
                  <a:pt x="507" y="330"/>
                  <a:pt x="511" y="332"/>
                  <a:pt x="513" y="333"/>
                </a:cubicBezTo>
                <a:cubicBezTo>
                  <a:pt x="511" y="334"/>
                  <a:pt x="509" y="333"/>
                  <a:pt x="507" y="332"/>
                </a:cubicBezTo>
                <a:cubicBezTo>
                  <a:pt x="509" y="333"/>
                  <a:pt x="510" y="335"/>
                  <a:pt x="514" y="335"/>
                </a:cubicBezTo>
                <a:cubicBezTo>
                  <a:pt x="517" y="336"/>
                  <a:pt x="514" y="334"/>
                  <a:pt x="515" y="334"/>
                </a:cubicBezTo>
                <a:cubicBezTo>
                  <a:pt x="520" y="335"/>
                  <a:pt x="520" y="335"/>
                  <a:pt x="518" y="333"/>
                </a:cubicBezTo>
                <a:cubicBezTo>
                  <a:pt x="514" y="331"/>
                  <a:pt x="510" y="329"/>
                  <a:pt x="506" y="327"/>
                </a:cubicBezTo>
                <a:cubicBezTo>
                  <a:pt x="505" y="326"/>
                  <a:pt x="501" y="325"/>
                  <a:pt x="502" y="325"/>
                </a:cubicBezTo>
                <a:cubicBezTo>
                  <a:pt x="506" y="325"/>
                  <a:pt x="502" y="324"/>
                  <a:pt x="503" y="323"/>
                </a:cubicBezTo>
                <a:cubicBezTo>
                  <a:pt x="506" y="324"/>
                  <a:pt x="507" y="325"/>
                  <a:pt x="509" y="325"/>
                </a:cubicBezTo>
                <a:cubicBezTo>
                  <a:pt x="515" y="326"/>
                  <a:pt x="516" y="328"/>
                  <a:pt x="523" y="330"/>
                </a:cubicBezTo>
                <a:cubicBezTo>
                  <a:pt x="522" y="329"/>
                  <a:pt x="517" y="328"/>
                  <a:pt x="517" y="327"/>
                </a:cubicBezTo>
                <a:cubicBezTo>
                  <a:pt x="517" y="325"/>
                  <a:pt x="507" y="323"/>
                  <a:pt x="510" y="321"/>
                </a:cubicBezTo>
                <a:cubicBezTo>
                  <a:pt x="511" y="322"/>
                  <a:pt x="512" y="322"/>
                  <a:pt x="513" y="323"/>
                </a:cubicBezTo>
                <a:cubicBezTo>
                  <a:pt x="513" y="324"/>
                  <a:pt x="521" y="326"/>
                  <a:pt x="524" y="328"/>
                </a:cubicBezTo>
                <a:cubicBezTo>
                  <a:pt x="523" y="327"/>
                  <a:pt x="521" y="325"/>
                  <a:pt x="517" y="324"/>
                </a:cubicBezTo>
                <a:cubicBezTo>
                  <a:pt x="513" y="322"/>
                  <a:pt x="509" y="319"/>
                  <a:pt x="504" y="317"/>
                </a:cubicBezTo>
                <a:cubicBezTo>
                  <a:pt x="509" y="319"/>
                  <a:pt x="513" y="320"/>
                  <a:pt x="518" y="322"/>
                </a:cubicBezTo>
                <a:cubicBezTo>
                  <a:pt x="518" y="323"/>
                  <a:pt x="519" y="323"/>
                  <a:pt x="521" y="325"/>
                </a:cubicBezTo>
                <a:cubicBezTo>
                  <a:pt x="523" y="324"/>
                  <a:pt x="523" y="324"/>
                  <a:pt x="521" y="322"/>
                </a:cubicBezTo>
                <a:cubicBezTo>
                  <a:pt x="521" y="322"/>
                  <a:pt x="520" y="322"/>
                  <a:pt x="520" y="321"/>
                </a:cubicBezTo>
                <a:cubicBezTo>
                  <a:pt x="514" y="316"/>
                  <a:pt x="507" y="311"/>
                  <a:pt x="498" y="305"/>
                </a:cubicBezTo>
                <a:cubicBezTo>
                  <a:pt x="499" y="306"/>
                  <a:pt x="500" y="306"/>
                  <a:pt x="500" y="306"/>
                </a:cubicBezTo>
                <a:cubicBezTo>
                  <a:pt x="508" y="311"/>
                  <a:pt x="517" y="315"/>
                  <a:pt x="525" y="320"/>
                </a:cubicBezTo>
                <a:cubicBezTo>
                  <a:pt x="530" y="323"/>
                  <a:pt x="536" y="326"/>
                  <a:pt x="542" y="329"/>
                </a:cubicBezTo>
                <a:cubicBezTo>
                  <a:pt x="542" y="278"/>
                  <a:pt x="542" y="278"/>
                  <a:pt x="542" y="278"/>
                </a:cubicBezTo>
                <a:cubicBezTo>
                  <a:pt x="542" y="277"/>
                  <a:pt x="541" y="277"/>
                  <a:pt x="541" y="277"/>
                </a:cubicBezTo>
                <a:cubicBezTo>
                  <a:pt x="540" y="276"/>
                  <a:pt x="539" y="275"/>
                  <a:pt x="538" y="275"/>
                </a:cubicBezTo>
                <a:cubicBezTo>
                  <a:pt x="538" y="274"/>
                  <a:pt x="537" y="274"/>
                  <a:pt x="536" y="274"/>
                </a:cubicBezTo>
                <a:cubicBezTo>
                  <a:pt x="538" y="273"/>
                  <a:pt x="540" y="273"/>
                  <a:pt x="542" y="274"/>
                </a:cubicBezTo>
                <a:cubicBezTo>
                  <a:pt x="542" y="256"/>
                  <a:pt x="542" y="256"/>
                  <a:pt x="542" y="256"/>
                </a:cubicBezTo>
                <a:cubicBezTo>
                  <a:pt x="542" y="256"/>
                  <a:pt x="542" y="256"/>
                  <a:pt x="542" y="255"/>
                </a:cubicBezTo>
                <a:cubicBezTo>
                  <a:pt x="541" y="255"/>
                  <a:pt x="541" y="254"/>
                  <a:pt x="541" y="254"/>
                </a:cubicBezTo>
                <a:cubicBezTo>
                  <a:pt x="541" y="254"/>
                  <a:pt x="541" y="254"/>
                  <a:pt x="542" y="254"/>
                </a:cubicBezTo>
                <a:cubicBezTo>
                  <a:pt x="542" y="254"/>
                  <a:pt x="542" y="254"/>
                  <a:pt x="542" y="254"/>
                </a:cubicBezTo>
                <a:cubicBezTo>
                  <a:pt x="542" y="237"/>
                  <a:pt x="542" y="237"/>
                  <a:pt x="542" y="237"/>
                </a:cubicBezTo>
                <a:cubicBezTo>
                  <a:pt x="542" y="237"/>
                  <a:pt x="542" y="237"/>
                  <a:pt x="542" y="236"/>
                </a:cubicBezTo>
                <a:cubicBezTo>
                  <a:pt x="542" y="236"/>
                  <a:pt x="542" y="236"/>
                  <a:pt x="542" y="236"/>
                </a:cubicBezTo>
                <a:cubicBezTo>
                  <a:pt x="542" y="207"/>
                  <a:pt x="542" y="207"/>
                  <a:pt x="542" y="207"/>
                </a:cubicBezTo>
                <a:cubicBezTo>
                  <a:pt x="542" y="207"/>
                  <a:pt x="542" y="207"/>
                  <a:pt x="542" y="207"/>
                </a:cubicBezTo>
                <a:cubicBezTo>
                  <a:pt x="542" y="206"/>
                  <a:pt x="542" y="206"/>
                  <a:pt x="542" y="206"/>
                </a:cubicBezTo>
                <a:cubicBezTo>
                  <a:pt x="542" y="206"/>
                  <a:pt x="542" y="206"/>
                  <a:pt x="542" y="206"/>
                </a:cubicBezTo>
                <a:cubicBezTo>
                  <a:pt x="542" y="193"/>
                  <a:pt x="542" y="193"/>
                  <a:pt x="542" y="193"/>
                </a:cubicBezTo>
                <a:cubicBezTo>
                  <a:pt x="542" y="193"/>
                  <a:pt x="542" y="193"/>
                  <a:pt x="542" y="193"/>
                </a:cubicBezTo>
                <a:cubicBezTo>
                  <a:pt x="542" y="192"/>
                  <a:pt x="542" y="192"/>
                  <a:pt x="542" y="192"/>
                </a:cubicBezTo>
                <a:cubicBezTo>
                  <a:pt x="542" y="192"/>
                  <a:pt x="542" y="192"/>
                  <a:pt x="542" y="192"/>
                </a:cubicBezTo>
                <a:cubicBezTo>
                  <a:pt x="542" y="148"/>
                  <a:pt x="542" y="148"/>
                  <a:pt x="542" y="148"/>
                </a:cubicBezTo>
                <a:cubicBezTo>
                  <a:pt x="540" y="147"/>
                  <a:pt x="538" y="146"/>
                  <a:pt x="537" y="145"/>
                </a:cubicBezTo>
                <a:cubicBezTo>
                  <a:pt x="539" y="146"/>
                  <a:pt x="541" y="146"/>
                  <a:pt x="542" y="147"/>
                </a:cubicBezTo>
                <a:cubicBezTo>
                  <a:pt x="542" y="144"/>
                  <a:pt x="542" y="144"/>
                  <a:pt x="542" y="144"/>
                </a:cubicBezTo>
                <a:cubicBezTo>
                  <a:pt x="542" y="144"/>
                  <a:pt x="542" y="144"/>
                  <a:pt x="542" y="144"/>
                </a:cubicBezTo>
                <a:cubicBezTo>
                  <a:pt x="542" y="144"/>
                  <a:pt x="542" y="144"/>
                  <a:pt x="542" y="144"/>
                </a:cubicBezTo>
                <a:close/>
              </a:path>
            </a:pathLst>
          </a:custGeom>
          <a:solidFill>
            <a:schemeClr val="bg1">
              <a:lumMod val="95000"/>
              <a:alpha val="1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8" name="Text Placeholder 1"/>
          <p:cNvSpPr txBox="1">
            <a:spLocks/>
          </p:cNvSpPr>
          <p:nvPr/>
        </p:nvSpPr>
        <p:spPr>
          <a:xfrm>
            <a:off x="2794000" y="360971"/>
            <a:ext cx="6604000" cy="535531"/>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ID" sz="3200" dirty="0">
                <a:solidFill>
                  <a:schemeClr val="bg1"/>
                </a:solidFill>
                <a:latin typeface="+mj-lt"/>
              </a:rPr>
              <a:t>PowerPoint Templates</a:t>
            </a:r>
            <a:endParaRPr lang="en-US" sz="3200" dirty="0">
              <a:solidFill>
                <a:schemeClr val="bg1"/>
              </a:solidFill>
              <a:latin typeface="+mj-lt"/>
            </a:endParaRPr>
          </a:p>
        </p:txBody>
      </p:sp>
      <p:sp>
        <p:nvSpPr>
          <p:cNvPr id="9" name="Rectangle 8"/>
          <p:cNvSpPr/>
          <p:nvPr/>
        </p:nvSpPr>
        <p:spPr>
          <a:xfrm>
            <a:off x="1947437" y="3489476"/>
            <a:ext cx="8297126" cy="2770610"/>
          </a:xfrm>
          <a:prstGeom prst="rect">
            <a:avLst/>
          </a:prstGeom>
          <a:noFill/>
          <a:ln>
            <a:solidFill>
              <a:srgbClr val="E2583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ea typeface="+mn-ea"/>
              <a:cs typeface="+mn-cs"/>
            </a:endParaRPr>
          </a:p>
        </p:txBody>
      </p:sp>
      <p:sp>
        <p:nvSpPr>
          <p:cNvPr id="39" name="Freeform 57"/>
          <p:cNvSpPr>
            <a:spLocks noEditPoints="1"/>
          </p:cNvSpPr>
          <p:nvPr/>
        </p:nvSpPr>
        <p:spPr bwMode="auto">
          <a:xfrm>
            <a:off x="2631458" y="1494416"/>
            <a:ext cx="223838" cy="287338"/>
          </a:xfrm>
          <a:custGeom>
            <a:avLst/>
            <a:gdLst>
              <a:gd name="T0" fmla="*/ 616 w 708"/>
              <a:gd name="T1" fmla="*/ 486 h 905"/>
              <a:gd name="T2" fmla="*/ 664 w 708"/>
              <a:gd name="T3" fmla="*/ 521 h 905"/>
              <a:gd name="T4" fmla="*/ 678 w 708"/>
              <a:gd name="T5" fmla="*/ 583 h 905"/>
              <a:gd name="T6" fmla="*/ 654 w 708"/>
              <a:gd name="T7" fmla="*/ 638 h 905"/>
              <a:gd name="T8" fmla="*/ 598 w 708"/>
              <a:gd name="T9" fmla="*/ 663 h 905"/>
              <a:gd name="T10" fmla="*/ 523 w 708"/>
              <a:gd name="T11" fmla="*/ 838 h 905"/>
              <a:gd name="T12" fmla="*/ 497 w 708"/>
              <a:gd name="T13" fmla="*/ 868 h 905"/>
              <a:gd name="T14" fmla="*/ 130 w 708"/>
              <a:gd name="T15" fmla="*/ 874 h 905"/>
              <a:gd name="T16" fmla="*/ 93 w 708"/>
              <a:gd name="T17" fmla="*/ 857 h 905"/>
              <a:gd name="T18" fmla="*/ 76 w 708"/>
              <a:gd name="T19" fmla="*/ 821 h 905"/>
              <a:gd name="T20" fmla="*/ 422 w 708"/>
              <a:gd name="T21" fmla="*/ 422 h 905"/>
              <a:gd name="T22" fmla="*/ 514 w 708"/>
              <a:gd name="T23" fmla="*/ 422 h 905"/>
              <a:gd name="T24" fmla="*/ 49 w 708"/>
              <a:gd name="T25" fmla="*/ 292 h 905"/>
              <a:gd name="T26" fmla="*/ 407 w 708"/>
              <a:gd name="T27" fmla="*/ 91 h 905"/>
              <a:gd name="T28" fmla="*/ 318 w 708"/>
              <a:gd name="T29" fmla="*/ 100 h 905"/>
              <a:gd name="T30" fmla="*/ 323 w 708"/>
              <a:gd name="T31" fmla="*/ 119 h 905"/>
              <a:gd name="T32" fmla="*/ 359 w 708"/>
              <a:gd name="T33" fmla="*/ 151 h 905"/>
              <a:gd name="T34" fmla="*/ 347 w 708"/>
              <a:gd name="T35" fmla="*/ 166 h 905"/>
              <a:gd name="T36" fmla="*/ 359 w 708"/>
              <a:gd name="T37" fmla="*/ 181 h 905"/>
              <a:gd name="T38" fmla="*/ 323 w 708"/>
              <a:gd name="T39" fmla="*/ 214 h 905"/>
              <a:gd name="T40" fmla="*/ 318 w 708"/>
              <a:gd name="T41" fmla="*/ 233 h 905"/>
              <a:gd name="T42" fmla="*/ 407 w 708"/>
              <a:gd name="T43" fmla="*/ 241 h 905"/>
              <a:gd name="T44" fmla="*/ 349 w 708"/>
              <a:gd name="T45" fmla="*/ 308 h 905"/>
              <a:gd name="T46" fmla="*/ 351 w 708"/>
              <a:gd name="T47" fmla="*/ 327 h 905"/>
              <a:gd name="T48" fmla="*/ 257 w 708"/>
              <a:gd name="T49" fmla="*/ 392 h 905"/>
              <a:gd name="T50" fmla="*/ 547 w 708"/>
              <a:gd name="T51" fmla="*/ 237 h 905"/>
              <a:gd name="T52" fmla="*/ 556 w 708"/>
              <a:gd name="T53" fmla="*/ 117 h 905"/>
              <a:gd name="T54" fmla="*/ 580 w 708"/>
              <a:gd name="T55" fmla="*/ 57 h 905"/>
              <a:gd name="T56" fmla="*/ 612 w 708"/>
              <a:gd name="T57" fmla="*/ 72 h 905"/>
              <a:gd name="T58" fmla="*/ 632 w 708"/>
              <a:gd name="T59" fmla="*/ 155 h 905"/>
              <a:gd name="T60" fmla="*/ 607 w 708"/>
              <a:gd name="T61" fmla="*/ 207 h 905"/>
              <a:gd name="T62" fmla="*/ 577 w 708"/>
              <a:gd name="T63" fmla="*/ 214 h 905"/>
              <a:gd name="T64" fmla="*/ 532 w 708"/>
              <a:gd name="T65" fmla="*/ 184 h 905"/>
              <a:gd name="T66" fmla="*/ 558 w 708"/>
              <a:gd name="T67" fmla="*/ 407 h 905"/>
              <a:gd name="T68" fmla="*/ 546 w 708"/>
              <a:gd name="T69" fmla="*/ 393 h 905"/>
              <a:gd name="T70" fmla="*/ 618 w 708"/>
              <a:gd name="T71" fmla="*/ 235 h 905"/>
              <a:gd name="T72" fmla="*/ 651 w 708"/>
              <a:gd name="T73" fmla="*/ 198 h 905"/>
              <a:gd name="T74" fmla="*/ 663 w 708"/>
              <a:gd name="T75" fmla="*/ 135 h 905"/>
              <a:gd name="T76" fmla="*/ 636 w 708"/>
              <a:gd name="T77" fmla="*/ 55 h 905"/>
              <a:gd name="T78" fmla="*/ 556 w 708"/>
              <a:gd name="T79" fmla="*/ 3 h 905"/>
              <a:gd name="T80" fmla="*/ 537 w 708"/>
              <a:gd name="T81" fmla="*/ 22 h 905"/>
              <a:gd name="T82" fmla="*/ 550 w 708"/>
              <a:gd name="T83" fmla="*/ 60 h 905"/>
              <a:gd name="T84" fmla="*/ 520 w 708"/>
              <a:gd name="T85" fmla="*/ 113 h 905"/>
              <a:gd name="T86" fmla="*/ 499 w 708"/>
              <a:gd name="T87" fmla="*/ 167 h 905"/>
              <a:gd name="T88" fmla="*/ 516 w 708"/>
              <a:gd name="T89" fmla="*/ 215 h 905"/>
              <a:gd name="T90" fmla="*/ 433 w 708"/>
              <a:gd name="T91" fmla="*/ 5 h 905"/>
              <a:gd name="T92" fmla="*/ 235 w 708"/>
              <a:gd name="T93" fmla="*/ 1 h 905"/>
              <a:gd name="T94" fmla="*/ 227 w 708"/>
              <a:gd name="T95" fmla="*/ 392 h 905"/>
              <a:gd name="T96" fmla="*/ 133 w 708"/>
              <a:gd name="T97" fmla="*/ 217 h 905"/>
              <a:gd name="T98" fmla="*/ 128 w 708"/>
              <a:gd name="T99" fmla="*/ 213 h 905"/>
              <a:gd name="T100" fmla="*/ 2 w 708"/>
              <a:gd name="T101" fmla="*/ 159 h 905"/>
              <a:gd name="T102" fmla="*/ 16 w 708"/>
              <a:gd name="T103" fmla="*/ 291 h 905"/>
              <a:gd name="T104" fmla="*/ 51 w 708"/>
              <a:gd name="T105" fmla="*/ 395 h 905"/>
              <a:gd name="T106" fmla="*/ 46 w 708"/>
              <a:gd name="T107" fmla="*/ 824 h 905"/>
              <a:gd name="T108" fmla="*/ 72 w 708"/>
              <a:gd name="T109" fmla="*/ 879 h 905"/>
              <a:gd name="T110" fmla="*/ 127 w 708"/>
              <a:gd name="T111" fmla="*/ 905 h 905"/>
              <a:gd name="T112" fmla="*/ 512 w 708"/>
              <a:gd name="T113" fmla="*/ 894 h 905"/>
              <a:gd name="T114" fmla="*/ 551 w 708"/>
              <a:gd name="T115" fmla="*/ 850 h 905"/>
              <a:gd name="T116" fmla="*/ 601 w 708"/>
              <a:gd name="T117" fmla="*/ 693 h 905"/>
              <a:gd name="T118" fmla="*/ 674 w 708"/>
              <a:gd name="T119" fmla="*/ 659 h 905"/>
              <a:gd name="T120" fmla="*/ 708 w 708"/>
              <a:gd name="T121" fmla="*/ 586 h 905"/>
              <a:gd name="T122" fmla="*/ 689 w 708"/>
              <a:gd name="T123" fmla="*/ 505 h 905"/>
              <a:gd name="T124" fmla="*/ 625 w 708"/>
              <a:gd name="T125" fmla="*/ 457 h 9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708" h="905">
                <a:moveTo>
                  <a:pt x="588" y="664"/>
                </a:moveTo>
                <a:lnTo>
                  <a:pt x="558" y="664"/>
                </a:lnTo>
                <a:lnTo>
                  <a:pt x="558" y="482"/>
                </a:lnTo>
                <a:lnTo>
                  <a:pt x="588" y="482"/>
                </a:lnTo>
                <a:lnTo>
                  <a:pt x="598" y="483"/>
                </a:lnTo>
                <a:lnTo>
                  <a:pt x="607" y="484"/>
                </a:lnTo>
                <a:lnTo>
                  <a:pt x="616" y="486"/>
                </a:lnTo>
                <a:lnTo>
                  <a:pt x="625" y="490"/>
                </a:lnTo>
                <a:lnTo>
                  <a:pt x="632" y="493"/>
                </a:lnTo>
                <a:lnTo>
                  <a:pt x="640" y="497"/>
                </a:lnTo>
                <a:lnTo>
                  <a:pt x="647" y="502"/>
                </a:lnTo>
                <a:lnTo>
                  <a:pt x="654" y="508"/>
                </a:lnTo>
                <a:lnTo>
                  <a:pt x="659" y="514"/>
                </a:lnTo>
                <a:lnTo>
                  <a:pt x="664" y="521"/>
                </a:lnTo>
                <a:lnTo>
                  <a:pt x="669" y="528"/>
                </a:lnTo>
                <a:lnTo>
                  <a:pt x="672" y="537"/>
                </a:lnTo>
                <a:lnTo>
                  <a:pt x="675" y="544"/>
                </a:lnTo>
                <a:lnTo>
                  <a:pt x="677" y="554"/>
                </a:lnTo>
                <a:lnTo>
                  <a:pt x="678" y="564"/>
                </a:lnTo>
                <a:lnTo>
                  <a:pt x="678" y="573"/>
                </a:lnTo>
                <a:lnTo>
                  <a:pt x="678" y="583"/>
                </a:lnTo>
                <a:lnTo>
                  <a:pt x="677" y="592"/>
                </a:lnTo>
                <a:lnTo>
                  <a:pt x="675" y="601"/>
                </a:lnTo>
                <a:lnTo>
                  <a:pt x="672" y="610"/>
                </a:lnTo>
                <a:lnTo>
                  <a:pt x="669" y="617"/>
                </a:lnTo>
                <a:lnTo>
                  <a:pt x="664" y="625"/>
                </a:lnTo>
                <a:lnTo>
                  <a:pt x="659" y="631"/>
                </a:lnTo>
                <a:lnTo>
                  <a:pt x="654" y="638"/>
                </a:lnTo>
                <a:lnTo>
                  <a:pt x="647" y="644"/>
                </a:lnTo>
                <a:lnTo>
                  <a:pt x="640" y="649"/>
                </a:lnTo>
                <a:lnTo>
                  <a:pt x="632" y="653"/>
                </a:lnTo>
                <a:lnTo>
                  <a:pt x="625" y="657"/>
                </a:lnTo>
                <a:lnTo>
                  <a:pt x="616" y="659"/>
                </a:lnTo>
                <a:lnTo>
                  <a:pt x="607" y="662"/>
                </a:lnTo>
                <a:lnTo>
                  <a:pt x="598" y="663"/>
                </a:lnTo>
                <a:lnTo>
                  <a:pt x="588" y="664"/>
                </a:lnTo>
                <a:lnTo>
                  <a:pt x="588" y="664"/>
                </a:lnTo>
                <a:close/>
                <a:moveTo>
                  <a:pt x="528" y="814"/>
                </a:moveTo>
                <a:lnTo>
                  <a:pt x="528" y="821"/>
                </a:lnTo>
                <a:lnTo>
                  <a:pt x="527" y="827"/>
                </a:lnTo>
                <a:lnTo>
                  <a:pt x="526" y="833"/>
                </a:lnTo>
                <a:lnTo>
                  <a:pt x="523" y="838"/>
                </a:lnTo>
                <a:lnTo>
                  <a:pt x="520" y="843"/>
                </a:lnTo>
                <a:lnTo>
                  <a:pt x="518" y="849"/>
                </a:lnTo>
                <a:lnTo>
                  <a:pt x="515" y="853"/>
                </a:lnTo>
                <a:lnTo>
                  <a:pt x="511" y="857"/>
                </a:lnTo>
                <a:lnTo>
                  <a:pt x="506" y="862"/>
                </a:lnTo>
                <a:lnTo>
                  <a:pt x="502" y="865"/>
                </a:lnTo>
                <a:lnTo>
                  <a:pt x="497" y="868"/>
                </a:lnTo>
                <a:lnTo>
                  <a:pt x="491" y="870"/>
                </a:lnTo>
                <a:lnTo>
                  <a:pt x="486" y="872"/>
                </a:lnTo>
                <a:lnTo>
                  <a:pt x="480" y="873"/>
                </a:lnTo>
                <a:lnTo>
                  <a:pt x="474" y="874"/>
                </a:lnTo>
                <a:lnTo>
                  <a:pt x="467" y="874"/>
                </a:lnTo>
                <a:lnTo>
                  <a:pt x="135" y="874"/>
                </a:lnTo>
                <a:lnTo>
                  <a:pt x="130" y="874"/>
                </a:lnTo>
                <a:lnTo>
                  <a:pt x="123" y="873"/>
                </a:lnTo>
                <a:lnTo>
                  <a:pt x="118" y="872"/>
                </a:lnTo>
                <a:lnTo>
                  <a:pt x="111" y="870"/>
                </a:lnTo>
                <a:lnTo>
                  <a:pt x="106" y="867"/>
                </a:lnTo>
                <a:lnTo>
                  <a:pt x="102" y="865"/>
                </a:lnTo>
                <a:lnTo>
                  <a:pt x="97" y="861"/>
                </a:lnTo>
                <a:lnTo>
                  <a:pt x="93" y="857"/>
                </a:lnTo>
                <a:lnTo>
                  <a:pt x="89" y="853"/>
                </a:lnTo>
                <a:lnTo>
                  <a:pt x="86" y="848"/>
                </a:lnTo>
                <a:lnTo>
                  <a:pt x="82" y="843"/>
                </a:lnTo>
                <a:lnTo>
                  <a:pt x="80" y="838"/>
                </a:lnTo>
                <a:lnTo>
                  <a:pt x="78" y="833"/>
                </a:lnTo>
                <a:lnTo>
                  <a:pt x="76" y="826"/>
                </a:lnTo>
                <a:lnTo>
                  <a:pt x="76" y="821"/>
                </a:lnTo>
                <a:lnTo>
                  <a:pt x="75" y="814"/>
                </a:lnTo>
                <a:lnTo>
                  <a:pt x="75" y="422"/>
                </a:lnTo>
                <a:lnTo>
                  <a:pt x="90" y="422"/>
                </a:lnTo>
                <a:lnTo>
                  <a:pt x="211" y="422"/>
                </a:lnTo>
                <a:lnTo>
                  <a:pt x="211" y="422"/>
                </a:lnTo>
                <a:lnTo>
                  <a:pt x="242" y="422"/>
                </a:lnTo>
                <a:lnTo>
                  <a:pt x="422" y="422"/>
                </a:lnTo>
                <a:lnTo>
                  <a:pt x="435" y="422"/>
                </a:lnTo>
                <a:lnTo>
                  <a:pt x="435" y="422"/>
                </a:lnTo>
                <a:lnTo>
                  <a:pt x="435" y="422"/>
                </a:lnTo>
                <a:lnTo>
                  <a:pt x="436" y="422"/>
                </a:lnTo>
                <a:lnTo>
                  <a:pt x="514" y="422"/>
                </a:lnTo>
                <a:lnTo>
                  <a:pt x="514" y="422"/>
                </a:lnTo>
                <a:lnTo>
                  <a:pt x="514" y="422"/>
                </a:lnTo>
                <a:lnTo>
                  <a:pt x="528" y="422"/>
                </a:lnTo>
                <a:lnTo>
                  <a:pt x="528" y="814"/>
                </a:lnTo>
                <a:close/>
                <a:moveTo>
                  <a:pt x="49" y="292"/>
                </a:moveTo>
                <a:lnTo>
                  <a:pt x="115" y="249"/>
                </a:lnTo>
                <a:lnTo>
                  <a:pt x="187" y="392"/>
                </a:lnTo>
                <a:lnTo>
                  <a:pt x="100" y="392"/>
                </a:lnTo>
                <a:lnTo>
                  <a:pt x="49" y="292"/>
                </a:lnTo>
                <a:close/>
                <a:moveTo>
                  <a:pt x="92" y="227"/>
                </a:moveTo>
                <a:lnTo>
                  <a:pt x="42" y="260"/>
                </a:lnTo>
                <a:lnTo>
                  <a:pt x="34" y="194"/>
                </a:lnTo>
                <a:lnTo>
                  <a:pt x="92" y="227"/>
                </a:lnTo>
                <a:close/>
                <a:moveTo>
                  <a:pt x="257" y="30"/>
                </a:moveTo>
                <a:lnTo>
                  <a:pt x="407" y="30"/>
                </a:lnTo>
                <a:lnTo>
                  <a:pt x="407" y="91"/>
                </a:lnTo>
                <a:lnTo>
                  <a:pt x="332" y="91"/>
                </a:lnTo>
                <a:lnTo>
                  <a:pt x="329" y="91"/>
                </a:lnTo>
                <a:lnTo>
                  <a:pt x="325" y="92"/>
                </a:lnTo>
                <a:lnTo>
                  <a:pt x="323" y="93"/>
                </a:lnTo>
                <a:lnTo>
                  <a:pt x="321" y="95"/>
                </a:lnTo>
                <a:lnTo>
                  <a:pt x="319" y="97"/>
                </a:lnTo>
                <a:lnTo>
                  <a:pt x="318" y="100"/>
                </a:lnTo>
                <a:lnTo>
                  <a:pt x="317" y="102"/>
                </a:lnTo>
                <a:lnTo>
                  <a:pt x="317" y="106"/>
                </a:lnTo>
                <a:lnTo>
                  <a:pt x="317" y="109"/>
                </a:lnTo>
                <a:lnTo>
                  <a:pt x="318" y="111"/>
                </a:lnTo>
                <a:lnTo>
                  <a:pt x="319" y="114"/>
                </a:lnTo>
                <a:lnTo>
                  <a:pt x="321" y="116"/>
                </a:lnTo>
                <a:lnTo>
                  <a:pt x="323" y="119"/>
                </a:lnTo>
                <a:lnTo>
                  <a:pt x="325" y="120"/>
                </a:lnTo>
                <a:lnTo>
                  <a:pt x="329" y="121"/>
                </a:lnTo>
                <a:lnTo>
                  <a:pt x="332" y="121"/>
                </a:lnTo>
                <a:lnTo>
                  <a:pt x="407" y="121"/>
                </a:lnTo>
                <a:lnTo>
                  <a:pt x="407" y="151"/>
                </a:lnTo>
                <a:lnTo>
                  <a:pt x="362" y="151"/>
                </a:lnTo>
                <a:lnTo>
                  <a:pt x="359" y="151"/>
                </a:lnTo>
                <a:lnTo>
                  <a:pt x="356" y="152"/>
                </a:lnTo>
                <a:lnTo>
                  <a:pt x="353" y="153"/>
                </a:lnTo>
                <a:lnTo>
                  <a:pt x="351" y="155"/>
                </a:lnTo>
                <a:lnTo>
                  <a:pt x="349" y="157"/>
                </a:lnTo>
                <a:lnTo>
                  <a:pt x="348" y="160"/>
                </a:lnTo>
                <a:lnTo>
                  <a:pt x="347" y="163"/>
                </a:lnTo>
                <a:lnTo>
                  <a:pt x="347" y="166"/>
                </a:lnTo>
                <a:lnTo>
                  <a:pt x="347" y="169"/>
                </a:lnTo>
                <a:lnTo>
                  <a:pt x="348" y="172"/>
                </a:lnTo>
                <a:lnTo>
                  <a:pt x="349" y="174"/>
                </a:lnTo>
                <a:lnTo>
                  <a:pt x="351" y="177"/>
                </a:lnTo>
                <a:lnTo>
                  <a:pt x="353" y="179"/>
                </a:lnTo>
                <a:lnTo>
                  <a:pt x="356" y="180"/>
                </a:lnTo>
                <a:lnTo>
                  <a:pt x="359" y="181"/>
                </a:lnTo>
                <a:lnTo>
                  <a:pt x="362" y="181"/>
                </a:lnTo>
                <a:lnTo>
                  <a:pt x="407" y="181"/>
                </a:lnTo>
                <a:lnTo>
                  <a:pt x="407" y="211"/>
                </a:lnTo>
                <a:lnTo>
                  <a:pt x="332" y="211"/>
                </a:lnTo>
                <a:lnTo>
                  <a:pt x="329" y="211"/>
                </a:lnTo>
                <a:lnTo>
                  <a:pt x="325" y="212"/>
                </a:lnTo>
                <a:lnTo>
                  <a:pt x="323" y="214"/>
                </a:lnTo>
                <a:lnTo>
                  <a:pt x="321" y="215"/>
                </a:lnTo>
                <a:lnTo>
                  <a:pt x="319" y="217"/>
                </a:lnTo>
                <a:lnTo>
                  <a:pt x="318" y="221"/>
                </a:lnTo>
                <a:lnTo>
                  <a:pt x="317" y="223"/>
                </a:lnTo>
                <a:lnTo>
                  <a:pt x="317" y="226"/>
                </a:lnTo>
                <a:lnTo>
                  <a:pt x="317" y="229"/>
                </a:lnTo>
                <a:lnTo>
                  <a:pt x="318" y="233"/>
                </a:lnTo>
                <a:lnTo>
                  <a:pt x="319" y="235"/>
                </a:lnTo>
                <a:lnTo>
                  <a:pt x="321" y="237"/>
                </a:lnTo>
                <a:lnTo>
                  <a:pt x="323" y="239"/>
                </a:lnTo>
                <a:lnTo>
                  <a:pt x="325" y="240"/>
                </a:lnTo>
                <a:lnTo>
                  <a:pt x="329" y="241"/>
                </a:lnTo>
                <a:lnTo>
                  <a:pt x="332" y="241"/>
                </a:lnTo>
                <a:lnTo>
                  <a:pt x="407" y="241"/>
                </a:lnTo>
                <a:lnTo>
                  <a:pt x="407" y="301"/>
                </a:lnTo>
                <a:lnTo>
                  <a:pt x="362" y="301"/>
                </a:lnTo>
                <a:lnTo>
                  <a:pt x="359" y="302"/>
                </a:lnTo>
                <a:lnTo>
                  <a:pt x="356" y="302"/>
                </a:lnTo>
                <a:lnTo>
                  <a:pt x="353" y="305"/>
                </a:lnTo>
                <a:lnTo>
                  <a:pt x="351" y="306"/>
                </a:lnTo>
                <a:lnTo>
                  <a:pt x="349" y="308"/>
                </a:lnTo>
                <a:lnTo>
                  <a:pt x="348" y="311"/>
                </a:lnTo>
                <a:lnTo>
                  <a:pt x="347" y="313"/>
                </a:lnTo>
                <a:lnTo>
                  <a:pt x="347" y="316"/>
                </a:lnTo>
                <a:lnTo>
                  <a:pt x="347" y="320"/>
                </a:lnTo>
                <a:lnTo>
                  <a:pt x="348" y="323"/>
                </a:lnTo>
                <a:lnTo>
                  <a:pt x="349" y="325"/>
                </a:lnTo>
                <a:lnTo>
                  <a:pt x="351" y="327"/>
                </a:lnTo>
                <a:lnTo>
                  <a:pt x="353" y="329"/>
                </a:lnTo>
                <a:lnTo>
                  <a:pt x="356" y="330"/>
                </a:lnTo>
                <a:lnTo>
                  <a:pt x="359" y="331"/>
                </a:lnTo>
                <a:lnTo>
                  <a:pt x="362" y="331"/>
                </a:lnTo>
                <a:lnTo>
                  <a:pt x="407" y="331"/>
                </a:lnTo>
                <a:lnTo>
                  <a:pt x="407" y="392"/>
                </a:lnTo>
                <a:lnTo>
                  <a:pt x="257" y="392"/>
                </a:lnTo>
                <a:lnTo>
                  <a:pt x="257" y="30"/>
                </a:lnTo>
                <a:close/>
                <a:moveTo>
                  <a:pt x="547" y="237"/>
                </a:moveTo>
                <a:lnTo>
                  <a:pt x="554" y="240"/>
                </a:lnTo>
                <a:lnTo>
                  <a:pt x="561" y="241"/>
                </a:lnTo>
                <a:lnTo>
                  <a:pt x="504" y="392"/>
                </a:lnTo>
                <a:lnTo>
                  <a:pt x="461" y="392"/>
                </a:lnTo>
                <a:lnTo>
                  <a:pt x="547" y="237"/>
                </a:lnTo>
                <a:lnTo>
                  <a:pt x="547" y="237"/>
                </a:lnTo>
                <a:lnTo>
                  <a:pt x="547" y="237"/>
                </a:lnTo>
                <a:lnTo>
                  <a:pt x="547" y="237"/>
                </a:lnTo>
                <a:close/>
                <a:moveTo>
                  <a:pt x="533" y="149"/>
                </a:moveTo>
                <a:lnTo>
                  <a:pt x="540" y="137"/>
                </a:lnTo>
                <a:lnTo>
                  <a:pt x="549" y="125"/>
                </a:lnTo>
                <a:lnTo>
                  <a:pt x="556" y="117"/>
                </a:lnTo>
                <a:lnTo>
                  <a:pt x="561" y="109"/>
                </a:lnTo>
                <a:lnTo>
                  <a:pt x="568" y="100"/>
                </a:lnTo>
                <a:lnTo>
                  <a:pt x="572" y="91"/>
                </a:lnTo>
                <a:lnTo>
                  <a:pt x="576" y="80"/>
                </a:lnTo>
                <a:lnTo>
                  <a:pt x="579" y="69"/>
                </a:lnTo>
                <a:lnTo>
                  <a:pt x="580" y="63"/>
                </a:lnTo>
                <a:lnTo>
                  <a:pt x="580" y="57"/>
                </a:lnTo>
                <a:lnTo>
                  <a:pt x="580" y="51"/>
                </a:lnTo>
                <a:lnTo>
                  <a:pt x="579" y="44"/>
                </a:lnTo>
                <a:lnTo>
                  <a:pt x="587" y="49"/>
                </a:lnTo>
                <a:lnTo>
                  <a:pt x="594" y="54"/>
                </a:lnTo>
                <a:lnTo>
                  <a:pt x="601" y="60"/>
                </a:lnTo>
                <a:lnTo>
                  <a:pt x="606" y="66"/>
                </a:lnTo>
                <a:lnTo>
                  <a:pt x="612" y="72"/>
                </a:lnTo>
                <a:lnTo>
                  <a:pt x="616" y="80"/>
                </a:lnTo>
                <a:lnTo>
                  <a:pt x="620" y="86"/>
                </a:lnTo>
                <a:lnTo>
                  <a:pt x="623" y="94"/>
                </a:lnTo>
                <a:lnTo>
                  <a:pt x="629" y="109"/>
                </a:lnTo>
                <a:lnTo>
                  <a:pt x="632" y="124"/>
                </a:lnTo>
                <a:lnTo>
                  <a:pt x="633" y="140"/>
                </a:lnTo>
                <a:lnTo>
                  <a:pt x="632" y="155"/>
                </a:lnTo>
                <a:lnTo>
                  <a:pt x="631" y="165"/>
                </a:lnTo>
                <a:lnTo>
                  <a:pt x="628" y="176"/>
                </a:lnTo>
                <a:lnTo>
                  <a:pt x="623" y="186"/>
                </a:lnTo>
                <a:lnTo>
                  <a:pt x="618" y="195"/>
                </a:lnTo>
                <a:lnTo>
                  <a:pt x="615" y="199"/>
                </a:lnTo>
                <a:lnTo>
                  <a:pt x="612" y="203"/>
                </a:lnTo>
                <a:lnTo>
                  <a:pt x="607" y="207"/>
                </a:lnTo>
                <a:lnTo>
                  <a:pt x="603" y="209"/>
                </a:lnTo>
                <a:lnTo>
                  <a:pt x="599" y="211"/>
                </a:lnTo>
                <a:lnTo>
                  <a:pt x="593" y="213"/>
                </a:lnTo>
                <a:lnTo>
                  <a:pt x="588" y="214"/>
                </a:lnTo>
                <a:lnTo>
                  <a:pt x="583" y="214"/>
                </a:lnTo>
                <a:lnTo>
                  <a:pt x="583" y="214"/>
                </a:lnTo>
                <a:lnTo>
                  <a:pt x="577" y="214"/>
                </a:lnTo>
                <a:lnTo>
                  <a:pt x="571" y="213"/>
                </a:lnTo>
                <a:lnTo>
                  <a:pt x="565" y="212"/>
                </a:lnTo>
                <a:lnTo>
                  <a:pt x="559" y="209"/>
                </a:lnTo>
                <a:lnTo>
                  <a:pt x="550" y="205"/>
                </a:lnTo>
                <a:lnTo>
                  <a:pt x="543" y="199"/>
                </a:lnTo>
                <a:lnTo>
                  <a:pt x="536" y="192"/>
                </a:lnTo>
                <a:lnTo>
                  <a:pt x="532" y="184"/>
                </a:lnTo>
                <a:lnTo>
                  <a:pt x="530" y="176"/>
                </a:lnTo>
                <a:lnTo>
                  <a:pt x="529" y="167"/>
                </a:lnTo>
                <a:lnTo>
                  <a:pt x="530" y="157"/>
                </a:lnTo>
                <a:lnTo>
                  <a:pt x="533" y="149"/>
                </a:lnTo>
                <a:close/>
                <a:moveTo>
                  <a:pt x="588" y="452"/>
                </a:moveTo>
                <a:lnTo>
                  <a:pt x="558" y="452"/>
                </a:lnTo>
                <a:lnTo>
                  <a:pt x="558" y="407"/>
                </a:lnTo>
                <a:lnTo>
                  <a:pt x="558" y="404"/>
                </a:lnTo>
                <a:lnTo>
                  <a:pt x="557" y="401"/>
                </a:lnTo>
                <a:lnTo>
                  <a:pt x="556" y="399"/>
                </a:lnTo>
                <a:lnTo>
                  <a:pt x="554" y="396"/>
                </a:lnTo>
                <a:lnTo>
                  <a:pt x="551" y="395"/>
                </a:lnTo>
                <a:lnTo>
                  <a:pt x="548" y="393"/>
                </a:lnTo>
                <a:lnTo>
                  <a:pt x="546" y="393"/>
                </a:lnTo>
                <a:lnTo>
                  <a:pt x="543" y="392"/>
                </a:lnTo>
                <a:lnTo>
                  <a:pt x="536" y="392"/>
                </a:lnTo>
                <a:lnTo>
                  <a:pt x="592" y="244"/>
                </a:lnTo>
                <a:lnTo>
                  <a:pt x="599" y="242"/>
                </a:lnTo>
                <a:lnTo>
                  <a:pt x="605" y="241"/>
                </a:lnTo>
                <a:lnTo>
                  <a:pt x="612" y="238"/>
                </a:lnTo>
                <a:lnTo>
                  <a:pt x="618" y="235"/>
                </a:lnTo>
                <a:lnTo>
                  <a:pt x="623" y="231"/>
                </a:lnTo>
                <a:lnTo>
                  <a:pt x="629" y="227"/>
                </a:lnTo>
                <a:lnTo>
                  <a:pt x="634" y="223"/>
                </a:lnTo>
                <a:lnTo>
                  <a:pt x="639" y="217"/>
                </a:lnTo>
                <a:lnTo>
                  <a:pt x="644" y="211"/>
                </a:lnTo>
                <a:lnTo>
                  <a:pt x="647" y="206"/>
                </a:lnTo>
                <a:lnTo>
                  <a:pt x="651" y="198"/>
                </a:lnTo>
                <a:lnTo>
                  <a:pt x="655" y="192"/>
                </a:lnTo>
                <a:lnTo>
                  <a:pt x="657" y="184"/>
                </a:lnTo>
                <a:lnTo>
                  <a:pt x="659" y="176"/>
                </a:lnTo>
                <a:lnTo>
                  <a:pt x="661" y="167"/>
                </a:lnTo>
                <a:lnTo>
                  <a:pt x="662" y="158"/>
                </a:lnTo>
                <a:lnTo>
                  <a:pt x="663" y="147"/>
                </a:lnTo>
                <a:lnTo>
                  <a:pt x="663" y="135"/>
                </a:lnTo>
                <a:lnTo>
                  <a:pt x="662" y="123"/>
                </a:lnTo>
                <a:lnTo>
                  <a:pt x="661" y="111"/>
                </a:lnTo>
                <a:lnTo>
                  <a:pt x="658" y="99"/>
                </a:lnTo>
                <a:lnTo>
                  <a:pt x="654" y="87"/>
                </a:lnTo>
                <a:lnTo>
                  <a:pt x="649" y="77"/>
                </a:lnTo>
                <a:lnTo>
                  <a:pt x="643" y="66"/>
                </a:lnTo>
                <a:lnTo>
                  <a:pt x="636" y="55"/>
                </a:lnTo>
                <a:lnTo>
                  <a:pt x="628" y="45"/>
                </a:lnTo>
                <a:lnTo>
                  <a:pt x="619" y="36"/>
                </a:lnTo>
                <a:lnTo>
                  <a:pt x="608" y="27"/>
                </a:lnTo>
                <a:lnTo>
                  <a:pt x="598" y="20"/>
                </a:lnTo>
                <a:lnTo>
                  <a:pt x="585" y="13"/>
                </a:lnTo>
                <a:lnTo>
                  <a:pt x="571" y="8"/>
                </a:lnTo>
                <a:lnTo>
                  <a:pt x="556" y="3"/>
                </a:lnTo>
                <a:lnTo>
                  <a:pt x="551" y="2"/>
                </a:lnTo>
                <a:lnTo>
                  <a:pt x="547" y="3"/>
                </a:lnTo>
                <a:lnTo>
                  <a:pt x="543" y="6"/>
                </a:lnTo>
                <a:lnTo>
                  <a:pt x="540" y="9"/>
                </a:lnTo>
                <a:lnTo>
                  <a:pt x="537" y="13"/>
                </a:lnTo>
                <a:lnTo>
                  <a:pt x="537" y="17"/>
                </a:lnTo>
                <a:lnTo>
                  <a:pt x="537" y="22"/>
                </a:lnTo>
                <a:lnTo>
                  <a:pt x="540" y="26"/>
                </a:lnTo>
                <a:lnTo>
                  <a:pt x="543" y="33"/>
                </a:lnTo>
                <a:lnTo>
                  <a:pt x="546" y="38"/>
                </a:lnTo>
                <a:lnTo>
                  <a:pt x="548" y="44"/>
                </a:lnTo>
                <a:lnTo>
                  <a:pt x="549" y="50"/>
                </a:lnTo>
                <a:lnTo>
                  <a:pt x="550" y="55"/>
                </a:lnTo>
                <a:lnTo>
                  <a:pt x="550" y="60"/>
                </a:lnTo>
                <a:lnTo>
                  <a:pt x="549" y="65"/>
                </a:lnTo>
                <a:lnTo>
                  <a:pt x="548" y="70"/>
                </a:lnTo>
                <a:lnTo>
                  <a:pt x="545" y="79"/>
                </a:lnTo>
                <a:lnTo>
                  <a:pt x="540" y="88"/>
                </a:lnTo>
                <a:lnTo>
                  <a:pt x="533" y="97"/>
                </a:lnTo>
                <a:lnTo>
                  <a:pt x="526" y="107"/>
                </a:lnTo>
                <a:lnTo>
                  <a:pt x="520" y="113"/>
                </a:lnTo>
                <a:lnTo>
                  <a:pt x="515" y="121"/>
                </a:lnTo>
                <a:lnTo>
                  <a:pt x="509" y="128"/>
                </a:lnTo>
                <a:lnTo>
                  <a:pt x="505" y="137"/>
                </a:lnTo>
                <a:lnTo>
                  <a:pt x="503" y="144"/>
                </a:lnTo>
                <a:lnTo>
                  <a:pt x="501" y="152"/>
                </a:lnTo>
                <a:lnTo>
                  <a:pt x="500" y="159"/>
                </a:lnTo>
                <a:lnTo>
                  <a:pt x="499" y="167"/>
                </a:lnTo>
                <a:lnTo>
                  <a:pt x="499" y="174"/>
                </a:lnTo>
                <a:lnTo>
                  <a:pt x="500" y="182"/>
                </a:lnTo>
                <a:lnTo>
                  <a:pt x="502" y="190"/>
                </a:lnTo>
                <a:lnTo>
                  <a:pt x="504" y="196"/>
                </a:lnTo>
                <a:lnTo>
                  <a:pt x="507" y="202"/>
                </a:lnTo>
                <a:lnTo>
                  <a:pt x="512" y="209"/>
                </a:lnTo>
                <a:lnTo>
                  <a:pt x="516" y="215"/>
                </a:lnTo>
                <a:lnTo>
                  <a:pt x="521" y="221"/>
                </a:lnTo>
                <a:lnTo>
                  <a:pt x="437" y="373"/>
                </a:lnTo>
                <a:lnTo>
                  <a:pt x="437" y="15"/>
                </a:lnTo>
                <a:lnTo>
                  <a:pt x="437" y="12"/>
                </a:lnTo>
                <a:lnTo>
                  <a:pt x="436" y="9"/>
                </a:lnTo>
                <a:lnTo>
                  <a:pt x="434" y="7"/>
                </a:lnTo>
                <a:lnTo>
                  <a:pt x="433" y="5"/>
                </a:lnTo>
                <a:lnTo>
                  <a:pt x="431" y="2"/>
                </a:lnTo>
                <a:lnTo>
                  <a:pt x="428" y="1"/>
                </a:lnTo>
                <a:lnTo>
                  <a:pt x="426" y="0"/>
                </a:lnTo>
                <a:lnTo>
                  <a:pt x="422" y="0"/>
                </a:lnTo>
                <a:lnTo>
                  <a:pt x="242" y="0"/>
                </a:lnTo>
                <a:lnTo>
                  <a:pt x="238" y="0"/>
                </a:lnTo>
                <a:lnTo>
                  <a:pt x="235" y="1"/>
                </a:lnTo>
                <a:lnTo>
                  <a:pt x="233" y="2"/>
                </a:lnTo>
                <a:lnTo>
                  <a:pt x="231" y="5"/>
                </a:lnTo>
                <a:lnTo>
                  <a:pt x="229" y="7"/>
                </a:lnTo>
                <a:lnTo>
                  <a:pt x="228" y="9"/>
                </a:lnTo>
                <a:lnTo>
                  <a:pt x="227" y="12"/>
                </a:lnTo>
                <a:lnTo>
                  <a:pt x="227" y="15"/>
                </a:lnTo>
                <a:lnTo>
                  <a:pt x="227" y="392"/>
                </a:lnTo>
                <a:lnTo>
                  <a:pt x="220" y="392"/>
                </a:lnTo>
                <a:lnTo>
                  <a:pt x="134" y="220"/>
                </a:lnTo>
                <a:lnTo>
                  <a:pt x="134" y="219"/>
                </a:lnTo>
                <a:lnTo>
                  <a:pt x="133" y="219"/>
                </a:lnTo>
                <a:lnTo>
                  <a:pt x="133" y="219"/>
                </a:lnTo>
                <a:lnTo>
                  <a:pt x="133" y="217"/>
                </a:lnTo>
                <a:lnTo>
                  <a:pt x="133" y="217"/>
                </a:lnTo>
                <a:lnTo>
                  <a:pt x="132" y="217"/>
                </a:lnTo>
                <a:lnTo>
                  <a:pt x="131" y="215"/>
                </a:lnTo>
                <a:lnTo>
                  <a:pt x="130" y="214"/>
                </a:lnTo>
                <a:lnTo>
                  <a:pt x="129" y="214"/>
                </a:lnTo>
                <a:lnTo>
                  <a:pt x="129" y="213"/>
                </a:lnTo>
                <a:lnTo>
                  <a:pt x="129" y="213"/>
                </a:lnTo>
                <a:lnTo>
                  <a:pt x="128" y="213"/>
                </a:lnTo>
                <a:lnTo>
                  <a:pt x="22" y="153"/>
                </a:lnTo>
                <a:lnTo>
                  <a:pt x="19" y="151"/>
                </a:lnTo>
                <a:lnTo>
                  <a:pt x="15" y="151"/>
                </a:lnTo>
                <a:lnTo>
                  <a:pt x="10" y="152"/>
                </a:lnTo>
                <a:lnTo>
                  <a:pt x="6" y="153"/>
                </a:lnTo>
                <a:lnTo>
                  <a:pt x="4" y="156"/>
                </a:lnTo>
                <a:lnTo>
                  <a:pt x="2" y="159"/>
                </a:lnTo>
                <a:lnTo>
                  <a:pt x="0" y="164"/>
                </a:lnTo>
                <a:lnTo>
                  <a:pt x="0" y="168"/>
                </a:lnTo>
                <a:lnTo>
                  <a:pt x="15" y="288"/>
                </a:lnTo>
                <a:lnTo>
                  <a:pt x="15" y="288"/>
                </a:lnTo>
                <a:lnTo>
                  <a:pt x="15" y="288"/>
                </a:lnTo>
                <a:lnTo>
                  <a:pt x="16" y="290"/>
                </a:lnTo>
                <a:lnTo>
                  <a:pt x="16" y="291"/>
                </a:lnTo>
                <a:lnTo>
                  <a:pt x="16" y="292"/>
                </a:lnTo>
                <a:lnTo>
                  <a:pt x="17" y="294"/>
                </a:lnTo>
                <a:lnTo>
                  <a:pt x="66" y="392"/>
                </a:lnTo>
                <a:lnTo>
                  <a:pt x="60" y="392"/>
                </a:lnTo>
                <a:lnTo>
                  <a:pt x="57" y="393"/>
                </a:lnTo>
                <a:lnTo>
                  <a:pt x="54" y="393"/>
                </a:lnTo>
                <a:lnTo>
                  <a:pt x="51" y="395"/>
                </a:lnTo>
                <a:lnTo>
                  <a:pt x="49" y="396"/>
                </a:lnTo>
                <a:lnTo>
                  <a:pt x="48" y="399"/>
                </a:lnTo>
                <a:lnTo>
                  <a:pt x="46" y="401"/>
                </a:lnTo>
                <a:lnTo>
                  <a:pt x="46" y="405"/>
                </a:lnTo>
                <a:lnTo>
                  <a:pt x="45" y="407"/>
                </a:lnTo>
                <a:lnTo>
                  <a:pt x="45" y="814"/>
                </a:lnTo>
                <a:lnTo>
                  <a:pt x="46" y="824"/>
                </a:lnTo>
                <a:lnTo>
                  <a:pt x="47" y="833"/>
                </a:lnTo>
                <a:lnTo>
                  <a:pt x="49" y="841"/>
                </a:lnTo>
                <a:lnTo>
                  <a:pt x="52" y="850"/>
                </a:lnTo>
                <a:lnTo>
                  <a:pt x="56" y="857"/>
                </a:lnTo>
                <a:lnTo>
                  <a:pt x="60" y="865"/>
                </a:lnTo>
                <a:lnTo>
                  <a:pt x="65" y="872"/>
                </a:lnTo>
                <a:lnTo>
                  <a:pt x="72" y="879"/>
                </a:lnTo>
                <a:lnTo>
                  <a:pt x="78" y="884"/>
                </a:lnTo>
                <a:lnTo>
                  <a:pt x="85" y="890"/>
                </a:lnTo>
                <a:lnTo>
                  <a:pt x="92" y="894"/>
                </a:lnTo>
                <a:lnTo>
                  <a:pt x="100" y="898"/>
                </a:lnTo>
                <a:lnTo>
                  <a:pt x="108" y="900"/>
                </a:lnTo>
                <a:lnTo>
                  <a:pt x="117" y="902"/>
                </a:lnTo>
                <a:lnTo>
                  <a:pt x="127" y="905"/>
                </a:lnTo>
                <a:lnTo>
                  <a:pt x="135" y="905"/>
                </a:lnTo>
                <a:lnTo>
                  <a:pt x="467" y="905"/>
                </a:lnTo>
                <a:lnTo>
                  <a:pt x="477" y="905"/>
                </a:lnTo>
                <a:lnTo>
                  <a:pt x="486" y="902"/>
                </a:lnTo>
                <a:lnTo>
                  <a:pt x="494" y="900"/>
                </a:lnTo>
                <a:lnTo>
                  <a:pt x="503" y="898"/>
                </a:lnTo>
                <a:lnTo>
                  <a:pt x="512" y="894"/>
                </a:lnTo>
                <a:lnTo>
                  <a:pt x="519" y="890"/>
                </a:lnTo>
                <a:lnTo>
                  <a:pt x="526" y="884"/>
                </a:lnTo>
                <a:lnTo>
                  <a:pt x="532" y="879"/>
                </a:lnTo>
                <a:lnTo>
                  <a:pt x="537" y="872"/>
                </a:lnTo>
                <a:lnTo>
                  <a:pt x="543" y="866"/>
                </a:lnTo>
                <a:lnTo>
                  <a:pt x="547" y="858"/>
                </a:lnTo>
                <a:lnTo>
                  <a:pt x="551" y="850"/>
                </a:lnTo>
                <a:lnTo>
                  <a:pt x="554" y="842"/>
                </a:lnTo>
                <a:lnTo>
                  <a:pt x="556" y="833"/>
                </a:lnTo>
                <a:lnTo>
                  <a:pt x="558" y="824"/>
                </a:lnTo>
                <a:lnTo>
                  <a:pt x="558" y="814"/>
                </a:lnTo>
                <a:lnTo>
                  <a:pt x="558" y="694"/>
                </a:lnTo>
                <a:lnTo>
                  <a:pt x="588" y="694"/>
                </a:lnTo>
                <a:lnTo>
                  <a:pt x="601" y="693"/>
                </a:lnTo>
                <a:lnTo>
                  <a:pt x="613" y="692"/>
                </a:lnTo>
                <a:lnTo>
                  <a:pt x="625" y="688"/>
                </a:lnTo>
                <a:lnTo>
                  <a:pt x="636" y="684"/>
                </a:lnTo>
                <a:lnTo>
                  <a:pt x="647" y="680"/>
                </a:lnTo>
                <a:lnTo>
                  <a:pt x="657" y="673"/>
                </a:lnTo>
                <a:lnTo>
                  <a:pt x="666" y="667"/>
                </a:lnTo>
                <a:lnTo>
                  <a:pt x="674" y="659"/>
                </a:lnTo>
                <a:lnTo>
                  <a:pt x="683" y="651"/>
                </a:lnTo>
                <a:lnTo>
                  <a:pt x="689" y="642"/>
                </a:lnTo>
                <a:lnTo>
                  <a:pt x="694" y="631"/>
                </a:lnTo>
                <a:lnTo>
                  <a:pt x="700" y="622"/>
                </a:lnTo>
                <a:lnTo>
                  <a:pt x="703" y="610"/>
                </a:lnTo>
                <a:lnTo>
                  <a:pt x="706" y="598"/>
                </a:lnTo>
                <a:lnTo>
                  <a:pt x="708" y="586"/>
                </a:lnTo>
                <a:lnTo>
                  <a:pt x="708" y="573"/>
                </a:lnTo>
                <a:lnTo>
                  <a:pt x="708" y="561"/>
                </a:lnTo>
                <a:lnTo>
                  <a:pt x="706" y="548"/>
                </a:lnTo>
                <a:lnTo>
                  <a:pt x="703" y="536"/>
                </a:lnTo>
                <a:lnTo>
                  <a:pt x="700" y="525"/>
                </a:lnTo>
                <a:lnTo>
                  <a:pt x="694" y="514"/>
                </a:lnTo>
                <a:lnTo>
                  <a:pt x="689" y="505"/>
                </a:lnTo>
                <a:lnTo>
                  <a:pt x="683" y="495"/>
                </a:lnTo>
                <a:lnTo>
                  <a:pt x="674" y="486"/>
                </a:lnTo>
                <a:lnTo>
                  <a:pt x="666" y="479"/>
                </a:lnTo>
                <a:lnTo>
                  <a:pt x="657" y="472"/>
                </a:lnTo>
                <a:lnTo>
                  <a:pt x="647" y="466"/>
                </a:lnTo>
                <a:lnTo>
                  <a:pt x="636" y="462"/>
                </a:lnTo>
                <a:lnTo>
                  <a:pt x="625" y="457"/>
                </a:lnTo>
                <a:lnTo>
                  <a:pt x="613" y="455"/>
                </a:lnTo>
                <a:lnTo>
                  <a:pt x="601" y="453"/>
                </a:lnTo>
                <a:lnTo>
                  <a:pt x="588" y="452"/>
                </a:lnTo>
                <a:close/>
              </a:path>
            </a:pathLst>
          </a:custGeom>
          <a:solidFill>
            <a:srgbClr val="E2583D"/>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mn-cs"/>
            </a:endParaRPr>
          </a:p>
        </p:txBody>
      </p:sp>
      <p:sp>
        <p:nvSpPr>
          <p:cNvPr id="40" name="TextBox 39"/>
          <p:cNvSpPr txBox="1"/>
          <p:nvPr/>
        </p:nvSpPr>
        <p:spPr>
          <a:xfrm>
            <a:off x="2149380" y="1885467"/>
            <a:ext cx="1187994"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uLnTx/>
                <a:uFillTx/>
                <a:ea typeface="+mn-ea"/>
                <a:cs typeface="+mn-cs"/>
              </a:rPr>
              <a:t>LOREM IPSUM </a:t>
            </a:r>
            <a:r>
              <a:rPr kumimoji="0" lang="en-US" sz="1200" b="0" i="0" u="none" strike="noStrike" kern="1200" cap="none" spc="0" normalizeH="0" baseline="0" noProof="0" dirty="0">
                <a:ln>
                  <a:noFill/>
                </a:ln>
                <a:solidFill>
                  <a:prstClr val="white"/>
                </a:solidFill>
                <a:effectLst/>
                <a:uLnTx/>
                <a:uFillTx/>
                <a:ea typeface="+mn-ea"/>
                <a:cs typeface="+mn-cs"/>
              </a:rPr>
              <a:t> </a:t>
            </a:r>
          </a:p>
        </p:txBody>
      </p:sp>
      <p:sp>
        <p:nvSpPr>
          <p:cNvPr id="41" name="TextBox 40"/>
          <p:cNvSpPr txBox="1"/>
          <p:nvPr/>
        </p:nvSpPr>
        <p:spPr>
          <a:xfrm>
            <a:off x="2038375" y="2173846"/>
            <a:ext cx="1410005" cy="67710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err="1">
                <a:ln>
                  <a:noFill/>
                </a:ln>
                <a:solidFill>
                  <a:prstClr val="white"/>
                </a:solidFill>
                <a:effectLst/>
                <a:uLnTx/>
                <a:uFillTx/>
                <a:ea typeface="+mn-ea"/>
                <a:cs typeface="+mn-cs"/>
              </a:rPr>
              <a:t>Lorem</a:t>
            </a:r>
            <a:r>
              <a:rPr kumimoji="0" lang="en-US" sz="1100" b="0" i="0" u="none" strike="noStrike" kern="1200" cap="none" spc="0" normalizeH="0" baseline="0" noProof="0" dirty="0">
                <a:ln>
                  <a:noFill/>
                </a:ln>
                <a:solidFill>
                  <a:prstClr val="white"/>
                </a:solidFill>
                <a:effectLst/>
                <a:uLnTx/>
                <a:uFillTx/>
                <a:ea typeface="+mn-ea"/>
                <a:cs typeface="+mn-cs"/>
              </a:rPr>
              <a:t> </a:t>
            </a:r>
            <a:r>
              <a:rPr kumimoji="0" lang="en-US" sz="1100" b="0" i="0" u="none" strike="noStrike" kern="1200" cap="none" spc="0" normalizeH="0" baseline="0" noProof="0" dirty="0" err="1">
                <a:ln>
                  <a:noFill/>
                </a:ln>
                <a:solidFill>
                  <a:prstClr val="white"/>
                </a:solidFill>
                <a:effectLst/>
                <a:uLnTx/>
                <a:uFillTx/>
                <a:ea typeface="+mn-ea"/>
                <a:cs typeface="+mn-cs"/>
              </a:rPr>
              <a:t>Ipsum</a:t>
            </a:r>
            <a:r>
              <a:rPr kumimoji="0" lang="en-US" sz="1100" b="0" i="0" u="none" strike="noStrike" kern="1200" cap="none" spc="0" normalizeH="0" baseline="0" noProof="0" dirty="0">
                <a:ln>
                  <a:noFill/>
                </a:ln>
                <a:solidFill>
                  <a:prstClr val="white"/>
                </a:solidFill>
                <a:effectLst/>
                <a:uLnTx/>
                <a:uFillTx/>
                <a:ea typeface="+mn-ea"/>
                <a:cs typeface="+mn-cs"/>
              </a:rPr>
              <a:t> is simply dummy text of the printing and typesetting industry. </a:t>
            </a:r>
          </a:p>
        </p:txBody>
      </p:sp>
      <p:sp>
        <p:nvSpPr>
          <p:cNvPr id="12" name="TextBox 11"/>
          <p:cNvSpPr txBox="1"/>
          <p:nvPr/>
        </p:nvSpPr>
        <p:spPr>
          <a:xfrm>
            <a:off x="3848425" y="1885467"/>
            <a:ext cx="1187994"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uLnTx/>
                <a:uFillTx/>
                <a:ea typeface="+mn-ea"/>
                <a:cs typeface="+mn-cs"/>
              </a:rPr>
              <a:t>LOREM IPSUM </a:t>
            </a:r>
            <a:r>
              <a:rPr kumimoji="0" lang="en-US" sz="1200" b="0" i="0" u="none" strike="noStrike" kern="1200" cap="none" spc="0" normalizeH="0" baseline="0" noProof="0" dirty="0">
                <a:ln>
                  <a:noFill/>
                </a:ln>
                <a:solidFill>
                  <a:prstClr val="white"/>
                </a:solidFill>
                <a:effectLst/>
                <a:uLnTx/>
                <a:uFillTx/>
                <a:ea typeface="+mn-ea"/>
                <a:cs typeface="+mn-cs"/>
              </a:rPr>
              <a:t> </a:t>
            </a:r>
          </a:p>
        </p:txBody>
      </p:sp>
      <p:sp>
        <p:nvSpPr>
          <p:cNvPr id="13" name="TextBox 12"/>
          <p:cNvSpPr txBox="1"/>
          <p:nvPr/>
        </p:nvSpPr>
        <p:spPr>
          <a:xfrm>
            <a:off x="3737420" y="2173846"/>
            <a:ext cx="1410005" cy="67710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err="1">
                <a:ln>
                  <a:noFill/>
                </a:ln>
                <a:solidFill>
                  <a:prstClr val="white"/>
                </a:solidFill>
                <a:effectLst/>
                <a:uLnTx/>
                <a:uFillTx/>
                <a:ea typeface="+mn-ea"/>
                <a:cs typeface="+mn-cs"/>
              </a:rPr>
              <a:t>Lorem</a:t>
            </a:r>
            <a:r>
              <a:rPr kumimoji="0" lang="en-US" sz="1100" b="0" i="0" u="none" strike="noStrike" kern="1200" cap="none" spc="0" normalizeH="0" baseline="0" noProof="0" dirty="0">
                <a:ln>
                  <a:noFill/>
                </a:ln>
                <a:solidFill>
                  <a:prstClr val="white"/>
                </a:solidFill>
                <a:effectLst/>
                <a:uLnTx/>
                <a:uFillTx/>
                <a:ea typeface="+mn-ea"/>
                <a:cs typeface="+mn-cs"/>
              </a:rPr>
              <a:t> </a:t>
            </a:r>
            <a:r>
              <a:rPr kumimoji="0" lang="en-US" sz="1100" b="0" i="0" u="none" strike="noStrike" kern="1200" cap="none" spc="0" normalizeH="0" baseline="0" noProof="0" dirty="0" err="1">
                <a:ln>
                  <a:noFill/>
                </a:ln>
                <a:solidFill>
                  <a:prstClr val="white"/>
                </a:solidFill>
                <a:effectLst/>
                <a:uLnTx/>
                <a:uFillTx/>
                <a:ea typeface="+mn-ea"/>
                <a:cs typeface="+mn-cs"/>
              </a:rPr>
              <a:t>Ipsum</a:t>
            </a:r>
            <a:r>
              <a:rPr kumimoji="0" lang="en-US" sz="1100" b="0" i="0" u="none" strike="noStrike" kern="1200" cap="none" spc="0" normalizeH="0" baseline="0" noProof="0" dirty="0">
                <a:ln>
                  <a:noFill/>
                </a:ln>
                <a:solidFill>
                  <a:prstClr val="white"/>
                </a:solidFill>
                <a:effectLst/>
                <a:uLnTx/>
                <a:uFillTx/>
                <a:ea typeface="+mn-ea"/>
                <a:cs typeface="+mn-cs"/>
              </a:rPr>
              <a:t> is simply dummy text of the printing and typesetting industry. </a:t>
            </a:r>
          </a:p>
        </p:txBody>
      </p:sp>
      <p:sp>
        <p:nvSpPr>
          <p:cNvPr id="14" name="TextBox 13"/>
          <p:cNvSpPr txBox="1"/>
          <p:nvPr/>
        </p:nvSpPr>
        <p:spPr>
          <a:xfrm>
            <a:off x="5547470" y="1885467"/>
            <a:ext cx="1187994"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uLnTx/>
                <a:uFillTx/>
                <a:ea typeface="+mn-ea"/>
                <a:cs typeface="+mn-cs"/>
              </a:rPr>
              <a:t>LOREM IPSUM </a:t>
            </a:r>
            <a:r>
              <a:rPr kumimoji="0" lang="en-US" sz="1200" b="0" i="0" u="none" strike="noStrike" kern="1200" cap="none" spc="0" normalizeH="0" baseline="0" noProof="0" dirty="0">
                <a:ln>
                  <a:noFill/>
                </a:ln>
                <a:solidFill>
                  <a:prstClr val="white"/>
                </a:solidFill>
                <a:effectLst/>
                <a:uLnTx/>
                <a:uFillTx/>
                <a:ea typeface="+mn-ea"/>
                <a:cs typeface="+mn-cs"/>
              </a:rPr>
              <a:t> </a:t>
            </a:r>
          </a:p>
        </p:txBody>
      </p:sp>
      <p:sp>
        <p:nvSpPr>
          <p:cNvPr id="15" name="TextBox 14"/>
          <p:cNvSpPr txBox="1"/>
          <p:nvPr/>
        </p:nvSpPr>
        <p:spPr>
          <a:xfrm>
            <a:off x="5436465" y="2173846"/>
            <a:ext cx="1410005" cy="67710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err="1">
                <a:ln>
                  <a:noFill/>
                </a:ln>
                <a:solidFill>
                  <a:prstClr val="white"/>
                </a:solidFill>
                <a:effectLst/>
                <a:uLnTx/>
                <a:uFillTx/>
                <a:ea typeface="+mn-ea"/>
                <a:cs typeface="+mn-cs"/>
              </a:rPr>
              <a:t>Lorem</a:t>
            </a:r>
            <a:r>
              <a:rPr kumimoji="0" lang="en-US" sz="1100" b="0" i="0" u="none" strike="noStrike" kern="1200" cap="none" spc="0" normalizeH="0" baseline="0" noProof="0" dirty="0">
                <a:ln>
                  <a:noFill/>
                </a:ln>
                <a:solidFill>
                  <a:prstClr val="white"/>
                </a:solidFill>
                <a:effectLst/>
                <a:uLnTx/>
                <a:uFillTx/>
                <a:ea typeface="+mn-ea"/>
                <a:cs typeface="+mn-cs"/>
              </a:rPr>
              <a:t> </a:t>
            </a:r>
            <a:r>
              <a:rPr kumimoji="0" lang="en-US" sz="1100" b="0" i="0" u="none" strike="noStrike" kern="1200" cap="none" spc="0" normalizeH="0" baseline="0" noProof="0" dirty="0" err="1">
                <a:ln>
                  <a:noFill/>
                </a:ln>
                <a:solidFill>
                  <a:prstClr val="white"/>
                </a:solidFill>
                <a:effectLst/>
                <a:uLnTx/>
                <a:uFillTx/>
                <a:ea typeface="+mn-ea"/>
                <a:cs typeface="+mn-cs"/>
              </a:rPr>
              <a:t>Ipsum</a:t>
            </a:r>
            <a:r>
              <a:rPr kumimoji="0" lang="en-US" sz="1100" b="0" i="0" u="none" strike="noStrike" kern="1200" cap="none" spc="0" normalizeH="0" baseline="0" noProof="0" dirty="0">
                <a:ln>
                  <a:noFill/>
                </a:ln>
                <a:solidFill>
                  <a:prstClr val="white"/>
                </a:solidFill>
                <a:effectLst/>
                <a:uLnTx/>
                <a:uFillTx/>
                <a:ea typeface="+mn-ea"/>
                <a:cs typeface="+mn-cs"/>
              </a:rPr>
              <a:t> is simply dummy text of the printing and typesetting industry. </a:t>
            </a:r>
          </a:p>
        </p:txBody>
      </p:sp>
      <p:sp>
        <p:nvSpPr>
          <p:cNvPr id="16" name="TextBox 15"/>
          <p:cNvSpPr txBox="1"/>
          <p:nvPr/>
        </p:nvSpPr>
        <p:spPr>
          <a:xfrm>
            <a:off x="7246515" y="1885467"/>
            <a:ext cx="1187994"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uLnTx/>
                <a:uFillTx/>
                <a:ea typeface="+mn-ea"/>
                <a:cs typeface="+mn-cs"/>
              </a:rPr>
              <a:t>LOREM IPSUM </a:t>
            </a:r>
            <a:r>
              <a:rPr kumimoji="0" lang="en-US" sz="1200" b="0" i="0" u="none" strike="noStrike" kern="1200" cap="none" spc="0" normalizeH="0" baseline="0" noProof="0" dirty="0">
                <a:ln>
                  <a:noFill/>
                </a:ln>
                <a:solidFill>
                  <a:prstClr val="white"/>
                </a:solidFill>
                <a:effectLst/>
                <a:uLnTx/>
                <a:uFillTx/>
                <a:ea typeface="+mn-ea"/>
                <a:cs typeface="+mn-cs"/>
              </a:rPr>
              <a:t> </a:t>
            </a:r>
          </a:p>
        </p:txBody>
      </p:sp>
      <p:sp>
        <p:nvSpPr>
          <p:cNvPr id="17" name="TextBox 16"/>
          <p:cNvSpPr txBox="1"/>
          <p:nvPr/>
        </p:nvSpPr>
        <p:spPr>
          <a:xfrm>
            <a:off x="7135510" y="2173846"/>
            <a:ext cx="1410005" cy="67710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err="1">
                <a:ln>
                  <a:noFill/>
                </a:ln>
                <a:solidFill>
                  <a:prstClr val="white"/>
                </a:solidFill>
                <a:effectLst/>
                <a:uLnTx/>
                <a:uFillTx/>
                <a:ea typeface="+mn-ea"/>
                <a:cs typeface="+mn-cs"/>
              </a:rPr>
              <a:t>Lorem</a:t>
            </a:r>
            <a:r>
              <a:rPr kumimoji="0" lang="en-US" sz="1100" b="0" i="0" u="none" strike="noStrike" kern="1200" cap="none" spc="0" normalizeH="0" baseline="0" noProof="0" dirty="0">
                <a:ln>
                  <a:noFill/>
                </a:ln>
                <a:solidFill>
                  <a:prstClr val="white"/>
                </a:solidFill>
                <a:effectLst/>
                <a:uLnTx/>
                <a:uFillTx/>
                <a:ea typeface="+mn-ea"/>
                <a:cs typeface="+mn-cs"/>
              </a:rPr>
              <a:t> </a:t>
            </a:r>
            <a:r>
              <a:rPr kumimoji="0" lang="en-US" sz="1100" b="0" i="0" u="none" strike="noStrike" kern="1200" cap="none" spc="0" normalizeH="0" baseline="0" noProof="0" dirty="0" err="1">
                <a:ln>
                  <a:noFill/>
                </a:ln>
                <a:solidFill>
                  <a:prstClr val="white"/>
                </a:solidFill>
                <a:effectLst/>
                <a:uLnTx/>
                <a:uFillTx/>
                <a:ea typeface="+mn-ea"/>
                <a:cs typeface="+mn-cs"/>
              </a:rPr>
              <a:t>Ipsum</a:t>
            </a:r>
            <a:r>
              <a:rPr kumimoji="0" lang="en-US" sz="1100" b="0" i="0" u="none" strike="noStrike" kern="1200" cap="none" spc="0" normalizeH="0" baseline="0" noProof="0" dirty="0">
                <a:ln>
                  <a:noFill/>
                </a:ln>
                <a:solidFill>
                  <a:prstClr val="white"/>
                </a:solidFill>
                <a:effectLst/>
                <a:uLnTx/>
                <a:uFillTx/>
                <a:ea typeface="+mn-ea"/>
                <a:cs typeface="+mn-cs"/>
              </a:rPr>
              <a:t> is simply dummy text of the printing and typesetting industry. </a:t>
            </a:r>
          </a:p>
        </p:txBody>
      </p:sp>
      <p:sp>
        <p:nvSpPr>
          <p:cNvPr id="18" name="TextBox 17"/>
          <p:cNvSpPr txBox="1"/>
          <p:nvPr/>
        </p:nvSpPr>
        <p:spPr>
          <a:xfrm>
            <a:off x="8945563" y="1885467"/>
            <a:ext cx="1187994"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uLnTx/>
                <a:uFillTx/>
                <a:ea typeface="+mn-ea"/>
                <a:cs typeface="+mn-cs"/>
              </a:rPr>
              <a:t>LOREM IPSUM </a:t>
            </a:r>
            <a:r>
              <a:rPr kumimoji="0" lang="en-US" sz="1200" b="0" i="0" u="none" strike="noStrike" kern="1200" cap="none" spc="0" normalizeH="0" baseline="0" noProof="0" dirty="0">
                <a:ln>
                  <a:noFill/>
                </a:ln>
                <a:solidFill>
                  <a:prstClr val="white"/>
                </a:solidFill>
                <a:effectLst/>
                <a:uLnTx/>
                <a:uFillTx/>
                <a:ea typeface="+mn-ea"/>
                <a:cs typeface="+mn-cs"/>
              </a:rPr>
              <a:t> </a:t>
            </a:r>
          </a:p>
        </p:txBody>
      </p:sp>
      <p:sp>
        <p:nvSpPr>
          <p:cNvPr id="19" name="TextBox 18"/>
          <p:cNvSpPr txBox="1"/>
          <p:nvPr/>
        </p:nvSpPr>
        <p:spPr>
          <a:xfrm>
            <a:off x="8834558" y="2173846"/>
            <a:ext cx="1410005" cy="67710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err="1">
                <a:ln>
                  <a:noFill/>
                </a:ln>
                <a:solidFill>
                  <a:prstClr val="white"/>
                </a:solidFill>
                <a:effectLst/>
                <a:uLnTx/>
                <a:uFillTx/>
                <a:ea typeface="+mn-ea"/>
                <a:cs typeface="+mn-cs"/>
              </a:rPr>
              <a:t>Lorem</a:t>
            </a:r>
            <a:r>
              <a:rPr kumimoji="0" lang="en-US" sz="1100" b="0" i="0" u="none" strike="noStrike" kern="1200" cap="none" spc="0" normalizeH="0" baseline="0" noProof="0" dirty="0">
                <a:ln>
                  <a:noFill/>
                </a:ln>
                <a:solidFill>
                  <a:prstClr val="white"/>
                </a:solidFill>
                <a:effectLst/>
                <a:uLnTx/>
                <a:uFillTx/>
                <a:ea typeface="+mn-ea"/>
                <a:cs typeface="+mn-cs"/>
              </a:rPr>
              <a:t> </a:t>
            </a:r>
            <a:r>
              <a:rPr kumimoji="0" lang="en-US" sz="1100" b="0" i="0" u="none" strike="noStrike" kern="1200" cap="none" spc="0" normalizeH="0" baseline="0" noProof="0" dirty="0" err="1">
                <a:ln>
                  <a:noFill/>
                </a:ln>
                <a:solidFill>
                  <a:prstClr val="white"/>
                </a:solidFill>
                <a:effectLst/>
                <a:uLnTx/>
                <a:uFillTx/>
                <a:ea typeface="+mn-ea"/>
                <a:cs typeface="+mn-cs"/>
              </a:rPr>
              <a:t>Ipsum</a:t>
            </a:r>
            <a:r>
              <a:rPr kumimoji="0" lang="en-US" sz="1100" b="0" i="0" u="none" strike="noStrike" kern="1200" cap="none" spc="0" normalizeH="0" baseline="0" noProof="0" dirty="0">
                <a:ln>
                  <a:noFill/>
                </a:ln>
                <a:solidFill>
                  <a:prstClr val="white"/>
                </a:solidFill>
                <a:effectLst/>
                <a:uLnTx/>
                <a:uFillTx/>
                <a:ea typeface="+mn-ea"/>
                <a:cs typeface="+mn-cs"/>
              </a:rPr>
              <a:t> is simply dummy text of the printing and typesetting industry. </a:t>
            </a:r>
          </a:p>
        </p:txBody>
      </p:sp>
      <p:cxnSp>
        <p:nvCxnSpPr>
          <p:cNvPr id="20" name="Straight Connector 19"/>
          <p:cNvCxnSpPr/>
          <p:nvPr/>
        </p:nvCxnSpPr>
        <p:spPr>
          <a:xfrm>
            <a:off x="3592900" y="1494416"/>
            <a:ext cx="0" cy="1281823"/>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p:nvCxnSpPr>
        <p:spPr>
          <a:xfrm>
            <a:off x="5291945" y="1494416"/>
            <a:ext cx="0" cy="1281823"/>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p:nvCxnSpPr>
        <p:spPr>
          <a:xfrm>
            <a:off x="6990990" y="1494416"/>
            <a:ext cx="0" cy="1281823"/>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nvCxnSpPr>
        <p:spPr>
          <a:xfrm>
            <a:off x="8690035" y="1494416"/>
            <a:ext cx="0" cy="1281823"/>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grpSp>
        <p:nvGrpSpPr>
          <p:cNvPr id="24" name="Group 23"/>
          <p:cNvGrpSpPr/>
          <p:nvPr/>
        </p:nvGrpSpPr>
        <p:grpSpPr>
          <a:xfrm>
            <a:off x="4298753" y="1494416"/>
            <a:ext cx="287338" cy="287338"/>
            <a:chOff x="885825" y="1925638"/>
            <a:chExt cx="287338" cy="287338"/>
          </a:xfrm>
          <a:solidFill>
            <a:srgbClr val="78D2D2"/>
          </a:solidFill>
        </p:grpSpPr>
        <p:sp>
          <p:nvSpPr>
            <p:cNvPr id="32" name="Freeform 50"/>
            <p:cNvSpPr>
              <a:spLocks noEditPoints="1"/>
            </p:cNvSpPr>
            <p:nvPr/>
          </p:nvSpPr>
          <p:spPr bwMode="auto">
            <a:xfrm>
              <a:off x="885825" y="1925638"/>
              <a:ext cx="228600" cy="287338"/>
            </a:xfrm>
            <a:custGeom>
              <a:avLst/>
              <a:gdLst>
                <a:gd name="T0" fmla="*/ 230 w 722"/>
                <a:gd name="T1" fmla="*/ 221 h 905"/>
                <a:gd name="T2" fmla="*/ 252 w 722"/>
                <a:gd name="T3" fmla="*/ 167 h 905"/>
                <a:gd name="T4" fmla="*/ 252 w 722"/>
                <a:gd name="T5" fmla="*/ 105 h 905"/>
                <a:gd name="T6" fmla="*/ 227 w 722"/>
                <a:gd name="T7" fmla="*/ 52 h 905"/>
                <a:gd name="T8" fmla="*/ 598 w 722"/>
                <a:gd name="T9" fmla="*/ 30 h 905"/>
                <a:gd name="T10" fmla="*/ 635 w 722"/>
                <a:gd name="T11" fmla="*/ 43 h 905"/>
                <a:gd name="T12" fmla="*/ 668 w 722"/>
                <a:gd name="T13" fmla="*/ 70 h 905"/>
                <a:gd name="T14" fmla="*/ 688 w 722"/>
                <a:gd name="T15" fmla="*/ 106 h 905"/>
                <a:gd name="T16" fmla="*/ 692 w 722"/>
                <a:gd name="T17" fmla="*/ 145 h 905"/>
                <a:gd name="T18" fmla="*/ 679 w 722"/>
                <a:gd name="T19" fmla="*/ 184 h 905"/>
                <a:gd name="T20" fmla="*/ 652 w 722"/>
                <a:gd name="T21" fmla="*/ 216 h 905"/>
                <a:gd name="T22" fmla="*/ 617 w 722"/>
                <a:gd name="T23" fmla="*/ 236 h 905"/>
                <a:gd name="T24" fmla="*/ 587 w 722"/>
                <a:gd name="T25" fmla="*/ 241 h 905"/>
                <a:gd name="T26" fmla="*/ 572 w 722"/>
                <a:gd name="T27" fmla="*/ 271 h 905"/>
                <a:gd name="T28" fmla="*/ 217 w 722"/>
                <a:gd name="T29" fmla="*/ 181 h 905"/>
                <a:gd name="T30" fmla="*/ 191 w 722"/>
                <a:gd name="T31" fmla="*/ 220 h 905"/>
                <a:gd name="T32" fmla="*/ 150 w 722"/>
                <a:gd name="T33" fmla="*/ 240 h 905"/>
                <a:gd name="T34" fmla="*/ 30 w 722"/>
                <a:gd name="T35" fmla="*/ 125 h 905"/>
                <a:gd name="T36" fmla="*/ 42 w 722"/>
                <a:gd name="T37" fmla="*/ 86 h 905"/>
                <a:gd name="T38" fmla="*/ 66 w 722"/>
                <a:gd name="T39" fmla="*/ 55 h 905"/>
                <a:gd name="T40" fmla="*/ 100 w 722"/>
                <a:gd name="T41" fmla="*/ 35 h 905"/>
                <a:gd name="T42" fmla="*/ 138 w 722"/>
                <a:gd name="T43" fmla="*/ 30 h 905"/>
                <a:gd name="T44" fmla="*/ 174 w 722"/>
                <a:gd name="T45" fmla="*/ 43 h 905"/>
                <a:gd name="T46" fmla="*/ 203 w 722"/>
                <a:gd name="T47" fmla="*/ 69 h 905"/>
                <a:gd name="T48" fmla="*/ 221 w 722"/>
                <a:gd name="T49" fmla="*/ 105 h 905"/>
                <a:gd name="T50" fmla="*/ 225 w 722"/>
                <a:gd name="T51" fmla="*/ 143 h 905"/>
                <a:gd name="T52" fmla="*/ 129 w 722"/>
                <a:gd name="T53" fmla="*/ 152 h 905"/>
                <a:gd name="T54" fmla="*/ 121 w 722"/>
                <a:gd name="T55" fmla="*/ 160 h 905"/>
                <a:gd name="T56" fmla="*/ 120 w 722"/>
                <a:gd name="T57" fmla="*/ 604 h 905"/>
                <a:gd name="T58" fmla="*/ 720 w 722"/>
                <a:gd name="T59" fmla="*/ 110 h 905"/>
                <a:gd name="T60" fmla="*/ 699 w 722"/>
                <a:gd name="T61" fmla="*/ 62 h 905"/>
                <a:gd name="T62" fmla="*/ 661 w 722"/>
                <a:gd name="T63" fmla="*/ 24 h 905"/>
                <a:gd name="T64" fmla="*/ 614 w 722"/>
                <a:gd name="T65" fmla="*/ 3 h 905"/>
                <a:gd name="T66" fmla="*/ 134 w 722"/>
                <a:gd name="T67" fmla="*/ 0 h 905"/>
                <a:gd name="T68" fmla="*/ 116 w 722"/>
                <a:gd name="T69" fmla="*/ 1 h 905"/>
                <a:gd name="T70" fmla="*/ 67 w 722"/>
                <a:gd name="T71" fmla="*/ 16 h 905"/>
                <a:gd name="T72" fmla="*/ 29 w 722"/>
                <a:gd name="T73" fmla="*/ 50 h 905"/>
                <a:gd name="T74" fmla="*/ 5 w 722"/>
                <a:gd name="T75" fmla="*/ 96 h 905"/>
                <a:gd name="T76" fmla="*/ 0 w 722"/>
                <a:gd name="T77" fmla="*/ 619 h 905"/>
                <a:gd name="T78" fmla="*/ 4 w 722"/>
                <a:gd name="T79" fmla="*/ 629 h 905"/>
                <a:gd name="T80" fmla="*/ 15 w 722"/>
                <a:gd name="T81" fmla="*/ 634 h 905"/>
                <a:gd name="T82" fmla="*/ 121 w 722"/>
                <a:gd name="T83" fmla="*/ 895 h 905"/>
                <a:gd name="T84" fmla="*/ 129 w 722"/>
                <a:gd name="T85" fmla="*/ 904 h 905"/>
                <a:gd name="T86" fmla="*/ 590 w 722"/>
                <a:gd name="T87" fmla="*/ 905 h 905"/>
                <a:gd name="T88" fmla="*/ 600 w 722"/>
                <a:gd name="T89" fmla="*/ 898 h 905"/>
                <a:gd name="T90" fmla="*/ 602 w 722"/>
                <a:gd name="T91" fmla="*/ 270 h 905"/>
                <a:gd name="T92" fmla="*/ 648 w 722"/>
                <a:gd name="T93" fmla="*/ 255 h 905"/>
                <a:gd name="T94" fmla="*/ 687 w 722"/>
                <a:gd name="T95" fmla="*/ 225 h 905"/>
                <a:gd name="T96" fmla="*/ 713 w 722"/>
                <a:gd name="T97" fmla="*/ 183 h 905"/>
                <a:gd name="T98" fmla="*/ 722 w 722"/>
                <a:gd name="T99" fmla="*/ 136 h 9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722" h="905">
                  <a:moveTo>
                    <a:pt x="587" y="241"/>
                  </a:moveTo>
                  <a:lnTo>
                    <a:pt x="211" y="241"/>
                  </a:lnTo>
                  <a:lnTo>
                    <a:pt x="221" y="231"/>
                  </a:lnTo>
                  <a:lnTo>
                    <a:pt x="230" y="221"/>
                  </a:lnTo>
                  <a:lnTo>
                    <a:pt x="237" y="209"/>
                  </a:lnTo>
                  <a:lnTo>
                    <a:pt x="244" y="195"/>
                  </a:lnTo>
                  <a:lnTo>
                    <a:pt x="249" y="182"/>
                  </a:lnTo>
                  <a:lnTo>
                    <a:pt x="252" y="167"/>
                  </a:lnTo>
                  <a:lnTo>
                    <a:pt x="254" y="152"/>
                  </a:lnTo>
                  <a:lnTo>
                    <a:pt x="256" y="136"/>
                  </a:lnTo>
                  <a:lnTo>
                    <a:pt x="254" y="120"/>
                  </a:lnTo>
                  <a:lnTo>
                    <a:pt x="252" y="105"/>
                  </a:lnTo>
                  <a:lnTo>
                    <a:pt x="248" y="91"/>
                  </a:lnTo>
                  <a:lnTo>
                    <a:pt x="243" y="77"/>
                  </a:lnTo>
                  <a:lnTo>
                    <a:pt x="235" y="64"/>
                  </a:lnTo>
                  <a:lnTo>
                    <a:pt x="227" y="52"/>
                  </a:lnTo>
                  <a:lnTo>
                    <a:pt x="218" y="40"/>
                  </a:lnTo>
                  <a:lnTo>
                    <a:pt x="207" y="30"/>
                  </a:lnTo>
                  <a:lnTo>
                    <a:pt x="587" y="30"/>
                  </a:lnTo>
                  <a:lnTo>
                    <a:pt x="598" y="30"/>
                  </a:lnTo>
                  <a:lnTo>
                    <a:pt x="607" y="33"/>
                  </a:lnTo>
                  <a:lnTo>
                    <a:pt x="617" y="36"/>
                  </a:lnTo>
                  <a:lnTo>
                    <a:pt x="627" y="39"/>
                  </a:lnTo>
                  <a:lnTo>
                    <a:pt x="635" y="43"/>
                  </a:lnTo>
                  <a:lnTo>
                    <a:pt x="645" y="50"/>
                  </a:lnTo>
                  <a:lnTo>
                    <a:pt x="652" y="56"/>
                  </a:lnTo>
                  <a:lnTo>
                    <a:pt x="660" y="63"/>
                  </a:lnTo>
                  <a:lnTo>
                    <a:pt x="668" y="70"/>
                  </a:lnTo>
                  <a:lnTo>
                    <a:pt x="674" y="79"/>
                  </a:lnTo>
                  <a:lnTo>
                    <a:pt x="679" y="87"/>
                  </a:lnTo>
                  <a:lnTo>
                    <a:pt x="684" y="96"/>
                  </a:lnTo>
                  <a:lnTo>
                    <a:pt x="688" y="106"/>
                  </a:lnTo>
                  <a:lnTo>
                    <a:pt x="690" y="115"/>
                  </a:lnTo>
                  <a:lnTo>
                    <a:pt x="692" y="126"/>
                  </a:lnTo>
                  <a:lnTo>
                    <a:pt x="692" y="136"/>
                  </a:lnTo>
                  <a:lnTo>
                    <a:pt x="692" y="145"/>
                  </a:lnTo>
                  <a:lnTo>
                    <a:pt x="690" y="156"/>
                  </a:lnTo>
                  <a:lnTo>
                    <a:pt x="688" y="166"/>
                  </a:lnTo>
                  <a:lnTo>
                    <a:pt x="684" y="176"/>
                  </a:lnTo>
                  <a:lnTo>
                    <a:pt x="679" y="184"/>
                  </a:lnTo>
                  <a:lnTo>
                    <a:pt x="674" y="193"/>
                  </a:lnTo>
                  <a:lnTo>
                    <a:pt x="668" y="201"/>
                  </a:lnTo>
                  <a:lnTo>
                    <a:pt x="660" y="209"/>
                  </a:lnTo>
                  <a:lnTo>
                    <a:pt x="652" y="216"/>
                  </a:lnTo>
                  <a:lnTo>
                    <a:pt x="645" y="222"/>
                  </a:lnTo>
                  <a:lnTo>
                    <a:pt x="635" y="228"/>
                  </a:lnTo>
                  <a:lnTo>
                    <a:pt x="627" y="233"/>
                  </a:lnTo>
                  <a:lnTo>
                    <a:pt x="617" y="236"/>
                  </a:lnTo>
                  <a:lnTo>
                    <a:pt x="607" y="239"/>
                  </a:lnTo>
                  <a:lnTo>
                    <a:pt x="598" y="241"/>
                  </a:lnTo>
                  <a:lnTo>
                    <a:pt x="587" y="241"/>
                  </a:lnTo>
                  <a:lnTo>
                    <a:pt x="587" y="241"/>
                  </a:lnTo>
                  <a:close/>
                  <a:moveTo>
                    <a:pt x="572" y="874"/>
                  </a:moveTo>
                  <a:lnTo>
                    <a:pt x="150" y="874"/>
                  </a:lnTo>
                  <a:lnTo>
                    <a:pt x="150" y="271"/>
                  </a:lnTo>
                  <a:lnTo>
                    <a:pt x="572" y="271"/>
                  </a:lnTo>
                  <a:lnTo>
                    <a:pt x="572" y="874"/>
                  </a:lnTo>
                  <a:close/>
                  <a:moveTo>
                    <a:pt x="150" y="240"/>
                  </a:moveTo>
                  <a:lnTo>
                    <a:pt x="150" y="181"/>
                  </a:lnTo>
                  <a:lnTo>
                    <a:pt x="217" y="181"/>
                  </a:lnTo>
                  <a:lnTo>
                    <a:pt x="211" y="192"/>
                  </a:lnTo>
                  <a:lnTo>
                    <a:pt x="206" y="201"/>
                  </a:lnTo>
                  <a:lnTo>
                    <a:pt x="199" y="211"/>
                  </a:lnTo>
                  <a:lnTo>
                    <a:pt x="191" y="220"/>
                  </a:lnTo>
                  <a:lnTo>
                    <a:pt x="182" y="226"/>
                  </a:lnTo>
                  <a:lnTo>
                    <a:pt x="172" y="233"/>
                  </a:lnTo>
                  <a:lnTo>
                    <a:pt x="161" y="237"/>
                  </a:lnTo>
                  <a:lnTo>
                    <a:pt x="150" y="240"/>
                  </a:lnTo>
                  <a:lnTo>
                    <a:pt x="150" y="240"/>
                  </a:lnTo>
                  <a:close/>
                  <a:moveTo>
                    <a:pt x="30" y="604"/>
                  </a:moveTo>
                  <a:lnTo>
                    <a:pt x="30" y="136"/>
                  </a:lnTo>
                  <a:lnTo>
                    <a:pt x="30" y="125"/>
                  </a:lnTo>
                  <a:lnTo>
                    <a:pt x="32" y="115"/>
                  </a:lnTo>
                  <a:lnTo>
                    <a:pt x="34" y="105"/>
                  </a:lnTo>
                  <a:lnTo>
                    <a:pt x="37" y="96"/>
                  </a:lnTo>
                  <a:lnTo>
                    <a:pt x="42" y="86"/>
                  </a:lnTo>
                  <a:lnTo>
                    <a:pt x="47" y="78"/>
                  </a:lnTo>
                  <a:lnTo>
                    <a:pt x="52" y="69"/>
                  </a:lnTo>
                  <a:lnTo>
                    <a:pt x="59" y="62"/>
                  </a:lnTo>
                  <a:lnTo>
                    <a:pt x="66" y="55"/>
                  </a:lnTo>
                  <a:lnTo>
                    <a:pt x="74" y="49"/>
                  </a:lnTo>
                  <a:lnTo>
                    <a:pt x="82" y="43"/>
                  </a:lnTo>
                  <a:lnTo>
                    <a:pt x="91" y="39"/>
                  </a:lnTo>
                  <a:lnTo>
                    <a:pt x="100" y="35"/>
                  </a:lnTo>
                  <a:lnTo>
                    <a:pt x="109" y="33"/>
                  </a:lnTo>
                  <a:lnTo>
                    <a:pt x="119" y="30"/>
                  </a:lnTo>
                  <a:lnTo>
                    <a:pt x="129" y="30"/>
                  </a:lnTo>
                  <a:lnTo>
                    <a:pt x="138" y="30"/>
                  </a:lnTo>
                  <a:lnTo>
                    <a:pt x="148" y="33"/>
                  </a:lnTo>
                  <a:lnTo>
                    <a:pt x="157" y="35"/>
                  </a:lnTo>
                  <a:lnTo>
                    <a:pt x="165" y="39"/>
                  </a:lnTo>
                  <a:lnTo>
                    <a:pt x="174" y="43"/>
                  </a:lnTo>
                  <a:lnTo>
                    <a:pt x="182" y="49"/>
                  </a:lnTo>
                  <a:lnTo>
                    <a:pt x="190" y="55"/>
                  </a:lnTo>
                  <a:lnTo>
                    <a:pt x="196" y="62"/>
                  </a:lnTo>
                  <a:lnTo>
                    <a:pt x="203" y="69"/>
                  </a:lnTo>
                  <a:lnTo>
                    <a:pt x="208" y="78"/>
                  </a:lnTo>
                  <a:lnTo>
                    <a:pt x="214" y="86"/>
                  </a:lnTo>
                  <a:lnTo>
                    <a:pt x="218" y="95"/>
                  </a:lnTo>
                  <a:lnTo>
                    <a:pt x="221" y="105"/>
                  </a:lnTo>
                  <a:lnTo>
                    <a:pt x="223" y="115"/>
                  </a:lnTo>
                  <a:lnTo>
                    <a:pt x="224" y="125"/>
                  </a:lnTo>
                  <a:lnTo>
                    <a:pt x="225" y="136"/>
                  </a:lnTo>
                  <a:lnTo>
                    <a:pt x="225" y="143"/>
                  </a:lnTo>
                  <a:lnTo>
                    <a:pt x="224" y="151"/>
                  </a:lnTo>
                  <a:lnTo>
                    <a:pt x="135" y="151"/>
                  </a:lnTo>
                  <a:lnTo>
                    <a:pt x="132" y="151"/>
                  </a:lnTo>
                  <a:lnTo>
                    <a:pt x="129" y="152"/>
                  </a:lnTo>
                  <a:lnTo>
                    <a:pt x="126" y="153"/>
                  </a:lnTo>
                  <a:lnTo>
                    <a:pt x="124" y="155"/>
                  </a:lnTo>
                  <a:lnTo>
                    <a:pt x="122" y="157"/>
                  </a:lnTo>
                  <a:lnTo>
                    <a:pt x="121" y="160"/>
                  </a:lnTo>
                  <a:lnTo>
                    <a:pt x="120" y="163"/>
                  </a:lnTo>
                  <a:lnTo>
                    <a:pt x="120" y="166"/>
                  </a:lnTo>
                  <a:lnTo>
                    <a:pt x="120" y="256"/>
                  </a:lnTo>
                  <a:lnTo>
                    <a:pt x="120" y="604"/>
                  </a:lnTo>
                  <a:lnTo>
                    <a:pt x="30" y="604"/>
                  </a:lnTo>
                  <a:close/>
                  <a:moveTo>
                    <a:pt x="722" y="136"/>
                  </a:moveTo>
                  <a:lnTo>
                    <a:pt x="722" y="123"/>
                  </a:lnTo>
                  <a:lnTo>
                    <a:pt x="720" y="110"/>
                  </a:lnTo>
                  <a:lnTo>
                    <a:pt x="717" y="97"/>
                  </a:lnTo>
                  <a:lnTo>
                    <a:pt x="712" y="84"/>
                  </a:lnTo>
                  <a:lnTo>
                    <a:pt x="706" y="72"/>
                  </a:lnTo>
                  <a:lnTo>
                    <a:pt x="699" y="62"/>
                  </a:lnTo>
                  <a:lnTo>
                    <a:pt x="691" y="51"/>
                  </a:lnTo>
                  <a:lnTo>
                    <a:pt x="682" y="41"/>
                  </a:lnTo>
                  <a:lnTo>
                    <a:pt x="672" y="33"/>
                  </a:lnTo>
                  <a:lnTo>
                    <a:pt x="661" y="24"/>
                  </a:lnTo>
                  <a:lnTo>
                    <a:pt x="650" y="17"/>
                  </a:lnTo>
                  <a:lnTo>
                    <a:pt x="638" y="11"/>
                  </a:lnTo>
                  <a:lnTo>
                    <a:pt x="626" y="7"/>
                  </a:lnTo>
                  <a:lnTo>
                    <a:pt x="614" y="3"/>
                  </a:lnTo>
                  <a:lnTo>
                    <a:pt x="601" y="1"/>
                  </a:lnTo>
                  <a:lnTo>
                    <a:pt x="587" y="0"/>
                  </a:lnTo>
                  <a:lnTo>
                    <a:pt x="135" y="0"/>
                  </a:lnTo>
                  <a:lnTo>
                    <a:pt x="134" y="0"/>
                  </a:lnTo>
                  <a:lnTo>
                    <a:pt x="133" y="0"/>
                  </a:lnTo>
                  <a:lnTo>
                    <a:pt x="131" y="0"/>
                  </a:lnTo>
                  <a:lnTo>
                    <a:pt x="129" y="0"/>
                  </a:lnTo>
                  <a:lnTo>
                    <a:pt x="116" y="1"/>
                  </a:lnTo>
                  <a:lnTo>
                    <a:pt x="103" y="2"/>
                  </a:lnTo>
                  <a:lnTo>
                    <a:pt x="90" y="7"/>
                  </a:lnTo>
                  <a:lnTo>
                    <a:pt x="78" y="11"/>
                  </a:lnTo>
                  <a:lnTo>
                    <a:pt x="67" y="16"/>
                  </a:lnTo>
                  <a:lnTo>
                    <a:pt x="57" y="24"/>
                  </a:lnTo>
                  <a:lnTo>
                    <a:pt x="47" y="31"/>
                  </a:lnTo>
                  <a:lnTo>
                    <a:pt x="37" y="40"/>
                  </a:lnTo>
                  <a:lnTo>
                    <a:pt x="29" y="50"/>
                  </a:lnTo>
                  <a:lnTo>
                    <a:pt x="21" y="60"/>
                  </a:lnTo>
                  <a:lnTo>
                    <a:pt x="15" y="71"/>
                  </a:lnTo>
                  <a:lnTo>
                    <a:pt x="9" y="83"/>
                  </a:lnTo>
                  <a:lnTo>
                    <a:pt x="5" y="96"/>
                  </a:lnTo>
                  <a:lnTo>
                    <a:pt x="2" y="109"/>
                  </a:lnTo>
                  <a:lnTo>
                    <a:pt x="0" y="122"/>
                  </a:lnTo>
                  <a:lnTo>
                    <a:pt x="0" y="136"/>
                  </a:lnTo>
                  <a:lnTo>
                    <a:pt x="0" y="619"/>
                  </a:lnTo>
                  <a:lnTo>
                    <a:pt x="0" y="621"/>
                  </a:lnTo>
                  <a:lnTo>
                    <a:pt x="1" y="624"/>
                  </a:lnTo>
                  <a:lnTo>
                    <a:pt x="2" y="626"/>
                  </a:lnTo>
                  <a:lnTo>
                    <a:pt x="4" y="629"/>
                  </a:lnTo>
                  <a:lnTo>
                    <a:pt x="6" y="630"/>
                  </a:lnTo>
                  <a:lnTo>
                    <a:pt x="8" y="633"/>
                  </a:lnTo>
                  <a:lnTo>
                    <a:pt x="11" y="633"/>
                  </a:lnTo>
                  <a:lnTo>
                    <a:pt x="15" y="634"/>
                  </a:lnTo>
                  <a:lnTo>
                    <a:pt x="120" y="634"/>
                  </a:lnTo>
                  <a:lnTo>
                    <a:pt x="120" y="890"/>
                  </a:lnTo>
                  <a:lnTo>
                    <a:pt x="120" y="893"/>
                  </a:lnTo>
                  <a:lnTo>
                    <a:pt x="121" y="895"/>
                  </a:lnTo>
                  <a:lnTo>
                    <a:pt x="122" y="898"/>
                  </a:lnTo>
                  <a:lnTo>
                    <a:pt x="124" y="900"/>
                  </a:lnTo>
                  <a:lnTo>
                    <a:pt x="126" y="902"/>
                  </a:lnTo>
                  <a:lnTo>
                    <a:pt x="129" y="904"/>
                  </a:lnTo>
                  <a:lnTo>
                    <a:pt x="132" y="905"/>
                  </a:lnTo>
                  <a:lnTo>
                    <a:pt x="135" y="905"/>
                  </a:lnTo>
                  <a:lnTo>
                    <a:pt x="587" y="905"/>
                  </a:lnTo>
                  <a:lnTo>
                    <a:pt x="590" y="905"/>
                  </a:lnTo>
                  <a:lnTo>
                    <a:pt x="593" y="904"/>
                  </a:lnTo>
                  <a:lnTo>
                    <a:pt x="595" y="902"/>
                  </a:lnTo>
                  <a:lnTo>
                    <a:pt x="598" y="900"/>
                  </a:lnTo>
                  <a:lnTo>
                    <a:pt x="600" y="898"/>
                  </a:lnTo>
                  <a:lnTo>
                    <a:pt x="601" y="895"/>
                  </a:lnTo>
                  <a:lnTo>
                    <a:pt x="602" y="893"/>
                  </a:lnTo>
                  <a:lnTo>
                    <a:pt x="602" y="890"/>
                  </a:lnTo>
                  <a:lnTo>
                    <a:pt x="602" y="270"/>
                  </a:lnTo>
                  <a:lnTo>
                    <a:pt x="615" y="268"/>
                  </a:lnTo>
                  <a:lnTo>
                    <a:pt x="626" y="265"/>
                  </a:lnTo>
                  <a:lnTo>
                    <a:pt x="637" y="260"/>
                  </a:lnTo>
                  <a:lnTo>
                    <a:pt x="648" y="255"/>
                  </a:lnTo>
                  <a:lnTo>
                    <a:pt x="659" y="249"/>
                  </a:lnTo>
                  <a:lnTo>
                    <a:pt x="669" y="241"/>
                  </a:lnTo>
                  <a:lnTo>
                    <a:pt x="678" y="234"/>
                  </a:lnTo>
                  <a:lnTo>
                    <a:pt x="687" y="225"/>
                  </a:lnTo>
                  <a:lnTo>
                    <a:pt x="694" y="215"/>
                  </a:lnTo>
                  <a:lnTo>
                    <a:pt x="702" y="206"/>
                  </a:lnTo>
                  <a:lnTo>
                    <a:pt x="708" y="195"/>
                  </a:lnTo>
                  <a:lnTo>
                    <a:pt x="713" y="183"/>
                  </a:lnTo>
                  <a:lnTo>
                    <a:pt x="717" y="172"/>
                  </a:lnTo>
                  <a:lnTo>
                    <a:pt x="720" y="160"/>
                  </a:lnTo>
                  <a:lnTo>
                    <a:pt x="722" y="148"/>
                  </a:lnTo>
                  <a:lnTo>
                    <a:pt x="722" y="136"/>
                  </a:lnTo>
                  <a:lnTo>
                    <a:pt x="722" y="1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mn-cs"/>
              </a:endParaRPr>
            </a:p>
          </p:txBody>
        </p:sp>
        <p:sp>
          <p:nvSpPr>
            <p:cNvPr id="33" name="Freeform 51"/>
            <p:cNvSpPr>
              <a:spLocks/>
            </p:cNvSpPr>
            <p:nvPr/>
          </p:nvSpPr>
          <p:spPr bwMode="auto">
            <a:xfrm>
              <a:off x="995363" y="2051050"/>
              <a:ext cx="57150" cy="9525"/>
            </a:xfrm>
            <a:custGeom>
              <a:avLst/>
              <a:gdLst>
                <a:gd name="T0" fmla="*/ 15 w 181"/>
                <a:gd name="T1" fmla="*/ 30 h 30"/>
                <a:gd name="T2" fmla="*/ 166 w 181"/>
                <a:gd name="T3" fmla="*/ 30 h 30"/>
                <a:gd name="T4" fmla="*/ 169 w 181"/>
                <a:gd name="T5" fmla="*/ 30 h 30"/>
                <a:gd name="T6" fmla="*/ 172 w 181"/>
                <a:gd name="T7" fmla="*/ 29 h 30"/>
                <a:gd name="T8" fmla="*/ 174 w 181"/>
                <a:gd name="T9" fmla="*/ 28 h 30"/>
                <a:gd name="T10" fmla="*/ 176 w 181"/>
                <a:gd name="T11" fmla="*/ 25 h 30"/>
                <a:gd name="T12" fmla="*/ 178 w 181"/>
                <a:gd name="T13" fmla="*/ 23 h 30"/>
                <a:gd name="T14" fmla="*/ 180 w 181"/>
                <a:gd name="T15" fmla="*/ 21 h 30"/>
                <a:gd name="T16" fmla="*/ 181 w 181"/>
                <a:gd name="T17" fmla="*/ 18 h 30"/>
                <a:gd name="T18" fmla="*/ 181 w 181"/>
                <a:gd name="T19" fmla="*/ 15 h 30"/>
                <a:gd name="T20" fmla="*/ 181 w 181"/>
                <a:gd name="T21" fmla="*/ 13 h 30"/>
                <a:gd name="T22" fmla="*/ 180 w 181"/>
                <a:gd name="T23" fmla="*/ 9 h 30"/>
                <a:gd name="T24" fmla="*/ 178 w 181"/>
                <a:gd name="T25" fmla="*/ 7 h 30"/>
                <a:gd name="T26" fmla="*/ 176 w 181"/>
                <a:gd name="T27" fmla="*/ 4 h 30"/>
                <a:gd name="T28" fmla="*/ 174 w 181"/>
                <a:gd name="T29" fmla="*/ 3 h 30"/>
                <a:gd name="T30" fmla="*/ 172 w 181"/>
                <a:gd name="T31" fmla="*/ 1 h 30"/>
                <a:gd name="T32" fmla="*/ 169 w 181"/>
                <a:gd name="T33" fmla="*/ 1 h 30"/>
                <a:gd name="T34" fmla="*/ 166 w 181"/>
                <a:gd name="T35" fmla="*/ 0 h 30"/>
                <a:gd name="T36" fmla="*/ 15 w 181"/>
                <a:gd name="T37" fmla="*/ 0 h 30"/>
                <a:gd name="T38" fmla="*/ 12 w 181"/>
                <a:gd name="T39" fmla="*/ 1 h 30"/>
                <a:gd name="T40" fmla="*/ 10 w 181"/>
                <a:gd name="T41" fmla="*/ 1 h 30"/>
                <a:gd name="T42" fmla="*/ 6 w 181"/>
                <a:gd name="T43" fmla="*/ 3 h 30"/>
                <a:gd name="T44" fmla="*/ 4 w 181"/>
                <a:gd name="T45" fmla="*/ 4 h 30"/>
                <a:gd name="T46" fmla="*/ 2 w 181"/>
                <a:gd name="T47" fmla="*/ 7 h 30"/>
                <a:gd name="T48" fmla="*/ 1 w 181"/>
                <a:gd name="T49" fmla="*/ 9 h 30"/>
                <a:gd name="T50" fmla="*/ 0 w 181"/>
                <a:gd name="T51" fmla="*/ 13 h 30"/>
                <a:gd name="T52" fmla="*/ 0 w 181"/>
                <a:gd name="T53" fmla="*/ 15 h 30"/>
                <a:gd name="T54" fmla="*/ 0 w 181"/>
                <a:gd name="T55" fmla="*/ 18 h 30"/>
                <a:gd name="T56" fmla="*/ 1 w 181"/>
                <a:gd name="T57" fmla="*/ 21 h 30"/>
                <a:gd name="T58" fmla="*/ 2 w 181"/>
                <a:gd name="T59" fmla="*/ 23 h 30"/>
                <a:gd name="T60" fmla="*/ 4 w 181"/>
                <a:gd name="T61" fmla="*/ 25 h 30"/>
                <a:gd name="T62" fmla="*/ 6 w 181"/>
                <a:gd name="T63" fmla="*/ 28 h 30"/>
                <a:gd name="T64" fmla="*/ 10 w 181"/>
                <a:gd name="T65" fmla="*/ 29 h 30"/>
                <a:gd name="T66" fmla="*/ 12 w 181"/>
                <a:gd name="T67" fmla="*/ 30 h 30"/>
                <a:gd name="T68" fmla="*/ 15 w 181"/>
                <a:gd name="T69"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1" h="30">
                  <a:moveTo>
                    <a:pt x="15" y="30"/>
                  </a:moveTo>
                  <a:lnTo>
                    <a:pt x="166" y="30"/>
                  </a:lnTo>
                  <a:lnTo>
                    <a:pt x="169" y="30"/>
                  </a:lnTo>
                  <a:lnTo>
                    <a:pt x="172" y="29"/>
                  </a:lnTo>
                  <a:lnTo>
                    <a:pt x="174" y="28"/>
                  </a:lnTo>
                  <a:lnTo>
                    <a:pt x="176" y="25"/>
                  </a:lnTo>
                  <a:lnTo>
                    <a:pt x="178" y="23"/>
                  </a:lnTo>
                  <a:lnTo>
                    <a:pt x="180" y="21"/>
                  </a:lnTo>
                  <a:lnTo>
                    <a:pt x="181" y="18"/>
                  </a:lnTo>
                  <a:lnTo>
                    <a:pt x="181" y="15"/>
                  </a:lnTo>
                  <a:lnTo>
                    <a:pt x="181" y="13"/>
                  </a:lnTo>
                  <a:lnTo>
                    <a:pt x="180" y="9"/>
                  </a:lnTo>
                  <a:lnTo>
                    <a:pt x="178" y="7"/>
                  </a:lnTo>
                  <a:lnTo>
                    <a:pt x="176" y="4"/>
                  </a:lnTo>
                  <a:lnTo>
                    <a:pt x="174" y="3"/>
                  </a:lnTo>
                  <a:lnTo>
                    <a:pt x="172" y="1"/>
                  </a:lnTo>
                  <a:lnTo>
                    <a:pt x="169" y="1"/>
                  </a:lnTo>
                  <a:lnTo>
                    <a:pt x="166" y="0"/>
                  </a:lnTo>
                  <a:lnTo>
                    <a:pt x="15" y="0"/>
                  </a:lnTo>
                  <a:lnTo>
                    <a:pt x="12" y="1"/>
                  </a:lnTo>
                  <a:lnTo>
                    <a:pt x="10" y="1"/>
                  </a:lnTo>
                  <a:lnTo>
                    <a:pt x="6" y="3"/>
                  </a:lnTo>
                  <a:lnTo>
                    <a:pt x="4" y="4"/>
                  </a:lnTo>
                  <a:lnTo>
                    <a:pt x="2" y="7"/>
                  </a:lnTo>
                  <a:lnTo>
                    <a:pt x="1" y="9"/>
                  </a:lnTo>
                  <a:lnTo>
                    <a:pt x="0" y="13"/>
                  </a:lnTo>
                  <a:lnTo>
                    <a:pt x="0" y="15"/>
                  </a:lnTo>
                  <a:lnTo>
                    <a:pt x="0" y="18"/>
                  </a:lnTo>
                  <a:lnTo>
                    <a:pt x="1" y="21"/>
                  </a:lnTo>
                  <a:lnTo>
                    <a:pt x="2" y="23"/>
                  </a:lnTo>
                  <a:lnTo>
                    <a:pt x="4" y="25"/>
                  </a:lnTo>
                  <a:lnTo>
                    <a:pt x="6" y="28"/>
                  </a:lnTo>
                  <a:lnTo>
                    <a:pt x="10" y="29"/>
                  </a:lnTo>
                  <a:lnTo>
                    <a:pt x="12" y="30"/>
                  </a:lnTo>
                  <a:lnTo>
                    <a:pt x="15" y="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mn-cs"/>
              </a:endParaRPr>
            </a:p>
          </p:txBody>
        </p:sp>
        <p:sp>
          <p:nvSpPr>
            <p:cNvPr id="34" name="Freeform 52"/>
            <p:cNvSpPr>
              <a:spLocks/>
            </p:cNvSpPr>
            <p:nvPr/>
          </p:nvSpPr>
          <p:spPr bwMode="auto">
            <a:xfrm>
              <a:off x="995363" y="2098675"/>
              <a:ext cx="57150" cy="9525"/>
            </a:xfrm>
            <a:custGeom>
              <a:avLst/>
              <a:gdLst>
                <a:gd name="T0" fmla="*/ 15 w 181"/>
                <a:gd name="T1" fmla="*/ 31 h 31"/>
                <a:gd name="T2" fmla="*/ 166 w 181"/>
                <a:gd name="T3" fmla="*/ 31 h 31"/>
                <a:gd name="T4" fmla="*/ 169 w 181"/>
                <a:gd name="T5" fmla="*/ 30 h 31"/>
                <a:gd name="T6" fmla="*/ 172 w 181"/>
                <a:gd name="T7" fmla="*/ 30 h 31"/>
                <a:gd name="T8" fmla="*/ 174 w 181"/>
                <a:gd name="T9" fmla="*/ 28 h 31"/>
                <a:gd name="T10" fmla="*/ 176 w 181"/>
                <a:gd name="T11" fmla="*/ 27 h 31"/>
                <a:gd name="T12" fmla="*/ 178 w 181"/>
                <a:gd name="T13" fmla="*/ 24 h 31"/>
                <a:gd name="T14" fmla="*/ 180 w 181"/>
                <a:gd name="T15" fmla="*/ 22 h 31"/>
                <a:gd name="T16" fmla="*/ 181 w 181"/>
                <a:gd name="T17" fmla="*/ 19 h 31"/>
                <a:gd name="T18" fmla="*/ 181 w 181"/>
                <a:gd name="T19" fmla="*/ 16 h 31"/>
                <a:gd name="T20" fmla="*/ 181 w 181"/>
                <a:gd name="T21" fmla="*/ 13 h 31"/>
                <a:gd name="T22" fmla="*/ 180 w 181"/>
                <a:gd name="T23" fmla="*/ 10 h 31"/>
                <a:gd name="T24" fmla="*/ 178 w 181"/>
                <a:gd name="T25" fmla="*/ 8 h 31"/>
                <a:gd name="T26" fmla="*/ 176 w 181"/>
                <a:gd name="T27" fmla="*/ 6 h 31"/>
                <a:gd name="T28" fmla="*/ 174 w 181"/>
                <a:gd name="T29" fmla="*/ 3 h 31"/>
                <a:gd name="T30" fmla="*/ 172 w 181"/>
                <a:gd name="T31" fmla="*/ 2 h 31"/>
                <a:gd name="T32" fmla="*/ 169 w 181"/>
                <a:gd name="T33" fmla="*/ 1 h 31"/>
                <a:gd name="T34" fmla="*/ 166 w 181"/>
                <a:gd name="T35" fmla="*/ 1 h 31"/>
                <a:gd name="T36" fmla="*/ 15 w 181"/>
                <a:gd name="T37" fmla="*/ 0 h 31"/>
                <a:gd name="T38" fmla="*/ 12 w 181"/>
                <a:gd name="T39" fmla="*/ 1 h 31"/>
                <a:gd name="T40" fmla="*/ 10 w 181"/>
                <a:gd name="T41" fmla="*/ 2 h 31"/>
                <a:gd name="T42" fmla="*/ 6 w 181"/>
                <a:gd name="T43" fmla="*/ 3 h 31"/>
                <a:gd name="T44" fmla="*/ 4 w 181"/>
                <a:gd name="T45" fmla="*/ 6 h 31"/>
                <a:gd name="T46" fmla="*/ 2 w 181"/>
                <a:gd name="T47" fmla="*/ 8 h 31"/>
                <a:gd name="T48" fmla="*/ 1 w 181"/>
                <a:gd name="T49" fmla="*/ 10 h 31"/>
                <a:gd name="T50" fmla="*/ 0 w 181"/>
                <a:gd name="T51" fmla="*/ 13 h 31"/>
                <a:gd name="T52" fmla="*/ 0 w 181"/>
                <a:gd name="T53" fmla="*/ 16 h 31"/>
                <a:gd name="T54" fmla="*/ 0 w 181"/>
                <a:gd name="T55" fmla="*/ 19 h 31"/>
                <a:gd name="T56" fmla="*/ 1 w 181"/>
                <a:gd name="T57" fmla="*/ 22 h 31"/>
                <a:gd name="T58" fmla="*/ 2 w 181"/>
                <a:gd name="T59" fmla="*/ 24 h 31"/>
                <a:gd name="T60" fmla="*/ 4 w 181"/>
                <a:gd name="T61" fmla="*/ 27 h 31"/>
                <a:gd name="T62" fmla="*/ 6 w 181"/>
                <a:gd name="T63" fmla="*/ 28 h 31"/>
                <a:gd name="T64" fmla="*/ 10 w 181"/>
                <a:gd name="T65" fmla="*/ 30 h 31"/>
                <a:gd name="T66" fmla="*/ 12 w 181"/>
                <a:gd name="T67" fmla="*/ 30 h 31"/>
                <a:gd name="T68" fmla="*/ 15 w 181"/>
                <a:gd name="T69"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1" h="31">
                  <a:moveTo>
                    <a:pt x="15" y="31"/>
                  </a:moveTo>
                  <a:lnTo>
                    <a:pt x="166" y="31"/>
                  </a:lnTo>
                  <a:lnTo>
                    <a:pt x="169" y="30"/>
                  </a:lnTo>
                  <a:lnTo>
                    <a:pt x="172" y="30"/>
                  </a:lnTo>
                  <a:lnTo>
                    <a:pt x="174" y="28"/>
                  </a:lnTo>
                  <a:lnTo>
                    <a:pt x="176" y="27"/>
                  </a:lnTo>
                  <a:lnTo>
                    <a:pt x="178" y="24"/>
                  </a:lnTo>
                  <a:lnTo>
                    <a:pt x="180" y="22"/>
                  </a:lnTo>
                  <a:lnTo>
                    <a:pt x="181" y="19"/>
                  </a:lnTo>
                  <a:lnTo>
                    <a:pt x="181" y="16"/>
                  </a:lnTo>
                  <a:lnTo>
                    <a:pt x="181" y="13"/>
                  </a:lnTo>
                  <a:lnTo>
                    <a:pt x="180" y="10"/>
                  </a:lnTo>
                  <a:lnTo>
                    <a:pt x="178" y="8"/>
                  </a:lnTo>
                  <a:lnTo>
                    <a:pt x="176" y="6"/>
                  </a:lnTo>
                  <a:lnTo>
                    <a:pt x="174" y="3"/>
                  </a:lnTo>
                  <a:lnTo>
                    <a:pt x="172" y="2"/>
                  </a:lnTo>
                  <a:lnTo>
                    <a:pt x="169" y="1"/>
                  </a:lnTo>
                  <a:lnTo>
                    <a:pt x="166" y="1"/>
                  </a:lnTo>
                  <a:lnTo>
                    <a:pt x="15" y="0"/>
                  </a:lnTo>
                  <a:lnTo>
                    <a:pt x="12" y="1"/>
                  </a:lnTo>
                  <a:lnTo>
                    <a:pt x="10" y="2"/>
                  </a:lnTo>
                  <a:lnTo>
                    <a:pt x="6" y="3"/>
                  </a:lnTo>
                  <a:lnTo>
                    <a:pt x="4" y="6"/>
                  </a:lnTo>
                  <a:lnTo>
                    <a:pt x="2" y="8"/>
                  </a:lnTo>
                  <a:lnTo>
                    <a:pt x="1" y="10"/>
                  </a:lnTo>
                  <a:lnTo>
                    <a:pt x="0" y="13"/>
                  </a:lnTo>
                  <a:lnTo>
                    <a:pt x="0" y="16"/>
                  </a:lnTo>
                  <a:lnTo>
                    <a:pt x="0" y="19"/>
                  </a:lnTo>
                  <a:lnTo>
                    <a:pt x="1" y="22"/>
                  </a:lnTo>
                  <a:lnTo>
                    <a:pt x="2" y="24"/>
                  </a:lnTo>
                  <a:lnTo>
                    <a:pt x="4" y="27"/>
                  </a:lnTo>
                  <a:lnTo>
                    <a:pt x="6" y="28"/>
                  </a:lnTo>
                  <a:lnTo>
                    <a:pt x="10" y="30"/>
                  </a:lnTo>
                  <a:lnTo>
                    <a:pt x="12" y="30"/>
                  </a:lnTo>
                  <a:lnTo>
                    <a:pt x="15"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mn-cs"/>
              </a:endParaRPr>
            </a:p>
          </p:txBody>
        </p:sp>
        <p:sp>
          <p:nvSpPr>
            <p:cNvPr id="35" name="Freeform 53"/>
            <p:cNvSpPr>
              <a:spLocks/>
            </p:cNvSpPr>
            <p:nvPr/>
          </p:nvSpPr>
          <p:spPr bwMode="auto">
            <a:xfrm>
              <a:off x="995363" y="2146300"/>
              <a:ext cx="57150" cy="9525"/>
            </a:xfrm>
            <a:custGeom>
              <a:avLst/>
              <a:gdLst>
                <a:gd name="T0" fmla="*/ 15 w 181"/>
                <a:gd name="T1" fmla="*/ 30 h 30"/>
                <a:gd name="T2" fmla="*/ 166 w 181"/>
                <a:gd name="T3" fmla="*/ 30 h 30"/>
                <a:gd name="T4" fmla="*/ 169 w 181"/>
                <a:gd name="T5" fmla="*/ 30 h 30"/>
                <a:gd name="T6" fmla="*/ 172 w 181"/>
                <a:gd name="T7" fmla="*/ 29 h 30"/>
                <a:gd name="T8" fmla="*/ 174 w 181"/>
                <a:gd name="T9" fmla="*/ 27 h 30"/>
                <a:gd name="T10" fmla="*/ 176 w 181"/>
                <a:gd name="T11" fmla="*/ 26 h 30"/>
                <a:gd name="T12" fmla="*/ 178 w 181"/>
                <a:gd name="T13" fmla="*/ 23 h 30"/>
                <a:gd name="T14" fmla="*/ 180 w 181"/>
                <a:gd name="T15" fmla="*/ 20 h 30"/>
                <a:gd name="T16" fmla="*/ 181 w 181"/>
                <a:gd name="T17" fmla="*/ 18 h 30"/>
                <a:gd name="T18" fmla="*/ 181 w 181"/>
                <a:gd name="T19" fmla="*/ 15 h 30"/>
                <a:gd name="T20" fmla="*/ 181 w 181"/>
                <a:gd name="T21" fmla="*/ 12 h 30"/>
                <a:gd name="T22" fmla="*/ 180 w 181"/>
                <a:gd name="T23" fmla="*/ 8 h 30"/>
                <a:gd name="T24" fmla="*/ 178 w 181"/>
                <a:gd name="T25" fmla="*/ 6 h 30"/>
                <a:gd name="T26" fmla="*/ 176 w 181"/>
                <a:gd name="T27" fmla="*/ 4 h 30"/>
                <a:gd name="T28" fmla="*/ 174 w 181"/>
                <a:gd name="T29" fmla="*/ 2 h 30"/>
                <a:gd name="T30" fmla="*/ 172 w 181"/>
                <a:gd name="T31" fmla="*/ 1 h 30"/>
                <a:gd name="T32" fmla="*/ 169 w 181"/>
                <a:gd name="T33" fmla="*/ 0 h 30"/>
                <a:gd name="T34" fmla="*/ 166 w 181"/>
                <a:gd name="T35" fmla="*/ 0 h 30"/>
                <a:gd name="T36" fmla="*/ 15 w 181"/>
                <a:gd name="T37" fmla="*/ 0 h 30"/>
                <a:gd name="T38" fmla="*/ 12 w 181"/>
                <a:gd name="T39" fmla="*/ 0 h 30"/>
                <a:gd name="T40" fmla="*/ 10 w 181"/>
                <a:gd name="T41" fmla="*/ 1 h 30"/>
                <a:gd name="T42" fmla="*/ 6 w 181"/>
                <a:gd name="T43" fmla="*/ 2 h 30"/>
                <a:gd name="T44" fmla="*/ 4 w 181"/>
                <a:gd name="T45" fmla="*/ 4 h 30"/>
                <a:gd name="T46" fmla="*/ 2 w 181"/>
                <a:gd name="T47" fmla="*/ 6 h 30"/>
                <a:gd name="T48" fmla="*/ 1 w 181"/>
                <a:gd name="T49" fmla="*/ 8 h 30"/>
                <a:gd name="T50" fmla="*/ 0 w 181"/>
                <a:gd name="T51" fmla="*/ 12 h 30"/>
                <a:gd name="T52" fmla="*/ 0 w 181"/>
                <a:gd name="T53" fmla="*/ 15 h 30"/>
                <a:gd name="T54" fmla="*/ 0 w 181"/>
                <a:gd name="T55" fmla="*/ 18 h 30"/>
                <a:gd name="T56" fmla="*/ 1 w 181"/>
                <a:gd name="T57" fmla="*/ 20 h 30"/>
                <a:gd name="T58" fmla="*/ 2 w 181"/>
                <a:gd name="T59" fmla="*/ 23 h 30"/>
                <a:gd name="T60" fmla="*/ 4 w 181"/>
                <a:gd name="T61" fmla="*/ 26 h 30"/>
                <a:gd name="T62" fmla="*/ 6 w 181"/>
                <a:gd name="T63" fmla="*/ 27 h 30"/>
                <a:gd name="T64" fmla="*/ 10 w 181"/>
                <a:gd name="T65" fmla="*/ 29 h 30"/>
                <a:gd name="T66" fmla="*/ 12 w 181"/>
                <a:gd name="T67" fmla="*/ 30 h 30"/>
                <a:gd name="T68" fmla="*/ 15 w 181"/>
                <a:gd name="T69"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1" h="30">
                  <a:moveTo>
                    <a:pt x="15" y="30"/>
                  </a:moveTo>
                  <a:lnTo>
                    <a:pt x="166" y="30"/>
                  </a:lnTo>
                  <a:lnTo>
                    <a:pt x="169" y="30"/>
                  </a:lnTo>
                  <a:lnTo>
                    <a:pt x="172" y="29"/>
                  </a:lnTo>
                  <a:lnTo>
                    <a:pt x="174" y="27"/>
                  </a:lnTo>
                  <a:lnTo>
                    <a:pt x="176" y="26"/>
                  </a:lnTo>
                  <a:lnTo>
                    <a:pt x="178" y="23"/>
                  </a:lnTo>
                  <a:lnTo>
                    <a:pt x="180" y="20"/>
                  </a:lnTo>
                  <a:lnTo>
                    <a:pt x="181" y="18"/>
                  </a:lnTo>
                  <a:lnTo>
                    <a:pt x="181" y="15"/>
                  </a:lnTo>
                  <a:lnTo>
                    <a:pt x="181" y="12"/>
                  </a:lnTo>
                  <a:lnTo>
                    <a:pt x="180" y="8"/>
                  </a:lnTo>
                  <a:lnTo>
                    <a:pt x="178" y="6"/>
                  </a:lnTo>
                  <a:lnTo>
                    <a:pt x="176" y="4"/>
                  </a:lnTo>
                  <a:lnTo>
                    <a:pt x="174" y="2"/>
                  </a:lnTo>
                  <a:lnTo>
                    <a:pt x="172" y="1"/>
                  </a:lnTo>
                  <a:lnTo>
                    <a:pt x="169" y="0"/>
                  </a:lnTo>
                  <a:lnTo>
                    <a:pt x="166" y="0"/>
                  </a:lnTo>
                  <a:lnTo>
                    <a:pt x="15" y="0"/>
                  </a:lnTo>
                  <a:lnTo>
                    <a:pt x="12" y="0"/>
                  </a:lnTo>
                  <a:lnTo>
                    <a:pt x="10" y="1"/>
                  </a:lnTo>
                  <a:lnTo>
                    <a:pt x="6" y="2"/>
                  </a:lnTo>
                  <a:lnTo>
                    <a:pt x="4" y="4"/>
                  </a:lnTo>
                  <a:lnTo>
                    <a:pt x="2" y="6"/>
                  </a:lnTo>
                  <a:lnTo>
                    <a:pt x="1" y="8"/>
                  </a:lnTo>
                  <a:lnTo>
                    <a:pt x="0" y="12"/>
                  </a:lnTo>
                  <a:lnTo>
                    <a:pt x="0" y="15"/>
                  </a:lnTo>
                  <a:lnTo>
                    <a:pt x="0" y="18"/>
                  </a:lnTo>
                  <a:lnTo>
                    <a:pt x="1" y="20"/>
                  </a:lnTo>
                  <a:lnTo>
                    <a:pt x="2" y="23"/>
                  </a:lnTo>
                  <a:lnTo>
                    <a:pt x="4" y="26"/>
                  </a:lnTo>
                  <a:lnTo>
                    <a:pt x="6" y="27"/>
                  </a:lnTo>
                  <a:lnTo>
                    <a:pt x="10" y="29"/>
                  </a:lnTo>
                  <a:lnTo>
                    <a:pt x="12" y="30"/>
                  </a:lnTo>
                  <a:lnTo>
                    <a:pt x="15" y="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mn-cs"/>
              </a:endParaRPr>
            </a:p>
          </p:txBody>
        </p:sp>
        <p:sp>
          <p:nvSpPr>
            <p:cNvPr id="36" name="Freeform 54"/>
            <p:cNvSpPr>
              <a:spLocks/>
            </p:cNvSpPr>
            <p:nvPr/>
          </p:nvSpPr>
          <p:spPr bwMode="auto">
            <a:xfrm>
              <a:off x="947738" y="2022475"/>
              <a:ext cx="38100" cy="33338"/>
            </a:xfrm>
            <a:custGeom>
              <a:avLst/>
              <a:gdLst>
                <a:gd name="T0" fmla="*/ 20 w 121"/>
                <a:gd name="T1" fmla="*/ 101 h 106"/>
                <a:gd name="T2" fmla="*/ 22 w 121"/>
                <a:gd name="T3" fmla="*/ 104 h 106"/>
                <a:gd name="T4" fmla="*/ 25 w 121"/>
                <a:gd name="T5" fmla="*/ 105 h 106"/>
                <a:gd name="T6" fmla="*/ 27 w 121"/>
                <a:gd name="T7" fmla="*/ 106 h 106"/>
                <a:gd name="T8" fmla="*/ 30 w 121"/>
                <a:gd name="T9" fmla="*/ 106 h 106"/>
                <a:gd name="T10" fmla="*/ 36 w 121"/>
                <a:gd name="T11" fmla="*/ 105 h 106"/>
                <a:gd name="T12" fmla="*/ 41 w 121"/>
                <a:gd name="T13" fmla="*/ 101 h 106"/>
                <a:gd name="T14" fmla="*/ 116 w 121"/>
                <a:gd name="T15" fmla="*/ 26 h 106"/>
                <a:gd name="T16" fmla="*/ 119 w 121"/>
                <a:gd name="T17" fmla="*/ 24 h 106"/>
                <a:gd name="T18" fmla="*/ 120 w 121"/>
                <a:gd name="T19" fmla="*/ 21 h 106"/>
                <a:gd name="T20" fmla="*/ 121 w 121"/>
                <a:gd name="T21" fmla="*/ 19 h 106"/>
                <a:gd name="T22" fmla="*/ 121 w 121"/>
                <a:gd name="T23" fmla="*/ 15 h 106"/>
                <a:gd name="T24" fmla="*/ 121 w 121"/>
                <a:gd name="T25" fmla="*/ 13 h 106"/>
                <a:gd name="T26" fmla="*/ 120 w 121"/>
                <a:gd name="T27" fmla="*/ 10 h 106"/>
                <a:gd name="T28" fmla="*/ 119 w 121"/>
                <a:gd name="T29" fmla="*/ 8 h 106"/>
                <a:gd name="T30" fmla="*/ 116 w 121"/>
                <a:gd name="T31" fmla="*/ 5 h 106"/>
                <a:gd name="T32" fmla="*/ 114 w 121"/>
                <a:gd name="T33" fmla="*/ 4 h 106"/>
                <a:gd name="T34" fmla="*/ 111 w 121"/>
                <a:gd name="T35" fmla="*/ 1 h 106"/>
                <a:gd name="T36" fmla="*/ 109 w 121"/>
                <a:gd name="T37" fmla="*/ 0 h 106"/>
                <a:gd name="T38" fmla="*/ 106 w 121"/>
                <a:gd name="T39" fmla="*/ 0 h 106"/>
                <a:gd name="T40" fmla="*/ 103 w 121"/>
                <a:gd name="T41" fmla="*/ 0 h 106"/>
                <a:gd name="T42" fmla="*/ 100 w 121"/>
                <a:gd name="T43" fmla="*/ 1 h 106"/>
                <a:gd name="T44" fmla="*/ 97 w 121"/>
                <a:gd name="T45" fmla="*/ 4 h 106"/>
                <a:gd name="T46" fmla="*/ 95 w 121"/>
                <a:gd name="T47" fmla="*/ 5 h 106"/>
                <a:gd name="T48" fmla="*/ 30 w 121"/>
                <a:gd name="T49" fmla="*/ 69 h 106"/>
                <a:gd name="T50" fmla="*/ 26 w 121"/>
                <a:gd name="T51" fmla="*/ 65 h 106"/>
                <a:gd name="T52" fmla="*/ 24 w 121"/>
                <a:gd name="T53" fmla="*/ 64 h 106"/>
                <a:gd name="T54" fmla="*/ 21 w 121"/>
                <a:gd name="T55" fmla="*/ 62 h 106"/>
                <a:gd name="T56" fmla="*/ 18 w 121"/>
                <a:gd name="T57" fmla="*/ 62 h 106"/>
                <a:gd name="T58" fmla="*/ 15 w 121"/>
                <a:gd name="T59" fmla="*/ 61 h 106"/>
                <a:gd name="T60" fmla="*/ 12 w 121"/>
                <a:gd name="T61" fmla="*/ 62 h 106"/>
                <a:gd name="T62" fmla="*/ 10 w 121"/>
                <a:gd name="T63" fmla="*/ 62 h 106"/>
                <a:gd name="T64" fmla="*/ 7 w 121"/>
                <a:gd name="T65" fmla="*/ 64 h 106"/>
                <a:gd name="T66" fmla="*/ 5 w 121"/>
                <a:gd name="T67" fmla="*/ 65 h 106"/>
                <a:gd name="T68" fmla="*/ 2 w 121"/>
                <a:gd name="T69" fmla="*/ 68 h 106"/>
                <a:gd name="T70" fmla="*/ 1 w 121"/>
                <a:gd name="T71" fmla="*/ 70 h 106"/>
                <a:gd name="T72" fmla="*/ 0 w 121"/>
                <a:gd name="T73" fmla="*/ 73 h 106"/>
                <a:gd name="T74" fmla="*/ 0 w 121"/>
                <a:gd name="T75" fmla="*/ 76 h 106"/>
                <a:gd name="T76" fmla="*/ 0 w 121"/>
                <a:gd name="T77" fmla="*/ 79 h 106"/>
                <a:gd name="T78" fmla="*/ 1 w 121"/>
                <a:gd name="T79" fmla="*/ 82 h 106"/>
                <a:gd name="T80" fmla="*/ 2 w 121"/>
                <a:gd name="T81" fmla="*/ 84 h 106"/>
                <a:gd name="T82" fmla="*/ 5 w 121"/>
                <a:gd name="T83" fmla="*/ 86 h 106"/>
                <a:gd name="T84" fmla="*/ 20 w 121"/>
                <a:gd name="T85" fmla="*/ 101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21" h="106">
                  <a:moveTo>
                    <a:pt x="20" y="101"/>
                  </a:moveTo>
                  <a:lnTo>
                    <a:pt x="22" y="104"/>
                  </a:lnTo>
                  <a:lnTo>
                    <a:pt x="25" y="105"/>
                  </a:lnTo>
                  <a:lnTo>
                    <a:pt x="27" y="106"/>
                  </a:lnTo>
                  <a:lnTo>
                    <a:pt x="30" y="106"/>
                  </a:lnTo>
                  <a:lnTo>
                    <a:pt x="36" y="105"/>
                  </a:lnTo>
                  <a:lnTo>
                    <a:pt x="41" y="101"/>
                  </a:lnTo>
                  <a:lnTo>
                    <a:pt x="116" y="26"/>
                  </a:lnTo>
                  <a:lnTo>
                    <a:pt x="119" y="24"/>
                  </a:lnTo>
                  <a:lnTo>
                    <a:pt x="120" y="21"/>
                  </a:lnTo>
                  <a:lnTo>
                    <a:pt x="121" y="19"/>
                  </a:lnTo>
                  <a:lnTo>
                    <a:pt x="121" y="15"/>
                  </a:lnTo>
                  <a:lnTo>
                    <a:pt x="121" y="13"/>
                  </a:lnTo>
                  <a:lnTo>
                    <a:pt x="120" y="10"/>
                  </a:lnTo>
                  <a:lnTo>
                    <a:pt x="119" y="8"/>
                  </a:lnTo>
                  <a:lnTo>
                    <a:pt x="116" y="5"/>
                  </a:lnTo>
                  <a:lnTo>
                    <a:pt x="114" y="4"/>
                  </a:lnTo>
                  <a:lnTo>
                    <a:pt x="111" y="1"/>
                  </a:lnTo>
                  <a:lnTo>
                    <a:pt x="109" y="0"/>
                  </a:lnTo>
                  <a:lnTo>
                    <a:pt x="106" y="0"/>
                  </a:lnTo>
                  <a:lnTo>
                    <a:pt x="103" y="0"/>
                  </a:lnTo>
                  <a:lnTo>
                    <a:pt x="100" y="1"/>
                  </a:lnTo>
                  <a:lnTo>
                    <a:pt x="97" y="4"/>
                  </a:lnTo>
                  <a:lnTo>
                    <a:pt x="95" y="5"/>
                  </a:lnTo>
                  <a:lnTo>
                    <a:pt x="30" y="69"/>
                  </a:lnTo>
                  <a:lnTo>
                    <a:pt x="26" y="65"/>
                  </a:lnTo>
                  <a:lnTo>
                    <a:pt x="24" y="64"/>
                  </a:lnTo>
                  <a:lnTo>
                    <a:pt x="21" y="62"/>
                  </a:lnTo>
                  <a:lnTo>
                    <a:pt x="18" y="62"/>
                  </a:lnTo>
                  <a:lnTo>
                    <a:pt x="15" y="61"/>
                  </a:lnTo>
                  <a:lnTo>
                    <a:pt x="12" y="62"/>
                  </a:lnTo>
                  <a:lnTo>
                    <a:pt x="10" y="62"/>
                  </a:lnTo>
                  <a:lnTo>
                    <a:pt x="7" y="64"/>
                  </a:lnTo>
                  <a:lnTo>
                    <a:pt x="5" y="65"/>
                  </a:lnTo>
                  <a:lnTo>
                    <a:pt x="2" y="68"/>
                  </a:lnTo>
                  <a:lnTo>
                    <a:pt x="1" y="70"/>
                  </a:lnTo>
                  <a:lnTo>
                    <a:pt x="0" y="73"/>
                  </a:lnTo>
                  <a:lnTo>
                    <a:pt x="0" y="76"/>
                  </a:lnTo>
                  <a:lnTo>
                    <a:pt x="0" y="79"/>
                  </a:lnTo>
                  <a:lnTo>
                    <a:pt x="1" y="82"/>
                  </a:lnTo>
                  <a:lnTo>
                    <a:pt x="2" y="84"/>
                  </a:lnTo>
                  <a:lnTo>
                    <a:pt x="5" y="86"/>
                  </a:lnTo>
                  <a:lnTo>
                    <a:pt x="20" y="1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mn-cs"/>
              </a:endParaRPr>
            </a:p>
          </p:txBody>
        </p:sp>
        <p:sp>
          <p:nvSpPr>
            <p:cNvPr id="37" name="Freeform 55"/>
            <p:cNvSpPr>
              <a:spLocks/>
            </p:cNvSpPr>
            <p:nvPr/>
          </p:nvSpPr>
          <p:spPr bwMode="auto">
            <a:xfrm>
              <a:off x="947738" y="2070100"/>
              <a:ext cx="38100" cy="33338"/>
            </a:xfrm>
            <a:custGeom>
              <a:avLst/>
              <a:gdLst>
                <a:gd name="T0" fmla="*/ 20 w 121"/>
                <a:gd name="T1" fmla="*/ 101 h 106"/>
                <a:gd name="T2" fmla="*/ 22 w 121"/>
                <a:gd name="T3" fmla="*/ 103 h 106"/>
                <a:gd name="T4" fmla="*/ 25 w 121"/>
                <a:gd name="T5" fmla="*/ 105 h 106"/>
                <a:gd name="T6" fmla="*/ 27 w 121"/>
                <a:gd name="T7" fmla="*/ 105 h 106"/>
                <a:gd name="T8" fmla="*/ 30 w 121"/>
                <a:gd name="T9" fmla="*/ 106 h 106"/>
                <a:gd name="T10" fmla="*/ 34 w 121"/>
                <a:gd name="T11" fmla="*/ 105 h 106"/>
                <a:gd name="T12" fmla="*/ 36 w 121"/>
                <a:gd name="T13" fmla="*/ 105 h 106"/>
                <a:gd name="T14" fmla="*/ 39 w 121"/>
                <a:gd name="T15" fmla="*/ 103 h 106"/>
                <a:gd name="T16" fmla="*/ 41 w 121"/>
                <a:gd name="T17" fmla="*/ 102 h 106"/>
                <a:gd name="T18" fmla="*/ 116 w 121"/>
                <a:gd name="T19" fmla="*/ 26 h 106"/>
                <a:gd name="T20" fmla="*/ 119 w 121"/>
                <a:gd name="T21" fmla="*/ 24 h 106"/>
                <a:gd name="T22" fmla="*/ 120 w 121"/>
                <a:gd name="T23" fmla="*/ 21 h 106"/>
                <a:gd name="T24" fmla="*/ 121 w 121"/>
                <a:gd name="T25" fmla="*/ 18 h 106"/>
                <a:gd name="T26" fmla="*/ 121 w 121"/>
                <a:gd name="T27" fmla="*/ 15 h 106"/>
                <a:gd name="T28" fmla="*/ 121 w 121"/>
                <a:gd name="T29" fmla="*/ 13 h 106"/>
                <a:gd name="T30" fmla="*/ 120 w 121"/>
                <a:gd name="T31" fmla="*/ 10 h 106"/>
                <a:gd name="T32" fmla="*/ 119 w 121"/>
                <a:gd name="T33" fmla="*/ 7 h 106"/>
                <a:gd name="T34" fmla="*/ 116 w 121"/>
                <a:gd name="T35" fmla="*/ 5 h 106"/>
                <a:gd name="T36" fmla="*/ 114 w 121"/>
                <a:gd name="T37" fmla="*/ 3 h 106"/>
                <a:gd name="T38" fmla="*/ 111 w 121"/>
                <a:gd name="T39" fmla="*/ 1 h 106"/>
                <a:gd name="T40" fmla="*/ 109 w 121"/>
                <a:gd name="T41" fmla="*/ 1 h 106"/>
                <a:gd name="T42" fmla="*/ 106 w 121"/>
                <a:gd name="T43" fmla="*/ 0 h 106"/>
                <a:gd name="T44" fmla="*/ 103 w 121"/>
                <a:gd name="T45" fmla="*/ 1 h 106"/>
                <a:gd name="T46" fmla="*/ 100 w 121"/>
                <a:gd name="T47" fmla="*/ 1 h 106"/>
                <a:gd name="T48" fmla="*/ 97 w 121"/>
                <a:gd name="T49" fmla="*/ 3 h 106"/>
                <a:gd name="T50" fmla="*/ 95 w 121"/>
                <a:gd name="T51" fmla="*/ 5 h 106"/>
                <a:gd name="T52" fmla="*/ 30 w 121"/>
                <a:gd name="T53" fmla="*/ 70 h 106"/>
                <a:gd name="T54" fmla="*/ 26 w 121"/>
                <a:gd name="T55" fmla="*/ 65 h 106"/>
                <a:gd name="T56" fmla="*/ 24 w 121"/>
                <a:gd name="T57" fmla="*/ 63 h 106"/>
                <a:gd name="T58" fmla="*/ 21 w 121"/>
                <a:gd name="T59" fmla="*/ 61 h 106"/>
                <a:gd name="T60" fmla="*/ 18 w 121"/>
                <a:gd name="T61" fmla="*/ 61 h 106"/>
                <a:gd name="T62" fmla="*/ 15 w 121"/>
                <a:gd name="T63" fmla="*/ 60 h 106"/>
                <a:gd name="T64" fmla="*/ 12 w 121"/>
                <a:gd name="T65" fmla="*/ 61 h 106"/>
                <a:gd name="T66" fmla="*/ 10 w 121"/>
                <a:gd name="T67" fmla="*/ 62 h 106"/>
                <a:gd name="T68" fmla="*/ 7 w 121"/>
                <a:gd name="T69" fmla="*/ 63 h 106"/>
                <a:gd name="T70" fmla="*/ 5 w 121"/>
                <a:gd name="T71" fmla="*/ 65 h 106"/>
                <a:gd name="T72" fmla="*/ 2 w 121"/>
                <a:gd name="T73" fmla="*/ 68 h 106"/>
                <a:gd name="T74" fmla="*/ 1 w 121"/>
                <a:gd name="T75" fmla="*/ 70 h 106"/>
                <a:gd name="T76" fmla="*/ 0 w 121"/>
                <a:gd name="T77" fmla="*/ 73 h 106"/>
                <a:gd name="T78" fmla="*/ 0 w 121"/>
                <a:gd name="T79" fmla="*/ 76 h 106"/>
                <a:gd name="T80" fmla="*/ 0 w 121"/>
                <a:gd name="T81" fmla="*/ 78 h 106"/>
                <a:gd name="T82" fmla="*/ 1 w 121"/>
                <a:gd name="T83" fmla="*/ 82 h 106"/>
                <a:gd name="T84" fmla="*/ 2 w 121"/>
                <a:gd name="T85" fmla="*/ 84 h 106"/>
                <a:gd name="T86" fmla="*/ 5 w 121"/>
                <a:gd name="T87" fmla="*/ 87 h 106"/>
                <a:gd name="T88" fmla="*/ 20 w 121"/>
                <a:gd name="T89" fmla="*/ 101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21" h="106">
                  <a:moveTo>
                    <a:pt x="20" y="101"/>
                  </a:moveTo>
                  <a:lnTo>
                    <a:pt x="22" y="103"/>
                  </a:lnTo>
                  <a:lnTo>
                    <a:pt x="25" y="105"/>
                  </a:lnTo>
                  <a:lnTo>
                    <a:pt x="27" y="105"/>
                  </a:lnTo>
                  <a:lnTo>
                    <a:pt x="30" y="106"/>
                  </a:lnTo>
                  <a:lnTo>
                    <a:pt x="34" y="105"/>
                  </a:lnTo>
                  <a:lnTo>
                    <a:pt x="36" y="105"/>
                  </a:lnTo>
                  <a:lnTo>
                    <a:pt x="39" y="103"/>
                  </a:lnTo>
                  <a:lnTo>
                    <a:pt x="41" y="102"/>
                  </a:lnTo>
                  <a:lnTo>
                    <a:pt x="116" y="26"/>
                  </a:lnTo>
                  <a:lnTo>
                    <a:pt x="119" y="24"/>
                  </a:lnTo>
                  <a:lnTo>
                    <a:pt x="120" y="21"/>
                  </a:lnTo>
                  <a:lnTo>
                    <a:pt x="121" y="18"/>
                  </a:lnTo>
                  <a:lnTo>
                    <a:pt x="121" y="15"/>
                  </a:lnTo>
                  <a:lnTo>
                    <a:pt x="121" y="13"/>
                  </a:lnTo>
                  <a:lnTo>
                    <a:pt x="120" y="10"/>
                  </a:lnTo>
                  <a:lnTo>
                    <a:pt x="119" y="7"/>
                  </a:lnTo>
                  <a:lnTo>
                    <a:pt x="116" y="5"/>
                  </a:lnTo>
                  <a:lnTo>
                    <a:pt x="114" y="3"/>
                  </a:lnTo>
                  <a:lnTo>
                    <a:pt x="111" y="1"/>
                  </a:lnTo>
                  <a:lnTo>
                    <a:pt x="109" y="1"/>
                  </a:lnTo>
                  <a:lnTo>
                    <a:pt x="106" y="0"/>
                  </a:lnTo>
                  <a:lnTo>
                    <a:pt x="103" y="1"/>
                  </a:lnTo>
                  <a:lnTo>
                    <a:pt x="100" y="1"/>
                  </a:lnTo>
                  <a:lnTo>
                    <a:pt x="97" y="3"/>
                  </a:lnTo>
                  <a:lnTo>
                    <a:pt x="95" y="5"/>
                  </a:lnTo>
                  <a:lnTo>
                    <a:pt x="30" y="70"/>
                  </a:lnTo>
                  <a:lnTo>
                    <a:pt x="26" y="65"/>
                  </a:lnTo>
                  <a:lnTo>
                    <a:pt x="24" y="63"/>
                  </a:lnTo>
                  <a:lnTo>
                    <a:pt x="21" y="61"/>
                  </a:lnTo>
                  <a:lnTo>
                    <a:pt x="18" y="61"/>
                  </a:lnTo>
                  <a:lnTo>
                    <a:pt x="15" y="60"/>
                  </a:lnTo>
                  <a:lnTo>
                    <a:pt x="12" y="61"/>
                  </a:lnTo>
                  <a:lnTo>
                    <a:pt x="10" y="62"/>
                  </a:lnTo>
                  <a:lnTo>
                    <a:pt x="7" y="63"/>
                  </a:lnTo>
                  <a:lnTo>
                    <a:pt x="5" y="65"/>
                  </a:lnTo>
                  <a:lnTo>
                    <a:pt x="2" y="68"/>
                  </a:lnTo>
                  <a:lnTo>
                    <a:pt x="1" y="70"/>
                  </a:lnTo>
                  <a:lnTo>
                    <a:pt x="0" y="73"/>
                  </a:lnTo>
                  <a:lnTo>
                    <a:pt x="0" y="76"/>
                  </a:lnTo>
                  <a:lnTo>
                    <a:pt x="0" y="78"/>
                  </a:lnTo>
                  <a:lnTo>
                    <a:pt x="1" y="82"/>
                  </a:lnTo>
                  <a:lnTo>
                    <a:pt x="2" y="84"/>
                  </a:lnTo>
                  <a:lnTo>
                    <a:pt x="5" y="87"/>
                  </a:lnTo>
                  <a:lnTo>
                    <a:pt x="20" y="1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mn-cs"/>
              </a:endParaRPr>
            </a:p>
          </p:txBody>
        </p:sp>
        <p:sp>
          <p:nvSpPr>
            <p:cNvPr id="38" name="Freeform 56"/>
            <p:cNvSpPr>
              <a:spLocks noEditPoints="1"/>
            </p:cNvSpPr>
            <p:nvPr/>
          </p:nvSpPr>
          <p:spPr bwMode="auto">
            <a:xfrm>
              <a:off x="1104900" y="1993900"/>
              <a:ext cx="68263" cy="219075"/>
            </a:xfrm>
            <a:custGeom>
              <a:avLst/>
              <a:gdLst>
                <a:gd name="T0" fmla="*/ 120 w 212"/>
                <a:gd name="T1" fmla="*/ 659 h 694"/>
                <a:gd name="T2" fmla="*/ 99 w 212"/>
                <a:gd name="T3" fmla="*/ 643 h 694"/>
                <a:gd name="T4" fmla="*/ 92 w 212"/>
                <a:gd name="T5" fmla="*/ 618 h 694"/>
                <a:gd name="T6" fmla="*/ 181 w 212"/>
                <a:gd name="T7" fmla="*/ 616 h 694"/>
                <a:gd name="T8" fmla="*/ 167 w 212"/>
                <a:gd name="T9" fmla="*/ 647 h 694"/>
                <a:gd name="T10" fmla="*/ 144 w 212"/>
                <a:gd name="T11" fmla="*/ 662 h 694"/>
                <a:gd name="T12" fmla="*/ 145 w 212"/>
                <a:gd name="T13" fmla="*/ 31 h 694"/>
                <a:gd name="T14" fmla="*/ 168 w 212"/>
                <a:gd name="T15" fmla="*/ 43 h 694"/>
                <a:gd name="T16" fmla="*/ 181 w 212"/>
                <a:gd name="T17" fmla="*/ 57 h 694"/>
                <a:gd name="T18" fmla="*/ 92 w 212"/>
                <a:gd name="T19" fmla="*/ 331 h 694"/>
                <a:gd name="T20" fmla="*/ 95 w 212"/>
                <a:gd name="T21" fmla="*/ 53 h 694"/>
                <a:gd name="T22" fmla="*/ 112 w 212"/>
                <a:gd name="T23" fmla="*/ 38 h 694"/>
                <a:gd name="T24" fmla="*/ 137 w 212"/>
                <a:gd name="T25" fmla="*/ 30 h 694"/>
                <a:gd name="T26" fmla="*/ 182 w 212"/>
                <a:gd name="T27" fmla="*/ 362 h 694"/>
                <a:gd name="T28" fmla="*/ 92 w 212"/>
                <a:gd name="T29" fmla="*/ 362 h 694"/>
                <a:gd name="T30" fmla="*/ 113 w 212"/>
                <a:gd name="T31" fmla="*/ 4 h 694"/>
                <a:gd name="T32" fmla="*/ 84 w 212"/>
                <a:gd name="T33" fmla="*/ 22 h 694"/>
                <a:gd name="T34" fmla="*/ 65 w 212"/>
                <a:gd name="T35" fmla="*/ 46 h 694"/>
                <a:gd name="T36" fmla="*/ 36 w 212"/>
                <a:gd name="T37" fmla="*/ 55 h 694"/>
                <a:gd name="T38" fmla="*/ 21 w 212"/>
                <a:gd name="T39" fmla="*/ 67 h 694"/>
                <a:gd name="T40" fmla="*/ 9 w 212"/>
                <a:gd name="T41" fmla="*/ 82 h 694"/>
                <a:gd name="T42" fmla="*/ 2 w 212"/>
                <a:gd name="T43" fmla="*/ 103 h 694"/>
                <a:gd name="T44" fmla="*/ 0 w 212"/>
                <a:gd name="T45" fmla="*/ 394 h 694"/>
                <a:gd name="T46" fmla="*/ 3 w 212"/>
                <a:gd name="T47" fmla="*/ 402 h 694"/>
                <a:gd name="T48" fmla="*/ 10 w 212"/>
                <a:gd name="T49" fmla="*/ 408 h 694"/>
                <a:gd name="T50" fmla="*/ 19 w 212"/>
                <a:gd name="T51" fmla="*/ 409 h 694"/>
                <a:gd name="T52" fmla="*/ 26 w 212"/>
                <a:gd name="T53" fmla="*/ 404 h 694"/>
                <a:gd name="T54" fmla="*/ 30 w 212"/>
                <a:gd name="T55" fmla="*/ 397 h 694"/>
                <a:gd name="T56" fmla="*/ 31 w 212"/>
                <a:gd name="T57" fmla="*/ 111 h 694"/>
                <a:gd name="T58" fmla="*/ 40 w 212"/>
                <a:gd name="T59" fmla="*/ 89 h 694"/>
                <a:gd name="T60" fmla="*/ 55 w 212"/>
                <a:gd name="T61" fmla="*/ 79 h 694"/>
                <a:gd name="T62" fmla="*/ 62 w 212"/>
                <a:gd name="T63" fmla="*/ 626 h 694"/>
                <a:gd name="T64" fmla="*/ 67 w 212"/>
                <a:gd name="T65" fmla="*/ 647 h 694"/>
                <a:gd name="T66" fmla="*/ 79 w 212"/>
                <a:gd name="T67" fmla="*/ 666 h 694"/>
                <a:gd name="T68" fmla="*/ 95 w 212"/>
                <a:gd name="T69" fmla="*/ 681 h 694"/>
                <a:gd name="T70" fmla="*/ 114 w 212"/>
                <a:gd name="T71" fmla="*/ 690 h 694"/>
                <a:gd name="T72" fmla="*/ 137 w 212"/>
                <a:gd name="T73" fmla="*/ 694 h 694"/>
                <a:gd name="T74" fmla="*/ 157 w 212"/>
                <a:gd name="T75" fmla="*/ 690 h 694"/>
                <a:gd name="T76" fmla="*/ 177 w 212"/>
                <a:gd name="T77" fmla="*/ 680 h 694"/>
                <a:gd name="T78" fmla="*/ 193 w 212"/>
                <a:gd name="T79" fmla="*/ 663 h 694"/>
                <a:gd name="T80" fmla="*/ 206 w 212"/>
                <a:gd name="T81" fmla="*/ 641 h 694"/>
                <a:gd name="T82" fmla="*/ 211 w 212"/>
                <a:gd name="T83" fmla="*/ 613 h 694"/>
                <a:gd name="T84" fmla="*/ 211 w 212"/>
                <a:gd name="T85" fmla="*/ 56 h 694"/>
                <a:gd name="T86" fmla="*/ 206 w 212"/>
                <a:gd name="T87" fmla="*/ 41 h 694"/>
                <a:gd name="T88" fmla="*/ 177 w 212"/>
                <a:gd name="T89" fmla="*/ 13 h 694"/>
                <a:gd name="T90" fmla="*/ 151 w 212"/>
                <a:gd name="T91" fmla="*/ 2 h 694"/>
                <a:gd name="T92" fmla="*/ 137 w 212"/>
                <a:gd name="T93" fmla="*/ 0 h 6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12" h="694">
                  <a:moveTo>
                    <a:pt x="137" y="663"/>
                  </a:moveTo>
                  <a:lnTo>
                    <a:pt x="128" y="662"/>
                  </a:lnTo>
                  <a:lnTo>
                    <a:pt x="120" y="659"/>
                  </a:lnTo>
                  <a:lnTo>
                    <a:pt x="112" y="655"/>
                  </a:lnTo>
                  <a:lnTo>
                    <a:pt x="105" y="650"/>
                  </a:lnTo>
                  <a:lnTo>
                    <a:pt x="99" y="643"/>
                  </a:lnTo>
                  <a:lnTo>
                    <a:pt x="95" y="636"/>
                  </a:lnTo>
                  <a:lnTo>
                    <a:pt x="92" y="627"/>
                  </a:lnTo>
                  <a:lnTo>
                    <a:pt x="92" y="618"/>
                  </a:lnTo>
                  <a:lnTo>
                    <a:pt x="92" y="603"/>
                  </a:lnTo>
                  <a:lnTo>
                    <a:pt x="182" y="603"/>
                  </a:lnTo>
                  <a:lnTo>
                    <a:pt x="181" y="616"/>
                  </a:lnTo>
                  <a:lnTo>
                    <a:pt x="178" y="628"/>
                  </a:lnTo>
                  <a:lnTo>
                    <a:pt x="173" y="639"/>
                  </a:lnTo>
                  <a:lnTo>
                    <a:pt x="167" y="647"/>
                  </a:lnTo>
                  <a:lnTo>
                    <a:pt x="161" y="654"/>
                  </a:lnTo>
                  <a:lnTo>
                    <a:pt x="153" y="659"/>
                  </a:lnTo>
                  <a:lnTo>
                    <a:pt x="144" y="662"/>
                  </a:lnTo>
                  <a:lnTo>
                    <a:pt x="137" y="663"/>
                  </a:lnTo>
                  <a:close/>
                  <a:moveTo>
                    <a:pt x="137" y="30"/>
                  </a:moveTo>
                  <a:lnTo>
                    <a:pt x="145" y="31"/>
                  </a:lnTo>
                  <a:lnTo>
                    <a:pt x="153" y="34"/>
                  </a:lnTo>
                  <a:lnTo>
                    <a:pt x="161" y="38"/>
                  </a:lnTo>
                  <a:lnTo>
                    <a:pt x="168" y="43"/>
                  </a:lnTo>
                  <a:lnTo>
                    <a:pt x="173" y="47"/>
                  </a:lnTo>
                  <a:lnTo>
                    <a:pt x="178" y="53"/>
                  </a:lnTo>
                  <a:lnTo>
                    <a:pt x="181" y="57"/>
                  </a:lnTo>
                  <a:lnTo>
                    <a:pt x="182" y="60"/>
                  </a:lnTo>
                  <a:lnTo>
                    <a:pt x="182" y="331"/>
                  </a:lnTo>
                  <a:lnTo>
                    <a:pt x="92" y="331"/>
                  </a:lnTo>
                  <a:lnTo>
                    <a:pt x="92" y="60"/>
                  </a:lnTo>
                  <a:lnTo>
                    <a:pt x="93" y="57"/>
                  </a:lnTo>
                  <a:lnTo>
                    <a:pt x="95" y="53"/>
                  </a:lnTo>
                  <a:lnTo>
                    <a:pt x="99" y="48"/>
                  </a:lnTo>
                  <a:lnTo>
                    <a:pt x="106" y="43"/>
                  </a:lnTo>
                  <a:lnTo>
                    <a:pt x="112" y="38"/>
                  </a:lnTo>
                  <a:lnTo>
                    <a:pt x="120" y="34"/>
                  </a:lnTo>
                  <a:lnTo>
                    <a:pt x="127" y="31"/>
                  </a:lnTo>
                  <a:lnTo>
                    <a:pt x="137" y="30"/>
                  </a:lnTo>
                  <a:lnTo>
                    <a:pt x="137" y="30"/>
                  </a:lnTo>
                  <a:close/>
                  <a:moveTo>
                    <a:pt x="92" y="362"/>
                  </a:moveTo>
                  <a:lnTo>
                    <a:pt x="182" y="362"/>
                  </a:lnTo>
                  <a:lnTo>
                    <a:pt x="182" y="573"/>
                  </a:lnTo>
                  <a:lnTo>
                    <a:pt x="92" y="573"/>
                  </a:lnTo>
                  <a:lnTo>
                    <a:pt x="92" y="362"/>
                  </a:lnTo>
                  <a:close/>
                  <a:moveTo>
                    <a:pt x="137" y="0"/>
                  </a:moveTo>
                  <a:lnTo>
                    <a:pt x="125" y="1"/>
                  </a:lnTo>
                  <a:lnTo>
                    <a:pt x="113" y="4"/>
                  </a:lnTo>
                  <a:lnTo>
                    <a:pt x="102" y="9"/>
                  </a:lnTo>
                  <a:lnTo>
                    <a:pt x="93" y="15"/>
                  </a:lnTo>
                  <a:lnTo>
                    <a:pt x="84" y="22"/>
                  </a:lnTo>
                  <a:lnTo>
                    <a:pt x="76" y="29"/>
                  </a:lnTo>
                  <a:lnTo>
                    <a:pt x="69" y="38"/>
                  </a:lnTo>
                  <a:lnTo>
                    <a:pt x="65" y="46"/>
                  </a:lnTo>
                  <a:lnTo>
                    <a:pt x="53" y="48"/>
                  </a:lnTo>
                  <a:lnTo>
                    <a:pt x="41" y="53"/>
                  </a:lnTo>
                  <a:lnTo>
                    <a:pt x="36" y="55"/>
                  </a:lnTo>
                  <a:lnTo>
                    <a:pt x="30" y="58"/>
                  </a:lnTo>
                  <a:lnTo>
                    <a:pt x="25" y="62"/>
                  </a:lnTo>
                  <a:lnTo>
                    <a:pt x="21" y="67"/>
                  </a:lnTo>
                  <a:lnTo>
                    <a:pt x="16" y="71"/>
                  </a:lnTo>
                  <a:lnTo>
                    <a:pt x="12" y="76"/>
                  </a:lnTo>
                  <a:lnTo>
                    <a:pt x="9" y="82"/>
                  </a:lnTo>
                  <a:lnTo>
                    <a:pt x="6" y="88"/>
                  </a:lnTo>
                  <a:lnTo>
                    <a:pt x="3" y="96"/>
                  </a:lnTo>
                  <a:lnTo>
                    <a:pt x="2" y="103"/>
                  </a:lnTo>
                  <a:lnTo>
                    <a:pt x="1" y="112"/>
                  </a:lnTo>
                  <a:lnTo>
                    <a:pt x="0" y="120"/>
                  </a:lnTo>
                  <a:lnTo>
                    <a:pt x="0" y="394"/>
                  </a:lnTo>
                  <a:lnTo>
                    <a:pt x="1" y="397"/>
                  </a:lnTo>
                  <a:lnTo>
                    <a:pt x="2" y="399"/>
                  </a:lnTo>
                  <a:lnTo>
                    <a:pt x="3" y="402"/>
                  </a:lnTo>
                  <a:lnTo>
                    <a:pt x="6" y="404"/>
                  </a:lnTo>
                  <a:lnTo>
                    <a:pt x="8" y="406"/>
                  </a:lnTo>
                  <a:lnTo>
                    <a:pt x="10" y="408"/>
                  </a:lnTo>
                  <a:lnTo>
                    <a:pt x="13" y="409"/>
                  </a:lnTo>
                  <a:lnTo>
                    <a:pt x="15" y="409"/>
                  </a:lnTo>
                  <a:lnTo>
                    <a:pt x="19" y="409"/>
                  </a:lnTo>
                  <a:lnTo>
                    <a:pt x="22" y="408"/>
                  </a:lnTo>
                  <a:lnTo>
                    <a:pt x="24" y="406"/>
                  </a:lnTo>
                  <a:lnTo>
                    <a:pt x="26" y="404"/>
                  </a:lnTo>
                  <a:lnTo>
                    <a:pt x="28" y="402"/>
                  </a:lnTo>
                  <a:lnTo>
                    <a:pt x="29" y="399"/>
                  </a:lnTo>
                  <a:lnTo>
                    <a:pt x="30" y="397"/>
                  </a:lnTo>
                  <a:lnTo>
                    <a:pt x="30" y="394"/>
                  </a:lnTo>
                  <a:lnTo>
                    <a:pt x="30" y="120"/>
                  </a:lnTo>
                  <a:lnTo>
                    <a:pt x="31" y="111"/>
                  </a:lnTo>
                  <a:lnTo>
                    <a:pt x="34" y="102"/>
                  </a:lnTo>
                  <a:lnTo>
                    <a:pt x="36" y="96"/>
                  </a:lnTo>
                  <a:lnTo>
                    <a:pt x="40" y="89"/>
                  </a:lnTo>
                  <a:lnTo>
                    <a:pt x="44" y="85"/>
                  </a:lnTo>
                  <a:lnTo>
                    <a:pt x="50" y="82"/>
                  </a:lnTo>
                  <a:lnTo>
                    <a:pt x="55" y="79"/>
                  </a:lnTo>
                  <a:lnTo>
                    <a:pt x="62" y="77"/>
                  </a:lnTo>
                  <a:lnTo>
                    <a:pt x="62" y="618"/>
                  </a:lnTo>
                  <a:lnTo>
                    <a:pt x="62" y="626"/>
                  </a:lnTo>
                  <a:lnTo>
                    <a:pt x="63" y="633"/>
                  </a:lnTo>
                  <a:lnTo>
                    <a:pt x="65" y="640"/>
                  </a:lnTo>
                  <a:lnTo>
                    <a:pt x="67" y="647"/>
                  </a:lnTo>
                  <a:lnTo>
                    <a:pt x="70" y="654"/>
                  </a:lnTo>
                  <a:lnTo>
                    <a:pt x="74" y="660"/>
                  </a:lnTo>
                  <a:lnTo>
                    <a:pt x="79" y="666"/>
                  </a:lnTo>
                  <a:lnTo>
                    <a:pt x="84" y="671"/>
                  </a:lnTo>
                  <a:lnTo>
                    <a:pt x="90" y="676"/>
                  </a:lnTo>
                  <a:lnTo>
                    <a:pt x="95" y="681"/>
                  </a:lnTo>
                  <a:lnTo>
                    <a:pt x="101" y="684"/>
                  </a:lnTo>
                  <a:lnTo>
                    <a:pt x="108" y="687"/>
                  </a:lnTo>
                  <a:lnTo>
                    <a:pt x="114" y="690"/>
                  </a:lnTo>
                  <a:lnTo>
                    <a:pt x="122" y="693"/>
                  </a:lnTo>
                  <a:lnTo>
                    <a:pt x="129" y="694"/>
                  </a:lnTo>
                  <a:lnTo>
                    <a:pt x="137" y="694"/>
                  </a:lnTo>
                  <a:lnTo>
                    <a:pt x="143" y="694"/>
                  </a:lnTo>
                  <a:lnTo>
                    <a:pt x="150" y="693"/>
                  </a:lnTo>
                  <a:lnTo>
                    <a:pt x="157" y="690"/>
                  </a:lnTo>
                  <a:lnTo>
                    <a:pt x="164" y="687"/>
                  </a:lnTo>
                  <a:lnTo>
                    <a:pt x="170" y="684"/>
                  </a:lnTo>
                  <a:lnTo>
                    <a:pt x="177" y="680"/>
                  </a:lnTo>
                  <a:lnTo>
                    <a:pt x="182" y="675"/>
                  </a:lnTo>
                  <a:lnTo>
                    <a:pt x="187" y="669"/>
                  </a:lnTo>
                  <a:lnTo>
                    <a:pt x="193" y="663"/>
                  </a:lnTo>
                  <a:lnTo>
                    <a:pt x="197" y="656"/>
                  </a:lnTo>
                  <a:lnTo>
                    <a:pt x="201" y="648"/>
                  </a:lnTo>
                  <a:lnTo>
                    <a:pt x="206" y="641"/>
                  </a:lnTo>
                  <a:lnTo>
                    <a:pt x="208" y="632"/>
                  </a:lnTo>
                  <a:lnTo>
                    <a:pt x="210" y="623"/>
                  </a:lnTo>
                  <a:lnTo>
                    <a:pt x="211" y="613"/>
                  </a:lnTo>
                  <a:lnTo>
                    <a:pt x="212" y="603"/>
                  </a:lnTo>
                  <a:lnTo>
                    <a:pt x="212" y="60"/>
                  </a:lnTo>
                  <a:lnTo>
                    <a:pt x="211" y="56"/>
                  </a:lnTo>
                  <a:lnTo>
                    <a:pt x="210" y="51"/>
                  </a:lnTo>
                  <a:lnTo>
                    <a:pt x="208" y="45"/>
                  </a:lnTo>
                  <a:lnTo>
                    <a:pt x="206" y="41"/>
                  </a:lnTo>
                  <a:lnTo>
                    <a:pt x="198" y="30"/>
                  </a:lnTo>
                  <a:lnTo>
                    <a:pt x="188" y="20"/>
                  </a:lnTo>
                  <a:lnTo>
                    <a:pt x="177" y="13"/>
                  </a:lnTo>
                  <a:lnTo>
                    <a:pt x="164" y="6"/>
                  </a:lnTo>
                  <a:lnTo>
                    <a:pt x="157" y="3"/>
                  </a:lnTo>
                  <a:lnTo>
                    <a:pt x="151" y="2"/>
                  </a:lnTo>
                  <a:lnTo>
                    <a:pt x="143" y="1"/>
                  </a:lnTo>
                  <a:lnTo>
                    <a:pt x="137" y="0"/>
                  </a:lnTo>
                  <a:lnTo>
                    <a:pt x="13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mn-cs"/>
              </a:endParaRPr>
            </a:p>
          </p:txBody>
        </p:sp>
      </p:grpSp>
      <p:grpSp>
        <p:nvGrpSpPr>
          <p:cNvPr id="25" name="Group 24"/>
          <p:cNvGrpSpPr/>
          <p:nvPr/>
        </p:nvGrpSpPr>
        <p:grpSpPr>
          <a:xfrm>
            <a:off x="9396685" y="1503941"/>
            <a:ext cx="285750" cy="277813"/>
            <a:chOff x="11028363" y="2508250"/>
            <a:chExt cx="285750" cy="277813"/>
          </a:xfrm>
          <a:solidFill>
            <a:srgbClr val="78D2D2"/>
          </a:solidFill>
        </p:grpSpPr>
        <p:sp>
          <p:nvSpPr>
            <p:cNvPr id="30" name="Freeform 70"/>
            <p:cNvSpPr>
              <a:spLocks/>
            </p:cNvSpPr>
            <p:nvPr/>
          </p:nvSpPr>
          <p:spPr bwMode="auto">
            <a:xfrm>
              <a:off x="11060113" y="2508250"/>
              <a:ext cx="225425" cy="157163"/>
            </a:xfrm>
            <a:custGeom>
              <a:avLst/>
              <a:gdLst>
                <a:gd name="T0" fmla="*/ 19 w 711"/>
                <a:gd name="T1" fmla="*/ 494 h 494"/>
                <a:gd name="T2" fmla="*/ 678 w 711"/>
                <a:gd name="T3" fmla="*/ 60 h 494"/>
                <a:gd name="T4" fmla="*/ 667 w 711"/>
                <a:gd name="T5" fmla="*/ 167 h 494"/>
                <a:gd name="T6" fmla="*/ 668 w 711"/>
                <a:gd name="T7" fmla="*/ 173 h 494"/>
                <a:gd name="T8" fmla="*/ 671 w 711"/>
                <a:gd name="T9" fmla="*/ 177 h 494"/>
                <a:gd name="T10" fmla="*/ 677 w 711"/>
                <a:gd name="T11" fmla="*/ 180 h 494"/>
                <a:gd name="T12" fmla="*/ 681 w 711"/>
                <a:gd name="T13" fmla="*/ 181 h 494"/>
                <a:gd name="T14" fmla="*/ 687 w 711"/>
                <a:gd name="T15" fmla="*/ 180 h 494"/>
                <a:gd name="T16" fmla="*/ 695 w 711"/>
                <a:gd name="T17" fmla="*/ 173 h 494"/>
                <a:gd name="T18" fmla="*/ 711 w 711"/>
                <a:gd name="T19" fmla="*/ 33 h 494"/>
                <a:gd name="T20" fmla="*/ 711 w 711"/>
                <a:gd name="T21" fmla="*/ 30 h 494"/>
                <a:gd name="T22" fmla="*/ 711 w 711"/>
                <a:gd name="T23" fmla="*/ 27 h 494"/>
                <a:gd name="T24" fmla="*/ 710 w 711"/>
                <a:gd name="T25" fmla="*/ 24 h 494"/>
                <a:gd name="T26" fmla="*/ 709 w 711"/>
                <a:gd name="T27" fmla="*/ 22 h 494"/>
                <a:gd name="T28" fmla="*/ 709 w 711"/>
                <a:gd name="T29" fmla="*/ 22 h 494"/>
                <a:gd name="T30" fmla="*/ 707 w 711"/>
                <a:gd name="T31" fmla="*/ 20 h 494"/>
                <a:gd name="T32" fmla="*/ 705 w 711"/>
                <a:gd name="T33" fmla="*/ 18 h 494"/>
                <a:gd name="T34" fmla="*/ 701 w 711"/>
                <a:gd name="T35" fmla="*/ 16 h 494"/>
                <a:gd name="T36" fmla="*/ 699 w 711"/>
                <a:gd name="T37" fmla="*/ 15 h 494"/>
                <a:gd name="T38" fmla="*/ 698 w 711"/>
                <a:gd name="T39" fmla="*/ 15 h 494"/>
                <a:gd name="T40" fmla="*/ 560 w 711"/>
                <a:gd name="T41" fmla="*/ 0 h 494"/>
                <a:gd name="T42" fmla="*/ 555 w 711"/>
                <a:gd name="T43" fmla="*/ 3 h 494"/>
                <a:gd name="T44" fmla="*/ 550 w 711"/>
                <a:gd name="T45" fmla="*/ 6 h 494"/>
                <a:gd name="T46" fmla="*/ 547 w 711"/>
                <a:gd name="T47" fmla="*/ 11 h 494"/>
                <a:gd name="T48" fmla="*/ 546 w 711"/>
                <a:gd name="T49" fmla="*/ 16 h 494"/>
                <a:gd name="T50" fmla="*/ 548 w 711"/>
                <a:gd name="T51" fmla="*/ 23 h 494"/>
                <a:gd name="T52" fmla="*/ 551 w 711"/>
                <a:gd name="T53" fmla="*/ 27 h 494"/>
                <a:gd name="T54" fmla="*/ 557 w 711"/>
                <a:gd name="T55" fmla="*/ 30 h 494"/>
                <a:gd name="T56" fmla="*/ 653 w 711"/>
                <a:gd name="T57" fmla="*/ 41 h 494"/>
                <a:gd name="T58" fmla="*/ 4 w 711"/>
                <a:gd name="T59" fmla="*/ 468 h 494"/>
                <a:gd name="T60" fmla="*/ 1 w 711"/>
                <a:gd name="T61" fmla="*/ 474 h 494"/>
                <a:gd name="T62" fmla="*/ 0 w 711"/>
                <a:gd name="T63" fmla="*/ 479 h 494"/>
                <a:gd name="T64" fmla="*/ 1 w 711"/>
                <a:gd name="T65" fmla="*/ 485 h 494"/>
                <a:gd name="T66" fmla="*/ 5 w 711"/>
                <a:gd name="T67" fmla="*/ 490 h 494"/>
                <a:gd name="T68" fmla="*/ 11 w 711"/>
                <a:gd name="T69" fmla="*/ 494 h 4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11" h="494">
                  <a:moveTo>
                    <a:pt x="15" y="494"/>
                  </a:moveTo>
                  <a:lnTo>
                    <a:pt x="19" y="494"/>
                  </a:lnTo>
                  <a:lnTo>
                    <a:pt x="23" y="492"/>
                  </a:lnTo>
                  <a:lnTo>
                    <a:pt x="678" y="60"/>
                  </a:lnTo>
                  <a:lnTo>
                    <a:pt x="667" y="164"/>
                  </a:lnTo>
                  <a:lnTo>
                    <a:pt x="667" y="167"/>
                  </a:lnTo>
                  <a:lnTo>
                    <a:pt x="667" y="170"/>
                  </a:lnTo>
                  <a:lnTo>
                    <a:pt x="668" y="173"/>
                  </a:lnTo>
                  <a:lnTo>
                    <a:pt x="670" y="175"/>
                  </a:lnTo>
                  <a:lnTo>
                    <a:pt x="671" y="177"/>
                  </a:lnTo>
                  <a:lnTo>
                    <a:pt x="675" y="179"/>
                  </a:lnTo>
                  <a:lnTo>
                    <a:pt x="677" y="180"/>
                  </a:lnTo>
                  <a:lnTo>
                    <a:pt x="680" y="180"/>
                  </a:lnTo>
                  <a:lnTo>
                    <a:pt x="681" y="181"/>
                  </a:lnTo>
                  <a:lnTo>
                    <a:pt x="682" y="181"/>
                  </a:lnTo>
                  <a:lnTo>
                    <a:pt x="687" y="180"/>
                  </a:lnTo>
                  <a:lnTo>
                    <a:pt x="692" y="177"/>
                  </a:lnTo>
                  <a:lnTo>
                    <a:pt x="695" y="173"/>
                  </a:lnTo>
                  <a:lnTo>
                    <a:pt x="696" y="167"/>
                  </a:lnTo>
                  <a:lnTo>
                    <a:pt x="711" y="33"/>
                  </a:lnTo>
                  <a:lnTo>
                    <a:pt x="711" y="31"/>
                  </a:lnTo>
                  <a:lnTo>
                    <a:pt x="711" y="30"/>
                  </a:lnTo>
                  <a:lnTo>
                    <a:pt x="711" y="28"/>
                  </a:lnTo>
                  <a:lnTo>
                    <a:pt x="711" y="27"/>
                  </a:lnTo>
                  <a:lnTo>
                    <a:pt x="711" y="26"/>
                  </a:lnTo>
                  <a:lnTo>
                    <a:pt x="710" y="24"/>
                  </a:lnTo>
                  <a:lnTo>
                    <a:pt x="710" y="23"/>
                  </a:lnTo>
                  <a:lnTo>
                    <a:pt x="709" y="22"/>
                  </a:lnTo>
                  <a:lnTo>
                    <a:pt x="709" y="22"/>
                  </a:lnTo>
                  <a:lnTo>
                    <a:pt x="709" y="22"/>
                  </a:lnTo>
                  <a:lnTo>
                    <a:pt x="708" y="21"/>
                  </a:lnTo>
                  <a:lnTo>
                    <a:pt x="707" y="20"/>
                  </a:lnTo>
                  <a:lnTo>
                    <a:pt x="706" y="19"/>
                  </a:lnTo>
                  <a:lnTo>
                    <a:pt x="705" y="18"/>
                  </a:lnTo>
                  <a:lnTo>
                    <a:pt x="703" y="18"/>
                  </a:lnTo>
                  <a:lnTo>
                    <a:pt x="701" y="16"/>
                  </a:lnTo>
                  <a:lnTo>
                    <a:pt x="700" y="16"/>
                  </a:lnTo>
                  <a:lnTo>
                    <a:pt x="699" y="15"/>
                  </a:lnTo>
                  <a:lnTo>
                    <a:pt x="698" y="15"/>
                  </a:lnTo>
                  <a:lnTo>
                    <a:pt x="698" y="15"/>
                  </a:lnTo>
                  <a:lnTo>
                    <a:pt x="563" y="0"/>
                  </a:lnTo>
                  <a:lnTo>
                    <a:pt x="560" y="0"/>
                  </a:lnTo>
                  <a:lnTo>
                    <a:pt x="557" y="1"/>
                  </a:lnTo>
                  <a:lnTo>
                    <a:pt x="555" y="3"/>
                  </a:lnTo>
                  <a:lnTo>
                    <a:pt x="552" y="4"/>
                  </a:lnTo>
                  <a:lnTo>
                    <a:pt x="550" y="6"/>
                  </a:lnTo>
                  <a:lnTo>
                    <a:pt x="548" y="8"/>
                  </a:lnTo>
                  <a:lnTo>
                    <a:pt x="547" y="11"/>
                  </a:lnTo>
                  <a:lnTo>
                    <a:pt x="546" y="14"/>
                  </a:lnTo>
                  <a:lnTo>
                    <a:pt x="546" y="16"/>
                  </a:lnTo>
                  <a:lnTo>
                    <a:pt x="547" y="20"/>
                  </a:lnTo>
                  <a:lnTo>
                    <a:pt x="548" y="23"/>
                  </a:lnTo>
                  <a:lnTo>
                    <a:pt x="549" y="25"/>
                  </a:lnTo>
                  <a:lnTo>
                    <a:pt x="551" y="27"/>
                  </a:lnTo>
                  <a:lnTo>
                    <a:pt x="553" y="28"/>
                  </a:lnTo>
                  <a:lnTo>
                    <a:pt x="557" y="30"/>
                  </a:lnTo>
                  <a:lnTo>
                    <a:pt x="560" y="30"/>
                  </a:lnTo>
                  <a:lnTo>
                    <a:pt x="653" y="41"/>
                  </a:lnTo>
                  <a:lnTo>
                    <a:pt x="6" y="466"/>
                  </a:lnTo>
                  <a:lnTo>
                    <a:pt x="4" y="468"/>
                  </a:lnTo>
                  <a:lnTo>
                    <a:pt x="2" y="471"/>
                  </a:lnTo>
                  <a:lnTo>
                    <a:pt x="1" y="474"/>
                  </a:lnTo>
                  <a:lnTo>
                    <a:pt x="0" y="476"/>
                  </a:lnTo>
                  <a:lnTo>
                    <a:pt x="0" y="479"/>
                  </a:lnTo>
                  <a:lnTo>
                    <a:pt x="0" y="482"/>
                  </a:lnTo>
                  <a:lnTo>
                    <a:pt x="1" y="485"/>
                  </a:lnTo>
                  <a:lnTo>
                    <a:pt x="2" y="488"/>
                  </a:lnTo>
                  <a:lnTo>
                    <a:pt x="5" y="490"/>
                  </a:lnTo>
                  <a:lnTo>
                    <a:pt x="8" y="492"/>
                  </a:lnTo>
                  <a:lnTo>
                    <a:pt x="11" y="494"/>
                  </a:lnTo>
                  <a:lnTo>
                    <a:pt x="15" y="49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mn-cs"/>
              </a:endParaRPr>
            </a:p>
          </p:txBody>
        </p:sp>
        <p:sp>
          <p:nvSpPr>
            <p:cNvPr id="31" name="Freeform 71"/>
            <p:cNvSpPr>
              <a:spLocks noEditPoints="1"/>
            </p:cNvSpPr>
            <p:nvPr/>
          </p:nvSpPr>
          <p:spPr bwMode="auto">
            <a:xfrm>
              <a:off x="11028363" y="2593975"/>
              <a:ext cx="285750" cy="192088"/>
            </a:xfrm>
            <a:custGeom>
              <a:avLst/>
              <a:gdLst>
                <a:gd name="T0" fmla="*/ 812 w 902"/>
                <a:gd name="T1" fmla="*/ 30 h 601"/>
                <a:gd name="T2" fmla="*/ 511 w 902"/>
                <a:gd name="T3" fmla="*/ 571 h 601"/>
                <a:gd name="T4" fmla="*/ 601 w 902"/>
                <a:gd name="T5" fmla="*/ 571 h 601"/>
                <a:gd name="T6" fmla="*/ 300 w 902"/>
                <a:gd name="T7" fmla="*/ 330 h 601"/>
                <a:gd name="T8" fmla="*/ 300 w 902"/>
                <a:gd name="T9" fmla="*/ 571 h 601"/>
                <a:gd name="T10" fmla="*/ 180 w 902"/>
                <a:gd name="T11" fmla="*/ 481 h 601"/>
                <a:gd name="T12" fmla="*/ 887 w 902"/>
                <a:gd name="T13" fmla="*/ 571 h 601"/>
                <a:gd name="T14" fmla="*/ 841 w 902"/>
                <a:gd name="T15" fmla="*/ 12 h 601"/>
                <a:gd name="T16" fmla="*/ 838 w 902"/>
                <a:gd name="T17" fmla="*/ 5 h 601"/>
                <a:gd name="T18" fmla="*/ 829 w 902"/>
                <a:gd name="T19" fmla="*/ 0 h 601"/>
                <a:gd name="T20" fmla="*/ 704 w 902"/>
                <a:gd name="T21" fmla="*/ 0 h 601"/>
                <a:gd name="T22" fmla="*/ 695 w 902"/>
                <a:gd name="T23" fmla="*/ 5 h 601"/>
                <a:gd name="T24" fmla="*/ 692 w 902"/>
                <a:gd name="T25" fmla="*/ 12 h 601"/>
                <a:gd name="T26" fmla="*/ 631 w 902"/>
                <a:gd name="T27" fmla="*/ 571 h 601"/>
                <a:gd name="T28" fmla="*/ 630 w 902"/>
                <a:gd name="T29" fmla="*/ 160 h 601"/>
                <a:gd name="T30" fmla="*/ 625 w 902"/>
                <a:gd name="T31" fmla="*/ 152 h 601"/>
                <a:gd name="T32" fmla="*/ 616 w 902"/>
                <a:gd name="T33" fmla="*/ 150 h 601"/>
                <a:gd name="T34" fmla="*/ 490 w 902"/>
                <a:gd name="T35" fmla="*/ 151 h 601"/>
                <a:gd name="T36" fmla="*/ 483 w 902"/>
                <a:gd name="T37" fmla="*/ 157 h 601"/>
                <a:gd name="T38" fmla="*/ 481 w 902"/>
                <a:gd name="T39" fmla="*/ 165 h 601"/>
                <a:gd name="T40" fmla="*/ 421 w 902"/>
                <a:gd name="T41" fmla="*/ 315 h 601"/>
                <a:gd name="T42" fmla="*/ 418 w 902"/>
                <a:gd name="T43" fmla="*/ 308 h 601"/>
                <a:gd name="T44" fmla="*/ 411 w 902"/>
                <a:gd name="T45" fmla="*/ 302 h 601"/>
                <a:gd name="T46" fmla="*/ 285 w 902"/>
                <a:gd name="T47" fmla="*/ 300 h 601"/>
                <a:gd name="T48" fmla="*/ 277 w 902"/>
                <a:gd name="T49" fmla="*/ 304 h 601"/>
                <a:gd name="T50" fmla="*/ 271 w 902"/>
                <a:gd name="T51" fmla="*/ 310 h 601"/>
                <a:gd name="T52" fmla="*/ 270 w 902"/>
                <a:gd name="T53" fmla="*/ 571 h 601"/>
                <a:gd name="T54" fmla="*/ 210 w 902"/>
                <a:gd name="T55" fmla="*/ 463 h 601"/>
                <a:gd name="T56" fmla="*/ 206 w 902"/>
                <a:gd name="T57" fmla="*/ 456 h 601"/>
                <a:gd name="T58" fmla="*/ 198 w 902"/>
                <a:gd name="T59" fmla="*/ 451 h 601"/>
                <a:gd name="T60" fmla="*/ 72 w 902"/>
                <a:gd name="T61" fmla="*/ 451 h 601"/>
                <a:gd name="T62" fmla="*/ 64 w 902"/>
                <a:gd name="T63" fmla="*/ 456 h 601"/>
                <a:gd name="T64" fmla="*/ 60 w 902"/>
                <a:gd name="T65" fmla="*/ 463 h 601"/>
                <a:gd name="T66" fmla="*/ 15 w 902"/>
                <a:gd name="T67" fmla="*/ 571 h 601"/>
                <a:gd name="T68" fmla="*/ 6 w 902"/>
                <a:gd name="T69" fmla="*/ 573 h 601"/>
                <a:gd name="T70" fmla="*/ 1 w 902"/>
                <a:gd name="T71" fmla="*/ 581 h 601"/>
                <a:gd name="T72" fmla="*/ 0 w 902"/>
                <a:gd name="T73" fmla="*/ 590 h 601"/>
                <a:gd name="T74" fmla="*/ 4 w 902"/>
                <a:gd name="T75" fmla="*/ 597 h 601"/>
                <a:gd name="T76" fmla="*/ 12 w 902"/>
                <a:gd name="T77" fmla="*/ 601 h 601"/>
                <a:gd name="T78" fmla="*/ 195 w 902"/>
                <a:gd name="T79" fmla="*/ 601 h 601"/>
                <a:gd name="T80" fmla="*/ 496 w 902"/>
                <a:gd name="T81" fmla="*/ 601 h 601"/>
                <a:gd name="T82" fmla="*/ 827 w 902"/>
                <a:gd name="T83" fmla="*/ 601 h 601"/>
                <a:gd name="T84" fmla="*/ 892 w 902"/>
                <a:gd name="T85" fmla="*/ 600 h 601"/>
                <a:gd name="T86" fmla="*/ 899 w 902"/>
                <a:gd name="T87" fmla="*/ 595 h 601"/>
                <a:gd name="T88" fmla="*/ 902 w 902"/>
                <a:gd name="T89" fmla="*/ 586 h 601"/>
                <a:gd name="T90" fmla="*/ 899 w 902"/>
                <a:gd name="T91" fmla="*/ 578 h 601"/>
                <a:gd name="T92" fmla="*/ 892 w 902"/>
                <a:gd name="T93" fmla="*/ 572 h 6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902" h="601">
                  <a:moveTo>
                    <a:pt x="721" y="571"/>
                  </a:moveTo>
                  <a:lnTo>
                    <a:pt x="721" y="30"/>
                  </a:lnTo>
                  <a:lnTo>
                    <a:pt x="812" y="30"/>
                  </a:lnTo>
                  <a:lnTo>
                    <a:pt x="812" y="571"/>
                  </a:lnTo>
                  <a:lnTo>
                    <a:pt x="721" y="571"/>
                  </a:lnTo>
                  <a:close/>
                  <a:moveTo>
                    <a:pt x="511" y="571"/>
                  </a:moveTo>
                  <a:lnTo>
                    <a:pt x="511" y="180"/>
                  </a:lnTo>
                  <a:lnTo>
                    <a:pt x="601" y="180"/>
                  </a:lnTo>
                  <a:lnTo>
                    <a:pt x="601" y="571"/>
                  </a:lnTo>
                  <a:lnTo>
                    <a:pt x="511" y="571"/>
                  </a:lnTo>
                  <a:close/>
                  <a:moveTo>
                    <a:pt x="300" y="571"/>
                  </a:moveTo>
                  <a:lnTo>
                    <a:pt x="300" y="330"/>
                  </a:lnTo>
                  <a:lnTo>
                    <a:pt x="391" y="330"/>
                  </a:lnTo>
                  <a:lnTo>
                    <a:pt x="391" y="571"/>
                  </a:lnTo>
                  <a:lnTo>
                    <a:pt x="300" y="571"/>
                  </a:lnTo>
                  <a:close/>
                  <a:moveTo>
                    <a:pt x="90" y="571"/>
                  </a:moveTo>
                  <a:lnTo>
                    <a:pt x="90" y="481"/>
                  </a:lnTo>
                  <a:lnTo>
                    <a:pt x="180" y="481"/>
                  </a:lnTo>
                  <a:lnTo>
                    <a:pt x="180" y="571"/>
                  </a:lnTo>
                  <a:lnTo>
                    <a:pt x="90" y="571"/>
                  </a:lnTo>
                  <a:close/>
                  <a:moveTo>
                    <a:pt x="887" y="571"/>
                  </a:moveTo>
                  <a:lnTo>
                    <a:pt x="842" y="571"/>
                  </a:lnTo>
                  <a:lnTo>
                    <a:pt x="842" y="15"/>
                  </a:lnTo>
                  <a:lnTo>
                    <a:pt x="841" y="12"/>
                  </a:lnTo>
                  <a:lnTo>
                    <a:pt x="841" y="9"/>
                  </a:lnTo>
                  <a:lnTo>
                    <a:pt x="839" y="7"/>
                  </a:lnTo>
                  <a:lnTo>
                    <a:pt x="838" y="5"/>
                  </a:lnTo>
                  <a:lnTo>
                    <a:pt x="835" y="3"/>
                  </a:lnTo>
                  <a:lnTo>
                    <a:pt x="832" y="1"/>
                  </a:lnTo>
                  <a:lnTo>
                    <a:pt x="829" y="0"/>
                  </a:lnTo>
                  <a:lnTo>
                    <a:pt x="827" y="0"/>
                  </a:lnTo>
                  <a:lnTo>
                    <a:pt x="706" y="0"/>
                  </a:lnTo>
                  <a:lnTo>
                    <a:pt x="704" y="0"/>
                  </a:lnTo>
                  <a:lnTo>
                    <a:pt x="701" y="1"/>
                  </a:lnTo>
                  <a:lnTo>
                    <a:pt x="698" y="3"/>
                  </a:lnTo>
                  <a:lnTo>
                    <a:pt x="695" y="5"/>
                  </a:lnTo>
                  <a:lnTo>
                    <a:pt x="694" y="7"/>
                  </a:lnTo>
                  <a:lnTo>
                    <a:pt x="692" y="9"/>
                  </a:lnTo>
                  <a:lnTo>
                    <a:pt x="692" y="12"/>
                  </a:lnTo>
                  <a:lnTo>
                    <a:pt x="691" y="15"/>
                  </a:lnTo>
                  <a:lnTo>
                    <a:pt x="691" y="571"/>
                  </a:lnTo>
                  <a:lnTo>
                    <a:pt x="631" y="571"/>
                  </a:lnTo>
                  <a:lnTo>
                    <a:pt x="631" y="165"/>
                  </a:lnTo>
                  <a:lnTo>
                    <a:pt x="631" y="162"/>
                  </a:lnTo>
                  <a:lnTo>
                    <a:pt x="630" y="160"/>
                  </a:lnTo>
                  <a:lnTo>
                    <a:pt x="629" y="157"/>
                  </a:lnTo>
                  <a:lnTo>
                    <a:pt x="627" y="155"/>
                  </a:lnTo>
                  <a:lnTo>
                    <a:pt x="625" y="152"/>
                  </a:lnTo>
                  <a:lnTo>
                    <a:pt x="622" y="151"/>
                  </a:lnTo>
                  <a:lnTo>
                    <a:pt x="619" y="150"/>
                  </a:lnTo>
                  <a:lnTo>
                    <a:pt x="616" y="150"/>
                  </a:lnTo>
                  <a:lnTo>
                    <a:pt x="496" y="150"/>
                  </a:lnTo>
                  <a:lnTo>
                    <a:pt x="493" y="150"/>
                  </a:lnTo>
                  <a:lnTo>
                    <a:pt x="490" y="151"/>
                  </a:lnTo>
                  <a:lnTo>
                    <a:pt x="487" y="154"/>
                  </a:lnTo>
                  <a:lnTo>
                    <a:pt x="485" y="155"/>
                  </a:lnTo>
                  <a:lnTo>
                    <a:pt x="483" y="157"/>
                  </a:lnTo>
                  <a:lnTo>
                    <a:pt x="482" y="160"/>
                  </a:lnTo>
                  <a:lnTo>
                    <a:pt x="481" y="162"/>
                  </a:lnTo>
                  <a:lnTo>
                    <a:pt x="481" y="165"/>
                  </a:lnTo>
                  <a:lnTo>
                    <a:pt x="481" y="571"/>
                  </a:lnTo>
                  <a:lnTo>
                    <a:pt x="421" y="571"/>
                  </a:lnTo>
                  <a:lnTo>
                    <a:pt x="421" y="315"/>
                  </a:lnTo>
                  <a:lnTo>
                    <a:pt x="420" y="313"/>
                  </a:lnTo>
                  <a:lnTo>
                    <a:pt x="420" y="310"/>
                  </a:lnTo>
                  <a:lnTo>
                    <a:pt x="418" y="308"/>
                  </a:lnTo>
                  <a:lnTo>
                    <a:pt x="417" y="306"/>
                  </a:lnTo>
                  <a:lnTo>
                    <a:pt x="414" y="304"/>
                  </a:lnTo>
                  <a:lnTo>
                    <a:pt x="411" y="302"/>
                  </a:lnTo>
                  <a:lnTo>
                    <a:pt x="408" y="301"/>
                  </a:lnTo>
                  <a:lnTo>
                    <a:pt x="406" y="300"/>
                  </a:lnTo>
                  <a:lnTo>
                    <a:pt x="285" y="300"/>
                  </a:lnTo>
                  <a:lnTo>
                    <a:pt x="283" y="301"/>
                  </a:lnTo>
                  <a:lnTo>
                    <a:pt x="280" y="302"/>
                  </a:lnTo>
                  <a:lnTo>
                    <a:pt x="277" y="304"/>
                  </a:lnTo>
                  <a:lnTo>
                    <a:pt x="274" y="306"/>
                  </a:lnTo>
                  <a:lnTo>
                    <a:pt x="273" y="308"/>
                  </a:lnTo>
                  <a:lnTo>
                    <a:pt x="271" y="310"/>
                  </a:lnTo>
                  <a:lnTo>
                    <a:pt x="271" y="313"/>
                  </a:lnTo>
                  <a:lnTo>
                    <a:pt x="270" y="316"/>
                  </a:lnTo>
                  <a:lnTo>
                    <a:pt x="270" y="571"/>
                  </a:lnTo>
                  <a:lnTo>
                    <a:pt x="210" y="571"/>
                  </a:lnTo>
                  <a:lnTo>
                    <a:pt x="210" y="466"/>
                  </a:lnTo>
                  <a:lnTo>
                    <a:pt x="210" y="463"/>
                  </a:lnTo>
                  <a:lnTo>
                    <a:pt x="209" y="460"/>
                  </a:lnTo>
                  <a:lnTo>
                    <a:pt x="208" y="458"/>
                  </a:lnTo>
                  <a:lnTo>
                    <a:pt x="206" y="456"/>
                  </a:lnTo>
                  <a:lnTo>
                    <a:pt x="204" y="454"/>
                  </a:lnTo>
                  <a:lnTo>
                    <a:pt x="201" y="452"/>
                  </a:lnTo>
                  <a:lnTo>
                    <a:pt x="198" y="451"/>
                  </a:lnTo>
                  <a:lnTo>
                    <a:pt x="195" y="451"/>
                  </a:lnTo>
                  <a:lnTo>
                    <a:pt x="75" y="451"/>
                  </a:lnTo>
                  <a:lnTo>
                    <a:pt x="72" y="451"/>
                  </a:lnTo>
                  <a:lnTo>
                    <a:pt x="69" y="452"/>
                  </a:lnTo>
                  <a:lnTo>
                    <a:pt x="66" y="454"/>
                  </a:lnTo>
                  <a:lnTo>
                    <a:pt x="64" y="456"/>
                  </a:lnTo>
                  <a:lnTo>
                    <a:pt x="62" y="458"/>
                  </a:lnTo>
                  <a:lnTo>
                    <a:pt x="61" y="460"/>
                  </a:lnTo>
                  <a:lnTo>
                    <a:pt x="60" y="463"/>
                  </a:lnTo>
                  <a:lnTo>
                    <a:pt x="60" y="466"/>
                  </a:lnTo>
                  <a:lnTo>
                    <a:pt x="60" y="571"/>
                  </a:lnTo>
                  <a:lnTo>
                    <a:pt x="15" y="571"/>
                  </a:lnTo>
                  <a:lnTo>
                    <a:pt x="12" y="571"/>
                  </a:lnTo>
                  <a:lnTo>
                    <a:pt x="9" y="572"/>
                  </a:lnTo>
                  <a:lnTo>
                    <a:pt x="6" y="573"/>
                  </a:lnTo>
                  <a:lnTo>
                    <a:pt x="4" y="576"/>
                  </a:lnTo>
                  <a:lnTo>
                    <a:pt x="2" y="578"/>
                  </a:lnTo>
                  <a:lnTo>
                    <a:pt x="1" y="581"/>
                  </a:lnTo>
                  <a:lnTo>
                    <a:pt x="0" y="583"/>
                  </a:lnTo>
                  <a:lnTo>
                    <a:pt x="0" y="586"/>
                  </a:lnTo>
                  <a:lnTo>
                    <a:pt x="0" y="590"/>
                  </a:lnTo>
                  <a:lnTo>
                    <a:pt x="1" y="593"/>
                  </a:lnTo>
                  <a:lnTo>
                    <a:pt x="2" y="595"/>
                  </a:lnTo>
                  <a:lnTo>
                    <a:pt x="4" y="597"/>
                  </a:lnTo>
                  <a:lnTo>
                    <a:pt x="6" y="599"/>
                  </a:lnTo>
                  <a:lnTo>
                    <a:pt x="9" y="600"/>
                  </a:lnTo>
                  <a:lnTo>
                    <a:pt x="12" y="601"/>
                  </a:lnTo>
                  <a:lnTo>
                    <a:pt x="15" y="601"/>
                  </a:lnTo>
                  <a:lnTo>
                    <a:pt x="75" y="601"/>
                  </a:lnTo>
                  <a:lnTo>
                    <a:pt x="195" y="601"/>
                  </a:lnTo>
                  <a:lnTo>
                    <a:pt x="285" y="601"/>
                  </a:lnTo>
                  <a:lnTo>
                    <a:pt x="406" y="601"/>
                  </a:lnTo>
                  <a:lnTo>
                    <a:pt x="496" y="601"/>
                  </a:lnTo>
                  <a:lnTo>
                    <a:pt x="616" y="601"/>
                  </a:lnTo>
                  <a:lnTo>
                    <a:pt x="706" y="601"/>
                  </a:lnTo>
                  <a:lnTo>
                    <a:pt x="827" y="601"/>
                  </a:lnTo>
                  <a:lnTo>
                    <a:pt x="887" y="601"/>
                  </a:lnTo>
                  <a:lnTo>
                    <a:pt x="890" y="601"/>
                  </a:lnTo>
                  <a:lnTo>
                    <a:pt x="892" y="600"/>
                  </a:lnTo>
                  <a:lnTo>
                    <a:pt x="896" y="599"/>
                  </a:lnTo>
                  <a:lnTo>
                    <a:pt x="898" y="597"/>
                  </a:lnTo>
                  <a:lnTo>
                    <a:pt x="899" y="595"/>
                  </a:lnTo>
                  <a:lnTo>
                    <a:pt x="901" y="593"/>
                  </a:lnTo>
                  <a:lnTo>
                    <a:pt x="901" y="590"/>
                  </a:lnTo>
                  <a:lnTo>
                    <a:pt x="902" y="586"/>
                  </a:lnTo>
                  <a:lnTo>
                    <a:pt x="902" y="583"/>
                  </a:lnTo>
                  <a:lnTo>
                    <a:pt x="901" y="581"/>
                  </a:lnTo>
                  <a:lnTo>
                    <a:pt x="899" y="578"/>
                  </a:lnTo>
                  <a:lnTo>
                    <a:pt x="898" y="576"/>
                  </a:lnTo>
                  <a:lnTo>
                    <a:pt x="896" y="573"/>
                  </a:lnTo>
                  <a:lnTo>
                    <a:pt x="892" y="572"/>
                  </a:lnTo>
                  <a:lnTo>
                    <a:pt x="890" y="571"/>
                  </a:lnTo>
                  <a:lnTo>
                    <a:pt x="887" y="5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mn-cs"/>
              </a:endParaRPr>
            </a:p>
          </p:txBody>
        </p:sp>
      </p:grpSp>
      <p:sp>
        <p:nvSpPr>
          <p:cNvPr id="26" name="Freeform 192"/>
          <p:cNvSpPr>
            <a:spLocks noEditPoints="1"/>
          </p:cNvSpPr>
          <p:nvPr/>
        </p:nvSpPr>
        <p:spPr bwMode="auto">
          <a:xfrm>
            <a:off x="7696843" y="1496004"/>
            <a:ext cx="287338" cy="285750"/>
          </a:xfrm>
          <a:custGeom>
            <a:avLst/>
            <a:gdLst>
              <a:gd name="T0" fmla="*/ 373 w 902"/>
              <a:gd name="T1" fmla="*/ 840 h 902"/>
              <a:gd name="T2" fmla="*/ 386 w 902"/>
              <a:gd name="T3" fmla="*/ 772 h 902"/>
              <a:gd name="T4" fmla="*/ 709 w 902"/>
              <a:gd name="T5" fmla="*/ 790 h 902"/>
              <a:gd name="T6" fmla="*/ 871 w 902"/>
              <a:gd name="T7" fmla="*/ 816 h 902"/>
              <a:gd name="T8" fmla="*/ 713 w 902"/>
              <a:gd name="T9" fmla="*/ 865 h 902"/>
              <a:gd name="T10" fmla="*/ 102 w 902"/>
              <a:gd name="T11" fmla="*/ 580 h 902"/>
              <a:gd name="T12" fmla="*/ 214 w 902"/>
              <a:gd name="T13" fmla="*/ 672 h 902"/>
              <a:gd name="T14" fmla="*/ 34 w 902"/>
              <a:gd name="T15" fmla="*/ 625 h 902"/>
              <a:gd name="T16" fmla="*/ 483 w 902"/>
              <a:gd name="T17" fmla="*/ 47 h 902"/>
              <a:gd name="T18" fmla="*/ 567 w 902"/>
              <a:gd name="T19" fmla="*/ 98 h 902"/>
              <a:gd name="T20" fmla="*/ 391 w 902"/>
              <a:gd name="T21" fmla="*/ 145 h 902"/>
              <a:gd name="T22" fmla="*/ 100 w 902"/>
              <a:gd name="T23" fmla="*/ 127 h 902"/>
              <a:gd name="T24" fmla="*/ 40 w 902"/>
              <a:gd name="T25" fmla="*/ 77 h 902"/>
              <a:gd name="T26" fmla="*/ 239 w 902"/>
              <a:gd name="T27" fmla="*/ 31 h 902"/>
              <a:gd name="T28" fmla="*/ 516 w 902"/>
              <a:gd name="T29" fmla="*/ 366 h 902"/>
              <a:gd name="T30" fmla="*/ 529 w 902"/>
              <a:gd name="T31" fmla="*/ 434 h 902"/>
              <a:gd name="T32" fmla="*/ 270 w 902"/>
              <a:gd name="T33" fmla="*/ 464 h 902"/>
              <a:gd name="T34" fmla="*/ 49 w 902"/>
              <a:gd name="T35" fmla="*/ 425 h 902"/>
              <a:gd name="T36" fmla="*/ 119 w 902"/>
              <a:gd name="T37" fmla="*/ 373 h 902"/>
              <a:gd name="T38" fmla="*/ 408 w 902"/>
              <a:gd name="T39" fmla="*/ 279 h 902"/>
              <a:gd name="T40" fmla="*/ 570 w 902"/>
              <a:gd name="T41" fmla="*/ 305 h 902"/>
              <a:gd name="T42" fmla="*/ 412 w 902"/>
              <a:gd name="T43" fmla="*/ 354 h 902"/>
              <a:gd name="T44" fmla="*/ 122 w 902"/>
              <a:gd name="T45" fmla="*/ 343 h 902"/>
              <a:gd name="T46" fmla="*/ 42 w 902"/>
              <a:gd name="T47" fmla="*/ 245 h 902"/>
              <a:gd name="T48" fmla="*/ 301 w 902"/>
              <a:gd name="T49" fmla="*/ 285 h 902"/>
              <a:gd name="T50" fmla="*/ 459 w 902"/>
              <a:gd name="T51" fmla="*/ 243 h 902"/>
              <a:gd name="T52" fmla="*/ 165 w 902"/>
              <a:gd name="T53" fmla="*/ 246 h 902"/>
              <a:gd name="T54" fmla="*/ 30 w 902"/>
              <a:gd name="T55" fmla="*/ 195 h 902"/>
              <a:gd name="T56" fmla="*/ 221 w 902"/>
              <a:gd name="T57" fmla="*/ 176 h 902"/>
              <a:gd name="T58" fmla="*/ 536 w 902"/>
              <a:gd name="T59" fmla="*/ 148 h 902"/>
              <a:gd name="T60" fmla="*/ 189 w 902"/>
              <a:gd name="T61" fmla="*/ 564 h 902"/>
              <a:gd name="T62" fmla="*/ 31 w 902"/>
              <a:gd name="T63" fmla="*/ 515 h 902"/>
              <a:gd name="T64" fmla="*/ 193 w 902"/>
              <a:gd name="T65" fmla="*/ 490 h 902"/>
              <a:gd name="T66" fmla="*/ 516 w 902"/>
              <a:gd name="T67" fmla="*/ 471 h 902"/>
              <a:gd name="T68" fmla="*/ 417 w 902"/>
              <a:gd name="T69" fmla="*/ 528 h 902"/>
              <a:gd name="T70" fmla="*/ 871 w 902"/>
              <a:gd name="T71" fmla="*/ 605 h 902"/>
              <a:gd name="T72" fmla="*/ 718 w 902"/>
              <a:gd name="T73" fmla="*/ 654 h 902"/>
              <a:gd name="T74" fmla="*/ 419 w 902"/>
              <a:gd name="T75" fmla="*/ 642 h 902"/>
              <a:gd name="T76" fmla="*/ 335 w 902"/>
              <a:gd name="T77" fmla="*/ 592 h 902"/>
              <a:gd name="T78" fmla="*/ 511 w 902"/>
              <a:gd name="T79" fmla="*/ 544 h 902"/>
              <a:gd name="T80" fmla="*/ 802 w 902"/>
              <a:gd name="T81" fmla="*/ 563 h 902"/>
              <a:gd name="T82" fmla="*/ 867 w 902"/>
              <a:gd name="T83" fmla="*/ 715 h 902"/>
              <a:gd name="T84" fmla="*/ 688 w 902"/>
              <a:gd name="T85" fmla="*/ 762 h 902"/>
              <a:gd name="T86" fmla="*/ 404 w 902"/>
              <a:gd name="T87" fmla="*/ 745 h 902"/>
              <a:gd name="T88" fmla="*/ 352 w 902"/>
              <a:gd name="T89" fmla="*/ 654 h 902"/>
              <a:gd name="T90" fmla="*/ 642 w 902"/>
              <a:gd name="T91" fmla="*/ 691 h 902"/>
              <a:gd name="T92" fmla="*/ 872 w 902"/>
              <a:gd name="T93" fmla="*/ 643 h 902"/>
              <a:gd name="T94" fmla="*/ 590 w 902"/>
              <a:gd name="T95" fmla="*/ 63 h 902"/>
              <a:gd name="T96" fmla="*/ 408 w 902"/>
              <a:gd name="T97" fmla="*/ 5 h 902"/>
              <a:gd name="T98" fmla="*/ 118 w 902"/>
              <a:gd name="T99" fmla="*/ 16 h 902"/>
              <a:gd name="T100" fmla="*/ 2 w 902"/>
              <a:gd name="T101" fmla="*/ 78 h 902"/>
              <a:gd name="T102" fmla="*/ 9 w 902"/>
              <a:gd name="T103" fmla="*/ 640 h 902"/>
              <a:gd name="T104" fmla="*/ 181 w 902"/>
              <a:gd name="T105" fmla="*/ 699 h 902"/>
              <a:gd name="T106" fmla="*/ 325 w 902"/>
              <a:gd name="T107" fmla="*/ 851 h 902"/>
              <a:gd name="T108" fmla="*/ 601 w 902"/>
              <a:gd name="T109" fmla="*/ 902 h 902"/>
              <a:gd name="T110" fmla="*/ 877 w 902"/>
              <a:gd name="T111" fmla="*/ 851 h 902"/>
              <a:gd name="T112" fmla="*/ 900 w 902"/>
              <a:gd name="T113" fmla="*/ 590 h 902"/>
              <a:gd name="T114" fmla="*/ 784 w 902"/>
              <a:gd name="T115" fmla="*/ 527 h 9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902" h="902">
                <a:moveTo>
                  <a:pt x="601" y="872"/>
                </a:moveTo>
                <a:lnTo>
                  <a:pt x="571" y="870"/>
                </a:lnTo>
                <a:lnTo>
                  <a:pt x="542" y="869"/>
                </a:lnTo>
                <a:lnTo>
                  <a:pt x="515" y="867"/>
                </a:lnTo>
                <a:lnTo>
                  <a:pt x="490" y="865"/>
                </a:lnTo>
                <a:lnTo>
                  <a:pt x="465" y="862"/>
                </a:lnTo>
                <a:lnTo>
                  <a:pt x="444" y="859"/>
                </a:lnTo>
                <a:lnTo>
                  <a:pt x="422" y="854"/>
                </a:lnTo>
                <a:lnTo>
                  <a:pt x="404" y="850"/>
                </a:lnTo>
                <a:lnTo>
                  <a:pt x="388" y="846"/>
                </a:lnTo>
                <a:lnTo>
                  <a:pt x="373" y="840"/>
                </a:lnTo>
                <a:lnTo>
                  <a:pt x="360" y="836"/>
                </a:lnTo>
                <a:lnTo>
                  <a:pt x="349" y="831"/>
                </a:lnTo>
                <a:lnTo>
                  <a:pt x="342" y="825"/>
                </a:lnTo>
                <a:lnTo>
                  <a:pt x="335" y="821"/>
                </a:lnTo>
                <a:lnTo>
                  <a:pt x="332" y="816"/>
                </a:lnTo>
                <a:lnTo>
                  <a:pt x="331" y="812"/>
                </a:lnTo>
                <a:lnTo>
                  <a:pt x="331" y="749"/>
                </a:lnTo>
                <a:lnTo>
                  <a:pt x="342" y="756"/>
                </a:lnTo>
                <a:lnTo>
                  <a:pt x="356" y="761"/>
                </a:lnTo>
                <a:lnTo>
                  <a:pt x="370" y="767"/>
                </a:lnTo>
                <a:lnTo>
                  <a:pt x="386" y="772"/>
                </a:lnTo>
                <a:lnTo>
                  <a:pt x="402" y="776"/>
                </a:lnTo>
                <a:lnTo>
                  <a:pt x="419" y="779"/>
                </a:lnTo>
                <a:lnTo>
                  <a:pt x="437" y="783"/>
                </a:lnTo>
                <a:lnTo>
                  <a:pt x="456" y="786"/>
                </a:lnTo>
                <a:lnTo>
                  <a:pt x="494" y="791"/>
                </a:lnTo>
                <a:lnTo>
                  <a:pt x="531" y="793"/>
                </a:lnTo>
                <a:lnTo>
                  <a:pt x="568" y="795"/>
                </a:lnTo>
                <a:lnTo>
                  <a:pt x="601" y="797"/>
                </a:lnTo>
                <a:lnTo>
                  <a:pt x="635" y="795"/>
                </a:lnTo>
                <a:lnTo>
                  <a:pt x="671" y="793"/>
                </a:lnTo>
                <a:lnTo>
                  <a:pt x="709" y="790"/>
                </a:lnTo>
                <a:lnTo>
                  <a:pt x="747" y="786"/>
                </a:lnTo>
                <a:lnTo>
                  <a:pt x="765" y="783"/>
                </a:lnTo>
                <a:lnTo>
                  <a:pt x="783" y="779"/>
                </a:lnTo>
                <a:lnTo>
                  <a:pt x="800" y="776"/>
                </a:lnTo>
                <a:lnTo>
                  <a:pt x="817" y="772"/>
                </a:lnTo>
                <a:lnTo>
                  <a:pt x="832" y="767"/>
                </a:lnTo>
                <a:lnTo>
                  <a:pt x="847" y="761"/>
                </a:lnTo>
                <a:lnTo>
                  <a:pt x="860" y="756"/>
                </a:lnTo>
                <a:lnTo>
                  <a:pt x="872" y="749"/>
                </a:lnTo>
                <a:lnTo>
                  <a:pt x="872" y="812"/>
                </a:lnTo>
                <a:lnTo>
                  <a:pt x="871" y="816"/>
                </a:lnTo>
                <a:lnTo>
                  <a:pt x="867" y="821"/>
                </a:lnTo>
                <a:lnTo>
                  <a:pt x="861" y="825"/>
                </a:lnTo>
                <a:lnTo>
                  <a:pt x="853" y="831"/>
                </a:lnTo>
                <a:lnTo>
                  <a:pt x="842" y="836"/>
                </a:lnTo>
                <a:lnTo>
                  <a:pt x="830" y="840"/>
                </a:lnTo>
                <a:lnTo>
                  <a:pt x="815" y="846"/>
                </a:lnTo>
                <a:lnTo>
                  <a:pt x="798" y="850"/>
                </a:lnTo>
                <a:lnTo>
                  <a:pt x="780" y="854"/>
                </a:lnTo>
                <a:lnTo>
                  <a:pt x="760" y="859"/>
                </a:lnTo>
                <a:lnTo>
                  <a:pt x="737" y="862"/>
                </a:lnTo>
                <a:lnTo>
                  <a:pt x="713" y="865"/>
                </a:lnTo>
                <a:lnTo>
                  <a:pt x="688" y="867"/>
                </a:lnTo>
                <a:lnTo>
                  <a:pt x="660" y="869"/>
                </a:lnTo>
                <a:lnTo>
                  <a:pt x="632" y="870"/>
                </a:lnTo>
                <a:lnTo>
                  <a:pt x="601" y="872"/>
                </a:lnTo>
                <a:close/>
                <a:moveTo>
                  <a:pt x="30" y="616"/>
                </a:moveTo>
                <a:lnTo>
                  <a:pt x="30" y="553"/>
                </a:lnTo>
                <a:lnTo>
                  <a:pt x="42" y="560"/>
                </a:lnTo>
                <a:lnTo>
                  <a:pt x="55" y="566"/>
                </a:lnTo>
                <a:lnTo>
                  <a:pt x="70" y="572"/>
                </a:lnTo>
                <a:lnTo>
                  <a:pt x="85" y="576"/>
                </a:lnTo>
                <a:lnTo>
                  <a:pt x="102" y="580"/>
                </a:lnTo>
                <a:lnTo>
                  <a:pt x="119" y="584"/>
                </a:lnTo>
                <a:lnTo>
                  <a:pt x="137" y="588"/>
                </a:lnTo>
                <a:lnTo>
                  <a:pt x="155" y="591"/>
                </a:lnTo>
                <a:lnTo>
                  <a:pt x="193" y="595"/>
                </a:lnTo>
                <a:lnTo>
                  <a:pt x="230" y="598"/>
                </a:lnTo>
                <a:lnTo>
                  <a:pt x="267" y="601"/>
                </a:lnTo>
                <a:lnTo>
                  <a:pt x="301" y="601"/>
                </a:lnTo>
                <a:lnTo>
                  <a:pt x="301" y="676"/>
                </a:lnTo>
                <a:lnTo>
                  <a:pt x="270" y="676"/>
                </a:lnTo>
                <a:lnTo>
                  <a:pt x="241" y="674"/>
                </a:lnTo>
                <a:lnTo>
                  <a:pt x="214" y="672"/>
                </a:lnTo>
                <a:lnTo>
                  <a:pt x="189" y="670"/>
                </a:lnTo>
                <a:lnTo>
                  <a:pt x="165" y="667"/>
                </a:lnTo>
                <a:lnTo>
                  <a:pt x="142" y="664"/>
                </a:lnTo>
                <a:lnTo>
                  <a:pt x="122" y="659"/>
                </a:lnTo>
                <a:lnTo>
                  <a:pt x="103" y="655"/>
                </a:lnTo>
                <a:lnTo>
                  <a:pt x="87" y="650"/>
                </a:lnTo>
                <a:lnTo>
                  <a:pt x="72" y="646"/>
                </a:lnTo>
                <a:lnTo>
                  <a:pt x="59" y="640"/>
                </a:lnTo>
                <a:lnTo>
                  <a:pt x="49" y="636"/>
                </a:lnTo>
                <a:lnTo>
                  <a:pt x="41" y="631"/>
                </a:lnTo>
                <a:lnTo>
                  <a:pt x="34" y="625"/>
                </a:lnTo>
                <a:lnTo>
                  <a:pt x="31" y="621"/>
                </a:lnTo>
                <a:lnTo>
                  <a:pt x="30" y="616"/>
                </a:lnTo>
                <a:lnTo>
                  <a:pt x="30" y="616"/>
                </a:lnTo>
                <a:close/>
                <a:moveTo>
                  <a:pt x="301" y="30"/>
                </a:moveTo>
                <a:lnTo>
                  <a:pt x="332" y="30"/>
                </a:lnTo>
                <a:lnTo>
                  <a:pt x="362" y="31"/>
                </a:lnTo>
                <a:lnTo>
                  <a:pt x="391" y="33"/>
                </a:lnTo>
                <a:lnTo>
                  <a:pt x="417" y="36"/>
                </a:lnTo>
                <a:lnTo>
                  <a:pt x="441" y="39"/>
                </a:lnTo>
                <a:lnTo>
                  <a:pt x="463" y="42"/>
                </a:lnTo>
                <a:lnTo>
                  <a:pt x="483" y="47"/>
                </a:lnTo>
                <a:lnTo>
                  <a:pt x="501" y="52"/>
                </a:lnTo>
                <a:lnTo>
                  <a:pt x="517" y="56"/>
                </a:lnTo>
                <a:lnTo>
                  <a:pt x="531" y="62"/>
                </a:lnTo>
                <a:lnTo>
                  <a:pt x="544" y="66"/>
                </a:lnTo>
                <a:lnTo>
                  <a:pt x="554" y="71"/>
                </a:lnTo>
                <a:lnTo>
                  <a:pt x="561" y="77"/>
                </a:lnTo>
                <a:lnTo>
                  <a:pt x="567" y="81"/>
                </a:lnTo>
                <a:lnTo>
                  <a:pt x="570" y="85"/>
                </a:lnTo>
                <a:lnTo>
                  <a:pt x="571" y="90"/>
                </a:lnTo>
                <a:lnTo>
                  <a:pt x="570" y="94"/>
                </a:lnTo>
                <a:lnTo>
                  <a:pt x="567" y="98"/>
                </a:lnTo>
                <a:lnTo>
                  <a:pt x="561" y="102"/>
                </a:lnTo>
                <a:lnTo>
                  <a:pt x="554" y="108"/>
                </a:lnTo>
                <a:lnTo>
                  <a:pt x="544" y="112"/>
                </a:lnTo>
                <a:lnTo>
                  <a:pt x="531" y="117"/>
                </a:lnTo>
                <a:lnTo>
                  <a:pt x="517" y="123"/>
                </a:lnTo>
                <a:lnTo>
                  <a:pt x="501" y="127"/>
                </a:lnTo>
                <a:lnTo>
                  <a:pt x="483" y="131"/>
                </a:lnTo>
                <a:lnTo>
                  <a:pt x="463" y="136"/>
                </a:lnTo>
                <a:lnTo>
                  <a:pt x="441" y="140"/>
                </a:lnTo>
                <a:lnTo>
                  <a:pt x="417" y="143"/>
                </a:lnTo>
                <a:lnTo>
                  <a:pt x="391" y="145"/>
                </a:lnTo>
                <a:lnTo>
                  <a:pt x="362" y="147"/>
                </a:lnTo>
                <a:lnTo>
                  <a:pt x="332" y="150"/>
                </a:lnTo>
                <a:lnTo>
                  <a:pt x="301" y="150"/>
                </a:lnTo>
                <a:lnTo>
                  <a:pt x="269" y="150"/>
                </a:lnTo>
                <a:lnTo>
                  <a:pt x="239" y="147"/>
                </a:lnTo>
                <a:lnTo>
                  <a:pt x="211" y="145"/>
                </a:lnTo>
                <a:lnTo>
                  <a:pt x="184" y="143"/>
                </a:lnTo>
                <a:lnTo>
                  <a:pt x="161" y="140"/>
                </a:lnTo>
                <a:lnTo>
                  <a:pt x="138" y="136"/>
                </a:lnTo>
                <a:lnTo>
                  <a:pt x="118" y="131"/>
                </a:lnTo>
                <a:lnTo>
                  <a:pt x="100" y="127"/>
                </a:lnTo>
                <a:lnTo>
                  <a:pt x="84" y="123"/>
                </a:lnTo>
                <a:lnTo>
                  <a:pt x="70" y="117"/>
                </a:lnTo>
                <a:lnTo>
                  <a:pt x="58" y="112"/>
                </a:lnTo>
                <a:lnTo>
                  <a:pt x="47" y="108"/>
                </a:lnTo>
                <a:lnTo>
                  <a:pt x="40" y="102"/>
                </a:lnTo>
                <a:lnTo>
                  <a:pt x="34" y="98"/>
                </a:lnTo>
                <a:lnTo>
                  <a:pt x="31" y="94"/>
                </a:lnTo>
                <a:lnTo>
                  <a:pt x="30" y="90"/>
                </a:lnTo>
                <a:lnTo>
                  <a:pt x="31" y="85"/>
                </a:lnTo>
                <a:lnTo>
                  <a:pt x="34" y="81"/>
                </a:lnTo>
                <a:lnTo>
                  <a:pt x="40" y="77"/>
                </a:lnTo>
                <a:lnTo>
                  <a:pt x="47" y="71"/>
                </a:lnTo>
                <a:lnTo>
                  <a:pt x="58" y="66"/>
                </a:lnTo>
                <a:lnTo>
                  <a:pt x="70" y="62"/>
                </a:lnTo>
                <a:lnTo>
                  <a:pt x="84" y="56"/>
                </a:lnTo>
                <a:lnTo>
                  <a:pt x="100" y="52"/>
                </a:lnTo>
                <a:lnTo>
                  <a:pt x="118" y="47"/>
                </a:lnTo>
                <a:lnTo>
                  <a:pt x="138" y="42"/>
                </a:lnTo>
                <a:lnTo>
                  <a:pt x="161" y="39"/>
                </a:lnTo>
                <a:lnTo>
                  <a:pt x="184" y="36"/>
                </a:lnTo>
                <a:lnTo>
                  <a:pt x="211" y="33"/>
                </a:lnTo>
                <a:lnTo>
                  <a:pt x="239" y="31"/>
                </a:lnTo>
                <a:lnTo>
                  <a:pt x="269" y="30"/>
                </a:lnTo>
                <a:lnTo>
                  <a:pt x="301" y="30"/>
                </a:lnTo>
                <a:close/>
                <a:moveTo>
                  <a:pt x="301" y="390"/>
                </a:moveTo>
                <a:lnTo>
                  <a:pt x="334" y="390"/>
                </a:lnTo>
                <a:lnTo>
                  <a:pt x="371" y="387"/>
                </a:lnTo>
                <a:lnTo>
                  <a:pt x="408" y="385"/>
                </a:lnTo>
                <a:lnTo>
                  <a:pt x="446" y="380"/>
                </a:lnTo>
                <a:lnTo>
                  <a:pt x="464" y="378"/>
                </a:lnTo>
                <a:lnTo>
                  <a:pt x="482" y="373"/>
                </a:lnTo>
                <a:lnTo>
                  <a:pt x="500" y="370"/>
                </a:lnTo>
                <a:lnTo>
                  <a:pt x="516" y="366"/>
                </a:lnTo>
                <a:lnTo>
                  <a:pt x="532" y="361"/>
                </a:lnTo>
                <a:lnTo>
                  <a:pt x="546" y="355"/>
                </a:lnTo>
                <a:lnTo>
                  <a:pt x="559" y="350"/>
                </a:lnTo>
                <a:lnTo>
                  <a:pt x="571" y="343"/>
                </a:lnTo>
                <a:lnTo>
                  <a:pt x="571" y="406"/>
                </a:lnTo>
                <a:lnTo>
                  <a:pt x="570" y="410"/>
                </a:lnTo>
                <a:lnTo>
                  <a:pt x="567" y="415"/>
                </a:lnTo>
                <a:lnTo>
                  <a:pt x="560" y="419"/>
                </a:lnTo>
                <a:lnTo>
                  <a:pt x="552" y="425"/>
                </a:lnTo>
                <a:lnTo>
                  <a:pt x="542" y="430"/>
                </a:lnTo>
                <a:lnTo>
                  <a:pt x="529" y="434"/>
                </a:lnTo>
                <a:lnTo>
                  <a:pt x="514" y="440"/>
                </a:lnTo>
                <a:lnTo>
                  <a:pt x="498" y="444"/>
                </a:lnTo>
                <a:lnTo>
                  <a:pt x="479" y="448"/>
                </a:lnTo>
                <a:lnTo>
                  <a:pt x="459" y="453"/>
                </a:lnTo>
                <a:lnTo>
                  <a:pt x="437" y="456"/>
                </a:lnTo>
                <a:lnTo>
                  <a:pt x="412" y="459"/>
                </a:lnTo>
                <a:lnTo>
                  <a:pt x="387" y="462"/>
                </a:lnTo>
                <a:lnTo>
                  <a:pt x="360" y="463"/>
                </a:lnTo>
                <a:lnTo>
                  <a:pt x="331" y="464"/>
                </a:lnTo>
                <a:lnTo>
                  <a:pt x="301" y="466"/>
                </a:lnTo>
                <a:lnTo>
                  <a:pt x="270" y="464"/>
                </a:lnTo>
                <a:lnTo>
                  <a:pt x="241" y="463"/>
                </a:lnTo>
                <a:lnTo>
                  <a:pt x="214" y="462"/>
                </a:lnTo>
                <a:lnTo>
                  <a:pt x="189" y="459"/>
                </a:lnTo>
                <a:lnTo>
                  <a:pt x="165" y="456"/>
                </a:lnTo>
                <a:lnTo>
                  <a:pt x="142" y="453"/>
                </a:lnTo>
                <a:lnTo>
                  <a:pt x="122" y="448"/>
                </a:lnTo>
                <a:lnTo>
                  <a:pt x="103" y="444"/>
                </a:lnTo>
                <a:lnTo>
                  <a:pt x="87" y="440"/>
                </a:lnTo>
                <a:lnTo>
                  <a:pt x="72" y="434"/>
                </a:lnTo>
                <a:lnTo>
                  <a:pt x="59" y="430"/>
                </a:lnTo>
                <a:lnTo>
                  <a:pt x="49" y="425"/>
                </a:lnTo>
                <a:lnTo>
                  <a:pt x="41" y="419"/>
                </a:lnTo>
                <a:lnTo>
                  <a:pt x="34" y="415"/>
                </a:lnTo>
                <a:lnTo>
                  <a:pt x="31" y="410"/>
                </a:lnTo>
                <a:lnTo>
                  <a:pt x="30" y="406"/>
                </a:lnTo>
                <a:lnTo>
                  <a:pt x="30" y="343"/>
                </a:lnTo>
                <a:lnTo>
                  <a:pt x="42" y="350"/>
                </a:lnTo>
                <a:lnTo>
                  <a:pt x="55" y="355"/>
                </a:lnTo>
                <a:lnTo>
                  <a:pt x="70" y="361"/>
                </a:lnTo>
                <a:lnTo>
                  <a:pt x="85" y="366"/>
                </a:lnTo>
                <a:lnTo>
                  <a:pt x="102" y="370"/>
                </a:lnTo>
                <a:lnTo>
                  <a:pt x="119" y="373"/>
                </a:lnTo>
                <a:lnTo>
                  <a:pt x="137" y="378"/>
                </a:lnTo>
                <a:lnTo>
                  <a:pt x="155" y="380"/>
                </a:lnTo>
                <a:lnTo>
                  <a:pt x="193" y="385"/>
                </a:lnTo>
                <a:lnTo>
                  <a:pt x="230" y="387"/>
                </a:lnTo>
                <a:lnTo>
                  <a:pt x="267" y="390"/>
                </a:lnTo>
                <a:lnTo>
                  <a:pt x="301" y="391"/>
                </a:lnTo>
                <a:lnTo>
                  <a:pt x="301" y="390"/>
                </a:lnTo>
                <a:close/>
                <a:moveTo>
                  <a:pt x="301" y="285"/>
                </a:moveTo>
                <a:lnTo>
                  <a:pt x="334" y="285"/>
                </a:lnTo>
                <a:lnTo>
                  <a:pt x="371" y="282"/>
                </a:lnTo>
                <a:lnTo>
                  <a:pt x="408" y="279"/>
                </a:lnTo>
                <a:lnTo>
                  <a:pt x="446" y="275"/>
                </a:lnTo>
                <a:lnTo>
                  <a:pt x="464" y="272"/>
                </a:lnTo>
                <a:lnTo>
                  <a:pt x="482" y="268"/>
                </a:lnTo>
                <a:lnTo>
                  <a:pt x="500" y="265"/>
                </a:lnTo>
                <a:lnTo>
                  <a:pt x="516" y="261"/>
                </a:lnTo>
                <a:lnTo>
                  <a:pt x="532" y="256"/>
                </a:lnTo>
                <a:lnTo>
                  <a:pt x="546" y="250"/>
                </a:lnTo>
                <a:lnTo>
                  <a:pt x="559" y="245"/>
                </a:lnTo>
                <a:lnTo>
                  <a:pt x="571" y="238"/>
                </a:lnTo>
                <a:lnTo>
                  <a:pt x="571" y="300"/>
                </a:lnTo>
                <a:lnTo>
                  <a:pt x="570" y="305"/>
                </a:lnTo>
                <a:lnTo>
                  <a:pt x="567" y="309"/>
                </a:lnTo>
                <a:lnTo>
                  <a:pt x="560" y="315"/>
                </a:lnTo>
                <a:lnTo>
                  <a:pt x="552" y="320"/>
                </a:lnTo>
                <a:lnTo>
                  <a:pt x="542" y="325"/>
                </a:lnTo>
                <a:lnTo>
                  <a:pt x="529" y="330"/>
                </a:lnTo>
                <a:lnTo>
                  <a:pt x="514" y="335"/>
                </a:lnTo>
                <a:lnTo>
                  <a:pt x="498" y="339"/>
                </a:lnTo>
                <a:lnTo>
                  <a:pt x="479" y="343"/>
                </a:lnTo>
                <a:lnTo>
                  <a:pt x="459" y="348"/>
                </a:lnTo>
                <a:lnTo>
                  <a:pt x="437" y="351"/>
                </a:lnTo>
                <a:lnTo>
                  <a:pt x="412" y="354"/>
                </a:lnTo>
                <a:lnTo>
                  <a:pt x="387" y="356"/>
                </a:lnTo>
                <a:lnTo>
                  <a:pt x="360" y="358"/>
                </a:lnTo>
                <a:lnTo>
                  <a:pt x="331" y="360"/>
                </a:lnTo>
                <a:lnTo>
                  <a:pt x="301" y="361"/>
                </a:lnTo>
                <a:lnTo>
                  <a:pt x="270" y="360"/>
                </a:lnTo>
                <a:lnTo>
                  <a:pt x="241" y="358"/>
                </a:lnTo>
                <a:lnTo>
                  <a:pt x="214" y="356"/>
                </a:lnTo>
                <a:lnTo>
                  <a:pt x="189" y="354"/>
                </a:lnTo>
                <a:lnTo>
                  <a:pt x="165" y="351"/>
                </a:lnTo>
                <a:lnTo>
                  <a:pt x="142" y="348"/>
                </a:lnTo>
                <a:lnTo>
                  <a:pt x="122" y="343"/>
                </a:lnTo>
                <a:lnTo>
                  <a:pt x="103" y="339"/>
                </a:lnTo>
                <a:lnTo>
                  <a:pt x="87" y="335"/>
                </a:lnTo>
                <a:lnTo>
                  <a:pt x="72" y="330"/>
                </a:lnTo>
                <a:lnTo>
                  <a:pt x="59" y="325"/>
                </a:lnTo>
                <a:lnTo>
                  <a:pt x="49" y="320"/>
                </a:lnTo>
                <a:lnTo>
                  <a:pt x="41" y="315"/>
                </a:lnTo>
                <a:lnTo>
                  <a:pt x="34" y="309"/>
                </a:lnTo>
                <a:lnTo>
                  <a:pt x="31" y="305"/>
                </a:lnTo>
                <a:lnTo>
                  <a:pt x="30" y="300"/>
                </a:lnTo>
                <a:lnTo>
                  <a:pt x="30" y="237"/>
                </a:lnTo>
                <a:lnTo>
                  <a:pt x="42" y="245"/>
                </a:lnTo>
                <a:lnTo>
                  <a:pt x="55" y="250"/>
                </a:lnTo>
                <a:lnTo>
                  <a:pt x="70" y="256"/>
                </a:lnTo>
                <a:lnTo>
                  <a:pt x="85" y="261"/>
                </a:lnTo>
                <a:lnTo>
                  <a:pt x="102" y="265"/>
                </a:lnTo>
                <a:lnTo>
                  <a:pt x="119" y="268"/>
                </a:lnTo>
                <a:lnTo>
                  <a:pt x="137" y="272"/>
                </a:lnTo>
                <a:lnTo>
                  <a:pt x="155" y="275"/>
                </a:lnTo>
                <a:lnTo>
                  <a:pt x="193" y="279"/>
                </a:lnTo>
                <a:lnTo>
                  <a:pt x="230" y="282"/>
                </a:lnTo>
                <a:lnTo>
                  <a:pt x="267" y="285"/>
                </a:lnTo>
                <a:lnTo>
                  <a:pt x="301" y="285"/>
                </a:lnTo>
                <a:close/>
                <a:moveTo>
                  <a:pt x="571" y="195"/>
                </a:moveTo>
                <a:lnTo>
                  <a:pt x="570" y="199"/>
                </a:lnTo>
                <a:lnTo>
                  <a:pt x="567" y="204"/>
                </a:lnTo>
                <a:lnTo>
                  <a:pt x="560" y="210"/>
                </a:lnTo>
                <a:lnTo>
                  <a:pt x="552" y="215"/>
                </a:lnTo>
                <a:lnTo>
                  <a:pt x="542" y="219"/>
                </a:lnTo>
                <a:lnTo>
                  <a:pt x="529" y="225"/>
                </a:lnTo>
                <a:lnTo>
                  <a:pt x="514" y="229"/>
                </a:lnTo>
                <a:lnTo>
                  <a:pt x="498" y="234"/>
                </a:lnTo>
                <a:lnTo>
                  <a:pt x="479" y="238"/>
                </a:lnTo>
                <a:lnTo>
                  <a:pt x="459" y="243"/>
                </a:lnTo>
                <a:lnTo>
                  <a:pt x="437" y="246"/>
                </a:lnTo>
                <a:lnTo>
                  <a:pt x="412" y="249"/>
                </a:lnTo>
                <a:lnTo>
                  <a:pt x="387" y="251"/>
                </a:lnTo>
                <a:lnTo>
                  <a:pt x="360" y="253"/>
                </a:lnTo>
                <a:lnTo>
                  <a:pt x="331" y="255"/>
                </a:lnTo>
                <a:lnTo>
                  <a:pt x="301" y="255"/>
                </a:lnTo>
                <a:lnTo>
                  <a:pt x="270" y="255"/>
                </a:lnTo>
                <a:lnTo>
                  <a:pt x="241" y="253"/>
                </a:lnTo>
                <a:lnTo>
                  <a:pt x="214" y="251"/>
                </a:lnTo>
                <a:lnTo>
                  <a:pt x="189" y="249"/>
                </a:lnTo>
                <a:lnTo>
                  <a:pt x="165" y="246"/>
                </a:lnTo>
                <a:lnTo>
                  <a:pt x="142" y="242"/>
                </a:lnTo>
                <a:lnTo>
                  <a:pt x="122" y="238"/>
                </a:lnTo>
                <a:lnTo>
                  <a:pt x="103" y="234"/>
                </a:lnTo>
                <a:lnTo>
                  <a:pt x="87" y="229"/>
                </a:lnTo>
                <a:lnTo>
                  <a:pt x="72" y="225"/>
                </a:lnTo>
                <a:lnTo>
                  <a:pt x="59" y="219"/>
                </a:lnTo>
                <a:lnTo>
                  <a:pt x="49" y="215"/>
                </a:lnTo>
                <a:lnTo>
                  <a:pt x="41" y="210"/>
                </a:lnTo>
                <a:lnTo>
                  <a:pt x="34" y="204"/>
                </a:lnTo>
                <a:lnTo>
                  <a:pt x="31" y="200"/>
                </a:lnTo>
                <a:lnTo>
                  <a:pt x="30" y="195"/>
                </a:lnTo>
                <a:lnTo>
                  <a:pt x="30" y="131"/>
                </a:lnTo>
                <a:lnTo>
                  <a:pt x="41" y="138"/>
                </a:lnTo>
                <a:lnTo>
                  <a:pt x="53" y="143"/>
                </a:lnTo>
                <a:lnTo>
                  <a:pt x="65" y="148"/>
                </a:lnTo>
                <a:lnTo>
                  <a:pt x="79" y="153"/>
                </a:lnTo>
                <a:lnTo>
                  <a:pt x="94" y="157"/>
                </a:lnTo>
                <a:lnTo>
                  <a:pt x="110" y="161"/>
                </a:lnTo>
                <a:lnTo>
                  <a:pt x="127" y="165"/>
                </a:lnTo>
                <a:lnTo>
                  <a:pt x="145" y="168"/>
                </a:lnTo>
                <a:lnTo>
                  <a:pt x="182" y="173"/>
                </a:lnTo>
                <a:lnTo>
                  <a:pt x="221" y="176"/>
                </a:lnTo>
                <a:lnTo>
                  <a:pt x="260" y="178"/>
                </a:lnTo>
                <a:lnTo>
                  <a:pt x="301" y="180"/>
                </a:lnTo>
                <a:lnTo>
                  <a:pt x="341" y="178"/>
                </a:lnTo>
                <a:lnTo>
                  <a:pt x="380" y="176"/>
                </a:lnTo>
                <a:lnTo>
                  <a:pt x="419" y="173"/>
                </a:lnTo>
                <a:lnTo>
                  <a:pt x="456" y="168"/>
                </a:lnTo>
                <a:lnTo>
                  <a:pt x="474" y="165"/>
                </a:lnTo>
                <a:lnTo>
                  <a:pt x="491" y="161"/>
                </a:lnTo>
                <a:lnTo>
                  <a:pt x="507" y="157"/>
                </a:lnTo>
                <a:lnTo>
                  <a:pt x="522" y="153"/>
                </a:lnTo>
                <a:lnTo>
                  <a:pt x="536" y="148"/>
                </a:lnTo>
                <a:lnTo>
                  <a:pt x="548" y="143"/>
                </a:lnTo>
                <a:lnTo>
                  <a:pt x="560" y="138"/>
                </a:lnTo>
                <a:lnTo>
                  <a:pt x="571" y="131"/>
                </a:lnTo>
                <a:lnTo>
                  <a:pt x="571" y="195"/>
                </a:lnTo>
                <a:close/>
                <a:moveTo>
                  <a:pt x="315" y="571"/>
                </a:moveTo>
                <a:lnTo>
                  <a:pt x="307" y="571"/>
                </a:lnTo>
                <a:lnTo>
                  <a:pt x="301" y="571"/>
                </a:lnTo>
                <a:lnTo>
                  <a:pt x="270" y="571"/>
                </a:lnTo>
                <a:lnTo>
                  <a:pt x="241" y="569"/>
                </a:lnTo>
                <a:lnTo>
                  <a:pt x="214" y="567"/>
                </a:lnTo>
                <a:lnTo>
                  <a:pt x="189" y="564"/>
                </a:lnTo>
                <a:lnTo>
                  <a:pt x="165" y="562"/>
                </a:lnTo>
                <a:lnTo>
                  <a:pt x="142" y="558"/>
                </a:lnTo>
                <a:lnTo>
                  <a:pt x="122" y="554"/>
                </a:lnTo>
                <a:lnTo>
                  <a:pt x="103" y="550"/>
                </a:lnTo>
                <a:lnTo>
                  <a:pt x="87" y="545"/>
                </a:lnTo>
                <a:lnTo>
                  <a:pt x="72" y="541"/>
                </a:lnTo>
                <a:lnTo>
                  <a:pt x="59" y="535"/>
                </a:lnTo>
                <a:lnTo>
                  <a:pt x="49" y="530"/>
                </a:lnTo>
                <a:lnTo>
                  <a:pt x="41" y="526"/>
                </a:lnTo>
                <a:lnTo>
                  <a:pt x="34" y="520"/>
                </a:lnTo>
                <a:lnTo>
                  <a:pt x="31" y="515"/>
                </a:lnTo>
                <a:lnTo>
                  <a:pt x="30" y="511"/>
                </a:lnTo>
                <a:lnTo>
                  <a:pt x="30" y="448"/>
                </a:lnTo>
                <a:lnTo>
                  <a:pt x="42" y="455"/>
                </a:lnTo>
                <a:lnTo>
                  <a:pt x="55" y="461"/>
                </a:lnTo>
                <a:lnTo>
                  <a:pt x="70" y="467"/>
                </a:lnTo>
                <a:lnTo>
                  <a:pt x="85" y="471"/>
                </a:lnTo>
                <a:lnTo>
                  <a:pt x="102" y="475"/>
                </a:lnTo>
                <a:lnTo>
                  <a:pt x="119" y="479"/>
                </a:lnTo>
                <a:lnTo>
                  <a:pt x="137" y="483"/>
                </a:lnTo>
                <a:lnTo>
                  <a:pt x="155" y="486"/>
                </a:lnTo>
                <a:lnTo>
                  <a:pt x="193" y="490"/>
                </a:lnTo>
                <a:lnTo>
                  <a:pt x="230" y="493"/>
                </a:lnTo>
                <a:lnTo>
                  <a:pt x="267" y="494"/>
                </a:lnTo>
                <a:lnTo>
                  <a:pt x="301" y="496"/>
                </a:lnTo>
                <a:lnTo>
                  <a:pt x="334" y="494"/>
                </a:lnTo>
                <a:lnTo>
                  <a:pt x="371" y="493"/>
                </a:lnTo>
                <a:lnTo>
                  <a:pt x="408" y="490"/>
                </a:lnTo>
                <a:lnTo>
                  <a:pt x="446" y="486"/>
                </a:lnTo>
                <a:lnTo>
                  <a:pt x="464" y="483"/>
                </a:lnTo>
                <a:lnTo>
                  <a:pt x="482" y="479"/>
                </a:lnTo>
                <a:lnTo>
                  <a:pt x="500" y="475"/>
                </a:lnTo>
                <a:lnTo>
                  <a:pt x="516" y="471"/>
                </a:lnTo>
                <a:lnTo>
                  <a:pt x="532" y="467"/>
                </a:lnTo>
                <a:lnTo>
                  <a:pt x="546" y="461"/>
                </a:lnTo>
                <a:lnTo>
                  <a:pt x="559" y="455"/>
                </a:lnTo>
                <a:lnTo>
                  <a:pt x="571" y="448"/>
                </a:lnTo>
                <a:lnTo>
                  <a:pt x="571" y="511"/>
                </a:lnTo>
                <a:lnTo>
                  <a:pt x="571" y="511"/>
                </a:lnTo>
                <a:lnTo>
                  <a:pt x="571" y="511"/>
                </a:lnTo>
                <a:lnTo>
                  <a:pt x="530" y="513"/>
                </a:lnTo>
                <a:lnTo>
                  <a:pt x="491" y="516"/>
                </a:lnTo>
                <a:lnTo>
                  <a:pt x="452" y="521"/>
                </a:lnTo>
                <a:lnTo>
                  <a:pt x="417" y="528"/>
                </a:lnTo>
                <a:lnTo>
                  <a:pt x="400" y="532"/>
                </a:lnTo>
                <a:lnTo>
                  <a:pt x="384" y="536"/>
                </a:lnTo>
                <a:lnTo>
                  <a:pt x="370" y="541"/>
                </a:lnTo>
                <a:lnTo>
                  <a:pt x="356" y="546"/>
                </a:lnTo>
                <a:lnTo>
                  <a:pt x="343" y="551"/>
                </a:lnTo>
                <a:lnTo>
                  <a:pt x="332" y="558"/>
                </a:lnTo>
                <a:lnTo>
                  <a:pt x="322" y="563"/>
                </a:lnTo>
                <a:lnTo>
                  <a:pt x="315" y="571"/>
                </a:lnTo>
                <a:lnTo>
                  <a:pt x="315" y="571"/>
                </a:lnTo>
                <a:close/>
                <a:moveTo>
                  <a:pt x="872" y="601"/>
                </a:moveTo>
                <a:lnTo>
                  <a:pt x="871" y="605"/>
                </a:lnTo>
                <a:lnTo>
                  <a:pt x="868" y="609"/>
                </a:lnTo>
                <a:lnTo>
                  <a:pt x="862" y="613"/>
                </a:lnTo>
                <a:lnTo>
                  <a:pt x="854" y="619"/>
                </a:lnTo>
                <a:lnTo>
                  <a:pt x="844" y="624"/>
                </a:lnTo>
                <a:lnTo>
                  <a:pt x="832" y="628"/>
                </a:lnTo>
                <a:lnTo>
                  <a:pt x="818" y="634"/>
                </a:lnTo>
                <a:lnTo>
                  <a:pt x="802" y="638"/>
                </a:lnTo>
                <a:lnTo>
                  <a:pt x="784" y="643"/>
                </a:lnTo>
                <a:lnTo>
                  <a:pt x="764" y="647"/>
                </a:lnTo>
                <a:lnTo>
                  <a:pt x="741" y="651"/>
                </a:lnTo>
                <a:lnTo>
                  <a:pt x="718" y="654"/>
                </a:lnTo>
                <a:lnTo>
                  <a:pt x="691" y="657"/>
                </a:lnTo>
                <a:lnTo>
                  <a:pt x="663" y="659"/>
                </a:lnTo>
                <a:lnTo>
                  <a:pt x="633" y="661"/>
                </a:lnTo>
                <a:lnTo>
                  <a:pt x="601" y="661"/>
                </a:lnTo>
                <a:lnTo>
                  <a:pt x="569" y="661"/>
                </a:lnTo>
                <a:lnTo>
                  <a:pt x="539" y="659"/>
                </a:lnTo>
                <a:lnTo>
                  <a:pt x="511" y="657"/>
                </a:lnTo>
                <a:lnTo>
                  <a:pt x="485" y="654"/>
                </a:lnTo>
                <a:lnTo>
                  <a:pt x="461" y="651"/>
                </a:lnTo>
                <a:lnTo>
                  <a:pt x="438" y="647"/>
                </a:lnTo>
                <a:lnTo>
                  <a:pt x="419" y="642"/>
                </a:lnTo>
                <a:lnTo>
                  <a:pt x="401" y="638"/>
                </a:lnTo>
                <a:lnTo>
                  <a:pt x="385" y="634"/>
                </a:lnTo>
                <a:lnTo>
                  <a:pt x="370" y="628"/>
                </a:lnTo>
                <a:lnTo>
                  <a:pt x="358" y="624"/>
                </a:lnTo>
                <a:lnTo>
                  <a:pt x="348" y="619"/>
                </a:lnTo>
                <a:lnTo>
                  <a:pt x="341" y="613"/>
                </a:lnTo>
                <a:lnTo>
                  <a:pt x="335" y="609"/>
                </a:lnTo>
                <a:lnTo>
                  <a:pt x="332" y="605"/>
                </a:lnTo>
                <a:lnTo>
                  <a:pt x="331" y="601"/>
                </a:lnTo>
                <a:lnTo>
                  <a:pt x="332" y="596"/>
                </a:lnTo>
                <a:lnTo>
                  <a:pt x="335" y="592"/>
                </a:lnTo>
                <a:lnTo>
                  <a:pt x="341" y="588"/>
                </a:lnTo>
                <a:lnTo>
                  <a:pt x="348" y="582"/>
                </a:lnTo>
                <a:lnTo>
                  <a:pt x="358" y="578"/>
                </a:lnTo>
                <a:lnTo>
                  <a:pt x="370" y="573"/>
                </a:lnTo>
                <a:lnTo>
                  <a:pt x="385" y="567"/>
                </a:lnTo>
                <a:lnTo>
                  <a:pt x="401" y="563"/>
                </a:lnTo>
                <a:lnTo>
                  <a:pt x="419" y="559"/>
                </a:lnTo>
                <a:lnTo>
                  <a:pt x="438" y="554"/>
                </a:lnTo>
                <a:lnTo>
                  <a:pt x="461" y="550"/>
                </a:lnTo>
                <a:lnTo>
                  <a:pt x="485" y="547"/>
                </a:lnTo>
                <a:lnTo>
                  <a:pt x="511" y="544"/>
                </a:lnTo>
                <a:lnTo>
                  <a:pt x="539" y="543"/>
                </a:lnTo>
                <a:lnTo>
                  <a:pt x="569" y="541"/>
                </a:lnTo>
                <a:lnTo>
                  <a:pt x="601" y="541"/>
                </a:lnTo>
                <a:lnTo>
                  <a:pt x="633" y="541"/>
                </a:lnTo>
                <a:lnTo>
                  <a:pt x="663" y="543"/>
                </a:lnTo>
                <a:lnTo>
                  <a:pt x="691" y="544"/>
                </a:lnTo>
                <a:lnTo>
                  <a:pt x="718" y="547"/>
                </a:lnTo>
                <a:lnTo>
                  <a:pt x="741" y="550"/>
                </a:lnTo>
                <a:lnTo>
                  <a:pt x="764" y="554"/>
                </a:lnTo>
                <a:lnTo>
                  <a:pt x="784" y="559"/>
                </a:lnTo>
                <a:lnTo>
                  <a:pt x="802" y="563"/>
                </a:lnTo>
                <a:lnTo>
                  <a:pt x="818" y="567"/>
                </a:lnTo>
                <a:lnTo>
                  <a:pt x="832" y="573"/>
                </a:lnTo>
                <a:lnTo>
                  <a:pt x="844" y="578"/>
                </a:lnTo>
                <a:lnTo>
                  <a:pt x="854" y="582"/>
                </a:lnTo>
                <a:lnTo>
                  <a:pt x="862" y="588"/>
                </a:lnTo>
                <a:lnTo>
                  <a:pt x="868" y="592"/>
                </a:lnTo>
                <a:lnTo>
                  <a:pt x="871" y="596"/>
                </a:lnTo>
                <a:lnTo>
                  <a:pt x="872" y="601"/>
                </a:lnTo>
                <a:close/>
                <a:moveTo>
                  <a:pt x="872" y="706"/>
                </a:moveTo>
                <a:lnTo>
                  <a:pt x="871" y="711"/>
                </a:lnTo>
                <a:lnTo>
                  <a:pt x="867" y="715"/>
                </a:lnTo>
                <a:lnTo>
                  <a:pt x="861" y="721"/>
                </a:lnTo>
                <a:lnTo>
                  <a:pt x="853" y="726"/>
                </a:lnTo>
                <a:lnTo>
                  <a:pt x="842" y="730"/>
                </a:lnTo>
                <a:lnTo>
                  <a:pt x="830" y="735"/>
                </a:lnTo>
                <a:lnTo>
                  <a:pt x="815" y="741"/>
                </a:lnTo>
                <a:lnTo>
                  <a:pt x="798" y="745"/>
                </a:lnTo>
                <a:lnTo>
                  <a:pt x="780" y="749"/>
                </a:lnTo>
                <a:lnTo>
                  <a:pt x="760" y="754"/>
                </a:lnTo>
                <a:lnTo>
                  <a:pt x="737" y="757"/>
                </a:lnTo>
                <a:lnTo>
                  <a:pt x="713" y="760"/>
                </a:lnTo>
                <a:lnTo>
                  <a:pt x="688" y="762"/>
                </a:lnTo>
                <a:lnTo>
                  <a:pt x="660" y="764"/>
                </a:lnTo>
                <a:lnTo>
                  <a:pt x="632" y="765"/>
                </a:lnTo>
                <a:lnTo>
                  <a:pt x="601" y="765"/>
                </a:lnTo>
                <a:lnTo>
                  <a:pt x="571" y="765"/>
                </a:lnTo>
                <a:lnTo>
                  <a:pt x="542" y="764"/>
                </a:lnTo>
                <a:lnTo>
                  <a:pt x="515" y="762"/>
                </a:lnTo>
                <a:lnTo>
                  <a:pt x="490" y="760"/>
                </a:lnTo>
                <a:lnTo>
                  <a:pt x="465" y="757"/>
                </a:lnTo>
                <a:lnTo>
                  <a:pt x="444" y="754"/>
                </a:lnTo>
                <a:lnTo>
                  <a:pt x="422" y="749"/>
                </a:lnTo>
                <a:lnTo>
                  <a:pt x="404" y="745"/>
                </a:lnTo>
                <a:lnTo>
                  <a:pt x="388" y="741"/>
                </a:lnTo>
                <a:lnTo>
                  <a:pt x="373" y="735"/>
                </a:lnTo>
                <a:lnTo>
                  <a:pt x="360" y="730"/>
                </a:lnTo>
                <a:lnTo>
                  <a:pt x="349" y="726"/>
                </a:lnTo>
                <a:lnTo>
                  <a:pt x="342" y="721"/>
                </a:lnTo>
                <a:lnTo>
                  <a:pt x="335" y="715"/>
                </a:lnTo>
                <a:lnTo>
                  <a:pt x="332" y="711"/>
                </a:lnTo>
                <a:lnTo>
                  <a:pt x="331" y="706"/>
                </a:lnTo>
                <a:lnTo>
                  <a:pt x="331" y="643"/>
                </a:lnTo>
                <a:lnTo>
                  <a:pt x="341" y="649"/>
                </a:lnTo>
                <a:lnTo>
                  <a:pt x="352" y="654"/>
                </a:lnTo>
                <a:lnTo>
                  <a:pt x="366" y="659"/>
                </a:lnTo>
                <a:lnTo>
                  <a:pt x="380" y="664"/>
                </a:lnTo>
                <a:lnTo>
                  <a:pt x="395" y="668"/>
                </a:lnTo>
                <a:lnTo>
                  <a:pt x="411" y="672"/>
                </a:lnTo>
                <a:lnTo>
                  <a:pt x="429" y="676"/>
                </a:lnTo>
                <a:lnTo>
                  <a:pt x="446" y="679"/>
                </a:lnTo>
                <a:lnTo>
                  <a:pt x="483" y="684"/>
                </a:lnTo>
                <a:lnTo>
                  <a:pt x="522" y="688"/>
                </a:lnTo>
                <a:lnTo>
                  <a:pt x="561" y="691"/>
                </a:lnTo>
                <a:lnTo>
                  <a:pt x="601" y="691"/>
                </a:lnTo>
                <a:lnTo>
                  <a:pt x="642" y="691"/>
                </a:lnTo>
                <a:lnTo>
                  <a:pt x="681" y="688"/>
                </a:lnTo>
                <a:lnTo>
                  <a:pt x="720" y="684"/>
                </a:lnTo>
                <a:lnTo>
                  <a:pt x="757" y="679"/>
                </a:lnTo>
                <a:lnTo>
                  <a:pt x="775" y="676"/>
                </a:lnTo>
                <a:lnTo>
                  <a:pt x="792" y="672"/>
                </a:lnTo>
                <a:lnTo>
                  <a:pt x="808" y="668"/>
                </a:lnTo>
                <a:lnTo>
                  <a:pt x="823" y="664"/>
                </a:lnTo>
                <a:lnTo>
                  <a:pt x="837" y="659"/>
                </a:lnTo>
                <a:lnTo>
                  <a:pt x="850" y="654"/>
                </a:lnTo>
                <a:lnTo>
                  <a:pt x="861" y="649"/>
                </a:lnTo>
                <a:lnTo>
                  <a:pt x="872" y="643"/>
                </a:lnTo>
                <a:lnTo>
                  <a:pt x="872" y="706"/>
                </a:lnTo>
                <a:close/>
                <a:moveTo>
                  <a:pt x="601" y="511"/>
                </a:moveTo>
                <a:lnTo>
                  <a:pt x="601" y="406"/>
                </a:lnTo>
                <a:lnTo>
                  <a:pt x="601" y="300"/>
                </a:lnTo>
                <a:lnTo>
                  <a:pt x="601" y="195"/>
                </a:lnTo>
                <a:lnTo>
                  <a:pt x="601" y="90"/>
                </a:lnTo>
                <a:lnTo>
                  <a:pt x="601" y="83"/>
                </a:lnTo>
                <a:lnTo>
                  <a:pt x="600" y="78"/>
                </a:lnTo>
                <a:lnTo>
                  <a:pt x="598" y="72"/>
                </a:lnTo>
                <a:lnTo>
                  <a:pt x="595" y="68"/>
                </a:lnTo>
                <a:lnTo>
                  <a:pt x="590" y="63"/>
                </a:lnTo>
                <a:lnTo>
                  <a:pt x="586" y="59"/>
                </a:lnTo>
                <a:lnTo>
                  <a:pt x="581" y="53"/>
                </a:lnTo>
                <a:lnTo>
                  <a:pt x="574" y="49"/>
                </a:lnTo>
                <a:lnTo>
                  <a:pt x="560" y="41"/>
                </a:lnTo>
                <a:lnTo>
                  <a:pt x="544" y="34"/>
                </a:lnTo>
                <a:lnTo>
                  <a:pt x="526" y="27"/>
                </a:lnTo>
                <a:lnTo>
                  <a:pt x="506" y="21"/>
                </a:lnTo>
                <a:lnTo>
                  <a:pt x="483" y="16"/>
                </a:lnTo>
                <a:lnTo>
                  <a:pt x="460" y="11"/>
                </a:lnTo>
                <a:lnTo>
                  <a:pt x="435" y="8"/>
                </a:lnTo>
                <a:lnTo>
                  <a:pt x="408" y="5"/>
                </a:lnTo>
                <a:lnTo>
                  <a:pt x="382" y="2"/>
                </a:lnTo>
                <a:lnTo>
                  <a:pt x="355" y="1"/>
                </a:lnTo>
                <a:lnTo>
                  <a:pt x="328" y="0"/>
                </a:lnTo>
                <a:lnTo>
                  <a:pt x="301" y="0"/>
                </a:lnTo>
                <a:lnTo>
                  <a:pt x="273" y="0"/>
                </a:lnTo>
                <a:lnTo>
                  <a:pt x="246" y="1"/>
                </a:lnTo>
                <a:lnTo>
                  <a:pt x="219" y="2"/>
                </a:lnTo>
                <a:lnTo>
                  <a:pt x="193" y="5"/>
                </a:lnTo>
                <a:lnTo>
                  <a:pt x="167" y="8"/>
                </a:lnTo>
                <a:lnTo>
                  <a:pt x="141" y="11"/>
                </a:lnTo>
                <a:lnTo>
                  <a:pt x="118" y="16"/>
                </a:lnTo>
                <a:lnTo>
                  <a:pt x="96" y="21"/>
                </a:lnTo>
                <a:lnTo>
                  <a:pt x="75" y="27"/>
                </a:lnTo>
                <a:lnTo>
                  <a:pt x="57" y="34"/>
                </a:lnTo>
                <a:lnTo>
                  <a:pt x="41" y="41"/>
                </a:lnTo>
                <a:lnTo>
                  <a:pt x="27" y="49"/>
                </a:lnTo>
                <a:lnTo>
                  <a:pt x="20" y="53"/>
                </a:lnTo>
                <a:lnTo>
                  <a:pt x="15" y="59"/>
                </a:lnTo>
                <a:lnTo>
                  <a:pt x="11" y="63"/>
                </a:lnTo>
                <a:lnTo>
                  <a:pt x="6" y="68"/>
                </a:lnTo>
                <a:lnTo>
                  <a:pt x="4" y="72"/>
                </a:lnTo>
                <a:lnTo>
                  <a:pt x="2" y="78"/>
                </a:lnTo>
                <a:lnTo>
                  <a:pt x="0" y="84"/>
                </a:lnTo>
                <a:lnTo>
                  <a:pt x="0" y="90"/>
                </a:lnTo>
                <a:lnTo>
                  <a:pt x="0" y="195"/>
                </a:lnTo>
                <a:lnTo>
                  <a:pt x="0" y="300"/>
                </a:lnTo>
                <a:lnTo>
                  <a:pt x="0" y="406"/>
                </a:lnTo>
                <a:lnTo>
                  <a:pt x="0" y="511"/>
                </a:lnTo>
                <a:lnTo>
                  <a:pt x="0" y="616"/>
                </a:lnTo>
                <a:lnTo>
                  <a:pt x="0" y="622"/>
                </a:lnTo>
                <a:lnTo>
                  <a:pt x="2" y="628"/>
                </a:lnTo>
                <a:lnTo>
                  <a:pt x="4" y="634"/>
                </a:lnTo>
                <a:lnTo>
                  <a:pt x="9" y="640"/>
                </a:lnTo>
                <a:lnTo>
                  <a:pt x="13" y="646"/>
                </a:lnTo>
                <a:lnTo>
                  <a:pt x="18" y="650"/>
                </a:lnTo>
                <a:lnTo>
                  <a:pt x="25" y="655"/>
                </a:lnTo>
                <a:lnTo>
                  <a:pt x="31" y="659"/>
                </a:lnTo>
                <a:lnTo>
                  <a:pt x="47" y="668"/>
                </a:lnTo>
                <a:lnTo>
                  <a:pt x="65" y="676"/>
                </a:lnTo>
                <a:lnTo>
                  <a:pt x="86" y="682"/>
                </a:lnTo>
                <a:lnTo>
                  <a:pt x="108" y="687"/>
                </a:lnTo>
                <a:lnTo>
                  <a:pt x="132" y="693"/>
                </a:lnTo>
                <a:lnTo>
                  <a:pt x="156" y="696"/>
                </a:lnTo>
                <a:lnTo>
                  <a:pt x="181" y="699"/>
                </a:lnTo>
                <a:lnTo>
                  <a:pt x="207" y="701"/>
                </a:lnTo>
                <a:lnTo>
                  <a:pt x="256" y="704"/>
                </a:lnTo>
                <a:lnTo>
                  <a:pt x="301" y="706"/>
                </a:lnTo>
                <a:lnTo>
                  <a:pt x="301" y="812"/>
                </a:lnTo>
                <a:lnTo>
                  <a:pt x="301" y="818"/>
                </a:lnTo>
                <a:lnTo>
                  <a:pt x="303" y="823"/>
                </a:lnTo>
                <a:lnTo>
                  <a:pt x="305" y="830"/>
                </a:lnTo>
                <a:lnTo>
                  <a:pt x="309" y="835"/>
                </a:lnTo>
                <a:lnTo>
                  <a:pt x="314" y="840"/>
                </a:lnTo>
                <a:lnTo>
                  <a:pt x="319" y="846"/>
                </a:lnTo>
                <a:lnTo>
                  <a:pt x="325" y="851"/>
                </a:lnTo>
                <a:lnTo>
                  <a:pt x="332" y="855"/>
                </a:lnTo>
                <a:lnTo>
                  <a:pt x="348" y="864"/>
                </a:lnTo>
                <a:lnTo>
                  <a:pt x="366" y="870"/>
                </a:lnTo>
                <a:lnTo>
                  <a:pt x="387" y="877"/>
                </a:lnTo>
                <a:lnTo>
                  <a:pt x="409" y="883"/>
                </a:lnTo>
                <a:lnTo>
                  <a:pt x="433" y="888"/>
                </a:lnTo>
                <a:lnTo>
                  <a:pt x="457" y="892"/>
                </a:lnTo>
                <a:lnTo>
                  <a:pt x="482" y="895"/>
                </a:lnTo>
                <a:lnTo>
                  <a:pt x="507" y="897"/>
                </a:lnTo>
                <a:lnTo>
                  <a:pt x="556" y="900"/>
                </a:lnTo>
                <a:lnTo>
                  <a:pt x="601" y="902"/>
                </a:lnTo>
                <a:lnTo>
                  <a:pt x="646" y="900"/>
                </a:lnTo>
                <a:lnTo>
                  <a:pt x="695" y="897"/>
                </a:lnTo>
                <a:lnTo>
                  <a:pt x="721" y="895"/>
                </a:lnTo>
                <a:lnTo>
                  <a:pt x="746" y="892"/>
                </a:lnTo>
                <a:lnTo>
                  <a:pt x="770" y="888"/>
                </a:lnTo>
                <a:lnTo>
                  <a:pt x="794" y="883"/>
                </a:lnTo>
                <a:lnTo>
                  <a:pt x="815" y="877"/>
                </a:lnTo>
                <a:lnTo>
                  <a:pt x="837" y="870"/>
                </a:lnTo>
                <a:lnTo>
                  <a:pt x="855" y="864"/>
                </a:lnTo>
                <a:lnTo>
                  <a:pt x="871" y="855"/>
                </a:lnTo>
                <a:lnTo>
                  <a:pt x="877" y="851"/>
                </a:lnTo>
                <a:lnTo>
                  <a:pt x="884" y="846"/>
                </a:lnTo>
                <a:lnTo>
                  <a:pt x="889" y="840"/>
                </a:lnTo>
                <a:lnTo>
                  <a:pt x="893" y="835"/>
                </a:lnTo>
                <a:lnTo>
                  <a:pt x="898" y="830"/>
                </a:lnTo>
                <a:lnTo>
                  <a:pt x="900" y="823"/>
                </a:lnTo>
                <a:lnTo>
                  <a:pt x="901" y="818"/>
                </a:lnTo>
                <a:lnTo>
                  <a:pt x="902" y="812"/>
                </a:lnTo>
                <a:lnTo>
                  <a:pt x="902" y="706"/>
                </a:lnTo>
                <a:lnTo>
                  <a:pt x="902" y="601"/>
                </a:lnTo>
                <a:lnTo>
                  <a:pt x="902" y="595"/>
                </a:lnTo>
                <a:lnTo>
                  <a:pt x="900" y="590"/>
                </a:lnTo>
                <a:lnTo>
                  <a:pt x="898" y="584"/>
                </a:lnTo>
                <a:lnTo>
                  <a:pt x="895" y="579"/>
                </a:lnTo>
                <a:lnTo>
                  <a:pt x="891" y="574"/>
                </a:lnTo>
                <a:lnTo>
                  <a:pt x="887" y="569"/>
                </a:lnTo>
                <a:lnTo>
                  <a:pt x="882" y="565"/>
                </a:lnTo>
                <a:lnTo>
                  <a:pt x="875" y="560"/>
                </a:lnTo>
                <a:lnTo>
                  <a:pt x="861" y="552"/>
                </a:lnTo>
                <a:lnTo>
                  <a:pt x="845" y="545"/>
                </a:lnTo>
                <a:lnTo>
                  <a:pt x="826" y="538"/>
                </a:lnTo>
                <a:lnTo>
                  <a:pt x="806" y="532"/>
                </a:lnTo>
                <a:lnTo>
                  <a:pt x="784" y="527"/>
                </a:lnTo>
                <a:lnTo>
                  <a:pt x="760" y="522"/>
                </a:lnTo>
                <a:lnTo>
                  <a:pt x="735" y="519"/>
                </a:lnTo>
                <a:lnTo>
                  <a:pt x="709" y="516"/>
                </a:lnTo>
                <a:lnTo>
                  <a:pt x="682" y="514"/>
                </a:lnTo>
                <a:lnTo>
                  <a:pt x="656" y="512"/>
                </a:lnTo>
                <a:lnTo>
                  <a:pt x="629" y="511"/>
                </a:lnTo>
                <a:lnTo>
                  <a:pt x="601" y="511"/>
                </a:lnTo>
                <a:lnTo>
                  <a:pt x="601" y="511"/>
                </a:lnTo>
                <a:close/>
              </a:path>
            </a:pathLst>
          </a:custGeom>
          <a:solidFill>
            <a:srgbClr val="E2583D"/>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mn-cs"/>
            </a:endParaRPr>
          </a:p>
        </p:txBody>
      </p:sp>
      <p:grpSp>
        <p:nvGrpSpPr>
          <p:cNvPr id="27" name="Group 26"/>
          <p:cNvGrpSpPr/>
          <p:nvPr/>
        </p:nvGrpSpPr>
        <p:grpSpPr>
          <a:xfrm>
            <a:off x="5999386" y="1497592"/>
            <a:ext cx="284163" cy="284162"/>
            <a:chOff x="11033125" y="1349375"/>
            <a:chExt cx="284163" cy="284162"/>
          </a:xfrm>
          <a:solidFill>
            <a:srgbClr val="AFABAB"/>
          </a:solidFill>
        </p:grpSpPr>
        <p:sp>
          <p:nvSpPr>
            <p:cNvPr id="28" name="Freeform 331"/>
            <p:cNvSpPr>
              <a:spLocks noEditPoints="1"/>
            </p:cNvSpPr>
            <p:nvPr/>
          </p:nvSpPr>
          <p:spPr bwMode="auto">
            <a:xfrm>
              <a:off x="11133138" y="1385888"/>
              <a:ext cx="84138" cy="77787"/>
            </a:xfrm>
            <a:custGeom>
              <a:avLst/>
              <a:gdLst>
                <a:gd name="T0" fmla="*/ 167 w 268"/>
                <a:gd name="T1" fmla="*/ 133 h 246"/>
                <a:gd name="T2" fmla="*/ 164 w 268"/>
                <a:gd name="T3" fmla="*/ 142 h 246"/>
                <a:gd name="T4" fmla="*/ 178 w 268"/>
                <a:gd name="T5" fmla="*/ 188 h 246"/>
                <a:gd name="T6" fmla="*/ 139 w 268"/>
                <a:gd name="T7" fmla="*/ 157 h 246"/>
                <a:gd name="T8" fmla="*/ 129 w 268"/>
                <a:gd name="T9" fmla="*/ 157 h 246"/>
                <a:gd name="T10" fmla="*/ 90 w 268"/>
                <a:gd name="T11" fmla="*/ 188 h 246"/>
                <a:gd name="T12" fmla="*/ 105 w 268"/>
                <a:gd name="T13" fmla="*/ 142 h 246"/>
                <a:gd name="T14" fmla="*/ 101 w 268"/>
                <a:gd name="T15" fmla="*/ 133 h 246"/>
                <a:gd name="T16" fmla="*/ 58 w 268"/>
                <a:gd name="T17" fmla="*/ 97 h 246"/>
                <a:gd name="T18" fmla="*/ 109 w 268"/>
                <a:gd name="T19" fmla="*/ 96 h 246"/>
                <a:gd name="T20" fmla="*/ 115 w 268"/>
                <a:gd name="T21" fmla="*/ 91 h 246"/>
                <a:gd name="T22" fmla="*/ 133 w 268"/>
                <a:gd name="T23" fmla="*/ 52 h 246"/>
                <a:gd name="T24" fmla="*/ 153 w 268"/>
                <a:gd name="T25" fmla="*/ 91 h 246"/>
                <a:gd name="T26" fmla="*/ 160 w 268"/>
                <a:gd name="T27" fmla="*/ 96 h 246"/>
                <a:gd name="T28" fmla="*/ 212 w 268"/>
                <a:gd name="T29" fmla="*/ 97 h 246"/>
                <a:gd name="T30" fmla="*/ 254 w 268"/>
                <a:gd name="T31" fmla="*/ 67 h 246"/>
                <a:gd name="T32" fmla="*/ 146 w 268"/>
                <a:gd name="T33" fmla="*/ 9 h 246"/>
                <a:gd name="T34" fmla="*/ 141 w 268"/>
                <a:gd name="T35" fmla="*/ 3 h 246"/>
                <a:gd name="T36" fmla="*/ 132 w 268"/>
                <a:gd name="T37" fmla="*/ 0 h 246"/>
                <a:gd name="T38" fmla="*/ 125 w 268"/>
                <a:gd name="T39" fmla="*/ 3 h 246"/>
                <a:gd name="T40" fmla="*/ 120 w 268"/>
                <a:gd name="T41" fmla="*/ 9 h 246"/>
                <a:gd name="T42" fmla="*/ 15 w 268"/>
                <a:gd name="T43" fmla="*/ 67 h 246"/>
                <a:gd name="T44" fmla="*/ 6 w 268"/>
                <a:gd name="T45" fmla="*/ 69 h 246"/>
                <a:gd name="T46" fmla="*/ 1 w 268"/>
                <a:gd name="T47" fmla="*/ 76 h 246"/>
                <a:gd name="T48" fmla="*/ 0 w 268"/>
                <a:gd name="T49" fmla="*/ 86 h 246"/>
                <a:gd name="T50" fmla="*/ 5 w 268"/>
                <a:gd name="T51" fmla="*/ 93 h 246"/>
                <a:gd name="T52" fmla="*/ 46 w 268"/>
                <a:gd name="T53" fmla="*/ 226 h 246"/>
                <a:gd name="T54" fmla="*/ 46 w 268"/>
                <a:gd name="T55" fmla="*/ 236 h 246"/>
                <a:gd name="T56" fmla="*/ 51 w 268"/>
                <a:gd name="T57" fmla="*/ 243 h 246"/>
                <a:gd name="T58" fmla="*/ 60 w 268"/>
                <a:gd name="T59" fmla="*/ 246 h 246"/>
                <a:gd name="T60" fmla="*/ 69 w 268"/>
                <a:gd name="T61" fmla="*/ 242 h 246"/>
                <a:gd name="T62" fmla="*/ 200 w 268"/>
                <a:gd name="T63" fmla="*/ 242 h 246"/>
                <a:gd name="T64" fmla="*/ 209 w 268"/>
                <a:gd name="T65" fmla="*/ 246 h 246"/>
                <a:gd name="T66" fmla="*/ 218 w 268"/>
                <a:gd name="T67" fmla="*/ 243 h 246"/>
                <a:gd name="T68" fmla="*/ 223 w 268"/>
                <a:gd name="T69" fmla="*/ 236 h 246"/>
                <a:gd name="T70" fmla="*/ 223 w 268"/>
                <a:gd name="T71" fmla="*/ 226 h 246"/>
                <a:gd name="T72" fmla="*/ 263 w 268"/>
                <a:gd name="T73" fmla="*/ 93 h 246"/>
                <a:gd name="T74" fmla="*/ 268 w 268"/>
                <a:gd name="T75" fmla="*/ 86 h 246"/>
                <a:gd name="T76" fmla="*/ 268 w 268"/>
                <a:gd name="T77" fmla="*/ 76 h 246"/>
                <a:gd name="T78" fmla="*/ 263 w 268"/>
                <a:gd name="T79" fmla="*/ 69 h 246"/>
                <a:gd name="T80" fmla="*/ 254 w 268"/>
                <a:gd name="T81" fmla="*/ 67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68" h="246">
                  <a:moveTo>
                    <a:pt x="170" y="130"/>
                  </a:moveTo>
                  <a:lnTo>
                    <a:pt x="167" y="133"/>
                  </a:lnTo>
                  <a:lnTo>
                    <a:pt x="164" y="137"/>
                  </a:lnTo>
                  <a:lnTo>
                    <a:pt x="164" y="142"/>
                  </a:lnTo>
                  <a:lnTo>
                    <a:pt x="164" y="146"/>
                  </a:lnTo>
                  <a:lnTo>
                    <a:pt x="178" y="188"/>
                  </a:lnTo>
                  <a:lnTo>
                    <a:pt x="143" y="160"/>
                  </a:lnTo>
                  <a:lnTo>
                    <a:pt x="139" y="157"/>
                  </a:lnTo>
                  <a:lnTo>
                    <a:pt x="135" y="157"/>
                  </a:lnTo>
                  <a:lnTo>
                    <a:pt x="129" y="157"/>
                  </a:lnTo>
                  <a:lnTo>
                    <a:pt x="125" y="160"/>
                  </a:lnTo>
                  <a:lnTo>
                    <a:pt x="90" y="188"/>
                  </a:lnTo>
                  <a:lnTo>
                    <a:pt x="104" y="146"/>
                  </a:lnTo>
                  <a:lnTo>
                    <a:pt x="105" y="142"/>
                  </a:lnTo>
                  <a:lnTo>
                    <a:pt x="104" y="137"/>
                  </a:lnTo>
                  <a:lnTo>
                    <a:pt x="101" y="133"/>
                  </a:lnTo>
                  <a:lnTo>
                    <a:pt x="98" y="130"/>
                  </a:lnTo>
                  <a:lnTo>
                    <a:pt x="58" y="97"/>
                  </a:lnTo>
                  <a:lnTo>
                    <a:pt x="105" y="97"/>
                  </a:lnTo>
                  <a:lnTo>
                    <a:pt x="109" y="96"/>
                  </a:lnTo>
                  <a:lnTo>
                    <a:pt x="112" y="93"/>
                  </a:lnTo>
                  <a:lnTo>
                    <a:pt x="115" y="91"/>
                  </a:lnTo>
                  <a:lnTo>
                    <a:pt x="118" y="87"/>
                  </a:lnTo>
                  <a:lnTo>
                    <a:pt x="133" y="52"/>
                  </a:lnTo>
                  <a:lnTo>
                    <a:pt x="151" y="88"/>
                  </a:lnTo>
                  <a:lnTo>
                    <a:pt x="153" y="91"/>
                  </a:lnTo>
                  <a:lnTo>
                    <a:pt x="156" y="94"/>
                  </a:lnTo>
                  <a:lnTo>
                    <a:pt x="160" y="96"/>
                  </a:lnTo>
                  <a:lnTo>
                    <a:pt x="164" y="97"/>
                  </a:lnTo>
                  <a:lnTo>
                    <a:pt x="212" y="97"/>
                  </a:lnTo>
                  <a:lnTo>
                    <a:pt x="170" y="130"/>
                  </a:lnTo>
                  <a:close/>
                  <a:moveTo>
                    <a:pt x="254" y="67"/>
                  </a:moveTo>
                  <a:lnTo>
                    <a:pt x="174" y="67"/>
                  </a:lnTo>
                  <a:lnTo>
                    <a:pt x="146" y="9"/>
                  </a:lnTo>
                  <a:lnTo>
                    <a:pt x="144" y="5"/>
                  </a:lnTo>
                  <a:lnTo>
                    <a:pt x="141" y="3"/>
                  </a:lnTo>
                  <a:lnTo>
                    <a:pt x="138" y="0"/>
                  </a:lnTo>
                  <a:lnTo>
                    <a:pt x="132" y="0"/>
                  </a:lnTo>
                  <a:lnTo>
                    <a:pt x="129" y="0"/>
                  </a:lnTo>
                  <a:lnTo>
                    <a:pt x="125" y="3"/>
                  </a:lnTo>
                  <a:lnTo>
                    <a:pt x="122" y="6"/>
                  </a:lnTo>
                  <a:lnTo>
                    <a:pt x="120" y="9"/>
                  </a:lnTo>
                  <a:lnTo>
                    <a:pt x="95" y="67"/>
                  </a:lnTo>
                  <a:lnTo>
                    <a:pt x="15" y="67"/>
                  </a:lnTo>
                  <a:lnTo>
                    <a:pt x="10" y="67"/>
                  </a:lnTo>
                  <a:lnTo>
                    <a:pt x="6" y="69"/>
                  </a:lnTo>
                  <a:lnTo>
                    <a:pt x="3" y="72"/>
                  </a:lnTo>
                  <a:lnTo>
                    <a:pt x="1" y="76"/>
                  </a:lnTo>
                  <a:lnTo>
                    <a:pt x="0" y="81"/>
                  </a:lnTo>
                  <a:lnTo>
                    <a:pt x="0" y="86"/>
                  </a:lnTo>
                  <a:lnTo>
                    <a:pt x="2" y="89"/>
                  </a:lnTo>
                  <a:lnTo>
                    <a:pt x="5" y="93"/>
                  </a:lnTo>
                  <a:lnTo>
                    <a:pt x="71" y="146"/>
                  </a:lnTo>
                  <a:lnTo>
                    <a:pt x="46" y="226"/>
                  </a:lnTo>
                  <a:lnTo>
                    <a:pt x="45" y="231"/>
                  </a:lnTo>
                  <a:lnTo>
                    <a:pt x="46" y="236"/>
                  </a:lnTo>
                  <a:lnTo>
                    <a:pt x="48" y="240"/>
                  </a:lnTo>
                  <a:lnTo>
                    <a:pt x="51" y="243"/>
                  </a:lnTo>
                  <a:lnTo>
                    <a:pt x="55" y="245"/>
                  </a:lnTo>
                  <a:lnTo>
                    <a:pt x="60" y="246"/>
                  </a:lnTo>
                  <a:lnTo>
                    <a:pt x="65" y="245"/>
                  </a:lnTo>
                  <a:lnTo>
                    <a:pt x="69" y="242"/>
                  </a:lnTo>
                  <a:lnTo>
                    <a:pt x="135" y="190"/>
                  </a:lnTo>
                  <a:lnTo>
                    <a:pt x="200" y="242"/>
                  </a:lnTo>
                  <a:lnTo>
                    <a:pt x="204" y="245"/>
                  </a:lnTo>
                  <a:lnTo>
                    <a:pt x="209" y="246"/>
                  </a:lnTo>
                  <a:lnTo>
                    <a:pt x="214" y="245"/>
                  </a:lnTo>
                  <a:lnTo>
                    <a:pt x="218" y="243"/>
                  </a:lnTo>
                  <a:lnTo>
                    <a:pt x="221" y="240"/>
                  </a:lnTo>
                  <a:lnTo>
                    <a:pt x="223" y="236"/>
                  </a:lnTo>
                  <a:lnTo>
                    <a:pt x="224" y="231"/>
                  </a:lnTo>
                  <a:lnTo>
                    <a:pt x="223" y="226"/>
                  </a:lnTo>
                  <a:lnTo>
                    <a:pt x="197" y="146"/>
                  </a:lnTo>
                  <a:lnTo>
                    <a:pt x="263" y="93"/>
                  </a:lnTo>
                  <a:lnTo>
                    <a:pt x="266" y="89"/>
                  </a:lnTo>
                  <a:lnTo>
                    <a:pt x="268" y="86"/>
                  </a:lnTo>
                  <a:lnTo>
                    <a:pt x="268" y="81"/>
                  </a:lnTo>
                  <a:lnTo>
                    <a:pt x="268" y="76"/>
                  </a:lnTo>
                  <a:lnTo>
                    <a:pt x="266" y="72"/>
                  </a:lnTo>
                  <a:lnTo>
                    <a:pt x="263" y="69"/>
                  </a:lnTo>
                  <a:lnTo>
                    <a:pt x="259" y="67"/>
                  </a:lnTo>
                  <a:lnTo>
                    <a:pt x="254" y="67"/>
                  </a:lnTo>
                  <a:lnTo>
                    <a:pt x="254" y="6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mn-cs"/>
              </a:endParaRPr>
            </a:p>
          </p:txBody>
        </p:sp>
        <p:sp>
          <p:nvSpPr>
            <p:cNvPr id="29" name="Freeform 332"/>
            <p:cNvSpPr>
              <a:spLocks noEditPoints="1"/>
            </p:cNvSpPr>
            <p:nvPr/>
          </p:nvSpPr>
          <p:spPr bwMode="auto">
            <a:xfrm>
              <a:off x="11033125" y="1349375"/>
              <a:ext cx="284163" cy="284162"/>
            </a:xfrm>
            <a:custGeom>
              <a:avLst/>
              <a:gdLst>
                <a:gd name="T0" fmla="*/ 794 w 898"/>
                <a:gd name="T1" fmla="*/ 181 h 897"/>
                <a:gd name="T2" fmla="*/ 861 w 898"/>
                <a:gd name="T3" fmla="*/ 209 h 897"/>
                <a:gd name="T4" fmla="*/ 817 w 898"/>
                <a:gd name="T5" fmla="*/ 324 h 897"/>
                <a:gd name="T6" fmla="*/ 756 w 898"/>
                <a:gd name="T7" fmla="*/ 367 h 897"/>
                <a:gd name="T8" fmla="*/ 527 w 898"/>
                <a:gd name="T9" fmla="*/ 521 h 897"/>
                <a:gd name="T10" fmla="*/ 479 w 898"/>
                <a:gd name="T11" fmla="*/ 583 h 897"/>
                <a:gd name="T12" fmla="*/ 476 w 898"/>
                <a:gd name="T13" fmla="*/ 697 h 897"/>
                <a:gd name="T14" fmla="*/ 533 w 898"/>
                <a:gd name="T15" fmla="*/ 793 h 897"/>
                <a:gd name="T16" fmla="*/ 628 w 898"/>
                <a:gd name="T17" fmla="*/ 867 h 897"/>
                <a:gd name="T18" fmla="*/ 354 w 898"/>
                <a:gd name="T19" fmla="*/ 803 h 897"/>
                <a:gd name="T20" fmla="*/ 415 w 898"/>
                <a:gd name="T21" fmla="*/ 720 h 897"/>
                <a:gd name="T22" fmla="*/ 421 w 898"/>
                <a:gd name="T23" fmla="*/ 595 h 897"/>
                <a:gd name="T24" fmla="*/ 379 w 898"/>
                <a:gd name="T25" fmla="*/ 528 h 897"/>
                <a:gd name="T26" fmla="*/ 275 w 898"/>
                <a:gd name="T27" fmla="*/ 460 h 897"/>
                <a:gd name="T28" fmla="*/ 195 w 898"/>
                <a:gd name="T29" fmla="*/ 371 h 897"/>
                <a:gd name="T30" fmla="*/ 151 w 898"/>
                <a:gd name="T31" fmla="*/ 260 h 897"/>
                <a:gd name="T32" fmla="*/ 127 w 898"/>
                <a:gd name="T33" fmla="*/ 91 h 897"/>
                <a:gd name="T34" fmla="*/ 767 w 898"/>
                <a:gd name="T35" fmla="*/ 145 h 897"/>
                <a:gd name="T36" fmla="*/ 737 w 898"/>
                <a:gd name="T37" fmla="*/ 296 h 897"/>
                <a:gd name="T38" fmla="*/ 688 w 898"/>
                <a:gd name="T39" fmla="*/ 393 h 897"/>
                <a:gd name="T40" fmla="*/ 590 w 898"/>
                <a:gd name="T41" fmla="*/ 480 h 897"/>
                <a:gd name="T42" fmla="*/ 54 w 898"/>
                <a:gd name="T43" fmla="*/ 280 h 897"/>
                <a:gd name="T44" fmla="*/ 30 w 898"/>
                <a:gd name="T45" fmla="*/ 116 h 897"/>
                <a:gd name="T46" fmla="*/ 112 w 898"/>
                <a:gd name="T47" fmla="*/ 221 h 897"/>
                <a:gd name="T48" fmla="*/ 140 w 898"/>
                <a:gd name="T49" fmla="*/ 367 h 897"/>
                <a:gd name="T50" fmla="*/ 89 w 898"/>
                <a:gd name="T51" fmla="*/ 336 h 897"/>
                <a:gd name="T52" fmla="*/ 893 w 898"/>
                <a:gd name="T53" fmla="*/ 64 h 897"/>
                <a:gd name="T54" fmla="*/ 803 w 898"/>
                <a:gd name="T55" fmla="*/ 37 h 897"/>
                <a:gd name="T56" fmla="*/ 797 w 898"/>
                <a:gd name="T57" fmla="*/ 2 h 897"/>
                <a:gd name="T58" fmla="*/ 102 w 898"/>
                <a:gd name="T59" fmla="*/ 2 h 897"/>
                <a:gd name="T60" fmla="*/ 96 w 898"/>
                <a:gd name="T61" fmla="*/ 37 h 897"/>
                <a:gd name="T62" fmla="*/ 5 w 898"/>
                <a:gd name="T63" fmla="*/ 64 h 897"/>
                <a:gd name="T64" fmla="*/ 0 w 898"/>
                <a:gd name="T65" fmla="*/ 117 h 897"/>
                <a:gd name="T66" fmla="*/ 15 w 898"/>
                <a:gd name="T67" fmla="*/ 258 h 897"/>
                <a:gd name="T68" fmla="*/ 80 w 898"/>
                <a:gd name="T69" fmla="*/ 368 h 897"/>
                <a:gd name="T70" fmla="*/ 179 w 898"/>
                <a:gd name="T71" fmla="*/ 403 h 897"/>
                <a:gd name="T72" fmla="*/ 293 w 898"/>
                <a:gd name="T73" fmla="*/ 507 h 897"/>
                <a:gd name="T74" fmla="*/ 371 w 898"/>
                <a:gd name="T75" fmla="*/ 564 h 897"/>
                <a:gd name="T76" fmla="*/ 395 w 898"/>
                <a:gd name="T77" fmla="*/ 625 h 897"/>
                <a:gd name="T78" fmla="*/ 374 w 898"/>
                <a:gd name="T79" fmla="*/ 743 h 897"/>
                <a:gd name="T80" fmla="*/ 301 w 898"/>
                <a:gd name="T81" fmla="*/ 789 h 897"/>
                <a:gd name="T82" fmla="*/ 244 w 898"/>
                <a:gd name="T83" fmla="*/ 797 h 897"/>
                <a:gd name="T84" fmla="*/ 241 w 898"/>
                <a:gd name="T85" fmla="*/ 888 h 897"/>
                <a:gd name="T86" fmla="*/ 643 w 898"/>
                <a:gd name="T87" fmla="*/ 897 h 897"/>
                <a:gd name="T88" fmla="*/ 658 w 898"/>
                <a:gd name="T89" fmla="*/ 886 h 897"/>
                <a:gd name="T90" fmla="*/ 652 w 898"/>
                <a:gd name="T91" fmla="*/ 795 h 897"/>
                <a:gd name="T92" fmla="*/ 580 w 898"/>
                <a:gd name="T93" fmla="*/ 783 h 897"/>
                <a:gd name="T94" fmla="*/ 515 w 898"/>
                <a:gd name="T95" fmla="*/ 720 h 897"/>
                <a:gd name="T96" fmla="*/ 502 w 898"/>
                <a:gd name="T97" fmla="*/ 614 h 897"/>
                <a:gd name="T98" fmla="*/ 531 w 898"/>
                <a:gd name="T99" fmla="*/ 556 h 897"/>
                <a:gd name="T100" fmla="*/ 621 w 898"/>
                <a:gd name="T101" fmla="*/ 496 h 897"/>
                <a:gd name="T102" fmla="*/ 734 w 898"/>
                <a:gd name="T103" fmla="*/ 402 h 897"/>
                <a:gd name="T104" fmla="*/ 827 w 898"/>
                <a:gd name="T105" fmla="*/ 357 h 897"/>
                <a:gd name="T106" fmla="*/ 876 w 898"/>
                <a:gd name="T107" fmla="*/ 272 h 897"/>
                <a:gd name="T108" fmla="*/ 898 w 898"/>
                <a:gd name="T109" fmla="*/ 140 h 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898" h="897">
                  <a:moveTo>
                    <a:pt x="737" y="371"/>
                  </a:moveTo>
                  <a:lnTo>
                    <a:pt x="749" y="348"/>
                  </a:lnTo>
                  <a:lnTo>
                    <a:pt x="761" y="320"/>
                  </a:lnTo>
                  <a:lnTo>
                    <a:pt x="770" y="290"/>
                  </a:lnTo>
                  <a:lnTo>
                    <a:pt x="779" y="258"/>
                  </a:lnTo>
                  <a:lnTo>
                    <a:pt x="787" y="221"/>
                  </a:lnTo>
                  <a:lnTo>
                    <a:pt x="794" y="181"/>
                  </a:lnTo>
                  <a:lnTo>
                    <a:pt x="798" y="137"/>
                  </a:lnTo>
                  <a:lnTo>
                    <a:pt x="801" y="90"/>
                  </a:lnTo>
                  <a:lnTo>
                    <a:pt x="868" y="90"/>
                  </a:lnTo>
                  <a:lnTo>
                    <a:pt x="868" y="113"/>
                  </a:lnTo>
                  <a:lnTo>
                    <a:pt x="868" y="141"/>
                  </a:lnTo>
                  <a:lnTo>
                    <a:pt x="866" y="174"/>
                  </a:lnTo>
                  <a:lnTo>
                    <a:pt x="861" y="209"/>
                  </a:lnTo>
                  <a:lnTo>
                    <a:pt x="858" y="227"/>
                  </a:lnTo>
                  <a:lnTo>
                    <a:pt x="854" y="244"/>
                  </a:lnTo>
                  <a:lnTo>
                    <a:pt x="848" y="261"/>
                  </a:lnTo>
                  <a:lnTo>
                    <a:pt x="842" y="278"/>
                  </a:lnTo>
                  <a:lnTo>
                    <a:pt x="836" y="294"/>
                  </a:lnTo>
                  <a:lnTo>
                    <a:pt x="827" y="309"/>
                  </a:lnTo>
                  <a:lnTo>
                    <a:pt x="817" y="324"/>
                  </a:lnTo>
                  <a:lnTo>
                    <a:pt x="806" y="337"/>
                  </a:lnTo>
                  <a:lnTo>
                    <a:pt x="798" y="343"/>
                  </a:lnTo>
                  <a:lnTo>
                    <a:pt x="791" y="350"/>
                  </a:lnTo>
                  <a:lnTo>
                    <a:pt x="783" y="355"/>
                  </a:lnTo>
                  <a:lnTo>
                    <a:pt x="775" y="359"/>
                  </a:lnTo>
                  <a:lnTo>
                    <a:pt x="766" y="364"/>
                  </a:lnTo>
                  <a:lnTo>
                    <a:pt x="756" y="367"/>
                  </a:lnTo>
                  <a:lnTo>
                    <a:pt x="747" y="370"/>
                  </a:lnTo>
                  <a:lnTo>
                    <a:pt x="737" y="371"/>
                  </a:lnTo>
                  <a:lnTo>
                    <a:pt x="737" y="371"/>
                  </a:lnTo>
                  <a:close/>
                  <a:moveTo>
                    <a:pt x="574" y="490"/>
                  </a:moveTo>
                  <a:lnTo>
                    <a:pt x="553" y="503"/>
                  </a:lnTo>
                  <a:lnTo>
                    <a:pt x="535" y="514"/>
                  </a:lnTo>
                  <a:lnTo>
                    <a:pt x="527" y="521"/>
                  </a:lnTo>
                  <a:lnTo>
                    <a:pt x="518" y="528"/>
                  </a:lnTo>
                  <a:lnTo>
                    <a:pt x="509" y="536"/>
                  </a:lnTo>
                  <a:lnTo>
                    <a:pt x="502" y="543"/>
                  </a:lnTo>
                  <a:lnTo>
                    <a:pt x="496" y="552"/>
                  </a:lnTo>
                  <a:lnTo>
                    <a:pt x="489" y="561"/>
                  </a:lnTo>
                  <a:lnTo>
                    <a:pt x="484" y="572"/>
                  </a:lnTo>
                  <a:lnTo>
                    <a:pt x="479" y="583"/>
                  </a:lnTo>
                  <a:lnTo>
                    <a:pt x="476" y="595"/>
                  </a:lnTo>
                  <a:lnTo>
                    <a:pt x="473" y="607"/>
                  </a:lnTo>
                  <a:lnTo>
                    <a:pt x="471" y="621"/>
                  </a:lnTo>
                  <a:lnTo>
                    <a:pt x="471" y="637"/>
                  </a:lnTo>
                  <a:lnTo>
                    <a:pt x="472" y="659"/>
                  </a:lnTo>
                  <a:lnTo>
                    <a:pt x="473" y="678"/>
                  </a:lnTo>
                  <a:lnTo>
                    <a:pt x="476" y="697"/>
                  </a:lnTo>
                  <a:lnTo>
                    <a:pt x="481" y="714"/>
                  </a:lnTo>
                  <a:lnTo>
                    <a:pt x="486" y="730"/>
                  </a:lnTo>
                  <a:lnTo>
                    <a:pt x="493" y="745"/>
                  </a:lnTo>
                  <a:lnTo>
                    <a:pt x="501" y="759"/>
                  </a:lnTo>
                  <a:lnTo>
                    <a:pt x="510" y="771"/>
                  </a:lnTo>
                  <a:lnTo>
                    <a:pt x="521" y="783"/>
                  </a:lnTo>
                  <a:lnTo>
                    <a:pt x="533" y="793"/>
                  </a:lnTo>
                  <a:lnTo>
                    <a:pt x="546" y="800"/>
                  </a:lnTo>
                  <a:lnTo>
                    <a:pt x="560" y="807"/>
                  </a:lnTo>
                  <a:lnTo>
                    <a:pt x="576" y="813"/>
                  </a:lnTo>
                  <a:lnTo>
                    <a:pt x="592" y="817"/>
                  </a:lnTo>
                  <a:lnTo>
                    <a:pt x="610" y="820"/>
                  </a:lnTo>
                  <a:lnTo>
                    <a:pt x="628" y="822"/>
                  </a:lnTo>
                  <a:lnTo>
                    <a:pt x="628" y="867"/>
                  </a:lnTo>
                  <a:lnTo>
                    <a:pt x="270" y="867"/>
                  </a:lnTo>
                  <a:lnTo>
                    <a:pt x="270" y="822"/>
                  </a:lnTo>
                  <a:lnTo>
                    <a:pt x="289" y="820"/>
                  </a:lnTo>
                  <a:lnTo>
                    <a:pt x="307" y="818"/>
                  </a:lnTo>
                  <a:lnTo>
                    <a:pt x="324" y="814"/>
                  </a:lnTo>
                  <a:lnTo>
                    <a:pt x="340" y="810"/>
                  </a:lnTo>
                  <a:lnTo>
                    <a:pt x="354" y="803"/>
                  </a:lnTo>
                  <a:lnTo>
                    <a:pt x="366" y="796"/>
                  </a:lnTo>
                  <a:lnTo>
                    <a:pt x="378" y="786"/>
                  </a:lnTo>
                  <a:lnTo>
                    <a:pt x="387" y="775"/>
                  </a:lnTo>
                  <a:lnTo>
                    <a:pt x="396" y="764"/>
                  </a:lnTo>
                  <a:lnTo>
                    <a:pt x="404" y="751"/>
                  </a:lnTo>
                  <a:lnTo>
                    <a:pt x="410" y="736"/>
                  </a:lnTo>
                  <a:lnTo>
                    <a:pt x="415" y="720"/>
                  </a:lnTo>
                  <a:lnTo>
                    <a:pt x="420" y="702"/>
                  </a:lnTo>
                  <a:lnTo>
                    <a:pt x="423" y="681"/>
                  </a:lnTo>
                  <a:lnTo>
                    <a:pt x="425" y="660"/>
                  </a:lnTo>
                  <a:lnTo>
                    <a:pt x="425" y="637"/>
                  </a:lnTo>
                  <a:lnTo>
                    <a:pt x="425" y="621"/>
                  </a:lnTo>
                  <a:lnTo>
                    <a:pt x="423" y="607"/>
                  </a:lnTo>
                  <a:lnTo>
                    <a:pt x="421" y="595"/>
                  </a:lnTo>
                  <a:lnTo>
                    <a:pt x="416" y="583"/>
                  </a:lnTo>
                  <a:lnTo>
                    <a:pt x="412" y="572"/>
                  </a:lnTo>
                  <a:lnTo>
                    <a:pt x="407" y="561"/>
                  </a:lnTo>
                  <a:lnTo>
                    <a:pt x="401" y="553"/>
                  </a:lnTo>
                  <a:lnTo>
                    <a:pt x="394" y="544"/>
                  </a:lnTo>
                  <a:lnTo>
                    <a:pt x="386" y="536"/>
                  </a:lnTo>
                  <a:lnTo>
                    <a:pt x="379" y="528"/>
                  </a:lnTo>
                  <a:lnTo>
                    <a:pt x="370" y="522"/>
                  </a:lnTo>
                  <a:lnTo>
                    <a:pt x="362" y="516"/>
                  </a:lnTo>
                  <a:lnTo>
                    <a:pt x="344" y="503"/>
                  </a:lnTo>
                  <a:lnTo>
                    <a:pt x="324" y="491"/>
                  </a:lnTo>
                  <a:lnTo>
                    <a:pt x="308" y="481"/>
                  </a:lnTo>
                  <a:lnTo>
                    <a:pt x="292" y="472"/>
                  </a:lnTo>
                  <a:lnTo>
                    <a:pt x="275" y="460"/>
                  </a:lnTo>
                  <a:lnTo>
                    <a:pt x="258" y="446"/>
                  </a:lnTo>
                  <a:lnTo>
                    <a:pt x="242" y="431"/>
                  </a:lnTo>
                  <a:lnTo>
                    <a:pt x="226" y="414"/>
                  </a:lnTo>
                  <a:lnTo>
                    <a:pt x="217" y="404"/>
                  </a:lnTo>
                  <a:lnTo>
                    <a:pt x="210" y="394"/>
                  </a:lnTo>
                  <a:lnTo>
                    <a:pt x="202" y="383"/>
                  </a:lnTo>
                  <a:lnTo>
                    <a:pt x="195" y="371"/>
                  </a:lnTo>
                  <a:lnTo>
                    <a:pt x="188" y="358"/>
                  </a:lnTo>
                  <a:lnTo>
                    <a:pt x="181" y="344"/>
                  </a:lnTo>
                  <a:lnTo>
                    <a:pt x="174" y="329"/>
                  </a:lnTo>
                  <a:lnTo>
                    <a:pt x="167" y="313"/>
                  </a:lnTo>
                  <a:lnTo>
                    <a:pt x="162" y="297"/>
                  </a:lnTo>
                  <a:lnTo>
                    <a:pt x="157" y="279"/>
                  </a:lnTo>
                  <a:lnTo>
                    <a:pt x="151" y="260"/>
                  </a:lnTo>
                  <a:lnTo>
                    <a:pt x="146" y="240"/>
                  </a:lnTo>
                  <a:lnTo>
                    <a:pt x="142" y="218"/>
                  </a:lnTo>
                  <a:lnTo>
                    <a:pt x="137" y="196"/>
                  </a:lnTo>
                  <a:lnTo>
                    <a:pt x="134" y="172"/>
                  </a:lnTo>
                  <a:lnTo>
                    <a:pt x="131" y="147"/>
                  </a:lnTo>
                  <a:lnTo>
                    <a:pt x="129" y="120"/>
                  </a:lnTo>
                  <a:lnTo>
                    <a:pt x="127" y="91"/>
                  </a:lnTo>
                  <a:lnTo>
                    <a:pt x="126" y="61"/>
                  </a:lnTo>
                  <a:lnTo>
                    <a:pt x="126" y="30"/>
                  </a:lnTo>
                  <a:lnTo>
                    <a:pt x="774" y="30"/>
                  </a:lnTo>
                  <a:lnTo>
                    <a:pt x="774" y="61"/>
                  </a:lnTo>
                  <a:lnTo>
                    <a:pt x="771" y="91"/>
                  </a:lnTo>
                  <a:lnTo>
                    <a:pt x="770" y="119"/>
                  </a:lnTo>
                  <a:lnTo>
                    <a:pt x="767" y="145"/>
                  </a:lnTo>
                  <a:lnTo>
                    <a:pt x="765" y="171"/>
                  </a:lnTo>
                  <a:lnTo>
                    <a:pt x="761" y="195"/>
                  </a:lnTo>
                  <a:lnTo>
                    <a:pt x="758" y="217"/>
                  </a:lnTo>
                  <a:lnTo>
                    <a:pt x="753" y="239"/>
                  </a:lnTo>
                  <a:lnTo>
                    <a:pt x="748" y="259"/>
                  </a:lnTo>
                  <a:lnTo>
                    <a:pt x="743" y="278"/>
                  </a:lnTo>
                  <a:lnTo>
                    <a:pt x="737" y="296"/>
                  </a:lnTo>
                  <a:lnTo>
                    <a:pt x="731" y="312"/>
                  </a:lnTo>
                  <a:lnTo>
                    <a:pt x="724" y="328"/>
                  </a:lnTo>
                  <a:lnTo>
                    <a:pt x="718" y="343"/>
                  </a:lnTo>
                  <a:lnTo>
                    <a:pt x="710" y="356"/>
                  </a:lnTo>
                  <a:lnTo>
                    <a:pt x="704" y="369"/>
                  </a:lnTo>
                  <a:lnTo>
                    <a:pt x="697" y="382"/>
                  </a:lnTo>
                  <a:lnTo>
                    <a:pt x="688" y="393"/>
                  </a:lnTo>
                  <a:lnTo>
                    <a:pt x="681" y="403"/>
                  </a:lnTo>
                  <a:lnTo>
                    <a:pt x="673" y="413"/>
                  </a:lnTo>
                  <a:lnTo>
                    <a:pt x="656" y="430"/>
                  </a:lnTo>
                  <a:lnTo>
                    <a:pt x="640" y="445"/>
                  </a:lnTo>
                  <a:lnTo>
                    <a:pt x="623" y="459"/>
                  </a:lnTo>
                  <a:lnTo>
                    <a:pt x="606" y="471"/>
                  </a:lnTo>
                  <a:lnTo>
                    <a:pt x="590" y="480"/>
                  </a:lnTo>
                  <a:lnTo>
                    <a:pt x="574" y="490"/>
                  </a:lnTo>
                  <a:lnTo>
                    <a:pt x="574" y="490"/>
                  </a:lnTo>
                  <a:close/>
                  <a:moveTo>
                    <a:pt x="89" y="336"/>
                  </a:moveTo>
                  <a:lnTo>
                    <a:pt x="78" y="324"/>
                  </a:lnTo>
                  <a:lnTo>
                    <a:pt x="69" y="310"/>
                  </a:lnTo>
                  <a:lnTo>
                    <a:pt x="61" y="295"/>
                  </a:lnTo>
                  <a:lnTo>
                    <a:pt x="54" y="280"/>
                  </a:lnTo>
                  <a:lnTo>
                    <a:pt x="49" y="264"/>
                  </a:lnTo>
                  <a:lnTo>
                    <a:pt x="43" y="247"/>
                  </a:lnTo>
                  <a:lnTo>
                    <a:pt x="40" y="230"/>
                  </a:lnTo>
                  <a:lnTo>
                    <a:pt x="37" y="213"/>
                  </a:lnTo>
                  <a:lnTo>
                    <a:pt x="32" y="178"/>
                  </a:lnTo>
                  <a:lnTo>
                    <a:pt x="30" y="145"/>
                  </a:lnTo>
                  <a:lnTo>
                    <a:pt x="30" y="116"/>
                  </a:lnTo>
                  <a:lnTo>
                    <a:pt x="30" y="90"/>
                  </a:lnTo>
                  <a:lnTo>
                    <a:pt x="30" y="90"/>
                  </a:lnTo>
                  <a:lnTo>
                    <a:pt x="30" y="90"/>
                  </a:lnTo>
                  <a:lnTo>
                    <a:pt x="97" y="90"/>
                  </a:lnTo>
                  <a:lnTo>
                    <a:pt x="100" y="137"/>
                  </a:lnTo>
                  <a:lnTo>
                    <a:pt x="105" y="181"/>
                  </a:lnTo>
                  <a:lnTo>
                    <a:pt x="112" y="221"/>
                  </a:lnTo>
                  <a:lnTo>
                    <a:pt x="119" y="258"/>
                  </a:lnTo>
                  <a:lnTo>
                    <a:pt x="128" y="291"/>
                  </a:lnTo>
                  <a:lnTo>
                    <a:pt x="137" y="321"/>
                  </a:lnTo>
                  <a:lnTo>
                    <a:pt x="149" y="348"/>
                  </a:lnTo>
                  <a:lnTo>
                    <a:pt x="161" y="372"/>
                  </a:lnTo>
                  <a:lnTo>
                    <a:pt x="150" y="370"/>
                  </a:lnTo>
                  <a:lnTo>
                    <a:pt x="140" y="367"/>
                  </a:lnTo>
                  <a:lnTo>
                    <a:pt x="131" y="364"/>
                  </a:lnTo>
                  <a:lnTo>
                    <a:pt x="121" y="359"/>
                  </a:lnTo>
                  <a:lnTo>
                    <a:pt x="113" y="355"/>
                  </a:lnTo>
                  <a:lnTo>
                    <a:pt x="105" y="350"/>
                  </a:lnTo>
                  <a:lnTo>
                    <a:pt x="97" y="343"/>
                  </a:lnTo>
                  <a:lnTo>
                    <a:pt x="89" y="336"/>
                  </a:lnTo>
                  <a:lnTo>
                    <a:pt x="89" y="336"/>
                  </a:lnTo>
                  <a:close/>
                  <a:moveTo>
                    <a:pt x="898" y="86"/>
                  </a:moveTo>
                  <a:lnTo>
                    <a:pt x="898" y="80"/>
                  </a:lnTo>
                  <a:lnTo>
                    <a:pt x="898" y="75"/>
                  </a:lnTo>
                  <a:lnTo>
                    <a:pt x="898" y="72"/>
                  </a:lnTo>
                  <a:lnTo>
                    <a:pt x="897" y="70"/>
                  </a:lnTo>
                  <a:lnTo>
                    <a:pt x="895" y="66"/>
                  </a:lnTo>
                  <a:lnTo>
                    <a:pt x="893" y="64"/>
                  </a:lnTo>
                  <a:lnTo>
                    <a:pt x="891" y="62"/>
                  </a:lnTo>
                  <a:lnTo>
                    <a:pt x="889" y="61"/>
                  </a:lnTo>
                  <a:lnTo>
                    <a:pt x="886" y="60"/>
                  </a:lnTo>
                  <a:lnTo>
                    <a:pt x="883" y="60"/>
                  </a:lnTo>
                  <a:lnTo>
                    <a:pt x="802" y="60"/>
                  </a:lnTo>
                  <a:lnTo>
                    <a:pt x="803" y="49"/>
                  </a:lnTo>
                  <a:lnTo>
                    <a:pt x="803" y="37"/>
                  </a:lnTo>
                  <a:lnTo>
                    <a:pt x="803" y="27"/>
                  </a:lnTo>
                  <a:lnTo>
                    <a:pt x="803" y="15"/>
                  </a:lnTo>
                  <a:lnTo>
                    <a:pt x="803" y="12"/>
                  </a:lnTo>
                  <a:lnTo>
                    <a:pt x="802" y="10"/>
                  </a:lnTo>
                  <a:lnTo>
                    <a:pt x="801" y="6"/>
                  </a:lnTo>
                  <a:lnTo>
                    <a:pt x="799" y="4"/>
                  </a:lnTo>
                  <a:lnTo>
                    <a:pt x="797" y="2"/>
                  </a:lnTo>
                  <a:lnTo>
                    <a:pt x="795" y="1"/>
                  </a:lnTo>
                  <a:lnTo>
                    <a:pt x="792" y="0"/>
                  </a:lnTo>
                  <a:lnTo>
                    <a:pt x="789" y="0"/>
                  </a:lnTo>
                  <a:lnTo>
                    <a:pt x="111" y="0"/>
                  </a:lnTo>
                  <a:lnTo>
                    <a:pt x="107" y="0"/>
                  </a:lnTo>
                  <a:lnTo>
                    <a:pt x="104" y="1"/>
                  </a:lnTo>
                  <a:lnTo>
                    <a:pt x="102" y="2"/>
                  </a:lnTo>
                  <a:lnTo>
                    <a:pt x="100" y="4"/>
                  </a:lnTo>
                  <a:lnTo>
                    <a:pt x="98" y="6"/>
                  </a:lnTo>
                  <a:lnTo>
                    <a:pt x="97" y="10"/>
                  </a:lnTo>
                  <a:lnTo>
                    <a:pt x="96" y="12"/>
                  </a:lnTo>
                  <a:lnTo>
                    <a:pt x="96" y="15"/>
                  </a:lnTo>
                  <a:lnTo>
                    <a:pt x="96" y="27"/>
                  </a:lnTo>
                  <a:lnTo>
                    <a:pt x="96" y="37"/>
                  </a:lnTo>
                  <a:lnTo>
                    <a:pt x="96" y="49"/>
                  </a:lnTo>
                  <a:lnTo>
                    <a:pt x="96" y="60"/>
                  </a:lnTo>
                  <a:lnTo>
                    <a:pt x="15" y="60"/>
                  </a:lnTo>
                  <a:lnTo>
                    <a:pt x="12" y="60"/>
                  </a:lnTo>
                  <a:lnTo>
                    <a:pt x="10" y="61"/>
                  </a:lnTo>
                  <a:lnTo>
                    <a:pt x="7" y="62"/>
                  </a:lnTo>
                  <a:lnTo>
                    <a:pt x="5" y="64"/>
                  </a:lnTo>
                  <a:lnTo>
                    <a:pt x="4" y="66"/>
                  </a:lnTo>
                  <a:lnTo>
                    <a:pt x="1" y="70"/>
                  </a:lnTo>
                  <a:lnTo>
                    <a:pt x="1" y="72"/>
                  </a:lnTo>
                  <a:lnTo>
                    <a:pt x="0" y="75"/>
                  </a:lnTo>
                  <a:lnTo>
                    <a:pt x="0" y="82"/>
                  </a:lnTo>
                  <a:lnTo>
                    <a:pt x="0" y="90"/>
                  </a:lnTo>
                  <a:lnTo>
                    <a:pt x="0" y="117"/>
                  </a:lnTo>
                  <a:lnTo>
                    <a:pt x="0" y="149"/>
                  </a:lnTo>
                  <a:lnTo>
                    <a:pt x="1" y="166"/>
                  </a:lnTo>
                  <a:lnTo>
                    <a:pt x="3" y="184"/>
                  </a:lnTo>
                  <a:lnTo>
                    <a:pt x="5" y="202"/>
                  </a:lnTo>
                  <a:lnTo>
                    <a:pt x="8" y="220"/>
                  </a:lnTo>
                  <a:lnTo>
                    <a:pt x="11" y="240"/>
                  </a:lnTo>
                  <a:lnTo>
                    <a:pt x="15" y="258"/>
                  </a:lnTo>
                  <a:lnTo>
                    <a:pt x="21" y="277"/>
                  </a:lnTo>
                  <a:lnTo>
                    <a:pt x="28" y="294"/>
                  </a:lnTo>
                  <a:lnTo>
                    <a:pt x="36" y="311"/>
                  </a:lnTo>
                  <a:lnTo>
                    <a:pt x="45" y="328"/>
                  </a:lnTo>
                  <a:lnTo>
                    <a:pt x="56" y="343"/>
                  </a:lnTo>
                  <a:lnTo>
                    <a:pt x="68" y="357"/>
                  </a:lnTo>
                  <a:lnTo>
                    <a:pt x="80" y="368"/>
                  </a:lnTo>
                  <a:lnTo>
                    <a:pt x="91" y="376"/>
                  </a:lnTo>
                  <a:lnTo>
                    <a:pt x="104" y="384"/>
                  </a:lnTo>
                  <a:lnTo>
                    <a:pt x="118" y="390"/>
                  </a:lnTo>
                  <a:lnTo>
                    <a:pt x="132" y="396"/>
                  </a:lnTo>
                  <a:lnTo>
                    <a:pt x="147" y="400"/>
                  </a:lnTo>
                  <a:lnTo>
                    <a:pt x="163" y="402"/>
                  </a:lnTo>
                  <a:lnTo>
                    <a:pt x="179" y="403"/>
                  </a:lnTo>
                  <a:lnTo>
                    <a:pt x="195" y="425"/>
                  </a:lnTo>
                  <a:lnTo>
                    <a:pt x="211" y="443"/>
                  </a:lnTo>
                  <a:lnTo>
                    <a:pt x="227" y="459"/>
                  </a:lnTo>
                  <a:lnTo>
                    <a:pt x="243" y="473"/>
                  </a:lnTo>
                  <a:lnTo>
                    <a:pt x="260" y="486"/>
                  </a:lnTo>
                  <a:lnTo>
                    <a:pt x="276" y="497"/>
                  </a:lnTo>
                  <a:lnTo>
                    <a:pt x="293" y="507"/>
                  </a:lnTo>
                  <a:lnTo>
                    <a:pt x="308" y="517"/>
                  </a:lnTo>
                  <a:lnTo>
                    <a:pt x="328" y="528"/>
                  </a:lnTo>
                  <a:lnTo>
                    <a:pt x="345" y="539"/>
                  </a:lnTo>
                  <a:lnTo>
                    <a:pt x="352" y="545"/>
                  </a:lnTo>
                  <a:lnTo>
                    <a:pt x="359" y="551"/>
                  </a:lnTo>
                  <a:lnTo>
                    <a:pt x="366" y="557"/>
                  </a:lnTo>
                  <a:lnTo>
                    <a:pt x="371" y="564"/>
                  </a:lnTo>
                  <a:lnTo>
                    <a:pt x="377" y="570"/>
                  </a:lnTo>
                  <a:lnTo>
                    <a:pt x="382" y="578"/>
                  </a:lnTo>
                  <a:lnTo>
                    <a:pt x="385" y="585"/>
                  </a:lnTo>
                  <a:lnTo>
                    <a:pt x="390" y="594"/>
                  </a:lnTo>
                  <a:lnTo>
                    <a:pt x="392" y="603"/>
                  </a:lnTo>
                  <a:lnTo>
                    <a:pt x="394" y="614"/>
                  </a:lnTo>
                  <a:lnTo>
                    <a:pt x="395" y="625"/>
                  </a:lnTo>
                  <a:lnTo>
                    <a:pt x="395" y="636"/>
                  </a:lnTo>
                  <a:lnTo>
                    <a:pt x="395" y="660"/>
                  </a:lnTo>
                  <a:lnTo>
                    <a:pt x="393" y="681"/>
                  </a:lnTo>
                  <a:lnTo>
                    <a:pt x="390" y="699"/>
                  </a:lnTo>
                  <a:lnTo>
                    <a:pt x="385" y="717"/>
                  </a:lnTo>
                  <a:lnTo>
                    <a:pt x="380" y="730"/>
                  </a:lnTo>
                  <a:lnTo>
                    <a:pt x="374" y="743"/>
                  </a:lnTo>
                  <a:lnTo>
                    <a:pt x="366" y="754"/>
                  </a:lnTo>
                  <a:lnTo>
                    <a:pt x="358" y="764"/>
                  </a:lnTo>
                  <a:lnTo>
                    <a:pt x="348" y="771"/>
                  </a:lnTo>
                  <a:lnTo>
                    <a:pt x="338" y="778"/>
                  </a:lnTo>
                  <a:lnTo>
                    <a:pt x="327" y="783"/>
                  </a:lnTo>
                  <a:lnTo>
                    <a:pt x="314" y="786"/>
                  </a:lnTo>
                  <a:lnTo>
                    <a:pt x="301" y="789"/>
                  </a:lnTo>
                  <a:lnTo>
                    <a:pt x="287" y="791"/>
                  </a:lnTo>
                  <a:lnTo>
                    <a:pt x="271" y="793"/>
                  </a:lnTo>
                  <a:lnTo>
                    <a:pt x="255" y="793"/>
                  </a:lnTo>
                  <a:lnTo>
                    <a:pt x="252" y="793"/>
                  </a:lnTo>
                  <a:lnTo>
                    <a:pt x="250" y="794"/>
                  </a:lnTo>
                  <a:lnTo>
                    <a:pt x="246" y="795"/>
                  </a:lnTo>
                  <a:lnTo>
                    <a:pt x="244" y="797"/>
                  </a:lnTo>
                  <a:lnTo>
                    <a:pt x="242" y="799"/>
                  </a:lnTo>
                  <a:lnTo>
                    <a:pt x="241" y="802"/>
                  </a:lnTo>
                  <a:lnTo>
                    <a:pt x="240" y="804"/>
                  </a:lnTo>
                  <a:lnTo>
                    <a:pt x="240" y="807"/>
                  </a:lnTo>
                  <a:lnTo>
                    <a:pt x="240" y="882"/>
                  </a:lnTo>
                  <a:lnTo>
                    <a:pt x="240" y="886"/>
                  </a:lnTo>
                  <a:lnTo>
                    <a:pt x="241" y="888"/>
                  </a:lnTo>
                  <a:lnTo>
                    <a:pt x="242" y="891"/>
                  </a:lnTo>
                  <a:lnTo>
                    <a:pt x="244" y="893"/>
                  </a:lnTo>
                  <a:lnTo>
                    <a:pt x="246" y="894"/>
                  </a:lnTo>
                  <a:lnTo>
                    <a:pt x="250" y="896"/>
                  </a:lnTo>
                  <a:lnTo>
                    <a:pt x="252" y="897"/>
                  </a:lnTo>
                  <a:lnTo>
                    <a:pt x="255" y="897"/>
                  </a:lnTo>
                  <a:lnTo>
                    <a:pt x="643" y="897"/>
                  </a:lnTo>
                  <a:lnTo>
                    <a:pt x="646" y="897"/>
                  </a:lnTo>
                  <a:lnTo>
                    <a:pt x="649" y="896"/>
                  </a:lnTo>
                  <a:lnTo>
                    <a:pt x="652" y="894"/>
                  </a:lnTo>
                  <a:lnTo>
                    <a:pt x="654" y="893"/>
                  </a:lnTo>
                  <a:lnTo>
                    <a:pt x="656" y="891"/>
                  </a:lnTo>
                  <a:lnTo>
                    <a:pt x="657" y="888"/>
                  </a:lnTo>
                  <a:lnTo>
                    <a:pt x="658" y="886"/>
                  </a:lnTo>
                  <a:lnTo>
                    <a:pt x="658" y="882"/>
                  </a:lnTo>
                  <a:lnTo>
                    <a:pt x="658" y="807"/>
                  </a:lnTo>
                  <a:lnTo>
                    <a:pt x="658" y="804"/>
                  </a:lnTo>
                  <a:lnTo>
                    <a:pt x="657" y="802"/>
                  </a:lnTo>
                  <a:lnTo>
                    <a:pt x="656" y="799"/>
                  </a:lnTo>
                  <a:lnTo>
                    <a:pt x="654" y="797"/>
                  </a:lnTo>
                  <a:lnTo>
                    <a:pt x="652" y="795"/>
                  </a:lnTo>
                  <a:lnTo>
                    <a:pt x="649" y="794"/>
                  </a:lnTo>
                  <a:lnTo>
                    <a:pt x="646" y="793"/>
                  </a:lnTo>
                  <a:lnTo>
                    <a:pt x="643" y="793"/>
                  </a:lnTo>
                  <a:lnTo>
                    <a:pt x="626" y="791"/>
                  </a:lnTo>
                  <a:lnTo>
                    <a:pt x="610" y="790"/>
                  </a:lnTo>
                  <a:lnTo>
                    <a:pt x="594" y="787"/>
                  </a:lnTo>
                  <a:lnTo>
                    <a:pt x="580" y="783"/>
                  </a:lnTo>
                  <a:lnTo>
                    <a:pt x="567" y="778"/>
                  </a:lnTo>
                  <a:lnTo>
                    <a:pt x="555" y="771"/>
                  </a:lnTo>
                  <a:lnTo>
                    <a:pt x="545" y="764"/>
                  </a:lnTo>
                  <a:lnTo>
                    <a:pt x="535" y="755"/>
                  </a:lnTo>
                  <a:lnTo>
                    <a:pt x="528" y="744"/>
                  </a:lnTo>
                  <a:lnTo>
                    <a:pt x="520" y="733"/>
                  </a:lnTo>
                  <a:lnTo>
                    <a:pt x="515" y="720"/>
                  </a:lnTo>
                  <a:lnTo>
                    <a:pt x="509" y="706"/>
                  </a:lnTo>
                  <a:lnTo>
                    <a:pt x="505" y="691"/>
                  </a:lnTo>
                  <a:lnTo>
                    <a:pt x="503" y="674"/>
                  </a:lnTo>
                  <a:lnTo>
                    <a:pt x="501" y="657"/>
                  </a:lnTo>
                  <a:lnTo>
                    <a:pt x="501" y="637"/>
                  </a:lnTo>
                  <a:lnTo>
                    <a:pt x="501" y="625"/>
                  </a:lnTo>
                  <a:lnTo>
                    <a:pt x="502" y="614"/>
                  </a:lnTo>
                  <a:lnTo>
                    <a:pt x="504" y="603"/>
                  </a:lnTo>
                  <a:lnTo>
                    <a:pt x="507" y="594"/>
                  </a:lnTo>
                  <a:lnTo>
                    <a:pt x="510" y="585"/>
                  </a:lnTo>
                  <a:lnTo>
                    <a:pt x="515" y="578"/>
                  </a:lnTo>
                  <a:lnTo>
                    <a:pt x="519" y="570"/>
                  </a:lnTo>
                  <a:lnTo>
                    <a:pt x="524" y="563"/>
                  </a:lnTo>
                  <a:lnTo>
                    <a:pt x="531" y="556"/>
                  </a:lnTo>
                  <a:lnTo>
                    <a:pt x="537" y="550"/>
                  </a:lnTo>
                  <a:lnTo>
                    <a:pt x="545" y="544"/>
                  </a:lnTo>
                  <a:lnTo>
                    <a:pt x="552" y="539"/>
                  </a:lnTo>
                  <a:lnTo>
                    <a:pt x="569" y="527"/>
                  </a:lnTo>
                  <a:lnTo>
                    <a:pt x="589" y="516"/>
                  </a:lnTo>
                  <a:lnTo>
                    <a:pt x="605" y="506"/>
                  </a:lnTo>
                  <a:lnTo>
                    <a:pt x="621" y="496"/>
                  </a:lnTo>
                  <a:lnTo>
                    <a:pt x="637" y="484"/>
                  </a:lnTo>
                  <a:lnTo>
                    <a:pt x="654" y="473"/>
                  </a:lnTo>
                  <a:lnTo>
                    <a:pt x="670" y="459"/>
                  </a:lnTo>
                  <a:lnTo>
                    <a:pt x="687" y="443"/>
                  </a:lnTo>
                  <a:lnTo>
                    <a:pt x="703" y="425"/>
                  </a:lnTo>
                  <a:lnTo>
                    <a:pt x="718" y="403"/>
                  </a:lnTo>
                  <a:lnTo>
                    <a:pt x="734" y="402"/>
                  </a:lnTo>
                  <a:lnTo>
                    <a:pt x="750" y="400"/>
                  </a:lnTo>
                  <a:lnTo>
                    <a:pt x="764" y="396"/>
                  </a:lnTo>
                  <a:lnTo>
                    <a:pt x="778" y="390"/>
                  </a:lnTo>
                  <a:lnTo>
                    <a:pt x="792" y="384"/>
                  </a:lnTo>
                  <a:lnTo>
                    <a:pt x="805" y="376"/>
                  </a:lnTo>
                  <a:lnTo>
                    <a:pt x="816" y="368"/>
                  </a:lnTo>
                  <a:lnTo>
                    <a:pt x="827" y="357"/>
                  </a:lnTo>
                  <a:lnTo>
                    <a:pt x="833" y="350"/>
                  </a:lnTo>
                  <a:lnTo>
                    <a:pt x="840" y="342"/>
                  </a:lnTo>
                  <a:lnTo>
                    <a:pt x="846" y="335"/>
                  </a:lnTo>
                  <a:lnTo>
                    <a:pt x="852" y="326"/>
                  </a:lnTo>
                  <a:lnTo>
                    <a:pt x="861" y="309"/>
                  </a:lnTo>
                  <a:lnTo>
                    <a:pt x="869" y="291"/>
                  </a:lnTo>
                  <a:lnTo>
                    <a:pt x="876" y="272"/>
                  </a:lnTo>
                  <a:lnTo>
                    <a:pt x="882" y="252"/>
                  </a:lnTo>
                  <a:lnTo>
                    <a:pt x="887" y="233"/>
                  </a:lnTo>
                  <a:lnTo>
                    <a:pt x="890" y="214"/>
                  </a:lnTo>
                  <a:lnTo>
                    <a:pt x="893" y="195"/>
                  </a:lnTo>
                  <a:lnTo>
                    <a:pt x="895" y="175"/>
                  </a:lnTo>
                  <a:lnTo>
                    <a:pt x="897" y="157"/>
                  </a:lnTo>
                  <a:lnTo>
                    <a:pt x="898" y="140"/>
                  </a:lnTo>
                  <a:lnTo>
                    <a:pt x="898" y="110"/>
                  </a:lnTo>
                  <a:lnTo>
                    <a:pt x="898" y="8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mn-cs"/>
              </a:endParaRPr>
            </a:p>
          </p:txBody>
        </p:sp>
      </p:grpSp>
      <p:sp>
        <p:nvSpPr>
          <p:cNvPr id="50" name="Freeform 57"/>
          <p:cNvSpPr>
            <a:spLocks noEditPoints="1"/>
          </p:cNvSpPr>
          <p:nvPr/>
        </p:nvSpPr>
        <p:spPr bwMode="auto">
          <a:xfrm>
            <a:off x="2285177" y="3883505"/>
            <a:ext cx="728486" cy="728488"/>
          </a:xfrm>
          <a:custGeom>
            <a:avLst/>
            <a:gdLst>
              <a:gd name="T0" fmla="*/ 58 w 902"/>
              <a:gd name="T1" fmla="*/ 760 h 902"/>
              <a:gd name="T2" fmla="*/ 105 w 902"/>
              <a:gd name="T3" fmla="*/ 702 h 902"/>
              <a:gd name="T4" fmla="*/ 247 w 902"/>
              <a:gd name="T5" fmla="*/ 639 h 902"/>
              <a:gd name="T6" fmla="*/ 356 w 902"/>
              <a:gd name="T7" fmla="*/ 598 h 902"/>
              <a:gd name="T8" fmla="*/ 360 w 902"/>
              <a:gd name="T9" fmla="*/ 459 h 902"/>
              <a:gd name="T10" fmla="*/ 328 w 902"/>
              <a:gd name="T11" fmla="*/ 415 h 902"/>
              <a:gd name="T12" fmla="*/ 315 w 902"/>
              <a:gd name="T13" fmla="*/ 354 h 902"/>
              <a:gd name="T14" fmla="*/ 296 w 902"/>
              <a:gd name="T15" fmla="*/ 324 h 902"/>
              <a:gd name="T16" fmla="*/ 297 w 902"/>
              <a:gd name="T17" fmla="*/ 284 h 902"/>
              <a:gd name="T18" fmla="*/ 313 w 902"/>
              <a:gd name="T19" fmla="*/ 267 h 902"/>
              <a:gd name="T20" fmla="*/ 300 w 902"/>
              <a:gd name="T21" fmla="*/ 205 h 902"/>
              <a:gd name="T22" fmla="*/ 293 w 902"/>
              <a:gd name="T23" fmla="*/ 113 h 902"/>
              <a:gd name="T24" fmla="*/ 315 w 902"/>
              <a:gd name="T25" fmla="*/ 88 h 902"/>
              <a:gd name="T26" fmla="*/ 352 w 902"/>
              <a:gd name="T27" fmla="*/ 73 h 902"/>
              <a:gd name="T28" fmla="*/ 377 w 902"/>
              <a:gd name="T29" fmla="*/ 48 h 902"/>
              <a:gd name="T30" fmla="*/ 478 w 902"/>
              <a:gd name="T31" fmla="*/ 30 h 902"/>
              <a:gd name="T32" fmla="*/ 574 w 902"/>
              <a:gd name="T33" fmla="*/ 45 h 902"/>
              <a:gd name="T34" fmla="*/ 620 w 902"/>
              <a:gd name="T35" fmla="*/ 77 h 902"/>
              <a:gd name="T36" fmla="*/ 627 w 902"/>
              <a:gd name="T37" fmla="*/ 127 h 902"/>
              <a:gd name="T38" fmla="*/ 590 w 902"/>
              <a:gd name="T39" fmla="*/ 250 h 902"/>
              <a:gd name="T40" fmla="*/ 596 w 902"/>
              <a:gd name="T41" fmla="*/ 272 h 902"/>
              <a:gd name="T42" fmla="*/ 610 w 902"/>
              <a:gd name="T43" fmla="*/ 298 h 902"/>
              <a:gd name="T44" fmla="*/ 600 w 902"/>
              <a:gd name="T45" fmla="*/ 339 h 902"/>
              <a:gd name="T46" fmla="*/ 586 w 902"/>
              <a:gd name="T47" fmla="*/ 379 h 902"/>
              <a:gd name="T48" fmla="*/ 546 w 902"/>
              <a:gd name="T49" fmla="*/ 461 h 902"/>
              <a:gd name="T50" fmla="*/ 542 w 902"/>
              <a:gd name="T51" fmla="*/ 591 h 902"/>
              <a:gd name="T52" fmla="*/ 600 w 902"/>
              <a:gd name="T53" fmla="*/ 619 h 902"/>
              <a:gd name="T54" fmla="*/ 774 w 902"/>
              <a:gd name="T55" fmla="*/ 688 h 902"/>
              <a:gd name="T56" fmla="*/ 832 w 902"/>
              <a:gd name="T57" fmla="*/ 732 h 902"/>
              <a:gd name="T58" fmla="*/ 869 w 902"/>
              <a:gd name="T59" fmla="*/ 848 h 902"/>
              <a:gd name="T60" fmla="*/ 841 w 902"/>
              <a:gd name="T61" fmla="*/ 698 h 902"/>
              <a:gd name="T62" fmla="*/ 747 w 902"/>
              <a:gd name="T63" fmla="*/ 642 h 902"/>
              <a:gd name="T64" fmla="*/ 585 w 902"/>
              <a:gd name="T65" fmla="*/ 581 h 902"/>
              <a:gd name="T66" fmla="*/ 598 w 902"/>
              <a:gd name="T67" fmla="*/ 440 h 902"/>
              <a:gd name="T68" fmla="*/ 618 w 902"/>
              <a:gd name="T69" fmla="*/ 364 h 902"/>
              <a:gd name="T70" fmla="*/ 640 w 902"/>
              <a:gd name="T71" fmla="*/ 308 h 902"/>
              <a:gd name="T72" fmla="*/ 620 w 902"/>
              <a:gd name="T73" fmla="*/ 253 h 902"/>
              <a:gd name="T74" fmla="*/ 649 w 902"/>
              <a:gd name="T75" fmla="*/ 170 h 902"/>
              <a:gd name="T76" fmla="*/ 656 w 902"/>
              <a:gd name="T77" fmla="*/ 86 h 902"/>
              <a:gd name="T78" fmla="*/ 615 w 902"/>
              <a:gd name="T79" fmla="*/ 32 h 902"/>
              <a:gd name="T80" fmla="*/ 538 w 902"/>
              <a:gd name="T81" fmla="*/ 6 h 902"/>
              <a:gd name="T82" fmla="*/ 432 w 902"/>
              <a:gd name="T83" fmla="*/ 3 h 902"/>
              <a:gd name="T84" fmla="*/ 351 w 902"/>
              <a:gd name="T85" fmla="*/ 29 h 902"/>
              <a:gd name="T86" fmla="*/ 312 w 902"/>
              <a:gd name="T87" fmla="*/ 58 h 902"/>
              <a:gd name="T88" fmla="*/ 275 w 902"/>
              <a:gd name="T89" fmla="*/ 82 h 902"/>
              <a:gd name="T90" fmla="*/ 260 w 902"/>
              <a:gd name="T91" fmla="*/ 141 h 902"/>
              <a:gd name="T92" fmla="*/ 281 w 902"/>
              <a:gd name="T93" fmla="*/ 244 h 902"/>
              <a:gd name="T94" fmla="*/ 264 w 902"/>
              <a:gd name="T95" fmla="*/ 287 h 902"/>
              <a:gd name="T96" fmla="*/ 273 w 902"/>
              <a:gd name="T97" fmla="*/ 350 h 902"/>
              <a:gd name="T98" fmla="*/ 291 w 902"/>
              <a:gd name="T99" fmla="*/ 404 h 902"/>
              <a:gd name="T100" fmla="*/ 331 w 902"/>
              <a:gd name="T101" fmla="*/ 473 h 902"/>
              <a:gd name="T102" fmla="*/ 233 w 902"/>
              <a:gd name="T103" fmla="*/ 612 h 902"/>
              <a:gd name="T104" fmla="*/ 82 w 902"/>
              <a:gd name="T105" fmla="*/ 682 h 902"/>
              <a:gd name="T106" fmla="*/ 33 w 902"/>
              <a:gd name="T107" fmla="*/ 741 h 902"/>
              <a:gd name="T108" fmla="*/ 3 w 902"/>
              <a:gd name="T109" fmla="*/ 856 h 902"/>
              <a:gd name="T110" fmla="*/ 3 w 902"/>
              <a:gd name="T111" fmla="*/ 895 h 902"/>
              <a:gd name="T112" fmla="*/ 887 w 902"/>
              <a:gd name="T113" fmla="*/ 902 h 902"/>
              <a:gd name="T114" fmla="*/ 901 w 902"/>
              <a:gd name="T115" fmla="*/ 893 h 902"/>
              <a:gd name="T116" fmla="*/ 897 w 902"/>
              <a:gd name="T117" fmla="*/ 835 h 902"/>
              <a:gd name="T118" fmla="*/ 863 w 902"/>
              <a:gd name="T119" fmla="*/ 727 h 9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02" h="902">
                <a:moveTo>
                  <a:pt x="31" y="872"/>
                </a:moveTo>
                <a:lnTo>
                  <a:pt x="34" y="848"/>
                </a:lnTo>
                <a:lnTo>
                  <a:pt x="39" y="816"/>
                </a:lnTo>
                <a:lnTo>
                  <a:pt x="45" y="798"/>
                </a:lnTo>
                <a:lnTo>
                  <a:pt x="50" y="780"/>
                </a:lnTo>
                <a:lnTo>
                  <a:pt x="58" y="760"/>
                </a:lnTo>
                <a:lnTo>
                  <a:pt x="66" y="740"/>
                </a:lnTo>
                <a:lnTo>
                  <a:pt x="71" y="732"/>
                </a:lnTo>
                <a:lnTo>
                  <a:pt x="78" y="725"/>
                </a:lnTo>
                <a:lnTo>
                  <a:pt x="85" y="717"/>
                </a:lnTo>
                <a:lnTo>
                  <a:pt x="94" y="710"/>
                </a:lnTo>
                <a:lnTo>
                  <a:pt x="105" y="702"/>
                </a:lnTo>
                <a:lnTo>
                  <a:pt x="117" y="695"/>
                </a:lnTo>
                <a:lnTo>
                  <a:pt x="129" y="688"/>
                </a:lnTo>
                <a:lnTo>
                  <a:pt x="143" y="681"/>
                </a:lnTo>
                <a:lnTo>
                  <a:pt x="174" y="667"/>
                </a:lnTo>
                <a:lnTo>
                  <a:pt x="209" y="653"/>
                </a:lnTo>
                <a:lnTo>
                  <a:pt x="247" y="639"/>
                </a:lnTo>
                <a:lnTo>
                  <a:pt x="287" y="624"/>
                </a:lnTo>
                <a:lnTo>
                  <a:pt x="303" y="619"/>
                </a:lnTo>
                <a:lnTo>
                  <a:pt x="319" y="612"/>
                </a:lnTo>
                <a:lnTo>
                  <a:pt x="335" y="607"/>
                </a:lnTo>
                <a:lnTo>
                  <a:pt x="351" y="601"/>
                </a:lnTo>
                <a:lnTo>
                  <a:pt x="356" y="598"/>
                </a:lnTo>
                <a:lnTo>
                  <a:pt x="359" y="595"/>
                </a:lnTo>
                <a:lnTo>
                  <a:pt x="360" y="591"/>
                </a:lnTo>
                <a:lnTo>
                  <a:pt x="361" y="587"/>
                </a:lnTo>
                <a:lnTo>
                  <a:pt x="361" y="467"/>
                </a:lnTo>
                <a:lnTo>
                  <a:pt x="361" y="462"/>
                </a:lnTo>
                <a:lnTo>
                  <a:pt x="360" y="459"/>
                </a:lnTo>
                <a:lnTo>
                  <a:pt x="358" y="457"/>
                </a:lnTo>
                <a:lnTo>
                  <a:pt x="356" y="455"/>
                </a:lnTo>
                <a:lnTo>
                  <a:pt x="349" y="448"/>
                </a:lnTo>
                <a:lnTo>
                  <a:pt x="335" y="429"/>
                </a:lnTo>
                <a:lnTo>
                  <a:pt x="331" y="423"/>
                </a:lnTo>
                <a:lnTo>
                  <a:pt x="328" y="415"/>
                </a:lnTo>
                <a:lnTo>
                  <a:pt x="325" y="408"/>
                </a:lnTo>
                <a:lnTo>
                  <a:pt x="321" y="398"/>
                </a:lnTo>
                <a:lnTo>
                  <a:pt x="318" y="388"/>
                </a:lnTo>
                <a:lnTo>
                  <a:pt x="316" y="378"/>
                </a:lnTo>
                <a:lnTo>
                  <a:pt x="315" y="367"/>
                </a:lnTo>
                <a:lnTo>
                  <a:pt x="315" y="354"/>
                </a:lnTo>
                <a:lnTo>
                  <a:pt x="314" y="349"/>
                </a:lnTo>
                <a:lnTo>
                  <a:pt x="312" y="344"/>
                </a:lnTo>
                <a:lnTo>
                  <a:pt x="307" y="341"/>
                </a:lnTo>
                <a:lnTo>
                  <a:pt x="302" y="339"/>
                </a:lnTo>
                <a:lnTo>
                  <a:pt x="299" y="334"/>
                </a:lnTo>
                <a:lnTo>
                  <a:pt x="296" y="324"/>
                </a:lnTo>
                <a:lnTo>
                  <a:pt x="294" y="319"/>
                </a:lnTo>
                <a:lnTo>
                  <a:pt x="293" y="311"/>
                </a:lnTo>
                <a:lnTo>
                  <a:pt x="292" y="305"/>
                </a:lnTo>
                <a:lnTo>
                  <a:pt x="293" y="298"/>
                </a:lnTo>
                <a:lnTo>
                  <a:pt x="294" y="291"/>
                </a:lnTo>
                <a:lnTo>
                  <a:pt x="297" y="284"/>
                </a:lnTo>
                <a:lnTo>
                  <a:pt x="298" y="280"/>
                </a:lnTo>
                <a:lnTo>
                  <a:pt x="300" y="278"/>
                </a:lnTo>
                <a:lnTo>
                  <a:pt x="303" y="275"/>
                </a:lnTo>
                <a:lnTo>
                  <a:pt x="306" y="272"/>
                </a:lnTo>
                <a:lnTo>
                  <a:pt x="309" y="270"/>
                </a:lnTo>
                <a:lnTo>
                  <a:pt x="313" y="267"/>
                </a:lnTo>
                <a:lnTo>
                  <a:pt x="314" y="264"/>
                </a:lnTo>
                <a:lnTo>
                  <a:pt x="315" y="260"/>
                </a:lnTo>
                <a:lnTo>
                  <a:pt x="314" y="251"/>
                </a:lnTo>
                <a:lnTo>
                  <a:pt x="308" y="235"/>
                </a:lnTo>
                <a:lnTo>
                  <a:pt x="305" y="222"/>
                </a:lnTo>
                <a:lnTo>
                  <a:pt x="300" y="205"/>
                </a:lnTo>
                <a:lnTo>
                  <a:pt x="296" y="187"/>
                </a:lnTo>
                <a:lnTo>
                  <a:pt x="292" y="167"/>
                </a:lnTo>
                <a:lnTo>
                  <a:pt x="290" y="148"/>
                </a:lnTo>
                <a:lnTo>
                  <a:pt x="290" y="130"/>
                </a:lnTo>
                <a:lnTo>
                  <a:pt x="291" y="121"/>
                </a:lnTo>
                <a:lnTo>
                  <a:pt x="293" y="113"/>
                </a:lnTo>
                <a:lnTo>
                  <a:pt x="296" y="106"/>
                </a:lnTo>
                <a:lnTo>
                  <a:pt x="300" y="100"/>
                </a:lnTo>
                <a:lnTo>
                  <a:pt x="303" y="97"/>
                </a:lnTo>
                <a:lnTo>
                  <a:pt x="306" y="93"/>
                </a:lnTo>
                <a:lnTo>
                  <a:pt x="311" y="90"/>
                </a:lnTo>
                <a:lnTo>
                  <a:pt x="315" y="88"/>
                </a:lnTo>
                <a:lnTo>
                  <a:pt x="326" y="86"/>
                </a:lnTo>
                <a:lnTo>
                  <a:pt x="337" y="85"/>
                </a:lnTo>
                <a:lnTo>
                  <a:pt x="343" y="84"/>
                </a:lnTo>
                <a:lnTo>
                  <a:pt x="347" y="82"/>
                </a:lnTo>
                <a:lnTo>
                  <a:pt x="350" y="78"/>
                </a:lnTo>
                <a:lnTo>
                  <a:pt x="352" y="73"/>
                </a:lnTo>
                <a:lnTo>
                  <a:pt x="353" y="69"/>
                </a:lnTo>
                <a:lnTo>
                  <a:pt x="357" y="64"/>
                </a:lnTo>
                <a:lnTo>
                  <a:pt x="360" y="60"/>
                </a:lnTo>
                <a:lnTo>
                  <a:pt x="365" y="56"/>
                </a:lnTo>
                <a:lnTo>
                  <a:pt x="371" y="53"/>
                </a:lnTo>
                <a:lnTo>
                  <a:pt x="377" y="48"/>
                </a:lnTo>
                <a:lnTo>
                  <a:pt x="385" y="45"/>
                </a:lnTo>
                <a:lnTo>
                  <a:pt x="393" y="42"/>
                </a:lnTo>
                <a:lnTo>
                  <a:pt x="410" y="38"/>
                </a:lnTo>
                <a:lnTo>
                  <a:pt x="431" y="33"/>
                </a:lnTo>
                <a:lnTo>
                  <a:pt x="453" y="31"/>
                </a:lnTo>
                <a:lnTo>
                  <a:pt x="478" y="30"/>
                </a:lnTo>
                <a:lnTo>
                  <a:pt x="502" y="31"/>
                </a:lnTo>
                <a:lnTo>
                  <a:pt x="528" y="34"/>
                </a:lnTo>
                <a:lnTo>
                  <a:pt x="540" y="37"/>
                </a:lnTo>
                <a:lnTo>
                  <a:pt x="552" y="39"/>
                </a:lnTo>
                <a:lnTo>
                  <a:pt x="564" y="42"/>
                </a:lnTo>
                <a:lnTo>
                  <a:pt x="574" y="45"/>
                </a:lnTo>
                <a:lnTo>
                  <a:pt x="584" y="49"/>
                </a:lnTo>
                <a:lnTo>
                  <a:pt x="594" y="54"/>
                </a:lnTo>
                <a:lnTo>
                  <a:pt x="602" y="59"/>
                </a:lnTo>
                <a:lnTo>
                  <a:pt x="609" y="64"/>
                </a:lnTo>
                <a:lnTo>
                  <a:pt x="615" y="71"/>
                </a:lnTo>
                <a:lnTo>
                  <a:pt x="620" y="77"/>
                </a:lnTo>
                <a:lnTo>
                  <a:pt x="624" y="84"/>
                </a:lnTo>
                <a:lnTo>
                  <a:pt x="626" y="91"/>
                </a:lnTo>
                <a:lnTo>
                  <a:pt x="628" y="100"/>
                </a:lnTo>
                <a:lnTo>
                  <a:pt x="628" y="108"/>
                </a:lnTo>
                <a:lnTo>
                  <a:pt x="628" y="118"/>
                </a:lnTo>
                <a:lnTo>
                  <a:pt x="627" y="127"/>
                </a:lnTo>
                <a:lnTo>
                  <a:pt x="625" y="146"/>
                </a:lnTo>
                <a:lnTo>
                  <a:pt x="619" y="165"/>
                </a:lnTo>
                <a:lnTo>
                  <a:pt x="609" y="201"/>
                </a:lnTo>
                <a:lnTo>
                  <a:pt x="597" y="231"/>
                </a:lnTo>
                <a:lnTo>
                  <a:pt x="593" y="241"/>
                </a:lnTo>
                <a:lnTo>
                  <a:pt x="590" y="250"/>
                </a:lnTo>
                <a:lnTo>
                  <a:pt x="588" y="255"/>
                </a:lnTo>
                <a:lnTo>
                  <a:pt x="588" y="260"/>
                </a:lnTo>
                <a:lnTo>
                  <a:pt x="588" y="264"/>
                </a:lnTo>
                <a:lnTo>
                  <a:pt x="590" y="267"/>
                </a:lnTo>
                <a:lnTo>
                  <a:pt x="593" y="270"/>
                </a:lnTo>
                <a:lnTo>
                  <a:pt x="596" y="272"/>
                </a:lnTo>
                <a:lnTo>
                  <a:pt x="600" y="275"/>
                </a:lnTo>
                <a:lnTo>
                  <a:pt x="602" y="278"/>
                </a:lnTo>
                <a:lnTo>
                  <a:pt x="604" y="280"/>
                </a:lnTo>
                <a:lnTo>
                  <a:pt x="606" y="284"/>
                </a:lnTo>
                <a:lnTo>
                  <a:pt x="609" y="291"/>
                </a:lnTo>
                <a:lnTo>
                  <a:pt x="610" y="298"/>
                </a:lnTo>
                <a:lnTo>
                  <a:pt x="610" y="305"/>
                </a:lnTo>
                <a:lnTo>
                  <a:pt x="610" y="311"/>
                </a:lnTo>
                <a:lnTo>
                  <a:pt x="609" y="318"/>
                </a:lnTo>
                <a:lnTo>
                  <a:pt x="608" y="324"/>
                </a:lnTo>
                <a:lnTo>
                  <a:pt x="603" y="334"/>
                </a:lnTo>
                <a:lnTo>
                  <a:pt x="600" y="339"/>
                </a:lnTo>
                <a:lnTo>
                  <a:pt x="596" y="341"/>
                </a:lnTo>
                <a:lnTo>
                  <a:pt x="591" y="344"/>
                </a:lnTo>
                <a:lnTo>
                  <a:pt x="589" y="349"/>
                </a:lnTo>
                <a:lnTo>
                  <a:pt x="588" y="354"/>
                </a:lnTo>
                <a:lnTo>
                  <a:pt x="587" y="367"/>
                </a:lnTo>
                <a:lnTo>
                  <a:pt x="586" y="379"/>
                </a:lnTo>
                <a:lnTo>
                  <a:pt x="584" y="389"/>
                </a:lnTo>
                <a:lnTo>
                  <a:pt x="582" y="399"/>
                </a:lnTo>
                <a:lnTo>
                  <a:pt x="575" y="418"/>
                </a:lnTo>
                <a:lnTo>
                  <a:pt x="567" y="433"/>
                </a:lnTo>
                <a:lnTo>
                  <a:pt x="553" y="455"/>
                </a:lnTo>
                <a:lnTo>
                  <a:pt x="546" y="461"/>
                </a:lnTo>
                <a:lnTo>
                  <a:pt x="544" y="464"/>
                </a:lnTo>
                <a:lnTo>
                  <a:pt x="543" y="467"/>
                </a:lnTo>
                <a:lnTo>
                  <a:pt x="542" y="470"/>
                </a:lnTo>
                <a:lnTo>
                  <a:pt x="541" y="473"/>
                </a:lnTo>
                <a:lnTo>
                  <a:pt x="541" y="587"/>
                </a:lnTo>
                <a:lnTo>
                  <a:pt x="542" y="591"/>
                </a:lnTo>
                <a:lnTo>
                  <a:pt x="544" y="595"/>
                </a:lnTo>
                <a:lnTo>
                  <a:pt x="548" y="598"/>
                </a:lnTo>
                <a:lnTo>
                  <a:pt x="552" y="601"/>
                </a:lnTo>
                <a:lnTo>
                  <a:pt x="568" y="607"/>
                </a:lnTo>
                <a:lnTo>
                  <a:pt x="584" y="612"/>
                </a:lnTo>
                <a:lnTo>
                  <a:pt x="600" y="619"/>
                </a:lnTo>
                <a:lnTo>
                  <a:pt x="615" y="624"/>
                </a:lnTo>
                <a:lnTo>
                  <a:pt x="656" y="639"/>
                </a:lnTo>
                <a:lnTo>
                  <a:pt x="693" y="653"/>
                </a:lnTo>
                <a:lnTo>
                  <a:pt x="729" y="667"/>
                </a:lnTo>
                <a:lnTo>
                  <a:pt x="760" y="681"/>
                </a:lnTo>
                <a:lnTo>
                  <a:pt x="774" y="688"/>
                </a:lnTo>
                <a:lnTo>
                  <a:pt x="787" y="695"/>
                </a:lnTo>
                <a:lnTo>
                  <a:pt x="797" y="702"/>
                </a:lnTo>
                <a:lnTo>
                  <a:pt x="808" y="710"/>
                </a:lnTo>
                <a:lnTo>
                  <a:pt x="818" y="717"/>
                </a:lnTo>
                <a:lnTo>
                  <a:pt x="825" y="725"/>
                </a:lnTo>
                <a:lnTo>
                  <a:pt x="832" y="732"/>
                </a:lnTo>
                <a:lnTo>
                  <a:pt x="836" y="740"/>
                </a:lnTo>
                <a:lnTo>
                  <a:pt x="846" y="759"/>
                </a:lnTo>
                <a:lnTo>
                  <a:pt x="852" y="780"/>
                </a:lnTo>
                <a:lnTo>
                  <a:pt x="858" y="798"/>
                </a:lnTo>
                <a:lnTo>
                  <a:pt x="863" y="816"/>
                </a:lnTo>
                <a:lnTo>
                  <a:pt x="869" y="848"/>
                </a:lnTo>
                <a:lnTo>
                  <a:pt x="871" y="872"/>
                </a:lnTo>
                <a:lnTo>
                  <a:pt x="31" y="872"/>
                </a:lnTo>
                <a:close/>
                <a:moveTo>
                  <a:pt x="863" y="727"/>
                </a:moveTo>
                <a:lnTo>
                  <a:pt x="857" y="716"/>
                </a:lnTo>
                <a:lnTo>
                  <a:pt x="850" y="708"/>
                </a:lnTo>
                <a:lnTo>
                  <a:pt x="841" y="698"/>
                </a:lnTo>
                <a:lnTo>
                  <a:pt x="832" y="690"/>
                </a:lnTo>
                <a:lnTo>
                  <a:pt x="821" y="682"/>
                </a:lnTo>
                <a:lnTo>
                  <a:pt x="808" y="673"/>
                </a:lnTo>
                <a:lnTo>
                  <a:pt x="795" y="666"/>
                </a:lnTo>
                <a:lnTo>
                  <a:pt x="780" y="657"/>
                </a:lnTo>
                <a:lnTo>
                  <a:pt x="747" y="642"/>
                </a:lnTo>
                <a:lnTo>
                  <a:pt x="710" y="627"/>
                </a:lnTo>
                <a:lnTo>
                  <a:pt x="670" y="612"/>
                </a:lnTo>
                <a:lnTo>
                  <a:pt x="626" y="596"/>
                </a:lnTo>
                <a:lnTo>
                  <a:pt x="613" y="591"/>
                </a:lnTo>
                <a:lnTo>
                  <a:pt x="599" y="587"/>
                </a:lnTo>
                <a:lnTo>
                  <a:pt x="585" y="581"/>
                </a:lnTo>
                <a:lnTo>
                  <a:pt x="571" y="576"/>
                </a:lnTo>
                <a:lnTo>
                  <a:pt x="571" y="478"/>
                </a:lnTo>
                <a:lnTo>
                  <a:pt x="578" y="473"/>
                </a:lnTo>
                <a:lnTo>
                  <a:pt x="584" y="464"/>
                </a:lnTo>
                <a:lnTo>
                  <a:pt x="590" y="453"/>
                </a:lnTo>
                <a:lnTo>
                  <a:pt x="598" y="440"/>
                </a:lnTo>
                <a:lnTo>
                  <a:pt x="605" y="424"/>
                </a:lnTo>
                <a:lnTo>
                  <a:pt x="611" y="406"/>
                </a:lnTo>
                <a:lnTo>
                  <a:pt x="614" y="397"/>
                </a:lnTo>
                <a:lnTo>
                  <a:pt x="615" y="386"/>
                </a:lnTo>
                <a:lnTo>
                  <a:pt x="617" y="375"/>
                </a:lnTo>
                <a:lnTo>
                  <a:pt x="618" y="364"/>
                </a:lnTo>
                <a:lnTo>
                  <a:pt x="624" y="358"/>
                </a:lnTo>
                <a:lnTo>
                  <a:pt x="629" y="350"/>
                </a:lnTo>
                <a:lnTo>
                  <a:pt x="633" y="340"/>
                </a:lnTo>
                <a:lnTo>
                  <a:pt x="638" y="328"/>
                </a:lnTo>
                <a:lnTo>
                  <a:pt x="639" y="319"/>
                </a:lnTo>
                <a:lnTo>
                  <a:pt x="640" y="308"/>
                </a:lnTo>
                <a:lnTo>
                  <a:pt x="640" y="297"/>
                </a:lnTo>
                <a:lnTo>
                  <a:pt x="639" y="287"/>
                </a:lnTo>
                <a:lnTo>
                  <a:pt x="635" y="278"/>
                </a:lnTo>
                <a:lnTo>
                  <a:pt x="632" y="268"/>
                </a:lnTo>
                <a:lnTo>
                  <a:pt x="627" y="261"/>
                </a:lnTo>
                <a:lnTo>
                  <a:pt x="620" y="253"/>
                </a:lnTo>
                <a:lnTo>
                  <a:pt x="623" y="248"/>
                </a:lnTo>
                <a:lnTo>
                  <a:pt x="625" y="242"/>
                </a:lnTo>
                <a:lnTo>
                  <a:pt x="631" y="227"/>
                </a:lnTo>
                <a:lnTo>
                  <a:pt x="638" y="209"/>
                </a:lnTo>
                <a:lnTo>
                  <a:pt x="644" y="190"/>
                </a:lnTo>
                <a:lnTo>
                  <a:pt x="649" y="170"/>
                </a:lnTo>
                <a:lnTo>
                  <a:pt x="655" y="148"/>
                </a:lnTo>
                <a:lnTo>
                  <a:pt x="657" y="127"/>
                </a:lnTo>
                <a:lnTo>
                  <a:pt x="658" y="116"/>
                </a:lnTo>
                <a:lnTo>
                  <a:pt x="658" y="106"/>
                </a:lnTo>
                <a:lnTo>
                  <a:pt x="657" y="96"/>
                </a:lnTo>
                <a:lnTo>
                  <a:pt x="656" y="86"/>
                </a:lnTo>
                <a:lnTo>
                  <a:pt x="653" y="75"/>
                </a:lnTo>
                <a:lnTo>
                  <a:pt x="648" y="64"/>
                </a:lnTo>
                <a:lnTo>
                  <a:pt x="642" y="56"/>
                </a:lnTo>
                <a:lnTo>
                  <a:pt x="634" y="47"/>
                </a:lnTo>
                <a:lnTo>
                  <a:pt x="625" y="40"/>
                </a:lnTo>
                <a:lnTo>
                  <a:pt x="615" y="32"/>
                </a:lnTo>
                <a:lnTo>
                  <a:pt x="604" y="26"/>
                </a:lnTo>
                <a:lnTo>
                  <a:pt x="593" y="21"/>
                </a:lnTo>
                <a:lnTo>
                  <a:pt x="580" y="15"/>
                </a:lnTo>
                <a:lnTo>
                  <a:pt x="566" y="12"/>
                </a:lnTo>
                <a:lnTo>
                  <a:pt x="552" y="8"/>
                </a:lnTo>
                <a:lnTo>
                  <a:pt x="538" y="6"/>
                </a:lnTo>
                <a:lnTo>
                  <a:pt x="523" y="2"/>
                </a:lnTo>
                <a:lnTo>
                  <a:pt x="508" y="1"/>
                </a:lnTo>
                <a:lnTo>
                  <a:pt x="493" y="0"/>
                </a:lnTo>
                <a:lnTo>
                  <a:pt x="478" y="0"/>
                </a:lnTo>
                <a:lnTo>
                  <a:pt x="455" y="0"/>
                </a:lnTo>
                <a:lnTo>
                  <a:pt x="432" y="3"/>
                </a:lnTo>
                <a:lnTo>
                  <a:pt x="409" y="7"/>
                </a:lnTo>
                <a:lnTo>
                  <a:pt x="388" y="12"/>
                </a:lnTo>
                <a:lnTo>
                  <a:pt x="378" y="16"/>
                </a:lnTo>
                <a:lnTo>
                  <a:pt x="368" y="19"/>
                </a:lnTo>
                <a:lnTo>
                  <a:pt x="359" y="25"/>
                </a:lnTo>
                <a:lnTo>
                  <a:pt x="351" y="29"/>
                </a:lnTo>
                <a:lnTo>
                  <a:pt x="344" y="36"/>
                </a:lnTo>
                <a:lnTo>
                  <a:pt x="337" y="41"/>
                </a:lnTo>
                <a:lnTo>
                  <a:pt x="331" y="48"/>
                </a:lnTo>
                <a:lnTo>
                  <a:pt x="327" y="55"/>
                </a:lnTo>
                <a:lnTo>
                  <a:pt x="319" y="56"/>
                </a:lnTo>
                <a:lnTo>
                  <a:pt x="312" y="58"/>
                </a:lnTo>
                <a:lnTo>
                  <a:pt x="304" y="60"/>
                </a:lnTo>
                <a:lnTo>
                  <a:pt x="298" y="63"/>
                </a:lnTo>
                <a:lnTo>
                  <a:pt x="291" y="67"/>
                </a:lnTo>
                <a:lnTo>
                  <a:pt x="286" y="71"/>
                </a:lnTo>
                <a:lnTo>
                  <a:pt x="281" y="76"/>
                </a:lnTo>
                <a:lnTo>
                  <a:pt x="275" y="82"/>
                </a:lnTo>
                <a:lnTo>
                  <a:pt x="270" y="90"/>
                </a:lnTo>
                <a:lnTo>
                  <a:pt x="267" y="99"/>
                </a:lnTo>
                <a:lnTo>
                  <a:pt x="263" y="110"/>
                </a:lnTo>
                <a:lnTo>
                  <a:pt x="261" y="119"/>
                </a:lnTo>
                <a:lnTo>
                  <a:pt x="260" y="130"/>
                </a:lnTo>
                <a:lnTo>
                  <a:pt x="260" y="141"/>
                </a:lnTo>
                <a:lnTo>
                  <a:pt x="260" y="152"/>
                </a:lnTo>
                <a:lnTo>
                  <a:pt x="261" y="163"/>
                </a:lnTo>
                <a:lnTo>
                  <a:pt x="264" y="186"/>
                </a:lnTo>
                <a:lnTo>
                  <a:pt x="270" y="207"/>
                </a:lnTo>
                <a:lnTo>
                  <a:pt x="275" y="226"/>
                </a:lnTo>
                <a:lnTo>
                  <a:pt x="281" y="244"/>
                </a:lnTo>
                <a:lnTo>
                  <a:pt x="282" y="249"/>
                </a:lnTo>
                <a:lnTo>
                  <a:pt x="283" y="252"/>
                </a:lnTo>
                <a:lnTo>
                  <a:pt x="276" y="260"/>
                </a:lnTo>
                <a:lnTo>
                  <a:pt x="271" y="268"/>
                </a:lnTo>
                <a:lnTo>
                  <a:pt x="267" y="277"/>
                </a:lnTo>
                <a:lnTo>
                  <a:pt x="264" y="287"/>
                </a:lnTo>
                <a:lnTo>
                  <a:pt x="263" y="297"/>
                </a:lnTo>
                <a:lnTo>
                  <a:pt x="262" y="308"/>
                </a:lnTo>
                <a:lnTo>
                  <a:pt x="263" y="319"/>
                </a:lnTo>
                <a:lnTo>
                  <a:pt x="266" y="328"/>
                </a:lnTo>
                <a:lnTo>
                  <a:pt x="269" y="340"/>
                </a:lnTo>
                <a:lnTo>
                  <a:pt x="273" y="350"/>
                </a:lnTo>
                <a:lnTo>
                  <a:pt x="278" y="358"/>
                </a:lnTo>
                <a:lnTo>
                  <a:pt x="285" y="364"/>
                </a:lnTo>
                <a:lnTo>
                  <a:pt x="286" y="375"/>
                </a:lnTo>
                <a:lnTo>
                  <a:pt x="287" y="385"/>
                </a:lnTo>
                <a:lnTo>
                  <a:pt x="289" y="396"/>
                </a:lnTo>
                <a:lnTo>
                  <a:pt x="291" y="404"/>
                </a:lnTo>
                <a:lnTo>
                  <a:pt x="298" y="421"/>
                </a:lnTo>
                <a:lnTo>
                  <a:pt x="304" y="437"/>
                </a:lnTo>
                <a:lnTo>
                  <a:pt x="312" y="448"/>
                </a:lnTo>
                <a:lnTo>
                  <a:pt x="319" y="459"/>
                </a:lnTo>
                <a:lnTo>
                  <a:pt x="326" y="467"/>
                </a:lnTo>
                <a:lnTo>
                  <a:pt x="331" y="473"/>
                </a:lnTo>
                <a:lnTo>
                  <a:pt x="331" y="576"/>
                </a:lnTo>
                <a:lnTo>
                  <a:pt x="317" y="581"/>
                </a:lnTo>
                <a:lnTo>
                  <a:pt x="303" y="587"/>
                </a:lnTo>
                <a:lnTo>
                  <a:pt x="290" y="591"/>
                </a:lnTo>
                <a:lnTo>
                  <a:pt x="277" y="596"/>
                </a:lnTo>
                <a:lnTo>
                  <a:pt x="233" y="612"/>
                </a:lnTo>
                <a:lnTo>
                  <a:pt x="193" y="627"/>
                </a:lnTo>
                <a:lnTo>
                  <a:pt x="155" y="642"/>
                </a:lnTo>
                <a:lnTo>
                  <a:pt x="123" y="658"/>
                </a:lnTo>
                <a:lnTo>
                  <a:pt x="108" y="666"/>
                </a:lnTo>
                <a:lnTo>
                  <a:pt x="94" y="673"/>
                </a:lnTo>
                <a:lnTo>
                  <a:pt x="82" y="682"/>
                </a:lnTo>
                <a:lnTo>
                  <a:pt x="70" y="690"/>
                </a:lnTo>
                <a:lnTo>
                  <a:pt x="61" y="698"/>
                </a:lnTo>
                <a:lnTo>
                  <a:pt x="52" y="708"/>
                </a:lnTo>
                <a:lnTo>
                  <a:pt x="46" y="716"/>
                </a:lnTo>
                <a:lnTo>
                  <a:pt x="39" y="727"/>
                </a:lnTo>
                <a:lnTo>
                  <a:pt x="33" y="741"/>
                </a:lnTo>
                <a:lnTo>
                  <a:pt x="26" y="756"/>
                </a:lnTo>
                <a:lnTo>
                  <a:pt x="21" y="770"/>
                </a:lnTo>
                <a:lnTo>
                  <a:pt x="17" y="784"/>
                </a:lnTo>
                <a:lnTo>
                  <a:pt x="10" y="811"/>
                </a:lnTo>
                <a:lnTo>
                  <a:pt x="5" y="835"/>
                </a:lnTo>
                <a:lnTo>
                  <a:pt x="3" y="856"/>
                </a:lnTo>
                <a:lnTo>
                  <a:pt x="1" y="872"/>
                </a:lnTo>
                <a:lnTo>
                  <a:pt x="1" y="882"/>
                </a:lnTo>
                <a:lnTo>
                  <a:pt x="0" y="887"/>
                </a:lnTo>
                <a:lnTo>
                  <a:pt x="1" y="890"/>
                </a:lnTo>
                <a:lnTo>
                  <a:pt x="2" y="893"/>
                </a:lnTo>
                <a:lnTo>
                  <a:pt x="3" y="895"/>
                </a:lnTo>
                <a:lnTo>
                  <a:pt x="5" y="898"/>
                </a:lnTo>
                <a:lnTo>
                  <a:pt x="7" y="900"/>
                </a:lnTo>
                <a:lnTo>
                  <a:pt x="9" y="901"/>
                </a:lnTo>
                <a:lnTo>
                  <a:pt x="12" y="902"/>
                </a:lnTo>
                <a:lnTo>
                  <a:pt x="15" y="902"/>
                </a:lnTo>
                <a:lnTo>
                  <a:pt x="887" y="902"/>
                </a:lnTo>
                <a:lnTo>
                  <a:pt x="891" y="902"/>
                </a:lnTo>
                <a:lnTo>
                  <a:pt x="894" y="901"/>
                </a:lnTo>
                <a:lnTo>
                  <a:pt x="896" y="900"/>
                </a:lnTo>
                <a:lnTo>
                  <a:pt x="898" y="898"/>
                </a:lnTo>
                <a:lnTo>
                  <a:pt x="900" y="895"/>
                </a:lnTo>
                <a:lnTo>
                  <a:pt x="901" y="893"/>
                </a:lnTo>
                <a:lnTo>
                  <a:pt x="902" y="890"/>
                </a:lnTo>
                <a:lnTo>
                  <a:pt x="902" y="887"/>
                </a:lnTo>
                <a:lnTo>
                  <a:pt x="902" y="882"/>
                </a:lnTo>
                <a:lnTo>
                  <a:pt x="901" y="872"/>
                </a:lnTo>
                <a:lnTo>
                  <a:pt x="900" y="856"/>
                </a:lnTo>
                <a:lnTo>
                  <a:pt x="897" y="835"/>
                </a:lnTo>
                <a:lnTo>
                  <a:pt x="893" y="811"/>
                </a:lnTo>
                <a:lnTo>
                  <a:pt x="885" y="784"/>
                </a:lnTo>
                <a:lnTo>
                  <a:pt x="881" y="770"/>
                </a:lnTo>
                <a:lnTo>
                  <a:pt x="876" y="756"/>
                </a:lnTo>
                <a:lnTo>
                  <a:pt x="870" y="741"/>
                </a:lnTo>
                <a:lnTo>
                  <a:pt x="863" y="727"/>
                </a:lnTo>
                <a:close/>
              </a:path>
            </a:pathLst>
          </a:custGeom>
          <a:solidFill>
            <a:srgbClr val="E2583D"/>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mn-cs"/>
            </a:endParaRPr>
          </a:p>
        </p:txBody>
      </p:sp>
      <p:sp>
        <p:nvSpPr>
          <p:cNvPr id="51" name="Freeform 57"/>
          <p:cNvSpPr>
            <a:spLocks noEditPoints="1"/>
          </p:cNvSpPr>
          <p:nvPr/>
        </p:nvSpPr>
        <p:spPr bwMode="auto">
          <a:xfrm>
            <a:off x="3051082" y="3883505"/>
            <a:ext cx="728486" cy="728488"/>
          </a:xfrm>
          <a:custGeom>
            <a:avLst/>
            <a:gdLst>
              <a:gd name="T0" fmla="*/ 58 w 902"/>
              <a:gd name="T1" fmla="*/ 760 h 902"/>
              <a:gd name="T2" fmla="*/ 105 w 902"/>
              <a:gd name="T3" fmla="*/ 702 h 902"/>
              <a:gd name="T4" fmla="*/ 247 w 902"/>
              <a:gd name="T5" fmla="*/ 639 h 902"/>
              <a:gd name="T6" fmla="*/ 356 w 902"/>
              <a:gd name="T7" fmla="*/ 598 h 902"/>
              <a:gd name="T8" fmla="*/ 360 w 902"/>
              <a:gd name="T9" fmla="*/ 459 h 902"/>
              <a:gd name="T10" fmla="*/ 328 w 902"/>
              <a:gd name="T11" fmla="*/ 415 h 902"/>
              <a:gd name="T12" fmla="*/ 315 w 902"/>
              <a:gd name="T13" fmla="*/ 354 h 902"/>
              <a:gd name="T14" fmla="*/ 296 w 902"/>
              <a:gd name="T15" fmla="*/ 324 h 902"/>
              <a:gd name="T16" fmla="*/ 297 w 902"/>
              <a:gd name="T17" fmla="*/ 284 h 902"/>
              <a:gd name="T18" fmla="*/ 313 w 902"/>
              <a:gd name="T19" fmla="*/ 267 h 902"/>
              <a:gd name="T20" fmla="*/ 300 w 902"/>
              <a:gd name="T21" fmla="*/ 205 h 902"/>
              <a:gd name="T22" fmla="*/ 293 w 902"/>
              <a:gd name="T23" fmla="*/ 113 h 902"/>
              <a:gd name="T24" fmla="*/ 315 w 902"/>
              <a:gd name="T25" fmla="*/ 88 h 902"/>
              <a:gd name="T26" fmla="*/ 352 w 902"/>
              <a:gd name="T27" fmla="*/ 73 h 902"/>
              <a:gd name="T28" fmla="*/ 377 w 902"/>
              <a:gd name="T29" fmla="*/ 48 h 902"/>
              <a:gd name="T30" fmla="*/ 478 w 902"/>
              <a:gd name="T31" fmla="*/ 30 h 902"/>
              <a:gd name="T32" fmla="*/ 574 w 902"/>
              <a:gd name="T33" fmla="*/ 45 h 902"/>
              <a:gd name="T34" fmla="*/ 620 w 902"/>
              <a:gd name="T35" fmla="*/ 77 h 902"/>
              <a:gd name="T36" fmla="*/ 627 w 902"/>
              <a:gd name="T37" fmla="*/ 127 h 902"/>
              <a:gd name="T38" fmla="*/ 590 w 902"/>
              <a:gd name="T39" fmla="*/ 250 h 902"/>
              <a:gd name="T40" fmla="*/ 596 w 902"/>
              <a:gd name="T41" fmla="*/ 272 h 902"/>
              <a:gd name="T42" fmla="*/ 610 w 902"/>
              <a:gd name="T43" fmla="*/ 298 h 902"/>
              <a:gd name="T44" fmla="*/ 600 w 902"/>
              <a:gd name="T45" fmla="*/ 339 h 902"/>
              <a:gd name="T46" fmla="*/ 586 w 902"/>
              <a:gd name="T47" fmla="*/ 379 h 902"/>
              <a:gd name="T48" fmla="*/ 546 w 902"/>
              <a:gd name="T49" fmla="*/ 461 h 902"/>
              <a:gd name="T50" fmla="*/ 542 w 902"/>
              <a:gd name="T51" fmla="*/ 591 h 902"/>
              <a:gd name="T52" fmla="*/ 600 w 902"/>
              <a:gd name="T53" fmla="*/ 619 h 902"/>
              <a:gd name="T54" fmla="*/ 774 w 902"/>
              <a:gd name="T55" fmla="*/ 688 h 902"/>
              <a:gd name="T56" fmla="*/ 832 w 902"/>
              <a:gd name="T57" fmla="*/ 732 h 902"/>
              <a:gd name="T58" fmla="*/ 869 w 902"/>
              <a:gd name="T59" fmla="*/ 848 h 902"/>
              <a:gd name="T60" fmla="*/ 841 w 902"/>
              <a:gd name="T61" fmla="*/ 698 h 902"/>
              <a:gd name="T62" fmla="*/ 747 w 902"/>
              <a:gd name="T63" fmla="*/ 642 h 902"/>
              <a:gd name="T64" fmla="*/ 585 w 902"/>
              <a:gd name="T65" fmla="*/ 581 h 902"/>
              <a:gd name="T66" fmla="*/ 598 w 902"/>
              <a:gd name="T67" fmla="*/ 440 h 902"/>
              <a:gd name="T68" fmla="*/ 618 w 902"/>
              <a:gd name="T69" fmla="*/ 364 h 902"/>
              <a:gd name="T70" fmla="*/ 640 w 902"/>
              <a:gd name="T71" fmla="*/ 308 h 902"/>
              <a:gd name="T72" fmla="*/ 620 w 902"/>
              <a:gd name="T73" fmla="*/ 253 h 902"/>
              <a:gd name="T74" fmla="*/ 649 w 902"/>
              <a:gd name="T75" fmla="*/ 170 h 902"/>
              <a:gd name="T76" fmla="*/ 656 w 902"/>
              <a:gd name="T77" fmla="*/ 86 h 902"/>
              <a:gd name="T78" fmla="*/ 615 w 902"/>
              <a:gd name="T79" fmla="*/ 32 h 902"/>
              <a:gd name="T80" fmla="*/ 538 w 902"/>
              <a:gd name="T81" fmla="*/ 6 h 902"/>
              <a:gd name="T82" fmla="*/ 432 w 902"/>
              <a:gd name="T83" fmla="*/ 3 h 902"/>
              <a:gd name="T84" fmla="*/ 351 w 902"/>
              <a:gd name="T85" fmla="*/ 29 h 902"/>
              <a:gd name="T86" fmla="*/ 312 w 902"/>
              <a:gd name="T87" fmla="*/ 58 h 902"/>
              <a:gd name="T88" fmla="*/ 275 w 902"/>
              <a:gd name="T89" fmla="*/ 82 h 902"/>
              <a:gd name="T90" fmla="*/ 260 w 902"/>
              <a:gd name="T91" fmla="*/ 141 h 902"/>
              <a:gd name="T92" fmla="*/ 281 w 902"/>
              <a:gd name="T93" fmla="*/ 244 h 902"/>
              <a:gd name="T94" fmla="*/ 264 w 902"/>
              <a:gd name="T95" fmla="*/ 287 h 902"/>
              <a:gd name="T96" fmla="*/ 273 w 902"/>
              <a:gd name="T97" fmla="*/ 350 h 902"/>
              <a:gd name="T98" fmla="*/ 291 w 902"/>
              <a:gd name="T99" fmla="*/ 404 h 902"/>
              <a:gd name="T100" fmla="*/ 331 w 902"/>
              <a:gd name="T101" fmla="*/ 473 h 902"/>
              <a:gd name="T102" fmla="*/ 233 w 902"/>
              <a:gd name="T103" fmla="*/ 612 h 902"/>
              <a:gd name="T104" fmla="*/ 82 w 902"/>
              <a:gd name="T105" fmla="*/ 682 h 902"/>
              <a:gd name="T106" fmla="*/ 33 w 902"/>
              <a:gd name="T107" fmla="*/ 741 h 902"/>
              <a:gd name="T108" fmla="*/ 3 w 902"/>
              <a:gd name="T109" fmla="*/ 856 h 902"/>
              <a:gd name="T110" fmla="*/ 3 w 902"/>
              <a:gd name="T111" fmla="*/ 895 h 902"/>
              <a:gd name="T112" fmla="*/ 887 w 902"/>
              <a:gd name="T113" fmla="*/ 902 h 902"/>
              <a:gd name="T114" fmla="*/ 901 w 902"/>
              <a:gd name="T115" fmla="*/ 893 h 902"/>
              <a:gd name="T116" fmla="*/ 897 w 902"/>
              <a:gd name="T117" fmla="*/ 835 h 902"/>
              <a:gd name="T118" fmla="*/ 863 w 902"/>
              <a:gd name="T119" fmla="*/ 727 h 9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02" h="902">
                <a:moveTo>
                  <a:pt x="31" y="872"/>
                </a:moveTo>
                <a:lnTo>
                  <a:pt x="34" y="848"/>
                </a:lnTo>
                <a:lnTo>
                  <a:pt x="39" y="816"/>
                </a:lnTo>
                <a:lnTo>
                  <a:pt x="45" y="798"/>
                </a:lnTo>
                <a:lnTo>
                  <a:pt x="50" y="780"/>
                </a:lnTo>
                <a:lnTo>
                  <a:pt x="58" y="760"/>
                </a:lnTo>
                <a:lnTo>
                  <a:pt x="66" y="740"/>
                </a:lnTo>
                <a:lnTo>
                  <a:pt x="71" y="732"/>
                </a:lnTo>
                <a:lnTo>
                  <a:pt x="78" y="725"/>
                </a:lnTo>
                <a:lnTo>
                  <a:pt x="85" y="717"/>
                </a:lnTo>
                <a:lnTo>
                  <a:pt x="94" y="710"/>
                </a:lnTo>
                <a:lnTo>
                  <a:pt x="105" y="702"/>
                </a:lnTo>
                <a:lnTo>
                  <a:pt x="117" y="695"/>
                </a:lnTo>
                <a:lnTo>
                  <a:pt x="129" y="688"/>
                </a:lnTo>
                <a:lnTo>
                  <a:pt x="143" y="681"/>
                </a:lnTo>
                <a:lnTo>
                  <a:pt x="174" y="667"/>
                </a:lnTo>
                <a:lnTo>
                  <a:pt x="209" y="653"/>
                </a:lnTo>
                <a:lnTo>
                  <a:pt x="247" y="639"/>
                </a:lnTo>
                <a:lnTo>
                  <a:pt x="287" y="624"/>
                </a:lnTo>
                <a:lnTo>
                  <a:pt x="303" y="619"/>
                </a:lnTo>
                <a:lnTo>
                  <a:pt x="319" y="612"/>
                </a:lnTo>
                <a:lnTo>
                  <a:pt x="335" y="607"/>
                </a:lnTo>
                <a:lnTo>
                  <a:pt x="351" y="601"/>
                </a:lnTo>
                <a:lnTo>
                  <a:pt x="356" y="598"/>
                </a:lnTo>
                <a:lnTo>
                  <a:pt x="359" y="595"/>
                </a:lnTo>
                <a:lnTo>
                  <a:pt x="360" y="591"/>
                </a:lnTo>
                <a:lnTo>
                  <a:pt x="361" y="587"/>
                </a:lnTo>
                <a:lnTo>
                  <a:pt x="361" y="467"/>
                </a:lnTo>
                <a:lnTo>
                  <a:pt x="361" y="462"/>
                </a:lnTo>
                <a:lnTo>
                  <a:pt x="360" y="459"/>
                </a:lnTo>
                <a:lnTo>
                  <a:pt x="358" y="457"/>
                </a:lnTo>
                <a:lnTo>
                  <a:pt x="356" y="455"/>
                </a:lnTo>
                <a:lnTo>
                  <a:pt x="349" y="448"/>
                </a:lnTo>
                <a:lnTo>
                  <a:pt x="335" y="429"/>
                </a:lnTo>
                <a:lnTo>
                  <a:pt x="331" y="423"/>
                </a:lnTo>
                <a:lnTo>
                  <a:pt x="328" y="415"/>
                </a:lnTo>
                <a:lnTo>
                  <a:pt x="325" y="408"/>
                </a:lnTo>
                <a:lnTo>
                  <a:pt x="321" y="398"/>
                </a:lnTo>
                <a:lnTo>
                  <a:pt x="318" y="388"/>
                </a:lnTo>
                <a:lnTo>
                  <a:pt x="316" y="378"/>
                </a:lnTo>
                <a:lnTo>
                  <a:pt x="315" y="367"/>
                </a:lnTo>
                <a:lnTo>
                  <a:pt x="315" y="354"/>
                </a:lnTo>
                <a:lnTo>
                  <a:pt x="314" y="349"/>
                </a:lnTo>
                <a:lnTo>
                  <a:pt x="312" y="344"/>
                </a:lnTo>
                <a:lnTo>
                  <a:pt x="307" y="341"/>
                </a:lnTo>
                <a:lnTo>
                  <a:pt x="302" y="339"/>
                </a:lnTo>
                <a:lnTo>
                  <a:pt x="299" y="334"/>
                </a:lnTo>
                <a:lnTo>
                  <a:pt x="296" y="324"/>
                </a:lnTo>
                <a:lnTo>
                  <a:pt x="294" y="319"/>
                </a:lnTo>
                <a:lnTo>
                  <a:pt x="293" y="311"/>
                </a:lnTo>
                <a:lnTo>
                  <a:pt x="292" y="305"/>
                </a:lnTo>
                <a:lnTo>
                  <a:pt x="293" y="298"/>
                </a:lnTo>
                <a:lnTo>
                  <a:pt x="294" y="291"/>
                </a:lnTo>
                <a:lnTo>
                  <a:pt x="297" y="284"/>
                </a:lnTo>
                <a:lnTo>
                  <a:pt x="298" y="280"/>
                </a:lnTo>
                <a:lnTo>
                  <a:pt x="300" y="278"/>
                </a:lnTo>
                <a:lnTo>
                  <a:pt x="303" y="275"/>
                </a:lnTo>
                <a:lnTo>
                  <a:pt x="306" y="272"/>
                </a:lnTo>
                <a:lnTo>
                  <a:pt x="309" y="270"/>
                </a:lnTo>
                <a:lnTo>
                  <a:pt x="313" y="267"/>
                </a:lnTo>
                <a:lnTo>
                  <a:pt x="314" y="264"/>
                </a:lnTo>
                <a:lnTo>
                  <a:pt x="315" y="260"/>
                </a:lnTo>
                <a:lnTo>
                  <a:pt x="314" y="251"/>
                </a:lnTo>
                <a:lnTo>
                  <a:pt x="308" y="235"/>
                </a:lnTo>
                <a:lnTo>
                  <a:pt x="305" y="222"/>
                </a:lnTo>
                <a:lnTo>
                  <a:pt x="300" y="205"/>
                </a:lnTo>
                <a:lnTo>
                  <a:pt x="296" y="187"/>
                </a:lnTo>
                <a:lnTo>
                  <a:pt x="292" y="167"/>
                </a:lnTo>
                <a:lnTo>
                  <a:pt x="290" y="148"/>
                </a:lnTo>
                <a:lnTo>
                  <a:pt x="290" y="130"/>
                </a:lnTo>
                <a:lnTo>
                  <a:pt x="291" y="121"/>
                </a:lnTo>
                <a:lnTo>
                  <a:pt x="293" y="113"/>
                </a:lnTo>
                <a:lnTo>
                  <a:pt x="296" y="106"/>
                </a:lnTo>
                <a:lnTo>
                  <a:pt x="300" y="100"/>
                </a:lnTo>
                <a:lnTo>
                  <a:pt x="303" y="97"/>
                </a:lnTo>
                <a:lnTo>
                  <a:pt x="306" y="93"/>
                </a:lnTo>
                <a:lnTo>
                  <a:pt x="311" y="90"/>
                </a:lnTo>
                <a:lnTo>
                  <a:pt x="315" y="88"/>
                </a:lnTo>
                <a:lnTo>
                  <a:pt x="326" y="86"/>
                </a:lnTo>
                <a:lnTo>
                  <a:pt x="337" y="85"/>
                </a:lnTo>
                <a:lnTo>
                  <a:pt x="343" y="84"/>
                </a:lnTo>
                <a:lnTo>
                  <a:pt x="347" y="82"/>
                </a:lnTo>
                <a:lnTo>
                  <a:pt x="350" y="78"/>
                </a:lnTo>
                <a:lnTo>
                  <a:pt x="352" y="73"/>
                </a:lnTo>
                <a:lnTo>
                  <a:pt x="353" y="69"/>
                </a:lnTo>
                <a:lnTo>
                  <a:pt x="357" y="64"/>
                </a:lnTo>
                <a:lnTo>
                  <a:pt x="360" y="60"/>
                </a:lnTo>
                <a:lnTo>
                  <a:pt x="365" y="56"/>
                </a:lnTo>
                <a:lnTo>
                  <a:pt x="371" y="53"/>
                </a:lnTo>
                <a:lnTo>
                  <a:pt x="377" y="48"/>
                </a:lnTo>
                <a:lnTo>
                  <a:pt x="385" y="45"/>
                </a:lnTo>
                <a:lnTo>
                  <a:pt x="393" y="42"/>
                </a:lnTo>
                <a:lnTo>
                  <a:pt x="410" y="38"/>
                </a:lnTo>
                <a:lnTo>
                  <a:pt x="431" y="33"/>
                </a:lnTo>
                <a:lnTo>
                  <a:pt x="453" y="31"/>
                </a:lnTo>
                <a:lnTo>
                  <a:pt x="478" y="30"/>
                </a:lnTo>
                <a:lnTo>
                  <a:pt x="502" y="31"/>
                </a:lnTo>
                <a:lnTo>
                  <a:pt x="528" y="34"/>
                </a:lnTo>
                <a:lnTo>
                  <a:pt x="540" y="37"/>
                </a:lnTo>
                <a:lnTo>
                  <a:pt x="552" y="39"/>
                </a:lnTo>
                <a:lnTo>
                  <a:pt x="564" y="42"/>
                </a:lnTo>
                <a:lnTo>
                  <a:pt x="574" y="45"/>
                </a:lnTo>
                <a:lnTo>
                  <a:pt x="584" y="49"/>
                </a:lnTo>
                <a:lnTo>
                  <a:pt x="594" y="54"/>
                </a:lnTo>
                <a:lnTo>
                  <a:pt x="602" y="59"/>
                </a:lnTo>
                <a:lnTo>
                  <a:pt x="609" y="64"/>
                </a:lnTo>
                <a:lnTo>
                  <a:pt x="615" y="71"/>
                </a:lnTo>
                <a:lnTo>
                  <a:pt x="620" y="77"/>
                </a:lnTo>
                <a:lnTo>
                  <a:pt x="624" y="84"/>
                </a:lnTo>
                <a:lnTo>
                  <a:pt x="626" y="91"/>
                </a:lnTo>
                <a:lnTo>
                  <a:pt x="628" y="100"/>
                </a:lnTo>
                <a:lnTo>
                  <a:pt x="628" y="108"/>
                </a:lnTo>
                <a:lnTo>
                  <a:pt x="628" y="118"/>
                </a:lnTo>
                <a:lnTo>
                  <a:pt x="627" y="127"/>
                </a:lnTo>
                <a:lnTo>
                  <a:pt x="625" y="146"/>
                </a:lnTo>
                <a:lnTo>
                  <a:pt x="619" y="165"/>
                </a:lnTo>
                <a:lnTo>
                  <a:pt x="609" y="201"/>
                </a:lnTo>
                <a:lnTo>
                  <a:pt x="597" y="231"/>
                </a:lnTo>
                <a:lnTo>
                  <a:pt x="593" y="241"/>
                </a:lnTo>
                <a:lnTo>
                  <a:pt x="590" y="250"/>
                </a:lnTo>
                <a:lnTo>
                  <a:pt x="588" y="255"/>
                </a:lnTo>
                <a:lnTo>
                  <a:pt x="588" y="260"/>
                </a:lnTo>
                <a:lnTo>
                  <a:pt x="588" y="264"/>
                </a:lnTo>
                <a:lnTo>
                  <a:pt x="590" y="267"/>
                </a:lnTo>
                <a:lnTo>
                  <a:pt x="593" y="270"/>
                </a:lnTo>
                <a:lnTo>
                  <a:pt x="596" y="272"/>
                </a:lnTo>
                <a:lnTo>
                  <a:pt x="600" y="275"/>
                </a:lnTo>
                <a:lnTo>
                  <a:pt x="602" y="278"/>
                </a:lnTo>
                <a:lnTo>
                  <a:pt x="604" y="280"/>
                </a:lnTo>
                <a:lnTo>
                  <a:pt x="606" y="284"/>
                </a:lnTo>
                <a:lnTo>
                  <a:pt x="609" y="291"/>
                </a:lnTo>
                <a:lnTo>
                  <a:pt x="610" y="298"/>
                </a:lnTo>
                <a:lnTo>
                  <a:pt x="610" y="305"/>
                </a:lnTo>
                <a:lnTo>
                  <a:pt x="610" y="311"/>
                </a:lnTo>
                <a:lnTo>
                  <a:pt x="609" y="318"/>
                </a:lnTo>
                <a:lnTo>
                  <a:pt x="608" y="324"/>
                </a:lnTo>
                <a:lnTo>
                  <a:pt x="603" y="334"/>
                </a:lnTo>
                <a:lnTo>
                  <a:pt x="600" y="339"/>
                </a:lnTo>
                <a:lnTo>
                  <a:pt x="596" y="341"/>
                </a:lnTo>
                <a:lnTo>
                  <a:pt x="591" y="344"/>
                </a:lnTo>
                <a:lnTo>
                  <a:pt x="589" y="349"/>
                </a:lnTo>
                <a:lnTo>
                  <a:pt x="588" y="354"/>
                </a:lnTo>
                <a:lnTo>
                  <a:pt x="587" y="367"/>
                </a:lnTo>
                <a:lnTo>
                  <a:pt x="586" y="379"/>
                </a:lnTo>
                <a:lnTo>
                  <a:pt x="584" y="389"/>
                </a:lnTo>
                <a:lnTo>
                  <a:pt x="582" y="399"/>
                </a:lnTo>
                <a:lnTo>
                  <a:pt x="575" y="418"/>
                </a:lnTo>
                <a:lnTo>
                  <a:pt x="567" y="433"/>
                </a:lnTo>
                <a:lnTo>
                  <a:pt x="553" y="455"/>
                </a:lnTo>
                <a:lnTo>
                  <a:pt x="546" y="461"/>
                </a:lnTo>
                <a:lnTo>
                  <a:pt x="544" y="464"/>
                </a:lnTo>
                <a:lnTo>
                  <a:pt x="543" y="467"/>
                </a:lnTo>
                <a:lnTo>
                  <a:pt x="542" y="470"/>
                </a:lnTo>
                <a:lnTo>
                  <a:pt x="541" y="473"/>
                </a:lnTo>
                <a:lnTo>
                  <a:pt x="541" y="587"/>
                </a:lnTo>
                <a:lnTo>
                  <a:pt x="542" y="591"/>
                </a:lnTo>
                <a:lnTo>
                  <a:pt x="544" y="595"/>
                </a:lnTo>
                <a:lnTo>
                  <a:pt x="548" y="598"/>
                </a:lnTo>
                <a:lnTo>
                  <a:pt x="552" y="601"/>
                </a:lnTo>
                <a:lnTo>
                  <a:pt x="568" y="607"/>
                </a:lnTo>
                <a:lnTo>
                  <a:pt x="584" y="612"/>
                </a:lnTo>
                <a:lnTo>
                  <a:pt x="600" y="619"/>
                </a:lnTo>
                <a:lnTo>
                  <a:pt x="615" y="624"/>
                </a:lnTo>
                <a:lnTo>
                  <a:pt x="656" y="639"/>
                </a:lnTo>
                <a:lnTo>
                  <a:pt x="693" y="653"/>
                </a:lnTo>
                <a:lnTo>
                  <a:pt x="729" y="667"/>
                </a:lnTo>
                <a:lnTo>
                  <a:pt x="760" y="681"/>
                </a:lnTo>
                <a:lnTo>
                  <a:pt x="774" y="688"/>
                </a:lnTo>
                <a:lnTo>
                  <a:pt x="787" y="695"/>
                </a:lnTo>
                <a:lnTo>
                  <a:pt x="797" y="702"/>
                </a:lnTo>
                <a:lnTo>
                  <a:pt x="808" y="710"/>
                </a:lnTo>
                <a:lnTo>
                  <a:pt x="818" y="717"/>
                </a:lnTo>
                <a:lnTo>
                  <a:pt x="825" y="725"/>
                </a:lnTo>
                <a:lnTo>
                  <a:pt x="832" y="732"/>
                </a:lnTo>
                <a:lnTo>
                  <a:pt x="836" y="740"/>
                </a:lnTo>
                <a:lnTo>
                  <a:pt x="846" y="759"/>
                </a:lnTo>
                <a:lnTo>
                  <a:pt x="852" y="780"/>
                </a:lnTo>
                <a:lnTo>
                  <a:pt x="858" y="798"/>
                </a:lnTo>
                <a:lnTo>
                  <a:pt x="863" y="816"/>
                </a:lnTo>
                <a:lnTo>
                  <a:pt x="869" y="848"/>
                </a:lnTo>
                <a:lnTo>
                  <a:pt x="871" y="872"/>
                </a:lnTo>
                <a:lnTo>
                  <a:pt x="31" y="872"/>
                </a:lnTo>
                <a:close/>
                <a:moveTo>
                  <a:pt x="863" y="727"/>
                </a:moveTo>
                <a:lnTo>
                  <a:pt x="857" y="716"/>
                </a:lnTo>
                <a:lnTo>
                  <a:pt x="850" y="708"/>
                </a:lnTo>
                <a:lnTo>
                  <a:pt x="841" y="698"/>
                </a:lnTo>
                <a:lnTo>
                  <a:pt x="832" y="690"/>
                </a:lnTo>
                <a:lnTo>
                  <a:pt x="821" y="682"/>
                </a:lnTo>
                <a:lnTo>
                  <a:pt x="808" y="673"/>
                </a:lnTo>
                <a:lnTo>
                  <a:pt x="795" y="666"/>
                </a:lnTo>
                <a:lnTo>
                  <a:pt x="780" y="657"/>
                </a:lnTo>
                <a:lnTo>
                  <a:pt x="747" y="642"/>
                </a:lnTo>
                <a:lnTo>
                  <a:pt x="710" y="627"/>
                </a:lnTo>
                <a:lnTo>
                  <a:pt x="670" y="612"/>
                </a:lnTo>
                <a:lnTo>
                  <a:pt x="626" y="596"/>
                </a:lnTo>
                <a:lnTo>
                  <a:pt x="613" y="591"/>
                </a:lnTo>
                <a:lnTo>
                  <a:pt x="599" y="587"/>
                </a:lnTo>
                <a:lnTo>
                  <a:pt x="585" y="581"/>
                </a:lnTo>
                <a:lnTo>
                  <a:pt x="571" y="576"/>
                </a:lnTo>
                <a:lnTo>
                  <a:pt x="571" y="478"/>
                </a:lnTo>
                <a:lnTo>
                  <a:pt x="578" y="473"/>
                </a:lnTo>
                <a:lnTo>
                  <a:pt x="584" y="464"/>
                </a:lnTo>
                <a:lnTo>
                  <a:pt x="590" y="453"/>
                </a:lnTo>
                <a:lnTo>
                  <a:pt x="598" y="440"/>
                </a:lnTo>
                <a:lnTo>
                  <a:pt x="605" y="424"/>
                </a:lnTo>
                <a:lnTo>
                  <a:pt x="611" y="406"/>
                </a:lnTo>
                <a:lnTo>
                  <a:pt x="614" y="397"/>
                </a:lnTo>
                <a:lnTo>
                  <a:pt x="615" y="386"/>
                </a:lnTo>
                <a:lnTo>
                  <a:pt x="617" y="375"/>
                </a:lnTo>
                <a:lnTo>
                  <a:pt x="618" y="364"/>
                </a:lnTo>
                <a:lnTo>
                  <a:pt x="624" y="358"/>
                </a:lnTo>
                <a:lnTo>
                  <a:pt x="629" y="350"/>
                </a:lnTo>
                <a:lnTo>
                  <a:pt x="633" y="340"/>
                </a:lnTo>
                <a:lnTo>
                  <a:pt x="638" y="328"/>
                </a:lnTo>
                <a:lnTo>
                  <a:pt x="639" y="319"/>
                </a:lnTo>
                <a:lnTo>
                  <a:pt x="640" y="308"/>
                </a:lnTo>
                <a:lnTo>
                  <a:pt x="640" y="297"/>
                </a:lnTo>
                <a:lnTo>
                  <a:pt x="639" y="287"/>
                </a:lnTo>
                <a:lnTo>
                  <a:pt x="635" y="278"/>
                </a:lnTo>
                <a:lnTo>
                  <a:pt x="632" y="268"/>
                </a:lnTo>
                <a:lnTo>
                  <a:pt x="627" y="261"/>
                </a:lnTo>
                <a:lnTo>
                  <a:pt x="620" y="253"/>
                </a:lnTo>
                <a:lnTo>
                  <a:pt x="623" y="248"/>
                </a:lnTo>
                <a:lnTo>
                  <a:pt x="625" y="242"/>
                </a:lnTo>
                <a:lnTo>
                  <a:pt x="631" y="227"/>
                </a:lnTo>
                <a:lnTo>
                  <a:pt x="638" y="209"/>
                </a:lnTo>
                <a:lnTo>
                  <a:pt x="644" y="190"/>
                </a:lnTo>
                <a:lnTo>
                  <a:pt x="649" y="170"/>
                </a:lnTo>
                <a:lnTo>
                  <a:pt x="655" y="148"/>
                </a:lnTo>
                <a:lnTo>
                  <a:pt x="657" y="127"/>
                </a:lnTo>
                <a:lnTo>
                  <a:pt x="658" y="116"/>
                </a:lnTo>
                <a:lnTo>
                  <a:pt x="658" y="106"/>
                </a:lnTo>
                <a:lnTo>
                  <a:pt x="657" y="96"/>
                </a:lnTo>
                <a:lnTo>
                  <a:pt x="656" y="86"/>
                </a:lnTo>
                <a:lnTo>
                  <a:pt x="653" y="75"/>
                </a:lnTo>
                <a:lnTo>
                  <a:pt x="648" y="64"/>
                </a:lnTo>
                <a:lnTo>
                  <a:pt x="642" y="56"/>
                </a:lnTo>
                <a:lnTo>
                  <a:pt x="634" y="47"/>
                </a:lnTo>
                <a:lnTo>
                  <a:pt x="625" y="40"/>
                </a:lnTo>
                <a:lnTo>
                  <a:pt x="615" y="32"/>
                </a:lnTo>
                <a:lnTo>
                  <a:pt x="604" y="26"/>
                </a:lnTo>
                <a:lnTo>
                  <a:pt x="593" y="21"/>
                </a:lnTo>
                <a:lnTo>
                  <a:pt x="580" y="15"/>
                </a:lnTo>
                <a:lnTo>
                  <a:pt x="566" y="12"/>
                </a:lnTo>
                <a:lnTo>
                  <a:pt x="552" y="8"/>
                </a:lnTo>
                <a:lnTo>
                  <a:pt x="538" y="6"/>
                </a:lnTo>
                <a:lnTo>
                  <a:pt x="523" y="2"/>
                </a:lnTo>
                <a:lnTo>
                  <a:pt x="508" y="1"/>
                </a:lnTo>
                <a:lnTo>
                  <a:pt x="493" y="0"/>
                </a:lnTo>
                <a:lnTo>
                  <a:pt x="478" y="0"/>
                </a:lnTo>
                <a:lnTo>
                  <a:pt x="455" y="0"/>
                </a:lnTo>
                <a:lnTo>
                  <a:pt x="432" y="3"/>
                </a:lnTo>
                <a:lnTo>
                  <a:pt x="409" y="7"/>
                </a:lnTo>
                <a:lnTo>
                  <a:pt x="388" y="12"/>
                </a:lnTo>
                <a:lnTo>
                  <a:pt x="378" y="16"/>
                </a:lnTo>
                <a:lnTo>
                  <a:pt x="368" y="19"/>
                </a:lnTo>
                <a:lnTo>
                  <a:pt x="359" y="25"/>
                </a:lnTo>
                <a:lnTo>
                  <a:pt x="351" y="29"/>
                </a:lnTo>
                <a:lnTo>
                  <a:pt x="344" y="36"/>
                </a:lnTo>
                <a:lnTo>
                  <a:pt x="337" y="41"/>
                </a:lnTo>
                <a:lnTo>
                  <a:pt x="331" y="48"/>
                </a:lnTo>
                <a:lnTo>
                  <a:pt x="327" y="55"/>
                </a:lnTo>
                <a:lnTo>
                  <a:pt x="319" y="56"/>
                </a:lnTo>
                <a:lnTo>
                  <a:pt x="312" y="58"/>
                </a:lnTo>
                <a:lnTo>
                  <a:pt x="304" y="60"/>
                </a:lnTo>
                <a:lnTo>
                  <a:pt x="298" y="63"/>
                </a:lnTo>
                <a:lnTo>
                  <a:pt x="291" y="67"/>
                </a:lnTo>
                <a:lnTo>
                  <a:pt x="286" y="71"/>
                </a:lnTo>
                <a:lnTo>
                  <a:pt x="281" y="76"/>
                </a:lnTo>
                <a:lnTo>
                  <a:pt x="275" y="82"/>
                </a:lnTo>
                <a:lnTo>
                  <a:pt x="270" y="90"/>
                </a:lnTo>
                <a:lnTo>
                  <a:pt x="267" y="99"/>
                </a:lnTo>
                <a:lnTo>
                  <a:pt x="263" y="110"/>
                </a:lnTo>
                <a:lnTo>
                  <a:pt x="261" y="119"/>
                </a:lnTo>
                <a:lnTo>
                  <a:pt x="260" y="130"/>
                </a:lnTo>
                <a:lnTo>
                  <a:pt x="260" y="141"/>
                </a:lnTo>
                <a:lnTo>
                  <a:pt x="260" y="152"/>
                </a:lnTo>
                <a:lnTo>
                  <a:pt x="261" y="163"/>
                </a:lnTo>
                <a:lnTo>
                  <a:pt x="264" y="186"/>
                </a:lnTo>
                <a:lnTo>
                  <a:pt x="270" y="207"/>
                </a:lnTo>
                <a:lnTo>
                  <a:pt x="275" y="226"/>
                </a:lnTo>
                <a:lnTo>
                  <a:pt x="281" y="244"/>
                </a:lnTo>
                <a:lnTo>
                  <a:pt x="282" y="249"/>
                </a:lnTo>
                <a:lnTo>
                  <a:pt x="283" y="252"/>
                </a:lnTo>
                <a:lnTo>
                  <a:pt x="276" y="260"/>
                </a:lnTo>
                <a:lnTo>
                  <a:pt x="271" y="268"/>
                </a:lnTo>
                <a:lnTo>
                  <a:pt x="267" y="277"/>
                </a:lnTo>
                <a:lnTo>
                  <a:pt x="264" y="287"/>
                </a:lnTo>
                <a:lnTo>
                  <a:pt x="263" y="297"/>
                </a:lnTo>
                <a:lnTo>
                  <a:pt x="262" y="308"/>
                </a:lnTo>
                <a:lnTo>
                  <a:pt x="263" y="319"/>
                </a:lnTo>
                <a:lnTo>
                  <a:pt x="266" y="328"/>
                </a:lnTo>
                <a:lnTo>
                  <a:pt x="269" y="340"/>
                </a:lnTo>
                <a:lnTo>
                  <a:pt x="273" y="350"/>
                </a:lnTo>
                <a:lnTo>
                  <a:pt x="278" y="358"/>
                </a:lnTo>
                <a:lnTo>
                  <a:pt x="285" y="364"/>
                </a:lnTo>
                <a:lnTo>
                  <a:pt x="286" y="375"/>
                </a:lnTo>
                <a:lnTo>
                  <a:pt x="287" y="385"/>
                </a:lnTo>
                <a:lnTo>
                  <a:pt x="289" y="396"/>
                </a:lnTo>
                <a:lnTo>
                  <a:pt x="291" y="404"/>
                </a:lnTo>
                <a:lnTo>
                  <a:pt x="298" y="421"/>
                </a:lnTo>
                <a:lnTo>
                  <a:pt x="304" y="437"/>
                </a:lnTo>
                <a:lnTo>
                  <a:pt x="312" y="448"/>
                </a:lnTo>
                <a:lnTo>
                  <a:pt x="319" y="459"/>
                </a:lnTo>
                <a:lnTo>
                  <a:pt x="326" y="467"/>
                </a:lnTo>
                <a:lnTo>
                  <a:pt x="331" y="473"/>
                </a:lnTo>
                <a:lnTo>
                  <a:pt x="331" y="576"/>
                </a:lnTo>
                <a:lnTo>
                  <a:pt x="317" y="581"/>
                </a:lnTo>
                <a:lnTo>
                  <a:pt x="303" y="587"/>
                </a:lnTo>
                <a:lnTo>
                  <a:pt x="290" y="591"/>
                </a:lnTo>
                <a:lnTo>
                  <a:pt x="277" y="596"/>
                </a:lnTo>
                <a:lnTo>
                  <a:pt x="233" y="612"/>
                </a:lnTo>
                <a:lnTo>
                  <a:pt x="193" y="627"/>
                </a:lnTo>
                <a:lnTo>
                  <a:pt x="155" y="642"/>
                </a:lnTo>
                <a:lnTo>
                  <a:pt x="123" y="658"/>
                </a:lnTo>
                <a:lnTo>
                  <a:pt x="108" y="666"/>
                </a:lnTo>
                <a:lnTo>
                  <a:pt x="94" y="673"/>
                </a:lnTo>
                <a:lnTo>
                  <a:pt x="82" y="682"/>
                </a:lnTo>
                <a:lnTo>
                  <a:pt x="70" y="690"/>
                </a:lnTo>
                <a:lnTo>
                  <a:pt x="61" y="698"/>
                </a:lnTo>
                <a:lnTo>
                  <a:pt x="52" y="708"/>
                </a:lnTo>
                <a:lnTo>
                  <a:pt x="46" y="716"/>
                </a:lnTo>
                <a:lnTo>
                  <a:pt x="39" y="727"/>
                </a:lnTo>
                <a:lnTo>
                  <a:pt x="33" y="741"/>
                </a:lnTo>
                <a:lnTo>
                  <a:pt x="26" y="756"/>
                </a:lnTo>
                <a:lnTo>
                  <a:pt x="21" y="770"/>
                </a:lnTo>
                <a:lnTo>
                  <a:pt x="17" y="784"/>
                </a:lnTo>
                <a:lnTo>
                  <a:pt x="10" y="811"/>
                </a:lnTo>
                <a:lnTo>
                  <a:pt x="5" y="835"/>
                </a:lnTo>
                <a:lnTo>
                  <a:pt x="3" y="856"/>
                </a:lnTo>
                <a:lnTo>
                  <a:pt x="1" y="872"/>
                </a:lnTo>
                <a:lnTo>
                  <a:pt x="1" y="882"/>
                </a:lnTo>
                <a:lnTo>
                  <a:pt x="0" y="887"/>
                </a:lnTo>
                <a:lnTo>
                  <a:pt x="1" y="890"/>
                </a:lnTo>
                <a:lnTo>
                  <a:pt x="2" y="893"/>
                </a:lnTo>
                <a:lnTo>
                  <a:pt x="3" y="895"/>
                </a:lnTo>
                <a:lnTo>
                  <a:pt x="5" y="898"/>
                </a:lnTo>
                <a:lnTo>
                  <a:pt x="7" y="900"/>
                </a:lnTo>
                <a:lnTo>
                  <a:pt x="9" y="901"/>
                </a:lnTo>
                <a:lnTo>
                  <a:pt x="12" y="902"/>
                </a:lnTo>
                <a:lnTo>
                  <a:pt x="15" y="902"/>
                </a:lnTo>
                <a:lnTo>
                  <a:pt x="887" y="902"/>
                </a:lnTo>
                <a:lnTo>
                  <a:pt x="891" y="902"/>
                </a:lnTo>
                <a:lnTo>
                  <a:pt x="894" y="901"/>
                </a:lnTo>
                <a:lnTo>
                  <a:pt x="896" y="900"/>
                </a:lnTo>
                <a:lnTo>
                  <a:pt x="898" y="898"/>
                </a:lnTo>
                <a:lnTo>
                  <a:pt x="900" y="895"/>
                </a:lnTo>
                <a:lnTo>
                  <a:pt x="901" y="893"/>
                </a:lnTo>
                <a:lnTo>
                  <a:pt x="902" y="890"/>
                </a:lnTo>
                <a:lnTo>
                  <a:pt x="902" y="887"/>
                </a:lnTo>
                <a:lnTo>
                  <a:pt x="902" y="882"/>
                </a:lnTo>
                <a:lnTo>
                  <a:pt x="901" y="872"/>
                </a:lnTo>
                <a:lnTo>
                  <a:pt x="900" y="856"/>
                </a:lnTo>
                <a:lnTo>
                  <a:pt x="897" y="835"/>
                </a:lnTo>
                <a:lnTo>
                  <a:pt x="893" y="811"/>
                </a:lnTo>
                <a:lnTo>
                  <a:pt x="885" y="784"/>
                </a:lnTo>
                <a:lnTo>
                  <a:pt x="881" y="770"/>
                </a:lnTo>
                <a:lnTo>
                  <a:pt x="876" y="756"/>
                </a:lnTo>
                <a:lnTo>
                  <a:pt x="870" y="741"/>
                </a:lnTo>
                <a:lnTo>
                  <a:pt x="863" y="727"/>
                </a:lnTo>
                <a:close/>
              </a:path>
            </a:pathLst>
          </a:custGeom>
          <a:solidFill>
            <a:srgbClr val="E2583D"/>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mn-cs"/>
            </a:endParaRPr>
          </a:p>
        </p:txBody>
      </p:sp>
      <p:sp>
        <p:nvSpPr>
          <p:cNvPr id="52" name="Freeform 57"/>
          <p:cNvSpPr>
            <a:spLocks noEditPoints="1"/>
          </p:cNvSpPr>
          <p:nvPr/>
        </p:nvSpPr>
        <p:spPr bwMode="auto">
          <a:xfrm>
            <a:off x="3816988" y="3883505"/>
            <a:ext cx="728486" cy="728488"/>
          </a:xfrm>
          <a:custGeom>
            <a:avLst/>
            <a:gdLst>
              <a:gd name="T0" fmla="*/ 58 w 902"/>
              <a:gd name="T1" fmla="*/ 760 h 902"/>
              <a:gd name="T2" fmla="*/ 105 w 902"/>
              <a:gd name="T3" fmla="*/ 702 h 902"/>
              <a:gd name="T4" fmla="*/ 247 w 902"/>
              <a:gd name="T5" fmla="*/ 639 h 902"/>
              <a:gd name="T6" fmla="*/ 356 w 902"/>
              <a:gd name="T7" fmla="*/ 598 h 902"/>
              <a:gd name="T8" fmla="*/ 360 w 902"/>
              <a:gd name="T9" fmla="*/ 459 h 902"/>
              <a:gd name="T10" fmla="*/ 328 w 902"/>
              <a:gd name="T11" fmla="*/ 415 h 902"/>
              <a:gd name="T12" fmla="*/ 315 w 902"/>
              <a:gd name="T13" fmla="*/ 354 h 902"/>
              <a:gd name="T14" fmla="*/ 296 w 902"/>
              <a:gd name="T15" fmla="*/ 324 h 902"/>
              <a:gd name="T16" fmla="*/ 297 w 902"/>
              <a:gd name="T17" fmla="*/ 284 h 902"/>
              <a:gd name="T18" fmla="*/ 313 w 902"/>
              <a:gd name="T19" fmla="*/ 267 h 902"/>
              <a:gd name="T20" fmla="*/ 300 w 902"/>
              <a:gd name="T21" fmla="*/ 205 h 902"/>
              <a:gd name="T22" fmla="*/ 293 w 902"/>
              <a:gd name="T23" fmla="*/ 113 h 902"/>
              <a:gd name="T24" fmla="*/ 315 w 902"/>
              <a:gd name="T25" fmla="*/ 88 h 902"/>
              <a:gd name="T26" fmla="*/ 352 w 902"/>
              <a:gd name="T27" fmla="*/ 73 h 902"/>
              <a:gd name="T28" fmla="*/ 377 w 902"/>
              <a:gd name="T29" fmla="*/ 48 h 902"/>
              <a:gd name="T30" fmla="*/ 478 w 902"/>
              <a:gd name="T31" fmla="*/ 30 h 902"/>
              <a:gd name="T32" fmla="*/ 574 w 902"/>
              <a:gd name="T33" fmla="*/ 45 h 902"/>
              <a:gd name="T34" fmla="*/ 620 w 902"/>
              <a:gd name="T35" fmla="*/ 77 h 902"/>
              <a:gd name="T36" fmla="*/ 627 w 902"/>
              <a:gd name="T37" fmla="*/ 127 h 902"/>
              <a:gd name="T38" fmla="*/ 590 w 902"/>
              <a:gd name="T39" fmla="*/ 250 h 902"/>
              <a:gd name="T40" fmla="*/ 596 w 902"/>
              <a:gd name="T41" fmla="*/ 272 h 902"/>
              <a:gd name="T42" fmla="*/ 610 w 902"/>
              <a:gd name="T43" fmla="*/ 298 h 902"/>
              <a:gd name="T44" fmla="*/ 600 w 902"/>
              <a:gd name="T45" fmla="*/ 339 h 902"/>
              <a:gd name="T46" fmla="*/ 586 w 902"/>
              <a:gd name="T47" fmla="*/ 379 h 902"/>
              <a:gd name="T48" fmla="*/ 546 w 902"/>
              <a:gd name="T49" fmla="*/ 461 h 902"/>
              <a:gd name="T50" fmla="*/ 542 w 902"/>
              <a:gd name="T51" fmla="*/ 591 h 902"/>
              <a:gd name="T52" fmla="*/ 600 w 902"/>
              <a:gd name="T53" fmla="*/ 619 h 902"/>
              <a:gd name="T54" fmla="*/ 774 w 902"/>
              <a:gd name="T55" fmla="*/ 688 h 902"/>
              <a:gd name="T56" fmla="*/ 832 w 902"/>
              <a:gd name="T57" fmla="*/ 732 h 902"/>
              <a:gd name="T58" fmla="*/ 869 w 902"/>
              <a:gd name="T59" fmla="*/ 848 h 902"/>
              <a:gd name="T60" fmla="*/ 841 w 902"/>
              <a:gd name="T61" fmla="*/ 698 h 902"/>
              <a:gd name="T62" fmla="*/ 747 w 902"/>
              <a:gd name="T63" fmla="*/ 642 h 902"/>
              <a:gd name="T64" fmla="*/ 585 w 902"/>
              <a:gd name="T65" fmla="*/ 581 h 902"/>
              <a:gd name="T66" fmla="*/ 598 w 902"/>
              <a:gd name="T67" fmla="*/ 440 h 902"/>
              <a:gd name="T68" fmla="*/ 618 w 902"/>
              <a:gd name="T69" fmla="*/ 364 h 902"/>
              <a:gd name="T70" fmla="*/ 640 w 902"/>
              <a:gd name="T71" fmla="*/ 308 h 902"/>
              <a:gd name="T72" fmla="*/ 620 w 902"/>
              <a:gd name="T73" fmla="*/ 253 h 902"/>
              <a:gd name="T74" fmla="*/ 649 w 902"/>
              <a:gd name="T75" fmla="*/ 170 h 902"/>
              <a:gd name="T76" fmla="*/ 656 w 902"/>
              <a:gd name="T77" fmla="*/ 86 h 902"/>
              <a:gd name="T78" fmla="*/ 615 w 902"/>
              <a:gd name="T79" fmla="*/ 32 h 902"/>
              <a:gd name="T80" fmla="*/ 538 w 902"/>
              <a:gd name="T81" fmla="*/ 6 h 902"/>
              <a:gd name="T82" fmla="*/ 432 w 902"/>
              <a:gd name="T83" fmla="*/ 3 h 902"/>
              <a:gd name="T84" fmla="*/ 351 w 902"/>
              <a:gd name="T85" fmla="*/ 29 h 902"/>
              <a:gd name="T86" fmla="*/ 312 w 902"/>
              <a:gd name="T87" fmla="*/ 58 h 902"/>
              <a:gd name="T88" fmla="*/ 275 w 902"/>
              <a:gd name="T89" fmla="*/ 82 h 902"/>
              <a:gd name="T90" fmla="*/ 260 w 902"/>
              <a:gd name="T91" fmla="*/ 141 h 902"/>
              <a:gd name="T92" fmla="*/ 281 w 902"/>
              <a:gd name="T93" fmla="*/ 244 h 902"/>
              <a:gd name="T94" fmla="*/ 264 w 902"/>
              <a:gd name="T95" fmla="*/ 287 h 902"/>
              <a:gd name="T96" fmla="*/ 273 w 902"/>
              <a:gd name="T97" fmla="*/ 350 h 902"/>
              <a:gd name="T98" fmla="*/ 291 w 902"/>
              <a:gd name="T99" fmla="*/ 404 h 902"/>
              <a:gd name="T100" fmla="*/ 331 w 902"/>
              <a:gd name="T101" fmla="*/ 473 h 902"/>
              <a:gd name="T102" fmla="*/ 233 w 902"/>
              <a:gd name="T103" fmla="*/ 612 h 902"/>
              <a:gd name="T104" fmla="*/ 82 w 902"/>
              <a:gd name="T105" fmla="*/ 682 h 902"/>
              <a:gd name="T106" fmla="*/ 33 w 902"/>
              <a:gd name="T107" fmla="*/ 741 h 902"/>
              <a:gd name="T108" fmla="*/ 3 w 902"/>
              <a:gd name="T109" fmla="*/ 856 h 902"/>
              <a:gd name="T110" fmla="*/ 3 w 902"/>
              <a:gd name="T111" fmla="*/ 895 h 902"/>
              <a:gd name="T112" fmla="*/ 887 w 902"/>
              <a:gd name="T113" fmla="*/ 902 h 902"/>
              <a:gd name="T114" fmla="*/ 901 w 902"/>
              <a:gd name="T115" fmla="*/ 893 h 902"/>
              <a:gd name="T116" fmla="*/ 897 w 902"/>
              <a:gd name="T117" fmla="*/ 835 h 902"/>
              <a:gd name="T118" fmla="*/ 863 w 902"/>
              <a:gd name="T119" fmla="*/ 727 h 9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02" h="902">
                <a:moveTo>
                  <a:pt x="31" y="872"/>
                </a:moveTo>
                <a:lnTo>
                  <a:pt x="34" y="848"/>
                </a:lnTo>
                <a:lnTo>
                  <a:pt x="39" y="816"/>
                </a:lnTo>
                <a:lnTo>
                  <a:pt x="45" y="798"/>
                </a:lnTo>
                <a:lnTo>
                  <a:pt x="50" y="780"/>
                </a:lnTo>
                <a:lnTo>
                  <a:pt x="58" y="760"/>
                </a:lnTo>
                <a:lnTo>
                  <a:pt x="66" y="740"/>
                </a:lnTo>
                <a:lnTo>
                  <a:pt x="71" y="732"/>
                </a:lnTo>
                <a:lnTo>
                  <a:pt x="78" y="725"/>
                </a:lnTo>
                <a:lnTo>
                  <a:pt x="85" y="717"/>
                </a:lnTo>
                <a:lnTo>
                  <a:pt x="94" y="710"/>
                </a:lnTo>
                <a:lnTo>
                  <a:pt x="105" y="702"/>
                </a:lnTo>
                <a:lnTo>
                  <a:pt x="117" y="695"/>
                </a:lnTo>
                <a:lnTo>
                  <a:pt x="129" y="688"/>
                </a:lnTo>
                <a:lnTo>
                  <a:pt x="143" y="681"/>
                </a:lnTo>
                <a:lnTo>
                  <a:pt x="174" y="667"/>
                </a:lnTo>
                <a:lnTo>
                  <a:pt x="209" y="653"/>
                </a:lnTo>
                <a:lnTo>
                  <a:pt x="247" y="639"/>
                </a:lnTo>
                <a:lnTo>
                  <a:pt x="287" y="624"/>
                </a:lnTo>
                <a:lnTo>
                  <a:pt x="303" y="619"/>
                </a:lnTo>
                <a:lnTo>
                  <a:pt x="319" y="612"/>
                </a:lnTo>
                <a:lnTo>
                  <a:pt x="335" y="607"/>
                </a:lnTo>
                <a:lnTo>
                  <a:pt x="351" y="601"/>
                </a:lnTo>
                <a:lnTo>
                  <a:pt x="356" y="598"/>
                </a:lnTo>
                <a:lnTo>
                  <a:pt x="359" y="595"/>
                </a:lnTo>
                <a:lnTo>
                  <a:pt x="360" y="591"/>
                </a:lnTo>
                <a:lnTo>
                  <a:pt x="361" y="587"/>
                </a:lnTo>
                <a:lnTo>
                  <a:pt x="361" y="467"/>
                </a:lnTo>
                <a:lnTo>
                  <a:pt x="361" y="462"/>
                </a:lnTo>
                <a:lnTo>
                  <a:pt x="360" y="459"/>
                </a:lnTo>
                <a:lnTo>
                  <a:pt x="358" y="457"/>
                </a:lnTo>
                <a:lnTo>
                  <a:pt x="356" y="455"/>
                </a:lnTo>
                <a:lnTo>
                  <a:pt x="349" y="448"/>
                </a:lnTo>
                <a:lnTo>
                  <a:pt x="335" y="429"/>
                </a:lnTo>
                <a:lnTo>
                  <a:pt x="331" y="423"/>
                </a:lnTo>
                <a:lnTo>
                  <a:pt x="328" y="415"/>
                </a:lnTo>
                <a:lnTo>
                  <a:pt x="325" y="408"/>
                </a:lnTo>
                <a:lnTo>
                  <a:pt x="321" y="398"/>
                </a:lnTo>
                <a:lnTo>
                  <a:pt x="318" y="388"/>
                </a:lnTo>
                <a:lnTo>
                  <a:pt x="316" y="378"/>
                </a:lnTo>
                <a:lnTo>
                  <a:pt x="315" y="367"/>
                </a:lnTo>
                <a:lnTo>
                  <a:pt x="315" y="354"/>
                </a:lnTo>
                <a:lnTo>
                  <a:pt x="314" y="349"/>
                </a:lnTo>
                <a:lnTo>
                  <a:pt x="312" y="344"/>
                </a:lnTo>
                <a:lnTo>
                  <a:pt x="307" y="341"/>
                </a:lnTo>
                <a:lnTo>
                  <a:pt x="302" y="339"/>
                </a:lnTo>
                <a:lnTo>
                  <a:pt x="299" y="334"/>
                </a:lnTo>
                <a:lnTo>
                  <a:pt x="296" y="324"/>
                </a:lnTo>
                <a:lnTo>
                  <a:pt x="294" y="319"/>
                </a:lnTo>
                <a:lnTo>
                  <a:pt x="293" y="311"/>
                </a:lnTo>
                <a:lnTo>
                  <a:pt x="292" y="305"/>
                </a:lnTo>
                <a:lnTo>
                  <a:pt x="293" y="298"/>
                </a:lnTo>
                <a:lnTo>
                  <a:pt x="294" y="291"/>
                </a:lnTo>
                <a:lnTo>
                  <a:pt x="297" y="284"/>
                </a:lnTo>
                <a:lnTo>
                  <a:pt x="298" y="280"/>
                </a:lnTo>
                <a:lnTo>
                  <a:pt x="300" y="278"/>
                </a:lnTo>
                <a:lnTo>
                  <a:pt x="303" y="275"/>
                </a:lnTo>
                <a:lnTo>
                  <a:pt x="306" y="272"/>
                </a:lnTo>
                <a:lnTo>
                  <a:pt x="309" y="270"/>
                </a:lnTo>
                <a:lnTo>
                  <a:pt x="313" y="267"/>
                </a:lnTo>
                <a:lnTo>
                  <a:pt x="314" y="264"/>
                </a:lnTo>
                <a:lnTo>
                  <a:pt x="315" y="260"/>
                </a:lnTo>
                <a:lnTo>
                  <a:pt x="314" y="251"/>
                </a:lnTo>
                <a:lnTo>
                  <a:pt x="308" y="235"/>
                </a:lnTo>
                <a:lnTo>
                  <a:pt x="305" y="222"/>
                </a:lnTo>
                <a:lnTo>
                  <a:pt x="300" y="205"/>
                </a:lnTo>
                <a:lnTo>
                  <a:pt x="296" y="187"/>
                </a:lnTo>
                <a:lnTo>
                  <a:pt x="292" y="167"/>
                </a:lnTo>
                <a:lnTo>
                  <a:pt x="290" y="148"/>
                </a:lnTo>
                <a:lnTo>
                  <a:pt x="290" y="130"/>
                </a:lnTo>
                <a:lnTo>
                  <a:pt x="291" y="121"/>
                </a:lnTo>
                <a:lnTo>
                  <a:pt x="293" y="113"/>
                </a:lnTo>
                <a:lnTo>
                  <a:pt x="296" y="106"/>
                </a:lnTo>
                <a:lnTo>
                  <a:pt x="300" y="100"/>
                </a:lnTo>
                <a:lnTo>
                  <a:pt x="303" y="97"/>
                </a:lnTo>
                <a:lnTo>
                  <a:pt x="306" y="93"/>
                </a:lnTo>
                <a:lnTo>
                  <a:pt x="311" y="90"/>
                </a:lnTo>
                <a:lnTo>
                  <a:pt x="315" y="88"/>
                </a:lnTo>
                <a:lnTo>
                  <a:pt x="326" y="86"/>
                </a:lnTo>
                <a:lnTo>
                  <a:pt x="337" y="85"/>
                </a:lnTo>
                <a:lnTo>
                  <a:pt x="343" y="84"/>
                </a:lnTo>
                <a:lnTo>
                  <a:pt x="347" y="82"/>
                </a:lnTo>
                <a:lnTo>
                  <a:pt x="350" y="78"/>
                </a:lnTo>
                <a:lnTo>
                  <a:pt x="352" y="73"/>
                </a:lnTo>
                <a:lnTo>
                  <a:pt x="353" y="69"/>
                </a:lnTo>
                <a:lnTo>
                  <a:pt x="357" y="64"/>
                </a:lnTo>
                <a:lnTo>
                  <a:pt x="360" y="60"/>
                </a:lnTo>
                <a:lnTo>
                  <a:pt x="365" y="56"/>
                </a:lnTo>
                <a:lnTo>
                  <a:pt x="371" y="53"/>
                </a:lnTo>
                <a:lnTo>
                  <a:pt x="377" y="48"/>
                </a:lnTo>
                <a:lnTo>
                  <a:pt x="385" y="45"/>
                </a:lnTo>
                <a:lnTo>
                  <a:pt x="393" y="42"/>
                </a:lnTo>
                <a:lnTo>
                  <a:pt x="410" y="38"/>
                </a:lnTo>
                <a:lnTo>
                  <a:pt x="431" y="33"/>
                </a:lnTo>
                <a:lnTo>
                  <a:pt x="453" y="31"/>
                </a:lnTo>
                <a:lnTo>
                  <a:pt x="478" y="30"/>
                </a:lnTo>
                <a:lnTo>
                  <a:pt x="502" y="31"/>
                </a:lnTo>
                <a:lnTo>
                  <a:pt x="528" y="34"/>
                </a:lnTo>
                <a:lnTo>
                  <a:pt x="540" y="37"/>
                </a:lnTo>
                <a:lnTo>
                  <a:pt x="552" y="39"/>
                </a:lnTo>
                <a:lnTo>
                  <a:pt x="564" y="42"/>
                </a:lnTo>
                <a:lnTo>
                  <a:pt x="574" y="45"/>
                </a:lnTo>
                <a:lnTo>
                  <a:pt x="584" y="49"/>
                </a:lnTo>
                <a:lnTo>
                  <a:pt x="594" y="54"/>
                </a:lnTo>
                <a:lnTo>
                  <a:pt x="602" y="59"/>
                </a:lnTo>
                <a:lnTo>
                  <a:pt x="609" y="64"/>
                </a:lnTo>
                <a:lnTo>
                  <a:pt x="615" y="71"/>
                </a:lnTo>
                <a:lnTo>
                  <a:pt x="620" y="77"/>
                </a:lnTo>
                <a:lnTo>
                  <a:pt x="624" y="84"/>
                </a:lnTo>
                <a:lnTo>
                  <a:pt x="626" y="91"/>
                </a:lnTo>
                <a:lnTo>
                  <a:pt x="628" y="100"/>
                </a:lnTo>
                <a:lnTo>
                  <a:pt x="628" y="108"/>
                </a:lnTo>
                <a:lnTo>
                  <a:pt x="628" y="118"/>
                </a:lnTo>
                <a:lnTo>
                  <a:pt x="627" y="127"/>
                </a:lnTo>
                <a:lnTo>
                  <a:pt x="625" y="146"/>
                </a:lnTo>
                <a:lnTo>
                  <a:pt x="619" y="165"/>
                </a:lnTo>
                <a:lnTo>
                  <a:pt x="609" y="201"/>
                </a:lnTo>
                <a:lnTo>
                  <a:pt x="597" y="231"/>
                </a:lnTo>
                <a:lnTo>
                  <a:pt x="593" y="241"/>
                </a:lnTo>
                <a:lnTo>
                  <a:pt x="590" y="250"/>
                </a:lnTo>
                <a:lnTo>
                  <a:pt x="588" y="255"/>
                </a:lnTo>
                <a:lnTo>
                  <a:pt x="588" y="260"/>
                </a:lnTo>
                <a:lnTo>
                  <a:pt x="588" y="264"/>
                </a:lnTo>
                <a:lnTo>
                  <a:pt x="590" y="267"/>
                </a:lnTo>
                <a:lnTo>
                  <a:pt x="593" y="270"/>
                </a:lnTo>
                <a:lnTo>
                  <a:pt x="596" y="272"/>
                </a:lnTo>
                <a:lnTo>
                  <a:pt x="600" y="275"/>
                </a:lnTo>
                <a:lnTo>
                  <a:pt x="602" y="278"/>
                </a:lnTo>
                <a:lnTo>
                  <a:pt x="604" y="280"/>
                </a:lnTo>
                <a:lnTo>
                  <a:pt x="606" y="284"/>
                </a:lnTo>
                <a:lnTo>
                  <a:pt x="609" y="291"/>
                </a:lnTo>
                <a:lnTo>
                  <a:pt x="610" y="298"/>
                </a:lnTo>
                <a:lnTo>
                  <a:pt x="610" y="305"/>
                </a:lnTo>
                <a:lnTo>
                  <a:pt x="610" y="311"/>
                </a:lnTo>
                <a:lnTo>
                  <a:pt x="609" y="318"/>
                </a:lnTo>
                <a:lnTo>
                  <a:pt x="608" y="324"/>
                </a:lnTo>
                <a:lnTo>
                  <a:pt x="603" y="334"/>
                </a:lnTo>
                <a:lnTo>
                  <a:pt x="600" y="339"/>
                </a:lnTo>
                <a:lnTo>
                  <a:pt x="596" y="341"/>
                </a:lnTo>
                <a:lnTo>
                  <a:pt x="591" y="344"/>
                </a:lnTo>
                <a:lnTo>
                  <a:pt x="589" y="349"/>
                </a:lnTo>
                <a:lnTo>
                  <a:pt x="588" y="354"/>
                </a:lnTo>
                <a:lnTo>
                  <a:pt x="587" y="367"/>
                </a:lnTo>
                <a:lnTo>
                  <a:pt x="586" y="379"/>
                </a:lnTo>
                <a:lnTo>
                  <a:pt x="584" y="389"/>
                </a:lnTo>
                <a:lnTo>
                  <a:pt x="582" y="399"/>
                </a:lnTo>
                <a:lnTo>
                  <a:pt x="575" y="418"/>
                </a:lnTo>
                <a:lnTo>
                  <a:pt x="567" y="433"/>
                </a:lnTo>
                <a:lnTo>
                  <a:pt x="553" y="455"/>
                </a:lnTo>
                <a:lnTo>
                  <a:pt x="546" y="461"/>
                </a:lnTo>
                <a:lnTo>
                  <a:pt x="544" y="464"/>
                </a:lnTo>
                <a:lnTo>
                  <a:pt x="543" y="467"/>
                </a:lnTo>
                <a:lnTo>
                  <a:pt x="542" y="470"/>
                </a:lnTo>
                <a:lnTo>
                  <a:pt x="541" y="473"/>
                </a:lnTo>
                <a:lnTo>
                  <a:pt x="541" y="587"/>
                </a:lnTo>
                <a:lnTo>
                  <a:pt x="542" y="591"/>
                </a:lnTo>
                <a:lnTo>
                  <a:pt x="544" y="595"/>
                </a:lnTo>
                <a:lnTo>
                  <a:pt x="548" y="598"/>
                </a:lnTo>
                <a:lnTo>
                  <a:pt x="552" y="601"/>
                </a:lnTo>
                <a:lnTo>
                  <a:pt x="568" y="607"/>
                </a:lnTo>
                <a:lnTo>
                  <a:pt x="584" y="612"/>
                </a:lnTo>
                <a:lnTo>
                  <a:pt x="600" y="619"/>
                </a:lnTo>
                <a:lnTo>
                  <a:pt x="615" y="624"/>
                </a:lnTo>
                <a:lnTo>
                  <a:pt x="656" y="639"/>
                </a:lnTo>
                <a:lnTo>
                  <a:pt x="693" y="653"/>
                </a:lnTo>
                <a:lnTo>
                  <a:pt x="729" y="667"/>
                </a:lnTo>
                <a:lnTo>
                  <a:pt x="760" y="681"/>
                </a:lnTo>
                <a:lnTo>
                  <a:pt x="774" y="688"/>
                </a:lnTo>
                <a:lnTo>
                  <a:pt x="787" y="695"/>
                </a:lnTo>
                <a:lnTo>
                  <a:pt x="797" y="702"/>
                </a:lnTo>
                <a:lnTo>
                  <a:pt x="808" y="710"/>
                </a:lnTo>
                <a:lnTo>
                  <a:pt x="818" y="717"/>
                </a:lnTo>
                <a:lnTo>
                  <a:pt x="825" y="725"/>
                </a:lnTo>
                <a:lnTo>
                  <a:pt x="832" y="732"/>
                </a:lnTo>
                <a:lnTo>
                  <a:pt x="836" y="740"/>
                </a:lnTo>
                <a:lnTo>
                  <a:pt x="846" y="759"/>
                </a:lnTo>
                <a:lnTo>
                  <a:pt x="852" y="780"/>
                </a:lnTo>
                <a:lnTo>
                  <a:pt x="858" y="798"/>
                </a:lnTo>
                <a:lnTo>
                  <a:pt x="863" y="816"/>
                </a:lnTo>
                <a:lnTo>
                  <a:pt x="869" y="848"/>
                </a:lnTo>
                <a:lnTo>
                  <a:pt x="871" y="872"/>
                </a:lnTo>
                <a:lnTo>
                  <a:pt x="31" y="872"/>
                </a:lnTo>
                <a:close/>
                <a:moveTo>
                  <a:pt x="863" y="727"/>
                </a:moveTo>
                <a:lnTo>
                  <a:pt x="857" y="716"/>
                </a:lnTo>
                <a:lnTo>
                  <a:pt x="850" y="708"/>
                </a:lnTo>
                <a:lnTo>
                  <a:pt x="841" y="698"/>
                </a:lnTo>
                <a:lnTo>
                  <a:pt x="832" y="690"/>
                </a:lnTo>
                <a:lnTo>
                  <a:pt x="821" y="682"/>
                </a:lnTo>
                <a:lnTo>
                  <a:pt x="808" y="673"/>
                </a:lnTo>
                <a:lnTo>
                  <a:pt x="795" y="666"/>
                </a:lnTo>
                <a:lnTo>
                  <a:pt x="780" y="657"/>
                </a:lnTo>
                <a:lnTo>
                  <a:pt x="747" y="642"/>
                </a:lnTo>
                <a:lnTo>
                  <a:pt x="710" y="627"/>
                </a:lnTo>
                <a:lnTo>
                  <a:pt x="670" y="612"/>
                </a:lnTo>
                <a:lnTo>
                  <a:pt x="626" y="596"/>
                </a:lnTo>
                <a:lnTo>
                  <a:pt x="613" y="591"/>
                </a:lnTo>
                <a:lnTo>
                  <a:pt x="599" y="587"/>
                </a:lnTo>
                <a:lnTo>
                  <a:pt x="585" y="581"/>
                </a:lnTo>
                <a:lnTo>
                  <a:pt x="571" y="576"/>
                </a:lnTo>
                <a:lnTo>
                  <a:pt x="571" y="478"/>
                </a:lnTo>
                <a:lnTo>
                  <a:pt x="578" y="473"/>
                </a:lnTo>
                <a:lnTo>
                  <a:pt x="584" y="464"/>
                </a:lnTo>
                <a:lnTo>
                  <a:pt x="590" y="453"/>
                </a:lnTo>
                <a:lnTo>
                  <a:pt x="598" y="440"/>
                </a:lnTo>
                <a:lnTo>
                  <a:pt x="605" y="424"/>
                </a:lnTo>
                <a:lnTo>
                  <a:pt x="611" y="406"/>
                </a:lnTo>
                <a:lnTo>
                  <a:pt x="614" y="397"/>
                </a:lnTo>
                <a:lnTo>
                  <a:pt x="615" y="386"/>
                </a:lnTo>
                <a:lnTo>
                  <a:pt x="617" y="375"/>
                </a:lnTo>
                <a:lnTo>
                  <a:pt x="618" y="364"/>
                </a:lnTo>
                <a:lnTo>
                  <a:pt x="624" y="358"/>
                </a:lnTo>
                <a:lnTo>
                  <a:pt x="629" y="350"/>
                </a:lnTo>
                <a:lnTo>
                  <a:pt x="633" y="340"/>
                </a:lnTo>
                <a:lnTo>
                  <a:pt x="638" y="328"/>
                </a:lnTo>
                <a:lnTo>
                  <a:pt x="639" y="319"/>
                </a:lnTo>
                <a:lnTo>
                  <a:pt x="640" y="308"/>
                </a:lnTo>
                <a:lnTo>
                  <a:pt x="640" y="297"/>
                </a:lnTo>
                <a:lnTo>
                  <a:pt x="639" y="287"/>
                </a:lnTo>
                <a:lnTo>
                  <a:pt x="635" y="278"/>
                </a:lnTo>
                <a:lnTo>
                  <a:pt x="632" y="268"/>
                </a:lnTo>
                <a:lnTo>
                  <a:pt x="627" y="261"/>
                </a:lnTo>
                <a:lnTo>
                  <a:pt x="620" y="253"/>
                </a:lnTo>
                <a:lnTo>
                  <a:pt x="623" y="248"/>
                </a:lnTo>
                <a:lnTo>
                  <a:pt x="625" y="242"/>
                </a:lnTo>
                <a:lnTo>
                  <a:pt x="631" y="227"/>
                </a:lnTo>
                <a:lnTo>
                  <a:pt x="638" y="209"/>
                </a:lnTo>
                <a:lnTo>
                  <a:pt x="644" y="190"/>
                </a:lnTo>
                <a:lnTo>
                  <a:pt x="649" y="170"/>
                </a:lnTo>
                <a:lnTo>
                  <a:pt x="655" y="148"/>
                </a:lnTo>
                <a:lnTo>
                  <a:pt x="657" y="127"/>
                </a:lnTo>
                <a:lnTo>
                  <a:pt x="658" y="116"/>
                </a:lnTo>
                <a:lnTo>
                  <a:pt x="658" y="106"/>
                </a:lnTo>
                <a:lnTo>
                  <a:pt x="657" y="96"/>
                </a:lnTo>
                <a:lnTo>
                  <a:pt x="656" y="86"/>
                </a:lnTo>
                <a:lnTo>
                  <a:pt x="653" y="75"/>
                </a:lnTo>
                <a:lnTo>
                  <a:pt x="648" y="64"/>
                </a:lnTo>
                <a:lnTo>
                  <a:pt x="642" y="56"/>
                </a:lnTo>
                <a:lnTo>
                  <a:pt x="634" y="47"/>
                </a:lnTo>
                <a:lnTo>
                  <a:pt x="625" y="40"/>
                </a:lnTo>
                <a:lnTo>
                  <a:pt x="615" y="32"/>
                </a:lnTo>
                <a:lnTo>
                  <a:pt x="604" y="26"/>
                </a:lnTo>
                <a:lnTo>
                  <a:pt x="593" y="21"/>
                </a:lnTo>
                <a:lnTo>
                  <a:pt x="580" y="15"/>
                </a:lnTo>
                <a:lnTo>
                  <a:pt x="566" y="12"/>
                </a:lnTo>
                <a:lnTo>
                  <a:pt x="552" y="8"/>
                </a:lnTo>
                <a:lnTo>
                  <a:pt x="538" y="6"/>
                </a:lnTo>
                <a:lnTo>
                  <a:pt x="523" y="2"/>
                </a:lnTo>
                <a:lnTo>
                  <a:pt x="508" y="1"/>
                </a:lnTo>
                <a:lnTo>
                  <a:pt x="493" y="0"/>
                </a:lnTo>
                <a:lnTo>
                  <a:pt x="478" y="0"/>
                </a:lnTo>
                <a:lnTo>
                  <a:pt x="455" y="0"/>
                </a:lnTo>
                <a:lnTo>
                  <a:pt x="432" y="3"/>
                </a:lnTo>
                <a:lnTo>
                  <a:pt x="409" y="7"/>
                </a:lnTo>
                <a:lnTo>
                  <a:pt x="388" y="12"/>
                </a:lnTo>
                <a:lnTo>
                  <a:pt x="378" y="16"/>
                </a:lnTo>
                <a:lnTo>
                  <a:pt x="368" y="19"/>
                </a:lnTo>
                <a:lnTo>
                  <a:pt x="359" y="25"/>
                </a:lnTo>
                <a:lnTo>
                  <a:pt x="351" y="29"/>
                </a:lnTo>
                <a:lnTo>
                  <a:pt x="344" y="36"/>
                </a:lnTo>
                <a:lnTo>
                  <a:pt x="337" y="41"/>
                </a:lnTo>
                <a:lnTo>
                  <a:pt x="331" y="48"/>
                </a:lnTo>
                <a:lnTo>
                  <a:pt x="327" y="55"/>
                </a:lnTo>
                <a:lnTo>
                  <a:pt x="319" y="56"/>
                </a:lnTo>
                <a:lnTo>
                  <a:pt x="312" y="58"/>
                </a:lnTo>
                <a:lnTo>
                  <a:pt x="304" y="60"/>
                </a:lnTo>
                <a:lnTo>
                  <a:pt x="298" y="63"/>
                </a:lnTo>
                <a:lnTo>
                  <a:pt x="291" y="67"/>
                </a:lnTo>
                <a:lnTo>
                  <a:pt x="286" y="71"/>
                </a:lnTo>
                <a:lnTo>
                  <a:pt x="281" y="76"/>
                </a:lnTo>
                <a:lnTo>
                  <a:pt x="275" y="82"/>
                </a:lnTo>
                <a:lnTo>
                  <a:pt x="270" y="90"/>
                </a:lnTo>
                <a:lnTo>
                  <a:pt x="267" y="99"/>
                </a:lnTo>
                <a:lnTo>
                  <a:pt x="263" y="110"/>
                </a:lnTo>
                <a:lnTo>
                  <a:pt x="261" y="119"/>
                </a:lnTo>
                <a:lnTo>
                  <a:pt x="260" y="130"/>
                </a:lnTo>
                <a:lnTo>
                  <a:pt x="260" y="141"/>
                </a:lnTo>
                <a:lnTo>
                  <a:pt x="260" y="152"/>
                </a:lnTo>
                <a:lnTo>
                  <a:pt x="261" y="163"/>
                </a:lnTo>
                <a:lnTo>
                  <a:pt x="264" y="186"/>
                </a:lnTo>
                <a:lnTo>
                  <a:pt x="270" y="207"/>
                </a:lnTo>
                <a:lnTo>
                  <a:pt x="275" y="226"/>
                </a:lnTo>
                <a:lnTo>
                  <a:pt x="281" y="244"/>
                </a:lnTo>
                <a:lnTo>
                  <a:pt x="282" y="249"/>
                </a:lnTo>
                <a:lnTo>
                  <a:pt x="283" y="252"/>
                </a:lnTo>
                <a:lnTo>
                  <a:pt x="276" y="260"/>
                </a:lnTo>
                <a:lnTo>
                  <a:pt x="271" y="268"/>
                </a:lnTo>
                <a:lnTo>
                  <a:pt x="267" y="277"/>
                </a:lnTo>
                <a:lnTo>
                  <a:pt x="264" y="287"/>
                </a:lnTo>
                <a:lnTo>
                  <a:pt x="263" y="297"/>
                </a:lnTo>
                <a:lnTo>
                  <a:pt x="262" y="308"/>
                </a:lnTo>
                <a:lnTo>
                  <a:pt x="263" y="319"/>
                </a:lnTo>
                <a:lnTo>
                  <a:pt x="266" y="328"/>
                </a:lnTo>
                <a:lnTo>
                  <a:pt x="269" y="340"/>
                </a:lnTo>
                <a:lnTo>
                  <a:pt x="273" y="350"/>
                </a:lnTo>
                <a:lnTo>
                  <a:pt x="278" y="358"/>
                </a:lnTo>
                <a:lnTo>
                  <a:pt x="285" y="364"/>
                </a:lnTo>
                <a:lnTo>
                  <a:pt x="286" y="375"/>
                </a:lnTo>
                <a:lnTo>
                  <a:pt x="287" y="385"/>
                </a:lnTo>
                <a:lnTo>
                  <a:pt x="289" y="396"/>
                </a:lnTo>
                <a:lnTo>
                  <a:pt x="291" y="404"/>
                </a:lnTo>
                <a:lnTo>
                  <a:pt x="298" y="421"/>
                </a:lnTo>
                <a:lnTo>
                  <a:pt x="304" y="437"/>
                </a:lnTo>
                <a:lnTo>
                  <a:pt x="312" y="448"/>
                </a:lnTo>
                <a:lnTo>
                  <a:pt x="319" y="459"/>
                </a:lnTo>
                <a:lnTo>
                  <a:pt x="326" y="467"/>
                </a:lnTo>
                <a:lnTo>
                  <a:pt x="331" y="473"/>
                </a:lnTo>
                <a:lnTo>
                  <a:pt x="331" y="576"/>
                </a:lnTo>
                <a:lnTo>
                  <a:pt x="317" y="581"/>
                </a:lnTo>
                <a:lnTo>
                  <a:pt x="303" y="587"/>
                </a:lnTo>
                <a:lnTo>
                  <a:pt x="290" y="591"/>
                </a:lnTo>
                <a:lnTo>
                  <a:pt x="277" y="596"/>
                </a:lnTo>
                <a:lnTo>
                  <a:pt x="233" y="612"/>
                </a:lnTo>
                <a:lnTo>
                  <a:pt x="193" y="627"/>
                </a:lnTo>
                <a:lnTo>
                  <a:pt x="155" y="642"/>
                </a:lnTo>
                <a:lnTo>
                  <a:pt x="123" y="658"/>
                </a:lnTo>
                <a:lnTo>
                  <a:pt x="108" y="666"/>
                </a:lnTo>
                <a:lnTo>
                  <a:pt x="94" y="673"/>
                </a:lnTo>
                <a:lnTo>
                  <a:pt x="82" y="682"/>
                </a:lnTo>
                <a:lnTo>
                  <a:pt x="70" y="690"/>
                </a:lnTo>
                <a:lnTo>
                  <a:pt x="61" y="698"/>
                </a:lnTo>
                <a:lnTo>
                  <a:pt x="52" y="708"/>
                </a:lnTo>
                <a:lnTo>
                  <a:pt x="46" y="716"/>
                </a:lnTo>
                <a:lnTo>
                  <a:pt x="39" y="727"/>
                </a:lnTo>
                <a:lnTo>
                  <a:pt x="33" y="741"/>
                </a:lnTo>
                <a:lnTo>
                  <a:pt x="26" y="756"/>
                </a:lnTo>
                <a:lnTo>
                  <a:pt x="21" y="770"/>
                </a:lnTo>
                <a:lnTo>
                  <a:pt x="17" y="784"/>
                </a:lnTo>
                <a:lnTo>
                  <a:pt x="10" y="811"/>
                </a:lnTo>
                <a:lnTo>
                  <a:pt x="5" y="835"/>
                </a:lnTo>
                <a:lnTo>
                  <a:pt x="3" y="856"/>
                </a:lnTo>
                <a:lnTo>
                  <a:pt x="1" y="872"/>
                </a:lnTo>
                <a:lnTo>
                  <a:pt x="1" y="882"/>
                </a:lnTo>
                <a:lnTo>
                  <a:pt x="0" y="887"/>
                </a:lnTo>
                <a:lnTo>
                  <a:pt x="1" y="890"/>
                </a:lnTo>
                <a:lnTo>
                  <a:pt x="2" y="893"/>
                </a:lnTo>
                <a:lnTo>
                  <a:pt x="3" y="895"/>
                </a:lnTo>
                <a:lnTo>
                  <a:pt x="5" y="898"/>
                </a:lnTo>
                <a:lnTo>
                  <a:pt x="7" y="900"/>
                </a:lnTo>
                <a:lnTo>
                  <a:pt x="9" y="901"/>
                </a:lnTo>
                <a:lnTo>
                  <a:pt x="12" y="902"/>
                </a:lnTo>
                <a:lnTo>
                  <a:pt x="15" y="902"/>
                </a:lnTo>
                <a:lnTo>
                  <a:pt x="887" y="902"/>
                </a:lnTo>
                <a:lnTo>
                  <a:pt x="891" y="902"/>
                </a:lnTo>
                <a:lnTo>
                  <a:pt x="894" y="901"/>
                </a:lnTo>
                <a:lnTo>
                  <a:pt x="896" y="900"/>
                </a:lnTo>
                <a:lnTo>
                  <a:pt x="898" y="898"/>
                </a:lnTo>
                <a:lnTo>
                  <a:pt x="900" y="895"/>
                </a:lnTo>
                <a:lnTo>
                  <a:pt x="901" y="893"/>
                </a:lnTo>
                <a:lnTo>
                  <a:pt x="902" y="890"/>
                </a:lnTo>
                <a:lnTo>
                  <a:pt x="902" y="887"/>
                </a:lnTo>
                <a:lnTo>
                  <a:pt x="902" y="882"/>
                </a:lnTo>
                <a:lnTo>
                  <a:pt x="901" y="872"/>
                </a:lnTo>
                <a:lnTo>
                  <a:pt x="900" y="856"/>
                </a:lnTo>
                <a:lnTo>
                  <a:pt x="897" y="835"/>
                </a:lnTo>
                <a:lnTo>
                  <a:pt x="893" y="811"/>
                </a:lnTo>
                <a:lnTo>
                  <a:pt x="885" y="784"/>
                </a:lnTo>
                <a:lnTo>
                  <a:pt x="881" y="770"/>
                </a:lnTo>
                <a:lnTo>
                  <a:pt x="876" y="756"/>
                </a:lnTo>
                <a:lnTo>
                  <a:pt x="870" y="741"/>
                </a:lnTo>
                <a:lnTo>
                  <a:pt x="863" y="727"/>
                </a:lnTo>
                <a:close/>
              </a:path>
            </a:pathLst>
          </a:custGeom>
          <a:solidFill>
            <a:srgbClr val="E2583D"/>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mn-cs"/>
            </a:endParaRPr>
          </a:p>
        </p:txBody>
      </p:sp>
      <p:sp>
        <p:nvSpPr>
          <p:cNvPr id="53" name="Freeform 57"/>
          <p:cNvSpPr>
            <a:spLocks noEditPoints="1"/>
          </p:cNvSpPr>
          <p:nvPr/>
        </p:nvSpPr>
        <p:spPr bwMode="auto">
          <a:xfrm>
            <a:off x="4582895" y="3883505"/>
            <a:ext cx="728486" cy="728488"/>
          </a:xfrm>
          <a:custGeom>
            <a:avLst/>
            <a:gdLst>
              <a:gd name="T0" fmla="*/ 58 w 902"/>
              <a:gd name="T1" fmla="*/ 760 h 902"/>
              <a:gd name="T2" fmla="*/ 105 w 902"/>
              <a:gd name="T3" fmla="*/ 702 h 902"/>
              <a:gd name="T4" fmla="*/ 247 w 902"/>
              <a:gd name="T5" fmla="*/ 639 h 902"/>
              <a:gd name="T6" fmla="*/ 356 w 902"/>
              <a:gd name="T7" fmla="*/ 598 h 902"/>
              <a:gd name="T8" fmla="*/ 360 w 902"/>
              <a:gd name="T9" fmla="*/ 459 h 902"/>
              <a:gd name="T10" fmla="*/ 328 w 902"/>
              <a:gd name="T11" fmla="*/ 415 h 902"/>
              <a:gd name="T12" fmla="*/ 315 w 902"/>
              <a:gd name="T13" fmla="*/ 354 h 902"/>
              <a:gd name="T14" fmla="*/ 296 w 902"/>
              <a:gd name="T15" fmla="*/ 324 h 902"/>
              <a:gd name="T16" fmla="*/ 297 w 902"/>
              <a:gd name="T17" fmla="*/ 284 h 902"/>
              <a:gd name="T18" fmla="*/ 313 w 902"/>
              <a:gd name="T19" fmla="*/ 267 h 902"/>
              <a:gd name="T20" fmla="*/ 300 w 902"/>
              <a:gd name="T21" fmla="*/ 205 h 902"/>
              <a:gd name="T22" fmla="*/ 293 w 902"/>
              <a:gd name="T23" fmla="*/ 113 h 902"/>
              <a:gd name="T24" fmla="*/ 315 w 902"/>
              <a:gd name="T25" fmla="*/ 88 h 902"/>
              <a:gd name="T26" fmla="*/ 352 w 902"/>
              <a:gd name="T27" fmla="*/ 73 h 902"/>
              <a:gd name="T28" fmla="*/ 377 w 902"/>
              <a:gd name="T29" fmla="*/ 48 h 902"/>
              <a:gd name="T30" fmla="*/ 478 w 902"/>
              <a:gd name="T31" fmla="*/ 30 h 902"/>
              <a:gd name="T32" fmla="*/ 574 w 902"/>
              <a:gd name="T33" fmla="*/ 45 h 902"/>
              <a:gd name="T34" fmla="*/ 620 w 902"/>
              <a:gd name="T35" fmla="*/ 77 h 902"/>
              <a:gd name="T36" fmla="*/ 627 w 902"/>
              <a:gd name="T37" fmla="*/ 127 h 902"/>
              <a:gd name="T38" fmla="*/ 590 w 902"/>
              <a:gd name="T39" fmla="*/ 250 h 902"/>
              <a:gd name="T40" fmla="*/ 596 w 902"/>
              <a:gd name="T41" fmla="*/ 272 h 902"/>
              <a:gd name="T42" fmla="*/ 610 w 902"/>
              <a:gd name="T43" fmla="*/ 298 h 902"/>
              <a:gd name="T44" fmla="*/ 600 w 902"/>
              <a:gd name="T45" fmla="*/ 339 h 902"/>
              <a:gd name="T46" fmla="*/ 586 w 902"/>
              <a:gd name="T47" fmla="*/ 379 h 902"/>
              <a:gd name="T48" fmla="*/ 546 w 902"/>
              <a:gd name="T49" fmla="*/ 461 h 902"/>
              <a:gd name="T50" fmla="*/ 542 w 902"/>
              <a:gd name="T51" fmla="*/ 591 h 902"/>
              <a:gd name="T52" fmla="*/ 600 w 902"/>
              <a:gd name="T53" fmla="*/ 619 h 902"/>
              <a:gd name="T54" fmla="*/ 774 w 902"/>
              <a:gd name="T55" fmla="*/ 688 h 902"/>
              <a:gd name="T56" fmla="*/ 832 w 902"/>
              <a:gd name="T57" fmla="*/ 732 h 902"/>
              <a:gd name="T58" fmla="*/ 869 w 902"/>
              <a:gd name="T59" fmla="*/ 848 h 902"/>
              <a:gd name="T60" fmla="*/ 841 w 902"/>
              <a:gd name="T61" fmla="*/ 698 h 902"/>
              <a:gd name="T62" fmla="*/ 747 w 902"/>
              <a:gd name="T63" fmla="*/ 642 h 902"/>
              <a:gd name="T64" fmla="*/ 585 w 902"/>
              <a:gd name="T65" fmla="*/ 581 h 902"/>
              <a:gd name="T66" fmla="*/ 598 w 902"/>
              <a:gd name="T67" fmla="*/ 440 h 902"/>
              <a:gd name="T68" fmla="*/ 618 w 902"/>
              <a:gd name="T69" fmla="*/ 364 h 902"/>
              <a:gd name="T70" fmla="*/ 640 w 902"/>
              <a:gd name="T71" fmla="*/ 308 h 902"/>
              <a:gd name="T72" fmla="*/ 620 w 902"/>
              <a:gd name="T73" fmla="*/ 253 h 902"/>
              <a:gd name="T74" fmla="*/ 649 w 902"/>
              <a:gd name="T75" fmla="*/ 170 h 902"/>
              <a:gd name="T76" fmla="*/ 656 w 902"/>
              <a:gd name="T77" fmla="*/ 86 h 902"/>
              <a:gd name="T78" fmla="*/ 615 w 902"/>
              <a:gd name="T79" fmla="*/ 32 h 902"/>
              <a:gd name="T80" fmla="*/ 538 w 902"/>
              <a:gd name="T81" fmla="*/ 6 h 902"/>
              <a:gd name="T82" fmla="*/ 432 w 902"/>
              <a:gd name="T83" fmla="*/ 3 h 902"/>
              <a:gd name="T84" fmla="*/ 351 w 902"/>
              <a:gd name="T85" fmla="*/ 29 h 902"/>
              <a:gd name="T86" fmla="*/ 312 w 902"/>
              <a:gd name="T87" fmla="*/ 58 h 902"/>
              <a:gd name="T88" fmla="*/ 275 w 902"/>
              <a:gd name="T89" fmla="*/ 82 h 902"/>
              <a:gd name="T90" fmla="*/ 260 w 902"/>
              <a:gd name="T91" fmla="*/ 141 h 902"/>
              <a:gd name="T92" fmla="*/ 281 w 902"/>
              <a:gd name="T93" fmla="*/ 244 h 902"/>
              <a:gd name="T94" fmla="*/ 264 w 902"/>
              <a:gd name="T95" fmla="*/ 287 h 902"/>
              <a:gd name="T96" fmla="*/ 273 w 902"/>
              <a:gd name="T97" fmla="*/ 350 h 902"/>
              <a:gd name="T98" fmla="*/ 291 w 902"/>
              <a:gd name="T99" fmla="*/ 404 h 902"/>
              <a:gd name="T100" fmla="*/ 331 w 902"/>
              <a:gd name="T101" fmla="*/ 473 h 902"/>
              <a:gd name="T102" fmla="*/ 233 w 902"/>
              <a:gd name="T103" fmla="*/ 612 h 902"/>
              <a:gd name="T104" fmla="*/ 82 w 902"/>
              <a:gd name="T105" fmla="*/ 682 h 902"/>
              <a:gd name="T106" fmla="*/ 33 w 902"/>
              <a:gd name="T107" fmla="*/ 741 h 902"/>
              <a:gd name="T108" fmla="*/ 3 w 902"/>
              <a:gd name="T109" fmla="*/ 856 h 902"/>
              <a:gd name="T110" fmla="*/ 3 w 902"/>
              <a:gd name="T111" fmla="*/ 895 h 902"/>
              <a:gd name="T112" fmla="*/ 887 w 902"/>
              <a:gd name="T113" fmla="*/ 902 h 902"/>
              <a:gd name="T114" fmla="*/ 901 w 902"/>
              <a:gd name="T115" fmla="*/ 893 h 902"/>
              <a:gd name="T116" fmla="*/ 897 w 902"/>
              <a:gd name="T117" fmla="*/ 835 h 902"/>
              <a:gd name="T118" fmla="*/ 863 w 902"/>
              <a:gd name="T119" fmla="*/ 727 h 9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02" h="902">
                <a:moveTo>
                  <a:pt x="31" y="872"/>
                </a:moveTo>
                <a:lnTo>
                  <a:pt x="34" y="848"/>
                </a:lnTo>
                <a:lnTo>
                  <a:pt x="39" y="816"/>
                </a:lnTo>
                <a:lnTo>
                  <a:pt x="45" y="798"/>
                </a:lnTo>
                <a:lnTo>
                  <a:pt x="50" y="780"/>
                </a:lnTo>
                <a:lnTo>
                  <a:pt x="58" y="760"/>
                </a:lnTo>
                <a:lnTo>
                  <a:pt x="66" y="740"/>
                </a:lnTo>
                <a:lnTo>
                  <a:pt x="71" y="732"/>
                </a:lnTo>
                <a:lnTo>
                  <a:pt x="78" y="725"/>
                </a:lnTo>
                <a:lnTo>
                  <a:pt x="85" y="717"/>
                </a:lnTo>
                <a:lnTo>
                  <a:pt x="94" y="710"/>
                </a:lnTo>
                <a:lnTo>
                  <a:pt x="105" y="702"/>
                </a:lnTo>
                <a:lnTo>
                  <a:pt x="117" y="695"/>
                </a:lnTo>
                <a:lnTo>
                  <a:pt x="129" y="688"/>
                </a:lnTo>
                <a:lnTo>
                  <a:pt x="143" y="681"/>
                </a:lnTo>
                <a:lnTo>
                  <a:pt x="174" y="667"/>
                </a:lnTo>
                <a:lnTo>
                  <a:pt x="209" y="653"/>
                </a:lnTo>
                <a:lnTo>
                  <a:pt x="247" y="639"/>
                </a:lnTo>
                <a:lnTo>
                  <a:pt x="287" y="624"/>
                </a:lnTo>
                <a:lnTo>
                  <a:pt x="303" y="619"/>
                </a:lnTo>
                <a:lnTo>
                  <a:pt x="319" y="612"/>
                </a:lnTo>
                <a:lnTo>
                  <a:pt x="335" y="607"/>
                </a:lnTo>
                <a:lnTo>
                  <a:pt x="351" y="601"/>
                </a:lnTo>
                <a:lnTo>
                  <a:pt x="356" y="598"/>
                </a:lnTo>
                <a:lnTo>
                  <a:pt x="359" y="595"/>
                </a:lnTo>
                <a:lnTo>
                  <a:pt x="360" y="591"/>
                </a:lnTo>
                <a:lnTo>
                  <a:pt x="361" y="587"/>
                </a:lnTo>
                <a:lnTo>
                  <a:pt x="361" y="467"/>
                </a:lnTo>
                <a:lnTo>
                  <a:pt x="361" y="462"/>
                </a:lnTo>
                <a:lnTo>
                  <a:pt x="360" y="459"/>
                </a:lnTo>
                <a:lnTo>
                  <a:pt x="358" y="457"/>
                </a:lnTo>
                <a:lnTo>
                  <a:pt x="356" y="455"/>
                </a:lnTo>
                <a:lnTo>
                  <a:pt x="349" y="448"/>
                </a:lnTo>
                <a:lnTo>
                  <a:pt x="335" y="429"/>
                </a:lnTo>
                <a:lnTo>
                  <a:pt x="331" y="423"/>
                </a:lnTo>
                <a:lnTo>
                  <a:pt x="328" y="415"/>
                </a:lnTo>
                <a:lnTo>
                  <a:pt x="325" y="408"/>
                </a:lnTo>
                <a:lnTo>
                  <a:pt x="321" y="398"/>
                </a:lnTo>
                <a:lnTo>
                  <a:pt x="318" y="388"/>
                </a:lnTo>
                <a:lnTo>
                  <a:pt x="316" y="378"/>
                </a:lnTo>
                <a:lnTo>
                  <a:pt x="315" y="367"/>
                </a:lnTo>
                <a:lnTo>
                  <a:pt x="315" y="354"/>
                </a:lnTo>
                <a:lnTo>
                  <a:pt x="314" y="349"/>
                </a:lnTo>
                <a:lnTo>
                  <a:pt x="312" y="344"/>
                </a:lnTo>
                <a:lnTo>
                  <a:pt x="307" y="341"/>
                </a:lnTo>
                <a:lnTo>
                  <a:pt x="302" y="339"/>
                </a:lnTo>
                <a:lnTo>
                  <a:pt x="299" y="334"/>
                </a:lnTo>
                <a:lnTo>
                  <a:pt x="296" y="324"/>
                </a:lnTo>
                <a:lnTo>
                  <a:pt x="294" y="319"/>
                </a:lnTo>
                <a:lnTo>
                  <a:pt x="293" y="311"/>
                </a:lnTo>
                <a:lnTo>
                  <a:pt x="292" y="305"/>
                </a:lnTo>
                <a:lnTo>
                  <a:pt x="293" y="298"/>
                </a:lnTo>
                <a:lnTo>
                  <a:pt x="294" y="291"/>
                </a:lnTo>
                <a:lnTo>
                  <a:pt x="297" y="284"/>
                </a:lnTo>
                <a:lnTo>
                  <a:pt x="298" y="280"/>
                </a:lnTo>
                <a:lnTo>
                  <a:pt x="300" y="278"/>
                </a:lnTo>
                <a:lnTo>
                  <a:pt x="303" y="275"/>
                </a:lnTo>
                <a:lnTo>
                  <a:pt x="306" y="272"/>
                </a:lnTo>
                <a:lnTo>
                  <a:pt x="309" y="270"/>
                </a:lnTo>
                <a:lnTo>
                  <a:pt x="313" y="267"/>
                </a:lnTo>
                <a:lnTo>
                  <a:pt x="314" y="264"/>
                </a:lnTo>
                <a:lnTo>
                  <a:pt x="315" y="260"/>
                </a:lnTo>
                <a:lnTo>
                  <a:pt x="314" y="251"/>
                </a:lnTo>
                <a:lnTo>
                  <a:pt x="308" y="235"/>
                </a:lnTo>
                <a:lnTo>
                  <a:pt x="305" y="222"/>
                </a:lnTo>
                <a:lnTo>
                  <a:pt x="300" y="205"/>
                </a:lnTo>
                <a:lnTo>
                  <a:pt x="296" y="187"/>
                </a:lnTo>
                <a:lnTo>
                  <a:pt x="292" y="167"/>
                </a:lnTo>
                <a:lnTo>
                  <a:pt x="290" y="148"/>
                </a:lnTo>
                <a:lnTo>
                  <a:pt x="290" y="130"/>
                </a:lnTo>
                <a:lnTo>
                  <a:pt x="291" y="121"/>
                </a:lnTo>
                <a:lnTo>
                  <a:pt x="293" y="113"/>
                </a:lnTo>
                <a:lnTo>
                  <a:pt x="296" y="106"/>
                </a:lnTo>
                <a:lnTo>
                  <a:pt x="300" y="100"/>
                </a:lnTo>
                <a:lnTo>
                  <a:pt x="303" y="97"/>
                </a:lnTo>
                <a:lnTo>
                  <a:pt x="306" y="93"/>
                </a:lnTo>
                <a:lnTo>
                  <a:pt x="311" y="90"/>
                </a:lnTo>
                <a:lnTo>
                  <a:pt x="315" y="88"/>
                </a:lnTo>
                <a:lnTo>
                  <a:pt x="326" y="86"/>
                </a:lnTo>
                <a:lnTo>
                  <a:pt x="337" y="85"/>
                </a:lnTo>
                <a:lnTo>
                  <a:pt x="343" y="84"/>
                </a:lnTo>
                <a:lnTo>
                  <a:pt x="347" y="82"/>
                </a:lnTo>
                <a:lnTo>
                  <a:pt x="350" y="78"/>
                </a:lnTo>
                <a:lnTo>
                  <a:pt x="352" y="73"/>
                </a:lnTo>
                <a:lnTo>
                  <a:pt x="353" y="69"/>
                </a:lnTo>
                <a:lnTo>
                  <a:pt x="357" y="64"/>
                </a:lnTo>
                <a:lnTo>
                  <a:pt x="360" y="60"/>
                </a:lnTo>
                <a:lnTo>
                  <a:pt x="365" y="56"/>
                </a:lnTo>
                <a:lnTo>
                  <a:pt x="371" y="53"/>
                </a:lnTo>
                <a:lnTo>
                  <a:pt x="377" y="48"/>
                </a:lnTo>
                <a:lnTo>
                  <a:pt x="385" y="45"/>
                </a:lnTo>
                <a:lnTo>
                  <a:pt x="393" y="42"/>
                </a:lnTo>
                <a:lnTo>
                  <a:pt x="410" y="38"/>
                </a:lnTo>
                <a:lnTo>
                  <a:pt x="431" y="33"/>
                </a:lnTo>
                <a:lnTo>
                  <a:pt x="453" y="31"/>
                </a:lnTo>
                <a:lnTo>
                  <a:pt x="478" y="30"/>
                </a:lnTo>
                <a:lnTo>
                  <a:pt x="502" y="31"/>
                </a:lnTo>
                <a:lnTo>
                  <a:pt x="528" y="34"/>
                </a:lnTo>
                <a:lnTo>
                  <a:pt x="540" y="37"/>
                </a:lnTo>
                <a:lnTo>
                  <a:pt x="552" y="39"/>
                </a:lnTo>
                <a:lnTo>
                  <a:pt x="564" y="42"/>
                </a:lnTo>
                <a:lnTo>
                  <a:pt x="574" y="45"/>
                </a:lnTo>
                <a:lnTo>
                  <a:pt x="584" y="49"/>
                </a:lnTo>
                <a:lnTo>
                  <a:pt x="594" y="54"/>
                </a:lnTo>
                <a:lnTo>
                  <a:pt x="602" y="59"/>
                </a:lnTo>
                <a:lnTo>
                  <a:pt x="609" y="64"/>
                </a:lnTo>
                <a:lnTo>
                  <a:pt x="615" y="71"/>
                </a:lnTo>
                <a:lnTo>
                  <a:pt x="620" y="77"/>
                </a:lnTo>
                <a:lnTo>
                  <a:pt x="624" y="84"/>
                </a:lnTo>
                <a:lnTo>
                  <a:pt x="626" y="91"/>
                </a:lnTo>
                <a:lnTo>
                  <a:pt x="628" y="100"/>
                </a:lnTo>
                <a:lnTo>
                  <a:pt x="628" y="108"/>
                </a:lnTo>
                <a:lnTo>
                  <a:pt x="628" y="118"/>
                </a:lnTo>
                <a:lnTo>
                  <a:pt x="627" y="127"/>
                </a:lnTo>
                <a:lnTo>
                  <a:pt x="625" y="146"/>
                </a:lnTo>
                <a:lnTo>
                  <a:pt x="619" y="165"/>
                </a:lnTo>
                <a:lnTo>
                  <a:pt x="609" y="201"/>
                </a:lnTo>
                <a:lnTo>
                  <a:pt x="597" y="231"/>
                </a:lnTo>
                <a:lnTo>
                  <a:pt x="593" y="241"/>
                </a:lnTo>
                <a:lnTo>
                  <a:pt x="590" y="250"/>
                </a:lnTo>
                <a:lnTo>
                  <a:pt x="588" y="255"/>
                </a:lnTo>
                <a:lnTo>
                  <a:pt x="588" y="260"/>
                </a:lnTo>
                <a:lnTo>
                  <a:pt x="588" y="264"/>
                </a:lnTo>
                <a:lnTo>
                  <a:pt x="590" y="267"/>
                </a:lnTo>
                <a:lnTo>
                  <a:pt x="593" y="270"/>
                </a:lnTo>
                <a:lnTo>
                  <a:pt x="596" y="272"/>
                </a:lnTo>
                <a:lnTo>
                  <a:pt x="600" y="275"/>
                </a:lnTo>
                <a:lnTo>
                  <a:pt x="602" y="278"/>
                </a:lnTo>
                <a:lnTo>
                  <a:pt x="604" y="280"/>
                </a:lnTo>
                <a:lnTo>
                  <a:pt x="606" y="284"/>
                </a:lnTo>
                <a:lnTo>
                  <a:pt x="609" y="291"/>
                </a:lnTo>
                <a:lnTo>
                  <a:pt x="610" y="298"/>
                </a:lnTo>
                <a:lnTo>
                  <a:pt x="610" y="305"/>
                </a:lnTo>
                <a:lnTo>
                  <a:pt x="610" y="311"/>
                </a:lnTo>
                <a:lnTo>
                  <a:pt x="609" y="318"/>
                </a:lnTo>
                <a:lnTo>
                  <a:pt x="608" y="324"/>
                </a:lnTo>
                <a:lnTo>
                  <a:pt x="603" y="334"/>
                </a:lnTo>
                <a:lnTo>
                  <a:pt x="600" y="339"/>
                </a:lnTo>
                <a:lnTo>
                  <a:pt x="596" y="341"/>
                </a:lnTo>
                <a:lnTo>
                  <a:pt x="591" y="344"/>
                </a:lnTo>
                <a:lnTo>
                  <a:pt x="589" y="349"/>
                </a:lnTo>
                <a:lnTo>
                  <a:pt x="588" y="354"/>
                </a:lnTo>
                <a:lnTo>
                  <a:pt x="587" y="367"/>
                </a:lnTo>
                <a:lnTo>
                  <a:pt x="586" y="379"/>
                </a:lnTo>
                <a:lnTo>
                  <a:pt x="584" y="389"/>
                </a:lnTo>
                <a:lnTo>
                  <a:pt x="582" y="399"/>
                </a:lnTo>
                <a:lnTo>
                  <a:pt x="575" y="418"/>
                </a:lnTo>
                <a:lnTo>
                  <a:pt x="567" y="433"/>
                </a:lnTo>
                <a:lnTo>
                  <a:pt x="553" y="455"/>
                </a:lnTo>
                <a:lnTo>
                  <a:pt x="546" y="461"/>
                </a:lnTo>
                <a:lnTo>
                  <a:pt x="544" y="464"/>
                </a:lnTo>
                <a:lnTo>
                  <a:pt x="543" y="467"/>
                </a:lnTo>
                <a:lnTo>
                  <a:pt x="542" y="470"/>
                </a:lnTo>
                <a:lnTo>
                  <a:pt x="541" y="473"/>
                </a:lnTo>
                <a:lnTo>
                  <a:pt x="541" y="587"/>
                </a:lnTo>
                <a:lnTo>
                  <a:pt x="542" y="591"/>
                </a:lnTo>
                <a:lnTo>
                  <a:pt x="544" y="595"/>
                </a:lnTo>
                <a:lnTo>
                  <a:pt x="548" y="598"/>
                </a:lnTo>
                <a:lnTo>
                  <a:pt x="552" y="601"/>
                </a:lnTo>
                <a:lnTo>
                  <a:pt x="568" y="607"/>
                </a:lnTo>
                <a:lnTo>
                  <a:pt x="584" y="612"/>
                </a:lnTo>
                <a:lnTo>
                  <a:pt x="600" y="619"/>
                </a:lnTo>
                <a:lnTo>
                  <a:pt x="615" y="624"/>
                </a:lnTo>
                <a:lnTo>
                  <a:pt x="656" y="639"/>
                </a:lnTo>
                <a:lnTo>
                  <a:pt x="693" y="653"/>
                </a:lnTo>
                <a:lnTo>
                  <a:pt x="729" y="667"/>
                </a:lnTo>
                <a:lnTo>
                  <a:pt x="760" y="681"/>
                </a:lnTo>
                <a:lnTo>
                  <a:pt x="774" y="688"/>
                </a:lnTo>
                <a:lnTo>
                  <a:pt x="787" y="695"/>
                </a:lnTo>
                <a:lnTo>
                  <a:pt x="797" y="702"/>
                </a:lnTo>
                <a:lnTo>
                  <a:pt x="808" y="710"/>
                </a:lnTo>
                <a:lnTo>
                  <a:pt x="818" y="717"/>
                </a:lnTo>
                <a:lnTo>
                  <a:pt x="825" y="725"/>
                </a:lnTo>
                <a:lnTo>
                  <a:pt x="832" y="732"/>
                </a:lnTo>
                <a:lnTo>
                  <a:pt x="836" y="740"/>
                </a:lnTo>
                <a:lnTo>
                  <a:pt x="846" y="759"/>
                </a:lnTo>
                <a:lnTo>
                  <a:pt x="852" y="780"/>
                </a:lnTo>
                <a:lnTo>
                  <a:pt x="858" y="798"/>
                </a:lnTo>
                <a:lnTo>
                  <a:pt x="863" y="816"/>
                </a:lnTo>
                <a:lnTo>
                  <a:pt x="869" y="848"/>
                </a:lnTo>
                <a:lnTo>
                  <a:pt x="871" y="872"/>
                </a:lnTo>
                <a:lnTo>
                  <a:pt x="31" y="872"/>
                </a:lnTo>
                <a:close/>
                <a:moveTo>
                  <a:pt x="863" y="727"/>
                </a:moveTo>
                <a:lnTo>
                  <a:pt x="857" y="716"/>
                </a:lnTo>
                <a:lnTo>
                  <a:pt x="850" y="708"/>
                </a:lnTo>
                <a:lnTo>
                  <a:pt x="841" y="698"/>
                </a:lnTo>
                <a:lnTo>
                  <a:pt x="832" y="690"/>
                </a:lnTo>
                <a:lnTo>
                  <a:pt x="821" y="682"/>
                </a:lnTo>
                <a:lnTo>
                  <a:pt x="808" y="673"/>
                </a:lnTo>
                <a:lnTo>
                  <a:pt x="795" y="666"/>
                </a:lnTo>
                <a:lnTo>
                  <a:pt x="780" y="657"/>
                </a:lnTo>
                <a:lnTo>
                  <a:pt x="747" y="642"/>
                </a:lnTo>
                <a:lnTo>
                  <a:pt x="710" y="627"/>
                </a:lnTo>
                <a:lnTo>
                  <a:pt x="670" y="612"/>
                </a:lnTo>
                <a:lnTo>
                  <a:pt x="626" y="596"/>
                </a:lnTo>
                <a:lnTo>
                  <a:pt x="613" y="591"/>
                </a:lnTo>
                <a:lnTo>
                  <a:pt x="599" y="587"/>
                </a:lnTo>
                <a:lnTo>
                  <a:pt x="585" y="581"/>
                </a:lnTo>
                <a:lnTo>
                  <a:pt x="571" y="576"/>
                </a:lnTo>
                <a:lnTo>
                  <a:pt x="571" y="478"/>
                </a:lnTo>
                <a:lnTo>
                  <a:pt x="578" y="473"/>
                </a:lnTo>
                <a:lnTo>
                  <a:pt x="584" y="464"/>
                </a:lnTo>
                <a:lnTo>
                  <a:pt x="590" y="453"/>
                </a:lnTo>
                <a:lnTo>
                  <a:pt x="598" y="440"/>
                </a:lnTo>
                <a:lnTo>
                  <a:pt x="605" y="424"/>
                </a:lnTo>
                <a:lnTo>
                  <a:pt x="611" y="406"/>
                </a:lnTo>
                <a:lnTo>
                  <a:pt x="614" y="397"/>
                </a:lnTo>
                <a:lnTo>
                  <a:pt x="615" y="386"/>
                </a:lnTo>
                <a:lnTo>
                  <a:pt x="617" y="375"/>
                </a:lnTo>
                <a:lnTo>
                  <a:pt x="618" y="364"/>
                </a:lnTo>
                <a:lnTo>
                  <a:pt x="624" y="358"/>
                </a:lnTo>
                <a:lnTo>
                  <a:pt x="629" y="350"/>
                </a:lnTo>
                <a:lnTo>
                  <a:pt x="633" y="340"/>
                </a:lnTo>
                <a:lnTo>
                  <a:pt x="638" y="328"/>
                </a:lnTo>
                <a:lnTo>
                  <a:pt x="639" y="319"/>
                </a:lnTo>
                <a:lnTo>
                  <a:pt x="640" y="308"/>
                </a:lnTo>
                <a:lnTo>
                  <a:pt x="640" y="297"/>
                </a:lnTo>
                <a:lnTo>
                  <a:pt x="639" y="287"/>
                </a:lnTo>
                <a:lnTo>
                  <a:pt x="635" y="278"/>
                </a:lnTo>
                <a:lnTo>
                  <a:pt x="632" y="268"/>
                </a:lnTo>
                <a:lnTo>
                  <a:pt x="627" y="261"/>
                </a:lnTo>
                <a:lnTo>
                  <a:pt x="620" y="253"/>
                </a:lnTo>
                <a:lnTo>
                  <a:pt x="623" y="248"/>
                </a:lnTo>
                <a:lnTo>
                  <a:pt x="625" y="242"/>
                </a:lnTo>
                <a:lnTo>
                  <a:pt x="631" y="227"/>
                </a:lnTo>
                <a:lnTo>
                  <a:pt x="638" y="209"/>
                </a:lnTo>
                <a:lnTo>
                  <a:pt x="644" y="190"/>
                </a:lnTo>
                <a:lnTo>
                  <a:pt x="649" y="170"/>
                </a:lnTo>
                <a:lnTo>
                  <a:pt x="655" y="148"/>
                </a:lnTo>
                <a:lnTo>
                  <a:pt x="657" y="127"/>
                </a:lnTo>
                <a:lnTo>
                  <a:pt x="658" y="116"/>
                </a:lnTo>
                <a:lnTo>
                  <a:pt x="658" y="106"/>
                </a:lnTo>
                <a:lnTo>
                  <a:pt x="657" y="96"/>
                </a:lnTo>
                <a:lnTo>
                  <a:pt x="656" y="86"/>
                </a:lnTo>
                <a:lnTo>
                  <a:pt x="653" y="75"/>
                </a:lnTo>
                <a:lnTo>
                  <a:pt x="648" y="64"/>
                </a:lnTo>
                <a:lnTo>
                  <a:pt x="642" y="56"/>
                </a:lnTo>
                <a:lnTo>
                  <a:pt x="634" y="47"/>
                </a:lnTo>
                <a:lnTo>
                  <a:pt x="625" y="40"/>
                </a:lnTo>
                <a:lnTo>
                  <a:pt x="615" y="32"/>
                </a:lnTo>
                <a:lnTo>
                  <a:pt x="604" y="26"/>
                </a:lnTo>
                <a:lnTo>
                  <a:pt x="593" y="21"/>
                </a:lnTo>
                <a:lnTo>
                  <a:pt x="580" y="15"/>
                </a:lnTo>
                <a:lnTo>
                  <a:pt x="566" y="12"/>
                </a:lnTo>
                <a:lnTo>
                  <a:pt x="552" y="8"/>
                </a:lnTo>
                <a:lnTo>
                  <a:pt x="538" y="6"/>
                </a:lnTo>
                <a:lnTo>
                  <a:pt x="523" y="2"/>
                </a:lnTo>
                <a:lnTo>
                  <a:pt x="508" y="1"/>
                </a:lnTo>
                <a:lnTo>
                  <a:pt x="493" y="0"/>
                </a:lnTo>
                <a:lnTo>
                  <a:pt x="478" y="0"/>
                </a:lnTo>
                <a:lnTo>
                  <a:pt x="455" y="0"/>
                </a:lnTo>
                <a:lnTo>
                  <a:pt x="432" y="3"/>
                </a:lnTo>
                <a:lnTo>
                  <a:pt x="409" y="7"/>
                </a:lnTo>
                <a:lnTo>
                  <a:pt x="388" y="12"/>
                </a:lnTo>
                <a:lnTo>
                  <a:pt x="378" y="16"/>
                </a:lnTo>
                <a:lnTo>
                  <a:pt x="368" y="19"/>
                </a:lnTo>
                <a:lnTo>
                  <a:pt x="359" y="25"/>
                </a:lnTo>
                <a:lnTo>
                  <a:pt x="351" y="29"/>
                </a:lnTo>
                <a:lnTo>
                  <a:pt x="344" y="36"/>
                </a:lnTo>
                <a:lnTo>
                  <a:pt x="337" y="41"/>
                </a:lnTo>
                <a:lnTo>
                  <a:pt x="331" y="48"/>
                </a:lnTo>
                <a:lnTo>
                  <a:pt x="327" y="55"/>
                </a:lnTo>
                <a:lnTo>
                  <a:pt x="319" y="56"/>
                </a:lnTo>
                <a:lnTo>
                  <a:pt x="312" y="58"/>
                </a:lnTo>
                <a:lnTo>
                  <a:pt x="304" y="60"/>
                </a:lnTo>
                <a:lnTo>
                  <a:pt x="298" y="63"/>
                </a:lnTo>
                <a:lnTo>
                  <a:pt x="291" y="67"/>
                </a:lnTo>
                <a:lnTo>
                  <a:pt x="286" y="71"/>
                </a:lnTo>
                <a:lnTo>
                  <a:pt x="281" y="76"/>
                </a:lnTo>
                <a:lnTo>
                  <a:pt x="275" y="82"/>
                </a:lnTo>
                <a:lnTo>
                  <a:pt x="270" y="90"/>
                </a:lnTo>
                <a:lnTo>
                  <a:pt x="267" y="99"/>
                </a:lnTo>
                <a:lnTo>
                  <a:pt x="263" y="110"/>
                </a:lnTo>
                <a:lnTo>
                  <a:pt x="261" y="119"/>
                </a:lnTo>
                <a:lnTo>
                  <a:pt x="260" y="130"/>
                </a:lnTo>
                <a:lnTo>
                  <a:pt x="260" y="141"/>
                </a:lnTo>
                <a:lnTo>
                  <a:pt x="260" y="152"/>
                </a:lnTo>
                <a:lnTo>
                  <a:pt x="261" y="163"/>
                </a:lnTo>
                <a:lnTo>
                  <a:pt x="264" y="186"/>
                </a:lnTo>
                <a:lnTo>
                  <a:pt x="270" y="207"/>
                </a:lnTo>
                <a:lnTo>
                  <a:pt x="275" y="226"/>
                </a:lnTo>
                <a:lnTo>
                  <a:pt x="281" y="244"/>
                </a:lnTo>
                <a:lnTo>
                  <a:pt x="282" y="249"/>
                </a:lnTo>
                <a:lnTo>
                  <a:pt x="283" y="252"/>
                </a:lnTo>
                <a:lnTo>
                  <a:pt x="276" y="260"/>
                </a:lnTo>
                <a:lnTo>
                  <a:pt x="271" y="268"/>
                </a:lnTo>
                <a:lnTo>
                  <a:pt x="267" y="277"/>
                </a:lnTo>
                <a:lnTo>
                  <a:pt x="264" y="287"/>
                </a:lnTo>
                <a:lnTo>
                  <a:pt x="263" y="297"/>
                </a:lnTo>
                <a:lnTo>
                  <a:pt x="262" y="308"/>
                </a:lnTo>
                <a:lnTo>
                  <a:pt x="263" y="319"/>
                </a:lnTo>
                <a:lnTo>
                  <a:pt x="266" y="328"/>
                </a:lnTo>
                <a:lnTo>
                  <a:pt x="269" y="340"/>
                </a:lnTo>
                <a:lnTo>
                  <a:pt x="273" y="350"/>
                </a:lnTo>
                <a:lnTo>
                  <a:pt x="278" y="358"/>
                </a:lnTo>
                <a:lnTo>
                  <a:pt x="285" y="364"/>
                </a:lnTo>
                <a:lnTo>
                  <a:pt x="286" y="375"/>
                </a:lnTo>
                <a:lnTo>
                  <a:pt x="287" y="385"/>
                </a:lnTo>
                <a:lnTo>
                  <a:pt x="289" y="396"/>
                </a:lnTo>
                <a:lnTo>
                  <a:pt x="291" y="404"/>
                </a:lnTo>
                <a:lnTo>
                  <a:pt x="298" y="421"/>
                </a:lnTo>
                <a:lnTo>
                  <a:pt x="304" y="437"/>
                </a:lnTo>
                <a:lnTo>
                  <a:pt x="312" y="448"/>
                </a:lnTo>
                <a:lnTo>
                  <a:pt x="319" y="459"/>
                </a:lnTo>
                <a:lnTo>
                  <a:pt x="326" y="467"/>
                </a:lnTo>
                <a:lnTo>
                  <a:pt x="331" y="473"/>
                </a:lnTo>
                <a:lnTo>
                  <a:pt x="331" y="576"/>
                </a:lnTo>
                <a:lnTo>
                  <a:pt x="317" y="581"/>
                </a:lnTo>
                <a:lnTo>
                  <a:pt x="303" y="587"/>
                </a:lnTo>
                <a:lnTo>
                  <a:pt x="290" y="591"/>
                </a:lnTo>
                <a:lnTo>
                  <a:pt x="277" y="596"/>
                </a:lnTo>
                <a:lnTo>
                  <a:pt x="233" y="612"/>
                </a:lnTo>
                <a:lnTo>
                  <a:pt x="193" y="627"/>
                </a:lnTo>
                <a:lnTo>
                  <a:pt x="155" y="642"/>
                </a:lnTo>
                <a:lnTo>
                  <a:pt x="123" y="658"/>
                </a:lnTo>
                <a:lnTo>
                  <a:pt x="108" y="666"/>
                </a:lnTo>
                <a:lnTo>
                  <a:pt x="94" y="673"/>
                </a:lnTo>
                <a:lnTo>
                  <a:pt x="82" y="682"/>
                </a:lnTo>
                <a:lnTo>
                  <a:pt x="70" y="690"/>
                </a:lnTo>
                <a:lnTo>
                  <a:pt x="61" y="698"/>
                </a:lnTo>
                <a:lnTo>
                  <a:pt x="52" y="708"/>
                </a:lnTo>
                <a:lnTo>
                  <a:pt x="46" y="716"/>
                </a:lnTo>
                <a:lnTo>
                  <a:pt x="39" y="727"/>
                </a:lnTo>
                <a:lnTo>
                  <a:pt x="33" y="741"/>
                </a:lnTo>
                <a:lnTo>
                  <a:pt x="26" y="756"/>
                </a:lnTo>
                <a:lnTo>
                  <a:pt x="21" y="770"/>
                </a:lnTo>
                <a:lnTo>
                  <a:pt x="17" y="784"/>
                </a:lnTo>
                <a:lnTo>
                  <a:pt x="10" y="811"/>
                </a:lnTo>
                <a:lnTo>
                  <a:pt x="5" y="835"/>
                </a:lnTo>
                <a:lnTo>
                  <a:pt x="3" y="856"/>
                </a:lnTo>
                <a:lnTo>
                  <a:pt x="1" y="872"/>
                </a:lnTo>
                <a:lnTo>
                  <a:pt x="1" y="882"/>
                </a:lnTo>
                <a:lnTo>
                  <a:pt x="0" y="887"/>
                </a:lnTo>
                <a:lnTo>
                  <a:pt x="1" y="890"/>
                </a:lnTo>
                <a:lnTo>
                  <a:pt x="2" y="893"/>
                </a:lnTo>
                <a:lnTo>
                  <a:pt x="3" y="895"/>
                </a:lnTo>
                <a:lnTo>
                  <a:pt x="5" y="898"/>
                </a:lnTo>
                <a:lnTo>
                  <a:pt x="7" y="900"/>
                </a:lnTo>
                <a:lnTo>
                  <a:pt x="9" y="901"/>
                </a:lnTo>
                <a:lnTo>
                  <a:pt x="12" y="902"/>
                </a:lnTo>
                <a:lnTo>
                  <a:pt x="15" y="902"/>
                </a:lnTo>
                <a:lnTo>
                  <a:pt x="887" y="902"/>
                </a:lnTo>
                <a:lnTo>
                  <a:pt x="891" y="902"/>
                </a:lnTo>
                <a:lnTo>
                  <a:pt x="894" y="901"/>
                </a:lnTo>
                <a:lnTo>
                  <a:pt x="896" y="900"/>
                </a:lnTo>
                <a:lnTo>
                  <a:pt x="898" y="898"/>
                </a:lnTo>
                <a:lnTo>
                  <a:pt x="900" y="895"/>
                </a:lnTo>
                <a:lnTo>
                  <a:pt x="901" y="893"/>
                </a:lnTo>
                <a:lnTo>
                  <a:pt x="902" y="890"/>
                </a:lnTo>
                <a:lnTo>
                  <a:pt x="902" y="887"/>
                </a:lnTo>
                <a:lnTo>
                  <a:pt x="902" y="882"/>
                </a:lnTo>
                <a:lnTo>
                  <a:pt x="901" y="872"/>
                </a:lnTo>
                <a:lnTo>
                  <a:pt x="900" y="856"/>
                </a:lnTo>
                <a:lnTo>
                  <a:pt x="897" y="835"/>
                </a:lnTo>
                <a:lnTo>
                  <a:pt x="893" y="811"/>
                </a:lnTo>
                <a:lnTo>
                  <a:pt x="885" y="784"/>
                </a:lnTo>
                <a:lnTo>
                  <a:pt x="881" y="770"/>
                </a:lnTo>
                <a:lnTo>
                  <a:pt x="876" y="756"/>
                </a:lnTo>
                <a:lnTo>
                  <a:pt x="870" y="741"/>
                </a:lnTo>
                <a:lnTo>
                  <a:pt x="863" y="727"/>
                </a:lnTo>
                <a:close/>
              </a:path>
            </a:pathLst>
          </a:custGeom>
          <a:solidFill>
            <a:srgbClr val="E2583D"/>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mn-cs"/>
            </a:endParaRPr>
          </a:p>
        </p:txBody>
      </p:sp>
      <p:sp>
        <p:nvSpPr>
          <p:cNvPr id="54" name="Freeform 57"/>
          <p:cNvSpPr>
            <a:spLocks noEditPoints="1"/>
          </p:cNvSpPr>
          <p:nvPr/>
        </p:nvSpPr>
        <p:spPr bwMode="auto">
          <a:xfrm>
            <a:off x="5348801" y="3883505"/>
            <a:ext cx="728486" cy="728488"/>
          </a:xfrm>
          <a:custGeom>
            <a:avLst/>
            <a:gdLst>
              <a:gd name="T0" fmla="*/ 58 w 902"/>
              <a:gd name="T1" fmla="*/ 760 h 902"/>
              <a:gd name="T2" fmla="*/ 105 w 902"/>
              <a:gd name="T3" fmla="*/ 702 h 902"/>
              <a:gd name="T4" fmla="*/ 247 w 902"/>
              <a:gd name="T5" fmla="*/ 639 h 902"/>
              <a:gd name="T6" fmla="*/ 356 w 902"/>
              <a:gd name="T7" fmla="*/ 598 h 902"/>
              <a:gd name="T8" fmla="*/ 360 w 902"/>
              <a:gd name="T9" fmla="*/ 459 h 902"/>
              <a:gd name="T10" fmla="*/ 328 w 902"/>
              <a:gd name="T11" fmla="*/ 415 h 902"/>
              <a:gd name="T12" fmla="*/ 315 w 902"/>
              <a:gd name="T13" fmla="*/ 354 h 902"/>
              <a:gd name="T14" fmla="*/ 296 w 902"/>
              <a:gd name="T15" fmla="*/ 324 h 902"/>
              <a:gd name="T16" fmla="*/ 297 w 902"/>
              <a:gd name="T17" fmla="*/ 284 h 902"/>
              <a:gd name="T18" fmla="*/ 313 w 902"/>
              <a:gd name="T19" fmla="*/ 267 h 902"/>
              <a:gd name="T20" fmla="*/ 300 w 902"/>
              <a:gd name="T21" fmla="*/ 205 h 902"/>
              <a:gd name="T22" fmla="*/ 293 w 902"/>
              <a:gd name="T23" fmla="*/ 113 h 902"/>
              <a:gd name="T24" fmla="*/ 315 w 902"/>
              <a:gd name="T25" fmla="*/ 88 h 902"/>
              <a:gd name="T26" fmla="*/ 352 w 902"/>
              <a:gd name="T27" fmla="*/ 73 h 902"/>
              <a:gd name="T28" fmla="*/ 377 w 902"/>
              <a:gd name="T29" fmla="*/ 48 h 902"/>
              <a:gd name="T30" fmla="*/ 478 w 902"/>
              <a:gd name="T31" fmla="*/ 30 h 902"/>
              <a:gd name="T32" fmla="*/ 574 w 902"/>
              <a:gd name="T33" fmla="*/ 45 h 902"/>
              <a:gd name="T34" fmla="*/ 620 w 902"/>
              <a:gd name="T35" fmla="*/ 77 h 902"/>
              <a:gd name="T36" fmla="*/ 627 w 902"/>
              <a:gd name="T37" fmla="*/ 127 h 902"/>
              <a:gd name="T38" fmla="*/ 590 w 902"/>
              <a:gd name="T39" fmla="*/ 250 h 902"/>
              <a:gd name="T40" fmla="*/ 596 w 902"/>
              <a:gd name="T41" fmla="*/ 272 h 902"/>
              <a:gd name="T42" fmla="*/ 610 w 902"/>
              <a:gd name="T43" fmla="*/ 298 h 902"/>
              <a:gd name="T44" fmla="*/ 600 w 902"/>
              <a:gd name="T45" fmla="*/ 339 h 902"/>
              <a:gd name="T46" fmla="*/ 586 w 902"/>
              <a:gd name="T47" fmla="*/ 379 h 902"/>
              <a:gd name="T48" fmla="*/ 546 w 902"/>
              <a:gd name="T49" fmla="*/ 461 h 902"/>
              <a:gd name="T50" fmla="*/ 542 w 902"/>
              <a:gd name="T51" fmla="*/ 591 h 902"/>
              <a:gd name="T52" fmla="*/ 600 w 902"/>
              <a:gd name="T53" fmla="*/ 619 h 902"/>
              <a:gd name="T54" fmla="*/ 774 w 902"/>
              <a:gd name="T55" fmla="*/ 688 h 902"/>
              <a:gd name="T56" fmla="*/ 832 w 902"/>
              <a:gd name="T57" fmla="*/ 732 h 902"/>
              <a:gd name="T58" fmla="*/ 869 w 902"/>
              <a:gd name="T59" fmla="*/ 848 h 902"/>
              <a:gd name="T60" fmla="*/ 841 w 902"/>
              <a:gd name="T61" fmla="*/ 698 h 902"/>
              <a:gd name="T62" fmla="*/ 747 w 902"/>
              <a:gd name="T63" fmla="*/ 642 h 902"/>
              <a:gd name="T64" fmla="*/ 585 w 902"/>
              <a:gd name="T65" fmla="*/ 581 h 902"/>
              <a:gd name="T66" fmla="*/ 598 w 902"/>
              <a:gd name="T67" fmla="*/ 440 h 902"/>
              <a:gd name="T68" fmla="*/ 618 w 902"/>
              <a:gd name="T69" fmla="*/ 364 h 902"/>
              <a:gd name="T70" fmla="*/ 640 w 902"/>
              <a:gd name="T71" fmla="*/ 308 h 902"/>
              <a:gd name="T72" fmla="*/ 620 w 902"/>
              <a:gd name="T73" fmla="*/ 253 h 902"/>
              <a:gd name="T74" fmla="*/ 649 w 902"/>
              <a:gd name="T75" fmla="*/ 170 h 902"/>
              <a:gd name="T76" fmla="*/ 656 w 902"/>
              <a:gd name="T77" fmla="*/ 86 h 902"/>
              <a:gd name="T78" fmla="*/ 615 w 902"/>
              <a:gd name="T79" fmla="*/ 32 h 902"/>
              <a:gd name="T80" fmla="*/ 538 w 902"/>
              <a:gd name="T81" fmla="*/ 6 h 902"/>
              <a:gd name="T82" fmla="*/ 432 w 902"/>
              <a:gd name="T83" fmla="*/ 3 h 902"/>
              <a:gd name="T84" fmla="*/ 351 w 902"/>
              <a:gd name="T85" fmla="*/ 29 h 902"/>
              <a:gd name="T86" fmla="*/ 312 w 902"/>
              <a:gd name="T87" fmla="*/ 58 h 902"/>
              <a:gd name="T88" fmla="*/ 275 w 902"/>
              <a:gd name="T89" fmla="*/ 82 h 902"/>
              <a:gd name="T90" fmla="*/ 260 w 902"/>
              <a:gd name="T91" fmla="*/ 141 h 902"/>
              <a:gd name="T92" fmla="*/ 281 w 902"/>
              <a:gd name="T93" fmla="*/ 244 h 902"/>
              <a:gd name="T94" fmla="*/ 264 w 902"/>
              <a:gd name="T95" fmla="*/ 287 h 902"/>
              <a:gd name="T96" fmla="*/ 273 w 902"/>
              <a:gd name="T97" fmla="*/ 350 h 902"/>
              <a:gd name="T98" fmla="*/ 291 w 902"/>
              <a:gd name="T99" fmla="*/ 404 h 902"/>
              <a:gd name="T100" fmla="*/ 331 w 902"/>
              <a:gd name="T101" fmla="*/ 473 h 902"/>
              <a:gd name="T102" fmla="*/ 233 w 902"/>
              <a:gd name="T103" fmla="*/ 612 h 902"/>
              <a:gd name="T104" fmla="*/ 82 w 902"/>
              <a:gd name="T105" fmla="*/ 682 h 902"/>
              <a:gd name="T106" fmla="*/ 33 w 902"/>
              <a:gd name="T107" fmla="*/ 741 h 902"/>
              <a:gd name="T108" fmla="*/ 3 w 902"/>
              <a:gd name="T109" fmla="*/ 856 h 902"/>
              <a:gd name="T110" fmla="*/ 3 w 902"/>
              <a:gd name="T111" fmla="*/ 895 h 902"/>
              <a:gd name="T112" fmla="*/ 887 w 902"/>
              <a:gd name="T113" fmla="*/ 902 h 902"/>
              <a:gd name="T114" fmla="*/ 901 w 902"/>
              <a:gd name="T115" fmla="*/ 893 h 902"/>
              <a:gd name="T116" fmla="*/ 897 w 902"/>
              <a:gd name="T117" fmla="*/ 835 h 902"/>
              <a:gd name="T118" fmla="*/ 863 w 902"/>
              <a:gd name="T119" fmla="*/ 727 h 9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02" h="902">
                <a:moveTo>
                  <a:pt x="31" y="872"/>
                </a:moveTo>
                <a:lnTo>
                  <a:pt x="34" y="848"/>
                </a:lnTo>
                <a:lnTo>
                  <a:pt x="39" y="816"/>
                </a:lnTo>
                <a:lnTo>
                  <a:pt x="45" y="798"/>
                </a:lnTo>
                <a:lnTo>
                  <a:pt x="50" y="780"/>
                </a:lnTo>
                <a:lnTo>
                  <a:pt x="58" y="760"/>
                </a:lnTo>
                <a:lnTo>
                  <a:pt x="66" y="740"/>
                </a:lnTo>
                <a:lnTo>
                  <a:pt x="71" y="732"/>
                </a:lnTo>
                <a:lnTo>
                  <a:pt x="78" y="725"/>
                </a:lnTo>
                <a:lnTo>
                  <a:pt x="85" y="717"/>
                </a:lnTo>
                <a:lnTo>
                  <a:pt x="94" y="710"/>
                </a:lnTo>
                <a:lnTo>
                  <a:pt x="105" y="702"/>
                </a:lnTo>
                <a:lnTo>
                  <a:pt x="117" y="695"/>
                </a:lnTo>
                <a:lnTo>
                  <a:pt x="129" y="688"/>
                </a:lnTo>
                <a:lnTo>
                  <a:pt x="143" y="681"/>
                </a:lnTo>
                <a:lnTo>
                  <a:pt x="174" y="667"/>
                </a:lnTo>
                <a:lnTo>
                  <a:pt x="209" y="653"/>
                </a:lnTo>
                <a:lnTo>
                  <a:pt x="247" y="639"/>
                </a:lnTo>
                <a:lnTo>
                  <a:pt x="287" y="624"/>
                </a:lnTo>
                <a:lnTo>
                  <a:pt x="303" y="619"/>
                </a:lnTo>
                <a:lnTo>
                  <a:pt x="319" y="612"/>
                </a:lnTo>
                <a:lnTo>
                  <a:pt x="335" y="607"/>
                </a:lnTo>
                <a:lnTo>
                  <a:pt x="351" y="601"/>
                </a:lnTo>
                <a:lnTo>
                  <a:pt x="356" y="598"/>
                </a:lnTo>
                <a:lnTo>
                  <a:pt x="359" y="595"/>
                </a:lnTo>
                <a:lnTo>
                  <a:pt x="360" y="591"/>
                </a:lnTo>
                <a:lnTo>
                  <a:pt x="361" y="587"/>
                </a:lnTo>
                <a:lnTo>
                  <a:pt x="361" y="467"/>
                </a:lnTo>
                <a:lnTo>
                  <a:pt x="361" y="462"/>
                </a:lnTo>
                <a:lnTo>
                  <a:pt x="360" y="459"/>
                </a:lnTo>
                <a:lnTo>
                  <a:pt x="358" y="457"/>
                </a:lnTo>
                <a:lnTo>
                  <a:pt x="356" y="455"/>
                </a:lnTo>
                <a:lnTo>
                  <a:pt x="349" y="448"/>
                </a:lnTo>
                <a:lnTo>
                  <a:pt x="335" y="429"/>
                </a:lnTo>
                <a:lnTo>
                  <a:pt x="331" y="423"/>
                </a:lnTo>
                <a:lnTo>
                  <a:pt x="328" y="415"/>
                </a:lnTo>
                <a:lnTo>
                  <a:pt x="325" y="408"/>
                </a:lnTo>
                <a:lnTo>
                  <a:pt x="321" y="398"/>
                </a:lnTo>
                <a:lnTo>
                  <a:pt x="318" y="388"/>
                </a:lnTo>
                <a:lnTo>
                  <a:pt x="316" y="378"/>
                </a:lnTo>
                <a:lnTo>
                  <a:pt x="315" y="367"/>
                </a:lnTo>
                <a:lnTo>
                  <a:pt x="315" y="354"/>
                </a:lnTo>
                <a:lnTo>
                  <a:pt x="314" y="349"/>
                </a:lnTo>
                <a:lnTo>
                  <a:pt x="312" y="344"/>
                </a:lnTo>
                <a:lnTo>
                  <a:pt x="307" y="341"/>
                </a:lnTo>
                <a:lnTo>
                  <a:pt x="302" y="339"/>
                </a:lnTo>
                <a:lnTo>
                  <a:pt x="299" y="334"/>
                </a:lnTo>
                <a:lnTo>
                  <a:pt x="296" y="324"/>
                </a:lnTo>
                <a:lnTo>
                  <a:pt x="294" y="319"/>
                </a:lnTo>
                <a:lnTo>
                  <a:pt x="293" y="311"/>
                </a:lnTo>
                <a:lnTo>
                  <a:pt x="292" y="305"/>
                </a:lnTo>
                <a:lnTo>
                  <a:pt x="293" y="298"/>
                </a:lnTo>
                <a:lnTo>
                  <a:pt x="294" y="291"/>
                </a:lnTo>
                <a:lnTo>
                  <a:pt x="297" y="284"/>
                </a:lnTo>
                <a:lnTo>
                  <a:pt x="298" y="280"/>
                </a:lnTo>
                <a:lnTo>
                  <a:pt x="300" y="278"/>
                </a:lnTo>
                <a:lnTo>
                  <a:pt x="303" y="275"/>
                </a:lnTo>
                <a:lnTo>
                  <a:pt x="306" y="272"/>
                </a:lnTo>
                <a:lnTo>
                  <a:pt x="309" y="270"/>
                </a:lnTo>
                <a:lnTo>
                  <a:pt x="313" y="267"/>
                </a:lnTo>
                <a:lnTo>
                  <a:pt x="314" y="264"/>
                </a:lnTo>
                <a:lnTo>
                  <a:pt x="315" y="260"/>
                </a:lnTo>
                <a:lnTo>
                  <a:pt x="314" y="251"/>
                </a:lnTo>
                <a:lnTo>
                  <a:pt x="308" y="235"/>
                </a:lnTo>
                <a:lnTo>
                  <a:pt x="305" y="222"/>
                </a:lnTo>
                <a:lnTo>
                  <a:pt x="300" y="205"/>
                </a:lnTo>
                <a:lnTo>
                  <a:pt x="296" y="187"/>
                </a:lnTo>
                <a:lnTo>
                  <a:pt x="292" y="167"/>
                </a:lnTo>
                <a:lnTo>
                  <a:pt x="290" y="148"/>
                </a:lnTo>
                <a:lnTo>
                  <a:pt x="290" y="130"/>
                </a:lnTo>
                <a:lnTo>
                  <a:pt x="291" y="121"/>
                </a:lnTo>
                <a:lnTo>
                  <a:pt x="293" y="113"/>
                </a:lnTo>
                <a:lnTo>
                  <a:pt x="296" y="106"/>
                </a:lnTo>
                <a:lnTo>
                  <a:pt x="300" y="100"/>
                </a:lnTo>
                <a:lnTo>
                  <a:pt x="303" y="97"/>
                </a:lnTo>
                <a:lnTo>
                  <a:pt x="306" y="93"/>
                </a:lnTo>
                <a:lnTo>
                  <a:pt x="311" y="90"/>
                </a:lnTo>
                <a:lnTo>
                  <a:pt x="315" y="88"/>
                </a:lnTo>
                <a:lnTo>
                  <a:pt x="326" y="86"/>
                </a:lnTo>
                <a:lnTo>
                  <a:pt x="337" y="85"/>
                </a:lnTo>
                <a:lnTo>
                  <a:pt x="343" y="84"/>
                </a:lnTo>
                <a:lnTo>
                  <a:pt x="347" y="82"/>
                </a:lnTo>
                <a:lnTo>
                  <a:pt x="350" y="78"/>
                </a:lnTo>
                <a:lnTo>
                  <a:pt x="352" y="73"/>
                </a:lnTo>
                <a:lnTo>
                  <a:pt x="353" y="69"/>
                </a:lnTo>
                <a:lnTo>
                  <a:pt x="357" y="64"/>
                </a:lnTo>
                <a:lnTo>
                  <a:pt x="360" y="60"/>
                </a:lnTo>
                <a:lnTo>
                  <a:pt x="365" y="56"/>
                </a:lnTo>
                <a:lnTo>
                  <a:pt x="371" y="53"/>
                </a:lnTo>
                <a:lnTo>
                  <a:pt x="377" y="48"/>
                </a:lnTo>
                <a:lnTo>
                  <a:pt x="385" y="45"/>
                </a:lnTo>
                <a:lnTo>
                  <a:pt x="393" y="42"/>
                </a:lnTo>
                <a:lnTo>
                  <a:pt x="410" y="38"/>
                </a:lnTo>
                <a:lnTo>
                  <a:pt x="431" y="33"/>
                </a:lnTo>
                <a:lnTo>
                  <a:pt x="453" y="31"/>
                </a:lnTo>
                <a:lnTo>
                  <a:pt x="478" y="30"/>
                </a:lnTo>
                <a:lnTo>
                  <a:pt x="502" y="31"/>
                </a:lnTo>
                <a:lnTo>
                  <a:pt x="528" y="34"/>
                </a:lnTo>
                <a:lnTo>
                  <a:pt x="540" y="37"/>
                </a:lnTo>
                <a:lnTo>
                  <a:pt x="552" y="39"/>
                </a:lnTo>
                <a:lnTo>
                  <a:pt x="564" y="42"/>
                </a:lnTo>
                <a:lnTo>
                  <a:pt x="574" y="45"/>
                </a:lnTo>
                <a:lnTo>
                  <a:pt x="584" y="49"/>
                </a:lnTo>
                <a:lnTo>
                  <a:pt x="594" y="54"/>
                </a:lnTo>
                <a:lnTo>
                  <a:pt x="602" y="59"/>
                </a:lnTo>
                <a:lnTo>
                  <a:pt x="609" y="64"/>
                </a:lnTo>
                <a:lnTo>
                  <a:pt x="615" y="71"/>
                </a:lnTo>
                <a:lnTo>
                  <a:pt x="620" y="77"/>
                </a:lnTo>
                <a:lnTo>
                  <a:pt x="624" y="84"/>
                </a:lnTo>
                <a:lnTo>
                  <a:pt x="626" y="91"/>
                </a:lnTo>
                <a:lnTo>
                  <a:pt x="628" y="100"/>
                </a:lnTo>
                <a:lnTo>
                  <a:pt x="628" y="108"/>
                </a:lnTo>
                <a:lnTo>
                  <a:pt x="628" y="118"/>
                </a:lnTo>
                <a:lnTo>
                  <a:pt x="627" y="127"/>
                </a:lnTo>
                <a:lnTo>
                  <a:pt x="625" y="146"/>
                </a:lnTo>
                <a:lnTo>
                  <a:pt x="619" y="165"/>
                </a:lnTo>
                <a:lnTo>
                  <a:pt x="609" y="201"/>
                </a:lnTo>
                <a:lnTo>
                  <a:pt x="597" y="231"/>
                </a:lnTo>
                <a:lnTo>
                  <a:pt x="593" y="241"/>
                </a:lnTo>
                <a:lnTo>
                  <a:pt x="590" y="250"/>
                </a:lnTo>
                <a:lnTo>
                  <a:pt x="588" y="255"/>
                </a:lnTo>
                <a:lnTo>
                  <a:pt x="588" y="260"/>
                </a:lnTo>
                <a:lnTo>
                  <a:pt x="588" y="264"/>
                </a:lnTo>
                <a:lnTo>
                  <a:pt x="590" y="267"/>
                </a:lnTo>
                <a:lnTo>
                  <a:pt x="593" y="270"/>
                </a:lnTo>
                <a:lnTo>
                  <a:pt x="596" y="272"/>
                </a:lnTo>
                <a:lnTo>
                  <a:pt x="600" y="275"/>
                </a:lnTo>
                <a:lnTo>
                  <a:pt x="602" y="278"/>
                </a:lnTo>
                <a:lnTo>
                  <a:pt x="604" y="280"/>
                </a:lnTo>
                <a:lnTo>
                  <a:pt x="606" y="284"/>
                </a:lnTo>
                <a:lnTo>
                  <a:pt x="609" y="291"/>
                </a:lnTo>
                <a:lnTo>
                  <a:pt x="610" y="298"/>
                </a:lnTo>
                <a:lnTo>
                  <a:pt x="610" y="305"/>
                </a:lnTo>
                <a:lnTo>
                  <a:pt x="610" y="311"/>
                </a:lnTo>
                <a:lnTo>
                  <a:pt x="609" y="318"/>
                </a:lnTo>
                <a:lnTo>
                  <a:pt x="608" y="324"/>
                </a:lnTo>
                <a:lnTo>
                  <a:pt x="603" y="334"/>
                </a:lnTo>
                <a:lnTo>
                  <a:pt x="600" y="339"/>
                </a:lnTo>
                <a:lnTo>
                  <a:pt x="596" y="341"/>
                </a:lnTo>
                <a:lnTo>
                  <a:pt x="591" y="344"/>
                </a:lnTo>
                <a:lnTo>
                  <a:pt x="589" y="349"/>
                </a:lnTo>
                <a:lnTo>
                  <a:pt x="588" y="354"/>
                </a:lnTo>
                <a:lnTo>
                  <a:pt x="587" y="367"/>
                </a:lnTo>
                <a:lnTo>
                  <a:pt x="586" y="379"/>
                </a:lnTo>
                <a:lnTo>
                  <a:pt x="584" y="389"/>
                </a:lnTo>
                <a:lnTo>
                  <a:pt x="582" y="399"/>
                </a:lnTo>
                <a:lnTo>
                  <a:pt x="575" y="418"/>
                </a:lnTo>
                <a:lnTo>
                  <a:pt x="567" y="433"/>
                </a:lnTo>
                <a:lnTo>
                  <a:pt x="553" y="455"/>
                </a:lnTo>
                <a:lnTo>
                  <a:pt x="546" y="461"/>
                </a:lnTo>
                <a:lnTo>
                  <a:pt x="544" y="464"/>
                </a:lnTo>
                <a:lnTo>
                  <a:pt x="543" y="467"/>
                </a:lnTo>
                <a:lnTo>
                  <a:pt x="542" y="470"/>
                </a:lnTo>
                <a:lnTo>
                  <a:pt x="541" y="473"/>
                </a:lnTo>
                <a:lnTo>
                  <a:pt x="541" y="587"/>
                </a:lnTo>
                <a:lnTo>
                  <a:pt x="542" y="591"/>
                </a:lnTo>
                <a:lnTo>
                  <a:pt x="544" y="595"/>
                </a:lnTo>
                <a:lnTo>
                  <a:pt x="548" y="598"/>
                </a:lnTo>
                <a:lnTo>
                  <a:pt x="552" y="601"/>
                </a:lnTo>
                <a:lnTo>
                  <a:pt x="568" y="607"/>
                </a:lnTo>
                <a:lnTo>
                  <a:pt x="584" y="612"/>
                </a:lnTo>
                <a:lnTo>
                  <a:pt x="600" y="619"/>
                </a:lnTo>
                <a:lnTo>
                  <a:pt x="615" y="624"/>
                </a:lnTo>
                <a:lnTo>
                  <a:pt x="656" y="639"/>
                </a:lnTo>
                <a:lnTo>
                  <a:pt x="693" y="653"/>
                </a:lnTo>
                <a:lnTo>
                  <a:pt x="729" y="667"/>
                </a:lnTo>
                <a:lnTo>
                  <a:pt x="760" y="681"/>
                </a:lnTo>
                <a:lnTo>
                  <a:pt x="774" y="688"/>
                </a:lnTo>
                <a:lnTo>
                  <a:pt x="787" y="695"/>
                </a:lnTo>
                <a:lnTo>
                  <a:pt x="797" y="702"/>
                </a:lnTo>
                <a:lnTo>
                  <a:pt x="808" y="710"/>
                </a:lnTo>
                <a:lnTo>
                  <a:pt x="818" y="717"/>
                </a:lnTo>
                <a:lnTo>
                  <a:pt x="825" y="725"/>
                </a:lnTo>
                <a:lnTo>
                  <a:pt x="832" y="732"/>
                </a:lnTo>
                <a:lnTo>
                  <a:pt x="836" y="740"/>
                </a:lnTo>
                <a:lnTo>
                  <a:pt x="846" y="759"/>
                </a:lnTo>
                <a:lnTo>
                  <a:pt x="852" y="780"/>
                </a:lnTo>
                <a:lnTo>
                  <a:pt x="858" y="798"/>
                </a:lnTo>
                <a:lnTo>
                  <a:pt x="863" y="816"/>
                </a:lnTo>
                <a:lnTo>
                  <a:pt x="869" y="848"/>
                </a:lnTo>
                <a:lnTo>
                  <a:pt x="871" y="872"/>
                </a:lnTo>
                <a:lnTo>
                  <a:pt x="31" y="872"/>
                </a:lnTo>
                <a:close/>
                <a:moveTo>
                  <a:pt x="863" y="727"/>
                </a:moveTo>
                <a:lnTo>
                  <a:pt x="857" y="716"/>
                </a:lnTo>
                <a:lnTo>
                  <a:pt x="850" y="708"/>
                </a:lnTo>
                <a:lnTo>
                  <a:pt x="841" y="698"/>
                </a:lnTo>
                <a:lnTo>
                  <a:pt x="832" y="690"/>
                </a:lnTo>
                <a:lnTo>
                  <a:pt x="821" y="682"/>
                </a:lnTo>
                <a:lnTo>
                  <a:pt x="808" y="673"/>
                </a:lnTo>
                <a:lnTo>
                  <a:pt x="795" y="666"/>
                </a:lnTo>
                <a:lnTo>
                  <a:pt x="780" y="657"/>
                </a:lnTo>
                <a:lnTo>
                  <a:pt x="747" y="642"/>
                </a:lnTo>
                <a:lnTo>
                  <a:pt x="710" y="627"/>
                </a:lnTo>
                <a:lnTo>
                  <a:pt x="670" y="612"/>
                </a:lnTo>
                <a:lnTo>
                  <a:pt x="626" y="596"/>
                </a:lnTo>
                <a:lnTo>
                  <a:pt x="613" y="591"/>
                </a:lnTo>
                <a:lnTo>
                  <a:pt x="599" y="587"/>
                </a:lnTo>
                <a:lnTo>
                  <a:pt x="585" y="581"/>
                </a:lnTo>
                <a:lnTo>
                  <a:pt x="571" y="576"/>
                </a:lnTo>
                <a:lnTo>
                  <a:pt x="571" y="478"/>
                </a:lnTo>
                <a:lnTo>
                  <a:pt x="578" y="473"/>
                </a:lnTo>
                <a:lnTo>
                  <a:pt x="584" y="464"/>
                </a:lnTo>
                <a:lnTo>
                  <a:pt x="590" y="453"/>
                </a:lnTo>
                <a:lnTo>
                  <a:pt x="598" y="440"/>
                </a:lnTo>
                <a:lnTo>
                  <a:pt x="605" y="424"/>
                </a:lnTo>
                <a:lnTo>
                  <a:pt x="611" y="406"/>
                </a:lnTo>
                <a:lnTo>
                  <a:pt x="614" y="397"/>
                </a:lnTo>
                <a:lnTo>
                  <a:pt x="615" y="386"/>
                </a:lnTo>
                <a:lnTo>
                  <a:pt x="617" y="375"/>
                </a:lnTo>
                <a:lnTo>
                  <a:pt x="618" y="364"/>
                </a:lnTo>
                <a:lnTo>
                  <a:pt x="624" y="358"/>
                </a:lnTo>
                <a:lnTo>
                  <a:pt x="629" y="350"/>
                </a:lnTo>
                <a:lnTo>
                  <a:pt x="633" y="340"/>
                </a:lnTo>
                <a:lnTo>
                  <a:pt x="638" y="328"/>
                </a:lnTo>
                <a:lnTo>
                  <a:pt x="639" y="319"/>
                </a:lnTo>
                <a:lnTo>
                  <a:pt x="640" y="308"/>
                </a:lnTo>
                <a:lnTo>
                  <a:pt x="640" y="297"/>
                </a:lnTo>
                <a:lnTo>
                  <a:pt x="639" y="287"/>
                </a:lnTo>
                <a:lnTo>
                  <a:pt x="635" y="278"/>
                </a:lnTo>
                <a:lnTo>
                  <a:pt x="632" y="268"/>
                </a:lnTo>
                <a:lnTo>
                  <a:pt x="627" y="261"/>
                </a:lnTo>
                <a:lnTo>
                  <a:pt x="620" y="253"/>
                </a:lnTo>
                <a:lnTo>
                  <a:pt x="623" y="248"/>
                </a:lnTo>
                <a:lnTo>
                  <a:pt x="625" y="242"/>
                </a:lnTo>
                <a:lnTo>
                  <a:pt x="631" y="227"/>
                </a:lnTo>
                <a:lnTo>
                  <a:pt x="638" y="209"/>
                </a:lnTo>
                <a:lnTo>
                  <a:pt x="644" y="190"/>
                </a:lnTo>
                <a:lnTo>
                  <a:pt x="649" y="170"/>
                </a:lnTo>
                <a:lnTo>
                  <a:pt x="655" y="148"/>
                </a:lnTo>
                <a:lnTo>
                  <a:pt x="657" y="127"/>
                </a:lnTo>
                <a:lnTo>
                  <a:pt x="658" y="116"/>
                </a:lnTo>
                <a:lnTo>
                  <a:pt x="658" y="106"/>
                </a:lnTo>
                <a:lnTo>
                  <a:pt x="657" y="96"/>
                </a:lnTo>
                <a:lnTo>
                  <a:pt x="656" y="86"/>
                </a:lnTo>
                <a:lnTo>
                  <a:pt x="653" y="75"/>
                </a:lnTo>
                <a:lnTo>
                  <a:pt x="648" y="64"/>
                </a:lnTo>
                <a:lnTo>
                  <a:pt x="642" y="56"/>
                </a:lnTo>
                <a:lnTo>
                  <a:pt x="634" y="47"/>
                </a:lnTo>
                <a:lnTo>
                  <a:pt x="625" y="40"/>
                </a:lnTo>
                <a:lnTo>
                  <a:pt x="615" y="32"/>
                </a:lnTo>
                <a:lnTo>
                  <a:pt x="604" y="26"/>
                </a:lnTo>
                <a:lnTo>
                  <a:pt x="593" y="21"/>
                </a:lnTo>
                <a:lnTo>
                  <a:pt x="580" y="15"/>
                </a:lnTo>
                <a:lnTo>
                  <a:pt x="566" y="12"/>
                </a:lnTo>
                <a:lnTo>
                  <a:pt x="552" y="8"/>
                </a:lnTo>
                <a:lnTo>
                  <a:pt x="538" y="6"/>
                </a:lnTo>
                <a:lnTo>
                  <a:pt x="523" y="2"/>
                </a:lnTo>
                <a:lnTo>
                  <a:pt x="508" y="1"/>
                </a:lnTo>
                <a:lnTo>
                  <a:pt x="493" y="0"/>
                </a:lnTo>
                <a:lnTo>
                  <a:pt x="478" y="0"/>
                </a:lnTo>
                <a:lnTo>
                  <a:pt x="455" y="0"/>
                </a:lnTo>
                <a:lnTo>
                  <a:pt x="432" y="3"/>
                </a:lnTo>
                <a:lnTo>
                  <a:pt x="409" y="7"/>
                </a:lnTo>
                <a:lnTo>
                  <a:pt x="388" y="12"/>
                </a:lnTo>
                <a:lnTo>
                  <a:pt x="378" y="16"/>
                </a:lnTo>
                <a:lnTo>
                  <a:pt x="368" y="19"/>
                </a:lnTo>
                <a:lnTo>
                  <a:pt x="359" y="25"/>
                </a:lnTo>
                <a:lnTo>
                  <a:pt x="351" y="29"/>
                </a:lnTo>
                <a:lnTo>
                  <a:pt x="344" y="36"/>
                </a:lnTo>
                <a:lnTo>
                  <a:pt x="337" y="41"/>
                </a:lnTo>
                <a:lnTo>
                  <a:pt x="331" y="48"/>
                </a:lnTo>
                <a:lnTo>
                  <a:pt x="327" y="55"/>
                </a:lnTo>
                <a:lnTo>
                  <a:pt x="319" y="56"/>
                </a:lnTo>
                <a:lnTo>
                  <a:pt x="312" y="58"/>
                </a:lnTo>
                <a:lnTo>
                  <a:pt x="304" y="60"/>
                </a:lnTo>
                <a:lnTo>
                  <a:pt x="298" y="63"/>
                </a:lnTo>
                <a:lnTo>
                  <a:pt x="291" y="67"/>
                </a:lnTo>
                <a:lnTo>
                  <a:pt x="286" y="71"/>
                </a:lnTo>
                <a:lnTo>
                  <a:pt x="281" y="76"/>
                </a:lnTo>
                <a:lnTo>
                  <a:pt x="275" y="82"/>
                </a:lnTo>
                <a:lnTo>
                  <a:pt x="270" y="90"/>
                </a:lnTo>
                <a:lnTo>
                  <a:pt x="267" y="99"/>
                </a:lnTo>
                <a:lnTo>
                  <a:pt x="263" y="110"/>
                </a:lnTo>
                <a:lnTo>
                  <a:pt x="261" y="119"/>
                </a:lnTo>
                <a:lnTo>
                  <a:pt x="260" y="130"/>
                </a:lnTo>
                <a:lnTo>
                  <a:pt x="260" y="141"/>
                </a:lnTo>
                <a:lnTo>
                  <a:pt x="260" y="152"/>
                </a:lnTo>
                <a:lnTo>
                  <a:pt x="261" y="163"/>
                </a:lnTo>
                <a:lnTo>
                  <a:pt x="264" y="186"/>
                </a:lnTo>
                <a:lnTo>
                  <a:pt x="270" y="207"/>
                </a:lnTo>
                <a:lnTo>
                  <a:pt x="275" y="226"/>
                </a:lnTo>
                <a:lnTo>
                  <a:pt x="281" y="244"/>
                </a:lnTo>
                <a:lnTo>
                  <a:pt x="282" y="249"/>
                </a:lnTo>
                <a:lnTo>
                  <a:pt x="283" y="252"/>
                </a:lnTo>
                <a:lnTo>
                  <a:pt x="276" y="260"/>
                </a:lnTo>
                <a:lnTo>
                  <a:pt x="271" y="268"/>
                </a:lnTo>
                <a:lnTo>
                  <a:pt x="267" y="277"/>
                </a:lnTo>
                <a:lnTo>
                  <a:pt x="264" y="287"/>
                </a:lnTo>
                <a:lnTo>
                  <a:pt x="263" y="297"/>
                </a:lnTo>
                <a:lnTo>
                  <a:pt x="262" y="308"/>
                </a:lnTo>
                <a:lnTo>
                  <a:pt x="263" y="319"/>
                </a:lnTo>
                <a:lnTo>
                  <a:pt x="266" y="328"/>
                </a:lnTo>
                <a:lnTo>
                  <a:pt x="269" y="340"/>
                </a:lnTo>
                <a:lnTo>
                  <a:pt x="273" y="350"/>
                </a:lnTo>
                <a:lnTo>
                  <a:pt x="278" y="358"/>
                </a:lnTo>
                <a:lnTo>
                  <a:pt x="285" y="364"/>
                </a:lnTo>
                <a:lnTo>
                  <a:pt x="286" y="375"/>
                </a:lnTo>
                <a:lnTo>
                  <a:pt x="287" y="385"/>
                </a:lnTo>
                <a:lnTo>
                  <a:pt x="289" y="396"/>
                </a:lnTo>
                <a:lnTo>
                  <a:pt x="291" y="404"/>
                </a:lnTo>
                <a:lnTo>
                  <a:pt x="298" y="421"/>
                </a:lnTo>
                <a:lnTo>
                  <a:pt x="304" y="437"/>
                </a:lnTo>
                <a:lnTo>
                  <a:pt x="312" y="448"/>
                </a:lnTo>
                <a:lnTo>
                  <a:pt x="319" y="459"/>
                </a:lnTo>
                <a:lnTo>
                  <a:pt x="326" y="467"/>
                </a:lnTo>
                <a:lnTo>
                  <a:pt x="331" y="473"/>
                </a:lnTo>
                <a:lnTo>
                  <a:pt x="331" y="576"/>
                </a:lnTo>
                <a:lnTo>
                  <a:pt x="317" y="581"/>
                </a:lnTo>
                <a:lnTo>
                  <a:pt x="303" y="587"/>
                </a:lnTo>
                <a:lnTo>
                  <a:pt x="290" y="591"/>
                </a:lnTo>
                <a:lnTo>
                  <a:pt x="277" y="596"/>
                </a:lnTo>
                <a:lnTo>
                  <a:pt x="233" y="612"/>
                </a:lnTo>
                <a:lnTo>
                  <a:pt x="193" y="627"/>
                </a:lnTo>
                <a:lnTo>
                  <a:pt x="155" y="642"/>
                </a:lnTo>
                <a:lnTo>
                  <a:pt x="123" y="658"/>
                </a:lnTo>
                <a:lnTo>
                  <a:pt x="108" y="666"/>
                </a:lnTo>
                <a:lnTo>
                  <a:pt x="94" y="673"/>
                </a:lnTo>
                <a:lnTo>
                  <a:pt x="82" y="682"/>
                </a:lnTo>
                <a:lnTo>
                  <a:pt x="70" y="690"/>
                </a:lnTo>
                <a:lnTo>
                  <a:pt x="61" y="698"/>
                </a:lnTo>
                <a:lnTo>
                  <a:pt x="52" y="708"/>
                </a:lnTo>
                <a:lnTo>
                  <a:pt x="46" y="716"/>
                </a:lnTo>
                <a:lnTo>
                  <a:pt x="39" y="727"/>
                </a:lnTo>
                <a:lnTo>
                  <a:pt x="33" y="741"/>
                </a:lnTo>
                <a:lnTo>
                  <a:pt x="26" y="756"/>
                </a:lnTo>
                <a:lnTo>
                  <a:pt x="21" y="770"/>
                </a:lnTo>
                <a:lnTo>
                  <a:pt x="17" y="784"/>
                </a:lnTo>
                <a:lnTo>
                  <a:pt x="10" y="811"/>
                </a:lnTo>
                <a:lnTo>
                  <a:pt x="5" y="835"/>
                </a:lnTo>
                <a:lnTo>
                  <a:pt x="3" y="856"/>
                </a:lnTo>
                <a:lnTo>
                  <a:pt x="1" y="872"/>
                </a:lnTo>
                <a:lnTo>
                  <a:pt x="1" y="882"/>
                </a:lnTo>
                <a:lnTo>
                  <a:pt x="0" y="887"/>
                </a:lnTo>
                <a:lnTo>
                  <a:pt x="1" y="890"/>
                </a:lnTo>
                <a:lnTo>
                  <a:pt x="2" y="893"/>
                </a:lnTo>
                <a:lnTo>
                  <a:pt x="3" y="895"/>
                </a:lnTo>
                <a:lnTo>
                  <a:pt x="5" y="898"/>
                </a:lnTo>
                <a:lnTo>
                  <a:pt x="7" y="900"/>
                </a:lnTo>
                <a:lnTo>
                  <a:pt x="9" y="901"/>
                </a:lnTo>
                <a:lnTo>
                  <a:pt x="12" y="902"/>
                </a:lnTo>
                <a:lnTo>
                  <a:pt x="15" y="902"/>
                </a:lnTo>
                <a:lnTo>
                  <a:pt x="887" y="902"/>
                </a:lnTo>
                <a:lnTo>
                  <a:pt x="891" y="902"/>
                </a:lnTo>
                <a:lnTo>
                  <a:pt x="894" y="901"/>
                </a:lnTo>
                <a:lnTo>
                  <a:pt x="896" y="900"/>
                </a:lnTo>
                <a:lnTo>
                  <a:pt x="898" y="898"/>
                </a:lnTo>
                <a:lnTo>
                  <a:pt x="900" y="895"/>
                </a:lnTo>
                <a:lnTo>
                  <a:pt x="901" y="893"/>
                </a:lnTo>
                <a:lnTo>
                  <a:pt x="902" y="890"/>
                </a:lnTo>
                <a:lnTo>
                  <a:pt x="902" y="887"/>
                </a:lnTo>
                <a:lnTo>
                  <a:pt x="902" y="882"/>
                </a:lnTo>
                <a:lnTo>
                  <a:pt x="901" y="872"/>
                </a:lnTo>
                <a:lnTo>
                  <a:pt x="900" y="856"/>
                </a:lnTo>
                <a:lnTo>
                  <a:pt x="897" y="835"/>
                </a:lnTo>
                <a:lnTo>
                  <a:pt x="893" y="811"/>
                </a:lnTo>
                <a:lnTo>
                  <a:pt x="885" y="784"/>
                </a:lnTo>
                <a:lnTo>
                  <a:pt x="881" y="770"/>
                </a:lnTo>
                <a:lnTo>
                  <a:pt x="876" y="756"/>
                </a:lnTo>
                <a:lnTo>
                  <a:pt x="870" y="741"/>
                </a:lnTo>
                <a:lnTo>
                  <a:pt x="863" y="727"/>
                </a:lnTo>
                <a:close/>
              </a:path>
            </a:pathLst>
          </a:custGeom>
          <a:solidFill>
            <a:srgbClr val="E2583D"/>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mn-cs"/>
            </a:endParaRPr>
          </a:p>
        </p:txBody>
      </p:sp>
      <p:sp>
        <p:nvSpPr>
          <p:cNvPr id="55" name="Freeform 57"/>
          <p:cNvSpPr>
            <a:spLocks noEditPoints="1"/>
          </p:cNvSpPr>
          <p:nvPr/>
        </p:nvSpPr>
        <p:spPr bwMode="auto">
          <a:xfrm>
            <a:off x="6114706" y="3883505"/>
            <a:ext cx="728486" cy="728488"/>
          </a:xfrm>
          <a:custGeom>
            <a:avLst/>
            <a:gdLst>
              <a:gd name="T0" fmla="*/ 58 w 902"/>
              <a:gd name="T1" fmla="*/ 760 h 902"/>
              <a:gd name="T2" fmla="*/ 105 w 902"/>
              <a:gd name="T3" fmla="*/ 702 h 902"/>
              <a:gd name="T4" fmla="*/ 247 w 902"/>
              <a:gd name="T5" fmla="*/ 639 h 902"/>
              <a:gd name="T6" fmla="*/ 356 w 902"/>
              <a:gd name="T7" fmla="*/ 598 h 902"/>
              <a:gd name="T8" fmla="*/ 360 w 902"/>
              <a:gd name="T9" fmla="*/ 459 h 902"/>
              <a:gd name="T10" fmla="*/ 328 w 902"/>
              <a:gd name="T11" fmla="*/ 415 h 902"/>
              <a:gd name="T12" fmla="*/ 315 w 902"/>
              <a:gd name="T13" fmla="*/ 354 h 902"/>
              <a:gd name="T14" fmla="*/ 296 w 902"/>
              <a:gd name="T15" fmla="*/ 324 h 902"/>
              <a:gd name="T16" fmla="*/ 297 w 902"/>
              <a:gd name="T17" fmla="*/ 284 h 902"/>
              <a:gd name="T18" fmla="*/ 313 w 902"/>
              <a:gd name="T19" fmla="*/ 267 h 902"/>
              <a:gd name="T20" fmla="*/ 300 w 902"/>
              <a:gd name="T21" fmla="*/ 205 h 902"/>
              <a:gd name="T22" fmla="*/ 293 w 902"/>
              <a:gd name="T23" fmla="*/ 113 h 902"/>
              <a:gd name="T24" fmla="*/ 315 w 902"/>
              <a:gd name="T25" fmla="*/ 88 h 902"/>
              <a:gd name="T26" fmla="*/ 352 w 902"/>
              <a:gd name="T27" fmla="*/ 73 h 902"/>
              <a:gd name="T28" fmla="*/ 377 w 902"/>
              <a:gd name="T29" fmla="*/ 48 h 902"/>
              <a:gd name="T30" fmla="*/ 478 w 902"/>
              <a:gd name="T31" fmla="*/ 30 h 902"/>
              <a:gd name="T32" fmla="*/ 574 w 902"/>
              <a:gd name="T33" fmla="*/ 45 h 902"/>
              <a:gd name="T34" fmla="*/ 620 w 902"/>
              <a:gd name="T35" fmla="*/ 77 h 902"/>
              <a:gd name="T36" fmla="*/ 627 w 902"/>
              <a:gd name="T37" fmla="*/ 127 h 902"/>
              <a:gd name="T38" fmla="*/ 590 w 902"/>
              <a:gd name="T39" fmla="*/ 250 h 902"/>
              <a:gd name="T40" fmla="*/ 596 w 902"/>
              <a:gd name="T41" fmla="*/ 272 h 902"/>
              <a:gd name="T42" fmla="*/ 610 w 902"/>
              <a:gd name="T43" fmla="*/ 298 h 902"/>
              <a:gd name="T44" fmla="*/ 600 w 902"/>
              <a:gd name="T45" fmla="*/ 339 h 902"/>
              <a:gd name="T46" fmla="*/ 586 w 902"/>
              <a:gd name="T47" fmla="*/ 379 h 902"/>
              <a:gd name="T48" fmla="*/ 546 w 902"/>
              <a:gd name="T49" fmla="*/ 461 h 902"/>
              <a:gd name="T50" fmla="*/ 542 w 902"/>
              <a:gd name="T51" fmla="*/ 591 h 902"/>
              <a:gd name="T52" fmla="*/ 600 w 902"/>
              <a:gd name="T53" fmla="*/ 619 h 902"/>
              <a:gd name="T54" fmla="*/ 774 w 902"/>
              <a:gd name="T55" fmla="*/ 688 h 902"/>
              <a:gd name="T56" fmla="*/ 832 w 902"/>
              <a:gd name="T57" fmla="*/ 732 h 902"/>
              <a:gd name="T58" fmla="*/ 869 w 902"/>
              <a:gd name="T59" fmla="*/ 848 h 902"/>
              <a:gd name="T60" fmla="*/ 841 w 902"/>
              <a:gd name="T61" fmla="*/ 698 h 902"/>
              <a:gd name="T62" fmla="*/ 747 w 902"/>
              <a:gd name="T63" fmla="*/ 642 h 902"/>
              <a:gd name="T64" fmla="*/ 585 w 902"/>
              <a:gd name="T65" fmla="*/ 581 h 902"/>
              <a:gd name="T66" fmla="*/ 598 w 902"/>
              <a:gd name="T67" fmla="*/ 440 h 902"/>
              <a:gd name="T68" fmla="*/ 618 w 902"/>
              <a:gd name="T69" fmla="*/ 364 h 902"/>
              <a:gd name="T70" fmla="*/ 640 w 902"/>
              <a:gd name="T71" fmla="*/ 308 h 902"/>
              <a:gd name="T72" fmla="*/ 620 w 902"/>
              <a:gd name="T73" fmla="*/ 253 h 902"/>
              <a:gd name="T74" fmla="*/ 649 w 902"/>
              <a:gd name="T75" fmla="*/ 170 h 902"/>
              <a:gd name="T76" fmla="*/ 656 w 902"/>
              <a:gd name="T77" fmla="*/ 86 h 902"/>
              <a:gd name="T78" fmla="*/ 615 w 902"/>
              <a:gd name="T79" fmla="*/ 32 h 902"/>
              <a:gd name="T80" fmla="*/ 538 w 902"/>
              <a:gd name="T81" fmla="*/ 6 h 902"/>
              <a:gd name="T82" fmla="*/ 432 w 902"/>
              <a:gd name="T83" fmla="*/ 3 h 902"/>
              <a:gd name="T84" fmla="*/ 351 w 902"/>
              <a:gd name="T85" fmla="*/ 29 h 902"/>
              <a:gd name="T86" fmla="*/ 312 w 902"/>
              <a:gd name="T87" fmla="*/ 58 h 902"/>
              <a:gd name="T88" fmla="*/ 275 w 902"/>
              <a:gd name="T89" fmla="*/ 82 h 902"/>
              <a:gd name="T90" fmla="*/ 260 w 902"/>
              <a:gd name="T91" fmla="*/ 141 h 902"/>
              <a:gd name="T92" fmla="*/ 281 w 902"/>
              <a:gd name="T93" fmla="*/ 244 h 902"/>
              <a:gd name="T94" fmla="*/ 264 w 902"/>
              <a:gd name="T95" fmla="*/ 287 h 902"/>
              <a:gd name="T96" fmla="*/ 273 w 902"/>
              <a:gd name="T97" fmla="*/ 350 h 902"/>
              <a:gd name="T98" fmla="*/ 291 w 902"/>
              <a:gd name="T99" fmla="*/ 404 h 902"/>
              <a:gd name="T100" fmla="*/ 331 w 902"/>
              <a:gd name="T101" fmla="*/ 473 h 902"/>
              <a:gd name="T102" fmla="*/ 233 w 902"/>
              <a:gd name="T103" fmla="*/ 612 h 902"/>
              <a:gd name="T104" fmla="*/ 82 w 902"/>
              <a:gd name="T105" fmla="*/ 682 h 902"/>
              <a:gd name="T106" fmla="*/ 33 w 902"/>
              <a:gd name="T107" fmla="*/ 741 h 902"/>
              <a:gd name="T108" fmla="*/ 3 w 902"/>
              <a:gd name="T109" fmla="*/ 856 h 902"/>
              <a:gd name="T110" fmla="*/ 3 w 902"/>
              <a:gd name="T111" fmla="*/ 895 h 902"/>
              <a:gd name="T112" fmla="*/ 887 w 902"/>
              <a:gd name="T113" fmla="*/ 902 h 902"/>
              <a:gd name="T114" fmla="*/ 901 w 902"/>
              <a:gd name="T115" fmla="*/ 893 h 902"/>
              <a:gd name="T116" fmla="*/ 897 w 902"/>
              <a:gd name="T117" fmla="*/ 835 h 902"/>
              <a:gd name="T118" fmla="*/ 863 w 902"/>
              <a:gd name="T119" fmla="*/ 727 h 9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02" h="902">
                <a:moveTo>
                  <a:pt x="31" y="872"/>
                </a:moveTo>
                <a:lnTo>
                  <a:pt x="34" y="848"/>
                </a:lnTo>
                <a:lnTo>
                  <a:pt x="39" y="816"/>
                </a:lnTo>
                <a:lnTo>
                  <a:pt x="45" y="798"/>
                </a:lnTo>
                <a:lnTo>
                  <a:pt x="50" y="780"/>
                </a:lnTo>
                <a:lnTo>
                  <a:pt x="58" y="760"/>
                </a:lnTo>
                <a:lnTo>
                  <a:pt x="66" y="740"/>
                </a:lnTo>
                <a:lnTo>
                  <a:pt x="71" y="732"/>
                </a:lnTo>
                <a:lnTo>
                  <a:pt x="78" y="725"/>
                </a:lnTo>
                <a:lnTo>
                  <a:pt x="85" y="717"/>
                </a:lnTo>
                <a:lnTo>
                  <a:pt x="94" y="710"/>
                </a:lnTo>
                <a:lnTo>
                  <a:pt x="105" y="702"/>
                </a:lnTo>
                <a:lnTo>
                  <a:pt x="117" y="695"/>
                </a:lnTo>
                <a:lnTo>
                  <a:pt x="129" y="688"/>
                </a:lnTo>
                <a:lnTo>
                  <a:pt x="143" y="681"/>
                </a:lnTo>
                <a:lnTo>
                  <a:pt x="174" y="667"/>
                </a:lnTo>
                <a:lnTo>
                  <a:pt x="209" y="653"/>
                </a:lnTo>
                <a:lnTo>
                  <a:pt x="247" y="639"/>
                </a:lnTo>
                <a:lnTo>
                  <a:pt x="287" y="624"/>
                </a:lnTo>
                <a:lnTo>
                  <a:pt x="303" y="619"/>
                </a:lnTo>
                <a:lnTo>
                  <a:pt x="319" y="612"/>
                </a:lnTo>
                <a:lnTo>
                  <a:pt x="335" y="607"/>
                </a:lnTo>
                <a:lnTo>
                  <a:pt x="351" y="601"/>
                </a:lnTo>
                <a:lnTo>
                  <a:pt x="356" y="598"/>
                </a:lnTo>
                <a:lnTo>
                  <a:pt x="359" y="595"/>
                </a:lnTo>
                <a:lnTo>
                  <a:pt x="360" y="591"/>
                </a:lnTo>
                <a:lnTo>
                  <a:pt x="361" y="587"/>
                </a:lnTo>
                <a:lnTo>
                  <a:pt x="361" y="467"/>
                </a:lnTo>
                <a:lnTo>
                  <a:pt x="361" y="462"/>
                </a:lnTo>
                <a:lnTo>
                  <a:pt x="360" y="459"/>
                </a:lnTo>
                <a:lnTo>
                  <a:pt x="358" y="457"/>
                </a:lnTo>
                <a:lnTo>
                  <a:pt x="356" y="455"/>
                </a:lnTo>
                <a:lnTo>
                  <a:pt x="349" y="448"/>
                </a:lnTo>
                <a:lnTo>
                  <a:pt x="335" y="429"/>
                </a:lnTo>
                <a:lnTo>
                  <a:pt x="331" y="423"/>
                </a:lnTo>
                <a:lnTo>
                  <a:pt x="328" y="415"/>
                </a:lnTo>
                <a:lnTo>
                  <a:pt x="325" y="408"/>
                </a:lnTo>
                <a:lnTo>
                  <a:pt x="321" y="398"/>
                </a:lnTo>
                <a:lnTo>
                  <a:pt x="318" y="388"/>
                </a:lnTo>
                <a:lnTo>
                  <a:pt x="316" y="378"/>
                </a:lnTo>
                <a:lnTo>
                  <a:pt x="315" y="367"/>
                </a:lnTo>
                <a:lnTo>
                  <a:pt x="315" y="354"/>
                </a:lnTo>
                <a:lnTo>
                  <a:pt x="314" y="349"/>
                </a:lnTo>
                <a:lnTo>
                  <a:pt x="312" y="344"/>
                </a:lnTo>
                <a:lnTo>
                  <a:pt x="307" y="341"/>
                </a:lnTo>
                <a:lnTo>
                  <a:pt x="302" y="339"/>
                </a:lnTo>
                <a:lnTo>
                  <a:pt x="299" y="334"/>
                </a:lnTo>
                <a:lnTo>
                  <a:pt x="296" y="324"/>
                </a:lnTo>
                <a:lnTo>
                  <a:pt x="294" y="319"/>
                </a:lnTo>
                <a:lnTo>
                  <a:pt x="293" y="311"/>
                </a:lnTo>
                <a:lnTo>
                  <a:pt x="292" y="305"/>
                </a:lnTo>
                <a:lnTo>
                  <a:pt x="293" y="298"/>
                </a:lnTo>
                <a:lnTo>
                  <a:pt x="294" y="291"/>
                </a:lnTo>
                <a:lnTo>
                  <a:pt x="297" y="284"/>
                </a:lnTo>
                <a:lnTo>
                  <a:pt x="298" y="280"/>
                </a:lnTo>
                <a:lnTo>
                  <a:pt x="300" y="278"/>
                </a:lnTo>
                <a:lnTo>
                  <a:pt x="303" y="275"/>
                </a:lnTo>
                <a:lnTo>
                  <a:pt x="306" y="272"/>
                </a:lnTo>
                <a:lnTo>
                  <a:pt x="309" y="270"/>
                </a:lnTo>
                <a:lnTo>
                  <a:pt x="313" y="267"/>
                </a:lnTo>
                <a:lnTo>
                  <a:pt x="314" y="264"/>
                </a:lnTo>
                <a:lnTo>
                  <a:pt x="315" y="260"/>
                </a:lnTo>
                <a:lnTo>
                  <a:pt x="314" y="251"/>
                </a:lnTo>
                <a:lnTo>
                  <a:pt x="308" y="235"/>
                </a:lnTo>
                <a:lnTo>
                  <a:pt x="305" y="222"/>
                </a:lnTo>
                <a:lnTo>
                  <a:pt x="300" y="205"/>
                </a:lnTo>
                <a:lnTo>
                  <a:pt x="296" y="187"/>
                </a:lnTo>
                <a:lnTo>
                  <a:pt x="292" y="167"/>
                </a:lnTo>
                <a:lnTo>
                  <a:pt x="290" y="148"/>
                </a:lnTo>
                <a:lnTo>
                  <a:pt x="290" y="130"/>
                </a:lnTo>
                <a:lnTo>
                  <a:pt x="291" y="121"/>
                </a:lnTo>
                <a:lnTo>
                  <a:pt x="293" y="113"/>
                </a:lnTo>
                <a:lnTo>
                  <a:pt x="296" y="106"/>
                </a:lnTo>
                <a:lnTo>
                  <a:pt x="300" y="100"/>
                </a:lnTo>
                <a:lnTo>
                  <a:pt x="303" y="97"/>
                </a:lnTo>
                <a:lnTo>
                  <a:pt x="306" y="93"/>
                </a:lnTo>
                <a:lnTo>
                  <a:pt x="311" y="90"/>
                </a:lnTo>
                <a:lnTo>
                  <a:pt x="315" y="88"/>
                </a:lnTo>
                <a:lnTo>
                  <a:pt x="326" y="86"/>
                </a:lnTo>
                <a:lnTo>
                  <a:pt x="337" y="85"/>
                </a:lnTo>
                <a:lnTo>
                  <a:pt x="343" y="84"/>
                </a:lnTo>
                <a:lnTo>
                  <a:pt x="347" y="82"/>
                </a:lnTo>
                <a:lnTo>
                  <a:pt x="350" y="78"/>
                </a:lnTo>
                <a:lnTo>
                  <a:pt x="352" y="73"/>
                </a:lnTo>
                <a:lnTo>
                  <a:pt x="353" y="69"/>
                </a:lnTo>
                <a:lnTo>
                  <a:pt x="357" y="64"/>
                </a:lnTo>
                <a:lnTo>
                  <a:pt x="360" y="60"/>
                </a:lnTo>
                <a:lnTo>
                  <a:pt x="365" y="56"/>
                </a:lnTo>
                <a:lnTo>
                  <a:pt x="371" y="53"/>
                </a:lnTo>
                <a:lnTo>
                  <a:pt x="377" y="48"/>
                </a:lnTo>
                <a:lnTo>
                  <a:pt x="385" y="45"/>
                </a:lnTo>
                <a:lnTo>
                  <a:pt x="393" y="42"/>
                </a:lnTo>
                <a:lnTo>
                  <a:pt x="410" y="38"/>
                </a:lnTo>
                <a:lnTo>
                  <a:pt x="431" y="33"/>
                </a:lnTo>
                <a:lnTo>
                  <a:pt x="453" y="31"/>
                </a:lnTo>
                <a:lnTo>
                  <a:pt x="478" y="30"/>
                </a:lnTo>
                <a:lnTo>
                  <a:pt x="502" y="31"/>
                </a:lnTo>
                <a:lnTo>
                  <a:pt x="528" y="34"/>
                </a:lnTo>
                <a:lnTo>
                  <a:pt x="540" y="37"/>
                </a:lnTo>
                <a:lnTo>
                  <a:pt x="552" y="39"/>
                </a:lnTo>
                <a:lnTo>
                  <a:pt x="564" y="42"/>
                </a:lnTo>
                <a:lnTo>
                  <a:pt x="574" y="45"/>
                </a:lnTo>
                <a:lnTo>
                  <a:pt x="584" y="49"/>
                </a:lnTo>
                <a:lnTo>
                  <a:pt x="594" y="54"/>
                </a:lnTo>
                <a:lnTo>
                  <a:pt x="602" y="59"/>
                </a:lnTo>
                <a:lnTo>
                  <a:pt x="609" y="64"/>
                </a:lnTo>
                <a:lnTo>
                  <a:pt x="615" y="71"/>
                </a:lnTo>
                <a:lnTo>
                  <a:pt x="620" y="77"/>
                </a:lnTo>
                <a:lnTo>
                  <a:pt x="624" y="84"/>
                </a:lnTo>
                <a:lnTo>
                  <a:pt x="626" y="91"/>
                </a:lnTo>
                <a:lnTo>
                  <a:pt x="628" y="100"/>
                </a:lnTo>
                <a:lnTo>
                  <a:pt x="628" y="108"/>
                </a:lnTo>
                <a:lnTo>
                  <a:pt x="628" y="118"/>
                </a:lnTo>
                <a:lnTo>
                  <a:pt x="627" y="127"/>
                </a:lnTo>
                <a:lnTo>
                  <a:pt x="625" y="146"/>
                </a:lnTo>
                <a:lnTo>
                  <a:pt x="619" y="165"/>
                </a:lnTo>
                <a:lnTo>
                  <a:pt x="609" y="201"/>
                </a:lnTo>
                <a:lnTo>
                  <a:pt x="597" y="231"/>
                </a:lnTo>
                <a:lnTo>
                  <a:pt x="593" y="241"/>
                </a:lnTo>
                <a:lnTo>
                  <a:pt x="590" y="250"/>
                </a:lnTo>
                <a:lnTo>
                  <a:pt x="588" y="255"/>
                </a:lnTo>
                <a:lnTo>
                  <a:pt x="588" y="260"/>
                </a:lnTo>
                <a:lnTo>
                  <a:pt x="588" y="264"/>
                </a:lnTo>
                <a:lnTo>
                  <a:pt x="590" y="267"/>
                </a:lnTo>
                <a:lnTo>
                  <a:pt x="593" y="270"/>
                </a:lnTo>
                <a:lnTo>
                  <a:pt x="596" y="272"/>
                </a:lnTo>
                <a:lnTo>
                  <a:pt x="600" y="275"/>
                </a:lnTo>
                <a:lnTo>
                  <a:pt x="602" y="278"/>
                </a:lnTo>
                <a:lnTo>
                  <a:pt x="604" y="280"/>
                </a:lnTo>
                <a:lnTo>
                  <a:pt x="606" y="284"/>
                </a:lnTo>
                <a:lnTo>
                  <a:pt x="609" y="291"/>
                </a:lnTo>
                <a:lnTo>
                  <a:pt x="610" y="298"/>
                </a:lnTo>
                <a:lnTo>
                  <a:pt x="610" y="305"/>
                </a:lnTo>
                <a:lnTo>
                  <a:pt x="610" y="311"/>
                </a:lnTo>
                <a:lnTo>
                  <a:pt x="609" y="318"/>
                </a:lnTo>
                <a:lnTo>
                  <a:pt x="608" y="324"/>
                </a:lnTo>
                <a:lnTo>
                  <a:pt x="603" y="334"/>
                </a:lnTo>
                <a:lnTo>
                  <a:pt x="600" y="339"/>
                </a:lnTo>
                <a:lnTo>
                  <a:pt x="596" y="341"/>
                </a:lnTo>
                <a:lnTo>
                  <a:pt x="591" y="344"/>
                </a:lnTo>
                <a:lnTo>
                  <a:pt x="589" y="349"/>
                </a:lnTo>
                <a:lnTo>
                  <a:pt x="588" y="354"/>
                </a:lnTo>
                <a:lnTo>
                  <a:pt x="587" y="367"/>
                </a:lnTo>
                <a:lnTo>
                  <a:pt x="586" y="379"/>
                </a:lnTo>
                <a:lnTo>
                  <a:pt x="584" y="389"/>
                </a:lnTo>
                <a:lnTo>
                  <a:pt x="582" y="399"/>
                </a:lnTo>
                <a:lnTo>
                  <a:pt x="575" y="418"/>
                </a:lnTo>
                <a:lnTo>
                  <a:pt x="567" y="433"/>
                </a:lnTo>
                <a:lnTo>
                  <a:pt x="553" y="455"/>
                </a:lnTo>
                <a:lnTo>
                  <a:pt x="546" y="461"/>
                </a:lnTo>
                <a:lnTo>
                  <a:pt x="544" y="464"/>
                </a:lnTo>
                <a:lnTo>
                  <a:pt x="543" y="467"/>
                </a:lnTo>
                <a:lnTo>
                  <a:pt x="542" y="470"/>
                </a:lnTo>
                <a:lnTo>
                  <a:pt x="541" y="473"/>
                </a:lnTo>
                <a:lnTo>
                  <a:pt x="541" y="587"/>
                </a:lnTo>
                <a:lnTo>
                  <a:pt x="542" y="591"/>
                </a:lnTo>
                <a:lnTo>
                  <a:pt x="544" y="595"/>
                </a:lnTo>
                <a:lnTo>
                  <a:pt x="548" y="598"/>
                </a:lnTo>
                <a:lnTo>
                  <a:pt x="552" y="601"/>
                </a:lnTo>
                <a:lnTo>
                  <a:pt x="568" y="607"/>
                </a:lnTo>
                <a:lnTo>
                  <a:pt x="584" y="612"/>
                </a:lnTo>
                <a:lnTo>
                  <a:pt x="600" y="619"/>
                </a:lnTo>
                <a:lnTo>
                  <a:pt x="615" y="624"/>
                </a:lnTo>
                <a:lnTo>
                  <a:pt x="656" y="639"/>
                </a:lnTo>
                <a:lnTo>
                  <a:pt x="693" y="653"/>
                </a:lnTo>
                <a:lnTo>
                  <a:pt x="729" y="667"/>
                </a:lnTo>
                <a:lnTo>
                  <a:pt x="760" y="681"/>
                </a:lnTo>
                <a:lnTo>
                  <a:pt x="774" y="688"/>
                </a:lnTo>
                <a:lnTo>
                  <a:pt x="787" y="695"/>
                </a:lnTo>
                <a:lnTo>
                  <a:pt x="797" y="702"/>
                </a:lnTo>
                <a:lnTo>
                  <a:pt x="808" y="710"/>
                </a:lnTo>
                <a:lnTo>
                  <a:pt x="818" y="717"/>
                </a:lnTo>
                <a:lnTo>
                  <a:pt x="825" y="725"/>
                </a:lnTo>
                <a:lnTo>
                  <a:pt x="832" y="732"/>
                </a:lnTo>
                <a:lnTo>
                  <a:pt x="836" y="740"/>
                </a:lnTo>
                <a:lnTo>
                  <a:pt x="846" y="759"/>
                </a:lnTo>
                <a:lnTo>
                  <a:pt x="852" y="780"/>
                </a:lnTo>
                <a:lnTo>
                  <a:pt x="858" y="798"/>
                </a:lnTo>
                <a:lnTo>
                  <a:pt x="863" y="816"/>
                </a:lnTo>
                <a:lnTo>
                  <a:pt x="869" y="848"/>
                </a:lnTo>
                <a:lnTo>
                  <a:pt x="871" y="872"/>
                </a:lnTo>
                <a:lnTo>
                  <a:pt x="31" y="872"/>
                </a:lnTo>
                <a:close/>
                <a:moveTo>
                  <a:pt x="863" y="727"/>
                </a:moveTo>
                <a:lnTo>
                  <a:pt x="857" y="716"/>
                </a:lnTo>
                <a:lnTo>
                  <a:pt x="850" y="708"/>
                </a:lnTo>
                <a:lnTo>
                  <a:pt x="841" y="698"/>
                </a:lnTo>
                <a:lnTo>
                  <a:pt x="832" y="690"/>
                </a:lnTo>
                <a:lnTo>
                  <a:pt x="821" y="682"/>
                </a:lnTo>
                <a:lnTo>
                  <a:pt x="808" y="673"/>
                </a:lnTo>
                <a:lnTo>
                  <a:pt x="795" y="666"/>
                </a:lnTo>
                <a:lnTo>
                  <a:pt x="780" y="657"/>
                </a:lnTo>
                <a:lnTo>
                  <a:pt x="747" y="642"/>
                </a:lnTo>
                <a:lnTo>
                  <a:pt x="710" y="627"/>
                </a:lnTo>
                <a:lnTo>
                  <a:pt x="670" y="612"/>
                </a:lnTo>
                <a:lnTo>
                  <a:pt x="626" y="596"/>
                </a:lnTo>
                <a:lnTo>
                  <a:pt x="613" y="591"/>
                </a:lnTo>
                <a:lnTo>
                  <a:pt x="599" y="587"/>
                </a:lnTo>
                <a:lnTo>
                  <a:pt x="585" y="581"/>
                </a:lnTo>
                <a:lnTo>
                  <a:pt x="571" y="576"/>
                </a:lnTo>
                <a:lnTo>
                  <a:pt x="571" y="478"/>
                </a:lnTo>
                <a:lnTo>
                  <a:pt x="578" y="473"/>
                </a:lnTo>
                <a:lnTo>
                  <a:pt x="584" y="464"/>
                </a:lnTo>
                <a:lnTo>
                  <a:pt x="590" y="453"/>
                </a:lnTo>
                <a:lnTo>
                  <a:pt x="598" y="440"/>
                </a:lnTo>
                <a:lnTo>
                  <a:pt x="605" y="424"/>
                </a:lnTo>
                <a:lnTo>
                  <a:pt x="611" y="406"/>
                </a:lnTo>
                <a:lnTo>
                  <a:pt x="614" y="397"/>
                </a:lnTo>
                <a:lnTo>
                  <a:pt x="615" y="386"/>
                </a:lnTo>
                <a:lnTo>
                  <a:pt x="617" y="375"/>
                </a:lnTo>
                <a:lnTo>
                  <a:pt x="618" y="364"/>
                </a:lnTo>
                <a:lnTo>
                  <a:pt x="624" y="358"/>
                </a:lnTo>
                <a:lnTo>
                  <a:pt x="629" y="350"/>
                </a:lnTo>
                <a:lnTo>
                  <a:pt x="633" y="340"/>
                </a:lnTo>
                <a:lnTo>
                  <a:pt x="638" y="328"/>
                </a:lnTo>
                <a:lnTo>
                  <a:pt x="639" y="319"/>
                </a:lnTo>
                <a:lnTo>
                  <a:pt x="640" y="308"/>
                </a:lnTo>
                <a:lnTo>
                  <a:pt x="640" y="297"/>
                </a:lnTo>
                <a:lnTo>
                  <a:pt x="639" y="287"/>
                </a:lnTo>
                <a:lnTo>
                  <a:pt x="635" y="278"/>
                </a:lnTo>
                <a:lnTo>
                  <a:pt x="632" y="268"/>
                </a:lnTo>
                <a:lnTo>
                  <a:pt x="627" y="261"/>
                </a:lnTo>
                <a:lnTo>
                  <a:pt x="620" y="253"/>
                </a:lnTo>
                <a:lnTo>
                  <a:pt x="623" y="248"/>
                </a:lnTo>
                <a:lnTo>
                  <a:pt x="625" y="242"/>
                </a:lnTo>
                <a:lnTo>
                  <a:pt x="631" y="227"/>
                </a:lnTo>
                <a:lnTo>
                  <a:pt x="638" y="209"/>
                </a:lnTo>
                <a:lnTo>
                  <a:pt x="644" y="190"/>
                </a:lnTo>
                <a:lnTo>
                  <a:pt x="649" y="170"/>
                </a:lnTo>
                <a:lnTo>
                  <a:pt x="655" y="148"/>
                </a:lnTo>
                <a:lnTo>
                  <a:pt x="657" y="127"/>
                </a:lnTo>
                <a:lnTo>
                  <a:pt x="658" y="116"/>
                </a:lnTo>
                <a:lnTo>
                  <a:pt x="658" y="106"/>
                </a:lnTo>
                <a:lnTo>
                  <a:pt x="657" y="96"/>
                </a:lnTo>
                <a:lnTo>
                  <a:pt x="656" y="86"/>
                </a:lnTo>
                <a:lnTo>
                  <a:pt x="653" y="75"/>
                </a:lnTo>
                <a:lnTo>
                  <a:pt x="648" y="64"/>
                </a:lnTo>
                <a:lnTo>
                  <a:pt x="642" y="56"/>
                </a:lnTo>
                <a:lnTo>
                  <a:pt x="634" y="47"/>
                </a:lnTo>
                <a:lnTo>
                  <a:pt x="625" y="40"/>
                </a:lnTo>
                <a:lnTo>
                  <a:pt x="615" y="32"/>
                </a:lnTo>
                <a:lnTo>
                  <a:pt x="604" y="26"/>
                </a:lnTo>
                <a:lnTo>
                  <a:pt x="593" y="21"/>
                </a:lnTo>
                <a:lnTo>
                  <a:pt x="580" y="15"/>
                </a:lnTo>
                <a:lnTo>
                  <a:pt x="566" y="12"/>
                </a:lnTo>
                <a:lnTo>
                  <a:pt x="552" y="8"/>
                </a:lnTo>
                <a:lnTo>
                  <a:pt x="538" y="6"/>
                </a:lnTo>
                <a:lnTo>
                  <a:pt x="523" y="2"/>
                </a:lnTo>
                <a:lnTo>
                  <a:pt x="508" y="1"/>
                </a:lnTo>
                <a:lnTo>
                  <a:pt x="493" y="0"/>
                </a:lnTo>
                <a:lnTo>
                  <a:pt x="478" y="0"/>
                </a:lnTo>
                <a:lnTo>
                  <a:pt x="455" y="0"/>
                </a:lnTo>
                <a:lnTo>
                  <a:pt x="432" y="3"/>
                </a:lnTo>
                <a:lnTo>
                  <a:pt x="409" y="7"/>
                </a:lnTo>
                <a:lnTo>
                  <a:pt x="388" y="12"/>
                </a:lnTo>
                <a:lnTo>
                  <a:pt x="378" y="16"/>
                </a:lnTo>
                <a:lnTo>
                  <a:pt x="368" y="19"/>
                </a:lnTo>
                <a:lnTo>
                  <a:pt x="359" y="25"/>
                </a:lnTo>
                <a:lnTo>
                  <a:pt x="351" y="29"/>
                </a:lnTo>
                <a:lnTo>
                  <a:pt x="344" y="36"/>
                </a:lnTo>
                <a:lnTo>
                  <a:pt x="337" y="41"/>
                </a:lnTo>
                <a:lnTo>
                  <a:pt x="331" y="48"/>
                </a:lnTo>
                <a:lnTo>
                  <a:pt x="327" y="55"/>
                </a:lnTo>
                <a:lnTo>
                  <a:pt x="319" y="56"/>
                </a:lnTo>
                <a:lnTo>
                  <a:pt x="312" y="58"/>
                </a:lnTo>
                <a:lnTo>
                  <a:pt x="304" y="60"/>
                </a:lnTo>
                <a:lnTo>
                  <a:pt x="298" y="63"/>
                </a:lnTo>
                <a:lnTo>
                  <a:pt x="291" y="67"/>
                </a:lnTo>
                <a:lnTo>
                  <a:pt x="286" y="71"/>
                </a:lnTo>
                <a:lnTo>
                  <a:pt x="281" y="76"/>
                </a:lnTo>
                <a:lnTo>
                  <a:pt x="275" y="82"/>
                </a:lnTo>
                <a:lnTo>
                  <a:pt x="270" y="90"/>
                </a:lnTo>
                <a:lnTo>
                  <a:pt x="267" y="99"/>
                </a:lnTo>
                <a:lnTo>
                  <a:pt x="263" y="110"/>
                </a:lnTo>
                <a:lnTo>
                  <a:pt x="261" y="119"/>
                </a:lnTo>
                <a:lnTo>
                  <a:pt x="260" y="130"/>
                </a:lnTo>
                <a:lnTo>
                  <a:pt x="260" y="141"/>
                </a:lnTo>
                <a:lnTo>
                  <a:pt x="260" y="152"/>
                </a:lnTo>
                <a:lnTo>
                  <a:pt x="261" y="163"/>
                </a:lnTo>
                <a:lnTo>
                  <a:pt x="264" y="186"/>
                </a:lnTo>
                <a:lnTo>
                  <a:pt x="270" y="207"/>
                </a:lnTo>
                <a:lnTo>
                  <a:pt x="275" y="226"/>
                </a:lnTo>
                <a:lnTo>
                  <a:pt x="281" y="244"/>
                </a:lnTo>
                <a:lnTo>
                  <a:pt x="282" y="249"/>
                </a:lnTo>
                <a:lnTo>
                  <a:pt x="283" y="252"/>
                </a:lnTo>
                <a:lnTo>
                  <a:pt x="276" y="260"/>
                </a:lnTo>
                <a:lnTo>
                  <a:pt x="271" y="268"/>
                </a:lnTo>
                <a:lnTo>
                  <a:pt x="267" y="277"/>
                </a:lnTo>
                <a:lnTo>
                  <a:pt x="264" y="287"/>
                </a:lnTo>
                <a:lnTo>
                  <a:pt x="263" y="297"/>
                </a:lnTo>
                <a:lnTo>
                  <a:pt x="262" y="308"/>
                </a:lnTo>
                <a:lnTo>
                  <a:pt x="263" y="319"/>
                </a:lnTo>
                <a:lnTo>
                  <a:pt x="266" y="328"/>
                </a:lnTo>
                <a:lnTo>
                  <a:pt x="269" y="340"/>
                </a:lnTo>
                <a:lnTo>
                  <a:pt x="273" y="350"/>
                </a:lnTo>
                <a:lnTo>
                  <a:pt x="278" y="358"/>
                </a:lnTo>
                <a:lnTo>
                  <a:pt x="285" y="364"/>
                </a:lnTo>
                <a:lnTo>
                  <a:pt x="286" y="375"/>
                </a:lnTo>
                <a:lnTo>
                  <a:pt x="287" y="385"/>
                </a:lnTo>
                <a:lnTo>
                  <a:pt x="289" y="396"/>
                </a:lnTo>
                <a:lnTo>
                  <a:pt x="291" y="404"/>
                </a:lnTo>
                <a:lnTo>
                  <a:pt x="298" y="421"/>
                </a:lnTo>
                <a:lnTo>
                  <a:pt x="304" y="437"/>
                </a:lnTo>
                <a:lnTo>
                  <a:pt x="312" y="448"/>
                </a:lnTo>
                <a:lnTo>
                  <a:pt x="319" y="459"/>
                </a:lnTo>
                <a:lnTo>
                  <a:pt x="326" y="467"/>
                </a:lnTo>
                <a:lnTo>
                  <a:pt x="331" y="473"/>
                </a:lnTo>
                <a:lnTo>
                  <a:pt x="331" y="576"/>
                </a:lnTo>
                <a:lnTo>
                  <a:pt x="317" y="581"/>
                </a:lnTo>
                <a:lnTo>
                  <a:pt x="303" y="587"/>
                </a:lnTo>
                <a:lnTo>
                  <a:pt x="290" y="591"/>
                </a:lnTo>
                <a:lnTo>
                  <a:pt x="277" y="596"/>
                </a:lnTo>
                <a:lnTo>
                  <a:pt x="233" y="612"/>
                </a:lnTo>
                <a:lnTo>
                  <a:pt x="193" y="627"/>
                </a:lnTo>
                <a:lnTo>
                  <a:pt x="155" y="642"/>
                </a:lnTo>
                <a:lnTo>
                  <a:pt x="123" y="658"/>
                </a:lnTo>
                <a:lnTo>
                  <a:pt x="108" y="666"/>
                </a:lnTo>
                <a:lnTo>
                  <a:pt x="94" y="673"/>
                </a:lnTo>
                <a:lnTo>
                  <a:pt x="82" y="682"/>
                </a:lnTo>
                <a:lnTo>
                  <a:pt x="70" y="690"/>
                </a:lnTo>
                <a:lnTo>
                  <a:pt x="61" y="698"/>
                </a:lnTo>
                <a:lnTo>
                  <a:pt x="52" y="708"/>
                </a:lnTo>
                <a:lnTo>
                  <a:pt x="46" y="716"/>
                </a:lnTo>
                <a:lnTo>
                  <a:pt x="39" y="727"/>
                </a:lnTo>
                <a:lnTo>
                  <a:pt x="33" y="741"/>
                </a:lnTo>
                <a:lnTo>
                  <a:pt x="26" y="756"/>
                </a:lnTo>
                <a:lnTo>
                  <a:pt x="21" y="770"/>
                </a:lnTo>
                <a:lnTo>
                  <a:pt x="17" y="784"/>
                </a:lnTo>
                <a:lnTo>
                  <a:pt x="10" y="811"/>
                </a:lnTo>
                <a:lnTo>
                  <a:pt x="5" y="835"/>
                </a:lnTo>
                <a:lnTo>
                  <a:pt x="3" y="856"/>
                </a:lnTo>
                <a:lnTo>
                  <a:pt x="1" y="872"/>
                </a:lnTo>
                <a:lnTo>
                  <a:pt x="1" y="882"/>
                </a:lnTo>
                <a:lnTo>
                  <a:pt x="0" y="887"/>
                </a:lnTo>
                <a:lnTo>
                  <a:pt x="1" y="890"/>
                </a:lnTo>
                <a:lnTo>
                  <a:pt x="2" y="893"/>
                </a:lnTo>
                <a:lnTo>
                  <a:pt x="3" y="895"/>
                </a:lnTo>
                <a:lnTo>
                  <a:pt x="5" y="898"/>
                </a:lnTo>
                <a:lnTo>
                  <a:pt x="7" y="900"/>
                </a:lnTo>
                <a:lnTo>
                  <a:pt x="9" y="901"/>
                </a:lnTo>
                <a:lnTo>
                  <a:pt x="12" y="902"/>
                </a:lnTo>
                <a:lnTo>
                  <a:pt x="15" y="902"/>
                </a:lnTo>
                <a:lnTo>
                  <a:pt x="887" y="902"/>
                </a:lnTo>
                <a:lnTo>
                  <a:pt x="891" y="902"/>
                </a:lnTo>
                <a:lnTo>
                  <a:pt x="894" y="901"/>
                </a:lnTo>
                <a:lnTo>
                  <a:pt x="896" y="900"/>
                </a:lnTo>
                <a:lnTo>
                  <a:pt x="898" y="898"/>
                </a:lnTo>
                <a:lnTo>
                  <a:pt x="900" y="895"/>
                </a:lnTo>
                <a:lnTo>
                  <a:pt x="901" y="893"/>
                </a:lnTo>
                <a:lnTo>
                  <a:pt x="902" y="890"/>
                </a:lnTo>
                <a:lnTo>
                  <a:pt x="902" y="887"/>
                </a:lnTo>
                <a:lnTo>
                  <a:pt x="902" y="882"/>
                </a:lnTo>
                <a:lnTo>
                  <a:pt x="901" y="872"/>
                </a:lnTo>
                <a:lnTo>
                  <a:pt x="900" y="856"/>
                </a:lnTo>
                <a:lnTo>
                  <a:pt x="897" y="835"/>
                </a:lnTo>
                <a:lnTo>
                  <a:pt x="893" y="811"/>
                </a:lnTo>
                <a:lnTo>
                  <a:pt x="885" y="784"/>
                </a:lnTo>
                <a:lnTo>
                  <a:pt x="881" y="770"/>
                </a:lnTo>
                <a:lnTo>
                  <a:pt x="876" y="756"/>
                </a:lnTo>
                <a:lnTo>
                  <a:pt x="870" y="741"/>
                </a:lnTo>
                <a:lnTo>
                  <a:pt x="863" y="727"/>
                </a:lnTo>
                <a:close/>
              </a:path>
            </a:pathLst>
          </a:custGeom>
          <a:solidFill>
            <a:srgbClr val="E2583D"/>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mn-cs"/>
            </a:endParaRPr>
          </a:p>
        </p:txBody>
      </p:sp>
      <p:sp>
        <p:nvSpPr>
          <p:cNvPr id="56" name="Freeform 57"/>
          <p:cNvSpPr>
            <a:spLocks noEditPoints="1"/>
          </p:cNvSpPr>
          <p:nvPr/>
        </p:nvSpPr>
        <p:spPr bwMode="auto">
          <a:xfrm>
            <a:off x="6880611" y="3883505"/>
            <a:ext cx="728486" cy="728488"/>
          </a:xfrm>
          <a:custGeom>
            <a:avLst/>
            <a:gdLst>
              <a:gd name="T0" fmla="*/ 58 w 902"/>
              <a:gd name="T1" fmla="*/ 760 h 902"/>
              <a:gd name="T2" fmla="*/ 105 w 902"/>
              <a:gd name="T3" fmla="*/ 702 h 902"/>
              <a:gd name="T4" fmla="*/ 247 w 902"/>
              <a:gd name="T5" fmla="*/ 639 h 902"/>
              <a:gd name="T6" fmla="*/ 356 w 902"/>
              <a:gd name="T7" fmla="*/ 598 h 902"/>
              <a:gd name="T8" fmla="*/ 360 w 902"/>
              <a:gd name="T9" fmla="*/ 459 h 902"/>
              <a:gd name="T10" fmla="*/ 328 w 902"/>
              <a:gd name="T11" fmla="*/ 415 h 902"/>
              <a:gd name="T12" fmla="*/ 315 w 902"/>
              <a:gd name="T13" fmla="*/ 354 h 902"/>
              <a:gd name="T14" fmla="*/ 296 w 902"/>
              <a:gd name="T15" fmla="*/ 324 h 902"/>
              <a:gd name="T16" fmla="*/ 297 w 902"/>
              <a:gd name="T17" fmla="*/ 284 h 902"/>
              <a:gd name="T18" fmla="*/ 313 w 902"/>
              <a:gd name="T19" fmla="*/ 267 h 902"/>
              <a:gd name="T20" fmla="*/ 300 w 902"/>
              <a:gd name="T21" fmla="*/ 205 h 902"/>
              <a:gd name="T22" fmla="*/ 293 w 902"/>
              <a:gd name="T23" fmla="*/ 113 h 902"/>
              <a:gd name="T24" fmla="*/ 315 w 902"/>
              <a:gd name="T25" fmla="*/ 88 h 902"/>
              <a:gd name="T26" fmla="*/ 352 w 902"/>
              <a:gd name="T27" fmla="*/ 73 h 902"/>
              <a:gd name="T28" fmla="*/ 377 w 902"/>
              <a:gd name="T29" fmla="*/ 48 h 902"/>
              <a:gd name="T30" fmla="*/ 478 w 902"/>
              <a:gd name="T31" fmla="*/ 30 h 902"/>
              <a:gd name="T32" fmla="*/ 574 w 902"/>
              <a:gd name="T33" fmla="*/ 45 h 902"/>
              <a:gd name="T34" fmla="*/ 620 w 902"/>
              <a:gd name="T35" fmla="*/ 77 h 902"/>
              <a:gd name="T36" fmla="*/ 627 w 902"/>
              <a:gd name="T37" fmla="*/ 127 h 902"/>
              <a:gd name="T38" fmla="*/ 590 w 902"/>
              <a:gd name="T39" fmla="*/ 250 h 902"/>
              <a:gd name="T40" fmla="*/ 596 w 902"/>
              <a:gd name="T41" fmla="*/ 272 h 902"/>
              <a:gd name="T42" fmla="*/ 610 w 902"/>
              <a:gd name="T43" fmla="*/ 298 h 902"/>
              <a:gd name="T44" fmla="*/ 600 w 902"/>
              <a:gd name="T45" fmla="*/ 339 h 902"/>
              <a:gd name="T46" fmla="*/ 586 w 902"/>
              <a:gd name="T47" fmla="*/ 379 h 902"/>
              <a:gd name="T48" fmla="*/ 546 w 902"/>
              <a:gd name="T49" fmla="*/ 461 h 902"/>
              <a:gd name="T50" fmla="*/ 542 w 902"/>
              <a:gd name="T51" fmla="*/ 591 h 902"/>
              <a:gd name="T52" fmla="*/ 600 w 902"/>
              <a:gd name="T53" fmla="*/ 619 h 902"/>
              <a:gd name="T54" fmla="*/ 774 w 902"/>
              <a:gd name="T55" fmla="*/ 688 h 902"/>
              <a:gd name="T56" fmla="*/ 832 w 902"/>
              <a:gd name="T57" fmla="*/ 732 h 902"/>
              <a:gd name="T58" fmla="*/ 869 w 902"/>
              <a:gd name="T59" fmla="*/ 848 h 902"/>
              <a:gd name="T60" fmla="*/ 841 w 902"/>
              <a:gd name="T61" fmla="*/ 698 h 902"/>
              <a:gd name="T62" fmla="*/ 747 w 902"/>
              <a:gd name="T63" fmla="*/ 642 h 902"/>
              <a:gd name="T64" fmla="*/ 585 w 902"/>
              <a:gd name="T65" fmla="*/ 581 h 902"/>
              <a:gd name="T66" fmla="*/ 598 w 902"/>
              <a:gd name="T67" fmla="*/ 440 h 902"/>
              <a:gd name="T68" fmla="*/ 618 w 902"/>
              <a:gd name="T69" fmla="*/ 364 h 902"/>
              <a:gd name="T70" fmla="*/ 640 w 902"/>
              <a:gd name="T71" fmla="*/ 308 h 902"/>
              <a:gd name="T72" fmla="*/ 620 w 902"/>
              <a:gd name="T73" fmla="*/ 253 h 902"/>
              <a:gd name="T74" fmla="*/ 649 w 902"/>
              <a:gd name="T75" fmla="*/ 170 h 902"/>
              <a:gd name="T76" fmla="*/ 656 w 902"/>
              <a:gd name="T77" fmla="*/ 86 h 902"/>
              <a:gd name="T78" fmla="*/ 615 w 902"/>
              <a:gd name="T79" fmla="*/ 32 h 902"/>
              <a:gd name="T80" fmla="*/ 538 w 902"/>
              <a:gd name="T81" fmla="*/ 6 h 902"/>
              <a:gd name="T82" fmla="*/ 432 w 902"/>
              <a:gd name="T83" fmla="*/ 3 h 902"/>
              <a:gd name="T84" fmla="*/ 351 w 902"/>
              <a:gd name="T85" fmla="*/ 29 h 902"/>
              <a:gd name="T86" fmla="*/ 312 w 902"/>
              <a:gd name="T87" fmla="*/ 58 h 902"/>
              <a:gd name="T88" fmla="*/ 275 w 902"/>
              <a:gd name="T89" fmla="*/ 82 h 902"/>
              <a:gd name="T90" fmla="*/ 260 w 902"/>
              <a:gd name="T91" fmla="*/ 141 h 902"/>
              <a:gd name="T92" fmla="*/ 281 w 902"/>
              <a:gd name="T93" fmla="*/ 244 h 902"/>
              <a:gd name="T94" fmla="*/ 264 w 902"/>
              <a:gd name="T95" fmla="*/ 287 h 902"/>
              <a:gd name="T96" fmla="*/ 273 w 902"/>
              <a:gd name="T97" fmla="*/ 350 h 902"/>
              <a:gd name="T98" fmla="*/ 291 w 902"/>
              <a:gd name="T99" fmla="*/ 404 h 902"/>
              <a:gd name="T100" fmla="*/ 331 w 902"/>
              <a:gd name="T101" fmla="*/ 473 h 902"/>
              <a:gd name="T102" fmla="*/ 233 w 902"/>
              <a:gd name="T103" fmla="*/ 612 h 902"/>
              <a:gd name="T104" fmla="*/ 82 w 902"/>
              <a:gd name="T105" fmla="*/ 682 h 902"/>
              <a:gd name="T106" fmla="*/ 33 w 902"/>
              <a:gd name="T107" fmla="*/ 741 h 902"/>
              <a:gd name="T108" fmla="*/ 3 w 902"/>
              <a:gd name="T109" fmla="*/ 856 h 902"/>
              <a:gd name="T110" fmla="*/ 3 w 902"/>
              <a:gd name="T111" fmla="*/ 895 h 902"/>
              <a:gd name="T112" fmla="*/ 887 w 902"/>
              <a:gd name="T113" fmla="*/ 902 h 902"/>
              <a:gd name="T114" fmla="*/ 901 w 902"/>
              <a:gd name="T115" fmla="*/ 893 h 902"/>
              <a:gd name="T116" fmla="*/ 897 w 902"/>
              <a:gd name="T117" fmla="*/ 835 h 902"/>
              <a:gd name="T118" fmla="*/ 863 w 902"/>
              <a:gd name="T119" fmla="*/ 727 h 9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02" h="902">
                <a:moveTo>
                  <a:pt x="31" y="872"/>
                </a:moveTo>
                <a:lnTo>
                  <a:pt x="34" y="848"/>
                </a:lnTo>
                <a:lnTo>
                  <a:pt x="39" y="816"/>
                </a:lnTo>
                <a:lnTo>
                  <a:pt x="45" y="798"/>
                </a:lnTo>
                <a:lnTo>
                  <a:pt x="50" y="780"/>
                </a:lnTo>
                <a:lnTo>
                  <a:pt x="58" y="760"/>
                </a:lnTo>
                <a:lnTo>
                  <a:pt x="66" y="740"/>
                </a:lnTo>
                <a:lnTo>
                  <a:pt x="71" y="732"/>
                </a:lnTo>
                <a:lnTo>
                  <a:pt x="78" y="725"/>
                </a:lnTo>
                <a:lnTo>
                  <a:pt x="85" y="717"/>
                </a:lnTo>
                <a:lnTo>
                  <a:pt x="94" y="710"/>
                </a:lnTo>
                <a:lnTo>
                  <a:pt x="105" y="702"/>
                </a:lnTo>
                <a:lnTo>
                  <a:pt x="117" y="695"/>
                </a:lnTo>
                <a:lnTo>
                  <a:pt x="129" y="688"/>
                </a:lnTo>
                <a:lnTo>
                  <a:pt x="143" y="681"/>
                </a:lnTo>
                <a:lnTo>
                  <a:pt x="174" y="667"/>
                </a:lnTo>
                <a:lnTo>
                  <a:pt x="209" y="653"/>
                </a:lnTo>
                <a:lnTo>
                  <a:pt x="247" y="639"/>
                </a:lnTo>
                <a:lnTo>
                  <a:pt x="287" y="624"/>
                </a:lnTo>
                <a:lnTo>
                  <a:pt x="303" y="619"/>
                </a:lnTo>
                <a:lnTo>
                  <a:pt x="319" y="612"/>
                </a:lnTo>
                <a:lnTo>
                  <a:pt x="335" y="607"/>
                </a:lnTo>
                <a:lnTo>
                  <a:pt x="351" y="601"/>
                </a:lnTo>
                <a:lnTo>
                  <a:pt x="356" y="598"/>
                </a:lnTo>
                <a:lnTo>
                  <a:pt x="359" y="595"/>
                </a:lnTo>
                <a:lnTo>
                  <a:pt x="360" y="591"/>
                </a:lnTo>
                <a:lnTo>
                  <a:pt x="361" y="587"/>
                </a:lnTo>
                <a:lnTo>
                  <a:pt x="361" y="467"/>
                </a:lnTo>
                <a:lnTo>
                  <a:pt x="361" y="462"/>
                </a:lnTo>
                <a:lnTo>
                  <a:pt x="360" y="459"/>
                </a:lnTo>
                <a:lnTo>
                  <a:pt x="358" y="457"/>
                </a:lnTo>
                <a:lnTo>
                  <a:pt x="356" y="455"/>
                </a:lnTo>
                <a:lnTo>
                  <a:pt x="349" y="448"/>
                </a:lnTo>
                <a:lnTo>
                  <a:pt x="335" y="429"/>
                </a:lnTo>
                <a:lnTo>
                  <a:pt x="331" y="423"/>
                </a:lnTo>
                <a:lnTo>
                  <a:pt x="328" y="415"/>
                </a:lnTo>
                <a:lnTo>
                  <a:pt x="325" y="408"/>
                </a:lnTo>
                <a:lnTo>
                  <a:pt x="321" y="398"/>
                </a:lnTo>
                <a:lnTo>
                  <a:pt x="318" y="388"/>
                </a:lnTo>
                <a:lnTo>
                  <a:pt x="316" y="378"/>
                </a:lnTo>
                <a:lnTo>
                  <a:pt x="315" y="367"/>
                </a:lnTo>
                <a:lnTo>
                  <a:pt x="315" y="354"/>
                </a:lnTo>
                <a:lnTo>
                  <a:pt x="314" y="349"/>
                </a:lnTo>
                <a:lnTo>
                  <a:pt x="312" y="344"/>
                </a:lnTo>
                <a:lnTo>
                  <a:pt x="307" y="341"/>
                </a:lnTo>
                <a:lnTo>
                  <a:pt x="302" y="339"/>
                </a:lnTo>
                <a:lnTo>
                  <a:pt x="299" y="334"/>
                </a:lnTo>
                <a:lnTo>
                  <a:pt x="296" y="324"/>
                </a:lnTo>
                <a:lnTo>
                  <a:pt x="294" y="319"/>
                </a:lnTo>
                <a:lnTo>
                  <a:pt x="293" y="311"/>
                </a:lnTo>
                <a:lnTo>
                  <a:pt x="292" y="305"/>
                </a:lnTo>
                <a:lnTo>
                  <a:pt x="293" y="298"/>
                </a:lnTo>
                <a:lnTo>
                  <a:pt x="294" y="291"/>
                </a:lnTo>
                <a:lnTo>
                  <a:pt x="297" y="284"/>
                </a:lnTo>
                <a:lnTo>
                  <a:pt x="298" y="280"/>
                </a:lnTo>
                <a:lnTo>
                  <a:pt x="300" y="278"/>
                </a:lnTo>
                <a:lnTo>
                  <a:pt x="303" y="275"/>
                </a:lnTo>
                <a:lnTo>
                  <a:pt x="306" y="272"/>
                </a:lnTo>
                <a:lnTo>
                  <a:pt x="309" y="270"/>
                </a:lnTo>
                <a:lnTo>
                  <a:pt x="313" y="267"/>
                </a:lnTo>
                <a:lnTo>
                  <a:pt x="314" y="264"/>
                </a:lnTo>
                <a:lnTo>
                  <a:pt x="315" y="260"/>
                </a:lnTo>
                <a:lnTo>
                  <a:pt x="314" y="251"/>
                </a:lnTo>
                <a:lnTo>
                  <a:pt x="308" y="235"/>
                </a:lnTo>
                <a:lnTo>
                  <a:pt x="305" y="222"/>
                </a:lnTo>
                <a:lnTo>
                  <a:pt x="300" y="205"/>
                </a:lnTo>
                <a:lnTo>
                  <a:pt x="296" y="187"/>
                </a:lnTo>
                <a:lnTo>
                  <a:pt x="292" y="167"/>
                </a:lnTo>
                <a:lnTo>
                  <a:pt x="290" y="148"/>
                </a:lnTo>
                <a:lnTo>
                  <a:pt x="290" y="130"/>
                </a:lnTo>
                <a:lnTo>
                  <a:pt x="291" y="121"/>
                </a:lnTo>
                <a:lnTo>
                  <a:pt x="293" y="113"/>
                </a:lnTo>
                <a:lnTo>
                  <a:pt x="296" y="106"/>
                </a:lnTo>
                <a:lnTo>
                  <a:pt x="300" y="100"/>
                </a:lnTo>
                <a:lnTo>
                  <a:pt x="303" y="97"/>
                </a:lnTo>
                <a:lnTo>
                  <a:pt x="306" y="93"/>
                </a:lnTo>
                <a:lnTo>
                  <a:pt x="311" y="90"/>
                </a:lnTo>
                <a:lnTo>
                  <a:pt x="315" y="88"/>
                </a:lnTo>
                <a:lnTo>
                  <a:pt x="326" y="86"/>
                </a:lnTo>
                <a:lnTo>
                  <a:pt x="337" y="85"/>
                </a:lnTo>
                <a:lnTo>
                  <a:pt x="343" y="84"/>
                </a:lnTo>
                <a:lnTo>
                  <a:pt x="347" y="82"/>
                </a:lnTo>
                <a:lnTo>
                  <a:pt x="350" y="78"/>
                </a:lnTo>
                <a:lnTo>
                  <a:pt x="352" y="73"/>
                </a:lnTo>
                <a:lnTo>
                  <a:pt x="353" y="69"/>
                </a:lnTo>
                <a:lnTo>
                  <a:pt x="357" y="64"/>
                </a:lnTo>
                <a:lnTo>
                  <a:pt x="360" y="60"/>
                </a:lnTo>
                <a:lnTo>
                  <a:pt x="365" y="56"/>
                </a:lnTo>
                <a:lnTo>
                  <a:pt x="371" y="53"/>
                </a:lnTo>
                <a:lnTo>
                  <a:pt x="377" y="48"/>
                </a:lnTo>
                <a:lnTo>
                  <a:pt x="385" y="45"/>
                </a:lnTo>
                <a:lnTo>
                  <a:pt x="393" y="42"/>
                </a:lnTo>
                <a:lnTo>
                  <a:pt x="410" y="38"/>
                </a:lnTo>
                <a:lnTo>
                  <a:pt x="431" y="33"/>
                </a:lnTo>
                <a:lnTo>
                  <a:pt x="453" y="31"/>
                </a:lnTo>
                <a:lnTo>
                  <a:pt x="478" y="30"/>
                </a:lnTo>
                <a:lnTo>
                  <a:pt x="502" y="31"/>
                </a:lnTo>
                <a:lnTo>
                  <a:pt x="528" y="34"/>
                </a:lnTo>
                <a:lnTo>
                  <a:pt x="540" y="37"/>
                </a:lnTo>
                <a:lnTo>
                  <a:pt x="552" y="39"/>
                </a:lnTo>
                <a:lnTo>
                  <a:pt x="564" y="42"/>
                </a:lnTo>
                <a:lnTo>
                  <a:pt x="574" y="45"/>
                </a:lnTo>
                <a:lnTo>
                  <a:pt x="584" y="49"/>
                </a:lnTo>
                <a:lnTo>
                  <a:pt x="594" y="54"/>
                </a:lnTo>
                <a:lnTo>
                  <a:pt x="602" y="59"/>
                </a:lnTo>
                <a:lnTo>
                  <a:pt x="609" y="64"/>
                </a:lnTo>
                <a:lnTo>
                  <a:pt x="615" y="71"/>
                </a:lnTo>
                <a:lnTo>
                  <a:pt x="620" y="77"/>
                </a:lnTo>
                <a:lnTo>
                  <a:pt x="624" y="84"/>
                </a:lnTo>
                <a:lnTo>
                  <a:pt x="626" y="91"/>
                </a:lnTo>
                <a:lnTo>
                  <a:pt x="628" y="100"/>
                </a:lnTo>
                <a:lnTo>
                  <a:pt x="628" y="108"/>
                </a:lnTo>
                <a:lnTo>
                  <a:pt x="628" y="118"/>
                </a:lnTo>
                <a:lnTo>
                  <a:pt x="627" y="127"/>
                </a:lnTo>
                <a:lnTo>
                  <a:pt x="625" y="146"/>
                </a:lnTo>
                <a:lnTo>
                  <a:pt x="619" y="165"/>
                </a:lnTo>
                <a:lnTo>
                  <a:pt x="609" y="201"/>
                </a:lnTo>
                <a:lnTo>
                  <a:pt x="597" y="231"/>
                </a:lnTo>
                <a:lnTo>
                  <a:pt x="593" y="241"/>
                </a:lnTo>
                <a:lnTo>
                  <a:pt x="590" y="250"/>
                </a:lnTo>
                <a:lnTo>
                  <a:pt x="588" y="255"/>
                </a:lnTo>
                <a:lnTo>
                  <a:pt x="588" y="260"/>
                </a:lnTo>
                <a:lnTo>
                  <a:pt x="588" y="264"/>
                </a:lnTo>
                <a:lnTo>
                  <a:pt x="590" y="267"/>
                </a:lnTo>
                <a:lnTo>
                  <a:pt x="593" y="270"/>
                </a:lnTo>
                <a:lnTo>
                  <a:pt x="596" y="272"/>
                </a:lnTo>
                <a:lnTo>
                  <a:pt x="600" y="275"/>
                </a:lnTo>
                <a:lnTo>
                  <a:pt x="602" y="278"/>
                </a:lnTo>
                <a:lnTo>
                  <a:pt x="604" y="280"/>
                </a:lnTo>
                <a:lnTo>
                  <a:pt x="606" y="284"/>
                </a:lnTo>
                <a:lnTo>
                  <a:pt x="609" y="291"/>
                </a:lnTo>
                <a:lnTo>
                  <a:pt x="610" y="298"/>
                </a:lnTo>
                <a:lnTo>
                  <a:pt x="610" y="305"/>
                </a:lnTo>
                <a:lnTo>
                  <a:pt x="610" y="311"/>
                </a:lnTo>
                <a:lnTo>
                  <a:pt x="609" y="318"/>
                </a:lnTo>
                <a:lnTo>
                  <a:pt x="608" y="324"/>
                </a:lnTo>
                <a:lnTo>
                  <a:pt x="603" y="334"/>
                </a:lnTo>
                <a:lnTo>
                  <a:pt x="600" y="339"/>
                </a:lnTo>
                <a:lnTo>
                  <a:pt x="596" y="341"/>
                </a:lnTo>
                <a:lnTo>
                  <a:pt x="591" y="344"/>
                </a:lnTo>
                <a:lnTo>
                  <a:pt x="589" y="349"/>
                </a:lnTo>
                <a:lnTo>
                  <a:pt x="588" y="354"/>
                </a:lnTo>
                <a:lnTo>
                  <a:pt x="587" y="367"/>
                </a:lnTo>
                <a:lnTo>
                  <a:pt x="586" y="379"/>
                </a:lnTo>
                <a:lnTo>
                  <a:pt x="584" y="389"/>
                </a:lnTo>
                <a:lnTo>
                  <a:pt x="582" y="399"/>
                </a:lnTo>
                <a:lnTo>
                  <a:pt x="575" y="418"/>
                </a:lnTo>
                <a:lnTo>
                  <a:pt x="567" y="433"/>
                </a:lnTo>
                <a:lnTo>
                  <a:pt x="553" y="455"/>
                </a:lnTo>
                <a:lnTo>
                  <a:pt x="546" y="461"/>
                </a:lnTo>
                <a:lnTo>
                  <a:pt x="544" y="464"/>
                </a:lnTo>
                <a:lnTo>
                  <a:pt x="543" y="467"/>
                </a:lnTo>
                <a:lnTo>
                  <a:pt x="542" y="470"/>
                </a:lnTo>
                <a:lnTo>
                  <a:pt x="541" y="473"/>
                </a:lnTo>
                <a:lnTo>
                  <a:pt x="541" y="587"/>
                </a:lnTo>
                <a:lnTo>
                  <a:pt x="542" y="591"/>
                </a:lnTo>
                <a:lnTo>
                  <a:pt x="544" y="595"/>
                </a:lnTo>
                <a:lnTo>
                  <a:pt x="548" y="598"/>
                </a:lnTo>
                <a:lnTo>
                  <a:pt x="552" y="601"/>
                </a:lnTo>
                <a:lnTo>
                  <a:pt x="568" y="607"/>
                </a:lnTo>
                <a:lnTo>
                  <a:pt x="584" y="612"/>
                </a:lnTo>
                <a:lnTo>
                  <a:pt x="600" y="619"/>
                </a:lnTo>
                <a:lnTo>
                  <a:pt x="615" y="624"/>
                </a:lnTo>
                <a:lnTo>
                  <a:pt x="656" y="639"/>
                </a:lnTo>
                <a:lnTo>
                  <a:pt x="693" y="653"/>
                </a:lnTo>
                <a:lnTo>
                  <a:pt x="729" y="667"/>
                </a:lnTo>
                <a:lnTo>
                  <a:pt x="760" y="681"/>
                </a:lnTo>
                <a:lnTo>
                  <a:pt x="774" y="688"/>
                </a:lnTo>
                <a:lnTo>
                  <a:pt x="787" y="695"/>
                </a:lnTo>
                <a:lnTo>
                  <a:pt x="797" y="702"/>
                </a:lnTo>
                <a:lnTo>
                  <a:pt x="808" y="710"/>
                </a:lnTo>
                <a:lnTo>
                  <a:pt x="818" y="717"/>
                </a:lnTo>
                <a:lnTo>
                  <a:pt x="825" y="725"/>
                </a:lnTo>
                <a:lnTo>
                  <a:pt x="832" y="732"/>
                </a:lnTo>
                <a:lnTo>
                  <a:pt x="836" y="740"/>
                </a:lnTo>
                <a:lnTo>
                  <a:pt x="846" y="759"/>
                </a:lnTo>
                <a:lnTo>
                  <a:pt x="852" y="780"/>
                </a:lnTo>
                <a:lnTo>
                  <a:pt x="858" y="798"/>
                </a:lnTo>
                <a:lnTo>
                  <a:pt x="863" y="816"/>
                </a:lnTo>
                <a:lnTo>
                  <a:pt x="869" y="848"/>
                </a:lnTo>
                <a:lnTo>
                  <a:pt x="871" y="872"/>
                </a:lnTo>
                <a:lnTo>
                  <a:pt x="31" y="872"/>
                </a:lnTo>
                <a:close/>
                <a:moveTo>
                  <a:pt x="863" y="727"/>
                </a:moveTo>
                <a:lnTo>
                  <a:pt x="857" y="716"/>
                </a:lnTo>
                <a:lnTo>
                  <a:pt x="850" y="708"/>
                </a:lnTo>
                <a:lnTo>
                  <a:pt x="841" y="698"/>
                </a:lnTo>
                <a:lnTo>
                  <a:pt x="832" y="690"/>
                </a:lnTo>
                <a:lnTo>
                  <a:pt x="821" y="682"/>
                </a:lnTo>
                <a:lnTo>
                  <a:pt x="808" y="673"/>
                </a:lnTo>
                <a:lnTo>
                  <a:pt x="795" y="666"/>
                </a:lnTo>
                <a:lnTo>
                  <a:pt x="780" y="657"/>
                </a:lnTo>
                <a:lnTo>
                  <a:pt x="747" y="642"/>
                </a:lnTo>
                <a:lnTo>
                  <a:pt x="710" y="627"/>
                </a:lnTo>
                <a:lnTo>
                  <a:pt x="670" y="612"/>
                </a:lnTo>
                <a:lnTo>
                  <a:pt x="626" y="596"/>
                </a:lnTo>
                <a:lnTo>
                  <a:pt x="613" y="591"/>
                </a:lnTo>
                <a:lnTo>
                  <a:pt x="599" y="587"/>
                </a:lnTo>
                <a:lnTo>
                  <a:pt x="585" y="581"/>
                </a:lnTo>
                <a:lnTo>
                  <a:pt x="571" y="576"/>
                </a:lnTo>
                <a:lnTo>
                  <a:pt x="571" y="478"/>
                </a:lnTo>
                <a:lnTo>
                  <a:pt x="578" y="473"/>
                </a:lnTo>
                <a:lnTo>
                  <a:pt x="584" y="464"/>
                </a:lnTo>
                <a:lnTo>
                  <a:pt x="590" y="453"/>
                </a:lnTo>
                <a:lnTo>
                  <a:pt x="598" y="440"/>
                </a:lnTo>
                <a:lnTo>
                  <a:pt x="605" y="424"/>
                </a:lnTo>
                <a:lnTo>
                  <a:pt x="611" y="406"/>
                </a:lnTo>
                <a:lnTo>
                  <a:pt x="614" y="397"/>
                </a:lnTo>
                <a:lnTo>
                  <a:pt x="615" y="386"/>
                </a:lnTo>
                <a:lnTo>
                  <a:pt x="617" y="375"/>
                </a:lnTo>
                <a:lnTo>
                  <a:pt x="618" y="364"/>
                </a:lnTo>
                <a:lnTo>
                  <a:pt x="624" y="358"/>
                </a:lnTo>
                <a:lnTo>
                  <a:pt x="629" y="350"/>
                </a:lnTo>
                <a:lnTo>
                  <a:pt x="633" y="340"/>
                </a:lnTo>
                <a:lnTo>
                  <a:pt x="638" y="328"/>
                </a:lnTo>
                <a:lnTo>
                  <a:pt x="639" y="319"/>
                </a:lnTo>
                <a:lnTo>
                  <a:pt x="640" y="308"/>
                </a:lnTo>
                <a:lnTo>
                  <a:pt x="640" y="297"/>
                </a:lnTo>
                <a:lnTo>
                  <a:pt x="639" y="287"/>
                </a:lnTo>
                <a:lnTo>
                  <a:pt x="635" y="278"/>
                </a:lnTo>
                <a:lnTo>
                  <a:pt x="632" y="268"/>
                </a:lnTo>
                <a:lnTo>
                  <a:pt x="627" y="261"/>
                </a:lnTo>
                <a:lnTo>
                  <a:pt x="620" y="253"/>
                </a:lnTo>
                <a:lnTo>
                  <a:pt x="623" y="248"/>
                </a:lnTo>
                <a:lnTo>
                  <a:pt x="625" y="242"/>
                </a:lnTo>
                <a:lnTo>
                  <a:pt x="631" y="227"/>
                </a:lnTo>
                <a:lnTo>
                  <a:pt x="638" y="209"/>
                </a:lnTo>
                <a:lnTo>
                  <a:pt x="644" y="190"/>
                </a:lnTo>
                <a:lnTo>
                  <a:pt x="649" y="170"/>
                </a:lnTo>
                <a:lnTo>
                  <a:pt x="655" y="148"/>
                </a:lnTo>
                <a:lnTo>
                  <a:pt x="657" y="127"/>
                </a:lnTo>
                <a:lnTo>
                  <a:pt x="658" y="116"/>
                </a:lnTo>
                <a:lnTo>
                  <a:pt x="658" y="106"/>
                </a:lnTo>
                <a:lnTo>
                  <a:pt x="657" y="96"/>
                </a:lnTo>
                <a:lnTo>
                  <a:pt x="656" y="86"/>
                </a:lnTo>
                <a:lnTo>
                  <a:pt x="653" y="75"/>
                </a:lnTo>
                <a:lnTo>
                  <a:pt x="648" y="64"/>
                </a:lnTo>
                <a:lnTo>
                  <a:pt x="642" y="56"/>
                </a:lnTo>
                <a:lnTo>
                  <a:pt x="634" y="47"/>
                </a:lnTo>
                <a:lnTo>
                  <a:pt x="625" y="40"/>
                </a:lnTo>
                <a:lnTo>
                  <a:pt x="615" y="32"/>
                </a:lnTo>
                <a:lnTo>
                  <a:pt x="604" y="26"/>
                </a:lnTo>
                <a:lnTo>
                  <a:pt x="593" y="21"/>
                </a:lnTo>
                <a:lnTo>
                  <a:pt x="580" y="15"/>
                </a:lnTo>
                <a:lnTo>
                  <a:pt x="566" y="12"/>
                </a:lnTo>
                <a:lnTo>
                  <a:pt x="552" y="8"/>
                </a:lnTo>
                <a:lnTo>
                  <a:pt x="538" y="6"/>
                </a:lnTo>
                <a:lnTo>
                  <a:pt x="523" y="2"/>
                </a:lnTo>
                <a:lnTo>
                  <a:pt x="508" y="1"/>
                </a:lnTo>
                <a:lnTo>
                  <a:pt x="493" y="0"/>
                </a:lnTo>
                <a:lnTo>
                  <a:pt x="478" y="0"/>
                </a:lnTo>
                <a:lnTo>
                  <a:pt x="455" y="0"/>
                </a:lnTo>
                <a:lnTo>
                  <a:pt x="432" y="3"/>
                </a:lnTo>
                <a:lnTo>
                  <a:pt x="409" y="7"/>
                </a:lnTo>
                <a:lnTo>
                  <a:pt x="388" y="12"/>
                </a:lnTo>
                <a:lnTo>
                  <a:pt x="378" y="16"/>
                </a:lnTo>
                <a:lnTo>
                  <a:pt x="368" y="19"/>
                </a:lnTo>
                <a:lnTo>
                  <a:pt x="359" y="25"/>
                </a:lnTo>
                <a:lnTo>
                  <a:pt x="351" y="29"/>
                </a:lnTo>
                <a:lnTo>
                  <a:pt x="344" y="36"/>
                </a:lnTo>
                <a:lnTo>
                  <a:pt x="337" y="41"/>
                </a:lnTo>
                <a:lnTo>
                  <a:pt x="331" y="48"/>
                </a:lnTo>
                <a:lnTo>
                  <a:pt x="327" y="55"/>
                </a:lnTo>
                <a:lnTo>
                  <a:pt x="319" y="56"/>
                </a:lnTo>
                <a:lnTo>
                  <a:pt x="312" y="58"/>
                </a:lnTo>
                <a:lnTo>
                  <a:pt x="304" y="60"/>
                </a:lnTo>
                <a:lnTo>
                  <a:pt x="298" y="63"/>
                </a:lnTo>
                <a:lnTo>
                  <a:pt x="291" y="67"/>
                </a:lnTo>
                <a:lnTo>
                  <a:pt x="286" y="71"/>
                </a:lnTo>
                <a:lnTo>
                  <a:pt x="281" y="76"/>
                </a:lnTo>
                <a:lnTo>
                  <a:pt x="275" y="82"/>
                </a:lnTo>
                <a:lnTo>
                  <a:pt x="270" y="90"/>
                </a:lnTo>
                <a:lnTo>
                  <a:pt x="267" y="99"/>
                </a:lnTo>
                <a:lnTo>
                  <a:pt x="263" y="110"/>
                </a:lnTo>
                <a:lnTo>
                  <a:pt x="261" y="119"/>
                </a:lnTo>
                <a:lnTo>
                  <a:pt x="260" y="130"/>
                </a:lnTo>
                <a:lnTo>
                  <a:pt x="260" y="141"/>
                </a:lnTo>
                <a:lnTo>
                  <a:pt x="260" y="152"/>
                </a:lnTo>
                <a:lnTo>
                  <a:pt x="261" y="163"/>
                </a:lnTo>
                <a:lnTo>
                  <a:pt x="264" y="186"/>
                </a:lnTo>
                <a:lnTo>
                  <a:pt x="270" y="207"/>
                </a:lnTo>
                <a:lnTo>
                  <a:pt x="275" y="226"/>
                </a:lnTo>
                <a:lnTo>
                  <a:pt x="281" y="244"/>
                </a:lnTo>
                <a:lnTo>
                  <a:pt x="282" y="249"/>
                </a:lnTo>
                <a:lnTo>
                  <a:pt x="283" y="252"/>
                </a:lnTo>
                <a:lnTo>
                  <a:pt x="276" y="260"/>
                </a:lnTo>
                <a:lnTo>
                  <a:pt x="271" y="268"/>
                </a:lnTo>
                <a:lnTo>
                  <a:pt x="267" y="277"/>
                </a:lnTo>
                <a:lnTo>
                  <a:pt x="264" y="287"/>
                </a:lnTo>
                <a:lnTo>
                  <a:pt x="263" y="297"/>
                </a:lnTo>
                <a:lnTo>
                  <a:pt x="262" y="308"/>
                </a:lnTo>
                <a:lnTo>
                  <a:pt x="263" y="319"/>
                </a:lnTo>
                <a:lnTo>
                  <a:pt x="266" y="328"/>
                </a:lnTo>
                <a:lnTo>
                  <a:pt x="269" y="340"/>
                </a:lnTo>
                <a:lnTo>
                  <a:pt x="273" y="350"/>
                </a:lnTo>
                <a:lnTo>
                  <a:pt x="278" y="358"/>
                </a:lnTo>
                <a:lnTo>
                  <a:pt x="285" y="364"/>
                </a:lnTo>
                <a:lnTo>
                  <a:pt x="286" y="375"/>
                </a:lnTo>
                <a:lnTo>
                  <a:pt x="287" y="385"/>
                </a:lnTo>
                <a:lnTo>
                  <a:pt x="289" y="396"/>
                </a:lnTo>
                <a:lnTo>
                  <a:pt x="291" y="404"/>
                </a:lnTo>
                <a:lnTo>
                  <a:pt x="298" y="421"/>
                </a:lnTo>
                <a:lnTo>
                  <a:pt x="304" y="437"/>
                </a:lnTo>
                <a:lnTo>
                  <a:pt x="312" y="448"/>
                </a:lnTo>
                <a:lnTo>
                  <a:pt x="319" y="459"/>
                </a:lnTo>
                <a:lnTo>
                  <a:pt x="326" y="467"/>
                </a:lnTo>
                <a:lnTo>
                  <a:pt x="331" y="473"/>
                </a:lnTo>
                <a:lnTo>
                  <a:pt x="331" y="576"/>
                </a:lnTo>
                <a:lnTo>
                  <a:pt x="317" y="581"/>
                </a:lnTo>
                <a:lnTo>
                  <a:pt x="303" y="587"/>
                </a:lnTo>
                <a:lnTo>
                  <a:pt x="290" y="591"/>
                </a:lnTo>
                <a:lnTo>
                  <a:pt x="277" y="596"/>
                </a:lnTo>
                <a:lnTo>
                  <a:pt x="233" y="612"/>
                </a:lnTo>
                <a:lnTo>
                  <a:pt x="193" y="627"/>
                </a:lnTo>
                <a:lnTo>
                  <a:pt x="155" y="642"/>
                </a:lnTo>
                <a:lnTo>
                  <a:pt x="123" y="658"/>
                </a:lnTo>
                <a:lnTo>
                  <a:pt x="108" y="666"/>
                </a:lnTo>
                <a:lnTo>
                  <a:pt x="94" y="673"/>
                </a:lnTo>
                <a:lnTo>
                  <a:pt x="82" y="682"/>
                </a:lnTo>
                <a:lnTo>
                  <a:pt x="70" y="690"/>
                </a:lnTo>
                <a:lnTo>
                  <a:pt x="61" y="698"/>
                </a:lnTo>
                <a:lnTo>
                  <a:pt x="52" y="708"/>
                </a:lnTo>
                <a:lnTo>
                  <a:pt x="46" y="716"/>
                </a:lnTo>
                <a:lnTo>
                  <a:pt x="39" y="727"/>
                </a:lnTo>
                <a:lnTo>
                  <a:pt x="33" y="741"/>
                </a:lnTo>
                <a:lnTo>
                  <a:pt x="26" y="756"/>
                </a:lnTo>
                <a:lnTo>
                  <a:pt x="21" y="770"/>
                </a:lnTo>
                <a:lnTo>
                  <a:pt x="17" y="784"/>
                </a:lnTo>
                <a:lnTo>
                  <a:pt x="10" y="811"/>
                </a:lnTo>
                <a:lnTo>
                  <a:pt x="5" y="835"/>
                </a:lnTo>
                <a:lnTo>
                  <a:pt x="3" y="856"/>
                </a:lnTo>
                <a:lnTo>
                  <a:pt x="1" y="872"/>
                </a:lnTo>
                <a:lnTo>
                  <a:pt x="1" y="882"/>
                </a:lnTo>
                <a:lnTo>
                  <a:pt x="0" y="887"/>
                </a:lnTo>
                <a:lnTo>
                  <a:pt x="1" y="890"/>
                </a:lnTo>
                <a:lnTo>
                  <a:pt x="2" y="893"/>
                </a:lnTo>
                <a:lnTo>
                  <a:pt x="3" y="895"/>
                </a:lnTo>
                <a:lnTo>
                  <a:pt x="5" y="898"/>
                </a:lnTo>
                <a:lnTo>
                  <a:pt x="7" y="900"/>
                </a:lnTo>
                <a:lnTo>
                  <a:pt x="9" y="901"/>
                </a:lnTo>
                <a:lnTo>
                  <a:pt x="12" y="902"/>
                </a:lnTo>
                <a:lnTo>
                  <a:pt x="15" y="902"/>
                </a:lnTo>
                <a:lnTo>
                  <a:pt x="887" y="902"/>
                </a:lnTo>
                <a:lnTo>
                  <a:pt x="891" y="902"/>
                </a:lnTo>
                <a:lnTo>
                  <a:pt x="894" y="901"/>
                </a:lnTo>
                <a:lnTo>
                  <a:pt x="896" y="900"/>
                </a:lnTo>
                <a:lnTo>
                  <a:pt x="898" y="898"/>
                </a:lnTo>
                <a:lnTo>
                  <a:pt x="900" y="895"/>
                </a:lnTo>
                <a:lnTo>
                  <a:pt x="901" y="893"/>
                </a:lnTo>
                <a:lnTo>
                  <a:pt x="902" y="890"/>
                </a:lnTo>
                <a:lnTo>
                  <a:pt x="902" y="887"/>
                </a:lnTo>
                <a:lnTo>
                  <a:pt x="902" y="882"/>
                </a:lnTo>
                <a:lnTo>
                  <a:pt x="901" y="872"/>
                </a:lnTo>
                <a:lnTo>
                  <a:pt x="900" y="856"/>
                </a:lnTo>
                <a:lnTo>
                  <a:pt x="897" y="835"/>
                </a:lnTo>
                <a:lnTo>
                  <a:pt x="893" y="811"/>
                </a:lnTo>
                <a:lnTo>
                  <a:pt x="885" y="784"/>
                </a:lnTo>
                <a:lnTo>
                  <a:pt x="881" y="770"/>
                </a:lnTo>
                <a:lnTo>
                  <a:pt x="876" y="756"/>
                </a:lnTo>
                <a:lnTo>
                  <a:pt x="870" y="741"/>
                </a:lnTo>
                <a:lnTo>
                  <a:pt x="863" y="727"/>
                </a:lnTo>
                <a:close/>
              </a:path>
            </a:pathLst>
          </a:custGeom>
          <a:solidFill>
            <a:srgbClr val="AFABAB"/>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mn-cs"/>
            </a:endParaRPr>
          </a:p>
        </p:txBody>
      </p:sp>
      <p:sp>
        <p:nvSpPr>
          <p:cNvPr id="57" name="Freeform 57"/>
          <p:cNvSpPr>
            <a:spLocks noEditPoints="1"/>
          </p:cNvSpPr>
          <p:nvPr/>
        </p:nvSpPr>
        <p:spPr bwMode="auto">
          <a:xfrm>
            <a:off x="7646519" y="3883505"/>
            <a:ext cx="728486" cy="728488"/>
          </a:xfrm>
          <a:custGeom>
            <a:avLst/>
            <a:gdLst>
              <a:gd name="T0" fmla="*/ 58 w 902"/>
              <a:gd name="T1" fmla="*/ 760 h 902"/>
              <a:gd name="T2" fmla="*/ 105 w 902"/>
              <a:gd name="T3" fmla="*/ 702 h 902"/>
              <a:gd name="T4" fmla="*/ 247 w 902"/>
              <a:gd name="T5" fmla="*/ 639 h 902"/>
              <a:gd name="T6" fmla="*/ 356 w 902"/>
              <a:gd name="T7" fmla="*/ 598 h 902"/>
              <a:gd name="T8" fmla="*/ 360 w 902"/>
              <a:gd name="T9" fmla="*/ 459 h 902"/>
              <a:gd name="T10" fmla="*/ 328 w 902"/>
              <a:gd name="T11" fmla="*/ 415 h 902"/>
              <a:gd name="T12" fmla="*/ 315 w 902"/>
              <a:gd name="T13" fmla="*/ 354 h 902"/>
              <a:gd name="T14" fmla="*/ 296 w 902"/>
              <a:gd name="T15" fmla="*/ 324 h 902"/>
              <a:gd name="T16" fmla="*/ 297 w 902"/>
              <a:gd name="T17" fmla="*/ 284 h 902"/>
              <a:gd name="T18" fmla="*/ 313 w 902"/>
              <a:gd name="T19" fmla="*/ 267 h 902"/>
              <a:gd name="T20" fmla="*/ 300 w 902"/>
              <a:gd name="T21" fmla="*/ 205 h 902"/>
              <a:gd name="T22" fmla="*/ 293 w 902"/>
              <a:gd name="T23" fmla="*/ 113 h 902"/>
              <a:gd name="T24" fmla="*/ 315 w 902"/>
              <a:gd name="T25" fmla="*/ 88 h 902"/>
              <a:gd name="T26" fmla="*/ 352 w 902"/>
              <a:gd name="T27" fmla="*/ 73 h 902"/>
              <a:gd name="T28" fmla="*/ 377 w 902"/>
              <a:gd name="T29" fmla="*/ 48 h 902"/>
              <a:gd name="T30" fmla="*/ 478 w 902"/>
              <a:gd name="T31" fmla="*/ 30 h 902"/>
              <a:gd name="T32" fmla="*/ 574 w 902"/>
              <a:gd name="T33" fmla="*/ 45 h 902"/>
              <a:gd name="T34" fmla="*/ 620 w 902"/>
              <a:gd name="T35" fmla="*/ 77 h 902"/>
              <a:gd name="T36" fmla="*/ 627 w 902"/>
              <a:gd name="T37" fmla="*/ 127 h 902"/>
              <a:gd name="T38" fmla="*/ 590 w 902"/>
              <a:gd name="T39" fmla="*/ 250 h 902"/>
              <a:gd name="T40" fmla="*/ 596 w 902"/>
              <a:gd name="T41" fmla="*/ 272 h 902"/>
              <a:gd name="T42" fmla="*/ 610 w 902"/>
              <a:gd name="T43" fmla="*/ 298 h 902"/>
              <a:gd name="T44" fmla="*/ 600 w 902"/>
              <a:gd name="T45" fmla="*/ 339 h 902"/>
              <a:gd name="T46" fmla="*/ 586 w 902"/>
              <a:gd name="T47" fmla="*/ 379 h 902"/>
              <a:gd name="T48" fmla="*/ 546 w 902"/>
              <a:gd name="T49" fmla="*/ 461 h 902"/>
              <a:gd name="T50" fmla="*/ 542 w 902"/>
              <a:gd name="T51" fmla="*/ 591 h 902"/>
              <a:gd name="T52" fmla="*/ 600 w 902"/>
              <a:gd name="T53" fmla="*/ 619 h 902"/>
              <a:gd name="T54" fmla="*/ 774 w 902"/>
              <a:gd name="T55" fmla="*/ 688 h 902"/>
              <a:gd name="T56" fmla="*/ 832 w 902"/>
              <a:gd name="T57" fmla="*/ 732 h 902"/>
              <a:gd name="T58" fmla="*/ 869 w 902"/>
              <a:gd name="T59" fmla="*/ 848 h 902"/>
              <a:gd name="T60" fmla="*/ 841 w 902"/>
              <a:gd name="T61" fmla="*/ 698 h 902"/>
              <a:gd name="T62" fmla="*/ 747 w 902"/>
              <a:gd name="T63" fmla="*/ 642 h 902"/>
              <a:gd name="T64" fmla="*/ 585 w 902"/>
              <a:gd name="T65" fmla="*/ 581 h 902"/>
              <a:gd name="T66" fmla="*/ 598 w 902"/>
              <a:gd name="T67" fmla="*/ 440 h 902"/>
              <a:gd name="T68" fmla="*/ 618 w 902"/>
              <a:gd name="T69" fmla="*/ 364 h 902"/>
              <a:gd name="T70" fmla="*/ 640 w 902"/>
              <a:gd name="T71" fmla="*/ 308 h 902"/>
              <a:gd name="T72" fmla="*/ 620 w 902"/>
              <a:gd name="T73" fmla="*/ 253 h 902"/>
              <a:gd name="T74" fmla="*/ 649 w 902"/>
              <a:gd name="T75" fmla="*/ 170 h 902"/>
              <a:gd name="T76" fmla="*/ 656 w 902"/>
              <a:gd name="T77" fmla="*/ 86 h 902"/>
              <a:gd name="T78" fmla="*/ 615 w 902"/>
              <a:gd name="T79" fmla="*/ 32 h 902"/>
              <a:gd name="T80" fmla="*/ 538 w 902"/>
              <a:gd name="T81" fmla="*/ 6 h 902"/>
              <a:gd name="T82" fmla="*/ 432 w 902"/>
              <a:gd name="T83" fmla="*/ 3 h 902"/>
              <a:gd name="T84" fmla="*/ 351 w 902"/>
              <a:gd name="T85" fmla="*/ 29 h 902"/>
              <a:gd name="T86" fmla="*/ 312 w 902"/>
              <a:gd name="T87" fmla="*/ 58 h 902"/>
              <a:gd name="T88" fmla="*/ 275 w 902"/>
              <a:gd name="T89" fmla="*/ 82 h 902"/>
              <a:gd name="T90" fmla="*/ 260 w 902"/>
              <a:gd name="T91" fmla="*/ 141 h 902"/>
              <a:gd name="T92" fmla="*/ 281 w 902"/>
              <a:gd name="T93" fmla="*/ 244 h 902"/>
              <a:gd name="T94" fmla="*/ 264 w 902"/>
              <a:gd name="T95" fmla="*/ 287 h 902"/>
              <a:gd name="T96" fmla="*/ 273 w 902"/>
              <a:gd name="T97" fmla="*/ 350 h 902"/>
              <a:gd name="T98" fmla="*/ 291 w 902"/>
              <a:gd name="T99" fmla="*/ 404 h 902"/>
              <a:gd name="T100" fmla="*/ 331 w 902"/>
              <a:gd name="T101" fmla="*/ 473 h 902"/>
              <a:gd name="T102" fmla="*/ 233 w 902"/>
              <a:gd name="T103" fmla="*/ 612 h 902"/>
              <a:gd name="T104" fmla="*/ 82 w 902"/>
              <a:gd name="T105" fmla="*/ 682 h 902"/>
              <a:gd name="T106" fmla="*/ 33 w 902"/>
              <a:gd name="T107" fmla="*/ 741 h 902"/>
              <a:gd name="T108" fmla="*/ 3 w 902"/>
              <a:gd name="T109" fmla="*/ 856 h 902"/>
              <a:gd name="T110" fmla="*/ 3 w 902"/>
              <a:gd name="T111" fmla="*/ 895 h 902"/>
              <a:gd name="T112" fmla="*/ 887 w 902"/>
              <a:gd name="T113" fmla="*/ 902 h 902"/>
              <a:gd name="T114" fmla="*/ 901 w 902"/>
              <a:gd name="T115" fmla="*/ 893 h 902"/>
              <a:gd name="T116" fmla="*/ 897 w 902"/>
              <a:gd name="T117" fmla="*/ 835 h 902"/>
              <a:gd name="T118" fmla="*/ 863 w 902"/>
              <a:gd name="T119" fmla="*/ 727 h 9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02" h="902">
                <a:moveTo>
                  <a:pt x="31" y="872"/>
                </a:moveTo>
                <a:lnTo>
                  <a:pt x="34" y="848"/>
                </a:lnTo>
                <a:lnTo>
                  <a:pt x="39" y="816"/>
                </a:lnTo>
                <a:lnTo>
                  <a:pt x="45" y="798"/>
                </a:lnTo>
                <a:lnTo>
                  <a:pt x="50" y="780"/>
                </a:lnTo>
                <a:lnTo>
                  <a:pt x="58" y="760"/>
                </a:lnTo>
                <a:lnTo>
                  <a:pt x="66" y="740"/>
                </a:lnTo>
                <a:lnTo>
                  <a:pt x="71" y="732"/>
                </a:lnTo>
                <a:lnTo>
                  <a:pt x="78" y="725"/>
                </a:lnTo>
                <a:lnTo>
                  <a:pt x="85" y="717"/>
                </a:lnTo>
                <a:lnTo>
                  <a:pt x="94" y="710"/>
                </a:lnTo>
                <a:lnTo>
                  <a:pt x="105" y="702"/>
                </a:lnTo>
                <a:lnTo>
                  <a:pt x="117" y="695"/>
                </a:lnTo>
                <a:lnTo>
                  <a:pt x="129" y="688"/>
                </a:lnTo>
                <a:lnTo>
                  <a:pt x="143" y="681"/>
                </a:lnTo>
                <a:lnTo>
                  <a:pt x="174" y="667"/>
                </a:lnTo>
                <a:lnTo>
                  <a:pt x="209" y="653"/>
                </a:lnTo>
                <a:lnTo>
                  <a:pt x="247" y="639"/>
                </a:lnTo>
                <a:lnTo>
                  <a:pt x="287" y="624"/>
                </a:lnTo>
                <a:lnTo>
                  <a:pt x="303" y="619"/>
                </a:lnTo>
                <a:lnTo>
                  <a:pt x="319" y="612"/>
                </a:lnTo>
                <a:lnTo>
                  <a:pt x="335" y="607"/>
                </a:lnTo>
                <a:lnTo>
                  <a:pt x="351" y="601"/>
                </a:lnTo>
                <a:lnTo>
                  <a:pt x="356" y="598"/>
                </a:lnTo>
                <a:lnTo>
                  <a:pt x="359" y="595"/>
                </a:lnTo>
                <a:lnTo>
                  <a:pt x="360" y="591"/>
                </a:lnTo>
                <a:lnTo>
                  <a:pt x="361" y="587"/>
                </a:lnTo>
                <a:lnTo>
                  <a:pt x="361" y="467"/>
                </a:lnTo>
                <a:lnTo>
                  <a:pt x="361" y="462"/>
                </a:lnTo>
                <a:lnTo>
                  <a:pt x="360" y="459"/>
                </a:lnTo>
                <a:lnTo>
                  <a:pt x="358" y="457"/>
                </a:lnTo>
                <a:lnTo>
                  <a:pt x="356" y="455"/>
                </a:lnTo>
                <a:lnTo>
                  <a:pt x="349" y="448"/>
                </a:lnTo>
                <a:lnTo>
                  <a:pt x="335" y="429"/>
                </a:lnTo>
                <a:lnTo>
                  <a:pt x="331" y="423"/>
                </a:lnTo>
                <a:lnTo>
                  <a:pt x="328" y="415"/>
                </a:lnTo>
                <a:lnTo>
                  <a:pt x="325" y="408"/>
                </a:lnTo>
                <a:lnTo>
                  <a:pt x="321" y="398"/>
                </a:lnTo>
                <a:lnTo>
                  <a:pt x="318" y="388"/>
                </a:lnTo>
                <a:lnTo>
                  <a:pt x="316" y="378"/>
                </a:lnTo>
                <a:lnTo>
                  <a:pt x="315" y="367"/>
                </a:lnTo>
                <a:lnTo>
                  <a:pt x="315" y="354"/>
                </a:lnTo>
                <a:lnTo>
                  <a:pt x="314" y="349"/>
                </a:lnTo>
                <a:lnTo>
                  <a:pt x="312" y="344"/>
                </a:lnTo>
                <a:lnTo>
                  <a:pt x="307" y="341"/>
                </a:lnTo>
                <a:lnTo>
                  <a:pt x="302" y="339"/>
                </a:lnTo>
                <a:lnTo>
                  <a:pt x="299" y="334"/>
                </a:lnTo>
                <a:lnTo>
                  <a:pt x="296" y="324"/>
                </a:lnTo>
                <a:lnTo>
                  <a:pt x="294" y="319"/>
                </a:lnTo>
                <a:lnTo>
                  <a:pt x="293" y="311"/>
                </a:lnTo>
                <a:lnTo>
                  <a:pt x="292" y="305"/>
                </a:lnTo>
                <a:lnTo>
                  <a:pt x="293" y="298"/>
                </a:lnTo>
                <a:lnTo>
                  <a:pt x="294" y="291"/>
                </a:lnTo>
                <a:lnTo>
                  <a:pt x="297" y="284"/>
                </a:lnTo>
                <a:lnTo>
                  <a:pt x="298" y="280"/>
                </a:lnTo>
                <a:lnTo>
                  <a:pt x="300" y="278"/>
                </a:lnTo>
                <a:lnTo>
                  <a:pt x="303" y="275"/>
                </a:lnTo>
                <a:lnTo>
                  <a:pt x="306" y="272"/>
                </a:lnTo>
                <a:lnTo>
                  <a:pt x="309" y="270"/>
                </a:lnTo>
                <a:lnTo>
                  <a:pt x="313" y="267"/>
                </a:lnTo>
                <a:lnTo>
                  <a:pt x="314" y="264"/>
                </a:lnTo>
                <a:lnTo>
                  <a:pt x="315" y="260"/>
                </a:lnTo>
                <a:lnTo>
                  <a:pt x="314" y="251"/>
                </a:lnTo>
                <a:lnTo>
                  <a:pt x="308" y="235"/>
                </a:lnTo>
                <a:lnTo>
                  <a:pt x="305" y="222"/>
                </a:lnTo>
                <a:lnTo>
                  <a:pt x="300" y="205"/>
                </a:lnTo>
                <a:lnTo>
                  <a:pt x="296" y="187"/>
                </a:lnTo>
                <a:lnTo>
                  <a:pt x="292" y="167"/>
                </a:lnTo>
                <a:lnTo>
                  <a:pt x="290" y="148"/>
                </a:lnTo>
                <a:lnTo>
                  <a:pt x="290" y="130"/>
                </a:lnTo>
                <a:lnTo>
                  <a:pt x="291" y="121"/>
                </a:lnTo>
                <a:lnTo>
                  <a:pt x="293" y="113"/>
                </a:lnTo>
                <a:lnTo>
                  <a:pt x="296" y="106"/>
                </a:lnTo>
                <a:lnTo>
                  <a:pt x="300" y="100"/>
                </a:lnTo>
                <a:lnTo>
                  <a:pt x="303" y="97"/>
                </a:lnTo>
                <a:lnTo>
                  <a:pt x="306" y="93"/>
                </a:lnTo>
                <a:lnTo>
                  <a:pt x="311" y="90"/>
                </a:lnTo>
                <a:lnTo>
                  <a:pt x="315" y="88"/>
                </a:lnTo>
                <a:lnTo>
                  <a:pt x="326" y="86"/>
                </a:lnTo>
                <a:lnTo>
                  <a:pt x="337" y="85"/>
                </a:lnTo>
                <a:lnTo>
                  <a:pt x="343" y="84"/>
                </a:lnTo>
                <a:lnTo>
                  <a:pt x="347" y="82"/>
                </a:lnTo>
                <a:lnTo>
                  <a:pt x="350" y="78"/>
                </a:lnTo>
                <a:lnTo>
                  <a:pt x="352" y="73"/>
                </a:lnTo>
                <a:lnTo>
                  <a:pt x="353" y="69"/>
                </a:lnTo>
                <a:lnTo>
                  <a:pt x="357" y="64"/>
                </a:lnTo>
                <a:lnTo>
                  <a:pt x="360" y="60"/>
                </a:lnTo>
                <a:lnTo>
                  <a:pt x="365" y="56"/>
                </a:lnTo>
                <a:lnTo>
                  <a:pt x="371" y="53"/>
                </a:lnTo>
                <a:lnTo>
                  <a:pt x="377" y="48"/>
                </a:lnTo>
                <a:lnTo>
                  <a:pt x="385" y="45"/>
                </a:lnTo>
                <a:lnTo>
                  <a:pt x="393" y="42"/>
                </a:lnTo>
                <a:lnTo>
                  <a:pt x="410" y="38"/>
                </a:lnTo>
                <a:lnTo>
                  <a:pt x="431" y="33"/>
                </a:lnTo>
                <a:lnTo>
                  <a:pt x="453" y="31"/>
                </a:lnTo>
                <a:lnTo>
                  <a:pt x="478" y="30"/>
                </a:lnTo>
                <a:lnTo>
                  <a:pt x="502" y="31"/>
                </a:lnTo>
                <a:lnTo>
                  <a:pt x="528" y="34"/>
                </a:lnTo>
                <a:lnTo>
                  <a:pt x="540" y="37"/>
                </a:lnTo>
                <a:lnTo>
                  <a:pt x="552" y="39"/>
                </a:lnTo>
                <a:lnTo>
                  <a:pt x="564" y="42"/>
                </a:lnTo>
                <a:lnTo>
                  <a:pt x="574" y="45"/>
                </a:lnTo>
                <a:lnTo>
                  <a:pt x="584" y="49"/>
                </a:lnTo>
                <a:lnTo>
                  <a:pt x="594" y="54"/>
                </a:lnTo>
                <a:lnTo>
                  <a:pt x="602" y="59"/>
                </a:lnTo>
                <a:lnTo>
                  <a:pt x="609" y="64"/>
                </a:lnTo>
                <a:lnTo>
                  <a:pt x="615" y="71"/>
                </a:lnTo>
                <a:lnTo>
                  <a:pt x="620" y="77"/>
                </a:lnTo>
                <a:lnTo>
                  <a:pt x="624" y="84"/>
                </a:lnTo>
                <a:lnTo>
                  <a:pt x="626" y="91"/>
                </a:lnTo>
                <a:lnTo>
                  <a:pt x="628" y="100"/>
                </a:lnTo>
                <a:lnTo>
                  <a:pt x="628" y="108"/>
                </a:lnTo>
                <a:lnTo>
                  <a:pt x="628" y="118"/>
                </a:lnTo>
                <a:lnTo>
                  <a:pt x="627" y="127"/>
                </a:lnTo>
                <a:lnTo>
                  <a:pt x="625" y="146"/>
                </a:lnTo>
                <a:lnTo>
                  <a:pt x="619" y="165"/>
                </a:lnTo>
                <a:lnTo>
                  <a:pt x="609" y="201"/>
                </a:lnTo>
                <a:lnTo>
                  <a:pt x="597" y="231"/>
                </a:lnTo>
                <a:lnTo>
                  <a:pt x="593" y="241"/>
                </a:lnTo>
                <a:lnTo>
                  <a:pt x="590" y="250"/>
                </a:lnTo>
                <a:lnTo>
                  <a:pt x="588" y="255"/>
                </a:lnTo>
                <a:lnTo>
                  <a:pt x="588" y="260"/>
                </a:lnTo>
                <a:lnTo>
                  <a:pt x="588" y="264"/>
                </a:lnTo>
                <a:lnTo>
                  <a:pt x="590" y="267"/>
                </a:lnTo>
                <a:lnTo>
                  <a:pt x="593" y="270"/>
                </a:lnTo>
                <a:lnTo>
                  <a:pt x="596" y="272"/>
                </a:lnTo>
                <a:lnTo>
                  <a:pt x="600" y="275"/>
                </a:lnTo>
                <a:lnTo>
                  <a:pt x="602" y="278"/>
                </a:lnTo>
                <a:lnTo>
                  <a:pt x="604" y="280"/>
                </a:lnTo>
                <a:lnTo>
                  <a:pt x="606" y="284"/>
                </a:lnTo>
                <a:lnTo>
                  <a:pt x="609" y="291"/>
                </a:lnTo>
                <a:lnTo>
                  <a:pt x="610" y="298"/>
                </a:lnTo>
                <a:lnTo>
                  <a:pt x="610" y="305"/>
                </a:lnTo>
                <a:lnTo>
                  <a:pt x="610" y="311"/>
                </a:lnTo>
                <a:lnTo>
                  <a:pt x="609" y="318"/>
                </a:lnTo>
                <a:lnTo>
                  <a:pt x="608" y="324"/>
                </a:lnTo>
                <a:lnTo>
                  <a:pt x="603" y="334"/>
                </a:lnTo>
                <a:lnTo>
                  <a:pt x="600" y="339"/>
                </a:lnTo>
                <a:lnTo>
                  <a:pt x="596" y="341"/>
                </a:lnTo>
                <a:lnTo>
                  <a:pt x="591" y="344"/>
                </a:lnTo>
                <a:lnTo>
                  <a:pt x="589" y="349"/>
                </a:lnTo>
                <a:lnTo>
                  <a:pt x="588" y="354"/>
                </a:lnTo>
                <a:lnTo>
                  <a:pt x="587" y="367"/>
                </a:lnTo>
                <a:lnTo>
                  <a:pt x="586" y="379"/>
                </a:lnTo>
                <a:lnTo>
                  <a:pt x="584" y="389"/>
                </a:lnTo>
                <a:lnTo>
                  <a:pt x="582" y="399"/>
                </a:lnTo>
                <a:lnTo>
                  <a:pt x="575" y="418"/>
                </a:lnTo>
                <a:lnTo>
                  <a:pt x="567" y="433"/>
                </a:lnTo>
                <a:lnTo>
                  <a:pt x="553" y="455"/>
                </a:lnTo>
                <a:lnTo>
                  <a:pt x="546" y="461"/>
                </a:lnTo>
                <a:lnTo>
                  <a:pt x="544" y="464"/>
                </a:lnTo>
                <a:lnTo>
                  <a:pt x="543" y="467"/>
                </a:lnTo>
                <a:lnTo>
                  <a:pt x="542" y="470"/>
                </a:lnTo>
                <a:lnTo>
                  <a:pt x="541" y="473"/>
                </a:lnTo>
                <a:lnTo>
                  <a:pt x="541" y="587"/>
                </a:lnTo>
                <a:lnTo>
                  <a:pt x="542" y="591"/>
                </a:lnTo>
                <a:lnTo>
                  <a:pt x="544" y="595"/>
                </a:lnTo>
                <a:lnTo>
                  <a:pt x="548" y="598"/>
                </a:lnTo>
                <a:lnTo>
                  <a:pt x="552" y="601"/>
                </a:lnTo>
                <a:lnTo>
                  <a:pt x="568" y="607"/>
                </a:lnTo>
                <a:lnTo>
                  <a:pt x="584" y="612"/>
                </a:lnTo>
                <a:lnTo>
                  <a:pt x="600" y="619"/>
                </a:lnTo>
                <a:lnTo>
                  <a:pt x="615" y="624"/>
                </a:lnTo>
                <a:lnTo>
                  <a:pt x="656" y="639"/>
                </a:lnTo>
                <a:lnTo>
                  <a:pt x="693" y="653"/>
                </a:lnTo>
                <a:lnTo>
                  <a:pt x="729" y="667"/>
                </a:lnTo>
                <a:lnTo>
                  <a:pt x="760" y="681"/>
                </a:lnTo>
                <a:lnTo>
                  <a:pt x="774" y="688"/>
                </a:lnTo>
                <a:lnTo>
                  <a:pt x="787" y="695"/>
                </a:lnTo>
                <a:lnTo>
                  <a:pt x="797" y="702"/>
                </a:lnTo>
                <a:lnTo>
                  <a:pt x="808" y="710"/>
                </a:lnTo>
                <a:lnTo>
                  <a:pt x="818" y="717"/>
                </a:lnTo>
                <a:lnTo>
                  <a:pt x="825" y="725"/>
                </a:lnTo>
                <a:lnTo>
                  <a:pt x="832" y="732"/>
                </a:lnTo>
                <a:lnTo>
                  <a:pt x="836" y="740"/>
                </a:lnTo>
                <a:lnTo>
                  <a:pt x="846" y="759"/>
                </a:lnTo>
                <a:lnTo>
                  <a:pt x="852" y="780"/>
                </a:lnTo>
                <a:lnTo>
                  <a:pt x="858" y="798"/>
                </a:lnTo>
                <a:lnTo>
                  <a:pt x="863" y="816"/>
                </a:lnTo>
                <a:lnTo>
                  <a:pt x="869" y="848"/>
                </a:lnTo>
                <a:lnTo>
                  <a:pt x="871" y="872"/>
                </a:lnTo>
                <a:lnTo>
                  <a:pt x="31" y="872"/>
                </a:lnTo>
                <a:close/>
                <a:moveTo>
                  <a:pt x="863" y="727"/>
                </a:moveTo>
                <a:lnTo>
                  <a:pt x="857" y="716"/>
                </a:lnTo>
                <a:lnTo>
                  <a:pt x="850" y="708"/>
                </a:lnTo>
                <a:lnTo>
                  <a:pt x="841" y="698"/>
                </a:lnTo>
                <a:lnTo>
                  <a:pt x="832" y="690"/>
                </a:lnTo>
                <a:lnTo>
                  <a:pt x="821" y="682"/>
                </a:lnTo>
                <a:lnTo>
                  <a:pt x="808" y="673"/>
                </a:lnTo>
                <a:lnTo>
                  <a:pt x="795" y="666"/>
                </a:lnTo>
                <a:lnTo>
                  <a:pt x="780" y="657"/>
                </a:lnTo>
                <a:lnTo>
                  <a:pt x="747" y="642"/>
                </a:lnTo>
                <a:lnTo>
                  <a:pt x="710" y="627"/>
                </a:lnTo>
                <a:lnTo>
                  <a:pt x="670" y="612"/>
                </a:lnTo>
                <a:lnTo>
                  <a:pt x="626" y="596"/>
                </a:lnTo>
                <a:lnTo>
                  <a:pt x="613" y="591"/>
                </a:lnTo>
                <a:lnTo>
                  <a:pt x="599" y="587"/>
                </a:lnTo>
                <a:lnTo>
                  <a:pt x="585" y="581"/>
                </a:lnTo>
                <a:lnTo>
                  <a:pt x="571" y="576"/>
                </a:lnTo>
                <a:lnTo>
                  <a:pt x="571" y="478"/>
                </a:lnTo>
                <a:lnTo>
                  <a:pt x="578" y="473"/>
                </a:lnTo>
                <a:lnTo>
                  <a:pt x="584" y="464"/>
                </a:lnTo>
                <a:lnTo>
                  <a:pt x="590" y="453"/>
                </a:lnTo>
                <a:lnTo>
                  <a:pt x="598" y="440"/>
                </a:lnTo>
                <a:lnTo>
                  <a:pt x="605" y="424"/>
                </a:lnTo>
                <a:lnTo>
                  <a:pt x="611" y="406"/>
                </a:lnTo>
                <a:lnTo>
                  <a:pt x="614" y="397"/>
                </a:lnTo>
                <a:lnTo>
                  <a:pt x="615" y="386"/>
                </a:lnTo>
                <a:lnTo>
                  <a:pt x="617" y="375"/>
                </a:lnTo>
                <a:lnTo>
                  <a:pt x="618" y="364"/>
                </a:lnTo>
                <a:lnTo>
                  <a:pt x="624" y="358"/>
                </a:lnTo>
                <a:lnTo>
                  <a:pt x="629" y="350"/>
                </a:lnTo>
                <a:lnTo>
                  <a:pt x="633" y="340"/>
                </a:lnTo>
                <a:lnTo>
                  <a:pt x="638" y="328"/>
                </a:lnTo>
                <a:lnTo>
                  <a:pt x="639" y="319"/>
                </a:lnTo>
                <a:lnTo>
                  <a:pt x="640" y="308"/>
                </a:lnTo>
                <a:lnTo>
                  <a:pt x="640" y="297"/>
                </a:lnTo>
                <a:lnTo>
                  <a:pt x="639" y="287"/>
                </a:lnTo>
                <a:lnTo>
                  <a:pt x="635" y="278"/>
                </a:lnTo>
                <a:lnTo>
                  <a:pt x="632" y="268"/>
                </a:lnTo>
                <a:lnTo>
                  <a:pt x="627" y="261"/>
                </a:lnTo>
                <a:lnTo>
                  <a:pt x="620" y="253"/>
                </a:lnTo>
                <a:lnTo>
                  <a:pt x="623" y="248"/>
                </a:lnTo>
                <a:lnTo>
                  <a:pt x="625" y="242"/>
                </a:lnTo>
                <a:lnTo>
                  <a:pt x="631" y="227"/>
                </a:lnTo>
                <a:lnTo>
                  <a:pt x="638" y="209"/>
                </a:lnTo>
                <a:lnTo>
                  <a:pt x="644" y="190"/>
                </a:lnTo>
                <a:lnTo>
                  <a:pt x="649" y="170"/>
                </a:lnTo>
                <a:lnTo>
                  <a:pt x="655" y="148"/>
                </a:lnTo>
                <a:lnTo>
                  <a:pt x="657" y="127"/>
                </a:lnTo>
                <a:lnTo>
                  <a:pt x="658" y="116"/>
                </a:lnTo>
                <a:lnTo>
                  <a:pt x="658" y="106"/>
                </a:lnTo>
                <a:lnTo>
                  <a:pt x="657" y="96"/>
                </a:lnTo>
                <a:lnTo>
                  <a:pt x="656" y="86"/>
                </a:lnTo>
                <a:lnTo>
                  <a:pt x="653" y="75"/>
                </a:lnTo>
                <a:lnTo>
                  <a:pt x="648" y="64"/>
                </a:lnTo>
                <a:lnTo>
                  <a:pt x="642" y="56"/>
                </a:lnTo>
                <a:lnTo>
                  <a:pt x="634" y="47"/>
                </a:lnTo>
                <a:lnTo>
                  <a:pt x="625" y="40"/>
                </a:lnTo>
                <a:lnTo>
                  <a:pt x="615" y="32"/>
                </a:lnTo>
                <a:lnTo>
                  <a:pt x="604" y="26"/>
                </a:lnTo>
                <a:lnTo>
                  <a:pt x="593" y="21"/>
                </a:lnTo>
                <a:lnTo>
                  <a:pt x="580" y="15"/>
                </a:lnTo>
                <a:lnTo>
                  <a:pt x="566" y="12"/>
                </a:lnTo>
                <a:lnTo>
                  <a:pt x="552" y="8"/>
                </a:lnTo>
                <a:lnTo>
                  <a:pt x="538" y="6"/>
                </a:lnTo>
                <a:lnTo>
                  <a:pt x="523" y="2"/>
                </a:lnTo>
                <a:lnTo>
                  <a:pt x="508" y="1"/>
                </a:lnTo>
                <a:lnTo>
                  <a:pt x="493" y="0"/>
                </a:lnTo>
                <a:lnTo>
                  <a:pt x="478" y="0"/>
                </a:lnTo>
                <a:lnTo>
                  <a:pt x="455" y="0"/>
                </a:lnTo>
                <a:lnTo>
                  <a:pt x="432" y="3"/>
                </a:lnTo>
                <a:lnTo>
                  <a:pt x="409" y="7"/>
                </a:lnTo>
                <a:lnTo>
                  <a:pt x="388" y="12"/>
                </a:lnTo>
                <a:lnTo>
                  <a:pt x="378" y="16"/>
                </a:lnTo>
                <a:lnTo>
                  <a:pt x="368" y="19"/>
                </a:lnTo>
                <a:lnTo>
                  <a:pt x="359" y="25"/>
                </a:lnTo>
                <a:lnTo>
                  <a:pt x="351" y="29"/>
                </a:lnTo>
                <a:lnTo>
                  <a:pt x="344" y="36"/>
                </a:lnTo>
                <a:lnTo>
                  <a:pt x="337" y="41"/>
                </a:lnTo>
                <a:lnTo>
                  <a:pt x="331" y="48"/>
                </a:lnTo>
                <a:lnTo>
                  <a:pt x="327" y="55"/>
                </a:lnTo>
                <a:lnTo>
                  <a:pt x="319" y="56"/>
                </a:lnTo>
                <a:lnTo>
                  <a:pt x="312" y="58"/>
                </a:lnTo>
                <a:lnTo>
                  <a:pt x="304" y="60"/>
                </a:lnTo>
                <a:lnTo>
                  <a:pt x="298" y="63"/>
                </a:lnTo>
                <a:lnTo>
                  <a:pt x="291" y="67"/>
                </a:lnTo>
                <a:lnTo>
                  <a:pt x="286" y="71"/>
                </a:lnTo>
                <a:lnTo>
                  <a:pt x="281" y="76"/>
                </a:lnTo>
                <a:lnTo>
                  <a:pt x="275" y="82"/>
                </a:lnTo>
                <a:lnTo>
                  <a:pt x="270" y="90"/>
                </a:lnTo>
                <a:lnTo>
                  <a:pt x="267" y="99"/>
                </a:lnTo>
                <a:lnTo>
                  <a:pt x="263" y="110"/>
                </a:lnTo>
                <a:lnTo>
                  <a:pt x="261" y="119"/>
                </a:lnTo>
                <a:lnTo>
                  <a:pt x="260" y="130"/>
                </a:lnTo>
                <a:lnTo>
                  <a:pt x="260" y="141"/>
                </a:lnTo>
                <a:lnTo>
                  <a:pt x="260" y="152"/>
                </a:lnTo>
                <a:lnTo>
                  <a:pt x="261" y="163"/>
                </a:lnTo>
                <a:lnTo>
                  <a:pt x="264" y="186"/>
                </a:lnTo>
                <a:lnTo>
                  <a:pt x="270" y="207"/>
                </a:lnTo>
                <a:lnTo>
                  <a:pt x="275" y="226"/>
                </a:lnTo>
                <a:lnTo>
                  <a:pt x="281" y="244"/>
                </a:lnTo>
                <a:lnTo>
                  <a:pt x="282" y="249"/>
                </a:lnTo>
                <a:lnTo>
                  <a:pt x="283" y="252"/>
                </a:lnTo>
                <a:lnTo>
                  <a:pt x="276" y="260"/>
                </a:lnTo>
                <a:lnTo>
                  <a:pt x="271" y="268"/>
                </a:lnTo>
                <a:lnTo>
                  <a:pt x="267" y="277"/>
                </a:lnTo>
                <a:lnTo>
                  <a:pt x="264" y="287"/>
                </a:lnTo>
                <a:lnTo>
                  <a:pt x="263" y="297"/>
                </a:lnTo>
                <a:lnTo>
                  <a:pt x="262" y="308"/>
                </a:lnTo>
                <a:lnTo>
                  <a:pt x="263" y="319"/>
                </a:lnTo>
                <a:lnTo>
                  <a:pt x="266" y="328"/>
                </a:lnTo>
                <a:lnTo>
                  <a:pt x="269" y="340"/>
                </a:lnTo>
                <a:lnTo>
                  <a:pt x="273" y="350"/>
                </a:lnTo>
                <a:lnTo>
                  <a:pt x="278" y="358"/>
                </a:lnTo>
                <a:lnTo>
                  <a:pt x="285" y="364"/>
                </a:lnTo>
                <a:lnTo>
                  <a:pt x="286" y="375"/>
                </a:lnTo>
                <a:lnTo>
                  <a:pt x="287" y="385"/>
                </a:lnTo>
                <a:lnTo>
                  <a:pt x="289" y="396"/>
                </a:lnTo>
                <a:lnTo>
                  <a:pt x="291" y="404"/>
                </a:lnTo>
                <a:lnTo>
                  <a:pt x="298" y="421"/>
                </a:lnTo>
                <a:lnTo>
                  <a:pt x="304" y="437"/>
                </a:lnTo>
                <a:lnTo>
                  <a:pt x="312" y="448"/>
                </a:lnTo>
                <a:lnTo>
                  <a:pt x="319" y="459"/>
                </a:lnTo>
                <a:lnTo>
                  <a:pt x="326" y="467"/>
                </a:lnTo>
                <a:lnTo>
                  <a:pt x="331" y="473"/>
                </a:lnTo>
                <a:lnTo>
                  <a:pt x="331" y="576"/>
                </a:lnTo>
                <a:lnTo>
                  <a:pt x="317" y="581"/>
                </a:lnTo>
                <a:lnTo>
                  <a:pt x="303" y="587"/>
                </a:lnTo>
                <a:lnTo>
                  <a:pt x="290" y="591"/>
                </a:lnTo>
                <a:lnTo>
                  <a:pt x="277" y="596"/>
                </a:lnTo>
                <a:lnTo>
                  <a:pt x="233" y="612"/>
                </a:lnTo>
                <a:lnTo>
                  <a:pt x="193" y="627"/>
                </a:lnTo>
                <a:lnTo>
                  <a:pt x="155" y="642"/>
                </a:lnTo>
                <a:lnTo>
                  <a:pt x="123" y="658"/>
                </a:lnTo>
                <a:lnTo>
                  <a:pt x="108" y="666"/>
                </a:lnTo>
                <a:lnTo>
                  <a:pt x="94" y="673"/>
                </a:lnTo>
                <a:lnTo>
                  <a:pt x="82" y="682"/>
                </a:lnTo>
                <a:lnTo>
                  <a:pt x="70" y="690"/>
                </a:lnTo>
                <a:lnTo>
                  <a:pt x="61" y="698"/>
                </a:lnTo>
                <a:lnTo>
                  <a:pt x="52" y="708"/>
                </a:lnTo>
                <a:lnTo>
                  <a:pt x="46" y="716"/>
                </a:lnTo>
                <a:lnTo>
                  <a:pt x="39" y="727"/>
                </a:lnTo>
                <a:lnTo>
                  <a:pt x="33" y="741"/>
                </a:lnTo>
                <a:lnTo>
                  <a:pt x="26" y="756"/>
                </a:lnTo>
                <a:lnTo>
                  <a:pt x="21" y="770"/>
                </a:lnTo>
                <a:lnTo>
                  <a:pt x="17" y="784"/>
                </a:lnTo>
                <a:lnTo>
                  <a:pt x="10" y="811"/>
                </a:lnTo>
                <a:lnTo>
                  <a:pt x="5" y="835"/>
                </a:lnTo>
                <a:lnTo>
                  <a:pt x="3" y="856"/>
                </a:lnTo>
                <a:lnTo>
                  <a:pt x="1" y="872"/>
                </a:lnTo>
                <a:lnTo>
                  <a:pt x="1" y="882"/>
                </a:lnTo>
                <a:lnTo>
                  <a:pt x="0" y="887"/>
                </a:lnTo>
                <a:lnTo>
                  <a:pt x="1" y="890"/>
                </a:lnTo>
                <a:lnTo>
                  <a:pt x="2" y="893"/>
                </a:lnTo>
                <a:lnTo>
                  <a:pt x="3" y="895"/>
                </a:lnTo>
                <a:lnTo>
                  <a:pt x="5" y="898"/>
                </a:lnTo>
                <a:lnTo>
                  <a:pt x="7" y="900"/>
                </a:lnTo>
                <a:lnTo>
                  <a:pt x="9" y="901"/>
                </a:lnTo>
                <a:lnTo>
                  <a:pt x="12" y="902"/>
                </a:lnTo>
                <a:lnTo>
                  <a:pt x="15" y="902"/>
                </a:lnTo>
                <a:lnTo>
                  <a:pt x="887" y="902"/>
                </a:lnTo>
                <a:lnTo>
                  <a:pt x="891" y="902"/>
                </a:lnTo>
                <a:lnTo>
                  <a:pt x="894" y="901"/>
                </a:lnTo>
                <a:lnTo>
                  <a:pt x="896" y="900"/>
                </a:lnTo>
                <a:lnTo>
                  <a:pt x="898" y="898"/>
                </a:lnTo>
                <a:lnTo>
                  <a:pt x="900" y="895"/>
                </a:lnTo>
                <a:lnTo>
                  <a:pt x="901" y="893"/>
                </a:lnTo>
                <a:lnTo>
                  <a:pt x="902" y="890"/>
                </a:lnTo>
                <a:lnTo>
                  <a:pt x="902" y="887"/>
                </a:lnTo>
                <a:lnTo>
                  <a:pt x="902" y="882"/>
                </a:lnTo>
                <a:lnTo>
                  <a:pt x="901" y="872"/>
                </a:lnTo>
                <a:lnTo>
                  <a:pt x="900" y="856"/>
                </a:lnTo>
                <a:lnTo>
                  <a:pt x="897" y="835"/>
                </a:lnTo>
                <a:lnTo>
                  <a:pt x="893" y="811"/>
                </a:lnTo>
                <a:lnTo>
                  <a:pt x="885" y="784"/>
                </a:lnTo>
                <a:lnTo>
                  <a:pt x="881" y="770"/>
                </a:lnTo>
                <a:lnTo>
                  <a:pt x="876" y="756"/>
                </a:lnTo>
                <a:lnTo>
                  <a:pt x="870" y="741"/>
                </a:lnTo>
                <a:lnTo>
                  <a:pt x="863" y="727"/>
                </a:lnTo>
                <a:close/>
              </a:path>
            </a:pathLst>
          </a:custGeom>
          <a:solidFill>
            <a:srgbClr val="AFABAB"/>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mn-cs"/>
            </a:endParaRPr>
          </a:p>
        </p:txBody>
      </p:sp>
      <p:sp>
        <p:nvSpPr>
          <p:cNvPr id="58" name="Freeform 57"/>
          <p:cNvSpPr>
            <a:spLocks noEditPoints="1"/>
          </p:cNvSpPr>
          <p:nvPr/>
        </p:nvSpPr>
        <p:spPr bwMode="auto">
          <a:xfrm>
            <a:off x="8412424" y="3883505"/>
            <a:ext cx="728486" cy="728488"/>
          </a:xfrm>
          <a:custGeom>
            <a:avLst/>
            <a:gdLst>
              <a:gd name="T0" fmla="*/ 58 w 902"/>
              <a:gd name="T1" fmla="*/ 760 h 902"/>
              <a:gd name="T2" fmla="*/ 105 w 902"/>
              <a:gd name="T3" fmla="*/ 702 h 902"/>
              <a:gd name="T4" fmla="*/ 247 w 902"/>
              <a:gd name="T5" fmla="*/ 639 h 902"/>
              <a:gd name="T6" fmla="*/ 356 w 902"/>
              <a:gd name="T7" fmla="*/ 598 h 902"/>
              <a:gd name="T8" fmla="*/ 360 w 902"/>
              <a:gd name="T9" fmla="*/ 459 h 902"/>
              <a:gd name="T10" fmla="*/ 328 w 902"/>
              <a:gd name="T11" fmla="*/ 415 h 902"/>
              <a:gd name="T12" fmla="*/ 315 w 902"/>
              <a:gd name="T13" fmla="*/ 354 h 902"/>
              <a:gd name="T14" fmla="*/ 296 w 902"/>
              <a:gd name="T15" fmla="*/ 324 h 902"/>
              <a:gd name="T16" fmla="*/ 297 w 902"/>
              <a:gd name="T17" fmla="*/ 284 h 902"/>
              <a:gd name="T18" fmla="*/ 313 w 902"/>
              <a:gd name="T19" fmla="*/ 267 h 902"/>
              <a:gd name="T20" fmla="*/ 300 w 902"/>
              <a:gd name="T21" fmla="*/ 205 h 902"/>
              <a:gd name="T22" fmla="*/ 293 w 902"/>
              <a:gd name="T23" fmla="*/ 113 h 902"/>
              <a:gd name="T24" fmla="*/ 315 w 902"/>
              <a:gd name="T25" fmla="*/ 88 h 902"/>
              <a:gd name="T26" fmla="*/ 352 w 902"/>
              <a:gd name="T27" fmla="*/ 73 h 902"/>
              <a:gd name="T28" fmla="*/ 377 w 902"/>
              <a:gd name="T29" fmla="*/ 48 h 902"/>
              <a:gd name="T30" fmla="*/ 478 w 902"/>
              <a:gd name="T31" fmla="*/ 30 h 902"/>
              <a:gd name="T32" fmla="*/ 574 w 902"/>
              <a:gd name="T33" fmla="*/ 45 h 902"/>
              <a:gd name="T34" fmla="*/ 620 w 902"/>
              <a:gd name="T35" fmla="*/ 77 h 902"/>
              <a:gd name="T36" fmla="*/ 627 w 902"/>
              <a:gd name="T37" fmla="*/ 127 h 902"/>
              <a:gd name="T38" fmla="*/ 590 w 902"/>
              <a:gd name="T39" fmla="*/ 250 h 902"/>
              <a:gd name="T40" fmla="*/ 596 w 902"/>
              <a:gd name="T41" fmla="*/ 272 h 902"/>
              <a:gd name="T42" fmla="*/ 610 w 902"/>
              <a:gd name="T43" fmla="*/ 298 h 902"/>
              <a:gd name="T44" fmla="*/ 600 w 902"/>
              <a:gd name="T45" fmla="*/ 339 h 902"/>
              <a:gd name="T46" fmla="*/ 586 w 902"/>
              <a:gd name="T47" fmla="*/ 379 h 902"/>
              <a:gd name="T48" fmla="*/ 546 w 902"/>
              <a:gd name="T49" fmla="*/ 461 h 902"/>
              <a:gd name="T50" fmla="*/ 542 w 902"/>
              <a:gd name="T51" fmla="*/ 591 h 902"/>
              <a:gd name="T52" fmla="*/ 600 w 902"/>
              <a:gd name="T53" fmla="*/ 619 h 902"/>
              <a:gd name="T54" fmla="*/ 774 w 902"/>
              <a:gd name="T55" fmla="*/ 688 h 902"/>
              <a:gd name="T56" fmla="*/ 832 w 902"/>
              <a:gd name="T57" fmla="*/ 732 h 902"/>
              <a:gd name="T58" fmla="*/ 869 w 902"/>
              <a:gd name="T59" fmla="*/ 848 h 902"/>
              <a:gd name="T60" fmla="*/ 841 w 902"/>
              <a:gd name="T61" fmla="*/ 698 h 902"/>
              <a:gd name="T62" fmla="*/ 747 w 902"/>
              <a:gd name="T63" fmla="*/ 642 h 902"/>
              <a:gd name="T64" fmla="*/ 585 w 902"/>
              <a:gd name="T65" fmla="*/ 581 h 902"/>
              <a:gd name="T66" fmla="*/ 598 w 902"/>
              <a:gd name="T67" fmla="*/ 440 h 902"/>
              <a:gd name="T68" fmla="*/ 618 w 902"/>
              <a:gd name="T69" fmla="*/ 364 h 902"/>
              <a:gd name="T70" fmla="*/ 640 w 902"/>
              <a:gd name="T71" fmla="*/ 308 h 902"/>
              <a:gd name="T72" fmla="*/ 620 w 902"/>
              <a:gd name="T73" fmla="*/ 253 h 902"/>
              <a:gd name="T74" fmla="*/ 649 w 902"/>
              <a:gd name="T75" fmla="*/ 170 h 902"/>
              <a:gd name="T76" fmla="*/ 656 w 902"/>
              <a:gd name="T77" fmla="*/ 86 h 902"/>
              <a:gd name="T78" fmla="*/ 615 w 902"/>
              <a:gd name="T79" fmla="*/ 32 h 902"/>
              <a:gd name="T80" fmla="*/ 538 w 902"/>
              <a:gd name="T81" fmla="*/ 6 h 902"/>
              <a:gd name="T82" fmla="*/ 432 w 902"/>
              <a:gd name="T83" fmla="*/ 3 h 902"/>
              <a:gd name="T84" fmla="*/ 351 w 902"/>
              <a:gd name="T85" fmla="*/ 29 h 902"/>
              <a:gd name="T86" fmla="*/ 312 w 902"/>
              <a:gd name="T87" fmla="*/ 58 h 902"/>
              <a:gd name="T88" fmla="*/ 275 w 902"/>
              <a:gd name="T89" fmla="*/ 82 h 902"/>
              <a:gd name="T90" fmla="*/ 260 w 902"/>
              <a:gd name="T91" fmla="*/ 141 h 902"/>
              <a:gd name="T92" fmla="*/ 281 w 902"/>
              <a:gd name="T93" fmla="*/ 244 h 902"/>
              <a:gd name="T94" fmla="*/ 264 w 902"/>
              <a:gd name="T95" fmla="*/ 287 h 902"/>
              <a:gd name="T96" fmla="*/ 273 w 902"/>
              <a:gd name="T97" fmla="*/ 350 h 902"/>
              <a:gd name="T98" fmla="*/ 291 w 902"/>
              <a:gd name="T99" fmla="*/ 404 h 902"/>
              <a:gd name="T100" fmla="*/ 331 w 902"/>
              <a:gd name="T101" fmla="*/ 473 h 902"/>
              <a:gd name="T102" fmla="*/ 233 w 902"/>
              <a:gd name="T103" fmla="*/ 612 h 902"/>
              <a:gd name="T104" fmla="*/ 82 w 902"/>
              <a:gd name="T105" fmla="*/ 682 h 902"/>
              <a:gd name="T106" fmla="*/ 33 w 902"/>
              <a:gd name="T107" fmla="*/ 741 h 902"/>
              <a:gd name="T108" fmla="*/ 3 w 902"/>
              <a:gd name="T109" fmla="*/ 856 h 902"/>
              <a:gd name="T110" fmla="*/ 3 w 902"/>
              <a:gd name="T111" fmla="*/ 895 h 902"/>
              <a:gd name="T112" fmla="*/ 887 w 902"/>
              <a:gd name="T113" fmla="*/ 902 h 902"/>
              <a:gd name="T114" fmla="*/ 901 w 902"/>
              <a:gd name="T115" fmla="*/ 893 h 902"/>
              <a:gd name="T116" fmla="*/ 897 w 902"/>
              <a:gd name="T117" fmla="*/ 835 h 902"/>
              <a:gd name="T118" fmla="*/ 863 w 902"/>
              <a:gd name="T119" fmla="*/ 727 h 9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02" h="902">
                <a:moveTo>
                  <a:pt x="31" y="872"/>
                </a:moveTo>
                <a:lnTo>
                  <a:pt x="34" y="848"/>
                </a:lnTo>
                <a:lnTo>
                  <a:pt x="39" y="816"/>
                </a:lnTo>
                <a:lnTo>
                  <a:pt x="45" y="798"/>
                </a:lnTo>
                <a:lnTo>
                  <a:pt x="50" y="780"/>
                </a:lnTo>
                <a:lnTo>
                  <a:pt x="58" y="760"/>
                </a:lnTo>
                <a:lnTo>
                  <a:pt x="66" y="740"/>
                </a:lnTo>
                <a:lnTo>
                  <a:pt x="71" y="732"/>
                </a:lnTo>
                <a:lnTo>
                  <a:pt x="78" y="725"/>
                </a:lnTo>
                <a:lnTo>
                  <a:pt x="85" y="717"/>
                </a:lnTo>
                <a:lnTo>
                  <a:pt x="94" y="710"/>
                </a:lnTo>
                <a:lnTo>
                  <a:pt x="105" y="702"/>
                </a:lnTo>
                <a:lnTo>
                  <a:pt x="117" y="695"/>
                </a:lnTo>
                <a:lnTo>
                  <a:pt x="129" y="688"/>
                </a:lnTo>
                <a:lnTo>
                  <a:pt x="143" y="681"/>
                </a:lnTo>
                <a:lnTo>
                  <a:pt x="174" y="667"/>
                </a:lnTo>
                <a:lnTo>
                  <a:pt x="209" y="653"/>
                </a:lnTo>
                <a:lnTo>
                  <a:pt x="247" y="639"/>
                </a:lnTo>
                <a:lnTo>
                  <a:pt x="287" y="624"/>
                </a:lnTo>
                <a:lnTo>
                  <a:pt x="303" y="619"/>
                </a:lnTo>
                <a:lnTo>
                  <a:pt x="319" y="612"/>
                </a:lnTo>
                <a:lnTo>
                  <a:pt x="335" y="607"/>
                </a:lnTo>
                <a:lnTo>
                  <a:pt x="351" y="601"/>
                </a:lnTo>
                <a:lnTo>
                  <a:pt x="356" y="598"/>
                </a:lnTo>
                <a:lnTo>
                  <a:pt x="359" y="595"/>
                </a:lnTo>
                <a:lnTo>
                  <a:pt x="360" y="591"/>
                </a:lnTo>
                <a:lnTo>
                  <a:pt x="361" y="587"/>
                </a:lnTo>
                <a:lnTo>
                  <a:pt x="361" y="467"/>
                </a:lnTo>
                <a:lnTo>
                  <a:pt x="361" y="462"/>
                </a:lnTo>
                <a:lnTo>
                  <a:pt x="360" y="459"/>
                </a:lnTo>
                <a:lnTo>
                  <a:pt x="358" y="457"/>
                </a:lnTo>
                <a:lnTo>
                  <a:pt x="356" y="455"/>
                </a:lnTo>
                <a:lnTo>
                  <a:pt x="349" y="448"/>
                </a:lnTo>
                <a:lnTo>
                  <a:pt x="335" y="429"/>
                </a:lnTo>
                <a:lnTo>
                  <a:pt x="331" y="423"/>
                </a:lnTo>
                <a:lnTo>
                  <a:pt x="328" y="415"/>
                </a:lnTo>
                <a:lnTo>
                  <a:pt x="325" y="408"/>
                </a:lnTo>
                <a:lnTo>
                  <a:pt x="321" y="398"/>
                </a:lnTo>
                <a:lnTo>
                  <a:pt x="318" y="388"/>
                </a:lnTo>
                <a:lnTo>
                  <a:pt x="316" y="378"/>
                </a:lnTo>
                <a:lnTo>
                  <a:pt x="315" y="367"/>
                </a:lnTo>
                <a:lnTo>
                  <a:pt x="315" y="354"/>
                </a:lnTo>
                <a:lnTo>
                  <a:pt x="314" y="349"/>
                </a:lnTo>
                <a:lnTo>
                  <a:pt x="312" y="344"/>
                </a:lnTo>
                <a:lnTo>
                  <a:pt x="307" y="341"/>
                </a:lnTo>
                <a:lnTo>
                  <a:pt x="302" y="339"/>
                </a:lnTo>
                <a:lnTo>
                  <a:pt x="299" y="334"/>
                </a:lnTo>
                <a:lnTo>
                  <a:pt x="296" y="324"/>
                </a:lnTo>
                <a:lnTo>
                  <a:pt x="294" y="319"/>
                </a:lnTo>
                <a:lnTo>
                  <a:pt x="293" y="311"/>
                </a:lnTo>
                <a:lnTo>
                  <a:pt x="292" y="305"/>
                </a:lnTo>
                <a:lnTo>
                  <a:pt x="293" y="298"/>
                </a:lnTo>
                <a:lnTo>
                  <a:pt x="294" y="291"/>
                </a:lnTo>
                <a:lnTo>
                  <a:pt x="297" y="284"/>
                </a:lnTo>
                <a:lnTo>
                  <a:pt x="298" y="280"/>
                </a:lnTo>
                <a:lnTo>
                  <a:pt x="300" y="278"/>
                </a:lnTo>
                <a:lnTo>
                  <a:pt x="303" y="275"/>
                </a:lnTo>
                <a:lnTo>
                  <a:pt x="306" y="272"/>
                </a:lnTo>
                <a:lnTo>
                  <a:pt x="309" y="270"/>
                </a:lnTo>
                <a:lnTo>
                  <a:pt x="313" y="267"/>
                </a:lnTo>
                <a:lnTo>
                  <a:pt x="314" y="264"/>
                </a:lnTo>
                <a:lnTo>
                  <a:pt x="315" y="260"/>
                </a:lnTo>
                <a:lnTo>
                  <a:pt x="314" y="251"/>
                </a:lnTo>
                <a:lnTo>
                  <a:pt x="308" y="235"/>
                </a:lnTo>
                <a:lnTo>
                  <a:pt x="305" y="222"/>
                </a:lnTo>
                <a:lnTo>
                  <a:pt x="300" y="205"/>
                </a:lnTo>
                <a:lnTo>
                  <a:pt x="296" y="187"/>
                </a:lnTo>
                <a:lnTo>
                  <a:pt x="292" y="167"/>
                </a:lnTo>
                <a:lnTo>
                  <a:pt x="290" y="148"/>
                </a:lnTo>
                <a:lnTo>
                  <a:pt x="290" y="130"/>
                </a:lnTo>
                <a:lnTo>
                  <a:pt x="291" y="121"/>
                </a:lnTo>
                <a:lnTo>
                  <a:pt x="293" y="113"/>
                </a:lnTo>
                <a:lnTo>
                  <a:pt x="296" y="106"/>
                </a:lnTo>
                <a:lnTo>
                  <a:pt x="300" y="100"/>
                </a:lnTo>
                <a:lnTo>
                  <a:pt x="303" y="97"/>
                </a:lnTo>
                <a:lnTo>
                  <a:pt x="306" y="93"/>
                </a:lnTo>
                <a:lnTo>
                  <a:pt x="311" y="90"/>
                </a:lnTo>
                <a:lnTo>
                  <a:pt x="315" y="88"/>
                </a:lnTo>
                <a:lnTo>
                  <a:pt x="326" y="86"/>
                </a:lnTo>
                <a:lnTo>
                  <a:pt x="337" y="85"/>
                </a:lnTo>
                <a:lnTo>
                  <a:pt x="343" y="84"/>
                </a:lnTo>
                <a:lnTo>
                  <a:pt x="347" y="82"/>
                </a:lnTo>
                <a:lnTo>
                  <a:pt x="350" y="78"/>
                </a:lnTo>
                <a:lnTo>
                  <a:pt x="352" y="73"/>
                </a:lnTo>
                <a:lnTo>
                  <a:pt x="353" y="69"/>
                </a:lnTo>
                <a:lnTo>
                  <a:pt x="357" y="64"/>
                </a:lnTo>
                <a:lnTo>
                  <a:pt x="360" y="60"/>
                </a:lnTo>
                <a:lnTo>
                  <a:pt x="365" y="56"/>
                </a:lnTo>
                <a:lnTo>
                  <a:pt x="371" y="53"/>
                </a:lnTo>
                <a:lnTo>
                  <a:pt x="377" y="48"/>
                </a:lnTo>
                <a:lnTo>
                  <a:pt x="385" y="45"/>
                </a:lnTo>
                <a:lnTo>
                  <a:pt x="393" y="42"/>
                </a:lnTo>
                <a:lnTo>
                  <a:pt x="410" y="38"/>
                </a:lnTo>
                <a:lnTo>
                  <a:pt x="431" y="33"/>
                </a:lnTo>
                <a:lnTo>
                  <a:pt x="453" y="31"/>
                </a:lnTo>
                <a:lnTo>
                  <a:pt x="478" y="30"/>
                </a:lnTo>
                <a:lnTo>
                  <a:pt x="502" y="31"/>
                </a:lnTo>
                <a:lnTo>
                  <a:pt x="528" y="34"/>
                </a:lnTo>
                <a:lnTo>
                  <a:pt x="540" y="37"/>
                </a:lnTo>
                <a:lnTo>
                  <a:pt x="552" y="39"/>
                </a:lnTo>
                <a:lnTo>
                  <a:pt x="564" y="42"/>
                </a:lnTo>
                <a:lnTo>
                  <a:pt x="574" y="45"/>
                </a:lnTo>
                <a:lnTo>
                  <a:pt x="584" y="49"/>
                </a:lnTo>
                <a:lnTo>
                  <a:pt x="594" y="54"/>
                </a:lnTo>
                <a:lnTo>
                  <a:pt x="602" y="59"/>
                </a:lnTo>
                <a:lnTo>
                  <a:pt x="609" y="64"/>
                </a:lnTo>
                <a:lnTo>
                  <a:pt x="615" y="71"/>
                </a:lnTo>
                <a:lnTo>
                  <a:pt x="620" y="77"/>
                </a:lnTo>
                <a:lnTo>
                  <a:pt x="624" y="84"/>
                </a:lnTo>
                <a:lnTo>
                  <a:pt x="626" y="91"/>
                </a:lnTo>
                <a:lnTo>
                  <a:pt x="628" y="100"/>
                </a:lnTo>
                <a:lnTo>
                  <a:pt x="628" y="108"/>
                </a:lnTo>
                <a:lnTo>
                  <a:pt x="628" y="118"/>
                </a:lnTo>
                <a:lnTo>
                  <a:pt x="627" y="127"/>
                </a:lnTo>
                <a:lnTo>
                  <a:pt x="625" y="146"/>
                </a:lnTo>
                <a:lnTo>
                  <a:pt x="619" y="165"/>
                </a:lnTo>
                <a:lnTo>
                  <a:pt x="609" y="201"/>
                </a:lnTo>
                <a:lnTo>
                  <a:pt x="597" y="231"/>
                </a:lnTo>
                <a:lnTo>
                  <a:pt x="593" y="241"/>
                </a:lnTo>
                <a:lnTo>
                  <a:pt x="590" y="250"/>
                </a:lnTo>
                <a:lnTo>
                  <a:pt x="588" y="255"/>
                </a:lnTo>
                <a:lnTo>
                  <a:pt x="588" y="260"/>
                </a:lnTo>
                <a:lnTo>
                  <a:pt x="588" y="264"/>
                </a:lnTo>
                <a:lnTo>
                  <a:pt x="590" y="267"/>
                </a:lnTo>
                <a:lnTo>
                  <a:pt x="593" y="270"/>
                </a:lnTo>
                <a:lnTo>
                  <a:pt x="596" y="272"/>
                </a:lnTo>
                <a:lnTo>
                  <a:pt x="600" y="275"/>
                </a:lnTo>
                <a:lnTo>
                  <a:pt x="602" y="278"/>
                </a:lnTo>
                <a:lnTo>
                  <a:pt x="604" y="280"/>
                </a:lnTo>
                <a:lnTo>
                  <a:pt x="606" y="284"/>
                </a:lnTo>
                <a:lnTo>
                  <a:pt x="609" y="291"/>
                </a:lnTo>
                <a:lnTo>
                  <a:pt x="610" y="298"/>
                </a:lnTo>
                <a:lnTo>
                  <a:pt x="610" y="305"/>
                </a:lnTo>
                <a:lnTo>
                  <a:pt x="610" y="311"/>
                </a:lnTo>
                <a:lnTo>
                  <a:pt x="609" y="318"/>
                </a:lnTo>
                <a:lnTo>
                  <a:pt x="608" y="324"/>
                </a:lnTo>
                <a:lnTo>
                  <a:pt x="603" y="334"/>
                </a:lnTo>
                <a:lnTo>
                  <a:pt x="600" y="339"/>
                </a:lnTo>
                <a:lnTo>
                  <a:pt x="596" y="341"/>
                </a:lnTo>
                <a:lnTo>
                  <a:pt x="591" y="344"/>
                </a:lnTo>
                <a:lnTo>
                  <a:pt x="589" y="349"/>
                </a:lnTo>
                <a:lnTo>
                  <a:pt x="588" y="354"/>
                </a:lnTo>
                <a:lnTo>
                  <a:pt x="587" y="367"/>
                </a:lnTo>
                <a:lnTo>
                  <a:pt x="586" y="379"/>
                </a:lnTo>
                <a:lnTo>
                  <a:pt x="584" y="389"/>
                </a:lnTo>
                <a:lnTo>
                  <a:pt x="582" y="399"/>
                </a:lnTo>
                <a:lnTo>
                  <a:pt x="575" y="418"/>
                </a:lnTo>
                <a:lnTo>
                  <a:pt x="567" y="433"/>
                </a:lnTo>
                <a:lnTo>
                  <a:pt x="553" y="455"/>
                </a:lnTo>
                <a:lnTo>
                  <a:pt x="546" y="461"/>
                </a:lnTo>
                <a:lnTo>
                  <a:pt x="544" y="464"/>
                </a:lnTo>
                <a:lnTo>
                  <a:pt x="543" y="467"/>
                </a:lnTo>
                <a:lnTo>
                  <a:pt x="542" y="470"/>
                </a:lnTo>
                <a:lnTo>
                  <a:pt x="541" y="473"/>
                </a:lnTo>
                <a:lnTo>
                  <a:pt x="541" y="587"/>
                </a:lnTo>
                <a:lnTo>
                  <a:pt x="542" y="591"/>
                </a:lnTo>
                <a:lnTo>
                  <a:pt x="544" y="595"/>
                </a:lnTo>
                <a:lnTo>
                  <a:pt x="548" y="598"/>
                </a:lnTo>
                <a:lnTo>
                  <a:pt x="552" y="601"/>
                </a:lnTo>
                <a:lnTo>
                  <a:pt x="568" y="607"/>
                </a:lnTo>
                <a:lnTo>
                  <a:pt x="584" y="612"/>
                </a:lnTo>
                <a:lnTo>
                  <a:pt x="600" y="619"/>
                </a:lnTo>
                <a:lnTo>
                  <a:pt x="615" y="624"/>
                </a:lnTo>
                <a:lnTo>
                  <a:pt x="656" y="639"/>
                </a:lnTo>
                <a:lnTo>
                  <a:pt x="693" y="653"/>
                </a:lnTo>
                <a:lnTo>
                  <a:pt x="729" y="667"/>
                </a:lnTo>
                <a:lnTo>
                  <a:pt x="760" y="681"/>
                </a:lnTo>
                <a:lnTo>
                  <a:pt x="774" y="688"/>
                </a:lnTo>
                <a:lnTo>
                  <a:pt x="787" y="695"/>
                </a:lnTo>
                <a:lnTo>
                  <a:pt x="797" y="702"/>
                </a:lnTo>
                <a:lnTo>
                  <a:pt x="808" y="710"/>
                </a:lnTo>
                <a:lnTo>
                  <a:pt x="818" y="717"/>
                </a:lnTo>
                <a:lnTo>
                  <a:pt x="825" y="725"/>
                </a:lnTo>
                <a:lnTo>
                  <a:pt x="832" y="732"/>
                </a:lnTo>
                <a:lnTo>
                  <a:pt x="836" y="740"/>
                </a:lnTo>
                <a:lnTo>
                  <a:pt x="846" y="759"/>
                </a:lnTo>
                <a:lnTo>
                  <a:pt x="852" y="780"/>
                </a:lnTo>
                <a:lnTo>
                  <a:pt x="858" y="798"/>
                </a:lnTo>
                <a:lnTo>
                  <a:pt x="863" y="816"/>
                </a:lnTo>
                <a:lnTo>
                  <a:pt x="869" y="848"/>
                </a:lnTo>
                <a:lnTo>
                  <a:pt x="871" y="872"/>
                </a:lnTo>
                <a:lnTo>
                  <a:pt x="31" y="872"/>
                </a:lnTo>
                <a:close/>
                <a:moveTo>
                  <a:pt x="863" y="727"/>
                </a:moveTo>
                <a:lnTo>
                  <a:pt x="857" y="716"/>
                </a:lnTo>
                <a:lnTo>
                  <a:pt x="850" y="708"/>
                </a:lnTo>
                <a:lnTo>
                  <a:pt x="841" y="698"/>
                </a:lnTo>
                <a:lnTo>
                  <a:pt x="832" y="690"/>
                </a:lnTo>
                <a:lnTo>
                  <a:pt x="821" y="682"/>
                </a:lnTo>
                <a:lnTo>
                  <a:pt x="808" y="673"/>
                </a:lnTo>
                <a:lnTo>
                  <a:pt x="795" y="666"/>
                </a:lnTo>
                <a:lnTo>
                  <a:pt x="780" y="657"/>
                </a:lnTo>
                <a:lnTo>
                  <a:pt x="747" y="642"/>
                </a:lnTo>
                <a:lnTo>
                  <a:pt x="710" y="627"/>
                </a:lnTo>
                <a:lnTo>
                  <a:pt x="670" y="612"/>
                </a:lnTo>
                <a:lnTo>
                  <a:pt x="626" y="596"/>
                </a:lnTo>
                <a:lnTo>
                  <a:pt x="613" y="591"/>
                </a:lnTo>
                <a:lnTo>
                  <a:pt x="599" y="587"/>
                </a:lnTo>
                <a:lnTo>
                  <a:pt x="585" y="581"/>
                </a:lnTo>
                <a:lnTo>
                  <a:pt x="571" y="576"/>
                </a:lnTo>
                <a:lnTo>
                  <a:pt x="571" y="478"/>
                </a:lnTo>
                <a:lnTo>
                  <a:pt x="578" y="473"/>
                </a:lnTo>
                <a:lnTo>
                  <a:pt x="584" y="464"/>
                </a:lnTo>
                <a:lnTo>
                  <a:pt x="590" y="453"/>
                </a:lnTo>
                <a:lnTo>
                  <a:pt x="598" y="440"/>
                </a:lnTo>
                <a:lnTo>
                  <a:pt x="605" y="424"/>
                </a:lnTo>
                <a:lnTo>
                  <a:pt x="611" y="406"/>
                </a:lnTo>
                <a:lnTo>
                  <a:pt x="614" y="397"/>
                </a:lnTo>
                <a:lnTo>
                  <a:pt x="615" y="386"/>
                </a:lnTo>
                <a:lnTo>
                  <a:pt x="617" y="375"/>
                </a:lnTo>
                <a:lnTo>
                  <a:pt x="618" y="364"/>
                </a:lnTo>
                <a:lnTo>
                  <a:pt x="624" y="358"/>
                </a:lnTo>
                <a:lnTo>
                  <a:pt x="629" y="350"/>
                </a:lnTo>
                <a:lnTo>
                  <a:pt x="633" y="340"/>
                </a:lnTo>
                <a:lnTo>
                  <a:pt x="638" y="328"/>
                </a:lnTo>
                <a:lnTo>
                  <a:pt x="639" y="319"/>
                </a:lnTo>
                <a:lnTo>
                  <a:pt x="640" y="308"/>
                </a:lnTo>
                <a:lnTo>
                  <a:pt x="640" y="297"/>
                </a:lnTo>
                <a:lnTo>
                  <a:pt x="639" y="287"/>
                </a:lnTo>
                <a:lnTo>
                  <a:pt x="635" y="278"/>
                </a:lnTo>
                <a:lnTo>
                  <a:pt x="632" y="268"/>
                </a:lnTo>
                <a:lnTo>
                  <a:pt x="627" y="261"/>
                </a:lnTo>
                <a:lnTo>
                  <a:pt x="620" y="253"/>
                </a:lnTo>
                <a:lnTo>
                  <a:pt x="623" y="248"/>
                </a:lnTo>
                <a:lnTo>
                  <a:pt x="625" y="242"/>
                </a:lnTo>
                <a:lnTo>
                  <a:pt x="631" y="227"/>
                </a:lnTo>
                <a:lnTo>
                  <a:pt x="638" y="209"/>
                </a:lnTo>
                <a:lnTo>
                  <a:pt x="644" y="190"/>
                </a:lnTo>
                <a:lnTo>
                  <a:pt x="649" y="170"/>
                </a:lnTo>
                <a:lnTo>
                  <a:pt x="655" y="148"/>
                </a:lnTo>
                <a:lnTo>
                  <a:pt x="657" y="127"/>
                </a:lnTo>
                <a:lnTo>
                  <a:pt x="658" y="116"/>
                </a:lnTo>
                <a:lnTo>
                  <a:pt x="658" y="106"/>
                </a:lnTo>
                <a:lnTo>
                  <a:pt x="657" y="96"/>
                </a:lnTo>
                <a:lnTo>
                  <a:pt x="656" y="86"/>
                </a:lnTo>
                <a:lnTo>
                  <a:pt x="653" y="75"/>
                </a:lnTo>
                <a:lnTo>
                  <a:pt x="648" y="64"/>
                </a:lnTo>
                <a:lnTo>
                  <a:pt x="642" y="56"/>
                </a:lnTo>
                <a:lnTo>
                  <a:pt x="634" y="47"/>
                </a:lnTo>
                <a:lnTo>
                  <a:pt x="625" y="40"/>
                </a:lnTo>
                <a:lnTo>
                  <a:pt x="615" y="32"/>
                </a:lnTo>
                <a:lnTo>
                  <a:pt x="604" y="26"/>
                </a:lnTo>
                <a:lnTo>
                  <a:pt x="593" y="21"/>
                </a:lnTo>
                <a:lnTo>
                  <a:pt x="580" y="15"/>
                </a:lnTo>
                <a:lnTo>
                  <a:pt x="566" y="12"/>
                </a:lnTo>
                <a:lnTo>
                  <a:pt x="552" y="8"/>
                </a:lnTo>
                <a:lnTo>
                  <a:pt x="538" y="6"/>
                </a:lnTo>
                <a:lnTo>
                  <a:pt x="523" y="2"/>
                </a:lnTo>
                <a:lnTo>
                  <a:pt x="508" y="1"/>
                </a:lnTo>
                <a:lnTo>
                  <a:pt x="493" y="0"/>
                </a:lnTo>
                <a:lnTo>
                  <a:pt x="478" y="0"/>
                </a:lnTo>
                <a:lnTo>
                  <a:pt x="455" y="0"/>
                </a:lnTo>
                <a:lnTo>
                  <a:pt x="432" y="3"/>
                </a:lnTo>
                <a:lnTo>
                  <a:pt x="409" y="7"/>
                </a:lnTo>
                <a:lnTo>
                  <a:pt x="388" y="12"/>
                </a:lnTo>
                <a:lnTo>
                  <a:pt x="378" y="16"/>
                </a:lnTo>
                <a:lnTo>
                  <a:pt x="368" y="19"/>
                </a:lnTo>
                <a:lnTo>
                  <a:pt x="359" y="25"/>
                </a:lnTo>
                <a:lnTo>
                  <a:pt x="351" y="29"/>
                </a:lnTo>
                <a:lnTo>
                  <a:pt x="344" y="36"/>
                </a:lnTo>
                <a:lnTo>
                  <a:pt x="337" y="41"/>
                </a:lnTo>
                <a:lnTo>
                  <a:pt x="331" y="48"/>
                </a:lnTo>
                <a:lnTo>
                  <a:pt x="327" y="55"/>
                </a:lnTo>
                <a:lnTo>
                  <a:pt x="319" y="56"/>
                </a:lnTo>
                <a:lnTo>
                  <a:pt x="312" y="58"/>
                </a:lnTo>
                <a:lnTo>
                  <a:pt x="304" y="60"/>
                </a:lnTo>
                <a:lnTo>
                  <a:pt x="298" y="63"/>
                </a:lnTo>
                <a:lnTo>
                  <a:pt x="291" y="67"/>
                </a:lnTo>
                <a:lnTo>
                  <a:pt x="286" y="71"/>
                </a:lnTo>
                <a:lnTo>
                  <a:pt x="281" y="76"/>
                </a:lnTo>
                <a:lnTo>
                  <a:pt x="275" y="82"/>
                </a:lnTo>
                <a:lnTo>
                  <a:pt x="270" y="90"/>
                </a:lnTo>
                <a:lnTo>
                  <a:pt x="267" y="99"/>
                </a:lnTo>
                <a:lnTo>
                  <a:pt x="263" y="110"/>
                </a:lnTo>
                <a:lnTo>
                  <a:pt x="261" y="119"/>
                </a:lnTo>
                <a:lnTo>
                  <a:pt x="260" y="130"/>
                </a:lnTo>
                <a:lnTo>
                  <a:pt x="260" y="141"/>
                </a:lnTo>
                <a:lnTo>
                  <a:pt x="260" y="152"/>
                </a:lnTo>
                <a:lnTo>
                  <a:pt x="261" y="163"/>
                </a:lnTo>
                <a:lnTo>
                  <a:pt x="264" y="186"/>
                </a:lnTo>
                <a:lnTo>
                  <a:pt x="270" y="207"/>
                </a:lnTo>
                <a:lnTo>
                  <a:pt x="275" y="226"/>
                </a:lnTo>
                <a:lnTo>
                  <a:pt x="281" y="244"/>
                </a:lnTo>
                <a:lnTo>
                  <a:pt x="282" y="249"/>
                </a:lnTo>
                <a:lnTo>
                  <a:pt x="283" y="252"/>
                </a:lnTo>
                <a:lnTo>
                  <a:pt x="276" y="260"/>
                </a:lnTo>
                <a:lnTo>
                  <a:pt x="271" y="268"/>
                </a:lnTo>
                <a:lnTo>
                  <a:pt x="267" y="277"/>
                </a:lnTo>
                <a:lnTo>
                  <a:pt x="264" y="287"/>
                </a:lnTo>
                <a:lnTo>
                  <a:pt x="263" y="297"/>
                </a:lnTo>
                <a:lnTo>
                  <a:pt x="262" y="308"/>
                </a:lnTo>
                <a:lnTo>
                  <a:pt x="263" y="319"/>
                </a:lnTo>
                <a:lnTo>
                  <a:pt x="266" y="328"/>
                </a:lnTo>
                <a:lnTo>
                  <a:pt x="269" y="340"/>
                </a:lnTo>
                <a:lnTo>
                  <a:pt x="273" y="350"/>
                </a:lnTo>
                <a:lnTo>
                  <a:pt x="278" y="358"/>
                </a:lnTo>
                <a:lnTo>
                  <a:pt x="285" y="364"/>
                </a:lnTo>
                <a:lnTo>
                  <a:pt x="286" y="375"/>
                </a:lnTo>
                <a:lnTo>
                  <a:pt x="287" y="385"/>
                </a:lnTo>
                <a:lnTo>
                  <a:pt x="289" y="396"/>
                </a:lnTo>
                <a:lnTo>
                  <a:pt x="291" y="404"/>
                </a:lnTo>
                <a:lnTo>
                  <a:pt x="298" y="421"/>
                </a:lnTo>
                <a:lnTo>
                  <a:pt x="304" y="437"/>
                </a:lnTo>
                <a:lnTo>
                  <a:pt x="312" y="448"/>
                </a:lnTo>
                <a:lnTo>
                  <a:pt x="319" y="459"/>
                </a:lnTo>
                <a:lnTo>
                  <a:pt x="326" y="467"/>
                </a:lnTo>
                <a:lnTo>
                  <a:pt x="331" y="473"/>
                </a:lnTo>
                <a:lnTo>
                  <a:pt x="331" y="576"/>
                </a:lnTo>
                <a:lnTo>
                  <a:pt x="317" y="581"/>
                </a:lnTo>
                <a:lnTo>
                  <a:pt x="303" y="587"/>
                </a:lnTo>
                <a:lnTo>
                  <a:pt x="290" y="591"/>
                </a:lnTo>
                <a:lnTo>
                  <a:pt x="277" y="596"/>
                </a:lnTo>
                <a:lnTo>
                  <a:pt x="233" y="612"/>
                </a:lnTo>
                <a:lnTo>
                  <a:pt x="193" y="627"/>
                </a:lnTo>
                <a:lnTo>
                  <a:pt x="155" y="642"/>
                </a:lnTo>
                <a:lnTo>
                  <a:pt x="123" y="658"/>
                </a:lnTo>
                <a:lnTo>
                  <a:pt x="108" y="666"/>
                </a:lnTo>
                <a:lnTo>
                  <a:pt x="94" y="673"/>
                </a:lnTo>
                <a:lnTo>
                  <a:pt x="82" y="682"/>
                </a:lnTo>
                <a:lnTo>
                  <a:pt x="70" y="690"/>
                </a:lnTo>
                <a:lnTo>
                  <a:pt x="61" y="698"/>
                </a:lnTo>
                <a:lnTo>
                  <a:pt x="52" y="708"/>
                </a:lnTo>
                <a:lnTo>
                  <a:pt x="46" y="716"/>
                </a:lnTo>
                <a:lnTo>
                  <a:pt x="39" y="727"/>
                </a:lnTo>
                <a:lnTo>
                  <a:pt x="33" y="741"/>
                </a:lnTo>
                <a:lnTo>
                  <a:pt x="26" y="756"/>
                </a:lnTo>
                <a:lnTo>
                  <a:pt x="21" y="770"/>
                </a:lnTo>
                <a:lnTo>
                  <a:pt x="17" y="784"/>
                </a:lnTo>
                <a:lnTo>
                  <a:pt x="10" y="811"/>
                </a:lnTo>
                <a:lnTo>
                  <a:pt x="5" y="835"/>
                </a:lnTo>
                <a:lnTo>
                  <a:pt x="3" y="856"/>
                </a:lnTo>
                <a:lnTo>
                  <a:pt x="1" y="872"/>
                </a:lnTo>
                <a:lnTo>
                  <a:pt x="1" y="882"/>
                </a:lnTo>
                <a:lnTo>
                  <a:pt x="0" y="887"/>
                </a:lnTo>
                <a:lnTo>
                  <a:pt x="1" y="890"/>
                </a:lnTo>
                <a:lnTo>
                  <a:pt x="2" y="893"/>
                </a:lnTo>
                <a:lnTo>
                  <a:pt x="3" y="895"/>
                </a:lnTo>
                <a:lnTo>
                  <a:pt x="5" y="898"/>
                </a:lnTo>
                <a:lnTo>
                  <a:pt x="7" y="900"/>
                </a:lnTo>
                <a:lnTo>
                  <a:pt x="9" y="901"/>
                </a:lnTo>
                <a:lnTo>
                  <a:pt x="12" y="902"/>
                </a:lnTo>
                <a:lnTo>
                  <a:pt x="15" y="902"/>
                </a:lnTo>
                <a:lnTo>
                  <a:pt x="887" y="902"/>
                </a:lnTo>
                <a:lnTo>
                  <a:pt x="891" y="902"/>
                </a:lnTo>
                <a:lnTo>
                  <a:pt x="894" y="901"/>
                </a:lnTo>
                <a:lnTo>
                  <a:pt x="896" y="900"/>
                </a:lnTo>
                <a:lnTo>
                  <a:pt x="898" y="898"/>
                </a:lnTo>
                <a:lnTo>
                  <a:pt x="900" y="895"/>
                </a:lnTo>
                <a:lnTo>
                  <a:pt x="901" y="893"/>
                </a:lnTo>
                <a:lnTo>
                  <a:pt x="902" y="890"/>
                </a:lnTo>
                <a:lnTo>
                  <a:pt x="902" y="887"/>
                </a:lnTo>
                <a:lnTo>
                  <a:pt x="902" y="882"/>
                </a:lnTo>
                <a:lnTo>
                  <a:pt x="901" y="872"/>
                </a:lnTo>
                <a:lnTo>
                  <a:pt x="900" y="856"/>
                </a:lnTo>
                <a:lnTo>
                  <a:pt x="897" y="835"/>
                </a:lnTo>
                <a:lnTo>
                  <a:pt x="893" y="811"/>
                </a:lnTo>
                <a:lnTo>
                  <a:pt x="885" y="784"/>
                </a:lnTo>
                <a:lnTo>
                  <a:pt x="881" y="770"/>
                </a:lnTo>
                <a:lnTo>
                  <a:pt x="876" y="756"/>
                </a:lnTo>
                <a:lnTo>
                  <a:pt x="870" y="741"/>
                </a:lnTo>
                <a:lnTo>
                  <a:pt x="863" y="727"/>
                </a:lnTo>
                <a:close/>
              </a:path>
            </a:pathLst>
          </a:custGeom>
          <a:solidFill>
            <a:srgbClr val="AFABAB"/>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mn-cs"/>
            </a:endParaRPr>
          </a:p>
        </p:txBody>
      </p:sp>
      <p:sp>
        <p:nvSpPr>
          <p:cNvPr id="59" name="Freeform 58"/>
          <p:cNvSpPr>
            <a:spLocks noEditPoints="1"/>
          </p:cNvSpPr>
          <p:nvPr/>
        </p:nvSpPr>
        <p:spPr bwMode="auto">
          <a:xfrm>
            <a:off x="9178336" y="3883505"/>
            <a:ext cx="728486" cy="728488"/>
          </a:xfrm>
          <a:custGeom>
            <a:avLst/>
            <a:gdLst>
              <a:gd name="T0" fmla="*/ 58 w 902"/>
              <a:gd name="T1" fmla="*/ 760 h 902"/>
              <a:gd name="T2" fmla="*/ 105 w 902"/>
              <a:gd name="T3" fmla="*/ 702 h 902"/>
              <a:gd name="T4" fmla="*/ 247 w 902"/>
              <a:gd name="T5" fmla="*/ 639 h 902"/>
              <a:gd name="T6" fmla="*/ 356 w 902"/>
              <a:gd name="T7" fmla="*/ 598 h 902"/>
              <a:gd name="T8" fmla="*/ 360 w 902"/>
              <a:gd name="T9" fmla="*/ 459 h 902"/>
              <a:gd name="T10" fmla="*/ 328 w 902"/>
              <a:gd name="T11" fmla="*/ 415 h 902"/>
              <a:gd name="T12" fmla="*/ 315 w 902"/>
              <a:gd name="T13" fmla="*/ 354 h 902"/>
              <a:gd name="T14" fmla="*/ 296 w 902"/>
              <a:gd name="T15" fmla="*/ 324 h 902"/>
              <a:gd name="T16" fmla="*/ 297 w 902"/>
              <a:gd name="T17" fmla="*/ 284 h 902"/>
              <a:gd name="T18" fmla="*/ 313 w 902"/>
              <a:gd name="T19" fmla="*/ 267 h 902"/>
              <a:gd name="T20" fmla="*/ 300 w 902"/>
              <a:gd name="T21" fmla="*/ 205 h 902"/>
              <a:gd name="T22" fmla="*/ 293 w 902"/>
              <a:gd name="T23" fmla="*/ 113 h 902"/>
              <a:gd name="T24" fmla="*/ 315 w 902"/>
              <a:gd name="T25" fmla="*/ 88 h 902"/>
              <a:gd name="T26" fmla="*/ 352 w 902"/>
              <a:gd name="T27" fmla="*/ 73 h 902"/>
              <a:gd name="T28" fmla="*/ 377 w 902"/>
              <a:gd name="T29" fmla="*/ 48 h 902"/>
              <a:gd name="T30" fmla="*/ 478 w 902"/>
              <a:gd name="T31" fmla="*/ 30 h 902"/>
              <a:gd name="T32" fmla="*/ 574 w 902"/>
              <a:gd name="T33" fmla="*/ 45 h 902"/>
              <a:gd name="T34" fmla="*/ 620 w 902"/>
              <a:gd name="T35" fmla="*/ 77 h 902"/>
              <a:gd name="T36" fmla="*/ 627 w 902"/>
              <a:gd name="T37" fmla="*/ 127 h 902"/>
              <a:gd name="T38" fmla="*/ 590 w 902"/>
              <a:gd name="T39" fmla="*/ 250 h 902"/>
              <a:gd name="T40" fmla="*/ 596 w 902"/>
              <a:gd name="T41" fmla="*/ 272 h 902"/>
              <a:gd name="T42" fmla="*/ 610 w 902"/>
              <a:gd name="T43" fmla="*/ 298 h 902"/>
              <a:gd name="T44" fmla="*/ 600 w 902"/>
              <a:gd name="T45" fmla="*/ 339 h 902"/>
              <a:gd name="T46" fmla="*/ 586 w 902"/>
              <a:gd name="T47" fmla="*/ 379 h 902"/>
              <a:gd name="T48" fmla="*/ 546 w 902"/>
              <a:gd name="T49" fmla="*/ 461 h 902"/>
              <a:gd name="T50" fmla="*/ 542 w 902"/>
              <a:gd name="T51" fmla="*/ 591 h 902"/>
              <a:gd name="T52" fmla="*/ 600 w 902"/>
              <a:gd name="T53" fmla="*/ 619 h 902"/>
              <a:gd name="T54" fmla="*/ 774 w 902"/>
              <a:gd name="T55" fmla="*/ 688 h 902"/>
              <a:gd name="T56" fmla="*/ 832 w 902"/>
              <a:gd name="T57" fmla="*/ 732 h 902"/>
              <a:gd name="T58" fmla="*/ 869 w 902"/>
              <a:gd name="T59" fmla="*/ 848 h 902"/>
              <a:gd name="T60" fmla="*/ 841 w 902"/>
              <a:gd name="T61" fmla="*/ 698 h 902"/>
              <a:gd name="T62" fmla="*/ 747 w 902"/>
              <a:gd name="T63" fmla="*/ 642 h 902"/>
              <a:gd name="T64" fmla="*/ 585 w 902"/>
              <a:gd name="T65" fmla="*/ 581 h 902"/>
              <a:gd name="T66" fmla="*/ 598 w 902"/>
              <a:gd name="T67" fmla="*/ 440 h 902"/>
              <a:gd name="T68" fmla="*/ 618 w 902"/>
              <a:gd name="T69" fmla="*/ 364 h 902"/>
              <a:gd name="T70" fmla="*/ 640 w 902"/>
              <a:gd name="T71" fmla="*/ 308 h 902"/>
              <a:gd name="T72" fmla="*/ 620 w 902"/>
              <a:gd name="T73" fmla="*/ 253 h 902"/>
              <a:gd name="T74" fmla="*/ 649 w 902"/>
              <a:gd name="T75" fmla="*/ 170 h 902"/>
              <a:gd name="T76" fmla="*/ 656 w 902"/>
              <a:gd name="T77" fmla="*/ 86 h 902"/>
              <a:gd name="T78" fmla="*/ 615 w 902"/>
              <a:gd name="T79" fmla="*/ 32 h 902"/>
              <a:gd name="T80" fmla="*/ 538 w 902"/>
              <a:gd name="T81" fmla="*/ 6 h 902"/>
              <a:gd name="T82" fmla="*/ 432 w 902"/>
              <a:gd name="T83" fmla="*/ 3 h 902"/>
              <a:gd name="T84" fmla="*/ 351 w 902"/>
              <a:gd name="T85" fmla="*/ 29 h 902"/>
              <a:gd name="T86" fmla="*/ 312 w 902"/>
              <a:gd name="T87" fmla="*/ 58 h 902"/>
              <a:gd name="T88" fmla="*/ 275 w 902"/>
              <a:gd name="T89" fmla="*/ 82 h 902"/>
              <a:gd name="T90" fmla="*/ 260 w 902"/>
              <a:gd name="T91" fmla="*/ 141 h 902"/>
              <a:gd name="T92" fmla="*/ 281 w 902"/>
              <a:gd name="T93" fmla="*/ 244 h 902"/>
              <a:gd name="T94" fmla="*/ 264 w 902"/>
              <a:gd name="T95" fmla="*/ 287 h 902"/>
              <a:gd name="T96" fmla="*/ 273 w 902"/>
              <a:gd name="T97" fmla="*/ 350 h 902"/>
              <a:gd name="T98" fmla="*/ 291 w 902"/>
              <a:gd name="T99" fmla="*/ 404 h 902"/>
              <a:gd name="T100" fmla="*/ 331 w 902"/>
              <a:gd name="T101" fmla="*/ 473 h 902"/>
              <a:gd name="T102" fmla="*/ 233 w 902"/>
              <a:gd name="T103" fmla="*/ 612 h 902"/>
              <a:gd name="T104" fmla="*/ 82 w 902"/>
              <a:gd name="T105" fmla="*/ 682 h 902"/>
              <a:gd name="T106" fmla="*/ 33 w 902"/>
              <a:gd name="T107" fmla="*/ 741 h 902"/>
              <a:gd name="T108" fmla="*/ 3 w 902"/>
              <a:gd name="T109" fmla="*/ 856 h 902"/>
              <a:gd name="T110" fmla="*/ 3 w 902"/>
              <a:gd name="T111" fmla="*/ 895 h 902"/>
              <a:gd name="T112" fmla="*/ 887 w 902"/>
              <a:gd name="T113" fmla="*/ 902 h 902"/>
              <a:gd name="T114" fmla="*/ 901 w 902"/>
              <a:gd name="T115" fmla="*/ 893 h 902"/>
              <a:gd name="T116" fmla="*/ 897 w 902"/>
              <a:gd name="T117" fmla="*/ 835 h 902"/>
              <a:gd name="T118" fmla="*/ 863 w 902"/>
              <a:gd name="T119" fmla="*/ 727 h 9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02" h="902">
                <a:moveTo>
                  <a:pt x="31" y="872"/>
                </a:moveTo>
                <a:lnTo>
                  <a:pt x="34" y="848"/>
                </a:lnTo>
                <a:lnTo>
                  <a:pt x="39" y="816"/>
                </a:lnTo>
                <a:lnTo>
                  <a:pt x="45" y="798"/>
                </a:lnTo>
                <a:lnTo>
                  <a:pt x="50" y="780"/>
                </a:lnTo>
                <a:lnTo>
                  <a:pt x="58" y="760"/>
                </a:lnTo>
                <a:lnTo>
                  <a:pt x="66" y="740"/>
                </a:lnTo>
                <a:lnTo>
                  <a:pt x="71" y="732"/>
                </a:lnTo>
                <a:lnTo>
                  <a:pt x="78" y="725"/>
                </a:lnTo>
                <a:lnTo>
                  <a:pt x="85" y="717"/>
                </a:lnTo>
                <a:lnTo>
                  <a:pt x="94" y="710"/>
                </a:lnTo>
                <a:lnTo>
                  <a:pt x="105" y="702"/>
                </a:lnTo>
                <a:lnTo>
                  <a:pt x="117" y="695"/>
                </a:lnTo>
                <a:lnTo>
                  <a:pt x="129" y="688"/>
                </a:lnTo>
                <a:lnTo>
                  <a:pt x="143" y="681"/>
                </a:lnTo>
                <a:lnTo>
                  <a:pt x="174" y="667"/>
                </a:lnTo>
                <a:lnTo>
                  <a:pt x="209" y="653"/>
                </a:lnTo>
                <a:lnTo>
                  <a:pt x="247" y="639"/>
                </a:lnTo>
                <a:lnTo>
                  <a:pt x="287" y="624"/>
                </a:lnTo>
                <a:lnTo>
                  <a:pt x="303" y="619"/>
                </a:lnTo>
                <a:lnTo>
                  <a:pt x="319" y="612"/>
                </a:lnTo>
                <a:lnTo>
                  <a:pt x="335" y="607"/>
                </a:lnTo>
                <a:lnTo>
                  <a:pt x="351" y="601"/>
                </a:lnTo>
                <a:lnTo>
                  <a:pt x="356" y="598"/>
                </a:lnTo>
                <a:lnTo>
                  <a:pt x="359" y="595"/>
                </a:lnTo>
                <a:lnTo>
                  <a:pt x="360" y="591"/>
                </a:lnTo>
                <a:lnTo>
                  <a:pt x="361" y="587"/>
                </a:lnTo>
                <a:lnTo>
                  <a:pt x="361" y="467"/>
                </a:lnTo>
                <a:lnTo>
                  <a:pt x="361" y="462"/>
                </a:lnTo>
                <a:lnTo>
                  <a:pt x="360" y="459"/>
                </a:lnTo>
                <a:lnTo>
                  <a:pt x="358" y="457"/>
                </a:lnTo>
                <a:lnTo>
                  <a:pt x="356" y="455"/>
                </a:lnTo>
                <a:lnTo>
                  <a:pt x="349" y="448"/>
                </a:lnTo>
                <a:lnTo>
                  <a:pt x="335" y="429"/>
                </a:lnTo>
                <a:lnTo>
                  <a:pt x="331" y="423"/>
                </a:lnTo>
                <a:lnTo>
                  <a:pt x="328" y="415"/>
                </a:lnTo>
                <a:lnTo>
                  <a:pt x="325" y="408"/>
                </a:lnTo>
                <a:lnTo>
                  <a:pt x="321" y="398"/>
                </a:lnTo>
                <a:lnTo>
                  <a:pt x="318" y="388"/>
                </a:lnTo>
                <a:lnTo>
                  <a:pt x="316" y="378"/>
                </a:lnTo>
                <a:lnTo>
                  <a:pt x="315" y="367"/>
                </a:lnTo>
                <a:lnTo>
                  <a:pt x="315" y="354"/>
                </a:lnTo>
                <a:lnTo>
                  <a:pt x="314" y="349"/>
                </a:lnTo>
                <a:lnTo>
                  <a:pt x="312" y="344"/>
                </a:lnTo>
                <a:lnTo>
                  <a:pt x="307" y="341"/>
                </a:lnTo>
                <a:lnTo>
                  <a:pt x="302" y="339"/>
                </a:lnTo>
                <a:lnTo>
                  <a:pt x="299" y="334"/>
                </a:lnTo>
                <a:lnTo>
                  <a:pt x="296" y="324"/>
                </a:lnTo>
                <a:lnTo>
                  <a:pt x="294" y="319"/>
                </a:lnTo>
                <a:lnTo>
                  <a:pt x="293" y="311"/>
                </a:lnTo>
                <a:lnTo>
                  <a:pt x="292" y="305"/>
                </a:lnTo>
                <a:lnTo>
                  <a:pt x="293" y="298"/>
                </a:lnTo>
                <a:lnTo>
                  <a:pt x="294" y="291"/>
                </a:lnTo>
                <a:lnTo>
                  <a:pt x="297" y="284"/>
                </a:lnTo>
                <a:lnTo>
                  <a:pt x="298" y="280"/>
                </a:lnTo>
                <a:lnTo>
                  <a:pt x="300" y="278"/>
                </a:lnTo>
                <a:lnTo>
                  <a:pt x="303" y="275"/>
                </a:lnTo>
                <a:lnTo>
                  <a:pt x="306" y="272"/>
                </a:lnTo>
                <a:lnTo>
                  <a:pt x="309" y="270"/>
                </a:lnTo>
                <a:lnTo>
                  <a:pt x="313" y="267"/>
                </a:lnTo>
                <a:lnTo>
                  <a:pt x="314" y="264"/>
                </a:lnTo>
                <a:lnTo>
                  <a:pt x="315" y="260"/>
                </a:lnTo>
                <a:lnTo>
                  <a:pt x="314" y="251"/>
                </a:lnTo>
                <a:lnTo>
                  <a:pt x="308" y="235"/>
                </a:lnTo>
                <a:lnTo>
                  <a:pt x="305" y="222"/>
                </a:lnTo>
                <a:lnTo>
                  <a:pt x="300" y="205"/>
                </a:lnTo>
                <a:lnTo>
                  <a:pt x="296" y="187"/>
                </a:lnTo>
                <a:lnTo>
                  <a:pt x="292" y="167"/>
                </a:lnTo>
                <a:lnTo>
                  <a:pt x="290" y="148"/>
                </a:lnTo>
                <a:lnTo>
                  <a:pt x="290" y="130"/>
                </a:lnTo>
                <a:lnTo>
                  <a:pt x="291" y="121"/>
                </a:lnTo>
                <a:lnTo>
                  <a:pt x="293" y="113"/>
                </a:lnTo>
                <a:lnTo>
                  <a:pt x="296" y="106"/>
                </a:lnTo>
                <a:lnTo>
                  <a:pt x="300" y="100"/>
                </a:lnTo>
                <a:lnTo>
                  <a:pt x="303" y="97"/>
                </a:lnTo>
                <a:lnTo>
                  <a:pt x="306" y="93"/>
                </a:lnTo>
                <a:lnTo>
                  <a:pt x="311" y="90"/>
                </a:lnTo>
                <a:lnTo>
                  <a:pt x="315" y="88"/>
                </a:lnTo>
                <a:lnTo>
                  <a:pt x="326" y="86"/>
                </a:lnTo>
                <a:lnTo>
                  <a:pt x="337" y="85"/>
                </a:lnTo>
                <a:lnTo>
                  <a:pt x="343" y="84"/>
                </a:lnTo>
                <a:lnTo>
                  <a:pt x="347" y="82"/>
                </a:lnTo>
                <a:lnTo>
                  <a:pt x="350" y="78"/>
                </a:lnTo>
                <a:lnTo>
                  <a:pt x="352" y="73"/>
                </a:lnTo>
                <a:lnTo>
                  <a:pt x="353" y="69"/>
                </a:lnTo>
                <a:lnTo>
                  <a:pt x="357" y="64"/>
                </a:lnTo>
                <a:lnTo>
                  <a:pt x="360" y="60"/>
                </a:lnTo>
                <a:lnTo>
                  <a:pt x="365" y="56"/>
                </a:lnTo>
                <a:lnTo>
                  <a:pt x="371" y="53"/>
                </a:lnTo>
                <a:lnTo>
                  <a:pt x="377" y="48"/>
                </a:lnTo>
                <a:lnTo>
                  <a:pt x="385" y="45"/>
                </a:lnTo>
                <a:lnTo>
                  <a:pt x="393" y="42"/>
                </a:lnTo>
                <a:lnTo>
                  <a:pt x="410" y="38"/>
                </a:lnTo>
                <a:lnTo>
                  <a:pt x="431" y="33"/>
                </a:lnTo>
                <a:lnTo>
                  <a:pt x="453" y="31"/>
                </a:lnTo>
                <a:lnTo>
                  <a:pt x="478" y="30"/>
                </a:lnTo>
                <a:lnTo>
                  <a:pt x="502" y="31"/>
                </a:lnTo>
                <a:lnTo>
                  <a:pt x="528" y="34"/>
                </a:lnTo>
                <a:lnTo>
                  <a:pt x="540" y="37"/>
                </a:lnTo>
                <a:lnTo>
                  <a:pt x="552" y="39"/>
                </a:lnTo>
                <a:lnTo>
                  <a:pt x="564" y="42"/>
                </a:lnTo>
                <a:lnTo>
                  <a:pt x="574" y="45"/>
                </a:lnTo>
                <a:lnTo>
                  <a:pt x="584" y="49"/>
                </a:lnTo>
                <a:lnTo>
                  <a:pt x="594" y="54"/>
                </a:lnTo>
                <a:lnTo>
                  <a:pt x="602" y="59"/>
                </a:lnTo>
                <a:lnTo>
                  <a:pt x="609" y="64"/>
                </a:lnTo>
                <a:lnTo>
                  <a:pt x="615" y="71"/>
                </a:lnTo>
                <a:lnTo>
                  <a:pt x="620" y="77"/>
                </a:lnTo>
                <a:lnTo>
                  <a:pt x="624" y="84"/>
                </a:lnTo>
                <a:lnTo>
                  <a:pt x="626" y="91"/>
                </a:lnTo>
                <a:lnTo>
                  <a:pt x="628" y="100"/>
                </a:lnTo>
                <a:lnTo>
                  <a:pt x="628" y="108"/>
                </a:lnTo>
                <a:lnTo>
                  <a:pt x="628" y="118"/>
                </a:lnTo>
                <a:lnTo>
                  <a:pt x="627" y="127"/>
                </a:lnTo>
                <a:lnTo>
                  <a:pt x="625" y="146"/>
                </a:lnTo>
                <a:lnTo>
                  <a:pt x="619" y="165"/>
                </a:lnTo>
                <a:lnTo>
                  <a:pt x="609" y="201"/>
                </a:lnTo>
                <a:lnTo>
                  <a:pt x="597" y="231"/>
                </a:lnTo>
                <a:lnTo>
                  <a:pt x="593" y="241"/>
                </a:lnTo>
                <a:lnTo>
                  <a:pt x="590" y="250"/>
                </a:lnTo>
                <a:lnTo>
                  <a:pt x="588" y="255"/>
                </a:lnTo>
                <a:lnTo>
                  <a:pt x="588" y="260"/>
                </a:lnTo>
                <a:lnTo>
                  <a:pt x="588" y="264"/>
                </a:lnTo>
                <a:lnTo>
                  <a:pt x="590" y="267"/>
                </a:lnTo>
                <a:lnTo>
                  <a:pt x="593" y="270"/>
                </a:lnTo>
                <a:lnTo>
                  <a:pt x="596" y="272"/>
                </a:lnTo>
                <a:lnTo>
                  <a:pt x="600" y="275"/>
                </a:lnTo>
                <a:lnTo>
                  <a:pt x="602" y="278"/>
                </a:lnTo>
                <a:lnTo>
                  <a:pt x="604" y="280"/>
                </a:lnTo>
                <a:lnTo>
                  <a:pt x="606" y="284"/>
                </a:lnTo>
                <a:lnTo>
                  <a:pt x="609" y="291"/>
                </a:lnTo>
                <a:lnTo>
                  <a:pt x="610" y="298"/>
                </a:lnTo>
                <a:lnTo>
                  <a:pt x="610" y="305"/>
                </a:lnTo>
                <a:lnTo>
                  <a:pt x="610" y="311"/>
                </a:lnTo>
                <a:lnTo>
                  <a:pt x="609" y="318"/>
                </a:lnTo>
                <a:lnTo>
                  <a:pt x="608" y="324"/>
                </a:lnTo>
                <a:lnTo>
                  <a:pt x="603" y="334"/>
                </a:lnTo>
                <a:lnTo>
                  <a:pt x="600" y="339"/>
                </a:lnTo>
                <a:lnTo>
                  <a:pt x="596" y="341"/>
                </a:lnTo>
                <a:lnTo>
                  <a:pt x="591" y="344"/>
                </a:lnTo>
                <a:lnTo>
                  <a:pt x="589" y="349"/>
                </a:lnTo>
                <a:lnTo>
                  <a:pt x="588" y="354"/>
                </a:lnTo>
                <a:lnTo>
                  <a:pt x="587" y="367"/>
                </a:lnTo>
                <a:lnTo>
                  <a:pt x="586" y="379"/>
                </a:lnTo>
                <a:lnTo>
                  <a:pt x="584" y="389"/>
                </a:lnTo>
                <a:lnTo>
                  <a:pt x="582" y="399"/>
                </a:lnTo>
                <a:lnTo>
                  <a:pt x="575" y="418"/>
                </a:lnTo>
                <a:lnTo>
                  <a:pt x="567" y="433"/>
                </a:lnTo>
                <a:lnTo>
                  <a:pt x="553" y="455"/>
                </a:lnTo>
                <a:lnTo>
                  <a:pt x="546" y="461"/>
                </a:lnTo>
                <a:lnTo>
                  <a:pt x="544" y="464"/>
                </a:lnTo>
                <a:lnTo>
                  <a:pt x="543" y="467"/>
                </a:lnTo>
                <a:lnTo>
                  <a:pt x="542" y="470"/>
                </a:lnTo>
                <a:lnTo>
                  <a:pt x="541" y="473"/>
                </a:lnTo>
                <a:lnTo>
                  <a:pt x="541" y="587"/>
                </a:lnTo>
                <a:lnTo>
                  <a:pt x="542" y="591"/>
                </a:lnTo>
                <a:lnTo>
                  <a:pt x="544" y="595"/>
                </a:lnTo>
                <a:lnTo>
                  <a:pt x="548" y="598"/>
                </a:lnTo>
                <a:lnTo>
                  <a:pt x="552" y="601"/>
                </a:lnTo>
                <a:lnTo>
                  <a:pt x="568" y="607"/>
                </a:lnTo>
                <a:lnTo>
                  <a:pt x="584" y="612"/>
                </a:lnTo>
                <a:lnTo>
                  <a:pt x="600" y="619"/>
                </a:lnTo>
                <a:lnTo>
                  <a:pt x="615" y="624"/>
                </a:lnTo>
                <a:lnTo>
                  <a:pt x="656" y="639"/>
                </a:lnTo>
                <a:lnTo>
                  <a:pt x="693" y="653"/>
                </a:lnTo>
                <a:lnTo>
                  <a:pt x="729" y="667"/>
                </a:lnTo>
                <a:lnTo>
                  <a:pt x="760" y="681"/>
                </a:lnTo>
                <a:lnTo>
                  <a:pt x="774" y="688"/>
                </a:lnTo>
                <a:lnTo>
                  <a:pt x="787" y="695"/>
                </a:lnTo>
                <a:lnTo>
                  <a:pt x="797" y="702"/>
                </a:lnTo>
                <a:lnTo>
                  <a:pt x="808" y="710"/>
                </a:lnTo>
                <a:lnTo>
                  <a:pt x="818" y="717"/>
                </a:lnTo>
                <a:lnTo>
                  <a:pt x="825" y="725"/>
                </a:lnTo>
                <a:lnTo>
                  <a:pt x="832" y="732"/>
                </a:lnTo>
                <a:lnTo>
                  <a:pt x="836" y="740"/>
                </a:lnTo>
                <a:lnTo>
                  <a:pt x="846" y="759"/>
                </a:lnTo>
                <a:lnTo>
                  <a:pt x="852" y="780"/>
                </a:lnTo>
                <a:lnTo>
                  <a:pt x="858" y="798"/>
                </a:lnTo>
                <a:lnTo>
                  <a:pt x="863" y="816"/>
                </a:lnTo>
                <a:lnTo>
                  <a:pt x="869" y="848"/>
                </a:lnTo>
                <a:lnTo>
                  <a:pt x="871" y="872"/>
                </a:lnTo>
                <a:lnTo>
                  <a:pt x="31" y="872"/>
                </a:lnTo>
                <a:close/>
                <a:moveTo>
                  <a:pt x="863" y="727"/>
                </a:moveTo>
                <a:lnTo>
                  <a:pt x="857" y="716"/>
                </a:lnTo>
                <a:lnTo>
                  <a:pt x="850" y="708"/>
                </a:lnTo>
                <a:lnTo>
                  <a:pt x="841" y="698"/>
                </a:lnTo>
                <a:lnTo>
                  <a:pt x="832" y="690"/>
                </a:lnTo>
                <a:lnTo>
                  <a:pt x="821" y="682"/>
                </a:lnTo>
                <a:lnTo>
                  <a:pt x="808" y="673"/>
                </a:lnTo>
                <a:lnTo>
                  <a:pt x="795" y="666"/>
                </a:lnTo>
                <a:lnTo>
                  <a:pt x="780" y="657"/>
                </a:lnTo>
                <a:lnTo>
                  <a:pt x="747" y="642"/>
                </a:lnTo>
                <a:lnTo>
                  <a:pt x="710" y="627"/>
                </a:lnTo>
                <a:lnTo>
                  <a:pt x="670" y="612"/>
                </a:lnTo>
                <a:lnTo>
                  <a:pt x="626" y="596"/>
                </a:lnTo>
                <a:lnTo>
                  <a:pt x="613" y="591"/>
                </a:lnTo>
                <a:lnTo>
                  <a:pt x="599" y="587"/>
                </a:lnTo>
                <a:lnTo>
                  <a:pt x="585" y="581"/>
                </a:lnTo>
                <a:lnTo>
                  <a:pt x="571" y="576"/>
                </a:lnTo>
                <a:lnTo>
                  <a:pt x="571" y="478"/>
                </a:lnTo>
                <a:lnTo>
                  <a:pt x="578" y="473"/>
                </a:lnTo>
                <a:lnTo>
                  <a:pt x="584" y="464"/>
                </a:lnTo>
                <a:lnTo>
                  <a:pt x="590" y="453"/>
                </a:lnTo>
                <a:lnTo>
                  <a:pt x="598" y="440"/>
                </a:lnTo>
                <a:lnTo>
                  <a:pt x="605" y="424"/>
                </a:lnTo>
                <a:lnTo>
                  <a:pt x="611" y="406"/>
                </a:lnTo>
                <a:lnTo>
                  <a:pt x="614" y="397"/>
                </a:lnTo>
                <a:lnTo>
                  <a:pt x="615" y="386"/>
                </a:lnTo>
                <a:lnTo>
                  <a:pt x="617" y="375"/>
                </a:lnTo>
                <a:lnTo>
                  <a:pt x="618" y="364"/>
                </a:lnTo>
                <a:lnTo>
                  <a:pt x="624" y="358"/>
                </a:lnTo>
                <a:lnTo>
                  <a:pt x="629" y="350"/>
                </a:lnTo>
                <a:lnTo>
                  <a:pt x="633" y="340"/>
                </a:lnTo>
                <a:lnTo>
                  <a:pt x="638" y="328"/>
                </a:lnTo>
                <a:lnTo>
                  <a:pt x="639" y="319"/>
                </a:lnTo>
                <a:lnTo>
                  <a:pt x="640" y="308"/>
                </a:lnTo>
                <a:lnTo>
                  <a:pt x="640" y="297"/>
                </a:lnTo>
                <a:lnTo>
                  <a:pt x="639" y="287"/>
                </a:lnTo>
                <a:lnTo>
                  <a:pt x="635" y="278"/>
                </a:lnTo>
                <a:lnTo>
                  <a:pt x="632" y="268"/>
                </a:lnTo>
                <a:lnTo>
                  <a:pt x="627" y="261"/>
                </a:lnTo>
                <a:lnTo>
                  <a:pt x="620" y="253"/>
                </a:lnTo>
                <a:lnTo>
                  <a:pt x="623" y="248"/>
                </a:lnTo>
                <a:lnTo>
                  <a:pt x="625" y="242"/>
                </a:lnTo>
                <a:lnTo>
                  <a:pt x="631" y="227"/>
                </a:lnTo>
                <a:lnTo>
                  <a:pt x="638" y="209"/>
                </a:lnTo>
                <a:lnTo>
                  <a:pt x="644" y="190"/>
                </a:lnTo>
                <a:lnTo>
                  <a:pt x="649" y="170"/>
                </a:lnTo>
                <a:lnTo>
                  <a:pt x="655" y="148"/>
                </a:lnTo>
                <a:lnTo>
                  <a:pt x="657" y="127"/>
                </a:lnTo>
                <a:lnTo>
                  <a:pt x="658" y="116"/>
                </a:lnTo>
                <a:lnTo>
                  <a:pt x="658" y="106"/>
                </a:lnTo>
                <a:lnTo>
                  <a:pt x="657" y="96"/>
                </a:lnTo>
                <a:lnTo>
                  <a:pt x="656" y="86"/>
                </a:lnTo>
                <a:lnTo>
                  <a:pt x="653" y="75"/>
                </a:lnTo>
                <a:lnTo>
                  <a:pt x="648" y="64"/>
                </a:lnTo>
                <a:lnTo>
                  <a:pt x="642" y="56"/>
                </a:lnTo>
                <a:lnTo>
                  <a:pt x="634" y="47"/>
                </a:lnTo>
                <a:lnTo>
                  <a:pt x="625" y="40"/>
                </a:lnTo>
                <a:lnTo>
                  <a:pt x="615" y="32"/>
                </a:lnTo>
                <a:lnTo>
                  <a:pt x="604" y="26"/>
                </a:lnTo>
                <a:lnTo>
                  <a:pt x="593" y="21"/>
                </a:lnTo>
                <a:lnTo>
                  <a:pt x="580" y="15"/>
                </a:lnTo>
                <a:lnTo>
                  <a:pt x="566" y="12"/>
                </a:lnTo>
                <a:lnTo>
                  <a:pt x="552" y="8"/>
                </a:lnTo>
                <a:lnTo>
                  <a:pt x="538" y="6"/>
                </a:lnTo>
                <a:lnTo>
                  <a:pt x="523" y="2"/>
                </a:lnTo>
                <a:lnTo>
                  <a:pt x="508" y="1"/>
                </a:lnTo>
                <a:lnTo>
                  <a:pt x="493" y="0"/>
                </a:lnTo>
                <a:lnTo>
                  <a:pt x="478" y="0"/>
                </a:lnTo>
                <a:lnTo>
                  <a:pt x="455" y="0"/>
                </a:lnTo>
                <a:lnTo>
                  <a:pt x="432" y="3"/>
                </a:lnTo>
                <a:lnTo>
                  <a:pt x="409" y="7"/>
                </a:lnTo>
                <a:lnTo>
                  <a:pt x="388" y="12"/>
                </a:lnTo>
                <a:lnTo>
                  <a:pt x="378" y="16"/>
                </a:lnTo>
                <a:lnTo>
                  <a:pt x="368" y="19"/>
                </a:lnTo>
                <a:lnTo>
                  <a:pt x="359" y="25"/>
                </a:lnTo>
                <a:lnTo>
                  <a:pt x="351" y="29"/>
                </a:lnTo>
                <a:lnTo>
                  <a:pt x="344" y="36"/>
                </a:lnTo>
                <a:lnTo>
                  <a:pt x="337" y="41"/>
                </a:lnTo>
                <a:lnTo>
                  <a:pt x="331" y="48"/>
                </a:lnTo>
                <a:lnTo>
                  <a:pt x="327" y="55"/>
                </a:lnTo>
                <a:lnTo>
                  <a:pt x="319" y="56"/>
                </a:lnTo>
                <a:lnTo>
                  <a:pt x="312" y="58"/>
                </a:lnTo>
                <a:lnTo>
                  <a:pt x="304" y="60"/>
                </a:lnTo>
                <a:lnTo>
                  <a:pt x="298" y="63"/>
                </a:lnTo>
                <a:lnTo>
                  <a:pt x="291" y="67"/>
                </a:lnTo>
                <a:lnTo>
                  <a:pt x="286" y="71"/>
                </a:lnTo>
                <a:lnTo>
                  <a:pt x="281" y="76"/>
                </a:lnTo>
                <a:lnTo>
                  <a:pt x="275" y="82"/>
                </a:lnTo>
                <a:lnTo>
                  <a:pt x="270" y="90"/>
                </a:lnTo>
                <a:lnTo>
                  <a:pt x="267" y="99"/>
                </a:lnTo>
                <a:lnTo>
                  <a:pt x="263" y="110"/>
                </a:lnTo>
                <a:lnTo>
                  <a:pt x="261" y="119"/>
                </a:lnTo>
                <a:lnTo>
                  <a:pt x="260" y="130"/>
                </a:lnTo>
                <a:lnTo>
                  <a:pt x="260" y="141"/>
                </a:lnTo>
                <a:lnTo>
                  <a:pt x="260" y="152"/>
                </a:lnTo>
                <a:lnTo>
                  <a:pt x="261" y="163"/>
                </a:lnTo>
                <a:lnTo>
                  <a:pt x="264" y="186"/>
                </a:lnTo>
                <a:lnTo>
                  <a:pt x="270" y="207"/>
                </a:lnTo>
                <a:lnTo>
                  <a:pt x="275" y="226"/>
                </a:lnTo>
                <a:lnTo>
                  <a:pt x="281" y="244"/>
                </a:lnTo>
                <a:lnTo>
                  <a:pt x="282" y="249"/>
                </a:lnTo>
                <a:lnTo>
                  <a:pt x="283" y="252"/>
                </a:lnTo>
                <a:lnTo>
                  <a:pt x="276" y="260"/>
                </a:lnTo>
                <a:lnTo>
                  <a:pt x="271" y="268"/>
                </a:lnTo>
                <a:lnTo>
                  <a:pt x="267" y="277"/>
                </a:lnTo>
                <a:lnTo>
                  <a:pt x="264" y="287"/>
                </a:lnTo>
                <a:lnTo>
                  <a:pt x="263" y="297"/>
                </a:lnTo>
                <a:lnTo>
                  <a:pt x="262" y="308"/>
                </a:lnTo>
                <a:lnTo>
                  <a:pt x="263" y="319"/>
                </a:lnTo>
                <a:lnTo>
                  <a:pt x="266" y="328"/>
                </a:lnTo>
                <a:lnTo>
                  <a:pt x="269" y="340"/>
                </a:lnTo>
                <a:lnTo>
                  <a:pt x="273" y="350"/>
                </a:lnTo>
                <a:lnTo>
                  <a:pt x="278" y="358"/>
                </a:lnTo>
                <a:lnTo>
                  <a:pt x="285" y="364"/>
                </a:lnTo>
                <a:lnTo>
                  <a:pt x="286" y="375"/>
                </a:lnTo>
                <a:lnTo>
                  <a:pt x="287" y="385"/>
                </a:lnTo>
                <a:lnTo>
                  <a:pt x="289" y="396"/>
                </a:lnTo>
                <a:lnTo>
                  <a:pt x="291" y="404"/>
                </a:lnTo>
                <a:lnTo>
                  <a:pt x="298" y="421"/>
                </a:lnTo>
                <a:lnTo>
                  <a:pt x="304" y="437"/>
                </a:lnTo>
                <a:lnTo>
                  <a:pt x="312" y="448"/>
                </a:lnTo>
                <a:lnTo>
                  <a:pt x="319" y="459"/>
                </a:lnTo>
                <a:lnTo>
                  <a:pt x="326" y="467"/>
                </a:lnTo>
                <a:lnTo>
                  <a:pt x="331" y="473"/>
                </a:lnTo>
                <a:lnTo>
                  <a:pt x="331" y="576"/>
                </a:lnTo>
                <a:lnTo>
                  <a:pt x="317" y="581"/>
                </a:lnTo>
                <a:lnTo>
                  <a:pt x="303" y="587"/>
                </a:lnTo>
                <a:lnTo>
                  <a:pt x="290" y="591"/>
                </a:lnTo>
                <a:lnTo>
                  <a:pt x="277" y="596"/>
                </a:lnTo>
                <a:lnTo>
                  <a:pt x="233" y="612"/>
                </a:lnTo>
                <a:lnTo>
                  <a:pt x="193" y="627"/>
                </a:lnTo>
                <a:lnTo>
                  <a:pt x="155" y="642"/>
                </a:lnTo>
                <a:lnTo>
                  <a:pt x="123" y="658"/>
                </a:lnTo>
                <a:lnTo>
                  <a:pt x="108" y="666"/>
                </a:lnTo>
                <a:lnTo>
                  <a:pt x="94" y="673"/>
                </a:lnTo>
                <a:lnTo>
                  <a:pt x="82" y="682"/>
                </a:lnTo>
                <a:lnTo>
                  <a:pt x="70" y="690"/>
                </a:lnTo>
                <a:lnTo>
                  <a:pt x="61" y="698"/>
                </a:lnTo>
                <a:lnTo>
                  <a:pt x="52" y="708"/>
                </a:lnTo>
                <a:lnTo>
                  <a:pt x="46" y="716"/>
                </a:lnTo>
                <a:lnTo>
                  <a:pt x="39" y="727"/>
                </a:lnTo>
                <a:lnTo>
                  <a:pt x="33" y="741"/>
                </a:lnTo>
                <a:lnTo>
                  <a:pt x="26" y="756"/>
                </a:lnTo>
                <a:lnTo>
                  <a:pt x="21" y="770"/>
                </a:lnTo>
                <a:lnTo>
                  <a:pt x="17" y="784"/>
                </a:lnTo>
                <a:lnTo>
                  <a:pt x="10" y="811"/>
                </a:lnTo>
                <a:lnTo>
                  <a:pt x="5" y="835"/>
                </a:lnTo>
                <a:lnTo>
                  <a:pt x="3" y="856"/>
                </a:lnTo>
                <a:lnTo>
                  <a:pt x="1" y="872"/>
                </a:lnTo>
                <a:lnTo>
                  <a:pt x="1" y="882"/>
                </a:lnTo>
                <a:lnTo>
                  <a:pt x="0" y="887"/>
                </a:lnTo>
                <a:lnTo>
                  <a:pt x="1" y="890"/>
                </a:lnTo>
                <a:lnTo>
                  <a:pt x="2" y="893"/>
                </a:lnTo>
                <a:lnTo>
                  <a:pt x="3" y="895"/>
                </a:lnTo>
                <a:lnTo>
                  <a:pt x="5" y="898"/>
                </a:lnTo>
                <a:lnTo>
                  <a:pt x="7" y="900"/>
                </a:lnTo>
                <a:lnTo>
                  <a:pt x="9" y="901"/>
                </a:lnTo>
                <a:lnTo>
                  <a:pt x="12" y="902"/>
                </a:lnTo>
                <a:lnTo>
                  <a:pt x="15" y="902"/>
                </a:lnTo>
                <a:lnTo>
                  <a:pt x="887" y="902"/>
                </a:lnTo>
                <a:lnTo>
                  <a:pt x="891" y="902"/>
                </a:lnTo>
                <a:lnTo>
                  <a:pt x="894" y="901"/>
                </a:lnTo>
                <a:lnTo>
                  <a:pt x="896" y="900"/>
                </a:lnTo>
                <a:lnTo>
                  <a:pt x="898" y="898"/>
                </a:lnTo>
                <a:lnTo>
                  <a:pt x="900" y="895"/>
                </a:lnTo>
                <a:lnTo>
                  <a:pt x="901" y="893"/>
                </a:lnTo>
                <a:lnTo>
                  <a:pt x="902" y="890"/>
                </a:lnTo>
                <a:lnTo>
                  <a:pt x="902" y="887"/>
                </a:lnTo>
                <a:lnTo>
                  <a:pt x="902" y="882"/>
                </a:lnTo>
                <a:lnTo>
                  <a:pt x="901" y="872"/>
                </a:lnTo>
                <a:lnTo>
                  <a:pt x="900" y="856"/>
                </a:lnTo>
                <a:lnTo>
                  <a:pt x="897" y="835"/>
                </a:lnTo>
                <a:lnTo>
                  <a:pt x="893" y="811"/>
                </a:lnTo>
                <a:lnTo>
                  <a:pt x="885" y="784"/>
                </a:lnTo>
                <a:lnTo>
                  <a:pt x="881" y="770"/>
                </a:lnTo>
                <a:lnTo>
                  <a:pt x="876" y="756"/>
                </a:lnTo>
                <a:lnTo>
                  <a:pt x="870" y="741"/>
                </a:lnTo>
                <a:lnTo>
                  <a:pt x="863" y="727"/>
                </a:lnTo>
                <a:close/>
              </a:path>
            </a:pathLst>
          </a:custGeom>
          <a:solidFill>
            <a:srgbClr val="AFABAB"/>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mn-cs"/>
            </a:endParaRPr>
          </a:p>
        </p:txBody>
      </p:sp>
      <p:sp>
        <p:nvSpPr>
          <p:cNvPr id="48" name="Rectangle 47"/>
          <p:cNvSpPr/>
          <p:nvPr/>
        </p:nvSpPr>
        <p:spPr>
          <a:xfrm>
            <a:off x="2285177" y="4675349"/>
            <a:ext cx="4558015" cy="261704"/>
          </a:xfrm>
          <a:prstGeom prst="rect">
            <a:avLst/>
          </a:prstGeom>
          <a:solidFill>
            <a:srgbClr val="E258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ea typeface="+mn-ea"/>
              <a:cs typeface="+mn-cs"/>
            </a:endParaRPr>
          </a:p>
        </p:txBody>
      </p:sp>
      <p:sp>
        <p:nvSpPr>
          <p:cNvPr id="49" name="Rectangle 48"/>
          <p:cNvSpPr/>
          <p:nvPr/>
        </p:nvSpPr>
        <p:spPr>
          <a:xfrm>
            <a:off x="6837013" y="4675349"/>
            <a:ext cx="3069810" cy="261704"/>
          </a:xfrm>
          <a:prstGeom prst="rect">
            <a:avLst/>
          </a:prstGeom>
          <a:solidFill>
            <a:srgbClr val="AFABAB">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ea typeface="+mn-ea"/>
              <a:cs typeface="+mn-cs"/>
            </a:endParaRPr>
          </a:p>
        </p:txBody>
      </p:sp>
      <p:grpSp>
        <p:nvGrpSpPr>
          <p:cNvPr id="44" name="Group 43"/>
          <p:cNvGrpSpPr/>
          <p:nvPr/>
        </p:nvGrpSpPr>
        <p:grpSpPr>
          <a:xfrm>
            <a:off x="3362978" y="5222127"/>
            <a:ext cx="5466044" cy="923330"/>
            <a:chOff x="1947156" y="5280861"/>
            <a:chExt cx="5466044" cy="923330"/>
          </a:xfrm>
        </p:grpSpPr>
        <p:sp>
          <p:nvSpPr>
            <p:cNvPr id="45" name="TextBox 44"/>
            <p:cNvSpPr txBox="1"/>
            <p:nvPr/>
          </p:nvSpPr>
          <p:spPr>
            <a:xfrm>
              <a:off x="1947156" y="5280861"/>
              <a:ext cx="1431769" cy="923330"/>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0" b="1" i="0" u="none" strike="noStrike" kern="1200" cap="none" spc="0" normalizeH="0" baseline="0" noProof="0" dirty="0">
                  <a:ln>
                    <a:noFill/>
                  </a:ln>
                  <a:solidFill>
                    <a:srgbClr val="E2583D"/>
                  </a:solidFill>
                  <a:effectLst/>
                  <a:uLnTx/>
                  <a:uFillTx/>
                  <a:ea typeface="+mn-ea"/>
                  <a:cs typeface="+mn-cs"/>
                </a:rPr>
                <a:t>60%</a:t>
              </a:r>
              <a:endParaRPr kumimoji="0" lang="en-US" sz="6000" b="0" i="0" u="none" strike="noStrike" kern="1200" cap="none" spc="0" normalizeH="0" baseline="0" noProof="0" dirty="0">
                <a:ln>
                  <a:noFill/>
                </a:ln>
                <a:solidFill>
                  <a:srgbClr val="E2583D"/>
                </a:solidFill>
                <a:effectLst/>
                <a:uLnTx/>
                <a:uFillTx/>
                <a:ea typeface="+mn-ea"/>
                <a:cs typeface="+mn-cs"/>
              </a:endParaRPr>
            </a:p>
          </p:txBody>
        </p:sp>
        <p:sp>
          <p:nvSpPr>
            <p:cNvPr id="46" name="TextBox 45"/>
            <p:cNvSpPr txBox="1"/>
            <p:nvPr/>
          </p:nvSpPr>
          <p:spPr>
            <a:xfrm>
              <a:off x="3567938" y="5511694"/>
              <a:ext cx="3845262" cy="461665"/>
            </a:xfrm>
            <a:prstGeom prst="rect">
              <a:avLst/>
            </a:prstGeom>
            <a:noFill/>
            <a:ln w="6350">
              <a:noFill/>
              <a:prstDash val="dash"/>
            </a:ln>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err="1">
                  <a:ln>
                    <a:noFill/>
                  </a:ln>
                  <a:solidFill>
                    <a:prstClr val="white"/>
                  </a:solidFill>
                  <a:effectLst/>
                  <a:uLnTx/>
                  <a:uFillTx/>
                  <a:ea typeface="+mn-ea"/>
                  <a:cs typeface="+mn-cs"/>
                </a:rPr>
                <a:t>Lorem</a:t>
              </a:r>
              <a:r>
                <a:rPr kumimoji="0" lang="en-US" sz="1000" b="1" i="0" u="none" strike="noStrike" kern="1200" cap="none" spc="0" normalizeH="0" baseline="0" noProof="0" dirty="0">
                  <a:ln>
                    <a:noFill/>
                  </a:ln>
                  <a:solidFill>
                    <a:prstClr val="white"/>
                  </a:solidFill>
                  <a:effectLst/>
                  <a:uLnTx/>
                  <a:uFillTx/>
                  <a:ea typeface="+mn-ea"/>
                  <a:cs typeface="+mn-cs"/>
                </a:rPr>
                <a:t> </a:t>
              </a:r>
              <a:r>
                <a:rPr kumimoji="0" lang="en-US" sz="1000" b="1" i="0" u="none" strike="noStrike" kern="1200" cap="none" spc="0" normalizeH="0" baseline="0" noProof="0" dirty="0" err="1">
                  <a:ln>
                    <a:noFill/>
                  </a:ln>
                  <a:solidFill>
                    <a:prstClr val="white"/>
                  </a:solidFill>
                  <a:effectLst/>
                  <a:uLnTx/>
                  <a:uFillTx/>
                  <a:ea typeface="+mn-ea"/>
                  <a:cs typeface="+mn-cs"/>
                </a:rPr>
                <a:t>Ipsum</a:t>
              </a:r>
              <a:r>
                <a:rPr kumimoji="0" lang="en-US" sz="1000" b="1" i="0" u="none" strike="noStrike" kern="1200" cap="none" spc="0" normalizeH="0" baseline="0" noProof="0" dirty="0">
                  <a:ln>
                    <a:noFill/>
                  </a:ln>
                  <a:solidFill>
                    <a:prstClr val="white"/>
                  </a:solidFill>
                  <a:effectLst/>
                  <a:uLnTx/>
                  <a:uFillTx/>
                  <a:ea typeface="+mn-ea"/>
                  <a:cs typeface="+mn-cs"/>
                </a:rPr>
                <a:t> is simply dummy text of the printing and typesetting industry. </a:t>
              </a:r>
              <a:r>
                <a:rPr kumimoji="0" lang="en-US" sz="1000" b="1" i="0" u="none" strike="noStrike" kern="1200" cap="none" spc="0" normalizeH="0" baseline="0" noProof="0" dirty="0" err="1">
                  <a:ln>
                    <a:noFill/>
                  </a:ln>
                  <a:solidFill>
                    <a:prstClr val="white"/>
                  </a:solidFill>
                  <a:effectLst/>
                  <a:uLnTx/>
                  <a:uFillTx/>
                  <a:ea typeface="+mn-ea"/>
                  <a:cs typeface="+mn-cs"/>
                </a:rPr>
                <a:t>Lorem</a:t>
              </a:r>
              <a:r>
                <a:rPr kumimoji="0" lang="en-US" sz="1000" b="1" i="0" u="none" strike="noStrike" kern="1200" cap="none" spc="0" normalizeH="0" baseline="0" noProof="0" dirty="0">
                  <a:ln>
                    <a:noFill/>
                  </a:ln>
                  <a:solidFill>
                    <a:prstClr val="white"/>
                  </a:solidFill>
                  <a:effectLst/>
                  <a:uLnTx/>
                  <a:uFillTx/>
                  <a:ea typeface="+mn-ea"/>
                  <a:cs typeface="+mn-cs"/>
                </a:rPr>
                <a:t> </a:t>
              </a:r>
              <a:r>
                <a:rPr kumimoji="0" lang="en-US" sz="1000" b="1" i="0" u="none" strike="noStrike" kern="1200" cap="none" spc="0" normalizeH="0" baseline="0" noProof="0" dirty="0" err="1">
                  <a:ln>
                    <a:noFill/>
                  </a:ln>
                  <a:solidFill>
                    <a:prstClr val="white"/>
                  </a:solidFill>
                  <a:effectLst/>
                  <a:uLnTx/>
                  <a:uFillTx/>
                  <a:ea typeface="+mn-ea"/>
                  <a:cs typeface="+mn-cs"/>
                </a:rPr>
                <a:t>Ipsum</a:t>
              </a:r>
              <a:r>
                <a:rPr kumimoji="0" lang="en-US" sz="1000" b="1" i="0" u="none" strike="noStrike" kern="1200" cap="none" spc="0" normalizeH="0" baseline="0" noProof="0" dirty="0">
                  <a:ln>
                    <a:noFill/>
                  </a:ln>
                  <a:solidFill>
                    <a:prstClr val="white"/>
                  </a:solidFill>
                  <a:effectLst/>
                  <a:uLnTx/>
                  <a:uFillTx/>
                  <a:ea typeface="+mn-ea"/>
                  <a:cs typeface="+mn-cs"/>
                </a:rPr>
                <a:t> has been the industry's standard dummy text ever since the 1500s.</a:t>
              </a:r>
            </a:p>
          </p:txBody>
        </p:sp>
      </p:grpSp>
      <p:sp>
        <p:nvSpPr>
          <p:cNvPr id="61" name="Rectangle 60"/>
          <p:cNvSpPr/>
          <p:nvPr/>
        </p:nvSpPr>
        <p:spPr>
          <a:xfrm>
            <a:off x="12344400" y="0"/>
            <a:ext cx="469900" cy="469900"/>
          </a:xfrm>
          <a:prstGeom prst="rect">
            <a:avLst/>
          </a:prstGeom>
          <a:solidFill>
            <a:srgbClr val="E7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2" name="Rectangle 61"/>
          <p:cNvSpPr/>
          <p:nvPr/>
        </p:nvSpPr>
        <p:spPr>
          <a:xfrm>
            <a:off x="12344400" y="649557"/>
            <a:ext cx="469900" cy="469900"/>
          </a:xfrm>
          <a:prstGeom prst="rect">
            <a:avLst/>
          </a:prstGeom>
          <a:solidFill>
            <a:srgbClr val="AFABA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3" name="Rectangle 62"/>
          <p:cNvSpPr/>
          <p:nvPr/>
        </p:nvSpPr>
        <p:spPr>
          <a:xfrm>
            <a:off x="12344400" y="1299114"/>
            <a:ext cx="469900" cy="469900"/>
          </a:xfrm>
          <a:prstGeom prst="rect">
            <a:avLst/>
          </a:prstGeom>
          <a:solidFill>
            <a:srgbClr val="76717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4" name="Rectangle 63"/>
          <p:cNvSpPr/>
          <p:nvPr/>
        </p:nvSpPr>
        <p:spPr>
          <a:xfrm>
            <a:off x="12966699" y="0"/>
            <a:ext cx="469900" cy="469900"/>
          </a:xfrm>
          <a:prstGeom prst="rect">
            <a:avLst/>
          </a:prstGeom>
          <a:solidFill>
            <a:srgbClr val="E8786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5" name="Rectangle 64"/>
          <p:cNvSpPr/>
          <p:nvPr/>
        </p:nvSpPr>
        <p:spPr>
          <a:xfrm>
            <a:off x="12966699" y="649557"/>
            <a:ext cx="469900" cy="469900"/>
          </a:xfrm>
          <a:prstGeom prst="rect">
            <a:avLst/>
          </a:prstGeom>
          <a:solidFill>
            <a:srgbClr val="E258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6" name="Rectangle 65"/>
          <p:cNvSpPr/>
          <p:nvPr/>
        </p:nvSpPr>
        <p:spPr>
          <a:xfrm>
            <a:off x="12966699" y="1299114"/>
            <a:ext cx="469900" cy="469900"/>
          </a:xfrm>
          <a:prstGeom prst="rect">
            <a:avLst/>
          </a:prstGeom>
          <a:solidFill>
            <a:srgbClr val="D63E2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7" name="Rectangle 66"/>
          <p:cNvSpPr/>
          <p:nvPr/>
        </p:nvSpPr>
        <p:spPr>
          <a:xfrm>
            <a:off x="13588998" y="0"/>
            <a:ext cx="469900" cy="469900"/>
          </a:xfrm>
          <a:prstGeom prst="rect">
            <a:avLst/>
          </a:prstGeom>
          <a:solidFill>
            <a:srgbClr val="8EDCD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8" name="Rectangle 67"/>
          <p:cNvSpPr/>
          <p:nvPr/>
        </p:nvSpPr>
        <p:spPr>
          <a:xfrm>
            <a:off x="13588998" y="649557"/>
            <a:ext cx="469900" cy="469900"/>
          </a:xfrm>
          <a:prstGeom prst="rect">
            <a:avLst/>
          </a:prstGeom>
          <a:solidFill>
            <a:srgbClr val="78D2D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9" name="Rectangle 68"/>
          <p:cNvSpPr/>
          <p:nvPr/>
        </p:nvSpPr>
        <p:spPr>
          <a:xfrm>
            <a:off x="13588998" y="1299114"/>
            <a:ext cx="469900" cy="469900"/>
          </a:xfrm>
          <a:prstGeom prst="rect">
            <a:avLst/>
          </a:prstGeom>
          <a:solidFill>
            <a:srgbClr val="4CC7C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0" name="Rectangle 69"/>
          <p:cNvSpPr/>
          <p:nvPr/>
        </p:nvSpPr>
        <p:spPr>
          <a:xfrm>
            <a:off x="14211297" y="0"/>
            <a:ext cx="469900" cy="469900"/>
          </a:xfrm>
          <a:prstGeom prst="rect">
            <a:avLst/>
          </a:prstGeom>
          <a:solidFill>
            <a:srgbClr val="55535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1" name="Rectangle 70"/>
          <p:cNvSpPr/>
          <p:nvPr/>
        </p:nvSpPr>
        <p:spPr>
          <a:xfrm>
            <a:off x="14211297" y="649557"/>
            <a:ext cx="469900" cy="469900"/>
          </a:xfrm>
          <a:prstGeom prst="rect">
            <a:avLst/>
          </a:prstGeom>
          <a:solidFill>
            <a:srgbClr val="3B393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2" name="Rectangle 71"/>
          <p:cNvSpPr/>
          <p:nvPr/>
        </p:nvSpPr>
        <p:spPr>
          <a:xfrm>
            <a:off x="14211297" y="1299114"/>
            <a:ext cx="469900" cy="469900"/>
          </a:xfrm>
          <a:prstGeom prst="rect">
            <a:avLst/>
          </a:prstGeom>
          <a:solidFill>
            <a:srgbClr val="25232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09135284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Placeholder 13"/>
          <p:cNvPicPr>
            <a:picLocks noGrp="1" noChangeAspect="1"/>
          </p:cNvPicPr>
          <p:nvPr>
            <p:ph type="pic" sz="quarter" idx="17"/>
          </p:nvPr>
        </p:nvPicPr>
        <p:blipFill>
          <a:blip r:embed="rId3">
            <a:extLst>
              <a:ext uri="{28A0092B-C50C-407E-A947-70E740481C1C}">
                <a14:useLocalDpi xmlns:a14="http://schemas.microsoft.com/office/drawing/2010/main" val="0"/>
              </a:ext>
            </a:extLst>
          </a:blip>
          <a:srcRect l="23157" r="23157"/>
          <a:stretch>
            <a:fillRect/>
          </a:stretch>
        </p:blipFill>
        <p:spPr/>
      </p:pic>
      <p:sp>
        <p:nvSpPr>
          <p:cNvPr id="253" name="Parallelogram 252"/>
          <p:cNvSpPr/>
          <p:nvPr/>
        </p:nvSpPr>
        <p:spPr>
          <a:xfrm>
            <a:off x="6160067" y="4038208"/>
            <a:ext cx="1929329" cy="552449"/>
          </a:xfrm>
          <a:prstGeom prst="parallelogram">
            <a:avLst>
              <a:gd name="adj" fmla="val 13362"/>
            </a:avLst>
          </a:prstGeom>
          <a:solidFill>
            <a:srgbClr val="78D2D2">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3" name="Picture Placeholder 12"/>
          <p:cNvPicPr>
            <a:picLocks noGrp="1" noChangeAspect="1"/>
          </p:cNvPicPr>
          <p:nvPr>
            <p:ph type="pic" sz="quarter" idx="16"/>
          </p:nvPr>
        </p:nvPicPr>
        <p:blipFill>
          <a:blip r:embed="rId4">
            <a:extLst>
              <a:ext uri="{28A0092B-C50C-407E-A947-70E740481C1C}">
                <a14:useLocalDpi xmlns:a14="http://schemas.microsoft.com/office/drawing/2010/main" val="0"/>
              </a:ext>
            </a:extLst>
          </a:blip>
          <a:srcRect l="23208" r="23208"/>
          <a:stretch>
            <a:fillRect/>
          </a:stretch>
        </p:blipFill>
        <p:spPr>
          <a:xfrm>
            <a:off x="3789363" y="1808163"/>
            <a:ext cx="2236787" cy="2782887"/>
          </a:xfrm>
        </p:spPr>
      </p:pic>
      <p:sp>
        <p:nvSpPr>
          <p:cNvPr id="252" name="Parallelogram 251"/>
          <p:cNvSpPr/>
          <p:nvPr/>
        </p:nvSpPr>
        <p:spPr>
          <a:xfrm>
            <a:off x="3783703" y="4038208"/>
            <a:ext cx="1929329" cy="552449"/>
          </a:xfrm>
          <a:prstGeom prst="parallelogram">
            <a:avLst>
              <a:gd name="adj" fmla="val 13362"/>
            </a:avLst>
          </a:prstGeom>
          <a:solidFill>
            <a:srgbClr val="AFABAB">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1" name="Picture Placeholder 10"/>
          <p:cNvPicPr>
            <a:picLocks noGrp="1" noChangeAspect="1"/>
          </p:cNvPicPr>
          <p:nvPr>
            <p:ph type="pic" sz="quarter" idx="15"/>
          </p:nvPr>
        </p:nvPicPr>
        <p:blipFill>
          <a:blip r:embed="rId5">
            <a:extLst>
              <a:ext uri="{28A0092B-C50C-407E-A947-70E740481C1C}">
                <a14:useLocalDpi xmlns:a14="http://schemas.microsoft.com/office/drawing/2010/main" val="0"/>
              </a:ext>
            </a:extLst>
          </a:blip>
          <a:srcRect l="27386" r="27386"/>
          <a:stretch>
            <a:fillRect/>
          </a:stretch>
        </p:blipFill>
        <p:spPr>
          <a:xfrm>
            <a:off x="1414463" y="1808163"/>
            <a:ext cx="2236787" cy="2782887"/>
          </a:xfrm>
        </p:spPr>
      </p:pic>
      <p:sp>
        <p:nvSpPr>
          <p:cNvPr id="12" name="Parallelogram 11"/>
          <p:cNvSpPr/>
          <p:nvPr/>
        </p:nvSpPr>
        <p:spPr>
          <a:xfrm>
            <a:off x="1413945" y="4038208"/>
            <a:ext cx="1929329" cy="552449"/>
          </a:xfrm>
          <a:prstGeom prst="parallelogram">
            <a:avLst>
              <a:gd name="adj" fmla="val 13362"/>
            </a:avLst>
          </a:prstGeom>
          <a:solidFill>
            <a:schemeClr val="accent2">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3" name="Rectangle 102"/>
          <p:cNvSpPr/>
          <p:nvPr/>
        </p:nvSpPr>
        <p:spPr>
          <a:xfrm>
            <a:off x="12344400" y="0"/>
            <a:ext cx="469900" cy="469900"/>
          </a:xfrm>
          <a:prstGeom prst="rect">
            <a:avLst/>
          </a:prstGeom>
          <a:solidFill>
            <a:srgbClr val="E7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4" name="Rectangle 103"/>
          <p:cNvSpPr/>
          <p:nvPr/>
        </p:nvSpPr>
        <p:spPr>
          <a:xfrm>
            <a:off x="12344400" y="649557"/>
            <a:ext cx="469900" cy="469900"/>
          </a:xfrm>
          <a:prstGeom prst="rect">
            <a:avLst/>
          </a:prstGeom>
          <a:solidFill>
            <a:srgbClr val="AFABA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5" name="Rectangle 104"/>
          <p:cNvSpPr/>
          <p:nvPr/>
        </p:nvSpPr>
        <p:spPr>
          <a:xfrm>
            <a:off x="12344400" y="1299114"/>
            <a:ext cx="469900" cy="469900"/>
          </a:xfrm>
          <a:prstGeom prst="rect">
            <a:avLst/>
          </a:prstGeom>
          <a:solidFill>
            <a:srgbClr val="76717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7" name="Rectangle 106"/>
          <p:cNvSpPr/>
          <p:nvPr/>
        </p:nvSpPr>
        <p:spPr>
          <a:xfrm>
            <a:off x="12966699" y="0"/>
            <a:ext cx="469900" cy="469900"/>
          </a:xfrm>
          <a:prstGeom prst="rect">
            <a:avLst/>
          </a:prstGeom>
          <a:solidFill>
            <a:srgbClr val="E8786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8" name="Rectangle 107"/>
          <p:cNvSpPr/>
          <p:nvPr/>
        </p:nvSpPr>
        <p:spPr>
          <a:xfrm>
            <a:off x="12966699" y="649557"/>
            <a:ext cx="469900" cy="469900"/>
          </a:xfrm>
          <a:prstGeom prst="rect">
            <a:avLst/>
          </a:prstGeom>
          <a:solidFill>
            <a:srgbClr val="E258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9" name="Rectangle 108"/>
          <p:cNvSpPr/>
          <p:nvPr/>
        </p:nvSpPr>
        <p:spPr>
          <a:xfrm>
            <a:off x="12966699" y="1299114"/>
            <a:ext cx="469900" cy="469900"/>
          </a:xfrm>
          <a:prstGeom prst="rect">
            <a:avLst/>
          </a:prstGeom>
          <a:solidFill>
            <a:srgbClr val="D63E2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0" name="Rectangle 109"/>
          <p:cNvSpPr/>
          <p:nvPr/>
        </p:nvSpPr>
        <p:spPr>
          <a:xfrm>
            <a:off x="13588998" y="0"/>
            <a:ext cx="469900" cy="469900"/>
          </a:xfrm>
          <a:prstGeom prst="rect">
            <a:avLst/>
          </a:prstGeom>
          <a:solidFill>
            <a:srgbClr val="8EDCD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1" name="Rectangle 110"/>
          <p:cNvSpPr/>
          <p:nvPr/>
        </p:nvSpPr>
        <p:spPr>
          <a:xfrm>
            <a:off x="13588998" y="649557"/>
            <a:ext cx="469900" cy="469900"/>
          </a:xfrm>
          <a:prstGeom prst="rect">
            <a:avLst/>
          </a:prstGeom>
          <a:solidFill>
            <a:srgbClr val="78D2D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2" name="Rectangle 111"/>
          <p:cNvSpPr/>
          <p:nvPr/>
        </p:nvSpPr>
        <p:spPr>
          <a:xfrm>
            <a:off x="13588998" y="1299114"/>
            <a:ext cx="469900" cy="469900"/>
          </a:xfrm>
          <a:prstGeom prst="rect">
            <a:avLst/>
          </a:prstGeom>
          <a:solidFill>
            <a:srgbClr val="4CC7C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3" name="Rectangle 112"/>
          <p:cNvSpPr/>
          <p:nvPr/>
        </p:nvSpPr>
        <p:spPr>
          <a:xfrm>
            <a:off x="14211297" y="0"/>
            <a:ext cx="469900" cy="469900"/>
          </a:xfrm>
          <a:prstGeom prst="rect">
            <a:avLst/>
          </a:prstGeom>
          <a:solidFill>
            <a:srgbClr val="55535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4" name="Rectangle 113"/>
          <p:cNvSpPr/>
          <p:nvPr/>
        </p:nvSpPr>
        <p:spPr>
          <a:xfrm>
            <a:off x="14211297" y="649557"/>
            <a:ext cx="469900" cy="469900"/>
          </a:xfrm>
          <a:prstGeom prst="rect">
            <a:avLst/>
          </a:prstGeom>
          <a:solidFill>
            <a:srgbClr val="3B393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5" name="Rectangle 114"/>
          <p:cNvSpPr/>
          <p:nvPr/>
        </p:nvSpPr>
        <p:spPr>
          <a:xfrm>
            <a:off x="14211297" y="1299114"/>
            <a:ext cx="469900" cy="469900"/>
          </a:xfrm>
          <a:prstGeom prst="rect">
            <a:avLst/>
          </a:prstGeom>
          <a:solidFill>
            <a:srgbClr val="25232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5" name="Picture Placeholder 14"/>
          <p:cNvPicPr>
            <a:picLocks noGrp="1" noChangeAspect="1"/>
          </p:cNvPicPr>
          <p:nvPr>
            <p:ph type="pic" sz="quarter" idx="18"/>
          </p:nvPr>
        </p:nvPicPr>
        <p:blipFill>
          <a:blip r:embed="rId6">
            <a:extLst>
              <a:ext uri="{28A0092B-C50C-407E-A947-70E740481C1C}">
                <a14:useLocalDpi xmlns:a14="http://schemas.microsoft.com/office/drawing/2010/main" val="0"/>
              </a:ext>
            </a:extLst>
          </a:blip>
          <a:srcRect l="23208" r="23208"/>
          <a:stretch>
            <a:fillRect/>
          </a:stretch>
        </p:blipFill>
        <p:spPr/>
      </p:pic>
      <p:sp>
        <p:nvSpPr>
          <p:cNvPr id="2" name="Text Placeholder 1"/>
          <p:cNvSpPr>
            <a:spLocks noGrp="1"/>
          </p:cNvSpPr>
          <p:nvPr>
            <p:ph type="body" sz="quarter" idx="14"/>
          </p:nvPr>
        </p:nvSpPr>
        <p:spPr/>
        <p:txBody>
          <a:bodyPr/>
          <a:lstStyle/>
          <a:p>
            <a:r>
              <a:rPr lang="en-US" dirty="0"/>
              <a:t>Lorem Ipsum is simply dummy text of the printing and typesetting industry. Lorem Ipsum has been the industry's standard dummy text ever since the 1500s, when an unknown printer took a galley of type and scrambled it to make a type specimen book. </a:t>
            </a:r>
          </a:p>
        </p:txBody>
      </p:sp>
      <p:sp>
        <p:nvSpPr>
          <p:cNvPr id="120" name="Text Placeholder 119"/>
          <p:cNvSpPr>
            <a:spLocks noGrp="1"/>
          </p:cNvSpPr>
          <p:nvPr>
            <p:ph type="body" sz="quarter" idx="13"/>
          </p:nvPr>
        </p:nvSpPr>
        <p:spPr/>
        <p:txBody>
          <a:bodyPr/>
          <a:lstStyle/>
          <a:p>
            <a:r>
              <a:rPr lang="en-US" sz="3200" dirty="0"/>
              <a:t>PowerPoint Presentation</a:t>
            </a:r>
          </a:p>
        </p:txBody>
      </p:sp>
      <p:sp>
        <p:nvSpPr>
          <p:cNvPr id="116" name="Date Placeholder 115"/>
          <p:cNvSpPr>
            <a:spLocks noGrp="1"/>
          </p:cNvSpPr>
          <p:nvPr>
            <p:ph type="dt" sz="half" idx="10"/>
          </p:nvPr>
        </p:nvSpPr>
        <p:spPr/>
        <p:txBody>
          <a:bodyPr/>
          <a:lstStyle/>
          <a:p>
            <a:fld id="{56E1B330-CB56-448E-9C70-830A2B9C05C8}" type="datetime1">
              <a:rPr lang="en-US" smtClean="0"/>
              <a:t>10/28/2022</a:t>
            </a:fld>
            <a:endParaRPr lang="en-US"/>
          </a:p>
        </p:txBody>
      </p:sp>
      <p:sp>
        <p:nvSpPr>
          <p:cNvPr id="117" name="Slide Number Placeholder 116"/>
          <p:cNvSpPr>
            <a:spLocks noGrp="1"/>
          </p:cNvSpPr>
          <p:nvPr>
            <p:ph type="sldNum" sz="quarter" idx="12"/>
          </p:nvPr>
        </p:nvSpPr>
        <p:spPr/>
        <p:txBody>
          <a:bodyPr/>
          <a:lstStyle/>
          <a:p>
            <a:fld id="{03206E70-9524-410D-AE9B-78D656EAA14D}" type="slidenum">
              <a:rPr lang="en-US" smtClean="0"/>
              <a:pPr/>
              <a:t>25</a:t>
            </a:fld>
            <a:endParaRPr lang="en-US"/>
          </a:p>
        </p:txBody>
      </p:sp>
      <p:grpSp>
        <p:nvGrpSpPr>
          <p:cNvPr id="19" name="Group 18"/>
          <p:cNvGrpSpPr/>
          <p:nvPr/>
        </p:nvGrpSpPr>
        <p:grpSpPr>
          <a:xfrm>
            <a:off x="1490679" y="4766398"/>
            <a:ext cx="1699539" cy="1300455"/>
            <a:chOff x="1998327" y="4766398"/>
            <a:chExt cx="1699539" cy="1300455"/>
          </a:xfrm>
        </p:grpSpPr>
        <p:sp>
          <p:nvSpPr>
            <p:cNvPr id="157" name="TextBox 156"/>
            <p:cNvSpPr txBox="1"/>
            <p:nvPr/>
          </p:nvSpPr>
          <p:spPr>
            <a:xfrm>
              <a:off x="1998327" y="5297412"/>
              <a:ext cx="1699539" cy="769441"/>
            </a:xfrm>
            <a:prstGeom prst="rect">
              <a:avLst/>
            </a:prstGeom>
            <a:noFill/>
            <a:ln w="6350">
              <a:noFill/>
              <a:prstDash val="dash"/>
            </a:ln>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effectLst/>
                  <a:uLnTx/>
                  <a:uFillTx/>
                  <a:ea typeface="+mn-ea"/>
                  <a:cs typeface="+mn-cs"/>
                </a:rPr>
                <a:t>LOREM IPSUM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effectLst/>
                  <a:uLnTx/>
                  <a:uFillTx/>
                  <a:ea typeface="+mn-ea"/>
                  <a:cs typeface="+mn-cs"/>
                </a:rPr>
                <a:t>is simply dummy text of the printing and typesetting industry. </a:t>
              </a:r>
              <a:r>
                <a:rPr kumimoji="0" lang="en-US" sz="1000" b="0" i="0" u="none" strike="noStrike" kern="1200" cap="none" spc="0" normalizeH="0" baseline="0" noProof="0" dirty="0" err="1">
                  <a:ln>
                    <a:noFill/>
                  </a:ln>
                  <a:effectLst/>
                  <a:uLnTx/>
                  <a:uFillTx/>
                  <a:ea typeface="+mn-ea"/>
                  <a:cs typeface="+mn-cs"/>
                </a:rPr>
                <a:t>Lorem</a:t>
              </a:r>
              <a:r>
                <a:rPr kumimoji="0" lang="en-US" sz="1000" b="0" i="0" u="none" strike="noStrike" kern="1200" cap="none" spc="0" normalizeH="0" baseline="0" noProof="0" dirty="0">
                  <a:ln>
                    <a:noFill/>
                  </a:ln>
                  <a:effectLst/>
                  <a:uLnTx/>
                  <a:uFillTx/>
                  <a:ea typeface="+mn-ea"/>
                  <a:cs typeface="+mn-cs"/>
                </a:rPr>
                <a:t> </a:t>
              </a:r>
              <a:r>
                <a:rPr kumimoji="0" lang="en-US" sz="1000" b="0" i="0" u="none" strike="noStrike" kern="1200" cap="none" spc="0" normalizeH="0" baseline="0" noProof="0" dirty="0" err="1">
                  <a:ln>
                    <a:noFill/>
                  </a:ln>
                  <a:effectLst/>
                  <a:uLnTx/>
                  <a:uFillTx/>
                  <a:ea typeface="+mn-ea"/>
                  <a:cs typeface="+mn-cs"/>
                </a:rPr>
                <a:t>Ipsum</a:t>
              </a:r>
              <a:r>
                <a:rPr kumimoji="0" lang="en-US" sz="1000" b="0" i="0" u="none" strike="noStrike" kern="1200" cap="none" spc="0" normalizeH="0" baseline="0" noProof="0" dirty="0">
                  <a:ln>
                    <a:noFill/>
                  </a:ln>
                  <a:effectLst/>
                  <a:uLnTx/>
                  <a:uFillTx/>
                  <a:ea typeface="+mn-ea"/>
                  <a:cs typeface="+mn-cs"/>
                </a:rPr>
                <a:t> has been the industry's standard dummy</a:t>
              </a:r>
            </a:p>
          </p:txBody>
        </p:sp>
        <p:grpSp>
          <p:nvGrpSpPr>
            <p:cNvPr id="158" name="Group 157"/>
            <p:cNvGrpSpPr/>
            <p:nvPr/>
          </p:nvGrpSpPr>
          <p:grpSpPr>
            <a:xfrm>
              <a:off x="2734889" y="4766398"/>
              <a:ext cx="211256" cy="403278"/>
              <a:chOff x="3628442" y="4608099"/>
              <a:chExt cx="211256" cy="403278"/>
            </a:xfrm>
          </p:grpSpPr>
          <p:sp>
            <p:nvSpPr>
              <p:cNvPr id="159" name="Freeform 5"/>
              <p:cNvSpPr>
                <a:spLocks/>
              </p:cNvSpPr>
              <p:nvPr/>
            </p:nvSpPr>
            <p:spPr bwMode="auto">
              <a:xfrm>
                <a:off x="3661158" y="4888733"/>
                <a:ext cx="135303" cy="122644"/>
              </a:xfrm>
              <a:custGeom>
                <a:avLst/>
                <a:gdLst>
                  <a:gd name="T0" fmla="*/ 0 w 823"/>
                  <a:gd name="T1" fmla="*/ 0 h 746"/>
                  <a:gd name="T2" fmla="*/ 427 w 823"/>
                  <a:gd name="T3" fmla="*/ 211 h 746"/>
                  <a:gd name="T4" fmla="*/ 823 w 823"/>
                  <a:gd name="T5" fmla="*/ 0 h 746"/>
                  <a:gd name="T6" fmla="*/ 410 w 823"/>
                  <a:gd name="T7" fmla="*/ 746 h 746"/>
                  <a:gd name="T8" fmla="*/ 0 w 823"/>
                  <a:gd name="T9" fmla="*/ 0 h 746"/>
                </a:gdLst>
                <a:ahLst/>
                <a:cxnLst>
                  <a:cxn ang="0">
                    <a:pos x="T0" y="T1"/>
                  </a:cxn>
                  <a:cxn ang="0">
                    <a:pos x="T2" y="T3"/>
                  </a:cxn>
                  <a:cxn ang="0">
                    <a:pos x="T4" y="T5"/>
                  </a:cxn>
                  <a:cxn ang="0">
                    <a:pos x="T6" y="T7"/>
                  </a:cxn>
                  <a:cxn ang="0">
                    <a:pos x="T8" y="T9"/>
                  </a:cxn>
                </a:cxnLst>
                <a:rect l="0" t="0" r="r" b="b"/>
                <a:pathLst>
                  <a:path w="823" h="746">
                    <a:moveTo>
                      <a:pt x="0" y="0"/>
                    </a:moveTo>
                    <a:lnTo>
                      <a:pt x="427" y="211"/>
                    </a:lnTo>
                    <a:lnTo>
                      <a:pt x="823" y="0"/>
                    </a:lnTo>
                    <a:lnTo>
                      <a:pt x="410" y="746"/>
                    </a:lnTo>
                    <a:lnTo>
                      <a:pt x="0" y="0"/>
                    </a:lnTo>
                    <a:close/>
                  </a:path>
                </a:pathLst>
              </a:custGeom>
              <a:solidFill>
                <a:srgbClr val="E2583D"/>
              </a:solidFill>
              <a:ln w="15875"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ea typeface="+mn-ea"/>
                  <a:cs typeface="+mn-cs"/>
                </a:endParaRPr>
              </a:p>
            </p:txBody>
          </p:sp>
          <p:sp>
            <p:nvSpPr>
              <p:cNvPr id="160" name="Oval 7"/>
              <p:cNvSpPr>
                <a:spLocks noChangeArrowheads="1"/>
              </p:cNvSpPr>
              <p:nvPr/>
            </p:nvSpPr>
            <p:spPr bwMode="auto">
              <a:xfrm>
                <a:off x="3628442" y="4608099"/>
                <a:ext cx="211256" cy="210928"/>
              </a:xfrm>
              <a:prstGeom prst="ellipse">
                <a:avLst/>
              </a:prstGeom>
              <a:solidFill>
                <a:schemeClr val="bg1"/>
              </a:solidFill>
              <a:ln w="15875" cap="flat">
                <a:noFill/>
                <a:prstDash val="solid"/>
                <a:miter lim="800000"/>
                <a:headEnd/>
                <a:tailEnd/>
              </a:ln>
              <a:effectLst>
                <a:outerShdw blurRad="25400" dist="25400" dir="5400000" algn="t" rotWithShape="0">
                  <a:prstClr val="black">
                    <a:alpha val="40000"/>
                  </a:prstClr>
                </a:outerShdw>
              </a:effec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ea typeface="+mn-ea"/>
                  <a:cs typeface="+mn-cs"/>
                </a:endParaRPr>
              </a:p>
            </p:txBody>
          </p:sp>
          <p:sp>
            <p:nvSpPr>
              <p:cNvPr id="161" name="Oval 6"/>
              <p:cNvSpPr>
                <a:spLocks noChangeArrowheads="1"/>
              </p:cNvSpPr>
              <p:nvPr/>
            </p:nvSpPr>
            <p:spPr bwMode="auto">
              <a:xfrm>
                <a:off x="3706862" y="4686355"/>
                <a:ext cx="54581" cy="54417"/>
              </a:xfrm>
              <a:prstGeom prst="ellipse">
                <a:avLst/>
              </a:prstGeom>
              <a:solidFill>
                <a:srgbClr val="E2583D"/>
              </a:solidFill>
              <a:ln w="15875"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ea typeface="+mn-ea"/>
                  <a:cs typeface="+mn-cs"/>
                </a:endParaRPr>
              </a:p>
            </p:txBody>
          </p:sp>
        </p:grpSp>
      </p:grpSp>
      <p:grpSp>
        <p:nvGrpSpPr>
          <p:cNvPr id="18" name="Group 17"/>
          <p:cNvGrpSpPr/>
          <p:nvPr/>
        </p:nvGrpSpPr>
        <p:grpSpPr>
          <a:xfrm>
            <a:off x="3900410" y="4766398"/>
            <a:ext cx="1699539" cy="1300455"/>
            <a:chOff x="4079197" y="4766398"/>
            <a:chExt cx="1699539" cy="1300455"/>
          </a:xfrm>
        </p:grpSpPr>
        <p:sp>
          <p:nvSpPr>
            <p:cNvPr id="164" name="TextBox 163"/>
            <p:cNvSpPr txBox="1"/>
            <p:nvPr/>
          </p:nvSpPr>
          <p:spPr>
            <a:xfrm>
              <a:off x="4079197" y="5297412"/>
              <a:ext cx="1699539" cy="769441"/>
            </a:xfrm>
            <a:prstGeom prst="rect">
              <a:avLst/>
            </a:prstGeom>
            <a:noFill/>
            <a:ln w="6350">
              <a:noFill/>
              <a:prstDash val="dash"/>
            </a:ln>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effectLst/>
                  <a:uLnTx/>
                  <a:uFillTx/>
                  <a:ea typeface="+mn-ea"/>
                  <a:cs typeface="+mn-cs"/>
                </a:rPr>
                <a:t>LOREM IPSUM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effectLst/>
                  <a:uLnTx/>
                  <a:uFillTx/>
                  <a:ea typeface="+mn-ea"/>
                  <a:cs typeface="+mn-cs"/>
                </a:rPr>
                <a:t>is simply dummy text of the printing and typesetting industry. </a:t>
              </a:r>
              <a:r>
                <a:rPr kumimoji="0" lang="en-US" sz="1000" b="0" i="0" u="none" strike="noStrike" kern="1200" cap="none" spc="0" normalizeH="0" baseline="0" noProof="0" dirty="0" err="1">
                  <a:ln>
                    <a:noFill/>
                  </a:ln>
                  <a:effectLst/>
                  <a:uLnTx/>
                  <a:uFillTx/>
                  <a:ea typeface="+mn-ea"/>
                  <a:cs typeface="+mn-cs"/>
                </a:rPr>
                <a:t>Lorem</a:t>
              </a:r>
              <a:r>
                <a:rPr kumimoji="0" lang="en-US" sz="1000" b="0" i="0" u="none" strike="noStrike" kern="1200" cap="none" spc="0" normalizeH="0" baseline="0" noProof="0" dirty="0">
                  <a:ln>
                    <a:noFill/>
                  </a:ln>
                  <a:effectLst/>
                  <a:uLnTx/>
                  <a:uFillTx/>
                  <a:ea typeface="+mn-ea"/>
                  <a:cs typeface="+mn-cs"/>
                </a:rPr>
                <a:t> </a:t>
              </a:r>
              <a:r>
                <a:rPr kumimoji="0" lang="en-US" sz="1000" b="0" i="0" u="none" strike="noStrike" kern="1200" cap="none" spc="0" normalizeH="0" baseline="0" noProof="0" dirty="0" err="1">
                  <a:ln>
                    <a:noFill/>
                  </a:ln>
                  <a:effectLst/>
                  <a:uLnTx/>
                  <a:uFillTx/>
                  <a:ea typeface="+mn-ea"/>
                  <a:cs typeface="+mn-cs"/>
                </a:rPr>
                <a:t>Ipsum</a:t>
              </a:r>
              <a:r>
                <a:rPr kumimoji="0" lang="en-US" sz="1000" b="0" i="0" u="none" strike="noStrike" kern="1200" cap="none" spc="0" normalizeH="0" baseline="0" noProof="0" dirty="0">
                  <a:ln>
                    <a:noFill/>
                  </a:ln>
                  <a:effectLst/>
                  <a:uLnTx/>
                  <a:uFillTx/>
                  <a:ea typeface="+mn-ea"/>
                  <a:cs typeface="+mn-cs"/>
                </a:rPr>
                <a:t> has been the industry's standard dummy</a:t>
              </a:r>
            </a:p>
          </p:txBody>
        </p:sp>
        <p:grpSp>
          <p:nvGrpSpPr>
            <p:cNvPr id="165" name="Group 164"/>
            <p:cNvGrpSpPr/>
            <p:nvPr/>
          </p:nvGrpSpPr>
          <p:grpSpPr>
            <a:xfrm>
              <a:off x="4815759" y="4766398"/>
              <a:ext cx="211256" cy="403278"/>
              <a:chOff x="3628442" y="4608099"/>
              <a:chExt cx="211256" cy="403278"/>
            </a:xfrm>
          </p:grpSpPr>
          <p:sp>
            <p:nvSpPr>
              <p:cNvPr id="166" name="Freeform 5"/>
              <p:cNvSpPr>
                <a:spLocks/>
              </p:cNvSpPr>
              <p:nvPr/>
            </p:nvSpPr>
            <p:spPr bwMode="auto">
              <a:xfrm>
                <a:off x="3661158" y="4888733"/>
                <a:ext cx="135303" cy="122644"/>
              </a:xfrm>
              <a:custGeom>
                <a:avLst/>
                <a:gdLst>
                  <a:gd name="T0" fmla="*/ 0 w 823"/>
                  <a:gd name="T1" fmla="*/ 0 h 746"/>
                  <a:gd name="T2" fmla="*/ 427 w 823"/>
                  <a:gd name="T3" fmla="*/ 211 h 746"/>
                  <a:gd name="T4" fmla="*/ 823 w 823"/>
                  <a:gd name="T5" fmla="*/ 0 h 746"/>
                  <a:gd name="T6" fmla="*/ 410 w 823"/>
                  <a:gd name="T7" fmla="*/ 746 h 746"/>
                  <a:gd name="T8" fmla="*/ 0 w 823"/>
                  <a:gd name="T9" fmla="*/ 0 h 746"/>
                </a:gdLst>
                <a:ahLst/>
                <a:cxnLst>
                  <a:cxn ang="0">
                    <a:pos x="T0" y="T1"/>
                  </a:cxn>
                  <a:cxn ang="0">
                    <a:pos x="T2" y="T3"/>
                  </a:cxn>
                  <a:cxn ang="0">
                    <a:pos x="T4" y="T5"/>
                  </a:cxn>
                  <a:cxn ang="0">
                    <a:pos x="T6" y="T7"/>
                  </a:cxn>
                  <a:cxn ang="0">
                    <a:pos x="T8" y="T9"/>
                  </a:cxn>
                </a:cxnLst>
                <a:rect l="0" t="0" r="r" b="b"/>
                <a:pathLst>
                  <a:path w="823" h="746">
                    <a:moveTo>
                      <a:pt x="0" y="0"/>
                    </a:moveTo>
                    <a:lnTo>
                      <a:pt x="427" y="211"/>
                    </a:lnTo>
                    <a:lnTo>
                      <a:pt x="823" y="0"/>
                    </a:lnTo>
                    <a:lnTo>
                      <a:pt x="410" y="746"/>
                    </a:lnTo>
                    <a:lnTo>
                      <a:pt x="0" y="0"/>
                    </a:lnTo>
                    <a:close/>
                  </a:path>
                </a:pathLst>
              </a:custGeom>
              <a:solidFill>
                <a:srgbClr val="AFABAB"/>
              </a:solidFill>
              <a:ln w="15875"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ea typeface="+mn-ea"/>
                  <a:cs typeface="+mn-cs"/>
                </a:endParaRPr>
              </a:p>
            </p:txBody>
          </p:sp>
          <p:sp>
            <p:nvSpPr>
              <p:cNvPr id="167" name="Oval 7"/>
              <p:cNvSpPr>
                <a:spLocks noChangeArrowheads="1"/>
              </p:cNvSpPr>
              <p:nvPr/>
            </p:nvSpPr>
            <p:spPr bwMode="auto">
              <a:xfrm>
                <a:off x="3628442" y="4608099"/>
                <a:ext cx="211256" cy="210928"/>
              </a:xfrm>
              <a:prstGeom prst="ellipse">
                <a:avLst/>
              </a:prstGeom>
              <a:solidFill>
                <a:schemeClr val="bg1"/>
              </a:solidFill>
              <a:ln w="15875" cap="flat">
                <a:noFill/>
                <a:prstDash val="solid"/>
                <a:miter lim="800000"/>
                <a:headEnd/>
                <a:tailEnd/>
              </a:ln>
              <a:effectLst>
                <a:outerShdw blurRad="25400" dist="25400" dir="5400000" algn="t" rotWithShape="0">
                  <a:prstClr val="black">
                    <a:alpha val="40000"/>
                  </a:prstClr>
                </a:outerShdw>
              </a:effec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ea typeface="+mn-ea"/>
                  <a:cs typeface="+mn-cs"/>
                </a:endParaRPr>
              </a:p>
            </p:txBody>
          </p:sp>
          <p:sp>
            <p:nvSpPr>
              <p:cNvPr id="168" name="Oval 6"/>
              <p:cNvSpPr>
                <a:spLocks noChangeArrowheads="1"/>
              </p:cNvSpPr>
              <p:nvPr/>
            </p:nvSpPr>
            <p:spPr bwMode="auto">
              <a:xfrm>
                <a:off x="3706862" y="4686355"/>
                <a:ext cx="54581" cy="54417"/>
              </a:xfrm>
              <a:prstGeom prst="ellipse">
                <a:avLst/>
              </a:prstGeom>
              <a:solidFill>
                <a:srgbClr val="AFABAB"/>
              </a:solidFill>
              <a:ln w="15875"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ea typeface="+mn-ea"/>
                  <a:cs typeface="+mn-cs"/>
                </a:endParaRPr>
              </a:p>
            </p:txBody>
          </p:sp>
        </p:grpSp>
      </p:grpSp>
      <p:grpSp>
        <p:nvGrpSpPr>
          <p:cNvPr id="16" name="Group 15"/>
          <p:cNvGrpSpPr/>
          <p:nvPr/>
        </p:nvGrpSpPr>
        <p:grpSpPr>
          <a:xfrm>
            <a:off x="6277294" y="4766398"/>
            <a:ext cx="1699539" cy="1300455"/>
            <a:chOff x="6350064" y="4766398"/>
            <a:chExt cx="1699539" cy="1300455"/>
          </a:xfrm>
        </p:grpSpPr>
        <p:sp>
          <p:nvSpPr>
            <p:cNvPr id="171" name="TextBox 170"/>
            <p:cNvSpPr txBox="1"/>
            <p:nvPr/>
          </p:nvSpPr>
          <p:spPr>
            <a:xfrm>
              <a:off x="6350064" y="5297412"/>
              <a:ext cx="1699539" cy="769441"/>
            </a:xfrm>
            <a:prstGeom prst="rect">
              <a:avLst/>
            </a:prstGeom>
            <a:noFill/>
            <a:ln w="6350">
              <a:noFill/>
              <a:prstDash val="dash"/>
            </a:ln>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effectLst/>
                  <a:uLnTx/>
                  <a:uFillTx/>
                  <a:ea typeface="+mn-ea"/>
                  <a:cs typeface="+mn-cs"/>
                </a:rPr>
                <a:t>LOREM IPSUM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effectLst/>
                  <a:uLnTx/>
                  <a:uFillTx/>
                  <a:ea typeface="+mn-ea"/>
                  <a:cs typeface="+mn-cs"/>
                </a:rPr>
                <a:t>is simply dummy text of the printing and typesetting industry. </a:t>
              </a:r>
              <a:r>
                <a:rPr kumimoji="0" lang="en-US" sz="1000" b="0" i="0" u="none" strike="noStrike" kern="1200" cap="none" spc="0" normalizeH="0" baseline="0" noProof="0" dirty="0" err="1">
                  <a:ln>
                    <a:noFill/>
                  </a:ln>
                  <a:effectLst/>
                  <a:uLnTx/>
                  <a:uFillTx/>
                  <a:ea typeface="+mn-ea"/>
                  <a:cs typeface="+mn-cs"/>
                </a:rPr>
                <a:t>Lorem</a:t>
              </a:r>
              <a:r>
                <a:rPr kumimoji="0" lang="en-US" sz="1000" b="0" i="0" u="none" strike="noStrike" kern="1200" cap="none" spc="0" normalizeH="0" baseline="0" noProof="0" dirty="0">
                  <a:ln>
                    <a:noFill/>
                  </a:ln>
                  <a:effectLst/>
                  <a:uLnTx/>
                  <a:uFillTx/>
                  <a:ea typeface="+mn-ea"/>
                  <a:cs typeface="+mn-cs"/>
                </a:rPr>
                <a:t> </a:t>
              </a:r>
              <a:r>
                <a:rPr kumimoji="0" lang="en-US" sz="1000" b="0" i="0" u="none" strike="noStrike" kern="1200" cap="none" spc="0" normalizeH="0" baseline="0" noProof="0" dirty="0" err="1">
                  <a:ln>
                    <a:noFill/>
                  </a:ln>
                  <a:effectLst/>
                  <a:uLnTx/>
                  <a:uFillTx/>
                  <a:ea typeface="+mn-ea"/>
                  <a:cs typeface="+mn-cs"/>
                </a:rPr>
                <a:t>Ipsum</a:t>
              </a:r>
              <a:r>
                <a:rPr kumimoji="0" lang="en-US" sz="1000" b="0" i="0" u="none" strike="noStrike" kern="1200" cap="none" spc="0" normalizeH="0" baseline="0" noProof="0" dirty="0">
                  <a:ln>
                    <a:noFill/>
                  </a:ln>
                  <a:effectLst/>
                  <a:uLnTx/>
                  <a:uFillTx/>
                  <a:ea typeface="+mn-ea"/>
                  <a:cs typeface="+mn-cs"/>
                </a:rPr>
                <a:t> has been the industry's standard dummy</a:t>
              </a:r>
            </a:p>
          </p:txBody>
        </p:sp>
        <p:grpSp>
          <p:nvGrpSpPr>
            <p:cNvPr id="172" name="Group 171"/>
            <p:cNvGrpSpPr/>
            <p:nvPr/>
          </p:nvGrpSpPr>
          <p:grpSpPr>
            <a:xfrm>
              <a:off x="7086626" y="4766398"/>
              <a:ext cx="211256" cy="403278"/>
              <a:chOff x="3628442" y="4608099"/>
              <a:chExt cx="211256" cy="403278"/>
            </a:xfrm>
          </p:grpSpPr>
          <p:sp>
            <p:nvSpPr>
              <p:cNvPr id="173" name="Freeform 5"/>
              <p:cNvSpPr>
                <a:spLocks/>
              </p:cNvSpPr>
              <p:nvPr/>
            </p:nvSpPr>
            <p:spPr bwMode="auto">
              <a:xfrm>
                <a:off x="3661158" y="4888733"/>
                <a:ext cx="135303" cy="122644"/>
              </a:xfrm>
              <a:custGeom>
                <a:avLst/>
                <a:gdLst>
                  <a:gd name="T0" fmla="*/ 0 w 823"/>
                  <a:gd name="T1" fmla="*/ 0 h 746"/>
                  <a:gd name="T2" fmla="*/ 427 w 823"/>
                  <a:gd name="T3" fmla="*/ 211 h 746"/>
                  <a:gd name="T4" fmla="*/ 823 w 823"/>
                  <a:gd name="T5" fmla="*/ 0 h 746"/>
                  <a:gd name="T6" fmla="*/ 410 w 823"/>
                  <a:gd name="T7" fmla="*/ 746 h 746"/>
                  <a:gd name="T8" fmla="*/ 0 w 823"/>
                  <a:gd name="T9" fmla="*/ 0 h 746"/>
                </a:gdLst>
                <a:ahLst/>
                <a:cxnLst>
                  <a:cxn ang="0">
                    <a:pos x="T0" y="T1"/>
                  </a:cxn>
                  <a:cxn ang="0">
                    <a:pos x="T2" y="T3"/>
                  </a:cxn>
                  <a:cxn ang="0">
                    <a:pos x="T4" y="T5"/>
                  </a:cxn>
                  <a:cxn ang="0">
                    <a:pos x="T6" y="T7"/>
                  </a:cxn>
                  <a:cxn ang="0">
                    <a:pos x="T8" y="T9"/>
                  </a:cxn>
                </a:cxnLst>
                <a:rect l="0" t="0" r="r" b="b"/>
                <a:pathLst>
                  <a:path w="823" h="746">
                    <a:moveTo>
                      <a:pt x="0" y="0"/>
                    </a:moveTo>
                    <a:lnTo>
                      <a:pt x="427" y="211"/>
                    </a:lnTo>
                    <a:lnTo>
                      <a:pt x="823" y="0"/>
                    </a:lnTo>
                    <a:lnTo>
                      <a:pt x="410" y="746"/>
                    </a:lnTo>
                    <a:lnTo>
                      <a:pt x="0" y="0"/>
                    </a:lnTo>
                    <a:close/>
                  </a:path>
                </a:pathLst>
              </a:custGeom>
              <a:solidFill>
                <a:srgbClr val="78D2D2"/>
              </a:solidFill>
              <a:ln w="15875"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ea typeface="+mn-ea"/>
                  <a:cs typeface="+mn-cs"/>
                </a:endParaRPr>
              </a:p>
            </p:txBody>
          </p:sp>
          <p:sp>
            <p:nvSpPr>
              <p:cNvPr id="174" name="Oval 7"/>
              <p:cNvSpPr>
                <a:spLocks noChangeArrowheads="1"/>
              </p:cNvSpPr>
              <p:nvPr/>
            </p:nvSpPr>
            <p:spPr bwMode="auto">
              <a:xfrm>
                <a:off x="3628442" y="4608099"/>
                <a:ext cx="211256" cy="210928"/>
              </a:xfrm>
              <a:prstGeom prst="ellipse">
                <a:avLst/>
              </a:prstGeom>
              <a:solidFill>
                <a:schemeClr val="bg1"/>
              </a:solidFill>
              <a:ln w="15875" cap="flat">
                <a:noFill/>
                <a:prstDash val="solid"/>
                <a:miter lim="800000"/>
                <a:headEnd/>
                <a:tailEnd/>
              </a:ln>
              <a:effectLst>
                <a:outerShdw blurRad="25400" dist="25400" dir="5400000" algn="t" rotWithShape="0">
                  <a:prstClr val="black">
                    <a:alpha val="40000"/>
                  </a:prstClr>
                </a:outerShdw>
              </a:effec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ea typeface="+mn-ea"/>
                  <a:cs typeface="+mn-cs"/>
                </a:endParaRPr>
              </a:p>
            </p:txBody>
          </p:sp>
          <p:sp>
            <p:nvSpPr>
              <p:cNvPr id="175" name="Oval 6"/>
              <p:cNvSpPr>
                <a:spLocks noChangeArrowheads="1"/>
              </p:cNvSpPr>
              <p:nvPr/>
            </p:nvSpPr>
            <p:spPr bwMode="auto">
              <a:xfrm>
                <a:off x="3706862" y="4686355"/>
                <a:ext cx="54581" cy="54417"/>
              </a:xfrm>
              <a:prstGeom prst="ellipse">
                <a:avLst/>
              </a:prstGeom>
              <a:solidFill>
                <a:srgbClr val="78D2D2"/>
              </a:solidFill>
              <a:ln w="15875"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ea typeface="+mn-ea"/>
                  <a:cs typeface="+mn-cs"/>
                </a:endParaRPr>
              </a:p>
            </p:txBody>
          </p:sp>
        </p:grpSp>
      </p:grpSp>
      <p:sp>
        <p:nvSpPr>
          <p:cNvPr id="177" name="Freeform 176"/>
          <p:cNvSpPr/>
          <p:nvPr/>
        </p:nvSpPr>
        <p:spPr>
          <a:xfrm>
            <a:off x="8540741" y="4038208"/>
            <a:ext cx="1921829" cy="552450"/>
          </a:xfrm>
          <a:custGeom>
            <a:avLst/>
            <a:gdLst>
              <a:gd name="connsiteX0" fmla="*/ 57214 w 1653859"/>
              <a:gd name="connsiteY0" fmla="*/ 0 h 552450"/>
              <a:gd name="connsiteX1" fmla="*/ 1653859 w 1653859"/>
              <a:gd name="connsiteY1" fmla="*/ 0 h 552450"/>
              <a:gd name="connsiteX2" fmla="*/ 1596645 w 1653859"/>
              <a:gd name="connsiteY2" fmla="*/ 552450 h 552450"/>
              <a:gd name="connsiteX3" fmla="*/ 0 w 1653859"/>
              <a:gd name="connsiteY3" fmla="*/ 552450 h 552450"/>
            </a:gdLst>
            <a:ahLst/>
            <a:cxnLst>
              <a:cxn ang="0">
                <a:pos x="connsiteX0" y="connsiteY0"/>
              </a:cxn>
              <a:cxn ang="0">
                <a:pos x="connsiteX1" y="connsiteY1"/>
              </a:cxn>
              <a:cxn ang="0">
                <a:pos x="connsiteX2" y="connsiteY2"/>
              </a:cxn>
              <a:cxn ang="0">
                <a:pos x="connsiteX3" y="connsiteY3"/>
              </a:cxn>
            </a:cxnLst>
            <a:rect l="l" t="t" r="r" b="b"/>
            <a:pathLst>
              <a:path w="1653859" h="552450">
                <a:moveTo>
                  <a:pt x="57214" y="0"/>
                </a:moveTo>
                <a:lnTo>
                  <a:pt x="1653859" y="0"/>
                </a:lnTo>
                <a:lnTo>
                  <a:pt x="1596645" y="552450"/>
                </a:lnTo>
                <a:lnTo>
                  <a:pt x="0" y="552450"/>
                </a:lnTo>
                <a:close/>
              </a:path>
            </a:pathLst>
          </a:custGeom>
          <a:solidFill>
            <a:srgbClr val="3B3939">
              <a:alpha val="8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tx1"/>
              </a:solidFill>
              <a:effectLst/>
              <a:uLnTx/>
              <a:uFillTx/>
              <a:ea typeface="+mn-ea"/>
              <a:cs typeface="+mn-cs"/>
            </a:endParaRPr>
          </a:p>
        </p:txBody>
      </p:sp>
      <p:grpSp>
        <p:nvGrpSpPr>
          <p:cNvPr id="17" name="Group 16"/>
          <p:cNvGrpSpPr/>
          <p:nvPr/>
        </p:nvGrpSpPr>
        <p:grpSpPr>
          <a:xfrm>
            <a:off x="8665562" y="4766398"/>
            <a:ext cx="1699539" cy="1300455"/>
            <a:chOff x="8678078" y="4766398"/>
            <a:chExt cx="1699539" cy="1300455"/>
          </a:xfrm>
        </p:grpSpPr>
        <p:sp>
          <p:nvSpPr>
            <p:cNvPr id="178" name="TextBox 177"/>
            <p:cNvSpPr txBox="1"/>
            <p:nvPr/>
          </p:nvSpPr>
          <p:spPr>
            <a:xfrm>
              <a:off x="8678078" y="5297412"/>
              <a:ext cx="1699539" cy="769441"/>
            </a:xfrm>
            <a:prstGeom prst="rect">
              <a:avLst/>
            </a:prstGeom>
            <a:noFill/>
            <a:ln w="6350">
              <a:noFill/>
              <a:prstDash val="dash"/>
            </a:ln>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effectLst/>
                  <a:uLnTx/>
                  <a:uFillTx/>
                  <a:ea typeface="+mn-ea"/>
                  <a:cs typeface="+mn-cs"/>
                </a:rPr>
                <a:t>LOREM IPSUM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effectLst/>
                  <a:uLnTx/>
                  <a:uFillTx/>
                  <a:ea typeface="+mn-ea"/>
                  <a:cs typeface="+mn-cs"/>
                </a:rPr>
                <a:t>is simply dummy text of the printing and typesetting industry. </a:t>
              </a:r>
              <a:r>
                <a:rPr kumimoji="0" lang="en-US" sz="1000" b="0" i="0" u="none" strike="noStrike" kern="1200" cap="none" spc="0" normalizeH="0" baseline="0" noProof="0" dirty="0" err="1">
                  <a:ln>
                    <a:noFill/>
                  </a:ln>
                  <a:effectLst/>
                  <a:uLnTx/>
                  <a:uFillTx/>
                  <a:ea typeface="+mn-ea"/>
                  <a:cs typeface="+mn-cs"/>
                </a:rPr>
                <a:t>Lorem</a:t>
              </a:r>
              <a:r>
                <a:rPr kumimoji="0" lang="en-US" sz="1000" b="0" i="0" u="none" strike="noStrike" kern="1200" cap="none" spc="0" normalizeH="0" baseline="0" noProof="0" dirty="0">
                  <a:ln>
                    <a:noFill/>
                  </a:ln>
                  <a:effectLst/>
                  <a:uLnTx/>
                  <a:uFillTx/>
                  <a:ea typeface="+mn-ea"/>
                  <a:cs typeface="+mn-cs"/>
                </a:rPr>
                <a:t> </a:t>
              </a:r>
              <a:r>
                <a:rPr kumimoji="0" lang="en-US" sz="1000" b="0" i="0" u="none" strike="noStrike" kern="1200" cap="none" spc="0" normalizeH="0" baseline="0" noProof="0" dirty="0" err="1">
                  <a:ln>
                    <a:noFill/>
                  </a:ln>
                  <a:effectLst/>
                  <a:uLnTx/>
                  <a:uFillTx/>
                  <a:ea typeface="+mn-ea"/>
                  <a:cs typeface="+mn-cs"/>
                </a:rPr>
                <a:t>Ipsum</a:t>
              </a:r>
              <a:r>
                <a:rPr kumimoji="0" lang="en-US" sz="1000" b="0" i="0" u="none" strike="noStrike" kern="1200" cap="none" spc="0" normalizeH="0" baseline="0" noProof="0" dirty="0">
                  <a:ln>
                    <a:noFill/>
                  </a:ln>
                  <a:effectLst/>
                  <a:uLnTx/>
                  <a:uFillTx/>
                  <a:ea typeface="+mn-ea"/>
                  <a:cs typeface="+mn-cs"/>
                </a:rPr>
                <a:t> has been the industry's standard dummy</a:t>
              </a:r>
            </a:p>
          </p:txBody>
        </p:sp>
        <p:grpSp>
          <p:nvGrpSpPr>
            <p:cNvPr id="179" name="Group 178"/>
            <p:cNvGrpSpPr/>
            <p:nvPr/>
          </p:nvGrpSpPr>
          <p:grpSpPr>
            <a:xfrm>
              <a:off x="9414640" y="4766398"/>
              <a:ext cx="211256" cy="403278"/>
              <a:chOff x="3628442" y="4608099"/>
              <a:chExt cx="211256" cy="403278"/>
            </a:xfrm>
          </p:grpSpPr>
          <p:sp>
            <p:nvSpPr>
              <p:cNvPr id="180" name="Freeform 5"/>
              <p:cNvSpPr>
                <a:spLocks/>
              </p:cNvSpPr>
              <p:nvPr/>
            </p:nvSpPr>
            <p:spPr bwMode="auto">
              <a:xfrm>
                <a:off x="3661158" y="4888733"/>
                <a:ext cx="135303" cy="122644"/>
              </a:xfrm>
              <a:custGeom>
                <a:avLst/>
                <a:gdLst>
                  <a:gd name="T0" fmla="*/ 0 w 823"/>
                  <a:gd name="T1" fmla="*/ 0 h 746"/>
                  <a:gd name="T2" fmla="*/ 427 w 823"/>
                  <a:gd name="T3" fmla="*/ 211 h 746"/>
                  <a:gd name="T4" fmla="*/ 823 w 823"/>
                  <a:gd name="T5" fmla="*/ 0 h 746"/>
                  <a:gd name="T6" fmla="*/ 410 w 823"/>
                  <a:gd name="T7" fmla="*/ 746 h 746"/>
                  <a:gd name="T8" fmla="*/ 0 w 823"/>
                  <a:gd name="T9" fmla="*/ 0 h 746"/>
                </a:gdLst>
                <a:ahLst/>
                <a:cxnLst>
                  <a:cxn ang="0">
                    <a:pos x="T0" y="T1"/>
                  </a:cxn>
                  <a:cxn ang="0">
                    <a:pos x="T2" y="T3"/>
                  </a:cxn>
                  <a:cxn ang="0">
                    <a:pos x="T4" y="T5"/>
                  </a:cxn>
                  <a:cxn ang="0">
                    <a:pos x="T6" y="T7"/>
                  </a:cxn>
                  <a:cxn ang="0">
                    <a:pos x="T8" y="T9"/>
                  </a:cxn>
                </a:cxnLst>
                <a:rect l="0" t="0" r="r" b="b"/>
                <a:pathLst>
                  <a:path w="823" h="746">
                    <a:moveTo>
                      <a:pt x="0" y="0"/>
                    </a:moveTo>
                    <a:lnTo>
                      <a:pt x="427" y="211"/>
                    </a:lnTo>
                    <a:lnTo>
                      <a:pt x="823" y="0"/>
                    </a:lnTo>
                    <a:lnTo>
                      <a:pt x="410" y="746"/>
                    </a:lnTo>
                    <a:lnTo>
                      <a:pt x="0" y="0"/>
                    </a:lnTo>
                    <a:close/>
                  </a:path>
                </a:pathLst>
              </a:custGeom>
              <a:solidFill>
                <a:srgbClr val="3B3939"/>
              </a:solidFill>
              <a:ln w="15875"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ea typeface="+mn-ea"/>
                  <a:cs typeface="+mn-cs"/>
                </a:endParaRPr>
              </a:p>
            </p:txBody>
          </p:sp>
          <p:sp>
            <p:nvSpPr>
              <p:cNvPr id="181" name="Oval 7"/>
              <p:cNvSpPr>
                <a:spLocks noChangeArrowheads="1"/>
              </p:cNvSpPr>
              <p:nvPr/>
            </p:nvSpPr>
            <p:spPr bwMode="auto">
              <a:xfrm>
                <a:off x="3628442" y="4608099"/>
                <a:ext cx="211256" cy="210928"/>
              </a:xfrm>
              <a:prstGeom prst="ellipse">
                <a:avLst/>
              </a:prstGeom>
              <a:solidFill>
                <a:schemeClr val="bg1"/>
              </a:solidFill>
              <a:ln w="15875" cap="flat">
                <a:noFill/>
                <a:prstDash val="solid"/>
                <a:miter lim="800000"/>
                <a:headEnd/>
                <a:tailEnd/>
              </a:ln>
              <a:effectLst>
                <a:outerShdw blurRad="25400" dist="25400" dir="5400000" algn="t" rotWithShape="0">
                  <a:prstClr val="black">
                    <a:alpha val="40000"/>
                  </a:prstClr>
                </a:outerShdw>
              </a:effec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ea typeface="+mn-ea"/>
                  <a:cs typeface="+mn-cs"/>
                </a:endParaRPr>
              </a:p>
            </p:txBody>
          </p:sp>
          <p:sp>
            <p:nvSpPr>
              <p:cNvPr id="213" name="Oval 6"/>
              <p:cNvSpPr>
                <a:spLocks noChangeArrowheads="1"/>
              </p:cNvSpPr>
              <p:nvPr/>
            </p:nvSpPr>
            <p:spPr bwMode="auto">
              <a:xfrm>
                <a:off x="3706862" y="4686355"/>
                <a:ext cx="54581" cy="54417"/>
              </a:xfrm>
              <a:prstGeom prst="ellipse">
                <a:avLst/>
              </a:prstGeom>
              <a:solidFill>
                <a:srgbClr val="3B3939"/>
              </a:solidFill>
              <a:ln w="15875"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ea typeface="+mn-ea"/>
                  <a:cs typeface="+mn-cs"/>
                </a:endParaRPr>
              </a:p>
            </p:txBody>
          </p:sp>
        </p:grpSp>
      </p:grpSp>
      <p:grpSp>
        <p:nvGrpSpPr>
          <p:cNvPr id="215" name="Group 214"/>
          <p:cNvGrpSpPr>
            <a:grpSpLocks noChangeAspect="1"/>
          </p:cNvGrpSpPr>
          <p:nvPr/>
        </p:nvGrpSpPr>
        <p:grpSpPr>
          <a:xfrm>
            <a:off x="2249135" y="4188433"/>
            <a:ext cx="259010" cy="252000"/>
            <a:chOff x="-320676" y="1414463"/>
            <a:chExt cx="1173164" cy="1141413"/>
          </a:xfrm>
          <a:solidFill>
            <a:schemeClr val="bg1"/>
          </a:solidFill>
          <a:effectLst>
            <a:outerShdw blurRad="25400" dist="25400" dir="5400000" algn="t" rotWithShape="0">
              <a:prstClr val="black">
                <a:alpha val="40000"/>
              </a:prstClr>
            </a:outerShdw>
          </a:effectLst>
        </p:grpSpPr>
        <p:sp>
          <p:nvSpPr>
            <p:cNvPr id="216" name="Freeform 5"/>
            <p:cNvSpPr>
              <a:spLocks/>
            </p:cNvSpPr>
            <p:nvPr/>
          </p:nvSpPr>
          <p:spPr bwMode="auto">
            <a:xfrm>
              <a:off x="-222250" y="1804988"/>
              <a:ext cx="685801" cy="682625"/>
            </a:xfrm>
            <a:custGeom>
              <a:avLst/>
              <a:gdLst>
                <a:gd name="T0" fmla="*/ 8 w 181"/>
                <a:gd name="T1" fmla="*/ 180 h 180"/>
                <a:gd name="T2" fmla="*/ 3 w 181"/>
                <a:gd name="T3" fmla="*/ 178 h 180"/>
                <a:gd name="T4" fmla="*/ 3 w 181"/>
                <a:gd name="T5" fmla="*/ 168 h 180"/>
                <a:gd name="T6" fmla="*/ 169 w 181"/>
                <a:gd name="T7" fmla="*/ 3 h 180"/>
                <a:gd name="T8" fmla="*/ 178 w 181"/>
                <a:gd name="T9" fmla="*/ 3 h 180"/>
                <a:gd name="T10" fmla="*/ 178 w 181"/>
                <a:gd name="T11" fmla="*/ 12 h 180"/>
                <a:gd name="T12" fmla="*/ 13 w 181"/>
                <a:gd name="T13" fmla="*/ 178 h 180"/>
                <a:gd name="T14" fmla="*/ 8 w 181"/>
                <a:gd name="T15" fmla="*/ 180 h 1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1" h="180">
                  <a:moveTo>
                    <a:pt x="8" y="180"/>
                  </a:moveTo>
                  <a:cubicBezTo>
                    <a:pt x="6" y="180"/>
                    <a:pt x="4" y="179"/>
                    <a:pt x="3" y="178"/>
                  </a:cubicBezTo>
                  <a:cubicBezTo>
                    <a:pt x="0" y="175"/>
                    <a:pt x="0" y="171"/>
                    <a:pt x="3" y="168"/>
                  </a:cubicBezTo>
                  <a:cubicBezTo>
                    <a:pt x="169" y="3"/>
                    <a:pt x="169" y="3"/>
                    <a:pt x="169" y="3"/>
                  </a:cubicBezTo>
                  <a:cubicBezTo>
                    <a:pt x="171" y="0"/>
                    <a:pt x="176" y="0"/>
                    <a:pt x="178" y="3"/>
                  </a:cubicBezTo>
                  <a:cubicBezTo>
                    <a:pt x="181" y="5"/>
                    <a:pt x="181" y="10"/>
                    <a:pt x="178" y="12"/>
                  </a:cubicBezTo>
                  <a:cubicBezTo>
                    <a:pt x="13" y="178"/>
                    <a:pt x="13" y="178"/>
                    <a:pt x="13" y="178"/>
                  </a:cubicBezTo>
                  <a:cubicBezTo>
                    <a:pt x="12" y="179"/>
                    <a:pt x="10" y="180"/>
                    <a:pt x="8" y="1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ea typeface="+mn-ea"/>
                <a:cs typeface="+mn-cs"/>
              </a:endParaRPr>
            </a:p>
          </p:txBody>
        </p:sp>
        <p:sp>
          <p:nvSpPr>
            <p:cNvPr id="217" name="Freeform 6"/>
            <p:cNvSpPr>
              <a:spLocks noEditPoints="1"/>
            </p:cNvSpPr>
            <p:nvPr/>
          </p:nvSpPr>
          <p:spPr bwMode="auto">
            <a:xfrm>
              <a:off x="-320676" y="1414463"/>
              <a:ext cx="1173164" cy="1141413"/>
            </a:xfrm>
            <a:custGeom>
              <a:avLst/>
              <a:gdLst>
                <a:gd name="T0" fmla="*/ 131 w 310"/>
                <a:gd name="T1" fmla="*/ 301 h 301"/>
                <a:gd name="T2" fmla="*/ 42 w 310"/>
                <a:gd name="T3" fmla="*/ 270 h 301"/>
                <a:gd name="T4" fmla="*/ 40 w 310"/>
                <a:gd name="T5" fmla="*/ 268 h 301"/>
                <a:gd name="T6" fmla="*/ 19 w 310"/>
                <a:gd name="T7" fmla="*/ 134 h 301"/>
                <a:gd name="T8" fmla="*/ 302 w 310"/>
                <a:gd name="T9" fmla="*/ 0 h 301"/>
                <a:gd name="T10" fmla="*/ 308 w 310"/>
                <a:gd name="T11" fmla="*/ 2 h 301"/>
                <a:gd name="T12" fmla="*/ 310 w 310"/>
                <a:gd name="T13" fmla="*/ 8 h 301"/>
                <a:gd name="T14" fmla="*/ 131 w 310"/>
                <a:gd name="T15" fmla="*/ 301 h 301"/>
                <a:gd name="T16" fmla="*/ 51 w 310"/>
                <a:gd name="T17" fmla="*/ 259 h 301"/>
                <a:gd name="T18" fmla="*/ 131 w 310"/>
                <a:gd name="T19" fmla="*/ 288 h 301"/>
                <a:gd name="T20" fmla="*/ 295 w 310"/>
                <a:gd name="T21" fmla="*/ 15 h 301"/>
                <a:gd name="T22" fmla="*/ 31 w 310"/>
                <a:gd name="T23" fmla="*/ 140 h 301"/>
                <a:gd name="T24" fmla="*/ 51 w 310"/>
                <a:gd name="T25" fmla="*/ 259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10" h="301">
                  <a:moveTo>
                    <a:pt x="131" y="301"/>
                  </a:moveTo>
                  <a:cubicBezTo>
                    <a:pt x="103" y="301"/>
                    <a:pt x="73" y="291"/>
                    <a:pt x="42" y="270"/>
                  </a:cubicBezTo>
                  <a:cubicBezTo>
                    <a:pt x="41" y="270"/>
                    <a:pt x="40" y="269"/>
                    <a:pt x="40" y="268"/>
                  </a:cubicBezTo>
                  <a:cubicBezTo>
                    <a:pt x="7" y="219"/>
                    <a:pt x="0" y="174"/>
                    <a:pt x="19" y="134"/>
                  </a:cubicBezTo>
                  <a:cubicBezTo>
                    <a:pt x="69" y="27"/>
                    <a:pt x="293" y="1"/>
                    <a:pt x="302" y="0"/>
                  </a:cubicBezTo>
                  <a:cubicBezTo>
                    <a:pt x="304" y="0"/>
                    <a:pt x="306" y="1"/>
                    <a:pt x="308" y="2"/>
                  </a:cubicBezTo>
                  <a:cubicBezTo>
                    <a:pt x="309" y="3"/>
                    <a:pt x="310" y="6"/>
                    <a:pt x="310" y="8"/>
                  </a:cubicBezTo>
                  <a:cubicBezTo>
                    <a:pt x="309" y="20"/>
                    <a:pt x="276" y="301"/>
                    <a:pt x="131" y="301"/>
                  </a:cubicBezTo>
                  <a:close/>
                  <a:moveTo>
                    <a:pt x="51" y="259"/>
                  </a:moveTo>
                  <a:cubicBezTo>
                    <a:pt x="79" y="278"/>
                    <a:pt x="106" y="288"/>
                    <a:pt x="131" y="288"/>
                  </a:cubicBezTo>
                  <a:cubicBezTo>
                    <a:pt x="250" y="288"/>
                    <a:pt x="288" y="62"/>
                    <a:pt x="295" y="15"/>
                  </a:cubicBezTo>
                  <a:cubicBezTo>
                    <a:pt x="253" y="21"/>
                    <a:pt x="73" y="51"/>
                    <a:pt x="31" y="140"/>
                  </a:cubicBezTo>
                  <a:cubicBezTo>
                    <a:pt x="15" y="175"/>
                    <a:pt x="22" y="215"/>
                    <a:pt x="51" y="2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ea typeface="+mn-ea"/>
                <a:cs typeface="+mn-cs"/>
              </a:endParaRPr>
            </a:p>
          </p:txBody>
        </p:sp>
        <p:sp>
          <p:nvSpPr>
            <p:cNvPr id="218" name="Freeform 7"/>
            <p:cNvSpPr>
              <a:spLocks/>
            </p:cNvSpPr>
            <p:nvPr/>
          </p:nvSpPr>
          <p:spPr bwMode="auto">
            <a:xfrm>
              <a:off x="-11113" y="1963738"/>
              <a:ext cx="314325" cy="314325"/>
            </a:xfrm>
            <a:custGeom>
              <a:avLst/>
              <a:gdLst>
                <a:gd name="T0" fmla="*/ 76 w 83"/>
                <a:gd name="T1" fmla="*/ 83 h 83"/>
                <a:gd name="T2" fmla="*/ 7 w 83"/>
                <a:gd name="T3" fmla="*/ 83 h 83"/>
                <a:gd name="T4" fmla="*/ 0 w 83"/>
                <a:gd name="T5" fmla="*/ 76 h 83"/>
                <a:gd name="T6" fmla="*/ 0 w 83"/>
                <a:gd name="T7" fmla="*/ 7 h 83"/>
                <a:gd name="T8" fmla="*/ 7 w 83"/>
                <a:gd name="T9" fmla="*/ 0 h 83"/>
                <a:gd name="T10" fmla="*/ 14 w 83"/>
                <a:gd name="T11" fmla="*/ 7 h 83"/>
                <a:gd name="T12" fmla="*/ 14 w 83"/>
                <a:gd name="T13" fmla="*/ 69 h 83"/>
                <a:gd name="T14" fmla="*/ 76 w 83"/>
                <a:gd name="T15" fmla="*/ 69 h 83"/>
                <a:gd name="T16" fmla="*/ 83 w 83"/>
                <a:gd name="T17" fmla="*/ 76 h 83"/>
                <a:gd name="T18" fmla="*/ 76 w 83"/>
                <a:gd name="T19" fmla="*/ 83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3" h="83">
                  <a:moveTo>
                    <a:pt x="76" y="83"/>
                  </a:moveTo>
                  <a:cubicBezTo>
                    <a:pt x="7" y="83"/>
                    <a:pt x="7" y="83"/>
                    <a:pt x="7" y="83"/>
                  </a:cubicBezTo>
                  <a:cubicBezTo>
                    <a:pt x="3" y="83"/>
                    <a:pt x="0" y="80"/>
                    <a:pt x="0" y="76"/>
                  </a:cubicBezTo>
                  <a:cubicBezTo>
                    <a:pt x="0" y="7"/>
                    <a:pt x="0" y="7"/>
                    <a:pt x="0" y="7"/>
                  </a:cubicBezTo>
                  <a:cubicBezTo>
                    <a:pt x="0" y="3"/>
                    <a:pt x="3" y="0"/>
                    <a:pt x="7" y="0"/>
                  </a:cubicBezTo>
                  <a:cubicBezTo>
                    <a:pt x="11" y="0"/>
                    <a:pt x="14" y="3"/>
                    <a:pt x="14" y="7"/>
                  </a:cubicBezTo>
                  <a:cubicBezTo>
                    <a:pt x="14" y="69"/>
                    <a:pt x="14" y="69"/>
                    <a:pt x="14" y="69"/>
                  </a:cubicBezTo>
                  <a:cubicBezTo>
                    <a:pt x="76" y="69"/>
                    <a:pt x="76" y="69"/>
                    <a:pt x="76" y="69"/>
                  </a:cubicBezTo>
                  <a:cubicBezTo>
                    <a:pt x="80" y="69"/>
                    <a:pt x="83" y="72"/>
                    <a:pt x="83" y="76"/>
                  </a:cubicBezTo>
                  <a:cubicBezTo>
                    <a:pt x="83" y="80"/>
                    <a:pt x="80" y="83"/>
                    <a:pt x="76" y="8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ea typeface="+mn-ea"/>
                <a:cs typeface="+mn-cs"/>
              </a:endParaRPr>
            </a:p>
          </p:txBody>
        </p:sp>
        <p:sp>
          <p:nvSpPr>
            <p:cNvPr id="219" name="Freeform 8"/>
            <p:cNvSpPr>
              <a:spLocks/>
            </p:cNvSpPr>
            <p:nvPr/>
          </p:nvSpPr>
          <p:spPr bwMode="auto">
            <a:xfrm>
              <a:off x="198437" y="1831976"/>
              <a:ext cx="238125" cy="238125"/>
            </a:xfrm>
            <a:custGeom>
              <a:avLst/>
              <a:gdLst>
                <a:gd name="T0" fmla="*/ 56 w 63"/>
                <a:gd name="T1" fmla="*/ 63 h 63"/>
                <a:gd name="T2" fmla="*/ 7 w 63"/>
                <a:gd name="T3" fmla="*/ 63 h 63"/>
                <a:gd name="T4" fmla="*/ 0 w 63"/>
                <a:gd name="T5" fmla="*/ 56 h 63"/>
                <a:gd name="T6" fmla="*/ 0 w 63"/>
                <a:gd name="T7" fmla="*/ 7 h 63"/>
                <a:gd name="T8" fmla="*/ 7 w 63"/>
                <a:gd name="T9" fmla="*/ 0 h 63"/>
                <a:gd name="T10" fmla="*/ 14 w 63"/>
                <a:gd name="T11" fmla="*/ 7 h 63"/>
                <a:gd name="T12" fmla="*/ 14 w 63"/>
                <a:gd name="T13" fmla="*/ 49 h 63"/>
                <a:gd name="T14" fmla="*/ 56 w 63"/>
                <a:gd name="T15" fmla="*/ 49 h 63"/>
                <a:gd name="T16" fmla="*/ 63 w 63"/>
                <a:gd name="T17" fmla="*/ 56 h 63"/>
                <a:gd name="T18" fmla="*/ 56 w 63"/>
                <a:gd name="T19"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3" h="63">
                  <a:moveTo>
                    <a:pt x="56" y="63"/>
                  </a:moveTo>
                  <a:cubicBezTo>
                    <a:pt x="7" y="63"/>
                    <a:pt x="7" y="63"/>
                    <a:pt x="7" y="63"/>
                  </a:cubicBezTo>
                  <a:cubicBezTo>
                    <a:pt x="4" y="63"/>
                    <a:pt x="0" y="59"/>
                    <a:pt x="0" y="56"/>
                  </a:cubicBezTo>
                  <a:cubicBezTo>
                    <a:pt x="0" y="7"/>
                    <a:pt x="0" y="7"/>
                    <a:pt x="0" y="7"/>
                  </a:cubicBezTo>
                  <a:cubicBezTo>
                    <a:pt x="0" y="3"/>
                    <a:pt x="4" y="0"/>
                    <a:pt x="7" y="0"/>
                  </a:cubicBezTo>
                  <a:cubicBezTo>
                    <a:pt x="11" y="0"/>
                    <a:pt x="14" y="3"/>
                    <a:pt x="14" y="7"/>
                  </a:cubicBezTo>
                  <a:cubicBezTo>
                    <a:pt x="14" y="49"/>
                    <a:pt x="14" y="49"/>
                    <a:pt x="14" y="49"/>
                  </a:cubicBezTo>
                  <a:cubicBezTo>
                    <a:pt x="56" y="49"/>
                    <a:pt x="56" y="49"/>
                    <a:pt x="56" y="49"/>
                  </a:cubicBezTo>
                  <a:cubicBezTo>
                    <a:pt x="60" y="49"/>
                    <a:pt x="63" y="52"/>
                    <a:pt x="63" y="56"/>
                  </a:cubicBezTo>
                  <a:cubicBezTo>
                    <a:pt x="63" y="59"/>
                    <a:pt x="60" y="63"/>
                    <a:pt x="56" y="6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ea typeface="+mn-ea"/>
                <a:cs typeface="+mn-cs"/>
              </a:endParaRPr>
            </a:p>
          </p:txBody>
        </p:sp>
        <p:sp>
          <p:nvSpPr>
            <p:cNvPr id="220" name="Freeform 9"/>
            <p:cNvSpPr>
              <a:spLocks/>
            </p:cNvSpPr>
            <p:nvPr/>
          </p:nvSpPr>
          <p:spPr bwMode="auto">
            <a:xfrm>
              <a:off x="409575" y="1728788"/>
              <a:ext cx="128588" cy="128588"/>
            </a:xfrm>
            <a:custGeom>
              <a:avLst/>
              <a:gdLst>
                <a:gd name="T0" fmla="*/ 27 w 34"/>
                <a:gd name="T1" fmla="*/ 34 h 34"/>
                <a:gd name="T2" fmla="*/ 7 w 34"/>
                <a:gd name="T3" fmla="*/ 34 h 34"/>
                <a:gd name="T4" fmla="*/ 0 w 34"/>
                <a:gd name="T5" fmla="*/ 27 h 34"/>
                <a:gd name="T6" fmla="*/ 0 w 34"/>
                <a:gd name="T7" fmla="*/ 7 h 34"/>
                <a:gd name="T8" fmla="*/ 7 w 34"/>
                <a:gd name="T9" fmla="*/ 0 h 34"/>
                <a:gd name="T10" fmla="*/ 13 w 34"/>
                <a:gd name="T11" fmla="*/ 7 h 34"/>
                <a:gd name="T12" fmla="*/ 13 w 34"/>
                <a:gd name="T13" fmla="*/ 20 h 34"/>
                <a:gd name="T14" fmla="*/ 27 w 34"/>
                <a:gd name="T15" fmla="*/ 20 h 34"/>
                <a:gd name="T16" fmla="*/ 34 w 34"/>
                <a:gd name="T17" fmla="*/ 27 h 34"/>
                <a:gd name="T18" fmla="*/ 27 w 34"/>
                <a:gd name="T19" fmla="*/ 3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4" h="34">
                  <a:moveTo>
                    <a:pt x="27" y="34"/>
                  </a:moveTo>
                  <a:cubicBezTo>
                    <a:pt x="7" y="34"/>
                    <a:pt x="7" y="34"/>
                    <a:pt x="7" y="34"/>
                  </a:cubicBezTo>
                  <a:cubicBezTo>
                    <a:pt x="3" y="34"/>
                    <a:pt x="0" y="31"/>
                    <a:pt x="0" y="27"/>
                  </a:cubicBezTo>
                  <a:cubicBezTo>
                    <a:pt x="0" y="7"/>
                    <a:pt x="0" y="7"/>
                    <a:pt x="0" y="7"/>
                  </a:cubicBezTo>
                  <a:cubicBezTo>
                    <a:pt x="0" y="3"/>
                    <a:pt x="3" y="0"/>
                    <a:pt x="7" y="0"/>
                  </a:cubicBezTo>
                  <a:cubicBezTo>
                    <a:pt x="10" y="0"/>
                    <a:pt x="13" y="3"/>
                    <a:pt x="13" y="7"/>
                  </a:cubicBezTo>
                  <a:cubicBezTo>
                    <a:pt x="13" y="20"/>
                    <a:pt x="13" y="20"/>
                    <a:pt x="13" y="20"/>
                  </a:cubicBezTo>
                  <a:cubicBezTo>
                    <a:pt x="27" y="20"/>
                    <a:pt x="27" y="20"/>
                    <a:pt x="27" y="20"/>
                  </a:cubicBezTo>
                  <a:cubicBezTo>
                    <a:pt x="31" y="20"/>
                    <a:pt x="34" y="24"/>
                    <a:pt x="34" y="27"/>
                  </a:cubicBezTo>
                  <a:cubicBezTo>
                    <a:pt x="34" y="31"/>
                    <a:pt x="31" y="34"/>
                    <a:pt x="27" y="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ea typeface="+mn-ea"/>
                <a:cs typeface="+mn-cs"/>
              </a:endParaRPr>
            </a:p>
          </p:txBody>
        </p:sp>
      </p:grpSp>
      <p:grpSp>
        <p:nvGrpSpPr>
          <p:cNvPr id="221" name="Group 220"/>
          <p:cNvGrpSpPr/>
          <p:nvPr/>
        </p:nvGrpSpPr>
        <p:grpSpPr>
          <a:xfrm>
            <a:off x="2234574" y="4126315"/>
            <a:ext cx="288132" cy="376237"/>
            <a:chOff x="1177620" y="4126315"/>
            <a:chExt cx="288132" cy="376237"/>
          </a:xfrm>
        </p:grpSpPr>
        <p:cxnSp>
          <p:nvCxnSpPr>
            <p:cNvPr id="222" name="Straight Connector 221"/>
            <p:cNvCxnSpPr/>
            <p:nvPr/>
          </p:nvCxnSpPr>
          <p:spPr>
            <a:xfrm>
              <a:off x="1177620" y="4126315"/>
              <a:ext cx="288132"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23" name="Straight Connector 222"/>
            <p:cNvCxnSpPr/>
            <p:nvPr/>
          </p:nvCxnSpPr>
          <p:spPr>
            <a:xfrm>
              <a:off x="1177620" y="4502552"/>
              <a:ext cx="288132"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225" name="Group 224"/>
          <p:cNvGrpSpPr>
            <a:grpSpLocks noChangeAspect="1"/>
          </p:cNvGrpSpPr>
          <p:nvPr/>
        </p:nvGrpSpPr>
        <p:grpSpPr>
          <a:xfrm>
            <a:off x="4673185" y="4188433"/>
            <a:ext cx="150364" cy="252000"/>
            <a:chOff x="1508125" y="1925638"/>
            <a:chExt cx="171450" cy="287338"/>
          </a:xfrm>
          <a:solidFill>
            <a:schemeClr val="bg1"/>
          </a:solidFill>
          <a:effectLst>
            <a:outerShdw blurRad="25400" dist="25400" dir="5400000" algn="t" rotWithShape="0">
              <a:prstClr val="black">
                <a:alpha val="40000"/>
              </a:prstClr>
            </a:outerShdw>
          </a:effectLst>
        </p:grpSpPr>
        <p:sp>
          <p:nvSpPr>
            <p:cNvPr id="230" name="Freeform 85"/>
            <p:cNvSpPr>
              <a:spLocks noEditPoints="1"/>
            </p:cNvSpPr>
            <p:nvPr/>
          </p:nvSpPr>
          <p:spPr bwMode="auto">
            <a:xfrm>
              <a:off x="1508125" y="1965325"/>
              <a:ext cx="66675" cy="247650"/>
            </a:xfrm>
            <a:custGeom>
              <a:avLst/>
              <a:gdLst>
                <a:gd name="T0" fmla="*/ 104 w 211"/>
                <a:gd name="T1" fmla="*/ 752 h 783"/>
                <a:gd name="T2" fmla="*/ 90 w 211"/>
                <a:gd name="T3" fmla="*/ 749 h 783"/>
                <a:gd name="T4" fmla="*/ 69 w 211"/>
                <a:gd name="T5" fmla="*/ 742 h 783"/>
                <a:gd name="T6" fmla="*/ 52 w 211"/>
                <a:gd name="T7" fmla="*/ 730 h 783"/>
                <a:gd name="T8" fmla="*/ 42 w 211"/>
                <a:gd name="T9" fmla="*/ 720 h 783"/>
                <a:gd name="T10" fmla="*/ 35 w 211"/>
                <a:gd name="T11" fmla="*/ 709 h 783"/>
                <a:gd name="T12" fmla="*/ 32 w 211"/>
                <a:gd name="T13" fmla="*/ 698 h 783"/>
                <a:gd name="T14" fmla="*/ 30 w 211"/>
                <a:gd name="T15" fmla="*/ 662 h 783"/>
                <a:gd name="T16" fmla="*/ 181 w 211"/>
                <a:gd name="T17" fmla="*/ 692 h 783"/>
                <a:gd name="T18" fmla="*/ 180 w 211"/>
                <a:gd name="T19" fmla="*/ 704 h 783"/>
                <a:gd name="T20" fmla="*/ 175 w 211"/>
                <a:gd name="T21" fmla="*/ 716 h 783"/>
                <a:gd name="T22" fmla="*/ 167 w 211"/>
                <a:gd name="T23" fmla="*/ 726 h 783"/>
                <a:gd name="T24" fmla="*/ 158 w 211"/>
                <a:gd name="T25" fmla="*/ 735 h 783"/>
                <a:gd name="T26" fmla="*/ 135 w 211"/>
                <a:gd name="T27" fmla="*/ 748 h 783"/>
                <a:gd name="T28" fmla="*/ 123 w 211"/>
                <a:gd name="T29" fmla="*/ 751 h 783"/>
                <a:gd name="T30" fmla="*/ 110 w 211"/>
                <a:gd name="T31" fmla="*/ 752 h 783"/>
                <a:gd name="T32" fmla="*/ 172 w 211"/>
                <a:gd name="T33" fmla="*/ 179 h 783"/>
                <a:gd name="T34" fmla="*/ 106 w 211"/>
                <a:gd name="T35" fmla="*/ 47 h 783"/>
                <a:gd name="T36" fmla="*/ 181 w 211"/>
                <a:gd name="T37" fmla="*/ 602 h 783"/>
                <a:gd name="T38" fmla="*/ 30 w 211"/>
                <a:gd name="T39" fmla="*/ 632 h 783"/>
                <a:gd name="T40" fmla="*/ 181 w 211"/>
                <a:gd name="T41" fmla="*/ 209 h 783"/>
                <a:gd name="T42" fmla="*/ 121 w 211"/>
                <a:gd name="T43" fmla="*/ 572 h 783"/>
                <a:gd name="T44" fmla="*/ 181 w 211"/>
                <a:gd name="T45" fmla="*/ 209 h 783"/>
                <a:gd name="T46" fmla="*/ 91 w 211"/>
                <a:gd name="T47" fmla="*/ 572 h 783"/>
                <a:gd name="T48" fmla="*/ 30 w 211"/>
                <a:gd name="T49" fmla="*/ 209 h 783"/>
                <a:gd name="T50" fmla="*/ 210 w 211"/>
                <a:gd name="T51" fmla="*/ 188 h 783"/>
                <a:gd name="T52" fmla="*/ 118 w 211"/>
                <a:gd name="T53" fmla="*/ 4 h 783"/>
                <a:gd name="T54" fmla="*/ 110 w 211"/>
                <a:gd name="T55" fmla="*/ 0 h 783"/>
                <a:gd name="T56" fmla="*/ 103 w 211"/>
                <a:gd name="T57" fmla="*/ 0 h 783"/>
                <a:gd name="T58" fmla="*/ 95 w 211"/>
                <a:gd name="T59" fmla="*/ 4 h 783"/>
                <a:gd name="T60" fmla="*/ 3 w 211"/>
                <a:gd name="T61" fmla="*/ 188 h 783"/>
                <a:gd name="T62" fmla="*/ 3 w 211"/>
                <a:gd name="T63" fmla="*/ 188 h 783"/>
                <a:gd name="T64" fmla="*/ 0 w 211"/>
                <a:gd name="T65" fmla="*/ 194 h 783"/>
                <a:gd name="T66" fmla="*/ 1 w 211"/>
                <a:gd name="T67" fmla="*/ 702 h 783"/>
                <a:gd name="T68" fmla="*/ 7 w 211"/>
                <a:gd name="T69" fmla="*/ 719 h 783"/>
                <a:gd name="T70" fmla="*/ 15 w 211"/>
                <a:gd name="T71" fmla="*/ 735 h 783"/>
                <a:gd name="T72" fmla="*/ 28 w 211"/>
                <a:gd name="T73" fmla="*/ 750 h 783"/>
                <a:gd name="T74" fmla="*/ 44 w 211"/>
                <a:gd name="T75" fmla="*/ 762 h 783"/>
                <a:gd name="T76" fmla="*/ 62 w 211"/>
                <a:gd name="T77" fmla="*/ 772 h 783"/>
                <a:gd name="T78" fmla="*/ 81 w 211"/>
                <a:gd name="T79" fmla="*/ 778 h 783"/>
                <a:gd name="T80" fmla="*/ 100 w 211"/>
                <a:gd name="T81" fmla="*/ 783 h 783"/>
                <a:gd name="T82" fmla="*/ 119 w 211"/>
                <a:gd name="T83" fmla="*/ 783 h 783"/>
                <a:gd name="T84" fmla="*/ 137 w 211"/>
                <a:gd name="T85" fmla="*/ 778 h 783"/>
                <a:gd name="T86" fmla="*/ 155 w 211"/>
                <a:gd name="T87" fmla="*/ 772 h 783"/>
                <a:gd name="T88" fmla="*/ 171 w 211"/>
                <a:gd name="T89" fmla="*/ 762 h 783"/>
                <a:gd name="T90" fmla="*/ 185 w 211"/>
                <a:gd name="T91" fmla="*/ 750 h 783"/>
                <a:gd name="T92" fmla="*/ 197 w 211"/>
                <a:gd name="T93" fmla="*/ 736 h 783"/>
                <a:gd name="T94" fmla="*/ 207 w 211"/>
                <a:gd name="T95" fmla="*/ 720 h 783"/>
                <a:gd name="T96" fmla="*/ 211 w 211"/>
                <a:gd name="T97" fmla="*/ 702 h 783"/>
                <a:gd name="T98" fmla="*/ 211 w 211"/>
                <a:gd name="T99" fmla="*/ 194 h 783"/>
                <a:gd name="T100" fmla="*/ 210 w 211"/>
                <a:gd name="T101" fmla="*/ 188 h 783"/>
                <a:gd name="T102" fmla="*/ 210 w 211"/>
                <a:gd name="T103" fmla="*/ 188 h 7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11" h="783">
                  <a:moveTo>
                    <a:pt x="110" y="752"/>
                  </a:moveTo>
                  <a:lnTo>
                    <a:pt x="104" y="752"/>
                  </a:lnTo>
                  <a:lnTo>
                    <a:pt x="96" y="751"/>
                  </a:lnTo>
                  <a:lnTo>
                    <a:pt x="90" y="749"/>
                  </a:lnTo>
                  <a:lnTo>
                    <a:pt x="83" y="747"/>
                  </a:lnTo>
                  <a:lnTo>
                    <a:pt x="69" y="742"/>
                  </a:lnTo>
                  <a:lnTo>
                    <a:pt x="57" y="734"/>
                  </a:lnTo>
                  <a:lnTo>
                    <a:pt x="52" y="730"/>
                  </a:lnTo>
                  <a:lnTo>
                    <a:pt x="47" y="726"/>
                  </a:lnTo>
                  <a:lnTo>
                    <a:pt x="42" y="720"/>
                  </a:lnTo>
                  <a:lnTo>
                    <a:pt x="38" y="715"/>
                  </a:lnTo>
                  <a:lnTo>
                    <a:pt x="35" y="709"/>
                  </a:lnTo>
                  <a:lnTo>
                    <a:pt x="33" y="704"/>
                  </a:lnTo>
                  <a:lnTo>
                    <a:pt x="32" y="698"/>
                  </a:lnTo>
                  <a:lnTo>
                    <a:pt x="30" y="692"/>
                  </a:lnTo>
                  <a:lnTo>
                    <a:pt x="30" y="662"/>
                  </a:lnTo>
                  <a:lnTo>
                    <a:pt x="181" y="662"/>
                  </a:lnTo>
                  <a:lnTo>
                    <a:pt x="181" y="692"/>
                  </a:lnTo>
                  <a:lnTo>
                    <a:pt x="181" y="699"/>
                  </a:lnTo>
                  <a:lnTo>
                    <a:pt x="180" y="704"/>
                  </a:lnTo>
                  <a:lnTo>
                    <a:pt x="178" y="711"/>
                  </a:lnTo>
                  <a:lnTo>
                    <a:pt x="175" y="716"/>
                  </a:lnTo>
                  <a:lnTo>
                    <a:pt x="171" y="721"/>
                  </a:lnTo>
                  <a:lnTo>
                    <a:pt x="167" y="726"/>
                  </a:lnTo>
                  <a:lnTo>
                    <a:pt x="163" y="731"/>
                  </a:lnTo>
                  <a:lnTo>
                    <a:pt x="158" y="735"/>
                  </a:lnTo>
                  <a:lnTo>
                    <a:pt x="147" y="743"/>
                  </a:lnTo>
                  <a:lnTo>
                    <a:pt x="135" y="748"/>
                  </a:lnTo>
                  <a:lnTo>
                    <a:pt x="128" y="750"/>
                  </a:lnTo>
                  <a:lnTo>
                    <a:pt x="123" y="751"/>
                  </a:lnTo>
                  <a:lnTo>
                    <a:pt x="117" y="752"/>
                  </a:lnTo>
                  <a:lnTo>
                    <a:pt x="110" y="752"/>
                  </a:lnTo>
                  <a:close/>
                  <a:moveTo>
                    <a:pt x="106" y="47"/>
                  </a:moveTo>
                  <a:lnTo>
                    <a:pt x="172" y="179"/>
                  </a:lnTo>
                  <a:lnTo>
                    <a:pt x="40" y="179"/>
                  </a:lnTo>
                  <a:lnTo>
                    <a:pt x="106" y="47"/>
                  </a:lnTo>
                  <a:close/>
                  <a:moveTo>
                    <a:pt x="30" y="602"/>
                  </a:moveTo>
                  <a:lnTo>
                    <a:pt x="181" y="602"/>
                  </a:lnTo>
                  <a:lnTo>
                    <a:pt x="181" y="632"/>
                  </a:lnTo>
                  <a:lnTo>
                    <a:pt x="30" y="632"/>
                  </a:lnTo>
                  <a:lnTo>
                    <a:pt x="30" y="602"/>
                  </a:lnTo>
                  <a:close/>
                  <a:moveTo>
                    <a:pt x="181" y="209"/>
                  </a:moveTo>
                  <a:lnTo>
                    <a:pt x="181" y="572"/>
                  </a:lnTo>
                  <a:lnTo>
                    <a:pt x="121" y="572"/>
                  </a:lnTo>
                  <a:lnTo>
                    <a:pt x="121" y="209"/>
                  </a:lnTo>
                  <a:lnTo>
                    <a:pt x="181" y="209"/>
                  </a:lnTo>
                  <a:close/>
                  <a:moveTo>
                    <a:pt x="91" y="209"/>
                  </a:moveTo>
                  <a:lnTo>
                    <a:pt x="91" y="572"/>
                  </a:lnTo>
                  <a:lnTo>
                    <a:pt x="30" y="572"/>
                  </a:lnTo>
                  <a:lnTo>
                    <a:pt x="30" y="209"/>
                  </a:lnTo>
                  <a:lnTo>
                    <a:pt x="91" y="209"/>
                  </a:lnTo>
                  <a:close/>
                  <a:moveTo>
                    <a:pt x="210" y="188"/>
                  </a:moveTo>
                  <a:lnTo>
                    <a:pt x="120" y="7"/>
                  </a:lnTo>
                  <a:lnTo>
                    <a:pt x="118" y="4"/>
                  </a:lnTo>
                  <a:lnTo>
                    <a:pt x="114" y="1"/>
                  </a:lnTo>
                  <a:lnTo>
                    <a:pt x="110" y="0"/>
                  </a:lnTo>
                  <a:lnTo>
                    <a:pt x="106" y="0"/>
                  </a:lnTo>
                  <a:lnTo>
                    <a:pt x="103" y="0"/>
                  </a:lnTo>
                  <a:lnTo>
                    <a:pt x="98" y="1"/>
                  </a:lnTo>
                  <a:lnTo>
                    <a:pt x="95" y="4"/>
                  </a:lnTo>
                  <a:lnTo>
                    <a:pt x="93" y="7"/>
                  </a:lnTo>
                  <a:lnTo>
                    <a:pt x="3" y="188"/>
                  </a:lnTo>
                  <a:lnTo>
                    <a:pt x="3" y="188"/>
                  </a:lnTo>
                  <a:lnTo>
                    <a:pt x="3" y="188"/>
                  </a:lnTo>
                  <a:lnTo>
                    <a:pt x="1" y="191"/>
                  </a:lnTo>
                  <a:lnTo>
                    <a:pt x="0" y="194"/>
                  </a:lnTo>
                  <a:lnTo>
                    <a:pt x="0" y="692"/>
                  </a:lnTo>
                  <a:lnTo>
                    <a:pt x="1" y="702"/>
                  </a:lnTo>
                  <a:lnTo>
                    <a:pt x="4" y="711"/>
                  </a:lnTo>
                  <a:lnTo>
                    <a:pt x="7" y="719"/>
                  </a:lnTo>
                  <a:lnTo>
                    <a:pt x="10" y="728"/>
                  </a:lnTo>
                  <a:lnTo>
                    <a:pt x="15" y="735"/>
                  </a:lnTo>
                  <a:lnTo>
                    <a:pt x="22" y="743"/>
                  </a:lnTo>
                  <a:lnTo>
                    <a:pt x="28" y="750"/>
                  </a:lnTo>
                  <a:lnTo>
                    <a:pt x="36" y="757"/>
                  </a:lnTo>
                  <a:lnTo>
                    <a:pt x="44" y="762"/>
                  </a:lnTo>
                  <a:lnTo>
                    <a:pt x="53" y="768"/>
                  </a:lnTo>
                  <a:lnTo>
                    <a:pt x="62" y="772"/>
                  </a:lnTo>
                  <a:lnTo>
                    <a:pt x="71" y="776"/>
                  </a:lnTo>
                  <a:lnTo>
                    <a:pt x="81" y="778"/>
                  </a:lnTo>
                  <a:lnTo>
                    <a:pt x="91" y="780"/>
                  </a:lnTo>
                  <a:lnTo>
                    <a:pt x="100" y="783"/>
                  </a:lnTo>
                  <a:lnTo>
                    <a:pt x="110" y="783"/>
                  </a:lnTo>
                  <a:lnTo>
                    <a:pt x="119" y="783"/>
                  </a:lnTo>
                  <a:lnTo>
                    <a:pt x="128" y="780"/>
                  </a:lnTo>
                  <a:lnTo>
                    <a:pt x="137" y="778"/>
                  </a:lnTo>
                  <a:lnTo>
                    <a:pt x="147" y="776"/>
                  </a:lnTo>
                  <a:lnTo>
                    <a:pt x="155" y="772"/>
                  </a:lnTo>
                  <a:lnTo>
                    <a:pt x="163" y="768"/>
                  </a:lnTo>
                  <a:lnTo>
                    <a:pt x="171" y="762"/>
                  </a:lnTo>
                  <a:lnTo>
                    <a:pt x="179" y="757"/>
                  </a:lnTo>
                  <a:lnTo>
                    <a:pt x="185" y="750"/>
                  </a:lnTo>
                  <a:lnTo>
                    <a:pt x="192" y="744"/>
                  </a:lnTo>
                  <a:lnTo>
                    <a:pt x="197" y="736"/>
                  </a:lnTo>
                  <a:lnTo>
                    <a:pt x="203" y="728"/>
                  </a:lnTo>
                  <a:lnTo>
                    <a:pt x="207" y="720"/>
                  </a:lnTo>
                  <a:lnTo>
                    <a:pt x="209" y="711"/>
                  </a:lnTo>
                  <a:lnTo>
                    <a:pt x="211" y="702"/>
                  </a:lnTo>
                  <a:lnTo>
                    <a:pt x="211" y="692"/>
                  </a:lnTo>
                  <a:lnTo>
                    <a:pt x="211" y="194"/>
                  </a:lnTo>
                  <a:lnTo>
                    <a:pt x="211" y="191"/>
                  </a:lnTo>
                  <a:lnTo>
                    <a:pt x="210" y="188"/>
                  </a:lnTo>
                  <a:lnTo>
                    <a:pt x="210" y="188"/>
                  </a:lnTo>
                  <a:lnTo>
                    <a:pt x="210" y="18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ea typeface="+mn-ea"/>
                <a:cs typeface="+mn-cs"/>
              </a:endParaRPr>
            </a:p>
          </p:txBody>
        </p:sp>
        <p:sp>
          <p:nvSpPr>
            <p:cNvPr id="231" name="Freeform 86"/>
            <p:cNvSpPr>
              <a:spLocks noEditPoints="1"/>
            </p:cNvSpPr>
            <p:nvPr/>
          </p:nvSpPr>
          <p:spPr bwMode="auto">
            <a:xfrm>
              <a:off x="1593850" y="1925638"/>
              <a:ext cx="85725" cy="287338"/>
            </a:xfrm>
            <a:custGeom>
              <a:avLst/>
              <a:gdLst>
                <a:gd name="T0" fmla="*/ 32 w 273"/>
                <a:gd name="T1" fmla="*/ 754 h 905"/>
                <a:gd name="T2" fmla="*/ 112 w 273"/>
                <a:gd name="T3" fmla="*/ 753 h 905"/>
                <a:gd name="T4" fmla="*/ 119 w 273"/>
                <a:gd name="T5" fmla="*/ 748 h 905"/>
                <a:gd name="T6" fmla="*/ 122 w 273"/>
                <a:gd name="T7" fmla="*/ 739 h 905"/>
                <a:gd name="T8" fmla="*/ 119 w 273"/>
                <a:gd name="T9" fmla="*/ 730 h 905"/>
                <a:gd name="T10" fmla="*/ 112 w 273"/>
                <a:gd name="T11" fmla="*/ 725 h 905"/>
                <a:gd name="T12" fmla="*/ 32 w 273"/>
                <a:gd name="T13" fmla="*/ 724 h 905"/>
                <a:gd name="T14" fmla="*/ 109 w 273"/>
                <a:gd name="T15" fmla="*/ 602 h 905"/>
                <a:gd name="T16" fmla="*/ 118 w 273"/>
                <a:gd name="T17" fmla="*/ 599 h 905"/>
                <a:gd name="T18" fmla="*/ 121 w 273"/>
                <a:gd name="T19" fmla="*/ 591 h 905"/>
                <a:gd name="T20" fmla="*/ 121 w 273"/>
                <a:gd name="T21" fmla="*/ 582 h 905"/>
                <a:gd name="T22" fmla="*/ 114 w 273"/>
                <a:gd name="T23" fmla="*/ 576 h 905"/>
                <a:gd name="T24" fmla="*/ 107 w 273"/>
                <a:gd name="T25" fmla="*/ 573 h 905"/>
                <a:gd name="T26" fmla="*/ 107 w 273"/>
                <a:gd name="T27" fmla="*/ 452 h 905"/>
                <a:gd name="T28" fmla="*/ 114 w 273"/>
                <a:gd name="T29" fmla="*/ 450 h 905"/>
                <a:gd name="T30" fmla="*/ 121 w 273"/>
                <a:gd name="T31" fmla="*/ 443 h 905"/>
                <a:gd name="T32" fmla="*/ 121 w 273"/>
                <a:gd name="T33" fmla="*/ 435 h 905"/>
                <a:gd name="T34" fmla="*/ 118 w 273"/>
                <a:gd name="T35" fmla="*/ 427 h 905"/>
                <a:gd name="T36" fmla="*/ 109 w 273"/>
                <a:gd name="T37" fmla="*/ 423 h 905"/>
                <a:gd name="T38" fmla="*/ 32 w 273"/>
                <a:gd name="T39" fmla="*/ 301 h 905"/>
                <a:gd name="T40" fmla="*/ 112 w 273"/>
                <a:gd name="T41" fmla="*/ 300 h 905"/>
                <a:gd name="T42" fmla="*/ 119 w 273"/>
                <a:gd name="T43" fmla="*/ 295 h 905"/>
                <a:gd name="T44" fmla="*/ 122 w 273"/>
                <a:gd name="T45" fmla="*/ 286 h 905"/>
                <a:gd name="T46" fmla="*/ 119 w 273"/>
                <a:gd name="T47" fmla="*/ 278 h 905"/>
                <a:gd name="T48" fmla="*/ 112 w 273"/>
                <a:gd name="T49" fmla="*/ 272 h 905"/>
                <a:gd name="T50" fmla="*/ 32 w 273"/>
                <a:gd name="T51" fmla="*/ 271 h 905"/>
                <a:gd name="T52" fmla="*/ 109 w 273"/>
                <a:gd name="T53" fmla="*/ 151 h 905"/>
                <a:gd name="T54" fmla="*/ 118 w 273"/>
                <a:gd name="T55" fmla="*/ 147 h 905"/>
                <a:gd name="T56" fmla="*/ 121 w 273"/>
                <a:gd name="T57" fmla="*/ 139 h 905"/>
                <a:gd name="T58" fmla="*/ 121 w 273"/>
                <a:gd name="T59" fmla="*/ 130 h 905"/>
                <a:gd name="T60" fmla="*/ 114 w 273"/>
                <a:gd name="T61" fmla="*/ 123 h 905"/>
                <a:gd name="T62" fmla="*/ 107 w 273"/>
                <a:gd name="T63" fmla="*/ 121 h 905"/>
                <a:gd name="T64" fmla="*/ 242 w 273"/>
                <a:gd name="T65" fmla="*/ 30 h 905"/>
                <a:gd name="T66" fmla="*/ 17 w 273"/>
                <a:gd name="T67" fmla="*/ 0 h 905"/>
                <a:gd name="T68" fmla="*/ 8 w 273"/>
                <a:gd name="T69" fmla="*/ 2 h 905"/>
                <a:gd name="T70" fmla="*/ 3 w 273"/>
                <a:gd name="T71" fmla="*/ 9 h 905"/>
                <a:gd name="T72" fmla="*/ 1 w 273"/>
                <a:gd name="T73" fmla="*/ 890 h 905"/>
                <a:gd name="T74" fmla="*/ 4 w 273"/>
                <a:gd name="T75" fmla="*/ 898 h 905"/>
                <a:gd name="T76" fmla="*/ 10 w 273"/>
                <a:gd name="T77" fmla="*/ 904 h 905"/>
                <a:gd name="T78" fmla="*/ 257 w 273"/>
                <a:gd name="T79" fmla="*/ 905 h 905"/>
                <a:gd name="T80" fmla="*/ 266 w 273"/>
                <a:gd name="T81" fmla="*/ 902 h 905"/>
                <a:gd name="T82" fmla="*/ 271 w 273"/>
                <a:gd name="T83" fmla="*/ 895 h 905"/>
                <a:gd name="T84" fmla="*/ 273 w 273"/>
                <a:gd name="T85" fmla="*/ 15 h 905"/>
                <a:gd name="T86" fmla="*/ 269 w 273"/>
                <a:gd name="T87" fmla="*/ 7 h 905"/>
                <a:gd name="T88" fmla="*/ 263 w 273"/>
                <a:gd name="T89" fmla="*/ 1 h 905"/>
                <a:gd name="T90" fmla="*/ 257 w 273"/>
                <a:gd name="T91" fmla="*/ 0 h 9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73" h="905">
                  <a:moveTo>
                    <a:pt x="242" y="874"/>
                  </a:moveTo>
                  <a:lnTo>
                    <a:pt x="32" y="874"/>
                  </a:lnTo>
                  <a:lnTo>
                    <a:pt x="32" y="754"/>
                  </a:lnTo>
                  <a:lnTo>
                    <a:pt x="107" y="754"/>
                  </a:lnTo>
                  <a:lnTo>
                    <a:pt x="109" y="754"/>
                  </a:lnTo>
                  <a:lnTo>
                    <a:pt x="112" y="753"/>
                  </a:lnTo>
                  <a:lnTo>
                    <a:pt x="114" y="751"/>
                  </a:lnTo>
                  <a:lnTo>
                    <a:pt x="118" y="750"/>
                  </a:lnTo>
                  <a:lnTo>
                    <a:pt x="119" y="748"/>
                  </a:lnTo>
                  <a:lnTo>
                    <a:pt x="121" y="744"/>
                  </a:lnTo>
                  <a:lnTo>
                    <a:pt x="121" y="742"/>
                  </a:lnTo>
                  <a:lnTo>
                    <a:pt x="122" y="739"/>
                  </a:lnTo>
                  <a:lnTo>
                    <a:pt x="121" y="736"/>
                  </a:lnTo>
                  <a:lnTo>
                    <a:pt x="121" y="733"/>
                  </a:lnTo>
                  <a:lnTo>
                    <a:pt x="119" y="730"/>
                  </a:lnTo>
                  <a:lnTo>
                    <a:pt x="118" y="728"/>
                  </a:lnTo>
                  <a:lnTo>
                    <a:pt x="114" y="726"/>
                  </a:lnTo>
                  <a:lnTo>
                    <a:pt x="112" y="725"/>
                  </a:lnTo>
                  <a:lnTo>
                    <a:pt x="109" y="724"/>
                  </a:lnTo>
                  <a:lnTo>
                    <a:pt x="107" y="724"/>
                  </a:lnTo>
                  <a:lnTo>
                    <a:pt x="32" y="724"/>
                  </a:lnTo>
                  <a:lnTo>
                    <a:pt x="32" y="604"/>
                  </a:lnTo>
                  <a:lnTo>
                    <a:pt x="107" y="604"/>
                  </a:lnTo>
                  <a:lnTo>
                    <a:pt x="109" y="602"/>
                  </a:lnTo>
                  <a:lnTo>
                    <a:pt x="112" y="602"/>
                  </a:lnTo>
                  <a:lnTo>
                    <a:pt x="114" y="600"/>
                  </a:lnTo>
                  <a:lnTo>
                    <a:pt x="118" y="599"/>
                  </a:lnTo>
                  <a:lnTo>
                    <a:pt x="119" y="596"/>
                  </a:lnTo>
                  <a:lnTo>
                    <a:pt x="121" y="594"/>
                  </a:lnTo>
                  <a:lnTo>
                    <a:pt x="121" y="591"/>
                  </a:lnTo>
                  <a:lnTo>
                    <a:pt x="122" y="588"/>
                  </a:lnTo>
                  <a:lnTo>
                    <a:pt x="121" y="585"/>
                  </a:lnTo>
                  <a:lnTo>
                    <a:pt x="121" y="582"/>
                  </a:lnTo>
                  <a:lnTo>
                    <a:pt x="119" y="580"/>
                  </a:lnTo>
                  <a:lnTo>
                    <a:pt x="118" y="578"/>
                  </a:lnTo>
                  <a:lnTo>
                    <a:pt x="114" y="576"/>
                  </a:lnTo>
                  <a:lnTo>
                    <a:pt x="112" y="574"/>
                  </a:lnTo>
                  <a:lnTo>
                    <a:pt x="109" y="573"/>
                  </a:lnTo>
                  <a:lnTo>
                    <a:pt x="107" y="573"/>
                  </a:lnTo>
                  <a:lnTo>
                    <a:pt x="32" y="573"/>
                  </a:lnTo>
                  <a:lnTo>
                    <a:pt x="32" y="452"/>
                  </a:lnTo>
                  <a:lnTo>
                    <a:pt x="107" y="452"/>
                  </a:lnTo>
                  <a:lnTo>
                    <a:pt x="109" y="452"/>
                  </a:lnTo>
                  <a:lnTo>
                    <a:pt x="112" y="451"/>
                  </a:lnTo>
                  <a:lnTo>
                    <a:pt x="114" y="450"/>
                  </a:lnTo>
                  <a:lnTo>
                    <a:pt x="118" y="448"/>
                  </a:lnTo>
                  <a:lnTo>
                    <a:pt x="119" y="445"/>
                  </a:lnTo>
                  <a:lnTo>
                    <a:pt x="121" y="443"/>
                  </a:lnTo>
                  <a:lnTo>
                    <a:pt x="121" y="440"/>
                  </a:lnTo>
                  <a:lnTo>
                    <a:pt x="122" y="437"/>
                  </a:lnTo>
                  <a:lnTo>
                    <a:pt x="121" y="435"/>
                  </a:lnTo>
                  <a:lnTo>
                    <a:pt x="121" y="431"/>
                  </a:lnTo>
                  <a:lnTo>
                    <a:pt x="119" y="429"/>
                  </a:lnTo>
                  <a:lnTo>
                    <a:pt x="118" y="427"/>
                  </a:lnTo>
                  <a:lnTo>
                    <a:pt x="114" y="425"/>
                  </a:lnTo>
                  <a:lnTo>
                    <a:pt x="112" y="424"/>
                  </a:lnTo>
                  <a:lnTo>
                    <a:pt x="109" y="423"/>
                  </a:lnTo>
                  <a:lnTo>
                    <a:pt x="107" y="422"/>
                  </a:lnTo>
                  <a:lnTo>
                    <a:pt x="32" y="422"/>
                  </a:lnTo>
                  <a:lnTo>
                    <a:pt x="32" y="301"/>
                  </a:lnTo>
                  <a:lnTo>
                    <a:pt x="107" y="301"/>
                  </a:lnTo>
                  <a:lnTo>
                    <a:pt x="109" y="301"/>
                  </a:lnTo>
                  <a:lnTo>
                    <a:pt x="112" y="300"/>
                  </a:lnTo>
                  <a:lnTo>
                    <a:pt x="114" y="299"/>
                  </a:lnTo>
                  <a:lnTo>
                    <a:pt x="118" y="297"/>
                  </a:lnTo>
                  <a:lnTo>
                    <a:pt x="119" y="295"/>
                  </a:lnTo>
                  <a:lnTo>
                    <a:pt x="121" y="293"/>
                  </a:lnTo>
                  <a:lnTo>
                    <a:pt x="121" y="290"/>
                  </a:lnTo>
                  <a:lnTo>
                    <a:pt x="122" y="286"/>
                  </a:lnTo>
                  <a:lnTo>
                    <a:pt x="121" y="283"/>
                  </a:lnTo>
                  <a:lnTo>
                    <a:pt x="121" y="281"/>
                  </a:lnTo>
                  <a:lnTo>
                    <a:pt x="119" y="278"/>
                  </a:lnTo>
                  <a:lnTo>
                    <a:pt x="118" y="276"/>
                  </a:lnTo>
                  <a:lnTo>
                    <a:pt x="114" y="274"/>
                  </a:lnTo>
                  <a:lnTo>
                    <a:pt x="112" y="272"/>
                  </a:lnTo>
                  <a:lnTo>
                    <a:pt x="109" y="272"/>
                  </a:lnTo>
                  <a:lnTo>
                    <a:pt x="107" y="271"/>
                  </a:lnTo>
                  <a:lnTo>
                    <a:pt x="32" y="271"/>
                  </a:lnTo>
                  <a:lnTo>
                    <a:pt x="32" y="151"/>
                  </a:lnTo>
                  <a:lnTo>
                    <a:pt x="107" y="151"/>
                  </a:lnTo>
                  <a:lnTo>
                    <a:pt x="109" y="151"/>
                  </a:lnTo>
                  <a:lnTo>
                    <a:pt x="112" y="150"/>
                  </a:lnTo>
                  <a:lnTo>
                    <a:pt x="114" y="149"/>
                  </a:lnTo>
                  <a:lnTo>
                    <a:pt x="118" y="147"/>
                  </a:lnTo>
                  <a:lnTo>
                    <a:pt x="119" y="144"/>
                  </a:lnTo>
                  <a:lnTo>
                    <a:pt x="121" y="141"/>
                  </a:lnTo>
                  <a:lnTo>
                    <a:pt x="121" y="139"/>
                  </a:lnTo>
                  <a:lnTo>
                    <a:pt x="122" y="136"/>
                  </a:lnTo>
                  <a:lnTo>
                    <a:pt x="121" y="133"/>
                  </a:lnTo>
                  <a:lnTo>
                    <a:pt x="121" y="130"/>
                  </a:lnTo>
                  <a:lnTo>
                    <a:pt x="119" y="127"/>
                  </a:lnTo>
                  <a:lnTo>
                    <a:pt x="118" y="125"/>
                  </a:lnTo>
                  <a:lnTo>
                    <a:pt x="114" y="123"/>
                  </a:lnTo>
                  <a:lnTo>
                    <a:pt x="112" y="122"/>
                  </a:lnTo>
                  <a:lnTo>
                    <a:pt x="109" y="121"/>
                  </a:lnTo>
                  <a:lnTo>
                    <a:pt x="107" y="121"/>
                  </a:lnTo>
                  <a:lnTo>
                    <a:pt x="32" y="121"/>
                  </a:lnTo>
                  <a:lnTo>
                    <a:pt x="32" y="30"/>
                  </a:lnTo>
                  <a:lnTo>
                    <a:pt x="242" y="30"/>
                  </a:lnTo>
                  <a:lnTo>
                    <a:pt x="242" y="874"/>
                  </a:lnTo>
                  <a:close/>
                  <a:moveTo>
                    <a:pt x="257" y="0"/>
                  </a:moveTo>
                  <a:lnTo>
                    <a:pt x="17" y="0"/>
                  </a:lnTo>
                  <a:lnTo>
                    <a:pt x="13" y="0"/>
                  </a:lnTo>
                  <a:lnTo>
                    <a:pt x="10" y="1"/>
                  </a:lnTo>
                  <a:lnTo>
                    <a:pt x="8" y="2"/>
                  </a:lnTo>
                  <a:lnTo>
                    <a:pt x="6" y="5"/>
                  </a:lnTo>
                  <a:lnTo>
                    <a:pt x="4" y="7"/>
                  </a:lnTo>
                  <a:lnTo>
                    <a:pt x="3" y="9"/>
                  </a:lnTo>
                  <a:lnTo>
                    <a:pt x="1" y="12"/>
                  </a:lnTo>
                  <a:lnTo>
                    <a:pt x="0" y="15"/>
                  </a:lnTo>
                  <a:lnTo>
                    <a:pt x="1" y="890"/>
                  </a:lnTo>
                  <a:lnTo>
                    <a:pt x="1" y="893"/>
                  </a:lnTo>
                  <a:lnTo>
                    <a:pt x="3" y="895"/>
                  </a:lnTo>
                  <a:lnTo>
                    <a:pt x="4" y="898"/>
                  </a:lnTo>
                  <a:lnTo>
                    <a:pt x="6" y="900"/>
                  </a:lnTo>
                  <a:lnTo>
                    <a:pt x="8" y="902"/>
                  </a:lnTo>
                  <a:lnTo>
                    <a:pt x="10" y="904"/>
                  </a:lnTo>
                  <a:lnTo>
                    <a:pt x="13" y="905"/>
                  </a:lnTo>
                  <a:lnTo>
                    <a:pt x="17" y="905"/>
                  </a:lnTo>
                  <a:lnTo>
                    <a:pt x="257" y="905"/>
                  </a:lnTo>
                  <a:lnTo>
                    <a:pt x="261" y="905"/>
                  </a:lnTo>
                  <a:lnTo>
                    <a:pt x="263" y="904"/>
                  </a:lnTo>
                  <a:lnTo>
                    <a:pt x="266" y="902"/>
                  </a:lnTo>
                  <a:lnTo>
                    <a:pt x="268" y="900"/>
                  </a:lnTo>
                  <a:lnTo>
                    <a:pt x="269" y="898"/>
                  </a:lnTo>
                  <a:lnTo>
                    <a:pt x="271" y="895"/>
                  </a:lnTo>
                  <a:lnTo>
                    <a:pt x="273" y="893"/>
                  </a:lnTo>
                  <a:lnTo>
                    <a:pt x="273" y="890"/>
                  </a:lnTo>
                  <a:lnTo>
                    <a:pt x="273" y="15"/>
                  </a:lnTo>
                  <a:lnTo>
                    <a:pt x="273" y="12"/>
                  </a:lnTo>
                  <a:lnTo>
                    <a:pt x="271" y="9"/>
                  </a:lnTo>
                  <a:lnTo>
                    <a:pt x="269" y="7"/>
                  </a:lnTo>
                  <a:lnTo>
                    <a:pt x="268" y="5"/>
                  </a:lnTo>
                  <a:lnTo>
                    <a:pt x="266" y="2"/>
                  </a:lnTo>
                  <a:lnTo>
                    <a:pt x="263" y="1"/>
                  </a:lnTo>
                  <a:lnTo>
                    <a:pt x="261" y="0"/>
                  </a:lnTo>
                  <a:lnTo>
                    <a:pt x="257" y="0"/>
                  </a:lnTo>
                  <a:lnTo>
                    <a:pt x="25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ea typeface="+mn-ea"/>
                <a:cs typeface="+mn-cs"/>
              </a:endParaRPr>
            </a:p>
          </p:txBody>
        </p:sp>
      </p:grpSp>
      <p:grpSp>
        <p:nvGrpSpPr>
          <p:cNvPr id="226" name="Group 225"/>
          <p:cNvGrpSpPr/>
          <p:nvPr/>
        </p:nvGrpSpPr>
        <p:grpSpPr>
          <a:xfrm>
            <a:off x="4604301" y="4126315"/>
            <a:ext cx="288132" cy="376237"/>
            <a:chOff x="1177620" y="4126315"/>
            <a:chExt cx="288132" cy="376237"/>
          </a:xfrm>
          <a:solidFill>
            <a:schemeClr val="bg1"/>
          </a:solidFill>
        </p:grpSpPr>
        <p:cxnSp>
          <p:nvCxnSpPr>
            <p:cNvPr id="227" name="Straight Connector 226"/>
            <p:cNvCxnSpPr/>
            <p:nvPr/>
          </p:nvCxnSpPr>
          <p:spPr>
            <a:xfrm>
              <a:off x="1177620" y="4126315"/>
              <a:ext cx="288132" cy="0"/>
            </a:xfrm>
            <a:prstGeom prst="line">
              <a:avLst/>
            </a:prstGeom>
            <a:grpFill/>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29" name="Straight Connector 228"/>
            <p:cNvCxnSpPr/>
            <p:nvPr/>
          </p:nvCxnSpPr>
          <p:spPr>
            <a:xfrm>
              <a:off x="1177620" y="4502552"/>
              <a:ext cx="288132" cy="0"/>
            </a:xfrm>
            <a:prstGeom prst="line">
              <a:avLst/>
            </a:prstGeom>
            <a:grpFill/>
            <a:ln w="3175">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233" name="Group 232"/>
          <p:cNvGrpSpPr/>
          <p:nvPr/>
        </p:nvGrpSpPr>
        <p:grpSpPr>
          <a:xfrm>
            <a:off x="6982252" y="4126315"/>
            <a:ext cx="288132" cy="376237"/>
            <a:chOff x="1177620" y="4126315"/>
            <a:chExt cx="288132" cy="376237"/>
          </a:xfrm>
          <a:solidFill>
            <a:schemeClr val="bg1"/>
          </a:solidFill>
        </p:grpSpPr>
        <p:cxnSp>
          <p:nvCxnSpPr>
            <p:cNvPr id="240" name="Straight Connector 239"/>
            <p:cNvCxnSpPr/>
            <p:nvPr/>
          </p:nvCxnSpPr>
          <p:spPr>
            <a:xfrm>
              <a:off x="1177620" y="4126315"/>
              <a:ext cx="288132" cy="0"/>
            </a:xfrm>
            <a:prstGeom prst="line">
              <a:avLst/>
            </a:prstGeom>
            <a:grpFill/>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41" name="Straight Connector 240"/>
            <p:cNvCxnSpPr/>
            <p:nvPr/>
          </p:nvCxnSpPr>
          <p:spPr>
            <a:xfrm>
              <a:off x="1177620" y="4502552"/>
              <a:ext cx="288132" cy="0"/>
            </a:xfrm>
            <a:prstGeom prst="line">
              <a:avLst/>
            </a:prstGeom>
            <a:grpFill/>
            <a:ln w="3175">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234" name="Group 233"/>
          <p:cNvGrpSpPr>
            <a:grpSpLocks noChangeAspect="1"/>
          </p:cNvGrpSpPr>
          <p:nvPr/>
        </p:nvGrpSpPr>
        <p:grpSpPr>
          <a:xfrm>
            <a:off x="6991372" y="4188433"/>
            <a:ext cx="269893" cy="252000"/>
            <a:chOff x="4906963" y="792163"/>
            <a:chExt cx="287338" cy="268288"/>
          </a:xfrm>
          <a:solidFill>
            <a:schemeClr val="bg1"/>
          </a:solidFill>
          <a:effectLst>
            <a:outerShdw blurRad="25400" dist="25400" dir="5400000" algn="t" rotWithShape="0">
              <a:prstClr val="black">
                <a:alpha val="40000"/>
              </a:prstClr>
            </a:outerShdw>
          </a:effectLst>
        </p:grpSpPr>
        <p:sp>
          <p:nvSpPr>
            <p:cNvPr id="235" name="Freeform 59"/>
            <p:cNvSpPr>
              <a:spLocks noEditPoints="1"/>
            </p:cNvSpPr>
            <p:nvPr/>
          </p:nvSpPr>
          <p:spPr bwMode="auto">
            <a:xfrm>
              <a:off x="4906963" y="792163"/>
              <a:ext cx="287338" cy="268288"/>
            </a:xfrm>
            <a:custGeom>
              <a:avLst/>
              <a:gdLst>
                <a:gd name="T0" fmla="*/ 677 w 905"/>
                <a:gd name="T1" fmla="*/ 807 h 845"/>
                <a:gd name="T2" fmla="*/ 561 w 905"/>
                <a:gd name="T3" fmla="*/ 807 h 845"/>
                <a:gd name="T4" fmla="*/ 313 w 905"/>
                <a:gd name="T5" fmla="*/ 593 h 845"/>
                <a:gd name="T6" fmla="*/ 273 w 905"/>
                <a:gd name="T7" fmla="*/ 565 h 845"/>
                <a:gd name="T8" fmla="*/ 231 w 905"/>
                <a:gd name="T9" fmla="*/ 577 h 845"/>
                <a:gd name="T10" fmla="*/ 217 w 905"/>
                <a:gd name="T11" fmla="*/ 608 h 845"/>
                <a:gd name="T12" fmla="*/ 226 w 905"/>
                <a:gd name="T13" fmla="*/ 646 h 845"/>
                <a:gd name="T14" fmla="*/ 254 w 905"/>
                <a:gd name="T15" fmla="*/ 684 h 845"/>
                <a:gd name="T16" fmla="*/ 265 w 905"/>
                <a:gd name="T17" fmla="*/ 716 h 845"/>
                <a:gd name="T18" fmla="*/ 254 w 905"/>
                <a:gd name="T19" fmla="*/ 748 h 845"/>
                <a:gd name="T20" fmla="*/ 227 w 905"/>
                <a:gd name="T21" fmla="*/ 771 h 845"/>
                <a:gd name="T22" fmla="*/ 193 w 905"/>
                <a:gd name="T23" fmla="*/ 774 h 845"/>
                <a:gd name="T24" fmla="*/ 161 w 905"/>
                <a:gd name="T25" fmla="*/ 758 h 845"/>
                <a:gd name="T26" fmla="*/ 86 w 905"/>
                <a:gd name="T27" fmla="*/ 657 h 845"/>
                <a:gd name="T28" fmla="*/ 42 w 905"/>
                <a:gd name="T29" fmla="*/ 537 h 845"/>
                <a:gd name="T30" fmla="*/ 31 w 905"/>
                <a:gd name="T31" fmla="*/ 408 h 845"/>
                <a:gd name="T32" fmla="*/ 58 w 905"/>
                <a:gd name="T33" fmla="*/ 284 h 845"/>
                <a:gd name="T34" fmla="*/ 120 w 905"/>
                <a:gd name="T35" fmla="*/ 177 h 845"/>
                <a:gd name="T36" fmla="*/ 208 w 905"/>
                <a:gd name="T37" fmla="*/ 97 h 845"/>
                <a:gd name="T38" fmla="*/ 313 w 905"/>
                <a:gd name="T39" fmla="*/ 47 h 845"/>
                <a:gd name="T40" fmla="*/ 430 w 905"/>
                <a:gd name="T41" fmla="*/ 30 h 845"/>
                <a:gd name="T42" fmla="*/ 558 w 905"/>
                <a:gd name="T43" fmla="*/ 49 h 845"/>
                <a:gd name="T44" fmla="*/ 676 w 905"/>
                <a:gd name="T45" fmla="*/ 105 h 845"/>
                <a:gd name="T46" fmla="*/ 773 w 905"/>
                <a:gd name="T47" fmla="*/ 195 h 845"/>
                <a:gd name="T48" fmla="*/ 840 w 905"/>
                <a:gd name="T49" fmla="*/ 303 h 845"/>
                <a:gd name="T50" fmla="*/ 871 w 905"/>
                <a:gd name="T51" fmla="*/ 423 h 845"/>
                <a:gd name="T52" fmla="*/ 869 w 905"/>
                <a:gd name="T53" fmla="*/ 543 h 845"/>
                <a:gd name="T54" fmla="*/ 832 w 905"/>
                <a:gd name="T55" fmla="*/ 658 h 845"/>
                <a:gd name="T56" fmla="*/ 758 w 905"/>
                <a:gd name="T57" fmla="*/ 758 h 845"/>
                <a:gd name="T58" fmla="*/ 673 w 905"/>
                <a:gd name="T59" fmla="*/ 68 h 845"/>
                <a:gd name="T60" fmla="*/ 545 w 905"/>
                <a:gd name="T61" fmla="*/ 14 h 845"/>
                <a:gd name="T62" fmla="*/ 409 w 905"/>
                <a:gd name="T63" fmla="*/ 0 h 845"/>
                <a:gd name="T64" fmla="*/ 284 w 905"/>
                <a:gd name="T65" fmla="*/ 25 h 845"/>
                <a:gd name="T66" fmla="*/ 173 w 905"/>
                <a:gd name="T67" fmla="*/ 84 h 845"/>
                <a:gd name="T68" fmla="*/ 82 w 905"/>
                <a:gd name="T69" fmla="*/ 176 h 845"/>
                <a:gd name="T70" fmla="*/ 23 w 905"/>
                <a:gd name="T71" fmla="*/ 295 h 845"/>
                <a:gd name="T72" fmla="*/ 0 w 905"/>
                <a:gd name="T73" fmla="*/ 429 h 845"/>
                <a:gd name="T74" fmla="*/ 17 w 905"/>
                <a:gd name="T75" fmla="*/ 566 h 845"/>
                <a:gd name="T76" fmla="*/ 71 w 905"/>
                <a:gd name="T77" fmla="*/ 690 h 845"/>
                <a:gd name="T78" fmla="*/ 147 w 905"/>
                <a:gd name="T79" fmla="*/ 786 h 845"/>
                <a:gd name="T80" fmla="*/ 195 w 905"/>
                <a:gd name="T81" fmla="*/ 805 h 845"/>
                <a:gd name="T82" fmla="*/ 246 w 905"/>
                <a:gd name="T83" fmla="*/ 796 h 845"/>
                <a:gd name="T84" fmla="*/ 284 w 905"/>
                <a:gd name="T85" fmla="*/ 758 h 845"/>
                <a:gd name="T86" fmla="*/ 294 w 905"/>
                <a:gd name="T87" fmla="*/ 708 h 845"/>
                <a:gd name="T88" fmla="*/ 273 w 905"/>
                <a:gd name="T89" fmla="*/ 659 h 845"/>
                <a:gd name="T90" fmla="*/ 248 w 905"/>
                <a:gd name="T91" fmla="*/ 614 h 845"/>
                <a:gd name="T92" fmla="*/ 265 w 905"/>
                <a:gd name="T93" fmla="*/ 594 h 845"/>
                <a:gd name="T94" fmla="*/ 473 w 905"/>
                <a:gd name="T95" fmla="*/ 795 h 845"/>
                <a:gd name="T96" fmla="*/ 530 w 905"/>
                <a:gd name="T97" fmla="*/ 828 h 845"/>
                <a:gd name="T98" fmla="*/ 596 w 905"/>
                <a:gd name="T99" fmla="*/ 844 h 845"/>
                <a:gd name="T100" fmla="*/ 664 w 905"/>
                <a:gd name="T101" fmla="*/ 841 h 845"/>
                <a:gd name="T102" fmla="*/ 727 w 905"/>
                <a:gd name="T103" fmla="*/ 819 h 845"/>
                <a:gd name="T104" fmla="*/ 780 w 905"/>
                <a:gd name="T105" fmla="*/ 780 h 845"/>
                <a:gd name="T106" fmla="*/ 858 w 905"/>
                <a:gd name="T107" fmla="*/ 672 h 845"/>
                <a:gd name="T108" fmla="*/ 898 w 905"/>
                <a:gd name="T109" fmla="*/ 550 h 845"/>
                <a:gd name="T110" fmla="*/ 901 w 905"/>
                <a:gd name="T111" fmla="*/ 419 h 845"/>
                <a:gd name="T112" fmla="*/ 868 w 905"/>
                <a:gd name="T113" fmla="*/ 291 h 845"/>
                <a:gd name="T114" fmla="*/ 797 w 905"/>
                <a:gd name="T115" fmla="*/ 175 h 8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905" h="845">
                  <a:moveTo>
                    <a:pt x="758" y="758"/>
                  </a:moveTo>
                  <a:lnTo>
                    <a:pt x="744" y="771"/>
                  </a:lnTo>
                  <a:lnTo>
                    <a:pt x="729" y="783"/>
                  </a:lnTo>
                  <a:lnTo>
                    <a:pt x="712" y="793"/>
                  </a:lnTo>
                  <a:lnTo>
                    <a:pt x="695" y="800"/>
                  </a:lnTo>
                  <a:lnTo>
                    <a:pt x="677" y="807"/>
                  </a:lnTo>
                  <a:lnTo>
                    <a:pt x="658" y="811"/>
                  </a:lnTo>
                  <a:lnTo>
                    <a:pt x="639" y="814"/>
                  </a:lnTo>
                  <a:lnTo>
                    <a:pt x="619" y="815"/>
                  </a:lnTo>
                  <a:lnTo>
                    <a:pt x="599" y="814"/>
                  </a:lnTo>
                  <a:lnTo>
                    <a:pt x="580" y="811"/>
                  </a:lnTo>
                  <a:lnTo>
                    <a:pt x="561" y="807"/>
                  </a:lnTo>
                  <a:lnTo>
                    <a:pt x="542" y="800"/>
                  </a:lnTo>
                  <a:lnTo>
                    <a:pt x="525" y="793"/>
                  </a:lnTo>
                  <a:lnTo>
                    <a:pt x="509" y="783"/>
                  </a:lnTo>
                  <a:lnTo>
                    <a:pt x="493" y="771"/>
                  </a:lnTo>
                  <a:lnTo>
                    <a:pt x="479" y="758"/>
                  </a:lnTo>
                  <a:lnTo>
                    <a:pt x="313" y="593"/>
                  </a:lnTo>
                  <a:lnTo>
                    <a:pt x="306" y="585"/>
                  </a:lnTo>
                  <a:lnTo>
                    <a:pt x="298" y="580"/>
                  </a:lnTo>
                  <a:lnTo>
                    <a:pt x="292" y="574"/>
                  </a:lnTo>
                  <a:lnTo>
                    <a:pt x="285" y="570"/>
                  </a:lnTo>
                  <a:lnTo>
                    <a:pt x="279" y="567"/>
                  </a:lnTo>
                  <a:lnTo>
                    <a:pt x="273" y="565"/>
                  </a:lnTo>
                  <a:lnTo>
                    <a:pt x="267" y="563"/>
                  </a:lnTo>
                  <a:lnTo>
                    <a:pt x="261" y="563"/>
                  </a:lnTo>
                  <a:lnTo>
                    <a:pt x="254" y="563"/>
                  </a:lnTo>
                  <a:lnTo>
                    <a:pt x="245" y="567"/>
                  </a:lnTo>
                  <a:lnTo>
                    <a:pt x="239" y="571"/>
                  </a:lnTo>
                  <a:lnTo>
                    <a:pt x="231" y="577"/>
                  </a:lnTo>
                  <a:lnTo>
                    <a:pt x="227" y="582"/>
                  </a:lnTo>
                  <a:lnTo>
                    <a:pt x="225" y="586"/>
                  </a:lnTo>
                  <a:lnTo>
                    <a:pt x="222" y="590"/>
                  </a:lnTo>
                  <a:lnTo>
                    <a:pt x="220" y="596"/>
                  </a:lnTo>
                  <a:lnTo>
                    <a:pt x="218" y="601"/>
                  </a:lnTo>
                  <a:lnTo>
                    <a:pt x="217" y="608"/>
                  </a:lnTo>
                  <a:lnTo>
                    <a:pt x="217" y="613"/>
                  </a:lnTo>
                  <a:lnTo>
                    <a:pt x="217" y="619"/>
                  </a:lnTo>
                  <a:lnTo>
                    <a:pt x="218" y="626"/>
                  </a:lnTo>
                  <a:lnTo>
                    <a:pt x="220" y="632"/>
                  </a:lnTo>
                  <a:lnTo>
                    <a:pt x="223" y="640"/>
                  </a:lnTo>
                  <a:lnTo>
                    <a:pt x="226" y="646"/>
                  </a:lnTo>
                  <a:lnTo>
                    <a:pt x="229" y="653"/>
                  </a:lnTo>
                  <a:lnTo>
                    <a:pt x="235" y="660"/>
                  </a:lnTo>
                  <a:lnTo>
                    <a:pt x="240" y="667"/>
                  </a:lnTo>
                  <a:lnTo>
                    <a:pt x="246" y="674"/>
                  </a:lnTo>
                  <a:lnTo>
                    <a:pt x="251" y="679"/>
                  </a:lnTo>
                  <a:lnTo>
                    <a:pt x="254" y="684"/>
                  </a:lnTo>
                  <a:lnTo>
                    <a:pt x="257" y="688"/>
                  </a:lnTo>
                  <a:lnTo>
                    <a:pt x="259" y="694"/>
                  </a:lnTo>
                  <a:lnTo>
                    <a:pt x="261" y="699"/>
                  </a:lnTo>
                  <a:lnTo>
                    <a:pt x="263" y="705"/>
                  </a:lnTo>
                  <a:lnTo>
                    <a:pt x="264" y="711"/>
                  </a:lnTo>
                  <a:lnTo>
                    <a:pt x="265" y="716"/>
                  </a:lnTo>
                  <a:lnTo>
                    <a:pt x="264" y="722"/>
                  </a:lnTo>
                  <a:lnTo>
                    <a:pt x="263" y="727"/>
                  </a:lnTo>
                  <a:lnTo>
                    <a:pt x="261" y="733"/>
                  </a:lnTo>
                  <a:lnTo>
                    <a:pt x="259" y="739"/>
                  </a:lnTo>
                  <a:lnTo>
                    <a:pt x="257" y="744"/>
                  </a:lnTo>
                  <a:lnTo>
                    <a:pt x="254" y="748"/>
                  </a:lnTo>
                  <a:lnTo>
                    <a:pt x="251" y="754"/>
                  </a:lnTo>
                  <a:lnTo>
                    <a:pt x="246" y="758"/>
                  </a:lnTo>
                  <a:lnTo>
                    <a:pt x="242" y="762"/>
                  </a:lnTo>
                  <a:lnTo>
                    <a:pt x="237" y="766"/>
                  </a:lnTo>
                  <a:lnTo>
                    <a:pt x="231" y="769"/>
                  </a:lnTo>
                  <a:lnTo>
                    <a:pt x="227" y="771"/>
                  </a:lnTo>
                  <a:lnTo>
                    <a:pt x="221" y="773"/>
                  </a:lnTo>
                  <a:lnTo>
                    <a:pt x="215" y="774"/>
                  </a:lnTo>
                  <a:lnTo>
                    <a:pt x="210" y="775"/>
                  </a:lnTo>
                  <a:lnTo>
                    <a:pt x="204" y="775"/>
                  </a:lnTo>
                  <a:lnTo>
                    <a:pt x="198" y="775"/>
                  </a:lnTo>
                  <a:lnTo>
                    <a:pt x="193" y="774"/>
                  </a:lnTo>
                  <a:lnTo>
                    <a:pt x="187" y="773"/>
                  </a:lnTo>
                  <a:lnTo>
                    <a:pt x="182" y="771"/>
                  </a:lnTo>
                  <a:lnTo>
                    <a:pt x="177" y="769"/>
                  </a:lnTo>
                  <a:lnTo>
                    <a:pt x="171" y="766"/>
                  </a:lnTo>
                  <a:lnTo>
                    <a:pt x="167" y="762"/>
                  </a:lnTo>
                  <a:lnTo>
                    <a:pt x="161" y="758"/>
                  </a:lnTo>
                  <a:lnTo>
                    <a:pt x="147" y="743"/>
                  </a:lnTo>
                  <a:lnTo>
                    <a:pt x="134" y="727"/>
                  </a:lnTo>
                  <a:lnTo>
                    <a:pt x="121" y="710"/>
                  </a:lnTo>
                  <a:lnTo>
                    <a:pt x="109" y="693"/>
                  </a:lnTo>
                  <a:lnTo>
                    <a:pt x="97" y="675"/>
                  </a:lnTo>
                  <a:lnTo>
                    <a:pt x="86" y="657"/>
                  </a:lnTo>
                  <a:lnTo>
                    <a:pt x="76" y="638"/>
                  </a:lnTo>
                  <a:lnTo>
                    <a:pt x="68" y="618"/>
                  </a:lnTo>
                  <a:lnTo>
                    <a:pt x="60" y="599"/>
                  </a:lnTo>
                  <a:lnTo>
                    <a:pt x="53" y="579"/>
                  </a:lnTo>
                  <a:lnTo>
                    <a:pt x="46" y="558"/>
                  </a:lnTo>
                  <a:lnTo>
                    <a:pt x="42" y="537"/>
                  </a:lnTo>
                  <a:lnTo>
                    <a:pt x="38" y="516"/>
                  </a:lnTo>
                  <a:lnTo>
                    <a:pt x="35" y="495"/>
                  </a:lnTo>
                  <a:lnTo>
                    <a:pt x="32" y="473"/>
                  </a:lnTo>
                  <a:lnTo>
                    <a:pt x="30" y="452"/>
                  </a:lnTo>
                  <a:lnTo>
                    <a:pt x="30" y="430"/>
                  </a:lnTo>
                  <a:lnTo>
                    <a:pt x="31" y="408"/>
                  </a:lnTo>
                  <a:lnTo>
                    <a:pt x="33" y="386"/>
                  </a:lnTo>
                  <a:lnTo>
                    <a:pt x="37" y="366"/>
                  </a:lnTo>
                  <a:lnTo>
                    <a:pt x="40" y="344"/>
                  </a:lnTo>
                  <a:lnTo>
                    <a:pt x="45" y="324"/>
                  </a:lnTo>
                  <a:lnTo>
                    <a:pt x="51" y="304"/>
                  </a:lnTo>
                  <a:lnTo>
                    <a:pt x="58" y="284"/>
                  </a:lnTo>
                  <a:lnTo>
                    <a:pt x="66" y="265"/>
                  </a:lnTo>
                  <a:lnTo>
                    <a:pt x="74" y="246"/>
                  </a:lnTo>
                  <a:lnTo>
                    <a:pt x="84" y="228"/>
                  </a:lnTo>
                  <a:lnTo>
                    <a:pt x="95" y="211"/>
                  </a:lnTo>
                  <a:lnTo>
                    <a:pt x="107" y="194"/>
                  </a:lnTo>
                  <a:lnTo>
                    <a:pt x="120" y="177"/>
                  </a:lnTo>
                  <a:lnTo>
                    <a:pt x="132" y="161"/>
                  </a:lnTo>
                  <a:lnTo>
                    <a:pt x="146" y="146"/>
                  </a:lnTo>
                  <a:lnTo>
                    <a:pt x="161" y="132"/>
                  </a:lnTo>
                  <a:lnTo>
                    <a:pt x="177" y="119"/>
                  </a:lnTo>
                  <a:lnTo>
                    <a:pt x="192" y="108"/>
                  </a:lnTo>
                  <a:lnTo>
                    <a:pt x="208" y="97"/>
                  </a:lnTo>
                  <a:lnTo>
                    <a:pt x="224" y="86"/>
                  </a:lnTo>
                  <a:lnTo>
                    <a:pt x="241" y="76"/>
                  </a:lnTo>
                  <a:lnTo>
                    <a:pt x="258" y="68"/>
                  </a:lnTo>
                  <a:lnTo>
                    <a:pt x="277" y="60"/>
                  </a:lnTo>
                  <a:lnTo>
                    <a:pt x="295" y="53"/>
                  </a:lnTo>
                  <a:lnTo>
                    <a:pt x="313" y="47"/>
                  </a:lnTo>
                  <a:lnTo>
                    <a:pt x="332" y="42"/>
                  </a:lnTo>
                  <a:lnTo>
                    <a:pt x="352" y="38"/>
                  </a:lnTo>
                  <a:lnTo>
                    <a:pt x="371" y="34"/>
                  </a:lnTo>
                  <a:lnTo>
                    <a:pt x="391" y="32"/>
                  </a:lnTo>
                  <a:lnTo>
                    <a:pt x="410" y="30"/>
                  </a:lnTo>
                  <a:lnTo>
                    <a:pt x="430" y="30"/>
                  </a:lnTo>
                  <a:lnTo>
                    <a:pt x="452" y="30"/>
                  </a:lnTo>
                  <a:lnTo>
                    <a:pt x="473" y="32"/>
                  </a:lnTo>
                  <a:lnTo>
                    <a:pt x="495" y="34"/>
                  </a:lnTo>
                  <a:lnTo>
                    <a:pt x="516" y="39"/>
                  </a:lnTo>
                  <a:lnTo>
                    <a:pt x="538" y="44"/>
                  </a:lnTo>
                  <a:lnTo>
                    <a:pt x="558" y="49"/>
                  </a:lnTo>
                  <a:lnTo>
                    <a:pt x="579" y="57"/>
                  </a:lnTo>
                  <a:lnTo>
                    <a:pt x="599" y="65"/>
                  </a:lnTo>
                  <a:lnTo>
                    <a:pt x="619" y="73"/>
                  </a:lnTo>
                  <a:lnTo>
                    <a:pt x="638" y="83"/>
                  </a:lnTo>
                  <a:lnTo>
                    <a:pt x="657" y="94"/>
                  </a:lnTo>
                  <a:lnTo>
                    <a:pt x="676" y="105"/>
                  </a:lnTo>
                  <a:lnTo>
                    <a:pt x="694" y="118"/>
                  </a:lnTo>
                  <a:lnTo>
                    <a:pt x="711" y="132"/>
                  </a:lnTo>
                  <a:lnTo>
                    <a:pt x="728" y="146"/>
                  </a:lnTo>
                  <a:lnTo>
                    <a:pt x="743" y="161"/>
                  </a:lnTo>
                  <a:lnTo>
                    <a:pt x="760" y="177"/>
                  </a:lnTo>
                  <a:lnTo>
                    <a:pt x="773" y="195"/>
                  </a:lnTo>
                  <a:lnTo>
                    <a:pt x="787" y="212"/>
                  </a:lnTo>
                  <a:lnTo>
                    <a:pt x="799" y="229"/>
                  </a:lnTo>
                  <a:lnTo>
                    <a:pt x="811" y="247"/>
                  </a:lnTo>
                  <a:lnTo>
                    <a:pt x="822" y="266"/>
                  </a:lnTo>
                  <a:lnTo>
                    <a:pt x="832" y="284"/>
                  </a:lnTo>
                  <a:lnTo>
                    <a:pt x="840" y="303"/>
                  </a:lnTo>
                  <a:lnTo>
                    <a:pt x="848" y="323"/>
                  </a:lnTo>
                  <a:lnTo>
                    <a:pt x="854" y="342"/>
                  </a:lnTo>
                  <a:lnTo>
                    <a:pt x="861" y="362"/>
                  </a:lnTo>
                  <a:lnTo>
                    <a:pt x="865" y="382"/>
                  </a:lnTo>
                  <a:lnTo>
                    <a:pt x="869" y="402"/>
                  </a:lnTo>
                  <a:lnTo>
                    <a:pt x="871" y="423"/>
                  </a:lnTo>
                  <a:lnTo>
                    <a:pt x="874" y="443"/>
                  </a:lnTo>
                  <a:lnTo>
                    <a:pt x="875" y="462"/>
                  </a:lnTo>
                  <a:lnTo>
                    <a:pt x="875" y="483"/>
                  </a:lnTo>
                  <a:lnTo>
                    <a:pt x="874" y="503"/>
                  </a:lnTo>
                  <a:lnTo>
                    <a:pt x="872" y="524"/>
                  </a:lnTo>
                  <a:lnTo>
                    <a:pt x="869" y="543"/>
                  </a:lnTo>
                  <a:lnTo>
                    <a:pt x="865" y="563"/>
                  </a:lnTo>
                  <a:lnTo>
                    <a:pt x="861" y="583"/>
                  </a:lnTo>
                  <a:lnTo>
                    <a:pt x="855" y="602"/>
                  </a:lnTo>
                  <a:lnTo>
                    <a:pt x="848" y="620"/>
                  </a:lnTo>
                  <a:lnTo>
                    <a:pt x="840" y="640"/>
                  </a:lnTo>
                  <a:lnTo>
                    <a:pt x="832" y="658"/>
                  </a:lnTo>
                  <a:lnTo>
                    <a:pt x="822" y="676"/>
                  </a:lnTo>
                  <a:lnTo>
                    <a:pt x="811" y="694"/>
                  </a:lnTo>
                  <a:lnTo>
                    <a:pt x="799" y="711"/>
                  </a:lnTo>
                  <a:lnTo>
                    <a:pt x="787" y="727"/>
                  </a:lnTo>
                  <a:lnTo>
                    <a:pt x="773" y="743"/>
                  </a:lnTo>
                  <a:lnTo>
                    <a:pt x="758" y="758"/>
                  </a:lnTo>
                  <a:close/>
                  <a:moveTo>
                    <a:pt x="765" y="140"/>
                  </a:moveTo>
                  <a:lnTo>
                    <a:pt x="748" y="124"/>
                  </a:lnTo>
                  <a:lnTo>
                    <a:pt x="730" y="109"/>
                  </a:lnTo>
                  <a:lnTo>
                    <a:pt x="712" y="94"/>
                  </a:lnTo>
                  <a:lnTo>
                    <a:pt x="693" y="81"/>
                  </a:lnTo>
                  <a:lnTo>
                    <a:pt x="673" y="68"/>
                  </a:lnTo>
                  <a:lnTo>
                    <a:pt x="653" y="57"/>
                  </a:lnTo>
                  <a:lnTo>
                    <a:pt x="632" y="46"/>
                  </a:lnTo>
                  <a:lnTo>
                    <a:pt x="611" y="37"/>
                  </a:lnTo>
                  <a:lnTo>
                    <a:pt x="590" y="28"/>
                  </a:lnTo>
                  <a:lnTo>
                    <a:pt x="567" y="20"/>
                  </a:lnTo>
                  <a:lnTo>
                    <a:pt x="545" y="14"/>
                  </a:lnTo>
                  <a:lnTo>
                    <a:pt x="523" y="10"/>
                  </a:lnTo>
                  <a:lnTo>
                    <a:pt x="499" y="5"/>
                  </a:lnTo>
                  <a:lnTo>
                    <a:pt x="477" y="2"/>
                  </a:lnTo>
                  <a:lnTo>
                    <a:pt x="454" y="0"/>
                  </a:lnTo>
                  <a:lnTo>
                    <a:pt x="430" y="0"/>
                  </a:lnTo>
                  <a:lnTo>
                    <a:pt x="409" y="0"/>
                  </a:lnTo>
                  <a:lnTo>
                    <a:pt x="387" y="2"/>
                  </a:lnTo>
                  <a:lnTo>
                    <a:pt x="366" y="4"/>
                  </a:lnTo>
                  <a:lnTo>
                    <a:pt x="345" y="8"/>
                  </a:lnTo>
                  <a:lnTo>
                    <a:pt x="325" y="13"/>
                  </a:lnTo>
                  <a:lnTo>
                    <a:pt x="305" y="18"/>
                  </a:lnTo>
                  <a:lnTo>
                    <a:pt x="284" y="25"/>
                  </a:lnTo>
                  <a:lnTo>
                    <a:pt x="265" y="32"/>
                  </a:lnTo>
                  <a:lnTo>
                    <a:pt x="245" y="41"/>
                  </a:lnTo>
                  <a:lnTo>
                    <a:pt x="227" y="49"/>
                  </a:lnTo>
                  <a:lnTo>
                    <a:pt x="209" y="60"/>
                  </a:lnTo>
                  <a:lnTo>
                    <a:pt x="191" y="71"/>
                  </a:lnTo>
                  <a:lnTo>
                    <a:pt x="173" y="84"/>
                  </a:lnTo>
                  <a:lnTo>
                    <a:pt x="157" y="97"/>
                  </a:lnTo>
                  <a:lnTo>
                    <a:pt x="141" y="111"/>
                  </a:lnTo>
                  <a:lnTo>
                    <a:pt x="126" y="125"/>
                  </a:lnTo>
                  <a:lnTo>
                    <a:pt x="110" y="141"/>
                  </a:lnTo>
                  <a:lnTo>
                    <a:pt x="96" y="158"/>
                  </a:lnTo>
                  <a:lnTo>
                    <a:pt x="82" y="176"/>
                  </a:lnTo>
                  <a:lnTo>
                    <a:pt x="70" y="195"/>
                  </a:lnTo>
                  <a:lnTo>
                    <a:pt x="58" y="213"/>
                  </a:lnTo>
                  <a:lnTo>
                    <a:pt x="47" y="232"/>
                  </a:lnTo>
                  <a:lnTo>
                    <a:pt x="38" y="253"/>
                  </a:lnTo>
                  <a:lnTo>
                    <a:pt x="30" y="273"/>
                  </a:lnTo>
                  <a:lnTo>
                    <a:pt x="23" y="295"/>
                  </a:lnTo>
                  <a:lnTo>
                    <a:pt x="16" y="316"/>
                  </a:lnTo>
                  <a:lnTo>
                    <a:pt x="11" y="338"/>
                  </a:lnTo>
                  <a:lnTo>
                    <a:pt x="7" y="360"/>
                  </a:lnTo>
                  <a:lnTo>
                    <a:pt x="3" y="383"/>
                  </a:lnTo>
                  <a:lnTo>
                    <a:pt x="1" y="405"/>
                  </a:lnTo>
                  <a:lnTo>
                    <a:pt x="0" y="429"/>
                  </a:lnTo>
                  <a:lnTo>
                    <a:pt x="0" y="453"/>
                  </a:lnTo>
                  <a:lnTo>
                    <a:pt x="2" y="475"/>
                  </a:lnTo>
                  <a:lnTo>
                    <a:pt x="4" y="499"/>
                  </a:lnTo>
                  <a:lnTo>
                    <a:pt x="8" y="522"/>
                  </a:lnTo>
                  <a:lnTo>
                    <a:pt x="12" y="544"/>
                  </a:lnTo>
                  <a:lnTo>
                    <a:pt x="17" y="566"/>
                  </a:lnTo>
                  <a:lnTo>
                    <a:pt x="24" y="587"/>
                  </a:lnTo>
                  <a:lnTo>
                    <a:pt x="31" y="609"/>
                  </a:lnTo>
                  <a:lnTo>
                    <a:pt x="40" y="630"/>
                  </a:lnTo>
                  <a:lnTo>
                    <a:pt x="50" y="651"/>
                  </a:lnTo>
                  <a:lnTo>
                    <a:pt x="60" y="671"/>
                  </a:lnTo>
                  <a:lnTo>
                    <a:pt x="71" y="690"/>
                  </a:lnTo>
                  <a:lnTo>
                    <a:pt x="84" y="710"/>
                  </a:lnTo>
                  <a:lnTo>
                    <a:pt x="97" y="728"/>
                  </a:lnTo>
                  <a:lnTo>
                    <a:pt x="111" y="746"/>
                  </a:lnTo>
                  <a:lnTo>
                    <a:pt x="125" y="763"/>
                  </a:lnTo>
                  <a:lnTo>
                    <a:pt x="141" y="780"/>
                  </a:lnTo>
                  <a:lnTo>
                    <a:pt x="147" y="786"/>
                  </a:lnTo>
                  <a:lnTo>
                    <a:pt x="155" y="791"/>
                  </a:lnTo>
                  <a:lnTo>
                    <a:pt x="163" y="796"/>
                  </a:lnTo>
                  <a:lnTo>
                    <a:pt x="170" y="799"/>
                  </a:lnTo>
                  <a:lnTo>
                    <a:pt x="179" y="802"/>
                  </a:lnTo>
                  <a:lnTo>
                    <a:pt x="186" y="804"/>
                  </a:lnTo>
                  <a:lnTo>
                    <a:pt x="195" y="805"/>
                  </a:lnTo>
                  <a:lnTo>
                    <a:pt x="204" y="807"/>
                  </a:lnTo>
                  <a:lnTo>
                    <a:pt x="213" y="805"/>
                  </a:lnTo>
                  <a:lnTo>
                    <a:pt x="222" y="804"/>
                  </a:lnTo>
                  <a:lnTo>
                    <a:pt x="230" y="802"/>
                  </a:lnTo>
                  <a:lnTo>
                    <a:pt x="238" y="799"/>
                  </a:lnTo>
                  <a:lnTo>
                    <a:pt x="246" y="796"/>
                  </a:lnTo>
                  <a:lnTo>
                    <a:pt x="254" y="791"/>
                  </a:lnTo>
                  <a:lnTo>
                    <a:pt x="260" y="786"/>
                  </a:lnTo>
                  <a:lnTo>
                    <a:pt x="268" y="780"/>
                  </a:lnTo>
                  <a:lnTo>
                    <a:pt x="273" y="773"/>
                  </a:lnTo>
                  <a:lnTo>
                    <a:pt x="279" y="766"/>
                  </a:lnTo>
                  <a:lnTo>
                    <a:pt x="284" y="758"/>
                  </a:lnTo>
                  <a:lnTo>
                    <a:pt x="287" y="750"/>
                  </a:lnTo>
                  <a:lnTo>
                    <a:pt x="291" y="742"/>
                  </a:lnTo>
                  <a:lnTo>
                    <a:pt x="293" y="733"/>
                  </a:lnTo>
                  <a:lnTo>
                    <a:pt x="294" y="725"/>
                  </a:lnTo>
                  <a:lnTo>
                    <a:pt x="294" y="716"/>
                  </a:lnTo>
                  <a:lnTo>
                    <a:pt x="294" y="708"/>
                  </a:lnTo>
                  <a:lnTo>
                    <a:pt x="293" y="699"/>
                  </a:lnTo>
                  <a:lnTo>
                    <a:pt x="291" y="690"/>
                  </a:lnTo>
                  <a:lnTo>
                    <a:pt x="287" y="683"/>
                  </a:lnTo>
                  <a:lnTo>
                    <a:pt x="284" y="674"/>
                  </a:lnTo>
                  <a:lnTo>
                    <a:pt x="279" y="667"/>
                  </a:lnTo>
                  <a:lnTo>
                    <a:pt x="273" y="659"/>
                  </a:lnTo>
                  <a:lnTo>
                    <a:pt x="268" y="653"/>
                  </a:lnTo>
                  <a:lnTo>
                    <a:pt x="260" y="644"/>
                  </a:lnTo>
                  <a:lnTo>
                    <a:pt x="254" y="636"/>
                  </a:lnTo>
                  <a:lnTo>
                    <a:pt x="251" y="628"/>
                  </a:lnTo>
                  <a:lnTo>
                    <a:pt x="248" y="620"/>
                  </a:lnTo>
                  <a:lnTo>
                    <a:pt x="248" y="614"/>
                  </a:lnTo>
                  <a:lnTo>
                    <a:pt x="248" y="608"/>
                  </a:lnTo>
                  <a:lnTo>
                    <a:pt x="250" y="603"/>
                  </a:lnTo>
                  <a:lnTo>
                    <a:pt x="253" y="599"/>
                  </a:lnTo>
                  <a:lnTo>
                    <a:pt x="258" y="594"/>
                  </a:lnTo>
                  <a:lnTo>
                    <a:pt x="261" y="594"/>
                  </a:lnTo>
                  <a:lnTo>
                    <a:pt x="265" y="594"/>
                  </a:lnTo>
                  <a:lnTo>
                    <a:pt x="271" y="597"/>
                  </a:lnTo>
                  <a:lnTo>
                    <a:pt x="280" y="603"/>
                  </a:lnTo>
                  <a:lnTo>
                    <a:pt x="292" y="614"/>
                  </a:lnTo>
                  <a:lnTo>
                    <a:pt x="457" y="780"/>
                  </a:lnTo>
                  <a:lnTo>
                    <a:pt x="466" y="787"/>
                  </a:lnTo>
                  <a:lnTo>
                    <a:pt x="473" y="795"/>
                  </a:lnTo>
                  <a:lnTo>
                    <a:pt x="483" y="801"/>
                  </a:lnTo>
                  <a:lnTo>
                    <a:pt x="492" y="808"/>
                  </a:lnTo>
                  <a:lnTo>
                    <a:pt x="501" y="814"/>
                  </a:lnTo>
                  <a:lnTo>
                    <a:pt x="511" y="819"/>
                  </a:lnTo>
                  <a:lnTo>
                    <a:pt x="521" y="824"/>
                  </a:lnTo>
                  <a:lnTo>
                    <a:pt x="530" y="828"/>
                  </a:lnTo>
                  <a:lnTo>
                    <a:pt x="541" y="832"/>
                  </a:lnTo>
                  <a:lnTo>
                    <a:pt x="552" y="836"/>
                  </a:lnTo>
                  <a:lnTo>
                    <a:pt x="563" y="839"/>
                  </a:lnTo>
                  <a:lnTo>
                    <a:pt x="573" y="841"/>
                  </a:lnTo>
                  <a:lnTo>
                    <a:pt x="584" y="843"/>
                  </a:lnTo>
                  <a:lnTo>
                    <a:pt x="596" y="844"/>
                  </a:lnTo>
                  <a:lnTo>
                    <a:pt x="607" y="845"/>
                  </a:lnTo>
                  <a:lnTo>
                    <a:pt x="619" y="845"/>
                  </a:lnTo>
                  <a:lnTo>
                    <a:pt x="630" y="845"/>
                  </a:lnTo>
                  <a:lnTo>
                    <a:pt x="642" y="844"/>
                  </a:lnTo>
                  <a:lnTo>
                    <a:pt x="653" y="843"/>
                  </a:lnTo>
                  <a:lnTo>
                    <a:pt x="664" y="841"/>
                  </a:lnTo>
                  <a:lnTo>
                    <a:pt x="676" y="839"/>
                  </a:lnTo>
                  <a:lnTo>
                    <a:pt x="686" y="836"/>
                  </a:lnTo>
                  <a:lnTo>
                    <a:pt x="696" y="832"/>
                  </a:lnTo>
                  <a:lnTo>
                    <a:pt x="707" y="828"/>
                  </a:lnTo>
                  <a:lnTo>
                    <a:pt x="718" y="824"/>
                  </a:lnTo>
                  <a:lnTo>
                    <a:pt x="727" y="819"/>
                  </a:lnTo>
                  <a:lnTo>
                    <a:pt x="737" y="814"/>
                  </a:lnTo>
                  <a:lnTo>
                    <a:pt x="746" y="808"/>
                  </a:lnTo>
                  <a:lnTo>
                    <a:pt x="755" y="801"/>
                  </a:lnTo>
                  <a:lnTo>
                    <a:pt x="764" y="795"/>
                  </a:lnTo>
                  <a:lnTo>
                    <a:pt x="772" y="787"/>
                  </a:lnTo>
                  <a:lnTo>
                    <a:pt x="780" y="780"/>
                  </a:lnTo>
                  <a:lnTo>
                    <a:pt x="796" y="763"/>
                  </a:lnTo>
                  <a:lnTo>
                    <a:pt x="810" y="746"/>
                  </a:lnTo>
                  <a:lnTo>
                    <a:pt x="824" y="728"/>
                  </a:lnTo>
                  <a:lnTo>
                    <a:pt x="837" y="710"/>
                  </a:lnTo>
                  <a:lnTo>
                    <a:pt x="848" y="691"/>
                  </a:lnTo>
                  <a:lnTo>
                    <a:pt x="858" y="672"/>
                  </a:lnTo>
                  <a:lnTo>
                    <a:pt x="868" y="653"/>
                  </a:lnTo>
                  <a:lnTo>
                    <a:pt x="876" y="632"/>
                  </a:lnTo>
                  <a:lnTo>
                    <a:pt x="883" y="612"/>
                  </a:lnTo>
                  <a:lnTo>
                    <a:pt x="890" y="591"/>
                  </a:lnTo>
                  <a:lnTo>
                    <a:pt x="895" y="570"/>
                  </a:lnTo>
                  <a:lnTo>
                    <a:pt x="898" y="550"/>
                  </a:lnTo>
                  <a:lnTo>
                    <a:pt x="901" y="528"/>
                  </a:lnTo>
                  <a:lnTo>
                    <a:pt x="904" y="506"/>
                  </a:lnTo>
                  <a:lnTo>
                    <a:pt x="905" y="485"/>
                  </a:lnTo>
                  <a:lnTo>
                    <a:pt x="905" y="462"/>
                  </a:lnTo>
                  <a:lnTo>
                    <a:pt x="904" y="441"/>
                  </a:lnTo>
                  <a:lnTo>
                    <a:pt x="901" y="419"/>
                  </a:lnTo>
                  <a:lnTo>
                    <a:pt x="898" y="398"/>
                  </a:lnTo>
                  <a:lnTo>
                    <a:pt x="895" y="376"/>
                  </a:lnTo>
                  <a:lnTo>
                    <a:pt x="890" y="355"/>
                  </a:lnTo>
                  <a:lnTo>
                    <a:pt x="883" y="333"/>
                  </a:lnTo>
                  <a:lnTo>
                    <a:pt x="876" y="313"/>
                  </a:lnTo>
                  <a:lnTo>
                    <a:pt x="868" y="291"/>
                  </a:lnTo>
                  <a:lnTo>
                    <a:pt x="858" y="271"/>
                  </a:lnTo>
                  <a:lnTo>
                    <a:pt x="849" y="252"/>
                  </a:lnTo>
                  <a:lnTo>
                    <a:pt x="837" y="231"/>
                  </a:lnTo>
                  <a:lnTo>
                    <a:pt x="825" y="212"/>
                  </a:lnTo>
                  <a:lnTo>
                    <a:pt x="811" y="194"/>
                  </a:lnTo>
                  <a:lnTo>
                    <a:pt x="797" y="175"/>
                  </a:lnTo>
                  <a:lnTo>
                    <a:pt x="782" y="157"/>
                  </a:lnTo>
                  <a:lnTo>
                    <a:pt x="765" y="140"/>
                  </a:lnTo>
                  <a:lnTo>
                    <a:pt x="765" y="1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ea typeface="+mn-ea"/>
                <a:cs typeface="+mn-cs"/>
              </a:endParaRPr>
            </a:p>
          </p:txBody>
        </p:sp>
        <p:sp>
          <p:nvSpPr>
            <p:cNvPr id="236" name="Freeform 60"/>
            <p:cNvSpPr>
              <a:spLocks noEditPoints="1"/>
            </p:cNvSpPr>
            <p:nvPr/>
          </p:nvSpPr>
          <p:spPr bwMode="auto">
            <a:xfrm>
              <a:off x="5078413" y="852488"/>
              <a:ext cx="47625" cy="47625"/>
            </a:xfrm>
            <a:custGeom>
              <a:avLst/>
              <a:gdLst>
                <a:gd name="T0" fmla="*/ 51 w 151"/>
                <a:gd name="T1" fmla="*/ 38 h 151"/>
                <a:gd name="T2" fmla="*/ 67 w 151"/>
                <a:gd name="T3" fmla="*/ 30 h 151"/>
                <a:gd name="T4" fmla="*/ 84 w 151"/>
                <a:gd name="T5" fmla="*/ 30 h 151"/>
                <a:gd name="T6" fmla="*/ 100 w 151"/>
                <a:gd name="T7" fmla="*/ 38 h 151"/>
                <a:gd name="T8" fmla="*/ 113 w 151"/>
                <a:gd name="T9" fmla="*/ 50 h 151"/>
                <a:gd name="T10" fmla="*/ 119 w 151"/>
                <a:gd name="T11" fmla="*/ 66 h 151"/>
                <a:gd name="T12" fmla="*/ 119 w 151"/>
                <a:gd name="T13" fmla="*/ 84 h 151"/>
                <a:gd name="T14" fmla="*/ 113 w 151"/>
                <a:gd name="T15" fmla="*/ 100 h 151"/>
                <a:gd name="T16" fmla="*/ 100 w 151"/>
                <a:gd name="T17" fmla="*/ 113 h 151"/>
                <a:gd name="T18" fmla="*/ 84 w 151"/>
                <a:gd name="T19" fmla="*/ 119 h 151"/>
                <a:gd name="T20" fmla="*/ 67 w 151"/>
                <a:gd name="T21" fmla="*/ 119 h 151"/>
                <a:gd name="T22" fmla="*/ 51 w 151"/>
                <a:gd name="T23" fmla="*/ 113 h 151"/>
                <a:gd name="T24" fmla="*/ 38 w 151"/>
                <a:gd name="T25" fmla="*/ 100 h 151"/>
                <a:gd name="T26" fmla="*/ 31 w 151"/>
                <a:gd name="T27" fmla="*/ 84 h 151"/>
                <a:gd name="T28" fmla="*/ 31 w 151"/>
                <a:gd name="T29" fmla="*/ 66 h 151"/>
                <a:gd name="T30" fmla="*/ 38 w 151"/>
                <a:gd name="T31" fmla="*/ 50 h 151"/>
                <a:gd name="T32" fmla="*/ 43 w 151"/>
                <a:gd name="T33" fmla="*/ 43 h 151"/>
                <a:gd name="T34" fmla="*/ 83 w 151"/>
                <a:gd name="T35" fmla="*/ 150 h 151"/>
                <a:gd name="T36" fmla="*/ 97 w 151"/>
                <a:gd name="T37" fmla="*/ 148 h 151"/>
                <a:gd name="T38" fmla="*/ 111 w 151"/>
                <a:gd name="T39" fmla="*/ 141 h 151"/>
                <a:gd name="T40" fmla="*/ 123 w 151"/>
                <a:gd name="T41" fmla="*/ 134 h 151"/>
                <a:gd name="T42" fmla="*/ 133 w 151"/>
                <a:gd name="T43" fmla="*/ 123 h 151"/>
                <a:gd name="T44" fmla="*/ 142 w 151"/>
                <a:gd name="T45" fmla="*/ 111 h 151"/>
                <a:gd name="T46" fmla="*/ 147 w 151"/>
                <a:gd name="T47" fmla="*/ 97 h 151"/>
                <a:gd name="T48" fmla="*/ 151 w 151"/>
                <a:gd name="T49" fmla="*/ 83 h 151"/>
                <a:gd name="T50" fmla="*/ 151 w 151"/>
                <a:gd name="T51" fmla="*/ 68 h 151"/>
                <a:gd name="T52" fmla="*/ 147 w 151"/>
                <a:gd name="T53" fmla="*/ 53 h 151"/>
                <a:gd name="T54" fmla="*/ 142 w 151"/>
                <a:gd name="T55" fmla="*/ 40 h 151"/>
                <a:gd name="T56" fmla="*/ 133 w 151"/>
                <a:gd name="T57" fmla="*/ 27 h 151"/>
                <a:gd name="T58" fmla="*/ 123 w 151"/>
                <a:gd name="T59" fmla="*/ 16 h 151"/>
                <a:gd name="T60" fmla="*/ 111 w 151"/>
                <a:gd name="T61" fmla="*/ 9 h 151"/>
                <a:gd name="T62" fmla="*/ 97 w 151"/>
                <a:gd name="T63" fmla="*/ 4 h 151"/>
                <a:gd name="T64" fmla="*/ 83 w 151"/>
                <a:gd name="T65" fmla="*/ 0 h 151"/>
                <a:gd name="T66" fmla="*/ 68 w 151"/>
                <a:gd name="T67" fmla="*/ 0 h 151"/>
                <a:gd name="T68" fmla="*/ 54 w 151"/>
                <a:gd name="T69" fmla="*/ 2 h 151"/>
                <a:gd name="T70" fmla="*/ 40 w 151"/>
                <a:gd name="T71" fmla="*/ 9 h 151"/>
                <a:gd name="T72" fmla="*/ 28 w 151"/>
                <a:gd name="T73" fmla="*/ 16 h 151"/>
                <a:gd name="T74" fmla="*/ 17 w 151"/>
                <a:gd name="T75" fmla="*/ 27 h 151"/>
                <a:gd name="T76" fmla="*/ 9 w 151"/>
                <a:gd name="T77" fmla="*/ 40 h 151"/>
                <a:gd name="T78" fmla="*/ 3 w 151"/>
                <a:gd name="T79" fmla="*/ 53 h 151"/>
                <a:gd name="T80" fmla="*/ 0 w 151"/>
                <a:gd name="T81" fmla="*/ 68 h 151"/>
                <a:gd name="T82" fmla="*/ 0 w 151"/>
                <a:gd name="T83" fmla="*/ 82 h 151"/>
                <a:gd name="T84" fmla="*/ 3 w 151"/>
                <a:gd name="T85" fmla="*/ 97 h 151"/>
                <a:gd name="T86" fmla="*/ 9 w 151"/>
                <a:gd name="T87" fmla="*/ 111 h 151"/>
                <a:gd name="T88" fmla="*/ 17 w 151"/>
                <a:gd name="T89" fmla="*/ 123 h 151"/>
                <a:gd name="T90" fmla="*/ 28 w 151"/>
                <a:gd name="T91" fmla="*/ 134 h 151"/>
                <a:gd name="T92" fmla="*/ 40 w 151"/>
                <a:gd name="T93" fmla="*/ 142 h 151"/>
                <a:gd name="T94" fmla="*/ 54 w 151"/>
                <a:gd name="T95" fmla="*/ 148 h 151"/>
                <a:gd name="T96" fmla="*/ 68 w 151"/>
                <a:gd name="T97" fmla="*/ 150 h 151"/>
                <a:gd name="T98" fmla="*/ 75 w 151"/>
                <a:gd name="T99" fmla="*/ 151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51" h="151">
                  <a:moveTo>
                    <a:pt x="43" y="43"/>
                  </a:moveTo>
                  <a:lnTo>
                    <a:pt x="51" y="38"/>
                  </a:lnTo>
                  <a:lnTo>
                    <a:pt x="58" y="34"/>
                  </a:lnTo>
                  <a:lnTo>
                    <a:pt x="67" y="30"/>
                  </a:lnTo>
                  <a:lnTo>
                    <a:pt x="75" y="30"/>
                  </a:lnTo>
                  <a:lnTo>
                    <a:pt x="84" y="30"/>
                  </a:lnTo>
                  <a:lnTo>
                    <a:pt x="93" y="34"/>
                  </a:lnTo>
                  <a:lnTo>
                    <a:pt x="100" y="38"/>
                  </a:lnTo>
                  <a:lnTo>
                    <a:pt x="108" y="43"/>
                  </a:lnTo>
                  <a:lnTo>
                    <a:pt x="113" y="50"/>
                  </a:lnTo>
                  <a:lnTo>
                    <a:pt x="117" y="57"/>
                  </a:lnTo>
                  <a:lnTo>
                    <a:pt x="119" y="66"/>
                  </a:lnTo>
                  <a:lnTo>
                    <a:pt x="120" y="76"/>
                  </a:lnTo>
                  <a:lnTo>
                    <a:pt x="119" y="84"/>
                  </a:lnTo>
                  <a:lnTo>
                    <a:pt x="117" y="93"/>
                  </a:lnTo>
                  <a:lnTo>
                    <a:pt x="113" y="100"/>
                  </a:lnTo>
                  <a:lnTo>
                    <a:pt x="108" y="107"/>
                  </a:lnTo>
                  <a:lnTo>
                    <a:pt x="100" y="113"/>
                  </a:lnTo>
                  <a:lnTo>
                    <a:pt x="93" y="116"/>
                  </a:lnTo>
                  <a:lnTo>
                    <a:pt x="84" y="119"/>
                  </a:lnTo>
                  <a:lnTo>
                    <a:pt x="75" y="120"/>
                  </a:lnTo>
                  <a:lnTo>
                    <a:pt x="67" y="119"/>
                  </a:lnTo>
                  <a:lnTo>
                    <a:pt x="58" y="116"/>
                  </a:lnTo>
                  <a:lnTo>
                    <a:pt x="51" y="113"/>
                  </a:lnTo>
                  <a:lnTo>
                    <a:pt x="43" y="107"/>
                  </a:lnTo>
                  <a:lnTo>
                    <a:pt x="38" y="100"/>
                  </a:lnTo>
                  <a:lnTo>
                    <a:pt x="33" y="93"/>
                  </a:lnTo>
                  <a:lnTo>
                    <a:pt x="31" y="84"/>
                  </a:lnTo>
                  <a:lnTo>
                    <a:pt x="30" y="76"/>
                  </a:lnTo>
                  <a:lnTo>
                    <a:pt x="31" y="66"/>
                  </a:lnTo>
                  <a:lnTo>
                    <a:pt x="33" y="57"/>
                  </a:lnTo>
                  <a:lnTo>
                    <a:pt x="38" y="50"/>
                  </a:lnTo>
                  <a:lnTo>
                    <a:pt x="43" y="43"/>
                  </a:lnTo>
                  <a:lnTo>
                    <a:pt x="43" y="43"/>
                  </a:lnTo>
                  <a:close/>
                  <a:moveTo>
                    <a:pt x="75" y="151"/>
                  </a:moveTo>
                  <a:lnTo>
                    <a:pt x="83" y="150"/>
                  </a:lnTo>
                  <a:lnTo>
                    <a:pt x="90" y="149"/>
                  </a:lnTo>
                  <a:lnTo>
                    <a:pt x="97" y="148"/>
                  </a:lnTo>
                  <a:lnTo>
                    <a:pt x="104" y="144"/>
                  </a:lnTo>
                  <a:lnTo>
                    <a:pt x="111" y="141"/>
                  </a:lnTo>
                  <a:lnTo>
                    <a:pt x="117" y="138"/>
                  </a:lnTo>
                  <a:lnTo>
                    <a:pt x="123" y="134"/>
                  </a:lnTo>
                  <a:lnTo>
                    <a:pt x="128" y="128"/>
                  </a:lnTo>
                  <a:lnTo>
                    <a:pt x="133" y="123"/>
                  </a:lnTo>
                  <a:lnTo>
                    <a:pt x="138" y="116"/>
                  </a:lnTo>
                  <a:lnTo>
                    <a:pt x="142" y="111"/>
                  </a:lnTo>
                  <a:lnTo>
                    <a:pt x="145" y="104"/>
                  </a:lnTo>
                  <a:lnTo>
                    <a:pt x="147" y="97"/>
                  </a:lnTo>
                  <a:lnTo>
                    <a:pt x="150" y="90"/>
                  </a:lnTo>
                  <a:lnTo>
                    <a:pt x="151" y="83"/>
                  </a:lnTo>
                  <a:lnTo>
                    <a:pt x="151" y="76"/>
                  </a:lnTo>
                  <a:lnTo>
                    <a:pt x="151" y="68"/>
                  </a:lnTo>
                  <a:lnTo>
                    <a:pt x="150" y="60"/>
                  </a:lnTo>
                  <a:lnTo>
                    <a:pt x="147" y="53"/>
                  </a:lnTo>
                  <a:lnTo>
                    <a:pt x="145" y="47"/>
                  </a:lnTo>
                  <a:lnTo>
                    <a:pt x="142" y="40"/>
                  </a:lnTo>
                  <a:lnTo>
                    <a:pt x="138" y="34"/>
                  </a:lnTo>
                  <a:lnTo>
                    <a:pt x="133" y="27"/>
                  </a:lnTo>
                  <a:lnTo>
                    <a:pt x="128" y="22"/>
                  </a:lnTo>
                  <a:lnTo>
                    <a:pt x="123" y="16"/>
                  </a:lnTo>
                  <a:lnTo>
                    <a:pt x="117" y="12"/>
                  </a:lnTo>
                  <a:lnTo>
                    <a:pt x="111" y="9"/>
                  </a:lnTo>
                  <a:lnTo>
                    <a:pt x="104" y="6"/>
                  </a:lnTo>
                  <a:lnTo>
                    <a:pt x="97" y="4"/>
                  </a:lnTo>
                  <a:lnTo>
                    <a:pt x="90" y="1"/>
                  </a:lnTo>
                  <a:lnTo>
                    <a:pt x="83" y="0"/>
                  </a:lnTo>
                  <a:lnTo>
                    <a:pt x="75" y="0"/>
                  </a:lnTo>
                  <a:lnTo>
                    <a:pt x="68" y="0"/>
                  </a:lnTo>
                  <a:lnTo>
                    <a:pt x="60" y="1"/>
                  </a:lnTo>
                  <a:lnTo>
                    <a:pt x="54" y="2"/>
                  </a:lnTo>
                  <a:lnTo>
                    <a:pt x="46" y="6"/>
                  </a:lnTo>
                  <a:lnTo>
                    <a:pt x="40" y="9"/>
                  </a:lnTo>
                  <a:lnTo>
                    <a:pt x="33" y="12"/>
                  </a:lnTo>
                  <a:lnTo>
                    <a:pt x="28" y="16"/>
                  </a:lnTo>
                  <a:lnTo>
                    <a:pt x="22" y="22"/>
                  </a:lnTo>
                  <a:lnTo>
                    <a:pt x="17" y="27"/>
                  </a:lnTo>
                  <a:lnTo>
                    <a:pt x="13" y="34"/>
                  </a:lnTo>
                  <a:lnTo>
                    <a:pt x="9" y="40"/>
                  </a:lnTo>
                  <a:lnTo>
                    <a:pt x="5" y="47"/>
                  </a:lnTo>
                  <a:lnTo>
                    <a:pt x="3" y="53"/>
                  </a:lnTo>
                  <a:lnTo>
                    <a:pt x="1" y="60"/>
                  </a:lnTo>
                  <a:lnTo>
                    <a:pt x="0" y="68"/>
                  </a:lnTo>
                  <a:lnTo>
                    <a:pt x="0" y="74"/>
                  </a:lnTo>
                  <a:lnTo>
                    <a:pt x="0" y="82"/>
                  </a:lnTo>
                  <a:lnTo>
                    <a:pt x="1" y="90"/>
                  </a:lnTo>
                  <a:lnTo>
                    <a:pt x="3" y="97"/>
                  </a:lnTo>
                  <a:lnTo>
                    <a:pt x="5" y="104"/>
                  </a:lnTo>
                  <a:lnTo>
                    <a:pt x="9" y="111"/>
                  </a:lnTo>
                  <a:lnTo>
                    <a:pt x="13" y="116"/>
                  </a:lnTo>
                  <a:lnTo>
                    <a:pt x="17" y="123"/>
                  </a:lnTo>
                  <a:lnTo>
                    <a:pt x="22" y="128"/>
                  </a:lnTo>
                  <a:lnTo>
                    <a:pt x="28" y="134"/>
                  </a:lnTo>
                  <a:lnTo>
                    <a:pt x="33" y="138"/>
                  </a:lnTo>
                  <a:lnTo>
                    <a:pt x="40" y="142"/>
                  </a:lnTo>
                  <a:lnTo>
                    <a:pt x="46" y="144"/>
                  </a:lnTo>
                  <a:lnTo>
                    <a:pt x="54" y="148"/>
                  </a:lnTo>
                  <a:lnTo>
                    <a:pt x="60" y="149"/>
                  </a:lnTo>
                  <a:lnTo>
                    <a:pt x="68" y="150"/>
                  </a:lnTo>
                  <a:lnTo>
                    <a:pt x="75" y="151"/>
                  </a:lnTo>
                  <a:lnTo>
                    <a:pt x="75" y="1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ea typeface="+mn-ea"/>
                <a:cs typeface="+mn-cs"/>
              </a:endParaRPr>
            </a:p>
          </p:txBody>
        </p:sp>
        <p:sp>
          <p:nvSpPr>
            <p:cNvPr id="237" name="Freeform 61"/>
            <p:cNvSpPr>
              <a:spLocks noEditPoints="1"/>
            </p:cNvSpPr>
            <p:nvPr/>
          </p:nvSpPr>
          <p:spPr bwMode="auto">
            <a:xfrm>
              <a:off x="5116513" y="915988"/>
              <a:ext cx="38100" cy="38100"/>
            </a:xfrm>
            <a:custGeom>
              <a:avLst/>
              <a:gdLst>
                <a:gd name="T0" fmla="*/ 78 w 122"/>
                <a:gd name="T1" fmla="*/ 84 h 120"/>
                <a:gd name="T2" fmla="*/ 67 w 122"/>
                <a:gd name="T3" fmla="*/ 89 h 120"/>
                <a:gd name="T4" fmla="*/ 55 w 122"/>
                <a:gd name="T5" fmla="*/ 89 h 120"/>
                <a:gd name="T6" fmla="*/ 45 w 122"/>
                <a:gd name="T7" fmla="*/ 84 h 120"/>
                <a:gd name="T8" fmla="*/ 36 w 122"/>
                <a:gd name="T9" fmla="*/ 76 h 120"/>
                <a:gd name="T10" fmla="*/ 32 w 122"/>
                <a:gd name="T11" fmla="*/ 65 h 120"/>
                <a:gd name="T12" fmla="*/ 32 w 122"/>
                <a:gd name="T13" fmla="*/ 53 h 120"/>
                <a:gd name="T14" fmla="*/ 36 w 122"/>
                <a:gd name="T15" fmla="*/ 43 h 120"/>
                <a:gd name="T16" fmla="*/ 45 w 122"/>
                <a:gd name="T17" fmla="*/ 34 h 120"/>
                <a:gd name="T18" fmla="*/ 55 w 122"/>
                <a:gd name="T19" fmla="*/ 30 h 120"/>
                <a:gd name="T20" fmla="*/ 67 w 122"/>
                <a:gd name="T21" fmla="*/ 30 h 120"/>
                <a:gd name="T22" fmla="*/ 78 w 122"/>
                <a:gd name="T23" fmla="*/ 34 h 120"/>
                <a:gd name="T24" fmla="*/ 86 w 122"/>
                <a:gd name="T25" fmla="*/ 43 h 120"/>
                <a:gd name="T26" fmla="*/ 91 w 122"/>
                <a:gd name="T27" fmla="*/ 53 h 120"/>
                <a:gd name="T28" fmla="*/ 91 w 122"/>
                <a:gd name="T29" fmla="*/ 65 h 120"/>
                <a:gd name="T30" fmla="*/ 86 w 122"/>
                <a:gd name="T31" fmla="*/ 76 h 120"/>
                <a:gd name="T32" fmla="*/ 82 w 122"/>
                <a:gd name="T33" fmla="*/ 80 h 120"/>
                <a:gd name="T34" fmla="*/ 99 w 122"/>
                <a:gd name="T35" fmla="*/ 12 h 120"/>
                <a:gd name="T36" fmla="*/ 90 w 122"/>
                <a:gd name="T37" fmla="*/ 6 h 120"/>
                <a:gd name="T38" fmla="*/ 79 w 122"/>
                <a:gd name="T39" fmla="*/ 2 h 120"/>
                <a:gd name="T40" fmla="*/ 67 w 122"/>
                <a:gd name="T41" fmla="*/ 0 h 120"/>
                <a:gd name="T42" fmla="*/ 55 w 122"/>
                <a:gd name="T43" fmla="*/ 0 h 120"/>
                <a:gd name="T44" fmla="*/ 43 w 122"/>
                <a:gd name="T45" fmla="*/ 2 h 120"/>
                <a:gd name="T46" fmla="*/ 33 w 122"/>
                <a:gd name="T47" fmla="*/ 6 h 120"/>
                <a:gd name="T48" fmla="*/ 23 w 122"/>
                <a:gd name="T49" fmla="*/ 12 h 120"/>
                <a:gd name="T50" fmla="*/ 14 w 122"/>
                <a:gd name="T51" fmla="*/ 21 h 120"/>
                <a:gd name="T52" fmla="*/ 8 w 122"/>
                <a:gd name="T53" fmla="*/ 31 h 120"/>
                <a:gd name="T54" fmla="*/ 4 w 122"/>
                <a:gd name="T55" fmla="*/ 43 h 120"/>
                <a:gd name="T56" fmla="*/ 1 w 122"/>
                <a:gd name="T57" fmla="*/ 53 h 120"/>
                <a:gd name="T58" fmla="*/ 1 w 122"/>
                <a:gd name="T59" fmla="*/ 65 h 120"/>
                <a:gd name="T60" fmla="*/ 4 w 122"/>
                <a:gd name="T61" fmla="*/ 77 h 120"/>
                <a:gd name="T62" fmla="*/ 8 w 122"/>
                <a:gd name="T63" fmla="*/ 88 h 120"/>
                <a:gd name="T64" fmla="*/ 14 w 122"/>
                <a:gd name="T65" fmla="*/ 97 h 120"/>
                <a:gd name="T66" fmla="*/ 23 w 122"/>
                <a:gd name="T67" fmla="*/ 106 h 120"/>
                <a:gd name="T68" fmla="*/ 33 w 122"/>
                <a:gd name="T69" fmla="*/ 112 h 120"/>
                <a:gd name="T70" fmla="*/ 43 w 122"/>
                <a:gd name="T71" fmla="*/ 117 h 120"/>
                <a:gd name="T72" fmla="*/ 55 w 122"/>
                <a:gd name="T73" fmla="*/ 119 h 120"/>
                <a:gd name="T74" fmla="*/ 67 w 122"/>
                <a:gd name="T75" fmla="*/ 119 h 120"/>
                <a:gd name="T76" fmla="*/ 79 w 122"/>
                <a:gd name="T77" fmla="*/ 117 h 120"/>
                <a:gd name="T78" fmla="*/ 90 w 122"/>
                <a:gd name="T79" fmla="*/ 112 h 120"/>
                <a:gd name="T80" fmla="*/ 99 w 122"/>
                <a:gd name="T81" fmla="*/ 106 h 120"/>
                <a:gd name="T82" fmla="*/ 108 w 122"/>
                <a:gd name="T83" fmla="*/ 97 h 120"/>
                <a:gd name="T84" fmla="*/ 114 w 122"/>
                <a:gd name="T85" fmla="*/ 88 h 120"/>
                <a:gd name="T86" fmla="*/ 119 w 122"/>
                <a:gd name="T87" fmla="*/ 77 h 120"/>
                <a:gd name="T88" fmla="*/ 121 w 122"/>
                <a:gd name="T89" fmla="*/ 65 h 120"/>
                <a:gd name="T90" fmla="*/ 121 w 122"/>
                <a:gd name="T91" fmla="*/ 53 h 120"/>
                <a:gd name="T92" fmla="*/ 119 w 122"/>
                <a:gd name="T93" fmla="*/ 43 h 120"/>
                <a:gd name="T94" fmla="*/ 114 w 122"/>
                <a:gd name="T95" fmla="*/ 31 h 120"/>
                <a:gd name="T96" fmla="*/ 108 w 122"/>
                <a:gd name="T97" fmla="*/ 21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22" h="120">
                  <a:moveTo>
                    <a:pt x="82" y="80"/>
                  </a:moveTo>
                  <a:lnTo>
                    <a:pt x="78" y="84"/>
                  </a:lnTo>
                  <a:lnTo>
                    <a:pt x="72" y="87"/>
                  </a:lnTo>
                  <a:lnTo>
                    <a:pt x="67" y="89"/>
                  </a:lnTo>
                  <a:lnTo>
                    <a:pt x="61" y="89"/>
                  </a:lnTo>
                  <a:lnTo>
                    <a:pt x="55" y="89"/>
                  </a:lnTo>
                  <a:lnTo>
                    <a:pt x="50" y="87"/>
                  </a:lnTo>
                  <a:lnTo>
                    <a:pt x="45" y="84"/>
                  </a:lnTo>
                  <a:lnTo>
                    <a:pt x="40" y="80"/>
                  </a:lnTo>
                  <a:lnTo>
                    <a:pt x="36" y="76"/>
                  </a:lnTo>
                  <a:lnTo>
                    <a:pt x="34" y="70"/>
                  </a:lnTo>
                  <a:lnTo>
                    <a:pt x="32" y="65"/>
                  </a:lnTo>
                  <a:lnTo>
                    <a:pt x="31" y="59"/>
                  </a:lnTo>
                  <a:lnTo>
                    <a:pt x="32" y="53"/>
                  </a:lnTo>
                  <a:lnTo>
                    <a:pt x="34" y="48"/>
                  </a:lnTo>
                  <a:lnTo>
                    <a:pt x="36" y="43"/>
                  </a:lnTo>
                  <a:lnTo>
                    <a:pt x="40" y="38"/>
                  </a:lnTo>
                  <a:lnTo>
                    <a:pt x="45" y="34"/>
                  </a:lnTo>
                  <a:lnTo>
                    <a:pt x="50" y="32"/>
                  </a:lnTo>
                  <a:lnTo>
                    <a:pt x="55" y="30"/>
                  </a:lnTo>
                  <a:lnTo>
                    <a:pt x="61" y="30"/>
                  </a:lnTo>
                  <a:lnTo>
                    <a:pt x="67" y="30"/>
                  </a:lnTo>
                  <a:lnTo>
                    <a:pt x="72" y="32"/>
                  </a:lnTo>
                  <a:lnTo>
                    <a:pt x="78" y="34"/>
                  </a:lnTo>
                  <a:lnTo>
                    <a:pt x="82" y="38"/>
                  </a:lnTo>
                  <a:lnTo>
                    <a:pt x="86" y="43"/>
                  </a:lnTo>
                  <a:lnTo>
                    <a:pt x="90" y="48"/>
                  </a:lnTo>
                  <a:lnTo>
                    <a:pt x="91" y="53"/>
                  </a:lnTo>
                  <a:lnTo>
                    <a:pt x="92" y="60"/>
                  </a:lnTo>
                  <a:lnTo>
                    <a:pt x="91" y="65"/>
                  </a:lnTo>
                  <a:lnTo>
                    <a:pt x="90" y="70"/>
                  </a:lnTo>
                  <a:lnTo>
                    <a:pt x="86" y="76"/>
                  </a:lnTo>
                  <a:lnTo>
                    <a:pt x="82" y="80"/>
                  </a:lnTo>
                  <a:lnTo>
                    <a:pt x="82" y="80"/>
                  </a:lnTo>
                  <a:close/>
                  <a:moveTo>
                    <a:pt x="104" y="17"/>
                  </a:moveTo>
                  <a:lnTo>
                    <a:pt x="99" y="12"/>
                  </a:lnTo>
                  <a:lnTo>
                    <a:pt x="95" y="9"/>
                  </a:lnTo>
                  <a:lnTo>
                    <a:pt x="90" y="6"/>
                  </a:lnTo>
                  <a:lnTo>
                    <a:pt x="84" y="4"/>
                  </a:lnTo>
                  <a:lnTo>
                    <a:pt x="79" y="2"/>
                  </a:lnTo>
                  <a:lnTo>
                    <a:pt x="72" y="1"/>
                  </a:lnTo>
                  <a:lnTo>
                    <a:pt x="67" y="0"/>
                  </a:lnTo>
                  <a:lnTo>
                    <a:pt x="61" y="0"/>
                  </a:lnTo>
                  <a:lnTo>
                    <a:pt x="55" y="0"/>
                  </a:lnTo>
                  <a:lnTo>
                    <a:pt x="50" y="1"/>
                  </a:lnTo>
                  <a:lnTo>
                    <a:pt x="43" y="2"/>
                  </a:lnTo>
                  <a:lnTo>
                    <a:pt x="38" y="4"/>
                  </a:lnTo>
                  <a:lnTo>
                    <a:pt x="33" y="6"/>
                  </a:lnTo>
                  <a:lnTo>
                    <a:pt x="27" y="9"/>
                  </a:lnTo>
                  <a:lnTo>
                    <a:pt x="23" y="12"/>
                  </a:lnTo>
                  <a:lnTo>
                    <a:pt x="19" y="17"/>
                  </a:lnTo>
                  <a:lnTo>
                    <a:pt x="14" y="21"/>
                  </a:lnTo>
                  <a:lnTo>
                    <a:pt x="11" y="26"/>
                  </a:lnTo>
                  <a:lnTo>
                    <a:pt x="8" y="31"/>
                  </a:lnTo>
                  <a:lnTo>
                    <a:pt x="5" y="36"/>
                  </a:lnTo>
                  <a:lnTo>
                    <a:pt x="4" y="43"/>
                  </a:lnTo>
                  <a:lnTo>
                    <a:pt x="1" y="48"/>
                  </a:lnTo>
                  <a:lnTo>
                    <a:pt x="1" y="53"/>
                  </a:lnTo>
                  <a:lnTo>
                    <a:pt x="0" y="60"/>
                  </a:lnTo>
                  <a:lnTo>
                    <a:pt x="1" y="65"/>
                  </a:lnTo>
                  <a:lnTo>
                    <a:pt x="1" y="70"/>
                  </a:lnTo>
                  <a:lnTo>
                    <a:pt x="4" y="77"/>
                  </a:lnTo>
                  <a:lnTo>
                    <a:pt x="5" y="82"/>
                  </a:lnTo>
                  <a:lnTo>
                    <a:pt x="8" y="88"/>
                  </a:lnTo>
                  <a:lnTo>
                    <a:pt x="11" y="92"/>
                  </a:lnTo>
                  <a:lnTo>
                    <a:pt x="14" y="97"/>
                  </a:lnTo>
                  <a:lnTo>
                    <a:pt x="19" y="102"/>
                  </a:lnTo>
                  <a:lnTo>
                    <a:pt x="23" y="106"/>
                  </a:lnTo>
                  <a:lnTo>
                    <a:pt x="27" y="109"/>
                  </a:lnTo>
                  <a:lnTo>
                    <a:pt x="33" y="112"/>
                  </a:lnTo>
                  <a:lnTo>
                    <a:pt x="38" y="115"/>
                  </a:lnTo>
                  <a:lnTo>
                    <a:pt x="43" y="117"/>
                  </a:lnTo>
                  <a:lnTo>
                    <a:pt x="49" y="119"/>
                  </a:lnTo>
                  <a:lnTo>
                    <a:pt x="55" y="119"/>
                  </a:lnTo>
                  <a:lnTo>
                    <a:pt x="61" y="120"/>
                  </a:lnTo>
                  <a:lnTo>
                    <a:pt x="67" y="119"/>
                  </a:lnTo>
                  <a:lnTo>
                    <a:pt x="72" y="119"/>
                  </a:lnTo>
                  <a:lnTo>
                    <a:pt x="79" y="117"/>
                  </a:lnTo>
                  <a:lnTo>
                    <a:pt x="84" y="115"/>
                  </a:lnTo>
                  <a:lnTo>
                    <a:pt x="90" y="112"/>
                  </a:lnTo>
                  <a:lnTo>
                    <a:pt x="95" y="109"/>
                  </a:lnTo>
                  <a:lnTo>
                    <a:pt x="99" y="106"/>
                  </a:lnTo>
                  <a:lnTo>
                    <a:pt x="104" y="102"/>
                  </a:lnTo>
                  <a:lnTo>
                    <a:pt x="108" y="97"/>
                  </a:lnTo>
                  <a:lnTo>
                    <a:pt x="111" y="92"/>
                  </a:lnTo>
                  <a:lnTo>
                    <a:pt x="114" y="88"/>
                  </a:lnTo>
                  <a:lnTo>
                    <a:pt x="117" y="82"/>
                  </a:lnTo>
                  <a:lnTo>
                    <a:pt x="119" y="77"/>
                  </a:lnTo>
                  <a:lnTo>
                    <a:pt x="121" y="70"/>
                  </a:lnTo>
                  <a:lnTo>
                    <a:pt x="121" y="65"/>
                  </a:lnTo>
                  <a:lnTo>
                    <a:pt x="122" y="60"/>
                  </a:lnTo>
                  <a:lnTo>
                    <a:pt x="121" y="53"/>
                  </a:lnTo>
                  <a:lnTo>
                    <a:pt x="121" y="48"/>
                  </a:lnTo>
                  <a:lnTo>
                    <a:pt x="119" y="43"/>
                  </a:lnTo>
                  <a:lnTo>
                    <a:pt x="117" y="36"/>
                  </a:lnTo>
                  <a:lnTo>
                    <a:pt x="114" y="31"/>
                  </a:lnTo>
                  <a:lnTo>
                    <a:pt x="111" y="26"/>
                  </a:lnTo>
                  <a:lnTo>
                    <a:pt x="108" y="21"/>
                  </a:lnTo>
                  <a:lnTo>
                    <a:pt x="104" y="1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ea typeface="+mn-ea"/>
                <a:cs typeface="+mn-cs"/>
              </a:endParaRPr>
            </a:p>
          </p:txBody>
        </p:sp>
        <p:sp>
          <p:nvSpPr>
            <p:cNvPr id="238" name="Freeform 62"/>
            <p:cNvSpPr>
              <a:spLocks noEditPoints="1"/>
            </p:cNvSpPr>
            <p:nvPr/>
          </p:nvSpPr>
          <p:spPr bwMode="auto">
            <a:xfrm>
              <a:off x="5073650" y="966788"/>
              <a:ext cx="57150" cy="57150"/>
            </a:xfrm>
            <a:custGeom>
              <a:avLst/>
              <a:gdLst>
                <a:gd name="T0" fmla="*/ 124 w 181"/>
                <a:gd name="T1" fmla="*/ 140 h 181"/>
                <a:gd name="T2" fmla="*/ 108 w 181"/>
                <a:gd name="T3" fmla="*/ 148 h 181"/>
                <a:gd name="T4" fmla="*/ 90 w 181"/>
                <a:gd name="T5" fmla="*/ 151 h 181"/>
                <a:gd name="T6" fmla="*/ 73 w 181"/>
                <a:gd name="T7" fmla="*/ 148 h 181"/>
                <a:gd name="T8" fmla="*/ 57 w 181"/>
                <a:gd name="T9" fmla="*/ 140 h 181"/>
                <a:gd name="T10" fmla="*/ 44 w 181"/>
                <a:gd name="T11" fmla="*/ 129 h 181"/>
                <a:gd name="T12" fmla="*/ 34 w 181"/>
                <a:gd name="T13" fmla="*/ 113 h 181"/>
                <a:gd name="T14" fmla="*/ 30 w 181"/>
                <a:gd name="T15" fmla="*/ 96 h 181"/>
                <a:gd name="T16" fmla="*/ 31 w 181"/>
                <a:gd name="T17" fmla="*/ 79 h 181"/>
                <a:gd name="T18" fmla="*/ 37 w 181"/>
                <a:gd name="T19" fmla="*/ 62 h 181"/>
                <a:gd name="T20" fmla="*/ 47 w 181"/>
                <a:gd name="T21" fmla="*/ 48 h 181"/>
                <a:gd name="T22" fmla="*/ 62 w 181"/>
                <a:gd name="T23" fmla="*/ 37 h 181"/>
                <a:gd name="T24" fmla="*/ 78 w 181"/>
                <a:gd name="T25" fmla="*/ 32 h 181"/>
                <a:gd name="T26" fmla="*/ 97 w 181"/>
                <a:gd name="T27" fmla="*/ 31 h 181"/>
                <a:gd name="T28" fmla="*/ 113 w 181"/>
                <a:gd name="T29" fmla="*/ 35 h 181"/>
                <a:gd name="T30" fmla="*/ 129 w 181"/>
                <a:gd name="T31" fmla="*/ 44 h 181"/>
                <a:gd name="T32" fmla="*/ 141 w 181"/>
                <a:gd name="T33" fmla="*/ 56 h 181"/>
                <a:gd name="T34" fmla="*/ 148 w 181"/>
                <a:gd name="T35" fmla="*/ 73 h 181"/>
                <a:gd name="T36" fmla="*/ 151 w 181"/>
                <a:gd name="T37" fmla="*/ 91 h 181"/>
                <a:gd name="T38" fmla="*/ 148 w 181"/>
                <a:gd name="T39" fmla="*/ 108 h 181"/>
                <a:gd name="T40" fmla="*/ 141 w 181"/>
                <a:gd name="T41" fmla="*/ 124 h 181"/>
                <a:gd name="T42" fmla="*/ 90 w 181"/>
                <a:gd name="T43" fmla="*/ 0 h 181"/>
                <a:gd name="T44" fmla="*/ 63 w 181"/>
                <a:gd name="T45" fmla="*/ 4 h 181"/>
                <a:gd name="T46" fmla="*/ 40 w 181"/>
                <a:gd name="T47" fmla="*/ 16 h 181"/>
                <a:gd name="T48" fmla="*/ 20 w 181"/>
                <a:gd name="T49" fmla="*/ 33 h 181"/>
                <a:gd name="T50" fmla="*/ 6 w 181"/>
                <a:gd name="T51" fmla="*/ 55 h 181"/>
                <a:gd name="T52" fmla="*/ 0 w 181"/>
                <a:gd name="T53" fmla="*/ 81 h 181"/>
                <a:gd name="T54" fmla="*/ 1 w 181"/>
                <a:gd name="T55" fmla="*/ 108 h 181"/>
                <a:gd name="T56" fmla="*/ 11 w 181"/>
                <a:gd name="T57" fmla="*/ 133 h 181"/>
                <a:gd name="T58" fmla="*/ 27 w 181"/>
                <a:gd name="T59" fmla="*/ 154 h 181"/>
                <a:gd name="T60" fmla="*/ 47 w 181"/>
                <a:gd name="T61" fmla="*/ 170 h 181"/>
                <a:gd name="T62" fmla="*/ 72 w 181"/>
                <a:gd name="T63" fmla="*/ 179 h 181"/>
                <a:gd name="T64" fmla="*/ 99 w 181"/>
                <a:gd name="T65" fmla="*/ 180 h 181"/>
                <a:gd name="T66" fmla="*/ 125 w 181"/>
                <a:gd name="T67" fmla="*/ 174 h 181"/>
                <a:gd name="T68" fmla="*/ 147 w 181"/>
                <a:gd name="T69" fmla="*/ 161 h 181"/>
                <a:gd name="T70" fmla="*/ 166 w 181"/>
                <a:gd name="T71" fmla="*/ 140 h 181"/>
                <a:gd name="T72" fmla="*/ 176 w 181"/>
                <a:gd name="T73" fmla="*/ 117 h 181"/>
                <a:gd name="T74" fmla="*/ 181 w 181"/>
                <a:gd name="T75" fmla="*/ 91 h 181"/>
                <a:gd name="T76" fmla="*/ 176 w 181"/>
                <a:gd name="T77" fmla="*/ 64 h 181"/>
                <a:gd name="T78" fmla="*/ 166 w 181"/>
                <a:gd name="T79" fmla="*/ 40 h 181"/>
                <a:gd name="T80" fmla="*/ 147 w 181"/>
                <a:gd name="T81" fmla="*/ 20 h 181"/>
                <a:gd name="T82" fmla="*/ 125 w 181"/>
                <a:gd name="T83" fmla="*/ 7 h 181"/>
                <a:gd name="T84" fmla="*/ 99 w 181"/>
                <a:gd name="T85" fmla="*/ 1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81" h="181">
                  <a:moveTo>
                    <a:pt x="133" y="133"/>
                  </a:moveTo>
                  <a:lnTo>
                    <a:pt x="129" y="137"/>
                  </a:lnTo>
                  <a:lnTo>
                    <a:pt x="124" y="140"/>
                  </a:lnTo>
                  <a:lnTo>
                    <a:pt x="118" y="144"/>
                  </a:lnTo>
                  <a:lnTo>
                    <a:pt x="113" y="146"/>
                  </a:lnTo>
                  <a:lnTo>
                    <a:pt x="108" y="148"/>
                  </a:lnTo>
                  <a:lnTo>
                    <a:pt x="102" y="150"/>
                  </a:lnTo>
                  <a:lnTo>
                    <a:pt x="97" y="150"/>
                  </a:lnTo>
                  <a:lnTo>
                    <a:pt x="90" y="151"/>
                  </a:lnTo>
                  <a:lnTo>
                    <a:pt x="84" y="150"/>
                  </a:lnTo>
                  <a:lnTo>
                    <a:pt x="78" y="150"/>
                  </a:lnTo>
                  <a:lnTo>
                    <a:pt x="73" y="148"/>
                  </a:lnTo>
                  <a:lnTo>
                    <a:pt x="67" y="146"/>
                  </a:lnTo>
                  <a:lnTo>
                    <a:pt x="62" y="144"/>
                  </a:lnTo>
                  <a:lnTo>
                    <a:pt x="57" y="140"/>
                  </a:lnTo>
                  <a:lnTo>
                    <a:pt x="52" y="137"/>
                  </a:lnTo>
                  <a:lnTo>
                    <a:pt x="47" y="133"/>
                  </a:lnTo>
                  <a:lnTo>
                    <a:pt x="44" y="129"/>
                  </a:lnTo>
                  <a:lnTo>
                    <a:pt x="40" y="124"/>
                  </a:lnTo>
                  <a:lnTo>
                    <a:pt x="37" y="119"/>
                  </a:lnTo>
                  <a:lnTo>
                    <a:pt x="34" y="113"/>
                  </a:lnTo>
                  <a:lnTo>
                    <a:pt x="32" y="108"/>
                  </a:lnTo>
                  <a:lnTo>
                    <a:pt x="31" y="103"/>
                  </a:lnTo>
                  <a:lnTo>
                    <a:pt x="30" y="96"/>
                  </a:lnTo>
                  <a:lnTo>
                    <a:pt x="30" y="91"/>
                  </a:lnTo>
                  <a:lnTo>
                    <a:pt x="30" y="84"/>
                  </a:lnTo>
                  <a:lnTo>
                    <a:pt x="31" y="79"/>
                  </a:lnTo>
                  <a:lnTo>
                    <a:pt x="32" y="73"/>
                  </a:lnTo>
                  <a:lnTo>
                    <a:pt x="34" y="67"/>
                  </a:lnTo>
                  <a:lnTo>
                    <a:pt x="37" y="62"/>
                  </a:lnTo>
                  <a:lnTo>
                    <a:pt x="40" y="56"/>
                  </a:lnTo>
                  <a:lnTo>
                    <a:pt x="44" y="52"/>
                  </a:lnTo>
                  <a:lnTo>
                    <a:pt x="47" y="48"/>
                  </a:lnTo>
                  <a:lnTo>
                    <a:pt x="52" y="44"/>
                  </a:lnTo>
                  <a:lnTo>
                    <a:pt x="57" y="40"/>
                  </a:lnTo>
                  <a:lnTo>
                    <a:pt x="62" y="37"/>
                  </a:lnTo>
                  <a:lnTo>
                    <a:pt x="67" y="35"/>
                  </a:lnTo>
                  <a:lnTo>
                    <a:pt x="73" y="33"/>
                  </a:lnTo>
                  <a:lnTo>
                    <a:pt x="78" y="32"/>
                  </a:lnTo>
                  <a:lnTo>
                    <a:pt x="84" y="31"/>
                  </a:lnTo>
                  <a:lnTo>
                    <a:pt x="90" y="31"/>
                  </a:lnTo>
                  <a:lnTo>
                    <a:pt x="97" y="31"/>
                  </a:lnTo>
                  <a:lnTo>
                    <a:pt x="102" y="32"/>
                  </a:lnTo>
                  <a:lnTo>
                    <a:pt x="108" y="33"/>
                  </a:lnTo>
                  <a:lnTo>
                    <a:pt x="113" y="35"/>
                  </a:lnTo>
                  <a:lnTo>
                    <a:pt x="118" y="37"/>
                  </a:lnTo>
                  <a:lnTo>
                    <a:pt x="124" y="40"/>
                  </a:lnTo>
                  <a:lnTo>
                    <a:pt x="129" y="44"/>
                  </a:lnTo>
                  <a:lnTo>
                    <a:pt x="133" y="48"/>
                  </a:lnTo>
                  <a:lnTo>
                    <a:pt x="137" y="52"/>
                  </a:lnTo>
                  <a:lnTo>
                    <a:pt x="141" y="56"/>
                  </a:lnTo>
                  <a:lnTo>
                    <a:pt x="143" y="62"/>
                  </a:lnTo>
                  <a:lnTo>
                    <a:pt x="146" y="67"/>
                  </a:lnTo>
                  <a:lnTo>
                    <a:pt x="148" y="73"/>
                  </a:lnTo>
                  <a:lnTo>
                    <a:pt x="149" y="79"/>
                  </a:lnTo>
                  <a:lnTo>
                    <a:pt x="151" y="84"/>
                  </a:lnTo>
                  <a:lnTo>
                    <a:pt x="151" y="91"/>
                  </a:lnTo>
                  <a:lnTo>
                    <a:pt x="151" y="96"/>
                  </a:lnTo>
                  <a:lnTo>
                    <a:pt x="149" y="103"/>
                  </a:lnTo>
                  <a:lnTo>
                    <a:pt x="148" y="108"/>
                  </a:lnTo>
                  <a:lnTo>
                    <a:pt x="146" y="113"/>
                  </a:lnTo>
                  <a:lnTo>
                    <a:pt x="143" y="119"/>
                  </a:lnTo>
                  <a:lnTo>
                    <a:pt x="141" y="124"/>
                  </a:lnTo>
                  <a:lnTo>
                    <a:pt x="137" y="129"/>
                  </a:lnTo>
                  <a:lnTo>
                    <a:pt x="133" y="133"/>
                  </a:lnTo>
                  <a:close/>
                  <a:moveTo>
                    <a:pt x="90" y="0"/>
                  </a:moveTo>
                  <a:lnTo>
                    <a:pt x="82" y="1"/>
                  </a:lnTo>
                  <a:lnTo>
                    <a:pt x="72" y="2"/>
                  </a:lnTo>
                  <a:lnTo>
                    <a:pt x="63" y="4"/>
                  </a:lnTo>
                  <a:lnTo>
                    <a:pt x="56" y="7"/>
                  </a:lnTo>
                  <a:lnTo>
                    <a:pt x="47" y="10"/>
                  </a:lnTo>
                  <a:lnTo>
                    <a:pt x="40" y="16"/>
                  </a:lnTo>
                  <a:lnTo>
                    <a:pt x="33" y="20"/>
                  </a:lnTo>
                  <a:lnTo>
                    <a:pt x="27" y="26"/>
                  </a:lnTo>
                  <a:lnTo>
                    <a:pt x="20" y="33"/>
                  </a:lnTo>
                  <a:lnTo>
                    <a:pt x="15" y="40"/>
                  </a:lnTo>
                  <a:lnTo>
                    <a:pt x="11" y="48"/>
                  </a:lnTo>
                  <a:lnTo>
                    <a:pt x="6" y="55"/>
                  </a:lnTo>
                  <a:lnTo>
                    <a:pt x="3" y="64"/>
                  </a:lnTo>
                  <a:lnTo>
                    <a:pt x="1" y="73"/>
                  </a:lnTo>
                  <a:lnTo>
                    <a:pt x="0" y="81"/>
                  </a:lnTo>
                  <a:lnTo>
                    <a:pt x="0" y="91"/>
                  </a:lnTo>
                  <a:lnTo>
                    <a:pt x="0" y="100"/>
                  </a:lnTo>
                  <a:lnTo>
                    <a:pt x="1" y="108"/>
                  </a:lnTo>
                  <a:lnTo>
                    <a:pt x="3" y="117"/>
                  </a:lnTo>
                  <a:lnTo>
                    <a:pt x="6" y="125"/>
                  </a:lnTo>
                  <a:lnTo>
                    <a:pt x="11" y="133"/>
                  </a:lnTo>
                  <a:lnTo>
                    <a:pt x="15" y="140"/>
                  </a:lnTo>
                  <a:lnTo>
                    <a:pt x="20" y="148"/>
                  </a:lnTo>
                  <a:lnTo>
                    <a:pt x="27" y="154"/>
                  </a:lnTo>
                  <a:lnTo>
                    <a:pt x="33" y="161"/>
                  </a:lnTo>
                  <a:lnTo>
                    <a:pt x="40" y="166"/>
                  </a:lnTo>
                  <a:lnTo>
                    <a:pt x="47" y="170"/>
                  </a:lnTo>
                  <a:lnTo>
                    <a:pt x="56" y="174"/>
                  </a:lnTo>
                  <a:lnTo>
                    <a:pt x="63" y="177"/>
                  </a:lnTo>
                  <a:lnTo>
                    <a:pt x="72" y="179"/>
                  </a:lnTo>
                  <a:lnTo>
                    <a:pt x="82" y="180"/>
                  </a:lnTo>
                  <a:lnTo>
                    <a:pt x="90" y="181"/>
                  </a:lnTo>
                  <a:lnTo>
                    <a:pt x="99" y="180"/>
                  </a:lnTo>
                  <a:lnTo>
                    <a:pt x="109" y="179"/>
                  </a:lnTo>
                  <a:lnTo>
                    <a:pt x="116" y="177"/>
                  </a:lnTo>
                  <a:lnTo>
                    <a:pt x="125" y="174"/>
                  </a:lnTo>
                  <a:lnTo>
                    <a:pt x="133" y="170"/>
                  </a:lnTo>
                  <a:lnTo>
                    <a:pt x="141" y="166"/>
                  </a:lnTo>
                  <a:lnTo>
                    <a:pt x="147" y="161"/>
                  </a:lnTo>
                  <a:lnTo>
                    <a:pt x="154" y="154"/>
                  </a:lnTo>
                  <a:lnTo>
                    <a:pt x="160" y="148"/>
                  </a:lnTo>
                  <a:lnTo>
                    <a:pt x="166" y="140"/>
                  </a:lnTo>
                  <a:lnTo>
                    <a:pt x="170" y="133"/>
                  </a:lnTo>
                  <a:lnTo>
                    <a:pt x="174" y="125"/>
                  </a:lnTo>
                  <a:lnTo>
                    <a:pt x="176" y="117"/>
                  </a:lnTo>
                  <a:lnTo>
                    <a:pt x="179" y="108"/>
                  </a:lnTo>
                  <a:lnTo>
                    <a:pt x="181" y="100"/>
                  </a:lnTo>
                  <a:lnTo>
                    <a:pt x="181" y="91"/>
                  </a:lnTo>
                  <a:lnTo>
                    <a:pt x="181" y="81"/>
                  </a:lnTo>
                  <a:lnTo>
                    <a:pt x="179" y="73"/>
                  </a:lnTo>
                  <a:lnTo>
                    <a:pt x="176" y="64"/>
                  </a:lnTo>
                  <a:lnTo>
                    <a:pt x="174" y="55"/>
                  </a:lnTo>
                  <a:lnTo>
                    <a:pt x="170" y="48"/>
                  </a:lnTo>
                  <a:lnTo>
                    <a:pt x="166" y="40"/>
                  </a:lnTo>
                  <a:lnTo>
                    <a:pt x="160" y="33"/>
                  </a:lnTo>
                  <a:lnTo>
                    <a:pt x="154" y="26"/>
                  </a:lnTo>
                  <a:lnTo>
                    <a:pt x="147" y="20"/>
                  </a:lnTo>
                  <a:lnTo>
                    <a:pt x="141" y="16"/>
                  </a:lnTo>
                  <a:lnTo>
                    <a:pt x="133" y="10"/>
                  </a:lnTo>
                  <a:lnTo>
                    <a:pt x="125" y="7"/>
                  </a:lnTo>
                  <a:lnTo>
                    <a:pt x="116" y="4"/>
                  </a:lnTo>
                  <a:lnTo>
                    <a:pt x="109" y="2"/>
                  </a:lnTo>
                  <a:lnTo>
                    <a:pt x="99" y="1"/>
                  </a:lnTo>
                  <a:lnTo>
                    <a:pt x="90" y="0"/>
                  </a:lnTo>
                  <a:lnTo>
                    <a:pt x="9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ea typeface="+mn-ea"/>
                <a:cs typeface="+mn-cs"/>
              </a:endParaRPr>
            </a:p>
          </p:txBody>
        </p:sp>
        <p:sp>
          <p:nvSpPr>
            <p:cNvPr id="239" name="Freeform 63"/>
            <p:cNvSpPr>
              <a:spLocks noEditPoints="1"/>
            </p:cNvSpPr>
            <p:nvPr/>
          </p:nvSpPr>
          <p:spPr bwMode="auto">
            <a:xfrm>
              <a:off x="5002213" y="838200"/>
              <a:ext cx="49213" cy="49213"/>
            </a:xfrm>
            <a:custGeom>
              <a:avLst/>
              <a:gdLst>
                <a:gd name="T0" fmla="*/ 100 w 151"/>
                <a:gd name="T1" fmla="*/ 113 h 151"/>
                <a:gd name="T2" fmla="*/ 84 w 151"/>
                <a:gd name="T3" fmla="*/ 120 h 151"/>
                <a:gd name="T4" fmla="*/ 67 w 151"/>
                <a:gd name="T5" fmla="*/ 120 h 151"/>
                <a:gd name="T6" fmla="*/ 51 w 151"/>
                <a:gd name="T7" fmla="*/ 113 h 151"/>
                <a:gd name="T8" fmla="*/ 38 w 151"/>
                <a:gd name="T9" fmla="*/ 100 h 151"/>
                <a:gd name="T10" fmla="*/ 32 w 151"/>
                <a:gd name="T11" fmla="*/ 84 h 151"/>
                <a:gd name="T12" fmla="*/ 32 w 151"/>
                <a:gd name="T13" fmla="*/ 67 h 151"/>
                <a:gd name="T14" fmla="*/ 38 w 151"/>
                <a:gd name="T15" fmla="*/ 51 h 151"/>
                <a:gd name="T16" fmla="*/ 51 w 151"/>
                <a:gd name="T17" fmla="*/ 38 h 151"/>
                <a:gd name="T18" fmla="*/ 67 w 151"/>
                <a:gd name="T19" fmla="*/ 32 h 151"/>
                <a:gd name="T20" fmla="*/ 84 w 151"/>
                <a:gd name="T21" fmla="*/ 32 h 151"/>
                <a:gd name="T22" fmla="*/ 100 w 151"/>
                <a:gd name="T23" fmla="*/ 38 h 151"/>
                <a:gd name="T24" fmla="*/ 113 w 151"/>
                <a:gd name="T25" fmla="*/ 51 h 151"/>
                <a:gd name="T26" fmla="*/ 120 w 151"/>
                <a:gd name="T27" fmla="*/ 67 h 151"/>
                <a:gd name="T28" fmla="*/ 120 w 151"/>
                <a:gd name="T29" fmla="*/ 84 h 151"/>
                <a:gd name="T30" fmla="*/ 113 w 151"/>
                <a:gd name="T31" fmla="*/ 100 h 151"/>
                <a:gd name="T32" fmla="*/ 76 w 151"/>
                <a:gd name="T33" fmla="*/ 0 h 151"/>
                <a:gd name="T34" fmla="*/ 61 w 151"/>
                <a:gd name="T35" fmla="*/ 1 h 151"/>
                <a:gd name="T36" fmla="*/ 47 w 151"/>
                <a:gd name="T37" fmla="*/ 6 h 151"/>
                <a:gd name="T38" fmla="*/ 34 w 151"/>
                <a:gd name="T39" fmla="*/ 13 h 151"/>
                <a:gd name="T40" fmla="*/ 22 w 151"/>
                <a:gd name="T41" fmla="*/ 22 h 151"/>
                <a:gd name="T42" fmla="*/ 13 w 151"/>
                <a:gd name="T43" fmla="*/ 34 h 151"/>
                <a:gd name="T44" fmla="*/ 6 w 151"/>
                <a:gd name="T45" fmla="*/ 47 h 151"/>
                <a:gd name="T46" fmla="*/ 1 w 151"/>
                <a:gd name="T47" fmla="*/ 61 h 151"/>
                <a:gd name="T48" fmla="*/ 0 w 151"/>
                <a:gd name="T49" fmla="*/ 76 h 151"/>
                <a:gd name="T50" fmla="*/ 1 w 151"/>
                <a:gd name="T51" fmla="*/ 91 h 151"/>
                <a:gd name="T52" fmla="*/ 6 w 151"/>
                <a:gd name="T53" fmla="*/ 105 h 151"/>
                <a:gd name="T54" fmla="*/ 13 w 151"/>
                <a:gd name="T55" fmla="*/ 118 h 151"/>
                <a:gd name="T56" fmla="*/ 22 w 151"/>
                <a:gd name="T57" fmla="*/ 129 h 151"/>
                <a:gd name="T58" fmla="*/ 34 w 151"/>
                <a:gd name="T59" fmla="*/ 138 h 151"/>
                <a:gd name="T60" fmla="*/ 47 w 151"/>
                <a:gd name="T61" fmla="*/ 146 h 151"/>
                <a:gd name="T62" fmla="*/ 61 w 151"/>
                <a:gd name="T63" fmla="*/ 150 h 151"/>
                <a:gd name="T64" fmla="*/ 76 w 151"/>
                <a:gd name="T65" fmla="*/ 151 h 151"/>
                <a:gd name="T66" fmla="*/ 91 w 151"/>
                <a:gd name="T67" fmla="*/ 150 h 151"/>
                <a:gd name="T68" fmla="*/ 105 w 151"/>
                <a:gd name="T69" fmla="*/ 146 h 151"/>
                <a:gd name="T70" fmla="*/ 118 w 151"/>
                <a:gd name="T71" fmla="*/ 138 h 151"/>
                <a:gd name="T72" fmla="*/ 128 w 151"/>
                <a:gd name="T73" fmla="*/ 129 h 151"/>
                <a:gd name="T74" fmla="*/ 138 w 151"/>
                <a:gd name="T75" fmla="*/ 118 h 151"/>
                <a:gd name="T76" fmla="*/ 146 w 151"/>
                <a:gd name="T77" fmla="*/ 105 h 151"/>
                <a:gd name="T78" fmla="*/ 150 w 151"/>
                <a:gd name="T79" fmla="*/ 91 h 151"/>
                <a:gd name="T80" fmla="*/ 151 w 151"/>
                <a:gd name="T81" fmla="*/ 76 h 151"/>
                <a:gd name="T82" fmla="*/ 150 w 151"/>
                <a:gd name="T83" fmla="*/ 61 h 151"/>
                <a:gd name="T84" fmla="*/ 146 w 151"/>
                <a:gd name="T85" fmla="*/ 47 h 151"/>
                <a:gd name="T86" fmla="*/ 138 w 151"/>
                <a:gd name="T87" fmla="*/ 34 h 151"/>
                <a:gd name="T88" fmla="*/ 128 w 151"/>
                <a:gd name="T89" fmla="*/ 23 h 151"/>
                <a:gd name="T90" fmla="*/ 118 w 151"/>
                <a:gd name="T91" fmla="*/ 13 h 151"/>
                <a:gd name="T92" fmla="*/ 105 w 151"/>
                <a:gd name="T93" fmla="*/ 6 h 151"/>
                <a:gd name="T94" fmla="*/ 91 w 151"/>
                <a:gd name="T95" fmla="*/ 1 h 151"/>
                <a:gd name="T96" fmla="*/ 76 w 151"/>
                <a:gd name="T97" fmla="*/ 0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51" h="151">
                  <a:moveTo>
                    <a:pt x="108" y="108"/>
                  </a:moveTo>
                  <a:lnTo>
                    <a:pt x="100" y="113"/>
                  </a:lnTo>
                  <a:lnTo>
                    <a:pt x="93" y="118"/>
                  </a:lnTo>
                  <a:lnTo>
                    <a:pt x="84" y="120"/>
                  </a:lnTo>
                  <a:lnTo>
                    <a:pt x="76" y="121"/>
                  </a:lnTo>
                  <a:lnTo>
                    <a:pt x="67" y="120"/>
                  </a:lnTo>
                  <a:lnTo>
                    <a:pt x="58" y="118"/>
                  </a:lnTo>
                  <a:lnTo>
                    <a:pt x="51" y="113"/>
                  </a:lnTo>
                  <a:lnTo>
                    <a:pt x="43" y="108"/>
                  </a:lnTo>
                  <a:lnTo>
                    <a:pt x="38" y="100"/>
                  </a:lnTo>
                  <a:lnTo>
                    <a:pt x="34" y="93"/>
                  </a:lnTo>
                  <a:lnTo>
                    <a:pt x="32" y="84"/>
                  </a:lnTo>
                  <a:lnTo>
                    <a:pt x="30" y="76"/>
                  </a:lnTo>
                  <a:lnTo>
                    <a:pt x="32" y="67"/>
                  </a:lnTo>
                  <a:lnTo>
                    <a:pt x="34" y="58"/>
                  </a:lnTo>
                  <a:lnTo>
                    <a:pt x="38" y="51"/>
                  </a:lnTo>
                  <a:lnTo>
                    <a:pt x="43" y="43"/>
                  </a:lnTo>
                  <a:lnTo>
                    <a:pt x="51" y="38"/>
                  </a:lnTo>
                  <a:lnTo>
                    <a:pt x="58" y="34"/>
                  </a:lnTo>
                  <a:lnTo>
                    <a:pt x="67" y="32"/>
                  </a:lnTo>
                  <a:lnTo>
                    <a:pt x="76" y="31"/>
                  </a:lnTo>
                  <a:lnTo>
                    <a:pt x="84" y="32"/>
                  </a:lnTo>
                  <a:lnTo>
                    <a:pt x="93" y="34"/>
                  </a:lnTo>
                  <a:lnTo>
                    <a:pt x="100" y="38"/>
                  </a:lnTo>
                  <a:lnTo>
                    <a:pt x="108" y="43"/>
                  </a:lnTo>
                  <a:lnTo>
                    <a:pt x="113" y="51"/>
                  </a:lnTo>
                  <a:lnTo>
                    <a:pt x="118" y="58"/>
                  </a:lnTo>
                  <a:lnTo>
                    <a:pt x="120" y="67"/>
                  </a:lnTo>
                  <a:lnTo>
                    <a:pt x="121" y="76"/>
                  </a:lnTo>
                  <a:lnTo>
                    <a:pt x="120" y="84"/>
                  </a:lnTo>
                  <a:lnTo>
                    <a:pt x="118" y="93"/>
                  </a:lnTo>
                  <a:lnTo>
                    <a:pt x="113" y="100"/>
                  </a:lnTo>
                  <a:lnTo>
                    <a:pt x="108" y="108"/>
                  </a:lnTo>
                  <a:close/>
                  <a:moveTo>
                    <a:pt x="76" y="0"/>
                  </a:moveTo>
                  <a:lnTo>
                    <a:pt x="68" y="0"/>
                  </a:lnTo>
                  <a:lnTo>
                    <a:pt x="61" y="1"/>
                  </a:lnTo>
                  <a:lnTo>
                    <a:pt x="53" y="4"/>
                  </a:lnTo>
                  <a:lnTo>
                    <a:pt x="47" y="6"/>
                  </a:lnTo>
                  <a:lnTo>
                    <a:pt x="40" y="9"/>
                  </a:lnTo>
                  <a:lnTo>
                    <a:pt x="34" y="13"/>
                  </a:lnTo>
                  <a:lnTo>
                    <a:pt x="27" y="18"/>
                  </a:lnTo>
                  <a:lnTo>
                    <a:pt x="22" y="22"/>
                  </a:lnTo>
                  <a:lnTo>
                    <a:pt x="18" y="28"/>
                  </a:lnTo>
                  <a:lnTo>
                    <a:pt x="13" y="34"/>
                  </a:lnTo>
                  <a:lnTo>
                    <a:pt x="9" y="40"/>
                  </a:lnTo>
                  <a:lnTo>
                    <a:pt x="6" y="47"/>
                  </a:lnTo>
                  <a:lnTo>
                    <a:pt x="4" y="54"/>
                  </a:lnTo>
                  <a:lnTo>
                    <a:pt x="1" y="61"/>
                  </a:lnTo>
                  <a:lnTo>
                    <a:pt x="0" y="68"/>
                  </a:lnTo>
                  <a:lnTo>
                    <a:pt x="0" y="76"/>
                  </a:lnTo>
                  <a:lnTo>
                    <a:pt x="0" y="83"/>
                  </a:lnTo>
                  <a:lnTo>
                    <a:pt x="1" y="91"/>
                  </a:lnTo>
                  <a:lnTo>
                    <a:pt x="4" y="97"/>
                  </a:lnTo>
                  <a:lnTo>
                    <a:pt x="6" y="105"/>
                  </a:lnTo>
                  <a:lnTo>
                    <a:pt x="9" y="111"/>
                  </a:lnTo>
                  <a:lnTo>
                    <a:pt x="13" y="118"/>
                  </a:lnTo>
                  <a:lnTo>
                    <a:pt x="18" y="123"/>
                  </a:lnTo>
                  <a:lnTo>
                    <a:pt x="22" y="129"/>
                  </a:lnTo>
                  <a:lnTo>
                    <a:pt x="27" y="134"/>
                  </a:lnTo>
                  <a:lnTo>
                    <a:pt x="34" y="138"/>
                  </a:lnTo>
                  <a:lnTo>
                    <a:pt x="40" y="142"/>
                  </a:lnTo>
                  <a:lnTo>
                    <a:pt x="47" y="146"/>
                  </a:lnTo>
                  <a:lnTo>
                    <a:pt x="53" y="148"/>
                  </a:lnTo>
                  <a:lnTo>
                    <a:pt x="61" y="150"/>
                  </a:lnTo>
                  <a:lnTo>
                    <a:pt x="68" y="151"/>
                  </a:lnTo>
                  <a:lnTo>
                    <a:pt x="76" y="151"/>
                  </a:lnTo>
                  <a:lnTo>
                    <a:pt x="83" y="151"/>
                  </a:lnTo>
                  <a:lnTo>
                    <a:pt x="91" y="150"/>
                  </a:lnTo>
                  <a:lnTo>
                    <a:pt x="97" y="148"/>
                  </a:lnTo>
                  <a:lnTo>
                    <a:pt x="105" y="146"/>
                  </a:lnTo>
                  <a:lnTo>
                    <a:pt x="111" y="142"/>
                  </a:lnTo>
                  <a:lnTo>
                    <a:pt x="118" y="138"/>
                  </a:lnTo>
                  <a:lnTo>
                    <a:pt x="123" y="134"/>
                  </a:lnTo>
                  <a:lnTo>
                    <a:pt x="128" y="129"/>
                  </a:lnTo>
                  <a:lnTo>
                    <a:pt x="134" y="123"/>
                  </a:lnTo>
                  <a:lnTo>
                    <a:pt x="138" y="118"/>
                  </a:lnTo>
                  <a:lnTo>
                    <a:pt x="142" y="111"/>
                  </a:lnTo>
                  <a:lnTo>
                    <a:pt x="146" y="105"/>
                  </a:lnTo>
                  <a:lnTo>
                    <a:pt x="148" y="98"/>
                  </a:lnTo>
                  <a:lnTo>
                    <a:pt x="150" y="91"/>
                  </a:lnTo>
                  <a:lnTo>
                    <a:pt x="151" y="83"/>
                  </a:lnTo>
                  <a:lnTo>
                    <a:pt x="151" y="76"/>
                  </a:lnTo>
                  <a:lnTo>
                    <a:pt x="151" y="68"/>
                  </a:lnTo>
                  <a:lnTo>
                    <a:pt x="150" y="61"/>
                  </a:lnTo>
                  <a:lnTo>
                    <a:pt x="148" y="54"/>
                  </a:lnTo>
                  <a:lnTo>
                    <a:pt x="146" y="47"/>
                  </a:lnTo>
                  <a:lnTo>
                    <a:pt x="142" y="40"/>
                  </a:lnTo>
                  <a:lnTo>
                    <a:pt x="138" y="34"/>
                  </a:lnTo>
                  <a:lnTo>
                    <a:pt x="134" y="28"/>
                  </a:lnTo>
                  <a:lnTo>
                    <a:pt x="128" y="23"/>
                  </a:lnTo>
                  <a:lnTo>
                    <a:pt x="123" y="18"/>
                  </a:lnTo>
                  <a:lnTo>
                    <a:pt x="118" y="13"/>
                  </a:lnTo>
                  <a:lnTo>
                    <a:pt x="111" y="9"/>
                  </a:lnTo>
                  <a:lnTo>
                    <a:pt x="105" y="6"/>
                  </a:lnTo>
                  <a:lnTo>
                    <a:pt x="97" y="4"/>
                  </a:lnTo>
                  <a:lnTo>
                    <a:pt x="91" y="1"/>
                  </a:lnTo>
                  <a:lnTo>
                    <a:pt x="83" y="0"/>
                  </a:lnTo>
                  <a:lnTo>
                    <a:pt x="76" y="0"/>
                  </a:lnTo>
                  <a:lnTo>
                    <a:pt x="7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ea typeface="+mn-ea"/>
                <a:cs typeface="+mn-cs"/>
              </a:endParaRPr>
            </a:p>
          </p:txBody>
        </p:sp>
      </p:grpSp>
      <p:grpSp>
        <p:nvGrpSpPr>
          <p:cNvPr id="243" name="Group 242"/>
          <p:cNvGrpSpPr/>
          <p:nvPr/>
        </p:nvGrpSpPr>
        <p:grpSpPr>
          <a:xfrm>
            <a:off x="9371266" y="4126315"/>
            <a:ext cx="288132" cy="376237"/>
            <a:chOff x="1177620" y="4126315"/>
            <a:chExt cx="288132" cy="376237"/>
          </a:xfrm>
          <a:solidFill>
            <a:schemeClr val="bg1"/>
          </a:solidFill>
        </p:grpSpPr>
        <p:cxnSp>
          <p:nvCxnSpPr>
            <p:cNvPr id="247" name="Straight Connector 246"/>
            <p:cNvCxnSpPr/>
            <p:nvPr/>
          </p:nvCxnSpPr>
          <p:spPr>
            <a:xfrm>
              <a:off x="1177620" y="4126315"/>
              <a:ext cx="288132" cy="0"/>
            </a:xfrm>
            <a:prstGeom prst="line">
              <a:avLst/>
            </a:prstGeom>
            <a:grpFill/>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48" name="Straight Connector 247"/>
            <p:cNvCxnSpPr/>
            <p:nvPr/>
          </p:nvCxnSpPr>
          <p:spPr>
            <a:xfrm>
              <a:off x="1177620" y="4502552"/>
              <a:ext cx="288132" cy="0"/>
            </a:xfrm>
            <a:prstGeom prst="line">
              <a:avLst/>
            </a:prstGeom>
            <a:grpFill/>
            <a:ln w="3175">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244" name="Group 243"/>
          <p:cNvGrpSpPr>
            <a:grpSpLocks noChangeAspect="1"/>
          </p:cNvGrpSpPr>
          <p:nvPr/>
        </p:nvGrpSpPr>
        <p:grpSpPr>
          <a:xfrm>
            <a:off x="9389332" y="4188433"/>
            <a:ext cx="252000" cy="252000"/>
            <a:chOff x="5510213" y="777875"/>
            <a:chExt cx="239713" cy="287338"/>
          </a:xfrm>
          <a:solidFill>
            <a:schemeClr val="bg1"/>
          </a:solidFill>
          <a:effectLst>
            <a:outerShdw blurRad="25400" dist="25400" dir="5400000" algn="t" rotWithShape="0">
              <a:prstClr val="black">
                <a:alpha val="40000"/>
              </a:prstClr>
            </a:outerShdw>
          </a:effectLst>
        </p:grpSpPr>
        <p:sp>
          <p:nvSpPr>
            <p:cNvPr id="245" name="Freeform 9"/>
            <p:cNvSpPr>
              <a:spLocks noEditPoints="1"/>
            </p:cNvSpPr>
            <p:nvPr/>
          </p:nvSpPr>
          <p:spPr bwMode="auto">
            <a:xfrm>
              <a:off x="5510213" y="777875"/>
              <a:ext cx="239713" cy="287338"/>
            </a:xfrm>
            <a:custGeom>
              <a:avLst/>
              <a:gdLst>
                <a:gd name="T0" fmla="*/ 31 w 754"/>
                <a:gd name="T1" fmla="*/ 443 h 904"/>
                <a:gd name="T2" fmla="*/ 63 w 754"/>
                <a:gd name="T3" fmla="*/ 396 h 904"/>
                <a:gd name="T4" fmla="*/ 284 w 754"/>
                <a:gd name="T5" fmla="*/ 390 h 904"/>
                <a:gd name="T6" fmla="*/ 314 w 754"/>
                <a:gd name="T7" fmla="*/ 370 h 904"/>
                <a:gd name="T8" fmla="*/ 319 w 754"/>
                <a:gd name="T9" fmla="*/ 324 h 904"/>
                <a:gd name="T10" fmla="*/ 301 w 754"/>
                <a:gd name="T11" fmla="*/ 241 h 904"/>
                <a:gd name="T12" fmla="*/ 310 w 754"/>
                <a:gd name="T13" fmla="*/ 69 h 904"/>
                <a:gd name="T14" fmla="*/ 340 w 754"/>
                <a:gd name="T15" fmla="*/ 39 h 904"/>
                <a:gd name="T16" fmla="*/ 386 w 754"/>
                <a:gd name="T17" fmla="*/ 30 h 904"/>
                <a:gd name="T18" fmla="*/ 428 w 754"/>
                <a:gd name="T19" fmla="*/ 48 h 904"/>
                <a:gd name="T20" fmla="*/ 454 w 754"/>
                <a:gd name="T21" fmla="*/ 86 h 904"/>
                <a:gd name="T22" fmla="*/ 449 w 754"/>
                <a:gd name="T23" fmla="*/ 276 h 904"/>
                <a:gd name="T24" fmla="*/ 432 w 754"/>
                <a:gd name="T25" fmla="*/ 340 h 904"/>
                <a:gd name="T26" fmla="*/ 447 w 754"/>
                <a:gd name="T27" fmla="*/ 379 h 904"/>
                <a:gd name="T28" fmla="*/ 483 w 754"/>
                <a:gd name="T29" fmla="*/ 391 h 904"/>
                <a:gd name="T30" fmla="*/ 702 w 754"/>
                <a:gd name="T31" fmla="*/ 404 h 904"/>
                <a:gd name="T32" fmla="*/ 724 w 754"/>
                <a:gd name="T33" fmla="*/ 573 h 904"/>
                <a:gd name="T34" fmla="*/ 630 w 754"/>
                <a:gd name="T35" fmla="*/ 685 h 904"/>
                <a:gd name="T36" fmla="*/ 615 w 754"/>
                <a:gd name="T37" fmla="*/ 678 h 904"/>
                <a:gd name="T38" fmla="*/ 603 w 754"/>
                <a:gd name="T39" fmla="*/ 690 h 904"/>
                <a:gd name="T40" fmla="*/ 542 w 754"/>
                <a:gd name="T41" fmla="*/ 732 h 904"/>
                <a:gd name="T42" fmla="*/ 528 w 754"/>
                <a:gd name="T43" fmla="*/ 724 h 904"/>
                <a:gd name="T44" fmla="*/ 514 w 754"/>
                <a:gd name="T45" fmla="*/ 732 h 904"/>
                <a:gd name="T46" fmla="*/ 452 w 754"/>
                <a:gd name="T47" fmla="*/ 796 h 904"/>
                <a:gd name="T48" fmla="*/ 440 w 754"/>
                <a:gd name="T49" fmla="*/ 784 h 904"/>
                <a:gd name="T50" fmla="*/ 425 w 754"/>
                <a:gd name="T51" fmla="*/ 790 h 904"/>
                <a:gd name="T52" fmla="*/ 241 w 754"/>
                <a:gd name="T53" fmla="*/ 739 h 904"/>
                <a:gd name="T54" fmla="*/ 219 w 754"/>
                <a:gd name="T55" fmla="*/ 725 h 904"/>
                <a:gd name="T56" fmla="*/ 694 w 754"/>
                <a:gd name="T57" fmla="*/ 603 h 904"/>
                <a:gd name="T58" fmla="*/ 467 w 754"/>
                <a:gd name="T59" fmla="*/ 356 h 904"/>
                <a:gd name="T60" fmla="*/ 474 w 754"/>
                <a:gd name="T61" fmla="*/ 301 h 904"/>
                <a:gd name="T62" fmla="*/ 485 w 754"/>
                <a:gd name="T63" fmla="*/ 88 h 904"/>
                <a:gd name="T64" fmla="*/ 455 w 754"/>
                <a:gd name="T65" fmla="*/ 32 h 904"/>
                <a:gd name="T66" fmla="*/ 400 w 754"/>
                <a:gd name="T67" fmla="*/ 2 h 904"/>
                <a:gd name="T68" fmla="*/ 335 w 754"/>
                <a:gd name="T69" fmla="*/ 7 h 904"/>
                <a:gd name="T70" fmla="*/ 289 w 754"/>
                <a:gd name="T71" fmla="*/ 45 h 904"/>
                <a:gd name="T72" fmla="*/ 271 w 754"/>
                <a:gd name="T73" fmla="*/ 105 h 904"/>
                <a:gd name="T74" fmla="*/ 289 w 754"/>
                <a:gd name="T75" fmla="*/ 330 h 904"/>
                <a:gd name="T76" fmla="*/ 278 w 754"/>
                <a:gd name="T77" fmla="*/ 361 h 904"/>
                <a:gd name="T78" fmla="*/ 46 w 754"/>
                <a:gd name="T79" fmla="*/ 370 h 904"/>
                <a:gd name="T80" fmla="*/ 13 w 754"/>
                <a:gd name="T81" fmla="*/ 406 h 904"/>
                <a:gd name="T82" fmla="*/ 0 w 754"/>
                <a:gd name="T83" fmla="*/ 453 h 904"/>
                <a:gd name="T84" fmla="*/ 6 w 754"/>
                <a:gd name="T85" fmla="*/ 600 h 904"/>
                <a:gd name="T86" fmla="*/ 30 w 754"/>
                <a:gd name="T87" fmla="*/ 892 h 904"/>
                <a:gd name="T88" fmla="*/ 42 w 754"/>
                <a:gd name="T89" fmla="*/ 904 h 904"/>
                <a:gd name="T90" fmla="*/ 164 w 754"/>
                <a:gd name="T91" fmla="*/ 896 h 904"/>
                <a:gd name="T92" fmla="*/ 215 w 754"/>
                <a:gd name="T93" fmla="*/ 900 h 904"/>
                <a:gd name="T94" fmla="*/ 712 w 754"/>
                <a:gd name="T95" fmla="*/ 904 h 904"/>
                <a:gd name="T96" fmla="*/ 724 w 754"/>
                <a:gd name="T97" fmla="*/ 892 h 904"/>
                <a:gd name="T98" fmla="*/ 747 w 754"/>
                <a:gd name="T99" fmla="*/ 600 h 904"/>
                <a:gd name="T100" fmla="*/ 754 w 754"/>
                <a:gd name="T101" fmla="*/ 451 h 904"/>
                <a:gd name="T102" fmla="*/ 741 w 754"/>
                <a:gd name="T103" fmla="*/ 406 h 904"/>
                <a:gd name="T104" fmla="*/ 706 w 754"/>
                <a:gd name="T105" fmla="*/ 370 h 9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754" h="904">
                  <a:moveTo>
                    <a:pt x="724" y="573"/>
                  </a:moveTo>
                  <a:lnTo>
                    <a:pt x="709" y="573"/>
                  </a:lnTo>
                  <a:lnTo>
                    <a:pt x="45" y="573"/>
                  </a:lnTo>
                  <a:lnTo>
                    <a:pt x="30" y="573"/>
                  </a:lnTo>
                  <a:lnTo>
                    <a:pt x="30" y="451"/>
                  </a:lnTo>
                  <a:lnTo>
                    <a:pt x="31" y="443"/>
                  </a:lnTo>
                  <a:lnTo>
                    <a:pt x="34" y="432"/>
                  </a:lnTo>
                  <a:lnTo>
                    <a:pt x="38" y="422"/>
                  </a:lnTo>
                  <a:lnTo>
                    <a:pt x="45" y="413"/>
                  </a:lnTo>
                  <a:lnTo>
                    <a:pt x="51" y="404"/>
                  </a:lnTo>
                  <a:lnTo>
                    <a:pt x="59" y="398"/>
                  </a:lnTo>
                  <a:lnTo>
                    <a:pt x="63" y="396"/>
                  </a:lnTo>
                  <a:lnTo>
                    <a:pt x="66" y="393"/>
                  </a:lnTo>
                  <a:lnTo>
                    <a:pt x="71" y="392"/>
                  </a:lnTo>
                  <a:lnTo>
                    <a:pt x="75" y="391"/>
                  </a:lnTo>
                  <a:lnTo>
                    <a:pt x="271" y="391"/>
                  </a:lnTo>
                  <a:lnTo>
                    <a:pt x="277" y="391"/>
                  </a:lnTo>
                  <a:lnTo>
                    <a:pt x="284" y="390"/>
                  </a:lnTo>
                  <a:lnTo>
                    <a:pt x="290" y="389"/>
                  </a:lnTo>
                  <a:lnTo>
                    <a:pt x="296" y="386"/>
                  </a:lnTo>
                  <a:lnTo>
                    <a:pt x="301" y="383"/>
                  </a:lnTo>
                  <a:lnTo>
                    <a:pt x="305" y="379"/>
                  </a:lnTo>
                  <a:lnTo>
                    <a:pt x="310" y="375"/>
                  </a:lnTo>
                  <a:lnTo>
                    <a:pt x="314" y="370"/>
                  </a:lnTo>
                  <a:lnTo>
                    <a:pt x="317" y="363"/>
                  </a:lnTo>
                  <a:lnTo>
                    <a:pt x="319" y="356"/>
                  </a:lnTo>
                  <a:lnTo>
                    <a:pt x="320" y="348"/>
                  </a:lnTo>
                  <a:lnTo>
                    <a:pt x="320" y="340"/>
                  </a:lnTo>
                  <a:lnTo>
                    <a:pt x="320" y="332"/>
                  </a:lnTo>
                  <a:lnTo>
                    <a:pt x="319" y="324"/>
                  </a:lnTo>
                  <a:lnTo>
                    <a:pt x="317" y="317"/>
                  </a:lnTo>
                  <a:lnTo>
                    <a:pt x="315" y="311"/>
                  </a:lnTo>
                  <a:lnTo>
                    <a:pt x="308" y="292"/>
                  </a:lnTo>
                  <a:lnTo>
                    <a:pt x="304" y="276"/>
                  </a:lnTo>
                  <a:lnTo>
                    <a:pt x="302" y="260"/>
                  </a:lnTo>
                  <a:lnTo>
                    <a:pt x="301" y="241"/>
                  </a:lnTo>
                  <a:lnTo>
                    <a:pt x="301" y="105"/>
                  </a:lnTo>
                  <a:lnTo>
                    <a:pt x="302" y="98"/>
                  </a:lnTo>
                  <a:lnTo>
                    <a:pt x="303" y="89"/>
                  </a:lnTo>
                  <a:lnTo>
                    <a:pt x="304" y="82"/>
                  </a:lnTo>
                  <a:lnTo>
                    <a:pt x="307" y="75"/>
                  </a:lnTo>
                  <a:lnTo>
                    <a:pt x="310" y="69"/>
                  </a:lnTo>
                  <a:lnTo>
                    <a:pt x="314" y="62"/>
                  </a:lnTo>
                  <a:lnTo>
                    <a:pt x="318" y="57"/>
                  </a:lnTo>
                  <a:lnTo>
                    <a:pt x="322" y="51"/>
                  </a:lnTo>
                  <a:lnTo>
                    <a:pt x="328" y="46"/>
                  </a:lnTo>
                  <a:lnTo>
                    <a:pt x="334" y="42"/>
                  </a:lnTo>
                  <a:lnTo>
                    <a:pt x="340" y="39"/>
                  </a:lnTo>
                  <a:lnTo>
                    <a:pt x="347" y="35"/>
                  </a:lnTo>
                  <a:lnTo>
                    <a:pt x="354" y="33"/>
                  </a:lnTo>
                  <a:lnTo>
                    <a:pt x="361" y="31"/>
                  </a:lnTo>
                  <a:lnTo>
                    <a:pt x="369" y="30"/>
                  </a:lnTo>
                  <a:lnTo>
                    <a:pt x="377" y="30"/>
                  </a:lnTo>
                  <a:lnTo>
                    <a:pt x="386" y="30"/>
                  </a:lnTo>
                  <a:lnTo>
                    <a:pt x="393" y="31"/>
                  </a:lnTo>
                  <a:lnTo>
                    <a:pt x="401" y="33"/>
                  </a:lnTo>
                  <a:lnTo>
                    <a:pt x="408" y="36"/>
                  </a:lnTo>
                  <a:lnTo>
                    <a:pt x="415" y="40"/>
                  </a:lnTo>
                  <a:lnTo>
                    <a:pt x="422" y="44"/>
                  </a:lnTo>
                  <a:lnTo>
                    <a:pt x="428" y="48"/>
                  </a:lnTo>
                  <a:lnTo>
                    <a:pt x="434" y="54"/>
                  </a:lnTo>
                  <a:lnTo>
                    <a:pt x="439" y="59"/>
                  </a:lnTo>
                  <a:lnTo>
                    <a:pt x="444" y="65"/>
                  </a:lnTo>
                  <a:lnTo>
                    <a:pt x="447" y="72"/>
                  </a:lnTo>
                  <a:lnTo>
                    <a:pt x="452" y="78"/>
                  </a:lnTo>
                  <a:lnTo>
                    <a:pt x="454" y="86"/>
                  </a:lnTo>
                  <a:lnTo>
                    <a:pt x="456" y="93"/>
                  </a:lnTo>
                  <a:lnTo>
                    <a:pt x="457" y="101"/>
                  </a:lnTo>
                  <a:lnTo>
                    <a:pt x="457" y="110"/>
                  </a:lnTo>
                  <a:lnTo>
                    <a:pt x="453" y="241"/>
                  </a:lnTo>
                  <a:lnTo>
                    <a:pt x="452" y="260"/>
                  </a:lnTo>
                  <a:lnTo>
                    <a:pt x="449" y="276"/>
                  </a:lnTo>
                  <a:lnTo>
                    <a:pt x="445" y="292"/>
                  </a:lnTo>
                  <a:lnTo>
                    <a:pt x="438" y="311"/>
                  </a:lnTo>
                  <a:lnTo>
                    <a:pt x="436" y="317"/>
                  </a:lnTo>
                  <a:lnTo>
                    <a:pt x="434" y="324"/>
                  </a:lnTo>
                  <a:lnTo>
                    <a:pt x="433" y="332"/>
                  </a:lnTo>
                  <a:lnTo>
                    <a:pt x="432" y="340"/>
                  </a:lnTo>
                  <a:lnTo>
                    <a:pt x="433" y="348"/>
                  </a:lnTo>
                  <a:lnTo>
                    <a:pt x="434" y="356"/>
                  </a:lnTo>
                  <a:lnTo>
                    <a:pt x="436" y="363"/>
                  </a:lnTo>
                  <a:lnTo>
                    <a:pt x="440" y="370"/>
                  </a:lnTo>
                  <a:lnTo>
                    <a:pt x="443" y="375"/>
                  </a:lnTo>
                  <a:lnTo>
                    <a:pt x="447" y="379"/>
                  </a:lnTo>
                  <a:lnTo>
                    <a:pt x="453" y="383"/>
                  </a:lnTo>
                  <a:lnTo>
                    <a:pt x="458" y="386"/>
                  </a:lnTo>
                  <a:lnTo>
                    <a:pt x="463" y="389"/>
                  </a:lnTo>
                  <a:lnTo>
                    <a:pt x="469" y="390"/>
                  </a:lnTo>
                  <a:lnTo>
                    <a:pt x="475" y="391"/>
                  </a:lnTo>
                  <a:lnTo>
                    <a:pt x="483" y="391"/>
                  </a:lnTo>
                  <a:lnTo>
                    <a:pt x="678" y="391"/>
                  </a:lnTo>
                  <a:lnTo>
                    <a:pt x="683" y="392"/>
                  </a:lnTo>
                  <a:lnTo>
                    <a:pt x="686" y="393"/>
                  </a:lnTo>
                  <a:lnTo>
                    <a:pt x="690" y="396"/>
                  </a:lnTo>
                  <a:lnTo>
                    <a:pt x="695" y="398"/>
                  </a:lnTo>
                  <a:lnTo>
                    <a:pt x="702" y="404"/>
                  </a:lnTo>
                  <a:lnTo>
                    <a:pt x="709" y="413"/>
                  </a:lnTo>
                  <a:lnTo>
                    <a:pt x="715" y="422"/>
                  </a:lnTo>
                  <a:lnTo>
                    <a:pt x="719" y="432"/>
                  </a:lnTo>
                  <a:lnTo>
                    <a:pt x="723" y="443"/>
                  </a:lnTo>
                  <a:lnTo>
                    <a:pt x="724" y="453"/>
                  </a:lnTo>
                  <a:lnTo>
                    <a:pt x="724" y="573"/>
                  </a:lnTo>
                  <a:close/>
                  <a:moveTo>
                    <a:pt x="694" y="874"/>
                  </a:moveTo>
                  <a:lnTo>
                    <a:pt x="633" y="874"/>
                  </a:lnTo>
                  <a:lnTo>
                    <a:pt x="633" y="693"/>
                  </a:lnTo>
                  <a:lnTo>
                    <a:pt x="632" y="690"/>
                  </a:lnTo>
                  <a:lnTo>
                    <a:pt x="632" y="687"/>
                  </a:lnTo>
                  <a:lnTo>
                    <a:pt x="630" y="685"/>
                  </a:lnTo>
                  <a:lnTo>
                    <a:pt x="629" y="683"/>
                  </a:lnTo>
                  <a:lnTo>
                    <a:pt x="627" y="681"/>
                  </a:lnTo>
                  <a:lnTo>
                    <a:pt x="624" y="679"/>
                  </a:lnTo>
                  <a:lnTo>
                    <a:pt x="621" y="678"/>
                  </a:lnTo>
                  <a:lnTo>
                    <a:pt x="618" y="678"/>
                  </a:lnTo>
                  <a:lnTo>
                    <a:pt x="615" y="678"/>
                  </a:lnTo>
                  <a:lnTo>
                    <a:pt x="612" y="679"/>
                  </a:lnTo>
                  <a:lnTo>
                    <a:pt x="610" y="681"/>
                  </a:lnTo>
                  <a:lnTo>
                    <a:pt x="607" y="683"/>
                  </a:lnTo>
                  <a:lnTo>
                    <a:pt x="605" y="685"/>
                  </a:lnTo>
                  <a:lnTo>
                    <a:pt x="604" y="687"/>
                  </a:lnTo>
                  <a:lnTo>
                    <a:pt x="603" y="690"/>
                  </a:lnTo>
                  <a:lnTo>
                    <a:pt x="603" y="693"/>
                  </a:lnTo>
                  <a:lnTo>
                    <a:pt x="603" y="874"/>
                  </a:lnTo>
                  <a:lnTo>
                    <a:pt x="543" y="874"/>
                  </a:lnTo>
                  <a:lnTo>
                    <a:pt x="543" y="739"/>
                  </a:lnTo>
                  <a:lnTo>
                    <a:pt x="542" y="735"/>
                  </a:lnTo>
                  <a:lnTo>
                    <a:pt x="542" y="732"/>
                  </a:lnTo>
                  <a:lnTo>
                    <a:pt x="540" y="730"/>
                  </a:lnTo>
                  <a:lnTo>
                    <a:pt x="539" y="728"/>
                  </a:lnTo>
                  <a:lnTo>
                    <a:pt x="535" y="726"/>
                  </a:lnTo>
                  <a:lnTo>
                    <a:pt x="533" y="725"/>
                  </a:lnTo>
                  <a:lnTo>
                    <a:pt x="530" y="724"/>
                  </a:lnTo>
                  <a:lnTo>
                    <a:pt x="528" y="724"/>
                  </a:lnTo>
                  <a:lnTo>
                    <a:pt x="525" y="724"/>
                  </a:lnTo>
                  <a:lnTo>
                    <a:pt x="521" y="725"/>
                  </a:lnTo>
                  <a:lnTo>
                    <a:pt x="519" y="726"/>
                  </a:lnTo>
                  <a:lnTo>
                    <a:pt x="517" y="728"/>
                  </a:lnTo>
                  <a:lnTo>
                    <a:pt x="515" y="730"/>
                  </a:lnTo>
                  <a:lnTo>
                    <a:pt x="514" y="732"/>
                  </a:lnTo>
                  <a:lnTo>
                    <a:pt x="513" y="735"/>
                  </a:lnTo>
                  <a:lnTo>
                    <a:pt x="513" y="739"/>
                  </a:lnTo>
                  <a:lnTo>
                    <a:pt x="513" y="874"/>
                  </a:lnTo>
                  <a:lnTo>
                    <a:pt x="453" y="874"/>
                  </a:lnTo>
                  <a:lnTo>
                    <a:pt x="453" y="799"/>
                  </a:lnTo>
                  <a:lnTo>
                    <a:pt x="452" y="796"/>
                  </a:lnTo>
                  <a:lnTo>
                    <a:pt x="450" y="793"/>
                  </a:lnTo>
                  <a:lnTo>
                    <a:pt x="449" y="790"/>
                  </a:lnTo>
                  <a:lnTo>
                    <a:pt x="447" y="788"/>
                  </a:lnTo>
                  <a:lnTo>
                    <a:pt x="445" y="786"/>
                  </a:lnTo>
                  <a:lnTo>
                    <a:pt x="443" y="785"/>
                  </a:lnTo>
                  <a:lnTo>
                    <a:pt x="440" y="784"/>
                  </a:lnTo>
                  <a:lnTo>
                    <a:pt x="436" y="784"/>
                  </a:lnTo>
                  <a:lnTo>
                    <a:pt x="434" y="784"/>
                  </a:lnTo>
                  <a:lnTo>
                    <a:pt x="431" y="785"/>
                  </a:lnTo>
                  <a:lnTo>
                    <a:pt x="429" y="786"/>
                  </a:lnTo>
                  <a:lnTo>
                    <a:pt x="427" y="788"/>
                  </a:lnTo>
                  <a:lnTo>
                    <a:pt x="425" y="790"/>
                  </a:lnTo>
                  <a:lnTo>
                    <a:pt x="424" y="793"/>
                  </a:lnTo>
                  <a:lnTo>
                    <a:pt x="422" y="796"/>
                  </a:lnTo>
                  <a:lnTo>
                    <a:pt x="421" y="799"/>
                  </a:lnTo>
                  <a:lnTo>
                    <a:pt x="421" y="874"/>
                  </a:lnTo>
                  <a:lnTo>
                    <a:pt x="241" y="874"/>
                  </a:lnTo>
                  <a:lnTo>
                    <a:pt x="241" y="739"/>
                  </a:lnTo>
                  <a:lnTo>
                    <a:pt x="240" y="733"/>
                  </a:lnTo>
                  <a:lnTo>
                    <a:pt x="237" y="729"/>
                  </a:lnTo>
                  <a:lnTo>
                    <a:pt x="234" y="726"/>
                  </a:lnTo>
                  <a:lnTo>
                    <a:pt x="229" y="724"/>
                  </a:lnTo>
                  <a:lnTo>
                    <a:pt x="225" y="724"/>
                  </a:lnTo>
                  <a:lnTo>
                    <a:pt x="219" y="725"/>
                  </a:lnTo>
                  <a:lnTo>
                    <a:pt x="215" y="728"/>
                  </a:lnTo>
                  <a:lnTo>
                    <a:pt x="213" y="732"/>
                  </a:lnTo>
                  <a:lnTo>
                    <a:pt x="141" y="874"/>
                  </a:lnTo>
                  <a:lnTo>
                    <a:pt x="60" y="874"/>
                  </a:lnTo>
                  <a:lnTo>
                    <a:pt x="60" y="603"/>
                  </a:lnTo>
                  <a:lnTo>
                    <a:pt x="694" y="603"/>
                  </a:lnTo>
                  <a:lnTo>
                    <a:pt x="694" y="874"/>
                  </a:lnTo>
                  <a:close/>
                  <a:moveTo>
                    <a:pt x="678" y="361"/>
                  </a:moveTo>
                  <a:lnTo>
                    <a:pt x="483" y="361"/>
                  </a:lnTo>
                  <a:lnTo>
                    <a:pt x="475" y="361"/>
                  </a:lnTo>
                  <a:lnTo>
                    <a:pt x="471" y="359"/>
                  </a:lnTo>
                  <a:lnTo>
                    <a:pt x="467" y="356"/>
                  </a:lnTo>
                  <a:lnTo>
                    <a:pt x="464" y="354"/>
                  </a:lnTo>
                  <a:lnTo>
                    <a:pt x="463" y="348"/>
                  </a:lnTo>
                  <a:lnTo>
                    <a:pt x="462" y="340"/>
                  </a:lnTo>
                  <a:lnTo>
                    <a:pt x="463" y="330"/>
                  </a:lnTo>
                  <a:lnTo>
                    <a:pt x="467" y="322"/>
                  </a:lnTo>
                  <a:lnTo>
                    <a:pt x="474" y="301"/>
                  </a:lnTo>
                  <a:lnTo>
                    <a:pt x="478" y="282"/>
                  </a:lnTo>
                  <a:lnTo>
                    <a:pt x="482" y="263"/>
                  </a:lnTo>
                  <a:lnTo>
                    <a:pt x="483" y="242"/>
                  </a:lnTo>
                  <a:lnTo>
                    <a:pt x="487" y="110"/>
                  </a:lnTo>
                  <a:lnTo>
                    <a:pt x="487" y="99"/>
                  </a:lnTo>
                  <a:lnTo>
                    <a:pt x="485" y="88"/>
                  </a:lnTo>
                  <a:lnTo>
                    <a:pt x="483" y="77"/>
                  </a:lnTo>
                  <a:lnTo>
                    <a:pt x="478" y="67"/>
                  </a:lnTo>
                  <a:lnTo>
                    <a:pt x="474" y="58"/>
                  </a:lnTo>
                  <a:lnTo>
                    <a:pt x="469" y="48"/>
                  </a:lnTo>
                  <a:lnTo>
                    <a:pt x="462" y="40"/>
                  </a:lnTo>
                  <a:lnTo>
                    <a:pt x="455" y="32"/>
                  </a:lnTo>
                  <a:lnTo>
                    <a:pt x="447" y="25"/>
                  </a:lnTo>
                  <a:lnTo>
                    <a:pt x="439" y="18"/>
                  </a:lnTo>
                  <a:lnTo>
                    <a:pt x="430" y="13"/>
                  </a:lnTo>
                  <a:lnTo>
                    <a:pt x="420" y="8"/>
                  </a:lnTo>
                  <a:lnTo>
                    <a:pt x="410" y="5"/>
                  </a:lnTo>
                  <a:lnTo>
                    <a:pt x="400" y="2"/>
                  </a:lnTo>
                  <a:lnTo>
                    <a:pt x="388" y="0"/>
                  </a:lnTo>
                  <a:lnTo>
                    <a:pt x="377" y="0"/>
                  </a:lnTo>
                  <a:lnTo>
                    <a:pt x="367" y="0"/>
                  </a:lnTo>
                  <a:lnTo>
                    <a:pt x="356" y="2"/>
                  </a:lnTo>
                  <a:lnTo>
                    <a:pt x="345" y="4"/>
                  </a:lnTo>
                  <a:lnTo>
                    <a:pt x="335" y="7"/>
                  </a:lnTo>
                  <a:lnTo>
                    <a:pt x="326" y="12"/>
                  </a:lnTo>
                  <a:lnTo>
                    <a:pt x="317" y="17"/>
                  </a:lnTo>
                  <a:lnTo>
                    <a:pt x="308" y="24"/>
                  </a:lnTo>
                  <a:lnTo>
                    <a:pt x="302" y="30"/>
                  </a:lnTo>
                  <a:lnTo>
                    <a:pt x="294" y="37"/>
                  </a:lnTo>
                  <a:lnTo>
                    <a:pt x="289" y="45"/>
                  </a:lnTo>
                  <a:lnTo>
                    <a:pt x="284" y="55"/>
                  </a:lnTo>
                  <a:lnTo>
                    <a:pt x="279" y="63"/>
                  </a:lnTo>
                  <a:lnTo>
                    <a:pt x="276" y="73"/>
                  </a:lnTo>
                  <a:lnTo>
                    <a:pt x="273" y="84"/>
                  </a:lnTo>
                  <a:lnTo>
                    <a:pt x="272" y="94"/>
                  </a:lnTo>
                  <a:lnTo>
                    <a:pt x="271" y="105"/>
                  </a:lnTo>
                  <a:lnTo>
                    <a:pt x="271" y="241"/>
                  </a:lnTo>
                  <a:lnTo>
                    <a:pt x="272" y="262"/>
                  </a:lnTo>
                  <a:lnTo>
                    <a:pt x="274" y="282"/>
                  </a:lnTo>
                  <a:lnTo>
                    <a:pt x="279" y="301"/>
                  </a:lnTo>
                  <a:lnTo>
                    <a:pt x="287" y="322"/>
                  </a:lnTo>
                  <a:lnTo>
                    <a:pt x="289" y="330"/>
                  </a:lnTo>
                  <a:lnTo>
                    <a:pt x="290" y="340"/>
                  </a:lnTo>
                  <a:lnTo>
                    <a:pt x="290" y="348"/>
                  </a:lnTo>
                  <a:lnTo>
                    <a:pt x="289" y="354"/>
                  </a:lnTo>
                  <a:lnTo>
                    <a:pt x="286" y="356"/>
                  </a:lnTo>
                  <a:lnTo>
                    <a:pt x="283" y="359"/>
                  </a:lnTo>
                  <a:lnTo>
                    <a:pt x="278" y="361"/>
                  </a:lnTo>
                  <a:lnTo>
                    <a:pt x="271" y="361"/>
                  </a:lnTo>
                  <a:lnTo>
                    <a:pt x="75" y="361"/>
                  </a:lnTo>
                  <a:lnTo>
                    <a:pt x="68" y="362"/>
                  </a:lnTo>
                  <a:lnTo>
                    <a:pt x="60" y="363"/>
                  </a:lnTo>
                  <a:lnTo>
                    <a:pt x="54" y="367"/>
                  </a:lnTo>
                  <a:lnTo>
                    <a:pt x="46" y="370"/>
                  </a:lnTo>
                  <a:lnTo>
                    <a:pt x="40" y="374"/>
                  </a:lnTo>
                  <a:lnTo>
                    <a:pt x="34" y="379"/>
                  </a:lnTo>
                  <a:lnTo>
                    <a:pt x="28" y="386"/>
                  </a:lnTo>
                  <a:lnTo>
                    <a:pt x="22" y="392"/>
                  </a:lnTo>
                  <a:lnTo>
                    <a:pt x="17" y="399"/>
                  </a:lnTo>
                  <a:lnTo>
                    <a:pt x="13" y="406"/>
                  </a:lnTo>
                  <a:lnTo>
                    <a:pt x="9" y="414"/>
                  </a:lnTo>
                  <a:lnTo>
                    <a:pt x="6" y="421"/>
                  </a:lnTo>
                  <a:lnTo>
                    <a:pt x="3" y="429"/>
                  </a:lnTo>
                  <a:lnTo>
                    <a:pt x="1" y="436"/>
                  </a:lnTo>
                  <a:lnTo>
                    <a:pt x="0" y="444"/>
                  </a:lnTo>
                  <a:lnTo>
                    <a:pt x="0" y="453"/>
                  </a:lnTo>
                  <a:lnTo>
                    <a:pt x="0" y="588"/>
                  </a:lnTo>
                  <a:lnTo>
                    <a:pt x="0" y="590"/>
                  </a:lnTo>
                  <a:lnTo>
                    <a:pt x="1" y="593"/>
                  </a:lnTo>
                  <a:lnTo>
                    <a:pt x="2" y="597"/>
                  </a:lnTo>
                  <a:lnTo>
                    <a:pt x="4" y="599"/>
                  </a:lnTo>
                  <a:lnTo>
                    <a:pt x="6" y="600"/>
                  </a:lnTo>
                  <a:lnTo>
                    <a:pt x="8" y="602"/>
                  </a:lnTo>
                  <a:lnTo>
                    <a:pt x="12" y="602"/>
                  </a:lnTo>
                  <a:lnTo>
                    <a:pt x="15" y="603"/>
                  </a:lnTo>
                  <a:lnTo>
                    <a:pt x="30" y="603"/>
                  </a:lnTo>
                  <a:lnTo>
                    <a:pt x="30" y="889"/>
                  </a:lnTo>
                  <a:lnTo>
                    <a:pt x="30" y="892"/>
                  </a:lnTo>
                  <a:lnTo>
                    <a:pt x="31" y="896"/>
                  </a:lnTo>
                  <a:lnTo>
                    <a:pt x="32" y="898"/>
                  </a:lnTo>
                  <a:lnTo>
                    <a:pt x="34" y="900"/>
                  </a:lnTo>
                  <a:lnTo>
                    <a:pt x="36" y="902"/>
                  </a:lnTo>
                  <a:lnTo>
                    <a:pt x="40" y="903"/>
                  </a:lnTo>
                  <a:lnTo>
                    <a:pt x="42" y="904"/>
                  </a:lnTo>
                  <a:lnTo>
                    <a:pt x="45" y="904"/>
                  </a:lnTo>
                  <a:lnTo>
                    <a:pt x="150" y="904"/>
                  </a:lnTo>
                  <a:lnTo>
                    <a:pt x="155" y="904"/>
                  </a:lnTo>
                  <a:lnTo>
                    <a:pt x="158" y="902"/>
                  </a:lnTo>
                  <a:lnTo>
                    <a:pt x="161" y="900"/>
                  </a:lnTo>
                  <a:lnTo>
                    <a:pt x="164" y="896"/>
                  </a:lnTo>
                  <a:lnTo>
                    <a:pt x="211" y="802"/>
                  </a:lnTo>
                  <a:lnTo>
                    <a:pt x="211" y="889"/>
                  </a:lnTo>
                  <a:lnTo>
                    <a:pt x="211" y="892"/>
                  </a:lnTo>
                  <a:lnTo>
                    <a:pt x="212" y="896"/>
                  </a:lnTo>
                  <a:lnTo>
                    <a:pt x="214" y="898"/>
                  </a:lnTo>
                  <a:lnTo>
                    <a:pt x="215" y="900"/>
                  </a:lnTo>
                  <a:lnTo>
                    <a:pt x="217" y="902"/>
                  </a:lnTo>
                  <a:lnTo>
                    <a:pt x="220" y="903"/>
                  </a:lnTo>
                  <a:lnTo>
                    <a:pt x="222" y="904"/>
                  </a:lnTo>
                  <a:lnTo>
                    <a:pt x="226" y="904"/>
                  </a:lnTo>
                  <a:lnTo>
                    <a:pt x="709" y="904"/>
                  </a:lnTo>
                  <a:lnTo>
                    <a:pt x="712" y="904"/>
                  </a:lnTo>
                  <a:lnTo>
                    <a:pt x="714" y="903"/>
                  </a:lnTo>
                  <a:lnTo>
                    <a:pt x="717" y="902"/>
                  </a:lnTo>
                  <a:lnTo>
                    <a:pt x="719" y="900"/>
                  </a:lnTo>
                  <a:lnTo>
                    <a:pt x="720" y="898"/>
                  </a:lnTo>
                  <a:lnTo>
                    <a:pt x="723" y="896"/>
                  </a:lnTo>
                  <a:lnTo>
                    <a:pt x="724" y="892"/>
                  </a:lnTo>
                  <a:lnTo>
                    <a:pt x="724" y="889"/>
                  </a:lnTo>
                  <a:lnTo>
                    <a:pt x="724" y="603"/>
                  </a:lnTo>
                  <a:lnTo>
                    <a:pt x="739" y="603"/>
                  </a:lnTo>
                  <a:lnTo>
                    <a:pt x="742" y="602"/>
                  </a:lnTo>
                  <a:lnTo>
                    <a:pt x="744" y="602"/>
                  </a:lnTo>
                  <a:lnTo>
                    <a:pt x="747" y="600"/>
                  </a:lnTo>
                  <a:lnTo>
                    <a:pt x="749" y="599"/>
                  </a:lnTo>
                  <a:lnTo>
                    <a:pt x="752" y="597"/>
                  </a:lnTo>
                  <a:lnTo>
                    <a:pt x="753" y="593"/>
                  </a:lnTo>
                  <a:lnTo>
                    <a:pt x="754" y="591"/>
                  </a:lnTo>
                  <a:lnTo>
                    <a:pt x="754" y="588"/>
                  </a:lnTo>
                  <a:lnTo>
                    <a:pt x="754" y="451"/>
                  </a:lnTo>
                  <a:lnTo>
                    <a:pt x="754" y="444"/>
                  </a:lnTo>
                  <a:lnTo>
                    <a:pt x="752" y="436"/>
                  </a:lnTo>
                  <a:lnTo>
                    <a:pt x="751" y="429"/>
                  </a:lnTo>
                  <a:lnTo>
                    <a:pt x="747" y="421"/>
                  </a:lnTo>
                  <a:lnTo>
                    <a:pt x="744" y="414"/>
                  </a:lnTo>
                  <a:lnTo>
                    <a:pt x="741" y="406"/>
                  </a:lnTo>
                  <a:lnTo>
                    <a:pt x="735" y="399"/>
                  </a:lnTo>
                  <a:lnTo>
                    <a:pt x="731" y="392"/>
                  </a:lnTo>
                  <a:lnTo>
                    <a:pt x="726" y="386"/>
                  </a:lnTo>
                  <a:lnTo>
                    <a:pt x="719" y="379"/>
                  </a:lnTo>
                  <a:lnTo>
                    <a:pt x="714" y="374"/>
                  </a:lnTo>
                  <a:lnTo>
                    <a:pt x="706" y="370"/>
                  </a:lnTo>
                  <a:lnTo>
                    <a:pt x="700" y="367"/>
                  </a:lnTo>
                  <a:lnTo>
                    <a:pt x="692" y="364"/>
                  </a:lnTo>
                  <a:lnTo>
                    <a:pt x="686" y="362"/>
                  </a:lnTo>
                  <a:lnTo>
                    <a:pt x="678" y="361"/>
                  </a:lnTo>
                  <a:lnTo>
                    <a:pt x="678" y="3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ea typeface="+mn-ea"/>
                <a:cs typeface="+mn-cs"/>
              </a:endParaRPr>
            </a:p>
          </p:txBody>
        </p:sp>
        <p:sp>
          <p:nvSpPr>
            <p:cNvPr id="246" name="Freeform 10"/>
            <p:cNvSpPr>
              <a:spLocks noEditPoints="1"/>
            </p:cNvSpPr>
            <p:nvPr/>
          </p:nvSpPr>
          <p:spPr bwMode="auto">
            <a:xfrm>
              <a:off x="5619750" y="801688"/>
              <a:ext cx="22225" cy="22225"/>
            </a:xfrm>
            <a:custGeom>
              <a:avLst/>
              <a:gdLst>
                <a:gd name="T0" fmla="*/ 30 w 69"/>
                <a:gd name="T1" fmla="*/ 34 h 68"/>
                <a:gd name="T2" fmla="*/ 31 w 69"/>
                <a:gd name="T3" fmla="*/ 32 h 68"/>
                <a:gd name="T4" fmla="*/ 31 w 69"/>
                <a:gd name="T5" fmla="*/ 31 h 68"/>
                <a:gd name="T6" fmla="*/ 33 w 69"/>
                <a:gd name="T7" fmla="*/ 30 h 68"/>
                <a:gd name="T8" fmla="*/ 34 w 69"/>
                <a:gd name="T9" fmla="*/ 30 h 68"/>
                <a:gd name="T10" fmla="*/ 35 w 69"/>
                <a:gd name="T11" fmla="*/ 30 h 68"/>
                <a:gd name="T12" fmla="*/ 38 w 69"/>
                <a:gd name="T13" fmla="*/ 31 h 68"/>
                <a:gd name="T14" fmla="*/ 38 w 69"/>
                <a:gd name="T15" fmla="*/ 32 h 68"/>
                <a:gd name="T16" fmla="*/ 39 w 69"/>
                <a:gd name="T17" fmla="*/ 34 h 68"/>
                <a:gd name="T18" fmla="*/ 38 w 69"/>
                <a:gd name="T19" fmla="*/ 36 h 68"/>
                <a:gd name="T20" fmla="*/ 36 w 69"/>
                <a:gd name="T21" fmla="*/ 37 h 68"/>
                <a:gd name="T22" fmla="*/ 35 w 69"/>
                <a:gd name="T23" fmla="*/ 37 h 68"/>
                <a:gd name="T24" fmla="*/ 34 w 69"/>
                <a:gd name="T25" fmla="*/ 37 h 68"/>
                <a:gd name="T26" fmla="*/ 33 w 69"/>
                <a:gd name="T27" fmla="*/ 37 h 68"/>
                <a:gd name="T28" fmla="*/ 31 w 69"/>
                <a:gd name="T29" fmla="*/ 37 h 68"/>
                <a:gd name="T30" fmla="*/ 31 w 69"/>
                <a:gd name="T31" fmla="*/ 36 h 68"/>
                <a:gd name="T32" fmla="*/ 30 w 69"/>
                <a:gd name="T33" fmla="*/ 34 h 68"/>
                <a:gd name="T34" fmla="*/ 34 w 69"/>
                <a:gd name="T35" fmla="*/ 0 h 68"/>
                <a:gd name="T36" fmla="*/ 28 w 69"/>
                <a:gd name="T37" fmla="*/ 0 h 68"/>
                <a:gd name="T38" fmla="*/ 21 w 69"/>
                <a:gd name="T39" fmla="*/ 2 h 68"/>
                <a:gd name="T40" fmla="*/ 15 w 69"/>
                <a:gd name="T41" fmla="*/ 6 h 68"/>
                <a:gd name="T42" fmla="*/ 11 w 69"/>
                <a:gd name="T43" fmla="*/ 10 h 68"/>
                <a:gd name="T44" fmla="*/ 6 w 69"/>
                <a:gd name="T45" fmla="*/ 15 h 68"/>
                <a:gd name="T46" fmla="*/ 3 w 69"/>
                <a:gd name="T47" fmla="*/ 21 h 68"/>
                <a:gd name="T48" fmla="*/ 1 w 69"/>
                <a:gd name="T49" fmla="*/ 27 h 68"/>
                <a:gd name="T50" fmla="*/ 0 w 69"/>
                <a:gd name="T51" fmla="*/ 34 h 68"/>
                <a:gd name="T52" fmla="*/ 1 w 69"/>
                <a:gd name="T53" fmla="*/ 41 h 68"/>
                <a:gd name="T54" fmla="*/ 3 w 69"/>
                <a:gd name="T55" fmla="*/ 48 h 68"/>
                <a:gd name="T56" fmla="*/ 6 w 69"/>
                <a:gd name="T57" fmla="*/ 53 h 68"/>
                <a:gd name="T58" fmla="*/ 11 w 69"/>
                <a:gd name="T59" fmla="*/ 58 h 68"/>
                <a:gd name="T60" fmla="*/ 15 w 69"/>
                <a:gd name="T61" fmla="*/ 63 h 68"/>
                <a:gd name="T62" fmla="*/ 21 w 69"/>
                <a:gd name="T63" fmla="*/ 65 h 68"/>
                <a:gd name="T64" fmla="*/ 28 w 69"/>
                <a:gd name="T65" fmla="*/ 67 h 68"/>
                <a:gd name="T66" fmla="*/ 34 w 69"/>
                <a:gd name="T67" fmla="*/ 68 h 68"/>
                <a:gd name="T68" fmla="*/ 41 w 69"/>
                <a:gd name="T69" fmla="*/ 67 h 68"/>
                <a:gd name="T70" fmla="*/ 47 w 69"/>
                <a:gd name="T71" fmla="*/ 65 h 68"/>
                <a:gd name="T72" fmla="*/ 54 w 69"/>
                <a:gd name="T73" fmla="*/ 63 h 68"/>
                <a:gd name="T74" fmla="*/ 58 w 69"/>
                <a:gd name="T75" fmla="*/ 58 h 68"/>
                <a:gd name="T76" fmla="*/ 62 w 69"/>
                <a:gd name="T77" fmla="*/ 53 h 68"/>
                <a:gd name="T78" fmla="*/ 65 w 69"/>
                <a:gd name="T79" fmla="*/ 48 h 68"/>
                <a:gd name="T80" fmla="*/ 68 w 69"/>
                <a:gd name="T81" fmla="*/ 41 h 68"/>
                <a:gd name="T82" fmla="*/ 69 w 69"/>
                <a:gd name="T83" fmla="*/ 34 h 68"/>
                <a:gd name="T84" fmla="*/ 68 w 69"/>
                <a:gd name="T85" fmla="*/ 27 h 68"/>
                <a:gd name="T86" fmla="*/ 65 w 69"/>
                <a:gd name="T87" fmla="*/ 21 h 68"/>
                <a:gd name="T88" fmla="*/ 62 w 69"/>
                <a:gd name="T89" fmla="*/ 15 h 68"/>
                <a:gd name="T90" fmla="*/ 58 w 69"/>
                <a:gd name="T91" fmla="*/ 10 h 68"/>
                <a:gd name="T92" fmla="*/ 54 w 69"/>
                <a:gd name="T93" fmla="*/ 6 h 68"/>
                <a:gd name="T94" fmla="*/ 47 w 69"/>
                <a:gd name="T95" fmla="*/ 2 h 68"/>
                <a:gd name="T96" fmla="*/ 41 w 69"/>
                <a:gd name="T97" fmla="*/ 0 h 68"/>
                <a:gd name="T98" fmla="*/ 34 w 69"/>
                <a:gd name="T99"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69" h="68">
                  <a:moveTo>
                    <a:pt x="30" y="34"/>
                  </a:moveTo>
                  <a:lnTo>
                    <a:pt x="31" y="32"/>
                  </a:lnTo>
                  <a:lnTo>
                    <a:pt x="31" y="31"/>
                  </a:lnTo>
                  <a:lnTo>
                    <a:pt x="33" y="30"/>
                  </a:lnTo>
                  <a:lnTo>
                    <a:pt x="34" y="30"/>
                  </a:lnTo>
                  <a:lnTo>
                    <a:pt x="35" y="30"/>
                  </a:lnTo>
                  <a:lnTo>
                    <a:pt x="38" y="31"/>
                  </a:lnTo>
                  <a:lnTo>
                    <a:pt x="38" y="32"/>
                  </a:lnTo>
                  <a:lnTo>
                    <a:pt x="39" y="34"/>
                  </a:lnTo>
                  <a:lnTo>
                    <a:pt x="38" y="36"/>
                  </a:lnTo>
                  <a:lnTo>
                    <a:pt x="36" y="37"/>
                  </a:lnTo>
                  <a:lnTo>
                    <a:pt x="35" y="37"/>
                  </a:lnTo>
                  <a:lnTo>
                    <a:pt x="34" y="37"/>
                  </a:lnTo>
                  <a:lnTo>
                    <a:pt x="33" y="37"/>
                  </a:lnTo>
                  <a:lnTo>
                    <a:pt x="31" y="37"/>
                  </a:lnTo>
                  <a:lnTo>
                    <a:pt x="31" y="36"/>
                  </a:lnTo>
                  <a:lnTo>
                    <a:pt x="30" y="34"/>
                  </a:lnTo>
                  <a:close/>
                  <a:moveTo>
                    <a:pt x="34" y="0"/>
                  </a:moveTo>
                  <a:lnTo>
                    <a:pt x="28" y="0"/>
                  </a:lnTo>
                  <a:lnTo>
                    <a:pt x="21" y="2"/>
                  </a:lnTo>
                  <a:lnTo>
                    <a:pt x="15" y="6"/>
                  </a:lnTo>
                  <a:lnTo>
                    <a:pt x="11" y="10"/>
                  </a:lnTo>
                  <a:lnTo>
                    <a:pt x="6" y="15"/>
                  </a:lnTo>
                  <a:lnTo>
                    <a:pt x="3" y="21"/>
                  </a:lnTo>
                  <a:lnTo>
                    <a:pt x="1" y="27"/>
                  </a:lnTo>
                  <a:lnTo>
                    <a:pt x="0" y="34"/>
                  </a:lnTo>
                  <a:lnTo>
                    <a:pt x="1" y="41"/>
                  </a:lnTo>
                  <a:lnTo>
                    <a:pt x="3" y="48"/>
                  </a:lnTo>
                  <a:lnTo>
                    <a:pt x="6" y="53"/>
                  </a:lnTo>
                  <a:lnTo>
                    <a:pt x="11" y="58"/>
                  </a:lnTo>
                  <a:lnTo>
                    <a:pt x="15" y="63"/>
                  </a:lnTo>
                  <a:lnTo>
                    <a:pt x="21" y="65"/>
                  </a:lnTo>
                  <a:lnTo>
                    <a:pt x="28" y="67"/>
                  </a:lnTo>
                  <a:lnTo>
                    <a:pt x="34" y="68"/>
                  </a:lnTo>
                  <a:lnTo>
                    <a:pt x="41" y="67"/>
                  </a:lnTo>
                  <a:lnTo>
                    <a:pt x="47" y="65"/>
                  </a:lnTo>
                  <a:lnTo>
                    <a:pt x="54" y="63"/>
                  </a:lnTo>
                  <a:lnTo>
                    <a:pt x="58" y="58"/>
                  </a:lnTo>
                  <a:lnTo>
                    <a:pt x="62" y="53"/>
                  </a:lnTo>
                  <a:lnTo>
                    <a:pt x="65" y="48"/>
                  </a:lnTo>
                  <a:lnTo>
                    <a:pt x="68" y="41"/>
                  </a:lnTo>
                  <a:lnTo>
                    <a:pt x="69" y="34"/>
                  </a:lnTo>
                  <a:lnTo>
                    <a:pt x="68" y="27"/>
                  </a:lnTo>
                  <a:lnTo>
                    <a:pt x="65" y="21"/>
                  </a:lnTo>
                  <a:lnTo>
                    <a:pt x="62" y="15"/>
                  </a:lnTo>
                  <a:lnTo>
                    <a:pt x="58" y="10"/>
                  </a:lnTo>
                  <a:lnTo>
                    <a:pt x="54" y="6"/>
                  </a:lnTo>
                  <a:lnTo>
                    <a:pt x="47" y="2"/>
                  </a:lnTo>
                  <a:lnTo>
                    <a:pt x="41" y="0"/>
                  </a:lnTo>
                  <a:lnTo>
                    <a:pt x="3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ea typeface="+mn-ea"/>
                <a:cs typeface="+mn-cs"/>
              </a:endParaRPr>
            </a:p>
          </p:txBody>
        </p:sp>
      </p:grpSp>
    </p:spTree>
    <p:extLst>
      <p:ext uri="{BB962C8B-B14F-4D97-AF65-F5344CB8AC3E}">
        <p14:creationId xmlns:p14="http://schemas.microsoft.com/office/powerpoint/2010/main" val="355796948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3" name="Rectangle 102"/>
          <p:cNvSpPr/>
          <p:nvPr/>
        </p:nvSpPr>
        <p:spPr>
          <a:xfrm>
            <a:off x="12344400" y="0"/>
            <a:ext cx="469900" cy="469900"/>
          </a:xfrm>
          <a:prstGeom prst="rect">
            <a:avLst/>
          </a:prstGeom>
          <a:solidFill>
            <a:srgbClr val="E7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4" name="Rectangle 103"/>
          <p:cNvSpPr/>
          <p:nvPr/>
        </p:nvSpPr>
        <p:spPr>
          <a:xfrm>
            <a:off x="12344400" y="649557"/>
            <a:ext cx="469900" cy="469900"/>
          </a:xfrm>
          <a:prstGeom prst="rect">
            <a:avLst/>
          </a:prstGeom>
          <a:solidFill>
            <a:srgbClr val="AFABA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5" name="Rectangle 104"/>
          <p:cNvSpPr/>
          <p:nvPr/>
        </p:nvSpPr>
        <p:spPr>
          <a:xfrm>
            <a:off x="12344400" y="1299114"/>
            <a:ext cx="469900" cy="469900"/>
          </a:xfrm>
          <a:prstGeom prst="rect">
            <a:avLst/>
          </a:prstGeom>
          <a:solidFill>
            <a:srgbClr val="76717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7" name="Rectangle 106"/>
          <p:cNvSpPr/>
          <p:nvPr/>
        </p:nvSpPr>
        <p:spPr>
          <a:xfrm>
            <a:off x="12966699" y="0"/>
            <a:ext cx="469900" cy="469900"/>
          </a:xfrm>
          <a:prstGeom prst="rect">
            <a:avLst/>
          </a:prstGeom>
          <a:solidFill>
            <a:srgbClr val="E8786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8" name="Rectangle 107"/>
          <p:cNvSpPr/>
          <p:nvPr/>
        </p:nvSpPr>
        <p:spPr>
          <a:xfrm>
            <a:off x="12966699" y="649557"/>
            <a:ext cx="469900" cy="469900"/>
          </a:xfrm>
          <a:prstGeom prst="rect">
            <a:avLst/>
          </a:prstGeom>
          <a:solidFill>
            <a:srgbClr val="E258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9" name="Rectangle 108"/>
          <p:cNvSpPr/>
          <p:nvPr/>
        </p:nvSpPr>
        <p:spPr>
          <a:xfrm>
            <a:off x="12966699" y="1299114"/>
            <a:ext cx="469900" cy="469900"/>
          </a:xfrm>
          <a:prstGeom prst="rect">
            <a:avLst/>
          </a:prstGeom>
          <a:solidFill>
            <a:srgbClr val="D63E2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0" name="Rectangle 109"/>
          <p:cNvSpPr/>
          <p:nvPr/>
        </p:nvSpPr>
        <p:spPr>
          <a:xfrm>
            <a:off x="13588998" y="0"/>
            <a:ext cx="469900" cy="469900"/>
          </a:xfrm>
          <a:prstGeom prst="rect">
            <a:avLst/>
          </a:prstGeom>
          <a:solidFill>
            <a:srgbClr val="8EDCD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1" name="Rectangle 110"/>
          <p:cNvSpPr/>
          <p:nvPr/>
        </p:nvSpPr>
        <p:spPr>
          <a:xfrm>
            <a:off x="13588998" y="649557"/>
            <a:ext cx="469900" cy="469900"/>
          </a:xfrm>
          <a:prstGeom prst="rect">
            <a:avLst/>
          </a:prstGeom>
          <a:solidFill>
            <a:srgbClr val="78D2D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2" name="Rectangle 111"/>
          <p:cNvSpPr/>
          <p:nvPr/>
        </p:nvSpPr>
        <p:spPr>
          <a:xfrm>
            <a:off x="13588998" y="1299114"/>
            <a:ext cx="469900" cy="469900"/>
          </a:xfrm>
          <a:prstGeom prst="rect">
            <a:avLst/>
          </a:prstGeom>
          <a:solidFill>
            <a:srgbClr val="4CC7C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3" name="Rectangle 112"/>
          <p:cNvSpPr/>
          <p:nvPr/>
        </p:nvSpPr>
        <p:spPr>
          <a:xfrm>
            <a:off x="14211297" y="0"/>
            <a:ext cx="469900" cy="469900"/>
          </a:xfrm>
          <a:prstGeom prst="rect">
            <a:avLst/>
          </a:prstGeom>
          <a:solidFill>
            <a:srgbClr val="55535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4" name="Rectangle 113"/>
          <p:cNvSpPr/>
          <p:nvPr/>
        </p:nvSpPr>
        <p:spPr>
          <a:xfrm>
            <a:off x="14211297" y="649557"/>
            <a:ext cx="469900" cy="469900"/>
          </a:xfrm>
          <a:prstGeom prst="rect">
            <a:avLst/>
          </a:prstGeom>
          <a:solidFill>
            <a:srgbClr val="3B393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5" name="Rectangle 114"/>
          <p:cNvSpPr/>
          <p:nvPr/>
        </p:nvSpPr>
        <p:spPr>
          <a:xfrm>
            <a:off x="14211297" y="1299114"/>
            <a:ext cx="469900" cy="469900"/>
          </a:xfrm>
          <a:prstGeom prst="rect">
            <a:avLst/>
          </a:prstGeom>
          <a:solidFill>
            <a:srgbClr val="25232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ext Placeholder 1"/>
          <p:cNvSpPr>
            <a:spLocks noGrp="1"/>
          </p:cNvSpPr>
          <p:nvPr>
            <p:ph type="body" sz="quarter" idx="14"/>
          </p:nvPr>
        </p:nvSpPr>
        <p:spPr/>
        <p:txBody>
          <a:bodyPr/>
          <a:lstStyle/>
          <a:p>
            <a:r>
              <a:rPr lang="en-US" dirty="0"/>
              <a:t>Lorem Ipsum is simply dummy text of the printing and typesetting industry. Lorem Ipsum has been the industry's standard dummy text ever since the 1500s, when an unknown printer took a galley of type and scrambled it to make a type specimen book. </a:t>
            </a:r>
          </a:p>
        </p:txBody>
      </p:sp>
      <p:sp>
        <p:nvSpPr>
          <p:cNvPr id="120" name="Text Placeholder 119"/>
          <p:cNvSpPr>
            <a:spLocks noGrp="1"/>
          </p:cNvSpPr>
          <p:nvPr>
            <p:ph type="body" sz="quarter" idx="13"/>
          </p:nvPr>
        </p:nvSpPr>
        <p:spPr/>
        <p:txBody>
          <a:bodyPr/>
          <a:lstStyle/>
          <a:p>
            <a:r>
              <a:rPr lang="en-US" sz="3200" dirty="0"/>
              <a:t>PowerPoint Presentation</a:t>
            </a:r>
          </a:p>
        </p:txBody>
      </p:sp>
      <p:sp>
        <p:nvSpPr>
          <p:cNvPr id="116" name="Date Placeholder 115"/>
          <p:cNvSpPr>
            <a:spLocks noGrp="1"/>
          </p:cNvSpPr>
          <p:nvPr>
            <p:ph type="dt" sz="half" idx="10"/>
          </p:nvPr>
        </p:nvSpPr>
        <p:spPr/>
        <p:txBody>
          <a:bodyPr/>
          <a:lstStyle/>
          <a:p>
            <a:fld id="{56E1B330-CB56-448E-9C70-830A2B9C05C8}" type="datetime1">
              <a:rPr lang="en-US" smtClean="0"/>
              <a:t>10/28/2022</a:t>
            </a:fld>
            <a:endParaRPr lang="en-US"/>
          </a:p>
        </p:txBody>
      </p:sp>
      <p:sp>
        <p:nvSpPr>
          <p:cNvPr id="117" name="Slide Number Placeholder 116"/>
          <p:cNvSpPr>
            <a:spLocks noGrp="1"/>
          </p:cNvSpPr>
          <p:nvPr>
            <p:ph type="sldNum" sz="quarter" idx="12"/>
          </p:nvPr>
        </p:nvSpPr>
        <p:spPr/>
        <p:txBody>
          <a:bodyPr/>
          <a:lstStyle/>
          <a:p>
            <a:fld id="{03206E70-9524-410D-AE9B-78D656EAA14D}" type="slidenum">
              <a:rPr lang="en-US" smtClean="0"/>
              <a:pPr/>
              <a:t>26</a:t>
            </a:fld>
            <a:endParaRPr lang="en-US"/>
          </a:p>
        </p:txBody>
      </p:sp>
      <p:grpSp>
        <p:nvGrpSpPr>
          <p:cNvPr id="9" name="Group 8"/>
          <p:cNvGrpSpPr/>
          <p:nvPr/>
        </p:nvGrpSpPr>
        <p:grpSpPr>
          <a:xfrm>
            <a:off x="714084" y="1756371"/>
            <a:ext cx="4307706" cy="4367195"/>
            <a:chOff x="1428167" y="1756371"/>
            <a:chExt cx="4307706" cy="4367195"/>
          </a:xfrm>
        </p:grpSpPr>
        <p:sp>
          <p:nvSpPr>
            <p:cNvPr id="85" name="Freeform 5"/>
            <p:cNvSpPr>
              <a:spLocks/>
            </p:cNvSpPr>
            <p:nvPr/>
          </p:nvSpPr>
          <p:spPr bwMode="auto">
            <a:xfrm>
              <a:off x="1540937" y="3302982"/>
              <a:ext cx="834031" cy="2132788"/>
            </a:xfrm>
            <a:custGeom>
              <a:avLst/>
              <a:gdLst>
                <a:gd name="T0" fmla="*/ 163 w 1142"/>
                <a:gd name="T1" fmla="*/ 737 h 2918"/>
                <a:gd name="T2" fmla="*/ 256 w 1142"/>
                <a:gd name="T3" fmla="*/ 41 h 2918"/>
                <a:gd name="T4" fmla="*/ 209 w 1142"/>
                <a:gd name="T5" fmla="*/ 48 h 2918"/>
                <a:gd name="T6" fmla="*/ 99 w 1142"/>
                <a:gd name="T7" fmla="*/ 0 h 2918"/>
                <a:gd name="T8" fmla="*/ 0 w 1142"/>
                <a:gd name="T9" fmla="*/ 737 h 2918"/>
                <a:gd name="T10" fmla="*/ 1050 w 1142"/>
                <a:gd name="T11" fmla="*/ 2918 h 2918"/>
                <a:gd name="T12" fmla="*/ 1142 w 1142"/>
                <a:gd name="T13" fmla="*/ 2784 h 2918"/>
                <a:gd name="T14" fmla="*/ 163 w 1142"/>
                <a:gd name="T15" fmla="*/ 737 h 291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42" h="2918">
                  <a:moveTo>
                    <a:pt x="163" y="737"/>
                  </a:moveTo>
                  <a:cubicBezTo>
                    <a:pt x="163" y="496"/>
                    <a:pt x="195" y="263"/>
                    <a:pt x="256" y="41"/>
                  </a:cubicBezTo>
                  <a:cubicBezTo>
                    <a:pt x="242" y="46"/>
                    <a:pt x="226" y="48"/>
                    <a:pt x="209" y="48"/>
                  </a:cubicBezTo>
                  <a:cubicBezTo>
                    <a:pt x="165" y="48"/>
                    <a:pt x="126" y="30"/>
                    <a:pt x="99" y="0"/>
                  </a:cubicBezTo>
                  <a:cubicBezTo>
                    <a:pt x="34" y="235"/>
                    <a:pt x="0" y="482"/>
                    <a:pt x="0" y="737"/>
                  </a:cubicBezTo>
                  <a:cubicBezTo>
                    <a:pt x="0" y="1619"/>
                    <a:pt x="410" y="2406"/>
                    <a:pt x="1050" y="2918"/>
                  </a:cubicBezTo>
                  <a:cubicBezTo>
                    <a:pt x="1052" y="2858"/>
                    <a:pt x="1089" y="2806"/>
                    <a:pt x="1142" y="2784"/>
                  </a:cubicBezTo>
                  <a:cubicBezTo>
                    <a:pt x="545" y="2301"/>
                    <a:pt x="163" y="1563"/>
                    <a:pt x="163" y="737"/>
                  </a:cubicBezTo>
                  <a:close/>
                </a:path>
              </a:pathLst>
            </a:custGeom>
            <a:solidFill>
              <a:schemeClr val="tx2">
                <a:lumMod val="20000"/>
                <a:lumOff val="80000"/>
              </a:schemeClr>
            </a:solidFill>
            <a:ln>
              <a:no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6" name="Freeform 6"/>
            <p:cNvSpPr>
              <a:spLocks/>
            </p:cNvSpPr>
            <p:nvPr/>
          </p:nvSpPr>
          <p:spPr bwMode="auto">
            <a:xfrm>
              <a:off x="4787830" y="3289351"/>
              <a:ext cx="832790" cy="2143941"/>
            </a:xfrm>
            <a:custGeom>
              <a:avLst/>
              <a:gdLst>
                <a:gd name="T0" fmla="*/ 1037 w 1141"/>
                <a:gd name="T1" fmla="*/ 0 h 2933"/>
                <a:gd name="T2" fmla="*/ 912 w 1141"/>
                <a:gd name="T3" fmla="*/ 67 h 2933"/>
                <a:gd name="T4" fmla="*/ 886 w 1141"/>
                <a:gd name="T5" fmla="*/ 65 h 2933"/>
                <a:gd name="T6" fmla="*/ 978 w 1141"/>
                <a:gd name="T7" fmla="*/ 756 h 2933"/>
                <a:gd name="T8" fmla="*/ 0 w 1141"/>
                <a:gd name="T9" fmla="*/ 2801 h 2933"/>
                <a:gd name="T10" fmla="*/ 96 w 1141"/>
                <a:gd name="T11" fmla="*/ 2933 h 2933"/>
                <a:gd name="T12" fmla="*/ 1141 w 1141"/>
                <a:gd name="T13" fmla="*/ 756 h 2933"/>
                <a:gd name="T14" fmla="*/ 1037 w 1141"/>
                <a:gd name="T15" fmla="*/ 0 h 29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41" h="2933">
                  <a:moveTo>
                    <a:pt x="1037" y="0"/>
                  </a:moveTo>
                  <a:cubicBezTo>
                    <a:pt x="1010" y="40"/>
                    <a:pt x="964" y="67"/>
                    <a:pt x="912" y="67"/>
                  </a:cubicBezTo>
                  <a:cubicBezTo>
                    <a:pt x="903" y="67"/>
                    <a:pt x="894" y="67"/>
                    <a:pt x="886" y="65"/>
                  </a:cubicBezTo>
                  <a:cubicBezTo>
                    <a:pt x="946" y="285"/>
                    <a:pt x="978" y="517"/>
                    <a:pt x="978" y="756"/>
                  </a:cubicBezTo>
                  <a:cubicBezTo>
                    <a:pt x="978" y="1581"/>
                    <a:pt x="596" y="2319"/>
                    <a:pt x="0" y="2801"/>
                  </a:cubicBezTo>
                  <a:cubicBezTo>
                    <a:pt x="54" y="2822"/>
                    <a:pt x="93" y="2873"/>
                    <a:pt x="96" y="2933"/>
                  </a:cubicBezTo>
                  <a:cubicBezTo>
                    <a:pt x="733" y="2421"/>
                    <a:pt x="1141" y="1635"/>
                    <a:pt x="1141" y="756"/>
                  </a:cubicBezTo>
                  <a:cubicBezTo>
                    <a:pt x="1141" y="494"/>
                    <a:pt x="1105" y="240"/>
                    <a:pt x="1037" y="0"/>
                  </a:cubicBezTo>
                  <a:close/>
                </a:path>
              </a:pathLst>
            </a:custGeom>
            <a:solidFill>
              <a:schemeClr val="tx2">
                <a:lumMod val="20000"/>
                <a:lumOff val="80000"/>
              </a:schemeClr>
            </a:solidFill>
            <a:ln>
              <a:no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7" name="Freeform 7"/>
            <p:cNvSpPr>
              <a:spLocks noEditPoints="1"/>
            </p:cNvSpPr>
            <p:nvPr/>
          </p:nvSpPr>
          <p:spPr bwMode="auto">
            <a:xfrm>
              <a:off x="1959811" y="2209945"/>
              <a:ext cx="3241936" cy="3240697"/>
            </a:xfrm>
            <a:custGeom>
              <a:avLst/>
              <a:gdLst>
                <a:gd name="T0" fmla="*/ 2219 w 4437"/>
                <a:gd name="T1" fmla="*/ 4436 h 4436"/>
                <a:gd name="T2" fmla="*/ 0 w 4437"/>
                <a:gd name="T3" fmla="*/ 2218 h 4436"/>
                <a:gd name="T4" fmla="*/ 2219 w 4437"/>
                <a:gd name="T5" fmla="*/ 0 h 4436"/>
                <a:gd name="T6" fmla="*/ 4437 w 4437"/>
                <a:gd name="T7" fmla="*/ 2218 h 4436"/>
                <a:gd name="T8" fmla="*/ 2219 w 4437"/>
                <a:gd name="T9" fmla="*/ 4436 h 4436"/>
                <a:gd name="T10" fmla="*/ 2219 w 4437"/>
                <a:gd name="T11" fmla="*/ 98 h 4436"/>
                <a:gd name="T12" fmla="*/ 98 w 4437"/>
                <a:gd name="T13" fmla="*/ 2218 h 4436"/>
                <a:gd name="T14" fmla="*/ 2219 w 4437"/>
                <a:gd name="T15" fmla="*/ 4338 h 4436"/>
                <a:gd name="T16" fmla="*/ 4339 w 4437"/>
                <a:gd name="T17" fmla="*/ 2218 h 4436"/>
                <a:gd name="T18" fmla="*/ 2219 w 4437"/>
                <a:gd name="T19" fmla="*/ 98 h 44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37" h="4436">
                  <a:moveTo>
                    <a:pt x="2219" y="4436"/>
                  </a:moveTo>
                  <a:cubicBezTo>
                    <a:pt x="995" y="4436"/>
                    <a:pt x="0" y="3441"/>
                    <a:pt x="0" y="2218"/>
                  </a:cubicBezTo>
                  <a:cubicBezTo>
                    <a:pt x="0" y="995"/>
                    <a:pt x="995" y="0"/>
                    <a:pt x="2219" y="0"/>
                  </a:cubicBezTo>
                  <a:cubicBezTo>
                    <a:pt x="3442" y="0"/>
                    <a:pt x="4437" y="995"/>
                    <a:pt x="4437" y="2218"/>
                  </a:cubicBezTo>
                  <a:cubicBezTo>
                    <a:pt x="4437" y="3441"/>
                    <a:pt x="3442" y="4436"/>
                    <a:pt x="2219" y="4436"/>
                  </a:cubicBezTo>
                  <a:close/>
                  <a:moveTo>
                    <a:pt x="2219" y="98"/>
                  </a:moveTo>
                  <a:cubicBezTo>
                    <a:pt x="1049" y="98"/>
                    <a:pt x="98" y="1049"/>
                    <a:pt x="98" y="2218"/>
                  </a:cubicBezTo>
                  <a:cubicBezTo>
                    <a:pt x="98" y="3387"/>
                    <a:pt x="1049" y="4338"/>
                    <a:pt x="2219" y="4338"/>
                  </a:cubicBezTo>
                  <a:cubicBezTo>
                    <a:pt x="3388" y="4338"/>
                    <a:pt x="4339" y="3387"/>
                    <a:pt x="4339" y="2218"/>
                  </a:cubicBezTo>
                  <a:cubicBezTo>
                    <a:pt x="4339" y="1049"/>
                    <a:pt x="3388" y="98"/>
                    <a:pt x="2219" y="98"/>
                  </a:cubicBezTo>
                  <a:close/>
                </a:path>
              </a:pathLst>
            </a:custGeom>
            <a:solidFill>
              <a:schemeClr val="tx2">
                <a:lumMod val="20000"/>
                <a:lumOff val="80000"/>
              </a:schemeClr>
            </a:solidFill>
            <a:ln>
              <a:no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8" name="Oval 8"/>
            <p:cNvSpPr>
              <a:spLocks noChangeArrowheads="1"/>
            </p:cNvSpPr>
            <p:nvPr/>
          </p:nvSpPr>
          <p:spPr bwMode="auto">
            <a:xfrm>
              <a:off x="5343024" y="3118332"/>
              <a:ext cx="220590" cy="220590"/>
            </a:xfrm>
            <a:prstGeom prst="ellipse">
              <a:avLst/>
            </a:prstGeom>
            <a:solidFill>
              <a:srgbClr val="AFABAB"/>
            </a:solidFill>
            <a:ln>
              <a:solidFill>
                <a:srgbClr val="AFABAB"/>
              </a:solid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9" name="Oval 9"/>
            <p:cNvSpPr>
              <a:spLocks noChangeArrowheads="1"/>
            </p:cNvSpPr>
            <p:nvPr/>
          </p:nvSpPr>
          <p:spPr bwMode="auto">
            <a:xfrm>
              <a:off x="3481637" y="1756371"/>
              <a:ext cx="219352" cy="219352"/>
            </a:xfrm>
            <a:prstGeom prst="ellipse">
              <a:avLst/>
            </a:prstGeom>
            <a:solidFill>
              <a:srgbClr val="AFABAB"/>
            </a:solidFill>
            <a:ln>
              <a:solidFill>
                <a:srgbClr val="AFABAB"/>
              </a:solid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0" name="Oval 10"/>
            <p:cNvSpPr>
              <a:spLocks noChangeArrowheads="1"/>
            </p:cNvSpPr>
            <p:nvPr/>
          </p:nvSpPr>
          <p:spPr bwMode="auto">
            <a:xfrm>
              <a:off x="2308047" y="5329192"/>
              <a:ext cx="219352" cy="219352"/>
            </a:xfrm>
            <a:prstGeom prst="ellipse">
              <a:avLst/>
            </a:prstGeom>
            <a:solidFill>
              <a:srgbClr val="AFABAB"/>
            </a:solidFill>
            <a:ln>
              <a:solidFill>
                <a:srgbClr val="AFABAB"/>
              </a:solid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1" name="Oval 11"/>
            <p:cNvSpPr>
              <a:spLocks noChangeArrowheads="1"/>
            </p:cNvSpPr>
            <p:nvPr/>
          </p:nvSpPr>
          <p:spPr bwMode="auto">
            <a:xfrm>
              <a:off x="1584311" y="3118331"/>
              <a:ext cx="219352" cy="220590"/>
            </a:xfrm>
            <a:prstGeom prst="ellipse">
              <a:avLst/>
            </a:prstGeom>
            <a:solidFill>
              <a:srgbClr val="AFABAB"/>
            </a:solidFill>
            <a:ln>
              <a:solidFill>
                <a:srgbClr val="AFABAB"/>
              </a:solid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2" name="Oval 12"/>
            <p:cNvSpPr>
              <a:spLocks noChangeArrowheads="1"/>
            </p:cNvSpPr>
            <p:nvPr/>
          </p:nvSpPr>
          <p:spPr bwMode="auto">
            <a:xfrm>
              <a:off x="4637879" y="5329192"/>
              <a:ext cx="219352" cy="219352"/>
            </a:xfrm>
            <a:prstGeom prst="ellipse">
              <a:avLst/>
            </a:prstGeom>
            <a:solidFill>
              <a:srgbClr val="AFABAB"/>
            </a:solidFill>
            <a:ln>
              <a:solidFill>
                <a:srgbClr val="AFABAB"/>
              </a:solid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3" name="Freeform 13"/>
            <p:cNvSpPr>
              <a:spLocks/>
            </p:cNvSpPr>
            <p:nvPr/>
          </p:nvSpPr>
          <p:spPr bwMode="auto">
            <a:xfrm>
              <a:off x="1672300" y="1803463"/>
              <a:ext cx="1829166" cy="1360721"/>
            </a:xfrm>
            <a:custGeom>
              <a:avLst/>
              <a:gdLst>
                <a:gd name="T0" fmla="*/ 2476 w 2503"/>
                <a:gd name="T1" fmla="*/ 85 h 1863"/>
                <a:gd name="T2" fmla="*/ 2503 w 2503"/>
                <a:gd name="T3" fmla="*/ 0 h 1863"/>
                <a:gd name="T4" fmla="*/ 0 w 2503"/>
                <a:gd name="T5" fmla="*/ 1803 h 1863"/>
                <a:gd name="T6" fmla="*/ 29 w 2503"/>
                <a:gd name="T7" fmla="*/ 1800 h 1863"/>
                <a:gd name="T8" fmla="*/ 152 w 2503"/>
                <a:gd name="T9" fmla="*/ 1863 h 1863"/>
                <a:gd name="T10" fmla="*/ 2498 w 2503"/>
                <a:gd name="T11" fmla="*/ 163 h 1863"/>
                <a:gd name="T12" fmla="*/ 2476 w 2503"/>
                <a:gd name="T13" fmla="*/ 85 h 1863"/>
              </a:gdLst>
              <a:ahLst/>
              <a:cxnLst>
                <a:cxn ang="0">
                  <a:pos x="T0" y="T1"/>
                </a:cxn>
                <a:cxn ang="0">
                  <a:pos x="T2" y="T3"/>
                </a:cxn>
                <a:cxn ang="0">
                  <a:pos x="T4" y="T5"/>
                </a:cxn>
                <a:cxn ang="0">
                  <a:pos x="T6" y="T7"/>
                </a:cxn>
                <a:cxn ang="0">
                  <a:pos x="T8" y="T9"/>
                </a:cxn>
                <a:cxn ang="0">
                  <a:pos x="T10" y="T11"/>
                </a:cxn>
                <a:cxn ang="0">
                  <a:pos x="T12" y="T13"/>
                </a:cxn>
              </a:cxnLst>
              <a:rect l="0" t="0" r="r" b="b"/>
              <a:pathLst>
                <a:path w="2503" h="1863">
                  <a:moveTo>
                    <a:pt x="2476" y="85"/>
                  </a:moveTo>
                  <a:cubicBezTo>
                    <a:pt x="2476" y="53"/>
                    <a:pt x="2486" y="24"/>
                    <a:pt x="2503" y="0"/>
                  </a:cubicBezTo>
                  <a:cubicBezTo>
                    <a:pt x="1358" y="44"/>
                    <a:pt x="387" y="781"/>
                    <a:pt x="0" y="1803"/>
                  </a:cubicBezTo>
                  <a:cubicBezTo>
                    <a:pt x="9" y="1801"/>
                    <a:pt x="19" y="1800"/>
                    <a:pt x="29" y="1800"/>
                  </a:cubicBezTo>
                  <a:cubicBezTo>
                    <a:pt x="80" y="1800"/>
                    <a:pt x="124" y="1825"/>
                    <a:pt x="152" y="1863"/>
                  </a:cubicBezTo>
                  <a:cubicBezTo>
                    <a:pt x="514" y="903"/>
                    <a:pt x="1424" y="209"/>
                    <a:pt x="2498" y="163"/>
                  </a:cubicBezTo>
                  <a:cubicBezTo>
                    <a:pt x="2484" y="140"/>
                    <a:pt x="2476" y="114"/>
                    <a:pt x="2476" y="85"/>
                  </a:cubicBezTo>
                  <a:close/>
                </a:path>
              </a:pathLst>
            </a:custGeom>
            <a:solidFill>
              <a:schemeClr val="tx2">
                <a:lumMod val="20000"/>
                <a:lumOff val="80000"/>
              </a:schemeClr>
            </a:solidFill>
            <a:ln>
              <a:no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4" name="Freeform 14"/>
            <p:cNvSpPr>
              <a:spLocks/>
            </p:cNvSpPr>
            <p:nvPr/>
          </p:nvSpPr>
          <p:spPr bwMode="auto">
            <a:xfrm>
              <a:off x="3682399" y="1803463"/>
              <a:ext cx="1809337" cy="1348328"/>
            </a:xfrm>
            <a:custGeom>
              <a:avLst/>
              <a:gdLst>
                <a:gd name="T0" fmla="*/ 0 w 2477"/>
                <a:gd name="T1" fmla="*/ 0 h 1845"/>
                <a:gd name="T2" fmla="*/ 26 w 2477"/>
                <a:gd name="T3" fmla="*/ 84 h 1845"/>
                <a:gd name="T4" fmla="*/ 4 w 2477"/>
                <a:gd name="T5" fmla="*/ 163 h 1845"/>
                <a:gd name="T6" fmla="*/ 2316 w 2477"/>
                <a:gd name="T7" fmla="*/ 1845 h 1845"/>
                <a:gd name="T8" fmla="*/ 2425 w 2477"/>
                <a:gd name="T9" fmla="*/ 1799 h 1845"/>
                <a:gd name="T10" fmla="*/ 2477 w 2477"/>
                <a:gd name="T11" fmla="*/ 1809 h 1845"/>
                <a:gd name="T12" fmla="*/ 0 w 2477"/>
                <a:gd name="T13" fmla="*/ 0 h 1845"/>
              </a:gdLst>
              <a:ahLst/>
              <a:cxnLst>
                <a:cxn ang="0">
                  <a:pos x="T0" y="T1"/>
                </a:cxn>
                <a:cxn ang="0">
                  <a:pos x="T2" y="T3"/>
                </a:cxn>
                <a:cxn ang="0">
                  <a:pos x="T4" y="T5"/>
                </a:cxn>
                <a:cxn ang="0">
                  <a:pos x="T6" y="T7"/>
                </a:cxn>
                <a:cxn ang="0">
                  <a:pos x="T8" y="T9"/>
                </a:cxn>
                <a:cxn ang="0">
                  <a:pos x="T10" y="T11"/>
                </a:cxn>
                <a:cxn ang="0">
                  <a:pos x="T12" y="T13"/>
                </a:cxn>
              </a:cxnLst>
              <a:rect l="0" t="0" r="r" b="b"/>
              <a:pathLst>
                <a:path w="2477" h="1845">
                  <a:moveTo>
                    <a:pt x="0" y="0"/>
                  </a:moveTo>
                  <a:cubicBezTo>
                    <a:pt x="17" y="24"/>
                    <a:pt x="26" y="53"/>
                    <a:pt x="26" y="84"/>
                  </a:cubicBezTo>
                  <a:cubicBezTo>
                    <a:pt x="26" y="113"/>
                    <a:pt x="18" y="140"/>
                    <a:pt x="4" y="163"/>
                  </a:cubicBezTo>
                  <a:cubicBezTo>
                    <a:pt x="1060" y="220"/>
                    <a:pt x="1952" y="902"/>
                    <a:pt x="2316" y="1845"/>
                  </a:cubicBezTo>
                  <a:cubicBezTo>
                    <a:pt x="2344" y="1817"/>
                    <a:pt x="2382" y="1799"/>
                    <a:pt x="2425" y="1799"/>
                  </a:cubicBezTo>
                  <a:cubicBezTo>
                    <a:pt x="2443" y="1799"/>
                    <a:pt x="2460" y="1803"/>
                    <a:pt x="2477" y="1809"/>
                  </a:cubicBezTo>
                  <a:cubicBezTo>
                    <a:pt x="2094" y="792"/>
                    <a:pt x="1135" y="56"/>
                    <a:pt x="0" y="0"/>
                  </a:cubicBezTo>
                  <a:close/>
                </a:path>
              </a:pathLst>
            </a:custGeom>
            <a:solidFill>
              <a:schemeClr val="tx2">
                <a:lumMod val="20000"/>
                <a:lumOff val="80000"/>
              </a:schemeClr>
            </a:solidFill>
            <a:ln>
              <a:no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5" name="Freeform 15"/>
            <p:cNvSpPr>
              <a:spLocks/>
            </p:cNvSpPr>
            <p:nvPr/>
          </p:nvSpPr>
          <p:spPr bwMode="auto">
            <a:xfrm>
              <a:off x="2454281" y="5445684"/>
              <a:ext cx="2255475" cy="437463"/>
            </a:xfrm>
            <a:custGeom>
              <a:avLst/>
              <a:gdLst>
                <a:gd name="T0" fmla="*/ 2990 w 3087"/>
                <a:gd name="T1" fmla="*/ 0 h 598"/>
                <a:gd name="T2" fmla="*/ 1543 w 3087"/>
                <a:gd name="T3" fmla="*/ 435 h 598"/>
                <a:gd name="T4" fmla="*/ 100 w 3087"/>
                <a:gd name="T5" fmla="*/ 3 h 598"/>
                <a:gd name="T6" fmla="*/ 0 w 3087"/>
                <a:gd name="T7" fmla="*/ 133 h 598"/>
                <a:gd name="T8" fmla="*/ 1543 w 3087"/>
                <a:gd name="T9" fmla="*/ 598 h 598"/>
                <a:gd name="T10" fmla="*/ 3087 w 3087"/>
                <a:gd name="T11" fmla="*/ 131 h 598"/>
                <a:gd name="T12" fmla="*/ 2990 w 3087"/>
                <a:gd name="T13" fmla="*/ 0 h 598"/>
              </a:gdLst>
              <a:ahLst/>
              <a:cxnLst>
                <a:cxn ang="0">
                  <a:pos x="T0" y="T1"/>
                </a:cxn>
                <a:cxn ang="0">
                  <a:pos x="T2" y="T3"/>
                </a:cxn>
                <a:cxn ang="0">
                  <a:pos x="T4" y="T5"/>
                </a:cxn>
                <a:cxn ang="0">
                  <a:pos x="T6" y="T7"/>
                </a:cxn>
                <a:cxn ang="0">
                  <a:pos x="T8" y="T9"/>
                </a:cxn>
                <a:cxn ang="0">
                  <a:pos x="T10" y="T11"/>
                </a:cxn>
                <a:cxn ang="0">
                  <a:pos x="T12" y="T13"/>
                </a:cxn>
              </a:cxnLst>
              <a:rect l="0" t="0" r="r" b="b"/>
              <a:pathLst>
                <a:path w="3087" h="598">
                  <a:moveTo>
                    <a:pt x="2990" y="0"/>
                  </a:moveTo>
                  <a:cubicBezTo>
                    <a:pt x="2574" y="275"/>
                    <a:pt x="2077" y="435"/>
                    <a:pt x="1543" y="435"/>
                  </a:cubicBezTo>
                  <a:cubicBezTo>
                    <a:pt x="1010" y="435"/>
                    <a:pt x="515" y="276"/>
                    <a:pt x="100" y="3"/>
                  </a:cubicBezTo>
                  <a:cubicBezTo>
                    <a:pt x="95" y="63"/>
                    <a:pt x="55" y="113"/>
                    <a:pt x="0" y="133"/>
                  </a:cubicBezTo>
                  <a:cubicBezTo>
                    <a:pt x="442" y="427"/>
                    <a:pt x="973" y="598"/>
                    <a:pt x="1543" y="598"/>
                  </a:cubicBezTo>
                  <a:cubicBezTo>
                    <a:pt x="2113" y="598"/>
                    <a:pt x="2644" y="426"/>
                    <a:pt x="3087" y="131"/>
                  </a:cubicBezTo>
                  <a:cubicBezTo>
                    <a:pt x="3033" y="111"/>
                    <a:pt x="2993" y="60"/>
                    <a:pt x="2990" y="0"/>
                  </a:cubicBezTo>
                  <a:close/>
                </a:path>
              </a:pathLst>
            </a:custGeom>
            <a:solidFill>
              <a:schemeClr val="tx2">
                <a:lumMod val="20000"/>
                <a:lumOff val="80000"/>
              </a:schemeClr>
            </a:solidFill>
            <a:ln>
              <a:no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6" name="Freeform 21"/>
            <p:cNvSpPr>
              <a:spLocks/>
            </p:cNvSpPr>
            <p:nvPr/>
          </p:nvSpPr>
          <p:spPr bwMode="auto">
            <a:xfrm>
              <a:off x="3469245" y="2421860"/>
              <a:ext cx="8675" cy="4957"/>
            </a:xfrm>
            <a:custGeom>
              <a:avLst/>
              <a:gdLst>
                <a:gd name="T0" fmla="*/ 0 w 12"/>
                <a:gd name="T1" fmla="*/ 7 h 7"/>
                <a:gd name="T2" fmla="*/ 12 w 12"/>
                <a:gd name="T3" fmla="*/ 0 h 7"/>
                <a:gd name="T4" fmla="*/ 0 w 12"/>
                <a:gd name="T5" fmla="*/ 7 h 7"/>
              </a:gdLst>
              <a:ahLst/>
              <a:cxnLst>
                <a:cxn ang="0">
                  <a:pos x="T0" y="T1"/>
                </a:cxn>
                <a:cxn ang="0">
                  <a:pos x="T2" y="T3"/>
                </a:cxn>
                <a:cxn ang="0">
                  <a:pos x="T4" y="T5"/>
                </a:cxn>
              </a:cxnLst>
              <a:rect l="0" t="0" r="r" b="b"/>
              <a:pathLst>
                <a:path w="12" h="7">
                  <a:moveTo>
                    <a:pt x="0" y="7"/>
                  </a:moveTo>
                  <a:cubicBezTo>
                    <a:pt x="4" y="5"/>
                    <a:pt x="8" y="2"/>
                    <a:pt x="12" y="0"/>
                  </a:cubicBezTo>
                  <a:cubicBezTo>
                    <a:pt x="8" y="2"/>
                    <a:pt x="4" y="5"/>
                    <a:pt x="0" y="7"/>
                  </a:cubicBezTo>
                  <a:close/>
                </a:path>
              </a:pathLst>
            </a:custGeom>
            <a:solidFill>
              <a:srgbClr val="D6DA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7" name="Freeform 22"/>
            <p:cNvSpPr>
              <a:spLocks/>
            </p:cNvSpPr>
            <p:nvPr/>
          </p:nvSpPr>
          <p:spPr bwMode="auto">
            <a:xfrm>
              <a:off x="4976200" y="3444260"/>
              <a:ext cx="0" cy="13632"/>
            </a:xfrm>
            <a:custGeom>
              <a:avLst/>
              <a:gdLst>
                <a:gd name="T0" fmla="*/ 0 h 19"/>
                <a:gd name="T1" fmla="*/ 19 h 19"/>
                <a:gd name="T2" fmla="*/ 0 h 19"/>
              </a:gdLst>
              <a:ahLst/>
              <a:cxnLst>
                <a:cxn ang="0">
                  <a:pos x="0" y="T0"/>
                </a:cxn>
                <a:cxn ang="0">
                  <a:pos x="0" y="T1"/>
                </a:cxn>
                <a:cxn ang="0">
                  <a:pos x="0" y="T2"/>
                </a:cxn>
              </a:cxnLst>
              <a:rect l="0" t="0" r="r" b="b"/>
              <a:pathLst>
                <a:path h="19">
                  <a:moveTo>
                    <a:pt x="0" y="0"/>
                  </a:moveTo>
                  <a:cubicBezTo>
                    <a:pt x="0" y="7"/>
                    <a:pt x="0" y="13"/>
                    <a:pt x="0" y="19"/>
                  </a:cubicBezTo>
                  <a:cubicBezTo>
                    <a:pt x="0" y="13"/>
                    <a:pt x="0" y="7"/>
                    <a:pt x="0" y="0"/>
                  </a:cubicBezTo>
                  <a:close/>
                </a:path>
              </a:pathLst>
            </a:custGeom>
            <a:solidFill>
              <a:srgbClr val="1F42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8" name="Freeform 23"/>
            <p:cNvSpPr>
              <a:spLocks/>
            </p:cNvSpPr>
            <p:nvPr/>
          </p:nvSpPr>
          <p:spPr bwMode="auto">
            <a:xfrm>
              <a:off x="3477919" y="2419382"/>
              <a:ext cx="4957" cy="2479"/>
            </a:xfrm>
            <a:custGeom>
              <a:avLst/>
              <a:gdLst>
                <a:gd name="T0" fmla="*/ 0 w 7"/>
                <a:gd name="T1" fmla="*/ 4 h 4"/>
                <a:gd name="T2" fmla="*/ 7 w 7"/>
                <a:gd name="T3" fmla="*/ 0 h 4"/>
                <a:gd name="T4" fmla="*/ 0 w 7"/>
                <a:gd name="T5" fmla="*/ 4 h 4"/>
              </a:gdLst>
              <a:ahLst/>
              <a:cxnLst>
                <a:cxn ang="0">
                  <a:pos x="T0" y="T1"/>
                </a:cxn>
                <a:cxn ang="0">
                  <a:pos x="T2" y="T3"/>
                </a:cxn>
                <a:cxn ang="0">
                  <a:pos x="T4" y="T5"/>
                </a:cxn>
              </a:cxnLst>
              <a:rect l="0" t="0" r="r" b="b"/>
              <a:pathLst>
                <a:path w="7" h="4">
                  <a:moveTo>
                    <a:pt x="0" y="4"/>
                  </a:moveTo>
                  <a:cubicBezTo>
                    <a:pt x="2" y="3"/>
                    <a:pt x="5" y="2"/>
                    <a:pt x="7" y="0"/>
                  </a:cubicBezTo>
                  <a:cubicBezTo>
                    <a:pt x="5" y="1"/>
                    <a:pt x="2" y="3"/>
                    <a:pt x="0" y="4"/>
                  </a:cubicBezTo>
                  <a:close/>
                </a:path>
              </a:pathLst>
            </a:custGeom>
            <a:solidFill>
              <a:srgbClr val="1F42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9" name="Freeform 24"/>
            <p:cNvSpPr>
              <a:spLocks/>
            </p:cNvSpPr>
            <p:nvPr/>
          </p:nvSpPr>
          <p:spPr bwMode="auto">
            <a:xfrm>
              <a:off x="4976200" y="3440542"/>
              <a:ext cx="0" cy="3718"/>
            </a:xfrm>
            <a:custGeom>
              <a:avLst/>
              <a:gdLst>
                <a:gd name="T0" fmla="*/ 0 h 5"/>
                <a:gd name="T1" fmla="*/ 5 h 5"/>
                <a:gd name="T2" fmla="*/ 0 h 5"/>
              </a:gdLst>
              <a:ahLst/>
              <a:cxnLst>
                <a:cxn ang="0">
                  <a:pos x="0" y="T0"/>
                </a:cxn>
                <a:cxn ang="0">
                  <a:pos x="0" y="T1"/>
                </a:cxn>
                <a:cxn ang="0">
                  <a:pos x="0" y="T2"/>
                </a:cxn>
              </a:cxnLst>
              <a:rect l="0" t="0" r="r" b="b"/>
              <a:pathLst>
                <a:path h="5">
                  <a:moveTo>
                    <a:pt x="0" y="0"/>
                  </a:moveTo>
                  <a:cubicBezTo>
                    <a:pt x="0" y="2"/>
                    <a:pt x="0" y="4"/>
                    <a:pt x="0" y="5"/>
                  </a:cubicBezTo>
                  <a:cubicBezTo>
                    <a:pt x="0" y="4"/>
                    <a:pt x="0" y="2"/>
                    <a:pt x="0" y="0"/>
                  </a:cubicBezTo>
                  <a:close/>
                </a:path>
              </a:pathLst>
            </a:custGeom>
            <a:solidFill>
              <a:srgbClr val="1F42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0" name="Freeform 25"/>
            <p:cNvSpPr>
              <a:spLocks/>
            </p:cNvSpPr>
            <p:nvPr/>
          </p:nvSpPr>
          <p:spPr bwMode="auto">
            <a:xfrm>
              <a:off x="2502612" y="2626341"/>
              <a:ext cx="1093039" cy="1018682"/>
            </a:xfrm>
            <a:custGeom>
              <a:avLst/>
              <a:gdLst>
                <a:gd name="T0" fmla="*/ 696 w 1496"/>
                <a:gd name="T1" fmla="*/ 1395 h 1395"/>
                <a:gd name="T2" fmla="*/ 1242 w 1496"/>
                <a:gd name="T3" fmla="*/ 1080 h 1395"/>
                <a:gd name="T4" fmla="*/ 1496 w 1496"/>
                <a:gd name="T5" fmla="*/ 808 h 1395"/>
                <a:gd name="T6" fmla="*/ 1225 w 1496"/>
                <a:gd name="T7" fmla="*/ 296 h 1395"/>
                <a:gd name="T8" fmla="*/ 1168 w 1496"/>
                <a:gd name="T9" fmla="*/ 65 h 1395"/>
                <a:gd name="T10" fmla="*/ 1163 w 1496"/>
                <a:gd name="T11" fmla="*/ 0 h 1395"/>
                <a:gd name="T12" fmla="*/ 130 w 1496"/>
                <a:gd name="T13" fmla="*/ 840 h 1395"/>
                <a:gd name="T14" fmla="*/ 0 w 1496"/>
                <a:gd name="T15" fmla="*/ 832 h 1395"/>
                <a:gd name="T16" fmla="*/ 82 w 1496"/>
                <a:gd name="T17" fmla="*/ 861 h 1395"/>
                <a:gd name="T18" fmla="*/ 696 w 1496"/>
                <a:gd name="T19" fmla="*/ 1395 h 13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96" h="1395">
                  <a:moveTo>
                    <a:pt x="696" y="1395"/>
                  </a:moveTo>
                  <a:cubicBezTo>
                    <a:pt x="895" y="1325"/>
                    <a:pt x="1080" y="1219"/>
                    <a:pt x="1242" y="1080"/>
                  </a:cubicBezTo>
                  <a:cubicBezTo>
                    <a:pt x="1337" y="998"/>
                    <a:pt x="1422" y="907"/>
                    <a:pt x="1496" y="808"/>
                  </a:cubicBezTo>
                  <a:cubicBezTo>
                    <a:pt x="1378" y="655"/>
                    <a:pt x="1286" y="482"/>
                    <a:pt x="1225" y="296"/>
                  </a:cubicBezTo>
                  <a:cubicBezTo>
                    <a:pt x="1201" y="220"/>
                    <a:pt x="1181" y="143"/>
                    <a:pt x="1168" y="65"/>
                  </a:cubicBezTo>
                  <a:cubicBezTo>
                    <a:pt x="1164" y="43"/>
                    <a:pt x="1162" y="21"/>
                    <a:pt x="1163" y="0"/>
                  </a:cubicBezTo>
                  <a:cubicBezTo>
                    <a:pt x="1062" y="490"/>
                    <a:pt x="635" y="840"/>
                    <a:pt x="130" y="840"/>
                  </a:cubicBezTo>
                  <a:cubicBezTo>
                    <a:pt x="86" y="840"/>
                    <a:pt x="43" y="838"/>
                    <a:pt x="0" y="832"/>
                  </a:cubicBezTo>
                  <a:cubicBezTo>
                    <a:pt x="28" y="838"/>
                    <a:pt x="55" y="847"/>
                    <a:pt x="82" y="861"/>
                  </a:cubicBezTo>
                  <a:cubicBezTo>
                    <a:pt x="328" y="987"/>
                    <a:pt x="538" y="1171"/>
                    <a:pt x="696" y="1395"/>
                  </a:cubicBezTo>
                  <a:close/>
                </a:path>
              </a:pathLst>
            </a:custGeom>
            <a:solidFill>
              <a:srgbClr val="E2583D"/>
            </a:solidFill>
            <a:ln>
              <a:no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1" name="Freeform 26"/>
            <p:cNvSpPr>
              <a:spLocks/>
            </p:cNvSpPr>
            <p:nvPr/>
          </p:nvSpPr>
          <p:spPr bwMode="auto">
            <a:xfrm>
              <a:off x="2203947" y="3213755"/>
              <a:ext cx="808005" cy="503144"/>
            </a:xfrm>
            <a:custGeom>
              <a:avLst/>
              <a:gdLst>
                <a:gd name="T0" fmla="*/ 25 w 1106"/>
                <a:gd name="T1" fmla="*/ 303 h 687"/>
                <a:gd name="T2" fmla="*/ 303 w 1106"/>
                <a:gd name="T3" fmla="*/ 671 h 687"/>
                <a:gd name="T4" fmla="*/ 540 w 1106"/>
                <a:gd name="T5" fmla="*/ 687 h 687"/>
                <a:gd name="T6" fmla="*/ 1106 w 1106"/>
                <a:gd name="T7" fmla="*/ 590 h 687"/>
                <a:gd name="T8" fmla="*/ 492 w 1106"/>
                <a:gd name="T9" fmla="*/ 56 h 687"/>
                <a:gd name="T10" fmla="*/ 410 w 1106"/>
                <a:gd name="T11" fmla="*/ 27 h 687"/>
                <a:gd name="T12" fmla="*/ 393 w 1106"/>
                <a:gd name="T13" fmla="*/ 25 h 687"/>
                <a:gd name="T14" fmla="*/ 25 w 1106"/>
                <a:gd name="T15" fmla="*/ 303 h 68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06" h="687">
                  <a:moveTo>
                    <a:pt x="25" y="303"/>
                  </a:moveTo>
                  <a:cubicBezTo>
                    <a:pt x="0" y="481"/>
                    <a:pt x="125" y="646"/>
                    <a:pt x="303" y="671"/>
                  </a:cubicBezTo>
                  <a:cubicBezTo>
                    <a:pt x="381" y="682"/>
                    <a:pt x="461" y="687"/>
                    <a:pt x="540" y="687"/>
                  </a:cubicBezTo>
                  <a:cubicBezTo>
                    <a:pt x="734" y="687"/>
                    <a:pt x="926" y="654"/>
                    <a:pt x="1106" y="590"/>
                  </a:cubicBezTo>
                  <a:cubicBezTo>
                    <a:pt x="948" y="366"/>
                    <a:pt x="738" y="182"/>
                    <a:pt x="492" y="56"/>
                  </a:cubicBezTo>
                  <a:cubicBezTo>
                    <a:pt x="465" y="42"/>
                    <a:pt x="438" y="33"/>
                    <a:pt x="410" y="27"/>
                  </a:cubicBezTo>
                  <a:cubicBezTo>
                    <a:pt x="404" y="27"/>
                    <a:pt x="398" y="26"/>
                    <a:pt x="393" y="25"/>
                  </a:cubicBezTo>
                  <a:cubicBezTo>
                    <a:pt x="215" y="0"/>
                    <a:pt x="50" y="125"/>
                    <a:pt x="25" y="303"/>
                  </a:cubicBezTo>
                  <a:close/>
                </a:path>
              </a:pathLst>
            </a:custGeom>
            <a:solidFill>
              <a:srgbClr val="4CC7C4"/>
            </a:solidFill>
            <a:ln>
              <a:no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2" name="Freeform 27"/>
            <p:cNvSpPr>
              <a:spLocks/>
            </p:cNvSpPr>
            <p:nvPr/>
          </p:nvSpPr>
          <p:spPr bwMode="auto">
            <a:xfrm>
              <a:off x="2629018" y="4334057"/>
              <a:ext cx="614679" cy="711343"/>
            </a:xfrm>
            <a:custGeom>
              <a:avLst/>
              <a:gdLst>
                <a:gd name="T0" fmla="*/ 229 w 841"/>
                <a:gd name="T1" fmla="*/ 941 h 974"/>
                <a:gd name="T2" fmla="*/ 371 w 841"/>
                <a:gd name="T3" fmla="*/ 974 h 974"/>
                <a:gd name="T4" fmla="*/ 665 w 841"/>
                <a:gd name="T5" fmla="*/ 790 h 974"/>
                <a:gd name="T6" fmla="*/ 754 w 841"/>
                <a:gd name="T7" fmla="*/ 570 h 974"/>
                <a:gd name="T8" fmla="*/ 836 w 841"/>
                <a:gd name="T9" fmla="*/ 0 h 974"/>
                <a:gd name="T10" fmla="*/ 140 w 841"/>
                <a:gd name="T11" fmla="*/ 419 h 974"/>
                <a:gd name="T12" fmla="*/ 84 w 841"/>
                <a:gd name="T13" fmla="*/ 493 h 974"/>
                <a:gd name="T14" fmla="*/ 79 w 841"/>
                <a:gd name="T15" fmla="*/ 505 h 974"/>
                <a:gd name="T16" fmla="*/ 229 w 841"/>
                <a:gd name="T17" fmla="*/ 941 h 9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41" h="974">
                  <a:moveTo>
                    <a:pt x="229" y="941"/>
                  </a:moveTo>
                  <a:cubicBezTo>
                    <a:pt x="275" y="963"/>
                    <a:pt x="324" y="974"/>
                    <a:pt x="371" y="974"/>
                  </a:cubicBezTo>
                  <a:cubicBezTo>
                    <a:pt x="492" y="974"/>
                    <a:pt x="608" y="906"/>
                    <a:pt x="665" y="790"/>
                  </a:cubicBezTo>
                  <a:cubicBezTo>
                    <a:pt x="699" y="719"/>
                    <a:pt x="729" y="645"/>
                    <a:pt x="754" y="570"/>
                  </a:cubicBezTo>
                  <a:cubicBezTo>
                    <a:pt x="814" y="385"/>
                    <a:pt x="841" y="192"/>
                    <a:pt x="836" y="0"/>
                  </a:cubicBezTo>
                  <a:cubicBezTo>
                    <a:pt x="575" y="81"/>
                    <a:pt x="335" y="224"/>
                    <a:pt x="140" y="419"/>
                  </a:cubicBezTo>
                  <a:cubicBezTo>
                    <a:pt x="117" y="442"/>
                    <a:pt x="99" y="467"/>
                    <a:pt x="84" y="493"/>
                  </a:cubicBezTo>
                  <a:cubicBezTo>
                    <a:pt x="82" y="497"/>
                    <a:pt x="80" y="501"/>
                    <a:pt x="79" y="505"/>
                  </a:cubicBezTo>
                  <a:cubicBezTo>
                    <a:pt x="0" y="667"/>
                    <a:pt x="67" y="862"/>
                    <a:pt x="229" y="941"/>
                  </a:cubicBezTo>
                  <a:close/>
                </a:path>
              </a:pathLst>
            </a:custGeom>
            <a:solidFill>
              <a:srgbClr val="D63E20"/>
            </a:solidFill>
            <a:ln>
              <a:no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6" name="Freeform 28"/>
            <p:cNvSpPr>
              <a:spLocks/>
            </p:cNvSpPr>
            <p:nvPr/>
          </p:nvSpPr>
          <p:spPr bwMode="auto">
            <a:xfrm>
              <a:off x="3963714" y="4329100"/>
              <a:ext cx="609722" cy="706385"/>
            </a:xfrm>
            <a:custGeom>
              <a:avLst/>
              <a:gdLst>
                <a:gd name="T0" fmla="*/ 700 w 834"/>
                <a:gd name="T1" fmla="*/ 407 h 966"/>
                <a:gd name="T2" fmla="*/ 518 w 834"/>
                <a:gd name="T3" fmla="*/ 255 h 966"/>
                <a:gd name="T4" fmla="*/ 2 w 834"/>
                <a:gd name="T5" fmla="*/ 0 h 966"/>
                <a:gd name="T6" fmla="*/ 186 w 834"/>
                <a:gd name="T7" fmla="*/ 787 h 966"/>
                <a:gd name="T8" fmla="*/ 477 w 834"/>
                <a:gd name="T9" fmla="*/ 966 h 966"/>
                <a:gd name="T10" fmla="*/ 624 w 834"/>
                <a:gd name="T11" fmla="*/ 931 h 966"/>
                <a:gd name="T12" fmla="*/ 695 w 834"/>
                <a:gd name="T13" fmla="*/ 881 h 966"/>
                <a:gd name="T14" fmla="*/ 707 w 834"/>
                <a:gd name="T15" fmla="*/ 870 h 966"/>
                <a:gd name="T16" fmla="*/ 711 w 834"/>
                <a:gd name="T17" fmla="*/ 866 h 966"/>
                <a:gd name="T18" fmla="*/ 700 w 834"/>
                <a:gd name="T19" fmla="*/ 407 h 9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34" h="966">
                  <a:moveTo>
                    <a:pt x="700" y="407"/>
                  </a:moveTo>
                  <a:cubicBezTo>
                    <a:pt x="643" y="353"/>
                    <a:pt x="582" y="301"/>
                    <a:pt x="518" y="255"/>
                  </a:cubicBezTo>
                  <a:cubicBezTo>
                    <a:pt x="361" y="140"/>
                    <a:pt x="186" y="55"/>
                    <a:pt x="2" y="0"/>
                  </a:cubicBezTo>
                  <a:cubicBezTo>
                    <a:pt x="0" y="272"/>
                    <a:pt x="62" y="543"/>
                    <a:pt x="186" y="787"/>
                  </a:cubicBezTo>
                  <a:cubicBezTo>
                    <a:pt x="243" y="901"/>
                    <a:pt x="358" y="966"/>
                    <a:pt x="477" y="966"/>
                  </a:cubicBezTo>
                  <a:cubicBezTo>
                    <a:pt x="526" y="966"/>
                    <a:pt x="577" y="955"/>
                    <a:pt x="624" y="931"/>
                  </a:cubicBezTo>
                  <a:cubicBezTo>
                    <a:pt x="650" y="917"/>
                    <a:pt x="674" y="900"/>
                    <a:pt x="695" y="881"/>
                  </a:cubicBezTo>
                  <a:cubicBezTo>
                    <a:pt x="699" y="877"/>
                    <a:pt x="703" y="874"/>
                    <a:pt x="707" y="870"/>
                  </a:cubicBezTo>
                  <a:cubicBezTo>
                    <a:pt x="709" y="868"/>
                    <a:pt x="710" y="867"/>
                    <a:pt x="711" y="866"/>
                  </a:cubicBezTo>
                  <a:cubicBezTo>
                    <a:pt x="834" y="736"/>
                    <a:pt x="829" y="532"/>
                    <a:pt x="700" y="407"/>
                  </a:cubicBezTo>
                  <a:close/>
                </a:path>
              </a:pathLst>
            </a:custGeom>
            <a:solidFill>
              <a:srgbClr val="252323"/>
            </a:solidFill>
            <a:ln>
              <a:no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8" name="Freeform 29"/>
            <p:cNvSpPr>
              <a:spLocks/>
            </p:cNvSpPr>
            <p:nvPr/>
          </p:nvSpPr>
          <p:spPr bwMode="auto">
            <a:xfrm>
              <a:off x="3595651" y="2622622"/>
              <a:ext cx="1073210" cy="1014964"/>
            </a:xfrm>
            <a:custGeom>
              <a:avLst/>
              <a:gdLst>
                <a:gd name="T0" fmla="*/ 0 w 1469"/>
                <a:gd name="T1" fmla="*/ 812 h 1388"/>
                <a:gd name="T2" fmla="*/ 465 w 1469"/>
                <a:gd name="T3" fmla="*/ 1230 h 1388"/>
                <a:gd name="T4" fmla="*/ 804 w 1469"/>
                <a:gd name="T5" fmla="*/ 1388 h 1388"/>
                <a:gd name="T6" fmla="*/ 1210 w 1469"/>
                <a:gd name="T7" fmla="*/ 971 h 1388"/>
                <a:gd name="T8" fmla="*/ 1411 w 1469"/>
                <a:gd name="T9" fmla="*/ 845 h 1388"/>
                <a:gd name="T10" fmla="*/ 1469 w 1469"/>
                <a:gd name="T11" fmla="*/ 821 h 1388"/>
                <a:gd name="T12" fmla="*/ 349 w 1469"/>
                <a:gd name="T13" fmla="*/ 98 h 1388"/>
                <a:gd name="T14" fmla="*/ 323 w 1469"/>
                <a:gd name="T15" fmla="*/ 0 h 1388"/>
                <a:gd name="T16" fmla="*/ 319 w 1469"/>
                <a:gd name="T17" fmla="*/ 62 h 1388"/>
                <a:gd name="T18" fmla="*/ 0 w 1469"/>
                <a:gd name="T19" fmla="*/ 812 h 1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69" h="1388">
                  <a:moveTo>
                    <a:pt x="0" y="812"/>
                  </a:moveTo>
                  <a:cubicBezTo>
                    <a:pt x="127" y="978"/>
                    <a:pt x="284" y="1120"/>
                    <a:pt x="465" y="1230"/>
                  </a:cubicBezTo>
                  <a:cubicBezTo>
                    <a:pt x="573" y="1296"/>
                    <a:pt x="687" y="1348"/>
                    <a:pt x="804" y="1388"/>
                  </a:cubicBezTo>
                  <a:cubicBezTo>
                    <a:pt x="914" y="1228"/>
                    <a:pt x="1050" y="1087"/>
                    <a:pt x="1210" y="971"/>
                  </a:cubicBezTo>
                  <a:cubicBezTo>
                    <a:pt x="1274" y="924"/>
                    <a:pt x="1341" y="882"/>
                    <a:pt x="1411" y="845"/>
                  </a:cubicBezTo>
                  <a:cubicBezTo>
                    <a:pt x="1430" y="835"/>
                    <a:pt x="1450" y="827"/>
                    <a:pt x="1469" y="821"/>
                  </a:cubicBezTo>
                  <a:cubicBezTo>
                    <a:pt x="972" y="877"/>
                    <a:pt x="506" y="579"/>
                    <a:pt x="349" y="98"/>
                  </a:cubicBezTo>
                  <a:cubicBezTo>
                    <a:pt x="339" y="66"/>
                    <a:pt x="330" y="33"/>
                    <a:pt x="323" y="0"/>
                  </a:cubicBezTo>
                  <a:cubicBezTo>
                    <a:pt x="323" y="20"/>
                    <a:pt x="322" y="41"/>
                    <a:pt x="319" y="62"/>
                  </a:cubicBezTo>
                  <a:cubicBezTo>
                    <a:pt x="275" y="335"/>
                    <a:pt x="164" y="593"/>
                    <a:pt x="0" y="812"/>
                  </a:cubicBezTo>
                  <a:close/>
                </a:path>
              </a:pathLst>
            </a:custGeom>
            <a:solidFill>
              <a:srgbClr val="78D2D2"/>
            </a:solidFill>
            <a:ln>
              <a:no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9" name="Freeform 30"/>
            <p:cNvSpPr>
              <a:spLocks/>
            </p:cNvSpPr>
            <p:nvPr/>
          </p:nvSpPr>
          <p:spPr bwMode="auto">
            <a:xfrm>
              <a:off x="3351514" y="2374768"/>
              <a:ext cx="480837" cy="841466"/>
            </a:xfrm>
            <a:custGeom>
              <a:avLst/>
              <a:gdLst>
                <a:gd name="T0" fmla="*/ 63 w 657"/>
                <a:gd name="T1" fmla="*/ 640 h 1152"/>
                <a:gd name="T2" fmla="*/ 334 w 657"/>
                <a:gd name="T3" fmla="*/ 1152 h 1152"/>
                <a:gd name="T4" fmla="*/ 653 w 657"/>
                <a:gd name="T5" fmla="*/ 402 h 1152"/>
                <a:gd name="T6" fmla="*/ 657 w 657"/>
                <a:gd name="T7" fmla="*/ 340 h 1152"/>
                <a:gd name="T8" fmla="*/ 648 w 657"/>
                <a:gd name="T9" fmla="*/ 296 h 1152"/>
                <a:gd name="T10" fmla="*/ 270 w 657"/>
                <a:gd name="T11" fmla="*/ 31 h 1152"/>
                <a:gd name="T12" fmla="*/ 180 w 657"/>
                <a:gd name="T13" fmla="*/ 61 h 1152"/>
                <a:gd name="T14" fmla="*/ 173 w 657"/>
                <a:gd name="T15" fmla="*/ 65 h 1152"/>
                <a:gd name="T16" fmla="*/ 161 w 657"/>
                <a:gd name="T17" fmla="*/ 72 h 1152"/>
                <a:gd name="T18" fmla="*/ 9 w 657"/>
                <a:gd name="T19" fmla="*/ 298 h 1152"/>
                <a:gd name="T20" fmla="*/ 1 w 657"/>
                <a:gd name="T21" fmla="*/ 344 h 1152"/>
                <a:gd name="T22" fmla="*/ 6 w 657"/>
                <a:gd name="T23" fmla="*/ 409 h 1152"/>
                <a:gd name="T24" fmla="*/ 63 w 657"/>
                <a:gd name="T25" fmla="*/ 640 h 1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57" h="1152">
                  <a:moveTo>
                    <a:pt x="63" y="640"/>
                  </a:moveTo>
                  <a:cubicBezTo>
                    <a:pt x="124" y="826"/>
                    <a:pt x="216" y="999"/>
                    <a:pt x="334" y="1152"/>
                  </a:cubicBezTo>
                  <a:cubicBezTo>
                    <a:pt x="498" y="933"/>
                    <a:pt x="609" y="675"/>
                    <a:pt x="653" y="402"/>
                  </a:cubicBezTo>
                  <a:cubicBezTo>
                    <a:pt x="656" y="381"/>
                    <a:pt x="657" y="360"/>
                    <a:pt x="657" y="340"/>
                  </a:cubicBezTo>
                  <a:cubicBezTo>
                    <a:pt x="653" y="325"/>
                    <a:pt x="650" y="310"/>
                    <a:pt x="648" y="296"/>
                  </a:cubicBezTo>
                  <a:cubicBezTo>
                    <a:pt x="616" y="118"/>
                    <a:pt x="447" y="0"/>
                    <a:pt x="270" y="31"/>
                  </a:cubicBezTo>
                  <a:cubicBezTo>
                    <a:pt x="238" y="37"/>
                    <a:pt x="208" y="47"/>
                    <a:pt x="180" y="61"/>
                  </a:cubicBezTo>
                  <a:cubicBezTo>
                    <a:pt x="178" y="63"/>
                    <a:pt x="175" y="64"/>
                    <a:pt x="173" y="65"/>
                  </a:cubicBezTo>
                  <a:cubicBezTo>
                    <a:pt x="169" y="67"/>
                    <a:pt x="165" y="70"/>
                    <a:pt x="161" y="72"/>
                  </a:cubicBezTo>
                  <a:cubicBezTo>
                    <a:pt x="83" y="120"/>
                    <a:pt x="25" y="200"/>
                    <a:pt x="9" y="298"/>
                  </a:cubicBezTo>
                  <a:cubicBezTo>
                    <a:pt x="7" y="314"/>
                    <a:pt x="4" y="329"/>
                    <a:pt x="1" y="344"/>
                  </a:cubicBezTo>
                  <a:cubicBezTo>
                    <a:pt x="0" y="365"/>
                    <a:pt x="2" y="387"/>
                    <a:pt x="6" y="409"/>
                  </a:cubicBezTo>
                  <a:cubicBezTo>
                    <a:pt x="19" y="487"/>
                    <a:pt x="39" y="564"/>
                    <a:pt x="63" y="640"/>
                  </a:cubicBezTo>
                  <a:close/>
                </a:path>
              </a:pathLst>
            </a:custGeom>
            <a:solidFill>
              <a:srgbClr val="D63E20"/>
            </a:solidFill>
            <a:ln>
              <a:no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1" name="Freeform 31"/>
            <p:cNvSpPr>
              <a:spLocks/>
            </p:cNvSpPr>
            <p:nvPr/>
          </p:nvSpPr>
          <p:spPr bwMode="auto">
            <a:xfrm>
              <a:off x="4183065" y="3197645"/>
              <a:ext cx="793134" cy="506863"/>
            </a:xfrm>
            <a:custGeom>
              <a:avLst/>
              <a:gdLst>
                <a:gd name="T0" fmla="*/ 1086 w 1086"/>
                <a:gd name="T1" fmla="*/ 355 h 692"/>
                <a:gd name="T2" fmla="*/ 1086 w 1086"/>
                <a:gd name="T3" fmla="*/ 336 h 692"/>
                <a:gd name="T4" fmla="*/ 1086 w 1086"/>
                <a:gd name="T5" fmla="*/ 331 h 692"/>
                <a:gd name="T6" fmla="*/ 1082 w 1086"/>
                <a:gd name="T7" fmla="*/ 300 h 692"/>
                <a:gd name="T8" fmla="*/ 710 w 1086"/>
                <a:gd name="T9" fmla="*/ 28 h 692"/>
                <a:gd name="T10" fmla="*/ 665 w 1086"/>
                <a:gd name="T11" fmla="*/ 34 h 692"/>
                <a:gd name="T12" fmla="*/ 607 w 1086"/>
                <a:gd name="T13" fmla="*/ 58 h 692"/>
                <a:gd name="T14" fmla="*/ 406 w 1086"/>
                <a:gd name="T15" fmla="*/ 184 h 692"/>
                <a:gd name="T16" fmla="*/ 0 w 1086"/>
                <a:gd name="T17" fmla="*/ 601 h 692"/>
                <a:gd name="T18" fmla="*/ 549 w 1086"/>
                <a:gd name="T19" fmla="*/ 692 h 692"/>
                <a:gd name="T20" fmla="*/ 811 w 1086"/>
                <a:gd name="T21" fmla="*/ 672 h 692"/>
                <a:gd name="T22" fmla="*/ 875 w 1086"/>
                <a:gd name="T23" fmla="*/ 655 h 692"/>
                <a:gd name="T24" fmla="*/ 914 w 1086"/>
                <a:gd name="T25" fmla="*/ 633 h 692"/>
                <a:gd name="T26" fmla="*/ 1086 w 1086"/>
                <a:gd name="T27" fmla="*/ 355 h 6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86" h="692">
                  <a:moveTo>
                    <a:pt x="1086" y="355"/>
                  </a:moveTo>
                  <a:cubicBezTo>
                    <a:pt x="1086" y="349"/>
                    <a:pt x="1086" y="343"/>
                    <a:pt x="1086" y="336"/>
                  </a:cubicBezTo>
                  <a:cubicBezTo>
                    <a:pt x="1086" y="335"/>
                    <a:pt x="1086" y="333"/>
                    <a:pt x="1086" y="331"/>
                  </a:cubicBezTo>
                  <a:cubicBezTo>
                    <a:pt x="1085" y="320"/>
                    <a:pt x="1084" y="310"/>
                    <a:pt x="1082" y="300"/>
                  </a:cubicBezTo>
                  <a:cubicBezTo>
                    <a:pt x="1055" y="122"/>
                    <a:pt x="888" y="0"/>
                    <a:pt x="710" y="28"/>
                  </a:cubicBezTo>
                  <a:cubicBezTo>
                    <a:pt x="695" y="30"/>
                    <a:pt x="680" y="32"/>
                    <a:pt x="665" y="34"/>
                  </a:cubicBezTo>
                  <a:cubicBezTo>
                    <a:pt x="646" y="40"/>
                    <a:pt x="626" y="48"/>
                    <a:pt x="607" y="58"/>
                  </a:cubicBezTo>
                  <a:cubicBezTo>
                    <a:pt x="537" y="95"/>
                    <a:pt x="470" y="137"/>
                    <a:pt x="406" y="184"/>
                  </a:cubicBezTo>
                  <a:cubicBezTo>
                    <a:pt x="246" y="300"/>
                    <a:pt x="110" y="441"/>
                    <a:pt x="0" y="601"/>
                  </a:cubicBezTo>
                  <a:cubicBezTo>
                    <a:pt x="177" y="661"/>
                    <a:pt x="363" y="692"/>
                    <a:pt x="549" y="692"/>
                  </a:cubicBezTo>
                  <a:cubicBezTo>
                    <a:pt x="636" y="692"/>
                    <a:pt x="724" y="686"/>
                    <a:pt x="811" y="672"/>
                  </a:cubicBezTo>
                  <a:cubicBezTo>
                    <a:pt x="833" y="669"/>
                    <a:pt x="854" y="663"/>
                    <a:pt x="875" y="655"/>
                  </a:cubicBezTo>
                  <a:cubicBezTo>
                    <a:pt x="888" y="648"/>
                    <a:pt x="901" y="640"/>
                    <a:pt x="914" y="633"/>
                  </a:cubicBezTo>
                  <a:cubicBezTo>
                    <a:pt x="1021" y="576"/>
                    <a:pt x="1083" y="468"/>
                    <a:pt x="1086" y="355"/>
                  </a:cubicBezTo>
                  <a:close/>
                </a:path>
              </a:pathLst>
            </a:custGeom>
            <a:solidFill>
              <a:srgbClr val="4CC7C4"/>
            </a:solidFill>
            <a:ln>
              <a:no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2" name="Freeform 32"/>
            <p:cNvSpPr>
              <a:spLocks/>
            </p:cNvSpPr>
            <p:nvPr/>
          </p:nvSpPr>
          <p:spPr bwMode="auto">
            <a:xfrm>
              <a:off x="3966193" y="3637586"/>
              <a:ext cx="856338" cy="1084363"/>
            </a:xfrm>
            <a:custGeom>
              <a:avLst/>
              <a:gdLst>
                <a:gd name="T0" fmla="*/ 698 w 1173"/>
                <a:gd name="T1" fmla="*/ 1354 h 1484"/>
                <a:gd name="T2" fmla="*/ 781 w 1173"/>
                <a:gd name="T3" fmla="*/ 1484 h 1484"/>
                <a:gd name="T4" fmla="*/ 765 w 1173"/>
                <a:gd name="T5" fmla="*/ 1439 h 1484"/>
                <a:gd name="T6" fmla="*/ 1087 w 1173"/>
                <a:gd name="T7" fmla="*/ 110 h 1484"/>
                <a:gd name="T8" fmla="*/ 1173 w 1173"/>
                <a:gd name="T9" fmla="*/ 54 h 1484"/>
                <a:gd name="T10" fmla="*/ 1109 w 1173"/>
                <a:gd name="T11" fmla="*/ 71 h 1484"/>
                <a:gd name="T12" fmla="*/ 847 w 1173"/>
                <a:gd name="T13" fmla="*/ 91 h 1484"/>
                <a:gd name="T14" fmla="*/ 298 w 1173"/>
                <a:gd name="T15" fmla="*/ 0 h 1484"/>
                <a:gd name="T16" fmla="*/ 46 w 1173"/>
                <a:gd name="T17" fmla="*/ 570 h 1484"/>
                <a:gd name="T18" fmla="*/ 0 w 1173"/>
                <a:gd name="T19" fmla="*/ 947 h 1484"/>
                <a:gd name="T20" fmla="*/ 516 w 1173"/>
                <a:gd name="T21" fmla="*/ 1202 h 1484"/>
                <a:gd name="T22" fmla="*/ 698 w 1173"/>
                <a:gd name="T23" fmla="*/ 1354 h 1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73" h="1484">
                  <a:moveTo>
                    <a:pt x="698" y="1354"/>
                  </a:moveTo>
                  <a:cubicBezTo>
                    <a:pt x="737" y="1392"/>
                    <a:pt x="764" y="1436"/>
                    <a:pt x="781" y="1484"/>
                  </a:cubicBezTo>
                  <a:cubicBezTo>
                    <a:pt x="781" y="1484"/>
                    <a:pt x="773" y="1456"/>
                    <a:pt x="765" y="1439"/>
                  </a:cubicBezTo>
                  <a:cubicBezTo>
                    <a:pt x="530" y="976"/>
                    <a:pt x="665" y="417"/>
                    <a:pt x="1087" y="110"/>
                  </a:cubicBezTo>
                  <a:cubicBezTo>
                    <a:pt x="1115" y="90"/>
                    <a:pt x="1143" y="72"/>
                    <a:pt x="1173" y="54"/>
                  </a:cubicBezTo>
                  <a:cubicBezTo>
                    <a:pt x="1152" y="62"/>
                    <a:pt x="1131" y="68"/>
                    <a:pt x="1109" y="71"/>
                  </a:cubicBezTo>
                  <a:cubicBezTo>
                    <a:pt x="1022" y="85"/>
                    <a:pt x="934" y="91"/>
                    <a:pt x="847" y="91"/>
                  </a:cubicBezTo>
                  <a:cubicBezTo>
                    <a:pt x="661" y="91"/>
                    <a:pt x="475" y="60"/>
                    <a:pt x="298" y="0"/>
                  </a:cubicBezTo>
                  <a:cubicBezTo>
                    <a:pt x="181" y="172"/>
                    <a:pt x="95" y="365"/>
                    <a:pt x="46" y="570"/>
                  </a:cubicBezTo>
                  <a:cubicBezTo>
                    <a:pt x="17" y="695"/>
                    <a:pt x="2" y="821"/>
                    <a:pt x="0" y="947"/>
                  </a:cubicBezTo>
                  <a:cubicBezTo>
                    <a:pt x="184" y="1002"/>
                    <a:pt x="359" y="1087"/>
                    <a:pt x="516" y="1202"/>
                  </a:cubicBezTo>
                  <a:cubicBezTo>
                    <a:pt x="580" y="1248"/>
                    <a:pt x="641" y="1300"/>
                    <a:pt x="698" y="1354"/>
                  </a:cubicBezTo>
                  <a:close/>
                </a:path>
              </a:pathLst>
            </a:custGeom>
            <a:solidFill>
              <a:srgbClr val="3B3939"/>
            </a:solidFill>
            <a:ln>
              <a:no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3" name="Freeform 33"/>
            <p:cNvSpPr>
              <a:spLocks/>
            </p:cNvSpPr>
            <p:nvPr/>
          </p:nvSpPr>
          <p:spPr bwMode="auto">
            <a:xfrm>
              <a:off x="3025585" y="4268376"/>
              <a:ext cx="1182266" cy="742325"/>
            </a:xfrm>
            <a:custGeom>
              <a:avLst/>
              <a:gdLst>
                <a:gd name="T0" fmla="*/ 1618 w 1618"/>
                <a:gd name="T1" fmla="*/ 1016 h 1016"/>
                <a:gd name="T2" fmla="*/ 1471 w 1618"/>
                <a:gd name="T3" fmla="*/ 870 h 1016"/>
                <a:gd name="T4" fmla="*/ 1287 w 1618"/>
                <a:gd name="T5" fmla="*/ 83 h 1016"/>
                <a:gd name="T6" fmla="*/ 661 w 1618"/>
                <a:gd name="T7" fmla="*/ 18 h 1016"/>
                <a:gd name="T8" fmla="*/ 293 w 1618"/>
                <a:gd name="T9" fmla="*/ 89 h 1016"/>
                <a:gd name="T10" fmla="*/ 211 w 1618"/>
                <a:gd name="T11" fmla="*/ 659 h 1016"/>
                <a:gd name="T12" fmla="*/ 122 w 1618"/>
                <a:gd name="T13" fmla="*/ 879 h 1016"/>
                <a:gd name="T14" fmla="*/ 0 w 1618"/>
                <a:gd name="T15" fmla="*/ 1014 h 1016"/>
                <a:gd name="T16" fmla="*/ 0 w 1618"/>
                <a:gd name="T17" fmla="*/ 1014 h 1016"/>
                <a:gd name="T18" fmla="*/ 57 w 1618"/>
                <a:gd name="T19" fmla="*/ 970 h 1016"/>
                <a:gd name="T20" fmla="*/ 1420 w 1618"/>
                <a:gd name="T21" fmla="*/ 865 h 1016"/>
                <a:gd name="T22" fmla="*/ 1533 w 1618"/>
                <a:gd name="T23" fmla="*/ 960 h 1016"/>
                <a:gd name="T24" fmla="*/ 1618 w 1618"/>
                <a:gd name="T25" fmla="*/ 1016 h 10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18" h="1016">
                  <a:moveTo>
                    <a:pt x="1618" y="1016"/>
                  </a:moveTo>
                  <a:cubicBezTo>
                    <a:pt x="1557" y="985"/>
                    <a:pt x="1504" y="936"/>
                    <a:pt x="1471" y="870"/>
                  </a:cubicBezTo>
                  <a:cubicBezTo>
                    <a:pt x="1347" y="626"/>
                    <a:pt x="1285" y="355"/>
                    <a:pt x="1287" y="83"/>
                  </a:cubicBezTo>
                  <a:cubicBezTo>
                    <a:pt x="1086" y="23"/>
                    <a:pt x="873" y="0"/>
                    <a:pt x="661" y="18"/>
                  </a:cubicBezTo>
                  <a:cubicBezTo>
                    <a:pt x="535" y="28"/>
                    <a:pt x="412" y="52"/>
                    <a:pt x="293" y="89"/>
                  </a:cubicBezTo>
                  <a:cubicBezTo>
                    <a:pt x="298" y="281"/>
                    <a:pt x="271" y="474"/>
                    <a:pt x="211" y="659"/>
                  </a:cubicBezTo>
                  <a:cubicBezTo>
                    <a:pt x="186" y="734"/>
                    <a:pt x="156" y="808"/>
                    <a:pt x="122" y="879"/>
                  </a:cubicBezTo>
                  <a:cubicBezTo>
                    <a:pt x="94" y="937"/>
                    <a:pt x="51" y="982"/>
                    <a:pt x="0" y="1014"/>
                  </a:cubicBezTo>
                  <a:cubicBezTo>
                    <a:pt x="0" y="1014"/>
                    <a:pt x="0" y="1014"/>
                    <a:pt x="0" y="1014"/>
                  </a:cubicBezTo>
                  <a:cubicBezTo>
                    <a:pt x="20" y="1001"/>
                    <a:pt x="39" y="987"/>
                    <a:pt x="57" y="970"/>
                  </a:cubicBezTo>
                  <a:cubicBezTo>
                    <a:pt x="425" y="603"/>
                    <a:pt x="999" y="559"/>
                    <a:pt x="1420" y="865"/>
                  </a:cubicBezTo>
                  <a:cubicBezTo>
                    <a:pt x="1460" y="894"/>
                    <a:pt x="1498" y="926"/>
                    <a:pt x="1533" y="960"/>
                  </a:cubicBezTo>
                  <a:cubicBezTo>
                    <a:pt x="1559" y="985"/>
                    <a:pt x="1588" y="1001"/>
                    <a:pt x="1618" y="1016"/>
                  </a:cubicBezTo>
                  <a:close/>
                </a:path>
              </a:pathLst>
            </a:custGeom>
            <a:solidFill>
              <a:srgbClr val="E2583D"/>
            </a:solidFill>
            <a:ln>
              <a:no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4" name="Freeform 34"/>
            <p:cNvSpPr>
              <a:spLocks/>
            </p:cNvSpPr>
            <p:nvPr/>
          </p:nvSpPr>
          <p:spPr bwMode="auto">
            <a:xfrm>
              <a:off x="2346463" y="3645022"/>
              <a:ext cx="893516" cy="1048425"/>
            </a:xfrm>
            <a:custGeom>
              <a:avLst/>
              <a:gdLst>
                <a:gd name="T0" fmla="*/ 1091 w 1222"/>
                <a:gd name="T1" fmla="*/ 327 h 1435"/>
                <a:gd name="T2" fmla="*/ 910 w 1222"/>
                <a:gd name="T3" fmla="*/ 0 h 1435"/>
                <a:gd name="T4" fmla="*/ 344 w 1222"/>
                <a:gd name="T5" fmla="*/ 97 h 1435"/>
                <a:gd name="T6" fmla="*/ 107 w 1222"/>
                <a:gd name="T7" fmla="*/ 81 h 1435"/>
                <a:gd name="T8" fmla="*/ 2 w 1222"/>
                <a:gd name="T9" fmla="*/ 47 h 1435"/>
                <a:gd name="T10" fmla="*/ 0 w 1222"/>
                <a:gd name="T11" fmla="*/ 47 h 1435"/>
                <a:gd name="T12" fmla="*/ 520 w 1222"/>
                <a:gd name="T13" fmla="*/ 1311 h 1435"/>
                <a:gd name="T14" fmla="*/ 470 w 1222"/>
                <a:gd name="T15" fmla="*/ 1435 h 1435"/>
                <a:gd name="T16" fmla="*/ 526 w 1222"/>
                <a:gd name="T17" fmla="*/ 1361 h 1435"/>
                <a:gd name="T18" fmla="*/ 1222 w 1222"/>
                <a:gd name="T19" fmla="*/ 942 h 1435"/>
                <a:gd name="T20" fmla="*/ 1091 w 1222"/>
                <a:gd name="T21" fmla="*/ 327 h 14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22" h="1435">
                  <a:moveTo>
                    <a:pt x="1091" y="327"/>
                  </a:moveTo>
                  <a:cubicBezTo>
                    <a:pt x="1043" y="211"/>
                    <a:pt x="982" y="101"/>
                    <a:pt x="910" y="0"/>
                  </a:cubicBezTo>
                  <a:cubicBezTo>
                    <a:pt x="730" y="64"/>
                    <a:pt x="538" y="97"/>
                    <a:pt x="344" y="97"/>
                  </a:cubicBezTo>
                  <a:cubicBezTo>
                    <a:pt x="265" y="97"/>
                    <a:pt x="185" y="92"/>
                    <a:pt x="107" y="81"/>
                  </a:cubicBezTo>
                  <a:cubicBezTo>
                    <a:pt x="69" y="76"/>
                    <a:pt x="34" y="64"/>
                    <a:pt x="2" y="47"/>
                  </a:cubicBezTo>
                  <a:cubicBezTo>
                    <a:pt x="0" y="47"/>
                    <a:pt x="0" y="47"/>
                    <a:pt x="0" y="47"/>
                  </a:cubicBezTo>
                  <a:cubicBezTo>
                    <a:pt x="462" y="285"/>
                    <a:pt x="680" y="816"/>
                    <a:pt x="520" y="1311"/>
                  </a:cubicBezTo>
                  <a:cubicBezTo>
                    <a:pt x="506" y="1353"/>
                    <a:pt x="489" y="1395"/>
                    <a:pt x="470" y="1435"/>
                  </a:cubicBezTo>
                  <a:cubicBezTo>
                    <a:pt x="485" y="1409"/>
                    <a:pt x="503" y="1384"/>
                    <a:pt x="526" y="1361"/>
                  </a:cubicBezTo>
                  <a:cubicBezTo>
                    <a:pt x="721" y="1166"/>
                    <a:pt x="961" y="1023"/>
                    <a:pt x="1222" y="942"/>
                  </a:cubicBezTo>
                  <a:cubicBezTo>
                    <a:pt x="1217" y="732"/>
                    <a:pt x="1173" y="523"/>
                    <a:pt x="1091" y="327"/>
                  </a:cubicBezTo>
                  <a:close/>
                </a:path>
              </a:pathLst>
            </a:custGeom>
            <a:solidFill>
              <a:srgbClr val="78D2D2"/>
            </a:solidFill>
            <a:ln>
              <a:no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5" name="Freeform 35"/>
            <p:cNvSpPr>
              <a:spLocks/>
            </p:cNvSpPr>
            <p:nvPr/>
          </p:nvSpPr>
          <p:spPr bwMode="auto">
            <a:xfrm>
              <a:off x="2356378" y="3689636"/>
              <a:ext cx="369303" cy="987700"/>
            </a:xfrm>
            <a:custGeom>
              <a:avLst/>
              <a:gdLst>
                <a:gd name="T0" fmla="*/ 505 w 505"/>
                <a:gd name="T1" fmla="*/ 1250 h 1351"/>
                <a:gd name="T2" fmla="*/ 98 w 505"/>
                <a:gd name="T3" fmla="*/ 192 h 1351"/>
                <a:gd name="T4" fmla="*/ 103 w 505"/>
                <a:gd name="T5" fmla="*/ 56 h 1351"/>
                <a:gd name="T6" fmla="*/ 11 w 505"/>
                <a:gd name="T7" fmla="*/ 0 h 1351"/>
                <a:gd name="T8" fmla="*/ 0 w 505"/>
                <a:gd name="T9" fmla="*/ 192 h 1351"/>
                <a:gd name="T10" fmla="*/ 466 w 505"/>
                <a:gd name="T11" fmla="*/ 1351 h 1351"/>
                <a:gd name="T12" fmla="*/ 505 w 505"/>
                <a:gd name="T13" fmla="*/ 1250 h 1351"/>
              </a:gdLst>
              <a:ahLst/>
              <a:cxnLst>
                <a:cxn ang="0">
                  <a:pos x="T0" y="T1"/>
                </a:cxn>
                <a:cxn ang="0">
                  <a:pos x="T2" y="T3"/>
                </a:cxn>
                <a:cxn ang="0">
                  <a:pos x="T4" y="T5"/>
                </a:cxn>
                <a:cxn ang="0">
                  <a:pos x="T6" y="T7"/>
                </a:cxn>
                <a:cxn ang="0">
                  <a:pos x="T8" y="T9"/>
                </a:cxn>
                <a:cxn ang="0">
                  <a:pos x="T10" y="T11"/>
                </a:cxn>
                <a:cxn ang="0">
                  <a:pos x="T12" y="T13"/>
                </a:cxn>
              </a:cxnLst>
              <a:rect l="0" t="0" r="r" b="b"/>
              <a:pathLst>
                <a:path w="505" h="1351">
                  <a:moveTo>
                    <a:pt x="505" y="1250"/>
                  </a:moveTo>
                  <a:cubicBezTo>
                    <a:pt x="252" y="970"/>
                    <a:pt x="98" y="599"/>
                    <a:pt x="98" y="192"/>
                  </a:cubicBezTo>
                  <a:cubicBezTo>
                    <a:pt x="98" y="146"/>
                    <a:pt x="100" y="101"/>
                    <a:pt x="103" y="56"/>
                  </a:cubicBezTo>
                  <a:cubicBezTo>
                    <a:pt x="74" y="36"/>
                    <a:pt x="43" y="17"/>
                    <a:pt x="11" y="0"/>
                  </a:cubicBezTo>
                  <a:cubicBezTo>
                    <a:pt x="4" y="63"/>
                    <a:pt x="0" y="127"/>
                    <a:pt x="0" y="192"/>
                  </a:cubicBezTo>
                  <a:cubicBezTo>
                    <a:pt x="0" y="641"/>
                    <a:pt x="178" y="1050"/>
                    <a:pt x="466" y="1351"/>
                  </a:cubicBezTo>
                  <a:cubicBezTo>
                    <a:pt x="481" y="1318"/>
                    <a:pt x="494" y="1284"/>
                    <a:pt x="505" y="1250"/>
                  </a:cubicBezTo>
                  <a:close/>
                </a:path>
              </a:pathLst>
            </a:custGeom>
            <a:solidFill>
              <a:schemeClr val="tx2">
                <a:lumMod val="20000"/>
                <a:lumOff val="80000"/>
              </a:schemeClr>
            </a:solidFill>
            <a:ln>
              <a:no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6" name="Freeform 36"/>
            <p:cNvSpPr>
              <a:spLocks/>
            </p:cNvSpPr>
            <p:nvPr/>
          </p:nvSpPr>
          <p:spPr bwMode="auto">
            <a:xfrm>
              <a:off x="4473055" y="3692115"/>
              <a:ext cx="332125" cy="944325"/>
            </a:xfrm>
            <a:custGeom>
              <a:avLst/>
              <a:gdLst>
                <a:gd name="T0" fmla="*/ 393 w 455"/>
                <a:gd name="T1" fmla="*/ 35 h 1293"/>
                <a:gd name="T2" fmla="*/ 353 w 455"/>
                <a:gd name="T3" fmla="*/ 66 h 1293"/>
                <a:gd name="T4" fmla="*/ 357 w 455"/>
                <a:gd name="T5" fmla="*/ 189 h 1293"/>
                <a:gd name="T6" fmla="*/ 0 w 455"/>
                <a:gd name="T7" fmla="*/ 1187 h 1293"/>
                <a:gd name="T8" fmla="*/ 39 w 455"/>
                <a:gd name="T9" fmla="*/ 1293 h 1293"/>
                <a:gd name="T10" fmla="*/ 455 w 455"/>
                <a:gd name="T11" fmla="*/ 189 h 1293"/>
                <a:gd name="T12" fmla="*/ 445 w 455"/>
                <a:gd name="T13" fmla="*/ 0 h 1293"/>
                <a:gd name="T14" fmla="*/ 393 w 455"/>
                <a:gd name="T15" fmla="*/ 35 h 129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55" h="1293">
                  <a:moveTo>
                    <a:pt x="393" y="35"/>
                  </a:moveTo>
                  <a:cubicBezTo>
                    <a:pt x="379" y="45"/>
                    <a:pt x="366" y="56"/>
                    <a:pt x="353" y="66"/>
                  </a:cubicBezTo>
                  <a:cubicBezTo>
                    <a:pt x="356" y="107"/>
                    <a:pt x="357" y="148"/>
                    <a:pt x="357" y="189"/>
                  </a:cubicBezTo>
                  <a:cubicBezTo>
                    <a:pt x="357" y="567"/>
                    <a:pt x="223" y="915"/>
                    <a:pt x="0" y="1187"/>
                  </a:cubicBezTo>
                  <a:cubicBezTo>
                    <a:pt x="11" y="1223"/>
                    <a:pt x="24" y="1258"/>
                    <a:pt x="39" y="1293"/>
                  </a:cubicBezTo>
                  <a:cubicBezTo>
                    <a:pt x="298" y="998"/>
                    <a:pt x="455" y="612"/>
                    <a:pt x="455" y="189"/>
                  </a:cubicBezTo>
                  <a:cubicBezTo>
                    <a:pt x="455" y="125"/>
                    <a:pt x="452" y="62"/>
                    <a:pt x="445" y="0"/>
                  </a:cubicBezTo>
                  <a:cubicBezTo>
                    <a:pt x="427" y="12"/>
                    <a:pt x="410" y="23"/>
                    <a:pt x="393" y="35"/>
                  </a:cubicBezTo>
                  <a:close/>
                </a:path>
              </a:pathLst>
            </a:custGeom>
            <a:solidFill>
              <a:schemeClr val="tx2">
                <a:lumMod val="20000"/>
                <a:lumOff val="80000"/>
              </a:schemeClr>
            </a:solidFill>
            <a:ln>
              <a:no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7" name="Freeform 37"/>
            <p:cNvSpPr>
              <a:spLocks/>
            </p:cNvSpPr>
            <p:nvPr/>
          </p:nvSpPr>
          <p:spPr bwMode="auto">
            <a:xfrm>
              <a:off x="3092506" y="4886773"/>
              <a:ext cx="1014964" cy="168541"/>
            </a:xfrm>
            <a:custGeom>
              <a:avLst/>
              <a:gdLst>
                <a:gd name="T0" fmla="*/ 1328 w 1389"/>
                <a:gd name="T1" fmla="*/ 19 h 230"/>
                <a:gd name="T2" fmla="*/ 1300 w 1389"/>
                <a:gd name="T3" fmla="*/ 0 h 230"/>
                <a:gd name="T4" fmla="*/ 669 w 1389"/>
                <a:gd name="T5" fmla="*/ 132 h 230"/>
                <a:gd name="T6" fmla="*/ 86 w 1389"/>
                <a:gd name="T7" fmla="*/ 20 h 230"/>
                <a:gd name="T8" fmla="*/ 0 w 1389"/>
                <a:gd name="T9" fmla="*/ 90 h 230"/>
                <a:gd name="T10" fmla="*/ 669 w 1389"/>
                <a:gd name="T11" fmla="*/ 230 h 230"/>
                <a:gd name="T12" fmla="*/ 1389 w 1389"/>
                <a:gd name="T13" fmla="*/ 67 h 230"/>
                <a:gd name="T14" fmla="*/ 1328 w 1389"/>
                <a:gd name="T15" fmla="*/ 19 h 2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89" h="230">
                  <a:moveTo>
                    <a:pt x="1328" y="19"/>
                  </a:moveTo>
                  <a:cubicBezTo>
                    <a:pt x="1319" y="13"/>
                    <a:pt x="1309" y="6"/>
                    <a:pt x="1300" y="0"/>
                  </a:cubicBezTo>
                  <a:cubicBezTo>
                    <a:pt x="1107" y="85"/>
                    <a:pt x="893" y="132"/>
                    <a:pt x="669" y="132"/>
                  </a:cubicBezTo>
                  <a:cubicBezTo>
                    <a:pt x="463" y="132"/>
                    <a:pt x="266" y="92"/>
                    <a:pt x="86" y="20"/>
                  </a:cubicBezTo>
                  <a:cubicBezTo>
                    <a:pt x="56" y="42"/>
                    <a:pt x="28" y="65"/>
                    <a:pt x="0" y="90"/>
                  </a:cubicBezTo>
                  <a:cubicBezTo>
                    <a:pt x="205" y="180"/>
                    <a:pt x="431" y="230"/>
                    <a:pt x="669" y="230"/>
                  </a:cubicBezTo>
                  <a:cubicBezTo>
                    <a:pt x="926" y="230"/>
                    <a:pt x="1170" y="171"/>
                    <a:pt x="1389" y="67"/>
                  </a:cubicBezTo>
                  <a:cubicBezTo>
                    <a:pt x="1369" y="50"/>
                    <a:pt x="1349" y="34"/>
                    <a:pt x="1328" y="19"/>
                  </a:cubicBezTo>
                  <a:close/>
                </a:path>
              </a:pathLst>
            </a:custGeom>
            <a:solidFill>
              <a:schemeClr val="tx2">
                <a:lumMod val="20000"/>
                <a:lumOff val="80000"/>
              </a:schemeClr>
            </a:solidFill>
            <a:ln>
              <a:no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8" name="Freeform 38"/>
            <p:cNvSpPr>
              <a:spLocks/>
            </p:cNvSpPr>
            <p:nvPr/>
          </p:nvSpPr>
          <p:spPr bwMode="auto">
            <a:xfrm>
              <a:off x="3833590" y="2632536"/>
              <a:ext cx="811724" cy="596090"/>
            </a:xfrm>
            <a:custGeom>
              <a:avLst/>
              <a:gdLst>
                <a:gd name="T0" fmla="*/ 23 w 1110"/>
                <a:gd name="T1" fmla="*/ 86 h 816"/>
                <a:gd name="T2" fmla="*/ 31 w 1110"/>
                <a:gd name="T3" fmla="*/ 108 h 816"/>
                <a:gd name="T4" fmla="*/ 998 w 1110"/>
                <a:gd name="T5" fmla="*/ 815 h 816"/>
                <a:gd name="T6" fmla="*/ 1110 w 1110"/>
                <a:gd name="T7" fmla="*/ 812 h 816"/>
                <a:gd name="T8" fmla="*/ 0 w 1110"/>
                <a:gd name="T9" fmla="*/ 0 h 816"/>
                <a:gd name="T10" fmla="*/ 23 w 1110"/>
                <a:gd name="T11" fmla="*/ 86 h 816"/>
              </a:gdLst>
              <a:ahLst/>
              <a:cxnLst>
                <a:cxn ang="0">
                  <a:pos x="T0" y="T1"/>
                </a:cxn>
                <a:cxn ang="0">
                  <a:pos x="T2" y="T3"/>
                </a:cxn>
                <a:cxn ang="0">
                  <a:pos x="T4" y="T5"/>
                </a:cxn>
                <a:cxn ang="0">
                  <a:pos x="T6" y="T7"/>
                </a:cxn>
                <a:cxn ang="0">
                  <a:pos x="T8" y="T9"/>
                </a:cxn>
                <a:cxn ang="0">
                  <a:pos x="T10" y="T11"/>
                </a:cxn>
              </a:cxnLst>
              <a:rect l="0" t="0" r="r" b="b"/>
              <a:pathLst>
                <a:path w="1110" h="816">
                  <a:moveTo>
                    <a:pt x="23" y="86"/>
                  </a:moveTo>
                  <a:cubicBezTo>
                    <a:pt x="26" y="94"/>
                    <a:pt x="28" y="101"/>
                    <a:pt x="31" y="108"/>
                  </a:cubicBezTo>
                  <a:cubicBezTo>
                    <a:pt x="438" y="208"/>
                    <a:pt x="784" y="467"/>
                    <a:pt x="998" y="815"/>
                  </a:cubicBezTo>
                  <a:cubicBezTo>
                    <a:pt x="1035" y="816"/>
                    <a:pt x="1072" y="815"/>
                    <a:pt x="1110" y="812"/>
                  </a:cubicBezTo>
                  <a:cubicBezTo>
                    <a:pt x="876" y="402"/>
                    <a:pt x="475" y="100"/>
                    <a:pt x="0" y="0"/>
                  </a:cubicBezTo>
                  <a:cubicBezTo>
                    <a:pt x="7" y="29"/>
                    <a:pt x="14" y="58"/>
                    <a:pt x="23" y="86"/>
                  </a:cubicBezTo>
                  <a:close/>
                </a:path>
              </a:pathLst>
            </a:custGeom>
            <a:solidFill>
              <a:schemeClr val="tx2">
                <a:lumMod val="20000"/>
                <a:lumOff val="80000"/>
              </a:schemeClr>
            </a:solidFill>
            <a:ln>
              <a:no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9" name="Freeform 39"/>
            <p:cNvSpPr>
              <a:spLocks/>
            </p:cNvSpPr>
            <p:nvPr/>
          </p:nvSpPr>
          <p:spPr bwMode="auto">
            <a:xfrm>
              <a:off x="2511287" y="2627579"/>
              <a:ext cx="840226" cy="612200"/>
            </a:xfrm>
            <a:custGeom>
              <a:avLst/>
              <a:gdLst>
                <a:gd name="T0" fmla="*/ 110 w 1151"/>
                <a:gd name="T1" fmla="*/ 838 h 838"/>
                <a:gd name="T2" fmla="*/ 1124 w 1151"/>
                <a:gd name="T3" fmla="*/ 105 h 838"/>
                <a:gd name="T4" fmla="*/ 1151 w 1151"/>
                <a:gd name="T5" fmla="*/ 0 h 838"/>
                <a:gd name="T6" fmla="*/ 0 w 1151"/>
                <a:gd name="T7" fmla="*/ 832 h 838"/>
                <a:gd name="T8" fmla="*/ 110 w 1151"/>
                <a:gd name="T9" fmla="*/ 838 h 838"/>
              </a:gdLst>
              <a:ahLst/>
              <a:cxnLst>
                <a:cxn ang="0">
                  <a:pos x="T0" y="T1"/>
                </a:cxn>
                <a:cxn ang="0">
                  <a:pos x="T2" y="T3"/>
                </a:cxn>
                <a:cxn ang="0">
                  <a:pos x="T4" y="T5"/>
                </a:cxn>
                <a:cxn ang="0">
                  <a:pos x="T6" y="T7"/>
                </a:cxn>
                <a:cxn ang="0">
                  <a:pos x="T8" y="T9"/>
                </a:cxn>
              </a:cxnLst>
              <a:rect l="0" t="0" r="r" b="b"/>
              <a:pathLst>
                <a:path w="1151" h="838">
                  <a:moveTo>
                    <a:pt x="110" y="838"/>
                  </a:moveTo>
                  <a:cubicBezTo>
                    <a:pt x="329" y="471"/>
                    <a:pt x="694" y="200"/>
                    <a:pt x="1124" y="105"/>
                  </a:cubicBezTo>
                  <a:cubicBezTo>
                    <a:pt x="1135" y="71"/>
                    <a:pt x="1144" y="36"/>
                    <a:pt x="1151" y="0"/>
                  </a:cubicBezTo>
                  <a:cubicBezTo>
                    <a:pt x="657" y="94"/>
                    <a:pt x="238" y="406"/>
                    <a:pt x="0" y="832"/>
                  </a:cubicBezTo>
                  <a:cubicBezTo>
                    <a:pt x="37" y="836"/>
                    <a:pt x="73" y="838"/>
                    <a:pt x="110" y="838"/>
                  </a:cubicBezTo>
                  <a:close/>
                </a:path>
              </a:pathLst>
            </a:custGeom>
            <a:solidFill>
              <a:schemeClr val="tx2">
                <a:lumMod val="20000"/>
                <a:lumOff val="80000"/>
              </a:schemeClr>
            </a:solidFill>
            <a:ln>
              <a:no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0" name="Oval 40"/>
            <p:cNvSpPr>
              <a:spLocks noChangeArrowheads="1"/>
            </p:cNvSpPr>
            <p:nvPr/>
          </p:nvSpPr>
          <p:spPr bwMode="auto">
            <a:xfrm>
              <a:off x="2101088" y="1911280"/>
              <a:ext cx="594851" cy="594850"/>
            </a:xfrm>
            <a:prstGeom prst="ellipse">
              <a:avLst/>
            </a:prstGeom>
            <a:solidFill>
              <a:schemeClr val="bg1"/>
            </a:solidFill>
            <a:ln>
              <a:noFill/>
            </a:ln>
            <a:effectLst>
              <a:outerShdw blurRad="50800" dist="38100" dir="5400000" algn="t" rotWithShape="0">
                <a:prstClr val="black">
                  <a:alpha val="40000"/>
                </a:prstClr>
              </a:outerShdw>
            </a:effec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2" name="Oval 42"/>
            <p:cNvSpPr>
              <a:spLocks noChangeArrowheads="1"/>
            </p:cNvSpPr>
            <p:nvPr/>
          </p:nvSpPr>
          <p:spPr bwMode="auto">
            <a:xfrm>
              <a:off x="3293268" y="5527476"/>
              <a:ext cx="596090" cy="596090"/>
            </a:xfrm>
            <a:prstGeom prst="ellipse">
              <a:avLst/>
            </a:prstGeom>
            <a:solidFill>
              <a:schemeClr val="bg1"/>
            </a:solidFill>
            <a:ln>
              <a:noFill/>
            </a:ln>
            <a:effectLst>
              <a:outerShdw blurRad="50800" dist="38100" dir="5400000" algn="t" rotWithShape="0">
                <a:prstClr val="black">
                  <a:alpha val="40000"/>
                </a:prstClr>
              </a:outerShdw>
            </a:effec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4" name="Oval 44"/>
            <p:cNvSpPr>
              <a:spLocks noChangeArrowheads="1"/>
            </p:cNvSpPr>
            <p:nvPr/>
          </p:nvSpPr>
          <p:spPr bwMode="auto">
            <a:xfrm>
              <a:off x="5139783" y="4154362"/>
              <a:ext cx="596090" cy="596090"/>
            </a:xfrm>
            <a:prstGeom prst="ellipse">
              <a:avLst/>
            </a:prstGeom>
            <a:solidFill>
              <a:schemeClr val="bg1"/>
            </a:solidFill>
            <a:ln>
              <a:noFill/>
            </a:ln>
            <a:effectLst>
              <a:outerShdw blurRad="50800" dist="38100" dir="5400000" algn="t" rotWithShape="0">
                <a:prstClr val="black">
                  <a:alpha val="40000"/>
                </a:prstClr>
              </a:outerShdw>
            </a:effec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6" name="Oval 46"/>
            <p:cNvSpPr>
              <a:spLocks noChangeArrowheads="1"/>
            </p:cNvSpPr>
            <p:nvPr/>
          </p:nvSpPr>
          <p:spPr bwMode="auto">
            <a:xfrm>
              <a:off x="4501559" y="1974483"/>
              <a:ext cx="594851" cy="594850"/>
            </a:xfrm>
            <a:prstGeom prst="ellipse">
              <a:avLst/>
            </a:prstGeom>
            <a:solidFill>
              <a:schemeClr val="bg1"/>
            </a:solidFill>
            <a:ln>
              <a:noFill/>
            </a:ln>
            <a:effectLst>
              <a:outerShdw blurRad="50800" dist="38100" dir="5400000" algn="t" rotWithShape="0">
                <a:prstClr val="black">
                  <a:alpha val="40000"/>
                </a:prstClr>
              </a:outerShdw>
            </a:effec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8" name="Oval 48"/>
            <p:cNvSpPr>
              <a:spLocks noChangeArrowheads="1"/>
            </p:cNvSpPr>
            <p:nvPr/>
          </p:nvSpPr>
          <p:spPr bwMode="auto">
            <a:xfrm>
              <a:off x="1428167" y="4268370"/>
              <a:ext cx="594851" cy="594850"/>
            </a:xfrm>
            <a:prstGeom prst="ellipse">
              <a:avLst/>
            </a:prstGeom>
            <a:solidFill>
              <a:schemeClr val="bg1"/>
            </a:solidFill>
            <a:ln>
              <a:noFill/>
            </a:ln>
            <a:effectLst>
              <a:outerShdw blurRad="50800" dist="38100" dir="5400000" algn="t" rotWithShape="0">
                <a:prstClr val="black">
                  <a:alpha val="40000"/>
                </a:prstClr>
              </a:outerShdw>
            </a:effec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2" name="Freeform 313"/>
            <p:cNvSpPr>
              <a:spLocks noEditPoints="1"/>
            </p:cNvSpPr>
            <p:nvPr/>
          </p:nvSpPr>
          <p:spPr bwMode="auto">
            <a:xfrm>
              <a:off x="2255638" y="2077736"/>
              <a:ext cx="285750" cy="261938"/>
            </a:xfrm>
            <a:custGeom>
              <a:avLst/>
              <a:gdLst>
                <a:gd name="T0" fmla="*/ 140 w 902"/>
                <a:gd name="T1" fmla="*/ 617 h 827"/>
                <a:gd name="T2" fmla="*/ 35 w 902"/>
                <a:gd name="T3" fmla="*/ 68 h 827"/>
                <a:gd name="T4" fmla="*/ 361 w 902"/>
                <a:gd name="T5" fmla="*/ 165 h 827"/>
                <a:gd name="T6" fmla="*/ 541 w 902"/>
                <a:gd name="T7" fmla="*/ 161 h 827"/>
                <a:gd name="T8" fmla="*/ 569 w 902"/>
                <a:gd name="T9" fmla="*/ 794 h 827"/>
                <a:gd name="T10" fmla="*/ 542 w 902"/>
                <a:gd name="T11" fmla="*/ 761 h 827"/>
                <a:gd name="T12" fmla="*/ 555 w 902"/>
                <a:gd name="T13" fmla="*/ 720 h 827"/>
                <a:gd name="T14" fmla="*/ 595 w 902"/>
                <a:gd name="T15" fmla="*/ 708 h 827"/>
                <a:gd name="T16" fmla="*/ 628 w 902"/>
                <a:gd name="T17" fmla="*/ 735 h 827"/>
                <a:gd name="T18" fmla="*/ 623 w 902"/>
                <a:gd name="T19" fmla="*/ 777 h 827"/>
                <a:gd name="T20" fmla="*/ 587 w 902"/>
                <a:gd name="T21" fmla="*/ 797 h 827"/>
                <a:gd name="T22" fmla="*/ 213 w 902"/>
                <a:gd name="T23" fmla="*/ 784 h 827"/>
                <a:gd name="T24" fmla="*/ 172 w 902"/>
                <a:gd name="T25" fmla="*/ 796 h 827"/>
                <a:gd name="T26" fmla="*/ 139 w 902"/>
                <a:gd name="T27" fmla="*/ 769 h 827"/>
                <a:gd name="T28" fmla="*/ 143 w 902"/>
                <a:gd name="T29" fmla="*/ 726 h 827"/>
                <a:gd name="T30" fmla="*/ 180 w 902"/>
                <a:gd name="T31" fmla="*/ 707 h 827"/>
                <a:gd name="T32" fmla="*/ 218 w 902"/>
                <a:gd name="T33" fmla="*/ 726 h 827"/>
                <a:gd name="T34" fmla="*/ 754 w 902"/>
                <a:gd name="T35" fmla="*/ 45 h 827"/>
                <a:gd name="T36" fmla="*/ 693 w 902"/>
                <a:gd name="T37" fmla="*/ 249 h 827"/>
                <a:gd name="T38" fmla="*/ 565 w 902"/>
                <a:gd name="T39" fmla="*/ 102 h 827"/>
                <a:gd name="T40" fmla="*/ 525 w 902"/>
                <a:gd name="T41" fmla="*/ 135 h 827"/>
                <a:gd name="T42" fmla="*/ 335 w 902"/>
                <a:gd name="T43" fmla="*/ 140 h 827"/>
                <a:gd name="T44" fmla="*/ 331 w 902"/>
                <a:gd name="T45" fmla="*/ 255 h 827"/>
                <a:gd name="T46" fmla="*/ 118 w 902"/>
                <a:gd name="T47" fmla="*/ 2 h 827"/>
                <a:gd name="T48" fmla="*/ 103 w 902"/>
                <a:gd name="T49" fmla="*/ 1 h 827"/>
                <a:gd name="T50" fmla="*/ 1 w 902"/>
                <a:gd name="T51" fmla="*/ 55 h 827"/>
                <a:gd name="T52" fmla="*/ 83 w 902"/>
                <a:gd name="T53" fmla="*/ 255 h 827"/>
                <a:gd name="T54" fmla="*/ 2 w 902"/>
                <a:gd name="T55" fmla="*/ 262 h 827"/>
                <a:gd name="T56" fmla="*/ 115 w 902"/>
                <a:gd name="T57" fmla="*/ 636 h 827"/>
                <a:gd name="T58" fmla="*/ 596 w 902"/>
                <a:gd name="T59" fmla="*/ 647 h 827"/>
                <a:gd name="T60" fmla="*/ 158 w 902"/>
                <a:gd name="T61" fmla="*/ 680 h 827"/>
                <a:gd name="T62" fmla="*/ 128 w 902"/>
                <a:gd name="T63" fmla="*/ 698 h 827"/>
                <a:gd name="T64" fmla="*/ 109 w 902"/>
                <a:gd name="T65" fmla="*/ 729 h 827"/>
                <a:gd name="T66" fmla="*/ 106 w 902"/>
                <a:gd name="T67" fmla="*/ 767 h 827"/>
                <a:gd name="T68" fmla="*/ 123 w 902"/>
                <a:gd name="T69" fmla="*/ 799 h 827"/>
                <a:gd name="T70" fmla="*/ 151 w 902"/>
                <a:gd name="T71" fmla="*/ 822 h 827"/>
                <a:gd name="T72" fmla="*/ 188 w 902"/>
                <a:gd name="T73" fmla="*/ 827 h 827"/>
                <a:gd name="T74" fmla="*/ 222 w 902"/>
                <a:gd name="T75" fmla="*/ 814 h 827"/>
                <a:gd name="T76" fmla="*/ 247 w 902"/>
                <a:gd name="T77" fmla="*/ 787 h 827"/>
                <a:gd name="T78" fmla="*/ 255 w 902"/>
                <a:gd name="T79" fmla="*/ 752 h 827"/>
                <a:gd name="T80" fmla="*/ 527 w 902"/>
                <a:gd name="T81" fmla="*/ 707 h 827"/>
                <a:gd name="T82" fmla="*/ 512 w 902"/>
                <a:gd name="T83" fmla="*/ 759 h 827"/>
                <a:gd name="T84" fmla="*/ 524 w 902"/>
                <a:gd name="T85" fmla="*/ 794 h 827"/>
                <a:gd name="T86" fmla="*/ 550 w 902"/>
                <a:gd name="T87" fmla="*/ 818 h 827"/>
                <a:gd name="T88" fmla="*/ 587 w 902"/>
                <a:gd name="T89" fmla="*/ 827 h 827"/>
                <a:gd name="T90" fmla="*/ 622 w 902"/>
                <a:gd name="T91" fmla="*/ 818 h 827"/>
                <a:gd name="T92" fmla="*/ 649 w 902"/>
                <a:gd name="T93" fmla="*/ 794 h 827"/>
                <a:gd name="T94" fmla="*/ 661 w 902"/>
                <a:gd name="T95" fmla="*/ 759 h 827"/>
                <a:gd name="T96" fmla="*/ 650 w 902"/>
                <a:gd name="T97" fmla="*/ 711 h 827"/>
                <a:gd name="T98" fmla="*/ 630 w 902"/>
                <a:gd name="T99" fmla="*/ 638 h 827"/>
                <a:gd name="T100" fmla="*/ 766 w 902"/>
                <a:gd name="T101" fmla="*/ 75 h 827"/>
                <a:gd name="T102" fmla="*/ 898 w 902"/>
                <a:gd name="T103" fmla="*/ 71 h 827"/>
                <a:gd name="T104" fmla="*/ 902 w 902"/>
                <a:gd name="T105" fmla="*/ 57 h 827"/>
                <a:gd name="T106" fmla="*/ 892 w 902"/>
                <a:gd name="T107" fmla="*/ 46 h 8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902" h="827">
                  <a:moveTo>
                    <a:pt x="140" y="617"/>
                  </a:moveTo>
                  <a:lnTo>
                    <a:pt x="36" y="285"/>
                  </a:lnTo>
                  <a:lnTo>
                    <a:pt x="684" y="285"/>
                  </a:lnTo>
                  <a:lnTo>
                    <a:pt x="604" y="617"/>
                  </a:lnTo>
                  <a:lnTo>
                    <a:pt x="140" y="617"/>
                  </a:lnTo>
                  <a:close/>
                  <a:moveTo>
                    <a:pt x="35" y="68"/>
                  </a:moveTo>
                  <a:lnTo>
                    <a:pt x="102" y="36"/>
                  </a:lnTo>
                  <a:lnTo>
                    <a:pt x="202" y="255"/>
                  </a:lnTo>
                  <a:lnTo>
                    <a:pt x="115" y="255"/>
                  </a:lnTo>
                  <a:lnTo>
                    <a:pt x="35" y="68"/>
                  </a:lnTo>
                  <a:close/>
                  <a:moveTo>
                    <a:pt x="361" y="165"/>
                  </a:moveTo>
                  <a:lnTo>
                    <a:pt x="493" y="165"/>
                  </a:lnTo>
                  <a:lnTo>
                    <a:pt x="400" y="255"/>
                  </a:lnTo>
                  <a:lnTo>
                    <a:pt x="361" y="255"/>
                  </a:lnTo>
                  <a:lnTo>
                    <a:pt x="361" y="165"/>
                  </a:lnTo>
                  <a:close/>
                  <a:moveTo>
                    <a:pt x="563" y="140"/>
                  </a:moveTo>
                  <a:lnTo>
                    <a:pt x="660" y="255"/>
                  </a:lnTo>
                  <a:lnTo>
                    <a:pt x="443" y="255"/>
                  </a:lnTo>
                  <a:lnTo>
                    <a:pt x="541" y="161"/>
                  </a:lnTo>
                  <a:lnTo>
                    <a:pt x="541" y="161"/>
                  </a:lnTo>
                  <a:lnTo>
                    <a:pt x="541" y="161"/>
                  </a:lnTo>
                  <a:lnTo>
                    <a:pt x="563" y="140"/>
                  </a:lnTo>
                  <a:close/>
                  <a:moveTo>
                    <a:pt x="587" y="797"/>
                  </a:moveTo>
                  <a:lnTo>
                    <a:pt x="577" y="796"/>
                  </a:lnTo>
                  <a:lnTo>
                    <a:pt x="569" y="794"/>
                  </a:lnTo>
                  <a:lnTo>
                    <a:pt x="561" y="790"/>
                  </a:lnTo>
                  <a:lnTo>
                    <a:pt x="555" y="784"/>
                  </a:lnTo>
                  <a:lnTo>
                    <a:pt x="549" y="777"/>
                  </a:lnTo>
                  <a:lnTo>
                    <a:pt x="545" y="769"/>
                  </a:lnTo>
                  <a:lnTo>
                    <a:pt x="542" y="761"/>
                  </a:lnTo>
                  <a:lnTo>
                    <a:pt x="542" y="752"/>
                  </a:lnTo>
                  <a:lnTo>
                    <a:pt x="542" y="742"/>
                  </a:lnTo>
                  <a:lnTo>
                    <a:pt x="545" y="735"/>
                  </a:lnTo>
                  <a:lnTo>
                    <a:pt x="549" y="726"/>
                  </a:lnTo>
                  <a:lnTo>
                    <a:pt x="555" y="720"/>
                  </a:lnTo>
                  <a:lnTo>
                    <a:pt x="561" y="714"/>
                  </a:lnTo>
                  <a:lnTo>
                    <a:pt x="569" y="710"/>
                  </a:lnTo>
                  <a:lnTo>
                    <a:pt x="577" y="708"/>
                  </a:lnTo>
                  <a:lnTo>
                    <a:pt x="587" y="707"/>
                  </a:lnTo>
                  <a:lnTo>
                    <a:pt x="595" y="708"/>
                  </a:lnTo>
                  <a:lnTo>
                    <a:pt x="604" y="710"/>
                  </a:lnTo>
                  <a:lnTo>
                    <a:pt x="611" y="714"/>
                  </a:lnTo>
                  <a:lnTo>
                    <a:pt x="618" y="720"/>
                  </a:lnTo>
                  <a:lnTo>
                    <a:pt x="623" y="726"/>
                  </a:lnTo>
                  <a:lnTo>
                    <a:pt x="628" y="735"/>
                  </a:lnTo>
                  <a:lnTo>
                    <a:pt x="631" y="742"/>
                  </a:lnTo>
                  <a:lnTo>
                    <a:pt x="632" y="752"/>
                  </a:lnTo>
                  <a:lnTo>
                    <a:pt x="631" y="761"/>
                  </a:lnTo>
                  <a:lnTo>
                    <a:pt x="628" y="769"/>
                  </a:lnTo>
                  <a:lnTo>
                    <a:pt x="623" y="777"/>
                  </a:lnTo>
                  <a:lnTo>
                    <a:pt x="618" y="784"/>
                  </a:lnTo>
                  <a:lnTo>
                    <a:pt x="611" y="790"/>
                  </a:lnTo>
                  <a:lnTo>
                    <a:pt x="604" y="794"/>
                  </a:lnTo>
                  <a:lnTo>
                    <a:pt x="595" y="796"/>
                  </a:lnTo>
                  <a:lnTo>
                    <a:pt x="587" y="797"/>
                  </a:lnTo>
                  <a:close/>
                  <a:moveTo>
                    <a:pt x="225" y="752"/>
                  </a:moveTo>
                  <a:lnTo>
                    <a:pt x="224" y="761"/>
                  </a:lnTo>
                  <a:lnTo>
                    <a:pt x="222" y="769"/>
                  </a:lnTo>
                  <a:lnTo>
                    <a:pt x="218" y="777"/>
                  </a:lnTo>
                  <a:lnTo>
                    <a:pt x="213" y="784"/>
                  </a:lnTo>
                  <a:lnTo>
                    <a:pt x="206" y="790"/>
                  </a:lnTo>
                  <a:lnTo>
                    <a:pt x="198" y="794"/>
                  </a:lnTo>
                  <a:lnTo>
                    <a:pt x="190" y="796"/>
                  </a:lnTo>
                  <a:lnTo>
                    <a:pt x="180" y="797"/>
                  </a:lnTo>
                  <a:lnTo>
                    <a:pt x="172" y="796"/>
                  </a:lnTo>
                  <a:lnTo>
                    <a:pt x="163" y="794"/>
                  </a:lnTo>
                  <a:lnTo>
                    <a:pt x="156" y="790"/>
                  </a:lnTo>
                  <a:lnTo>
                    <a:pt x="148" y="784"/>
                  </a:lnTo>
                  <a:lnTo>
                    <a:pt x="143" y="777"/>
                  </a:lnTo>
                  <a:lnTo>
                    <a:pt x="139" y="769"/>
                  </a:lnTo>
                  <a:lnTo>
                    <a:pt x="136" y="761"/>
                  </a:lnTo>
                  <a:lnTo>
                    <a:pt x="135" y="752"/>
                  </a:lnTo>
                  <a:lnTo>
                    <a:pt x="136" y="742"/>
                  </a:lnTo>
                  <a:lnTo>
                    <a:pt x="139" y="735"/>
                  </a:lnTo>
                  <a:lnTo>
                    <a:pt x="143" y="726"/>
                  </a:lnTo>
                  <a:lnTo>
                    <a:pt x="148" y="720"/>
                  </a:lnTo>
                  <a:lnTo>
                    <a:pt x="156" y="714"/>
                  </a:lnTo>
                  <a:lnTo>
                    <a:pt x="163" y="710"/>
                  </a:lnTo>
                  <a:lnTo>
                    <a:pt x="172" y="708"/>
                  </a:lnTo>
                  <a:lnTo>
                    <a:pt x="180" y="707"/>
                  </a:lnTo>
                  <a:lnTo>
                    <a:pt x="190" y="708"/>
                  </a:lnTo>
                  <a:lnTo>
                    <a:pt x="198" y="710"/>
                  </a:lnTo>
                  <a:lnTo>
                    <a:pt x="206" y="714"/>
                  </a:lnTo>
                  <a:lnTo>
                    <a:pt x="213" y="720"/>
                  </a:lnTo>
                  <a:lnTo>
                    <a:pt x="218" y="726"/>
                  </a:lnTo>
                  <a:lnTo>
                    <a:pt x="222" y="735"/>
                  </a:lnTo>
                  <a:lnTo>
                    <a:pt x="224" y="742"/>
                  </a:lnTo>
                  <a:lnTo>
                    <a:pt x="225" y="752"/>
                  </a:lnTo>
                  <a:close/>
                  <a:moveTo>
                    <a:pt x="887" y="45"/>
                  </a:moveTo>
                  <a:lnTo>
                    <a:pt x="754" y="45"/>
                  </a:lnTo>
                  <a:lnTo>
                    <a:pt x="750" y="46"/>
                  </a:lnTo>
                  <a:lnTo>
                    <a:pt x="745" y="49"/>
                  </a:lnTo>
                  <a:lnTo>
                    <a:pt x="741" y="52"/>
                  </a:lnTo>
                  <a:lnTo>
                    <a:pt x="740" y="57"/>
                  </a:lnTo>
                  <a:lnTo>
                    <a:pt x="693" y="249"/>
                  </a:lnTo>
                  <a:lnTo>
                    <a:pt x="576" y="107"/>
                  </a:lnTo>
                  <a:lnTo>
                    <a:pt x="574" y="105"/>
                  </a:lnTo>
                  <a:lnTo>
                    <a:pt x="572" y="104"/>
                  </a:lnTo>
                  <a:lnTo>
                    <a:pt x="569" y="103"/>
                  </a:lnTo>
                  <a:lnTo>
                    <a:pt x="565" y="102"/>
                  </a:lnTo>
                  <a:lnTo>
                    <a:pt x="562" y="102"/>
                  </a:lnTo>
                  <a:lnTo>
                    <a:pt x="560" y="103"/>
                  </a:lnTo>
                  <a:lnTo>
                    <a:pt x="557" y="104"/>
                  </a:lnTo>
                  <a:lnTo>
                    <a:pt x="555" y="106"/>
                  </a:lnTo>
                  <a:lnTo>
                    <a:pt x="525" y="135"/>
                  </a:lnTo>
                  <a:lnTo>
                    <a:pt x="346" y="135"/>
                  </a:lnTo>
                  <a:lnTo>
                    <a:pt x="342" y="135"/>
                  </a:lnTo>
                  <a:lnTo>
                    <a:pt x="340" y="136"/>
                  </a:lnTo>
                  <a:lnTo>
                    <a:pt x="337" y="139"/>
                  </a:lnTo>
                  <a:lnTo>
                    <a:pt x="335" y="140"/>
                  </a:lnTo>
                  <a:lnTo>
                    <a:pt x="334" y="142"/>
                  </a:lnTo>
                  <a:lnTo>
                    <a:pt x="332" y="145"/>
                  </a:lnTo>
                  <a:lnTo>
                    <a:pt x="332" y="147"/>
                  </a:lnTo>
                  <a:lnTo>
                    <a:pt x="331" y="150"/>
                  </a:lnTo>
                  <a:lnTo>
                    <a:pt x="331" y="255"/>
                  </a:lnTo>
                  <a:lnTo>
                    <a:pt x="235" y="255"/>
                  </a:lnTo>
                  <a:lnTo>
                    <a:pt x="124" y="9"/>
                  </a:lnTo>
                  <a:lnTo>
                    <a:pt x="123" y="7"/>
                  </a:lnTo>
                  <a:lnTo>
                    <a:pt x="120" y="5"/>
                  </a:lnTo>
                  <a:lnTo>
                    <a:pt x="118" y="2"/>
                  </a:lnTo>
                  <a:lnTo>
                    <a:pt x="115" y="1"/>
                  </a:lnTo>
                  <a:lnTo>
                    <a:pt x="112" y="0"/>
                  </a:lnTo>
                  <a:lnTo>
                    <a:pt x="110" y="0"/>
                  </a:lnTo>
                  <a:lnTo>
                    <a:pt x="106" y="0"/>
                  </a:lnTo>
                  <a:lnTo>
                    <a:pt x="103" y="1"/>
                  </a:lnTo>
                  <a:lnTo>
                    <a:pt x="9" y="46"/>
                  </a:lnTo>
                  <a:lnTo>
                    <a:pt x="6" y="49"/>
                  </a:lnTo>
                  <a:lnTo>
                    <a:pt x="4" y="51"/>
                  </a:lnTo>
                  <a:lnTo>
                    <a:pt x="2" y="53"/>
                  </a:lnTo>
                  <a:lnTo>
                    <a:pt x="1" y="55"/>
                  </a:lnTo>
                  <a:lnTo>
                    <a:pt x="0" y="58"/>
                  </a:lnTo>
                  <a:lnTo>
                    <a:pt x="0" y="60"/>
                  </a:lnTo>
                  <a:lnTo>
                    <a:pt x="0" y="64"/>
                  </a:lnTo>
                  <a:lnTo>
                    <a:pt x="1" y="67"/>
                  </a:lnTo>
                  <a:lnTo>
                    <a:pt x="83" y="255"/>
                  </a:lnTo>
                  <a:lnTo>
                    <a:pt x="15" y="255"/>
                  </a:lnTo>
                  <a:lnTo>
                    <a:pt x="12" y="257"/>
                  </a:lnTo>
                  <a:lnTo>
                    <a:pt x="8" y="258"/>
                  </a:lnTo>
                  <a:lnTo>
                    <a:pt x="6" y="260"/>
                  </a:lnTo>
                  <a:lnTo>
                    <a:pt x="2" y="262"/>
                  </a:lnTo>
                  <a:lnTo>
                    <a:pt x="1" y="265"/>
                  </a:lnTo>
                  <a:lnTo>
                    <a:pt x="0" y="268"/>
                  </a:lnTo>
                  <a:lnTo>
                    <a:pt x="0" y="272"/>
                  </a:lnTo>
                  <a:lnTo>
                    <a:pt x="1" y="276"/>
                  </a:lnTo>
                  <a:lnTo>
                    <a:pt x="115" y="636"/>
                  </a:lnTo>
                  <a:lnTo>
                    <a:pt x="117" y="640"/>
                  </a:lnTo>
                  <a:lnTo>
                    <a:pt x="120" y="644"/>
                  </a:lnTo>
                  <a:lnTo>
                    <a:pt x="124" y="646"/>
                  </a:lnTo>
                  <a:lnTo>
                    <a:pt x="129" y="647"/>
                  </a:lnTo>
                  <a:lnTo>
                    <a:pt x="596" y="647"/>
                  </a:lnTo>
                  <a:lnTo>
                    <a:pt x="590" y="677"/>
                  </a:lnTo>
                  <a:lnTo>
                    <a:pt x="180" y="677"/>
                  </a:lnTo>
                  <a:lnTo>
                    <a:pt x="173" y="677"/>
                  </a:lnTo>
                  <a:lnTo>
                    <a:pt x="165" y="678"/>
                  </a:lnTo>
                  <a:lnTo>
                    <a:pt x="158" y="680"/>
                  </a:lnTo>
                  <a:lnTo>
                    <a:pt x="151" y="682"/>
                  </a:lnTo>
                  <a:lnTo>
                    <a:pt x="145" y="685"/>
                  </a:lnTo>
                  <a:lnTo>
                    <a:pt x="139" y="690"/>
                  </a:lnTo>
                  <a:lnTo>
                    <a:pt x="132" y="694"/>
                  </a:lnTo>
                  <a:lnTo>
                    <a:pt x="128" y="698"/>
                  </a:lnTo>
                  <a:lnTo>
                    <a:pt x="123" y="704"/>
                  </a:lnTo>
                  <a:lnTo>
                    <a:pt x="118" y="710"/>
                  </a:lnTo>
                  <a:lnTo>
                    <a:pt x="114" y="717"/>
                  </a:lnTo>
                  <a:lnTo>
                    <a:pt x="111" y="723"/>
                  </a:lnTo>
                  <a:lnTo>
                    <a:pt x="109" y="729"/>
                  </a:lnTo>
                  <a:lnTo>
                    <a:pt x="106" y="737"/>
                  </a:lnTo>
                  <a:lnTo>
                    <a:pt x="105" y="744"/>
                  </a:lnTo>
                  <a:lnTo>
                    <a:pt x="105" y="752"/>
                  </a:lnTo>
                  <a:lnTo>
                    <a:pt x="105" y="759"/>
                  </a:lnTo>
                  <a:lnTo>
                    <a:pt x="106" y="767"/>
                  </a:lnTo>
                  <a:lnTo>
                    <a:pt x="109" y="774"/>
                  </a:lnTo>
                  <a:lnTo>
                    <a:pt x="111" y="781"/>
                  </a:lnTo>
                  <a:lnTo>
                    <a:pt x="114" y="787"/>
                  </a:lnTo>
                  <a:lnTo>
                    <a:pt x="118" y="794"/>
                  </a:lnTo>
                  <a:lnTo>
                    <a:pt x="123" y="799"/>
                  </a:lnTo>
                  <a:lnTo>
                    <a:pt x="128" y="805"/>
                  </a:lnTo>
                  <a:lnTo>
                    <a:pt x="132" y="810"/>
                  </a:lnTo>
                  <a:lnTo>
                    <a:pt x="139" y="814"/>
                  </a:lnTo>
                  <a:lnTo>
                    <a:pt x="145" y="818"/>
                  </a:lnTo>
                  <a:lnTo>
                    <a:pt x="151" y="822"/>
                  </a:lnTo>
                  <a:lnTo>
                    <a:pt x="158" y="824"/>
                  </a:lnTo>
                  <a:lnTo>
                    <a:pt x="165" y="826"/>
                  </a:lnTo>
                  <a:lnTo>
                    <a:pt x="173" y="827"/>
                  </a:lnTo>
                  <a:lnTo>
                    <a:pt x="180" y="827"/>
                  </a:lnTo>
                  <a:lnTo>
                    <a:pt x="188" y="827"/>
                  </a:lnTo>
                  <a:lnTo>
                    <a:pt x="195" y="826"/>
                  </a:lnTo>
                  <a:lnTo>
                    <a:pt x="203" y="824"/>
                  </a:lnTo>
                  <a:lnTo>
                    <a:pt x="209" y="822"/>
                  </a:lnTo>
                  <a:lnTo>
                    <a:pt x="216" y="818"/>
                  </a:lnTo>
                  <a:lnTo>
                    <a:pt x="222" y="814"/>
                  </a:lnTo>
                  <a:lnTo>
                    <a:pt x="229" y="810"/>
                  </a:lnTo>
                  <a:lnTo>
                    <a:pt x="234" y="805"/>
                  </a:lnTo>
                  <a:lnTo>
                    <a:pt x="238" y="799"/>
                  </a:lnTo>
                  <a:lnTo>
                    <a:pt x="243" y="794"/>
                  </a:lnTo>
                  <a:lnTo>
                    <a:pt x="247" y="787"/>
                  </a:lnTo>
                  <a:lnTo>
                    <a:pt x="250" y="781"/>
                  </a:lnTo>
                  <a:lnTo>
                    <a:pt x="252" y="774"/>
                  </a:lnTo>
                  <a:lnTo>
                    <a:pt x="254" y="767"/>
                  </a:lnTo>
                  <a:lnTo>
                    <a:pt x="255" y="759"/>
                  </a:lnTo>
                  <a:lnTo>
                    <a:pt x="255" y="752"/>
                  </a:lnTo>
                  <a:lnTo>
                    <a:pt x="254" y="739"/>
                  </a:lnTo>
                  <a:lnTo>
                    <a:pt x="251" y="727"/>
                  </a:lnTo>
                  <a:lnTo>
                    <a:pt x="247" y="717"/>
                  </a:lnTo>
                  <a:lnTo>
                    <a:pt x="240" y="707"/>
                  </a:lnTo>
                  <a:lnTo>
                    <a:pt x="527" y="707"/>
                  </a:lnTo>
                  <a:lnTo>
                    <a:pt x="520" y="717"/>
                  </a:lnTo>
                  <a:lnTo>
                    <a:pt x="515" y="727"/>
                  </a:lnTo>
                  <a:lnTo>
                    <a:pt x="512" y="739"/>
                  </a:lnTo>
                  <a:lnTo>
                    <a:pt x="511" y="752"/>
                  </a:lnTo>
                  <a:lnTo>
                    <a:pt x="512" y="759"/>
                  </a:lnTo>
                  <a:lnTo>
                    <a:pt x="513" y="767"/>
                  </a:lnTo>
                  <a:lnTo>
                    <a:pt x="515" y="774"/>
                  </a:lnTo>
                  <a:lnTo>
                    <a:pt x="517" y="781"/>
                  </a:lnTo>
                  <a:lnTo>
                    <a:pt x="520" y="787"/>
                  </a:lnTo>
                  <a:lnTo>
                    <a:pt x="524" y="794"/>
                  </a:lnTo>
                  <a:lnTo>
                    <a:pt x="529" y="799"/>
                  </a:lnTo>
                  <a:lnTo>
                    <a:pt x="533" y="805"/>
                  </a:lnTo>
                  <a:lnTo>
                    <a:pt x="539" y="810"/>
                  </a:lnTo>
                  <a:lnTo>
                    <a:pt x="544" y="814"/>
                  </a:lnTo>
                  <a:lnTo>
                    <a:pt x="550" y="818"/>
                  </a:lnTo>
                  <a:lnTo>
                    <a:pt x="557" y="822"/>
                  </a:lnTo>
                  <a:lnTo>
                    <a:pt x="564" y="824"/>
                  </a:lnTo>
                  <a:lnTo>
                    <a:pt x="571" y="826"/>
                  </a:lnTo>
                  <a:lnTo>
                    <a:pt x="578" y="827"/>
                  </a:lnTo>
                  <a:lnTo>
                    <a:pt x="587" y="827"/>
                  </a:lnTo>
                  <a:lnTo>
                    <a:pt x="594" y="827"/>
                  </a:lnTo>
                  <a:lnTo>
                    <a:pt x="602" y="826"/>
                  </a:lnTo>
                  <a:lnTo>
                    <a:pt x="608" y="824"/>
                  </a:lnTo>
                  <a:lnTo>
                    <a:pt x="616" y="822"/>
                  </a:lnTo>
                  <a:lnTo>
                    <a:pt x="622" y="818"/>
                  </a:lnTo>
                  <a:lnTo>
                    <a:pt x="629" y="814"/>
                  </a:lnTo>
                  <a:lnTo>
                    <a:pt x="634" y="810"/>
                  </a:lnTo>
                  <a:lnTo>
                    <a:pt x="639" y="805"/>
                  </a:lnTo>
                  <a:lnTo>
                    <a:pt x="645" y="799"/>
                  </a:lnTo>
                  <a:lnTo>
                    <a:pt x="649" y="794"/>
                  </a:lnTo>
                  <a:lnTo>
                    <a:pt x="652" y="787"/>
                  </a:lnTo>
                  <a:lnTo>
                    <a:pt x="655" y="781"/>
                  </a:lnTo>
                  <a:lnTo>
                    <a:pt x="659" y="774"/>
                  </a:lnTo>
                  <a:lnTo>
                    <a:pt x="660" y="767"/>
                  </a:lnTo>
                  <a:lnTo>
                    <a:pt x="661" y="759"/>
                  </a:lnTo>
                  <a:lnTo>
                    <a:pt x="662" y="752"/>
                  </a:lnTo>
                  <a:lnTo>
                    <a:pt x="661" y="741"/>
                  </a:lnTo>
                  <a:lnTo>
                    <a:pt x="659" y="731"/>
                  </a:lnTo>
                  <a:lnTo>
                    <a:pt x="654" y="721"/>
                  </a:lnTo>
                  <a:lnTo>
                    <a:pt x="650" y="711"/>
                  </a:lnTo>
                  <a:lnTo>
                    <a:pt x="644" y="703"/>
                  </a:lnTo>
                  <a:lnTo>
                    <a:pt x="636" y="696"/>
                  </a:lnTo>
                  <a:lnTo>
                    <a:pt x="628" y="690"/>
                  </a:lnTo>
                  <a:lnTo>
                    <a:pt x="619" y="684"/>
                  </a:lnTo>
                  <a:lnTo>
                    <a:pt x="630" y="638"/>
                  </a:lnTo>
                  <a:lnTo>
                    <a:pt x="631" y="635"/>
                  </a:lnTo>
                  <a:lnTo>
                    <a:pt x="632" y="632"/>
                  </a:lnTo>
                  <a:lnTo>
                    <a:pt x="632" y="632"/>
                  </a:lnTo>
                  <a:lnTo>
                    <a:pt x="632" y="632"/>
                  </a:lnTo>
                  <a:lnTo>
                    <a:pt x="766" y="75"/>
                  </a:lnTo>
                  <a:lnTo>
                    <a:pt x="887" y="75"/>
                  </a:lnTo>
                  <a:lnTo>
                    <a:pt x="890" y="75"/>
                  </a:lnTo>
                  <a:lnTo>
                    <a:pt x="892" y="74"/>
                  </a:lnTo>
                  <a:lnTo>
                    <a:pt x="896" y="73"/>
                  </a:lnTo>
                  <a:lnTo>
                    <a:pt x="898" y="71"/>
                  </a:lnTo>
                  <a:lnTo>
                    <a:pt x="900" y="69"/>
                  </a:lnTo>
                  <a:lnTo>
                    <a:pt x="901" y="67"/>
                  </a:lnTo>
                  <a:lnTo>
                    <a:pt x="902" y="64"/>
                  </a:lnTo>
                  <a:lnTo>
                    <a:pt x="902" y="60"/>
                  </a:lnTo>
                  <a:lnTo>
                    <a:pt x="902" y="57"/>
                  </a:lnTo>
                  <a:lnTo>
                    <a:pt x="901" y="55"/>
                  </a:lnTo>
                  <a:lnTo>
                    <a:pt x="900" y="52"/>
                  </a:lnTo>
                  <a:lnTo>
                    <a:pt x="898" y="50"/>
                  </a:lnTo>
                  <a:lnTo>
                    <a:pt x="896" y="47"/>
                  </a:lnTo>
                  <a:lnTo>
                    <a:pt x="892" y="46"/>
                  </a:lnTo>
                  <a:lnTo>
                    <a:pt x="890" y="45"/>
                  </a:lnTo>
                  <a:lnTo>
                    <a:pt x="887" y="45"/>
                  </a:lnTo>
                  <a:close/>
                </a:path>
              </a:pathLst>
            </a:custGeom>
            <a:solidFill>
              <a:srgbClr val="E2583D"/>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183" name="Group 182"/>
            <p:cNvGrpSpPr/>
            <p:nvPr/>
          </p:nvGrpSpPr>
          <p:grpSpPr>
            <a:xfrm>
              <a:off x="4656109" y="2128239"/>
              <a:ext cx="285750" cy="287338"/>
              <a:chOff x="9882188" y="1925638"/>
              <a:chExt cx="285750" cy="287338"/>
            </a:xfrm>
            <a:solidFill>
              <a:srgbClr val="4CC7C4"/>
            </a:solidFill>
          </p:grpSpPr>
          <p:sp>
            <p:nvSpPr>
              <p:cNvPr id="184" name="Freeform 93"/>
              <p:cNvSpPr>
                <a:spLocks noEditPoints="1"/>
              </p:cNvSpPr>
              <p:nvPr/>
            </p:nvSpPr>
            <p:spPr bwMode="auto">
              <a:xfrm>
                <a:off x="9882188" y="1925638"/>
                <a:ext cx="285750" cy="287338"/>
              </a:xfrm>
              <a:custGeom>
                <a:avLst/>
                <a:gdLst>
                  <a:gd name="T0" fmla="*/ 872 w 902"/>
                  <a:gd name="T1" fmla="*/ 872 h 902"/>
                  <a:gd name="T2" fmla="*/ 30 w 902"/>
                  <a:gd name="T3" fmla="*/ 872 h 902"/>
                  <a:gd name="T4" fmla="*/ 30 w 902"/>
                  <a:gd name="T5" fmla="*/ 30 h 902"/>
                  <a:gd name="T6" fmla="*/ 872 w 902"/>
                  <a:gd name="T7" fmla="*/ 30 h 902"/>
                  <a:gd name="T8" fmla="*/ 872 w 902"/>
                  <a:gd name="T9" fmla="*/ 872 h 902"/>
                  <a:gd name="T10" fmla="*/ 887 w 902"/>
                  <a:gd name="T11" fmla="*/ 0 h 902"/>
                  <a:gd name="T12" fmla="*/ 15 w 902"/>
                  <a:gd name="T13" fmla="*/ 0 h 902"/>
                  <a:gd name="T14" fmla="*/ 12 w 902"/>
                  <a:gd name="T15" fmla="*/ 0 h 902"/>
                  <a:gd name="T16" fmla="*/ 10 w 902"/>
                  <a:gd name="T17" fmla="*/ 2 h 902"/>
                  <a:gd name="T18" fmla="*/ 6 w 902"/>
                  <a:gd name="T19" fmla="*/ 3 h 902"/>
                  <a:gd name="T20" fmla="*/ 4 w 902"/>
                  <a:gd name="T21" fmla="*/ 5 h 902"/>
                  <a:gd name="T22" fmla="*/ 3 w 902"/>
                  <a:gd name="T23" fmla="*/ 7 h 902"/>
                  <a:gd name="T24" fmla="*/ 1 w 902"/>
                  <a:gd name="T25" fmla="*/ 9 h 902"/>
                  <a:gd name="T26" fmla="*/ 1 w 902"/>
                  <a:gd name="T27" fmla="*/ 12 h 902"/>
                  <a:gd name="T28" fmla="*/ 0 w 902"/>
                  <a:gd name="T29" fmla="*/ 15 h 902"/>
                  <a:gd name="T30" fmla="*/ 0 w 902"/>
                  <a:gd name="T31" fmla="*/ 887 h 902"/>
                  <a:gd name="T32" fmla="*/ 1 w 902"/>
                  <a:gd name="T33" fmla="*/ 891 h 902"/>
                  <a:gd name="T34" fmla="*/ 1 w 902"/>
                  <a:gd name="T35" fmla="*/ 893 h 902"/>
                  <a:gd name="T36" fmla="*/ 3 w 902"/>
                  <a:gd name="T37" fmla="*/ 896 h 902"/>
                  <a:gd name="T38" fmla="*/ 4 w 902"/>
                  <a:gd name="T39" fmla="*/ 898 h 902"/>
                  <a:gd name="T40" fmla="*/ 6 w 902"/>
                  <a:gd name="T41" fmla="*/ 900 h 902"/>
                  <a:gd name="T42" fmla="*/ 10 w 902"/>
                  <a:gd name="T43" fmla="*/ 901 h 902"/>
                  <a:gd name="T44" fmla="*/ 12 w 902"/>
                  <a:gd name="T45" fmla="*/ 902 h 902"/>
                  <a:gd name="T46" fmla="*/ 15 w 902"/>
                  <a:gd name="T47" fmla="*/ 902 h 902"/>
                  <a:gd name="T48" fmla="*/ 887 w 902"/>
                  <a:gd name="T49" fmla="*/ 902 h 902"/>
                  <a:gd name="T50" fmla="*/ 890 w 902"/>
                  <a:gd name="T51" fmla="*/ 902 h 902"/>
                  <a:gd name="T52" fmla="*/ 893 w 902"/>
                  <a:gd name="T53" fmla="*/ 901 h 902"/>
                  <a:gd name="T54" fmla="*/ 896 w 902"/>
                  <a:gd name="T55" fmla="*/ 900 h 902"/>
                  <a:gd name="T56" fmla="*/ 898 w 902"/>
                  <a:gd name="T57" fmla="*/ 898 h 902"/>
                  <a:gd name="T58" fmla="*/ 900 w 902"/>
                  <a:gd name="T59" fmla="*/ 896 h 902"/>
                  <a:gd name="T60" fmla="*/ 901 w 902"/>
                  <a:gd name="T61" fmla="*/ 893 h 902"/>
                  <a:gd name="T62" fmla="*/ 902 w 902"/>
                  <a:gd name="T63" fmla="*/ 891 h 902"/>
                  <a:gd name="T64" fmla="*/ 902 w 902"/>
                  <a:gd name="T65" fmla="*/ 887 h 902"/>
                  <a:gd name="T66" fmla="*/ 902 w 902"/>
                  <a:gd name="T67" fmla="*/ 15 h 902"/>
                  <a:gd name="T68" fmla="*/ 902 w 902"/>
                  <a:gd name="T69" fmla="*/ 12 h 902"/>
                  <a:gd name="T70" fmla="*/ 901 w 902"/>
                  <a:gd name="T71" fmla="*/ 9 h 902"/>
                  <a:gd name="T72" fmla="*/ 900 w 902"/>
                  <a:gd name="T73" fmla="*/ 7 h 902"/>
                  <a:gd name="T74" fmla="*/ 898 w 902"/>
                  <a:gd name="T75" fmla="*/ 5 h 902"/>
                  <a:gd name="T76" fmla="*/ 896 w 902"/>
                  <a:gd name="T77" fmla="*/ 3 h 902"/>
                  <a:gd name="T78" fmla="*/ 893 w 902"/>
                  <a:gd name="T79" fmla="*/ 2 h 902"/>
                  <a:gd name="T80" fmla="*/ 890 w 902"/>
                  <a:gd name="T81" fmla="*/ 0 h 902"/>
                  <a:gd name="T82" fmla="*/ 887 w 902"/>
                  <a:gd name="T83" fmla="*/ 0 h 902"/>
                  <a:gd name="T84" fmla="*/ 887 w 902"/>
                  <a:gd name="T85" fmla="*/ 0 h 9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02" h="902">
                    <a:moveTo>
                      <a:pt x="872" y="872"/>
                    </a:moveTo>
                    <a:lnTo>
                      <a:pt x="30" y="872"/>
                    </a:lnTo>
                    <a:lnTo>
                      <a:pt x="30" y="30"/>
                    </a:lnTo>
                    <a:lnTo>
                      <a:pt x="872" y="30"/>
                    </a:lnTo>
                    <a:lnTo>
                      <a:pt x="872" y="872"/>
                    </a:lnTo>
                    <a:close/>
                    <a:moveTo>
                      <a:pt x="887" y="0"/>
                    </a:moveTo>
                    <a:lnTo>
                      <a:pt x="15" y="0"/>
                    </a:lnTo>
                    <a:lnTo>
                      <a:pt x="12" y="0"/>
                    </a:lnTo>
                    <a:lnTo>
                      <a:pt x="10" y="2"/>
                    </a:lnTo>
                    <a:lnTo>
                      <a:pt x="6" y="3"/>
                    </a:lnTo>
                    <a:lnTo>
                      <a:pt x="4" y="5"/>
                    </a:lnTo>
                    <a:lnTo>
                      <a:pt x="3" y="7"/>
                    </a:lnTo>
                    <a:lnTo>
                      <a:pt x="1" y="9"/>
                    </a:lnTo>
                    <a:lnTo>
                      <a:pt x="1" y="12"/>
                    </a:lnTo>
                    <a:lnTo>
                      <a:pt x="0" y="15"/>
                    </a:lnTo>
                    <a:lnTo>
                      <a:pt x="0" y="887"/>
                    </a:lnTo>
                    <a:lnTo>
                      <a:pt x="1" y="891"/>
                    </a:lnTo>
                    <a:lnTo>
                      <a:pt x="1" y="893"/>
                    </a:lnTo>
                    <a:lnTo>
                      <a:pt x="3" y="896"/>
                    </a:lnTo>
                    <a:lnTo>
                      <a:pt x="4" y="898"/>
                    </a:lnTo>
                    <a:lnTo>
                      <a:pt x="6" y="900"/>
                    </a:lnTo>
                    <a:lnTo>
                      <a:pt x="10" y="901"/>
                    </a:lnTo>
                    <a:lnTo>
                      <a:pt x="12" y="902"/>
                    </a:lnTo>
                    <a:lnTo>
                      <a:pt x="15" y="902"/>
                    </a:lnTo>
                    <a:lnTo>
                      <a:pt x="887" y="902"/>
                    </a:lnTo>
                    <a:lnTo>
                      <a:pt x="890" y="902"/>
                    </a:lnTo>
                    <a:lnTo>
                      <a:pt x="893" y="901"/>
                    </a:lnTo>
                    <a:lnTo>
                      <a:pt x="896" y="900"/>
                    </a:lnTo>
                    <a:lnTo>
                      <a:pt x="898" y="898"/>
                    </a:lnTo>
                    <a:lnTo>
                      <a:pt x="900" y="896"/>
                    </a:lnTo>
                    <a:lnTo>
                      <a:pt x="901" y="893"/>
                    </a:lnTo>
                    <a:lnTo>
                      <a:pt x="902" y="891"/>
                    </a:lnTo>
                    <a:lnTo>
                      <a:pt x="902" y="887"/>
                    </a:lnTo>
                    <a:lnTo>
                      <a:pt x="902" y="15"/>
                    </a:lnTo>
                    <a:lnTo>
                      <a:pt x="902" y="12"/>
                    </a:lnTo>
                    <a:lnTo>
                      <a:pt x="901" y="9"/>
                    </a:lnTo>
                    <a:lnTo>
                      <a:pt x="900" y="7"/>
                    </a:lnTo>
                    <a:lnTo>
                      <a:pt x="898" y="5"/>
                    </a:lnTo>
                    <a:lnTo>
                      <a:pt x="896" y="3"/>
                    </a:lnTo>
                    <a:lnTo>
                      <a:pt x="893" y="2"/>
                    </a:lnTo>
                    <a:lnTo>
                      <a:pt x="890" y="0"/>
                    </a:lnTo>
                    <a:lnTo>
                      <a:pt x="887" y="0"/>
                    </a:lnTo>
                    <a:lnTo>
                      <a:pt x="88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Freeform 94"/>
              <p:cNvSpPr>
                <a:spLocks/>
              </p:cNvSpPr>
              <p:nvPr/>
            </p:nvSpPr>
            <p:spPr bwMode="auto">
              <a:xfrm>
                <a:off x="9920288" y="2165350"/>
                <a:ext cx="209550" cy="9525"/>
              </a:xfrm>
              <a:custGeom>
                <a:avLst/>
                <a:gdLst>
                  <a:gd name="T0" fmla="*/ 15 w 661"/>
                  <a:gd name="T1" fmla="*/ 30 h 30"/>
                  <a:gd name="T2" fmla="*/ 646 w 661"/>
                  <a:gd name="T3" fmla="*/ 30 h 30"/>
                  <a:gd name="T4" fmla="*/ 649 w 661"/>
                  <a:gd name="T5" fmla="*/ 29 h 30"/>
                  <a:gd name="T6" fmla="*/ 652 w 661"/>
                  <a:gd name="T7" fmla="*/ 29 h 30"/>
                  <a:gd name="T8" fmla="*/ 655 w 661"/>
                  <a:gd name="T9" fmla="*/ 27 h 30"/>
                  <a:gd name="T10" fmla="*/ 657 w 661"/>
                  <a:gd name="T11" fmla="*/ 26 h 30"/>
                  <a:gd name="T12" fmla="*/ 659 w 661"/>
                  <a:gd name="T13" fmla="*/ 23 h 30"/>
                  <a:gd name="T14" fmla="*/ 660 w 661"/>
                  <a:gd name="T15" fmla="*/ 21 h 30"/>
                  <a:gd name="T16" fmla="*/ 661 w 661"/>
                  <a:gd name="T17" fmla="*/ 18 h 30"/>
                  <a:gd name="T18" fmla="*/ 661 w 661"/>
                  <a:gd name="T19" fmla="*/ 15 h 30"/>
                  <a:gd name="T20" fmla="*/ 661 w 661"/>
                  <a:gd name="T21" fmla="*/ 12 h 30"/>
                  <a:gd name="T22" fmla="*/ 660 w 661"/>
                  <a:gd name="T23" fmla="*/ 9 h 30"/>
                  <a:gd name="T24" fmla="*/ 659 w 661"/>
                  <a:gd name="T25" fmla="*/ 7 h 30"/>
                  <a:gd name="T26" fmla="*/ 657 w 661"/>
                  <a:gd name="T27" fmla="*/ 5 h 30"/>
                  <a:gd name="T28" fmla="*/ 655 w 661"/>
                  <a:gd name="T29" fmla="*/ 3 h 30"/>
                  <a:gd name="T30" fmla="*/ 652 w 661"/>
                  <a:gd name="T31" fmla="*/ 2 h 30"/>
                  <a:gd name="T32" fmla="*/ 649 w 661"/>
                  <a:gd name="T33" fmla="*/ 0 h 30"/>
                  <a:gd name="T34" fmla="*/ 646 w 661"/>
                  <a:gd name="T35" fmla="*/ 0 h 30"/>
                  <a:gd name="T36" fmla="*/ 15 w 661"/>
                  <a:gd name="T37" fmla="*/ 0 h 30"/>
                  <a:gd name="T38" fmla="*/ 12 w 661"/>
                  <a:gd name="T39" fmla="*/ 0 h 30"/>
                  <a:gd name="T40" fmla="*/ 9 w 661"/>
                  <a:gd name="T41" fmla="*/ 2 h 30"/>
                  <a:gd name="T42" fmla="*/ 6 w 661"/>
                  <a:gd name="T43" fmla="*/ 3 h 30"/>
                  <a:gd name="T44" fmla="*/ 4 w 661"/>
                  <a:gd name="T45" fmla="*/ 5 h 30"/>
                  <a:gd name="T46" fmla="*/ 2 w 661"/>
                  <a:gd name="T47" fmla="*/ 7 h 30"/>
                  <a:gd name="T48" fmla="*/ 1 w 661"/>
                  <a:gd name="T49" fmla="*/ 9 h 30"/>
                  <a:gd name="T50" fmla="*/ 0 w 661"/>
                  <a:gd name="T51" fmla="*/ 12 h 30"/>
                  <a:gd name="T52" fmla="*/ 0 w 661"/>
                  <a:gd name="T53" fmla="*/ 15 h 30"/>
                  <a:gd name="T54" fmla="*/ 0 w 661"/>
                  <a:gd name="T55" fmla="*/ 18 h 30"/>
                  <a:gd name="T56" fmla="*/ 1 w 661"/>
                  <a:gd name="T57" fmla="*/ 21 h 30"/>
                  <a:gd name="T58" fmla="*/ 2 w 661"/>
                  <a:gd name="T59" fmla="*/ 23 h 30"/>
                  <a:gd name="T60" fmla="*/ 4 w 661"/>
                  <a:gd name="T61" fmla="*/ 26 h 30"/>
                  <a:gd name="T62" fmla="*/ 6 w 661"/>
                  <a:gd name="T63" fmla="*/ 27 h 30"/>
                  <a:gd name="T64" fmla="*/ 9 w 661"/>
                  <a:gd name="T65" fmla="*/ 29 h 30"/>
                  <a:gd name="T66" fmla="*/ 12 w 661"/>
                  <a:gd name="T67" fmla="*/ 29 h 30"/>
                  <a:gd name="T68" fmla="*/ 15 w 661"/>
                  <a:gd name="T69"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61" h="30">
                    <a:moveTo>
                      <a:pt x="15" y="30"/>
                    </a:moveTo>
                    <a:lnTo>
                      <a:pt x="646" y="30"/>
                    </a:lnTo>
                    <a:lnTo>
                      <a:pt x="649" y="29"/>
                    </a:lnTo>
                    <a:lnTo>
                      <a:pt x="652" y="29"/>
                    </a:lnTo>
                    <a:lnTo>
                      <a:pt x="655" y="27"/>
                    </a:lnTo>
                    <a:lnTo>
                      <a:pt x="657" y="26"/>
                    </a:lnTo>
                    <a:lnTo>
                      <a:pt x="659" y="23"/>
                    </a:lnTo>
                    <a:lnTo>
                      <a:pt x="660" y="21"/>
                    </a:lnTo>
                    <a:lnTo>
                      <a:pt x="661" y="18"/>
                    </a:lnTo>
                    <a:lnTo>
                      <a:pt x="661" y="15"/>
                    </a:lnTo>
                    <a:lnTo>
                      <a:pt x="661" y="12"/>
                    </a:lnTo>
                    <a:lnTo>
                      <a:pt x="660" y="9"/>
                    </a:lnTo>
                    <a:lnTo>
                      <a:pt x="659" y="7"/>
                    </a:lnTo>
                    <a:lnTo>
                      <a:pt x="657" y="5"/>
                    </a:lnTo>
                    <a:lnTo>
                      <a:pt x="655" y="3"/>
                    </a:lnTo>
                    <a:lnTo>
                      <a:pt x="652" y="2"/>
                    </a:lnTo>
                    <a:lnTo>
                      <a:pt x="649" y="0"/>
                    </a:lnTo>
                    <a:lnTo>
                      <a:pt x="646" y="0"/>
                    </a:lnTo>
                    <a:lnTo>
                      <a:pt x="15" y="0"/>
                    </a:lnTo>
                    <a:lnTo>
                      <a:pt x="12" y="0"/>
                    </a:lnTo>
                    <a:lnTo>
                      <a:pt x="9" y="2"/>
                    </a:lnTo>
                    <a:lnTo>
                      <a:pt x="6" y="3"/>
                    </a:lnTo>
                    <a:lnTo>
                      <a:pt x="4" y="5"/>
                    </a:lnTo>
                    <a:lnTo>
                      <a:pt x="2" y="7"/>
                    </a:lnTo>
                    <a:lnTo>
                      <a:pt x="1" y="9"/>
                    </a:lnTo>
                    <a:lnTo>
                      <a:pt x="0" y="12"/>
                    </a:lnTo>
                    <a:lnTo>
                      <a:pt x="0" y="15"/>
                    </a:lnTo>
                    <a:lnTo>
                      <a:pt x="0" y="18"/>
                    </a:lnTo>
                    <a:lnTo>
                      <a:pt x="1" y="21"/>
                    </a:lnTo>
                    <a:lnTo>
                      <a:pt x="2" y="23"/>
                    </a:lnTo>
                    <a:lnTo>
                      <a:pt x="4" y="26"/>
                    </a:lnTo>
                    <a:lnTo>
                      <a:pt x="6" y="27"/>
                    </a:lnTo>
                    <a:lnTo>
                      <a:pt x="9" y="29"/>
                    </a:lnTo>
                    <a:lnTo>
                      <a:pt x="12" y="29"/>
                    </a:lnTo>
                    <a:lnTo>
                      <a:pt x="15" y="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Freeform 95"/>
              <p:cNvSpPr>
                <a:spLocks/>
              </p:cNvSpPr>
              <p:nvPr/>
            </p:nvSpPr>
            <p:spPr bwMode="auto">
              <a:xfrm>
                <a:off x="9929813" y="1973263"/>
                <a:ext cx="85725" cy="163513"/>
              </a:xfrm>
              <a:custGeom>
                <a:avLst/>
                <a:gdLst>
                  <a:gd name="T0" fmla="*/ 120 w 270"/>
                  <a:gd name="T1" fmla="*/ 52 h 511"/>
                  <a:gd name="T2" fmla="*/ 120 w 270"/>
                  <a:gd name="T3" fmla="*/ 500 h 511"/>
                  <a:gd name="T4" fmla="*/ 122 w 270"/>
                  <a:gd name="T5" fmla="*/ 505 h 511"/>
                  <a:gd name="T6" fmla="*/ 126 w 270"/>
                  <a:gd name="T7" fmla="*/ 509 h 511"/>
                  <a:gd name="T8" fmla="*/ 132 w 270"/>
                  <a:gd name="T9" fmla="*/ 511 h 511"/>
                  <a:gd name="T10" fmla="*/ 138 w 270"/>
                  <a:gd name="T11" fmla="*/ 511 h 511"/>
                  <a:gd name="T12" fmla="*/ 144 w 270"/>
                  <a:gd name="T13" fmla="*/ 509 h 511"/>
                  <a:gd name="T14" fmla="*/ 148 w 270"/>
                  <a:gd name="T15" fmla="*/ 505 h 511"/>
                  <a:gd name="T16" fmla="*/ 150 w 270"/>
                  <a:gd name="T17" fmla="*/ 500 h 511"/>
                  <a:gd name="T18" fmla="*/ 150 w 270"/>
                  <a:gd name="T19" fmla="*/ 52 h 511"/>
                  <a:gd name="T20" fmla="*/ 246 w 270"/>
                  <a:gd name="T21" fmla="*/ 148 h 511"/>
                  <a:gd name="T22" fmla="*/ 253 w 270"/>
                  <a:gd name="T23" fmla="*/ 150 h 511"/>
                  <a:gd name="T24" fmla="*/ 258 w 270"/>
                  <a:gd name="T25" fmla="*/ 150 h 511"/>
                  <a:gd name="T26" fmla="*/ 264 w 270"/>
                  <a:gd name="T27" fmla="*/ 148 h 511"/>
                  <a:gd name="T28" fmla="*/ 268 w 270"/>
                  <a:gd name="T29" fmla="*/ 144 h 511"/>
                  <a:gd name="T30" fmla="*/ 270 w 270"/>
                  <a:gd name="T31" fmla="*/ 139 h 511"/>
                  <a:gd name="T32" fmla="*/ 270 w 270"/>
                  <a:gd name="T33" fmla="*/ 133 h 511"/>
                  <a:gd name="T34" fmla="*/ 268 w 270"/>
                  <a:gd name="T35" fmla="*/ 128 h 511"/>
                  <a:gd name="T36" fmla="*/ 146 w 270"/>
                  <a:gd name="T37" fmla="*/ 5 h 511"/>
                  <a:gd name="T38" fmla="*/ 140 w 270"/>
                  <a:gd name="T39" fmla="*/ 2 h 511"/>
                  <a:gd name="T40" fmla="*/ 135 w 270"/>
                  <a:gd name="T41" fmla="*/ 0 h 511"/>
                  <a:gd name="T42" fmla="*/ 135 w 270"/>
                  <a:gd name="T43" fmla="*/ 0 h 511"/>
                  <a:gd name="T44" fmla="*/ 135 w 270"/>
                  <a:gd name="T45" fmla="*/ 0 h 511"/>
                  <a:gd name="T46" fmla="*/ 130 w 270"/>
                  <a:gd name="T47" fmla="*/ 2 h 511"/>
                  <a:gd name="T48" fmla="*/ 124 w 270"/>
                  <a:gd name="T49" fmla="*/ 5 h 511"/>
                  <a:gd name="T50" fmla="*/ 2 w 270"/>
                  <a:gd name="T51" fmla="*/ 128 h 511"/>
                  <a:gd name="T52" fmla="*/ 0 w 270"/>
                  <a:gd name="T53" fmla="*/ 133 h 511"/>
                  <a:gd name="T54" fmla="*/ 0 w 270"/>
                  <a:gd name="T55" fmla="*/ 139 h 511"/>
                  <a:gd name="T56" fmla="*/ 2 w 270"/>
                  <a:gd name="T57" fmla="*/ 144 h 511"/>
                  <a:gd name="T58" fmla="*/ 6 w 270"/>
                  <a:gd name="T59" fmla="*/ 148 h 511"/>
                  <a:gd name="T60" fmla="*/ 12 w 270"/>
                  <a:gd name="T61" fmla="*/ 150 h 511"/>
                  <a:gd name="T62" fmla="*/ 17 w 270"/>
                  <a:gd name="T63" fmla="*/ 150 h 511"/>
                  <a:gd name="T64" fmla="*/ 23 w 270"/>
                  <a:gd name="T65" fmla="*/ 148 h 5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70" h="511">
                    <a:moveTo>
                      <a:pt x="26" y="146"/>
                    </a:moveTo>
                    <a:lnTo>
                      <a:pt x="120" y="52"/>
                    </a:lnTo>
                    <a:lnTo>
                      <a:pt x="120" y="496"/>
                    </a:lnTo>
                    <a:lnTo>
                      <a:pt x="120" y="500"/>
                    </a:lnTo>
                    <a:lnTo>
                      <a:pt x="121" y="503"/>
                    </a:lnTo>
                    <a:lnTo>
                      <a:pt x="122" y="505"/>
                    </a:lnTo>
                    <a:lnTo>
                      <a:pt x="124" y="507"/>
                    </a:lnTo>
                    <a:lnTo>
                      <a:pt x="126" y="509"/>
                    </a:lnTo>
                    <a:lnTo>
                      <a:pt x="129" y="510"/>
                    </a:lnTo>
                    <a:lnTo>
                      <a:pt x="132" y="511"/>
                    </a:lnTo>
                    <a:lnTo>
                      <a:pt x="135" y="511"/>
                    </a:lnTo>
                    <a:lnTo>
                      <a:pt x="138" y="511"/>
                    </a:lnTo>
                    <a:lnTo>
                      <a:pt x="140" y="510"/>
                    </a:lnTo>
                    <a:lnTo>
                      <a:pt x="144" y="509"/>
                    </a:lnTo>
                    <a:lnTo>
                      <a:pt x="146" y="507"/>
                    </a:lnTo>
                    <a:lnTo>
                      <a:pt x="148" y="505"/>
                    </a:lnTo>
                    <a:lnTo>
                      <a:pt x="149" y="503"/>
                    </a:lnTo>
                    <a:lnTo>
                      <a:pt x="150" y="500"/>
                    </a:lnTo>
                    <a:lnTo>
                      <a:pt x="150" y="496"/>
                    </a:lnTo>
                    <a:lnTo>
                      <a:pt x="150" y="52"/>
                    </a:lnTo>
                    <a:lnTo>
                      <a:pt x="244" y="146"/>
                    </a:lnTo>
                    <a:lnTo>
                      <a:pt x="246" y="148"/>
                    </a:lnTo>
                    <a:lnTo>
                      <a:pt x="250" y="150"/>
                    </a:lnTo>
                    <a:lnTo>
                      <a:pt x="253" y="150"/>
                    </a:lnTo>
                    <a:lnTo>
                      <a:pt x="255" y="151"/>
                    </a:lnTo>
                    <a:lnTo>
                      <a:pt x="258" y="150"/>
                    </a:lnTo>
                    <a:lnTo>
                      <a:pt x="261" y="150"/>
                    </a:lnTo>
                    <a:lnTo>
                      <a:pt x="264" y="148"/>
                    </a:lnTo>
                    <a:lnTo>
                      <a:pt x="266" y="146"/>
                    </a:lnTo>
                    <a:lnTo>
                      <a:pt x="268" y="144"/>
                    </a:lnTo>
                    <a:lnTo>
                      <a:pt x="269" y="142"/>
                    </a:lnTo>
                    <a:lnTo>
                      <a:pt x="270" y="139"/>
                    </a:lnTo>
                    <a:lnTo>
                      <a:pt x="270" y="136"/>
                    </a:lnTo>
                    <a:lnTo>
                      <a:pt x="270" y="133"/>
                    </a:lnTo>
                    <a:lnTo>
                      <a:pt x="269" y="130"/>
                    </a:lnTo>
                    <a:lnTo>
                      <a:pt x="268" y="128"/>
                    </a:lnTo>
                    <a:lnTo>
                      <a:pt x="266" y="126"/>
                    </a:lnTo>
                    <a:lnTo>
                      <a:pt x="146" y="5"/>
                    </a:lnTo>
                    <a:lnTo>
                      <a:pt x="144" y="4"/>
                    </a:lnTo>
                    <a:lnTo>
                      <a:pt x="140" y="2"/>
                    </a:lnTo>
                    <a:lnTo>
                      <a:pt x="138" y="2"/>
                    </a:lnTo>
                    <a:lnTo>
                      <a:pt x="135" y="0"/>
                    </a:lnTo>
                    <a:lnTo>
                      <a:pt x="135" y="0"/>
                    </a:lnTo>
                    <a:lnTo>
                      <a:pt x="135" y="0"/>
                    </a:lnTo>
                    <a:lnTo>
                      <a:pt x="135" y="0"/>
                    </a:lnTo>
                    <a:lnTo>
                      <a:pt x="135" y="0"/>
                    </a:lnTo>
                    <a:lnTo>
                      <a:pt x="132" y="0"/>
                    </a:lnTo>
                    <a:lnTo>
                      <a:pt x="130" y="2"/>
                    </a:lnTo>
                    <a:lnTo>
                      <a:pt x="126" y="4"/>
                    </a:lnTo>
                    <a:lnTo>
                      <a:pt x="124" y="5"/>
                    </a:lnTo>
                    <a:lnTo>
                      <a:pt x="4" y="126"/>
                    </a:lnTo>
                    <a:lnTo>
                      <a:pt x="2" y="128"/>
                    </a:lnTo>
                    <a:lnTo>
                      <a:pt x="1" y="130"/>
                    </a:lnTo>
                    <a:lnTo>
                      <a:pt x="0" y="133"/>
                    </a:lnTo>
                    <a:lnTo>
                      <a:pt x="0" y="136"/>
                    </a:lnTo>
                    <a:lnTo>
                      <a:pt x="0" y="139"/>
                    </a:lnTo>
                    <a:lnTo>
                      <a:pt x="1" y="142"/>
                    </a:lnTo>
                    <a:lnTo>
                      <a:pt x="2" y="144"/>
                    </a:lnTo>
                    <a:lnTo>
                      <a:pt x="4" y="146"/>
                    </a:lnTo>
                    <a:lnTo>
                      <a:pt x="6" y="148"/>
                    </a:lnTo>
                    <a:lnTo>
                      <a:pt x="9" y="150"/>
                    </a:lnTo>
                    <a:lnTo>
                      <a:pt x="12" y="150"/>
                    </a:lnTo>
                    <a:lnTo>
                      <a:pt x="15" y="151"/>
                    </a:lnTo>
                    <a:lnTo>
                      <a:pt x="17" y="150"/>
                    </a:lnTo>
                    <a:lnTo>
                      <a:pt x="20" y="150"/>
                    </a:lnTo>
                    <a:lnTo>
                      <a:pt x="23" y="148"/>
                    </a:lnTo>
                    <a:lnTo>
                      <a:pt x="26" y="1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Freeform 96"/>
              <p:cNvSpPr>
                <a:spLocks/>
              </p:cNvSpPr>
              <p:nvPr/>
            </p:nvSpPr>
            <p:spPr bwMode="auto">
              <a:xfrm>
                <a:off x="10034588" y="1973263"/>
                <a:ext cx="85725" cy="163513"/>
              </a:xfrm>
              <a:custGeom>
                <a:avLst/>
                <a:gdLst>
                  <a:gd name="T0" fmla="*/ 121 w 271"/>
                  <a:gd name="T1" fmla="*/ 52 h 511"/>
                  <a:gd name="T2" fmla="*/ 121 w 271"/>
                  <a:gd name="T3" fmla="*/ 500 h 511"/>
                  <a:gd name="T4" fmla="*/ 123 w 271"/>
                  <a:gd name="T5" fmla="*/ 505 h 511"/>
                  <a:gd name="T6" fmla="*/ 127 w 271"/>
                  <a:gd name="T7" fmla="*/ 509 h 511"/>
                  <a:gd name="T8" fmla="*/ 133 w 271"/>
                  <a:gd name="T9" fmla="*/ 511 h 511"/>
                  <a:gd name="T10" fmla="*/ 139 w 271"/>
                  <a:gd name="T11" fmla="*/ 511 h 511"/>
                  <a:gd name="T12" fmla="*/ 145 w 271"/>
                  <a:gd name="T13" fmla="*/ 509 h 511"/>
                  <a:gd name="T14" fmla="*/ 148 w 271"/>
                  <a:gd name="T15" fmla="*/ 505 h 511"/>
                  <a:gd name="T16" fmla="*/ 150 w 271"/>
                  <a:gd name="T17" fmla="*/ 500 h 511"/>
                  <a:gd name="T18" fmla="*/ 151 w 271"/>
                  <a:gd name="T19" fmla="*/ 52 h 511"/>
                  <a:gd name="T20" fmla="*/ 247 w 271"/>
                  <a:gd name="T21" fmla="*/ 148 h 511"/>
                  <a:gd name="T22" fmla="*/ 253 w 271"/>
                  <a:gd name="T23" fmla="*/ 150 h 511"/>
                  <a:gd name="T24" fmla="*/ 259 w 271"/>
                  <a:gd name="T25" fmla="*/ 150 h 511"/>
                  <a:gd name="T26" fmla="*/ 265 w 271"/>
                  <a:gd name="T27" fmla="*/ 148 h 511"/>
                  <a:gd name="T28" fmla="*/ 269 w 271"/>
                  <a:gd name="T29" fmla="*/ 144 h 511"/>
                  <a:gd name="T30" fmla="*/ 271 w 271"/>
                  <a:gd name="T31" fmla="*/ 139 h 511"/>
                  <a:gd name="T32" fmla="*/ 271 w 271"/>
                  <a:gd name="T33" fmla="*/ 133 h 511"/>
                  <a:gd name="T34" fmla="*/ 269 w 271"/>
                  <a:gd name="T35" fmla="*/ 128 h 511"/>
                  <a:gd name="T36" fmla="*/ 147 w 271"/>
                  <a:gd name="T37" fmla="*/ 5 h 511"/>
                  <a:gd name="T38" fmla="*/ 141 w 271"/>
                  <a:gd name="T39" fmla="*/ 2 h 511"/>
                  <a:gd name="T40" fmla="*/ 136 w 271"/>
                  <a:gd name="T41" fmla="*/ 0 h 511"/>
                  <a:gd name="T42" fmla="*/ 136 w 271"/>
                  <a:gd name="T43" fmla="*/ 0 h 511"/>
                  <a:gd name="T44" fmla="*/ 136 w 271"/>
                  <a:gd name="T45" fmla="*/ 0 h 511"/>
                  <a:gd name="T46" fmla="*/ 130 w 271"/>
                  <a:gd name="T47" fmla="*/ 2 h 511"/>
                  <a:gd name="T48" fmla="*/ 125 w 271"/>
                  <a:gd name="T49" fmla="*/ 5 h 511"/>
                  <a:gd name="T50" fmla="*/ 3 w 271"/>
                  <a:gd name="T51" fmla="*/ 128 h 511"/>
                  <a:gd name="T52" fmla="*/ 1 w 271"/>
                  <a:gd name="T53" fmla="*/ 133 h 511"/>
                  <a:gd name="T54" fmla="*/ 1 w 271"/>
                  <a:gd name="T55" fmla="*/ 139 h 511"/>
                  <a:gd name="T56" fmla="*/ 3 w 271"/>
                  <a:gd name="T57" fmla="*/ 144 h 511"/>
                  <a:gd name="T58" fmla="*/ 7 w 271"/>
                  <a:gd name="T59" fmla="*/ 148 h 511"/>
                  <a:gd name="T60" fmla="*/ 13 w 271"/>
                  <a:gd name="T61" fmla="*/ 150 h 511"/>
                  <a:gd name="T62" fmla="*/ 18 w 271"/>
                  <a:gd name="T63" fmla="*/ 150 h 511"/>
                  <a:gd name="T64" fmla="*/ 24 w 271"/>
                  <a:gd name="T65" fmla="*/ 148 h 5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71" h="511">
                    <a:moveTo>
                      <a:pt x="26" y="146"/>
                    </a:moveTo>
                    <a:lnTo>
                      <a:pt x="121" y="52"/>
                    </a:lnTo>
                    <a:lnTo>
                      <a:pt x="121" y="496"/>
                    </a:lnTo>
                    <a:lnTo>
                      <a:pt x="121" y="500"/>
                    </a:lnTo>
                    <a:lnTo>
                      <a:pt x="122" y="503"/>
                    </a:lnTo>
                    <a:lnTo>
                      <a:pt x="123" y="505"/>
                    </a:lnTo>
                    <a:lnTo>
                      <a:pt x="125" y="507"/>
                    </a:lnTo>
                    <a:lnTo>
                      <a:pt x="127" y="509"/>
                    </a:lnTo>
                    <a:lnTo>
                      <a:pt x="130" y="510"/>
                    </a:lnTo>
                    <a:lnTo>
                      <a:pt x="133" y="511"/>
                    </a:lnTo>
                    <a:lnTo>
                      <a:pt x="136" y="511"/>
                    </a:lnTo>
                    <a:lnTo>
                      <a:pt x="139" y="511"/>
                    </a:lnTo>
                    <a:lnTo>
                      <a:pt x="141" y="510"/>
                    </a:lnTo>
                    <a:lnTo>
                      <a:pt x="145" y="509"/>
                    </a:lnTo>
                    <a:lnTo>
                      <a:pt x="147" y="507"/>
                    </a:lnTo>
                    <a:lnTo>
                      <a:pt x="148" y="505"/>
                    </a:lnTo>
                    <a:lnTo>
                      <a:pt x="150" y="503"/>
                    </a:lnTo>
                    <a:lnTo>
                      <a:pt x="150" y="500"/>
                    </a:lnTo>
                    <a:lnTo>
                      <a:pt x="151" y="496"/>
                    </a:lnTo>
                    <a:lnTo>
                      <a:pt x="151" y="52"/>
                    </a:lnTo>
                    <a:lnTo>
                      <a:pt x="245" y="146"/>
                    </a:lnTo>
                    <a:lnTo>
                      <a:pt x="247" y="148"/>
                    </a:lnTo>
                    <a:lnTo>
                      <a:pt x="251" y="150"/>
                    </a:lnTo>
                    <a:lnTo>
                      <a:pt x="253" y="150"/>
                    </a:lnTo>
                    <a:lnTo>
                      <a:pt x="256" y="151"/>
                    </a:lnTo>
                    <a:lnTo>
                      <a:pt x="259" y="150"/>
                    </a:lnTo>
                    <a:lnTo>
                      <a:pt x="261" y="150"/>
                    </a:lnTo>
                    <a:lnTo>
                      <a:pt x="265" y="148"/>
                    </a:lnTo>
                    <a:lnTo>
                      <a:pt x="267" y="146"/>
                    </a:lnTo>
                    <a:lnTo>
                      <a:pt x="269" y="144"/>
                    </a:lnTo>
                    <a:lnTo>
                      <a:pt x="270" y="142"/>
                    </a:lnTo>
                    <a:lnTo>
                      <a:pt x="271" y="139"/>
                    </a:lnTo>
                    <a:lnTo>
                      <a:pt x="271" y="136"/>
                    </a:lnTo>
                    <a:lnTo>
                      <a:pt x="271" y="133"/>
                    </a:lnTo>
                    <a:lnTo>
                      <a:pt x="270" y="130"/>
                    </a:lnTo>
                    <a:lnTo>
                      <a:pt x="269" y="128"/>
                    </a:lnTo>
                    <a:lnTo>
                      <a:pt x="267" y="126"/>
                    </a:lnTo>
                    <a:lnTo>
                      <a:pt x="147" y="5"/>
                    </a:lnTo>
                    <a:lnTo>
                      <a:pt x="144" y="4"/>
                    </a:lnTo>
                    <a:lnTo>
                      <a:pt x="141" y="2"/>
                    </a:lnTo>
                    <a:lnTo>
                      <a:pt x="138" y="2"/>
                    </a:lnTo>
                    <a:lnTo>
                      <a:pt x="136" y="0"/>
                    </a:lnTo>
                    <a:lnTo>
                      <a:pt x="136" y="0"/>
                    </a:lnTo>
                    <a:lnTo>
                      <a:pt x="136" y="0"/>
                    </a:lnTo>
                    <a:lnTo>
                      <a:pt x="136" y="0"/>
                    </a:lnTo>
                    <a:lnTo>
                      <a:pt x="136" y="0"/>
                    </a:lnTo>
                    <a:lnTo>
                      <a:pt x="133" y="0"/>
                    </a:lnTo>
                    <a:lnTo>
                      <a:pt x="130" y="2"/>
                    </a:lnTo>
                    <a:lnTo>
                      <a:pt x="127" y="4"/>
                    </a:lnTo>
                    <a:lnTo>
                      <a:pt x="125" y="5"/>
                    </a:lnTo>
                    <a:lnTo>
                      <a:pt x="4" y="126"/>
                    </a:lnTo>
                    <a:lnTo>
                      <a:pt x="3" y="128"/>
                    </a:lnTo>
                    <a:lnTo>
                      <a:pt x="1" y="130"/>
                    </a:lnTo>
                    <a:lnTo>
                      <a:pt x="1" y="133"/>
                    </a:lnTo>
                    <a:lnTo>
                      <a:pt x="0" y="136"/>
                    </a:lnTo>
                    <a:lnTo>
                      <a:pt x="1" y="139"/>
                    </a:lnTo>
                    <a:lnTo>
                      <a:pt x="1" y="142"/>
                    </a:lnTo>
                    <a:lnTo>
                      <a:pt x="3" y="144"/>
                    </a:lnTo>
                    <a:lnTo>
                      <a:pt x="4" y="146"/>
                    </a:lnTo>
                    <a:lnTo>
                      <a:pt x="7" y="148"/>
                    </a:lnTo>
                    <a:lnTo>
                      <a:pt x="10" y="150"/>
                    </a:lnTo>
                    <a:lnTo>
                      <a:pt x="13" y="150"/>
                    </a:lnTo>
                    <a:lnTo>
                      <a:pt x="15" y="151"/>
                    </a:lnTo>
                    <a:lnTo>
                      <a:pt x="18" y="150"/>
                    </a:lnTo>
                    <a:lnTo>
                      <a:pt x="21" y="150"/>
                    </a:lnTo>
                    <a:lnTo>
                      <a:pt x="24" y="148"/>
                    </a:lnTo>
                    <a:lnTo>
                      <a:pt x="26" y="1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88" name="Freeform 146"/>
            <p:cNvSpPr>
              <a:spLocks noEditPoints="1"/>
            </p:cNvSpPr>
            <p:nvPr/>
          </p:nvSpPr>
          <p:spPr bwMode="auto">
            <a:xfrm>
              <a:off x="5329393" y="4309660"/>
              <a:ext cx="209262" cy="285493"/>
            </a:xfrm>
            <a:custGeom>
              <a:avLst/>
              <a:gdLst>
                <a:gd name="T0" fmla="*/ 197 w 561"/>
                <a:gd name="T1" fmla="*/ 636 h 764"/>
                <a:gd name="T2" fmla="*/ 365 w 561"/>
                <a:gd name="T3" fmla="*/ 636 h 764"/>
                <a:gd name="T4" fmla="*/ 89 w 561"/>
                <a:gd name="T5" fmla="*/ 738 h 764"/>
                <a:gd name="T6" fmla="*/ 338 w 561"/>
                <a:gd name="T7" fmla="*/ 403 h 764"/>
                <a:gd name="T8" fmla="*/ 403 w 561"/>
                <a:gd name="T9" fmla="*/ 437 h 764"/>
                <a:gd name="T10" fmla="*/ 449 w 561"/>
                <a:gd name="T11" fmla="*/ 493 h 764"/>
                <a:gd name="T12" fmla="*/ 470 w 561"/>
                <a:gd name="T13" fmla="*/ 566 h 764"/>
                <a:gd name="T14" fmla="*/ 290 w 561"/>
                <a:gd name="T15" fmla="*/ 525 h 764"/>
                <a:gd name="T16" fmla="*/ 272 w 561"/>
                <a:gd name="T17" fmla="*/ 525 h 764"/>
                <a:gd name="T18" fmla="*/ 90 w 561"/>
                <a:gd name="T19" fmla="*/ 566 h 764"/>
                <a:gd name="T20" fmla="*/ 112 w 561"/>
                <a:gd name="T21" fmla="*/ 494 h 764"/>
                <a:gd name="T22" fmla="*/ 158 w 561"/>
                <a:gd name="T23" fmla="*/ 437 h 764"/>
                <a:gd name="T24" fmla="*/ 223 w 561"/>
                <a:gd name="T25" fmla="*/ 403 h 764"/>
                <a:gd name="T26" fmla="*/ 137 w 561"/>
                <a:gd name="T27" fmla="*/ 305 h 764"/>
                <a:gd name="T28" fmla="*/ 379 w 561"/>
                <a:gd name="T29" fmla="*/ 343 h 764"/>
                <a:gd name="T30" fmla="*/ 333 w 561"/>
                <a:gd name="T31" fmla="*/ 362 h 764"/>
                <a:gd name="T32" fmla="*/ 291 w 561"/>
                <a:gd name="T33" fmla="*/ 369 h 764"/>
                <a:gd name="T34" fmla="*/ 249 w 561"/>
                <a:gd name="T35" fmla="*/ 366 h 764"/>
                <a:gd name="T36" fmla="*/ 209 w 561"/>
                <a:gd name="T37" fmla="*/ 356 h 764"/>
                <a:gd name="T38" fmla="*/ 151 w 561"/>
                <a:gd name="T39" fmla="*/ 319 h 764"/>
                <a:gd name="T40" fmla="*/ 471 w 561"/>
                <a:gd name="T41" fmla="*/ 178 h 764"/>
                <a:gd name="T42" fmla="*/ 464 w 561"/>
                <a:gd name="T43" fmla="*/ 232 h 764"/>
                <a:gd name="T44" fmla="*/ 443 w 561"/>
                <a:gd name="T45" fmla="*/ 280 h 764"/>
                <a:gd name="T46" fmla="*/ 101 w 561"/>
                <a:gd name="T47" fmla="*/ 245 h 764"/>
                <a:gd name="T48" fmla="*/ 90 w 561"/>
                <a:gd name="T49" fmla="*/ 192 h 764"/>
                <a:gd name="T50" fmla="*/ 497 w 561"/>
                <a:gd name="T51" fmla="*/ 738 h 764"/>
                <a:gd name="T52" fmla="*/ 491 w 561"/>
                <a:gd name="T53" fmla="*/ 534 h 764"/>
                <a:gd name="T54" fmla="*/ 466 w 561"/>
                <a:gd name="T55" fmla="*/ 472 h 764"/>
                <a:gd name="T56" fmla="*/ 425 w 561"/>
                <a:gd name="T57" fmla="*/ 422 h 764"/>
                <a:gd name="T58" fmla="*/ 370 w 561"/>
                <a:gd name="T59" fmla="*/ 388 h 764"/>
                <a:gd name="T60" fmla="*/ 399 w 561"/>
                <a:gd name="T61" fmla="*/ 360 h 764"/>
                <a:gd name="T62" fmla="*/ 448 w 561"/>
                <a:gd name="T63" fmla="*/ 318 h 764"/>
                <a:gd name="T64" fmla="*/ 481 w 561"/>
                <a:gd name="T65" fmla="*/ 262 h 764"/>
                <a:gd name="T66" fmla="*/ 496 w 561"/>
                <a:gd name="T67" fmla="*/ 196 h 764"/>
                <a:gd name="T68" fmla="*/ 553 w 561"/>
                <a:gd name="T69" fmla="*/ 25 h 764"/>
                <a:gd name="T70" fmla="*/ 559 w 561"/>
                <a:gd name="T71" fmla="*/ 8 h 764"/>
                <a:gd name="T72" fmla="*/ 484 w 561"/>
                <a:gd name="T73" fmla="*/ 0 h 764"/>
                <a:gd name="T74" fmla="*/ 4 w 561"/>
                <a:gd name="T75" fmla="*/ 3 h 764"/>
                <a:gd name="T76" fmla="*/ 4 w 561"/>
                <a:gd name="T77" fmla="*/ 22 h 764"/>
                <a:gd name="T78" fmla="*/ 64 w 561"/>
                <a:gd name="T79" fmla="*/ 178 h 764"/>
                <a:gd name="T80" fmla="*/ 73 w 561"/>
                <a:gd name="T81" fmla="*/ 242 h 764"/>
                <a:gd name="T82" fmla="*/ 99 w 561"/>
                <a:gd name="T83" fmla="*/ 298 h 764"/>
                <a:gd name="T84" fmla="*/ 122 w 561"/>
                <a:gd name="T85" fmla="*/ 328 h 764"/>
                <a:gd name="T86" fmla="*/ 176 w 561"/>
                <a:gd name="T87" fmla="*/ 369 h 764"/>
                <a:gd name="T88" fmla="*/ 176 w 561"/>
                <a:gd name="T89" fmla="*/ 395 h 764"/>
                <a:gd name="T90" fmla="*/ 125 w 561"/>
                <a:gd name="T91" fmla="*/ 435 h 764"/>
                <a:gd name="T92" fmla="*/ 87 w 561"/>
                <a:gd name="T93" fmla="*/ 488 h 764"/>
                <a:gd name="T94" fmla="*/ 67 w 561"/>
                <a:gd name="T95" fmla="*/ 551 h 764"/>
                <a:gd name="T96" fmla="*/ 13 w 561"/>
                <a:gd name="T97" fmla="*/ 738 h 764"/>
                <a:gd name="T98" fmla="*/ 0 w 561"/>
                <a:gd name="T99" fmla="*/ 751 h 764"/>
                <a:gd name="T100" fmla="*/ 13 w 561"/>
                <a:gd name="T101" fmla="*/ 764 h 764"/>
                <a:gd name="T102" fmla="*/ 553 w 561"/>
                <a:gd name="T103" fmla="*/ 763 h 764"/>
                <a:gd name="T104" fmla="*/ 559 w 561"/>
                <a:gd name="T105" fmla="*/ 747 h 7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61" h="764">
                  <a:moveTo>
                    <a:pt x="89" y="738"/>
                  </a:moveTo>
                  <a:lnTo>
                    <a:pt x="89" y="637"/>
                  </a:lnTo>
                  <a:lnTo>
                    <a:pt x="191" y="637"/>
                  </a:lnTo>
                  <a:lnTo>
                    <a:pt x="197" y="636"/>
                  </a:lnTo>
                  <a:lnTo>
                    <a:pt x="201" y="633"/>
                  </a:lnTo>
                  <a:lnTo>
                    <a:pt x="280" y="554"/>
                  </a:lnTo>
                  <a:lnTo>
                    <a:pt x="361" y="633"/>
                  </a:lnTo>
                  <a:lnTo>
                    <a:pt x="365" y="636"/>
                  </a:lnTo>
                  <a:lnTo>
                    <a:pt x="369" y="637"/>
                  </a:lnTo>
                  <a:lnTo>
                    <a:pt x="471" y="637"/>
                  </a:lnTo>
                  <a:lnTo>
                    <a:pt x="471" y="738"/>
                  </a:lnTo>
                  <a:lnTo>
                    <a:pt x="89" y="738"/>
                  </a:lnTo>
                  <a:close/>
                  <a:moveTo>
                    <a:pt x="280" y="394"/>
                  </a:moveTo>
                  <a:lnTo>
                    <a:pt x="301" y="395"/>
                  </a:lnTo>
                  <a:lnTo>
                    <a:pt x="320" y="399"/>
                  </a:lnTo>
                  <a:lnTo>
                    <a:pt x="338" y="403"/>
                  </a:lnTo>
                  <a:lnTo>
                    <a:pt x="355" y="409"/>
                  </a:lnTo>
                  <a:lnTo>
                    <a:pt x="373" y="417"/>
                  </a:lnTo>
                  <a:lnTo>
                    <a:pt x="389" y="427"/>
                  </a:lnTo>
                  <a:lnTo>
                    <a:pt x="403" y="437"/>
                  </a:lnTo>
                  <a:lnTo>
                    <a:pt x="417" y="449"/>
                  </a:lnTo>
                  <a:lnTo>
                    <a:pt x="428" y="463"/>
                  </a:lnTo>
                  <a:lnTo>
                    <a:pt x="439" y="478"/>
                  </a:lnTo>
                  <a:lnTo>
                    <a:pt x="449" y="493"/>
                  </a:lnTo>
                  <a:lnTo>
                    <a:pt x="456" y="510"/>
                  </a:lnTo>
                  <a:lnTo>
                    <a:pt x="463" y="527"/>
                  </a:lnTo>
                  <a:lnTo>
                    <a:pt x="467" y="547"/>
                  </a:lnTo>
                  <a:lnTo>
                    <a:pt x="470" y="566"/>
                  </a:lnTo>
                  <a:lnTo>
                    <a:pt x="471" y="585"/>
                  </a:lnTo>
                  <a:lnTo>
                    <a:pt x="471" y="611"/>
                  </a:lnTo>
                  <a:lnTo>
                    <a:pt x="375" y="611"/>
                  </a:lnTo>
                  <a:lnTo>
                    <a:pt x="290" y="525"/>
                  </a:lnTo>
                  <a:lnTo>
                    <a:pt x="286" y="523"/>
                  </a:lnTo>
                  <a:lnTo>
                    <a:pt x="280" y="522"/>
                  </a:lnTo>
                  <a:lnTo>
                    <a:pt x="276" y="523"/>
                  </a:lnTo>
                  <a:lnTo>
                    <a:pt x="272" y="525"/>
                  </a:lnTo>
                  <a:lnTo>
                    <a:pt x="186" y="611"/>
                  </a:lnTo>
                  <a:lnTo>
                    <a:pt x="89" y="611"/>
                  </a:lnTo>
                  <a:lnTo>
                    <a:pt x="89" y="585"/>
                  </a:lnTo>
                  <a:lnTo>
                    <a:pt x="90" y="566"/>
                  </a:lnTo>
                  <a:lnTo>
                    <a:pt x="93" y="547"/>
                  </a:lnTo>
                  <a:lnTo>
                    <a:pt x="98" y="529"/>
                  </a:lnTo>
                  <a:lnTo>
                    <a:pt x="104" y="510"/>
                  </a:lnTo>
                  <a:lnTo>
                    <a:pt x="112" y="494"/>
                  </a:lnTo>
                  <a:lnTo>
                    <a:pt x="121" y="478"/>
                  </a:lnTo>
                  <a:lnTo>
                    <a:pt x="132" y="463"/>
                  </a:lnTo>
                  <a:lnTo>
                    <a:pt x="145" y="450"/>
                  </a:lnTo>
                  <a:lnTo>
                    <a:pt x="158" y="437"/>
                  </a:lnTo>
                  <a:lnTo>
                    <a:pt x="173" y="427"/>
                  </a:lnTo>
                  <a:lnTo>
                    <a:pt x="189" y="417"/>
                  </a:lnTo>
                  <a:lnTo>
                    <a:pt x="205" y="409"/>
                  </a:lnTo>
                  <a:lnTo>
                    <a:pt x="223" y="403"/>
                  </a:lnTo>
                  <a:lnTo>
                    <a:pt x="242" y="399"/>
                  </a:lnTo>
                  <a:lnTo>
                    <a:pt x="261" y="395"/>
                  </a:lnTo>
                  <a:lnTo>
                    <a:pt x="280" y="394"/>
                  </a:lnTo>
                  <a:close/>
                  <a:moveTo>
                    <a:pt x="137" y="305"/>
                  </a:moveTo>
                  <a:lnTo>
                    <a:pt x="424" y="305"/>
                  </a:lnTo>
                  <a:lnTo>
                    <a:pt x="411" y="319"/>
                  </a:lnTo>
                  <a:lnTo>
                    <a:pt x="395" y="332"/>
                  </a:lnTo>
                  <a:lnTo>
                    <a:pt x="379" y="343"/>
                  </a:lnTo>
                  <a:lnTo>
                    <a:pt x="362" y="352"/>
                  </a:lnTo>
                  <a:lnTo>
                    <a:pt x="352" y="356"/>
                  </a:lnTo>
                  <a:lnTo>
                    <a:pt x="343" y="359"/>
                  </a:lnTo>
                  <a:lnTo>
                    <a:pt x="333" y="362"/>
                  </a:lnTo>
                  <a:lnTo>
                    <a:pt x="323" y="364"/>
                  </a:lnTo>
                  <a:lnTo>
                    <a:pt x="312" y="366"/>
                  </a:lnTo>
                  <a:lnTo>
                    <a:pt x="302" y="369"/>
                  </a:lnTo>
                  <a:lnTo>
                    <a:pt x="291" y="369"/>
                  </a:lnTo>
                  <a:lnTo>
                    <a:pt x="280" y="370"/>
                  </a:lnTo>
                  <a:lnTo>
                    <a:pt x="270" y="369"/>
                  </a:lnTo>
                  <a:lnTo>
                    <a:pt x="259" y="369"/>
                  </a:lnTo>
                  <a:lnTo>
                    <a:pt x="249" y="366"/>
                  </a:lnTo>
                  <a:lnTo>
                    <a:pt x="238" y="364"/>
                  </a:lnTo>
                  <a:lnTo>
                    <a:pt x="229" y="362"/>
                  </a:lnTo>
                  <a:lnTo>
                    <a:pt x="219" y="359"/>
                  </a:lnTo>
                  <a:lnTo>
                    <a:pt x="209" y="356"/>
                  </a:lnTo>
                  <a:lnTo>
                    <a:pt x="200" y="352"/>
                  </a:lnTo>
                  <a:lnTo>
                    <a:pt x="183" y="343"/>
                  </a:lnTo>
                  <a:lnTo>
                    <a:pt x="166" y="332"/>
                  </a:lnTo>
                  <a:lnTo>
                    <a:pt x="151" y="319"/>
                  </a:lnTo>
                  <a:lnTo>
                    <a:pt x="137" y="305"/>
                  </a:lnTo>
                  <a:close/>
                  <a:moveTo>
                    <a:pt x="89" y="25"/>
                  </a:moveTo>
                  <a:lnTo>
                    <a:pt x="471" y="25"/>
                  </a:lnTo>
                  <a:lnTo>
                    <a:pt x="471" y="178"/>
                  </a:lnTo>
                  <a:lnTo>
                    <a:pt x="471" y="192"/>
                  </a:lnTo>
                  <a:lnTo>
                    <a:pt x="469" y="206"/>
                  </a:lnTo>
                  <a:lnTo>
                    <a:pt x="467" y="219"/>
                  </a:lnTo>
                  <a:lnTo>
                    <a:pt x="464" y="232"/>
                  </a:lnTo>
                  <a:lnTo>
                    <a:pt x="460" y="245"/>
                  </a:lnTo>
                  <a:lnTo>
                    <a:pt x="455" y="257"/>
                  </a:lnTo>
                  <a:lnTo>
                    <a:pt x="450" y="269"/>
                  </a:lnTo>
                  <a:lnTo>
                    <a:pt x="443" y="280"/>
                  </a:lnTo>
                  <a:lnTo>
                    <a:pt x="118" y="280"/>
                  </a:lnTo>
                  <a:lnTo>
                    <a:pt x="112" y="269"/>
                  </a:lnTo>
                  <a:lnTo>
                    <a:pt x="106" y="257"/>
                  </a:lnTo>
                  <a:lnTo>
                    <a:pt x="101" y="245"/>
                  </a:lnTo>
                  <a:lnTo>
                    <a:pt x="97" y="232"/>
                  </a:lnTo>
                  <a:lnTo>
                    <a:pt x="93" y="219"/>
                  </a:lnTo>
                  <a:lnTo>
                    <a:pt x="91" y="206"/>
                  </a:lnTo>
                  <a:lnTo>
                    <a:pt x="90" y="192"/>
                  </a:lnTo>
                  <a:lnTo>
                    <a:pt x="89" y="178"/>
                  </a:lnTo>
                  <a:lnTo>
                    <a:pt x="89" y="25"/>
                  </a:lnTo>
                  <a:close/>
                  <a:moveTo>
                    <a:pt x="548" y="738"/>
                  </a:moveTo>
                  <a:lnTo>
                    <a:pt x="497" y="738"/>
                  </a:lnTo>
                  <a:lnTo>
                    <a:pt x="497" y="585"/>
                  </a:lnTo>
                  <a:lnTo>
                    <a:pt x="496" y="567"/>
                  </a:lnTo>
                  <a:lnTo>
                    <a:pt x="494" y="550"/>
                  </a:lnTo>
                  <a:lnTo>
                    <a:pt x="491" y="534"/>
                  </a:lnTo>
                  <a:lnTo>
                    <a:pt x="486" y="517"/>
                  </a:lnTo>
                  <a:lnTo>
                    <a:pt x="481" y="502"/>
                  </a:lnTo>
                  <a:lnTo>
                    <a:pt x="474" y="487"/>
                  </a:lnTo>
                  <a:lnTo>
                    <a:pt x="466" y="472"/>
                  </a:lnTo>
                  <a:lnTo>
                    <a:pt x="457" y="459"/>
                  </a:lnTo>
                  <a:lnTo>
                    <a:pt x="448" y="446"/>
                  </a:lnTo>
                  <a:lnTo>
                    <a:pt x="437" y="434"/>
                  </a:lnTo>
                  <a:lnTo>
                    <a:pt x="425" y="422"/>
                  </a:lnTo>
                  <a:lnTo>
                    <a:pt x="412" y="413"/>
                  </a:lnTo>
                  <a:lnTo>
                    <a:pt x="399" y="403"/>
                  </a:lnTo>
                  <a:lnTo>
                    <a:pt x="386" y="395"/>
                  </a:lnTo>
                  <a:lnTo>
                    <a:pt x="370" y="388"/>
                  </a:lnTo>
                  <a:lnTo>
                    <a:pt x="355" y="381"/>
                  </a:lnTo>
                  <a:lnTo>
                    <a:pt x="370" y="376"/>
                  </a:lnTo>
                  <a:lnTo>
                    <a:pt x="386" y="369"/>
                  </a:lnTo>
                  <a:lnTo>
                    <a:pt x="399" y="360"/>
                  </a:lnTo>
                  <a:lnTo>
                    <a:pt x="412" y="351"/>
                  </a:lnTo>
                  <a:lnTo>
                    <a:pt x="425" y="341"/>
                  </a:lnTo>
                  <a:lnTo>
                    <a:pt x="437" y="330"/>
                  </a:lnTo>
                  <a:lnTo>
                    <a:pt x="448" y="318"/>
                  </a:lnTo>
                  <a:lnTo>
                    <a:pt x="457" y="305"/>
                  </a:lnTo>
                  <a:lnTo>
                    <a:pt x="466" y="291"/>
                  </a:lnTo>
                  <a:lnTo>
                    <a:pt x="474" y="277"/>
                  </a:lnTo>
                  <a:lnTo>
                    <a:pt x="481" y="262"/>
                  </a:lnTo>
                  <a:lnTo>
                    <a:pt x="486" y="246"/>
                  </a:lnTo>
                  <a:lnTo>
                    <a:pt x="491" y="230"/>
                  </a:lnTo>
                  <a:lnTo>
                    <a:pt x="494" y="214"/>
                  </a:lnTo>
                  <a:lnTo>
                    <a:pt x="496" y="196"/>
                  </a:lnTo>
                  <a:lnTo>
                    <a:pt x="497" y="178"/>
                  </a:lnTo>
                  <a:lnTo>
                    <a:pt x="497" y="25"/>
                  </a:lnTo>
                  <a:lnTo>
                    <a:pt x="548" y="25"/>
                  </a:lnTo>
                  <a:lnTo>
                    <a:pt x="553" y="25"/>
                  </a:lnTo>
                  <a:lnTo>
                    <a:pt x="557" y="22"/>
                  </a:lnTo>
                  <a:lnTo>
                    <a:pt x="559" y="17"/>
                  </a:lnTo>
                  <a:lnTo>
                    <a:pt x="561" y="13"/>
                  </a:lnTo>
                  <a:lnTo>
                    <a:pt x="559" y="8"/>
                  </a:lnTo>
                  <a:lnTo>
                    <a:pt x="557" y="3"/>
                  </a:lnTo>
                  <a:lnTo>
                    <a:pt x="553" y="1"/>
                  </a:lnTo>
                  <a:lnTo>
                    <a:pt x="548" y="0"/>
                  </a:lnTo>
                  <a:lnTo>
                    <a:pt x="484" y="0"/>
                  </a:lnTo>
                  <a:lnTo>
                    <a:pt x="76" y="0"/>
                  </a:lnTo>
                  <a:lnTo>
                    <a:pt x="13" y="0"/>
                  </a:lnTo>
                  <a:lnTo>
                    <a:pt x="8" y="1"/>
                  </a:lnTo>
                  <a:lnTo>
                    <a:pt x="4" y="3"/>
                  </a:lnTo>
                  <a:lnTo>
                    <a:pt x="1" y="8"/>
                  </a:lnTo>
                  <a:lnTo>
                    <a:pt x="0" y="13"/>
                  </a:lnTo>
                  <a:lnTo>
                    <a:pt x="1" y="17"/>
                  </a:lnTo>
                  <a:lnTo>
                    <a:pt x="4" y="22"/>
                  </a:lnTo>
                  <a:lnTo>
                    <a:pt x="8" y="25"/>
                  </a:lnTo>
                  <a:lnTo>
                    <a:pt x="13" y="25"/>
                  </a:lnTo>
                  <a:lnTo>
                    <a:pt x="64" y="25"/>
                  </a:lnTo>
                  <a:lnTo>
                    <a:pt x="64" y="178"/>
                  </a:lnTo>
                  <a:lnTo>
                    <a:pt x="64" y="195"/>
                  </a:lnTo>
                  <a:lnTo>
                    <a:pt x="67" y="211"/>
                  </a:lnTo>
                  <a:lnTo>
                    <a:pt x="69" y="227"/>
                  </a:lnTo>
                  <a:lnTo>
                    <a:pt x="73" y="242"/>
                  </a:lnTo>
                  <a:lnTo>
                    <a:pt x="78" y="257"/>
                  </a:lnTo>
                  <a:lnTo>
                    <a:pt x="84" y="271"/>
                  </a:lnTo>
                  <a:lnTo>
                    <a:pt x="91" y="285"/>
                  </a:lnTo>
                  <a:lnTo>
                    <a:pt x="99" y="298"/>
                  </a:lnTo>
                  <a:lnTo>
                    <a:pt x="100" y="301"/>
                  </a:lnTo>
                  <a:lnTo>
                    <a:pt x="102" y="303"/>
                  </a:lnTo>
                  <a:lnTo>
                    <a:pt x="112" y="316"/>
                  </a:lnTo>
                  <a:lnTo>
                    <a:pt x="122" y="328"/>
                  </a:lnTo>
                  <a:lnTo>
                    <a:pt x="135" y="340"/>
                  </a:lnTo>
                  <a:lnTo>
                    <a:pt x="147" y="350"/>
                  </a:lnTo>
                  <a:lnTo>
                    <a:pt x="161" y="360"/>
                  </a:lnTo>
                  <a:lnTo>
                    <a:pt x="176" y="369"/>
                  </a:lnTo>
                  <a:lnTo>
                    <a:pt x="191" y="376"/>
                  </a:lnTo>
                  <a:lnTo>
                    <a:pt x="206" y="381"/>
                  </a:lnTo>
                  <a:lnTo>
                    <a:pt x="191" y="388"/>
                  </a:lnTo>
                  <a:lnTo>
                    <a:pt x="176" y="395"/>
                  </a:lnTo>
                  <a:lnTo>
                    <a:pt x="162" y="404"/>
                  </a:lnTo>
                  <a:lnTo>
                    <a:pt x="149" y="414"/>
                  </a:lnTo>
                  <a:lnTo>
                    <a:pt x="136" y="423"/>
                  </a:lnTo>
                  <a:lnTo>
                    <a:pt x="125" y="435"/>
                  </a:lnTo>
                  <a:lnTo>
                    <a:pt x="114" y="447"/>
                  </a:lnTo>
                  <a:lnTo>
                    <a:pt x="104" y="460"/>
                  </a:lnTo>
                  <a:lnTo>
                    <a:pt x="95" y="474"/>
                  </a:lnTo>
                  <a:lnTo>
                    <a:pt x="87" y="488"/>
                  </a:lnTo>
                  <a:lnTo>
                    <a:pt x="81" y="503"/>
                  </a:lnTo>
                  <a:lnTo>
                    <a:pt x="74" y="518"/>
                  </a:lnTo>
                  <a:lnTo>
                    <a:pt x="70" y="534"/>
                  </a:lnTo>
                  <a:lnTo>
                    <a:pt x="67" y="551"/>
                  </a:lnTo>
                  <a:lnTo>
                    <a:pt x="64" y="568"/>
                  </a:lnTo>
                  <a:lnTo>
                    <a:pt x="64" y="585"/>
                  </a:lnTo>
                  <a:lnTo>
                    <a:pt x="64" y="738"/>
                  </a:lnTo>
                  <a:lnTo>
                    <a:pt x="13" y="738"/>
                  </a:lnTo>
                  <a:lnTo>
                    <a:pt x="8" y="739"/>
                  </a:lnTo>
                  <a:lnTo>
                    <a:pt x="4" y="742"/>
                  </a:lnTo>
                  <a:lnTo>
                    <a:pt x="1" y="747"/>
                  </a:lnTo>
                  <a:lnTo>
                    <a:pt x="0" y="751"/>
                  </a:lnTo>
                  <a:lnTo>
                    <a:pt x="1" y="756"/>
                  </a:lnTo>
                  <a:lnTo>
                    <a:pt x="4" y="760"/>
                  </a:lnTo>
                  <a:lnTo>
                    <a:pt x="8" y="763"/>
                  </a:lnTo>
                  <a:lnTo>
                    <a:pt x="13" y="764"/>
                  </a:lnTo>
                  <a:lnTo>
                    <a:pt x="76" y="764"/>
                  </a:lnTo>
                  <a:lnTo>
                    <a:pt x="484" y="764"/>
                  </a:lnTo>
                  <a:lnTo>
                    <a:pt x="548" y="764"/>
                  </a:lnTo>
                  <a:lnTo>
                    <a:pt x="553" y="763"/>
                  </a:lnTo>
                  <a:lnTo>
                    <a:pt x="557" y="760"/>
                  </a:lnTo>
                  <a:lnTo>
                    <a:pt x="559" y="756"/>
                  </a:lnTo>
                  <a:lnTo>
                    <a:pt x="561" y="751"/>
                  </a:lnTo>
                  <a:lnTo>
                    <a:pt x="559" y="747"/>
                  </a:lnTo>
                  <a:lnTo>
                    <a:pt x="557" y="742"/>
                  </a:lnTo>
                  <a:lnTo>
                    <a:pt x="553" y="739"/>
                  </a:lnTo>
                  <a:lnTo>
                    <a:pt x="548" y="738"/>
                  </a:lnTo>
                  <a:close/>
                </a:path>
              </a:pathLst>
            </a:custGeom>
            <a:solidFill>
              <a:srgbClr val="3B3939"/>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189" name="Group 188"/>
            <p:cNvGrpSpPr/>
            <p:nvPr/>
          </p:nvGrpSpPr>
          <p:grpSpPr>
            <a:xfrm>
              <a:off x="3448438" y="5681852"/>
              <a:ext cx="285750" cy="287338"/>
              <a:chOff x="10455275" y="2498725"/>
              <a:chExt cx="285750" cy="287338"/>
            </a:xfrm>
            <a:solidFill>
              <a:srgbClr val="E2583D"/>
            </a:solidFill>
          </p:grpSpPr>
          <p:sp>
            <p:nvSpPr>
              <p:cNvPr id="190" name="Freeform 214"/>
              <p:cNvSpPr>
                <a:spLocks noEditPoints="1"/>
              </p:cNvSpPr>
              <p:nvPr/>
            </p:nvSpPr>
            <p:spPr bwMode="auto">
              <a:xfrm>
                <a:off x="10455275" y="2593975"/>
                <a:ext cx="285750" cy="192088"/>
              </a:xfrm>
              <a:custGeom>
                <a:avLst/>
                <a:gdLst>
                  <a:gd name="T0" fmla="*/ 812 w 903"/>
                  <a:gd name="T1" fmla="*/ 30 h 601"/>
                  <a:gd name="T2" fmla="*/ 512 w 903"/>
                  <a:gd name="T3" fmla="*/ 571 h 601"/>
                  <a:gd name="T4" fmla="*/ 602 w 903"/>
                  <a:gd name="T5" fmla="*/ 571 h 601"/>
                  <a:gd name="T6" fmla="*/ 301 w 903"/>
                  <a:gd name="T7" fmla="*/ 210 h 601"/>
                  <a:gd name="T8" fmla="*/ 301 w 903"/>
                  <a:gd name="T9" fmla="*/ 571 h 601"/>
                  <a:gd name="T10" fmla="*/ 181 w 903"/>
                  <a:gd name="T11" fmla="*/ 421 h 601"/>
                  <a:gd name="T12" fmla="*/ 888 w 903"/>
                  <a:gd name="T13" fmla="*/ 571 h 601"/>
                  <a:gd name="T14" fmla="*/ 842 w 903"/>
                  <a:gd name="T15" fmla="*/ 12 h 601"/>
                  <a:gd name="T16" fmla="*/ 838 w 903"/>
                  <a:gd name="T17" fmla="*/ 5 h 601"/>
                  <a:gd name="T18" fmla="*/ 830 w 903"/>
                  <a:gd name="T19" fmla="*/ 0 h 601"/>
                  <a:gd name="T20" fmla="*/ 704 w 903"/>
                  <a:gd name="T21" fmla="*/ 0 h 601"/>
                  <a:gd name="T22" fmla="*/ 696 w 903"/>
                  <a:gd name="T23" fmla="*/ 5 h 601"/>
                  <a:gd name="T24" fmla="*/ 692 w 903"/>
                  <a:gd name="T25" fmla="*/ 12 h 601"/>
                  <a:gd name="T26" fmla="*/ 632 w 903"/>
                  <a:gd name="T27" fmla="*/ 571 h 601"/>
                  <a:gd name="T28" fmla="*/ 631 w 903"/>
                  <a:gd name="T29" fmla="*/ 280 h 601"/>
                  <a:gd name="T30" fmla="*/ 626 w 903"/>
                  <a:gd name="T31" fmla="*/ 274 h 601"/>
                  <a:gd name="T32" fmla="*/ 617 w 903"/>
                  <a:gd name="T33" fmla="*/ 270 h 601"/>
                  <a:gd name="T34" fmla="*/ 491 w 903"/>
                  <a:gd name="T35" fmla="*/ 271 h 601"/>
                  <a:gd name="T36" fmla="*/ 484 w 903"/>
                  <a:gd name="T37" fmla="*/ 278 h 601"/>
                  <a:gd name="T38" fmla="*/ 482 w 903"/>
                  <a:gd name="T39" fmla="*/ 285 h 601"/>
                  <a:gd name="T40" fmla="*/ 421 w 903"/>
                  <a:gd name="T41" fmla="*/ 195 h 601"/>
                  <a:gd name="T42" fmla="*/ 419 w 903"/>
                  <a:gd name="T43" fmla="*/ 187 h 601"/>
                  <a:gd name="T44" fmla="*/ 412 w 903"/>
                  <a:gd name="T45" fmla="*/ 181 h 601"/>
                  <a:gd name="T46" fmla="*/ 286 w 903"/>
                  <a:gd name="T47" fmla="*/ 180 h 601"/>
                  <a:gd name="T48" fmla="*/ 277 w 903"/>
                  <a:gd name="T49" fmla="*/ 184 h 601"/>
                  <a:gd name="T50" fmla="*/ 272 w 903"/>
                  <a:gd name="T51" fmla="*/ 190 h 601"/>
                  <a:gd name="T52" fmla="*/ 271 w 903"/>
                  <a:gd name="T53" fmla="*/ 571 h 601"/>
                  <a:gd name="T54" fmla="*/ 211 w 903"/>
                  <a:gd name="T55" fmla="*/ 403 h 601"/>
                  <a:gd name="T56" fmla="*/ 207 w 903"/>
                  <a:gd name="T57" fmla="*/ 396 h 601"/>
                  <a:gd name="T58" fmla="*/ 199 w 903"/>
                  <a:gd name="T59" fmla="*/ 391 h 601"/>
                  <a:gd name="T60" fmla="*/ 73 w 903"/>
                  <a:gd name="T61" fmla="*/ 391 h 601"/>
                  <a:gd name="T62" fmla="*/ 65 w 903"/>
                  <a:gd name="T63" fmla="*/ 396 h 601"/>
                  <a:gd name="T64" fmla="*/ 61 w 903"/>
                  <a:gd name="T65" fmla="*/ 403 h 601"/>
                  <a:gd name="T66" fmla="*/ 16 w 903"/>
                  <a:gd name="T67" fmla="*/ 571 h 601"/>
                  <a:gd name="T68" fmla="*/ 7 w 903"/>
                  <a:gd name="T69" fmla="*/ 573 h 601"/>
                  <a:gd name="T70" fmla="*/ 2 w 903"/>
                  <a:gd name="T71" fmla="*/ 581 h 601"/>
                  <a:gd name="T72" fmla="*/ 1 w 903"/>
                  <a:gd name="T73" fmla="*/ 590 h 601"/>
                  <a:gd name="T74" fmla="*/ 5 w 903"/>
                  <a:gd name="T75" fmla="*/ 597 h 601"/>
                  <a:gd name="T76" fmla="*/ 13 w 903"/>
                  <a:gd name="T77" fmla="*/ 601 h 601"/>
                  <a:gd name="T78" fmla="*/ 196 w 903"/>
                  <a:gd name="T79" fmla="*/ 601 h 601"/>
                  <a:gd name="T80" fmla="*/ 497 w 903"/>
                  <a:gd name="T81" fmla="*/ 601 h 601"/>
                  <a:gd name="T82" fmla="*/ 827 w 903"/>
                  <a:gd name="T83" fmla="*/ 601 h 601"/>
                  <a:gd name="T84" fmla="*/ 893 w 903"/>
                  <a:gd name="T85" fmla="*/ 600 h 601"/>
                  <a:gd name="T86" fmla="*/ 900 w 903"/>
                  <a:gd name="T87" fmla="*/ 595 h 601"/>
                  <a:gd name="T88" fmla="*/ 903 w 903"/>
                  <a:gd name="T89" fmla="*/ 586 h 601"/>
                  <a:gd name="T90" fmla="*/ 900 w 903"/>
                  <a:gd name="T91" fmla="*/ 578 h 601"/>
                  <a:gd name="T92" fmla="*/ 893 w 903"/>
                  <a:gd name="T93" fmla="*/ 572 h 6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903" h="601">
                    <a:moveTo>
                      <a:pt x="722" y="571"/>
                    </a:moveTo>
                    <a:lnTo>
                      <a:pt x="722" y="30"/>
                    </a:lnTo>
                    <a:lnTo>
                      <a:pt x="812" y="30"/>
                    </a:lnTo>
                    <a:lnTo>
                      <a:pt x="812" y="571"/>
                    </a:lnTo>
                    <a:lnTo>
                      <a:pt x="722" y="571"/>
                    </a:lnTo>
                    <a:close/>
                    <a:moveTo>
                      <a:pt x="512" y="571"/>
                    </a:moveTo>
                    <a:lnTo>
                      <a:pt x="512" y="300"/>
                    </a:lnTo>
                    <a:lnTo>
                      <a:pt x="602" y="300"/>
                    </a:lnTo>
                    <a:lnTo>
                      <a:pt x="602" y="571"/>
                    </a:lnTo>
                    <a:lnTo>
                      <a:pt x="512" y="571"/>
                    </a:lnTo>
                    <a:close/>
                    <a:moveTo>
                      <a:pt x="301" y="571"/>
                    </a:moveTo>
                    <a:lnTo>
                      <a:pt x="301" y="210"/>
                    </a:lnTo>
                    <a:lnTo>
                      <a:pt x="391" y="210"/>
                    </a:lnTo>
                    <a:lnTo>
                      <a:pt x="391" y="571"/>
                    </a:lnTo>
                    <a:lnTo>
                      <a:pt x="301" y="571"/>
                    </a:lnTo>
                    <a:close/>
                    <a:moveTo>
                      <a:pt x="91" y="571"/>
                    </a:moveTo>
                    <a:lnTo>
                      <a:pt x="91" y="421"/>
                    </a:lnTo>
                    <a:lnTo>
                      <a:pt x="181" y="421"/>
                    </a:lnTo>
                    <a:lnTo>
                      <a:pt x="181" y="571"/>
                    </a:lnTo>
                    <a:lnTo>
                      <a:pt x="91" y="571"/>
                    </a:lnTo>
                    <a:close/>
                    <a:moveTo>
                      <a:pt x="888" y="571"/>
                    </a:moveTo>
                    <a:lnTo>
                      <a:pt x="842" y="571"/>
                    </a:lnTo>
                    <a:lnTo>
                      <a:pt x="842" y="15"/>
                    </a:lnTo>
                    <a:lnTo>
                      <a:pt x="842" y="12"/>
                    </a:lnTo>
                    <a:lnTo>
                      <a:pt x="841" y="9"/>
                    </a:lnTo>
                    <a:lnTo>
                      <a:pt x="840" y="7"/>
                    </a:lnTo>
                    <a:lnTo>
                      <a:pt x="838" y="5"/>
                    </a:lnTo>
                    <a:lnTo>
                      <a:pt x="836" y="3"/>
                    </a:lnTo>
                    <a:lnTo>
                      <a:pt x="833" y="1"/>
                    </a:lnTo>
                    <a:lnTo>
                      <a:pt x="830" y="0"/>
                    </a:lnTo>
                    <a:lnTo>
                      <a:pt x="827" y="0"/>
                    </a:lnTo>
                    <a:lnTo>
                      <a:pt x="707" y="0"/>
                    </a:lnTo>
                    <a:lnTo>
                      <a:pt x="704" y="0"/>
                    </a:lnTo>
                    <a:lnTo>
                      <a:pt x="702" y="1"/>
                    </a:lnTo>
                    <a:lnTo>
                      <a:pt x="698" y="3"/>
                    </a:lnTo>
                    <a:lnTo>
                      <a:pt x="696" y="5"/>
                    </a:lnTo>
                    <a:lnTo>
                      <a:pt x="694" y="7"/>
                    </a:lnTo>
                    <a:lnTo>
                      <a:pt x="693" y="9"/>
                    </a:lnTo>
                    <a:lnTo>
                      <a:pt x="692" y="12"/>
                    </a:lnTo>
                    <a:lnTo>
                      <a:pt x="692" y="15"/>
                    </a:lnTo>
                    <a:lnTo>
                      <a:pt x="692" y="571"/>
                    </a:lnTo>
                    <a:lnTo>
                      <a:pt x="632" y="571"/>
                    </a:lnTo>
                    <a:lnTo>
                      <a:pt x="632" y="285"/>
                    </a:lnTo>
                    <a:lnTo>
                      <a:pt x="632" y="283"/>
                    </a:lnTo>
                    <a:lnTo>
                      <a:pt x="631" y="280"/>
                    </a:lnTo>
                    <a:lnTo>
                      <a:pt x="630" y="278"/>
                    </a:lnTo>
                    <a:lnTo>
                      <a:pt x="628" y="275"/>
                    </a:lnTo>
                    <a:lnTo>
                      <a:pt x="626" y="274"/>
                    </a:lnTo>
                    <a:lnTo>
                      <a:pt x="622" y="271"/>
                    </a:lnTo>
                    <a:lnTo>
                      <a:pt x="620" y="271"/>
                    </a:lnTo>
                    <a:lnTo>
                      <a:pt x="617" y="270"/>
                    </a:lnTo>
                    <a:lnTo>
                      <a:pt x="497" y="270"/>
                    </a:lnTo>
                    <a:lnTo>
                      <a:pt x="494" y="271"/>
                    </a:lnTo>
                    <a:lnTo>
                      <a:pt x="491" y="271"/>
                    </a:lnTo>
                    <a:lnTo>
                      <a:pt x="488" y="274"/>
                    </a:lnTo>
                    <a:lnTo>
                      <a:pt x="486" y="275"/>
                    </a:lnTo>
                    <a:lnTo>
                      <a:pt x="484" y="278"/>
                    </a:lnTo>
                    <a:lnTo>
                      <a:pt x="483" y="280"/>
                    </a:lnTo>
                    <a:lnTo>
                      <a:pt x="482" y="283"/>
                    </a:lnTo>
                    <a:lnTo>
                      <a:pt x="482" y="285"/>
                    </a:lnTo>
                    <a:lnTo>
                      <a:pt x="482" y="571"/>
                    </a:lnTo>
                    <a:lnTo>
                      <a:pt x="421" y="571"/>
                    </a:lnTo>
                    <a:lnTo>
                      <a:pt x="421" y="195"/>
                    </a:lnTo>
                    <a:lnTo>
                      <a:pt x="421" y="192"/>
                    </a:lnTo>
                    <a:lnTo>
                      <a:pt x="420" y="190"/>
                    </a:lnTo>
                    <a:lnTo>
                      <a:pt x="419" y="187"/>
                    </a:lnTo>
                    <a:lnTo>
                      <a:pt x="417" y="185"/>
                    </a:lnTo>
                    <a:lnTo>
                      <a:pt x="415" y="184"/>
                    </a:lnTo>
                    <a:lnTo>
                      <a:pt x="412" y="181"/>
                    </a:lnTo>
                    <a:lnTo>
                      <a:pt x="409" y="180"/>
                    </a:lnTo>
                    <a:lnTo>
                      <a:pt x="406" y="180"/>
                    </a:lnTo>
                    <a:lnTo>
                      <a:pt x="286" y="180"/>
                    </a:lnTo>
                    <a:lnTo>
                      <a:pt x="283" y="180"/>
                    </a:lnTo>
                    <a:lnTo>
                      <a:pt x="281" y="181"/>
                    </a:lnTo>
                    <a:lnTo>
                      <a:pt x="277" y="184"/>
                    </a:lnTo>
                    <a:lnTo>
                      <a:pt x="275" y="185"/>
                    </a:lnTo>
                    <a:lnTo>
                      <a:pt x="274" y="187"/>
                    </a:lnTo>
                    <a:lnTo>
                      <a:pt x="272" y="190"/>
                    </a:lnTo>
                    <a:lnTo>
                      <a:pt x="271" y="192"/>
                    </a:lnTo>
                    <a:lnTo>
                      <a:pt x="271" y="195"/>
                    </a:lnTo>
                    <a:lnTo>
                      <a:pt x="271" y="571"/>
                    </a:lnTo>
                    <a:lnTo>
                      <a:pt x="211" y="571"/>
                    </a:lnTo>
                    <a:lnTo>
                      <a:pt x="211" y="406"/>
                    </a:lnTo>
                    <a:lnTo>
                      <a:pt x="211" y="403"/>
                    </a:lnTo>
                    <a:lnTo>
                      <a:pt x="210" y="400"/>
                    </a:lnTo>
                    <a:lnTo>
                      <a:pt x="209" y="398"/>
                    </a:lnTo>
                    <a:lnTo>
                      <a:pt x="207" y="396"/>
                    </a:lnTo>
                    <a:lnTo>
                      <a:pt x="205" y="394"/>
                    </a:lnTo>
                    <a:lnTo>
                      <a:pt x="201" y="392"/>
                    </a:lnTo>
                    <a:lnTo>
                      <a:pt x="199" y="391"/>
                    </a:lnTo>
                    <a:lnTo>
                      <a:pt x="196" y="391"/>
                    </a:lnTo>
                    <a:lnTo>
                      <a:pt x="76" y="391"/>
                    </a:lnTo>
                    <a:lnTo>
                      <a:pt x="73" y="391"/>
                    </a:lnTo>
                    <a:lnTo>
                      <a:pt x="70" y="392"/>
                    </a:lnTo>
                    <a:lnTo>
                      <a:pt x="67" y="394"/>
                    </a:lnTo>
                    <a:lnTo>
                      <a:pt x="65" y="396"/>
                    </a:lnTo>
                    <a:lnTo>
                      <a:pt x="63" y="398"/>
                    </a:lnTo>
                    <a:lnTo>
                      <a:pt x="62" y="400"/>
                    </a:lnTo>
                    <a:lnTo>
                      <a:pt x="61" y="403"/>
                    </a:lnTo>
                    <a:lnTo>
                      <a:pt x="61" y="406"/>
                    </a:lnTo>
                    <a:lnTo>
                      <a:pt x="61" y="571"/>
                    </a:lnTo>
                    <a:lnTo>
                      <a:pt x="16" y="571"/>
                    </a:lnTo>
                    <a:lnTo>
                      <a:pt x="13" y="571"/>
                    </a:lnTo>
                    <a:lnTo>
                      <a:pt x="10" y="572"/>
                    </a:lnTo>
                    <a:lnTo>
                      <a:pt x="7" y="573"/>
                    </a:lnTo>
                    <a:lnTo>
                      <a:pt x="5" y="576"/>
                    </a:lnTo>
                    <a:lnTo>
                      <a:pt x="3" y="578"/>
                    </a:lnTo>
                    <a:lnTo>
                      <a:pt x="2" y="581"/>
                    </a:lnTo>
                    <a:lnTo>
                      <a:pt x="1" y="583"/>
                    </a:lnTo>
                    <a:lnTo>
                      <a:pt x="0" y="586"/>
                    </a:lnTo>
                    <a:lnTo>
                      <a:pt x="1" y="590"/>
                    </a:lnTo>
                    <a:lnTo>
                      <a:pt x="2" y="593"/>
                    </a:lnTo>
                    <a:lnTo>
                      <a:pt x="3" y="595"/>
                    </a:lnTo>
                    <a:lnTo>
                      <a:pt x="5" y="597"/>
                    </a:lnTo>
                    <a:lnTo>
                      <a:pt x="7" y="599"/>
                    </a:lnTo>
                    <a:lnTo>
                      <a:pt x="10" y="600"/>
                    </a:lnTo>
                    <a:lnTo>
                      <a:pt x="13" y="601"/>
                    </a:lnTo>
                    <a:lnTo>
                      <a:pt x="16" y="601"/>
                    </a:lnTo>
                    <a:lnTo>
                      <a:pt x="76" y="601"/>
                    </a:lnTo>
                    <a:lnTo>
                      <a:pt x="196" y="601"/>
                    </a:lnTo>
                    <a:lnTo>
                      <a:pt x="286" y="601"/>
                    </a:lnTo>
                    <a:lnTo>
                      <a:pt x="406" y="601"/>
                    </a:lnTo>
                    <a:lnTo>
                      <a:pt x="497" y="601"/>
                    </a:lnTo>
                    <a:lnTo>
                      <a:pt x="617" y="601"/>
                    </a:lnTo>
                    <a:lnTo>
                      <a:pt x="707" y="601"/>
                    </a:lnTo>
                    <a:lnTo>
                      <a:pt x="827" y="601"/>
                    </a:lnTo>
                    <a:lnTo>
                      <a:pt x="888" y="601"/>
                    </a:lnTo>
                    <a:lnTo>
                      <a:pt x="890" y="601"/>
                    </a:lnTo>
                    <a:lnTo>
                      <a:pt x="893" y="600"/>
                    </a:lnTo>
                    <a:lnTo>
                      <a:pt x="896" y="599"/>
                    </a:lnTo>
                    <a:lnTo>
                      <a:pt x="898" y="597"/>
                    </a:lnTo>
                    <a:lnTo>
                      <a:pt x="900" y="595"/>
                    </a:lnTo>
                    <a:lnTo>
                      <a:pt x="901" y="593"/>
                    </a:lnTo>
                    <a:lnTo>
                      <a:pt x="902" y="590"/>
                    </a:lnTo>
                    <a:lnTo>
                      <a:pt x="903" y="586"/>
                    </a:lnTo>
                    <a:lnTo>
                      <a:pt x="902" y="583"/>
                    </a:lnTo>
                    <a:lnTo>
                      <a:pt x="901" y="581"/>
                    </a:lnTo>
                    <a:lnTo>
                      <a:pt x="900" y="578"/>
                    </a:lnTo>
                    <a:lnTo>
                      <a:pt x="898" y="576"/>
                    </a:lnTo>
                    <a:lnTo>
                      <a:pt x="896" y="573"/>
                    </a:lnTo>
                    <a:lnTo>
                      <a:pt x="893" y="572"/>
                    </a:lnTo>
                    <a:lnTo>
                      <a:pt x="890" y="571"/>
                    </a:lnTo>
                    <a:lnTo>
                      <a:pt x="888" y="5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215"/>
              <p:cNvSpPr>
                <a:spLocks noEditPoints="1"/>
              </p:cNvSpPr>
              <p:nvPr/>
            </p:nvSpPr>
            <p:spPr bwMode="auto">
              <a:xfrm>
                <a:off x="10474325" y="2498725"/>
                <a:ext cx="252413" cy="157163"/>
              </a:xfrm>
              <a:custGeom>
                <a:avLst/>
                <a:gdLst>
                  <a:gd name="T0" fmla="*/ 83 w 796"/>
                  <a:gd name="T1" fmla="*/ 417 h 496"/>
                  <a:gd name="T2" fmla="*/ 89 w 796"/>
                  <a:gd name="T3" fmla="*/ 431 h 496"/>
                  <a:gd name="T4" fmla="*/ 76 w 796"/>
                  <a:gd name="T5" fmla="*/ 461 h 496"/>
                  <a:gd name="T6" fmla="*/ 43 w 796"/>
                  <a:gd name="T7" fmla="*/ 461 h 496"/>
                  <a:gd name="T8" fmla="*/ 30 w 796"/>
                  <a:gd name="T9" fmla="*/ 430 h 496"/>
                  <a:gd name="T10" fmla="*/ 54 w 796"/>
                  <a:gd name="T11" fmla="*/ 407 h 496"/>
                  <a:gd name="T12" fmla="*/ 302 w 796"/>
                  <a:gd name="T13" fmla="*/ 216 h 496"/>
                  <a:gd name="T14" fmla="*/ 315 w 796"/>
                  <a:gd name="T15" fmla="*/ 247 h 496"/>
                  <a:gd name="T16" fmla="*/ 291 w 796"/>
                  <a:gd name="T17" fmla="*/ 270 h 496"/>
                  <a:gd name="T18" fmla="*/ 260 w 796"/>
                  <a:gd name="T19" fmla="*/ 257 h 496"/>
                  <a:gd name="T20" fmla="*/ 260 w 796"/>
                  <a:gd name="T21" fmla="*/ 224 h 496"/>
                  <a:gd name="T22" fmla="*/ 511 w 796"/>
                  <a:gd name="T23" fmla="*/ 301 h 496"/>
                  <a:gd name="T24" fmla="*/ 530 w 796"/>
                  <a:gd name="T25" fmla="*/ 308 h 496"/>
                  <a:gd name="T26" fmla="*/ 541 w 796"/>
                  <a:gd name="T27" fmla="*/ 331 h 496"/>
                  <a:gd name="T28" fmla="*/ 523 w 796"/>
                  <a:gd name="T29" fmla="*/ 359 h 496"/>
                  <a:gd name="T30" fmla="*/ 490 w 796"/>
                  <a:gd name="T31" fmla="*/ 353 h 496"/>
                  <a:gd name="T32" fmla="*/ 483 w 796"/>
                  <a:gd name="T33" fmla="*/ 320 h 496"/>
                  <a:gd name="T34" fmla="*/ 511 w 796"/>
                  <a:gd name="T35" fmla="*/ 301 h 496"/>
                  <a:gd name="T36" fmla="*/ 757 w 796"/>
                  <a:gd name="T37" fmla="*/ 39 h 496"/>
                  <a:gd name="T38" fmla="*/ 764 w 796"/>
                  <a:gd name="T39" fmla="*/ 72 h 496"/>
                  <a:gd name="T40" fmla="*/ 736 w 796"/>
                  <a:gd name="T41" fmla="*/ 90 h 496"/>
                  <a:gd name="T42" fmla="*/ 708 w 796"/>
                  <a:gd name="T43" fmla="*/ 72 h 496"/>
                  <a:gd name="T44" fmla="*/ 716 w 796"/>
                  <a:gd name="T45" fmla="*/ 39 h 496"/>
                  <a:gd name="T46" fmla="*/ 60 w 796"/>
                  <a:gd name="T47" fmla="*/ 496 h 496"/>
                  <a:gd name="T48" fmla="*/ 93 w 796"/>
                  <a:gd name="T49" fmla="*/ 487 h 496"/>
                  <a:gd name="T50" fmla="*/ 115 w 796"/>
                  <a:gd name="T51" fmla="*/ 460 h 496"/>
                  <a:gd name="T52" fmla="*/ 118 w 796"/>
                  <a:gd name="T53" fmla="*/ 422 h 496"/>
                  <a:gd name="T54" fmla="*/ 276 w 796"/>
                  <a:gd name="T55" fmla="*/ 300 h 496"/>
                  <a:gd name="T56" fmla="*/ 318 w 796"/>
                  <a:gd name="T57" fmla="*/ 291 h 496"/>
                  <a:gd name="T58" fmla="*/ 451 w 796"/>
                  <a:gd name="T59" fmla="*/ 331 h 496"/>
                  <a:gd name="T60" fmla="*/ 461 w 796"/>
                  <a:gd name="T61" fmla="*/ 365 h 496"/>
                  <a:gd name="T62" fmla="*/ 487 w 796"/>
                  <a:gd name="T63" fmla="*/ 387 h 496"/>
                  <a:gd name="T64" fmla="*/ 523 w 796"/>
                  <a:gd name="T65" fmla="*/ 390 h 496"/>
                  <a:gd name="T66" fmla="*/ 554 w 796"/>
                  <a:gd name="T67" fmla="*/ 373 h 496"/>
                  <a:gd name="T68" fmla="*/ 570 w 796"/>
                  <a:gd name="T69" fmla="*/ 343 h 496"/>
                  <a:gd name="T70" fmla="*/ 559 w 796"/>
                  <a:gd name="T71" fmla="*/ 296 h 496"/>
                  <a:gd name="T72" fmla="*/ 742 w 796"/>
                  <a:gd name="T73" fmla="*/ 120 h 496"/>
                  <a:gd name="T74" fmla="*/ 775 w 796"/>
                  <a:gd name="T75" fmla="*/ 106 h 496"/>
                  <a:gd name="T76" fmla="*/ 794 w 796"/>
                  <a:gd name="T77" fmla="*/ 79 h 496"/>
                  <a:gd name="T78" fmla="*/ 794 w 796"/>
                  <a:gd name="T79" fmla="*/ 43 h 496"/>
                  <a:gd name="T80" fmla="*/ 775 w 796"/>
                  <a:gd name="T81" fmla="*/ 14 h 496"/>
                  <a:gd name="T82" fmla="*/ 742 w 796"/>
                  <a:gd name="T83" fmla="*/ 0 h 496"/>
                  <a:gd name="T84" fmla="*/ 708 w 796"/>
                  <a:gd name="T85" fmla="*/ 8 h 496"/>
                  <a:gd name="T86" fmla="*/ 683 w 796"/>
                  <a:gd name="T87" fmla="*/ 31 h 496"/>
                  <a:gd name="T88" fmla="*/ 677 w 796"/>
                  <a:gd name="T89" fmla="*/ 70 h 496"/>
                  <a:gd name="T90" fmla="*/ 524 w 796"/>
                  <a:gd name="T91" fmla="*/ 272 h 496"/>
                  <a:gd name="T92" fmla="*/ 483 w 796"/>
                  <a:gd name="T93" fmla="*/ 278 h 496"/>
                  <a:gd name="T94" fmla="*/ 345 w 796"/>
                  <a:gd name="T95" fmla="*/ 245 h 496"/>
                  <a:gd name="T96" fmla="*/ 339 w 796"/>
                  <a:gd name="T97" fmla="*/ 212 h 496"/>
                  <a:gd name="T98" fmla="*/ 314 w 796"/>
                  <a:gd name="T99" fmla="*/ 188 h 496"/>
                  <a:gd name="T100" fmla="*/ 280 w 796"/>
                  <a:gd name="T101" fmla="*/ 181 h 496"/>
                  <a:gd name="T102" fmla="*/ 247 w 796"/>
                  <a:gd name="T103" fmla="*/ 194 h 496"/>
                  <a:gd name="T104" fmla="*/ 228 w 796"/>
                  <a:gd name="T105" fmla="*/ 223 h 496"/>
                  <a:gd name="T106" fmla="*/ 229 w 796"/>
                  <a:gd name="T107" fmla="*/ 262 h 496"/>
                  <a:gd name="T108" fmla="*/ 60 w 796"/>
                  <a:gd name="T109" fmla="*/ 376 h 496"/>
                  <a:gd name="T110" fmla="*/ 26 w 796"/>
                  <a:gd name="T111" fmla="*/ 387 h 496"/>
                  <a:gd name="T112" fmla="*/ 4 w 796"/>
                  <a:gd name="T113" fmla="*/ 413 h 496"/>
                  <a:gd name="T114" fmla="*/ 1 w 796"/>
                  <a:gd name="T115" fmla="*/ 448 h 496"/>
                  <a:gd name="T116" fmla="*/ 17 w 796"/>
                  <a:gd name="T117" fmla="*/ 479 h 496"/>
                  <a:gd name="T118" fmla="*/ 47 w 796"/>
                  <a:gd name="T119" fmla="*/ 495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96" h="496">
                    <a:moveTo>
                      <a:pt x="60" y="406"/>
                    </a:moveTo>
                    <a:lnTo>
                      <a:pt x="66" y="407"/>
                    </a:lnTo>
                    <a:lnTo>
                      <a:pt x="73" y="410"/>
                    </a:lnTo>
                    <a:lnTo>
                      <a:pt x="78" y="413"/>
                    </a:lnTo>
                    <a:lnTo>
                      <a:pt x="83" y="417"/>
                    </a:lnTo>
                    <a:lnTo>
                      <a:pt x="83" y="417"/>
                    </a:lnTo>
                    <a:lnTo>
                      <a:pt x="83" y="417"/>
                    </a:lnTo>
                    <a:lnTo>
                      <a:pt x="83" y="417"/>
                    </a:lnTo>
                    <a:lnTo>
                      <a:pt x="83" y="417"/>
                    </a:lnTo>
                    <a:lnTo>
                      <a:pt x="86" y="421"/>
                    </a:lnTo>
                    <a:lnTo>
                      <a:pt x="88" y="426"/>
                    </a:lnTo>
                    <a:lnTo>
                      <a:pt x="89" y="431"/>
                    </a:lnTo>
                    <a:lnTo>
                      <a:pt x="90" y="436"/>
                    </a:lnTo>
                    <a:lnTo>
                      <a:pt x="89" y="443"/>
                    </a:lnTo>
                    <a:lnTo>
                      <a:pt x="88" y="448"/>
                    </a:lnTo>
                    <a:lnTo>
                      <a:pt x="85" y="453"/>
                    </a:lnTo>
                    <a:lnTo>
                      <a:pt x="81" y="458"/>
                    </a:lnTo>
                    <a:lnTo>
                      <a:pt x="76" y="461"/>
                    </a:lnTo>
                    <a:lnTo>
                      <a:pt x="72" y="464"/>
                    </a:lnTo>
                    <a:lnTo>
                      <a:pt x="65" y="466"/>
                    </a:lnTo>
                    <a:lnTo>
                      <a:pt x="60" y="466"/>
                    </a:lnTo>
                    <a:lnTo>
                      <a:pt x="54" y="466"/>
                    </a:lnTo>
                    <a:lnTo>
                      <a:pt x="48" y="464"/>
                    </a:lnTo>
                    <a:lnTo>
                      <a:pt x="43" y="461"/>
                    </a:lnTo>
                    <a:lnTo>
                      <a:pt x="39" y="458"/>
                    </a:lnTo>
                    <a:lnTo>
                      <a:pt x="34" y="453"/>
                    </a:lnTo>
                    <a:lnTo>
                      <a:pt x="32" y="448"/>
                    </a:lnTo>
                    <a:lnTo>
                      <a:pt x="30" y="443"/>
                    </a:lnTo>
                    <a:lnTo>
                      <a:pt x="30" y="436"/>
                    </a:lnTo>
                    <a:lnTo>
                      <a:pt x="30" y="430"/>
                    </a:lnTo>
                    <a:lnTo>
                      <a:pt x="32" y="425"/>
                    </a:lnTo>
                    <a:lnTo>
                      <a:pt x="34" y="419"/>
                    </a:lnTo>
                    <a:lnTo>
                      <a:pt x="39" y="415"/>
                    </a:lnTo>
                    <a:lnTo>
                      <a:pt x="43" y="412"/>
                    </a:lnTo>
                    <a:lnTo>
                      <a:pt x="48" y="409"/>
                    </a:lnTo>
                    <a:lnTo>
                      <a:pt x="54" y="407"/>
                    </a:lnTo>
                    <a:lnTo>
                      <a:pt x="60" y="406"/>
                    </a:lnTo>
                    <a:lnTo>
                      <a:pt x="60" y="406"/>
                    </a:lnTo>
                    <a:close/>
                    <a:moveTo>
                      <a:pt x="285" y="211"/>
                    </a:moveTo>
                    <a:lnTo>
                      <a:pt x="291" y="211"/>
                    </a:lnTo>
                    <a:lnTo>
                      <a:pt x="297" y="214"/>
                    </a:lnTo>
                    <a:lnTo>
                      <a:pt x="302" y="216"/>
                    </a:lnTo>
                    <a:lnTo>
                      <a:pt x="306" y="220"/>
                    </a:lnTo>
                    <a:lnTo>
                      <a:pt x="311" y="224"/>
                    </a:lnTo>
                    <a:lnTo>
                      <a:pt x="313" y="230"/>
                    </a:lnTo>
                    <a:lnTo>
                      <a:pt x="315" y="235"/>
                    </a:lnTo>
                    <a:lnTo>
                      <a:pt x="315" y="241"/>
                    </a:lnTo>
                    <a:lnTo>
                      <a:pt x="315" y="247"/>
                    </a:lnTo>
                    <a:lnTo>
                      <a:pt x="313" y="253"/>
                    </a:lnTo>
                    <a:lnTo>
                      <a:pt x="311" y="257"/>
                    </a:lnTo>
                    <a:lnTo>
                      <a:pt x="306" y="262"/>
                    </a:lnTo>
                    <a:lnTo>
                      <a:pt x="302" y="266"/>
                    </a:lnTo>
                    <a:lnTo>
                      <a:pt x="297" y="268"/>
                    </a:lnTo>
                    <a:lnTo>
                      <a:pt x="291" y="270"/>
                    </a:lnTo>
                    <a:lnTo>
                      <a:pt x="285" y="271"/>
                    </a:lnTo>
                    <a:lnTo>
                      <a:pt x="280" y="270"/>
                    </a:lnTo>
                    <a:lnTo>
                      <a:pt x="273" y="268"/>
                    </a:lnTo>
                    <a:lnTo>
                      <a:pt x="269" y="266"/>
                    </a:lnTo>
                    <a:lnTo>
                      <a:pt x="264" y="262"/>
                    </a:lnTo>
                    <a:lnTo>
                      <a:pt x="260" y="257"/>
                    </a:lnTo>
                    <a:lnTo>
                      <a:pt x="257" y="253"/>
                    </a:lnTo>
                    <a:lnTo>
                      <a:pt x="256" y="247"/>
                    </a:lnTo>
                    <a:lnTo>
                      <a:pt x="255" y="241"/>
                    </a:lnTo>
                    <a:lnTo>
                      <a:pt x="256" y="235"/>
                    </a:lnTo>
                    <a:lnTo>
                      <a:pt x="257" y="230"/>
                    </a:lnTo>
                    <a:lnTo>
                      <a:pt x="260" y="224"/>
                    </a:lnTo>
                    <a:lnTo>
                      <a:pt x="264" y="220"/>
                    </a:lnTo>
                    <a:lnTo>
                      <a:pt x="269" y="216"/>
                    </a:lnTo>
                    <a:lnTo>
                      <a:pt x="273" y="214"/>
                    </a:lnTo>
                    <a:lnTo>
                      <a:pt x="280" y="211"/>
                    </a:lnTo>
                    <a:lnTo>
                      <a:pt x="285" y="211"/>
                    </a:lnTo>
                    <a:close/>
                    <a:moveTo>
                      <a:pt x="511" y="301"/>
                    </a:moveTo>
                    <a:lnTo>
                      <a:pt x="516" y="301"/>
                    </a:lnTo>
                    <a:lnTo>
                      <a:pt x="521" y="302"/>
                    </a:lnTo>
                    <a:lnTo>
                      <a:pt x="526" y="306"/>
                    </a:lnTo>
                    <a:lnTo>
                      <a:pt x="530" y="308"/>
                    </a:lnTo>
                    <a:lnTo>
                      <a:pt x="530" y="308"/>
                    </a:lnTo>
                    <a:lnTo>
                      <a:pt x="530" y="308"/>
                    </a:lnTo>
                    <a:lnTo>
                      <a:pt x="530" y="308"/>
                    </a:lnTo>
                    <a:lnTo>
                      <a:pt x="530" y="308"/>
                    </a:lnTo>
                    <a:lnTo>
                      <a:pt x="535" y="313"/>
                    </a:lnTo>
                    <a:lnTo>
                      <a:pt x="538" y="319"/>
                    </a:lnTo>
                    <a:lnTo>
                      <a:pt x="540" y="325"/>
                    </a:lnTo>
                    <a:lnTo>
                      <a:pt x="541" y="331"/>
                    </a:lnTo>
                    <a:lnTo>
                      <a:pt x="540" y="337"/>
                    </a:lnTo>
                    <a:lnTo>
                      <a:pt x="539" y="343"/>
                    </a:lnTo>
                    <a:lnTo>
                      <a:pt x="536" y="347"/>
                    </a:lnTo>
                    <a:lnTo>
                      <a:pt x="532" y="353"/>
                    </a:lnTo>
                    <a:lnTo>
                      <a:pt x="527" y="356"/>
                    </a:lnTo>
                    <a:lnTo>
                      <a:pt x="523" y="359"/>
                    </a:lnTo>
                    <a:lnTo>
                      <a:pt x="516" y="360"/>
                    </a:lnTo>
                    <a:lnTo>
                      <a:pt x="511" y="361"/>
                    </a:lnTo>
                    <a:lnTo>
                      <a:pt x="505" y="360"/>
                    </a:lnTo>
                    <a:lnTo>
                      <a:pt x="499" y="359"/>
                    </a:lnTo>
                    <a:lnTo>
                      <a:pt x="494" y="356"/>
                    </a:lnTo>
                    <a:lnTo>
                      <a:pt x="490" y="353"/>
                    </a:lnTo>
                    <a:lnTo>
                      <a:pt x="486" y="349"/>
                    </a:lnTo>
                    <a:lnTo>
                      <a:pt x="483" y="343"/>
                    </a:lnTo>
                    <a:lnTo>
                      <a:pt x="481" y="337"/>
                    </a:lnTo>
                    <a:lnTo>
                      <a:pt x="481" y="331"/>
                    </a:lnTo>
                    <a:lnTo>
                      <a:pt x="481" y="325"/>
                    </a:lnTo>
                    <a:lnTo>
                      <a:pt x="483" y="320"/>
                    </a:lnTo>
                    <a:lnTo>
                      <a:pt x="486" y="314"/>
                    </a:lnTo>
                    <a:lnTo>
                      <a:pt x="490" y="310"/>
                    </a:lnTo>
                    <a:lnTo>
                      <a:pt x="494" y="307"/>
                    </a:lnTo>
                    <a:lnTo>
                      <a:pt x="499" y="304"/>
                    </a:lnTo>
                    <a:lnTo>
                      <a:pt x="505" y="301"/>
                    </a:lnTo>
                    <a:lnTo>
                      <a:pt x="511" y="301"/>
                    </a:lnTo>
                    <a:lnTo>
                      <a:pt x="511" y="301"/>
                    </a:lnTo>
                    <a:close/>
                    <a:moveTo>
                      <a:pt x="736" y="30"/>
                    </a:moveTo>
                    <a:lnTo>
                      <a:pt x="742" y="31"/>
                    </a:lnTo>
                    <a:lnTo>
                      <a:pt x="748" y="33"/>
                    </a:lnTo>
                    <a:lnTo>
                      <a:pt x="753" y="36"/>
                    </a:lnTo>
                    <a:lnTo>
                      <a:pt x="757" y="39"/>
                    </a:lnTo>
                    <a:lnTo>
                      <a:pt x="762" y="43"/>
                    </a:lnTo>
                    <a:lnTo>
                      <a:pt x="764" y="49"/>
                    </a:lnTo>
                    <a:lnTo>
                      <a:pt x="766" y="55"/>
                    </a:lnTo>
                    <a:lnTo>
                      <a:pt x="766" y="60"/>
                    </a:lnTo>
                    <a:lnTo>
                      <a:pt x="766" y="67"/>
                    </a:lnTo>
                    <a:lnTo>
                      <a:pt x="764" y="72"/>
                    </a:lnTo>
                    <a:lnTo>
                      <a:pt x="762" y="78"/>
                    </a:lnTo>
                    <a:lnTo>
                      <a:pt x="757" y="82"/>
                    </a:lnTo>
                    <a:lnTo>
                      <a:pt x="753" y="85"/>
                    </a:lnTo>
                    <a:lnTo>
                      <a:pt x="748" y="88"/>
                    </a:lnTo>
                    <a:lnTo>
                      <a:pt x="742" y="90"/>
                    </a:lnTo>
                    <a:lnTo>
                      <a:pt x="736" y="90"/>
                    </a:lnTo>
                    <a:lnTo>
                      <a:pt x="731" y="90"/>
                    </a:lnTo>
                    <a:lnTo>
                      <a:pt x="724" y="88"/>
                    </a:lnTo>
                    <a:lnTo>
                      <a:pt x="720" y="85"/>
                    </a:lnTo>
                    <a:lnTo>
                      <a:pt x="716" y="82"/>
                    </a:lnTo>
                    <a:lnTo>
                      <a:pt x="711" y="78"/>
                    </a:lnTo>
                    <a:lnTo>
                      <a:pt x="708" y="72"/>
                    </a:lnTo>
                    <a:lnTo>
                      <a:pt x="707" y="67"/>
                    </a:lnTo>
                    <a:lnTo>
                      <a:pt x="706" y="60"/>
                    </a:lnTo>
                    <a:lnTo>
                      <a:pt x="707" y="55"/>
                    </a:lnTo>
                    <a:lnTo>
                      <a:pt x="708" y="49"/>
                    </a:lnTo>
                    <a:lnTo>
                      <a:pt x="711" y="43"/>
                    </a:lnTo>
                    <a:lnTo>
                      <a:pt x="716" y="39"/>
                    </a:lnTo>
                    <a:lnTo>
                      <a:pt x="720" y="36"/>
                    </a:lnTo>
                    <a:lnTo>
                      <a:pt x="724" y="33"/>
                    </a:lnTo>
                    <a:lnTo>
                      <a:pt x="731" y="31"/>
                    </a:lnTo>
                    <a:lnTo>
                      <a:pt x="736" y="30"/>
                    </a:lnTo>
                    <a:lnTo>
                      <a:pt x="736" y="30"/>
                    </a:lnTo>
                    <a:close/>
                    <a:moveTo>
                      <a:pt x="60" y="496"/>
                    </a:moveTo>
                    <a:lnTo>
                      <a:pt x="66" y="496"/>
                    </a:lnTo>
                    <a:lnTo>
                      <a:pt x="72" y="495"/>
                    </a:lnTo>
                    <a:lnTo>
                      <a:pt x="77" y="494"/>
                    </a:lnTo>
                    <a:lnTo>
                      <a:pt x="84" y="492"/>
                    </a:lnTo>
                    <a:lnTo>
                      <a:pt x="89" y="489"/>
                    </a:lnTo>
                    <a:lnTo>
                      <a:pt x="93" y="487"/>
                    </a:lnTo>
                    <a:lnTo>
                      <a:pt x="98" y="482"/>
                    </a:lnTo>
                    <a:lnTo>
                      <a:pt x="102" y="479"/>
                    </a:lnTo>
                    <a:lnTo>
                      <a:pt x="106" y="475"/>
                    </a:lnTo>
                    <a:lnTo>
                      <a:pt x="109" y="470"/>
                    </a:lnTo>
                    <a:lnTo>
                      <a:pt x="113" y="465"/>
                    </a:lnTo>
                    <a:lnTo>
                      <a:pt x="115" y="460"/>
                    </a:lnTo>
                    <a:lnTo>
                      <a:pt x="117" y="455"/>
                    </a:lnTo>
                    <a:lnTo>
                      <a:pt x="119" y="448"/>
                    </a:lnTo>
                    <a:lnTo>
                      <a:pt x="120" y="443"/>
                    </a:lnTo>
                    <a:lnTo>
                      <a:pt x="120" y="436"/>
                    </a:lnTo>
                    <a:lnTo>
                      <a:pt x="119" y="429"/>
                    </a:lnTo>
                    <a:lnTo>
                      <a:pt x="118" y="422"/>
                    </a:lnTo>
                    <a:lnTo>
                      <a:pt x="116" y="416"/>
                    </a:lnTo>
                    <a:lnTo>
                      <a:pt x="114" y="410"/>
                    </a:lnTo>
                    <a:lnTo>
                      <a:pt x="251" y="291"/>
                    </a:lnTo>
                    <a:lnTo>
                      <a:pt x="259" y="295"/>
                    </a:lnTo>
                    <a:lnTo>
                      <a:pt x="267" y="298"/>
                    </a:lnTo>
                    <a:lnTo>
                      <a:pt x="276" y="300"/>
                    </a:lnTo>
                    <a:lnTo>
                      <a:pt x="285" y="301"/>
                    </a:lnTo>
                    <a:lnTo>
                      <a:pt x="292" y="300"/>
                    </a:lnTo>
                    <a:lnTo>
                      <a:pt x="300" y="299"/>
                    </a:lnTo>
                    <a:lnTo>
                      <a:pt x="306" y="297"/>
                    </a:lnTo>
                    <a:lnTo>
                      <a:pt x="313" y="294"/>
                    </a:lnTo>
                    <a:lnTo>
                      <a:pt x="318" y="291"/>
                    </a:lnTo>
                    <a:lnTo>
                      <a:pt x="325" y="286"/>
                    </a:lnTo>
                    <a:lnTo>
                      <a:pt x="329" y="282"/>
                    </a:lnTo>
                    <a:lnTo>
                      <a:pt x="333" y="277"/>
                    </a:lnTo>
                    <a:lnTo>
                      <a:pt x="451" y="324"/>
                    </a:lnTo>
                    <a:lnTo>
                      <a:pt x="451" y="327"/>
                    </a:lnTo>
                    <a:lnTo>
                      <a:pt x="451" y="331"/>
                    </a:lnTo>
                    <a:lnTo>
                      <a:pt x="451" y="338"/>
                    </a:lnTo>
                    <a:lnTo>
                      <a:pt x="452" y="343"/>
                    </a:lnTo>
                    <a:lnTo>
                      <a:pt x="453" y="350"/>
                    </a:lnTo>
                    <a:lnTo>
                      <a:pt x="455" y="355"/>
                    </a:lnTo>
                    <a:lnTo>
                      <a:pt x="457" y="360"/>
                    </a:lnTo>
                    <a:lnTo>
                      <a:pt x="461" y="365"/>
                    </a:lnTo>
                    <a:lnTo>
                      <a:pt x="464" y="370"/>
                    </a:lnTo>
                    <a:lnTo>
                      <a:pt x="468" y="374"/>
                    </a:lnTo>
                    <a:lnTo>
                      <a:pt x="472" y="377"/>
                    </a:lnTo>
                    <a:lnTo>
                      <a:pt x="477" y="381"/>
                    </a:lnTo>
                    <a:lnTo>
                      <a:pt x="482" y="384"/>
                    </a:lnTo>
                    <a:lnTo>
                      <a:pt x="487" y="387"/>
                    </a:lnTo>
                    <a:lnTo>
                      <a:pt x="493" y="388"/>
                    </a:lnTo>
                    <a:lnTo>
                      <a:pt x="498" y="390"/>
                    </a:lnTo>
                    <a:lnTo>
                      <a:pt x="505" y="391"/>
                    </a:lnTo>
                    <a:lnTo>
                      <a:pt x="511" y="391"/>
                    </a:lnTo>
                    <a:lnTo>
                      <a:pt x="517" y="391"/>
                    </a:lnTo>
                    <a:lnTo>
                      <a:pt x="523" y="390"/>
                    </a:lnTo>
                    <a:lnTo>
                      <a:pt x="529" y="388"/>
                    </a:lnTo>
                    <a:lnTo>
                      <a:pt x="535" y="387"/>
                    </a:lnTo>
                    <a:lnTo>
                      <a:pt x="540" y="384"/>
                    </a:lnTo>
                    <a:lnTo>
                      <a:pt x="544" y="381"/>
                    </a:lnTo>
                    <a:lnTo>
                      <a:pt x="550" y="377"/>
                    </a:lnTo>
                    <a:lnTo>
                      <a:pt x="554" y="373"/>
                    </a:lnTo>
                    <a:lnTo>
                      <a:pt x="557" y="370"/>
                    </a:lnTo>
                    <a:lnTo>
                      <a:pt x="560" y="365"/>
                    </a:lnTo>
                    <a:lnTo>
                      <a:pt x="564" y="360"/>
                    </a:lnTo>
                    <a:lnTo>
                      <a:pt x="567" y="355"/>
                    </a:lnTo>
                    <a:lnTo>
                      <a:pt x="568" y="350"/>
                    </a:lnTo>
                    <a:lnTo>
                      <a:pt x="570" y="343"/>
                    </a:lnTo>
                    <a:lnTo>
                      <a:pt x="571" y="338"/>
                    </a:lnTo>
                    <a:lnTo>
                      <a:pt x="571" y="331"/>
                    </a:lnTo>
                    <a:lnTo>
                      <a:pt x="570" y="322"/>
                    </a:lnTo>
                    <a:lnTo>
                      <a:pt x="568" y="312"/>
                    </a:lnTo>
                    <a:lnTo>
                      <a:pt x="565" y="304"/>
                    </a:lnTo>
                    <a:lnTo>
                      <a:pt x="559" y="296"/>
                    </a:lnTo>
                    <a:lnTo>
                      <a:pt x="710" y="115"/>
                    </a:lnTo>
                    <a:lnTo>
                      <a:pt x="717" y="117"/>
                    </a:lnTo>
                    <a:lnTo>
                      <a:pt x="723" y="119"/>
                    </a:lnTo>
                    <a:lnTo>
                      <a:pt x="730" y="120"/>
                    </a:lnTo>
                    <a:lnTo>
                      <a:pt x="736" y="120"/>
                    </a:lnTo>
                    <a:lnTo>
                      <a:pt x="742" y="120"/>
                    </a:lnTo>
                    <a:lnTo>
                      <a:pt x="749" y="119"/>
                    </a:lnTo>
                    <a:lnTo>
                      <a:pt x="754" y="118"/>
                    </a:lnTo>
                    <a:lnTo>
                      <a:pt x="760" y="116"/>
                    </a:lnTo>
                    <a:lnTo>
                      <a:pt x="765" y="114"/>
                    </a:lnTo>
                    <a:lnTo>
                      <a:pt x="770" y="111"/>
                    </a:lnTo>
                    <a:lnTo>
                      <a:pt x="775" y="106"/>
                    </a:lnTo>
                    <a:lnTo>
                      <a:pt x="779" y="103"/>
                    </a:lnTo>
                    <a:lnTo>
                      <a:pt x="783" y="99"/>
                    </a:lnTo>
                    <a:lnTo>
                      <a:pt x="786" y="95"/>
                    </a:lnTo>
                    <a:lnTo>
                      <a:pt x="790" y="89"/>
                    </a:lnTo>
                    <a:lnTo>
                      <a:pt x="792" y="84"/>
                    </a:lnTo>
                    <a:lnTo>
                      <a:pt x="794" y="79"/>
                    </a:lnTo>
                    <a:lnTo>
                      <a:pt x="795" y="73"/>
                    </a:lnTo>
                    <a:lnTo>
                      <a:pt x="796" y="67"/>
                    </a:lnTo>
                    <a:lnTo>
                      <a:pt x="796" y="60"/>
                    </a:lnTo>
                    <a:lnTo>
                      <a:pt x="796" y="54"/>
                    </a:lnTo>
                    <a:lnTo>
                      <a:pt x="795" y="49"/>
                    </a:lnTo>
                    <a:lnTo>
                      <a:pt x="794" y="43"/>
                    </a:lnTo>
                    <a:lnTo>
                      <a:pt x="792" y="37"/>
                    </a:lnTo>
                    <a:lnTo>
                      <a:pt x="790" y="31"/>
                    </a:lnTo>
                    <a:lnTo>
                      <a:pt x="786" y="27"/>
                    </a:lnTo>
                    <a:lnTo>
                      <a:pt x="783" y="23"/>
                    </a:lnTo>
                    <a:lnTo>
                      <a:pt x="779" y="19"/>
                    </a:lnTo>
                    <a:lnTo>
                      <a:pt x="775" y="14"/>
                    </a:lnTo>
                    <a:lnTo>
                      <a:pt x="770" y="11"/>
                    </a:lnTo>
                    <a:lnTo>
                      <a:pt x="765" y="8"/>
                    </a:lnTo>
                    <a:lnTo>
                      <a:pt x="760" y="5"/>
                    </a:lnTo>
                    <a:lnTo>
                      <a:pt x="754" y="4"/>
                    </a:lnTo>
                    <a:lnTo>
                      <a:pt x="749" y="1"/>
                    </a:lnTo>
                    <a:lnTo>
                      <a:pt x="742" y="0"/>
                    </a:lnTo>
                    <a:lnTo>
                      <a:pt x="736" y="0"/>
                    </a:lnTo>
                    <a:lnTo>
                      <a:pt x="731" y="0"/>
                    </a:lnTo>
                    <a:lnTo>
                      <a:pt x="724" y="1"/>
                    </a:lnTo>
                    <a:lnTo>
                      <a:pt x="719" y="4"/>
                    </a:lnTo>
                    <a:lnTo>
                      <a:pt x="712" y="5"/>
                    </a:lnTo>
                    <a:lnTo>
                      <a:pt x="708" y="8"/>
                    </a:lnTo>
                    <a:lnTo>
                      <a:pt x="703" y="11"/>
                    </a:lnTo>
                    <a:lnTo>
                      <a:pt x="698" y="14"/>
                    </a:lnTo>
                    <a:lnTo>
                      <a:pt x="694" y="19"/>
                    </a:lnTo>
                    <a:lnTo>
                      <a:pt x="690" y="22"/>
                    </a:lnTo>
                    <a:lnTo>
                      <a:pt x="687" y="27"/>
                    </a:lnTo>
                    <a:lnTo>
                      <a:pt x="683" y="31"/>
                    </a:lnTo>
                    <a:lnTo>
                      <a:pt x="681" y="37"/>
                    </a:lnTo>
                    <a:lnTo>
                      <a:pt x="679" y="43"/>
                    </a:lnTo>
                    <a:lnTo>
                      <a:pt x="677" y="49"/>
                    </a:lnTo>
                    <a:lnTo>
                      <a:pt x="676" y="54"/>
                    </a:lnTo>
                    <a:lnTo>
                      <a:pt x="676" y="60"/>
                    </a:lnTo>
                    <a:lnTo>
                      <a:pt x="677" y="70"/>
                    </a:lnTo>
                    <a:lnTo>
                      <a:pt x="679" y="80"/>
                    </a:lnTo>
                    <a:lnTo>
                      <a:pt x="682" y="88"/>
                    </a:lnTo>
                    <a:lnTo>
                      <a:pt x="688" y="96"/>
                    </a:lnTo>
                    <a:lnTo>
                      <a:pt x="537" y="277"/>
                    </a:lnTo>
                    <a:lnTo>
                      <a:pt x="530" y="275"/>
                    </a:lnTo>
                    <a:lnTo>
                      <a:pt x="524" y="272"/>
                    </a:lnTo>
                    <a:lnTo>
                      <a:pt x="517" y="271"/>
                    </a:lnTo>
                    <a:lnTo>
                      <a:pt x="511" y="271"/>
                    </a:lnTo>
                    <a:lnTo>
                      <a:pt x="504" y="271"/>
                    </a:lnTo>
                    <a:lnTo>
                      <a:pt x="496" y="272"/>
                    </a:lnTo>
                    <a:lnTo>
                      <a:pt x="490" y="275"/>
                    </a:lnTo>
                    <a:lnTo>
                      <a:pt x="483" y="278"/>
                    </a:lnTo>
                    <a:lnTo>
                      <a:pt x="478" y="281"/>
                    </a:lnTo>
                    <a:lnTo>
                      <a:pt x="472" y="285"/>
                    </a:lnTo>
                    <a:lnTo>
                      <a:pt x="467" y="291"/>
                    </a:lnTo>
                    <a:lnTo>
                      <a:pt x="463" y="296"/>
                    </a:lnTo>
                    <a:lnTo>
                      <a:pt x="345" y="249"/>
                    </a:lnTo>
                    <a:lnTo>
                      <a:pt x="345" y="245"/>
                    </a:lnTo>
                    <a:lnTo>
                      <a:pt x="345" y="241"/>
                    </a:lnTo>
                    <a:lnTo>
                      <a:pt x="345" y="235"/>
                    </a:lnTo>
                    <a:lnTo>
                      <a:pt x="344" y="229"/>
                    </a:lnTo>
                    <a:lnTo>
                      <a:pt x="343" y="223"/>
                    </a:lnTo>
                    <a:lnTo>
                      <a:pt x="341" y="218"/>
                    </a:lnTo>
                    <a:lnTo>
                      <a:pt x="339" y="212"/>
                    </a:lnTo>
                    <a:lnTo>
                      <a:pt x="335" y="207"/>
                    </a:lnTo>
                    <a:lnTo>
                      <a:pt x="332" y="203"/>
                    </a:lnTo>
                    <a:lnTo>
                      <a:pt x="328" y="199"/>
                    </a:lnTo>
                    <a:lnTo>
                      <a:pt x="324" y="194"/>
                    </a:lnTo>
                    <a:lnTo>
                      <a:pt x="319" y="191"/>
                    </a:lnTo>
                    <a:lnTo>
                      <a:pt x="314" y="188"/>
                    </a:lnTo>
                    <a:lnTo>
                      <a:pt x="309" y="186"/>
                    </a:lnTo>
                    <a:lnTo>
                      <a:pt x="303" y="184"/>
                    </a:lnTo>
                    <a:lnTo>
                      <a:pt x="298" y="182"/>
                    </a:lnTo>
                    <a:lnTo>
                      <a:pt x="291" y="181"/>
                    </a:lnTo>
                    <a:lnTo>
                      <a:pt x="285" y="180"/>
                    </a:lnTo>
                    <a:lnTo>
                      <a:pt x="280" y="181"/>
                    </a:lnTo>
                    <a:lnTo>
                      <a:pt x="273" y="182"/>
                    </a:lnTo>
                    <a:lnTo>
                      <a:pt x="268" y="184"/>
                    </a:lnTo>
                    <a:lnTo>
                      <a:pt x="261" y="186"/>
                    </a:lnTo>
                    <a:lnTo>
                      <a:pt x="257" y="188"/>
                    </a:lnTo>
                    <a:lnTo>
                      <a:pt x="252" y="191"/>
                    </a:lnTo>
                    <a:lnTo>
                      <a:pt x="247" y="194"/>
                    </a:lnTo>
                    <a:lnTo>
                      <a:pt x="243" y="199"/>
                    </a:lnTo>
                    <a:lnTo>
                      <a:pt x="239" y="203"/>
                    </a:lnTo>
                    <a:lnTo>
                      <a:pt x="236" y="207"/>
                    </a:lnTo>
                    <a:lnTo>
                      <a:pt x="232" y="212"/>
                    </a:lnTo>
                    <a:lnTo>
                      <a:pt x="230" y="218"/>
                    </a:lnTo>
                    <a:lnTo>
                      <a:pt x="228" y="223"/>
                    </a:lnTo>
                    <a:lnTo>
                      <a:pt x="226" y="229"/>
                    </a:lnTo>
                    <a:lnTo>
                      <a:pt x="225" y="235"/>
                    </a:lnTo>
                    <a:lnTo>
                      <a:pt x="225" y="241"/>
                    </a:lnTo>
                    <a:lnTo>
                      <a:pt x="226" y="248"/>
                    </a:lnTo>
                    <a:lnTo>
                      <a:pt x="227" y="255"/>
                    </a:lnTo>
                    <a:lnTo>
                      <a:pt x="229" y="262"/>
                    </a:lnTo>
                    <a:lnTo>
                      <a:pt x="231" y="267"/>
                    </a:lnTo>
                    <a:lnTo>
                      <a:pt x="94" y="387"/>
                    </a:lnTo>
                    <a:lnTo>
                      <a:pt x="86" y="383"/>
                    </a:lnTo>
                    <a:lnTo>
                      <a:pt x="78" y="380"/>
                    </a:lnTo>
                    <a:lnTo>
                      <a:pt x="69" y="377"/>
                    </a:lnTo>
                    <a:lnTo>
                      <a:pt x="60" y="376"/>
                    </a:lnTo>
                    <a:lnTo>
                      <a:pt x="54" y="376"/>
                    </a:lnTo>
                    <a:lnTo>
                      <a:pt x="47" y="377"/>
                    </a:lnTo>
                    <a:lnTo>
                      <a:pt x="42" y="379"/>
                    </a:lnTo>
                    <a:lnTo>
                      <a:pt x="36" y="381"/>
                    </a:lnTo>
                    <a:lnTo>
                      <a:pt x="31" y="384"/>
                    </a:lnTo>
                    <a:lnTo>
                      <a:pt x="26" y="387"/>
                    </a:lnTo>
                    <a:lnTo>
                      <a:pt x="21" y="390"/>
                    </a:lnTo>
                    <a:lnTo>
                      <a:pt x="17" y="394"/>
                    </a:lnTo>
                    <a:lnTo>
                      <a:pt x="13" y="398"/>
                    </a:lnTo>
                    <a:lnTo>
                      <a:pt x="10" y="403"/>
                    </a:lnTo>
                    <a:lnTo>
                      <a:pt x="6" y="407"/>
                    </a:lnTo>
                    <a:lnTo>
                      <a:pt x="4" y="413"/>
                    </a:lnTo>
                    <a:lnTo>
                      <a:pt x="2" y="418"/>
                    </a:lnTo>
                    <a:lnTo>
                      <a:pt x="1" y="425"/>
                    </a:lnTo>
                    <a:lnTo>
                      <a:pt x="0" y="430"/>
                    </a:lnTo>
                    <a:lnTo>
                      <a:pt x="0" y="436"/>
                    </a:lnTo>
                    <a:lnTo>
                      <a:pt x="0" y="443"/>
                    </a:lnTo>
                    <a:lnTo>
                      <a:pt x="1" y="448"/>
                    </a:lnTo>
                    <a:lnTo>
                      <a:pt x="2" y="455"/>
                    </a:lnTo>
                    <a:lnTo>
                      <a:pt x="4" y="460"/>
                    </a:lnTo>
                    <a:lnTo>
                      <a:pt x="6" y="465"/>
                    </a:lnTo>
                    <a:lnTo>
                      <a:pt x="10" y="470"/>
                    </a:lnTo>
                    <a:lnTo>
                      <a:pt x="13" y="475"/>
                    </a:lnTo>
                    <a:lnTo>
                      <a:pt x="17" y="479"/>
                    </a:lnTo>
                    <a:lnTo>
                      <a:pt x="21" y="482"/>
                    </a:lnTo>
                    <a:lnTo>
                      <a:pt x="26" y="487"/>
                    </a:lnTo>
                    <a:lnTo>
                      <a:pt x="31" y="489"/>
                    </a:lnTo>
                    <a:lnTo>
                      <a:pt x="36" y="492"/>
                    </a:lnTo>
                    <a:lnTo>
                      <a:pt x="42" y="494"/>
                    </a:lnTo>
                    <a:lnTo>
                      <a:pt x="47" y="495"/>
                    </a:lnTo>
                    <a:lnTo>
                      <a:pt x="54" y="496"/>
                    </a:lnTo>
                    <a:lnTo>
                      <a:pt x="60" y="49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92" name="Group 191"/>
            <p:cNvGrpSpPr/>
            <p:nvPr/>
          </p:nvGrpSpPr>
          <p:grpSpPr>
            <a:xfrm>
              <a:off x="1583511" y="4423714"/>
              <a:ext cx="284163" cy="284162"/>
              <a:chOff x="11033125" y="1349375"/>
              <a:chExt cx="284163" cy="284162"/>
            </a:xfrm>
            <a:solidFill>
              <a:srgbClr val="4CC7C4"/>
            </a:solidFill>
          </p:grpSpPr>
          <p:sp>
            <p:nvSpPr>
              <p:cNvPr id="193" name="Freeform 331"/>
              <p:cNvSpPr>
                <a:spLocks noEditPoints="1"/>
              </p:cNvSpPr>
              <p:nvPr/>
            </p:nvSpPr>
            <p:spPr bwMode="auto">
              <a:xfrm>
                <a:off x="11133138" y="1385888"/>
                <a:ext cx="84138" cy="77787"/>
              </a:xfrm>
              <a:custGeom>
                <a:avLst/>
                <a:gdLst>
                  <a:gd name="T0" fmla="*/ 167 w 268"/>
                  <a:gd name="T1" fmla="*/ 133 h 246"/>
                  <a:gd name="T2" fmla="*/ 164 w 268"/>
                  <a:gd name="T3" fmla="*/ 142 h 246"/>
                  <a:gd name="T4" fmla="*/ 178 w 268"/>
                  <a:gd name="T5" fmla="*/ 188 h 246"/>
                  <a:gd name="T6" fmla="*/ 139 w 268"/>
                  <a:gd name="T7" fmla="*/ 157 h 246"/>
                  <a:gd name="T8" fmla="*/ 129 w 268"/>
                  <a:gd name="T9" fmla="*/ 157 h 246"/>
                  <a:gd name="T10" fmla="*/ 90 w 268"/>
                  <a:gd name="T11" fmla="*/ 188 h 246"/>
                  <a:gd name="T12" fmla="*/ 105 w 268"/>
                  <a:gd name="T13" fmla="*/ 142 h 246"/>
                  <a:gd name="T14" fmla="*/ 101 w 268"/>
                  <a:gd name="T15" fmla="*/ 133 h 246"/>
                  <a:gd name="T16" fmla="*/ 58 w 268"/>
                  <a:gd name="T17" fmla="*/ 97 h 246"/>
                  <a:gd name="T18" fmla="*/ 109 w 268"/>
                  <a:gd name="T19" fmla="*/ 96 h 246"/>
                  <a:gd name="T20" fmla="*/ 115 w 268"/>
                  <a:gd name="T21" fmla="*/ 91 h 246"/>
                  <a:gd name="T22" fmla="*/ 133 w 268"/>
                  <a:gd name="T23" fmla="*/ 52 h 246"/>
                  <a:gd name="T24" fmla="*/ 153 w 268"/>
                  <a:gd name="T25" fmla="*/ 91 h 246"/>
                  <a:gd name="T26" fmla="*/ 160 w 268"/>
                  <a:gd name="T27" fmla="*/ 96 h 246"/>
                  <a:gd name="T28" fmla="*/ 212 w 268"/>
                  <a:gd name="T29" fmla="*/ 97 h 246"/>
                  <a:gd name="T30" fmla="*/ 254 w 268"/>
                  <a:gd name="T31" fmla="*/ 67 h 246"/>
                  <a:gd name="T32" fmla="*/ 146 w 268"/>
                  <a:gd name="T33" fmla="*/ 9 h 246"/>
                  <a:gd name="T34" fmla="*/ 141 w 268"/>
                  <a:gd name="T35" fmla="*/ 3 h 246"/>
                  <a:gd name="T36" fmla="*/ 132 w 268"/>
                  <a:gd name="T37" fmla="*/ 0 h 246"/>
                  <a:gd name="T38" fmla="*/ 125 w 268"/>
                  <a:gd name="T39" fmla="*/ 3 h 246"/>
                  <a:gd name="T40" fmla="*/ 120 w 268"/>
                  <a:gd name="T41" fmla="*/ 9 h 246"/>
                  <a:gd name="T42" fmla="*/ 15 w 268"/>
                  <a:gd name="T43" fmla="*/ 67 h 246"/>
                  <a:gd name="T44" fmla="*/ 6 w 268"/>
                  <a:gd name="T45" fmla="*/ 69 h 246"/>
                  <a:gd name="T46" fmla="*/ 1 w 268"/>
                  <a:gd name="T47" fmla="*/ 76 h 246"/>
                  <a:gd name="T48" fmla="*/ 0 w 268"/>
                  <a:gd name="T49" fmla="*/ 86 h 246"/>
                  <a:gd name="T50" fmla="*/ 5 w 268"/>
                  <a:gd name="T51" fmla="*/ 93 h 246"/>
                  <a:gd name="T52" fmla="*/ 46 w 268"/>
                  <a:gd name="T53" fmla="*/ 226 h 246"/>
                  <a:gd name="T54" fmla="*/ 46 w 268"/>
                  <a:gd name="T55" fmla="*/ 236 h 246"/>
                  <a:gd name="T56" fmla="*/ 51 w 268"/>
                  <a:gd name="T57" fmla="*/ 243 h 246"/>
                  <a:gd name="T58" fmla="*/ 60 w 268"/>
                  <a:gd name="T59" fmla="*/ 246 h 246"/>
                  <a:gd name="T60" fmla="*/ 69 w 268"/>
                  <a:gd name="T61" fmla="*/ 242 h 246"/>
                  <a:gd name="T62" fmla="*/ 200 w 268"/>
                  <a:gd name="T63" fmla="*/ 242 h 246"/>
                  <a:gd name="T64" fmla="*/ 209 w 268"/>
                  <a:gd name="T65" fmla="*/ 246 h 246"/>
                  <a:gd name="T66" fmla="*/ 218 w 268"/>
                  <a:gd name="T67" fmla="*/ 243 h 246"/>
                  <a:gd name="T68" fmla="*/ 223 w 268"/>
                  <a:gd name="T69" fmla="*/ 236 h 246"/>
                  <a:gd name="T70" fmla="*/ 223 w 268"/>
                  <a:gd name="T71" fmla="*/ 226 h 246"/>
                  <a:gd name="T72" fmla="*/ 263 w 268"/>
                  <a:gd name="T73" fmla="*/ 93 h 246"/>
                  <a:gd name="T74" fmla="*/ 268 w 268"/>
                  <a:gd name="T75" fmla="*/ 86 h 246"/>
                  <a:gd name="T76" fmla="*/ 268 w 268"/>
                  <a:gd name="T77" fmla="*/ 76 h 246"/>
                  <a:gd name="T78" fmla="*/ 263 w 268"/>
                  <a:gd name="T79" fmla="*/ 69 h 246"/>
                  <a:gd name="T80" fmla="*/ 254 w 268"/>
                  <a:gd name="T81" fmla="*/ 67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68" h="246">
                    <a:moveTo>
                      <a:pt x="170" y="130"/>
                    </a:moveTo>
                    <a:lnTo>
                      <a:pt x="167" y="133"/>
                    </a:lnTo>
                    <a:lnTo>
                      <a:pt x="164" y="137"/>
                    </a:lnTo>
                    <a:lnTo>
                      <a:pt x="164" y="142"/>
                    </a:lnTo>
                    <a:lnTo>
                      <a:pt x="164" y="146"/>
                    </a:lnTo>
                    <a:lnTo>
                      <a:pt x="178" y="188"/>
                    </a:lnTo>
                    <a:lnTo>
                      <a:pt x="143" y="160"/>
                    </a:lnTo>
                    <a:lnTo>
                      <a:pt x="139" y="157"/>
                    </a:lnTo>
                    <a:lnTo>
                      <a:pt x="135" y="157"/>
                    </a:lnTo>
                    <a:lnTo>
                      <a:pt x="129" y="157"/>
                    </a:lnTo>
                    <a:lnTo>
                      <a:pt x="125" y="160"/>
                    </a:lnTo>
                    <a:lnTo>
                      <a:pt x="90" y="188"/>
                    </a:lnTo>
                    <a:lnTo>
                      <a:pt x="104" y="146"/>
                    </a:lnTo>
                    <a:lnTo>
                      <a:pt x="105" y="142"/>
                    </a:lnTo>
                    <a:lnTo>
                      <a:pt x="104" y="137"/>
                    </a:lnTo>
                    <a:lnTo>
                      <a:pt x="101" y="133"/>
                    </a:lnTo>
                    <a:lnTo>
                      <a:pt x="98" y="130"/>
                    </a:lnTo>
                    <a:lnTo>
                      <a:pt x="58" y="97"/>
                    </a:lnTo>
                    <a:lnTo>
                      <a:pt x="105" y="97"/>
                    </a:lnTo>
                    <a:lnTo>
                      <a:pt x="109" y="96"/>
                    </a:lnTo>
                    <a:lnTo>
                      <a:pt x="112" y="93"/>
                    </a:lnTo>
                    <a:lnTo>
                      <a:pt x="115" y="91"/>
                    </a:lnTo>
                    <a:lnTo>
                      <a:pt x="118" y="87"/>
                    </a:lnTo>
                    <a:lnTo>
                      <a:pt x="133" y="52"/>
                    </a:lnTo>
                    <a:lnTo>
                      <a:pt x="151" y="88"/>
                    </a:lnTo>
                    <a:lnTo>
                      <a:pt x="153" y="91"/>
                    </a:lnTo>
                    <a:lnTo>
                      <a:pt x="156" y="94"/>
                    </a:lnTo>
                    <a:lnTo>
                      <a:pt x="160" y="96"/>
                    </a:lnTo>
                    <a:lnTo>
                      <a:pt x="164" y="97"/>
                    </a:lnTo>
                    <a:lnTo>
                      <a:pt x="212" y="97"/>
                    </a:lnTo>
                    <a:lnTo>
                      <a:pt x="170" y="130"/>
                    </a:lnTo>
                    <a:close/>
                    <a:moveTo>
                      <a:pt x="254" y="67"/>
                    </a:moveTo>
                    <a:lnTo>
                      <a:pt x="174" y="67"/>
                    </a:lnTo>
                    <a:lnTo>
                      <a:pt x="146" y="9"/>
                    </a:lnTo>
                    <a:lnTo>
                      <a:pt x="144" y="5"/>
                    </a:lnTo>
                    <a:lnTo>
                      <a:pt x="141" y="3"/>
                    </a:lnTo>
                    <a:lnTo>
                      <a:pt x="138" y="0"/>
                    </a:lnTo>
                    <a:lnTo>
                      <a:pt x="132" y="0"/>
                    </a:lnTo>
                    <a:lnTo>
                      <a:pt x="129" y="0"/>
                    </a:lnTo>
                    <a:lnTo>
                      <a:pt x="125" y="3"/>
                    </a:lnTo>
                    <a:lnTo>
                      <a:pt x="122" y="6"/>
                    </a:lnTo>
                    <a:lnTo>
                      <a:pt x="120" y="9"/>
                    </a:lnTo>
                    <a:lnTo>
                      <a:pt x="95" y="67"/>
                    </a:lnTo>
                    <a:lnTo>
                      <a:pt x="15" y="67"/>
                    </a:lnTo>
                    <a:lnTo>
                      <a:pt x="10" y="67"/>
                    </a:lnTo>
                    <a:lnTo>
                      <a:pt x="6" y="69"/>
                    </a:lnTo>
                    <a:lnTo>
                      <a:pt x="3" y="72"/>
                    </a:lnTo>
                    <a:lnTo>
                      <a:pt x="1" y="76"/>
                    </a:lnTo>
                    <a:lnTo>
                      <a:pt x="0" y="81"/>
                    </a:lnTo>
                    <a:lnTo>
                      <a:pt x="0" y="86"/>
                    </a:lnTo>
                    <a:lnTo>
                      <a:pt x="2" y="89"/>
                    </a:lnTo>
                    <a:lnTo>
                      <a:pt x="5" y="93"/>
                    </a:lnTo>
                    <a:lnTo>
                      <a:pt x="71" y="146"/>
                    </a:lnTo>
                    <a:lnTo>
                      <a:pt x="46" y="226"/>
                    </a:lnTo>
                    <a:lnTo>
                      <a:pt x="45" y="231"/>
                    </a:lnTo>
                    <a:lnTo>
                      <a:pt x="46" y="236"/>
                    </a:lnTo>
                    <a:lnTo>
                      <a:pt x="48" y="240"/>
                    </a:lnTo>
                    <a:lnTo>
                      <a:pt x="51" y="243"/>
                    </a:lnTo>
                    <a:lnTo>
                      <a:pt x="55" y="245"/>
                    </a:lnTo>
                    <a:lnTo>
                      <a:pt x="60" y="246"/>
                    </a:lnTo>
                    <a:lnTo>
                      <a:pt x="65" y="245"/>
                    </a:lnTo>
                    <a:lnTo>
                      <a:pt x="69" y="242"/>
                    </a:lnTo>
                    <a:lnTo>
                      <a:pt x="135" y="190"/>
                    </a:lnTo>
                    <a:lnTo>
                      <a:pt x="200" y="242"/>
                    </a:lnTo>
                    <a:lnTo>
                      <a:pt x="204" y="245"/>
                    </a:lnTo>
                    <a:lnTo>
                      <a:pt x="209" y="246"/>
                    </a:lnTo>
                    <a:lnTo>
                      <a:pt x="214" y="245"/>
                    </a:lnTo>
                    <a:lnTo>
                      <a:pt x="218" y="243"/>
                    </a:lnTo>
                    <a:lnTo>
                      <a:pt x="221" y="240"/>
                    </a:lnTo>
                    <a:lnTo>
                      <a:pt x="223" y="236"/>
                    </a:lnTo>
                    <a:lnTo>
                      <a:pt x="224" y="231"/>
                    </a:lnTo>
                    <a:lnTo>
                      <a:pt x="223" y="226"/>
                    </a:lnTo>
                    <a:lnTo>
                      <a:pt x="197" y="146"/>
                    </a:lnTo>
                    <a:lnTo>
                      <a:pt x="263" y="93"/>
                    </a:lnTo>
                    <a:lnTo>
                      <a:pt x="266" y="89"/>
                    </a:lnTo>
                    <a:lnTo>
                      <a:pt x="268" y="86"/>
                    </a:lnTo>
                    <a:lnTo>
                      <a:pt x="268" y="81"/>
                    </a:lnTo>
                    <a:lnTo>
                      <a:pt x="268" y="76"/>
                    </a:lnTo>
                    <a:lnTo>
                      <a:pt x="266" y="72"/>
                    </a:lnTo>
                    <a:lnTo>
                      <a:pt x="263" y="69"/>
                    </a:lnTo>
                    <a:lnTo>
                      <a:pt x="259" y="67"/>
                    </a:lnTo>
                    <a:lnTo>
                      <a:pt x="254" y="67"/>
                    </a:lnTo>
                    <a:lnTo>
                      <a:pt x="254" y="6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332"/>
              <p:cNvSpPr>
                <a:spLocks noEditPoints="1"/>
              </p:cNvSpPr>
              <p:nvPr/>
            </p:nvSpPr>
            <p:spPr bwMode="auto">
              <a:xfrm>
                <a:off x="11033125" y="1349375"/>
                <a:ext cx="284163" cy="284162"/>
              </a:xfrm>
              <a:custGeom>
                <a:avLst/>
                <a:gdLst>
                  <a:gd name="T0" fmla="*/ 794 w 898"/>
                  <a:gd name="T1" fmla="*/ 181 h 897"/>
                  <a:gd name="T2" fmla="*/ 861 w 898"/>
                  <a:gd name="T3" fmla="*/ 209 h 897"/>
                  <a:gd name="T4" fmla="*/ 817 w 898"/>
                  <a:gd name="T5" fmla="*/ 324 h 897"/>
                  <a:gd name="T6" fmla="*/ 756 w 898"/>
                  <a:gd name="T7" fmla="*/ 367 h 897"/>
                  <a:gd name="T8" fmla="*/ 527 w 898"/>
                  <a:gd name="T9" fmla="*/ 521 h 897"/>
                  <a:gd name="T10" fmla="*/ 479 w 898"/>
                  <a:gd name="T11" fmla="*/ 583 h 897"/>
                  <a:gd name="T12" fmla="*/ 476 w 898"/>
                  <a:gd name="T13" fmla="*/ 697 h 897"/>
                  <a:gd name="T14" fmla="*/ 533 w 898"/>
                  <a:gd name="T15" fmla="*/ 793 h 897"/>
                  <a:gd name="T16" fmla="*/ 628 w 898"/>
                  <a:gd name="T17" fmla="*/ 867 h 897"/>
                  <a:gd name="T18" fmla="*/ 354 w 898"/>
                  <a:gd name="T19" fmla="*/ 803 h 897"/>
                  <a:gd name="T20" fmla="*/ 415 w 898"/>
                  <a:gd name="T21" fmla="*/ 720 h 897"/>
                  <a:gd name="T22" fmla="*/ 421 w 898"/>
                  <a:gd name="T23" fmla="*/ 595 h 897"/>
                  <a:gd name="T24" fmla="*/ 379 w 898"/>
                  <a:gd name="T25" fmla="*/ 528 h 897"/>
                  <a:gd name="T26" fmla="*/ 275 w 898"/>
                  <a:gd name="T27" fmla="*/ 460 h 897"/>
                  <a:gd name="T28" fmla="*/ 195 w 898"/>
                  <a:gd name="T29" fmla="*/ 371 h 897"/>
                  <a:gd name="T30" fmla="*/ 151 w 898"/>
                  <a:gd name="T31" fmla="*/ 260 h 897"/>
                  <a:gd name="T32" fmla="*/ 127 w 898"/>
                  <a:gd name="T33" fmla="*/ 91 h 897"/>
                  <a:gd name="T34" fmla="*/ 767 w 898"/>
                  <a:gd name="T35" fmla="*/ 145 h 897"/>
                  <a:gd name="T36" fmla="*/ 737 w 898"/>
                  <a:gd name="T37" fmla="*/ 296 h 897"/>
                  <a:gd name="T38" fmla="*/ 688 w 898"/>
                  <a:gd name="T39" fmla="*/ 393 h 897"/>
                  <a:gd name="T40" fmla="*/ 590 w 898"/>
                  <a:gd name="T41" fmla="*/ 480 h 897"/>
                  <a:gd name="T42" fmla="*/ 54 w 898"/>
                  <a:gd name="T43" fmla="*/ 280 h 897"/>
                  <a:gd name="T44" fmla="*/ 30 w 898"/>
                  <a:gd name="T45" fmla="*/ 116 h 897"/>
                  <a:gd name="T46" fmla="*/ 112 w 898"/>
                  <a:gd name="T47" fmla="*/ 221 h 897"/>
                  <a:gd name="T48" fmla="*/ 140 w 898"/>
                  <a:gd name="T49" fmla="*/ 367 h 897"/>
                  <a:gd name="T50" fmla="*/ 89 w 898"/>
                  <a:gd name="T51" fmla="*/ 336 h 897"/>
                  <a:gd name="T52" fmla="*/ 893 w 898"/>
                  <a:gd name="T53" fmla="*/ 64 h 897"/>
                  <a:gd name="T54" fmla="*/ 803 w 898"/>
                  <a:gd name="T55" fmla="*/ 37 h 897"/>
                  <a:gd name="T56" fmla="*/ 797 w 898"/>
                  <a:gd name="T57" fmla="*/ 2 h 897"/>
                  <a:gd name="T58" fmla="*/ 102 w 898"/>
                  <a:gd name="T59" fmla="*/ 2 h 897"/>
                  <a:gd name="T60" fmla="*/ 96 w 898"/>
                  <a:gd name="T61" fmla="*/ 37 h 897"/>
                  <a:gd name="T62" fmla="*/ 5 w 898"/>
                  <a:gd name="T63" fmla="*/ 64 h 897"/>
                  <a:gd name="T64" fmla="*/ 0 w 898"/>
                  <a:gd name="T65" fmla="*/ 117 h 897"/>
                  <a:gd name="T66" fmla="*/ 15 w 898"/>
                  <a:gd name="T67" fmla="*/ 258 h 897"/>
                  <a:gd name="T68" fmla="*/ 80 w 898"/>
                  <a:gd name="T69" fmla="*/ 368 h 897"/>
                  <a:gd name="T70" fmla="*/ 179 w 898"/>
                  <a:gd name="T71" fmla="*/ 403 h 897"/>
                  <a:gd name="T72" fmla="*/ 293 w 898"/>
                  <a:gd name="T73" fmla="*/ 507 h 897"/>
                  <a:gd name="T74" fmla="*/ 371 w 898"/>
                  <a:gd name="T75" fmla="*/ 564 h 897"/>
                  <a:gd name="T76" fmla="*/ 395 w 898"/>
                  <a:gd name="T77" fmla="*/ 625 h 897"/>
                  <a:gd name="T78" fmla="*/ 374 w 898"/>
                  <a:gd name="T79" fmla="*/ 743 h 897"/>
                  <a:gd name="T80" fmla="*/ 301 w 898"/>
                  <a:gd name="T81" fmla="*/ 789 h 897"/>
                  <a:gd name="T82" fmla="*/ 244 w 898"/>
                  <a:gd name="T83" fmla="*/ 797 h 897"/>
                  <a:gd name="T84" fmla="*/ 241 w 898"/>
                  <a:gd name="T85" fmla="*/ 888 h 897"/>
                  <a:gd name="T86" fmla="*/ 643 w 898"/>
                  <a:gd name="T87" fmla="*/ 897 h 897"/>
                  <a:gd name="T88" fmla="*/ 658 w 898"/>
                  <a:gd name="T89" fmla="*/ 886 h 897"/>
                  <a:gd name="T90" fmla="*/ 652 w 898"/>
                  <a:gd name="T91" fmla="*/ 795 h 897"/>
                  <a:gd name="T92" fmla="*/ 580 w 898"/>
                  <a:gd name="T93" fmla="*/ 783 h 897"/>
                  <a:gd name="T94" fmla="*/ 515 w 898"/>
                  <a:gd name="T95" fmla="*/ 720 h 897"/>
                  <a:gd name="T96" fmla="*/ 502 w 898"/>
                  <a:gd name="T97" fmla="*/ 614 h 897"/>
                  <a:gd name="T98" fmla="*/ 531 w 898"/>
                  <a:gd name="T99" fmla="*/ 556 h 897"/>
                  <a:gd name="T100" fmla="*/ 621 w 898"/>
                  <a:gd name="T101" fmla="*/ 496 h 897"/>
                  <a:gd name="T102" fmla="*/ 734 w 898"/>
                  <a:gd name="T103" fmla="*/ 402 h 897"/>
                  <a:gd name="T104" fmla="*/ 827 w 898"/>
                  <a:gd name="T105" fmla="*/ 357 h 897"/>
                  <a:gd name="T106" fmla="*/ 876 w 898"/>
                  <a:gd name="T107" fmla="*/ 272 h 897"/>
                  <a:gd name="T108" fmla="*/ 898 w 898"/>
                  <a:gd name="T109" fmla="*/ 140 h 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898" h="897">
                    <a:moveTo>
                      <a:pt x="737" y="371"/>
                    </a:moveTo>
                    <a:lnTo>
                      <a:pt x="749" y="348"/>
                    </a:lnTo>
                    <a:lnTo>
                      <a:pt x="761" y="320"/>
                    </a:lnTo>
                    <a:lnTo>
                      <a:pt x="770" y="290"/>
                    </a:lnTo>
                    <a:lnTo>
                      <a:pt x="779" y="258"/>
                    </a:lnTo>
                    <a:lnTo>
                      <a:pt x="787" y="221"/>
                    </a:lnTo>
                    <a:lnTo>
                      <a:pt x="794" y="181"/>
                    </a:lnTo>
                    <a:lnTo>
                      <a:pt x="798" y="137"/>
                    </a:lnTo>
                    <a:lnTo>
                      <a:pt x="801" y="90"/>
                    </a:lnTo>
                    <a:lnTo>
                      <a:pt x="868" y="90"/>
                    </a:lnTo>
                    <a:lnTo>
                      <a:pt x="868" y="113"/>
                    </a:lnTo>
                    <a:lnTo>
                      <a:pt x="868" y="141"/>
                    </a:lnTo>
                    <a:lnTo>
                      <a:pt x="866" y="174"/>
                    </a:lnTo>
                    <a:lnTo>
                      <a:pt x="861" y="209"/>
                    </a:lnTo>
                    <a:lnTo>
                      <a:pt x="858" y="227"/>
                    </a:lnTo>
                    <a:lnTo>
                      <a:pt x="854" y="244"/>
                    </a:lnTo>
                    <a:lnTo>
                      <a:pt x="848" y="261"/>
                    </a:lnTo>
                    <a:lnTo>
                      <a:pt x="842" y="278"/>
                    </a:lnTo>
                    <a:lnTo>
                      <a:pt x="836" y="294"/>
                    </a:lnTo>
                    <a:lnTo>
                      <a:pt x="827" y="309"/>
                    </a:lnTo>
                    <a:lnTo>
                      <a:pt x="817" y="324"/>
                    </a:lnTo>
                    <a:lnTo>
                      <a:pt x="806" y="337"/>
                    </a:lnTo>
                    <a:lnTo>
                      <a:pt x="798" y="343"/>
                    </a:lnTo>
                    <a:lnTo>
                      <a:pt x="791" y="350"/>
                    </a:lnTo>
                    <a:lnTo>
                      <a:pt x="783" y="355"/>
                    </a:lnTo>
                    <a:lnTo>
                      <a:pt x="775" y="359"/>
                    </a:lnTo>
                    <a:lnTo>
                      <a:pt x="766" y="364"/>
                    </a:lnTo>
                    <a:lnTo>
                      <a:pt x="756" y="367"/>
                    </a:lnTo>
                    <a:lnTo>
                      <a:pt x="747" y="370"/>
                    </a:lnTo>
                    <a:lnTo>
                      <a:pt x="737" y="371"/>
                    </a:lnTo>
                    <a:lnTo>
                      <a:pt x="737" y="371"/>
                    </a:lnTo>
                    <a:close/>
                    <a:moveTo>
                      <a:pt x="574" y="490"/>
                    </a:moveTo>
                    <a:lnTo>
                      <a:pt x="553" y="503"/>
                    </a:lnTo>
                    <a:lnTo>
                      <a:pt x="535" y="514"/>
                    </a:lnTo>
                    <a:lnTo>
                      <a:pt x="527" y="521"/>
                    </a:lnTo>
                    <a:lnTo>
                      <a:pt x="518" y="528"/>
                    </a:lnTo>
                    <a:lnTo>
                      <a:pt x="509" y="536"/>
                    </a:lnTo>
                    <a:lnTo>
                      <a:pt x="502" y="543"/>
                    </a:lnTo>
                    <a:lnTo>
                      <a:pt x="496" y="552"/>
                    </a:lnTo>
                    <a:lnTo>
                      <a:pt x="489" y="561"/>
                    </a:lnTo>
                    <a:lnTo>
                      <a:pt x="484" y="572"/>
                    </a:lnTo>
                    <a:lnTo>
                      <a:pt x="479" y="583"/>
                    </a:lnTo>
                    <a:lnTo>
                      <a:pt x="476" y="595"/>
                    </a:lnTo>
                    <a:lnTo>
                      <a:pt x="473" y="607"/>
                    </a:lnTo>
                    <a:lnTo>
                      <a:pt x="471" y="621"/>
                    </a:lnTo>
                    <a:lnTo>
                      <a:pt x="471" y="637"/>
                    </a:lnTo>
                    <a:lnTo>
                      <a:pt x="472" y="659"/>
                    </a:lnTo>
                    <a:lnTo>
                      <a:pt x="473" y="678"/>
                    </a:lnTo>
                    <a:lnTo>
                      <a:pt x="476" y="697"/>
                    </a:lnTo>
                    <a:lnTo>
                      <a:pt x="481" y="714"/>
                    </a:lnTo>
                    <a:lnTo>
                      <a:pt x="486" y="730"/>
                    </a:lnTo>
                    <a:lnTo>
                      <a:pt x="493" y="745"/>
                    </a:lnTo>
                    <a:lnTo>
                      <a:pt x="501" y="759"/>
                    </a:lnTo>
                    <a:lnTo>
                      <a:pt x="510" y="771"/>
                    </a:lnTo>
                    <a:lnTo>
                      <a:pt x="521" y="783"/>
                    </a:lnTo>
                    <a:lnTo>
                      <a:pt x="533" y="793"/>
                    </a:lnTo>
                    <a:lnTo>
                      <a:pt x="546" y="800"/>
                    </a:lnTo>
                    <a:lnTo>
                      <a:pt x="560" y="807"/>
                    </a:lnTo>
                    <a:lnTo>
                      <a:pt x="576" y="813"/>
                    </a:lnTo>
                    <a:lnTo>
                      <a:pt x="592" y="817"/>
                    </a:lnTo>
                    <a:lnTo>
                      <a:pt x="610" y="820"/>
                    </a:lnTo>
                    <a:lnTo>
                      <a:pt x="628" y="822"/>
                    </a:lnTo>
                    <a:lnTo>
                      <a:pt x="628" y="867"/>
                    </a:lnTo>
                    <a:lnTo>
                      <a:pt x="270" y="867"/>
                    </a:lnTo>
                    <a:lnTo>
                      <a:pt x="270" y="822"/>
                    </a:lnTo>
                    <a:lnTo>
                      <a:pt x="289" y="820"/>
                    </a:lnTo>
                    <a:lnTo>
                      <a:pt x="307" y="818"/>
                    </a:lnTo>
                    <a:lnTo>
                      <a:pt x="324" y="814"/>
                    </a:lnTo>
                    <a:lnTo>
                      <a:pt x="340" y="810"/>
                    </a:lnTo>
                    <a:lnTo>
                      <a:pt x="354" y="803"/>
                    </a:lnTo>
                    <a:lnTo>
                      <a:pt x="366" y="796"/>
                    </a:lnTo>
                    <a:lnTo>
                      <a:pt x="378" y="786"/>
                    </a:lnTo>
                    <a:lnTo>
                      <a:pt x="387" y="775"/>
                    </a:lnTo>
                    <a:lnTo>
                      <a:pt x="396" y="764"/>
                    </a:lnTo>
                    <a:lnTo>
                      <a:pt x="404" y="751"/>
                    </a:lnTo>
                    <a:lnTo>
                      <a:pt x="410" y="736"/>
                    </a:lnTo>
                    <a:lnTo>
                      <a:pt x="415" y="720"/>
                    </a:lnTo>
                    <a:lnTo>
                      <a:pt x="420" y="702"/>
                    </a:lnTo>
                    <a:lnTo>
                      <a:pt x="423" y="681"/>
                    </a:lnTo>
                    <a:lnTo>
                      <a:pt x="425" y="660"/>
                    </a:lnTo>
                    <a:lnTo>
                      <a:pt x="425" y="637"/>
                    </a:lnTo>
                    <a:lnTo>
                      <a:pt x="425" y="621"/>
                    </a:lnTo>
                    <a:lnTo>
                      <a:pt x="423" y="607"/>
                    </a:lnTo>
                    <a:lnTo>
                      <a:pt x="421" y="595"/>
                    </a:lnTo>
                    <a:lnTo>
                      <a:pt x="416" y="583"/>
                    </a:lnTo>
                    <a:lnTo>
                      <a:pt x="412" y="572"/>
                    </a:lnTo>
                    <a:lnTo>
                      <a:pt x="407" y="561"/>
                    </a:lnTo>
                    <a:lnTo>
                      <a:pt x="401" y="553"/>
                    </a:lnTo>
                    <a:lnTo>
                      <a:pt x="394" y="544"/>
                    </a:lnTo>
                    <a:lnTo>
                      <a:pt x="386" y="536"/>
                    </a:lnTo>
                    <a:lnTo>
                      <a:pt x="379" y="528"/>
                    </a:lnTo>
                    <a:lnTo>
                      <a:pt x="370" y="522"/>
                    </a:lnTo>
                    <a:lnTo>
                      <a:pt x="362" y="516"/>
                    </a:lnTo>
                    <a:lnTo>
                      <a:pt x="344" y="503"/>
                    </a:lnTo>
                    <a:lnTo>
                      <a:pt x="324" y="491"/>
                    </a:lnTo>
                    <a:lnTo>
                      <a:pt x="308" y="481"/>
                    </a:lnTo>
                    <a:lnTo>
                      <a:pt x="292" y="472"/>
                    </a:lnTo>
                    <a:lnTo>
                      <a:pt x="275" y="460"/>
                    </a:lnTo>
                    <a:lnTo>
                      <a:pt x="258" y="446"/>
                    </a:lnTo>
                    <a:lnTo>
                      <a:pt x="242" y="431"/>
                    </a:lnTo>
                    <a:lnTo>
                      <a:pt x="226" y="414"/>
                    </a:lnTo>
                    <a:lnTo>
                      <a:pt x="217" y="404"/>
                    </a:lnTo>
                    <a:lnTo>
                      <a:pt x="210" y="394"/>
                    </a:lnTo>
                    <a:lnTo>
                      <a:pt x="202" y="383"/>
                    </a:lnTo>
                    <a:lnTo>
                      <a:pt x="195" y="371"/>
                    </a:lnTo>
                    <a:lnTo>
                      <a:pt x="188" y="358"/>
                    </a:lnTo>
                    <a:lnTo>
                      <a:pt x="181" y="344"/>
                    </a:lnTo>
                    <a:lnTo>
                      <a:pt x="174" y="329"/>
                    </a:lnTo>
                    <a:lnTo>
                      <a:pt x="167" y="313"/>
                    </a:lnTo>
                    <a:lnTo>
                      <a:pt x="162" y="297"/>
                    </a:lnTo>
                    <a:lnTo>
                      <a:pt x="157" y="279"/>
                    </a:lnTo>
                    <a:lnTo>
                      <a:pt x="151" y="260"/>
                    </a:lnTo>
                    <a:lnTo>
                      <a:pt x="146" y="240"/>
                    </a:lnTo>
                    <a:lnTo>
                      <a:pt x="142" y="218"/>
                    </a:lnTo>
                    <a:lnTo>
                      <a:pt x="137" y="196"/>
                    </a:lnTo>
                    <a:lnTo>
                      <a:pt x="134" y="172"/>
                    </a:lnTo>
                    <a:lnTo>
                      <a:pt x="131" y="147"/>
                    </a:lnTo>
                    <a:lnTo>
                      <a:pt x="129" y="120"/>
                    </a:lnTo>
                    <a:lnTo>
                      <a:pt x="127" y="91"/>
                    </a:lnTo>
                    <a:lnTo>
                      <a:pt x="126" y="61"/>
                    </a:lnTo>
                    <a:lnTo>
                      <a:pt x="126" y="30"/>
                    </a:lnTo>
                    <a:lnTo>
                      <a:pt x="774" y="30"/>
                    </a:lnTo>
                    <a:lnTo>
                      <a:pt x="774" y="61"/>
                    </a:lnTo>
                    <a:lnTo>
                      <a:pt x="771" y="91"/>
                    </a:lnTo>
                    <a:lnTo>
                      <a:pt x="770" y="119"/>
                    </a:lnTo>
                    <a:lnTo>
                      <a:pt x="767" y="145"/>
                    </a:lnTo>
                    <a:lnTo>
                      <a:pt x="765" y="171"/>
                    </a:lnTo>
                    <a:lnTo>
                      <a:pt x="761" y="195"/>
                    </a:lnTo>
                    <a:lnTo>
                      <a:pt x="758" y="217"/>
                    </a:lnTo>
                    <a:lnTo>
                      <a:pt x="753" y="239"/>
                    </a:lnTo>
                    <a:lnTo>
                      <a:pt x="748" y="259"/>
                    </a:lnTo>
                    <a:lnTo>
                      <a:pt x="743" y="278"/>
                    </a:lnTo>
                    <a:lnTo>
                      <a:pt x="737" y="296"/>
                    </a:lnTo>
                    <a:lnTo>
                      <a:pt x="731" y="312"/>
                    </a:lnTo>
                    <a:lnTo>
                      <a:pt x="724" y="328"/>
                    </a:lnTo>
                    <a:lnTo>
                      <a:pt x="718" y="343"/>
                    </a:lnTo>
                    <a:lnTo>
                      <a:pt x="710" y="356"/>
                    </a:lnTo>
                    <a:lnTo>
                      <a:pt x="704" y="369"/>
                    </a:lnTo>
                    <a:lnTo>
                      <a:pt x="697" y="382"/>
                    </a:lnTo>
                    <a:lnTo>
                      <a:pt x="688" y="393"/>
                    </a:lnTo>
                    <a:lnTo>
                      <a:pt x="681" y="403"/>
                    </a:lnTo>
                    <a:lnTo>
                      <a:pt x="673" y="413"/>
                    </a:lnTo>
                    <a:lnTo>
                      <a:pt x="656" y="430"/>
                    </a:lnTo>
                    <a:lnTo>
                      <a:pt x="640" y="445"/>
                    </a:lnTo>
                    <a:lnTo>
                      <a:pt x="623" y="459"/>
                    </a:lnTo>
                    <a:lnTo>
                      <a:pt x="606" y="471"/>
                    </a:lnTo>
                    <a:lnTo>
                      <a:pt x="590" y="480"/>
                    </a:lnTo>
                    <a:lnTo>
                      <a:pt x="574" y="490"/>
                    </a:lnTo>
                    <a:lnTo>
                      <a:pt x="574" y="490"/>
                    </a:lnTo>
                    <a:close/>
                    <a:moveTo>
                      <a:pt x="89" y="336"/>
                    </a:moveTo>
                    <a:lnTo>
                      <a:pt x="78" y="324"/>
                    </a:lnTo>
                    <a:lnTo>
                      <a:pt x="69" y="310"/>
                    </a:lnTo>
                    <a:lnTo>
                      <a:pt x="61" y="295"/>
                    </a:lnTo>
                    <a:lnTo>
                      <a:pt x="54" y="280"/>
                    </a:lnTo>
                    <a:lnTo>
                      <a:pt x="49" y="264"/>
                    </a:lnTo>
                    <a:lnTo>
                      <a:pt x="43" y="247"/>
                    </a:lnTo>
                    <a:lnTo>
                      <a:pt x="40" y="230"/>
                    </a:lnTo>
                    <a:lnTo>
                      <a:pt x="37" y="213"/>
                    </a:lnTo>
                    <a:lnTo>
                      <a:pt x="32" y="178"/>
                    </a:lnTo>
                    <a:lnTo>
                      <a:pt x="30" y="145"/>
                    </a:lnTo>
                    <a:lnTo>
                      <a:pt x="30" y="116"/>
                    </a:lnTo>
                    <a:lnTo>
                      <a:pt x="30" y="90"/>
                    </a:lnTo>
                    <a:lnTo>
                      <a:pt x="30" y="90"/>
                    </a:lnTo>
                    <a:lnTo>
                      <a:pt x="30" y="90"/>
                    </a:lnTo>
                    <a:lnTo>
                      <a:pt x="97" y="90"/>
                    </a:lnTo>
                    <a:lnTo>
                      <a:pt x="100" y="137"/>
                    </a:lnTo>
                    <a:lnTo>
                      <a:pt x="105" y="181"/>
                    </a:lnTo>
                    <a:lnTo>
                      <a:pt x="112" y="221"/>
                    </a:lnTo>
                    <a:lnTo>
                      <a:pt x="119" y="258"/>
                    </a:lnTo>
                    <a:lnTo>
                      <a:pt x="128" y="291"/>
                    </a:lnTo>
                    <a:lnTo>
                      <a:pt x="137" y="321"/>
                    </a:lnTo>
                    <a:lnTo>
                      <a:pt x="149" y="348"/>
                    </a:lnTo>
                    <a:lnTo>
                      <a:pt x="161" y="372"/>
                    </a:lnTo>
                    <a:lnTo>
                      <a:pt x="150" y="370"/>
                    </a:lnTo>
                    <a:lnTo>
                      <a:pt x="140" y="367"/>
                    </a:lnTo>
                    <a:lnTo>
                      <a:pt x="131" y="364"/>
                    </a:lnTo>
                    <a:lnTo>
                      <a:pt x="121" y="359"/>
                    </a:lnTo>
                    <a:lnTo>
                      <a:pt x="113" y="355"/>
                    </a:lnTo>
                    <a:lnTo>
                      <a:pt x="105" y="350"/>
                    </a:lnTo>
                    <a:lnTo>
                      <a:pt x="97" y="343"/>
                    </a:lnTo>
                    <a:lnTo>
                      <a:pt x="89" y="336"/>
                    </a:lnTo>
                    <a:lnTo>
                      <a:pt x="89" y="336"/>
                    </a:lnTo>
                    <a:close/>
                    <a:moveTo>
                      <a:pt x="898" y="86"/>
                    </a:moveTo>
                    <a:lnTo>
                      <a:pt x="898" y="80"/>
                    </a:lnTo>
                    <a:lnTo>
                      <a:pt x="898" y="75"/>
                    </a:lnTo>
                    <a:lnTo>
                      <a:pt x="898" y="72"/>
                    </a:lnTo>
                    <a:lnTo>
                      <a:pt x="897" y="70"/>
                    </a:lnTo>
                    <a:lnTo>
                      <a:pt x="895" y="66"/>
                    </a:lnTo>
                    <a:lnTo>
                      <a:pt x="893" y="64"/>
                    </a:lnTo>
                    <a:lnTo>
                      <a:pt x="891" y="62"/>
                    </a:lnTo>
                    <a:lnTo>
                      <a:pt x="889" y="61"/>
                    </a:lnTo>
                    <a:lnTo>
                      <a:pt x="886" y="60"/>
                    </a:lnTo>
                    <a:lnTo>
                      <a:pt x="883" y="60"/>
                    </a:lnTo>
                    <a:lnTo>
                      <a:pt x="802" y="60"/>
                    </a:lnTo>
                    <a:lnTo>
                      <a:pt x="803" y="49"/>
                    </a:lnTo>
                    <a:lnTo>
                      <a:pt x="803" y="37"/>
                    </a:lnTo>
                    <a:lnTo>
                      <a:pt x="803" y="27"/>
                    </a:lnTo>
                    <a:lnTo>
                      <a:pt x="803" y="15"/>
                    </a:lnTo>
                    <a:lnTo>
                      <a:pt x="803" y="12"/>
                    </a:lnTo>
                    <a:lnTo>
                      <a:pt x="802" y="10"/>
                    </a:lnTo>
                    <a:lnTo>
                      <a:pt x="801" y="6"/>
                    </a:lnTo>
                    <a:lnTo>
                      <a:pt x="799" y="4"/>
                    </a:lnTo>
                    <a:lnTo>
                      <a:pt x="797" y="2"/>
                    </a:lnTo>
                    <a:lnTo>
                      <a:pt x="795" y="1"/>
                    </a:lnTo>
                    <a:lnTo>
                      <a:pt x="792" y="0"/>
                    </a:lnTo>
                    <a:lnTo>
                      <a:pt x="789" y="0"/>
                    </a:lnTo>
                    <a:lnTo>
                      <a:pt x="111" y="0"/>
                    </a:lnTo>
                    <a:lnTo>
                      <a:pt x="107" y="0"/>
                    </a:lnTo>
                    <a:lnTo>
                      <a:pt x="104" y="1"/>
                    </a:lnTo>
                    <a:lnTo>
                      <a:pt x="102" y="2"/>
                    </a:lnTo>
                    <a:lnTo>
                      <a:pt x="100" y="4"/>
                    </a:lnTo>
                    <a:lnTo>
                      <a:pt x="98" y="6"/>
                    </a:lnTo>
                    <a:lnTo>
                      <a:pt x="97" y="10"/>
                    </a:lnTo>
                    <a:lnTo>
                      <a:pt x="96" y="12"/>
                    </a:lnTo>
                    <a:lnTo>
                      <a:pt x="96" y="15"/>
                    </a:lnTo>
                    <a:lnTo>
                      <a:pt x="96" y="27"/>
                    </a:lnTo>
                    <a:lnTo>
                      <a:pt x="96" y="37"/>
                    </a:lnTo>
                    <a:lnTo>
                      <a:pt x="96" y="49"/>
                    </a:lnTo>
                    <a:lnTo>
                      <a:pt x="96" y="60"/>
                    </a:lnTo>
                    <a:lnTo>
                      <a:pt x="15" y="60"/>
                    </a:lnTo>
                    <a:lnTo>
                      <a:pt x="12" y="60"/>
                    </a:lnTo>
                    <a:lnTo>
                      <a:pt x="10" y="61"/>
                    </a:lnTo>
                    <a:lnTo>
                      <a:pt x="7" y="62"/>
                    </a:lnTo>
                    <a:lnTo>
                      <a:pt x="5" y="64"/>
                    </a:lnTo>
                    <a:lnTo>
                      <a:pt x="4" y="66"/>
                    </a:lnTo>
                    <a:lnTo>
                      <a:pt x="1" y="70"/>
                    </a:lnTo>
                    <a:lnTo>
                      <a:pt x="1" y="72"/>
                    </a:lnTo>
                    <a:lnTo>
                      <a:pt x="0" y="75"/>
                    </a:lnTo>
                    <a:lnTo>
                      <a:pt x="0" y="82"/>
                    </a:lnTo>
                    <a:lnTo>
                      <a:pt x="0" y="90"/>
                    </a:lnTo>
                    <a:lnTo>
                      <a:pt x="0" y="117"/>
                    </a:lnTo>
                    <a:lnTo>
                      <a:pt x="0" y="149"/>
                    </a:lnTo>
                    <a:lnTo>
                      <a:pt x="1" y="166"/>
                    </a:lnTo>
                    <a:lnTo>
                      <a:pt x="3" y="184"/>
                    </a:lnTo>
                    <a:lnTo>
                      <a:pt x="5" y="202"/>
                    </a:lnTo>
                    <a:lnTo>
                      <a:pt x="8" y="220"/>
                    </a:lnTo>
                    <a:lnTo>
                      <a:pt x="11" y="240"/>
                    </a:lnTo>
                    <a:lnTo>
                      <a:pt x="15" y="258"/>
                    </a:lnTo>
                    <a:lnTo>
                      <a:pt x="21" y="277"/>
                    </a:lnTo>
                    <a:lnTo>
                      <a:pt x="28" y="294"/>
                    </a:lnTo>
                    <a:lnTo>
                      <a:pt x="36" y="311"/>
                    </a:lnTo>
                    <a:lnTo>
                      <a:pt x="45" y="328"/>
                    </a:lnTo>
                    <a:lnTo>
                      <a:pt x="56" y="343"/>
                    </a:lnTo>
                    <a:lnTo>
                      <a:pt x="68" y="357"/>
                    </a:lnTo>
                    <a:lnTo>
                      <a:pt x="80" y="368"/>
                    </a:lnTo>
                    <a:lnTo>
                      <a:pt x="91" y="376"/>
                    </a:lnTo>
                    <a:lnTo>
                      <a:pt x="104" y="384"/>
                    </a:lnTo>
                    <a:lnTo>
                      <a:pt x="118" y="390"/>
                    </a:lnTo>
                    <a:lnTo>
                      <a:pt x="132" y="396"/>
                    </a:lnTo>
                    <a:lnTo>
                      <a:pt x="147" y="400"/>
                    </a:lnTo>
                    <a:lnTo>
                      <a:pt x="163" y="402"/>
                    </a:lnTo>
                    <a:lnTo>
                      <a:pt x="179" y="403"/>
                    </a:lnTo>
                    <a:lnTo>
                      <a:pt x="195" y="425"/>
                    </a:lnTo>
                    <a:lnTo>
                      <a:pt x="211" y="443"/>
                    </a:lnTo>
                    <a:lnTo>
                      <a:pt x="227" y="459"/>
                    </a:lnTo>
                    <a:lnTo>
                      <a:pt x="243" y="473"/>
                    </a:lnTo>
                    <a:lnTo>
                      <a:pt x="260" y="486"/>
                    </a:lnTo>
                    <a:lnTo>
                      <a:pt x="276" y="497"/>
                    </a:lnTo>
                    <a:lnTo>
                      <a:pt x="293" y="507"/>
                    </a:lnTo>
                    <a:lnTo>
                      <a:pt x="308" y="517"/>
                    </a:lnTo>
                    <a:lnTo>
                      <a:pt x="328" y="528"/>
                    </a:lnTo>
                    <a:lnTo>
                      <a:pt x="345" y="539"/>
                    </a:lnTo>
                    <a:lnTo>
                      <a:pt x="352" y="545"/>
                    </a:lnTo>
                    <a:lnTo>
                      <a:pt x="359" y="551"/>
                    </a:lnTo>
                    <a:lnTo>
                      <a:pt x="366" y="557"/>
                    </a:lnTo>
                    <a:lnTo>
                      <a:pt x="371" y="564"/>
                    </a:lnTo>
                    <a:lnTo>
                      <a:pt x="377" y="570"/>
                    </a:lnTo>
                    <a:lnTo>
                      <a:pt x="382" y="578"/>
                    </a:lnTo>
                    <a:lnTo>
                      <a:pt x="385" y="585"/>
                    </a:lnTo>
                    <a:lnTo>
                      <a:pt x="390" y="594"/>
                    </a:lnTo>
                    <a:lnTo>
                      <a:pt x="392" y="603"/>
                    </a:lnTo>
                    <a:lnTo>
                      <a:pt x="394" y="614"/>
                    </a:lnTo>
                    <a:lnTo>
                      <a:pt x="395" y="625"/>
                    </a:lnTo>
                    <a:lnTo>
                      <a:pt x="395" y="636"/>
                    </a:lnTo>
                    <a:lnTo>
                      <a:pt x="395" y="660"/>
                    </a:lnTo>
                    <a:lnTo>
                      <a:pt x="393" y="681"/>
                    </a:lnTo>
                    <a:lnTo>
                      <a:pt x="390" y="699"/>
                    </a:lnTo>
                    <a:lnTo>
                      <a:pt x="385" y="717"/>
                    </a:lnTo>
                    <a:lnTo>
                      <a:pt x="380" y="730"/>
                    </a:lnTo>
                    <a:lnTo>
                      <a:pt x="374" y="743"/>
                    </a:lnTo>
                    <a:lnTo>
                      <a:pt x="366" y="754"/>
                    </a:lnTo>
                    <a:lnTo>
                      <a:pt x="358" y="764"/>
                    </a:lnTo>
                    <a:lnTo>
                      <a:pt x="348" y="771"/>
                    </a:lnTo>
                    <a:lnTo>
                      <a:pt x="338" y="778"/>
                    </a:lnTo>
                    <a:lnTo>
                      <a:pt x="327" y="783"/>
                    </a:lnTo>
                    <a:lnTo>
                      <a:pt x="314" y="786"/>
                    </a:lnTo>
                    <a:lnTo>
                      <a:pt x="301" y="789"/>
                    </a:lnTo>
                    <a:lnTo>
                      <a:pt x="287" y="791"/>
                    </a:lnTo>
                    <a:lnTo>
                      <a:pt x="271" y="793"/>
                    </a:lnTo>
                    <a:lnTo>
                      <a:pt x="255" y="793"/>
                    </a:lnTo>
                    <a:lnTo>
                      <a:pt x="252" y="793"/>
                    </a:lnTo>
                    <a:lnTo>
                      <a:pt x="250" y="794"/>
                    </a:lnTo>
                    <a:lnTo>
                      <a:pt x="246" y="795"/>
                    </a:lnTo>
                    <a:lnTo>
                      <a:pt x="244" y="797"/>
                    </a:lnTo>
                    <a:lnTo>
                      <a:pt x="242" y="799"/>
                    </a:lnTo>
                    <a:lnTo>
                      <a:pt x="241" y="802"/>
                    </a:lnTo>
                    <a:lnTo>
                      <a:pt x="240" y="804"/>
                    </a:lnTo>
                    <a:lnTo>
                      <a:pt x="240" y="807"/>
                    </a:lnTo>
                    <a:lnTo>
                      <a:pt x="240" y="882"/>
                    </a:lnTo>
                    <a:lnTo>
                      <a:pt x="240" y="886"/>
                    </a:lnTo>
                    <a:lnTo>
                      <a:pt x="241" y="888"/>
                    </a:lnTo>
                    <a:lnTo>
                      <a:pt x="242" y="891"/>
                    </a:lnTo>
                    <a:lnTo>
                      <a:pt x="244" y="893"/>
                    </a:lnTo>
                    <a:lnTo>
                      <a:pt x="246" y="894"/>
                    </a:lnTo>
                    <a:lnTo>
                      <a:pt x="250" y="896"/>
                    </a:lnTo>
                    <a:lnTo>
                      <a:pt x="252" y="897"/>
                    </a:lnTo>
                    <a:lnTo>
                      <a:pt x="255" y="897"/>
                    </a:lnTo>
                    <a:lnTo>
                      <a:pt x="643" y="897"/>
                    </a:lnTo>
                    <a:lnTo>
                      <a:pt x="646" y="897"/>
                    </a:lnTo>
                    <a:lnTo>
                      <a:pt x="649" y="896"/>
                    </a:lnTo>
                    <a:lnTo>
                      <a:pt x="652" y="894"/>
                    </a:lnTo>
                    <a:lnTo>
                      <a:pt x="654" y="893"/>
                    </a:lnTo>
                    <a:lnTo>
                      <a:pt x="656" y="891"/>
                    </a:lnTo>
                    <a:lnTo>
                      <a:pt x="657" y="888"/>
                    </a:lnTo>
                    <a:lnTo>
                      <a:pt x="658" y="886"/>
                    </a:lnTo>
                    <a:lnTo>
                      <a:pt x="658" y="882"/>
                    </a:lnTo>
                    <a:lnTo>
                      <a:pt x="658" y="807"/>
                    </a:lnTo>
                    <a:lnTo>
                      <a:pt x="658" y="804"/>
                    </a:lnTo>
                    <a:lnTo>
                      <a:pt x="657" y="802"/>
                    </a:lnTo>
                    <a:lnTo>
                      <a:pt x="656" y="799"/>
                    </a:lnTo>
                    <a:lnTo>
                      <a:pt x="654" y="797"/>
                    </a:lnTo>
                    <a:lnTo>
                      <a:pt x="652" y="795"/>
                    </a:lnTo>
                    <a:lnTo>
                      <a:pt x="649" y="794"/>
                    </a:lnTo>
                    <a:lnTo>
                      <a:pt x="646" y="793"/>
                    </a:lnTo>
                    <a:lnTo>
                      <a:pt x="643" y="793"/>
                    </a:lnTo>
                    <a:lnTo>
                      <a:pt x="626" y="791"/>
                    </a:lnTo>
                    <a:lnTo>
                      <a:pt x="610" y="790"/>
                    </a:lnTo>
                    <a:lnTo>
                      <a:pt x="594" y="787"/>
                    </a:lnTo>
                    <a:lnTo>
                      <a:pt x="580" y="783"/>
                    </a:lnTo>
                    <a:lnTo>
                      <a:pt x="567" y="778"/>
                    </a:lnTo>
                    <a:lnTo>
                      <a:pt x="555" y="771"/>
                    </a:lnTo>
                    <a:lnTo>
                      <a:pt x="545" y="764"/>
                    </a:lnTo>
                    <a:lnTo>
                      <a:pt x="535" y="755"/>
                    </a:lnTo>
                    <a:lnTo>
                      <a:pt x="528" y="744"/>
                    </a:lnTo>
                    <a:lnTo>
                      <a:pt x="520" y="733"/>
                    </a:lnTo>
                    <a:lnTo>
                      <a:pt x="515" y="720"/>
                    </a:lnTo>
                    <a:lnTo>
                      <a:pt x="509" y="706"/>
                    </a:lnTo>
                    <a:lnTo>
                      <a:pt x="505" y="691"/>
                    </a:lnTo>
                    <a:lnTo>
                      <a:pt x="503" y="674"/>
                    </a:lnTo>
                    <a:lnTo>
                      <a:pt x="501" y="657"/>
                    </a:lnTo>
                    <a:lnTo>
                      <a:pt x="501" y="637"/>
                    </a:lnTo>
                    <a:lnTo>
                      <a:pt x="501" y="625"/>
                    </a:lnTo>
                    <a:lnTo>
                      <a:pt x="502" y="614"/>
                    </a:lnTo>
                    <a:lnTo>
                      <a:pt x="504" y="603"/>
                    </a:lnTo>
                    <a:lnTo>
                      <a:pt x="507" y="594"/>
                    </a:lnTo>
                    <a:lnTo>
                      <a:pt x="510" y="585"/>
                    </a:lnTo>
                    <a:lnTo>
                      <a:pt x="515" y="578"/>
                    </a:lnTo>
                    <a:lnTo>
                      <a:pt x="519" y="570"/>
                    </a:lnTo>
                    <a:lnTo>
                      <a:pt x="524" y="563"/>
                    </a:lnTo>
                    <a:lnTo>
                      <a:pt x="531" y="556"/>
                    </a:lnTo>
                    <a:lnTo>
                      <a:pt x="537" y="550"/>
                    </a:lnTo>
                    <a:lnTo>
                      <a:pt x="545" y="544"/>
                    </a:lnTo>
                    <a:lnTo>
                      <a:pt x="552" y="539"/>
                    </a:lnTo>
                    <a:lnTo>
                      <a:pt x="569" y="527"/>
                    </a:lnTo>
                    <a:lnTo>
                      <a:pt x="589" y="516"/>
                    </a:lnTo>
                    <a:lnTo>
                      <a:pt x="605" y="506"/>
                    </a:lnTo>
                    <a:lnTo>
                      <a:pt x="621" y="496"/>
                    </a:lnTo>
                    <a:lnTo>
                      <a:pt x="637" y="484"/>
                    </a:lnTo>
                    <a:lnTo>
                      <a:pt x="654" y="473"/>
                    </a:lnTo>
                    <a:lnTo>
                      <a:pt x="670" y="459"/>
                    </a:lnTo>
                    <a:lnTo>
                      <a:pt x="687" y="443"/>
                    </a:lnTo>
                    <a:lnTo>
                      <a:pt x="703" y="425"/>
                    </a:lnTo>
                    <a:lnTo>
                      <a:pt x="718" y="403"/>
                    </a:lnTo>
                    <a:lnTo>
                      <a:pt x="734" y="402"/>
                    </a:lnTo>
                    <a:lnTo>
                      <a:pt x="750" y="400"/>
                    </a:lnTo>
                    <a:lnTo>
                      <a:pt x="764" y="396"/>
                    </a:lnTo>
                    <a:lnTo>
                      <a:pt x="778" y="390"/>
                    </a:lnTo>
                    <a:lnTo>
                      <a:pt x="792" y="384"/>
                    </a:lnTo>
                    <a:lnTo>
                      <a:pt x="805" y="376"/>
                    </a:lnTo>
                    <a:lnTo>
                      <a:pt x="816" y="368"/>
                    </a:lnTo>
                    <a:lnTo>
                      <a:pt x="827" y="357"/>
                    </a:lnTo>
                    <a:lnTo>
                      <a:pt x="833" y="350"/>
                    </a:lnTo>
                    <a:lnTo>
                      <a:pt x="840" y="342"/>
                    </a:lnTo>
                    <a:lnTo>
                      <a:pt x="846" y="335"/>
                    </a:lnTo>
                    <a:lnTo>
                      <a:pt x="852" y="326"/>
                    </a:lnTo>
                    <a:lnTo>
                      <a:pt x="861" y="309"/>
                    </a:lnTo>
                    <a:lnTo>
                      <a:pt x="869" y="291"/>
                    </a:lnTo>
                    <a:lnTo>
                      <a:pt x="876" y="272"/>
                    </a:lnTo>
                    <a:lnTo>
                      <a:pt x="882" y="252"/>
                    </a:lnTo>
                    <a:lnTo>
                      <a:pt x="887" y="233"/>
                    </a:lnTo>
                    <a:lnTo>
                      <a:pt x="890" y="214"/>
                    </a:lnTo>
                    <a:lnTo>
                      <a:pt x="893" y="195"/>
                    </a:lnTo>
                    <a:lnTo>
                      <a:pt x="895" y="175"/>
                    </a:lnTo>
                    <a:lnTo>
                      <a:pt x="897" y="157"/>
                    </a:lnTo>
                    <a:lnTo>
                      <a:pt x="898" y="140"/>
                    </a:lnTo>
                    <a:lnTo>
                      <a:pt x="898" y="110"/>
                    </a:lnTo>
                    <a:lnTo>
                      <a:pt x="898" y="8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
        <p:nvSpPr>
          <p:cNvPr id="7" name="Rectangle 6"/>
          <p:cNvSpPr/>
          <p:nvPr/>
        </p:nvSpPr>
        <p:spPr>
          <a:xfrm>
            <a:off x="5448592" y="2286727"/>
            <a:ext cx="6743408" cy="877757"/>
          </a:xfrm>
          <a:prstGeom prst="rect">
            <a:avLst/>
          </a:prstGeom>
          <a:solidFill>
            <a:srgbClr val="E2583D">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defRPr/>
            </a:pPr>
            <a:endParaRPr lang="en-US" sz="1000" dirty="0">
              <a:solidFill>
                <a:schemeClr val="tx1"/>
              </a:solidFill>
            </a:endParaRPr>
          </a:p>
        </p:txBody>
      </p:sp>
      <p:sp>
        <p:nvSpPr>
          <p:cNvPr id="195" name="Rectangle 194"/>
          <p:cNvSpPr/>
          <p:nvPr/>
        </p:nvSpPr>
        <p:spPr>
          <a:xfrm>
            <a:off x="5448592" y="3385433"/>
            <a:ext cx="6743408" cy="877757"/>
          </a:xfrm>
          <a:prstGeom prst="rect">
            <a:avLst/>
          </a:prstGeom>
          <a:solidFill>
            <a:srgbClr val="4CC7C4">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6" name="Rectangle 195"/>
          <p:cNvSpPr/>
          <p:nvPr/>
        </p:nvSpPr>
        <p:spPr>
          <a:xfrm>
            <a:off x="5448592" y="4484137"/>
            <a:ext cx="6743408" cy="877757"/>
          </a:xfrm>
          <a:prstGeom prst="rect">
            <a:avLst/>
          </a:prstGeom>
          <a:solidFill>
            <a:srgbClr val="3B3939">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p:nvSpPr>
        <p:spPr>
          <a:xfrm>
            <a:off x="5816384" y="2448606"/>
            <a:ext cx="5293739" cy="553998"/>
          </a:xfrm>
          <a:prstGeom prst="rect">
            <a:avLst/>
          </a:prstGeom>
        </p:spPr>
        <p:txBody>
          <a:bodyPr wrap="square">
            <a:spAutoFit/>
          </a:bodyPr>
          <a:lstStyle/>
          <a:p>
            <a:pPr lvl="0">
              <a:defRPr/>
            </a:pPr>
            <a:r>
              <a:rPr lang="en-US" sz="1000" dirty="0" err="1"/>
              <a:t>Lorem</a:t>
            </a:r>
            <a:r>
              <a:rPr lang="en-US" sz="1000" dirty="0"/>
              <a:t> </a:t>
            </a:r>
            <a:r>
              <a:rPr lang="en-US" sz="1000" dirty="0" err="1"/>
              <a:t>Ipsum</a:t>
            </a:r>
            <a:r>
              <a:rPr lang="en-US" sz="1000" dirty="0"/>
              <a:t> is simply dummy text of the printing and typesetting industry. </a:t>
            </a:r>
            <a:r>
              <a:rPr lang="en-US" sz="1000" dirty="0" err="1"/>
              <a:t>Lorem</a:t>
            </a:r>
            <a:r>
              <a:rPr lang="en-US" sz="1000" dirty="0"/>
              <a:t> </a:t>
            </a:r>
            <a:r>
              <a:rPr lang="en-US" sz="1000" dirty="0" err="1"/>
              <a:t>Ipsum</a:t>
            </a:r>
            <a:r>
              <a:rPr lang="en-US" sz="1000" dirty="0"/>
              <a:t> has been the industry's standard dummy text ever since the 1500s, when an unknown printer took a galley of type and scrambled it to make a type specimen book. </a:t>
            </a:r>
          </a:p>
        </p:txBody>
      </p:sp>
      <p:sp>
        <p:nvSpPr>
          <p:cNvPr id="197" name="Rectangle 196"/>
          <p:cNvSpPr/>
          <p:nvPr/>
        </p:nvSpPr>
        <p:spPr>
          <a:xfrm>
            <a:off x="5816384" y="3556126"/>
            <a:ext cx="5293739" cy="553998"/>
          </a:xfrm>
          <a:prstGeom prst="rect">
            <a:avLst/>
          </a:prstGeom>
        </p:spPr>
        <p:txBody>
          <a:bodyPr wrap="square">
            <a:spAutoFit/>
          </a:bodyPr>
          <a:lstStyle/>
          <a:p>
            <a:pPr lvl="0">
              <a:defRPr/>
            </a:pPr>
            <a:r>
              <a:rPr lang="en-US" sz="1000" dirty="0" err="1"/>
              <a:t>Lorem</a:t>
            </a:r>
            <a:r>
              <a:rPr lang="en-US" sz="1000" dirty="0"/>
              <a:t> </a:t>
            </a:r>
            <a:r>
              <a:rPr lang="en-US" sz="1000" dirty="0" err="1"/>
              <a:t>Ipsum</a:t>
            </a:r>
            <a:r>
              <a:rPr lang="en-US" sz="1000" dirty="0"/>
              <a:t> is simply dummy text of the printing and typesetting industry. </a:t>
            </a:r>
            <a:r>
              <a:rPr lang="en-US" sz="1000" dirty="0" err="1"/>
              <a:t>Lorem</a:t>
            </a:r>
            <a:r>
              <a:rPr lang="en-US" sz="1000" dirty="0"/>
              <a:t> </a:t>
            </a:r>
            <a:r>
              <a:rPr lang="en-US" sz="1000" dirty="0" err="1"/>
              <a:t>Ipsum</a:t>
            </a:r>
            <a:r>
              <a:rPr lang="en-US" sz="1000" dirty="0"/>
              <a:t> has been the industry's standard dummy text ever since the 1500s, when an unknown printer took a galley of type and scrambled it to make a type specimen book. </a:t>
            </a:r>
          </a:p>
        </p:txBody>
      </p:sp>
      <p:sp>
        <p:nvSpPr>
          <p:cNvPr id="198" name="Rectangle 197"/>
          <p:cNvSpPr/>
          <p:nvPr/>
        </p:nvSpPr>
        <p:spPr>
          <a:xfrm>
            <a:off x="5816384" y="4646016"/>
            <a:ext cx="5293739" cy="553998"/>
          </a:xfrm>
          <a:prstGeom prst="rect">
            <a:avLst/>
          </a:prstGeom>
        </p:spPr>
        <p:txBody>
          <a:bodyPr wrap="square">
            <a:spAutoFit/>
          </a:bodyPr>
          <a:lstStyle/>
          <a:p>
            <a:pPr lvl="0">
              <a:defRPr/>
            </a:pPr>
            <a:r>
              <a:rPr lang="en-US" sz="1000" dirty="0" err="1"/>
              <a:t>Lorem</a:t>
            </a:r>
            <a:r>
              <a:rPr lang="en-US" sz="1000" dirty="0"/>
              <a:t> </a:t>
            </a:r>
            <a:r>
              <a:rPr lang="en-US" sz="1000" dirty="0" err="1"/>
              <a:t>Ipsum</a:t>
            </a:r>
            <a:r>
              <a:rPr lang="en-US" sz="1000" dirty="0"/>
              <a:t> is simply dummy text of the printing and typesetting industry. </a:t>
            </a:r>
            <a:r>
              <a:rPr lang="en-US" sz="1000" dirty="0" err="1"/>
              <a:t>Lorem</a:t>
            </a:r>
            <a:r>
              <a:rPr lang="en-US" sz="1000" dirty="0"/>
              <a:t> </a:t>
            </a:r>
            <a:r>
              <a:rPr lang="en-US" sz="1000" dirty="0" err="1"/>
              <a:t>Ipsum</a:t>
            </a:r>
            <a:r>
              <a:rPr lang="en-US" sz="1000" dirty="0"/>
              <a:t> has been the industry's standard dummy text ever since the 1500s, when an unknown printer took a galley of type and scrambled it to make a type specimen book. </a:t>
            </a:r>
          </a:p>
        </p:txBody>
      </p:sp>
    </p:spTree>
    <p:extLst>
      <p:ext uri="{BB962C8B-B14F-4D97-AF65-F5344CB8AC3E}">
        <p14:creationId xmlns:p14="http://schemas.microsoft.com/office/powerpoint/2010/main" val="1116233067"/>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3" name="Rectangle 102"/>
          <p:cNvSpPr/>
          <p:nvPr/>
        </p:nvSpPr>
        <p:spPr>
          <a:xfrm>
            <a:off x="12344400" y="0"/>
            <a:ext cx="469900" cy="469900"/>
          </a:xfrm>
          <a:prstGeom prst="rect">
            <a:avLst/>
          </a:prstGeom>
          <a:solidFill>
            <a:srgbClr val="E7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4" name="Rectangle 103"/>
          <p:cNvSpPr/>
          <p:nvPr/>
        </p:nvSpPr>
        <p:spPr>
          <a:xfrm>
            <a:off x="12344400" y="649557"/>
            <a:ext cx="469900" cy="469900"/>
          </a:xfrm>
          <a:prstGeom prst="rect">
            <a:avLst/>
          </a:prstGeom>
          <a:solidFill>
            <a:srgbClr val="AFABA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5" name="Rectangle 104"/>
          <p:cNvSpPr/>
          <p:nvPr/>
        </p:nvSpPr>
        <p:spPr>
          <a:xfrm>
            <a:off x="12344400" y="1299114"/>
            <a:ext cx="469900" cy="469900"/>
          </a:xfrm>
          <a:prstGeom prst="rect">
            <a:avLst/>
          </a:prstGeom>
          <a:solidFill>
            <a:srgbClr val="76717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7" name="Rectangle 106"/>
          <p:cNvSpPr/>
          <p:nvPr/>
        </p:nvSpPr>
        <p:spPr>
          <a:xfrm>
            <a:off x="12966699" y="0"/>
            <a:ext cx="469900" cy="469900"/>
          </a:xfrm>
          <a:prstGeom prst="rect">
            <a:avLst/>
          </a:prstGeom>
          <a:solidFill>
            <a:srgbClr val="E8786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8" name="Rectangle 107"/>
          <p:cNvSpPr/>
          <p:nvPr/>
        </p:nvSpPr>
        <p:spPr>
          <a:xfrm>
            <a:off x="12966699" y="649557"/>
            <a:ext cx="469900" cy="469900"/>
          </a:xfrm>
          <a:prstGeom prst="rect">
            <a:avLst/>
          </a:prstGeom>
          <a:solidFill>
            <a:srgbClr val="E258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9" name="Rectangle 108"/>
          <p:cNvSpPr/>
          <p:nvPr/>
        </p:nvSpPr>
        <p:spPr>
          <a:xfrm>
            <a:off x="12966699" y="1299114"/>
            <a:ext cx="469900" cy="469900"/>
          </a:xfrm>
          <a:prstGeom prst="rect">
            <a:avLst/>
          </a:prstGeom>
          <a:solidFill>
            <a:srgbClr val="D63E2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0" name="Rectangle 109"/>
          <p:cNvSpPr/>
          <p:nvPr/>
        </p:nvSpPr>
        <p:spPr>
          <a:xfrm>
            <a:off x="13588998" y="0"/>
            <a:ext cx="469900" cy="469900"/>
          </a:xfrm>
          <a:prstGeom prst="rect">
            <a:avLst/>
          </a:prstGeom>
          <a:solidFill>
            <a:srgbClr val="8EDCD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1" name="Rectangle 110"/>
          <p:cNvSpPr/>
          <p:nvPr/>
        </p:nvSpPr>
        <p:spPr>
          <a:xfrm>
            <a:off x="13588998" y="649557"/>
            <a:ext cx="469900" cy="469900"/>
          </a:xfrm>
          <a:prstGeom prst="rect">
            <a:avLst/>
          </a:prstGeom>
          <a:solidFill>
            <a:srgbClr val="78D2D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2" name="Rectangle 111"/>
          <p:cNvSpPr/>
          <p:nvPr/>
        </p:nvSpPr>
        <p:spPr>
          <a:xfrm>
            <a:off x="13588998" y="1299114"/>
            <a:ext cx="469900" cy="469900"/>
          </a:xfrm>
          <a:prstGeom prst="rect">
            <a:avLst/>
          </a:prstGeom>
          <a:solidFill>
            <a:srgbClr val="4CC7C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3" name="Rectangle 112"/>
          <p:cNvSpPr/>
          <p:nvPr/>
        </p:nvSpPr>
        <p:spPr>
          <a:xfrm>
            <a:off x="14211297" y="0"/>
            <a:ext cx="469900" cy="469900"/>
          </a:xfrm>
          <a:prstGeom prst="rect">
            <a:avLst/>
          </a:prstGeom>
          <a:solidFill>
            <a:srgbClr val="55535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4" name="Rectangle 113"/>
          <p:cNvSpPr/>
          <p:nvPr/>
        </p:nvSpPr>
        <p:spPr>
          <a:xfrm>
            <a:off x="14211297" y="649557"/>
            <a:ext cx="469900" cy="469900"/>
          </a:xfrm>
          <a:prstGeom prst="rect">
            <a:avLst/>
          </a:prstGeom>
          <a:solidFill>
            <a:srgbClr val="3B393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5" name="Rectangle 114"/>
          <p:cNvSpPr/>
          <p:nvPr/>
        </p:nvSpPr>
        <p:spPr>
          <a:xfrm>
            <a:off x="14211297" y="1299114"/>
            <a:ext cx="469900" cy="469900"/>
          </a:xfrm>
          <a:prstGeom prst="rect">
            <a:avLst/>
          </a:prstGeom>
          <a:solidFill>
            <a:srgbClr val="25232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ext Placeholder 1"/>
          <p:cNvSpPr>
            <a:spLocks noGrp="1"/>
          </p:cNvSpPr>
          <p:nvPr>
            <p:ph type="body" sz="quarter" idx="14"/>
          </p:nvPr>
        </p:nvSpPr>
        <p:spPr/>
        <p:txBody>
          <a:bodyPr/>
          <a:lstStyle/>
          <a:p>
            <a:r>
              <a:rPr lang="en-US" dirty="0"/>
              <a:t>Lorem Ipsum is simply dummy text of the printing and typesetting industry. Lorem Ipsum has been the industry's standard dummy text ever since the 1500s, when an unknown printer took a galley of type and scrambled it to make a type specimen book. </a:t>
            </a:r>
          </a:p>
        </p:txBody>
      </p:sp>
      <p:sp>
        <p:nvSpPr>
          <p:cNvPr id="120" name="Text Placeholder 119"/>
          <p:cNvSpPr>
            <a:spLocks noGrp="1"/>
          </p:cNvSpPr>
          <p:nvPr>
            <p:ph type="body" sz="quarter" idx="13"/>
          </p:nvPr>
        </p:nvSpPr>
        <p:spPr/>
        <p:txBody>
          <a:bodyPr/>
          <a:lstStyle/>
          <a:p>
            <a:r>
              <a:rPr lang="en-US" sz="3200" dirty="0"/>
              <a:t>PowerPoint Presentation</a:t>
            </a:r>
          </a:p>
        </p:txBody>
      </p:sp>
      <p:sp>
        <p:nvSpPr>
          <p:cNvPr id="116" name="Date Placeholder 115"/>
          <p:cNvSpPr>
            <a:spLocks noGrp="1"/>
          </p:cNvSpPr>
          <p:nvPr>
            <p:ph type="dt" sz="half" idx="10"/>
          </p:nvPr>
        </p:nvSpPr>
        <p:spPr/>
        <p:txBody>
          <a:bodyPr/>
          <a:lstStyle/>
          <a:p>
            <a:fld id="{56E1B330-CB56-448E-9C70-830A2B9C05C8}" type="datetime1">
              <a:rPr lang="en-US" smtClean="0"/>
              <a:t>10/28/2022</a:t>
            </a:fld>
            <a:endParaRPr lang="en-US"/>
          </a:p>
        </p:txBody>
      </p:sp>
      <p:sp>
        <p:nvSpPr>
          <p:cNvPr id="117" name="Slide Number Placeholder 116"/>
          <p:cNvSpPr>
            <a:spLocks noGrp="1"/>
          </p:cNvSpPr>
          <p:nvPr>
            <p:ph type="sldNum" sz="quarter" idx="12"/>
          </p:nvPr>
        </p:nvSpPr>
        <p:spPr/>
        <p:txBody>
          <a:bodyPr/>
          <a:lstStyle/>
          <a:p>
            <a:fld id="{03206E70-9524-410D-AE9B-78D656EAA14D}" type="slidenum">
              <a:rPr lang="en-US" smtClean="0"/>
              <a:pPr/>
              <a:t>27</a:t>
            </a:fld>
            <a:endParaRPr lang="en-US"/>
          </a:p>
        </p:txBody>
      </p:sp>
      <p:grpSp>
        <p:nvGrpSpPr>
          <p:cNvPr id="4" name="Group 3"/>
          <p:cNvGrpSpPr/>
          <p:nvPr/>
        </p:nvGrpSpPr>
        <p:grpSpPr>
          <a:xfrm>
            <a:off x="9420978" y="2922538"/>
            <a:ext cx="1930323" cy="1779502"/>
            <a:chOff x="9228404" y="3689948"/>
            <a:chExt cx="1930323" cy="1779502"/>
          </a:xfrm>
        </p:grpSpPr>
        <p:sp>
          <p:nvSpPr>
            <p:cNvPr id="247" name="Rounded Rectangle 246"/>
            <p:cNvSpPr/>
            <p:nvPr/>
          </p:nvSpPr>
          <p:spPr>
            <a:xfrm>
              <a:off x="9228404" y="3689948"/>
              <a:ext cx="480704" cy="479869"/>
            </a:xfrm>
            <a:prstGeom prst="roundRect">
              <a:avLst>
                <a:gd name="adj" fmla="val 8500"/>
              </a:avLst>
            </a:prstGeom>
            <a:solidFill>
              <a:srgbClr val="E2583D"/>
            </a:solidFill>
            <a:ln w="19050">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ea typeface="+mn-ea"/>
                <a:cs typeface="+mn-cs"/>
              </a:endParaRPr>
            </a:p>
          </p:txBody>
        </p:sp>
        <p:sp>
          <p:nvSpPr>
            <p:cNvPr id="248" name="TextBox 247"/>
            <p:cNvSpPr txBox="1"/>
            <p:nvPr/>
          </p:nvSpPr>
          <p:spPr>
            <a:xfrm>
              <a:off x="9314076" y="3802923"/>
              <a:ext cx="309362" cy="253916"/>
            </a:xfrm>
            <a:prstGeom prst="rect">
              <a:avLst/>
            </a:prstGeom>
            <a:noFill/>
          </p:spPr>
          <p:txBody>
            <a:bodyPr wrap="square" lIns="0" tIns="0" rIns="0" bIns="0" rtlCol="0" anchor="ctr" anchorCtr="0">
              <a:spAutoFit/>
            </a:bodyPr>
            <a:lstStyle/>
            <a:p>
              <a:pPr marL="0" marR="0" lvl="0" indent="0" algn="ctr" defTabSz="914400" rtl="0" eaLnBrk="1" fontAlgn="auto" latinLnBrk="0" hangingPunct="1">
                <a:lnSpc>
                  <a:spcPct val="150000"/>
                </a:lnSpc>
                <a:spcBef>
                  <a:spcPts val="0"/>
                </a:spcBef>
                <a:spcAft>
                  <a:spcPts val="0"/>
                </a:spcAft>
                <a:buClrTx/>
                <a:buSzTx/>
                <a:buFontTx/>
                <a:buNone/>
                <a:tabLst/>
                <a:defRPr/>
              </a:pPr>
              <a:r>
                <a:rPr kumimoji="0" lang="en-US" sz="1100" b="1" i="0" u="none" strike="noStrike" kern="1200" cap="none" spc="0" normalizeH="0" baseline="0" noProof="0" dirty="0">
                  <a:ln>
                    <a:noFill/>
                  </a:ln>
                  <a:solidFill>
                    <a:schemeClr val="bg1"/>
                  </a:solidFill>
                  <a:effectLst/>
                  <a:uLnTx/>
                  <a:uFillTx/>
                  <a:ea typeface="+mn-ea"/>
                  <a:cs typeface="+mn-cs"/>
                </a:rPr>
                <a:t>55%</a:t>
              </a:r>
            </a:p>
          </p:txBody>
        </p:sp>
        <p:sp>
          <p:nvSpPr>
            <p:cNvPr id="249" name="TextBox 248"/>
            <p:cNvSpPr txBox="1"/>
            <p:nvPr/>
          </p:nvSpPr>
          <p:spPr>
            <a:xfrm>
              <a:off x="9831914" y="3802924"/>
              <a:ext cx="1326813" cy="253916"/>
            </a:xfrm>
            <a:prstGeom prst="rect">
              <a:avLst/>
            </a:prstGeom>
            <a:noFill/>
          </p:spPr>
          <p:txBody>
            <a:bodyPr wrap="square" lIns="0" tIns="0" rIns="0" bIns="0" rtlCol="0" anchor="ctr" anchorCtr="0">
              <a:spAutoFit/>
            </a:bodyPr>
            <a:lstStyle/>
            <a:p>
              <a:pPr marL="0" marR="0" lvl="0" indent="0" algn="just" defTabSz="914400" rtl="0" eaLnBrk="1" fontAlgn="auto" latinLnBrk="0" hangingPunct="1">
                <a:lnSpc>
                  <a:spcPct val="150000"/>
                </a:lnSpc>
                <a:spcBef>
                  <a:spcPts val="0"/>
                </a:spcBef>
                <a:spcAft>
                  <a:spcPts val="0"/>
                </a:spcAft>
                <a:buClrTx/>
                <a:buSzTx/>
                <a:buFontTx/>
                <a:buNone/>
                <a:tabLst/>
                <a:defRPr/>
              </a:pPr>
              <a:r>
                <a:rPr kumimoji="0" lang="en-US" sz="1100" b="1" i="0" u="none" strike="noStrike" kern="1200" cap="none" spc="0" normalizeH="0" baseline="0" noProof="0" dirty="0">
                  <a:ln>
                    <a:noFill/>
                  </a:ln>
                  <a:solidFill>
                    <a:prstClr val="black"/>
                  </a:solidFill>
                  <a:effectLst/>
                  <a:uLnTx/>
                  <a:uFillTx/>
                  <a:ea typeface="+mn-ea"/>
                  <a:cs typeface="+mn-cs"/>
                </a:rPr>
                <a:t>Lorem Ipsum</a:t>
              </a:r>
            </a:p>
          </p:txBody>
        </p:sp>
        <p:sp>
          <p:nvSpPr>
            <p:cNvPr id="250" name="Rounded Rectangle 249"/>
            <p:cNvSpPr/>
            <p:nvPr/>
          </p:nvSpPr>
          <p:spPr>
            <a:xfrm>
              <a:off x="9228404" y="4298767"/>
              <a:ext cx="480704" cy="479869"/>
            </a:xfrm>
            <a:prstGeom prst="roundRect">
              <a:avLst>
                <a:gd name="adj" fmla="val 8500"/>
              </a:avLst>
            </a:prstGeom>
            <a:solidFill>
              <a:srgbClr val="78D2D2"/>
            </a:solidFill>
            <a:ln w="19050">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ea typeface="+mn-ea"/>
                <a:cs typeface="+mn-cs"/>
              </a:endParaRPr>
            </a:p>
          </p:txBody>
        </p:sp>
        <p:sp>
          <p:nvSpPr>
            <p:cNvPr id="251" name="TextBox 250"/>
            <p:cNvSpPr txBox="1"/>
            <p:nvPr/>
          </p:nvSpPr>
          <p:spPr>
            <a:xfrm>
              <a:off x="9314076" y="4411742"/>
              <a:ext cx="309362" cy="253916"/>
            </a:xfrm>
            <a:prstGeom prst="rect">
              <a:avLst/>
            </a:prstGeom>
            <a:noFill/>
          </p:spPr>
          <p:txBody>
            <a:bodyPr wrap="square" lIns="0" tIns="0" rIns="0" bIns="0" rtlCol="0" anchor="ctr" anchorCtr="0">
              <a:spAutoFit/>
            </a:bodyPr>
            <a:lstStyle/>
            <a:p>
              <a:pPr marL="0" marR="0" lvl="0" indent="0" algn="ctr" defTabSz="914400" rtl="0" eaLnBrk="1" fontAlgn="auto" latinLnBrk="0" hangingPunct="1">
                <a:lnSpc>
                  <a:spcPct val="150000"/>
                </a:lnSpc>
                <a:spcBef>
                  <a:spcPts val="0"/>
                </a:spcBef>
                <a:spcAft>
                  <a:spcPts val="0"/>
                </a:spcAft>
                <a:buClrTx/>
                <a:buSzTx/>
                <a:buFontTx/>
                <a:buNone/>
                <a:tabLst/>
                <a:defRPr/>
              </a:pPr>
              <a:r>
                <a:rPr kumimoji="0" lang="en-US" sz="1100" b="1" i="0" u="none" strike="noStrike" kern="1200" cap="none" spc="0" normalizeH="0" baseline="0" noProof="0" dirty="0">
                  <a:ln>
                    <a:noFill/>
                  </a:ln>
                  <a:solidFill>
                    <a:schemeClr val="bg1"/>
                  </a:solidFill>
                  <a:effectLst/>
                  <a:uLnTx/>
                  <a:uFillTx/>
                  <a:ea typeface="+mn-ea"/>
                  <a:cs typeface="+mn-cs"/>
                </a:rPr>
                <a:t>65%</a:t>
              </a:r>
            </a:p>
          </p:txBody>
        </p:sp>
        <p:sp>
          <p:nvSpPr>
            <p:cNvPr id="252" name="TextBox 251"/>
            <p:cNvSpPr txBox="1"/>
            <p:nvPr/>
          </p:nvSpPr>
          <p:spPr>
            <a:xfrm>
              <a:off x="9831914" y="4411742"/>
              <a:ext cx="1326813" cy="253916"/>
            </a:xfrm>
            <a:prstGeom prst="rect">
              <a:avLst/>
            </a:prstGeom>
            <a:noFill/>
          </p:spPr>
          <p:txBody>
            <a:bodyPr wrap="square" lIns="0" tIns="0" rIns="0" bIns="0" rtlCol="0" anchor="ctr" anchorCtr="0">
              <a:spAutoFit/>
            </a:bodyPr>
            <a:lstStyle/>
            <a:p>
              <a:pPr marL="0" marR="0" lvl="0" indent="0" algn="just" defTabSz="914400" rtl="0" eaLnBrk="1" fontAlgn="auto" latinLnBrk="0" hangingPunct="1">
                <a:lnSpc>
                  <a:spcPct val="150000"/>
                </a:lnSpc>
                <a:spcBef>
                  <a:spcPts val="0"/>
                </a:spcBef>
                <a:spcAft>
                  <a:spcPts val="0"/>
                </a:spcAft>
                <a:buClrTx/>
                <a:buSzTx/>
                <a:buFontTx/>
                <a:buNone/>
                <a:tabLst/>
                <a:defRPr/>
              </a:pPr>
              <a:r>
                <a:rPr kumimoji="0" lang="en-US" sz="1100" b="1" i="0" u="none" strike="noStrike" kern="1200" cap="none" spc="0" normalizeH="0" baseline="0" noProof="0" dirty="0">
                  <a:ln>
                    <a:noFill/>
                  </a:ln>
                  <a:solidFill>
                    <a:prstClr val="black"/>
                  </a:solidFill>
                  <a:effectLst/>
                  <a:uLnTx/>
                  <a:uFillTx/>
                  <a:ea typeface="+mn-ea"/>
                  <a:cs typeface="+mn-cs"/>
                </a:rPr>
                <a:t>Lorem Ipsum</a:t>
              </a:r>
            </a:p>
          </p:txBody>
        </p:sp>
        <p:sp>
          <p:nvSpPr>
            <p:cNvPr id="253" name="Rounded Rectangle 252"/>
            <p:cNvSpPr/>
            <p:nvPr/>
          </p:nvSpPr>
          <p:spPr>
            <a:xfrm>
              <a:off x="9228404" y="4989581"/>
              <a:ext cx="480704" cy="479869"/>
            </a:xfrm>
            <a:prstGeom prst="roundRect">
              <a:avLst>
                <a:gd name="adj" fmla="val 8500"/>
              </a:avLst>
            </a:prstGeom>
            <a:solidFill>
              <a:srgbClr val="3B3939"/>
            </a:solidFill>
            <a:ln w="19050">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ea typeface="+mn-ea"/>
                <a:cs typeface="+mn-cs"/>
              </a:endParaRPr>
            </a:p>
          </p:txBody>
        </p:sp>
        <p:sp>
          <p:nvSpPr>
            <p:cNvPr id="254" name="TextBox 253"/>
            <p:cNvSpPr txBox="1"/>
            <p:nvPr/>
          </p:nvSpPr>
          <p:spPr>
            <a:xfrm>
              <a:off x="9314076" y="5102556"/>
              <a:ext cx="309362" cy="253916"/>
            </a:xfrm>
            <a:prstGeom prst="rect">
              <a:avLst/>
            </a:prstGeom>
            <a:noFill/>
          </p:spPr>
          <p:txBody>
            <a:bodyPr wrap="square" lIns="0" tIns="0" rIns="0" bIns="0" rtlCol="0" anchor="ctr" anchorCtr="0">
              <a:spAutoFit/>
            </a:bodyPr>
            <a:lstStyle/>
            <a:p>
              <a:pPr marL="0" marR="0" lvl="0" indent="0" algn="ctr" defTabSz="914400" rtl="0" eaLnBrk="1" fontAlgn="auto" latinLnBrk="0" hangingPunct="1">
                <a:lnSpc>
                  <a:spcPct val="150000"/>
                </a:lnSpc>
                <a:spcBef>
                  <a:spcPts val="0"/>
                </a:spcBef>
                <a:spcAft>
                  <a:spcPts val="0"/>
                </a:spcAft>
                <a:buClrTx/>
                <a:buSzTx/>
                <a:buFontTx/>
                <a:buNone/>
                <a:tabLst/>
                <a:defRPr/>
              </a:pPr>
              <a:r>
                <a:rPr kumimoji="0" lang="en-US" sz="1100" b="1" i="0" u="none" strike="noStrike" kern="1200" cap="none" spc="0" normalizeH="0" baseline="0" noProof="0" dirty="0">
                  <a:ln>
                    <a:noFill/>
                  </a:ln>
                  <a:solidFill>
                    <a:schemeClr val="bg1"/>
                  </a:solidFill>
                  <a:effectLst/>
                  <a:uLnTx/>
                  <a:uFillTx/>
                  <a:ea typeface="+mn-ea"/>
                  <a:cs typeface="+mn-cs"/>
                </a:rPr>
                <a:t>45%</a:t>
              </a:r>
            </a:p>
          </p:txBody>
        </p:sp>
        <p:sp>
          <p:nvSpPr>
            <p:cNvPr id="255" name="TextBox 254"/>
            <p:cNvSpPr txBox="1"/>
            <p:nvPr/>
          </p:nvSpPr>
          <p:spPr>
            <a:xfrm>
              <a:off x="9831914" y="5102560"/>
              <a:ext cx="1326813" cy="253916"/>
            </a:xfrm>
            <a:prstGeom prst="rect">
              <a:avLst/>
            </a:prstGeom>
            <a:noFill/>
          </p:spPr>
          <p:txBody>
            <a:bodyPr wrap="square" lIns="0" tIns="0" rIns="0" bIns="0" rtlCol="0" anchor="ctr" anchorCtr="0">
              <a:spAutoFit/>
            </a:bodyPr>
            <a:lstStyle/>
            <a:p>
              <a:pPr marL="0" marR="0" lvl="0" indent="0" algn="just" defTabSz="914400" rtl="0" eaLnBrk="1" fontAlgn="auto" latinLnBrk="0" hangingPunct="1">
                <a:lnSpc>
                  <a:spcPct val="150000"/>
                </a:lnSpc>
                <a:spcBef>
                  <a:spcPts val="0"/>
                </a:spcBef>
                <a:spcAft>
                  <a:spcPts val="0"/>
                </a:spcAft>
                <a:buClrTx/>
                <a:buSzTx/>
                <a:buFontTx/>
                <a:buNone/>
                <a:tabLst/>
                <a:defRPr/>
              </a:pPr>
              <a:r>
                <a:rPr kumimoji="0" lang="en-US" sz="1100" b="1" i="0" u="none" strike="noStrike" kern="1200" cap="none" spc="0" normalizeH="0" baseline="0" noProof="0" dirty="0">
                  <a:ln>
                    <a:noFill/>
                  </a:ln>
                  <a:solidFill>
                    <a:prstClr val="black"/>
                  </a:solidFill>
                  <a:effectLst/>
                  <a:uLnTx/>
                  <a:uFillTx/>
                  <a:ea typeface="+mn-ea"/>
                  <a:cs typeface="+mn-cs"/>
                </a:rPr>
                <a:t>Lorem Ipsum</a:t>
              </a:r>
            </a:p>
          </p:txBody>
        </p:sp>
      </p:grpSp>
      <p:grpSp>
        <p:nvGrpSpPr>
          <p:cNvPr id="5" name="Group 4"/>
          <p:cNvGrpSpPr/>
          <p:nvPr/>
        </p:nvGrpSpPr>
        <p:grpSpPr>
          <a:xfrm>
            <a:off x="840700" y="1933958"/>
            <a:ext cx="8195128" cy="3756663"/>
            <a:chOff x="817722" y="1933958"/>
            <a:chExt cx="8195128" cy="3756663"/>
          </a:xfrm>
        </p:grpSpPr>
        <p:sp>
          <p:nvSpPr>
            <p:cNvPr id="73" name="Rounded Rectangle 72"/>
            <p:cNvSpPr/>
            <p:nvPr/>
          </p:nvSpPr>
          <p:spPr>
            <a:xfrm>
              <a:off x="817722" y="1933959"/>
              <a:ext cx="1548714" cy="1024957"/>
            </a:xfrm>
            <a:prstGeom prst="roundRect">
              <a:avLst>
                <a:gd name="adj" fmla="val 8500"/>
              </a:avLst>
            </a:prstGeom>
            <a:solidFill>
              <a:srgbClr val="E7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ea typeface="+mn-ea"/>
                <a:cs typeface="+mn-cs"/>
              </a:endParaRPr>
            </a:p>
          </p:txBody>
        </p:sp>
        <p:sp>
          <p:nvSpPr>
            <p:cNvPr id="74" name="Rounded Rectangle 73"/>
            <p:cNvSpPr/>
            <p:nvPr/>
          </p:nvSpPr>
          <p:spPr>
            <a:xfrm>
              <a:off x="2455935" y="1933958"/>
              <a:ext cx="2121690" cy="461105"/>
            </a:xfrm>
            <a:prstGeom prst="roundRect">
              <a:avLst>
                <a:gd name="adj" fmla="val 8500"/>
              </a:avLst>
            </a:prstGeom>
            <a:solidFill>
              <a:srgbClr val="E7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ea typeface="+mn-ea"/>
                <a:cs typeface="+mn-cs"/>
              </a:endParaRPr>
            </a:p>
          </p:txBody>
        </p:sp>
        <p:sp>
          <p:nvSpPr>
            <p:cNvPr id="75" name="Rounded Rectangle 74"/>
            <p:cNvSpPr/>
            <p:nvPr/>
          </p:nvSpPr>
          <p:spPr>
            <a:xfrm>
              <a:off x="4673546" y="1933958"/>
              <a:ext cx="2121690" cy="461105"/>
            </a:xfrm>
            <a:prstGeom prst="roundRect">
              <a:avLst>
                <a:gd name="adj" fmla="val 8500"/>
              </a:avLst>
            </a:prstGeom>
            <a:solidFill>
              <a:srgbClr val="E7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ea typeface="+mn-ea"/>
                <a:cs typeface="+mn-cs"/>
              </a:endParaRPr>
            </a:p>
          </p:txBody>
        </p:sp>
        <p:sp>
          <p:nvSpPr>
            <p:cNvPr id="76" name="Rounded Rectangle 75"/>
            <p:cNvSpPr/>
            <p:nvPr/>
          </p:nvSpPr>
          <p:spPr>
            <a:xfrm>
              <a:off x="6891156" y="1933958"/>
              <a:ext cx="2121691" cy="461105"/>
            </a:xfrm>
            <a:prstGeom prst="roundRect">
              <a:avLst>
                <a:gd name="adj" fmla="val 8500"/>
              </a:avLst>
            </a:prstGeom>
            <a:solidFill>
              <a:srgbClr val="E7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ea typeface="+mn-ea"/>
                <a:cs typeface="+mn-cs"/>
              </a:endParaRPr>
            </a:p>
          </p:txBody>
        </p:sp>
        <p:sp>
          <p:nvSpPr>
            <p:cNvPr id="77" name="Rounded Rectangle 76"/>
            <p:cNvSpPr/>
            <p:nvPr/>
          </p:nvSpPr>
          <p:spPr>
            <a:xfrm>
              <a:off x="817722" y="5218237"/>
              <a:ext cx="1566536" cy="472384"/>
            </a:xfrm>
            <a:prstGeom prst="roundRect">
              <a:avLst>
                <a:gd name="adj" fmla="val 8500"/>
              </a:avLst>
            </a:prstGeom>
            <a:solidFill>
              <a:srgbClr val="E7E6E6"/>
            </a:solidFill>
            <a:ln w="31750" cap="rnd">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ea typeface="+mn-ea"/>
                <a:cs typeface="+mn-cs"/>
              </a:endParaRPr>
            </a:p>
          </p:txBody>
        </p:sp>
        <p:sp>
          <p:nvSpPr>
            <p:cNvPr id="78" name="Rounded Rectangle 77"/>
            <p:cNvSpPr/>
            <p:nvPr/>
          </p:nvSpPr>
          <p:spPr>
            <a:xfrm>
              <a:off x="2455936" y="5210752"/>
              <a:ext cx="480704" cy="479869"/>
            </a:xfrm>
            <a:prstGeom prst="roundRect">
              <a:avLst>
                <a:gd name="adj" fmla="val 8500"/>
              </a:avLst>
            </a:prstGeom>
            <a:solidFill>
              <a:srgbClr val="78D2D2"/>
            </a:solidFill>
            <a:ln w="6350" cap="rnd">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ea typeface="+mn-ea"/>
                <a:cs typeface="+mn-cs"/>
              </a:endParaRPr>
            </a:p>
          </p:txBody>
        </p:sp>
        <p:sp>
          <p:nvSpPr>
            <p:cNvPr id="79" name="Rounded Rectangle 78"/>
            <p:cNvSpPr/>
            <p:nvPr/>
          </p:nvSpPr>
          <p:spPr>
            <a:xfrm>
              <a:off x="3560702" y="5210752"/>
              <a:ext cx="480704" cy="479869"/>
            </a:xfrm>
            <a:prstGeom prst="roundRect">
              <a:avLst>
                <a:gd name="adj" fmla="val 8500"/>
              </a:avLst>
            </a:prstGeom>
            <a:solidFill>
              <a:srgbClr val="E2583D"/>
            </a:solidFill>
            <a:ln w="6350" cap="rnd">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ea typeface="+mn-ea"/>
                <a:cs typeface="+mn-cs"/>
              </a:endParaRPr>
            </a:p>
          </p:txBody>
        </p:sp>
        <p:sp>
          <p:nvSpPr>
            <p:cNvPr id="80" name="Rounded Rectangle 79"/>
            <p:cNvSpPr/>
            <p:nvPr/>
          </p:nvSpPr>
          <p:spPr>
            <a:xfrm>
              <a:off x="8532145" y="5210752"/>
              <a:ext cx="480704" cy="479869"/>
            </a:xfrm>
            <a:prstGeom prst="roundRect">
              <a:avLst>
                <a:gd name="adj" fmla="val 8500"/>
              </a:avLst>
            </a:prstGeom>
            <a:solidFill>
              <a:srgbClr val="78D2D2"/>
            </a:solidFill>
            <a:ln w="6350">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ea typeface="+mn-ea"/>
                <a:cs typeface="+mn-cs"/>
              </a:endParaRPr>
            </a:p>
          </p:txBody>
        </p:sp>
        <p:sp>
          <p:nvSpPr>
            <p:cNvPr id="81" name="Rounded Rectangle 80"/>
            <p:cNvSpPr/>
            <p:nvPr/>
          </p:nvSpPr>
          <p:spPr>
            <a:xfrm>
              <a:off x="817722" y="4670580"/>
              <a:ext cx="1566536" cy="472384"/>
            </a:xfrm>
            <a:prstGeom prst="roundRect">
              <a:avLst>
                <a:gd name="adj" fmla="val 8500"/>
              </a:avLst>
            </a:prstGeom>
            <a:solidFill>
              <a:srgbClr val="E7E6E6"/>
            </a:solidFill>
            <a:ln w="31750" cap="rnd">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ea typeface="+mn-ea"/>
                <a:cs typeface="+mn-cs"/>
              </a:endParaRPr>
            </a:p>
          </p:txBody>
        </p:sp>
        <p:sp>
          <p:nvSpPr>
            <p:cNvPr id="82" name="Rounded Rectangle 81"/>
            <p:cNvSpPr/>
            <p:nvPr/>
          </p:nvSpPr>
          <p:spPr>
            <a:xfrm>
              <a:off x="3008319" y="4663094"/>
              <a:ext cx="480704" cy="479869"/>
            </a:xfrm>
            <a:prstGeom prst="roundRect">
              <a:avLst>
                <a:gd name="adj" fmla="val 8500"/>
              </a:avLst>
            </a:prstGeom>
            <a:solidFill>
              <a:srgbClr val="78D2D2"/>
            </a:solidFill>
            <a:ln w="6350" cap="rnd">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ea typeface="+mn-ea"/>
                <a:cs typeface="+mn-cs"/>
              </a:endParaRPr>
            </a:p>
          </p:txBody>
        </p:sp>
        <p:sp>
          <p:nvSpPr>
            <p:cNvPr id="83" name="Rounded Rectangle 82"/>
            <p:cNvSpPr/>
            <p:nvPr/>
          </p:nvSpPr>
          <p:spPr>
            <a:xfrm>
              <a:off x="3560702" y="4663094"/>
              <a:ext cx="480704" cy="479869"/>
            </a:xfrm>
            <a:prstGeom prst="roundRect">
              <a:avLst>
                <a:gd name="adj" fmla="val 8500"/>
              </a:avLst>
            </a:prstGeom>
            <a:solidFill>
              <a:srgbClr val="E2583D"/>
            </a:solidFill>
            <a:ln w="6350" cap="rnd">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ea typeface="+mn-ea"/>
                <a:cs typeface="+mn-cs"/>
              </a:endParaRPr>
            </a:p>
          </p:txBody>
        </p:sp>
        <p:sp>
          <p:nvSpPr>
            <p:cNvPr id="84" name="Rounded Rectangle 83"/>
            <p:cNvSpPr/>
            <p:nvPr/>
          </p:nvSpPr>
          <p:spPr>
            <a:xfrm>
              <a:off x="5217851" y="4663094"/>
              <a:ext cx="480704" cy="479869"/>
            </a:xfrm>
            <a:prstGeom prst="roundRect">
              <a:avLst>
                <a:gd name="adj" fmla="val 8500"/>
              </a:avLst>
            </a:prstGeom>
            <a:solidFill>
              <a:srgbClr val="3B3939"/>
            </a:solidFill>
            <a:ln w="6350">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ea typeface="+mn-ea"/>
                <a:cs typeface="+mn-cs"/>
              </a:endParaRPr>
            </a:p>
          </p:txBody>
        </p:sp>
        <p:sp>
          <p:nvSpPr>
            <p:cNvPr id="131" name="Rounded Rectangle 130"/>
            <p:cNvSpPr/>
            <p:nvPr/>
          </p:nvSpPr>
          <p:spPr>
            <a:xfrm>
              <a:off x="7979765" y="4663094"/>
              <a:ext cx="480704" cy="479869"/>
            </a:xfrm>
            <a:prstGeom prst="roundRect">
              <a:avLst>
                <a:gd name="adj" fmla="val 8500"/>
              </a:avLst>
            </a:prstGeom>
            <a:solidFill>
              <a:srgbClr val="78D2D2"/>
            </a:solidFill>
            <a:ln w="6350">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ea typeface="+mn-ea"/>
                <a:cs typeface="+mn-cs"/>
              </a:endParaRPr>
            </a:p>
          </p:txBody>
        </p:sp>
        <p:sp>
          <p:nvSpPr>
            <p:cNvPr id="133" name="Rounded Rectangle 132"/>
            <p:cNvSpPr/>
            <p:nvPr/>
          </p:nvSpPr>
          <p:spPr>
            <a:xfrm>
              <a:off x="817722" y="4122922"/>
              <a:ext cx="1566536" cy="472384"/>
            </a:xfrm>
            <a:prstGeom prst="roundRect">
              <a:avLst>
                <a:gd name="adj" fmla="val 8500"/>
              </a:avLst>
            </a:prstGeom>
            <a:solidFill>
              <a:srgbClr val="E7E6E6"/>
            </a:solidFill>
            <a:ln w="31750" cap="rnd">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ea typeface="+mn-ea"/>
                <a:cs typeface="+mn-cs"/>
              </a:endParaRPr>
            </a:p>
          </p:txBody>
        </p:sp>
        <p:sp>
          <p:nvSpPr>
            <p:cNvPr id="135" name="Rounded Rectangle 134"/>
            <p:cNvSpPr/>
            <p:nvPr/>
          </p:nvSpPr>
          <p:spPr>
            <a:xfrm>
              <a:off x="4113085" y="4115437"/>
              <a:ext cx="480704" cy="479869"/>
            </a:xfrm>
            <a:prstGeom prst="roundRect">
              <a:avLst>
                <a:gd name="adj" fmla="val 8500"/>
              </a:avLst>
            </a:prstGeom>
            <a:solidFill>
              <a:srgbClr val="78D2D2"/>
            </a:solidFill>
            <a:ln w="6350">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ea typeface="+mn-ea"/>
                <a:cs typeface="+mn-cs"/>
              </a:endParaRPr>
            </a:p>
          </p:txBody>
        </p:sp>
        <p:sp>
          <p:nvSpPr>
            <p:cNvPr id="137" name="Rounded Rectangle 136"/>
            <p:cNvSpPr/>
            <p:nvPr/>
          </p:nvSpPr>
          <p:spPr>
            <a:xfrm>
              <a:off x="4665467" y="4115437"/>
              <a:ext cx="480704" cy="479869"/>
            </a:xfrm>
            <a:prstGeom prst="roundRect">
              <a:avLst>
                <a:gd name="adj" fmla="val 8500"/>
              </a:avLst>
            </a:prstGeom>
            <a:solidFill>
              <a:srgbClr val="78D2D2"/>
            </a:solidFill>
            <a:ln w="6350">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ea typeface="+mn-ea"/>
                <a:cs typeface="+mn-cs"/>
              </a:endParaRPr>
            </a:p>
          </p:txBody>
        </p:sp>
        <p:sp>
          <p:nvSpPr>
            <p:cNvPr id="139" name="Rounded Rectangle 138"/>
            <p:cNvSpPr/>
            <p:nvPr/>
          </p:nvSpPr>
          <p:spPr>
            <a:xfrm>
              <a:off x="6874999" y="4115437"/>
              <a:ext cx="480704" cy="479869"/>
            </a:xfrm>
            <a:prstGeom prst="roundRect">
              <a:avLst>
                <a:gd name="adj" fmla="val 8500"/>
              </a:avLst>
            </a:prstGeom>
            <a:solidFill>
              <a:srgbClr val="E2583D"/>
            </a:solidFill>
            <a:ln w="6350">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ea typeface="+mn-ea"/>
                <a:cs typeface="+mn-cs"/>
              </a:endParaRPr>
            </a:p>
          </p:txBody>
        </p:sp>
        <p:sp>
          <p:nvSpPr>
            <p:cNvPr id="140" name="Rounded Rectangle 139"/>
            <p:cNvSpPr/>
            <p:nvPr/>
          </p:nvSpPr>
          <p:spPr>
            <a:xfrm>
              <a:off x="8532145" y="4115437"/>
              <a:ext cx="480704" cy="479869"/>
            </a:xfrm>
            <a:prstGeom prst="roundRect">
              <a:avLst>
                <a:gd name="adj" fmla="val 8500"/>
              </a:avLst>
            </a:prstGeom>
            <a:solidFill>
              <a:srgbClr val="78D2D2"/>
            </a:solidFill>
            <a:ln w="6350">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ea typeface="+mn-ea"/>
                <a:cs typeface="+mn-cs"/>
              </a:endParaRPr>
            </a:p>
          </p:txBody>
        </p:sp>
        <p:sp>
          <p:nvSpPr>
            <p:cNvPr id="141" name="Rounded Rectangle 140"/>
            <p:cNvSpPr/>
            <p:nvPr/>
          </p:nvSpPr>
          <p:spPr>
            <a:xfrm>
              <a:off x="817722" y="3575263"/>
              <a:ext cx="1566536" cy="472384"/>
            </a:xfrm>
            <a:prstGeom prst="roundRect">
              <a:avLst>
                <a:gd name="adj" fmla="val 8500"/>
              </a:avLst>
            </a:prstGeom>
            <a:solidFill>
              <a:srgbClr val="E7E6E6"/>
            </a:solidFill>
            <a:ln w="31750" cap="rnd">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ea typeface="+mn-ea"/>
                <a:cs typeface="+mn-cs"/>
              </a:endParaRPr>
            </a:p>
          </p:txBody>
        </p:sp>
        <p:sp>
          <p:nvSpPr>
            <p:cNvPr id="142" name="Rounded Rectangle 141"/>
            <p:cNvSpPr/>
            <p:nvPr/>
          </p:nvSpPr>
          <p:spPr>
            <a:xfrm>
              <a:off x="2455936" y="3567778"/>
              <a:ext cx="480704" cy="479869"/>
            </a:xfrm>
            <a:prstGeom prst="roundRect">
              <a:avLst>
                <a:gd name="adj" fmla="val 8500"/>
              </a:avLst>
            </a:prstGeom>
            <a:solidFill>
              <a:srgbClr val="3B3939"/>
            </a:solidFill>
            <a:ln w="6350" cap="rnd">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ea typeface="+mn-ea"/>
                <a:cs typeface="+mn-cs"/>
              </a:endParaRPr>
            </a:p>
          </p:txBody>
        </p:sp>
        <p:sp>
          <p:nvSpPr>
            <p:cNvPr id="143" name="Rounded Rectangle 142"/>
            <p:cNvSpPr/>
            <p:nvPr/>
          </p:nvSpPr>
          <p:spPr>
            <a:xfrm>
              <a:off x="3560702" y="3567778"/>
              <a:ext cx="480704" cy="479869"/>
            </a:xfrm>
            <a:prstGeom prst="roundRect">
              <a:avLst>
                <a:gd name="adj" fmla="val 8500"/>
              </a:avLst>
            </a:prstGeom>
            <a:solidFill>
              <a:srgbClr val="78D2D2"/>
            </a:solidFill>
            <a:ln w="6350" cap="rnd">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ea typeface="+mn-ea"/>
                <a:cs typeface="+mn-cs"/>
              </a:endParaRPr>
            </a:p>
          </p:txBody>
        </p:sp>
        <p:sp>
          <p:nvSpPr>
            <p:cNvPr id="144" name="Rounded Rectangle 143"/>
            <p:cNvSpPr/>
            <p:nvPr/>
          </p:nvSpPr>
          <p:spPr>
            <a:xfrm>
              <a:off x="5770233" y="3567778"/>
              <a:ext cx="480704" cy="479869"/>
            </a:xfrm>
            <a:prstGeom prst="roundRect">
              <a:avLst>
                <a:gd name="adj" fmla="val 8500"/>
              </a:avLst>
            </a:prstGeom>
            <a:solidFill>
              <a:srgbClr val="78D2D2"/>
            </a:solidFill>
            <a:ln w="6350">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ea typeface="+mn-ea"/>
                <a:cs typeface="+mn-cs"/>
              </a:endParaRPr>
            </a:p>
          </p:txBody>
        </p:sp>
        <p:sp>
          <p:nvSpPr>
            <p:cNvPr id="145" name="Rounded Rectangle 144"/>
            <p:cNvSpPr/>
            <p:nvPr/>
          </p:nvSpPr>
          <p:spPr>
            <a:xfrm>
              <a:off x="7427382" y="3567778"/>
              <a:ext cx="480704" cy="479869"/>
            </a:xfrm>
            <a:prstGeom prst="roundRect">
              <a:avLst>
                <a:gd name="adj" fmla="val 8500"/>
              </a:avLst>
            </a:prstGeom>
            <a:solidFill>
              <a:srgbClr val="78D2D2"/>
            </a:solidFill>
            <a:ln w="6350">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ea typeface="+mn-ea"/>
                <a:cs typeface="+mn-cs"/>
              </a:endParaRPr>
            </a:p>
          </p:txBody>
        </p:sp>
        <p:sp>
          <p:nvSpPr>
            <p:cNvPr id="146" name="Rounded Rectangle 145"/>
            <p:cNvSpPr/>
            <p:nvPr/>
          </p:nvSpPr>
          <p:spPr>
            <a:xfrm>
              <a:off x="817722" y="3027606"/>
              <a:ext cx="1566536" cy="472384"/>
            </a:xfrm>
            <a:prstGeom prst="roundRect">
              <a:avLst>
                <a:gd name="adj" fmla="val 8500"/>
              </a:avLst>
            </a:prstGeom>
            <a:solidFill>
              <a:srgbClr val="E7E6E6"/>
            </a:solidFill>
            <a:ln w="31750" cap="rnd">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ea typeface="+mn-ea"/>
                <a:cs typeface="+mn-cs"/>
              </a:endParaRPr>
            </a:p>
          </p:txBody>
        </p:sp>
        <p:sp>
          <p:nvSpPr>
            <p:cNvPr id="147" name="Rounded Rectangle 146"/>
            <p:cNvSpPr/>
            <p:nvPr/>
          </p:nvSpPr>
          <p:spPr>
            <a:xfrm>
              <a:off x="3008319" y="3020120"/>
              <a:ext cx="480704" cy="479869"/>
            </a:xfrm>
            <a:prstGeom prst="roundRect">
              <a:avLst>
                <a:gd name="adj" fmla="val 8500"/>
              </a:avLst>
            </a:prstGeom>
            <a:solidFill>
              <a:srgbClr val="3B3939"/>
            </a:solidFill>
            <a:ln w="6350" cap="rnd">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ea typeface="+mn-ea"/>
                <a:cs typeface="+mn-cs"/>
              </a:endParaRPr>
            </a:p>
          </p:txBody>
        </p:sp>
        <p:sp>
          <p:nvSpPr>
            <p:cNvPr id="148" name="Rounded Rectangle 147"/>
            <p:cNvSpPr/>
            <p:nvPr/>
          </p:nvSpPr>
          <p:spPr>
            <a:xfrm>
              <a:off x="4665467" y="3020120"/>
              <a:ext cx="480704" cy="479869"/>
            </a:xfrm>
            <a:prstGeom prst="roundRect">
              <a:avLst>
                <a:gd name="adj" fmla="val 8500"/>
              </a:avLst>
            </a:prstGeom>
            <a:solidFill>
              <a:srgbClr val="E2583D"/>
            </a:solidFill>
            <a:ln w="6350">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ea typeface="+mn-ea"/>
                <a:cs typeface="+mn-cs"/>
              </a:endParaRPr>
            </a:p>
          </p:txBody>
        </p:sp>
        <p:sp>
          <p:nvSpPr>
            <p:cNvPr id="149" name="Rounded Rectangle 148"/>
            <p:cNvSpPr/>
            <p:nvPr/>
          </p:nvSpPr>
          <p:spPr>
            <a:xfrm>
              <a:off x="6874999" y="3020120"/>
              <a:ext cx="480704" cy="479869"/>
            </a:xfrm>
            <a:prstGeom prst="roundRect">
              <a:avLst>
                <a:gd name="adj" fmla="val 8500"/>
              </a:avLst>
            </a:prstGeom>
            <a:solidFill>
              <a:srgbClr val="78D2D2"/>
            </a:solidFill>
            <a:ln w="6350">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ea typeface="+mn-ea"/>
                <a:cs typeface="+mn-cs"/>
              </a:endParaRPr>
            </a:p>
          </p:txBody>
        </p:sp>
        <p:sp>
          <p:nvSpPr>
            <p:cNvPr id="150" name="Rounded Rectangle 149"/>
            <p:cNvSpPr/>
            <p:nvPr/>
          </p:nvSpPr>
          <p:spPr>
            <a:xfrm>
              <a:off x="7427382" y="3020120"/>
              <a:ext cx="480704" cy="479869"/>
            </a:xfrm>
            <a:prstGeom prst="roundRect">
              <a:avLst>
                <a:gd name="adj" fmla="val 8500"/>
              </a:avLst>
            </a:prstGeom>
            <a:solidFill>
              <a:srgbClr val="E2583D"/>
            </a:solidFill>
            <a:ln w="6350">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ea typeface="+mn-ea"/>
                <a:cs typeface="+mn-cs"/>
              </a:endParaRPr>
            </a:p>
          </p:txBody>
        </p:sp>
        <p:grpSp>
          <p:nvGrpSpPr>
            <p:cNvPr id="151" name="Group 150"/>
            <p:cNvGrpSpPr/>
            <p:nvPr/>
          </p:nvGrpSpPr>
          <p:grpSpPr>
            <a:xfrm>
              <a:off x="2455936" y="3020120"/>
              <a:ext cx="6556913" cy="2670501"/>
              <a:chOff x="2294379" y="3136530"/>
              <a:chExt cx="7056871" cy="2874124"/>
            </a:xfrm>
            <a:effectLst>
              <a:outerShdw blurRad="50800" dist="38100" dir="5400000" algn="t" rotWithShape="0">
                <a:prstClr val="black">
                  <a:alpha val="40000"/>
                </a:prstClr>
              </a:outerShdw>
            </a:effectLst>
          </p:grpSpPr>
          <p:sp>
            <p:nvSpPr>
              <p:cNvPr id="152" name="Rounded Rectangle 151"/>
              <p:cNvSpPr/>
              <p:nvPr/>
            </p:nvSpPr>
            <p:spPr>
              <a:xfrm>
                <a:off x="2888881" y="5494195"/>
                <a:ext cx="517357" cy="516459"/>
              </a:xfrm>
              <a:prstGeom prst="roundRect">
                <a:avLst>
                  <a:gd name="adj" fmla="val 8500"/>
                </a:avLst>
              </a:prstGeom>
              <a:solidFill>
                <a:srgbClr val="FFFFFF"/>
              </a:solidFill>
              <a:ln w="6350" cap="rnd">
                <a:noFill/>
              </a:ln>
              <a:effectLst>
                <a:outerShdw blurRad="25400" dist="254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ea typeface="+mn-ea"/>
                  <a:cs typeface="+mn-cs"/>
                </a:endParaRPr>
              </a:p>
            </p:txBody>
          </p:sp>
          <p:sp>
            <p:nvSpPr>
              <p:cNvPr id="153" name="Rounded Rectangle 152"/>
              <p:cNvSpPr/>
              <p:nvPr/>
            </p:nvSpPr>
            <p:spPr>
              <a:xfrm>
                <a:off x="4077884" y="5494195"/>
                <a:ext cx="517357" cy="516459"/>
              </a:xfrm>
              <a:prstGeom prst="roundRect">
                <a:avLst>
                  <a:gd name="adj" fmla="val 8500"/>
                </a:avLst>
              </a:prstGeom>
              <a:solidFill>
                <a:srgbClr val="FFFFFF"/>
              </a:solidFill>
              <a:ln w="6350">
                <a:noFill/>
              </a:ln>
              <a:effectLst>
                <a:outerShdw blurRad="25400" dist="254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ea typeface="+mn-ea"/>
                  <a:cs typeface="+mn-cs"/>
                </a:endParaRPr>
              </a:p>
            </p:txBody>
          </p:sp>
          <p:sp>
            <p:nvSpPr>
              <p:cNvPr id="154" name="Rounded Rectangle 153"/>
              <p:cNvSpPr/>
              <p:nvPr/>
            </p:nvSpPr>
            <p:spPr>
              <a:xfrm>
                <a:off x="4672385" y="5494195"/>
                <a:ext cx="517357" cy="516459"/>
              </a:xfrm>
              <a:prstGeom prst="roundRect">
                <a:avLst>
                  <a:gd name="adj" fmla="val 8500"/>
                </a:avLst>
              </a:prstGeom>
              <a:solidFill>
                <a:srgbClr val="FFFFFF"/>
              </a:solidFill>
              <a:ln w="6350">
                <a:noFill/>
              </a:ln>
              <a:effectLst>
                <a:outerShdw blurRad="25400" dist="254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ea typeface="+mn-ea"/>
                  <a:cs typeface="+mn-cs"/>
                </a:endParaRPr>
              </a:p>
            </p:txBody>
          </p:sp>
          <p:sp>
            <p:nvSpPr>
              <p:cNvPr id="155" name="Rounded Rectangle 154"/>
              <p:cNvSpPr/>
              <p:nvPr/>
            </p:nvSpPr>
            <p:spPr>
              <a:xfrm>
                <a:off x="5266887" y="5494195"/>
                <a:ext cx="517357" cy="516459"/>
              </a:xfrm>
              <a:prstGeom prst="roundRect">
                <a:avLst>
                  <a:gd name="adj" fmla="val 8500"/>
                </a:avLst>
              </a:prstGeom>
              <a:solidFill>
                <a:srgbClr val="FFFFFF"/>
              </a:solidFill>
              <a:ln w="6350">
                <a:noFill/>
              </a:ln>
              <a:effectLst>
                <a:outerShdw blurRad="25400" dist="254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ea typeface="+mn-ea"/>
                  <a:cs typeface="+mn-cs"/>
                </a:endParaRPr>
              </a:p>
            </p:txBody>
          </p:sp>
          <p:sp>
            <p:nvSpPr>
              <p:cNvPr id="156" name="Rounded Rectangle 155"/>
              <p:cNvSpPr/>
              <p:nvPr/>
            </p:nvSpPr>
            <p:spPr>
              <a:xfrm>
                <a:off x="5861388" y="5494195"/>
                <a:ext cx="517357" cy="516459"/>
              </a:xfrm>
              <a:prstGeom prst="roundRect">
                <a:avLst>
                  <a:gd name="adj" fmla="val 8500"/>
                </a:avLst>
              </a:prstGeom>
              <a:solidFill>
                <a:srgbClr val="FFFFFF"/>
              </a:solidFill>
              <a:ln w="6350">
                <a:noFill/>
              </a:ln>
              <a:effectLst>
                <a:outerShdw blurRad="25400" dist="254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ea typeface="+mn-ea"/>
                  <a:cs typeface="+mn-cs"/>
                </a:endParaRPr>
              </a:p>
            </p:txBody>
          </p:sp>
          <p:sp>
            <p:nvSpPr>
              <p:cNvPr id="157" name="Rounded Rectangle 156"/>
              <p:cNvSpPr/>
              <p:nvPr/>
            </p:nvSpPr>
            <p:spPr>
              <a:xfrm>
                <a:off x="6455890" y="5494195"/>
                <a:ext cx="517357" cy="516459"/>
              </a:xfrm>
              <a:prstGeom prst="roundRect">
                <a:avLst>
                  <a:gd name="adj" fmla="val 8500"/>
                </a:avLst>
              </a:prstGeom>
              <a:solidFill>
                <a:srgbClr val="FFFFFF"/>
              </a:solidFill>
              <a:ln w="6350">
                <a:noFill/>
              </a:ln>
              <a:effectLst>
                <a:outerShdw blurRad="25400" dist="254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ea typeface="+mn-ea"/>
                  <a:cs typeface="+mn-cs"/>
                </a:endParaRPr>
              </a:p>
            </p:txBody>
          </p:sp>
          <p:sp>
            <p:nvSpPr>
              <p:cNvPr id="158" name="Rounded Rectangle 157"/>
              <p:cNvSpPr/>
              <p:nvPr/>
            </p:nvSpPr>
            <p:spPr>
              <a:xfrm>
                <a:off x="7050391" y="5494195"/>
                <a:ext cx="517357" cy="516459"/>
              </a:xfrm>
              <a:prstGeom prst="roundRect">
                <a:avLst>
                  <a:gd name="adj" fmla="val 8500"/>
                </a:avLst>
              </a:prstGeom>
              <a:solidFill>
                <a:srgbClr val="FFFFFF"/>
              </a:solidFill>
              <a:ln w="6350">
                <a:noFill/>
              </a:ln>
              <a:effectLst>
                <a:outerShdw blurRad="25400" dist="254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ea typeface="+mn-ea"/>
                  <a:cs typeface="+mn-cs"/>
                </a:endParaRPr>
              </a:p>
            </p:txBody>
          </p:sp>
          <p:sp>
            <p:nvSpPr>
              <p:cNvPr id="159" name="Rounded Rectangle 158"/>
              <p:cNvSpPr/>
              <p:nvPr/>
            </p:nvSpPr>
            <p:spPr>
              <a:xfrm>
                <a:off x="7644893" y="5494195"/>
                <a:ext cx="517357" cy="516459"/>
              </a:xfrm>
              <a:prstGeom prst="roundRect">
                <a:avLst>
                  <a:gd name="adj" fmla="val 8500"/>
                </a:avLst>
              </a:prstGeom>
              <a:solidFill>
                <a:srgbClr val="FFFFFF"/>
              </a:solidFill>
              <a:ln w="6350">
                <a:noFill/>
              </a:ln>
              <a:effectLst>
                <a:outerShdw blurRad="25400" dist="254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ea typeface="+mn-ea"/>
                  <a:cs typeface="+mn-cs"/>
                </a:endParaRPr>
              </a:p>
            </p:txBody>
          </p:sp>
          <p:sp>
            <p:nvSpPr>
              <p:cNvPr id="160" name="Rounded Rectangle 159"/>
              <p:cNvSpPr/>
              <p:nvPr/>
            </p:nvSpPr>
            <p:spPr>
              <a:xfrm>
                <a:off x="8239394" y="5494195"/>
                <a:ext cx="517357" cy="516459"/>
              </a:xfrm>
              <a:prstGeom prst="roundRect">
                <a:avLst>
                  <a:gd name="adj" fmla="val 8500"/>
                </a:avLst>
              </a:prstGeom>
              <a:solidFill>
                <a:srgbClr val="FFFFFF"/>
              </a:solidFill>
              <a:ln w="6350">
                <a:noFill/>
              </a:ln>
              <a:effectLst>
                <a:outerShdw blurRad="25400" dist="254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ea typeface="+mn-ea"/>
                  <a:cs typeface="+mn-cs"/>
                </a:endParaRPr>
              </a:p>
            </p:txBody>
          </p:sp>
          <p:sp>
            <p:nvSpPr>
              <p:cNvPr id="161" name="Rounded Rectangle 160"/>
              <p:cNvSpPr/>
              <p:nvPr/>
            </p:nvSpPr>
            <p:spPr>
              <a:xfrm>
                <a:off x="2294379" y="4904779"/>
                <a:ext cx="517357" cy="516459"/>
              </a:xfrm>
              <a:prstGeom prst="roundRect">
                <a:avLst>
                  <a:gd name="adj" fmla="val 8500"/>
                </a:avLst>
              </a:prstGeom>
              <a:solidFill>
                <a:srgbClr val="FFFFFF"/>
              </a:solidFill>
              <a:ln w="6350" cap="rnd">
                <a:noFill/>
              </a:ln>
              <a:effectLst>
                <a:outerShdw blurRad="25400" dist="254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ea typeface="+mn-ea"/>
                  <a:cs typeface="+mn-cs"/>
                </a:endParaRPr>
              </a:p>
            </p:txBody>
          </p:sp>
          <p:sp>
            <p:nvSpPr>
              <p:cNvPr id="162" name="Rounded Rectangle 161"/>
              <p:cNvSpPr/>
              <p:nvPr/>
            </p:nvSpPr>
            <p:spPr>
              <a:xfrm>
                <a:off x="4077884" y="4904779"/>
                <a:ext cx="517357" cy="516459"/>
              </a:xfrm>
              <a:prstGeom prst="roundRect">
                <a:avLst>
                  <a:gd name="adj" fmla="val 8500"/>
                </a:avLst>
              </a:prstGeom>
              <a:solidFill>
                <a:srgbClr val="FFFFFF"/>
              </a:solidFill>
              <a:ln w="6350">
                <a:noFill/>
              </a:ln>
              <a:effectLst>
                <a:outerShdw blurRad="25400" dist="254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ea typeface="+mn-ea"/>
                  <a:cs typeface="+mn-cs"/>
                </a:endParaRPr>
              </a:p>
            </p:txBody>
          </p:sp>
          <p:sp>
            <p:nvSpPr>
              <p:cNvPr id="163" name="Rounded Rectangle 162"/>
              <p:cNvSpPr/>
              <p:nvPr/>
            </p:nvSpPr>
            <p:spPr>
              <a:xfrm>
                <a:off x="4672385" y="4904779"/>
                <a:ext cx="517357" cy="516459"/>
              </a:xfrm>
              <a:prstGeom prst="roundRect">
                <a:avLst>
                  <a:gd name="adj" fmla="val 8500"/>
                </a:avLst>
              </a:prstGeom>
              <a:solidFill>
                <a:srgbClr val="FFFFFF"/>
              </a:solidFill>
              <a:ln w="6350">
                <a:noFill/>
              </a:ln>
              <a:effectLst>
                <a:outerShdw blurRad="25400" dist="254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ea typeface="+mn-ea"/>
                  <a:cs typeface="+mn-cs"/>
                </a:endParaRPr>
              </a:p>
            </p:txBody>
          </p:sp>
          <p:sp>
            <p:nvSpPr>
              <p:cNvPr id="164" name="Rounded Rectangle 163"/>
              <p:cNvSpPr/>
              <p:nvPr/>
            </p:nvSpPr>
            <p:spPr>
              <a:xfrm>
                <a:off x="5861388" y="4904779"/>
                <a:ext cx="517357" cy="516459"/>
              </a:xfrm>
              <a:prstGeom prst="roundRect">
                <a:avLst>
                  <a:gd name="adj" fmla="val 8500"/>
                </a:avLst>
              </a:prstGeom>
              <a:solidFill>
                <a:srgbClr val="FFFFFF"/>
              </a:solidFill>
              <a:ln w="6350">
                <a:noFill/>
              </a:ln>
              <a:effectLst>
                <a:outerShdw blurRad="25400" dist="254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ea typeface="+mn-ea"/>
                  <a:cs typeface="+mn-cs"/>
                </a:endParaRPr>
              </a:p>
            </p:txBody>
          </p:sp>
          <p:sp>
            <p:nvSpPr>
              <p:cNvPr id="165" name="Rounded Rectangle 164"/>
              <p:cNvSpPr/>
              <p:nvPr/>
            </p:nvSpPr>
            <p:spPr>
              <a:xfrm>
                <a:off x="6455890" y="4904779"/>
                <a:ext cx="517357" cy="516459"/>
              </a:xfrm>
              <a:prstGeom prst="roundRect">
                <a:avLst>
                  <a:gd name="adj" fmla="val 8500"/>
                </a:avLst>
              </a:prstGeom>
              <a:solidFill>
                <a:srgbClr val="FFFFFF"/>
              </a:solidFill>
              <a:ln w="6350">
                <a:noFill/>
              </a:ln>
              <a:effectLst>
                <a:outerShdw blurRad="25400" dist="254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ea typeface="+mn-ea"/>
                  <a:cs typeface="+mn-cs"/>
                </a:endParaRPr>
              </a:p>
            </p:txBody>
          </p:sp>
          <p:sp>
            <p:nvSpPr>
              <p:cNvPr id="166" name="Rounded Rectangle 165"/>
              <p:cNvSpPr/>
              <p:nvPr/>
            </p:nvSpPr>
            <p:spPr>
              <a:xfrm>
                <a:off x="7050391" y="4904779"/>
                <a:ext cx="517357" cy="516459"/>
              </a:xfrm>
              <a:prstGeom prst="roundRect">
                <a:avLst>
                  <a:gd name="adj" fmla="val 8500"/>
                </a:avLst>
              </a:prstGeom>
              <a:solidFill>
                <a:srgbClr val="FFFFFF"/>
              </a:solidFill>
              <a:ln w="6350">
                <a:noFill/>
              </a:ln>
              <a:effectLst>
                <a:outerShdw blurRad="25400" dist="254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ea typeface="+mn-ea"/>
                  <a:cs typeface="+mn-cs"/>
                </a:endParaRPr>
              </a:p>
            </p:txBody>
          </p:sp>
          <p:sp>
            <p:nvSpPr>
              <p:cNvPr id="167" name="Rounded Rectangle 166"/>
              <p:cNvSpPr/>
              <p:nvPr/>
            </p:nvSpPr>
            <p:spPr>
              <a:xfrm>
                <a:off x="7644893" y="4904779"/>
                <a:ext cx="517357" cy="516459"/>
              </a:xfrm>
              <a:prstGeom prst="roundRect">
                <a:avLst>
                  <a:gd name="adj" fmla="val 8500"/>
                </a:avLst>
              </a:prstGeom>
              <a:solidFill>
                <a:srgbClr val="FFFFFF"/>
              </a:solidFill>
              <a:ln w="6350">
                <a:noFill/>
              </a:ln>
              <a:effectLst>
                <a:outerShdw blurRad="25400" dist="254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ea typeface="+mn-ea"/>
                  <a:cs typeface="+mn-cs"/>
                </a:endParaRPr>
              </a:p>
            </p:txBody>
          </p:sp>
          <p:sp>
            <p:nvSpPr>
              <p:cNvPr id="168" name="Rounded Rectangle 167"/>
              <p:cNvSpPr/>
              <p:nvPr/>
            </p:nvSpPr>
            <p:spPr>
              <a:xfrm>
                <a:off x="8833893" y="4904779"/>
                <a:ext cx="517357" cy="516459"/>
              </a:xfrm>
              <a:prstGeom prst="roundRect">
                <a:avLst>
                  <a:gd name="adj" fmla="val 8500"/>
                </a:avLst>
              </a:prstGeom>
              <a:solidFill>
                <a:srgbClr val="FFFFFF"/>
              </a:solidFill>
              <a:ln w="6350">
                <a:noFill/>
              </a:ln>
              <a:effectLst>
                <a:outerShdw blurRad="25400" dist="254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ea typeface="+mn-ea"/>
                  <a:cs typeface="+mn-cs"/>
                </a:endParaRPr>
              </a:p>
            </p:txBody>
          </p:sp>
          <p:sp>
            <p:nvSpPr>
              <p:cNvPr id="169" name="Rounded Rectangle 168"/>
              <p:cNvSpPr/>
              <p:nvPr/>
            </p:nvSpPr>
            <p:spPr>
              <a:xfrm>
                <a:off x="2294379" y="4315363"/>
                <a:ext cx="517357" cy="516459"/>
              </a:xfrm>
              <a:prstGeom prst="roundRect">
                <a:avLst>
                  <a:gd name="adj" fmla="val 8500"/>
                </a:avLst>
              </a:prstGeom>
              <a:solidFill>
                <a:srgbClr val="FFFFFF"/>
              </a:solidFill>
              <a:ln w="6350" cap="rnd">
                <a:noFill/>
              </a:ln>
              <a:effectLst>
                <a:outerShdw blurRad="25400" dist="254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ea typeface="+mn-ea"/>
                  <a:cs typeface="+mn-cs"/>
                </a:endParaRPr>
              </a:p>
            </p:txBody>
          </p:sp>
          <p:sp>
            <p:nvSpPr>
              <p:cNvPr id="170" name="Rounded Rectangle 169"/>
              <p:cNvSpPr/>
              <p:nvPr/>
            </p:nvSpPr>
            <p:spPr>
              <a:xfrm>
                <a:off x="2888881" y="4315363"/>
                <a:ext cx="517357" cy="516459"/>
              </a:xfrm>
              <a:prstGeom prst="roundRect">
                <a:avLst>
                  <a:gd name="adj" fmla="val 8500"/>
                </a:avLst>
              </a:prstGeom>
              <a:solidFill>
                <a:srgbClr val="FFFFFF"/>
              </a:solidFill>
              <a:ln w="6350" cap="rnd">
                <a:noFill/>
              </a:ln>
              <a:effectLst>
                <a:outerShdw blurRad="25400" dist="254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ea typeface="+mn-ea"/>
                  <a:cs typeface="+mn-cs"/>
                </a:endParaRPr>
              </a:p>
            </p:txBody>
          </p:sp>
          <p:sp>
            <p:nvSpPr>
              <p:cNvPr id="171" name="Rounded Rectangle 170"/>
              <p:cNvSpPr/>
              <p:nvPr/>
            </p:nvSpPr>
            <p:spPr>
              <a:xfrm>
                <a:off x="3483382" y="4315363"/>
                <a:ext cx="517357" cy="516459"/>
              </a:xfrm>
              <a:prstGeom prst="roundRect">
                <a:avLst>
                  <a:gd name="adj" fmla="val 8500"/>
                </a:avLst>
              </a:prstGeom>
              <a:solidFill>
                <a:srgbClr val="FFFFFF"/>
              </a:solidFill>
              <a:ln w="6350" cap="rnd">
                <a:noFill/>
              </a:ln>
              <a:effectLst>
                <a:outerShdw blurRad="25400" dist="254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ea typeface="+mn-ea"/>
                  <a:cs typeface="+mn-cs"/>
                </a:endParaRPr>
              </a:p>
            </p:txBody>
          </p:sp>
          <p:sp>
            <p:nvSpPr>
              <p:cNvPr id="172" name="Rounded Rectangle 171"/>
              <p:cNvSpPr/>
              <p:nvPr/>
            </p:nvSpPr>
            <p:spPr>
              <a:xfrm>
                <a:off x="5266887" y="4315363"/>
                <a:ext cx="517357" cy="516459"/>
              </a:xfrm>
              <a:prstGeom prst="roundRect">
                <a:avLst>
                  <a:gd name="adj" fmla="val 8500"/>
                </a:avLst>
              </a:prstGeom>
              <a:solidFill>
                <a:srgbClr val="FFFFFF"/>
              </a:solidFill>
              <a:ln w="6350">
                <a:noFill/>
              </a:ln>
              <a:effectLst>
                <a:outerShdw blurRad="25400" dist="254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ea typeface="+mn-ea"/>
                  <a:cs typeface="+mn-cs"/>
                </a:endParaRPr>
              </a:p>
            </p:txBody>
          </p:sp>
          <p:sp>
            <p:nvSpPr>
              <p:cNvPr id="173" name="Rounded Rectangle 172"/>
              <p:cNvSpPr/>
              <p:nvPr/>
            </p:nvSpPr>
            <p:spPr>
              <a:xfrm>
                <a:off x="5861388" y="4315363"/>
                <a:ext cx="517357" cy="516459"/>
              </a:xfrm>
              <a:prstGeom prst="roundRect">
                <a:avLst>
                  <a:gd name="adj" fmla="val 8500"/>
                </a:avLst>
              </a:prstGeom>
              <a:solidFill>
                <a:srgbClr val="FFFFFF"/>
              </a:solidFill>
              <a:ln w="6350">
                <a:noFill/>
              </a:ln>
              <a:effectLst>
                <a:outerShdw blurRad="25400" dist="254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ea typeface="+mn-ea"/>
                  <a:cs typeface="+mn-cs"/>
                </a:endParaRPr>
              </a:p>
            </p:txBody>
          </p:sp>
          <p:sp>
            <p:nvSpPr>
              <p:cNvPr id="174" name="Rounded Rectangle 173"/>
              <p:cNvSpPr/>
              <p:nvPr/>
            </p:nvSpPr>
            <p:spPr>
              <a:xfrm>
                <a:off x="6455890" y="4315363"/>
                <a:ext cx="517357" cy="516459"/>
              </a:xfrm>
              <a:prstGeom prst="roundRect">
                <a:avLst>
                  <a:gd name="adj" fmla="val 8500"/>
                </a:avLst>
              </a:prstGeom>
              <a:solidFill>
                <a:srgbClr val="FFFFFF"/>
              </a:solidFill>
              <a:ln w="6350">
                <a:noFill/>
              </a:ln>
              <a:effectLst>
                <a:outerShdw blurRad="25400" dist="254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ea typeface="+mn-ea"/>
                  <a:cs typeface="+mn-cs"/>
                </a:endParaRPr>
              </a:p>
            </p:txBody>
          </p:sp>
          <p:sp>
            <p:nvSpPr>
              <p:cNvPr id="175" name="Rounded Rectangle 174"/>
              <p:cNvSpPr/>
              <p:nvPr/>
            </p:nvSpPr>
            <p:spPr>
              <a:xfrm>
                <a:off x="7644893" y="4315363"/>
                <a:ext cx="517357" cy="516459"/>
              </a:xfrm>
              <a:prstGeom prst="roundRect">
                <a:avLst>
                  <a:gd name="adj" fmla="val 8500"/>
                </a:avLst>
              </a:prstGeom>
              <a:solidFill>
                <a:srgbClr val="FFFFFF"/>
              </a:solidFill>
              <a:ln w="6350">
                <a:noFill/>
              </a:ln>
              <a:effectLst>
                <a:outerShdw blurRad="25400" dist="254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ea typeface="+mn-ea"/>
                  <a:cs typeface="+mn-cs"/>
                </a:endParaRPr>
              </a:p>
            </p:txBody>
          </p:sp>
          <p:sp>
            <p:nvSpPr>
              <p:cNvPr id="176" name="Rounded Rectangle 175"/>
              <p:cNvSpPr/>
              <p:nvPr/>
            </p:nvSpPr>
            <p:spPr>
              <a:xfrm>
                <a:off x="8239394" y="4315363"/>
                <a:ext cx="517357" cy="516459"/>
              </a:xfrm>
              <a:prstGeom prst="roundRect">
                <a:avLst>
                  <a:gd name="adj" fmla="val 8500"/>
                </a:avLst>
              </a:prstGeom>
              <a:solidFill>
                <a:srgbClr val="FFFFFF"/>
              </a:solidFill>
              <a:ln w="6350">
                <a:noFill/>
              </a:ln>
              <a:effectLst>
                <a:outerShdw blurRad="25400" dist="254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ea typeface="+mn-ea"/>
                  <a:cs typeface="+mn-cs"/>
                </a:endParaRPr>
              </a:p>
            </p:txBody>
          </p:sp>
          <p:sp>
            <p:nvSpPr>
              <p:cNvPr id="177" name="Rounded Rectangle 176"/>
              <p:cNvSpPr/>
              <p:nvPr/>
            </p:nvSpPr>
            <p:spPr>
              <a:xfrm>
                <a:off x="2888881" y="3725946"/>
                <a:ext cx="517357" cy="516459"/>
              </a:xfrm>
              <a:prstGeom prst="roundRect">
                <a:avLst>
                  <a:gd name="adj" fmla="val 8500"/>
                </a:avLst>
              </a:prstGeom>
              <a:solidFill>
                <a:srgbClr val="FFFFFF"/>
              </a:solidFill>
              <a:ln w="6350" cap="rnd">
                <a:noFill/>
              </a:ln>
              <a:effectLst>
                <a:outerShdw blurRad="25400" dist="254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ea typeface="+mn-ea"/>
                  <a:cs typeface="+mn-cs"/>
                </a:endParaRPr>
              </a:p>
            </p:txBody>
          </p:sp>
          <p:sp>
            <p:nvSpPr>
              <p:cNvPr id="178" name="Rounded Rectangle 177"/>
              <p:cNvSpPr/>
              <p:nvPr/>
            </p:nvSpPr>
            <p:spPr>
              <a:xfrm>
                <a:off x="4077884" y="3725946"/>
                <a:ext cx="517357" cy="516459"/>
              </a:xfrm>
              <a:prstGeom prst="roundRect">
                <a:avLst>
                  <a:gd name="adj" fmla="val 8500"/>
                </a:avLst>
              </a:prstGeom>
              <a:solidFill>
                <a:srgbClr val="FFFFFF"/>
              </a:solidFill>
              <a:ln w="6350">
                <a:noFill/>
              </a:ln>
              <a:effectLst>
                <a:outerShdw blurRad="25400" dist="254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ea typeface="+mn-ea"/>
                  <a:cs typeface="+mn-cs"/>
                </a:endParaRPr>
              </a:p>
            </p:txBody>
          </p:sp>
          <p:sp>
            <p:nvSpPr>
              <p:cNvPr id="179" name="Rounded Rectangle 178"/>
              <p:cNvSpPr/>
              <p:nvPr/>
            </p:nvSpPr>
            <p:spPr>
              <a:xfrm>
                <a:off x="4672385" y="3725946"/>
                <a:ext cx="517357" cy="516459"/>
              </a:xfrm>
              <a:prstGeom prst="roundRect">
                <a:avLst>
                  <a:gd name="adj" fmla="val 8500"/>
                </a:avLst>
              </a:prstGeom>
              <a:solidFill>
                <a:srgbClr val="FFFFFF"/>
              </a:solidFill>
              <a:ln w="6350">
                <a:noFill/>
              </a:ln>
              <a:effectLst>
                <a:outerShdw blurRad="25400" dist="254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ea typeface="+mn-ea"/>
                  <a:cs typeface="+mn-cs"/>
                </a:endParaRPr>
              </a:p>
            </p:txBody>
          </p:sp>
          <p:sp>
            <p:nvSpPr>
              <p:cNvPr id="180" name="Rounded Rectangle 179"/>
              <p:cNvSpPr/>
              <p:nvPr/>
            </p:nvSpPr>
            <p:spPr>
              <a:xfrm>
                <a:off x="5266887" y="3725946"/>
                <a:ext cx="517357" cy="516459"/>
              </a:xfrm>
              <a:prstGeom prst="roundRect">
                <a:avLst>
                  <a:gd name="adj" fmla="val 8500"/>
                </a:avLst>
              </a:prstGeom>
              <a:solidFill>
                <a:srgbClr val="FFFFFF"/>
              </a:solidFill>
              <a:ln w="6350">
                <a:noFill/>
              </a:ln>
              <a:effectLst>
                <a:outerShdw blurRad="25400" dist="254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ea typeface="+mn-ea"/>
                  <a:cs typeface="+mn-cs"/>
                </a:endParaRPr>
              </a:p>
            </p:txBody>
          </p:sp>
          <p:sp>
            <p:nvSpPr>
              <p:cNvPr id="181" name="Rounded Rectangle 180"/>
              <p:cNvSpPr/>
              <p:nvPr/>
            </p:nvSpPr>
            <p:spPr>
              <a:xfrm>
                <a:off x="6455890" y="3725946"/>
                <a:ext cx="517357" cy="516459"/>
              </a:xfrm>
              <a:prstGeom prst="roundRect">
                <a:avLst>
                  <a:gd name="adj" fmla="val 8500"/>
                </a:avLst>
              </a:prstGeom>
              <a:solidFill>
                <a:srgbClr val="FFFFFF"/>
              </a:solidFill>
              <a:ln w="6350">
                <a:noFill/>
              </a:ln>
              <a:effectLst>
                <a:outerShdw blurRad="25400" dist="254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ea typeface="+mn-ea"/>
                  <a:cs typeface="+mn-cs"/>
                </a:endParaRPr>
              </a:p>
            </p:txBody>
          </p:sp>
          <p:sp>
            <p:nvSpPr>
              <p:cNvPr id="199" name="Rounded Rectangle 198"/>
              <p:cNvSpPr/>
              <p:nvPr/>
            </p:nvSpPr>
            <p:spPr>
              <a:xfrm>
                <a:off x="7050391" y="3725946"/>
                <a:ext cx="517357" cy="516459"/>
              </a:xfrm>
              <a:prstGeom prst="roundRect">
                <a:avLst>
                  <a:gd name="adj" fmla="val 8500"/>
                </a:avLst>
              </a:prstGeom>
              <a:solidFill>
                <a:srgbClr val="FFFFFF"/>
              </a:solidFill>
              <a:ln w="6350">
                <a:noFill/>
              </a:ln>
              <a:effectLst>
                <a:outerShdw blurRad="25400" dist="254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ea typeface="+mn-ea"/>
                  <a:cs typeface="+mn-cs"/>
                </a:endParaRPr>
              </a:p>
            </p:txBody>
          </p:sp>
          <p:sp>
            <p:nvSpPr>
              <p:cNvPr id="200" name="Rounded Rectangle 199"/>
              <p:cNvSpPr/>
              <p:nvPr/>
            </p:nvSpPr>
            <p:spPr>
              <a:xfrm>
                <a:off x="8239394" y="3725946"/>
                <a:ext cx="517357" cy="516459"/>
              </a:xfrm>
              <a:prstGeom prst="roundRect">
                <a:avLst>
                  <a:gd name="adj" fmla="val 8500"/>
                </a:avLst>
              </a:prstGeom>
              <a:solidFill>
                <a:srgbClr val="FFFFFF"/>
              </a:solidFill>
              <a:ln w="6350">
                <a:noFill/>
              </a:ln>
              <a:effectLst>
                <a:outerShdw blurRad="25400" dist="254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ea typeface="+mn-ea"/>
                  <a:cs typeface="+mn-cs"/>
                </a:endParaRPr>
              </a:p>
            </p:txBody>
          </p:sp>
          <p:sp>
            <p:nvSpPr>
              <p:cNvPr id="201" name="Rounded Rectangle 200"/>
              <p:cNvSpPr/>
              <p:nvPr/>
            </p:nvSpPr>
            <p:spPr>
              <a:xfrm>
                <a:off x="8833893" y="3725946"/>
                <a:ext cx="517357" cy="516459"/>
              </a:xfrm>
              <a:prstGeom prst="roundRect">
                <a:avLst>
                  <a:gd name="adj" fmla="val 8500"/>
                </a:avLst>
              </a:prstGeom>
              <a:solidFill>
                <a:srgbClr val="FFFFFF"/>
              </a:solidFill>
              <a:ln w="6350">
                <a:noFill/>
              </a:ln>
              <a:effectLst>
                <a:outerShdw blurRad="25400" dist="254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ea typeface="+mn-ea"/>
                  <a:cs typeface="+mn-cs"/>
                </a:endParaRPr>
              </a:p>
            </p:txBody>
          </p:sp>
          <p:sp>
            <p:nvSpPr>
              <p:cNvPr id="202" name="Rounded Rectangle 201"/>
              <p:cNvSpPr/>
              <p:nvPr/>
            </p:nvSpPr>
            <p:spPr>
              <a:xfrm>
                <a:off x="2294379" y="3136530"/>
                <a:ext cx="517357" cy="516459"/>
              </a:xfrm>
              <a:prstGeom prst="roundRect">
                <a:avLst>
                  <a:gd name="adj" fmla="val 8500"/>
                </a:avLst>
              </a:prstGeom>
              <a:solidFill>
                <a:srgbClr val="FFFFFF"/>
              </a:solidFill>
              <a:ln w="6350" cap="rnd">
                <a:noFill/>
              </a:ln>
              <a:effectLst>
                <a:outerShdw blurRad="25400" dist="254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ea typeface="+mn-ea"/>
                  <a:cs typeface="+mn-cs"/>
                </a:endParaRPr>
              </a:p>
            </p:txBody>
          </p:sp>
          <p:sp>
            <p:nvSpPr>
              <p:cNvPr id="203" name="Rounded Rectangle 202"/>
              <p:cNvSpPr/>
              <p:nvPr/>
            </p:nvSpPr>
            <p:spPr>
              <a:xfrm>
                <a:off x="3483382" y="3136530"/>
                <a:ext cx="517357" cy="516459"/>
              </a:xfrm>
              <a:prstGeom prst="roundRect">
                <a:avLst>
                  <a:gd name="adj" fmla="val 8500"/>
                </a:avLst>
              </a:prstGeom>
              <a:solidFill>
                <a:srgbClr val="FFFFFF"/>
              </a:solidFill>
              <a:ln w="6350" cap="rnd">
                <a:noFill/>
              </a:ln>
              <a:effectLst>
                <a:outerShdw blurRad="25400" dist="254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ea typeface="+mn-ea"/>
                  <a:cs typeface="+mn-cs"/>
                </a:endParaRPr>
              </a:p>
            </p:txBody>
          </p:sp>
          <p:sp>
            <p:nvSpPr>
              <p:cNvPr id="204" name="Rounded Rectangle 203"/>
              <p:cNvSpPr/>
              <p:nvPr/>
            </p:nvSpPr>
            <p:spPr>
              <a:xfrm>
                <a:off x="4077884" y="3136530"/>
                <a:ext cx="517357" cy="516459"/>
              </a:xfrm>
              <a:prstGeom prst="roundRect">
                <a:avLst>
                  <a:gd name="adj" fmla="val 8500"/>
                </a:avLst>
              </a:prstGeom>
              <a:solidFill>
                <a:srgbClr val="FFFFFF"/>
              </a:solidFill>
              <a:ln w="6350">
                <a:noFill/>
              </a:ln>
              <a:effectLst>
                <a:outerShdw blurRad="25400" dist="254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ea typeface="+mn-ea"/>
                  <a:cs typeface="+mn-cs"/>
                </a:endParaRPr>
              </a:p>
            </p:txBody>
          </p:sp>
          <p:sp>
            <p:nvSpPr>
              <p:cNvPr id="205" name="Rounded Rectangle 204"/>
              <p:cNvSpPr/>
              <p:nvPr/>
            </p:nvSpPr>
            <p:spPr>
              <a:xfrm>
                <a:off x="5266887" y="3136530"/>
                <a:ext cx="517357" cy="516459"/>
              </a:xfrm>
              <a:prstGeom prst="roundRect">
                <a:avLst>
                  <a:gd name="adj" fmla="val 8500"/>
                </a:avLst>
              </a:prstGeom>
              <a:solidFill>
                <a:srgbClr val="FFFFFF"/>
              </a:solidFill>
              <a:ln w="6350">
                <a:noFill/>
              </a:ln>
              <a:effectLst>
                <a:outerShdw blurRad="25400" dist="254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ea typeface="+mn-ea"/>
                  <a:cs typeface="+mn-cs"/>
                </a:endParaRPr>
              </a:p>
            </p:txBody>
          </p:sp>
          <p:sp>
            <p:nvSpPr>
              <p:cNvPr id="206" name="Rounded Rectangle 205"/>
              <p:cNvSpPr/>
              <p:nvPr/>
            </p:nvSpPr>
            <p:spPr>
              <a:xfrm>
                <a:off x="5861388" y="3136530"/>
                <a:ext cx="517357" cy="516459"/>
              </a:xfrm>
              <a:prstGeom prst="roundRect">
                <a:avLst>
                  <a:gd name="adj" fmla="val 8500"/>
                </a:avLst>
              </a:prstGeom>
              <a:solidFill>
                <a:srgbClr val="FFFFFF"/>
              </a:solidFill>
              <a:ln w="6350">
                <a:noFill/>
              </a:ln>
              <a:effectLst>
                <a:outerShdw blurRad="25400" dist="254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ea typeface="+mn-ea"/>
                  <a:cs typeface="+mn-cs"/>
                </a:endParaRPr>
              </a:p>
            </p:txBody>
          </p:sp>
          <p:sp>
            <p:nvSpPr>
              <p:cNvPr id="207" name="Rounded Rectangle 206"/>
              <p:cNvSpPr/>
              <p:nvPr/>
            </p:nvSpPr>
            <p:spPr>
              <a:xfrm>
                <a:off x="6455890" y="3136530"/>
                <a:ext cx="517357" cy="516459"/>
              </a:xfrm>
              <a:prstGeom prst="roundRect">
                <a:avLst>
                  <a:gd name="adj" fmla="val 8500"/>
                </a:avLst>
              </a:prstGeom>
              <a:solidFill>
                <a:srgbClr val="FFFFFF"/>
              </a:solidFill>
              <a:ln w="6350">
                <a:noFill/>
              </a:ln>
              <a:effectLst>
                <a:outerShdw blurRad="25400" dist="254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ea typeface="+mn-ea"/>
                  <a:cs typeface="+mn-cs"/>
                </a:endParaRPr>
              </a:p>
            </p:txBody>
          </p:sp>
          <p:sp>
            <p:nvSpPr>
              <p:cNvPr id="208" name="Rounded Rectangle 207"/>
              <p:cNvSpPr/>
              <p:nvPr/>
            </p:nvSpPr>
            <p:spPr>
              <a:xfrm>
                <a:off x="8239394" y="3136530"/>
                <a:ext cx="517357" cy="516459"/>
              </a:xfrm>
              <a:prstGeom prst="roundRect">
                <a:avLst>
                  <a:gd name="adj" fmla="val 8500"/>
                </a:avLst>
              </a:prstGeom>
              <a:solidFill>
                <a:srgbClr val="FFFFFF"/>
              </a:solidFill>
              <a:ln w="6350">
                <a:noFill/>
              </a:ln>
              <a:effectLst>
                <a:outerShdw blurRad="25400" dist="254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ea typeface="+mn-ea"/>
                  <a:cs typeface="+mn-cs"/>
                </a:endParaRPr>
              </a:p>
            </p:txBody>
          </p:sp>
        </p:grpSp>
        <p:sp>
          <p:nvSpPr>
            <p:cNvPr id="209" name="Rounded Rectangle 208"/>
            <p:cNvSpPr/>
            <p:nvPr/>
          </p:nvSpPr>
          <p:spPr>
            <a:xfrm>
              <a:off x="8532145" y="3020120"/>
              <a:ext cx="480704" cy="479869"/>
            </a:xfrm>
            <a:prstGeom prst="roundRect">
              <a:avLst>
                <a:gd name="adj" fmla="val 8500"/>
              </a:avLst>
            </a:prstGeom>
            <a:solidFill>
              <a:srgbClr val="78D2D2"/>
            </a:solidFill>
            <a:ln w="6350">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ea typeface="+mn-ea"/>
                <a:cs typeface="+mn-cs"/>
              </a:endParaRPr>
            </a:p>
          </p:txBody>
        </p:sp>
        <p:sp>
          <p:nvSpPr>
            <p:cNvPr id="210" name="Rounded Rectangle 209"/>
            <p:cNvSpPr/>
            <p:nvPr/>
          </p:nvSpPr>
          <p:spPr>
            <a:xfrm>
              <a:off x="3008319" y="2470327"/>
              <a:ext cx="480704" cy="479869"/>
            </a:xfrm>
            <a:prstGeom prst="roundRect">
              <a:avLst>
                <a:gd name="adj" fmla="val 8500"/>
              </a:avLst>
            </a:prstGeom>
            <a:solidFill>
              <a:srgbClr val="E7E6E6"/>
            </a:solidFill>
            <a:ln w="31750" cap="rnd">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ea typeface="+mn-ea"/>
                <a:cs typeface="+mn-cs"/>
              </a:endParaRPr>
            </a:p>
          </p:txBody>
        </p:sp>
        <p:sp>
          <p:nvSpPr>
            <p:cNvPr id="211" name="Rounded Rectangle 210"/>
            <p:cNvSpPr/>
            <p:nvPr/>
          </p:nvSpPr>
          <p:spPr>
            <a:xfrm>
              <a:off x="3560702" y="2470327"/>
              <a:ext cx="480704" cy="479869"/>
            </a:xfrm>
            <a:prstGeom prst="roundRect">
              <a:avLst>
                <a:gd name="adj" fmla="val 8500"/>
              </a:avLst>
            </a:prstGeom>
            <a:solidFill>
              <a:srgbClr val="E7E6E6"/>
            </a:solidFill>
            <a:ln w="31750" cap="rnd">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ea typeface="+mn-ea"/>
                <a:cs typeface="+mn-cs"/>
              </a:endParaRPr>
            </a:p>
          </p:txBody>
        </p:sp>
        <p:sp>
          <p:nvSpPr>
            <p:cNvPr id="212" name="Rounded Rectangle 211"/>
            <p:cNvSpPr/>
            <p:nvPr/>
          </p:nvSpPr>
          <p:spPr>
            <a:xfrm>
              <a:off x="4113085" y="2470327"/>
              <a:ext cx="480704" cy="479869"/>
            </a:xfrm>
            <a:prstGeom prst="roundRect">
              <a:avLst>
                <a:gd name="adj" fmla="val 8500"/>
              </a:avLst>
            </a:prstGeom>
            <a:solidFill>
              <a:srgbClr val="E7E6E6"/>
            </a:solidFill>
            <a:ln w="317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ea typeface="+mn-ea"/>
                <a:cs typeface="+mn-cs"/>
              </a:endParaRPr>
            </a:p>
          </p:txBody>
        </p:sp>
        <p:sp>
          <p:nvSpPr>
            <p:cNvPr id="213" name="Rounded Rectangle 212"/>
            <p:cNvSpPr/>
            <p:nvPr/>
          </p:nvSpPr>
          <p:spPr>
            <a:xfrm>
              <a:off x="4665467" y="2470327"/>
              <a:ext cx="480704" cy="479869"/>
            </a:xfrm>
            <a:prstGeom prst="roundRect">
              <a:avLst>
                <a:gd name="adj" fmla="val 8500"/>
              </a:avLst>
            </a:prstGeom>
            <a:solidFill>
              <a:srgbClr val="E7E6E6"/>
            </a:solidFill>
            <a:ln w="317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ea typeface="+mn-ea"/>
                <a:cs typeface="+mn-cs"/>
              </a:endParaRPr>
            </a:p>
          </p:txBody>
        </p:sp>
        <p:sp>
          <p:nvSpPr>
            <p:cNvPr id="214" name="Rounded Rectangle 213"/>
            <p:cNvSpPr/>
            <p:nvPr/>
          </p:nvSpPr>
          <p:spPr>
            <a:xfrm>
              <a:off x="5217851" y="2470327"/>
              <a:ext cx="480704" cy="479869"/>
            </a:xfrm>
            <a:prstGeom prst="roundRect">
              <a:avLst>
                <a:gd name="adj" fmla="val 8500"/>
              </a:avLst>
            </a:prstGeom>
            <a:solidFill>
              <a:srgbClr val="E7E6E6"/>
            </a:solidFill>
            <a:ln w="317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ea typeface="+mn-ea"/>
                <a:cs typeface="+mn-cs"/>
              </a:endParaRPr>
            </a:p>
          </p:txBody>
        </p:sp>
        <p:sp>
          <p:nvSpPr>
            <p:cNvPr id="215" name="Rounded Rectangle 214"/>
            <p:cNvSpPr/>
            <p:nvPr/>
          </p:nvSpPr>
          <p:spPr>
            <a:xfrm>
              <a:off x="5770233" y="2470327"/>
              <a:ext cx="480704" cy="479869"/>
            </a:xfrm>
            <a:prstGeom prst="roundRect">
              <a:avLst>
                <a:gd name="adj" fmla="val 8500"/>
              </a:avLst>
            </a:prstGeom>
            <a:solidFill>
              <a:srgbClr val="E7E6E6"/>
            </a:solidFill>
            <a:ln w="317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ea typeface="+mn-ea"/>
                <a:cs typeface="+mn-cs"/>
              </a:endParaRPr>
            </a:p>
          </p:txBody>
        </p:sp>
        <p:sp>
          <p:nvSpPr>
            <p:cNvPr id="216" name="Rounded Rectangle 215"/>
            <p:cNvSpPr/>
            <p:nvPr/>
          </p:nvSpPr>
          <p:spPr>
            <a:xfrm>
              <a:off x="6322617" y="2470327"/>
              <a:ext cx="480704" cy="479869"/>
            </a:xfrm>
            <a:prstGeom prst="roundRect">
              <a:avLst>
                <a:gd name="adj" fmla="val 8500"/>
              </a:avLst>
            </a:prstGeom>
            <a:solidFill>
              <a:srgbClr val="E7E6E6"/>
            </a:solidFill>
            <a:ln w="317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ea typeface="+mn-ea"/>
                <a:cs typeface="+mn-cs"/>
              </a:endParaRPr>
            </a:p>
          </p:txBody>
        </p:sp>
        <p:sp>
          <p:nvSpPr>
            <p:cNvPr id="217" name="Rounded Rectangle 216"/>
            <p:cNvSpPr/>
            <p:nvPr/>
          </p:nvSpPr>
          <p:spPr>
            <a:xfrm>
              <a:off x="6874999" y="2470327"/>
              <a:ext cx="480704" cy="479869"/>
            </a:xfrm>
            <a:prstGeom prst="roundRect">
              <a:avLst>
                <a:gd name="adj" fmla="val 8500"/>
              </a:avLst>
            </a:prstGeom>
            <a:solidFill>
              <a:srgbClr val="E7E6E6"/>
            </a:solidFill>
            <a:ln w="317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ea typeface="+mn-ea"/>
                <a:cs typeface="+mn-cs"/>
              </a:endParaRPr>
            </a:p>
          </p:txBody>
        </p:sp>
        <p:sp>
          <p:nvSpPr>
            <p:cNvPr id="218" name="Rounded Rectangle 217"/>
            <p:cNvSpPr/>
            <p:nvPr/>
          </p:nvSpPr>
          <p:spPr>
            <a:xfrm>
              <a:off x="7427382" y="2470327"/>
              <a:ext cx="480704" cy="479869"/>
            </a:xfrm>
            <a:prstGeom prst="roundRect">
              <a:avLst>
                <a:gd name="adj" fmla="val 8500"/>
              </a:avLst>
            </a:prstGeom>
            <a:solidFill>
              <a:srgbClr val="E7E6E6"/>
            </a:solidFill>
            <a:ln w="317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ea typeface="+mn-ea"/>
                <a:cs typeface="+mn-cs"/>
              </a:endParaRPr>
            </a:p>
          </p:txBody>
        </p:sp>
        <p:sp>
          <p:nvSpPr>
            <p:cNvPr id="219" name="Rounded Rectangle 218"/>
            <p:cNvSpPr/>
            <p:nvPr/>
          </p:nvSpPr>
          <p:spPr>
            <a:xfrm>
              <a:off x="7979765" y="2470327"/>
              <a:ext cx="480704" cy="479869"/>
            </a:xfrm>
            <a:prstGeom prst="roundRect">
              <a:avLst>
                <a:gd name="adj" fmla="val 8500"/>
              </a:avLst>
            </a:prstGeom>
            <a:solidFill>
              <a:srgbClr val="E7E6E6"/>
            </a:solidFill>
            <a:ln w="317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ea typeface="+mn-ea"/>
                <a:cs typeface="+mn-cs"/>
              </a:endParaRPr>
            </a:p>
          </p:txBody>
        </p:sp>
        <p:sp>
          <p:nvSpPr>
            <p:cNvPr id="220" name="Rounded Rectangle 219"/>
            <p:cNvSpPr/>
            <p:nvPr/>
          </p:nvSpPr>
          <p:spPr>
            <a:xfrm>
              <a:off x="8532145" y="2470327"/>
              <a:ext cx="480704" cy="479869"/>
            </a:xfrm>
            <a:prstGeom prst="roundRect">
              <a:avLst>
                <a:gd name="adj" fmla="val 8500"/>
              </a:avLst>
            </a:prstGeom>
            <a:solidFill>
              <a:srgbClr val="E7E6E6"/>
            </a:solidFill>
            <a:ln w="317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ea typeface="+mn-ea"/>
                <a:cs typeface="+mn-cs"/>
              </a:endParaRPr>
            </a:p>
          </p:txBody>
        </p:sp>
        <p:sp>
          <p:nvSpPr>
            <p:cNvPr id="221" name="Rounded Rectangle 220"/>
            <p:cNvSpPr/>
            <p:nvPr/>
          </p:nvSpPr>
          <p:spPr>
            <a:xfrm>
              <a:off x="2455936" y="2470327"/>
              <a:ext cx="480704" cy="479869"/>
            </a:xfrm>
            <a:prstGeom prst="roundRect">
              <a:avLst>
                <a:gd name="adj" fmla="val 8500"/>
              </a:avLst>
            </a:prstGeom>
            <a:solidFill>
              <a:srgbClr val="E7E6E6"/>
            </a:solidFill>
            <a:ln w="31750" cap="rnd">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ea typeface="+mn-ea"/>
                <a:cs typeface="+mn-cs"/>
              </a:endParaRPr>
            </a:p>
          </p:txBody>
        </p:sp>
        <p:sp>
          <p:nvSpPr>
            <p:cNvPr id="222" name="TextBox 221"/>
            <p:cNvSpPr txBox="1"/>
            <p:nvPr/>
          </p:nvSpPr>
          <p:spPr>
            <a:xfrm>
              <a:off x="2455938" y="2594846"/>
              <a:ext cx="480704" cy="230833"/>
            </a:xfrm>
            <a:prstGeom prst="rect">
              <a:avLst/>
            </a:prstGeom>
            <a:noFill/>
          </p:spPr>
          <p:txBody>
            <a:bodyPr wrap="square" lIns="0" tIns="0" rIns="0" bIns="0" rtlCol="0" anchor="ctr" anchorCtr="0">
              <a:spAutoFit/>
            </a:bodyPr>
            <a:lstStyle/>
            <a:p>
              <a:pPr marL="0" marR="0" lvl="0" indent="0" algn="ctr" defTabSz="914400" rtl="0" eaLnBrk="1" fontAlgn="auto" latinLnBrk="0" hangingPunct="1">
                <a:lnSpc>
                  <a:spcPct val="150000"/>
                </a:lnSpc>
                <a:spcBef>
                  <a:spcPts val="0"/>
                </a:spcBef>
                <a:spcAft>
                  <a:spcPts val="0"/>
                </a:spcAft>
                <a:buClrTx/>
                <a:buSzTx/>
                <a:buFontTx/>
                <a:buNone/>
                <a:tabLst/>
                <a:defRPr/>
              </a:pPr>
              <a:r>
                <a:rPr kumimoji="0" lang="en-US" sz="1000" b="1" i="0" u="none" strike="noStrike" kern="1200" cap="none" spc="0" normalizeH="0" baseline="0" noProof="0" dirty="0">
                  <a:ln>
                    <a:noFill/>
                  </a:ln>
                  <a:effectLst/>
                  <a:uLnTx/>
                  <a:uFillTx/>
                  <a:ea typeface="+mn-ea"/>
                  <a:cs typeface="+mn-cs"/>
                </a:rPr>
                <a:t>JAN</a:t>
              </a:r>
            </a:p>
          </p:txBody>
        </p:sp>
        <p:sp>
          <p:nvSpPr>
            <p:cNvPr id="223" name="TextBox 222"/>
            <p:cNvSpPr txBox="1"/>
            <p:nvPr/>
          </p:nvSpPr>
          <p:spPr>
            <a:xfrm>
              <a:off x="3008320" y="2594846"/>
              <a:ext cx="480704" cy="230833"/>
            </a:xfrm>
            <a:prstGeom prst="rect">
              <a:avLst/>
            </a:prstGeom>
            <a:noFill/>
          </p:spPr>
          <p:txBody>
            <a:bodyPr wrap="square" lIns="0" tIns="0" rIns="0" bIns="0" rtlCol="0" anchor="ctr" anchorCtr="0">
              <a:spAutoFit/>
            </a:bodyPr>
            <a:lstStyle/>
            <a:p>
              <a:pPr marL="0" marR="0" lvl="0" indent="0" algn="ctr" defTabSz="914400" rtl="0" eaLnBrk="1" fontAlgn="auto" latinLnBrk="0" hangingPunct="1">
                <a:lnSpc>
                  <a:spcPct val="150000"/>
                </a:lnSpc>
                <a:spcBef>
                  <a:spcPts val="0"/>
                </a:spcBef>
                <a:spcAft>
                  <a:spcPts val="0"/>
                </a:spcAft>
                <a:buClrTx/>
                <a:buSzTx/>
                <a:buFontTx/>
                <a:buNone/>
                <a:tabLst/>
                <a:defRPr/>
              </a:pPr>
              <a:r>
                <a:rPr kumimoji="0" lang="en-US" sz="1000" b="1" i="0" u="none" strike="noStrike" kern="1200" cap="none" spc="0" normalizeH="0" baseline="0" noProof="0" dirty="0">
                  <a:ln>
                    <a:noFill/>
                  </a:ln>
                  <a:effectLst/>
                  <a:uLnTx/>
                  <a:uFillTx/>
                  <a:ea typeface="+mn-ea"/>
                  <a:cs typeface="+mn-cs"/>
                </a:rPr>
                <a:t>FEB</a:t>
              </a:r>
            </a:p>
          </p:txBody>
        </p:sp>
        <p:sp>
          <p:nvSpPr>
            <p:cNvPr id="224" name="TextBox 223"/>
            <p:cNvSpPr txBox="1"/>
            <p:nvPr/>
          </p:nvSpPr>
          <p:spPr>
            <a:xfrm>
              <a:off x="3560702" y="2594846"/>
              <a:ext cx="480704" cy="230833"/>
            </a:xfrm>
            <a:prstGeom prst="rect">
              <a:avLst/>
            </a:prstGeom>
            <a:noFill/>
          </p:spPr>
          <p:txBody>
            <a:bodyPr wrap="square" lIns="0" tIns="0" rIns="0" bIns="0" rtlCol="0" anchor="ctr" anchorCtr="0">
              <a:spAutoFit/>
            </a:bodyPr>
            <a:lstStyle/>
            <a:p>
              <a:pPr marL="0" marR="0" lvl="0" indent="0" algn="ctr" defTabSz="914400" rtl="0" eaLnBrk="1" fontAlgn="auto" latinLnBrk="0" hangingPunct="1">
                <a:lnSpc>
                  <a:spcPct val="150000"/>
                </a:lnSpc>
                <a:spcBef>
                  <a:spcPts val="0"/>
                </a:spcBef>
                <a:spcAft>
                  <a:spcPts val="0"/>
                </a:spcAft>
                <a:buClrTx/>
                <a:buSzTx/>
                <a:buFontTx/>
                <a:buNone/>
                <a:tabLst/>
                <a:defRPr/>
              </a:pPr>
              <a:r>
                <a:rPr kumimoji="0" lang="en-US" sz="1000" b="1" i="0" u="none" strike="noStrike" kern="1200" cap="none" spc="0" normalizeH="0" baseline="0" noProof="0" dirty="0">
                  <a:ln>
                    <a:noFill/>
                  </a:ln>
                  <a:effectLst/>
                  <a:uLnTx/>
                  <a:uFillTx/>
                  <a:ea typeface="+mn-ea"/>
                  <a:cs typeface="+mn-cs"/>
                </a:rPr>
                <a:t>MAR</a:t>
              </a:r>
            </a:p>
          </p:txBody>
        </p:sp>
        <p:sp>
          <p:nvSpPr>
            <p:cNvPr id="225" name="TextBox 224"/>
            <p:cNvSpPr txBox="1"/>
            <p:nvPr/>
          </p:nvSpPr>
          <p:spPr>
            <a:xfrm>
              <a:off x="4113086" y="2594846"/>
              <a:ext cx="480704" cy="230833"/>
            </a:xfrm>
            <a:prstGeom prst="rect">
              <a:avLst/>
            </a:prstGeom>
            <a:noFill/>
          </p:spPr>
          <p:txBody>
            <a:bodyPr wrap="square" lIns="0" tIns="0" rIns="0" bIns="0" rtlCol="0" anchor="ctr" anchorCtr="0">
              <a:spAutoFit/>
            </a:bodyPr>
            <a:lstStyle/>
            <a:p>
              <a:pPr marL="0" marR="0" lvl="0" indent="0" algn="ctr" defTabSz="914400" rtl="0" eaLnBrk="1" fontAlgn="auto" latinLnBrk="0" hangingPunct="1">
                <a:lnSpc>
                  <a:spcPct val="150000"/>
                </a:lnSpc>
                <a:spcBef>
                  <a:spcPts val="0"/>
                </a:spcBef>
                <a:spcAft>
                  <a:spcPts val="0"/>
                </a:spcAft>
                <a:buClrTx/>
                <a:buSzTx/>
                <a:buFontTx/>
                <a:buNone/>
                <a:tabLst/>
                <a:defRPr/>
              </a:pPr>
              <a:r>
                <a:rPr kumimoji="0" lang="en-US" sz="1000" b="1" i="0" u="none" strike="noStrike" kern="1200" cap="none" spc="0" normalizeH="0" baseline="0" noProof="0" dirty="0">
                  <a:ln>
                    <a:noFill/>
                  </a:ln>
                  <a:effectLst/>
                  <a:uLnTx/>
                  <a:uFillTx/>
                  <a:ea typeface="+mn-ea"/>
                  <a:cs typeface="+mn-cs"/>
                </a:rPr>
                <a:t>APR</a:t>
              </a:r>
            </a:p>
          </p:txBody>
        </p:sp>
        <p:sp>
          <p:nvSpPr>
            <p:cNvPr id="226" name="TextBox 225"/>
            <p:cNvSpPr txBox="1"/>
            <p:nvPr/>
          </p:nvSpPr>
          <p:spPr>
            <a:xfrm>
              <a:off x="4665469" y="2594846"/>
              <a:ext cx="480704" cy="230833"/>
            </a:xfrm>
            <a:prstGeom prst="rect">
              <a:avLst/>
            </a:prstGeom>
            <a:noFill/>
          </p:spPr>
          <p:txBody>
            <a:bodyPr wrap="square" lIns="0" tIns="0" rIns="0" bIns="0" rtlCol="0" anchor="ctr" anchorCtr="0">
              <a:spAutoFit/>
            </a:bodyPr>
            <a:lstStyle/>
            <a:p>
              <a:pPr marL="0" marR="0" lvl="0" indent="0" algn="ctr" defTabSz="914400" rtl="0" eaLnBrk="1" fontAlgn="auto" latinLnBrk="0" hangingPunct="1">
                <a:lnSpc>
                  <a:spcPct val="150000"/>
                </a:lnSpc>
                <a:spcBef>
                  <a:spcPts val="0"/>
                </a:spcBef>
                <a:spcAft>
                  <a:spcPts val="0"/>
                </a:spcAft>
                <a:buClrTx/>
                <a:buSzTx/>
                <a:buFontTx/>
                <a:buNone/>
                <a:tabLst/>
                <a:defRPr/>
              </a:pPr>
              <a:r>
                <a:rPr kumimoji="0" lang="en-US" sz="1000" b="1" i="0" u="none" strike="noStrike" kern="1200" cap="none" spc="0" normalizeH="0" baseline="0" noProof="0" dirty="0">
                  <a:ln>
                    <a:noFill/>
                  </a:ln>
                  <a:effectLst/>
                  <a:uLnTx/>
                  <a:uFillTx/>
                  <a:ea typeface="+mn-ea"/>
                  <a:cs typeface="+mn-cs"/>
                </a:rPr>
                <a:t>MAY</a:t>
              </a:r>
            </a:p>
          </p:txBody>
        </p:sp>
        <p:sp>
          <p:nvSpPr>
            <p:cNvPr id="227" name="TextBox 226"/>
            <p:cNvSpPr txBox="1"/>
            <p:nvPr/>
          </p:nvSpPr>
          <p:spPr>
            <a:xfrm>
              <a:off x="5217851" y="2594846"/>
              <a:ext cx="480704" cy="230833"/>
            </a:xfrm>
            <a:prstGeom prst="rect">
              <a:avLst/>
            </a:prstGeom>
            <a:noFill/>
          </p:spPr>
          <p:txBody>
            <a:bodyPr wrap="square" lIns="0" tIns="0" rIns="0" bIns="0" rtlCol="0" anchor="ctr" anchorCtr="0">
              <a:spAutoFit/>
            </a:bodyPr>
            <a:lstStyle/>
            <a:p>
              <a:pPr marL="0" marR="0" lvl="0" indent="0" algn="ctr" defTabSz="914400" rtl="0" eaLnBrk="1" fontAlgn="auto" latinLnBrk="0" hangingPunct="1">
                <a:lnSpc>
                  <a:spcPct val="150000"/>
                </a:lnSpc>
                <a:spcBef>
                  <a:spcPts val="0"/>
                </a:spcBef>
                <a:spcAft>
                  <a:spcPts val="0"/>
                </a:spcAft>
                <a:buClrTx/>
                <a:buSzTx/>
                <a:buFontTx/>
                <a:buNone/>
                <a:tabLst/>
                <a:defRPr/>
              </a:pPr>
              <a:r>
                <a:rPr kumimoji="0" lang="en-US" sz="1000" b="1" i="0" u="none" strike="noStrike" kern="1200" cap="none" spc="0" normalizeH="0" baseline="0" noProof="0" dirty="0">
                  <a:ln>
                    <a:noFill/>
                  </a:ln>
                  <a:effectLst/>
                  <a:uLnTx/>
                  <a:uFillTx/>
                  <a:ea typeface="+mn-ea"/>
                  <a:cs typeface="+mn-cs"/>
                </a:rPr>
                <a:t>JUN</a:t>
              </a:r>
            </a:p>
          </p:txBody>
        </p:sp>
        <p:sp>
          <p:nvSpPr>
            <p:cNvPr id="228" name="TextBox 227"/>
            <p:cNvSpPr txBox="1"/>
            <p:nvPr/>
          </p:nvSpPr>
          <p:spPr>
            <a:xfrm>
              <a:off x="5770234" y="2594846"/>
              <a:ext cx="480704" cy="230833"/>
            </a:xfrm>
            <a:prstGeom prst="rect">
              <a:avLst/>
            </a:prstGeom>
            <a:noFill/>
          </p:spPr>
          <p:txBody>
            <a:bodyPr wrap="square" lIns="0" tIns="0" rIns="0" bIns="0" rtlCol="0" anchor="ctr" anchorCtr="0">
              <a:spAutoFit/>
            </a:bodyPr>
            <a:lstStyle/>
            <a:p>
              <a:pPr marL="0" marR="0" lvl="0" indent="0" algn="ctr" defTabSz="914400" rtl="0" eaLnBrk="1" fontAlgn="auto" latinLnBrk="0" hangingPunct="1">
                <a:lnSpc>
                  <a:spcPct val="150000"/>
                </a:lnSpc>
                <a:spcBef>
                  <a:spcPts val="0"/>
                </a:spcBef>
                <a:spcAft>
                  <a:spcPts val="0"/>
                </a:spcAft>
                <a:buClrTx/>
                <a:buSzTx/>
                <a:buFontTx/>
                <a:buNone/>
                <a:tabLst/>
                <a:defRPr/>
              </a:pPr>
              <a:r>
                <a:rPr kumimoji="0" lang="en-US" sz="1000" b="1" i="0" u="none" strike="noStrike" kern="1200" cap="none" spc="0" normalizeH="0" baseline="0" noProof="0" dirty="0">
                  <a:ln>
                    <a:noFill/>
                  </a:ln>
                  <a:effectLst/>
                  <a:uLnTx/>
                  <a:uFillTx/>
                  <a:ea typeface="+mn-ea"/>
                  <a:cs typeface="+mn-cs"/>
                </a:rPr>
                <a:t>JUL</a:t>
              </a:r>
            </a:p>
          </p:txBody>
        </p:sp>
        <p:sp>
          <p:nvSpPr>
            <p:cNvPr id="229" name="TextBox 228"/>
            <p:cNvSpPr txBox="1"/>
            <p:nvPr/>
          </p:nvSpPr>
          <p:spPr>
            <a:xfrm>
              <a:off x="6322617" y="2594846"/>
              <a:ext cx="480704" cy="230833"/>
            </a:xfrm>
            <a:prstGeom prst="rect">
              <a:avLst/>
            </a:prstGeom>
            <a:noFill/>
          </p:spPr>
          <p:txBody>
            <a:bodyPr wrap="square" lIns="0" tIns="0" rIns="0" bIns="0" rtlCol="0" anchor="ctr" anchorCtr="0">
              <a:spAutoFit/>
            </a:bodyPr>
            <a:lstStyle/>
            <a:p>
              <a:pPr marL="0" marR="0" lvl="0" indent="0" algn="ctr" defTabSz="914400" rtl="0" eaLnBrk="1" fontAlgn="auto" latinLnBrk="0" hangingPunct="1">
                <a:lnSpc>
                  <a:spcPct val="150000"/>
                </a:lnSpc>
                <a:spcBef>
                  <a:spcPts val="0"/>
                </a:spcBef>
                <a:spcAft>
                  <a:spcPts val="0"/>
                </a:spcAft>
                <a:buClrTx/>
                <a:buSzTx/>
                <a:buFontTx/>
                <a:buNone/>
                <a:tabLst/>
                <a:defRPr/>
              </a:pPr>
              <a:r>
                <a:rPr kumimoji="0" lang="en-US" sz="1000" b="1" i="0" u="none" strike="noStrike" kern="1200" cap="none" spc="0" normalizeH="0" baseline="0" noProof="0" dirty="0">
                  <a:ln>
                    <a:noFill/>
                  </a:ln>
                  <a:effectLst/>
                  <a:uLnTx/>
                  <a:uFillTx/>
                  <a:ea typeface="+mn-ea"/>
                  <a:cs typeface="+mn-cs"/>
                </a:rPr>
                <a:t>AUG</a:t>
              </a:r>
            </a:p>
          </p:txBody>
        </p:sp>
        <p:sp>
          <p:nvSpPr>
            <p:cNvPr id="230" name="TextBox 229"/>
            <p:cNvSpPr txBox="1"/>
            <p:nvPr/>
          </p:nvSpPr>
          <p:spPr>
            <a:xfrm>
              <a:off x="6874999" y="2594846"/>
              <a:ext cx="480704" cy="230833"/>
            </a:xfrm>
            <a:prstGeom prst="rect">
              <a:avLst/>
            </a:prstGeom>
            <a:noFill/>
          </p:spPr>
          <p:txBody>
            <a:bodyPr wrap="square" lIns="0" tIns="0" rIns="0" bIns="0" rtlCol="0" anchor="ctr" anchorCtr="0">
              <a:spAutoFit/>
            </a:bodyPr>
            <a:lstStyle/>
            <a:p>
              <a:pPr marL="0" marR="0" lvl="0" indent="0" algn="ctr" defTabSz="914400" rtl="0" eaLnBrk="1" fontAlgn="auto" latinLnBrk="0" hangingPunct="1">
                <a:lnSpc>
                  <a:spcPct val="150000"/>
                </a:lnSpc>
                <a:spcBef>
                  <a:spcPts val="0"/>
                </a:spcBef>
                <a:spcAft>
                  <a:spcPts val="0"/>
                </a:spcAft>
                <a:buClrTx/>
                <a:buSzTx/>
                <a:buFontTx/>
                <a:buNone/>
                <a:tabLst/>
                <a:defRPr/>
              </a:pPr>
              <a:r>
                <a:rPr kumimoji="0" lang="en-US" sz="1000" b="1" i="0" u="none" strike="noStrike" kern="1200" cap="none" spc="0" normalizeH="0" baseline="0" noProof="0" dirty="0">
                  <a:ln>
                    <a:noFill/>
                  </a:ln>
                  <a:effectLst/>
                  <a:uLnTx/>
                  <a:uFillTx/>
                  <a:ea typeface="+mn-ea"/>
                  <a:cs typeface="+mn-cs"/>
                </a:rPr>
                <a:t>SEP</a:t>
              </a:r>
            </a:p>
          </p:txBody>
        </p:sp>
        <p:sp>
          <p:nvSpPr>
            <p:cNvPr id="231" name="TextBox 230"/>
            <p:cNvSpPr txBox="1"/>
            <p:nvPr/>
          </p:nvSpPr>
          <p:spPr>
            <a:xfrm>
              <a:off x="7427383" y="2594846"/>
              <a:ext cx="480704" cy="230833"/>
            </a:xfrm>
            <a:prstGeom prst="rect">
              <a:avLst/>
            </a:prstGeom>
            <a:noFill/>
          </p:spPr>
          <p:txBody>
            <a:bodyPr wrap="square" lIns="0" tIns="0" rIns="0" bIns="0" rtlCol="0" anchor="ctr" anchorCtr="0">
              <a:spAutoFit/>
            </a:bodyPr>
            <a:lstStyle/>
            <a:p>
              <a:pPr marL="0" marR="0" lvl="0" indent="0" algn="ctr" defTabSz="914400" rtl="0" eaLnBrk="1" fontAlgn="auto" latinLnBrk="0" hangingPunct="1">
                <a:lnSpc>
                  <a:spcPct val="150000"/>
                </a:lnSpc>
                <a:spcBef>
                  <a:spcPts val="0"/>
                </a:spcBef>
                <a:spcAft>
                  <a:spcPts val="0"/>
                </a:spcAft>
                <a:buClrTx/>
                <a:buSzTx/>
                <a:buFontTx/>
                <a:buNone/>
                <a:tabLst/>
                <a:defRPr/>
              </a:pPr>
              <a:r>
                <a:rPr kumimoji="0" lang="en-US" sz="1000" b="1" i="0" u="none" strike="noStrike" kern="1200" cap="none" spc="0" normalizeH="0" baseline="0" noProof="0" dirty="0">
                  <a:ln>
                    <a:noFill/>
                  </a:ln>
                  <a:effectLst/>
                  <a:uLnTx/>
                  <a:uFillTx/>
                  <a:ea typeface="+mn-ea"/>
                  <a:cs typeface="+mn-cs"/>
                </a:rPr>
                <a:t>OCT</a:t>
              </a:r>
            </a:p>
          </p:txBody>
        </p:sp>
        <p:sp>
          <p:nvSpPr>
            <p:cNvPr id="232" name="TextBox 231"/>
            <p:cNvSpPr txBox="1"/>
            <p:nvPr/>
          </p:nvSpPr>
          <p:spPr>
            <a:xfrm>
              <a:off x="7979765" y="2594846"/>
              <a:ext cx="480704" cy="230833"/>
            </a:xfrm>
            <a:prstGeom prst="rect">
              <a:avLst/>
            </a:prstGeom>
            <a:noFill/>
          </p:spPr>
          <p:txBody>
            <a:bodyPr wrap="square" lIns="0" tIns="0" rIns="0" bIns="0" rtlCol="0" anchor="ctr" anchorCtr="0">
              <a:spAutoFit/>
            </a:bodyPr>
            <a:lstStyle/>
            <a:p>
              <a:pPr marL="0" marR="0" lvl="0" indent="0" algn="ctr" defTabSz="914400" rtl="0" eaLnBrk="1" fontAlgn="auto" latinLnBrk="0" hangingPunct="1">
                <a:lnSpc>
                  <a:spcPct val="150000"/>
                </a:lnSpc>
                <a:spcBef>
                  <a:spcPts val="0"/>
                </a:spcBef>
                <a:spcAft>
                  <a:spcPts val="0"/>
                </a:spcAft>
                <a:buClrTx/>
                <a:buSzTx/>
                <a:buFontTx/>
                <a:buNone/>
                <a:tabLst/>
                <a:defRPr/>
              </a:pPr>
              <a:r>
                <a:rPr kumimoji="0" lang="en-US" sz="1000" b="1" i="0" u="none" strike="noStrike" kern="1200" cap="none" spc="0" normalizeH="0" baseline="0" noProof="0" dirty="0">
                  <a:ln>
                    <a:noFill/>
                  </a:ln>
                  <a:effectLst/>
                  <a:uLnTx/>
                  <a:uFillTx/>
                  <a:ea typeface="+mn-ea"/>
                  <a:cs typeface="+mn-cs"/>
                </a:rPr>
                <a:t>NOV</a:t>
              </a:r>
            </a:p>
          </p:txBody>
        </p:sp>
        <p:sp>
          <p:nvSpPr>
            <p:cNvPr id="233" name="TextBox 232"/>
            <p:cNvSpPr txBox="1"/>
            <p:nvPr/>
          </p:nvSpPr>
          <p:spPr>
            <a:xfrm>
              <a:off x="8532146" y="2594846"/>
              <a:ext cx="480704" cy="230833"/>
            </a:xfrm>
            <a:prstGeom prst="rect">
              <a:avLst/>
            </a:prstGeom>
            <a:noFill/>
          </p:spPr>
          <p:txBody>
            <a:bodyPr wrap="square" lIns="0" tIns="0" rIns="0" bIns="0" rtlCol="0" anchor="ctr" anchorCtr="0">
              <a:spAutoFit/>
            </a:bodyPr>
            <a:lstStyle/>
            <a:p>
              <a:pPr marL="0" marR="0" lvl="0" indent="0" algn="ctr" defTabSz="914400" rtl="0" eaLnBrk="1" fontAlgn="auto" latinLnBrk="0" hangingPunct="1">
                <a:lnSpc>
                  <a:spcPct val="150000"/>
                </a:lnSpc>
                <a:spcBef>
                  <a:spcPts val="0"/>
                </a:spcBef>
                <a:spcAft>
                  <a:spcPts val="0"/>
                </a:spcAft>
                <a:buClrTx/>
                <a:buSzTx/>
                <a:buFontTx/>
                <a:buNone/>
                <a:tabLst/>
                <a:defRPr/>
              </a:pPr>
              <a:r>
                <a:rPr kumimoji="0" lang="en-US" sz="1000" b="1" i="0" u="none" strike="noStrike" kern="1200" cap="none" spc="0" normalizeH="0" baseline="0" noProof="0" dirty="0">
                  <a:ln>
                    <a:noFill/>
                  </a:ln>
                  <a:effectLst/>
                  <a:uLnTx/>
                  <a:uFillTx/>
                  <a:ea typeface="+mn-ea"/>
                  <a:cs typeface="+mn-cs"/>
                </a:rPr>
                <a:t>DEC</a:t>
              </a:r>
            </a:p>
          </p:txBody>
        </p:sp>
        <p:sp>
          <p:nvSpPr>
            <p:cNvPr id="234" name="TextBox 233"/>
            <p:cNvSpPr txBox="1"/>
            <p:nvPr/>
          </p:nvSpPr>
          <p:spPr>
            <a:xfrm>
              <a:off x="888296" y="3032963"/>
              <a:ext cx="1425388" cy="461665"/>
            </a:xfrm>
            <a:prstGeom prst="rect">
              <a:avLst/>
            </a:prstGeom>
            <a:noFill/>
          </p:spPr>
          <p:txBody>
            <a:bodyPr wrap="square" lIns="0" tIns="0" rIns="0" bIns="0" rtlCol="0" anchor="ctr" anchorCtr="0">
              <a:spAutoFit/>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ea typeface="+mn-ea"/>
                  <a:cs typeface="+mn-cs"/>
                </a:rPr>
                <a:t>Lorem ipsum is simply dummy text</a:t>
              </a:r>
            </a:p>
          </p:txBody>
        </p:sp>
        <p:sp>
          <p:nvSpPr>
            <p:cNvPr id="235" name="TextBox 234"/>
            <p:cNvSpPr txBox="1"/>
            <p:nvPr/>
          </p:nvSpPr>
          <p:spPr>
            <a:xfrm>
              <a:off x="888296" y="3580623"/>
              <a:ext cx="1425388" cy="461665"/>
            </a:xfrm>
            <a:prstGeom prst="rect">
              <a:avLst/>
            </a:prstGeom>
            <a:noFill/>
          </p:spPr>
          <p:txBody>
            <a:bodyPr wrap="square" lIns="0" tIns="0" rIns="0" bIns="0" rtlCol="0" anchor="ctr" anchorCtr="0">
              <a:spAutoFit/>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ea typeface="+mn-ea"/>
                  <a:cs typeface="+mn-cs"/>
                </a:rPr>
                <a:t>Lorem ipsum is simply dummy text</a:t>
              </a:r>
            </a:p>
          </p:txBody>
        </p:sp>
        <p:sp>
          <p:nvSpPr>
            <p:cNvPr id="236" name="TextBox 235"/>
            <p:cNvSpPr txBox="1"/>
            <p:nvPr/>
          </p:nvSpPr>
          <p:spPr>
            <a:xfrm>
              <a:off x="888296" y="5223595"/>
              <a:ext cx="1425388" cy="461665"/>
            </a:xfrm>
            <a:prstGeom prst="rect">
              <a:avLst/>
            </a:prstGeom>
            <a:noFill/>
          </p:spPr>
          <p:txBody>
            <a:bodyPr wrap="square" lIns="0" tIns="0" rIns="0" bIns="0" rtlCol="0" anchor="ctr" anchorCtr="0">
              <a:spAutoFit/>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ea typeface="+mn-ea"/>
                  <a:cs typeface="+mn-cs"/>
                </a:rPr>
                <a:t>Lorem ipsum is simply dummy text</a:t>
              </a:r>
            </a:p>
          </p:txBody>
        </p:sp>
        <p:sp>
          <p:nvSpPr>
            <p:cNvPr id="237" name="TextBox 236"/>
            <p:cNvSpPr txBox="1"/>
            <p:nvPr/>
          </p:nvSpPr>
          <p:spPr>
            <a:xfrm>
              <a:off x="888296" y="4675938"/>
              <a:ext cx="1425388" cy="461665"/>
            </a:xfrm>
            <a:prstGeom prst="rect">
              <a:avLst/>
            </a:prstGeom>
            <a:noFill/>
          </p:spPr>
          <p:txBody>
            <a:bodyPr wrap="square" lIns="0" tIns="0" rIns="0" bIns="0" rtlCol="0" anchor="ctr" anchorCtr="0">
              <a:spAutoFit/>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ea typeface="+mn-ea"/>
                  <a:cs typeface="+mn-cs"/>
                </a:rPr>
                <a:t>Lorem ipsum is simply dummy text</a:t>
              </a:r>
            </a:p>
          </p:txBody>
        </p:sp>
        <p:sp>
          <p:nvSpPr>
            <p:cNvPr id="238" name="TextBox 237"/>
            <p:cNvSpPr txBox="1"/>
            <p:nvPr/>
          </p:nvSpPr>
          <p:spPr>
            <a:xfrm>
              <a:off x="888296" y="4128279"/>
              <a:ext cx="1425388" cy="461665"/>
            </a:xfrm>
            <a:prstGeom prst="rect">
              <a:avLst/>
            </a:prstGeom>
            <a:noFill/>
          </p:spPr>
          <p:txBody>
            <a:bodyPr wrap="square" lIns="0" tIns="0" rIns="0" bIns="0" rtlCol="0" anchor="ctr" anchorCtr="0">
              <a:spAutoFit/>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ea typeface="+mn-ea"/>
                  <a:cs typeface="+mn-cs"/>
                </a:rPr>
                <a:t>Lorem ipsum is simply dummy text</a:t>
              </a:r>
            </a:p>
          </p:txBody>
        </p:sp>
        <p:sp>
          <p:nvSpPr>
            <p:cNvPr id="239" name="TextBox 238"/>
            <p:cNvSpPr txBox="1"/>
            <p:nvPr/>
          </p:nvSpPr>
          <p:spPr>
            <a:xfrm>
              <a:off x="979500" y="2615454"/>
              <a:ext cx="1225158" cy="289759"/>
            </a:xfrm>
            <a:prstGeom prst="rect">
              <a:avLst/>
            </a:prstGeom>
            <a:noFill/>
          </p:spPr>
          <p:txBody>
            <a:bodyPr wrap="square" lIns="0" tIns="0" rIns="0" bIns="0" rtlCol="0" anchor="ctr" anchorCtr="0">
              <a:spAutoFit/>
            </a:bodyPr>
            <a:lstStyle/>
            <a:p>
              <a:pPr marL="0" marR="0" lvl="0" indent="0" algn="ctr" defTabSz="914400" rtl="0" eaLnBrk="1" fontAlgn="auto" latinLnBrk="0" hangingPunct="1">
                <a:lnSpc>
                  <a:spcPct val="150000"/>
                </a:lnSpc>
                <a:spcBef>
                  <a:spcPts val="0"/>
                </a:spcBef>
                <a:spcAft>
                  <a:spcPts val="0"/>
                </a:spcAft>
                <a:buClrTx/>
                <a:buSzTx/>
                <a:buFontTx/>
                <a:buNone/>
                <a:tabLst/>
                <a:defRPr/>
              </a:pPr>
              <a:r>
                <a:rPr kumimoji="0" lang="en-US" sz="1400" b="1" i="0" u="none" strike="noStrike" kern="1200" cap="none" spc="0" normalizeH="0" baseline="0" noProof="0" dirty="0">
                  <a:ln>
                    <a:noFill/>
                  </a:ln>
                  <a:effectLst/>
                  <a:uLnTx/>
                  <a:uFillTx/>
                  <a:ea typeface="+mn-ea"/>
                  <a:cs typeface="+mn-cs"/>
                </a:rPr>
                <a:t>4 MONTHS</a:t>
              </a:r>
            </a:p>
          </p:txBody>
        </p:sp>
        <p:sp>
          <p:nvSpPr>
            <p:cNvPr id="240" name="TextBox 239"/>
            <p:cNvSpPr txBox="1"/>
            <p:nvPr/>
          </p:nvSpPr>
          <p:spPr>
            <a:xfrm>
              <a:off x="2628045" y="1944962"/>
              <a:ext cx="1745784" cy="415499"/>
            </a:xfrm>
            <a:prstGeom prst="rect">
              <a:avLst/>
            </a:prstGeom>
            <a:noFill/>
          </p:spPr>
          <p:txBody>
            <a:bodyPr wrap="square" lIns="0" tIns="0" rIns="0" bIns="0" rtlCol="0" anchor="ctr" anchorCtr="0">
              <a:spAutoFit/>
            </a:bodyPr>
            <a:lstStyle/>
            <a:p>
              <a:pPr marL="0" marR="0" lvl="0" indent="0" algn="ctr" defTabSz="914400" rtl="0" eaLnBrk="1" fontAlgn="auto" latinLnBrk="0" hangingPunct="1">
                <a:lnSpc>
                  <a:spcPct val="150000"/>
                </a:lnSpc>
                <a:spcBef>
                  <a:spcPts val="0"/>
                </a:spcBef>
                <a:spcAft>
                  <a:spcPts val="0"/>
                </a:spcAft>
                <a:buClrTx/>
                <a:buSzTx/>
                <a:buFontTx/>
                <a:buNone/>
                <a:tabLst/>
                <a:defRPr/>
              </a:pPr>
              <a:r>
                <a:rPr kumimoji="0" lang="en-US" sz="1800" b="1" i="0" u="none" strike="noStrike" kern="1200" cap="none" spc="0" normalizeH="0" baseline="0" noProof="0" dirty="0">
                  <a:ln>
                    <a:noFill/>
                  </a:ln>
                  <a:effectLst/>
                  <a:uLnTx/>
                  <a:uFillTx/>
                  <a:ea typeface="+mn-ea"/>
                  <a:cs typeface="+mn-cs"/>
                </a:rPr>
                <a:t>I  QUARTER </a:t>
              </a:r>
            </a:p>
          </p:txBody>
        </p:sp>
        <p:sp>
          <p:nvSpPr>
            <p:cNvPr id="241" name="TextBox 240"/>
            <p:cNvSpPr txBox="1"/>
            <p:nvPr/>
          </p:nvSpPr>
          <p:spPr>
            <a:xfrm>
              <a:off x="4843378" y="1944962"/>
              <a:ext cx="1745784" cy="415499"/>
            </a:xfrm>
            <a:prstGeom prst="rect">
              <a:avLst/>
            </a:prstGeom>
            <a:noFill/>
          </p:spPr>
          <p:txBody>
            <a:bodyPr wrap="square" lIns="0" tIns="0" rIns="0" bIns="0" rtlCol="0" anchor="ctr" anchorCtr="0">
              <a:spAutoFit/>
            </a:bodyPr>
            <a:lstStyle/>
            <a:p>
              <a:pPr marL="0" marR="0" lvl="0" indent="0" algn="ctr" defTabSz="914400" rtl="0" eaLnBrk="1" fontAlgn="auto" latinLnBrk="0" hangingPunct="1">
                <a:lnSpc>
                  <a:spcPct val="150000"/>
                </a:lnSpc>
                <a:spcBef>
                  <a:spcPts val="0"/>
                </a:spcBef>
                <a:spcAft>
                  <a:spcPts val="0"/>
                </a:spcAft>
                <a:buClrTx/>
                <a:buSzTx/>
                <a:buFontTx/>
                <a:buNone/>
                <a:tabLst/>
                <a:defRPr/>
              </a:pPr>
              <a:r>
                <a:rPr kumimoji="0" lang="en-US" sz="1800" b="1" i="0" u="none" strike="noStrike" kern="1200" cap="none" spc="0" normalizeH="0" baseline="0" noProof="0" dirty="0">
                  <a:ln>
                    <a:noFill/>
                  </a:ln>
                  <a:effectLst/>
                  <a:uLnTx/>
                  <a:uFillTx/>
                  <a:ea typeface="+mn-ea"/>
                  <a:cs typeface="+mn-cs"/>
                </a:rPr>
                <a:t>II  QUARTER </a:t>
              </a:r>
            </a:p>
          </p:txBody>
        </p:sp>
        <p:sp>
          <p:nvSpPr>
            <p:cNvPr id="242" name="TextBox 241"/>
            <p:cNvSpPr txBox="1"/>
            <p:nvPr/>
          </p:nvSpPr>
          <p:spPr>
            <a:xfrm>
              <a:off x="7058710" y="1944962"/>
              <a:ext cx="1745784" cy="415499"/>
            </a:xfrm>
            <a:prstGeom prst="rect">
              <a:avLst/>
            </a:prstGeom>
            <a:noFill/>
          </p:spPr>
          <p:txBody>
            <a:bodyPr wrap="square" lIns="0" tIns="0" rIns="0" bIns="0" rtlCol="0" anchor="ctr" anchorCtr="0">
              <a:spAutoFit/>
            </a:bodyPr>
            <a:lstStyle/>
            <a:p>
              <a:pPr marL="0" marR="0" lvl="0" indent="0" algn="ctr" defTabSz="914400" rtl="0" eaLnBrk="1" fontAlgn="auto" latinLnBrk="0" hangingPunct="1">
                <a:lnSpc>
                  <a:spcPct val="150000"/>
                </a:lnSpc>
                <a:spcBef>
                  <a:spcPts val="0"/>
                </a:spcBef>
                <a:spcAft>
                  <a:spcPts val="0"/>
                </a:spcAft>
                <a:buClrTx/>
                <a:buSzTx/>
                <a:buFontTx/>
                <a:buNone/>
                <a:tabLst/>
                <a:defRPr/>
              </a:pPr>
              <a:r>
                <a:rPr kumimoji="0" lang="en-US" sz="1800" b="1" i="0" u="none" strike="noStrike" kern="1200" cap="none" spc="0" normalizeH="0" baseline="0" noProof="0" dirty="0">
                  <a:ln>
                    <a:noFill/>
                  </a:ln>
                  <a:effectLst/>
                  <a:uLnTx/>
                  <a:uFillTx/>
                  <a:ea typeface="+mn-ea"/>
                  <a:cs typeface="+mn-cs"/>
                </a:rPr>
                <a:t>III  QUARTER </a:t>
              </a:r>
            </a:p>
          </p:txBody>
        </p:sp>
        <p:grpSp>
          <p:nvGrpSpPr>
            <p:cNvPr id="256" name="Group 255"/>
            <p:cNvGrpSpPr/>
            <p:nvPr/>
          </p:nvGrpSpPr>
          <p:grpSpPr>
            <a:xfrm>
              <a:off x="1290616" y="2068234"/>
              <a:ext cx="602922" cy="522976"/>
              <a:chOff x="8736013" y="2536825"/>
              <a:chExt cx="287338" cy="249238"/>
            </a:xfrm>
            <a:solidFill>
              <a:srgbClr val="3B3939"/>
            </a:solidFill>
          </p:grpSpPr>
          <p:sp>
            <p:nvSpPr>
              <p:cNvPr id="257" name="Freeform 219"/>
              <p:cNvSpPr>
                <a:spLocks noEditPoints="1"/>
              </p:cNvSpPr>
              <p:nvPr/>
            </p:nvSpPr>
            <p:spPr bwMode="auto">
              <a:xfrm>
                <a:off x="8793163" y="2632075"/>
                <a:ext cx="230188" cy="153988"/>
              </a:xfrm>
              <a:custGeom>
                <a:avLst/>
                <a:gdLst>
                  <a:gd name="T0" fmla="*/ 621 w 722"/>
                  <a:gd name="T1" fmla="*/ 368 h 481"/>
                  <a:gd name="T2" fmla="*/ 588 w 722"/>
                  <a:gd name="T3" fmla="*/ 338 h 481"/>
                  <a:gd name="T4" fmla="*/ 557 w 722"/>
                  <a:gd name="T5" fmla="*/ 331 h 481"/>
                  <a:gd name="T6" fmla="*/ 525 w 722"/>
                  <a:gd name="T7" fmla="*/ 338 h 481"/>
                  <a:gd name="T8" fmla="*/ 493 w 722"/>
                  <a:gd name="T9" fmla="*/ 368 h 481"/>
                  <a:gd name="T10" fmla="*/ 451 w 722"/>
                  <a:gd name="T11" fmla="*/ 391 h 481"/>
                  <a:gd name="T12" fmla="*/ 557 w 722"/>
                  <a:gd name="T13" fmla="*/ 451 h 481"/>
                  <a:gd name="T14" fmla="*/ 520 w 722"/>
                  <a:gd name="T15" fmla="*/ 432 h 481"/>
                  <a:gd name="T16" fmla="*/ 515 w 722"/>
                  <a:gd name="T17" fmla="*/ 389 h 481"/>
                  <a:gd name="T18" fmla="*/ 547 w 722"/>
                  <a:gd name="T19" fmla="*/ 362 h 481"/>
                  <a:gd name="T20" fmla="*/ 588 w 722"/>
                  <a:gd name="T21" fmla="*/ 374 h 481"/>
                  <a:gd name="T22" fmla="*/ 601 w 722"/>
                  <a:gd name="T23" fmla="*/ 415 h 481"/>
                  <a:gd name="T24" fmla="*/ 574 w 722"/>
                  <a:gd name="T25" fmla="*/ 448 h 481"/>
                  <a:gd name="T26" fmla="*/ 451 w 722"/>
                  <a:gd name="T27" fmla="*/ 241 h 481"/>
                  <a:gd name="T28" fmla="*/ 163 w 722"/>
                  <a:gd name="T29" fmla="*/ 448 h 481"/>
                  <a:gd name="T30" fmla="*/ 136 w 722"/>
                  <a:gd name="T31" fmla="*/ 415 h 481"/>
                  <a:gd name="T32" fmla="*/ 149 w 722"/>
                  <a:gd name="T33" fmla="*/ 374 h 481"/>
                  <a:gd name="T34" fmla="*/ 190 w 722"/>
                  <a:gd name="T35" fmla="*/ 362 h 481"/>
                  <a:gd name="T36" fmla="*/ 222 w 722"/>
                  <a:gd name="T37" fmla="*/ 389 h 481"/>
                  <a:gd name="T38" fmla="*/ 219 w 722"/>
                  <a:gd name="T39" fmla="*/ 431 h 481"/>
                  <a:gd name="T40" fmla="*/ 181 w 722"/>
                  <a:gd name="T41" fmla="*/ 451 h 481"/>
                  <a:gd name="T42" fmla="*/ 565 w 722"/>
                  <a:gd name="T43" fmla="*/ 94 h 481"/>
                  <a:gd name="T44" fmla="*/ 451 w 722"/>
                  <a:gd name="T45" fmla="*/ 15 h 481"/>
                  <a:gd name="T46" fmla="*/ 445 w 722"/>
                  <a:gd name="T47" fmla="*/ 3 h 481"/>
                  <a:gd name="T48" fmla="*/ 253 w 722"/>
                  <a:gd name="T49" fmla="*/ 0 h 481"/>
                  <a:gd name="T50" fmla="*/ 242 w 722"/>
                  <a:gd name="T51" fmla="*/ 10 h 481"/>
                  <a:gd name="T52" fmla="*/ 243 w 722"/>
                  <a:gd name="T53" fmla="*/ 24 h 481"/>
                  <a:gd name="T54" fmla="*/ 256 w 722"/>
                  <a:gd name="T55" fmla="*/ 30 h 481"/>
                  <a:gd name="T56" fmla="*/ 251 w 722"/>
                  <a:gd name="T57" fmla="*/ 378 h 481"/>
                  <a:gd name="T58" fmla="*/ 224 w 722"/>
                  <a:gd name="T59" fmla="*/ 344 h 481"/>
                  <a:gd name="T60" fmla="*/ 194 w 722"/>
                  <a:gd name="T61" fmla="*/ 332 h 481"/>
                  <a:gd name="T62" fmla="*/ 161 w 722"/>
                  <a:gd name="T63" fmla="*/ 334 h 481"/>
                  <a:gd name="T64" fmla="*/ 133 w 722"/>
                  <a:gd name="T65" fmla="*/ 349 h 481"/>
                  <a:gd name="T66" fmla="*/ 108 w 722"/>
                  <a:gd name="T67" fmla="*/ 385 h 481"/>
                  <a:gd name="T68" fmla="*/ 29 w 722"/>
                  <a:gd name="T69" fmla="*/ 115 h 481"/>
                  <a:gd name="T70" fmla="*/ 18 w 722"/>
                  <a:gd name="T71" fmla="*/ 106 h 481"/>
                  <a:gd name="T72" fmla="*/ 4 w 722"/>
                  <a:gd name="T73" fmla="*/ 110 h 481"/>
                  <a:gd name="T74" fmla="*/ 0 w 722"/>
                  <a:gd name="T75" fmla="*/ 406 h 481"/>
                  <a:gd name="T76" fmla="*/ 6 w 722"/>
                  <a:gd name="T77" fmla="*/ 419 h 481"/>
                  <a:gd name="T78" fmla="*/ 108 w 722"/>
                  <a:gd name="T79" fmla="*/ 428 h 481"/>
                  <a:gd name="T80" fmla="*/ 133 w 722"/>
                  <a:gd name="T81" fmla="*/ 464 h 481"/>
                  <a:gd name="T82" fmla="*/ 161 w 722"/>
                  <a:gd name="T83" fmla="*/ 479 h 481"/>
                  <a:gd name="T84" fmla="*/ 194 w 722"/>
                  <a:gd name="T85" fmla="*/ 480 h 481"/>
                  <a:gd name="T86" fmla="*/ 224 w 722"/>
                  <a:gd name="T87" fmla="*/ 468 h 481"/>
                  <a:gd name="T88" fmla="*/ 251 w 722"/>
                  <a:gd name="T89" fmla="*/ 434 h 481"/>
                  <a:gd name="T90" fmla="*/ 484 w 722"/>
                  <a:gd name="T91" fmla="*/ 428 h 481"/>
                  <a:gd name="T92" fmla="*/ 509 w 722"/>
                  <a:gd name="T93" fmla="*/ 464 h 481"/>
                  <a:gd name="T94" fmla="*/ 537 w 722"/>
                  <a:gd name="T95" fmla="*/ 479 h 481"/>
                  <a:gd name="T96" fmla="*/ 570 w 722"/>
                  <a:gd name="T97" fmla="*/ 480 h 481"/>
                  <a:gd name="T98" fmla="*/ 599 w 722"/>
                  <a:gd name="T99" fmla="*/ 468 h 481"/>
                  <a:gd name="T100" fmla="*/ 627 w 722"/>
                  <a:gd name="T101" fmla="*/ 434 h 481"/>
                  <a:gd name="T102" fmla="*/ 712 w 722"/>
                  <a:gd name="T103" fmla="*/ 420 h 481"/>
                  <a:gd name="T104" fmla="*/ 722 w 722"/>
                  <a:gd name="T105" fmla="*/ 410 h 481"/>
                  <a:gd name="T106" fmla="*/ 721 w 722"/>
                  <a:gd name="T107" fmla="*/ 250 h 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722" h="481">
                    <a:moveTo>
                      <a:pt x="630" y="391"/>
                    </a:moveTo>
                    <a:lnTo>
                      <a:pt x="629" y="385"/>
                    </a:lnTo>
                    <a:lnTo>
                      <a:pt x="627" y="378"/>
                    </a:lnTo>
                    <a:lnTo>
                      <a:pt x="623" y="373"/>
                    </a:lnTo>
                    <a:lnTo>
                      <a:pt x="621" y="368"/>
                    </a:lnTo>
                    <a:lnTo>
                      <a:pt x="614" y="357"/>
                    </a:lnTo>
                    <a:lnTo>
                      <a:pt x="604" y="349"/>
                    </a:lnTo>
                    <a:lnTo>
                      <a:pt x="599" y="344"/>
                    </a:lnTo>
                    <a:lnTo>
                      <a:pt x="593" y="341"/>
                    </a:lnTo>
                    <a:lnTo>
                      <a:pt x="588" y="338"/>
                    </a:lnTo>
                    <a:lnTo>
                      <a:pt x="583" y="336"/>
                    </a:lnTo>
                    <a:lnTo>
                      <a:pt x="576" y="334"/>
                    </a:lnTo>
                    <a:lnTo>
                      <a:pt x="570" y="332"/>
                    </a:lnTo>
                    <a:lnTo>
                      <a:pt x="563" y="331"/>
                    </a:lnTo>
                    <a:lnTo>
                      <a:pt x="557" y="331"/>
                    </a:lnTo>
                    <a:lnTo>
                      <a:pt x="550" y="331"/>
                    </a:lnTo>
                    <a:lnTo>
                      <a:pt x="543" y="332"/>
                    </a:lnTo>
                    <a:lnTo>
                      <a:pt x="537" y="334"/>
                    </a:lnTo>
                    <a:lnTo>
                      <a:pt x="530" y="336"/>
                    </a:lnTo>
                    <a:lnTo>
                      <a:pt x="525" y="338"/>
                    </a:lnTo>
                    <a:lnTo>
                      <a:pt x="520" y="341"/>
                    </a:lnTo>
                    <a:lnTo>
                      <a:pt x="514" y="344"/>
                    </a:lnTo>
                    <a:lnTo>
                      <a:pt x="509" y="349"/>
                    </a:lnTo>
                    <a:lnTo>
                      <a:pt x="499" y="357"/>
                    </a:lnTo>
                    <a:lnTo>
                      <a:pt x="493" y="368"/>
                    </a:lnTo>
                    <a:lnTo>
                      <a:pt x="490" y="373"/>
                    </a:lnTo>
                    <a:lnTo>
                      <a:pt x="486" y="378"/>
                    </a:lnTo>
                    <a:lnTo>
                      <a:pt x="484" y="385"/>
                    </a:lnTo>
                    <a:lnTo>
                      <a:pt x="483" y="391"/>
                    </a:lnTo>
                    <a:lnTo>
                      <a:pt x="451" y="391"/>
                    </a:lnTo>
                    <a:lnTo>
                      <a:pt x="451" y="271"/>
                    </a:lnTo>
                    <a:lnTo>
                      <a:pt x="692" y="271"/>
                    </a:lnTo>
                    <a:lnTo>
                      <a:pt x="692" y="391"/>
                    </a:lnTo>
                    <a:lnTo>
                      <a:pt x="630" y="391"/>
                    </a:lnTo>
                    <a:close/>
                    <a:moveTo>
                      <a:pt x="557" y="451"/>
                    </a:moveTo>
                    <a:lnTo>
                      <a:pt x="547" y="450"/>
                    </a:lnTo>
                    <a:lnTo>
                      <a:pt x="539" y="448"/>
                    </a:lnTo>
                    <a:lnTo>
                      <a:pt x="531" y="444"/>
                    </a:lnTo>
                    <a:lnTo>
                      <a:pt x="525" y="438"/>
                    </a:lnTo>
                    <a:lnTo>
                      <a:pt x="520" y="432"/>
                    </a:lnTo>
                    <a:lnTo>
                      <a:pt x="515" y="423"/>
                    </a:lnTo>
                    <a:lnTo>
                      <a:pt x="512" y="415"/>
                    </a:lnTo>
                    <a:lnTo>
                      <a:pt x="511" y="406"/>
                    </a:lnTo>
                    <a:lnTo>
                      <a:pt x="512" y="398"/>
                    </a:lnTo>
                    <a:lnTo>
                      <a:pt x="515" y="389"/>
                    </a:lnTo>
                    <a:lnTo>
                      <a:pt x="520" y="381"/>
                    </a:lnTo>
                    <a:lnTo>
                      <a:pt x="525" y="374"/>
                    </a:lnTo>
                    <a:lnTo>
                      <a:pt x="531" y="369"/>
                    </a:lnTo>
                    <a:lnTo>
                      <a:pt x="539" y="365"/>
                    </a:lnTo>
                    <a:lnTo>
                      <a:pt x="547" y="362"/>
                    </a:lnTo>
                    <a:lnTo>
                      <a:pt x="557" y="361"/>
                    </a:lnTo>
                    <a:lnTo>
                      <a:pt x="566" y="362"/>
                    </a:lnTo>
                    <a:lnTo>
                      <a:pt x="574" y="365"/>
                    </a:lnTo>
                    <a:lnTo>
                      <a:pt x="582" y="369"/>
                    </a:lnTo>
                    <a:lnTo>
                      <a:pt x="588" y="374"/>
                    </a:lnTo>
                    <a:lnTo>
                      <a:pt x="593" y="381"/>
                    </a:lnTo>
                    <a:lnTo>
                      <a:pt x="598" y="389"/>
                    </a:lnTo>
                    <a:lnTo>
                      <a:pt x="601" y="398"/>
                    </a:lnTo>
                    <a:lnTo>
                      <a:pt x="602" y="406"/>
                    </a:lnTo>
                    <a:lnTo>
                      <a:pt x="601" y="415"/>
                    </a:lnTo>
                    <a:lnTo>
                      <a:pt x="598" y="423"/>
                    </a:lnTo>
                    <a:lnTo>
                      <a:pt x="593" y="431"/>
                    </a:lnTo>
                    <a:lnTo>
                      <a:pt x="588" y="438"/>
                    </a:lnTo>
                    <a:lnTo>
                      <a:pt x="582" y="444"/>
                    </a:lnTo>
                    <a:lnTo>
                      <a:pt x="574" y="448"/>
                    </a:lnTo>
                    <a:lnTo>
                      <a:pt x="566" y="450"/>
                    </a:lnTo>
                    <a:lnTo>
                      <a:pt x="557" y="451"/>
                    </a:lnTo>
                    <a:close/>
                    <a:moveTo>
                      <a:pt x="551" y="120"/>
                    </a:moveTo>
                    <a:lnTo>
                      <a:pt x="671" y="241"/>
                    </a:lnTo>
                    <a:lnTo>
                      <a:pt x="451" y="241"/>
                    </a:lnTo>
                    <a:lnTo>
                      <a:pt x="451" y="120"/>
                    </a:lnTo>
                    <a:lnTo>
                      <a:pt x="551" y="120"/>
                    </a:lnTo>
                    <a:close/>
                    <a:moveTo>
                      <a:pt x="181" y="451"/>
                    </a:moveTo>
                    <a:lnTo>
                      <a:pt x="171" y="450"/>
                    </a:lnTo>
                    <a:lnTo>
                      <a:pt x="163" y="448"/>
                    </a:lnTo>
                    <a:lnTo>
                      <a:pt x="155" y="444"/>
                    </a:lnTo>
                    <a:lnTo>
                      <a:pt x="149" y="438"/>
                    </a:lnTo>
                    <a:lnTo>
                      <a:pt x="144" y="432"/>
                    </a:lnTo>
                    <a:lnTo>
                      <a:pt x="139" y="423"/>
                    </a:lnTo>
                    <a:lnTo>
                      <a:pt x="136" y="415"/>
                    </a:lnTo>
                    <a:lnTo>
                      <a:pt x="136" y="406"/>
                    </a:lnTo>
                    <a:lnTo>
                      <a:pt x="136" y="398"/>
                    </a:lnTo>
                    <a:lnTo>
                      <a:pt x="139" y="389"/>
                    </a:lnTo>
                    <a:lnTo>
                      <a:pt x="144" y="381"/>
                    </a:lnTo>
                    <a:lnTo>
                      <a:pt x="149" y="374"/>
                    </a:lnTo>
                    <a:lnTo>
                      <a:pt x="155" y="369"/>
                    </a:lnTo>
                    <a:lnTo>
                      <a:pt x="163" y="365"/>
                    </a:lnTo>
                    <a:lnTo>
                      <a:pt x="171" y="362"/>
                    </a:lnTo>
                    <a:lnTo>
                      <a:pt x="181" y="361"/>
                    </a:lnTo>
                    <a:lnTo>
                      <a:pt x="190" y="362"/>
                    </a:lnTo>
                    <a:lnTo>
                      <a:pt x="198" y="365"/>
                    </a:lnTo>
                    <a:lnTo>
                      <a:pt x="206" y="369"/>
                    </a:lnTo>
                    <a:lnTo>
                      <a:pt x="212" y="374"/>
                    </a:lnTo>
                    <a:lnTo>
                      <a:pt x="219" y="381"/>
                    </a:lnTo>
                    <a:lnTo>
                      <a:pt x="222" y="389"/>
                    </a:lnTo>
                    <a:lnTo>
                      <a:pt x="225" y="398"/>
                    </a:lnTo>
                    <a:lnTo>
                      <a:pt x="226" y="406"/>
                    </a:lnTo>
                    <a:lnTo>
                      <a:pt x="225" y="415"/>
                    </a:lnTo>
                    <a:lnTo>
                      <a:pt x="222" y="423"/>
                    </a:lnTo>
                    <a:lnTo>
                      <a:pt x="219" y="431"/>
                    </a:lnTo>
                    <a:lnTo>
                      <a:pt x="212" y="438"/>
                    </a:lnTo>
                    <a:lnTo>
                      <a:pt x="206" y="444"/>
                    </a:lnTo>
                    <a:lnTo>
                      <a:pt x="198" y="448"/>
                    </a:lnTo>
                    <a:lnTo>
                      <a:pt x="190" y="450"/>
                    </a:lnTo>
                    <a:lnTo>
                      <a:pt x="181" y="451"/>
                    </a:lnTo>
                    <a:close/>
                    <a:moveTo>
                      <a:pt x="721" y="250"/>
                    </a:moveTo>
                    <a:lnTo>
                      <a:pt x="720" y="248"/>
                    </a:lnTo>
                    <a:lnTo>
                      <a:pt x="718" y="246"/>
                    </a:lnTo>
                    <a:lnTo>
                      <a:pt x="568" y="95"/>
                    </a:lnTo>
                    <a:lnTo>
                      <a:pt x="565" y="94"/>
                    </a:lnTo>
                    <a:lnTo>
                      <a:pt x="562" y="91"/>
                    </a:lnTo>
                    <a:lnTo>
                      <a:pt x="559" y="91"/>
                    </a:lnTo>
                    <a:lnTo>
                      <a:pt x="557" y="90"/>
                    </a:lnTo>
                    <a:lnTo>
                      <a:pt x="451" y="90"/>
                    </a:lnTo>
                    <a:lnTo>
                      <a:pt x="451" y="15"/>
                    </a:lnTo>
                    <a:lnTo>
                      <a:pt x="451" y="12"/>
                    </a:lnTo>
                    <a:lnTo>
                      <a:pt x="450" y="10"/>
                    </a:lnTo>
                    <a:lnTo>
                      <a:pt x="449" y="7"/>
                    </a:lnTo>
                    <a:lnTo>
                      <a:pt x="447" y="5"/>
                    </a:lnTo>
                    <a:lnTo>
                      <a:pt x="445" y="3"/>
                    </a:lnTo>
                    <a:lnTo>
                      <a:pt x="442" y="1"/>
                    </a:lnTo>
                    <a:lnTo>
                      <a:pt x="439" y="0"/>
                    </a:lnTo>
                    <a:lnTo>
                      <a:pt x="436" y="0"/>
                    </a:lnTo>
                    <a:lnTo>
                      <a:pt x="256" y="0"/>
                    </a:lnTo>
                    <a:lnTo>
                      <a:pt x="253" y="0"/>
                    </a:lnTo>
                    <a:lnTo>
                      <a:pt x="250" y="1"/>
                    </a:lnTo>
                    <a:lnTo>
                      <a:pt x="247" y="3"/>
                    </a:lnTo>
                    <a:lnTo>
                      <a:pt x="245" y="5"/>
                    </a:lnTo>
                    <a:lnTo>
                      <a:pt x="243" y="7"/>
                    </a:lnTo>
                    <a:lnTo>
                      <a:pt x="242" y="10"/>
                    </a:lnTo>
                    <a:lnTo>
                      <a:pt x="241" y="12"/>
                    </a:lnTo>
                    <a:lnTo>
                      <a:pt x="241" y="15"/>
                    </a:lnTo>
                    <a:lnTo>
                      <a:pt x="241" y="19"/>
                    </a:lnTo>
                    <a:lnTo>
                      <a:pt x="242" y="22"/>
                    </a:lnTo>
                    <a:lnTo>
                      <a:pt x="243" y="24"/>
                    </a:lnTo>
                    <a:lnTo>
                      <a:pt x="245" y="26"/>
                    </a:lnTo>
                    <a:lnTo>
                      <a:pt x="247" y="28"/>
                    </a:lnTo>
                    <a:lnTo>
                      <a:pt x="250" y="29"/>
                    </a:lnTo>
                    <a:lnTo>
                      <a:pt x="253" y="30"/>
                    </a:lnTo>
                    <a:lnTo>
                      <a:pt x="256" y="30"/>
                    </a:lnTo>
                    <a:lnTo>
                      <a:pt x="421" y="30"/>
                    </a:lnTo>
                    <a:lnTo>
                      <a:pt x="421" y="391"/>
                    </a:lnTo>
                    <a:lnTo>
                      <a:pt x="254" y="391"/>
                    </a:lnTo>
                    <a:lnTo>
                      <a:pt x="253" y="385"/>
                    </a:lnTo>
                    <a:lnTo>
                      <a:pt x="251" y="378"/>
                    </a:lnTo>
                    <a:lnTo>
                      <a:pt x="249" y="373"/>
                    </a:lnTo>
                    <a:lnTo>
                      <a:pt x="245" y="368"/>
                    </a:lnTo>
                    <a:lnTo>
                      <a:pt x="238" y="357"/>
                    </a:lnTo>
                    <a:lnTo>
                      <a:pt x="228" y="349"/>
                    </a:lnTo>
                    <a:lnTo>
                      <a:pt x="224" y="344"/>
                    </a:lnTo>
                    <a:lnTo>
                      <a:pt x="219" y="341"/>
                    </a:lnTo>
                    <a:lnTo>
                      <a:pt x="212" y="338"/>
                    </a:lnTo>
                    <a:lnTo>
                      <a:pt x="207" y="336"/>
                    </a:lnTo>
                    <a:lnTo>
                      <a:pt x="200" y="334"/>
                    </a:lnTo>
                    <a:lnTo>
                      <a:pt x="194" y="332"/>
                    </a:lnTo>
                    <a:lnTo>
                      <a:pt x="187" y="331"/>
                    </a:lnTo>
                    <a:lnTo>
                      <a:pt x="181" y="331"/>
                    </a:lnTo>
                    <a:lnTo>
                      <a:pt x="174" y="331"/>
                    </a:lnTo>
                    <a:lnTo>
                      <a:pt x="167" y="332"/>
                    </a:lnTo>
                    <a:lnTo>
                      <a:pt x="161" y="334"/>
                    </a:lnTo>
                    <a:lnTo>
                      <a:pt x="155" y="336"/>
                    </a:lnTo>
                    <a:lnTo>
                      <a:pt x="149" y="338"/>
                    </a:lnTo>
                    <a:lnTo>
                      <a:pt x="144" y="341"/>
                    </a:lnTo>
                    <a:lnTo>
                      <a:pt x="138" y="344"/>
                    </a:lnTo>
                    <a:lnTo>
                      <a:pt x="133" y="349"/>
                    </a:lnTo>
                    <a:lnTo>
                      <a:pt x="124" y="357"/>
                    </a:lnTo>
                    <a:lnTo>
                      <a:pt x="117" y="368"/>
                    </a:lnTo>
                    <a:lnTo>
                      <a:pt x="114" y="373"/>
                    </a:lnTo>
                    <a:lnTo>
                      <a:pt x="110" y="378"/>
                    </a:lnTo>
                    <a:lnTo>
                      <a:pt x="108" y="385"/>
                    </a:lnTo>
                    <a:lnTo>
                      <a:pt x="107" y="391"/>
                    </a:lnTo>
                    <a:lnTo>
                      <a:pt x="30" y="391"/>
                    </a:lnTo>
                    <a:lnTo>
                      <a:pt x="30" y="120"/>
                    </a:lnTo>
                    <a:lnTo>
                      <a:pt x="30" y="117"/>
                    </a:lnTo>
                    <a:lnTo>
                      <a:pt x="29" y="115"/>
                    </a:lnTo>
                    <a:lnTo>
                      <a:pt x="28" y="112"/>
                    </a:lnTo>
                    <a:lnTo>
                      <a:pt x="26" y="110"/>
                    </a:lnTo>
                    <a:lnTo>
                      <a:pt x="24" y="109"/>
                    </a:lnTo>
                    <a:lnTo>
                      <a:pt x="21" y="106"/>
                    </a:lnTo>
                    <a:lnTo>
                      <a:pt x="18" y="106"/>
                    </a:lnTo>
                    <a:lnTo>
                      <a:pt x="15" y="105"/>
                    </a:lnTo>
                    <a:lnTo>
                      <a:pt x="12" y="106"/>
                    </a:lnTo>
                    <a:lnTo>
                      <a:pt x="10" y="106"/>
                    </a:lnTo>
                    <a:lnTo>
                      <a:pt x="6" y="109"/>
                    </a:lnTo>
                    <a:lnTo>
                      <a:pt x="4" y="110"/>
                    </a:lnTo>
                    <a:lnTo>
                      <a:pt x="3" y="112"/>
                    </a:lnTo>
                    <a:lnTo>
                      <a:pt x="1" y="115"/>
                    </a:lnTo>
                    <a:lnTo>
                      <a:pt x="1" y="117"/>
                    </a:lnTo>
                    <a:lnTo>
                      <a:pt x="0" y="120"/>
                    </a:lnTo>
                    <a:lnTo>
                      <a:pt x="0" y="406"/>
                    </a:lnTo>
                    <a:lnTo>
                      <a:pt x="1" y="410"/>
                    </a:lnTo>
                    <a:lnTo>
                      <a:pt x="1" y="412"/>
                    </a:lnTo>
                    <a:lnTo>
                      <a:pt x="3" y="415"/>
                    </a:lnTo>
                    <a:lnTo>
                      <a:pt x="4" y="417"/>
                    </a:lnTo>
                    <a:lnTo>
                      <a:pt x="6" y="419"/>
                    </a:lnTo>
                    <a:lnTo>
                      <a:pt x="10" y="420"/>
                    </a:lnTo>
                    <a:lnTo>
                      <a:pt x="12" y="421"/>
                    </a:lnTo>
                    <a:lnTo>
                      <a:pt x="15" y="421"/>
                    </a:lnTo>
                    <a:lnTo>
                      <a:pt x="107" y="421"/>
                    </a:lnTo>
                    <a:lnTo>
                      <a:pt x="108" y="428"/>
                    </a:lnTo>
                    <a:lnTo>
                      <a:pt x="110" y="434"/>
                    </a:lnTo>
                    <a:lnTo>
                      <a:pt x="114" y="440"/>
                    </a:lnTo>
                    <a:lnTo>
                      <a:pt x="117" y="445"/>
                    </a:lnTo>
                    <a:lnTo>
                      <a:pt x="124" y="456"/>
                    </a:lnTo>
                    <a:lnTo>
                      <a:pt x="133" y="464"/>
                    </a:lnTo>
                    <a:lnTo>
                      <a:pt x="138" y="468"/>
                    </a:lnTo>
                    <a:lnTo>
                      <a:pt x="144" y="472"/>
                    </a:lnTo>
                    <a:lnTo>
                      <a:pt x="149" y="475"/>
                    </a:lnTo>
                    <a:lnTo>
                      <a:pt x="155" y="477"/>
                    </a:lnTo>
                    <a:lnTo>
                      <a:pt x="161" y="479"/>
                    </a:lnTo>
                    <a:lnTo>
                      <a:pt x="167" y="480"/>
                    </a:lnTo>
                    <a:lnTo>
                      <a:pt x="174" y="481"/>
                    </a:lnTo>
                    <a:lnTo>
                      <a:pt x="181" y="481"/>
                    </a:lnTo>
                    <a:lnTo>
                      <a:pt x="187" y="481"/>
                    </a:lnTo>
                    <a:lnTo>
                      <a:pt x="194" y="480"/>
                    </a:lnTo>
                    <a:lnTo>
                      <a:pt x="200" y="479"/>
                    </a:lnTo>
                    <a:lnTo>
                      <a:pt x="207" y="477"/>
                    </a:lnTo>
                    <a:lnTo>
                      <a:pt x="212" y="475"/>
                    </a:lnTo>
                    <a:lnTo>
                      <a:pt x="219" y="472"/>
                    </a:lnTo>
                    <a:lnTo>
                      <a:pt x="224" y="468"/>
                    </a:lnTo>
                    <a:lnTo>
                      <a:pt x="228" y="464"/>
                    </a:lnTo>
                    <a:lnTo>
                      <a:pt x="238" y="456"/>
                    </a:lnTo>
                    <a:lnTo>
                      <a:pt x="245" y="445"/>
                    </a:lnTo>
                    <a:lnTo>
                      <a:pt x="249" y="440"/>
                    </a:lnTo>
                    <a:lnTo>
                      <a:pt x="251" y="434"/>
                    </a:lnTo>
                    <a:lnTo>
                      <a:pt x="253" y="428"/>
                    </a:lnTo>
                    <a:lnTo>
                      <a:pt x="254" y="421"/>
                    </a:lnTo>
                    <a:lnTo>
                      <a:pt x="436" y="421"/>
                    </a:lnTo>
                    <a:lnTo>
                      <a:pt x="483" y="421"/>
                    </a:lnTo>
                    <a:lnTo>
                      <a:pt x="484" y="428"/>
                    </a:lnTo>
                    <a:lnTo>
                      <a:pt x="486" y="434"/>
                    </a:lnTo>
                    <a:lnTo>
                      <a:pt x="490" y="440"/>
                    </a:lnTo>
                    <a:lnTo>
                      <a:pt x="493" y="445"/>
                    </a:lnTo>
                    <a:lnTo>
                      <a:pt x="499" y="456"/>
                    </a:lnTo>
                    <a:lnTo>
                      <a:pt x="509" y="464"/>
                    </a:lnTo>
                    <a:lnTo>
                      <a:pt x="514" y="468"/>
                    </a:lnTo>
                    <a:lnTo>
                      <a:pt x="520" y="472"/>
                    </a:lnTo>
                    <a:lnTo>
                      <a:pt x="525" y="475"/>
                    </a:lnTo>
                    <a:lnTo>
                      <a:pt x="530" y="477"/>
                    </a:lnTo>
                    <a:lnTo>
                      <a:pt x="537" y="479"/>
                    </a:lnTo>
                    <a:lnTo>
                      <a:pt x="543" y="480"/>
                    </a:lnTo>
                    <a:lnTo>
                      <a:pt x="550" y="481"/>
                    </a:lnTo>
                    <a:lnTo>
                      <a:pt x="557" y="481"/>
                    </a:lnTo>
                    <a:lnTo>
                      <a:pt x="563" y="481"/>
                    </a:lnTo>
                    <a:lnTo>
                      <a:pt x="570" y="480"/>
                    </a:lnTo>
                    <a:lnTo>
                      <a:pt x="576" y="479"/>
                    </a:lnTo>
                    <a:lnTo>
                      <a:pt x="583" y="477"/>
                    </a:lnTo>
                    <a:lnTo>
                      <a:pt x="588" y="475"/>
                    </a:lnTo>
                    <a:lnTo>
                      <a:pt x="593" y="472"/>
                    </a:lnTo>
                    <a:lnTo>
                      <a:pt x="599" y="468"/>
                    </a:lnTo>
                    <a:lnTo>
                      <a:pt x="604" y="464"/>
                    </a:lnTo>
                    <a:lnTo>
                      <a:pt x="614" y="456"/>
                    </a:lnTo>
                    <a:lnTo>
                      <a:pt x="621" y="445"/>
                    </a:lnTo>
                    <a:lnTo>
                      <a:pt x="623" y="440"/>
                    </a:lnTo>
                    <a:lnTo>
                      <a:pt x="627" y="434"/>
                    </a:lnTo>
                    <a:lnTo>
                      <a:pt x="629" y="428"/>
                    </a:lnTo>
                    <a:lnTo>
                      <a:pt x="630" y="421"/>
                    </a:lnTo>
                    <a:lnTo>
                      <a:pt x="707" y="421"/>
                    </a:lnTo>
                    <a:lnTo>
                      <a:pt x="710" y="421"/>
                    </a:lnTo>
                    <a:lnTo>
                      <a:pt x="712" y="420"/>
                    </a:lnTo>
                    <a:lnTo>
                      <a:pt x="716" y="419"/>
                    </a:lnTo>
                    <a:lnTo>
                      <a:pt x="718" y="417"/>
                    </a:lnTo>
                    <a:lnTo>
                      <a:pt x="720" y="415"/>
                    </a:lnTo>
                    <a:lnTo>
                      <a:pt x="721" y="412"/>
                    </a:lnTo>
                    <a:lnTo>
                      <a:pt x="722" y="410"/>
                    </a:lnTo>
                    <a:lnTo>
                      <a:pt x="722" y="406"/>
                    </a:lnTo>
                    <a:lnTo>
                      <a:pt x="722" y="256"/>
                    </a:lnTo>
                    <a:lnTo>
                      <a:pt x="722" y="253"/>
                    </a:lnTo>
                    <a:lnTo>
                      <a:pt x="721" y="250"/>
                    </a:lnTo>
                    <a:lnTo>
                      <a:pt x="721" y="25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ea typeface="+mn-ea"/>
                  <a:cs typeface="+mn-cs"/>
                </a:endParaRPr>
              </a:p>
            </p:txBody>
          </p:sp>
          <p:sp>
            <p:nvSpPr>
              <p:cNvPr id="258" name="Freeform 220"/>
              <p:cNvSpPr>
                <a:spLocks/>
              </p:cNvSpPr>
              <p:nvPr/>
            </p:nvSpPr>
            <p:spPr bwMode="auto">
              <a:xfrm>
                <a:off x="8793163" y="2565400"/>
                <a:ext cx="28575" cy="38100"/>
              </a:xfrm>
              <a:custGeom>
                <a:avLst/>
                <a:gdLst>
                  <a:gd name="T0" fmla="*/ 15 w 90"/>
                  <a:gd name="T1" fmla="*/ 120 h 120"/>
                  <a:gd name="T2" fmla="*/ 75 w 90"/>
                  <a:gd name="T3" fmla="*/ 120 h 120"/>
                  <a:gd name="T4" fmla="*/ 78 w 90"/>
                  <a:gd name="T5" fmla="*/ 120 h 120"/>
                  <a:gd name="T6" fmla="*/ 81 w 90"/>
                  <a:gd name="T7" fmla="*/ 119 h 120"/>
                  <a:gd name="T8" fmla="*/ 84 w 90"/>
                  <a:gd name="T9" fmla="*/ 117 h 120"/>
                  <a:gd name="T10" fmla="*/ 86 w 90"/>
                  <a:gd name="T11" fmla="*/ 116 h 120"/>
                  <a:gd name="T12" fmla="*/ 88 w 90"/>
                  <a:gd name="T13" fmla="*/ 114 h 120"/>
                  <a:gd name="T14" fmla="*/ 89 w 90"/>
                  <a:gd name="T15" fmla="*/ 111 h 120"/>
                  <a:gd name="T16" fmla="*/ 90 w 90"/>
                  <a:gd name="T17" fmla="*/ 109 h 120"/>
                  <a:gd name="T18" fmla="*/ 90 w 90"/>
                  <a:gd name="T19" fmla="*/ 105 h 120"/>
                  <a:gd name="T20" fmla="*/ 90 w 90"/>
                  <a:gd name="T21" fmla="*/ 102 h 120"/>
                  <a:gd name="T22" fmla="*/ 89 w 90"/>
                  <a:gd name="T23" fmla="*/ 99 h 120"/>
                  <a:gd name="T24" fmla="*/ 88 w 90"/>
                  <a:gd name="T25" fmla="*/ 97 h 120"/>
                  <a:gd name="T26" fmla="*/ 86 w 90"/>
                  <a:gd name="T27" fmla="*/ 95 h 120"/>
                  <a:gd name="T28" fmla="*/ 84 w 90"/>
                  <a:gd name="T29" fmla="*/ 93 h 120"/>
                  <a:gd name="T30" fmla="*/ 81 w 90"/>
                  <a:gd name="T31" fmla="*/ 91 h 120"/>
                  <a:gd name="T32" fmla="*/ 78 w 90"/>
                  <a:gd name="T33" fmla="*/ 90 h 120"/>
                  <a:gd name="T34" fmla="*/ 75 w 90"/>
                  <a:gd name="T35" fmla="*/ 90 h 120"/>
                  <a:gd name="T36" fmla="*/ 30 w 90"/>
                  <a:gd name="T37" fmla="*/ 90 h 120"/>
                  <a:gd name="T38" fmla="*/ 30 w 90"/>
                  <a:gd name="T39" fmla="*/ 15 h 120"/>
                  <a:gd name="T40" fmla="*/ 30 w 90"/>
                  <a:gd name="T41" fmla="*/ 12 h 120"/>
                  <a:gd name="T42" fmla="*/ 29 w 90"/>
                  <a:gd name="T43" fmla="*/ 9 h 120"/>
                  <a:gd name="T44" fmla="*/ 28 w 90"/>
                  <a:gd name="T45" fmla="*/ 7 h 120"/>
                  <a:gd name="T46" fmla="*/ 26 w 90"/>
                  <a:gd name="T47" fmla="*/ 5 h 120"/>
                  <a:gd name="T48" fmla="*/ 24 w 90"/>
                  <a:gd name="T49" fmla="*/ 3 h 120"/>
                  <a:gd name="T50" fmla="*/ 21 w 90"/>
                  <a:gd name="T51" fmla="*/ 1 h 120"/>
                  <a:gd name="T52" fmla="*/ 18 w 90"/>
                  <a:gd name="T53" fmla="*/ 0 h 120"/>
                  <a:gd name="T54" fmla="*/ 15 w 90"/>
                  <a:gd name="T55" fmla="*/ 0 h 120"/>
                  <a:gd name="T56" fmla="*/ 12 w 90"/>
                  <a:gd name="T57" fmla="*/ 0 h 120"/>
                  <a:gd name="T58" fmla="*/ 10 w 90"/>
                  <a:gd name="T59" fmla="*/ 1 h 120"/>
                  <a:gd name="T60" fmla="*/ 6 w 90"/>
                  <a:gd name="T61" fmla="*/ 3 h 120"/>
                  <a:gd name="T62" fmla="*/ 4 w 90"/>
                  <a:gd name="T63" fmla="*/ 5 h 120"/>
                  <a:gd name="T64" fmla="*/ 3 w 90"/>
                  <a:gd name="T65" fmla="*/ 7 h 120"/>
                  <a:gd name="T66" fmla="*/ 1 w 90"/>
                  <a:gd name="T67" fmla="*/ 9 h 120"/>
                  <a:gd name="T68" fmla="*/ 1 w 90"/>
                  <a:gd name="T69" fmla="*/ 12 h 120"/>
                  <a:gd name="T70" fmla="*/ 0 w 90"/>
                  <a:gd name="T71" fmla="*/ 15 h 120"/>
                  <a:gd name="T72" fmla="*/ 0 w 90"/>
                  <a:gd name="T73" fmla="*/ 105 h 120"/>
                  <a:gd name="T74" fmla="*/ 1 w 90"/>
                  <a:gd name="T75" fmla="*/ 109 h 120"/>
                  <a:gd name="T76" fmla="*/ 1 w 90"/>
                  <a:gd name="T77" fmla="*/ 111 h 120"/>
                  <a:gd name="T78" fmla="*/ 3 w 90"/>
                  <a:gd name="T79" fmla="*/ 114 h 120"/>
                  <a:gd name="T80" fmla="*/ 4 w 90"/>
                  <a:gd name="T81" fmla="*/ 116 h 120"/>
                  <a:gd name="T82" fmla="*/ 6 w 90"/>
                  <a:gd name="T83" fmla="*/ 117 h 120"/>
                  <a:gd name="T84" fmla="*/ 10 w 90"/>
                  <a:gd name="T85" fmla="*/ 119 h 120"/>
                  <a:gd name="T86" fmla="*/ 13 w 90"/>
                  <a:gd name="T87" fmla="*/ 120 h 120"/>
                  <a:gd name="T88" fmla="*/ 15 w 90"/>
                  <a:gd name="T89" fmla="*/ 12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90" h="120">
                    <a:moveTo>
                      <a:pt x="15" y="120"/>
                    </a:moveTo>
                    <a:lnTo>
                      <a:pt x="75" y="120"/>
                    </a:lnTo>
                    <a:lnTo>
                      <a:pt x="78" y="120"/>
                    </a:lnTo>
                    <a:lnTo>
                      <a:pt x="81" y="119"/>
                    </a:lnTo>
                    <a:lnTo>
                      <a:pt x="84" y="117"/>
                    </a:lnTo>
                    <a:lnTo>
                      <a:pt x="86" y="116"/>
                    </a:lnTo>
                    <a:lnTo>
                      <a:pt x="88" y="114"/>
                    </a:lnTo>
                    <a:lnTo>
                      <a:pt x="89" y="111"/>
                    </a:lnTo>
                    <a:lnTo>
                      <a:pt x="90" y="109"/>
                    </a:lnTo>
                    <a:lnTo>
                      <a:pt x="90" y="105"/>
                    </a:lnTo>
                    <a:lnTo>
                      <a:pt x="90" y="102"/>
                    </a:lnTo>
                    <a:lnTo>
                      <a:pt x="89" y="99"/>
                    </a:lnTo>
                    <a:lnTo>
                      <a:pt x="88" y="97"/>
                    </a:lnTo>
                    <a:lnTo>
                      <a:pt x="86" y="95"/>
                    </a:lnTo>
                    <a:lnTo>
                      <a:pt x="84" y="93"/>
                    </a:lnTo>
                    <a:lnTo>
                      <a:pt x="81" y="91"/>
                    </a:lnTo>
                    <a:lnTo>
                      <a:pt x="78" y="90"/>
                    </a:lnTo>
                    <a:lnTo>
                      <a:pt x="75" y="90"/>
                    </a:lnTo>
                    <a:lnTo>
                      <a:pt x="30" y="90"/>
                    </a:lnTo>
                    <a:lnTo>
                      <a:pt x="30" y="15"/>
                    </a:lnTo>
                    <a:lnTo>
                      <a:pt x="30" y="12"/>
                    </a:lnTo>
                    <a:lnTo>
                      <a:pt x="29" y="9"/>
                    </a:lnTo>
                    <a:lnTo>
                      <a:pt x="28" y="7"/>
                    </a:lnTo>
                    <a:lnTo>
                      <a:pt x="26" y="5"/>
                    </a:lnTo>
                    <a:lnTo>
                      <a:pt x="24" y="3"/>
                    </a:lnTo>
                    <a:lnTo>
                      <a:pt x="21" y="1"/>
                    </a:lnTo>
                    <a:lnTo>
                      <a:pt x="18" y="0"/>
                    </a:lnTo>
                    <a:lnTo>
                      <a:pt x="15" y="0"/>
                    </a:lnTo>
                    <a:lnTo>
                      <a:pt x="12" y="0"/>
                    </a:lnTo>
                    <a:lnTo>
                      <a:pt x="10" y="1"/>
                    </a:lnTo>
                    <a:lnTo>
                      <a:pt x="6" y="3"/>
                    </a:lnTo>
                    <a:lnTo>
                      <a:pt x="4" y="5"/>
                    </a:lnTo>
                    <a:lnTo>
                      <a:pt x="3" y="7"/>
                    </a:lnTo>
                    <a:lnTo>
                      <a:pt x="1" y="9"/>
                    </a:lnTo>
                    <a:lnTo>
                      <a:pt x="1" y="12"/>
                    </a:lnTo>
                    <a:lnTo>
                      <a:pt x="0" y="15"/>
                    </a:lnTo>
                    <a:lnTo>
                      <a:pt x="0" y="105"/>
                    </a:lnTo>
                    <a:lnTo>
                      <a:pt x="1" y="109"/>
                    </a:lnTo>
                    <a:lnTo>
                      <a:pt x="1" y="111"/>
                    </a:lnTo>
                    <a:lnTo>
                      <a:pt x="3" y="114"/>
                    </a:lnTo>
                    <a:lnTo>
                      <a:pt x="4" y="116"/>
                    </a:lnTo>
                    <a:lnTo>
                      <a:pt x="6" y="117"/>
                    </a:lnTo>
                    <a:lnTo>
                      <a:pt x="10" y="119"/>
                    </a:lnTo>
                    <a:lnTo>
                      <a:pt x="13" y="120"/>
                    </a:lnTo>
                    <a:lnTo>
                      <a:pt x="15" y="1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ea typeface="+mn-ea"/>
                  <a:cs typeface="+mn-cs"/>
                </a:endParaRPr>
              </a:p>
            </p:txBody>
          </p:sp>
          <p:sp>
            <p:nvSpPr>
              <p:cNvPr id="259" name="Freeform 221"/>
              <p:cNvSpPr>
                <a:spLocks/>
              </p:cNvSpPr>
              <p:nvPr/>
            </p:nvSpPr>
            <p:spPr bwMode="auto">
              <a:xfrm>
                <a:off x="8736013" y="2698750"/>
                <a:ext cx="47625" cy="11113"/>
              </a:xfrm>
              <a:custGeom>
                <a:avLst/>
                <a:gdLst>
                  <a:gd name="T0" fmla="*/ 135 w 150"/>
                  <a:gd name="T1" fmla="*/ 0 h 31"/>
                  <a:gd name="T2" fmla="*/ 15 w 150"/>
                  <a:gd name="T3" fmla="*/ 0 h 31"/>
                  <a:gd name="T4" fmla="*/ 12 w 150"/>
                  <a:gd name="T5" fmla="*/ 1 h 31"/>
                  <a:gd name="T6" fmla="*/ 9 w 150"/>
                  <a:gd name="T7" fmla="*/ 2 h 31"/>
                  <a:gd name="T8" fmla="*/ 6 w 150"/>
                  <a:gd name="T9" fmla="*/ 4 h 31"/>
                  <a:gd name="T10" fmla="*/ 4 w 150"/>
                  <a:gd name="T11" fmla="*/ 6 h 31"/>
                  <a:gd name="T12" fmla="*/ 2 w 150"/>
                  <a:gd name="T13" fmla="*/ 8 h 31"/>
                  <a:gd name="T14" fmla="*/ 1 w 150"/>
                  <a:gd name="T15" fmla="*/ 10 h 31"/>
                  <a:gd name="T16" fmla="*/ 0 w 150"/>
                  <a:gd name="T17" fmla="*/ 13 h 31"/>
                  <a:gd name="T18" fmla="*/ 0 w 150"/>
                  <a:gd name="T19" fmla="*/ 16 h 31"/>
                  <a:gd name="T20" fmla="*/ 0 w 150"/>
                  <a:gd name="T21" fmla="*/ 19 h 31"/>
                  <a:gd name="T22" fmla="*/ 1 w 150"/>
                  <a:gd name="T23" fmla="*/ 22 h 31"/>
                  <a:gd name="T24" fmla="*/ 2 w 150"/>
                  <a:gd name="T25" fmla="*/ 24 h 31"/>
                  <a:gd name="T26" fmla="*/ 4 w 150"/>
                  <a:gd name="T27" fmla="*/ 26 h 31"/>
                  <a:gd name="T28" fmla="*/ 6 w 150"/>
                  <a:gd name="T29" fmla="*/ 28 h 31"/>
                  <a:gd name="T30" fmla="*/ 9 w 150"/>
                  <a:gd name="T31" fmla="*/ 29 h 31"/>
                  <a:gd name="T32" fmla="*/ 12 w 150"/>
                  <a:gd name="T33" fmla="*/ 30 h 31"/>
                  <a:gd name="T34" fmla="*/ 15 w 150"/>
                  <a:gd name="T35" fmla="*/ 31 h 31"/>
                  <a:gd name="T36" fmla="*/ 135 w 150"/>
                  <a:gd name="T37" fmla="*/ 31 h 31"/>
                  <a:gd name="T38" fmla="*/ 138 w 150"/>
                  <a:gd name="T39" fmla="*/ 30 h 31"/>
                  <a:gd name="T40" fmla="*/ 141 w 150"/>
                  <a:gd name="T41" fmla="*/ 29 h 31"/>
                  <a:gd name="T42" fmla="*/ 144 w 150"/>
                  <a:gd name="T43" fmla="*/ 28 h 31"/>
                  <a:gd name="T44" fmla="*/ 146 w 150"/>
                  <a:gd name="T45" fmla="*/ 26 h 31"/>
                  <a:gd name="T46" fmla="*/ 148 w 150"/>
                  <a:gd name="T47" fmla="*/ 24 h 31"/>
                  <a:gd name="T48" fmla="*/ 149 w 150"/>
                  <a:gd name="T49" fmla="*/ 22 h 31"/>
                  <a:gd name="T50" fmla="*/ 150 w 150"/>
                  <a:gd name="T51" fmla="*/ 19 h 31"/>
                  <a:gd name="T52" fmla="*/ 150 w 150"/>
                  <a:gd name="T53" fmla="*/ 16 h 31"/>
                  <a:gd name="T54" fmla="*/ 150 w 150"/>
                  <a:gd name="T55" fmla="*/ 13 h 31"/>
                  <a:gd name="T56" fmla="*/ 149 w 150"/>
                  <a:gd name="T57" fmla="*/ 10 h 31"/>
                  <a:gd name="T58" fmla="*/ 148 w 150"/>
                  <a:gd name="T59" fmla="*/ 8 h 31"/>
                  <a:gd name="T60" fmla="*/ 146 w 150"/>
                  <a:gd name="T61" fmla="*/ 6 h 31"/>
                  <a:gd name="T62" fmla="*/ 144 w 150"/>
                  <a:gd name="T63" fmla="*/ 4 h 31"/>
                  <a:gd name="T64" fmla="*/ 141 w 150"/>
                  <a:gd name="T65" fmla="*/ 2 h 31"/>
                  <a:gd name="T66" fmla="*/ 138 w 150"/>
                  <a:gd name="T67" fmla="*/ 1 h 31"/>
                  <a:gd name="T68" fmla="*/ 135 w 150"/>
                  <a:gd name="T69"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50" h="31">
                    <a:moveTo>
                      <a:pt x="135" y="0"/>
                    </a:moveTo>
                    <a:lnTo>
                      <a:pt x="15" y="0"/>
                    </a:lnTo>
                    <a:lnTo>
                      <a:pt x="12" y="1"/>
                    </a:lnTo>
                    <a:lnTo>
                      <a:pt x="9" y="2"/>
                    </a:lnTo>
                    <a:lnTo>
                      <a:pt x="6" y="4"/>
                    </a:lnTo>
                    <a:lnTo>
                      <a:pt x="4" y="6"/>
                    </a:lnTo>
                    <a:lnTo>
                      <a:pt x="2" y="8"/>
                    </a:lnTo>
                    <a:lnTo>
                      <a:pt x="1" y="10"/>
                    </a:lnTo>
                    <a:lnTo>
                      <a:pt x="0" y="13"/>
                    </a:lnTo>
                    <a:lnTo>
                      <a:pt x="0" y="16"/>
                    </a:lnTo>
                    <a:lnTo>
                      <a:pt x="0" y="19"/>
                    </a:lnTo>
                    <a:lnTo>
                      <a:pt x="1" y="22"/>
                    </a:lnTo>
                    <a:lnTo>
                      <a:pt x="2" y="24"/>
                    </a:lnTo>
                    <a:lnTo>
                      <a:pt x="4" y="26"/>
                    </a:lnTo>
                    <a:lnTo>
                      <a:pt x="6" y="28"/>
                    </a:lnTo>
                    <a:lnTo>
                      <a:pt x="9" y="29"/>
                    </a:lnTo>
                    <a:lnTo>
                      <a:pt x="12" y="30"/>
                    </a:lnTo>
                    <a:lnTo>
                      <a:pt x="15" y="31"/>
                    </a:lnTo>
                    <a:lnTo>
                      <a:pt x="135" y="31"/>
                    </a:lnTo>
                    <a:lnTo>
                      <a:pt x="138" y="30"/>
                    </a:lnTo>
                    <a:lnTo>
                      <a:pt x="141" y="29"/>
                    </a:lnTo>
                    <a:lnTo>
                      <a:pt x="144" y="28"/>
                    </a:lnTo>
                    <a:lnTo>
                      <a:pt x="146" y="26"/>
                    </a:lnTo>
                    <a:lnTo>
                      <a:pt x="148" y="24"/>
                    </a:lnTo>
                    <a:lnTo>
                      <a:pt x="149" y="22"/>
                    </a:lnTo>
                    <a:lnTo>
                      <a:pt x="150" y="19"/>
                    </a:lnTo>
                    <a:lnTo>
                      <a:pt x="150" y="16"/>
                    </a:lnTo>
                    <a:lnTo>
                      <a:pt x="150" y="13"/>
                    </a:lnTo>
                    <a:lnTo>
                      <a:pt x="149" y="10"/>
                    </a:lnTo>
                    <a:lnTo>
                      <a:pt x="148" y="8"/>
                    </a:lnTo>
                    <a:lnTo>
                      <a:pt x="146" y="6"/>
                    </a:lnTo>
                    <a:lnTo>
                      <a:pt x="144" y="4"/>
                    </a:lnTo>
                    <a:lnTo>
                      <a:pt x="141" y="2"/>
                    </a:lnTo>
                    <a:lnTo>
                      <a:pt x="138" y="1"/>
                    </a:lnTo>
                    <a:lnTo>
                      <a:pt x="13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ea typeface="+mn-ea"/>
                  <a:cs typeface="+mn-cs"/>
                </a:endParaRPr>
              </a:p>
            </p:txBody>
          </p:sp>
          <p:sp>
            <p:nvSpPr>
              <p:cNvPr id="260" name="Freeform 222"/>
              <p:cNvSpPr>
                <a:spLocks/>
              </p:cNvSpPr>
              <p:nvPr/>
            </p:nvSpPr>
            <p:spPr bwMode="auto">
              <a:xfrm>
                <a:off x="8755063" y="2719388"/>
                <a:ext cx="28575" cy="9525"/>
              </a:xfrm>
              <a:custGeom>
                <a:avLst/>
                <a:gdLst>
                  <a:gd name="T0" fmla="*/ 75 w 90"/>
                  <a:gd name="T1" fmla="*/ 0 h 30"/>
                  <a:gd name="T2" fmla="*/ 15 w 90"/>
                  <a:gd name="T3" fmla="*/ 0 h 30"/>
                  <a:gd name="T4" fmla="*/ 12 w 90"/>
                  <a:gd name="T5" fmla="*/ 0 h 30"/>
                  <a:gd name="T6" fmla="*/ 10 w 90"/>
                  <a:gd name="T7" fmla="*/ 1 h 30"/>
                  <a:gd name="T8" fmla="*/ 6 w 90"/>
                  <a:gd name="T9" fmla="*/ 3 h 30"/>
                  <a:gd name="T10" fmla="*/ 4 w 90"/>
                  <a:gd name="T11" fmla="*/ 5 h 30"/>
                  <a:gd name="T12" fmla="*/ 2 w 90"/>
                  <a:gd name="T13" fmla="*/ 7 h 30"/>
                  <a:gd name="T14" fmla="*/ 1 w 90"/>
                  <a:gd name="T15" fmla="*/ 9 h 30"/>
                  <a:gd name="T16" fmla="*/ 0 w 90"/>
                  <a:gd name="T17" fmla="*/ 12 h 30"/>
                  <a:gd name="T18" fmla="*/ 0 w 90"/>
                  <a:gd name="T19" fmla="*/ 15 h 30"/>
                  <a:gd name="T20" fmla="*/ 0 w 90"/>
                  <a:gd name="T21" fmla="*/ 19 h 30"/>
                  <a:gd name="T22" fmla="*/ 1 w 90"/>
                  <a:gd name="T23" fmla="*/ 21 h 30"/>
                  <a:gd name="T24" fmla="*/ 2 w 90"/>
                  <a:gd name="T25" fmla="*/ 24 h 30"/>
                  <a:gd name="T26" fmla="*/ 4 w 90"/>
                  <a:gd name="T27" fmla="*/ 26 h 30"/>
                  <a:gd name="T28" fmla="*/ 6 w 90"/>
                  <a:gd name="T29" fmla="*/ 27 h 30"/>
                  <a:gd name="T30" fmla="*/ 10 w 90"/>
                  <a:gd name="T31" fmla="*/ 29 h 30"/>
                  <a:gd name="T32" fmla="*/ 12 w 90"/>
                  <a:gd name="T33" fmla="*/ 29 h 30"/>
                  <a:gd name="T34" fmla="*/ 15 w 90"/>
                  <a:gd name="T35" fmla="*/ 30 h 30"/>
                  <a:gd name="T36" fmla="*/ 75 w 90"/>
                  <a:gd name="T37" fmla="*/ 30 h 30"/>
                  <a:gd name="T38" fmla="*/ 78 w 90"/>
                  <a:gd name="T39" fmla="*/ 29 h 30"/>
                  <a:gd name="T40" fmla="*/ 81 w 90"/>
                  <a:gd name="T41" fmla="*/ 29 h 30"/>
                  <a:gd name="T42" fmla="*/ 84 w 90"/>
                  <a:gd name="T43" fmla="*/ 27 h 30"/>
                  <a:gd name="T44" fmla="*/ 86 w 90"/>
                  <a:gd name="T45" fmla="*/ 26 h 30"/>
                  <a:gd name="T46" fmla="*/ 88 w 90"/>
                  <a:gd name="T47" fmla="*/ 24 h 30"/>
                  <a:gd name="T48" fmla="*/ 89 w 90"/>
                  <a:gd name="T49" fmla="*/ 21 h 30"/>
                  <a:gd name="T50" fmla="*/ 90 w 90"/>
                  <a:gd name="T51" fmla="*/ 19 h 30"/>
                  <a:gd name="T52" fmla="*/ 90 w 90"/>
                  <a:gd name="T53" fmla="*/ 15 h 30"/>
                  <a:gd name="T54" fmla="*/ 90 w 90"/>
                  <a:gd name="T55" fmla="*/ 12 h 30"/>
                  <a:gd name="T56" fmla="*/ 89 w 90"/>
                  <a:gd name="T57" fmla="*/ 9 h 30"/>
                  <a:gd name="T58" fmla="*/ 88 w 90"/>
                  <a:gd name="T59" fmla="*/ 7 h 30"/>
                  <a:gd name="T60" fmla="*/ 86 w 90"/>
                  <a:gd name="T61" fmla="*/ 5 h 30"/>
                  <a:gd name="T62" fmla="*/ 84 w 90"/>
                  <a:gd name="T63" fmla="*/ 3 h 30"/>
                  <a:gd name="T64" fmla="*/ 81 w 90"/>
                  <a:gd name="T65" fmla="*/ 1 h 30"/>
                  <a:gd name="T66" fmla="*/ 78 w 90"/>
                  <a:gd name="T67" fmla="*/ 0 h 30"/>
                  <a:gd name="T68" fmla="*/ 75 w 90"/>
                  <a:gd name="T69" fmla="*/ 0 h 30"/>
                  <a:gd name="T70" fmla="*/ 75 w 90"/>
                  <a:gd name="T7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0" h="30">
                    <a:moveTo>
                      <a:pt x="75" y="0"/>
                    </a:moveTo>
                    <a:lnTo>
                      <a:pt x="15" y="0"/>
                    </a:lnTo>
                    <a:lnTo>
                      <a:pt x="12" y="0"/>
                    </a:lnTo>
                    <a:lnTo>
                      <a:pt x="10" y="1"/>
                    </a:lnTo>
                    <a:lnTo>
                      <a:pt x="6" y="3"/>
                    </a:lnTo>
                    <a:lnTo>
                      <a:pt x="4" y="5"/>
                    </a:lnTo>
                    <a:lnTo>
                      <a:pt x="2" y="7"/>
                    </a:lnTo>
                    <a:lnTo>
                      <a:pt x="1" y="9"/>
                    </a:lnTo>
                    <a:lnTo>
                      <a:pt x="0" y="12"/>
                    </a:lnTo>
                    <a:lnTo>
                      <a:pt x="0" y="15"/>
                    </a:lnTo>
                    <a:lnTo>
                      <a:pt x="0" y="19"/>
                    </a:lnTo>
                    <a:lnTo>
                      <a:pt x="1" y="21"/>
                    </a:lnTo>
                    <a:lnTo>
                      <a:pt x="2" y="24"/>
                    </a:lnTo>
                    <a:lnTo>
                      <a:pt x="4" y="26"/>
                    </a:lnTo>
                    <a:lnTo>
                      <a:pt x="6" y="27"/>
                    </a:lnTo>
                    <a:lnTo>
                      <a:pt x="10" y="29"/>
                    </a:lnTo>
                    <a:lnTo>
                      <a:pt x="12" y="29"/>
                    </a:lnTo>
                    <a:lnTo>
                      <a:pt x="15" y="30"/>
                    </a:lnTo>
                    <a:lnTo>
                      <a:pt x="75" y="30"/>
                    </a:lnTo>
                    <a:lnTo>
                      <a:pt x="78" y="29"/>
                    </a:lnTo>
                    <a:lnTo>
                      <a:pt x="81" y="29"/>
                    </a:lnTo>
                    <a:lnTo>
                      <a:pt x="84" y="27"/>
                    </a:lnTo>
                    <a:lnTo>
                      <a:pt x="86" y="26"/>
                    </a:lnTo>
                    <a:lnTo>
                      <a:pt x="88" y="24"/>
                    </a:lnTo>
                    <a:lnTo>
                      <a:pt x="89" y="21"/>
                    </a:lnTo>
                    <a:lnTo>
                      <a:pt x="90" y="19"/>
                    </a:lnTo>
                    <a:lnTo>
                      <a:pt x="90" y="15"/>
                    </a:lnTo>
                    <a:lnTo>
                      <a:pt x="90" y="12"/>
                    </a:lnTo>
                    <a:lnTo>
                      <a:pt x="89" y="9"/>
                    </a:lnTo>
                    <a:lnTo>
                      <a:pt x="88" y="7"/>
                    </a:lnTo>
                    <a:lnTo>
                      <a:pt x="86" y="5"/>
                    </a:lnTo>
                    <a:lnTo>
                      <a:pt x="84" y="3"/>
                    </a:lnTo>
                    <a:lnTo>
                      <a:pt x="81" y="1"/>
                    </a:lnTo>
                    <a:lnTo>
                      <a:pt x="78" y="0"/>
                    </a:lnTo>
                    <a:lnTo>
                      <a:pt x="75" y="0"/>
                    </a:lnTo>
                    <a:lnTo>
                      <a:pt x="7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ea typeface="+mn-ea"/>
                  <a:cs typeface="+mn-cs"/>
                </a:endParaRPr>
              </a:p>
            </p:txBody>
          </p:sp>
          <p:sp>
            <p:nvSpPr>
              <p:cNvPr id="261" name="Freeform 223"/>
              <p:cNvSpPr>
                <a:spLocks/>
              </p:cNvSpPr>
              <p:nvPr/>
            </p:nvSpPr>
            <p:spPr bwMode="auto">
              <a:xfrm>
                <a:off x="8764588" y="2738438"/>
                <a:ext cx="19050" cy="9525"/>
              </a:xfrm>
              <a:custGeom>
                <a:avLst/>
                <a:gdLst>
                  <a:gd name="T0" fmla="*/ 45 w 60"/>
                  <a:gd name="T1" fmla="*/ 0 h 30"/>
                  <a:gd name="T2" fmla="*/ 15 w 60"/>
                  <a:gd name="T3" fmla="*/ 0 h 30"/>
                  <a:gd name="T4" fmla="*/ 12 w 60"/>
                  <a:gd name="T5" fmla="*/ 0 h 30"/>
                  <a:gd name="T6" fmla="*/ 10 w 60"/>
                  <a:gd name="T7" fmla="*/ 1 h 30"/>
                  <a:gd name="T8" fmla="*/ 6 w 60"/>
                  <a:gd name="T9" fmla="*/ 3 h 30"/>
                  <a:gd name="T10" fmla="*/ 4 w 60"/>
                  <a:gd name="T11" fmla="*/ 5 h 30"/>
                  <a:gd name="T12" fmla="*/ 2 w 60"/>
                  <a:gd name="T13" fmla="*/ 7 h 30"/>
                  <a:gd name="T14" fmla="*/ 1 w 60"/>
                  <a:gd name="T15" fmla="*/ 9 h 30"/>
                  <a:gd name="T16" fmla="*/ 0 w 60"/>
                  <a:gd name="T17" fmla="*/ 12 h 30"/>
                  <a:gd name="T18" fmla="*/ 0 w 60"/>
                  <a:gd name="T19" fmla="*/ 15 h 30"/>
                  <a:gd name="T20" fmla="*/ 0 w 60"/>
                  <a:gd name="T21" fmla="*/ 19 h 30"/>
                  <a:gd name="T22" fmla="*/ 1 w 60"/>
                  <a:gd name="T23" fmla="*/ 21 h 30"/>
                  <a:gd name="T24" fmla="*/ 2 w 60"/>
                  <a:gd name="T25" fmla="*/ 24 h 30"/>
                  <a:gd name="T26" fmla="*/ 4 w 60"/>
                  <a:gd name="T27" fmla="*/ 26 h 30"/>
                  <a:gd name="T28" fmla="*/ 6 w 60"/>
                  <a:gd name="T29" fmla="*/ 27 h 30"/>
                  <a:gd name="T30" fmla="*/ 10 w 60"/>
                  <a:gd name="T31" fmla="*/ 29 h 30"/>
                  <a:gd name="T32" fmla="*/ 12 w 60"/>
                  <a:gd name="T33" fmla="*/ 30 h 30"/>
                  <a:gd name="T34" fmla="*/ 15 w 60"/>
                  <a:gd name="T35" fmla="*/ 30 h 30"/>
                  <a:gd name="T36" fmla="*/ 45 w 60"/>
                  <a:gd name="T37" fmla="*/ 30 h 30"/>
                  <a:gd name="T38" fmla="*/ 48 w 60"/>
                  <a:gd name="T39" fmla="*/ 30 h 30"/>
                  <a:gd name="T40" fmla="*/ 51 w 60"/>
                  <a:gd name="T41" fmla="*/ 29 h 30"/>
                  <a:gd name="T42" fmla="*/ 54 w 60"/>
                  <a:gd name="T43" fmla="*/ 27 h 30"/>
                  <a:gd name="T44" fmla="*/ 56 w 60"/>
                  <a:gd name="T45" fmla="*/ 26 h 30"/>
                  <a:gd name="T46" fmla="*/ 58 w 60"/>
                  <a:gd name="T47" fmla="*/ 24 h 30"/>
                  <a:gd name="T48" fmla="*/ 59 w 60"/>
                  <a:gd name="T49" fmla="*/ 21 h 30"/>
                  <a:gd name="T50" fmla="*/ 60 w 60"/>
                  <a:gd name="T51" fmla="*/ 19 h 30"/>
                  <a:gd name="T52" fmla="*/ 60 w 60"/>
                  <a:gd name="T53" fmla="*/ 15 h 30"/>
                  <a:gd name="T54" fmla="*/ 60 w 60"/>
                  <a:gd name="T55" fmla="*/ 12 h 30"/>
                  <a:gd name="T56" fmla="*/ 59 w 60"/>
                  <a:gd name="T57" fmla="*/ 9 h 30"/>
                  <a:gd name="T58" fmla="*/ 58 w 60"/>
                  <a:gd name="T59" fmla="*/ 7 h 30"/>
                  <a:gd name="T60" fmla="*/ 56 w 60"/>
                  <a:gd name="T61" fmla="*/ 5 h 30"/>
                  <a:gd name="T62" fmla="*/ 54 w 60"/>
                  <a:gd name="T63" fmla="*/ 3 h 30"/>
                  <a:gd name="T64" fmla="*/ 51 w 60"/>
                  <a:gd name="T65" fmla="*/ 1 h 30"/>
                  <a:gd name="T66" fmla="*/ 48 w 60"/>
                  <a:gd name="T67" fmla="*/ 0 h 30"/>
                  <a:gd name="T68" fmla="*/ 45 w 60"/>
                  <a:gd name="T69"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0" h="30">
                    <a:moveTo>
                      <a:pt x="45" y="0"/>
                    </a:moveTo>
                    <a:lnTo>
                      <a:pt x="15" y="0"/>
                    </a:lnTo>
                    <a:lnTo>
                      <a:pt x="12" y="0"/>
                    </a:lnTo>
                    <a:lnTo>
                      <a:pt x="10" y="1"/>
                    </a:lnTo>
                    <a:lnTo>
                      <a:pt x="6" y="3"/>
                    </a:lnTo>
                    <a:lnTo>
                      <a:pt x="4" y="5"/>
                    </a:lnTo>
                    <a:lnTo>
                      <a:pt x="2" y="7"/>
                    </a:lnTo>
                    <a:lnTo>
                      <a:pt x="1" y="9"/>
                    </a:lnTo>
                    <a:lnTo>
                      <a:pt x="0" y="12"/>
                    </a:lnTo>
                    <a:lnTo>
                      <a:pt x="0" y="15"/>
                    </a:lnTo>
                    <a:lnTo>
                      <a:pt x="0" y="19"/>
                    </a:lnTo>
                    <a:lnTo>
                      <a:pt x="1" y="21"/>
                    </a:lnTo>
                    <a:lnTo>
                      <a:pt x="2" y="24"/>
                    </a:lnTo>
                    <a:lnTo>
                      <a:pt x="4" y="26"/>
                    </a:lnTo>
                    <a:lnTo>
                      <a:pt x="6" y="27"/>
                    </a:lnTo>
                    <a:lnTo>
                      <a:pt x="10" y="29"/>
                    </a:lnTo>
                    <a:lnTo>
                      <a:pt x="12" y="30"/>
                    </a:lnTo>
                    <a:lnTo>
                      <a:pt x="15" y="30"/>
                    </a:lnTo>
                    <a:lnTo>
                      <a:pt x="45" y="30"/>
                    </a:lnTo>
                    <a:lnTo>
                      <a:pt x="48" y="30"/>
                    </a:lnTo>
                    <a:lnTo>
                      <a:pt x="51" y="29"/>
                    </a:lnTo>
                    <a:lnTo>
                      <a:pt x="54" y="27"/>
                    </a:lnTo>
                    <a:lnTo>
                      <a:pt x="56" y="26"/>
                    </a:lnTo>
                    <a:lnTo>
                      <a:pt x="58" y="24"/>
                    </a:lnTo>
                    <a:lnTo>
                      <a:pt x="59" y="21"/>
                    </a:lnTo>
                    <a:lnTo>
                      <a:pt x="60" y="19"/>
                    </a:lnTo>
                    <a:lnTo>
                      <a:pt x="60" y="15"/>
                    </a:lnTo>
                    <a:lnTo>
                      <a:pt x="60" y="12"/>
                    </a:lnTo>
                    <a:lnTo>
                      <a:pt x="59" y="9"/>
                    </a:lnTo>
                    <a:lnTo>
                      <a:pt x="58" y="7"/>
                    </a:lnTo>
                    <a:lnTo>
                      <a:pt x="56" y="5"/>
                    </a:lnTo>
                    <a:lnTo>
                      <a:pt x="54" y="3"/>
                    </a:lnTo>
                    <a:lnTo>
                      <a:pt x="51" y="1"/>
                    </a:lnTo>
                    <a:lnTo>
                      <a:pt x="48" y="0"/>
                    </a:lnTo>
                    <a:lnTo>
                      <a:pt x="4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ea typeface="+mn-ea"/>
                  <a:cs typeface="+mn-cs"/>
                </a:endParaRPr>
              </a:p>
            </p:txBody>
          </p:sp>
          <p:sp>
            <p:nvSpPr>
              <p:cNvPr id="262" name="Freeform 224"/>
              <p:cNvSpPr>
                <a:spLocks noEditPoints="1"/>
              </p:cNvSpPr>
              <p:nvPr/>
            </p:nvSpPr>
            <p:spPr bwMode="auto">
              <a:xfrm>
                <a:off x="8740775" y="2536825"/>
                <a:ext cx="115888" cy="114300"/>
              </a:xfrm>
              <a:custGeom>
                <a:avLst/>
                <a:gdLst>
                  <a:gd name="T0" fmla="*/ 211 w 361"/>
                  <a:gd name="T1" fmla="*/ 34 h 361"/>
                  <a:gd name="T2" fmla="*/ 252 w 361"/>
                  <a:gd name="T3" fmla="*/ 49 h 361"/>
                  <a:gd name="T4" fmla="*/ 286 w 361"/>
                  <a:gd name="T5" fmla="*/ 75 h 361"/>
                  <a:gd name="T6" fmla="*/ 313 w 361"/>
                  <a:gd name="T7" fmla="*/ 110 h 361"/>
                  <a:gd name="T8" fmla="*/ 328 w 361"/>
                  <a:gd name="T9" fmla="*/ 151 h 361"/>
                  <a:gd name="T10" fmla="*/ 330 w 361"/>
                  <a:gd name="T11" fmla="*/ 196 h 361"/>
                  <a:gd name="T12" fmla="*/ 319 w 361"/>
                  <a:gd name="T13" fmla="*/ 239 h 361"/>
                  <a:gd name="T14" fmla="*/ 297 w 361"/>
                  <a:gd name="T15" fmla="*/ 277 h 361"/>
                  <a:gd name="T16" fmla="*/ 265 w 361"/>
                  <a:gd name="T17" fmla="*/ 306 h 361"/>
                  <a:gd name="T18" fmla="*/ 225 w 361"/>
                  <a:gd name="T19" fmla="*/ 325 h 361"/>
                  <a:gd name="T20" fmla="*/ 180 w 361"/>
                  <a:gd name="T21" fmla="*/ 331 h 361"/>
                  <a:gd name="T22" fmla="*/ 136 w 361"/>
                  <a:gd name="T23" fmla="*/ 325 h 361"/>
                  <a:gd name="T24" fmla="*/ 96 w 361"/>
                  <a:gd name="T25" fmla="*/ 306 h 361"/>
                  <a:gd name="T26" fmla="*/ 64 w 361"/>
                  <a:gd name="T27" fmla="*/ 277 h 361"/>
                  <a:gd name="T28" fmla="*/ 42 w 361"/>
                  <a:gd name="T29" fmla="*/ 239 h 361"/>
                  <a:gd name="T30" fmla="*/ 31 w 361"/>
                  <a:gd name="T31" fmla="*/ 196 h 361"/>
                  <a:gd name="T32" fmla="*/ 33 w 361"/>
                  <a:gd name="T33" fmla="*/ 151 h 361"/>
                  <a:gd name="T34" fmla="*/ 48 w 361"/>
                  <a:gd name="T35" fmla="*/ 110 h 361"/>
                  <a:gd name="T36" fmla="*/ 74 w 361"/>
                  <a:gd name="T37" fmla="*/ 75 h 361"/>
                  <a:gd name="T38" fmla="*/ 108 w 361"/>
                  <a:gd name="T39" fmla="*/ 49 h 361"/>
                  <a:gd name="T40" fmla="*/ 150 w 361"/>
                  <a:gd name="T41" fmla="*/ 34 h 361"/>
                  <a:gd name="T42" fmla="*/ 180 w 361"/>
                  <a:gd name="T43" fmla="*/ 30 h 361"/>
                  <a:gd name="T44" fmla="*/ 216 w 361"/>
                  <a:gd name="T45" fmla="*/ 358 h 361"/>
                  <a:gd name="T46" fmla="*/ 267 w 361"/>
                  <a:gd name="T47" fmla="*/ 340 h 361"/>
                  <a:gd name="T48" fmla="*/ 307 w 361"/>
                  <a:gd name="T49" fmla="*/ 309 h 361"/>
                  <a:gd name="T50" fmla="*/ 339 w 361"/>
                  <a:gd name="T51" fmla="*/ 267 h 361"/>
                  <a:gd name="T52" fmla="*/ 357 w 361"/>
                  <a:gd name="T53" fmla="*/ 218 h 361"/>
                  <a:gd name="T54" fmla="*/ 360 w 361"/>
                  <a:gd name="T55" fmla="*/ 163 h 361"/>
                  <a:gd name="T56" fmla="*/ 346 w 361"/>
                  <a:gd name="T57" fmla="*/ 111 h 361"/>
                  <a:gd name="T58" fmla="*/ 319 w 361"/>
                  <a:gd name="T59" fmla="*/ 67 h 361"/>
                  <a:gd name="T60" fmla="*/ 281 w 361"/>
                  <a:gd name="T61" fmla="*/ 31 h 361"/>
                  <a:gd name="T62" fmla="*/ 234 w 361"/>
                  <a:gd name="T63" fmla="*/ 9 h 361"/>
                  <a:gd name="T64" fmla="*/ 180 w 361"/>
                  <a:gd name="T65" fmla="*/ 0 h 361"/>
                  <a:gd name="T66" fmla="*/ 126 w 361"/>
                  <a:gd name="T67" fmla="*/ 9 h 361"/>
                  <a:gd name="T68" fmla="*/ 79 w 361"/>
                  <a:gd name="T69" fmla="*/ 31 h 361"/>
                  <a:gd name="T70" fmla="*/ 41 w 361"/>
                  <a:gd name="T71" fmla="*/ 67 h 361"/>
                  <a:gd name="T72" fmla="*/ 14 w 361"/>
                  <a:gd name="T73" fmla="*/ 111 h 361"/>
                  <a:gd name="T74" fmla="*/ 1 w 361"/>
                  <a:gd name="T75" fmla="*/ 163 h 361"/>
                  <a:gd name="T76" fmla="*/ 3 w 361"/>
                  <a:gd name="T77" fmla="*/ 218 h 361"/>
                  <a:gd name="T78" fmla="*/ 21 w 361"/>
                  <a:gd name="T79" fmla="*/ 267 h 361"/>
                  <a:gd name="T80" fmla="*/ 53 w 361"/>
                  <a:gd name="T81" fmla="*/ 309 h 361"/>
                  <a:gd name="T82" fmla="*/ 94 w 361"/>
                  <a:gd name="T83" fmla="*/ 340 h 361"/>
                  <a:gd name="T84" fmla="*/ 144 w 361"/>
                  <a:gd name="T85" fmla="*/ 358 h 3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61" h="361">
                    <a:moveTo>
                      <a:pt x="180" y="30"/>
                    </a:moveTo>
                    <a:lnTo>
                      <a:pt x="196" y="31"/>
                    </a:lnTo>
                    <a:lnTo>
                      <a:pt x="211" y="34"/>
                    </a:lnTo>
                    <a:lnTo>
                      <a:pt x="225" y="38"/>
                    </a:lnTo>
                    <a:lnTo>
                      <a:pt x="239" y="42"/>
                    </a:lnTo>
                    <a:lnTo>
                      <a:pt x="252" y="49"/>
                    </a:lnTo>
                    <a:lnTo>
                      <a:pt x="265" y="56"/>
                    </a:lnTo>
                    <a:lnTo>
                      <a:pt x="276" y="65"/>
                    </a:lnTo>
                    <a:lnTo>
                      <a:pt x="286" y="75"/>
                    </a:lnTo>
                    <a:lnTo>
                      <a:pt x="297" y="85"/>
                    </a:lnTo>
                    <a:lnTo>
                      <a:pt x="305" y="97"/>
                    </a:lnTo>
                    <a:lnTo>
                      <a:pt x="313" y="110"/>
                    </a:lnTo>
                    <a:lnTo>
                      <a:pt x="319" y="122"/>
                    </a:lnTo>
                    <a:lnTo>
                      <a:pt x="324" y="136"/>
                    </a:lnTo>
                    <a:lnTo>
                      <a:pt x="328" y="151"/>
                    </a:lnTo>
                    <a:lnTo>
                      <a:pt x="330" y="165"/>
                    </a:lnTo>
                    <a:lnTo>
                      <a:pt x="331" y="181"/>
                    </a:lnTo>
                    <a:lnTo>
                      <a:pt x="330" y="196"/>
                    </a:lnTo>
                    <a:lnTo>
                      <a:pt x="328" y="211"/>
                    </a:lnTo>
                    <a:lnTo>
                      <a:pt x="324" y="225"/>
                    </a:lnTo>
                    <a:lnTo>
                      <a:pt x="319" y="239"/>
                    </a:lnTo>
                    <a:lnTo>
                      <a:pt x="313" y="253"/>
                    </a:lnTo>
                    <a:lnTo>
                      <a:pt x="305" y="265"/>
                    </a:lnTo>
                    <a:lnTo>
                      <a:pt x="297" y="277"/>
                    </a:lnTo>
                    <a:lnTo>
                      <a:pt x="286" y="287"/>
                    </a:lnTo>
                    <a:lnTo>
                      <a:pt x="276" y="297"/>
                    </a:lnTo>
                    <a:lnTo>
                      <a:pt x="265" y="306"/>
                    </a:lnTo>
                    <a:lnTo>
                      <a:pt x="252" y="313"/>
                    </a:lnTo>
                    <a:lnTo>
                      <a:pt x="239" y="320"/>
                    </a:lnTo>
                    <a:lnTo>
                      <a:pt x="225" y="325"/>
                    </a:lnTo>
                    <a:lnTo>
                      <a:pt x="211" y="328"/>
                    </a:lnTo>
                    <a:lnTo>
                      <a:pt x="196" y="330"/>
                    </a:lnTo>
                    <a:lnTo>
                      <a:pt x="180" y="331"/>
                    </a:lnTo>
                    <a:lnTo>
                      <a:pt x="165" y="330"/>
                    </a:lnTo>
                    <a:lnTo>
                      <a:pt x="150" y="328"/>
                    </a:lnTo>
                    <a:lnTo>
                      <a:pt x="136" y="325"/>
                    </a:lnTo>
                    <a:lnTo>
                      <a:pt x="122" y="320"/>
                    </a:lnTo>
                    <a:lnTo>
                      <a:pt x="108" y="313"/>
                    </a:lnTo>
                    <a:lnTo>
                      <a:pt x="96" y="306"/>
                    </a:lnTo>
                    <a:lnTo>
                      <a:pt x="85" y="297"/>
                    </a:lnTo>
                    <a:lnTo>
                      <a:pt x="74" y="287"/>
                    </a:lnTo>
                    <a:lnTo>
                      <a:pt x="64" y="277"/>
                    </a:lnTo>
                    <a:lnTo>
                      <a:pt x="56" y="265"/>
                    </a:lnTo>
                    <a:lnTo>
                      <a:pt x="48" y="253"/>
                    </a:lnTo>
                    <a:lnTo>
                      <a:pt x="42" y="239"/>
                    </a:lnTo>
                    <a:lnTo>
                      <a:pt x="36" y="225"/>
                    </a:lnTo>
                    <a:lnTo>
                      <a:pt x="33" y="211"/>
                    </a:lnTo>
                    <a:lnTo>
                      <a:pt x="31" y="196"/>
                    </a:lnTo>
                    <a:lnTo>
                      <a:pt x="30" y="181"/>
                    </a:lnTo>
                    <a:lnTo>
                      <a:pt x="31" y="165"/>
                    </a:lnTo>
                    <a:lnTo>
                      <a:pt x="33" y="151"/>
                    </a:lnTo>
                    <a:lnTo>
                      <a:pt x="36" y="136"/>
                    </a:lnTo>
                    <a:lnTo>
                      <a:pt x="42" y="122"/>
                    </a:lnTo>
                    <a:lnTo>
                      <a:pt x="48" y="110"/>
                    </a:lnTo>
                    <a:lnTo>
                      <a:pt x="56" y="97"/>
                    </a:lnTo>
                    <a:lnTo>
                      <a:pt x="64" y="86"/>
                    </a:lnTo>
                    <a:lnTo>
                      <a:pt x="74" y="75"/>
                    </a:lnTo>
                    <a:lnTo>
                      <a:pt x="85" y="65"/>
                    </a:lnTo>
                    <a:lnTo>
                      <a:pt x="96" y="56"/>
                    </a:lnTo>
                    <a:lnTo>
                      <a:pt x="108" y="49"/>
                    </a:lnTo>
                    <a:lnTo>
                      <a:pt x="122" y="42"/>
                    </a:lnTo>
                    <a:lnTo>
                      <a:pt x="136" y="38"/>
                    </a:lnTo>
                    <a:lnTo>
                      <a:pt x="150" y="34"/>
                    </a:lnTo>
                    <a:lnTo>
                      <a:pt x="165" y="31"/>
                    </a:lnTo>
                    <a:lnTo>
                      <a:pt x="180" y="30"/>
                    </a:lnTo>
                    <a:lnTo>
                      <a:pt x="180" y="30"/>
                    </a:lnTo>
                    <a:close/>
                    <a:moveTo>
                      <a:pt x="180" y="361"/>
                    </a:moveTo>
                    <a:lnTo>
                      <a:pt x="199" y="360"/>
                    </a:lnTo>
                    <a:lnTo>
                      <a:pt x="216" y="358"/>
                    </a:lnTo>
                    <a:lnTo>
                      <a:pt x="234" y="354"/>
                    </a:lnTo>
                    <a:lnTo>
                      <a:pt x="251" y="347"/>
                    </a:lnTo>
                    <a:lnTo>
                      <a:pt x="267" y="340"/>
                    </a:lnTo>
                    <a:lnTo>
                      <a:pt x="281" y="330"/>
                    </a:lnTo>
                    <a:lnTo>
                      <a:pt x="295" y="321"/>
                    </a:lnTo>
                    <a:lnTo>
                      <a:pt x="307" y="309"/>
                    </a:lnTo>
                    <a:lnTo>
                      <a:pt x="319" y="296"/>
                    </a:lnTo>
                    <a:lnTo>
                      <a:pt x="330" y="282"/>
                    </a:lnTo>
                    <a:lnTo>
                      <a:pt x="339" y="267"/>
                    </a:lnTo>
                    <a:lnTo>
                      <a:pt x="346" y="251"/>
                    </a:lnTo>
                    <a:lnTo>
                      <a:pt x="352" y="235"/>
                    </a:lnTo>
                    <a:lnTo>
                      <a:pt x="357" y="218"/>
                    </a:lnTo>
                    <a:lnTo>
                      <a:pt x="360" y="200"/>
                    </a:lnTo>
                    <a:lnTo>
                      <a:pt x="361" y="181"/>
                    </a:lnTo>
                    <a:lnTo>
                      <a:pt x="360" y="163"/>
                    </a:lnTo>
                    <a:lnTo>
                      <a:pt x="357" y="145"/>
                    </a:lnTo>
                    <a:lnTo>
                      <a:pt x="352" y="128"/>
                    </a:lnTo>
                    <a:lnTo>
                      <a:pt x="346" y="111"/>
                    </a:lnTo>
                    <a:lnTo>
                      <a:pt x="339" y="96"/>
                    </a:lnTo>
                    <a:lnTo>
                      <a:pt x="330" y="81"/>
                    </a:lnTo>
                    <a:lnTo>
                      <a:pt x="319" y="67"/>
                    </a:lnTo>
                    <a:lnTo>
                      <a:pt x="307" y="54"/>
                    </a:lnTo>
                    <a:lnTo>
                      <a:pt x="295" y="42"/>
                    </a:lnTo>
                    <a:lnTo>
                      <a:pt x="281" y="31"/>
                    </a:lnTo>
                    <a:lnTo>
                      <a:pt x="267" y="23"/>
                    </a:lnTo>
                    <a:lnTo>
                      <a:pt x="251" y="15"/>
                    </a:lnTo>
                    <a:lnTo>
                      <a:pt x="234" y="9"/>
                    </a:lnTo>
                    <a:lnTo>
                      <a:pt x="216" y="5"/>
                    </a:lnTo>
                    <a:lnTo>
                      <a:pt x="199" y="1"/>
                    </a:lnTo>
                    <a:lnTo>
                      <a:pt x="180" y="0"/>
                    </a:lnTo>
                    <a:lnTo>
                      <a:pt x="162" y="1"/>
                    </a:lnTo>
                    <a:lnTo>
                      <a:pt x="144" y="5"/>
                    </a:lnTo>
                    <a:lnTo>
                      <a:pt x="126" y="9"/>
                    </a:lnTo>
                    <a:lnTo>
                      <a:pt x="110" y="15"/>
                    </a:lnTo>
                    <a:lnTo>
                      <a:pt x="94" y="23"/>
                    </a:lnTo>
                    <a:lnTo>
                      <a:pt x="79" y="31"/>
                    </a:lnTo>
                    <a:lnTo>
                      <a:pt x="65" y="42"/>
                    </a:lnTo>
                    <a:lnTo>
                      <a:pt x="53" y="54"/>
                    </a:lnTo>
                    <a:lnTo>
                      <a:pt x="41" y="67"/>
                    </a:lnTo>
                    <a:lnTo>
                      <a:pt x="31" y="81"/>
                    </a:lnTo>
                    <a:lnTo>
                      <a:pt x="21" y="96"/>
                    </a:lnTo>
                    <a:lnTo>
                      <a:pt x="14" y="111"/>
                    </a:lnTo>
                    <a:lnTo>
                      <a:pt x="8" y="128"/>
                    </a:lnTo>
                    <a:lnTo>
                      <a:pt x="3" y="145"/>
                    </a:lnTo>
                    <a:lnTo>
                      <a:pt x="1" y="163"/>
                    </a:lnTo>
                    <a:lnTo>
                      <a:pt x="0" y="181"/>
                    </a:lnTo>
                    <a:lnTo>
                      <a:pt x="1" y="200"/>
                    </a:lnTo>
                    <a:lnTo>
                      <a:pt x="3" y="218"/>
                    </a:lnTo>
                    <a:lnTo>
                      <a:pt x="8" y="235"/>
                    </a:lnTo>
                    <a:lnTo>
                      <a:pt x="14" y="251"/>
                    </a:lnTo>
                    <a:lnTo>
                      <a:pt x="21" y="267"/>
                    </a:lnTo>
                    <a:lnTo>
                      <a:pt x="31" y="282"/>
                    </a:lnTo>
                    <a:lnTo>
                      <a:pt x="41" y="296"/>
                    </a:lnTo>
                    <a:lnTo>
                      <a:pt x="53" y="309"/>
                    </a:lnTo>
                    <a:lnTo>
                      <a:pt x="65" y="321"/>
                    </a:lnTo>
                    <a:lnTo>
                      <a:pt x="79" y="330"/>
                    </a:lnTo>
                    <a:lnTo>
                      <a:pt x="94" y="340"/>
                    </a:lnTo>
                    <a:lnTo>
                      <a:pt x="110" y="347"/>
                    </a:lnTo>
                    <a:lnTo>
                      <a:pt x="126" y="354"/>
                    </a:lnTo>
                    <a:lnTo>
                      <a:pt x="144" y="358"/>
                    </a:lnTo>
                    <a:lnTo>
                      <a:pt x="162" y="360"/>
                    </a:lnTo>
                    <a:lnTo>
                      <a:pt x="180" y="3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ea typeface="+mn-ea"/>
                  <a:cs typeface="+mn-cs"/>
                </a:endParaRPr>
              </a:p>
            </p:txBody>
          </p:sp>
        </p:grpSp>
      </p:grpSp>
    </p:spTree>
    <p:extLst>
      <p:ext uri="{BB962C8B-B14F-4D97-AF65-F5344CB8AC3E}">
        <p14:creationId xmlns:p14="http://schemas.microsoft.com/office/powerpoint/2010/main" val="2904132138"/>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3" name="Rectangle 102"/>
          <p:cNvSpPr/>
          <p:nvPr/>
        </p:nvSpPr>
        <p:spPr>
          <a:xfrm>
            <a:off x="12344400" y="0"/>
            <a:ext cx="469900" cy="469900"/>
          </a:xfrm>
          <a:prstGeom prst="rect">
            <a:avLst/>
          </a:prstGeom>
          <a:solidFill>
            <a:srgbClr val="E7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4" name="Rectangle 103"/>
          <p:cNvSpPr/>
          <p:nvPr/>
        </p:nvSpPr>
        <p:spPr>
          <a:xfrm>
            <a:off x="12344400" y="649557"/>
            <a:ext cx="469900" cy="469900"/>
          </a:xfrm>
          <a:prstGeom prst="rect">
            <a:avLst/>
          </a:prstGeom>
          <a:solidFill>
            <a:srgbClr val="AFABA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5" name="Rectangle 104"/>
          <p:cNvSpPr/>
          <p:nvPr/>
        </p:nvSpPr>
        <p:spPr>
          <a:xfrm>
            <a:off x="12344400" y="1299114"/>
            <a:ext cx="469900" cy="469900"/>
          </a:xfrm>
          <a:prstGeom prst="rect">
            <a:avLst/>
          </a:prstGeom>
          <a:solidFill>
            <a:srgbClr val="76717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7" name="Rectangle 106"/>
          <p:cNvSpPr/>
          <p:nvPr/>
        </p:nvSpPr>
        <p:spPr>
          <a:xfrm>
            <a:off x="12966699" y="0"/>
            <a:ext cx="469900" cy="469900"/>
          </a:xfrm>
          <a:prstGeom prst="rect">
            <a:avLst/>
          </a:prstGeom>
          <a:solidFill>
            <a:srgbClr val="E8786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8" name="Rectangle 107"/>
          <p:cNvSpPr/>
          <p:nvPr/>
        </p:nvSpPr>
        <p:spPr>
          <a:xfrm>
            <a:off x="12966699" y="649557"/>
            <a:ext cx="469900" cy="469900"/>
          </a:xfrm>
          <a:prstGeom prst="rect">
            <a:avLst/>
          </a:prstGeom>
          <a:solidFill>
            <a:srgbClr val="E258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9" name="Rectangle 108"/>
          <p:cNvSpPr/>
          <p:nvPr/>
        </p:nvSpPr>
        <p:spPr>
          <a:xfrm>
            <a:off x="12966699" y="1299114"/>
            <a:ext cx="469900" cy="469900"/>
          </a:xfrm>
          <a:prstGeom prst="rect">
            <a:avLst/>
          </a:prstGeom>
          <a:solidFill>
            <a:srgbClr val="D63E2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0" name="Rectangle 109"/>
          <p:cNvSpPr/>
          <p:nvPr/>
        </p:nvSpPr>
        <p:spPr>
          <a:xfrm>
            <a:off x="13588998" y="0"/>
            <a:ext cx="469900" cy="469900"/>
          </a:xfrm>
          <a:prstGeom prst="rect">
            <a:avLst/>
          </a:prstGeom>
          <a:solidFill>
            <a:srgbClr val="8EDCD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1" name="Rectangle 110"/>
          <p:cNvSpPr/>
          <p:nvPr/>
        </p:nvSpPr>
        <p:spPr>
          <a:xfrm>
            <a:off x="13588998" y="649557"/>
            <a:ext cx="469900" cy="469900"/>
          </a:xfrm>
          <a:prstGeom prst="rect">
            <a:avLst/>
          </a:prstGeom>
          <a:solidFill>
            <a:srgbClr val="78D2D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2" name="Rectangle 111"/>
          <p:cNvSpPr/>
          <p:nvPr/>
        </p:nvSpPr>
        <p:spPr>
          <a:xfrm>
            <a:off x="13588998" y="1299114"/>
            <a:ext cx="469900" cy="469900"/>
          </a:xfrm>
          <a:prstGeom prst="rect">
            <a:avLst/>
          </a:prstGeom>
          <a:solidFill>
            <a:srgbClr val="4CC7C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3" name="Rectangle 112"/>
          <p:cNvSpPr/>
          <p:nvPr/>
        </p:nvSpPr>
        <p:spPr>
          <a:xfrm>
            <a:off x="14211297" y="0"/>
            <a:ext cx="469900" cy="469900"/>
          </a:xfrm>
          <a:prstGeom prst="rect">
            <a:avLst/>
          </a:prstGeom>
          <a:solidFill>
            <a:srgbClr val="55535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4" name="Rectangle 113"/>
          <p:cNvSpPr/>
          <p:nvPr/>
        </p:nvSpPr>
        <p:spPr>
          <a:xfrm>
            <a:off x="14211297" y="649557"/>
            <a:ext cx="469900" cy="469900"/>
          </a:xfrm>
          <a:prstGeom prst="rect">
            <a:avLst/>
          </a:prstGeom>
          <a:solidFill>
            <a:srgbClr val="3B393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5" name="Rectangle 114"/>
          <p:cNvSpPr/>
          <p:nvPr/>
        </p:nvSpPr>
        <p:spPr>
          <a:xfrm>
            <a:off x="14211297" y="1299114"/>
            <a:ext cx="469900" cy="469900"/>
          </a:xfrm>
          <a:prstGeom prst="rect">
            <a:avLst/>
          </a:prstGeom>
          <a:solidFill>
            <a:srgbClr val="25232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ext Placeholder 1"/>
          <p:cNvSpPr>
            <a:spLocks noGrp="1"/>
          </p:cNvSpPr>
          <p:nvPr>
            <p:ph type="body" sz="quarter" idx="14"/>
          </p:nvPr>
        </p:nvSpPr>
        <p:spPr/>
        <p:txBody>
          <a:bodyPr/>
          <a:lstStyle/>
          <a:p>
            <a:r>
              <a:rPr lang="en-US" dirty="0"/>
              <a:t>Lorem Ipsum is simply dummy text of the printing and typesetting industry. Lorem Ipsum has been the industry's standard dummy text ever since the 1500s, when an unknown printer took a galley of type and scrambled it to make a type specimen book. </a:t>
            </a:r>
          </a:p>
        </p:txBody>
      </p:sp>
      <p:sp>
        <p:nvSpPr>
          <p:cNvPr id="120" name="Text Placeholder 119"/>
          <p:cNvSpPr>
            <a:spLocks noGrp="1"/>
          </p:cNvSpPr>
          <p:nvPr>
            <p:ph type="body" sz="quarter" idx="13"/>
          </p:nvPr>
        </p:nvSpPr>
        <p:spPr/>
        <p:txBody>
          <a:bodyPr/>
          <a:lstStyle/>
          <a:p>
            <a:r>
              <a:rPr lang="en-US" sz="3200" dirty="0"/>
              <a:t>PowerPoint Presentation</a:t>
            </a:r>
          </a:p>
        </p:txBody>
      </p:sp>
      <p:sp>
        <p:nvSpPr>
          <p:cNvPr id="116" name="Date Placeholder 115"/>
          <p:cNvSpPr>
            <a:spLocks noGrp="1"/>
          </p:cNvSpPr>
          <p:nvPr>
            <p:ph type="dt" sz="half" idx="10"/>
          </p:nvPr>
        </p:nvSpPr>
        <p:spPr/>
        <p:txBody>
          <a:bodyPr/>
          <a:lstStyle/>
          <a:p>
            <a:fld id="{56E1B330-CB56-448E-9C70-830A2B9C05C8}" type="datetime1">
              <a:rPr lang="en-US" smtClean="0"/>
              <a:t>10/28/2022</a:t>
            </a:fld>
            <a:endParaRPr lang="en-US"/>
          </a:p>
        </p:txBody>
      </p:sp>
      <p:sp>
        <p:nvSpPr>
          <p:cNvPr id="117" name="Slide Number Placeholder 116"/>
          <p:cNvSpPr>
            <a:spLocks noGrp="1"/>
          </p:cNvSpPr>
          <p:nvPr>
            <p:ph type="sldNum" sz="quarter" idx="12"/>
          </p:nvPr>
        </p:nvSpPr>
        <p:spPr/>
        <p:txBody>
          <a:bodyPr/>
          <a:lstStyle/>
          <a:p>
            <a:fld id="{03206E70-9524-410D-AE9B-78D656EAA14D}" type="slidenum">
              <a:rPr lang="en-US" smtClean="0"/>
              <a:pPr/>
              <a:t>28</a:t>
            </a:fld>
            <a:endParaRPr lang="en-US"/>
          </a:p>
        </p:txBody>
      </p:sp>
      <p:grpSp>
        <p:nvGrpSpPr>
          <p:cNvPr id="182" name="Group 181"/>
          <p:cNvGrpSpPr/>
          <p:nvPr/>
        </p:nvGrpSpPr>
        <p:grpSpPr>
          <a:xfrm>
            <a:off x="1864201" y="3613488"/>
            <a:ext cx="6998245" cy="1354172"/>
            <a:chOff x="993263" y="2439816"/>
            <a:chExt cx="5918650" cy="1145269"/>
          </a:xfrm>
        </p:grpSpPr>
        <p:grpSp>
          <p:nvGrpSpPr>
            <p:cNvPr id="183" name="Group 182"/>
            <p:cNvGrpSpPr/>
            <p:nvPr/>
          </p:nvGrpSpPr>
          <p:grpSpPr>
            <a:xfrm>
              <a:off x="993263" y="2439816"/>
              <a:ext cx="989184" cy="1145269"/>
              <a:chOff x="993263" y="2439816"/>
              <a:chExt cx="989184" cy="1145269"/>
            </a:xfrm>
          </p:grpSpPr>
          <p:sp>
            <p:nvSpPr>
              <p:cNvPr id="192" name="Freeform 5"/>
              <p:cNvSpPr>
                <a:spLocks/>
              </p:cNvSpPr>
              <p:nvPr/>
            </p:nvSpPr>
            <p:spPr bwMode="auto">
              <a:xfrm>
                <a:off x="993263" y="2439816"/>
                <a:ext cx="989184" cy="989184"/>
              </a:xfrm>
              <a:custGeom>
                <a:avLst/>
                <a:gdLst>
                  <a:gd name="T0" fmla="*/ 912 w 1620"/>
                  <a:gd name="T1" fmla="*/ 1564 h 1620"/>
                  <a:gd name="T2" fmla="*/ 708 w 1620"/>
                  <a:gd name="T3" fmla="*/ 1564 h 1620"/>
                  <a:gd name="T4" fmla="*/ 56 w 1620"/>
                  <a:gd name="T5" fmla="*/ 912 h 1620"/>
                  <a:gd name="T6" fmla="*/ 56 w 1620"/>
                  <a:gd name="T7" fmla="*/ 708 h 1620"/>
                  <a:gd name="T8" fmla="*/ 708 w 1620"/>
                  <a:gd name="T9" fmla="*/ 56 h 1620"/>
                  <a:gd name="T10" fmla="*/ 912 w 1620"/>
                  <a:gd name="T11" fmla="*/ 56 h 1620"/>
                  <a:gd name="T12" fmla="*/ 1564 w 1620"/>
                  <a:gd name="T13" fmla="*/ 708 h 1620"/>
                  <a:gd name="T14" fmla="*/ 1564 w 1620"/>
                  <a:gd name="T15" fmla="*/ 912 h 1620"/>
                  <a:gd name="T16" fmla="*/ 912 w 1620"/>
                  <a:gd name="T17" fmla="*/ 1564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20" h="1620">
                    <a:moveTo>
                      <a:pt x="912" y="1564"/>
                    </a:moveTo>
                    <a:cubicBezTo>
                      <a:pt x="856" y="1620"/>
                      <a:pt x="764" y="1620"/>
                      <a:pt x="708" y="1564"/>
                    </a:cubicBezTo>
                    <a:cubicBezTo>
                      <a:pt x="56" y="912"/>
                      <a:pt x="56" y="912"/>
                      <a:pt x="56" y="912"/>
                    </a:cubicBezTo>
                    <a:cubicBezTo>
                      <a:pt x="0" y="856"/>
                      <a:pt x="0" y="764"/>
                      <a:pt x="56" y="708"/>
                    </a:cubicBezTo>
                    <a:cubicBezTo>
                      <a:pt x="708" y="56"/>
                      <a:pt x="708" y="56"/>
                      <a:pt x="708" y="56"/>
                    </a:cubicBezTo>
                    <a:cubicBezTo>
                      <a:pt x="764" y="0"/>
                      <a:pt x="856" y="0"/>
                      <a:pt x="912" y="56"/>
                    </a:cubicBezTo>
                    <a:cubicBezTo>
                      <a:pt x="1564" y="708"/>
                      <a:pt x="1564" y="708"/>
                      <a:pt x="1564" y="708"/>
                    </a:cubicBezTo>
                    <a:cubicBezTo>
                      <a:pt x="1620" y="764"/>
                      <a:pt x="1620" y="856"/>
                      <a:pt x="1564" y="912"/>
                    </a:cubicBezTo>
                    <a:lnTo>
                      <a:pt x="912" y="1564"/>
                    </a:lnTo>
                    <a:close/>
                  </a:path>
                </a:pathLst>
              </a:custGeom>
              <a:solidFill>
                <a:schemeClr val="bg1"/>
              </a:solidFill>
              <a:ln w="57150">
                <a:noFill/>
              </a:ln>
              <a:effectLst>
                <a:innerShdw blurRad="139700" dist="50800" dir="16200000">
                  <a:schemeClr val="tx1">
                    <a:alpha val="20000"/>
                  </a:scheme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tx1"/>
                  </a:solidFill>
                  <a:effectLst/>
                  <a:uLnTx/>
                  <a:uFillTx/>
                  <a:ea typeface="+mn-ea"/>
                  <a:cs typeface="+mn-cs"/>
                </a:endParaRPr>
              </a:p>
            </p:txBody>
          </p:sp>
          <p:cxnSp>
            <p:nvCxnSpPr>
              <p:cNvPr id="193" name="Straight Connector 192"/>
              <p:cNvCxnSpPr/>
              <p:nvPr/>
            </p:nvCxnSpPr>
            <p:spPr>
              <a:xfrm>
                <a:off x="1243012" y="3345565"/>
                <a:ext cx="249605" cy="239520"/>
              </a:xfrm>
              <a:prstGeom prst="line">
                <a:avLst/>
              </a:prstGeom>
              <a:ln w="12700" cap="rnd">
                <a:solidFill>
                  <a:schemeClr val="bg1"/>
                </a:solidFill>
                <a:prstDash val="dash"/>
                <a:round/>
              </a:ln>
            </p:spPr>
            <p:style>
              <a:lnRef idx="1">
                <a:schemeClr val="accent1"/>
              </a:lnRef>
              <a:fillRef idx="0">
                <a:schemeClr val="accent1"/>
              </a:fillRef>
              <a:effectRef idx="0">
                <a:schemeClr val="accent1"/>
              </a:effectRef>
              <a:fontRef idx="minor">
                <a:schemeClr val="tx1"/>
              </a:fontRef>
            </p:style>
          </p:cxnSp>
          <p:cxnSp>
            <p:nvCxnSpPr>
              <p:cNvPr id="194" name="Straight Connector 193"/>
              <p:cNvCxnSpPr/>
              <p:nvPr/>
            </p:nvCxnSpPr>
            <p:spPr>
              <a:xfrm flipH="1">
                <a:off x="1480783" y="3345565"/>
                <a:ext cx="249605" cy="239520"/>
              </a:xfrm>
              <a:prstGeom prst="line">
                <a:avLst/>
              </a:prstGeom>
              <a:ln w="12700" cap="rnd">
                <a:solidFill>
                  <a:schemeClr val="bg1"/>
                </a:solidFill>
                <a:prstDash val="dash"/>
                <a:round/>
              </a:ln>
            </p:spPr>
            <p:style>
              <a:lnRef idx="1">
                <a:schemeClr val="accent1"/>
              </a:lnRef>
              <a:fillRef idx="0">
                <a:schemeClr val="accent1"/>
              </a:fillRef>
              <a:effectRef idx="0">
                <a:schemeClr val="accent1"/>
              </a:effectRef>
              <a:fontRef idx="minor">
                <a:schemeClr val="tx1"/>
              </a:fontRef>
            </p:style>
          </p:cxnSp>
        </p:grpSp>
        <p:grpSp>
          <p:nvGrpSpPr>
            <p:cNvPr id="184" name="Group 183"/>
            <p:cNvGrpSpPr/>
            <p:nvPr/>
          </p:nvGrpSpPr>
          <p:grpSpPr>
            <a:xfrm>
              <a:off x="3461556" y="2439816"/>
              <a:ext cx="989184" cy="1145269"/>
              <a:chOff x="993263" y="2439816"/>
              <a:chExt cx="989184" cy="1145269"/>
            </a:xfrm>
          </p:grpSpPr>
          <p:sp>
            <p:nvSpPr>
              <p:cNvPr id="189" name="Freeform 5"/>
              <p:cNvSpPr>
                <a:spLocks/>
              </p:cNvSpPr>
              <p:nvPr/>
            </p:nvSpPr>
            <p:spPr bwMode="auto">
              <a:xfrm>
                <a:off x="993263" y="2439816"/>
                <a:ext cx="989184" cy="989184"/>
              </a:xfrm>
              <a:custGeom>
                <a:avLst/>
                <a:gdLst>
                  <a:gd name="T0" fmla="*/ 912 w 1620"/>
                  <a:gd name="T1" fmla="*/ 1564 h 1620"/>
                  <a:gd name="T2" fmla="*/ 708 w 1620"/>
                  <a:gd name="T3" fmla="*/ 1564 h 1620"/>
                  <a:gd name="T4" fmla="*/ 56 w 1620"/>
                  <a:gd name="T5" fmla="*/ 912 h 1620"/>
                  <a:gd name="T6" fmla="*/ 56 w 1620"/>
                  <a:gd name="T7" fmla="*/ 708 h 1620"/>
                  <a:gd name="T8" fmla="*/ 708 w 1620"/>
                  <a:gd name="T9" fmla="*/ 56 h 1620"/>
                  <a:gd name="T10" fmla="*/ 912 w 1620"/>
                  <a:gd name="T11" fmla="*/ 56 h 1620"/>
                  <a:gd name="T12" fmla="*/ 1564 w 1620"/>
                  <a:gd name="T13" fmla="*/ 708 h 1620"/>
                  <a:gd name="T14" fmla="*/ 1564 w 1620"/>
                  <a:gd name="T15" fmla="*/ 912 h 1620"/>
                  <a:gd name="T16" fmla="*/ 912 w 1620"/>
                  <a:gd name="T17" fmla="*/ 1564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20" h="1620">
                    <a:moveTo>
                      <a:pt x="912" y="1564"/>
                    </a:moveTo>
                    <a:cubicBezTo>
                      <a:pt x="856" y="1620"/>
                      <a:pt x="764" y="1620"/>
                      <a:pt x="708" y="1564"/>
                    </a:cubicBezTo>
                    <a:cubicBezTo>
                      <a:pt x="56" y="912"/>
                      <a:pt x="56" y="912"/>
                      <a:pt x="56" y="912"/>
                    </a:cubicBezTo>
                    <a:cubicBezTo>
                      <a:pt x="0" y="856"/>
                      <a:pt x="0" y="764"/>
                      <a:pt x="56" y="708"/>
                    </a:cubicBezTo>
                    <a:cubicBezTo>
                      <a:pt x="708" y="56"/>
                      <a:pt x="708" y="56"/>
                      <a:pt x="708" y="56"/>
                    </a:cubicBezTo>
                    <a:cubicBezTo>
                      <a:pt x="764" y="0"/>
                      <a:pt x="856" y="0"/>
                      <a:pt x="912" y="56"/>
                    </a:cubicBezTo>
                    <a:cubicBezTo>
                      <a:pt x="1564" y="708"/>
                      <a:pt x="1564" y="708"/>
                      <a:pt x="1564" y="708"/>
                    </a:cubicBezTo>
                    <a:cubicBezTo>
                      <a:pt x="1620" y="764"/>
                      <a:pt x="1620" y="856"/>
                      <a:pt x="1564" y="912"/>
                    </a:cubicBezTo>
                    <a:lnTo>
                      <a:pt x="912" y="1564"/>
                    </a:lnTo>
                    <a:close/>
                  </a:path>
                </a:pathLst>
              </a:custGeom>
              <a:solidFill>
                <a:schemeClr val="bg1"/>
              </a:solidFill>
              <a:ln w="57150">
                <a:noFill/>
              </a:ln>
              <a:effectLst>
                <a:innerShdw blurRad="139700" dist="50800" dir="16200000">
                  <a:schemeClr val="tx1">
                    <a:alpha val="20000"/>
                  </a:scheme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tx1"/>
                  </a:solidFill>
                  <a:effectLst/>
                  <a:uLnTx/>
                  <a:uFillTx/>
                  <a:ea typeface="+mn-ea"/>
                  <a:cs typeface="+mn-cs"/>
                </a:endParaRPr>
              </a:p>
            </p:txBody>
          </p:sp>
          <p:cxnSp>
            <p:nvCxnSpPr>
              <p:cNvPr id="190" name="Straight Connector 189"/>
              <p:cNvCxnSpPr/>
              <p:nvPr/>
            </p:nvCxnSpPr>
            <p:spPr>
              <a:xfrm>
                <a:off x="1243012" y="3345565"/>
                <a:ext cx="249605" cy="239520"/>
              </a:xfrm>
              <a:prstGeom prst="line">
                <a:avLst/>
              </a:prstGeom>
              <a:ln w="12700" cap="rnd">
                <a:solidFill>
                  <a:schemeClr val="bg1"/>
                </a:solidFill>
                <a:prstDash val="dash"/>
                <a:round/>
              </a:ln>
            </p:spPr>
            <p:style>
              <a:lnRef idx="1">
                <a:schemeClr val="accent1"/>
              </a:lnRef>
              <a:fillRef idx="0">
                <a:schemeClr val="accent1"/>
              </a:fillRef>
              <a:effectRef idx="0">
                <a:schemeClr val="accent1"/>
              </a:effectRef>
              <a:fontRef idx="minor">
                <a:schemeClr val="tx1"/>
              </a:fontRef>
            </p:style>
          </p:cxnSp>
          <p:cxnSp>
            <p:nvCxnSpPr>
              <p:cNvPr id="191" name="Straight Connector 190"/>
              <p:cNvCxnSpPr/>
              <p:nvPr/>
            </p:nvCxnSpPr>
            <p:spPr>
              <a:xfrm flipH="1">
                <a:off x="1480783" y="3345565"/>
                <a:ext cx="249605" cy="239520"/>
              </a:xfrm>
              <a:prstGeom prst="line">
                <a:avLst/>
              </a:prstGeom>
              <a:ln w="12700" cap="rnd">
                <a:solidFill>
                  <a:schemeClr val="bg1"/>
                </a:solidFill>
                <a:prstDash val="dash"/>
                <a:round/>
              </a:ln>
            </p:spPr>
            <p:style>
              <a:lnRef idx="1">
                <a:schemeClr val="accent1"/>
              </a:lnRef>
              <a:fillRef idx="0">
                <a:schemeClr val="accent1"/>
              </a:fillRef>
              <a:effectRef idx="0">
                <a:schemeClr val="accent1"/>
              </a:effectRef>
              <a:fontRef idx="minor">
                <a:schemeClr val="tx1"/>
              </a:fontRef>
            </p:style>
          </p:cxnSp>
        </p:grpSp>
        <p:grpSp>
          <p:nvGrpSpPr>
            <p:cNvPr id="185" name="Group 184"/>
            <p:cNvGrpSpPr/>
            <p:nvPr/>
          </p:nvGrpSpPr>
          <p:grpSpPr>
            <a:xfrm>
              <a:off x="5922729" y="2439816"/>
              <a:ext cx="989184" cy="1145269"/>
              <a:chOff x="993263" y="2439816"/>
              <a:chExt cx="989184" cy="1145269"/>
            </a:xfrm>
          </p:grpSpPr>
          <p:sp>
            <p:nvSpPr>
              <p:cNvPr id="186" name="Freeform 5"/>
              <p:cNvSpPr>
                <a:spLocks/>
              </p:cNvSpPr>
              <p:nvPr/>
            </p:nvSpPr>
            <p:spPr bwMode="auto">
              <a:xfrm>
                <a:off x="993263" y="2439816"/>
                <a:ext cx="989184" cy="989184"/>
              </a:xfrm>
              <a:custGeom>
                <a:avLst/>
                <a:gdLst>
                  <a:gd name="T0" fmla="*/ 912 w 1620"/>
                  <a:gd name="T1" fmla="*/ 1564 h 1620"/>
                  <a:gd name="T2" fmla="*/ 708 w 1620"/>
                  <a:gd name="T3" fmla="*/ 1564 h 1620"/>
                  <a:gd name="T4" fmla="*/ 56 w 1620"/>
                  <a:gd name="T5" fmla="*/ 912 h 1620"/>
                  <a:gd name="T6" fmla="*/ 56 w 1620"/>
                  <a:gd name="T7" fmla="*/ 708 h 1620"/>
                  <a:gd name="T8" fmla="*/ 708 w 1620"/>
                  <a:gd name="T9" fmla="*/ 56 h 1620"/>
                  <a:gd name="T10" fmla="*/ 912 w 1620"/>
                  <a:gd name="T11" fmla="*/ 56 h 1620"/>
                  <a:gd name="T12" fmla="*/ 1564 w 1620"/>
                  <a:gd name="T13" fmla="*/ 708 h 1620"/>
                  <a:gd name="T14" fmla="*/ 1564 w 1620"/>
                  <a:gd name="T15" fmla="*/ 912 h 1620"/>
                  <a:gd name="T16" fmla="*/ 912 w 1620"/>
                  <a:gd name="T17" fmla="*/ 1564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20" h="1620">
                    <a:moveTo>
                      <a:pt x="912" y="1564"/>
                    </a:moveTo>
                    <a:cubicBezTo>
                      <a:pt x="856" y="1620"/>
                      <a:pt x="764" y="1620"/>
                      <a:pt x="708" y="1564"/>
                    </a:cubicBezTo>
                    <a:cubicBezTo>
                      <a:pt x="56" y="912"/>
                      <a:pt x="56" y="912"/>
                      <a:pt x="56" y="912"/>
                    </a:cubicBezTo>
                    <a:cubicBezTo>
                      <a:pt x="0" y="856"/>
                      <a:pt x="0" y="764"/>
                      <a:pt x="56" y="708"/>
                    </a:cubicBezTo>
                    <a:cubicBezTo>
                      <a:pt x="708" y="56"/>
                      <a:pt x="708" y="56"/>
                      <a:pt x="708" y="56"/>
                    </a:cubicBezTo>
                    <a:cubicBezTo>
                      <a:pt x="764" y="0"/>
                      <a:pt x="856" y="0"/>
                      <a:pt x="912" y="56"/>
                    </a:cubicBezTo>
                    <a:cubicBezTo>
                      <a:pt x="1564" y="708"/>
                      <a:pt x="1564" y="708"/>
                      <a:pt x="1564" y="708"/>
                    </a:cubicBezTo>
                    <a:cubicBezTo>
                      <a:pt x="1620" y="764"/>
                      <a:pt x="1620" y="856"/>
                      <a:pt x="1564" y="912"/>
                    </a:cubicBezTo>
                    <a:lnTo>
                      <a:pt x="912" y="1564"/>
                    </a:lnTo>
                    <a:close/>
                  </a:path>
                </a:pathLst>
              </a:custGeom>
              <a:solidFill>
                <a:schemeClr val="bg1"/>
              </a:solidFill>
              <a:ln w="57150">
                <a:noFill/>
              </a:ln>
              <a:effectLst>
                <a:innerShdw blurRad="139700" dist="50800" dir="16200000">
                  <a:schemeClr val="tx1">
                    <a:alpha val="20000"/>
                  </a:scheme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tx1"/>
                  </a:solidFill>
                  <a:effectLst/>
                  <a:uLnTx/>
                  <a:uFillTx/>
                  <a:ea typeface="+mn-ea"/>
                  <a:cs typeface="+mn-cs"/>
                </a:endParaRPr>
              </a:p>
            </p:txBody>
          </p:sp>
          <p:cxnSp>
            <p:nvCxnSpPr>
              <p:cNvPr id="187" name="Straight Connector 186"/>
              <p:cNvCxnSpPr/>
              <p:nvPr/>
            </p:nvCxnSpPr>
            <p:spPr>
              <a:xfrm>
                <a:off x="1243012" y="3345565"/>
                <a:ext cx="249605" cy="239520"/>
              </a:xfrm>
              <a:prstGeom prst="line">
                <a:avLst/>
              </a:prstGeom>
              <a:ln w="12700" cap="rnd">
                <a:solidFill>
                  <a:schemeClr val="bg1"/>
                </a:solidFill>
                <a:prstDash val="dash"/>
                <a:round/>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flipH="1">
                <a:off x="1480783" y="3345565"/>
                <a:ext cx="249605" cy="239520"/>
              </a:xfrm>
              <a:prstGeom prst="line">
                <a:avLst/>
              </a:prstGeom>
              <a:ln w="12700" cap="rnd">
                <a:solidFill>
                  <a:schemeClr val="bg1"/>
                </a:solidFill>
                <a:prstDash val="dash"/>
                <a:round/>
              </a:ln>
            </p:spPr>
            <p:style>
              <a:lnRef idx="1">
                <a:schemeClr val="accent1"/>
              </a:lnRef>
              <a:fillRef idx="0">
                <a:schemeClr val="accent1"/>
              </a:fillRef>
              <a:effectRef idx="0">
                <a:schemeClr val="accent1"/>
              </a:effectRef>
              <a:fontRef idx="minor">
                <a:schemeClr val="tx1"/>
              </a:fontRef>
            </p:style>
          </p:cxnSp>
        </p:grpSp>
      </p:grpSp>
      <p:sp>
        <p:nvSpPr>
          <p:cNvPr id="195" name="Freeform 5"/>
          <p:cNvSpPr>
            <a:spLocks/>
          </p:cNvSpPr>
          <p:nvPr/>
        </p:nvSpPr>
        <p:spPr bwMode="auto">
          <a:xfrm>
            <a:off x="4782725" y="3264354"/>
            <a:ext cx="1169617" cy="1169617"/>
          </a:xfrm>
          <a:custGeom>
            <a:avLst/>
            <a:gdLst>
              <a:gd name="T0" fmla="*/ 912 w 1620"/>
              <a:gd name="T1" fmla="*/ 1564 h 1620"/>
              <a:gd name="T2" fmla="*/ 708 w 1620"/>
              <a:gd name="T3" fmla="*/ 1564 h 1620"/>
              <a:gd name="T4" fmla="*/ 56 w 1620"/>
              <a:gd name="T5" fmla="*/ 912 h 1620"/>
              <a:gd name="T6" fmla="*/ 56 w 1620"/>
              <a:gd name="T7" fmla="*/ 708 h 1620"/>
              <a:gd name="T8" fmla="*/ 708 w 1620"/>
              <a:gd name="T9" fmla="*/ 56 h 1620"/>
              <a:gd name="T10" fmla="*/ 912 w 1620"/>
              <a:gd name="T11" fmla="*/ 56 h 1620"/>
              <a:gd name="T12" fmla="*/ 1564 w 1620"/>
              <a:gd name="T13" fmla="*/ 708 h 1620"/>
              <a:gd name="T14" fmla="*/ 1564 w 1620"/>
              <a:gd name="T15" fmla="*/ 912 h 1620"/>
              <a:gd name="T16" fmla="*/ 912 w 1620"/>
              <a:gd name="T17" fmla="*/ 1564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20" h="1620">
                <a:moveTo>
                  <a:pt x="912" y="1564"/>
                </a:moveTo>
                <a:cubicBezTo>
                  <a:pt x="856" y="1620"/>
                  <a:pt x="764" y="1620"/>
                  <a:pt x="708" y="1564"/>
                </a:cubicBezTo>
                <a:cubicBezTo>
                  <a:pt x="56" y="912"/>
                  <a:pt x="56" y="912"/>
                  <a:pt x="56" y="912"/>
                </a:cubicBezTo>
                <a:cubicBezTo>
                  <a:pt x="0" y="856"/>
                  <a:pt x="0" y="764"/>
                  <a:pt x="56" y="708"/>
                </a:cubicBezTo>
                <a:cubicBezTo>
                  <a:pt x="708" y="56"/>
                  <a:pt x="708" y="56"/>
                  <a:pt x="708" y="56"/>
                </a:cubicBezTo>
                <a:cubicBezTo>
                  <a:pt x="764" y="0"/>
                  <a:pt x="856" y="0"/>
                  <a:pt x="912" y="56"/>
                </a:cubicBezTo>
                <a:cubicBezTo>
                  <a:pt x="1564" y="708"/>
                  <a:pt x="1564" y="708"/>
                  <a:pt x="1564" y="708"/>
                </a:cubicBezTo>
                <a:cubicBezTo>
                  <a:pt x="1620" y="764"/>
                  <a:pt x="1620" y="856"/>
                  <a:pt x="1564" y="912"/>
                </a:cubicBezTo>
                <a:lnTo>
                  <a:pt x="912" y="1564"/>
                </a:lnTo>
                <a:close/>
              </a:path>
            </a:pathLst>
          </a:custGeom>
          <a:solidFill>
            <a:srgbClr val="3B3939"/>
          </a:solidFill>
          <a:ln w="57150">
            <a:solidFill>
              <a:schemeClr val="bg1"/>
            </a:solidFill>
          </a:ln>
          <a:effectLst>
            <a:innerShdw blurRad="114300">
              <a:prstClr val="black">
                <a:alpha val="36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tx1"/>
              </a:solidFill>
              <a:effectLst/>
              <a:uLnTx/>
              <a:uFillTx/>
              <a:ea typeface="+mn-ea"/>
              <a:cs typeface="+mn-cs"/>
            </a:endParaRPr>
          </a:p>
        </p:txBody>
      </p:sp>
      <p:sp>
        <p:nvSpPr>
          <p:cNvPr id="196" name="Freeform 5"/>
          <p:cNvSpPr>
            <a:spLocks/>
          </p:cNvSpPr>
          <p:nvPr/>
        </p:nvSpPr>
        <p:spPr bwMode="auto">
          <a:xfrm>
            <a:off x="7692830" y="3264354"/>
            <a:ext cx="1169617" cy="1169617"/>
          </a:xfrm>
          <a:custGeom>
            <a:avLst/>
            <a:gdLst>
              <a:gd name="T0" fmla="*/ 912 w 1620"/>
              <a:gd name="T1" fmla="*/ 1564 h 1620"/>
              <a:gd name="T2" fmla="*/ 708 w 1620"/>
              <a:gd name="T3" fmla="*/ 1564 h 1620"/>
              <a:gd name="T4" fmla="*/ 56 w 1620"/>
              <a:gd name="T5" fmla="*/ 912 h 1620"/>
              <a:gd name="T6" fmla="*/ 56 w 1620"/>
              <a:gd name="T7" fmla="*/ 708 h 1620"/>
              <a:gd name="T8" fmla="*/ 708 w 1620"/>
              <a:gd name="T9" fmla="*/ 56 h 1620"/>
              <a:gd name="T10" fmla="*/ 912 w 1620"/>
              <a:gd name="T11" fmla="*/ 56 h 1620"/>
              <a:gd name="T12" fmla="*/ 1564 w 1620"/>
              <a:gd name="T13" fmla="*/ 708 h 1620"/>
              <a:gd name="T14" fmla="*/ 1564 w 1620"/>
              <a:gd name="T15" fmla="*/ 912 h 1620"/>
              <a:gd name="T16" fmla="*/ 912 w 1620"/>
              <a:gd name="T17" fmla="*/ 1564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20" h="1620">
                <a:moveTo>
                  <a:pt x="912" y="1564"/>
                </a:moveTo>
                <a:cubicBezTo>
                  <a:pt x="856" y="1620"/>
                  <a:pt x="764" y="1620"/>
                  <a:pt x="708" y="1564"/>
                </a:cubicBezTo>
                <a:cubicBezTo>
                  <a:pt x="56" y="912"/>
                  <a:pt x="56" y="912"/>
                  <a:pt x="56" y="912"/>
                </a:cubicBezTo>
                <a:cubicBezTo>
                  <a:pt x="0" y="856"/>
                  <a:pt x="0" y="764"/>
                  <a:pt x="56" y="708"/>
                </a:cubicBezTo>
                <a:cubicBezTo>
                  <a:pt x="708" y="56"/>
                  <a:pt x="708" y="56"/>
                  <a:pt x="708" y="56"/>
                </a:cubicBezTo>
                <a:cubicBezTo>
                  <a:pt x="764" y="0"/>
                  <a:pt x="856" y="0"/>
                  <a:pt x="912" y="56"/>
                </a:cubicBezTo>
                <a:cubicBezTo>
                  <a:pt x="1564" y="708"/>
                  <a:pt x="1564" y="708"/>
                  <a:pt x="1564" y="708"/>
                </a:cubicBezTo>
                <a:cubicBezTo>
                  <a:pt x="1620" y="764"/>
                  <a:pt x="1620" y="856"/>
                  <a:pt x="1564" y="912"/>
                </a:cubicBezTo>
                <a:lnTo>
                  <a:pt x="912" y="1564"/>
                </a:lnTo>
                <a:close/>
              </a:path>
            </a:pathLst>
          </a:custGeom>
          <a:solidFill>
            <a:srgbClr val="78D2D2"/>
          </a:solidFill>
          <a:ln w="57150">
            <a:solidFill>
              <a:schemeClr val="bg1"/>
            </a:solidFill>
          </a:ln>
          <a:effectLst>
            <a:innerShdw blurRad="114300">
              <a:prstClr val="black">
                <a:alpha val="36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tx1"/>
              </a:solidFill>
              <a:effectLst/>
              <a:uLnTx/>
              <a:uFillTx/>
              <a:ea typeface="+mn-ea"/>
              <a:cs typeface="+mn-cs"/>
            </a:endParaRPr>
          </a:p>
        </p:txBody>
      </p:sp>
      <p:sp>
        <p:nvSpPr>
          <p:cNvPr id="197" name="Freeform 5"/>
          <p:cNvSpPr>
            <a:spLocks/>
          </p:cNvSpPr>
          <p:nvPr/>
        </p:nvSpPr>
        <p:spPr bwMode="auto">
          <a:xfrm>
            <a:off x="1864201" y="3264354"/>
            <a:ext cx="1169617" cy="1169617"/>
          </a:xfrm>
          <a:custGeom>
            <a:avLst/>
            <a:gdLst>
              <a:gd name="T0" fmla="*/ 912 w 1620"/>
              <a:gd name="T1" fmla="*/ 1564 h 1620"/>
              <a:gd name="T2" fmla="*/ 708 w 1620"/>
              <a:gd name="T3" fmla="*/ 1564 h 1620"/>
              <a:gd name="T4" fmla="*/ 56 w 1620"/>
              <a:gd name="T5" fmla="*/ 912 h 1620"/>
              <a:gd name="T6" fmla="*/ 56 w 1620"/>
              <a:gd name="T7" fmla="*/ 708 h 1620"/>
              <a:gd name="T8" fmla="*/ 708 w 1620"/>
              <a:gd name="T9" fmla="*/ 56 h 1620"/>
              <a:gd name="T10" fmla="*/ 912 w 1620"/>
              <a:gd name="T11" fmla="*/ 56 h 1620"/>
              <a:gd name="T12" fmla="*/ 1564 w 1620"/>
              <a:gd name="T13" fmla="*/ 708 h 1620"/>
              <a:gd name="T14" fmla="*/ 1564 w 1620"/>
              <a:gd name="T15" fmla="*/ 912 h 1620"/>
              <a:gd name="T16" fmla="*/ 912 w 1620"/>
              <a:gd name="T17" fmla="*/ 1564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20" h="1620">
                <a:moveTo>
                  <a:pt x="912" y="1564"/>
                </a:moveTo>
                <a:cubicBezTo>
                  <a:pt x="856" y="1620"/>
                  <a:pt x="764" y="1620"/>
                  <a:pt x="708" y="1564"/>
                </a:cubicBezTo>
                <a:cubicBezTo>
                  <a:pt x="56" y="912"/>
                  <a:pt x="56" y="912"/>
                  <a:pt x="56" y="912"/>
                </a:cubicBezTo>
                <a:cubicBezTo>
                  <a:pt x="0" y="856"/>
                  <a:pt x="0" y="764"/>
                  <a:pt x="56" y="708"/>
                </a:cubicBezTo>
                <a:cubicBezTo>
                  <a:pt x="708" y="56"/>
                  <a:pt x="708" y="56"/>
                  <a:pt x="708" y="56"/>
                </a:cubicBezTo>
                <a:cubicBezTo>
                  <a:pt x="764" y="0"/>
                  <a:pt x="856" y="0"/>
                  <a:pt x="912" y="56"/>
                </a:cubicBezTo>
                <a:cubicBezTo>
                  <a:pt x="1564" y="708"/>
                  <a:pt x="1564" y="708"/>
                  <a:pt x="1564" y="708"/>
                </a:cubicBezTo>
                <a:cubicBezTo>
                  <a:pt x="1620" y="764"/>
                  <a:pt x="1620" y="856"/>
                  <a:pt x="1564" y="912"/>
                </a:cubicBezTo>
                <a:lnTo>
                  <a:pt x="912" y="1564"/>
                </a:lnTo>
                <a:close/>
              </a:path>
            </a:pathLst>
          </a:custGeom>
          <a:solidFill>
            <a:srgbClr val="E2583D"/>
          </a:solidFill>
          <a:ln w="57150">
            <a:solidFill>
              <a:schemeClr val="bg1"/>
            </a:solidFill>
          </a:ln>
          <a:effectLst>
            <a:innerShdw blurRad="114300">
              <a:prstClr val="black">
                <a:alpha val="36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tx1"/>
              </a:solidFill>
              <a:effectLst/>
              <a:uLnTx/>
              <a:uFillTx/>
              <a:ea typeface="+mn-ea"/>
              <a:cs typeface="+mn-cs"/>
            </a:endParaRPr>
          </a:p>
        </p:txBody>
      </p:sp>
      <p:grpSp>
        <p:nvGrpSpPr>
          <p:cNvPr id="198" name="Group 197"/>
          <p:cNvGrpSpPr/>
          <p:nvPr/>
        </p:nvGrpSpPr>
        <p:grpSpPr>
          <a:xfrm flipV="1">
            <a:off x="3320948" y="2733477"/>
            <a:ext cx="1169617" cy="1354172"/>
            <a:chOff x="993263" y="2439816"/>
            <a:chExt cx="989184" cy="1145269"/>
          </a:xfrm>
        </p:grpSpPr>
        <p:sp>
          <p:nvSpPr>
            <p:cNvPr id="243" name="Freeform 5"/>
            <p:cNvSpPr>
              <a:spLocks/>
            </p:cNvSpPr>
            <p:nvPr/>
          </p:nvSpPr>
          <p:spPr bwMode="auto">
            <a:xfrm flipV="1">
              <a:off x="993263" y="2439816"/>
              <a:ext cx="989184" cy="989184"/>
            </a:xfrm>
            <a:custGeom>
              <a:avLst/>
              <a:gdLst>
                <a:gd name="T0" fmla="*/ 912 w 1620"/>
                <a:gd name="T1" fmla="*/ 1564 h 1620"/>
                <a:gd name="T2" fmla="*/ 708 w 1620"/>
                <a:gd name="T3" fmla="*/ 1564 h 1620"/>
                <a:gd name="T4" fmla="*/ 56 w 1620"/>
                <a:gd name="T5" fmla="*/ 912 h 1620"/>
                <a:gd name="T6" fmla="*/ 56 w 1620"/>
                <a:gd name="T7" fmla="*/ 708 h 1620"/>
                <a:gd name="T8" fmla="*/ 708 w 1620"/>
                <a:gd name="T9" fmla="*/ 56 h 1620"/>
                <a:gd name="T10" fmla="*/ 912 w 1620"/>
                <a:gd name="T11" fmla="*/ 56 h 1620"/>
                <a:gd name="T12" fmla="*/ 1564 w 1620"/>
                <a:gd name="T13" fmla="*/ 708 h 1620"/>
                <a:gd name="T14" fmla="*/ 1564 w 1620"/>
                <a:gd name="T15" fmla="*/ 912 h 1620"/>
                <a:gd name="T16" fmla="*/ 912 w 1620"/>
                <a:gd name="T17" fmla="*/ 1564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20" h="1620">
                  <a:moveTo>
                    <a:pt x="912" y="1564"/>
                  </a:moveTo>
                  <a:cubicBezTo>
                    <a:pt x="856" y="1620"/>
                    <a:pt x="764" y="1620"/>
                    <a:pt x="708" y="1564"/>
                  </a:cubicBezTo>
                  <a:cubicBezTo>
                    <a:pt x="56" y="912"/>
                    <a:pt x="56" y="912"/>
                    <a:pt x="56" y="912"/>
                  </a:cubicBezTo>
                  <a:cubicBezTo>
                    <a:pt x="0" y="856"/>
                    <a:pt x="0" y="764"/>
                    <a:pt x="56" y="708"/>
                  </a:cubicBezTo>
                  <a:cubicBezTo>
                    <a:pt x="708" y="56"/>
                    <a:pt x="708" y="56"/>
                    <a:pt x="708" y="56"/>
                  </a:cubicBezTo>
                  <a:cubicBezTo>
                    <a:pt x="764" y="0"/>
                    <a:pt x="856" y="0"/>
                    <a:pt x="912" y="56"/>
                  </a:cubicBezTo>
                  <a:cubicBezTo>
                    <a:pt x="1564" y="708"/>
                    <a:pt x="1564" y="708"/>
                    <a:pt x="1564" y="708"/>
                  </a:cubicBezTo>
                  <a:cubicBezTo>
                    <a:pt x="1620" y="764"/>
                    <a:pt x="1620" y="856"/>
                    <a:pt x="1564" y="912"/>
                  </a:cubicBezTo>
                  <a:lnTo>
                    <a:pt x="912" y="1564"/>
                  </a:lnTo>
                  <a:close/>
                </a:path>
              </a:pathLst>
            </a:custGeom>
            <a:solidFill>
              <a:schemeClr val="bg1"/>
            </a:solidFill>
            <a:ln w="57150">
              <a:noFill/>
            </a:ln>
            <a:effectLst>
              <a:innerShdw blurRad="139700" dist="50800" dir="16200000">
                <a:schemeClr val="tx1">
                  <a:alpha val="20000"/>
                </a:scheme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tx1"/>
                </a:solidFill>
                <a:effectLst/>
                <a:uLnTx/>
                <a:uFillTx/>
                <a:ea typeface="+mn-ea"/>
                <a:cs typeface="+mn-cs"/>
              </a:endParaRPr>
            </a:p>
          </p:txBody>
        </p:sp>
        <p:cxnSp>
          <p:nvCxnSpPr>
            <p:cNvPr id="244" name="Straight Connector 243"/>
            <p:cNvCxnSpPr/>
            <p:nvPr/>
          </p:nvCxnSpPr>
          <p:spPr>
            <a:xfrm>
              <a:off x="1243012" y="3345565"/>
              <a:ext cx="249605" cy="239520"/>
            </a:xfrm>
            <a:prstGeom prst="line">
              <a:avLst/>
            </a:prstGeom>
            <a:ln w="12700" cap="rnd">
              <a:solidFill>
                <a:schemeClr val="bg1"/>
              </a:solidFill>
              <a:prstDash val="dash"/>
              <a:round/>
            </a:ln>
          </p:spPr>
          <p:style>
            <a:lnRef idx="1">
              <a:schemeClr val="accent1"/>
            </a:lnRef>
            <a:fillRef idx="0">
              <a:schemeClr val="accent1"/>
            </a:fillRef>
            <a:effectRef idx="0">
              <a:schemeClr val="accent1"/>
            </a:effectRef>
            <a:fontRef idx="minor">
              <a:schemeClr val="tx1"/>
            </a:fontRef>
          </p:style>
        </p:cxnSp>
        <p:cxnSp>
          <p:nvCxnSpPr>
            <p:cNvPr id="245" name="Straight Connector 244"/>
            <p:cNvCxnSpPr/>
            <p:nvPr/>
          </p:nvCxnSpPr>
          <p:spPr>
            <a:xfrm flipH="1">
              <a:off x="1480783" y="3345565"/>
              <a:ext cx="249605" cy="239520"/>
            </a:xfrm>
            <a:prstGeom prst="line">
              <a:avLst/>
            </a:prstGeom>
            <a:ln w="12700" cap="rnd">
              <a:solidFill>
                <a:schemeClr val="bg1"/>
              </a:solidFill>
              <a:prstDash val="dash"/>
              <a:round/>
            </a:ln>
          </p:spPr>
          <p:style>
            <a:lnRef idx="1">
              <a:schemeClr val="accent1"/>
            </a:lnRef>
            <a:fillRef idx="0">
              <a:schemeClr val="accent1"/>
            </a:fillRef>
            <a:effectRef idx="0">
              <a:schemeClr val="accent1"/>
            </a:effectRef>
            <a:fontRef idx="minor">
              <a:schemeClr val="tx1"/>
            </a:fontRef>
          </p:style>
        </p:cxnSp>
      </p:grpSp>
      <p:sp>
        <p:nvSpPr>
          <p:cNvPr id="246" name="Freeform 5"/>
          <p:cNvSpPr>
            <a:spLocks/>
          </p:cNvSpPr>
          <p:nvPr/>
        </p:nvSpPr>
        <p:spPr bwMode="auto">
          <a:xfrm>
            <a:off x="3320948" y="3264354"/>
            <a:ext cx="1169617" cy="1169617"/>
          </a:xfrm>
          <a:custGeom>
            <a:avLst/>
            <a:gdLst>
              <a:gd name="T0" fmla="*/ 912 w 1620"/>
              <a:gd name="T1" fmla="*/ 1564 h 1620"/>
              <a:gd name="T2" fmla="*/ 708 w 1620"/>
              <a:gd name="T3" fmla="*/ 1564 h 1620"/>
              <a:gd name="T4" fmla="*/ 56 w 1620"/>
              <a:gd name="T5" fmla="*/ 912 h 1620"/>
              <a:gd name="T6" fmla="*/ 56 w 1620"/>
              <a:gd name="T7" fmla="*/ 708 h 1620"/>
              <a:gd name="T8" fmla="*/ 708 w 1620"/>
              <a:gd name="T9" fmla="*/ 56 h 1620"/>
              <a:gd name="T10" fmla="*/ 912 w 1620"/>
              <a:gd name="T11" fmla="*/ 56 h 1620"/>
              <a:gd name="T12" fmla="*/ 1564 w 1620"/>
              <a:gd name="T13" fmla="*/ 708 h 1620"/>
              <a:gd name="T14" fmla="*/ 1564 w 1620"/>
              <a:gd name="T15" fmla="*/ 912 h 1620"/>
              <a:gd name="T16" fmla="*/ 912 w 1620"/>
              <a:gd name="T17" fmla="*/ 1564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20" h="1620">
                <a:moveTo>
                  <a:pt x="912" y="1564"/>
                </a:moveTo>
                <a:cubicBezTo>
                  <a:pt x="856" y="1620"/>
                  <a:pt x="764" y="1620"/>
                  <a:pt x="708" y="1564"/>
                </a:cubicBezTo>
                <a:cubicBezTo>
                  <a:pt x="56" y="912"/>
                  <a:pt x="56" y="912"/>
                  <a:pt x="56" y="912"/>
                </a:cubicBezTo>
                <a:cubicBezTo>
                  <a:pt x="0" y="856"/>
                  <a:pt x="0" y="764"/>
                  <a:pt x="56" y="708"/>
                </a:cubicBezTo>
                <a:cubicBezTo>
                  <a:pt x="708" y="56"/>
                  <a:pt x="708" y="56"/>
                  <a:pt x="708" y="56"/>
                </a:cubicBezTo>
                <a:cubicBezTo>
                  <a:pt x="764" y="0"/>
                  <a:pt x="856" y="0"/>
                  <a:pt x="912" y="56"/>
                </a:cubicBezTo>
                <a:cubicBezTo>
                  <a:pt x="1564" y="708"/>
                  <a:pt x="1564" y="708"/>
                  <a:pt x="1564" y="708"/>
                </a:cubicBezTo>
                <a:cubicBezTo>
                  <a:pt x="1620" y="764"/>
                  <a:pt x="1620" y="856"/>
                  <a:pt x="1564" y="912"/>
                </a:cubicBezTo>
                <a:lnTo>
                  <a:pt x="912" y="1564"/>
                </a:lnTo>
                <a:close/>
              </a:path>
            </a:pathLst>
          </a:custGeom>
          <a:solidFill>
            <a:srgbClr val="78D2D2"/>
          </a:solidFill>
          <a:ln w="57150">
            <a:solidFill>
              <a:schemeClr val="bg1"/>
            </a:solidFill>
          </a:ln>
          <a:effectLst>
            <a:innerShdw blurRad="114300">
              <a:prstClr val="black">
                <a:alpha val="36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tx1"/>
              </a:solidFill>
              <a:effectLst/>
              <a:uLnTx/>
              <a:uFillTx/>
              <a:ea typeface="+mn-ea"/>
              <a:cs typeface="+mn-cs"/>
            </a:endParaRPr>
          </a:p>
        </p:txBody>
      </p:sp>
      <p:grpSp>
        <p:nvGrpSpPr>
          <p:cNvPr id="263" name="Group 262"/>
          <p:cNvGrpSpPr/>
          <p:nvPr/>
        </p:nvGrpSpPr>
        <p:grpSpPr>
          <a:xfrm flipV="1">
            <a:off x="9165177" y="2733477"/>
            <a:ext cx="1169617" cy="1354172"/>
            <a:chOff x="993263" y="2439816"/>
            <a:chExt cx="989184" cy="1145269"/>
          </a:xfrm>
        </p:grpSpPr>
        <p:sp>
          <p:nvSpPr>
            <p:cNvPr id="264" name="Freeform 5"/>
            <p:cNvSpPr>
              <a:spLocks/>
            </p:cNvSpPr>
            <p:nvPr/>
          </p:nvSpPr>
          <p:spPr bwMode="auto">
            <a:xfrm flipV="1">
              <a:off x="993263" y="2439816"/>
              <a:ext cx="989184" cy="989184"/>
            </a:xfrm>
            <a:custGeom>
              <a:avLst/>
              <a:gdLst>
                <a:gd name="T0" fmla="*/ 912 w 1620"/>
                <a:gd name="T1" fmla="*/ 1564 h 1620"/>
                <a:gd name="T2" fmla="*/ 708 w 1620"/>
                <a:gd name="T3" fmla="*/ 1564 h 1620"/>
                <a:gd name="T4" fmla="*/ 56 w 1620"/>
                <a:gd name="T5" fmla="*/ 912 h 1620"/>
                <a:gd name="T6" fmla="*/ 56 w 1620"/>
                <a:gd name="T7" fmla="*/ 708 h 1620"/>
                <a:gd name="T8" fmla="*/ 708 w 1620"/>
                <a:gd name="T9" fmla="*/ 56 h 1620"/>
                <a:gd name="T10" fmla="*/ 912 w 1620"/>
                <a:gd name="T11" fmla="*/ 56 h 1620"/>
                <a:gd name="T12" fmla="*/ 1564 w 1620"/>
                <a:gd name="T13" fmla="*/ 708 h 1620"/>
                <a:gd name="T14" fmla="*/ 1564 w 1620"/>
                <a:gd name="T15" fmla="*/ 912 h 1620"/>
                <a:gd name="T16" fmla="*/ 912 w 1620"/>
                <a:gd name="T17" fmla="*/ 1564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20" h="1620">
                  <a:moveTo>
                    <a:pt x="912" y="1564"/>
                  </a:moveTo>
                  <a:cubicBezTo>
                    <a:pt x="856" y="1620"/>
                    <a:pt x="764" y="1620"/>
                    <a:pt x="708" y="1564"/>
                  </a:cubicBezTo>
                  <a:cubicBezTo>
                    <a:pt x="56" y="912"/>
                    <a:pt x="56" y="912"/>
                    <a:pt x="56" y="912"/>
                  </a:cubicBezTo>
                  <a:cubicBezTo>
                    <a:pt x="0" y="856"/>
                    <a:pt x="0" y="764"/>
                    <a:pt x="56" y="708"/>
                  </a:cubicBezTo>
                  <a:cubicBezTo>
                    <a:pt x="708" y="56"/>
                    <a:pt x="708" y="56"/>
                    <a:pt x="708" y="56"/>
                  </a:cubicBezTo>
                  <a:cubicBezTo>
                    <a:pt x="764" y="0"/>
                    <a:pt x="856" y="0"/>
                    <a:pt x="912" y="56"/>
                  </a:cubicBezTo>
                  <a:cubicBezTo>
                    <a:pt x="1564" y="708"/>
                    <a:pt x="1564" y="708"/>
                    <a:pt x="1564" y="708"/>
                  </a:cubicBezTo>
                  <a:cubicBezTo>
                    <a:pt x="1620" y="764"/>
                    <a:pt x="1620" y="856"/>
                    <a:pt x="1564" y="912"/>
                  </a:cubicBezTo>
                  <a:lnTo>
                    <a:pt x="912" y="1564"/>
                  </a:lnTo>
                  <a:close/>
                </a:path>
              </a:pathLst>
            </a:custGeom>
            <a:solidFill>
              <a:schemeClr val="bg1"/>
            </a:solidFill>
            <a:ln w="57150">
              <a:noFill/>
            </a:ln>
            <a:effectLst>
              <a:innerShdw blurRad="139700" dist="50800" dir="16200000">
                <a:schemeClr val="tx1">
                  <a:alpha val="20000"/>
                </a:scheme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tx1"/>
                </a:solidFill>
                <a:effectLst/>
                <a:uLnTx/>
                <a:uFillTx/>
                <a:ea typeface="+mn-ea"/>
                <a:cs typeface="+mn-cs"/>
              </a:endParaRPr>
            </a:p>
          </p:txBody>
        </p:sp>
        <p:cxnSp>
          <p:nvCxnSpPr>
            <p:cNvPr id="265" name="Straight Connector 264"/>
            <p:cNvCxnSpPr/>
            <p:nvPr/>
          </p:nvCxnSpPr>
          <p:spPr>
            <a:xfrm>
              <a:off x="1243012" y="3345565"/>
              <a:ext cx="249605" cy="239520"/>
            </a:xfrm>
            <a:prstGeom prst="line">
              <a:avLst/>
            </a:prstGeom>
            <a:ln w="12700" cap="rnd">
              <a:solidFill>
                <a:schemeClr val="bg1"/>
              </a:solidFill>
              <a:prstDash val="dash"/>
              <a:round/>
            </a:ln>
          </p:spPr>
          <p:style>
            <a:lnRef idx="1">
              <a:schemeClr val="accent1"/>
            </a:lnRef>
            <a:fillRef idx="0">
              <a:schemeClr val="accent1"/>
            </a:fillRef>
            <a:effectRef idx="0">
              <a:schemeClr val="accent1"/>
            </a:effectRef>
            <a:fontRef idx="minor">
              <a:schemeClr val="tx1"/>
            </a:fontRef>
          </p:style>
        </p:cxnSp>
        <p:cxnSp>
          <p:nvCxnSpPr>
            <p:cNvPr id="266" name="Straight Connector 265"/>
            <p:cNvCxnSpPr/>
            <p:nvPr/>
          </p:nvCxnSpPr>
          <p:spPr>
            <a:xfrm flipH="1">
              <a:off x="1480783" y="3345565"/>
              <a:ext cx="249605" cy="239520"/>
            </a:xfrm>
            <a:prstGeom prst="line">
              <a:avLst/>
            </a:prstGeom>
            <a:ln w="12700" cap="rnd">
              <a:solidFill>
                <a:schemeClr val="bg1"/>
              </a:solidFill>
              <a:prstDash val="dash"/>
              <a:round/>
            </a:ln>
          </p:spPr>
          <p:style>
            <a:lnRef idx="1">
              <a:schemeClr val="accent1"/>
            </a:lnRef>
            <a:fillRef idx="0">
              <a:schemeClr val="accent1"/>
            </a:fillRef>
            <a:effectRef idx="0">
              <a:schemeClr val="accent1"/>
            </a:effectRef>
            <a:fontRef idx="minor">
              <a:schemeClr val="tx1"/>
            </a:fontRef>
          </p:style>
        </p:cxnSp>
      </p:grpSp>
      <p:sp>
        <p:nvSpPr>
          <p:cNvPr id="267" name="Freeform 5"/>
          <p:cNvSpPr>
            <a:spLocks/>
          </p:cNvSpPr>
          <p:nvPr/>
        </p:nvSpPr>
        <p:spPr bwMode="auto">
          <a:xfrm>
            <a:off x="9165177" y="3264354"/>
            <a:ext cx="1169617" cy="1169617"/>
          </a:xfrm>
          <a:custGeom>
            <a:avLst/>
            <a:gdLst>
              <a:gd name="T0" fmla="*/ 912 w 1620"/>
              <a:gd name="T1" fmla="*/ 1564 h 1620"/>
              <a:gd name="T2" fmla="*/ 708 w 1620"/>
              <a:gd name="T3" fmla="*/ 1564 h 1620"/>
              <a:gd name="T4" fmla="*/ 56 w 1620"/>
              <a:gd name="T5" fmla="*/ 912 h 1620"/>
              <a:gd name="T6" fmla="*/ 56 w 1620"/>
              <a:gd name="T7" fmla="*/ 708 h 1620"/>
              <a:gd name="T8" fmla="*/ 708 w 1620"/>
              <a:gd name="T9" fmla="*/ 56 h 1620"/>
              <a:gd name="T10" fmla="*/ 912 w 1620"/>
              <a:gd name="T11" fmla="*/ 56 h 1620"/>
              <a:gd name="T12" fmla="*/ 1564 w 1620"/>
              <a:gd name="T13" fmla="*/ 708 h 1620"/>
              <a:gd name="T14" fmla="*/ 1564 w 1620"/>
              <a:gd name="T15" fmla="*/ 912 h 1620"/>
              <a:gd name="T16" fmla="*/ 912 w 1620"/>
              <a:gd name="T17" fmla="*/ 1564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20" h="1620">
                <a:moveTo>
                  <a:pt x="912" y="1564"/>
                </a:moveTo>
                <a:cubicBezTo>
                  <a:pt x="856" y="1620"/>
                  <a:pt x="764" y="1620"/>
                  <a:pt x="708" y="1564"/>
                </a:cubicBezTo>
                <a:cubicBezTo>
                  <a:pt x="56" y="912"/>
                  <a:pt x="56" y="912"/>
                  <a:pt x="56" y="912"/>
                </a:cubicBezTo>
                <a:cubicBezTo>
                  <a:pt x="0" y="856"/>
                  <a:pt x="0" y="764"/>
                  <a:pt x="56" y="708"/>
                </a:cubicBezTo>
                <a:cubicBezTo>
                  <a:pt x="708" y="56"/>
                  <a:pt x="708" y="56"/>
                  <a:pt x="708" y="56"/>
                </a:cubicBezTo>
                <a:cubicBezTo>
                  <a:pt x="764" y="0"/>
                  <a:pt x="856" y="0"/>
                  <a:pt x="912" y="56"/>
                </a:cubicBezTo>
                <a:cubicBezTo>
                  <a:pt x="1564" y="708"/>
                  <a:pt x="1564" y="708"/>
                  <a:pt x="1564" y="708"/>
                </a:cubicBezTo>
                <a:cubicBezTo>
                  <a:pt x="1620" y="764"/>
                  <a:pt x="1620" y="856"/>
                  <a:pt x="1564" y="912"/>
                </a:cubicBezTo>
                <a:lnTo>
                  <a:pt x="912" y="1564"/>
                </a:lnTo>
                <a:close/>
              </a:path>
            </a:pathLst>
          </a:custGeom>
          <a:solidFill>
            <a:srgbClr val="3B3939"/>
          </a:solidFill>
          <a:ln w="57150">
            <a:solidFill>
              <a:schemeClr val="bg1"/>
            </a:solidFill>
          </a:ln>
          <a:effectLst>
            <a:innerShdw blurRad="114300">
              <a:prstClr val="black">
                <a:alpha val="36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tx1"/>
              </a:solidFill>
              <a:effectLst/>
              <a:uLnTx/>
              <a:uFillTx/>
              <a:ea typeface="+mn-ea"/>
              <a:cs typeface="+mn-cs"/>
            </a:endParaRPr>
          </a:p>
        </p:txBody>
      </p:sp>
      <p:grpSp>
        <p:nvGrpSpPr>
          <p:cNvPr id="268" name="Group 267"/>
          <p:cNvGrpSpPr/>
          <p:nvPr/>
        </p:nvGrpSpPr>
        <p:grpSpPr>
          <a:xfrm flipV="1">
            <a:off x="6235653" y="2733477"/>
            <a:ext cx="1169617" cy="1354172"/>
            <a:chOff x="993263" y="2439816"/>
            <a:chExt cx="989184" cy="1145269"/>
          </a:xfrm>
        </p:grpSpPr>
        <p:sp>
          <p:nvSpPr>
            <p:cNvPr id="269" name="Freeform 5"/>
            <p:cNvSpPr>
              <a:spLocks/>
            </p:cNvSpPr>
            <p:nvPr/>
          </p:nvSpPr>
          <p:spPr bwMode="auto">
            <a:xfrm flipV="1">
              <a:off x="993263" y="2439816"/>
              <a:ext cx="989184" cy="989184"/>
            </a:xfrm>
            <a:custGeom>
              <a:avLst/>
              <a:gdLst>
                <a:gd name="T0" fmla="*/ 912 w 1620"/>
                <a:gd name="T1" fmla="*/ 1564 h 1620"/>
                <a:gd name="T2" fmla="*/ 708 w 1620"/>
                <a:gd name="T3" fmla="*/ 1564 h 1620"/>
                <a:gd name="T4" fmla="*/ 56 w 1620"/>
                <a:gd name="T5" fmla="*/ 912 h 1620"/>
                <a:gd name="T6" fmla="*/ 56 w 1620"/>
                <a:gd name="T7" fmla="*/ 708 h 1620"/>
                <a:gd name="T8" fmla="*/ 708 w 1620"/>
                <a:gd name="T9" fmla="*/ 56 h 1620"/>
                <a:gd name="T10" fmla="*/ 912 w 1620"/>
                <a:gd name="T11" fmla="*/ 56 h 1620"/>
                <a:gd name="T12" fmla="*/ 1564 w 1620"/>
                <a:gd name="T13" fmla="*/ 708 h 1620"/>
                <a:gd name="T14" fmla="*/ 1564 w 1620"/>
                <a:gd name="T15" fmla="*/ 912 h 1620"/>
                <a:gd name="T16" fmla="*/ 912 w 1620"/>
                <a:gd name="T17" fmla="*/ 1564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20" h="1620">
                  <a:moveTo>
                    <a:pt x="912" y="1564"/>
                  </a:moveTo>
                  <a:cubicBezTo>
                    <a:pt x="856" y="1620"/>
                    <a:pt x="764" y="1620"/>
                    <a:pt x="708" y="1564"/>
                  </a:cubicBezTo>
                  <a:cubicBezTo>
                    <a:pt x="56" y="912"/>
                    <a:pt x="56" y="912"/>
                    <a:pt x="56" y="912"/>
                  </a:cubicBezTo>
                  <a:cubicBezTo>
                    <a:pt x="0" y="856"/>
                    <a:pt x="0" y="764"/>
                    <a:pt x="56" y="708"/>
                  </a:cubicBezTo>
                  <a:cubicBezTo>
                    <a:pt x="708" y="56"/>
                    <a:pt x="708" y="56"/>
                    <a:pt x="708" y="56"/>
                  </a:cubicBezTo>
                  <a:cubicBezTo>
                    <a:pt x="764" y="0"/>
                    <a:pt x="856" y="0"/>
                    <a:pt x="912" y="56"/>
                  </a:cubicBezTo>
                  <a:cubicBezTo>
                    <a:pt x="1564" y="708"/>
                    <a:pt x="1564" y="708"/>
                    <a:pt x="1564" y="708"/>
                  </a:cubicBezTo>
                  <a:cubicBezTo>
                    <a:pt x="1620" y="764"/>
                    <a:pt x="1620" y="856"/>
                    <a:pt x="1564" y="912"/>
                  </a:cubicBezTo>
                  <a:lnTo>
                    <a:pt x="912" y="1564"/>
                  </a:lnTo>
                  <a:close/>
                </a:path>
              </a:pathLst>
            </a:custGeom>
            <a:solidFill>
              <a:schemeClr val="bg1"/>
            </a:solidFill>
            <a:ln w="57150">
              <a:noFill/>
            </a:ln>
            <a:effectLst>
              <a:innerShdw blurRad="139700" dist="50800" dir="16200000">
                <a:schemeClr val="tx1">
                  <a:alpha val="20000"/>
                </a:scheme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tx1"/>
                </a:solidFill>
                <a:effectLst/>
                <a:uLnTx/>
                <a:uFillTx/>
                <a:ea typeface="+mn-ea"/>
                <a:cs typeface="+mn-cs"/>
              </a:endParaRPr>
            </a:p>
          </p:txBody>
        </p:sp>
        <p:cxnSp>
          <p:nvCxnSpPr>
            <p:cNvPr id="270" name="Straight Connector 269"/>
            <p:cNvCxnSpPr/>
            <p:nvPr/>
          </p:nvCxnSpPr>
          <p:spPr>
            <a:xfrm>
              <a:off x="1243012" y="3345565"/>
              <a:ext cx="249605" cy="239520"/>
            </a:xfrm>
            <a:prstGeom prst="line">
              <a:avLst/>
            </a:prstGeom>
            <a:ln w="12700" cap="rnd">
              <a:solidFill>
                <a:schemeClr val="bg1"/>
              </a:solidFill>
              <a:prstDash val="dash"/>
              <a:round/>
            </a:ln>
          </p:spPr>
          <p:style>
            <a:lnRef idx="1">
              <a:schemeClr val="accent1"/>
            </a:lnRef>
            <a:fillRef idx="0">
              <a:schemeClr val="accent1"/>
            </a:fillRef>
            <a:effectRef idx="0">
              <a:schemeClr val="accent1"/>
            </a:effectRef>
            <a:fontRef idx="minor">
              <a:schemeClr val="tx1"/>
            </a:fontRef>
          </p:style>
        </p:cxnSp>
        <p:cxnSp>
          <p:nvCxnSpPr>
            <p:cNvPr id="271" name="Straight Connector 270"/>
            <p:cNvCxnSpPr/>
            <p:nvPr/>
          </p:nvCxnSpPr>
          <p:spPr>
            <a:xfrm flipH="1">
              <a:off x="1480783" y="3345565"/>
              <a:ext cx="249605" cy="239520"/>
            </a:xfrm>
            <a:prstGeom prst="line">
              <a:avLst/>
            </a:prstGeom>
            <a:ln w="12700" cap="rnd">
              <a:solidFill>
                <a:schemeClr val="bg1"/>
              </a:solidFill>
              <a:prstDash val="dash"/>
              <a:round/>
            </a:ln>
          </p:spPr>
          <p:style>
            <a:lnRef idx="1">
              <a:schemeClr val="accent1"/>
            </a:lnRef>
            <a:fillRef idx="0">
              <a:schemeClr val="accent1"/>
            </a:fillRef>
            <a:effectRef idx="0">
              <a:schemeClr val="accent1"/>
            </a:effectRef>
            <a:fontRef idx="minor">
              <a:schemeClr val="tx1"/>
            </a:fontRef>
          </p:style>
        </p:cxnSp>
      </p:grpSp>
      <p:sp>
        <p:nvSpPr>
          <p:cNvPr id="272" name="Freeform 5"/>
          <p:cNvSpPr>
            <a:spLocks/>
          </p:cNvSpPr>
          <p:nvPr/>
        </p:nvSpPr>
        <p:spPr bwMode="auto">
          <a:xfrm>
            <a:off x="6235653" y="3264354"/>
            <a:ext cx="1169617" cy="1169617"/>
          </a:xfrm>
          <a:custGeom>
            <a:avLst/>
            <a:gdLst>
              <a:gd name="T0" fmla="*/ 912 w 1620"/>
              <a:gd name="T1" fmla="*/ 1564 h 1620"/>
              <a:gd name="T2" fmla="*/ 708 w 1620"/>
              <a:gd name="T3" fmla="*/ 1564 h 1620"/>
              <a:gd name="T4" fmla="*/ 56 w 1620"/>
              <a:gd name="T5" fmla="*/ 912 h 1620"/>
              <a:gd name="T6" fmla="*/ 56 w 1620"/>
              <a:gd name="T7" fmla="*/ 708 h 1620"/>
              <a:gd name="T8" fmla="*/ 708 w 1620"/>
              <a:gd name="T9" fmla="*/ 56 h 1620"/>
              <a:gd name="T10" fmla="*/ 912 w 1620"/>
              <a:gd name="T11" fmla="*/ 56 h 1620"/>
              <a:gd name="T12" fmla="*/ 1564 w 1620"/>
              <a:gd name="T13" fmla="*/ 708 h 1620"/>
              <a:gd name="T14" fmla="*/ 1564 w 1620"/>
              <a:gd name="T15" fmla="*/ 912 h 1620"/>
              <a:gd name="T16" fmla="*/ 912 w 1620"/>
              <a:gd name="T17" fmla="*/ 1564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20" h="1620">
                <a:moveTo>
                  <a:pt x="912" y="1564"/>
                </a:moveTo>
                <a:cubicBezTo>
                  <a:pt x="856" y="1620"/>
                  <a:pt x="764" y="1620"/>
                  <a:pt x="708" y="1564"/>
                </a:cubicBezTo>
                <a:cubicBezTo>
                  <a:pt x="56" y="912"/>
                  <a:pt x="56" y="912"/>
                  <a:pt x="56" y="912"/>
                </a:cubicBezTo>
                <a:cubicBezTo>
                  <a:pt x="0" y="856"/>
                  <a:pt x="0" y="764"/>
                  <a:pt x="56" y="708"/>
                </a:cubicBezTo>
                <a:cubicBezTo>
                  <a:pt x="708" y="56"/>
                  <a:pt x="708" y="56"/>
                  <a:pt x="708" y="56"/>
                </a:cubicBezTo>
                <a:cubicBezTo>
                  <a:pt x="764" y="0"/>
                  <a:pt x="856" y="0"/>
                  <a:pt x="912" y="56"/>
                </a:cubicBezTo>
                <a:cubicBezTo>
                  <a:pt x="1564" y="708"/>
                  <a:pt x="1564" y="708"/>
                  <a:pt x="1564" y="708"/>
                </a:cubicBezTo>
                <a:cubicBezTo>
                  <a:pt x="1620" y="764"/>
                  <a:pt x="1620" y="856"/>
                  <a:pt x="1564" y="912"/>
                </a:cubicBezTo>
                <a:lnTo>
                  <a:pt x="912" y="1564"/>
                </a:lnTo>
                <a:close/>
              </a:path>
            </a:pathLst>
          </a:custGeom>
          <a:solidFill>
            <a:srgbClr val="E2583D"/>
          </a:solidFill>
          <a:ln w="57150">
            <a:solidFill>
              <a:schemeClr val="bg1"/>
            </a:solidFill>
          </a:ln>
          <a:effectLst>
            <a:innerShdw blurRad="114300">
              <a:prstClr val="black">
                <a:alpha val="36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tx1"/>
              </a:solidFill>
              <a:effectLst/>
              <a:uLnTx/>
              <a:uFillTx/>
              <a:ea typeface="+mn-ea"/>
              <a:cs typeface="+mn-cs"/>
            </a:endParaRPr>
          </a:p>
        </p:txBody>
      </p:sp>
      <p:grpSp>
        <p:nvGrpSpPr>
          <p:cNvPr id="300" name="Group 299"/>
          <p:cNvGrpSpPr/>
          <p:nvPr/>
        </p:nvGrpSpPr>
        <p:grpSpPr>
          <a:xfrm>
            <a:off x="1582349" y="5035995"/>
            <a:ext cx="1719334" cy="972283"/>
            <a:chOff x="751697" y="3828568"/>
            <a:chExt cx="1454098" cy="822292"/>
          </a:xfrm>
        </p:grpSpPr>
        <p:sp>
          <p:nvSpPr>
            <p:cNvPr id="301" name="Text Placeholder 4"/>
            <p:cNvSpPr txBox="1">
              <a:spLocks/>
            </p:cNvSpPr>
            <p:nvPr/>
          </p:nvSpPr>
          <p:spPr>
            <a:xfrm>
              <a:off x="751697" y="4085364"/>
              <a:ext cx="1454098" cy="565496"/>
            </a:xfrm>
            <a:prstGeom prst="rect">
              <a:avLst/>
            </a:prstGeom>
          </p:spPr>
          <p:txBody>
            <a:bodyPr vert="horz" wrap="square" lIns="0" tIns="0" rIns="0" bIns="0" rtlCol="0">
              <a:spAutoFit/>
            </a:bodyPr>
            <a:lstStyle>
              <a:lvl1pPr marL="0" indent="0" algn="l" defTabSz="914400" rtl="0" eaLnBrk="1" latinLnBrk="0" hangingPunct="1">
                <a:lnSpc>
                  <a:spcPct val="90000"/>
                </a:lnSpc>
                <a:spcBef>
                  <a:spcPts val="600"/>
                </a:spcBef>
                <a:buFont typeface="Arial" panose="020B0604020202020204" pitchFamily="34" charset="0"/>
                <a:buNone/>
                <a:defRPr sz="1100" kern="1200">
                  <a:solidFill>
                    <a:schemeClr val="tx1"/>
                  </a:solidFill>
                  <a:latin typeface="+mn-lt"/>
                  <a:ea typeface="+mn-ea"/>
                  <a:cs typeface="+mn-cs"/>
                </a:defRPr>
              </a:lvl1pPr>
              <a:lvl2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2pPr>
              <a:lvl3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3pPr>
              <a:lvl4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4pPr>
              <a:lvl5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lgn="ctr">
                <a:lnSpc>
                  <a:spcPct val="150000"/>
                </a:lnSpc>
                <a:defRPr/>
              </a:pPr>
              <a:r>
                <a:rPr lang="en-US" sz="1000" dirty="0" err="1"/>
                <a:t>Lorem</a:t>
              </a:r>
              <a:r>
                <a:rPr lang="en-US" sz="1000" dirty="0"/>
                <a:t> </a:t>
              </a:r>
              <a:r>
                <a:rPr lang="en-US" sz="1000" dirty="0" err="1"/>
                <a:t>Ipsum</a:t>
              </a:r>
              <a:r>
                <a:rPr lang="en-US" sz="1000" dirty="0"/>
                <a:t> is simply dummy text of the printing and typesetting industry. </a:t>
              </a:r>
            </a:p>
          </p:txBody>
        </p:sp>
        <p:sp>
          <p:nvSpPr>
            <p:cNvPr id="302" name="Text Placeholder 4"/>
            <p:cNvSpPr txBox="1">
              <a:spLocks/>
            </p:cNvSpPr>
            <p:nvPr/>
          </p:nvSpPr>
          <p:spPr>
            <a:xfrm>
              <a:off x="1077091" y="3828568"/>
              <a:ext cx="815140" cy="276999"/>
            </a:xfrm>
            <a:prstGeom prst="rect">
              <a:avLst/>
            </a:prstGeom>
          </p:spPr>
          <p:txBody>
            <a:bodyPr vert="horz" wrap="square" lIns="0" tIns="0" rIns="0" bIns="0" rtlCol="0">
              <a:spAutoFit/>
            </a:bodyPr>
            <a:lstStyle>
              <a:lvl1pPr marL="0" indent="0" algn="l" defTabSz="914400" rtl="0" eaLnBrk="1" latinLnBrk="0" hangingPunct="1">
                <a:lnSpc>
                  <a:spcPct val="90000"/>
                </a:lnSpc>
                <a:spcBef>
                  <a:spcPts val="600"/>
                </a:spcBef>
                <a:buFont typeface="Arial" panose="020B0604020202020204" pitchFamily="34" charset="0"/>
                <a:buNone/>
                <a:defRPr sz="1100" kern="1200">
                  <a:solidFill>
                    <a:schemeClr val="tx1"/>
                  </a:solidFill>
                  <a:latin typeface="+mn-lt"/>
                  <a:ea typeface="+mn-ea"/>
                  <a:cs typeface="+mn-cs"/>
                </a:defRPr>
              </a:lvl1pPr>
              <a:lvl2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2pPr>
              <a:lvl3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3pPr>
              <a:lvl4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4pPr>
              <a:lvl5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50000"/>
                </a:lnSpc>
                <a:spcBef>
                  <a:spcPts val="600"/>
                </a:spcBef>
                <a:spcAft>
                  <a:spcPts val="0"/>
                </a:spcAft>
                <a:buClrTx/>
                <a:buSzTx/>
                <a:buFont typeface="Arial" panose="020B0604020202020204" pitchFamily="34" charset="0"/>
                <a:buNone/>
                <a:tabLst/>
                <a:defRPr/>
              </a:pPr>
              <a:r>
                <a:rPr kumimoji="0" lang="en-US" sz="1200" b="1" i="0" u="none" strike="noStrike" kern="1200" cap="none" spc="0" normalizeH="0" baseline="0" noProof="0" dirty="0">
                  <a:ln>
                    <a:noFill/>
                  </a:ln>
                  <a:effectLst/>
                  <a:uLnTx/>
                  <a:uFillTx/>
                  <a:ea typeface="+mn-ea"/>
                  <a:cs typeface="+mn-cs"/>
                </a:rPr>
                <a:t>STEP 01</a:t>
              </a:r>
            </a:p>
          </p:txBody>
        </p:sp>
      </p:grpSp>
      <p:grpSp>
        <p:nvGrpSpPr>
          <p:cNvPr id="303" name="Group 302"/>
          <p:cNvGrpSpPr/>
          <p:nvPr/>
        </p:nvGrpSpPr>
        <p:grpSpPr>
          <a:xfrm>
            <a:off x="4507867" y="5035995"/>
            <a:ext cx="1719334" cy="972283"/>
            <a:chOff x="751697" y="3828568"/>
            <a:chExt cx="1454098" cy="822292"/>
          </a:xfrm>
        </p:grpSpPr>
        <p:sp>
          <p:nvSpPr>
            <p:cNvPr id="304" name="Text Placeholder 4"/>
            <p:cNvSpPr txBox="1">
              <a:spLocks/>
            </p:cNvSpPr>
            <p:nvPr/>
          </p:nvSpPr>
          <p:spPr>
            <a:xfrm>
              <a:off x="751697" y="4085364"/>
              <a:ext cx="1454098" cy="565496"/>
            </a:xfrm>
            <a:prstGeom prst="rect">
              <a:avLst/>
            </a:prstGeom>
          </p:spPr>
          <p:txBody>
            <a:bodyPr vert="horz" wrap="square" lIns="0" tIns="0" rIns="0" bIns="0" rtlCol="0">
              <a:spAutoFit/>
            </a:bodyPr>
            <a:lstStyle>
              <a:lvl1pPr marL="0" indent="0" algn="l" defTabSz="914400" rtl="0" eaLnBrk="1" latinLnBrk="0" hangingPunct="1">
                <a:lnSpc>
                  <a:spcPct val="90000"/>
                </a:lnSpc>
                <a:spcBef>
                  <a:spcPts val="600"/>
                </a:spcBef>
                <a:buFont typeface="Arial" panose="020B0604020202020204" pitchFamily="34" charset="0"/>
                <a:buNone/>
                <a:defRPr sz="1100" kern="1200">
                  <a:solidFill>
                    <a:schemeClr val="tx1"/>
                  </a:solidFill>
                  <a:latin typeface="+mn-lt"/>
                  <a:ea typeface="+mn-ea"/>
                  <a:cs typeface="+mn-cs"/>
                </a:defRPr>
              </a:lvl1pPr>
              <a:lvl2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2pPr>
              <a:lvl3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3pPr>
              <a:lvl4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4pPr>
              <a:lvl5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lgn="ctr">
                <a:lnSpc>
                  <a:spcPct val="150000"/>
                </a:lnSpc>
                <a:defRPr/>
              </a:pPr>
              <a:r>
                <a:rPr lang="en-US" sz="1000" dirty="0" err="1"/>
                <a:t>Lorem</a:t>
              </a:r>
              <a:r>
                <a:rPr lang="en-US" sz="1000" dirty="0"/>
                <a:t> </a:t>
              </a:r>
              <a:r>
                <a:rPr lang="en-US" sz="1000" dirty="0" err="1"/>
                <a:t>Ipsum</a:t>
              </a:r>
              <a:r>
                <a:rPr lang="en-US" sz="1000" dirty="0"/>
                <a:t> is simply dummy text of the printing and typesetting industry. </a:t>
              </a:r>
            </a:p>
          </p:txBody>
        </p:sp>
        <p:sp>
          <p:nvSpPr>
            <p:cNvPr id="305" name="Text Placeholder 4"/>
            <p:cNvSpPr txBox="1">
              <a:spLocks/>
            </p:cNvSpPr>
            <p:nvPr/>
          </p:nvSpPr>
          <p:spPr>
            <a:xfrm>
              <a:off x="1077091" y="3828568"/>
              <a:ext cx="815140" cy="276999"/>
            </a:xfrm>
            <a:prstGeom prst="rect">
              <a:avLst/>
            </a:prstGeom>
          </p:spPr>
          <p:txBody>
            <a:bodyPr vert="horz" wrap="square" lIns="0" tIns="0" rIns="0" bIns="0" rtlCol="0">
              <a:spAutoFit/>
            </a:bodyPr>
            <a:lstStyle>
              <a:lvl1pPr marL="0" indent="0" algn="l" defTabSz="914400" rtl="0" eaLnBrk="1" latinLnBrk="0" hangingPunct="1">
                <a:lnSpc>
                  <a:spcPct val="90000"/>
                </a:lnSpc>
                <a:spcBef>
                  <a:spcPts val="600"/>
                </a:spcBef>
                <a:buFont typeface="Arial" panose="020B0604020202020204" pitchFamily="34" charset="0"/>
                <a:buNone/>
                <a:defRPr sz="1100" kern="1200">
                  <a:solidFill>
                    <a:schemeClr val="tx1"/>
                  </a:solidFill>
                  <a:latin typeface="+mn-lt"/>
                  <a:ea typeface="+mn-ea"/>
                  <a:cs typeface="+mn-cs"/>
                </a:defRPr>
              </a:lvl1pPr>
              <a:lvl2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2pPr>
              <a:lvl3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3pPr>
              <a:lvl4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4pPr>
              <a:lvl5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50000"/>
                </a:lnSpc>
                <a:spcBef>
                  <a:spcPts val="600"/>
                </a:spcBef>
                <a:spcAft>
                  <a:spcPts val="0"/>
                </a:spcAft>
                <a:buClrTx/>
                <a:buSzTx/>
                <a:buFont typeface="Arial" panose="020B0604020202020204" pitchFamily="34" charset="0"/>
                <a:buNone/>
                <a:tabLst/>
                <a:defRPr/>
              </a:pPr>
              <a:r>
                <a:rPr kumimoji="0" lang="en-US" sz="1200" b="1" i="0" u="none" strike="noStrike" kern="1200" cap="none" spc="0" normalizeH="0" baseline="0" noProof="0" dirty="0">
                  <a:ln>
                    <a:noFill/>
                  </a:ln>
                  <a:effectLst/>
                  <a:uLnTx/>
                  <a:uFillTx/>
                  <a:ea typeface="+mn-ea"/>
                  <a:cs typeface="+mn-cs"/>
                </a:rPr>
                <a:t>STEP 03</a:t>
              </a:r>
            </a:p>
          </p:txBody>
        </p:sp>
      </p:grpSp>
      <p:grpSp>
        <p:nvGrpSpPr>
          <p:cNvPr id="306" name="Group 305"/>
          <p:cNvGrpSpPr/>
          <p:nvPr/>
        </p:nvGrpSpPr>
        <p:grpSpPr>
          <a:xfrm>
            <a:off x="7417971" y="5035995"/>
            <a:ext cx="1719334" cy="972283"/>
            <a:chOff x="751697" y="3828568"/>
            <a:chExt cx="1454098" cy="822292"/>
          </a:xfrm>
        </p:grpSpPr>
        <p:sp>
          <p:nvSpPr>
            <p:cNvPr id="307" name="Text Placeholder 4"/>
            <p:cNvSpPr txBox="1">
              <a:spLocks/>
            </p:cNvSpPr>
            <p:nvPr/>
          </p:nvSpPr>
          <p:spPr>
            <a:xfrm>
              <a:off x="751697" y="4085364"/>
              <a:ext cx="1454098" cy="565496"/>
            </a:xfrm>
            <a:prstGeom prst="rect">
              <a:avLst/>
            </a:prstGeom>
          </p:spPr>
          <p:txBody>
            <a:bodyPr vert="horz" wrap="square" lIns="0" tIns="0" rIns="0" bIns="0" rtlCol="0">
              <a:spAutoFit/>
            </a:bodyPr>
            <a:lstStyle>
              <a:lvl1pPr marL="0" indent="0" algn="l" defTabSz="914400" rtl="0" eaLnBrk="1" latinLnBrk="0" hangingPunct="1">
                <a:lnSpc>
                  <a:spcPct val="90000"/>
                </a:lnSpc>
                <a:spcBef>
                  <a:spcPts val="600"/>
                </a:spcBef>
                <a:buFont typeface="Arial" panose="020B0604020202020204" pitchFamily="34" charset="0"/>
                <a:buNone/>
                <a:defRPr sz="1100" kern="1200">
                  <a:solidFill>
                    <a:schemeClr val="tx1"/>
                  </a:solidFill>
                  <a:latin typeface="+mn-lt"/>
                  <a:ea typeface="+mn-ea"/>
                  <a:cs typeface="+mn-cs"/>
                </a:defRPr>
              </a:lvl1pPr>
              <a:lvl2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2pPr>
              <a:lvl3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3pPr>
              <a:lvl4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4pPr>
              <a:lvl5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lgn="ctr">
                <a:lnSpc>
                  <a:spcPct val="150000"/>
                </a:lnSpc>
                <a:defRPr/>
              </a:pPr>
              <a:r>
                <a:rPr lang="en-US" sz="1000" dirty="0" err="1"/>
                <a:t>Lorem</a:t>
              </a:r>
              <a:r>
                <a:rPr lang="en-US" sz="1000" dirty="0"/>
                <a:t> </a:t>
              </a:r>
              <a:r>
                <a:rPr lang="en-US" sz="1000" dirty="0" err="1"/>
                <a:t>Ipsum</a:t>
              </a:r>
              <a:r>
                <a:rPr lang="en-US" sz="1000" dirty="0"/>
                <a:t> is simply dummy text of the printing and typesetting industry. </a:t>
              </a:r>
            </a:p>
          </p:txBody>
        </p:sp>
        <p:sp>
          <p:nvSpPr>
            <p:cNvPr id="308" name="Text Placeholder 4"/>
            <p:cNvSpPr txBox="1">
              <a:spLocks/>
            </p:cNvSpPr>
            <p:nvPr/>
          </p:nvSpPr>
          <p:spPr>
            <a:xfrm>
              <a:off x="1077091" y="3828568"/>
              <a:ext cx="815140" cy="276999"/>
            </a:xfrm>
            <a:prstGeom prst="rect">
              <a:avLst/>
            </a:prstGeom>
          </p:spPr>
          <p:txBody>
            <a:bodyPr vert="horz" wrap="square" lIns="0" tIns="0" rIns="0" bIns="0" rtlCol="0">
              <a:spAutoFit/>
            </a:bodyPr>
            <a:lstStyle>
              <a:lvl1pPr marL="0" indent="0" algn="l" defTabSz="914400" rtl="0" eaLnBrk="1" latinLnBrk="0" hangingPunct="1">
                <a:lnSpc>
                  <a:spcPct val="90000"/>
                </a:lnSpc>
                <a:spcBef>
                  <a:spcPts val="600"/>
                </a:spcBef>
                <a:buFont typeface="Arial" panose="020B0604020202020204" pitchFamily="34" charset="0"/>
                <a:buNone/>
                <a:defRPr sz="1100" kern="1200">
                  <a:solidFill>
                    <a:schemeClr val="tx1"/>
                  </a:solidFill>
                  <a:latin typeface="+mn-lt"/>
                  <a:ea typeface="+mn-ea"/>
                  <a:cs typeface="+mn-cs"/>
                </a:defRPr>
              </a:lvl1pPr>
              <a:lvl2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2pPr>
              <a:lvl3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3pPr>
              <a:lvl4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4pPr>
              <a:lvl5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50000"/>
                </a:lnSpc>
                <a:spcBef>
                  <a:spcPts val="600"/>
                </a:spcBef>
                <a:spcAft>
                  <a:spcPts val="0"/>
                </a:spcAft>
                <a:buClrTx/>
                <a:buSzTx/>
                <a:buFont typeface="Arial" panose="020B0604020202020204" pitchFamily="34" charset="0"/>
                <a:buNone/>
                <a:tabLst/>
                <a:defRPr/>
              </a:pPr>
              <a:r>
                <a:rPr kumimoji="0" lang="en-US" sz="1200" b="1" i="0" u="none" strike="noStrike" kern="1200" cap="none" spc="0" normalizeH="0" baseline="0" noProof="0" dirty="0">
                  <a:ln>
                    <a:noFill/>
                  </a:ln>
                  <a:effectLst/>
                  <a:uLnTx/>
                  <a:uFillTx/>
                  <a:ea typeface="+mn-ea"/>
                  <a:cs typeface="+mn-cs"/>
                </a:rPr>
                <a:t>STEP 05</a:t>
              </a:r>
            </a:p>
          </p:txBody>
        </p:sp>
      </p:grpSp>
      <p:grpSp>
        <p:nvGrpSpPr>
          <p:cNvPr id="309" name="Group 308"/>
          <p:cNvGrpSpPr/>
          <p:nvPr/>
        </p:nvGrpSpPr>
        <p:grpSpPr>
          <a:xfrm>
            <a:off x="3046089" y="1769014"/>
            <a:ext cx="1719334" cy="972281"/>
            <a:chOff x="751697" y="3828568"/>
            <a:chExt cx="1454098" cy="822291"/>
          </a:xfrm>
        </p:grpSpPr>
        <p:sp>
          <p:nvSpPr>
            <p:cNvPr id="310" name="Text Placeholder 4"/>
            <p:cNvSpPr txBox="1">
              <a:spLocks/>
            </p:cNvSpPr>
            <p:nvPr/>
          </p:nvSpPr>
          <p:spPr>
            <a:xfrm>
              <a:off x="751697" y="4085364"/>
              <a:ext cx="1454098" cy="565495"/>
            </a:xfrm>
            <a:prstGeom prst="rect">
              <a:avLst/>
            </a:prstGeom>
          </p:spPr>
          <p:txBody>
            <a:bodyPr vert="horz" wrap="square" lIns="0" tIns="0" rIns="0" bIns="0" rtlCol="0">
              <a:spAutoFit/>
            </a:bodyPr>
            <a:lstStyle>
              <a:lvl1pPr marL="0" indent="0" algn="l" defTabSz="914400" rtl="0" eaLnBrk="1" latinLnBrk="0" hangingPunct="1">
                <a:lnSpc>
                  <a:spcPct val="90000"/>
                </a:lnSpc>
                <a:spcBef>
                  <a:spcPts val="600"/>
                </a:spcBef>
                <a:buFont typeface="Arial" panose="020B0604020202020204" pitchFamily="34" charset="0"/>
                <a:buNone/>
                <a:defRPr sz="1100" kern="1200">
                  <a:solidFill>
                    <a:schemeClr val="tx1"/>
                  </a:solidFill>
                  <a:latin typeface="+mn-lt"/>
                  <a:ea typeface="+mn-ea"/>
                  <a:cs typeface="+mn-cs"/>
                </a:defRPr>
              </a:lvl1pPr>
              <a:lvl2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2pPr>
              <a:lvl3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3pPr>
              <a:lvl4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4pPr>
              <a:lvl5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lgn="ctr">
                <a:lnSpc>
                  <a:spcPct val="150000"/>
                </a:lnSpc>
                <a:defRPr/>
              </a:pPr>
              <a:r>
                <a:rPr lang="en-US" sz="1000" dirty="0" err="1"/>
                <a:t>Lorem</a:t>
              </a:r>
              <a:r>
                <a:rPr lang="en-US" sz="1000" dirty="0"/>
                <a:t> </a:t>
              </a:r>
              <a:r>
                <a:rPr lang="en-US" sz="1000" dirty="0" err="1"/>
                <a:t>Ipsum</a:t>
              </a:r>
              <a:r>
                <a:rPr lang="en-US" sz="1000" dirty="0"/>
                <a:t> is simply dummy text of the printing and typesetting industry. </a:t>
              </a:r>
            </a:p>
          </p:txBody>
        </p:sp>
        <p:sp>
          <p:nvSpPr>
            <p:cNvPr id="311" name="Text Placeholder 4"/>
            <p:cNvSpPr txBox="1">
              <a:spLocks/>
            </p:cNvSpPr>
            <p:nvPr/>
          </p:nvSpPr>
          <p:spPr>
            <a:xfrm>
              <a:off x="1077091" y="3828568"/>
              <a:ext cx="815140" cy="276999"/>
            </a:xfrm>
            <a:prstGeom prst="rect">
              <a:avLst/>
            </a:prstGeom>
          </p:spPr>
          <p:txBody>
            <a:bodyPr vert="horz" wrap="square" lIns="0" tIns="0" rIns="0" bIns="0" rtlCol="0">
              <a:spAutoFit/>
            </a:bodyPr>
            <a:lstStyle>
              <a:lvl1pPr marL="0" indent="0" algn="l" defTabSz="914400" rtl="0" eaLnBrk="1" latinLnBrk="0" hangingPunct="1">
                <a:lnSpc>
                  <a:spcPct val="90000"/>
                </a:lnSpc>
                <a:spcBef>
                  <a:spcPts val="600"/>
                </a:spcBef>
                <a:buFont typeface="Arial" panose="020B0604020202020204" pitchFamily="34" charset="0"/>
                <a:buNone/>
                <a:defRPr sz="1100" kern="1200">
                  <a:solidFill>
                    <a:schemeClr val="tx1"/>
                  </a:solidFill>
                  <a:latin typeface="+mn-lt"/>
                  <a:ea typeface="+mn-ea"/>
                  <a:cs typeface="+mn-cs"/>
                </a:defRPr>
              </a:lvl1pPr>
              <a:lvl2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2pPr>
              <a:lvl3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3pPr>
              <a:lvl4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4pPr>
              <a:lvl5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50000"/>
                </a:lnSpc>
                <a:spcBef>
                  <a:spcPts val="600"/>
                </a:spcBef>
                <a:spcAft>
                  <a:spcPts val="0"/>
                </a:spcAft>
                <a:buClrTx/>
                <a:buSzTx/>
                <a:buFont typeface="Arial" panose="020B0604020202020204" pitchFamily="34" charset="0"/>
                <a:buNone/>
                <a:tabLst/>
                <a:defRPr/>
              </a:pPr>
              <a:r>
                <a:rPr kumimoji="0" lang="en-US" sz="1200" b="1" i="0" u="none" strike="noStrike" kern="1200" cap="none" spc="0" normalizeH="0" baseline="0" noProof="0" dirty="0">
                  <a:ln>
                    <a:noFill/>
                  </a:ln>
                  <a:effectLst/>
                  <a:uLnTx/>
                  <a:uFillTx/>
                  <a:ea typeface="+mn-ea"/>
                  <a:cs typeface="+mn-cs"/>
                </a:rPr>
                <a:t>STEP 02</a:t>
              </a:r>
            </a:p>
          </p:txBody>
        </p:sp>
      </p:grpSp>
      <p:grpSp>
        <p:nvGrpSpPr>
          <p:cNvPr id="312" name="Group 311"/>
          <p:cNvGrpSpPr/>
          <p:nvPr/>
        </p:nvGrpSpPr>
        <p:grpSpPr>
          <a:xfrm>
            <a:off x="5960795" y="1769014"/>
            <a:ext cx="1719334" cy="972283"/>
            <a:chOff x="751697" y="3828568"/>
            <a:chExt cx="1454098" cy="822292"/>
          </a:xfrm>
        </p:grpSpPr>
        <p:sp>
          <p:nvSpPr>
            <p:cNvPr id="313" name="Text Placeholder 4"/>
            <p:cNvSpPr txBox="1">
              <a:spLocks/>
            </p:cNvSpPr>
            <p:nvPr/>
          </p:nvSpPr>
          <p:spPr>
            <a:xfrm>
              <a:off x="751697" y="4085364"/>
              <a:ext cx="1454098" cy="565496"/>
            </a:xfrm>
            <a:prstGeom prst="rect">
              <a:avLst/>
            </a:prstGeom>
          </p:spPr>
          <p:txBody>
            <a:bodyPr vert="horz" wrap="square" lIns="0" tIns="0" rIns="0" bIns="0" rtlCol="0">
              <a:spAutoFit/>
            </a:bodyPr>
            <a:lstStyle>
              <a:lvl1pPr marL="0" indent="0" algn="l" defTabSz="914400" rtl="0" eaLnBrk="1" latinLnBrk="0" hangingPunct="1">
                <a:lnSpc>
                  <a:spcPct val="90000"/>
                </a:lnSpc>
                <a:spcBef>
                  <a:spcPts val="600"/>
                </a:spcBef>
                <a:buFont typeface="Arial" panose="020B0604020202020204" pitchFamily="34" charset="0"/>
                <a:buNone/>
                <a:defRPr sz="1100" kern="1200">
                  <a:solidFill>
                    <a:schemeClr val="tx1"/>
                  </a:solidFill>
                  <a:latin typeface="+mn-lt"/>
                  <a:ea typeface="+mn-ea"/>
                  <a:cs typeface="+mn-cs"/>
                </a:defRPr>
              </a:lvl1pPr>
              <a:lvl2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2pPr>
              <a:lvl3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3pPr>
              <a:lvl4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4pPr>
              <a:lvl5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lgn="ctr">
                <a:lnSpc>
                  <a:spcPct val="150000"/>
                </a:lnSpc>
                <a:defRPr/>
              </a:pPr>
              <a:r>
                <a:rPr lang="en-US" sz="1000" dirty="0" err="1"/>
                <a:t>Lorem</a:t>
              </a:r>
              <a:r>
                <a:rPr lang="en-US" sz="1000" dirty="0"/>
                <a:t> </a:t>
              </a:r>
              <a:r>
                <a:rPr lang="en-US" sz="1000" dirty="0" err="1"/>
                <a:t>Ipsum</a:t>
              </a:r>
              <a:r>
                <a:rPr lang="en-US" sz="1000" dirty="0"/>
                <a:t> is simply dummy text of the printing and typesetting industry. </a:t>
              </a:r>
            </a:p>
          </p:txBody>
        </p:sp>
        <p:sp>
          <p:nvSpPr>
            <p:cNvPr id="314" name="Text Placeholder 4"/>
            <p:cNvSpPr txBox="1">
              <a:spLocks/>
            </p:cNvSpPr>
            <p:nvPr/>
          </p:nvSpPr>
          <p:spPr>
            <a:xfrm>
              <a:off x="1077091" y="3828568"/>
              <a:ext cx="815140" cy="276999"/>
            </a:xfrm>
            <a:prstGeom prst="rect">
              <a:avLst/>
            </a:prstGeom>
          </p:spPr>
          <p:txBody>
            <a:bodyPr vert="horz" wrap="square" lIns="0" tIns="0" rIns="0" bIns="0" rtlCol="0">
              <a:spAutoFit/>
            </a:bodyPr>
            <a:lstStyle>
              <a:lvl1pPr marL="0" indent="0" algn="l" defTabSz="914400" rtl="0" eaLnBrk="1" latinLnBrk="0" hangingPunct="1">
                <a:lnSpc>
                  <a:spcPct val="90000"/>
                </a:lnSpc>
                <a:spcBef>
                  <a:spcPts val="600"/>
                </a:spcBef>
                <a:buFont typeface="Arial" panose="020B0604020202020204" pitchFamily="34" charset="0"/>
                <a:buNone/>
                <a:defRPr sz="1100" kern="1200">
                  <a:solidFill>
                    <a:schemeClr val="tx1"/>
                  </a:solidFill>
                  <a:latin typeface="+mn-lt"/>
                  <a:ea typeface="+mn-ea"/>
                  <a:cs typeface="+mn-cs"/>
                </a:defRPr>
              </a:lvl1pPr>
              <a:lvl2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2pPr>
              <a:lvl3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3pPr>
              <a:lvl4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4pPr>
              <a:lvl5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50000"/>
                </a:lnSpc>
                <a:spcBef>
                  <a:spcPts val="600"/>
                </a:spcBef>
                <a:spcAft>
                  <a:spcPts val="0"/>
                </a:spcAft>
                <a:buClrTx/>
                <a:buSzTx/>
                <a:buFont typeface="Arial" panose="020B0604020202020204" pitchFamily="34" charset="0"/>
                <a:buNone/>
                <a:tabLst/>
                <a:defRPr/>
              </a:pPr>
              <a:r>
                <a:rPr kumimoji="0" lang="en-US" sz="1200" b="1" i="0" u="none" strike="noStrike" kern="1200" cap="none" spc="0" normalizeH="0" baseline="0" noProof="0" dirty="0">
                  <a:ln>
                    <a:noFill/>
                  </a:ln>
                  <a:effectLst/>
                  <a:uLnTx/>
                  <a:uFillTx/>
                  <a:ea typeface="+mn-ea"/>
                  <a:cs typeface="+mn-cs"/>
                </a:rPr>
                <a:t>STEP 04</a:t>
              </a:r>
            </a:p>
          </p:txBody>
        </p:sp>
      </p:grpSp>
      <p:grpSp>
        <p:nvGrpSpPr>
          <p:cNvPr id="315" name="Group 314"/>
          <p:cNvGrpSpPr/>
          <p:nvPr/>
        </p:nvGrpSpPr>
        <p:grpSpPr>
          <a:xfrm>
            <a:off x="8890318" y="1769014"/>
            <a:ext cx="1719334" cy="972283"/>
            <a:chOff x="751697" y="3828568"/>
            <a:chExt cx="1454098" cy="822292"/>
          </a:xfrm>
        </p:grpSpPr>
        <p:sp>
          <p:nvSpPr>
            <p:cNvPr id="316" name="Text Placeholder 4"/>
            <p:cNvSpPr txBox="1">
              <a:spLocks/>
            </p:cNvSpPr>
            <p:nvPr/>
          </p:nvSpPr>
          <p:spPr>
            <a:xfrm>
              <a:off x="751697" y="4085364"/>
              <a:ext cx="1454098" cy="565496"/>
            </a:xfrm>
            <a:prstGeom prst="rect">
              <a:avLst/>
            </a:prstGeom>
          </p:spPr>
          <p:txBody>
            <a:bodyPr vert="horz" wrap="square" lIns="0" tIns="0" rIns="0" bIns="0" rtlCol="0">
              <a:spAutoFit/>
            </a:bodyPr>
            <a:lstStyle>
              <a:lvl1pPr marL="0" indent="0" algn="l" defTabSz="914400" rtl="0" eaLnBrk="1" latinLnBrk="0" hangingPunct="1">
                <a:lnSpc>
                  <a:spcPct val="90000"/>
                </a:lnSpc>
                <a:spcBef>
                  <a:spcPts val="600"/>
                </a:spcBef>
                <a:buFont typeface="Arial" panose="020B0604020202020204" pitchFamily="34" charset="0"/>
                <a:buNone/>
                <a:defRPr sz="1100" kern="1200">
                  <a:solidFill>
                    <a:schemeClr val="tx1"/>
                  </a:solidFill>
                  <a:latin typeface="+mn-lt"/>
                  <a:ea typeface="+mn-ea"/>
                  <a:cs typeface="+mn-cs"/>
                </a:defRPr>
              </a:lvl1pPr>
              <a:lvl2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2pPr>
              <a:lvl3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3pPr>
              <a:lvl4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4pPr>
              <a:lvl5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lgn="ctr">
                <a:lnSpc>
                  <a:spcPct val="150000"/>
                </a:lnSpc>
                <a:defRPr/>
              </a:pPr>
              <a:r>
                <a:rPr lang="en-US" sz="1000" dirty="0" err="1"/>
                <a:t>Lorem</a:t>
              </a:r>
              <a:r>
                <a:rPr lang="en-US" sz="1000" dirty="0"/>
                <a:t> </a:t>
              </a:r>
              <a:r>
                <a:rPr lang="en-US" sz="1000" dirty="0" err="1"/>
                <a:t>Ipsum</a:t>
              </a:r>
              <a:r>
                <a:rPr lang="en-US" sz="1000" dirty="0"/>
                <a:t> is simply dummy text of the printing and typesetting industry. </a:t>
              </a:r>
            </a:p>
          </p:txBody>
        </p:sp>
        <p:sp>
          <p:nvSpPr>
            <p:cNvPr id="317" name="Text Placeholder 4"/>
            <p:cNvSpPr txBox="1">
              <a:spLocks/>
            </p:cNvSpPr>
            <p:nvPr/>
          </p:nvSpPr>
          <p:spPr>
            <a:xfrm>
              <a:off x="1077091" y="3828568"/>
              <a:ext cx="815140" cy="276999"/>
            </a:xfrm>
            <a:prstGeom prst="rect">
              <a:avLst/>
            </a:prstGeom>
          </p:spPr>
          <p:txBody>
            <a:bodyPr vert="horz" wrap="square" lIns="0" tIns="0" rIns="0" bIns="0" rtlCol="0">
              <a:spAutoFit/>
            </a:bodyPr>
            <a:lstStyle>
              <a:lvl1pPr marL="0" indent="0" algn="l" defTabSz="914400" rtl="0" eaLnBrk="1" latinLnBrk="0" hangingPunct="1">
                <a:lnSpc>
                  <a:spcPct val="90000"/>
                </a:lnSpc>
                <a:spcBef>
                  <a:spcPts val="600"/>
                </a:spcBef>
                <a:buFont typeface="Arial" panose="020B0604020202020204" pitchFamily="34" charset="0"/>
                <a:buNone/>
                <a:defRPr sz="1100" kern="1200">
                  <a:solidFill>
                    <a:schemeClr val="tx1"/>
                  </a:solidFill>
                  <a:latin typeface="+mn-lt"/>
                  <a:ea typeface="+mn-ea"/>
                  <a:cs typeface="+mn-cs"/>
                </a:defRPr>
              </a:lvl1pPr>
              <a:lvl2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2pPr>
              <a:lvl3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3pPr>
              <a:lvl4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4pPr>
              <a:lvl5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50000"/>
                </a:lnSpc>
                <a:spcBef>
                  <a:spcPts val="600"/>
                </a:spcBef>
                <a:spcAft>
                  <a:spcPts val="0"/>
                </a:spcAft>
                <a:buClrTx/>
                <a:buSzTx/>
                <a:buFont typeface="Arial" panose="020B0604020202020204" pitchFamily="34" charset="0"/>
                <a:buNone/>
                <a:tabLst/>
                <a:defRPr/>
              </a:pPr>
              <a:r>
                <a:rPr kumimoji="0" lang="en-US" sz="1200" b="1" i="0" u="none" strike="noStrike" kern="1200" cap="none" spc="0" normalizeH="0" baseline="0" noProof="0" dirty="0">
                  <a:ln>
                    <a:noFill/>
                  </a:ln>
                  <a:effectLst/>
                  <a:uLnTx/>
                  <a:uFillTx/>
                  <a:ea typeface="+mn-ea"/>
                  <a:cs typeface="+mn-cs"/>
                </a:rPr>
                <a:t>STEP 06</a:t>
              </a:r>
            </a:p>
          </p:txBody>
        </p:sp>
      </p:grpSp>
      <p:sp>
        <p:nvSpPr>
          <p:cNvPr id="318" name="Freeform 295"/>
          <p:cNvSpPr>
            <a:spLocks noEditPoints="1"/>
          </p:cNvSpPr>
          <p:nvPr/>
        </p:nvSpPr>
        <p:spPr bwMode="auto">
          <a:xfrm>
            <a:off x="3759212" y="3707080"/>
            <a:ext cx="285750" cy="284163"/>
          </a:xfrm>
          <a:custGeom>
            <a:avLst/>
            <a:gdLst>
              <a:gd name="T0" fmla="*/ 35 w 896"/>
              <a:gd name="T1" fmla="*/ 256 h 896"/>
              <a:gd name="T2" fmla="*/ 58 w 896"/>
              <a:gd name="T3" fmla="*/ 190 h 896"/>
              <a:gd name="T4" fmla="*/ 94 w 896"/>
              <a:gd name="T5" fmla="*/ 132 h 896"/>
              <a:gd name="T6" fmla="*/ 143 w 896"/>
              <a:gd name="T7" fmla="*/ 85 h 896"/>
              <a:gd name="T8" fmla="*/ 203 w 896"/>
              <a:gd name="T9" fmla="*/ 51 h 896"/>
              <a:gd name="T10" fmla="*/ 271 w 896"/>
              <a:gd name="T11" fmla="*/ 33 h 896"/>
              <a:gd name="T12" fmla="*/ 342 w 896"/>
              <a:gd name="T13" fmla="*/ 31 h 896"/>
              <a:gd name="T14" fmla="*/ 411 w 896"/>
              <a:gd name="T15" fmla="*/ 47 h 896"/>
              <a:gd name="T16" fmla="*/ 472 w 896"/>
              <a:gd name="T17" fmla="*/ 78 h 896"/>
              <a:gd name="T18" fmla="*/ 523 w 896"/>
              <a:gd name="T19" fmla="*/ 123 h 896"/>
              <a:gd name="T20" fmla="*/ 563 w 896"/>
              <a:gd name="T21" fmla="*/ 178 h 896"/>
              <a:gd name="T22" fmla="*/ 588 w 896"/>
              <a:gd name="T23" fmla="*/ 242 h 896"/>
              <a:gd name="T24" fmla="*/ 597 w 896"/>
              <a:gd name="T25" fmla="*/ 313 h 896"/>
              <a:gd name="T26" fmla="*/ 588 w 896"/>
              <a:gd name="T27" fmla="*/ 384 h 896"/>
              <a:gd name="T28" fmla="*/ 563 w 896"/>
              <a:gd name="T29" fmla="*/ 448 h 896"/>
              <a:gd name="T30" fmla="*/ 523 w 896"/>
              <a:gd name="T31" fmla="*/ 503 h 896"/>
              <a:gd name="T32" fmla="*/ 472 w 896"/>
              <a:gd name="T33" fmla="*/ 548 h 896"/>
              <a:gd name="T34" fmla="*/ 411 w 896"/>
              <a:gd name="T35" fmla="*/ 579 h 896"/>
              <a:gd name="T36" fmla="*/ 342 w 896"/>
              <a:gd name="T37" fmla="*/ 595 h 896"/>
              <a:gd name="T38" fmla="*/ 271 w 896"/>
              <a:gd name="T39" fmla="*/ 593 h 896"/>
              <a:gd name="T40" fmla="*/ 203 w 896"/>
              <a:gd name="T41" fmla="*/ 575 h 896"/>
              <a:gd name="T42" fmla="*/ 143 w 896"/>
              <a:gd name="T43" fmla="*/ 541 h 896"/>
              <a:gd name="T44" fmla="*/ 94 w 896"/>
              <a:gd name="T45" fmla="*/ 494 h 896"/>
              <a:gd name="T46" fmla="*/ 58 w 896"/>
              <a:gd name="T47" fmla="*/ 436 h 896"/>
              <a:gd name="T48" fmla="*/ 35 w 896"/>
              <a:gd name="T49" fmla="*/ 370 h 896"/>
              <a:gd name="T50" fmla="*/ 892 w 896"/>
              <a:gd name="T51" fmla="*/ 870 h 896"/>
              <a:gd name="T52" fmla="*/ 580 w 896"/>
              <a:gd name="T53" fmla="*/ 479 h 896"/>
              <a:gd name="T54" fmla="*/ 611 w 896"/>
              <a:gd name="T55" fmla="*/ 415 h 896"/>
              <a:gd name="T56" fmla="*/ 626 w 896"/>
              <a:gd name="T57" fmla="*/ 343 h 896"/>
              <a:gd name="T58" fmla="*/ 624 w 896"/>
              <a:gd name="T59" fmla="*/ 265 h 896"/>
              <a:gd name="T60" fmla="*/ 602 w 896"/>
              <a:gd name="T61" fmla="*/ 191 h 896"/>
              <a:gd name="T62" fmla="*/ 565 w 896"/>
              <a:gd name="T63" fmla="*/ 125 h 896"/>
              <a:gd name="T64" fmla="*/ 513 w 896"/>
              <a:gd name="T65" fmla="*/ 71 h 896"/>
              <a:gd name="T66" fmla="*/ 449 w 896"/>
              <a:gd name="T67" fmla="*/ 31 h 896"/>
              <a:gd name="T68" fmla="*/ 376 w 896"/>
              <a:gd name="T69" fmla="*/ 6 h 896"/>
              <a:gd name="T70" fmla="*/ 297 w 896"/>
              <a:gd name="T71" fmla="*/ 0 h 896"/>
              <a:gd name="T72" fmla="*/ 220 w 896"/>
              <a:gd name="T73" fmla="*/ 14 h 896"/>
              <a:gd name="T74" fmla="*/ 151 w 896"/>
              <a:gd name="T75" fmla="*/ 45 h 896"/>
              <a:gd name="T76" fmla="*/ 92 w 896"/>
              <a:gd name="T77" fmla="*/ 92 h 896"/>
              <a:gd name="T78" fmla="*/ 45 w 896"/>
              <a:gd name="T79" fmla="*/ 150 h 896"/>
              <a:gd name="T80" fmla="*/ 14 w 896"/>
              <a:gd name="T81" fmla="*/ 220 h 896"/>
              <a:gd name="T82" fmla="*/ 0 w 896"/>
              <a:gd name="T83" fmla="*/ 297 h 896"/>
              <a:gd name="T84" fmla="*/ 6 w 896"/>
              <a:gd name="T85" fmla="*/ 376 h 896"/>
              <a:gd name="T86" fmla="*/ 31 w 896"/>
              <a:gd name="T87" fmla="*/ 449 h 896"/>
              <a:gd name="T88" fmla="*/ 72 w 896"/>
              <a:gd name="T89" fmla="*/ 512 h 896"/>
              <a:gd name="T90" fmla="*/ 126 w 896"/>
              <a:gd name="T91" fmla="*/ 564 h 896"/>
              <a:gd name="T92" fmla="*/ 191 w 896"/>
              <a:gd name="T93" fmla="*/ 602 h 896"/>
              <a:gd name="T94" fmla="*/ 265 w 896"/>
              <a:gd name="T95" fmla="*/ 623 h 896"/>
              <a:gd name="T96" fmla="*/ 343 w 896"/>
              <a:gd name="T97" fmla="*/ 625 h 896"/>
              <a:gd name="T98" fmla="*/ 415 w 896"/>
              <a:gd name="T99" fmla="*/ 609 h 896"/>
              <a:gd name="T100" fmla="*/ 479 w 896"/>
              <a:gd name="T101" fmla="*/ 579 h 896"/>
              <a:gd name="T102" fmla="*/ 871 w 896"/>
              <a:gd name="T103" fmla="*/ 891 h 896"/>
              <a:gd name="T104" fmla="*/ 885 w 896"/>
              <a:gd name="T105" fmla="*/ 896 h 896"/>
              <a:gd name="T106" fmla="*/ 895 w 896"/>
              <a:gd name="T107" fmla="*/ 886 h 896"/>
              <a:gd name="T108" fmla="*/ 894 w 896"/>
              <a:gd name="T109" fmla="*/ 872 h 8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896" h="896">
                <a:moveTo>
                  <a:pt x="30" y="313"/>
                </a:moveTo>
                <a:lnTo>
                  <a:pt x="30" y="298"/>
                </a:lnTo>
                <a:lnTo>
                  <a:pt x="31" y="284"/>
                </a:lnTo>
                <a:lnTo>
                  <a:pt x="33" y="270"/>
                </a:lnTo>
                <a:lnTo>
                  <a:pt x="35" y="256"/>
                </a:lnTo>
                <a:lnTo>
                  <a:pt x="38" y="242"/>
                </a:lnTo>
                <a:lnTo>
                  <a:pt x="43" y="228"/>
                </a:lnTo>
                <a:lnTo>
                  <a:pt x="47" y="216"/>
                </a:lnTo>
                <a:lnTo>
                  <a:pt x="51" y="203"/>
                </a:lnTo>
                <a:lnTo>
                  <a:pt x="58" y="190"/>
                </a:lnTo>
                <a:lnTo>
                  <a:pt x="64" y="178"/>
                </a:lnTo>
                <a:lnTo>
                  <a:pt x="71" y="165"/>
                </a:lnTo>
                <a:lnTo>
                  <a:pt x="78" y="155"/>
                </a:lnTo>
                <a:lnTo>
                  <a:pt x="86" y="143"/>
                </a:lnTo>
                <a:lnTo>
                  <a:pt x="94" y="132"/>
                </a:lnTo>
                <a:lnTo>
                  <a:pt x="104" y="123"/>
                </a:lnTo>
                <a:lnTo>
                  <a:pt x="112" y="112"/>
                </a:lnTo>
                <a:lnTo>
                  <a:pt x="123" y="103"/>
                </a:lnTo>
                <a:lnTo>
                  <a:pt x="133" y="94"/>
                </a:lnTo>
                <a:lnTo>
                  <a:pt x="143" y="85"/>
                </a:lnTo>
                <a:lnTo>
                  <a:pt x="155" y="78"/>
                </a:lnTo>
                <a:lnTo>
                  <a:pt x="166" y="70"/>
                </a:lnTo>
                <a:lnTo>
                  <a:pt x="179" y="64"/>
                </a:lnTo>
                <a:lnTo>
                  <a:pt x="190" y="57"/>
                </a:lnTo>
                <a:lnTo>
                  <a:pt x="203" y="51"/>
                </a:lnTo>
                <a:lnTo>
                  <a:pt x="216" y="47"/>
                </a:lnTo>
                <a:lnTo>
                  <a:pt x="229" y="41"/>
                </a:lnTo>
                <a:lnTo>
                  <a:pt x="243" y="38"/>
                </a:lnTo>
                <a:lnTo>
                  <a:pt x="257" y="35"/>
                </a:lnTo>
                <a:lnTo>
                  <a:pt x="271" y="33"/>
                </a:lnTo>
                <a:lnTo>
                  <a:pt x="284" y="31"/>
                </a:lnTo>
                <a:lnTo>
                  <a:pt x="298" y="30"/>
                </a:lnTo>
                <a:lnTo>
                  <a:pt x="313" y="29"/>
                </a:lnTo>
                <a:lnTo>
                  <a:pt x="328" y="30"/>
                </a:lnTo>
                <a:lnTo>
                  <a:pt x="342" y="31"/>
                </a:lnTo>
                <a:lnTo>
                  <a:pt x="356" y="33"/>
                </a:lnTo>
                <a:lnTo>
                  <a:pt x="370" y="35"/>
                </a:lnTo>
                <a:lnTo>
                  <a:pt x="384" y="38"/>
                </a:lnTo>
                <a:lnTo>
                  <a:pt x="398" y="41"/>
                </a:lnTo>
                <a:lnTo>
                  <a:pt x="411" y="47"/>
                </a:lnTo>
                <a:lnTo>
                  <a:pt x="424" y="51"/>
                </a:lnTo>
                <a:lnTo>
                  <a:pt x="436" y="57"/>
                </a:lnTo>
                <a:lnTo>
                  <a:pt x="448" y="64"/>
                </a:lnTo>
                <a:lnTo>
                  <a:pt x="461" y="70"/>
                </a:lnTo>
                <a:lnTo>
                  <a:pt x="472" y="78"/>
                </a:lnTo>
                <a:lnTo>
                  <a:pt x="483" y="85"/>
                </a:lnTo>
                <a:lnTo>
                  <a:pt x="494" y="94"/>
                </a:lnTo>
                <a:lnTo>
                  <a:pt x="504" y="102"/>
                </a:lnTo>
                <a:lnTo>
                  <a:pt x="514" y="112"/>
                </a:lnTo>
                <a:lnTo>
                  <a:pt x="523" y="123"/>
                </a:lnTo>
                <a:lnTo>
                  <a:pt x="533" y="132"/>
                </a:lnTo>
                <a:lnTo>
                  <a:pt x="541" y="143"/>
                </a:lnTo>
                <a:lnTo>
                  <a:pt x="549" y="155"/>
                </a:lnTo>
                <a:lnTo>
                  <a:pt x="556" y="165"/>
                </a:lnTo>
                <a:lnTo>
                  <a:pt x="563" y="178"/>
                </a:lnTo>
                <a:lnTo>
                  <a:pt x="569" y="190"/>
                </a:lnTo>
                <a:lnTo>
                  <a:pt x="575" y="203"/>
                </a:lnTo>
                <a:lnTo>
                  <a:pt x="580" y="216"/>
                </a:lnTo>
                <a:lnTo>
                  <a:pt x="585" y="228"/>
                </a:lnTo>
                <a:lnTo>
                  <a:pt x="588" y="242"/>
                </a:lnTo>
                <a:lnTo>
                  <a:pt x="591" y="256"/>
                </a:lnTo>
                <a:lnTo>
                  <a:pt x="594" y="270"/>
                </a:lnTo>
                <a:lnTo>
                  <a:pt x="596" y="284"/>
                </a:lnTo>
                <a:lnTo>
                  <a:pt x="597" y="298"/>
                </a:lnTo>
                <a:lnTo>
                  <a:pt x="597" y="313"/>
                </a:lnTo>
                <a:lnTo>
                  <a:pt x="597" y="328"/>
                </a:lnTo>
                <a:lnTo>
                  <a:pt x="596" y="342"/>
                </a:lnTo>
                <a:lnTo>
                  <a:pt x="594" y="356"/>
                </a:lnTo>
                <a:lnTo>
                  <a:pt x="591" y="370"/>
                </a:lnTo>
                <a:lnTo>
                  <a:pt x="588" y="384"/>
                </a:lnTo>
                <a:lnTo>
                  <a:pt x="585" y="397"/>
                </a:lnTo>
                <a:lnTo>
                  <a:pt x="580" y="410"/>
                </a:lnTo>
                <a:lnTo>
                  <a:pt x="575" y="423"/>
                </a:lnTo>
                <a:lnTo>
                  <a:pt x="569" y="436"/>
                </a:lnTo>
                <a:lnTo>
                  <a:pt x="563" y="448"/>
                </a:lnTo>
                <a:lnTo>
                  <a:pt x="556" y="459"/>
                </a:lnTo>
                <a:lnTo>
                  <a:pt x="549" y="471"/>
                </a:lnTo>
                <a:lnTo>
                  <a:pt x="541" y="483"/>
                </a:lnTo>
                <a:lnTo>
                  <a:pt x="533" y="494"/>
                </a:lnTo>
                <a:lnTo>
                  <a:pt x="523" y="503"/>
                </a:lnTo>
                <a:lnTo>
                  <a:pt x="514" y="514"/>
                </a:lnTo>
                <a:lnTo>
                  <a:pt x="504" y="523"/>
                </a:lnTo>
                <a:lnTo>
                  <a:pt x="494" y="532"/>
                </a:lnTo>
                <a:lnTo>
                  <a:pt x="483" y="541"/>
                </a:lnTo>
                <a:lnTo>
                  <a:pt x="472" y="548"/>
                </a:lnTo>
                <a:lnTo>
                  <a:pt x="461" y="556"/>
                </a:lnTo>
                <a:lnTo>
                  <a:pt x="448" y="562"/>
                </a:lnTo>
                <a:lnTo>
                  <a:pt x="436" y="569"/>
                </a:lnTo>
                <a:lnTo>
                  <a:pt x="424" y="575"/>
                </a:lnTo>
                <a:lnTo>
                  <a:pt x="411" y="579"/>
                </a:lnTo>
                <a:lnTo>
                  <a:pt x="398" y="583"/>
                </a:lnTo>
                <a:lnTo>
                  <a:pt x="384" y="588"/>
                </a:lnTo>
                <a:lnTo>
                  <a:pt x="370" y="591"/>
                </a:lnTo>
                <a:lnTo>
                  <a:pt x="356" y="593"/>
                </a:lnTo>
                <a:lnTo>
                  <a:pt x="342" y="595"/>
                </a:lnTo>
                <a:lnTo>
                  <a:pt x="328" y="596"/>
                </a:lnTo>
                <a:lnTo>
                  <a:pt x="313" y="596"/>
                </a:lnTo>
                <a:lnTo>
                  <a:pt x="298" y="596"/>
                </a:lnTo>
                <a:lnTo>
                  <a:pt x="284" y="595"/>
                </a:lnTo>
                <a:lnTo>
                  <a:pt x="271" y="593"/>
                </a:lnTo>
                <a:lnTo>
                  <a:pt x="257" y="591"/>
                </a:lnTo>
                <a:lnTo>
                  <a:pt x="243" y="588"/>
                </a:lnTo>
                <a:lnTo>
                  <a:pt x="229" y="583"/>
                </a:lnTo>
                <a:lnTo>
                  <a:pt x="216" y="579"/>
                </a:lnTo>
                <a:lnTo>
                  <a:pt x="203" y="575"/>
                </a:lnTo>
                <a:lnTo>
                  <a:pt x="190" y="569"/>
                </a:lnTo>
                <a:lnTo>
                  <a:pt x="179" y="562"/>
                </a:lnTo>
                <a:lnTo>
                  <a:pt x="166" y="556"/>
                </a:lnTo>
                <a:lnTo>
                  <a:pt x="155" y="548"/>
                </a:lnTo>
                <a:lnTo>
                  <a:pt x="143" y="541"/>
                </a:lnTo>
                <a:lnTo>
                  <a:pt x="133" y="532"/>
                </a:lnTo>
                <a:lnTo>
                  <a:pt x="123" y="523"/>
                </a:lnTo>
                <a:lnTo>
                  <a:pt x="112" y="514"/>
                </a:lnTo>
                <a:lnTo>
                  <a:pt x="104" y="503"/>
                </a:lnTo>
                <a:lnTo>
                  <a:pt x="94" y="494"/>
                </a:lnTo>
                <a:lnTo>
                  <a:pt x="86" y="483"/>
                </a:lnTo>
                <a:lnTo>
                  <a:pt x="78" y="471"/>
                </a:lnTo>
                <a:lnTo>
                  <a:pt x="71" y="459"/>
                </a:lnTo>
                <a:lnTo>
                  <a:pt x="64" y="448"/>
                </a:lnTo>
                <a:lnTo>
                  <a:pt x="58" y="436"/>
                </a:lnTo>
                <a:lnTo>
                  <a:pt x="51" y="423"/>
                </a:lnTo>
                <a:lnTo>
                  <a:pt x="47" y="410"/>
                </a:lnTo>
                <a:lnTo>
                  <a:pt x="43" y="397"/>
                </a:lnTo>
                <a:lnTo>
                  <a:pt x="38" y="384"/>
                </a:lnTo>
                <a:lnTo>
                  <a:pt x="35" y="370"/>
                </a:lnTo>
                <a:lnTo>
                  <a:pt x="33" y="356"/>
                </a:lnTo>
                <a:lnTo>
                  <a:pt x="31" y="342"/>
                </a:lnTo>
                <a:lnTo>
                  <a:pt x="30" y="328"/>
                </a:lnTo>
                <a:lnTo>
                  <a:pt x="30" y="313"/>
                </a:lnTo>
                <a:close/>
                <a:moveTo>
                  <a:pt x="892" y="870"/>
                </a:moveTo>
                <a:lnTo>
                  <a:pt x="545" y="524"/>
                </a:lnTo>
                <a:lnTo>
                  <a:pt x="554" y="513"/>
                </a:lnTo>
                <a:lnTo>
                  <a:pt x="564" y="502"/>
                </a:lnTo>
                <a:lnTo>
                  <a:pt x="571" y="490"/>
                </a:lnTo>
                <a:lnTo>
                  <a:pt x="580" y="479"/>
                </a:lnTo>
                <a:lnTo>
                  <a:pt x="587" y="466"/>
                </a:lnTo>
                <a:lnTo>
                  <a:pt x="594" y="454"/>
                </a:lnTo>
                <a:lnTo>
                  <a:pt x="600" y="441"/>
                </a:lnTo>
                <a:lnTo>
                  <a:pt x="605" y="427"/>
                </a:lnTo>
                <a:lnTo>
                  <a:pt x="611" y="415"/>
                </a:lnTo>
                <a:lnTo>
                  <a:pt x="615" y="401"/>
                </a:lnTo>
                <a:lnTo>
                  <a:pt x="618" y="387"/>
                </a:lnTo>
                <a:lnTo>
                  <a:pt x="621" y="372"/>
                </a:lnTo>
                <a:lnTo>
                  <a:pt x="624" y="358"/>
                </a:lnTo>
                <a:lnTo>
                  <a:pt x="626" y="343"/>
                </a:lnTo>
                <a:lnTo>
                  <a:pt x="627" y="328"/>
                </a:lnTo>
                <a:lnTo>
                  <a:pt x="627" y="313"/>
                </a:lnTo>
                <a:lnTo>
                  <a:pt x="627" y="297"/>
                </a:lnTo>
                <a:lnTo>
                  <a:pt x="626" y="281"/>
                </a:lnTo>
                <a:lnTo>
                  <a:pt x="624" y="265"/>
                </a:lnTo>
                <a:lnTo>
                  <a:pt x="620" y="250"/>
                </a:lnTo>
                <a:lnTo>
                  <a:pt x="617" y="235"/>
                </a:lnTo>
                <a:lnTo>
                  <a:pt x="613" y="220"/>
                </a:lnTo>
                <a:lnTo>
                  <a:pt x="609" y="205"/>
                </a:lnTo>
                <a:lnTo>
                  <a:pt x="602" y="191"/>
                </a:lnTo>
                <a:lnTo>
                  <a:pt x="596" y="177"/>
                </a:lnTo>
                <a:lnTo>
                  <a:pt x="589" y="163"/>
                </a:lnTo>
                <a:lnTo>
                  <a:pt x="582" y="150"/>
                </a:lnTo>
                <a:lnTo>
                  <a:pt x="573" y="138"/>
                </a:lnTo>
                <a:lnTo>
                  <a:pt x="565" y="125"/>
                </a:lnTo>
                <a:lnTo>
                  <a:pt x="555" y="113"/>
                </a:lnTo>
                <a:lnTo>
                  <a:pt x="545" y="102"/>
                </a:lnTo>
                <a:lnTo>
                  <a:pt x="535" y="92"/>
                </a:lnTo>
                <a:lnTo>
                  <a:pt x="524" y="81"/>
                </a:lnTo>
                <a:lnTo>
                  <a:pt x="513" y="71"/>
                </a:lnTo>
                <a:lnTo>
                  <a:pt x="501" y="62"/>
                </a:lnTo>
                <a:lnTo>
                  <a:pt x="489" y="53"/>
                </a:lnTo>
                <a:lnTo>
                  <a:pt x="476" y="45"/>
                </a:lnTo>
                <a:lnTo>
                  <a:pt x="463" y="37"/>
                </a:lnTo>
                <a:lnTo>
                  <a:pt x="449" y="31"/>
                </a:lnTo>
                <a:lnTo>
                  <a:pt x="435" y="24"/>
                </a:lnTo>
                <a:lnTo>
                  <a:pt x="421" y="18"/>
                </a:lnTo>
                <a:lnTo>
                  <a:pt x="406" y="14"/>
                </a:lnTo>
                <a:lnTo>
                  <a:pt x="391" y="9"/>
                </a:lnTo>
                <a:lnTo>
                  <a:pt x="376" y="6"/>
                </a:lnTo>
                <a:lnTo>
                  <a:pt x="361" y="3"/>
                </a:lnTo>
                <a:lnTo>
                  <a:pt x="345" y="1"/>
                </a:lnTo>
                <a:lnTo>
                  <a:pt x="329" y="0"/>
                </a:lnTo>
                <a:lnTo>
                  <a:pt x="313" y="0"/>
                </a:lnTo>
                <a:lnTo>
                  <a:pt x="297" y="0"/>
                </a:lnTo>
                <a:lnTo>
                  <a:pt x="281" y="1"/>
                </a:lnTo>
                <a:lnTo>
                  <a:pt x="265" y="3"/>
                </a:lnTo>
                <a:lnTo>
                  <a:pt x="250" y="5"/>
                </a:lnTo>
                <a:lnTo>
                  <a:pt x="235" y="9"/>
                </a:lnTo>
                <a:lnTo>
                  <a:pt x="220" y="14"/>
                </a:lnTo>
                <a:lnTo>
                  <a:pt x="205" y="18"/>
                </a:lnTo>
                <a:lnTo>
                  <a:pt x="191" y="24"/>
                </a:lnTo>
                <a:lnTo>
                  <a:pt x="178" y="30"/>
                </a:lnTo>
                <a:lnTo>
                  <a:pt x="164" y="37"/>
                </a:lnTo>
                <a:lnTo>
                  <a:pt x="151" y="45"/>
                </a:lnTo>
                <a:lnTo>
                  <a:pt x="138" y="53"/>
                </a:lnTo>
                <a:lnTo>
                  <a:pt x="126" y="62"/>
                </a:lnTo>
                <a:lnTo>
                  <a:pt x="114" y="71"/>
                </a:lnTo>
                <a:lnTo>
                  <a:pt x="103" y="81"/>
                </a:lnTo>
                <a:lnTo>
                  <a:pt x="92" y="92"/>
                </a:lnTo>
                <a:lnTo>
                  <a:pt x="81" y="102"/>
                </a:lnTo>
                <a:lnTo>
                  <a:pt x="72" y="113"/>
                </a:lnTo>
                <a:lnTo>
                  <a:pt x="62" y="125"/>
                </a:lnTo>
                <a:lnTo>
                  <a:pt x="53" y="138"/>
                </a:lnTo>
                <a:lnTo>
                  <a:pt x="45" y="150"/>
                </a:lnTo>
                <a:lnTo>
                  <a:pt x="37" y="163"/>
                </a:lnTo>
                <a:lnTo>
                  <a:pt x="31" y="177"/>
                </a:lnTo>
                <a:lnTo>
                  <a:pt x="25" y="191"/>
                </a:lnTo>
                <a:lnTo>
                  <a:pt x="18" y="205"/>
                </a:lnTo>
                <a:lnTo>
                  <a:pt x="14" y="220"/>
                </a:lnTo>
                <a:lnTo>
                  <a:pt x="10" y="235"/>
                </a:lnTo>
                <a:lnTo>
                  <a:pt x="6" y="250"/>
                </a:lnTo>
                <a:lnTo>
                  <a:pt x="3" y="265"/>
                </a:lnTo>
                <a:lnTo>
                  <a:pt x="1" y="281"/>
                </a:lnTo>
                <a:lnTo>
                  <a:pt x="0" y="297"/>
                </a:lnTo>
                <a:lnTo>
                  <a:pt x="0" y="313"/>
                </a:lnTo>
                <a:lnTo>
                  <a:pt x="0" y="329"/>
                </a:lnTo>
                <a:lnTo>
                  <a:pt x="1" y="345"/>
                </a:lnTo>
                <a:lnTo>
                  <a:pt x="3" y="361"/>
                </a:lnTo>
                <a:lnTo>
                  <a:pt x="6" y="376"/>
                </a:lnTo>
                <a:lnTo>
                  <a:pt x="10" y="391"/>
                </a:lnTo>
                <a:lnTo>
                  <a:pt x="14" y="406"/>
                </a:lnTo>
                <a:lnTo>
                  <a:pt x="18" y="421"/>
                </a:lnTo>
                <a:lnTo>
                  <a:pt x="25" y="435"/>
                </a:lnTo>
                <a:lnTo>
                  <a:pt x="31" y="449"/>
                </a:lnTo>
                <a:lnTo>
                  <a:pt x="37" y="463"/>
                </a:lnTo>
                <a:lnTo>
                  <a:pt x="45" y="475"/>
                </a:lnTo>
                <a:lnTo>
                  <a:pt x="53" y="488"/>
                </a:lnTo>
                <a:lnTo>
                  <a:pt x="62" y="500"/>
                </a:lnTo>
                <a:lnTo>
                  <a:pt x="72" y="512"/>
                </a:lnTo>
                <a:lnTo>
                  <a:pt x="81" y="524"/>
                </a:lnTo>
                <a:lnTo>
                  <a:pt x="92" y="534"/>
                </a:lnTo>
                <a:lnTo>
                  <a:pt x="103" y="545"/>
                </a:lnTo>
                <a:lnTo>
                  <a:pt x="114" y="555"/>
                </a:lnTo>
                <a:lnTo>
                  <a:pt x="126" y="564"/>
                </a:lnTo>
                <a:lnTo>
                  <a:pt x="138" y="573"/>
                </a:lnTo>
                <a:lnTo>
                  <a:pt x="151" y="581"/>
                </a:lnTo>
                <a:lnTo>
                  <a:pt x="164" y="589"/>
                </a:lnTo>
                <a:lnTo>
                  <a:pt x="178" y="595"/>
                </a:lnTo>
                <a:lnTo>
                  <a:pt x="191" y="602"/>
                </a:lnTo>
                <a:lnTo>
                  <a:pt x="205" y="608"/>
                </a:lnTo>
                <a:lnTo>
                  <a:pt x="220" y="612"/>
                </a:lnTo>
                <a:lnTo>
                  <a:pt x="235" y="617"/>
                </a:lnTo>
                <a:lnTo>
                  <a:pt x="250" y="620"/>
                </a:lnTo>
                <a:lnTo>
                  <a:pt x="265" y="623"/>
                </a:lnTo>
                <a:lnTo>
                  <a:pt x="281" y="625"/>
                </a:lnTo>
                <a:lnTo>
                  <a:pt x="297" y="626"/>
                </a:lnTo>
                <a:lnTo>
                  <a:pt x="313" y="626"/>
                </a:lnTo>
                <a:lnTo>
                  <a:pt x="328" y="626"/>
                </a:lnTo>
                <a:lnTo>
                  <a:pt x="343" y="625"/>
                </a:lnTo>
                <a:lnTo>
                  <a:pt x="358" y="623"/>
                </a:lnTo>
                <a:lnTo>
                  <a:pt x="372" y="621"/>
                </a:lnTo>
                <a:lnTo>
                  <a:pt x="387" y="618"/>
                </a:lnTo>
                <a:lnTo>
                  <a:pt x="401" y="614"/>
                </a:lnTo>
                <a:lnTo>
                  <a:pt x="415" y="609"/>
                </a:lnTo>
                <a:lnTo>
                  <a:pt x="428" y="605"/>
                </a:lnTo>
                <a:lnTo>
                  <a:pt x="442" y="600"/>
                </a:lnTo>
                <a:lnTo>
                  <a:pt x="455" y="593"/>
                </a:lnTo>
                <a:lnTo>
                  <a:pt x="467" y="587"/>
                </a:lnTo>
                <a:lnTo>
                  <a:pt x="479" y="579"/>
                </a:lnTo>
                <a:lnTo>
                  <a:pt x="491" y="571"/>
                </a:lnTo>
                <a:lnTo>
                  <a:pt x="503" y="563"/>
                </a:lnTo>
                <a:lnTo>
                  <a:pt x="513" y="554"/>
                </a:lnTo>
                <a:lnTo>
                  <a:pt x="524" y="545"/>
                </a:lnTo>
                <a:lnTo>
                  <a:pt x="871" y="891"/>
                </a:lnTo>
                <a:lnTo>
                  <a:pt x="873" y="893"/>
                </a:lnTo>
                <a:lnTo>
                  <a:pt x="876" y="895"/>
                </a:lnTo>
                <a:lnTo>
                  <a:pt x="878" y="896"/>
                </a:lnTo>
                <a:lnTo>
                  <a:pt x="881" y="896"/>
                </a:lnTo>
                <a:lnTo>
                  <a:pt x="885" y="896"/>
                </a:lnTo>
                <a:lnTo>
                  <a:pt x="887" y="895"/>
                </a:lnTo>
                <a:lnTo>
                  <a:pt x="890" y="894"/>
                </a:lnTo>
                <a:lnTo>
                  <a:pt x="892" y="891"/>
                </a:lnTo>
                <a:lnTo>
                  <a:pt x="894" y="889"/>
                </a:lnTo>
                <a:lnTo>
                  <a:pt x="895" y="886"/>
                </a:lnTo>
                <a:lnTo>
                  <a:pt x="896" y="884"/>
                </a:lnTo>
                <a:lnTo>
                  <a:pt x="896" y="881"/>
                </a:lnTo>
                <a:lnTo>
                  <a:pt x="896" y="878"/>
                </a:lnTo>
                <a:lnTo>
                  <a:pt x="895" y="875"/>
                </a:lnTo>
                <a:lnTo>
                  <a:pt x="894" y="872"/>
                </a:lnTo>
                <a:lnTo>
                  <a:pt x="892" y="870"/>
                </a:lnTo>
                <a:lnTo>
                  <a:pt x="892" y="87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319" name="Group 318"/>
          <p:cNvGrpSpPr/>
          <p:nvPr/>
        </p:nvGrpSpPr>
        <p:grpSpPr>
          <a:xfrm>
            <a:off x="2348997" y="3705493"/>
            <a:ext cx="200025" cy="287338"/>
            <a:chOff x="10501313" y="2228850"/>
            <a:chExt cx="200025" cy="287338"/>
          </a:xfrm>
          <a:solidFill>
            <a:schemeClr val="bg1"/>
          </a:solidFill>
        </p:grpSpPr>
        <p:sp>
          <p:nvSpPr>
            <p:cNvPr id="320" name="Freeform 203"/>
            <p:cNvSpPr>
              <a:spLocks noEditPoints="1"/>
            </p:cNvSpPr>
            <p:nvPr/>
          </p:nvSpPr>
          <p:spPr bwMode="auto">
            <a:xfrm>
              <a:off x="10501313" y="2228850"/>
              <a:ext cx="200025" cy="201613"/>
            </a:xfrm>
            <a:custGeom>
              <a:avLst/>
              <a:gdLst>
                <a:gd name="T0" fmla="*/ 373 w 632"/>
                <a:gd name="T1" fmla="*/ 511 h 631"/>
                <a:gd name="T2" fmla="*/ 447 w 632"/>
                <a:gd name="T3" fmla="*/ 447 h 631"/>
                <a:gd name="T4" fmla="*/ 450 w 632"/>
                <a:gd name="T5" fmla="*/ 431 h 631"/>
                <a:gd name="T6" fmla="*/ 436 w 632"/>
                <a:gd name="T7" fmla="*/ 421 h 631"/>
                <a:gd name="T8" fmla="*/ 327 w 632"/>
                <a:gd name="T9" fmla="*/ 426 h 631"/>
                <a:gd name="T10" fmla="*/ 310 w 632"/>
                <a:gd name="T11" fmla="*/ 422 h 631"/>
                <a:gd name="T12" fmla="*/ 202 w 632"/>
                <a:gd name="T13" fmla="*/ 422 h 631"/>
                <a:gd name="T14" fmla="*/ 184 w 632"/>
                <a:gd name="T15" fmla="*/ 426 h 631"/>
                <a:gd name="T16" fmla="*/ 181 w 632"/>
                <a:gd name="T17" fmla="*/ 442 h 631"/>
                <a:gd name="T18" fmla="*/ 253 w 632"/>
                <a:gd name="T19" fmla="*/ 511 h 631"/>
                <a:gd name="T20" fmla="*/ 301 w 632"/>
                <a:gd name="T21" fmla="*/ 473 h 631"/>
                <a:gd name="T22" fmla="*/ 233 w 632"/>
                <a:gd name="T23" fmla="*/ 589 h 631"/>
                <a:gd name="T24" fmla="*/ 160 w 632"/>
                <a:gd name="T25" fmla="*/ 555 h 631"/>
                <a:gd name="T26" fmla="*/ 100 w 632"/>
                <a:gd name="T27" fmla="*/ 503 h 631"/>
                <a:gd name="T28" fmla="*/ 57 w 632"/>
                <a:gd name="T29" fmla="*/ 436 h 631"/>
                <a:gd name="T30" fmla="*/ 33 w 632"/>
                <a:gd name="T31" fmla="*/ 358 h 631"/>
                <a:gd name="T32" fmla="*/ 33 w 632"/>
                <a:gd name="T33" fmla="*/ 272 h 631"/>
                <a:gd name="T34" fmla="*/ 58 w 632"/>
                <a:gd name="T35" fmla="*/ 192 h 631"/>
                <a:gd name="T36" fmla="*/ 104 w 632"/>
                <a:gd name="T37" fmla="*/ 123 h 631"/>
                <a:gd name="T38" fmla="*/ 167 w 632"/>
                <a:gd name="T39" fmla="*/ 72 h 631"/>
                <a:gd name="T40" fmla="*/ 244 w 632"/>
                <a:gd name="T41" fmla="*/ 38 h 631"/>
                <a:gd name="T42" fmla="*/ 330 w 632"/>
                <a:gd name="T43" fmla="*/ 30 h 631"/>
                <a:gd name="T44" fmla="*/ 414 w 632"/>
                <a:gd name="T45" fmla="*/ 47 h 631"/>
                <a:gd name="T46" fmla="*/ 487 w 632"/>
                <a:gd name="T47" fmla="*/ 87 h 631"/>
                <a:gd name="T48" fmla="*/ 545 w 632"/>
                <a:gd name="T49" fmla="*/ 145 h 631"/>
                <a:gd name="T50" fmla="*/ 584 w 632"/>
                <a:gd name="T51" fmla="*/ 218 h 631"/>
                <a:gd name="T52" fmla="*/ 602 w 632"/>
                <a:gd name="T53" fmla="*/ 301 h 631"/>
                <a:gd name="T54" fmla="*/ 593 w 632"/>
                <a:gd name="T55" fmla="*/ 385 h 631"/>
                <a:gd name="T56" fmla="*/ 563 w 632"/>
                <a:gd name="T57" fmla="*/ 460 h 631"/>
                <a:gd name="T58" fmla="*/ 514 w 632"/>
                <a:gd name="T59" fmla="*/ 522 h 631"/>
                <a:gd name="T60" fmla="*/ 449 w 632"/>
                <a:gd name="T61" fmla="*/ 568 h 631"/>
                <a:gd name="T62" fmla="*/ 372 w 632"/>
                <a:gd name="T63" fmla="*/ 596 h 631"/>
                <a:gd name="T64" fmla="*/ 283 w 632"/>
                <a:gd name="T65" fmla="*/ 1 h 631"/>
                <a:gd name="T66" fmla="*/ 193 w 632"/>
                <a:gd name="T67" fmla="*/ 25 h 631"/>
                <a:gd name="T68" fmla="*/ 115 w 632"/>
                <a:gd name="T69" fmla="*/ 72 h 631"/>
                <a:gd name="T70" fmla="*/ 54 w 632"/>
                <a:gd name="T71" fmla="*/ 139 h 631"/>
                <a:gd name="T72" fmla="*/ 14 w 632"/>
                <a:gd name="T73" fmla="*/ 222 h 631"/>
                <a:gd name="T74" fmla="*/ 0 w 632"/>
                <a:gd name="T75" fmla="*/ 316 h 631"/>
                <a:gd name="T76" fmla="*/ 14 w 632"/>
                <a:gd name="T77" fmla="*/ 410 h 631"/>
                <a:gd name="T78" fmla="*/ 54 w 632"/>
                <a:gd name="T79" fmla="*/ 492 h 631"/>
                <a:gd name="T80" fmla="*/ 115 w 632"/>
                <a:gd name="T81" fmla="*/ 560 h 631"/>
                <a:gd name="T82" fmla="*/ 193 w 632"/>
                <a:gd name="T83" fmla="*/ 607 h 631"/>
                <a:gd name="T84" fmla="*/ 283 w 632"/>
                <a:gd name="T85" fmla="*/ 630 h 631"/>
                <a:gd name="T86" fmla="*/ 380 w 632"/>
                <a:gd name="T87" fmla="*/ 625 h 631"/>
                <a:gd name="T88" fmla="*/ 466 w 632"/>
                <a:gd name="T89" fmla="*/ 594 h 631"/>
                <a:gd name="T90" fmla="*/ 539 w 632"/>
                <a:gd name="T91" fmla="*/ 539 h 631"/>
                <a:gd name="T92" fmla="*/ 594 w 632"/>
                <a:gd name="T93" fmla="*/ 466 h 631"/>
                <a:gd name="T94" fmla="*/ 625 w 632"/>
                <a:gd name="T95" fmla="*/ 379 h 631"/>
                <a:gd name="T96" fmla="*/ 631 w 632"/>
                <a:gd name="T97" fmla="*/ 284 h 631"/>
                <a:gd name="T98" fmla="*/ 607 w 632"/>
                <a:gd name="T99" fmla="*/ 193 h 631"/>
                <a:gd name="T100" fmla="*/ 560 w 632"/>
                <a:gd name="T101" fmla="*/ 115 h 631"/>
                <a:gd name="T102" fmla="*/ 492 w 632"/>
                <a:gd name="T103" fmla="*/ 53 h 631"/>
                <a:gd name="T104" fmla="*/ 410 w 632"/>
                <a:gd name="T105" fmla="*/ 14 h 631"/>
                <a:gd name="T106" fmla="*/ 316 w 632"/>
                <a:gd name="T107" fmla="*/ 0 h 6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32" h="631">
                  <a:moveTo>
                    <a:pt x="331" y="601"/>
                  </a:moveTo>
                  <a:lnTo>
                    <a:pt x="331" y="473"/>
                  </a:lnTo>
                  <a:lnTo>
                    <a:pt x="366" y="507"/>
                  </a:lnTo>
                  <a:lnTo>
                    <a:pt x="368" y="509"/>
                  </a:lnTo>
                  <a:lnTo>
                    <a:pt x="370" y="510"/>
                  </a:lnTo>
                  <a:lnTo>
                    <a:pt x="373" y="511"/>
                  </a:lnTo>
                  <a:lnTo>
                    <a:pt x="376" y="511"/>
                  </a:lnTo>
                  <a:lnTo>
                    <a:pt x="379" y="511"/>
                  </a:lnTo>
                  <a:lnTo>
                    <a:pt x="382" y="510"/>
                  </a:lnTo>
                  <a:lnTo>
                    <a:pt x="384" y="509"/>
                  </a:lnTo>
                  <a:lnTo>
                    <a:pt x="387" y="507"/>
                  </a:lnTo>
                  <a:lnTo>
                    <a:pt x="447" y="447"/>
                  </a:lnTo>
                  <a:lnTo>
                    <a:pt x="449" y="445"/>
                  </a:lnTo>
                  <a:lnTo>
                    <a:pt x="450" y="442"/>
                  </a:lnTo>
                  <a:lnTo>
                    <a:pt x="451" y="440"/>
                  </a:lnTo>
                  <a:lnTo>
                    <a:pt x="451" y="436"/>
                  </a:lnTo>
                  <a:lnTo>
                    <a:pt x="451" y="433"/>
                  </a:lnTo>
                  <a:lnTo>
                    <a:pt x="450" y="431"/>
                  </a:lnTo>
                  <a:lnTo>
                    <a:pt x="449" y="428"/>
                  </a:lnTo>
                  <a:lnTo>
                    <a:pt x="447" y="426"/>
                  </a:lnTo>
                  <a:lnTo>
                    <a:pt x="445" y="423"/>
                  </a:lnTo>
                  <a:lnTo>
                    <a:pt x="442" y="422"/>
                  </a:lnTo>
                  <a:lnTo>
                    <a:pt x="440" y="421"/>
                  </a:lnTo>
                  <a:lnTo>
                    <a:pt x="436" y="421"/>
                  </a:lnTo>
                  <a:lnTo>
                    <a:pt x="433" y="421"/>
                  </a:lnTo>
                  <a:lnTo>
                    <a:pt x="431" y="422"/>
                  </a:lnTo>
                  <a:lnTo>
                    <a:pt x="428" y="423"/>
                  </a:lnTo>
                  <a:lnTo>
                    <a:pt x="426" y="426"/>
                  </a:lnTo>
                  <a:lnTo>
                    <a:pt x="376" y="475"/>
                  </a:lnTo>
                  <a:lnTo>
                    <a:pt x="327" y="426"/>
                  </a:lnTo>
                  <a:lnTo>
                    <a:pt x="324" y="423"/>
                  </a:lnTo>
                  <a:lnTo>
                    <a:pt x="322" y="422"/>
                  </a:lnTo>
                  <a:lnTo>
                    <a:pt x="318" y="421"/>
                  </a:lnTo>
                  <a:lnTo>
                    <a:pt x="316" y="421"/>
                  </a:lnTo>
                  <a:lnTo>
                    <a:pt x="313" y="421"/>
                  </a:lnTo>
                  <a:lnTo>
                    <a:pt x="310" y="422"/>
                  </a:lnTo>
                  <a:lnTo>
                    <a:pt x="308" y="423"/>
                  </a:lnTo>
                  <a:lnTo>
                    <a:pt x="306" y="426"/>
                  </a:lnTo>
                  <a:lnTo>
                    <a:pt x="255" y="475"/>
                  </a:lnTo>
                  <a:lnTo>
                    <a:pt x="206" y="426"/>
                  </a:lnTo>
                  <a:lnTo>
                    <a:pt x="204" y="423"/>
                  </a:lnTo>
                  <a:lnTo>
                    <a:pt x="202" y="422"/>
                  </a:lnTo>
                  <a:lnTo>
                    <a:pt x="198" y="421"/>
                  </a:lnTo>
                  <a:lnTo>
                    <a:pt x="195" y="421"/>
                  </a:lnTo>
                  <a:lnTo>
                    <a:pt x="193" y="421"/>
                  </a:lnTo>
                  <a:lnTo>
                    <a:pt x="190" y="422"/>
                  </a:lnTo>
                  <a:lnTo>
                    <a:pt x="188" y="423"/>
                  </a:lnTo>
                  <a:lnTo>
                    <a:pt x="184" y="426"/>
                  </a:lnTo>
                  <a:lnTo>
                    <a:pt x="183" y="428"/>
                  </a:lnTo>
                  <a:lnTo>
                    <a:pt x="181" y="431"/>
                  </a:lnTo>
                  <a:lnTo>
                    <a:pt x="180" y="433"/>
                  </a:lnTo>
                  <a:lnTo>
                    <a:pt x="180" y="436"/>
                  </a:lnTo>
                  <a:lnTo>
                    <a:pt x="180" y="440"/>
                  </a:lnTo>
                  <a:lnTo>
                    <a:pt x="181" y="442"/>
                  </a:lnTo>
                  <a:lnTo>
                    <a:pt x="183" y="445"/>
                  </a:lnTo>
                  <a:lnTo>
                    <a:pt x="184" y="447"/>
                  </a:lnTo>
                  <a:lnTo>
                    <a:pt x="244" y="507"/>
                  </a:lnTo>
                  <a:lnTo>
                    <a:pt x="248" y="509"/>
                  </a:lnTo>
                  <a:lnTo>
                    <a:pt x="250" y="510"/>
                  </a:lnTo>
                  <a:lnTo>
                    <a:pt x="253" y="511"/>
                  </a:lnTo>
                  <a:lnTo>
                    <a:pt x="255" y="511"/>
                  </a:lnTo>
                  <a:lnTo>
                    <a:pt x="258" y="511"/>
                  </a:lnTo>
                  <a:lnTo>
                    <a:pt x="262" y="510"/>
                  </a:lnTo>
                  <a:lnTo>
                    <a:pt x="264" y="509"/>
                  </a:lnTo>
                  <a:lnTo>
                    <a:pt x="266" y="507"/>
                  </a:lnTo>
                  <a:lnTo>
                    <a:pt x="301" y="473"/>
                  </a:lnTo>
                  <a:lnTo>
                    <a:pt x="301" y="601"/>
                  </a:lnTo>
                  <a:lnTo>
                    <a:pt x="286" y="600"/>
                  </a:lnTo>
                  <a:lnTo>
                    <a:pt x="273" y="598"/>
                  </a:lnTo>
                  <a:lnTo>
                    <a:pt x="259" y="596"/>
                  </a:lnTo>
                  <a:lnTo>
                    <a:pt x="246" y="593"/>
                  </a:lnTo>
                  <a:lnTo>
                    <a:pt x="233" y="589"/>
                  </a:lnTo>
                  <a:lnTo>
                    <a:pt x="220" y="584"/>
                  </a:lnTo>
                  <a:lnTo>
                    <a:pt x="207" y="580"/>
                  </a:lnTo>
                  <a:lnTo>
                    <a:pt x="195" y="575"/>
                  </a:lnTo>
                  <a:lnTo>
                    <a:pt x="183" y="568"/>
                  </a:lnTo>
                  <a:lnTo>
                    <a:pt x="172" y="562"/>
                  </a:lnTo>
                  <a:lnTo>
                    <a:pt x="160" y="555"/>
                  </a:lnTo>
                  <a:lnTo>
                    <a:pt x="149" y="548"/>
                  </a:lnTo>
                  <a:lnTo>
                    <a:pt x="138" y="539"/>
                  </a:lnTo>
                  <a:lnTo>
                    <a:pt x="128" y="531"/>
                  </a:lnTo>
                  <a:lnTo>
                    <a:pt x="118" y="522"/>
                  </a:lnTo>
                  <a:lnTo>
                    <a:pt x="109" y="512"/>
                  </a:lnTo>
                  <a:lnTo>
                    <a:pt x="100" y="503"/>
                  </a:lnTo>
                  <a:lnTo>
                    <a:pt x="91" y="492"/>
                  </a:lnTo>
                  <a:lnTo>
                    <a:pt x="84" y="482"/>
                  </a:lnTo>
                  <a:lnTo>
                    <a:pt x="76" y="471"/>
                  </a:lnTo>
                  <a:lnTo>
                    <a:pt x="69" y="460"/>
                  </a:lnTo>
                  <a:lnTo>
                    <a:pt x="62" y="448"/>
                  </a:lnTo>
                  <a:lnTo>
                    <a:pt x="57" y="436"/>
                  </a:lnTo>
                  <a:lnTo>
                    <a:pt x="51" y="423"/>
                  </a:lnTo>
                  <a:lnTo>
                    <a:pt x="46" y="411"/>
                  </a:lnTo>
                  <a:lnTo>
                    <a:pt x="42" y="398"/>
                  </a:lnTo>
                  <a:lnTo>
                    <a:pt x="39" y="385"/>
                  </a:lnTo>
                  <a:lnTo>
                    <a:pt x="35" y="372"/>
                  </a:lnTo>
                  <a:lnTo>
                    <a:pt x="33" y="358"/>
                  </a:lnTo>
                  <a:lnTo>
                    <a:pt x="31" y="344"/>
                  </a:lnTo>
                  <a:lnTo>
                    <a:pt x="30" y="330"/>
                  </a:lnTo>
                  <a:lnTo>
                    <a:pt x="30" y="316"/>
                  </a:lnTo>
                  <a:lnTo>
                    <a:pt x="30" y="301"/>
                  </a:lnTo>
                  <a:lnTo>
                    <a:pt x="31" y="286"/>
                  </a:lnTo>
                  <a:lnTo>
                    <a:pt x="33" y="272"/>
                  </a:lnTo>
                  <a:lnTo>
                    <a:pt x="35" y="258"/>
                  </a:lnTo>
                  <a:lnTo>
                    <a:pt x="39" y="244"/>
                  </a:lnTo>
                  <a:lnTo>
                    <a:pt x="43" y="230"/>
                  </a:lnTo>
                  <a:lnTo>
                    <a:pt x="47" y="218"/>
                  </a:lnTo>
                  <a:lnTo>
                    <a:pt x="52" y="205"/>
                  </a:lnTo>
                  <a:lnTo>
                    <a:pt x="58" y="192"/>
                  </a:lnTo>
                  <a:lnTo>
                    <a:pt x="64" y="180"/>
                  </a:lnTo>
                  <a:lnTo>
                    <a:pt x="72" y="167"/>
                  </a:lnTo>
                  <a:lnTo>
                    <a:pt x="78" y="156"/>
                  </a:lnTo>
                  <a:lnTo>
                    <a:pt x="87" y="145"/>
                  </a:lnTo>
                  <a:lnTo>
                    <a:pt x="95" y="134"/>
                  </a:lnTo>
                  <a:lnTo>
                    <a:pt x="104" y="123"/>
                  </a:lnTo>
                  <a:lnTo>
                    <a:pt x="114" y="114"/>
                  </a:lnTo>
                  <a:lnTo>
                    <a:pt x="123" y="104"/>
                  </a:lnTo>
                  <a:lnTo>
                    <a:pt x="134" y="95"/>
                  </a:lnTo>
                  <a:lnTo>
                    <a:pt x="145" y="87"/>
                  </a:lnTo>
                  <a:lnTo>
                    <a:pt x="157" y="79"/>
                  </a:lnTo>
                  <a:lnTo>
                    <a:pt x="167" y="72"/>
                  </a:lnTo>
                  <a:lnTo>
                    <a:pt x="180" y="64"/>
                  </a:lnTo>
                  <a:lnTo>
                    <a:pt x="192" y="58"/>
                  </a:lnTo>
                  <a:lnTo>
                    <a:pt x="205" y="52"/>
                  </a:lnTo>
                  <a:lnTo>
                    <a:pt x="218" y="47"/>
                  </a:lnTo>
                  <a:lnTo>
                    <a:pt x="231" y="43"/>
                  </a:lnTo>
                  <a:lnTo>
                    <a:pt x="244" y="38"/>
                  </a:lnTo>
                  <a:lnTo>
                    <a:pt x="258" y="35"/>
                  </a:lnTo>
                  <a:lnTo>
                    <a:pt x="272" y="33"/>
                  </a:lnTo>
                  <a:lnTo>
                    <a:pt x="286" y="31"/>
                  </a:lnTo>
                  <a:lnTo>
                    <a:pt x="301" y="30"/>
                  </a:lnTo>
                  <a:lnTo>
                    <a:pt x="316" y="30"/>
                  </a:lnTo>
                  <a:lnTo>
                    <a:pt x="330" y="30"/>
                  </a:lnTo>
                  <a:lnTo>
                    <a:pt x="345" y="31"/>
                  </a:lnTo>
                  <a:lnTo>
                    <a:pt x="359" y="33"/>
                  </a:lnTo>
                  <a:lnTo>
                    <a:pt x="373" y="35"/>
                  </a:lnTo>
                  <a:lnTo>
                    <a:pt x="387" y="38"/>
                  </a:lnTo>
                  <a:lnTo>
                    <a:pt x="401" y="43"/>
                  </a:lnTo>
                  <a:lnTo>
                    <a:pt x="414" y="47"/>
                  </a:lnTo>
                  <a:lnTo>
                    <a:pt x="427" y="52"/>
                  </a:lnTo>
                  <a:lnTo>
                    <a:pt x="440" y="58"/>
                  </a:lnTo>
                  <a:lnTo>
                    <a:pt x="453" y="64"/>
                  </a:lnTo>
                  <a:lnTo>
                    <a:pt x="464" y="72"/>
                  </a:lnTo>
                  <a:lnTo>
                    <a:pt x="476" y="79"/>
                  </a:lnTo>
                  <a:lnTo>
                    <a:pt x="487" y="87"/>
                  </a:lnTo>
                  <a:lnTo>
                    <a:pt x="498" y="95"/>
                  </a:lnTo>
                  <a:lnTo>
                    <a:pt x="508" y="104"/>
                  </a:lnTo>
                  <a:lnTo>
                    <a:pt x="518" y="114"/>
                  </a:lnTo>
                  <a:lnTo>
                    <a:pt x="528" y="123"/>
                  </a:lnTo>
                  <a:lnTo>
                    <a:pt x="536" y="134"/>
                  </a:lnTo>
                  <a:lnTo>
                    <a:pt x="545" y="145"/>
                  </a:lnTo>
                  <a:lnTo>
                    <a:pt x="553" y="156"/>
                  </a:lnTo>
                  <a:lnTo>
                    <a:pt x="561" y="167"/>
                  </a:lnTo>
                  <a:lnTo>
                    <a:pt x="567" y="180"/>
                  </a:lnTo>
                  <a:lnTo>
                    <a:pt x="574" y="192"/>
                  </a:lnTo>
                  <a:lnTo>
                    <a:pt x="579" y="205"/>
                  </a:lnTo>
                  <a:lnTo>
                    <a:pt x="584" y="218"/>
                  </a:lnTo>
                  <a:lnTo>
                    <a:pt x="589" y="230"/>
                  </a:lnTo>
                  <a:lnTo>
                    <a:pt x="593" y="244"/>
                  </a:lnTo>
                  <a:lnTo>
                    <a:pt x="596" y="258"/>
                  </a:lnTo>
                  <a:lnTo>
                    <a:pt x="598" y="272"/>
                  </a:lnTo>
                  <a:lnTo>
                    <a:pt x="601" y="286"/>
                  </a:lnTo>
                  <a:lnTo>
                    <a:pt x="602" y="301"/>
                  </a:lnTo>
                  <a:lnTo>
                    <a:pt x="602" y="316"/>
                  </a:lnTo>
                  <a:lnTo>
                    <a:pt x="602" y="330"/>
                  </a:lnTo>
                  <a:lnTo>
                    <a:pt x="601" y="344"/>
                  </a:lnTo>
                  <a:lnTo>
                    <a:pt x="598" y="358"/>
                  </a:lnTo>
                  <a:lnTo>
                    <a:pt x="596" y="372"/>
                  </a:lnTo>
                  <a:lnTo>
                    <a:pt x="593" y="385"/>
                  </a:lnTo>
                  <a:lnTo>
                    <a:pt x="590" y="398"/>
                  </a:lnTo>
                  <a:lnTo>
                    <a:pt x="586" y="411"/>
                  </a:lnTo>
                  <a:lnTo>
                    <a:pt x="581" y="423"/>
                  </a:lnTo>
                  <a:lnTo>
                    <a:pt x="575" y="436"/>
                  </a:lnTo>
                  <a:lnTo>
                    <a:pt x="569" y="448"/>
                  </a:lnTo>
                  <a:lnTo>
                    <a:pt x="563" y="460"/>
                  </a:lnTo>
                  <a:lnTo>
                    <a:pt x="555" y="471"/>
                  </a:lnTo>
                  <a:lnTo>
                    <a:pt x="548" y="482"/>
                  </a:lnTo>
                  <a:lnTo>
                    <a:pt x="540" y="492"/>
                  </a:lnTo>
                  <a:lnTo>
                    <a:pt x="532" y="503"/>
                  </a:lnTo>
                  <a:lnTo>
                    <a:pt x="523" y="512"/>
                  </a:lnTo>
                  <a:lnTo>
                    <a:pt x="514" y="522"/>
                  </a:lnTo>
                  <a:lnTo>
                    <a:pt x="504" y="531"/>
                  </a:lnTo>
                  <a:lnTo>
                    <a:pt x="493" y="539"/>
                  </a:lnTo>
                  <a:lnTo>
                    <a:pt x="483" y="548"/>
                  </a:lnTo>
                  <a:lnTo>
                    <a:pt x="472" y="555"/>
                  </a:lnTo>
                  <a:lnTo>
                    <a:pt x="460" y="562"/>
                  </a:lnTo>
                  <a:lnTo>
                    <a:pt x="449" y="568"/>
                  </a:lnTo>
                  <a:lnTo>
                    <a:pt x="436" y="575"/>
                  </a:lnTo>
                  <a:lnTo>
                    <a:pt x="425" y="580"/>
                  </a:lnTo>
                  <a:lnTo>
                    <a:pt x="412" y="584"/>
                  </a:lnTo>
                  <a:lnTo>
                    <a:pt x="399" y="589"/>
                  </a:lnTo>
                  <a:lnTo>
                    <a:pt x="386" y="593"/>
                  </a:lnTo>
                  <a:lnTo>
                    <a:pt x="372" y="596"/>
                  </a:lnTo>
                  <a:lnTo>
                    <a:pt x="359" y="598"/>
                  </a:lnTo>
                  <a:lnTo>
                    <a:pt x="345" y="600"/>
                  </a:lnTo>
                  <a:lnTo>
                    <a:pt x="331" y="601"/>
                  </a:lnTo>
                  <a:close/>
                  <a:moveTo>
                    <a:pt x="316" y="0"/>
                  </a:moveTo>
                  <a:lnTo>
                    <a:pt x="299" y="0"/>
                  </a:lnTo>
                  <a:lnTo>
                    <a:pt x="283" y="1"/>
                  </a:lnTo>
                  <a:lnTo>
                    <a:pt x="268" y="3"/>
                  </a:lnTo>
                  <a:lnTo>
                    <a:pt x="252" y="6"/>
                  </a:lnTo>
                  <a:lnTo>
                    <a:pt x="237" y="10"/>
                  </a:lnTo>
                  <a:lnTo>
                    <a:pt x="222" y="14"/>
                  </a:lnTo>
                  <a:lnTo>
                    <a:pt x="207" y="19"/>
                  </a:lnTo>
                  <a:lnTo>
                    <a:pt x="193" y="25"/>
                  </a:lnTo>
                  <a:lnTo>
                    <a:pt x="179" y="31"/>
                  </a:lnTo>
                  <a:lnTo>
                    <a:pt x="165" y="38"/>
                  </a:lnTo>
                  <a:lnTo>
                    <a:pt x="152" y="46"/>
                  </a:lnTo>
                  <a:lnTo>
                    <a:pt x="139" y="53"/>
                  </a:lnTo>
                  <a:lnTo>
                    <a:pt x="126" y="63"/>
                  </a:lnTo>
                  <a:lnTo>
                    <a:pt x="115" y="72"/>
                  </a:lnTo>
                  <a:lnTo>
                    <a:pt x="103" y="82"/>
                  </a:lnTo>
                  <a:lnTo>
                    <a:pt x="92" y="92"/>
                  </a:lnTo>
                  <a:lnTo>
                    <a:pt x="81" y="104"/>
                  </a:lnTo>
                  <a:lnTo>
                    <a:pt x="72" y="115"/>
                  </a:lnTo>
                  <a:lnTo>
                    <a:pt x="62" y="126"/>
                  </a:lnTo>
                  <a:lnTo>
                    <a:pt x="54" y="139"/>
                  </a:lnTo>
                  <a:lnTo>
                    <a:pt x="46" y="152"/>
                  </a:lnTo>
                  <a:lnTo>
                    <a:pt x="37" y="165"/>
                  </a:lnTo>
                  <a:lnTo>
                    <a:pt x="31" y="179"/>
                  </a:lnTo>
                  <a:lnTo>
                    <a:pt x="25" y="193"/>
                  </a:lnTo>
                  <a:lnTo>
                    <a:pt x="19" y="207"/>
                  </a:lnTo>
                  <a:lnTo>
                    <a:pt x="14" y="222"/>
                  </a:lnTo>
                  <a:lnTo>
                    <a:pt x="10" y="237"/>
                  </a:lnTo>
                  <a:lnTo>
                    <a:pt x="6" y="252"/>
                  </a:lnTo>
                  <a:lnTo>
                    <a:pt x="3" y="268"/>
                  </a:lnTo>
                  <a:lnTo>
                    <a:pt x="1" y="284"/>
                  </a:lnTo>
                  <a:lnTo>
                    <a:pt x="0" y="299"/>
                  </a:lnTo>
                  <a:lnTo>
                    <a:pt x="0" y="316"/>
                  </a:lnTo>
                  <a:lnTo>
                    <a:pt x="0" y="332"/>
                  </a:lnTo>
                  <a:lnTo>
                    <a:pt x="1" y="348"/>
                  </a:lnTo>
                  <a:lnTo>
                    <a:pt x="3" y="363"/>
                  </a:lnTo>
                  <a:lnTo>
                    <a:pt x="6" y="379"/>
                  </a:lnTo>
                  <a:lnTo>
                    <a:pt x="10" y="394"/>
                  </a:lnTo>
                  <a:lnTo>
                    <a:pt x="14" y="410"/>
                  </a:lnTo>
                  <a:lnTo>
                    <a:pt x="19" y="425"/>
                  </a:lnTo>
                  <a:lnTo>
                    <a:pt x="25" y="438"/>
                  </a:lnTo>
                  <a:lnTo>
                    <a:pt x="31" y="452"/>
                  </a:lnTo>
                  <a:lnTo>
                    <a:pt x="37" y="466"/>
                  </a:lnTo>
                  <a:lnTo>
                    <a:pt x="46" y="479"/>
                  </a:lnTo>
                  <a:lnTo>
                    <a:pt x="54" y="492"/>
                  </a:lnTo>
                  <a:lnTo>
                    <a:pt x="62" y="505"/>
                  </a:lnTo>
                  <a:lnTo>
                    <a:pt x="72" y="517"/>
                  </a:lnTo>
                  <a:lnTo>
                    <a:pt x="81" y="529"/>
                  </a:lnTo>
                  <a:lnTo>
                    <a:pt x="92" y="539"/>
                  </a:lnTo>
                  <a:lnTo>
                    <a:pt x="103" y="550"/>
                  </a:lnTo>
                  <a:lnTo>
                    <a:pt x="115" y="560"/>
                  </a:lnTo>
                  <a:lnTo>
                    <a:pt x="126" y="569"/>
                  </a:lnTo>
                  <a:lnTo>
                    <a:pt x="139" y="578"/>
                  </a:lnTo>
                  <a:lnTo>
                    <a:pt x="152" y="586"/>
                  </a:lnTo>
                  <a:lnTo>
                    <a:pt x="165" y="594"/>
                  </a:lnTo>
                  <a:lnTo>
                    <a:pt x="179" y="600"/>
                  </a:lnTo>
                  <a:lnTo>
                    <a:pt x="193" y="607"/>
                  </a:lnTo>
                  <a:lnTo>
                    <a:pt x="207" y="612"/>
                  </a:lnTo>
                  <a:lnTo>
                    <a:pt x="222" y="618"/>
                  </a:lnTo>
                  <a:lnTo>
                    <a:pt x="237" y="622"/>
                  </a:lnTo>
                  <a:lnTo>
                    <a:pt x="252" y="625"/>
                  </a:lnTo>
                  <a:lnTo>
                    <a:pt x="268" y="628"/>
                  </a:lnTo>
                  <a:lnTo>
                    <a:pt x="283" y="630"/>
                  </a:lnTo>
                  <a:lnTo>
                    <a:pt x="299" y="631"/>
                  </a:lnTo>
                  <a:lnTo>
                    <a:pt x="316" y="631"/>
                  </a:lnTo>
                  <a:lnTo>
                    <a:pt x="332" y="631"/>
                  </a:lnTo>
                  <a:lnTo>
                    <a:pt x="348" y="630"/>
                  </a:lnTo>
                  <a:lnTo>
                    <a:pt x="364" y="628"/>
                  </a:lnTo>
                  <a:lnTo>
                    <a:pt x="380" y="625"/>
                  </a:lnTo>
                  <a:lnTo>
                    <a:pt x="395" y="622"/>
                  </a:lnTo>
                  <a:lnTo>
                    <a:pt x="410" y="618"/>
                  </a:lnTo>
                  <a:lnTo>
                    <a:pt x="425" y="612"/>
                  </a:lnTo>
                  <a:lnTo>
                    <a:pt x="439" y="607"/>
                  </a:lnTo>
                  <a:lnTo>
                    <a:pt x="453" y="600"/>
                  </a:lnTo>
                  <a:lnTo>
                    <a:pt x="466" y="594"/>
                  </a:lnTo>
                  <a:lnTo>
                    <a:pt x="479" y="586"/>
                  </a:lnTo>
                  <a:lnTo>
                    <a:pt x="492" y="578"/>
                  </a:lnTo>
                  <a:lnTo>
                    <a:pt x="505" y="569"/>
                  </a:lnTo>
                  <a:lnTo>
                    <a:pt x="517" y="560"/>
                  </a:lnTo>
                  <a:lnTo>
                    <a:pt x="529" y="550"/>
                  </a:lnTo>
                  <a:lnTo>
                    <a:pt x="539" y="539"/>
                  </a:lnTo>
                  <a:lnTo>
                    <a:pt x="550" y="529"/>
                  </a:lnTo>
                  <a:lnTo>
                    <a:pt x="560" y="517"/>
                  </a:lnTo>
                  <a:lnTo>
                    <a:pt x="569" y="505"/>
                  </a:lnTo>
                  <a:lnTo>
                    <a:pt x="578" y="492"/>
                  </a:lnTo>
                  <a:lnTo>
                    <a:pt x="587" y="479"/>
                  </a:lnTo>
                  <a:lnTo>
                    <a:pt x="594" y="466"/>
                  </a:lnTo>
                  <a:lnTo>
                    <a:pt x="601" y="452"/>
                  </a:lnTo>
                  <a:lnTo>
                    <a:pt x="607" y="438"/>
                  </a:lnTo>
                  <a:lnTo>
                    <a:pt x="612" y="425"/>
                  </a:lnTo>
                  <a:lnTo>
                    <a:pt x="618" y="410"/>
                  </a:lnTo>
                  <a:lnTo>
                    <a:pt x="622" y="394"/>
                  </a:lnTo>
                  <a:lnTo>
                    <a:pt x="625" y="379"/>
                  </a:lnTo>
                  <a:lnTo>
                    <a:pt x="628" y="363"/>
                  </a:lnTo>
                  <a:lnTo>
                    <a:pt x="631" y="348"/>
                  </a:lnTo>
                  <a:lnTo>
                    <a:pt x="632" y="332"/>
                  </a:lnTo>
                  <a:lnTo>
                    <a:pt x="632" y="316"/>
                  </a:lnTo>
                  <a:lnTo>
                    <a:pt x="632" y="299"/>
                  </a:lnTo>
                  <a:lnTo>
                    <a:pt x="631" y="284"/>
                  </a:lnTo>
                  <a:lnTo>
                    <a:pt x="628" y="268"/>
                  </a:lnTo>
                  <a:lnTo>
                    <a:pt x="625" y="252"/>
                  </a:lnTo>
                  <a:lnTo>
                    <a:pt x="622" y="237"/>
                  </a:lnTo>
                  <a:lnTo>
                    <a:pt x="618" y="222"/>
                  </a:lnTo>
                  <a:lnTo>
                    <a:pt x="612" y="207"/>
                  </a:lnTo>
                  <a:lnTo>
                    <a:pt x="607" y="193"/>
                  </a:lnTo>
                  <a:lnTo>
                    <a:pt x="601" y="179"/>
                  </a:lnTo>
                  <a:lnTo>
                    <a:pt x="594" y="165"/>
                  </a:lnTo>
                  <a:lnTo>
                    <a:pt x="587" y="152"/>
                  </a:lnTo>
                  <a:lnTo>
                    <a:pt x="578" y="139"/>
                  </a:lnTo>
                  <a:lnTo>
                    <a:pt x="569" y="126"/>
                  </a:lnTo>
                  <a:lnTo>
                    <a:pt x="560" y="115"/>
                  </a:lnTo>
                  <a:lnTo>
                    <a:pt x="550" y="104"/>
                  </a:lnTo>
                  <a:lnTo>
                    <a:pt x="539" y="92"/>
                  </a:lnTo>
                  <a:lnTo>
                    <a:pt x="529" y="82"/>
                  </a:lnTo>
                  <a:lnTo>
                    <a:pt x="517" y="72"/>
                  </a:lnTo>
                  <a:lnTo>
                    <a:pt x="505" y="63"/>
                  </a:lnTo>
                  <a:lnTo>
                    <a:pt x="492" y="53"/>
                  </a:lnTo>
                  <a:lnTo>
                    <a:pt x="479" y="46"/>
                  </a:lnTo>
                  <a:lnTo>
                    <a:pt x="466" y="38"/>
                  </a:lnTo>
                  <a:lnTo>
                    <a:pt x="453" y="31"/>
                  </a:lnTo>
                  <a:lnTo>
                    <a:pt x="439" y="25"/>
                  </a:lnTo>
                  <a:lnTo>
                    <a:pt x="425" y="19"/>
                  </a:lnTo>
                  <a:lnTo>
                    <a:pt x="410" y="14"/>
                  </a:lnTo>
                  <a:lnTo>
                    <a:pt x="395" y="10"/>
                  </a:lnTo>
                  <a:lnTo>
                    <a:pt x="380" y="6"/>
                  </a:lnTo>
                  <a:lnTo>
                    <a:pt x="364" y="3"/>
                  </a:lnTo>
                  <a:lnTo>
                    <a:pt x="348" y="1"/>
                  </a:lnTo>
                  <a:lnTo>
                    <a:pt x="332" y="0"/>
                  </a:lnTo>
                  <a:lnTo>
                    <a:pt x="31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1" name="Freeform 204"/>
            <p:cNvSpPr>
              <a:spLocks/>
            </p:cNvSpPr>
            <p:nvPr/>
          </p:nvSpPr>
          <p:spPr bwMode="auto">
            <a:xfrm>
              <a:off x="10567988" y="2449513"/>
              <a:ext cx="66675" cy="9525"/>
            </a:xfrm>
            <a:custGeom>
              <a:avLst/>
              <a:gdLst>
                <a:gd name="T0" fmla="*/ 196 w 211"/>
                <a:gd name="T1" fmla="*/ 0 h 31"/>
                <a:gd name="T2" fmla="*/ 15 w 211"/>
                <a:gd name="T3" fmla="*/ 0 h 31"/>
                <a:gd name="T4" fmla="*/ 13 w 211"/>
                <a:gd name="T5" fmla="*/ 1 h 31"/>
                <a:gd name="T6" fmla="*/ 10 w 211"/>
                <a:gd name="T7" fmla="*/ 2 h 31"/>
                <a:gd name="T8" fmla="*/ 8 w 211"/>
                <a:gd name="T9" fmla="*/ 3 h 31"/>
                <a:gd name="T10" fmla="*/ 4 w 211"/>
                <a:gd name="T11" fmla="*/ 5 h 31"/>
                <a:gd name="T12" fmla="*/ 3 w 211"/>
                <a:gd name="T13" fmla="*/ 7 h 31"/>
                <a:gd name="T14" fmla="*/ 1 w 211"/>
                <a:gd name="T15" fmla="*/ 9 h 31"/>
                <a:gd name="T16" fmla="*/ 1 w 211"/>
                <a:gd name="T17" fmla="*/ 12 h 31"/>
                <a:gd name="T18" fmla="*/ 0 w 211"/>
                <a:gd name="T19" fmla="*/ 16 h 31"/>
                <a:gd name="T20" fmla="*/ 1 w 211"/>
                <a:gd name="T21" fmla="*/ 18 h 31"/>
                <a:gd name="T22" fmla="*/ 1 w 211"/>
                <a:gd name="T23" fmla="*/ 21 h 31"/>
                <a:gd name="T24" fmla="*/ 3 w 211"/>
                <a:gd name="T25" fmla="*/ 23 h 31"/>
                <a:gd name="T26" fmla="*/ 4 w 211"/>
                <a:gd name="T27" fmla="*/ 25 h 31"/>
                <a:gd name="T28" fmla="*/ 8 w 211"/>
                <a:gd name="T29" fmla="*/ 27 h 31"/>
                <a:gd name="T30" fmla="*/ 10 w 211"/>
                <a:gd name="T31" fmla="*/ 28 h 31"/>
                <a:gd name="T32" fmla="*/ 13 w 211"/>
                <a:gd name="T33" fmla="*/ 30 h 31"/>
                <a:gd name="T34" fmla="*/ 15 w 211"/>
                <a:gd name="T35" fmla="*/ 31 h 31"/>
                <a:gd name="T36" fmla="*/ 196 w 211"/>
                <a:gd name="T37" fmla="*/ 31 h 31"/>
                <a:gd name="T38" fmla="*/ 200 w 211"/>
                <a:gd name="T39" fmla="*/ 30 h 31"/>
                <a:gd name="T40" fmla="*/ 202 w 211"/>
                <a:gd name="T41" fmla="*/ 28 h 31"/>
                <a:gd name="T42" fmla="*/ 205 w 211"/>
                <a:gd name="T43" fmla="*/ 27 h 31"/>
                <a:gd name="T44" fmla="*/ 207 w 211"/>
                <a:gd name="T45" fmla="*/ 25 h 31"/>
                <a:gd name="T46" fmla="*/ 208 w 211"/>
                <a:gd name="T47" fmla="*/ 23 h 31"/>
                <a:gd name="T48" fmla="*/ 210 w 211"/>
                <a:gd name="T49" fmla="*/ 21 h 31"/>
                <a:gd name="T50" fmla="*/ 211 w 211"/>
                <a:gd name="T51" fmla="*/ 18 h 31"/>
                <a:gd name="T52" fmla="*/ 211 w 211"/>
                <a:gd name="T53" fmla="*/ 16 h 31"/>
                <a:gd name="T54" fmla="*/ 211 w 211"/>
                <a:gd name="T55" fmla="*/ 12 h 31"/>
                <a:gd name="T56" fmla="*/ 210 w 211"/>
                <a:gd name="T57" fmla="*/ 9 h 31"/>
                <a:gd name="T58" fmla="*/ 208 w 211"/>
                <a:gd name="T59" fmla="*/ 7 h 31"/>
                <a:gd name="T60" fmla="*/ 207 w 211"/>
                <a:gd name="T61" fmla="*/ 5 h 31"/>
                <a:gd name="T62" fmla="*/ 205 w 211"/>
                <a:gd name="T63" fmla="*/ 3 h 31"/>
                <a:gd name="T64" fmla="*/ 202 w 211"/>
                <a:gd name="T65" fmla="*/ 2 h 31"/>
                <a:gd name="T66" fmla="*/ 200 w 211"/>
                <a:gd name="T67" fmla="*/ 1 h 31"/>
                <a:gd name="T68" fmla="*/ 196 w 211"/>
                <a:gd name="T69"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11" h="31">
                  <a:moveTo>
                    <a:pt x="196" y="0"/>
                  </a:moveTo>
                  <a:lnTo>
                    <a:pt x="15" y="0"/>
                  </a:lnTo>
                  <a:lnTo>
                    <a:pt x="13" y="1"/>
                  </a:lnTo>
                  <a:lnTo>
                    <a:pt x="10" y="2"/>
                  </a:lnTo>
                  <a:lnTo>
                    <a:pt x="8" y="3"/>
                  </a:lnTo>
                  <a:lnTo>
                    <a:pt x="4" y="5"/>
                  </a:lnTo>
                  <a:lnTo>
                    <a:pt x="3" y="7"/>
                  </a:lnTo>
                  <a:lnTo>
                    <a:pt x="1" y="9"/>
                  </a:lnTo>
                  <a:lnTo>
                    <a:pt x="1" y="12"/>
                  </a:lnTo>
                  <a:lnTo>
                    <a:pt x="0" y="16"/>
                  </a:lnTo>
                  <a:lnTo>
                    <a:pt x="1" y="18"/>
                  </a:lnTo>
                  <a:lnTo>
                    <a:pt x="1" y="21"/>
                  </a:lnTo>
                  <a:lnTo>
                    <a:pt x="3" y="23"/>
                  </a:lnTo>
                  <a:lnTo>
                    <a:pt x="4" y="25"/>
                  </a:lnTo>
                  <a:lnTo>
                    <a:pt x="8" y="27"/>
                  </a:lnTo>
                  <a:lnTo>
                    <a:pt x="10" y="28"/>
                  </a:lnTo>
                  <a:lnTo>
                    <a:pt x="13" y="30"/>
                  </a:lnTo>
                  <a:lnTo>
                    <a:pt x="15" y="31"/>
                  </a:lnTo>
                  <a:lnTo>
                    <a:pt x="196" y="31"/>
                  </a:lnTo>
                  <a:lnTo>
                    <a:pt x="200" y="30"/>
                  </a:lnTo>
                  <a:lnTo>
                    <a:pt x="202" y="28"/>
                  </a:lnTo>
                  <a:lnTo>
                    <a:pt x="205" y="27"/>
                  </a:lnTo>
                  <a:lnTo>
                    <a:pt x="207" y="25"/>
                  </a:lnTo>
                  <a:lnTo>
                    <a:pt x="208" y="23"/>
                  </a:lnTo>
                  <a:lnTo>
                    <a:pt x="210" y="21"/>
                  </a:lnTo>
                  <a:lnTo>
                    <a:pt x="211" y="18"/>
                  </a:lnTo>
                  <a:lnTo>
                    <a:pt x="211" y="16"/>
                  </a:lnTo>
                  <a:lnTo>
                    <a:pt x="211" y="12"/>
                  </a:lnTo>
                  <a:lnTo>
                    <a:pt x="210" y="9"/>
                  </a:lnTo>
                  <a:lnTo>
                    <a:pt x="208" y="7"/>
                  </a:lnTo>
                  <a:lnTo>
                    <a:pt x="207" y="5"/>
                  </a:lnTo>
                  <a:lnTo>
                    <a:pt x="205" y="3"/>
                  </a:lnTo>
                  <a:lnTo>
                    <a:pt x="202" y="2"/>
                  </a:lnTo>
                  <a:lnTo>
                    <a:pt x="200" y="1"/>
                  </a:lnTo>
                  <a:lnTo>
                    <a:pt x="19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2" name="Freeform 205"/>
            <p:cNvSpPr>
              <a:spLocks/>
            </p:cNvSpPr>
            <p:nvPr/>
          </p:nvSpPr>
          <p:spPr bwMode="auto">
            <a:xfrm>
              <a:off x="10567988" y="2468563"/>
              <a:ext cx="66675" cy="9525"/>
            </a:xfrm>
            <a:custGeom>
              <a:avLst/>
              <a:gdLst>
                <a:gd name="T0" fmla="*/ 196 w 211"/>
                <a:gd name="T1" fmla="*/ 0 h 30"/>
                <a:gd name="T2" fmla="*/ 15 w 211"/>
                <a:gd name="T3" fmla="*/ 0 h 30"/>
                <a:gd name="T4" fmla="*/ 13 w 211"/>
                <a:gd name="T5" fmla="*/ 0 h 30"/>
                <a:gd name="T6" fmla="*/ 10 w 211"/>
                <a:gd name="T7" fmla="*/ 1 h 30"/>
                <a:gd name="T8" fmla="*/ 8 w 211"/>
                <a:gd name="T9" fmla="*/ 2 h 30"/>
                <a:gd name="T10" fmla="*/ 4 w 211"/>
                <a:gd name="T11" fmla="*/ 4 h 30"/>
                <a:gd name="T12" fmla="*/ 3 w 211"/>
                <a:gd name="T13" fmla="*/ 6 h 30"/>
                <a:gd name="T14" fmla="*/ 1 w 211"/>
                <a:gd name="T15" fmla="*/ 8 h 30"/>
                <a:gd name="T16" fmla="*/ 1 w 211"/>
                <a:gd name="T17" fmla="*/ 11 h 30"/>
                <a:gd name="T18" fmla="*/ 0 w 211"/>
                <a:gd name="T19" fmla="*/ 15 h 30"/>
                <a:gd name="T20" fmla="*/ 1 w 211"/>
                <a:gd name="T21" fmla="*/ 17 h 30"/>
                <a:gd name="T22" fmla="*/ 1 w 211"/>
                <a:gd name="T23" fmla="*/ 20 h 30"/>
                <a:gd name="T24" fmla="*/ 3 w 211"/>
                <a:gd name="T25" fmla="*/ 22 h 30"/>
                <a:gd name="T26" fmla="*/ 4 w 211"/>
                <a:gd name="T27" fmla="*/ 25 h 30"/>
                <a:gd name="T28" fmla="*/ 8 w 211"/>
                <a:gd name="T29" fmla="*/ 26 h 30"/>
                <a:gd name="T30" fmla="*/ 10 w 211"/>
                <a:gd name="T31" fmla="*/ 29 h 30"/>
                <a:gd name="T32" fmla="*/ 13 w 211"/>
                <a:gd name="T33" fmla="*/ 29 h 30"/>
                <a:gd name="T34" fmla="*/ 15 w 211"/>
                <a:gd name="T35" fmla="*/ 30 h 30"/>
                <a:gd name="T36" fmla="*/ 196 w 211"/>
                <a:gd name="T37" fmla="*/ 30 h 30"/>
                <a:gd name="T38" fmla="*/ 200 w 211"/>
                <a:gd name="T39" fmla="*/ 29 h 30"/>
                <a:gd name="T40" fmla="*/ 202 w 211"/>
                <a:gd name="T41" fmla="*/ 29 h 30"/>
                <a:gd name="T42" fmla="*/ 205 w 211"/>
                <a:gd name="T43" fmla="*/ 26 h 30"/>
                <a:gd name="T44" fmla="*/ 207 w 211"/>
                <a:gd name="T45" fmla="*/ 25 h 30"/>
                <a:gd name="T46" fmla="*/ 208 w 211"/>
                <a:gd name="T47" fmla="*/ 22 h 30"/>
                <a:gd name="T48" fmla="*/ 210 w 211"/>
                <a:gd name="T49" fmla="*/ 20 h 30"/>
                <a:gd name="T50" fmla="*/ 211 w 211"/>
                <a:gd name="T51" fmla="*/ 17 h 30"/>
                <a:gd name="T52" fmla="*/ 211 w 211"/>
                <a:gd name="T53" fmla="*/ 15 h 30"/>
                <a:gd name="T54" fmla="*/ 211 w 211"/>
                <a:gd name="T55" fmla="*/ 11 h 30"/>
                <a:gd name="T56" fmla="*/ 210 w 211"/>
                <a:gd name="T57" fmla="*/ 8 h 30"/>
                <a:gd name="T58" fmla="*/ 208 w 211"/>
                <a:gd name="T59" fmla="*/ 6 h 30"/>
                <a:gd name="T60" fmla="*/ 207 w 211"/>
                <a:gd name="T61" fmla="*/ 4 h 30"/>
                <a:gd name="T62" fmla="*/ 205 w 211"/>
                <a:gd name="T63" fmla="*/ 2 h 30"/>
                <a:gd name="T64" fmla="*/ 202 w 211"/>
                <a:gd name="T65" fmla="*/ 1 h 30"/>
                <a:gd name="T66" fmla="*/ 200 w 211"/>
                <a:gd name="T67" fmla="*/ 0 h 30"/>
                <a:gd name="T68" fmla="*/ 196 w 211"/>
                <a:gd name="T69"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11" h="30">
                  <a:moveTo>
                    <a:pt x="196" y="0"/>
                  </a:moveTo>
                  <a:lnTo>
                    <a:pt x="15" y="0"/>
                  </a:lnTo>
                  <a:lnTo>
                    <a:pt x="13" y="0"/>
                  </a:lnTo>
                  <a:lnTo>
                    <a:pt x="10" y="1"/>
                  </a:lnTo>
                  <a:lnTo>
                    <a:pt x="8" y="2"/>
                  </a:lnTo>
                  <a:lnTo>
                    <a:pt x="4" y="4"/>
                  </a:lnTo>
                  <a:lnTo>
                    <a:pt x="3" y="6"/>
                  </a:lnTo>
                  <a:lnTo>
                    <a:pt x="1" y="8"/>
                  </a:lnTo>
                  <a:lnTo>
                    <a:pt x="1" y="11"/>
                  </a:lnTo>
                  <a:lnTo>
                    <a:pt x="0" y="15"/>
                  </a:lnTo>
                  <a:lnTo>
                    <a:pt x="1" y="17"/>
                  </a:lnTo>
                  <a:lnTo>
                    <a:pt x="1" y="20"/>
                  </a:lnTo>
                  <a:lnTo>
                    <a:pt x="3" y="22"/>
                  </a:lnTo>
                  <a:lnTo>
                    <a:pt x="4" y="25"/>
                  </a:lnTo>
                  <a:lnTo>
                    <a:pt x="8" y="26"/>
                  </a:lnTo>
                  <a:lnTo>
                    <a:pt x="10" y="29"/>
                  </a:lnTo>
                  <a:lnTo>
                    <a:pt x="13" y="29"/>
                  </a:lnTo>
                  <a:lnTo>
                    <a:pt x="15" y="30"/>
                  </a:lnTo>
                  <a:lnTo>
                    <a:pt x="196" y="30"/>
                  </a:lnTo>
                  <a:lnTo>
                    <a:pt x="200" y="29"/>
                  </a:lnTo>
                  <a:lnTo>
                    <a:pt x="202" y="29"/>
                  </a:lnTo>
                  <a:lnTo>
                    <a:pt x="205" y="26"/>
                  </a:lnTo>
                  <a:lnTo>
                    <a:pt x="207" y="25"/>
                  </a:lnTo>
                  <a:lnTo>
                    <a:pt x="208" y="22"/>
                  </a:lnTo>
                  <a:lnTo>
                    <a:pt x="210" y="20"/>
                  </a:lnTo>
                  <a:lnTo>
                    <a:pt x="211" y="17"/>
                  </a:lnTo>
                  <a:lnTo>
                    <a:pt x="211" y="15"/>
                  </a:lnTo>
                  <a:lnTo>
                    <a:pt x="211" y="11"/>
                  </a:lnTo>
                  <a:lnTo>
                    <a:pt x="210" y="8"/>
                  </a:lnTo>
                  <a:lnTo>
                    <a:pt x="208" y="6"/>
                  </a:lnTo>
                  <a:lnTo>
                    <a:pt x="207" y="4"/>
                  </a:lnTo>
                  <a:lnTo>
                    <a:pt x="205" y="2"/>
                  </a:lnTo>
                  <a:lnTo>
                    <a:pt x="202" y="1"/>
                  </a:lnTo>
                  <a:lnTo>
                    <a:pt x="200" y="0"/>
                  </a:lnTo>
                  <a:lnTo>
                    <a:pt x="19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3" name="Freeform 206"/>
            <p:cNvSpPr>
              <a:spLocks/>
            </p:cNvSpPr>
            <p:nvPr/>
          </p:nvSpPr>
          <p:spPr bwMode="auto">
            <a:xfrm>
              <a:off x="10567988" y="2487613"/>
              <a:ext cx="66675" cy="28575"/>
            </a:xfrm>
            <a:custGeom>
              <a:avLst/>
              <a:gdLst>
                <a:gd name="T0" fmla="*/ 196 w 211"/>
                <a:gd name="T1" fmla="*/ 0 h 90"/>
                <a:gd name="T2" fmla="*/ 15 w 211"/>
                <a:gd name="T3" fmla="*/ 0 h 90"/>
                <a:gd name="T4" fmla="*/ 13 w 211"/>
                <a:gd name="T5" fmla="*/ 0 h 90"/>
                <a:gd name="T6" fmla="*/ 10 w 211"/>
                <a:gd name="T7" fmla="*/ 1 h 90"/>
                <a:gd name="T8" fmla="*/ 8 w 211"/>
                <a:gd name="T9" fmla="*/ 2 h 90"/>
                <a:gd name="T10" fmla="*/ 4 w 211"/>
                <a:gd name="T11" fmla="*/ 4 h 90"/>
                <a:gd name="T12" fmla="*/ 3 w 211"/>
                <a:gd name="T13" fmla="*/ 6 h 90"/>
                <a:gd name="T14" fmla="*/ 1 w 211"/>
                <a:gd name="T15" fmla="*/ 8 h 90"/>
                <a:gd name="T16" fmla="*/ 1 w 211"/>
                <a:gd name="T17" fmla="*/ 11 h 90"/>
                <a:gd name="T18" fmla="*/ 0 w 211"/>
                <a:gd name="T19" fmla="*/ 15 h 90"/>
                <a:gd name="T20" fmla="*/ 1 w 211"/>
                <a:gd name="T21" fmla="*/ 18 h 90"/>
                <a:gd name="T22" fmla="*/ 1 w 211"/>
                <a:gd name="T23" fmla="*/ 20 h 90"/>
                <a:gd name="T24" fmla="*/ 3 w 211"/>
                <a:gd name="T25" fmla="*/ 23 h 90"/>
                <a:gd name="T26" fmla="*/ 4 w 211"/>
                <a:gd name="T27" fmla="*/ 25 h 90"/>
                <a:gd name="T28" fmla="*/ 8 w 211"/>
                <a:gd name="T29" fmla="*/ 27 h 90"/>
                <a:gd name="T30" fmla="*/ 10 w 211"/>
                <a:gd name="T31" fmla="*/ 29 h 90"/>
                <a:gd name="T32" fmla="*/ 13 w 211"/>
                <a:gd name="T33" fmla="*/ 30 h 90"/>
                <a:gd name="T34" fmla="*/ 15 w 211"/>
                <a:gd name="T35" fmla="*/ 30 h 90"/>
                <a:gd name="T36" fmla="*/ 91 w 211"/>
                <a:gd name="T37" fmla="*/ 30 h 90"/>
                <a:gd name="T38" fmla="*/ 91 w 211"/>
                <a:gd name="T39" fmla="*/ 75 h 90"/>
                <a:gd name="T40" fmla="*/ 91 w 211"/>
                <a:gd name="T41" fmla="*/ 78 h 90"/>
                <a:gd name="T42" fmla="*/ 92 w 211"/>
                <a:gd name="T43" fmla="*/ 80 h 90"/>
                <a:gd name="T44" fmla="*/ 93 w 211"/>
                <a:gd name="T45" fmla="*/ 83 h 90"/>
                <a:gd name="T46" fmla="*/ 96 w 211"/>
                <a:gd name="T47" fmla="*/ 85 h 90"/>
                <a:gd name="T48" fmla="*/ 98 w 211"/>
                <a:gd name="T49" fmla="*/ 88 h 90"/>
                <a:gd name="T50" fmla="*/ 100 w 211"/>
                <a:gd name="T51" fmla="*/ 89 h 90"/>
                <a:gd name="T52" fmla="*/ 103 w 211"/>
                <a:gd name="T53" fmla="*/ 90 h 90"/>
                <a:gd name="T54" fmla="*/ 106 w 211"/>
                <a:gd name="T55" fmla="*/ 90 h 90"/>
                <a:gd name="T56" fmla="*/ 108 w 211"/>
                <a:gd name="T57" fmla="*/ 90 h 90"/>
                <a:gd name="T58" fmla="*/ 112 w 211"/>
                <a:gd name="T59" fmla="*/ 89 h 90"/>
                <a:gd name="T60" fmla="*/ 114 w 211"/>
                <a:gd name="T61" fmla="*/ 88 h 90"/>
                <a:gd name="T62" fmla="*/ 116 w 211"/>
                <a:gd name="T63" fmla="*/ 85 h 90"/>
                <a:gd name="T64" fmla="*/ 118 w 211"/>
                <a:gd name="T65" fmla="*/ 83 h 90"/>
                <a:gd name="T66" fmla="*/ 119 w 211"/>
                <a:gd name="T67" fmla="*/ 80 h 90"/>
                <a:gd name="T68" fmla="*/ 120 w 211"/>
                <a:gd name="T69" fmla="*/ 78 h 90"/>
                <a:gd name="T70" fmla="*/ 121 w 211"/>
                <a:gd name="T71" fmla="*/ 75 h 90"/>
                <a:gd name="T72" fmla="*/ 121 w 211"/>
                <a:gd name="T73" fmla="*/ 30 h 90"/>
                <a:gd name="T74" fmla="*/ 196 w 211"/>
                <a:gd name="T75" fmla="*/ 30 h 90"/>
                <a:gd name="T76" fmla="*/ 200 w 211"/>
                <a:gd name="T77" fmla="*/ 30 h 90"/>
                <a:gd name="T78" fmla="*/ 202 w 211"/>
                <a:gd name="T79" fmla="*/ 29 h 90"/>
                <a:gd name="T80" fmla="*/ 205 w 211"/>
                <a:gd name="T81" fmla="*/ 27 h 90"/>
                <a:gd name="T82" fmla="*/ 207 w 211"/>
                <a:gd name="T83" fmla="*/ 25 h 90"/>
                <a:gd name="T84" fmla="*/ 208 w 211"/>
                <a:gd name="T85" fmla="*/ 23 h 90"/>
                <a:gd name="T86" fmla="*/ 210 w 211"/>
                <a:gd name="T87" fmla="*/ 20 h 90"/>
                <a:gd name="T88" fmla="*/ 211 w 211"/>
                <a:gd name="T89" fmla="*/ 18 h 90"/>
                <a:gd name="T90" fmla="*/ 211 w 211"/>
                <a:gd name="T91" fmla="*/ 15 h 90"/>
                <a:gd name="T92" fmla="*/ 211 w 211"/>
                <a:gd name="T93" fmla="*/ 11 h 90"/>
                <a:gd name="T94" fmla="*/ 210 w 211"/>
                <a:gd name="T95" fmla="*/ 8 h 90"/>
                <a:gd name="T96" fmla="*/ 208 w 211"/>
                <a:gd name="T97" fmla="*/ 6 h 90"/>
                <a:gd name="T98" fmla="*/ 207 w 211"/>
                <a:gd name="T99" fmla="*/ 4 h 90"/>
                <a:gd name="T100" fmla="*/ 205 w 211"/>
                <a:gd name="T101" fmla="*/ 2 h 90"/>
                <a:gd name="T102" fmla="*/ 202 w 211"/>
                <a:gd name="T103" fmla="*/ 1 h 90"/>
                <a:gd name="T104" fmla="*/ 200 w 211"/>
                <a:gd name="T105" fmla="*/ 0 h 90"/>
                <a:gd name="T106" fmla="*/ 196 w 211"/>
                <a:gd name="T107" fmla="*/ 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11" h="90">
                  <a:moveTo>
                    <a:pt x="196" y="0"/>
                  </a:moveTo>
                  <a:lnTo>
                    <a:pt x="15" y="0"/>
                  </a:lnTo>
                  <a:lnTo>
                    <a:pt x="13" y="0"/>
                  </a:lnTo>
                  <a:lnTo>
                    <a:pt x="10" y="1"/>
                  </a:lnTo>
                  <a:lnTo>
                    <a:pt x="8" y="2"/>
                  </a:lnTo>
                  <a:lnTo>
                    <a:pt x="4" y="4"/>
                  </a:lnTo>
                  <a:lnTo>
                    <a:pt x="3" y="6"/>
                  </a:lnTo>
                  <a:lnTo>
                    <a:pt x="1" y="8"/>
                  </a:lnTo>
                  <a:lnTo>
                    <a:pt x="1" y="11"/>
                  </a:lnTo>
                  <a:lnTo>
                    <a:pt x="0" y="15"/>
                  </a:lnTo>
                  <a:lnTo>
                    <a:pt x="1" y="18"/>
                  </a:lnTo>
                  <a:lnTo>
                    <a:pt x="1" y="20"/>
                  </a:lnTo>
                  <a:lnTo>
                    <a:pt x="3" y="23"/>
                  </a:lnTo>
                  <a:lnTo>
                    <a:pt x="4" y="25"/>
                  </a:lnTo>
                  <a:lnTo>
                    <a:pt x="8" y="27"/>
                  </a:lnTo>
                  <a:lnTo>
                    <a:pt x="10" y="29"/>
                  </a:lnTo>
                  <a:lnTo>
                    <a:pt x="13" y="30"/>
                  </a:lnTo>
                  <a:lnTo>
                    <a:pt x="15" y="30"/>
                  </a:lnTo>
                  <a:lnTo>
                    <a:pt x="91" y="30"/>
                  </a:lnTo>
                  <a:lnTo>
                    <a:pt x="91" y="75"/>
                  </a:lnTo>
                  <a:lnTo>
                    <a:pt x="91" y="78"/>
                  </a:lnTo>
                  <a:lnTo>
                    <a:pt x="92" y="80"/>
                  </a:lnTo>
                  <a:lnTo>
                    <a:pt x="93" y="83"/>
                  </a:lnTo>
                  <a:lnTo>
                    <a:pt x="96" y="85"/>
                  </a:lnTo>
                  <a:lnTo>
                    <a:pt x="98" y="88"/>
                  </a:lnTo>
                  <a:lnTo>
                    <a:pt x="100" y="89"/>
                  </a:lnTo>
                  <a:lnTo>
                    <a:pt x="103" y="90"/>
                  </a:lnTo>
                  <a:lnTo>
                    <a:pt x="106" y="90"/>
                  </a:lnTo>
                  <a:lnTo>
                    <a:pt x="108" y="90"/>
                  </a:lnTo>
                  <a:lnTo>
                    <a:pt x="112" y="89"/>
                  </a:lnTo>
                  <a:lnTo>
                    <a:pt x="114" y="88"/>
                  </a:lnTo>
                  <a:lnTo>
                    <a:pt x="116" y="85"/>
                  </a:lnTo>
                  <a:lnTo>
                    <a:pt x="118" y="83"/>
                  </a:lnTo>
                  <a:lnTo>
                    <a:pt x="119" y="80"/>
                  </a:lnTo>
                  <a:lnTo>
                    <a:pt x="120" y="78"/>
                  </a:lnTo>
                  <a:lnTo>
                    <a:pt x="121" y="75"/>
                  </a:lnTo>
                  <a:lnTo>
                    <a:pt x="121" y="30"/>
                  </a:lnTo>
                  <a:lnTo>
                    <a:pt x="196" y="30"/>
                  </a:lnTo>
                  <a:lnTo>
                    <a:pt x="200" y="30"/>
                  </a:lnTo>
                  <a:lnTo>
                    <a:pt x="202" y="29"/>
                  </a:lnTo>
                  <a:lnTo>
                    <a:pt x="205" y="27"/>
                  </a:lnTo>
                  <a:lnTo>
                    <a:pt x="207" y="25"/>
                  </a:lnTo>
                  <a:lnTo>
                    <a:pt x="208" y="23"/>
                  </a:lnTo>
                  <a:lnTo>
                    <a:pt x="210" y="20"/>
                  </a:lnTo>
                  <a:lnTo>
                    <a:pt x="211" y="18"/>
                  </a:lnTo>
                  <a:lnTo>
                    <a:pt x="211" y="15"/>
                  </a:lnTo>
                  <a:lnTo>
                    <a:pt x="211" y="11"/>
                  </a:lnTo>
                  <a:lnTo>
                    <a:pt x="210" y="8"/>
                  </a:lnTo>
                  <a:lnTo>
                    <a:pt x="208" y="6"/>
                  </a:lnTo>
                  <a:lnTo>
                    <a:pt x="207" y="4"/>
                  </a:lnTo>
                  <a:lnTo>
                    <a:pt x="205" y="2"/>
                  </a:lnTo>
                  <a:lnTo>
                    <a:pt x="202" y="1"/>
                  </a:lnTo>
                  <a:lnTo>
                    <a:pt x="200" y="0"/>
                  </a:lnTo>
                  <a:lnTo>
                    <a:pt x="19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24" name="Freeform 303"/>
          <p:cNvSpPr>
            <a:spLocks noEditPoints="1"/>
          </p:cNvSpPr>
          <p:nvPr/>
        </p:nvSpPr>
        <p:spPr bwMode="auto">
          <a:xfrm>
            <a:off x="5271489" y="3730100"/>
            <a:ext cx="192088" cy="238125"/>
          </a:xfrm>
          <a:custGeom>
            <a:avLst/>
            <a:gdLst>
              <a:gd name="T0" fmla="*/ 120 w 602"/>
              <a:gd name="T1" fmla="*/ 30 h 751"/>
              <a:gd name="T2" fmla="*/ 391 w 602"/>
              <a:gd name="T3" fmla="*/ 196 h 751"/>
              <a:gd name="T4" fmla="*/ 392 w 602"/>
              <a:gd name="T5" fmla="*/ 201 h 751"/>
              <a:gd name="T6" fmla="*/ 395 w 602"/>
              <a:gd name="T7" fmla="*/ 206 h 751"/>
              <a:gd name="T8" fmla="*/ 401 w 602"/>
              <a:gd name="T9" fmla="*/ 209 h 751"/>
              <a:gd name="T10" fmla="*/ 406 w 602"/>
              <a:gd name="T11" fmla="*/ 211 h 751"/>
              <a:gd name="T12" fmla="*/ 571 w 602"/>
              <a:gd name="T13" fmla="*/ 631 h 751"/>
              <a:gd name="T14" fmla="*/ 481 w 602"/>
              <a:gd name="T15" fmla="*/ 721 h 751"/>
              <a:gd name="T16" fmla="*/ 30 w 602"/>
              <a:gd name="T17" fmla="*/ 120 h 751"/>
              <a:gd name="T18" fmla="*/ 90 w 602"/>
              <a:gd name="T19" fmla="*/ 646 h 751"/>
              <a:gd name="T20" fmla="*/ 91 w 602"/>
              <a:gd name="T21" fmla="*/ 651 h 751"/>
              <a:gd name="T22" fmla="*/ 95 w 602"/>
              <a:gd name="T23" fmla="*/ 657 h 751"/>
              <a:gd name="T24" fmla="*/ 100 w 602"/>
              <a:gd name="T25" fmla="*/ 660 h 751"/>
              <a:gd name="T26" fmla="*/ 105 w 602"/>
              <a:gd name="T27" fmla="*/ 661 h 751"/>
              <a:gd name="T28" fmla="*/ 481 w 602"/>
              <a:gd name="T29" fmla="*/ 721 h 751"/>
              <a:gd name="T30" fmla="*/ 550 w 602"/>
              <a:gd name="T31" fmla="*/ 181 h 751"/>
              <a:gd name="T32" fmla="*/ 421 w 602"/>
              <a:gd name="T33" fmla="*/ 52 h 751"/>
              <a:gd name="T34" fmla="*/ 417 w 602"/>
              <a:gd name="T35" fmla="*/ 4 h 751"/>
              <a:gd name="T36" fmla="*/ 411 w 602"/>
              <a:gd name="T37" fmla="*/ 1 h 751"/>
              <a:gd name="T38" fmla="*/ 406 w 602"/>
              <a:gd name="T39" fmla="*/ 0 h 751"/>
              <a:gd name="T40" fmla="*/ 103 w 602"/>
              <a:gd name="T41" fmla="*/ 0 h 751"/>
              <a:gd name="T42" fmla="*/ 98 w 602"/>
              <a:gd name="T43" fmla="*/ 3 h 751"/>
              <a:gd name="T44" fmla="*/ 94 w 602"/>
              <a:gd name="T45" fmla="*/ 7 h 751"/>
              <a:gd name="T46" fmla="*/ 91 w 602"/>
              <a:gd name="T47" fmla="*/ 13 h 751"/>
              <a:gd name="T48" fmla="*/ 90 w 602"/>
              <a:gd name="T49" fmla="*/ 90 h 751"/>
              <a:gd name="T50" fmla="*/ 12 w 602"/>
              <a:gd name="T51" fmla="*/ 91 h 751"/>
              <a:gd name="T52" fmla="*/ 7 w 602"/>
              <a:gd name="T53" fmla="*/ 93 h 751"/>
              <a:gd name="T54" fmla="*/ 4 w 602"/>
              <a:gd name="T55" fmla="*/ 97 h 751"/>
              <a:gd name="T56" fmla="*/ 0 w 602"/>
              <a:gd name="T57" fmla="*/ 102 h 751"/>
              <a:gd name="T58" fmla="*/ 0 w 602"/>
              <a:gd name="T59" fmla="*/ 736 h 751"/>
              <a:gd name="T60" fmla="*/ 2 w 602"/>
              <a:gd name="T61" fmla="*/ 742 h 751"/>
              <a:gd name="T62" fmla="*/ 5 w 602"/>
              <a:gd name="T63" fmla="*/ 747 h 751"/>
              <a:gd name="T64" fmla="*/ 10 w 602"/>
              <a:gd name="T65" fmla="*/ 750 h 751"/>
              <a:gd name="T66" fmla="*/ 15 w 602"/>
              <a:gd name="T67" fmla="*/ 751 h 751"/>
              <a:gd name="T68" fmla="*/ 499 w 602"/>
              <a:gd name="T69" fmla="*/ 751 h 751"/>
              <a:gd name="T70" fmla="*/ 504 w 602"/>
              <a:gd name="T71" fmla="*/ 749 h 751"/>
              <a:gd name="T72" fmla="*/ 509 w 602"/>
              <a:gd name="T73" fmla="*/ 745 h 751"/>
              <a:gd name="T74" fmla="*/ 511 w 602"/>
              <a:gd name="T75" fmla="*/ 739 h 751"/>
              <a:gd name="T76" fmla="*/ 511 w 602"/>
              <a:gd name="T77" fmla="*/ 661 h 751"/>
              <a:gd name="T78" fmla="*/ 589 w 602"/>
              <a:gd name="T79" fmla="*/ 660 h 751"/>
              <a:gd name="T80" fmla="*/ 594 w 602"/>
              <a:gd name="T81" fmla="*/ 658 h 751"/>
              <a:gd name="T82" fmla="*/ 599 w 602"/>
              <a:gd name="T83" fmla="*/ 655 h 751"/>
              <a:gd name="T84" fmla="*/ 601 w 602"/>
              <a:gd name="T85" fmla="*/ 649 h 751"/>
              <a:gd name="T86" fmla="*/ 602 w 602"/>
              <a:gd name="T87" fmla="*/ 196 h 751"/>
              <a:gd name="T88" fmla="*/ 596 w 602"/>
              <a:gd name="T89" fmla="*/ 185 h 7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02" h="751">
                <a:moveTo>
                  <a:pt x="120" y="631"/>
                </a:moveTo>
                <a:lnTo>
                  <a:pt x="120" y="30"/>
                </a:lnTo>
                <a:lnTo>
                  <a:pt x="391" y="30"/>
                </a:lnTo>
                <a:lnTo>
                  <a:pt x="391" y="196"/>
                </a:lnTo>
                <a:lnTo>
                  <a:pt x="391" y="199"/>
                </a:lnTo>
                <a:lnTo>
                  <a:pt x="392" y="201"/>
                </a:lnTo>
                <a:lnTo>
                  <a:pt x="393" y="204"/>
                </a:lnTo>
                <a:lnTo>
                  <a:pt x="395" y="206"/>
                </a:lnTo>
                <a:lnTo>
                  <a:pt x="397" y="207"/>
                </a:lnTo>
                <a:lnTo>
                  <a:pt x="401" y="209"/>
                </a:lnTo>
                <a:lnTo>
                  <a:pt x="403" y="209"/>
                </a:lnTo>
                <a:lnTo>
                  <a:pt x="406" y="211"/>
                </a:lnTo>
                <a:lnTo>
                  <a:pt x="571" y="211"/>
                </a:lnTo>
                <a:lnTo>
                  <a:pt x="571" y="631"/>
                </a:lnTo>
                <a:lnTo>
                  <a:pt x="120" y="631"/>
                </a:lnTo>
                <a:close/>
                <a:moveTo>
                  <a:pt x="481" y="721"/>
                </a:moveTo>
                <a:lnTo>
                  <a:pt x="30" y="721"/>
                </a:lnTo>
                <a:lnTo>
                  <a:pt x="30" y="120"/>
                </a:lnTo>
                <a:lnTo>
                  <a:pt x="90" y="120"/>
                </a:lnTo>
                <a:lnTo>
                  <a:pt x="90" y="646"/>
                </a:lnTo>
                <a:lnTo>
                  <a:pt x="91" y="649"/>
                </a:lnTo>
                <a:lnTo>
                  <a:pt x="91" y="651"/>
                </a:lnTo>
                <a:lnTo>
                  <a:pt x="94" y="655"/>
                </a:lnTo>
                <a:lnTo>
                  <a:pt x="95" y="657"/>
                </a:lnTo>
                <a:lnTo>
                  <a:pt x="98" y="658"/>
                </a:lnTo>
                <a:lnTo>
                  <a:pt x="100" y="660"/>
                </a:lnTo>
                <a:lnTo>
                  <a:pt x="103" y="660"/>
                </a:lnTo>
                <a:lnTo>
                  <a:pt x="105" y="661"/>
                </a:lnTo>
                <a:lnTo>
                  <a:pt x="481" y="661"/>
                </a:lnTo>
                <a:lnTo>
                  <a:pt x="481" y="721"/>
                </a:lnTo>
                <a:close/>
                <a:moveTo>
                  <a:pt x="421" y="52"/>
                </a:moveTo>
                <a:lnTo>
                  <a:pt x="550" y="181"/>
                </a:lnTo>
                <a:lnTo>
                  <a:pt x="421" y="181"/>
                </a:lnTo>
                <a:lnTo>
                  <a:pt x="421" y="52"/>
                </a:lnTo>
                <a:close/>
                <a:moveTo>
                  <a:pt x="596" y="185"/>
                </a:moveTo>
                <a:lnTo>
                  <a:pt x="417" y="4"/>
                </a:lnTo>
                <a:lnTo>
                  <a:pt x="415" y="2"/>
                </a:lnTo>
                <a:lnTo>
                  <a:pt x="411" y="1"/>
                </a:lnTo>
                <a:lnTo>
                  <a:pt x="409" y="0"/>
                </a:lnTo>
                <a:lnTo>
                  <a:pt x="406" y="0"/>
                </a:lnTo>
                <a:lnTo>
                  <a:pt x="105" y="0"/>
                </a:lnTo>
                <a:lnTo>
                  <a:pt x="103" y="0"/>
                </a:lnTo>
                <a:lnTo>
                  <a:pt x="100" y="1"/>
                </a:lnTo>
                <a:lnTo>
                  <a:pt x="98" y="3"/>
                </a:lnTo>
                <a:lnTo>
                  <a:pt x="95" y="5"/>
                </a:lnTo>
                <a:lnTo>
                  <a:pt x="94" y="7"/>
                </a:lnTo>
                <a:lnTo>
                  <a:pt x="91" y="9"/>
                </a:lnTo>
                <a:lnTo>
                  <a:pt x="91" y="13"/>
                </a:lnTo>
                <a:lnTo>
                  <a:pt x="90" y="15"/>
                </a:lnTo>
                <a:lnTo>
                  <a:pt x="90" y="90"/>
                </a:lnTo>
                <a:lnTo>
                  <a:pt x="15" y="90"/>
                </a:lnTo>
                <a:lnTo>
                  <a:pt x="12" y="91"/>
                </a:lnTo>
                <a:lnTo>
                  <a:pt x="10" y="92"/>
                </a:lnTo>
                <a:lnTo>
                  <a:pt x="7" y="93"/>
                </a:lnTo>
                <a:lnTo>
                  <a:pt x="5" y="95"/>
                </a:lnTo>
                <a:lnTo>
                  <a:pt x="4" y="97"/>
                </a:lnTo>
                <a:lnTo>
                  <a:pt x="2" y="99"/>
                </a:lnTo>
                <a:lnTo>
                  <a:pt x="0" y="102"/>
                </a:lnTo>
                <a:lnTo>
                  <a:pt x="0" y="105"/>
                </a:lnTo>
                <a:lnTo>
                  <a:pt x="0" y="736"/>
                </a:lnTo>
                <a:lnTo>
                  <a:pt x="0" y="739"/>
                </a:lnTo>
                <a:lnTo>
                  <a:pt x="2" y="742"/>
                </a:lnTo>
                <a:lnTo>
                  <a:pt x="4" y="745"/>
                </a:lnTo>
                <a:lnTo>
                  <a:pt x="5" y="747"/>
                </a:lnTo>
                <a:lnTo>
                  <a:pt x="7" y="749"/>
                </a:lnTo>
                <a:lnTo>
                  <a:pt x="10" y="750"/>
                </a:lnTo>
                <a:lnTo>
                  <a:pt x="12" y="751"/>
                </a:lnTo>
                <a:lnTo>
                  <a:pt x="15" y="751"/>
                </a:lnTo>
                <a:lnTo>
                  <a:pt x="496" y="751"/>
                </a:lnTo>
                <a:lnTo>
                  <a:pt x="499" y="751"/>
                </a:lnTo>
                <a:lnTo>
                  <a:pt x="502" y="750"/>
                </a:lnTo>
                <a:lnTo>
                  <a:pt x="504" y="749"/>
                </a:lnTo>
                <a:lnTo>
                  <a:pt x="507" y="747"/>
                </a:lnTo>
                <a:lnTo>
                  <a:pt x="509" y="745"/>
                </a:lnTo>
                <a:lnTo>
                  <a:pt x="510" y="742"/>
                </a:lnTo>
                <a:lnTo>
                  <a:pt x="511" y="739"/>
                </a:lnTo>
                <a:lnTo>
                  <a:pt x="511" y="736"/>
                </a:lnTo>
                <a:lnTo>
                  <a:pt x="511" y="661"/>
                </a:lnTo>
                <a:lnTo>
                  <a:pt x="586" y="661"/>
                </a:lnTo>
                <a:lnTo>
                  <a:pt x="589" y="660"/>
                </a:lnTo>
                <a:lnTo>
                  <a:pt x="592" y="660"/>
                </a:lnTo>
                <a:lnTo>
                  <a:pt x="594" y="658"/>
                </a:lnTo>
                <a:lnTo>
                  <a:pt x="596" y="657"/>
                </a:lnTo>
                <a:lnTo>
                  <a:pt x="599" y="655"/>
                </a:lnTo>
                <a:lnTo>
                  <a:pt x="600" y="651"/>
                </a:lnTo>
                <a:lnTo>
                  <a:pt x="601" y="649"/>
                </a:lnTo>
                <a:lnTo>
                  <a:pt x="602" y="646"/>
                </a:lnTo>
                <a:lnTo>
                  <a:pt x="602" y="196"/>
                </a:lnTo>
                <a:lnTo>
                  <a:pt x="600" y="190"/>
                </a:lnTo>
                <a:lnTo>
                  <a:pt x="596" y="185"/>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325" name="Group 324"/>
          <p:cNvGrpSpPr/>
          <p:nvPr/>
        </p:nvGrpSpPr>
        <p:grpSpPr>
          <a:xfrm>
            <a:off x="6688626" y="3711448"/>
            <a:ext cx="287338" cy="287338"/>
            <a:chOff x="8736013" y="1925638"/>
            <a:chExt cx="287338" cy="287338"/>
          </a:xfrm>
          <a:solidFill>
            <a:schemeClr val="bg1"/>
          </a:solidFill>
        </p:grpSpPr>
        <p:sp>
          <p:nvSpPr>
            <p:cNvPr id="326" name="Freeform 97"/>
            <p:cNvSpPr>
              <a:spLocks noEditPoints="1"/>
            </p:cNvSpPr>
            <p:nvPr/>
          </p:nvSpPr>
          <p:spPr bwMode="auto">
            <a:xfrm>
              <a:off x="8736013" y="1925638"/>
              <a:ext cx="287338" cy="287338"/>
            </a:xfrm>
            <a:custGeom>
              <a:avLst/>
              <a:gdLst>
                <a:gd name="T0" fmla="*/ 481 w 902"/>
                <a:gd name="T1" fmla="*/ 863 h 902"/>
                <a:gd name="T2" fmla="*/ 872 w 902"/>
                <a:gd name="T3" fmla="*/ 219 h 902"/>
                <a:gd name="T4" fmla="*/ 30 w 902"/>
                <a:gd name="T5" fmla="*/ 219 h 902"/>
                <a:gd name="T6" fmla="*/ 451 w 902"/>
                <a:gd name="T7" fmla="*/ 864 h 902"/>
                <a:gd name="T8" fmla="*/ 30 w 902"/>
                <a:gd name="T9" fmla="*/ 219 h 902"/>
                <a:gd name="T10" fmla="*/ 54 w 902"/>
                <a:gd name="T11" fmla="*/ 197 h 902"/>
                <a:gd name="T12" fmla="*/ 648 w 902"/>
                <a:gd name="T13" fmla="*/ 290 h 902"/>
                <a:gd name="T14" fmla="*/ 466 w 902"/>
                <a:gd name="T15" fmla="*/ 32 h 902"/>
                <a:gd name="T16" fmla="*/ 683 w 902"/>
                <a:gd name="T17" fmla="*/ 274 h 902"/>
                <a:gd name="T18" fmla="*/ 466 w 902"/>
                <a:gd name="T19" fmla="*/ 32 h 902"/>
                <a:gd name="T20" fmla="*/ 902 w 902"/>
                <a:gd name="T21" fmla="*/ 195 h 902"/>
                <a:gd name="T22" fmla="*/ 901 w 902"/>
                <a:gd name="T23" fmla="*/ 191 h 902"/>
                <a:gd name="T24" fmla="*/ 901 w 902"/>
                <a:gd name="T25" fmla="*/ 190 h 902"/>
                <a:gd name="T26" fmla="*/ 898 w 902"/>
                <a:gd name="T27" fmla="*/ 186 h 902"/>
                <a:gd name="T28" fmla="*/ 898 w 902"/>
                <a:gd name="T29" fmla="*/ 185 h 902"/>
                <a:gd name="T30" fmla="*/ 896 w 902"/>
                <a:gd name="T31" fmla="*/ 184 h 902"/>
                <a:gd name="T32" fmla="*/ 893 w 902"/>
                <a:gd name="T33" fmla="*/ 183 h 902"/>
                <a:gd name="T34" fmla="*/ 892 w 902"/>
                <a:gd name="T35" fmla="*/ 182 h 902"/>
                <a:gd name="T36" fmla="*/ 469 w 902"/>
                <a:gd name="T37" fmla="*/ 0 h 902"/>
                <a:gd name="T38" fmla="*/ 463 w 902"/>
                <a:gd name="T39" fmla="*/ 0 h 902"/>
                <a:gd name="T40" fmla="*/ 10 w 902"/>
                <a:gd name="T41" fmla="*/ 182 h 902"/>
                <a:gd name="T42" fmla="*/ 9 w 902"/>
                <a:gd name="T43" fmla="*/ 183 h 902"/>
                <a:gd name="T44" fmla="*/ 6 w 902"/>
                <a:gd name="T45" fmla="*/ 184 h 902"/>
                <a:gd name="T46" fmla="*/ 4 w 902"/>
                <a:gd name="T47" fmla="*/ 185 h 902"/>
                <a:gd name="T48" fmla="*/ 4 w 902"/>
                <a:gd name="T49" fmla="*/ 186 h 902"/>
                <a:gd name="T50" fmla="*/ 1 w 902"/>
                <a:gd name="T51" fmla="*/ 189 h 902"/>
                <a:gd name="T52" fmla="*/ 1 w 902"/>
                <a:gd name="T53" fmla="*/ 190 h 902"/>
                <a:gd name="T54" fmla="*/ 0 w 902"/>
                <a:gd name="T55" fmla="*/ 195 h 902"/>
                <a:gd name="T56" fmla="*/ 0 w 902"/>
                <a:gd name="T57" fmla="*/ 195 h 902"/>
                <a:gd name="T58" fmla="*/ 0 w 902"/>
                <a:gd name="T59" fmla="*/ 195 h 902"/>
                <a:gd name="T60" fmla="*/ 0 w 902"/>
                <a:gd name="T61" fmla="*/ 681 h 902"/>
                <a:gd name="T62" fmla="*/ 5 w 902"/>
                <a:gd name="T63" fmla="*/ 688 h 902"/>
                <a:gd name="T64" fmla="*/ 460 w 902"/>
                <a:gd name="T65" fmla="*/ 901 h 902"/>
                <a:gd name="T66" fmla="*/ 461 w 902"/>
                <a:gd name="T67" fmla="*/ 901 h 902"/>
                <a:gd name="T68" fmla="*/ 466 w 902"/>
                <a:gd name="T69" fmla="*/ 902 h 902"/>
                <a:gd name="T70" fmla="*/ 472 w 902"/>
                <a:gd name="T71" fmla="*/ 901 h 902"/>
                <a:gd name="T72" fmla="*/ 472 w 902"/>
                <a:gd name="T73" fmla="*/ 900 h 902"/>
                <a:gd name="T74" fmla="*/ 897 w 902"/>
                <a:gd name="T75" fmla="*/ 688 h 902"/>
                <a:gd name="T76" fmla="*/ 901 w 902"/>
                <a:gd name="T77" fmla="*/ 681 h 902"/>
                <a:gd name="T78" fmla="*/ 902 w 902"/>
                <a:gd name="T79" fmla="*/ 195 h 902"/>
                <a:gd name="T80" fmla="*/ 902 w 902"/>
                <a:gd name="T81" fmla="*/ 195 h 9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902" h="902">
                  <a:moveTo>
                    <a:pt x="872" y="668"/>
                  </a:moveTo>
                  <a:lnTo>
                    <a:pt x="481" y="863"/>
                  </a:lnTo>
                  <a:lnTo>
                    <a:pt x="481" y="401"/>
                  </a:lnTo>
                  <a:lnTo>
                    <a:pt x="872" y="219"/>
                  </a:lnTo>
                  <a:lnTo>
                    <a:pt x="872" y="668"/>
                  </a:lnTo>
                  <a:close/>
                  <a:moveTo>
                    <a:pt x="30" y="219"/>
                  </a:moveTo>
                  <a:lnTo>
                    <a:pt x="451" y="401"/>
                  </a:lnTo>
                  <a:lnTo>
                    <a:pt x="451" y="864"/>
                  </a:lnTo>
                  <a:lnTo>
                    <a:pt x="30" y="667"/>
                  </a:lnTo>
                  <a:lnTo>
                    <a:pt x="30" y="219"/>
                  </a:lnTo>
                  <a:close/>
                  <a:moveTo>
                    <a:pt x="466" y="374"/>
                  </a:moveTo>
                  <a:lnTo>
                    <a:pt x="54" y="197"/>
                  </a:lnTo>
                  <a:lnTo>
                    <a:pt x="266" y="112"/>
                  </a:lnTo>
                  <a:lnTo>
                    <a:pt x="648" y="290"/>
                  </a:lnTo>
                  <a:lnTo>
                    <a:pt x="466" y="374"/>
                  </a:lnTo>
                  <a:close/>
                  <a:moveTo>
                    <a:pt x="466" y="32"/>
                  </a:moveTo>
                  <a:lnTo>
                    <a:pt x="851" y="197"/>
                  </a:lnTo>
                  <a:lnTo>
                    <a:pt x="683" y="274"/>
                  </a:lnTo>
                  <a:lnTo>
                    <a:pt x="304" y="97"/>
                  </a:lnTo>
                  <a:lnTo>
                    <a:pt x="466" y="32"/>
                  </a:lnTo>
                  <a:close/>
                  <a:moveTo>
                    <a:pt x="902" y="195"/>
                  </a:moveTo>
                  <a:lnTo>
                    <a:pt x="902" y="195"/>
                  </a:lnTo>
                  <a:lnTo>
                    <a:pt x="902" y="193"/>
                  </a:lnTo>
                  <a:lnTo>
                    <a:pt x="901" y="191"/>
                  </a:lnTo>
                  <a:lnTo>
                    <a:pt x="901" y="190"/>
                  </a:lnTo>
                  <a:lnTo>
                    <a:pt x="901" y="190"/>
                  </a:lnTo>
                  <a:lnTo>
                    <a:pt x="900" y="188"/>
                  </a:lnTo>
                  <a:lnTo>
                    <a:pt x="898" y="186"/>
                  </a:lnTo>
                  <a:lnTo>
                    <a:pt x="898" y="186"/>
                  </a:lnTo>
                  <a:lnTo>
                    <a:pt x="898" y="185"/>
                  </a:lnTo>
                  <a:lnTo>
                    <a:pt x="897" y="184"/>
                  </a:lnTo>
                  <a:lnTo>
                    <a:pt x="896" y="184"/>
                  </a:lnTo>
                  <a:lnTo>
                    <a:pt x="895" y="183"/>
                  </a:lnTo>
                  <a:lnTo>
                    <a:pt x="893" y="183"/>
                  </a:lnTo>
                  <a:lnTo>
                    <a:pt x="893" y="183"/>
                  </a:lnTo>
                  <a:lnTo>
                    <a:pt x="892" y="182"/>
                  </a:lnTo>
                  <a:lnTo>
                    <a:pt x="471" y="2"/>
                  </a:lnTo>
                  <a:lnTo>
                    <a:pt x="469" y="0"/>
                  </a:lnTo>
                  <a:lnTo>
                    <a:pt x="466" y="0"/>
                  </a:lnTo>
                  <a:lnTo>
                    <a:pt x="463" y="0"/>
                  </a:lnTo>
                  <a:lnTo>
                    <a:pt x="461" y="2"/>
                  </a:lnTo>
                  <a:lnTo>
                    <a:pt x="10" y="182"/>
                  </a:lnTo>
                  <a:lnTo>
                    <a:pt x="9" y="182"/>
                  </a:lnTo>
                  <a:lnTo>
                    <a:pt x="9" y="183"/>
                  </a:lnTo>
                  <a:lnTo>
                    <a:pt x="8" y="183"/>
                  </a:lnTo>
                  <a:lnTo>
                    <a:pt x="6" y="184"/>
                  </a:lnTo>
                  <a:lnTo>
                    <a:pt x="5" y="184"/>
                  </a:lnTo>
                  <a:lnTo>
                    <a:pt x="4" y="185"/>
                  </a:lnTo>
                  <a:lnTo>
                    <a:pt x="4" y="185"/>
                  </a:lnTo>
                  <a:lnTo>
                    <a:pt x="4" y="186"/>
                  </a:lnTo>
                  <a:lnTo>
                    <a:pt x="2" y="187"/>
                  </a:lnTo>
                  <a:lnTo>
                    <a:pt x="1" y="189"/>
                  </a:lnTo>
                  <a:lnTo>
                    <a:pt x="1" y="190"/>
                  </a:lnTo>
                  <a:lnTo>
                    <a:pt x="1" y="190"/>
                  </a:lnTo>
                  <a:lnTo>
                    <a:pt x="0" y="192"/>
                  </a:lnTo>
                  <a:lnTo>
                    <a:pt x="0" y="195"/>
                  </a:lnTo>
                  <a:lnTo>
                    <a:pt x="0" y="195"/>
                  </a:lnTo>
                  <a:lnTo>
                    <a:pt x="0" y="195"/>
                  </a:lnTo>
                  <a:lnTo>
                    <a:pt x="0" y="195"/>
                  </a:lnTo>
                  <a:lnTo>
                    <a:pt x="0" y="195"/>
                  </a:lnTo>
                  <a:lnTo>
                    <a:pt x="0" y="676"/>
                  </a:lnTo>
                  <a:lnTo>
                    <a:pt x="0" y="681"/>
                  </a:lnTo>
                  <a:lnTo>
                    <a:pt x="2" y="685"/>
                  </a:lnTo>
                  <a:lnTo>
                    <a:pt x="5" y="688"/>
                  </a:lnTo>
                  <a:lnTo>
                    <a:pt x="9" y="690"/>
                  </a:lnTo>
                  <a:lnTo>
                    <a:pt x="460" y="901"/>
                  </a:lnTo>
                  <a:lnTo>
                    <a:pt x="460" y="901"/>
                  </a:lnTo>
                  <a:lnTo>
                    <a:pt x="461" y="901"/>
                  </a:lnTo>
                  <a:lnTo>
                    <a:pt x="463" y="902"/>
                  </a:lnTo>
                  <a:lnTo>
                    <a:pt x="466" y="902"/>
                  </a:lnTo>
                  <a:lnTo>
                    <a:pt x="469" y="902"/>
                  </a:lnTo>
                  <a:lnTo>
                    <a:pt x="472" y="901"/>
                  </a:lnTo>
                  <a:lnTo>
                    <a:pt x="472" y="901"/>
                  </a:lnTo>
                  <a:lnTo>
                    <a:pt x="472" y="900"/>
                  </a:lnTo>
                  <a:lnTo>
                    <a:pt x="893" y="690"/>
                  </a:lnTo>
                  <a:lnTo>
                    <a:pt x="897" y="688"/>
                  </a:lnTo>
                  <a:lnTo>
                    <a:pt x="900" y="685"/>
                  </a:lnTo>
                  <a:lnTo>
                    <a:pt x="901" y="681"/>
                  </a:lnTo>
                  <a:lnTo>
                    <a:pt x="902" y="676"/>
                  </a:lnTo>
                  <a:lnTo>
                    <a:pt x="902" y="195"/>
                  </a:lnTo>
                  <a:lnTo>
                    <a:pt x="902" y="195"/>
                  </a:lnTo>
                  <a:lnTo>
                    <a:pt x="902" y="19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7" name="Freeform 98"/>
            <p:cNvSpPr>
              <a:spLocks noEditPoints="1"/>
            </p:cNvSpPr>
            <p:nvPr/>
          </p:nvSpPr>
          <p:spPr bwMode="auto">
            <a:xfrm>
              <a:off x="8774113" y="2041525"/>
              <a:ext cx="77788" cy="100013"/>
            </a:xfrm>
            <a:custGeom>
              <a:avLst/>
              <a:gdLst>
                <a:gd name="T0" fmla="*/ 211 w 241"/>
                <a:gd name="T1" fmla="*/ 278 h 315"/>
                <a:gd name="T2" fmla="*/ 30 w 241"/>
                <a:gd name="T3" fmla="*/ 201 h 315"/>
                <a:gd name="T4" fmla="*/ 30 w 241"/>
                <a:gd name="T5" fmla="*/ 38 h 315"/>
                <a:gd name="T6" fmla="*/ 211 w 241"/>
                <a:gd name="T7" fmla="*/ 115 h 315"/>
                <a:gd name="T8" fmla="*/ 211 w 241"/>
                <a:gd name="T9" fmla="*/ 278 h 315"/>
                <a:gd name="T10" fmla="*/ 231 w 241"/>
                <a:gd name="T11" fmla="*/ 92 h 315"/>
                <a:gd name="T12" fmla="*/ 21 w 241"/>
                <a:gd name="T13" fmla="*/ 2 h 315"/>
                <a:gd name="T14" fmla="*/ 17 w 241"/>
                <a:gd name="T15" fmla="*/ 0 h 315"/>
                <a:gd name="T16" fmla="*/ 14 w 241"/>
                <a:gd name="T17" fmla="*/ 0 h 315"/>
                <a:gd name="T18" fmla="*/ 11 w 241"/>
                <a:gd name="T19" fmla="*/ 0 h 315"/>
                <a:gd name="T20" fmla="*/ 6 w 241"/>
                <a:gd name="T21" fmla="*/ 3 h 315"/>
                <a:gd name="T22" fmla="*/ 4 w 241"/>
                <a:gd name="T23" fmla="*/ 5 h 315"/>
                <a:gd name="T24" fmla="*/ 2 w 241"/>
                <a:gd name="T25" fmla="*/ 8 h 315"/>
                <a:gd name="T26" fmla="*/ 1 w 241"/>
                <a:gd name="T27" fmla="*/ 11 h 315"/>
                <a:gd name="T28" fmla="*/ 0 w 241"/>
                <a:gd name="T29" fmla="*/ 15 h 315"/>
                <a:gd name="T30" fmla="*/ 0 w 241"/>
                <a:gd name="T31" fmla="*/ 210 h 315"/>
                <a:gd name="T32" fmla="*/ 1 w 241"/>
                <a:gd name="T33" fmla="*/ 215 h 315"/>
                <a:gd name="T34" fmla="*/ 2 w 241"/>
                <a:gd name="T35" fmla="*/ 219 h 315"/>
                <a:gd name="T36" fmla="*/ 5 w 241"/>
                <a:gd name="T37" fmla="*/ 222 h 315"/>
                <a:gd name="T38" fmla="*/ 10 w 241"/>
                <a:gd name="T39" fmla="*/ 224 h 315"/>
                <a:gd name="T40" fmla="*/ 220 w 241"/>
                <a:gd name="T41" fmla="*/ 314 h 315"/>
                <a:gd name="T42" fmla="*/ 223 w 241"/>
                <a:gd name="T43" fmla="*/ 315 h 315"/>
                <a:gd name="T44" fmla="*/ 226 w 241"/>
                <a:gd name="T45" fmla="*/ 315 h 315"/>
                <a:gd name="T46" fmla="*/ 230 w 241"/>
                <a:gd name="T47" fmla="*/ 315 h 315"/>
                <a:gd name="T48" fmla="*/ 234 w 241"/>
                <a:gd name="T49" fmla="*/ 313 h 315"/>
                <a:gd name="T50" fmla="*/ 237 w 241"/>
                <a:gd name="T51" fmla="*/ 311 h 315"/>
                <a:gd name="T52" fmla="*/ 239 w 241"/>
                <a:gd name="T53" fmla="*/ 308 h 315"/>
                <a:gd name="T54" fmla="*/ 240 w 241"/>
                <a:gd name="T55" fmla="*/ 305 h 315"/>
                <a:gd name="T56" fmla="*/ 241 w 241"/>
                <a:gd name="T57" fmla="*/ 300 h 315"/>
                <a:gd name="T58" fmla="*/ 241 w 241"/>
                <a:gd name="T59" fmla="*/ 105 h 315"/>
                <a:gd name="T60" fmla="*/ 240 w 241"/>
                <a:gd name="T61" fmla="*/ 101 h 315"/>
                <a:gd name="T62" fmla="*/ 238 w 241"/>
                <a:gd name="T63" fmla="*/ 97 h 315"/>
                <a:gd name="T64" fmla="*/ 236 w 241"/>
                <a:gd name="T65" fmla="*/ 94 h 315"/>
                <a:gd name="T66" fmla="*/ 231 w 241"/>
                <a:gd name="T67" fmla="*/ 92 h 315"/>
                <a:gd name="T68" fmla="*/ 231 w 241"/>
                <a:gd name="T69" fmla="*/ 92 h 3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41" h="315">
                  <a:moveTo>
                    <a:pt x="211" y="278"/>
                  </a:moveTo>
                  <a:lnTo>
                    <a:pt x="30" y="201"/>
                  </a:lnTo>
                  <a:lnTo>
                    <a:pt x="30" y="38"/>
                  </a:lnTo>
                  <a:lnTo>
                    <a:pt x="211" y="115"/>
                  </a:lnTo>
                  <a:lnTo>
                    <a:pt x="211" y="278"/>
                  </a:lnTo>
                  <a:close/>
                  <a:moveTo>
                    <a:pt x="231" y="92"/>
                  </a:moveTo>
                  <a:lnTo>
                    <a:pt x="21" y="2"/>
                  </a:lnTo>
                  <a:lnTo>
                    <a:pt x="17" y="0"/>
                  </a:lnTo>
                  <a:lnTo>
                    <a:pt x="14" y="0"/>
                  </a:lnTo>
                  <a:lnTo>
                    <a:pt x="11" y="0"/>
                  </a:lnTo>
                  <a:lnTo>
                    <a:pt x="6" y="3"/>
                  </a:lnTo>
                  <a:lnTo>
                    <a:pt x="4" y="5"/>
                  </a:lnTo>
                  <a:lnTo>
                    <a:pt x="2" y="8"/>
                  </a:lnTo>
                  <a:lnTo>
                    <a:pt x="1" y="11"/>
                  </a:lnTo>
                  <a:lnTo>
                    <a:pt x="0" y="15"/>
                  </a:lnTo>
                  <a:lnTo>
                    <a:pt x="0" y="210"/>
                  </a:lnTo>
                  <a:lnTo>
                    <a:pt x="1" y="215"/>
                  </a:lnTo>
                  <a:lnTo>
                    <a:pt x="2" y="219"/>
                  </a:lnTo>
                  <a:lnTo>
                    <a:pt x="5" y="222"/>
                  </a:lnTo>
                  <a:lnTo>
                    <a:pt x="10" y="224"/>
                  </a:lnTo>
                  <a:lnTo>
                    <a:pt x="220" y="314"/>
                  </a:lnTo>
                  <a:lnTo>
                    <a:pt x="223" y="315"/>
                  </a:lnTo>
                  <a:lnTo>
                    <a:pt x="226" y="315"/>
                  </a:lnTo>
                  <a:lnTo>
                    <a:pt x="230" y="315"/>
                  </a:lnTo>
                  <a:lnTo>
                    <a:pt x="234" y="313"/>
                  </a:lnTo>
                  <a:lnTo>
                    <a:pt x="237" y="311"/>
                  </a:lnTo>
                  <a:lnTo>
                    <a:pt x="239" y="308"/>
                  </a:lnTo>
                  <a:lnTo>
                    <a:pt x="240" y="305"/>
                  </a:lnTo>
                  <a:lnTo>
                    <a:pt x="241" y="300"/>
                  </a:lnTo>
                  <a:lnTo>
                    <a:pt x="241" y="105"/>
                  </a:lnTo>
                  <a:lnTo>
                    <a:pt x="240" y="101"/>
                  </a:lnTo>
                  <a:lnTo>
                    <a:pt x="238" y="97"/>
                  </a:lnTo>
                  <a:lnTo>
                    <a:pt x="236" y="94"/>
                  </a:lnTo>
                  <a:lnTo>
                    <a:pt x="231" y="92"/>
                  </a:lnTo>
                  <a:lnTo>
                    <a:pt x="231" y="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328" name="Group 327"/>
          <p:cNvGrpSpPr/>
          <p:nvPr/>
        </p:nvGrpSpPr>
        <p:grpSpPr>
          <a:xfrm>
            <a:off x="8134763" y="3748356"/>
            <a:ext cx="285750" cy="201613"/>
            <a:chOff x="8164513" y="2584450"/>
            <a:chExt cx="285750" cy="201613"/>
          </a:xfrm>
          <a:solidFill>
            <a:schemeClr val="bg1"/>
          </a:solidFill>
        </p:grpSpPr>
        <p:sp>
          <p:nvSpPr>
            <p:cNvPr id="329" name="Freeform 106"/>
            <p:cNvSpPr>
              <a:spLocks noEditPoints="1"/>
            </p:cNvSpPr>
            <p:nvPr/>
          </p:nvSpPr>
          <p:spPr bwMode="auto">
            <a:xfrm>
              <a:off x="8164513" y="2584450"/>
              <a:ext cx="285750" cy="201613"/>
            </a:xfrm>
            <a:custGeom>
              <a:avLst/>
              <a:gdLst>
                <a:gd name="T0" fmla="*/ 806 w 902"/>
                <a:gd name="T1" fmla="*/ 508 h 631"/>
                <a:gd name="T2" fmla="*/ 872 w 902"/>
                <a:gd name="T3" fmla="*/ 481 h 631"/>
                <a:gd name="T4" fmla="*/ 709 w 902"/>
                <a:gd name="T5" fmla="*/ 600 h 631"/>
                <a:gd name="T6" fmla="*/ 683 w 902"/>
                <a:gd name="T7" fmla="*/ 587 h 631"/>
                <a:gd name="T8" fmla="*/ 666 w 902"/>
                <a:gd name="T9" fmla="*/ 565 h 631"/>
                <a:gd name="T10" fmla="*/ 661 w 902"/>
                <a:gd name="T11" fmla="*/ 535 h 631"/>
                <a:gd name="T12" fmla="*/ 672 w 902"/>
                <a:gd name="T13" fmla="*/ 508 h 631"/>
                <a:gd name="T14" fmla="*/ 693 w 902"/>
                <a:gd name="T15" fmla="*/ 489 h 631"/>
                <a:gd name="T16" fmla="*/ 721 w 902"/>
                <a:gd name="T17" fmla="*/ 481 h 631"/>
                <a:gd name="T18" fmla="*/ 750 w 902"/>
                <a:gd name="T19" fmla="*/ 489 h 631"/>
                <a:gd name="T20" fmla="*/ 771 w 902"/>
                <a:gd name="T21" fmla="*/ 508 h 631"/>
                <a:gd name="T22" fmla="*/ 781 w 902"/>
                <a:gd name="T23" fmla="*/ 535 h 631"/>
                <a:gd name="T24" fmla="*/ 777 w 902"/>
                <a:gd name="T25" fmla="*/ 565 h 631"/>
                <a:gd name="T26" fmla="*/ 760 w 902"/>
                <a:gd name="T27" fmla="*/ 587 h 631"/>
                <a:gd name="T28" fmla="*/ 734 w 902"/>
                <a:gd name="T29" fmla="*/ 600 h 631"/>
                <a:gd name="T30" fmla="*/ 269 w 902"/>
                <a:gd name="T31" fmla="*/ 524 h 631"/>
                <a:gd name="T32" fmla="*/ 252 w 902"/>
                <a:gd name="T33" fmla="*/ 488 h 631"/>
                <a:gd name="T34" fmla="*/ 641 w 902"/>
                <a:gd name="T35" fmla="*/ 501 h 631"/>
                <a:gd name="T36" fmla="*/ 631 w 902"/>
                <a:gd name="T37" fmla="*/ 541 h 631"/>
                <a:gd name="T38" fmla="*/ 162 w 902"/>
                <a:gd name="T39" fmla="*/ 599 h 631"/>
                <a:gd name="T40" fmla="*/ 137 w 902"/>
                <a:gd name="T41" fmla="*/ 584 h 631"/>
                <a:gd name="T42" fmla="*/ 122 w 902"/>
                <a:gd name="T43" fmla="*/ 560 h 631"/>
                <a:gd name="T44" fmla="*/ 121 w 902"/>
                <a:gd name="T45" fmla="*/ 530 h 631"/>
                <a:gd name="T46" fmla="*/ 134 w 902"/>
                <a:gd name="T47" fmla="*/ 503 h 631"/>
                <a:gd name="T48" fmla="*/ 156 w 902"/>
                <a:gd name="T49" fmla="*/ 486 h 631"/>
                <a:gd name="T50" fmla="*/ 186 w 902"/>
                <a:gd name="T51" fmla="*/ 481 h 631"/>
                <a:gd name="T52" fmla="*/ 213 w 902"/>
                <a:gd name="T53" fmla="*/ 491 h 631"/>
                <a:gd name="T54" fmla="*/ 232 w 902"/>
                <a:gd name="T55" fmla="*/ 512 h 631"/>
                <a:gd name="T56" fmla="*/ 240 w 902"/>
                <a:gd name="T57" fmla="*/ 541 h 631"/>
                <a:gd name="T58" fmla="*/ 232 w 902"/>
                <a:gd name="T59" fmla="*/ 570 h 631"/>
                <a:gd name="T60" fmla="*/ 213 w 902"/>
                <a:gd name="T61" fmla="*/ 591 h 631"/>
                <a:gd name="T62" fmla="*/ 186 w 902"/>
                <a:gd name="T63" fmla="*/ 601 h 631"/>
                <a:gd name="T64" fmla="*/ 108 w 902"/>
                <a:gd name="T65" fmla="*/ 488 h 631"/>
                <a:gd name="T66" fmla="*/ 91 w 902"/>
                <a:gd name="T67" fmla="*/ 524 h 631"/>
                <a:gd name="T68" fmla="*/ 117 w 902"/>
                <a:gd name="T69" fmla="*/ 265 h 631"/>
                <a:gd name="T70" fmla="*/ 30 w 902"/>
                <a:gd name="T71" fmla="*/ 451 h 631"/>
                <a:gd name="T72" fmla="*/ 872 w 902"/>
                <a:gd name="T73" fmla="*/ 451 h 631"/>
                <a:gd name="T74" fmla="*/ 887 w 902"/>
                <a:gd name="T75" fmla="*/ 0 h 631"/>
                <a:gd name="T76" fmla="*/ 365 w 902"/>
                <a:gd name="T77" fmla="*/ 5 h 631"/>
                <a:gd name="T78" fmla="*/ 361 w 902"/>
                <a:gd name="T79" fmla="*/ 90 h 631"/>
                <a:gd name="T80" fmla="*/ 182 w 902"/>
                <a:gd name="T81" fmla="*/ 98 h 631"/>
                <a:gd name="T82" fmla="*/ 0 w 902"/>
                <a:gd name="T83" fmla="*/ 327 h 631"/>
                <a:gd name="T84" fmla="*/ 2 w 902"/>
                <a:gd name="T85" fmla="*/ 565 h 631"/>
                <a:gd name="T86" fmla="*/ 15 w 902"/>
                <a:gd name="T87" fmla="*/ 571 h 631"/>
                <a:gd name="T88" fmla="*/ 128 w 902"/>
                <a:gd name="T89" fmla="*/ 614 h 631"/>
                <a:gd name="T90" fmla="*/ 172 w 902"/>
                <a:gd name="T91" fmla="*/ 631 h 631"/>
                <a:gd name="T92" fmla="*/ 208 w 902"/>
                <a:gd name="T93" fmla="*/ 627 h 631"/>
                <a:gd name="T94" fmla="*/ 259 w 902"/>
                <a:gd name="T95" fmla="*/ 584 h 631"/>
                <a:gd name="T96" fmla="*/ 659 w 902"/>
                <a:gd name="T97" fmla="*/ 606 h 631"/>
                <a:gd name="T98" fmla="*/ 707 w 902"/>
                <a:gd name="T99" fmla="*/ 630 h 631"/>
                <a:gd name="T100" fmla="*/ 742 w 902"/>
                <a:gd name="T101" fmla="*/ 629 h 631"/>
                <a:gd name="T102" fmla="*/ 793 w 902"/>
                <a:gd name="T103" fmla="*/ 596 h 631"/>
                <a:gd name="T104" fmla="*/ 892 w 902"/>
                <a:gd name="T105" fmla="*/ 570 h 631"/>
                <a:gd name="T106" fmla="*/ 901 w 902"/>
                <a:gd name="T107" fmla="*/ 560 h 631"/>
                <a:gd name="T108" fmla="*/ 899 w 902"/>
                <a:gd name="T109" fmla="*/ 7 h 631"/>
                <a:gd name="T110" fmla="*/ 887 w 902"/>
                <a:gd name="T111" fmla="*/ 0 h 6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902" h="631">
                  <a:moveTo>
                    <a:pt x="812" y="541"/>
                  </a:moveTo>
                  <a:lnTo>
                    <a:pt x="811" y="533"/>
                  </a:lnTo>
                  <a:lnTo>
                    <a:pt x="810" y="524"/>
                  </a:lnTo>
                  <a:lnTo>
                    <a:pt x="808" y="517"/>
                  </a:lnTo>
                  <a:lnTo>
                    <a:pt x="806" y="508"/>
                  </a:lnTo>
                  <a:lnTo>
                    <a:pt x="802" y="501"/>
                  </a:lnTo>
                  <a:lnTo>
                    <a:pt x="798" y="494"/>
                  </a:lnTo>
                  <a:lnTo>
                    <a:pt x="794" y="488"/>
                  </a:lnTo>
                  <a:lnTo>
                    <a:pt x="788" y="481"/>
                  </a:lnTo>
                  <a:lnTo>
                    <a:pt x="872" y="481"/>
                  </a:lnTo>
                  <a:lnTo>
                    <a:pt x="872" y="541"/>
                  </a:lnTo>
                  <a:lnTo>
                    <a:pt x="812" y="541"/>
                  </a:lnTo>
                  <a:close/>
                  <a:moveTo>
                    <a:pt x="721" y="601"/>
                  </a:moveTo>
                  <a:lnTo>
                    <a:pt x="716" y="601"/>
                  </a:lnTo>
                  <a:lnTo>
                    <a:pt x="709" y="600"/>
                  </a:lnTo>
                  <a:lnTo>
                    <a:pt x="704" y="599"/>
                  </a:lnTo>
                  <a:lnTo>
                    <a:pt x="697" y="597"/>
                  </a:lnTo>
                  <a:lnTo>
                    <a:pt x="693" y="594"/>
                  </a:lnTo>
                  <a:lnTo>
                    <a:pt x="688" y="591"/>
                  </a:lnTo>
                  <a:lnTo>
                    <a:pt x="683" y="587"/>
                  </a:lnTo>
                  <a:lnTo>
                    <a:pt x="679" y="584"/>
                  </a:lnTo>
                  <a:lnTo>
                    <a:pt x="675" y="580"/>
                  </a:lnTo>
                  <a:lnTo>
                    <a:pt x="672" y="575"/>
                  </a:lnTo>
                  <a:lnTo>
                    <a:pt x="668" y="570"/>
                  </a:lnTo>
                  <a:lnTo>
                    <a:pt x="666" y="565"/>
                  </a:lnTo>
                  <a:lnTo>
                    <a:pt x="664" y="560"/>
                  </a:lnTo>
                  <a:lnTo>
                    <a:pt x="662" y="553"/>
                  </a:lnTo>
                  <a:lnTo>
                    <a:pt x="661" y="548"/>
                  </a:lnTo>
                  <a:lnTo>
                    <a:pt x="661" y="541"/>
                  </a:lnTo>
                  <a:lnTo>
                    <a:pt x="661" y="535"/>
                  </a:lnTo>
                  <a:lnTo>
                    <a:pt x="662" y="530"/>
                  </a:lnTo>
                  <a:lnTo>
                    <a:pt x="664" y="523"/>
                  </a:lnTo>
                  <a:lnTo>
                    <a:pt x="666" y="518"/>
                  </a:lnTo>
                  <a:lnTo>
                    <a:pt x="668" y="512"/>
                  </a:lnTo>
                  <a:lnTo>
                    <a:pt x="672" y="508"/>
                  </a:lnTo>
                  <a:lnTo>
                    <a:pt x="675" y="503"/>
                  </a:lnTo>
                  <a:lnTo>
                    <a:pt x="679" y="499"/>
                  </a:lnTo>
                  <a:lnTo>
                    <a:pt x="683" y="495"/>
                  </a:lnTo>
                  <a:lnTo>
                    <a:pt x="688" y="491"/>
                  </a:lnTo>
                  <a:lnTo>
                    <a:pt x="693" y="489"/>
                  </a:lnTo>
                  <a:lnTo>
                    <a:pt x="697" y="486"/>
                  </a:lnTo>
                  <a:lnTo>
                    <a:pt x="704" y="484"/>
                  </a:lnTo>
                  <a:lnTo>
                    <a:pt x="709" y="482"/>
                  </a:lnTo>
                  <a:lnTo>
                    <a:pt x="716" y="481"/>
                  </a:lnTo>
                  <a:lnTo>
                    <a:pt x="721" y="481"/>
                  </a:lnTo>
                  <a:lnTo>
                    <a:pt x="727" y="481"/>
                  </a:lnTo>
                  <a:lnTo>
                    <a:pt x="734" y="482"/>
                  </a:lnTo>
                  <a:lnTo>
                    <a:pt x="739" y="484"/>
                  </a:lnTo>
                  <a:lnTo>
                    <a:pt x="745" y="486"/>
                  </a:lnTo>
                  <a:lnTo>
                    <a:pt x="750" y="489"/>
                  </a:lnTo>
                  <a:lnTo>
                    <a:pt x="755" y="491"/>
                  </a:lnTo>
                  <a:lnTo>
                    <a:pt x="760" y="495"/>
                  </a:lnTo>
                  <a:lnTo>
                    <a:pt x="764" y="499"/>
                  </a:lnTo>
                  <a:lnTo>
                    <a:pt x="768" y="503"/>
                  </a:lnTo>
                  <a:lnTo>
                    <a:pt x="771" y="508"/>
                  </a:lnTo>
                  <a:lnTo>
                    <a:pt x="775" y="512"/>
                  </a:lnTo>
                  <a:lnTo>
                    <a:pt x="777" y="518"/>
                  </a:lnTo>
                  <a:lnTo>
                    <a:pt x="779" y="523"/>
                  </a:lnTo>
                  <a:lnTo>
                    <a:pt x="780" y="530"/>
                  </a:lnTo>
                  <a:lnTo>
                    <a:pt x="781" y="535"/>
                  </a:lnTo>
                  <a:lnTo>
                    <a:pt x="781" y="541"/>
                  </a:lnTo>
                  <a:lnTo>
                    <a:pt x="781" y="548"/>
                  </a:lnTo>
                  <a:lnTo>
                    <a:pt x="780" y="553"/>
                  </a:lnTo>
                  <a:lnTo>
                    <a:pt x="779" y="560"/>
                  </a:lnTo>
                  <a:lnTo>
                    <a:pt x="777" y="565"/>
                  </a:lnTo>
                  <a:lnTo>
                    <a:pt x="775" y="570"/>
                  </a:lnTo>
                  <a:lnTo>
                    <a:pt x="771" y="575"/>
                  </a:lnTo>
                  <a:lnTo>
                    <a:pt x="768" y="580"/>
                  </a:lnTo>
                  <a:lnTo>
                    <a:pt x="764" y="584"/>
                  </a:lnTo>
                  <a:lnTo>
                    <a:pt x="760" y="587"/>
                  </a:lnTo>
                  <a:lnTo>
                    <a:pt x="755" y="591"/>
                  </a:lnTo>
                  <a:lnTo>
                    <a:pt x="750" y="594"/>
                  </a:lnTo>
                  <a:lnTo>
                    <a:pt x="745" y="597"/>
                  </a:lnTo>
                  <a:lnTo>
                    <a:pt x="739" y="599"/>
                  </a:lnTo>
                  <a:lnTo>
                    <a:pt x="734" y="600"/>
                  </a:lnTo>
                  <a:lnTo>
                    <a:pt x="727" y="601"/>
                  </a:lnTo>
                  <a:lnTo>
                    <a:pt x="721" y="601"/>
                  </a:lnTo>
                  <a:close/>
                  <a:moveTo>
                    <a:pt x="270" y="541"/>
                  </a:moveTo>
                  <a:lnTo>
                    <a:pt x="270" y="533"/>
                  </a:lnTo>
                  <a:lnTo>
                    <a:pt x="269" y="524"/>
                  </a:lnTo>
                  <a:lnTo>
                    <a:pt x="267" y="517"/>
                  </a:lnTo>
                  <a:lnTo>
                    <a:pt x="264" y="508"/>
                  </a:lnTo>
                  <a:lnTo>
                    <a:pt x="260" y="501"/>
                  </a:lnTo>
                  <a:lnTo>
                    <a:pt x="257" y="494"/>
                  </a:lnTo>
                  <a:lnTo>
                    <a:pt x="252" y="488"/>
                  </a:lnTo>
                  <a:lnTo>
                    <a:pt x="247" y="481"/>
                  </a:lnTo>
                  <a:lnTo>
                    <a:pt x="655" y="481"/>
                  </a:lnTo>
                  <a:lnTo>
                    <a:pt x="649" y="488"/>
                  </a:lnTo>
                  <a:lnTo>
                    <a:pt x="645" y="494"/>
                  </a:lnTo>
                  <a:lnTo>
                    <a:pt x="641" y="501"/>
                  </a:lnTo>
                  <a:lnTo>
                    <a:pt x="637" y="508"/>
                  </a:lnTo>
                  <a:lnTo>
                    <a:pt x="634" y="517"/>
                  </a:lnTo>
                  <a:lnTo>
                    <a:pt x="633" y="524"/>
                  </a:lnTo>
                  <a:lnTo>
                    <a:pt x="632" y="533"/>
                  </a:lnTo>
                  <a:lnTo>
                    <a:pt x="631" y="541"/>
                  </a:lnTo>
                  <a:lnTo>
                    <a:pt x="270" y="541"/>
                  </a:lnTo>
                  <a:close/>
                  <a:moveTo>
                    <a:pt x="180" y="601"/>
                  </a:moveTo>
                  <a:lnTo>
                    <a:pt x="174" y="601"/>
                  </a:lnTo>
                  <a:lnTo>
                    <a:pt x="168" y="600"/>
                  </a:lnTo>
                  <a:lnTo>
                    <a:pt x="162" y="599"/>
                  </a:lnTo>
                  <a:lnTo>
                    <a:pt x="156" y="597"/>
                  </a:lnTo>
                  <a:lnTo>
                    <a:pt x="151" y="594"/>
                  </a:lnTo>
                  <a:lnTo>
                    <a:pt x="147" y="591"/>
                  </a:lnTo>
                  <a:lnTo>
                    <a:pt x="141" y="587"/>
                  </a:lnTo>
                  <a:lnTo>
                    <a:pt x="137" y="584"/>
                  </a:lnTo>
                  <a:lnTo>
                    <a:pt x="134" y="580"/>
                  </a:lnTo>
                  <a:lnTo>
                    <a:pt x="131" y="575"/>
                  </a:lnTo>
                  <a:lnTo>
                    <a:pt x="128" y="570"/>
                  </a:lnTo>
                  <a:lnTo>
                    <a:pt x="124" y="565"/>
                  </a:lnTo>
                  <a:lnTo>
                    <a:pt x="122" y="560"/>
                  </a:lnTo>
                  <a:lnTo>
                    <a:pt x="121" y="553"/>
                  </a:lnTo>
                  <a:lnTo>
                    <a:pt x="120" y="548"/>
                  </a:lnTo>
                  <a:lnTo>
                    <a:pt x="120" y="541"/>
                  </a:lnTo>
                  <a:lnTo>
                    <a:pt x="120" y="535"/>
                  </a:lnTo>
                  <a:lnTo>
                    <a:pt x="121" y="530"/>
                  </a:lnTo>
                  <a:lnTo>
                    <a:pt x="122" y="523"/>
                  </a:lnTo>
                  <a:lnTo>
                    <a:pt x="124" y="518"/>
                  </a:lnTo>
                  <a:lnTo>
                    <a:pt x="128" y="512"/>
                  </a:lnTo>
                  <a:lnTo>
                    <a:pt x="131" y="508"/>
                  </a:lnTo>
                  <a:lnTo>
                    <a:pt x="134" y="503"/>
                  </a:lnTo>
                  <a:lnTo>
                    <a:pt x="137" y="499"/>
                  </a:lnTo>
                  <a:lnTo>
                    <a:pt x="141" y="495"/>
                  </a:lnTo>
                  <a:lnTo>
                    <a:pt x="147" y="491"/>
                  </a:lnTo>
                  <a:lnTo>
                    <a:pt x="151" y="489"/>
                  </a:lnTo>
                  <a:lnTo>
                    <a:pt x="156" y="486"/>
                  </a:lnTo>
                  <a:lnTo>
                    <a:pt x="162" y="484"/>
                  </a:lnTo>
                  <a:lnTo>
                    <a:pt x="168" y="482"/>
                  </a:lnTo>
                  <a:lnTo>
                    <a:pt x="174" y="481"/>
                  </a:lnTo>
                  <a:lnTo>
                    <a:pt x="180" y="481"/>
                  </a:lnTo>
                  <a:lnTo>
                    <a:pt x="186" y="481"/>
                  </a:lnTo>
                  <a:lnTo>
                    <a:pt x="192" y="482"/>
                  </a:lnTo>
                  <a:lnTo>
                    <a:pt x="198" y="484"/>
                  </a:lnTo>
                  <a:lnTo>
                    <a:pt x="204" y="486"/>
                  </a:lnTo>
                  <a:lnTo>
                    <a:pt x="209" y="489"/>
                  </a:lnTo>
                  <a:lnTo>
                    <a:pt x="213" y="491"/>
                  </a:lnTo>
                  <a:lnTo>
                    <a:pt x="219" y="495"/>
                  </a:lnTo>
                  <a:lnTo>
                    <a:pt x="223" y="499"/>
                  </a:lnTo>
                  <a:lnTo>
                    <a:pt x="226" y="503"/>
                  </a:lnTo>
                  <a:lnTo>
                    <a:pt x="230" y="508"/>
                  </a:lnTo>
                  <a:lnTo>
                    <a:pt x="232" y="512"/>
                  </a:lnTo>
                  <a:lnTo>
                    <a:pt x="236" y="518"/>
                  </a:lnTo>
                  <a:lnTo>
                    <a:pt x="238" y="523"/>
                  </a:lnTo>
                  <a:lnTo>
                    <a:pt x="239" y="530"/>
                  </a:lnTo>
                  <a:lnTo>
                    <a:pt x="240" y="535"/>
                  </a:lnTo>
                  <a:lnTo>
                    <a:pt x="240" y="541"/>
                  </a:lnTo>
                  <a:lnTo>
                    <a:pt x="240" y="548"/>
                  </a:lnTo>
                  <a:lnTo>
                    <a:pt x="239" y="553"/>
                  </a:lnTo>
                  <a:lnTo>
                    <a:pt x="238" y="560"/>
                  </a:lnTo>
                  <a:lnTo>
                    <a:pt x="236" y="565"/>
                  </a:lnTo>
                  <a:lnTo>
                    <a:pt x="232" y="570"/>
                  </a:lnTo>
                  <a:lnTo>
                    <a:pt x="230" y="575"/>
                  </a:lnTo>
                  <a:lnTo>
                    <a:pt x="226" y="580"/>
                  </a:lnTo>
                  <a:lnTo>
                    <a:pt x="223" y="584"/>
                  </a:lnTo>
                  <a:lnTo>
                    <a:pt x="219" y="587"/>
                  </a:lnTo>
                  <a:lnTo>
                    <a:pt x="213" y="591"/>
                  </a:lnTo>
                  <a:lnTo>
                    <a:pt x="209" y="594"/>
                  </a:lnTo>
                  <a:lnTo>
                    <a:pt x="204" y="597"/>
                  </a:lnTo>
                  <a:lnTo>
                    <a:pt x="198" y="599"/>
                  </a:lnTo>
                  <a:lnTo>
                    <a:pt x="192" y="600"/>
                  </a:lnTo>
                  <a:lnTo>
                    <a:pt x="186" y="601"/>
                  </a:lnTo>
                  <a:lnTo>
                    <a:pt x="180" y="601"/>
                  </a:lnTo>
                  <a:close/>
                  <a:moveTo>
                    <a:pt x="30" y="541"/>
                  </a:moveTo>
                  <a:lnTo>
                    <a:pt x="30" y="481"/>
                  </a:lnTo>
                  <a:lnTo>
                    <a:pt x="113" y="481"/>
                  </a:lnTo>
                  <a:lnTo>
                    <a:pt x="108" y="488"/>
                  </a:lnTo>
                  <a:lnTo>
                    <a:pt x="103" y="494"/>
                  </a:lnTo>
                  <a:lnTo>
                    <a:pt x="100" y="501"/>
                  </a:lnTo>
                  <a:lnTo>
                    <a:pt x="96" y="508"/>
                  </a:lnTo>
                  <a:lnTo>
                    <a:pt x="93" y="517"/>
                  </a:lnTo>
                  <a:lnTo>
                    <a:pt x="91" y="524"/>
                  </a:lnTo>
                  <a:lnTo>
                    <a:pt x="90" y="533"/>
                  </a:lnTo>
                  <a:lnTo>
                    <a:pt x="90" y="541"/>
                  </a:lnTo>
                  <a:lnTo>
                    <a:pt x="30" y="541"/>
                  </a:lnTo>
                  <a:close/>
                  <a:moveTo>
                    <a:pt x="115" y="267"/>
                  </a:moveTo>
                  <a:lnTo>
                    <a:pt x="117" y="265"/>
                  </a:lnTo>
                  <a:lnTo>
                    <a:pt x="118" y="264"/>
                  </a:lnTo>
                  <a:lnTo>
                    <a:pt x="204" y="120"/>
                  </a:lnTo>
                  <a:lnTo>
                    <a:pt x="361" y="120"/>
                  </a:lnTo>
                  <a:lnTo>
                    <a:pt x="361" y="451"/>
                  </a:lnTo>
                  <a:lnTo>
                    <a:pt x="30" y="451"/>
                  </a:lnTo>
                  <a:lnTo>
                    <a:pt x="30" y="338"/>
                  </a:lnTo>
                  <a:lnTo>
                    <a:pt x="115" y="267"/>
                  </a:lnTo>
                  <a:close/>
                  <a:moveTo>
                    <a:pt x="391" y="30"/>
                  </a:moveTo>
                  <a:lnTo>
                    <a:pt x="872" y="30"/>
                  </a:lnTo>
                  <a:lnTo>
                    <a:pt x="872" y="451"/>
                  </a:lnTo>
                  <a:lnTo>
                    <a:pt x="391" y="451"/>
                  </a:lnTo>
                  <a:lnTo>
                    <a:pt x="391" y="105"/>
                  </a:lnTo>
                  <a:lnTo>
                    <a:pt x="391" y="90"/>
                  </a:lnTo>
                  <a:lnTo>
                    <a:pt x="391" y="30"/>
                  </a:lnTo>
                  <a:close/>
                  <a:moveTo>
                    <a:pt x="887" y="0"/>
                  </a:moveTo>
                  <a:lnTo>
                    <a:pt x="376" y="0"/>
                  </a:lnTo>
                  <a:lnTo>
                    <a:pt x="373" y="0"/>
                  </a:lnTo>
                  <a:lnTo>
                    <a:pt x="370" y="1"/>
                  </a:lnTo>
                  <a:lnTo>
                    <a:pt x="367" y="3"/>
                  </a:lnTo>
                  <a:lnTo>
                    <a:pt x="365" y="5"/>
                  </a:lnTo>
                  <a:lnTo>
                    <a:pt x="363" y="7"/>
                  </a:lnTo>
                  <a:lnTo>
                    <a:pt x="362" y="9"/>
                  </a:lnTo>
                  <a:lnTo>
                    <a:pt x="361" y="12"/>
                  </a:lnTo>
                  <a:lnTo>
                    <a:pt x="360" y="15"/>
                  </a:lnTo>
                  <a:lnTo>
                    <a:pt x="361" y="90"/>
                  </a:lnTo>
                  <a:lnTo>
                    <a:pt x="195" y="90"/>
                  </a:lnTo>
                  <a:lnTo>
                    <a:pt x="192" y="90"/>
                  </a:lnTo>
                  <a:lnTo>
                    <a:pt x="187" y="93"/>
                  </a:lnTo>
                  <a:lnTo>
                    <a:pt x="184" y="95"/>
                  </a:lnTo>
                  <a:lnTo>
                    <a:pt x="182" y="98"/>
                  </a:lnTo>
                  <a:lnTo>
                    <a:pt x="93" y="246"/>
                  </a:lnTo>
                  <a:lnTo>
                    <a:pt x="5" y="320"/>
                  </a:lnTo>
                  <a:lnTo>
                    <a:pt x="3" y="322"/>
                  </a:lnTo>
                  <a:lnTo>
                    <a:pt x="1" y="324"/>
                  </a:lnTo>
                  <a:lnTo>
                    <a:pt x="0" y="327"/>
                  </a:lnTo>
                  <a:lnTo>
                    <a:pt x="0" y="330"/>
                  </a:lnTo>
                  <a:lnTo>
                    <a:pt x="0" y="556"/>
                  </a:lnTo>
                  <a:lnTo>
                    <a:pt x="0" y="560"/>
                  </a:lnTo>
                  <a:lnTo>
                    <a:pt x="1" y="562"/>
                  </a:lnTo>
                  <a:lnTo>
                    <a:pt x="2" y="565"/>
                  </a:lnTo>
                  <a:lnTo>
                    <a:pt x="4" y="567"/>
                  </a:lnTo>
                  <a:lnTo>
                    <a:pt x="6" y="569"/>
                  </a:lnTo>
                  <a:lnTo>
                    <a:pt x="9" y="570"/>
                  </a:lnTo>
                  <a:lnTo>
                    <a:pt x="12" y="571"/>
                  </a:lnTo>
                  <a:lnTo>
                    <a:pt x="15" y="571"/>
                  </a:lnTo>
                  <a:lnTo>
                    <a:pt x="95" y="571"/>
                  </a:lnTo>
                  <a:lnTo>
                    <a:pt x="101" y="584"/>
                  </a:lnTo>
                  <a:lnTo>
                    <a:pt x="108" y="596"/>
                  </a:lnTo>
                  <a:lnTo>
                    <a:pt x="117" y="606"/>
                  </a:lnTo>
                  <a:lnTo>
                    <a:pt x="128" y="614"/>
                  </a:lnTo>
                  <a:lnTo>
                    <a:pt x="139" y="622"/>
                  </a:lnTo>
                  <a:lnTo>
                    <a:pt x="152" y="627"/>
                  </a:lnTo>
                  <a:lnTo>
                    <a:pt x="159" y="629"/>
                  </a:lnTo>
                  <a:lnTo>
                    <a:pt x="166" y="630"/>
                  </a:lnTo>
                  <a:lnTo>
                    <a:pt x="172" y="631"/>
                  </a:lnTo>
                  <a:lnTo>
                    <a:pt x="180" y="631"/>
                  </a:lnTo>
                  <a:lnTo>
                    <a:pt x="187" y="631"/>
                  </a:lnTo>
                  <a:lnTo>
                    <a:pt x="195" y="630"/>
                  </a:lnTo>
                  <a:lnTo>
                    <a:pt x="201" y="629"/>
                  </a:lnTo>
                  <a:lnTo>
                    <a:pt x="208" y="627"/>
                  </a:lnTo>
                  <a:lnTo>
                    <a:pt x="221" y="622"/>
                  </a:lnTo>
                  <a:lnTo>
                    <a:pt x="232" y="614"/>
                  </a:lnTo>
                  <a:lnTo>
                    <a:pt x="243" y="606"/>
                  </a:lnTo>
                  <a:lnTo>
                    <a:pt x="252" y="596"/>
                  </a:lnTo>
                  <a:lnTo>
                    <a:pt x="259" y="584"/>
                  </a:lnTo>
                  <a:lnTo>
                    <a:pt x="265" y="571"/>
                  </a:lnTo>
                  <a:lnTo>
                    <a:pt x="636" y="571"/>
                  </a:lnTo>
                  <a:lnTo>
                    <a:pt x="642" y="584"/>
                  </a:lnTo>
                  <a:lnTo>
                    <a:pt x="649" y="596"/>
                  </a:lnTo>
                  <a:lnTo>
                    <a:pt x="659" y="606"/>
                  </a:lnTo>
                  <a:lnTo>
                    <a:pt x="668" y="614"/>
                  </a:lnTo>
                  <a:lnTo>
                    <a:pt x="680" y="622"/>
                  </a:lnTo>
                  <a:lnTo>
                    <a:pt x="693" y="627"/>
                  </a:lnTo>
                  <a:lnTo>
                    <a:pt x="700" y="629"/>
                  </a:lnTo>
                  <a:lnTo>
                    <a:pt x="707" y="630"/>
                  </a:lnTo>
                  <a:lnTo>
                    <a:pt x="715" y="631"/>
                  </a:lnTo>
                  <a:lnTo>
                    <a:pt x="721" y="631"/>
                  </a:lnTo>
                  <a:lnTo>
                    <a:pt x="728" y="631"/>
                  </a:lnTo>
                  <a:lnTo>
                    <a:pt x="736" y="630"/>
                  </a:lnTo>
                  <a:lnTo>
                    <a:pt x="742" y="629"/>
                  </a:lnTo>
                  <a:lnTo>
                    <a:pt x="750" y="627"/>
                  </a:lnTo>
                  <a:lnTo>
                    <a:pt x="762" y="622"/>
                  </a:lnTo>
                  <a:lnTo>
                    <a:pt x="773" y="614"/>
                  </a:lnTo>
                  <a:lnTo>
                    <a:pt x="784" y="606"/>
                  </a:lnTo>
                  <a:lnTo>
                    <a:pt x="793" y="596"/>
                  </a:lnTo>
                  <a:lnTo>
                    <a:pt x="800" y="584"/>
                  </a:lnTo>
                  <a:lnTo>
                    <a:pt x="807" y="571"/>
                  </a:lnTo>
                  <a:lnTo>
                    <a:pt x="887" y="571"/>
                  </a:lnTo>
                  <a:lnTo>
                    <a:pt x="890" y="571"/>
                  </a:lnTo>
                  <a:lnTo>
                    <a:pt x="892" y="570"/>
                  </a:lnTo>
                  <a:lnTo>
                    <a:pt x="896" y="569"/>
                  </a:lnTo>
                  <a:lnTo>
                    <a:pt x="898" y="567"/>
                  </a:lnTo>
                  <a:lnTo>
                    <a:pt x="899" y="565"/>
                  </a:lnTo>
                  <a:lnTo>
                    <a:pt x="901" y="562"/>
                  </a:lnTo>
                  <a:lnTo>
                    <a:pt x="901" y="560"/>
                  </a:lnTo>
                  <a:lnTo>
                    <a:pt x="902" y="556"/>
                  </a:lnTo>
                  <a:lnTo>
                    <a:pt x="902" y="15"/>
                  </a:lnTo>
                  <a:lnTo>
                    <a:pt x="901" y="12"/>
                  </a:lnTo>
                  <a:lnTo>
                    <a:pt x="901" y="9"/>
                  </a:lnTo>
                  <a:lnTo>
                    <a:pt x="899" y="7"/>
                  </a:lnTo>
                  <a:lnTo>
                    <a:pt x="898" y="5"/>
                  </a:lnTo>
                  <a:lnTo>
                    <a:pt x="896" y="3"/>
                  </a:lnTo>
                  <a:lnTo>
                    <a:pt x="892" y="1"/>
                  </a:lnTo>
                  <a:lnTo>
                    <a:pt x="890" y="0"/>
                  </a:lnTo>
                  <a:lnTo>
                    <a:pt x="887" y="0"/>
                  </a:lnTo>
                  <a:lnTo>
                    <a:pt x="88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0" name="Freeform 107"/>
            <p:cNvSpPr>
              <a:spLocks/>
            </p:cNvSpPr>
            <p:nvPr/>
          </p:nvSpPr>
          <p:spPr bwMode="auto">
            <a:xfrm>
              <a:off x="8216900" y="2632075"/>
              <a:ext cx="38100" cy="47625"/>
            </a:xfrm>
            <a:custGeom>
              <a:avLst/>
              <a:gdLst>
                <a:gd name="T0" fmla="*/ 9 w 120"/>
                <a:gd name="T1" fmla="*/ 149 h 150"/>
                <a:gd name="T2" fmla="*/ 12 w 120"/>
                <a:gd name="T3" fmla="*/ 150 h 150"/>
                <a:gd name="T4" fmla="*/ 15 w 120"/>
                <a:gd name="T5" fmla="*/ 150 h 150"/>
                <a:gd name="T6" fmla="*/ 19 w 120"/>
                <a:gd name="T7" fmla="*/ 150 h 150"/>
                <a:gd name="T8" fmla="*/ 22 w 120"/>
                <a:gd name="T9" fmla="*/ 148 h 150"/>
                <a:gd name="T10" fmla="*/ 26 w 120"/>
                <a:gd name="T11" fmla="*/ 146 h 150"/>
                <a:gd name="T12" fmla="*/ 29 w 120"/>
                <a:gd name="T13" fmla="*/ 143 h 150"/>
                <a:gd name="T14" fmla="*/ 85 w 120"/>
                <a:gd name="T15" fmla="*/ 30 h 150"/>
                <a:gd name="T16" fmla="*/ 105 w 120"/>
                <a:gd name="T17" fmla="*/ 30 h 150"/>
                <a:gd name="T18" fmla="*/ 108 w 120"/>
                <a:gd name="T19" fmla="*/ 30 h 150"/>
                <a:gd name="T20" fmla="*/ 111 w 120"/>
                <a:gd name="T21" fmla="*/ 29 h 150"/>
                <a:gd name="T22" fmla="*/ 114 w 120"/>
                <a:gd name="T23" fmla="*/ 28 h 150"/>
                <a:gd name="T24" fmla="*/ 116 w 120"/>
                <a:gd name="T25" fmla="*/ 26 h 150"/>
                <a:gd name="T26" fmla="*/ 118 w 120"/>
                <a:gd name="T27" fmla="*/ 24 h 150"/>
                <a:gd name="T28" fmla="*/ 119 w 120"/>
                <a:gd name="T29" fmla="*/ 22 h 150"/>
                <a:gd name="T30" fmla="*/ 120 w 120"/>
                <a:gd name="T31" fmla="*/ 19 h 150"/>
                <a:gd name="T32" fmla="*/ 120 w 120"/>
                <a:gd name="T33" fmla="*/ 15 h 150"/>
                <a:gd name="T34" fmla="*/ 120 w 120"/>
                <a:gd name="T35" fmla="*/ 12 h 150"/>
                <a:gd name="T36" fmla="*/ 119 w 120"/>
                <a:gd name="T37" fmla="*/ 10 h 150"/>
                <a:gd name="T38" fmla="*/ 118 w 120"/>
                <a:gd name="T39" fmla="*/ 7 h 150"/>
                <a:gd name="T40" fmla="*/ 116 w 120"/>
                <a:gd name="T41" fmla="*/ 5 h 150"/>
                <a:gd name="T42" fmla="*/ 114 w 120"/>
                <a:gd name="T43" fmla="*/ 3 h 150"/>
                <a:gd name="T44" fmla="*/ 111 w 120"/>
                <a:gd name="T45" fmla="*/ 1 h 150"/>
                <a:gd name="T46" fmla="*/ 108 w 120"/>
                <a:gd name="T47" fmla="*/ 0 h 150"/>
                <a:gd name="T48" fmla="*/ 105 w 120"/>
                <a:gd name="T49" fmla="*/ 0 h 150"/>
                <a:gd name="T50" fmla="*/ 75 w 120"/>
                <a:gd name="T51" fmla="*/ 0 h 150"/>
                <a:gd name="T52" fmla="*/ 71 w 120"/>
                <a:gd name="T53" fmla="*/ 1 h 150"/>
                <a:gd name="T54" fmla="*/ 67 w 120"/>
                <a:gd name="T55" fmla="*/ 3 h 150"/>
                <a:gd name="T56" fmla="*/ 64 w 120"/>
                <a:gd name="T57" fmla="*/ 6 h 150"/>
                <a:gd name="T58" fmla="*/ 62 w 120"/>
                <a:gd name="T59" fmla="*/ 9 h 150"/>
                <a:gd name="T60" fmla="*/ 1 w 120"/>
                <a:gd name="T61" fmla="*/ 129 h 150"/>
                <a:gd name="T62" fmla="*/ 0 w 120"/>
                <a:gd name="T63" fmla="*/ 132 h 150"/>
                <a:gd name="T64" fmla="*/ 0 w 120"/>
                <a:gd name="T65" fmla="*/ 134 h 150"/>
                <a:gd name="T66" fmla="*/ 0 w 120"/>
                <a:gd name="T67" fmla="*/ 137 h 150"/>
                <a:gd name="T68" fmla="*/ 1 w 120"/>
                <a:gd name="T69" fmla="*/ 141 h 150"/>
                <a:gd name="T70" fmla="*/ 2 w 120"/>
                <a:gd name="T71" fmla="*/ 143 h 150"/>
                <a:gd name="T72" fmla="*/ 3 w 120"/>
                <a:gd name="T73" fmla="*/ 145 h 150"/>
                <a:gd name="T74" fmla="*/ 5 w 120"/>
                <a:gd name="T75" fmla="*/ 147 h 150"/>
                <a:gd name="T76" fmla="*/ 9 w 120"/>
                <a:gd name="T77" fmla="*/ 149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20" h="150">
                  <a:moveTo>
                    <a:pt x="9" y="149"/>
                  </a:moveTo>
                  <a:lnTo>
                    <a:pt x="12" y="150"/>
                  </a:lnTo>
                  <a:lnTo>
                    <a:pt x="15" y="150"/>
                  </a:lnTo>
                  <a:lnTo>
                    <a:pt x="19" y="150"/>
                  </a:lnTo>
                  <a:lnTo>
                    <a:pt x="22" y="148"/>
                  </a:lnTo>
                  <a:lnTo>
                    <a:pt x="26" y="146"/>
                  </a:lnTo>
                  <a:lnTo>
                    <a:pt x="29" y="143"/>
                  </a:lnTo>
                  <a:lnTo>
                    <a:pt x="85" y="30"/>
                  </a:lnTo>
                  <a:lnTo>
                    <a:pt x="105" y="30"/>
                  </a:lnTo>
                  <a:lnTo>
                    <a:pt x="108" y="30"/>
                  </a:lnTo>
                  <a:lnTo>
                    <a:pt x="111" y="29"/>
                  </a:lnTo>
                  <a:lnTo>
                    <a:pt x="114" y="28"/>
                  </a:lnTo>
                  <a:lnTo>
                    <a:pt x="116" y="26"/>
                  </a:lnTo>
                  <a:lnTo>
                    <a:pt x="118" y="24"/>
                  </a:lnTo>
                  <a:lnTo>
                    <a:pt x="119" y="22"/>
                  </a:lnTo>
                  <a:lnTo>
                    <a:pt x="120" y="19"/>
                  </a:lnTo>
                  <a:lnTo>
                    <a:pt x="120" y="15"/>
                  </a:lnTo>
                  <a:lnTo>
                    <a:pt x="120" y="12"/>
                  </a:lnTo>
                  <a:lnTo>
                    <a:pt x="119" y="10"/>
                  </a:lnTo>
                  <a:lnTo>
                    <a:pt x="118" y="7"/>
                  </a:lnTo>
                  <a:lnTo>
                    <a:pt x="116" y="5"/>
                  </a:lnTo>
                  <a:lnTo>
                    <a:pt x="114" y="3"/>
                  </a:lnTo>
                  <a:lnTo>
                    <a:pt x="111" y="1"/>
                  </a:lnTo>
                  <a:lnTo>
                    <a:pt x="108" y="0"/>
                  </a:lnTo>
                  <a:lnTo>
                    <a:pt x="105" y="0"/>
                  </a:lnTo>
                  <a:lnTo>
                    <a:pt x="75" y="0"/>
                  </a:lnTo>
                  <a:lnTo>
                    <a:pt x="71" y="1"/>
                  </a:lnTo>
                  <a:lnTo>
                    <a:pt x="67" y="3"/>
                  </a:lnTo>
                  <a:lnTo>
                    <a:pt x="64" y="6"/>
                  </a:lnTo>
                  <a:lnTo>
                    <a:pt x="62" y="9"/>
                  </a:lnTo>
                  <a:lnTo>
                    <a:pt x="1" y="129"/>
                  </a:lnTo>
                  <a:lnTo>
                    <a:pt x="0" y="132"/>
                  </a:lnTo>
                  <a:lnTo>
                    <a:pt x="0" y="134"/>
                  </a:lnTo>
                  <a:lnTo>
                    <a:pt x="0" y="137"/>
                  </a:lnTo>
                  <a:lnTo>
                    <a:pt x="1" y="141"/>
                  </a:lnTo>
                  <a:lnTo>
                    <a:pt x="2" y="143"/>
                  </a:lnTo>
                  <a:lnTo>
                    <a:pt x="3" y="145"/>
                  </a:lnTo>
                  <a:lnTo>
                    <a:pt x="5" y="147"/>
                  </a:lnTo>
                  <a:lnTo>
                    <a:pt x="9" y="14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331" name="Group 330"/>
          <p:cNvGrpSpPr/>
          <p:nvPr/>
        </p:nvGrpSpPr>
        <p:grpSpPr>
          <a:xfrm>
            <a:off x="9607110" y="3710256"/>
            <a:ext cx="285750" cy="277813"/>
            <a:chOff x="11028363" y="2508250"/>
            <a:chExt cx="285750" cy="277813"/>
          </a:xfrm>
          <a:solidFill>
            <a:schemeClr val="bg1"/>
          </a:solidFill>
        </p:grpSpPr>
        <p:sp>
          <p:nvSpPr>
            <p:cNvPr id="332" name="Freeform 70"/>
            <p:cNvSpPr>
              <a:spLocks/>
            </p:cNvSpPr>
            <p:nvPr/>
          </p:nvSpPr>
          <p:spPr bwMode="auto">
            <a:xfrm>
              <a:off x="11060113" y="2508250"/>
              <a:ext cx="225425" cy="157163"/>
            </a:xfrm>
            <a:custGeom>
              <a:avLst/>
              <a:gdLst>
                <a:gd name="T0" fmla="*/ 19 w 711"/>
                <a:gd name="T1" fmla="*/ 494 h 494"/>
                <a:gd name="T2" fmla="*/ 678 w 711"/>
                <a:gd name="T3" fmla="*/ 60 h 494"/>
                <a:gd name="T4" fmla="*/ 667 w 711"/>
                <a:gd name="T5" fmla="*/ 167 h 494"/>
                <a:gd name="T6" fmla="*/ 668 w 711"/>
                <a:gd name="T7" fmla="*/ 173 h 494"/>
                <a:gd name="T8" fmla="*/ 671 w 711"/>
                <a:gd name="T9" fmla="*/ 177 h 494"/>
                <a:gd name="T10" fmla="*/ 677 w 711"/>
                <a:gd name="T11" fmla="*/ 180 h 494"/>
                <a:gd name="T12" fmla="*/ 681 w 711"/>
                <a:gd name="T13" fmla="*/ 181 h 494"/>
                <a:gd name="T14" fmla="*/ 687 w 711"/>
                <a:gd name="T15" fmla="*/ 180 h 494"/>
                <a:gd name="T16" fmla="*/ 695 w 711"/>
                <a:gd name="T17" fmla="*/ 173 h 494"/>
                <a:gd name="T18" fmla="*/ 711 w 711"/>
                <a:gd name="T19" fmla="*/ 33 h 494"/>
                <a:gd name="T20" fmla="*/ 711 w 711"/>
                <a:gd name="T21" fmla="*/ 30 h 494"/>
                <a:gd name="T22" fmla="*/ 711 w 711"/>
                <a:gd name="T23" fmla="*/ 27 h 494"/>
                <a:gd name="T24" fmla="*/ 710 w 711"/>
                <a:gd name="T25" fmla="*/ 24 h 494"/>
                <a:gd name="T26" fmla="*/ 709 w 711"/>
                <a:gd name="T27" fmla="*/ 22 h 494"/>
                <a:gd name="T28" fmla="*/ 709 w 711"/>
                <a:gd name="T29" fmla="*/ 22 h 494"/>
                <a:gd name="T30" fmla="*/ 707 w 711"/>
                <a:gd name="T31" fmla="*/ 20 h 494"/>
                <a:gd name="T32" fmla="*/ 705 w 711"/>
                <a:gd name="T33" fmla="*/ 18 h 494"/>
                <a:gd name="T34" fmla="*/ 701 w 711"/>
                <a:gd name="T35" fmla="*/ 16 h 494"/>
                <a:gd name="T36" fmla="*/ 699 w 711"/>
                <a:gd name="T37" fmla="*/ 15 h 494"/>
                <a:gd name="T38" fmla="*/ 698 w 711"/>
                <a:gd name="T39" fmla="*/ 15 h 494"/>
                <a:gd name="T40" fmla="*/ 560 w 711"/>
                <a:gd name="T41" fmla="*/ 0 h 494"/>
                <a:gd name="T42" fmla="*/ 555 w 711"/>
                <a:gd name="T43" fmla="*/ 3 h 494"/>
                <a:gd name="T44" fmla="*/ 550 w 711"/>
                <a:gd name="T45" fmla="*/ 6 h 494"/>
                <a:gd name="T46" fmla="*/ 547 w 711"/>
                <a:gd name="T47" fmla="*/ 11 h 494"/>
                <a:gd name="T48" fmla="*/ 546 w 711"/>
                <a:gd name="T49" fmla="*/ 16 h 494"/>
                <a:gd name="T50" fmla="*/ 548 w 711"/>
                <a:gd name="T51" fmla="*/ 23 h 494"/>
                <a:gd name="T52" fmla="*/ 551 w 711"/>
                <a:gd name="T53" fmla="*/ 27 h 494"/>
                <a:gd name="T54" fmla="*/ 557 w 711"/>
                <a:gd name="T55" fmla="*/ 30 h 494"/>
                <a:gd name="T56" fmla="*/ 653 w 711"/>
                <a:gd name="T57" fmla="*/ 41 h 494"/>
                <a:gd name="T58" fmla="*/ 4 w 711"/>
                <a:gd name="T59" fmla="*/ 468 h 494"/>
                <a:gd name="T60" fmla="*/ 1 w 711"/>
                <a:gd name="T61" fmla="*/ 474 h 494"/>
                <a:gd name="T62" fmla="*/ 0 w 711"/>
                <a:gd name="T63" fmla="*/ 479 h 494"/>
                <a:gd name="T64" fmla="*/ 1 w 711"/>
                <a:gd name="T65" fmla="*/ 485 h 494"/>
                <a:gd name="T66" fmla="*/ 5 w 711"/>
                <a:gd name="T67" fmla="*/ 490 h 494"/>
                <a:gd name="T68" fmla="*/ 11 w 711"/>
                <a:gd name="T69" fmla="*/ 494 h 4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11" h="494">
                  <a:moveTo>
                    <a:pt x="15" y="494"/>
                  </a:moveTo>
                  <a:lnTo>
                    <a:pt x="19" y="494"/>
                  </a:lnTo>
                  <a:lnTo>
                    <a:pt x="23" y="492"/>
                  </a:lnTo>
                  <a:lnTo>
                    <a:pt x="678" y="60"/>
                  </a:lnTo>
                  <a:lnTo>
                    <a:pt x="667" y="164"/>
                  </a:lnTo>
                  <a:lnTo>
                    <a:pt x="667" y="167"/>
                  </a:lnTo>
                  <a:lnTo>
                    <a:pt x="667" y="170"/>
                  </a:lnTo>
                  <a:lnTo>
                    <a:pt x="668" y="173"/>
                  </a:lnTo>
                  <a:lnTo>
                    <a:pt x="670" y="175"/>
                  </a:lnTo>
                  <a:lnTo>
                    <a:pt x="671" y="177"/>
                  </a:lnTo>
                  <a:lnTo>
                    <a:pt x="675" y="179"/>
                  </a:lnTo>
                  <a:lnTo>
                    <a:pt x="677" y="180"/>
                  </a:lnTo>
                  <a:lnTo>
                    <a:pt x="680" y="180"/>
                  </a:lnTo>
                  <a:lnTo>
                    <a:pt x="681" y="181"/>
                  </a:lnTo>
                  <a:lnTo>
                    <a:pt x="682" y="181"/>
                  </a:lnTo>
                  <a:lnTo>
                    <a:pt x="687" y="180"/>
                  </a:lnTo>
                  <a:lnTo>
                    <a:pt x="692" y="177"/>
                  </a:lnTo>
                  <a:lnTo>
                    <a:pt x="695" y="173"/>
                  </a:lnTo>
                  <a:lnTo>
                    <a:pt x="696" y="167"/>
                  </a:lnTo>
                  <a:lnTo>
                    <a:pt x="711" y="33"/>
                  </a:lnTo>
                  <a:lnTo>
                    <a:pt x="711" y="31"/>
                  </a:lnTo>
                  <a:lnTo>
                    <a:pt x="711" y="30"/>
                  </a:lnTo>
                  <a:lnTo>
                    <a:pt x="711" y="28"/>
                  </a:lnTo>
                  <a:lnTo>
                    <a:pt x="711" y="27"/>
                  </a:lnTo>
                  <a:lnTo>
                    <a:pt x="711" y="26"/>
                  </a:lnTo>
                  <a:lnTo>
                    <a:pt x="710" y="24"/>
                  </a:lnTo>
                  <a:lnTo>
                    <a:pt x="710" y="23"/>
                  </a:lnTo>
                  <a:lnTo>
                    <a:pt x="709" y="22"/>
                  </a:lnTo>
                  <a:lnTo>
                    <a:pt x="709" y="22"/>
                  </a:lnTo>
                  <a:lnTo>
                    <a:pt x="709" y="22"/>
                  </a:lnTo>
                  <a:lnTo>
                    <a:pt x="708" y="21"/>
                  </a:lnTo>
                  <a:lnTo>
                    <a:pt x="707" y="20"/>
                  </a:lnTo>
                  <a:lnTo>
                    <a:pt x="706" y="19"/>
                  </a:lnTo>
                  <a:lnTo>
                    <a:pt x="705" y="18"/>
                  </a:lnTo>
                  <a:lnTo>
                    <a:pt x="703" y="18"/>
                  </a:lnTo>
                  <a:lnTo>
                    <a:pt x="701" y="16"/>
                  </a:lnTo>
                  <a:lnTo>
                    <a:pt x="700" y="16"/>
                  </a:lnTo>
                  <a:lnTo>
                    <a:pt x="699" y="15"/>
                  </a:lnTo>
                  <a:lnTo>
                    <a:pt x="698" y="15"/>
                  </a:lnTo>
                  <a:lnTo>
                    <a:pt x="698" y="15"/>
                  </a:lnTo>
                  <a:lnTo>
                    <a:pt x="563" y="0"/>
                  </a:lnTo>
                  <a:lnTo>
                    <a:pt x="560" y="0"/>
                  </a:lnTo>
                  <a:lnTo>
                    <a:pt x="557" y="1"/>
                  </a:lnTo>
                  <a:lnTo>
                    <a:pt x="555" y="3"/>
                  </a:lnTo>
                  <a:lnTo>
                    <a:pt x="552" y="4"/>
                  </a:lnTo>
                  <a:lnTo>
                    <a:pt x="550" y="6"/>
                  </a:lnTo>
                  <a:lnTo>
                    <a:pt x="548" y="8"/>
                  </a:lnTo>
                  <a:lnTo>
                    <a:pt x="547" y="11"/>
                  </a:lnTo>
                  <a:lnTo>
                    <a:pt x="546" y="14"/>
                  </a:lnTo>
                  <a:lnTo>
                    <a:pt x="546" y="16"/>
                  </a:lnTo>
                  <a:lnTo>
                    <a:pt x="547" y="20"/>
                  </a:lnTo>
                  <a:lnTo>
                    <a:pt x="548" y="23"/>
                  </a:lnTo>
                  <a:lnTo>
                    <a:pt x="549" y="25"/>
                  </a:lnTo>
                  <a:lnTo>
                    <a:pt x="551" y="27"/>
                  </a:lnTo>
                  <a:lnTo>
                    <a:pt x="553" y="28"/>
                  </a:lnTo>
                  <a:lnTo>
                    <a:pt x="557" y="30"/>
                  </a:lnTo>
                  <a:lnTo>
                    <a:pt x="560" y="30"/>
                  </a:lnTo>
                  <a:lnTo>
                    <a:pt x="653" y="41"/>
                  </a:lnTo>
                  <a:lnTo>
                    <a:pt x="6" y="466"/>
                  </a:lnTo>
                  <a:lnTo>
                    <a:pt x="4" y="468"/>
                  </a:lnTo>
                  <a:lnTo>
                    <a:pt x="2" y="471"/>
                  </a:lnTo>
                  <a:lnTo>
                    <a:pt x="1" y="474"/>
                  </a:lnTo>
                  <a:lnTo>
                    <a:pt x="0" y="476"/>
                  </a:lnTo>
                  <a:lnTo>
                    <a:pt x="0" y="479"/>
                  </a:lnTo>
                  <a:lnTo>
                    <a:pt x="0" y="482"/>
                  </a:lnTo>
                  <a:lnTo>
                    <a:pt x="1" y="485"/>
                  </a:lnTo>
                  <a:lnTo>
                    <a:pt x="2" y="488"/>
                  </a:lnTo>
                  <a:lnTo>
                    <a:pt x="5" y="490"/>
                  </a:lnTo>
                  <a:lnTo>
                    <a:pt x="8" y="492"/>
                  </a:lnTo>
                  <a:lnTo>
                    <a:pt x="11" y="494"/>
                  </a:lnTo>
                  <a:lnTo>
                    <a:pt x="15" y="49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3" name="Freeform 71"/>
            <p:cNvSpPr>
              <a:spLocks noEditPoints="1"/>
            </p:cNvSpPr>
            <p:nvPr/>
          </p:nvSpPr>
          <p:spPr bwMode="auto">
            <a:xfrm>
              <a:off x="11028363" y="2593975"/>
              <a:ext cx="285750" cy="192088"/>
            </a:xfrm>
            <a:custGeom>
              <a:avLst/>
              <a:gdLst>
                <a:gd name="T0" fmla="*/ 812 w 902"/>
                <a:gd name="T1" fmla="*/ 30 h 601"/>
                <a:gd name="T2" fmla="*/ 511 w 902"/>
                <a:gd name="T3" fmla="*/ 571 h 601"/>
                <a:gd name="T4" fmla="*/ 601 w 902"/>
                <a:gd name="T5" fmla="*/ 571 h 601"/>
                <a:gd name="T6" fmla="*/ 300 w 902"/>
                <a:gd name="T7" fmla="*/ 330 h 601"/>
                <a:gd name="T8" fmla="*/ 300 w 902"/>
                <a:gd name="T9" fmla="*/ 571 h 601"/>
                <a:gd name="T10" fmla="*/ 180 w 902"/>
                <a:gd name="T11" fmla="*/ 481 h 601"/>
                <a:gd name="T12" fmla="*/ 887 w 902"/>
                <a:gd name="T13" fmla="*/ 571 h 601"/>
                <a:gd name="T14" fmla="*/ 841 w 902"/>
                <a:gd name="T15" fmla="*/ 12 h 601"/>
                <a:gd name="T16" fmla="*/ 838 w 902"/>
                <a:gd name="T17" fmla="*/ 5 h 601"/>
                <a:gd name="T18" fmla="*/ 829 w 902"/>
                <a:gd name="T19" fmla="*/ 0 h 601"/>
                <a:gd name="T20" fmla="*/ 704 w 902"/>
                <a:gd name="T21" fmla="*/ 0 h 601"/>
                <a:gd name="T22" fmla="*/ 695 w 902"/>
                <a:gd name="T23" fmla="*/ 5 h 601"/>
                <a:gd name="T24" fmla="*/ 692 w 902"/>
                <a:gd name="T25" fmla="*/ 12 h 601"/>
                <a:gd name="T26" fmla="*/ 631 w 902"/>
                <a:gd name="T27" fmla="*/ 571 h 601"/>
                <a:gd name="T28" fmla="*/ 630 w 902"/>
                <a:gd name="T29" fmla="*/ 160 h 601"/>
                <a:gd name="T30" fmla="*/ 625 w 902"/>
                <a:gd name="T31" fmla="*/ 152 h 601"/>
                <a:gd name="T32" fmla="*/ 616 w 902"/>
                <a:gd name="T33" fmla="*/ 150 h 601"/>
                <a:gd name="T34" fmla="*/ 490 w 902"/>
                <a:gd name="T35" fmla="*/ 151 h 601"/>
                <a:gd name="T36" fmla="*/ 483 w 902"/>
                <a:gd name="T37" fmla="*/ 157 h 601"/>
                <a:gd name="T38" fmla="*/ 481 w 902"/>
                <a:gd name="T39" fmla="*/ 165 h 601"/>
                <a:gd name="T40" fmla="*/ 421 w 902"/>
                <a:gd name="T41" fmla="*/ 315 h 601"/>
                <a:gd name="T42" fmla="*/ 418 w 902"/>
                <a:gd name="T43" fmla="*/ 308 h 601"/>
                <a:gd name="T44" fmla="*/ 411 w 902"/>
                <a:gd name="T45" fmla="*/ 302 h 601"/>
                <a:gd name="T46" fmla="*/ 285 w 902"/>
                <a:gd name="T47" fmla="*/ 300 h 601"/>
                <a:gd name="T48" fmla="*/ 277 w 902"/>
                <a:gd name="T49" fmla="*/ 304 h 601"/>
                <a:gd name="T50" fmla="*/ 271 w 902"/>
                <a:gd name="T51" fmla="*/ 310 h 601"/>
                <a:gd name="T52" fmla="*/ 270 w 902"/>
                <a:gd name="T53" fmla="*/ 571 h 601"/>
                <a:gd name="T54" fmla="*/ 210 w 902"/>
                <a:gd name="T55" fmla="*/ 463 h 601"/>
                <a:gd name="T56" fmla="*/ 206 w 902"/>
                <a:gd name="T57" fmla="*/ 456 h 601"/>
                <a:gd name="T58" fmla="*/ 198 w 902"/>
                <a:gd name="T59" fmla="*/ 451 h 601"/>
                <a:gd name="T60" fmla="*/ 72 w 902"/>
                <a:gd name="T61" fmla="*/ 451 h 601"/>
                <a:gd name="T62" fmla="*/ 64 w 902"/>
                <a:gd name="T63" fmla="*/ 456 h 601"/>
                <a:gd name="T64" fmla="*/ 60 w 902"/>
                <a:gd name="T65" fmla="*/ 463 h 601"/>
                <a:gd name="T66" fmla="*/ 15 w 902"/>
                <a:gd name="T67" fmla="*/ 571 h 601"/>
                <a:gd name="T68" fmla="*/ 6 w 902"/>
                <a:gd name="T69" fmla="*/ 573 h 601"/>
                <a:gd name="T70" fmla="*/ 1 w 902"/>
                <a:gd name="T71" fmla="*/ 581 h 601"/>
                <a:gd name="T72" fmla="*/ 0 w 902"/>
                <a:gd name="T73" fmla="*/ 590 h 601"/>
                <a:gd name="T74" fmla="*/ 4 w 902"/>
                <a:gd name="T75" fmla="*/ 597 h 601"/>
                <a:gd name="T76" fmla="*/ 12 w 902"/>
                <a:gd name="T77" fmla="*/ 601 h 601"/>
                <a:gd name="T78" fmla="*/ 195 w 902"/>
                <a:gd name="T79" fmla="*/ 601 h 601"/>
                <a:gd name="T80" fmla="*/ 496 w 902"/>
                <a:gd name="T81" fmla="*/ 601 h 601"/>
                <a:gd name="T82" fmla="*/ 827 w 902"/>
                <a:gd name="T83" fmla="*/ 601 h 601"/>
                <a:gd name="T84" fmla="*/ 892 w 902"/>
                <a:gd name="T85" fmla="*/ 600 h 601"/>
                <a:gd name="T86" fmla="*/ 899 w 902"/>
                <a:gd name="T87" fmla="*/ 595 h 601"/>
                <a:gd name="T88" fmla="*/ 902 w 902"/>
                <a:gd name="T89" fmla="*/ 586 h 601"/>
                <a:gd name="T90" fmla="*/ 899 w 902"/>
                <a:gd name="T91" fmla="*/ 578 h 601"/>
                <a:gd name="T92" fmla="*/ 892 w 902"/>
                <a:gd name="T93" fmla="*/ 572 h 6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902" h="601">
                  <a:moveTo>
                    <a:pt x="721" y="571"/>
                  </a:moveTo>
                  <a:lnTo>
                    <a:pt x="721" y="30"/>
                  </a:lnTo>
                  <a:lnTo>
                    <a:pt x="812" y="30"/>
                  </a:lnTo>
                  <a:lnTo>
                    <a:pt x="812" y="571"/>
                  </a:lnTo>
                  <a:lnTo>
                    <a:pt x="721" y="571"/>
                  </a:lnTo>
                  <a:close/>
                  <a:moveTo>
                    <a:pt x="511" y="571"/>
                  </a:moveTo>
                  <a:lnTo>
                    <a:pt x="511" y="180"/>
                  </a:lnTo>
                  <a:lnTo>
                    <a:pt x="601" y="180"/>
                  </a:lnTo>
                  <a:lnTo>
                    <a:pt x="601" y="571"/>
                  </a:lnTo>
                  <a:lnTo>
                    <a:pt x="511" y="571"/>
                  </a:lnTo>
                  <a:close/>
                  <a:moveTo>
                    <a:pt x="300" y="571"/>
                  </a:moveTo>
                  <a:lnTo>
                    <a:pt x="300" y="330"/>
                  </a:lnTo>
                  <a:lnTo>
                    <a:pt x="391" y="330"/>
                  </a:lnTo>
                  <a:lnTo>
                    <a:pt x="391" y="571"/>
                  </a:lnTo>
                  <a:lnTo>
                    <a:pt x="300" y="571"/>
                  </a:lnTo>
                  <a:close/>
                  <a:moveTo>
                    <a:pt x="90" y="571"/>
                  </a:moveTo>
                  <a:lnTo>
                    <a:pt x="90" y="481"/>
                  </a:lnTo>
                  <a:lnTo>
                    <a:pt x="180" y="481"/>
                  </a:lnTo>
                  <a:lnTo>
                    <a:pt x="180" y="571"/>
                  </a:lnTo>
                  <a:lnTo>
                    <a:pt x="90" y="571"/>
                  </a:lnTo>
                  <a:close/>
                  <a:moveTo>
                    <a:pt x="887" y="571"/>
                  </a:moveTo>
                  <a:lnTo>
                    <a:pt x="842" y="571"/>
                  </a:lnTo>
                  <a:lnTo>
                    <a:pt x="842" y="15"/>
                  </a:lnTo>
                  <a:lnTo>
                    <a:pt x="841" y="12"/>
                  </a:lnTo>
                  <a:lnTo>
                    <a:pt x="841" y="9"/>
                  </a:lnTo>
                  <a:lnTo>
                    <a:pt x="839" y="7"/>
                  </a:lnTo>
                  <a:lnTo>
                    <a:pt x="838" y="5"/>
                  </a:lnTo>
                  <a:lnTo>
                    <a:pt x="835" y="3"/>
                  </a:lnTo>
                  <a:lnTo>
                    <a:pt x="832" y="1"/>
                  </a:lnTo>
                  <a:lnTo>
                    <a:pt x="829" y="0"/>
                  </a:lnTo>
                  <a:lnTo>
                    <a:pt x="827" y="0"/>
                  </a:lnTo>
                  <a:lnTo>
                    <a:pt x="706" y="0"/>
                  </a:lnTo>
                  <a:lnTo>
                    <a:pt x="704" y="0"/>
                  </a:lnTo>
                  <a:lnTo>
                    <a:pt x="701" y="1"/>
                  </a:lnTo>
                  <a:lnTo>
                    <a:pt x="698" y="3"/>
                  </a:lnTo>
                  <a:lnTo>
                    <a:pt x="695" y="5"/>
                  </a:lnTo>
                  <a:lnTo>
                    <a:pt x="694" y="7"/>
                  </a:lnTo>
                  <a:lnTo>
                    <a:pt x="692" y="9"/>
                  </a:lnTo>
                  <a:lnTo>
                    <a:pt x="692" y="12"/>
                  </a:lnTo>
                  <a:lnTo>
                    <a:pt x="691" y="15"/>
                  </a:lnTo>
                  <a:lnTo>
                    <a:pt x="691" y="571"/>
                  </a:lnTo>
                  <a:lnTo>
                    <a:pt x="631" y="571"/>
                  </a:lnTo>
                  <a:lnTo>
                    <a:pt x="631" y="165"/>
                  </a:lnTo>
                  <a:lnTo>
                    <a:pt x="631" y="162"/>
                  </a:lnTo>
                  <a:lnTo>
                    <a:pt x="630" y="160"/>
                  </a:lnTo>
                  <a:lnTo>
                    <a:pt x="629" y="157"/>
                  </a:lnTo>
                  <a:lnTo>
                    <a:pt x="627" y="155"/>
                  </a:lnTo>
                  <a:lnTo>
                    <a:pt x="625" y="152"/>
                  </a:lnTo>
                  <a:lnTo>
                    <a:pt x="622" y="151"/>
                  </a:lnTo>
                  <a:lnTo>
                    <a:pt x="619" y="150"/>
                  </a:lnTo>
                  <a:lnTo>
                    <a:pt x="616" y="150"/>
                  </a:lnTo>
                  <a:lnTo>
                    <a:pt x="496" y="150"/>
                  </a:lnTo>
                  <a:lnTo>
                    <a:pt x="493" y="150"/>
                  </a:lnTo>
                  <a:lnTo>
                    <a:pt x="490" y="151"/>
                  </a:lnTo>
                  <a:lnTo>
                    <a:pt x="487" y="154"/>
                  </a:lnTo>
                  <a:lnTo>
                    <a:pt x="485" y="155"/>
                  </a:lnTo>
                  <a:lnTo>
                    <a:pt x="483" y="157"/>
                  </a:lnTo>
                  <a:lnTo>
                    <a:pt x="482" y="160"/>
                  </a:lnTo>
                  <a:lnTo>
                    <a:pt x="481" y="162"/>
                  </a:lnTo>
                  <a:lnTo>
                    <a:pt x="481" y="165"/>
                  </a:lnTo>
                  <a:lnTo>
                    <a:pt x="481" y="571"/>
                  </a:lnTo>
                  <a:lnTo>
                    <a:pt x="421" y="571"/>
                  </a:lnTo>
                  <a:lnTo>
                    <a:pt x="421" y="315"/>
                  </a:lnTo>
                  <a:lnTo>
                    <a:pt x="420" y="313"/>
                  </a:lnTo>
                  <a:lnTo>
                    <a:pt x="420" y="310"/>
                  </a:lnTo>
                  <a:lnTo>
                    <a:pt x="418" y="308"/>
                  </a:lnTo>
                  <a:lnTo>
                    <a:pt x="417" y="306"/>
                  </a:lnTo>
                  <a:lnTo>
                    <a:pt x="414" y="304"/>
                  </a:lnTo>
                  <a:lnTo>
                    <a:pt x="411" y="302"/>
                  </a:lnTo>
                  <a:lnTo>
                    <a:pt x="408" y="301"/>
                  </a:lnTo>
                  <a:lnTo>
                    <a:pt x="406" y="300"/>
                  </a:lnTo>
                  <a:lnTo>
                    <a:pt x="285" y="300"/>
                  </a:lnTo>
                  <a:lnTo>
                    <a:pt x="283" y="301"/>
                  </a:lnTo>
                  <a:lnTo>
                    <a:pt x="280" y="302"/>
                  </a:lnTo>
                  <a:lnTo>
                    <a:pt x="277" y="304"/>
                  </a:lnTo>
                  <a:lnTo>
                    <a:pt x="274" y="306"/>
                  </a:lnTo>
                  <a:lnTo>
                    <a:pt x="273" y="308"/>
                  </a:lnTo>
                  <a:lnTo>
                    <a:pt x="271" y="310"/>
                  </a:lnTo>
                  <a:lnTo>
                    <a:pt x="271" y="313"/>
                  </a:lnTo>
                  <a:lnTo>
                    <a:pt x="270" y="316"/>
                  </a:lnTo>
                  <a:lnTo>
                    <a:pt x="270" y="571"/>
                  </a:lnTo>
                  <a:lnTo>
                    <a:pt x="210" y="571"/>
                  </a:lnTo>
                  <a:lnTo>
                    <a:pt x="210" y="466"/>
                  </a:lnTo>
                  <a:lnTo>
                    <a:pt x="210" y="463"/>
                  </a:lnTo>
                  <a:lnTo>
                    <a:pt x="209" y="460"/>
                  </a:lnTo>
                  <a:lnTo>
                    <a:pt x="208" y="458"/>
                  </a:lnTo>
                  <a:lnTo>
                    <a:pt x="206" y="456"/>
                  </a:lnTo>
                  <a:lnTo>
                    <a:pt x="204" y="454"/>
                  </a:lnTo>
                  <a:lnTo>
                    <a:pt x="201" y="452"/>
                  </a:lnTo>
                  <a:lnTo>
                    <a:pt x="198" y="451"/>
                  </a:lnTo>
                  <a:lnTo>
                    <a:pt x="195" y="451"/>
                  </a:lnTo>
                  <a:lnTo>
                    <a:pt x="75" y="451"/>
                  </a:lnTo>
                  <a:lnTo>
                    <a:pt x="72" y="451"/>
                  </a:lnTo>
                  <a:lnTo>
                    <a:pt x="69" y="452"/>
                  </a:lnTo>
                  <a:lnTo>
                    <a:pt x="66" y="454"/>
                  </a:lnTo>
                  <a:lnTo>
                    <a:pt x="64" y="456"/>
                  </a:lnTo>
                  <a:lnTo>
                    <a:pt x="62" y="458"/>
                  </a:lnTo>
                  <a:lnTo>
                    <a:pt x="61" y="460"/>
                  </a:lnTo>
                  <a:lnTo>
                    <a:pt x="60" y="463"/>
                  </a:lnTo>
                  <a:lnTo>
                    <a:pt x="60" y="466"/>
                  </a:lnTo>
                  <a:lnTo>
                    <a:pt x="60" y="571"/>
                  </a:lnTo>
                  <a:lnTo>
                    <a:pt x="15" y="571"/>
                  </a:lnTo>
                  <a:lnTo>
                    <a:pt x="12" y="571"/>
                  </a:lnTo>
                  <a:lnTo>
                    <a:pt x="9" y="572"/>
                  </a:lnTo>
                  <a:lnTo>
                    <a:pt x="6" y="573"/>
                  </a:lnTo>
                  <a:lnTo>
                    <a:pt x="4" y="576"/>
                  </a:lnTo>
                  <a:lnTo>
                    <a:pt x="2" y="578"/>
                  </a:lnTo>
                  <a:lnTo>
                    <a:pt x="1" y="581"/>
                  </a:lnTo>
                  <a:lnTo>
                    <a:pt x="0" y="583"/>
                  </a:lnTo>
                  <a:lnTo>
                    <a:pt x="0" y="586"/>
                  </a:lnTo>
                  <a:lnTo>
                    <a:pt x="0" y="590"/>
                  </a:lnTo>
                  <a:lnTo>
                    <a:pt x="1" y="593"/>
                  </a:lnTo>
                  <a:lnTo>
                    <a:pt x="2" y="595"/>
                  </a:lnTo>
                  <a:lnTo>
                    <a:pt x="4" y="597"/>
                  </a:lnTo>
                  <a:lnTo>
                    <a:pt x="6" y="599"/>
                  </a:lnTo>
                  <a:lnTo>
                    <a:pt x="9" y="600"/>
                  </a:lnTo>
                  <a:lnTo>
                    <a:pt x="12" y="601"/>
                  </a:lnTo>
                  <a:lnTo>
                    <a:pt x="15" y="601"/>
                  </a:lnTo>
                  <a:lnTo>
                    <a:pt x="75" y="601"/>
                  </a:lnTo>
                  <a:lnTo>
                    <a:pt x="195" y="601"/>
                  </a:lnTo>
                  <a:lnTo>
                    <a:pt x="285" y="601"/>
                  </a:lnTo>
                  <a:lnTo>
                    <a:pt x="406" y="601"/>
                  </a:lnTo>
                  <a:lnTo>
                    <a:pt x="496" y="601"/>
                  </a:lnTo>
                  <a:lnTo>
                    <a:pt x="616" y="601"/>
                  </a:lnTo>
                  <a:lnTo>
                    <a:pt x="706" y="601"/>
                  </a:lnTo>
                  <a:lnTo>
                    <a:pt x="827" y="601"/>
                  </a:lnTo>
                  <a:lnTo>
                    <a:pt x="887" y="601"/>
                  </a:lnTo>
                  <a:lnTo>
                    <a:pt x="890" y="601"/>
                  </a:lnTo>
                  <a:lnTo>
                    <a:pt x="892" y="600"/>
                  </a:lnTo>
                  <a:lnTo>
                    <a:pt x="896" y="599"/>
                  </a:lnTo>
                  <a:lnTo>
                    <a:pt x="898" y="597"/>
                  </a:lnTo>
                  <a:lnTo>
                    <a:pt x="899" y="595"/>
                  </a:lnTo>
                  <a:lnTo>
                    <a:pt x="901" y="593"/>
                  </a:lnTo>
                  <a:lnTo>
                    <a:pt x="901" y="590"/>
                  </a:lnTo>
                  <a:lnTo>
                    <a:pt x="902" y="586"/>
                  </a:lnTo>
                  <a:lnTo>
                    <a:pt x="902" y="583"/>
                  </a:lnTo>
                  <a:lnTo>
                    <a:pt x="901" y="581"/>
                  </a:lnTo>
                  <a:lnTo>
                    <a:pt x="899" y="578"/>
                  </a:lnTo>
                  <a:lnTo>
                    <a:pt x="898" y="576"/>
                  </a:lnTo>
                  <a:lnTo>
                    <a:pt x="896" y="573"/>
                  </a:lnTo>
                  <a:lnTo>
                    <a:pt x="892" y="572"/>
                  </a:lnTo>
                  <a:lnTo>
                    <a:pt x="890" y="571"/>
                  </a:lnTo>
                  <a:lnTo>
                    <a:pt x="887" y="5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984521390"/>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3" name="Rectangle 102"/>
          <p:cNvSpPr/>
          <p:nvPr/>
        </p:nvSpPr>
        <p:spPr>
          <a:xfrm>
            <a:off x="12344400" y="0"/>
            <a:ext cx="469900" cy="469900"/>
          </a:xfrm>
          <a:prstGeom prst="rect">
            <a:avLst/>
          </a:prstGeom>
          <a:solidFill>
            <a:srgbClr val="E7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4" name="Rectangle 103"/>
          <p:cNvSpPr/>
          <p:nvPr/>
        </p:nvSpPr>
        <p:spPr>
          <a:xfrm>
            <a:off x="12344400" y="649557"/>
            <a:ext cx="469900" cy="469900"/>
          </a:xfrm>
          <a:prstGeom prst="rect">
            <a:avLst/>
          </a:prstGeom>
          <a:solidFill>
            <a:srgbClr val="AFABA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5" name="Rectangle 104"/>
          <p:cNvSpPr/>
          <p:nvPr/>
        </p:nvSpPr>
        <p:spPr>
          <a:xfrm>
            <a:off x="12344400" y="1299114"/>
            <a:ext cx="469900" cy="469900"/>
          </a:xfrm>
          <a:prstGeom prst="rect">
            <a:avLst/>
          </a:prstGeom>
          <a:solidFill>
            <a:srgbClr val="76717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7" name="Rectangle 106"/>
          <p:cNvSpPr/>
          <p:nvPr/>
        </p:nvSpPr>
        <p:spPr>
          <a:xfrm>
            <a:off x="12966699" y="0"/>
            <a:ext cx="469900" cy="469900"/>
          </a:xfrm>
          <a:prstGeom prst="rect">
            <a:avLst/>
          </a:prstGeom>
          <a:solidFill>
            <a:srgbClr val="E8786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8" name="Rectangle 107"/>
          <p:cNvSpPr/>
          <p:nvPr/>
        </p:nvSpPr>
        <p:spPr>
          <a:xfrm>
            <a:off x="12966699" y="649557"/>
            <a:ext cx="469900" cy="469900"/>
          </a:xfrm>
          <a:prstGeom prst="rect">
            <a:avLst/>
          </a:prstGeom>
          <a:solidFill>
            <a:srgbClr val="E258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9" name="Rectangle 108"/>
          <p:cNvSpPr/>
          <p:nvPr/>
        </p:nvSpPr>
        <p:spPr>
          <a:xfrm>
            <a:off x="12966699" y="1299114"/>
            <a:ext cx="469900" cy="469900"/>
          </a:xfrm>
          <a:prstGeom prst="rect">
            <a:avLst/>
          </a:prstGeom>
          <a:solidFill>
            <a:srgbClr val="D63E2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0" name="Rectangle 109"/>
          <p:cNvSpPr/>
          <p:nvPr/>
        </p:nvSpPr>
        <p:spPr>
          <a:xfrm>
            <a:off x="13588998" y="0"/>
            <a:ext cx="469900" cy="469900"/>
          </a:xfrm>
          <a:prstGeom prst="rect">
            <a:avLst/>
          </a:prstGeom>
          <a:solidFill>
            <a:srgbClr val="8EDCD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1" name="Rectangle 110"/>
          <p:cNvSpPr/>
          <p:nvPr/>
        </p:nvSpPr>
        <p:spPr>
          <a:xfrm>
            <a:off x="13588998" y="649557"/>
            <a:ext cx="469900" cy="469900"/>
          </a:xfrm>
          <a:prstGeom prst="rect">
            <a:avLst/>
          </a:prstGeom>
          <a:solidFill>
            <a:srgbClr val="78D2D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2" name="Rectangle 111"/>
          <p:cNvSpPr/>
          <p:nvPr/>
        </p:nvSpPr>
        <p:spPr>
          <a:xfrm>
            <a:off x="13588998" y="1299114"/>
            <a:ext cx="469900" cy="469900"/>
          </a:xfrm>
          <a:prstGeom prst="rect">
            <a:avLst/>
          </a:prstGeom>
          <a:solidFill>
            <a:srgbClr val="4CC7C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3" name="Rectangle 112"/>
          <p:cNvSpPr/>
          <p:nvPr/>
        </p:nvSpPr>
        <p:spPr>
          <a:xfrm>
            <a:off x="14211297" y="0"/>
            <a:ext cx="469900" cy="469900"/>
          </a:xfrm>
          <a:prstGeom prst="rect">
            <a:avLst/>
          </a:prstGeom>
          <a:solidFill>
            <a:srgbClr val="55535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4" name="Rectangle 113"/>
          <p:cNvSpPr/>
          <p:nvPr/>
        </p:nvSpPr>
        <p:spPr>
          <a:xfrm>
            <a:off x="14211297" y="649557"/>
            <a:ext cx="469900" cy="469900"/>
          </a:xfrm>
          <a:prstGeom prst="rect">
            <a:avLst/>
          </a:prstGeom>
          <a:solidFill>
            <a:srgbClr val="3B393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5" name="Rectangle 114"/>
          <p:cNvSpPr/>
          <p:nvPr/>
        </p:nvSpPr>
        <p:spPr>
          <a:xfrm>
            <a:off x="14211297" y="1299114"/>
            <a:ext cx="469900" cy="469900"/>
          </a:xfrm>
          <a:prstGeom prst="rect">
            <a:avLst/>
          </a:prstGeom>
          <a:solidFill>
            <a:srgbClr val="25232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0" name="Text Placeholder 119"/>
          <p:cNvSpPr>
            <a:spLocks noGrp="1"/>
          </p:cNvSpPr>
          <p:nvPr>
            <p:ph type="body" sz="quarter" idx="13"/>
          </p:nvPr>
        </p:nvSpPr>
        <p:spPr/>
        <p:txBody>
          <a:bodyPr/>
          <a:lstStyle/>
          <a:p>
            <a:r>
              <a:rPr lang="en-US" sz="3200" dirty="0"/>
              <a:t>PowerPoint Presentation</a:t>
            </a:r>
          </a:p>
        </p:txBody>
      </p:sp>
      <p:sp>
        <p:nvSpPr>
          <p:cNvPr id="116" name="Date Placeholder 115"/>
          <p:cNvSpPr>
            <a:spLocks noGrp="1"/>
          </p:cNvSpPr>
          <p:nvPr>
            <p:ph type="dt" sz="half" idx="10"/>
          </p:nvPr>
        </p:nvSpPr>
        <p:spPr/>
        <p:txBody>
          <a:bodyPr/>
          <a:lstStyle/>
          <a:p>
            <a:fld id="{56E1B330-CB56-448E-9C70-830A2B9C05C8}" type="datetime1">
              <a:rPr lang="en-US" smtClean="0"/>
              <a:t>10/28/2022</a:t>
            </a:fld>
            <a:endParaRPr lang="en-US"/>
          </a:p>
        </p:txBody>
      </p:sp>
      <p:sp>
        <p:nvSpPr>
          <p:cNvPr id="117" name="Slide Number Placeholder 116"/>
          <p:cNvSpPr>
            <a:spLocks noGrp="1"/>
          </p:cNvSpPr>
          <p:nvPr>
            <p:ph type="sldNum" sz="quarter" idx="12"/>
          </p:nvPr>
        </p:nvSpPr>
        <p:spPr/>
        <p:txBody>
          <a:bodyPr/>
          <a:lstStyle/>
          <a:p>
            <a:fld id="{03206E70-9524-410D-AE9B-78D656EAA14D}" type="slidenum">
              <a:rPr lang="en-US" smtClean="0"/>
              <a:pPr/>
              <a:t>29</a:t>
            </a:fld>
            <a:endParaRPr lang="en-US"/>
          </a:p>
        </p:txBody>
      </p:sp>
      <p:grpSp>
        <p:nvGrpSpPr>
          <p:cNvPr id="6" name="Group 5"/>
          <p:cNvGrpSpPr/>
          <p:nvPr/>
        </p:nvGrpSpPr>
        <p:grpSpPr>
          <a:xfrm>
            <a:off x="1610519" y="1375277"/>
            <a:ext cx="8970962" cy="4598625"/>
            <a:chOff x="1610519" y="1375277"/>
            <a:chExt cx="8970962" cy="4598625"/>
          </a:xfrm>
        </p:grpSpPr>
        <p:sp>
          <p:nvSpPr>
            <p:cNvPr id="83" name="Rectangle 82"/>
            <p:cNvSpPr/>
            <p:nvPr/>
          </p:nvSpPr>
          <p:spPr>
            <a:xfrm>
              <a:off x="7049588" y="1375277"/>
              <a:ext cx="1710734" cy="646617"/>
            </a:xfrm>
            <a:prstGeom prst="rect">
              <a:avLst/>
            </a:prstGeom>
            <a:solidFill>
              <a:srgbClr val="3B3939"/>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Light"/>
                <a:ea typeface="+mn-ea"/>
                <a:cs typeface="+mn-cs"/>
              </a:endParaRPr>
            </a:p>
          </p:txBody>
        </p:sp>
        <p:sp>
          <p:nvSpPr>
            <p:cNvPr id="84" name="Rectangle 83"/>
            <p:cNvSpPr/>
            <p:nvPr/>
          </p:nvSpPr>
          <p:spPr>
            <a:xfrm>
              <a:off x="8862612" y="1375277"/>
              <a:ext cx="1710734" cy="646617"/>
            </a:xfrm>
            <a:prstGeom prst="rect">
              <a:avLst/>
            </a:prstGeom>
            <a:solidFill>
              <a:srgbClr val="E2583D"/>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Light"/>
                <a:ea typeface="+mn-ea"/>
                <a:cs typeface="+mn-cs"/>
              </a:endParaRPr>
            </a:p>
          </p:txBody>
        </p:sp>
        <p:sp>
          <p:nvSpPr>
            <p:cNvPr id="85" name="Parallelogram 82"/>
            <p:cNvSpPr/>
            <p:nvPr/>
          </p:nvSpPr>
          <p:spPr>
            <a:xfrm rot="16200000" flipV="1">
              <a:off x="8526317" y="4711078"/>
              <a:ext cx="587710" cy="133817"/>
            </a:xfrm>
            <a:custGeom>
              <a:avLst/>
              <a:gdLst>
                <a:gd name="connsiteX0" fmla="*/ 0 w 704849"/>
                <a:gd name="connsiteY0" fmla="*/ 118270 h 118270"/>
                <a:gd name="connsiteX1" fmla="*/ 87075 w 704849"/>
                <a:gd name="connsiteY1" fmla="*/ 0 h 118270"/>
                <a:gd name="connsiteX2" fmla="*/ 704849 w 704849"/>
                <a:gd name="connsiteY2" fmla="*/ 0 h 118270"/>
                <a:gd name="connsiteX3" fmla="*/ 617774 w 704849"/>
                <a:gd name="connsiteY3" fmla="*/ 118270 h 118270"/>
                <a:gd name="connsiteX4" fmla="*/ 0 w 704849"/>
                <a:gd name="connsiteY4" fmla="*/ 118270 h 118270"/>
                <a:gd name="connsiteX0" fmla="*/ 0 w 704849"/>
                <a:gd name="connsiteY0" fmla="*/ 118271 h 118271"/>
                <a:gd name="connsiteX1" fmla="*/ 141050 w 704849"/>
                <a:gd name="connsiteY1" fmla="*/ 0 h 118271"/>
                <a:gd name="connsiteX2" fmla="*/ 704849 w 704849"/>
                <a:gd name="connsiteY2" fmla="*/ 1 h 118271"/>
                <a:gd name="connsiteX3" fmla="*/ 617774 w 704849"/>
                <a:gd name="connsiteY3" fmla="*/ 118271 h 118271"/>
                <a:gd name="connsiteX4" fmla="*/ 0 w 704849"/>
                <a:gd name="connsiteY4" fmla="*/ 118271 h 118271"/>
                <a:gd name="connsiteX0" fmla="*/ 0 w 766762"/>
                <a:gd name="connsiteY0" fmla="*/ 118271 h 118271"/>
                <a:gd name="connsiteX1" fmla="*/ 141050 w 766762"/>
                <a:gd name="connsiteY1" fmla="*/ 0 h 118271"/>
                <a:gd name="connsiteX2" fmla="*/ 766762 w 766762"/>
                <a:gd name="connsiteY2" fmla="*/ 1 h 118271"/>
                <a:gd name="connsiteX3" fmla="*/ 617774 w 766762"/>
                <a:gd name="connsiteY3" fmla="*/ 118271 h 118271"/>
                <a:gd name="connsiteX4" fmla="*/ 0 w 766762"/>
                <a:gd name="connsiteY4" fmla="*/ 118271 h 118271"/>
                <a:gd name="connsiteX0" fmla="*/ 0 w 766762"/>
                <a:gd name="connsiteY0" fmla="*/ 118271 h 118271"/>
                <a:gd name="connsiteX1" fmla="*/ 376324 w 766762"/>
                <a:gd name="connsiteY1" fmla="*/ 0 h 118271"/>
                <a:gd name="connsiteX2" fmla="*/ 766762 w 766762"/>
                <a:gd name="connsiteY2" fmla="*/ 1 h 118271"/>
                <a:gd name="connsiteX3" fmla="*/ 617774 w 766762"/>
                <a:gd name="connsiteY3" fmla="*/ 118271 h 118271"/>
                <a:gd name="connsiteX4" fmla="*/ 0 w 766762"/>
                <a:gd name="connsiteY4" fmla="*/ 118271 h 118271"/>
                <a:gd name="connsiteX0" fmla="*/ 0 w 766762"/>
                <a:gd name="connsiteY0" fmla="*/ 118270 h 118270"/>
                <a:gd name="connsiteX1" fmla="*/ 347978 w 766762"/>
                <a:gd name="connsiteY1" fmla="*/ 2380 h 118270"/>
                <a:gd name="connsiteX2" fmla="*/ 766762 w 766762"/>
                <a:gd name="connsiteY2" fmla="*/ 0 h 118270"/>
                <a:gd name="connsiteX3" fmla="*/ 617774 w 766762"/>
                <a:gd name="connsiteY3" fmla="*/ 118270 h 118270"/>
                <a:gd name="connsiteX4" fmla="*/ 0 w 766762"/>
                <a:gd name="connsiteY4" fmla="*/ 118270 h 118270"/>
                <a:gd name="connsiteX0" fmla="*/ 0 w 766762"/>
                <a:gd name="connsiteY0" fmla="*/ 118272 h 118272"/>
                <a:gd name="connsiteX1" fmla="*/ 594417 w 766762"/>
                <a:gd name="connsiteY1" fmla="*/ 0 h 118272"/>
                <a:gd name="connsiteX2" fmla="*/ 766762 w 766762"/>
                <a:gd name="connsiteY2" fmla="*/ 2 h 118272"/>
                <a:gd name="connsiteX3" fmla="*/ 617774 w 766762"/>
                <a:gd name="connsiteY3" fmla="*/ 118272 h 118272"/>
                <a:gd name="connsiteX4" fmla="*/ 0 w 766762"/>
                <a:gd name="connsiteY4" fmla="*/ 118272 h 118272"/>
                <a:gd name="connsiteX0" fmla="*/ 0 w 537573"/>
                <a:gd name="connsiteY0" fmla="*/ 118272 h 118272"/>
                <a:gd name="connsiteX1" fmla="*/ 365228 w 537573"/>
                <a:gd name="connsiteY1" fmla="*/ 0 h 118272"/>
                <a:gd name="connsiteX2" fmla="*/ 537573 w 537573"/>
                <a:gd name="connsiteY2" fmla="*/ 2 h 118272"/>
                <a:gd name="connsiteX3" fmla="*/ 388585 w 537573"/>
                <a:gd name="connsiteY3" fmla="*/ 118272 h 118272"/>
                <a:gd name="connsiteX4" fmla="*/ 0 w 537573"/>
                <a:gd name="connsiteY4" fmla="*/ 118272 h 118272"/>
                <a:gd name="connsiteX0" fmla="*/ 0 w 537573"/>
                <a:gd name="connsiteY0" fmla="*/ 118272 h 118272"/>
                <a:gd name="connsiteX1" fmla="*/ 414516 w 537573"/>
                <a:gd name="connsiteY1" fmla="*/ 0 h 118272"/>
                <a:gd name="connsiteX2" fmla="*/ 537573 w 537573"/>
                <a:gd name="connsiteY2" fmla="*/ 2 h 118272"/>
                <a:gd name="connsiteX3" fmla="*/ 388585 w 537573"/>
                <a:gd name="connsiteY3" fmla="*/ 118272 h 118272"/>
                <a:gd name="connsiteX4" fmla="*/ 0 w 537573"/>
                <a:gd name="connsiteY4" fmla="*/ 118272 h 1182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7573" h="118272">
                  <a:moveTo>
                    <a:pt x="0" y="118272"/>
                  </a:moveTo>
                  <a:lnTo>
                    <a:pt x="414516" y="0"/>
                  </a:lnTo>
                  <a:lnTo>
                    <a:pt x="537573" y="2"/>
                  </a:lnTo>
                  <a:lnTo>
                    <a:pt x="388585" y="118272"/>
                  </a:lnTo>
                  <a:lnTo>
                    <a:pt x="0" y="118272"/>
                  </a:lnTo>
                  <a:close/>
                </a:path>
              </a:pathLst>
            </a:custGeom>
            <a:solidFill>
              <a:srgbClr val="D63E2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Light"/>
                <a:ea typeface="+mn-ea"/>
                <a:cs typeface="+mn-cs"/>
              </a:endParaRPr>
            </a:p>
          </p:txBody>
        </p:sp>
        <p:sp>
          <p:nvSpPr>
            <p:cNvPr id="86" name="Parallelogram 82"/>
            <p:cNvSpPr/>
            <p:nvPr/>
          </p:nvSpPr>
          <p:spPr>
            <a:xfrm rot="16200000" flipV="1">
              <a:off x="8551822" y="4460429"/>
              <a:ext cx="542948" cy="136511"/>
            </a:xfrm>
            <a:custGeom>
              <a:avLst/>
              <a:gdLst>
                <a:gd name="connsiteX0" fmla="*/ 0 w 704849"/>
                <a:gd name="connsiteY0" fmla="*/ 118270 h 118270"/>
                <a:gd name="connsiteX1" fmla="*/ 87075 w 704849"/>
                <a:gd name="connsiteY1" fmla="*/ 0 h 118270"/>
                <a:gd name="connsiteX2" fmla="*/ 704849 w 704849"/>
                <a:gd name="connsiteY2" fmla="*/ 0 h 118270"/>
                <a:gd name="connsiteX3" fmla="*/ 617774 w 704849"/>
                <a:gd name="connsiteY3" fmla="*/ 118270 h 118270"/>
                <a:gd name="connsiteX4" fmla="*/ 0 w 704849"/>
                <a:gd name="connsiteY4" fmla="*/ 118270 h 118270"/>
                <a:gd name="connsiteX0" fmla="*/ 0 w 704849"/>
                <a:gd name="connsiteY0" fmla="*/ 118271 h 118271"/>
                <a:gd name="connsiteX1" fmla="*/ 141050 w 704849"/>
                <a:gd name="connsiteY1" fmla="*/ 0 h 118271"/>
                <a:gd name="connsiteX2" fmla="*/ 704849 w 704849"/>
                <a:gd name="connsiteY2" fmla="*/ 1 h 118271"/>
                <a:gd name="connsiteX3" fmla="*/ 617774 w 704849"/>
                <a:gd name="connsiteY3" fmla="*/ 118271 h 118271"/>
                <a:gd name="connsiteX4" fmla="*/ 0 w 704849"/>
                <a:gd name="connsiteY4" fmla="*/ 118271 h 118271"/>
                <a:gd name="connsiteX0" fmla="*/ 0 w 717549"/>
                <a:gd name="connsiteY0" fmla="*/ 118271 h 118271"/>
                <a:gd name="connsiteX1" fmla="*/ 153750 w 717549"/>
                <a:gd name="connsiteY1" fmla="*/ 0 h 118271"/>
                <a:gd name="connsiteX2" fmla="*/ 717549 w 717549"/>
                <a:gd name="connsiteY2" fmla="*/ 1 h 118271"/>
                <a:gd name="connsiteX3" fmla="*/ 630474 w 717549"/>
                <a:gd name="connsiteY3" fmla="*/ 118271 h 118271"/>
                <a:gd name="connsiteX4" fmla="*/ 0 w 717549"/>
                <a:gd name="connsiteY4" fmla="*/ 118271 h 118271"/>
                <a:gd name="connsiteX0" fmla="*/ 0 w 717549"/>
                <a:gd name="connsiteY0" fmla="*/ 118271 h 118271"/>
                <a:gd name="connsiteX1" fmla="*/ 402037 w 717549"/>
                <a:gd name="connsiteY1" fmla="*/ 0 h 118271"/>
                <a:gd name="connsiteX2" fmla="*/ 717549 w 717549"/>
                <a:gd name="connsiteY2" fmla="*/ 1 h 118271"/>
                <a:gd name="connsiteX3" fmla="*/ 630474 w 717549"/>
                <a:gd name="connsiteY3" fmla="*/ 118271 h 118271"/>
                <a:gd name="connsiteX4" fmla="*/ 0 w 717549"/>
                <a:gd name="connsiteY4" fmla="*/ 118271 h 118271"/>
                <a:gd name="connsiteX0" fmla="*/ 0 w 717549"/>
                <a:gd name="connsiteY0" fmla="*/ 120653 h 120653"/>
                <a:gd name="connsiteX1" fmla="*/ 441204 w 717549"/>
                <a:gd name="connsiteY1" fmla="*/ 0 h 120653"/>
                <a:gd name="connsiteX2" fmla="*/ 717549 w 717549"/>
                <a:gd name="connsiteY2" fmla="*/ 2383 h 120653"/>
                <a:gd name="connsiteX3" fmla="*/ 630474 w 717549"/>
                <a:gd name="connsiteY3" fmla="*/ 120653 h 120653"/>
                <a:gd name="connsiteX4" fmla="*/ 0 w 717549"/>
                <a:gd name="connsiteY4" fmla="*/ 120653 h 1206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17549" h="120653">
                  <a:moveTo>
                    <a:pt x="0" y="120653"/>
                  </a:moveTo>
                  <a:lnTo>
                    <a:pt x="441204" y="0"/>
                  </a:lnTo>
                  <a:lnTo>
                    <a:pt x="717549" y="2383"/>
                  </a:lnTo>
                  <a:lnTo>
                    <a:pt x="630474" y="120653"/>
                  </a:lnTo>
                  <a:lnTo>
                    <a:pt x="0" y="120653"/>
                  </a:lnTo>
                  <a:close/>
                </a:path>
              </a:pathLst>
            </a:custGeom>
            <a:solidFill>
              <a:srgbClr val="25232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Light"/>
                <a:ea typeface="+mn-ea"/>
                <a:cs typeface="+mn-cs"/>
              </a:endParaRPr>
            </a:p>
          </p:txBody>
        </p:sp>
        <p:sp>
          <p:nvSpPr>
            <p:cNvPr id="87" name="Parallelogram 91"/>
            <p:cNvSpPr/>
            <p:nvPr/>
          </p:nvSpPr>
          <p:spPr>
            <a:xfrm rot="5400000">
              <a:off x="8465846" y="3533383"/>
              <a:ext cx="709508" cy="131122"/>
            </a:xfrm>
            <a:custGeom>
              <a:avLst/>
              <a:gdLst>
                <a:gd name="connsiteX0" fmla="*/ 0 w 761593"/>
                <a:gd name="connsiteY0" fmla="*/ 118270 h 118270"/>
                <a:gd name="connsiteX1" fmla="*/ 87075 w 761593"/>
                <a:gd name="connsiteY1" fmla="*/ 0 h 118270"/>
                <a:gd name="connsiteX2" fmla="*/ 761593 w 761593"/>
                <a:gd name="connsiteY2" fmla="*/ 0 h 118270"/>
                <a:gd name="connsiteX3" fmla="*/ 674518 w 761593"/>
                <a:gd name="connsiteY3" fmla="*/ 118270 h 118270"/>
                <a:gd name="connsiteX4" fmla="*/ 0 w 761593"/>
                <a:gd name="connsiteY4" fmla="*/ 118270 h 118270"/>
                <a:gd name="connsiteX0" fmla="*/ 0 w 852083"/>
                <a:gd name="connsiteY0" fmla="*/ 118270 h 118270"/>
                <a:gd name="connsiteX1" fmla="*/ 87075 w 852083"/>
                <a:gd name="connsiteY1" fmla="*/ 0 h 118270"/>
                <a:gd name="connsiteX2" fmla="*/ 852083 w 852083"/>
                <a:gd name="connsiteY2" fmla="*/ 2381 h 118270"/>
                <a:gd name="connsiteX3" fmla="*/ 674518 w 852083"/>
                <a:gd name="connsiteY3" fmla="*/ 118270 h 118270"/>
                <a:gd name="connsiteX4" fmla="*/ 0 w 852083"/>
                <a:gd name="connsiteY4" fmla="*/ 118270 h 118270"/>
                <a:gd name="connsiteX0" fmla="*/ 0 w 852083"/>
                <a:gd name="connsiteY0" fmla="*/ 118271 h 118271"/>
                <a:gd name="connsiteX1" fmla="*/ 260909 w 852083"/>
                <a:gd name="connsiteY1" fmla="*/ 0 h 118271"/>
                <a:gd name="connsiteX2" fmla="*/ 852083 w 852083"/>
                <a:gd name="connsiteY2" fmla="*/ 2382 h 118271"/>
                <a:gd name="connsiteX3" fmla="*/ 674518 w 852083"/>
                <a:gd name="connsiteY3" fmla="*/ 118271 h 118271"/>
                <a:gd name="connsiteX4" fmla="*/ 0 w 852083"/>
                <a:gd name="connsiteY4" fmla="*/ 118271 h 118271"/>
                <a:gd name="connsiteX0" fmla="*/ 0 w 852083"/>
                <a:gd name="connsiteY0" fmla="*/ 115890 h 115890"/>
                <a:gd name="connsiteX1" fmla="*/ 552277 w 852083"/>
                <a:gd name="connsiteY1" fmla="*/ 0 h 115890"/>
                <a:gd name="connsiteX2" fmla="*/ 852083 w 852083"/>
                <a:gd name="connsiteY2" fmla="*/ 1 h 115890"/>
                <a:gd name="connsiteX3" fmla="*/ 674518 w 852083"/>
                <a:gd name="connsiteY3" fmla="*/ 115890 h 115890"/>
                <a:gd name="connsiteX4" fmla="*/ 0 w 852083"/>
                <a:gd name="connsiteY4" fmla="*/ 115890 h 115890"/>
                <a:gd name="connsiteX0" fmla="*/ 1 w 999547"/>
                <a:gd name="connsiteY0" fmla="*/ 118271 h 118271"/>
                <a:gd name="connsiteX1" fmla="*/ 699741 w 999547"/>
                <a:gd name="connsiteY1" fmla="*/ 0 h 118271"/>
                <a:gd name="connsiteX2" fmla="*/ 999547 w 999547"/>
                <a:gd name="connsiteY2" fmla="*/ 1 h 118271"/>
                <a:gd name="connsiteX3" fmla="*/ 821982 w 999547"/>
                <a:gd name="connsiteY3" fmla="*/ 115890 h 118271"/>
                <a:gd name="connsiteX4" fmla="*/ 1 w 999547"/>
                <a:gd name="connsiteY4" fmla="*/ 118271 h 118271"/>
                <a:gd name="connsiteX0" fmla="*/ 1 w 1029792"/>
                <a:gd name="connsiteY0" fmla="*/ 113509 h 115890"/>
                <a:gd name="connsiteX1" fmla="*/ 729986 w 1029792"/>
                <a:gd name="connsiteY1" fmla="*/ 0 h 115890"/>
                <a:gd name="connsiteX2" fmla="*/ 1029792 w 1029792"/>
                <a:gd name="connsiteY2" fmla="*/ 1 h 115890"/>
                <a:gd name="connsiteX3" fmla="*/ 852227 w 1029792"/>
                <a:gd name="connsiteY3" fmla="*/ 115890 h 115890"/>
                <a:gd name="connsiteX4" fmla="*/ 1 w 1029792"/>
                <a:gd name="connsiteY4" fmla="*/ 113509 h 115890"/>
                <a:gd name="connsiteX0" fmla="*/ -1 w 984411"/>
                <a:gd name="connsiteY0" fmla="*/ 120653 h 120653"/>
                <a:gd name="connsiteX1" fmla="*/ 684605 w 984411"/>
                <a:gd name="connsiteY1" fmla="*/ 0 h 120653"/>
                <a:gd name="connsiteX2" fmla="*/ 984411 w 984411"/>
                <a:gd name="connsiteY2" fmla="*/ 1 h 120653"/>
                <a:gd name="connsiteX3" fmla="*/ 806846 w 984411"/>
                <a:gd name="connsiteY3" fmla="*/ 115890 h 120653"/>
                <a:gd name="connsiteX4" fmla="*/ -1 w 984411"/>
                <a:gd name="connsiteY4" fmla="*/ 120653 h 120653"/>
                <a:gd name="connsiteX0" fmla="*/ 0 w 1018441"/>
                <a:gd name="connsiteY0" fmla="*/ 123034 h 123034"/>
                <a:gd name="connsiteX1" fmla="*/ 718635 w 1018441"/>
                <a:gd name="connsiteY1" fmla="*/ 0 h 123034"/>
                <a:gd name="connsiteX2" fmla="*/ 1018441 w 1018441"/>
                <a:gd name="connsiteY2" fmla="*/ 1 h 123034"/>
                <a:gd name="connsiteX3" fmla="*/ 840876 w 1018441"/>
                <a:gd name="connsiteY3" fmla="*/ 115890 h 123034"/>
                <a:gd name="connsiteX4" fmla="*/ 0 w 1018441"/>
                <a:gd name="connsiteY4" fmla="*/ 123034 h 123034"/>
                <a:gd name="connsiteX0" fmla="*/ 0 w 984407"/>
                <a:gd name="connsiteY0" fmla="*/ 115890 h 115890"/>
                <a:gd name="connsiteX1" fmla="*/ 684601 w 984407"/>
                <a:gd name="connsiteY1" fmla="*/ 0 h 115890"/>
                <a:gd name="connsiteX2" fmla="*/ 984407 w 984407"/>
                <a:gd name="connsiteY2" fmla="*/ 1 h 115890"/>
                <a:gd name="connsiteX3" fmla="*/ 806842 w 984407"/>
                <a:gd name="connsiteY3" fmla="*/ 115890 h 115890"/>
                <a:gd name="connsiteX4" fmla="*/ 0 w 984407"/>
                <a:gd name="connsiteY4" fmla="*/ 115890 h 115890"/>
                <a:gd name="connsiteX0" fmla="*/ 0 w 995749"/>
                <a:gd name="connsiteY0" fmla="*/ 115890 h 115890"/>
                <a:gd name="connsiteX1" fmla="*/ 695943 w 995749"/>
                <a:gd name="connsiteY1" fmla="*/ 0 h 115890"/>
                <a:gd name="connsiteX2" fmla="*/ 995749 w 995749"/>
                <a:gd name="connsiteY2" fmla="*/ 1 h 115890"/>
                <a:gd name="connsiteX3" fmla="*/ 818184 w 995749"/>
                <a:gd name="connsiteY3" fmla="*/ 115890 h 115890"/>
                <a:gd name="connsiteX4" fmla="*/ 0 w 995749"/>
                <a:gd name="connsiteY4" fmla="*/ 115890 h 1158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5749" h="115890">
                  <a:moveTo>
                    <a:pt x="0" y="115890"/>
                  </a:moveTo>
                  <a:lnTo>
                    <a:pt x="695943" y="0"/>
                  </a:lnTo>
                  <a:lnTo>
                    <a:pt x="995749" y="1"/>
                  </a:lnTo>
                  <a:lnTo>
                    <a:pt x="818184" y="115890"/>
                  </a:lnTo>
                  <a:lnTo>
                    <a:pt x="0" y="115890"/>
                  </a:lnTo>
                  <a:close/>
                </a:path>
              </a:pathLst>
            </a:custGeom>
            <a:solidFill>
              <a:srgbClr val="D63E2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Light"/>
                <a:ea typeface="+mn-ea"/>
                <a:cs typeface="+mn-cs"/>
              </a:endParaRPr>
            </a:p>
          </p:txBody>
        </p:sp>
        <p:sp>
          <p:nvSpPr>
            <p:cNvPr id="88" name="Parallelogram 89"/>
            <p:cNvSpPr/>
            <p:nvPr/>
          </p:nvSpPr>
          <p:spPr>
            <a:xfrm rot="5400000">
              <a:off x="8620251" y="3809295"/>
              <a:ext cx="406088" cy="136509"/>
            </a:xfrm>
            <a:custGeom>
              <a:avLst/>
              <a:gdLst>
                <a:gd name="connsiteX0" fmla="*/ 0 w 588976"/>
                <a:gd name="connsiteY0" fmla="*/ 118270 h 118270"/>
                <a:gd name="connsiteX1" fmla="*/ 87075 w 588976"/>
                <a:gd name="connsiteY1" fmla="*/ 0 h 118270"/>
                <a:gd name="connsiteX2" fmla="*/ 588976 w 588976"/>
                <a:gd name="connsiteY2" fmla="*/ 0 h 118270"/>
                <a:gd name="connsiteX3" fmla="*/ 501901 w 588976"/>
                <a:gd name="connsiteY3" fmla="*/ 118270 h 118270"/>
                <a:gd name="connsiteX4" fmla="*/ 0 w 588976"/>
                <a:gd name="connsiteY4" fmla="*/ 118270 h 118270"/>
                <a:gd name="connsiteX0" fmla="*/ 0 w 588976"/>
                <a:gd name="connsiteY0" fmla="*/ 120651 h 120651"/>
                <a:gd name="connsiteX1" fmla="*/ 201375 w 588976"/>
                <a:gd name="connsiteY1" fmla="*/ 0 h 120651"/>
                <a:gd name="connsiteX2" fmla="*/ 588976 w 588976"/>
                <a:gd name="connsiteY2" fmla="*/ 2381 h 120651"/>
                <a:gd name="connsiteX3" fmla="*/ 501901 w 588976"/>
                <a:gd name="connsiteY3" fmla="*/ 120651 h 120651"/>
                <a:gd name="connsiteX4" fmla="*/ 0 w 588976"/>
                <a:gd name="connsiteY4" fmla="*/ 120651 h 120651"/>
                <a:gd name="connsiteX0" fmla="*/ 0 w 581832"/>
                <a:gd name="connsiteY0" fmla="*/ 120651 h 120651"/>
                <a:gd name="connsiteX1" fmla="*/ 194231 w 581832"/>
                <a:gd name="connsiteY1" fmla="*/ 0 h 120651"/>
                <a:gd name="connsiteX2" fmla="*/ 581832 w 581832"/>
                <a:gd name="connsiteY2" fmla="*/ 2381 h 120651"/>
                <a:gd name="connsiteX3" fmla="*/ 494757 w 581832"/>
                <a:gd name="connsiteY3" fmla="*/ 120651 h 120651"/>
                <a:gd name="connsiteX4" fmla="*/ 0 w 581832"/>
                <a:gd name="connsiteY4" fmla="*/ 120651 h 120651"/>
                <a:gd name="connsiteX0" fmla="*/ 0 w 581832"/>
                <a:gd name="connsiteY0" fmla="*/ 120651 h 120651"/>
                <a:gd name="connsiteX1" fmla="*/ 359114 w 581832"/>
                <a:gd name="connsiteY1" fmla="*/ 0 h 120651"/>
                <a:gd name="connsiteX2" fmla="*/ 581832 w 581832"/>
                <a:gd name="connsiteY2" fmla="*/ 2381 h 120651"/>
                <a:gd name="connsiteX3" fmla="*/ 494757 w 581832"/>
                <a:gd name="connsiteY3" fmla="*/ 120651 h 120651"/>
                <a:gd name="connsiteX4" fmla="*/ 0 w 581832"/>
                <a:gd name="connsiteY4" fmla="*/ 120651 h 120651"/>
                <a:gd name="connsiteX0" fmla="*/ 0 w 581832"/>
                <a:gd name="connsiteY0" fmla="*/ 123032 h 123032"/>
                <a:gd name="connsiteX1" fmla="*/ 378415 w 581832"/>
                <a:gd name="connsiteY1" fmla="*/ 0 h 123032"/>
                <a:gd name="connsiteX2" fmla="*/ 581832 w 581832"/>
                <a:gd name="connsiteY2" fmla="*/ 4762 h 123032"/>
                <a:gd name="connsiteX3" fmla="*/ 494757 w 581832"/>
                <a:gd name="connsiteY3" fmla="*/ 123032 h 123032"/>
                <a:gd name="connsiteX4" fmla="*/ 0 w 581832"/>
                <a:gd name="connsiteY4" fmla="*/ 123032 h 123032"/>
                <a:gd name="connsiteX0" fmla="*/ 0 w 581832"/>
                <a:gd name="connsiteY0" fmla="*/ 120651 h 120651"/>
                <a:gd name="connsiteX1" fmla="*/ 409301 w 581832"/>
                <a:gd name="connsiteY1" fmla="*/ 0 h 120651"/>
                <a:gd name="connsiteX2" fmla="*/ 581832 w 581832"/>
                <a:gd name="connsiteY2" fmla="*/ 2381 h 120651"/>
                <a:gd name="connsiteX3" fmla="*/ 494757 w 581832"/>
                <a:gd name="connsiteY3" fmla="*/ 120651 h 120651"/>
                <a:gd name="connsiteX4" fmla="*/ 0 w 581832"/>
                <a:gd name="connsiteY4" fmla="*/ 120651 h 1206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1832" h="120651">
                  <a:moveTo>
                    <a:pt x="0" y="120651"/>
                  </a:moveTo>
                  <a:lnTo>
                    <a:pt x="409301" y="0"/>
                  </a:lnTo>
                  <a:lnTo>
                    <a:pt x="581832" y="2381"/>
                  </a:lnTo>
                  <a:lnTo>
                    <a:pt x="494757" y="120651"/>
                  </a:lnTo>
                  <a:lnTo>
                    <a:pt x="0" y="120651"/>
                  </a:lnTo>
                  <a:close/>
                </a:path>
              </a:pathLst>
            </a:custGeom>
            <a:solidFill>
              <a:srgbClr val="76717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6A5D79">
                    <a:lumMod val="75000"/>
                  </a:srgbClr>
                </a:solidFill>
                <a:effectLst/>
                <a:uLnTx/>
                <a:uFillTx/>
                <a:latin typeface="Calibri Light"/>
                <a:ea typeface="+mn-ea"/>
                <a:cs typeface="+mn-cs"/>
              </a:endParaRPr>
            </a:p>
          </p:txBody>
        </p:sp>
        <p:sp>
          <p:nvSpPr>
            <p:cNvPr id="89" name="Rectangle 88"/>
            <p:cNvSpPr/>
            <p:nvPr/>
          </p:nvSpPr>
          <p:spPr>
            <a:xfrm>
              <a:off x="5236565" y="1375277"/>
              <a:ext cx="1710734" cy="646617"/>
            </a:xfrm>
            <a:prstGeom prst="rect">
              <a:avLst/>
            </a:prstGeom>
            <a:solidFill>
              <a:srgbClr val="78D2D2"/>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Light"/>
                <a:ea typeface="+mn-ea"/>
                <a:cs typeface="+mn-cs"/>
              </a:endParaRPr>
            </a:p>
          </p:txBody>
        </p:sp>
        <p:sp>
          <p:nvSpPr>
            <p:cNvPr id="90" name="Parallelogram 91"/>
            <p:cNvSpPr/>
            <p:nvPr/>
          </p:nvSpPr>
          <p:spPr>
            <a:xfrm rot="5400000">
              <a:off x="6490246" y="3130350"/>
              <a:ext cx="1040049" cy="131122"/>
            </a:xfrm>
            <a:custGeom>
              <a:avLst/>
              <a:gdLst>
                <a:gd name="connsiteX0" fmla="*/ 0 w 761593"/>
                <a:gd name="connsiteY0" fmla="*/ 118270 h 118270"/>
                <a:gd name="connsiteX1" fmla="*/ 87075 w 761593"/>
                <a:gd name="connsiteY1" fmla="*/ 0 h 118270"/>
                <a:gd name="connsiteX2" fmla="*/ 761593 w 761593"/>
                <a:gd name="connsiteY2" fmla="*/ 0 h 118270"/>
                <a:gd name="connsiteX3" fmla="*/ 674518 w 761593"/>
                <a:gd name="connsiteY3" fmla="*/ 118270 h 118270"/>
                <a:gd name="connsiteX4" fmla="*/ 0 w 761593"/>
                <a:gd name="connsiteY4" fmla="*/ 118270 h 118270"/>
                <a:gd name="connsiteX0" fmla="*/ 0 w 852083"/>
                <a:gd name="connsiteY0" fmla="*/ 118270 h 118270"/>
                <a:gd name="connsiteX1" fmla="*/ 87075 w 852083"/>
                <a:gd name="connsiteY1" fmla="*/ 0 h 118270"/>
                <a:gd name="connsiteX2" fmla="*/ 852083 w 852083"/>
                <a:gd name="connsiteY2" fmla="*/ 2381 h 118270"/>
                <a:gd name="connsiteX3" fmla="*/ 674518 w 852083"/>
                <a:gd name="connsiteY3" fmla="*/ 118270 h 118270"/>
                <a:gd name="connsiteX4" fmla="*/ 0 w 852083"/>
                <a:gd name="connsiteY4" fmla="*/ 118270 h 118270"/>
                <a:gd name="connsiteX0" fmla="*/ 0 w 852083"/>
                <a:gd name="connsiteY0" fmla="*/ 118271 h 118271"/>
                <a:gd name="connsiteX1" fmla="*/ 260909 w 852083"/>
                <a:gd name="connsiteY1" fmla="*/ 0 h 118271"/>
                <a:gd name="connsiteX2" fmla="*/ 852083 w 852083"/>
                <a:gd name="connsiteY2" fmla="*/ 2382 h 118271"/>
                <a:gd name="connsiteX3" fmla="*/ 674518 w 852083"/>
                <a:gd name="connsiteY3" fmla="*/ 118271 h 118271"/>
                <a:gd name="connsiteX4" fmla="*/ 0 w 852083"/>
                <a:gd name="connsiteY4" fmla="*/ 118271 h 118271"/>
                <a:gd name="connsiteX0" fmla="*/ 0 w 852083"/>
                <a:gd name="connsiteY0" fmla="*/ 115890 h 115890"/>
                <a:gd name="connsiteX1" fmla="*/ 552277 w 852083"/>
                <a:gd name="connsiteY1" fmla="*/ 0 h 115890"/>
                <a:gd name="connsiteX2" fmla="*/ 852083 w 852083"/>
                <a:gd name="connsiteY2" fmla="*/ 1 h 115890"/>
                <a:gd name="connsiteX3" fmla="*/ 674518 w 852083"/>
                <a:gd name="connsiteY3" fmla="*/ 115890 h 115890"/>
                <a:gd name="connsiteX4" fmla="*/ 0 w 852083"/>
                <a:gd name="connsiteY4" fmla="*/ 115890 h 1158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2083" h="115890">
                  <a:moveTo>
                    <a:pt x="0" y="115890"/>
                  </a:moveTo>
                  <a:lnTo>
                    <a:pt x="552277" y="0"/>
                  </a:lnTo>
                  <a:lnTo>
                    <a:pt x="852083" y="1"/>
                  </a:lnTo>
                  <a:lnTo>
                    <a:pt x="674518" y="115890"/>
                  </a:lnTo>
                  <a:lnTo>
                    <a:pt x="0" y="115890"/>
                  </a:lnTo>
                  <a:close/>
                </a:path>
              </a:pathLst>
            </a:custGeom>
            <a:solidFill>
              <a:srgbClr val="D63E2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Light"/>
                <a:ea typeface="+mn-ea"/>
                <a:cs typeface="+mn-cs"/>
              </a:endParaRPr>
            </a:p>
          </p:txBody>
        </p:sp>
        <p:sp>
          <p:nvSpPr>
            <p:cNvPr id="91" name="Parallelogram 89"/>
            <p:cNvSpPr/>
            <p:nvPr/>
          </p:nvSpPr>
          <p:spPr>
            <a:xfrm rot="5400000">
              <a:off x="6708731" y="3603627"/>
              <a:ext cx="608468" cy="136509"/>
            </a:xfrm>
            <a:custGeom>
              <a:avLst/>
              <a:gdLst>
                <a:gd name="connsiteX0" fmla="*/ 0 w 588976"/>
                <a:gd name="connsiteY0" fmla="*/ 118270 h 118270"/>
                <a:gd name="connsiteX1" fmla="*/ 87075 w 588976"/>
                <a:gd name="connsiteY1" fmla="*/ 0 h 118270"/>
                <a:gd name="connsiteX2" fmla="*/ 588976 w 588976"/>
                <a:gd name="connsiteY2" fmla="*/ 0 h 118270"/>
                <a:gd name="connsiteX3" fmla="*/ 501901 w 588976"/>
                <a:gd name="connsiteY3" fmla="*/ 118270 h 118270"/>
                <a:gd name="connsiteX4" fmla="*/ 0 w 588976"/>
                <a:gd name="connsiteY4" fmla="*/ 118270 h 118270"/>
                <a:gd name="connsiteX0" fmla="*/ 0 w 588976"/>
                <a:gd name="connsiteY0" fmla="*/ 120651 h 120651"/>
                <a:gd name="connsiteX1" fmla="*/ 201375 w 588976"/>
                <a:gd name="connsiteY1" fmla="*/ 0 h 120651"/>
                <a:gd name="connsiteX2" fmla="*/ 588976 w 588976"/>
                <a:gd name="connsiteY2" fmla="*/ 2381 h 120651"/>
                <a:gd name="connsiteX3" fmla="*/ 501901 w 588976"/>
                <a:gd name="connsiteY3" fmla="*/ 120651 h 120651"/>
                <a:gd name="connsiteX4" fmla="*/ 0 w 588976"/>
                <a:gd name="connsiteY4" fmla="*/ 120651 h 120651"/>
                <a:gd name="connsiteX0" fmla="*/ 0 w 581832"/>
                <a:gd name="connsiteY0" fmla="*/ 120651 h 120651"/>
                <a:gd name="connsiteX1" fmla="*/ 194231 w 581832"/>
                <a:gd name="connsiteY1" fmla="*/ 0 h 120651"/>
                <a:gd name="connsiteX2" fmla="*/ 581832 w 581832"/>
                <a:gd name="connsiteY2" fmla="*/ 2381 h 120651"/>
                <a:gd name="connsiteX3" fmla="*/ 494757 w 581832"/>
                <a:gd name="connsiteY3" fmla="*/ 120651 h 120651"/>
                <a:gd name="connsiteX4" fmla="*/ 0 w 581832"/>
                <a:gd name="connsiteY4" fmla="*/ 120651 h 120651"/>
                <a:gd name="connsiteX0" fmla="*/ 0 w 581832"/>
                <a:gd name="connsiteY0" fmla="*/ 120651 h 120651"/>
                <a:gd name="connsiteX1" fmla="*/ 359114 w 581832"/>
                <a:gd name="connsiteY1" fmla="*/ 0 h 120651"/>
                <a:gd name="connsiteX2" fmla="*/ 581832 w 581832"/>
                <a:gd name="connsiteY2" fmla="*/ 2381 h 120651"/>
                <a:gd name="connsiteX3" fmla="*/ 494757 w 581832"/>
                <a:gd name="connsiteY3" fmla="*/ 120651 h 120651"/>
                <a:gd name="connsiteX4" fmla="*/ 0 w 581832"/>
                <a:gd name="connsiteY4" fmla="*/ 120651 h 1206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1832" h="120651">
                  <a:moveTo>
                    <a:pt x="0" y="120651"/>
                  </a:moveTo>
                  <a:lnTo>
                    <a:pt x="359114" y="0"/>
                  </a:lnTo>
                  <a:lnTo>
                    <a:pt x="581832" y="2381"/>
                  </a:lnTo>
                  <a:lnTo>
                    <a:pt x="494757" y="120651"/>
                  </a:lnTo>
                  <a:lnTo>
                    <a:pt x="0" y="120651"/>
                  </a:lnTo>
                  <a:close/>
                </a:path>
              </a:pathLst>
            </a:custGeom>
            <a:solidFill>
              <a:srgbClr val="76717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6A5D79">
                    <a:lumMod val="75000"/>
                  </a:srgbClr>
                </a:solidFill>
                <a:effectLst/>
                <a:uLnTx/>
                <a:uFillTx/>
                <a:latin typeface="Calibri Light"/>
                <a:ea typeface="+mn-ea"/>
                <a:cs typeface="+mn-cs"/>
              </a:endParaRPr>
            </a:p>
          </p:txBody>
        </p:sp>
        <p:sp>
          <p:nvSpPr>
            <p:cNvPr id="92" name="Parallelogram 82"/>
            <p:cNvSpPr/>
            <p:nvPr/>
          </p:nvSpPr>
          <p:spPr>
            <a:xfrm rot="16200000" flipV="1">
              <a:off x="6592539" y="5115956"/>
              <a:ext cx="838273" cy="133817"/>
            </a:xfrm>
            <a:custGeom>
              <a:avLst/>
              <a:gdLst>
                <a:gd name="connsiteX0" fmla="*/ 0 w 704849"/>
                <a:gd name="connsiteY0" fmla="*/ 118270 h 118270"/>
                <a:gd name="connsiteX1" fmla="*/ 87075 w 704849"/>
                <a:gd name="connsiteY1" fmla="*/ 0 h 118270"/>
                <a:gd name="connsiteX2" fmla="*/ 704849 w 704849"/>
                <a:gd name="connsiteY2" fmla="*/ 0 h 118270"/>
                <a:gd name="connsiteX3" fmla="*/ 617774 w 704849"/>
                <a:gd name="connsiteY3" fmla="*/ 118270 h 118270"/>
                <a:gd name="connsiteX4" fmla="*/ 0 w 704849"/>
                <a:gd name="connsiteY4" fmla="*/ 118270 h 118270"/>
                <a:gd name="connsiteX0" fmla="*/ 0 w 704849"/>
                <a:gd name="connsiteY0" fmla="*/ 118271 h 118271"/>
                <a:gd name="connsiteX1" fmla="*/ 141050 w 704849"/>
                <a:gd name="connsiteY1" fmla="*/ 0 h 118271"/>
                <a:gd name="connsiteX2" fmla="*/ 704849 w 704849"/>
                <a:gd name="connsiteY2" fmla="*/ 1 h 118271"/>
                <a:gd name="connsiteX3" fmla="*/ 617774 w 704849"/>
                <a:gd name="connsiteY3" fmla="*/ 118271 h 118271"/>
                <a:gd name="connsiteX4" fmla="*/ 0 w 704849"/>
                <a:gd name="connsiteY4" fmla="*/ 118271 h 118271"/>
                <a:gd name="connsiteX0" fmla="*/ 0 w 766762"/>
                <a:gd name="connsiteY0" fmla="*/ 118271 h 118271"/>
                <a:gd name="connsiteX1" fmla="*/ 141050 w 766762"/>
                <a:gd name="connsiteY1" fmla="*/ 0 h 118271"/>
                <a:gd name="connsiteX2" fmla="*/ 766762 w 766762"/>
                <a:gd name="connsiteY2" fmla="*/ 1 h 118271"/>
                <a:gd name="connsiteX3" fmla="*/ 617774 w 766762"/>
                <a:gd name="connsiteY3" fmla="*/ 118271 h 118271"/>
                <a:gd name="connsiteX4" fmla="*/ 0 w 766762"/>
                <a:gd name="connsiteY4" fmla="*/ 118271 h 118271"/>
                <a:gd name="connsiteX0" fmla="*/ 0 w 766762"/>
                <a:gd name="connsiteY0" fmla="*/ 118271 h 118271"/>
                <a:gd name="connsiteX1" fmla="*/ 376324 w 766762"/>
                <a:gd name="connsiteY1" fmla="*/ 0 h 118271"/>
                <a:gd name="connsiteX2" fmla="*/ 766762 w 766762"/>
                <a:gd name="connsiteY2" fmla="*/ 1 h 118271"/>
                <a:gd name="connsiteX3" fmla="*/ 617774 w 766762"/>
                <a:gd name="connsiteY3" fmla="*/ 118271 h 118271"/>
                <a:gd name="connsiteX4" fmla="*/ 0 w 766762"/>
                <a:gd name="connsiteY4" fmla="*/ 118271 h 118271"/>
                <a:gd name="connsiteX0" fmla="*/ 0 w 766762"/>
                <a:gd name="connsiteY0" fmla="*/ 118270 h 118270"/>
                <a:gd name="connsiteX1" fmla="*/ 347978 w 766762"/>
                <a:gd name="connsiteY1" fmla="*/ 2380 h 118270"/>
                <a:gd name="connsiteX2" fmla="*/ 766762 w 766762"/>
                <a:gd name="connsiteY2" fmla="*/ 0 h 118270"/>
                <a:gd name="connsiteX3" fmla="*/ 617774 w 766762"/>
                <a:gd name="connsiteY3" fmla="*/ 118270 h 118270"/>
                <a:gd name="connsiteX4" fmla="*/ 0 w 766762"/>
                <a:gd name="connsiteY4" fmla="*/ 118270 h 118270"/>
                <a:gd name="connsiteX0" fmla="*/ 0 w 766762"/>
                <a:gd name="connsiteY0" fmla="*/ 118272 h 118272"/>
                <a:gd name="connsiteX1" fmla="*/ 594417 w 766762"/>
                <a:gd name="connsiteY1" fmla="*/ 0 h 118272"/>
                <a:gd name="connsiteX2" fmla="*/ 766762 w 766762"/>
                <a:gd name="connsiteY2" fmla="*/ 2 h 118272"/>
                <a:gd name="connsiteX3" fmla="*/ 617774 w 766762"/>
                <a:gd name="connsiteY3" fmla="*/ 118272 h 118272"/>
                <a:gd name="connsiteX4" fmla="*/ 0 w 766762"/>
                <a:gd name="connsiteY4" fmla="*/ 118272 h 1182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6762" h="118272">
                  <a:moveTo>
                    <a:pt x="0" y="118272"/>
                  </a:moveTo>
                  <a:lnTo>
                    <a:pt x="594417" y="0"/>
                  </a:lnTo>
                  <a:lnTo>
                    <a:pt x="766762" y="2"/>
                  </a:lnTo>
                  <a:lnTo>
                    <a:pt x="617774" y="118272"/>
                  </a:lnTo>
                  <a:lnTo>
                    <a:pt x="0" y="118272"/>
                  </a:lnTo>
                  <a:close/>
                </a:path>
              </a:pathLst>
            </a:custGeom>
            <a:solidFill>
              <a:srgbClr val="D63E2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Light"/>
                <a:ea typeface="+mn-ea"/>
                <a:cs typeface="+mn-cs"/>
              </a:endParaRPr>
            </a:p>
          </p:txBody>
        </p:sp>
        <p:sp>
          <p:nvSpPr>
            <p:cNvPr id="93" name="Parallelogram 82"/>
            <p:cNvSpPr/>
            <p:nvPr/>
          </p:nvSpPr>
          <p:spPr>
            <a:xfrm rot="16200000" flipV="1">
              <a:off x="6606784" y="4697576"/>
              <a:ext cx="809780" cy="133816"/>
            </a:xfrm>
            <a:custGeom>
              <a:avLst/>
              <a:gdLst>
                <a:gd name="connsiteX0" fmla="*/ 0 w 704849"/>
                <a:gd name="connsiteY0" fmla="*/ 118270 h 118270"/>
                <a:gd name="connsiteX1" fmla="*/ 87075 w 704849"/>
                <a:gd name="connsiteY1" fmla="*/ 0 h 118270"/>
                <a:gd name="connsiteX2" fmla="*/ 704849 w 704849"/>
                <a:gd name="connsiteY2" fmla="*/ 0 h 118270"/>
                <a:gd name="connsiteX3" fmla="*/ 617774 w 704849"/>
                <a:gd name="connsiteY3" fmla="*/ 118270 h 118270"/>
                <a:gd name="connsiteX4" fmla="*/ 0 w 704849"/>
                <a:gd name="connsiteY4" fmla="*/ 118270 h 118270"/>
                <a:gd name="connsiteX0" fmla="*/ 0 w 704849"/>
                <a:gd name="connsiteY0" fmla="*/ 118271 h 118271"/>
                <a:gd name="connsiteX1" fmla="*/ 141050 w 704849"/>
                <a:gd name="connsiteY1" fmla="*/ 0 h 118271"/>
                <a:gd name="connsiteX2" fmla="*/ 704849 w 704849"/>
                <a:gd name="connsiteY2" fmla="*/ 1 h 118271"/>
                <a:gd name="connsiteX3" fmla="*/ 617774 w 704849"/>
                <a:gd name="connsiteY3" fmla="*/ 118271 h 118271"/>
                <a:gd name="connsiteX4" fmla="*/ 0 w 704849"/>
                <a:gd name="connsiteY4" fmla="*/ 118271 h 118271"/>
                <a:gd name="connsiteX0" fmla="*/ 0 w 717549"/>
                <a:gd name="connsiteY0" fmla="*/ 118271 h 118271"/>
                <a:gd name="connsiteX1" fmla="*/ 153750 w 717549"/>
                <a:gd name="connsiteY1" fmla="*/ 0 h 118271"/>
                <a:gd name="connsiteX2" fmla="*/ 717549 w 717549"/>
                <a:gd name="connsiteY2" fmla="*/ 1 h 118271"/>
                <a:gd name="connsiteX3" fmla="*/ 630474 w 717549"/>
                <a:gd name="connsiteY3" fmla="*/ 118271 h 118271"/>
                <a:gd name="connsiteX4" fmla="*/ 0 w 717549"/>
                <a:gd name="connsiteY4" fmla="*/ 118271 h 118271"/>
                <a:gd name="connsiteX0" fmla="*/ 0 w 717549"/>
                <a:gd name="connsiteY0" fmla="*/ 118271 h 118271"/>
                <a:gd name="connsiteX1" fmla="*/ 402037 w 717549"/>
                <a:gd name="connsiteY1" fmla="*/ 0 h 118271"/>
                <a:gd name="connsiteX2" fmla="*/ 717549 w 717549"/>
                <a:gd name="connsiteY2" fmla="*/ 1 h 118271"/>
                <a:gd name="connsiteX3" fmla="*/ 630474 w 717549"/>
                <a:gd name="connsiteY3" fmla="*/ 118271 h 118271"/>
                <a:gd name="connsiteX4" fmla="*/ 0 w 717549"/>
                <a:gd name="connsiteY4" fmla="*/ 118271 h 1182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17549" h="118271">
                  <a:moveTo>
                    <a:pt x="0" y="118271"/>
                  </a:moveTo>
                  <a:lnTo>
                    <a:pt x="402037" y="0"/>
                  </a:lnTo>
                  <a:lnTo>
                    <a:pt x="717549" y="1"/>
                  </a:lnTo>
                  <a:lnTo>
                    <a:pt x="630474" y="118271"/>
                  </a:lnTo>
                  <a:lnTo>
                    <a:pt x="0" y="118271"/>
                  </a:lnTo>
                  <a:close/>
                </a:path>
              </a:pathLst>
            </a:custGeom>
            <a:solidFill>
              <a:srgbClr val="25232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Light"/>
                <a:ea typeface="+mn-ea"/>
                <a:cs typeface="+mn-cs"/>
              </a:endParaRPr>
            </a:p>
          </p:txBody>
        </p:sp>
        <p:sp>
          <p:nvSpPr>
            <p:cNvPr id="94" name="Rectangle 93"/>
            <p:cNvSpPr/>
            <p:nvPr/>
          </p:nvSpPr>
          <p:spPr>
            <a:xfrm>
              <a:off x="3423542" y="1375277"/>
              <a:ext cx="1710734" cy="646617"/>
            </a:xfrm>
            <a:prstGeom prst="rect">
              <a:avLst/>
            </a:prstGeom>
            <a:solidFill>
              <a:srgbClr val="AFABAB"/>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Light"/>
                <a:ea typeface="+mn-ea"/>
                <a:cs typeface="+mn-cs"/>
              </a:endParaRPr>
            </a:p>
          </p:txBody>
        </p:sp>
        <p:sp>
          <p:nvSpPr>
            <p:cNvPr id="95" name="Parallelogram 91"/>
            <p:cNvSpPr/>
            <p:nvPr/>
          </p:nvSpPr>
          <p:spPr>
            <a:xfrm rot="5400000">
              <a:off x="4717866" y="2858196"/>
              <a:ext cx="972234" cy="133816"/>
            </a:xfrm>
            <a:custGeom>
              <a:avLst/>
              <a:gdLst>
                <a:gd name="connsiteX0" fmla="*/ 0 w 761593"/>
                <a:gd name="connsiteY0" fmla="*/ 118270 h 118270"/>
                <a:gd name="connsiteX1" fmla="*/ 87075 w 761593"/>
                <a:gd name="connsiteY1" fmla="*/ 0 h 118270"/>
                <a:gd name="connsiteX2" fmla="*/ 761593 w 761593"/>
                <a:gd name="connsiteY2" fmla="*/ 0 h 118270"/>
                <a:gd name="connsiteX3" fmla="*/ 674518 w 761593"/>
                <a:gd name="connsiteY3" fmla="*/ 118270 h 118270"/>
                <a:gd name="connsiteX4" fmla="*/ 0 w 761593"/>
                <a:gd name="connsiteY4" fmla="*/ 118270 h 118270"/>
                <a:gd name="connsiteX0" fmla="*/ 0 w 852083"/>
                <a:gd name="connsiteY0" fmla="*/ 118270 h 118270"/>
                <a:gd name="connsiteX1" fmla="*/ 87075 w 852083"/>
                <a:gd name="connsiteY1" fmla="*/ 0 h 118270"/>
                <a:gd name="connsiteX2" fmla="*/ 852083 w 852083"/>
                <a:gd name="connsiteY2" fmla="*/ 2381 h 118270"/>
                <a:gd name="connsiteX3" fmla="*/ 674518 w 852083"/>
                <a:gd name="connsiteY3" fmla="*/ 118270 h 118270"/>
                <a:gd name="connsiteX4" fmla="*/ 0 w 852083"/>
                <a:gd name="connsiteY4" fmla="*/ 118270 h 118270"/>
                <a:gd name="connsiteX0" fmla="*/ 0 w 852083"/>
                <a:gd name="connsiteY0" fmla="*/ 118271 h 118271"/>
                <a:gd name="connsiteX1" fmla="*/ 260909 w 852083"/>
                <a:gd name="connsiteY1" fmla="*/ 0 h 118271"/>
                <a:gd name="connsiteX2" fmla="*/ 852083 w 852083"/>
                <a:gd name="connsiteY2" fmla="*/ 2382 h 118271"/>
                <a:gd name="connsiteX3" fmla="*/ 674518 w 852083"/>
                <a:gd name="connsiteY3" fmla="*/ 118271 h 118271"/>
                <a:gd name="connsiteX4" fmla="*/ 0 w 852083"/>
                <a:gd name="connsiteY4" fmla="*/ 118271 h 1182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2083" h="118271">
                  <a:moveTo>
                    <a:pt x="0" y="118271"/>
                  </a:moveTo>
                  <a:lnTo>
                    <a:pt x="260909" y="0"/>
                  </a:lnTo>
                  <a:lnTo>
                    <a:pt x="852083" y="2382"/>
                  </a:lnTo>
                  <a:lnTo>
                    <a:pt x="674518" y="118271"/>
                  </a:lnTo>
                  <a:lnTo>
                    <a:pt x="0" y="118271"/>
                  </a:lnTo>
                  <a:close/>
                </a:path>
              </a:pathLst>
            </a:custGeom>
            <a:solidFill>
              <a:srgbClr val="D63E2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Light"/>
                <a:ea typeface="+mn-ea"/>
                <a:cs typeface="+mn-cs"/>
              </a:endParaRPr>
            </a:p>
          </p:txBody>
        </p:sp>
        <p:sp>
          <p:nvSpPr>
            <p:cNvPr id="96" name="Parallelogram 89"/>
            <p:cNvSpPr/>
            <p:nvPr/>
          </p:nvSpPr>
          <p:spPr>
            <a:xfrm rot="5400000">
              <a:off x="4876177" y="3455668"/>
              <a:ext cx="658307" cy="136509"/>
            </a:xfrm>
            <a:custGeom>
              <a:avLst/>
              <a:gdLst>
                <a:gd name="connsiteX0" fmla="*/ 0 w 588976"/>
                <a:gd name="connsiteY0" fmla="*/ 118270 h 118270"/>
                <a:gd name="connsiteX1" fmla="*/ 87075 w 588976"/>
                <a:gd name="connsiteY1" fmla="*/ 0 h 118270"/>
                <a:gd name="connsiteX2" fmla="*/ 588976 w 588976"/>
                <a:gd name="connsiteY2" fmla="*/ 0 h 118270"/>
                <a:gd name="connsiteX3" fmla="*/ 501901 w 588976"/>
                <a:gd name="connsiteY3" fmla="*/ 118270 h 118270"/>
                <a:gd name="connsiteX4" fmla="*/ 0 w 588976"/>
                <a:gd name="connsiteY4" fmla="*/ 118270 h 118270"/>
                <a:gd name="connsiteX0" fmla="*/ 0 w 588976"/>
                <a:gd name="connsiteY0" fmla="*/ 120651 h 120651"/>
                <a:gd name="connsiteX1" fmla="*/ 201375 w 588976"/>
                <a:gd name="connsiteY1" fmla="*/ 0 h 120651"/>
                <a:gd name="connsiteX2" fmla="*/ 588976 w 588976"/>
                <a:gd name="connsiteY2" fmla="*/ 2381 h 120651"/>
                <a:gd name="connsiteX3" fmla="*/ 501901 w 588976"/>
                <a:gd name="connsiteY3" fmla="*/ 120651 h 120651"/>
                <a:gd name="connsiteX4" fmla="*/ 0 w 588976"/>
                <a:gd name="connsiteY4" fmla="*/ 120651 h 120651"/>
                <a:gd name="connsiteX0" fmla="*/ 0 w 581832"/>
                <a:gd name="connsiteY0" fmla="*/ 120651 h 120651"/>
                <a:gd name="connsiteX1" fmla="*/ 194231 w 581832"/>
                <a:gd name="connsiteY1" fmla="*/ 0 h 120651"/>
                <a:gd name="connsiteX2" fmla="*/ 581832 w 581832"/>
                <a:gd name="connsiteY2" fmla="*/ 2381 h 120651"/>
                <a:gd name="connsiteX3" fmla="*/ 494757 w 581832"/>
                <a:gd name="connsiteY3" fmla="*/ 120651 h 120651"/>
                <a:gd name="connsiteX4" fmla="*/ 0 w 581832"/>
                <a:gd name="connsiteY4" fmla="*/ 120651 h 1206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1832" h="120651">
                  <a:moveTo>
                    <a:pt x="0" y="120651"/>
                  </a:moveTo>
                  <a:lnTo>
                    <a:pt x="194231" y="0"/>
                  </a:lnTo>
                  <a:lnTo>
                    <a:pt x="581832" y="2381"/>
                  </a:lnTo>
                  <a:lnTo>
                    <a:pt x="494757" y="120651"/>
                  </a:lnTo>
                  <a:lnTo>
                    <a:pt x="0" y="120651"/>
                  </a:lnTo>
                  <a:close/>
                </a:path>
              </a:pathLst>
            </a:custGeom>
            <a:solidFill>
              <a:srgbClr val="76717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6A5D79">
                    <a:lumMod val="75000"/>
                  </a:srgbClr>
                </a:solidFill>
                <a:effectLst/>
                <a:uLnTx/>
                <a:uFillTx/>
                <a:latin typeface="Calibri Light"/>
                <a:ea typeface="+mn-ea"/>
                <a:cs typeface="+mn-cs"/>
              </a:endParaRPr>
            </a:p>
          </p:txBody>
        </p:sp>
        <p:sp>
          <p:nvSpPr>
            <p:cNvPr id="97" name="Parallelogram 82"/>
            <p:cNvSpPr/>
            <p:nvPr/>
          </p:nvSpPr>
          <p:spPr>
            <a:xfrm rot="16200000" flipV="1">
              <a:off x="4840039" y="5445144"/>
              <a:ext cx="728790" cy="133815"/>
            </a:xfrm>
            <a:custGeom>
              <a:avLst/>
              <a:gdLst>
                <a:gd name="connsiteX0" fmla="*/ 0 w 704849"/>
                <a:gd name="connsiteY0" fmla="*/ 118270 h 118270"/>
                <a:gd name="connsiteX1" fmla="*/ 87075 w 704849"/>
                <a:gd name="connsiteY1" fmla="*/ 0 h 118270"/>
                <a:gd name="connsiteX2" fmla="*/ 704849 w 704849"/>
                <a:gd name="connsiteY2" fmla="*/ 0 h 118270"/>
                <a:gd name="connsiteX3" fmla="*/ 617774 w 704849"/>
                <a:gd name="connsiteY3" fmla="*/ 118270 h 118270"/>
                <a:gd name="connsiteX4" fmla="*/ 0 w 704849"/>
                <a:gd name="connsiteY4" fmla="*/ 118270 h 118270"/>
                <a:gd name="connsiteX0" fmla="*/ 0 w 704849"/>
                <a:gd name="connsiteY0" fmla="*/ 118271 h 118271"/>
                <a:gd name="connsiteX1" fmla="*/ 141050 w 704849"/>
                <a:gd name="connsiteY1" fmla="*/ 0 h 118271"/>
                <a:gd name="connsiteX2" fmla="*/ 704849 w 704849"/>
                <a:gd name="connsiteY2" fmla="*/ 1 h 118271"/>
                <a:gd name="connsiteX3" fmla="*/ 617774 w 704849"/>
                <a:gd name="connsiteY3" fmla="*/ 118271 h 118271"/>
                <a:gd name="connsiteX4" fmla="*/ 0 w 704849"/>
                <a:gd name="connsiteY4" fmla="*/ 118271 h 118271"/>
                <a:gd name="connsiteX0" fmla="*/ 0 w 766762"/>
                <a:gd name="connsiteY0" fmla="*/ 118271 h 118271"/>
                <a:gd name="connsiteX1" fmla="*/ 141050 w 766762"/>
                <a:gd name="connsiteY1" fmla="*/ 0 h 118271"/>
                <a:gd name="connsiteX2" fmla="*/ 766762 w 766762"/>
                <a:gd name="connsiteY2" fmla="*/ 1 h 118271"/>
                <a:gd name="connsiteX3" fmla="*/ 617774 w 766762"/>
                <a:gd name="connsiteY3" fmla="*/ 118271 h 118271"/>
                <a:gd name="connsiteX4" fmla="*/ 0 w 766762"/>
                <a:gd name="connsiteY4" fmla="*/ 118271 h 118271"/>
                <a:gd name="connsiteX0" fmla="*/ 0 w 766762"/>
                <a:gd name="connsiteY0" fmla="*/ 118271 h 118271"/>
                <a:gd name="connsiteX1" fmla="*/ 376324 w 766762"/>
                <a:gd name="connsiteY1" fmla="*/ 0 h 118271"/>
                <a:gd name="connsiteX2" fmla="*/ 766762 w 766762"/>
                <a:gd name="connsiteY2" fmla="*/ 1 h 118271"/>
                <a:gd name="connsiteX3" fmla="*/ 617774 w 766762"/>
                <a:gd name="connsiteY3" fmla="*/ 118271 h 118271"/>
                <a:gd name="connsiteX4" fmla="*/ 0 w 766762"/>
                <a:gd name="connsiteY4" fmla="*/ 118271 h 118271"/>
                <a:gd name="connsiteX0" fmla="*/ 0 w 766762"/>
                <a:gd name="connsiteY0" fmla="*/ 118270 h 118270"/>
                <a:gd name="connsiteX1" fmla="*/ 347978 w 766762"/>
                <a:gd name="connsiteY1" fmla="*/ 2380 h 118270"/>
                <a:gd name="connsiteX2" fmla="*/ 766762 w 766762"/>
                <a:gd name="connsiteY2" fmla="*/ 0 h 118270"/>
                <a:gd name="connsiteX3" fmla="*/ 617774 w 766762"/>
                <a:gd name="connsiteY3" fmla="*/ 118270 h 118270"/>
                <a:gd name="connsiteX4" fmla="*/ 0 w 766762"/>
                <a:gd name="connsiteY4" fmla="*/ 118270 h 1182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6762" h="118270">
                  <a:moveTo>
                    <a:pt x="0" y="118270"/>
                  </a:moveTo>
                  <a:lnTo>
                    <a:pt x="347978" y="2380"/>
                  </a:lnTo>
                  <a:lnTo>
                    <a:pt x="766762" y="0"/>
                  </a:lnTo>
                  <a:lnTo>
                    <a:pt x="617774" y="118270"/>
                  </a:lnTo>
                  <a:lnTo>
                    <a:pt x="0" y="118270"/>
                  </a:lnTo>
                  <a:close/>
                </a:path>
              </a:pathLst>
            </a:custGeom>
            <a:solidFill>
              <a:srgbClr val="D63E2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Light"/>
                <a:ea typeface="+mn-ea"/>
                <a:cs typeface="+mn-cs"/>
              </a:endParaRPr>
            </a:p>
          </p:txBody>
        </p:sp>
        <p:sp>
          <p:nvSpPr>
            <p:cNvPr id="98" name="Parallelogram 82"/>
            <p:cNvSpPr/>
            <p:nvPr/>
          </p:nvSpPr>
          <p:spPr>
            <a:xfrm rot="16200000" flipV="1">
              <a:off x="4798504" y="4849493"/>
              <a:ext cx="811862" cy="133816"/>
            </a:xfrm>
            <a:custGeom>
              <a:avLst/>
              <a:gdLst>
                <a:gd name="connsiteX0" fmla="*/ 0 w 704849"/>
                <a:gd name="connsiteY0" fmla="*/ 118270 h 118270"/>
                <a:gd name="connsiteX1" fmla="*/ 87075 w 704849"/>
                <a:gd name="connsiteY1" fmla="*/ 0 h 118270"/>
                <a:gd name="connsiteX2" fmla="*/ 704849 w 704849"/>
                <a:gd name="connsiteY2" fmla="*/ 0 h 118270"/>
                <a:gd name="connsiteX3" fmla="*/ 617774 w 704849"/>
                <a:gd name="connsiteY3" fmla="*/ 118270 h 118270"/>
                <a:gd name="connsiteX4" fmla="*/ 0 w 704849"/>
                <a:gd name="connsiteY4" fmla="*/ 118270 h 118270"/>
                <a:gd name="connsiteX0" fmla="*/ 0 w 704849"/>
                <a:gd name="connsiteY0" fmla="*/ 118271 h 118271"/>
                <a:gd name="connsiteX1" fmla="*/ 141050 w 704849"/>
                <a:gd name="connsiteY1" fmla="*/ 0 h 118271"/>
                <a:gd name="connsiteX2" fmla="*/ 704849 w 704849"/>
                <a:gd name="connsiteY2" fmla="*/ 1 h 118271"/>
                <a:gd name="connsiteX3" fmla="*/ 617774 w 704849"/>
                <a:gd name="connsiteY3" fmla="*/ 118271 h 118271"/>
                <a:gd name="connsiteX4" fmla="*/ 0 w 704849"/>
                <a:gd name="connsiteY4" fmla="*/ 118271 h 118271"/>
                <a:gd name="connsiteX0" fmla="*/ 0 w 717549"/>
                <a:gd name="connsiteY0" fmla="*/ 118271 h 118271"/>
                <a:gd name="connsiteX1" fmla="*/ 153750 w 717549"/>
                <a:gd name="connsiteY1" fmla="*/ 0 h 118271"/>
                <a:gd name="connsiteX2" fmla="*/ 717549 w 717549"/>
                <a:gd name="connsiteY2" fmla="*/ 1 h 118271"/>
                <a:gd name="connsiteX3" fmla="*/ 630474 w 717549"/>
                <a:gd name="connsiteY3" fmla="*/ 118271 h 118271"/>
                <a:gd name="connsiteX4" fmla="*/ 0 w 717549"/>
                <a:gd name="connsiteY4" fmla="*/ 118271 h 1182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17549" h="118271">
                  <a:moveTo>
                    <a:pt x="0" y="118271"/>
                  </a:moveTo>
                  <a:lnTo>
                    <a:pt x="153750" y="0"/>
                  </a:lnTo>
                  <a:lnTo>
                    <a:pt x="717549" y="1"/>
                  </a:lnTo>
                  <a:lnTo>
                    <a:pt x="630474" y="118271"/>
                  </a:lnTo>
                  <a:lnTo>
                    <a:pt x="0" y="118271"/>
                  </a:lnTo>
                  <a:close/>
                </a:path>
              </a:pathLst>
            </a:custGeom>
            <a:solidFill>
              <a:srgbClr val="25232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Light"/>
                <a:ea typeface="+mn-ea"/>
                <a:cs typeface="+mn-cs"/>
              </a:endParaRPr>
            </a:p>
          </p:txBody>
        </p:sp>
        <p:sp>
          <p:nvSpPr>
            <p:cNvPr id="99" name="Rectangle 98"/>
            <p:cNvSpPr/>
            <p:nvPr/>
          </p:nvSpPr>
          <p:spPr>
            <a:xfrm>
              <a:off x="1610519" y="1375277"/>
              <a:ext cx="1710734" cy="646617"/>
            </a:xfrm>
            <a:prstGeom prst="rect">
              <a:avLst/>
            </a:prstGeom>
            <a:solidFill>
              <a:srgbClr val="E2583D"/>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Light"/>
                <a:ea typeface="+mn-ea"/>
                <a:cs typeface="+mn-cs"/>
              </a:endParaRPr>
            </a:p>
          </p:txBody>
        </p:sp>
        <p:sp>
          <p:nvSpPr>
            <p:cNvPr id="100" name="Rectangle 99"/>
            <p:cNvSpPr/>
            <p:nvPr/>
          </p:nvSpPr>
          <p:spPr>
            <a:xfrm>
              <a:off x="1610519" y="2342070"/>
              <a:ext cx="1701860" cy="765163"/>
            </a:xfrm>
            <a:prstGeom prst="rect">
              <a:avLst/>
            </a:prstGeom>
            <a:solidFill>
              <a:srgbClr val="E258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Light"/>
                <a:ea typeface="+mn-ea"/>
                <a:cs typeface="+mn-cs"/>
              </a:endParaRPr>
            </a:p>
          </p:txBody>
        </p:sp>
        <p:sp>
          <p:nvSpPr>
            <p:cNvPr id="101" name="Rectangle 100"/>
            <p:cNvSpPr/>
            <p:nvPr/>
          </p:nvSpPr>
          <p:spPr>
            <a:xfrm>
              <a:off x="1610519" y="3107233"/>
              <a:ext cx="1701860" cy="535255"/>
            </a:xfrm>
            <a:prstGeom prst="rect">
              <a:avLst/>
            </a:prstGeom>
            <a:solidFill>
              <a:srgbClr val="AFABA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Light"/>
                <a:ea typeface="+mn-ea"/>
                <a:cs typeface="+mn-cs"/>
              </a:endParaRPr>
            </a:p>
          </p:txBody>
        </p:sp>
        <p:sp>
          <p:nvSpPr>
            <p:cNvPr id="102" name="Rectangle 101"/>
            <p:cNvSpPr/>
            <p:nvPr/>
          </p:nvSpPr>
          <p:spPr>
            <a:xfrm>
              <a:off x="1610519" y="3642488"/>
              <a:ext cx="1701860" cy="1070510"/>
            </a:xfrm>
            <a:prstGeom prst="rect">
              <a:avLst/>
            </a:prstGeom>
            <a:solidFill>
              <a:srgbClr val="78D2D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Light"/>
                <a:ea typeface="+mn-ea"/>
                <a:cs typeface="+mn-cs"/>
              </a:endParaRPr>
            </a:p>
          </p:txBody>
        </p:sp>
        <p:sp>
          <p:nvSpPr>
            <p:cNvPr id="106" name="Rectangle 105"/>
            <p:cNvSpPr/>
            <p:nvPr/>
          </p:nvSpPr>
          <p:spPr>
            <a:xfrm>
              <a:off x="1610519" y="4712998"/>
              <a:ext cx="1701860" cy="700501"/>
            </a:xfrm>
            <a:prstGeom prst="rect">
              <a:avLst/>
            </a:prstGeom>
            <a:solidFill>
              <a:srgbClr val="3B393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Light"/>
                <a:ea typeface="+mn-ea"/>
                <a:cs typeface="+mn-cs"/>
              </a:endParaRPr>
            </a:p>
          </p:txBody>
        </p:sp>
        <p:sp>
          <p:nvSpPr>
            <p:cNvPr id="118" name="Rectangle 117"/>
            <p:cNvSpPr/>
            <p:nvPr/>
          </p:nvSpPr>
          <p:spPr>
            <a:xfrm>
              <a:off x="1610519" y="5413501"/>
              <a:ext cx="1701860" cy="560401"/>
            </a:xfrm>
            <a:prstGeom prst="rect">
              <a:avLst/>
            </a:prstGeom>
            <a:solidFill>
              <a:srgbClr val="E258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Light"/>
                <a:ea typeface="+mn-ea"/>
                <a:cs typeface="+mn-cs"/>
              </a:endParaRPr>
            </a:p>
          </p:txBody>
        </p:sp>
        <p:sp>
          <p:nvSpPr>
            <p:cNvPr id="119" name="Rectangle 118"/>
            <p:cNvSpPr/>
            <p:nvPr/>
          </p:nvSpPr>
          <p:spPr>
            <a:xfrm>
              <a:off x="3438754" y="2437445"/>
              <a:ext cx="1701860" cy="760937"/>
            </a:xfrm>
            <a:prstGeom prst="rect">
              <a:avLst/>
            </a:prstGeom>
            <a:solidFill>
              <a:srgbClr val="E258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Light"/>
                <a:ea typeface="+mn-ea"/>
                <a:cs typeface="+mn-cs"/>
              </a:endParaRPr>
            </a:p>
          </p:txBody>
        </p:sp>
        <p:sp>
          <p:nvSpPr>
            <p:cNvPr id="121" name="Rectangle 120"/>
            <p:cNvSpPr/>
            <p:nvPr/>
          </p:nvSpPr>
          <p:spPr>
            <a:xfrm>
              <a:off x="3438754" y="3198530"/>
              <a:ext cx="1701860" cy="538696"/>
            </a:xfrm>
            <a:prstGeom prst="rect">
              <a:avLst/>
            </a:prstGeom>
            <a:solidFill>
              <a:srgbClr val="AFABA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Light"/>
                <a:ea typeface="+mn-ea"/>
                <a:cs typeface="+mn-cs"/>
              </a:endParaRPr>
            </a:p>
          </p:txBody>
        </p:sp>
        <p:sp>
          <p:nvSpPr>
            <p:cNvPr id="122" name="Parallelogram 121"/>
            <p:cNvSpPr/>
            <p:nvPr/>
          </p:nvSpPr>
          <p:spPr>
            <a:xfrm rot="16200000" flipV="1">
              <a:off x="3044522" y="5568636"/>
              <a:ext cx="655161" cy="133815"/>
            </a:xfrm>
            <a:prstGeom prst="parallelogram">
              <a:avLst>
                <a:gd name="adj" fmla="val 73624"/>
              </a:avLst>
            </a:prstGeom>
            <a:solidFill>
              <a:srgbClr val="D63E2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Light"/>
                <a:ea typeface="+mn-ea"/>
                <a:cs typeface="+mn-cs"/>
              </a:endParaRPr>
            </a:p>
          </p:txBody>
        </p:sp>
        <p:sp>
          <p:nvSpPr>
            <p:cNvPr id="123" name="Parallelogram 122"/>
            <p:cNvSpPr/>
            <p:nvPr/>
          </p:nvSpPr>
          <p:spPr>
            <a:xfrm rot="16200000" flipV="1">
              <a:off x="2972912" y="4950522"/>
              <a:ext cx="798380" cy="133815"/>
            </a:xfrm>
            <a:prstGeom prst="parallelogram">
              <a:avLst>
                <a:gd name="adj" fmla="val 73624"/>
              </a:avLst>
            </a:prstGeom>
            <a:solidFill>
              <a:srgbClr val="25232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Light"/>
                <a:ea typeface="+mn-ea"/>
                <a:cs typeface="+mn-cs"/>
              </a:endParaRPr>
            </a:p>
          </p:txBody>
        </p:sp>
        <p:sp>
          <p:nvSpPr>
            <p:cNvPr id="124" name="Trapezoid 123"/>
            <p:cNvSpPr/>
            <p:nvPr/>
          </p:nvSpPr>
          <p:spPr>
            <a:xfrm rot="5400000">
              <a:off x="2817985" y="4103197"/>
              <a:ext cx="1107334" cy="132915"/>
            </a:xfrm>
            <a:prstGeom prst="trapezoid">
              <a:avLst>
                <a:gd name="adj" fmla="val 76613"/>
              </a:avLst>
            </a:prstGeom>
            <a:solidFill>
              <a:srgbClr val="4CC7C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Light"/>
                <a:ea typeface="+mn-ea"/>
                <a:cs typeface="+mn-cs"/>
              </a:endParaRPr>
            </a:p>
          </p:txBody>
        </p:sp>
        <p:sp>
          <p:nvSpPr>
            <p:cNvPr id="125" name="Trapezoid 124"/>
            <p:cNvSpPr/>
            <p:nvPr/>
          </p:nvSpPr>
          <p:spPr>
            <a:xfrm rot="5400000">
              <a:off x="4759703" y="4113207"/>
              <a:ext cx="888561" cy="132915"/>
            </a:xfrm>
            <a:prstGeom prst="trapezoid">
              <a:avLst>
                <a:gd name="adj" fmla="val 76613"/>
              </a:avLst>
            </a:prstGeom>
            <a:solidFill>
              <a:srgbClr val="4CC7C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Light"/>
                <a:ea typeface="+mn-ea"/>
                <a:cs typeface="+mn-cs"/>
              </a:endParaRPr>
            </a:p>
          </p:txBody>
        </p:sp>
        <p:sp>
          <p:nvSpPr>
            <p:cNvPr id="126" name="Rectangle 125"/>
            <p:cNvSpPr/>
            <p:nvPr/>
          </p:nvSpPr>
          <p:spPr>
            <a:xfrm>
              <a:off x="5243749" y="3812158"/>
              <a:ext cx="1701860" cy="731172"/>
            </a:xfrm>
            <a:prstGeom prst="rect">
              <a:avLst/>
            </a:prstGeom>
            <a:solidFill>
              <a:srgbClr val="78D2D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Light"/>
                <a:ea typeface="+mn-ea"/>
                <a:cs typeface="+mn-cs"/>
              </a:endParaRPr>
            </a:p>
          </p:txBody>
        </p:sp>
        <p:sp>
          <p:nvSpPr>
            <p:cNvPr id="127" name="Parallelogram 126"/>
            <p:cNvSpPr/>
            <p:nvPr/>
          </p:nvSpPr>
          <p:spPr>
            <a:xfrm rot="5400000">
              <a:off x="3048794" y="3347009"/>
              <a:ext cx="646617" cy="133815"/>
            </a:xfrm>
            <a:prstGeom prst="parallelogram">
              <a:avLst>
                <a:gd name="adj" fmla="val 73624"/>
              </a:avLst>
            </a:prstGeom>
            <a:solidFill>
              <a:srgbClr val="76717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6A5D79">
                    <a:lumMod val="75000"/>
                  </a:srgbClr>
                </a:solidFill>
                <a:effectLst/>
                <a:uLnTx/>
                <a:uFillTx/>
                <a:latin typeface="Calibri Light"/>
                <a:ea typeface="+mn-ea"/>
                <a:cs typeface="+mn-cs"/>
              </a:endParaRPr>
            </a:p>
          </p:txBody>
        </p:sp>
        <p:sp>
          <p:nvSpPr>
            <p:cNvPr id="128" name="Parallelogram 127"/>
            <p:cNvSpPr/>
            <p:nvPr/>
          </p:nvSpPr>
          <p:spPr>
            <a:xfrm rot="5400000">
              <a:off x="2941254" y="2706014"/>
              <a:ext cx="861695" cy="133815"/>
            </a:xfrm>
            <a:prstGeom prst="parallelogram">
              <a:avLst>
                <a:gd name="adj" fmla="val 73624"/>
              </a:avLst>
            </a:prstGeom>
            <a:solidFill>
              <a:srgbClr val="D63E2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Light"/>
                <a:ea typeface="+mn-ea"/>
                <a:cs typeface="+mn-cs"/>
              </a:endParaRPr>
            </a:p>
          </p:txBody>
        </p:sp>
        <p:sp>
          <p:nvSpPr>
            <p:cNvPr id="129" name="Rectangle 128"/>
            <p:cNvSpPr/>
            <p:nvPr/>
          </p:nvSpPr>
          <p:spPr>
            <a:xfrm>
              <a:off x="5243749" y="4543330"/>
              <a:ext cx="1701860" cy="636820"/>
            </a:xfrm>
            <a:prstGeom prst="rect">
              <a:avLst/>
            </a:prstGeom>
            <a:solidFill>
              <a:srgbClr val="3B393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Light"/>
                <a:ea typeface="+mn-ea"/>
                <a:cs typeface="+mn-cs"/>
              </a:endParaRPr>
            </a:p>
          </p:txBody>
        </p:sp>
        <p:sp>
          <p:nvSpPr>
            <p:cNvPr id="130" name="Rectangle 129"/>
            <p:cNvSpPr/>
            <p:nvPr/>
          </p:nvSpPr>
          <p:spPr>
            <a:xfrm>
              <a:off x="5243749" y="5180964"/>
              <a:ext cx="1701860" cy="421037"/>
            </a:xfrm>
            <a:prstGeom prst="rect">
              <a:avLst/>
            </a:prstGeom>
            <a:solidFill>
              <a:srgbClr val="E258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Light"/>
                <a:ea typeface="+mn-ea"/>
                <a:cs typeface="+mn-cs"/>
              </a:endParaRPr>
            </a:p>
          </p:txBody>
        </p:sp>
        <p:sp>
          <p:nvSpPr>
            <p:cNvPr id="131" name="Rectangle 130"/>
            <p:cNvSpPr/>
            <p:nvPr/>
          </p:nvSpPr>
          <p:spPr>
            <a:xfrm>
              <a:off x="3438754" y="4616888"/>
              <a:ext cx="1701860" cy="700501"/>
            </a:xfrm>
            <a:prstGeom prst="rect">
              <a:avLst/>
            </a:prstGeom>
            <a:solidFill>
              <a:srgbClr val="3B393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Light"/>
                <a:ea typeface="+mn-ea"/>
                <a:cs typeface="+mn-cs"/>
              </a:endParaRPr>
            </a:p>
          </p:txBody>
        </p:sp>
        <p:sp>
          <p:nvSpPr>
            <p:cNvPr id="132" name="Rectangle 131"/>
            <p:cNvSpPr/>
            <p:nvPr/>
          </p:nvSpPr>
          <p:spPr>
            <a:xfrm>
              <a:off x="3438754" y="3735384"/>
              <a:ext cx="1701860" cy="884719"/>
            </a:xfrm>
            <a:prstGeom prst="rect">
              <a:avLst/>
            </a:prstGeom>
            <a:solidFill>
              <a:srgbClr val="78D2D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Light"/>
                <a:ea typeface="+mn-ea"/>
                <a:cs typeface="+mn-cs"/>
              </a:endParaRPr>
            </a:p>
          </p:txBody>
        </p:sp>
        <p:sp>
          <p:nvSpPr>
            <p:cNvPr id="133" name="Rectangle 132"/>
            <p:cNvSpPr/>
            <p:nvPr/>
          </p:nvSpPr>
          <p:spPr>
            <a:xfrm>
              <a:off x="3438754" y="5316044"/>
              <a:ext cx="1701860" cy="560401"/>
            </a:xfrm>
            <a:prstGeom prst="rect">
              <a:avLst/>
            </a:prstGeom>
            <a:solidFill>
              <a:srgbClr val="E258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Light"/>
                <a:ea typeface="+mn-ea"/>
                <a:cs typeface="+mn-cs"/>
              </a:endParaRPr>
            </a:p>
          </p:txBody>
        </p:sp>
        <p:sp>
          <p:nvSpPr>
            <p:cNvPr id="134" name="Rectangle 133"/>
            <p:cNvSpPr/>
            <p:nvPr/>
          </p:nvSpPr>
          <p:spPr>
            <a:xfrm>
              <a:off x="5243749" y="3367783"/>
              <a:ext cx="1701860" cy="445204"/>
            </a:xfrm>
            <a:prstGeom prst="rect">
              <a:avLst/>
            </a:prstGeom>
            <a:solidFill>
              <a:srgbClr val="AFABA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Light"/>
                <a:ea typeface="+mn-ea"/>
                <a:cs typeface="+mn-cs"/>
              </a:endParaRPr>
            </a:p>
          </p:txBody>
        </p:sp>
        <p:sp>
          <p:nvSpPr>
            <p:cNvPr id="135" name="Rectangle 134"/>
            <p:cNvSpPr/>
            <p:nvPr/>
          </p:nvSpPr>
          <p:spPr>
            <a:xfrm>
              <a:off x="5243749" y="2675885"/>
              <a:ext cx="1701860" cy="691761"/>
            </a:xfrm>
            <a:prstGeom prst="rect">
              <a:avLst/>
            </a:prstGeom>
            <a:solidFill>
              <a:srgbClr val="E258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Light"/>
                <a:ea typeface="+mn-ea"/>
                <a:cs typeface="+mn-cs"/>
              </a:endParaRPr>
            </a:p>
          </p:txBody>
        </p:sp>
        <p:sp>
          <p:nvSpPr>
            <p:cNvPr id="136" name="Trapezoid 135"/>
            <p:cNvSpPr/>
            <p:nvPr/>
          </p:nvSpPr>
          <p:spPr>
            <a:xfrm rot="5400000">
              <a:off x="6645581" y="4111289"/>
              <a:ext cx="731175" cy="132915"/>
            </a:xfrm>
            <a:prstGeom prst="trapezoid">
              <a:avLst>
                <a:gd name="adj" fmla="val 127289"/>
              </a:avLst>
            </a:prstGeom>
            <a:solidFill>
              <a:srgbClr val="4CC7C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Light"/>
                <a:ea typeface="+mn-ea"/>
                <a:cs typeface="+mn-cs"/>
              </a:endParaRPr>
            </a:p>
          </p:txBody>
        </p:sp>
        <p:sp>
          <p:nvSpPr>
            <p:cNvPr id="137" name="Rectangle 136"/>
            <p:cNvSpPr/>
            <p:nvPr/>
          </p:nvSpPr>
          <p:spPr>
            <a:xfrm>
              <a:off x="7054024" y="3950743"/>
              <a:ext cx="1701860" cy="454001"/>
            </a:xfrm>
            <a:prstGeom prst="rect">
              <a:avLst/>
            </a:prstGeom>
            <a:solidFill>
              <a:srgbClr val="78D2D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Light"/>
                <a:ea typeface="+mn-ea"/>
                <a:cs typeface="+mn-cs"/>
              </a:endParaRPr>
            </a:p>
          </p:txBody>
        </p:sp>
        <p:sp>
          <p:nvSpPr>
            <p:cNvPr id="138" name="Rectangle 137"/>
            <p:cNvSpPr/>
            <p:nvPr/>
          </p:nvSpPr>
          <p:spPr>
            <a:xfrm>
              <a:off x="7054024" y="4404744"/>
              <a:ext cx="1701860" cy="395415"/>
            </a:xfrm>
            <a:prstGeom prst="rect">
              <a:avLst/>
            </a:prstGeom>
            <a:solidFill>
              <a:srgbClr val="3B393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Light"/>
                <a:ea typeface="+mn-ea"/>
                <a:cs typeface="+mn-cs"/>
              </a:endParaRPr>
            </a:p>
          </p:txBody>
        </p:sp>
        <p:sp>
          <p:nvSpPr>
            <p:cNvPr id="139" name="Rectangle 138"/>
            <p:cNvSpPr/>
            <p:nvPr/>
          </p:nvSpPr>
          <p:spPr>
            <a:xfrm>
              <a:off x="7054023" y="4800159"/>
              <a:ext cx="1701860" cy="261431"/>
            </a:xfrm>
            <a:prstGeom prst="rect">
              <a:avLst/>
            </a:prstGeom>
            <a:solidFill>
              <a:srgbClr val="E258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Light"/>
                <a:ea typeface="+mn-ea"/>
                <a:cs typeface="+mn-cs"/>
              </a:endParaRPr>
            </a:p>
          </p:txBody>
        </p:sp>
        <p:sp>
          <p:nvSpPr>
            <p:cNvPr id="140" name="Rectangle 139"/>
            <p:cNvSpPr/>
            <p:nvPr/>
          </p:nvSpPr>
          <p:spPr>
            <a:xfrm>
              <a:off x="7054024" y="3674811"/>
              <a:ext cx="1701860" cy="276437"/>
            </a:xfrm>
            <a:prstGeom prst="rect">
              <a:avLst/>
            </a:prstGeom>
            <a:solidFill>
              <a:srgbClr val="AFABA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Light"/>
                <a:ea typeface="+mn-ea"/>
                <a:cs typeface="+mn-cs"/>
              </a:endParaRPr>
            </a:p>
          </p:txBody>
        </p:sp>
        <p:sp>
          <p:nvSpPr>
            <p:cNvPr id="141" name="Rectangle 140"/>
            <p:cNvSpPr/>
            <p:nvPr/>
          </p:nvSpPr>
          <p:spPr>
            <a:xfrm>
              <a:off x="7054024" y="3244976"/>
              <a:ext cx="1701860" cy="429530"/>
            </a:xfrm>
            <a:prstGeom prst="rect">
              <a:avLst/>
            </a:prstGeom>
            <a:solidFill>
              <a:srgbClr val="E258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Light"/>
                <a:ea typeface="+mn-ea"/>
                <a:cs typeface="+mn-cs"/>
              </a:endParaRPr>
            </a:p>
          </p:txBody>
        </p:sp>
        <p:sp>
          <p:nvSpPr>
            <p:cNvPr id="142" name="Trapezoid 103"/>
            <p:cNvSpPr/>
            <p:nvPr/>
          </p:nvSpPr>
          <p:spPr>
            <a:xfrm rot="5400000">
              <a:off x="8594500" y="4111287"/>
              <a:ext cx="453998" cy="132915"/>
            </a:xfrm>
            <a:custGeom>
              <a:avLst/>
              <a:gdLst>
                <a:gd name="connsiteX0" fmla="*/ 0 w 401258"/>
                <a:gd name="connsiteY0" fmla="*/ 117474 h 117474"/>
                <a:gd name="connsiteX1" fmla="*/ 97144 w 401258"/>
                <a:gd name="connsiteY1" fmla="*/ 0 h 117474"/>
                <a:gd name="connsiteX2" fmla="*/ 304114 w 401258"/>
                <a:gd name="connsiteY2" fmla="*/ 0 h 117474"/>
                <a:gd name="connsiteX3" fmla="*/ 401258 w 401258"/>
                <a:gd name="connsiteY3" fmla="*/ 117474 h 117474"/>
                <a:gd name="connsiteX4" fmla="*/ 0 w 401258"/>
                <a:gd name="connsiteY4" fmla="*/ 117474 h 117474"/>
                <a:gd name="connsiteX0" fmla="*/ 0 w 401258"/>
                <a:gd name="connsiteY0" fmla="*/ 117474 h 117474"/>
                <a:gd name="connsiteX1" fmla="*/ 97144 w 401258"/>
                <a:gd name="connsiteY1" fmla="*/ 0 h 117474"/>
                <a:gd name="connsiteX2" fmla="*/ 304114 w 401258"/>
                <a:gd name="connsiteY2" fmla="*/ 2382 h 117474"/>
                <a:gd name="connsiteX3" fmla="*/ 401258 w 401258"/>
                <a:gd name="connsiteY3" fmla="*/ 117474 h 117474"/>
                <a:gd name="connsiteX4" fmla="*/ 0 w 401258"/>
                <a:gd name="connsiteY4" fmla="*/ 117474 h 1174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1258" h="117474">
                  <a:moveTo>
                    <a:pt x="0" y="117474"/>
                  </a:moveTo>
                  <a:lnTo>
                    <a:pt x="97144" y="0"/>
                  </a:lnTo>
                  <a:lnTo>
                    <a:pt x="304114" y="2382"/>
                  </a:lnTo>
                  <a:lnTo>
                    <a:pt x="401258" y="117474"/>
                  </a:lnTo>
                  <a:lnTo>
                    <a:pt x="0" y="117474"/>
                  </a:lnTo>
                  <a:close/>
                </a:path>
              </a:pathLst>
            </a:custGeom>
            <a:solidFill>
              <a:srgbClr val="4CC7C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Light"/>
                <a:ea typeface="+mn-ea"/>
                <a:cs typeface="+mn-cs"/>
              </a:endParaRPr>
            </a:p>
          </p:txBody>
        </p:sp>
        <p:sp>
          <p:nvSpPr>
            <p:cNvPr id="143" name="Rectangle 142"/>
            <p:cNvSpPr/>
            <p:nvPr/>
          </p:nvSpPr>
          <p:spPr>
            <a:xfrm>
              <a:off x="8879621" y="3943023"/>
              <a:ext cx="1701860" cy="141856"/>
            </a:xfrm>
            <a:prstGeom prst="rect">
              <a:avLst/>
            </a:prstGeom>
            <a:solidFill>
              <a:srgbClr val="AFABA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Light"/>
                <a:ea typeface="+mn-ea"/>
                <a:cs typeface="+mn-cs"/>
              </a:endParaRPr>
            </a:p>
          </p:txBody>
        </p:sp>
        <p:sp>
          <p:nvSpPr>
            <p:cNvPr id="144" name="Rectangle 143"/>
            <p:cNvSpPr/>
            <p:nvPr/>
          </p:nvSpPr>
          <p:spPr>
            <a:xfrm>
              <a:off x="8879621" y="4061257"/>
              <a:ext cx="1701860" cy="232974"/>
            </a:xfrm>
            <a:prstGeom prst="rect">
              <a:avLst/>
            </a:prstGeom>
            <a:solidFill>
              <a:srgbClr val="78D2D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Light"/>
                <a:ea typeface="+mn-ea"/>
                <a:cs typeface="+mn-cs"/>
              </a:endParaRPr>
            </a:p>
          </p:txBody>
        </p:sp>
        <p:sp>
          <p:nvSpPr>
            <p:cNvPr id="145" name="Rectangle 144"/>
            <p:cNvSpPr/>
            <p:nvPr/>
          </p:nvSpPr>
          <p:spPr>
            <a:xfrm>
              <a:off x="8879621" y="3726042"/>
              <a:ext cx="1701860" cy="220418"/>
            </a:xfrm>
            <a:prstGeom prst="rect">
              <a:avLst/>
            </a:prstGeom>
            <a:solidFill>
              <a:srgbClr val="E258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Light"/>
                <a:ea typeface="+mn-ea"/>
                <a:cs typeface="+mn-cs"/>
              </a:endParaRPr>
            </a:p>
          </p:txBody>
        </p:sp>
        <p:sp>
          <p:nvSpPr>
            <p:cNvPr id="146" name="Rectangle 145"/>
            <p:cNvSpPr/>
            <p:nvPr/>
          </p:nvSpPr>
          <p:spPr>
            <a:xfrm>
              <a:off x="8879621" y="4291376"/>
              <a:ext cx="1701860" cy="202910"/>
            </a:xfrm>
            <a:prstGeom prst="rect">
              <a:avLst/>
            </a:prstGeom>
            <a:solidFill>
              <a:srgbClr val="3B393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Light"/>
                <a:ea typeface="+mn-ea"/>
                <a:cs typeface="+mn-cs"/>
              </a:endParaRPr>
            </a:p>
          </p:txBody>
        </p:sp>
        <p:sp>
          <p:nvSpPr>
            <p:cNvPr id="147" name="Rectangle 146"/>
            <p:cNvSpPr/>
            <p:nvPr/>
          </p:nvSpPr>
          <p:spPr>
            <a:xfrm>
              <a:off x="8879621" y="4490846"/>
              <a:ext cx="1701860" cy="134155"/>
            </a:xfrm>
            <a:prstGeom prst="rect">
              <a:avLst/>
            </a:prstGeom>
            <a:solidFill>
              <a:srgbClr val="E258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Light"/>
                <a:ea typeface="+mn-ea"/>
                <a:cs typeface="+mn-cs"/>
              </a:endParaRPr>
            </a:p>
          </p:txBody>
        </p:sp>
        <p:sp>
          <p:nvSpPr>
            <p:cNvPr id="148" name="TextBox 147"/>
            <p:cNvSpPr txBox="1"/>
            <p:nvPr/>
          </p:nvSpPr>
          <p:spPr>
            <a:xfrm>
              <a:off x="1950639" y="2637594"/>
              <a:ext cx="825547" cy="169277"/>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white"/>
                  </a:solidFill>
                  <a:effectLst/>
                  <a:uLnTx/>
                  <a:uFillTx/>
                  <a:ea typeface="+mn-ea"/>
                  <a:cs typeface="+mn-cs"/>
                </a:rPr>
                <a:t>LOREM IPSUM</a:t>
              </a:r>
            </a:p>
          </p:txBody>
        </p:sp>
        <p:sp>
          <p:nvSpPr>
            <p:cNvPr id="149" name="TextBox 148"/>
            <p:cNvSpPr txBox="1"/>
            <p:nvPr/>
          </p:nvSpPr>
          <p:spPr>
            <a:xfrm>
              <a:off x="1950639" y="3287803"/>
              <a:ext cx="825547" cy="169277"/>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white"/>
                  </a:solidFill>
                  <a:effectLst/>
                  <a:uLnTx/>
                  <a:uFillTx/>
                  <a:ea typeface="+mn-ea"/>
                  <a:cs typeface="+mn-cs"/>
                </a:rPr>
                <a:t>LOREM IPSUM</a:t>
              </a:r>
            </a:p>
          </p:txBody>
        </p:sp>
        <p:sp>
          <p:nvSpPr>
            <p:cNvPr id="150" name="TextBox 149"/>
            <p:cNvSpPr txBox="1"/>
            <p:nvPr/>
          </p:nvSpPr>
          <p:spPr>
            <a:xfrm>
              <a:off x="1950639" y="4090686"/>
              <a:ext cx="825547" cy="169277"/>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white"/>
                  </a:solidFill>
                  <a:effectLst/>
                  <a:uLnTx/>
                  <a:uFillTx/>
                  <a:ea typeface="+mn-ea"/>
                  <a:cs typeface="+mn-cs"/>
                </a:rPr>
                <a:t>LOREM IPSUM</a:t>
              </a:r>
            </a:p>
          </p:txBody>
        </p:sp>
        <p:sp>
          <p:nvSpPr>
            <p:cNvPr id="151" name="TextBox 150"/>
            <p:cNvSpPr txBox="1"/>
            <p:nvPr/>
          </p:nvSpPr>
          <p:spPr>
            <a:xfrm>
              <a:off x="1950639" y="4976191"/>
              <a:ext cx="825547" cy="169277"/>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white"/>
                  </a:solidFill>
                  <a:effectLst/>
                  <a:uLnTx/>
                  <a:uFillTx/>
                  <a:ea typeface="+mn-ea"/>
                  <a:cs typeface="+mn-cs"/>
                </a:rPr>
                <a:t>LOREM IPSUM</a:t>
              </a:r>
            </a:p>
          </p:txBody>
        </p:sp>
        <p:sp>
          <p:nvSpPr>
            <p:cNvPr id="152" name="TextBox 151"/>
            <p:cNvSpPr txBox="1"/>
            <p:nvPr/>
          </p:nvSpPr>
          <p:spPr>
            <a:xfrm>
              <a:off x="1950639" y="5606644"/>
              <a:ext cx="825547" cy="169277"/>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white"/>
                  </a:solidFill>
                  <a:effectLst/>
                  <a:uLnTx/>
                  <a:uFillTx/>
                  <a:ea typeface="+mn-ea"/>
                  <a:cs typeface="+mn-cs"/>
                </a:rPr>
                <a:t>LOREM IPSUM</a:t>
              </a:r>
            </a:p>
          </p:txBody>
        </p:sp>
        <p:sp>
          <p:nvSpPr>
            <p:cNvPr id="175" name="Freeform 295"/>
            <p:cNvSpPr>
              <a:spLocks noEditPoints="1"/>
            </p:cNvSpPr>
            <p:nvPr/>
          </p:nvSpPr>
          <p:spPr bwMode="auto">
            <a:xfrm>
              <a:off x="4136034" y="1556504"/>
              <a:ext cx="285750" cy="284163"/>
            </a:xfrm>
            <a:custGeom>
              <a:avLst/>
              <a:gdLst>
                <a:gd name="T0" fmla="*/ 35 w 896"/>
                <a:gd name="T1" fmla="*/ 256 h 896"/>
                <a:gd name="T2" fmla="*/ 58 w 896"/>
                <a:gd name="T3" fmla="*/ 190 h 896"/>
                <a:gd name="T4" fmla="*/ 94 w 896"/>
                <a:gd name="T5" fmla="*/ 132 h 896"/>
                <a:gd name="T6" fmla="*/ 143 w 896"/>
                <a:gd name="T7" fmla="*/ 85 h 896"/>
                <a:gd name="T8" fmla="*/ 203 w 896"/>
                <a:gd name="T9" fmla="*/ 51 h 896"/>
                <a:gd name="T10" fmla="*/ 271 w 896"/>
                <a:gd name="T11" fmla="*/ 33 h 896"/>
                <a:gd name="T12" fmla="*/ 342 w 896"/>
                <a:gd name="T13" fmla="*/ 31 h 896"/>
                <a:gd name="T14" fmla="*/ 411 w 896"/>
                <a:gd name="T15" fmla="*/ 47 h 896"/>
                <a:gd name="T16" fmla="*/ 472 w 896"/>
                <a:gd name="T17" fmla="*/ 78 h 896"/>
                <a:gd name="T18" fmla="*/ 523 w 896"/>
                <a:gd name="T19" fmla="*/ 123 h 896"/>
                <a:gd name="T20" fmla="*/ 563 w 896"/>
                <a:gd name="T21" fmla="*/ 178 h 896"/>
                <a:gd name="T22" fmla="*/ 588 w 896"/>
                <a:gd name="T23" fmla="*/ 242 h 896"/>
                <a:gd name="T24" fmla="*/ 597 w 896"/>
                <a:gd name="T25" fmla="*/ 313 h 896"/>
                <a:gd name="T26" fmla="*/ 588 w 896"/>
                <a:gd name="T27" fmla="*/ 384 h 896"/>
                <a:gd name="T28" fmla="*/ 563 w 896"/>
                <a:gd name="T29" fmla="*/ 448 h 896"/>
                <a:gd name="T30" fmla="*/ 523 w 896"/>
                <a:gd name="T31" fmla="*/ 503 h 896"/>
                <a:gd name="T32" fmla="*/ 472 w 896"/>
                <a:gd name="T33" fmla="*/ 548 h 896"/>
                <a:gd name="T34" fmla="*/ 411 w 896"/>
                <a:gd name="T35" fmla="*/ 579 h 896"/>
                <a:gd name="T36" fmla="*/ 342 w 896"/>
                <a:gd name="T37" fmla="*/ 595 h 896"/>
                <a:gd name="T38" fmla="*/ 271 w 896"/>
                <a:gd name="T39" fmla="*/ 593 h 896"/>
                <a:gd name="T40" fmla="*/ 203 w 896"/>
                <a:gd name="T41" fmla="*/ 575 h 896"/>
                <a:gd name="T42" fmla="*/ 143 w 896"/>
                <a:gd name="T43" fmla="*/ 541 h 896"/>
                <a:gd name="T44" fmla="*/ 94 w 896"/>
                <a:gd name="T45" fmla="*/ 494 h 896"/>
                <a:gd name="T46" fmla="*/ 58 w 896"/>
                <a:gd name="T47" fmla="*/ 436 h 896"/>
                <a:gd name="T48" fmla="*/ 35 w 896"/>
                <a:gd name="T49" fmla="*/ 370 h 896"/>
                <a:gd name="T50" fmla="*/ 892 w 896"/>
                <a:gd name="T51" fmla="*/ 870 h 896"/>
                <a:gd name="T52" fmla="*/ 580 w 896"/>
                <a:gd name="T53" fmla="*/ 479 h 896"/>
                <a:gd name="T54" fmla="*/ 611 w 896"/>
                <a:gd name="T55" fmla="*/ 415 h 896"/>
                <a:gd name="T56" fmla="*/ 626 w 896"/>
                <a:gd name="T57" fmla="*/ 343 h 896"/>
                <a:gd name="T58" fmla="*/ 624 w 896"/>
                <a:gd name="T59" fmla="*/ 265 h 896"/>
                <a:gd name="T60" fmla="*/ 602 w 896"/>
                <a:gd name="T61" fmla="*/ 191 h 896"/>
                <a:gd name="T62" fmla="*/ 565 w 896"/>
                <a:gd name="T63" fmla="*/ 125 h 896"/>
                <a:gd name="T64" fmla="*/ 513 w 896"/>
                <a:gd name="T65" fmla="*/ 71 h 896"/>
                <a:gd name="T66" fmla="*/ 449 w 896"/>
                <a:gd name="T67" fmla="*/ 31 h 896"/>
                <a:gd name="T68" fmla="*/ 376 w 896"/>
                <a:gd name="T69" fmla="*/ 6 h 896"/>
                <a:gd name="T70" fmla="*/ 297 w 896"/>
                <a:gd name="T71" fmla="*/ 0 h 896"/>
                <a:gd name="T72" fmla="*/ 220 w 896"/>
                <a:gd name="T73" fmla="*/ 14 h 896"/>
                <a:gd name="T74" fmla="*/ 151 w 896"/>
                <a:gd name="T75" fmla="*/ 45 h 896"/>
                <a:gd name="T76" fmla="*/ 92 w 896"/>
                <a:gd name="T77" fmla="*/ 92 h 896"/>
                <a:gd name="T78" fmla="*/ 45 w 896"/>
                <a:gd name="T79" fmla="*/ 150 h 896"/>
                <a:gd name="T80" fmla="*/ 14 w 896"/>
                <a:gd name="T81" fmla="*/ 220 h 896"/>
                <a:gd name="T82" fmla="*/ 0 w 896"/>
                <a:gd name="T83" fmla="*/ 297 h 896"/>
                <a:gd name="T84" fmla="*/ 6 w 896"/>
                <a:gd name="T85" fmla="*/ 376 h 896"/>
                <a:gd name="T86" fmla="*/ 31 w 896"/>
                <a:gd name="T87" fmla="*/ 449 h 896"/>
                <a:gd name="T88" fmla="*/ 72 w 896"/>
                <a:gd name="T89" fmla="*/ 512 h 896"/>
                <a:gd name="T90" fmla="*/ 126 w 896"/>
                <a:gd name="T91" fmla="*/ 564 h 896"/>
                <a:gd name="T92" fmla="*/ 191 w 896"/>
                <a:gd name="T93" fmla="*/ 602 h 896"/>
                <a:gd name="T94" fmla="*/ 265 w 896"/>
                <a:gd name="T95" fmla="*/ 623 h 896"/>
                <a:gd name="T96" fmla="*/ 343 w 896"/>
                <a:gd name="T97" fmla="*/ 625 h 896"/>
                <a:gd name="T98" fmla="*/ 415 w 896"/>
                <a:gd name="T99" fmla="*/ 609 h 896"/>
                <a:gd name="T100" fmla="*/ 479 w 896"/>
                <a:gd name="T101" fmla="*/ 579 h 896"/>
                <a:gd name="T102" fmla="*/ 871 w 896"/>
                <a:gd name="T103" fmla="*/ 891 h 896"/>
                <a:gd name="T104" fmla="*/ 885 w 896"/>
                <a:gd name="T105" fmla="*/ 896 h 896"/>
                <a:gd name="T106" fmla="*/ 895 w 896"/>
                <a:gd name="T107" fmla="*/ 886 h 896"/>
                <a:gd name="T108" fmla="*/ 894 w 896"/>
                <a:gd name="T109" fmla="*/ 872 h 8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896" h="896">
                  <a:moveTo>
                    <a:pt x="30" y="313"/>
                  </a:moveTo>
                  <a:lnTo>
                    <a:pt x="30" y="298"/>
                  </a:lnTo>
                  <a:lnTo>
                    <a:pt x="31" y="284"/>
                  </a:lnTo>
                  <a:lnTo>
                    <a:pt x="33" y="270"/>
                  </a:lnTo>
                  <a:lnTo>
                    <a:pt x="35" y="256"/>
                  </a:lnTo>
                  <a:lnTo>
                    <a:pt x="38" y="242"/>
                  </a:lnTo>
                  <a:lnTo>
                    <a:pt x="43" y="228"/>
                  </a:lnTo>
                  <a:lnTo>
                    <a:pt x="47" y="216"/>
                  </a:lnTo>
                  <a:lnTo>
                    <a:pt x="51" y="203"/>
                  </a:lnTo>
                  <a:lnTo>
                    <a:pt x="58" y="190"/>
                  </a:lnTo>
                  <a:lnTo>
                    <a:pt x="64" y="178"/>
                  </a:lnTo>
                  <a:lnTo>
                    <a:pt x="71" y="165"/>
                  </a:lnTo>
                  <a:lnTo>
                    <a:pt x="78" y="155"/>
                  </a:lnTo>
                  <a:lnTo>
                    <a:pt x="86" y="143"/>
                  </a:lnTo>
                  <a:lnTo>
                    <a:pt x="94" y="132"/>
                  </a:lnTo>
                  <a:lnTo>
                    <a:pt x="104" y="123"/>
                  </a:lnTo>
                  <a:lnTo>
                    <a:pt x="112" y="112"/>
                  </a:lnTo>
                  <a:lnTo>
                    <a:pt x="123" y="103"/>
                  </a:lnTo>
                  <a:lnTo>
                    <a:pt x="133" y="94"/>
                  </a:lnTo>
                  <a:lnTo>
                    <a:pt x="143" y="85"/>
                  </a:lnTo>
                  <a:lnTo>
                    <a:pt x="155" y="78"/>
                  </a:lnTo>
                  <a:lnTo>
                    <a:pt x="166" y="70"/>
                  </a:lnTo>
                  <a:lnTo>
                    <a:pt x="179" y="64"/>
                  </a:lnTo>
                  <a:lnTo>
                    <a:pt x="190" y="57"/>
                  </a:lnTo>
                  <a:lnTo>
                    <a:pt x="203" y="51"/>
                  </a:lnTo>
                  <a:lnTo>
                    <a:pt x="216" y="47"/>
                  </a:lnTo>
                  <a:lnTo>
                    <a:pt x="229" y="41"/>
                  </a:lnTo>
                  <a:lnTo>
                    <a:pt x="243" y="38"/>
                  </a:lnTo>
                  <a:lnTo>
                    <a:pt x="257" y="35"/>
                  </a:lnTo>
                  <a:lnTo>
                    <a:pt x="271" y="33"/>
                  </a:lnTo>
                  <a:lnTo>
                    <a:pt x="284" y="31"/>
                  </a:lnTo>
                  <a:lnTo>
                    <a:pt x="298" y="30"/>
                  </a:lnTo>
                  <a:lnTo>
                    <a:pt x="313" y="29"/>
                  </a:lnTo>
                  <a:lnTo>
                    <a:pt x="328" y="30"/>
                  </a:lnTo>
                  <a:lnTo>
                    <a:pt x="342" y="31"/>
                  </a:lnTo>
                  <a:lnTo>
                    <a:pt x="356" y="33"/>
                  </a:lnTo>
                  <a:lnTo>
                    <a:pt x="370" y="35"/>
                  </a:lnTo>
                  <a:lnTo>
                    <a:pt x="384" y="38"/>
                  </a:lnTo>
                  <a:lnTo>
                    <a:pt x="398" y="41"/>
                  </a:lnTo>
                  <a:lnTo>
                    <a:pt x="411" y="47"/>
                  </a:lnTo>
                  <a:lnTo>
                    <a:pt x="424" y="51"/>
                  </a:lnTo>
                  <a:lnTo>
                    <a:pt x="436" y="57"/>
                  </a:lnTo>
                  <a:lnTo>
                    <a:pt x="448" y="64"/>
                  </a:lnTo>
                  <a:lnTo>
                    <a:pt x="461" y="70"/>
                  </a:lnTo>
                  <a:lnTo>
                    <a:pt x="472" y="78"/>
                  </a:lnTo>
                  <a:lnTo>
                    <a:pt x="483" y="85"/>
                  </a:lnTo>
                  <a:lnTo>
                    <a:pt x="494" y="94"/>
                  </a:lnTo>
                  <a:lnTo>
                    <a:pt x="504" y="102"/>
                  </a:lnTo>
                  <a:lnTo>
                    <a:pt x="514" y="112"/>
                  </a:lnTo>
                  <a:lnTo>
                    <a:pt x="523" y="123"/>
                  </a:lnTo>
                  <a:lnTo>
                    <a:pt x="533" y="132"/>
                  </a:lnTo>
                  <a:lnTo>
                    <a:pt x="541" y="143"/>
                  </a:lnTo>
                  <a:lnTo>
                    <a:pt x="549" y="155"/>
                  </a:lnTo>
                  <a:lnTo>
                    <a:pt x="556" y="165"/>
                  </a:lnTo>
                  <a:lnTo>
                    <a:pt x="563" y="178"/>
                  </a:lnTo>
                  <a:lnTo>
                    <a:pt x="569" y="190"/>
                  </a:lnTo>
                  <a:lnTo>
                    <a:pt x="575" y="203"/>
                  </a:lnTo>
                  <a:lnTo>
                    <a:pt x="580" y="216"/>
                  </a:lnTo>
                  <a:lnTo>
                    <a:pt x="585" y="228"/>
                  </a:lnTo>
                  <a:lnTo>
                    <a:pt x="588" y="242"/>
                  </a:lnTo>
                  <a:lnTo>
                    <a:pt x="591" y="256"/>
                  </a:lnTo>
                  <a:lnTo>
                    <a:pt x="594" y="270"/>
                  </a:lnTo>
                  <a:lnTo>
                    <a:pt x="596" y="284"/>
                  </a:lnTo>
                  <a:lnTo>
                    <a:pt x="597" y="298"/>
                  </a:lnTo>
                  <a:lnTo>
                    <a:pt x="597" y="313"/>
                  </a:lnTo>
                  <a:lnTo>
                    <a:pt x="597" y="328"/>
                  </a:lnTo>
                  <a:lnTo>
                    <a:pt x="596" y="342"/>
                  </a:lnTo>
                  <a:lnTo>
                    <a:pt x="594" y="356"/>
                  </a:lnTo>
                  <a:lnTo>
                    <a:pt x="591" y="370"/>
                  </a:lnTo>
                  <a:lnTo>
                    <a:pt x="588" y="384"/>
                  </a:lnTo>
                  <a:lnTo>
                    <a:pt x="585" y="397"/>
                  </a:lnTo>
                  <a:lnTo>
                    <a:pt x="580" y="410"/>
                  </a:lnTo>
                  <a:lnTo>
                    <a:pt x="575" y="423"/>
                  </a:lnTo>
                  <a:lnTo>
                    <a:pt x="569" y="436"/>
                  </a:lnTo>
                  <a:lnTo>
                    <a:pt x="563" y="448"/>
                  </a:lnTo>
                  <a:lnTo>
                    <a:pt x="556" y="459"/>
                  </a:lnTo>
                  <a:lnTo>
                    <a:pt x="549" y="471"/>
                  </a:lnTo>
                  <a:lnTo>
                    <a:pt x="541" y="483"/>
                  </a:lnTo>
                  <a:lnTo>
                    <a:pt x="533" y="494"/>
                  </a:lnTo>
                  <a:lnTo>
                    <a:pt x="523" y="503"/>
                  </a:lnTo>
                  <a:lnTo>
                    <a:pt x="514" y="514"/>
                  </a:lnTo>
                  <a:lnTo>
                    <a:pt x="504" y="523"/>
                  </a:lnTo>
                  <a:lnTo>
                    <a:pt x="494" y="532"/>
                  </a:lnTo>
                  <a:lnTo>
                    <a:pt x="483" y="541"/>
                  </a:lnTo>
                  <a:lnTo>
                    <a:pt x="472" y="548"/>
                  </a:lnTo>
                  <a:lnTo>
                    <a:pt x="461" y="556"/>
                  </a:lnTo>
                  <a:lnTo>
                    <a:pt x="448" y="562"/>
                  </a:lnTo>
                  <a:lnTo>
                    <a:pt x="436" y="569"/>
                  </a:lnTo>
                  <a:lnTo>
                    <a:pt x="424" y="575"/>
                  </a:lnTo>
                  <a:lnTo>
                    <a:pt x="411" y="579"/>
                  </a:lnTo>
                  <a:lnTo>
                    <a:pt x="398" y="583"/>
                  </a:lnTo>
                  <a:lnTo>
                    <a:pt x="384" y="588"/>
                  </a:lnTo>
                  <a:lnTo>
                    <a:pt x="370" y="591"/>
                  </a:lnTo>
                  <a:lnTo>
                    <a:pt x="356" y="593"/>
                  </a:lnTo>
                  <a:lnTo>
                    <a:pt x="342" y="595"/>
                  </a:lnTo>
                  <a:lnTo>
                    <a:pt x="328" y="596"/>
                  </a:lnTo>
                  <a:lnTo>
                    <a:pt x="313" y="596"/>
                  </a:lnTo>
                  <a:lnTo>
                    <a:pt x="298" y="596"/>
                  </a:lnTo>
                  <a:lnTo>
                    <a:pt x="284" y="595"/>
                  </a:lnTo>
                  <a:lnTo>
                    <a:pt x="271" y="593"/>
                  </a:lnTo>
                  <a:lnTo>
                    <a:pt x="257" y="591"/>
                  </a:lnTo>
                  <a:lnTo>
                    <a:pt x="243" y="588"/>
                  </a:lnTo>
                  <a:lnTo>
                    <a:pt x="229" y="583"/>
                  </a:lnTo>
                  <a:lnTo>
                    <a:pt x="216" y="579"/>
                  </a:lnTo>
                  <a:lnTo>
                    <a:pt x="203" y="575"/>
                  </a:lnTo>
                  <a:lnTo>
                    <a:pt x="190" y="569"/>
                  </a:lnTo>
                  <a:lnTo>
                    <a:pt x="179" y="562"/>
                  </a:lnTo>
                  <a:lnTo>
                    <a:pt x="166" y="556"/>
                  </a:lnTo>
                  <a:lnTo>
                    <a:pt x="155" y="548"/>
                  </a:lnTo>
                  <a:lnTo>
                    <a:pt x="143" y="541"/>
                  </a:lnTo>
                  <a:lnTo>
                    <a:pt x="133" y="532"/>
                  </a:lnTo>
                  <a:lnTo>
                    <a:pt x="123" y="523"/>
                  </a:lnTo>
                  <a:lnTo>
                    <a:pt x="112" y="514"/>
                  </a:lnTo>
                  <a:lnTo>
                    <a:pt x="104" y="503"/>
                  </a:lnTo>
                  <a:lnTo>
                    <a:pt x="94" y="494"/>
                  </a:lnTo>
                  <a:lnTo>
                    <a:pt x="86" y="483"/>
                  </a:lnTo>
                  <a:lnTo>
                    <a:pt x="78" y="471"/>
                  </a:lnTo>
                  <a:lnTo>
                    <a:pt x="71" y="459"/>
                  </a:lnTo>
                  <a:lnTo>
                    <a:pt x="64" y="448"/>
                  </a:lnTo>
                  <a:lnTo>
                    <a:pt x="58" y="436"/>
                  </a:lnTo>
                  <a:lnTo>
                    <a:pt x="51" y="423"/>
                  </a:lnTo>
                  <a:lnTo>
                    <a:pt x="47" y="410"/>
                  </a:lnTo>
                  <a:lnTo>
                    <a:pt x="43" y="397"/>
                  </a:lnTo>
                  <a:lnTo>
                    <a:pt x="38" y="384"/>
                  </a:lnTo>
                  <a:lnTo>
                    <a:pt x="35" y="370"/>
                  </a:lnTo>
                  <a:lnTo>
                    <a:pt x="33" y="356"/>
                  </a:lnTo>
                  <a:lnTo>
                    <a:pt x="31" y="342"/>
                  </a:lnTo>
                  <a:lnTo>
                    <a:pt x="30" y="328"/>
                  </a:lnTo>
                  <a:lnTo>
                    <a:pt x="30" y="313"/>
                  </a:lnTo>
                  <a:close/>
                  <a:moveTo>
                    <a:pt x="892" y="870"/>
                  </a:moveTo>
                  <a:lnTo>
                    <a:pt x="545" y="524"/>
                  </a:lnTo>
                  <a:lnTo>
                    <a:pt x="554" y="513"/>
                  </a:lnTo>
                  <a:lnTo>
                    <a:pt x="564" y="502"/>
                  </a:lnTo>
                  <a:lnTo>
                    <a:pt x="571" y="490"/>
                  </a:lnTo>
                  <a:lnTo>
                    <a:pt x="580" y="479"/>
                  </a:lnTo>
                  <a:lnTo>
                    <a:pt x="587" y="466"/>
                  </a:lnTo>
                  <a:lnTo>
                    <a:pt x="594" y="454"/>
                  </a:lnTo>
                  <a:lnTo>
                    <a:pt x="600" y="441"/>
                  </a:lnTo>
                  <a:lnTo>
                    <a:pt x="605" y="427"/>
                  </a:lnTo>
                  <a:lnTo>
                    <a:pt x="611" y="415"/>
                  </a:lnTo>
                  <a:lnTo>
                    <a:pt x="615" y="401"/>
                  </a:lnTo>
                  <a:lnTo>
                    <a:pt x="618" y="387"/>
                  </a:lnTo>
                  <a:lnTo>
                    <a:pt x="621" y="372"/>
                  </a:lnTo>
                  <a:lnTo>
                    <a:pt x="624" y="358"/>
                  </a:lnTo>
                  <a:lnTo>
                    <a:pt x="626" y="343"/>
                  </a:lnTo>
                  <a:lnTo>
                    <a:pt x="627" y="328"/>
                  </a:lnTo>
                  <a:lnTo>
                    <a:pt x="627" y="313"/>
                  </a:lnTo>
                  <a:lnTo>
                    <a:pt x="627" y="297"/>
                  </a:lnTo>
                  <a:lnTo>
                    <a:pt x="626" y="281"/>
                  </a:lnTo>
                  <a:lnTo>
                    <a:pt x="624" y="265"/>
                  </a:lnTo>
                  <a:lnTo>
                    <a:pt x="620" y="250"/>
                  </a:lnTo>
                  <a:lnTo>
                    <a:pt x="617" y="235"/>
                  </a:lnTo>
                  <a:lnTo>
                    <a:pt x="613" y="220"/>
                  </a:lnTo>
                  <a:lnTo>
                    <a:pt x="609" y="205"/>
                  </a:lnTo>
                  <a:lnTo>
                    <a:pt x="602" y="191"/>
                  </a:lnTo>
                  <a:lnTo>
                    <a:pt x="596" y="177"/>
                  </a:lnTo>
                  <a:lnTo>
                    <a:pt x="589" y="163"/>
                  </a:lnTo>
                  <a:lnTo>
                    <a:pt x="582" y="150"/>
                  </a:lnTo>
                  <a:lnTo>
                    <a:pt x="573" y="138"/>
                  </a:lnTo>
                  <a:lnTo>
                    <a:pt x="565" y="125"/>
                  </a:lnTo>
                  <a:lnTo>
                    <a:pt x="555" y="113"/>
                  </a:lnTo>
                  <a:lnTo>
                    <a:pt x="545" y="102"/>
                  </a:lnTo>
                  <a:lnTo>
                    <a:pt x="535" y="92"/>
                  </a:lnTo>
                  <a:lnTo>
                    <a:pt x="524" y="81"/>
                  </a:lnTo>
                  <a:lnTo>
                    <a:pt x="513" y="71"/>
                  </a:lnTo>
                  <a:lnTo>
                    <a:pt x="501" y="62"/>
                  </a:lnTo>
                  <a:lnTo>
                    <a:pt x="489" y="53"/>
                  </a:lnTo>
                  <a:lnTo>
                    <a:pt x="476" y="45"/>
                  </a:lnTo>
                  <a:lnTo>
                    <a:pt x="463" y="37"/>
                  </a:lnTo>
                  <a:lnTo>
                    <a:pt x="449" y="31"/>
                  </a:lnTo>
                  <a:lnTo>
                    <a:pt x="435" y="24"/>
                  </a:lnTo>
                  <a:lnTo>
                    <a:pt x="421" y="18"/>
                  </a:lnTo>
                  <a:lnTo>
                    <a:pt x="406" y="14"/>
                  </a:lnTo>
                  <a:lnTo>
                    <a:pt x="391" y="9"/>
                  </a:lnTo>
                  <a:lnTo>
                    <a:pt x="376" y="6"/>
                  </a:lnTo>
                  <a:lnTo>
                    <a:pt x="361" y="3"/>
                  </a:lnTo>
                  <a:lnTo>
                    <a:pt x="345" y="1"/>
                  </a:lnTo>
                  <a:lnTo>
                    <a:pt x="329" y="0"/>
                  </a:lnTo>
                  <a:lnTo>
                    <a:pt x="313" y="0"/>
                  </a:lnTo>
                  <a:lnTo>
                    <a:pt x="297" y="0"/>
                  </a:lnTo>
                  <a:lnTo>
                    <a:pt x="281" y="1"/>
                  </a:lnTo>
                  <a:lnTo>
                    <a:pt x="265" y="3"/>
                  </a:lnTo>
                  <a:lnTo>
                    <a:pt x="250" y="5"/>
                  </a:lnTo>
                  <a:lnTo>
                    <a:pt x="235" y="9"/>
                  </a:lnTo>
                  <a:lnTo>
                    <a:pt x="220" y="14"/>
                  </a:lnTo>
                  <a:lnTo>
                    <a:pt x="205" y="18"/>
                  </a:lnTo>
                  <a:lnTo>
                    <a:pt x="191" y="24"/>
                  </a:lnTo>
                  <a:lnTo>
                    <a:pt x="178" y="30"/>
                  </a:lnTo>
                  <a:lnTo>
                    <a:pt x="164" y="37"/>
                  </a:lnTo>
                  <a:lnTo>
                    <a:pt x="151" y="45"/>
                  </a:lnTo>
                  <a:lnTo>
                    <a:pt x="138" y="53"/>
                  </a:lnTo>
                  <a:lnTo>
                    <a:pt x="126" y="62"/>
                  </a:lnTo>
                  <a:lnTo>
                    <a:pt x="114" y="71"/>
                  </a:lnTo>
                  <a:lnTo>
                    <a:pt x="103" y="81"/>
                  </a:lnTo>
                  <a:lnTo>
                    <a:pt x="92" y="92"/>
                  </a:lnTo>
                  <a:lnTo>
                    <a:pt x="81" y="102"/>
                  </a:lnTo>
                  <a:lnTo>
                    <a:pt x="72" y="113"/>
                  </a:lnTo>
                  <a:lnTo>
                    <a:pt x="62" y="125"/>
                  </a:lnTo>
                  <a:lnTo>
                    <a:pt x="53" y="138"/>
                  </a:lnTo>
                  <a:lnTo>
                    <a:pt x="45" y="150"/>
                  </a:lnTo>
                  <a:lnTo>
                    <a:pt x="37" y="163"/>
                  </a:lnTo>
                  <a:lnTo>
                    <a:pt x="31" y="177"/>
                  </a:lnTo>
                  <a:lnTo>
                    <a:pt x="25" y="191"/>
                  </a:lnTo>
                  <a:lnTo>
                    <a:pt x="18" y="205"/>
                  </a:lnTo>
                  <a:lnTo>
                    <a:pt x="14" y="220"/>
                  </a:lnTo>
                  <a:lnTo>
                    <a:pt x="10" y="235"/>
                  </a:lnTo>
                  <a:lnTo>
                    <a:pt x="6" y="250"/>
                  </a:lnTo>
                  <a:lnTo>
                    <a:pt x="3" y="265"/>
                  </a:lnTo>
                  <a:lnTo>
                    <a:pt x="1" y="281"/>
                  </a:lnTo>
                  <a:lnTo>
                    <a:pt x="0" y="297"/>
                  </a:lnTo>
                  <a:lnTo>
                    <a:pt x="0" y="313"/>
                  </a:lnTo>
                  <a:lnTo>
                    <a:pt x="0" y="329"/>
                  </a:lnTo>
                  <a:lnTo>
                    <a:pt x="1" y="345"/>
                  </a:lnTo>
                  <a:lnTo>
                    <a:pt x="3" y="361"/>
                  </a:lnTo>
                  <a:lnTo>
                    <a:pt x="6" y="376"/>
                  </a:lnTo>
                  <a:lnTo>
                    <a:pt x="10" y="391"/>
                  </a:lnTo>
                  <a:lnTo>
                    <a:pt x="14" y="406"/>
                  </a:lnTo>
                  <a:lnTo>
                    <a:pt x="18" y="421"/>
                  </a:lnTo>
                  <a:lnTo>
                    <a:pt x="25" y="435"/>
                  </a:lnTo>
                  <a:lnTo>
                    <a:pt x="31" y="449"/>
                  </a:lnTo>
                  <a:lnTo>
                    <a:pt x="37" y="463"/>
                  </a:lnTo>
                  <a:lnTo>
                    <a:pt x="45" y="475"/>
                  </a:lnTo>
                  <a:lnTo>
                    <a:pt x="53" y="488"/>
                  </a:lnTo>
                  <a:lnTo>
                    <a:pt x="62" y="500"/>
                  </a:lnTo>
                  <a:lnTo>
                    <a:pt x="72" y="512"/>
                  </a:lnTo>
                  <a:lnTo>
                    <a:pt x="81" y="524"/>
                  </a:lnTo>
                  <a:lnTo>
                    <a:pt x="92" y="534"/>
                  </a:lnTo>
                  <a:lnTo>
                    <a:pt x="103" y="545"/>
                  </a:lnTo>
                  <a:lnTo>
                    <a:pt x="114" y="555"/>
                  </a:lnTo>
                  <a:lnTo>
                    <a:pt x="126" y="564"/>
                  </a:lnTo>
                  <a:lnTo>
                    <a:pt x="138" y="573"/>
                  </a:lnTo>
                  <a:lnTo>
                    <a:pt x="151" y="581"/>
                  </a:lnTo>
                  <a:lnTo>
                    <a:pt x="164" y="589"/>
                  </a:lnTo>
                  <a:lnTo>
                    <a:pt x="178" y="595"/>
                  </a:lnTo>
                  <a:lnTo>
                    <a:pt x="191" y="602"/>
                  </a:lnTo>
                  <a:lnTo>
                    <a:pt x="205" y="608"/>
                  </a:lnTo>
                  <a:lnTo>
                    <a:pt x="220" y="612"/>
                  </a:lnTo>
                  <a:lnTo>
                    <a:pt x="235" y="617"/>
                  </a:lnTo>
                  <a:lnTo>
                    <a:pt x="250" y="620"/>
                  </a:lnTo>
                  <a:lnTo>
                    <a:pt x="265" y="623"/>
                  </a:lnTo>
                  <a:lnTo>
                    <a:pt x="281" y="625"/>
                  </a:lnTo>
                  <a:lnTo>
                    <a:pt x="297" y="626"/>
                  </a:lnTo>
                  <a:lnTo>
                    <a:pt x="313" y="626"/>
                  </a:lnTo>
                  <a:lnTo>
                    <a:pt x="328" y="626"/>
                  </a:lnTo>
                  <a:lnTo>
                    <a:pt x="343" y="625"/>
                  </a:lnTo>
                  <a:lnTo>
                    <a:pt x="358" y="623"/>
                  </a:lnTo>
                  <a:lnTo>
                    <a:pt x="372" y="621"/>
                  </a:lnTo>
                  <a:lnTo>
                    <a:pt x="387" y="618"/>
                  </a:lnTo>
                  <a:lnTo>
                    <a:pt x="401" y="614"/>
                  </a:lnTo>
                  <a:lnTo>
                    <a:pt x="415" y="609"/>
                  </a:lnTo>
                  <a:lnTo>
                    <a:pt x="428" y="605"/>
                  </a:lnTo>
                  <a:lnTo>
                    <a:pt x="442" y="600"/>
                  </a:lnTo>
                  <a:lnTo>
                    <a:pt x="455" y="593"/>
                  </a:lnTo>
                  <a:lnTo>
                    <a:pt x="467" y="587"/>
                  </a:lnTo>
                  <a:lnTo>
                    <a:pt x="479" y="579"/>
                  </a:lnTo>
                  <a:lnTo>
                    <a:pt x="491" y="571"/>
                  </a:lnTo>
                  <a:lnTo>
                    <a:pt x="503" y="563"/>
                  </a:lnTo>
                  <a:lnTo>
                    <a:pt x="513" y="554"/>
                  </a:lnTo>
                  <a:lnTo>
                    <a:pt x="524" y="545"/>
                  </a:lnTo>
                  <a:lnTo>
                    <a:pt x="871" y="891"/>
                  </a:lnTo>
                  <a:lnTo>
                    <a:pt x="873" y="893"/>
                  </a:lnTo>
                  <a:lnTo>
                    <a:pt x="876" y="895"/>
                  </a:lnTo>
                  <a:lnTo>
                    <a:pt x="878" y="896"/>
                  </a:lnTo>
                  <a:lnTo>
                    <a:pt x="881" y="896"/>
                  </a:lnTo>
                  <a:lnTo>
                    <a:pt x="885" y="896"/>
                  </a:lnTo>
                  <a:lnTo>
                    <a:pt x="887" y="895"/>
                  </a:lnTo>
                  <a:lnTo>
                    <a:pt x="890" y="894"/>
                  </a:lnTo>
                  <a:lnTo>
                    <a:pt x="892" y="891"/>
                  </a:lnTo>
                  <a:lnTo>
                    <a:pt x="894" y="889"/>
                  </a:lnTo>
                  <a:lnTo>
                    <a:pt x="895" y="886"/>
                  </a:lnTo>
                  <a:lnTo>
                    <a:pt x="896" y="884"/>
                  </a:lnTo>
                  <a:lnTo>
                    <a:pt x="896" y="881"/>
                  </a:lnTo>
                  <a:lnTo>
                    <a:pt x="896" y="878"/>
                  </a:lnTo>
                  <a:lnTo>
                    <a:pt x="895" y="875"/>
                  </a:lnTo>
                  <a:lnTo>
                    <a:pt x="894" y="872"/>
                  </a:lnTo>
                  <a:lnTo>
                    <a:pt x="892" y="870"/>
                  </a:lnTo>
                  <a:lnTo>
                    <a:pt x="892" y="87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176" name="Group 175"/>
            <p:cNvGrpSpPr/>
            <p:nvPr/>
          </p:nvGrpSpPr>
          <p:grpSpPr>
            <a:xfrm>
              <a:off x="2363411" y="1554916"/>
              <a:ext cx="200025" cy="287338"/>
              <a:chOff x="10501313" y="2228850"/>
              <a:chExt cx="200025" cy="287338"/>
            </a:xfrm>
            <a:solidFill>
              <a:schemeClr val="bg1"/>
            </a:solidFill>
          </p:grpSpPr>
          <p:sp>
            <p:nvSpPr>
              <p:cNvPr id="177" name="Freeform 203"/>
              <p:cNvSpPr>
                <a:spLocks noEditPoints="1"/>
              </p:cNvSpPr>
              <p:nvPr/>
            </p:nvSpPr>
            <p:spPr bwMode="auto">
              <a:xfrm>
                <a:off x="10501313" y="2228850"/>
                <a:ext cx="200025" cy="201613"/>
              </a:xfrm>
              <a:custGeom>
                <a:avLst/>
                <a:gdLst>
                  <a:gd name="T0" fmla="*/ 373 w 632"/>
                  <a:gd name="T1" fmla="*/ 511 h 631"/>
                  <a:gd name="T2" fmla="*/ 447 w 632"/>
                  <a:gd name="T3" fmla="*/ 447 h 631"/>
                  <a:gd name="T4" fmla="*/ 450 w 632"/>
                  <a:gd name="T5" fmla="*/ 431 h 631"/>
                  <a:gd name="T6" fmla="*/ 436 w 632"/>
                  <a:gd name="T7" fmla="*/ 421 h 631"/>
                  <a:gd name="T8" fmla="*/ 327 w 632"/>
                  <a:gd name="T9" fmla="*/ 426 h 631"/>
                  <a:gd name="T10" fmla="*/ 310 w 632"/>
                  <a:gd name="T11" fmla="*/ 422 h 631"/>
                  <a:gd name="T12" fmla="*/ 202 w 632"/>
                  <a:gd name="T13" fmla="*/ 422 h 631"/>
                  <a:gd name="T14" fmla="*/ 184 w 632"/>
                  <a:gd name="T15" fmla="*/ 426 h 631"/>
                  <a:gd name="T16" fmla="*/ 181 w 632"/>
                  <a:gd name="T17" fmla="*/ 442 h 631"/>
                  <a:gd name="T18" fmla="*/ 253 w 632"/>
                  <a:gd name="T19" fmla="*/ 511 h 631"/>
                  <a:gd name="T20" fmla="*/ 301 w 632"/>
                  <a:gd name="T21" fmla="*/ 473 h 631"/>
                  <a:gd name="T22" fmla="*/ 233 w 632"/>
                  <a:gd name="T23" fmla="*/ 589 h 631"/>
                  <a:gd name="T24" fmla="*/ 160 w 632"/>
                  <a:gd name="T25" fmla="*/ 555 h 631"/>
                  <a:gd name="T26" fmla="*/ 100 w 632"/>
                  <a:gd name="T27" fmla="*/ 503 h 631"/>
                  <a:gd name="T28" fmla="*/ 57 w 632"/>
                  <a:gd name="T29" fmla="*/ 436 h 631"/>
                  <a:gd name="T30" fmla="*/ 33 w 632"/>
                  <a:gd name="T31" fmla="*/ 358 h 631"/>
                  <a:gd name="T32" fmla="*/ 33 w 632"/>
                  <a:gd name="T33" fmla="*/ 272 h 631"/>
                  <a:gd name="T34" fmla="*/ 58 w 632"/>
                  <a:gd name="T35" fmla="*/ 192 h 631"/>
                  <a:gd name="T36" fmla="*/ 104 w 632"/>
                  <a:gd name="T37" fmla="*/ 123 h 631"/>
                  <a:gd name="T38" fmla="*/ 167 w 632"/>
                  <a:gd name="T39" fmla="*/ 72 h 631"/>
                  <a:gd name="T40" fmla="*/ 244 w 632"/>
                  <a:gd name="T41" fmla="*/ 38 h 631"/>
                  <a:gd name="T42" fmla="*/ 330 w 632"/>
                  <a:gd name="T43" fmla="*/ 30 h 631"/>
                  <a:gd name="T44" fmla="*/ 414 w 632"/>
                  <a:gd name="T45" fmla="*/ 47 h 631"/>
                  <a:gd name="T46" fmla="*/ 487 w 632"/>
                  <a:gd name="T47" fmla="*/ 87 h 631"/>
                  <a:gd name="T48" fmla="*/ 545 w 632"/>
                  <a:gd name="T49" fmla="*/ 145 h 631"/>
                  <a:gd name="T50" fmla="*/ 584 w 632"/>
                  <a:gd name="T51" fmla="*/ 218 h 631"/>
                  <a:gd name="T52" fmla="*/ 602 w 632"/>
                  <a:gd name="T53" fmla="*/ 301 h 631"/>
                  <a:gd name="T54" fmla="*/ 593 w 632"/>
                  <a:gd name="T55" fmla="*/ 385 h 631"/>
                  <a:gd name="T56" fmla="*/ 563 w 632"/>
                  <a:gd name="T57" fmla="*/ 460 h 631"/>
                  <a:gd name="T58" fmla="*/ 514 w 632"/>
                  <a:gd name="T59" fmla="*/ 522 h 631"/>
                  <a:gd name="T60" fmla="*/ 449 w 632"/>
                  <a:gd name="T61" fmla="*/ 568 h 631"/>
                  <a:gd name="T62" fmla="*/ 372 w 632"/>
                  <a:gd name="T63" fmla="*/ 596 h 631"/>
                  <a:gd name="T64" fmla="*/ 283 w 632"/>
                  <a:gd name="T65" fmla="*/ 1 h 631"/>
                  <a:gd name="T66" fmla="*/ 193 w 632"/>
                  <a:gd name="T67" fmla="*/ 25 h 631"/>
                  <a:gd name="T68" fmla="*/ 115 w 632"/>
                  <a:gd name="T69" fmla="*/ 72 h 631"/>
                  <a:gd name="T70" fmla="*/ 54 w 632"/>
                  <a:gd name="T71" fmla="*/ 139 h 631"/>
                  <a:gd name="T72" fmla="*/ 14 w 632"/>
                  <a:gd name="T73" fmla="*/ 222 h 631"/>
                  <a:gd name="T74" fmla="*/ 0 w 632"/>
                  <a:gd name="T75" fmla="*/ 316 h 631"/>
                  <a:gd name="T76" fmla="*/ 14 w 632"/>
                  <a:gd name="T77" fmla="*/ 410 h 631"/>
                  <a:gd name="T78" fmla="*/ 54 w 632"/>
                  <a:gd name="T79" fmla="*/ 492 h 631"/>
                  <a:gd name="T80" fmla="*/ 115 w 632"/>
                  <a:gd name="T81" fmla="*/ 560 h 631"/>
                  <a:gd name="T82" fmla="*/ 193 w 632"/>
                  <a:gd name="T83" fmla="*/ 607 h 631"/>
                  <a:gd name="T84" fmla="*/ 283 w 632"/>
                  <a:gd name="T85" fmla="*/ 630 h 631"/>
                  <a:gd name="T86" fmla="*/ 380 w 632"/>
                  <a:gd name="T87" fmla="*/ 625 h 631"/>
                  <a:gd name="T88" fmla="*/ 466 w 632"/>
                  <a:gd name="T89" fmla="*/ 594 h 631"/>
                  <a:gd name="T90" fmla="*/ 539 w 632"/>
                  <a:gd name="T91" fmla="*/ 539 h 631"/>
                  <a:gd name="T92" fmla="*/ 594 w 632"/>
                  <a:gd name="T93" fmla="*/ 466 h 631"/>
                  <a:gd name="T94" fmla="*/ 625 w 632"/>
                  <a:gd name="T95" fmla="*/ 379 h 631"/>
                  <a:gd name="T96" fmla="*/ 631 w 632"/>
                  <a:gd name="T97" fmla="*/ 284 h 631"/>
                  <a:gd name="T98" fmla="*/ 607 w 632"/>
                  <a:gd name="T99" fmla="*/ 193 h 631"/>
                  <a:gd name="T100" fmla="*/ 560 w 632"/>
                  <a:gd name="T101" fmla="*/ 115 h 631"/>
                  <a:gd name="T102" fmla="*/ 492 w 632"/>
                  <a:gd name="T103" fmla="*/ 53 h 631"/>
                  <a:gd name="T104" fmla="*/ 410 w 632"/>
                  <a:gd name="T105" fmla="*/ 14 h 631"/>
                  <a:gd name="T106" fmla="*/ 316 w 632"/>
                  <a:gd name="T107" fmla="*/ 0 h 6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32" h="631">
                    <a:moveTo>
                      <a:pt x="331" y="601"/>
                    </a:moveTo>
                    <a:lnTo>
                      <a:pt x="331" y="473"/>
                    </a:lnTo>
                    <a:lnTo>
                      <a:pt x="366" y="507"/>
                    </a:lnTo>
                    <a:lnTo>
                      <a:pt x="368" y="509"/>
                    </a:lnTo>
                    <a:lnTo>
                      <a:pt x="370" y="510"/>
                    </a:lnTo>
                    <a:lnTo>
                      <a:pt x="373" y="511"/>
                    </a:lnTo>
                    <a:lnTo>
                      <a:pt x="376" y="511"/>
                    </a:lnTo>
                    <a:lnTo>
                      <a:pt x="379" y="511"/>
                    </a:lnTo>
                    <a:lnTo>
                      <a:pt x="382" y="510"/>
                    </a:lnTo>
                    <a:lnTo>
                      <a:pt x="384" y="509"/>
                    </a:lnTo>
                    <a:lnTo>
                      <a:pt x="387" y="507"/>
                    </a:lnTo>
                    <a:lnTo>
                      <a:pt x="447" y="447"/>
                    </a:lnTo>
                    <a:lnTo>
                      <a:pt x="449" y="445"/>
                    </a:lnTo>
                    <a:lnTo>
                      <a:pt x="450" y="442"/>
                    </a:lnTo>
                    <a:lnTo>
                      <a:pt x="451" y="440"/>
                    </a:lnTo>
                    <a:lnTo>
                      <a:pt x="451" y="436"/>
                    </a:lnTo>
                    <a:lnTo>
                      <a:pt x="451" y="433"/>
                    </a:lnTo>
                    <a:lnTo>
                      <a:pt x="450" y="431"/>
                    </a:lnTo>
                    <a:lnTo>
                      <a:pt x="449" y="428"/>
                    </a:lnTo>
                    <a:lnTo>
                      <a:pt x="447" y="426"/>
                    </a:lnTo>
                    <a:lnTo>
                      <a:pt x="445" y="423"/>
                    </a:lnTo>
                    <a:lnTo>
                      <a:pt x="442" y="422"/>
                    </a:lnTo>
                    <a:lnTo>
                      <a:pt x="440" y="421"/>
                    </a:lnTo>
                    <a:lnTo>
                      <a:pt x="436" y="421"/>
                    </a:lnTo>
                    <a:lnTo>
                      <a:pt x="433" y="421"/>
                    </a:lnTo>
                    <a:lnTo>
                      <a:pt x="431" y="422"/>
                    </a:lnTo>
                    <a:lnTo>
                      <a:pt x="428" y="423"/>
                    </a:lnTo>
                    <a:lnTo>
                      <a:pt x="426" y="426"/>
                    </a:lnTo>
                    <a:lnTo>
                      <a:pt x="376" y="475"/>
                    </a:lnTo>
                    <a:lnTo>
                      <a:pt x="327" y="426"/>
                    </a:lnTo>
                    <a:lnTo>
                      <a:pt x="324" y="423"/>
                    </a:lnTo>
                    <a:lnTo>
                      <a:pt x="322" y="422"/>
                    </a:lnTo>
                    <a:lnTo>
                      <a:pt x="318" y="421"/>
                    </a:lnTo>
                    <a:lnTo>
                      <a:pt x="316" y="421"/>
                    </a:lnTo>
                    <a:lnTo>
                      <a:pt x="313" y="421"/>
                    </a:lnTo>
                    <a:lnTo>
                      <a:pt x="310" y="422"/>
                    </a:lnTo>
                    <a:lnTo>
                      <a:pt x="308" y="423"/>
                    </a:lnTo>
                    <a:lnTo>
                      <a:pt x="306" y="426"/>
                    </a:lnTo>
                    <a:lnTo>
                      <a:pt x="255" y="475"/>
                    </a:lnTo>
                    <a:lnTo>
                      <a:pt x="206" y="426"/>
                    </a:lnTo>
                    <a:lnTo>
                      <a:pt x="204" y="423"/>
                    </a:lnTo>
                    <a:lnTo>
                      <a:pt x="202" y="422"/>
                    </a:lnTo>
                    <a:lnTo>
                      <a:pt x="198" y="421"/>
                    </a:lnTo>
                    <a:lnTo>
                      <a:pt x="195" y="421"/>
                    </a:lnTo>
                    <a:lnTo>
                      <a:pt x="193" y="421"/>
                    </a:lnTo>
                    <a:lnTo>
                      <a:pt x="190" y="422"/>
                    </a:lnTo>
                    <a:lnTo>
                      <a:pt x="188" y="423"/>
                    </a:lnTo>
                    <a:lnTo>
                      <a:pt x="184" y="426"/>
                    </a:lnTo>
                    <a:lnTo>
                      <a:pt x="183" y="428"/>
                    </a:lnTo>
                    <a:lnTo>
                      <a:pt x="181" y="431"/>
                    </a:lnTo>
                    <a:lnTo>
                      <a:pt x="180" y="433"/>
                    </a:lnTo>
                    <a:lnTo>
                      <a:pt x="180" y="436"/>
                    </a:lnTo>
                    <a:lnTo>
                      <a:pt x="180" y="440"/>
                    </a:lnTo>
                    <a:lnTo>
                      <a:pt x="181" y="442"/>
                    </a:lnTo>
                    <a:lnTo>
                      <a:pt x="183" y="445"/>
                    </a:lnTo>
                    <a:lnTo>
                      <a:pt x="184" y="447"/>
                    </a:lnTo>
                    <a:lnTo>
                      <a:pt x="244" y="507"/>
                    </a:lnTo>
                    <a:lnTo>
                      <a:pt x="248" y="509"/>
                    </a:lnTo>
                    <a:lnTo>
                      <a:pt x="250" y="510"/>
                    </a:lnTo>
                    <a:lnTo>
                      <a:pt x="253" y="511"/>
                    </a:lnTo>
                    <a:lnTo>
                      <a:pt x="255" y="511"/>
                    </a:lnTo>
                    <a:lnTo>
                      <a:pt x="258" y="511"/>
                    </a:lnTo>
                    <a:lnTo>
                      <a:pt x="262" y="510"/>
                    </a:lnTo>
                    <a:lnTo>
                      <a:pt x="264" y="509"/>
                    </a:lnTo>
                    <a:lnTo>
                      <a:pt x="266" y="507"/>
                    </a:lnTo>
                    <a:lnTo>
                      <a:pt x="301" y="473"/>
                    </a:lnTo>
                    <a:lnTo>
                      <a:pt x="301" y="601"/>
                    </a:lnTo>
                    <a:lnTo>
                      <a:pt x="286" y="600"/>
                    </a:lnTo>
                    <a:lnTo>
                      <a:pt x="273" y="598"/>
                    </a:lnTo>
                    <a:lnTo>
                      <a:pt x="259" y="596"/>
                    </a:lnTo>
                    <a:lnTo>
                      <a:pt x="246" y="593"/>
                    </a:lnTo>
                    <a:lnTo>
                      <a:pt x="233" y="589"/>
                    </a:lnTo>
                    <a:lnTo>
                      <a:pt x="220" y="584"/>
                    </a:lnTo>
                    <a:lnTo>
                      <a:pt x="207" y="580"/>
                    </a:lnTo>
                    <a:lnTo>
                      <a:pt x="195" y="575"/>
                    </a:lnTo>
                    <a:lnTo>
                      <a:pt x="183" y="568"/>
                    </a:lnTo>
                    <a:lnTo>
                      <a:pt x="172" y="562"/>
                    </a:lnTo>
                    <a:lnTo>
                      <a:pt x="160" y="555"/>
                    </a:lnTo>
                    <a:lnTo>
                      <a:pt x="149" y="548"/>
                    </a:lnTo>
                    <a:lnTo>
                      <a:pt x="138" y="539"/>
                    </a:lnTo>
                    <a:lnTo>
                      <a:pt x="128" y="531"/>
                    </a:lnTo>
                    <a:lnTo>
                      <a:pt x="118" y="522"/>
                    </a:lnTo>
                    <a:lnTo>
                      <a:pt x="109" y="512"/>
                    </a:lnTo>
                    <a:lnTo>
                      <a:pt x="100" y="503"/>
                    </a:lnTo>
                    <a:lnTo>
                      <a:pt x="91" y="492"/>
                    </a:lnTo>
                    <a:lnTo>
                      <a:pt x="84" y="482"/>
                    </a:lnTo>
                    <a:lnTo>
                      <a:pt x="76" y="471"/>
                    </a:lnTo>
                    <a:lnTo>
                      <a:pt x="69" y="460"/>
                    </a:lnTo>
                    <a:lnTo>
                      <a:pt x="62" y="448"/>
                    </a:lnTo>
                    <a:lnTo>
                      <a:pt x="57" y="436"/>
                    </a:lnTo>
                    <a:lnTo>
                      <a:pt x="51" y="423"/>
                    </a:lnTo>
                    <a:lnTo>
                      <a:pt x="46" y="411"/>
                    </a:lnTo>
                    <a:lnTo>
                      <a:pt x="42" y="398"/>
                    </a:lnTo>
                    <a:lnTo>
                      <a:pt x="39" y="385"/>
                    </a:lnTo>
                    <a:lnTo>
                      <a:pt x="35" y="372"/>
                    </a:lnTo>
                    <a:lnTo>
                      <a:pt x="33" y="358"/>
                    </a:lnTo>
                    <a:lnTo>
                      <a:pt x="31" y="344"/>
                    </a:lnTo>
                    <a:lnTo>
                      <a:pt x="30" y="330"/>
                    </a:lnTo>
                    <a:lnTo>
                      <a:pt x="30" y="316"/>
                    </a:lnTo>
                    <a:lnTo>
                      <a:pt x="30" y="301"/>
                    </a:lnTo>
                    <a:lnTo>
                      <a:pt x="31" y="286"/>
                    </a:lnTo>
                    <a:lnTo>
                      <a:pt x="33" y="272"/>
                    </a:lnTo>
                    <a:lnTo>
                      <a:pt x="35" y="258"/>
                    </a:lnTo>
                    <a:lnTo>
                      <a:pt x="39" y="244"/>
                    </a:lnTo>
                    <a:lnTo>
                      <a:pt x="43" y="230"/>
                    </a:lnTo>
                    <a:lnTo>
                      <a:pt x="47" y="218"/>
                    </a:lnTo>
                    <a:lnTo>
                      <a:pt x="52" y="205"/>
                    </a:lnTo>
                    <a:lnTo>
                      <a:pt x="58" y="192"/>
                    </a:lnTo>
                    <a:lnTo>
                      <a:pt x="64" y="180"/>
                    </a:lnTo>
                    <a:lnTo>
                      <a:pt x="72" y="167"/>
                    </a:lnTo>
                    <a:lnTo>
                      <a:pt x="78" y="156"/>
                    </a:lnTo>
                    <a:lnTo>
                      <a:pt x="87" y="145"/>
                    </a:lnTo>
                    <a:lnTo>
                      <a:pt x="95" y="134"/>
                    </a:lnTo>
                    <a:lnTo>
                      <a:pt x="104" y="123"/>
                    </a:lnTo>
                    <a:lnTo>
                      <a:pt x="114" y="114"/>
                    </a:lnTo>
                    <a:lnTo>
                      <a:pt x="123" y="104"/>
                    </a:lnTo>
                    <a:lnTo>
                      <a:pt x="134" y="95"/>
                    </a:lnTo>
                    <a:lnTo>
                      <a:pt x="145" y="87"/>
                    </a:lnTo>
                    <a:lnTo>
                      <a:pt x="157" y="79"/>
                    </a:lnTo>
                    <a:lnTo>
                      <a:pt x="167" y="72"/>
                    </a:lnTo>
                    <a:lnTo>
                      <a:pt x="180" y="64"/>
                    </a:lnTo>
                    <a:lnTo>
                      <a:pt x="192" y="58"/>
                    </a:lnTo>
                    <a:lnTo>
                      <a:pt x="205" y="52"/>
                    </a:lnTo>
                    <a:lnTo>
                      <a:pt x="218" y="47"/>
                    </a:lnTo>
                    <a:lnTo>
                      <a:pt x="231" y="43"/>
                    </a:lnTo>
                    <a:lnTo>
                      <a:pt x="244" y="38"/>
                    </a:lnTo>
                    <a:lnTo>
                      <a:pt x="258" y="35"/>
                    </a:lnTo>
                    <a:lnTo>
                      <a:pt x="272" y="33"/>
                    </a:lnTo>
                    <a:lnTo>
                      <a:pt x="286" y="31"/>
                    </a:lnTo>
                    <a:lnTo>
                      <a:pt x="301" y="30"/>
                    </a:lnTo>
                    <a:lnTo>
                      <a:pt x="316" y="30"/>
                    </a:lnTo>
                    <a:lnTo>
                      <a:pt x="330" y="30"/>
                    </a:lnTo>
                    <a:lnTo>
                      <a:pt x="345" y="31"/>
                    </a:lnTo>
                    <a:lnTo>
                      <a:pt x="359" y="33"/>
                    </a:lnTo>
                    <a:lnTo>
                      <a:pt x="373" y="35"/>
                    </a:lnTo>
                    <a:lnTo>
                      <a:pt x="387" y="38"/>
                    </a:lnTo>
                    <a:lnTo>
                      <a:pt x="401" y="43"/>
                    </a:lnTo>
                    <a:lnTo>
                      <a:pt x="414" y="47"/>
                    </a:lnTo>
                    <a:lnTo>
                      <a:pt x="427" y="52"/>
                    </a:lnTo>
                    <a:lnTo>
                      <a:pt x="440" y="58"/>
                    </a:lnTo>
                    <a:lnTo>
                      <a:pt x="453" y="64"/>
                    </a:lnTo>
                    <a:lnTo>
                      <a:pt x="464" y="72"/>
                    </a:lnTo>
                    <a:lnTo>
                      <a:pt x="476" y="79"/>
                    </a:lnTo>
                    <a:lnTo>
                      <a:pt x="487" y="87"/>
                    </a:lnTo>
                    <a:lnTo>
                      <a:pt x="498" y="95"/>
                    </a:lnTo>
                    <a:lnTo>
                      <a:pt x="508" y="104"/>
                    </a:lnTo>
                    <a:lnTo>
                      <a:pt x="518" y="114"/>
                    </a:lnTo>
                    <a:lnTo>
                      <a:pt x="528" y="123"/>
                    </a:lnTo>
                    <a:lnTo>
                      <a:pt x="536" y="134"/>
                    </a:lnTo>
                    <a:lnTo>
                      <a:pt x="545" y="145"/>
                    </a:lnTo>
                    <a:lnTo>
                      <a:pt x="553" y="156"/>
                    </a:lnTo>
                    <a:lnTo>
                      <a:pt x="561" y="167"/>
                    </a:lnTo>
                    <a:lnTo>
                      <a:pt x="567" y="180"/>
                    </a:lnTo>
                    <a:lnTo>
                      <a:pt x="574" y="192"/>
                    </a:lnTo>
                    <a:lnTo>
                      <a:pt x="579" y="205"/>
                    </a:lnTo>
                    <a:lnTo>
                      <a:pt x="584" y="218"/>
                    </a:lnTo>
                    <a:lnTo>
                      <a:pt x="589" y="230"/>
                    </a:lnTo>
                    <a:lnTo>
                      <a:pt x="593" y="244"/>
                    </a:lnTo>
                    <a:lnTo>
                      <a:pt x="596" y="258"/>
                    </a:lnTo>
                    <a:lnTo>
                      <a:pt x="598" y="272"/>
                    </a:lnTo>
                    <a:lnTo>
                      <a:pt x="601" y="286"/>
                    </a:lnTo>
                    <a:lnTo>
                      <a:pt x="602" y="301"/>
                    </a:lnTo>
                    <a:lnTo>
                      <a:pt x="602" y="316"/>
                    </a:lnTo>
                    <a:lnTo>
                      <a:pt x="602" y="330"/>
                    </a:lnTo>
                    <a:lnTo>
                      <a:pt x="601" y="344"/>
                    </a:lnTo>
                    <a:lnTo>
                      <a:pt x="598" y="358"/>
                    </a:lnTo>
                    <a:lnTo>
                      <a:pt x="596" y="372"/>
                    </a:lnTo>
                    <a:lnTo>
                      <a:pt x="593" y="385"/>
                    </a:lnTo>
                    <a:lnTo>
                      <a:pt x="590" y="398"/>
                    </a:lnTo>
                    <a:lnTo>
                      <a:pt x="586" y="411"/>
                    </a:lnTo>
                    <a:lnTo>
                      <a:pt x="581" y="423"/>
                    </a:lnTo>
                    <a:lnTo>
                      <a:pt x="575" y="436"/>
                    </a:lnTo>
                    <a:lnTo>
                      <a:pt x="569" y="448"/>
                    </a:lnTo>
                    <a:lnTo>
                      <a:pt x="563" y="460"/>
                    </a:lnTo>
                    <a:lnTo>
                      <a:pt x="555" y="471"/>
                    </a:lnTo>
                    <a:lnTo>
                      <a:pt x="548" y="482"/>
                    </a:lnTo>
                    <a:lnTo>
                      <a:pt x="540" y="492"/>
                    </a:lnTo>
                    <a:lnTo>
                      <a:pt x="532" y="503"/>
                    </a:lnTo>
                    <a:lnTo>
                      <a:pt x="523" y="512"/>
                    </a:lnTo>
                    <a:lnTo>
                      <a:pt x="514" y="522"/>
                    </a:lnTo>
                    <a:lnTo>
                      <a:pt x="504" y="531"/>
                    </a:lnTo>
                    <a:lnTo>
                      <a:pt x="493" y="539"/>
                    </a:lnTo>
                    <a:lnTo>
                      <a:pt x="483" y="548"/>
                    </a:lnTo>
                    <a:lnTo>
                      <a:pt x="472" y="555"/>
                    </a:lnTo>
                    <a:lnTo>
                      <a:pt x="460" y="562"/>
                    </a:lnTo>
                    <a:lnTo>
                      <a:pt x="449" y="568"/>
                    </a:lnTo>
                    <a:lnTo>
                      <a:pt x="436" y="575"/>
                    </a:lnTo>
                    <a:lnTo>
                      <a:pt x="425" y="580"/>
                    </a:lnTo>
                    <a:lnTo>
                      <a:pt x="412" y="584"/>
                    </a:lnTo>
                    <a:lnTo>
                      <a:pt x="399" y="589"/>
                    </a:lnTo>
                    <a:lnTo>
                      <a:pt x="386" y="593"/>
                    </a:lnTo>
                    <a:lnTo>
                      <a:pt x="372" y="596"/>
                    </a:lnTo>
                    <a:lnTo>
                      <a:pt x="359" y="598"/>
                    </a:lnTo>
                    <a:lnTo>
                      <a:pt x="345" y="600"/>
                    </a:lnTo>
                    <a:lnTo>
                      <a:pt x="331" y="601"/>
                    </a:lnTo>
                    <a:close/>
                    <a:moveTo>
                      <a:pt x="316" y="0"/>
                    </a:moveTo>
                    <a:lnTo>
                      <a:pt x="299" y="0"/>
                    </a:lnTo>
                    <a:lnTo>
                      <a:pt x="283" y="1"/>
                    </a:lnTo>
                    <a:lnTo>
                      <a:pt x="268" y="3"/>
                    </a:lnTo>
                    <a:lnTo>
                      <a:pt x="252" y="6"/>
                    </a:lnTo>
                    <a:lnTo>
                      <a:pt x="237" y="10"/>
                    </a:lnTo>
                    <a:lnTo>
                      <a:pt x="222" y="14"/>
                    </a:lnTo>
                    <a:lnTo>
                      <a:pt x="207" y="19"/>
                    </a:lnTo>
                    <a:lnTo>
                      <a:pt x="193" y="25"/>
                    </a:lnTo>
                    <a:lnTo>
                      <a:pt x="179" y="31"/>
                    </a:lnTo>
                    <a:lnTo>
                      <a:pt x="165" y="38"/>
                    </a:lnTo>
                    <a:lnTo>
                      <a:pt x="152" y="46"/>
                    </a:lnTo>
                    <a:lnTo>
                      <a:pt x="139" y="53"/>
                    </a:lnTo>
                    <a:lnTo>
                      <a:pt x="126" y="63"/>
                    </a:lnTo>
                    <a:lnTo>
                      <a:pt x="115" y="72"/>
                    </a:lnTo>
                    <a:lnTo>
                      <a:pt x="103" y="82"/>
                    </a:lnTo>
                    <a:lnTo>
                      <a:pt x="92" y="92"/>
                    </a:lnTo>
                    <a:lnTo>
                      <a:pt x="81" y="104"/>
                    </a:lnTo>
                    <a:lnTo>
                      <a:pt x="72" y="115"/>
                    </a:lnTo>
                    <a:lnTo>
                      <a:pt x="62" y="126"/>
                    </a:lnTo>
                    <a:lnTo>
                      <a:pt x="54" y="139"/>
                    </a:lnTo>
                    <a:lnTo>
                      <a:pt x="46" y="152"/>
                    </a:lnTo>
                    <a:lnTo>
                      <a:pt x="37" y="165"/>
                    </a:lnTo>
                    <a:lnTo>
                      <a:pt x="31" y="179"/>
                    </a:lnTo>
                    <a:lnTo>
                      <a:pt x="25" y="193"/>
                    </a:lnTo>
                    <a:lnTo>
                      <a:pt x="19" y="207"/>
                    </a:lnTo>
                    <a:lnTo>
                      <a:pt x="14" y="222"/>
                    </a:lnTo>
                    <a:lnTo>
                      <a:pt x="10" y="237"/>
                    </a:lnTo>
                    <a:lnTo>
                      <a:pt x="6" y="252"/>
                    </a:lnTo>
                    <a:lnTo>
                      <a:pt x="3" y="268"/>
                    </a:lnTo>
                    <a:lnTo>
                      <a:pt x="1" y="284"/>
                    </a:lnTo>
                    <a:lnTo>
                      <a:pt x="0" y="299"/>
                    </a:lnTo>
                    <a:lnTo>
                      <a:pt x="0" y="316"/>
                    </a:lnTo>
                    <a:lnTo>
                      <a:pt x="0" y="332"/>
                    </a:lnTo>
                    <a:lnTo>
                      <a:pt x="1" y="348"/>
                    </a:lnTo>
                    <a:lnTo>
                      <a:pt x="3" y="363"/>
                    </a:lnTo>
                    <a:lnTo>
                      <a:pt x="6" y="379"/>
                    </a:lnTo>
                    <a:lnTo>
                      <a:pt x="10" y="394"/>
                    </a:lnTo>
                    <a:lnTo>
                      <a:pt x="14" y="410"/>
                    </a:lnTo>
                    <a:lnTo>
                      <a:pt x="19" y="425"/>
                    </a:lnTo>
                    <a:lnTo>
                      <a:pt x="25" y="438"/>
                    </a:lnTo>
                    <a:lnTo>
                      <a:pt x="31" y="452"/>
                    </a:lnTo>
                    <a:lnTo>
                      <a:pt x="37" y="466"/>
                    </a:lnTo>
                    <a:lnTo>
                      <a:pt x="46" y="479"/>
                    </a:lnTo>
                    <a:lnTo>
                      <a:pt x="54" y="492"/>
                    </a:lnTo>
                    <a:lnTo>
                      <a:pt x="62" y="505"/>
                    </a:lnTo>
                    <a:lnTo>
                      <a:pt x="72" y="517"/>
                    </a:lnTo>
                    <a:lnTo>
                      <a:pt x="81" y="529"/>
                    </a:lnTo>
                    <a:lnTo>
                      <a:pt x="92" y="539"/>
                    </a:lnTo>
                    <a:lnTo>
                      <a:pt x="103" y="550"/>
                    </a:lnTo>
                    <a:lnTo>
                      <a:pt x="115" y="560"/>
                    </a:lnTo>
                    <a:lnTo>
                      <a:pt x="126" y="569"/>
                    </a:lnTo>
                    <a:lnTo>
                      <a:pt x="139" y="578"/>
                    </a:lnTo>
                    <a:lnTo>
                      <a:pt x="152" y="586"/>
                    </a:lnTo>
                    <a:lnTo>
                      <a:pt x="165" y="594"/>
                    </a:lnTo>
                    <a:lnTo>
                      <a:pt x="179" y="600"/>
                    </a:lnTo>
                    <a:lnTo>
                      <a:pt x="193" y="607"/>
                    </a:lnTo>
                    <a:lnTo>
                      <a:pt x="207" y="612"/>
                    </a:lnTo>
                    <a:lnTo>
                      <a:pt x="222" y="618"/>
                    </a:lnTo>
                    <a:lnTo>
                      <a:pt x="237" y="622"/>
                    </a:lnTo>
                    <a:lnTo>
                      <a:pt x="252" y="625"/>
                    </a:lnTo>
                    <a:lnTo>
                      <a:pt x="268" y="628"/>
                    </a:lnTo>
                    <a:lnTo>
                      <a:pt x="283" y="630"/>
                    </a:lnTo>
                    <a:lnTo>
                      <a:pt x="299" y="631"/>
                    </a:lnTo>
                    <a:lnTo>
                      <a:pt x="316" y="631"/>
                    </a:lnTo>
                    <a:lnTo>
                      <a:pt x="332" y="631"/>
                    </a:lnTo>
                    <a:lnTo>
                      <a:pt x="348" y="630"/>
                    </a:lnTo>
                    <a:lnTo>
                      <a:pt x="364" y="628"/>
                    </a:lnTo>
                    <a:lnTo>
                      <a:pt x="380" y="625"/>
                    </a:lnTo>
                    <a:lnTo>
                      <a:pt x="395" y="622"/>
                    </a:lnTo>
                    <a:lnTo>
                      <a:pt x="410" y="618"/>
                    </a:lnTo>
                    <a:lnTo>
                      <a:pt x="425" y="612"/>
                    </a:lnTo>
                    <a:lnTo>
                      <a:pt x="439" y="607"/>
                    </a:lnTo>
                    <a:lnTo>
                      <a:pt x="453" y="600"/>
                    </a:lnTo>
                    <a:lnTo>
                      <a:pt x="466" y="594"/>
                    </a:lnTo>
                    <a:lnTo>
                      <a:pt x="479" y="586"/>
                    </a:lnTo>
                    <a:lnTo>
                      <a:pt x="492" y="578"/>
                    </a:lnTo>
                    <a:lnTo>
                      <a:pt x="505" y="569"/>
                    </a:lnTo>
                    <a:lnTo>
                      <a:pt x="517" y="560"/>
                    </a:lnTo>
                    <a:lnTo>
                      <a:pt x="529" y="550"/>
                    </a:lnTo>
                    <a:lnTo>
                      <a:pt x="539" y="539"/>
                    </a:lnTo>
                    <a:lnTo>
                      <a:pt x="550" y="529"/>
                    </a:lnTo>
                    <a:lnTo>
                      <a:pt x="560" y="517"/>
                    </a:lnTo>
                    <a:lnTo>
                      <a:pt x="569" y="505"/>
                    </a:lnTo>
                    <a:lnTo>
                      <a:pt x="578" y="492"/>
                    </a:lnTo>
                    <a:lnTo>
                      <a:pt x="587" y="479"/>
                    </a:lnTo>
                    <a:lnTo>
                      <a:pt x="594" y="466"/>
                    </a:lnTo>
                    <a:lnTo>
                      <a:pt x="601" y="452"/>
                    </a:lnTo>
                    <a:lnTo>
                      <a:pt x="607" y="438"/>
                    </a:lnTo>
                    <a:lnTo>
                      <a:pt x="612" y="425"/>
                    </a:lnTo>
                    <a:lnTo>
                      <a:pt x="618" y="410"/>
                    </a:lnTo>
                    <a:lnTo>
                      <a:pt x="622" y="394"/>
                    </a:lnTo>
                    <a:lnTo>
                      <a:pt x="625" y="379"/>
                    </a:lnTo>
                    <a:lnTo>
                      <a:pt x="628" y="363"/>
                    </a:lnTo>
                    <a:lnTo>
                      <a:pt x="631" y="348"/>
                    </a:lnTo>
                    <a:lnTo>
                      <a:pt x="632" y="332"/>
                    </a:lnTo>
                    <a:lnTo>
                      <a:pt x="632" y="316"/>
                    </a:lnTo>
                    <a:lnTo>
                      <a:pt x="632" y="299"/>
                    </a:lnTo>
                    <a:lnTo>
                      <a:pt x="631" y="284"/>
                    </a:lnTo>
                    <a:lnTo>
                      <a:pt x="628" y="268"/>
                    </a:lnTo>
                    <a:lnTo>
                      <a:pt x="625" y="252"/>
                    </a:lnTo>
                    <a:lnTo>
                      <a:pt x="622" y="237"/>
                    </a:lnTo>
                    <a:lnTo>
                      <a:pt x="618" y="222"/>
                    </a:lnTo>
                    <a:lnTo>
                      <a:pt x="612" y="207"/>
                    </a:lnTo>
                    <a:lnTo>
                      <a:pt x="607" y="193"/>
                    </a:lnTo>
                    <a:lnTo>
                      <a:pt x="601" y="179"/>
                    </a:lnTo>
                    <a:lnTo>
                      <a:pt x="594" y="165"/>
                    </a:lnTo>
                    <a:lnTo>
                      <a:pt x="587" y="152"/>
                    </a:lnTo>
                    <a:lnTo>
                      <a:pt x="578" y="139"/>
                    </a:lnTo>
                    <a:lnTo>
                      <a:pt x="569" y="126"/>
                    </a:lnTo>
                    <a:lnTo>
                      <a:pt x="560" y="115"/>
                    </a:lnTo>
                    <a:lnTo>
                      <a:pt x="550" y="104"/>
                    </a:lnTo>
                    <a:lnTo>
                      <a:pt x="539" y="92"/>
                    </a:lnTo>
                    <a:lnTo>
                      <a:pt x="529" y="82"/>
                    </a:lnTo>
                    <a:lnTo>
                      <a:pt x="517" y="72"/>
                    </a:lnTo>
                    <a:lnTo>
                      <a:pt x="505" y="63"/>
                    </a:lnTo>
                    <a:lnTo>
                      <a:pt x="492" y="53"/>
                    </a:lnTo>
                    <a:lnTo>
                      <a:pt x="479" y="46"/>
                    </a:lnTo>
                    <a:lnTo>
                      <a:pt x="466" y="38"/>
                    </a:lnTo>
                    <a:lnTo>
                      <a:pt x="453" y="31"/>
                    </a:lnTo>
                    <a:lnTo>
                      <a:pt x="439" y="25"/>
                    </a:lnTo>
                    <a:lnTo>
                      <a:pt x="425" y="19"/>
                    </a:lnTo>
                    <a:lnTo>
                      <a:pt x="410" y="14"/>
                    </a:lnTo>
                    <a:lnTo>
                      <a:pt x="395" y="10"/>
                    </a:lnTo>
                    <a:lnTo>
                      <a:pt x="380" y="6"/>
                    </a:lnTo>
                    <a:lnTo>
                      <a:pt x="364" y="3"/>
                    </a:lnTo>
                    <a:lnTo>
                      <a:pt x="348" y="1"/>
                    </a:lnTo>
                    <a:lnTo>
                      <a:pt x="332" y="0"/>
                    </a:lnTo>
                    <a:lnTo>
                      <a:pt x="31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204"/>
              <p:cNvSpPr>
                <a:spLocks/>
              </p:cNvSpPr>
              <p:nvPr/>
            </p:nvSpPr>
            <p:spPr bwMode="auto">
              <a:xfrm>
                <a:off x="10567988" y="2449513"/>
                <a:ext cx="66675" cy="9525"/>
              </a:xfrm>
              <a:custGeom>
                <a:avLst/>
                <a:gdLst>
                  <a:gd name="T0" fmla="*/ 196 w 211"/>
                  <a:gd name="T1" fmla="*/ 0 h 31"/>
                  <a:gd name="T2" fmla="*/ 15 w 211"/>
                  <a:gd name="T3" fmla="*/ 0 h 31"/>
                  <a:gd name="T4" fmla="*/ 13 w 211"/>
                  <a:gd name="T5" fmla="*/ 1 h 31"/>
                  <a:gd name="T6" fmla="*/ 10 w 211"/>
                  <a:gd name="T7" fmla="*/ 2 h 31"/>
                  <a:gd name="T8" fmla="*/ 8 w 211"/>
                  <a:gd name="T9" fmla="*/ 3 h 31"/>
                  <a:gd name="T10" fmla="*/ 4 w 211"/>
                  <a:gd name="T11" fmla="*/ 5 h 31"/>
                  <a:gd name="T12" fmla="*/ 3 w 211"/>
                  <a:gd name="T13" fmla="*/ 7 h 31"/>
                  <a:gd name="T14" fmla="*/ 1 w 211"/>
                  <a:gd name="T15" fmla="*/ 9 h 31"/>
                  <a:gd name="T16" fmla="*/ 1 w 211"/>
                  <a:gd name="T17" fmla="*/ 12 h 31"/>
                  <a:gd name="T18" fmla="*/ 0 w 211"/>
                  <a:gd name="T19" fmla="*/ 16 h 31"/>
                  <a:gd name="T20" fmla="*/ 1 w 211"/>
                  <a:gd name="T21" fmla="*/ 18 h 31"/>
                  <a:gd name="T22" fmla="*/ 1 w 211"/>
                  <a:gd name="T23" fmla="*/ 21 h 31"/>
                  <a:gd name="T24" fmla="*/ 3 w 211"/>
                  <a:gd name="T25" fmla="*/ 23 h 31"/>
                  <a:gd name="T26" fmla="*/ 4 w 211"/>
                  <a:gd name="T27" fmla="*/ 25 h 31"/>
                  <a:gd name="T28" fmla="*/ 8 w 211"/>
                  <a:gd name="T29" fmla="*/ 27 h 31"/>
                  <a:gd name="T30" fmla="*/ 10 w 211"/>
                  <a:gd name="T31" fmla="*/ 28 h 31"/>
                  <a:gd name="T32" fmla="*/ 13 w 211"/>
                  <a:gd name="T33" fmla="*/ 30 h 31"/>
                  <a:gd name="T34" fmla="*/ 15 w 211"/>
                  <a:gd name="T35" fmla="*/ 31 h 31"/>
                  <a:gd name="T36" fmla="*/ 196 w 211"/>
                  <a:gd name="T37" fmla="*/ 31 h 31"/>
                  <a:gd name="T38" fmla="*/ 200 w 211"/>
                  <a:gd name="T39" fmla="*/ 30 h 31"/>
                  <a:gd name="T40" fmla="*/ 202 w 211"/>
                  <a:gd name="T41" fmla="*/ 28 h 31"/>
                  <a:gd name="T42" fmla="*/ 205 w 211"/>
                  <a:gd name="T43" fmla="*/ 27 h 31"/>
                  <a:gd name="T44" fmla="*/ 207 w 211"/>
                  <a:gd name="T45" fmla="*/ 25 h 31"/>
                  <a:gd name="T46" fmla="*/ 208 w 211"/>
                  <a:gd name="T47" fmla="*/ 23 h 31"/>
                  <a:gd name="T48" fmla="*/ 210 w 211"/>
                  <a:gd name="T49" fmla="*/ 21 h 31"/>
                  <a:gd name="T50" fmla="*/ 211 w 211"/>
                  <a:gd name="T51" fmla="*/ 18 h 31"/>
                  <a:gd name="T52" fmla="*/ 211 w 211"/>
                  <a:gd name="T53" fmla="*/ 16 h 31"/>
                  <a:gd name="T54" fmla="*/ 211 w 211"/>
                  <a:gd name="T55" fmla="*/ 12 h 31"/>
                  <a:gd name="T56" fmla="*/ 210 w 211"/>
                  <a:gd name="T57" fmla="*/ 9 h 31"/>
                  <a:gd name="T58" fmla="*/ 208 w 211"/>
                  <a:gd name="T59" fmla="*/ 7 h 31"/>
                  <a:gd name="T60" fmla="*/ 207 w 211"/>
                  <a:gd name="T61" fmla="*/ 5 h 31"/>
                  <a:gd name="T62" fmla="*/ 205 w 211"/>
                  <a:gd name="T63" fmla="*/ 3 h 31"/>
                  <a:gd name="T64" fmla="*/ 202 w 211"/>
                  <a:gd name="T65" fmla="*/ 2 h 31"/>
                  <a:gd name="T66" fmla="*/ 200 w 211"/>
                  <a:gd name="T67" fmla="*/ 1 h 31"/>
                  <a:gd name="T68" fmla="*/ 196 w 211"/>
                  <a:gd name="T69"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11" h="31">
                    <a:moveTo>
                      <a:pt x="196" y="0"/>
                    </a:moveTo>
                    <a:lnTo>
                      <a:pt x="15" y="0"/>
                    </a:lnTo>
                    <a:lnTo>
                      <a:pt x="13" y="1"/>
                    </a:lnTo>
                    <a:lnTo>
                      <a:pt x="10" y="2"/>
                    </a:lnTo>
                    <a:lnTo>
                      <a:pt x="8" y="3"/>
                    </a:lnTo>
                    <a:lnTo>
                      <a:pt x="4" y="5"/>
                    </a:lnTo>
                    <a:lnTo>
                      <a:pt x="3" y="7"/>
                    </a:lnTo>
                    <a:lnTo>
                      <a:pt x="1" y="9"/>
                    </a:lnTo>
                    <a:lnTo>
                      <a:pt x="1" y="12"/>
                    </a:lnTo>
                    <a:lnTo>
                      <a:pt x="0" y="16"/>
                    </a:lnTo>
                    <a:lnTo>
                      <a:pt x="1" y="18"/>
                    </a:lnTo>
                    <a:lnTo>
                      <a:pt x="1" y="21"/>
                    </a:lnTo>
                    <a:lnTo>
                      <a:pt x="3" y="23"/>
                    </a:lnTo>
                    <a:lnTo>
                      <a:pt x="4" y="25"/>
                    </a:lnTo>
                    <a:lnTo>
                      <a:pt x="8" y="27"/>
                    </a:lnTo>
                    <a:lnTo>
                      <a:pt x="10" y="28"/>
                    </a:lnTo>
                    <a:lnTo>
                      <a:pt x="13" y="30"/>
                    </a:lnTo>
                    <a:lnTo>
                      <a:pt x="15" y="31"/>
                    </a:lnTo>
                    <a:lnTo>
                      <a:pt x="196" y="31"/>
                    </a:lnTo>
                    <a:lnTo>
                      <a:pt x="200" y="30"/>
                    </a:lnTo>
                    <a:lnTo>
                      <a:pt x="202" y="28"/>
                    </a:lnTo>
                    <a:lnTo>
                      <a:pt x="205" y="27"/>
                    </a:lnTo>
                    <a:lnTo>
                      <a:pt x="207" y="25"/>
                    </a:lnTo>
                    <a:lnTo>
                      <a:pt x="208" y="23"/>
                    </a:lnTo>
                    <a:lnTo>
                      <a:pt x="210" y="21"/>
                    </a:lnTo>
                    <a:lnTo>
                      <a:pt x="211" y="18"/>
                    </a:lnTo>
                    <a:lnTo>
                      <a:pt x="211" y="16"/>
                    </a:lnTo>
                    <a:lnTo>
                      <a:pt x="211" y="12"/>
                    </a:lnTo>
                    <a:lnTo>
                      <a:pt x="210" y="9"/>
                    </a:lnTo>
                    <a:lnTo>
                      <a:pt x="208" y="7"/>
                    </a:lnTo>
                    <a:lnTo>
                      <a:pt x="207" y="5"/>
                    </a:lnTo>
                    <a:lnTo>
                      <a:pt x="205" y="3"/>
                    </a:lnTo>
                    <a:lnTo>
                      <a:pt x="202" y="2"/>
                    </a:lnTo>
                    <a:lnTo>
                      <a:pt x="200" y="1"/>
                    </a:lnTo>
                    <a:lnTo>
                      <a:pt x="19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205"/>
              <p:cNvSpPr>
                <a:spLocks/>
              </p:cNvSpPr>
              <p:nvPr/>
            </p:nvSpPr>
            <p:spPr bwMode="auto">
              <a:xfrm>
                <a:off x="10567988" y="2468563"/>
                <a:ext cx="66675" cy="9525"/>
              </a:xfrm>
              <a:custGeom>
                <a:avLst/>
                <a:gdLst>
                  <a:gd name="T0" fmla="*/ 196 w 211"/>
                  <a:gd name="T1" fmla="*/ 0 h 30"/>
                  <a:gd name="T2" fmla="*/ 15 w 211"/>
                  <a:gd name="T3" fmla="*/ 0 h 30"/>
                  <a:gd name="T4" fmla="*/ 13 w 211"/>
                  <a:gd name="T5" fmla="*/ 0 h 30"/>
                  <a:gd name="T6" fmla="*/ 10 w 211"/>
                  <a:gd name="T7" fmla="*/ 1 h 30"/>
                  <a:gd name="T8" fmla="*/ 8 w 211"/>
                  <a:gd name="T9" fmla="*/ 2 h 30"/>
                  <a:gd name="T10" fmla="*/ 4 w 211"/>
                  <a:gd name="T11" fmla="*/ 4 h 30"/>
                  <a:gd name="T12" fmla="*/ 3 w 211"/>
                  <a:gd name="T13" fmla="*/ 6 h 30"/>
                  <a:gd name="T14" fmla="*/ 1 w 211"/>
                  <a:gd name="T15" fmla="*/ 8 h 30"/>
                  <a:gd name="T16" fmla="*/ 1 w 211"/>
                  <a:gd name="T17" fmla="*/ 11 h 30"/>
                  <a:gd name="T18" fmla="*/ 0 w 211"/>
                  <a:gd name="T19" fmla="*/ 15 h 30"/>
                  <a:gd name="T20" fmla="*/ 1 w 211"/>
                  <a:gd name="T21" fmla="*/ 17 h 30"/>
                  <a:gd name="T22" fmla="*/ 1 w 211"/>
                  <a:gd name="T23" fmla="*/ 20 h 30"/>
                  <a:gd name="T24" fmla="*/ 3 w 211"/>
                  <a:gd name="T25" fmla="*/ 22 h 30"/>
                  <a:gd name="T26" fmla="*/ 4 w 211"/>
                  <a:gd name="T27" fmla="*/ 25 h 30"/>
                  <a:gd name="T28" fmla="*/ 8 w 211"/>
                  <a:gd name="T29" fmla="*/ 26 h 30"/>
                  <a:gd name="T30" fmla="*/ 10 w 211"/>
                  <a:gd name="T31" fmla="*/ 29 h 30"/>
                  <a:gd name="T32" fmla="*/ 13 w 211"/>
                  <a:gd name="T33" fmla="*/ 29 h 30"/>
                  <a:gd name="T34" fmla="*/ 15 w 211"/>
                  <a:gd name="T35" fmla="*/ 30 h 30"/>
                  <a:gd name="T36" fmla="*/ 196 w 211"/>
                  <a:gd name="T37" fmla="*/ 30 h 30"/>
                  <a:gd name="T38" fmla="*/ 200 w 211"/>
                  <a:gd name="T39" fmla="*/ 29 h 30"/>
                  <a:gd name="T40" fmla="*/ 202 w 211"/>
                  <a:gd name="T41" fmla="*/ 29 h 30"/>
                  <a:gd name="T42" fmla="*/ 205 w 211"/>
                  <a:gd name="T43" fmla="*/ 26 h 30"/>
                  <a:gd name="T44" fmla="*/ 207 w 211"/>
                  <a:gd name="T45" fmla="*/ 25 h 30"/>
                  <a:gd name="T46" fmla="*/ 208 w 211"/>
                  <a:gd name="T47" fmla="*/ 22 h 30"/>
                  <a:gd name="T48" fmla="*/ 210 w 211"/>
                  <a:gd name="T49" fmla="*/ 20 h 30"/>
                  <a:gd name="T50" fmla="*/ 211 w 211"/>
                  <a:gd name="T51" fmla="*/ 17 h 30"/>
                  <a:gd name="T52" fmla="*/ 211 w 211"/>
                  <a:gd name="T53" fmla="*/ 15 h 30"/>
                  <a:gd name="T54" fmla="*/ 211 w 211"/>
                  <a:gd name="T55" fmla="*/ 11 h 30"/>
                  <a:gd name="T56" fmla="*/ 210 w 211"/>
                  <a:gd name="T57" fmla="*/ 8 h 30"/>
                  <a:gd name="T58" fmla="*/ 208 w 211"/>
                  <a:gd name="T59" fmla="*/ 6 h 30"/>
                  <a:gd name="T60" fmla="*/ 207 w 211"/>
                  <a:gd name="T61" fmla="*/ 4 h 30"/>
                  <a:gd name="T62" fmla="*/ 205 w 211"/>
                  <a:gd name="T63" fmla="*/ 2 h 30"/>
                  <a:gd name="T64" fmla="*/ 202 w 211"/>
                  <a:gd name="T65" fmla="*/ 1 h 30"/>
                  <a:gd name="T66" fmla="*/ 200 w 211"/>
                  <a:gd name="T67" fmla="*/ 0 h 30"/>
                  <a:gd name="T68" fmla="*/ 196 w 211"/>
                  <a:gd name="T69"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11" h="30">
                    <a:moveTo>
                      <a:pt x="196" y="0"/>
                    </a:moveTo>
                    <a:lnTo>
                      <a:pt x="15" y="0"/>
                    </a:lnTo>
                    <a:lnTo>
                      <a:pt x="13" y="0"/>
                    </a:lnTo>
                    <a:lnTo>
                      <a:pt x="10" y="1"/>
                    </a:lnTo>
                    <a:lnTo>
                      <a:pt x="8" y="2"/>
                    </a:lnTo>
                    <a:lnTo>
                      <a:pt x="4" y="4"/>
                    </a:lnTo>
                    <a:lnTo>
                      <a:pt x="3" y="6"/>
                    </a:lnTo>
                    <a:lnTo>
                      <a:pt x="1" y="8"/>
                    </a:lnTo>
                    <a:lnTo>
                      <a:pt x="1" y="11"/>
                    </a:lnTo>
                    <a:lnTo>
                      <a:pt x="0" y="15"/>
                    </a:lnTo>
                    <a:lnTo>
                      <a:pt x="1" y="17"/>
                    </a:lnTo>
                    <a:lnTo>
                      <a:pt x="1" y="20"/>
                    </a:lnTo>
                    <a:lnTo>
                      <a:pt x="3" y="22"/>
                    </a:lnTo>
                    <a:lnTo>
                      <a:pt x="4" y="25"/>
                    </a:lnTo>
                    <a:lnTo>
                      <a:pt x="8" y="26"/>
                    </a:lnTo>
                    <a:lnTo>
                      <a:pt x="10" y="29"/>
                    </a:lnTo>
                    <a:lnTo>
                      <a:pt x="13" y="29"/>
                    </a:lnTo>
                    <a:lnTo>
                      <a:pt x="15" y="30"/>
                    </a:lnTo>
                    <a:lnTo>
                      <a:pt x="196" y="30"/>
                    </a:lnTo>
                    <a:lnTo>
                      <a:pt x="200" y="29"/>
                    </a:lnTo>
                    <a:lnTo>
                      <a:pt x="202" y="29"/>
                    </a:lnTo>
                    <a:lnTo>
                      <a:pt x="205" y="26"/>
                    </a:lnTo>
                    <a:lnTo>
                      <a:pt x="207" y="25"/>
                    </a:lnTo>
                    <a:lnTo>
                      <a:pt x="208" y="22"/>
                    </a:lnTo>
                    <a:lnTo>
                      <a:pt x="210" y="20"/>
                    </a:lnTo>
                    <a:lnTo>
                      <a:pt x="211" y="17"/>
                    </a:lnTo>
                    <a:lnTo>
                      <a:pt x="211" y="15"/>
                    </a:lnTo>
                    <a:lnTo>
                      <a:pt x="211" y="11"/>
                    </a:lnTo>
                    <a:lnTo>
                      <a:pt x="210" y="8"/>
                    </a:lnTo>
                    <a:lnTo>
                      <a:pt x="208" y="6"/>
                    </a:lnTo>
                    <a:lnTo>
                      <a:pt x="207" y="4"/>
                    </a:lnTo>
                    <a:lnTo>
                      <a:pt x="205" y="2"/>
                    </a:lnTo>
                    <a:lnTo>
                      <a:pt x="202" y="1"/>
                    </a:lnTo>
                    <a:lnTo>
                      <a:pt x="200" y="0"/>
                    </a:lnTo>
                    <a:lnTo>
                      <a:pt x="19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206"/>
              <p:cNvSpPr>
                <a:spLocks/>
              </p:cNvSpPr>
              <p:nvPr/>
            </p:nvSpPr>
            <p:spPr bwMode="auto">
              <a:xfrm>
                <a:off x="10567988" y="2487613"/>
                <a:ext cx="66675" cy="28575"/>
              </a:xfrm>
              <a:custGeom>
                <a:avLst/>
                <a:gdLst>
                  <a:gd name="T0" fmla="*/ 196 w 211"/>
                  <a:gd name="T1" fmla="*/ 0 h 90"/>
                  <a:gd name="T2" fmla="*/ 15 w 211"/>
                  <a:gd name="T3" fmla="*/ 0 h 90"/>
                  <a:gd name="T4" fmla="*/ 13 w 211"/>
                  <a:gd name="T5" fmla="*/ 0 h 90"/>
                  <a:gd name="T6" fmla="*/ 10 w 211"/>
                  <a:gd name="T7" fmla="*/ 1 h 90"/>
                  <a:gd name="T8" fmla="*/ 8 w 211"/>
                  <a:gd name="T9" fmla="*/ 2 h 90"/>
                  <a:gd name="T10" fmla="*/ 4 w 211"/>
                  <a:gd name="T11" fmla="*/ 4 h 90"/>
                  <a:gd name="T12" fmla="*/ 3 w 211"/>
                  <a:gd name="T13" fmla="*/ 6 h 90"/>
                  <a:gd name="T14" fmla="*/ 1 w 211"/>
                  <a:gd name="T15" fmla="*/ 8 h 90"/>
                  <a:gd name="T16" fmla="*/ 1 w 211"/>
                  <a:gd name="T17" fmla="*/ 11 h 90"/>
                  <a:gd name="T18" fmla="*/ 0 w 211"/>
                  <a:gd name="T19" fmla="*/ 15 h 90"/>
                  <a:gd name="T20" fmla="*/ 1 w 211"/>
                  <a:gd name="T21" fmla="*/ 18 h 90"/>
                  <a:gd name="T22" fmla="*/ 1 w 211"/>
                  <a:gd name="T23" fmla="*/ 20 h 90"/>
                  <a:gd name="T24" fmla="*/ 3 w 211"/>
                  <a:gd name="T25" fmla="*/ 23 h 90"/>
                  <a:gd name="T26" fmla="*/ 4 w 211"/>
                  <a:gd name="T27" fmla="*/ 25 h 90"/>
                  <a:gd name="T28" fmla="*/ 8 w 211"/>
                  <a:gd name="T29" fmla="*/ 27 h 90"/>
                  <a:gd name="T30" fmla="*/ 10 w 211"/>
                  <a:gd name="T31" fmla="*/ 29 h 90"/>
                  <a:gd name="T32" fmla="*/ 13 w 211"/>
                  <a:gd name="T33" fmla="*/ 30 h 90"/>
                  <a:gd name="T34" fmla="*/ 15 w 211"/>
                  <a:gd name="T35" fmla="*/ 30 h 90"/>
                  <a:gd name="T36" fmla="*/ 91 w 211"/>
                  <a:gd name="T37" fmla="*/ 30 h 90"/>
                  <a:gd name="T38" fmla="*/ 91 w 211"/>
                  <a:gd name="T39" fmla="*/ 75 h 90"/>
                  <a:gd name="T40" fmla="*/ 91 w 211"/>
                  <a:gd name="T41" fmla="*/ 78 h 90"/>
                  <a:gd name="T42" fmla="*/ 92 w 211"/>
                  <a:gd name="T43" fmla="*/ 80 h 90"/>
                  <a:gd name="T44" fmla="*/ 93 w 211"/>
                  <a:gd name="T45" fmla="*/ 83 h 90"/>
                  <a:gd name="T46" fmla="*/ 96 w 211"/>
                  <a:gd name="T47" fmla="*/ 85 h 90"/>
                  <a:gd name="T48" fmla="*/ 98 w 211"/>
                  <a:gd name="T49" fmla="*/ 88 h 90"/>
                  <a:gd name="T50" fmla="*/ 100 w 211"/>
                  <a:gd name="T51" fmla="*/ 89 h 90"/>
                  <a:gd name="T52" fmla="*/ 103 w 211"/>
                  <a:gd name="T53" fmla="*/ 90 h 90"/>
                  <a:gd name="T54" fmla="*/ 106 w 211"/>
                  <a:gd name="T55" fmla="*/ 90 h 90"/>
                  <a:gd name="T56" fmla="*/ 108 w 211"/>
                  <a:gd name="T57" fmla="*/ 90 h 90"/>
                  <a:gd name="T58" fmla="*/ 112 w 211"/>
                  <a:gd name="T59" fmla="*/ 89 h 90"/>
                  <a:gd name="T60" fmla="*/ 114 w 211"/>
                  <a:gd name="T61" fmla="*/ 88 h 90"/>
                  <a:gd name="T62" fmla="*/ 116 w 211"/>
                  <a:gd name="T63" fmla="*/ 85 h 90"/>
                  <a:gd name="T64" fmla="*/ 118 w 211"/>
                  <a:gd name="T65" fmla="*/ 83 h 90"/>
                  <a:gd name="T66" fmla="*/ 119 w 211"/>
                  <a:gd name="T67" fmla="*/ 80 h 90"/>
                  <a:gd name="T68" fmla="*/ 120 w 211"/>
                  <a:gd name="T69" fmla="*/ 78 h 90"/>
                  <a:gd name="T70" fmla="*/ 121 w 211"/>
                  <a:gd name="T71" fmla="*/ 75 h 90"/>
                  <a:gd name="T72" fmla="*/ 121 w 211"/>
                  <a:gd name="T73" fmla="*/ 30 h 90"/>
                  <a:gd name="T74" fmla="*/ 196 w 211"/>
                  <a:gd name="T75" fmla="*/ 30 h 90"/>
                  <a:gd name="T76" fmla="*/ 200 w 211"/>
                  <a:gd name="T77" fmla="*/ 30 h 90"/>
                  <a:gd name="T78" fmla="*/ 202 w 211"/>
                  <a:gd name="T79" fmla="*/ 29 h 90"/>
                  <a:gd name="T80" fmla="*/ 205 w 211"/>
                  <a:gd name="T81" fmla="*/ 27 h 90"/>
                  <a:gd name="T82" fmla="*/ 207 w 211"/>
                  <a:gd name="T83" fmla="*/ 25 h 90"/>
                  <a:gd name="T84" fmla="*/ 208 w 211"/>
                  <a:gd name="T85" fmla="*/ 23 h 90"/>
                  <a:gd name="T86" fmla="*/ 210 w 211"/>
                  <a:gd name="T87" fmla="*/ 20 h 90"/>
                  <a:gd name="T88" fmla="*/ 211 w 211"/>
                  <a:gd name="T89" fmla="*/ 18 h 90"/>
                  <a:gd name="T90" fmla="*/ 211 w 211"/>
                  <a:gd name="T91" fmla="*/ 15 h 90"/>
                  <a:gd name="T92" fmla="*/ 211 w 211"/>
                  <a:gd name="T93" fmla="*/ 11 h 90"/>
                  <a:gd name="T94" fmla="*/ 210 w 211"/>
                  <a:gd name="T95" fmla="*/ 8 h 90"/>
                  <a:gd name="T96" fmla="*/ 208 w 211"/>
                  <a:gd name="T97" fmla="*/ 6 h 90"/>
                  <a:gd name="T98" fmla="*/ 207 w 211"/>
                  <a:gd name="T99" fmla="*/ 4 h 90"/>
                  <a:gd name="T100" fmla="*/ 205 w 211"/>
                  <a:gd name="T101" fmla="*/ 2 h 90"/>
                  <a:gd name="T102" fmla="*/ 202 w 211"/>
                  <a:gd name="T103" fmla="*/ 1 h 90"/>
                  <a:gd name="T104" fmla="*/ 200 w 211"/>
                  <a:gd name="T105" fmla="*/ 0 h 90"/>
                  <a:gd name="T106" fmla="*/ 196 w 211"/>
                  <a:gd name="T107" fmla="*/ 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11" h="90">
                    <a:moveTo>
                      <a:pt x="196" y="0"/>
                    </a:moveTo>
                    <a:lnTo>
                      <a:pt x="15" y="0"/>
                    </a:lnTo>
                    <a:lnTo>
                      <a:pt x="13" y="0"/>
                    </a:lnTo>
                    <a:lnTo>
                      <a:pt x="10" y="1"/>
                    </a:lnTo>
                    <a:lnTo>
                      <a:pt x="8" y="2"/>
                    </a:lnTo>
                    <a:lnTo>
                      <a:pt x="4" y="4"/>
                    </a:lnTo>
                    <a:lnTo>
                      <a:pt x="3" y="6"/>
                    </a:lnTo>
                    <a:lnTo>
                      <a:pt x="1" y="8"/>
                    </a:lnTo>
                    <a:lnTo>
                      <a:pt x="1" y="11"/>
                    </a:lnTo>
                    <a:lnTo>
                      <a:pt x="0" y="15"/>
                    </a:lnTo>
                    <a:lnTo>
                      <a:pt x="1" y="18"/>
                    </a:lnTo>
                    <a:lnTo>
                      <a:pt x="1" y="20"/>
                    </a:lnTo>
                    <a:lnTo>
                      <a:pt x="3" y="23"/>
                    </a:lnTo>
                    <a:lnTo>
                      <a:pt x="4" y="25"/>
                    </a:lnTo>
                    <a:lnTo>
                      <a:pt x="8" y="27"/>
                    </a:lnTo>
                    <a:lnTo>
                      <a:pt x="10" y="29"/>
                    </a:lnTo>
                    <a:lnTo>
                      <a:pt x="13" y="30"/>
                    </a:lnTo>
                    <a:lnTo>
                      <a:pt x="15" y="30"/>
                    </a:lnTo>
                    <a:lnTo>
                      <a:pt x="91" y="30"/>
                    </a:lnTo>
                    <a:lnTo>
                      <a:pt x="91" y="75"/>
                    </a:lnTo>
                    <a:lnTo>
                      <a:pt x="91" y="78"/>
                    </a:lnTo>
                    <a:lnTo>
                      <a:pt x="92" y="80"/>
                    </a:lnTo>
                    <a:lnTo>
                      <a:pt x="93" y="83"/>
                    </a:lnTo>
                    <a:lnTo>
                      <a:pt x="96" y="85"/>
                    </a:lnTo>
                    <a:lnTo>
                      <a:pt x="98" y="88"/>
                    </a:lnTo>
                    <a:lnTo>
                      <a:pt x="100" y="89"/>
                    </a:lnTo>
                    <a:lnTo>
                      <a:pt x="103" y="90"/>
                    </a:lnTo>
                    <a:lnTo>
                      <a:pt x="106" y="90"/>
                    </a:lnTo>
                    <a:lnTo>
                      <a:pt x="108" y="90"/>
                    </a:lnTo>
                    <a:lnTo>
                      <a:pt x="112" y="89"/>
                    </a:lnTo>
                    <a:lnTo>
                      <a:pt x="114" y="88"/>
                    </a:lnTo>
                    <a:lnTo>
                      <a:pt x="116" y="85"/>
                    </a:lnTo>
                    <a:lnTo>
                      <a:pt x="118" y="83"/>
                    </a:lnTo>
                    <a:lnTo>
                      <a:pt x="119" y="80"/>
                    </a:lnTo>
                    <a:lnTo>
                      <a:pt x="120" y="78"/>
                    </a:lnTo>
                    <a:lnTo>
                      <a:pt x="121" y="75"/>
                    </a:lnTo>
                    <a:lnTo>
                      <a:pt x="121" y="30"/>
                    </a:lnTo>
                    <a:lnTo>
                      <a:pt x="196" y="30"/>
                    </a:lnTo>
                    <a:lnTo>
                      <a:pt x="200" y="30"/>
                    </a:lnTo>
                    <a:lnTo>
                      <a:pt x="202" y="29"/>
                    </a:lnTo>
                    <a:lnTo>
                      <a:pt x="205" y="27"/>
                    </a:lnTo>
                    <a:lnTo>
                      <a:pt x="207" y="25"/>
                    </a:lnTo>
                    <a:lnTo>
                      <a:pt x="208" y="23"/>
                    </a:lnTo>
                    <a:lnTo>
                      <a:pt x="210" y="20"/>
                    </a:lnTo>
                    <a:lnTo>
                      <a:pt x="211" y="18"/>
                    </a:lnTo>
                    <a:lnTo>
                      <a:pt x="211" y="15"/>
                    </a:lnTo>
                    <a:lnTo>
                      <a:pt x="211" y="11"/>
                    </a:lnTo>
                    <a:lnTo>
                      <a:pt x="210" y="8"/>
                    </a:lnTo>
                    <a:lnTo>
                      <a:pt x="208" y="6"/>
                    </a:lnTo>
                    <a:lnTo>
                      <a:pt x="207" y="4"/>
                    </a:lnTo>
                    <a:lnTo>
                      <a:pt x="205" y="2"/>
                    </a:lnTo>
                    <a:lnTo>
                      <a:pt x="202" y="1"/>
                    </a:lnTo>
                    <a:lnTo>
                      <a:pt x="200" y="0"/>
                    </a:lnTo>
                    <a:lnTo>
                      <a:pt x="19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81" name="Freeform 303"/>
            <p:cNvSpPr>
              <a:spLocks noEditPoints="1"/>
            </p:cNvSpPr>
            <p:nvPr/>
          </p:nvSpPr>
          <p:spPr bwMode="auto">
            <a:xfrm>
              <a:off x="5995888" y="1579523"/>
              <a:ext cx="192088" cy="238125"/>
            </a:xfrm>
            <a:custGeom>
              <a:avLst/>
              <a:gdLst>
                <a:gd name="T0" fmla="*/ 120 w 602"/>
                <a:gd name="T1" fmla="*/ 30 h 751"/>
                <a:gd name="T2" fmla="*/ 391 w 602"/>
                <a:gd name="T3" fmla="*/ 196 h 751"/>
                <a:gd name="T4" fmla="*/ 392 w 602"/>
                <a:gd name="T5" fmla="*/ 201 h 751"/>
                <a:gd name="T6" fmla="*/ 395 w 602"/>
                <a:gd name="T7" fmla="*/ 206 h 751"/>
                <a:gd name="T8" fmla="*/ 401 w 602"/>
                <a:gd name="T9" fmla="*/ 209 h 751"/>
                <a:gd name="T10" fmla="*/ 406 w 602"/>
                <a:gd name="T11" fmla="*/ 211 h 751"/>
                <a:gd name="T12" fmla="*/ 571 w 602"/>
                <a:gd name="T13" fmla="*/ 631 h 751"/>
                <a:gd name="T14" fmla="*/ 481 w 602"/>
                <a:gd name="T15" fmla="*/ 721 h 751"/>
                <a:gd name="T16" fmla="*/ 30 w 602"/>
                <a:gd name="T17" fmla="*/ 120 h 751"/>
                <a:gd name="T18" fmla="*/ 90 w 602"/>
                <a:gd name="T19" fmla="*/ 646 h 751"/>
                <a:gd name="T20" fmla="*/ 91 w 602"/>
                <a:gd name="T21" fmla="*/ 651 h 751"/>
                <a:gd name="T22" fmla="*/ 95 w 602"/>
                <a:gd name="T23" fmla="*/ 657 h 751"/>
                <a:gd name="T24" fmla="*/ 100 w 602"/>
                <a:gd name="T25" fmla="*/ 660 h 751"/>
                <a:gd name="T26" fmla="*/ 105 w 602"/>
                <a:gd name="T27" fmla="*/ 661 h 751"/>
                <a:gd name="T28" fmla="*/ 481 w 602"/>
                <a:gd name="T29" fmla="*/ 721 h 751"/>
                <a:gd name="T30" fmla="*/ 550 w 602"/>
                <a:gd name="T31" fmla="*/ 181 h 751"/>
                <a:gd name="T32" fmla="*/ 421 w 602"/>
                <a:gd name="T33" fmla="*/ 52 h 751"/>
                <a:gd name="T34" fmla="*/ 417 w 602"/>
                <a:gd name="T35" fmla="*/ 4 h 751"/>
                <a:gd name="T36" fmla="*/ 411 w 602"/>
                <a:gd name="T37" fmla="*/ 1 h 751"/>
                <a:gd name="T38" fmla="*/ 406 w 602"/>
                <a:gd name="T39" fmla="*/ 0 h 751"/>
                <a:gd name="T40" fmla="*/ 103 w 602"/>
                <a:gd name="T41" fmla="*/ 0 h 751"/>
                <a:gd name="T42" fmla="*/ 98 w 602"/>
                <a:gd name="T43" fmla="*/ 3 h 751"/>
                <a:gd name="T44" fmla="*/ 94 w 602"/>
                <a:gd name="T45" fmla="*/ 7 h 751"/>
                <a:gd name="T46" fmla="*/ 91 w 602"/>
                <a:gd name="T47" fmla="*/ 13 h 751"/>
                <a:gd name="T48" fmla="*/ 90 w 602"/>
                <a:gd name="T49" fmla="*/ 90 h 751"/>
                <a:gd name="T50" fmla="*/ 12 w 602"/>
                <a:gd name="T51" fmla="*/ 91 h 751"/>
                <a:gd name="T52" fmla="*/ 7 w 602"/>
                <a:gd name="T53" fmla="*/ 93 h 751"/>
                <a:gd name="T54" fmla="*/ 4 w 602"/>
                <a:gd name="T55" fmla="*/ 97 h 751"/>
                <a:gd name="T56" fmla="*/ 0 w 602"/>
                <a:gd name="T57" fmla="*/ 102 h 751"/>
                <a:gd name="T58" fmla="*/ 0 w 602"/>
                <a:gd name="T59" fmla="*/ 736 h 751"/>
                <a:gd name="T60" fmla="*/ 2 w 602"/>
                <a:gd name="T61" fmla="*/ 742 h 751"/>
                <a:gd name="T62" fmla="*/ 5 w 602"/>
                <a:gd name="T63" fmla="*/ 747 h 751"/>
                <a:gd name="T64" fmla="*/ 10 w 602"/>
                <a:gd name="T65" fmla="*/ 750 h 751"/>
                <a:gd name="T66" fmla="*/ 15 w 602"/>
                <a:gd name="T67" fmla="*/ 751 h 751"/>
                <a:gd name="T68" fmla="*/ 499 w 602"/>
                <a:gd name="T69" fmla="*/ 751 h 751"/>
                <a:gd name="T70" fmla="*/ 504 w 602"/>
                <a:gd name="T71" fmla="*/ 749 h 751"/>
                <a:gd name="T72" fmla="*/ 509 w 602"/>
                <a:gd name="T73" fmla="*/ 745 h 751"/>
                <a:gd name="T74" fmla="*/ 511 w 602"/>
                <a:gd name="T75" fmla="*/ 739 h 751"/>
                <a:gd name="T76" fmla="*/ 511 w 602"/>
                <a:gd name="T77" fmla="*/ 661 h 751"/>
                <a:gd name="T78" fmla="*/ 589 w 602"/>
                <a:gd name="T79" fmla="*/ 660 h 751"/>
                <a:gd name="T80" fmla="*/ 594 w 602"/>
                <a:gd name="T81" fmla="*/ 658 h 751"/>
                <a:gd name="T82" fmla="*/ 599 w 602"/>
                <a:gd name="T83" fmla="*/ 655 h 751"/>
                <a:gd name="T84" fmla="*/ 601 w 602"/>
                <a:gd name="T85" fmla="*/ 649 h 751"/>
                <a:gd name="T86" fmla="*/ 602 w 602"/>
                <a:gd name="T87" fmla="*/ 196 h 751"/>
                <a:gd name="T88" fmla="*/ 596 w 602"/>
                <a:gd name="T89" fmla="*/ 185 h 7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02" h="751">
                  <a:moveTo>
                    <a:pt x="120" y="631"/>
                  </a:moveTo>
                  <a:lnTo>
                    <a:pt x="120" y="30"/>
                  </a:lnTo>
                  <a:lnTo>
                    <a:pt x="391" y="30"/>
                  </a:lnTo>
                  <a:lnTo>
                    <a:pt x="391" y="196"/>
                  </a:lnTo>
                  <a:lnTo>
                    <a:pt x="391" y="199"/>
                  </a:lnTo>
                  <a:lnTo>
                    <a:pt x="392" y="201"/>
                  </a:lnTo>
                  <a:lnTo>
                    <a:pt x="393" y="204"/>
                  </a:lnTo>
                  <a:lnTo>
                    <a:pt x="395" y="206"/>
                  </a:lnTo>
                  <a:lnTo>
                    <a:pt x="397" y="207"/>
                  </a:lnTo>
                  <a:lnTo>
                    <a:pt x="401" y="209"/>
                  </a:lnTo>
                  <a:lnTo>
                    <a:pt x="403" y="209"/>
                  </a:lnTo>
                  <a:lnTo>
                    <a:pt x="406" y="211"/>
                  </a:lnTo>
                  <a:lnTo>
                    <a:pt x="571" y="211"/>
                  </a:lnTo>
                  <a:lnTo>
                    <a:pt x="571" y="631"/>
                  </a:lnTo>
                  <a:lnTo>
                    <a:pt x="120" y="631"/>
                  </a:lnTo>
                  <a:close/>
                  <a:moveTo>
                    <a:pt x="481" y="721"/>
                  </a:moveTo>
                  <a:lnTo>
                    <a:pt x="30" y="721"/>
                  </a:lnTo>
                  <a:lnTo>
                    <a:pt x="30" y="120"/>
                  </a:lnTo>
                  <a:lnTo>
                    <a:pt x="90" y="120"/>
                  </a:lnTo>
                  <a:lnTo>
                    <a:pt x="90" y="646"/>
                  </a:lnTo>
                  <a:lnTo>
                    <a:pt x="91" y="649"/>
                  </a:lnTo>
                  <a:lnTo>
                    <a:pt x="91" y="651"/>
                  </a:lnTo>
                  <a:lnTo>
                    <a:pt x="94" y="655"/>
                  </a:lnTo>
                  <a:lnTo>
                    <a:pt x="95" y="657"/>
                  </a:lnTo>
                  <a:lnTo>
                    <a:pt x="98" y="658"/>
                  </a:lnTo>
                  <a:lnTo>
                    <a:pt x="100" y="660"/>
                  </a:lnTo>
                  <a:lnTo>
                    <a:pt x="103" y="660"/>
                  </a:lnTo>
                  <a:lnTo>
                    <a:pt x="105" y="661"/>
                  </a:lnTo>
                  <a:lnTo>
                    <a:pt x="481" y="661"/>
                  </a:lnTo>
                  <a:lnTo>
                    <a:pt x="481" y="721"/>
                  </a:lnTo>
                  <a:close/>
                  <a:moveTo>
                    <a:pt x="421" y="52"/>
                  </a:moveTo>
                  <a:lnTo>
                    <a:pt x="550" y="181"/>
                  </a:lnTo>
                  <a:lnTo>
                    <a:pt x="421" y="181"/>
                  </a:lnTo>
                  <a:lnTo>
                    <a:pt x="421" y="52"/>
                  </a:lnTo>
                  <a:close/>
                  <a:moveTo>
                    <a:pt x="596" y="185"/>
                  </a:moveTo>
                  <a:lnTo>
                    <a:pt x="417" y="4"/>
                  </a:lnTo>
                  <a:lnTo>
                    <a:pt x="415" y="2"/>
                  </a:lnTo>
                  <a:lnTo>
                    <a:pt x="411" y="1"/>
                  </a:lnTo>
                  <a:lnTo>
                    <a:pt x="409" y="0"/>
                  </a:lnTo>
                  <a:lnTo>
                    <a:pt x="406" y="0"/>
                  </a:lnTo>
                  <a:lnTo>
                    <a:pt x="105" y="0"/>
                  </a:lnTo>
                  <a:lnTo>
                    <a:pt x="103" y="0"/>
                  </a:lnTo>
                  <a:lnTo>
                    <a:pt x="100" y="1"/>
                  </a:lnTo>
                  <a:lnTo>
                    <a:pt x="98" y="3"/>
                  </a:lnTo>
                  <a:lnTo>
                    <a:pt x="95" y="5"/>
                  </a:lnTo>
                  <a:lnTo>
                    <a:pt x="94" y="7"/>
                  </a:lnTo>
                  <a:lnTo>
                    <a:pt x="91" y="9"/>
                  </a:lnTo>
                  <a:lnTo>
                    <a:pt x="91" y="13"/>
                  </a:lnTo>
                  <a:lnTo>
                    <a:pt x="90" y="15"/>
                  </a:lnTo>
                  <a:lnTo>
                    <a:pt x="90" y="90"/>
                  </a:lnTo>
                  <a:lnTo>
                    <a:pt x="15" y="90"/>
                  </a:lnTo>
                  <a:lnTo>
                    <a:pt x="12" y="91"/>
                  </a:lnTo>
                  <a:lnTo>
                    <a:pt x="10" y="92"/>
                  </a:lnTo>
                  <a:lnTo>
                    <a:pt x="7" y="93"/>
                  </a:lnTo>
                  <a:lnTo>
                    <a:pt x="5" y="95"/>
                  </a:lnTo>
                  <a:lnTo>
                    <a:pt x="4" y="97"/>
                  </a:lnTo>
                  <a:lnTo>
                    <a:pt x="2" y="99"/>
                  </a:lnTo>
                  <a:lnTo>
                    <a:pt x="0" y="102"/>
                  </a:lnTo>
                  <a:lnTo>
                    <a:pt x="0" y="105"/>
                  </a:lnTo>
                  <a:lnTo>
                    <a:pt x="0" y="736"/>
                  </a:lnTo>
                  <a:lnTo>
                    <a:pt x="0" y="739"/>
                  </a:lnTo>
                  <a:lnTo>
                    <a:pt x="2" y="742"/>
                  </a:lnTo>
                  <a:lnTo>
                    <a:pt x="4" y="745"/>
                  </a:lnTo>
                  <a:lnTo>
                    <a:pt x="5" y="747"/>
                  </a:lnTo>
                  <a:lnTo>
                    <a:pt x="7" y="749"/>
                  </a:lnTo>
                  <a:lnTo>
                    <a:pt x="10" y="750"/>
                  </a:lnTo>
                  <a:lnTo>
                    <a:pt x="12" y="751"/>
                  </a:lnTo>
                  <a:lnTo>
                    <a:pt x="15" y="751"/>
                  </a:lnTo>
                  <a:lnTo>
                    <a:pt x="496" y="751"/>
                  </a:lnTo>
                  <a:lnTo>
                    <a:pt x="499" y="751"/>
                  </a:lnTo>
                  <a:lnTo>
                    <a:pt x="502" y="750"/>
                  </a:lnTo>
                  <a:lnTo>
                    <a:pt x="504" y="749"/>
                  </a:lnTo>
                  <a:lnTo>
                    <a:pt x="507" y="747"/>
                  </a:lnTo>
                  <a:lnTo>
                    <a:pt x="509" y="745"/>
                  </a:lnTo>
                  <a:lnTo>
                    <a:pt x="510" y="742"/>
                  </a:lnTo>
                  <a:lnTo>
                    <a:pt x="511" y="739"/>
                  </a:lnTo>
                  <a:lnTo>
                    <a:pt x="511" y="736"/>
                  </a:lnTo>
                  <a:lnTo>
                    <a:pt x="511" y="661"/>
                  </a:lnTo>
                  <a:lnTo>
                    <a:pt x="586" y="661"/>
                  </a:lnTo>
                  <a:lnTo>
                    <a:pt x="589" y="660"/>
                  </a:lnTo>
                  <a:lnTo>
                    <a:pt x="592" y="660"/>
                  </a:lnTo>
                  <a:lnTo>
                    <a:pt x="594" y="658"/>
                  </a:lnTo>
                  <a:lnTo>
                    <a:pt x="596" y="657"/>
                  </a:lnTo>
                  <a:lnTo>
                    <a:pt x="599" y="655"/>
                  </a:lnTo>
                  <a:lnTo>
                    <a:pt x="600" y="651"/>
                  </a:lnTo>
                  <a:lnTo>
                    <a:pt x="601" y="649"/>
                  </a:lnTo>
                  <a:lnTo>
                    <a:pt x="602" y="646"/>
                  </a:lnTo>
                  <a:lnTo>
                    <a:pt x="602" y="196"/>
                  </a:lnTo>
                  <a:lnTo>
                    <a:pt x="600" y="190"/>
                  </a:lnTo>
                  <a:lnTo>
                    <a:pt x="596" y="185"/>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199" name="Group 198"/>
            <p:cNvGrpSpPr/>
            <p:nvPr/>
          </p:nvGrpSpPr>
          <p:grpSpPr>
            <a:xfrm>
              <a:off x="7761284" y="1558900"/>
              <a:ext cx="287338" cy="287338"/>
              <a:chOff x="8736013" y="1925638"/>
              <a:chExt cx="287338" cy="287338"/>
            </a:xfrm>
            <a:solidFill>
              <a:schemeClr val="bg1"/>
            </a:solidFill>
          </p:grpSpPr>
          <p:sp>
            <p:nvSpPr>
              <p:cNvPr id="200" name="Freeform 97"/>
              <p:cNvSpPr>
                <a:spLocks noEditPoints="1"/>
              </p:cNvSpPr>
              <p:nvPr/>
            </p:nvSpPr>
            <p:spPr bwMode="auto">
              <a:xfrm>
                <a:off x="8736013" y="1925638"/>
                <a:ext cx="287338" cy="287338"/>
              </a:xfrm>
              <a:custGeom>
                <a:avLst/>
                <a:gdLst>
                  <a:gd name="T0" fmla="*/ 481 w 902"/>
                  <a:gd name="T1" fmla="*/ 863 h 902"/>
                  <a:gd name="T2" fmla="*/ 872 w 902"/>
                  <a:gd name="T3" fmla="*/ 219 h 902"/>
                  <a:gd name="T4" fmla="*/ 30 w 902"/>
                  <a:gd name="T5" fmla="*/ 219 h 902"/>
                  <a:gd name="T6" fmla="*/ 451 w 902"/>
                  <a:gd name="T7" fmla="*/ 864 h 902"/>
                  <a:gd name="T8" fmla="*/ 30 w 902"/>
                  <a:gd name="T9" fmla="*/ 219 h 902"/>
                  <a:gd name="T10" fmla="*/ 54 w 902"/>
                  <a:gd name="T11" fmla="*/ 197 h 902"/>
                  <a:gd name="T12" fmla="*/ 648 w 902"/>
                  <a:gd name="T13" fmla="*/ 290 h 902"/>
                  <a:gd name="T14" fmla="*/ 466 w 902"/>
                  <a:gd name="T15" fmla="*/ 32 h 902"/>
                  <a:gd name="T16" fmla="*/ 683 w 902"/>
                  <a:gd name="T17" fmla="*/ 274 h 902"/>
                  <a:gd name="T18" fmla="*/ 466 w 902"/>
                  <a:gd name="T19" fmla="*/ 32 h 902"/>
                  <a:gd name="T20" fmla="*/ 902 w 902"/>
                  <a:gd name="T21" fmla="*/ 195 h 902"/>
                  <a:gd name="T22" fmla="*/ 901 w 902"/>
                  <a:gd name="T23" fmla="*/ 191 h 902"/>
                  <a:gd name="T24" fmla="*/ 901 w 902"/>
                  <a:gd name="T25" fmla="*/ 190 h 902"/>
                  <a:gd name="T26" fmla="*/ 898 w 902"/>
                  <a:gd name="T27" fmla="*/ 186 h 902"/>
                  <a:gd name="T28" fmla="*/ 898 w 902"/>
                  <a:gd name="T29" fmla="*/ 185 h 902"/>
                  <a:gd name="T30" fmla="*/ 896 w 902"/>
                  <a:gd name="T31" fmla="*/ 184 h 902"/>
                  <a:gd name="T32" fmla="*/ 893 w 902"/>
                  <a:gd name="T33" fmla="*/ 183 h 902"/>
                  <a:gd name="T34" fmla="*/ 892 w 902"/>
                  <a:gd name="T35" fmla="*/ 182 h 902"/>
                  <a:gd name="T36" fmla="*/ 469 w 902"/>
                  <a:gd name="T37" fmla="*/ 0 h 902"/>
                  <a:gd name="T38" fmla="*/ 463 w 902"/>
                  <a:gd name="T39" fmla="*/ 0 h 902"/>
                  <a:gd name="T40" fmla="*/ 10 w 902"/>
                  <a:gd name="T41" fmla="*/ 182 h 902"/>
                  <a:gd name="T42" fmla="*/ 9 w 902"/>
                  <a:gd name="T43" fmla="*/ 183 h 902"/>
                  <a:gd name="T44" fmla="*/ 6 w 902"/>
                  <a:gd name="T45" fmla="*/ 184 h 902"/>
                  <a:gd name="T46" fmla="*/ 4 w 902"/>
                  <a:gd name="T47" fmla="*/ 185 h 902"/>
                  <a:gd name="T48" fmla="*/ 4 w 902"/>
                  <a:gd name="T49" fmla="*/ 186 h 902"/>
                  <a:gd name="T50" fmla="*/ 1 w 902"/>
                  <a:gd name="T51" fmla="*/ 189 h 902"/>
                  <a:gd name="T52" fmla="*/ 1 w 902"/>
                  <a:gd name="T53" fmla="*/ 190 h 902"/>
                  <a:gd name="T54" fmla="*/ 0 w 902"/>
                  <a:gd name="T55" fmla="*/ 195 h 902"/>
                  <a:gd name="T56" fmla="*/ 0 w 902"/>
                  <a:gd name="T57" fmla="*/ 195 h 902"/>
                  <a:gd name="T58" fmla="*/ 0 w 902"/>
                  <a:gd name="T59" fmla="*/ 195 h 902"/>
                  <a:gd name="T60" fmla="*/ 0 w 902"/>
                  <a:gd name="T61" fmla="*/ 681 h 902"/>
                  <a:gd name="T62" fmla="*/ 5 w 902"/>
                  <a:gd name="T63" fmla="*/ 688 h 902"/>
                  <a:gd name="T64" fmla="*/ 460 w 902"/>
                  <a:gd name="T65" fmla="*/ 901 h 902"/>
                  <a:gd name="T66" fmla="*/ 461 w 902"/>
                  <a:gd name="T67" fmla="*/ 901 h 902"/>
                  <a:gd name="T68" fmla="*/ 466 w 902"/>
                  <a:gd name="T69" fmla="*/ 902 h 902"/>
                  <a:gd name="T70" fmla="*/ 472 w 902"/>
                  <a:gd name="T71" fmla="*/ 901 h 902"/>
                  <a:gd name="T72" fmla="*/ 472 w 902"/>
                  <a:gd name="T73" fmla="*/ 900 h 902"/>
                  <a:gd name="T74" fmla="*/ 897 w 902"/>
                  <a:gd name="T75" fmla="*/ 688 h 902"/>
                  <a:gd name="T76" fmla="*/ 901 w 902"/>
                  <a:gd name="T77" fmla="*/ 681 h 902"/>
                  <a:gd name="T78" fmla="*/ 902 w 902"/>
                  <a:gd name="T79" fmla="*/ 195 h 902"/>
                  <a:gd name="T80" fmla="*/ 902 w 902"/>
                  <a:gd name="T81" fmla="*/ 195 h 9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902" h="902">
                    <a:moveTo>
                      <a:pt x="872" y="668"/>
                    </a:moveTo>
                    <a:lnTo>
                      <a:pt x="481" y="863"/>
                    </a:lnTo>
                    <a:lnTo>
                      <a:pt x="481" y="401"/>
                    </a:lnTo>
                    <a:lnTo>
                      <a:pt x="872" y="219"/>
                    </a:lnTo>
                    <a:lnTo>
                      <a:pt x="872" y="668"/>
                    </a:lnTo>
                    <a:close/>
                    <a:moveTo>
                      <a:pt x="30" y="219"/>
                    </a:moveTo>
                    <a:lnTo>
                      <a:pt x="451" y="401"/>
                    </a:lnTo>
                    <a:lnTo>
                      <a:pt x="451" y="864"/>
                    </a:lnTo>
                    <a:lnTo>
                      <a:pt x="30" y="667"/>
                    </a:lnTo>
                    <a:lnTo>
                      <a:pt x="30" y="219"/>
                    </a:lnTo>
                    <a:close/>
                    <a:moveTo>
                      <a:pt x="466" y="374"/>
                    </a:moveTo>
                    <a:lnTo>
                      <a:pt x="54" y="197"/>
                    </a:lnTo>
                    <a:lnTo>
                      <a:pt x="266" y="112"/>
                    </a:lnTo>
                    <a:lnTo>
                      <a:pt x="648" y="290"/>
                    </a:lnTo>
                    <a:lnTo>
                      <a:pt x="466" y="374"/>
                    </a:lnTo>
                    <a:close/>
                    <a:moveTo>
                      <a:pt x="466" y="32"/>
                    </a:moveTo>
                    <a:lnTo>
                      <a:pt x="851" y="197"/>
                    </a:lnTo>
                    <a:lnTo>
                      <a:pt x="683" y="274"/>
                    </a:lnTo>
                    <a:lnTo>
                      <a:pt x="304" y="97"/>
                    </a:lnTo>
                    <a:lnTo>
                      <a:pt x="466" y="32"/>
                    </a:lnTo>
                    <a:close/>
                    <a:moveTo>
                      <a:pt x="902" y="195"/>
                    </a:moveTo>
                    <a:lnTo>
                      <a:pt x="902" y="195"/>
                    </a:lnTo>
                    <a:lnTo>
                      <a:pt x="902" y="193"/>
                    </a:lnTo>
                    <a:lnTo>
                      <a:pt x="901" y="191"/>
                    </a:lnTo>
                    <a:lnTo>
                      <a:pt x="901" y="190"/>
                    </a:lnTo>
                    <a:lnTo>
                      <a:pt x="901" y="190"/>
                    </a:lnTo>
                    <a:lnTo>
                      <a:pt x="900" y="188"/>
                    </a:lnTo>
                    <a:lnTo>
                      <a:pt x="898" y="186"/>
                    </a:lnTo>
                    <a:lnTo>
                      <a:pt x="898" y="186"/>
                    </a:lnTo>
                    <a:lnTo>
                      <a:pt x="898" y="185"/>
                    </a:lnTo>
                    <a:lnTo>
                      <a:pt x="897" y="184"/>
                    </a:lnTo>
                    <a:lnTo>
                      <a:pt x="896" y="184"/>
                    </a:lnTo>
                    <a:lnTo>
                      <a:pt x="895" y="183"/>
                    </a:lnTo>
                    <a:lnTo>
                      <a:pt x="893" y="183"/>
                    </a:lnTo>
                    <a:lnTo>
                      <a:pt x="893" y="183"/>
                    </a:lnTo>
                    <a:lnTo>
                      <a:pt x="892" y="182"/>
                    </a:lnTo>
                    <a:lnTo>
                      <a:pt x="471" y="2"/>
                    </a:lnTo>
                    <a:lnTo>
                      <a:pt x="469" y="0"/>
                    </a:lnTo>
                    <a:lnTo>
                      <a:pt x="466" y="0"/>
                    </a:lnTo>
                    <a:lnTo>
                      <a:pt x="463" y="0"/>
                    </a:lnTo>
                    <a:lnTo>
                      <a:pt x="461" y="2"/>
                    </a:lnTo>
                    <a:lnTo>
                      <a:pt x="10" y="182"/>
                    </a:lnTo>
                    <a:lnTo>
                      <a:pt x="9" y="182"/>
                    </a:lnTo>
                    <a:lnTo>
                      <a:pt x="9" y="183"/>
                    </a:lnTo>
                    <a:lnTo>
                      <a:pt x="8" y="183"/>
                    </a:lnTo>
                    <a:lnTo>
                      <a:pt x="6" y="184"/>
                    </a:lnTo>
                    <a:lnTo>
                      <a:pt x="5" y="184"/>
                    </a:lnTo>
                    <a:lnTo>
                      <a:pt x="4" y="185"/>
                    </a:lnTo>
                    <a:lnTo>
                      <a:pt x="4" y="185"/>
                    </a:lnTo>
                    <a:lnTo>
                      <a:pt x="4" y="186"/>
                    </a:lnTo>
                    <a:lnTo>
                      <a:pt x="2" y="187"/>
                    </a:lnTo>
                    <a:lnTo>
                      <a:pt x="1" y="189"/>
                    </a:lnTo>
                    <a:lnTo>
                      <a:pt x="1" y="190"/>
                    </a:lnTo>
                    <a:lnTo>
                      <a:pt x="1" y="190"/>
                    </a:lnTo>
                    <a:lnTo>
                      <a:pt x="0" y="192"/>
                    </a:lnTo>
                    <a:lnTo>
                      <a:pt x="0" y="195"/>
                    </a:lnTo>
                    <a:lnTo>
                      <a:pt x="0" y="195"/>
                    </a:lnTo>
                    <a:lnTo>
                      <a:pt x="0" y="195"/>
                    </a:lnTo>
                    <a:lnTo>
                      <a:pt x="0" y="195"/>
                    </a:lnTo>
                    <a:lnTo>
                      <a:pt x="0" y="195"/>
                    </a:lnTo>
                    <a:lnTo>
                      <a:pt x="0" y="676"/>
                    </a:lnTo>
                    <a:lnTo>
                      <a:pt x="0" y="681"/>
                    </a:lnTo>
                    <a:lnTo>
                      <a:pt x="2" y="685"/>
                    </a:lnTo>
                    <a:lnTo>
                      <a:pt x="5" y="688"/>
                    </a:lnTo>
                    <a:lnTo>
                      <a:pt x="9" y="690"/>
                    </a:lnTo>
                    <a:lnTo>
                      <a:pt x="460" y="901"/>
                    </a:lnTo>
                    <a:lnTo>
                      <a:pt x="460" y="901"/>
                    </a:lnTo>
                    <a:lnTo>
                      <a:pt x="461" y="901"/>
                    </a:lnTo>
                    <a:lnTo>
                      <a:pt x="463" y="902"/>
                    </a:lnTo>
                    <a:lnTo>
                      <a:pt x="466" y="902"/>
                    </a:lnTo>
                    <a:lnTo>
                      <a:pt x="469" y="902"/>
                    </a:lnTo>
                    <a:lnTo>
                      <a:pt x="472" y="901"/>
                    </a:lnTo>
                    <a:lnTo>
                      <a:pt x="472" y="901"/>
                    </a:lnTo>
                    <a:lnTo>
                      <a:pt x="472" y="900"/>
                    </a:lnTo>
                    <a:lnTo>
                      <a:pt x="893" y="690"/>
                    </a:lnTo>
                    <a:lnTo>
                      <a:pt x="897" y="688"/>
                    </a:lnTo>
                    <a:lnTo>
                      <a:pt x="900" y="685"/>
                    </a:lnTo>
                    <a:lnTo>
                      <a:pt x="901" y="681"/>
                    </a:lnTo>
                    <a:lnTo>
                      <a:pt x="902" y="676"/>
                    </a:lnTo>
                    <a:lnTo>
                      <a:pt x="902" y="195"/>
                    </a:lnTo>
                    <a:lnTo>
                      <a:pt x="902" y="195"/>
                    </a:lnTo>
                    <a:lnTo>
                      <a:pt x="902" y="19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98"/>
              <p:cNvSpPr>
                <a:spLocks noEditPoints="1"/>
              </p:cNvSpPr>
              <p:nvPr/>
            </p:nvSpPr>
            <p:spPr bwMode="auto">
              <a:xfrm>
                <a:off x="8774113" y="2041525"/>
                <a:ext cx="77788" cy="100013"/>
              </a:xfrm>
              <a:custGeom>
                <a:avLst/>
                <a:gdLst>
                  <a:gd name="T0" fmla="*/ 211 w 241"/>
                  <a:gd name="T1" fmla="*/ 278 h 315"/>
                  <a:gd name="T2" fmla="*/ 30 w 241"/>
                  <a:gd name="T3" fmla="*/ 201 h 315"/>
                  <a:gd name="T4" fmla="*/ 30 w 241"/>
                  <a:gd name="T5" fmla="*/ 38 h 315"/>
                  <a:gd name="T6" fmla="*/ 211 w 241"/>
                  <a:gd name="T7" fmla="*/ 115 h 315"/>
                  <a:gd name="T8" fmla="*/ 211 w 241"/>
                  <a:gd name="T9" fmla="*/ 278 h 315"/>
                  <a:gd name="T10" fmla="*/ 231 w 241"/>
                  <a:gd name="T11" fmla="*/ 92 h 315"/>
                  <a:gd name="T12" fmla="*/ 21 w 241"/>
                  <a:gd name="T13" fmla="*/ 2 h 315"/>
                  <a:gd name="T14" fmla="*/ 17 w 241"/>
                  <a:gd name="T15" fmla="*/ 0 h 315"/>
                  <a:gd name="T16" fmla="*/ 14 w 241"/>
                  <a:gd name="T17" fmla="*/ 0 h 315"/>
                  <a:gd name="T18" fmla="*/ 11 w 241"/>
                  <a:gd name="T19" fmla="*/ 0 h 315"/>
                  <a:gd name="T20" fmla="*/ 6 w 241"/>
                  <a:gd name="T21" fmla="*/ 3 h 315"/>
                  <a:gd name="T22" fmla="*/ 4 w 241"/>
                  <a:gd name="T23" fmla="*/ 5 h 315"/>
                  <a:gd name="T24" fmla="*/ 2 w 241"/>
                  <a:gd name="T25" fmla="*/ 8 h 315"/>
                  <a:gd name="T26" fmla="*/ 1 w 241"/>
                  <a:gd name="T27" fmla="*/ 11 h 315"/>
                  <a:gd name="T28" fmla="*/ 0 w 241"/>
                  <a:gd name="T29" fmla="*/ 15 h 315"/>
                  <a:gd name="T30" fmla="*/ 0 w 241"/>
                  <a:gd name="T31" fmla="*/ 210 h 315"/>
                  <a:gd name="T32" fmla="*/ 1 w 241"/>
                  <a:gd name="T33" fmla="*/ 215 h 315"/>
                  <a:gd name="T34" fmla="*/ 2 w 241"/>
                  <a:gd name="T35" fmla="*/ 219 h 315"/>
                  <a:gd name="T36" fmla="*/ 5 w 241"/>
                  <a:gd name="T37" fmla="*/ 222 h 315"/>
                  <a:gd name="T38" fmla="*/ 10 w 241"/>
                  <a:gd name="T39" fmla="*/ 224 h 315"/>
                  <a:gd name="T40" fmla="*/ 220 w 241"/>
                  <a:gd name="T41" fmla="*/ 314 h 315"/>
                  <a:gd name="T42" fmla="*/ 223 w 241"/>
                  <a:gd name="T43" fmla="*/ 315 h 315"/>
                  <a:gd name="T44" fmla="*/ 226 w 241"/>
                  <a:gd name="T45" fmla="*/ 315 h 315"/>
                  <a:gd name="T46" fmla="*/ 230 w 241"/>
                  <a:gd name="T47" fmla="*/ 315 h 315"/>
                  <a:gd name="T48" fmla="*/ 234 w 241"/>
                  <a:gd name="T49" fmla="*/ 313 h 315"/>
                  <a:gd name="T50" fmla="*/ 237 w 241"/>
                  <a:gd name="T51" fmla="*/ 311 h 315"/>
                  <a:gd name="T52" fmla="*/ 239 w 241"/>
                  <a:gd name="T53" fmla="*/ 308 h 315"/>
                  <a:gd name="T54" fmla="*/ 240 w 241"/>
                  <a:gd name="T55" fmla="*/ 305 h 315"/>
                  <a:gd name="T56" fmla="*/ 241 w 241"/>
                  <a:gd name="T57" fmla="*/ 300 h 315"/>
                  <a:gd name="T58" fmla="*/ 241 w 241"/>
                  <a:gd name="T59" fmla="*/ 105 h 315"/>
                  <a:gd name="T60" fmla="*/ 240 w 241"/>
                  <a:gd name="T61" fmla="*/ 101 h 315"/>
                  <a:gd name="T62" fmla="*/ 238 w 241"/>
                  <a:gd name="T63" fmla="*/ 97 h 315"/>
                  <a:gd name="T64" fmla="*/ 236 w 241"/>
                  <a:gd name="T65" fmla="*/ 94 h 315"/>
                  <a:gd name="T66" fmla="*/ 231 w 241"/>
                  <a:gd name="T67" fmla="*/ 92 h 315"/>
                  <a:gd name="T68" fmla="*/ 231 w 241"/>
                  <a:gd name="T69" fmla="*/ 92 h 3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41" h="315">
                    <a:moveTo>
                      <a:pt x="211" y="278"/>
                    </a:moveTo>
                    <a:lnTo>
                      <a:pt x="30" y="201"/>
                    </a:lnTo>
                    <a:lnTo>
                      <a:pt x="30" y="38"/>
                    </a:lnTo>
                    <a:lnTo>
                      <a:pt x="211" y="115"/>
                    </a:lnTo>
                    <a:lnTo>
                      <a:pt x="211" y="278"/>
                    </a:lnTo>
                    <a:close/>
                    <a:moveTo>
                      <a:pt x="231" y="92"/>
                    </a:moveTo>
                    <a:lnTo>
                      <a:pt x="21" y="2"/>
                    </a:lnTo>
                    <a:lnTo>
                      <a:pt x="17" y="0"/>
                    </a:lnTo>
                    <a:lnTo>
                      <a:pt x="14" y="0"/>
                    </a:lnTo>
                    <a:lnTo>
                      <a:pt x="11" y="0"/>
                    </a:lnTo>
                    <a:lnTo>
                      <a:pt x="6" y="3"/>
                    </a:lnTo>
                    <a:lnTo>
                      <a:pt x="4" y="5"/>
                    </a:lnTo>
                    <a:lnTo>
                      <a:pt x="2" y="8"/>
                    </a:lnTo>
                    <a:lnTo>
                      <a:pt x="1" y="11"/>
                    </a:lnTo>
                    <a:lnTo>
                      <a:pt x="0" y="15"/>
                    </a:lnTo>
                    <a:lnTo>
                      <a:pt x="0" y="210"/>
                    </a:lnTo>
                    <a:lnTo>
                      <a:pt x="1" y="215"/>
                    </a:lnTo>
                    <a:lnTo>
                      <a:pt x="2" y="219"/>
                    </a:lnTo>
                    <a:lnTo>
                      <a:pt x="5" y="222"/>
                    </a:lnTo>
                    <a:lnTo>
                      <a:pt x="10" y="224"/>
                    </a:lnTo>
                    <a:lnTo>
                      <a:pt x="220" y="314"/>
                    </a:lnTo>
                    <a:lnTo>
                      <a:pt x="223" y="315"/>
                    </a:lnTo>
                    <a:lnTo>
                      <a:pt x="226" y="315"/>
                    </a:lnTo>
                    <a:lnTo>
                      <a:pt x="230" y="315"/>
                    </a:lnTo>
                    <a:lnTo>
                      <a:pt x="234" y="313"/>
                    </a:lnTo>
                    <a:lnTo>
                      <a:pt x="237" y="311"/>
                    </a:lnTo>
                    <a:lnTo>
                      <a:pt x="239" y="308"/>
                    </a:lnTo>
                    <a:lnTo>
                      <a:pt x="240" y="305"/>
                    </a:lnTo>
                    <a:lnTo>
                      <a:pt x="241" y="300"/>
                    </a:lnTo>
                    <a:lnTo>
                      <a:pt x="241" y="105"/>
                    </a:lnTo>
                    <a:lnTo>
                      <a:pt x="240" y="101"/>
                    </a:lnTo>
                    <a:lnTo>
                      <a:pt x="238" y="97"/>
                    </a:lnTo>
                    <a:lnTo>
                      <a:pt x="236" y="94"/>
                    </a:lnTo>
                    <a:lnTo>
                      <a:pt x="231" y="92"/>
                    </a:lnTo>
                    <a:lnTo>
                      <a:pt x="231" y="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02" name="Group 201"/>
            <p:cNvGrpSpPr/>
            <p:nvPr/>
          </p:nvGrpSpPr>
          <p:grpSpPr>
            <a:xfrm>
              <a:off x="9575104" y="1597779"/>
              <a:ext cx="285750" cy="201613"/>
              <a:chOff x="8164513" y="2584450"/>
              <a:chExt cx="285750" cy="201613"/>
            </a:xfrm>
            <a:solidFill>
              <a:schemeClr val="bg1"/>
            </a:solidFill>
          </p:grpSpPr>
          <p:sp>
            <p:nvSpPr>
              <p:cNvPr id="203" name="Freeform 106"/>
              <p:cNvSpPr>
                <a:spLocks noEditPoints="1"/>
              </p:cNvSpPr>
              <p:nvPr/>
            </p:nvSpPr>
            <p:spPr bwMode="auto">
              <a:xfrm>
                <a:off x="8164513" y="2584450"/>
                <a:ext cx="285750" cy="201613"/>
              </a:xfrm>
              <a:custGeom>
                <a:avLst/>
                <a:gdLst>
                  <a:gd name="T0" fmla="*/ 806 w 902"/>
                  <a:gd name="T1" fmla="*/ 508 h 631"/>
                  <a:gd name="T2" fmla="*/ 872 w 902"/>
                  <a:gd name="T3" fmla="*/ 481 h 631"/>
                  <a:gd name="T4" fmla="*/ 709 w 902"/>
                  <a:gd name="T5" fmla="*/ 600 h 631"/>
                  <a:gd name="T6" fmla="*/ 683 w 902"/>
                  <a:gd name="T7" fmla="*/ 587 h 631"/>
                  <a:gd name="T8" fmla="*/ 666 w 902"/>
                  <a:gd name="T9" fmla="*/ 565 h 631"/>
                  <a:gd name="T10" fmla="*/ 661 w 902"/>
                  <a:gd name="T11" fmla="*/ 535 h 631"/>
                  <a:gd name="T12" fmla="*/ 672 w 902"/>
                  <a:gd name="T13" fmla="*/ 508 h 631"/>
                  <a:gd name="T14" fmla="*/ 693 w 902"/>
                  <a:gd name="T15" fmla="*/ 489 h 631"/>
                  <a:gd name="T16" fmla="*/ 721 w 902"/>
                  <a:gd name="T17" fmla="*/ 481 h 631"/>
                  <a:gd name="T18" fmla="*/ 750 w 902"/>
                  <a:gd name="T19" fmla="*/ 489 h 631"/>
                  <a:gd name="T20" fmla="*/ 771 w 902"/>
                  <a:gd name="T21" fmla="*/ 508 h 631"/>
                  <a:gd name="T22" fmla="*/ 781 w 902"/>
                  <a:gd name="T23" fmla="*/ 535 h 631"/>
                  <a:gd name="T24" fmla="*/ 777 w 902"/>
                  <a:gd name="T25" fmla="*/ 565 h 631"/>
                  <a:gd name="T26" fmla="*/ 760 w 902"/>
                  <a:gd name="T27" fmla="*/ 587 h 631"/>
                  <a:gd name="T28" fmla="*/ 734 w 902"/>
                  <a:gd name="T29" fmla="*/ 600 h 631"/>
                  <a:gd name="T30" fmla="*/ 269 w 902"/>
                  <a:gd name="T31" fmla="*/ 524 h 631"/>
                  <a:gd name="T32" fmla="*/ 252 w 902"/>
                  <a:gd name="T33" fmla="*/ 488 h 631"/>
                  <a:gd name="T34" fmla="*/ 641 w 902"/>
                  <a:gd name="T35" fmla="*/ 501 h 631"/>
                  <a:gd name="T36" fmla="*/ 631 w 902"/>
                  <a:gd name="T37" fmla="*/ 541 h 631"/>
                  <a:gd name="T38" fmla="*/ 162 w 902"/>
                  <a:gd name="T39" fmla="*/ 599 h 631"/>
                  <a:gd name="T40" fmla="*/ 137 w 902"/>
                  <a:gd name="T41" fmla="*/ 584 h 631"/>
                  <a:gd name="T42" fmla="*/ 122 w 902"/>
                  <a:gd name="T43" fmla="*/ 560 h 631"/>
                  <a:gd name="T44" fmla="*/ 121 w 902"/>
                  <a:gd name="T45" fmla="*/ 530 h 631"/>
                  <a:gd name="T46" fmla="*/ 134 w 902"/>
                  <a:gd name="T47" fmla="*/ 503 h 631"/>
                  <a:gd name="T48" fmla="*/ 156 w 902"/>
                  <a:gd name="T49" fmla="*/ 486 h 631"/>
                  <a:gd name="T50" fmla="*/ 186 w 902"/>
                  <a:gd name="T51" fmla="*/ 481 h 631"/>
                  <a:gd name="T52" fmla="*/ 213 w 902"/>
                  <a:gd name="T53" fmla="*/ 491 h 631"/>
                  <a:gd name="T54" fmla="*/ 232 w 902"/>
                  <a:gd name="T55" fmla="*/ 512 h 631"/>
                  <a:gd name="T56" fmla="*/ 240 w 902"/>
                  <a:gd name="T57" fmla="*/ 541 h 631"/>
                  <a:gd name="T58" fmla="*/ 232 w 902"/>
                  <a:gd name="T59" fmla="*/ 570 h 631"/>
                  <a:gd name="T60" fmla="*/ 213 w 902"/>
                  <a:gd name="T61" fmla="*/ 591 h 631"/>
                  <a:gd name="T62" fmla="*/ 186 w 902"/>
                  <a:gd name="T63" fmla="*/ 601 h 631"/>
                  <a:gd name="T64" fmla="*/ 108 w 902"/>
                  <a:gd name="T65" fmla="*/ 488 h 631"/>
                  <a:gd name="T66" fmla="*/ 91 w 902"/>
                  <a:gd name="T67" fmla="*/ 524 h 631"/>
                  <a:gd name="T68" fmla="*/ 117 w 902"/>
                  <a:gd name="T69" fmla="*/ 265 h 631"/>
                  <a:gd name="T70" fmla="*/ 30 w 902"/>
                  <a:gd name="T71" fmla="*/ 451 h 631"/>
                  <a:gd name="T72" fmla="*/ 872 w 902"/>
                  <a:gd name="T73" fmla="*/ 451 h 631"/>
                  <a:gd name="T74" fmla="*/ 887 w 902"/>
                  <a:gd name="T75" fmla="*/ 0 h 631"/>
                  <a:gd name="T76" fmla="*/ 365 w 902"/>
                  <a:gd name="T77" fmla="*/ 5 h 631"/>
                  <a:gd name="T78" fmla="*/ 361 w 902"/>
                  <a:gd name="T79" fmla="*/ 90 h 631"/>
                  <a:gd name="T80" fmla="*/ 182 w 902"/>
                  <a:gd name="T81" fmla="*/ 98 h 631"/>
                  <a:gd name="T82" fmla="*/ 0 w 902"/>
                  <a:gd name="T83" fmla="*/ 327 h 631"/>
                  <a:gd name="T84" fmla="*/ 2 w 902"/>
                  <a:gd name="T85" fmla="*/ 565 h 631"/>
                  <a:gd name="T86" fmla="*/ 15 w 902"/>
                  <a:gd name="T87" fmla="*/ 571 h 631"/>
                  <a:gd name="T88" fmla="*/ 128 w 902"/>
                  <a:gd name="T89" fmla="*/ 614 h 631"/>
                  <a:gd name="T90" fmla="*/ 172 w 902"/>
                  <a:gd name="T91" fmla="*/ 631 h 631"/>
                  <a:gd name="T92" fmla="*/ 208 w 902"/>
                  <a:gd name="T93" fmla="*/ 627 h 631"/>
                  <a:gd name="T94" fmla="*/ 259 w 902"/>
                  <a:gd name="T95" fmla="*/ 584 h 631"/>
                  <a:gd name="T96" fmla="*/ 659 w 902"/>
                  <a:gd name="T97" fmla="*/ 606 h 631"/>
                  <a:gd name="T98" fmla="*/ 707 w 902"/>
                  <a:gd name="T99" fmla="*/ 630 h 631"/>
                  <a:gd name="T100" fmla="*/ 742 w 902"/>
                  <a:gd name="T101" fmla="*/ 629 h 631"/>
                  <a:gd name="T102" fmla="*/ 793 w 902"/>
                  <a:gd name="T103" fmla="*/ 596 h 631"/>
                  <a:gd name="T104" fmla="*/ 892 w 902"/>
                  <a:gd name="T105" fmla="*/ 570 h 631"/>
                  <a:gd name="T106" fmla="*/ 901 w 902"/>
                  <a:gd name="T107" fmla="*/ 560 h 631"/>
                  <a:gd name="T108" fmla="*/ 899 w 902"/>
                  <a:gd name="T109" fmla="*/ 7 h 631"/>
                  <a:gd name="T110" fmla="*/ 887 w 902"/>
                  <a:gd name="T111" fmla="*/ 0 h 6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902" h="631">
                    <a:moveTo>
                      <a:pt x="812" y="541"/>
                    </a:moveTo>
                    <a:lnTo>
                      <a:pt x="811" y="533"/>
                    </a:lnTo>
                    <a:lnTo>
                      <a:pt x="810" y="524"/>
                    </a:lnTo>
                    <a:lnTo>
                      <a:pt x="808" y="517"/>
                    </a:lnTo>
                    <a:lnTo>
                      <a:pt x="806" y="508"/>
                    </a:lnTo>
                    <a:lnTo>
                      <a:pt x="802" y="501"/>
                    </a:lnTo>
                    <a:lnTo>
                      <a:pt x="798" y="494"/>
                    </a:lnTo>
                    <a:lnTo>
                      <a:pt x="794" y="488"/>
                    </a:lnTo>
                    <a:lnTo>
                      <a:pt x="788" y="481"/>
                    </a:lnTo>
                    <a:lnTo>
                      <a:pt x="872" y="481"/>
                    </a:lnTo>
                    <a:lnTo>
                      <a:pt x="872" y="541"/>
                    </a:lnTo>
                    <a:lnTo>
                      <a:pt x="812" y="541"/>
                    </a:lnTo>
                    <a:close/>
                    <a:moveTo>
                      <a:pt x="721" y="601"/>
                    </a:moveTo>
                    <a:lnTo>
                      <a:pt x="716" y="601"/>
                    </a:lnTo>
                    <a:lnTo>
                      <a:pt x="709" y="600"/>
                    </a:lnTo>
                    <a:lnTo>
                      <a:pt x="704" y="599"/>
                    </a:lnTo>
                    <a:lnTo>
                      <a:pt x="697" y="597"/>
                    </a:lnTo>
                    <a:lnTo>
                      <a:pt x="693" y="594"/>
                    </a:lnTo>
                    <a:lnTo>
                      <a:pt x="688" y="591"/>
                    </a:lnTo>
                    <a:lnTo>
                      <a:pt x="683" y="587"/>
                    </a:lnTo>
                    <a:lnTo>
                      <a:pt x="679" y="584"/>
                    </a:lnTo>
                    <a:lnTo>
                      <a:pt x="675" y="580"/>
                    </a:lnTo>
                    <a:lnTo>
                      <a:pt x="672" y="575"/>
                    </a:lnTo>
                    <a:lnTo>
                      <a:pt x="668" y="570"/>
                    </a:lnTo>
                    <a:lnTo>
                      <a:pt x="666" y="565"/>
                    </a:lnTo>
                    <a:lnTo>
                      <a:pt x="664" y="560"/>
                    </a:lnTo>
                    <a:lnTo>
                      <a:pt x="662" y="553"/>
                    </a:lnTo>
                    <a:lnTo>
                      <a:pt x="661" y="548"/>
                    </a:lnTo>
                    <a:lnTo>
                      <a:pt x="661" y="541"/>
                    </a:lnTo>
                    <a:lnTo>
                      <a:pt x="661" y="535"/>
                    </a:lnTo>
                    <a:lnTo>
                      <a:pt x="662" y="530"/>
                    </a:lnTo>
                    <a:lnTo>
                      <a:pt x="664" y="523"/>
                    </a:lnTo>
                    <a:lnTo>
                      <a:pt x="666" y="518"/>
                    </a:lnTo>
                    <a:lnTo>
                      <a:pt x="668" y="512"/>
                    </a:lnTo>
                    <a:lnTo>
                      <a:pt x="672" y="508"/>
                    </a:lnTo>
                    <a:lnTo>
                      <a:pt x="675" y="503"/>
                    </a:lnTo>
                    <a:lnTo>
                      <a:pt x="679" y="499"/>
                    </a:lnTo>
                    <a:lnTo>
                      <a:pt x="683" y="495"/>
                    </a:lnTo>
                    <a:lnTo>
                      <a:pt x="688" y="491"/>
                    </a:lnTo>
                    <a:lnTo>
                      <a:pt x="693" y="489"/>
                    </a:lnTo>
                    <a:lnTo>
                      <a:pt x="697" y="486"/>
                    </a:lnTo>
                    <a:lnTo>
                      <a:pt x="704" y="484"/>
                    </a:lnTo>
                    <a:lnTo>
                      <a:pt x="709" y="482"/>
                    </a:lnTo>
                    <a:lnTo>
                      <a:pt x="716" y="481"/>
                    </a:lnTo>
                    <a:lnTo>
                      <a:pt x="721" y="481"/>
                    </a:lnTo>
                    <a:lnTo>
                      <a:pt x="727" y="481"/>
                    </a:lnTo>
                    <a:lnTo>
                      <a:pt x="734" y="482"/>
                    </a:lnTo>
                    <a:lnTo>
                      <a:pt x="739" y="484"/>
                    </a:lnTo>
                    <a:lnTo>
                      <a:pt x="745" y="486"/>
                    </a:lnTo>
                    <a:lnTo>
                      <a:pt x="750" y="489"/>
                    </a:lnTo>
                    <a:lnTo>
                      <a:pt x="755" y="491"/>
                    </a:lnTo>
                    <a:lnTo>
                      <a:pt x="760" y="495"/>
                    </a:lnTo>
                    <a:lnTo>
                      <a:pt x="764" y="499"/>
                    </a:lnTo>
                    <a:lnTo>
                      <a:pt x="768" y="503"/>
                    </a:lnTo>
                    <a:lnTo>
                      <a:pt x="771" y="508"/>
                    </a:lnTo>
                    <a:lnTo>
                      <a:pt x="775" y="512"/>
                    </a:lnTo>
                    <a:lnTo>
                      <a:pt x="777" y="518"/>
                    </a:lnTo>
                    <a:lnTo>
                      <a:pt x="779" y="523"/>
                    </a:lnTo>
                    <a:lnTo>
                      <a:pt x="780" y="530"/>
                    </a:lnTo>
                    <a:lnTo>
                      <a:pt x="781" y="535"/>
                    </a:lnTo>
                    <a:lnTo>
                      <a:pt x="781" y="541"/>
                    </a:lnTo>
                    <a:lnTo>
                      <a:pt x="781" y="548"/>
                    </a:lnTo>
                    <a:lnTo>
                      <a:pt x="780" y="553"/>
                    </a:lnTo>
                    <a:lnTo>
                      <a:pt x="779" y="560"/>
                    </a:lnTo>
                    <a:lnTo>
                      <a:pt x="777" y="565"/>
                    </a:lnTo>
                    <a:lnTo>
                      <a:pt x="775" y="570"/>
                    </a:lnTo>
                    <a:lnTo>
                      <a:pt x="771" y="575"/>
                    </a:lnTo>
                    <a:lnTo>
                      <a:pt x="768" y="580"/>
                    </a:lnTo>
                    <a:lnTo>
                      <a:pt x="764" y="584"/>
                    </a:lnTo>
                    <a:lnTo>
                      <a:pt x="760" y="587"/>
                    </a:lnTo>
                    <a:lnTo>
                      <a:pt x="755" y="591"/>
                    </a:lnTo>
                    <a:lnTo>
                      <a:pt x="750" y="594"/>
                    </a:lnTo>
                    <a:lnTo>
                      <a:pt x="745" y="597"/>
                    </a:lnTo>
                    <a:lnTo>
                      <a:pt x="739" y="599"/>
                    </a:lnTo>
                    <a:lnTo>
                      <a:pt x="734" y="600"/>
                    </a:lnTo>
                    <a:lnTo>
                      <a:pt x="727" y="601"/>
                    </a:lnTo>
                    <a:lnTo>
                      <a:pt x="721" y="601"/>
                    </a:lnTo>
                    <a:close/>
                    <a:moveTo>
                      <a:pt x="270" y="541"/>
                    </a:moveTo>
                    <a:lnTo>
                      <a:pt x="270" y="533"/>
                    </a:lnTo>
                    <a:lnTo>
                      <a:pt x="269" y="524"/>
                    </a:lnTo>
                    <a:lnTo>
                      <a:pt x="267" y="517"/>
                    </a:lnTo>
                    <a:lnTo>
                      <a:pt x="264" y="508"/>
                    </a:lnTo>
                    <a:lnTo>
                      <a:pt x="260" y="501"/>
                    </a:lnTo>
                    <a:lnTo>
                      <a:pt x="257" y="494"/>
                    </a:lnTo>
                    <a:lnTo>
                      <a:pt x="252" y="488"/>
                    </a:lnTo>
                    <a:lnTo>
                      <a:pt x="247" y="481"/>
                    </a:lnTo>
                    <a:lnTo>
                      <a:pt x="655" y="481"/>
                    </a:lnTo>
                    <a:lnTo>
                      <a:pt x="649" y="488"/>
                    </a:lnTo>
                    <a:lnTo>
                      <a:pt x="645" y="494"/>
                    </a:lnTo>
                    <a:lnTo>
                      <a:pt x="641" y="501"/>
                    </a:lnTo>
                    <a:lnTo>
                      <a:pt x="637" y="508"/>
                    </a:lnTo>
                    <a:lnTo>
                      <a:pt x="634" y="517"/>
                    </a:lnTo>
                    <a:lnTo>
                      <a:pt x="633" y="524"/>
                    </a:lnTo>
                    <a:lnTo>
                      <a:pt x="632" y="533"/>
                    </a:lnTo>
                    <a:lnTo>
                      <a:pt x="631" y="541"/>
                    </a:lnTo>
                    <a:lnTo>
                      <a:pt x="270" y="541"/>
                    </a:lnTo>
                    <a:close/>
                    <a:moveTo>
                      <a:pt x="180" y="601"/>
                    </a:moveTo>
                    <a:lnTo>
                      <a:pt x="174" y="601"/>
                    </a:lnTo>
                    <a:lnTo>
                      <a:pt x="168" y="600"/>
                    </a:lnTo>
                    <a:lnTo>
                      <a:pt x="162" y="599"/>
                    </a:lnTo>
                    <a:lnTo>
                      <a:pt x="156" y="597"/>
                    </a:lnTo>
                    <a:lnTo>
                      <a:pt x="151" y="594"/>
                    </a:lnTo>
                    <a:lnTo>
                      <a:pt x="147" y="591"/>
                    </a:lnTo>
                    <a:lnTo>
                      <a:pt x="141" y="587"/>
                    </a:lnTo>
                    <a:lnTo>
                      <a:pt x="137" y="584"/>
                    </a:lnTo>
                    <a:lnTo>
                      <a:pt x="134" y="580"/>
                    </a:lnTo>
                    <a:lnTo>
                      <a:pt x="131" y="575"/>
                    </a:lnTo>
                    <a:lnTo>
                      <a:pt x="128" y="570"/>
                    </a:lnTo>
                    <a:lnTo>
                      <a:pt x="124" y="565"/>
                    </a:lnTo>
                    <a:lnTo>
                      <a:pt x="122" y="560"/>
                    </a:lnTo>
                    <a:lnTo>
                      <a:pt x="121" y="553"/>
                    </a:lnTo>
                    <a:lnTo>
                      <a:pt x="120" y="548"/>
                    </a:lnTo>
                    <a:lnTo>
                      <a:pt x="120" y="541"/>
                    </a:lnTo>
                    <a:lnTo>
                      <a:pt x="120" y="535"/>
                    </a:lnTo>
                    <a:lnTo>
                      <a:pt x="121" y="530"/>
                    </a:lnTo>
                    <a:lnTo>
                      <a:pt x="122" y="523"/>
                    </a:lnTo>
                    <a:lnTo>
                      <a:pt x="124" y="518"/>
                    </a:lnTo>
                    <a:lnTo>
                      <a:pt x="128" y="512"/>
                    </a:lnTo>
                    <a:lnTo>
                      <a:pt x="131" y="508"/>
                    </a:lnTo>
                    <a:lnTo>
                      <a:pt x="134" y="503"/>
                    </a:lnTo>
                    <a:lnTo>
                      <a:pt x="137" y="499"/>
                    </a:lnTo>
                    <a:lnTo>
                      <a:pt x="141" y="495"/>
                    </a:lnTo>
                    <a:lnTo>
                      <a:pt x="147" y="491"/>
                    </a:lnTo>
                    <a:lnTo>
                      <a:pt x="151" y="489"/>
                    </a:lnTo>
                    <a:lnTo>
                      <a:pt x="156" y="486"/>
                    </a:lnTo>
                    <a:lnTo>
                      <a:pt x="162" y="484"/>
                    </a:lnTo>
                    <a:lnTo>
                      <a:pt x="168" y="482"/>
                    </a:lnTo>
                    <a:lnTo>
                      <a:pt x="174" y="481"/>
                    </a:lnTo>
                    <a:lnTo>
                      <a:pt x="180" y="481"/>
                    </a:lnTo>
                    <a:lnTo>
                      <a:pt x="186" y="481"/>
                    </a:lnTo>
                    <a:lnTo>
                      <a:pt x="192" y="482"/>
                    </a:lnTo>
                    <a:lnTo>
                      <a:pt x="198" y="484"/>
                    </a:lnTo>
                    <a:lnTo>
                      <a:pt x="204" y="486"/>
                    </a:lnTo>
                    <a:lnTo>
                      <a:pt x="209" y="489"/>
                    </a:lnTo>
                    <a:lnTo>
                      <a:pt x="213" y="491"/>
                    </a:lnTo>
                    <a:lnTo>
                      <a:pt x="219" y="495"/>
                    </a:lnTo>
                    <a:lnTo>
                      <a:pt x="223" y="499"/>
                    </a:lnTo>
                    <a:lnTo>
                      <a:pt x="226" y="503"/>
                    </a:lnTo>
                    <a:lnTo>
                      <a:pt x="230" y="508"/>
                    </a:lnTo>
                    <a:lnTo>
                      <a:pt x="232" y="512"/>
                    </a:lnTo>
                    <a:lnTo>
                      <a:pt x="236" y="518"/>
                    </a:lnTo>
                    <a:lnTo>
                      <a:pt x="238" y="523"/>
                    </a:lnTo>
                    <a:lnTo>
                      <a:pt x="239" y="530"/>
                    </a:lnTo>
                    <a:lnTo>
                      <a:pt x="240" y="535"/>
                    </a:lnTo>
                    <a:lnTo>
                      <a:pt x="240" y="541"/>
                    </a:lnTo>
                    <a:lnTo>
                      <a:pt x="240" y="548"/>
                    </a:lnTo>
                    <a:lnTo>
                      <a:pt x="239" y="553"/>
                    </a:lnTo>
                    <a:lnTo>
                      <a:pt x="238" y="560"/>
                    </a:lnTo>
                    <a:lnTo>
                      <a:pt x="236" y="565"/>
                    </a:lnTo>
                    <a:lnTo>
                      <a:pt x="232" y="570"/>
                    </a:lnTo>
                    <a:lnTo>
                      <a:pt x="230" y="575"/>
                    </a:lnTo>
                    <a:lnTo>
                      <a:pt x="226" y="580"/>
                    </a:lnTo>
                    <a:lnTo>
                      <a:pt x="223" y="584"/>
                    </a:lnTo>
                    <a:lnTo>
                      <a:pt x="219" y="587"/>
                    </a:lnTo>
                    <a:lnTo>
                      <a:pt x="213" y="591"/>
                    </a:lnTo>
                    <a:lnTo>
                      <a:pt x="209" y="594"/>
                    </a:lnTo>
                    <a:lnTo>
                      <a:pt x="204" y="597"/>
                    </a:lnTo>
                    <a:lnTo>
                      <a:pt x="198" y="599"/>
                    </a:lnTo>
                    <a:lnTo>
                      <a:pt x="192" y="600"/>
                    </a:lnTo>
                    <a:lnTo>
                      <a:pt x="186" y="601"/>
                    </a:lnTo>
                    <a:lnTo>
                      <a:pt x="180" y="601"/>
                    </a:lnTo>
                    <a:close/>
                    <a:moveTo>
                      <a:pt x="30" y="541"/>
                    </a:moveTo>
                    <a:lnTo>
                      <a:pt x="30" y="481"/>
                    </a:lnTo>
                    <a:lnTo>
                      <a:pt x="113" y="481"/>
                    </a:lnTo>
                    <a:lnTo>
                      <a:pt x="108" y="488"/>
                    </a:lnTo>
                    <a:lnTo>
                      <a:pt x="103" y="494"/>
                    </a:lnTo>
                    <a:lnTo>
                      <a:pt x="100" y="501"/>
                    </a:lnTo>
                    <a:lnTo>
                      <a:pt x="96" y="508"/>
                    </a:lnTo>
                    <a:lnTo>
                      <a:pt x="93" y="517"/>
                    </a:lnTo>
                    <a:lnTo>
                      <a:pt x="91" y="524"/>
                    </a:lnTo>
                    <a:lnTo>
                      <a:pt x="90" y="533"/>
                    </a:lnTo>
                    <a:lnTo>
                      <a:pt x="90" y="541"/>
                    </a:lnTo>
                    <a:lnTo>
                      <a:pt x="30" y="541"/>
                    </a:lnTo>
                    <a:close/>
                    <a:moveTo>
                      <a:pt x="115" y="267"/>
                    </a:moveTo>
                    <a:lnTo>
                      <a:pt x="117" y="265"/>
                    </a:lnTo>
                    <a:lnTo>
                      <a:pt x="118" y="264"/>
                    </a:lnTo>
                    <a:lnTo>
                      <a:pt x="204" y="120"/>
                    </a:lnTo>
                    <a:lnTo>
                      <a:pt x="361" y="120"/>
                    </a:lnTo>
                    <a:lnTo>
                      <a:pt x="361" y="451"/>
                    </a:lnTo>
                    <a:lnTo>
                      <a:pt x="30" y="451"/>
                    </a:lnTo>
                    <a:lnTo>
                      <a:pt x="30" y="338"/>
                    </a:lnTo>
                    <a:lnTo>
                      <a:pt x="115" y="267"/>
                    </a:lnTo>
                    <a:close/>
                    <a:moveTo>
                      <a:pt x="391" y="30"/>
                    </a:moveTo>
                    <a:lnTo>
                      <a:pt x="872" y="30"/>
                    </a:lnTo>
                    <a:lnTo>
                      <a:pt x="872" y="451"/>
                    </a:lnTo>
                    <a:lnTo>
                      <a:pt x="391" y="451"/>
                    </a:lnTo>
                    <a:lnTo>
                      <a:pt x="391" y="105"/>
                    </a:lnTo>
                    <a:lnTo>
                      <a:pt x="391" y="90"/>
                    </a:lnTo>
                    <a:lnTo>
                      <a:pt x="391" y="30"/>
                    </a:lnTo>
                    <a:close/>
                    <a:moveTo>
                      <a:pt x="887" y="0"/>
                    </a:moveTo>
                    <a:lnTo>
                      <a:pt x="376" y="0"/>
                    </a:lnTo>
                    <a:lnTo>
                      <a:pt x="373" y="0"/>
                    </a:lnTo>
                    <a:lnTo>
                      <a:pt x="370" y="1"/>
                    </a:lnTo>
                    <a:lnTo>
                      <a:pt x="367" y="3"/>
                    </a:lnTo>
                    <a:lnTo>
                      <a:pt x="365" y="5"/>
                    </a:lnTo>
                    <a:lnTo>
                      <a:pt x="363" y="7"/>
                    </a:lnTo>
                    <a:lnTo>
                      <a:pt x="362" y="9"/>
                    </a:lnTo>
                    <a:lnTo>
                      <a:pt x="361" y="12"/>
                    </a:lnTo>
                    <a:lnTo>
                      <a:pt x="360" y="15"/>
                    </a:lnTo>
                    <a:lnTo>
                      <a:pt x="361" y="90"/>
                    </a:lnTo>
                    <a:lnTo>
                      <a:pt x="195" y="90"/>
                    </a:lnTo>
                    <a:lnTo>
                      <a:pt x="192" y="90"/>
                    </a:lnTo>
                    <a:lnTo>
                      <a:pt x="187" y="93"/>
                    </a:lnTo>
                    <a:lnTo>
                      <a:pt x="184" y="95"/>
                    </a:lnTo>
                    <a:lnTo>
                      <a:pt x="182" y="98"/>
                    </a:lnTo>
                    <a:lnTo>
                      <a:pt x="93" y="246"/>
                    </a:lnTo>
                    <a:lnTo>
                      <a:pt x="5" y="320"/>
                    </a:lnTo>
                    <a:lnTo>
                      <a:pt x="3" y="322"/>
                    </a:lnTo>
                    <a:lnTo>
                      <a:pt x="1" y="324"/>
                    </a:lnTo>
                    <a:lnTo>
                      <a:pt x="0" y="327"/>
                    </a:lnTo>
                    <a:lnTo>
                      <a:pt x="0" y="330"/>
                    </a:lnTo>
                    <a:lnTo>
                      <a:pt x="0" y="556"/>
                    </a:lnTo>
                    <a:lnTo>
                      <a:pt x="0" y="560"/>
                    </a:lnTo>
                    <a:lnTo>
                      <a:pt x="1" y="562"/>
                    </a:lnTo>
                    <a:lnTo>
                      <a:pt x="2" y="565"/>
                    </a:lnTo>
                    <a:lnTo>
                      <a:pt x="4" y="567"/>
                    </a:lnTo>
                    <a:lnTo>
                      <a:pt x="6" y="569"/>
                    </a:lnTo>
                    <a:lnTo>
                      <a:pt x="9" y="570"/>
                    </a:lnTo>
                    <a:lnTo>
                      <a:pt x="12" y="571"/>
                    </a:lnTo>
                    <a:lnTo>
                      <a:pt x="15" y="571"/>
                    </a:lnTo>
                    <a:lnTo>
                      <a:pt x="95" y="571"/>
                    </a:lnTo>
                    <a:lnTo>
                      <a:pt x="101" y="584"/>
                    </a:lnTo>
                    <a:lnTo>
                      <a:pt x="108" y="596"/>
                    </a:lnTo>
                    <a:lnTo>
                      <a:pt x="117" y="606"/>
                    </a:lnTo>
                    <a:lnTo>
                      <a:pt x="128" y="614"/>
                    </a:lnTo>
                    <a:lnTo>
                      <a:pt x="139" y="622"/>
                    </a:lnTo>
                    <a:lnTo>
                      <a:pt x="152" y="627"/>
                    </a:lnTo>
                    <a:lnTo>
                      <a:pt x="159" y="629"/>
                    </a:lnTo>
                    <a:lnTo>
                      <a:pt x="166" y="630"/>
                    </a:lnTo>
                    <a:lnTo>
                      <a:pt x="172" y="631"/>
                    </a:lnTo>
                    <a:lnTo>
                      <a:pt x="180" y="631"/>
                    </a:lnTo>
                    <a:lnTo>
                      <a:pt x="187" y="631"/>
                    </a:lnTo>
                    <a:lnTo>
                      <a:pt x="195" y="630"/>
                    </a:lnTo>
                    <a:lnTo>
                      <a:pt x="201" y="629"/>
                    </a:lnTo>
                    <a:lnTo>
                      <a:pt x="208" y="627"/>
                    </a:lnTo>
                    <a:lnTo>
                      <a:pt x="221" y="622"/>
                    </a:lnTo>
                    <a:lnTo>
                      <a:pt x="232" y="614"/>
                    </a:lnTo>
                    <a:lnTo>
                      <a:pt x="243" y="606"/>
                    </a:lnTo>
                    <a:lnTo>
                      <a:pt x="252" y="596"/>
                    </a:lnTo>
                    <a:lnTo>
                      <a:pt x="259" y="584"/>
                    </a:lnTo>
                    <a:lnTo>
                      <a:pt x="265" y="571"/>
                    </a:lnTo>
                    <a:lnTo>
                      <a:pt x="636" y="571"/>
                    </a:lnTo>
                    <a:lnTo>
                      <a:pt x="642" y="584"/>
                    </a:lnTo>
                    <a:lnTo>
                      <a:pt x="649" y="596"/>
                    </a:lnTo>
                    <a:lnTo>
                      <a:pt x="659" y="606"/>
                    </a:lnTo>
                    <a:lnTo>
                      <a:pt x="668" y="614"/>
                    </a:lnTo>
                    <a:lnTo>
                      <a:pt x="680" y="622"/>
                    </a:lnTo>
                    <a:lnTo>
                      <a:pt x="693" y="627"/>
                    </a:lnTo>
                    <a:lnTo>
                      <a:pt x="700" y="629"/>
                    </a:lnTo>
                    <a:lnTo>
                      <a:pt x="707" y="630"/>
                    </a:lnTo>
                    <a:lnTo>
                      <a:pt x="715" y="631"/>
                    </a:lnTo>
                    <a:lnTo>
                      <a:pt x="721" y="631"/>
                    </a:lnTo>
                    <a:lnTo>
                      <a:pt x="728" y="631"/>
                    </a:lnTo>
                    <a:lnTo>
                      <a:pt x="736" y="630"/>
                    </a:lnTo>
                    <a:lnTo>
                      <a:pt x="742" y="629"/>
                    </a:lnTo>
                    <a:lnTo>
                      <a:pt x="750" y="627"/>
                    </a:lnTo>
                    <a:lnTo>
                      <a:pt x="762" y="622"/>
                    </a:lnTo>
                    <a:lnTo>
                      <a:pt x="773" y="614"/>
                    </a:lnTo>
                    <a:lnTo>
                      <a:pt x="784" y="606"/>
                    </a:lnTo>
                    <a:lnTo>
                      <a:pt x="793" y="596"/>
                    </a:lnTo>
                    <a:lnTo>
                      <a:pt x="800" y="584"/>
                    </a:lnTo>
                    <a:lnTo>
                      <a:pt x="807" y="571"/>
                    </a:lnTo>
                    <a:lnTo>
                      <a:pt x="887" y="571"/>
                    </a:lnTo>
                    <a:lnTo>
                      <a:pt x="890" y="571"/>
                    </a:lnTo>
                    <a:lnTo>
                      <a:pt x="892" y="570"/>
                    </a:lnTo>
                    <a:lnTo>
                      <a:pt x="896" y="569"/>
                    </a:lnTo>
                    <a:lnTo>
                      <a:pt x="898" y="567"/>
                    </a:lnTo>
                    <a:lnTo>
                      <a:pt x="899" y="565"/>
                    </a:lnTo>
                    <a:lnTo>
                      <a:pt x="901" y="562"/>
                    </a:lnTo>
                    <a:lnTo>
                      <a:pt x="901" y="560"/>
                    </a:lnTo>
                    <a:lnTo>
                      <a:pt x="902" y="556"/>
                    </a:lnTo>
                    <a:lnTo>
                      <a:pt x="902" y="15"/>
                    </a:lnTo>
                    <a:lnTo>
                      <a:pt x="901" y="12"/>
                    </a:lnTo>
                    <a:lnTo>
                      <a:pt x="901" y="9"/>
                    </a:lnTo>
                    <a:lnTo>
                      <a:pt x="899" y="7"/>
                    </a:lnTo>
                    <a:lnTo>
                      <a:pt x="898" y="5"/>
                    </a:lnTo>
                    <a:lnTo>
                      <a:pt x="896" y="3"/>
                    </a:lnTo>
                    <a:lnTo>
                      <a:pt x="892" y="1"/>
                    </a:lnTo>
                    <a:lnTo>
                      <a:pt x="890" y="0"/>
                    </a:lnTo>
                    <a:lnTo>
                      <a:pt x="887" y="0"/>
                    </a:lnTo>
                    <a:lnTo>
                      <a:pt x="88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Freeform 107"/>
              <p:cNvSpPr>
                <a:spLocks/>
              </p:cNvSpPr>
              <p:nvPr/>
            </p:nvSpPr>
            <p:spPr bwMode="auto">
              <a:xfrm>
                <a:off x="8216900" y="2632075"/>
                <a:ext cx="38100" cy="47625"/>
              </a:xfrm>
              <a:custGeom>
                <a:avLst/>
                <a:gdLst>
                  <a:gd name="T0" fmla="*/ 9 w 120"/>
                  <a:gd name="T1" fmla="*/ 149 h 150"/>
                  <a:gd name="T2" fmla="*/ 12 w 120"/>
                  <a:gd name="T3" fmla="*/ 150 h 150"/>
                  <a:gd name="T4" fmla="*/ 15 w 120"/>
                  <a:gd name="T5" fmla="*/ 150 h 150"/>
                  <a:gd name="T6" fmla="*/ 19 w 120"/>
                  <a:gd name="T7" fmla="*/ 150 h 150"/>
                  <a:gd name="T8" fmla="*/ 22 w 120"/>
                  <a:gd name="T9" fmla="*/ 148 h 150"/>
                  <a:gd name="T10" fmla="*/ 26 w 120"/>
                  <a:gd name="T11" fmla="*/ 146 h 150"/>
                  <a:gd name="T12" fmla="*/ 29 w 120"/>
                  <a:gd name="T13" fmla="*/ 143 h 150"/>
                  <a:gd name="T14" fmla="*/ 85 w 120"/>
                  <a:gd name="T15" fmla="*/ 30 h 150"/>
                  <a:gd name="T16" fmla="*/ 105 w 120"/>
                  <a:gd name="T17" fmla="*/ 30 h 150"/>
                  <a:gd name="T18" fmla="*/ 108 w 120"/>
                  <a:gd name="T19" fmla="*/ 30 h 150"/>
                  <a:gd name="T20" fmla="*/ 111 w 120"/>
                  <a:gd name="T21" fmla="*/ 29 h 150"/>
                  <a:gd name="T22" fmla="*/ 114 w 120"/>
                  <a:gd name="T23" fmla="*/ 28 h 150"/>
                  <a:gd name="T24" fmla="*/ 116 w 120"/>
                  <a:gd name="T25" fmla="*/ 26 h 150"/>
                  <a:gd name="T26" fmla="*/ 118 w 120"/>
                  <a:gd name="T27" fmla="*/ 24 h 150"/>
                  <a:gd name="T28" fmla="*/ 119 w 120"/>
                  <a:gd name="T29" fmla="*/ 22 h 150"/>
                  <a:gd name="T30" fmla="*/ 120 w 120"/>
                  <a:gd name="T31" fmla="*/ 19 h 150"/>
                  <a:gd name="T32" fmla="*/ 120 w 120"/>
                  <a:gd name="T33" fmla="*/ 15 h 150"/>
                  <a:gd name="T34" fmla="*/ 120 w 120"/>
                  <a:gd name="T35" fmla="*/ 12 h 150"/>
                  <a:gd name="T36" fmla="*/ 119 w 120"/>
                  <a:gd name="T37" fmla="*/ 10 h 150"/>
                  <a:gd name="T38" fmla="*/ 118 w 120"/>
                  <a:gd name="T39" fmla="*/ 7 h 150"/>
                  <a:gd name="T40" fmla="*/ 116 w 120"/>
                  <a:gd name="T41" fmla="*/ 5 h 150"/>
                  <a:gd name="T42" fmla="*/ 114 w 120"/>
                  <a:gd name="T43" fmla="*/ 3 h 150"/>
                  <a:gd name="T44" fmla="*/ 111 w 120"/>
                  <a:gd name="T45" fmla="*/ 1 h 150"/>
                  <a:gd name="T46" fmla="*/ 108 w 120"/>
                  <a:gd name="T47" fmla="*/ 0 h 150"/>
                  <a:gd name="T48" fmla="*/ 105 w 120"/>
                  <a:gd name="T49" fmla="*/ 0 h 150"/>
                  <a:gd name="T50" fmla="*/ 75 w 120"/>
                  <a:gd name="T51" fmla="*/ 0 h 150"/>
                  <a:gd name="T52" fmla="*/ 71 w 120"/>
                  <a:gd name="T53" fmla="*/ 1 h 150"/>
                  <a:gd name="T54" fmla="*/ 67 w 120"/>
                  <a:gd name="T55" fmla="*/ 3 h 150"/>
                  <a:gd name="T56" fmla="*/ 64 w 120"/>
                  <a:gd name="T57" fmla="*/ 6 h 150"/>
                  <a:gd name="T58" fmla="*/ 62 w 120"/>
                  <a:gd name="T59" fmla="*/ 9 h 150"/>
                  <a:gd name="T60" fmla="*/ 1 w 120"/>
                  <a:gd name="T61" fmla="*/ 129 h 150"/>
                  <a:gd name="T62" fmla="*/ 0 w 120"/>
                  <a:gd name="T63" fmla="*/ 132 h 150"/>
                  <a:gd name="T64" fmla="*/ 0 w 120"/>
                  <a:gd name="T65" fmla="*/ 134 h 150"/>
                  <a:gd name="T66" fmla="*/ 0 w 120"/>
                  <a:gd name="T67" fmla="*/ 137 h 150"/>
                  <a:gd name="T68" fmla="*/ 1 w 120"/>
                  <a:gd name="T69" fmla="*/ 141 h 150"/>
                  <a:gd name="T70" fmla="*/ 2 w 120"/>
                  <a:gd name="T71" fmla="*/ 143 h 150"/>
                  <a:gd name="T72" fmla="*/ 3 w 120"/>
                  <a:gd name="T73" fmla="*/ 145 h 150"/>
                  <a:gd name="T74" fmla="*/ 5 w 120"/>
                  <a:gd name="T75" fmla="*/ 147 h 150"/>
                  <a:gd name="T76" fmla="*/ 9 w 120"/>
                  <a:gd name="T77" fmla="*/ 149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20" h="150">
                    <a:moveTo>
                      <a:pt x="9" y="149"/>
                    </a:moveTo>
                    <a:lnTo>
                      <a:pt x="12" y="150"/>
                    </a:lnTo>
                    <a:lnTo>
                      <a:pt x="15" y="150"/>
                    </a:lnTo>
                    <a:lnTo>
                      <a:pt x="19" y="150"/>
                    </a:lnTo>
                    <a:lnTo>
                      <a:pt x="22" y="148"/>
                    </a:lnTo>
                    <a:lnTo>
                      <a:pt x="26" y="146"/>
                    </a:lnTo>
                    <a:lnTo>
                      <a:pt x="29" y="143"/>
                    </a:lnTo>
                    <a:lnTo>
                      <a:pt x="85" y="30"/>
                    </a:lnTo>
                    <a:lnTo>
                      <a:pt x="105" y="30"/>
                    </a:lnTo>
                    <a:lnTo>
                      <a:pt x="108" y="30"/>
                    </a:lnTo>
                    <a:lnTo>
                      <a:pt x="111" y="29"/>
                    </a:lnTo>
                    <a:lnTo>
                      <a:pt x="114" y="28"/>
                    </a:lnTo>
                    <a:lnTo>
                      <a:pt x="116" y="26"/>
                    </a:lnTo>
                    <a:lnTo>
                      <a:pt x="118" y="24"/>
                    </a:lnTo>
                    <a:lnTo>
                      <a:pt x="119" y="22"/>
                    </a:lnTo>
                    <a:lnTo>
                      <a:pt x="120" y="19"/>
                    </a:lnTo>
                    <a:lnTo>
                      <a:pt x="120" y="15"/>
                    </a:lnTo>
                    <a:lnTo>
                      <a:pt x="120" y="12"/>
                    </a:lnTo>
                    <a:lnTo>
                      <a:pt x="119" y="10"/>
                    </a:lnTo>
                    <a:lnTo>
                      <a:pt x="118" y="7"/>
                    </a:lnTo>
                    <a:lnTo>
                      <a:pt x="116" y="5"/>
                    </a:lnTo>
                    <a:lnTo>
                      <a:pt x="114" y="3"/>
                    </a:lnTo>
                    <a:lnTo>
                      <a:pt x="111" y="1"/>
                    </a:lnTo>
                    <a:lnTo>
                      <a:pt x="108" y="0"/>
                    </a:lnTo>
                    <a:lnTo>
                      <a:pt x="105" y="0"/>
                    </a:lnTo>
                    <a:lnTo>
                      <a:pt x="75" y="0"/>
                    </a:lnTo>
                    <a:lnTo>
                      <a:pt x="71" y="1"/>
                    </a:lnTo>
                    <a:lnTo>
                      <a:pt x="67" y="3"/>
                    </a:lnTo>
                    <a:lnTo>
                      <a:pt x="64" y="6"/>
                    </a:lnTo>
                    <a:lnTo>
                      <a:pt x="62" y="9"/>
                    </a:lnTo>
                    <a:lnTo>
                      <a:pt x="1" y="129"/>
                    </a:lnTo>
                    <a:lnTo>
                      <a:pt x="0" y="132"/>
                    </a:lnTo>
                    <a:lnTo>
                      <a:pt x="0" y="134"/>
                    </a:lnTo>
                    <a:lnTo>
                      <a:pt x="0" y="137"/>
                    </a:lnTo>
                    <a:lnTo>
                      <a:pt x="1" y="141"/>
                    </a:lnTo>
                    <a:lnTo>
                      <a:pt x="2" y="143"/>
                    </a:lnTo>
                    <a:lnTo>
                      <a:pt x="3" y="145"/>
                    </a:lnTo>
                    <a:lnTo>
                      <a:pt x="5" y="147"/>
                    </a:lnTo>
                    <a:lnTo>
                      <a:pt x="9" y="14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Tree>
    <p:extLst>
      <p:ext uri="{BB962C8B-B14F-4D97-AF65-F5344CB8AC3E}">
        <p14:creationId xmlns:p14="http://schemas.microsoft.com/office/powerpoint/2010/main" val="412810040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459"/>
        <p:cNvGrpSpPr/>
        <p:nvPr/>
      </p:nvGrpSpPr>
      <p:grpSpPr>
        <a:xfrm>
          <a:off x="0" y="0"/>
          <a:ext cx="0" cy="0"/>
          <a:chOff x="0" y="0"/>
          <a:chExt cx="0" cy="0"/>
        </a:xfrm>
      </p:grpSpPr>
      <p:grpSp>
        <p:nvGrpSpPr>
          <p:cNvPr id="460" name="Google Shape;460;p74"/>
          <p:cNvGrpSpPr/>
          <p:nvPr/>
        </p:nvGrpSpPr>
        <p:grpSpPr>
          <a:xfrm>
            <a:off x="-1" y="2977664"/>
            <a:ext cx="12204975" cy="3880337"/>
            <a:chOff x="-1" y="2084968"/>
            <a:chExt cx="12204974" cy="5803179"/>
          </a:xfrm>
        </p:grpSpPr>
        <p:sp>
          <p:nvSpPr>
            <p:cNvPr id="461" name="Google Shape;461;p74"/>
            <p:cNvSpPr/>
            <p:nvPr/>
          </p:nvSpPr>
          <p:spPr>
            <a:xfrm>
              <a:off x="-1" y="2084968"/>
              <a:ext cx="12204973" cy="5803179"/>
            </a:xfrm>
            <a:custGeom>
              <a:avLst/>
              <a:gdLst/>
              <a:ahLst/>
              <a:cxnLst/>
              <a:rect l="l" t="t" r="r" b="b"/>
              <a:pathLst>
                <a:path w="9144000" h="4347758" extrusionOk="0">
                  <a:moveTo>
                    <a:pt x="0" y="0"/>
                  </a:moveTo>
                  <a:lnTo>
                    <a:pt x="28121" y="25"/>
                  </a:lnTo>
                  <a:cubicBezTo>
                    <a:pt x="642428" y="33446"/>
                    <a:pt x="1633314" y="868356"/>
                    <a:pt x="2606382" y="937809"/>
                  </a:cubicBezTo>
                  <a:cubicBezTo>
                    <a:pt x="3851910" y="1026709"/>
                    <a:pt x="5726688" y="610784"/>
                    <a:pt x="7082496" y="728259"/>
                  </a:cubicBezTo>
                  <a:cubicBezTo>
                    <a:pt x="7590924" y="772312"/>
                    <a:pt x="8185560" y="812347"/>
                    <a:pt x="8747868" y="882519"/>
                  </a:cubicBezTo>
                  <a:lnTo>
                    <a:pt x="9144000" y="941514"/>
                  </a:lnTo>
                  <a:lnTo>
                    <a:pt x="9144000" y="4347758"/>
                  </a:lnTo>
                  <a:lnTo>
                    <a:pt x="0" y="4347758"/>
                  </a:lnTo>
                  <a:close/>
                </a:path>
              </a:pathLst>
            </a:custGeom>
            <a:solidFill>
              <a:srgbClr val="2856AE"/>
            </a:solidFill>
            <a:ln>
              <a:noFill/>
            </a:ln>
          </p:spPr>
          <p:txBody>
            <a:bodyPr spcFirstLastPara="1" wrap="square" lIns="91433" tIns="45700" rIns="91433" bIns="45700" anchor="ctr" anchorCtr="0">
              <a:noAutofit/>
            </a:bodyPr>
            <a:lstStyle/>
            <a:p>
              <a:pPr algn="ctr" defTabSz="1219170">
                <a:buClr>
                  <a:srgbClr val="000000"/>
                </a:buClr>
              </a:pPr>
              <a:endParaRPr sz="1867" kern="0">
                <a:solidFill>
                  <a:srgbClr val="FFFFFF"/>
                </a:solidFill>
                <a:latin typeface="Calibri"/>
                <a:ea typeface="Calibri"/>
                <a:cs typeface="Calibri"/>
                <a:sym typeface="Calibri"/>
              </a:endParaRPr>
            </a:p>
          </p:txBody>
        </p:sp>
        <p:sp>
          <p:nvSpPr>
            <p:cNvPr id="462" name="Google Shape;462;p74"/>
            <p:cNvSpPr/>
            <p:nvPr/>
          </p:nvSpPr>
          <p:spPr>
            <a:xfrm>
              <a:off x="0" y="2084968"/>
              <a:ext cx="12204973" cy="2957118"/>
            </a:xfrm>
            <a:custGeom>
              <a:avLst/>
              <a:gdLst/>
              <a:ahLst/>
              <a:cxnLst/>
              <a:rect l="l" t="t" r="r" b="b"/>
              <a:pathLst>
                <a:path w="9144000" h="2215481" extrusionOk="0">
                  <a:moveTo>
                    <a:pt x="0" y="0"/>
                  </a:moveTo>
                  <a:lnTo>
                    <a:pt x="28121" y="25"/>
                  </a:lnTo>
                  <a:cubicBezTo>
                    <a:pt x="642428" y="33446"/>
                    <a:pt x="1633314" y="868356"/>
                    <a:pt x="2606382" y="937809"/>
                  </a:cubicBezTo>
                  <a:cubicBezTo>
                    <a:pt x="3851910" y="1026709"/>
                    <a:pt x="5726688" y="610784"/>
                    <a:pt x="7082496" y="728259"/>
                  </a:cubicBezTo>
                  <a:cubicBezTo>
                    <a:pt x="7590924" y="772312"/>
                    <a:pt x="8185560" y="812347"/>
                    <a:pt x="8747868" y="882519"/>
                  </a:cubicBezTo>
                  <a:lnTo>
                    <a:pt x="9144000" y="941514"/>
                  </a:lnTo>
                  <a:lnTo>
                    <a:pt x="9144000" y="2215481"/>
                  </a:lnTo>
                  <a:lnTo>
                    <a:pt x="8572500" y="2018897"/>
                  </a:lnTo>
                  <a:cubicBezTo>
                    <a:pt x="8347869" y="1940316"/>
                    <a:pt x="6893719" y="1492641"/>
                    <a:pt x="5957888" y="1504547"/>
                  </a:cubicBezTo>
                  <a:cubicBezTo>
                    <a:pt x="5022057" y="1516453"/>
                    <a:pt x="3774282" y="2123671"/>
                    <a:pt x="2957513" y="2090334"/>
                  </a:cubicBezTo>
                  <a:cubicBezTo>
                    <a:pt x="2140744" y="2056997"/>
                    <a:pt x="1557338" y="1397391"/>
                    <a:pt x="1057275" y="1304522"/>
                  </a:cubicBezTo>
                  <a:cubicBezTo>
                    <a:pt x="619720" y="1223262"/>
                    <a:pt x="251445" y="1433704"/>
                    <a:pt x="38593" y="1509919"/>
                  </a:cubicBezTo>
                  <a:lnTo>
                    <a:pt x="0" y="1520912"/>
                  </a:lnTo>
                  <a:lnTo>
                    <a:pt x="0" y="0"/>
                  </a:lnTo>
                  <a:close/>
                </a:path>
              </a:pathLst>
            </a:custGeom>
            <a:solidFill>
              <a:schemeClr val="lt1">
                <a:alpha val="8627"/>
              </a:schemeClr>
            </a:solidFill>
            <a:ln>
              <a:noFill/>
            </a:ln>
          </p:spPr>
          <p:txBody>
            <a:bodyPr spcFirstLastPara="1" wrap="square" lIns="91433" tIns="45700" rIns="91433" bIns="45700" anchor="ctr" anchorCtr="0">
              <a:noAutofit/>
            </a:bodyPr>
            <a:lstStyle/>
            <a:p>
              <a:pPr algn="ctr" defTabSz="1219170">
                <a:buClr>
                  <a:srgbClr val="000000"/>
                </a:buClr>
              </a:pPr>
              <a:endParaRPr sz="1867" kern="0">
                <a:solidFill>
                  <a:srgbClr val="FFFFFF"/>
                </a:solidFill>
                <a:latin typeface="Calibri"/>
                <a:ea typeface="Calibri"/>
                <a:cs typeface="Calibri"/>
                <a:sym typeface="Calibri"/>
              </a:endParaRPr>
            </a:p>
          </p:txBody>
        </p:sp>
      </p:grpSp>
      <p:sp>
        <p:nvSpPr>
          <p:cNvPr id="463" name="Google Shape;463;p74"/>
          <p:cNvSpPr/>
          <p:nvPr/>
        </p:nvSpPr>
        <p:spPr>
          <a:xfrm>
            <a:off x="4747024" y="1377275"/>
            <a:ext cx="2713288" cy="1107996"/>
          </a:xfrm>
          <a:prstGeom prst="rect">
            <a:avLst/>
          </a:prstGeom>
          <a:noFill/>
          <a:ln>
            <a:noFill/>
          </a:ln>
        </p:spPr>
        <p:txBody>
          <a:bodyPr spcFirstLastPara="1" wrap="square" lIns="0" tIns="0" rIns="0" bIns="0" anchor="ctr" anchorCtr="0">
            <a:noAutofit/>
          </a:bodyPr>
          <a:lstStyle/>
          <a:p>
            <a:pPr algn="ctr" defTabSz="1219170">
              <a:buClr>
                <a:srgbClr val="083D65"/>
              </a:buClr>
              <a:buSzPts val="900"/>
            </a:pPr>
            <a:r>
              <a:rPr lang="en" sz="2400" b="1" kern="0">
                <a:solidFill>
                  <a:srgbClr val="1E2860"/>
                </a:solidFill>
                <a:latin typeface="Inter"/>
                <a:ea typeface="Inter"/>
                <a:cs typeface="Inter"/>
                <a:sym typeface="Inter"/>
              </a:rPr>
              <a:t>Want these slides </a:t>
            </a:r>
            <a:endParaRPr sz="1467" kern="0">
              <a:solidFill>
                <a:srgbClr val="000000"/>
              </a:solidFill>
              <a:latin typeface="Arial"/>
              <a:cs typeface="Arial"/>
              <a:sym typeface="Arial"/>
            </a:endParaRPr>
          </a:p>
          <a:p>
            <a:pPr algn="ctr" defTabSz="1219170">
              <a:buClr>
                <a:srgbClr val="083D65"/>
              </a:buClr>
              <a:buSzPts val="900"/>
            </a:pPr>
            <a:r>
              <a:rPr lang="en" sz="2400" b="1" kern="0">
                <a:solidFill>
                  <a:srgbClr val="1E2860"/>
                </a:solidFill>
                <a:latin typeface="Inter"/>
                <a:ea typeface="Inter"/>
                <a:cs typeface="Inter"/>
                <a:sym typeface="Inter"/>
              </a:rPr>
              <a:t>in your own branding?</a:t>
            </a:r>
            <a:endParaRPr sz="2400" kern="0">
              <a:solidFill>
                <a:srgbClr val="1E2860"/>
              </a:solidFill>
              <a:latin typeface="Inter"/>
              <a:ea typeface="Inter"/>
              <a:cs typeface="Inter"/>
              <a:sym typeface="Inter"/>
            </a:endParaRPr>
          </a:p>
        </p:txBody>
      </p:sp>
      <p:sp>
        <p:nvSpPr>
          <p:cNvPr id="464" name="Google Shape;464;p74"/>
          <p:cNvSpPr/>
          <p:nvPr/>
        </p:nvSpPr>
        <p:spPr>
          <a:xfrm>
            <a:off x="718720" y="1746607"/>
            <a:ext cx="2713288" cy="369332"/>
          </a:xfrm>
          <a:prstGeom prst="rect">
            <a:avLst/>
          </a:prstGeom>
          <a:noFill/>
          <a:ln>
            <a:noFill/>
          </a:ln>
        </p:spPr>
        <p:txBody>
          <a:bodyPr spcFirstLastPara="1" wrap="square" lIns="0" tIns="0" rIns="0" bIns="0" anchor="ctr" anchorCtr="0">
            <a:noAutofit/>
          </a:bodyPr>
          <a:lstStyle/>
          <a:p>
            <a:pPr algn="ctr" defTabSz="1219170">
              <a:buClr>
                <a:srgbClr val="083D65"/>
              </a:buClr>
              <a:buSzPts val="900"/>
            </a:pPr>
            <a:r>
              <a:rPr lang="en" sz="2400" b="1" kern="0">
                <a:solidFill>
                  <a:srgbClr val="1E2860"/>
                </a:solidFill>
                <a:latin typeface="Inter"/>
                <a:ea typeface="Inter"/>
                <a:cs typeface="Inter"/>
                <a:sym typeface="Inter"/>
              </a:rPr>
              <a:t>Short on time?</a:t>
            </a:r>
            <a:endParaRPr sz="2400" kern="0">
              <a:solidFill>
                <a:srgbClr val="1E2860"/>
              </a:solidFill>
              <a:latin typeface="Inter"/>
              <a:ea typeface="Inter"/>
              <a:cs typeface="Inter"/>
              <a:sym typeface="Inter"/>
            </a:endParaRPr>
          </a:p>
        </p:txBody>
      </p:sp>
      <p:sp>
        <p:nvSpPr>
          <p:cNvPr id="465" name="Google Shape;465;p74"/>
          <p:cNvSpPr/>
          <p:nvPr/>
        </p:nvSpPr>
        <p:spPr>
          <a:xfrm>
            <a:off x="8775327" y="1377275"/>
            <a:ext cx="2713288" cy="1107996"/>
          </a:xfrm>
          <a:prstGeom prst="rect">
            <a:avLst/>
          </a:prstGeom>
          <a:noFill/>
          <a:ln>
            <a:noFill/>
          </a:ln>
        </p:spPr>
        <p:txBody>
          <a:bodyPr spcFirstLastPara="1" wrap="square" lIns="0" tIns="0" rIns="0" bIns="0" anchor="ctr" anchorCtr="0">
            <a:noAutofit/>
          </a:bodyPr>
          <a:lstStyle/>
          <a:p>
            <a:pPr algn="ctr" defTabSz="1219170">
              <a:buClr>
                <a:srgbClr val="083D65"/>
              </a:buClr>
              <a:buSzPts val="900"/>
            </a:pPr>
            <a:r>
              <a:rPr lang="en" sz="2400" b="1" kern="0">
                <a:solidFill>
                  <a:srgbClr val="1E2860"/>
                </a:solidFill>
                <a:latin typeface="Inter"/>
                <a:ea typeface="Inter"/>
                <a:cs typeface="Inter"/>
                <a:sym typeface="Inter"/>
              </a:rPr>
              <a:t>Looking for a high-impact custom design?</a:t>
            </a:r>
            <a:endParaRPr sz="2400" kern="0">
              <a:solidFill>
                <a:srgbClr val="1E2860"/>
              </a:solidFill>
              <a:latin typeface="Inter"/>
              <a:ea typeface="Inter"/>
              <a:cs typeface="Inter"/>
              <a:sym typeface="Inter"/>
            </a:endParaRPr>
          </a:p>
        </p:txBody>
      </p:sp>
      <p:grpSp>
        <p:nvGrpSpPr>
          <p:cNvPr id="466" name="Google Shape;466;p74"/>
          <p:cNvGrpSpPr/>
          <p:nvPr/>
        </p:nvGrpSpPr>
        <p:grpSpPr>
          <a:xfrm>
            <a:off x="1737276" y="5735924"/>
            <a:ext cx="676176" cy="161525"/>
            <a:chOff x="189396" y="4475774"/>
            <a:chExt cx="506593" cy="121015"/>
          </a:xfrm>
        </p:grpSpPr>
        <p:sp>
          <p:nvSpPr>
            <p:cNvPr id="467" name="Google Shape;467;p74"/>
            <p:cNvSpPr/>
            <p:nvPr/>
          </p:nvSpPr>
          <p:spPr>
            <a:xfrm>
              <a:off x="189396" y="4475774"/>
              <a:ext cx="121015" cy="121015"/>
            </a:xfrm>
            <a:prstGeom prst="ellipse">
              <a:avLst/>
            </a:prstGeom>
            <a:solidFill>
              <a:srgbClr val="3EBF8A"/>
            </a:solidFill>
            <a:ln>
              <a:noFill/>
            </a:ln>
          </p:spPr>
          <p:txBody>
            <a:bodyPr spcFirstLastPara="1" wrap="square" lIns="91433" tIns="45700" rIns="91433" bIns="45700" anchor="ctr" anchorCtr="0">
              <a:noAutofit/>
            </a:bodyPr>
            <a:lstStyle/>
            <a:p>
              <a:pPr algn="ctr" defTabSz="1219170">
                <a:buClr>
                  <a:srgbClr val="000000"/>
                </a:buClr>
              </a:pPr>
              <a:endParaRPr sz="1867" kern="0">
                <a:solidFill>
                  <a:srgbClr val="FFFFFF"/>
                </a:solidFill>
                <a:latin typeface="Calibri"/>
                <a:ea typeface="Calibri"/>
                <a:cs typeface="Calibri"/>
                <a:sym typeface="Calibri"/>
              </a:endParaRPr>
            </a:p>
          </p:txBody>
        </p:sp>
        <p:sp>
          <p:nvSpPr>
            <p:cNvPr id="468" name="Google Shape;468;p74"/>
            <p:cNvSpPr/>
            <p:nvPr/>
          </p:nvSpPr>
          <p:spPr>
            <a:xfrm>
              <a:off x="382185" y="4475774"/>
              <a:ext cx="121015" cy="121015"/>
            </a:xfrm>
            <a:prstGeom prst="ellipse">
              <a:avLst/>
            </a:prstGeom>
            <a:solidFill>
              <a:srgbClr val="1446A6"/>
            </a:solidFill>
            <a:ln w="9525" cap="flat" cmpd="sng">
              <a:solidFill>
                <a:schemeClr val="lt1"/>
              </a:solidFill>
              <a:prstDash val="solid"/>
              <a:miter lim="800000"/>
              <a:headEnd type="none" w="sm" len="sm"/>
              <a:tailEnd type="none" w="sm" len="sm"/>
            </a:ln>
          </p:spPr>
          <p:txBody>
            <a:bodyPr spcFirstLastPara="1" wrap="square" lIns="91433" tIns="45700" rIns="91433" bIns="45700" anchor="ctr" anchorCtr="0">
              <a:noAutofit/>
            </a:bodyPr>
            <a:lstStyle/>
            <a:p>
              <a:pPr algn="ctr" defTabSz="1219170">
                <a:buClr>
                  <a:srgbClr val="000000"/>
                </a:buClr>
              </a:pPr>
              <a:endParaRPr sz="1867" kern="0">
                <a:solidFill>
                  <a:srgbClr val="FFFFFF"/>
                </a:solidFill>
                <a:latin typeface="Calibri"/>
                <a:ea typeface="Calibri"/>
                <a:cs typeface="Calibri"/>
                <a:sym typeface="Calibri"/>
              </a:endParaRPr>
            </a:p>
          </p:txBody>
        </p:sp>
        <p:sp>
          <p:nvSpPr>
            <p:cNvPr id="469" name="Google Shape;469;p74"/>
            <p:cNvSpPr/>
            <p:nvPr/>
          </p:nvSpPr>
          <p:spPr>
            <a:xfrm>
              <a:off x="574974" y="4475774"/>
              <a:ext cx="121015" cy="121015"/>
            </a:xfrm>
            <a:prstGeom prst="ellipse">
              <a:avLst/>
            </a:prstGeom>
            <a:solidFill>
              <a:srgbClr val="1446A6"/>
            </a:solidFill>
            <a:ln w="9525" cap="flat" cmpd="sng">
              <a:solidFill>
                <a:schemeClr val="lt1"/>
              </a:solidFill>
              <a:prstDash val="solid"/>
              <a:miter lim="800000"/>
              <a:headEnd type="none" w="sm" len="sm"/>
              <a:tailEnd type="none" w="sm" len="sm"/>
            </a:ln>
          </p:spPr>
          <p:txBody>
            <a:bodyPr spcFirstLastPara="1" wrap="square" lIns="91433" tIns="45700" rIns="91433" bIns="45700" anchor="ctr" anchorCtr="0">
              <a:noAutofit/>
            </a:bodyPr>
            <a:lstStyle/>
            <a:p>
              <a:pPr algn="ctr" defTabSz="1219170">
                <a:buClr>
                  <a:srgbClr val="000000"/>
                </a:buClr>
              </a:pPr>
              <a:endParaRPr sz="1867" kern="0">
                <a:solidFill>
                  <a:srgbClr val="FFFFFF"/>
                </a:solidFill>
                <a:latin typeface="Calibri"/>
                <a:ea typeface="Calibri"/>
                <a:cs typeface="Calibri"/>
                <a:sym typeface="Calibri"/>
              </a:endParaRPr>
            </a:p>
          </p:txBody>
        </p:sp>
      </p:grpSp>
      <p:grpSp>
        <p:nvGrpSpPr>
          <p:cNvPr id="470" name="Google Shape;470;p74"/>
          <p:cNvGrpSpPr/>
          <p:nvPr/>
        </p:nvGrpSpPr>
        <p:grpSpPr>
          <a:xfrm>
            <a:off x="5765580" y="5735924"/>
            <a:ext cx="676176" cy="161525"/>
            <a:chOff x="189396" y="4475774"/>
            <a:chExt cx="506593" cy="121015"/>
          </a:xfrm>
        </p:grpSpPr>
        <p:sp>
          <p:nvSpPr>
            <p:cNvPr id="471" name="Google Shape;471;p74"/>
            <p:cNvSpPr/>
            <p:nvPr/>
          </p:nvSpPr>
          <p:spPr>
            <a:xfrm>
              <a:off x="189396" y="4475774"/>
              <a:ext cx="121015" cy="121015"/>
            </a:xfrm>
            <a:prstGeom prst="ellipse">
              <a:avLst/>
            </a:prstGeom>
            <a:solidFill>
              <a:srgbClr val="3EBF8A"/>
            </a:solidFill>
            <a:ln>
              <a:noFill/>
            </a:ln>
          </p:spPr>
          <p:txBody>
            <a:bodyPr spcFirstLastPara="1" wrap="square" lIns="91433" tIns="45700" rIns="91433" bIns="45700" anchor="ctr" anchorCtr="0">
              <a:noAutofit/>
            </a:bodyPr>
            <a:lstStyle/>
            <a:p>
              <a:pPr algn="ctr" defTabSz="1219170">
                <a:buClr>
                  <a:srgbClr val="000000"/>
                </a:buClr>
              </a:pPr>
              <a:endParaRPr sz="1867" kern="0">
                <a:solidFill>
                  <a:srgbClr val="FFFFFF"/>
                </a:solidFill>
                <a:latin typeface="Calibri"/>
                <a:ea typeface="Calibri"/>
                <a:cs typeface="Calibri"/>
                <a:sym typeface="Calibri"/>
              </a:endParaRPr>
            </a:p>
          </p:txBody>
        </p:sp>
        <p:sp>
          <p:nvSpPr>
            <p:cNvPr id="472" name="Google Shape;472;p74"/>
            <p:cNvSpPr/>
            <p:nvPr/>
          </p:nvSpPr>
          <p:spPr>
            <a:xfrm>
              <a:off x="382185" y="4475774"/>
              <a:ext cx="121015" cy="121015"/>
            </a:xfrm>
            <a:prstGeom prst="ellipse">
              <a:avLst/>
            </a:prstGeom>
            <a:solidFill>
              <a:srgbClr val="3EBF8A"/>
            </a:solidFill>
            <a:ln>
              <a:noFill/>
            </a:ln>
          </p:spPr>
          <p:txBody>
            <a:bodyPr spcFirstLastPara="1" wrap="square" lIns="91433" tIns="45700" rIns="91433" bIns="45700" anchor="ctr" anchorCtr="0">
              <a:noAutofit/>
            </a:bodyPr>
            <a:lstStyle/>
            <a:p>
              <a:pPr algn="ctr" defTabSz="1219170">
                <a:buClr>
                  <a:srgbClr val="000000"/>
                </a:buClr>
              </a:pPr>
              <a:endParaRPr sz="1867" kern="0">
                <a:solidFill>
                  <a:srgbClr val="FFFFFF"/>
                </a:solidFill>
                <a:latin typeface="Calibri"/>
                <a:ea typeface="Calibri"/>
                <a:cs typeface="Calibri"/>
                <a:sym typeface="Calibri"/>
              </a:endParaRPr>
            </a:p>
          </p:txBody>
        </p:sp>
        <p:sp>
          <p:nvSpPr>
            <p:cNvPr id="473" name="Google Shape;473;p74"/>
            <p:cNvSpPr/>
            <p:nvPr/>
          </p:nvSpPr>
          <p:spPr>
            <a:xfrm>
              <a:off x="574974" y="4475774"/>
              <a:ext cx="121015" cy="121015"/>
            </a:xfrm>
            <a:prstGeom prst="ellipse">
              <a:avLst/>
            </a:prstGeom>
            <a:solidFill>
              <a:srgbClr val="1446A6"/>
            </a:solidFill>
            <a:ln w="9525" cap="flat" cmpd="sng">
              <a:solidFill>
                <a:schemeClr val="lt1"/>
              </a:solidFill>
              <a:prstDash val="solid"/>
              <a:miter lim="800000"/>
              <a:headEnd type="none" w="sm" len="sm"/>
              <a:tailEnd type="none" w="sm" len="sm"/>
            </a:ln>
          </p:spPr>
          <p:txBody>
            <a:bodyPr spcFirstLastPara="1" wrap="square" lIns="91433" tIns="45700" rIns="91433" bIns="45700" anchor="ctr" anchorCtr="0">
              <a:noAutofit/>
            </a:bodyPr>
            <a:lstStyle/>
            <a:p>
              <a:pPr algn="ctr" defTabSz="1219170">
                <a:buClr>
                  <a:srgbClr val="000000"/>
                </a:buClr>
              </a:pPr>
              <a:endParaRPr sz="1867" kern="0">
                <a:solidFill>
                  <a:srgbClr val="FFFFFF"/>
                </a:solidFill>
                <a:latin typeface="Calibri"/>
                <a:ea typeface="Calibri"/>
                <a:cs typeface="Calibri"/>
                <a:sym typeface="Calibri"/>
              </a:endParaRPr>
            </a:p>
          </p:txBody>
        </p:sp>
      </p:grpSp>
      <p:grpSp>
        <p:nvGrpSpPr>
          <p:cNvPr id="474" name="Google Shape;474;p74"/>
          <p:cNvGrpSpPr/>
          <p:nvPr/>
        </p:nvGrpSpPr>
        <p:grpSpPr>
          <a:xfrm>
            <a:off x="9793883" y="5735924"/>
            <a:ext cx="676176" cy="161525"/>
            <a:chOff x="189396" y="4475774"/>
            <a:chExt cx="506593" cy="121015"/>
          </a:xfrm>
        </p:grpSpPr>
        <p:sp>
          <p:nvSpPr>
            <p:cNvPr id="475" name="Google Shape;475;p74"/>
            <p:cNvSpPr/>
            <p:nvPr/>
          </p:nvSpPr>
          <p:spPr>
            <a:xfrm>
              <a:off x="189396" y="4475774"/>
              <a:ext cx="121015" cy="121015"/>
            </a:xfrm>
            <a:prstGeom prst="ellipse">
              <a:avLst/>
            </a:prstGeom>
            <a:solidFill>
              <a:srgbClr val="3EBF8A"/>
            </a:solidFill>
            <a:ln>
              <a:noFill/>
            </a:ln>
          </p:spPr>
          <p:txBody>
            <a:bodyPr spcFirstLastPara="1" wrap="square" lIns="91433" tIns="45700" rIns="91433" bIns="45700" anchor="ctr" anchorCtr="0">
              <a:noAutofit/>
            </a:bodyPr>
            <a:lstStyle/>
            <a:p>
              <a:pPr algn="ctr" defTabSz="1219170">
                <a:buClr>
                  <a:srgbClr val="000000"/>
                </a:buClr>
              </a:pPr>
              <a:endParaRPr sz="1867" kern="0">
                <a:solidFill>
                  <a:srgbClr val="FFFFFF"/>
                </a:solidFill>
                <a:latin typeface="Calibri"/>
                <a:ea typeface="Calibri"/>
                <a:cs typeface="Calibri"/>
                <a:sym typeface="Calibri"/>
              </a:endParaRPr>
            </a:p>
          </p:txBody>
        </p:sp>
        <p:sp>
          <p:nvSpPr>
            <p:cNvPr id="476" name="Google Shape;476;p74"/>
            <p:cNvSpPr/>
            <p:nvPr/>
          </p:nvSpPr>
          <p:spPr>
            <a:xfrm>
              <a:off x="382185" y="4475774"/>
              <a:ext cx="121015" cy="121015"/>
            </a:xfrm>
            <a:prstGeom prst="ellipse">
              <a:avLst/>
            </a:prstGeom>
            <a:solidFill>
              <a:srgbClr val="3EBF8A"/>
            </a:solidFill>
            <a:ln>
              <a:noFill/>
            </a:ln>
          </p:spPr>
          <p:txBody>
            <a:bodyPr spcFirstLastPara="1" wrap="square" lIns="91433" tIns="45700" rIns="91433" bIns="45700" anchor="ctr" anchorCtr="0">
              <a:noAutofit/>
            </a:bodyPr>
            <a:lstStyle/>
            <a:p>
              <a:pPr algn="ctr" defTabSz="1219170">
                <a:buClr>
                  <a:srgbClr val="000000"/>
                </a:buClr>
              </a:pPr>
              <a:endParaRPr sz="1867" kern="0">
                <a:solidFill>
                  <a:srgbClr val="FFFFFF"/>
                </a:solidFill>
                <a:latin typeface="Calibri"/>
                <a:ea typeface="Calibri"/>
                <a:cs typeface="Calibri"/>
                <a:sym typeface="Calibri"/>
              </a:endParaRPr>
            </a:p>
          </p:txBody>
        </p:sp>
        <p:sp>
          <p:nvSpPr>
            <p:cNvPr id="477" name="Google Shape;477;p74"/>
            <p:cNvSpPr/>
            <p:nvPr/>
          </p:nvSpPr>
          <p:spPr>
            <a:xfrm>
              <a:off x="574974" y="4475774"/>
              <a:ext cx="121015" cy="121015"/>
            </a:xfrm>
            <a:prstGeom prst="ellipse">
              <a:avLst/>
            </a:prstGeom>
            <a:solidFill>
              <a:srgbClr val="3EBF8A"/>
            </a:solidFill>
            <a:ln>
              <a:noFill/>
            </a:ln>
          </p:spPr>
          <p:txBody>
            <a:bodyPr spcFirstLastPara="1" wrap="square" lIns="91433" tIns="45700" rIns="91433" bIns="45700" anchor="ctr" anchorCtr="0">
              <a:noAutofit/>
            </a:bodyPr>
            <a:lstStyle/>
            <a:p>
              <a:pPr algn="ctr" defTabSz="1219170">
                <a:buClr>
                  <a:srgbClr val="000000"/>
                </a:buClr>
              </a:pPr>
              <a:endParaRPr sz="1867" kern="0">
                <a:solidFill>
                  <a:srgbClr val="FFFFFF"/>
                </a:solidFill>
                <a:latin typeface="Calibri"/>
                <a:ea typeface="Calibri"/>
                <a:cs typeface="Calibri"/>
                <a:sym typeface="Calibri"/>
              </a:endParaRPr>
            </a:p>
          </p:txBody>
        </p:sp>
      </p:grpSp>
      <p:pic>
        <p:nvPicPr>
          <p:cNvPr id="478" name="Google Shape;478;p74"/>
          <p:cNvPicPr preferRelativeResize="0"/>
          <p:nvPr/>
        </p:nvPicPr>
        <p:blipFill rotWithShape="1">
          <a:blip r:embed="rId3">
            <a:alphaModFix/>
          </a:blip>
          <a:srcRect/>
          <a:stretch/>
        </p:blipFill>
        <p:spPr>
          <a:xfrm>
            <a:off x="8528950" y="2906640"/>
            <a:ext cx="3206044" cy="1851379"/>
          </a:xfrm>
          <a:prstGeom prst="rect">
            <a:avLst/>
          </a:prstGeom>
          <a:noFill/>
          <a:ln>
            <a:noFill/>
          </a:ln>
        </p:spPr>
      </p:pic>
      <p:pic>
        <p:nvPicPr>
          <p:cNvPr id="479" name="Google Shape;479;p74"/>
          <p:cNvPicPr preferRelativeResize="0"/>
          <p:nvPr/>
        </p:nvPicPr>
        <p:blipFill rotWithShape="1">
          <a:blip r:embed="rId4">
            <a:alphaModFix/>
          </a:blip>
          <a:srcRect/>
          <a:stretch/>
        </p:blipFill>
        <p:spPr>
          <a:xfrm>
            <a:off x="5003003" y="3380775"/>
            <a:ext cx="2201333" cy="1377244"/>
          </a:xfrm>
          <a:prstGeom prst="rect">
            <a:avLst/>
          </a:prstGeom>
          <a:noFill/>
          <a:ln>
            <a:noFill/>
          </a:ln>
        </p:spPr>
      </p:pic>
      <p:pic>
        <p:nvPicPr>
          <p:cNvPr id="480" name="Google Shape;480;p74"/>
          <p:cNvPicPr preferRelativeResize="0"/>
          <p:nvPr/>
        </p:nvPicPr>
        <p:blipFill rotWithShape="1">
          <a:blip r:embed="rId5">
            <a:alphaModFix/>
          </a:blip>
          <a:srcRect/>
          <a:stretch/>
        </p:blipFill>
        <p:spPr>
          <a:xfrm>
            <a:off x="1166610" y="2805040"/>
            <a:ext cx="1817511" cy="1952979"/>
          </a:xfrm>
          <a:prstGeom prst="rect">
            <a:avLst/>
          </a:prstGeom>
          <a:noFill/>
          <a:ln>
            <a:noFill/>
          </a:ln>
        </p:spPr>
      </p:pic>
    </p:spTree>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3" name="Rectangle 102"/>
          <p:cNvSpPr/>
          <p:nvPr/>
        </p:nvSpPr>
        <p:spPr>
          <a:xfrm>
            <a:off x="12344400" y="0"/>
            <a:ext cx="469900" cy="469900"/>
          </a:xfrm>
          <a:prstGeom prst="rect">
            <a:avLst/>
          </a:prstGeom>
          <a:solidFill>
            <a:srgbClr val="E7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4" name="Rectangle 103"/>
          <p:cNvSpPr/>
          <p:nvPr/>
        </p:nvSpPr>
        <p:spPr>
          <a:xfrm>
            <a:off x="12344400" y="649557"/>
            <a:ext cx="469900" cy="469900"/>
          </a:xfrm>
          <a:prstGeom prst="rect">
            <a:avLst/>
          </a:prstGeom>
          <a:solidFill>
            <a:srgbClr val="AFABA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5" name="Rectangle 104"/>
          <p:cNvSpPr/>
          <p:nvPr/>
        </p:nvSpPr>
        <p:spPr>
          <a:xfrm>
            <a:off x="12344400" y="1299114"/>
            <a:ext cx="469900" cy="469900"/>
          </a:xfrm>
          <a:prstGeom prst="rect">
            <a:avLst/>
          </a:prstGeom>
          <a:solidFill>
            <a:srgbClr val="76717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7" name="Rectangle 106"/>
          <p:cNvSpPr/>
          <p:nvPr/>
        </p:nvSpPr>
        <p:spPr>
          <a:xfrm>
            <a:off x="12966699" y="0"/>
            <a:ext cx="469900" cy="469900"/>
          </a:xfrm>
          <a:prstGeom prst="rect">
            <a:avLst/>
          </a:prstGeom>
          <a:solidFill>
            <a:srgbClr val="E8786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8" name="Rectangle 107"/>
          <p:cNvSpPr/>
          <p:nvPr/>
        </p:nvSpPr>
        <p:spPr>
          <a:xfrm>
            <a:off x="12966699" y="649557"/>
            <a:ext cx="469900" cy="469900"/>
          </a:xfrm>
          <a:prstGeom prst="rect">
            <a:avLst/>
          </a:prstGeom>
          <a:solidFill>
            <a:srgbClr val="E258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9" name="Rectangle 108"/>
          <p:cNvSpPr/>
          <p:nvPr/>
        </p:nvSpPr>
        <p:spPr>
          <a:xfrm>
            <a:off x="12966699" y="1299114"/>
            <a:ext cx="469900" cy="469900"/>
          </a:xfrm>
          <a:prstGeom prst="rect">
            <a:avLst/>
          </a:prstGeom>
          <a:solidFill>
            <a:srgbClr val="D63E2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0" name="Rectangle 109"/>
          <p:cNvSpPr/>
          <p:nvPr/>
        </p:nvSpPr>
        <p:spPr>
          <a:xfrm>
            <a:off x="13588998" y="0"/>
            <a:ext cx="469900" cy="469900"/>
          </a:xfrm>
          <a:prstGeom prst="rect">
            <a:avLst/>
          </a:prstGeom>
          <a:solidFill>
            <a:srgbClr val="8EDCD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1" name="Rectangle 110"/>
          <p:cNvSpPr/>
          <p:nvPr/>
        </p:nvSpPr>
        <p:spPr>
          <a:xfrm>
            <a:off x="13588998" y="649557"/>
            <a:ext cx="469900" cy="469900"/>
          </a:xfrm>
          <a:prstGeom prst="rect">
            <a:avLst/>
          </a:prstGeom>
          <a:solidFill>
            <a:srgbClr val="78D2D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2" name="Rectangle 111"/>
          <p:cNvSpPr/>
          <p:nvPr/>
        </p:nvSpPr>
        <p:spPr>
          <a:xfrm>
            <a:off x="13588998" y="1299114"/>
            <a:ext cx="469900" cy="469900"/>
          </a:xfrm>
          <a:prstGeom prst="rect">
            <a:avLst/>
          </a:prstGeom>
          <a:solidFill>
            <a:srgbClr val="4CC7C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3" name="Rectangle 112"/>
          <p:cNvSpPr/>
          <p:nvPr/>
        </p:nvSpPr>
        <p:spPr>
          <a:xfrm>
            <a:off x="14211297" y="0"/>
            <a:ext cx="469900" cy="469900"/>
          </a:xfrm>
          <a:prstGeom prst="rect">
            <a:avLst/>
          </a:prstGeom>
          <a:solidFill>
            <a:srgbClr val="55535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4" name="Rectangle 113"/>
          <p:cNvSpPr/>
          <p:nvPr/>
        </p:nvSpPr>
        <p:spPr>
          <a:xfrm>
            <a:off x="14211297" y="649557"/>
            <a:ext cx="469900" cy="469900"/>
          </a:xfrm>
          <a:prstGeom prst="rect">
            <a:avLst/>
          </a:prstGeom>
          <a:solidFill>
            <a:srgbClr val="3B393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5" name="Rectangle 114"/>
          <p:cNvSpPr/>
          <p:nvPr/>
        </p:nvSpPr>
        <p:spPr>
          <a:xfrm>
            <a:off x="14211297" y="1299114"/>
            <a:ext cx="469900" cy="469900"/>
          </a:xfrm>
          <a:prstGeom prst="rect">
            <a:avLst/>
          </a:prstGeom>
          <a:solidFill>
            <a:srgbClr val="25232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0" name="Text Placeholder 119"/>
          <p:cNvSpPr>
            <a:spLocks noGrp="1"/>
          </p:cNvSpPr>
          <p:nvPr>
            <p:ph type="body" sz="quarter" idx="13"/>
          </p:nvPr>
        </p:nvSpPr>
        <p:spPr/>
        <p:txBody>
          <a:bodyPr/>
          <a:lstStyle/>
          <a:p>
            <a:r>
              <a:rPr lang="en-US" sz="3200" dirty="0"/>
              <a:t>PowerPoint Presentation</a:t>
            </a:r>
          </a:p>
        </p:txBody>
      </p:sp>
      <p:sp>
        <p:nvSpPr>
          <p:cNvPr id="116" name="Date Placeholder 115"/>
          <p:cNvSpPr>
            <a:spLocks noGrp="1"/>
          </p:cNvSpPr>
          <p:nvPr>
            <p:ph type="dt" sz="half" idx="10"/>
          </p:nvPr>
        </p:nvSpPr>
        <p:spPr/>
        <p:txBody>
          <a:bodyPr/>
          <a:lstStyle/>
          <a:p>
            <a:fld id="{56E1B330-CB56-448E-9C70-830A2B9C05C8}" type="datetime1">
              <a:rPr lang="en-US" smtClean="0"/>
              <a:t>10/28/2022</a:t>
            </a:fld>
            <a:endParaRPr lang="en-US"/>
          </a:p>
        </p:txBody>
      </p:sp>
      <p:sp>
        <p:nvSpPr>
          <p:cNvPr id="117" name="Slide Number Placeholder 116"/>
          <p:cNvSpPr>
            <a:spLocks noGrp="1"/>
          </p:cNvSpPr>
          <p:nvPr>
            <p:ph type="sldNum" sz="quarter" idx="12"/>
          </p:nvPr>
        </p:nvSpPr>
        <p:spPr/>
        <p:txBody>
          <a:bodyPr/>
          <a:lstStyle/>
          <a:p>
            <a:fld id="{03206E70-9524-410D-AE9B-78D656EAA14D}" type="slidenum">
              <a:rPr lang="en-US" smtClean="0"/>
              <a:pPr/>
              <a:t>30</a:t>
            </a:fld>
            <a:endParaRPr lang="en-US"/>
          </a:p>
        </p:txBody>
      </p:sp>
      <p:sp>
        <p:nvSpPr>
          <p:cNvPr id="210" name="Title 1"/>
          <p:cNvSpPr txBox="1">
            <a:spLocks/>
          </p:cNvSpPr>
          <p:nvPr/>
        </p:nvSpPr>
        <p:spPr>
          <a:xfrm>
            <a:off x="8965982" y="2411113"/>
            <a:ext cx="799571" cy="615553"/>
          </a:xfrm>
          <a:prstGeom prst="rect">
            <a:avLst/>
          </a:prstGeom>
          <a:effectLst/>
        </p:spPr>
        <p:txBody>
          <a:bodyPr wrap="square" lIns="0" tIns="0" rIns="0" bIns="0" anchor="ctr">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lnSpc>
                <a:spcPct val="100000"/>
              </a:lnSpc>
            </a:pPr>
            <a:r>
              <a:rPr lang="en-US" sz="4000" b="1" dirty="0">
                <a:solidFill>
                  <a:srgbClr val="E2583D"/>
                </a:solidFill>
                <a:latin typeface="+mn-lt"/>
                <a:ea typeface="Segoe UI" panose="020B0502040204020203" pitchFamily="34" charset="0"/>
                <a:cs typeface="Segoe UI" panose="020B0502040204020203" pitchFamily="34" charset="0"/>
              </a:rPr>
              <a:t>02</a:t>
            </a:r>
          </a:p>
        </p:txBody>
      </p:sp>
      <p:sp>
        <p:nvSpPr>
          <p:cNvPr id="211" name="Title 1"/>
          <p:cNvSpPr txBox="1">
            <a:spLocks/>
          </p:cNvSpPr>
          <p:nvPr/>
        </p:nvSpPr>
        <p:spPr>
          <a:xfrm>
            <a:off x="2652531" y="4355505"/>
            <a:ext cx="799571" cy="615553"/>
          </a:xfrm>
          <a:prstGeom prst="rect">
            <a:avLst/>
          </a:prstGeom>
          <a:effectLst/>
        </p:spPr>
        <p:txBody>
          <a:bodyPr wrap="square" lIns="0" tIns="0" rIns="0" bIns="0" anchor="ctr">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lnSpc>
                <a:spcPct val="100000"/>
              </a:lnSpc>
            </a:pPr>
            <a:r>
              <a:rPr lang="en-US" sz="4000" b="1" dirty="0">
                <a:solidFill>
                  <a:srgbClr val="E2583D"/>
                </a:solidFill>
                <a:latin typeface="+mn-lt"/>
                <a:ea typeface="Segoe UI" panose="020B0502040204020203" pitchFamily="34" charset="0"/>
                <a:cs typeface="Segoe UI" panose="020B0502040204020203" pitchFamily="34" charset="0"/>
              </a:rPr>
              <a:t>03</a:t>
            </a:r>
          </a:p>
        </p:txBody>
      </p:sp>
      <p:sp>
        <p:nvSpPr>
          <p:cNvPr id="212" name="Title 1"/>
          <p:cNvSpPr txBox="1">
            <a:spLocks/>
          </p:cNvSpPr>
          <p:nvPr/>
        </p:nvSpPr>
        <p:spPr>
          <a:xfrm>
            <a:off x="8739896" y="4355505"/>
            <a:ext cx="799571" cy="615553"/>
          </a:xfrm>
          <a:prstGeom prst="rect">
            <a:avLst/>
          </a:prstGeom>
          <a:effectLst/>
        </p:spPr>
        <p:txBody>
          <a:bodyPr wrap="square" lIns="0" tIns="0" rIns="0" bIns="0" anchor="ctr">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lnSpc>
                <a:spcPct val="100000"/>
              </a:lnSpc>
            </a:pPr>
            <a:r>
              <a:rPr lang="en-US" sz="4000" b="1" dirty="0">
                <a:solidFill>
                  <a:srgbClr val="4CC7C4"/>
                </a:solidFill>
                <a:latin typeface="+mn-lt"/>
                <a:ea typeface="Segoe UI" panose="020B0502040204020203" pitchFamily="34" charset="0"/>
                <a:cs typeface="Segoe UI" panose="020B0502040204020203" pitchFamily="34" charset="0"/>
              </a:rPr>
              <a:t>04</a:t>
            </a:r>
          </a:p>
        </p:txBody>
      </p:sp>
      <p:sp>
        <p:nvSpPr>
          <p:cNvPr id="213" name="Title 1"/>
          <p:cNvSpPr txBox="1">
            <a:spLocks/>
          </p:cNvSpPr>
          <p:nvPr/>
        </p:nvSpPr>
        <p:spPr>
          <a:xfrm>
            <a:off x="2426445" y="2411113"/>
            <a:ext cx="799571" cy="615553"/>
          </a:xfrm>
          <a:prstGeom prst="rect">
            <a:avLst/>
          </a:prstGeom>
          <a:effectLst/>
        </p:spPr>
        <p:txBody>
          <a:bodyPr wrap="square" lIns="0" tIns="0" rIns="0" bIns="0" anchor="ctr">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lnSpc>
                <a:spcPct val="100000"/>
              </a:lnSpc>
            </a:pPr>
            <a:r>
              <a:rPr lang="en-US" sz="4000" b="1" dirty="0">
                <a:solidFill>
                  <a:srgbClr val="4CC7C4"/>
                </a:solidFill>
                <a:latin typeface="+mn-lt"/>
                <a:ea typeface="Segoe UI" panose="020B0502040204020203" pitchFamily="34" charset="0"/>
                <a:cs typeface="Segoe UI" panose="020B0502040204020203" pitchFamily="34" charset="0"/>
              </a:rPr>
              <a:t>01</a:t>
            </a:r>
          </a:p>
        </p:txBody>
      </p:sp>
      <p:sp>
        <p:nvSpPr>
          <p:cNvPr id="214" name="Freeform 213"/>
          <p:cNvSpPr>
            <a:spLocks/>
          </p:cNvSpPr>
          <p:nvPr/>
        </p:nvSpPr>
        <p:spPr bwMode="auto">
          <a:xfrm>
            <a:off x="6176718" y="4379500"/>
            <a:ext cx="660999" cy="665632"/>
          </a:xfrm>
          <a:custGeom>
            <a:avLst/>
            <a:gdLst>
              <a:gd name="T0" fmla="*/ 66 w 141"/>
              <a:gd name="T1" fmla="*/ 135 h 142"/>
              <a:gd name="T2" fmla="*/ 54 w 141"/>
              <a:gd name="T3" fmla="*/ 140 h 142"/>
              <a:gd name="T4" fmla="*/ 49 w 141"/>
              <a:gd name="T5" fmla="*/ 132 h 142"/>
              <a:gd name="T6" fmla="*/ 42 w 141"/>
              <a:gd name="T7" fmla="*/ 129 h 142"/>
              <a:gd name="T8" fmla="*/ 29 w 141"/>
              <a:gd name="T9" fmla="*/ 128 h 142"/>
              <a:gd name="T10" fmla="*/ 28 w 141"/>
              <a:gd name="T11" fmla="*/ 119 h 142"/>
              <a:gd name="T12" fmla="*/ 22 w 141"/>
              <a:gd name="T13" fmla="*/ 114 h 142"/>
              <a:gd name="T14" fmla="*/ 10 w 141"/>
              <a:gd name="T15" fmla="*/ 108 h 142"/>
              <a:gd name="T16" fmla="*/ 12 w 141"/>
              <a:gd name="T17" fmla="*/ 99 h 142"/>
              <a:gd name="T18" fmla="*/ 10 w 141"/>
              <a:gd name="T19" fmla="*/ 92 h 142"/>
              <a:gd name="T20" fmla="*/ 1 w 141"/>
              <a:gd name="T21" fmla="*/ 82 h 142"/>
              <a:gd name="T22" fmla="*/ 6 w 141"/>
              <a:gd name="T23" fmla="*/ 75 h 142"/>
              <a:gd name="T24" fmla="*/ 6 w 141"/>
              <a:gd name="T25" fmla="*/ 67 h 142"/>
              <a:gd name="T26" fmla="*/ 1 w 141"/>
              <a:gd name="T27" fmla="*/ 60 h 142"/>
              <a:gd name="T28" fmla="*/ 10 w 141"/>
              <a:gd name="T29" fmla="*/ 50 h 142"/>
              <a:gd name="T30" fmla="*/ 12 w 141"/>
              <a:gd name="T31" fmla="*/ 43 h 142"/>
              <a:gd name="T32" fmla="*/ 10 w 141"/>
              <a:gd name="T33" fmla="*/ 34 h 142"/>
              <a:gd name="T34" fmla="*/ 22 w 141"/>
              <a:gd name="T35" fmla="*/ 29 h 142"/>
              <a:gd name="T36" fmla="*/ 28 w 141"/>
              <a:gd name="T37" fmla="*/ 23 h 142"/>
              <a:gd name="T38" fmla="*/ 29 w 141"/>
              <a:gd name="T39" fmla="*/ 14 h 142"/>
              <a:gd name="T40" fmla="*/ 42 w 141"/>
              <a:gd name="T41" fmla="*/ 13 h 142"/>
              <a:gd name="T42" fmla="*/ 49 w 141"/>
              <a:gd name="T43" fmla="*/ 10 h 142"/>
              <a:gd name="T44" fmla="*/ 54 w 141"/>
              <a:gd name="T45" fmla="*/ 2 h 142"/>
              <a:gd name="T46" fmla="*/ 66 w 141"/>
              <a:gd name="T47" fmla="*/ 7 h 142"/>
              <a:gd name="T48" fmla="*/ 73 w 141"/>
              <a:gd name="T49" fmla="*/ 0 h 142"/>
              <a:gd name="T50" fmla="*/ 79 w 141"/>
              <a:gd name="T51" fmla="*/ 7 h 142"/>
              <a:gd name="T52" fmla="*/ 87 w 141"/>
              <a:gd name="T53" fmla="*/ 9 h 142"/>
              <a:gd name="T54" fmla="*/ 100 w 141"/>
              <a:gd name="T55" fmla="*/ 7 h 142"/>
              <a:gd name="T56" fmla="*/ 103 w 141"/>
              <a:gd name="T57" fmla="*/ 16 h 142"/>
              <a:gd name="T58" fmla="*/ 109 w 141"/>
              <a:gd name="T59" fmla="*/ 20 h 142"/>
              <a:gd name="T60" fmla="*/ 122 w 141"/>
              <a:gd name="T61" fmla="*/ 23 h 142"/>
              <a:gd name="T62" fmla="*/ 122 w 141"/>
              <a:gd name="T63" fmla="*/ 32 h 142"/>
              <a:gd name="T64" fmla="*/ 126 w 141"/>
              <a:gd name="T65" fmla="*/ 39 h 142"/>
              <a:gd name="T66" fmla="*/ 137 w 141"/>
              <a:gd name="T67" fmla="*/ 47 h 142"/>
              <a:gd name="T68" fmla="*/ 133 w 141"/>
              <a:gd name="T69" fmla="*/ 55 h 142"/>
              <a:gd name="T70" fmla="*/ 134 w 141"/>
              <a:gd name="T71" fmla="*/ 62 h 142"/>
              <a:gd name="T72" fmla="*/ 141 w 141"/>
              <a:gd name="T73" fmla="*/ 71 h 142"/>
              <a:gd name="T74" fmla="*/ 134 w 141"/>
              <a:gd name="T75" fmla="*/ 80 h 142"/>
              <a:gd name="T76" fmla="*/ 133 w 141"/>
              <a:gd name="T77" fmla="*/ 87 h 142"/>
              <a:gd name="T78" fmla="*/ 137 w 141"/>
              <a:gd name="T79" fmla="*/ 95 h 142"/>
              <a:gd name="T80" fmla="*/ 126 w 141"/>
              <a:gd name="T81" fmla="*/ 103 h 142"/>
              <a:gd name="T82" fmla="*/ 122 w 141"/>
              <a:gd name="T83" fmla="*/ 110 h 142"/>
              <a:gd name="T84" fmla="*/ 122 w 141"/>
              <a:gd name="T85" fmla="*/ 119 h 142"/>
              <a:gd name="T86" fmla="*/ 109 w 141"/>
              <a:gd name="T87" fmla="*/ 122 h 142"/>
              <a:gd name="T88" fmla="*/ 103 w 141"/>
              <a:gd name="T89" fmla="*/ 126 h 142"/>
              <a:gd name="T90" fmla="*/ 100 w 141"/>
              <a:gd name="T91" fmla="*/ 135 h 142"/>
              <a:gd name="T92" fmla="*/ 87 w 141"/>
              <a:gd name="T93" fmla="*/ 133 h 142"/>
              <a:gd name="T94" fmla="*/ 79 w 141"/>
              <a:gd name="T95" fmla="*/ 135 h 142"/>
              <a:gd name="T96" fmla="*/ 73 w 141"/>
              <a:gd name="T97" fmla="*/ 142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41" h="142">
                <a:moveTo>
                  <a:pt x="70" y="142"/>
                </a:moveTo>
                <a:cubicBezTo>
                  <a:pt x="69" y="142"/>
                  <a:pt x="68" y="142"/>
                  <a:pt x="67" y="142"/>
                </a:cubicBezTo>
                <a:cubicBezTo>
                  <a:pt x="67" y="135"/>
                  <a:pt x="67" y="135"/>
                  <a:pt x="67" y="135"/>
                </a:cubicBezTo>
                <a:cubicBezTo>
                  <a:pt x="66" y="135"/>
                  <a:pt x="66" y="135"/>
                  <a:pt x="66" y="135"/>
                </a:cubicBezTo>
                <a:cubicBezTo>
                  <a:pt x="65" y="135"/>
                  <a:pt x="63" y="135"/>
                  <a:pt x="62" y="135"/>
                </a:cubicBezTo>
                <a:cubicBezTo>
                  <a:pt x="61" y="135"/>
                  <a:pt x="61" y="135"/>
                  <a:pt x="61" y="135"/>
                </a:cubicBezTo>
                <a:cubicBezTo>
                  <a:pt x="60" y="141"/>
                  <a:pt x="60" y="141"/>
                  <a:pt x="60" y="141"/>
                </a:cubicBezTo>
                <a:cubicBezTo>
                  <a:pt x="58" y="141"/>
                  <a:pt x="56" y="140"/>
                  <a:pt x="54" y="140"/>
                </a:cubicBezTo>
                <a:cubicBezTo>
                  <a:pt x="54" y="133"/>
                  <a:pt x="54" y="133"/>
                  <a:pt x="54" y="133"/>
                </a:cubicBezTo>
                <a:cubicBezTo>
                  <a:pt x="54" y="133"/>
                  <a:pt x="54" y="133"/>
                  <a:pt x="54" y="133"/>
                </a:cubicBezTo>
                <a:cubicBezTo>
                  <a:pt x="52" y="133"/>
                  <a:pt x="51" y="132"/>
                  <a:pt x="50" y="132"/>
                </a:cubicBezTo>
                <a:cubicBezTo>
                  <a:pt x="49" y="132"/>
                  <a:pt x="49" y="132"/>
                  <a:pt x="49" y="132"/>
                </a:cubicBezTo>
                <a:cubicBezTo>
                  <a:pt x="46" y="137"/>
                  <a:pt x="46" y="137"/>
                  <a:pt x="46" y="137"/>
                </a:cubicBezTo>
                <a:cubicBezTo>
                  <a:pt x="44" y="137"/>
                  <a:pt x="42" y="136"/>
                  <a:pt x="41" y="135"/>
                </a:cubicBezTo>
                <a:cubicBezTo>
                  <a:pt x="42" y="129"/>
                  <a:pt x="42" y="129"/>
                  <a:pt x="42" y="129"/>
                </a:cubicBezTo>
                <a:cubicBezTo>
                  <a:pt x="42" y="129"/>
                  <a:pt x="42" y="129"/>
                  <a:pt x="42" y="129"/>
                </a:cubicBezTo>
                <a:cubicBezTo>
                  <a:pt x="41" y="128"/>
                  <a:pt x="39" y="127"/>
                  <a:pt x="38" y="127"/>
                </a:cubicBezTo>
                <a:cubicBezTo>
                  <a:pt x="38" y="126"/>
                  <a:pt x="38" y="126"/>
                  <a:pt x="38" y="126"/>
                </a:cubicBezTo>
                <a:cubicBezTo>
                  <a:pt x="34" y="131"/>
                  <a:pt x="34" y="131"/>
                  <a:pt x="34" y="131"/>
                </a:cubicBezTo>
                <a:cubicBezTo>
                  <a:pt x="32" y="130"/>
                  <a:pt x="30" y="129"/>
                  <a:pt x="29" y="128"/>
                </a:cubicBezTo>
                <a:cubicBezTo>
                  <a:pt x="32" y="122"/>
                  <a:pt x="32" y="122"/>
                  <a:pt x="32" y="122"/>
                </a:cubicBezTo>
                <a:cubicBezTo>
                  <a:pt x="31" y="122"/>
                  <a:pt x="31" y="122"/>
                  <a:pt x="31" y="122"/>
                </a:cubicBezTo>
                <a:cubicBezTo>
                  <a:pt x="30" y="121"/>
                  <a:pt x="29" y="120"/>
                  <a:pt x="28" y="119"/>
                </a:cubicBezTo>
                <a:cubicBezTo>
                  <a:pt x="28" y="119"/>
                  <a:pt x="28" y="119"/>
                  <a:pt x="28" y="119"/>
                </a:cubicBezTo>
                <a:cubicBezTo>
                  <a:pt x="23" y="123"/>
                  <a:pt x="23" y="123"/>
                  <a:pt x="23" y="123"/>
                </a:cubicBezTo>
                <a:cubicBezTo>
                  <a:pt x="21" y="122"/>
                  <a:pt x="20" y="120"/>
                  <a:pt x="18" y="119"/>
                </a:cubicBezTo>
                <a:cubicBezTo>
                  <a:pt x="22" y="114"/>
                  <a:pt x="22" y="114"/>
                  <a:pt x="22" y="114"/>
                </a:cubicBezTo>
                <a:cubicBezTo>
                  <a:pt x="22" y="114"/>
                  <a:pt x="22" y="114"/>
                  <a:pt x="22" y="114"/>
                </a:cubicBezTo>
                <a:cubicBezTo>
                  <a:pt x="21" y="112"/>
                  <a:pt x="20" y="111"/>
                  <a:pt x="19" y="110"/>
                </a:cubicBezTo>
                <a:cubicBezTo>
                  <a:pt x="19" y="110"/>
                  <a:pt x="19" y="110"/>
                  <a:pt x="19" y="110"/>
                </a:cubicBezTo>
                <a:cubicBezTo>
                  <a:pt x="13" y="113"/>
                  <a:pt x="13" y="113"/>
                  <a:pt x="13" y="113"/>
                </a:cubicBezTo>
                <a:cubicBezTo>
                  <a:pt x="12" y="111"/>
                  <a:pt x="11" y="109"/>
                  <a:pt x="10" y="108"/>
                </a:cubicBezTo>
                <a:cubicBezTo>
                  <a:pt x="15" y="104"/>
                  <a:pt x="15" y="104"/>
                  <a:pt x="15" y="104"/>
                </a:cubicBezTo>
                <a:cubicBezTo>
                  <a:pt x="15" y="103"/>
                  <a:pt x="15" y="103"/>
                  <a:pt x="15" y="103"/>
                </a:cubicBezTo>
                <a:cubicBezTo>
                  <a:pt x="14" y="102"/>
                  <a:pt x="13" y="101"/>
                  <a:pt x="13" y="99"/>
                </a:cubicBezTo>
                <a:cubicBezTo>
                  <a:pt x="12" y="99"/>
                  <a:pt x="12" y="99"/>
                  <a:pt x="12" y="99"/>
                </a:cubicBezTo>
                <a:cubicBezTo>
                  <a:pt x="6" y="101"/>
                  <a:pt x="6" y="101"/>
                  <a:pt x="6" y="101"/>
                </a:cubicBezTo>
                <a:cubicBezTo>
                  <a:pt x="5" y="99"/>
                  <a:pt x="5" y="97"/>
                  <a:pt x="4" y="95"/>
                </a:cubicBezTo>
                <a:cubicBezTo>
                  <a:pt x="10" y="92"/>
                  <a:pt x="10" y="92"/>
                  <a:pt x="10" y="92"/>
                </a:cubicBezTo>
                <a:cubicBezTo>
                  <a:pt x="10" y="92"/>
                  <a:pt x="10" y="92"/>
                  <a:pt x="10" y="92"/>
                </a:cubicBezTo>
                <a:cubicBezTo>
                  <a:pt x="9" y="90"/>
                  <a:pt x="9" y="89"/>
                  <a:pt x="8" y="88"/>
                </a:cubicBezTo>
                <a:cubicBezTo>
                  <a:pt x="8" y="87"/>
                  <a:pt x="8" y="87"/>
                  <a:pt x="8" y="87"/>
                </a:cubicBezTo>
                <a:cubicBezTo>
                  <a:pt x="2" y="88"/>
                  <a:pt x="2" y="88"/>
                  <a:pt x="2" y="88"/>
                </a:cubicBezTo>
                <a:cubicBezTo>
                  <a:pt x="1" y="86"/>
                  <a:pt x="1" y="84"/>
                  <a:pt x="1" y="82"/>
                </a:cubicBezTo>
                <a:cubicBezTo>
                  <a:pt x="7" y="80"/>
                  <a:pt x="7" y="80"/>
                  <a:pt x="7" y="80"/>
                </a:cubicBezTo>
                <a:cubicBezTo>
                  <a:pt x="7" y="80"/>
                  <a:pt x="7" y="80"/>
                  <a:pt x="7" y="80"/>
                </a:cubicBezTo>
                <a:cubicBezTo>
                  <a:pt x="6" y="78"/>
                  <a:pt x="6" y="77"/>
                  <a:pt x="6" y="75"/>
                </a:cubicBezTo>
                <a:cubicBezTo>
                  <a:pt x="6" y="75"/>
                  <a:pt x="6" y="75"/>
                  <a:pt x="6" y="75"/>
                </a:cubicBezTo>
                <a:cubicBezTo>
                  <a:pt x="0" y="74"/>
                  <a:pt x="0" y="74"/>
                  <a:pt x="0" y="74"/>
                </a:cubicBezTo>
                <a:cubicBezTo>
                  <a:pt x="0" y="73"/>
                  <a:pt x="0" y="72"/>
                  <a:pt x="0" y="71"/>
                </a:cubicBezTo>
                <a:cubicBezTo>
                  <a:pt x="0" y="70"/>
                  <a:pt x="0" y="69"/>
                  <a:pt x="0" y="68"/>
                </a:cubicBezTo>
                <a:cubicBezTo>
                  <a:pt x="6" y="67"/>
                  <a:pt x="6" y="67"/>
                  <a:pt x="6" y="67"/>
                </a:cubicBezTo>
                <a:cubicBezTo>
                  <a:pt x="6" y="67"/>
                  <a:pt x="6" y="67"/>
                  <a:pt x="6" y="67"/>
                </a:cubicBezTo>
                <a:cubicBezTo>
                  <a:pt x="6" y="65"/>
                  <a:pt x="6" y="64"/>
                  <a:pt x="7" y="62"/>
                </a:cubicBezTo>
                <a:cubicBezTo>
                  <a:pt x="7" y="62"/>
                  <a:pt x="7" y="62"/>
                  <a:pt x="7" y="62"/>
                </a:cubicBezTo>
                <a:cubicBezTo>
                  <a:pt x="1" y="60"/>
                  <a:pt x="1" y="60"/>
                  <a:pt x="1" y="60"/>
                </a:cubicBezTo>
                <a:cubicBezTo>
                  <a:pt x="1" y="58"/>
                  <a:pt x="1" y="56"/>
                  <a:pt x="2" y="54"/>
                </a:cubicBezTo>
                <a:cubicBezTo>
                  <a:pt x="8" y="55"/>
                  <a:pt x="8" y="55"/>
                  <a:pt x="8" y="55"/>
                </a:cubicBezTo>
                <a:cubicBezTo>
                  <a:pt x="8" y="54"/>
                  <a:pt x="8" y="54"/>
                  <a:pt x="8" y="54"/>
                </a:cubicBezTo>
                <a:cubicBezTo>
                  <a:pt x="9" y="53"/>
                  <a:pt x="9" y="52"/>
                  <a:pt x="10" y="50"/>
                </a:cubicBezTo>
                <a:cubicBezTo>
                  <a:pt x="10" y="50"/>
                  <a:pt x="10" y="50"/>
                  <a:pt x="10" y="50"/>
                </a:cubicBezTo>
                <a:cubicBezTo>
                  <a:pt x="4" y="47"/>
                  <a:pt x="4" y="47"/>
                  <a:pt x="4" y="47"/>
                </a:cubicBezTo>
                <a:cubicBezTo>
                  <a:pt x="5" y="45"/>
                  <a:pt x="5" y="43"/>
                  <a:pt x="6" y="41"/>
                </a:cubicBezTo>
                <a:cubicBezTo>
                  <a:pt x="12" y="43"/>
                  <a:pt x="12" y="43"/>
                  <a:pt x="12" y="43"/>
                </a:cubicBezTo>
                <a:cubicBezTo>
                  <a:pt x="13" y="43"/>
                  <a:pt x="13" y="43"/>
                  <a:pt x="13" y="43"/>
                </a:cubicBezTo>
                <a:cubicBezTo>
                  <a:pt x="13" y="41"/>
                  <a:pt x="14" y="40"/>
                  <a:pt x="15" y="39"/>
                </a:cubicBezTo>
                <a:cubicBezTo>
                  <a:pt x="15" y="38"/>
                  <a:pt x="15" y="38"/>
                  <a:pt x="15" y="38"/>
                </a:cubicBezTo>
                <a:cubicBezTo>
                  <a:pt x="10" y="34"/>
                  <a:pt x="10" y="34"/>
                  <a:pt x="10" y="34"/>
                </a:cubicBezTo>
                <a:cubicBezTo>
                  <a:pt x="11" y="33"/>
                  <a:pt x="12" y="31"/>
                  <a:pt x="13" y="29"/>
                </a:cubicBezTo>
                <a:cubicBezTo>
                  <a:pt x="19" y="32"/>
                  <a:pt x="19" y="32"/>
                  <a:pt x="19" y="32"/>
                </a:cubicBezTo>
                <a:cubicBezTo>
                  <a:pt x="19" y="32"/>
                  <a:pt x="19" y="32"/>
                  <a:pt x="19" y="32"/>
                </a:cubicBezTo>
                <a:cubicBezTo>
                  <a:pt x="20" y="31"/>
                  <a:pt x="21" y="30"/>
                  <a:pt x="22" y="29"/>
                </a:cubicBezTo>
                <a:cubicBezTo>
                  <a:pt x="22" y="28"/>
                  <a:pt x="22" y="28"/>
                  <a:pt x="22" y="28"/>
                </a:cubicBezTo>
                <a:cubicBezTo>
                  <a:pt x="18" y="23"/>
                  <a:pt x="18" y="23"/>
                  <a:pt x="18" y="23"/>
                </a:cubicBezTo>
                <a:cubicBezTo>
                  <a:pt x="20" y="22"/>
                  <a:pt x="21" y="20"/>
                  <a:pt x="23" y="19"/>
                </a:cubicBezTo>
                <a:cubicBezTo>
                  <a:pt x="28" y="23"/>
                  <a:pt x="28" y="23"/>
                  <a:pt x="28" y="23"/>
                </a:cubicBezTo>
                <a:cubicBezTo>
                  <a:pt x="28" y="23"/>
                  <a:pt x="28" y="23"/>
                  <a:pt x="28" y="23"/>
                </a:cubicBezTo>
                <a:cubicBezTo>
                  <a:pt x="29" y="22"/>
                  <a:pt x="30" y="21"/>
                  <a:pt x="31" y="20"/>
                </a:cubicBezTo>
                <a:cubicBezTo>
                  <a:pt x="32" y="20"/>
                  <a:pt x="32" y="20"/>
                  <a:pt x="32" y="20"/>
                </a:cubicBezTo>
                <a:cubicBezTo>
                  <a:pt x="29" y="14"/>
                  <a:pt x="29" y="14"/>
                  <a:pt x="29" y="14"/>
                </a:cubicBezTo>
                <a:cubicBezTo>
                  <a:pt x="30" y="13"/>
                  <a:pt x="32" y="12"/>
                  <a:pt x="34" y="11"/>
                </a:cubicBezTo>
                <a:cubicBezTo>
                  <a:pt x="38" y="16"/>
                  <a:pt x="38" y="16"/>
                  <a:pt x="38" y="16"/>
                </a:cubicBezTo>
                <a:cubicBezTo>
                  <a:pt x="38" y="15"/>
                  <a:pt x="38" y="15"/>
                  <a:pt x="38" y="15"/>
                </a:cubicBezTo>
                <a:cubicBezTo>
                  <a:pt x="39" y="15"/>
                  <a:pt x="41" y="14"/>
                  <a:pt x="42" y="13"/>
                </a:cubicBezTo>
                <a:cubicBezTo>
                  <a:pt x="42" y="13"/>
                  <a:pt x="42" y="13"/>
                  <a:pt x="42" y="13"/>
                </a:cubicBezTo>
                <a:cubicBezTo>
                  <a:pt x="41" y="7"/>
                  <a:pt x="41" y="7"/>
                  <a:pt x="41" y="7"/>
                </a:cubicBezTo>
                <a:cubicBezTo>
                  <a:pt x="42" y="6"/>
                  <a:pt x="44" y="5"/>
                  <a:pt x="46" y="5"/>
                </a:cubicBezTo>
                <a:cubicBezTo>
                  <a:pt x="49" y="10"/>
                  <a:pt x="49" y="10"/>
                  <a:pt x="49" y="10"/>
                </a:cubicBezTo>
                <a:cubicBezTo>
                  <a:pt x="50" y="10"/>
                  <a:pt x="50" y="10"/>
                  <a:pt x="50" y="10"/>
                </a:cubicBezTo>
                <a:cubicBezTo>
                  <a:pt x="51" y="10"/>
                  <a:pt x="52" y="9"/>
                  <a:pt x="54" y="9"/>
                </a:cubicBezTo>
                <a:cubicBezTo>
                  <a:pt x="54" y="9"/>
                  <a:pt x="54" y="9"/>
                  <a:pt x="54" y="9"/>
                </a:cubicBezTo>
                <a:cubicBezTo>
                  <a:pt x="54" y="2"/>
                  <a:pt x="54" y="2"/>
                  <a:pt x="54" y="2"/>
                </a:cubicBezTo>
                <a:cubicBezTo>
                  <a:pt x="56" y="2"/>
                  <a:pt x="58" y="1"/>
                  <a:pt x="60" y="1"/>
                </a:cubicBezTo>
                <a:cubicBezTo>
                  <a:pt x="61" y="7"/>
                  <a:pt x="61" y="7"/>
                  <a:pt x="61" y="7"/>
                </a:cubicBezTo>
                <a:cubicBezTo>
                  <a:pt x="62" y="7"/>
                  <a:pt x="62" y="7"/>
                  <a:pt x="62" y="7"/>
                </a:cubicBezTo>
                <a:cubicBezTo>
                  <a:pt x="63" y="7"/>
                  <a:pt x="65" y="7"/>
                  <a:pt x="66" y="7"/>
                </a:cubicBezTo>
                <a:cubicBezTo>
                  <a:pt x="67" y="7"/>
                  <a:pt x="67" y="7"/>
                  <a:pt x="67" y="7"/>
                </a:cubicBezTo>
                <a:cubicBezTo>
                  <a:pt x="67" y="0"/>
                  <a:pt x="67" y="0"/>
                  <a:pt x="67" y="0"/>
                </a:cubicBezTo>
                <a:cubicBezTo>
                  <a:pt x="68" y="0"/>
                  <a:pt x="69" y="0"/>
                  <a:pt x="70" y="0"/>
                </a:cubicBezTo>
                <a:cubicBezTo>
                  <a:pt x="71" y="0"/>
                  <a:pt x="72" y="0"/>
                  <a:pt x="73" y="0"/>
                </a:cubicBezTo>
                <a:cubicBezTo>
                  <a:pt x="74" y="7"/>
                  <a:pt x="74" y="7"/>
                  <a:pt x="74" y="7"/>
                </a:cubicBezTo>
                <a:cubicBezTo>
                  <a:pt x="74" y="7"/>
                  <a:pt x="74" y="7"/>
                  <a:pt x="74" y="7"/>
                </a:cubicBezTo>
                <a:cubicBezTo>
                  <a:pt x="76" y="7"/>
                  <a:pt x="77" y="7"/>
                  <a:pt x="79" y="7"/>
                </a:cubicBezTo>
                <a:cubicBezTo>
                  <a:pt x="79" y="7"/>
                  <a:pt x="79" y="7"/>
                  <a:pt x="79" y="7"/>
                </a:cubicBezTo>
                <a:cubicBezTo>
                  <a:pt x="81" y="1"/>
                  <a:pt x="81" y="1"/>
                  <a:pt x="81" y="1"/>
                </a:cubicBezTo>
                <a:cubicBezTo>
                  <a:pt x="83" y="1"/>
                  <a:pt x="85" y="2"/>
                  <a:pt x="87" y="2"/>
                </a:cubicBezTo>
                <a:cubicBezTo>
                  <a:pt x="87" y="9"/>
                  <a:pt x="87" y="9"/>
                  <a:pt x="87" y="9"/>
                </a:cubicBezTo>
                <a:cubicBezTo>
                  <a:pt x="87" y="9"/>
                  <a:pt x="87" y="9"/>
                  <a:pt x="87" y="9"/>
                </a:cubicBezTo>
                <a:cubicBezTo>
                  <a:pt x="88" y="9"/>
                  <a:pt x="90" y="10"/>
                  <a:pt x="91" y="10"/>
                </a:cubicBezTo>
                <a:cubicBezTo>
                  <a:pt x="92" y="10"/>
                  <a:pt x="92" y="10"/>
                  <a:pt x="92" y="10"/>
                </a:cubicBezTo>
                <a:cubicBezTo>
                  <a:pt x="95" y="5"/>
                  <a:pt x="95" y="5"/>
                  <a:pt x="95" y="5"/>
                </a:cubicBezTo>
                <a:cubicBezTo>
                  <a:pt x="96" y="5"/>
                  <a:pt x="98" y="6"/>
                  <a:pt x="100" y="7"/>
                </a:cubicBezTo>
                <a:cubicBezTo>
                  <a:pt x="98" y="13"/>
                  <a:pt x="98" y="13"/>
                  <a:pt x="98" y="13"/>
                </a:cubicBezTo>
                <a:cubicBezTo>
                  <a:pt x="99" y="13"/>
                  <a:pt x="99" y="13"/>
                  <a:pt x="99" y="13"/>
                </a:cubicBezTo>
                <a:cubicBezTo>
                  <a:pt x="100" y="14"/>
                  <a:pt x="101" y="15"/>
                  <a:pt x="103" y="15"/>
                </a:cubicBezTo>
                <a:cubicBezTo>
                  <a:pt x="103" y="16"/>
                  <a:pt x="103" y="16"/>
                  <a:pt x="103" y="16"/>
                </a:cubicBezTo>
                <a:cubicBezTo>
                  <a:pt x="107" y="11"/>
                  <a:pt x="107" y="11"/>
                  <a:pt x="107" y="11"/>
                </a:cubicBezTo>
                <a:cubicBezTo>
                  <a:pt x="109" y="12"/>
                  <a:pt x="111" y="13"/>
                  <a:pt x="112" y="14"/>
                </a:cubicBezTo>
                <a:cubicBezTo>
                  <a:pt x="109" y="20"/>
                  <a:pt x="109" y="20"/>
                  <a:pt x="109" y="20"/>
                </a:cubicBezTo>
                <a:cubicBezTo>
                  <a:pt x="109" y="20"/>
                  <a:pt x="109" y="20"/>
                  <a:pt x="109" y="20"/>
                </a:cubicBezTo>
                <a:cubicBezTo>
                  <a:pt x="111" y="21"/>
                  <a:pt x="112" y="22"/>
                  <a:pt x="113" y="23"/>
                </a:cubicBezTo>
                <a:cubicBezTo>
                  <a:pt x="113" y="23"/>
                  <a:pt x="113" y="23"/>
                  <a:pt x="113" y="23"/>
                </a:cubicBezTo>
                <a:cubicBezTo>
                  <a:pt x="118" y="19"/>
                  <a:pt x="118" y="19"/>
                  <a:pt x="118" y="19"/>
                </a:cubicBezTo>
                <a:cubicBezTo>
                  <a:pt x="120" y="20"/>
                  <a:pt x="121" y="22"/>
                  <a:pt x="122" y="23"/>
                </a:cubicBezTo>
                <a:cubicBezTo>
                  <a:pt x="118" y="28"/>
                  <a:pt x="118" y="28"/>
                  <a:pt x="118" y="28"/>
                </a:cubicBezTo>
                <a:cubicBezTo>
                  <a:pt x="119" y="29"/>
                  <a:pt x="119" y="29"/>
                  <a:pt x="119" y="29"/>
                </a:cubicBezTo>
                <a:cubicBezTo>
                  <a:pt x="120" y="30"/>
                  <a:pt x="121" y="31"/>
                  <a:pt x="121" y="32"/>
                </a:cubicBezTo>
                <a:cubicBezTo>
                  <a:pt x="122" y="32"/>
                  <a:pt x="122" y="32"/>
                  <a:pt x="122" y="32"/>
                </a:cubicBezTo>
                <a:cubicBezTo>
                  <a:pt x="127" y="29"/>
                  <a:pt x="127" y="29"/>
                  <a:pt x="127" y="29"/>
                </a:cubicBezTo>
                <a:cubicBezTo>
                  <a:pt x="129" y="31"/>
                  <a:pt x="130" y="33"/>
                  <a:pt x="131" y="34"/>
                </a:cubicBezTo>
                <a:cubicBezTo>
                  <a:pt x="126" y="38"/>
                  <a:pt x="126" y="38"/>
                  <a:pt x="126" y="38"/>
                </a:cubicBezTo>
                <a:cubicBezTo>
                  <a:pt x="126" y="39"/>
                  <a:pt x="126" y="39"/>
                  <a:pt x="126" y="39"/>
                </a:cubicBezTo>
                <a:cubicBezTo>
                  <a:pt x="127" y="40"/>
                  <a:pt x="128" y="41"/>
                  <a:pt x="128" y="43"/>
                </a:cubicBezTo>
                <a:cubicBezTo>
                  <a:pt x="128" y="43"/>
                  <a:pt x="128" y="43"/>
                  <a:pt x="128" y="43"/>
                </a:cubicBezTo>
                <a:cubicBezTo>
                  <a:pt x="134" y="41"/>
                  <a:pt x="134" y="41"/>
                  <a:pt x="134" y="41"/>
                </a:cubicBezTo>
                <a:cubicBezTo>
                  <a:pt x="135" y="43"/>
                  <a:pt x="136" y="45"/>
                  <a:pt x="137" y="47"/>
                </a:cubicBezTo>
                <a:cubicBezTo>
                  <a:pt x="131" y="50"/>
                  <a:pt x="131" y="50"/>
                  <a:pt x="131" y="50"/>
                </a:cubicBezTo>
                <a:cubicBezTo>
                  <a:pt x="131" y="50"/>
                  <a:pt x="131" y="50"/>
                  <a:pt x="131" y="50"/>
                </a:cubicBezTo>
                <a:cubicBezTo>
                  <a:pt x="132" y="52"/>
                  <a:pt x="132" y="53"/>
                  <a:pt x="133" y="54"/>
                </a:cubicBezTo>
                <a:cubicBezTo>
                  <a:pt x="133" y="55"/>
                  <a:pt x="133" y="55"/>
                  <a:pt x="133" y="55"/>
                </a:cubicBezTo>
                <a:cubicBezTo>
                  <a:pt x="139" y="54"/>
                  <a:pt x="139" y="54"/>
                  <a:pt x="139" y="54"/>
                </a:cubicBezTo>
                <a:cubicBezTo>
                  <a:pt x="140" y="56"/>
                  <a:pt x="140" y="58"/>
                  <a:pt x="140" y="60"/>
                </a:cubicBezTo>
                <a:cubicBezTo>
                  <a:pt x="134" y="62"/>
                  <a:pt x="134" y="62"/>
                  <a:pt x="134" y="62"/>
                </a:cubicBezTo>
                <a:cubicBezTo>
                  <a:pt x="134" y="62"/>
                  <a:pt x="134" y="62"/>
                  <a:pt x="134" y="62"/>
                </a:cubicBezTo>
                <a:cubicBezTo>
                  <a:pt x="134" y="64"/>
                  <a:pt x="134" y="65"/>
                  <a:pt x="135" y="67"/>
                </a:cubicBezTo>
                <a:cubicBezTo>
                  <a:pt x="135" y="67"/>
                  <a:pt x="135" y="67"/>
                  <a:pt x="135" y="67"/>
                </a:cubicBezTo>
                <a:cubicBezTo>
                  <a:pt x="141" y="68"/>
                  <a:pt x="141" y="68"/>
                  <a:pt x="141" y="68"/>
                </a:cubicBezTo>
                <a:cubicBezTo>
                  <a:pt x="141" y="69"/>
                  <a:pt x="141" y="70"/>
                  <a:pt x="141" y="71"/>
                </a:cubicBezTo>
                <a:cubicBezTo>
                  <a:pt x="141" y="72"/>
                  <a:pt x="141" y="73"/>
                  <a:pt x="141" y="74"/>
                </a:cubicBezTo>
                <a:cubicBezTo>
                  <a:pt x="135" y="75"/>
                  <a:pt x="135" y="75"/>
                  <a:pt x="135" y="75"/>
                </a:cubicBezTo>
                <a:cubicBezTo>
                  <a:pt x="135" y="75"/>
                  <a:pt x="135" y="75"/>
                  <a:pt x="135" y="75"/>
                </a:cubicBezTo>
                <a:cubicBezTo>
                  <a:pt x="134" y="77"/>
                  <a:pt x="134" y="78"/>
                  <a:pt x="134" y="80"/>
                </a:cubicBezTo>
                <a:cubicBezTo>
                  <a:pt x="134" y="80"/>
                  <a:pt x="134" y="80"/>
                  <a:pt x="134" y="80"/>
                </a:cubicBezTo>
                <a:cubicBezTo>
                  <a:pt x="140" y="82"/>
                  <a:pt x="140" y="82"/>
                  <a:pt x="140" y="82"/>
                </a:cubicBezTo>
                <a:cubicBezTo>
                  <a:pt x="140" y="84"/>
                  <a:pt x="140" y="86"/>
                  <a:pt x="139" y="88"/>
                </a:cubicBezTo>
                <a:cubicBezTo>
                  <a:pt x="133" y="87"/>
                  <a:pt x="133" y="87"/>
                  <a:pt x="133" y="87"/>
                </a:cubicBezTo>
                <a:cubicBezTo>
                  <a:pt x="133" y="88"/>
                  <a:pt x="133" y="88"/>
                  <a:pt x="133" y="88"/>
                </a:cubicBezTo>
                <a:cubicBezTo>
                  <a:pt x="132" y="89"/>
                  <a:pt x="132" y="90"/>
                  <a:pt x="131" y="92"/>
                </a:cubicBezTo>
                <a:cubicBezTo>
                  <a:pt x="131" y="92"/>
                  <a:pt x="131" y="92"/>
                  <a:pt x="131" y="92"/>
                </a:cubicBezTo>
                <a:cubicBezTo>
                  <a:pt x="137" y="95"/>
                  <a:pt x="137" y="95"/>
                  <a:pt x="137" y="95"/>
                </a:cubicBezTo>
                <a:cubicBezTo>
                  <a:pt x="136" y="97"/>
                  <a:pt x="135" y="99"/>
                  <a:pt x="134" y="101"/>
                </a:cubicBezTo>
                <a:cubicBezTo>
                  <a:pt x="128" y="99"/>
                  <a:pt x="128" y="99"/>
                  <a:pt x="128" y="99"/>
                </a:cubicBezTo>
                <a:cubicBezTo>
                  <a:pt x="128" y="99"/>
                  <a:pt x="128" y="99"/>
                  <a:pt x="128" y="99"/>
                </a:cubicBezTo>
                <a:cubicBezTo>
                  <a:pt x="128" y="101"/>
                  <a:pt x="127" y="102"/>
                  <a:pt x="126" y="103"/>
                </a:cubicBezTo>
                <a:cubicBezTo>
                  <a:pt x="126" y="104"/>
                  <a:pt x="126" y="104"/>
                  <a:pt x="126" y="104"/>
                </a:cubicBezTo>
                <a:cubicBezTo>
                  <a:pt x="131" y="108"/>
                  <a:pt x="131" y="108"/>
                  <a:pt x="131" y="108"/>
                </a:cubicBezTo>
                <a:cubicBezTo>
                  <a:pt x="130" y="109"/>
                  <a:pt x="129" y="111"/>
                  <a:pt x="127" y="113"/>
                </a:cubicBezTo>
                <a:cubicBezTo>
                  <a:pt x="122" y="110"/>
                  <a:pt x="122" y="110"/>
                  <a:pt x="122" y="110"/>
                </a:cubicBezTo>
                <a:cubicBezTo>
                  <a:pt x="121" y="110"/>
                  <a:pt x="121" y="110"/>
                  <a:pt x="121" y="110"/>
                </a:cubicBezTo>
                <a:cubicBezTo>
                  <a:pt x="121" y="111"/>
                  <a:pt x="120" y="112"/>
                  <a:pt x="119" y="114"/>
                </a:cubicBezTo>
                <a:cubicBezTo>
                  <a:pt x="118" y="114"/>
                  <a:pt x="118" y="114"/>
                  <a:pt x="118" y="114"/>
                </a:cubicBezTo>
                <a:cubicBezTo>
                  <a:pt x="122" y="119"/>
                  <a:pt x="122" y="119"/>
                  <a:pt x="122" y="119"/>
                </a:cubicBezTo>
                <a:cubicBezTo>
                  <a:pt x="121" y="120"/>
                  <a:pt x="120" y="122"/>
                  <a:pt x="118" y="123"/>
                </a:cubicBezTo>
                <a:cubicBezTo>
                  <a:pt x="113" y="119"/>
                  <a:pt x="113" y="119"/>
                  <a:pt x="113" y="119"/>
                </a:cubicBezTo>
                <a:cubicBezTo>
                  <a:pt x="113" y="119"/>
                  <a:pt x="113" y="119"/>
                  <a:pt x="113" y="119"/>
                </a:cubicBezTo>
                <a:cubicBezTo>
                  <a:pt x="112" y="120"/>
                  <a:pt x="111" y="121"/>
                  <a:pt x="109" y="122"/>
                </a:cubicBezTo>
                <a:cubicBezTo>
                  <a:pt x="109" y="122"/>
                  <a:pt x="109" y="122"/>
                  <a:pt x="109" y="122"/>
                </a:cubicBezTo>
                <a:cubicBezTo>
                  <a:pt x="112" y="128"/>
                  <a:pt x="112" y="128"/>
                  <a:pt x="112" y="128"/>
                </a:cubicBezTo>
                <a:cubicBezTo>
                  <a:pt x="111" y="129"/>
                  <a:pt x="109" y="130"/>
                  <a:pt x="107" y="131"/>
                </a:cubicBezTo>
                <a:cubicBezTo>
                  <a:pt x="103" y="126"/>
                  <a:pt x="103" y="126"/>
                  <a:pt x="103" y="126"/>
                </a:cubicBezTo>
                <a:cubicBezTo>
                  <a:pt x="103" y="127"/>
                  <a:pt x="103" y="127"/>
                  <a:pt x="103" y="127"/>
                </a:cubicBezTo>
                <a:cubicBezTo>
                  <a:pt x="101" y="127"/>
                  <a:pt x="100" y="128"/>
                  <a:pt x="99" y="129"/>
                </a:cubicBezTo>
                <a:cubicBezTo>
                  <a:pt x="98" y="129"/>
                  <a:pt x="98" y="129"/>
                  <a:pt x="98" y="129"/>
                </a:cubicBezTo>
                <a:cubicBezTo>
                  <a:pt x="100" y="135"/>
                  <a:pt x="100" y="135"/>
                  <a:pt x="100" y="135"/>
                </a:cubicBezTo>
                <a:cubicBezTo>
                  <a:pt x="98" y="136"/>
                  <a:pt x="96" y="137"/>
                  <a:pt x="95" y="137"/>
                </a:cubicBezTo>
                <a:cubicBezTo>
                  <a:pt x="92" y="132"/>
                  <a:pt x="92" y="132"/>
                  <a:pt x="92" y="132"/>
                </a:cubicBezTo>
                <a:cubicBezTo>
                  <a:pt x="91" y="132"/>
                  <a:pt x="91" y="132"/>
                  <a:pt x="91" y="132"/>
                </a:cubicBezTo>
                <a:cubicBezTo>
                  <a:pt x="90" y="132"/>
                  <a:pt x="88" y="133"/>
                  <a:pt x="87" y="133"/>
                </a:cubicBezTo>
                <a:cubicBezTo>
                  <a:pt x="87" y="133"/>
                  <a:pt x="87" y="133"/>
                  <a:pt x="87" y="133"/>
                </a:cubicBezTo>
                <a:cubicBezTo>
                  <a:pt x="87" y="140"/>
                  <a:pt x="87" y="140"/>
                  <a:pt x="87" y="140"/>
                </a:cubicBezTo>
                <a:cubicBezTo>
                  <a:pt x="85" y="140"/>
                  <a:pt x="83" y="141"/>
                  <a:pt x="81" y="141"/>
                </a:cubicBezTo>
                <a:cubicBezTo>
                  <a:pt x="79" y="135"/>
                  <a:pt x="79" y="135"/>
                  <a:pt x="79" y="135"/>
                </a:cubicBezTo>
                <a:cubicBezTo>
                  <a:pt x="79" y="135"/>
                  <a:pt x="79" y="135"/>
                  <a:pt x="79" y="135"/>
                </a:cubicBezTo>
                <a:cubicBezTo>
                  <a:pt x="77" y="135"/>
                  <a:pt x="76" y="135"/>
                  <a:pt x="74" y="135"/>
                </a:cubicBezTo>
                <a:cubicBezTo>
                  <a:pt x="74" y="135"/>
                  <a:pt x="74" y="135"/>
                  <a:pt x="74" y="135"/>
                </a:cubicBezTo>
                <a:cubicBezTo>
                  <a:pt x="73" y="142"/>
                  <a:pt x="73" y="142"/>
                  <a:pt x="73" y="142"/>
                </a:cubicBezTo>
                <a:cubicBezTo>
                  <a:pt x="72" y="142"/>
                  <a:pt x="71" y="142"/>
                  <a:pt x="70" y="142"/>
                </a:cubicBezTo>
                <a:close/>
              </a:path>
            </a:pathLst>
          </a:custGeom>
          <a:solidFill>
            <a:srgbClr val="AFABAB"/>
          </a:solidFill>
          <a:ln>
            <a:noFill/>
          </a:ln>
          <a:effec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215" name="Freeform 214"/>
          <p:cNvSpPr>
            <a:spLocks/>
          </p:cNvSpPr>
          <p:nvPr/>
        </p:nvSpPr>
        <p:spPr bwMode="auto">
          <a:xfrm>
            <a:off x="6751611" y="3411964"/>
            <a:ext cx="1051018" cy="1058385"/>
          </a:xfrm>
          <a:custGeom>
            <a:avLst/>
            <a:gdLst>
              <a:gd name="T0" fmla="*/ 66 w 141"/>
              <a:gd name="T1" fmla="*/ 135 h 142"/>
              <a:gd name="T2" fmla="*/ 54 w 141"/>
              <a:gd name="T3" fmla="*/ 140 h 142"/>
              <a:gd name="T4" fmla="*/ 49 w 141"/>
              <a:gd name="T5" fmla="*/ 132 h 142"/>
              <a:gd name="T6" fmla="*/ 42 w 141"/>
              <a:gd name="T7" fmla="*/ 129 h 142"/>
              <a:gd name="T8" fmla="*/ 29 w 141"/>
              <a:gd name="T9" fmla="*/ 128 h 142"/>
              <a:gd name="T10" fmla="*/ 28 w 141"/>
              <a:gd name="T11" fmla="*/ 119 h 142"/>
              <a:gd name="T12" fmla="*/ 22 w 141"/>
              <a:gd name="T13" fmla="*/ 114 h 142"/>
              <a:gd name="T14" fmla="*/ 10 w 141"/>
              <a:gd name="T15" fmla="*/ 108 h 142"/>
              <a:gd name="T16" fmla="*/ 12 w 141"/>
              <a:gd name="T17" fmla="*/ 99 h 142"/>
              <a:gd name="T18" fmla="*/ 10 w 141"/>
              <a:gd name="T19" fmla="*/ 92 h 142"/>
              <a:gd name="T20" fmla="*/ 1 w 141"/>
              <a:gd name="T21" fmla="*/ 82 h 142"/>
              <a:gd name="T22" fmla="*/ 6 w 141"/>
              <a:gd name="T23" fmla="*/ 75 h 142"/>
              <a:gd name="T24" fmla="*/ 6 w 141"/>
              <a:gd name="T25" fmla="*/ 67 h 142"/>
              <a:gd name="T26" fmla="*/ 1 w 141"/>
              <a:gd name="T27" fmla="*/ 60 h 142"/>
              <a:gd name="T28" fmla="*/ 10 w 141"/>
              <a:gd name="T29" fmla="*/ 50 h 142"/>
              <a:gd name="T30" fmla="*/ 12 w 141"/>
              <a:gd name="T31" fmla="*/ 43 h 142"/>
              <a:gd name="T32" fmla="*/ 10 w 141"/>
              <a:gd name="T33" fmla="*/ 34 h 142"/>
              <a:gd name="T34" fmla="*/ 22 w 141"/>
              <a:gd name="T35" fmla="*/ 29 h 142"/>
              <a:gd name="T36" fmla="*/ 28 w 141"/>
              <a:gd name="T37" fmla="*/ 23 h 142"/>
              <a:gd name="T38" fmla="*/ 29 w 141"/>
              <a:gd name="T39" fmla="*/ 14 h 142"/>
              <a:gd name="T40" fmla="*/ 42 w 141"/>
              <a:gd name="T41" fmla="*/ 13 h 142"/>
              <a:gd name="T42" fmla="*/ 49 w 141"/>
              <a:gd name="T43" fmla="*/ 10 h 142"/>
              <a:gd name="T44" fmla="*/ 54 w 141"/>
              <a:gd name="T45" fmla="*/ 2 h 142"/>
              <a:gd name="T46" fmla="*/ 66 w 141"/>
              <a:gd name="T47" fmla="*/ 7 h 142"/>
              <a:gd name="T48" fmla="*/ 73 w 141"/>
              <a:gd name="T49" fmla="*/ 0 h 142"/>
              <a:gd name="T50" fmla="*/ 79 w 141"/>
              <a:gd name="T51" fmla="*/ 7 h 142"/>
              <a:gd name="T52" fmla="*/ 87 w 141"/>
              <a:gd name="T53" fmla="*/ 9 h 142"/>
              <a:gd name="T54" fmla="*/ 100 w 141"/>
              <a:gd name="T55" fmla="*/ 7 h 142"/>
              <a:gd name="T56" fmla="*/ 103 w 141"/>
              <a:gd name="T57" fmla="*/ 16 h 142"/>
              <a:gd name="T58" fmla="*/ 109 w 141"/>
              <a:gd name="T59" fmla="*/ 20 h 142"/>
              <a:gd name="T60" fmla="*/ 122 w 141"/>
              <a:gd name="T61" fmla="*/ 23 h 142"/>
              <a:gd name="T62" fmla="*/ 122 w 141"/>
              <a:gd name="T63" fmla="*/ 32 h 142"/>
              <a:gd name="T64" fmla="*/ 126 w 141"/>
              <a:gd name="T65" fmla="*/ 39 h 142"/>
              <a:gd name="T66" fmla="*/ 137 w 141"/>
              <a:gd name="T67" fmla="*/ 47 h 142"/>
              <a:gd name="T68" fmla="*/ 133 w 141"/>
              <a:gd name="T69" fmla="*/ 55 h 142"/>
              <a:gd name="T70" fmla="*/ 134 w 141"/>
              <a:gd name="T71" fmla="*/ 62 h 142"/>
              <a:gd name="T72" fmla="*/ 141 w 141"/>
              <a:gd name="T73" fmla="*/ 71 h 142"/>
              <a:gd name="T74" fmla="*/ 134 w 141"/>
              <a:gd name="T75" fmla="*/ 80 h 142"/>
              <a:gd name="T76" fmla="*/ 133 w 141"/>
              <a:gd name="T77" fmla="*/ 87 h 142"/>
              <a:gd name="T78" fmla="*/ 137 w 141"/>
              <a:gd name="T79" fmla="*/ 95 h 142"/>
              <a:gd name="T80" fmla="*/ 126 w 141"/>
              <a:gd name="T81" fmla="*/ 103 h 142"/>
              <a:gd name="T82" fmla="*/ 122 w 141"/>
              <a:gd name="T83" fmla="*/ 110 h 142"/>
              <a:gd name="T84" fmla="*/ 122 w 141"/>
              <a:gd name="T85" fmla="*/ 119 h 142"/>
              <a:gd name="T86" fmla="*/ 109 w 141"/>
              <a:gd name="T87" fmla="*/ 122 h 142"/>
              <a:gd name="T88" fmla="*/ 103 w 141"/>
              <a:gd name="T89" fmla="*/ 126 h 142"/>
              <a:gd name="T90" fmla="*/ 100 w 141"/>
              <a:gd name="T91" fmla="*/ 135 h 142"/>
              <a:gd name="T92" fmla="*/ 87 w 141"/>
              <a:gd name="T93" fmla="*/ 133 h 142"/>
              <a:gd name="T94" fmla="*/ 79 w 141"/>
              <a:gd name="T95" fmla="*/ 135 h 142"/>
              <a:gd name="T96" fmla="*/ 73 w 141"/>
              <a:gd name="T97" fmla="*/ 142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41" h="142">
                <a:moveTo>
                  <a:pt x="70" y="142"/>
                </a:moveTo>
                <a:cubicBezTo>
                  <a:pt x="69" y="142"/>
                  <a:pt x="68" y="142"/>
                  <a:pt x="67" y="142"/>
                </a:cubicBezTo>
                <a:cubicBezTo>
                  <a:pt x="67" y="135"/>
                  <a:pt x="67" y="135"/>
                  <a:pt x="67" y="135"/>
                </a:cubicBezTo>
                <a:cubicBezTo>
                  <a:pt x="66" y="135"/>
                  <a:pt x="66" y="135"/>
                  <a:pt x="66" y="135"/>
                </a:cubicBezTo>
                <a:cubicBezTo>
                  <a:pt x="65" y="135"/>
                  <a:pt x="63" y="135"/>
                  <a:pt x="62" y="135"/>
                </a:cubicBezTo>
                <a:cubicBezTo>
                  <a:pt x="61" y="135"/>
                  <a:pt x="61" y="135"/>
                  <a:pt x="61" y="135"/>
                </a:cubicBezTo>
                <a:cubicBezTo>
                  <a:pt x="60" y="141"/>
                  <a:pt x="60" y="141"/>
                  <a:pt x="60" y="141"/>
                </a:cubicBezTo>
                <a:cubicBezTo>
                  <a:pt x="58" y="141"/>
                  <a:pt x="56" y="140"/>
                  <a:pt x="54" y="140"/>
                </a:cubicBezTo>
                <a:cubicBezTo>
                  <a:pt x="54" y="133"/>
                  <a:pt x="54" y="133"/>
                  <a:pt x="54" y="133"/>
                </a:cubicBezTo>
                <a:cubicBezTo>
                  <a:pt x="54" y="133"/>
                  <a:pt x="54" y="133"/>
                  <a:pt x="54" y="133"/>
                </a:cubicBezTo>
                <a:cubicBezTo>
                  <a:pt x="52" y="133"/>
                  <a:pt x="51" y="132"/>
                  <a:pt x="50" y="132"/>
                </a:cubicBezTo>
                <a:cubicBezTo>
                  <a:pt x="49" y="132"/>
                  <a:pt x="49" y="132"/>
                  <a:pt x="49" y="132"/>
                </a:cubicBezTo>
                <a:cubicBezTo>
                  <a:pt x="46" y="137"/>
                  <a:pt x="46" y="137"/>
                  <a:pt x="46" y="137"/>
                </a:cubicBezTo>
                <a:cubicBezTo>
                  <a:pt x="44" y="137"/>
                  <a:pt x="42" y="136"/>
                  <a:pt x="41" y="135"/>
                </a:cubicBezTo>
                <a:cubicBezTo>
                  <a:pt x="42" y="129"/>
                  <a:pt x="42" y="129"/>
                  <a:pt x="42" y="129"/>
                </a:cubicBezTo>
                <a:cubicBezTo>
                  <a:pt x="42" y="129"/>
                  <a:pt x="42" y="129"/>
                  <a:pt x="42" y="129"/>
                </a:cubicBezTo>
                <a:cubicBezTo>
                  <a:pt x="41" y="128"/>
                  <a:pt x="39" y="127"/>
                  <a:pt x="38" y="127"/>
                </a:cubicBezTo>
                <a:cubicBezTo>
                  <a:pt x="38" y="126"/>
                  <a:pt x="38" y="126"/>
                  <a:pt x="38" y="126"/>
                </a:cubicBezTo>
                <a:cubicBezTo>
                  <a:pt x="34" y="131"/>
                  <a:pt x="34" y="131"/>
                  <a:pt x="34" y="131"/>
                </a:cubicBezTo>
                <a:cubicBezTo>
                  <a:pt x="32" y="130"/>
                  <a:pt x="30" y="129"/>
                  <a:pt x="29" y="128"/>
                </a:cubicBezTo>
                <a:cubicBezTo>
                  <a:pt x="32" y="122"/>
                  <a:pt x="32" y="122"/>
                  <a:pt x="32" y="122"/>
                </a:cubicBezTo>
                <a:cubicBezTo>
                  <a:pt x="31" y="122"/>
                  <a:pt x="31" y="122"/>
                  <a:pt x="31" y="122"/>
                </a:cubicBezTo>
                <a:cubicBezTo>
                  <a:pt x="30" y="121"/>
                  <a:pt x="29" y="120"/>
                  <a:pt x="28" y="119"/>
                </a:cubicBezTo>
                <a:cubicBezTo>
                  <a:pt x="28" y="119"/>
                  <a:pt x="28" y="119"/>
                  <a:pt x="28" y="119"/>
                </a:cubicBezTo>
                <a:cubicBezTo>
                  <a:pt x="23" y="123"/>
                  <a:pt x="23" y="123"/>
                  <a:pt x="23" y="123"/>
                </a:cubicBezTo>
                <a:cubicBezTo>
                  <a:pt x="21" y="122"/>
                  <a:pt x="20" y="120"/>
                  <a:pt x="18" y="119"/>
                </a:cubicBezTo>
                <a:cubicBezTo>
                  <a:pt x="22" y="114"/>
                  <a:pt x="22" y="114"/>
                  <a:pt x="22" y="114"/>
                </a:cubicBezTo>
                <a:cubicBezTo>
                  <a:pt x="22" y="114"/>
                  <a:pt x="22" y="114"/>
                  <a:pt x="22" y="114"/>
                </a:cubicBezTo>
                <a:cubicBezTo>
                  <a:pt x="21" y="112"/>
                  <a:pt x="20" y="111"/>
                  <a:pt x="19" y="110"/>
                </a:cubicBezTo>
                <a:cubicBezTo>
                  <a:pt x="19" y="110"/>
                  <a:pt x="19" y="110"/>
                  <a:pt x="19" y="110"/>
                </a:cubicBezTo>
                <a:cubicBezTo>
                  <a:pt x="13" y="113"/>
                  <a:pt x="13" y="113"/>
                  <a:pt x="13" y="113"/>
                </a:cubicBezTo>
                <a:cubicBezTo>
                  <a:pt x="12" y="111"/>
                  <a:pt x="11" y="109"/>
                  <a:pt x="10" y="108"/>
                </a:cubicBezTo>
                <a:cubicBezTo>
                  <a:pt x="15" y="104"/>
                  <a:pt x="15" y="104"/>
                  <a:pt x="15" y="104"/>
                </a:cubicBezTo>
                <a:cubicBezTo>
                  <a:pt x="15" y="103"/>
                  <a:pt x="15" y="103"/>
                  <a:pt x="15" y="103"/>
                </a:cubicBezTo>
                <a:cubicBezTo>
                  <a:pt x="14" y="102"/>
                  <a:pt x="13" y="101"/>
                  <a:pt x="13" y="99"/>
                </a:cubicBezTo>
                <a:cubicBezTo>
                  <a:pt x="12" y="99"/>
                  <a:pt x="12" y="99"/>
                  <a:pt x="12" y="99"/>
                </a:cubicBezTo>
                <a:cubicBezTo>
                  <a:pt x="6" y="101"/>
                  <a:pt x="6" y="101"/>
                  <a:pt x="6" y="101"/>
                </a:cubicBezTo>
                <a:cubicBezTo>
                  <a:pt x="5" y="99"/>
                  <a:pt x="5" y="97"/>
                  <a:pt x="4" y="95"/>
                </a:cubicBezTo>
                <a:cubicBezTo>
                  <a:pt x="10" y="92"/>
                  <a:pt x="10" y="92"/>
                  <a:pt x="10" y="92"/>
                </a:cubicBezTo>
                <a:cubicBezTo>
                  <a:pt x="10" y="92"/>
                  <a:pt x="10" y="92"/>
                  <a:pt x="10" y="92"/>
                </a:cubicBezTo>
                <a:cubicBezTo>
                  <a:pt x="9" y="90"/>
                  <a:pt x="9" y="89"/>
                  <a:pt x="8" y="88"/>
                </a:cubicBezTo>
                <a:cubicBezTo>
                  <a:pt x="8" y="87"/>
                  <a:pt x="8" y="87"/>
                  <a:pt x="8" y="87"/>
                </a:cubicBezTo>
                <a:cubicBezTo>
                  <a:pt x="2" y="88"/>
                  <a:pt x="2" y="88"/>
                  <a:pt x="2" y="88"/>
                </a:cubicBezTo>
                <a:cubicBezTo>
                  <a:pt x="1" y="86"/>
                  <a:pt x="1" y="84"/>
                  <a:pt x="1" y="82"/>
                </a:cubicBezTo>
                <a:cubicBezTo>
                  <a:pt x="7" y="80"/>
                  <a:pt x="7" y="80"/>
                  <a:pt x="7" y="80"/>
                </a:cubicBezTo>
                <a:cubicBezTo>
                  <a:pt x="7" y="80"/>
                  <a:pt x="7" y="80"/>
                  <a:pt x="7" y="80"/>
                </a:cubicBezTo>
                <a:cubicBezTo>
                  <a:pt x="6" y="78"/>
                  <a:pt x="6" y="77"/>
                  <a:pt x="6" y="75"/>
                </a:cubicBezTo>
                <a:cubicBezTo>
                  <a:pt x="6" y="75"/>
                  <a:pt x="6" y="75"/>
                  <a:pt x="6" y="75"/>
                </a:cubicBezTo>
                <a:cubicBezTo>
                  <a:pt x="0" y="74"/>
                  <a:pt x="0" y="74"/>
                  <a:pt x="0" y="74"/>
                </a:cubicBezTo>
                <a:cubicBezTo>
                  <a:pt x="0" y="73"/>
                  <a:pt x="0" y="72"/>
                  <a:pt x="0" y="71"/>
                </a:cubicBezTo>
                <a:cubicBezTo>
                  <a:pt x="0" y="70"/>
                  <a:pt x="0" y="69"/>
                  <a:pt x="0" y="68"/>
                </a:cubicBezTo>
                <a:cubicBezTo>
                  <a:pt x="6" y="67"/>
                  <a:pt x="6" y="67"/>
                  <a:pt x="6" y="67"/>
                </a:cubicBezTo>
                <a:cubicBezTo>
                  <a:pt x="6" y="67"/>
                  <a:pt x="6" y="67"/>
                  <a:pt x="6" y="67"/>
                </a:cubicBezTo>
                <a:cubicBezTo>
                  <a:pt x="6" y="65"/>
                  <a:pt x="6" y="64"/>
                  <a:pt x="7" y="62"/>
                </a:cubicBezTo>
                <a:cubicBezTo>
                  <a:pt x="7" y="62"/>
                  <a:pt x="7" y="62"/>
                  <a:pt x="7" y="62"/>
                </a:cubicBezTo>
                <a:cubicBezTo>
                  <a:pt x="1" y="60"/>
                  <a:pt x="1" y="60"/>
                  <a:pt x="1" y="60"/>
                </a:cubicBezTo>
                <a:cubicBezTo>
                  <a:pt x="1" y="58"/>
                  <a:pt x="1" y="56"/>
                  <a:pt x="2" y="54"/>
                </a:cubicBezTo>
                <a:cubicBezTo>
                  <a:pt x="8" y="55"/>
                  <a:pt x="8" y="55"/>
                  <a:pt x="8" y="55"/>
                </a:cubicBezTo>
                <a:cubicBezTo>
                  <a:pt x="8" y="54"/>
                  <a:pt x="8" y="54"/>
                  <a:pt x="8" y="54"/>
                </a:cubicBezTo>
                <a:cubicBezTo>
                  <a:pt x="9" y="53"/>
                  <a:pt x="9" y="52"/>
                  <a:pt x="10" y="50"/>
                </a:cubicBezTo>
                <a:cubicBezTo>
                  <a:pt x="10" y="50"/>
                  <a:pt x="10" y="50"/>
                  <a:pt x="10" y="50"/>
                </a:cubicBezTo>
                <a:cubicBezTo>
                  <a:pt x="4" y="47"/>
                  <a:pt x="4" y="47"/>
                  <a:pt x="4" y="47"/>
                </a:cubicBezTo>
                <a:cubicBezTo>
                  <a:pt x="5" y="45"/>
                  <a:pt x="5" y="43"/>
                  <a:pt x="6" y="41"/>
                </a:cubicBezTo>
                <a:cubicBezTo>
                  <a:pt x="12" y="43"/>
                  <a:pt x="12" y="43"/>
                  <a:pt x="12" y="43"/>
                </a:cubicBezTo>
                <a:cubicBezTo>
                  <a:pt x="13" y="43"/>
                  <a:pt x="13" y="43"/>
                  <a:pt x="13" y="43"/>
                </a:cubicBezTo>
                <a:cubicBezTo>
                  <a:pt x="13" y="41"/>
                  <a:pt x="14" y="40"/>
                  <a:pt x="15" y="39"/>
                </a:cubicBezTo>
                <a:cubicBezTo>
                  <a:pt x="15" y="38"/>
                  <a:pt x="15" y="38"/>
                  <a:pt x="15" y="38"/>
                </a:cubicBezTo>
                <a:cubicBezTo>
                  <a:pt x="10" y="34"/>
                  <a:pt x="10" y="34"/>
                  <a:pt x="10" y="34"/>
                </a:cubicBezTo>
                <a:cubicBezTo>
                  <a:pt x="11" y="33"/>
                  <a:pt x="12" y="31"/>
                  <a:pt x="13" y="29"/>
                </a:cubicBezTo>
                <a:cubicBezTo>
                  <a:pt x="19" y="32"/>
                  <a:pt x="19" y="32"/>
                  <a:pt x="19" y="32"/>
                </a:cubicBezTo>
                <a:cubicBezTo>
                  <a:pt x="19" y="32"/>
                  <a:pt x="19" y="32"/>
                  <a:pt x="19" y="32"/>
                </a:cubicBezTo>
                <a:cubicBezTo>
                  <a:pt x="20" y="31"/>
                  <a:pt x="21" y="30"/>
                  <a:pt x="22" y="29"/>
                </a:cubicBezTo>
                <a:cubicBezTo>
                  <a:pt x="22" y="28"/>
                  <a:pt x="22" y="28"/>
                  <a:pt x="22" y="28"/>
                </a:cubicBezTo>
                <a:cubicBezTo>
                  <a:pt x="18" y="23"/>
                  <a:pt x="18" y="23"/>
                  <a:pt x="18" y="23"/>
                </a:cubicBezTo>
                <a:cubicBezTo>
                  <a:pt x="20" y="22"/>
                  <a:pt x="21" y="20"/>
                  <a:pt x="23" y="19"/>
                </a:cubicBezTo>
                <a:cubicBezTo>
                  <a:pt x="28" y="23"/>
                  <a:pt x="28" y="23"/>
                  <a:pt x="28" y="23"/>
                </a:cubicBezTo>
                <a:cubicBezTo>
                  <a:pt x="28" y="23"/>
                  <a:pt x="28" y="23"/>
                  <a:pt x="28" y="23"/>
                </a:cubicBezTo>
                <a:cubicBezTo>
                  <a:pt x="29" y="22"/>
                  <a:pt x="30" y="21"/>
                  <a:pt x="31" y="20"/>
                </a:cubicBezTo>
                <a:cubicBezTo>
                  <a:pt x="32" y="20"/>
                  <a:pt x="32" y="20"/>
                  <a:pt x="32" y="20"/>
                </a:cubicBezTo>
                <a:cubicBezTo>
                  <a:pt x="29" y="14"/>
                  <a:pt x="29" y="14"/>
                  <a:pt x="29" y="14"/>
                </a:cubicBezTo>
                <a:cubicBezTo>
                  <a:pt x="30" y="13"/>
                  <a:pt x="32" y="12"/>
                  <a:pt x="34" y="11"/>
                </a:cubicBezTo>
                <a:cubicBezTo>
                  <a:pt x="38" y="16"/>
                  <a:pt x="38" y="16"/>
                  <a:pt x="38" y="16"/>
                </a:cubicBezTo>
                <a:cubicBezTo>
                  <a:pt x="38" y="15"/>
                  <a:pt x="38" y="15"/>
                  <a:pt x="38" y="15"/>
                </a:cubicBezTo>
                <a:cubicBezTo>
                  <a:pt x="39" y="15"/>
                  <a:pt x="41" y="14"/>
                  <a:pt x="42" y="13"/>
                </a:cubicBezTo>
                <a:cubicBezTo>
                  <a:pt x="42" y="13"/>
                  <a:pt x="42" y="13"/>
                  <a:pt x="42" y="13"/>
                </a:cubicBezTo>
                <a:cubicBezTo>
                  <a:pt x="41" y="7"/>
                  <a:pt x="41" y="7"/>
                  <a:pt x="41" y="7"/>
                </a:cubicBezTo>
                <a:cubicBezTo>
                  <a:pt x="42" y="6"/>
                  <a:pt x="44" y="5"/>
                  <a:pt x="46" y="5"/>
                </a:cubicBezTo>
                <a:cubicBezTo>
                  <a:pt x="49" y="10"/>
                  <a:pt x="49" y="10"/>
                  <a:pt x="49" y="10"/>
                </a:cubicBezTo>
                <a:cubicBezTo>
                  <a:pt x="50" y="10"/>
                  <a:pt x="50" y="10"/>
                  <a:pt x="50" y="10"/>
                </a:cubicBezTo>
                <a:cubicBezTo>
                  <a:pt x="51" y="10"/>
                  <a:pt x="52" y="9"/>
                  <a:pt x="54" y="9"/>
                </a:cubicBezTo>
                <a:cubicBezTo>
                  <a:pt x="54" y="9"/>
                  <a:pt x="54" y="9"/>
                  <a:pt x="54" y="9"/>
                </a:cubicBezTo>
                <a:cubicBezTo>
                  <a:pt x="54" y="2"/>
                  <a:pt x="54" y="2"/>
                  <a:pt x="54" y="2"/>
                </a:cubicBezTo>
                <a:cubicBezTo>
                  <a:pt x="56" y="2"/>
                  <a:pt x="58" y="1"/>
                  <a:pt x="60" y="1"/>
                </a:cubicBezTo>
                <a:cubicBezTo>
                  <a:pt x="61" y="7"/>
                  <a:pt x="61" y="7"/>
                  <a:pt x="61" y="7"/>
                </a:cubicBezTo>
                <a:cubicBezTo>
                  <a:pt x="62" y="7"/>
                  <a:pt x="62" y="7"/>
                  <a:pt x="62" y="7"/>
                </a:cubicBezTo>
                <a:cubicBezTo>
                  <a:pt x="63" y="7"/>
                  <a:pt x="65" y="7"/>
                  <a:pt x="66" y="7"/>
                </a:cubicBezTo>
                <a:cubicBezTo>
                  <a:pt x="67" y="7"/>
                  <a:pt x="67" y="7"/>
                  <a:pt x="67" y="7"/>
                </a:cubicBezTo>
                <a:cubicBezTo>
                  <a:pt x="67" y="0"/>
                  <a:pt x="67" y="0"/>
                  <a:pt x="67" y="0"/>
                </a:cubicBezTo>
                <a:cubicBezTo>
                  <a:pt x="68" y="0"/>
                  <a:pt x="69" y="0"/>
                  <a:pt x="70" y="0"/>
                </a:cubicBezTo>
                <a:cubicBezTo>
                  <a:pt x="71" y="0"/>
                  <a:pt x="72" y="0"/>
                  <a:pt x="73" y="0"/>
                </a:cubicBezTo>
                <a:cubicBezTo>
                  <a:pt x="74" y="7"/>
                  <a:pt x="74" y="7"/>
                  <a:pt x="74" y="7"/>
                </a:cubicBezTo>
                <a:cubicBezTo>
                  <a:pt x="74" y="7"/>
                  <a:pt x="74" y="7"/>
                  <a:pt x="74" y="7"/>
                </a:cubicBezTo>
                <a:cubicBezTo>
                  <a:pt x="76" y="7"/>
                  <a:pt x="77" y="7"/>
                  <a:pt x="79" y="7"/>
                </a:cubicBezTo>
                <a:cubicBezTo>
                  <a:pt x="79" y="7"/>
                  <a:pt x="79" y="7"/>
                  <a:pt x="79" y="7"/>
                </a:cubicBezTo>
                <a:cubicBezTo>
                  <a:pt x="81" y="1"/>
                  <a:pt x="81" y="1"/>
                  <a:pt x="81" y="1"/>
                </a:cubicBezTo>
                <a:cubicBezTo>
                  <a:pt x="83" y="1"/>
                  <a:pt x="85" y="2"/>
                  <a:pt x="87" y="2"/>
                </a:cubicBezTo>
                <a:cubicBezTo>
                  <a:pt x="87" y="9"/>
                  <a:pt x="87" y="9"/>
                  <a:pt x="87" y="9"/>
                </a:cubicBezTo>
                <a:cubicBezTo>
                  <a:pt x="87" y="9"/>
                  <a:pt x="87" y="9"/>
                  <a:pt x="87" y="9"/>
                </a:cubicBezTo>
                <a:cubicBezTo>
                  <a:pt x="88" y="9"/>
                  <a:pt x="90" y="10"/>
                  <a:pt x="91" y="10"/>
                </a:cubicBezTo>
                <a:cubicBezTo>
                  <a:pt x="92" y="10"/>
                  <a:pt x="92" y="10"/>
                  <a:pt x="92" y="10"/>
                </a:cubicBezTo>
                <a:cubicBezTo>
                  <a:pt x="95" y="5"/>
                  <a:pt x="95" y="5"/>
                  <a:pt x="95" y="5"/>
                </a:cubicBezTo>
                <a:cubicBezTo>
                  <a:pt x="96" y="5"/>
                  <a:pt x="98" y="6"/>
                  <a:pt x="100" y="7"/>
                </a:cubicBezTo>
                <a:cubicBezTo>
                  <a:pt x="98" y="13"/>
                  <a:pt x="98" y="13"/>
                  <a:pt x="98" y="13"/>
                </a:cubicBezTo>
                <a:cubicBezTo>
                  <a:pt x="99" y="13"/>
                  <a:pt x="99" y="13"/>
                  <a:pt x="99" y="13"/>
                </a:cubicBezTo>
                <a:cubicBezTo>
                  <a:pt x="100" y="14"/>
                  <a:pt x="101" y="15"/>
                  <a:pt x="103" y="15"/>
                </a:cubicBezTo>
                <a:cubicBezTo>
                  <a:pt x="103" y="16"/>
                  <a:pt x="103" y="16"/>
                  <a:pt x="103" y="16"/>
                </a:cubicBezTo>
                <a:cubicBezTo>
                  <a:pt x="107" y="11"/>
                  <a:pt x="107" y="11"/>
                  <a:pt x="107" y="11"/>
                </a:cubicBezTo>
                <a:cubicBezTo>
                  <a:pt x="109" y="12"/>
                  <a:pt x="111" y="13"/>
                  <a:pt x="112" y="14"/>
                </a:cubicBezTo>
                <a:cubicBezTo>
                  <a:pt x="109" y="20"/>
                  <a:pt x="109" y="20"/>
                  <a:pt x="109" y="20"/>
                </a:cubicBezTo>
                <a:cubicBezTo>
                  <a:pt x="109" y="20"/>
                  <a:pt x="109" y="20"/>
                  <a:pt x="109" y="20"/>
                </a:cubicBezTo>
                <a:cubicBezTo>
                  <a:pt x="111" y="21"/>
                  <a:pt x="112" y="22"/>
                  <a:pt x="113" y="23"/>
                </a:cubicBezTo>
                <a:cubicBezTo>
                  <a:pt x="113" y="23"/>
                  <a:pt x="113" y="23"/>
                  <a:pt x="113" y="23"/>
                </a:cubicBezTo>
                <a:cubicBezTo>
                  <a:pt x="118" y="19"/>
                  <a:pt x="118" y="19"/>
                  <a:pt x="118" y="19"/>
                </a:cubicBezTo>
                <a:cubicBezTo>
                  <a:pt x="120" y="20"/>
                  <a:pt x="121" y="22"/>
                  <a:pt x="122" y="23"/>
                </a:cubicBezTo>
                <a:cubicBezTo>
                  <a:pt x="118" y="28"/>
                  <a:pt x="118" y="28"/>
                  <a:pt x="118" y="28"/>
                </a:cubicBezTo>
                <a:cubicBezTo>
                  <a:pt x="119" y="29"/>
                  <a:pt x="119" y="29"/>
                  <a:pt x="119" y="29"/>
                </a:cubicBezTo>
                <a:cubicBezTo>
                  <a:pt x="120" y="30"/>
                  <a:pt x="121" y="31"/>
                  <a:pt x="121" y="32"/>
                </a:cubicBezTo>
                <a:cubicBezTo>
                  <a:pt x="122" y="32"/>
                  <a:pt x="122" y="32"/>
                  <a:pt x="122" y="32"/>
                </a:cubicBezTo>
                <a:cubicBezTo>
                  <a:pt x="127" y="29"/>
                  <a:pt x="127" y="29"/>
                  <a:pt x="127" y="29"/>
                </a:cubicBezTo>
                <a:cubicBezTo>
                  <a:pt x="129" y="31"/>
                  <a:pt x="130" y="33"/>
                  <a:pt x="131" y="34"/>
                </a:cubicBezTo>
                <a:cubicBezTo>
                  <a:pt x="126" y="38"/>
                  <a:pt x="126" y="38"/>
                  <a:pt x="126" y="38"/>
                </a:cubicBezTo>
                <a:cubicBezTo>
                  <a:pt x="126" y="39"/>
                  <a:pt x="126" y="39"/>
                  <a:pt x="126" y="39"/>
                </a:cubicBezTo>
                <a:cubicBezTo>
                  <a:pt x="127" y="40"/>
                  <a:pt x="128" y="41"/>
                  <a:pt x="128" y="43"/>
                </a:cubicBezTo>
                <a:cubicBezTo>
                  <a:pt x="128" y="43"/>
                  <a:pt x="128" y="43"/>
                  <a:pt x="128" y="43"/>
                </a:cubicBezTo>
                <a:cubicBezTo>
                  <a:pt x="134" y="41"/>
                  <a:pt x="134" y="41"/>
                  <a:pt x="134" y="41"/>
                </a:cubicBezTo>
                <a:cubicBezTo>
                  <a:pt x="135" y="43"/>
                  <a:pt x="136" y="45"/>
                  <a:pt x="137" y="47"/>
                </a:cubicBezTo>
                <a:cubicBezTo>
                  <a:pt x="131" y="50"/>
                  <a:pt x="131" y="50"/>
                  <a:pt x="131" y="50"/>
                </a:cubicBezTo>
                <a:cubicBezTo>
                  <a:pt x="131" y="50"/>
                  <a:pt x="131" y="50"/>
                  <a:pt x="131" y="50"/>
                </a:cubicBezTo>
                <a:cubicBezTo>
                  <a:pt x="132" y="52"/>
                  <a:pt x="132" y="53"/>
                  <a:pt x="133" y="54"/>
                </a:cubicBezTo>
                <a:cubicBezTo>
                  <a:pt x="133" y="55"/>
                  <a:pt x="133" y="55"/>
                  <a:pt x="133" y="55"/>
                </a:cubicBezTo>
                <a:cubicBezTo>
                  <a:pt x="139" y="54"/>
                  <a:pt x="139" y="54"/>
                  <a:pt x="139" y="54"/>
                </a:cubicBezTo>
                <a:cubicBezTo>
                  <a:pt x="140" y="56"/>
                  <a:pt x="140" y="58"/>
                  <a:pt x="140" y="60"/>
                </a:cubicBezTo>
                <a:cubicBezTo>
                  <a:pt x="134" y="62"/>
                  <a:pt x="134" y="62"/>
                  <a:pt x="134" y="62"/>
                </a:cubicBezTo>
                <a:cubicBezTo>
                  <a:pt x="134" y="62"/>
                  <a:pt x="134" y="62"/>
                  <a:pt x="134" y="62"/>
                </a:cubicBezTo>
                <a:cubicBezTo>
                  <a:pt x="134" y="64"/>
                  <a:pt x="134" y="65"/>
                  <a:pt x="135" y="67"/>
                </a:cubicBezTo>
                <a:cubicBezTo>
                  <a:pt x="135" y="67"/>
                  <a:pt x="135" y="67"/>
                  <a:pt x="135" y="67"/>
                </a:cubicBezTo>
                <a:cubicBezTo>
                  <a:pt x="141" y="68"/>
                  <a:pt x="141" y="68"/>
                  <a:pt x="141" y="68"/>
                </a:cubicBezTo>
                <a:cubicBezTo>
                  <a:pt x="141" y="69"/>
                  <a:pt x="141" y="70"/>
                  <a:pt x="141" y="71"/>
                </a:cubicBezTo>
                <a:cubicBezTo>
                  <a:pt x="141" y="72"/>
                  <a:pt x="141" y="73"/>
                  <a:pt x="141" y="74"/>
                </a:cubicBezTo>
                <a:cubicBezTo>
                  <a:pt x="135" y="75"/>
                  <a:pt x="135" y="75"/>
                  <a:pt x="135" y="75"/>
                </a:cubicBezTo>
                <a:cubicBezTo>
                  <a:pt x="135" y="75"/>
                  <a:pt x="135" y="75"/>
                  <a:pt x="135" y="75"/>
                </a:cubicBezTo>
                <a:cubicBezTo>
                  <a:pt x="134" y="77"/>
                  <a:pt x="134" y="78"/>
                  <a:pt x="134" y="80"/>
                </a:cubicBezTo>
                <a:cubicBezTo>
                  <a:pt x="134" y="80"/>
                  <a:pt x="134" y="80"/>
                  <a:pt x="134" y="80"/>
                </a:cubicBezTo>
                <a:cubicBezTo>
                  <a:pt x="140" y="82"/>
                  <a:pt x="140" y="82"/>
                  <a:pt x="140" y="82"/>
                </a:cubicBezTo>
                <a:cubicBezTo>
                  <a:pt x="140" y="84"/>
                  <a:pt x="140" y="86"/>
                  <a:pt x="139" y="88"/>
                </a:cubicBezTo>
                <a:cubicBezTo>
                  <a:pt x="133" y="87"/>
                  <a:pt x="133" y="87"/>
                  <a:pt x="133" y="87"/>
                </a:cubicBezTo>
                <a:cubicBezTo>
                  <a:pt x="133" y="88"/>
                  <a:pt x="133" y="88"/>
                  <a:pt x="133" y="88"/>
                </a:cubicBezTo>
                <a:cubicBezTo>
                  <a:pt x="132" y="89"/>
                  <a:pt x="132" y="90"/>
                  <a:pt x="131" y="92"/>
                </a:cubicBezTo>
                <a:cubicBezTo>
                  <a:pt x="131" y="92"/>
                  <a:pt x="131" y="92"/>
                  <a:pt x="131" y="92"/>
                </a:cubicBezTo>
                <a:cubicBezTo>
                  <a:pt x="137" y="95"/>
                  <a:pt x="137" y="95"/>
                  <a:pt x="137" y="95"/>
                </a:cubicBezTo>
                <a:cubicBezTo>
                  <a:pt x="136" y="97"/>
                  <a:pt x="135" y="99"/>
                  <a:pt x="134" y="101"/>
                </a:cubicBezTo>
                <a:cubicBezTo>
                  <a:pt x="128" y="99"/>
                  <a:pt x="128" y="99"/>
                  <a:pt x="128" y="99"/>
                </a:cubicBezTo>
                <a:cubicBezTo>
                  <a:pt x="128" y="99"/>
                  <a:pt x="128" y="99"/>
                  <a:pt x="128" y="99"/>
                </a:cubicBezTo>
                <a:cubicBezTo>
                  <a:pt x="128" y="101"/>
                  <a:pt x="127" y="102"/>
                  <a:pt x="126" y="103"/>
                </a:cubicBezTo>
                <a:cubicBezTo>
                  <a:pt x="126" y="104"/>
                  <a:pt x="126" y="104"/>
                  <a:pt x="126" y="104"/>
                </a:cubicBezTo>
                <a:cubicBezTo>
                  <a:pt x="131" y="108"/>
                  <a:pt x="131" y="108"/>
                  <a:pt x="131" y="108"/>
                </a:cubicBezTo>
                <a:cubicBezTo>
                  <a:pt x="130" y="109"/>
                  <a:pt x="129" y="111"/>
                  <a:pt x="127" y="113"/>
                </a:cubicBezTo>
                <a:cubicBezTo>
                  <a:pt x="122" y="110"/>
                  <a:pt x="122" y="110"/>
                  <a:pt x="122" y="110"/>
                </a:cubicBezTo>
                <a:cubicBezTo>
                  <a:pt x="121" y="110"/>
                  <a:pt x="121" y="110"/>
                  <a:pt x="121" y="110"/>
                </a:cubicBezTo>
                <a:cubicBezTo>
                  <a:pt x="121" y="111"/>
                  <a:pt x="120" y="112"/>
                  <a:pt x="119" y="114"/>
                </a:cubicBezTo>
                <a:cubicBezTo>
                  <a:pt x="118" y="114"/>
                  <a:pt x="118" y="114"/>
                  <a:pt x="118" y="114"/>
                </a:cubicBezTo>
                <a:cubicBezTo>
                  <a:pt x="122" y="119"/>
                  <a:pt x="122" y="119"/>
                  <a:pt x="122" y="119"/>
                </a:cubicBezTo>
                <a:cubicBezTo>
                  <a:pt x="121" y="120"/>
                  <a:pt x="120" y="122"/>
                  <a:pt x="118" y="123"/>
                </a:cubicBezTo>
                <a:cubicBezTo>
                  <a:pt x="113" y="119"/>
                  <a:pt x="113" y="119"/>
                  <a:pt x="113" y="119"/>
                </a:cubicBezTo>
                <a:cubicBezTo>
                  <a:pt x="113" y="119"/>
                  <a:pt x="113" y="119"/>
                  <a:pt x="113" y="119"/>
                </a:cubicBezTo>
                <a:cubicBezTo>
                  <a:pt x="112" y="120"/>
                  <a:pt x="111" y="121"/>
                  <a:pt x="109" y="122"/>
                </a:cubicBezTo>
                <a:cubicBezTo>
                  <a:pt x="109" y="122"/>
                  <a:pt x="109" y="122"/>
                  <a:pt x="109" y="122"/>
                </a:cubicBezTo>
                <a:cubicBezTo>
                  <a:pt x="112" y="128"/>
                  <a:pt x="112" y="128"/>
                  <a:pt x="112" y="128"/>
                </a:cubicBezTo>
                <a:cubicBezTo>
                  <a:pt x="111" y="129"/>
                  <a:pt x="109" y="130"/>
                  <a:pt x="107" y="131"/>
                </a:cubicBezTo>
                <a:cubicBezTo>
                  <a:pt x="103" y="126"/>
                  <a:pt x="103" y="126"/>
                  <a:pt x="103" y="126"/>
                </a:cubicBezTo>
                <a:cubicBezTo>
                  <a:pt x="103" y="127"/>
                  <a:pt x="103" y="127"/>
                  <a:pt x="103" y="127"/>
                </a:cubicBezTo>
                <a:cubicBezTo>
                  <a:pt x="101" y="127"/>
                  <a:pt x="100" y="128"/>
                  <a:pt x="99" y="129"/>
                </a:cubicBezTo>
                <a:cubicBezTo>
                  <a:pt x="98" y="129"/>
                  <a:pt x="98" y="129"/>
                  <a:pt x="98" y="129"/>
                </a:cubicBezTo>
                <a:cubicBezTo>
                  <a:pt x="100" y="135"/>
                  <a:pt x="100" y="135"/>
                  <a:pt x="100" y="135"/>
                </a:cubicBezTo>
                <a:cubicBezTo>
                  <a:pt x="98" y="136"/>
                  <a:pt x="96" y="137"/>
                  <a:pt x="95" y="137"/>
                </a:cubicBezTo>
                <a:cubicBezTo>
                  <a:pt x="92" y="132"/>
                  <a:pt x="92" y="132"/>
                  <a:pt x="92" y="132"/>
                </a:cubicBezTo>
                <a:cubicBezTo>
                  <a:pt x="91" y="132"/>
                  <a:pt x="91" y="132"/>
                  <a:pt x="91" y="132"/>
                </a:cubicBezTo>
                <a:cubicBezTo>
                  <a:pt x="90" y="132"/>
                  <a:pt x="88" y="133"/>
                  <a:pt x="87" y="133"/>
                </a:cubicBezTo>
                <a:cubicBezTo>
                  <a:pt x="87" y="133"/>
                  <a:pt x="87" y="133"/>
                  <a:pt x="87" y="133"/>
                </a:cubicBezTo>
                <a:cubicBezTo>
                  <a:pt x="87" y="140"/>
                  <a:pt x="87" y="140"/>
                  <a:pt x="87" y="140"/>
                </a:cubicBezTo>
                <a:cubicBezTo>
                  <a:pt x="85" y="140"/>
                  <a:pt x="83" y="141"/>
                  <a:pt x="81" y="141"/>
                </a:cubicBezTo>
                <a:cubicBezTo>
                  <a:pt x="79" y="135"/>
                  <a:pt x="79" y="135"/>
                  <a:pt x="79" y="135"/>
                </a:cubicBezTo>
                <a:cubicBezTo>
                  <a:pt x="79" y="135"/>
                  <a:pt x="79" y="135"/>
                  <a:pt x="79" y="135"/>
                </a:cubicBezTo>
                <a:cubicBezTo>
                  <a:pt x="77" y="135"/>
                  <a:pt x="76" y="135"/>
                  <a:pt x="74" y="135"/>
                </a:cubicBezTo>
                <a:cubicBezTo>
                  <a:pt x="74" y="135"/>
                  <a:pt x="74" y="135"/>
                  <a:pt x="74" y="135"/>
                </a:cubicBezTo>
                <a:cubicBezTo>
                  <a:pt x="73" y="142"/>
                  <a:pt x="73" y="142"/>
                  <a:pt x="73" y="142"/>
                </a:cubicBezTo>
                <a:cubicBezTo>
                  <a:pt x="72" y="142"/>
                  <a:pt x="71" y="142"/>
                  <a:pt x="70" y="142"/>
                </a:cubicBezTo>
                <a:close/>
              </a:path>
            </a:pathLst>
          </a:custGeom>
          <a:solidFill>
            <a:srgbClr val="4CC7C4"/>
          </a:solidFill>
          <a:ln>
            <a:noFill/>
          </a:ln>
          <a:effectLst>
            <a:outerShdw blurRad="50800" dist="38100" dir="5400000" algn="t" rotWithShape="0">
              <a:prstClr val="black">
                <a:alpha val="40000"/>
              </a:prstClr>
            </a:outerShdw>
          </a:effec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216" name="Freeform 215"/>
          <p:cNvSpPr>
            <a:spLocks/>
          </p:cNvSpPr>
          <p:nvPr/>
        </p:nvSpPr>
        <p:spPr bwMode="auto">
          <a:xfrm>
            <a:off x="6751609" y="2146342"/>
            <a:ext cx="1137124" cy="1145097"/>
          </a:xfrm>
          <a:custGeom>
            <a:avLst/>
            <a:gdLst>
              <a:gd name="T0" fmla="*/ 66 w 141"/>
              <a:gd name="T1" fmla="*/ 135 h 142"/>
              <a:gd name="T2" fmla="*/ 54 w 141"/>
              <a:gd name="T3" fmla="*/ 140 h 142"/>
              <a:gd name="T4" fmla="*/ 49 w 141"/>
              <a:gd name="T5" fmla="*/ 132 h 142"/>
              <a:gd name="T6" fmla="*/ 42 w 141"/>
              <a:gd name="T7" fmla="*/ 129 h 142"/>
              <a:gd name="T8" fmla="*/ 29 w 141"/>
              <a:gd name="T9" fmla="*/ 128 h 142"/>
              <a:gd name="T10" fmla="*/ 28 w 141"/>
              <a:gd name="T11" fmla="*/ 119 h 142"/>
              <a:gd name="T12" fmla="*/ 22 w 141"/>
              <a:gd name="T13" fmla="*/ 114 h 142"/>
              <a:gd name="T14" fmla="*/ 10 w 141"/>
              <a:gd name="T15" fmla="*/ 108 h 142"/>
              <a:gd name="T16" fmla="*/ 12 w 141"/>
              <a:gd name="T17" fmla="*/ 99 h 142"/>
              <a:gd name="T18" fmla="*/ 10 w 141"/>
              <a:gd name="T19" fmla="*/ 92 h 142"/>
              <a:gd name="T20" fmla="*/ 1 w 141"/>
              <a:gd name="T21" fmla="*/ 82 h 142"/>
              <a:gd name="T22" fmla="*/ 6 w 141"/>
              <a:gd name="T23" fmla="*/ 75 h 142"/>
              <a:gd name="T24" fmla="*/ 6 w 141"/>
              <a:gd name="T25" fmla="*/ 67 h 142"/>
              <a:gd name="T26" fmla="*/ 1 w 141"/>
              <a:gd name="T27" fmla="*/ 60 h 142"/>
              <a:gd name="T28" fmla="*/ 10 w 141"/>
              <a:gd name="T29" fmla="*/ 50 h 142"/>
              <a:gd name="T30" fmla="*/ 12 w 141"/>
              <a:gd name="T31" fmla="*/ 43 h 142"/>
              <a:gd name="T32" fmla="*/ 10 w 141"/>
              <a:gd name="T33" fmla="*/ 34 h 142"/>
              <a:gd name="T34" fmla="*/ 22 w 141"/>
              <a:gd name="T35" fmla="*/ 29 h 142"/>
              <a:gd name="T36" fmla="*/ 28 w 141"/>
              <a:gd name="T37" fmla="*/ 23 h 142"/>
              <a:gd name="T38" fmla="*/ 29 w 141"/>
              <a:gd name="T39" fmla="*/ 14 h 142"/>
              <a:gd name="T40" fmla="*/ 42 w 141"/>
              <a:gd name="T41" fmla="*/ 13 h 142"/>
              <a:gd name="T42" fmla="*/ 49 w 141"/>
              <a:gd name="T43" fmla="*/ 10 h 142"/>
              <a:gd name="T44" fmla="*/ 54 w 141"/>
              <a:gd name="T45" fmla="*/ 2 h 142"/>
              <a:gd name="T46" fmla="*/ 66 w 141"/>
              <a:gd name="T47" fmla="*/ 7 h 142"/>
              <a:gd name="T48" fmla="*/ 73 w 141"/>
              <a:gd name="T49" fmla="*/ 0 h 142"/>
              <a:gd name="T50" fmla="*/ 79 w 141"/>
              <a:gd name="T51" fmla="*/ 7 h 142"/>
              <a:gd name="T52" fmla="*/ 87 w 141"/>
              <a:gd name="T53" fmla="*/ 9 h 142"/>
              <a:gd name="T54" fmla="*/ 100 w 141"/>
              <a:gd name="T55" fmla="*/ 7 h 142"/>
              <a:gd name="T56" fmla="*/ 103 w 141"/>
              <a:gd name="T57" fmla="*/ 16 h 142"/>
              <a:gd name="T58" fmla="*/ 109 w 141"/>
              <a:gd name="T59" fmla="*/ 20 h 142"/>
              <a:gd name="T60" fmla="*/ 122 w 141"/>
              <a:gd name="T61" fmla="*/ 23 h 142"/>
              <a:gd name="T62" fmla="*/ 122 w 141"/>
              <a:gd name="T63" fmla="*/ 32 h 142"/>
              <a:gd name="T64" fmla="*/ 126 w 141"/>
              <a:gd name="T65" fmla="*/ 39 h 142"/>
              <a:gd name="T66" fmla="*/ 137 w 141"/>
              <a:gd name="T67" fmla="*/ 47 h 142"/>
              <a:gd name="T68" fmla="*/ 133 w 141"/>
              <a:gd name="T69" fmla="*/ 55 h 142"/>
              <a:gd name="T70" fmla="*/ 134 w 141"/>
              <a:gd name="T71" fmla="*/ 62 h 142"/>
              <a:gd name="T72" fmla="*/ 141 w 141"/>
              <a:gd name="T73" fmla="*/ 71 h 142"/>
              <a:gd name="T74" fmla="*/ 134 w 141"/>
              <a:gd name="T75" fmla="*/ 80 h 142"/>
              <a:gd name="T76" fmla="*/ 133 w 141"/>
              <a:gd name="T77" fmla="*/ 87 h 142"/>
              <a:gd name="T78" fmla="*/ 137 w 141"/>
              <a:gd name="T79" fmla="*/ 95 h 142"/>
              <a:gd name="T80" fmla="*/ 126 w 141"/>
              <a:gd name="T81" fmla="*/ 103 h 142"/>
              <a:gd name="T82" fmla="*/ 122 w 141"/>
              <a:gd name="T83" fmla="*/ 110 h 142"/>
              <a:gd name="T84" fmla="*/ 122 w 141"/>
              <a:gd name="T85" fmla="*/ 119 h 142"/>
              <a:gd name="T86" fmla="*/ 109 w 141"/>
              <a:gd name="T87" fmla="*/ 122 h 142"/>
              <a:gd name="T88" fmla="*/ 103 w 141"/>
              <a:gd name="T89" fmla="*/ 126 h 142"/>
              <a:gd name="T90" fmla="*/ 100 w 141"/>
              <a:gd name="T91" fmla="*/ 135 h 142"/>
              <a:gd name="T92" fmla="*/ 87 w 141"/>
              <a:gd name="T93" fmla="*/ 133 h 142"/>
              <a:gd name="T94" fmla="*/ 79 w 141"/>
              <a:gd name="T95" fmla="*/ 135 h 142"/>
              <a:gd name="T96" fmla="*/ 73 w 141"/>
              <a:gd name="T97" fmla="*/ 142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41" h="142">
                <a:moveTo>
                  <a:pt x="70" y="142"/>
                </a:moveTo>
                <a:cubicBezTo>
                  <a:pt x="69" y="142"/>
                  <a:pt x="68" y="142"/>
                  <a:pt x="67" y="142"/>
                </a:cubicBezTo>
                <a:cubicBezTo>
                  <a:pt x="67" y="135"/>
                  <a:pt x="67" y="135"/>
                  <a:pt x="67" y="135"/>
                </a:cubicBezTo>
                <a:cubicBezTo>
                  <a:pt x="66" y="135"/>
                  <a:pt x="66" y="135"/>
                  <a:pt x="66" y="135"/>
                </a:cubicBezTo>
                <a:cubicBezTo>
                  <a:pt x="65" y="135"/>
                  <a:pt x="63" y="135"/>
                  <a:pt x="62" y="135"/>
                </a:cubicBezTo>
                <a:cubicBezTo>
                  <a:pt x="61" y="135"/>
                  <a:pt x="61" y="135"/>
                  <a:pt x="61" y="135"/>
                </a:cubicBezTo>
                <a:cubicBezTo>
                  <a:pt x="60" y="141"/>
                  <a:pt x="60" y="141"/>
                  <a:pt x="60" y="141"/>
                </a:cubicBezTo>
                <a:cubicBezTo>
                  <a:pt x="58" y="141"/>
                  <a:pt x="56" y="140"/>
                  <a:pt x="54" y="140"/>
                </a:cubicBezTo>
                <a:cubicBezTo>
                  <a:pt x="54" y="133"/>
                  <a:pt x="54" y="133"/>
                  <a:pt x="54" y="133"/>
                </a:cubicBezTo>
                <a:cubicBezTo>
                  <a:pt x="54" y="133"/>
                  <a:pt x="54" y="133"/>
                  <a:pt x="54" y="133"/>
                </a:cubicBezTo>
                <a:cubicBezTo>
                  <a:pt x="52" y="133"/>
                  <a:pt x="51" y="132"/>
                  <a:pt x="50" y="132"/>
                </a:cubicBezTo>
                <a:cubicBezTo>
                  <a:pt x="49" y="132"/>
                  <a:pt x="49" y="132"/>
                  <a:pt x="49" y="132"/>
                </a:cubicBezTo>
                <a:cubicBezTo>
                  <a:pt x="46" y="137"/>
                  <a:pt x="46" y="137"/>
                  <a:pt x="46" y="137"/>
                </a:cubicBezTo>
                <a:cubicBezTo>
                  <a:pt x="44" y="137"/>
                  <a:pt x="42" y="136"/>
                  <a:pt x="41" y="135"/>
                </a:cubicBezTo>
                <a:cubicBezTo>
                  <a:pt x="42" y="129"/>
                  <a:pt x="42" y="129"/>
                  <a:pt x="42" y="129"/>
                </a:cubicBezTo>
                <a:cubicBezTo>
                  <a:pt x="42" y="129"/>
                  <a:pt x="42" y="129"/>
                  <a:pt x="42" y="129"/>
                </a:cubicBezTo>
                <a:cubicBezTo>
                  <a:pt x="41" y="128"/>
                  <a:pt x="39" y="127"/>
                  <a:pt x="38" y="127"/>
                </a:cubicBezTo>
                <a:cubicBezTo>
                  <a:pt x="38" y="126"/>
                  <a:pt x="38" y="126"/>
                  <a:pt x="38" y="126"/>
                </a:cubicBezTo>
                <a:cubicBezTo>
                  <a:pt x="34" y="131"/>
                  <a:pt x="34" y="131"/>
                  <a:pt x="34" y="131"/>
                </a:cubicBezTo>
                <a:cubicBezTo>
                  <a:pt x="32" y="130"/>
                  <a:pt x="30" y="129"/>
                  <a:pt x="29" y="128"/>
                </a:cubicBezTo>
                <a:cubicBezTo>
                  <a:pt x="32" y="122"/>
                  <a:pt x="32" y="122"/>
                  <a:pt x="32" y="122"/>
                </a:cubicBezTo>
                <a:cubicBezTo>
                  <a:pt x="31" y="122"/>
                  <a:pt x="31" y="122"/>
                  <a:pt x="31" y="122"/>
                </a:cubicBezTo>
                <a:cubicBezTo>
                  <a:pt x="30" y="121"/>
                  <a:pt x="29" y="120"/>
                  <a:pt x="28" y="119"/>
                </a:cubicBezTo>
                <a:cubicBezTo>
                  <a:pt x="28" y="119"/>
                  <a:pt x="28" y="119"/>
                  <a:pt x="28" y="119"/>
                </a:cubicBezTo>
                <a:cubicBezTo>
                  <a:pt x="23" y="123"/>
                  <a:pt x="23" y="123"/>
                  <a:pt x="23" y="123"/>
                </a:cubicBezTo>
                <a:cubicBezTo>
                  <a:pt x="21" y="122"/>
                  <a:pt x="20" y="120"/>
                  <a:pt x="18" y="119"/>
                </a:cubicBezTo>
                <a:cubicBezTo>
                  <a:pt x="22" y="114"/>
                  <a:pt x="22" y="114"/>
                  <a:pt x="22" y="114"/>
                </a:cubicBezTo>
                <a:cubicBezTo>
                  <a:pt x="22" y="114"/>
                  <a:pt x="22" y="114"/>
                  <a:pt x="22" y="114"/>
                </a:cubicBezTo>
                <a:cubicBezTo>
                  <a:pt x="21" y="112"/>
                  <a:pt x="20" y="111"/>
                  <a:pt x="19" y="110"/>
                </a:cubicBezTo>
                <a:cubicBezTo>
                  <a:pt x="19" y="110"/>
                  <a:pt x="19" y="110"/>
                  <a:pt x="19" y="110"/>
                </a:cubicBezTo>
                <a:cubicBezTo>
                  <a:pt x="13" y="113"/>
                  <a:pt x="13" y="113"/>
                  <a:pt x="13" y="113"/>
                </a:cubicBezTo>
                <a:cubicBezTo>
                  <a:pt x="12" y="111"/>
                  <a:pt x="11" y="109"/>
                  <a:pt x="10" y="108"/>
                </a:cubicBezTo>
                <a:cubicBezTo>
                  <a:pt x="15" y="104"/>
                  <a:pt x="15" y="104"/>
                  <a:pt x="15" y="104"/>
                </a:cubicBezTo>
                <a:cubicBezTo>
                  <a:pt x="15" y="103"/>
                  <a:pt x="15" y="103"/>
                  <a:pt x="15" y="103"/>
                </a:cubicBezTo>
                <a:cubicBezTo>
                  <a:pt x="14" y="102"/>
                  <a:pt x="13" y="101"/>
                  <a:pt x="13" y="99"/>
                </a:cubicBezTo>
                <a:cubicBezTo>
                  <a:pt x="12" y="99"/>
                  <a:pt x="12" y="99"/>
                  <a:pt x="12" y="99"/>
                </a:cubicBezTo>
                <a:cubicBezTo>
                  <a:pt x="6" y="101"/>
                  <a:pt x="6" y="101"/>
                  <a:pt x="6" y="101"/>
                </a:cubicBezTo>
                <a:cubicBezTo>
                  <a:pt x="5" y="99"/>
                  <a:pt x="5" y="97"/>
                  <a:pt x="4" y="95"/>
                </a:cubicBezTo>
                <a:cubicBezTo>
                  <a:pt x="10" y="92"/>
                  <a:pt x="10" y="92"/>
                  <a:pt x="10" y="92"/>
                </a:cubicBezTo>
                <a:cubicBezTo>
                  <a:pt x="10" y="92"/>
                  <a:pt x="10" y="92"/>
                  <a:pt x="10" y="92"/>
                </a:cubicBezTo>
                <a:cubicBezTo>
                  <a:pt x="9" y="90"/>
                  <a:pt x="9" y="89"/>
                  <a:pt x="8" y="88"/>
                </a:cubicBezTo>
                <a:cubicBezTo>
                  <a:pt x="8" y="87"/>
                  <a:pt x="8" y="87"/>
                  <a:pt x="8" y="87"/>
                </a:cubicBezTo>
                <a:cubicBezTo>
                  <a:pt x="2" y="88"/>
                  <a:pt x="2" y="88"/>
                  <a:pt x="2" y="88"/>
                </a:cubicBezTo>
                <a:cubicBezTo>
                  <a:pt x="1" y="86"/>
                  <a:pt x="1" y="84"/>
                  <a:pt x="1" y="82"/>
                </a:cubicBezTo>
                <a:cubicBezTo>
                  <a:pt x="7" y="80"/>
                  <a:pt x="7" y="80"/>
                  <a:pt x="7" y="80"/>
                </a:cubicBezTo>
                <a:cubicBezTo>
                  <a:pt x="7" y="80"/>
                  <a:pt x="7" y="80"/>
                  <a:pt x="7" y="80"/>
                </a:cubicBezTo>
                <a:cubicBezTo>
                  <a:pt x="6" y="78"/>
                  <a:pt x="6" y="77"/>
                  <a:pt x="6" y="75"/>
                </a:cubicBezTo>
                <a:cubicBezTo>
                  <a:pt x="6" y="75"/>
                  <a:pt x="6" y="75"/>
                  <a:pt x="6" y="75"/>
                </a:cubicBezTo>
                <a:cubicBezTo>
                  <a:pt x="0" y="74"/>
                  <a:pt x="0" y="74"/>
                  <a:pt x="0" y="74"/>
                </a:cubicBezTo>
                <a:cubicBezTo>
                  <a:pt x="0" y="73"/>
                  <a:pt x="0" y="72"/>
                  <a:pt x="0" y="71"/>
                </a:cubicBezTo>
                <a:cubicBezTo>
                  <a:pt x="0" y="70"/>
                  <a:pt x="0" y="69"/>
                  <a:pt x="0" y="68"/>
                </a:cubicBezTo>
                <a:cubicBezTo>
                  <a:pt x="6" y="67"/>
                  <a:pt x="6" y="67"/>
                  <a:pt x="6" y="67"/>
                </a:cubicBezTo>
                <a:cubicBezTo>
                  <a:pt x="6" y="67"/>
                  <a:pt x="6" y="67"/>
                  <a:pt x="6" y="67"/>
                </a:cubicBezTo>
                <a:cubicBezTo>
                  <a:pt x="6" y="65"/>
                  <a:pt x="6" y="64"/>
                  <a:pt x="7" y="62"/>
                </a:cubicBezTo>
                <a:cubicBezTo>
                  <a:pt x="7" y="62"/>
                  <a:pt x="7" y="62"/>
                  <a:pt x="7" y="62"/>
                </a:cubicBezTo>
                <a:cubicBezTo>
                  <a:pt x="1" y="60"/>
                  <a:pt x="1" y="60"/>
                  <a:pt x="1" y="60"/>
                </a:cubicBezTo>
                <a:cubicBezTo>
                  <a:pt x="1" y="58"/>
                  <a:pt x="1" y="56"/>
                  <a:pt x="2" y="54"/>
                </a:cubicBezTo>
                <a:cubicBezTo>
                  <a:pt x="8" y="55"/>
                  <a:pt x="8" y="55"/>
                  <a:pt x="8" y="55"/>
                </a:cubicBezTo>
                <a:cubicBezTo>
                  <a:pt x="8" y="54"/>
                  <a:pt x="8" y="54"/>
                  <a:pt x="8" y="54"/>
                </a:cubicBezTo>
                <a:cubicBezTo>
                  <a:pt x="9" y="53"/>
                  <a:pt x="9" y="52"/>
                  <a:pt x="10" y="50"/>
                </a:cubicBezTo>
                <a:cubicBezTo>
                  <a:pt x="10" y="50"/>
                  <a:pt x="10" y="50"/>
                  <a:pt x="10" y="50"/>
                </a:cubicBezTo>
                <a:cubicBezTo>
                  <a:pt x="4" y="47"/>
                  <a:pt x="4" y="47"/>
                  <a:pt x="4" y="47"/>
                </a:cubicBezTo>
                <a:cubicBezTo>
                  <a:pt x="5" y="45"/>
                  <a:pt x="5" y="43"/>
                  <a:pt x="6" y="41"/>
                </a:cubicBezTo>
                <a:cubicBezTo>
                  <a:pt x="12" y="43"/>
                  <a:pt x="12" y="43"/>
                  <a:pt x="12" y="43"/>
                </a:cubicBezTo>
                <a:cubicBezTo>
                  <a:pt x="13" y="43"/>
                  <a:pt x="13" y="43"/>
                  <a:pt x="13" y="43"/>
                </a:cubicBezTo>
                <a:cubicBezTo>
                  <a:pt x="13" y="41"/>
                  <a:pt x="14" y="40"/>
                  <a:pt x="15" y="39"/>
                </a:cubicBezTo>
                <a:cubicBezTo>
                  <a:pt x="15" y="38"/>
                  <a:pt x="15" y="38"/>
                  <a:pt x="15" y="38"/>
                </a:cubicBezTo>
                <a:cubicBezTo>
                  <a:pt x="10" y="34"/>
                  <a:pt x="10" y="34"/>
                  <a:pt x="10" y="34"/>
                </a:cubicBezTo>
                <a:cubicBezTo>
                  <a:pt x="11" y="33"/>
                  <a:pt x="12" y="31"/>
                  <a:pt x="13" y="29"/>
                </a:cubicBezTo>
                <a:cubicBezTo>
                  <a:pt x="19" y="32"/>
                  <a:pt x="19" y="32"/>
                  <a:pt x="19" y="32"/>
                </a:cubicBezTo>
                <a:cubicBezTo>
                  <a:pt x="19" y="32"/>
                  <a:pt x="19" y="32"/>
                  <a:pt x="19" y="32"/>
                </a:cubicBezTo>
                <a:cubicBezTo>
                  <a:pt x="20" y="31"/>
                  <a:pt x="21" y="30"/>
                  <a:pt x="22" y="29"/>
                </a:cubicBezTo>
                <a:cubicBezTo>
                  <a:pt x="22" y="28"/>
                  <a:pt x="22" y="28"/>
                  <a:pt x="22" y="28"/>
                </a:cubicBezTo>
                <a:cubicBezTo>
                  <a:pt x="18" y="23"/>
                  <a:pt x="18" y="23"/>
                  <a:pt x="18" y="23"/>
                </a:cubicBezTo>
                <a:cubicBezTo>
                  <a:pt x="20" y="22"/>
                  <a:pt x="21" y="20"/>
                  <a:pt x="23" y="19"/>
                </a:cubicBezTo>
                <a:cubicBezTo>
                  <a:pt x="28" y="23"/>
                  <a:pt x="28" y="23"/>
                  <a:pt x="28" y="23"/>
                </a:cubicBezTo>
                <a:cubicBezTo>
                  <a:pt x="28" y="23"/>
                  <a:pt x="28" y="23"/>
                  <a:pt x="28" y="23"/>
                </a:cubicBezTo>
                <a:cubicBezTo>
                  <a:pt x="29" y="22"/>
                  <a:pt x="30" y="21"/>
                  <a:pt x="31" y="20"/>
                </a:cubicBezTo>
                <a:cubicBezTo>
                  <a:pt x="32" y="20"/>
                  <a:pt x="32" y="20"/>
                  <a:pt x="32" y="20"/>
                </a:cubicBezTo>
                <a:cubicBezTo>
                  <a:pt x="29" y="14"/>
                  <a:pt x="29" y="14"/>
                  <a:pt x="29" y="14"/>
                </a:cubicBezTo>
                <a:cubicBezTo>
                  <a:pt x="30" y="13"/>
                  <a:pt x="32" y="12"/>
                  <a:pt x="34" y="11"/>
                </a:cubicBezTo>
                <a:cubicBezTo>
                  <a:pt x="38" y="16"/>
                  <a:pt x="38" y="16"/>
                  <a:pt x="38" y="16"/>
                </a:cubicBezTo>
                <a:cubicBezTo>
                  <a:pt x="38" y="15"/>
                  <a:pt x="38" y="15"/>
                  <a:pt x="38" y="15"/>
                </a:cubicBezTo>
                <a:cubicBezTo>
                  <a:pt x="39" y="15"/>
                  <a:pt x="41" y="14"/>
                  <a:pt x="42" y="13"/>
                </a:cubicBezTo>
                <a:cubicBezTo>
                  <a:pt x="42" y="13"/>
                  <a:pt x="42" y="13"/>
                  <a:pt x="42" y="13"/>
                </a:cubicBezTo>
                <a:cubicBezTo>
                  <a:pt x="41" y="7"/>
                  <a:pt x="41" y="7"/>
                  <a:pt x="41" y="7"/>
                </a:cubicBezTo>
                <a:cubicBezTo>
                  <a:pt x="42" y="6"/>
                  <a:pt x="44" y="5"/>
                  <a:pt x="46" y="5"/>
                </a:cubicBezTo>
                <a:cubicBezTo>
                  <a:pt x="49" y="10"/>
                  <a:pt x="49" y="10"/>
                  <a:pt x="49" y="10"/>
                </a:cubicBezTo>
                <a:cubicBezTo>
                  <a:pt x="50" y="10"/>
                  <a:pt x="50" y="10"/>
                  <a:pt x="50" y="10"/>
                </a:cubicBezTo>
                <a:cubicBezTo>
                  <a:pt x="51" y="10"/>
                  <a:pt x="52" y="9"/>
                  <a:pt x="54" y="9"/>
                </a:cubicBezTo>
                <a:cubicBezTo>
                  <a:pt x="54" y="9"/>
                  <a:pt x="54" y="9"/>
                  <a:pt x="54" y="9"/>
                </a:cubicBezTo>
                <a:cubicBezTo>
                  <a:pt x="54" y="2"/>
                  <a:pt x="54" y="2"/>
                  <a:pt x="54" y="2"/>
                </a:cubicBezTo>
                <a:cubicBezTo>
                  <a:pt x="56" y="2"/>
                  <a:pt x="58" y="1"/>
                  <a:pt x="60" y="1"/>
                </a:cubicBezTo>
                <a:cubicBezTo>
                  <a:pt x="61" y="7"/>
                  <a:pt x="61" y="7"/>
                  <a:pt x="61" y="7"/>
                </a:cubicBezTo>
                <a:cubicBezTo>
                  <a:pt x="62" y="7"/>
                  <a:pt x="62" y="7"/>
                  <a:pt x="62" y="7"/>
                </a:cubicBezTo>
                <a:cubicBezTo>
                  <a:pt x="63" y="7"/>
                  <a:pt x="65" y="7"/>
                  <a:pt x="66" y="7"/>
                </a:cubicBezTo>
                <a:cubicBezTo>
                  <a:pt x="67" y="7"/>
                  <a:pt x="67" y="7"/>
                  <a:pt x="67" y="7"/>
                </a:cubicBezTo>
                <a:cubicBezTo>
                  <a:pt x="67" y="0"/>
                  <a:pt x="67" y="0"/>
                  <a:pt x="67" y="0"/>
                </a:cubicBezTo>
                <a:cubicBezTo>
                  <a:pt x="68" y="0"/>
                  <a:pt x="69" y="0"/>
                  <a:pt x="70" y="0"/>
                </a:cubicBezTo>
                <a:cubicBezTo>
                  <a:pt x="71" y="0"/>
                  <a:pt x="72" y="0"/>
                  <a:pt x="73" y="0"/>
                </a:cubicBezTo>
                <a:cubicBezTo>
                  <a:pt x="74" y="7"/>
                  <a:pt x="74" y="7"/>
                  <a:pt x="74" y="7"/>
                </a:cubicBezTo>
                <a:cubicBezTo>
                  <a:pt x="74" y="7"/>
                  <a:pt x="74" y="7"/>
                  <a:pt x="74" y="7"/>
                </a:cubicBezTo>
                <a:cubicBezTo>
                  <a:pt x="76" y="7"/>
                  <a:pt x="77" y="7"/>
                  <a:pt x="79" y="7"/>
                </a:cubicBezTo>
                <a:cubicBezTo>
                  <a:pt x="79" y="7"/>
                  <a:pt x="79" y="7"/>
                  <a:pt x="79" y="7"/>
                </a:cubicBezTo>
                <a:cubicBezTo>
                  <a:pt x="81" y="1"/>
                  <a:pt x="81" y="1"/>
                  <a:pt x="81" y="1"/>
                </a:cubicBezTo>
                <a:cubicBezTo>
                  <a:pt x="83" y="1"/>
                  <a:pt x="85" y="2"/>
                  <a:pt x="87" y="2"/>
                </a:cubicBezTo>
                <a:cubicBezTo>
                  <a:pt x="87" y="9"/>
                  <a:pt x="87" y="9"/>
                  <a:pt x="87" y="9"/>
                </a:cubicBezTo>
                <a:cubicBezTo>
                  <a:pt x="87" y="9"/>
                  <a:pt x="87" y="9"/>
                  <a:pt x="87" y="9"/>
                </a:cubicBezTo>
                <a:cubicBezTo>
                  <a:pt x="88" y="9"/>
                  <a:pt x="90" y="10"/>
                  <a:pt x="91" y="10"/>
                </a:cubicBezTo>
                <a:cubicBezTo>
                  <a:pt x="92" y="10"/>
                  <a:pt x="92" y="10"/>
                  <a:pt x="92" y="10"/>
                </a:cubicBezTo>
                <a:cubicBezTo>
                  <a:pt x="95" y="5"/>
                  <a:pt x="95" y="5"/>
                  <a:pt x="95" y="5"/>
                </a:cubicBezTo>
                <a:cubicBezTo>
                  <a:pt x="96" y="5"/>
                  <a:pt x="98" y="6"/>
                  <a:pt x="100" y="7"/>
                </a:cubicBezTo>
                <a:cubicBezTo>
                  <a:pt x="98" y="13"/>
                  <a:pt x="98" y="13"/>
                  <a:pt x="98" y="13"/>
                </a:cubicBezTo>
                <a:cubicBezTo>
                  <a:pt x="99" y="13"/>
                  <a:pt x="99" y="13"/>
                  <a:pt x="99" y="13"/>
                </a:cubicBezTo>
                <a:cubicBezTo>
                  <a:pt x="100" y="14"/>
                  <a:pt x="101" y="15"/>
                  <a:pt x="103" y="15"/>
                </a:cubicBezTo>
                <a:cubicBezTo>
                  <a:pt x="103" y="16"/>
                  <a:pt x="103" y="16"/>
                  <a:pt x="103" y="16"/>
                </a:cubicBezTo>
                <a:cubicBezTo>
                  <a:pt x="107" y="11"/>
                  <a:pt x="107" y="11"/>
                  <a:pt x="107" y="11"/>
                </a:cubicBezTo>
                <a:cubicBezTo>
                  <a:pt x="109" y="12"/>
                  <a:pt x="111" y="13"/>
                  <a:pt x="112" y="14"/>
                </a:cubicBezTo>
                <a:cubicBezTo>
                  <a:pt x="109" y="20"/>
                  <a:pt x="109" y="20"/>
                  <a:pt x="109" y="20"/>
                </a:cubicBezTo>
                <a:cubicBezTo>
                  <a:pt x="109" y="20"/>
                  <a:pt x="109" y="20"/>
                  <a:pt x="109" y="20"/>
                </a:cubicBezTo>
                <a:cubicBezTo>
                  <a:pt x="111" y="21"/>
                  <a:pt x="112" y="22"/>
                  <a:pt x="113" y="23"/>
                </a:cubicBezTo>
                <a:cubicBezTo>
                  <a:pt x="113" y="23"/>
                  <a:pt x="113" y="23"/>
                  <a:pt x="113" y="23"/>
                </a:cubicBezTo>
                <a:cubicBezTo>
                  <a:pt x="118" y="19"/>
                  <a:pt x="118" y="19"/>
                  <a:pt x="118" y="19"/>
                </a:cubicBezTo>
                <a:cubicBezTo>
                  <a:pt x="120" y="20"/>
                  <a:pt x="121" y="22"/>
                  <a:pt x="122" y="23"/>
                </a:cubicBezTo>
                <a:cubicBezTo>
                  <a:pt x="118" y="28"/>
                  <a:pt x="118" y="28"/>
                  <a:pt x="118" y="28"/>
                </a:cubicBezTo>
                <a:cubicBezTo>
                  <a:pt x="119" y="29"/>
                  <a:pt x="119" y="29"/>
                  <a:pt x="119" y="29"/>
                </a:cubicBezTo>
                <a:cubicBezTo>
                  <a:pt x="120" y="30"/>
                  <a:pt x="121" y="31"/>
                  <a:pt x="121" y="32"/>
                </a:cubicBezTo>
                <a:cubicBezTo>
                  <a:pt x="122" y="32"/>
                  <a:pt x="122" y="32"/>
                  <a:pt x="122" y="32"/>
                </a:cubicBezTo>
                <a:cubicBezTo>
                  <a:pt x="127" y="29"/>
                  <a:pt x="127" y="29"/>
                  <a:pt x="127" y="29"/>
                </a:cubicBezTo>
                <a:cubicBezTo>
                  <a:pt x="129" y="31"/>
                  <a:pt x="130" y="33"/>
                  <a:pt x="131" y="34"/>
                </a:cubicBezTo>
                <a:cubicBezTo>
                  <a:pt x="126" y="38"/>
                  <a:pt x="126" y="38"/>
                  <a:pt x="126" y="38"/>
                </a:cubicBezTo>
                <a:cubicBezTo>
                  <a:pt x="126" y="39"/>
                  <a:pt x="126" y="39"/>
                  <a:pt x="126" y="39"/>
                </a:cubicBezTo>
                <a:cubicBezTo>
                  <a:pt x="127" y="40"/>
                  <a:pt x="128" y="41"/>
                  <a:pt x="128" y="43"/>
                </a:cubicBezTo>
                <a:cubicBezTo>
                  <a:pt x="128" y="43"/>
                  <a:pt x="128" y="43"/>
                  <a:pt x="128" y="43"/>
                </a:cubicBezTo>
                <a:cubicBezTo>
                  <a:pt x="134" y="41"/>
                  <a:pt x="134" y="41"/>
                  <a:pt x="134" y="41"/>
                </a:cubicBezTo>
                <a:cubicBezTo>
                  <a:pt x="135" y="43"/>
                  <a:pt x="136" y="45"/>
                  <a:pt x="137" y="47"/>
                </a:cubicBezTo>
                <a:cubicBezTo>
                  <a:pt x="131" y="50"/>
                  <a:pt x="131" y="50"/>
                  <a:pt x="131" y="50"/>
                </a:cubicBezTo>
                <a:cubicBezTo>
                  <a:pt x="131" y="50"/>
                  <a:pt x="131" y="50"/>
                  <a:pt x="131" y="50"/>
                </a:cubicBezTo>
                <a:cubicBezTo>
                  <a:pt x="132" y="52"/>
                  <a:pt x="132" y="53"/>
                  <a:pt x="133" y="54"/>
                </a:cubicBezTo>
                <a:cubicBezTo>
                  <a:pt x="133" y="55"/>
                  <a:pt x="133" y="55"/>
                  <a:pt x="133" y="55"/>
                </a:cubicBezTo>
                <a:cubicBezTo>
                  <a:pt x="139" y="54"/>
                  <a:pt x="139" y="54"/>
                  <a:pt x="139" y="54"/>
                </a:cubicBezTo>
                <a:cubicBezTo>
                  <a:pt x="140" y="56"/>
                  <a:pt x="140" y="58"/>
                  <a:pt x="140" y="60"/>
                </a:cubicBezTo>
                <a:cubicBezTo>
                  <a:pt x="134" y="62"/>
                  <a:pt x="134" y="62"/>
                  <a:pt x="134" y="62"/>
                </a:cubicBezTo>
                <a:cubicBezTo>
                  <a:pt x="134" y="62"/>
                  <a:pt x="134" y="62"/>
                  <a:pt x="134" y="62"/>
                </a:cubicBezTo>
                <a:cubicBezTo>
                  <a:pt x="134" y="64"/>
                  <a:pt x="134" y="65"/>
                  <a:pt x="135" y="67"/>
                </a:cubicBezTo>
                <a:cubicBezTo>
                  <a:pt x="135" y="67"/>
                  <a:pt x="135" y="67"/>
                  <a:pt x="135" y="67"/>
                </a:cubicBezTo>
                <a:cubicBezTo>
                  <a:pt x="141" y="68"/>
                  <a:pt x="141" y="68"/>
                  <a:pt x="141" y="68"/>
                </a:cubicBezTo>
                <a:cubicBezTo>
                  <a:pt x="141" y="69"/>
                  <a:pt x="141" y="70"/>
                  <a:pt x="141" y="71"/>
                </a:cubicBezTo>
                <a:cubicBezTo>
                  <a:pt x="141" y="72"/>
                  <a:pt x="141" y="73"/>
                  <a:pt x="141" y="74"/>
                </a:cubicBezTo>
                <a:cubicBezTo>
                  <a:pt x="135" y="75"/>
                  <a:pt x="135" y="75"/>
                  <a:pt x="135" y="75"/>
                </a:cubicBezTo>
                <a:cubicBezTo>
                  <a:pt x="135" y="75"/>
                  <a:pt x="135" y="75"/>
                  <a:pt x="135" y="75"/>
                </a:cubicBezTo>
                <a:cubicBezTo>
                  <a:pt x="134" y="77"/>
                  <a:pt x="134" y="78"/>
                  <a:pt x="134" y="80"/>
                </a:cubicBezTo>
                <a:cubicBezTo>
                  <a:pt x="134" y="80"/>
                  <a:pt x="134" y="80"/>
                  <a:pt x="134" y="80"/>
                </a:cubicBezTo>
                <a:cubicBezTo>
                  <a:pt x="140" y="82"/>
                  <a:pt x="140" y="82"/>
                  <a:pt x="140" y="82"/>
                </a:cubicBezTo>
                <a:cubicBezTo>
                  <a:pt x="140" y="84"/>
                  <a:pt x="140" y="86"/>
                  <a:pt x="139" y="88"/>
                </a:cubicBezTo>
                <a:cubicBezTo>
                  <a:pt x="133" y="87"/>
                  <a:pt x="133" y="87"/>
                  <a:pt x="133" y="87"/>
                </a:cubicBezTo>
                <a:cubicBezTo>
                  <a:pt x="133" y="88"/>
                  <a:pt x="133" y="88"/>
                  <a:pt x="133" y="88"/>
                </a:cubicBezTo>
                <a:cubicBezTo>
                  <a:pt x="132" y="89"/>
                  <a:pt x="132" y="90"/>
                  <a:pt x="131" y="92"/>
                </a:cubicBezTo>
                <a:cubicBezTo>
                  <a:pt x="131" y="92"/>
                  <a:pt x="131" y="92"/>
                  <a:pt x="131" y="92"/>
                </a:cubicBezTo>
                <a:cubicBezTo>
                  <a:pt x="137" y="95"/>
                  <a:pt x="137" y="95"/>
                  <a:pt x="137" y="95"/>
                </a:cubicBezTo>
                <a:cubicBezTo>
                  <a:pt x="136" y="97"/>
                  <a:pt x="135" y="99"/>
                  <a:pt x="134" y="101"/>
                </a:cubicBezTo>
                <a:cubicBezTo>
                  <a:pt x="128" y="99"/>
                  <a:pt x="128" y="99"/>
                  <a:pt x="128" y="99"/>
                </a:cubicBezTo>
                <a:cubicBezTo>
                  <a:pt x="128" y="99"/>
                  <a:pt x="128" y="99"/>
                  <a:pt x="128" y="99"/>
                </a:cubicBezTo>
                <a:cubicBezTo>
                  <a:pt x="128" y="101"/>
                  <a:pt x="127" y="102"/>
                  <a:pt x="126" y="103"/>
                </a:cubicBezTo>
                <a:cubicBezTo>
                  <a:pt x="126" y="104"/>
                  <a:pt x="126" y="104"/>
                  <a:pt x="126" y="104"/>
                </a:cubicBezTo>
                <a:cubicBezTo>
                  <a:pt x="131" y="108"/>
                  <a:pt x="131" y="108"/>
                  <a:pt x="131" y="108"/>
                </a:cubicBezTo>
                <a:cubicBezTo>
                  <a:pt x="130" y="109"/>
                  <a:pt x="129" y="111"/>
                  <a:pt x="127" y="113"/>
                </a:cubicBezTo>
                <a:cubicBezTo>
                  <a:pt x="122" y="110"/>
                  <a:pt x="122" y="110"/>
                  <a:pt x="122" y="110"/>
                </a:cubicBezTo>
                <a:cubicBezTo>
                  <a:pt x="121" y="110"/>
                  <a:pt x="121" y="110"/>
                  <a:pt x="121" y="110"/>
                </a:cubicBezTo>
                <a:cubicBezTo>
                  <a:pt x="121" y="111"/>
                  <a:pt x="120" y="112"/>
                  <a:pt x="119" y="114"/>
                </a:cubicBezTo>
                <a:cubicBezTo>
                  <a:pt x="118" y="114"/>
                  <a:pt x="118" y="114"/>
                  <a:pt x="118" y="114"/>
                </a:cubicBezTo>
                <a:cubicBezTo>
                  <a:pt x="122" y="119"/>
                  <a:pt x="122" y="119"/>
                  <a:pt x="122" y="119"/>
                </a:cubicBezTo>
                <a:cubicBezTo>
                  <a:pt x="121" y="120"/>
                  <a:pt x="120" y="122"/>
                  <a:pt x="118" y="123"/>
                </a:cubicBezTo>
                <a:cubicBezTo>
                  <a:pt x="113" y="119"/>
                  <a:pt x="113" y="119"/>
                  <a:pt x="113" y="119"/>
                </a:cubicBezTo>
                <a:cubicBezTo>
                  <a:pt x="113" y="119"/>
                  <a:pt x="113" y="119"/>
                  <a:pt x="113" y="119"/>
                </a:cubicBezTo>
                <a:cubicBezTo>
                  <a:pt x="112" y="120"/>
                  <a:pt x="111" y="121"/>
                  <a:pt x="109" y="122"/>
                </a:cubicBezTo>
                <a:cubicBezTo>
                  <a:pt x="109" y="122"/>
                  <a:pt x="109" y="122"/>
                  <a:pt x="109" y="122"/>
                </a:cubicBezTo>
                <a:cubicBezTo>
                  <a:pt x="112" y="128"/>
                  <a:pt x="112" y="128"/>
                  <a:pt x="112" y="128"/>
                </a:cubicBezTo>
                <a:cubicBezTo>
                  <a:pt x="111" y="129"/>
                  <a:pt x="109" y="130"/>
                  <a:pt x="107" y="131"/>
                </a:cubicBezTo>
                <a:cubicBezTo>
                  <a:pt x="103" y="126"/>
                  <a:pt x="103" y="126"/>
                  <a:pt x="103" y="126"/>
                </a:cubicBezTo>
                <a:cubicBezTo>
                  <a:pt x="103" y="127"/>
                  <a:pt x="103" y="127"/>
                  <a:pt x="103" y="127"/>
                </a:cubicBezTo>
                <a:cubicBezTo>
                  <a:pt x="101" y="127"/>
                  <a:pt x="100" y="128"/>
                  <a:pt x="99" y="129"/>
                </a:cubicBezTo>
                <a:cubicBezTo>
                  <a:pt x="98" y="129"/>
                  <a:pt x="98" y="129"/>
                  <a:pt x="98" y="129"/>
                </a:cubicBezTo>
                <a:cubicBezTo>
                  <a:pt x="100" y="135"/>
                  <a:pt x="100" y="135"/>
                  <a:pt x="100" y="135"/>
                </a:cubicBezTo>
                <a:cubicBezTo>
                  <a:pt x="98" y="136"/>
                  <a:pt x="96" y="137"/>
                  <a:pt x="95" y="137"/>
                </a:cubicBezTo>
                <a:cubicBezTo>
                  <a:pt x="92" y="132"/>
                  <a:pt x="92" y="132"/>
                  <a:pt x="92" y="132"/>
                </a:cubicBezTo>
                <a:cubicBezTo>
                  <a:pt x="91" y="132"/>
                  <a:pt x="91" y="132"/>
                  <a:pt x="91" y="132"/>
                </a:cubicBezTo>
                <a:cubicBezTo>
                  <a:pt x="90" y="132"/>
                  <a:pt x="88" y="133"/>
                  <a:pt x="87" y="133"/>
                </a:cubicBezTo>
                <a:cubicBezTo>
                  <a:pt x="87" y="133"/>
                  <a:pt x="87" y="133"/>
                  <a:pt x="87" y="133"/>
                </a:cubicBezTo>
                <a:cubicBezTo>
                  <a:pt x="87" y="140"/>
                  <a:pt x="87" y="140"/>
                  <a:pt x="87" y="140"/>
                </a:cubicBezTo>
                <a:cubicBezTo>
                  <a:pt x="85" y="140"/>
                  <a:pt x="83" y="141"/>
                  <a:pt x="81" y="141"/>
                </a:cubicBezTo>
                <a:cubicBezTo>
                  <a:pt x="79" y="135"/>
                  <a:pt x="79" y="135"/>
                  <a:pt x="79" y="135"/>
                </a:cubicBezTo>
                <a:cubicBezTo>
                  <a:pt x="79" y="135"/>
                  <a:pt x="79" y="135"/>
                  <a:pt x="79" y="135"/>
                </a:cubicBezTo>
                <a:cubicBezTo>
                  <a:pt x="77" y="135"/>
                  <a:pt x="76" y="135"/>
                  <a:pt x="74" y="135"/>
                </a:cubicBezTo>
                <a:cubicBezTo>
                  <a:pt x="74" y="135"/>
                  <a:pt x="74" y="135"/>
                  <a:pt x="74" y="135"/>
                </a:cubicBezTo>
                <a:cubicBezTo>
                  <a:pt x="73" y="142"/>
                  <a:pt x="73" y="142"/>
                  <a:pt x="73" y="142"/>
                </a:cubicBezTo>
                <a:cubicBezTo>
                  <a:pt x="72" y="142"/>
                  <a:pt x="71" y="142"/>
                  <a:pt x="70" y="142"/>
                </a:cubicBezTo>
                <a:close/>
              </a:path>
            </a:pathLst>
          </a:custGeom>
          <a:solidFill>
            <a:srgbClr val="E2583D"/>
          </a:solidFill>
          <a:ln>
            <a:noFill/>
          </a:ln>
          <a:effectLst>
            <a:outerShdw blurRad="50800" dist="38100" dir="5400000" algn="t" rotWithShape="0">
              <a:prstClr val="black">
                <a:alpha val="40000"/>
              </a:prstClr>
            </a:outerShdw>
          </a:effec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217" name="Freeform 216"/>
          <p:cNvSpPr>
            <a:spLocks/>
          </p:cNvSpPr>
          <p:nvPr/>
        </p:nvSpPr>
        <p:spPr bwMode="auto">
          <a:xfrm>
            <a:off x="5406258" y="1300713"/>
            <a:ext cx="1341130" cy="1350533"/>
          </a:xfrm>
          <a:custGeom>
            <a:avLst/>
            <a:gdLst>
              <a:gd name="T0" fmla="*/ 66 w 141"/>
              <a:gd name="T1" fmla="*/ 135 h 142"/>
              <a:gd name="T2" fmla="*/ 54 w 141"/>
              <a:gd name="T3" fmla="*/ 140 h 142"/>
              <a:gd name="T4" fmla="*/ 49 w 141"/>
              <a:gd name="T5" fmla="*/ 132 h 142"/>
              <a:gd name="T6" fmla="*/ 42 w 141"/>
              <a:gd name="T7" fmla="*/ 129 h 142"/>
              <a:gd name="T8" fmla="*/ 29 w 141"/>
              <a:gd name="T9" fmla="*/ 128 h 142"/>
              <a:gd name="T10" fmla="*/ 28 w 141"/>
              <a:gd name="T11" fmla="*/ 119 h 142"/>
              <a:gd name="T12" fmla="*/ 22 w 141"/>
              <a:gd name="T13" fmla="*/ 114 h 142"/>
              <a:gd name="T14" fmla="*/ 10 w 141"/>
              <a:gd name="T15" fmla="*/ 108 h 142"/>
              <a:gd name="T16" fmla="*/ 12 w 141"/>
              <a:gd name="T17" fmla="*/ 99 h 142"/>
              <a:gd name="T18" fmla="*/ 10 w 141"/>
              <a:gd name="T19" fmla="*/ 92 h 142"/>
              <a:gd name="T20" fmla="*/ 1 w 141"/>
              <a:gd name="T21" fmla="*/ 82 h 142"/>
              <a:gd name="T22" fmla="*/ 6 w 141"/>
              <a:gd name="T23" fmla="*/ 75 h 142"/>
              <a:gd name="T24" fmla="*/ 6 w 141"/>
              <a:gd name="T25" fmla="*/ 67 h 142"/>
              <a:gd name="T26" fmla="*/ 1 w 141"/>
              <a:gd name="T27" fmla="*/ 60 h 142"/>
              <a:gd name="T28" fmla="*/ 10 w 141"/>
              <a:gd name="T29" fmla="*/ 50 h 142"/>
              <a:gd name="T30" fmla="*/ 12 w 141"/>
              <a:gd name="T31" fmla="*/ 43 h 142"/>
              <a:gd name="T32" fmla="*/ 10 w 141"/>
              <a:gd name="T33" fmla="*/ 34 h 142"/>
              <a:gd name="T34" fmla="*/ 22 w 141"/>
              <a:gd name="T35" fmla="*/ 29 h 142"/>
              <a:gd name="T36" fmla="*/ 28 w 141"/>
              <a:gd name="T37" fmla="*/ 23 h 142"/>
              <a:gd name="T38" fmla="*/ 29 w 141"/>
              <a:gd name="T39" fmla="*/ 14 h 142"/>
              <a:gd name="T40" fmla="*/ 42 w 141"/>
              <a:gd name="T41" fmla="*/ 13 h 142"/>
              <a:gd name="T42" fmla="*/ 49 w 141"/>
              <a:gd name="T43" fmla="*/ 10 h 142"/>
              <a:gd name="T44" fmla="*/ 54 w 141"/>
              <a:gd name="T45" fmla="*/ 2 h 142"/>
              <a:gd name="T46" fmla="*/ 66 w 141"/>
              <a:gd name="T47" fmla="*/ 7 h 142"/>
              <a:gd name="T48" fmla="*/ 73 w 141"/>
              <a:gd name="T49" fmla="*/ 0 h 142"/>
              <a:gd name="T50" fmla="*/ 79 w 141"/>
              <a:gd name="T51" fmla="*/ 7 h 142"/>
              <a:gd name="T52" fmla="*/ 87 w 141"/>
              <a:gd name="T53" fmla="*/ 9 h 142"/>
              <a:gd name="T54" fmla="*/ 100 w 141"/>
              <a:gd name="T55" fmla="*/ 7 h 142"/>
              <a:gd name="T56" fmla="*/ 103 w 141"/>
              <a:gd name="T57" fmla="*/ 16 h 142"/>
              <a:gd name="T58" fmla="*/ 109 w 141"/>
              <a:gd name="T59" fmla="*/ 20 h 142"/>
              <a:gd name="T60" fmla="*/ 122 w 141"/>
              <a:gd name="T61" fmla="*/ 23 h 142"/>
              <a:gd name="T62" fmla="*/ 122 w 141"/>
              <a:gd name="T63" fmla="*/ 32 h 142"/>
              <a:gd name="T64" fmla="*/ 126 w 141"/>
              <a:gd name="T65" fmla="*/ 39 h 142"/>
              <a:gd name="T66" fmla="*/ 137 w 141"/>
              <a:gd name="T67" fmla="*/ 47 h 142"/>
              <a:gd name="T68" fmla="*/ 133 w 141"/>
              <a:gd name="T69" fmla="*/ 55 h 142"/>
              <a:gd name="T70" fmla="*/ 134 w 141"/>
              <a:gd name="T71" fmla="*/ 62 h 142"/>
              <a:gd name="T72" fmla="*/ 141 w 141"/>
              <a:gd name="T73" fmla="*/ 71 h 142"/>
              <a:gd name="T74" fmla="*/ 134 w 141"/>
              <a:gd name="T75" fmla="*/ 80 h 142"/>
              <a:gd name="T76" fmla="*/ 133 w 141"/>
              <a:gd name="T77" fmla="*/ 87 h 142"/>
              <a:gd name="T78" fmla="*/ 137 w 141"/>
              <a:gd name="T79" fmla="*/ 95 h 142"/>
              <a:gd name="T80" fmla="*/ 126 w 141"/>
              <a:gd name="T81" fmla="*/ 103 h 142"/>
              <a:gd name="T82" fmla="*/ 122 w 141"/>
              <a:gd name="T83" fmla="*/ 110 h 142"/>
              <a:gd name="T84" fmla="*/ 122 w 141"/>
              <a:gd name="T85" fmla="*/ 119 h 142"/>
              <a:gd name="T86" fmla="*/ 109 w 141"/>
              <a:gd name="T87" fmla="*/ 122 h 142"/>
              <a:gd name="T88" fmla="*/ 103 w 141"/>
              <a:gd name="T89" fmla="*/ 126 h 142"/>
              <a:gd name="T90" fmla="*/ 100 w 141"/>
              <a:gd name="T91" fmla="*/ 135 h 142"/>
              <a:gd name="T92" fmla="*/ 87 w 141"/>
              <a:gd name="T93" fmla="*/ 133 h 142"/>
              <a:gd name="T94" fmla="*/ 79 w 141"/>
              <a:gd name="T95" fmla="*/ 135 h 142"/>
              <a:gd name="T96" fmla="*/ 73 w 141"/>
              <a:gd name="T97" fmla="*/ 142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41" h="142">
                <a:moveTo>
                  <a:pt x="70" y="142"/>
                </a:moveTo>
                <a:cubicBezTo>
                  <a:pt x="69" y="142"/>
                  <a:pt x="68" y="142"/>
                  <a:pt x="67" y="142"/>
                </a:cubicBezTo>
                <a:cubicBezTo>
                  <a:pt x="67" y="135"/>
                  <a:pt x="67" y="135"/>
                  <a:pt x="67" y="135"/>
                </a:cubicBezTo>
                <a:cubicBezTo>
                  <a:pt x="66" y="135"/>
                  <a:pt x="66" y="135"/>
                  <a:pt x="66" y="135"/>
                </a:cubicBezTo>
                <a:cubicBezTo>
                  <a:pt x="65" y="135"/>
                  <a:pt x="63" y="135"/>
                  <a:pt x="62" y="135"/>
                </a:cubicBezTo>
                <a:cubicBezTo>
                  <a:pt x="61" y="135"/>
                  <a:pt x="61" y="135"/>
                  <a:pt x="61" y="135"/>
                </a:cubicBezTo>
                <a:cubicBezTo>
                  <a:pt x="60" y="141"/>
                  <a:pt x="60" y="141"/>
                  <a:pt x="60" y="141"/>
                </a:cubicBezTo>
                <a:cubicBezTo>
                  <a:pt x="58" y="141"/>
                  <a:pt x="56" y="140"/>
                  <a:pt x="54" y="140"/>
                </a:cubicBezTo>
                <a:cubicBezTo>
                  <a:pt x="54" y="133"/>
                  <a:pt x="54" y="133"/>
                  <a:pt x="54" y="133"/>
                </a:cubicBezTo>
                <a:cubicBezTo>
                  <a:pt x="54" y="133"/>
                  <a:pt x="54" y="133"/>
                  <a:pt x="54" y="133"/>
                </a:cubicBezTo>
                <a:cubicBezTo>
                  <a:pt x="52" y="133"/>
                  <a:pt x="51" y="132"/>
                  <a:pt x="50" y="132"/>
                </a:cubicBezTo>
                <a:cubicBezTo>
                  <a:pt x="49" y="132"/>
                  <a:pt x="49" y="132"/>
                  <a:pt x="49" y="132"/>
                </a:cubicBezTo>
                <a:cubicBezTo>
                  <a:pt x="46" y="137"/>
                  <a:pt x="46" y="137"/>
                  <a:pt x="46" y="137"/>
                </a:cubicBezTo>
                <a:cubicBezTo>
                  <a:pt x="44" y="137"/>
                  <a:pt x="42" y="136"/>
                  <a:pt x="41" y="135"/>
                </a:cubicBezTo>
                <a:cubicBezTo>
                  <a:pt x="42" y="129"/>
                  <a:pt x="42" y="129"/>
                  <a:pt x="42" y="129"/>
                </a:cubicBezTo>
                <a:cubicBezTo>
                  <a:pt x="42" y="129"/>
                  <a:pt x="42" y="129"/>
                  <a:pt x="42" y="129"/>
                </a:cubicBezTo>
                <a:cubicBezTo>
                  <a:pt x="41" y="128"/>
                  <a:pt x="39" y="127"/>
                  <a:pt x="38" y="127"/>
                </a:cubicBezTo>
                <a:cubicBezTo>
                  <a:pt x="38" y="126"/>
                  <a:pt x="38" y="126"/>
                  <a:pt x="38" y="126"/>
                </a:cubicBezTo>
                <a:cubicBezTo>
                  <a:pt x="34" y="131"/>
                  <a:pt x="34" y="131"/>
                  <a:pt x="34" y="131"/>
                </a:cubicBezTo>
                <a:cubicBezTo>
                  <a:pt x="32" y="130"/>
                  <a:pt x="30" y="129"/>
                  <a:pt x="29" y="128"/>
                </a:cubicBezTo>
                <a:cubicBezTo>
                  <a:pt x="32" y="122"/>
                  <a:pt x="32" y="122"/>
                  <a:pt x="32" y="122"/>
                </a:cubicBezTo>
                <a:cubicBezTo>
                  <a:pt x="31" y="122"/>
                  <a:pt x="31" y="122"/>
                  <a:pt x="31" y="122"/>
                </a:cubicBezTo>
                <a:cubicBezTo>
                  <a:pt x="30" y="121"/>
                  <a:pt x="29" y="120"/>
                  <a:pt x="28" y="119"/>
                </a:cubicBezTo>
                <a:cubicBezTo>
                  <a:pt x="28" y="119"/>
                  <a:pt x="28" y="119"/>
                  <a:pt x="28" y="119"/>
                </a:cubicBezTo>
                <a:cubicBezTo>
                  <a:pt x="23" y="123"/>
                  <a:pt x="23" y="123"/>
                  <a:pt x="23" y="123"/>
                </a:cubicBezTo>
                <a:cubicBezTo>
                  <a:pt x="21" y="122"/>
                  <a:pt x="20" y="120"/>
                  <a:pt x="18" y="119"/>
                </a:cubicBezTo>
                <a:cubicBezTo>
                  <a:pt x="22" y="114"/>
                  <a:pt x="22" y="114"/>
                  <a:pt x="22" y="114"/>
                </a:cubicBezTo>
                <a:cubicBezTo>
                  <a:pt x="22" y="114"/>
                  <a:pt x="22" y="114"/>
                  <a:pt x="22" y="114"/>
                </a:cubicBezTo>
                <a:cubicBezTo>
                  <a:pt x="21" y="112"/>
                  <a:pt x="20" y="111"/>
                  <a:pt x="19" y="110"/>
                </a:cubicBezTo>
                <a:cubicBezTo>
                  <a:pt x="19" y="110"/>
                  <a:pt x="19" y="110"/>
                  <a:pt x="19" y="110"/>
                </a:cubicBezTo>
                <a:cubicBezTo>
                  <a:pt x="13" y="113"/>
                  <a:pt x="13" y="113"/>
                  <a:pt x="13" y="113"/>
                </a:cubicBezTo>
                <a:cubicBezTo>
                  <a:pt x="12" y="111"/>
                  <a:pt x="11" y="109"/>
                  <a:pt x="10" y="108"/>
                </a:cubicBezTo>
                <a:cubicBezTo>
                  <a:pt x="15" y="104"/>
                  <a:pt x="15" y="104"/>
                  <a:pt x="15" y="104"/>
                </a:cubicBezTo>
                <a:cubicBezTo>
                  <a:pt x="15" y="103"/>
                  <a:pt x="15" y="103"/>
                  <a:pt x="15" y="103"/>
                </a:cubicBezTo>
                <a:cubicBezTo>
                  <a:pt x="14" y="102"/>
                  <a:pt x="13" y="101"/>
                  <a:pt x="13" y="99"/>
                </a:cubicBezTo>
                <a:cubicBezTo>
                  <a:pt x="12" y="99"/>
                  <a:pt x="12" y="99"/>
                  <a:pt x="12" y="99"/>
                </a:cubicBezTo>
                <a:cubicBezTo>
                  <a:pt x="6" y="101"/>
                  <a:pt x="6" y="101"/>
                  <a:pt x="6" y="101"/>
                </a:cubicBezTo>
                <a:cubicBezTo>
                  <a:pt x="5" y="99"/>
                  <a:pt x="5" y="97"/>
                  <a:pt x="4" y="95"/>
                </a:cubicBezTo>
                <a:cubicBezTo>
                  <a:pt x="10" y="92"/>
                  <a:pt x="10" y="92"/>
                  <a:pt x="10" y="92"/>
                </a:cubicBezTo>
                <a:cubicBezTo>
                  <a:pt x="10" y="92"/>
                  <a:pt x="10" y="92"/>
                  <a:pt x="10" y="92"/>
                </a:cubicBezTo>
                <a:cubicBezTo>
                  <a:pt x="9" y="90"/>
                  <a:pt x="9" y="89"/>
                  <a:pt x="8" y="88"/>
                </a:cubicBezTo>
                <a:cubicBezTo>
                  <a:pt x="8" y="87"/>
                  <a:pt x="8" y="87"/>
                  <a:pt x="8" y="87"/>
                </a:cubicBezTo>
                <a:cubicBezTo>
                  <a:pt x="2" y="88"/>
                  <a:pt x="2" y="88"/>
                  <a:pt x="2" y="88"/>
                </a:cubicBezTo>
                <a:cubicBezTo>
                  <a:pt x="1" y="86"/>
                  <a:pt x="1" y="84"/>
                  <a:pt x="1" y="82"/>
                </a:cubicBezTo>
                <a:cubicBezTo>
                  <a:pt x="7" y="80"/>
                  <a:pt x="7" y="80"/>
                  <a:pt x="7" y="80"/>
                </a:cubicBezTo>
                <a:cubicBezTo>
                  <a:pt x="7" y="80"/>
                  <a:pt x="7" y="80"/>
                  <a:pt x="7" y="80"/>
                </a:cubicBezTo>
                <a:cubicBezTo>
                  <a:pt x="6" y="78"/>
                  <a:pt x="6" y="77"/>
                  <a:pt x="6" y="75"/>
                </a:cubicBezTo>
                <a:cubicBezTo>
                  <a:pt x="6" y="75"/>
                  <a:pt x="6" y="75"/>
                  <a:pt x="6" y="75"/>
                </a:cubicBezTo>
                <a:cubicBezTo>
                  <a:pt x="0" y="74"/>
                  <a:pt x="0" y="74"/>
                  <a:pt x="0" y="74"/>
                </a:cubicBezTo>
                <a:cubicBezTo>
                  <a:pt x="0" y="73"/>
                  <a:pt x="0" y="72"/>
                  <a:pt x="0" y="71"/>
                </a:cubicBezTo>
                <a:cubicBezTo>
                  <a:pt x="0" y="70"/>
                  <a:pt x="0" y="69"/>
                  <a:pt x="0" y="68"/>
                </a:cubicBezTo>
                <a:cubicBezTo>
                  <a:pt x="6" y="67"/>
                  <a:pt x="6" y="67"/>
                  <a:pt x="6" y="67"/>
                </a:cubicBezTo>
                <a:cubicBezTo>
                  <a:pt x="6" y="67"/>
                  <a:pt x="6" y="67"/>
                  <a:pt x="6" y="67"/>
                </a:cubicBezTo>
                <a:cubicBezTo>
                  <a:pt x="6" y="65"/>
                  <a:pt x="6" y="64"/>
                  <a:pt x="7" y="62"/>
                </a:cubicBezTo>
                <a:cubicBezTo>
                  <a:pt x="7" y="62"/>
                  <a:pt x="7" y="62"/>
                  <a:pt x="7" y="62"/>
                </a:cubicBezTo>
                <a:cubicBezTo>
                  <a:pt x="1" y="60"/>
                  <a:pt x="1" y="60"/>
                  <a:pt x="1" y="60"/>
                </a:cubicBezTo>
                <a:cubicBezTo>
                  <a:pt x="1" y="58"/>
                  <a:pt x="1" y="56"/>
                  <a:pt x="2" y="54"/>
                </a:cubicBezTo>
                <a:cubicBezTo>
                  <a:pt x="8" y="55"/>
                  <a:pt x="8" y="55"/>
                  <a:pt x="8" y="55"/>
                </a:cubicBezTo>
                <a:cubicBezTo>
                  <a:pt x="8" y="54"/>
                  <a:pt x="8" y="54"/>
                  <a:pt x="8" y="54"/>
                </a:cubicBezTo>
                <a:cubicBezTo>
                  <a:pt x="9" y="53"/>
                  <a:pt x="9" y="52"/>
                  <a:pt x="10" y="50"/>
                </a:cubicBezTo>
                <a:cubicBezTo>
                  <a:pt x="10" y="50"/>
                  <a:pt x="10" y="50"/>
                  <a:pt x="10" y="50"/>
                </a:cubicBezTo>
                <a:cubicBezTo>
                  <a:pt x="4" y="47"/>
                  <a:pt x="4" y="47"/>
                  <a:pt x="4" y="47"/>
                </a:cubicBezTo>
                <a:cubicBezTo>
                  <a:pt x="5" y="45"/>
                  <a:pt x="5" y="43"/>
                  <a:pt x="6" y="41"/>
                </a:cubicBezTo>
                <a:cubicBezTo>
                  <a:pt x="12" y="43"/>
                  <a:pt x="12" y="43"/>
                  <a:pt x="12" y="43"/>
                </a:cubicBezTo>
                <a:cubicBezTo>
                  <a:pt x="13" y="43"/>
                  <a:pt x="13" y="43"/>
                  <a:pt x="13" y="43"/>
                </a:cubicBezTo>
                <a:cubicBezTo>
                  <a:pt x="13" y="41"/>
                  <a:pt x="14" y="40"/>
                  <a:pt x="15" y="39"/>
                </a:cubicBezTo>
                <a:cubicBezTo>
                  <a:pt x="15" y="38"/>
                  <a:pt x="15" y="38"/>
                  <a:pt x="15" y="38"/>
                </a:cubicBezTo>
                <a:cubicBezTo>
                  <a:pt x="10" y="34"/>
                  <a:pt x="10" y="34"/>
                  <a:pt x="10" y="34"/>
                </a:cubicBezTo>
                <a:cubicBezTo>
                  <a:pt x="11" y="33"/>
                  <a:pt x="12" y="31"/>
                  <a:pt x="13" y="29"/>
                </a:cubicBezTo>
                <a:cubicBezTo>
                  <a:pt x="19" y="32"/>
                  <a:pt x="19" y="32"/>
                  <a:pt x="19" y="32"/>
                </a:cubicBezTo>
                <a:cubicBezTo>
                  <a:pt x="19" y="32"/>
                  <a:pt x="19" y="32"/>
                  <a:pt x="19" y="32"/>
                </a:cubicBezTo>
                <a:cubicBezTo>
                  <a:pt x="20" y="31"/>
                  <a:pt x="21" y="30"/>
                  <a:pt x="22" y="29"/>
                </a:cubicBezTo>
                <a:cubicBezTo>
                  <a:pt x="22" y="28"/>
                  <a:pt x="22" y="28"/>
                  <a:pt x="22" y="28"/>
                </a:cubicBezTo>
                <a:cubicBezTo>
                  <a:pt x="18" y="23"/>
                  <a:pt x="18" y="23"/>
                  <a:pt x="18" y="23"/>
                </a:cubicBezTo>
                <a:cubicBezTo>
                  <a:pt x="20" y="22"/>
                  <a:pt x="21" y="20"/>
                  <a:pt x="23" y="19"/>
                </a:cubicBezTo>
                <a:cubicBezTo>
                  <a:pt x="28" y="23"/>
                  <a:pt x="28" y="23"/>
                  <a:pt x="28" y="23"/>
                </a:cubicBezTo>
                <a:cubicBezTo>
                  <a:pt x="28" y="23"/>
                  <a:pt x="28" y="23"/>
                  <a:pt x="28" y="23"/>
                </a:cubicBezTo>
                <a:cubicBezTo>
                  <a:pt x="29" y="22"/>
                  <a:pt x="30" y="21"/>
                  <a:pt x="31" y="20"/>
                </a:cubicBezTo>
                <a:cubicBezTo>
                  <a:pt x="32" y="20"/>
                  <a:pt x="32" y="20"/>
                  <a:pt x="32" y="20"/>
                </a:cubicBezTo>
                <a:cubicBezTo>
                  <a:pt x="29" y="14"/>
                  <a:pt x="29" y="14"/>
                  <a:pt x="29" y="14"/>
                </a:cubicBezTo>
                <a:cubicBezTo>
                  <a:pt x="30" y="13"/>
                  <a:pt x="32" y="12"/>
                  <a:pt x="34" y="11"/>
                </a:cubicBezTo>
                <a:cubicBezTo>
                  <a:pt x="38" y="16"/>
                  <a:pt x="38" y="16"/>
                  <a:pt x="38" y="16"/>
                </a:cubicBezTo>
                <a:cubicBezTo>
                  <a:pt x="38" y="15"/>
                  <a:pt x="38" y="15"/>
                  <a:pt x="38" y="15"/>
                </a:cubicBezTo>
                <a:cubicBezTo>
                  <a:pt x="39" y="15"/>
                  <a:pt x="41" y="14"/>
                  <a:pt x="42" y="13"/>
                </a:cubicBezTo>
                <a:cubicBezTo>
                  <a:pt x="42" y="13"/>
                  <a:pt x="42" y="13"/>
                  <a:pt x="42" y="13"/>
                </a:cubicBezTo>
                <a:cubicBezTo>
                  <a:pt x="41" y="7"/>
                  <a:pt x="41" y="7"/>
                  <a:pt x="41" y="7"/>
                </a:cubicBezTo>
                <a:cubicBezTo>
                  <a:pt x="42" y="6"/>
                  <a:pt x="44" y="5"/>
                  <a:pt x="46" y="5"/>
                </a:cubicBezTo>
                <a:cubicBezTo>
                  <a:pt x="49" y="10"/>
                  <a:pt x="49" y="10"/>
                  <a:pt x="49" y="10"/>
                </a:cubicBezTo>
                <a:cubicBezTo>
                  <a:pt x="50" y="10"/>
                  <a:pt x="50" y="10"/>
                  <a:pt x="50" y="10"/>
                </a:cubicBezTo>
                <a:cubicBezTo>
                  <a:pt x="51" y="10"/>
                  <a:pt x="52" y="9"/>
                  <a:pt x="54" y="9"/>
                </a:cubicBezTo>
                <a:cubicBezTo>
                  <a:pt x="54" y="9"/>
                  <a:pt x="54" y="9"/>
                  <a:pt x="54" y="9"/>
                </a:cubicBezTo>
                <a:cubicBezTo>
                  <a:pt x="54" y="2"/>
                  <a:pt x="54" y="2"/>
                  <a:pt x="54" y="2"/>
                </a:cubicBezTo>
                <a:cubicBezTo>
                  <a:pt x="56" y="2"/>
                  <a:pt x="58" y="1"/>
                  <a:pt x="60" y="1"/>
                </a:cubicBezTo>
                <a:cubicBezTo>
                  <a:pt x="61" y="7"/>
                  <a:pt x="61" y="7"/>
                  <a:pt x="61" y="7"/>
                </a:cubicBezTo>
                <a:cubicBezTo>
                  <a:pt x="62" y="7"/>
                  <a:pt x="62" y="7"/>
                  <a:pt x="62" y="7"/>
                </a:cubicBezTo>
                <a:cubicBezTo>
                  <a:pt x="63" y="7"/>
                  <a:pt x="65" y="7"/>
                  <a:pt x="66" y="7"/>
                </a:cubicBezTo>
                <a:cubicBezTo>
                  <a:pt x="67" y="7"/>
                  <a:pt x="67" y="7"/>
                  <a:pt x="67" y="7"/>
                </a:cubicBezTo>
                <a:cubicBezTo>
                  <a:pt x="67" y="0"/>
                  <a:pt x="67" y="0"/>
                  <a:pt x="67" y="0"/>
                </a:cubicBezTo>
                <a:cubicBezTo>
                  <a:pt x="68" y="0"/>
                  <a:pt x="69" y="0"/>
                  <a:pt x="70" y="0"/>
                </a:cubicBezTo>
                <a:cubicBezTo>
                  <a:pt x="71" y="0"/>
                  <a:pt x="72" y="0"/>
                  <a:pt x="73" y="0"/>
                </a:cubicBezTo>
                <a:cubicBezTo>
                  <a:pt x="74" y="7"/>
                  <a:pt x="74" y="7"/>
                  <a:pt x="74" y="7"/>
                </a:cubicBezTo>
                <a:cubicBezTo>
                  <a:pt x="74" y="7"/>
                  <a:pt x="74" y="7"/>
                  <a:pt x="74" y="7"/>
                </a:cubicBezTo>
                <a:cubicBezTo>
                  <a:pt x="76" y="7"/>
                  <a:pt x="77" y="7"/>
                  <a:pt x="79" y="7"/>
                </a:cubicBezTo>
                <a:cubicBezTo>
                  <a:pt x="79" y="7"/>
                  <a:pt x="79" y="7"/>
                  <a:pt x="79" y="7"/>
                </a:cubicBezTo>
                <a:cubicBezTo>
                  <a:pt x="81" y="1"/>
                  <a:pt x="81" y="1"/>
                  <a:pt x="81" y="1"/>
                </a:cubicBezTo>
                <a:cubicBezTo>
                  <a:pt x="83" y="1"/>
                  <a:pt x="85" y="2"/>
                  <a:pt x="87" y="2"/>
                </a:cubicBezTo>
                <a:cubicBezTo>
                  <a:pt x="87" y="9"/>
                  <a:pt x="87" y="9"/>
                  <a:pt x="87" y="9"/>
                </a:cubicBezTo>
                <a:cubicBezTo>
                  <a:pt x="87" y="9"/>
                  <a:pt x="87" y="9"/>
                  <a:pt x="87" y="9"/>
                </a:cubicBezTo>
                <a:cubicBezTo>
                  <a:pt x="88" y="9"/>
                  <a:pt x="90" y="10"/>
                  <a:pt x="91" y="10"/>
                </a:cubicBezTo>
                <a:cubicBezTo>
                  <a:pt x="92" y="10"/>
                  <a:pt x="92" y="10"/>
                  <a:pt x="92" y="10"/>
                </a:cubicBezTo>
                <a:cubicBezTo>
                  <a:pt x="95" y="5"/>
                  <a:pt x="95" y="5"/>
                  <a:pt x="95" y="5"/>
                </a:cubicBezTo>
                <a:cubicBezTo>
                  <a:pt x="96" y="5"/>
                  <a:pt x="98" y="6"/>
                  <a:pt x="100" y="7"/>
                </a:cubicBezTo>
                <a:cubicBezTo>
                  <a:pt x="98" y="13"/>
                  <a:pt x="98" y="13"/>
                  <a:pt x="98" y="13"/>
                </a:cubicBezTo>
                <a:cubicBezTo>
                  <a:pt x="99" y="13"/>
                  <a:pt x="99" y="13"/>
                  <a:pt x="99" y="13"/>
                </a:cubicBezTo>
                <a:cubicBezTo>
                  <a:pt x="100" y="14"/>
                  <a:pt x="101" y="15"/>
                  <a:pt x="103" y="15"/>
                </a:cubicBezTo>
                <a:cubicBezTo>
                  <a:pt x="103" y="16"/>
                  <a:pt x="103" y="16"/>
                  <a:pt x="103" y="16"/>
                </a:cubicBezTo>
                <a:cubicBezTo>
                  <a:pt x="107" y="11"/>
                  <a:pt x="107" y="11"/>
                  <a:pt x="107" y="11"/>
                </a:cubicBezTo>
                <a:cubicBezTo>
                  <a:pt x="109" y="12"/>
                  <a:pt x="111" y="13"/>
                  <a:pt x="112" y="14"/>
                </a:cubicBezTo>
                <a:cubicBezTo>
                  <a:pt x="109" y="20"/>
                  <a:pt x="109" y="20"/>
                  <a:pt x="109" y="20"/>
                </a:cubicBezTo>
                <a:cubicBezTo>
                  <a:pt x="109" y="20"/>
                  <a:pt x="109" y="20"/>
                  <a:pt x="109" y="20"/>
                </a:cubicBezTo>
                <a:cubicBezTo>
                  <a:pt x="111" y="21"/>
                  <a:pt x="112" y="22"/>
                  <a:pt x="113" y="23"/>
                </a:cubicBezTo>
                <a:cubicBezTo>
                  <a:pt x="113" y="23"/>
                  <a:pt x="113" y="23"/>
                  <a:pt x="113" y="23"/>
                </a:cubicBezTo>
                <a:cubicBezTo>
                  <a:pt x="118" y="19"/>
                  <a:pt x="118" y="19"/>
                  <a:pt x="118" y="19"/>
                </a:cubicBezTo>
                <a:cubicBezTo>
                  <a:pt x="120" y="20"/>
                  <a:pt x="121" y="22"/>
                  <a:pt x="122" y="23"/>
                </a:cubicBezTo>
                <a:cubicBezTo>
                  <a:pt x="118" y="28"/>
                  <a:pt x="118" y="28"/>
                  <a:pt x="118" y="28"/>
                </a:cubicBezTo>
                <a:cubicBezTo>
                  <a:pt x="119" y="29"/>
                  <a:pt x="119" y="29"/>
                  <a:pt x="119" y="29"/>
                </a:cubicBezTo>
                <a:cubicBezTo>
                  <a:pt x="120" y="30"/>
                  <a:pt x="121" y="31"/>
                  <a:pt x="121" y="32"/>
                </a:cubicBezTo>
                <a:cubicBezTo>
                  <a:pt x="122" y="32"/>
                  <a:pt x="122" y="32"/>
                  <a:pt x="122" y="32"/>
                </a:cubicBezTo>
                <a:cubicBezTo>
                  <a:pt x="127" y="29"/>
                  <a:pt x="127" y="29"/>
                  <a:pt x="127" y="29"/>
                </a:cubicBezTo>
                <a:cubicBezTo>
                  <a:pt x="129" y="31"/>
                  <a:pt x="130" y="33"/>
                  <a:pt x="131" y="34"/>
                </a:cubicBezTo>
                <a:cubicBezTo>
                  <a:pt x="126" y="38"/>
                  <a:pt x="126" y="38"/>
                  <a:pt x="126" y="38"/>
                </a:cubicBezTo>
                <a:cubicBezTo>
                  <a:pt x="126" y="39"/>
                  <a:pt x="126" y="39"/>
                  <a:pt x="126" y="39"/>
                </a:cubicBezTo>
                <a:cubicBezTo>
                  <a:pt x="127" y="40"/>
                  <a:pt x="128" y="41"/>
                  <a:pt x="128" y="43"/>
                </a:cubicBezTo>
                <a:cubicBezTo>
                  <a:pt x="128" y="43"/>
                  <a:pt x="128" y="43"/>
                  <a:pt x="128" y="43"/>
                </a:cubicBezTo>
                <a:cubicBezTo>
                  <a:pt x="134" y="41"/>
                  <a:pt x="134" y="41"/>
                  <a:pt x="134" y="41"/>
                </a:cubicBezTo>
                <a:cubicBezTo>
                  <a:pt x="135" y="43"/>
                  <a:pt x="136" y="45"/>
                  <a:pt x="137" y="47"/>
                </a:cubicBezTo>
                <a:cubicBezTo>
                  <a:pt x="131" y="50"/>
                  <a:pt x="131" y="50"/>
                  <a:pt x="131" y="50"/>
                </a:cubicBezTo>
                <a:cubicBezTo>
                  <a:pt x="131" y="50"/>
                  <a:pt x="131" y="50"/>
                  <a:pt x="131" y="50"/>
                </a:cubicBezTo>
                <a:cubicBezTo>
                  <a:pt x="132" y="52"/>
                  <a:pt x="132" y="53"/>
                  <a:pt x="133" y="54"/>
                </a:cubicBezTo>
                <a:cubicBezTo>
                  <a:pt x="133" y="55"/>
                  <a:pt x="133" y="55"/>
                  <a:pt x="133" y="55"/>
                </a:cubicBezTo>
                <a:cubicBezTo>
                  <a:pt x="139" y="54"/>
                  <a:pt x="139" y="54"/>
                  <a:pt x="139" y="54"/>
                </a:cubicBezTo>
                <a:cubicBezTo>
                  <a:pt x="140" y="56"/>
                  <a:pt x="140" y="58"/>
                  <a:pt x="140" y="60"/>
                </a:cubicBezTo>
                <a:cubicBezTo>
                  <a:pt x="134" y="62"/>
                  <a:pt x="134" y="62"/>
                  <a:pt x="134" y="62"/>
                </a:cubicBezTo>
                <a:cubicBezTo>
                  <a:pt x="134" y="62"/>
                  <a:pt x="134" y="62"/>
                  <a:pt x="134" y="62"/>
                </a:cubicBezTo>
                <a:cubicBezTo>
                  <a:pt x="134" y="64"/>
                  <a:pt x="134" y="65"/>
                  <a:pt x="135" y="67"/>
                </a:cubicBezTo>
                <a:cubicBezTo>
                  <a:pt x="135" y="67"/>
                  <a:pt x="135" y="67"/>
                  <a:pt x="135" y="67"/>
                </a:cubicBezTo>
                <a:cubicBezTo>
                  <a:pt x="141" y="68"/>
                  <a:pt x="141" y="68"/>
                  <a:pt x="141" y="68"/>
                </a:cubicBezTo>
                <a:cubicBezTo>
                  <a:pt x="141" y="69"/>
                  <a:pt x="141" y="70"/>
                  <a:pt x="141" y="71"/>
                </a:cubicBezTo>
                <a:cubicBezTo>
                  <a:pt x="141" y="72"/>
                  <a:pt x="141" y="73"/>
                  <a:pt x="141" y="74"/>
                </a:cubicBezTo>
                <a:cubicBezTo>
                  <a:pt x="135" y="75"/>
                  <a:pt x="135" y="75"/>
                  <a:pt x="135" y="75"/>
                </a:cubicBezTo>
                <a:cubicBezTo>
                  <a:pt x="135" y="75"/>
                  <a:pt x="135" y="75"/>
                  <a:pt x="135" y="75"/>
                </a:cubicBezTo>
                <a:cubicBezTo>
                  <a:pt x="134" y="77"/>
                  <a:pt x="134" y="78"/>
                  <a:pt x="134" y="80"/>
                </a:cubicBezTo>
                <a:cubicBezTo>
                  <a:pt x="134" y="80"/>
                  <a:pt x="134" y="80"/>
                  <a:pt x="134" y="80"/>
                </a:cubicBezTo>
                <a:cubicBezTo>
                  <a:pt x="140" y="82"/>
                  <a:pt x="140" y="82"/>
                  <a:pt x="140" y="82"/>
                </a:cubicBezTo>
                <a:cubicBezTo>
                  <a:pt x="140" y="84"/>
                  <a:pt x="140" y="86"/>
                  <a:pt x="139" y="88"/>
                </a:cubicBezTo>
                <a:cubicBezTo>
                  <a:pt x="133" y="87"/>
                  <a:pt x="133" y="87"/>
                  <a:pt x="133" y="87"/>
                </a:cubicBezTo>
                <a:cubicBezTo>
                  <a:pt x="133" y="88"/>
                  <a:pt x="133" y="88"/>
                  <a:pt x="133" y="88"/>
                </a:cubicBezTo>
                <a:cubicBezTo>
                  <a:pt x="132" y="89"/>
                  <a:pt x="132" y="90"/>
                  <a:pt x="131" y="92"/>
                </a:cubicBezTo>
                <a:cubicBezTo>
                  <a:pt x="131" y="92"/>
                  <a:pt x="131" y="92"/>
                  <a:pt x="131" y="92"/>
                </a:cubicBezTo>
                <a:cubicBezTo>
                  <a:pt x="137" y="95"/>
                  <a:pt x="137" y="95"/>
                  <a:pt x="137" y="95"/>
                </a:cubicBezTo>
                <a:cubicBezTo>
                  <a:pt x="136" y="97"/>
                  <a:pt x="135" y="99"/>
                  <a:pt x="134" y="101"/>
                </a:cubicBezTo>
                <a:cubicBezTo>
                  <a:pt x="128" y="99"/>
                  <a:pt x="128" y="99"/>
                  <a:pt x="128" y="99"/>
                </a:cubicBezTo>
                <a:cubicBezTo>
                  <a:pt x="128" y="99"/>
                  <a:pt x="128" y="99"/>
                  <a:pt x="128" y="99"/>
                </a:cubicBezTo>
                <a:cubicBezTo>
                  <a:pt x="128" y="101"/>
                  <a:pt x="127" y="102"/>
                  <a:pt x="126" y="103"/>
                </a:cubicBezTo>
                <a:cubicBezTo>
                  <a:pt x="126" y="104"/>
                  <a:pt x="126" y="104"/>
                  <a:pt x="126" y="104"/>
                </a:cubicBezTo>
                <a:cubicBezTo>
                  <a:pt x="131" y="108"/>
                  <a:pt x="131" y="108"/>
                  <a:pt x="131" y="108"/>
                </a:cubicBezTo>
                <a:cubicBezTo>
                  <a:pt x="130" y="109"/>
                  <a:pt x="129" y="111"/>
                  <a:pt x="127" y="113"/>
                </a:cubicBezTo>
                <a:cubicBezTo>
                  <a:pt x="122" y="110"/>
                  <a:pt x="122" y="110"/>
                  <a:pt x="122" y="110"/>
                </a:cubicBezTo>
                <a:cubicBezTo>
                  <a:pt x="121" y="110"/>
                  <a:pt x="121" y="110"/>
                  <a:pt x="121" y="110"/>
                </a:cubicBezTo>
                <a:cubicBezTo>
                  <a:pt x="121" y="111"/>
                  <a:pt x="120" y="112"/>
                  <a:pt x="119" y="114"/>
                </a:cubicBezTo>
                <a:cubicBezTo>
                  <a:pt x="118" y="114"/>
                  <a:pt x="118" y="114"/>
                  <a:pt x="118" y="114"/>
                </a:cubicBezTo>
                <a:cubicBezTo>
                  <a:pt x="122" y="119"/>
                  <a:pt x="122" y="119"/>
                  <a:pt x="122" y="119"/>
                </a:cubicBezTo>
                <a:cubicBezTo>
                  <a:pt x="121" y="120"/>
                  <a:pt x="120" y="122"/>
                  <a:pt x="118" y="123"/>
                </a:cubicBezTo>
                <a:cubicBezTo>
                  <a:pt x="113" y="119"/>
                  <a:pt x="113" y="119"/>
                  <a:pt x="113" y="119"/>
                </a:cubicBezTo>
                <a:cubicBezTo>
                  <a:pt x="113" y="119"/>
                  <a:pt x="113" y="119"/>
                  <a:pt x="113" y="119"/>
                </a:cubicBezTo>
                <a:cubicBezTo>
                  <a:pt x="112" y="120"/>
                  <a:pt x="111" y="121"/>
                  <a:pt x="109" y="122"/>
                </a:cubicBezTo>
                <a:cubicBezTo>
                  <a:pt x="109" y="122"/>
                  <a:pt x="109" y="122"/>
                  <a:pt x="109" y="122"/>
                </a:cubicBezTo>
                <a:cubicBezTo>
                  <a:pt x="112" y="128"/>
                  <a:pt x="112" y="128"/>
                  <a:pt x="112" y="128"/>
                </a:cubicBezTo>
                <a:cubicBezTo>
                  <a:pt x="111" y="129"/>
                  <a:pt x="109" y="130"/>
                  <a:pt x="107" y="131"/>
                </a:cubicBezTo>
                <a:cubicBezTo>
                  <a:pt x="103" y="126"/>
                  <a:pt x="103" y="126"/>
                  <a:pt x="103" y="126"/>
                </a:cubicBezTo>
                <a:cubicBezTo>
                  <a:pt x="103" y="127"/>
                  <a:pt x="103" y="127"/>
                  <a:pt x="103" y="127"/>
                </a:cubicBezTo>
                <a:cubicBezTo>
                  <a:pt x="101" y="127"/>
                  <a:pt x="100" y="128"/>
                  <a:pt x="99" y="129"/>
                </a:cubicBezTo>
                <a:cubicBezTo>
                  <a:pt x="98" y="129"/>
                  <a:pt x="98" y="129"/>
                  <a:pt x="98" y="129"/>
                </a:cubicBezTo>
                <a:cubicBezTo>
                  <a:pt x="100" y="135"/>
                  <a:pt x="100" y="135"/>
                  <a:pt x="100" y="135"/>
                </a:cubicBezTo>
                <a:cubicBezTo>
                  <a:pt x="98" y="136"/>
                  <a:pt x="96" y="137"/>
                  <a:pt x="95" y="137"/>
                </a:cubicBezTo>
                <a:cubicBezTo>
                  <a:pt x="92" y="132"/>
                  <a:pt x="92" y="132"/>
                  <a:pt x="92" y="132"/>
                </a:cubicBezTo>
                <a:cubicBezTo>
                  <a:pt x="91" y="132"/>
                  <a:pt x="91" y="132"/>
                  <a:pt x="91" y="132"/>
                </a:cubicBezTo>
                <a:cubicBezTo>
                  <a:pt x="90" y="132"/>
                  <a:pt x="88" y="133"/>
                  <a:pt x="87" y="133"/>
                </a:cubicBezTo>
                <a:cubicBezTo>
                  <a:pt x="87" y="133"/>
                  <a:pt x="87" y="133"/>
                  <a:pt x="87" y="133"/>
                </a:cubicBezTo>
                <a:cubicBezTo>
                  <a:pt x="87" y="140"/>
                  <a:pt x="87" y="140"/>
                  <a:pt x="87" y="140"/>
                </a:cubicBezTo>
                <a:cubicBezTo>
                  <a:pt x="85" y="140"/>
                  <a:pt x="83" y="141"/>
                  <a:pt x="81" y="141"/>
                </a:cubicBezTo>
                <a:cubicBezTo>
                  <a:pt x="79" y="135"/>
                  <a:pt x="79" y="135"/>
                  <a:pt x="79" y="135"/>
                </a:cubicBezTo>
                <a:cubicBezTo>
                  <a:pt x="79" y="135"/>
                  <a:pt x="79" y="135"/>
                  <a:pt x="79" y="135"/>
                </a:cubicBezTo>
                <a:cubicBezTo>
                  <a:pt x="77" y="135"/>
                  <a:pt x="76" y="135"/>
                  <a:pt x="74" y="135"/>
                </a:cubicBezTo>
                <a:cubicBezTo>
                  <a:pt x="74" y="135"/>
                  <a:pt x="74" y="135"/>
                  <a:pt x="74" y="135"/>
                </a:cubicBezTo>
                <a:cubicBezTo>
                  <a:pt x="73" y="142"/>
                  <a:pt x="73" y="142"/>
                  <a:pt x="73" y="142"/>
                </a:cubicBezTo>
                <a:cubicBezTo>
                  <a:pt x="72" y="142"/>
                  <a:pt x="71" y="142"/>
                  <a:pt x="70" y="142"/>
                </a:cubicBezTo>
                <a:close/>
              </a:path>
            </a:pathLst>
          </a:custGeom>
          <a:solidFill>
            <a:srgbClr val="3B3939"/>
          </a:solidFill>
          <a:ln>
            <a:noFill/>
          </a:ln>
          <a:effectLst>
            <a:outerShdw blurRad="50800" dist="38100" dir="5400000" algn="t" rotWithShape="0">
              <a:prstClr val="black">
                <a:alpha val="40000"/>
              </a:prstClr>
            </a:outerShdw>
          </a:effec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218" name="Freeform 217"/>
          <p:cNvSpPr>
            <a:spLocks/>
          </p:cNvSpPr>
          <p:nvPr/>
        </p:nvSpPr>
        <p:spPr bwMode="auto">
          <a:xfrm flipH="1">
            <a:off x="5348602" y="4379500"/>
            <a:ext cx="660999" cy="665632"/>
          </a:xfrm>
          <a:custGeom>
            <a:avLst/>
            <a:gdLst>
              <a:gd name="T0" fmla="*/ 66 w 141"/>
              <a:gd name="T1" fmla="*/ 135 h 142"/>
              <a:gd name="T2" fmla="*/ 54 w 141"/>
              <a:gd name="T3" fmla="*/ 140 h 142"/>
              <a:gd name="T4" fmla="*/ 49 w 141"/>
              <a:gd name="T5" fmla="*/ 132 h 142"/>
              <a:gd name="T6" fmla="*/ 42 w 141"/>
              <a:gd name="T7" fmla="*/ 129 h 142"/>
              <a:gd name="T8" fmla="*/ 29 w 141"/>
              <a:gd name="T9" fmla="*/ 128 h 142"/>
              <a:gd name="T10" fmla="*/ 28 w 141"/>
              <a:gd name="T11" fmla="*/ 119 h 142"/>
              <a:gd name="T12" fmla="*/ 22 w 141"/>
              <a:gd name="T13" fmla="*/ 114 h 142"/>
              <a:gd name="T14" fmla="*/ 10 w 141"/>
              <a:gd name="T15" fmla="*/ 108 h 142"/>
              <a:gd name="T16" fmla="*/ 12 w 141"/>
              <a:gd name="T17" fmla="*/ 99 h 142"/>
              <a:gd name="T18" fmla="*/ 10 w 141"/>
              <a:gd name="T19" fmla="*/ 92 h 142"/>
              <a:gd name="T20" fmla="*/ 1 w 141"/>
              <a:gd name="T21" fmla="*/ 82 h 142"/>
              <a:gd name="T22" fmla="*/ 6 w 141"/>
              <a:gd name="T23" fmla="*/ 75 h 142"/>
              <a:gd name="T24" fmla="*/ 6 w 141"/>
              <a:gd name="T25" fmla="*/ 67 h 142"/>
              <a:gd name="T26" fmla="*/ 1 w 141"/>
              <a:gd name="T27" fmla="*/ 60 h 142"/>
              <a:gd name="T28" fmla="*/ 10 w 141"/>
              <a:gd name="T29" fmla="*/ 50 h 142"/>
              <a:gd name="T30" fmla="*/ 12 w 141"/>
              <a:gd name="T31" fmla="*/ 43 h 142"/>
              <a:gd name="T32" fmla="*/ 10 w 141"/>
              <a:gd name="T33" fmla="*/ 34 h 142"/>
              <a:gd name="T34" fmla="*/ 22 w 141"/>
              <a:gd name="T35" fmla="*/ 29 h 142"/>
              <a:gd name="T36" fmla="*/ 28 w 141"/>
              <a:gd name="T37" fmla="*/ 23 h 142"/>
              <a:gd name="T38" fmla="*/ 29 w 141"/>
              <a:gd name="T39" fmla="*/ 14 h 142"/>
              <a:gd name="T40" fmla="*/ 42 w 141"/>
              <a:gd name="T41" fmla="*/ 13 h 142"/>
              <a:gd name="T42" fmla="*/ 49 w 141"/>
              <a:gd name="T43" fmla="*/ 10 h 142"/>
              <a:gd name="T44" fmla="*/ 54 w 141"/>
              <a:gd name="T45" fmla="*/ 2 h 142"/>
              <a:gd name="T46" fmla="*/ 66 w 141"/>
              <a:gd name="T47" fmla="*/ 7 h 142"/>
              <a:gd name="T48" fmla="*/ 73 w 141"/>
              <a:gd name="T49" fmla="*/ 0 h 142"/>
              <a:gd name="T50" fmla="*/ 79 w 141"/>
              <a:gd name="T51" fmla="*/ 7 h 142"/>
              <a:gd name="T52" fmla="*/ 87 w 141"/>
              <a:gd name="T53" fmla="*/ 9 h 142"/>
              <a:gd name="T54" fmla="*/ 100 w 141"/>
              <a:gd name="T55" fmla="*/ 7 h 142"/>
              <a:gd name="T56" fmla="*/ 103 w 141"/>
              <a:gd name="T57" fmla="*/ 16 h 142"/>
              <a:gd name="T58" fmla="*/ 109 w 141"/>
              <a:gd name="T59" fmla="*/ 20 h 142"/>
              <a:gd name="T60" fmla="*/ 122 w 141"/>
              <a:gd name="T61" fmla="*/ 23 h 142"/>
              <a:gd name="T62" fmla="*/ 122 w 141"/>
              <a:gd name="T63" fmla="*/ 32 h 142"/>
              <a:gd name="T64" fmla="*/ 126 w 141"/>
              <a:gd name="T65" fmla="*/ 39 h 142"/>
              <a:gd name="T66" fmla="*/ 137 w 141"/>
              <a:gd name="T67" fmla="*/ 47 h 142"/>
              <a:gd name="T68" fmla="*/ 133 w 141"/>
              <a:gd name="T69" fmla="*/ 55 h 142"/>
              <a:gd name="T70" fmla="*/ 134 w 141"/>
              <a:gd name="T71" fmla="*/ 62 h 142"/>
              <a:gd name="T72" fmla="*/ 141 w 141"/>
              <a:gd name="T73" fmla="*/ 71 h 142"/>
              <a:gd name="T74" fmla="*/ 134 w 141"/>
              <a:gd name="T75" fmla="*/ 80 h 142"/>
              <a:gd name="T76" fmla="*/ 133 w 141"/>
              <a:gd name="T77" fmla="*/ 87 h 142"/>
              <a:gd name="T78" fmla="*/ 137 w 141"/>
              <a:gd name="T79" fmla="*/ 95 h 142"/>
              <a:gd name="T80" fmla="*/ 126 w 141"/>
              <a:gd name="T81" fmla="*/ 103 h 142"/>
              <a:gd name="T82" fmla="*/ 122 w 141"/>
              <a:gd name="T83" fmla="*/ 110 h 142"/>
              <a:gd name="T84" fmla="*/ 122 w 141"/>
              <a:gd name="T85" fmla="*/ 119 h 142"/>
              <a:gd name="T86" fmla="*/ 109 w 141"/>
              <a:gd name="T87" fmla="*/ 122 h 142"/>
              <a:gd name="T88" fmla="*/ 103 w 141"/>
              <a:gd name="T89" fmla="*/ 126 h 142"/>
              <a:gd name="T90" fmla="*/ 100 w 141"/>
              <a:gd name="T91" fmla="*/ 135 h 142"/>
              <a:gd name="T92" fmla="*/ 87 w 141"/>
              <a:gd name="T93" fmla="*/ 133 h 142"/>
              <a:gd name="T94" fmla="*/ 79 w 141"/>
              <a:gd name="T95" fmla="*/ 135 h 142"/>
              <a:gd name="T96" fmla="*/ 73 w 141"/>
              <a:gd name="T97" fmla="*/ 142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41" h="142">
                <a:moveTo>
                  <a:pt x="70" y="142"/>
                </a:moveTo>
                <a:cubicBezTo>
                  <a:pt x="69" y="142"/>
                  <a:pt x="68" y="142"/>
                  <a:pt x="67" y="142"/>
                </a:cubicBezTo>
                <a:cubicBezTo>
                  <a:pt x="67" y="135"/>
                  <a:pt x="67" y="135"/>
                  <a:pt x="67" y="135"/>
                </a:cubicBezTo>
                <a:cubicBezTo>
                  <a:pt x="66" y="135"/>
                  <a:pt x="66" y="135"/>
                  <a:pt x="66" y="135"/>
                </a:cubicBezTo>
                <a:cubicBezTo>
                  <a:pt x="65" y="135"/>
                  <a:pt x="63" y="135"/>
                  <a:pt x="62" y="135"/>
                </a:cubicBezTo>
                <a:cubicBezTo>
                  <a:pt x="61" y="135"/>
                  <a:pt x="61" y="135"/>
                  <a:pt x="61" y="135"/>
                </a:cubicBezTo>
                <a:cubicBezTo>
                  <a:pt x="60" y="141"/>
                  <a:pt x="60" y="141"/>
                  <a:pt x="60" y="141"/>
                </a:cubicBezTo>
                <a:cubicBezTo>
                  <a:pt x="58" y="141"/>
                  <a:pt x="56" y="140"/>
                  <a:pt x="54" y="140"/>
                </a:cubicBezTo>
                <a:cubicBezTo>
                  <a:pt x="54" y="133"/>
                  <a:pt x="54" y="133"/>
                  <a:pt x="54" y="133"/>
                </a:cubicBezTo>
                <a:cubicBezTo>
                  <a:pt x="54" y="133"/>
                  <a:pt x="54" y="133"/>
                  <a:pt x="54" y="133"/>
                </a:cubicBezTo>
                <a:cubicBezTo>
                  <a:pt x="52" y="133"/>
                  <a:pt x="51" y="132"/>
                  <a:pt x="50" y="132"/>
                </a:cubicBezTo>
                <a:cubicBezTo>
                  <a:pt x="49" y="132"/>
                  <a:pt x="49" y="132"/>
                  <a:pt x="49" y="132"/>
                </a:cubicBezTo>
                <a:cubicBezTo>
                  <a:pt x="46" y="137"/>
                  <a:pt x="46" y="137"/>
                  <a:pt x="46" y="137"/>
                </a:cubicBezTo>
                <a:cubicBezTo>
                  <a:pt x="44" y="137"/>
                  <a:pt x="42" y="136"/>
                  <a:pt x="41" y="135"/>
                </a:cubicBezTo>
                <a:cubicBezTo>
                  <a:pt x="42" y="129"/>
                  <a:pt x="42" y="129"/>
                  <a:pt x="42" y="129"/>
                </a:cubicBezTo>
                <a:cubicBezTo>
                  <a:pt x="42" y="129"/>
                  <a:pt x="42" y="129"/>
                  <a:pt x="42" y="129"/>
                </a:cubicBezTo>
                <a:cubicBezTo>
                  <a:pt x="41" y="128"/>
                  <a:pt x="39" y="127"/>
                  <a:pt x="38" y="127"/>
                </a:cubicBezTo>
                <a:cubicBezTo>
                  <a:pt x="38" y="126"/>
                  <a:pt x="38" y="126"/>
                  <a:pt x="38" y="126"/>
                </a:cubicBezTo>
                <a:cubicBezTo>
                  <a:pt x="34" y="131"/>
                  <a:pt x="34" y="131"/>
                  <a:pt x="34" y="131"/>
                </a:cubicBezTo>
                <a:cubicBezTo>
                  <a:pt x="32" y="130"/>
                  <a:pt x="30" y="129"/>
                  <a:pt x="29" y="128"/>
                </a:cubicBezTo>
                <a:cubicBezTo>
                  <a:pt x="32" y="122"/>
                  <a:pt x="32" y="122"/>
                  <a:pt x="32" y="122"/>
                </a:cubicBezTo>
                <a:cubicBezTo>
                  <a:pt x="31" y="122"/>
                  <a:pt x="31" y="122"/>
                  <a:pt x="31" y="122"/>
                </a:cubicBezTo>
                <a:cubicBezTo>
                  <a:pt x="30" y="121"/>
                  <a:pt x="29" y="120"/>
                  <a:pt x="28" y="119"/>
                </a:cubicBezTo>
                <a:cubicBezTo>
                  <a:pt x="28" y="119"/>
                  <a:pt x="28" y="119"/>
                  <a:pt x="28" y="119"/>
                </a:cubicBezTo>
                <a:cubicBezTo>
                  <a:pt x="23" y="123"/>
                  <a:pt x="23" y="123"/>
                  <a:pt x="23" y="123"/>
                </a:cubicBezTo>
                <a:cubicBezTo>
                  <a:pt x="21" y="122"/>
                  <a:pt x="20" y="120"/>
                  <a:pt x="18" y="119"/>
                </a:cubicBezTo>
                <a:cubicBezTo>
                  <a:pt x="22" y="114"/>
                  <a:pt x="22" y="114"/>
                  <a:pt x="22" y="114"/>
                </a:cubicBezTo>
                <a:cubicBezTo>
                  <a:pt x="22" y="114"/>
                  <a:pt x="22" y="114"/>
                  <a:pt x="22" y="114"/>
                </a:cubicBezTo>
                <a:cubicBezTo>
                  <a:pt x="21" y="112"/>
                  <a:pt x="20" y="111"/>
                  <a:pt x="19" y="110"/>
                </a:cubicBezTo>
                <a:cubicBezTo>
                  <a:pt x="19" y="110"/>
                  <a:pt x="19" y="110"/>
                  <a:pt x="19" y="110"/>
                </a:cubicBezTo>
                <a:cubicBezTo>
                  <a:pt x="13" y="113"/>
                  <a:pt x="13" y="113"/>
                  <a:pt x="13" y="113"/>
                </a:cubicBezTo>
                <a:cubicBezTo>
                  <a:pt x="12" y="111"/>
                  <a:pt x="11" y="109"/>
                  <a:pt x="10" y="108"/>
                </a:cubicBezTo>
                <a:cubicBezTo>
                  <a:pt x="15" y="104"/>
                  <a:pt x="15" y="104"/>
                  <a:pt x="15" y="104"/>
                </a:cubicBezTo>
                <a:cubicBezTo>
                  <a:pt x="15" y="103"/>
                  <a:pt x="15" y="103"/>
                  <a:pt x="15" y="103"/>
                </a:cubicBezTo>
                <a:cubicBezTo>
                  <a:pt x="14" y="102"/>
                  <a:pt x="13" y="101"/>
                  <a:pt x="13" y="99"/>
                </a:cubicBezTo>
                <a:cubicBezTo>
                  <a:pt x="12" y="99"/>
                  <a:pt x="12" y="99"/>
                  <a:pt x="12" y="99"/>
                </a:cubicBezTo>
                <a:cubicBezTo>
                  <a:pt x="6" y="101"/>
                  <a:pt x="6" y="101"/>
                  <a:pt x="6" y="101"/>
                </a:cubicBezTo>
                <a:cubicBezTo>
                  <a:pt x="5" y="99"/>
                  <a:pt x="5" y="97"/>
                  <a:pt x="4" y="95"/>
                </a:cubicBezTo>
                <a:cubicBezTo>
                  <a:pt x="10" y="92"/>
                  <a:pt x="10" y="92"/>
                  <a:pt x="10" y="92"/>
                </a:cubicBezTo>
                <a:cubicBezTo>
                  <a:pt x="10" y="92"/>
                  <a:pt x="10" y="92"/>
                  <a:pt x="10" y="92"/>
                </a:cubicBezTo>
                <a:cubicBezTo>
                  <a:pt x="9" y="90"/>
                  <a:pt x="9" y="89"/>
                  <a:pt x="8" y="88"/>
                </a:cubicBezTo>
                <a:cubicBezTo>
                  <a:pt x="8" y="87"/>
                  <a:pt x="8" y="87"/>
                  <a:pt x="8" y="87"/>
                </a:cubicBezTo>
                <a:cubicBezTo>
                  <a:pt x="2" y="88"/>
                  <a:pt x="2" y="88"/>
                  <a:pt x="2" y="88"/>
                </a:cubicBezTo>
                <a:cubicBezTo>
                  <a:pt x="1" y="86"/>
                  <a:pt x="1" y="84"/>
                  <a:pt x="1" y="82"/>
                </a:cubicBezTo>
                <a:cubicBezTo>
                  <a:pt x="7" y="80"/>
                  <a:pt x="7" y="80"/>
                  <a:pt x="7" y="80"/>
                </a:cubicBezTo>
                <a:cubicBezTo>
                  <a:pt x="7" y="80"/>
                  <a:pt x="7" y="80"/>
                  <a:pt x="7" y="80"/>
                </a:cubicBezTo>
                <a:cubicBezTo>
                  <a:pt x="6" y="78"/>
                  <a:pt x="6" y="77"/>
                  <a:pt x="6" y="75"/>
                </a:cubicBezTo>
                <a:cubicBezTo>
                  <a:pt x="6" y="75"/>
                  <a:pt x="6" y="75"/>
                  <a:pt x="6" y="75"/>
                </a:cubicBezTo>
                <a:cubicBezTo>
                  <a:pt x="0" y="74"/>
                  <a:pt x="0" y="74"/>
                  <a:pt x="0" y="74"/>
                </a:cubicBezTo>
                <a:cubicBezTo>
                  <a:pt x="0" y="73"/>
                  <a:pt x="0" y="72"/>
                  <a:pt x="0" y="71"/>
                </a:cubicBezTo>
                <a:cubicBezTo>
                  <a:pt x="0" y="70"/>
                  <a:pt x="0" y="69"/>
                  <a:pt x="0" y="68"/>
                </a:cubicBezTo>
                <a:cubicBezTo>
                  <a:pt x="6" y="67"/>
                  <a:pt x="6" y="67"/>
                  <a:pt x="6" y="67"/>
                </a:cubicBezTo>
                <a:cubicBezTo>
                  <a:pt x="6" y="67"/>
                  <a:pt x="6" y="67"/>
                  <a:pt x="6" y="67"/>
                </a:cubicBezTo>
                <a:cubicBezTo>
                  <a:pt x="6" y="65"/>
                  <a:pt x="6" y="64"/>
                  <a:pt x="7" y="62"/>
                </a:cubicBezTo>
                <a:cubicBezTo>
                  <a:pt x="7" y="62"/>
                  <a:pt x="7" y="62"/>
                  <a:pt x="7" y="62"/>
                </a:cubicBezTo>
                <a:cubicBezTo>
                  <a:pt x="1" y="60"/>
                  <a:pt x="1" y="60"/>
                  <a:pt x="1" y="60"/>
                </a:cubicBezTo>
                <a:cubicBezTo>
                  <a:pt x="1" y="58"/>
                  <a:pt x="1" y="56"/>
                  <a:pt x="2" y="54"/>
                </a:cubicBezTo>
                <a:cubicBezTo>
                  <a:pt x="8" y="55"/>
                  <a:pt x="8" y="55"/>
                  <a:pt x="8" y="55"/>
                </a:cubicBezTo>
                <a:cubicBezTo>
                  <a:pt x="8" y="54"/>
                  <a:pt x="8" y="54"/>
                  <a:pt x="8" y="54"/>
                </a:cubicBezTo>
                <a:cubicBezTo>
                  <a:pt x="9" y="53"/>
                  <a:pt x="9" y="52"/>
                  <a:pt x="10" y="50"/>
                </a:cubicBezTo>
                <a:cubicBezTo>
                  <a:pt x="10" y="50"/>
                  <a:pt x="10" y="50"/>
                  <a:pt x="10" y="50"/>
                </a:cubicBezTo>
                <a:cubicBezTo>
                  <a:pt x="4" y="47"/>
                  <a:pt x="4" y="47"/>
                  <a:pt x="4" y="47"/>
                </a:cubicBezTo>
                <a:cubicBezTo>
                  <a:pt x="5" y="45"/>
                  <a:pt x="5" y="43"/>
                  <a:pt x="6" y="41"/>
                </a:cubicBezTo>
                <a:cubicBezTo>
                  <a:pt x="12" y="43"/>
                  <a:pt x="12" y="43"/>
                  <a:pt x="12" y="43"/>
                </a:cubicBezTo>
                <a:cubicBezTo>
                  <a:pt x="13" y="43"/>
                  <a:pt x="13" y="43"/>
                  <a:pt x="13" y="43"/>
                </a:cubicBezTo>
                <a:cubicBezTo>
                  <a:pt x="13" y="41"/>
                  <a:pt x="14" y="40"/>
                  <a:pt x="15" y="39"/>
                </a:cubicBezTo>
                <a:cubicBezTo>
                  <a:pt x="15" y="38"/>
                  <a:pt x="15" y="38"/>
                  <a:pt x="15" y="38"/>
                </a:cubicBezTo>
                <a:cubicBezTo>
                  <a:pt x="10" y="34"/>
                  <a:pt x="10" y="34"/>
                  <a:pt x="10" y="34"/>
                </a:cubicBezTo>
                <a:cubicBezTo>
                  <a:pt x="11" y="33"/>
                  <a:pt x="12" y="31"/>
                  <a:pt x="13" y="29"/>
                </a:cubicBezTo>
                <a:cubicBezTo>
                  <a:pt x="19" y="32"/>
                  <a:pt x="19" y="32"/>
                  <a:pt x="19" y="32"/>
                </a:cubicBezTo>
                <a:cubicBezTo>
                  <a:pt x="19" y="32"/>
                  <a:pt x="19" y="32"/>
                  <a:pt x="19" y="32"/>
                </a:cubicBezTo>
                <a:cubicBezTo>
                  <a:pt x="20" y="31"/>
                  <a:pt x="21" y="30"/>
                  <a:pt x="22" y="29"/>
                </a:cubicBezTo>
                <a:cubicBezTo>
                  <a:pt x="22" y="28"/>
                  <a:pt x="22" y="28"/>
                  <a:pt x="22" y="28"/>
                </a:cubicBezTo>
                <a:cubicBezTo>
                  <a:pt x="18" y="23"/>
                  <a:pt x="18" y="23"/>
                  <a:pt x="18" y="23"/>
                </a:cubicBezTo>
                <a:cubicBezTo>
                  <a:pt x="20" y="22"/>
                  <a:pt x="21" y="20"/>
                  <a:pt x="23" y="19"/>
                </a:cubicBezTo>
                <a:cubicBezTo>
                  <a:pt x="28" y="23"/>
                  <a:pt x="28" y="23"/>
                  <a:pt x="28" y="23"/>
                </a:cubicBezTo>
                <a:cubicBezTo>
                  <a:pt x="28" y="23"/>
                  <a:pt x="28" y="23"/>
                  <a:pt x="28" y="23"/>
                </a:cubicBezTo>
                <a:cubicBezTo>
                  <a:pt x="29" y="22"/>
                  <a:pt x="30" y="21"/>
                  <a:pt x="31" y="20"/>
                </a:cubicBezTo>
                <a:cubicBezTo>
                  <a:pt x="32" y="20"/>
                  <a:pt x="32" y="20"/>
                  <a:pt x="32" y="20"/>
                </a:cubicBezTo>
                <a:cubicBezTo>
                  <a:pt x="29" y="14"/>
                  <a:pt x="29" y="14"/>
                  <a:pt x="29" y="14"/>
                </a:cubicBezTo>
                <a:cubicBezTo>
                  <a:pt x="30" y="13"/>
                  <a:pt x="32" y="12"/>
                  <a:pt x="34" y="11"/>
                </a:cubicBezTo>
                <a:cubicBezTo>
                  <a:pt x="38" y="16"/>
                  <a:pt x="38" y="16"/>
                  <a:pt x="38" y="16"/>
                </a:cubicBezTo>
                <a:cubicBezTo>
                  <a:pt x="38" y="15"/>
                  <a:pt x="38" y="15"/>
                  <a:pt x="38" y="15"/>
                </a:cubicBezTo>
                <a:cubicBezTo>
                  <a:pt x="39" y="15"/>
                  <a:pt x="41" y="14"/>
                  <a:pt x="42" y="13"/>
                </a:cubicBezTo>
                <a:cubicBezTo>
                  <a:pt x="42" y="13"/>
                  <a:pt x="42" y="13"/>
                  <a:pt x="42" y="13"/>
                </a:cubicBezTo>
                <a:cubicBezTo>
                  <a:pt x="41" y="7"/>
                  <a:pt x="41" y="7"/>
                  <a:pt x="41" y="7"/>
                </a:cubicBezTo>
                <a:cubicBezTo>
                  <a:pt x="42" y="6"/>
                  <a:pt x="44" y="5"/>
                  <a:pt x="46" y="5"/>
                </a:cubicBezTo>
                <a:cubicBezTo>
                  <a:pt x="49" y="10"/>
                  <a:pt x="49" y="10"/>
                  <a:pt x="49" y="10"/>
                </a:cubicBezTo>
                <a:cubicBezTo>
                  <a:pt x="50" y="10"/>
                  <a:pt x="50" y="10"/>
                  <a:pt x="50" y="10"/>
                </a:cubicBezTo>
                <a:cubicBezTo>
                  <a:pt x="51" y="10"/>
                  <a:pt x="52" y="9"/>
                  <a:pt x="54" y="9"/>
                </a:cubicBezTo>
                <a:cubicBezTo>
                  <a:pt x="54" y="9"/>
                  <a:pt x="54" y="9"/>
                  <a:pt x="54" y="9"/>
                </a:cubicBezTo>
                <a:cubicBezTo>
                  <a:pt x="54" y="2"/>
                  <a:pt x="54" y="2"/>
                  <a:pt x="54" y="2"/>
                </a:cubicBezTo>
                <a:cubicBezTo>
                  <a:pt x="56" y="2"/>
                  <a:pt x="58" y="1"/>
                  <a:pt x="60" y="1"/>
                </a:cubicBezTo>
                <a:cubicBezTo>
                  <a:pt x="61" y="7"/>
                  <a:pt x="61" y="7"/>
                  <a:pt x="61" y="7"/>
                </a:cubicBezTo>
                <a:cubicBezTo>
                  <a:pt x="62" y="7"/>
                  <a:pt x="62" y="7"/>
                  <a:pt x="62" y="7"/>
                </a:cubicBezTo>
                <a:cubicBezTo>
                  <a:pt x="63" y="7"/>
                  <a:pt x="65" y="7"/>
                  <a:pt x="66" y="7"/>
                </a:cubicBezTo>
                <a:cubicBezTo>
                  <a:pt x="67" y="7"/>
                  <a:pt x="67" y="7"/>
                  <a:pt x="67" y="7"/>
                </a:cubicBezTo>
                <a:cubicBezTo>
                  <a:pt x="67" y="0"/>
                  <a:pt x="67" y="0"/>
                  <a:pt x="67" y="0"/>
                </a:cubicBezTo>
                <a:cubicBezTo>
                  <a:pt x="68" y="0"/>
                  <a:pt x="69" y="0"/>
                  <a:pt x="70" y="0"/>
                </a:cubicBezTo>
                <a:cubicBezTo>
                  <a:pt x="71" y="0"/>
                  <a:pt x="72" y="0"/>
                  <a:pt x="73" y="0"/>
                </a:cubicBezTo>
                <a:cubicBezTo>
                  <a:pt x="74" y="7"/>
                  <a:pt x="74" y="7"/>
                  <a:pt x="74" y="7"/>
                </a:cubicBezTo>
                <a:cubicBezTo>
                  <a:pt x="74" y="7"/>
                  <a:pt x="74" y="7"/>
                  <a:pt x="74" y="7"/>
                </a:cubicBezTo>
                <a:cubicBezTo>
                  <a:pt x="76" y="7"/>
                  <a:pt x="77" y="7"/>
                  <a:pt x="79" y="7"/>
                </a:cubicBezTo>
                <a:cubicBezTo>
                  <a:pt x="79" y="7"/>
                  <a:pt x="79" y="7"/>
                  <a:pt x="79" y="7"/>
                </a:cubicBezTo>
                <a:cubicBezTo>
                  <a:pt x="81" y="1"/>
                  <a:pt x="81" y="1"/>
                  <a:pt x="81" y="1"/>
                </a:cubicBezTo>
                <a:cubicBezTo>
                  <a:pt x="83" y="1"/>
                  <a:pt x="85" y="2"/>
                  <a:pt x="87" y="2"/>
                </a:cubicBezTo>
                <a:cubicBezTo>
                  <a:pt x="87" y="9"/>
                  <a:pt x="87" y="9"/>
                  <a:pt x="87" y="9"/>
                </a:cubicBezTo>
                <a:cubicBezTo>
                  <a:pt x="87" y="9"/>
                  <a:pt x="87" y="9"/>
                  <a:pt x="87" y="9"/>
                </a:cubicBezTo>
                <a:cubicBezTo>
                  <a:pt x="88" y="9"/>
                  <a:pt x="90" y="10"/>
                  <a:pt x="91" y="10"/>
                </a:cubicBezTo>
                <a:cubicBezTo>
                  <a:pt x="92" y="10"/>
                  <a:pt x="92" y="10"/>
                  <a:pt x="92" y="10"/>
                </a:cubicBezTo>
                <a:cubicBezTo>
                  <a:pt x="95" y="5"/>
                  <a:pt x="95" y="5"/>
                  <a:pt x="95" y="5"/>
                </a:cubicBezTo>
                <a:cubicBezTo>
                  <a:pt x="96" y="5"/>
                  <a:pt x="98" y="6"/>
                  <a:pt x="100" y="7"/>
                </a:cubicBezTo>
                <a:cubicBezTo>
                  <a:pt x="98" y="13"/>
                  <a:pt x="98" y="13"/>
                  <a:pt x="98" y="13"/>
                </a:cubicBezTo>
                <a:cubicBezTo>
                  <a:pt x="99" y="13"/>
                  <a:pt x="99" y="13"/>
                  <a:pt x="99" y="13"/>
                </a:cubicBezTo>
                <a:cubicBezTo>
                  <a:pt x="100" y="14"/>
                  <a:pt x="101" y="15"/>
                  <a:pt x="103" y="15"/>
                </a:cubicBezTo>
                <a:cubicBezTo>
                  <a:pt x="103" y="16"/>
                  <a:pt x="103" y="16"/>
                  <a:pt x="103" y="16"/>
                </a:cubicBezTo>
                <a:cubicBezTo>
                  <a:pt x="107" y="11"/>
                  <a:pt x="107" y="11"/>
                  <a:pt x="107" y="11"/>
                </a:cubicBezTo>
                <a:cubicBezTo>
                  <a:pt x="109" y="12"/>
                  <a:pt x="111" y="13"/>
                  <a:pt x="112" y="14"/>
                </a:cubicBezTo>
                <a:cubicBezTo>
                  <a:pt x="109" y="20"/>
                  <a:pt x="109" y="20"/>
                  <a:pt x="109" y="20"/>
                </a:cubicBezTo>
                <a:cubicBezTo>
                  <a:pt x="109" y="20"/>
                  <a:pt x="109" y="20"/>
                  <a:pt x="109" y="20"/>
                </a:cubicBezTo>
                <a:cubicBezTo>
                  <a:pt x="111" y="21"/>
                  <a:pt x="112" y="22"/>
                  <a:pt x="113" y="23"/>
                </a:cubicBezTo>
                <a:cubicBezTo>
                  <a:pt x="113" y="23"/>
                  <a:pt x="113" y="23"/>
                  <a:pt x="113" y="23"/>
                </a:cubicBezTo>
                <a:cubicBezTo>
                  <a:pt x="118" y="19"/>
                  <a:pt x="118" y="19"/>
                  <a:pt x="118" y="19"/>
                </a:cubicBezTo>
                <a:cubicBezTo>
                  <a:pt x="120" y="20"/>
                  <a:pt x="121" y="22"/>
                  <a:pt x="122" y="23"/>
                </a:cubicBezTo>
                <a:cubicBezTo>
                  <a:pt x="118" y="28"/>
                  <a:pt x="118" y="28"/>
                  <a:pt x="118" y="28"/>
                </a:cubicBezTo>
                <a:cubicBezTo>
                  <a:pt x="119" y="29"/>
                  <a:pt x="119" y="29"/>
                  <a:pt x="119" y="29"/>
                </a:cubicBezTo>
                <a:cubicBezTo>
                  <a:pt x="120" y="30"/>
                  <a:pt x="121" y="31"/>
                  <a:pt x="121" y="32"/>
                </a:cubicBezTo>
                <a:cubicBezTo>
                  <a:pt x="122" y="32"/>
                  <a:pt x="122" y="32"/>
                  <a:pt x="122" y="32"/>
                </a:cubicBezTo>
                <a:cubicBezTo>
                  <a:pt x="127" y="29"/>
                  <a:pt x="127" y="29"/>
                  <a:pt x="127" y="29"/>
                </a:cubicBezTo>
                <a:cubicBezTo>
                  <a:pt x="129" y="31"/>
                  <a:pt x="130" y="33"/>
                  <a:pt x="131" y="34"/>
                </a:cubicBezTo>
                <a:cubicBezTo>
                  <a:pt x="126" y="38"/>
                  <a:pt x="126" y="38"/>
                  <a:pt x="126" y="38"/>
                </a:cubicBezTo>
                <a:cubicBezTo>
                  <a:pt x="126" y="39"/>
                  <a:pt x="126" y="39"/>
                  <a:pt x="126" y="39"/>
                </a:cubicBezTo>
                <a:cubicBezTo>
                  <a:pt x="127" y="40"/>
                  <a:pt x="128" y="41"/>
                  <a:pt x="128" y="43"/>
                </a:cubicBezTo>
                <a:cubicBezTo>
                  <a:pt x="128" y="43"/>
                  <a:pt x="128" y="43"/>
                  <a:pt x="128" y="43"/>
                </a:cubicBezTo>
                <a:cubicBezTo>
                  <a:pt x="134" y="41"/>
                  <a:pt x="134" y="41"/>
                  <a:pt x="134" y="41"/>
                </a:cubicBezTo>
                <a:cubicBezTo>
                  <a:pt x="135" y="43"/>
                  <a:pt x="136" y="45"/>
                  <a:pt x="137" y="47"/>
                </a:cubicBezTo>
                <a:cubicBezTo>
                  <a:pt x="131" y="50"/>
                  <a:pt x="131" y="50"/>
                  <a:pt x="131" y="50"/>
                </a:cubicBezTo>
                <a:cubicBezTo>
                  <a:pt x="131" y="50"/>
                  <a:pt x="131" y="50"/>
                  <a:pt x="131" y="50"/>
                </a:cubicBezTo>
                <a:cubicBezTo>
                  <a:pt x="132" y="52"/>
                  <a:pt x="132" y="53"/>
                  <a:pt x="133" y="54"/>
                </a:cubicBezTo>
                <a:cubicBezTo>
                  <a:pt x="133" y="55"/>
                  <a:pt x="133" y="55"/>
                  <a:pt x="133" y="55"/>
                </a:cubicBezTo>
                <a:cubicBezTo>
                  <a:pt x="139" y="54"/>
                  <a:pt x="139" y="54"/>
                  <a:pt x="139" y="54"/>
                </a:cubicBezTo>
                <a:cubicBezTo>
                  <a:pt x="140" y="56"/>
                  <a:pt x="140" y="58"/>
                  <a:pt x="140" y="60"/>
                </a:cubicBezTo>
                <a:cubicBezTo>
                  <a:pt x="134" y="62"/>
                  <a:pt x="134" y="62"/>
                  <a:pt x="134" y="62"/>
                </a:cubicBezTo>
                <a:cubicBezTo>
                  <a:pt x="134" y="62"/>
                  <a:pt x="134" y="62"/>
                  <a:pt x="134" y="62"/>
                </a:cubicBezTo>
                <a:cubicBezTo>
                  <a:pt x="134" y="64"/>
                  <a:pt x="134" y="65"/>
                  <a:pt x="135" y="67"/>
                </a:cubicBezTo>
                <a:cubicBezTo>
                  <a:pt x="135" y="67"/>
                  <a:pt x="135" y="67"/>
                  <a:pt x="135" y="67"/>
                </a:cubicBezTo>
                <a:cubicBezTo>
                  <a:pt x="141" y="68"/>
                  <a:pt x="141" y="68"/>
                  <a:pt x="141" y="68"/>
                </a:cubicBezTo>
                <a:cubicBezTo>
                  <a:pt x="141" y="69"/>
                  <a:pt x="141" y="70"/>
                  <a:pt x="141" y="71"/>
                </a:cubicBezTo>
                <a:cubicBezTo>
                  <a:pt x="141" y="72"/>
                  <a:pt x="141" y="73"/>
                  <a:pt x="141" y="74"/>
                </a:cubicBezTo>
                <a:cubicBezTo>
                  <a:pt x="135" y="75"/>
                  <a:pt x="135" y="75"/>
                  <a:pt x="135" y="75"/>
                </a:cubicBezTo>
                <a:cubicBezTo>
                  <a:pt x="135" y="75"/>
                  <a:pt x="135" y="75"/>
                  <a:pt x="135" y="75"/>
                </a:cubicBezTo>
                <a:cubicBezTo>
                  <a:pt x="134" y="77"/>
                  <a:pt x="134" y="78"/>
                  <a:pt x="134" y="80"/>
                </a:cubicBezTo>
                <a:cubicBezTo>
                  <a:pt x="134" y="80"/>
                  <a:pt x="134" y="80"/>
                  <a:pt x="134" y="80"/>
                </a:cubicBezTo>
                <a:cubicBezTo>
                  <a:pt x="140" y="82"/>
                  <a:pt x="140" y="82"/>
                  <a:pt x="140" y="82"/>
                </a:cubicBezTo>
                <a:cubicBezTo>
                  <a:pt x="140" y="84"/>
                  <a:pt x="140" y="86"/>
                  <a:pt x="139" y="88"/>
                </a:cubicBezTo>
                <a:cubicBezTo>
                  <a:pt x="133" y="87"/>
                  <a:pt x="133" y="87"/>
                  <a:pt x="133" y="87"/>
                </a:cubicBezTo>
                <a:cubicBezTo>
                  <a:pt x="133" y="88"/>
                  <a:pt x="133" y="88"/>
                  <a:pt x="133" y="88"/>
                </a:cubicBezTo>
                <a:cubicBezTo>
                  <a:pt x="132" y="89"/>
                  <a:pt x="132" y="90"/>
                  <a:pt x="131" y="92"/>
                </a:cubicBezTo>
                <a:cubicBezTo>
                  <a:pt x="131" y="92"/>
                  <a:pt x="131" y="92"/>
                  <a:pt x="131" y="92"/>
                </a:cubicBezTo>
                <a:cubicBezTo>
                  <a:pt x="137" y="95"/>
                  <a:pt x="137" y="95"/>
                  <a:pt x="137" y="95"/>
                </a:cubicBezTo>
                <a:cubicBezTo>
                  <a:pt x="136" y="97"/>
                  <a:pt x="135" y="99"/>
                  <a:pt x="134" y="101"/>
                </a:cubicBezTo>
                <a:cubicBezTo>
                  <a:pt x="128" y="99"/>
                  <a:pt x="128" y="99"/>
                  <a:pt x="128" y="99"/>
                </a:cubicBezTo>
                <a:cubicBezTo>
                  <a:pt x="128" y="99"/>
                  <a:pt x="128" y="99"/>
                  <a:pt x="128" y="99"/>
                </a:cubicBezTo>
                <a:cubicBezTo>
                  <a:pt x="128" y="101"/>
                  <a:pt x="127" y="102"/>
                  <a:pt x="126" y="103"/>
                </a:cubicBezTo>
                <a:cubicBezTo>
                  <a:pt x="126" y="104"/>
                  <a:pt x="126" y="104"/>
                  <a:pt x="126" y="104"/>
                </a:cubicBezTo>
                <a:cubicBezTo>
                  <a:pt x="131" y="108"/>
                  <a:pt x="131" y="108"/>
                  <a:pt x="131" y="108"/>
                </a:cubicBezTo>
                <a:cubicBezTo>
                  <a:pt x="130" y="109"/>
                  <a:pt x="129" y="111"/>
                  <a:pt x="127" y="113"/>
                </a:cubicBezTo>
                <a:cubicBezTo>
                  <a:pt x="122" y="110"/>
                  <a:pt x="122" y="110"/>
                  <a:pt x="122" y="110"/>
                </a:cubicBezTo>
                <a:cubicBezTo>
                  <a:pt x="121" y="110"/>
                  <a:pt x="121" y="110"/>
                  <a:pt x="121" y="110"/>
                </a:cubicBezTo>
                <a:cubicBezTo>
                  <a:pt x="121" y="111"/>
                  <a:pt x="120" y="112"/>
                  <a:pt x="119" y="114"/>
                </a:cubicBezTo>
                <a:cubicBezTo>
                  <a:pt x="118" y="114"/>
                  <a:pt x="118" y="114"/>
                  <a:pt x="118" y="114"/>
                </a:cubicBezTo>
                <a:cubicBezTo>
                  <a:pt x="122" y="119"/>
                  <a:pt x="122" y="119"/>
                  <a:pt x="122" y="119"/>
                </a:cubicBezTo>
                <a:cubicBezTo>
                  <a:pt x="121" y="120"/>
                  <a:pt x="120" y="122"/>
                  <a:pt x="118" y="123"/>
                </a:cubicBezTo>
                <a:cubicBezTo>
                  <a:pt x="113" y="119"/>
                  <a:pt x="113" y="119"/>
                  <a:pt x="113" y="119"/>
                </a:cubicBezTo>
                <a:cubicBezTo>
                  <a:pt x="113" y="119"/>
                  <a:pt x="113" y="119"/>
                  <a:pt x="113" y="119"/>
                </a:cubicBezTo>
                <a:cubicBezTo>
                  <a:pt x="112" y="120"/>
                  <a:pt x="111" y="121"/>
                  <a:pt x="109" y="122"/>
                </a:cubicBezTo>
                <a:cubicBezTo>
                  <a:pt x="109" y="122"/>
                  <a:pt x="109" y="122"/>
                  <a:pt x="109" y="122"/>
                </a:cubicBezTo>
                <a:cubicBezTo>
                  <a:pt x="112" y="128"/>
                  <a:pt x="112" y="128"/>
                  <a:pt x="112" y="128"/>
                </a:cubicBezTo>
                <a:cubicBezTo>
                  <a:pt x="111" y="129"/>
                  <a:pt x="109" y="130"/>
                  <a:pt x="107" y="131"/>
                </a:cubicBezTo>
                <a:cubicBezTo>
                  <a:pt x="103" y="126"/>
                  <a:pt x="103" y="126"/>
                  <a:pt x="103" y="126"/>
                </a:cubicBezTo>
                <a:cubicBezTo>
                  <a:pt x="103" y="127"/>
                  <a:pt x="103" y="127"/>
                  <a:pt x="103" y="127"/>
                </a:cubicBezTo>
                <a:cubicBezTo>
                  <a:pt x="101" y="127"/>
                  <a:pt x="100" y="128"/>
                  <a:pt x="99" y="129"/>
                </a:cubicBezTo>
                <a:cubicBezTo>
                  <a:pt x="98" y="129"/>
                  <a:pt x="98" y="129"/>
                  <a:pt x="98" y="129"/>
                </a:cubicBezTo>
                <a:cubicBezTo>
                  <a:pt x="100" y="135"/>
                  <a:pt x="100" y="135"/>
                  <a:pt x="100" y="135"/>
                </a:cubicBezTo>
                <a:cubicBezTo>
                  <a:pt x="98" y="136"/>
                  <a:pt x="96" y="137"/>
                  <a:pt x="95" y="137"/>
                </a:cubicBezTo>
                <a:cubicBezTo>
                  <a:pt x="92" y="132"/>
                  <a:pt x="92" y="132"/>
                  <a:pt x="92" y="132"/>
                </a:cubicBezTo>
                <a:cubicBezTo>
                  <a:pt x="91" y="132"/>
                  <a:pt x="91" y="132"/>
                  <a:pt x="91" y="132"/>
                </a:cubicBezTo>
                <a:cubicBezTo>
                  <a:pt x="90" y="132"/>
                  <a:pt x="88" y="133"/>
                  <a:pt x="87" y="133"/>
                </a:cubicBezTo>
                <a:cubicBezTo>
                  <a:pt x="87" y="133"/>
                  <a:pt x="87" y="133"/>
                  <a:pt x="87" y="133"/>
                </a:cubicBezTo>
                <a:cubicBezTo>
                  <a:pt x="87" y="140"/>
                  <a:pt x="87" y="140"/>
                  <a:pt x="87" y="140"/>
                </a:cubicBezTo>
                <a:cubicBezTo>
                  <a:pt x="85" y="140"/>
                  <a:pt x="83" y="141"/>
                  <a:pt x="81" y="141"/>
                </a:cubicBezTo>
                <a:cubicBezTo>
                  <a:pt x="79" y="135"/>
                  <a:pt x="79" y="135"/>
                  <a:pt x="79" y="135"/>
                </a:cubicBezTo>
                <a:cubicBezTo>
                  <a:pt x="79" y="135"/>
                  <a:pt x="79" y="135"/>
                  <a:pt x="79" y="135"/>
                </a:cubicBezTo>
                <a:cubicBezTo>
                  <a:pt x="77" y="135"/>
                  <a:pt x="76" y="135"/>
                  <a:pt x="74" y="135"/>
                </a:cubicBezTo>
                <a:cubicBezTo>
                  <a:pt x="74" y="135"/>
                  <a:pt x="74" y="135"/>
                  <a:pt x="74" y="135"/>
                </a:cubicBezTo>
                <a:cubicBezTo>
                  <a:pt x="73" y="142"/>
                  <a:pt x="73" y="142"/>
                  <a:pt x="73" y="142"/>
                </a:cubicBezTo>
                <a:cubicBezTo>
                  <a:pt x="72" y="142"/>
                  <a:pt x="71" y="142"/>
                  <a:pt x="70" y="142"/>
                </a:cubicBezTo>
                <a:close/>
              </a:path>
            </a:pathLst>
          </a:custGeom>
          <a:solidFill>
            <a:srgbClr val="AFABAB"/>
          </a:solidFill>
          <a:ln>
            <a:noFill/>
          </a:ln>
          <a:effec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219" name="Freeform 218"/>
          <p:cNvSpPr>
            <a:spLocks/>
          </p:cNvSpPr>
          <p:nvPr/>
        </p:nvSpPr>
        <p:spPr bwMode="auto">
          <a:xfrm flipH="1">
            <a:off x="4383689" y="3411964"/>
            <a:ext cx="1051018" cy="1058385"/>
          </a:xfrm>
          <a:custGeom>
            <a:avLst/>
            <a:gdLst>
              <a:gd name="T0" fmla="*/ 66 w 141"/>
              <a:gd name="T1" fmla="*/ 135 h 142"/>
              <a:gd name="T2" fmla="*/ 54 w 141"/>
              <a:gd name="T3" fmla="*/ 140 h 142"/>
              <a:gd name="T4" fmla="*/ 49 w 141"/>
              <a:gd name="T5" fmla="*/ 132 h 142"/>
              <a:gd name="T6" fmla="*/ 42 w 141"/>
              <a:gd name="T7" fmla="*/ 129 h 142"/>
              <a:gd name="T8" fmla="*/ 29 w 141"/>
              <a:gd name="T9" fmla="*/ 128 h 142"/>
              <a:gd name="T10" fmla="*/ 28 w 141"/>
              <a:gd name="T11" fmla="*/ 119 h 142"/>
              <a:gd name="T12" fmla="*/ 22 w 141"/>
              <a:gd name="T13" fmla="*/ 114 h 142"/>
              <a:gd name="T14" fmla="*/ 10 w 141"/>
              <a:gd name="T15" fmla="*/ 108 h 142"/>
              <a:gd name="T16" fmla="*/ 12 w 141"/>
              <a:gd name="T17" fmla="*/ 99 h 142"/>
              <a:gd name="T18" fmla="*/ 10 w 141"/>
              <a:gd name="T19" fmla="*/ 92 h 142"/>
              <a:gd name="T20" fmla="*/ 1 w 141"/>
              <a:gd name="T21" fmla="*/ 82 h 142"/>
              <a:gd name="T22" fmla="*/ 6 w 141"/>
              <a:gd name="T23" fmla="*/ 75 h 142"/>
              <a:gd name="T24" fmla="*/ 6 w 141"/>
              <a:gd name="T25" fmla="*/ 67 h 142"/>
              <a:gd name="T26" fmla="*/ 1 w 141"/>
              <a:gd name="T27" fmla="*/ 60 h 142"/>
              <a:gd name="T28" fmla="*/ 10 w 141"/>
              <a:gd name="T29" fmla="*/ 50 h 142"/>
              <a:gd name="T30" fmla="*/ 12 w 141"/>
              <a:gd name="T31" fmla="*/ 43 h 142"/>
              <a:gd name="T32" fmla="*/ 10 w 141"/>
              <a:gd name="T33" fmla="*/ 34 h 142"/>
              <a:gd name="T34" fmla="*/ 22 w 141"/>
              <a:gd name="T35" fmla="*/ 29 h 142"/>
              <a:gd name="T36" fmla="*/ 28 w 141"/>
              <a:gd name="T37" fmla="*/ 23 h 142"/>
              <a:gd name="T38" fmla="*/ 29 w 141"/>
              <a:gd name="T39" fmla="*/ 14 h 142"/>
              <a:gd name="T40" fmla="*/ 42 w 141"/>
              <a:gd name="T41" fmla="*/ 13 h 142"/>
              <a:gd name="T42" fmla="*/ 49 w 141"/>
              <a:gd name="T43" fmla="*/ 10 h 142"/>
              <a:gd name="T44" fmla="*/ 54 w 141"/>
              <a:gd name="T45" fmla="*/ 2 h 142"/>
              <a:gd name="T46" fmla="*/ 66 w 141"/>
              <a:gd name="T47" fmla="*/ 7 h 142"/>
              <a:gd name="T48" fmla="*/ 73 w 141"/>
              <a:gd name="T49" fmla="*/ 0 h 142"/>
              <a:gd name="T50" fmla="*/ 79 w 141"/>
              <a:gd name="T51" fmla="*/ 7 h 142"/>
              <a:gd name="T52" fmla="*/ 87 w 141"/>
              <a:gd name="T53" fmla="*/ 9 h 142"/>
              <a:gd name="T54" fmla="*/ 100 w 141"/>
              <a:gd name="T55" fmla="*/ 7 h 142"/>
              <a:gd name="T56" fmla="*/ 103 w 141"/>
              <a:gd name="T57" fmla="*/ 16 h 142"/>
              <a:gd name="T58" fmla="*/ 109 w 141"/>
              <a:gd name="T59" fmla="*/ 20 h 142"/>
              <a:gd name="T60" fmla="*/ 122 w 141"/>
              <a:gd name="T61" fmla="*/ 23 h 142"/>
              <a:gd name="T62" fmla="*/ 122 w 141"/>
              <a:gd name="T63" fmla="*/ 32 h 142"/>
              <a:gd name="T64" fmla="*/ 126 w 141"/>
              <a:gd name="T65" fmla="*/ 39 h 142"/>
              <a:gd name="T66" fmla="*/ 137 w 141"/>
              <a:gd name="T67" fmla="*/ 47 h 142"/>
              <a:gd name="T68" fmla="*/ 133 w 141"/>
              <a:gd name="T69" fmla="*/ 55 h 142"/>
              <a:gd name="T70" fmla="*/ 134 w 141"/>
              <a:gd name="T71" fmla="*/ 62 h 142"/>
              <a:gd name="T72" fmla="*/ 141 w 141"/>
              <a:gd name="T73" fmla="*/ 71 h 142"/>
              <a:gd name="T74" fmla="*/ 134 w 141"/>
              <a:gd name="T75" fmla="*/ 80 h 142"/>
              <a:gd name="T76" fmla="*/ 133 w 141"/>
              <a:gd name="T77" fmla="*/ 87 h 142"/>
              <a:gd name="T78" fmla="*/ 137 w 141"/>
              <a:gd name="T79" fmla="*/ 95 h 142"/>
              <a:gd name="T80" fmla="*/ 126 w 141"/>
              <a:gd name="T81" fmla="*/ 103 h 142"/>
              <a:gd name="T82" fmla="*/ 122 w 141"/>
              <a:gd name="T83" fmla="*/ 110 h 142"/>
              <a:gd name="T84" fmla="*/ 122 w 141"/>
              <a:gd name="T85" fmla="*/ 119 h 142"/>
              <a:gd name="T86" fmla="*/ 109 w 141"/>
              <a:gd name="T87" fmla="*/ 122 h 142"/>
              <a:gd name="T88" fmla="*/ 103 w 141"/>
              <a:gd name="T89" fmla="*/ 126 h 142"/>
              <a:gd name="T90" fmla="*/ 100 w 141"/>
              <a:gd name="T91" fmla="*/ 135 h 142"/>
              <a:gd name="T92" fmla="*/ 87 w 141"/>
              <a:gd name="T93" fmla="*/ 133 h 142"/>
              <a:gd name="T94" fmla="*/ 79 w 141"/>
              <a:gd name="T95" fmla="*/ 135 h 142"/>
              <a:gd name="T96" fmla="*/ 73 w 141"/>
              <a:gd name="T97" fmla="*/ 142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41" h="142">
                <a:moveTo>
                  <a:pt x="70" y="142"/>
                </a:moveTo>
                <a:cubicBezTo>
                  <a:pt x="69" y="142"/>
                  <a:pt x="68" y="142"/>
                  <a:pt x="67" y="142"/>
                </a:cubicBezTo>
                <a:cubicBezTo>
                  <a:pt x="67" y="135"/>
                  <a:pt x="67" y="135"/>
                  <a:pt x="67" y="135"/>
                </a:cubicBezTo>
                <a:cubicBezTo>
                  <a:pt x="66" y="135"/>
                  <a:pt x="66" y="135"/>
                  <a:pt x="66" y="135"/>
                </a:cubicBezTo>
                <a:cubicBezTo>
                  <a:pt x="65" y="135"/>
                  <a:pt x="63" y="135"/>
                  <a:pt x="62" y="135"/>
                </a:cubicBezTo>
                <a:cubicBezTo>
                  <a:pt x="61" y="135"/>
                  <a:pt x="61" y="135"/>
                  <a:pt x="61" y="135"/>
                </a:cubicBezTo>
                <a:cubicBezTo>
                  <a:pt x="60" y="141"/>
                  <a:pt x="60" y="141"/>
                  <a:pt x="60" y="141"/>
                </a:cubicBezTo>
                <a:cubicBezTo>
                  <a:pt x="58" y="141"/>
                  <a:pt x="56" y="140"/>
                  <a:pt x="54" y="140"/>
                </a:cubicBezTo>
                <a:cubicBezTo>
                  <a:pt x="54" y="133"/>
                  <a:pt x="54" y="133"/>
                  <a:pt x="54" y="133"/>
                </a:cubicBezTo>
                <a:cubicBezTo>
                  <a:pt x="54" y="133"/>
                  <a:pt x="54" y="133"/>
                  <a:pt x="54" y="133"/>
                </a:cubicBezTo>
                <a:cubicBezTo>
                  <a:pt x="52" y="133"/>
                  <a:pt x="51" y="132"/>
                  <a:pt x="50" y="132"/>
                </a:cubicBezTo>
                <a:cubicBezTo>
                  <a:pt x="49" y="132"/>
                  <a:pt x="49" y="132"/>
                  <a:pt x="49" y="132"/>
                </a:cubicBezTo>
                <a:cubicBezTo>
                  <a:pt x="46" y="137"/>
                  <a:pt x="46" y="137"/>
                  <a:pt x="46" y="137"/>
                </a:cubicBezTo>
                <a:cubicBezTo>
                  <a:pt x="44" y="137"/>
                  <a:pt x="42" y="136"/>
                  <a:pt x="41" y="135"/>
                </a:cubicBezTo>
                <a:cubicBezTo>
                  <a:pt x="42" y="129"/>
                  <a:pt x="42" y="129"/>
                  <a:pt x="42" y="129"/>
                </a:cubicBezTo>
                <a:cubicBezTo>
                  <a:pt x="42" y="129"/>
                  <a:pt x="42" y="129"/>
                  <a:pt x="42" y="129"/>
                </a:cubicBezTo>
                <a:cubicBezTo>
                  <a:pt x="41" y="128"/>
                  <a:pt x="39" y="127"/>
                  <a:pt x="38" y="127"/>
                </a:cubicBezTo>
                <a:cubicBezTo>
                  <a:pt x="38" y="126"/>
                  <a:pt x="38" y="126"/>
                  <a:pt x="38" y="126"/>
                </a:cubicBezTo>
                <a:cubicBezTo>
                  <a:pt x="34" y="131"/>
                  <a:pt x="34" y="131"/>
                  <a:pt x="34" y="131"/>
                </a:cubicBezTo>
                <a:cubicBezTo>
                  <a:pt x="32" y="130"/>
                  <a:pt x="30" y="129"/>
                  <a:pt x="29" y="128"/>
                </a:cubicBezTo>
                <a:cubicBezTo>
                  <a:pt x="32" y="122"/>
                  <a:pt x="32" y="122"/>
                  <a:pt x="32" y="122"/>
                </a:cubicBezTo>
                <a:cubicBezTo>
                  <a:pt x="31" y="122"/>
                  <a:pt x="31" y="122"/>
                  <a:pt x="31" y="122"/>
                </a:cubicBezTo>
                <a:cubicBezTo>
                  <a:pt x="30" y="121"/>
                  <a:pt x="29" y="120"/>
                  <a:pt x="28" y="119"/>
                </a:cubicBezTo>
                <a:cubicBezTo>
                  <a:pt x="28" y="119"/>
                  <a:pt x="28" y="119"/>
                  <a:pt x="28" y="119"/>
                </a:cubicBezTo>
                <a:cubicBezTo>
                  <a:pt x="23" y="123"/>
                  <a:pt x="23" y="123"/>
                  <a:pt x="23" y="123"/>
                </a:cubicBezTo>
                <a:cubicBezTo>
                  <a:pt x="21" y="122"/>
                  <a:pt x="20" y="120"/>
                  <a:pt x="18" y="119"/>
                </a:cubicBezTo>
                <a:cubicBezTo>
                  <a:pt x="22" y="114"/>
                  <a:pt x="22" y="114"/>
                  <a:pt x="22" y="114"/>
                </a:cubicBezTo>
                <a:cubicBezTo>
                  <a:pt x="22" y="114"/>
                  <a:pt x="22" y="114"/>
                  <a:pt x="22" y="114"/>
                </a:cubicBezTo>
                <a:cubicBezTo>
                  <a:pt x="21" y="112"/>
                  <a:pt x="20" y="111"/>
                  <a:pt x="19" y="110"/>
                </a:cubicBezTo>
                <a:cubicBezTo>
                  <a:pt x="19" y="110"/>
                  <a:pt x="19" y="110"/>
                  <a:pt x="19" y="110"/>
                </a:cubicBezTo>
                <a:cubicBezTo>
                  <a:pt x="13" y="113"/>
                  <a:pt x="13" y="113"/>
                  <a:pt x="13" y="113"/>
                </a:cubicBezTo>
                <a:cubicBezTo>
                  <a:pt x="12" y="111"/>
                  <a:pt x="11" y="109"/>
                  <a:pt x="10" y="108"/>
                </a:cubicBezTo>
                <a:cubicBezTo>
                  <a:pt x="15" y="104"/>
                  <a:pt x="15" y="104"/>
                  <a:pt x="15" y="104"/>
                </a:cubicBezTo>
                <a:cubicBezTo>
                  <a:pt x="15" y="103"/>
                  <a:pt x="15" y="103"/>
                  <a:pt x="15" y="103"/>
                </a:cubicBezTo>
                <a:cubicBezTo>
                  <a:pt x="14" y="102"/>
                  <a:pt x="13" y="101"/>
                  <a:pt x="13" y="99"/>
                </a:cubicBezTo>
                <a:cubicBezTo>
                  <a:pt x="12" y="99"/>
                  <a:pt x="12" y="99"/>
                  <a:pt x="12" y="99"/>
                </a:cubicBezTo>
                <a:cubicBezTo>
                  <a:pt x="6" y="101"/>
                  <a:pt x="6" y="101"/>
                  <a:pt x="6" y="101"/>
                </a:cubicBezTo>
                <a:cubicBezTo>
                  <a:pt x="5" y="99"/>
                  <a:pt x="5" y="97"/>
                  <a:pt x="4" y="95"/>
                </a:cubicBezTo>
                <a:cubicBezTo>
                  <a:pt x="10" y="92"/>
                  <a:pt x="10" y="92"/>
                  <a:pt x="10" y="92"/>
                </a:cubicBezTo>
                <a:cubicBezTo>
                  <a:pt x="10" y="92"/>
                  <a:pt x="10" y="92"/>
                  <a:pt x="10" y="92"/>
                </a:cubicBezTo>
                <a:cubicBezTo>
                  <a:pt x="9" y="90"/>
                  <a:pt x="9" y="89"/>
                  <a:pt x="8" y="88"/>
                </a:cubicBezTo>
                <a:cubicBezTo>
                  <a:pt x="8" y="87"/>
                  <a:pt x="8" y="87"/>
                  <a:pt x="8" y="87"/>
                </a:cubicBezTo>
                <a:cubicBezTo>
                  <a:pt x="2" y="88"/>
                  <a:pt x="2" y="88"/>
                  <a:pt x="2" y="88"/>
                </a:cubicBezTo>
                <a:cubicBezTo>
                  <a:pt x="1" y="86"/>
                  <a:pt x="1" y="84"/>
                  <a:pt x="1" y="82"/>
                </a:cubicBezTo>
                <a:cubicBezTo>
                  <a:pt x="7" y="80"/>
                  <a:pt x="7" y="80"/>
                  <a:pt x="7" y="80"/>
                </a:cubicBezTo>
                <a:cubicBezTo>
                  <a:pt x="7" y="80"/>
                  <a:pt x="7" y="80"/>
                  <a:pt x="7" y="80"/>
                </a:cubicBezTo>
                <a:cubicBezTo>
                  <a:pt x="6" y="78"/>
                  <a:pt x="6" y="77"/>
                  <a:pt x="6" y="75"/>
                </a:cubicBezTo>
                <a:cubicBezTo>
                  <a:pt x="6" y="75"/>
                  <a:pt x="6" y="75"/>
                  <a:pt x="6" y="75"/>
                </a:cubicBezTo>
                <a:cubicBezTo>
                  <a:pt x="0" y="74"/>
                  <a:pt x="0" y="74"/>
                  <a:pt x="0" y="74"/>
                </a:cubicBezTo>
                <a:cubicBezTo>
                  <a:pt x="0" y="73"/>
                  <a:pt x="0" y="72"/>
                  <a:pt x="0" y="71"/>
                </a:cubicBezTo>
                <a:cubicBezTo>
                  <a:pt x="0" y="70"/>
                  <a:pt x="0" y="69"/>
                  <a:pt x="0" y="68"/>
                </a:cubicBezTo>
                <a:cubicBezTo>
                  <a:pt x="6" y="67"/>
                  <a:pt x="6" y="67"/>
                  <a:pt x="6" y="67"/>
                </a:cubicBezTo>
                <a:cubicBezTo>
                  <a:pt x="6" y="67"/>
                  <a:pt x="6" y="67"/>
                  <a:pt x="6" y="67"/>
                </a:cubicBezTo>
                <a:cubicBezTo>
                  <a:pt x="6" y="65"/>
                  <a:pt x="6" y="64"/>
                  <a:pt x="7" y="62"/>
                </a:cubicBezTo>
                <a:cubicBezTo>
                  <a:pt x="7" y="62"/>
                  <a:pt x="7" y="62"/>
                  <a:pt x="7" y="62"/>
                </a:cubicBezTo>
                <a:cubicBezTo>
                  <a:pt x="1" y="60"/>
                  <a:pt x="1" y="60"/>
                  <a:pt x="1" y="60"/>
                </a:cubicBezTo>
                <a:cubicBezTo>
                  <a:pt x="1" y="58"/>
                  <a:pt x="1" y="56"/>
                  <a:pt x="2" y="54"/>
                </a:cubicBezTo>
                <a:cubicBezTo>
                  <a:pt x="8" y="55"/>
                  <a:pt x="8" y="55"/>
                  <a:pt x="8" y="55"/>
                </a:cubicBezTo>
                <a:cubicBezTo>
                  <a:pt x="8" y="54"/>
                  <a:pt x="8" y="54"/>
                  <a:pt x="8" y="54"/>
                </a:cubicBezTo>
                <a:cubicBezTo>
                  <a:pt x="9" y="53"/>
                  <a:pt x="9" y="52"/>
                  <a:pt x="10" y="50"/>
                </a:cubicBezTo>
                <a:cubicBezTo>
                  <a:pt x="10" y="50"/>
                  <a:pt x="10" y="50"/>
                  <a:pt x="10" y="50"/>
                </a:cubicBezTo>
                <a:cubicBezTo>
                  <a:pt x="4" y="47"/>
                  <a:pt x="4" y="47"/>
                  <a:pt x="4" y="47"/>
                </a:cubicBezTo>
                <a:cubicBezTo>
                  <a:pt x="5" y="45"/>
                  <a:pt x="5" y="43"/>
                  <a:pt x="6" y="41"/>
                </a:cubicBezTo>
                <a:cubicBezTo>
                  <a:pt x="12" y="43"/>
                  <a:pt x="12" y="43"/>
                  <a:pt x="12" y="43"/>
                </a:cubicBezTo>
                <a:cubicBezTo>
                  <a:pt x="13" y="43"/>
                  <a:pt x="13" y="43"/>
                  <a:pt x="13" y="43"/>
                </a:cubicBezTo>
                <a:cubicBezTo>
                  <a:pt x="13" y="41"/>
                  <a:pt x="14" y="40"/>
                  <a:pt x="15" y="39"/>
                </a:cubicBezTo>
                <a:cubicBezTo>
                  <a:pt x="15" y="38"/>
                  <a:pt x="15" y="38"/>
                  <a:pt x="15" y="38"/>
                </a:cubicBezTo>
                <a:cubicBezTo>
                  <a:pt x="10" y="34"/>
                  <a:pt x="10" y="34"/>
                  <a:pt x="10" y="34"/>
                </a:cubicBezTo>
                <a:cubicBezTo>
                  <a:pt x="11" y="33"/>
                  <a:pt x="12" y="31"/>
                  <a:pt x="13" y="29"/>
                </a:cubicBezTo>
                <a:cubicBezTo>
                  <a:pt x="19" y="32"/>
                  <a:pt x="19" y="32"/>
                  <a:pt x="19" y="32"/>
                </a:cubicBezTo>
                <a:cubicBezTo>
                  <a:pt x="19" y="32"/>
                  <a:pt x="19" y="32"/>
                  <a:pt x="19" y="32"/>
                </a:cubicBezTo>
                <a:cubicBezTo>
                  <a:pt x="20" y="31"/>
                  <a:pt x="21" y="30"/>
                  <a:pt x="22" y="29"/>
                </a:cubicBezTo>
                <a:cubicBezTo>
                  <a:pt x="22" y="28"/>
                  <a:pt x="22" y="28"/>
                  <a:pt x="22" y="28"/>
                </a:cubicBezTo>
                <a:cubicBezTo>
                  <a:pt x="18" y="23"/>
                  <a:pt x="18" y="23"/>
                  <a:pt x="18" y="23"/>
                </a:cubicBezTo>
                <a:cubicBezTo>
                  <a:pt x="20" y="22"/>
                  <a:pt x="21" y="20"/>
                  <a:pt x="23" y="19"/>
                </a:cubicBezTo>
                <a:cubicBezTo>
                  <a:pt x="28" y="23"/>
                  <a:pt x="28" y="23"/>
                  <a:pt x="28" y="23"/>
                </a:cubicBezTo>
                <a:cubicBezTo>
                  <a:pt x="28" y="23"/>
                  <a:pt x="28" y="23"/>
                  <a:pt x="28" y="23"/>
                </a:cubicBezTo>
                <a:cubicBezTo>
                  <a:pt x="29" y="22"/>
                  <a:pt x="30" y="21"/>
                  <a:pt x="31" y="20"/>
                </a:cubicBezTo>
                <a:cubicBezTo>
                  <a:pt x="32" y="20"/>
                  <a:pt x="32" y="20"/>
                  <a:pt x="32" y="20"/>
                </a:cubicBezTo>
                <a:cubicBezTo>
                  <a:pt x="29" y="14"/>
                  <a:pt x="29" y="14"/>
                  <a:pt x="29" y="14"/>
                </a:cubicBezTo>
                <a:cubicBezTo>
                  <a:pt x="30" y="13"/>
                  <a:pt x="32" y="12"/>
                  <a:pt x="34" y="11"/>
                </a:cubicBezTo>
                <a:cubicBezTo>
                  <a:pt x="38" y="16"/>
                  <a:pt x="38" y="16"/>
                  <a:pt x="38" y="16"/>
                </a:cubicBezTo>
                <a:cubicBezTo>
                  <a:pt x="38" y="15"/>
                  <a:pt x="38" y="15"/>
                  <a:pt x="38" y="15"/>
                </a:cubicBezTo>
                <a:cubicBezTo>
                  <a:pt x="39" y="15"/>
                  <a:pt x="41" y="14"/>
                  <a:pt x="42" y="13"/>
                </a:cubicBezTo>
                <a:cubicBezTo>
                  <a:pt x="42" y="13"/>
                  <a:pt x="42" y="13"/>
                  <a:pt x="42" y="13"/>
                </a:cubicBezTo>
                <a:cubicBezTo>
                  <a:pt x="41" y="7"/>
                  <a:pt x="41" y="7"/>
                  <a:pt x="41" y="7"/>
                </a:cubicBezTo>
                <a:cubicBezTo>
                  <a:pt x="42" y="6"/>
                  <a:pt x="44" y="5"/>
                  <a:pt x="46" y="5"/>
                </a:cubicBezTo>
                <a:cubicBezTo>
                  <a:pt x="49" y="10"/>
                  <a:pt x="49" y="10"/>
                  <a:pt x="49" y="10"/>
                </a:cubicBezTo>
                <a:cubicBezTo>
                  <a:pt x="50" y="10"/>
                  <a:pt x="50" y="10"/>
                  <a:pt x="50" y="10"/>
                </a:cubicBezTo>
                <a:cubicBezTo>
                  <a:pt x="51" y="10"/>
                  <a:pt x="52" y="9"/>
                  <a:pt x="54" y="9"/>
                </a:cubicBezTo>
                <a:cubicBezTo>
                  <a:pt x="54" y="9"/>
                  <a:pt x="54" y="9"/>
                  <a:pt x="54" y="9"/>
                </a:cubicBezTo>
                <a:cubicBezTo>
                  <a:pt x="54" y="2"/>
                  <a:pt x="54" y="2"/>
                  <a:pt x="54" y="2"/>
                </a:cubicBezTo>
                <a:cubicBezTo>
                  <a:pt x="56" y="2"/>
                  <a:pt x="58" y="1"/>
                  <a:pt x="60" y="1"/>
                </a:cubicBezTo>
                <a:cubicBezTo>
                  <a:pt x="61" y="7"/>
                  <a:pt x="61" y="7"/>
                  <a:pt x="61" y="7"/>
                </a:cubicBezTo>
                <a:cubicBezTo>
                  <a:pt x="62" y="7"/>
                  <a:pt x="62" y="7"/>
                  <a:pt x="62" y="7"/>
                </a:cubicBezTo>
                <a:cubicBezTo>
                  <a:pt x="63" y="7"/>
                  <a:pt x="65" y="7"/>
                  <a:pt x="66" y="7"/>
                </a:cubicBezTo>
                <a:cubicBezTo>
                  <a:pt x="67" y="7"/>
                  <a:pt x="67" y="7"/>
                  <a:pt x="67" y="7"/>
                </a:cubicBezTo>
                <a:cubicBezTo>
                  <a:pt x="67" y="0"/>
                  <a:pt x="67" y="0"/>
                  <a:pt x="67" y="0"/>
                </a:cubicBezTo>
                <a:cubicBezTo>
                  <a:pt x="68" y="0"/>
                  <a:pt x="69" y="0"/>
                  <a:pt x="70" y="0"/>
                </a:cubicBezTo>
                <a:cubicBezTo>
                  <a:pt x="71" y="0"/>
                  <a:pt x="72" y="0"/>
                  <a:pt x="73" y="0"/>
                </a:cubicBezTo>
                <a:cubicBezTo>
                  <a:pt x="74" y="7"/>
                  <a:pt x="74" y="7"/>
                  <a:pt x="74" y="7"/>
                </a:cubicBezTo>
                <a:cubicBezTo>
                  <a:pt x="74" y="7"/>
                  <a:pt x="74" y="7"/>
                  <a:pt x="74" y="7"/>
                </a:cubicBezTo>
                <a:cubicBezTo>
                  <a:pt x="76" y="7"/>
                  <a:pt x="77" y="7"/>
                  <a:pt x="79" y="7"/>
                </a:cubicBezTo>
                <a:cubicBezTo>
                  <a:pt x="79" y="7"/>
                  <a:pt x="79" y="7"/>
                  <a:pt x="79" y="7"/>
                </a:cubicBezTo>
                <a:cubicBezTo>
                  <a:pt x="81" y="1"/>
                  <a:pt x="81" y="1"/>
                  <a:pt x="81" y="1"/>
                </a:cubicBezTo>
                <a:cubicBezTo>
                  <a:pt x="83" y="1"/>
                  <a:pt x="85" y="2"/>
                  <a:pt x="87" y="2"/>
                </a:cubicBezTo>
                <a:cubicBezTo>
                  <a:pt x="87" y="9"/>
                  <a:pt x="87" y="9"/>
                  <a:pt x="87" y="9"/>
                </a:cubicBezTo>
                <a:cubicBezTo>
                  <a:pt x="87" y="9"/>
                  <a:pt x="87" y="9"/>
                  <a:pt x="87" y="9"/>
                </a:cubicBezTo>
                <a:cubicBezTo>
                  <a:pt x="88" y="9"/>
                  <a:pt x="90" y="10"/>
                  <a:pt x="91" y="10"/>
                </a:cubicBezTo>
                <a:cubicBezTo>
                  <a:pt x="92" y="10"/>
                  <a:pt x="92" y="10"/>
                  <a:pt x="92" y="10"/>
                </a:cubicBezTo>
                <a:cubicBezTo>
                  <a:pt x="95" y="5"/>
                  <a:pt x="95" y="5"/>
                  <a:pt x="95" y="5"/>
                </a:cubicBezTo>
                <a:cubicBezTo>
                  <a:pt x="96" y="5"/>
                  <a:pt x="98" y="6"/>
                  <a:pt x="100" y="7"/>
                </a:cubicBezTo>
                <a:cubicBezTo>
                  <a:pt x="98" y="13"/>
                  <a:pt x="98" y="13"/>
                  <a:pt x="98" y="13"/>
                </a:cubicBezTo>
                <a:cubicBezTo>
                  <a:pt x="99" y="13"/>
                  <a:pt x="99" y="13"/>
                  <a:pt x="99" y="13"/>
                </a:cubicBezTo>
                <a:cubicBezTo>
                  <a:pt x="100" y="14"/>
                  <a:pt x="101" y="15"/>
                  <a:pt x="103" y="15"/>
                </a:cubicBezTo>
                <a:cubicBezTo>
                  <a:pt x="103" y="16"/>
                  <a:pt x="103" y="16"/>
                  <a:pt x="103" y="16"/>
                </a:cubicBezTo>
                <a:cubicBezTo>
                  <a:pt x="107" y="11"/>
                  <a:pt x="107" y="11"/>
                  <a:pt x="107" y="11"/>
                </a:cubicBezTo>
                <a:cubicBezTo>
                  <a:pt x="109" y="12"/>
                  <a:pt x="111" y="13"/>
                  <a:pt x="112" y="14"/>
                </a:cubicBezTo>
                <a:cubicBezTo>
                  <a:pt x="109" y="20"/>
                  <a:pt x="109" y="20"/>
                  <a:pt x="109" y="20"/>
                </a:cubicBezTo>
                <a:cubicBezTo>
                  <a:pt x="109" y="20"/>
                  <a:pt x="109" y="20"/>
                  <a:pt x="109" y="20"/>
                </a:cubicBezTo>
                <a:cubicBezTo>
                  <a:pt x="111" y="21"/>
                  <a:pt x="112" y="22"/>
                  <a:pt x="113" y="23"/>
                </a:cubicBezTo>
                <a:cubicBezTo>
                  <a:pt x="113" y="23"/>
                  <a:pt x="113" y="23"/>
                  <a:pt x="113" y="23"/>
                </a:cubicBezTo>
                <a:cubicBezTo>
                  <a:pt x="118" y="19"/>
                  <a:pt x="118" y="19"/>
                  <a:pt x="118" y="19"/>
                </a:cubicBezTo>
                <a:cubicBezTo>
                  <a:pt x="120" y="20"/>
                  <a:pt x="121" y="22"/>
                  <a:pt x="122" y="23"/>
                </a:cubicBezTo>
                <a:cubicBezTo>
                  <a:pt x="118" y="28"/>
                  <a:pt x="118" y="28"/>
                  <a:pt x="118" y="28"/>
                </a:cubicBezTo>
                <a:cubicBezTo>
                  <a:pt x="119" y="29"/>
                  <a:pt x="119" y="29"/>
                  <a:pt x="119" y="29"/>
                </a:cubicBezTo>
                <a:cubicBezTo>
                  <a:pt x="120" y="30"/>
                  <a:pt x="121" y="31"/>
                  <a:pt x="121" y="32"/>
                </a:cubicBezTo>
                <a:cubicBezTo>
                  <a:pt x="122" y="32"/>
                  <a:pt x="122" y="32"/>
                  <a:pt x="122" y="32"/>
                </a:cubicBezTo>
                <a:cubicBezTo>
                  <a:pt x="127" y="29"/>
                  <a:pt x="127" y="29"/>
                  <a:pt x="127" y="29"/>
                </a:cubicBezTo>
                <a:cubicBezTo>
                  <a:pt x="129" y="31"/>
                  <a:pt x="130" y="33"/>
                  <a:pt x="131" y="34"/>
                </a:cubicBezTo>
                <a:cubicBezTo>
                  <a:pt x="126" y="38"/>
                  <a:pt x="126" y="38"/>
                  <a:pt x="126" y="38"/>
                </a:cubicBezTo>
                <a:cubicBezTo>
                  <a:pt x="126" y="39"/>
                  <a:pt x="126" y="39"/>
                  <a:pt x="126" y="39"/>
                </a:cubicBezTo>
                <a:cubicBezTo>
                  <a:pt x="127" y="40"/>
                  <a:pt x="128" y="41"/>
                  <a:pt x="128" y="43"/>
                </a:cubicBezTo>
                <a:cubicBezTo>
                  <a:pt x="128" y="43"/>
                  <a:pt x="128" y="43"/>
                  <a:pt x="128" y="43"/>
                </a:cubicBezTo>
                <a:cubicBezTo>
                  <a:pt x="134" y="41"/>
                  <a:pt x="134" y="41"/>
                  <a:pt x="134" y="41"/>
                </a:cubicBezTo>
                <a:cubicBezTo>
                  <a:pt x="135" y="43"/>
                  <a:pt x="136" y="45"/>
                  <a:pt x="137" y="47"/>
                </a:cubicBezTo>
                <a:cubicBezTo>
                  <a:pt x="131" y="50"/>
                  <a:pt x="131" y="50"/>
                  <a:pt x="131" y="50"/>
                </a:cubicBezTo>
                <a:cubicBezTo>
                  <a:pt x="131" y="50"/>
                  <a:pt x="131" y="50"/>
                  <a:pt x="131" y="50"/>
                </a:cubicBezTo>
                <a:cubicBezTo>
                  <a:pt x="132" y="52"/>
                  <a:pt x="132" y="53"/>
                  <a:pt x="133" y="54"/>
                </a:cubicBezTo>
                <a:cubicBezTo>
                  <a:pt x="133" y="55"/>
                  <a:pt x="133" y="55"/>
                  <a:pt x="133" y="55"/>
                </a:cubicBezTo>
                <a:cubicBezTo>
                  <a:pt x="139" y="54"/>
                  <a:pt x="139" y="54"/>
                  <a:pt x="139" y="54"/>
                </a:cubicBezTo>
                <a:cubicBezTo>
                  <a:pt x="140" y="56"/>
                  <a:pt x="140" y="58"/>
                  <a:pt x="140" y="60"/>
                </a:cubicBezTo>
                <a:cubicBezTo>
                  <a:pt x="134" y="62"/>
                  <a:pt x="134" y="62"/>
                  <a:pt x="134" y="62"/>
                </a:cubicBezTo>
                <a:cubicBezTo>
                  <a:pt x="134" y="62"/>
                  <a:pt x="134" y="62"/>
                  <a:pt x="134" y="62"/>
                </a:cubicBezTo>
                <a:cubicBezTo>
                  <a:pt x="134" y="64"/>
                  <a:pt x="134" y="65"/>
                  <a:pt x="135" y="67"/>
                </a:cubicBezTo>
                <a:cubicBezTo>
                  <a:pt x="135" y="67"/>
                  <a:pt x="135" y="67"/>
                  <a:pt x="135" y="67"/>
                </a:cubicBezTo>
                <a:cubicBezTo>
                  <a:pt x="141" y="68"/>
                  <a:pt x="141" y="68"/>
                  <a:pt x="141" y="68"/>
                </a:cubicBezTo>
                <a:cubicBezTo>
                  <a:pt x="141" y="69"/>
                  <a:pt x="141" y="70"/>
                  <a:pt x="141" y="71"/>
                </a:cubicBezTo>
                <a:cubicBezTo>
                  <a:pt x="141" y="72"/>
                  <a:pt x="141" y="73"/>
                  <a:pt x="141" y="74"/>
                </a:cubicBezTo>
                <a:cubicBezTo>
                  <a:pt x="135" y="75"/>
                  <a:pt x="135" y="75"/>
                  <a:pt x="135" y="75"/>
                </a:cubicBezTo>
                <a:cubicBezTo>
                  <a:pt x="135" y="75"/>
                  <a:pt x="135" y="75"/>
                  <a:pt x="135" y="75"/>
                </a:cubicBezTo>
                <a:cubicBezTo>
                  <a:pt x="134" y="77"/>
                  <a:pt x="134" y="78"/>
                  <a:pt x="134" y="80"/>
                </a:cubicBezTo>
                <a:cubicBezTo>
                  <a:pt x="134" y="80"/>
                  <a:pt x="134" y="80"/>
                  <a:pt x="134" y="80"/>
                </a:cubicBezTo>
                <a:cubicBezTo>
                  <a:pt x="140" y="82"/>
                  <a:pt x="140" y="82"/>
                  <a:pt x="140" y="82"/>
                </a:cubicBezTo>
                <a:cubicBezTo>
                  <a:pt x="140" y="84"/>
                  <a:pt x="140" y="86"/>
                  <a:pt x="139" y="88"/>
                </a:cubicBezTo>
                <a:cubicBezTo>
                  <a:pt x="133" y="87"/>
                  <a:pt x="133" y="87"/>
                  <a:pt x="133" y="87"/>
                </a:cubicBezTo>
                <a:cubicBezTo>
                  <a:pt x="133" y="88"/>
                  <a:pt x="133" y="88"/>
                  <a:pt x="133" y="88"/>
                </a:cubicBezTo>
                <a:cubicBezTo>
                  <a:pt x="132" y="89"/>
                  <a:pt x="132" y="90"/>
                  <a:pt x="131" y="92"/>
                </a:cubicBezTo>
                <a:cubicBezTo>
                  <a:pt x="131" y="92"/>
                  <a:pt x="131" y="92"/>
                  <a:pt x="131" y="92"/>
                </a:cubicBezTo>
                <a:cubicBezTo>
                  <a:pt x="137" y="95"/>
                  <a:pt x="137" y="95"/>
                  <a:pt x="137" y="95"/>
                </a:cubicBezTo>
                <a:cubicBezTo>
                  <a:pt x="136" y="97"/>
                  <a:pt x="135" y="99"/>
                  <a:pt x="134" y="101"/>
                </a:cubicBezTo>
                <a:cubicBezTo>
                  <a:pt x="128" y="99"/>
                  <a:pt x="128" y="99"/>
                  <a:pt x="128" y="99"/>
                </a:cubicBezTo>
                <a:cubicBezTo>
                  <a:pt x="128" y="99"/>
                  <a:pt x="128" y="99"/>
                  <a:pt x="128" y="99"/>
                </a:cubicBezTo>
                <a:cubicBezTo>
                  <a:pt x="128" y="101"/>
                  <a:pt x="127" y="102"/>
                  <a:pt x="126" y="103"/>
                </a:cubicBezTo>
                <a:cubicBezTo>
                  <a:pt x="126" y="104"/>
                  <a:pt x="126" y="104"/>
                  <a:pt x="126" y="104"/>
                </a:cubicBezTo>
                <a:cubicBezTo>
                  <a:pt x="131" y="108"/>
                  <a:pt x="131" y="108"/>
                  <a:pt x="131" y="108"/>
                </a:cubicBezTo>
                <a:cubicBezTo>
                  <a:pt x="130" y="109"/>
                  <a:pt x="129" y="111"/>
                  <a:pt x="127" y="113"/>
                </a:cubicBezTo>
                <a:cubicBezTo>
                  <a:pt x="122" y="110"/>
                  <a:pt x="122" y="110"/>
                  <a:pt x="122" y="110"/>
                </a:cubicBezTo>
                <a:cubicBezTo>
                  <a:pt x="121" y="110"/>
                  <a:pt x="121" y="110"/>
                  <a:pt x="121" y="110"/>
                </a:cubicBezTo>
                <a:cubicBezTo>
                  <a:pt x="121" y="111"/>
                  <a:pt x="120" y="112"/>
                  <a:pt x="119" y="114"/>
                </a:cubicBezTo>
                <a:cubicBezTo>
                  <a:pt x="118" y="114"/>
                  <a:pt x="118" y="114"/>
                  <a:pt x="118" y="114"/>
                </a:cubicBezTo>
                <a:cubicBezTo>
                  <a:pt x="122" y="119"/>
                  <a:pt x="122" y="119"/>
                  <a:pt x="122" y="119"/>
                </a:cubicBezTo>
                <a:cubicBezTo>
                  <a:pt x="121" y="120"/>
                  <a:pt x="120" y="122"/>
                  <a:pt x="118" y="123"/>
                </a:cubicBezTo>
                <a:cubicBezTo>
                  <a:pt x="113" y="119"/>
                  <a:pt x="113" y="119"/>
                  <a:pt x="113" y="119"/>
                </a:cubicBezTo>
                <a:cubicBezTo>
                  <a:pt x="113" y="119"/>
                  <a:pt x="113" y="119"/>
                  <a:pt x="113" y="119"/>
                </a:cubicBezTo>
                <a:cubicBezTo>
                  <a:pt x="112" y="120"/>
                  <a:pt x="111" y="121"/>
                  <a:pt x="109" y="122"/>
                </a:cubicBezTo>
                <a:cubicBezTo>
                  <a:pt x="109" y="122"/>
                  <a:pt x="109" y="122"/>
                  <a:pt x="109" y="122"/>
                </a:cubicBezTo>
                <a:cubicBezTo>
                  <a:pt x="112" y="128"/>
                  <a:pt x="112" y="128"/>
                  <a:pt x="112" y="128"/>
                </a:cubicBezTo>
                <a:cubicBezTo>
                  <a:pt x="111" y="129"/>
                  <a:pt x="109" y="130"/>
                  <a:pt x="107" y="131"/>
                </a:cubicBezTo>
                <a:cubicBezTo>
                  <a:pt x="103" y="126"/>
                  <a:pt x="103" y="126"/>
                  <a:pt x="103" y="126"/>
                </a:cubicBezTo>
                <a:cubicBezTo>
                  <a:pt x="103" y="127"/>
                  <a:pt x="103" y="127"/>
                  <a:pt x="103" y="127"/>
                </a:cubicBezTo>
                <a:cubicBezTo>
                  <a:pt x="101" y="127"/>
                  <a:pt x="100" y="128"/>
                  <a:pt x="99" y="129"/>
                </a:cubicBezTo>
                <a:cubicBezTo>
                  <a:pt x="98" y="129"/>
                  <a:pt x="98" y="129"/>
                  <a:pt x="98" y="129"/>
                </a:cubicBezTo>
                <a:cubicBezTo>
                  <a:pt x="100" y="135"/>
                  <a:pt x="100" y="135"/>
                  <a:pt x="100" y="135"/>
                </a:cubicBezTo>
                <a:cubicBezTo>
                  <a:pt x="98" y="136"/>
                  <a:pt x="96" y="137"/>
                  <a:pt x="95" y="137"/>
                </a:cubicBezTo>
                <a:cubicBezTo>
                  <a:pt x="92" y="132"/>
                  <a:pt x="92" y="132"/>
                  <a:pt x="92" y="132"/>
                </a:cubicBezTo>
                <a:cubicBezTo>
                  <a:pt x="91" y="132"/>
                  <a:pt x="91" y="132"/>
                  <a:pt x="91" y="132"/>
                </a:cubicBezTo>
                <a:cubicBezTo>
                  <a:pt x="90" y="132"/>
                  <a:pt x="88" y="133"/>
                  <a:pt x="87" y="133"/>
                </a:cubicBezTo>
                <a:cubicBezTo>
                  <a:pt x="87" y="133"/>
                  <a:pt x="87" y="133"/>
                  <a:pt x="87" y="133"/>
                </a:cubicBezTo>
                <a:cubicBezTo>
                  <a:pt x="87" y="140"/>
                  <a:pt x="87" y="140"/>
                  <a:pt x="87" y="140"/>
                </a:cubicBezTo>
                <a:cubicBezTo>
                  <a:pt x="85" y="140"/>
                  <a:pt x="83" y="141"/>
                  <a:pt x="81" y="141"/>
                </a:cubicBezTo>
                <a:cubicBezTo>
                  <a:pt x="79" y="135"/>
                  <a:pt x="79" y="135"/>
                  <a:pt x="79" y="135"/>
                </a:cubicBezTo>
                <a:cubicBezTo>
                  <a:pt x="79" y="135"/>
                  <a:pt x="79" y="135"/>
                  <a:pt x="79" y="135"/>
                </a:cubicBezTo>
                <a:cubicBezTo>
                  <a:pt x="77" y="135"/>
                  <a:pt x="76" y="135"/>
                  <a:pt x="74" y="135"/>
                </a:cubicBezTo>
                <a:cubicBezTo>
                  <a:pt x="74" y="135"/>
                  <a:pt x="74" y="135"/>
                  <a:pt x="74" y="135"/>
                </a:cubicBezTo>
                <a:cubicBezTo>
                  <a:pt x="73" y="142"/>
                  <a:pt x="73" y="142"/>
                  <a:pt x="73" y="142"/>
                </a:cubicBezTo>
                <a:cubicBezTo>
                  <a:pt x="72" y="142"/>
                  <a:pt x="71" y="142"/>
                  <a:pt x="70" y="142"/>
                </a:cubicBezTo>
                <a:close/>
              </a:path>
            </a:pathLst>
          </a:custGeom>
          <a:solidFill>
            <a:srgbClr val="E2583D"/>
          </a:solidFill>
          <a:ln>
            <a:noFill/>
          </a:ln>
          <a:effectLst>
            <a:outerShdw blurRad="50800" dist="38100" dir="5400000" algn="t" rotWithShape="0">
              <a:prstClr val="black">
                <a:alpha val="40000"/>
              </a:prstClr>
            </a:outerShdw>
          </a:effec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220" name="Freeform 219"/>
          <p:cNvSpPr>
            <a:spLocks/>
          </p:cNvSpPr>
          <p:nvPr/>
        </p:nvSpPr>
        <p:spPr bwMode="auto">
          <a:xfrm flipH="1">
            <a:off x="4297583" y="2146342"/>
            <a:ext cx="1137124" cy="1145097"/>
          </a:xfrm>
          <a:custGeom>
            <a:avLst/>
            <a:gdLst>
              <a:gd name="T0" fmla="*/ 66 w 141"/>
              <a:gd name="T1" fmla="*/ 135 h 142"/>
              <a:gd name="T2" fmla="*/ 54 w 141"/>
              <a:gd name="T3" fmla="*/ 140 h 142"/>
              <a:gd name="T4" fmla="*/ 49 w 141"/>
              <a:gd name="T5" fmla="*/ 132 h 142"/>
              <a:gd name="T6" fmla="*/ 42 w 141"/>
              <a:gd name="T7" fmla="*/ 129 h 142"/>
              <a:gd name="T8" fmla="*/ 29 w 141"/>
              <a:gd name="T9" fmla="*/ 128 h 142"/>
              <a:gd name="T10" fmla="*/ 28 w 141"/>
              <a:gd name="T11" fmla="*/ 119 h 142"/>
              <a:gd name="T12" fmla="*/ 22 w 141"/>
              <a:gd name="T13" fmla="*/ 114 h 142"/>
              <a:gd name="T14" fmla="*/ 10 w 141"/>
              <a:gd name="T15" fmla="*/ 108 h 142"/>
              <a:gd name="T16" fmla="*/ 12 w 141"/>
              <a:gd name="T17" fmla="*/ 99 h 142"/>
              <a:gd name="T18" fmla="*/ 10 w 141"/>
              <a:gd name="T19" fmla="*/ 92 h 142"/>
              <a:gd name="T20" fmla="*/ 1 w 141"/>
              <a:gd name="T21" fmla="*/ 82 h 142"/>
              <a:gd name="T22" fmla="*/ 6 w 141"/>
              <a:gd name="T23" fmla="*/ 75 h 142"/>
              <a:gd name="T24" fmla="*/ 6 w 141"/>
              <a:gd name="T25" fmla="*/ 67 h 142"/>
              <a:gd name="T26" fmla="*/ 1 w 141"/>
              <a:gd name="T27" fmla="*/ 60 h 142"/>
              <a:gd name="T28" fmla="*/ 10 w 141"/>
              <a:gd name="T29" fmla="*/ 50 h 142"/>
              <a:gd name="T30" fmla="*/ 12 w 141"/>
              <a:gd name="T31" fmla="*/ 43 h 142"/>
              <a:gd name="T32" fmla="*/ 10 w 141"/>
              <a:gd name="T33" fmla="*/ 34 h 142"/>
              <a:gd name="T34" fmla="*/ 22 w 141"/>
              <a:gd name="T35" fmla="*/ 29 h 142"/>
              <a:gd name="T36" fmla="*/ 28 w 141"/>
              <a:gd name="T37" fmla="*/ 23 h 142"/>
              <a:gd name="T38" fmla="*/ 29 w 141"/>
              <a:gd name="T39" fmla="*/ 14 h 142"/>
              <a:gd name="T40" fmla="*/ 42 w 141"/>
              <a:gd name="T41" fmla="*/ 13 h 142"/>
              <a:gd name="T42" fmla="*/ 49 w 141"/>
              <a:gd name="T43" fmla="*/ 10 h 142"/>
              <a:gd name="T44" fmla="*/ 54 w 141"/>
              <a:gd name="T45" fmla="*/ 2 h 142"/>
              <a:gd name="T46" fmla="*/ 66 w 141"/>
              <a:gd name="T47" fmla="*/ 7 h 142"/>
              <a:gd name="T48" fmla="*/ 73 w 141"/>
              <a:gd name="T49" fmla="*/ 0 h 142"/>
              <a:gd name="T50" fmla="*/ 79 w 141"/>
              <a:gd name="T51" fmla="*/ 7 h 142"/>
              <a:gd name="T52" fmla="*/ 87 w 141"/>
              <a:gd name="T53" fmla="*/ 9 h 142"/>
              <a:gd name="T54" fmla="*/ 100 w 141"/>
              <a:gd name="T55" fmla="*/ 7 h 142"/>
              <a:gd name="T56" fmla="*/ 103 w 141"/>
              <a:gd name="T57" fmla="*/ 16 h 142"/>
              <a:gd name="T58" fmla="*/ 109 w 141"/>
              <a:gd name="T59" fmla="*/ 20 h 142"/>
              <a:gd name="T60" fmla="*/ 122 w 141"/>
              <a:gd name="T61" fmla="*/ 23 h 142"/>
              <a:gd name="T62" fmla="*/ 122 w 141"/>
              <a:gd name="T63" fmla="*/ 32 h 142"/>
              <a:gd name="T64" fmla="*/ 126 w 141"/>
              <a:gd name="T65" fmla="*/ 39 h 142"/>
              <a:gd name="T66" fmla="*/ 137 w 141"/>
              <a:gd name="T67" fmla="*/ 47 h 142"/>
              <a:gd name="T68" fmla="*/ 133 w 141"/>
              <a:gd name="T69" fmla="*/ 55 h 142"/>
              <a:gd name="T70" fmla="*/ 134 w 141"/>
              <a:gd name="T71" fmla="*/ 62 h 142"/>
              <a:gd name="T72" fmla="*/ 141 w 141"/>
              <a:gd name="T73" fmla="*/ 71 h 142"/>
              <a:gd name="T74" fmla="*/ 134 w 141"/>
              <a:gd name="T75" fmla="*/ 80 h 142"/>
              <a:gd name="T76" fmla="*/ 133 w 141"/>
              <a:gd name="T77" fmla="*/ 87 h 142"/>
              <a:gd name="T78" fmla="*/ 137 w 141"/>
              <a:gd name="T79" fmla="*/ 95 h 142"/>
              <a:gd name="T80" fmla="*/ 126 w 141"/>
              <a:gd name="T81" fmla="*/ 103 h 142"/>
              <a:gd name="T82" fmla="*/ 122 w 141"/>
              <a:gd name="T83" fmla="*/ 110 h 142"/>
              <a:gd name="T84" fmla="*/ 122 w 141"/>
              <a:gd name="T85" fmla="*/ 119 h 142"/>
              <a:gd name="T86" fmla="*/ 109 w 141"/>
              <a:gd name="T87" fmla="*/ 122 h 142"/>
              <a:gd name="T88" fmla="*/ 103 w 141"/>
              <a:gd name="T89" fmla="*/ 126 h 142"/>
              <a:gd name="T90" fmla="*/ 100 w 141"/>
              <a:gd name="T91" fmla="*/ 135 h 142"/>
              <a:gd name="T92" fmla="*/ 87 w 141"/>
              <a:gd name="T93" fmla="*/ 133 h 142"/>
              <a:gd name="T94" fmla="*/ 79 w 141"/>
              <a:gd name="T95" fmla="*/ 135 h 142"/>
              <a:gd name="T96" fmla="*/ 73 w 141"/>
              <a:gd name="T97" fmla="*/ 142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41" h="142">
                <a:moveTo>
                  <a:pt x="70" y="142"/>
                </a:moveTo>
                <a:cubicBezTo>
                  <a:pt x="69" y="142"/>
                  <a:pt x="68" y="142"/>
                  <a:pt x="67" y="142"/>
                </a:cubicBezTo>
                <a:cubicBezTo>
                  <a:pt x="67" y="135"/>
                  <a:pt x="67" y="135"/>
                  <a:pt x="67" y="135"/>
                </a:cubicBezTo>
                <a:cubicBezTo>
                  <a:pt x="66" y="135"/>
                  <a:pt x="66" y="135"/>
                  <a:pt x="66" y="135"/>
                </a:cubicBezTo>
                <a:cubicBezTo>
                  <a:pt x="65" y="135"/>
                  <a:pt x="63" y="135"/>
                  <a:pt x="62" y="135"/>
                </a:cubicBezTo>
                <a:cubicBezTo>
                  <a:pt x="61" y="135"/>
                  <a:pt x="61" y="135"/>
                  <a:pt x="61" y="135"/>
                </a:cubicBezTo>
                <a:cubicBezTo>
                  <a:pt x="60" y="141"/>
                  <a:pt x="60" y="141"/>
                  <a:pt x="60" y="141"/>
                </a:cubicBezTo>
                <a:cubicBezTo>
                  <a:pt x="58" y="141"/>
                  <a:pt x="56" y="140"/>
                  <a:pt x="54" y="140"/>
                </a:cubicBezTo>
                <a:cubicBezTo>
                  <a:pt x="54" y="133"/>
                  <a:pt x="54" y="133"/>
                  <a:pt x="54" y="133"/>
                </a:cubicBezTo>
                <a:cubicBezTo>
                  <a:pt x="54" y="133"/>
                  <a:pt x="54" y="133"/>
                  <a:pt x="54" y="133"/>
                </a:cubicBezTo>
                <a:cubicBezTo>
                  <a:pt x="52" y="133"/>
                  <a:pt x="51" y="132"/>
                  <a:pt x="50" y="132"/>
                </a:cubicBezTo>
                <a:cubicBezTo>
                  <a:pt x="49" y="132"/>
                  <a:pt x="49" y="132"/>
                  <a:pt x="49" y="132"/>
                </a:cubicBezTo>
                <a:cubicBezTo>
                  <a:pt x="46" y="137"/>
                  <a:pt x="46" y="137"/>
                  <a:pt x="46" y="137"/>
                </a:cubicBezTo>
                <a:cubicBezTo>
                  <a:pt x="44" y="137"/>
                  <a:pt x="42" y="136"/>
                  <a:pt x="41" y="135"/>
                </a:cubicBezTo>
                <a:cubicBezTo>
                  <a:pt x="42" y="129"/>
                  <a:pt x="42" y="129"/>
                  <a:pt x="42" y="129"/>
                </a:cubicBezTo>
                <a:cubicBezTo>
                  <a:pt x="42" y="129"/>
                  <a:pt x="42" y="129"/>
                  <a:pt x="42" y="129"/>
                </a:cubicBezTo>
                <a:cubicBezTo>
                  <a:pt x="41" y="128"/>
                  <a:pt x="39" y="127"/>
                  <a:pt x="38" y="127"/>
                </a:cubicBezTo>
                <a:cubicBezTo>
                  <a:pt x="38" y="126"/>
                  <a:pt x="38" y="126"/>
                  <a:pt x="38" y="126"/>
                </a:cubicBezTo>
                <a:cubicBezTo>
                  <a:pt x="34" y="131"/>
                  <a:pt x="34" y="131"/>
                  <a:pt x="34" y="131"/>
                </a:cubicBezTo>
                <a:cubicBezTo>
                  <a:pt x="32" y="130"/>
                  <a:pt x="30" y="129"/>
                  <a:pt x="29" y="128"/>
                </a:cubicBezTo>
                <a:cubicBezTo>
                  <a:pt x="32" y="122"/>
                  <a:pt x="32" y="122"/>
                  <a:pt x="32" y="122"/>
                </a:cubicBezTo>
                <a:cubicBezTo>
                  <a:pt x="31" y="122"/>
                  <a:pt x="31" y="122"/>
                  <a:pt x="31" y="122"/>
                </a:cubicBezTo>
                <a:cubicBezTo>
                  <a:pt x="30" y="121"/>
                  <a:pt x="29" y="120"/>
                  <a:pt x="28" y="119"/>
                </a:cubicBezTo>
                <a:cubicBezTo>
                  <a:pt x="28" y="119"/>
                  <a:pt x="28" y="119"/>
                  <a:pt x="28" y="119"/>
                </a:cubicBezTo>
                <a:cubicBezTo>
                  <a:pt x="23" y="123"/>
                  <a:pt x="23" y="123"/>
                  <a:pt x="23" y="123"/>
                </a:cubicBezTo>
                <a:cubicBezTo>
                  <a:pt x="21" y="122"/>
                  <a:pt x="20" y="120"/>
                  <a:pt x="18" y="119"/>
                </a:cubicBezTo>
                <a:cubicBezTo>
                  <a:pt x="22" y="114"/>
                  <a:pt x="22" y="114"/>
                  <a:pt x="22" y="114"/>
                </a:cubicBezTo>
                <a:cubicBezTo>
                  <a:pt x="22" y="114"/>
                  <a:pt x="22" y="114"/>
                  <a:pt x="22" y="114"/>
                </a:cubicBezTo>
                <a:cubicBezTo>
                  <a:pt x="21" y="112"/>
                  <a:pt x="20" y="111"/>
                  <a:pt x="19" y="110"/>
                </a:cubicBezTo>
                <a:cubicBezTo>
                  <a:pt x="19" y="110"/>
                  <a:pt x="19" y="110"/>
                  <a:pt x="19" y="110"/>
                </a:cubicBezTo>
                <a:cubicBezTo>
                  <a:pt x="13" y="113"/>
                  <a:pt x="13" y="113"/>
                  <a:pt x="13" y="113"/>
                </a:cubicBezTo>
                <a:cubicBezTo>
                  <a:pt x="12" y="111"/>
                  <a:pt x="11" y="109"/>
                  <a:pt x="10" y="108"/>
                </a:cubicBezTo>
                <a:cubicBezTo>
                  <a:pt x="15" y="104"/>
                  <a:pt x="15" y="104"/>
                  <a:pt x="15" y="104"/>
                </a:cubicBezTo>
                <a:cubicBezTo>
                  <a:pt x="15" y="103"/>
                  <a:pt x="15" y="103"/>
                  <a:pt x="15" y="103"/>
                </a:cubicBezTo>
                <a:cubicBezTo>
                  <a:pt x="14" y="102"/>
                  <a:pt x="13" y="101"/>
                  <a:pt x="13" y="99"/>
                </a:cubicBezTo>
                <a:cubicBezTo>
                  <a:pt x="12" y="99"/>
                  <a:pt x="12" y="99"/>
                  <a:pt x="12" y="99"/>
                </a:cubicBezTo>
                <a:cubicBezTo>
                  <a:pt x="6" y="101"/>
                  <a:pt x="6" y="101"/>
                  <a:pt x="6" y="101"/>
                </a:cubicBezTo>
                <a:cubicBezTo>
                  <a:pt x="5" y="99"/>
                  <a:pt x="5" y="97"/>
                  <a:pt x="4" y="95"/>
                </a:cubicBezTo>
                <a:cubicBezTo>
                  <a:pt x="10" y="92"/>
                  <a:pt x="10" y="92"/>
                  <a:pt x="10" y="92"/>
                </a:cubicBezTo>
                <a:cubicBezTo>
                  <a:pt x="10" y="92"/>
                  <a:pt x="10" y="92"/>
                  <a:pt x="10" y="92"/>
                </a:cubicBezTo>
                <a:cubicBezTo>
                  <a:pt x="9" y="90"/>
                  <a:pt x="9" y="89"/>
                  <a:pt x="8" y="88"/>
                </a:cubicBezTo>
                <a:cubicBezTo>
                  <a:pt x="8" y="87"/>
                  <a:pt x="8" y="87"/>
                  <a:pt x="8" y="87"/>
                </a:cubicBezTo>
                <a:cubicBezTo>
                  <a:pt x="2" y="88"/>
                  <a:pt x="2" y="88"/>
                  <a:pt x="2" y="88"/>
                </a:cubicBezTo>
                <a:cubicBezTo>
                  <a:pt x="1" y="86"/>
                  <a:pt x="1" y="84"/>
                  <a:pt x="1" y="82"/>
                </a:cubicBezTo>
                <a:cubicBezTo>
                  <a:pt x="7" y="80"/>
                  <a:pt x="7" y="80"/>
                  <a:pt x="7" y="80"/>
                </a:cubicBezTo>
                <a:cubicBezTo>
                  <a:pt x="7" y="80"/>
                  <a:pt x="7" y="80"/>
                  <a:pt x="7" y="80"/>
                </a:cubicBezTo>
                <a:cubicBezTo>
                  <a:pt x="6" y="78"/>
                  <a:pt x="6" y="77"/>
                  <a:pt x="6" y="75"/>
                </a:cubicBezTo>
                <a:cubicBezTo>
                  <a:pt x="6" y="75"/>
                  <a:pt x="6" y="75"/>
                  <a:pt x="6" y="75"/>
                </a:cubicBezTo>
                <a:cubicBezTo>
                  <a:pt x="0" y="74"/>
                  <a:pt x="0" y="74"/>
                  <a:pt x="0" y="74"/>
                </a:cubicBezTo>
                <a:cubicBezTo>
                  <a:pt x="0" y="73"/>
                  <a:pt x="0" y="72"/>
                  <a:pt x="0" y="71"/>
                </a:cubicBezTo>
                <a:cubicBezTo>
                  <a:pt x="0" y="70"/>
                  <a:pt x="0" y="69"/>
                  <a:pt x="0" y="68"/>
                </a:cubicBezTo>
                <a:cubicBezTo>
                  <a:pt x="6" y="67"/>
                  <a:pt x="6" y="67"/>
                  <a:pt x="6" y="67"/>
                </a:cubicBezTo>
                <a:cubicBezTo>
                  <a:pt x="6" y="67"/>
                  <a:pt x="6" y="67"/>
                  <a:pt x="6" y="67"/>
                </a:cubicBezTo>
                <a:cubicBezTo>
                  <a:pt x="6" y="65"/>
                  <a:pt x="6" y="64"/>
                  <a:pt x="7" y="62"/>
                </a:cubicBezTo>
                <a:cubicBezTo>
                  <a:pt x="7" y="62"/>
                  <a:pt x="7" y="62"/>
                  <a:pt x="7" y="62"/>
                </a:cubicBezTo>
                <a:cubicBezTo>
                  <a:pt x="1" y="60"/>
                  <a:pt x="1" y="60"/>
                  <a:pt x="1" y="60"/>
                </a:cubicBezTo>
                <a:cubicBezTo>
                  <a:pt x="1" y="58"/>
                  <a:pt x="1" y="56"/>
                  <a:pt x="2" y="54"/>
                </a:cubicBezTo>
                <a:cubicBezTo>
                  <a:pt x="8" y="55"/>
                  <a:pt x="8" y="55"/>
                  <a:pt x="8" y="55"/>
                </a:cubicBezTo>
                <a:cubicBezTo>
                  <a:pt x="8" y="54"/>
                  <a:pt x="8" y="54"/>
                  <a:pt x="8" y="54"/>
                </a:cubicBezTo>
                <a:cubicBezTo>
                  <a:pt x="9" y="53"/>
                  <a:pt x="9" y="52"/>
                  <a:pt x="10" y="50"/>
                </a:cubicBezTo>
                <a:cubicBezTo>
                  <a:pt x="10" y="50"/>
                  <a:pt x="10" y="50"/>
                  <a:pt x="10" y="50"/>
                </a:cubicBezTo>
                <a:cubicBezTo>
                  <a:pt x="4" y="47"/>
                  <a:pt x="4" y="47"/>
                  <a:pt x="4" y="47"/>
                </a:cubicBezTo>
                <a:cubicBezTo>
                  <a:pt x="5" y="45"/>
                  <a:pt x="5" y="43"/>
                  <a:pt x="6" y="41"/>
                </a:cubicBezTo>
                <a:cubicBezTo>
                  <a:pt x="12" y="43"/>
                  <a:pt x="12" y="43"/>
                  <a:pt x="12" y="43"/>
                </a:cubicBezTo>
                <a:cubicBezTo>
                  <a:pt x="13" y="43"/>
                  <a:pt x="13" y="43"/>
                  <a:pt x="13" y="43"/>
                </a:cubicBezTo>
                <a:cubicBezTo>
                  <a:pt x="13" y="41"/>
                  <a:pt x="14" y="40"/>
                  <a:pt x="15" y="39"/>
                </a:cubicBezTo>
                <a:cubicBezTo>
                  <a:pt x="15" y="38"/>
                  <a:pt x="15" y="38"/>
                  <a:pt x="15" y="38"/>
                </a:cubicBezTo>
                <a:cubicBezTo>
                  <a:pt x="10" y="34"/>
                  <a:pt x="10" y="34"/>
                  <a:pt x="10" y="34"/>
                </a:cubicBezTo>
                <a:cubicBezTo>
                  <a:pt x="11" y="33"/>
                  <a:pt x="12" y="31"/>
                  <a:pt x="13" y="29"/>
                </a:cubicBezTo>
                <a:cubicBezTo>
                  <a:pt x="19" y="32"/>
                  <a:pt x="19" y="32"/>
                  <a:pt x="19" y="32"/>
                </a:cubicBezTo>
                <a:cubicBezTo>
                  <a:pt x="19" y="32"/>
                  <a:pt x="19" y="32"/>
                  <a:pt x="19" y="32"/>
                </a:cubicBezTo>
                <a:cubicBezTo>
                  <a:pt x="20" y="31"/>
                  <a:pt x="21" y="30"/>
                  <a:pt x="22" y="29"/>
                </a:cubicBezTo>
                <a:cubicBezTo>
                  <a:pt x="22" y="28"/>
                  <a:pt x="22" y="28"/>
                  <a:pt x="22" y="28"/>
                </a:cubicBezTo>
                <a:cubicBezTo>
                  <a:pt x="18" y="23"/>
                  <a:pt x="18" y="23"/>
                  <a:pt x="18" y="23"/>
                </a:cubicBezTo>
                <a:cubicBezTo>
                  <a:pt x="20" y="22"/>
                  <a:pt x="21" y="20"/>
                  <a:pt x="23" y="19"/>
                </a:cubicBezTo>
                <a:cubicBezTo>
                  <a:pt x="28" y="23"/>
                  <a:pt x="28" y="23"/>
                  <a:pt x="28" y="23"/>
                </a:cubicBezTo>
                <a:cubicBezTo>
                  <a:pt x="28" y="23"/>
                  <a:pt x="28" y="23"/>
                  <a:pt x="28" y="23"/>
                </a:cubicBezTo>
                <a:cubicBezTo>
                  <a:pt x="29" y="22"/>
                  <a:pt x="30" y="21"/>
                  <a:pt x="31" y="20"/>
                </a:cubicBezTo>
                <a:cubicBezTo>
                  <a:pt x="32" y="20"/>
                  <a:pt x="32" y="20"/>
                  <a:pt x="32" y="20"/>
                </a:cubicBezTo>
                <a:cubicBezTo>
                  <a:pt x="29" y="14"/>
                  <a:pt x="29" y="14"/>
                  <a:pt x="29" y="14"/>
                </a:cubicBezTo>
                <a:cubicBezTo>
                  <a:pt x="30" y="13"/>
                  <a:pt x="32" y="12"/>
                  <a:pt x="34" y="11"/>
                </a:cubicBezTo>
                <a:cubicBezTo>
                  <a:pt x="38" y="16"/>
                  <a:pt x="38" y="16"/>
                  <a:pt x="38" y="16"/>
                </a:cubicBezTo>
                <a:cubicBezTo>
                  <a:pt x="38" y="15"/>
                  <a:pt x="38" y="15"/>
                  <a:pt x="38" y="15"/>
                </a:cubicBezTo>
                <a:cubicBezTo>
                  <a:pt x="39" y="15"/>
                  <a:pt x="41" y="14"/>
                  <a:pt x="42" y="13"/>
                </a:cubicBezTo>
                <a:cubicBezTo>
                  <a:pt x="42" y="13"/>
                  <a:pt x="42" y="13"/>
                  <a:pt x="42" y="13"/>
                </a:cubicBezTo>
                <a:cubicBezTo>
                  <a:pt x="41" y="7"/>
                  <a:pt x="41" y="7"/>
                  <a:pt x="41" y="7"/>
                </a:cubicBezTo>
                <a:cubicBezTo>
                  <a:pt x="42" y="6"/>
                  <a:pt x="44" y="5"/>
                  <a:pt x="46" y="5"/>
                </a:cubicBezTo>
                <a:cubicBezTo>
                  <a:pt x="49" y="10"/>
                  <a:pt x="49" y="10"/>
                  <a:pt x="49" y="10"/>
                </a:cubicBezTo>
                <a:cubicBezTo>
                  <a:pt x="50" y="10"/>
                  <a:pt x="50" y="10"/>
                  <a:pt x="50" y="10"/>
                </a:cubicBezTo>
                <a:cubicBezTo>
                  <a:pt x="51" y="10"/>
                  <a:pt x="52" y="9"/>
                  <a:pt x="54" y="9"/>
                </a:cubicBezTo>
                <a:cubicBezTo>
                  <a:pt x="54" y="9"/>
                  <a:pt x="54" y="9"/>
                  <a:pt x="54" y="9"/>
                </a:cubicBezTo>
                <a:cubicBezTo>
                  <a:pt x="54" y="2"/>
                  <a:pt x="54" y="2"/>
                  <a:pt x="54" y="2"/>
                </a:cubicBezTo>
                <a:cubicBezTo>
                  <a:pt x="56" y="2"/>
                  <a:pt x="58" y="1"/>
                  <a:pt x="60" y="1"/>
                </a:cubicBezTo>
                <a:cubicBezTo>
                  <a:pt x="61" y="7"/>
                  <a:pt x="61" y="7"/>
                  <a:pt x="61" y="7"/>
                </a:cubicBezTo>
                <a:cubicBezTo>
                  <a:pt x="62" y="7"/>
                  <a:pt x="62" y="7"/>
                  <a:pt x="62" y="7"/>
                </a:cubicBezTo>
                <a:cubicBezTo>
                  <a:pt x="63" y="7"/>
                  <a:pt x="65" y="7"/>
                  <a:pt x="66" y="7"/>
                </a:cubicBezTo>
                <a:cubicBezTo>
                  <a:pt x="67" y="7"/>
                  <a:pt x="67" y="7"/>
                  <a:pt x="67" y="7"/>
                </a:cubicBezTo>
                <a:cubicBezTo>
                  <a:pt x="67" y="0"/>
                  <a:pt x="67" y="0"/>
                  <a:pt x="67" y="0"/>
                </a:cubicBezTo>
                <a:cubicBezTo>
                  <a:pt x="68" y="0"/>
                  <a:pt x="69" y="0"/>
                  <a:pt x="70" y="0"/>
                </a:cubicBezTo>
                <a:cubicBezTo>
                  <a:pt x="71" y="0"/>
                  <a:pt x="72" y="0"/>
                  <a:pt x="73" y="0"/>
                </a:cubicBezTo>
                <a:cubicBezTo>
                  <a:pt x="74" y="7"/>
                  <a:pt x="74" y="7"/>
                  <a:pt x="74" y="7"/>
                </a:cubicBezTo>
                <a:cubicBezTo>
                  <a:pt x="74" y="7"/>
                  <a:pt x="74" y="7"/>
                  <a:pt x="74" y="7"/>
                </a:cubicBezTo>
                <a:cubicBezTo>
                  <a:pt x="76" y="7"/>
                  <a:pt x="77" y="7"/>
                  <a:pt x="79" y="7"/>
                </a:cubicBezTo>
                <a:cubicBezTo>
                  <a:pt x="79" y="7"/>
                  <a:pt x="79" y="7"/>
                  <a:pt x="79" y="7"/>
                </a:cubicBezTo>
                <a:cubicBezTo>
                  <a:pt x="81" y="1"/>
                  <a:pt x="81" y="1"/>
                  <a:pt x="81" y="1"/>
                </a:cubicBezTo>
                <a:cubicBezTo>
                  <a:pt x="83" y="1"/>
                  <a:pt x="85" y="2"/>
                  <a:pt x="87" y="2"/>
                </a:cubicBezTo>
                <a:cubicBezTo>
                  <a:pt x="87" y="9"/>
                  <a:pt x="87" y="9"/>
                  <a:pt x="87" y="9"/>
                </a:cubicBezTo>
                <a:cubicBezTo>
                  <a:pt x="87" y="9"/>
                  <a:pt x="87" y="9"/>
                  <a:pt x="87" y="9"/>
                </a:cubicBezTo>
                <a:cubicBezTo>
                  <a:pt x="88" y="9"/>
                  <a:pt x="90" y="10"/>
                  <a:pt x="91" y="10"/>
                </a:cubicBezTo>
                <a:cubicBezTo>
                  <a:pt x="92" y="10"/>
                  <a:pt x="92" y="10"/>
                  <a:pt x="92" y="10"/>
                </a:cubicBezTo>
                <a:cubicBezTo>
                  <a:pt x="95" y="5"/>
                  <a:pt x="95" y="5"/>
                  <a:pt x="95" y="5"/>
                </a:cubicBezTo>
                <a:cubicBezTo>
                  <a:pt x="96" y="5"/>
                  <a:pt x="98" y="6"/>
                  <a:pt x="100" y="7"/>
                </a:cubicBezTo>
                <a:cubicBezTo>
                  <a:pt x="98" y="13"/>
                  <a:pt x="98" y="13"/>
                  <a:pt x="98" y="13"/>
                </a:cubicBezTo>
                <a:cubicBezTo>
                  <a:pt x="99" y="13"/>
                  <a:pt x="99" y="13"/>
                  <a:pt x="99" y="13"/>
                </a:cubicBezTo>
                <a:cubicBezTo>
                  <a:pt x="100" y="14"/>
                  <a:pt x="101" y="15"/>
                  <a:pt x="103" y="15"/>
                </a:cubicBezTo>
                <a:cubicBezTo>
                  <a:pt x="103" y="16"/>
                  <a:pt x="103" y="16"/>
                  <a:pt x="103" y="16"/>
                </a:cubicBezTo>
                <a:cubicBezTo>
                  <a:pt x="107" y="11"/>
                  <a:pt x="107" y="11"/>
                  <a:pt x="107" y="11"/>
                </a:cubicBezTo>
                <a:cubicBezTo>
                  <a:pt x="109" y="12"/>
                  <a:pt x="111" y="13"/>
                  <a:pt x="112" y="14"/>
                </a:cubicBezTo>
                <a:cubicBezTo>
                  <a:pt x="109" y="20"/>
                  <a:pt x="109" y="20"/>
                  <a:pt x="109" y="20"/>
                </a:cubicBezTo>
                <a:cubicBezTo>
                  <a:pt x="109" y="20"/>
                  <a:pt x="109" y="20"/>
                  <a:pt x="109" y="20"/>
                </a:cubicBezTo>
                <a:cubicBezTo>
                  <a:pt x="111" y="21"/>
                  <a:pt x="112" y="22"/>
                  <a:pt x="113" y="23"/>
                </a:cubicBezTo>
                <a:cubicBezTo>
                  <a:pt x="113" y="23"/>
                  <a:pt x="113" y="23"/>
                  <a:pt x="113" y="23"/>
                </a:cubicBezTo>
                <a:cubicBezTo>
                  <a:pt x="118" y="19"/>
                  <a:pt x="118" y="19"/>
                  <a:pt x="118" y="19"/>
                </a:cubicBezTo>
                <a:cubicBezTo>
                  <a:pt x="120" y="20"/>
                  <a:pt x="121" y="22"/>
                  <a:pt x="122" y="23"/>
                </a:cubicBezTo>
                <a:cubicBezTo>
                  <a:pt x="118" y="28"/>
                  <a:pt x="118" y="28"/>
                  <a:pt x="118" y="28"/>
                </a:cubicBezTo>
                <a:cubicBezTo>
                  <a:pt x="119" y="29"/>
                  <a:pt x="119" y="29"/>
                  <a:pt x="119" y="29"/>
                </a:cubicBezTo>
                <a:cubicBezTo>
                  <a:pt x="120" y="30"/>
                  <a:pt x="121" y="31"/>
                  <a:pt x="121" y="32"/>
                </a:cubicBezTo>
                <a:cubicBezTo>
                  <a:pt x="122" y="32"/>
                  <a:pt x="122" y="32"/>
                  <a:pt x="122" y="32"/>
                </a:cubicBezTo>
                <a:cubicBezTo>
                  <a:pt x="127" y="29"/>
                  <a:pt x="127" y="29"/>
                  <a:pt x="127" y="29"/>
                </a:cubicBezTo>
                <a:cubicBezTo>
                  <a:pt x="129" y="31"/>
                  <a:pt x="130" y="33"/>
                  <a:pt x="131" y="34"/>
                </a:cubicBezTo>
                <a:cubicBezTo>
                  <a:pt x="126" y="38"/>
                  <a:pt x="126" y="38"/>
                  <a:pt x="126" y="38"/>
                </a:cubicBezTo>
                <a:cubicBezTo>
                  <a:pt x="126" y="39"/>
                  <a:pt x="126" y="39"/>
                  <a:pt x="126" y="39"/>
                </a:cubicBezTo>
                <a:cubicBezTo>
                  <a:pt x="127" y="40"/>
                  <a:pt x="128" y="41"/>
                  <a:pt x="128" y="43"/>
                </a:cubicBezTo>
                <a:cubicBezTo>
                  <a:pt x="128" y="43"/>
                  <a:pt x="128" y="43"/>
                  <a:pt x="128" y="43"/>
                </a:cubicBezTo>
                <a:cubicBezTo>
                  <a:pt x="134" y="41"/>
                  <a:pt x="134" y="41"/>
                  <a:pt x="134" y="41"/>
                </a:cubicBezTo>
                <a:cubicBezTo>
                  <a:pt x="135" y="43"/>
                  <a:pt x="136" y="45"/>
                  <a:pt x="137" y="47"/>
                </a:cubicBezTo>
                <a:cubicBezTo>
                  <a:pt x="131" y="50"/>
                  <a:pt x="131" y="50"/>
                  <a:pt x="131" y="50"/>
                </a:cubicBezTo>
                <a:cubicBezTo>
                  <a:pt x="131" y="50"/>
                  <a:pt x="131" y="50"/>
                  <a:pt x="131" y="50"/>
                </a:cubicBezTo>
                <a:cubicBezTo>
                  <a:pt x="132" y="52"/>
                  <a:pt x="132" y="53"/>
                  <a:pt x="133" y="54"/>
                </a:cubicBezTo>
                <a:cubicBezTo>
                  <a:pt x="133" y="55"/>
                  <a:pt x="133" y="55"/>
                  <a:pt x="133" y="55"/>
                </a:cubicBezTo>
                <a:cubicBezTo>
                  <a:pt x="139" y="54"/>
                  <a:pt x="139" y="54"/>
                  <a:pt x="139" y="54"/>
                </a:cubicBezTo>
                <a:cubicBezTo>
                  <a:pt x="140" y="56"/>
                  <a:pt x="140" y="58"/>
                  <a:pt x="140" y="60"/>
                </a:cubicBezTo>
                <a:cubicBezTo>
                  <a:pt x="134" y="62"/>
                  <a:pt x="134" y="62"/>
                  <a:pt x="134" y="62"/>
                </a:cubicBezTo>
                <a:cubicBezTo>
                  <a:pt x="134" y="62"/>
                  <a:pt x="134" y="62"/>
                  <a:pt x="134" y="62"/>
                </a:cubicBezTo>
                <a:cubicBezTo>
                  <a:pt x="134" y="64"/>
                  <a:pt x="134" y="65"/>
                  <a:pt x="135" y="67"/>
                </a:cubicBezTo>
                <a:cubicBezTo>
                  <a:pt x="135" y="67"/>
                  <a:pt x="135" y="67"/>
                  <a:pt x="135" y="67"/>
                </a:cubicBezTo>
                <a:cubicBezTo>
                  <a:pt x="141" y="68"/>
                  <a:pt x="141" y="68"/>
                  <a:pt x="141" y="68"/>
                </a:cubicBezTo>
                <a:cubicBezTo>
                  <a:pt x="141" y="69"/>
                  <a:pt x="141" y="70"/>
                  <a:pt x="141" y="71"/>
                </a:cubicBezTo>
                <a:cubicBezTo>
                  <a:pt x="141" y="72"/>
                  <a:pt x="141" y="73"/>
                  <a:pt x="141" y="74"/>
                </a:cubicBezTo>
                <a:cubicBezTo>
                  <a:pt x="135" y="75"/>
                  <a:pt x="135" y="75"/>
                  <a:pt x="135" y="75"/>
                </a:cubicBezTo>
                <a:cubicBezTo>
                  <a:pt x="135" y="75"/>
                  <a:pt x="135" y="75"/>
                  <a:pt x="135" y="75"/>
                </a:cubicBezTo>
                <a:cubicBezTo>
                  <a:pt x="134" y="77"/>
                  <a:pt x="134" y="78"/>
                  <a:pt x="134" y="80"/>
                </a:cubicBezTo>
                <a:cubicBezTo>
                  <a:pt x="134" y="80"/>
                  <a:pt x="134" y="80"/>
                  <a:pt x="134" y="80"/>
                </a:cubicBezTo>
                <a:cubicBezTo>
                  <a:pt x="140" y="82"/>
                  <a:pt x="140" y="82"/>
                  <a:pt x="140" y="82"/>
                </a:cubicBezTo>
                <a:cubicBezTo>
                  <a:pt x="140" y="84"/>
                  <a:pt x="140" y="86"/>
                  <a:pt x="139" y="88"/>
                </a:cubicBezTo>
                <a:cubicBezTo>
                  <a:pt x="133" y="87"/>
                  <a:pt x="133" y="87"/>
                  <a:pt x="133" y="87"/>
                </a:cubicBezTo>
                <a:cubicBezTo>
                  <a:pt x="133" y="88"/>
                  <a:pt x="133" y="88"/>
                  <a:pt x="133" y="88"/>
                </a:cubicBezTo>
                <a:cubicBezTo>
                  <a:pt x="132" y="89"/>
                  <a:pt x="132" y="90"/>
                  <a:pt x="131" y="92"/>
                </a:cubicBezTo>
                <a:cubicBezTo>
                  <a:pt x="131" y="92"/>
                  <a:pt x="131" y="92"/>
                  <a:pt x="131" y="92"/>
                </a:cubicBezTo>
                <a:cubicBezTo>
                  <a:pt x="137" y="95"/>
                  <a:pt x="137" y="95"/>
                  <a:pt x="137" y="95"/>
                </a:cubicBezTo>
                <a:cubicBezTo>
                  <a:pt x="136" y="97"/>
                  <a:pt x="135" y="99"/>
                  <a:pt x="134" y="101"/>
                </a:cubicBezTo>
                <a:cubicBezTo>
                  <a:pt x="128" y="99"/>
                  <a:pt x="128" y="99"/>
                  <a:pt x="128" y="99"/>
                </a:cubicBezTo>
                <a:cubicBezTo>
                  <a:pt x="128" y="99"/>
                  <a:pt x="128" y="99"/>
                  <a:pt x="128" y="99"/>
                </a:cubicBezTo>
                <a:cubicBezTo>
                  <a:pt x="128" y="101"/>
                  <a:pt x="127" y="102"/>
                  <a:pt x="126" y="103"/>
                </a:cubicBezTo>
                <a:cubicBezTo>
                  <a:pt x="126" y="104"/>
                  <a:pt x="126" y="104"/>
                  <a:pt x="126" y="104"/>
                </a:cubicBezTo>
                <a:cubicBezTo>
                  <a:pt x="131" y="108"/>
                  <a:pt x="131" y="108"/>
                  <a:pt x="131" y="108"/>
                </a:cubicBezTo>
                <a:cubicBezTo>
                  <a:pt x="130" y="109"/>
                  <a:pt x="129" y="111"/>
                  <a:pt x="127" y="113"/>
                </a:cubicBezTo>
                <a:cubicBezTo>
                  <a:pt x="122" y="110"/>
                  <a:pt x="122" y="110"/>
                  <a:pt x="122" y="110"/>
                </a:cubicBezTo>
                <a:cubicBezTo>
                  <a:pt x="121" y="110"/>
                  <a:pt x="121" y="110"/>
                  <a:pt x="121" y="110"/>
                </a:cubicBezTo>
                <a:cubicBezTo>
                  <a:pt x="121" y="111"/>
                  <a:pt x="120" y="112"/>
                  <a:pt x="119" y="114"/>
                </a:cubicBezTo>
                <a:cubicBezTo>
                  <a:pt x="118" y="114"/>
                  <a:pt x="118" y="114"/>
                  <a:pt x="118" y="114"/>
                </a:cubicBezTo>
                <a:cubicBezTo>
                  <a:pt x="122" y="119"/>
                  <a:pt x="122" y="119"/>
                  <a:pt x="122" y="119"/>
                </a:cubicBezTo>
                <a:cubicBezTo>
                  <a:pt x="121" y="120"/>
                  <a:pt x="120" y="122"/>
                  <a:pt x="118" y="123"/>
                </a:cubicBezTo>
                <a:cubicBezTo>
                  <a:pt x="113" y="119"/>
                  <a:pt x="113" y="119"/>
                  <a:pt x="113" y="119"/>
                </a:cubicBezTo>
                <a:cubicBezTo>
                  <a:pt x="113" y="119"/>
                  <a:pt x="113" y="119"/>
                  <a:pt x="113" y="119"/>
                </a:cubicBezTo>
                <a:cubicBezTo>
                  <a:pt x="112" y="120"/>
                  <a:pt x="111" y="121"/>
                  <a:pt x="109" y="122"/>
                </a:cubicBezTo>
                <a:cubicBezTo>
                  <a:pt x="109" y="122"/>
                  <a:pt x="109" y="122"/>
                  <a:pt x="109" y="122"/>
                </a:cubicBezTo>
                <a:cubicBezTo>
                  <a:pt x="112" y="128"/>
                  <a:pt x="112" y="128"/>
                  <a:pt x="112" y="128"/>
                </a:cubicBezTo>
                <a:cubicBezTo>
                  <a:pt x="111" y="129"/>
                  <a:pt x="109" y="130"/>
                  <a:pt x="107" y="131"/>
                </a:cubicBezTo>
                <a:cubicBezTo>
                  <a:pt x="103" y="126"/>
                  <a:pt x="103" y="126"/>
                  <a:pt x="103" y="126"/>
                </a:cubicBezTo>
                <a:cubicBezTo>
                  <a:pt x="103" y="127"/>
                  <a:pt x="103" y="127"/>
                  <a:pt x="103" y="127"/>
                </a:cubicBezTo>
                <a:cubicBezTo>
                  <a:pt x="101" y="127"/>
                  <a:pt x="100" y="128"/>
                  <a:pt x="99" y="129"/>
                </a:cubicBezTo>
                <a:cubicBezTo>
                  <a:pt x="98" y="129"/>
                  <a:pt x="98" y="129"/>
                  <a:pt x="98" y="129"/>
                </a:cubicBezTo>
                <a:cubicBezTo>
                  <a:pt x="100" y="135"/>
                  <a:pt x="100" y="135"/>
                  <a:pt x="100" y="135"/>
                </a:cubicBezTo>
                <a:cubicBezTo>
                  <a:pt x="98" y="136"/>
                  <a:pt x="96" y="137"/>
                  <a:pt x="95" y="137"/>
                </a:cubicBezTo>
                <a:cubicBezTo>
                  <a:pt x="92" y="132"/>
                  <a:pt x="92" y="132"/>
                  <a:pt x="92" y="132"/>
                </a:cubicBezTo>
                <a:cubicBezTo>
                  <a:pt x="91" y="132"/>
                  <a:pt x="91" y="132"/>
                  <a:pt x="91" y="132"/>
                </a:cubicBezTo>
                <a:cubicBezTo>
                  <a:pt x="90" y="132"/>
                  <a:pt x="88" y="133"/>
                  <a:pt x="87" y="133"/>
                </a:cubicBezTo>
                <a:cubicBezTo>
                  <a:pt x="87" y="133"/>
                  <a:pt x="87" y="133"/>
                  <a:pt x="87" y="133"/>
                </a:cubicBezTo>
                <a:cubicBezTo>
                  <a:pt x="87" y="140"/>
                  <a:pt x="87" y="140"/>
                  <a:pt x="87" y="140"/>
                </a:cubicBezTo>
                <a:cubicBezTo>
                  <a:pt x="85" y="140"/>
                  <a:pt x="83" y="141"/>
                  <a:pt x="81" y="141"/>
                </a:cubicBezTo>
                <a:cubicBezTo>
                  <a:pt x="79" y="135"/>
                  <a:pt x="79" y="135"/>
                  <a:pt x="79" y="135"/>
                </a:cubicBezTo>
                <a:cubicBezTo>
                  <a:pt x="79" y="135"/>
                  <a:pt x="79" y="135"/>
                  <a:pt x="79" y="135"/>
                </a:cubicBezTo>
                <a:cubicBezTo>
                  <a:pt x="77" y="135"/>
                  <a:pt x="76" y="135"/>
                  <a:pt x="74" y="135"/>
                </a:cubicBezTo>
                <a:cubicBezTo>
                  <a:pt x="74" y="135"/>
                  <a:pt x="74" y="135"/>
                  <a:pt x="74" y="135"/>
                </a:cubicBezTo>
                <a:cubicBezTo>
                  <a:pt x="73" y="142"/>
                  <a:pt x="73" y="142"/>
                  <a:pt x="73" y="142"/>
                </a:cubicBezTo>
                <a:cubicBezTo>
                  <a:pt x="72" y="142"/>
                  <a:pt x="71" y="142"/>
                  <a:pt x="70" y="142"/>
                </a:cubicBezTo>
                <a:close/>
              </a:path>
            </a:pathLst>
          </a:custGeom>
          <a:solidFill>
            <a:srgbClr val="78D2D2"/>
          </a:solidFill>
          <a:ln>
            <a:noFill/>
          </a:ln>
          <a:effectLst>
            <a:outerShdw blurRad="50800" dist="38100" dir="5400000" algn="t" rotWithShape="0">
              <a:prstClr val="black">
                <a:alpha val="40000"/>
              </a:prstClr>
            </a:outerShdw>
          </a:effec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221" name="Freeform 220"/>
          <p:cNvSpPr>
            <a:spLocks/>
          </p:cNvSpPr>
          <p:nvPr/>
        </p:nvSpPr>
        <p:spPr bwMode="auto">
          <a:xfrm>
            <a:off x="7588868" y="3181364"/>
            <a:ext cx="381164" cy="383836"/>
          </a:xfrm>
          <a:custGeom>
            <a:avLst/>
            <a:gdLst>
              <a:gd name="T0" fmla="*/ 66 w 141"/>
              <a:gd name="T1" fmla="*/ 135 h 142"/>
              <a:gd name="T2" fmla="*/ 54 w 141"/>
              <a:gd name="T3" fmla="*/ 140 h 142"/>
              <a:gd name="T4" fmla="*/ 49 w 141"/>
              <a:gd name="T5" fmla="*/ 132 h 142"/>
              <a:gd name="T6" fmla="*/ 42 w 141"/>
              <a:gd name="T7" fmla="*/ 129 h 142"/>
              <a:gd name="T8" fmla="*/ 29 w 141"/>
              <a:gd name="T9" fmla="*/ 128 h 142"/>
              <a:gd name="T10" fmla="*/ 28 w 141"/>
              <a:gd name="T11" fmla="*/ 119 h 142"/>
              <a:gd name="T12" fmla="*/ 22 w 141"/>
              <a:gd name="T13" fmla="*/ 114 h 142"/>
              <a:gd name="T14" fmla="*/ 10 w 141"/>
              <a:gd name="T15" fmla="*/ 108 h 142"/>
              <a:gd name="T16" fmla="*/ 12 w 141"/>
              <a:gd name="T17" fmla="*/ 99 h 142"/>
              <a:gd name="T18" fmla="*/ 10 w 141"/>
              <a:gd name="T19" fmla="*/ 92 h 142"/>
              <a:gd name="T20" fmla="*/ 1 w 141"/>
              <a:gd name="T21" fmla="*/ 82 h 142"/>
              <a:gd name="T22" fmla="*/ 6 w 141"/>
              <a:gd name="T23" fmla="*/ 75 h 142"/>
              <a:gd name="T24" fmla="*/ 6 w 141"/>
              <a:gd name="T25" fmla="*/ 67 h 142"/>
              <a:gd name="T26" fmla="*/ 1 w 141"/>
              <a:gd name="T27" fmla="*/ 60 h 142"/>
              <a:gd name="T28" fmla="*/ 10 w 141"/>
              <a:gd name="T29" fmla="*/ 50 h 142"/>
              <a:gd name="T30" fmla="*/ 12 w 141"/>
              <a:gd name="T31" fmla="*/ 43 h 142"/>
              <a:gd name="T32" fmla="*/ 10 w 141"/>
              <a:gd name="T33" fmla="*/ 34 h 142"/>
              <a:gd name="T34" fmla="*/ 22 w 141"/>
              <a:gd name="T35" fmla="*/ 29 h 142"/>
              <a:gd name="T36" fmla="*/ 28 w 141"/>
              <a:gd name="T37" fmla="*/ 23 h 142"/>
              <a:gd name="T38" fmla="*/ 29 w 141"/>
              <a:gd name="T39" fmla="*/ 14 h 142"/>
              <a:gd name="T40" fmla="*/ 42 w 141"/>
              <a:gd name="T41" fmla="*/ 13 h 142"/>
              <a:gd name="T42" fmla="*/ 49 w 141"/>
              <a:gd name="T43" fmla="*/ 10 h 142"/>
              <a:gd name="T44" fmla="*/ 54 w 141"/>
              <a:gd name="T45" fmla="*/ 2 h 142"/>
              <a:gd name="T46" fmla="*/ 66 w 141"/>
              <a:gd name="T47" fmla="*/ 7 h 142"/>
              <a:gd name="T48" fmla="*/ 73 w 141"/>
              <a:gd name="T49" fmla="*/ 0 h 142"/>
              <a:gd name="T50" fmla="*/ 79 w 141"/>
              <a:gd name="T51" fmla="*/ 7 h 142"/>
              <a:gd name="T52" fmla="*/ 87 w 141"/>
              <a:gd name="T53" fmla="*/ 9 h 142"/>
              <a:gd name="T54" fmla="*/ 100 w 141"/>
              <a:gd name="T55" fmla="*/ 7 h 142"/>
              <a:gd name="T56" fmla="*/ 103 w 141"/>
              <a:gd name="T57" fmla="*/ 16 h 142"/>
              <a:gd name="T58" fmla="*/ 109 w 141"/>
              <a:gd name="T59" fmla="*/ 20 h 142"/>
              <a:gd name="T60" fmla="*/ 122 w 141"/>
              <a:gd name="T61" fmla="*/ 23 h 142"/>
              <a:gd name="T62" fmla="*/ 122 w 141"/>
              <a:gd name="T63" fmla="*/ 32 h 142"/>
              <a:gd name="T64" fmla="*/ 126 w 141"/>
              <a:gd name="T65" fmla="*/ 39 h 142"/>
              <a:gd name="T66" fmla="*/ 137 w 141"/>
              <a:gd name="T67" fmla="*/ 47 h 142"/>
              <a:gd name="T68" fmla="*/ 133 w 141"/>
              <a:gd name="T69" fmla="*/ 55 h 142"/>
              <a:gd name="T70" fmla="*/ 134 w 141"/>
              <a:gd name="T71" fmla="*/ 62 h 142"/>
              <a:gd name="T72" fmla="*/ 141 w 141"/>
              <a:gd name="T73" fmla="*/ 71 h 142"/>
              <a:gd name="T74" fmla="*/ 134 w 141"/>
              <a:gd name="T75" fmla="*/ 80 h 142"/>
              <a:gd name="T76" fmla="*/ 133 w 141"/>
              <a:gd name="T77" fmla="*/ 87 h 142"/>
              <a:gd name="T78" fmla="*/ 137 w 141"/>
              <a:gd name="T79" fmla="*/ 95 h 142"/>
              <a:gd name="T80" fmla="*/ 126 w 141"/>
              <a:gd name="T81" fmla="*/ 103 h 142"/>
              <a:gd name="T82" fmla="*/ 122 w 141"/>
              <a:gd name="T83" fmla="*/ 110 h 142"/>
              <a:gd name="T84" fmla="*/ 122 w 141"/>
              <a:gd name="T85" fmla="*/ 119 h 142"/>
              <a:gd name="T86" fmla="*/ 109 w 141"/>
              <a:gd name="T87" fmla="*/ 122 h 142"/>
              <a:gd name="T88" fmla="*/ 103 w 141"/>
              <a:gd name="T89" fmla="*/ 126 h 142"/>
              <a:gd name="T90" fmla="*/ 100 w 141"/>
              <a:gd name="T91" fmla="*/ 135 h 142"/>
              <a:gd name="T92" fmla="*/ 87 w 141"/>
              <a:gd name="T93" fmla="*/ 133 h 142"/>
              <a:gd name="T94" fmla="*/ 79 w 141"/>
              <a:gd name="T95" fmla="*/ 135 h 142"/>
              <a:gd name="T96" fmla="*/ 73 w 141"/>
              <a:gd name="T97" fmla="*/ 142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41" h="142">
                <a:moveTo>
                  <a:pt x="70" y="142"/>
                </a:moveTo>
                <a:cubicBezTo>
                  <a:pt x="69" y="142"/>
                  <a:pt x="68" y="142"/>
                  <a:pt x="67" y="142"/>
                </a:cubicBezTo>
                <a:cubicBezTo>
                  <a:pt x="67" y="135"/>
                  <a:pt x="67" y="135"/>
                  <a:pt x="67" y="135"/>
                </a:cubicBezTo>
                <a:cubicBezTo>
                  <a:pt x="66" y="135"/>
                  <a:pt x="66" y="135"/>
                  <a:pt x="66" y="135"/>
                </a:cubicBezTo>
                <a:cubicBezTo>
                  <a:pt x="65" y="135"/>
                  <a:pt x="63" y="135"/>
                  <a:pt x="62" y="135"/>
                </a:cubicBezTo>
                <a:cubicBezTo>
                  <a:pt x="61" y="135"/>
                  <a:pt x="61" y="135"/>
                  <a:pt x="61" y="135"/>
                </a:cubicBezTo>
                <a:cubicBezTo>
                  <a:pt x="60" y="141"/>
                  <a:pt x="60" y="141"/>
                  <a:pt x="60" y="141"/>
                </a:cubicBezTo>
                <a:cubicBezTo>
                  <a:pt x="58" y="141"/>
                  <a:pt x="56" y="140"/>
                  <a:pt x="54" y="140"/>
                </a:cubicBezTo>
                <a:cubicBezTo>
                  <a:pt x="54" y="133"/>
                  <a:pt x="54" y="133"/>
                  <a:pt x="54" y="133"/>
                </a:cubicBezTo>
                <a:cubicBezTo>
                  <a:pt x="54" y="133"/>
                  <a:pt x="54" y="133"/>
                  <a:pt x="54" y="133"/>
                </a:cubicBezTo>
                <a:cubicBezTo>
                  <a:pt x="52" y="133"/>
                  <a:pt x="51" y="132"/>
                  <a:pt x="50" y="132"/>
                </a:cubicBezTo>
                <a:cubicBezTo>
                  <a:pt x="49" y="132"/>
                  <a:pt x="49" y="132"/>
                  <a:pt x="49" y="132"/>
                </a:cubicBezTo>
                <a:cubicBezTo>
                  <a:pt x="46" y="137"/>
                  <a:pt x="46" y="137"/>
                  <a:pt x="46" y="137"/>
                </a:cubicBezTo>
                <a:cubicBezTo>
                  <a:pt x="44" y="137"/>
                  <a:pt x="42" y="136"/>
                  <a:pt x="41" y="135"/>
                </a:cubicBezTo>
                <a:cubicBezTo>
                  <a:pt x="42" y="129"/>
                  <a:pt x="42" y="129"/>
                  <a:pt x="42" y="129"/>
                </a:cubicBezTo>
                <a:cubicBezTo>
                  <a:pt x="42" y="129"/>
                  <a:pt x="42" y="129"/>
                  <a:pt x="42" y="129"/>
                </a:cubicBezTo>
                <a:cubicBezTo>
                  <a:pt x="41" y="128"/>
                  <a:pt x="39" y="127"/>
                  <a:pt x="38" y="127"/>
                </a:cubicBezTo>
                <a:cubicBezTo>
                  <a:pt x="38" y="126"/>
                  <a:pt x="38" y="126"/>
                  <a:pt x="38" y="126"/>
                </a:cubicBezTo>
                <a:cubicBezTo>
                  <a:pt x="34" y="131"/>
                  <a:pt x="34" y="131"/>
                  <a:pt x="34" y="131"/>
                </a:cubicBezTo>
                <a:cubicBezTo>
                  <a:pt x="32" y="130"/>
                  <a:pt x="30" y="129"/>
                  <a:pt x="29" y="128"/>
                </a:cubicBezTo>
                <a:cubicBezTo>
                  <a:pt x="32" y="122"/>
                  <a:pt x="32" y="122"/>
                  <a:pt x="32" y="122"/>
                </a:cubicBezTo>
                <a:cubicBezTo>
                  <a:pt x="31" y="122"/>
                  <a:pt x="31" y="122"/>
                  <a:pt x="31" y="122"/>
                </a:cubicBezTo>
                <a:cubicBezTo>
                  <a:pt x="30" y="121"/>
                  <a:pt x="29" y="120"/>
                  <a:pt x="28" y="119"/>
                </a:cubicBezTo>
                <a:cubicBezTo>
                  <a:pt x="28" y="119"/>
                  <a:pt x="28" y="119"/>
                  <a:pt x="28" y="119"/>
                </a:cubicBezTo>
                <a:cubicBezTo>
                  <a:pt x="23" y="123"/>
                  <a:pt x="23" y="123"/>
                  <a:pt x="23" y="123"/>
                </a:cubicBezTo>
                <a:cubicBezTo>
                  <a:pt x="21" y="122"/>
                  <a:pt x="20" y="120"/>
                  <a:pt x="18" y="119"/>
                </a:cubicBezTo>
                <a:cubicBezTo>
                  <a:pt x="22" y="114"/>
                  <a:pt x="22" y="114"/>
                  <a:pt x="22" y="114"/>
                </a:cubicBezTo>
                <a:cubicBezTo>
                  <a:pt x="22" y="114"/>
                  <a:pt x="22" y="114"/>
                  <a:pt x="22" y="114"/>
                </a:cubicBezTo>
                <a:cubicBezTo>
                  <a:pt x="21" y="112"/>
                  <a:pt x="20" y="111"/>
                  <a:pt x="19" y="110"/>
                </a:cubicBezTo>
                <a:cubicBezTo>
                  <a:pt x="19" y="110"/>
                  <a:pt x="19" y="110"/>
                  <a:pt x="19" y="110"/>
                </a:cubicBezTo>
                <a:cubicBezTo>
                  <a:pt x="13" y="113"/>
                  <a:pt x="13" y="113"/>
                  <a:pt x="13" y="113"/>
                </a:cubicBezTo>
                <a:cubicBezTo>
                  <a:pt x="12" y="111"/>
                  <a:pt x="11" y="109"/>
                  <a:pt x="10" y="108"/>
                </a:cubicBezTo>
                <a:cubicBezTo>
                  <a:pt x="15" y="104"/>
                  <a:pt x="15" y="104"/>
                  <a:pt x="15" y="104"/>
                </a:cubicBezTo>
                <a:cubicBezTo>
                  <a:pt x="15" y="103"/>
                  <a:pt x="15" y="103"/>
                  <a:pt x="15" y="103"/>
                </a:cubicBezTo>
                <a:cubicBezTo>
                  <a:pt x="14" y="102"/>
                  <a:pt x="13" y="101"/>
                  <a:pt x="13" y="99"/>
                </a:cubicBezTo>
                <a:cubicBezTo>
                  <a:pt x="12" y="99"/>
                  <a:pt x="12" y="99"/>
                  <a:pt x="12" y="99"/>
                </a:cubicBezTo>
                <a:cubicBezTo>
                  <a:pt x="6" y="101"/>
                  <a:pt x="6" y="101"/>
                  <a:pt x="6" y="101"/>
                </a:cubicBezTo>
                <a:cubicBezTo>
                  <a:pt x="5" y="99"/>
                  <a:pt x="5" y="97"/>
                  <a:pt x="4" y="95"/>
                </a:cubicBezTo>
                <a:cubicBezTo>
                  <a:pt x="10" y="92"/>
                  <a:pt x="10" y="92"/>
                  <a:pt x="10" y="92"/>
                </a:cubicBezTo>
                <a:cubicBezTo>
                  <a:pt x="10" y="92"/>
                  <a:pt x="10" y="92"/>
                  <a:pt x="10" y="92"/>
                </a:cubicBezTo>
                <a:cubicBezTo>
                  <a:pt x="9" y="90"/>
                  <a:pt x="9" y="89"/>
                  <a:pt x="8" y="88"/>
                </a:cubicBezTo>
                <a:cubicBezTo>
                  <a:pt x="8" y="87"/>
                  <a:pt x="8" y="87"/>
                  <a:pt x="8" y="87"/>
                </a:cubicBezTo>
                <a:cubicBezTo>
                  <a:pt x="2" y="88"/>
                  <a:pt x="2" y="88"/>
                  <a:pt x="2" y="88"/>
                </a:cubicBezTo>
                <a:cubicBezTo>
                  <a:pt x="1" y="86"/>
                  <a:pt x="1" y="84"/>
                  <a:pt x="1" y="82"/>
                </a:cubicBezTo>
                <a:cubicBezTo>
                  <a:pt x="7" y="80"/>
                  <a:pt x="7" y="80"/>
                  <a:pt x="7" y="80"/>
                </a:cubicBezTo>
                <a:cubicBezTo>
                  <a:pt x="7" y="80"/>
                  <a:pt x="7" y="80"/>
                  <a:pt x="7" y="80"/>
                </a:cubicBezTo>
                <a:cubicBezTo>
                  <a:pt x="6" y="78"/>
                  <a:pt x="6" y="77"/>
                  <a:pt x="6" y="75"/>
                </a:cubicBezTo>
                <a:cubicBezTo>
                  <a:pt x="6" y="75"/>
                  <a:pt x="6" y="75"/>
                  <a:pt x="6" y="75"/>
                </a:cubicBezTo>
                <a:cubicBezTo>
                  <a:pt x="0" y="74"/>
                  <a:pt x="0" y="74"/>
                  <a:pt x="0" y="74"/>
                </a:cubicBezTo>
                <a:cubicBezTo>
                  <a:pt x="0" y="73"/>
                  <a:pt x="0" y="72"/>
                  <a:pt x="0" y="71"/>
                </a:cubicBezTo>
                <a:cubicBezTo>
                  <a:pt x="0" y="70"/>
                  <a:pt x="0" y="69"/>
                  <a:pt x="0" y="68"/>
                </a:cubicBezTo>
                <a:cubicBezTo>
                  <a:pt x="6" y="67"/>
                  <a:pt x="6" y="67"/>
                  <a:pt x="6" y="67"/>
                </a:cubicBezTo>
                <a:cubicBezTo>
                  <a:pt x="6" y="67"/>
                  <a:pt x="6" y="67"/>
                  <a:pt x="6" y="67"/>
                </a:cubicBezTo>
                <a:cubicBezTo>
                  <a:pt x="6" y="65"/>
                  <a:pt x="6" y="64"/>
                  <a:pt x="7" y="62"/>
                </a:cubicBezTo>
                <a:cubicBezTo>
                  <a:pt x="7" y="62"/>
                  <a:pt x="7" y="62"/>
                  <a:pt x="7" y="62"/>
                </a:cubicBezTo>
                <a:cubicBezTo>
                  <a:pt x="1" y="60"/>
                  <a:pt x="1" y="60"/>
                  <a:pt x="1" y="60"/>
                </a:cubicBezTo>
                <a:cubicBezTo>
                  <a:pt x="1" y="58"/>
                  <a:pt x="1" y="56"/>
                  <a:pt x="2" y="54"/>
                </a:cubicBezTo>
                <a:cubicBezTo>
                  <a:pt x="8" y="55"/>
                  <a:pt x="8" y="55"/>
                  <a:pt x="8" y="55"/>
                </a:cubicBezTo>
                <a:cubicBezTo>
                  <a:pt x="8" y="54"/>
                  <a:pt x="8" y="54"/>
                  <a:pt x="8" y="54"/>
                </a:cubicBezTo>
                <a:cubicBezTo>
                  <a:pt x="9" y="53"/>
                  <a:pt x="9" y="52"/>
                  <a:pt x="10" y="50"/>
                </a:cubicBezTo>
                <a:cubicBezTo>
                  <a:pt x="10" y="50"/>
                  <a:pt x="10" y="50"/>
                  <a:pt x="10" y="50"/>
                </a:cubicBezTo>
                <a:cubicBezTo>
                  <a:pt x="4" y="47"/>
                  <a:pt x="4" y="47"/>
                  <a:pt x="4" y="47"/>
                </a:cubicBezTo>
                <a:cubicBezTo>
                  <a:pt x="5" y="45"/>
                  <a:pt x="5" y="43"/>
                  <a:pt x="6" y="41"/>
                </a:cubicBezTo>
                <a:cubicBezTo>
                  <a:pt x="12" y="43"/>
                  <a:pt x="12" y="43"/>
                  <a:pt x="12" y="43"/>
                </a:cubicBezTo>
                <a:cubicBezTo>
                  <a:pt x="13" y="43"/>
                  <a:pt x="13" y="43"/>
                  <a:pt x="13" y="43"/>
                </a:cubicBezTo>
                <a:cubicBezTo>
                  <a:pt x="13" y="41"/>
                  <a:pt x="14" y="40"/>
                  <a:pt x="15" y="39"/>
                </a:cubicBezTo>
                <a:cubicBezTo>
                  <a:pt x="15" y="38"/>
                  <a:pt x="15" y="38"/>
                  <a:pt x="15" y="38"/>
                </a:cubicBezTo>
                <a:cubicBezTo>
                  <a:pt x="10" y="34"/>
                  <a:pt x="10" y="34"/>
                  <a:pt x="10" y="34"/>
                </a:cubicBezTo>
                <a:cubicBezTo>
                  <a:pt x="11" y="33"/>
                  <a:pt x="12" y="31"/>
                  <a:pt x="13" y="29"/>
                </a:cubicBezTo>
                <a:cubicBezTo>
                  <a:pt x="19" y="32"/>
                  <a:pt x="19" y="32"/>
                  <a:pt x="19" y="32"/>
                </a:cubicBezTo>
                <a:cubicBezTo>
                  <a:pt x="19" y="32"/>
                  <a:pt x="19" y="32"/>
                  <a:pt x="19" y="32"/>
                </a:cubicBezTo>
                <a:cubicBezTo>
                  <a:pt x="20" y="31"/>
                  <a:pt x="21" y="30"/>
                  <a:pt x="22" y="29"/>
                </a:cubicBezTo>
                <a:cubicBezTo>
                  <a:pt x="22" y="28"/>
                  <a:pt x="22" y="28"/>
                  <a:pt x="22" y="28"/>
                </a:cubicBezTo>
                <a:cubicBezTo>
                  <a:pt x="18" y="23"/>
                  <a:pt x="18" y="23"/>
                  <a:pt x="18" y="23"/>
                </a:cubicBezTo>
                <a:cubicBezTo>
                  <a:pt x="20" y="22"/>
                  <a:pt x="21" y="20"/>
                  <a:pt x="23" y="19"/>
                </a:cubicBezTo>
                <a:cubicBezTo>
                  <a:pt x="28" y="23"/>
                  <a:pt x="28" y="23"/>
                  <a:pt x="28" y="23"/>
                </a:cubicBezTo>
                <a:cubicBezTo>
                  <a:pt x="28" y="23"/>
                  <a:pt x="28" y="23"/>
                  <a:pt x="28" y="23"/>
                </a:cubicBezTo>
                <a:cubicBezTo>
                  <a:pt x="29" y="22"/>
                  <a:pt x="30" y="21"/>
                  <a:pt x="31" y="20"/>
                </a:cubicBezTo>
                <a:cubicBezTo>
                  <a:pt x="32" y="20"/>
                  <a:pt x="32" y="20"/>
                  <a:pt x="32" y="20"/>
                </a:cubicBezTo>
                <a:cubicBezTo>
                  <a:pt x="29" y="14"/>
                  <a:pt x="29" y="14"/>
                  <a:pt x="29" y="14"/>
                </a:cubicBezTo>
                <a:cubicBezTo>
                  <a:pt x="30" y="13"/>
                  <a:pt x="32" y="12"/>
                  <a:pt x="34" y="11"/>
                </a:cubicBezTo>
                <a:cubicBezTo>
                  <a:pt x="38" y="16"/>
                  <a:pt x="38" y="16"/>
                  <a:pt x="38" y="16"/>
                </a:cubicBezTo>
                <a:cubicBezTo>
                  <a:pt x="38" y="15"/>
                  <a:pt x="38" y="15"/>
                  <a:pt x="38" y="15"/>
                </a:cubicBezTo>
                <a:cubicBezTo>
                  <a:pt x="39" y="15"/>
                  <a:pt x="41" y="14"/>
                  <a:pt x="42" y="13"/>
                </a:cubicBezTo>
                <a:cubicBezTo>
                  <a:pt x="42" y="13"/>
                  <a:pt x="42" y="13"/>
                  <a:pt x="42" y="13"/>
                </a:cubicBezTo>
                <a:cubicBezTo>
                  <a:pt x="41" y="7"/>
                  <a:pt x="41" y="7"/>
                  <a:pt x="41" y="7"/>
                </a:cubicBezTo>
                <a:cubicBezTo>
                  <a:pt x="42" y="6"/>
                  <a:pt x="44" y="5"/>
                  <a:pt x="46" y="5"/>
                </a:cubicBezTo>
                <a:cubicBezTo>
                  <a:pt x="49" y="10"/>
                  <a:pt x="49" y="10"/>
                  <a:pt x="49" y="10"/>
                </a:cubicBezTo>
                <a:cubicBezTo>
                  <a:pt x="50" y="10"/>
                  <a:pt x="50" y="10"/>
                  <a:pt x="50" y="10"/>
                </a:cubicBezTo>
                <a:cubicBezTo>
                  <a:pt x="51" y="10"/>
                  <a:pt x="52" y="9"/>
                  <a:pt x="54" y="9"/>
                </a:cubicBezTo>
                <a:cubicBezTo>
                  <a:pt x="54" y="9"/>
                  <a:pt x="54" y="9"/>
                  <a:pt x="54" y="9"/>
                </a:cubicBezTo>
                <a:cubicBezTo>
                  <a:pt x="54" y="2"/>
                  <a:pt x="54" y="2"/>
                  <a:pt x="54" y="2"/>
                </a:cubicBezTo>
                <a:cubicBezTo>
                  <a:pt x="56" y="2"/>
                  <a:pt x="58" y="1"/>
                  <a:pt x="60" y="1"/>
                </a:cubicBezTo>
                <a:cubicBezTo>
                  <a:pt x="61" y="7"/>
                  <a:pt x="61" y="7"/>
                  <a:pt x="61" y="7"/>
                </a:cubicBezTo>
                <a:cubicBezTo>
                  <a:pt x="62" y="7"/>
                  <a:pt x="62" y="7"/>
                  <a:pt x="62" y="7"/>
                </a:cubicBezTo>
                <a:cubicBezTo>
                  <a:pt x="63" y="7"/>
                  <a:pt x="65" y="7"/>
                  <a:pt x="66" y="7"/>
                </a:cubicBezTo>
                <a:cubicBezTo>
                  <a:pt x="67" y="7"/>
                  <a:pt x="67" y="7"/>
                  <a:pt x="67" y="7"/>
                </a:cubicBezTo>
                <a:cubicBezTo>
                  <a:pt x="67" y="0"/>
                  <a:pt x="67" y="0"/>
                  <a:pt x="67" y="0"/>
                </a:cubicBezTo>
                <a:cubicBezTo>
                  <a:pt x="68" y="0"/>
                  <a:pt x="69" y="0"/>
                  <a:pt x="70" y="0"/>
                </a:cubicBezTo>
                <a:cubicBezTo>
                  <a:pt x="71" y="0"/>
                  <a:pt x="72" y="0"/>
                  <a:pt x="73" y="0"/>
                </a:cubicBezTo>
                <a:cubicBezTo>
                  <a:pt x="74" y="7"/>
                  <a:pt x="74" y="7"/>
                  <a:pt x="74" y="7"/>
                </a:cubicBezTo>
                <a:cubicBezTo>
                  <a:pt x="74" y="7"/>
                  <a:pt x="74" y="7"/>
                  <a:pt x="74" y="7"/>
                </a:cubicBezTo>
                <a:cubicBezTo>
                  <a:pt x="76" y="7"/>
                  <a:pt x="77" y="7"/>
                  <a:pt x="79" y="7"/>
                </a:cubicBezTo>
                <a:cubicBezTo>
                  <a:pt x="79" y="7"/>
                  <a:pt x="79" y="7"/>
                  <a:pt x="79" y="7"/>
                </a:cubicBezTo>
                <a:cubicBezTo>
                  <a:pt x="81" y="1"/>
                  <a:pt x="81" y="1"/>
                  <a:pt x="81" y="1"/>
                </a:cubicBezTo>
                <a:cubicBezTo>
                  <a:pt x="83" y="1"/>
                  <a:pt x="85" y="2"/>
                  <a:pt x="87" y="2"/>
                </a:cubicBezTo>
                <a:cubicBezTo>
                  <a:pt x="87" y="9"/>
                  <a:pt x="87" y="9"/>
                  <a:pt x="87" y="9"/>
                </a:cubicBezTo>
                <a:cubicBezTo>
                  <a:pt x="87" y="9"/>
                  <a:pt x="87" y="9"/>
                  <a:pt x="87" y="9"/>
                </a:cubicBezTo>
                <a:cubicBezTo>
                  <a:pt x="88" y="9"/>
                  <a:pt x="90" y="10"/>
                  <a:pt x="91" y="10"/>
                </a:cubicBezTo>
                <a:cubicBezTo>
                  <a:pt x="92" y="10"/>
                  <a:pt x="92" y="10"/>
                  <a:pt x="92" y="10"/>
                </a:cubicBezTo>
                <a:cubicBezTo>
                  <a:pt x="95" y="5"/>
                  <a:pt x="95" y="5"/>
                  <a:pt x="95" y="5"/>
                </a:cubicBezTo>
                <a:cubicBezTo>
                  <a:pt x="96" y="5"/>
                  <a:pt x="98" y="6"/>
                  <a:pt x="100" y="7"/>
                </a:cubicBezTo>
                <a:cubicBezTo>
                  <a:pt x="98" y="13"/>
                  <a:pt x="98" y="13"/>
                  <a:pt x="98" y="13"/>
                </a:cubicBezTo>
                <a:cubicBezTo>
                  <a:pt x="99" y="13"/>
                  <a:pt x="99" y="13"/>
                  <a:pt x="99" y="13"/>
                </a:cubicBezTo>
                <a:cubicBezTo>
                  <a:pt x="100" y="14"/>
                  <a:pt x="101" y="15"/>
                  <a:pt x="103" y="15"/>
                </a:cubicBezTo>
                <a:cubicBezTo>
                  <a:pt x="103" y="16"/>
                  <a:pt x="103" y="16"/>
                  <a:pt x="103" y="16"/>
                </a:cubicBezTo>
                <a:cubicBezTo>
                  <a:pt x="107" y="11"/>
                  <a:pt x="107" y="11"/>
                  <a:pt x="107" y="11"/>
                </a:cubicBezTo>
                <a:cubicBezTo>
                  <a:pt x="109" y="12"/>
                  <a:pt x="111" y="13"/>
                  <a:pt x="112" y="14"/>
                </a:cubicBezTo>
                <a:cubicBezTo>
                  <a:pt x="109" y="20"/>
                  <a:pt x="109" y="20"/>
                  <a:pt x="109" y="20"/>
                </a:cubicBezTo>
                <a:cubicBezTo>
                  <a:pt x="109" y="20"/>
                  <a:pt x="109" y="20"/>
                  <a:pt x="109" y="20"/>
                </a:cubicBezTo>
                <a:cubicBezTo>
                  <a:pt x="111" y="21"/>
                  <a:pt x="112" y="22"/>
                  <a:pt x="113" y="23"/>
                </a:cubicBezTo>
                <a:cubicBezTo>
                  <a:pt x="113" y="23"/>
                  <a:pt x="113" y="23"/>
                  <a:pt x="113" y="23"/>
                </a:cubicBezTo>
                <a:cubicBezTo>
                  <a:pt x="118" y="19"/>
                  <a:pt x="118" y="19"/>
                  <a:pt x="118" y="19"/>
                </a:cubicBezTo>
                <a:cubicBezTo>
                  <a:pt x="120" y="20"/>
                  <a:pt x="121" y="22"/>
                  <a:pt x="122" y="23"/>
                </a:cubicBezTo>
                <a:cubicBezTo>
                  <a:pt x="118" y="28"/>
                  <a:pt x="118" y="28"/>
                  <a:pt x="118" y="28"/>
                </a:cubicBezTo>
                <a:cubicBezTo>
                  <a:pt x="119" y="29"/>
                  <a:pt x="119" y="29"/>
                  <a:pt x="119" y="29"/>
                </a:cubicBezTo>
                <a:cubicBezTo>
                  <a:pt x="120" y="30"/>
                  <a:pt x="121" y="31"/>
                  <a:pt x="121" y="32"/>
                </a:cubicBezTo>
                <a:cubicBezTo>
                  <a:pt x="122" y="32"/>
                  <a:pt x="122" y="32"/>
                  <a:pt x="122" y="32"/>
                </a:cubicBezTo>
                <a:cubicBezTo>
                  <a:pt x="127" y="29"/>
                  <a:pt x="127" y="29"/>
                  <a:pt x="127" y="29"/>
                </a:cubicBezTo>
                <a:cubicBezTo>
                  <a:pt x="129" y="31"/>
                  <a:pt x="130" y="33"/>
                  <a:pt x="131" y="34"/>
                </a:cubicBezTo>
                <a:cubicBezTo>
                  <a:pt x="126" y="38"/>
                  <a:pt x="126" y="38"/>
                  <a:pt x="126" y="38"/>
                </a:cubicBezTo>
                <a:cubicBezTo>
                  <a:pt x="126" y="39"/>
                  <a:pt x="126" y="39"/>
                  <a:pt x="126" y="39"/>
                </a:cubicBezTo>
                <a:cubicBezTo>
                  <a:pt x="127" y="40"/>
                  <a:pt x="128" y="41"/>
                  <a:pt x="128" y="43"/>
                </a:cubicBezTo>
                <a:cubicBezTo>
                  <a:pt x="128" y="43"/>
                  <a:pt x="128" y="43"/>
                  <a:pt x="128" y="43"/>
                </a:cubicBezTo>
                <a:cubicBezTo>
                  <a:pt x="134" y="41"/>
                  <a:pt x="134" y="41"/>
                  <a:pt x="134" y="41"/>
                </a:cubicBezTo>
                <a:cubicBezTo>
                  <a:pt x="135" y="43"/>
                  <a:pt x="136" y="45"/>
                  <a:pt x="137" y="47"/>
                </a:cubicBezTo>
                <a:cubicBezTo>
                  <a:pt x="131" y="50"/>
                  <a:pt x="131" y="50"/>
                  <a:pt x="131" y="50"/>
                </a:cubicBezTo>
                <a:cubicBezTo>
                  <a:pt x="131" y="50"/>
                  <a:pt x="131" y="50"/>
                  <a:pt x="131" y="50"/>
                </a:cubicBezTo>
                <a:cubicBezTo>
                  <a:pt x="132" y="52"/>
                  <a:pt x="132" y="53"/>
                  <a:pt x="133" y="54"/>
                </a:cubicBezTo>
                <a:cubicBezTo>
                  <a:pt x="133" y="55"/>
                  <a:pt x="133" y="55"/>
                  <a:pt x="133" y="55"/>
                </a:cubicBezTo>
                <a:cubicBezTo>
                  <a:pt x="139" y="54"/>
                  <a:pt x="139" y="54"/>
                  <a:pt x="139" y="54"/>
                </a:cubicBezTo>
                <a:cubicBezTo>
                  <a:pt x="140" y="56"/>
                  <a:pt x="140" y="58"/>
                  <a:pt x="140" y="60"/>
                </a:cubicBezTo>
                <a:cubicBezTo>
                  <a:pt x="134" y="62"/>
                  <a:pt x="134" y="62"/>
                  <a:pt x="134" y="62"/>
                </a:cubicBezTo>
                <a:cubicBezTo>
                  <a:pt x="134" y="62"/>
                  <a:pt x="134" y="62"/>
                  <a:pt x="134" y="62"/>
                </a:cubicBezTo>
                <a:cubicBezTo>
                  <a:pt x="134" y="64"/>
                  <a:pt x="134" y="65"/>
                  <a:pt x="135" y="67"/>
                </a:cubicBezTo>
                <a:cubicBezTo>
                  <a:pt x="135" y="67"/>
                  <a:pt x="135" y="67"/>
                  <a:pt x="135" y="67"/>
                </a:cubicBezTo>
                <a:cubicBezTo>
                  <a:pt x="141" y="68"/>
                  <a:pt x="141" y="68"/>
                  <a:pt x="141" y="68"/>
                </a:cubicBezTo>
                <a:cubicBezTo>
                  <a:pt x="141" y="69"/>
                  <a:pt x="141" y="70"/>
                  <a:pt x="141" y="71"/>
                </a:cubicBezTo>
                <a:cubicBezTo>
                  <a:pt x="141" y="72"/>
                  <a:pt x="141" y="73"/>
                  <a:pt x="141" y="74"/>
                </a:cubicBezTo>
                <a:cubicBezTo>
                  <a:pt x="135" y="75"/>
                  <a:pt x="135" y="75"/>
                  <a:pt x="135" y="75"/>
                </a:cubicBezTo>
                <a:cubicBezTo>
                  <a:pt x="135" y="75"/>
                  <a:pt x="135" y="75"/>
                  <a:pt x="135" y="75"/>
                </a:cubicBezTo>
                <a:cubicBezTo>
                  <a:pt x="134" y="77"/>
                  <a:pt x="134" y="78"/>
                  <a:pt x="134" y="80"/>
                </a:cubicBezTo>
                <a:cubicBezTo>
                  <a:pt x="134" y="80"/>
                  <a:pt x="134" y="80"/>
                  <a:pt x="134" y="80"/>
                </a:cubicBezTo>
                <a:cubicBezTo>
                  <a:pt x="140" y="82"/>
                  <a:pt x="140" y="82"/>
                  <a:pt x="140" y="82"/>
                </a:cubicBezTo>
                <a:cubicBezTo>
                  <a:pt x="140" y="84"/>
                  <a:pt x="140" y="86"/>
                  <a:pt x="139" y="88"/>
                </a:cubicBezTo>
                <a:cubicBezTo>
                  <a:pt x="133" y="87"/>
                  <a:pt x="133" y="87"/>
                  <a:pt x="133" y="87"/>
                </a:cubicBezTo>
                <a:cubicBezTo>
                  <a:pt x="133" y="88"/>
                  <a:pt x="133" y="88"/>
                  <a:pt x="133" y="88"/>
                </a:cubicBezTo>
                <a:cubicBezTo>
                  <a:pt x="132" y="89"/>
                  <a:pt x="132" y="90"/>
                  <a:pt x="131" y="92"/>
                </a:cubicBezTo>
                <a:cubicBezTo>
                  <a:pt x="131" y="92"/>
                  <a:pt x="131" y="92"/>
                  <a:pt x="131" y="92"/>
                </a:cubicBezTo>
                <a:cubicBezTo>
                  <a:pt x="137" y="95"/>
                  <a:pt x="137" y="95"/>
                  <a:pt x="137" y="95"/>
                </a:cubicBezTo>
                <a:cubicBezTo>
                  <a:pt x="136" y="97"/>
                  <a:pt x="135" y="99"/>
                  <a:pt x="134" y="101"/>
                </a:cubicBezTo>
                <a:cubicBezTo>
                  <a:pt x="128" y="99"/>
                  <a:pt x="128" y="99"/>
                  <a:pt x="128" y="99"/>
                </a:cubicBezTo>
                <a:cubicBezTo>
                  <a:pt x="128" y="99"/>
                  <a:pt x="128" y="99"/>
                  <a:pt x="128" y="99"/>
                </a:cubicBezTo>
                <a:cubicBezTo>
                  <a:pt x="128" y="101"/>
                  <a:pt x="127" y="102"/>
                  <a:pt x="126" y="103"/>
                </a:cubicBezTo>
                <a:cubicBezTo>
                  <a:pt x="126" y="104"/>
                  <a:pt x="126" y="104"/>
                  <a:pt x="126" y="104"/>
                </a:cubicBezTo>
                <a:cubicBezTo>
                  <a:pt x="131" y="108"/>
                  <a:pt x="131" y="108"/>
                  <a:pt x="131" y="108"/>
                </a:cubicBezTo>
                <a:cubicBezTo>
                  <a:pt x="130" y="109"/>
                  <a:pt x="129" y="111"/>
                  <a:pt x="127" y="113"/>
                </a:cubicBezTo>
                <a:cubicBezTo>
                  <a:pt x="122" y="110"/>
                  <a:pt x="122" y="110"/>
                  <a:pt x="122" y="110"/>
                </a:cubicBezTo>
                <a:cubicBezTo>
                  <a:pt x="121" y="110"/>
                  <a:pt x="121" y="110"/>
                  <a:pt x="121" y="110"/>
                </a:cubicBezTo>
                <a:cubicBezTo>
                  <a:pt x="121" y="111"/>
                  <a:pt x="120" y="112"/>
                  <a:pt x="119" y="114"/>
                </a:cubicBezTo>
                <a:cubicBezTo>
                  <a:pt x="118" y="114"/>
                  <a:pt x="118" y="114"/>
                  <a:pt x="118" y="114"/>
                </a:cubicBezTo>
                <a:cubicBezTo>
                  <a:pt x="122" y="119"/>
                  <a:pt x="122" y="119"/>
                  <a:pt x="122" y="119"/>
                </a:cubicBezTo>
                <a:cubicBezTo>
                  <a:pt x="121" y="120"/>
                  <a:pt x="120" y="122"/>
                  <a:pt x="118" y="123"/>
                </a:cubicBezTo>
                <a:cubicBezTo>
                  <a:pt x="113" y="119"/>
                  <a:pt x="113" y="119"/>
                  <a:pt x="113" y="119"/>
                </a:cubicBezTo>
                <a:cubicBezTo>
                  <a:pt x="113" y="119"/>
                  <a:pt x="113" y="119"/>
                  <a:pt x="113" y="119"/>
                </a:cubicBezTo>
                <a:cubicBezTo>
                  <a:pt x="112" y="120"/>
                  <a:pt x="111" y="121"/>
                  <a:pt x="109" y="122"/>
                </a:cubicBezTo>
                <a:cubicBezTo>
                  <a:pt x="109" y="122"/>
                  <a:pt x="109" y="122"/>
                  <a:pt x="109" y="122"/>
                </a:cubicBezTo>
                <a:cubicBezTo>
                  <a:pt x="112" y="128"/>
                  <a:pt x="112" y="128"/>
                  <a:pt x="112" y="128"/>
                </a:cubicBezTo>
                <a:cubicBezTo>
                  <a:pt x="111" y="129"/>
                  <a:pt x="109" y="130"/>
                  <a:pt x="107" y="131"/>
                </a:cubicBezTo>
                <a:cubicBezTo>
                  <a:pt x="103" y="126"/>
                  <a:pt x="103" y="126"/>
                  <a:pt x="103" y="126"/>
                </a:cubicBezTo>
                <a:cubicBezTo>
                  <a:pt x="103" y="127"/>
                  <a:pt x="103" y="127"/>
                  <a:pt x="103" y="127"/>
                </a:cubicBezTo>
                <a:cubicBezTo>
                  <a:pt x="101" y="127"/>
                  <a:pt x="100" y="128"/>
                  <a:pt x="99" y="129"/>
                </a:cubicBezTo>
                <a:cubicBezTo>
                  <a:pt x="98" y="129"/>
                  <a:pt x="98" y="129"/>
                  <a:pt x="98" y="129"/>
                </a:cubicBezTo>
                <a:cubicBezTo>
                  <a:pt x="100" y="135"/>
                  <a:pt x="100" y="135"/>
                  <a:pt x="100" y="135"/>
                </a:cubicBezTo>
                <a:cubicBezTo>
                  <a:pt x="98" y="136"/>
                  <a:pt x="96" y="137"/>
                  <a:pt x="95" y="137"/>
                </a:cubicBezTo>
                <a:cubicBezTo>
                  <a:pt x="92" y="132"/>
                  <a:pt x="92" y="132"/>
                  <a:pt x="92" y="132"/>
                </a:cubicBezTo>
                <a:cubicBezTo>
                  <a:pt x="91" y="132"/>
                  <a:pt x="91" y="132"/>
                  <a:pt x="91" y="132"/>
                </a:cubicBezTo>
                <a:cubicBezTo>
                  <a:pt x="90" y="132"/>
                  <a:pt x="88" y="133"/>
                  <a:pt x="87" y="133"/>
                </a:cubicBezTo>
                <a:cubicBezTo>
                  <a:pt x="87" y="133"/>
                  <a:pt x="87" y="133"/>
                  <a:pt x="87" y="133"/>
                </a:cubicBezTo>
                <a:cubicBezTo>
                  <a:pt x="87" y="140"/>
                  <a:pt x="87" y="140"/>
                  <a:pt x="87" y="140"/>
                </a:cubicBezTo>
                <a:cubicBezTo>
                  <a:pt x="85" y="140"/>
                  <a:pt x="83" y="141"/>
                  <a:pt x="81" y="141"/>
                </a:cubicBezTo>
                <a:cubicBezTo>
                  <a:pt x="79" y="135"/>
                  <a:pt x="79" y="135"/>
                  <a:pt x="79" y="135"/>
                </a:cubicBezTo>
                <a:cubicBezTo>
                  <a:pt x="79" y="135"/>
                  <a:pt x="79" y="135"/>
                  <a:pt x="79" y="135"/>
                </a:cubicBezTo>
                <a:cubicBezTo>
                  <a:pt x="77" y="135"/>
                  <a:pt x="76" y="135"/>
                  <a:pt x="74" y="135"/>
                </a:cubicBezTo>
                <a:cubicBezTo>
                  <a:pt x="74" y="135"/>
                  <a:pt x="74" y="135"/>
                  <a:pt x="74" y="135"/>
                </a:cubicBezTo>
                <a:cubicBezTo>
                  <a:pt x="73" y="142"/>
                  <a:pt x="73" y="142"/>
                  <a:pt x="73" y="142"/>
                </a:cubicBezTo>
                <a:cubicBezTo>
                  <a:pt x="72" y="142"/>
                  <a:pt x="71" y="142"/>
                  <a:pt x="70" y="142"/>
                </a:cubicBezTo>
                <a:close/>
              </a:path>
            </a:pathLst>
          </a:custGeom>
          <a:solidFill>
            <a:srgbClr val="AFABAB"/>
          </a:solidFill>
          <a:ln>
            <a:noFill/>
          </a:ln>
          <a:effec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222" name="Freeform 221"/>
          <p:cNvSpPr>
            <a:spLocks/>
          </p:cNvSpPr>
          <p:nvPr/>
        </p:nvSpPr>
        <p:spPr bwMode="auto">
          <a:xfrm>
            <a:off x="4221966" y="3181364"/>
            <a:ext cx="381164" cy="383836"/>
          </a:xfrm>
          <a:custGeom>
            <a:avLst/>
            <a:gdLst>
              <a:gd name="T0" fmla="*/ 66 w 141"/>
              <a:gd name="T1" fmla="*/ 135 h 142"/>
              <a:gd name="T2" fmla="*/ 54 w 141"/>
              <a:gd name="T3" fmla="*/ 140 h 142"/>
              <a:gd name="T4" fmla="*/ 49 w 141"/>
              <a:gd name="T5" fmla="*/ 132 h 142"/>
              <a:gd name="T6" fmla="*/ 42 w 141"/>
              <a:gd name="T7" fmla="*/ 129 h 142"/>
              <a:gd name="T8" fmla="*/ 29 w 141"/>
              <a:gd name="T9" fmla="*/ 128 h 142"/>
              <a:gd name="T10" fmla="*/ 28 w 141"/>
              <a:gd name="T11" fmla="*/ 119 h 142"/>
              <a:gd name="T12" fmla="*/ 22 w 141"/>
              <a:gd name="T13" fmla="*/ 114 h 142"/>
              <a:gd name="T14" fmla="*/ 10 w 141"/>
              <a:gd name="T15" fmla="*/ 108 h 142"/>
              <a:gd name="T16" fmla="*/ 12 w 141"/>
              <a:gd name="T17" fmla="*/ 99 h 142"/>
              <a:gd name="T18" fmla="*/ 10 w 141"/>
              <a:gd name="T19" fmla="*/ 92 h 142"/>
              <a:gd name="T20" fmla="*/ 1 w 141"/>
              <a:gd name="T21" fmla="*/ 82 h 142"/>
              <a:gd name="T22" fmla="*/ 6 w 141"/>
              <a:gd name="T23" fmla="*/ 75 h 142"/>
              <a:gd name="T24" fmla="*/ 6 w 141"/>
              <a:gd name="T25" fmla="*/ 67 h 142"/>
              <a:gd name="T26" fmla="*/ 1 w 141"/>
              <a:gd name="T27" fmla="*/ 60 h 142"/>
              <a:gd name="T28" fmla="*/ 10 w 141"/>
              <a:gd name="T29" fmla="*/ 50 h 142"/>
              <a:gd name="T30" fmla="*/ 12 w 141"/>
              <a:gd name="T31" fmla="*/ 43 h 142"/>
              <a:gd name="T32" fmla="*/ 10 w 141"/>
              <a:gd name="T33" fmla="*/ 34 h 142"/>
              <a:gd name="T34" fmla="*/ 22 w 141"/>
              <a:gd name="T35" fmla="*/ 29 h 142"/>
              <a:gd name="T36" fmla="*/ 28 w 141"/>
              <a:gd name="T37" fmla="*/ 23 h 142"/>
              <a:gd name="T38" fmla="*/ 29 w 141"/>
              <a:gd name="T39" fmla="*/ 14 h 142"/>
              <a:gd name="T40" fmla="*/ 42 w 141"/>
              <a:gd name="T41" fmla="*/ 13 h 142"/>
              <a:gd name="T42" fmla="*/ 49 w 141"/>
              <a:gd name="T43" fmla="*/ 10 h 142"/>
              <a:gd name="T44" fmla="*/ 54 w 141"/>
              <a:gd name="T45" fmla="*/ 2 h 142"/>
              <a:gd name="T46" fmla="*/ 66 w 141"/>
              <a:gd name="T47" fmla="*/ 7 h 142"/>
              <a:gd name="T48" fmla="*/ 73 w 141"/>
              <a:gd name="T49" fmla="*/ 0 h 142"/>
              <a:gd name="T50" fmla="*/ 79 w 141"/>
              <a:gd name="T51" fmla="*/ 7 h 142"/>
              <a:gd name="T52" fmla="*/ 87 w 141"/>
              <a:gd name="T53" fmla="*/ 9 h 142"/>
              <a:gd name="T54" fmla="*/ 100 w 141"/>
              <a:gd name="T55" fmla="*/ 7 h 142"/>
              <a:gd name="T56" fmla="*/ 103 w 141"/>
              <a:gd name="T57" fmla="*/ 16 h 142"/>
              <a:gd name="T58" fmla="*/ 109 w 141"/>
              <a:gd name="T59" fmla="*/ 20 h 142"/>
              <a:gd name="T60" fmla="*/ 122 w 141"/>
              <a:gd name="T61" fmla="*/ 23 h 142"/>
              <a:gd name="T62" fmla="*/ 122 w 141"/>
              <a:gd name="T63" fmla="*/ 32 h 142"/>
              <a:gd name="T64" fmla="*/ 126 w 141"/>
              <a:gd name="T65" fmla="*/ 39 h 142"/>
              <a:gd name="T66" fmla="*/ 137 w 141"/>
              <a:gd name="T67" fmla="*/ 47 h 142"/>
              <a:gd name="T68" fmla="*/ 133 w 141"/>
              <a:gd name="T69" fmla="*/ 55 h 142"/>
              <a:gd name="T70" fmla="*/ 134 w 141"/>
              <a:gd name="T71" fmla="*/ 62 h 142"/>
              <a:gd name="T72" fmla="*/ 141 w 141"/>
              <a:gd name="T73" fmla="*/ 71 h 142"/>
              <a:gd name="T74" fmla="*/ 134 w 141"/>
              <a:gd name="T75" fmla="*/ 80 h 142"/>
              <a:gd name="T76" fmla="*/ 133 w 141"/>
              <a:gd name="T77" fmla="*/ 87 h 142"/>
              <a:gd name="T78" fmla="*/ 137 w 141"/>
              <a:gd name="T79" fmla="*/ 95 h 142"/>
              <a:gd name="T80" fmla="*/ 126 w 141"/>
              <a:gd name="T81" fmla="*/ 103 h 142"/>
              <a:gd name="T82" fmla="*/ 122 w 141"/>
              <a:gd name="T83" fmla="*/ 110 h 142"/>
              <a:gd name="T84" fmla="*/ 122 w 141"/>
              <a:gd name="T85" fmla="*/ 119 h 142"/>
              <a:gd name="T86" fmla="*/ 109 w 141"/>
              <a:gd name="T87" fmla="*/ 122 h 142"/>
              <a:gd name="T88" fmla="*/ 103 w 141"/>
              <a:gd name="T89" fmla="*/ 126 h 142"/>
              <a:gd name="T90" fmla="*/ 100 w 141"/>
              <a:gd name="T91" fmla="*/ 135 h 142"/>
              <a:gd name="T92" fmla="*/ 87 w 141"/>
              <a:gd name="T93" fmla="*/ 133 h 142"/>
              <a:gd name="T94" fmla="*/ 79 w 141"/>
              <a:gd name="T95" fmla="*/ 135 h 142"/>
              <a:gd name="T96" fmla="*/ 73 w 141"/>
              <a:gd name="T97" fmla="*/ 142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41" h="142">
                <a:moveTo>
                  <a:pt x="70" y="142"/>
                </a:moveTo>
                <a:cubicBezTo>
                  <a:pt x="69" y="142"/>
                  <a:pt x="68" y="142"/>
                  <a:pt x="67" y="142"/>
                </a:cubicBezTo>
                <a:cubicBezTo>
                  <a:pt x="67" y="135"/>
                  <a:pt x="67" y="135"/>
                  <a:pt x="67" y="135"/>
                </a:cubicBezTo>
                <a:cubicBezTo>
                  <a:pt x="66" y="135"/>
                  <a:pt x="66" y="135"/>
                  <a:pt x="66" y="135"/>
                </a:cubicBezTo>
                <a:cubicBezTo>
                  <a:pt x="65" y="135"/>
                  <a:pt x="63" y="135"/>
                  <a:pt x="62" y="135"/>
                </a:cubicBezTo>
                <a:cubicBezTo>
                  <a:pt x="61" y="135"/>
                  <a:pt x="61" y="135"/>
                  <a:pt x="61" y="135"/>
                </a:cubicBezTo>
                <a:cubicBezTo>
                  <a:pt x="60" y="141"/>
                  <a:pt x="60" y="141"/>
                  <a:pt x="60" y="141"/>
                </a:cubicBezTo>
                <a:cubicBezTo>
                  <a:pt x="58" y="141"/>
                  <a:pt x="56" y="140"/>
                  <a:pt x="54" y="140"/>
                </a:cubicBezTo>
                <a:cubicBezTo>
                  <a:pt x="54" y="133"/>
                  <a:pt x="54" y="133"/>
                  <a:pt x="54" y="133"/>
                </a:cubicBezTo>
                <a:cubicBezTo>
                  <a:pt x="54" y="133"/>
                  <a:pt x="54" y="133"/>
                  <a:pt x="54" y="133"/>
                </a:cubicBezTo>
                <a:cubicBezTo>
                  <a:pt x="52" y="133"/>
                  <a:pt x="51" y="132"/>
                  <a:pt x="50" y="132"/>
                </a:cubicBezTo>
                <a:cubicBezTo>
                  <a:pt x="49" y="132"/>
                  <a:pt x="49" y="132"/>
                  <a:pt x="49" y="132"/>
                </a:cubicBezTo>
                <a:cubicBezTo>
                  <a:pt x="46" y="137"/>
                  <a:pt x="46" y="137"/>
                  <a:pt x="46" y="137"/>
                </a:cubicBezTo>
                <a:cubicBezTo>
                  <a:pt x="44" y="137"/>
                  <a:pt x="42" y="136"/>
                  <a:pt x="41" y="135"/>
                </a:cubicBezTo>
                <a:cubicBezTo>
                  <a:pt x="42" y="129"/>
                  <a:pt x="42" y="129"/>
                  <a:pt x="42" y="129"/>
                </a:cubicBezTo>
                <a:cubicBezTo>
                  <a:pt x="42" y="129"/>
                  <a:pt x="42" y="129"/>
                  <a:pt x="42" y="129"/>
                </a:cubicBezTo>
                <a:cubicBezTo>
                  <a:pt x="41" y="128"/>
                  <a:pt x="39" y="127"/>
                  <a:pt x="38" y="127"/>
                </a:cubicBezTo>
                <a:cubicBezTo>
                  <a:pt x="38" y="126"/>
                  <a:pt x="38" y="126"/>
                  <a:pt x="38" y="126"/>
                </a:cubicBezTo>
                <a:cubicBezTo>
                  <a:pt x="34" y="131"/>
                  <a:pt x="34" y="131"/>
                  <a:pt x="34" y="131"/>
                </a:cubicBezTo>
                <a:cubicBezTo>
                  <a:pt x="32" y="130"/>
                  <a:pt x="30" y="129"/>
                  <a:pt x="29" y="128"/>
                </a:cubicBezTo>
                <a:cubicBezTo>
                  <a:pt x="32" y="122"/>
                  <a:pt x="32" y="122"/>
                  <a:pt x="32" y="122"/>
                </a:cubicBezTo>
                <a:cubicBezTo>
                  <a:pt x="31" y="122"/>
                  <a:pt x="31" y="122"/>
                  <a:pt x="31" y="122"/>
                </a:cubicBezTo>
                <a:cubicBezTo>
                  <a:pt x="30" y="121"/>
                  <a:pt x="29" y="120"/>
                  <a:pt x="28" y="119"/>
                </a:cubicBezTo>
                <a:cubicBezTo>
                  <a:pt x="28" y="119"/>
                  <a:pt x="28" y="119"/>
                  <a:pt x="28" y="119"/>
                </a:cubicBezTo>
                <a:cubicBezTo>
                  <a:pt x="23" y="123"/>
                  <a:pt x="23" y="123"/>
                  <a:pt x="23" y="123"/>
                </a:cubicBezTo>
                <a:cubicBezTo>
                  <a:pt x="21" y="122"/>
                  <a:pt x="20" y="120"/>
                  <a:pt x="18" y="119"/>
                </a:cubicBezTo>
                <a:cubicBezTo>
                  <a:pt x="22" y="114"/>
                  <a:pt x="22" y="114"/>
                  <a:pt x="22" y="114"/>
                </a:cubicBezTo>
                <a:cubicBezTo>
                  <a:pt x="22" y="114"/>
                  <a:pt x="22" y="114"/>
                  <a:pt x="22" y="114"/>
                </a:cubicBezTo>
                <a:cubicBezTo>
                  <a:pt x="21" y="112"/>
                  <a:pt x="20" y="111"/>
                  <a:pt x="19" y="110"/>
                </a:cubicBezTo>
                <a:cubicBezTo>
                  <a:pt x="19" y="110"/>
                  <a:pt x="19" y="110"/>
                  <a:pt x="19" y="110"/>
                </a:cubicBezTo>
                <a:cubicBezTo>
                  <a:pt x="13" y="113"/>
                  <a:pt x="13" y="113"/>
                  <a:pt x="13" y="113"/>
                </a:cubicBezTo>
                <a:cubicBezTo>
                  <a:pt x="12" y="111"/>
                  <a:pt x="11" y="109"/>
                  <a:pt x="10" y="108"/>
                </a:cubicBezTo>
                <a:cubicBezTo>
                  <a:pt x="15" y="104"/>
                  <a:pt x="15" y="104"/>
                  <a:pt x="15" y="104"/>
                </a:cubicBezTo>
                <a:cubicBezTo>
                  <a:pt x="15" y="103"/>
                  <a:pt x="15" y="103"/>
                  <a:pt x="15" y="103"/>
                </a:cubicBezTo>
                <a:cubicBezTo>
                  <a:pt x="14" y="102"/>
                  <a:pt x="13" y="101"/>
                  <a:pt x="13" y="99"/>
                </a:cubicBezTo>
                <a:cubicBezTo>
                  <a:pt x="12" y="99"/>
                  <a:pt x="12" y="99"/>
                  <a:pt x="12" y="99"/>
                </a:cubicBezTo>
                <a:cubicBezTo>
                  <a:pt x="6" y="101"/>
                  <a:pt x="6" y="101"/>
                  <a:pt x="6" y="101"/>
                </a:cubicBezTo>
                <a:cubicBezTo>
                  <a:pt x="5" y="99"/>
                  <a:pt x="5" y="97"/>
                  <a:pt x="4" y="95"/>
                </a:cubicBezTo>
                <a:cubicBezTo>
                  <a:pt x="10" y="92"/>
                  <a:pt x="10" y="92"/>
                  <a:pt x="10" y="92"/>
                </a:cubicBezTo>
                <a:cubicBezTo>
                  <a:pt x="10" y="92"/>
                  <a:pt x="10" y="92"/>
                  <a:pt x="10" y="92"/>
                </a:cubicBezTo>
                <a:cubicBezTo>
                  <a:pt x="9" y="90"/>
                  <a:pt x="9" y="89"/>
                  <a:pt x="8" y="88"/>
                </a:cubicBezTo>
                <a:cubicBezTo>
                  <a:pt x="8" y="87"/>
                  <a:pt x="8" y="87"/>
                  <a:pt x="8" y="87"/>
                </a:cubicBezTo>
                <a:cubicBezTo>
                  <a:pt x="2" y="88"/>
                  <a:pt x="2" y="88"/>
                  <a:pt x="2" y="88"/>
                </a:cubicBezTo>
                <a:cubicBezTo>
                  <a:pt x="1" y="86"/>
                  <a:pt x="1" y="84"/>
                  <a:pt x="1" y="82"/>
                </a:cubicBezTo>
                <a:cubicBezTo>
                  <a:pt x="7" y="80"/>
                  <a:pt x="7" y="80"/>
                  <a:pt x="7" y="80"/>
                </a:cubicBezTo>
                <a:cubicBezTo>
                  <a:pt x="7" y="80"/>
                  <a:pt x="7" y="80"/>
                  <a:pt x="7" y="80"/>
                </a:cubicBezTo>
                <a:cubicBezTo>
                  <a:pt x="6" y="78"/>
                  <a:pt x="6" y="77"/>
                  <a:pt x="6" y="75"/>
                </a:cubicBezTo>
                <a:cubicBezTo>
                  <a:pt x="6" y="75"/>
                  <a:pt x="6" y="75"/>
                  <a:pt x="6" y="75"/>
                </a:cubicBezTo>
                <a:cubicBezTo>
                  <a:pt x="0" y="74"/>
                  <a:pt x="0" y="74"/>
                  <a:pt x="0" y="74"/>
                </a:cubicBezTo>
                <a:cubicBezTo>
                  <a:pt x="0" y="73"/>
                  <a:pt x="0" y="72"/>
                  <a:pt x="0" y="71"/>
                </a:cubicBezTo>
                <a:cubicBezTo>
                  <a:pt x="0" y="70"/>
                  <a:pt x="0" y="69"/>
                  <a:pt x="0" y="68"/>
                </a:cubicBezTo>
                <a:cubicBezTo>
                  <a:pt x="6" y="67"/>
                  <a:pt x="6" y="67"/>
                  <a:pt x="6" y="67"/>
                </a:cubicBezTo>
                <a:cubicBezTo>
                  <a:pt x="6" y="67"/>
                  <a:pt x="6" y="67"/>
                  <a:pt x="6" y="67"/>
                </a:cubicBezTo>
                <a:cubicBezTo>
                  <a:pt x="6" y="65"/>
                  <a:pt x="6" y="64"/>
                  <a:pt x="7" y="62"/>
                </a:cubicBezTo>
                <a:cubicBezTo>
                  <a:pt x="7" y="62"/>
                  <a:pt x="7" y="62"/>
                  <a:pt x="7" y="62"/>
                </a:cubicBezTo>
                <a:cubicBezTo>
                  <a:pt x="1" y="60"/>
                  <a:pt x="1" y="60"/>
                  <a:pt x="1" y="60"/>
                </a:cubicBezTo>
                <a:cubicBezTo>
                  <a:pt x="1" y="58"/>
                  <a:pt x="1" y="56"/>
                  <a:pt x="2" y="54"/>
                </a:cubicBezTo>
                <a:cubicBezTo>
                  <a:pt x="8" y="55"/>
                  <a:pt x="8" y="55"/>
                  <a:pt x="8" y="55"/>
                </a:cubicBezTo>
                <a:cubicBezTo>
                  <a:pt x="8" y="54"/>
                  <a:pt x="8" y="54"/>
                  <a:pt x="8" y="54"/>
                </a:cubicBezTo>
                <a:cubicBezTo>
                  <a:pt x="9" y="53"/>
                  <a:pt x="9" y="52"/>
                  <a:pt x="10" y="50"/>
                </a:cubicBezTo>
                <a:cubicBezTo>
                  <a:pt x="10" y="50"/>
                  <a:pt x="10" y="50"/>
                  <a:pt x="10" y="50"/>
                </a:cubicBezTo>
                <a:cubicBezTo>
                  <a:pt x="4" y="47"/>
                  <a:pt x="4" y="47"/>
                  <a:pt x="4" y="47"/>
                </a:cubicBezTo>
                <a:cubicBezTo>
                  <a:pt x="5" y="45"/>
                  <a:pt x="5" y="43"/>
                  <a:pt x="6" y="41"/>
                </a:cubicBezTo>
                <a:cubicBezTo>
                  <a:pt x="12" y="43"/>
                  <a:pt x="12" y="43"/>
                  <a:pt x="12" y="43"/>
                </a:cubicBezTo>
                <a:cubicBezTo>
                  <a:pt x="13" y="43"/>
                  <a:pt x="13" y="43"/>
                  <a:pt x="13" y="43"/>
                </a:cubicBezTo>
                <a:cubicBezTo>
                  <a:pt x="13" y="41"/>
                  <a:pt x="14" y="40"/>
                  <a:pt x="15" y="39"/>
                </a:cubicBezTo>
                <a:cubicBezTo>
                  <a:pt x="15" y="38"/>
                  <a:pt x="15" y="38"/>
                  <a:pt x="15" y="38"/>
                </a:cubicBezTo>
                <a:cubicBezTo>
                  <a:pt x="10" y="34"/>
                  <a:pt x="10" y="34"/>
                  <a:pt x="10" y="34"/>
                </a:cubicBezTo>
                <a:cubicBezTo>
                  <a:pt x="11" y="33"/>
                  <a:pt x="12" y="31"/>
                  <a:pt x="13" y="29"/>
                </a:cubicBezTo>
                <a:cubicBezTo>
                  <a:pt x="19" y="32"/>
                  <a:pt x="19" y="32"/>
                  <a:pt x="19" y="32"/>
                </a:cubicBezTo>
                <a:cubicBezTo>
                  <a:pt x="19" y="32"/>
                  <a:pt x="19" y="32"/>
                  <a:pt x="19" y="32"/>
                </a:cubicBezTo>
                <a:cubicBezTo>
                  <a:pt x="20" y="31"/>
                  <a:pt x="21" y="30"/>
                  <a:pt x="22" y="29"/>
                </a:cubicBezTo>
                <a:cubicBezTo>
                  <a:pt x="22" y="28"/>
                  <a:pt x="22" y="28"/>
                  <a:pt x="22" y="28"/>
                </a:cubicBezTo>
                <a:cubicBezTo>
                  <a:pt x="18" y="23"/>
                  <a:pt x="18" y="23"/>
                  <a:pt x="18" y="23"/>
                </a:cubicBezTo>
                <a:cubicBezTo>
                  <a:pt x="20" y="22"/>
                  <a:pt x="21" y="20"/>
                  <a:pt x="23" y="19"/>
                </a:cubicBezTo>
                <a:cubicBezTo>
                  <a:pt x="28" y="23"/>
                  <a:pt x="28" y="23"/>
                  <a:pt x="28" y="23"/>
                </a:cubicBezTo>
                <a:cubicBezTo>
                  <a:pt x="28" y="23"/>
                  <a:pt x="28" y="23"/>
                  <a:pt x="28" y="23"/>
                </a:cubicBezTo>
                <a:cubicBezTo>
                  <a:pt x="29" y="22"/>
                  <a:pt x="30" y="21"/>
                  <a:pt x="31" y="20"/>
                </a:cubicBezTo>
                <a:cubicBezTo>
                  <a:pt x="32" y="20"/>
                  <a:pt x="32" y="20"/>
                  <a:pt x="32" y="20"/>
                </a:cubicBezTo>
                <a:cubicBezTo>
                  <a:pt x="29" y="14"/>
                  <a:pt x="29" y="14"/>
                  <a:pt x="29" y="14"/>
                </a:cubicBezTo>
                <a:cubicBezTo>
                  <a:pt x="30" y="13"/>
                  <a:pt x="32" y="12"/>
                  <a:pt x="34" y="11"/>
                </a:cubicBezTo>
                <a:cubicBezTo>
                  <a:pt x="38" y="16"/>
                  <a:pt x="38" y="16"/>
                  <a:pt x="38" y="16"/>
                </a:cubicBezTo>
                <a:cubicBezTo>
                  <a:pt x="38" y="15"/>
                  <a:pt x="38" y="15"/>
                  <a:pt x="38" y="15"/>
                </a:cubicBezTo>
                <a:cubicBezTo>
                  <a:pt x="39" y="15"/>
                  <a:pt x="41" y="14"/>
                  <a:pt x="42" y="13"/>
                </a:cubicBezTo>
                <a:cubicBezTo>
                  <a:pt x="42" y="13"/>
                  <a:pt x="42" y="13"/>
                  <a:pt x="42" y="13"/>
                </a:cubicBezTo>
                <a:cubicBezTo>
                  <a:pt x="41" y="7"/>
                  <a:pt x="41" y="7"/>
                  <a:pt x="41" y="7"/>
                </a:cubicBezTo>
                <a:cubicBezTo>
                  <a:pt x="42" y="6"/>
                  <a:pt x="44" y="5"/>
                  <a:pt x="46" y="5"/>
                </a:cubicBezTo>
                <a:cubicBezTo>
                  <a:pt x="49" y="10"/>
                  <a:pt x="49" y="10"/>
                  <a:pt x="49" y="10"/>
                </a:cubicBezTo>
                <a:cubicBezTo>
                  <a:pt x="50" y="10"/>
                  <a:pt x="50" y="10"/>
                  <a:pt x="50" y="10"/>
                </a:cubicBezTo>
                <a:cubicBezTo>
                  <a:pt x="51" y="10"/>
                  <a:pt x="52" y="9"/>
                  <a:pt x="54" y="9"/>
                </a:cubicBezTo>
                <a:cubicBezTo>
                  <a:pt x="54" y="9"/>
                  <a:pt x="54" y="9"/>
                  <a:pt x="54" y="9"/>
                </a:cubicBezTo>
                <a:cubicBezTo>
                  <a:pt x="54" y="2"/>
                  <a:pt x="54" y="2"/>
                  <a:pt x="54" y="2"/>
                </a:cubicBezTo>
                <a:cubicBezTo>
                  <a:pt x="56" y="2"/>
                  <a:pt x="58" y="1"/>
                  <a:pt x="60" y="1"/>
                </a:cubicBezTo>
                <a:cubicBezTo>
                  <a:pt x="61" y="7"/>
                  <a:pt x="61" y="7"/>
                  <a:pt x="61" y="7"/>
                </a:cubicBezTo>
                <a:cubicBezTo>
                  <a:pt x="62" y="7"/>
                  <a:pt x="62" y="7"/>
                  <a:pt x="62" y="7"/>
                </a:cubicBezTo>
                <a:cubicBezTo>
                  <a:pt x="63" y="7"/>
                  <a:pt x="65" y="7"/>
                  <a:pt x="66" y="7"/>
                </a:cubicBezTo>
                <a:cubicBezTo>
                  <a:pt x="67" y="7"/>
                  <a:pt x="67" y="7"/>
                  <a:pt x="67" y="7"/>
                </a:cubicBezTo>
                <a:cubicBezTo>
                  <a:pt x="67" y="0"/>
                  <a:pt x="67" y="0"/>
                  <a:pt x="67" y="0"/>
                </a:cubicBezTo>
                <a:cubicBezTo>
                  <a:pt x="68" y="0"/>
                  <a:pt x="69" y="0"/>
                  <a:pt x="70" y="0"/>
                </a:cubicBezTo>
                <a:cubicBezTo>
                  <a:pt x="71" y="0"/>
                  <a:pt x="72" y="0"/>
                  <a:pt x="73" y="0"/>
                </a:cubicBezTo>
                <a:cubicBezTo>
                  <a:pt x="74" y="7"/>
                  <a:pt x="74" y="7"/>
                  <a:pt x="74" y="7"/>
                </a:cubicBezTo>
                <a:cubicBezTo>
                  <a:pt x="74" y="7"/>
                  <a:pt x="74" y="7"/>
                  <a:pt x="74" y="7"/>
                </a:cubicBezTo>
                <a:cubicBezTo>
                  <a:pt x="76" y="7"/>
                  <a:pt x="77" y="7"/>
                  <a:pt x="79" y="7"/>
                </a:cubicBezTo>
                <a:cubicBezTo>
                  <a:pt x="79" y="7"/>
                  <a:pt x="79" y="7"/>
                  <a:pt x="79" y="7"/>
                </a:cubicBezTo>
                <a:cubicBezTo>
                  <a:pt x="81" y="1"/>
                  <a:pt x="81" y="1"/>
                  <a:pt x="81" y="1"/>
                </a:cubicBezTo>
                <a:cubicBezTo>
                  <a:pt x="83" y="1"/>
                  <a:pt x="85" y="2"/>
                  <a:pt x="87" y="2"/>
                </a:cubicBezTo>
                <a:cubicBezTo>
                  <a:pt x="87" y="9"/>
                  <a:pt x="87" y="9"/>
                  <a:pt x="87" y="9"/>
                </a:cubicBezTo>
                <a:cubicBezTo>
                  <a:pt x="87" y="9"/>
                  <a:pt x="87" y="9"/>
                  <a:pt x="87" y="9"/>
                </a:cubicBezTo>
                <a:cubicBezTo>
                  <a:pt x="88" y="9"/>
                  <a:pt x="90" y="10"/>
                  <a:pt x="91" y="10"/>
                </a:cubicBezTo>
                <a:cubicBezTo>
                  <a:pt x="92" y="10"/>
                  <a:pt x="92" y="10"/>
                  <a:pt x="92" y="10"/>
                </a:cubicBezTo>
                <a:cubicBezTo>
                  <a:pt x="95" y="5"/>
                  <a:pt x="95" y="5"/>
                  <a:pt x="95" y="5"/>
                </a:cubicBezTo>
                <a:cubicBezTo>
                  <a:pt x="96" y="5"/>
                  <a:pt x="98" y="6"/>
                  <a:pt x="100" y="7"/>
                </a:cubicBezTo>
                <a:cubicBezTo>
                  <a:pt x="98" y="13"/>
                  <a:pt x="98" y="13"/>
                  <a:pt x="98" y="13"/>
                </a:cubicBezTo>
                <a:cubicBezTo>
                  <a:pt x="99" y="13"/>
                  <a:pt x="99" y="13"/>
                  <a:pt x="99" y="13"/>
                </a:cubicBezTo>
                <a:cubicBezTo>
                  <a:pt x="100" y="14"/>
                  <a:pt x="101" y="15"/>
                  <a:pt x="103" y="15"/>
                </a:cubicBezTo>
                <a:cubicBezTo>
                  <a:pt x="103" y="16"/>
                  <a:pt x="103" y="16"/>
                  <a:pt x="103" y="16"/>
                </a:cubicBezTo>
                <a:cubicBezTo>
                  <a:pt x="107" y="11"/>
                  <a:pt x="107" y="11"/>
                  <a:pt x="107" y="11"/>
                </a:cubicBezTo>
                <a:cubicBezTo>
                  <a:pt x="109" y="12"/>
                  <a:pt x="111" y="13"/>
                  <a:pt x="112" y="14"/>
                </a:cubicBezTo>
                <a:cubicBezTo>
                  <a:pt x="109" y="20"/>
                  <a:pt x="109" y="20"/>
                  <a:pt x="109" y="20"/>
                </a:cubicBezTo>
                <a:cubicBezTo>
                  <a:pt x="109" y="20"/>
                  <a:pt x="109" y="20"/>
                  <a:pt x="109" y="20"/>
                </a:cubicBezTo>
                <a:cubicBezTo>
                  <a:pt x="111" y="21"/>
                  <a:pt x="112" y="22"/>
                  <a:pt x="113" y="23"/>
                </a:cubicBezTo>
                <a:cubicBezTo>
                  <a:pt x="113" y="23"/>
                  <a:pt x="113" y="23"/>
                  <a:pt x="113" y="23"/>
                </a:cubicBezTo>
                <a:cubicBezTo>
                  <a:pt x="118" y="19"/>
                  <a:pt x="118" y="19"/>
                  <a:pt x="118" y="19"/>
                </a:cubicBezTo>
                <a:cubicBezTo>
                  <a:pt x="120" y="20"/>
                  <a:pt x="121" y="22"/>
                  <a:pt x="122" y="23"/>
                </a:cubicBezTo>
                <a:cubicBezTo>
                  <a:pt x="118" y="28"/>
                  <a:pt x="118" y="28"/>
                  <a:pt x="118" y="28"/>
                </a:cubicBezTo>
                <a:cubicBezTo>
                  <a:pt x="119" y="29"/>
                  <a:pt x="119" y="29"/>
                  <a:pt x="119" y="29"/>
                </a:cubicBezTo>
                <a:cubicBezTo>
                  <a:pt x="120" y="30"/>
                  <a:pt x="121" y="31"/>
                  <a:pt x="121" y="32"/>
                </a:cubicBezTo>
                <a:cubicBezTo>
                  <a:pt x="122" y="32"/>
                  <a:pt x="122" y="32"/>
                  <a:pt x="122" y="32"/>
                </a:cubicBezTo>
                <a:cubicBezTo>
                  <a:pt x="127" y="29"/>
                  <a:pt x="127" y="29"/>
                  <a:pt x="127" y="29"/>
                </a:cubicBezTo>
                <a:cubicBezTo>
                  <a:pt x="129" y="31"/>
                  <a:pt x="130" y="33"/>
                  <a:pt x="131" y="34"/>
                </a:cubicBezTo>
                <a:cubicBezTo>
                  <a:pt x="126" y="38"/>
                  <a:pt x="126" y="38"/>
                  <a:pt x="126" y="38"/>
                </a:cubicBezTo>
                <a:cubicBezTo>
                  <a:pt x="126" y="39"/>
                  <a:pt x="126" y="39"/>
                  <a:pt x="126" y="39"/>
                </a:cubicBezTo>
                <a:cubicBezTo>
                  <a:pt x="127" y="40"/>
                  <a:pt x="128" y="41"/>
                  <a:pt x="128" y="43"/>
                </a:cubicBezTo>
                <a:cubicBezTo>
                  <a:pt x="128" y="43"/>
                  <a:pt x="128" y="43"/>
                  <a:pt x="128" y="43"/>
                </a:cubicBezTo>
                <a:cubicBezTo>
                  <a:pt x="134" y="41"/>
                  <a:pt x="134" y="41"/>
                  <a:pt x="134" y="41"/>
                </a:cubicBezTo>
                <a:cubicBezTo>
                  <a:pt x="135" y="43"/>
                  <a:pt x="136" y="45"/>
                  <a:pt x="137" y="47"/>
                </a:cubicBezTo>
                <a:cubicBezTo>
                  <a:pt x="131" y="50"/>
                  <a:pt x="131" y="50"/>
                  <a:pt x="131" y="50"/>
                </a:cubicBezTo>
                <a:cubicBezTo>
                  <a:pt x="131" y="50"/>
                  <a:pt x="131" y="50"/>
                  <a:pt x="131" y="50"/>
                </a:cubicBezTo>
                <a:cubicBezTo>
                  <a:pt x="132" y="52"/>
                  <a:pt x="132" y="53"/>
                  <a:pt x="133" y="54"/>
                </a:cubicBezTo>
                <a:cubicBezTo>
                  <a:pt x="133" y="55"/>
                  <a:pt x="133" y="55"/>
                  <a:pt x="133" y="55"/>
                </a:cubicBezTo>
                <a:cubicBezTo>
                  <a:pt x="139" y="54"/>
                  <a:pt x="139" y="54"/>
                  <a:pt x="139" y="54"/>
                </a:cubicBezTo>
                <a:cubicBezTo>
                  <a:pt x="140" y="56"/>
                  <a:pt x="140" y="58"/>
                  <a:pt x="140" y="60"/>
                </a:cubicBezTo>
                <a:cubicBezTo>
                  <a:pt x="134" y="62"/>
                  <a:pt x="134" y="62"/>
                  <a:pt x="134" y="62"/>
                </a:cubicBezTo>
                <a:cubicBezTo>
                  <a:pt x="134" y="62"/>
                  <a:pt x="134" y="62"/>
                  <a:pt x="134" y="62"/>
                </a:cubicBezTo>
                <a:cubicBezTo>
                  <a:pt x="134" y="64"/>
                  <a:pt x="134" y="65"/>
                  <a:pt x="135" y="67"/>
                </a:cubicBezTo>
                <a:cubicBezTo>
                  <a:pt x="135" y="67"/>
                  <a:pt x="135" y="67"/>
                  <a:pt x="135" y="67"/>
                </a:cubicBezTo>
                <a:cubicBezTo>
                  <a:pt x="141" y="68"/>
                  <a:pt x="141" y="68"/>
                  <a:pt x="141" y="68"/>
                </a:cubicBezTo>
                <a:cubicBezTo>
                  <a:pt x="141" y="69"/>
                  <a:pt x="141" y="70"/>
                  <a:pt x="141" y="71"/>
                </a:cubicBezTo>
                <a:cubicBezTo>
                  <a:pt x="141" y="72"/>
                  <a:pt x="141" y="73"/>
                  <a:pt x="141" y="74"/>
                </a:cubicBezTo>
                <a:cubicBezTo>
                  <a:pt x="135" y="75"/>
                  <a:pt x="135" y="75"/>
                  <a:pt x="135" y="75"/>
                </a:cubicBezTo>
                <a:cubicBezTo>
                  <a:pt x="135" y="75"/>
                  <a:pt x="135" y="75"/>
                  <a:pt x="135" y="75"/>
                </a:cubicBezTo>
                <a:cubicBezTo>
                  <a:pt x="134" y="77"/>
                  <a:pt x="134" y="78"/>
                  <a:pt x="134" y="80"/>
                </a:cubicBezTo>
                <a:cubicBezTo>
                  <a:pt x="134" y="80"/>
                  <a:pt x="134" y="80"/>
                  <a:pt x="134" y="80"/>
                </a:cubicBezTo>
                <a:cubicBezTo>
                  <a:pt x="140" y="82"/>
                  <a:pt x="140" y="82"/>
                  <a:pt x="140" y="82"/>
                </a:cubicBezTo>
                <a:cubicBezTo>
                  <a:pt x="140" y="84"/>
                  <a:pt x="140" y="86"/>
                  <a:pt x="139" y="88"/>
                </a:cubicBezTo>
                <a:cubicBezTo>
                  <a:pt x="133" y="87"/>
                  <a:pt x="133" y="87"/>
                  <a:pt x="133" y="87"/>
                </a:cubicBezTo>
                <a:cubicBezTo>
                  <a:pt x="133" y="88"/>
                  <a:pt x="133" y="88"/>
                  <a:pt x="133" y="88"/>
                </a:cubicBezTo>
                <a:cubicBezTo>
                  <a:pt x="132" y="89"/>
                  <a:pt x="132" y="90"/>
                  <a:pt x="131" y="92"/>
                </a:cubicBezTo>
                <a:cubicBezTo>
                  <a:pt x="131" y="92"/>
                  <a:pt x="131" y="92"/>
                  <a:pt x="131" y="92"/>
                </a:cubicBezTo>
                <a:cubicBezTo>
                  <a:pt x="137" y="95"/>
                  <a:pt x="137" y="95"/>
                  <a:pt x="137" y="95"/>
                </a:cubicBezTo>
                <a:cubicBezTo>
                  <a:pt x="136" y="97"/>
                  <a:pt x="135" y="99"/>
                  <a:pt x="134" y="101"/>
                </a:cubicBezTo>
                <a:cubicBezTo>
                  <a:pt x="128" y="99"/>
                  <a:pt x="128" y="99"/>
                  <a:pt x="128" y="99"/>
                </a:cubicBezTo>
                <a:cubicBezTo>
                  <a:pt x="128" y="99"/>
                  <a:pt x="128" y="99"/>
                  <a:pt x="128" y="99"/>
                </a:cubicBezTo>
                <a:cubicBezTo>
                  <a:pt x="128" y="101"/>
                  <a:pt x="127" y="102"/>
                  <a:pt x="126" y="103"/>
                </a:cubicBezTo>
                <a:cubicBezTo>
                  <a:pt x="126" y="104"/>
                  <a:pt x="126" y="104"/>
                  <a:pt x="126" y="104"/>
                </a:cubicBezTo>
                <a:cubicBezTo>
                  <a:pt x="131" y="108"/>
                  <a:pt x="131" y="108"/>
                  <a:pt x="131" y="108"/>
                </a:cubicBezTo>
                <a:cubicBezTo>
                  <a:pt x="130" y="109"/>
                  <a:pt x="129" y="111"/>
                  <a:pt x="127" y="113"/>
                </a:cubicBezTo>
                <a:cubicBezTo>
                  <a:pt x="122" y="110"/>
                  <a:pt x="122" y="110"/>
                  <a:pt x="122" y="110"/>
                </a:cubicBezTo>
                <a:cubicBezTo>
                  <a:pt x="121" y="110"/>
                  <a:pt x="121" y="110"/>
                  <a:pt x="121" y="110"/>
                </a:cubicBezTo>
                <a:cubicBezTo>
                  <a:pt x="121" y="111"/>
                  <a:pt x="120" y="112"/>
                  <a:pt x="119" y="114"/>
                </a:cubicBezTo>
                <a:cubicBezTo>
                  <a:pt x="118" y="114"/>
                  <a:pt x="118" y="114"/>
                  <a:pt x="118" y="114"/>
                </a:cubicBezTo>
                <a:cubicBezTo>
                  <a:pt x="122" y="119"/>
                  <a:pt x="122" y="119"/>
                  <a:pt x="122" y="119"/>
                </a:cubicBezTo>
                <a:cubicBezTo>
                  <a:pt x="121" y="120"/>
                  <a:pt x="120" y="122"/>
                  <a:pt x="118" y="123"/>
                </a:cubicBezTo>
                <a:cubicBezTo>
                  <a:pt x="113" y="119"/>
                  <a:pt x="113" y="119"/>
                  <a:pt x="113" y="119"/>
                </a:cubicBezTo>
                <a:cubicBezTo>
                  <a:pt x="113" y="119"/>
                  <a:pt x="113" y="119"/>
                  <a:pt x="113" y="119"/>
                </a:cubicBezTo>
                <a:cubicBezTo>
                  <a:pt x="112" y="120"/>
                  <a:pt x="111" y="121"/>
                  <a:pt x="109" y="122"/>
                </a:cubicBezTo>
                <a:cubicBezTo>
                  <a:pt x="109" y="122"/>
                  <a:pt x="109" y="122"/>
                  <a:pt x="109" y="122"/>
                </a:cubicBezTo>
                <a:cubicBezTo>
                  <a:pt x="112" y="128"/>
                  <a:pt x="112" y="128"/>
                  <a:pt x="112" y="128"/>
                </a:cubicBezTo>
                <a:cubicBezTo>
                  <a:pt x="111" y="129"/>
                  <a:pt x="109" y="130"/>
                  <a:pt x="107" y="131"/>
                </a:cubicBezTo>
                <a:cubicBezTo>
                  <a:pt x="103" y="126"/>
                  <a:pt x="103" y="126"/>
                  <a:pt x="103" y="126"/>
                </a:cubicBezTo>
                <a:cubicBezTo>
                  <a:pt x="103" y="127"/>
                  <a:pt x="103" y="127"/>
                  <a:pt x="103" y="127"/>
                </a:cubicBezTo>
                <a:cubicBezTo>
                  <a:pt x="101" y="127"/>
                  <a:pt x="100" y="128"/>
                  <a:pt x="99" y="129"/>
                </a:cubicBezTo>
                <a:cubicBezTo>
                  <a:pt x="98" y="129"/>
                  <a:pt x="98" y="129"/>
                  <a:pt x="98" y="129"/>
                </a:cubicBezTo>
                <a:cubicBezTo>
                  <a:pt x="100" y="135"/>
                  <a:pt x="100" y="135"/>
                  <a:pt x="100" y="135"/>
                </a:cubicBezTo>
                <a:cubicBezTo>
                  <a:pt x="98" y="136"/>
                  <a:pt x="96" y="137"/>
                  <a:pt x="95" y="137"/>
                </a:cubicBezTo>
                <a:cubicBezTo>
                  <a:pt x="92" y="132"/>
                  <a:pt x="92" y="132"/>
                  <a:pt x="92" y="132"/>
                </a:cubicBezTo>
                <a:cubicBezTo>
                  <a:pt x="91" y="132"/>
                  <a:pt x="91" y="132"/>
                  <a:pt x="91" y="132"/>
                </a:cubicBezTo>
                <a:cubicBezTo>
                  <a:pt x="90" y="132"/>
                  <a:pt x="88" y="133"/>
                  <a:pt x="87" y="133"/>
                </a:cubicBezTo>
                <a:cubicBezTo>
                  <a:pt x="87" y="133"/>
                  <a:pt x="87" y="133"/>
                  <a:pt x="87" y="133"/>
                </a:cubicBezTo>
                <a:cubicBezTo>
                  <a:pt x="87" y="140"/>
                  <a:pt x="87" y="140"/>
                  <a:pt x="87" y="140"/>
                </a:cubicBezTo>
                <a:cubicBezTo>
                  <a:pt x="85" y="140"/>
                  <a:pt x="83" y="141"/>
                  <a:pt x="81" y="141"/>
                </a:cubicBezTo>
                <a:cubicBezTo>
                  <a:pt x="79" y="135"/>
                  <a:pt x="79" y="135"/>
                  <a:pt x="79" y="135"/>
                </a:cubicBezTo>
                <a:cubicBezTo>
                  <a:pt x="79" y="135"/>
                  <a:pt x="79" y="135"/>
                  <a:pt x="79" y="135"/>
                </a:cubicBezTo>
                <a:cubicBezTo>
                  <a:pt x="77" y="135"/>
                  <a:pt x="76" y="135"/>
                  <a:pt x="74" y="135"/>
                </a:cubicBezTo>
                <a:cubicBezTo>
                  <a:pt x="74" y="135"/>
                  <a:pt x="74" y="135"/>
                  <a:pt x="74" y="135"/>
                </a:cubicBezTo>
                <a:cubicBezTo>
                  <a:pt x="73" y="142"/>
                  <a:pt x="73" y="142"/>
                  <a:pt x="73" y="142"/>
                </a:cubicBezTo>
                <a:cubicBezTo>
                  <a:pt x="72" y="142"/>
                  <a:pt x="71" y="142"/>
                  <a:pt x="70" y="142"/>
                </a:cubicBezTo>
                <a:close/>
              </a:path>
            </a:pathLst>
          </a:custGeom>
          <a:solidFill>
            <a:srgbClr val="AFABAB"/>
          </a:solidFill>
          <a:ln>
            <a:noFill/>
          </a:ln>
          <a:effec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223" name="Freeform 23"/>
          <p:cNvSpPr>
            <a:spLocks noEditPoints="1"/>
          </p:cNvSpPr>
          <p:nvPr/>
        </p:nvSpPr>
        <p:spPr bwMode="auto">
          <a:xfrm>
            <a:off x="6837720" y="1717188"/>
            <a:ext cx="382631" cy="383470"/>
          </a:xfrm>
          <a:custGeom>
            <a:avLst/>
            <a:gdLst>
              <a:gd name="T0" fmla="*/ 274 w 274"/>
              <a:gd name="T1" fmla="*/ 155 h 275"/>
              <a:gd name="T2" fmla="*/ 274 w 274"/>
              <a:gd name="T3" fmla="*/ 120 h 275"/>
              <a:gd name="T4" fmla="*/ 247 w 274"/>
              <a:gd name="T5" fmla="*/ 120 h 275"/>
              <a:gd name="T6" fmla="*/ 241 w 274"/>
              <a:gd name="T7" fmla="*/ 97 h 275"/>
              <a:gd name="T8" fmla="*/ 265 w 274"/>
              <a:gd name="T9" fmla="*/ 84 h 275"/>
              <a:gd name="T10" fmla="*/ 247 w 274"/>
              <a:gd name="T11" fmla="*/ 54 h 275"/>
              <a:gd name="T12" fmla="*/ 224 w 274"/>
              <a:gd name="T13" fmla="*/ 67 h 275"/>
              <a:gd name="T14" fmla="*/ 207 w 274"/>
              <a:gd name="T15" fmla="*/ 51 h 275"/>
              <a:gd name="T16" fmla="*/ 221 w 274"/>
              <a:gd name="T17" fmla="*/ 27 h 275"/>
              <a:gd name="T18" fmla="*/ 191 w 274"/>
              <a:gd name="T19" fmla="*/ 10 h 275"/>
              <a:gd name="T20" fmla="*/ 177 w 274"/>
              <a:gd name="T21" fmla="*/ 34 h 275"/>
              <a:gd name="T22" fmla="*/ 154 w 274"/>
              <a:gd name="T23" fmla="*/ 27 h 275"/>
              <a:gd name="T24" fmla="*/ 154 w 274"/>
              <a:gd name="T25" fmla="*/ 0 h 275"/>
              <a:gd name="T26" fmla="*/ 120 w 274"/>
              <a:gd name="T27" fmla="*/ 0 h 275"/>
              <a:gd name="T28" fmla="*/ 120 w 274"/>
              <a:gd name="T29" fmla="*/ 27 h 275"/>
              <a:gd name="T30" fmla="*/ 97 w 274"/>
              <a:gd name="T31" fmla="*/ 34 h 275"/>
              <a:gd name="T32" fmla="*/ 83 w 274"/>
              <a:gd name="T33" fmla="*/ 10 h 275"/>
              <a:gd name="T34" fmla="*/ 54 w 274"/>
              <a:gd name="T35" fmla="*/ 27 h 275"/>
              <a:gd name="T36" fmla="*/ 67 w 274"/>
              <a:gd name="T37" fmla="*/ 51 h 275"/>
              <a:gd name="T38" fmla="*/ 50 w 274"/>
              <a:gd name="T39" fmla="*/ 67 h 275"/>
              <a:gd name="T40" fmla="*/ 27 w 274"/>
              <a:gd name="T41" fmla="*/ 54 h 275"/>
              <a:gd name="T42" fmla="*/ 10 w 274"/>
              <a:gd name="T43" fmla="*/ 84 h 275"/>
              <a:gd name="T44" fmla="*/ 33 w 274"/>
              <a:gd name="T45" fmla="*/ 97 h 275"/>
              <a:gd name="T46" fmla="*/ 27 w 274"/>
              <a:gd name="T47" fmla="*/ 120 h 275"/>
              <a:gd name="T48" fmla="*/ 0 w 274"/>
              <a:gd name="T49" fmla="*/ 120 h 275"/>
              <a:gd name="T50" fmla="*/ 0 w 274"/>
              <a:gd name="T51" fmla="*/ 155 h 275"/>
              <a:gd name="T52" fmla="*/ 27 w 274"/>
              <a:gd name="T53" fmla="*/ 155 h 275"/>
              <a:gd name="T54" fmla="*/ 33 w 274"/>
              <a:gd name="T55" fmla="*/ 178 h 275"/>
              <a:gd name="T56" fmla="*/ 10 w 274"/>
              <a:gd name="T57" fmla="*/ 191 h 275"/>
              <a:gd name="T58" fmla="*/ 27 w 274"/>
              <a:gd name="T59" fmla="*/ 221 h 275"/>
              <a:gd name="T60" fmla="*/ 50 w 274"/>
              <a:gd name="T61" fmla="*/ 207 h 275"/>
              <a:gd name="T62" fmla="*/ 67 w 274"/>
              <a:gd name="T63" fmla="*/ 224 h 275"/>
              <a:gd name="T64" fmla="*/ 54 w 274"/>
              <a:gd name="T65" fmla="*/ 248 h 275"/>
              <a:gd name="T66" fmla="*/ 83 w 274"/>
              <a:gd name="T67" fmla="*/ 265 h 275"/>
              <a:gd name="T68" fmla="*/ 97 w 274"/>
              <a:gd name="T69" fmla="*/ 241 h 275"/>
              <a:gd name="T70" fmla="*/ 120 w 274"/>
              <a:gd name="T71" fmla="*/ 247 h 275"/>
              <a:gd name="T72" fmla="*/ 120 w 274"/>
              <a:gd name="T73" fmla="*/ 275 h 275"/>
              <a:gd name="T74" fmla="*/ 154 w 274"/>
              <a:gd name="T75" fmla="*/ 275 h 275"/>
              <a:gd name="T76" fmla="*/ 154 w 274"/>
              <a:gd name="T77" fmla="*/ 247 h 275"/>
              <a:gd name="T78" fmla="*/ 177 w 274"/>
              <a:gd name="T79" fmla="*/ 241 h 275"/>
              <a:gd name="T80" fmla="*/ 191 w 274"/>
              <a:gd name="T81" fmla="*/ 265 h 275"/>
              <a:gd name="T82" fmla="*/ 221 w 274"/>
              <a:gd name="T83" fmla="*/ 248 h 275"/>
              <a:gd name="T84" fmla="*/ 207 w 274"/>
              <a:gd name="T85" fmla="*/ 224 h 275"/>
              <a:gd name="T86" fmla="*/ 224 w 274"/>
              <a:gd name="T87" fmla="*/ 207 h 275"/>
              <a:gd name="T88" fmla="*/ 247 w 274"/>
              <a:gd name="T89" fmla="*/ 221 h 275"/>
              <a:gd name="T90" fmla="*/ 265 w 274"/>
              <a:gd name="T91" fmla="*/ 191 h 275"/>
              <a:gd name="T92" fmla="*/ 241 w 274"/>
              <a:gd name="T93" fmla="*/ 178 h 275"/>
              <a:gd name="T94" fmla="*/ 247 w 274"/>
              <a:gd name="T95" fmla="*/ 155 h 275"/>
              <a:gd name="T96" fmla="*/ 274 w 274"/>
              <a:gd name="T97" fmla="*/ 155 h 275"/>
              <a:gd name="T98" fmla="*/ 137 w 274"/>
              <a:gd name="T99" fmla="*/ 215 h 275"/>
              <a:gd name="T100" fmla="*/ 60 w 274"/>
              <a:gd name="T101" fmla="*/ 137 h 275"/>
              <a:gd name="T102" fmla="*/ 137 w 274"/>
              <a:gd name="T103" fmla="*/ 60 h 275"/>
              <a:gd name="T104" fmla="*/ 214 w 274"/>
              <a:gd name="T105" fmla="*/ 137 h 275"/>
              <a:gd name="T106" fmla="*/ 137 w 274"/>
              <a:gd name="T107" fmla="*/ 215 h 2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74" h="275">
                <a:moveTo>
                  <a:pt x="274" y="155"/>
                </a:moveTo>
                <a:cubicBezTo>
                  <a:pt x="274" y="120"/>
                  <a:pt x="274" y="120"/>
                  <a:pt x="274" y="120"/>
                </a:cubicBezTo>
                <a:cubicBezTo>
                  <a:pt x="247" y="120"/>
                  <a:pt x="247" y="120"/>
                  <a:pt x="247" y="120"/>
                </a:cubicBezTo>
                <a:cubicBezTo>
                  <a:pt x="246" y="112"/>
                  <a:pt x="244" y="105"/>
                  <a:pt x="241" y="97"/>
                </a:cubicBezTo>
                <a:cubicBezTo>
                  <a:pt x="265" y="84"/>
                  <a:pt x="265" y="84"/>
                  <a:pt x="265" y="84"/>
                </a:cubicBezTo>
                <a:cubicBezTo>
                  <a:pt x="247" y="54"/>
                  <a:pt x="247" y="54"/>
                  <a:pt x="247" y="54"/>
                </a:cubicBezTo>
                <a:cubicBezTo>
                  <a:pt x="224" y="67"/>
                  <a:pt x="224" y="67"/>
                  <a:pt x="224" y="67"/>
                </a:cubicBezTo>
                <a:cubicBezTo>
                  <a:pt x="219" y="61"/>
                  <a:pt x="213" y="56"/>
                  <a:pt x="207" y="51"/>
                </a:cubicBezTo>
                <a:cubicBezTo>
                  <a:pt x="221" y="27"/>
                  <a:pt x="221" y="27"/>
                  <a:pt x="221" y="27"/>
                </a:cubicBezTo>
                <a:cubicBezTo>
                  <a:pt x="191" y="10"/>
                  <a:pt x="191" y="10"/>
                  <a:pt x="191" y="10"/>
                </a:cubicBezTo>
                <a:cubicBezTo>
                  <a:pt x="177" y="34"/>
                  <a:pt x="177" y="34"/>
                  <a:pt x="177" y="34"/>
                </a:cubicBezTo>
                <a:cubicBezTo>
                  <a:pt x="170" y="31"/>
                  <a:pt x="162" y="29"/>
                  <a:pt x="154" y="27"/>
                </a:cubicBezTo>
                <a:cubicBezTo>
                  <a:pt x="154" y="0"/>
                  <a:pt x="154" y="0"/>
                  <a:pt x="154" y="0"/>
                </a:cubicBezTo>
                <a:cubicBezTo>
                  <a:pt x="120" y="0"/>
                  <a:pt x="120" y="0"/>
                  <a:pt x="120" y="0"/>
                </a:cubicBezTo>
                <a:cubicBezTo>
                  <a:pt x="120" y="27"/>
                  <a:pt x="120" y="27"/>
                  <a:pt x="120" y="27"/>
                </a:cubicBezTo>
                <a:cubicBezTo>
                  <a:pt x="112" y="29"/>
                  <a:pt x="104" y="31"/>
                  <a:pt x="97" y="34"/>
                </a:cubicBezTo>
                <a:cubicBezTo>
                  <a:pt x="83" y="10"/>
                  <a:pt x="83" y="10"/>
                  <a:pt x="83" y="10"/>
                </a:cubicBezTo>
                <a:cubicBezTo>
                  <a:pt x="54" y="27"/>
                  <a:pt x="54" y="27"/>
                  <a:pt x="54" y="27"/>
                </a:cubicBezTo>
                <a:cubicBezTo>
                  <a:pt x="67" y="51"/>
                  <a:pt x="67" y="51"/>
                  <a:pt x="67" y="51"/>
                </a:cubicBezTo>
                <a:cubicBezTo>
                  <a:pt x="61" y="56"/>
                  <a:pt x="55" y="61"/>
                  <a:pt x="50" y="67"/>
                </a:cubicBezTo>
                <a:cubicBezTo>
                  <a:pt x="27" y="54"/>
                  <a:pt x="27" y="54"/>
                  <a:pt x="27" y="54"/>
                </a:cubicBezTo>
                <a:cubicBezTo>
                  <a:pt x="10" y="84"/>
                  <a:pt x="10" y="84"/>
                  <a:pt x="10" y="84"/>
                </a:cubicBezTo>
                <a:cubicBezTo>
                  <a:pt x="33" y="97"/>
                  <a:pt x="33" y="97"/>
                  <a:pt x="33" y="97"/>
                </a:cubicBezTo>
                <a:cubicBezTo>
                  <a:pt x="30" y="105"/>
                  <a:pt x="28" y="112"/>
                  <a:pt x="27" y="120"/>
                </a:cubicBezTo>
                <a:cubicBezTo>
                  <a:pt x="0" y="120"/>
                  <a:pt x="0" y="120"/>
                  <a:pt x="0" y="120"/>
                </a:cubicBezTo>
                <a:cubicBezTo>
                  <a:pt x="0" y="155"/>
                  <a:pt x="0" y="155"/>
                  <a:pt x="0" y="155"/>
                </a:cubicBezTo>
                <a:cubicBezTo>
                  <a:pt x="27" y="155"/>
                  <a:pt x="27" y="155"/>
                  <a:pt x="27" y="155"/>
                </a:cubicBezTo>
                <a:cubicBezTo>
                  <a:pt x="28" y="163"/>
                  <a:pt x="30" y="170"/>
                  <a:pt x="33" y="178"/>
                </a:cubicBezTo>
                <a:cubicBezTo>
                  <a:pt x="10" y="191"/>
                  <a:pt x="10" y="191"/>
                  <a:pt x="10" y="191"/>
                </a:cubicBezTo>
                <a:cubicBezTo>
                  <a:pt x="27" y="221"/>
                  <a:pt x="27" y="221"/>
                  <a:pt x="27" y="221"/>
                </a:cubicBezTo>
                <a:cubicBezTo>
                  <a:pt x="50" y="207"/>
                  <a:pt x="50" y="207"/>
                  <a:pt x="50" y="207"/>
                </a:cubicBezTo>
                <a:cubicBezTo>
                  <a:pt x="55" y="214"/>
                  <a:pt x="61" y="219"/>
                  <a:pt x="67" y="224"/>
                </a:cubicBezTo>
                <a:cubicBezTo>
                  <a:pt x="54" y="248"/>
                  <a:pt x="54" y="248"/>
                  <a:pt x="54" y="248"/>
                </a:cubicBezTo>
                <a:cubicBezTo>
                  <a:pt x="83" y="265"/>
                  <a:pt x="83" y="265"/>
                  <a:pt x="83" y="265"/>
                </a:cubicBezTo>
                <a:cubicBezTo>
                  <a:pt x="97" y="241"/>
                  <a:pt x="97" y="241"/>
                  <a:pt x="97" y="241"/>
                </a:cubicBezTo>
                <a:cubicBezTo>
                  <a:pt x="104" y="244"/>
                  <a:pt x="112" y="246"/>
                  <a:pt x="120" y="247"/>
                </a:cubicBezTo>
                <a:cubicBezTo>
                  <a:pt x="120" y="275"/>
                  <a:pt x="120" y="275"/>
                  <a:pt x="120" y="275"/>
                </a:cubicBezTo>
                <a:cubicBezTo>
                  <a:pt x="154" y="275"/>
                  <a:pt x="154" y="275"/>
                  <a:pt x="154" y="275"/>
                </a:cubicBezTo>
                <a:cubicBezTo>
                  <a:pt x="154" y="247"/>
                  <a:pt x="154" y="247"/>
                  <a:pt x="154" y="247"/>
                </a:cubicBezTo>
                <a:cubicBezTo>
                  <a:pt x="162" y="246"/>
                  <a:pt x="170" y="244"/>
                  <a:pt x="177" y="241"/>
                </a:cubicBezTo>
                <a:cubicBezTo>
                  <a:pt x="191" y="265"/>
                  <a:pt x="191" y="265"/>
                  <a:pt x="191" y="265"/>
                </a:cubicBezTo>
                <a:cubicBezTo>
                  <a:pt x="221" y="248"/>
                  <a:pt x="221" y="248"/>
                  <a:pt x="221" y="248"/>
                </a:cubicBezTo>
                <a:cubicBezTo>
                  <a:pt x="207" y="224"/>
                  <a:pt x="207" y="224"/>
                  <a:pt x="207" y="224"/>
                </a:cubicBezTo>
                <a:cubicBezTo>
                  <a:pt x="213" y="219"/>
                  <a:pt x="219" y="214"/>
                  <a:pt x="224" y="207"/>
                </a:cubicBezTo>
                <a:cubicBezTo>
                  <a:pt x="247" y="221"/>
                  <a:pt x="247" y="221"/>
                  <a:pt x="247" y="221"/>
                </a:cubicBezTo>
                <a:cubicBezTo>
                  <a:pt x="265" y="191"/>
                  <a:pt x="265" y="191"/>
                  <a:pt x="265" y="191"/>
                </a:cubicBezTo>
                <a:cubicBezTo>
                  <a:pt x="241" y="178"/>
                  <a:pt x="241" y="178"/>
                  <a:pt x="241" y="178"/>
                </a:cubicBezTo>
                <a:cubicBezTo>
                  <a:pt x="244" y="170"/>
                  <a:pt x="246" y="163"/>
                  <a:pt x="247" y="155"/>
                </a:cubicBezTo>
                <a:cubicBezTo>
                  <a:pt x="274" y="155"/>
                  <a:pt x="274" y="155"/>
                  <a:pt x="274" y="155"/>
                </a:cubicBezTo>
                <a:close/>
                <a:moveTo>
                  <a:pt x="137" y="215"/>
                </a:moveTo>
                <a:cubicBezTo>
                  <a:pt x="95" y="215"/>
                  <a:pt x="60" y="180"/>
                  <a:pt x="60" y="137"/>
                </a:cubicBezTo>
                <a:cubicBezTo>
                  <a:pt x="60" y="95"/>
                  <a:pt x="95" y="60"/>
                  <a:pt x="137" y="60"/>
                </a:cubicBezTo>
                <a:cubicBezTo>
                  <a:pt x="180" y="60"/>
                  <a:pt x="214" y="95"/>
                  <a:pt x="214" y="137"/>
                </a:cubicBezTo>
                <a:cubicBezTo>
                  <a:pt x="214" y="180"/>
                  <a:pt x="180" y="215"/>
                  <a:pt x="137" y="215"/>
                </a:cubicBezTo>
                <a:close/>
              </a:path>
            </a:pathLst>
          </a:custGeom>
          <a:solidFill>
            <a:srgbClr val="AFABAB"/>
          </a:solidFill>
          <a:ln>
            <a:noFill/>
          </a:ln>
          <a:effec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224" name="Freeform 23"/>
          <p:cNvSpPr>
            <a:spLocks noEditPoints="1"/>
          </p:cNvSpPr>
          <p:nvPr/>
        </p:nvSpPr>
        <p:spPr bwMode="auto">
          <a:xfrm>
            <a:off x="4909955" y="1717188"/>
            <a:ext cx="382631" cy="383470"/>
          </a:xfrm>
          <a:custGeom>
            <a:avLst/>
            <a:gdLst>
              <a:gd name="T0" fmla="*/ 274 w 274"/>
              <a:gd name="T1" fmla="*/ 155 h 275"/>
              <a:gd name="T2" fmla="*/ 274 w 274"/>
              <a:gd name="T3" fmla="*/ 120 h 275"/>
              <a:gd name="T4" fmla="*/ 247 w 274"/>
              <a:gd name="T5" fmla="*/ 120 h 275"/>
              <a:gd name="T6" fmla="*/ 241 w 274"/>
              <a:gd name="T7" fmla="*/ 97 h 275"/>
              <a:gd name="T8" fmla="*/ 265 w 274"/>
              <a:gd name="T9" fmla="*/ 84 h 275"/>
              <a:gd name="T10" fmla="*/ 247 w 274"/>
              <a:gd name="T11" fmla="*/ 54 h 275"/>
              <a:gd name="T12" fmla="*/ 224 w 274"/>
              <a:gd name="T13" fmla="*/ 67 h 275"/>
              <a:gd name="T14" fmla="*/ 207 w 274"/>
              <a:gd name="T15" fmla="*/ 51 h 275"/>
              <a:gd name="T16" fmla="*/ 221 w 274"/>
              <a:gd name="T17" fmla="*/ 27 h 275"/>
              <a:gd name="T18" fmla="*/ 191 w 274"/>
              <a:gd name="T19" fmla="*/ 10 h 275"/>
              <a:gd name="T20" fmla="*/ 177 w 274"/>
              <a:gd name="T21" fmla="*/ 34 h 275"/>
              <a:gd name="T22" fmla="*/ 154 w 274"/>
              <a:gd name="T23" fmla="*/ 27 h 275"/>
              <a:gd name="T24" fmla="*/ 154 w 274"/>
              <a:gd name="T25" fmla="*/ 0 h 275"/>
              <a:gd name="T26" fmla="*/ 120 w 274"/>
              <a:gd name="T27" fmla="*/ 0 h 275"/>
              <a:gd name="T28" fmla="*/ 120 w 274"/>
              <a:gd name="T29" fmla="*/ 27 h 275"/>
              <a:gd name="T30" fmla="*/ 97 w 274"/>
              <a:gd name="T31" fmla="*/ 34 h 275"/>
              <a:gd name="T32" fmla="*/ 83 w 274"/>
              <a:gd name="T33" fmla="*/ 10 h 275"/>
              <a:gd name="T34" fmla="*/ 54 w 274"/>
              <a:gd name="T35" fmla="*/ 27 h 275"/>
              <a:gd name="T36" fmla="*/ 67 w 274"/>
              <a:gd name="T37" fmla="*/ 51 h 275"/>
              <a:gd name="T38" fmla="*/ 50 w 274"/>
              <a:gd name="T39" fmla="*/ 67 h 275"/>
              <a:gd name="T40" fmla="*/ 27 w 274"/>
              <a:gd name="T41" fmla="*/ 54 h 275"/>
              <a:gd name="T42" fmla="*/ 10 w 274"/>
              <a:gd name="T43" fmla="*/ 84 h 275"/>
              <a:gd name="T44" fmla="*/ 33 w 274"/>
              <a:gd name="T45" fmla="*/ 97 h 275"/>
              <a:gd name="T46" fmla="*/ 27 w 274"/>
              <a:gd name="T47" fmla="*/ 120 h 275"/>
              <a:gd name="T48" fmla="*/ 0 w 274"/>
              <a:gd name="T49" fmla="*/ 120 h 275"/>
              <a:gd name="T50" fmla="*/ 0 w 274"/>
              <a:gd name="T51" fmla="*/ 155 h 275"/>
              <a:gd name="T52" fmla="*/ 27 w 274"/>
              <a:gd name="T53" fmla="*/ 155 h 275"/>
              <a:gd name="T54" fmla="*/ 33 w 274"/>
              <a:gd name="T55" fmla="*/ 178 h 275"/>
              <a:gd name="T56" fmla="*/ 10 w 274"/>
              <a:gd name="T57" fmla="*/ 191 h 275"/>
              <a:gd name="T58" fmla="*/ 27 w 274"/>
              <a:gd name="T59" fmla="*/ 221 h 275"/>
              <a:gd name="T60" fmla="*/ 50 w 274"/>
              <a:gd name="T61" fmla="*/ 207 h 275"/>
              <a:gd name="T62" fmla="*/ 67 w 274"/>
              <a:gd name="T63" fmla="*/ 224 h 275"/>
              <a:gd name="T64" fmla="*/ 54 w 274"/>
              <a:gd name="T65" fmla="*/ 248 h 275"/>
              <a:gd name="T66" fmla="*/ 83 w 274"/>
              <a:gd name="T67" fmla="*/ 265 h 275"/>
              <a:gd name="T68" fmla="*/ 97 w 274"/>
              <a:gd name="T69" fmla="*/ 241 h 275"/>
              <a:gd name="T70" fmla="*/ 120 w 274"/>
              <a:gd name="T71" fmla="*/ 247 h 275"/>
              <a:gd name="T72" fmla="*/ 120 w 274"/>
              <a:gd name="T73" fmla="*/ 275 h 275"/>
              <a:gd name="T74" fmla="*/ 154 w 274"/>
              <a:gd name="T75" fmla="*/ 275 h 275"/>
              <a:gd name="T76" fmla="*/ 154 w 274"/>
              <a:gd name="T77" fmla="*/ 247 h 275"/>
              <a:gd name="T78" fmla="*/ 177 w 274"/>
              <a:gd name="T79" fmla="*/ 241 h 275"/>
              <a:gd name="T80" fmla="*/ 191 w 274"/>
              <a:gd name="T81" fmla="*/ 265 h 275"/>
              <a:gd name="T82" fmla="*/ 221 w 274"/>
              <a:gd name="T83" fmla="*/ 248 h 275"/>
              <a:gd name="T84" fmla="*/ 207 w 274"/>
              <a:gd name="T85" fmla="*/ 224 h 275"/>
              <a:gd name="T86" fmla="*/ 224 w 274"/>
              <a:gd name="T87" fmla="*/ 207 h 275"/>
              <a:gd name="T88" fmla="*/ 247 w 274"/>
              <a:gd name="T89" fmla="*/ 221 h 275"/>
              <a:gd name="T90" fmla="*/ 265 w 274"/>
              <a:gd name="T91" fmla="*/ 191 h 275"/>
              <a:gd name="T92" fmla="*/ 241 w 274"/>
              <a:gd name="T93" fmla="*/ 178 h 275"/>
              <a:gd name="T94" fmla="*/ 247 w 274"/>
              <a:gd name="T95" fmla="*/ 155 h 275"/>
              <a:gd name="T96" fmla="*/ 274 w 274"/>
              <a:gd name="T97" fmla="*/ 155 h 275"/>
              <a:gd name="T98" fmla="*/ 137 w 274"/>
              <a:gd name="T99" fmla="*/ 215 h 275"/>
              <a:gd name="T100" fmla="*/ 60 w 274"/>
              <a:gd name="T101" fmla="*/ 137 h 275"/>
              <a:gd name="T102" fmla="*/ 137 w 274"/>
              <a:gd name="T103" fmla="*/ 60 h 275"/>
              <a:gd name="T104" fmla="*/ 214 w 274"/>
              <a:gd name="T105" fmla="*/ 137 h 275"/>
              <a:gd name="T106" fmla="*/ 137 w 274"/>
              <a:gd name="T107" fmla="*/ 215 h 2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74" h="275">
                <a:moveTo>
                  <a:pt x="274" y="155"/>
                </a:moveTo>
                <a:cubicBezTo>
                  <a:pt x="274" y="120"/>
                  <a:pt x="274" y="120"/>
                  <a:pt x="274" y="120"/>
                </a:cubicBezTo>
                <a:cubicBezTo>
                  <a:pt x="247" y="120"/>
                  <a:pt x="247" y="120"/>
                  <a:pt x="247" y="120"/>
                </a:cubicBezTo>
                <a:cubicBezTo>
                  <a:pt x="246" y="112"/>
                  <a:pt x="244" y="105"/>
                  <a:pt x="241" y="97"/>
                </a:cubicBezTo>
                <a:cubicBezTo>
                  <a:pt x="265" y="84"/>
                  <a:pt x="265" y="84"/>
                  <a:pt x="265" y="84"/>
                </a:cubicBezTo>
                <a:cubicBezTo>
                  <a:pt x="247" y="54"/>
                  <a:pt x="247" y="54"/>
                  <a:pt x="247" y="54"/>
                </a:cubicBezTo>
                <a:cubicBezTo>
                  <a:pt x="224" y="67"/>
                  <a:pt x="224" y="67"/>
                  <a:pt x="224" y="67"/>
                </a:cubicBezTo>
                <a:cubicBezTo>
                  <a:pt x="219" y="61"/>
                  <a:pt x="213" y="56"/>
                  <a:pt x="207" y="51"/>
                </a:cubicBezTo>
                <a:cubicBezTo>
                  <a:pt x="221" y="27"/>
                  <a:pt x="221" y="27"/>
                  <a:pt x="221" y="27"/>
                </a:cubicBezTo>
                <a:cubicBezTo>
                  <a:pt x="191" y="10"/>
                  <a:pt x="191" y="10"/>
                  <a:pt x="191" y="10"/>
                </a:cubicBezTo>
                <a:cubicBezTo>
                  <a:pt x="177" y="34"/>
                  <a:pt x="177" y="34"/>
                  <a:pt x="177" y="34"/>
                </a:cubicBezTo>
                <a:cubicBezTo>
                  <a:pt x="170" y="31"/>
                  <a:pt x="162" y="29"/>
                  <a:pt x="154" y="27"/>
                </a:cubicBezTo>
                <a:cubicBezTo>
                  <a:pt x="154" y="0"/>
                  <a:pt x="154" y="0"/>
                  <a:pt x="154" y="0"/>
                </a:cubicBezTo>
                <a:cubicBezTo>
                  <a:pt x="120" y="0"/>
                  <a:pt x="120" y="0"/>
                  <a:pt x="120" y="0"/>
                </a:cubicBezTo>
                <a:cubicBezTo>
                  <a:pt x="120" y="27"/>
                  <a:pt x="120" y="27"/>
                  <a:pt x="120" y="27"/>
                </a:cubicBezTo>
                <a:cubicBezTo>
                  <a:pt x="112" y="29"/>
                  <a:pt x="104" y="31"/>
                  <a:pt x="97" y="34"/>
                </a:cubicBezTo>
                <a:cubicBezTo>
                  <a:pt x="83" y="10"/>
                  <a:pt x="83" y="10"/>
                  <a:pt x="83" y="10"/>
                </a:cubicBezTo>
                <a:cubicBezTo>
                  <a:pt x="54" y="27"/>
                  <a:pt x="54" y="27"/>
                  <a:pt x="54" y="27"/>
                </a:cubicBezTo>
                <a:cubicBezTo>
                  <a:pt x="67" y="51"/>
                  <a:pt x="67" y="51"/>
                  <a:pt x="67" y="51"/>
                </a:cubicBezTo>
                <a:cubicBezTo>
                  <a:pt x="61" y="56"/>
                  <a:pt x="55" y="61"/>
                  <a:pt x="50" y="67"/>
                </a:cubicBezTo>
                <a:cubicBezTo>
                  <a:pt x="27" y="54"/>
                  <a:pt x="27" y="54"/>
                  <a:pt x="27" y="54"/>
                </a:cubicBezTo>
                <a:cubicBezTo>
                  <a:pt x="10" y="84"/>
                  <a:pt x="10" y="84"/>
                  <a:pt x="10" y="84"/>
                </a:cubicBezTo>
                <a:cubicBezTo>
                  <a:pt x="33" y="97"/>
                  <a:pt x="33" y="97"/>
                  <a:pt x="33" y="97"/>
                </a:cubicBezTo>
                <a:cubicBezTo>
                  <a:pt x="30" y="105"/>
                  <a:pt x="28" y="112"/>
                  <a:pt x="27" y="120"/>
                </a:cubicBezTo>
                <a:cubicBezTo>
                  <a:pt x="0" y="120"/>
                  <a:pt x="0" y="120"/>
                  <a:pt x="0" y="120"/>
                </a:cubicBezTo>
                <a:cubicBezTo>
                  <a:pt x="0" y="155"/>
                  <a:pt x="0" y="155"/>
                  <a:pt x="0" y="155"/>
                </a:cubicBezTo>
                <a:cubicBezTo>
                  <a:pt x="27" y="155"/>
                  <a:pt x="27" y="155"/>
                  <a:pt x="27" y="155"/>
                </a:cubicBezTo>
                <a:cubicBezTo>
                  <a:pt x="28" y="163"/>
                  <a:pt x="30" y="170"/>
                  <a:pt x="33" y="178"/>
                </a:cubicBezTo>
                <a:cubicBezTo>
                  <a:pt x="10" y="191"/>
                  <a:pt x="10" y="191"/>
                  <a:pt x="10" y="191"/>
                </a:cubicBezTo>
                <a:cubicBezTo>
                  <a:pt x="27" y="221"/>
                  <a:pt x="27" y="221"/>
                  <a:pt x="27" y="221"/>
                </a:cubicBezTo>
                <a:cubicBezTo>
                  <a:pt x="50" y="207"/>
                  <a:pt x="50" y="207"/>
                  <a:pt x="50" y="207"/>
                </a:cubicBezTo>
                <a:cubicBezTo>
                  <a:pt x="55" y="214"/>
                  <a:pt x="61" y="219"/>
                  <a:pt x="67" y="224"/>
                </a:cubicBezTo>
                <a:cubicBezTo>
                  <a:pt x="54" y="248"/>
                  <a:pt x="54" y="248"/>
                  <a:pt x="54" y="248"/>
                </a:cubicBezTo>
                <a:cubicBezTo>
                  <a:pt x="83" y="265"/>
                  <a:pt x="83" y="265"/>
                  <a:pt x="83" y="265"/>
                </a:cubicBezTo>
                <a:cubicBezTo>
                  <a:pt x="97" y="241"/>
                  <a:pt x="97" y="241"/>
                  <a:pt x="97" y="241"/>
                </a:cubicBezTo>
                <a:cubicBezTo>
                  <a:pt x="104" y="244"/>
                  <a:pt x="112" y="246"/>
                  <a:pt x="120" y="247"/>
                </a:cubicBezTo>
                <a:cubicBezTo>
                  <a:pt x="120" y="275"/>
                  <a:pt x="120" y="275"/>
                  <a:pt x="120" y="275"/>
                </a:cubicBezTo>
                <a:cubicBezTo>
                  <a:pt x="154" y="275"/>
                  <a:pt x="154" y="275"/>
                  <a:pt x="154" y="275"/>
                </a:cubicBezTo>
                <a:cubicBezTo>
                  <a:pt x="154" y="247"/>
                  <a:pt x="154" y="247"/>
                  <a:pt x="154" y="247"/>
                </a:cubicBezTo>
                <a:cubicBezTo>
                  <a:pt x="162" y="246"/>
                  <a:pt x="170" y="244"/>
                  <a:pt x="177" y="241"/>
                </a:cubicBezTo>
                <a:cubicBezTo>
                  <a:pt x="191" y="265"/>
                  <a:pt x="191" y="265"/>
                  <a:pt x="191" y="265"/>
                </a:cubicBezTo>
                <a:cubicBezTo>
                  <a:pt x="221" y="248"/>
                  <a:pt x="221" y="248"/>
                  <a:pt x="221" y="248"/>
                </a:cubicBezTo>
                <a:cubicBezTo>
                  <a:pt x="207" y="224"/>
                  <a:pt x="207" y="224"/>
                  <a:pt x="207" y="224"/>
                </a:cubicBezTo>
                <a:cubicBezTo>
                  <a:pt x="213" y="219"/>
                  <a:pt x="219" y="214"/>
                  <a:pt x="224" y="207"/>
                </a:cubicBezTo>
                <a:cubicBezTo>
                  <a:pt x="247" y="221"/>
                  <a:pt x="247" y="221"/>
                  <a:pt x="247" y="221"/>
                </a:cubicBezTo>
                <a:cubicBezTo>
                  <a:pt x="265" y="191"/>
                  <a:pt x="265" y="191"/>
                  <a:pt x="265" y="191"/>
                </a:cubicBezTo>
                <a:cubicBezTo>
                  <a:pt x="241" y="178"/>
                  <a:pt x="241" y="178"/>
                  <a:pt x="241" y="178"/>
                </a:cubicBezTo>
                <a:cubicBezTo>
                  <a:pt x="244" y="170"/>
                  <a:pt x="246" y="163"/>
                  <a:pt x="247" y="155"/>
                </a:cubicBezTo>
                <a:cubicBezTo>
                  <a:pt x="274" y="155"/>
                  <a:pt x="274" y="155"/>
                  <a:pt x="274" y="155"/>
                </a:cubicBezTo>
                <a:close/>
                <a:moveTo>
                  <a:pt x="137" y="215"/>
                </a:moveTo>
                <a:cubicBezTo>
                  <a:pt x="95" y="215"/>
                  <a:pt x="60" y="180"/>
                  <a:pt x="60" y="137"/>
                </a:cubicBezTo>
                <a:cubicBezTo>
                  <a:pt x="60" y="95"/>
                  <a:pt x="95" y="60"/>
                  <a:pt x="137" y="60"/>
                </a:cubicBezTo>
                <a:cubicBezTo>
                  <a:pt x="180" y="60"/>
                  <a:pt x="214" y="95"/>
                  <a:pt x="214" y="137"/>
                </a:cubicBezTo>
                <a:cubicBezTo>
                  <a:pt x="214" y="180"/>
                  <a:pt x="180" y="215"/>
                  <a:pt x="137" y="215"/>
                </a:cubicBezTo>
                <a:close/>
              </a:path>
            </a:pathLst>
          </a:custGeom>
          <a:solidFill>
            <a:srgbClr val="AFABAB"/>
          </a:solidFill>
          <a:ln>
            <a:noFill/>
          </a:ln>
          <a:effec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225" name="Freeform 23"/>
          <p:cNvSpPr>
            <a:spLocks noEditPoints="1"/>
          </p:cNvSpPr>
          <p:nvPr/>
        </p:nvSpPr>
        <p:spPr bwMode="auto">
          <a:xfrm>
            <a:off x="5432435" y="2689814"/>
            <a:ext cx="802185" cy="803946"/>
          </a:xfrm>
          <a:custGeom>
            <a:avLst/>
            <a:gdLst>
              <a:gd name="T0" fmla="*/ 274 w 274"/>
              <a:gd name="T1" fmla="*/ 155 h 275"/>
              <a:gd name="T2" fmla="*/ 274 w 274"/>
              <a:gd name="T3" fmla="*/ 120 h 275"/>
              <a:gd name="T4" fmla="*/ 247 w 274"/>
              <a:gd name="T5" fmla="*/ 120 h 275"/>
              <a:gd name="T6" fmla="*/ 241 w 274"/>
              <a:gd name="T7" fmla="*/ 97 h 275"/>
              <a:gd name="T8" fmla="*/ 265 w 274"/>
              <a:gd name="T9" fmla="*/ 84 h 275"/>
              <a:gd name="T10" fmla="*/ 247 w 274"/>
              <a:gd name="T11" fmla="*/ 54 h 275"/>
              <a:gd name="T12" fmla="*/ 224 w 274"/>
              <a:gd name="T13" fmla="*/ 67 h 275"/>
              <a:gd name="T14" fmla="*/ 207 w 274"/>
              <a:gd name="T15" fmla="*/ 51 h 275"/>
              <a:gd name="T16" fmla="*/ 221 w 274"/>
              <a:gd name="T17" fmla="*/ 27 h 275"/>
              <a:gd name="T18" fmla="*/ 191 w 274"/>
              <a:gd name="T19" fmla="*/ 10 h 275"/>
              <a:gd name="T20" fmla="*/ 177 w 274"/>
              <a:gd name="T21" fmla="*/ 34 h 275"/>
              <a:gd name="T22" fmla="*/ 154 w 274"/>
              <a:gd name="T23" fmla="*/ 27 h 275"/>
              <a:gd name="T24" fmla="*/ 154 w 274"/>
              <a:gd name="T25" fmla="*/ 0 h 275"/>
              <a:gd name="T26" fmla="*/ 120 w 274"/>
              <a:gd name="T27" fmla="*/ 0 h 275"/>
              <a:gd name="T28" fmla="*/ 120 w 274"/>
              <a:gd name="T29" fmla="*/ 27 h 275"/>
              <a:gd name="T30" fmla="*/ 97 w 274"/>
              <a:gd name="T31" fmla="*/ 34 h 275"/>
              <a:gd name="T32" fmla="*/ 83 w 274"/>
              <a:gd name="T33" fmla="*/ 10 h 275"/>
              <a:gd name="T34" fmla="*/ 54 w 274"/>
              <a:gd name="T35" fmla="*/ 27 h 275"/>
              <a:gd name="T36" fmla="*/ 67 w 274"/>
              <a:gd name="T37" fmla="*/ 51 h 275"/>
              <a:gd name="T38" fmla="*/ 50 w 274"/>
              <a:gd name="T39" fmla="*/ 67 h 275"/>
              <a:gd name="T40" fmla="*/ 27 w 274"/>
              <a:gd name="T41" fmla="*/ 54 h 275"/>
              <a:gd name="T42" fmla="*/ 10 w 274"/>
              <a:gd name="T43" fmla="*/ 84 h 275"/>
              <a:gd name="T44" fmla="*/ 33 w 274"/>
              <a:gd name="T45" fmla="*/ 97 h 275"/>
              <a:gd name="T46" fmla="*/ 27 w 274"/>
              <a:gd name="T47" fmla="*/ 120 h 275"/>
              <a:gd name="T48" fmla="*/ 0 w 274"/>
              <a:gd name="T49" fmla="*/ 120 h 275"/>
              <a:gd name="T50" fmla="*/ 0 w 274"/>
              <a:gd name="T51" fmla="*/ 155 h 275"/>
              <a:gd name="T52" fmla="*/ 27 w 274"/>
              <a:gd name="T53" fmla="*/ 155 h 275"/>
              <a:gd name="T54" fmla="*/ 33 w 274"/>
              <a:gd name="T55" fmla="*/ 178 h 275"/>
              <a:gd name="T56" fmla="*/ 10 w 274"/>
              <a:gd name="T57" fmla="*/ 191 h 275"/>
              <a:gd name="T58" fmla="*/ 27 w 274"/>
              <a:gd name="T59" fmla="*/ 221 h 275"/>
              <a:gd name="T60" fmla="*/ 50 w 274"/>
              <a:gd name="T61" fmla="*/ 207 h 275"/>
              <a:gd name="T62" fmla="*/ 67 w 274"/>
              <a:gd name="T63" fmla="*/ 224 h 275"/>
              <a:gd name="T64" fmla="*/ 54 w 274"/>
              <a:gd name="T65" fmla="*/ 248 h 275"/>
              <a:gd name="T66" fmla="*/ 83 w 274"/>
              <a:gd name="T67" fmla="*/ 265 h 275"/>
              <a:gd name="T68" fmla="*/ 97 w 274"/>
              <a:gd name="T69" fmla="*/ 241 h 275"/>
              <a:gd name="T70" fmla="*/ 120 w 274"/>
              <a:gd name="T71" fmla="*/ 247 h 275"/>
              <a:gd name="T72" fmla="*/ 120 w 274"/>
              <a:gd name="T73" fmla="*/ 275 h 275"/>
              <a:gd name="T74" fmla="*/ 154 w 274"/>
              <a:gd name="T75" fmla="*/ 275 h 275"/>
              <a:gd name="T76" fmla="*/ 154 w 274"/>
              <a:gd name="T77" fmla="*/ 247 h 275"/>
              <a:gd name="T78" fmla="*/ 177 w 274"/>
              <a:gd name="T79" fmla="*/ 241 h 275"/>
              <a:gd name="T80" fmla="*/ 191 w 274"/>
              <a:gd name="T81" fmla="*/ 265 h 275"/>
              <a:gd name="T82" fmla="*/ 221 w 274"/>
              <a:gd name="T83" fmla="*/ 248 h 275"/>
              <a:gd name="T84" fmla="*/ 207 w 274"/>
              <a:gd name="T85" fmla="*/ 224 h 275"/>
              <a:gd name="T86" fmla="*/ 224 w 274"/>
              <a:gd name="T87" fmla="*/ 207 h 275"/>
              <a:gd name="T88" fmla="*/ 247 w 274"/>
              <a:gd name="T89" fmla="*/ 221 h 275"/>
              <a:gd name="T90" fmla="*/ 265 w 274"/>
              <a:gd name="T91" fmla="*/ 191 h 275"/>
              <a:gd name="T92" fmla="*/ 241 w 274"/>
              <a:gd name="T93" fmla="*/ 178 h 275"/>
              <a:gd name="T94" fmla="*/ 247 w 274"/>
              <a:gd name="T95" fmla="*/ 155 h 275"/>
              <a:gd name="T96" fmla="*/ 274 w 274"/>
              <a:gd name="T97" fmla="*/ 155 h 275"/>
              <a:gd name="T98" fmla="*/ 137 w 274"/>
              <a:gd name="T99" fmla="*/ 215 h 275"/>
              <a:gd name="T100" fmla="*/ 60 w 274"/>
              <a:gd name="T101" fmla="*/ 137 h 275"/>
              <a:gd name="T102" fmla="*/ 137 w 274"/>
              <a:gd name="T103" fmla="*/ 60 h 275"/>
              <a:gd name="T104" fmla="*/ 214 w 274"/>
              <a:gd name="T105" fmla="*/ 137 h 275"/>
              <a:gd name="T106" fmla="*/ 137 w 274"/>
              <a:gd name="T107" fmla="*/ 215 h 2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74" h="275">
                <a:moveTo>
                  <a:pt x="274" y="155"/>
                </a:moveTo>
                <a:cubicBezTo>
                  <a:pt x="274" y="120"/>
                  <a:pt x="274" y="120"/>
                  <a:pt x="274" y="120"/>
                </a:cubicBezTo>
                <a:cubicBezTo>
                  <a:pt x="247" y="120"/>
                  <a:pt x="247" y="120"/>
                  <a:pt x="247" y="120"/>
                </a:cubicBezTo>
                <a:cubicBezTo>
                  <a:pt x="246" y="112"/>
                  <a:pt x="244" y="105"/>
                  <a:pt x="241" y="97"/>
                </a:cubicBezTo>
                <a:cubicBezTo>
                  <a:pt x="265" y="84"/>
                  <a:pt x="265" y="84"/>
                  <a:pt x="265" y="84"/>
                </a:cubicBezTo>
                <a:cubicBezTo>
                  <a:pt x="247" y="54"/>
                  <a:pt x="247" y="54"/>
                  <a:pt x="247" y="54"/>
                </a:cubicBezTo>
                <a:cubicBezTo>
                  <a:pt x="224" y="67"/>
                  <a:pt x="224" y="67"/>
                  <a:pt x="224" y="67"/>
                </a:cubicBezTo>
                <a:cubicBezTo>
                  <a:pt x="219" y="61"/>
                  <a:pt x="213" y="56"/>
                  <a:pt x="207" y="51"/>
                </a:cubicBezTo>
                <a:cubicBezTo>
                  <a:pt x="221" y="27"/>
                  <a:pt x="221" y="27"/>
                  <a:pt x="221" y="27"/>
                </a:cubicBezTo>
                <a:cubicBezTo>
                  <a:pt x="191" y="10"/>
                  <a:pt x="191" y="10"/>
                  <a:pt x="191" y="10"/>
                </a:cubicBezTo>
                <a:cubicBezTo>
                  <a:pt x="177" y="34"/>
                  <a:pt x="177" y="34"/>
                  <a:pt x="177" y="34"/>
                </a:cubicBezTo>
                <a:cubicBezTo>
                  <a:pt x="170" y="31"/>
                  <a:pt x="162" y="29"/>
                  <a:pt x="154" y="27"/>
                </a:cubicBezTo>
                <a:cubicBezTo>
                  <a:pt x="154" y="0"/>
                  <a:pt x="154" y="0"/>
                  <a:pt x="154" y="0"/>
                </a:cubicBezTo>
                <a:cubicBezTo>
                  <a:pt x="120" y="0"/>
                  <a:pt x="120" y="0"/>
                  <a:pt x="120" y="0"/>
                </a:cubicBezTo>
                <a:cubicBezTo>
                  <a:pt x="120" y="27"/>
                  <a:pt x="120" y="27"/>
                  <a:pt x="120" y="27"/>
                </a:cubicBezTo>
                <a:cubicBezTo>
                  <a:pt x="112" y="29"/>
                  <a:pt x="104" y="31"/>
                  <a:pt x="97" y="34"/>
                </a:cubicBezTo>
                <a:cubicBezTo>
                  <a:pt x="83" y="10"/>
                  <a:pt x="83" y="10"/>
                  <a:pt x="83" y="10"/>
                </a:cubicBezTo>
                <a:cubicBezTo>
                  <a:pt x="54" y="27"/>
                  <a:pt x="54" y="27"/>
                  <a:pt x="54" y="27"/>
                </a:cubicBezTo>
                <a:cubicBezTo>
                  <a:pt x="67" y="51"/>
                  <a:pt x="67" y="51"/>
                  <a:pt x="67" y="51"/>
                </a:cubicBezTo>
                <a:cubicBezTo>
                  <a:pt x="61" y="56"/>
                  <a:pt x="55" y="61"/>
                  <a:pt x="50" y="67"/>
                </a:cubicBezTo>
                <a:cubicBezTo>
                  <a:pt x="27" y="54"/>
                  <a:pt x="27" y="54"/>
                  <a:pt x="27" y="54"/>
                </a:cubicBezTo>
                <a:cubicBezTo>
                  <a:pt x="10" y="84"/>
                  <a:pt x="10" y="84"/>
                  <a:pt x="10" y="84"/>
                </a:cubicBezTo>
                <a:cubicBezTo>
                  <a:pt x="33" y="97"/>
                  <a:pt x="33" y="97"/>
                  <a:pt x="33" y="97"/>
                </a:cubicBezTo>
                <a:cubicBezTo>
                  <a:pt x="30" y="105"/>
                  <a:pt x="28" y="112"/>
                  <a:pt x="27" y="120"/>
                </a:cubicBezTo>
                <a:cubicBezTo>
                  <a:pt x="0" y="120"/>
                  <a:pt x="0" y="120"/>
                  <a:pt x="0" y="120"/>
                </a:cubicBezTo>
                <a:cubicBezTo>
                  <a:pt x="0" y="155"/>
                  <a:pt x="0" y="155"/>
                  <a:pt x="0" y="155"/>
                </a:cubicBezTo>
                <a:cubicBezTo>
                  <a:pt x="27" y="155"/>
                  <a:pt x="27" y="155"/>
                  <a:pt x="27" y="155"/>
                </a:cubicBezTo>
                <a:cubicBezTo>
                  <a:pt x="28" y="163"/>
                  <a:pt x="30" y="170"/>
                  <a:pt x="33" y="178"/>
                </a:cubicBezTo>
                <a:cubicBezTo>
                  <a:pt x="10" y="191"/>
                  <a:pt x="10" y="191"/>
                  <a:pt x="10" y="191"/>
                </a:cubicBezTo>
                <a:cubicBezTo>
                  <a:pt x="27" y="221"/>
                  <a:pt x="27" y="221"/>
                  <a:pt x="27" y="221"/>
                </a:cubicBezTo>
                <a:cubicBezTo>
                  <a:pt x="50" y="207"/>
                  <a:pt x="50" y="207"/>
                  <a:pt x="50" y="207"/>
                </a:cubicBezTo>
                <a:cubicBezTo>
                  <a:pt x="55" y="214"/>
                  <a:pt x="61" y="219"/>
                  <a:pt x="67" y="224"/>
                </a:cubicBezTo>
                <a:cubicBezTo>
                  <a:pt x="54" y="248"/>
                  <a:pt x="54" y="248"/>
                  <a:pt x="54" y="248"/>
                </a:cubicBezTo>
                <a:cubicBezTo>
                  <a:pt x="83" y="265"/>
                  <a:pt x="83" y="265"/>
                  <a:pt x="83" y="265"/>
                </a:cubicBezTo>
                <a:cubicBezTo>
                  <a:pt x="97" y="241"/>
                  <a:pt x="97" y="241"/>
                  <a:pt x="97" y="241"/>
                </a:cubicBezTo>
                <a:cubicBezTo>
                  <a:pt x="104" y="244"/>
                  <a:pt x="112" y="246"/>
                  <a:pt x="120" y="247"/>
                </a:cubicBezTo>
                <a:cubicBezTo>
                  <a:pt x="120" y="275"/>
                  <a:pt x="120" y="275"/>
                  <a:pt x="120" y="275"/>
                </a:cubicBezTo>
                <a:cubicBezTo>
                  <a:pt x="154" y="275"/>
                  <a:pt x="154" y="275"/>
                  <a:pt x="154" y="275"/>
                </a:cubicBezTo>
                <a:cubicBezTo>
                  <a:pt x="154" y="247"/>
                  <a:pt x="154" y="247"/>
                  <a:pt x="154" y="247"/>
                </a:cubicBezTo>
                <a:cubicBezTo>
                  <a:pt x="162" y="246"/>
                  <a:pt x="170" y="244"/>
                  <a:pt x="177" y="241"/>
                </a:cubicBezTo>
                <a:cubicBezTo>
                  <a:pt x="191" y="265"/>
                  <a:pt x="191" y="265"/>
                  <a:pt x="191" y="265"/>
                </a:cubicBezTo>
                <a:cubicBezTo>
                  <a:pt x="221" y="248"/>
                  <a:pt x="221" y="248"/>
                  <a:pt x="221" y="248"/>
                </a:cubicBezTo>
                <a:cubicBezTo>
                  <a:pt x="207" y="224"/>
                  <a:pt x="207" y="224"/>
                  <a:pt x="207" y="224"/>
                </a:cubicBezTo>
                <a:cubicBezTo>
                  <a:pt x="213" y="219"/>
                  <a:pt x="219" y="214"/>
                  <a:pt x="224" y="207"/>
                </a:cubicBezTo>
                <a:cubicBezTo>
                  <a:pt x="247" y="221"/>
                  <a:pt x="247" y="221"/>
                  <a:pt x="247" y="221"/>
                </a:cubicBezTo>
                <a:cubicBezTo>
                  <a:pt x="265" y="191"/>
                  <a:pt x="265" y="191"/>
                  <a:pt x="265" y="191"/>
                </a:cubicBezTo>
                <a:cubicBezTo>
                  <a:pt x="241" y="178"/>
                  <a:pt x="241" y="178"/>
                  <a:pt x="241" y="178"/>
                </a:cubicBezTo>
                <a:cubicBezTo>
                  <a:pt x="244" y="170"/>
                  <a:pt x="246" y="163"/>
                  <a:pt x="247" y="155"/>
                </a:cubicBezTo>
                <a:cubicBezTo>
                  <a:pt x="274" y="155"/>
                  <a:pt x="274" y="155"/>
                  <a:pt x="274" y="155"/>
                </a:cubicBezTo>
                <a:close/>
                <a:moveTo>
                  <a:pt x="137" y="215"/>
                </a:moveTo>
                <a:cubicBezTo>
                  <a:pt x="95" y="215"/>
                  <a:pt x="60" y="180"/>
                  <a:pt x="60" y="137"/>
                </a:cubicBezTo>
                <a:cubicBezTo>
                  <a:pt x="60" y="95"/>
                  <a:pt x="95" y="60"/>
                  <a:pt x="137" y="60"/>
                </a:cubicBezTo>
                <a:cubicBezTo>
                  <a:pt x="180" y="60"/>
                  <a:pt x="214" y="95"/>
                  <a:pt x="214" y="137"/>
                </a:cubicBezTo>
                <a:cubicBezTo>
                  <a:pt x="214" y="180"/>
                  <a:pt x="180" y="215"/>
                  <a:pt x="137" y="215"/>
                </a:cubicBezTo>
                <a:close/>
              </a:path>
            </a:pathLst>
          </a:custGeom>
          <a:solidFill>
            <a:srgbClr val="AFABAB"/>
          </a:solidFill>
          <a:ln>
            <a:noFill/>
          </a:ln>
          <a:effec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226" name="Freeform 23"/>
          <p:cNvSpPr>
            <a:spLocks noEditPoints="1"/>
          </p:cNvSpPr>
          <p:nvPr/>
        </p:nvSpPr>
        <p:spPr bwMode="auto">
          <a:xfrm>
            <a:off x="6241544" y="2651160"/>
            <a:ext cx="439662" cy="440628"/>
          </a:xfrm>
          <a:custGeom>
            <a:avLst/>
            <a:gdLst>
              <a:gd name="T0" fmla="*/ 274 w 274"/>
              <a:gd name="T1" fmla="*/ 155 h 275"/>
              <a:gd name="T2" fmla="*/ 274 w 274"/>
              <a:gd name="T3" fmla="*/ 120 h 275"/>
              <a:gd name="T4" fmla="*/ 247 w 274"/>
              <a:gd name="T5" fmla="*/ 120 h 275"/>
              <a:gd name="T6" fmla="*/ 241 w 274"/>
              <a:gd name="T7" fmla="*/ 97 h 275"/>
              <a:gd name="T8" fmla="*/ 265 w 274"/>
              <a:gd name="T9" fmla="*/ 84 h 275"/>
              <a:gd name="T10" fmla="*/ 247 w 274"/>
              <a:gd name="T11" fmla="*/ 54 h 275"/>
              <a:gd name="T12" fmla="*/ 224 w 274"/>
              <a:gd name="T13" fmla="*/ 67 h 275"/>
              <a:gd name="T14" fmla="*/ 207 w 274"/>
              <a:gd name="T15" fmla="*/ 51 h 275"/>
              <a:gd name="T16" fmla="*/ 221 w 274"/>
              <a:gd name="T17" fmla="*/ 27 h 275"/>
              <a:gd name="T18" fmla="*/ 191 w 274"/>
              <a:gd name="T19" fmla="*/ 10 h 275"/>
              <a:gd name="T20" fmla="*/ 177 w 274"/>
              <a:gd name="T21" fmla="*/ 34 h 275"/>
              <a:gd name="T22" fmla="*/ 154 w 274"/>
              <a:gd name="T23" fmla="*/ 27 h 275"/>
              <a:gd name="T24" fmla="*/ 154 w 274"/>
              <a:gd name="T25" fmla="*/ 0 h 275"/>
              <a:gd name="T26" fmla="*/ 120 w 274"/>
              <a:gd name="T27" fmla="*/ 0 h 275"/>
              <a:gd name="T28" fmla="*/ 120 w 274"/>
              <a:gd name="T29" fmla="*/ 27 h 275"/>
              <a:gd name="T30" fmla="*/ 97 w 274"/>
              <a:gd name="T31" fmla="*/ 34 h 275"/>
              <a:gd name="T32" fmla="*/ 83 w 274"/>
              <a:gd name="T33" fmla="*/ 10 h 275"/>
              <a:gd name="T34" fmla="*/ 54 w 274"/>
              <a:gd name="T35" fmla="*/ 27 h 275"/>
              <a:gd name="T36" fmla="*/ 67 w 274"/>
              <a:gd name="T37" fmla="*/ 51 h 275"/>
              <a:gd name="T38" fmla="*/ 50 w 274"/>
              <a:gd name="T39" fmla="*/ 67 h 275"/>
              <a:gd name="T40" fmla="*/ 27 w 274"/>
              <a:gd name="T41" fmla="*/ 54 h 275"/>
              <a:gd name="T42" fmla="*/ 10 w 274"/>
              <a:gd name="T43" fmla="*/ 84 h 275"/>
              <a:gd name="T44" fmla="*/ 33 w 274"/>
              <a:gd name="T45" fmla="*/ 97 h 275"/>
              <a:gd name="T46" fmla="*/ 27 w 274"/>
              <a:gd name="T47" fmla="*/ 120 h 275"/>
              <a:gd name="T48" fmla="*/ 0 w 274"/>
              <a:gd name="T49" fmla="*/ 120 h 275"/>
              <a:gd name="T50" fmla="*/ 0 w 274"/>
              <a:gd name="T51" fmla="*/ 155 h 275"/>
              <a:gd name="T52" fmla="*/ 27 w 274"/>
              <a:gd name="T53" fmla="*/ 155 h 275"/>
              <a:gd name="T54" fmla="*/ 33 w 274"/>
              <a:gd name="T55" fmla="*/ 178 h 275"/>
              <a:gd name="T56" fmla="*/ 10 w 274"/>
              <a:gd name="T57" fmla="*/ 191 h 275"/>
              <a:gd name="T58" fmla="*/ 27 w 274"/>
              <a:gd name="T59" fmla="*/ 221 h 275"/>
              <a:gd name="T60" fmla="*/ 50 w 274"/>
              <a:gd name="T61" fmla="*/ 207 h 275"/>
              <a:gd name="T62" fmla="*/ 67 w 274"/>
              <a:gd name="T63" fmla="*/ 224 h 275"/>
              <a:gd name="T64" fmla="*/ 54 w 274"/>
              <a:gd name="T65" fmla="*/ 248 h 275"/>
              <a:gd name="T66" fmla="*/ 83 w 274"/>
              <a:gd name="T67" fmla="*/ 265 h 275"/>
              <a:gd name="T68" fmla="*/ 97 w 274"/>
              <a:gd name="T69" fmla="*/ 241 h 275"/>
              <a:gd name="T70" fmla="*/ 120 w 274"/>
              <a:gd name="T71" fmla="*/ 247 h 275"/>
              <a:gd name="T72" fmla="*/ 120 w 274"/>
              <a:gd name="T73" fmla="*/ 275 h 275"/>
              <a:gd name="T74" fmla="*/ 154 w 274"/>
              <a:gd name="T75" fmla="*/ 275 h 275"/>
              <a:gd name="T76" fmla="*/ 154 w 274"/>
              <a:gd name="T77" fmla="*/ 247 h 275"/>
              <a:gd name="T78" fmla="*/ 177 w 274"/>
              <a:gd name="T79" fmla="*/ 241 h 275"/>
              <a:gd name="T80" fmla="*/ 191 w 274"/>
              <a:gd name="T81" fmla="*/ 265 h 275"/>
              <a:gd name="T82" fmla="*/ 221 w 274"/>
              <a:gd name="T83" fmla="*/ 248 h 275"/>
              <a:gd name="T84" fmla="*/ 207 w 274"/>
              <a:gd name="T85" fmla="*/ 224 h 275"/>
              <a:gd name="T86" fmla="*/ 224 w 274"/>
              <a:gd name="T87" fmla="*/ 207 h 275"/>
              <a:gd name="T88" fmla="*/ 247 w 274"/>
              <a:gd name="T89" fmla="*/ 221 h 275"/>
              <a:gd name="T90" fmla="*/ 265 w 274"/>
              <a:gd name="T91" fmla="*/ 191 h 275"/>
              <a:gd name="T92" fmla="*/ 241 w 274"/>
              <a:gd name="T93" fmla="*/ 178 h 275"/>
              <a:gd name="T94" fmla="*/ 247 w 274"/>
              <a:gd name="T95" fmla="*/ 155 h 275"/>
              <a:gd name="T96" fmla="*/ 274 w 274"/>
              <a:gd name="T97" fmla="*/ 155 h 275"/>
              <a:gd name="T98" fmla="*/ 137 w 274"/>
              <a:gd name="T99" fmla="*/ 215 h 275"/>
              <a:gd name="T100" fmla="*/ 60 w 274"/>
              <a:gd name="T101" fmla="*/ 137 h 275"/>
              <a:gd name="T102" fmla="*/ 137 w 274"/>
              <a:gd name="T103" fmla="*/ 60 h 275"/>
              <a:gd name="T104" fmla="*/ 214 w 274"/>
              <a:gd name="T105" fmla="*/ 137 h 275"/>
              <a:gd name="T106" fmla="*/ 137 w 274"/>
              <a:gd name="T107" fmla="*/ 215 h 2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74" h="275">
                <a:moveTo>
                  <a:pt x="274" y="155"/>
                </a:moveTo>
                <a:cubicBezTo>
                  <a:pt x="274" y="120"/>
                  <a:pt x="274" y="120"/>
                  <a:pt x="274" y="120"/>
                </a:cubicBezTo>
                <a:cubicBezTo>
                  <a:pt x="247" y="120"/>
                  <a:pt x="247" y="120"/>
                  <a:pt x="247" y="120"/>
                </a:cubicBezTo>
                <a:cubicBezTo>
                  <a:pt x="246" y="112"/>
                  <a:pt x="244" y="105"/>
                  <a:pt x="241" y="97"/>
                </a:cubicBezTo>
                <a:cubicBezTo>
                  <a:pt x="265" y="84"/>
                  <a:pt x="265" y="84"/>
                  <a:pt x="265" y="84"/>
                </a:cubicBezTo>
                <a:cubicBezTo>
                  <a:pt x="247" y="54"/>
                  <a:pt x="247" y="54"/>
                  <a:pt x="247" y="54"/>
                </a:cubicBezTo>
                <a:cubicBezTo>
                  <a:pt x="224" y="67"/>
                  <a:pt x="224" y="67"/>
                  <a:pt x="224" y="67"/>
                </a:cubicBezTo>
                <a:cubicBezTo>
                  <a:pt x="219" y="61"/>
                  <a:pt x="213" y="56"/>
                  <a:pt x="207" y="51"/>
                </a:cubicBezTo>
                <a:cubicBezTo>
                  <a:pt x="221" y="27"/>
                  <a:pt x="221" y="27"/>
                  <a:pt x="221" y="27"/>
                </a:cubicBezTo>
                <a:cubicBezTo>
                  <a:pt x="191" y="10"/>
                  <a:pt x="191" y="10"/>
                  <a:pt x="191" y="10"/>
                </a:cubicBezTo>
                <a:cubicBezTo>
                  <a:pt x="177" y="34"/>
                  <a:pt x="177" y="34"/>
                  <a:pt x="177" y="34"/>
                </a:cubicBezTo>
                <a:cubicBezTo>
                  <a:pt x="170" y="31"/>
                  <a:pt x="162" y="29"/>
                  <a:pt x="154" y="27"/>
                </a:cubicBezTo>
                <a:cubicBezTo>
                  <a:pt x="154" y="0"/>
                  <a:pt x="154" y="0"/>
                  <a:pt x="154" y="0"/>
                </a:cubicBezTo>
                <a:cubicBezTo>
                  <a:pt x="120" y="0"/>
                  <a:pt x="120" y="0"/>
                  <a:pt x="120" y="0"/>
                </a:cubicBezTo>
                <a:cubicBezTo>
                  <a:pt x="120" y="27"/>
                  <a:pt x="120" y="27"/>
                  <a:pt x="120" y="27"/>
                </a:cubicBezTo>
                <a:cubicBezTo>
                  <a:pt x="112" y="29"/>
                  <a:pt x="104" y="31"/>
                  <a:pt x="97" y="34"/>
                </a:cubicBezTo>
                <a:cubicBezTo>
                  <a:pt x="83" y="10"/>
                  <a:pt x="83" y="10"/>
                  <a:pt x="83" y="10"/>
                </a:cubicBezTo>
                <a:cubicBezTo>
                  <a:pt x="54" y="27"/>
                  <a:pt x="54" y="27"/>
                  <a:pt x="54" y="27"/>
                </a:cubicBezTo>
                <a:cubicBezTo>
                  <a:pt x="67" y="51"/>
                  <a:pt x="67" y="51"/>
                  <a:pt x="67" y="51"/>
                </a:cubicBezTo>
                <a:cubicBezTo>
                  <a:pt x="61" y="56"/>
                  <a:pt x="55" y="61"/>
                  <a:pt x="50" y="67"/>
                </a:cubicBezTo>
                <a:cubicBezTo>
                  <a:pt x="27" y="54"/>
                  <a:pt x="27" y="54"/>
                  <a:pt x="27" y="54"/>
                </a:cubicBezTo>
                <a:cubicBezTo>
                  <a:pt x="10" y="84"/>
                  <a:pt x="10" y="84"/>
                  <a:pt x="10" y="84"/>
                </a:cubicBezTo>
                <a:cubicBezTo>
                  <a:pt x="33" y="97"/>
                  <a:pt x="33" y="97"/>
                  <a:pt x="33" y="97"/>
                </a:cubicBezTo>
                <a:cubicBezTo>
                  <a:pt x="30" y="105"/>
                  <a:pt x="28" y="112"/>
                  <a:pt x="27" y="120"/>
                </a:cubicBezTo>
                <a:cubicBezTo>
                  <a:pt x="0" y="120"/>
                  <a:pt x="0" y="120"/>
                  <a:pt x="0" y="120"/>
                </a:cubicBezTo>
                <a:cubicBezTo>
                  <a:pt x="0" y="155"/>
                  <a:pt x="0" y="155"/>
                  <a:pt x="0" y="155"/>
                </a:cubicBezTo>
                <a:cubicBezTo>
                  <a:pt x="27" y="155"/>
                  <a:pt x="27" y="155"/>
                  <a:pt x="27" y="155"/>
                </a:cubicBezTo>
                <a:cubicBezTo>
                  <a:pt x="28" y="163"/>
                  <a:pt x="30" y="170"/>
                  <a:pt x="33" y="178"/>
                </a:cubicBezTo>
                <a:cubicBezTo>
                  <a:pt x="10" y="191"/>
                  <a:pt x="10" y="191"/>
                  <a:pt x="10" y="191"/>
                </a:cubicBezTo>
                <a:cubicBezTo>
                  <a:pt x="27" y="221"/>
                  <a:pt x="27" y="221"/>
                  <a:pt x="27" y="221"/>
                </a:cubicBezTo>
                <a:cubicBezTo>
                  <a:pt x="50" y="207"/>
                  <a:pt x="50" y="207"/>
                  <a:pt x="50" y="207"/>
                </a:cubicBezTo>
                <a:cubicBezTo>
                  <a:pt x="55" y="214"/>
                  <a:pt x="61" y="219"/>
                  <a:pt x="67" y="224"/>
                </a:cubicBezTo>
                <a:cubicBezTo>
                  <a:pt x="54" y="248"/>
                  <a:pt x="54" y="248"/>
                  <a:pt x="54" y="248"/>
                </a:cubicBezTo>
                <a:cubicBezTo>
                  <a:pt x="83" y="265"/>
                  <a:pt x="83" y="265"/>
                  <a:pt x="83" y="265"/>
                </a:cubicBezTo>
                <a:cubicBezTo>
                  <a:pt x="97" y="241"/>
                  <a:pt x="97" y="241"/>
                  <a:pt x="97" y="241"/>
                </a:cubicBezTo>
                <a:cubicBezTo>
                  <a:pt x="104" y="244"/>
                  <a:pt x="112" y="246"/>
                  <a:pt x="120" y="247"/>
                </a:cubicBezTo>
                <a:cubicBezTo>
                  <a:pt x="120" y="275"/>
                  <a:pt x="120" y="275"/>
                  <a:pt x="120" y="275"/>
                </a:cubicBezTo>
                <a:cubicBezTo>
                  <a:pt x="154" y="275"/>
                  <a:pt x="154" y="275"/>
                  <a:pt x="154" y="275"/>
                </a:cubicBezTo>
                <a:cubicBezTo>
                  <a:pt x="154" y="247"/>
                  <a:pt x="154" y="247"/>
                  <a:pt x="154" y="247"/>
                </a:cubicBezTo>
                <a:cubicBezTo>
                  <a:pt x="162" y="246"/>
                  <a:pt x="170" y="244"/>
                  <a:pt x="177" y="241"/>
                </a:cubicBezTo>
                <a:cubicBezTo>
                  <a:pt x="191" y="265"/>
                  <a:pt x="191" y="265"/>
                  <a:pt x="191" y="265"/>
                </a:cubicBezTo>
                <a:cubicBezTo>
                  <a:pt x="221" y="248"/>
                  <a:pt x="221" y="248"/>
                  <a:pt x="221" y="248"/>
                </a:cubicBezTo>
                <a:cubicBezTo>
                  <a:pt x="207" y="224"/>
                  <a:pt x="207" y="224"/>
                  <a:pt x="207" y="224"/>
                </a:cubicBezTo>
                <a:cubicBezTo>
                  <a:pt x="213" y="219"/>
                  <a:pt x="219" y="214"/>
                  <a:pt x="224" y="207"/>
                </a:cubicBezTo>
                <a:cubicBezTo>
                  <a:pt x="247" y="221"/>
                  <a:pt x="247" y="221"/>
                  <a:pt x="247" y="221"/>
                </a:cubicBezTo>
                <a:cubicBezTo>
                  <a:pt x="265" y="191"/>
                  <a:pt x="265" y="191"/>
                  <a:pt x="265" y="191"/>
                </a:cubicBezTo>
                <a:cubicBezTo>
                  <a:pt x="241" y="178"/>
                  <a:pt x="241" y="178"/>
                  <a:pt x="241" y="178"/>
                </a:cubicBezTo>
                <a:cubicBezTo>
                  <a:pt x="244" y="170"/>
                  <a:pt x="246" y="163"/>
                  <a:pt x="247" y="155"/>
                </a:cubicBezTo>
                <a:cubicBezTo>
                  <a:pt x="274" y="155"/>
                  <a:pt x="274" y="155"/>
                  <a:pt x="274" y="155"/>
                </a:cubicBezTo>
                <a:close/>
                <a:moveTo>
                  <a:pt x="137" y="215"/>
                </a:moveTo>
                <a:cubicBezTo>
                  <a:pt x="95" y="215"/>
                  <a:pt x="60" y="180"/>
                  <a:pt x="60" y="137"/>
                </a:cubicBezTo>
                <a:cubicBezTo>
                  <a:pt x="60" y="95"/>
                  <a:pt x="95" y="60"/>
                  <a:pt x="137" y="60"/>
                </a:cubicBezTo>
                <a:cubicBezTo>
                  <a:pt x="180" y="60"/>
                  <a:pt x="214" y="95"/>
                  <a:pt x="214" y="137"/>
                </a:cubicBezTo>
                <a:cubicBezTo>
                  <a:pt x="214" y="180"/>
                  <a:pt x="180" y="215"/>
                  <a:pt x="137" y="215"/>
                </a:cubicBezTo>
                <a:close/>
              </a:path>
            </a:pathLst>
          </a:custGeom>
          <a:solidFill>
            <a:srgbClr val="AFABAB"/>
          </a:solidFill>
          <a:ln>
            <a:noFill/>
          </a:ln>
          <a:effec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227" name="Freeform 23"/>
          <p:cNvSpPr>
            <a:spLocks noEditPoints="1"/>
          </p:cNvSpPr>
          <p:nvPr/>
        </p:nvSpPr>
        <p:spPr bwMode="auto">
          <a:xfrm>
            <a:off x="5735728" y="3465310"/>
            <a:ext cx="912187" cy="914189"/>
          </a:xfrm>
          <a:custGeom>
            <a:avLst/>
            <a:gdLst>
              <a:gd name="T0" fmla="*/ 274 w 274"/>
              <a:gd name="T1" fmla="*/ 155 h 275"/>
              <a:gd name="T2" fmla="*/ 274 w 274"/>
              <a:gd name="T3" fmla="*/ 120 h 275"/>
              <a:gd name="T4" fmla="*/ 247 w 274"/>
              <a:gd name="T5" fmla="*/ 120 h 275"/>
              <a:gd name="T6" fmla="*/ 241 w 274"/>
              <a:gd name="T7" fmla="*/ 97 h 275"/>
              <a:gd name="T8" fmla="*/ 265 w 274"/>
              <a:gd name="T9" fmla="*/ 84 h 275"/>
              <a:gd name="T10" fmla="*/ 247 w 274"/>
              <a:gd name="T11" fmla="*/ 54 h 275"/>
              <a:gd name="T12" fmla="*/ 224 w 274"/>
              <a:gd name="T13" fmla="*/ 67 h 275"/>
              <a:gd name="T14" fmla="*/ 207 w 274"/>
              <a:gd name="T15" fmla="*/ 51 h 275"/>
              <a:gd name="T16" fmla="*/ 221 w 274"/>
              <a:gd name="T17" fmla="*/ 27 h 275"/>
              <a:gd name="T18" fmla="*/ 191 w 274"/>
              <a:gd name="T19" fmla="*/ 10 h 275"/>
              <a:gd name="T20" fmla="*/ 177 w 274"/>
              <a:gd name="T21" fmla="*/ 34 h 275"/>
              <a:gd name="T22" fmla="*/ 154 w 274"/>
              <a:gd name="T23" fmla="*/ 27 h 275"/>
              <a:gd name="T24" fmla="*/ 154 w 274"/>
              <a:gd name="T25" fmla="*/ 0 h 275"/>
              <a:gd name="T26" fmla="*/ 120 w 274"/>
              <a:gd name="T27" fmla="*/ 0 h 275"/>
              <a:gd name="T28" fmla="*/ 120 w 274"/>
              <a:gd name="T29" fmla="*/ 27 h 275"/>
              <a:gd name="T30" fmla="*/ 97 w 274"/>
              <a:gd name="T31" fmla="*/ 34 h 275"/>
              <a:gd name="T32" fmla="*/ 83 w 274"/>
              <a:gd name="T33" fmla="*/ 10 h 275"/>
              <a:gd name="T34" fmla="*/ 54 w 274"/>
              <a:gd name="T35" fmla="*/ 27 h 275"/>
              <a:gd name="T36" fmla="*/ 67 w 274"/>
              <a:gd name="T37" fmla="*/ 51 h 275"/>
              <a:gd name="T38" fmla="*/ 50 w 274"/>
              <a:gd name="T39" fmla="*/ 67 h 275"/>
              <a:gd name="T40" fmla="*/ 27 w 274"/>
              <a:gd name="T41" fmla="*/ 54 h 275"/>
              <a:gd name="T42" fmla="*/ 10 w 274"/>
              <a:gd name="T43" fmla="*/ 84 h 275"/>
              <a:gd name="T44" fmla="*/ 33 w 274"/>
              <a:gd name="T45" fmla="*/ 97 h 275"/>
              <a:gd name="T46" fmla="*/ 27 w 274"/>
              <a:gd name="T47" fmla="*/ 120 h 275"/>
              <a:gd name="T48" fmla="*/ 0 w 274"/>
              <a:gd name="T49" fmla="*/ 120 h 275"/>
              <a:gd name="T50" fmla="*/ 0 w 274"/>
              <a:gd name="T51" fmla="*/ 155 h 275"/>
              <a:gd name="T52" fmla="*/ 27 w 274"/>
              <a:gd name="T53" fmla="*/ 155 h 275"/>
              <a:gd name="T54" fmla="*/ 33 w 274"/>
              <a:gd name="T55" fmla="*/ 178 h 275"/>
              <a:gd name="T56" fmla="*/ 10 w 274"/>
              <a:gd name="T57" fmla="*/ 191 h 275"/>
              <a:gd name="T58" fmla="*/ 27 w 274"/>
              <a:gd name="T59" fmla="*/ 221 h 275"/>
              <a:gd name="T60" fmla="*/ 50 w 274"/>
              <a:gd name="T61" fmla="*/ 207 h 275"/>
              <a:gd name="T62" fmla="*/ 67 w 274"/>
              <a:gd name="T63" fmla="*/ 224 h 275"/>
              <a:gd name="T64" fmla="*/ 54 w 274"/>
              <a:gd name="T65" fmla="*/ 248 h 275"/>
              <a:gd name="T66" fmla="*/ 83 w 274"/>
              <a:gd name="T67" fmla="*/ 265 h 275"/>
              <a:gd name="T68" fmla="*/ 97 w 274"/>
              <a:gd name="T69" fmla="*/ 241 h 275"/>
              <a:gd name="T70" fmla="*/ 120 w 274"/>
              <a:gd name="T71" fmla="*/ 247 h 275"/>
              <a:gd name="T72" fmla="*/ 120 w 274"/>
              <a:gd name="T73" fmla="*/ 275 h 275"/>
              <a:gd name="T74" fmla="*/ 154 w 274"/>
              <a:gd name="T75" fmla="*/ 275 h 275"/>
              <a:gd name="T76" fmla="*/ 154 w 274"/>
              <a:gd name="T77" fmla="*/ 247 h 275"/>
              <a:gd name="T78" fmla="*/ 177 w 274"/>
              <a:gd name="T79" fmla="*/ 241 h 275"/>
              <a:gd name="T80" fmla="*/ 191 w 274"/>
              <a:gd name="T81" fmla="*/ 265 h 275"/>
              <a:gd name="T82" fmla="*/ 221 w 274"/>
              <a:gd name="T83" fmla="*/ 248 h 275"/>
              <a:gd name="T84" fmla="*/ 207 w 274"/>
              <a:gd name="T85" fmla="*/ 224 h 275"/>
              <a:gd name="T86" fmla="*/ 224 w 274"/>
              <a:gd name="T87" fmla="*/ 207 h 275"/>
              <a:gd name="T88" fmla="*/ 247 w 274"/>
              <a:gd name="T89" fmla="*/ 221 h 275"/>
              <a:gd name="T90" fmla="*/ 265 w 274"/>
              <a:gd name="T91" fmla="*/ 191 h 275"/>
              <a:gd name="T92" fmla="*/ 241 w 274"/>
              <a:gd name="T93" fmla="*/ 178 h 275"/>
              <a:gd name="T94" fmla="*/ 247 w 274"/>
              <a:gd name="T95" fmla="*/ 155 h 275"/>
              <a:gd name="T96" fmla="*/ 274 w 274"/>
              <a:gd name="T97" fmla="*/ 155 h 275"/>
              <a:gd name="T98" fmla="*/ 137 w 274"/>
              <a:gd name="T99" fmla="*/ 215 h 275"/>
              <a:gd name="T100" fmla="*/ 60 w 274"/>
              <a:gd name="T101" fmla="*/ 137 h 275"/>
              <a:gd name="T102" fmla="*/ 137 w 274"/>
              <a:gd name="T103" fmla="*/ 60 h 275"/>
              <a:gd name="T104" fmla="*/ 214 w 274"/>
              <a:gd name="T105" fmla="*/ 137 h 275"/>
              <a:gd name="T106" fmla="*/ 137 w 274"/>
              <a:gd name="T107" fmla="*/ 215 h 2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74" h="275">
                <a:moveTo>
                  <a:pt x="274" y="155"/>
                </a:moveTo>
                <a:cubicBezTo>
                  <a:pt x="274" y="120"/>
                  <a:pt x="274" y="120"/>
                  <a:pt x="274" y="120"/>
                </a:cubicBezTo>
                <a:cubicBezTo>
                  <a:pt x="247" y="120"/>
                  <a:pt x="247" y="120"/>
                  <a:pt x="247" y="120"/>
                </a:cubicBezTo>
                <a:cubicBezTo>
                  <a:pt x="246" y="112"/>
                  <a:pt x="244" y="105"/>
                  <a:pt x="241" y="97"/>
                </a:cubicBezTo>
                <a:cubicBezTo>
                  <a:pt x="265" y="84"/>
                  <a:pt x="265" y="84"/>
                  <a:pt x="265" y="84"/>
                </a:cubicBezTo>
                <a:cubicBezTo>
                  <a:pt x="247" y="54"/>
                  <a:pt x="247" y="54"/>
                  <a:pt x="247" y="54"/>
                </a:cubicBezTo>
                <a:cubicBezTo>
                  <a:pt x="224" y="67"/>
                  <a:pt x="224" y="67"/>
                  <a:pt x="224" y="67"/>
                </a:cubicBezTo>
                <a:cubicBezTo>
                  <a:pt x="219" y="61"/>
                  <a:pt x="213" y="56"/>
                  <a:pt x="207" y="51"/>
                </a:cubicBezTo>
                <a:cubicBezTo>
                  <a:pt x="221" y="27"/>
                  <a:pt x="221" y="27"/>
                  <a:pt x="221" y="27"/>
                </a:cubicBezTo>
                <a:cubicBezTo>
                  <a:pt x="191" y="10"/>
                  <a:pt x="191" y="10"/>
                  <a:pt x="191" y="10"/>
                </a:cubicBezTo>
                <a:cubicBezTo>
                  <a:pt x="177" y="34"/>
                  <a:pt x="177" y="34"/>
                  <a:pt x="177" y="34"/>
                </a:cubicBezTo>
                <a:cubicBezTo>
                  <a:pt x="170" y="31"/>
                  <a:pt x="162" y="29"/>
                  <a:pt x="154" y="27"/>
                </a:cubicBezTo>
                <a:cubicBezTo>
                  <a:pt x="154" y="0"/>
                  <a:pt x="154" y="0"/>
                  <a:pt x="154" y="0"/>
                </a:cubicBezTo>
                <a:cubicBezTo>
                  <a:pt x="120" y="0"/>
                  <a:pt x="120" y="0"/>
                  <a:pt x="120" y="0"/>
                </a:cubicBezTo>
                <a:cubicBezTo>
                  <a:pt x="120" y="27"/>
                  <a:pt x="120" y="27"/>
                  <a:pt x="120" y="27"/>
                </a:cubicBezTo>
                <a:cubicBezTo>
                  <a:pt x="112" y="29"/>
                  <a:pt x="104" y="31"/>
                  <a:pt x="97" y="34"/>
                </a:cubicBezTo>
                <a:cubicBezTo>
                  <a:pt x="83" y="10"/>
                  <a:pt x="83" y="10"/>
                  <a:pt x="83" y="10"/>
                </a:cubicBezTo>
                <a:cubicBezTo>
                  <a:pt x="54" y="27"/>
                  <a:pt x="54" y="27"/>
                  <a:pt x="54" y="27"/>
                </a:cubicBezTo>
                <a:cubicBezTo>
                  <a:pt x="67" y="51"/>
                  <a:pt x="67" y="51"/>
                  <a:pt x="67" y="51"/>
                </a:cubicBezTo>
                <a:cubicBezTo>
                  <a:pt x="61" y="56"/>
                  <a:pt x="55" y="61"/>
                  <a:pt x="50" y="67"/>
                </a:cubicBezTo>
                <a:cubicBezTo>
                  <a:pt x="27" y="54"/>
                  <a:pt x="27" y="54"/>
                  <a:pt x="27" y="54"/>
                </a:cubicBezTo>
                <a:cubicBezTo>
                  <a:pt x="10" y="84"/>
                  <a:pt x="10" y="84"/>
                  <a:pt x="10" y="84"/>
                </a:cubicBezTo>
                <a:cubicBezTo>
                  <a:pt x="33" y="97"/>
                  <a:pt x="33" y="97"/>
                  <a:pt x="33" y="97"/>
                </a:cubicBezTo>
                <a:cubicBezTo>
                  <a:pt x="30" y="105"/>
                  <a:pt x="28" y="112"/>
                  <a:pt x="27" y="120"/>
                </a:cubicBezTo>
                <a:cubicBezTo>
                  <a:pt x="0" y="120"/>
                  <a:pt x="0" y="120"/>
                  <a:pt x="0" y="120"/>
                </a:cubicBezTo>
                <a:cubicBezTo>
                  <a:pt x="0" y="155"/>
                  <a:pt x="0" y="155"/>
                  <a:pt x="0" y="155"/>
                </a:cubicBezTo>
                <a:cubicBezTo>
                  <a:pt x="27" y="155"/>
                  <a:pt x="27" y="155"/>
                  <a:pt x="27" y="155"/>
                </a:cubicBezTo>
                <a:cubicBezTo>
                  <a:pt x="28" y="163"/>
                  <a:pt x="30" y="170"/>
                  <a:pt x="33" y="178"/>
                </a:cubicBezTo>
                <a:cubicBezTo>
                  <a:pt x="10" y="191"/>
                  <a:pt x="10" y="191"/>
                  <a:pt x="10" y="191"/>
                </a:cubicBezTo>
                <a:cubicBezTo>
                  <a:pt x="27" y="221"/>
                  <a:pt x="27" y="221"/>
                  <a:pt x="27" y="221"/>
                </a:cubicBezTo>
                <a:cubicBezTo>
                  <a:pt x="50" y="207"/>
                  <a:pt x="50" y="207"/>
                  <a:pt x="50" y="207"/>
                </a:cubicBezTo>
                <a:cubicBezTo>
                  <a:pt x="55" y="214"/>
                  <a:pt x="61" y="219"/>
                  <a:pt x="67" y="224"/>
                </a:cubicBezTo>
                <a:cubicBezTo>
                  <a:pt x="54" y="248"/>
                  <a:pt x="54" y="248"/>
                  <a:pt x="54" y="248"/>
                </a:cubicBezTo>
                <a:cubicBezTo>
                  <a:pt x="83" y="265"/>
                  <a:pt x="83" y="265"/>
                  <a:pt x="83" y="265"/>
                </a:cubicBezTo>
                <a:cubicBezTo>
                  <a:pt x="97" y="241"/>
                  <a:pt x="97" y="241"/>
                  <a:pt x="97" y="241"/>
                </a:cubicBezTo>
                <a:cubicBezTo>
                  <a:pt x="104" y="244"/>
                  <a:pt x="112" y="246"/>
                  <a:pt x="120" y="247"/>
                </a:cubicBezTo>
                <a:cubicBezTo>
                  <a:pt x="120" y="275"/>
                  <a:pt x="120" y="275"/>
                  <a:pt x="120" y="275"/>
                </a:cubicBezTo>
                <a:cubicBezTo>
                  <a:pt x="154" y="275"/>
                  <a:pt x="154" y="275"/>
                  <a:pt x="154" y="275"/>
                </a:cubicBezTo>
                <a:cubicBezTo>
                  <a:pt x="154" y="247"/>
                  <a:pt x="154" y="247"/>
                  <a:pt x="154" y="247"/>
                </a:cubicBezTo>
                <a:cubicBezTo>
                  <a:pt x="162" y="246"/>
                  <a:pt x="170" y="244"/>
                  <a:pt x="177" y="241"/>
                </a:cubicBezTo>
                <a:cubicBezTo>
                  <a:pt x="191" y="265"/>
                  <a:pt x="191" y="265"/>
                  <a:pt x="191" y="265"/>
                </a:cubicBezTo>
                <a:cubicBezTo>
                  <a:pt x="221" y="248"/>
                  <a:pt x="221" y="248"/>
                  <a:pt x="221" y="248"/>
                </a:cubicBezTo>
                <a:cubicBezTo>
                  <a:pt x="207" y="224"/>
                  <a:pt x="207" y="224"/>
                  <a:pt x="207" y="224"/>
                </a:cubicBezTo>
                <a:cubicBezTo>
                  <a:pt x="213" y="219"/>
                  <a:pt x="219" y="214"/>
                  <a:pt x="224" y="207"/>
                </a:cubicBezTo>
                <a:cubicBezTo>
                  <a:pt x="247" y="221"/>
                  <a:pt x="247" y="221"/>
                  <a:pt x="247" y="221"/>
                </a:cubicBezTo>
                <a:cubicBezTo>
                  <a:pt x="265" y="191"/>
                  <a:pt x="265" y="191"/>
                  <a:pt x="265" y="191"/>
                </a:cubicBezTo>
                <a:cubicBezTo>
                  <a:pt x="241" y="178"/>
                  <a:pt x="241" y="178"/>
                  <a:pt x="241" y="178"/>
                </a:cubicBezTo>
                <a:cubicBezTo>
                  <a:pt x="244" y="170"/>
                  <a:pt x="246" y="163"/>
                  <a:pt x="247" y="155"/>
                </a:cubicBezTo>
                <a:cubicBezTo>
                  <a:pt x="274" y="155"/>
                  <a:pt x="274" y="155"/>
                  <a:pt x="274" y="155"/>
                </a:cubicBezTo>
                <a:close/>
                <a:moveTo>
                  <a:pt x="137" y="215"/>
                </a:moveTo>
                <a:cubicBezTo>
                  <a:pt x="95" y="215"/>
                  <a:pt x="60" y="180"/>
                  <a:pt x="60" y="137"/>
                </a:cubicBezTo>
                <a:cubicBezTo>
                  <a:pt x="60" y="95"/>
                  <a:pt x="95" y="60"/>
                  <a:pt x="137" y="60"/>
                </a:cubicBezTo>
                <a:cubicBezTo>
                  <a:pt x="180" y="60"/>
                  <a:pt x="214" y="95"/>
                  <a:pt x="214" y="137"/>
                </a:cubicBezTo>
                <a:cubicBezTo>
                  <a:pt x="214" y="180"/>
                  <a:pt x="180" y="215"/>
                  <a:pt x="137" y="215"/>
                </a:cubicBezTo>
                <a:close/>
              </a:path>
            </a:pathLst>
          </a:custGeom>
          <a:solidFill>
            <a:srgbClr val="AFABAB"/>
          </a:solidFill>
          <a:ln>
            <a:noFill/>
          </a:ln>
          <a:effec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228" name="Freeform 227"/>
          <p:cNvSpPr>
            <a:spLocks/>
          </p:cNvSpPr>
          <p:nvPr/>
        </p:nvSpPr>
        <p:spPr bwMode="auto">
          <a:xfrm>
            <a:off x="6378975" y="3145205"/>
            <a:ext cx="381164" cy="383836"/>
          </a:xfrm>
          <a:custGeom>
            <a:avLst/>
            <a:gdLst>
              <a:gd name="T0" fmla="*/ 66 w 141"/>
              <a:gd name="T1" fmla="*/ 135 h 142"/>
              <a:gd name="T2" fmla="*/ 54 w 141"/>
              <a:gd name="T3" fmla="*/ 140 h 142"/>
              <a:gd name="T4" fmla="*/ 49 w 141"/>
              <a:gd name="T5" fmla="*/ 132 h 142"/>
              <a:gd name="T6" fmla="*/ 42 w 141"/>
              <a:gd name="T7" fmla="*/ 129 h 142"/>
              <a:gd name="T8" fmla="*/ 29 w 141"/>
              <a:gd name="T9" fmla="*/ 128 h 142"/>
              <a:gd name="T10" fmla="*/ 28 w 141"/>
              <a:gd name="T11" fmla="*/ 119 h 142"/>
              <a:gd name="T12" fmla="*/ 22 w 141"/>
              <a:gd name="T13" fmla="*/ 114 h 142"/>
              <a:gd name="T14" fmla="*/ 10 w 141"/>
              <a:gd name="T15" fmla="*/ 108 h 142"/>
              <a:gd name="T16" fmla="*/ 12 w 141"/>
              <a:gd name="T17" fmla="*/ 99 h 142"/>
              <a:gd name="T18" fmla="*/ 10 w 141"/>
              <a:gd name="T19" fmla="*/ 92 h 142"/>
              <a:gd name="T20" fmla="*/ 1 w 141"/>
              <a:gd name="T21" fmla="*/ 82 h 142"/>
              <a:gd name="T22" fmla="*/ 6 w 141"/>
              <a:gd name="T23" fmla="*/ 75 h 142"/>
              <a:gd name="T24" fmla="*/ 6 w 141"/>
              <a:gd name="T25" fmla="*/ 67 h 142"/>
              <a:gd name="T26" fmla="*/ 1 w 141"/>
              <a:gd name="T27" fmla="*/ 60 h 142"/>
              <a:gd name="T28" fmla="*/ 10 w 141"/>
              <a:gd name="T29" fmla="*/ 50 h 142"/>
              <a:gd name="T30" fmla="*/ 12 w 141"/>
              <a:gd name="T31" fmla="*/ 43 h 142"/>
              <a:gd name="T32" fmla="*/ 10 w 141"/>
              <a:gd name="T33" fmla="*/ 34 h 142"/>
              <a:gd name="T34" fmla="*/ 22 w 141"/>
              <a:gd name="T35" fmla="*/ 29 h 142"/>
              <a:gd name="T36" fmla="*/ 28 w 141"/>
              <a:gd name="T37" fmla="*/ 23 h 142"/>
              <a:gd name="T38" fmla="*/ 29 w 141"/>
              <a:gd name="T39" fmla="*/ 14 h 142"/>
              <a:gd name="T40" fmla="*/ 42 w 141"/>
              <a:gd name="T41" fmla="*/ 13 h 142"/>
              <a:gd name="T42" fmla="*/ 49 w 141"/>
              <a:gd name="T43" fmla="*/ 10 h 142"/>
              <a:gd name="T44" fmla="*/ 54 w 141"/>
              <a:gd name="T45" fmla="*/ 2 h 142"/>
              <a:gd name="T46" fmla="*/ 66 w 141"/>
              <a:gd name="T47" fmla="*/ 7 h 142"/>
              <a:gd name="T48" fmla="*/ 73 w 141"/>
              <a:gd name="T49" fmla="*/ 0 h 142"/>
              <a:gd name="T50" fmla="*/ 79 w 141"/>
              <a:gd name="T51" fmla="*/ 7 h 142"/>
              <a:gd name="T52" fmla="*/ 87 w 141"/>
              <a:gd name="T53" fmla="*/ 9 h 142"/>
              <a:gd name="T54" fmla="*/ 100 w 141"/>
              <a:gd name="T55" fmla="*/ 7 h 142"/>
              <a:gd name="T56" fmla="*/ 103 w 141"/>
              <a:gd name="T57" fmla="*/ 16 h 142"/>
              <a:gd name="T58" fmla="*/ 109 w 141"/>
              <a:gd name="T59" fmla="*/ 20 h 142"/>
              <a:gd name="T60" fmla="*/ 122 w 141"/>
              <a:gd name="T61" fmla="*/ 23 h 142"/>
              <a:gd name="T62" fmla="*/ 122 w 141"/>
              <a:gd name="T63" fmla="*/ 32 h 142"/>
              <a:gd name="T64" fmla="*/ 126 w 141"/>
              <a:gd name="T65" fmla="*/ 39 h 142"/>
              <a:gd name="T66" fmla="*/ 137 w 141"/>
              <a:gd name="T67" fmla="*/ 47 h 142"/>
              <a:gd name="T68" fmla="*/ 133 w 141"/>
              <a:gd name="T69" fmla="*/ 55 h 142"/>
              <a:gd name="T70" fmla="*/ 134 w 141"/>
              <a:gd name="T71" fmla="*/ 62 h 142"/>
              <a:gd name="T72" fmla="*/ 141 w 141"/>
              <a:gd name="T73" fmla="*/ 71 h 142"/>
              <a:gd name="T74" fmla="*/ 134 w 141"/>
              <a:gd name="T75" fmla="*/ 80 h 142"/>
              <a:gd name="T76" fmla="*/ 133 w 141"/>
              <a:gd name="T77" fmla="*/ 87 h 142"/>
              <a:gd name="T78" fmla="*/ 137 w 141"/>
              <a:gd name="T79" fmla="*/ 95 h 142"/>
              <a:gd name="T80" fmla="*/ 126 w 141"/>
              <a:gd name="T81" fmla="*/ 103 h 142"/>
              <a:gd name="T82" fmla="*/ 122 w 141"/>
              <a:gd name="T83" fmla="*/ 110 h 142"/>
              <a:gd name="T84" fmla="*/ 122 w 141"/>
              <a:gd name="T85" fmla="*/ 119 h 142"/>
              <a:gd name="T86" fmla="*/ 109 w 141"/>
              <a:gd name="T87" fmla="*/ 122 h 142"/>
              <a:gd name="T88" fmla="*/ 103 w 141"/>
              <a:gd name="T89" fmla="*/ 126 h 142"/>
              <a:gd name="T90" fmla="*/ 100 w 141"/>
              <a:gd name="T91" fmla="*/ 135 h 142"/>
              <a:gd name="T92" fmla="*/ 87 w 141"/>
              <a:gd name="T93" fmla="*/ 133 h 142"/>
              <a:gd name="T94" fmla="*/ 79 w 141"/>
              <a:gd name="T95" fmla="*/ 135 h 142"/>
              <a:gd name="T96" fmla="*/ 73 w 141"/>
              <a:gd name="T97" fmla="*/ 142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41" h="142">
                <a:moveTo>
                  <a:pt x="70" y="142"/>
                </a:moveTo>
                <a:cubicBezTo>
                  <a:pt x="69" y="142"/>
                  <a:pt x="68" y="142"/>
                  <a:pt x="67" y="142"/>
                </a:cubicBezTo>
                <a:cubicBezTo>
                  <a:pt x="67" y="135"/>
                  <a:pt x="67" y="135"/>
                  <a:pt x="67" y="135"/>
                </a:cubicBezTo>
                <a:cubicBezTo>
                  <a:pt x="66" y="135"/>
                  <a:pt x="66" y="135"/>
                  <a:pt x="66" y="135"/>
                </a:cubicBezTo>
                <a:cubicBezTo>
                  <a:pt x="65" y="135"/>
                  <a:pt x="63" y="135"/>
                  <a:pt x="62" y="135"/>
                </a:cubicBezTo>
                <a:cubicBezTo>
                  <a:pt x="61" y="135"/>
                  <a:pt x="61" y="135"/>
                  <a:pt x="61" y="135"/>
                </a:cubicBezTo>
                <a:cubicBezTo>
                  <a:pt x="60" y="141"/>
                  <a:pt x="60" y="141"/>
                  <a:pt x="60" y="141"/>
                </a:cubicBezTo>
                <a:cubicBezTo>
                  <a:pt x="58" y="141"/>
                  <a:pt x="56" y="140"/>
                  <a:pt x="54" y="140"/>
                </a:cubicBezTo>
                <a:cubicBezTo>
                  <a:pt x="54" y="133"/>
                  <a:pt x="54" y="133"/>
                  <a:pt x="54" y="133"/>
                </a:cubicBezTo>
                <a:cubicBezTo>
                  <a:pt x="54" y="133"/>
                  <a:pt x="54" y="133"/>
                  <a:pt x="54" y="133"/>
                </a:cubicBezTo>
                <a:cubicBezTo>
                  <a:pt x="52" y="133"/>
                  <a:pt x="51" y="132"/>
                  <a:pt x="50" y="132"/>
                </a:cubicBezTo>
                <a:cubicBezTo>
                  <a:pt x="49" y="132"/>
                  <a:pt x="49" y="132"/>
                  <a:pt x="49" y="132"/>
                </a:cubicBezTo>
                <a:cubicBezTo>
                  <a:pt x="46" y="137"/>
                  <a:pt x="46" y="137"/>
                  <a:pt x="46" y="137"/>
                </a:cubicBezTo>
                <a:cubicBezTo>
                  <a:pt x="44" y="137"/>
                  <a:pt x="42" y="136"/>
                  <a:pt x="41" y="135"/>
                </a:cubicBezTo>
                <a:cubicBezTo>
                  <a:pt x="42" y="129"/>
                  <a:pt x="42" y="129"/>
                  <a:pt x="42" y="129"/>
                </a:cubicBezTo>
                <a:cubicBezTo>
                  <a:pt x="42" y="129"/>
                  <a:pt x="42" y="129"/>
                  <a:pt x="42" y="129"/>
                </a:cubicBezTo>
                <a:cubicBezTo>
                  <a:pt x="41" y="128"/>
                  <a:pt x="39" y="127"/>
                  <a:pt x="38" y="127"/>
                </a:cubicBezTo>
                <a:cubicBezTo>
                  <a:pt x="38" y="126"/>
                  <a:pt x="38" y="126"/>
                  <a:pt x="38" y="126"/>
                </a:cubicBezTo>
                <a:cubicBezTo>
                  <a:pt x="34" y="131"/>
                  <a:pt x="34" y="131"/>
                  <a:pt x="34" y="131"/>
                </a:cubicBezTo>
                <a:cubicBezTo>
                  <a:pt x="32" y="130"/>
                  <a:pt x="30" y="129"/>
                  <a:pt x="29" y="128"/>
                </a:cubicBezTo>
                <a:cubicBezTo>
                  <a:pt x="32" y="122"/>
                  <a:pt x="32" y="122"/>
                  <a:pt x="32" y="122"/>
                </a:cubicBezTo>
                <a:cubicBezTo>
                  <a:pt x="31" y="122"/>
                  <a:pt x="31" y="122"/>
                  <a:pt x="31" y="122"/>
                </a:cubicBezTo>
                <a:cubicBezTo>
                  <a:pt x="30" y="121"/>
                  <a:pt x="29" y="120"/>
                  <a:pt x="28" y="119"/>
                </a:cubicBezTo>
                <a:cubicBezTo>
                  <a:pt x="28" y="119"/>
                  <a:pt x="28" y="119"/>
                  <a:pt x="28" y="119"/>
                </a:cubicBezTo>
                <a:cubicBezTo>
                  <a:pt x="23" y="123"/>
                  <a:pt x="23" y="123"/>
                  <a:pt x="23" y="123"/>
                </a:cubicBezTo>
                <a:cubicBezTo>
                  <a:pt x="21" y="122"/>
                  <a:pt x="20" y="120"/>
                  <a:pt x="18" y="119"/>
                </a:cubicBezTo>
                <a:cubicBezTo>
                  <a:pt x="22" y="114"/>
                  <a:pt x="22" y="114"/>
                  <a:pt x="22" y="114"/>
                </a:cubicBezTo>
                <a:cubicBezTo>
                  <a:pt x="22" y="114"/>
                  <a:pt x="22" y="114"/>
                  <a:pt x="22" y="114"/>
                </a:cubicBezTo>
                <a:cubicBezTo>
                  <a:pt x="21" y="112"/>
                  <a:pt x="20" y="111"/>
                  <a:pt x="19" y="110"/>
                </a:cubicBezTo>
                <a:cubicBezTo>
                  <a:pt x="19" y="110"/>
                  <a:pt x="19" y="110"/>
                  <a:pt x="19" y="110"/>
                </a:cubicBezTo>
                <a:cubicBezTo>
                  <a:pt x="13" y="113"/>
                  <a:pt x="13" y="113"/>
                  <a:pt x="13" y="113"/>
                </a:cubicBezTo>
                <a:cubicBezTo>
                  <a:pt x="12" y="111"/>
                  <a:pt x="11" y="109"/>
                  <a:pt x="10" y="108"/>
                </a:cubicBezTo>
                <a:cubicBezTo>
                  <a:pt x="15" y="104"/>
                  <a:pt x="15" y="104"/>
                  <a:pt x="15" y="104"/>
                </a:cubicBezTo>
                <a:cubicBezTo>
                  <a:pt x="15" y="103"/>
                  <a:pt x="15" y="103"/>
                  <a:pt x="15" y="103"/>
                </a:cubicBezTo>
                <a:cubicBezTo>
                  <a:pt x="14" y="102"/>
                  <a:pt x="13" y="101"/>
                  <a:pt x="13" y="99"/>
                </a:cubicBezTo>
                <a:cubicBezTo>
                  <a:pt x="12" y="99"/>
                  <a:pt x="12" y="99"/>
                  <a:pt x="12" y="99"/>
                </a:cubicBezTo>
                <a:cubicBezTo>
                  <a:pt x="6" y="101"/>
                  <a:pt x="6" y="101"/>
                  <a:pt x="6" y="101"/>
                </a:cubicBezTo>
                <a:cubicBezTo>
                  <a:pt x="5" y="99"/>
                  <a:pt x="5" y="97"/>
                  <a:pt x="4" y="95"/>
                </a:cubicBezTo>
                <a:cubicBezTo>
                  <a:pt x="10" y="92"/>
                  <a:pt x="10" y="92"/>
                  <a:pt x="10" y="92"/>
                </a:cubicBezTo>
                <a:cubicBezTo>
                  <a:pt x="10" y="92"/>
                  <a:pt x="10" y="92"/>
                  <a:pt x="10" y="92"/>
                </a:cubicBezTo>
                <a:cubicBezTo>
                  <a:pt x="9" y="90"/>
                  <a:pt x="9" y="89"/>
                  <a:pt x="8" y="88"/>
                </a:cubicBezTo>
                <a:cubicBezTo>
                  <a:pt x="8" y="87"/>
                  <a:pt x="8" y="87"/>
                  <a:pt x="8" y="87"/>
                </a:cubicBezTo>
                <a:cubicBezTo>
                  <a:pt x="2" y="88"/>
                  <a:pt x="2" y="88"/>
                  <a:pt x="2" y="88"/>
                </a:cubicBezTo>
                <a:cubicBezTo>
                  <a:pt x="1" y="86"/>
                  <a:pt x="1" y="84"/>
                  <a:pt x="1" y="82"/>
                </a:cubicBezTo>
                <a:cubicBezTo>
                  <a:pt x="7" y="80"/>
                  <a:pt x="7" y="80"/>
                  <a:pt x="7" y="80"/>
                </a:cubicBezTo>
                <a:cubicBezTo>
                  <a:pt x="7" y="80"/>
                  <a:pt x="7" y="80"/>
                  <a:pt x="7" y="80"/>
                </a:cubicBezTo>
                <a:cubicBezTo>
                  <a:pt x="6" y="78"/>
                  <a:pt x="6" y="77"/>
                  <a:pt x="6" y="75"/>
                </a:cubicBezTo>
                <a:cubicBezTo>
                  <a:pt x="6" y="75"/>
                  <a:pt x="6" y="75"/>
                  <a:pt x="6" y="75"/>
                </a:cubicBezTo>
                <a:cubicBezTo>
                  <a:pt x="0" y="74"/>
                  <a:pt x="0" y="74"/>
                  <a:pt x="0" y="74"/>
                </a:cubicBezTo>
                <a:cubicBezTo>
                  <a:pt x="0" y="73"/>
                  <a:pt x="0" y="72"/>
                  <a:pt x="0" y="71"/>
                </a:cubicBezTo>
                <a:cubicBezTo>
                  <a:pt x="0" y="70"/>
                  <a:pt x="0" y="69"/>
                  <a:pt x="0" y="68"/>
                </a:cubicBezTo>
                <a:cubicBezTo>
                  <a:pt x="6" y="67"/>
                  <a:pt x="6" y="67"/>
                  <a:pt x="6" y="67"/>
                </a:cubicBezTo>
                <a:cubicBezTo>
                  <a:pt x="6" y="67"/>
                  <a:pt x="6" y="67"/>
                  <a:pt x="6" y="67"/>
                </a:cubicBezTo>
                <a:cubicBezTo>
                  <a:pt x="6" y="65"/>
                  <a:pt x="6" y="64"/>
                  <a:pt x="7" y="62"/>
                </a:cubicBezTo>
                <a:cubicBezTo>
                  <a:pt x="7" y="62"/>
                  <a:pt x="7" y="62"/>
                  <a:pt x="7" y="62"/>
                </a:cubicBezTo>
                <a:cubicBezTo>
                  <a:pt x="1" y="60"/>
                  <a:pt x="1" y="60"/>
                  <a:pt x="1" y="60"/>
                </a:cubicBezTo>
                <a:cubicBezTo>
                  <a:pt x="1" y="58"/>
                  <a:pt x="1" y="56"/>
                  <a:pt x="2" y="54"/>
                </a:cubicBezTo>
                <a:cubicBezTo>
                  <a:pt x="8" y="55"/>
                  <a:pt x="8" y="55"/>
                  <a:pt x="8" y="55"/>
                </a:cubicBezTo>
                <a:cubicBezTo>
                  <a:pt x="8" y="54"/>
                  <a:pt x="8" y="54"/>
                  <a:pt x="8" y="54"/>
                </a:cubicBezTo>
                <a:cubicBezTo>
                  <a:pt x="9" y="53"/>
                  <a:pt x="9" y="52"/>
                  <a:pt x="10" y="50"/>
                </a:cubicBezTo>
                <a:cubicBezTo>
                  <a:pt x="10" y="50"/>
                  <a:pt x="10" y="50"/>
                  <a:pt x="10" y="50"/>
                </a:cubicBezTo>
                <a:cubicBezTo>
                  <a:pt x="4" y="47"/>
                  <a:pt x="4" y="47"/>
                  <a:pt x="4" y="47"/>
                </a:cubicBezTo>
                <a:cubicBezTo>
                  <a:pt x="5" y="45"/>
                  <a:pt x="5" y="43"/>
                  <a:pt x="6" y="41"/>
                </a:cubicBezTo>
                <a:cubicBezTo>
                  <a:pt x="12" y="43"/>
                  <a:pt x="12" y="43"/>
                  <a:pt x="12" y="43"/>
                </a:cubicBezTo>
                <a:cubicBezTo>
                  <a:pt x="13" y="43"/>
                  <a:pt x="13" y="43"/>
                  <a:pt x="13" y="43"/>
                </a:cubicBezTo>
                <a:cubicBezTo>
                  <a:pt x="13" y="41"/>
                  <a:pt x="14" y="40"/>
                  <a:pt x="15" y="39"/>
                </a:cubicBezTo>
                <a:cubicBezTo>
                  <a:pt x="15" y="38"/>
                  <a:pt x="15" y="38"/>
                  <a:pt x="15" y="38"/>
                </a:cubicBezTo>
                <a:cubicBezTo>
                  <a:pt x="10" y="34"/>
                  <a:pt x="10" y="34"/>
                  <a:pt x="10" y="34"/>
                </a:cubicBezTo>
                <a:cubicBezTo>
                  <a:pt x="11" y="33"/>
                  <a:pt x="12" y="31"/>
                  <a:pt x="13" y="29"/>
                </a:cubicBezTo>
                <a:cubicBezTo>
                  <a:pt x="19" y="32"/>
                  <a:pt x="19" y="32"/>
                  <a:pt x="19" y="32"/>
                </a:cubicBezTo>
                <a:cubicBezTo>
                  <a:pt x="19" y="32"/>
                  <a:pt x="19" y="32"/>
                  <a:pt x="19" y="32"/>
                </a:cubicBezTo>
                <a:cubicBezTo>
                  <a:pt x="20" y="31"/>
                  <a:pt x="21" y="30"/>
                  <a:pt x="22" y="29"/>
                </a:cubicBezTo>
                <a:cubicBezTo>
                  <a:pt x="22" y="28"/>
                  <a:pt x="22" y="28"/>
                  <a:pt x="22" y="28"/>
                </a:cubicBezTo>
                <a:cubicBezTo>
                  <a:pt x="18" y="23"/>
                  <a:pt x="18" y="23"/>
                  <a:pt x="18" y="23"/>
                </a:cubicBezTo>
                <a:cubicBezTo>
                  <a:pt x="20" y="22"/>
                  <a:pt x="21" y="20"/>
                  <a:pt x="23" y="19"/>
                </a:cubicBezTo>
                <a:cubicBezTo>
                  <a:pt x="28" y="23"/>
                  <a:pt x="28" y="23"/>
                  <a:pt x="28" y="23"/>
                </a:cubicBezTo>
                <a:cubicBezTo>
                  <a:pt x="28" y="23"/>
                  <a:pt x="28" y="23"/>
                  <a:pt x="28" y="23"/>
                </a:cubicBezTo>
                <a:cubicBezTo>
                  <a:pt x="29" y="22"/>
                  <a:pt x="30" y="21"/>
                  <a:pt x="31" y="20"/>
                </a:cubicBezTo>
                <a:cubicBezTo>
                  <a:pt x="32" y="20"/>
                  <a:pt x="32" y="20"/>
                  <a:pt x="32" y="20"/>
                </a:cubicBezTo>
                <a:cubicBezTo>
                  <a:pt x="29" y="14"/>
                  <a:pt x="29" y="14"/>
                  <a:pt x="29" y="14"/>
                </a:cubicBezTo>
                <a:cubicBezTo>
                  <a:pt x="30" y="13"/>
                  <a:pt x="32" y="12"/>
                  <a:pt x="34" y="11"/>
                </a:cubicBezTo>
                <a:cubicBezTo>
                  <a:pt x="38" y="16"/>
                  <a:pt x="38" y="16"/>
                  <a:pt x="38" y="16"/>
                </a:cubicBezTo>
                <a:cubicBezTo>
                  <a:pt x="38" y="15"/>
                  <a:pt x="38" y="15"/>
                  <a:pt x="38" y="15"/>
                </a:cubicBezTo>
                <a:cubicBezTo>
                  <a:pt x="39" y="15"/>
                  <a:pt x="41" y="14"/>
                  <a:pt x="42" y="13"/>
                </a:cubicBezTo>
                <a:cubicBezTo>
                  <a:pt x="42" y="13"/>
                  <a:pt x="42" y="13"/>
                  <a:pt x="42" y="13"/>
                </a:cubicBezTo>
                <a:cubicBezTo>
                  <a:pt x="41" y="7"/>
                  <a:pt x="41" y="7"/>
                  <a:pt x="41" y="7"/>
                </a:cubicBezTo>
                <a:cubicBezTo>
                  <a:pt x="42" y="6"/>
                  <a:pt x="44" y="5"/>
                  <a:pt x="46" y="5"/>
                </a:cubicBezTo>
                <a:cubicBezTo>
                  <a:pt x="49" y="10"/>
                  <a:pt x="49" y="10"/>
                  <a:pt x="49" y="10"/>
                </a:cubicBezTo>
                <a:cubicBezTo>
                  <a:pt x="50" y="10"/>
                  <a:pt x="50" y="10"/>
                  <a:pt x="50" y="10"/>
                </a:cubicBezTo>
                <a:cubicBezTo>
                  <a:pt x="51" y="10"/>
                  <a:pt x="52" y="9"/>
                  <a:pt x="54" y="9"/>
                </a:cubicBezTo>
                <a:cubicBezTo>
                  <a:pt x="54" y="9"/>
                  <a:pt x="54" y="9"/>
                  <a:pt x="54" y="9"/>
                </a:cubicBezTo>
                <a:cubicBezTo>
                  <a:pt x="54" y="2"/>
                  <a:pt x="54" y="2"/>
                  <a:pt x="54" y="2"/>
                </a:cubicBezTo>
                <a:cubicBezTo>
                  <a:pt x="56" y="2"/>
                  <a:pt x="58" y="1"/>
                  <a:pt x="60" y="1"/>
                </a:cubicBezTo>
                <a:cubicBezTo>
                  <a:pt x="61" y="7"/>
                  <a:pt x="61" y="7"/>
                  <a:pt x="61" y="7"/>
                </a:cubicBezTo>
                <a:cubicBezTo>
                  <a:pt x="62" y="7"/>
                  <a:pt x="62" y="7"/>
                  <a:pt x="62" y="7"/>
                </a:cubicBezTo>
                <a:cubicBezTo>
                  <a:pt x="63" y="7"/>
                  <a:pt x="65" y="7"/>
                  <a:pt x="66" y="7"/>
                </a:cubicBezTo>
                <a:cubicBezTo>
                  <a:pt x="67" y="7"/>
                  <a:pt x="67" y="7"/>
                  <a:pt x="67" y="7"/>
                </a:cubicBezTo>
                <a:cubicBezTo>
                  <a:pt x="67" y="0"/>
                  <a:pt x="67" y="0"/>
                  <a:pt x="67" y="0"/>
                </a:cubicBezTo>
                <a:cubicBezTo>
                  <a:pt x="68" y="0"/>
                  <a:pt x="69" y="0"/>
                  <a:pt x="70" y="0"/>
                </a:cubicBezTo>
                <a:cubicBezTo>
                  <a:pt x="71" y="0"/>
                  <a:pt x="72" y="0"/>
                  <a:pt x="73" y="0"/>
                </a:cubicBezTo>
                <a:cubicBezTo>
                  <a:pt x="74" y="7"/>
                  <a:pt x="74" y="7"/>
                  <a:pt x="74" y="7"/>
                </a:cubicBezTo>
                <a:cubicBezTo>
                  <a:pt x="74" y="7"/>
                  <a:pt x="74" y="7"/>
                  <a:pt x="74" y="7"/>
                </a:cubicBezTo>
                <a:cubicBezTo>
                  <a:pt x="76" y="7"/>
                  <a:pt x="77" y="7"/>
                  <a:pt x="79" y="7"/>
                </a:cubicBezTo>
                <a:cubicBezTo>
                  <a:pt x="79" y="7"/>
                  <a:pt x="79" y="7"/>
                  <a:pt x="79" y="7"/>
                </a:cubicBezTo>
                <a:cubicBezTo>
                  <a:pt x="81" y="1"/>
                  <a:pt x="81" y="1"/>
                  <a:pt x="81" y="1"/>
                </a:cubicBezTo>
                <a:cubicBezTo>
                  <a:pt x="83" y="1"/>
                  <a:pt x="85" y="2"/>
                  <a:pt x="87" y="2"/>
                </a:cubicBezTo>
                <a:cubicBezTo>
                  <a:pt x="87" y="9"/>
                  <a:pt x="87" y="9"/>
                  <a:pt x="87" y="9"/>
                </a:cubicBezTo>
                <a:cubicBezTo>
                  <a:pt x="87" y="9"/>
                  <a:pt x="87" y="9"/>
                  <a:pt x="87" y="9"/>
                </a:cubicBezTo>
                <a:cubicBezTo>
                  <a:pt x="88" y="9"/>
                  <a:pt x="90" y="10"/>
                  <a:pt x="91" y="10"/>
                </a:cubicBezTo>
                <a:cubicBezTo>
                  <a:pt x="92" y="10"/>
                  <a:pt x="92" y="10"/>
                  <a:pt x="92" y="10"/>
                </a:cubicBezTo>
                <a:cubicBezTo>
                  <a:pt x="95" y="5"/>
                  <a:pt x="95" y="5"/>
                  <a:pt x="95" y="5"/>
                </a:cubicBezTo>
                <a:cubicBezTo>
                  <a:pt x="96" y="5"/>
                  <a:pt x="98" y="6"/>
                  <a:pt x="100" y="7"/>
                </a:cubicBezTo>
                <a:cubicBezTo>
                  <a:pt x="98" y="13"/>
                  <a:pt x="98" y="13"/>
                  <a:pt x="98" y="13"/>
                </a:cubicBezTo>
                <a:cubicBezTo>
                  <a:pt x="99" y="13"/>
                  <a:pt x="99" y="13"/>
                  <a:pt x="99" y="13"/>
                </a:cubicBezTo>
                <a:cubicBezTo>
                  <a:pt x="100" y="14"/>
                  <a:pt x="101" y="15"/>
                  <a:pt x="103" y="15"/>
                </a:cubicBezTo>
                <a:cubicBezTo>
                  <a:pt x="103" y="16"/>
                  <a:pt x="103" y="16"/>
                  <a:pt x="103" y="16"/>
                </a:cubicBezTo>
                <a:cubicBezTo>
                  <a:pt x="107" y="11"/>
                  <a:pt x="107" y="11"/>
                  <a:pt x="107" y="11"/>
                </a:cubicBezTo>
                <a:cubicBezTo>
                  <a:pt x="109" y="12"/>
                  <a:pt x="111" y="13"/>
                  <a:pt x="112" y="14"/>
                </a:cubicBezTo>
                <a:cubicBezTo>
                  <a:pt x="109" y="20"/>
                  <a:pt x="109" y="20"/>
                  <a:pt x="109" y="20"/>
                </a:cubicBezTo>
                <a:cubicBezTo>
                  <a:pt x="109" y="20"/>
                  <a:pt x="109" y="20"/>
                  <a:pt x="109" y="20"/>
                </a:cubicBezTo>
                <a:cubicBezTo>
                  <a:pt x="111" y="21"/>
                  <a:pt x="112" y="22"/>
                  <a:pt x="113" y="23"/>
                </a:cubicBezTo>
                <a:cubicBezTo>
                  <a:pt x="113" y="23"/>
                  <a:pt x="113" y="23"/>
                  <a:pt x="113" y="23"/>
                </a:cubicBezTo>
                <a:cubicBezTo>
                  <a:pt x="118" y="19"/>
                  <a:pt x="118" y="19"/>
                  <a:pt x="118" y="19"/>
                </a:cubicBezTo>
                <a:cubicBezTo>
                  <a:pt x="120" y="20"/>
                  <a:pt x="121" y="22"/>
                  <a:pt x="122" y="23"/>
                </a:cubicBezTo>
                <a:cubicBezTo>
                  <a:pt x="118" y="28"/>
                  <a:pt x="118" y="28"/>
                  <a:pt x="118" y="28"/>
                </a:cubicBezTo>
                <a:cubicBezTo>
                  <a:pt x="119" y="29"/>
                  <a:pt x="119" y="29"/>
                  <a:pt x="119" y="29"/>
                </a:cubicBezTo>
                <a:cubicBezTo>
                  <a:pt x="120" y="30"/>
                  <a:pt x="121" y="31"/>
                  <a:pt x="121" y="32"/>
                </a:cubicBezTo>
                <a:cubicBezTo>
                  <a:pt x="122" y="32"/>
                  <a:pt x="122" y="32"/>
                  <a:pt x="122" y="32"/>
                </a:cubicBezTo>
                <a:cubicBezTo>
                  <a:pt x="127" y="29"/>
                  <a:pt x="127" y="29"/>
                  <a:pt x="127" y="29"/>
                </a:cubicBezTo>
                <a:cubicBezTo>
                  <a:pt x="129" y="31"/>
                  <a:pt x="130" y="33"/>
                  <a:pt x="131" y="34"/>
                </a:cubicBezTo>
                <a:cubicBezTo>
                  <a:pt x="126" y="38"/>
                  <a:pt x="126" y="38"/>
                  <a:pt x="126" y="38"/>
                </a:cubicBezTo>
                <a:cubicBezTo>
                  <a:pt x="126" y="39"/>
                  <a:pt x="126" y="39"/>
                  <a:pt x="126" y="39"/>
                </a:cubicBezTo>
                <a:cubicBezTo>
                  <a:pt x="127" y="40"/>
                  <a:pt x="128" y="41"/>
                  <a:pt x="128" y="43"/>
                </a:cubicBezTo>
                <a:cubicBezTo>
                  <a:pt x="128" y="43"/>
                  <a:pt x="128" y="43"/>
                  <a:pt x="128" y="43"/>
                </a:cubicBezTo>
                <a:cubicBezTo>
                  <a:pt x="134" y="41"/>
                  <a:pt x="134" y="41"/>
                  <a:pt x="134" y="41"/>
                </a:cubicBezTo>
                <a:cubicBezTo>
                  <a:pt x="135" y="43"/>
                  <a:pt x="136" y="45"/>
                  <a:pt x="137" y="47"/>
                </a:cubicBezTo>
                <a:cubicBezTo>
                  <a:pt x="131" y="50"/>
                  <a:pt x="131" y="50"/>
                  <a:pt x="131" y="50"/>
                </a:cubicBezTo>
                <a:cubicBezTo>
                  <a:pt x="131" y="50"/>
                  <a:pt x="131" y="50"/>
                  <a:pt x="131" y="50"/>
                </a:cubicBezTo>
                <a:cubicBezTo>
                  <a:pt x="132" y="52"/>
                  <a:pt x="132" y="53"/>
                  <a:pt x="133" y="54"/>
                </a:cubicBezTo>
                <a:cubicBezTo>
                  <a:pt x="133" y="55"/>
                  <a:pt x="133" y="55"/>
                  <a:pt x="133" y="55"/>
                </a:cubicBezTo>
                <a:cubicBezTo>
                  <a:pt x="139" y="54"/>
                  <a:pt x="139" y="54"/>
                  <a:pt x="139" y="54"/>
                </a:cubicBezTo>
                <a:cubicBezTo>
                  <a:pt x="140" y="56"/>
                  <a:pt x="140" y="58"/>
                  <a:pt x="140" y="60"/>
                </a:cubicBezTo>
                <a:cubicBezTo>
                  <a:pt x="134" y="62"/>
                  <a:pt x="134" y="62"/>
                  <a:pt x="134" y="62"/>
                </a:cubicBezTo>
                <a:cubicBezTo>
                  <a:pt x="134" y="62"/>
                  <a:pt x="134" y="62"/>
                  <a:pt x="134" y="62"/>
                </a:cubicBezTo>
                <a:cubicBezTo>
                  <a:pt x="134" y="64"/>
                  <a:pt x="134" y="65"/>
                  <a:pt x="135" y="67"/>
                </a:cubicBezTo>
                <a:cubicBezTo>
                  <a:pt x="135" y="67"/>
                  <a:pt x="135" y="67"/>
                  <a:pt x="135" y="67"/>
                </a:cubicBezTo>
                <a:cubicBezTo>
                  <a:pt x="141" y="68"/>
                  <a:pt x="141" y="68"/>
                  <a:pt x="141" y="68"/>
                </a:cubicBezTo>
                <a:cubicBezTo>
                  <a:pt x="141" y="69"/>
                  <a:pt x="141" y="70"/>
                  <a:pt x="141" y="71"/>
                </a:cubicBezTo>
                <a:cubicBezTo>
                  <a:pt x="141" y="72"/>
                  <a:pt x="141" y="73"/>
                  <a:pt x="141" y="74"/>
                </a:cubicBezTo>
                <a:cubicBezTo>
                  <a:pt x="135" y="75"/>
                  <a:pt x="135" y="75"/>
                  <a:pt x="135" y="75"/>
                </a:cubicBezTo>
                <a:cubicBezTo>
                  <a:pt x="135" y="75"/>
                  <a:pt x="135" y="75"/>
                  <a:pt x="135" y="75"/>
                </a:cubicBezTo>
                <a:cubicBezTo>
                  <a:pt x="134" y="77"/>
                  <a:pt x="134" y="78"/>
                  <a:pt x="134" y="80"/>
                </a:cubicBezTo>
                <a:cubicBezTo>
                  <a:pt x="134" y="80"/>
                  <a:pt x="134" y="80"/>
                  <a:pt x="134" y="80"/>
                </a:cubicBezTo>
                <a:cubicBezTo>
                  <a:pt x="140" y="82"/>
                  <a:pt x="140" y="82"/>
                  <a:pt x="140" y="82"/>
                </a:cubicBezTo>
                <a:cubicBezTo>
                  <a:pt x="140" y="84"/>
                  <a:pt x="140" y="86"/>
                  <a:pt x="139" y="88"/>
                </a:cubicBezTo>
                <a:cubicBezTo>
                  <a:pt x="133" y="87"/>
                  <a:pt x="133" y="87"/>
                  <a:pt x="133" y="87"/>
                </a:cubicBezTo>
                <a:cubicBezTo>
                  <a:pt x="133" y="88"/>
                  <a:pt x="133" y="88"/>
                  <a:pt x="133" y="88"/>
                </a:cubicBezTo>
                <a:cubicBezTo>
                  <a:pt x="132" y="89"/>
                  <a:pt x="132" y="90"/>
                  <a:pt x="131" y="92"/>
                </a:cubicBezTo>
                <a:cubicBezTo>
                  <a:pt x="131" y="92"/>
                  <a:pt x="131" y="92"/>
                  <a:pt x="131" y="92"/>
                </a:cubicBezTo>
                <a:cubicBezTo>
                  <a:pt x="137" y="95"/>
                  <a:pt x="137" y="95"/>
                  <a:pt x="137" y="95"/>
                </a:cubicBezTo>
                <a:cubicBezTo>
                  <a:pt x="136" y="97"/>
                  <a:pt x="135" y="99"/>
                  <a:pt x="134" y="101"/>
                </a:cubicBezTo>
                <a:cubicBezTo>
                  <a:pt x="128" y="99"/>
                  <a:pt x="128" y="99"/>
                  <a:pt x="128" y="99"/>
                </a:cubicBezTo>
                <a:cubicBezTo>
                  <a:pt x="128" y="99"/>
                  <a:pt x="128" y="99"/>
                  <a:pt x="128" y="99"/>
                </a:cubicBezTo>
                <a:cubicBezTo>
                  <a:pt x="128" y="101"/>
                  <a:pt x="127" y="102"/>
                  <a:pt x="126" y="103"/>
                </a:cubicBezTo>
                <a:cubicBezTo>
                  <a:pt x="126" y="104"/>
                  <a:pt x="126" y="104"/>
                  <a:pt x="126" y="104"/>
                </a:cubicBezTo>
                <a:cubicBezTo>
                  <a:pt x="131" y="108"/>
                  <a:pt x="131" y="108"/>
                  <a:pt x="131" y="108"/>
                </a:cubicBezTo>
                <a:cubicBezTo>
                  <a:pt x="130" y="109"/>
                  <a:pt x="129" y="111"/>
                  <a:pt x="127" y="113"/>
                </a:cubicBezTo>
                <a:cubicBezTo>
                  <a:pt x="122" y="110"/>
                  <a:pt x="122" y="110"/>
                  <a:pt x="122" y="110"/>
                </a:cubicBezTo>
                <a:cubicBezTo>
                  <a:pt x="121" y="110"/>
                  <a:pt x="121" y="110"/>
                  <a:pt x="121" y="110"/>
                </a:cubicBezTo>
                <a:cubicBezTo>
                  <a:pt x="121" y="111"/>
                  <a:pt x="120" y="112"/>
                  <a:pt x="119" y="114"/>
                </a:cubicBezTo>
                <a:cubicBezTo>
                  <a:pt x="118" y="114"/>
                  <a:pt x="118" y="114"/>
                  <a:pt x="118" y="114"/>
                </a:cubicBezTo>
                <a:cubicBezTo>
                  <a:pt x="122" y="119"/>
                  <a:pt x="122" y="119"/>
                  <a:pt x="122" y="119"/>
                </a:cubicBezTo>
                <a:cubicBezTo>
                  <a:pt x="121" y="120"/>
                  <a:pt x="120" y="122"/>
                  <a:pt x="118" y="123"/>
                </a:cubicBezTo>
                <a:cubicBezTo>
                  <a:pt x="113" y="119"/>
                  <a:pt x="113" y="119"/>
                  <a:pt x="113" y="119"/>
                </a:cubicBezTo>
                <a:cubicBezTo>
                  <a:pt x="113" y="119"/>
                  <a:pt x="113" y="119"/>
                  <a:pt x="113" y="119"/>
                </a:cubicBezTo>
                <a:cubicBezTo>
                  <a:pt x="112" y="120"/>
                  <a:pt x="111" y="121"/>
                  <a:pt x="109" y="122"/>
                </a:cubicBezTo>
                <a:cubicBezTo>
                  <a:pt x="109" y="122"/>
                  <a:pt x="109" y="122"/>
                  <a:pt x="109" y="122"/>
                </a:cubicBezTo>
                <a:cubicBezTo>
                  <a:pt x="112" y="128"/>
                  <a:pt x="112" y="128"/>
                  <a:pt x="112" y="128"/>
                </a:cubicBezTo>
                <a:cubicBezTo>
                  <a:pt x="111" y="129"/>
                  <a:pt x="109" y="130"/>
                  <a:pt x="107" y="131"/>
                </a:cubicBezTo>
                <a:cubicBezTo>
                  <a:pt x="103" y="126"/>
                  <a:pt x="103" y="126"/>
                  <a:pt x="103" y="126"/>
                </a:cubicBezTo>
                <a:cubicBezTo>
                  <a:pt x="103" y="127"/>
                  <a:pt x="103" y="127"/>
                  <a:pt x="103" y="127"/>
                </a:cubicBezTo>
                <a:cubicBezTo>
                  <a:pt x="101" y="127"/>
                  <a:pt x="100" y="128"/>
                  <a:pt x="99" y="129"/>
                </a:cubicBezTo>
                <a:cubicBezTo>
                  <a:pt x="98" y="129"/>
                  <a:pt x="98" y="129"/>
                  <a:pt x="98" y="129"/>
                </a:cubicBezTo>
                <a:cubicBezTo>
                  <a:pt x="100" y="135"/>
                  <a:pt x="100" y="135"/>
                  <a:pt x="100" y="135"/>
                </a:cubicBezTo>
                <a:cubicBezTo>
                  <a:pt x="98" y="136"/>
                  <a:pt x="96" y="137"/>
                  <a:pt x="95" y="137"/>
                </a:cubicBezTo>
                <a:cubicBezTo>
                  <a:pt x="92" y="132"/>
                  <a:pt x="92" y="132"/>
                  <a:pt x="92" y="132"/>
                </a:cubicBezTo>
                <a:cubicBezTo>
                  <a:pt x="91" y="132"/>
                  <a:pt x="91" y="132"/>
                  <a:pt x="91" y="132"/>
                </a:cubicBezTo>
                <a:cubicBezTo>
                  <a:pt x="90" y="132"/>
                  <a:pt x="88" y="133"/>
                  <a:pt x="87" y="133"/>
                </a:cubicBezTo>
                <a:cubicBezTo>
                  <a:pt x="87" y="133"/>
                  <a:pt x="87" y="133"/>
                  <a:pt x="87" y="133"/>
                </a:cubicBezTo>
                <a:cubicBezTo>
                  <a:pt x="87" y="140"/>
                  <a:pt x="87" y="140"/>
                  <a:pt x="87" y="140"/>
                </a:cubicBezTo>
                <a:cubicBezTo>
                  <a:pt x="85" y="140"/>
                  <a:pt x="83" y="141"/>
                  <a:pt x="81" y="141"/>
                </a:cubicBezTo>
                <a:cubicBezTo>
                  <a:pt x="79" y="135"/>
                  <a:pt x="79" y="135"/>
                  <a:pt x="79" y="135"/>
                </a:cubicBezTo>
                <a:cubicBezTo>
                  <a:pt x="79" y="135"/>
                  <a:pt x="79" y="135"/>
                  <a:pt x="79" y="135"/>
                </a:cubicBezTo>
                <a:cubicBezTo>
                  <a:pt x="77" y="135"/>
                  <a:pt x="76" y="135"/>
                  <a:pt x="74" y="135"/>
                </a:cubicBezTo>
                <a:cubicBezTo>
                  <a:pt x="74" y="135"/>
                  <a:pt x="74" y="135"/>
                  <a:pt x="74" y="135"/>
                </a:cubicBezTo>
                <a:cubicBezTo>
                  <a:pt x="73" y="142"/>
                  <a:pt x="73" y="142"/>
                  <a:pt x="73" y="142"/>
                </a:cubicBezTo>
                <a:cubicBezTo>
                  <a:pt x="72" y="142"/>
                  <a:pt x="71" y="142"/>
                  <a:pt x="70" y="142"/>
                </a:cubicBezTo>
                <a:close/>
              </a:path>
            </a:pathLst>
          </a:custGeom>
          <a:solidFill>
            <a:srgbClr val="AFABAB"/>
          </a:solidFill>
          <a:ln>
            <a:noFill/>
          </a:ln>
          <a:effec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229" name="Freeform 6"/>
          <p:cNvSpPr>
            <a:spLocks/>
          </p:cNvSpPr>
          <p:nvPr/>
        </p:nvSpPr>
        <p:spPr bwMode="auto">
          <a:xfrm>
            <a:off x="5443759" y="5243255"/>
            <a:ext cx="1289034" cy="182998"/>
          </a:xfrm>
          <a:custGeom>
            <a:avLst/>
            <a:gdLst>
              <a:gd name="T0" fmla="*/ 52 w 56"/>
              <a:gd name="T1" fmla="*/ 0 h 8"/>
              <a:gd name="T2" fmla="*/ 4 w 56"/>
              <a:gd name="T3" fmla="*/ 0 h 8"/>
              <a:gd name="T4" fmla="*/ 0 w 56"/>
              <a:gd name="T5" fmla="*/ 4 h 8"/>
              <a:gd name="T6" fmla="*/ 4 w 56"/>
              <a:gd name="T7" fmla="*/ 8 h 8"/>
              <a:gd name="T8" fmla="*/ 52 w 56"/>
              <a:gd name="T9" fmla="*/ 8 h 8"/>
              <a:gd name="T10" fmla="*/ 56 w 56"/>
              <a:gd name="T11" fmla="*/ 4 h 8"/>
              <a:gd name="T12" fmla="*/ 52 w 5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56" h="8">
                <a:moveTo>
                  <a:pt x="52" y="0"/>
                </a:moveTo>
                <a:cubicBezTo>
                  <a:pt x="4" y="0"/>
                  <a:pt x="4" y="0"/>
                  <a:pt x="4" y="0"/>
                </a:cubicBezTo>
                <a:cubicBezTo>
                  <a:pt x="2" y="0"/>
                  <a:pt x="0" y="2"/>
                  <a:pt x="0" y="4"/>
                </a:cubicBezTo>
                <a:cubicBezTo>
                  <a:pt x="0" y="6"/>
                  <a:pt x="2" y="8"/>
                  <a:pt x="4" y="8"/>
                </a:cubicBezTo>
                <a:cubicBezTo>
                  <a:pt x="52" y="8"/>
                  <a:pt x="52" y="8"/>
                  <a:pt x="52" y="8"/>
                </a:cubicBezTo>
                <a:cubicBezTo>
                  <a:pt x="54" y="8"/>
                  <a:pt x="56" y="6"/>
                  <a:pt x="56" y="4"/>
                </a:cubicBezTo>
                <a:cubicBezTo>
                  <a:pt x="56" y="2"/>
                  <a:pt x="54" y="0"/>
                  <a:pt x="52" y="0"/>
                </a:cubicBezTo>
                <a:close/>
              </a:path>
            </a:pathLst>
          </a:custGeom>
          <a:solidFill>
            <a:srgbClr val="AFABAB"/>
          </a:solidFill>
          <a:ln>
            <a:noFill/>
          </a:ln>
          <a:effec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230" name="Freeform 7"/>
          <p:cNvSpPr>
            <a:spLocks/>
          </p:cNvSpPr>
          <p:nvPr/>
        </p:nvSpPr>
        <p:spPr bwMode="auto">
          <a:xfrm>
            <a:off x="5443759" y="5609252"/>
            <a:ext cx="1289034" cy="182998"/>
          </a:xfrm>
          <a:custGeom>
            <a:avLst/>
            <a:gdLst>
              <a:gd name="T0" fmla="*/ 52 w 56"/>
              <a:gd name="T1" fmla="*/ 0 h 8"/>
              <a:gd name="T2" fmla="*/ 4 w 56"/>
              <a:gd name="T3" fmla="*/ 0 h 8"/>
              <a:gd name="T4" fmla="*/ 0 w 56"/>
              <a:gd name="T5" fmla="*/ 4 h 8"/>
              <a:gd name="T6" fmla="*/ 4 w 56"/>
              <a:gd name="T7" fmla="*/ 8 h 8"/>
              <a:gd name="T8" fmla="*/ 52 w 56"/>
              <a:gd name="T9" fmla="*/ 8 h 8"/>
              <a:gd name="T10" fmla="*/ 56 w 56"/>
              <a:gd name="T11" fmla="*/ 4 h 8"/>
              <a:gd name="T12" fmla="*/ 52 w 5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56" h="8">
                <a:moveTo>
                  <a:pt x="52" y="0"/>
                </a:moveTo>
                <a:cubicBezTo>
                  <a:pt x="4" y="0"/>
                  <a:pt x="4" y="0"/>
                  <a:pt x="4" y="0"/>
                </a:cubicBezTo>
                <a:cubicBezTo>
                  <a:pt x="2" y="0"/>
                  <a:pt x="0" y="2"/>
                  <a:pt x="0" y="4"/>
                </a:cubicBezTo>
                <a:cubicBezTo>
                  <a:pt x="0" y="6"/>
                  <a:pt x="2" y="8"/>
                  <a:pt x="4" y="8"/>
                </a:cubicBezTo>
                <a:cubicBezTo>
                  <a:pt x="52" y="8"/>
                  <a:pt x="52" y="8"/>
                  <a:pt x="52" y="8"/>
                </a:cubicBezTo>
                <a:cubicBezTo>
                  <a:pt x="54" y="8"/>
                  <a:pt x="56" y="6"/>
                  <a:pt x="56" y="4"/>
                </a:cubicBezTo>
                <a:cubicBezTo>
                  <a:pt x="56" y="2"/>
                  <a:pt x="54" y="0"/>
                  <a:pt x="52" y="0"/>
                </a:cubicBezTo>
                <a:close/>
              </a:path>
            </a:pathLst>
          </a:custGeom>
          <a:solidFill>
            <a:srgbClr val="AFABAB"/>
          </a:solidFill>
          <a:ln>
            <a:noFill/>
          </a:ln>
          <a:effec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231" name="Freeform 8"/>
          <p:cNvSpPr>
            <a:spLocks/>
          </p:cNvSpPr>
          <p:nvPr/>
        </p:nvSpPr>
        <p:spPr bwMode="auto">
          <a:xfrm>
            <a:off x="5443759" y="5977261"/>
            <a:ext cx="1289034" cy="548994"/>
          </a:xfrm>
          <a:custGeom>
            <a:avLst/>
            <a:gdLst>
              <a:gd name="T0" fmla="*/ 52 w 56"/>
              <a:gd name="T1" fmla="*/ 0 h 24"/>
              <a:gd name="T2" fmla="*/ 4 w 56"/>
              <a:gd name="T3" fmla="*/ 0 h 24"/>
              <a:gd name="T4" fmla="*/ 0 w 56"/>
              <a:gd name="T5" fmla="*/ 4 h 24"/>
              <a:gd name="T6" fmla="*/ 4 w 56"/>
              <a:gd name="T7" fmla="*/ 8 h 24"/>
              <a:gd name="T8" fmla="*/ 24 w 56"/>
              <a:gd name="T9" fmla="*/ 8 h 24"/>
              <a:gd name="T10" fmla="*/ 24 w 56"/>
              <a:gd name="T11" fmla="*/ 20 h 24"/>
              <a:gd name="T12" fmla="*/ 28 w 56"/>
              <a:gd name="T13" fmla="*/ 24 h 24"/>
              <a:gd name="T14" fmla="*/ 32 w 56"/>
              <a:gd name="T15" fmla="*/ 20 h 24"/>
              <a:gd name="T16" fmla="*/ 32 w 56"/>
              <a:gd name="T17" fmla="*/ 8 h 24"/>
              <a:gd name="T18" fmla="*/ 52 w 56"/>
              <a:gd name="T19" fmla="*/ 8 h 24"/>
              <a:gd name="T20" fmla="*/ 56 w 56"/>
              <a:gd name="T21" fmla="*/ 4 h 24"/>
              <a:gd name="T22" fmla="*/ 52 w 56"/>
              <a:gd name="T23"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24">
                <a:moveTo>
                  <a:pt x="52" y="0"/>
                </a:moveTo>
                <a:cubicBezTo>
                  <a:pt x="4" y="0"/>
                  <a:pt x="4" y="0"/>
                  <a:pt x="4" y="0"/>
                </a:cubicBezTo>
                <a:cubicBezTo>
                  <a:pt x="2" y="0"/>
                  <a:pt x="0" y="2"/>
                  <a:pt x="0" y="4"/>
                </a:cubicBezTo>
                <a:cubicBezTo>
                  <a:pt x="0" y="6"/>
                  <a:pt x="2" y="8"/>
                  <a:pt x="4" y="8"/>
                </a:cubicBezTo>
                <a:cubicBezTo>
                  <a:pt x="24" y="8"/>
                  <a:pt x="24" y="8"/>
                  <a:pt x="24" y="8"/>
                </a:cubicBezTo>
                <a:cubicBezTo>
                  <a:pt x="24" y="20"/>
                  <a:pt x="24" y="20"/>
                  <a:pt x="24" y="20"/>
                </a:cubicBezTo>
                <a:cubicBezTo>
                  <a:pt x="24" y="22"/>
                  <a:pt x="26" y="24"/>
                  <a:pt x="28" y="24"/>
                </a:cubicBezTo>
                <a:cubicBezTo>
                  <a:pt x="30" y="24"/>
                  <a:pt x="32" y="22"/>
                  <a:pt x="32" y="20"/>
                </a:cubicBezTo>
                <a:cubicBezTo>
                  <a:pt x="32" y="8"/>
                  <a:pt x="32" y="8"/>
                  <a:pt x="32" y="8"/>
                </a:cubicBezTo>
                <a:cubicBezTo>
                  <a:pt x="52" y="8"/>
                  <a:pt x="52" y="8"/>
                  <a:pt x="52" y="8"/>
                </a:cubicBezTo>
                <a:cubicBezTo>
                  <a:pt x="54" y="8"/>
                  <a:pt x="56" y="6"/>
                  <a:pt x="56" y="4"/>
                </a:cubicBezTo>
                <a:cubicBezTo>
                  <a:pt x="56" y="2"/>
                  <a:pt x="54" y="0"/>
                  <a:pt x="52" y="0"/>
                </a:cubicBezTo>
                <a:close/>
              </a:path>
            </a:pathLst>
          </a:custGeom>
          <a:solidFill>
            <a:srgbClr val="AFABAB"/>
          </a:solidFill>
          <a:ln>
            <a:noFill/>
          </a:ln>
          <a:effec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248" name="Rectangle 247"/>
          <p:cNvSpPr/>
          <p:nvPr>
            <p:custDataLst>
              <p:tags r:id="rId1"/>
            </p:custDataLst>
          </p:nvPr>
        </p:nvSpPr>
        <p:spPr>
          <a:xfrm>
            <a:off x="5690338" y="1745148"/>
            <a:ext cx="811323" cy="461665"/>
          </a:xfrm>
          <a:prstGeom prst="rect">
            <a:avLst/>
          </a:prstGeom>
          <a:effectLst/>
        </p:spPr>
        <p:txBody>
          <a:bodyPr wrap="square" anchor="ctr">
            <a:spAutoFit/>
          </a:bodyPr>
          <a:lstStyle/>
          <a:p>
            <a:pPr algn="ctr"/>
            <a:r>
              <a:rPr lang="en-US" sz="1200" b="1" dirty="0">
                <a:solidFill>
                  <a:prstClr val="white"/>
                </a:solidFill>
              </a:rPr>
              <a:t>LOREM IPSUM</a:t>
            </a:r>
          </a:p>
        </p:txBody>
      </p:sp>
      <p:sp>
        <p:nvSpPr>
          <p:cNvPr id="249" name="Rectangle 248"/>
          <p:cNvSpPr/>
          <p:nvPr>
            <p:custDataLst>
              <p:tags r:id="rId2"/>
            </p:custDataLst>
          </p:nvPr>
        </p:nvSpPr>
        <p:spPr>
          <a:xfrm>
            <a:off x="1497234" y="2337039"/>
            <a:ext cx="2657996" cy="707886"/>
          </a:xfrm>
          <a:prstGeom prst="rect">
            <a:avLst/>
          </a:prstGeom>
        </p:spPr>
        <p:txBody>
          <a:bodyPr wrap="square" anchor="t">
            <a:spAutoFit/>
          </a:bodyPr>
          <a:lstStyle/>
          <a:p>
            <a:pPr algn="r"/>
            <a:r>
              <a:rPr lang="en-US" sz="1000" dirty="0"/>
              <a:t>Lorem </a:t>
            </a:r>
            <a:r>
              <a:rPr lang="en-US" sz="1000" dirty="0" err="1"/>
              <a:t>Ipsum</a:t>
            </a:r>
            <a:r>
              <a:rPr lang="en-US" sz="1000" dirty="0"/>
              <a:t> is simply dummy text of the printing and typesetting industry. Lorem </a:t>
            </a:r>
            <a:r>
              <a:rPr lang="en-US" sz="1000" dirty="0" err="1"/>
              <a:t>Ipsum</a:t>
            </a:r>
            <a:r>
              <a:rPr lang="en-US" sz="1000" dirty="0"/>
              <a:t> has been the industry's standard dummy text ever since the 1500s.</a:t>
            </a:r>
          </a:p>
        </p:txBody>
      </p:sp>
      <p:sp>
        <p:nvSpPr>
          <p:cNvPr id="250" name="Rectangle 249"/>
          <p:cNvSpPr/>
          <p:nvPr>
            <p:custDataLst>
              <p:tags r:id="rId3"/>
            </p:custDataLst>
          </p:nvPr>
        </p:nvSpPr>
        <p:spPr>
          <a:xfrm>
            <a:off x="8036771" y="2337039"/>
            <a:ext cx="2657996" cy="707886"/>
          </a:xfrm>
          <a:prstGeom prst="rect">
            <a:avLst/>
          </a:prstGeom>
        </p:spPr>
        <p:txBody>
          <a:bodyPr wrap="square" anchor="t">
            <a:spAutoFit/>
          </a:bodyPr>
          <a:lstStyle/>
          <a:p>
            <a:r>
              <a:rPr lang="en-US" sz="1000" dirty="0"/>
              <a:t>Lorem </a:t>
            </a:r>
            <a:r>
              <a:rPr lang="en-US" sz="1000" dirty="0" err="1"/>
              <a:t>Ipsum</a:t>
            </a:r>
            <a:r>
              <a:rPr lang="en-US" sz="1000" dirty="0"/>
              <a:t> is simply dummy text of the printing and typesetting industry. Lorem </a:t>
            </a:r>
            <a:r>
              <a:rPr lang="en-US" sz="1000" dirty="0" err="1"/>
              <a:t>Ipsum</a:t>
            </a:r>
            <a:r>
              <a:rPr lang="en-US" sz="1000" dirty="0"/>
              <a:t> has been the industry's standard dummy text ever since the 1500s.</a:t>
            </a:r>
          </a:p>
        </p:txBody>
      </p:sp>
      <p:sp>
        <p:nvSpPr>
          <p:cNvPr id="251" name="Rectangle 250"/>
          <p:cNvSpPr/>
          <p:nvPr>
            <p:custDataLst>
              <p:tags r:id="rId4"/>
            </p:custDataLst>
          </p:nvPr>
        </p:nvSpPr>
        <p:spPr>
          <a:xfrm>
            <a:off x="1723320" y="4281433"/>
            <a:ext cx="2657996" cy="707886"/>
          </a:xfrm>
          <a:prstGeom prst="rect">
            <a:avLst/>
          </a:prstGeom>
        </p:spPr>
        <p:txBody>
          <a:bodyPr wrap="square" anchor="t">
            <a:spAutoFit/>
          </a:bodyPr>
          <a:lstStyle/>
          <a:p>
            <a:pPr algn="r"/>
            <a:r>
              <a:rPr lang="en-US" sz="1000" dirty="0"/>
              <a:t>Lorem </a:t>
            </a:r>
            <a:r>
              <a:rPr lang="en-US" sz="1000" dirty="0" err="1"/>
              <a:t>Ipsum</a:t>
            </a:r>
            <a:r>
              <a:rPr lang="en-US" sz="1000" dirty="0"/>
              <a:t> is simply dummy text of the printing and typesetting industry. Lorem </a:t>
            </a:r>
            <a:r>
              <a:rPr lang="en-US" sz="1000" dirty="0" err="1"/>
              <a:t>Ipsum</a:t>
            </a:r>
            <a:r>
              <a:rPr lang="en-US" sz="1000" dirty="0"/>
              <a:t> has been the industry's standard dummy text ever since the 1500s.</a:t>
            </a:r>
          </a:p>
        </p:txBody>
      </p:sp>
      <p:sp>
        <p:nvSpPr>
          <p:cNvPr id="252" name="Rectangle 251"/>
          <p:cNvSpPr/>
          <p:nvPr>
            <p:custDataLst>
              <p:tags r:id="rId5"/>
            </p:custDataLst>
          </p:nvPr>
        </p:nvSpPr>
        <p:spPr>
          <a:xfrm>
            <a:off x="7810685" y="4281433"/>
            <a:ext cx="2657996" cy="707886"/>
          </a:xfrm>
          <a:prstGeom prst="rect">
            <a:avLst/>
          </a:prstGeom>
        </p:spPr>
        <p:txBody>
          <a:bodyPr wrap="square" anchor="t">
            <a:spAutoFit/>
          </a:bodyPr>
          <a:lstStyle/>
          <a:p>
            <a:r>
              <a:rPr lang="en-US" sz="1000" dirty="0"/>
              <a:t>Lorem </a:t>
            </a:r>
            <a:r>
              <a:rPr lang="en-US" sz="1000" dirty="0" err="1"/>
              <a:t>Ipsum</a:t>
            </a:r>
            <a:r>
              <a:rPr lang="en-US" sz="1000" dirty="0"/>
              <a:t> is simply dummy text of the printing and typesetting industry. Lorem </a:t>
            </a:r>
            <a:r>
              <a:rPr lang="en-US" sz="1000" dirty="0" err="1"/>
              <a:t>Ipsum</a:t>
            </a:r>
            <a:r>
              <a:rPr lang="en-US" sz="1000" dirty="0"/>
              <a:t> has been the industry's standard dummy text ever since the 1500s.</a:t>
            </a:r>
          </a:p>
        </p:txBody>
      </p:sp>
      <p:grpSp>
        <p:nvGrpSpPr>
          <p:cNvPr id="254" name="Group 253"/>
          <p:cNvGrpSpPr/>
          <p:nvPr/>
        </p:nvGrpSpPr>
        <p:grpSpPr>
          <a:xfrm>
            <a:off x="4723270" y="2576015"/>
            <a:ext cx="285750" cy="285750"/>
            <a:chOff x="2046288" y="2765425"/>
            <a:chExt cx="285750" cy="285750"/>
          </a:xfrm>
          <a:solidFill>
            <a:schemeClr val="bg1"/>
          </a:solidFill>
        </p:grpSpPr>
        <p:sp>
          <p:nvSpPr>
            <p:cNvPr id="255" name="Freeform 114"/>
            <p:cNvSpPr>
              <a:spLocks noEditPoints="1"/>
            </p:cNvSpPr>
            <p:nvPr/>
          </p:nvSpPr>
          <p:spPr bwMode="auto">
            <a:xfrm>
              <a:off x="2141538" y="2784475"/>
              <a:ext cx="95250" cy="38100"/>
            </a:xfrm>
            <a:custGeom>
              <a:avLst/>
              <a:gdLst>
                <a:gd name="T0" fmla="*/ 30 w 298"/>
                <a:gd name="T1" fmla="*/ 30 h 120"/>
                <a:gd name="T2" fmla="*/ 268 w 298"/>
                <a:gd name="T3" fmla="*/ 30 h 120"/>
                <a:gd name="T4" fmla="*/ 268 w 298"/>
                <a:gd name="T5" fmla="*/ 90 h 120"/>
                <a:gd name="T6" fmla="*/ 30 w 298"/>
                <a:gd name="T7" fmla="*/ 90 h 120"/>
                <a:gd name="T8" fmla="*/ 30 w 298"/>
                <a:gd name="T9" fmla="*/ 30 h 120"/>
                <a:gd name="T10" fmla="*/ 15 w 298"/>
                <a:gd name="T11" fmla="*/ 120 h 120"/>
                <a:gd name="T12" fmla="*/ 283 w 298"/>
                <a:gd name="T13" fmla="*/ 120 h 120"/>
                <a:gd name="T14" fmla="*/ 287 w 298"/>
                <a:gd name="T15" fmla="*/ 119 h 120"/>
                <a:gd name="T16" fmla="*/ 290 w 298"/>
                <a:gd name="T17" fmla="*/ 119 h 120"/>
                <a:gd name="T18" fmla="*/ 292 w 298"/>
                <a:gd name="T19" fmla="*/ 116 h 120"/>
                <a:gd name="T20" fmla="*/ 294 w 298"/>
                <a:gd name="T21" fmla="*/ 115 h 120"/>
                <a:gd name="T22" fmla="*/ 296 w 298"/>
                <a:gd name="T23" fmla="*/ 113 h 120"/>
                <a:gd name="T24" fmla="*/ 297 w 298"/>
                <a:gd name="T25" fmla="*/ 110 h 120"/>
                <a:gd name="T26" fmla="*/ 298 w 298"/>
                <a:gd name="T27" fmla="*/ 108 h 120"/>
                <a:gd name="T28" fmla="*/ 298 w 298"/>
                <a:gd name="T29" fmla="*/ 105 h 120"/>
                <a:gd name="T30" fmla="*/ 298 w 298"/>
                <a:gd name="T31" fmla="*/ 15 h 120"/>
                <a:gd name="T32" fmla="*/ 298 w 298"/>
                <a:gd name="T33" fmla="*/ 12 h 120"/>
                <a:gd name="T34" fmla="*/ 297 w 298"/>
                <a:gd name="T35" fmla="*/ 9 h 120"/>
                <a:gd name="T36" fmla="*/ 296 w 298"/>
                <a:gd name="T37" fmla="*/ 6 h 120"/>
                <a:gd name="T38" fmla="*/ 294 w 298"/>
                <a:gd name="T39" fmla="*/ 4 h 120"/>
                <a:gd name="T40" fmla="*/ 292 w 298"/>
                <a:gd name="T41" fmla="*/ 2 h 120"/>
                <a:gd name="T42" fmla="*/ 290 w 298"/>
                <a:gd name="T43" fmla="*/ 1 h 120"/>
                <a:gd name="T44" fmla="*/ 287 w 298"/>
                <a:gd name="T45" fmla="*/ 0 h 120"/>
                <a:gd name="T46" fmla="*/ 283 w 298"/>
                <a:gd name="T47" fmla="*/ 0 h 120"/>
                <a:gd name="T48" fmla="*/ 15 w 298"/>
                <a:gd name="T49" fmla="*/ 0 h 120"/>
                <a:gd name="T50" fmla="*/ 11 w 298"/>
                <a:gd name="T51" fmla="*/ 0 h 120"/>
                <a:gd name="T52" fmla="*/ 8 w 298"/>
                <a:gd name="T53" fmla="*/ 1 h 120"/>
                <a:gd name="T54" fmla="*/ 6 w 298"/>
                <a:gd name="T55" fmla="*/ 2 h 120"/>
                <a:gd name="T56" fmla="*/ 4 w 298"/>
                <a:gd name="T57" fmla="*/ 4 h 120"/>
                <a:gd name="T58" fmla="*/ 2 w 298"/>
                <a:gd name="T59" fmla="*/ 6 h 120"/>
                <a:gd name="T60" fmla="*/ 1 w 298"/>
                <a:gd name="T61" fmla="*/ 9 h 120"/>
                <a:gd name="T62" fmla="*/ 0 w 298"/>
                <a:gd name="T63" fmla="*/ 12 h 120"/>
                <a:gd name="T64" fmla="*/ 0 w 298"/>
                <a:gd name="T65" fmla="*/ 15 h 120"/>
                <a:gd name="T66" fmla="*/ 0 w 298"/>
                <a:gd name="T67" fmla="*/ 105 h 120"/>
                <a:gd name="T68" fmla="*/ 0 w 298"/>
                <a:gd name="T69" fmla="*/ 108 h 120"/>
                <a:gd name="T70" fmla="*/ 1 w 298"/>
                <a:gd name="T71" fmla="*/ 110 h 120"/>
                <a:gd name="T72" fmla="*/ 2 w 298"/>
                <a:gd name="T73" fmla="*/ 113 h 120"/>
                <a:gd name="T74" fmla="*/ 4 w 298"/>
                <a:gd name="T75" fmla="*/ 115 h 120"/>
                <a:gd name="T76" fmla="*/ 6 w 298"/>
                <a:gd name="T77" fmla="*/ 116 h 120"/>
                <a:gd name="T78" fmla="*/ 8 w 298"/>
                <a:gd name="T79" fmla="*/ 119 h 120"/>
                <a:gd name="T80" fmla="*/ 11 w 298"/>
                <a:gd name="T81" fmla="*/ 119 h 120"/>
                <a:gd name="T82" fmla="*/ 15 w 298"/>
                <a:gd name="T83" fmla="*/ 12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98" h="120">
                  <a:moveTo>
                    <a:pt x="30" y="30"/>
                  </a:moveTo>
                  <a:lnTo>
                    <a:pt x="268" y="30"/>
                  </a:lnTo>
                  <a:lnTo>
                    <a:pt x="268" y="90"/>
                  </a:lnTo>
                  <a:lnTo>
                    <a:pt x="30" y="90"/>
                  </a:lnTo>
                  <a:lnTo>
                    <a:pt x="30" y="30"/>
                  </a:lnTo>
                  <a:close/>
                  <a:moveTo>
                    <a:pt x="15" y="120"/>
                  </a:moveTo>
                  <a:lnTo>
                    <a:pt x="283" y="120"/>
                  </a:lnTo>
                  <a:lnTo>
                    <a:pt x="287" y="119"/>
                  </a:lnTo>
                  <a:lnTo>
                    <a:pt x="290" y="119"/>
                  </a:lnTo>
                  <a:lnTo>
                    <a:pt x="292" y="116"/>
                  </a:lnTo>
                  <a:lnTo>
                    <a:pt x="294" y="115"/>
                  </a:lnTo>
                  <a:lnTo>
                    <a:pt x="296" y="113"/>
                  </a:lnTo>
                  <a:lnTo>
                    <a:pt x="297" y="110"/>
                  </a:lnTo>
                  <a:lnTo>
                    <a:pt x="298" y="108"/>
                  </a:lnTo>
                  <a:lnTo>
                    <a:pt x="298" y="105"/>
                  </a:lnTo>
                  <a:lnTo>
                    <a:pt x="298" y="15"/>
                  </a:lnTo>
                  <a:lnTo>
                    <a:pt x="298" y="12"/>
                  </a:lnTo>
                  <a:lnTo>
                    <a:pt x="297" y="9"/>
                  </a:lnTo>
                  <a:lnTo>
                    <a:pt x="296" y="6"/>
                  </a:lnTo>
                  <a:lnTo>
                    <a:pt x="294" y="4"/>
                  </a:lnTo>
                  <a:lnTo>
                    <a:pt x="292" y="2"/>
                  </a:lnTo>
                  <a:lnTo>
                    <a:pt x="290" y="1"/>
                  </a:lnTo>
                  <a:lnTo>
                    <a:pt x="287" y="0"/>
                  </a:lnTo>
                  <a:lnTo>
                    <a:pt x="283" y="0"/>
                  </a:lnTo>
                  <a:lnTo>
                    <a:pt x="15" y="0"/>
                  </a:lnTo>
                  <a:lnTo>
                    <a:pt x="11" y="0"/>
                  </a:lnTo>
                  <a:lnTo>
                    <a:pt x="8" y="1"/>
                  </a:lnTo>
                  <a:lnTo>
                    <a:pt x="6" y="2"/>
                  </a:lnTo>
                  <a:lnTo>
                    <a:pt x="4" y="4"/>
                  </a:lnTo>
                  <a:lnTo>
                    <a:pt x="2" y="6"/>
                  </a:lnTo>
                  <a:lnTo>
                    <a:pt x="1" y="9"/>
                  </a:lnTo>
                  <a:lnTo>
                    <a:pt x="0" y="12"/>
                  </a:lnTo>
                  <a:lnTo>
                    <a:pt x="0" y="15"/>
                  </a:lnTo>
                  <a:lnTo>
                    <a:pt x="0" y="105"/>
                  </a:lnTo>
                  <a:lnTo>
                    <a:pt x="0" y="108"/>
                  </a:lnTo>
                  <a:lnTo>
                    <a:pt x="1" y="110"/>
                  </a:lnTo>
                  <a:lnTo>
                    <a:pt x="2" y="113"/>
                  </a:lnTo>
                  <a:lnTo>
                    <a:pt x="4" y="115"/>
                  </a:lnTo>
                  <a:lnTo>
                    <a:pt x="6" y="116"/>
                  </a:lnTo>
                  <a:lnTo>
                    <a:pt x="8" y="119"/>
                  </a:lnTo>
                  <a:lnTo>
                    <a:pt x="11" y="119"/>
                  </a:lnTo>
                  <a:lnTo>
                    <a:pt x="15" y="1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6" name="Freeform 115"/>
            <p:cNvSpPr>
              <a:spLocks/>
            </p:cNvSpPr>
            <p:nvPr/>
          </p:nvSpPr>
          <p:spPr bwMode="auto">
            <a:xfrm>
              <a:off x="2122488" y="2984500"/>
              <a:ext cx="38100" cy="9525"/>
            </a:xfrm>
            <a:custGeom>
              <a:avLst/>
              <a:gdLst>
                <a:gd name="T0" fmla="*/ 105 w 120"/>
                <a:gd name="T1" fmla="*/ 0 h 30"/>
                <a:gd name="T2" fmla="*/ 15 w 120"/>
                <a:gd name="T3" fmla="*/ 0 h 30"/>
                <a:gd name="T4" fmla="*/ 11 w 120"/>
                <a:gd name="T5" fmla="*/ 0 h 30"/>
                <a:gd name="T6" fmla="*/ 8 w 120"/>
                <a:gd name="T7" fmla="*/ 1 h 30"/>
                <a:gd name="T8" fmla="*/ 6 w 120"/>
                <a:gd name="T9" fmla="*/ 2 h 30"/>
                <a:gd name="T10" fmla="*/ 4 w 120"/>
                <a:gd name="T11" fmla="*/ 4 h 30"/>
                <a:gd name="T12" fmla="*/ 2 w 120"/>
                <a:gd name="T13" fmla="*/ 6 h 30"/>
                <a:gd name="T14" fmla="*/ 1 w 120"/>
                <a:gd name="T15" fmla="*/ 10 h 30"/>
                <a:gd name="T16" fmla="*/ 0 w 120"/>
                <a:gd name="T17" fmla="*/ 12 h 30"/>
                <a:gd name="T18" fmla="*/ 0 w 120"/>
                <a:gd name="T19" fmla="*/ 15 h 30"/>
                <a:gd name="T20" fmla="*/ 0 w 120"/>
                <a:gd name="T21" fmla="*/ 18 h 30"/>
                <a:gd name="T22" fmla="*/ 1 w 120"/>
                <a:gd name="T23" fmla="*/ 21 h 30"/>
                <a:gd name="T24" fmla="*/ 2 w 120"/>
                <a:gd name="T25" fmla="*/ 24 h 30"/>
                <a:gd name="T26" fmla="*/ 4 w 120"/>
                <a:gd name="T27" fmla="*/ 26 h 30"/>
                <a:gd name="T28" fmla="*/ 6 w 120"/>
                <a:gd name="T29" fmla="*/ 28 h 30"/>
                <a:gd name="T30" fmla="*/ 8 w 120"/>
                <a:gd name="T31" fmla="*/ 29 h 30"/>
                <a:gd name="T32" fmla="*/ 11 w 120"/>
                <a:gd name="T33" fmla="*/ 30 h 30"/>
                <a:gd name="T34" fmla="*/ 15 w 120"/>
                <a:gd name="T35" fmla="*/ 30 h 30"/>
                <a:gd name="T36" fmla="*/ 105 w 120"/>
                <a:gd name="T37" fmla="*/ 30 h 30"/>
                <a:gd name="T38" fmla="*/ 107 w 120"/>
                <a:gd name="T39" fmla="*/ 30 h 30"/>
                <a:gd name="T40" fmla="*/ 110 w 120"/>
                <a:gd name="T41" fmla="*/ 29 h 30"/>
                <a:gd name="T42" fmla="*/ 112 w 120"/>
                <a:gd name="T43" fmla="*/ 28 h 30"/>
                <a:gd name="T44" fmla="*/ 114 w 120"/>
                <a:gd name="T45" fmla="*/ 26 h 30"/>
                <a:gd name="T46" fmla="*/ 116 w 120"/>
                <a:gd name="T47" fmla="*/ 24 h 30"/>
                <a:gd name="T48" fmla="*/ 117 w 120"/>
                <a:gd name="T49" fmla="*/ 21 h 30"/>
                <a:gd name="T50" fmla="*/ 118 w 120"/>
                <a:gd name="T51" fmla="*/ 18 h 30"/>
                <a:gd name="T52" fmla="*/ 120 w 120"/>
                <a:gd name="T53" fmla="*/ 15 h 30"/>
                <a:gd name="T54" fmla="*/ 118 w 120"/>
                <a:gd name="T55" fmla="*/ 12 h 30"/>
                <a:gd name="T56" fmla="*/ 117 w 120"/>
                <a:gd name="T57" fmla="*/ 10 h 30"/>
                <a:gd name="T58" fmla="*/ 116 w 120"/>
                <a:gd name="T59" fmla="*/ 6 h 30"/>
                <a:gd name="T60" fmla="*/ 114 w 120"/>
                <a:gd name="T61" fmla="*/ 4 h 30"/>
                <a:gd name="T62" fmla="*/ 112 w 120"/>
                <a:gd name="T63" fmla="*/ 2 h 30"/>
                <a:gd name="T64" fmla="*/ 110 w 120"/>
                <a:gd name="T65" fmla="*/ 1 h 30"/>
                <a:gd name="T66" fmla="*/ 107 w 120"/>
                <a:gd name="T67" fmla="*/ 0 h 30"/>
                <a:gd name="T68" fmla="*/ 105 w 120"/>
                <a:gd name="T69"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20" h="30">
                  <a:moveTo>
                    <a:pt x="105" y="0"/>
                  </a:moveTo>
                  <a:lnTo>
                    <a:pt x="15" y="0"/>
                  </a:lnTo>
                  <a:lnTo>
                    <a:pt x="11" y="0"/>
                  </a:lnTo>
                  <a:lnTo>
                    <a:pt x="8" y="1"/>
                  </a:lnTo>
                  <a:lnTo>
                    <a:pt x="6" y="2"/>
                  </a:lnTo>
                  <a:lnTo>
                    <a:pt x="4" y="4"/>
                  </a:lnTo>
                  <a:lnTo>
                    <a:pt x="2" y="6"/>
                  </a:lnTo>
                  <a:lnTo>
                    <a:pt x="1" y="10"/>
                  </a:lnTo>
                  <a:lnTo>
                    <a:pt x="0" y="12"/>
                  </a:lnTo>
                  <a:lnTo>
                    <a:pt x="0" y="15"/>
                  </a:lnTo>
                  <a:lnTo>
                    <a:pt x="0" y="18"/>
                  </a:lnTo>
                  <a:lnTo>
                    <a:pt x="1" y="21"/>
                  </a:lnTo>
                  <a:lnTo>
                    <a:pt x="2" y="24"/>
                  </a:lnTo>
                  <a:lnTo>
                    <a:pt x="4" y="26"/>
                  </a:lnTo>
                  <a:lnTo>
                    <a:pt x="6" y="28"/>
                  </a:lnTo>
                  <a:lnTo>
                    <a:pt x="8" y="29"/>
                  </a:lnTo>
                  <a:lnTo>
                    <a:pt x="11" y="30"/>
                  </a:lnTo>
                  <a:lnTo>
                    <a:pt x="15" y="30"/>
                  </a:lnTo>
                  <a:lnTo>
                    <a:pt x="105" y="30"/>
                  </a:lnTo>
                  <a:lnTo>
                    <a:pt x="107" y="30"/>
                  </a:lnTo>
                  <a:lnTo>
                    <a:pt x="110" y="29"/>
                  </a:lnTo>
                  <a:lnTo>
                    <a:pt x="112" y="28"/>
                  </a:lnTo>
                  <a:lnTo>
                    <a:pt x="114" y="26"/>
                  </a:lnTo>
                  <a:lnTo>
                    <a:pt x="116" y="24"/>
                  </a:lnTo>
                  <a:lnTo>
                    <a:pt x="117" y="21"/>
                  </a:lnTo>
                  <a:lnTo>
                    <a:pt x="118" y="18"/>
                  </a:lnTo>
                  <a:lnTo>
                    <a:pt x="120" y="15"/>
                  </a:lnTo>
                  <a:lnTo>
                    <a:pt x="118" y="12"/>
                  </a:lnTo>
                  <a:lnTo>
                    <a:pt x="117" y="10"/>
                  </a:lnTo>
                  <a:lnTo>
                    <a:pt x="116" y="6"/>
                  </a:lnTo>
                  <a:lnTo>
                    <a:pt x="114" y="4"/>
                  </a:lnTo>
                  <a:lnTo>
                    <a:pt x="112" y="2"/>
                  </a:lnTo>
                  <a:lnTo>
                    <a:pt x="110" y="1"/>
                  </a:lnTo>
                  <a:lnTo>
                    <a:pt x="107" y="0"/>
                  </a:lnTo>
                  <a:lnTo>
                    <a:pt x="10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7" name="Freeform 116"/>
            <p:cNvSpPr>
              <a:spLocks/>
            </p:cNvSpPr>
            <p:nvPr/>
          </p:nvSpPr>
          <p:spPr bwMode="auto">
            <a:xfrm>
              <a:off x="2217738" y="2984500"/>
              <a:ext cx="38100" cy="9525"/>
            </a:xfrm>
            <a:custGeom>
              <a:avLst/>
              <a:gdLst>
                <a:gd name="T0" fmla="*/ 105 w 120"/>
                <a:gd name="T1" fmla="*/ 0 h 30"/>
                <a:gd name="T2" fmla="*/ 15 w 120"/>
                <a:gd name="T3" fmla="*/ 0 h 30"/>
                <a:gd name="T4" fmla="*/ 12 w 120"/>
                <a:gd name="T5" fmla="*/ 0 h 30"/>
                <a:gd name="T6" fmla="*/ 10 w 120"/>
                <a:gd name="T7" fmla="*/ 1 h 30"/>
                <a:gd name="T8" fmla="*/ 7 w 120"/>
                <a:gd name="T9" fmla="*/ 2 h 30"/>
                <a:gd name="T10" fmla="*/ 5 w 120"/>
                <a:gd name="T11" fmla="*/ 4 h 30"/>
                <a:gd name="T12" fmla="*/ 4 w 120"/>
                <a:gd name="T13" fmla="*/ 6 h 30"/>
                <a:gd name="T14" fmla="*/ 1 w 120"/>
                <a:gd name="T15" fmla="*/ 10 h 30"/>
                <a:gd name="T16" fmla="*/ 1 w 120"/>
                <a:gd name="T17" fmla="*/ 12 h 30"/>
                <a:gd name="T18" fmla="*/ 0 w 120"/>
                <a:gd name="T19" fmla="*/ 15 h 30"/>
                <a:gd name="T20" fmla="*/ 1 w 120"/>
                <a:gd name="T21" fmla="*/ 18 h 30"/>
                <a:gd name="T22" fmla="*/ 1 w 120"/>
                <a:gd name="T23" fmla="*/ 21 h 30"/>
                <a:gd name="T24" fmla="*/ 4 w 120"/>
                <a:gd name="T25" fmla="*/ 24 h 30"/>
                <a:gd name="T26" fmla="*/ 5 w 120"/>
                <a:gd name="T27" fmla="*/ 26 h 30"/>
                <a:gd name="T28" fmla="*/ 7 w 120"/>
                <a:gd name="T29" fmla="*/ 28 h 30"/>
                <a:gd name="T30" fmla="*/ 10 w 120"/>
                <a:gd name="T31" fmla="*/ 29 h 30"/>
                <a:gd name="T32" fmla="*/ 12 w 120"/>
                <a:gd name="T33" fmla="*/ 30 h 30"/>
                <a:gd name="T34" fmla="*/ 15 w 120"/>
                <a:gd name="T35" fmla="*/ 30 h 30"/>
                <a:gd name="T36" fmla="*/ 105 w 120"/>
                <a:gd name="T37" fmla="*/ 30 h 30"/>
                <a:gd name="T38" fmla="*/ 108 w 120"/>
                <a:gd name="T39" fmla="*/ 30 h 30"/>
                <a:gd name="T40" fmla="*/ 112 w 120"/>
                <a:gd name="T41" fmla="*/ 29 h 30"/>
                <a:gd name="T42" fmla="*/ 114 w 120"/>
                <a:gd name="T43" fmla="*/ 28 h 30"/>
                <a:gd name="T44" fmla="*/ 116 w 120"/>
                <a:gd name="T45" fmla="*/ 26 h 30"/>
                <a:gd name="T46" fmla="*/ 118 w 120"/>
                <a:gd name="T47" fmla="*/ 24 h 30"/>
                <a:gd name="T48" fmla="*/ 119 w 120"/>
                <a:gd name="T49" fmla="*/ 21 h 30"/>
                <a:gd name="T50" fmla="*/ 120 w 120"/>
                <a:gd name="T51" fmla="*/ 18 h 30"/>
                <a:gd name="T52" fmla="*/ 120 w 120"/>
                <a:gd name="T53" fmla="*/ 15 h 30"/>
                <a:gd name="T54" fmla="*/ 120 w 120"/>
                <a:gd name="T55" fmla="*/ 12 h 30"/>
                <a:gd name="T56" fmla="*/ 119 w 120"/>
                <a:gd name="T57" fmla="*/ 10 h 30"/>
                <a:gd name="T58" fmla="*/ 118 w 120"/>
                <a:gd name="T59" fmla="*/ 6 h 30"/>
                <a:gd name="T60" fmla="*/ 116 w 120"/>
                <a:gd name="T61" fmla="*/ 4 h 30"/>
                <a:gd name="T62" fmla="*/ 114 w 120"/>
                <a:gd name="T63" fmla="*/ 2 h 30"/>
                <a:gd name="T64" fmla="*/ 112 w 120"/>
                <a:gd name="T65" fmla="*/ 1 h 30"/>
                <a:gd name="T66" fmla="*/ 108 w 120"/>
                <a:gd name="T67" fmla="*/ 0 h 30"/>
                <a:gd name="T68" fmla="*/ 105 w 120"/>
                <a:gd name="T69"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20" h="30">
                  <a:moveTo>
                    <a:pt x="105" y="0"/>
                  </a:moveTo>
                  <a:lnTo>
                    <a:pt x="15" y="0"/>
                  </a:lnTo>
                  <a:lnTo>
                    <a:pt x="12" y="0"/>
                  </a:lnTo>
                  <a:lnTo>
                    <a:pt x="10" y="1"/>
                  </a:lnTo>
                  <a:lnTo>
                    <a:pt x="7" y="2"/>
                  </a:lnTo>
                  <a:lnTo>
                    <a:pt x="5" y="4"/>
                  </a:lnTo>
                  <a:lnTo>
                    <a:pt x="4" y="6"/>
                  </a:lnTo>
                  <a:lnTo>
                    <a:pt x="1" y="10"/>
                  </a:lnTo>
                  <a:lnTo>
                    <a:pt x="1" y="12"/>
                  </a:lnTo>
                  <a:lnTo>
                    <a:pt x="0" y="15"/>
                  </a:lnTo>
                  <a:lnTo>
                    <a:pt x="1" y="18"/>
                  </a:lnTo>
                  <a:lnTo>
                    <a:pt x="1" y="21"/>
                  </a:lnTo>
                  <a:lnTo>
                    <a:pt x="4" y="24"/>
                  </a:lnTo>
                  <a:lnTo>
                    <a:pt x="5" y="26"/>
                  </a:lnTo>
                  <a:lnTo>
                    <a:pt x="7" y="28"/>
                  </a:lnTo>
                  <a:lnTo>
                    <a:pt x="10" y="29"/>
                  </a:lnTo>
                  <a:lnTo>
                    <a:pt x="12" y="30"/>
                  </a:lnTo>
                  <a:lnTo>
                    <a:pt x="15" y="30"/>
                  </a:lnTo>
                  <a:lnTo>
                    <a:pt x="105" y="30"/>
                  </a:lnTo>
                  <a:lnTo>
                    <a:pt x="108" y="30"/>
                  </a:lnTo>
                  <a:lnTo>
                    <a:pt x="112" y="29"/>
                  </a:lnTo>
                  <a:lnTo>
                    <a:pt x="114" y="28"/>
                  </a:lnTo>
                  <a:lnTo>
                    <a:pt x="116" y="26"/>
                  </a:lnTo>
                  <a:lnTo>
                    <a:pt x="118" y="24"/>
                  </a:lnTo>
                  <a:lnTo>
                    <a:pt x="119" y="21"/>
                  </a:lnTo>
                  <a:lnTo>
                    <a:pt x="120" y="18"/>
                  </a:lnTo>
                  <a:lnTo>
                    <a:pt x="120" y="15"/>
                  </a:lnTo>
                  <a:lnTo>
                    <a:pt x="120" y="12"/>
                  </a:lnTo>
                  <a:lnTo>
                    <a:pt x="119" y="10"/>
                  </a:lnTo>
                  <a:lnTo>
                    <a:pt x="118" y="6"/>
                  </a:lnTo>
                  <a:lnTo>
                    <a:pt x="116" y="4"/>
                  </a:lnTo>
                  <a:lnTo>
                    <a:pt x="114" y="2"/>
                  </a:lnTo>
                  <a:lnTo>
                    <a:pt x="112" y="1"/>
                  </a:lnTo>
                  <a:lnTo>
                    <a:pt x="108" y="0"/>
                  </a:lnTo>
                  <a:lnTo>
                    <a:pt x="10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8" name="Freeform 117"/>
            <p:cNvSpPr>
              <a:spLocks noEditPoints="1"/>
            </p:cNvSpPr>
            <p:nvPr/>
          </p:nvSpPr>
          <p:spPr bwMode="auto">
            <a:xfrm>
              <a:off x="2046288" y="2765425"/>
              <a:ext cx="285750" cy="285750"/>
            </a:xfrm>
            <a:custGeom>
              <a:avLst/>
              <a:gdLst>
                <a:gd name="T0" fmla="*/ 868 w 898"/>
                <a:gd name="T1" fmla="*/ 268 h 898"/>
                <a:gd name="T2" fmla="*/ 204 w 898"/>
                <a:gd name="T3" fmla="*/ 807 h 898"/>
                <a:gd name="T4" fmla="*/ 186 w 898"/>
                <a:gd name="T5" fmla="*/ 793 h 898"/>
                <a:gd name="T6" fmla="*/ 180 w 898"/>
                <a:gd name="T7" fmla="*/ 598 h 898"/>
                <a:gd name="T8" fmla="*/ 715 w 898"/>
                <a:gd name="T9" fmla="*/ 788 h 898"/>
                <a:gd name="T10" fmla="*/ 698 w 898"/>
                <a:gd name="T11" fmla="*/ 805 h 898"/>
                <a:gd name="T12" fmla="*/ 598 w 898"/>
                <a:gd name="T13" fmla="*/ 868 h 898"/>
                <a:gd name="T14" fmla="*/ 300 w 898"/>
                <a:gd name="T15" fmla="*/ 868 h 898"/>
                <a:gd name="T16" fmla="*/ 300 w 898"/>
                <a:gd name="T17" fmla="*/ 868 h 898"/>
                <a:gd name="T18" fmla="*/ 622 w 898"/>
                <a:gd name="T19" fmla="*/ 32 h 898"/>
                <a:gd name="T20" fmla="*/ 665 w 898"/>
                <a:gd name="T21" fmla="*/ 50 h 898"/>
                <a:gd name="T22" fmla="*/ 698 w 898"/>
                <a:gd name="T23" fmla="*/ 83 h 898"/>
                <a:gd name="T24" fmla="*/ 716 w 898"/>
                <a:gd name="T25" fmla="*/ 126 h 898"/>
                <a:gd name="T26" fmla="*/ 180 w 898"/>
                <a:gd name="T27" fmla="*/ 210 h 898"/>
                <a:gd name="T28" fmla="*/ 185 w 898"/>
                <a:gd name="T29" fmla="*/ 114 h 898"/>
                <a:gd name="T30" fmla="*/ 208 w 898"/>
                <a:gd name="T31" fmla="*/ 74 h 898"/>
                <a:gd name="T32" fmla="*/ 243 w 898"/>
                <a:gd name="T33" fmla="*/ 45 h 898"/>
                <a:gd name="T34" fmla="*/ 287 w 898"/>
                <a:gd name="T35" fmla="*/ 30 h 898"/>
                <a:gd name="T36" fmla="*/ 718 w 898"/>
                <a:gd name="T37" fmla="*/ 568 h 898"/>
                <a:gd name="T38" fmla="*/ 30 w 898"/>
                <a:gd name="T39" fmla="*/ 508 h 898"/>
                <a:gd name="T40" fmla="*/ 883 w 898"/>
                <a:gd name="T41" fmla="*/ 239 h 898"/>
                <a:gd name="T42" fmla="*/ 747 w 898"/>
                <a:gd name="T43" fmla="*/ 135 h 898"/>
                <a:gd name="T44" fmla="*/ 730 w 898"/>
                <a:gd name="T45" fmla="*/ 79 h 898"/>
                <a:gd name="T46" fmla="*/ 694 w 898"/>
                <a:gd name="T47" fmla="*/ 34 h 898"/>
                <a:gd name="T48" fmla="*/ 642 w 898"/>
                <a:gd name="T49" fmla="*/ 6 h 898"/>
                <a:gd name="T50" fmla="*/ 300 w 898"/>
                <a:gd name="T51" fmla="*/ 0 h 898"/>
                <a:gd name="T52" fmla="*/ 242 w 898"/>
                <a:gd name="T53" fmla="*/ 12 h 898"/>
                <a:gd name="T54" fmla="*/ 194 w 898"/>
                <a:gd name="T55" fmla="*/ 44 h 898"/>
                <a:gd name="T56" fmla="*/ 161 w 898"/>
                <a:gd name="T57" fmla="*/ 92 h 898"/>
                <a:gd name="T58" fmla="*/ 150 w 898"/>
                <a:gd name="T59" fmla="*/ 150 h 898"/>
                <a:gd name="T60" fmla="*/ 12 w 898"/>
                <a:gd name="T61" fmla="*/ 240 h 898"/>
                <a:gd name="T62" fmla="*/ 2 w 898"/>
                <a:gd name="T63" fmla="*/ 246 h 898"/>
                <a:gd name="T64" fmla="*/ 0 w 898"/>
                <a:gd name="T65" fmla="*/ 523 h 898"/>
                <a:gd name="T66" fmla="*/ 4 w 898"/>
                <a:gd name="T67" fmla="*/ 534 h 898"/>
                <a:gd name="T68" fmla="*/ 15 w 898"/>
                <a:gd name="T69" fmla="*/ 538 h 898"/>
                <a:gd name="T70" fmla="*/ 113 w 898"/>
                <a:gd name="T71" fmla="*/ 536 h 898"/>
                <a:gd name="T72" fmla="*/ 120 w 898"/>
                <a:gd name="T73" fmla="*/ 526 h 898"/>
                <a:gd name="T74" fmla="*/ 150 w 898"/>
                <a:gd name="T75" fmla="*/ 778 h 898"/>
                <a:gd name="T76" fmla="*/ 155 w 898"/>
                <a:gd name="T77" fmla="*/ 799 h 898"/>
                <a:gd name="T78" fmla="*/ 187 w 898"/>
                <a:gd name="T79" fmla="*/ 833 h 898"/>
                <a:gd name="T80" fmla="*/ 210 w 898"/>
                <a:gd name="T81" fmla="*/ 838 h 898"/>
                <a:gd name="T82" fmla="*/ 212 w 898"/>
                <a:gd name="T83" fmla="*/ 891 h 898"/>
                <a:gd name="T84" fmla="*/ 221 w 898"/>
                <a:gd name="T85" fmla="*/ 897 h 898"/>
                <a:gd name="T86" fmla="*/ 320 w 898"/>
                <a:gd name="T87" fmla="*/ 897 h 898"/>
                <a:gd name="T88" fmla="*/ 327 w 898"/>
                <a:gd name="T89" fmla="*/ 888 h 898"/>
                <a:gd name="T90" fmla="*/ 568 w 898"/>
                <a:gd name="T91" fmla="*/ 838 h 898"/>
                <a:gd name="T92" fmla="*/ 572 w 898"/>
                <a:gd name="T93" fmla="*/ 891 h 898"/>
                <a:gd name="T94" fmla="*/ 580 w 898"/>
                <a:gd name="T95" fmla="*/ 897 h 898"/>
                <a:gd name="T96" fmla="*/ 680 w 898"/>
                <a:gd name="T97" fmla="*/ 897 h 898"/>
                <a:gd name="T98" fmla="*/ 687 w 898"/>
                <a:gd name="T99" fmla="*/ 888 h 898"/>
                <a:gd name="T100" fmla="*/ 694 w 898"/>
                <a:gd name="T101" fmla="*/ 837 h 898"/>
                <a:gd name="T102" fmla="*/ 720 w 898"/>
                <a:gd name="T103" fmla="*/ 826 h 898"/>
                <a:gd name="T104" fmla="*/ 745 w 898"/>
                <a:gd name="T105" fmla="*/ 794 h 898"/>
                <a:gd name="T106" fmla="*/ 748 w 898"/>
                <a:gd name="T107" fmla="*/ 268 h 898"/>
                <a:gd name="T108" fmla="*/ 779 w 898"/>
                <a:gd name="T109" fmla="*/ 530 h 898"/>
                <a:gd name="T110" fmla="*/ 788 w 898"/>
                <a:gd name="T111" fmla="*/ 537 h 898"/>
                <a:gd name="T112" fmla="*/ 886 w 898"/>
                <a:gd name="T113" fmla="*/ 538 h 898"/>
                <a:gd name="T114" fmla="*/ 895 w 898"/>
                <a:gd name="T115" fmla="*/ 532 h 898"/>
                <a:gd name="T116" fmla="*/ 898 w 898"/>
                <a:gd name="T117" fmla="*/ 253 h 898"/>
                <a:gd name="T118" fmla="*/ 894 w 898"/>
                <a:gd name="T119" fmla="*/ 244 h 898"/>
                <a:gd name="T120" fmla="*/ 883 w 898"/>
                <a:gd name="T121" fmla="*/ 239 h 8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898" h="898">
                  <a:moveTo>
                    <a:pt x="868" y="508"/>
                  </a:moveTo>
                  <a:lnTo>
                    <a:pt x="808" y="508"/>
                  </a:lnTo>
                  <a:lnTo>
                    <a:pt x="808" y="268"/>
                  </a:lnTo>
                  <a:lnTo>
                    <a:pt x="868" y="268"/>
                  </a:lnTo>
                  <a:lnTo>
                    <a:pt x="868" y="508"/>
                  </a:lnTo>
                  <a:close/>
                  <a:moveTo>
                    <a:pt x="688" y="808"/>
                  </a:moveTo>
                  <a:lnTo>
                    <a:pt x="210" y="808"/>
                  </a:lnTo>
                  <a:lnTo>
                    <a:pt x="204" y="807"/>
                  </a:lnTo>
                  <a:lnTo>
                    <a:pt x="199" y="805"/>
                  </a:lnTo>
                  <a:lnTo>
                    <a:pt x="195" y="802"/>
                  </a:lnTo>
                  <a:lnTo>
                    <a:pt x="189" y="797"/>
                  </a:lnTo>
                  <a:lnTo>
                    <a:pt x="186" y="793"/>
                  </a:lnTo>
                  <a:lnTo>
                    <a:pt x="182" y="788"/>
                  </a:lnTo>
                  <a:lnTo>
                    <a:pt x="180" y="783"/>
                  </a:lnTo>
                  <a:lnTo>
                    <a:pt x="180" y="778"/>
                  </a:lnTo>
                  <a:lnTo>
                    <a:pt x="180" y="598"/>
                  </a:lnTo>
                  <a:lnTo>
                    <a:pt x="718" y="598"/>
                  </a:lnTo>
                  <a:lnTo>
                    <a:pt x="718" y="778"/>
                  </a:lnTo>
                  <a:lnTo>
                    <a:pt x="717" y="783"/>
                  </a:lnTo>
                  <a:lnTo>
                    <a:pt x="715" y="788"/>
                  </a:lnTo>
                  <a:lnTo>
                    <a:pt x="712" y="793"/>
                  </a:lnTo>
                  <a:lnTo>
                    <a:pt x="708" y="797"/>
                  </a:lnTo>
                  <a:lnTo>
                    <a:pt x="703" y="802"/>
                  </a:lnTo>
                  <a:lnTo>
                    <a:pt x="698" y="805"/>
                  </a:lnTo>
                  <a:lnTo>
                    <a:pt x="694" y="807"/>
                  </a:lnTo>
                  <a:lnTo>
                    <a:pt x="688" y="808"/>
                  </a:lnTo>
                  <a:close/>
                  <a:moveTo>
                    <a:pt x="658" y="868"/>
                  </a:moveTo>
                  <a:lnTo>
                    <a:pt x="598" y="868"/>
                  </a:lnTo>
                  <a:lnTo>
                    <a:pt x="598" y="838"/>
                  </a:lnTo>
                  <a:lnTo>
                    <a:pt x="658" y="838"/>
                  </a:lnTo>
                  <a:lnTo>
                    <a:pt x="658" y="868"/>
                  </a:lnTo>
                  <a:close/>
                  <a:moveTo>
                    <a:pt x="300" y="868"/>
                  </a:moveTo>
                  <a:lnTo>
                    <a:pt x="240" y="868"/>
                  </a:lnTo>
                  <a:lnTo>
                    <a:pt x="240" y="838"/>
                  </a:lnTo>
                  <a:lnTo>
                    <a:pt x="300" y="838"/>
                  </a:lnTo>
                  <a:lnTo>
                    <a:pt x="300" y="868"/>
                  </a:lnTo>
                  <a:close/>
                  <a:moveTo>
                    <a:pt x="300" y="30"/>
                  </a:moveTo>
                  <a:lnTo>
                    <a:pt x="598" y="30"/>
                  </a:lnTo>
                  <a:lnTo>
                    <a:pt x="610" y="30"/>
                  </a:lnTo>
                  <a:lnTo>
                    <a:pt x="622" y="32"/>
                  </a:lnTo>
                  <a:lnTo>
                    <a:pt x="634" y="35"/>
                  </a:lnTo>
                  <a:lnTo>
                    <a:pt x="644" y="39"/>
                  </a:lnTo>
                  <a:lnTo>
                    <a:pt x="655" y="45"/>
                  </a:lnTo>
                  <a:lnTo>
                    <a:pt x="665" y="50"/>
                  </a:lnTo>
                  <a:lnTo>
                    <a:pt x="674" y="58"/>
                  </a:lnTo>
                  <a:lnTo>
                    <a:pt x="683" y="65"/>
                  </a:lnTo>
                  <a:lnTo>
                    <a:pt x="690" y="74"/>
                  </a:lnTo>
                  <a:lnTo>
                    <a:pt x="698" y="83"/>
                  </a:lnTo>
                  <a:lnTo>
                    <a:pt x="703" y="93"/>
                  </a:lnTo>
                  <a:lnTo>
                    <a:pt x="709" y="104"/>
                  </a:lnTo>
                  <a:lnTo>
                    <a:pt x="713" y="114"/>
                  </a:lnTo>
                  <a:lnTo>
                    <a:pt x="716" y="126"/>
                  </a:lnTo>
                  <a:lnTo>
                    <a:pt x="717" y="137"/>
                  </a:lnTo>
                  <a:lnTo>
                    <a:pt x="718" y="150"/>
                  </a:lnTo>
                  <a:lnTo>
                    <a:pt x="718" y="210"/>
                  </a:lnTo>
                  <a:lnTo>
                    <a:pt x="180" y="210"/>
                  </a:lnTo>
                  <a:lnTo>
                    <a:pt x="180" y="150"/>
                  </a:lnTo>
                  <a:lnTo>
                    <a:pt x="180" y="137"/>
                  </a:lnTo>
                  <a:lnTo>
                    <a:pt x="182" y="126"/>
                  </a:lnTo>
                  <a:lnTo>
                    <a:pt x="185" y="114"/>
                  </a:lnTo>
                  <a:lnTo>
                    <a:pt x="189" y="104"/>
                  </a:lnTo>
                  <a:lnTo>
                    <a:pt x="194" y="93"/>
                  </a:lnTo>
                  <a:lnTo>
                    <a:pt x="200" y="83"/>
                  </a:lnTo>
                  <a:lnTo>
                    <a:pt x="208" y="74"/>
                  </a:lnTo>
                  <a:lnTo>
                    <a:pt x="215" y="65"/>
                  </a:lnTo>
                  <a:lnTo>
                    <a:pt x="224" y="58"/>
                  </a:lnTo>
                  <a:lnTo>
                    <a:pt x="233" y="50"/>
                  </a:lnTo>
                  <a:lnTo>
                    <a:pt x="243" y="45"/>
                  </a:lnTo>
                  <a:lnTo>
                    <a:pt x="254" y="39"/>
                  </a:lnTo>
                  <a:lnTo>
                    <a:pt x="264" y="35"/>
                  </a:lnTo>
                  <a:lnTo>
                    <a:pt x="275" y="32"/>
                  </a:lnTo>
                  <a:lnTo>
                    <a:pt x="287" y="30"/>
                  </a:lnTo>
                  <a:lnTo>
                    <a:pt x="300" y="30"/>
                  </a:lnTo>
                  <a:close/>
                  <a:moveTo>
                    <a:pt x="180" y="239"/>
                  </a:moveTo>
                  <a:lnTo>
                    <a:pt x="718" y="239"/>
                  </a:lnTo>
                  <a:lnTo>
                    <a:pt x="718" y="568"/>
                  </a:lnTo>
                  <a:lnTo>
                    <a:pt x="180" y="568"/>
                  </a:lnTo>
                  <a:lnTo>
                    <a:pt x="180" y="239"/>
                  </a:lnTo>
                  <a:close/>
                  <a:moveTo>
                    <a:pt x="90" y="508"/>
                  </a:moveTo>
                  <a:lnTo>
                    <a:pt x="30" y="508"/>
                  </a:lnTo>
                  <a:lnTo>
                    <a:pt x="30" y="268"/>
                  </a:lnTo>
                  <a:lnTo>
                    <a:pt x="90" y="268"/>
                  </a:lnTo>
                  <a:lnTo>
                    <a:pt x="90" y="508"/>
                  </a:lnTo>
                  <a:close/>
                  <a:moveTo>
                    <a:pt x="883" y="239"/>
                  </a:moveTo>
                  <a:lnTo>
                    <a:pt x="793" y="239"/>
                  </a:lnTo>
                  <a:lnTo>
                    <a:pt x="748" y="239"/>
                  </a:lnTo>
                  <a:lnTo>
                    <a:pt x="748" y="150"/>
                  </a:lnTo>
                  <a:lnTo>
                    <a:pt x="747" y="135"/>
                  </a:lnTo>
                  <a:lnTo>
                    <a:pt x="745" y="120"/>
                  </a:lnTo>
                  <a:lnTo>
                    <a:pt x="742" y="106"/>
                  </a:lnTo>
                  <a:lnTo>
                    <a:pt x="736" y="92"/>
                  </a:lnTo>
                  <a:lnTo>
                    <a:pt x="730" y="79"/>
                  </a:lnTo>
                  <a:lnTo>
                    <a:pt x="723" y="66"/>
                  </a:lnTo>
                  <a:lnTo>
                    <a:pt x="714" y="54"/>
                  </a:lnTo>
                  <a:lnTo>
                    <a:pt x="704" y="44"/>
                  </a:lnTo>
                  <a:lnTo>
                    <a:pt x="694" y="34"/>
                  </a:lnTo>
                  <a:lnTo>
                    <a:pt x="682" y="25"/>
                  </a:lnTo>
                  <a:lnTo>
                    <a:pt x="669" y="18"/>
                  </a:lnTo>
                  <a:lnTo>
                    <a:pt x="656" y="12"/>
                  </a:lnTo>
                  <a:lnTo>
                    <a:pt x="642" y="6"/>
                  </a:lnTo>
                  <a:lnTo>
                    <a:pt x="628" y="3"/>
                  </a:lnTo>
                  <a:lnTo>
                    <a:pt x="613" y="1"/>
                  </a:lnTo>
                  <a:lnTo>
                    <a:pt x="598" y="0"/>
                  </a:lnTo>
                  <a:lnTo>
                    <a:pt x="300" y="0"/>
                  </a:lnTo>
                  <a:lnTo>
                    <a:pt x="285" y="1"/>
                  </a:lnTo>
                  <a:lnTo>
                    <a:pt x="270" y="3"/>
                  </a:lnTo>
                  <a:lnTo>
                    <a:pt x="256" y="6"/>
                  </a:lnTo>
                  <a:lnTo>
                    <a:pt x="242" y="12"/>
                  </a:lnTo>
                  <a:lnTo>
                    <a:pt x="229" y="18"/>
                  </a:lnTo>
                  <a:lnTo>
                    <a:pt x="216" y="25"/>
                  </a:lnTo>
                  <a:lnTo>
                    <a:pt x="204" y="34"/>
                  </a:lnTo>
                  <a:lnTo>
                    <a:pt x="194" y="44"/>
                  </a:lnTo>
                  <a:lnTo>
                    <a:pt x="184" y="54"/>
                  </a:lnTo>
                  <a:lnTo>
                    <a:pt x="175" y="66"/>
                  </a:lnTo>
                  <a:lnTo>
                    <a:pt x="168" y="79"/>
                  </a:lnTo>
                  <a:lnTo>
                    <a:pt x="161" y="92"/>
                  </a:lnTo>
                  <a:lnTo>
                    <a:pt x="156" y="106"/>
                  </a:lnTo>
                  <a:lnTo>
                    <a:pt x="153" y="120"/>
                  </a:lnTo>
                  <a:lnTo>
                    <a:pt x="151" y="135"/>
                  </a:lnTo>
                  <a:lnTo>
                    <a:pt x="150" y="150"/>
                  </a:lnTo>
                  <a:lnTo>
                    <a:pt x="150" y="239"/>
                  </a:lnTo>
                  <a:lnTo>
                    <a:pt x="105" y="239"/>
                  </a:lnTo>
                  <a:lnTo>
                    <a:pt x="15" y="239"/>
                  </a:lnTo>
                  <a:lnTo>
                    <a:pt x="12" y="240"/>
                  </a:lnTo>
                  <a:lnTo>
                    <a:pt x="9" y="241"/>
                  </a:lnTo>
                  <a:lnTo>
                    <a:pt x="6" y="242"/>
                  </a:lnTo>
                  <a:lnTo>
                    <a:pt x="4" y="244"/>
                  </a:lnTo>
                  <a:lnTo>
                    <a:pt x="2" y="246"/>
                  </a:lnTo>
                  <a:lnTo>
                    <a:pt x="1" y="248"/>
                  </a:lnTo>
                  <a:lnTo>
                    <a:pt x="0" y="251"/>
                  </a:lnTo>
                  <a:lnTo>
                    <a:pt x="0" y="253"/>
                  </a:lnTo>
                  <a:lnTo>
                    <a:pt x="0" y="523"/>
                  </a:lnTo>
                  <a:lnTo>
                    <a:pt x="0" y="526"/>
                  </a:lnTo>
                  <a:lnTo>
                    <a:pt x="1" y="530"/>
                  </a:lnTo>
                  <a:lnTo>
                    <a:pt x="2" y="532"/>
                  </a:lnTo>
                  <a:lnTo>
                    <a:pt x="4" y="534"/>
                  </a:lnTo>
                  <a:lnTo>
                    <a:pt x="6" y="536"/>
                  </a:lnTo>
                  <a:lnTo>
                    <a:pt x="9" y="537"/>
                  </a:lnTo>
                  <a:lnTo>
                    <a:pt x="12" y="538"/>
                  </a:lnTo>
                  <a:lnTo>
                    <a:pt x="15" y="538"/>
                  </a:lnTo>
                  <a:lnTo>
                    <a:pt x="105" y="538"/>
                  </a:lnTo>
                  <a:lnTo>
                    <a:pt x="108" y="538"/>
                  </a:lnTo>
                  <a:lnTo>
                    <a:pt x="110" y="537"/>
                  </a:lnTo>
                  <a:lnTo>
                    <a:pt x="113" y="536"/>
                  </a:lnTo>
                  <a:lnTo>
                    <a:pt x="115" y="534"/>
                  </a:lnTo>
                  <a:lnTo>
                    <a:pt x="117" y="532"/>
                  </a:lnTo>
                  <a:lnTo>
                    <a:pt x="119" y="530"/>
                  </a:lnTo>
                  <a:lnTo>
                    <a:pt x="120" y="526"/>
                  </a:lnTo>
                  <a:lnTo>
                    <a:pt x="120" y="523"/>
                  </a:lnTo>
                  <a:lnTo>
                    <a:pt x="120" y="268"/>
                  </a:lnTo>
                  <a:lnTo>
                    <a:pt x="150" y="268"/>
                  </a:lnTo>
                  <a:lnTo>
                    <a:pt x="150" y="778"/>
                  </a:lnTo>
                  <a:lnTo>
                    <a:pt x="150" y="783"/>
                  </a:lnTo>
                  <a:lnTo>
                    <a:pt x="151" y="789"/>
                  </a:lnTo>
                  <a:lnTo>
                    <a:pt x="153" y="794"/>
                  </a:lnTo>
                  <a:lnTo>
                    <a:pt x="155" y="799"/>
                  </a:lnTo>
                  <a:lnTo>
                    <a:pt x="160" y="810"/>
                  </a:lnTo>
                  <a:lnTo>
                    <a:pt x="169" y="819"/>
                  </a:lnTo>
                  <a:lnTo>
                    <a:pt x="178" y="826"/>
                  </a:lnTo>
                  <a:lnTo>
                    <a:pt x="187" y="833"/>
                  </a:lnTo>
                  <a:lnTo>
                    <a:pt x="193" y="835"/>
                  </a:lnTo>
                  <a:lnTo>
                    <a:pt x="198" y="836"/>
                  </a:lnTo>
                  <a:lnTo>
                    <a:pt x="204" y="837"/>
                  </a:lnTo>
                  <a:lnTo>
                    <a:pt x="210" y="838"/>
                  </a:lnTo>
                  <a:lnTo>
                    <a:pt x="210" y="883"/>
                  </a:lnTo>
                  <a:lnTo>
                    <a:pt x="210" y="886"/>
                  </a:lnTo>
                  <a:lnTo>
                    <a:pt x="211" y="888"/>
                  </a:lnTo>
                  <a:lnTo>
                    <a:pt x="212" y="891"/>
                  </a:lnTo>
                  <a:lnTo>
                    <a:pt x="214" y="894"/>
                  </a:lnTo>
                  <a:lnTo>
                    <a:pt x="216" y="895"/>
                  </a:lnTo>
                  <a:lnTo>
                    <a:pt x="218" y="897"/>
                  </a:lnTo>
                  <a:lnTo>
                    <a:pt x="221" y="897"/>
                  </a:lnTo>
                  <a:lnTo>
                    <a:pt x="225" y="898"/>
                  </a:lnTo>
                  <a:lnTo>
                    <a:pt x="315" y="898"/>
                  </a:lnTo>
                  <a:lnTo>
                    <a:pt x="317" y="897"/>
                  </a:lnTo>
                  <a:lnTo>
                    <a:pt x="320" y="897"/>
                  </a:lnTo>
                  <a:lnTo>
                    <a:pt x="322" y="895"/>
                  </a:lnTo>
                  <a:lnTo>
                    <a:pt x="324" y="894"/>
                  </a:lnTo>
                  <a:lnTo>
                    <a:pt x="326" y="891"/>
                  </a:lnTo>
                  <a:lnTo>
                    <a:pt x="327" y="888"/>
                  </a:lnTo>
                  <a:lnTo>
                    <a:pt x="329" y="886"/>
                  </a:lnTo>
                  <a:lnTo>
                    <a:pt x="330" y="883"/>
                  </a:lnTo>
                  <a:lnTo>
                    <a:pt x="330" y="838"/>
                  </a:lnTo>
                  <a:lnTo>
                    <a:pt x="568" y="838"/>
                  </a:lnTo>
                  <a:lnTo>
                    <a:pt x="568" y="883"/>
                  </a:lnTo>
                  <a:lnTo>
                    <a:pt x="569" y="886"/>
                  </a:lnTo>
                  <a:lnTo>
                    <a:pt x="569" y="888"/>
                  </a:lnTo>
                  <a:lnTo>
                    <a:pt x="572" y="891"/>
                  </a:lnTo>
                  <a:lnTo>
                    <a:pt x="573" y="894"/>
                  </a:lnTo>
                  <a:lnTo>
                    <a:pt x="575" y="895"/>
                  </a:lnTo>
                  <a:lnTo>
                    <a:pt x="578" y="897"/>
                  </a:lnTo>
                  <a:lnTo>
                    <a:pt x="580" y="897"/>
                  </a:lnTo>
                  <a:lnTo>
                    <a:pt x="583" y="898"/>
                  </a:lnTo>
                  <a:lnTo>
                    <a:pt x="673" y="898"/>
                  </a:lnTo>
                  <a:lnTo>
                    <a:pt x="676" y="897"/>
                  </a:lnTo>
                  <a:lnTo>
                    <a:pt x="680" y="897"/>
                  </a:lnTo>
                  <a:lnTo>
                    <a:pt x="682" y="895"/>
                  </a:lnTo>
                  <a:lnTo>
                    <a:pt x="684" y="894"/>
                  </a:lnTo>
                  <a:lnTo>
                    <a:pt x="686" y="891"/>
                  </a:lnTo>
                  <a:lnTo>
                    <a:pt x="687" y="888"/>
                  </a:lnTo>
                  <a:lnTo>
                    <a:pt x="688" y="886"/>
                  </a:lnTo>
                  <a:lnTo>
                    <a:pt x="688" y="883"/>
                  </a:lnTo>
                  <a:lnTo>
                    <a:pt x="688" y="838"/>
                  </a:lnTo>
                  <a:lnTo>
                    <a:pt x="694" y="837"/>
                  </a:lnTo>
                  <a:lnTo>
                    <a:pt x="699" y="836"/>
                  </a:lnTo>
                  <a:lnTo>
                    <a:pt x="704" y="835"/>
                  </a:lnTo>
                  <a:lnTo>
                    <a:pt x="710" y="833"/>
                  </a:lnTo>
                  <a:lnTo>
                    <a:pt x="720" y="826"/>
                  </a:lnTo>
                  <a:lnTo>
                    <a:pt x="729" y="819"/>
                  </a:lnTo>
                  <a:lnTo>
                    <a:pt x="736" y="810"/>
                  </a:lnTo>
                  <a:lnTo>
                    <a:pt x="743" y="799"/>
                  </a:lnTo>
                  <a:lnTo>
                    <a:pt x="745" y="794"/>
                  </a:lnTo>
                  <a:lnTo>
                    <a:pt x="747" y="789"/>
                  </a:lnTo>
                  <a:lnTo>
                    <a:pt x="748" y="783"/>
                  </a:lnTo>
                  <a:lnTo>
                    <a:pt x="748" y="778"/>
                  </a:lnTo>
                  <a:lnTo>
                    <a:pt x="748" y="268"/>
                  </a:lnTo>
                  <a:lnTo>
                    <a:pt x="778" y="268"/>
                  </a:lnTo>
                  <a:lnTo>
                    <a:pt x="778" y="523"/>
                  </a:lnTo>
                  <a:lnTo>
                    <a:pt x="778" y="526"/>
                  </a:lnTo>
                  <a:lnTo>
                    <a:pt x="779" y="530"/>
                  </a:lnTo>
                  <a:lnTo>
                    <a:pt x="780" y="532"/>
                  </a:lnTo>
                  <a:lnTo>
                    <a:pt x="782" y="534"/>
                  </a:lnTo>
                  <a:lnTo>
                    <a:pt x="785" y="536"/>
                  </a:lnTo>
                  <a:lnTo>
                    <a:pt x="788" y="537"/>
                  </a:lnTo>
                  <a:lnTo>
                    <a:pt x="790" y="538"/>
                  </a:lnTo>
                  <a:lnTo>
                    <a:pt x="793" y="538"/>
                  </a:lnTo>
                  <a:lnTo>
                    <a:pt x="883" y="538"/>
                  </a:lnTo>
                  <a:lnTo>
                    <a:pt x="886" y="538"/>
                  </a:lnTo>
                  <a:lnTo>
                    <a:pt x="888" y="537"/>
                  </a:lnTo>
                  <a:lnTo>
                    <a:pt x="892" y="536"/>
                  </a:lnTo>
                  <a:lnTo>
                    <a:pt x="894" y="534"/>
                  </a:lnTo>
                  <a:lnTo>
                    <a:pt x="895" y="532"/>
                  </a:lnTo>
                  <a:lnTo>
                    <a:pt x="897" y="530"/>
                  </a:lnTo>
                  <a:lnTo>
                    <a:pt x="898" y="526"/>
                  </a:lnTo>
                  <a:lnTo>
                    <a:pt x="898" y="523"/>
                  </a:lnTo>
                  <a:lnTo>
                    <a:pt x="898" y="253"/>
                  </a:lnTo>
                  <a:lnTo>
                    <a:pt x="898" y="251"/>
                  </a:lnTo>
                  <a:lnTo>
                    <a:pt x="897" y="248"/>
                  </a:lnTo>
                  <a:lnTo>
                    <a:pt x="895" y="246"/>
                  </a:lnTo>
                  <a:lnTo>
                    <a:pt x="894" y="244"/>
                  </a:lnTo>
                  <a:lnTo>
                    <a:pt x="892" y="242"/>
                  </a:lnTo>
                  <a:lnTo>
                    <a:pt x="888" y="241"/>
                  </a:lnTo>
                  <a:lnTo>
                    <a:pt x="886" y="240"/>
                  </a:lnTo>
                  <a:lnTo>
                    <a:pt x="883" y="23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59" name="Group 258"/>
          <p:cNvGrpSpPr/>
          <p:nvPr/>
        </p:nvGrpSpPr>
        <p:grpSpPr>
          <a:xfrm>
            <a:off x="4766323" y="3841144"/>
            <a:ext cx="285750" cy="200025"/>
            <a:chOff x="5467350" y="3421063"/>
            <a:chExt cx="285750" cy="200025"/>
          </a:xfrm>
          <a:solidFill>
            <a:schemeClr val="bg1"/>
          </a:solidFill>
        </p:grpSpPr>
        <p:sp>
          <p:nvSpPr>
            <p:cNvPr id="260" name="Freeform 102"/>
            <p:cNvSpPr>
              <a:spLocks/>
            </p:cNvSpPr>
            <p:nvPr/>
          </p:nvSpPr>
          <p:spPr bwMode="auto">
            <a:xfrm>
              <a:off x="5695950" y="3459163"/>
              <a:ext cx="57150" cy="61913"/>
            </a:xfrm>
            <a:custGeom>
              <a:avLst/>
              <a:gdLst>
                <a:gd name="T0" fmla="*/ 165 w 180"/>
                <a:gd name="T1" fmla="*/ 90 h 195"/>
                <a:gd name="T2" fmla="*/ 84 w 180"/>
                <a:gd name="T3" fmla="*/ 90 h 195"/>
                <a:gd name="T4" fmla="*/ 28 w 180"/>
                <a:gd name="T5" fmla="*/ 8 h 195"/>
                <a:gd name="T6" fmla="*/ 26 w 180"/>
                <a:gd name="T7" fmla="*/ 6 h 195"/>
                <a:gd name="T8" fmla="*/ 24 w 180"/>
                <a:gd name="T9" fmla="*/ 4 h 195"/>
                <a:gd name="T10" fmla="*/ 22 w 180"/>
                <a:gd name="T11" fmla="*/ 2 h 195"/>
                <a:gd name="T12" fmla="*/ 18 w 180"/>
                <a:gd name="T13" fmla="*/ 2 h 195"/>
                <a:gd name="T14" fmla="*/ 15 w 180"/>
                <a:gd name="T15" fmla="*/ 0 h 195"/>
                <a:gd name="T16" fmla="*/ 13 w 180"/>
                <a:gd name="T17" fmla="*/ 2 h 195"/>
                <a:gd name="T18" fmla="*/ 10 w 180"/>
                <a:gd name="T19" fmla="*/ 2 h 195"/>
                <a:gd name="T20" fmla="*/ 7 w 180"/>
                <a:gd name="T21" fmla="*/ 4 h 195"/>
                <a:gd name="T22" fmla="*/ 4 w 180"/>
                <a:gd name="T23" fmla="*/ 6 h 195"/>
                <a:gd name="T24" fmla="*/ 2 w 180"/>
                <a:gd name="T25" fmla="*/ 8 h 195"/>
                <a:gd name="T26" fmla="*/ 1 w 180"/>
                <a:gd name="T27" fmla="*/ 10 h 195"/>
                <a:gd name="T28" fmla="*/ 0 w 180"/>
                <a:gd name="T29" fmla="*/ 13 h 195"/>
                <a:gd name="T30" fmla="*/ 0 w 180"/>
                <a:gd name="T31" fmla="*/ 15 h 195"/>
                <a:gd name="T32" fmla="*/ 0 w 180"/>
                <a:gd name="T33" fmla="*/ 19 h 195"/>
                <a:gd name="T34" fmla="*/ 1 w 180"/>
                <a:gd name="T35" fmla="*/ 22 h 195"/>
                <a:gd name="T36" fmla="*/ 3 w 180"/>
                <a:gd name="T37" fmla="*/ 24 h 195"/>
                <a:gd name="T38" fmla="*/ 57 w 180"/>
                <a:gd name="T39" fmla="*/ 105 h 195"/>
                <a:gd name="T40" fmla="*/ 3 w 180"/>
                <a:gd name="T41" fmla="*/ 171 h 195"/>
                <a:gd name="T42" fmla="*/ 2 w 180"/>
                <a:gd name="T43" fmla="*/ 174 h 195"/>
                <a:gd name="T44" fmla="*/ 1 w 180"/>
                <a:gd name="T45" fmla="*/ 176 h 195"/>
                <a:gd name="T46" fmla="*/ 0 w 180"/>
                <a:gd name="T47" fmla="*/ 179 h 195"/>
                <a:gd name="T48" fmla="*/ 0 w 180"/>
                <a:gd name="T49" fmla="*/ 182 h 195"/>
                <a:gd name="T50" fmla="*/ 1 w 180"/>
                <a:gd name="T51" fmla="*/ 185 h 195"/>
                <a:gd name="T52" fmla="*/ 2 w 180"/>
                <a:gd name="T53" fmla="*/ 188 h 195"/>
                <a:gd name="T54" fmla="*/ 3 w 180"/>
                <a:gd name="T55" fmla="*/ 190 h 195"/>
                <a:gd name="T56" fmla="*/ 5 w 180"/>
                <a:gd name="T57" fmla="*/ 192 h 195"/>
                <a:gd name="T58" fmla="*/ 8 w 180"/>
                <a:gd name="T59" fmla="*/ 194 h 195"/>
                <a:gd name="T60" fmla="*/ 11 w 180"/>
                <a:gd name="T61" fmla="*/ 194 h 195"/>
                <a:gd name="T62" fmla="*/ 13 w 180"/>
                <a:gd name="T63" fmla="*/ 195 h 195"/>
                <a:gd name="T64" fmla="*/ 15 w 180"/>
                <a:gd name="T65" fmla="*/ 195 h 195"/>
                <a:gd name="T66" fmla="*/ 18 w 180"/>
                <a:gd name="T67" fmla="*/ 194 h 195"/>
                <a:gd name="T68" fmla="*/ 22 w 180"/>
                <a:gd name="T69" fmla="*/ 194 h 195"/>
                <a:gd name="T70" fmla="*/ 25 w 180"/>
                <a:gd name="T71" fmla="*/ 192 h 195"/>
                <a:gd name="T72" fmla="*/ 27 w 180"/>
                <a:gd name="T73" fmla="*/ 191 h 195"/>
                <a:gd name="T74" fmla="*/ 83 w 180"/>
                <a:gd name="T75" fmla="*/ 120 h 195"/>
                <a:gd name="T76" fmla="*/ 165 w 180"/>
                <a:gd name="T77" fmla="*/ 120 h 195"/>
                <a:gd name="T78" fmla="*/ 168 w 180"/>
                <a:gd name="T79" fmla="*/ 120 h 195"/>
                <a:gd name="T80" fmla="*/ 170 w 180"/>
                <a:gd name="T81" fmla="*/ 119 h 195"/>
                <a:gd name="T82" fmla="*/ 174 w 180"/>
                <a:gd name="T83" fmla="*/ 118 h 195"/>
                <a:gd name="T84" fmla="*/ 176 w 180"/>
                <a:gd name="T85" fmla="*/ 116 h 195"/>
                <a:gd name="T86" fmla="*/ 178 w 180"/>
                <a:gd name="T87" fmla="*/ 114 h 195"/>
                <a:gd name="T88" fmla="*/ 179 w 180"/>
                <a:gd name="T89" fmla="*/ 112 h 195"/>
                <a:gd name="T90" fmla="*/ 180 w 180"/>
                <a:gd name="T91" fmla="*/ 109 h 195"/>
                <a:gd name="T92" fmla="*/ 180 w 180"/>
                <a:gd name="T93" fmla="*/ 105 h 195"/>
                <a:gd name="T94" fmla="*/ 180 w 180"/>
                <a:gd name="T95" fmla="*/ 102 h 195"/>
                <a:gd name="T96" fmla="*/ 179 w 180"/>
                <a:gd name="T97" fmla="*/ 100 h 195"/>
                <a:gd name="T98" fmla="*/ 178 w 180"/>
                <a:gd name="T99" fmla="*/ 97 h 195"/>
                <a:gd name="T100" fmla="*/ 176 w 180"/>
                <a:gd name="T101" fmla="*/ 95 h 195"/>
                <a:gd name="T102" fmla="*/ 174 w 180"/>
                <a:gd name="T103" fmla="*/ 93 h 195"/>
                <a:gd name="T104" fmla="*/ 170 w 180"/>
                <a:gd name="T105" fmla="*/ 91 h 195"/>
                <a:gd name="T106" fmla="*/ 168 w 180"/>
                <a:gd name="T107" fmla="*/ 90 h 195"/>
                <a:gd name="T108" fmla="*/ 165 w 180"/>
                <a:gd name="T109" fmla="*/ 90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0" h="195">
                  <a:moveTo>
                    <a:pt x="165" y="90"/>
                  </a:moveTo>
                  <a:lnTo>
                    <a:pt x="84" y="90"/>
                  </a:lnTo>
                  <a:lnTo>
                    <a:pt x="28" y="8"/>
                  </a:lnTo>
                  <a:lnTo>
                    <a:pt x="26" y="6"/>
                  </a:lnTo>
                  <a:lnTo>
                    <a:pt x="24" y="4"/>
                  </a:lnTo>
                  <a:lnTo>
                    <a:pt x="22" y="2"/>
                  </a:lnTo>
                  <a:lnTo>
                    <a:pt x="18" y="2"/>
                  </a:lnTo>
                  <a:lnTo>
                    <a:pt x="15" y="0"/>
                  </a:lnTo>
                  <a:lnTo>
                    <a:pt x="13" y="2"/>
                  </a:lnTo>
                  <a:lnTo>
                    <a:pt x="10" y="2"/>
                  </a:lnTo>
                  <a:lnTo>
                    <a:pt x="7" y="4"/>
                  </a:lnTo>
                  <a:lnTo>
                    <a:pt x="4" y="6"/>
                  </a:lnTo>
                  <a:lnTo>
                    <a:pt x="2" y="8"/>
                  </a:lnTo>
                  <a:lnTo>
                    <a:pt x="1" y="10"/>
                  </a:lnTo>
                  <a:lnTo>
                    <a:pt x="0" y="13"/>
                  </a:lnTo>
                  <a:lnTo>
                    <a:pt x="0" y="15"/>
                  </a:lnTo>
                  <a:lnTo>
                    <a:pt x="0" y="19"/>
                  </a:lnTo>
                  <a:lnTo>
                    <a:pt x="1" y="22"/>
                  </a:lnTo>
                  <a:lnTo>
                    <a:pt x="3" y="24"/>
                  </a:lnTo>
                  <a:lnTo>
                    <a:pt x="57" y="105"/>
                  </a:lnTo>
                  <a:lnTo>
                    <a:pt x="3" y="171"/>
                  </a:lnTo>
                  <a:lnTo>
                    <a:pt x="2" y="174"/>
                  </a:lnTo>
                  <a:lnTo>
                    <a:pt x="1" y="176"/>
                  </a:lnTo>
                  <a:lnTo>
                    <a:pt x="0" y="179"/>
                  </a:lnTo>
                  <a:lnTo>
                    <a:pt x="0" y="182"/>
                  </a:lnTo>
                  <a:lnTo>
                    <a:pt x="1" y="185"/>
                  </a:lnTo>
                  <a:lnTo>
                    <a:pt x="2" y="188"/>
                  </a:lnTo>
                  <a:lnTo>
                    <a:pt x="3" y="190"/>
                  </a:lnTo>
                  <a:lnTo>
                    <a:pt x="5" y="192"/>
                  </a:lnTo>
                  <a:lnTo>
                    <a:pt x="8" y="194"/>
                  </a:lnTo>
                  <a:lnTo>
                    <a:pt x="11" y="194"/>
                  </a:lnTo>
                  <a:lnTo>
                    <a:pt x="13" y="195"/>
                  </a:lnTo>
                  <a:lnTo>
                    <a:pt x="15" y="195"/>
                  </a:lnTo>
                  <a:lnTo>
                    <a:pt x="18" y="194"/>
                  </a:lnTo>
                  <a:lnTo>
                    <a:pt x="22" y="194"/>
                  </a:lnTo>
                  <a:lnTo>
                    <a:pt x="25" y="192"/>
                  </a:lnTo>
                  <a:lnTo>
                    <a:pt x="27" y="191"/>
                  </a:lnTo>
                  <a:lnTo>
                    <a:pt x="83" y="120"/>
                  </a:lnTo>
                  <a:lnTo>
                    <a:pt x="165" y="120"/>
                  </a:lnTo>
                  <a:lnTo>
                    <a:pt x="168" y="120"/>
                  </a:lnTo>
                  <a:lnTo>
                    <a:pt x="170" y="119"/>
                  </a:lnTo>
                  <a:lnTo>
                    <a:pt x="174" y="118"/>
                  </a:lnTo>
                  <a:lnTo>
                    <a:pt x="176" y="116"/>
                  </a:lnTo>
                  <a:lnTo>
                    <a:pt x="178" y="114"/>
                  </a:lnTo>
                  <a:lnTo>
                    <a:pt x="179" y="112"/>
                  </a:lnTo>
                  <a:lnTo>
                    <a:pt x="180" y="109"/>
                  </a:lnTo>
                  <a:lnTo>
                    <a:pt x="180" y="105"/>
                  </a:lnTo>
                  <a:lnTo>
                    <a:pt x="180" y="102"/>
                  </a:lnTo>
                  <a:lnTo>
                    <a:pt x="179" y="100"/>
                  </a:lnTo>
                  <a:lnTo>
                    <a:pt x="178" y="97"/>
                  </a:lnTo>
                  <a:lnTo>
                    <a:pt x="176" y="95"/>
                  </a:lnTo>
                  <a:lnTo>
                    <a:pt x="174" y="93"/>
                  </a:lnTo>
                  <a:lnTo>
                    <a:pt x="170" y="91"/>
                  </a:lnTo>
                  <a:lnTo>
                    <a:pt x="168" y="90"/>
                  </a:lnTo>
                  <a:lnTo>
                    <a:pt x="165" y="9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1" name="Freeform 103"/>
            <p:cNvSpPr>
              <a:spLocks/>
            </p:cNvSpPr>
            <p:nvPr/>
          </p:nvSpPr>
          <p:spPr bwMode="auto">
            <a:xfrm>
              <a:off x="5586413" y="3516313"/>
              <a:ext cx="19050" cy="9525"/>
            </a:xfrm>
            <a:custGeom>
              <a:avLst/>
              <a:gdLst>
                <a:gd name="T0" fmla="*/ 15 w 60"/>
                <a:gd name="T1" fmla="*/ 0 h 30"/>
                <a:gd name="T2" fmla="*/ 12 w 60"/>
                <a:gd name="T3" fmla="*/ 0 h 30"/>
                <a:gd name="T4" fmla="*/ 9 w 60"/>
                <a:gd name="T5" fmla="*/ 1 h 30"/>
                <a:gd name="T6" fmla="*/ 7 w 60"/>
                <a:gd name="T7" fmla="*/ 2 h 30"/>
                <a:gd name="T8" fmla="*/ 5 w 60"/>
                <a:gd name="T9" fmla="*/ 5 h 30"/>
                <a:gd name="T10" fmla="*/ 3 w 60"/>
                <a:gd name="T11" fmla="*/ 7 h 30"/>
                <a:gd name="T12" fmla="*/ 2 w 60"/>
                <a:gd name="T13" fmla="*/ 10 h 30"/>
                <a:gd name="T14" fmla="*/ 0 w 60"/>
                <a:gd name="T15" fmla="*/ 12 h 30"/>
                <a:gd name="T16" fmla="*/ 0 w 60"/>
                <a:gd name="T17" fmla="*/ 15 h 30"/>
                <a:gd name="T18" fmla="*/ 0 w 60"/>
                <a:gd name="T19" fmla="*/ 18 h 30"/>
                <a:gd name="T20" fmla="*/ 2 w 60"/>
                <a:gd name="T21" fmla="*/ 21 h 30"/>
                <a:gd name="T22" fmla="*/ 3 w 60"/>
                <a:gd name="T23" fmla="*/ 24 h 30"/>
                <a:gd name="T24" fmla="*/ 5 w 60"/>
                <a:gd name="T25" fmla="*/ 26 h 30"/>
                <a:gd name="T26" fmla="*/ 7 w 60"/>
                <a:gd name="T27" fmla="*/ 27 h 30"/>
                <a:gd name="T28" fmla="*/ 9 w 60"/>
                <a:gd name="T29" fmla="*/ 29 h 30"/>
                <a:gd name="T30" fmla="*/ 12 w 60"/>
                <a:gd name="T31" fmla="*/ 29 h 30"/>
                <a:gd name="T32" fmla="*/ 15 w 60"/>
                <a:gd name="T33" fmla="*/ 30 h 30"/>
                <a:gd name="T34" fmla="*/ 45 w 60"/>
                <a:gd name="T35" fmla="*/ 30 h 30"/>
                <a:gd name="T36" fmla="*/ 48 w 60"/>
                <a:gd name="T37" fmla="*/ 29 h 30"/>
                <a:gd name="T38" fmla="*/ 51 w 60"/>
                <a:gd name="T39" fmla="*/ 29 h 30"/>
                <a:gd name="T40" fmla="*/ 53 w 60"/>
                <a:gd name="T41" fmla="*/ 27 h 30"/>
                <a:gd name="T42" fmla="*/ 55 w 60"/>
                <a:gd name="T43" fmla="*/ 26 h 30"/>
                <a:gd name="T44" fmla="*/ 57 w 60"/>
                <a:gd name="T45" fmla="*/ 24 h 30"/>
                <a:gd name="T46" fmla="*/ 58 w 60"/>
                <a:gd name="T47" fmla="*/ 21 h 30"/>
                <a:gd name="T48" fmla="*/ 59 w 60"/>
                <a:gd name="T49" fmla="*/ 18 h 30"/>
                <a:gd name="T50" fmla="*/ 60 w 60"/>
                <a:gd name="T51" fmla="*/ 15 h 30"/>
                <a:gd name="T52" fmla="*/ 59 w 60"/>
                <a:gd name="T53" fmla="*/ 12 h 30"/>
                <a:gd name="T54" fmla="*/ 58 w 60"/>
                <a:gd name="T55" fmla="*/ 10 h 30"/>
                <a:gd name="T56" fmla="*/ 57 w 60"/>
                <a:gd name="T57" fmla="*/ 7 h 30"/>
                <a:gd name="T58" fmla="*/ 55 w 60"/>
                <a:gd name="T59" fmla="*/ 5 h 30"/>
                <a:gd name="T60" fmla="*/ 53 w 60"/>
                <a:gd name="T61" fmla="*/ 2 h 30"/>
                <a:gd name="T62" fmla="*/ 51 w 60"/>
                <a:gd name="T63" fmla="*/ 1 h 30"/>
                <a:gd name="T64" fmla="*/ 48 w 60"/>
                <a:gd name="T65" fmla="*/ 0 h 30"/>
                <a:gd name="T66" fmla="*/ 45 w 60"/>
                <a:gd name="T67" fmla="*/ 0 h 30"/>
                <a:gd name="T68" fmla="*/ 15 w 60"/>
                <a:gd name="T69"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0" h="30">
                  <a:moveTo>
                    <a:pt x="15" y="0"/>
                  </a:moveTo>
                  <a:lnTo>
                    <a:pt x="12" y="0"/>
                  </a:lnTo>
                  <a:lnTo>
                    <a:pt x="9" y="1"/>
                  </a:lnTo>
                  <a:lnTo>
                    <a:pt x="7" y="2"/>
                  </a:lnTo>
                  <a:lnTo>
                    <a:pt x="5" y="5"/>
                  </a:lnTo>
                  <a:lnTo>
                    <a:pt x="3" y="7"/>
                  </a:lnTo>
                  <a:lnTo>
                    <a:pt x="2" y="10"/>
                  </a:lnTo>
                  <a:lnTo>
                    <a:pt x="0" y="12"/>
                  </a:lnTo>
                  <a:lnTo>
                    <a:pt x="0" y="15"/>
                  </a:lnTo>
                  <a:lnTo>
                    <a:pt x="0" y="18"/>
                  </a:lnTo>
                  <a:lnTo>
                    <a:pt x="2" y="21"/>
                  </a:lnTo>
                  <a:lnTo>
                    <a:pt x="3" y="24"/>
                  </a:lnTo>
                  <a:lnTo>
                    <a:pt x="5" y="26"/>
                  </a:lnTo>
                  <a:lnTo>
                    <a:pt x="7" y="27"/>
                  </a:lnTo>
                  <a:lnTo>
                    <a:pt x="9" y="29"/>
                  </a:lnTo>
                  <a:lnTo>
                    <a:pt x="12" y="29"/>
                  </a:lnTo>
                  <a:lnTo>
                    <a:pt x="15" y="30"/>
                  </a:lnTo>
                  <a:lnTo>
                    <a:pt x="45" y="30"/>
                  </a:lnTo>
                  <a:lnTo>
                    <a:pt x="48" y="29"/>
                  </a:lnTo>
                  <a:lnTo>
                    <a:pt x="51" y="29"/>
                  </a:lnTo>
                  <a:lnTo>
                    <a:pt x="53" y="27"/>
                  </a:lnTo>
                  <a:lnTo>
                    <a:pt x="55" y="26"/>
                  </a:lnTo>
                  <a:lnTo>
                    <a:pt x="57" y="24"/>
                  </a:lnTo>
                  <a:lnTo>
                    <a:pt x="58" y="21"/>
                  </a:lnTo>
                  <a:lnTo>
                    <a:pt x="59" y="18"/>
                  </a:lnTo>
                  <a:lnTo>
                    <a:pt x="60" y="15"/>
                  </a:lnTo>
                  <a:lnTo>
                    <a:pt x="59" y="12"/>
                  </a:lnTo>
                  <a:lnTo>
                    <a:pt x="58" y="10"/>
                  </a:lnTo>
                  <a:lnTo>
                    <a:pt x="57" y="7"/>
                  </a:lnTo>
                  <a:lnTo>
                    <a:pt x="55" y="5"/>
                  </a:lnTo>
                  <a:lnTo>
                    <a:pt x="53" y="2"/>
                  </a:lnTo>
                  <a:lnTo>
                    <a:pt x="51" y="1"/>
                  </a:lnTo>
                  <a:lnTo>
                    <a:pt x="48" y="0"/>
                  </a:lnTo>
                  <a:lnTo>
                    <a:pt x="45" y="0"/>
                  </a:lnTo>
                  <a:lnTo>
                    <a:pt x="1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2" name="Freeform 104"/>
            <p:cNvSpPr>
              <a:spLocks noEditPoints="1"/>
            </p:cNvSpPr>
            <p:nvPr/>
          </p:nvSpPr>
          <p:spPr bwMode="auto">
            <a:xfrm>
              <a:off x="5467350" y="3421063"/>
              <a:ext cx="233363" cy="200025"/>
            </a:xfrm>
            <a:custGeom>
              <a:avLst/>
              <a:gdLst>
                <a:gd name="T0" fmla="*/ 419 w 733"/>
                <a:gd name="T1" fmla="*/ 179 h 628"/>
                <a:gd name="T2" fmla="*/ 129 w 733"/>
                <a:gd name="T3" fmla="*/ 598 h 628"/>
                <a:gd name="T4" fmla="*/ 729 w 733"/>
                <a:gd name="T5" fmla="*/ 55 h 628"/>
                <a:gd name="T6" fmla="*/ 733 w 733"/>
                <a:gd name="T7" fmla="*/ 41 h 628"/>
                <a:gd name="T8" fmla="*/ 725 w 733"/>
                <a:gd name="T9" fmla="*/ 31 h 628"/>
                <a:gd name="T10" fmla="*/ 388 w 733"/>
                <a:gd name="T11" fmla="*/ 11 h 628"/>
                <a:gd name="T12" fmla="*/ 380 w 733"/>
                <a:gd name="T13" fmla="*/ 1 h 628"/>
                <a:gd name="T14" fmla="*/ 366 w 733"/>
                <a:gd name="T15" fmla="*/ 3 h 628"/>
                <a:gd name="T16" fmla="*/ 359 w 733"/>
                <a:gd name="T17" fmla="*/ 15 h 628"/>
                <a:gd name="T18" fmla="*/ 6 w 733"/>
                <a:gd name="T19" fmla="*/ 33 h 628"/>
                <a:gd name="T20" fmla="*/ 0 w 733"/>
                <a:gd name="T21" fmla="*/ 45 h 628"/>
                <a:gd name="T22" fmla="*/ 6 w 733"/>
                <a:gd name="T23" fmla="*/ 57 h 628"/>
                <a:gd name="T24" fmla="*/ 359 w 733"/>
                <a:gd name="T25" fmla="*/ 89 h 628"/>
                <a:gd name="T26" fmla="*/ 304 w 733"/>
                <a:gd name="T27" fmla="*/ 94 h 628"/>
                <a:gd name="T28" fmla="*/ 300 w 733"/>
                <a:gd name="T29" fmla="*/ 179 h 628"/>
                <a:gd name="T30" fmla="*/ 233 w 733"/>
                <a:gd name="T31" fmla="*/ 188 h 628"/>
                <a:gd name="T32" fmla="*/ 172 w 733"/>
                <a:gd name="T33" fmla="*/ 212 h 628"/>
                <a:gd name="T34" fmla="*/ 93 w 733"/>
                <a:gd name="T35" fmla="*/ 270 h 628"/>
                <a:gd name="T36" fmla="*/ 43 w 733"/>
                <a:gd name="T37" fmla="*/ 345 h 628"/>
                <a:gd name="T38" fmla="*/ 30 w 733"/>
                <a:gd name="T39" fmla="*/ 395 h 628"/>
                <a:gd name="T40" fmla="*/ 35 w 733"/>
                <a:gd name="T41" fmla="*/ 461 h 628"/>
                <a:gd name="T42" fmla="*/ 56 w 733"/>
                <a:gd name="T43" fmla="*/ 522 h 628"/>
                <a:gd name="T44" fmla="*/ 92 w 733"/>
                <a:gd name="T45" fmla="*/ 562 h 628"/>
                <a:gd name="T46" fmla="*/ 30 w 733"/>
                <a:gd name="T47" fmla="*/ 596 h 628"/>
                <a:gd name="T48" fmla="*/ 21 w 733"/>
                <a:gd name="T49" fmla="*/ 585 h 628"/>
                <a:gd name="T50" fmla="*/ 6 w 733"/>
                <a:gd name="T51" fmla="*/ 586 h 628"/>
                <a:gd name="T52" fmla="*/ 0 w 733"/>
                <a:gd name="T53" fmla="*/ 598 h 628"/>
                <a:gd name="T54" fmla="*/ 13 w 733"/>
                <a:gd name="T55" fmla="*/ 624 h 628"/>
                <a:gd name="T56" fmla="*/ 482 w 733"/>
                <a:gd name="T57" fmla="*/ 628 h 628"/>
                <a:gd name="T58" fmla="*/ 492 w 733"/>
                <a:gd name="T59" fmla="*/ 619 h 628"/>
                <a:gd name="T60" fmla="*/ 491 w 733"/>
                <a:gd name="T61" fmla="*/ 605 h 628"/>
                <a:gd name="T62" fmla="*/ 479 w 733"/>
                <a:gd name="T63" fmla="*/ 598 h 628"/>
                <a:gd name="T64" fmla="*/ 410 w 733"/>
                <a:gd name="T65" fmla="*/ 553 h 628"/>
                <a:gd name="T66" fmla="*/ 447 w 733"/>
                <a:gd name="T67" fmla="*/ 520 h 628"/>
                <a:gd name="T68" fmla="*/ 497 w 733"/>
                <a:gd name="T69" fmla="*/ 430 h 628"/>
                <a:gd name="T70" fmla="*/ 522 w 733"/>
                <a:gd name="T71" fmla="*/ 326 h 628"/>
                <a:gd name="T72" fmla="*/ 686 w 733"/>
                <a:gd name="T73" fmla="*/ 277 h 628"/>
                <a:gd name="T74" fmla="*/ 687 w 733"/>
                <a:gd name="T75" fmla="*/ 263 h 628"/>
                <a:gd name="T76" fmla="*/ 675 w 733"/>
                <a:gd name="T77" fmla="*/ 254 h 628"/>
                <a:gd name="T78" fmla="*/ 498 w 733"/>
                <a:gd name="T79" fmla="*/ 305 h 628"/>
                <a:gd name="T80" fmla="*/ 486 w 733"/>
                <a:gd name="T81" fmla="*/ 359 h 628"/>
                <a:gd name="T82" fmla="*/ 455 w 733"/>
                <a:gd name="T83" fmla="*/ 452 h 628"/>
                <a:gd name="T84" fmla="*/ 413 w 733"/>
                <a:gd name="T85" fmla="*/ 512 h 628"/>
                <a:gd name="T86" fmla="*/ 371 w 733"/>
                <a:gd name="T87" fmla="*/ 538 h 628"/>
                <a:gd name="T88" fmla="*/ 95 w 733"/>
                <a:gd name="T89" fmla="*/ 526 h 628"/>
                <a:gd name="T90" fmla="*/ 73 w 733"/>
                <a:gd name="T91" fmla="*/ 486 h 628"/>
                <a:gd name="T92" fmla="*/ 61 w 733"/>
                <a:gd name="T93" fmla="*/ 428 h 628"/>
                <a:gd name="T94" fmla="*/ 63 w 733"/>
                <a:gd name="T95" fmla="*/ 380 h 628"/>
                <a:gd name="T96" fmla="*/ 103 w 733"/>
                <a:gd name="T97" fmla="*/ 305 h 628"/>
                <a:gd name="T98" fmla="*/ 187 w 733"/>
                <a:gd name="T99" fmla="*/ 237 h 628"/>
                <a:gd name="T100" fmla="*/ 276 w 733"/>
                <a:gd name="T101" fmla="*/ 210 h 628"/>
                <a:gd name="T102" fmla="*/ 673 w 733"/>
                <a:gd name="T103" fmla="*/ 209 h 628"/>
                <a:gd name="T104" fmla="*/ 686 w 733"/>
                <a:gd name="T105" fmla="*/ 203 h 628"/>
                <a:gd name="T106" fmla="*/ 687 w 733"/>
                <a:gd name="T107" fmla="*/ 189 h 628"/>
                <a:gd name="T108" fmla="*/ 676 w 733"/>
                <a:gd name="T109" fmla="*/ 179 h 628"/>
                <a:gd name="T110" fmla="*/ 447 w 733"/>
                <a:gd name="T111" fmla="*/ 99 h 628"/>
                <a:gd name="T112" fmla="*/ 437 w 733"/>
                <a:gd name="T113" fmla="*/ 89 h 6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33" h="628">
                  <a:moveTo>
                    <a:pt x="419" y="179"/>
                  </a:moveTo>
                  <a:lnTo>
                    <a:pt x="329" y="179"/>
                  </a:lnTo>
                  <a:lnTo>
                    <a:pt x="329" y="119"/>
                  </a:lnTo>
                  <a:lnTo>
                    <a:pt x="419" y="119"/>
                  </a:lnTo>
                  <a:lnTo>
                    <a:pt x="419" y="179"/>
                  </a:lnTo>
                  <a:close/>
                  <a:moveTo>
                    <a:pt x="129" y="598"/>
                  </a:moveTo>
                  <a:lnTo>
                    <a:pt x="144" y="568"/>
                  </a:lnTo>
                  <a:lnTo>
                    <a:pt x="350" y="568"/>
                  </a:lnTo>
                  <a:lnTo>
                    <a:pt x="365" y="598"/>
                  </a:lnTo>
                  <a:lnTo>
                    <a:pt x="129" y="598"/>
                  </a:lnTo>
                  <a:close/>
                  <a:moveTo>
                    <a:pt x="718" y="60"/>
                  </a:moveTo>
                  <a:lnTo>
                    <a:pt x="721" y="60"/>
                  </a:lnTo>
                  <a:lnTo>
                    <a:pt x="725" y="58"/>
                  </a:lnTo>
                  <a:lnTo>
                    <a:pt x="727" y="57"/>
                  </a:lnTo>
                  <a:lnTo>
                    <a:pt x="729" y="55"/>
                  </a:lnTo>
                  <a:lnTo>
                    <a:pt x="731" y="53"/>
                  </a:lnTo>
                  <a:lnTo>
                    <a:pt x="732" y="51"/>
                  </a:lnTo>
                  <a:lnTo>
                    <a:pt x="733" y="48"/>
                  </a:lnTo>
                  <a:lnTo>
                    <a:pt x="733" y="45"/>
                  </a:lnTo>
                  <a:lnTo>
                    <a:pt x="733" y="41"/>
                  </a:lnTo>
                  <a:lnTo>
                    <a:pt x="732" y="39"/>
                  </a:lnTo>
                  <a:lnTo>
                    <a:pt x="731" y="37"/>
                  </a:lnTo>
                  <a:lnTo>
                    <a:pt x="729" y="34"/>
                  </a:lnTo>
                  <a:lnTo>
                    <a:pt x="727" y="33"/>
                  </a:lnTo>
                  <a:lnTo>
                    <a:pt x="725" y="31"/>
                  </a:lnTo>
                  <a:lnTo>
                    <a:pt x="721" y="30"/>
                  </a:lnTo>
                  <a:lnTo>
                    <a:pt x="718" y="30"/>
                  </a:lnTo>
                  <a:lnTo>
                    <a:pt x="389" y="30"/>
                  </a:lnTo>
                  <a:lnTo>
                    <a:pt x="389" y="15"/>
                  </a:lnTo>
                  <a:lnTo>
                    <a:pt x="388" y="11"/>
                  </a:lnTo>
                  <a:lnTo>
                    <a:pt x="388" y="9"/>
                  </a:lnTo>
                  <a:lnTo>
                    <a:pt x="386" y="7"/>
                  </a:lnTo>
                  <a:lnTo>
                    <a:pt x="385" y="4"/>
                  </a:lnTo>
                  <a:lnTo>
                    <a:pt x="382" y="3"/>
                  </a:lnTo>
                  <a:lnTo>
                    <a:pt x="380" y="1"/>
                  </a:lnTo>
                  <a:lnTo>
                    <a:pt x="377" y="0"/>
                  </a:lnTo>
                  <a:lnTo>
                    <a:pt x="374" y="0"/>
                  </a:lnTo>
                  <a:lnTo>
                    <a:pt x="371" y="0"/>
                  </a:lnTo>
                  <a:lnTo>
                    <a:pt x="368" y="1"/>
                  </a:lnTo>
                  <a:lnTo>
                    <a:pt x="366" y="3"/>
                  </a:lnTo>
                  <a:lnTo>
                    <a:pt x="364" y="4"/>
                  </a:lnTo>
                  <a:lnTo>
                    <a:pt x="362" y="7"/>
                  </a:lnTo>
                  <a:lnTo>
                    <a:pt x="361" y="9"/>
                  </a:lnTo>
                  <a:lnTo>
                    <a:pt x="359" y="12"/>
                  </a:lnTo>
                  <a:lnTo>
                    <a:pt x="359" y="15"/>
                  </a:lnTo>
                  <a:lnTo>
                    <a:pt x="359" y="30"/>
                  </a:lnTo>
                  <a:lnTo>
                    <a:pt x="15" y="30"/>
                  </a:lnTo>
                  <a:lnTo>
                    <a:pt x="12" y="30"/>
                  </a:lnTo>
                  <a:lnTo>
                    <a:pt x="9" y="31"/>
                  </a:lnTo>
                  <a:lnTo>
                    <a:pt x="6" y="33"/>
                  </a:lnTo>
                  <a:lnTo>
                    <a:pt x="4" y="34"/>
                  </a:lnTo>
                  <a:lnTo>
                    <a:pt x="3" y="37"/>
                  </a:lnTo>
                  <a:lnTo>
                    <a:pt x="1" y="39"/>
                  </a:lnTo>
                  <a:lnTo>
                    <a:pt x="0" y="41"/>
                  </a:lnTo>
                  <a:lnTo>
                    <a:pt x="0" y="45"/>
                  </a:lnTo>
                  <a:lnTo>
                    <a:pt x="0" y="48"/>
                  </a:lnTo>
                  <a:lnTo>
                    <a:pt x="1" y="51"/>
                  </a:lnTo>
                  <a:lnTo>
                    <a:pt x="3" y="53"/>
                  </a:lnTo>
                  <a:lnTo>
                    <a:pt x="4" y="55"/>
                  </a:lnTo>
                  <a:lnTo>
                    <a:pt x="6" y="57"/>
                  </a:lnTo>
                  <a:lnTo>
                    <a:pt x="9" y="58"/>
                  </a:lnTo>
                  <a:lnTo>
                    <a:pt x="12" y="60"/>
                  </a:lnTo>
                  <a:lnTo>
                    <a:pt x="15" y="60"/>
                  </a:lnTo>
                  <a:lnTo>
                    <a:pt x="359" y="60"/>
                  </a:lnTo>
                  <a:lnTo>
                    <a:pt x="359" y="89"/>
                  </a:lnTo>
                  <a:lnTo>
                    <a:pt x="315" y="89"/>
                  </a:lnTo>
                  <a:lnTo>
                    <a:pt x="311" y="89"/>
                  </a:lnTo>
                  <a:lnTo>
                    <a:pt x="308" y="91"/>
                  </a:lnTo>
                  <a:lnTo>
                    <a:pt x="306" y="93"/>
                  </a:lnTo>
                  <a:lnTo>
                    <a:pt x="304" y="94"/>
                  </a:lnTo>
                  <a:lnTo>
                    <a:pt x="302" y="96"/>
                  </a:lnTo>
                  <a:lnTo>
                    <a:pt x="301" y="99"/>
                  </a:lnTo>
                  <a:lnTo>
                    <a:pt x="300" y="101"/>
                  </a:lnTo>
                  <a:lnTo>
                    <a:pt x="300" y="104"/>
                  </a:lnTo>
                  <a:lnTo>
                    <a:pt x="300" y="179"/>
                  </a:lnTo>
                  <a:lnTo>
                    <a:pt x="286" y="179"/>
                  </a:lnTo>
                  <a:lnTo>
                    <a:pt x="273" y="180"/>
                  </a:lnTo>
                  <a:lnTo>
                    <a:pt x="259" y="183"/>
                  </a:lnTo>
                  <a:lnTo>
                    <a:pt x="246" y="185"/>
                  </a:lnTo>
                  <a:lnTo>
                    <a:pt x="233" y="188"/>
                  </a:lnTo>
                  <a:lnTo>
                    <a:pt x="220" y="191"/>
                  </a:lnTo>
                  <a:lnTo>
                    <a:pt x="209" y="195"/>
                  </a:lnTo>
                  <a:lnTo>
                    <a:pt x="196" y="200"/>
                  </a:lnTo>
                  <a:lnTo>
                    <a:pt x="184" y="205"/>
                  </a:lnTo>
                  <a:lnTo>
                    <a:pt x="172" y="212"/>
                  </a:lnTo>
                  <a:lnTo>
                    <a:pt x="161" y="217"/>
                  </a:lnTo>
                  <a:lnTo>
                    <a:pt x="151" y="224"/>
                  </a:lnTo>
                  <a:lnTo>
                    <a:pt x="129" y="238"/>
                  </a:lnTo>
                  <a:lnTo>
                    <a:pt x="110" y="254"/>
                  </a:lnTo>
                  <a:lnTo>
                    <a:pt x="93" y="270"/>
                  </a:lnTo>
                  <a:lnTo>
                    <a:pt x="77" y="289"/>
                  </a:lnTo>
                  <a:lnTo>
                    <a:pt x="63" y="307"/>
                  </a:lnTo>
                  <a:lnTo>
                    <a:pt x="51" y="326"/>
                  </a:lnTo>
                  <a:lnTo>
                    <a:pt x="47" y="336"/>
                  </a:lnTo>
                  <a:lnTo>
                    <a:pt x="43" y="345"/>
                  </a:lnTo>
                  <a:lnTo>
                    <a:pt x="38" y="356"/>
                  </a:lnTo>
                  <a:lnTo>
                    <a:pt x="35" y="366"/>
                  </a:lnTo>
                  <a:lnTo>
                    <a:pt x="33" y="375"/>
                  </a:lnTo>
                  <a:lnTo>
                    <a:pt x="31" y="385"/>
                  </a:lnTo>
                  <a:lnTo>
                    <a:pt x="30" y="395"/>
                  </a:lnTo>
                  <a:lnTo>
                    <a:pt x="30" y="404"/>
                  </a:lnTo>
                  <a:lnTo>
                    <a:pt x="30" y="418"/>
                  </a:lnTo>
                  <a:lnTo>
                    <a:pt x="31" y="432"/>
                  </a:lnTo>
                  <a:lnTo>
                    <a:pt x="33" y="447"/>
                  </a:lnTo>
                  <a:lnTo>
                    <a:pt x="35" y="461"/>
                  </a:lnTo>
                  <a:lnTo>
                    <a:pt x="38" y="474"/>
                  </a:lnTo>
                  <a:lnTo>
                    <a:pt x="42" y="487"/>
                  </a:lnTo>
                  <a:lnTo>
                    <a:pt x="46" y="499"/>
                  </a:lnTo>
                  <a:lnTo>
                    <a:pt x="50" y="511"/>
                  </a:lnTo>
                  <a:lnTo>
                    <a:pt x="56" y="522"/>
                  </a:lnTo>
                  <a:lnTo>
                    <a:pt x="62" y="533"/>
                  </a:lnTo>
                  <a:lnTo>
                    <a:pt x="68" y="541"/>
                  </a:lnTo>
                  <a:lnTo>
                    <a:pt x="76" y="550"/>
                  </a:lnTo>
                  <a:lnTo>
                    <a:pt x="83" y="556"/>
                  </a:lnTo>
                  <a:lnTo>
                    <a:pt x="92" y="562"/>
                  </a:lnTo>
                  <a:lnTo>
                    <a:pt x="101" y="566"/>
                  </a:lnTo>
                  <a:lnTo>
                    <a:pt x="111" y="568"/>
                  </a:lnTo>
                  <a:lnTo>
                    <a:pt x="95" y="598"/>
                  </a:lnTo>
                  <a:lnTo>
                    <a:pt x="30" y="598"/>
                  </a:lnTo>
                  <a:lnTo>
                    <a:pt x="30" y="596"/>
                  </a:lnTo>
                  <a:lnTo>
                    <a:pt x="29" y="593"/>
                  </a:lnTo>
                  <a:lnTo>
                    <a:pt x="28" y="590"/>
                  </a:lnTo>
                  <a:lnTo>
                    <a:pt x="25" y="588"/>
                  </a:lnTo>
                  <a:lnTo>
                    <a:pt x="23" y="586"/>
                  </a:lnTo>
                  <a:lnTo>
                    <a:pt x="21" y="585"/>
                  </a:lnTo>
                  <a:lnTo>
                    <a:pt x="18" y="584"/>
                  </a:lnTo>
                  <a:lnTo>
                    <a:pt x="15" y="583"/>
                  </a:lnTo>
                  <a:lnTo>
                    <a:pt x="12" y="584"/>
                  </a:lnTo>
                  <a:lnTo>
                    <a:pt x="9" y="585"/>
                  </a:lnTo>
                  <a:lnTo>
                    <a:pt x="6" y="586"/>
                  </a:lnTo>
                  <a:lnTo>
                    <a:pt x="4" y="588"/>
                  </a:lnTo>
                  <a:lnTo>
                    <a:pt x="3" y="590"/>
                  </a:lnTo>
                  <a:lnTo>
                    <a:pt x="1" y="593"/>
                  </a:lnTo>
                  <a:lnTo>
                    <a:pt x="0" y="596"/>
                  </a:lnTo>
                  <a:lnTo>
                    <a:pt x="0" y="598"/>
                  </a:lnTo>
                  <a:lnTo>
                    <a:pt x="1" y="605"/>
                  </a:lnTo>
                  <a:lnTo>
                    <a:pt x="2" y="611"/>
                  </a:lnTo>
                  <a:lnTo>
                    <a:pt x="4" y="616"/>
                  </a:lnTo>
                  <a:lnTo>
                    <a:pt x="8" y="620"/>
                  </a:lnTo>
                  <a:lnTo>
                    <a:pt x="13" y="624"/>
                  </a:lnTo>
                  <a:lnTo>
                    <a:pt x="17" y="627"/>
                  </a:lnTo>
                  <a:lnTo>
                    <a:pt x="23" y="628"/>
                  </a:lnTo>
                  <a:lnTo>
                    <a:pt x="30" y="628"/>
                  </a:lnTo>
                  <a:lnTo>
                    <a:pt x="479" y="628"/>
                  </a:lnTo>
                  <a:lnTo>
                    <a:pt x="482" y="628"/>
                  </a:lnTo>
                  <a:lnTo>
                    <a:pt x="485" y="627"/>
                  </a:lnTo>
                  <a:lnTo>
                    <a:pt x="487" y="626"/>
                  </a:lnTo>
                  <a:lnTo>
                    <a:pt x="489" y="624"/>
                  </a:lnTo>
                  <a:lnTo>
                    <a:pt x="491" y="621"/>
                  </a:lnTo>
                  <a:lnTo>
                    <a:pt x="492" y="619"/>
                  </a:lnTo>
                  <a:lnTo>
                    <a:pt x="493" y="616"/>
                  </a:lnTo>
                  <a:lnTo>
                    <a:pt x="494" y="613"/>
                  </a:lnTo>
                  <a:lnTo>
                    <a:pt x="493" y="611"/>
                  </a:lnTo>
                  <a:lnTo>
                    <a:pt x="492" y="608"/>
                  </a:lnTo>
                  <a:lnTo>
                    <a:pt x="491" y="605"/>
                  </a:lnTo>
                  <a:lnTo>
                    <a:pt x="489" y="603"/>
                  </a:lnTo>
                  <a:lnTo>
                    <a:pt x="487" y="601"/>
                  </a:lnTo>
                  <a:lnTo>
                    <a:pt x="485" y="600"/>
                  </a:lnTo>
                  <a:lnTo>
                    <a:pt x="482" y="599"/>
                  </a:lnTo>
                  <a:lnTo>
                    <a:pt x="479" y="598"/>
                  </a:lnTo>
                  <a:lnTo>
                    <a:pt x="398" y="598"/>
                  </a:lnTo>
                  <a:lnTo>
                    <a:pt x="382" y="567"/>
                  </a:lnTo>
                  <a:lnTo>
                    <a:pt x="392" y="563"/>
                  </a:lnTo>
                  <a:lnTo>
                    <a:pt x="401" y="558"/>
                  </a:lnTo>
                  <a:lnTo>
                    <a:pt x="410" y="553"/>
                  </a:lnTo>
                  <a:lnTo>
                    <a:pt x="418" y="548"/>
                  </a:lnTo>
                  <a:lnTo>
                    <a:pt x="426" y="541"/>
                  </a:lnTo>
                  <a:lnTo>
                    <a:pt x="433" y="535"/>
                  </a:lnTo>
                  <a:lnTo>
                    <a:pt x="441" y="527"/>
                  </a:lnTo>
                  <a:lnTo>
                    <a:pt x="447" y="520"/>
                  </a:lnTo>
                  <a:lnTo>
                    <a:pt x="459" y="503"/>
                  </a:lnTo>
                  <a:lnTo>
                    <a:pt x="471" y="486"/>
                  </a:lnTo>
                  <a:lnTo>
                    <a:pt x="480" y="467"/>
                  </a:lnTo>
                  <a:lnTo>
                    <a:pt x="489" y="449"/>
                  </a:lnTo>
                  <a:lnTo>
                    <a:pt x="497" y="430"/>
                  </a:lnTo>
                  <a:lnTo>
                    <a:pt x="503" y="412"/>
                  </a:lnTo>
                  <a:lnTo>
                    <a:pt x="508" y="393"/>
                  </a:lnTo>
                  <a:lnTo>
                    <a:pt x="513" y="376"/>
                  </a:lnTo>
                  <a:lnTo>
                    <a:pt x="519" y="347"/>
                  </a:lnTo>
                  <a:lnTo>
                    <a:pt x="522" y="326"/>
                  </a:lnTo>
                  <a:lnTo>
                    <a:pt x="677" y="284"/>
                  </a:lnTo>
                  <a:lnTo>
                    <a:pt x="681" y="283"/>
                  </a:lnTo>
                  <a:lnTo>
                    <a:pt x="683" y="282"/>
                  </a:lnTo>
                  <a:lnTo>
                    <a:pt x="685" y="280"/>
                  </a:lnTo>
                  <a:lnTo>
                    <a:pt x="686" y="277"/>
                  </a:lnTo>
                  <a:lnTo>
                    <a:pt x="688" y="275"/>
                  </a:lnTo>
                  <a:lnTo>
                    <a:pt x="688" y="271"/>
                  </a:lnTo>
                  <a:lnTo>
                    <a:pt x="688" y="269"/>
                  </a:lnTo>
                  <a:lnTo>
                    <a:pt x="688" y="266"/>
                  </a:lnTo>
                  <a:lnTo>
                    <a:pt x="687" y="263"/>
                  </a:lnTo>
                  <a:lnTo>
                    <a:pt x="685" y="261"/>
                  </a:lnTo>
                  <a:lnTo>
                    <a:pt x="683" y="258"/>
                  </a:lnTo>
                  <a:lnTo>
                    <a:pt x="681" y="256"/>
                  </a:lnTo>
                  <a:lnTo>
                    <a:pt x="679" y="255"/>
                  </a:lnTo>
                  <a:lnTo>
                    <a:pt x="675" y="254"/>
                  </a:lnTo>
                  <a:lnTo>
                    <a:pt x="672" y="254"/>
                  </a:lnTo>
                  <a:lnTo>
                    <a:pt x="670" y="255"/>
                  </a:lnTo>
                  <a:lnTo>
                    <a:pt x="505" y="300"/>
                  </a:lnTo>
                  <a:lnTo>
                    <a:pt x="501" y="302"/>
                  </a:lnTo>
                  <a:lnTo>
                    <a:pt x="498" y="305"/>
                  </a:lnTo>
                  <a:lnTo>
                    <a:pt x="495" y="308"/>
                  </a:lnTo>
                  <a:lnTo>
                    <a:pt x="494" y="312"/>
                  </a:lnTo>
                  <a:lnTo>
                    <a:pt x="493" y="322"/>
                  </a:lnTo>
                  <a:lnTo>
                    <a:pt x="489" y="344"/>
                  </a:lnTo>
                  <a:lnTo>
                    <a:pt x="486" y="359"/>
                  </a:lnTo>
                  <a:lnTo>
                    <a:pt x="482" y="375"/>
                  </a:lnTo>
                  <a:lnTo>
                    <a:pt x="476" y="395"/>
                  </a:lnTo>
                  <a:lnTo>
                    <a:pt x="471" y="413"/>
                  </a:lnTo>
                  <a:lnTo>
                    <a:pt x="463" y="433"/>
                  </a:lnTo>
                  <a:lnTo>
                    <a:pt x="455" y="452"/>
                  </a:lnTo>
                  <a:lnTo>
                    <a:pt x="445" y="471"/>
                  </a:lnTo>
                  <a:lnTo>
                    <a:pt x="433" y="489"/>
                  </a:lnTo>
                  <a:lnTo>
                    <a:pt x="427" y="496"/>
                  </a:lnTo>
                  <a:lnTo>
                    <a:pt x="421" y="505"/>
                  </a:lnTo>
                  <a:lnTo>
                    <a:pt x="413" y="512"/>
                  </a:lnTo>
                  <a:lnTo>
                    <a:pt x="406" y="519"/>
                  </a:lnTo>
                  <a:lnTo>
                    <a:pt x="398" y="525"/>
                  </a:lnTo>
                  <a:lnTo>
                    <a:pt x="389" y="530"/>
                  </a:lnTo>
                  <a:lnTo>
                    <a:pt x="381" y="535"/>
                  </a:lnTo>
                  <a:lnTo>
                    <a:pt x="371" y="538"/>
                  </a:lnTo>
                  <a:lnTo>
                    <a:pt x="120" y="538"/>
                  </a:lnTo>
                  <a:lnTo>
                    <a:pt x="113" y="538"/>
                  </a:lnTo>
                  <a:lnTo>
                    <a:pt x="107" y="535"/>
                  </a:lnTo>
                  <a:lnTo>
                    <a:pt x="101" y="532"/>
                  </a:lnTo>
                  <a:lnTo>
                    <a:pt x="95" y="526"/>
                  </a:lnTo>
                  <a:lnTo>
                    <a:pt x="90" y="520"/>
                  </a:lnTo>
                  <a:lnTo>
                    <a:pt x="85" y="512"/>
                  </a:lnTo>
                  <a:lnTo>
                    <a:pt x="81" y="505"/>
                  </a:lnTo>
                  <a:lnTo>
                    <a:pt x="77" y="495"/>
                  </a:lnTo>
                  <a:lnTo>
                    <a:pt x="73" y="486"/>
                  </a:lnTo>
                  <a:lnTo>
                    <a:pt x="69" y="475"/>
                  </a:lnTo>
                  <a:lnTo>
                    <a:pt x="66" y="463"/>
                  </a:lnTo>
                  <a:lnTo>
                    <a:pt x="64" y="452"/>
                  </a:lnTo>
                  <a:lnTo>
                    <a:pt x="62" y="441"/>
                  </a:lnTo>
                  <a:lnTo>
                    <a:pt x="61" y="428"/>
                  </a:lnTo>
                  <a:lnTo>
                    <a:pt x="60" y="416"/>
                  </a:lnTo>
                  <a:lnTo>
                    <a:pt x="60" y="404"/>
                  </a:lnTo>
                  <a:lnTo>
                    <a:pt x="60" y="396"/>
                  </a:lnTo>
                  <a:lnTo>
                    <a:pt x="61" y="387"/>
                  </a:lnTo>
                  <a:lnTo>
                    <a:pt x="63" y="380"/>
                  </a:lnTo>
                  <a:lnTo>
                    <a:pt x="65" y="371"/>
                  </a:lnTo>
                  <a:lnTo>
                    <a:pt x="71" y="354"/>
                  </a:lnTo>
                  <a:lnTo>
                    <a:pt x="79" y="338"/>
                  </a:lnTo>
                  <a:lnTo>
                    <a:pt x="90" y="321"/>
                  </a:lnTo>
                  <a:lnTo>
                    <a:pt x="103" y="305"/>
                  </a:lnTo>
                  <a:lnTo>
                    <a:pt x="116" y="290"/>
                  </a:lnTo>
                  <a:lnTo>
                    <a:pt x="133" y="275"/>
                  </a:lnTo>
                  <a:lnTo>
                    <a:pt x="150" y="261"/>
                  </a:lnTo>
                  <a:lnTo>
                    <a:pt x="168" y="248"/>
                  </a:lnTo>
                  <a:lnTo>
                    <a:pt x="187" y="237"/>
                  </a:lnTo>
                  <a:lnTo>
                    <a:pt x="209" y="228"/>
                  </a:lnTo>
                  <a:lnTo>
                    <a:pt x="230" y="220"/>
                  </a:lnTo>
                  <a:lnTo>
                    <a:pt x="252" y="214"/>
                  </a:lnTo>
                  <a:lnTo>
                    <a:pt x="264" y="212"/>
                  </a:lnTo>
                  <a:lnTo>
                    <a:pt x="276" y="210"/>
                  </a:lnTo>
                  <a:lnTo>
                    <a:pt x="288" y="209"/>
                  </a:lnTo>
                  <a:lnTo>
                    <a:pt x="300" y="209"/>
                  </a:lnTo>
                  <a:lnTo>
                    <a:pt x="315" y="209"/>
                  </a:lnTo>
                  <a:lnTo>
                    <a:pt x="434" y="209"/>
                  </a:lnTo>
                  <a:lnTo>
                    <a:pt x="673" y="209"/>
                  </a:lnTo>
                  <a:lnTo>
                    <a:pt x="676" y="209"/>
                  </a:lnTo>
                  <a:lnTo>
                    <a:pt x="680" y="208"/>
                  </a:lnTo>
                  <a:lnTo>
                    <a:pt x="682" y="207"/>
                  </a:lnTo>
                  <a:lnTo>
                    <a:pt x="684" y="205"/>
                  </a:lnTo>
                  <a:lnTo>
                    <a:pt x="686" y="203"/>
                  </a:lnTo>
                  <a:lnTo>
                    <a:pt x="687" y="201"/>
                  </a:lnTo>
                  <a:lnTo>
                    <a:pt x="688" y="198"/>
                  </a:lnTo>
                  <a:lnTo>
                    <a:pt x="688" y="194"/>
                  </a:lnTo>
                  <a:lnTo>
                    <a:pt x="688" y="191"/>
                  </a:lnTo>
                  <a:lnTo>
                    <a:pt x="687" y="189"/>
                  </a:lnTo>
                  <a:lnTo>
                    <a:pt x="686" y="186"/>
                  </a:lnTo>
                  <a:lnTo>
                    <a:pt x="684" y="184"/>
                  </a:lnTo>
                  <a:lnTo>
                    <a:pt x="682" y="182"/>
                  </a:lnTo>
                  <a:lnTo>
                    <a:pt x="680" y="180"/>
                  </a:lnTo>
                  <a:lnTo>
                    <a:pt x="676" y="179"/>
                  </a:lnTo>
                  <a:lnTo>
                    <a:pt x="673" y="179"/>
                  </a:lnTo>
                  <a:lnTo>
                    <a:pt x="449" y="179"/>
                  </a:lnTo>
                  <a:lnTo>
                    <a:pt x="449" y="104"/>
                  </a:lnTo>
                  <a:lnTo>
                    <a:pt x="448" y="101"/>
                  </a:lnTo>
                  <a:lnTo>
                    <a:pt x="447" y="99"/>
                  </a:lnTo>
                  <a:lnTo>
                    <a:pt x="446" y="96"/>
                  </a:lnTo>
                  <a:lnTo>
                    <a:pt x="444" y="94"/>
                  </a:lnTo>
                  <a:lnTo>
                    <a:pt x="442" y="93"/>
                  </a:lnTo>
                  <a:lnTo>
                    <a:pt x="440" y="91"/>
                  </a:lnTo>
                  <a:lnTo>
                    <a:pt x="437" y="89"/>
                  </a:lnTo>
                  <a:lnTo>
                    <a:pt x="434" y="89"/>
                  </a:lnTo>
                  <a:lnTo>
                    <a:pt x="389" y="89"/>
                  </a:lnTo>
                  <a:lnTo>
                    <a:pt x="389" y="60"/>
                  </a:lnTo>
                  <a:lnTo>
                    <a:pt x="718"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3" name="Freeform 105"/>
            <p:cNvSpPr>
              <a:spLocks noEditPoints="1"/>
            </p:cNvSpPr>
            <p:nvPr/>
          </p:nvSpPr>
          <p:spPr bwMode="auto">
            <a:xfrm>
              <a:off x="5505450" y="3506788"/>
              <a:ext cx="47625" cy="47625"/>
            </a:xfrm>
            <a:custGeom>
              <a:avLst/>
              <a:gdLst>
                <a:gd name="T0" fmla="*/ 120 w 150"/>
                <a:gd name="T1" fmla="*/ 120 h 150"/>
                <a:gd name="T2" fmla="*/ 31 w 150"/>
                <a:gd name="T3" fmla="*/ 120 h 150"/>
                <a:gd name="T4" fmla="*/ 33 w 150"/>
                <a:gd name="T5" fmla="*/ 112 h 150"/>
                <a:gd name="T6" fmla="*/ 35 w 150"/>
                <a:gd name="T7" fmla="*/ 104 h 150"/>
                <a:gd name="T8" fmla="*/ 38 w 150"/>
                <a:gd name="T9" fmla="*/ 97 h 150"/>
                <a:gd name="T10" fmla="*/ 41 w 150"/>
                <a:gd name="T11" fmla="*/ 89 h 150"/>
                <a:gd name="T12" fmla="*/ 46 w 150"/>
                <a:gd name="T13" fmla="*/ 83 h 150"/>
                <a:gd name="T14" fmla="*/ 51 w 150"/>
                <a:gd name="T15" fmla="*/ 75 h 150"/>
                <a:gd name="T16" fmla="*/ 56 w 150"/>
                <a:gd name="T17" fmla="*/ 69 h 150"/>
                <a:gd name="T18" fmla="*/ 62 w 150"/>
                <a:gd name="T19" fmla="*/ 62 h 150"/>
                <a:gd name="T20" fmla="*/ 68 w 150"/>
                <a:gd name="T21" fmla="*/ 57 h 150"/>
                <a:gd name="T22" fmla="*/ 75 w 150"/>
                <a:gd name="T23" fmla="*/ 52 h 150"/>
                <a:gd name="T24" fmla="*/ 81 w 150"/>
                <a:gd name="T25" fmla="*/ 46 h 150"/>
                <a:gd name="T26" fmla="*/ 89 w 150"/>
                <a:gd name="T27" fmla="*/ 42 h 150"/>
                <a:gd name="T28" fmla="*/ 96 w 150"/>
                <a:gd name="T29" fmla="*/ 39 h 150"/>
                <a:gd name="T30" fmla="*/ 104 w 150"/>
                <a:gd name="T31" fmla="*/ 36 h 150"/>
                <a:gd name="T32" fmla="*/ 111 w 150"/>
                <a:gd name="T33" fmla="*/ 33 h 150"/>
                <a:gd name="T34" fmla="*/ 120 w 150"/>
                <a:gd name="T35" fmla="*/ 31 h 150"/>
                <a:gd name="T36" fmla="*/ 120 w 150"/>
                <a:gd name="T37" fmla="*/ 120 h 150"/>
                <a:gd name="T38" fmla="*/ 0 w 150"/>
                <a:gd name="T39" fmla="*/ 135 h 150"/>
                <a:gd name="T40" fmla="*/ 0 w 150"/>
                <a:gd name="T41" fmla="*/ 138 h 150"/>
                <a:gd name="T42" fmla="*/ 1 w 150"/>
                <a:gd name="T43" fmla="*/ 141 h 150"/>
                <a:gd name="T44" fmla="*/ 2 w 150"/>
                <a:gd name="T45" fmla="*/ 144 h 150"/>
                <a:gd name="T46" fmla="*/ 4 w 150"/>
                <a:gd name="T47" fmla="*/ 146 h 150"/>
                <a:gd name="T48" fmla="*/ 6 w 150"/>
                <a:gd name="T49" fmla="*/ 147 h 150"/>
                <a:gd name="T50" fmla="*/ 9 w 150"/>
                <a:gd name="T51" fmla="*/ 149 h 150"/>
                <a:gd name="T52" fmla="*/ 11 w 150"/>
                <a:gd name="T53" fmla="*/ 149 h 150"/>
                <a:gd name="T54" fmla="*/ 15 w 150"/>
                <a:gd name="T55" fmla="*/ 150 h 150"/>
                <a:gd name="T56" fmla="*/ 135 w 150"/>
                <a:gd name="T57" fmla="*/ 150 h 150"/>
                <a:gd name="T58" fmla="*/ 138 w 150"/>
                <a:gd name="T59" fmla="*/ 149 h 150"/>
                <a:gd name="T60" fmla="*/ 140 w 150"/>
                <a:gd name="T61" fmla="*/ 149 h 150"/>
                <a:gd name="T62" fmla="*/ 143 w 150"/>
                <a:gd name="T63" fmla="*/ 147 h 150"/>
                <a:gd name="T64" fmla="*/ 145 w 150"/>
                <a:gd name="T65" fmla="*/ 146 h 150"/>
                <a:gd name="T66" fmla="*/ 146 w 150"/>
                <a:gd name="T67" fmla="*/ 144 h 150"/>
                <a:gd name="T68" fmla="*/ 148 w 150"/>
                <a:gd name="T69" fmla="*/ 141 h 150"/>
                <a:gd name="T70" fmla="*/ 150 w 150"/>
                <a:gd name="T71" fmla="*/ 138 h 150"/>
                <a:gd name="T72" fmla="*/ 150 w 150"/>
                <a:gd name="T73" fmla="*/ 135 h 150"/>
                <a:gd name="T74" fmla="*/ 150 w 150"/>
                <a:gd name="T75" fmla="*/ 15 h 150"/>
                <a:gd name="T76" fmla="*/ 150 w 150"/>
                <a:gd name="T77" fmla="*/ 12 h 150"/>
                <a:gd name="T78" fmla="*/ 148 w 150"/>
                <a:gd name="T79" fmla="*/ 10 h 150"/>
                <a:gd name="T80" fmla="*/ 146 w 150"/>
                <a:gd name="T81" fmla="*/ 7 h 150"/>
                <a:gd name="T82" fmla="*/ 145 w 150"/>
                <a:gd name="T83" fmla="*/ 5 h 150"/>
                <a:gd name="T84" fmla="*/ 143 w 150"/>
                <a:gd name="T85" fmla="*/ 2 h 150"/>
                <a:gd name="T86" fmla="*/ 140 w 150"/>
                <a:gd name="T87" fmla="*/ 1 h 150"/>
                <a:gd name="T88" fmla="*/ 138 w 150"/>
                <a:gd name="T89" fmla="*/ 0 h 150"/>
                <a:gd name="T90" fmla="*/ 135 w 150"/>
                <a:gd name="T91" fmla="*/ 0 h 150"/>
                <a:gd name="T92" fmla="*/ 122 w 150"/>
                <a:gd name="T93" fmla="*/ 0 h 150"/>
                <a:gd name="T94" fmla="*/ 109 w 150"/>
                <a:gd name="T95" fmla="*/ 2 h 150"/>
                <a:gd name="T96" fmla="*/ 96 w 150"/>
                <a:gd name="T97" fmla="*/ 7 h 150"/>
                <a:gd name="T98" fmla="*/ 83 w 150"/>
                <a:gd name="T99" fmla="*/ 11 h 150"/>
                <a:gd name="T100" fmla="*/ 71 w 150"/>
                <a:gd name="T101" fmla="*/ 17 h 150"/>
                <a:gd name="T102" fmla="*/ 61 w 150"/>
                <a:gd name="T103" fmla="*/ 24 h 150"/>
                <a:gd name="T104" fmla="*/ 50 w 150"/>
                <a:gd name="T105" fmla="*/ 32 h 150"/>
                <a:gd name="T106" fmla="*/ 40 w 150"/>
                <a:gd name="T107" fmla="*/ 41 h 150"/>
                <a:gd name="T108" fmla="*/ 32 w 150"/>
                <a:gd name="T109" fmla="*/ 51 h 150"/>
                <a:gd name="T110" fmla="*/ 23 w 150"/>
                <a:gd name="T111" fmla="*/ 61 h 150"/>
                <a:gd name="T112" fmla="*/ 17 w 150"/>
                <a:gd name="T113" fmla="*/ 72 h 150"/>
                <a:gd name="T114" fmla="*/ 10 w 150"/>
                <a:gd name="T115" fmla="*/ 84 h 150"/>
                <a:gd name="T116" fmla="*/ 6 w 150"/>
                <a:gd name="T117" fmla="*/ 97 h 150"/>
                <a:gd name="T118" fmla="*/ 3 w 150"/>
                <a:gd name="T119" fmla="*/ 108 h 150"/>
                <a:gd name="T120" fmla="*/ 1 w 150"/>
                <a:gd name="T121" fmla="*/ 121 h 150"/>
                <a:gd name="T122" fmla="*/ 0 w 150"/>
                <a:gd name="T123" fmla="*/ 135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0" h="150">
                  <a:moveTo>
                    <a:pt x="120" y="120"/>
                  </a:moveTo>
                  <a:lnTo>
                    <a:pt x="31" y="120"/>
                  </a:lnTo>
                  <a:lnTo>
                    <a:pt x="33" y="112"/>
                  </a:lnTo>
                  <a:lnTo>
                    <a:pt x="35" y="104"/>
                  </a:lnTo>
                  <a:lnTo>
                    <a:pt x="38" y="97"/>
                  </a:lnTo>
                  <a:lnTo>
                    <a:pt x="41" y="89"/>
                  </a:lnTo>
                  <a:lnTo>
                    <a:pt x="46" y="83"/>
                  </a:lnTo>
                  <a:lnTo>
                    <a:pt x="51" y="75"/>
                  </a:lnTo>
                  <a:lnTo>
                    <a:pt x="56" y="69"/>
                  </a:lnTo>
                  <a:lnTo>
                    <a:pt x="62" y="62"/>
                  </a:lnTo>
                  <a:lnTo>
                    <a:pt x="68" y="57"/>
                  </a:lnTo>
                  <a:lnTo>
                    <a:pt x="75" y="52"/>
                  </a:lnTo>
                  <a:lnTo>
                    <a:pt x="81" y="46"/>
                  </a:lnTo>
                  <a:lnTo>
                    <a:pt x="89" y="42"/>
                  </a:lnTo>
                  <a:lnTo>
                    <a:pt x="96" y="39"/>
                  </a:lnTo>
                  <a:lnTo>
                    <a:pt x="104" y="36"/>
                  </a:lnTo>
                  <a:lnTo>
                    <a:pt x="111" y="33"/>
                  </a:lnTo>
                  <a:lnTo>
                    <a:pt x="120" y="31"/>
                  </a:lnTo>
                  <a:lnTo>
                    <a:pt x="120" y="120"/>
                  </a:lnTo>
                  <a:close/>
                  <a:moveTo>
                    <a:pt x="0" y="135"/>
                  </a:moveTo>
                  <a:lnTo>
                    <a:pt x="0" y="138"/>
                  </a:lnTo>
                  <a:lnTo>
                    <a:pt x="1" y="141"/>
                  </a:lnTo>
                  <a:lnTo>
                    <a:pt x="2" y="144"/>
                  </a:lnTo>
                  <a:lnTo>
                    <a:pt x="4" y="146"/>
                  </a:lnTo>
                  <a:lnTo>
                    <a:pt x="6" y="147"/>
                  </a:lnTo>
                  <a:lnTo>
                    <a:pt x="9" y="149"/>
                  </a:lnTo>
                  <a:lnTo>
                    <a:pt x="11" y="149"/>
                  </a:lnTo>
                  <a:lnTo>
                    <a:pt x="15" y="150"/>
                  </a:lnTo>
                  <a:lnTo>
                    <a:pt x="135" y="150"/>
                  </a:lnTo>
                  <a:lnTo>
                    <a:pt x="138" y="149"/>
                  </a:lnTo>
                  <a:lnTo>
                    <a:pt x="140" y="149"/>
                  </a:lnTo>
                  <a:lnTo>
                    <a:pt x="143" y="147"/>
                  </a:lnTo>
                  <a:lnTo>
                    <a:pt x="145" y="146"/>
                  </a:lnTo>
                  <a:lnTo>
                    <a:pt x="146" y="144"/>
                  </a:lnTo>
                  <a:lnTo>
                    <a:pt x="148" y="141"/>
                  </a:lnTo>
                  <a:lnTo>
                    <a:pt x="150" y="138"/>
                  </a:lnTo>
                  <a:lnTo>
                    <a:pt x="150" y="135"/>
                  </a:lnTo>
                  <a:lnTo>
                    <a:pt x="150" y="15"/>
                  </a:lnTo>
                  <a:lnTo>
                    <a:pt x="150" y="12"/>
                  </a:lnTo>
                  <a:lnTo>
                    <a:pt x="148" y="10"/>
                  </a:lnTo>
                  <a:lnTo>
                    <a:pt x="146" y="7"/>
                  </a:lnTo>
                  <a:lnTo>
                    <a:pt x="145" y="5"/>
                  </a:lnTo>
                  <a:lnTo>
                    <a:pt x="143" y="2"/>
                  </a:lnTo>
                  <a:lnTo>
                    <a:pt x="140" y="1"/>
                  </a:lnTo>
                  <a:lnTo>
                    <a:pt x="138" y="0"/>
                  </a:lnTo>
                  <a:lnTo>
                    <a:pt x="135" y="0"/>
                  </a:lnTo>
                  <a:lnTo>
                    <a:pt x="122" y="0"/>
                  </a:lnTo>
                  <a:lnTo>
                    <a:pt x="109" y="2"/>
                  </a:lnTo>
                  <a:lnTo>
                    <a:pt x="96" y="7"/>
                  </a:lnTo>
                  <a:lnTo>
                    <a:pt x="83" y="11"/>
                  </a:lnTo>
                  <a:lnTo>
                    <a:pt x="71" y="17"/>
                  </a:lnTo>
                  <a:lnTo>
                    <a:pt x="61" y="24"/>
                  </a:lnTo>
                  <a:lnTo>
                    <a:pt x="50" y="32"/>
                  </a:lnTo>
                  <a:lnTo>
                    <a:pt x="40" y="41"/>
                  </a:lnTo>
                  <a:lnTo>
                    <a:pt x="32" y="51"/>
                  </a:lnTo>
                  <a:lnTo>
                    <a:pt x="23" y="61"/>
                  </a:lnTo>
                  <a:lnTo>
                    <a:pt x="17" y="72"/>
                  </a:lnTo>
                  <a:lnTo>
                    <a:pt x="10" y="84"/>
                  </a:lnTo>
                  <a:lnTo>
                    <a:pt x="6" y="97"/>
                  </a:lnTo>
                  <a:lnTo>
                    <a:pt x="3" y="108"/>
                  </a:lnTo>
                  <a:lnTo>
                    <a:pt x="1" y="121"/>
                  </a:lnTo>
                  <a:lnTo>
                    <a:pt x="0" y="1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64" name="Freeform 136"/>
          <p:cNvSpPr>
            <a:spLocks noEditPoints="1"/>
          </p:cNvSpPr>
          <p:nvPr/>
        </p:nvSpPr>
        <p:spPr bwMode="auto">
          <a:xfrm>
            <a:off x="7177296" y="2665776"/>
            <a:ext cx="285750" cy="180975"/>
          </a:xfrm>
          <a:custGeom>
            <a:avLst/>
            <a:gdLst>
              <a:gd name="T0" fmla="*/ 659 w 899"/>
              <a:gd name="T1" fmla="*/ 514 h 567"/>
              <a:gd name="T2" fmla="*/ 605 w 899"/>
              <a:gd name="T3" fmla="*/ 443 h 567"/>
              <a:gd name="T4" fmla="*/ 615 w 899"/>
              <a:gd name="T5" fmla="*/ 339 h 567"/>
              <a:gd name="T6" fmla="*/ 676 w 899"/>
              <a:gd name="T7" fmla="*/ 382 h 567"/>
              <a:gd name="T8" fmla="*/ 740 w 899"/>
              <a:gd name="T9" fmla="*/ 416 h 567"/>
              <a:gd name="T10" fmla="*/ 748 w 899"/>
              <a:gd name="T11" fmla="*/ 398 h 567"/>
              <a:gd name="T12" fmla="*/ 709 w 899"/>
              <a:gd name="T13" fmla="*/ 270 h 567"/>
              <a:gd name="T14" fmla="*/ 798 w 899"/>
              <a:gd name="T15" fmla="*/ 284 h 567"/>
              <a:gd name="T16" fmla="*/ 858 w 899"/>
              <a:gd name="T17" fmla="*/ 351 h 567"/>
              <a:gd name="T18" fmla="*/ 862 w 899"/>
              <a:gd name="T19" fmla="*/ 443 h 567"/>
              <a:gd name="T20" fmla="*/ 809 w 899"/>
              <a:gd name="T21" fmla="*/ 514 h 567"/>
              <a:gd name="T22" fmla="*/ 410 w 899"/>
              <a:gd name="T23" fmla="*/ 377 h 567"/>
              <a:gd name="T24" fmla="*/ 315 w 899"/>
              <a:gd name="T25" fmla="*/ 337 h 567"/>
              <a:gd name="T26" fmla="*/ 383 w 899"/>
              <a:gd name="T27" fmla="*/ 388 h 567"/>
              <a:gd name="T28" fmla="*/ 274 w 899"/>
              <a:gd name="T29" fmla="*/ 325 h 567"/>
              <a:gd name="T30" fmla="*/ 151 w 899"/>
              <a:gd name="T31" fmla="*/ 537 h 567"/>
              <a:gd name="T32" fmla="*/ 70 w 899"/>
              <a:gd name="T33" fmla="*/ 498 h 567"/>
              <a:gd name="T34" fmla="*/ 31 w 899"/>
              <a:gd name="T35" fmla="*/ 416 h 567"/>
              <a:gd name="T36" fmla="*/ 53 w 899"/>
              <a:gd name="T37" fmla="*/ 328 h 567"/>
              <a:gd name="T38" fmla="*/ 125 w 899"/>
              <a:gd name="T39" fmla="*/ 274 h 567"/>
              <a:gd name="T40" fmla="*/ 221 w 899"/>
              <a:gd name="T41" fmla="*/ 281 h 567"/>
              <a:gd name="T42" fmla="*/ 158 w 899"/>
              <a:gd name="T43" fmla="*/ 416 h 567"/>
              <a:gd name="T44" fmla="*/ 284 w 899"/>
              <a:gd name="T45" fmla="*/ 465 h 567"/>
              <a:gd name="T46" fmla="*/ 225 w 899"/>
              <a:gd name="T47" fmla="*/ 523 h 567"/>
              <a:gd name="T48" fmla="*/ 720 w 899"/>
              <a:gd name="T49" fmla="*/ 238 h 567"/>
              <a:gd name="T50" fmla="*/ 740 w 899"/>
              <a:gd name="T51" fmla="*/ 92 h 567"/>
              <a:gd name="T52" fmla="*/ 750 w 899"/>
              <a:gd name="T53" fmla="*/ 119 h 567"/>
              <a:gd name="T54" fmla="*/ 721 w 899"/>
              <a:gd name="T55" fmla="*/ 133 h 567"/>
              <a:gd name="T56" fmla="*/ 704 w 899"/>
              <a:gd name="T57" fmla="*/ 149 h 567"/>
              <a:gd name="T58" fmla="*/ 717 w 899"/>
              <a:gd name="T59" fmla="*/ 163 h 567"/>
              <a:gd name="T60" fmla="*/ 766 w 899"/>
              <a:gd name="T61" fmla="*/ 146 h 567"/>
              <a:gd name="T62" fmla="*/ 780 w 899"/>
              <a:gd name="T63" fmla="*/ 98 h 567"/>
              <a:gd name="T64" fmla="*/ 631 w 899"/>
              <a:gd name="T65" fmla="*/ 43 h 567"/>
              <a:gd name="T66" fmla="*/ 614 w 899"/>
              <a:gd name="T67" fmla="*/ 58 h 567"/>
              <a:gd name="T68" fmla="*/ 329 w 899"/>
              <a:gd name="T69" fmla="*/ 58 h 567"/>
              <a:gd name="T70" fmla="*/ 344 w 899"/>
              <a:gd name="T71" fmla="*/ 39 h 567"/>
              <a:gd name="T72" fmla="*/ 226 w 899"/>
              <a:gd name="T73" fmla="*/ 0 h 567"/>
              <a:gd name="T74" fmla="*/ 210 w 899"/>
              <a:gd name="T75" fmla="*/ 10 h 567"/>
              <a:gd name="T76" fmla="*/ 241 w 899"/>
              <a:gd name="T77" fmla="*/ 35 h 567"/>
              <a:gd name="T78" fmla="*/ 193 w 899"/>
              <a:gd name="T79" fmla="*/ 240 h 567"/>
              <a:gd name="T80" fmla="*/ 101 w 899"/>
              <a:gd name="T81" fmla="*/ 251 h 567"/>
              <a:gd name="T82" fmla="*/ 21 w 899"/>
              <a:gd name="T83" fmla="*/ 325 h 567"/>
              <a:gd name="T84" fmla="*/ 4 w 899"/>
              <a:gd name="T85" fmla="*/ 436 h 567"/>
              <a:gd name="T86" fmla="*/ 60 w 899"/>
              <a:gd name="T87" fmla="*/ 529 h 567"/>
              <a:gd name="T88" fmla="*/ 165 w 899"/>
              <a:gd name="T89" fmla="*/ 567 h 567"/>
              <a:gd name="T90" fmla="*/ 265 w 899"/>
              <a:gd name="T91" fmla="*/ 534 h 567"/>
              <a:gd name="T92" fmla="*/ 323 w 899"/>
              <a:gd name="T93" fmla="*/ 448 h 567"/>
              <a:gd name="T94" fmla="*/ 415 w 899"/>
              <a:gd name="T95" fmla="*/ 415 h 567"/>
              <a:gd name="T96" fmla="*/ 611 w 899"/>
              <a:gd name="T97" fmla="*/ 294 h 567"/>
              <a:gd name="T98" fmla="*/ 575 w 899"/>
              <a:gd name="T99" fmla="*/ 359 h 567"/>
              <a:gd name="T100" fmla="*/ 576 w 899"/>
              <a:gd name="T101" fmla="*/ 451 h 567"/>
              <a:gd name="T102" fmla="*/ 642 w 899"/>
              <a:gd name="T103" fmla="*/ 539 h 567"/>
              <a:gd name="T104" fmla="*/ 751 w 899"/>
              <a:gd name="T105" fmla="*/ 567 h 567"/>
              <a:gd name="T106" fmla="*/ 850 w 899"/>
              <a:gd name="T107" fmla="*/ 519 h 567"/>
              <a:gd name="T108" fmla="*/ 898 w 899"/>
              <a:gd name="T109" fmla="*/ 419 h 567"/>
              <a:gd name="T110" fmla="*/ 870 w 899"/>
              <a:gd name="T111" fmla="*/ 311 h 567"/>
              <a:gd name="T112" fmla="*/ 783 w 899"/>
              <a:gd name="T113" fmla="*/ 246 h 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899" h="567">
                <a:moveTo>
                  <a:pt x="734" y="537"/>
                </a:moveTo>
                <a:lnTo>
                  <a:pt x="720" y="537"/>
                </a:lnTo>
                <a:lnTo>
                  <a:pt x="707" y="535"/>
                </a:lnTo>
                <a:lnTo>
                  <a:pt x="694" y="532"/>
                </a:lnTo>
                <a:lnTo>
                  <a:pt x="681" y="527"/>
                </a:lnTo>
                <a:lnTo>
                  <a:pt x="670" y="521"/>
                </a:lnTo>
                <a:lnTo>
                  <a:pt x="659" y="514"/>
                </a:lnTo>
                <a:lnTo>
                  <a:pt x="648" y="507"/>
                </a:lnTo>
                <a:lnTo>
                  <a:pt x="638" y="498"/>
                </a:lnTo>
                <a:lnTo>
                  <a:pt x="630" y="489"/>
                </a:lnTo>
                <a:lnTo>
                  <a:pt x="622" y="478"/>
                </a:lnTo>
                <a:lnTo>
                  <a:pt x="615" y="467"/>
                </a:lnTo>
                <a:lnTo>
                  <a:pt x="610" y="456"/>
                </a:lnTo>
                <a:lnTo>
                  <a:pt x="605" y="443"/>
                </a:lnTo>
                <a:lnTo>
                  <a:pt x="602" y="430"/>
                </a:lnTo>
                <a:lnTo>
                  <a:pt x="600" y="416"/>
                </a:lnTo>
                <a:lnTo>
                  <a:pt x="599" y="403"/>
                </a:lnTo>
                <a:lnTo>
                  <a:pt x="600" y="386"/>
                </a:lnTo>
                <a:lnTo>
                  <a:pt x="603" y="369"/>
                </a:lnTo>
                <a:lnTo>
                  <a:pt x="608" y="354"/>
                </a:lnTo>
                <a:lnTo>
                  <a:pt x="615" y="339"/>
                </a:lnTo>
                <a:lnTo>
                  <a:pt x="623" y="325"/>
                </a:lnTo>
                <a:lnTo>
                  <a:pt x="634" y="313"/>
                </a:lnTo>
                <a:lnTo>
                  <a:pt x="645" y="301"/>
                </a:lnTo>
                <a:lnTo>
                  <a:pt x="658" y="292"/>
                </a:lnTo>
                <a:lnTo>
                  <a:pt x="674" y="375"/>
                </a:lnTo>
                <a:lnTo>
                  <a:pt x="675" y="379"/>
                </a:lnTo>
                <a:lnTo>
                  <a:pt x="676" y="382"/>
                </a:lnTo>
                <a:lnTo>
                  <a:pt x="678" y="384"/>
                </a:lnTo>
                <a:lnTo>
                  <a:pt x="680" y="386"/>
                </a:lnTo>
                <a:lnTo>
                  <a:pt x="725" y="416"/>
                </a:lnTo>
                <a:lnTo>
                  <a:pt x="729" y="417"/>
                </a:lnTo>
                <a:lnTo>
                  <a:pt x="734" y="418"/>
                </a:lnTo>
                <a:lnTo>
                  <a:pt x="737" y="417"/>
                </a:lnTo>
                <a:lnTo>
                  <a:pt x="740" y="416"/>
                </a:lnTo>
                <a:lnTo>
                  <a:pt x="743" y="415"/>
                </a:lnTo>
                <a:lnTo>
                  <a:pt x="747" y="412"/>
                </a:lnTo>
                <a:lnTo>
                  <a:pt x="748" y="408"/>
                </a:lnTo>
                <a:lnTo>
                  <a:pt x="749" y="405"/>
                </a:lnTo>
                <a:lnTo>
                  <a:pt x="749" y="403"/>
                </a:lnTo>
                <a:lnTo>
                  <a:pt x="749" y="400"/>
                </a:lnTo>
                <a:lnTo>
                  <a:pt x="748" y="398"/>
                </a:lnTo>
                <a:lnTo>
                  <a:pt x="747" y="395"/>
                </a:lnTo>
                <a:lnTo>
                  <a:pt x="744" y="392"/>
                </a:lnTo>
                <a:lnTo>
                  <a:pt x="742" y="390"/>
                </a:lnTo>
                <a:lnTo>
                  <a:pt x="703" y="364"/>
                </a:lnTo>
                <a:lnTo>
                  <a:pt x="686" y="277"/>
                </a:lnTo>
                <a:lnTo>
                  <a:pt x="697" y="274"/>
                </a:lnTo>
                <a:lnTo>
                  <a:pt x="709" y="270"/>
                </a:lnTo>
                <a:lnTo>
                  <a:pt x="721" y="268"/>
                </a:lnTo>
                <a:lnTo>
                  <a:pt x="734" y="268"/>
                </a:lnTo>
                <a:lnTo>
                  <a:pt x="748" y="268"/>
                </a:lnTo>
                <a:lnTo>
                  <a:pt x="761" y="270"/>
                </a:lnTo>
                <a:lnTo>
                  <a:pt x="773" y="274"/>
                </a:lnTo>
                <a:lnTo>
                  <a:pt x="786" y="279"/>
                </a:lnTo>
                <a:lnTo>
                  <a:pt x="798" y="284"/>
                </a:lnTo>
                <a:lnTo>
                  <a:pt x="809" y="291"/>
                </a:lnTo>
                <a:lnTo>
                  <a:pt x="819" y="299"/>
                </a:lnTo>
                <a:lnTo>
                  <a:pt x="829" y="308"/>
                </a:lnTo>
                <a:lnTo>
                  <a:pt x="838" y="317"/>
                </a:lnTo>
                <a:lnTo>
                  <a:pt x="845" y="328"/>
                </a:lnTo>
                <a:lnTo>
                  <a:pt x="853" y="339"/>
                </a:lnTo>
                <a:lnTo>
                  <a:pt x="858" y="351"/>
                </a:lnTo>
                <a:lnTo>
                  <a:pt x="862" y="362"/>
                </a:lnTo>
                <a:lnTo>
                  <a:pt x="865" y="375"/>
                </a:lnTo>
                <a:lnTo>
                  <a:pt x="868" y="389"/>
                </a:lnTo>
                <a:lnTo>
                  <a:pt x="869" y="403"/>
                </a:lnTo>
                <a:lnTo>
                  <a:pt x="868" y="416"/>
                </a:lnTo>
                <a:lnTo>
                  <a:pt x="865" y="430"/>
                </a:lnTo>
                <a:lnTo>
                  <a:pt x="862" y="443"/>
                </a:lnTo>
                <a:lnTo>
                  <a:pt x="858" y="456"/>
                </a:lnTo>
                <a:lnTo>
                  <a:pt x="853" y="467"/>
                </a:lnTo>
                <a:lnTo>
                  <a:pt x="845" y="478"/>
                </a:lnTo>
                <a:lnTo>
                  <a:pt x="838" y="489"/>
                </a:lnTo>
                <a:lnTo>
                  <a:pt x="829" y="498"/>
                </a:lnTo>
                <a:lnTo>
                  <a:pt x="819" y="507"/>
                </a:lnTo>
                <a:lnTo>
                  <a:pt x="809" y="514"/>
                </a:lnTo>
                <a:lnTo>
                  <a:pt x="798" y="521"/>
                </a:lnTo>
                <a:lnTo>
                  <a:pt x="786" y="527"/>
                </a:lnTo>
                <a:lnTo>
                  <a:pt x="773" y="532"/>
                </a:lnTo>
                <a:lnTo>
                  <a:pt x="761" y="535"/>
                </a:lnTo>
                <a:lnTo>
                  <a:pt x="748" y="537"/>
                </a:lnTo>
                <a:lnTo>
                  <a:pt x="734" y="537"/>
                </a:lnTo>
                <a:close/>
                <a:moveTo>
                  <a:pt x="410" y="377"/>
                </a:moveTo>
                <a:lnTo>
                  <a:pt x="331" y="178"/>
                </a:lnTo>
                <a:lnTo>
                  <a:pt x="612" y="178"/>
                </a:lnTo>
                <a:lnTo>
                  <a:pt x="410" y="377"/>
                </a:lnTo>
                <a:close/>
                <a:moveTo>
                  <a:pt x="329" y="388"/>
                </a:moveTo>
                <a:lnTo>
                  <a:pt x="326" y="370"/>
                </a:lnTo>
                <a:lnTo>
                  <a:pt x="322" y="353"/>
                </a:lnTo>
                <a:lnTo>
                  <a:pt x="315" y="337"/>
                </a:lnTo>
                <a:lnTo>
                  <a:pt x="308" y="322"/>
                </a:lnTo>
                <a:lnTo>
                  <a:pt x="298" y="307"/>
                </a:lnTo>
                <a:lnTo>
                  <a:pt x="287" y="294"/>
                </a:lnTo>
                <a:lnTo>
                  <a:pt x="276" y="282"/>
                </a:lnTo>
                <a:lnTo>
                  <a:pt x="263" y="271"/>
                </a:lnTo>
                <a:lnTo>
                  <a:pt x="307" y="198"/>
                </a:lnTo>
                <a:lnTo>
                  <a:pt x="383" y="388"/>
                </a:lnTo>
                <a:lnTo>
                  <a:pt x="329" y="388"/>
                </a:lnTo>
                <a:close/>
                <a:moveTo>
                  <a:pt x="299" y="388"/>
                </a:moveTo>
                <a:lnTo>
                  <a:pt x="191" y="388"/>
                </a:lnTo>
                <a:lnTo>
                  <a:pt x="247" y="296"/>
                </a:lnTo>
                <a:lnTo>
                  <a:pt x="257" y="306"/>
                </a:lnTo>
                <a:lnTo>
                  <a:pt x="266" y="315"/>
                </a:lnTo>
                <a:lnTo>
                  <a:pt x="274" y="325"/>
                </a:lnTo>
                <a:lnTo>
                  <a:pt x="282" y="337"/>
                </a:lnTo>
                <a:lnTo>
                  <a:pt x="288" y="349"/>
                </a:lnTo>
                <a:lnTo>
                  <a:pt x="293" y="360"/>
                </a:lnTo>
                <a:lnTo>
                  <a:pt x="297" y="374"/>
                </a:lnTo>
                <a:lnTo>
                  <a:pt x="299" y="388"/>
                </a:lnTo>
                <a:close/>
                <a:moveTo>
                  <a:pt x="165" y="537"/>
                </a:moveTo>
                <a:lnTo>
                  <a:pt x="151" y="537"/>
                </a:lnTo>
                <a:lnTo>
                  <a:pt x="137" y="535"/>
                </a:lnTo>
                <a:lnTo>
                  <a:pt x="125" y="532"/>
                </a:lnTo>
                <a:lnTo>
                  <a:pt x="113" y="527"/>
                </a:lnTo>
                <a:lnTo>
                  <a:pt x="101" y="521"/>
                </a:lnTo>
                <a:lnTo>
                  <a:pt x="89" y="514"/>
                </a:lnTo>
                <a:lnTo>
                  <a:pt x="80" y="507"/>
                </a:lnTo>
                <a:lnTo>
                  <a:pt x="70" y="498"/>
                </a:lnTo>
                <a:lnTo>
                  <a:pt x="61" y="489"/>
                </a:lnTo>
                <a:lnTo>
                  <a:pt x="53" y="478"/>
                </a:lnTo>
                <a:lnTo>
                  <a:pt x="46" y="467"/>
                </a:lnTo>
                <a:lnTo>
                  <a:pt x="41" y="456"/>
                </a:lnTo>
                <a:lnTo>
                  <a:pt x="37" y="443"/>
                </a:lnTo>
                <a:lnTo>
                  <a:pt x="32" y="430"/>
                </a:lnTo>
                <a:lnTo>
                  <a:pt x="31" y="416"/>
                </a:lnTo>
                <a:lnTo>
                  <a:pt x="30" y="403"/>
                </a:lnTo>
                <a:lnTo>
                  <a:pt x="31" y="389"/>
                </a:lnTo>
                <a:lnTo>
                  <a:pt x="32" y="375"/>
                </a:lnTo>
                <a:lnTo>
                  <a:pt x="37" y="362"/>
                </a:lnTo>
                <a:lnTo>
                  <a:pt x="41" y="351"/>
                </a:lnTo>
                <a:lnTo>
                  <a:pt x="46" y="339"/>
                </a:lnTo>
                <a:lnTo>
                  <a:pt x="53" y="328"/>
                </a:lnTo>
                <a:lnTo>
                  <a:pt x="61" y="317"/>
                </a:lnTo>
                <a:lnTo>
                  <a:pt x="70" y="308"/>
                </a:lnTo>
                <a:lnTo>
                  <a:pt x="80" y="299"/>
                </a:lnTo>
                <a:lnTo>
                  <a:pt x="89" y="291"/>
                </a:lnTo>
                <a:lnTo>
                  <a:pt x="101" y="284"/>
                </a:lnTo>
                <a:lnTo>
                  <a:pt x="113" y="279"/>
                </a:lnTo>
                <a:lnTo>
                  <a:pt x="125" y="274"/>
                </a:lnTo>
                <a:lnTo>
                  <a:pt x="137" y="270"/>
                </a:lnTo>
                <a:lnTo>
                  <a:pt x="151" y="268"/>
                </a:lnTo>
                <a:lnTo>
                  <a:pt x="165" y="268"/>
                </a:lnTo>
                <a:lnTo>
                  <a:pt x="180" y="268"/>
                </a:lnTo>
                <a:lnTo>
                  <a:pt x="194" y="271"/>
                </a:lnTo>
                <a:lnTo>
                  <a:pt x="208" y="276"/>
                </a:lnTo>
                <a:lnTo>
                  <a:pt x="221" y="281"/>
                </a:lnTo>
                <a:lnTo>
                  <a:pt x="152" y="396"/>
                </a:lnTo>
                <a:lnTo>
                  <a:pt x="150" y="399"/>
                </a:lnTo>
                <a:lnTo>
                  <a:pt x="150" y="403"/>
                </a:lnTo>
                <a:lnTo>
                  <a:pt x="150" y="406"/>
                </a:lnTo>
                <a:lnTo>
                  <a:pt x="152" y="411"/>
                </a:lnTo>
                <a:lnTo>
                  <a:pt x="155" y="413"/>
                </a:lnTo>
                <a:lnTo>
                  <a:pt x="158" y="416"/>
                </a:lnTo>
                <a:lnTo>
                  <a:pt x="161" y="417"/>
                </a:lnTo>
                <a:lnTo>
                  <a:pt x="165" y="418"/>
                </a:lnTo>
                <a:lnTo>
                  <a:pt x="299" y="418"/>
                </a:lnTo>
                <a:lnTo>
                  <a:pt x="297" y="430"/>
                </a:lnTo>
                <a:lnTo>
                  <a:pt x="294" y="442"/>
                </a:lnTo>
                <a:lnTo>
                  <a:pt x="289" y="453"/>
                </a:lnTo>
                <a:lnTo>
                  <a:pt x="284" y="465"/>
                </a:lnTo>
                <a:lnTo>
                  <a:pt x="279" y="475"/>
                </a:lnTo>
                <a:lnTo>
                  <a:pt x="271" y="486"/>
                </a:lnTo>
                <a:lnTo>
                  <a:pt x="264" y="494"/>
                </a:lnTo>
                <a:lnTo>
                  <a:pt x="255" y="503"/>
                </a:lnTo>
                <a:lnTo>
                  <a:pt x="246" y="510"/>
                </a:lnTo>
                <a:lnTo>
                  <a:pt x="236" y="518"/>
                </a:lnTo>
                <a:lnTo>
                  <a:pt x="225" y="523"/>
                </a:lnTo>
                <a:lnTo>
                  <a:pt x="215" y="528"/>
                </a:lnTo>
                <a:lnTo>
                  <a:pt x="203" y="532"/>
                </a:lnTo>
                <a:lnTo>
                  <a:pt x="190" y="535"/>
                </a:lnTo>
                <a:lnTo>
                  <a:pt x="178" y="537"/>
                </a:lnTo>
                <a:lnTo>
                  <a:pt x="165" y="537"/>
                </a:lnTo>
                <a:close/>
                <a:moveTo>
                  <a:pt x="734" y="238"/>
                </a:moveTo>
                <a:lnTo>
                  <a:pt x="720" y="238"/>
                </a:lnTo>
                <a:lnTo>
                  <a:pt x="706" y="240"/>
                </a:lnTo>
                <a:lnTo>
                  <a:pt x="693" y="244"/>
                </a:lnTo>
                <a:lnTo>
                  <a:pt x="680" y="247"/>
                </a:lnTo>
                <a:lnTo>
                  <a:pt x="647" y="77"/>
                </a:lnTo>
                <a:lnTo>
                  <a:pt x="732" y="88"/>
                </a:lnTo>
                <a:lnTo>
                  <a:pt x="736" y="90"/>
                </a:lnTo>
                <a:lnTo>
                  <a:pt x="740" y="92"/>
                </a:lnTo>
                <a:lnTo>
                  <a:pt x="743" y="94"/>
                </a:lnTo>
                <a:lnTo>
                  <a:pt x="747" y="97"/>
                </a:lnTo>
                <a:lnTo>
                  <a:pt x="749" y="101"/>
                </a:lnTo>
                <a:lnTo>
                  <a:pt x="751" y="106"/>
                </a:lnTo>
                <a:lnTo>
                  <a:pt x="751" y="110"/>
                </a:lnTo>
                <a:lnTo>
                  <a:pt x="751" y="115"/>
                </a:lnTo>
                <a:lnTo>
                  <a:pt x="750" y="119"/>
                </a:lnTo>
                <a:lnTo>
                  <a:pt x="748" y="123"/>
                </a:lnTo>
                <a:lnTo>
                  <a:pt x="744" y="126"/>
                </a:lnTo>
                <a:lnTo>
                  <a:pt x="740" y="129"/>
                </a:lnTo>
                <a:lnTo>
                  <a:pt x="736" y="131"/>
                </a:lnTo>
                <a:lnTo>
                  <a:pt x="731" y="133"/>
                </a:lnTo>
                <a:lnTo>
                  <a:pt x="726" y="133"/>
                </a:lnTo>
                <a:lnTo>
                  <a:pt x="721" y="133"/>
                </a:lnTo>
                <a:lnTo>
                  <a:pt x="714" y="134"/>
                </a:lnTo>
                <a:lnTo>
                  <a:pt x="710" y="137"/>
                </a:lnTo>
                <a:lnTo>
                  <a:pt x="708" y="139"/>
                </a:lnTo>
                <a:lnTo>
                  <a:pt x="706" y="141"/>
                </a:lnTo>
                <a:lnTo>
                  <a:pt x="705" y="144"/>
                </a:lnTo>
                <a:lnTo>
                  <a:pt x="704" y="146"/>
                </a:lnTo>
                <a:lnTo>
                  <a:pt x="704" y="149"/>
                </a:lnTo>
                <a:lnTo>
                  <a:pt x="704" y="153"/>
                </a:lnTo>
                <a:lnTo>
                  <a:pt x="705" y="155"/>
                </a:lnTo>
                <a:lnTo>
                  <a:pt x="707" y="157"/>
                </a:lnTo>
                <a:lnTo>
                  <a:pt x="709" y="159"/>
                </a:lnTo>
                <a:lnTo>
                  <a:pt x="711" y="161"/>
                </a:lnTo>
                <a:lnTo>
                  <a:pt x="713" y="162"/>
                </a:lnTo>
                <a:lnTo>
                  <a:pt x="717" y="163"/>
                </a:lnTo>
                <a:lnTo>
                  <a:pt x="722" y="163"/>
                </a:lnTo>
                <a:lnTo>
                  <a:pt x="727" y="163"/>
                </a:lnTo>
                <a:lnTo>
                  <a:pt x="733" y="163"/>
                </a:lnTo>
                <a:lnTo>
                  <a:pt x="739" y="162"/>
                </a:lnTo>
                <a:lnTo>
                  <a:pt x="749" y="158"/>
                </a:lnTo>
                <a:lnTo>
                  <a:pt x="758" y="153"/>
                </a:lnTo>
                <a:lnTo>
                  <a:pt x="766" y="146"/>
                </a:lnTo>
                <a:lnTo>
                  <a:pt x="773" y="138"/>
                </a:lnTo>
                <a:lnTo>
                  <a:pt x="776" y="133"/>
                </a:lnTo>
                <a:lnTo>
                  <a:pt x="778" y="129"/>
                </a:lnTo>
                <a:lnTo>
                  <a:pt x="780" y="124"/>
                </a:lnTo>
                <a:lnTo>
                  <a:pt x="781" y="118"/>
                </a:lnTo>
                <a:lnTo>
                  <a:pt x="781" y="108"/>
                </a:lnTo>
                <a:lnTo>
                  <a:pt x="780" y="98"/>
                </a:lnTo>
                <a:lnTo>
                  <a:pt x="776" y="88"/>
                </a:lnTo>
                <a:lnTo>
                  <a:pt x="770" y="80"/>
                </a:lnTo>
                <a:lnTo>
                  <a:pt x="764" y="72"/>
                </a:lnTo>
                <a:lnTo>
                  <a:pt x="755" y="66"/>
                </a:lnTo>
                <a:lnTo>
                  <a:pt x="747" y="61"/>
                </a:lnTo>
                <a:lnTo>
                  <a:pt x="736" y="58"/>
                </a:lnTo>
                <a:lnTo>
                  <a:pt x="631" y="43"/>
                </a:lnTo>
                <a:lnTo>
                  <a:pt x="628" y="43"/>
                </a:lnTo>
                <a:lnTo>
                  <a:pt x="625" y="45"/>
                </a:lnTo>
                <a:lnTo>
                  <a:pt x="621" y="46"/>
                </a:lnTo>
                <a:lnTo>
                  <a:pt x="618" y="48"/>
                </a:lnTo>
                <a:lnTo>
                  <a:pt x="616" y="51"/>
                </a:lnTo>
                <a:lnTo>
                  <a:pt x="615" y="54"/>
                </a:lnTo>
                <a:lnTo>
                  <a:pt x="614" y="58"/>
                </a:lnTo>
                <a:lnTo>
                  <a:pt x="614" y="62"/>
                </a:lnTo>
                <a:lnTo>
                  <a:pt x="631" y="148"/>
                </a:lnTo>
                <a:lnTo>
                  <a:pt x="319" y="148"/>
                </a:lnTo>
                <a:lnTo>
                  <a:pt x="278" y="45"/>
                </a:lnTo>
                <a:lnTo>
                  <a:pt x="326" y="58"/>
                </a:lnTo>
                <a:lnTo>
                  <a:pt x="328" y="58"/>
                </a:lnTo>
                <a:lnTo>
                  <a:pt x="329" y="58"/>
                </a:lnTo>
                <a:lnTo>
                  <a:pt x="334" y="57"/>
                </a:lnTo>
                <a:lnTo>
                  <a:pt x="339" y="56"/>
                </a:lnTo>
                <a:lnTo>
                  <a:pt x="342" y="53"/>
                </a:lnTo>
                <a:lnTo>
                  <a:pt x="344" y="48"/>
                </a:lnTo>
                <a:lnTo>
                  <a:pt x="344" y="46"/>
                </a:lnTo>
                <a:lnTo>
                  <a:pt x="344" y="42"/>
                </a:lnTo>
                <a:lnTo>
                  <a:pt x="344" y="39"/>
                </a:lnTo>
                <a:lnTo>
                  <a:pt x="343" y="37"/>
                </a:lnTo>
                <a:lnTo>
                  <a:pt x="341" y="34"/>
                </a:lnTo>
                <a:lnTo>
                  <a:pt x="339" y="33"/>
                </a:lnTo>
                <a:lnTo>
                  <a:pt x="337" y="31"/>
                </a:lnTo>
                <a:lnTo>
                  <a:pt x="333" y="30"/>
                </a:lnTo>
                <a:lnTo>
                  <a:pt x="228" y="0"/>
                </a:lnTo>
                <a:lnTo>
                  <a:pt x="226" y="0"/>
                </a:lnTo>
                <a:lnTo>
                  <a:pt x="223" y="0"/>
                </a:lnTo>
                <a:lnTo>
                  <a:pt x="220" y="0"/>
                </a:lnTo>
                <a:lnTo>
                  <a:pt x="218" y="1"/>
                </a:lnTo>
                <a:lnTo>
                  <a:pt x="216" y="3"/>
                </a:lnTo>
                <a:lnTo>
                  <a:pt x="213" y="5"/>
                </a:lnTo>
                <a:lnTo>
                  <a:pt x="211" y="7"/>
                </a:lnTo>
                <a:lnTo>
                  <a:pt x="210" y="10"/>
                </a:lnTo>
                <a:lnTo>
                  <a:pt x="210" y="14"/>
                </a:lnTo>
                <a:lnTo>
                  <a:pt x="210" y="16"/>
                </a:lnTo>
                <a:lnTo>
                  <a:pt x="210" y="19"/>
                </a:lnTo>
                <a:lnTo>
                  <a:pt x="211" y="21"/>
                </a:lnTo>
                <a:lnTo>
                  <a:pt x="216" y="25"/>
                </a:lnTo>
                <a:lnTo>
                  <a:pt x="221" y="28"/>
                </a:lnTo>
                <a:lnTo>
                  <a:pt x="241" y="35"/>
                </a:lnTo>
                <a:lnTo>
                  <a:pt x="293" y="161"/>
                </a:lnTo>
                <a:lnTo>
                  <a:pt x="237" y="256"/>
                </a:lnTo>
                <a:lnTo>
                  <a:pt x="228" y="252"/>
                </a:lnTo>
                <a:lnTo>
                  <a:pt x="220" y="248"/>
                </a:lnTo>
                <a:lnTo>
                  <a:pt x="211" y="245"/>
                </a:lnTo>
                <a:lnTo>
                  <a:pt x="203" y="243"/>
                </a:lnTo>
                <a:lnTo>
                  <a:pt x="193" y="240"/>
                </a:lnTo>
                <a:lnTo>
                  <a:pt x="183" y="239"/>
                </a:lnTo>
                <a:lnTo>
                  <a:pt x="175" y="238"/>
                </a:lnTo>
                <a:lnTo>
                  <a:pt x="165" y="238"/>
                </a:lnTo>
                <a:lnTo>
                  <a:pt x="148" y="239"/>
                </a:lnTo>
                <a:lnTo>
                  <a:pt x="132" y="241"/>
                </a:lnTo>
                <a:lnTo>
                  <a:pt x="116" y="246"/>
                </a:lnTo>
                <a:lnTo>
                  <a:pt x="101" y="251"/>
                </a:lnTo>
                <a:lnTo>
                  <a:pt x="86" y="259"/>
                </a:lnTo>
                <a:lnTo>
                  <a:pt x="73" y="266"/>
                </a:lnTo>
                <a:lnTo>
                  <a:pt x="60" y="276"/>
                </a:lnTo>
                <a:lnTo>
                  <a:pt x="49" y="286"/>
                </a:lnTo>
                <a:lnTo>
                  <a:pt x="38" y="298"/>
                </a:lnTo>
                <a:lnTo>
                  <a:pt x="28" y="311"/>
                </a:lnTo>
                <a:lnTo>
                  <a:pt x="21" y="325"/>
                </a:lnTo>
                <a:lnTo>
                  <a:pt x="13" y="339"/>
                </a:lnTo>
                <a:lnTo>
                  <a:pt x="8" y="354"/>
                </a:lnTo>
                <a:lnTo>
                  <a:pt x="4" y="370"/>
                </a:lnTo>
                <a:lnTo>
                  <a:pt x="1" y="386"/>
                </a:lnTo>
                <a:lnTo>
                  <a:pt x="0" y="403"/>
                </a:lnTo>
                <a:lnTo>
                  <a:pt x="1" y="419"/>
                </a:lnTo>
                <a:lnTo>
                  <a:pt x="4" y="436"/>
                </a:lnTo>
                <a:lnTo>
                  <a:pt x="8" y="451"/>
                </a:lnTo>
                <a:lnTo>
                  <a:pt x="13" y="467"/>
                </a:lnTo>
                <a:lnTo>
                  <a:pt x="21" y="481"/>
                </a:lnTo>
                <a:lnTo>
                  <a:pt x="28" y="495"/>
                </a:lnTo>
                <a:lnTo>
                  <a:pt x="38" y="507"/>
                </a:lnTo>
                <a:lnTo>
                  <a:pt x="49" y="519"/>
                </a:lnTo>
                <a:lnTo>
                  <a:pt x="60" y="529"/>
                </a:lnTo>
                <a:lnTo>
                  <a:pt x="73" y="539"/>
                </a:lnTo>
                <a:lnTo>
                  <a:pt x="86" y="548"/>
                </a:lnTo>
                <a:lnTo>
                  <a:pt x="101" y="554"/>
                </a:lnTo>
                <a:lnTo>
                  <a:pt x="116" y="559"/>
                </a:lnTo>
                <a:lnTo>
                  <a:pt x="132" y="564"/>
                </a:lnTo>
                <a:lnTo>
                  <a:pt x="148" y="567"/>
                </a:lnTo>
                <a:lnTo>
                  <a:pt x="165" y="567"/>
                </a:lnTo>
                <a:lnTo>
                  <a:pt x="181" y="567"/>
                </a:lnTo>
                <a:lnTo>
                  <a:pt x="196" y="565"/>
                </a:lnTo>
                <a:lnTo>
                  <a:pt x="211" y="560"/>
                </a:lnTo>
                <a:lnTo>
                  <a:pt x="225" y="555"/>
                </a:lnTo>
                <a:lnTo>
                  <a:pt x="239" y="550"/>
                </a:lnTo>
                <a:lnTo>
                  <a:pt x="252" y="542"/>
                </a:lnTo>
                <a:lnTo>
                  <a:pt x="265" y="534"/>
                </a:lnTo>
                <a:lnTo>
                  <a:pt x="277" y="524"/>
                </a:lnTo>
                <a:lnTo>
                  <a:pt x="286" y="513"/>
                </a:lnTo>
                <a:lnTo>
                  <a:pt x="296" y="502"/>
                </a:lnTo>
                <a:lnTo>
                  <a:pt x="304" y="490"/>
                </a:lnTo>
                <a:lnTo>
                  <a:pt x="312" y="476"/>
                </a:lnTo>
                <a:lnTo>
                  <a:pt x="318" y="462"/>
                </a:lnTo>
                <a:lnTo>
                  <a:pt x="323" y="448"/>
                </a:lnTo>
                <a:lnTo>
                  <a:pt x="327" y="433"/>
                </a:lnTo>
                <a:lnTo>
                  <a:pt x="329" y="418"/>
                </a:lnTo>
                <a:lnTo>
                  <a:pt x="404" y="418"/>
                </a:lnTo>
                <a:lnTo>
                  <a:pt x="406" y="417"/>
                </a:lnTo>
                <a:lnTo>
                  <a:pt x="409" y="417"/>
                </a:lnTo>
                <a:lnTo>
                  <a:pt x="413" y="416"/>
                </a:lnTo>
                <a:lnTo>
                  <a:pt x="415" y="415"/>
                </a:lnTo>
                <a:lnTo>
                  <a:pt x="640" y="194"/>
                </a:lnTo>
                <a:lnTo>
                  <a:pt x="652" y="261"/>
                </a:lnTo>
                <a:lnTo>
                  <a:pt x="643" y="266"/>
                </a:lnTo>
                <a:lnTo>
                  <a:pt x="634" y="273"/>
                </a:lnTo>
                <a:lnTo>
                  <a:pt x="626" y="279"/>
                </a:lnTo>
                <a:lnTo>
                  <a:pt x="618" y="286"/>
                </a:lnTo>
                <a:lnTo>
                  <a:pt x="611" y="294"/>
                </a:lnTo>
                <a:lnTo>
                  <a:pt x="604" y="303"/>
                </a:lnTo>
                <a:lnTo>
                  <a:pt x="598" y="311"/>
                </a:lnTo>
                <a:lnTo>
                  <a:pt x="592" y="320"/>
                </a:lnTo>
                <a:lnTo>
                  <a:pt x="587" y="329"/>
                </a:lnTo>
                <a:lnTo>
                  <a:pt x="583" y="339"/>
                </a:lnTo>
                <a:lnTo>
                  <a:pt x="579" y="349"/>
                </a:lnTo>
                <a:lnTo>
                  <a:pt x="575" y="359"/>
                </a:lnTo>
                <a:lnTo>
                  <a:pt x="572" y="370"/>
                </a:lnTo>
                <a:lnTo>
                  <a:pt x="571" y="381"/>
                </a:lnTo>
                <a:lnTo>
                  <a:pt x="570" y="391"/>
                </a:lnTo>
                <a:lnTo>
                  <a:pt x="569" y="403"/>
                </a:lnTo>
                <a:lnTo>
                  <a:pt x="570" y="419"/>
                </a:lnTo>
                <a:lnTo>
                  <a:pt x="572" y="436"/>
                </a:lnTo>
                <a:lnTo>
                  <a:pt x="576" y="451"/>
                </a:lnTo>
                <a:lnTo>
                  <a:pt x="582" y="467"/>
                </a:lnTo>
                <a:lnTo>
                  <a:pt x="589" y="481"/>
                </a:lnTo>
                <a:lnTo>
                  <a:pt x="597" y="495"/>
                </a:lnTo>
                <a:lnTo>
                  <a:pt x="606" y="507"/>
                </a:lnTo>
                <a:lnTo>
                  <a:pt x="617" y="519"/>
                </a:lnTo>
                <a:lnTo>
                  <a:pt x="629" y="529"/>
                </a:lnTo>
                <a:lnTo>
                  <a:pt x="642" y="539"/>
                </a:lnTo>
                <a:lnTo>
                  <a:pt x="656" y="548"/>
                </a:lnTo>
                <a:lnTo>
                  <a:pt x="670" y="554"/>
                </a:lnTo>
                <a:lnTo>
                  <a:pt x="685" y="559"/>
                </a:lnTo>
                <a:lnTo>
                  <a:pt x="701" y="564"/>
                </a:lnTo>
                <a:lnTo>
                  <a:pt x="717" y="567"/>
                </a:lnTo>
                <a:lnTo>
                  <a:pt x="734" y="567"/>
                </a:lnTo>
                <a:lnTo>
                  <a:pt x="751" y="567"/>
                </a:lnTo>
                <a:lnTo>
                  <a:pt x="767" y="564"/>
                </a:lnTo>
                <a:lnTo>
                  <a:pt x="783" y="559"/>
                </a:lnTo>
                <a:lnTo>
                  <a:pt x="798" y="554"/>
                </a:lnTo>
                <a:lnTo>
                  <a:pt x="812" y="548"/>
                </a:lnTo>
                <a:lnTo>
                  <a:pt x="826" y="539"/>
                </a:lnTo>
                <a:lnTo>
                  <a:pt x="839" y="529"/>
                </a:lnTo>
                <a:lnTo>
                  <a:pt x="850" y="519"/>
                </a:lnTo>
                <a:lnTo>
                  <a:pt x="861" y="507"/>
                </a:lnTo>
                <a:lnTo>
                  <a:pt x="870" y="495"/>
                </a:lnTo>
                <a:lnTo>
                  <a:pt x="878" y="481"/>
                </a:lnTo>
                <a:lnTo>
                  <a:pt x="886" y="467"/>
                </a:lnTo>
                <a:lnTo>
                  <a:pt x="891" y="451"/>
                </a:lnTo>
                <a:lnTo>
                  <a:pt x="895" y="436"/>
                </a:lnTo>
                <a:lnTo>
                  <a:pt x="898" y="419"/>
                </a:lnTo>
                <a:lnTo>
                  <a:pt x="899" y="403"/>
                </a:lnTo>
                <a:lnTo>
                  <a:pt x="898" y="386"/>
                </a:lnTo>
                <a:lnTo>
                  <a:pt x="895" y="370"/>
                </a:lnTo>
                <a:lnTo>
                  <a:pt x="891" y="354"/>
                </a:lnTo>
                <a:lnTo>
                  <a:pt x="886" y="339"/>
                </a:lnTo>
                <a:lnTo>
                  <a:pt x="878" y="325"/>
                </a:lnTo>
                <a:lnTo>
                  <a:pt x="870" y="311"/>
                </a:lnTo>
                <a:lnTo>
                  <a:pt x="861" y="298"/>
                </a:lnTo>
                <a:lnTo>
                  <a:pt x="850" y="286"/>
                </a:lnTo>
                <a:lnTo>
                  <a:pt x="839" y="276"/>
                </a:lnTo>
                <a:lnTo>
                  <a:pt x="826" y="266"/>
                </a:lnTo>
                <a:lnTo>
                  <a:pt x="812" y="259"/>
                </a:lnTo>
                <a:lnTo>
                  <a:pt x="798" y="251"/>
                </a:lnTo>
                <a:lnTo>
                  <a:pt x="783" y="246"/>
                </a:lnTo>
                <a:lnTo>
                  <a:pt x="767" y="241"/>
                </a:lnTo>
                <a:lnTo>
                  <a:pt x="751" y="239"/>
                </a:lnTo>
                <a:lnTo>
                  <a:pt x="734" y="23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265" name="Group 264"/>
          <p:cNvGrpSpPr/>
          <p:nvPr/>
        </p:nvGrpSpPr>
        <p:grpSpPr>
          <a:xfrm>
            <a:off x="7158057" y="3793519"/>
            <a:ext cx="238125" cy="285750"/>
            <a:chOff x="5505450" y="2765425"/>
            <a:chExt cx="238125" cy="285750"/>
          </a:xfrm>
          <a:solidFill>
            <a:schemeClr val="bg1"/>
          </a:solidFill>
        </p:grpSpPr>
        <p:sp>
          <p:nvSpPr>
            <p:cNvPr id="266" name="Freeform 128"/>
            <p:cNvSpPr>
              <a:spLocks/>
            </p:cNvSpPr>
            <p:nvPr/>
          </p:nvSpPr>
          <p:spPr bwMode="auto">
            <a:xfrm>
              <a:off x="5586413" y="2851150"/>
              <a:ext cx="76200" cy="9525"/>
            </a:xfrm>
            <a:custGeom>
              <a:avLst/>
              <a:gdLst>
                <a:gd name="T0" fmla="*/ 239 w 239"/>
                <a:gd name="T1" fmla="*/ 15 h 30"/>
                <a:gd name="T2" fmla="*/ 239 w 239"/>
                <a:gd name="T3" fmla="*/ 13 h 30"/>
                <a:gd name="T4" fmla="*/ 238 w 239"/>
                <a:gd name="T5" fmla="*/ 10 h 30"/>
                <a:gd name="T6" fmla="*/ 237 w 239"/>
                <a:gd name="T7" fmla="*/ 8 h 30"/>
                <a:gd name="T8" fmla="*/ 235 w 239"/>
                <a:gd name="T9" fmla="*/ 6 h 30"/>
                <a:gd name="T10" fmla="*/ 233 w 239"/>
                <a:gd name="T11" fmla="*/ 4 h 30"/>
                <a:gd name="T12" fmla="*/ 231 w 239"/>
                <a:gd name="T13" fmla="*/ 3 h 30"/>
                <a:gd name="T14" fmla="*/ 227 w 239"/>
                <a:gd name="T15" fmla="*/ 2 h 30"/>
                <a:gd name="T16" fmla="*/ 224 w 239"/>
                <a:gd name="T17" fmla="*/ 0 h 30"/>
                <a:gd name="T18" fmla="*/ 15 w 239"/>
                <a:gd name="T19" fmla="*/ 0 h 30"/>
                <a:gd name="T20" fmla="*/ 12 w 239"/>
                <a:gd name="T21" fmla="*/ 2 h 30"/>
                <a:gd name="T22" fmla="*/ 9 w 239"/>
                <a:gd name="T23" fmla="*/ 3 h 30"/>
                <a:gd name="T24" fmla="*/ 7 w 239"/>
                <a:gd name="T25" fmla="*/ 4 h 30"/>
                <a:gd name="T26" fmla="*/ 5 w 239"/>
                <a:gd name="T27" fmla="*/ 6 h 30"/>
                <a:gd name="T28" fmla="*/ 3 w 239"/>
                <a:gd name="T29" fmla="*/ 8 h 30"/>
                <a:gd name="T30" fmla="*/ 2 w 239"/>
                <a:gd name="T31" fmla="*/ 10 h 30"/>
                <a:gd name="T32" fmla="*/ 0 w 239"/>
                <a:gd name="T33" fmla="*/ 13 h 30"/>
                <a:gd name="T34" fmla="*/ 0 w 239"/>
                <a:gd name="T35" fmla="*/ 15 h 30"/>
                <a:gd name="T36" fmla="*/ 0 w 239"/>
                <a:gd name="T37" fmla="*/ 19 h 30"/>
                <a:gd name="T38" fmla="*/ 2 w 239"/>
                <a:gd name="T39" fmla="*/ 22 h 30"/>
                <a:gd name="T40" fmla="*/ 3 w 239"/>
                <a:gd name="T41" fmla="*/ 25 h 30"/>
                <a:gd name="T42" fmla="*/ 5 w 239"/>
                <a:gd name="T43" fmla="*/ 27 h 30"/>
                <a:gd name="T44" fmla="*/ 7 w 239"/>
                <a:gd name="T45" fmla="*/ 28 h 30"/>
                <a:gd name="T46" fmla="*/ 9 w 239"/>
                <a:gd name="T47" fmla="*/ 29 h 30"/>
                <a:gd name="T48" fmla="*/ 12 w 239"/>
                <a:gd name="T49" fmla="*/ 30 h 30"/>
                <a:gd name="T50" fmla="*/ 15 w 239"/>
                <a:gd name="T51" fmla="*/ 30 h 30"/>
                <a:gd name="T52" fmla="*/ 224 w 239"/>
                <a:gd name="T53" fmla="*/ 30 h 30"/>
                <a:gd name="T54" fmla="*/ 227 w 239"/>
                <a:gd name="T55" fmla="*/ 30 h 30"/>
                <a:gd name="T56" fmla="*/ 231 w 239"/>
                <a:gd name="T57" fmla="*/ 29 h 30"/>
                <a:gd name="T58" fmla="*/ 233 w 239"/>
                <a:gd name="T59" fmla="*/ 28 h 30"/>
                <a:gd name="T60" fmla="*/ 235 w 239"/>
                <a:gd name="T61" fmla="*/ 27 h 30"/>
                <a:gd name="T62" fmla="*/ 237 w 239"/>
                <a:gd name="T63" fmla="*/ 25 h 30"/>
                <a:gd name="T64" fmla="*/ 238 w 239"/>
                <a:gd name="T65" fmla="*/ 22 h 30"/>
                <a:gd name="T66" fmla="*/ 239 w 239"/>
                <a:gd name="T67" fmla="*/ 19 h 30"/>
                <a:gd name="T68" fmla="*/ 239 w 239"/>
                <a:gd name="T69" fmla="*/ 15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39" h="30">
                  <a:moveTo>
                    <a:pt x="239" y="15"/>
                  </a:moveTo>
                  <a:lnTo>
                    <a:pt x="239" y="13"/>
                  </a:lnTo>
                  <a:lnTo>
                    <a:pt x="238" y="10"/>
                  </a:lnTo>
                  <a:lnTo>
                    <a:pt x="237" y="8"/>
                  </a:lnTo>
                  <a:lnTo>
                    <a:pt x="235" y="6"/>
                  </a:lnTo>
                  <a:lnTo>
                    <a:pt x="233" y="4"/>
                  </a:lnTo>
                  <a:lnTo>
                    <a:pt x="231" y="3"/>
                  </a:lnTo>
                  <a:lnTo>
                    <a:pt x="227" y="2"/>
                  </a:lnTo>
                  <a:lnTo>
                    <a:pt x="224" y="0"/>
                  </a:lnTo>
                  <a:lnTo>
                    <a:pt x="15" y="0"/>
                  </a:lnTo>
                  <a:lnTo>
                    <a:pt x="12" y="2"/>
                  </a:lnTo>
                  <a:lnTo>
                    <a:pt x="9" y="3"/>
                  </a:lnTo>
                  <a:lnTo>
                    <a:pt x="7" y="4"/>
                  </a:lnTo>
                  <a:lnTo>
                    <a:pt x="5" y="6"/>
                  </a:lnTo>
                  <a:lnTo>
                    <a:pt x="3" y="8"/>
                  </a:lnTo>
                  <a:lnTo>
                    <a:pt x="2" y="10"/>
                  </a:lnTo>
                  <a:lnTo>
                    <a:pt x="0" y="13"/>
                  </a:lnTo>
                  <a:lnTo>
                    <a:pt x="0" y="15"/>
                  </a:lnTo>
                  <a:lnTo>
                    <a:pt x="0" y="19"/>
                  </a:lnTo>
                  <a:lnTo>
                    <a:pt x="2" y="22"/>
                  </a:lnTo>
                  <a:lnTo>
                    <a:pt x="3" y="25"/>
                  </a:lnTo>
                  <a:lnTo>
                    <a:pt x="5" y="27"/>
                  </a:lnTo>
                  <a:lnTo>
                    <a:pt x="7" y="28"/>
                  </a:lnTo>
                  <a:lnTo>
                    <a:pt x="9" y="29"/>
                  </a:lnTo>
                  <a:lnTo>
                    <a:pt x="12" y="30"/>
                  </a:lnTo>
                  <a:lnTo>
                    <a:pt x="15" y="30"/>
                  </a:lnTo>
                  <a:lnTo>
                    <a:pt x="224" y="30"/>
                  </a:lnTo>
                  <a:lnTo>
                    <a:pt x="227" y="30"/>
                  </a:lnTo>
                  <a:lnTo>
                    <a:pt x="231" y="29"/>
                  </a:lnTo>
                  <a:lnTo>
                    <a:pt x="233" y="28"/>
                  </a:lnTo>
                  <a:lnTo>
                    <a:pt x="235" y="27"/>
                  </a:lnTo>
                  <a:lnTo>
                    <a:pt x="237" y="25"/>
                  </a:lnTo>
                  <a:lnTo>
                    <a:pt x="238" y="22"/>
                  </a:lnTo>
                  <a:lnTo>
                    <a:pt x="239" y="19"/>
                  </a:lnTo>
                  <a:lnTo>
                    <a:pt x="239"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7" name="Freeform 129"/>
            <p:cNvSpPr>
              <a:spLocks noEditPoints="1"/>
            </p:cNvSpPr>
            <p:nvPr/>
          </p:nvSpPr>
          <p:spPr bwMode="auto">
            <a:xfrm>
              <a:off x="5505450" y="2765425"/>
              <a:ext cx="238125" cy="285750"/>
            </a:xfrm>
            <a:custGeom>
              <a:avLst/>
              <a:gdLst>
                <a:gd name="T0" fmla="*/ 485 w 748"/>
                <a:gd name="T1" fmla="*/ 867 h 898"/>
                <a:gd name="T2" fmla="*/ 449 w 748"/>
                <a:gd name="T3" fmla="*/ 843 h 898"/>
                <a:gd name="T4" fmla="*/ 423 w 748"/>
                <a:gd name="T5" fmla="*/ 781 h 898"/>
                <a:gd name="T6" fmla="*/ 548 w 748"/>
                <a:gd name="T7" fmla="*/ 774 h 898"/>
                <a:gd name="T8" fmla="*/ 508 w 748"/>
                <a:gd name="T9" fmla="*/ 838 h 898"/>
                <a:gd name="T10" fmla="*/ 275 w 748"/>
                <a:gd name="T11" fmla="*/ 867 h 898"/>
                <a:gd name="T12" fmla="*/ 239 w 748"/>
                <a:gd name="T13" fmla="*/ 843 h 898"/>
                <a:gd name="T14" fmla="*/ 197 w 748"/>
                <a:gd name="T15" fmla="*/ 772 h 898"/>
                <a:gd name="T16" fmla="*/ 335 w 748"/>
                <a:gd name="T17" fmla="*/ 774 h 898"/>
                <a:gd name="T18" fmla="*/ 299 w 748"/>
                <a:gd name="T19" fmla="*/ 838 h 898"/>
                <a:gd name="T20" fmla="*/ 183 w 748"/>
                <a:gd name="T21" fmla="*/ 236 h 898"/>
                <a:gd name="T22" fmla="*/ 533 w 748"/>
                <a:gd name="T23" fmla="*/ 210 h 898"/>
                <a:gd name="T24" fmla="*/ 568 w 748"/>
                <a:gd name="T25" fmla="*/ 390 h 898"/>
                <a:gd name="T26" fmla="*/ 329 w 748"/>
                <a:gd name="T27" fmla="*/ 90 h 898"/>
                <a:gd name="T28" fmla="*/ 389 w 748"/>
                <a:gd name="T29" fmla="*/ 378 h 898"/>
                <a:gd name="T30" fmla="*/ 720 w 748"/>
                <a:gd name="T31" fmla="*/ 829 h 898"/>
                <a:gd name="T32" fmla="*/ 705 w 748"/>
                <a:gd name="T33" fmla="*/ 863 h 898"/>
                <a:gd name="T34" fmla="*/ 663 w 748"/>
                <a:gd name="T35" fmla="*/ 854 h 898"/>
                <a:gd name="T36" fmla="*/ 650 w 748"/>
                <a:gd name="T37" fmla="*/ 803 h 898"/>
                <a:gd name="T38" fmla="*/ 606 w 748"/>
                <a:gd name="T39" fmla="*/ 766 h 898"/>
                <a:gd name="T40" fmla="*/ 687 w 748"/>
                <a:gd name="T41" fmla="*/ 448 h 898"/>
                <a:gd name="T42" fmla="*/ 702 w 748"/>
                <a:gd name="T43" fmla="*/ 429 h 898"/>
                <a:gd name="T44" fmla="*/ 598 w 748"/>
                <a:gd name="T45" fmla="*/ 246 h 898"/>
                <a:gd name="T46" fmla="*/ 571 w 748"/>
                <a:gd name="T47" fmla="*/ 197 h 898"/>
                <a:gd name="T48" fmla="*/ 448 w 748"/>
                <a:gd name="T49" fmla="*/ 180 h 898"/>
                <a:gd name="T50" fmla="*/ 436 w 748"/>
                <a:gd name="T51" fmla="*/ 0 h 898"/>
                <a:gd name="T52" fmla="*/ 301 w 748"/>
                <a:gd name="T53" fmla="*/ 9 h 898"/>
                <a:gd name="T54" fmla="*/ 196 w 748"/>
                <a:gd name="T55" fmla="*/ 185 h 898"/>
                <a:gd name="T56" fmla="*/ 155 w 748"/>
                <a:gd name="T57" fmla="*/ 226 h 898"/>
                <a:gd name="T58" fmla="*/ 51 w 748"/>
                <a:gd name="T59" fmla="*/ 423 h 898"/>
                <a:gd name="T60" fmla="*/ 48 w 748"/>
                <a:gd name="T61" fmla="*/ 443 h 898"/>
                <a:gd name="T62" fmla="*/ 141 w 748"/>
                <a:gd name="T63" fmla="*/ 767 h 898"/>
                <a:gd name="T64" fmla="*/ 100 w 748"/>
                <a:gd name="T65" fmla="*/ 799 h 898"/>
                <a:gd name="T66" fmla="*/ 87 w 748"/>
                <a:gd name="T67" fmla="*/ 850 h 898"/>
                <a:gd name="T68" fmla="*/ 48 w 748"/>
                <a:gd name="T69" fmla="*/ 865 h 898"/>
                <a:gd name="T70" fmla="*/ 29 w 748"/>
                <a:gd name="T71" fmla="*/ 833 h 898"/>
                <a:gd name="T72" fmla="*/ 9 w 748"/>
                <a:gd name="T73" fmla="*/ 824 h 898"/>
                <a:gd name="T74" fmla="*/ 1 w 748"/>
                <a:gd name="T75" fmla="*/ 850 h 898"/>
                <a:gd name="T76" fmla="*/ 26 w 748"/>
                <a:gd name="T77" fmla="*/ 887 h 898"/>
                <a:gd name="T78" fmla="*/ 71 w 748"/>
                <a:gd name="T79" fmla="*/ 896 h 898"/>
                <a:gd name="T80" fmla="*/ 109 w 748"/>
                <a:gd name="T81" fmla="*/ 871 h 898"/>
                <a:gd name="T82" fmla="*/ 123 w 748"/>
                <a:gd name="T83" fmla="*/ 821 h 898"/>
                <a:gd name="T84" fmla="*/ 182 w 748"/>
                <a:gd name="T85" fmla="*/ 796 h 898"/>
                <a:gd name="T86" fmla="*/ 211 w 748"/>
                <a:gd name="T87" fmla="*/ 850 h 898"/>
                <a:gd name="T88" fmla="*/ 235 w 748"/>
                <a:gd name="T89" fmla="*/ 887 h 898"/>
                <a:gd name="T90" fmla="*/ 281 w 748"/>
                <a:gd name="T91" fmla="*/ 896 h 898"/>
                <a:gd name="T92" fmla="*/ 319 w 748"/>
                <a:gd name="T93" fmla="*/ 871 h 898"/>
                <a:gd name="T94" fmla="*/ 333 w 748"/>
                <a:gd name="T95" fmla="*/ 821 h 898"/>
                <a:gd name="T96" fmla="*/ 392 w 748"/>
                <a:gd name="T97" fmla="*/ 796 h 898"/>
                <a:gd name="T98" fmla="*/ 420 w 748"/>
                <a:gd name="T99" fmla="*/ 850 h 898"/>
                <a:gd name="T100" fmla="*/ 445 w 748"/>
                <a:gd name="T101" fmla="*/ 887 h 898"/>
                <a:gd name="T102" fmla="*/ 491 w 748"/>
                <a:gd name="T103" fmla="*/ 896 h 898"/>
                <a:gd name="T104" fmla="*/ 529 w 748"/>
                <a:gd name="T105" fmla="*/ 871 h 898"/>
                <a:gd name="T106" fmla="*/ 542 w 748"/>
                <a:gd name="T107" fmla="*/ 821 h 898"/>
                <a:gd name="T108" fmla="*/ 601 w 748"/>
                <a:gd name="T109" fmla="*/ 796 h 898"/>
                <a:gd name="T110" fmla="*/ 629 w 748"/>
                <a:gd name="T111" fmla="*/ 850 h 898"/>
                <a:gd name="T112" fmla="*/ 655 w 748"/>
                <a:gd name="T113" fmla="*/ 887 h 898"/>
                <a:gd name="T114" fmla="*/ 700 w 748"/>
                <a:gd name="T115" fmla="*/ 896 h 898"/>
                <a:gd name="T116" fmla="*/ 737 w 748"/>
                <a:gd name="T117" fmla="*/ 871 h 898"/>
                <a:gd name="T118" fmla="*/ 747 w 748"/>
                <a:gd name="T119" fmla="*/ 833 h 8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48" h="898">
                  <a:moveTo>
                    <a:pt x="508" y="838"/>
                  </a:moveTo>
                  <a:lnTo>
                    <a:pt x="508" y="843"/>
                  </a:lnTo>
                  <a:lnTo>
                    <a:pt x="506" y="850"/>
                  </a:lnTo>
                  <a:lnTo>
                    <a:pt x="504" y="854"/>
                  </a:lnTo>
                  <a:lnTo>
                    <a:pt x="500" y="858"/>
                  </a:lnTo>
                  <a:lnTo>
                    <a:pt x="495" y="863"/>
                  </a:lnTo>
                  <a:lnTo>
                    <a:pt x="490" y="865"/>
                  </a:lnTo>
                  <a:lnTo>
                    <a:pt x="485" y="867"/>
                  </a:lnTo>
                  <a:lnTo>
                    <a:pt x="478" y="868"/>
                  </a:lnTo>
                  <a:lnTo>
                    <a:pt x="473" y="867"/>
                  </a:lnTo>
                  <a:lnTo>
                    <a:pt x="468" y="865"/>
                  </a:lnTo>
                  <a:lnTo>
                    <a:pt x="462" y="863"/>
                  </a:lnTo>
                  <a:lnTo>
                    <a:pt x="458" y="858"/>
                  </a:lnTo>
                  <a:lnTo>
                    <a:pt x="454" y="854"/>
                  </a:lnTo>
                  <a:lnTo>
                    <a:pt x="451" y="850"/>
                  </a:lnTo>
                  <a:lnTo>
                    <a:pt x="449" y="843"/>
                  </a:lnTo>
                  <a:lnTo>
                    <a:pt x="448" y="838"/>
                  </a:lnTo>
                  <a:lnTo>
                    <a:pt x="448" y="830"/>
                  </a:lnTo>
                  <a:lnTo>
                    <a:pt x="447" y="824"/>
                  </a:lnTo>
                  <a:lnTo>
                    <a:pt x="446" y="819"/>
                  </a:lnTo>
                  <a:lnTo>
                    <a:pt x="444" y="812"/>
                  </a:lnTo>
                  <a:lnTo>
                    <a:pt x="439" y="800"/>
                  </a:lnTo>
                  <a:lnTo>
                    <a:pt x="431" y="790"/>
                  </a:lnTo>
                  <a:lnTo>
                    <a:pt x="423" y="781"/>
                  </a:lnTo>
                  <a:lnTo>
                    <a:pt x="413" y="774"/>
                  </a:lnTo>
                  <a:lnTo>
                    <a:pt x="406" y="770"/>
                  </a:lnTo>
                  <a:lnTo>
                    <a:pt x="401" y="768"/>
                  </a:lnTo>
                  <a:lnTo>
                    <a:pt x="395" y="766"/>
                  </a:lnTo>
                  <a:lnTo>
                    <a:pt x="388" y="764"/>
                  </a:lnTo>
                  <a:lnTo>
                    <a:pt x="389" y="485"/>
                  </a:lnTo>
                  <a:lnTo>
                    <a:pt x="607" y="553"/>
                  </a:lnTo>
                  <a:lnTo>
                    <a:pt x="548" y="774"/>
                  </a:lnTo>
                  <a:lnTo>
                    <a:pt x="539" y="778"/>
                  </a:lnTo>
                  <a:lnTo>
                    <a:pt x="532" y="784"/>
                  </a:lnTo>
                  <a:lnTo>
                    <a:pt x="525" y="792"/>
                  </a:lnTo>
                  <a:lnTo>
                    <a:pt x="519" y="799"/>
                  </a:lnTo>
                  <a:lnTo>
                    <a:pt x="515" y="808"/>
                  </a:lnTo>
                  <a:lnTo>
                    <a:pt x="511" y="818"/>
                  </a:lnTo>
                  <a:lnTo>
                    <a:pt x="509" y="827"/>
                  </a:lnTo>
                  <a:lnTo>
                    <a:pt x="508" y="838"/>
                  </a:lnTo>
                  <a:close/>
                  <a:moveTo>
                    <a:pt x="299" y="838"/>
                  </a:moveTo>
                  <a:lnTo>
                    <a:pt x="298" y="843"/>
                  </a:lnTo>
                  <a:lnTo>
                    <a:pt x="296" y="850"/>
                  </a:lnTo>
                  <a:lnTo>
                    <a:pt x="294" y="854"/>
                  </a:lnTo>
                  <a:lnTo>
                    <a:pt x="290" y="858"/>
                  </a:lnTo>
                  <a:lnTo>
                    <a:pt x="286" y="863"/>
                  </a:lnTo>
                  <a:lnTo>
                    <a:pt x="281" y="865"/>
                  </a:lnTo>
                  <a:lnTo>
                    <a:pt x="275" y="867"/>
                  </a:lnTo>
                  <a:lnTo>
                    <a:pt x="269" y="868"/>
                  </a:lnTo>
                  <a:lnTo>
                    <a:pt x="263" y="867"/>
                  </a:lnTo>
                  <a:lnTo>
                    <a:pt x="258" y="865"/>
                  </a:lnTo>
                  <a:lnTo>
                    <a:pt x="252" y="863"/>
                  </a:lnTo>
                  <a:lnTo>
                    <a:pt x="248" y="858"/>
                  </a:lnTo>
                  <a:lnTo>
                    <a:pt x="244" y="854"/>
                  </a:lnTo>
                  <a:lnTo>
                    <a:pt x="242" y="850"/>
                  </a:lnTo>
                  <a:lnTo>
                    <a:pt x="239" y="843"/>
                  </a:lnTo>
                  <a:lnTo>
                    <a:pt x="239" y="838"/>
                  </a:lnTo>
                  <a:lnTo>
                    <a:pt x="238" y="825"/>
                  </a:lnTo>
                  <a:lnTo>
                    <a:pt x="235" y="814"/>
                  </a:lnTo>
                  <a:lnTo>
                    <a:pt x="231" y="804"/>
                  </a:lnTo>
                  <a:lnTo>
                    <a:pt x="224" y="793"/>
                  </a:lnTo>
                  <a:lnTo>
                    <a:pt x="216" y="784"/>
                  </a:lnTo>
                  <a:lnTo>
                    <a:pt x="207" y="777"/>
                  </a:lnTo>
                  <a:lnTo>
                    <a:pt x="197" y="772"/>
                  </a:lnTo>
                  <a:lnTo>
                    <a:pt x="186" y="767"/>
                  </a:lnTo>
                  <a:lnTo>
                    <a:pt x="133" y="553"/>
                  </a:lnTo>
                  <a:lnTo>
                    <a:pt x="359" y="485"/>
                  </a:lnTo>
                  <a:lnTo>
                    <a:pt x="359" y="764"/>
                  </a:lnTo>
                  <a:lnTo>
                    <a:pt x="353" y="766"/>
                  </a:lnTo>
                  <a:lnTo>
                    <a:pt x="347" y="768"/>
                  </a:lnTo>
                  <a:lnTo>
                    <a:pt x="341" y="770"/>
                  </a:lnTo>
                  <a:lnTo>
                    <a:pt x="335" y="774"/>
                  </a:lnTo>
                  <a:lnTo>
                    <a:pt x="325" y="781"/>
                  </a:lnTo>
                  <a:lnTo>
                    <a:pt x="317" y="790"/>
                  </a:lnTo>
                  <a:lnTo>
                    <a:pt x="309" y="800"/>
                  </a:lnTo>
                  <a:lnTo>
                    <a:pt x="304" y="812"/>
                  </a:lnTo>
                  <a:lnTo>
                    <a:pt x="302" y="819"/>
                  </a:lnTo>
                  <a:lnTo>
                    <a:pt x="301" y="824"/>
                  </a:lnTo>
                  <a:lnTo>
                    <a:pt x="299" y="830"/>
                  </a:lnTo>
                  <a:lnTo>
                    <a:pt x="299" y="838"/>
                  </a:lnTo>
                  <a:close/>
                  <a:moveTo>
                    <a:pt x="359" y="378"/>
                  </a:moveTo>
                  <a:lnTo>
                    <a:pt x="359" y="453"/>
                  </a:lnTo>
                  <a:lnTo>
                    <a:pt x="126" y="524"/>
                  </a:lnTo>
                  <a:lnTo>
                    <a:pt x="106" y="438"/>
                  </a:lnTo>
                  <a:lnTo>
                    <a:pt x="359" y="378"/>
                  </a:lnTo>
                  <a:close/>
                  <a:moveTo>
                    <a:pt x="180" y="253"/>
                  </a:moveTo>
                  <a:lnTo>
                    <a:pt x="181" y="245"/>
                  </a:lnTo>
                  <a:lnTo>
                    <a:pt x="183" y="236"/>
                  </a:lnTo>
                  <a:lnTo>
                    <a:pt x="187" y="229"/>
                  </a:lnTo>
                  <a:lnTo>
                    <a:pt x="192" y="222"/>
                  </a:lnTo>
                  <a:lnTo>
                    <a:pt x="199" y="217"/>
                  </a:lnTo>
                  <a:lnTo>
                    <a:pt x="206" y="213"/>
                  </a:lnTo>
                  <a:lnTo>
                    <a:pt x="215" y="210"/>
                  </a:lnTo>
                  <a:lnTo>
                    <a:pt x="224" y="210"/>
                  </a:lnTo>
                  <a:lnTo>
                    <a:pt x="523" y="210"/>
                  </a:lnTo>
                  <a:lnTo>
                    <a:pt x="533" y="210"/>
                  </a:lnTo>
                  <a:lnTo>
                    <a:pt x="541" y="213"/>
                  </a:lnTo>
                  <a:lnTo>
                    <a:pt x="549" y="217"/>
                  </a:lnTo>
                  <a:lnTo>
                    <a:pt x="555" y="222"/>
                  </a:lnTo>
                  <a:lnTo>
                    <a:pt x="561" y="229"/>
                  </a:lnTo>
                  <a:lnTo>
                    <a:pt x="565" y="236"/>
                  </a:lnTo>
                  <a:lnTo>
                    <a:pt x="567" y="245"/>
                  </a:lnTo>
                  <a:lnTo>
                    <a:pt x="568" y="253"/>
                  </a:lnTo>
                  <a:lnTo>
                    <a:pt x="568" y="390"/>
                  </a:lnTo>
                  <a:lnTo>
                    <a:pt x="374" y="343"/>
                  </a:lnTo>
                  <a:lnTo>
                    <a:pt x="180" y="390"/>
                  </a:lnTo>
                  <a:lnTo>
                    <a:pt x="180" y="253"/>
                  </a:lnTo>
                  <a:close/>
                  <a:moveTo>
                    <a:pt x="329" y="90"/>
                  </a:moveTo>
                  <a:lnTo>
                    <a:pt x="418" y="90"/>
                  </a:lnTo>
                  <a:lnTo>
                    <a:pt x="418" y="180"/>
                  </a:lnTo>
                  <a:lnTo>
                    <a:pt x="329" y="180"/>
                  </a:lnTo>
                  <a:lnTo>
                    <a:pt x="329" y="90"/>
                  </a:lnTo>
                  <a:close/>
                  <a:moveTo>
                    <a:pt x="418" y="30"/>
                  </a:moveTo>
                  <a:lnTo>
                    <a:pt x="418" y="60"/>
                  </a:lnTo>
                  <a:lnTo>
                    <a:pt x="329" y="60"/>
                  </a:lnTo>
                  <a:lnTo>
                    <a:pt x="329" y="30"/>
                  </a:lnTo>
                  <a:lnTo>
                    <a:pt x="418" y="30"/>
                  </a:lnTo>
                  <a:close/>
                  <a:moveTo>
                    <a:pt x="614" y="524"/>
                  </a:moveTo>
                  <a:lnTo>
                    <a:pt x="389" y="453"/>
                  </a:lnTo>
                  <a:lnTo>
                    <a:pt x="389" y="378"/>
                  </a:lnTo>
                  <a:lnTo>
                    <a:pt x="638" y="438"/>
                  </a:lnTo>
                  <a:lnTo>
                    <a:pt x="614" y="524"/>
                  </a:lnTo>
                  <a:close/>
                  <a:moveTo>
                    <a:pt x="733" y="823"/>
                  </a:moveTo>
                  <a:lnTo>
                    <a:pt x="730" y="823"/>
                  </a:lnTo>
                  <a:lnTo>
                    <a:pt x="728" y="824"/>
                  </a:lnTo>
                  <a:lnTo>
                    <a:pt x="724" y="825"/>
                  </a:lnTo>
                  <a:lnTo>
                    <a:pt x="722" y="827"/>
                  </a:lnTo>
                  <a:lnTo>
                    <a:pt x="720" y="829"/>
                  </a:lnTo>
                  <a:lnTo>
                    <a:pt x="719" y="833"/>
                  </a:lnTo>
                  <a:lnTo>
                    <a:pt x="718" y="835"/>
                  </a:lnTo>
                  <a:lnTo>
                    <a:pt x="718" y="838"/>
                  </a:lnTo>
                  <a:lnTo>
                    <a:pt x="718" y="843"/>
                  </a:lnTo>
                  <a:lnTo>
                    <a:pt x="716" y="850"/>
                  </a:lnTo>
                  <a:lnTo>
                    <a:pt x="713" y="854"/>
                  </a:lnTo>
                  <a:lnTo>
                    <a:pt x="709" y="858"/>
                  </a:lnTo>
                  <a:lnTo>
                    <a:pt x="705" y="863"/>
                  </a:lnTo>
                  <a:lnTo>
                    <a:pt x="700" y="865"/>
                  </a:lnTo>
                  <a:lnTo>
                    <a:pt x="694" y="867"/>
                  </a:lnTo>
                  <a:lnTo>
                    <a:pt x="688" y="868"/>
                  </a:lnTo>
                  <a:lnTo>
                    <a:pt x="683" y="867"/>
                  </a:lnTo>
                  <a:lnTo>
                    <a:pt x="676" y="865"/>
                  </a:lnTo>
                  <a:lnTo>
                    <a:pt x="672" y="863"/>
                  </a:lnTo>
                  <a:lnTo>
                    <a:pt x="667" y="858"/>
                  </a:lnTo>
                  <a:lnTo>
                    <a:pt x="663" y="854"/>
                  </a:lnTo>
                  <a:lnTo>
                    <a:pt x="660" y="850"/>
                  </a:lnTo>
                  <a:lnTo>
                    <a:pt x="659" y="843"/>
                  </a:lnTo>
                  <a:lnTo>
                    <a:pt x="658" y="838"/>
                  </a:lnTo>
                  <a:lnTo>
                    <a:pt x="658" y="830"/>
                  </a:lnTo>
                  <a:lnTo>
                    <a:pt x="657" y="823"/>
                  </a:lnTo>
                  <a:lnTo>
                    <a:pt x="655" y="815"/>
                  </a:lnTo>
                  <a:lnTo>
                    <a:pt x="653" y="809"/>
                  </a:lnTo>
                  <a:lnTo>
                    <a:pt x="650" y="803"/>
                  </a:lnTo>
                  <a:lnTo>
                    <a:pt x="645" y="796"/>
                  </a:lnTo>
                  <a:lnTo>
                    <a:pt x="641" y="791"/>
                  </a:lnTo>
                  <a:lnTo>
                    <a:pt x="637" y="785"/>
                  </a:lnTo>
                  <a:lnTo>
                    <a:pt x="631" y="780"/>
                  </a:lnTo>
                  <a:lnTo>
                    <a:pt x="625" y="776"/>
                  </a:lnTo>
                  <a:lnTo>
                    <a:pt x="620" y="772"/>
                  </a:lnTo>
                  <a:lnTo>
                    <a:pt x="612" y="768"/>
                  </a:lnTo>
                  <a:lnTo>
                    <a:pt x="606" y="766"/>
                  </a:lnTo>
                  <a:lnTo>
                    <a:pt x="598" y="764"/>
                  </a:lnTo>
                  <a:lnTo>
                    <a:pt x="591" y="763"/>
                  </a:lnTo>
                  <a:lnTo>
                    <a:pt x="583" y="763"/>
                  </a:lnTo>
                  <a:lnTo>
                    <a:pt x="582" y="764"/>
                  </a:lnTo>
                  <a:lnTo>
                    <a:pt x="581" y="764"/>
                  </a:lnTo>
                  <a:lnTo>
                    <a:pt x="668" y="444"/>
                  </a:lnTo>
                  <a:lnTo>
                    <a:pt x="685" y="448"/>
                  </a:lnTo>
                  <a:lnTo>
                    <a:pt x="687" y="448"/>
                  </a:lnTo>
                  <a:lnTo>
                    <a:pt x="688" y="448"/>
                  </a:lnTo>
                  <a:lnTo>
                    <a:pt x="693" y="447"/>
                  </a:lnTo>
                  <a:lnTo>
                    <a:pt x="698" y="445"/>
                  </a:lnTo>
                  <a:lnTo>
                    <a:pt x="701" y="442"/>
                  </a:lnTo>
                  <a:lnTo>
                    <a:pt x="703" y="438"/>
                  </a:lnTo>
                  <a:lnTo>
                    <a:pt x="703" y="434"/>
                  </a:lnTo>
                  <a:lnTo>
                    <a:pt x="703" y="431"/>
                  </a:lnTo>
                  <a:lnTo>
                    <a:pt x="702" y="429"/>
                  </a:lnTo>
                  <a:lnTo>
                    <a:pt x="701" y="426"/>
                  </a:lnTo>
                  <a:lnTo>
                    <a:pt x="699" y="424"/>
                  </a:lnTo>
                  <a:lnTo>
                    <a:pt x="697" y="423"/>
                  </a:lnTo>
                  <a:lnTo>
                    <a:pt x="694" y="420"/>
                  </a:lnTo>
                  <a:lnTo>
                    <a:pt x="691" y="420"/>
                  </a:lnTo>
                  <a:lnTo>
                    <a:pt x="598" y="398"/>
                  </a:lnTo>
                  <a:lnTo>
                    <a:pt x="598" y="253"/>
                  </a:lnTo>
                  <a:lnTo>
                    <a:pt x="598" y="246"/>
                  </a:lnTo>
                  <a:lnTo>
                    <a:pt x="597" y="240"/>
                  </a:lnTo>
                  <a:lnTo>
                    <a:pt x="595" y="232"/>
                  </a:lnTo>
                  <a:lnTo>
                    <a:pt x="593" y="226"/>
                  </a:lnTo>
                  <a:lnTo>
                    <a:pt x="590" y="219"/>
                  </a:lnTo>
                  <a:lnTo>
                    <a:pt x="585" y="213"/>
                  </a:lnTo>
                  <a:lnTo>
                    <a:pt x="581" y="206"/>
                  </a:lnTo>
                  <a:lnTo>
                    <a:pt x="577" y="201"/>
                  </a:lnTo>
                  <a:lnTo>
                    <a:pt x="571" y="197"/>
                  </a:lnTo>
                  <a:lnTo>
                    <a:pt x="565" y="192"/>
                  </a:lnTo>
                  <a:lnTo>
                    <a:pt x="560" y="188"/>
                  </a:lnTo>
                  <a:lnTo>
                    <a:pt x="553" y="185"/>
                  </a:lnTo>
                  <a:lnTo>
                    <a:pt x="546" y="183"/>
                  </a:lnTo>
                  <a:lnTo>
                    <a:pt x="538" y="181"/>
                  </a:lnTo>
                  <a:lnTo>
                    <a:pt x="531" y="180"/>
                  </a:lnTo>
                  <a:lnTo>
                    <a:pt x="523" y="180"/>
                  </a:lnTo>
                  <a:lnTo>
                    <a:pt x="448" y="180"/>
                  </a:lnTo>
                  <a:lnTo>
                    <a:pt x="448" y="15"/>
                  </a:lnTo>
                  <a:lnTo>
                    <a:pt x="448" y="12"/>
                  </a:lnTo>
                  <a:lnTo>
                    <a:pt x="447" y="9"/>
                  </a:lnTo>
                  <a:lnTo>
                    <a:pt x="446" y="6"/>
                  </a:lnTo>
                  <a:lnTo>
                    <a:pt x="444" y="4"/>
                  </a:lnTo>
                  <a:lnTo>
                    <a:pt x="442" y="2"/>
                  </a:lnTo>
                  <a:lnTo>
                    <a:pt x="440" y="1"/>
                  </a:lnTo>
                  <a:lnTo>
                    <a:pt x="436" y="0"/>
                  </a:lnTo>
                  <a:lnTo>
                    <a:pt x="433" y="0"/>
                  </a:lnTo>
                  <a:lnTo>
                    <a:pt x="314" y="0"/>
                  </a:lnTo>
                  <a:lnTo>
                    <a:pt x="311" y="0"/>
                  </a:lnTo>
                  <a:lnTo>
                    <a:pt x="308" y="1"/>
                  </a:lnTo>
                  <a:lnTo>
                    <a:pt x="306" y="2"/>
                  </a:lnTo>
                  <a:lnTo>
                    <a:pt x="304" y="4"/>
                  </a:lnTo>
                  <a:lnTo>
                    <a:pt x="302" y="6"/>
                  </a:lnTo>
                  <a:lnTo>
                    <a:pt x="301" y="9"/>
                  </a:lnTo>
                  <a:lnTo>
                    <a:pt x="299" y="12"/>
                  </a:lnTo>
                  <a:lnTo>
                    <a:pt x="299" y="15"/>
                  </a:lnTo>
                  <a:lnTo>
                    <a:pt x="299" y="180"/>
                  </a:lnTo>
                  <a:lnTo>
                    <a:pt x="224" y="180"/>
                  </a:lnTo>
                  <a:lnTo>
                    <a:pt x="217" y="180"/>
                  </a:lnTo>
                  <a:lnTo>
                    <a:pt x="209" y="181"/>
                  </a:lnTo>
                  <a:lnTo>
                    <a:pt x="202" y="183"/>
                  </a:lnTo>
                  <a:lnTo>
                    <a:pt x="196" y="185"/>
                  </a:lnTo>
                  <a:lnTo>
                    <a:pt x="188" y="188"/>
                  </a:lnTo>
                  <a:lnTo>
                    <a:pt x="183" y="192"/>
                  </a:lnTo>
                  <a:lnTo>
                    <a:pt x="176" y="197"/>
                  </a:lnTo>
                  <a:lnTo>
                    <a:pt x="171" y="201"/>
                  </a:lnTo>
                  <a:lnTo>
                    <a:pt x="167" y="206"/>
                  </a:lnTo>
                  <a:lnTo>
                    <a:pt x="162" y="213"/>
                  </a:lnTo>
                  <a:lnTo>
                    <a:pt x="158" y="219"/>
                  </a:lnTo>
                  <a:lnTo>
                    <a:pt x="155" y="226"/>
                  </a:lnTo>
                  <a:lnTo>
                    <a:pt x="153" y="232"/>
                  </a:lnTo>
                  <a:lnTo>
                    <a:pt x="151" y="240"/>
                  </a:lnTo>
                  <a:lnTo>
                    <a:pt x="150" y="246"/>
                  </a:lnTo>
                  <a:lnTo>
                    <a:pt x="150" y="253"/>
                  </a:lnTo>
                  <a:lnTo>
                    <a:pt x="150" y="398"/>
                  </a:lnTo>
                  <a:lnTo>
                    <a:pt x="56" y="420"/>
                  </a:lnTo>
                  <a:lnTo>
                    <a:pt x="53" y="420"/>
                  </a:lnTo>
                  <a:lnTo>
                    <a:pt x="51" y="423"/>
                  </a:lnTo>
                  <a:lnTo>
                    <a:pt x="49" y="424"/>
                  </a:lnTo>
                  <a:lnTo>
                    <a:pt x="47" y="426"/>
                  </a:lnTo>
                  <a:lnTo>
                    <a:pt x="46" y="429"/>
                  </a:lnTo>
                  <a:lnTo>
                    <a:pt x="45" y="431"/>
                  </a:lnTo>
                  <a:lnTo>
                    <a:pt x="45" y="434"/>
                  </a:lnTo>
                  <a:lnTo>
                    <a:pt x="45" y="438"/>
                  </a:lnTo>
                  <a:lnTo>
                    <a:pt x="46" y="441"/>
                  </a:lnTo>
                  <a:lnTo>
                    <a:pt x="48" y="443"/>
                  </a:lnTo>
                  <a:lnTo>
                    <a:pt x="50" y="445"/>
                  </a:lnTo>
                  <a:lnTo>
                    <a:pt x="52" y="446"/>
                  </a:lnTo>
                  <a:lnTo>
                    <a:pt x="57" y="448"/>
                  </a:lnTo>
                  <a:lnTo>
                    <a:pt x="63" y="448"/>
                  </a:lnTo>
                  <a:lnTo>
                    <a:pt x="76" y="445"/>
                  </a:lnTo>
                  <a:lnTo>
                    <a:pt x="155" y="764"/>
                  </a:lnTo>
                  <a:lnTo>
                    <a:pt x="147" y="765"/>
                  </a:lnTo>
                  <a:lnTo>
                    <a:pt x="141" y="767"/>
                  </a:lnTo>
                  <a:lnTo>
                    <a:pt x="135" y="769"/>
                  </a:lnTo>
                  <a:lnTo>
                    <a:pt x="129" y="773"/>
                  </a:lnTo>
                  <a:lnTo>
                    <a:pt x="123" y="776"/>
                  </a:lnTo>
                  <a:lnTo>
                    <a:pt x="117" y="780"/>
                  </a:lnTo>
                  <a:lnTo>
                    <a:pt x="113" y="784"/>
                  </a:lnTo>
                  <a:lnTo>
                    <a:pt x="108" y="789"/>
                  </a:lnTo>
                  <a:lnTo>
                    <a:pt x="105" y="794"/>
                  </a:lnTo>
                  <a:lnTo>
                    <a:pt x="100" y="799"/>
                  </a:lnTo>
                  <a:lnTo>
                    <a:pt x="97" y="805"/>
                  </a:lnTo>
                  <a:lnTo>
                    <a:pt x="95" y="811"/>
                  </a:lnTo>
                  <a:lnTo>
                    <a:pt x="93" y="818"/>
                  </a:lnTo>
                  <a:lnTo>
                    <a:pt x="91" y="824"/>
                  </a:lnTo>
                  <a:lnTo>
                    <a:pt x="90" y="830"/>
                  </a:lnTo>
                  <a:lnTo>
                    <a:pt x="90" y="838"/>
                  </a:lnTo>
                  <a:lnTo>
                    <a:pt x="89" y="843"/>
                  </a:lnTo>
                  <a:lnTo>
                    <a:pt x="87" y="850"/>
                  </a:lnTo>
                  <a:lnTo>
                    <a:pt x="84" y="854"/>
                  </a:lnTo>
                  <a:lnTo>
                    <a:pt x="81" y="858"/>
                  </a:lnTo>
                  <a:lnTo>
                    <a:pt x="77" y="863"/>
                  </a:lnTo>
                  <a:lnTo>
                    <a:pt x="71" y="865"/>
                  </a:lnTo>
                  <a:lnTo>
                    <a:pt x="66" y="867"/>
                  </a:lnTo>
                  <a:lnTo>
                    <a:pt x="60" y="868"/>
                  </a:lnTo>
                  <a:lnTo>
                    <a:pt x="53" y="867"/>
                  </a:lnTo>
                  <a:lnTo>
                    <a:pt x="48" y="865"/>
                  </a:lnTo>
                  <a:lnTo>
                    <a:pt x="42" y="863"/>
                  </a:lnTo>
                  <a:lnTo>
                    <a:pt x="38" y="858"/>
                  </a:lnTo>
                  <a:lnTo>
                    <a:pt x="35" y="854"/>
                  </a:lnTo>
                  <a:lnTo>
                    <a:pt x="32" y="850"/>
                  </a:lnTo>
                  <a:lnTo>
                    <a:pt x="31" y="843"/>
                  </a:lnTo>
                  <a:lnTo>
                    <a:pt x="30" y="838"/>
                  </a:lnTo>
                  <a:lnTo>
                    <a:pt x="30" y="835"/>
                  </a:lnTo>
                  <a:lnTo>
                    <a:pt x="29" y="833"/>
                  </a:lnTo>
                  <a:lnTo>
                    <a:pt x="27" y="829"/>
                  </a:lnTo>
                  <a:lnTo>
                    <a:pt x="25" y="827"/>
                  </a:lnTo>
                  <a:lnTo>
                    <a:pt x="23" y="825"/>
                  </a:lnTo>
                  <a:lnTo>
                    <a:pt x="20" y="824"/>
                  </a:lnTo>
                  <a:lnTo>
                    <a:pt x="18" y="823"/>
                  </a:lnTo>
                  <a:lnTo>
                    <a:pt x="15" y="823"/>
                  </a:lnTo>
                  <a:lnTo>
                    <a:pt x="11" y="823"/>
                  </a:lnTo>
                  <a:lnTo>
                    <a:pt x="9" y="824"/>
                  </a:lnTo>
                  <a:lnTo>
                    <a:pt x="6" y="825"/>
                  </a:lnTo>
                  <a:lnTo>
                    <a:pt x="4" y="827"/>
                  </a:lnTo>
                  <a:lnTo>
                    <a:pt x="2" y="829"/>
                  </a:lnTo>
                  <a:lnTo>
                    <a:pt x="1" y="833"/>
                  </a:lnTo>
                  <a:lnTo>
                    <a:pt x="0" y="835"/>
                  </a:lnTo>
                  <a:lnTo>
                    <a:pt x="0" y="838"/>
                  </a:lnTo>
                  <a:lnTo>
                    <a:pt x="0" y="843"/>
                  </a:lnTo>
                  <a:lnTo>
                    <a:pt x="1" y="850"/>
                  </a:lnTo>
                  <a:lnTo>
                    <a:pt x="3" y="855"/>
                  </a:lnTo>
                  <a:lnTo>
                    <a:pt x="4" y="860"/>
                  </a:lnTo>
                  <a:lnTo>
                    <a:pt x="7" y="866"/>
                  </a:lnTo>
                  <a:lnTo>
                    <a:pt x="10" y="871"/>
                  </a:lnTo>
                  <a:lnTo>
                    <a:pt x="14" y="875"/>
                  </a:lnTo>
                  <a:lnTo>
                    <a:pt x="17" y="880"/>
                  </a:lnTo>
                  <a:lnTo>
                    <a:pt x="21" y="884"/>
                  </a:lnTo>
                  <a:lnTo>
                    <a:pt x="26" y="887"/>
                  </a:lnTo>
                  <a:lnTo>
                    <a:pt x="31" y="890"/>
                  </a:lnTo>
                  <a:lnTo>
                    <a:pt x="36" y="893"/>
                  </a:lnTo>
                  <a:lnTo>
                    <a:pt x="41" y="895"/>
                  </a:lnTo>
                  <a:lnTo>
                    <a:pt x="48" y="896"/>
                  </a:lnTo>
                  <a:lnTo>
                    <a:pt x="53" y="897"/>
                  </a:lnTo>
                  <a:lnTo>
                    <a:pt x="60" y="898"/>
                  </a:lnTo>
                  <a:lnTo>
                    <a:pt x="66" y="897"/>
                  </a:lnTo>
                  <a:lnTo>
                    <a:pt x="71" y="896"/>
                  </a:lnTo>
                  <a:lnTo>
                    <a:pt x="78" y="895"/>
                  </a:lnTo>
                  <a:lnTo>
                    <a:pt x="83" y="893"/>
                  </a:lnTo>
                  <a:lnTo>
                    <a:pt x="89" y="890"/>
                  </a:lnTo>
                  <a:lnTo>
                    <a:pt x="93" y="887"/>
                  </a:lnTo>
                  <a:lnTo>
                    <a:pt x="98" y="884"/>
                  </a:lnTo>
                  <a:lnTo>
                    <a:pt x="101" y="880"/>
                  </a:lnTo>
                  <a:lnTo>
                    <a:pt x="106" y="875"/>
                  </a:lnTo>
                  <a:lnTo>
                    <a:pt x="109" y="871"/>
                  </a:lnTo>
                  <a:lnTo>
                    <a:pt x="112" y="866"/>
                  </a:lnTo>
                  <a:lnTo>
                    <a:pt x="114" y="860"/>
                  </a:lnTo>
                  <a:lnTo>
                    <a:pt x="116" y="855"/>
                  </a:lnTo>
                  <a:lnTo>
                    <a:pt x="118" y="850"/>
                  </a:lnTo>
                  <a:lnTo>
                    <a:pt x="120" y="843"/>
                  </a:lnTo>
                  <a:lnTo>
                    <a:pt x="120" y="838"/>
                  </a:lnTo>
                  <a:lnTo>
                    <a:pt x="121" y="828"/>
                  </a:lnTo>
                  <a:lnTo>
                    <a:pt x="123" y="821"/>
                  </a:lnTo>
                  <a:lnTo>
                    <a:pt x="127" y="813"/>
                  </a:lnTo>
                  <a:lnTo>
                    <a:pt x="132" y="806"/>
                  </a:lnTo>
                  <a:lnTo>
                    <a:pt x="139" y="800"/>
                  </a:lnTo>
                  <a:lnTo>
                    <a:pt x="147" y="796"/>
                  </a:lnTo>
                  <a:lnTo>
                    <a:pt x="155" y="794"/>
                  </a:lnTo>
                  <a:lnTo>
                    <a:pt x="165" y="793"/>
                  </a:lnTo>
                  <a:lnTo>
                    <a:pt x="173" y="794"/>
                  </a:lnTo>
                  <a:lnTo>
                    <a:pt x="182" y="796"/>
                  </a:lnTo>
                  <a:lnTo>
                    <a:pt x="189" y="800"/>
                  </a:lnTo>
                  <a:lnTo>
                    <a:pt x="196" y="806"/>
                  </a:lnTo>
                  <a:lnTo>
                    <a:pt x="202" y="813"/>
                  </a:lnTo>
                  <a:lnTo>
                    <a:pt x="205" y="821"/>
                  </a:lnTo>
                  <a:lnTo>
                    <a:pt x="208" y="828"/>
                  </a:lnTo>
                  <a:lnTo>
                    <a:pt x="209" y="838"/>
                  </a:lnTo>
                  <a:lnTo>
                    <a:pt x="209" y="843"/>
                  </a:lnTo>
                  <a:lnTo>
                    <a:pt x="211" y="850"/>
                  </a:lnTo>
                  <a:lnTo>
                    <a:pt x="212" y="855"/>
                  </a:lnTo>
                  <a:lnTo>
                    <a:pt x="214" y="860"/>
                  </a:lnTo>
                  <a:lnTo>
                    <a:pt x="216" y="866"/>
                  </a:lnTo>
                  <a:lnTo>
                    <a:pt x="219" y="871"/>
                  </a:lnTo>
                  <a:lnTo>
                    <a:pt x="222" y="875"/>
                  </a:lnTo>
                  <a:lnTo>
                    <a:pt x="227" y="880"/>
                  </a:lnTo>
                  <a:lnTo>
                    <a:pt x="231" y="884"/>
                  </a:lnTo>
                  <a:lnTo>
                    <a:pt x="235" y="887"/>
                  </a:lnTo>
                  <a:lnTo>
                    <a:pt x="241" y="890"/>
                  </a:lnTo>
                  <a:lnTo>
                    <a:pt x="246" y="893"/>
                  </a:lnTo>
                  <a:lnTo>
                    <a:pt x="251" y="895"/>
                  </a:lnTo>
                  <a:lnTo>
                    <a:pt x="257" y="896"/>
                  </a:lnTo>
                  <a:lnTo>
                    <a:pt x="263" y="897"/>
                  </a:lnTo>
                  <a:lnTo>
                    <a:pt x="269" y="898"/>
                  </a:lnTo>
                  <a:lnTo>
                    <a:pt x="275" y="897"/>
                  </a:lnTo>
                  <a:lnTo>
                    <a:pt x="281" y="896"/>
                  </a:lnTo>
                  <a:lnTo>
                    <a:pt x="287" y="895"/>
                  </a:lnTo>
                  <a:lnTo>
                    <a:pt x="292" y="893"/>
                  </a:lnTo>
                  <a:lnTo>
                    <a:pt x="297" y="890"/>
                  </a:lnTo>
                  <a:lnTo>
                    <a:pt x="303" y="887"/>
                  </a:lnTo>
                  <a:lnTo>
                    <a:pt x="307" y="884"/>
                  </a:lnTo>
                  <a:lnTo>
                    <a:pt x="311" y="880"/>
                  </a:lnTo>
                  <a:lnTo>
                    <a:pt x="315" y="875"/>
                  </a:lnTo>
                  <a:lnTo>
                    <a:pt x="319" y="871"/>
                  </a:lnTo>
                  <a:lnTo>
                    <a:pt x="322" y="866"/>
                  </a:lnTo>
                  <a:lnTo>
                    <a:pt x="324" y="860"/>
                  </a:lnTo>
                  <a:lnTo>
                    <a:pt x="326" y="855"/>
                  </a:lnTo>
                  <a:lnTo>
                    <a:pt x="327" y="850"/>
                  </a:lnTo>
                  <a:lnTo>
                    <a:pt x="328" y="843"/>
                  </a:lnTo>
                  <a:lnTo>
                    <a:pt x="329" y="838"/>
                  </a:lnTo>
                  <a:lnTo>
                    <a:pt x="329" y="828"/>
                  </a:lnTo>
                  <a:lnTo>
                    <a:pt x="333" y="821"/>
                  </a:lnTo>
                  <a:lnTo>
                    <a:pt x="337" y="813"/>
                  </a:lnTo>
                  <a:lnTo>
                    <a:pt x="342" y="806"/>
                  </a:lnTo>
                  <a:lnTo>
                    <a:pt x="349" y="800"/>
                  </a:lnTo>
                  <a:lnTo>
                    <a:pt x="356" y="796"/>
                  </a:lnTo>
                  <a:lnTo>
                    <a:pt x="365" y="794"/>
                  </a:lnTo>
                  <a:lnTo>
                    <a:pt x="374" y="793"/>
                  </a:lnTo>
                  <a:lnTo>
                    <a:pt x="383" y="794"/>
                  </a:lnTo>
                  <a:lnTo>
                    <a:pt x="392" y="796"/>
                  </a:lnTo>
                  <a:lnTo>
                    <a:pt x="399" y="800"/>
                  </a:lnTo>
                  <a:lnTo>
                    <a:pt x="405" y="806"/>
                  </a:lnTo>
                  <a:lnTo>
                    <a:pt x="411" y="813"/>
                  </a:lnTo>
                  <a:lnTo>
                    <a:pt x="415" y="821"/>
                  </a:lnTo>
                  <a:lnTo>
                    <a:pt x="418" y="828"/>
                  </a:lnTo>
                  <a:lnTo>
                    <a:pt x="418" y="838"/>
                  </a:lnTo>
                  <a:lnTo>
                    <a:pt x="419" y="843"/>
                  </a:lnTo>
                  <a:lnTo>
                    <a:pt x="420" y="850"/>
                  </a:lnTo>
                  <a:lnTo>
                    <a:pt x="421" y="855"/>
                  </a:lnTo>
                  <a:lnTo>
                    <a:pt x="424" y="860"/>
                  </a:lnTo>
                  <a:lnTo>
                    <a:pt x="426" y="866"/>
                  </a:lnTo>
                  <a:lnTo>
                    <a:pt x="429" y="871"/>
                  </a:lnTo>
                  <a:lnTo>
                    <a:pt x="432" y="875"/>
                  </a:lnTo>
                  <a:lnTo>
                    <a:pt x="436" y="880"/>
                  </a:lnTo>
                  <a:lnTo>
                    <a:pt x="441" y="884"/>
                  </a:lnTo>
                  <a:lnTo>
                    <a:pt x="445" y="887"/>
                  </a:lnTo>
                  <a:lnTo>
                    <a:pt x="450" y="890"/>
                  </a:lnTo>
                  <a:lnTo>
                    <a:pt x="456" y="893"/>
                  </a:lnTo>
                  <a:lnTo>
                    <a:pt x="461" y="895"/>
                  </a:lnTo>
                  <a:lnTo>
                    <a:pt x="466" y="896"/>
                  </a:lnTo>
                  <a:lnTo>
                    <a:pt x="473" y="897"/>
                  </a:lnTo>
                  <a:lnTo>
                    <a:pt x="478" y="898"/>
                  </a:lnTo>
                  <a:lnTo>
                    <a:pt x="485" y="897"/>
                  </a:lnTo>
                  <a:lnTo>
                    <a:pt x="491" y="896"/>
                  </a:lnTo>
                  <a:lnTo>
                    <a:pt x="496" y="895"/>
                  </a:lnTo>
                  <a:lnTo>
                    <a:pt x="502" y="893"/>
                  </a:lnTo>
                  <a:lnTo>
                    <a:pt x="507" y="890"/>
                  </a:lnTo>
                  <a:lnTo>
                    <a:pt x="512" y="887"/>
                  </a:lnTo>
                  <a:lnTo>
                    <a:pt x="517" y="884"/>
                  </a:lnTo>
                  <a:lnTo>
                    <a:pt x="521" y="880"/>
                  </a:lnTo>
                  <a:lnTo>
                    <a:pt x="525" y="875"/>
                  </a:lnTo>
                  <a:lnTo>
                    <a:pt x="529" y="871"/>
                  </a:lnTo>
                  <a:lnTo>
                    <a:pt x="532" y="866"/>
                  </a:lnTo>
                  <a:lnTo>
                    <a:pt x="534" y="860"/>
                  </a:lnTo>
                  <a:lnTo>
                    <a:pt x="536" y="855"/>
                  </a:lnTo>
                  <a:lnTo>
                    <a:pt x="537" y="850"/>
                  </a:lnTo>
                  <a:lnTo>
                    <a:pt x="538" y="843"/>
                  </a:lnTo>
                  <a:lnTo>
                    <a:pt x="538" y="838"/>
                  </a:lnTo>
                  <a:lnTo>
                    <a:pt x="539" y="828"/>
                  </a:lnTo>
                  <a:lnTo>
                    <a:pt x="542" y="821"/>
                  </a:lnTo>
                  <a:lnTo>
                    <a:pt x="546" y="813"/>
                  </a:lnTo>
                  <a:lnTo>
                    <a:pt x="552" y="806"/>
                  </a:lnTo>
                  <a:lnTo>
                    <a:pt x="559" y="800"/>
                  </a:lnTo>
                  <a:lnTo>
                    <a:pt x="566" y="796"/>
                  </a:lnTo>
                  <a:lnTo>
                    <a:pt x="575" y="794"/>
                  </a:lnTo>
                  <a:lnTo>
                    <a:pt x="583" y="793"/>
                  </a:lnTo>
                  <a:lnTo>
                    <a:pt x="593" y="794"/>
                  </a:lnTo>
                  <a:lnTo>
                    <a:pt x="601" y="796"/>
                  </a:lnTo>
                  <a:lnTo>
                    <a:pt x="609" y="800"/>
                  </a:lnTo>
                  <a:lnTo>
                    <a:pt x="615" y="806"/>
                  </a:lnTo>
                  <a:lnTo>
                    <a:pt x="621" y="813"/>
                  </a:lnTo>
                  <a:lnTo>
                    <a:pt x="625" y="821"/>
                  </a:lnTo>
                  <a:lnTo>
                    <a:pt x="627" y="828"/>
                  </a:lnTo>
                  <a:lnTo>
                    <a:pt x="628" y="838"/>
                  </a:lnTo>
                  <a:lnTo>
                    <a:pt x="628" y="843"/>
                  </a:lnTo>
                  <a:lnTo>
                    <a:pt x="629" y="850"/>
                  </a:lnTo>
                  <a:lnTo>
                    <a:pt x="631" y="855"/>
                  </a:lnTo>
                  <a:lnTo>
                    <a:pt x="633" y="860"/>
                  </a:lnTo>
                  <a:lnTo>
                    <a:pt x="636" y="866"/>
                  </a:lnTo>
                  <a:lnTo>
                    <a:pt x="639" y="871"/>
                  </a:lnTo>
                  <a:lnTo>
                    <a:pt x="642" y="875"/>
                  </a:lnTo>
                  <a:lnTo>
                    <a:pt x="646" y="880"/>
                  </a:lnTo>
                  <a:lnTo>
                    <a:pt x="651" y="884"/>
                  </a:lnTo>
                  <a:lnTo>
                    <a:pt x="655" y="887"/>
                  </a:lnTo>
                  <a:lnTo>
                    <a:pt x="659" y="890"/>
                  </a:lnTo>
                  <a:lnTo>
                    <a:pt x="665" y="893"/>
                  </a:lnTo>
                  <a:lnTo>
                    <a:pt x="670" y="895"/>
                  </a:lnTo>
                  <a:lnTo>
                    <a:pt x="676" y="896"/>
                  </a:lnTo>
                  <a:lnTo>
                    <a:pt x="682" y="897"/>
                  </a:lnTo>
                  <a:lnTo>
                    <a:pt x="688" y="898"/>
                  </a:lnTo>
                  <a:lnTo>
                    <a:pt x="694" y="897"/>
                  </a:lnTo>
                  <a:lnTo>
                    <a:pt x="700" y="896"/>
                  </a:lnTo>
                  <a:lnTo>
                    <a:pt x="706" y="895"/>
                  </a:lnTo>
                  <a:lnTo>
                    <a:pt x="712" y="893"/>
                  </a:lnTo>
                  <a:lnTo>
                    <a:pt x="717" y="890"/>
                  </a:lnTo>
                  <a:lnTo>
                    <a:pt x="721" y="887"/>
                  </a:lnTo>
                  <a:lnTo>
                    <a:pt x="727" y="884"/>
                  </a:lnTo>
                  <a:lnTo>
                    <a:pt x="731" y="880"/>
                  </a:lnTo>
                  <a:lnTo>
                    <a:pt x="734" y="875"/>
                  </a:lnTo>
                  <a:lnTo>
                    <a:pt x="737" y="871"/>
                  </a:lnTo>
                  <a:lnTo>
                    <a:pt x="741" y="866"/>
                  </a:lnTo>
                  <a:lnTo>
                    <a:pt x="744" y="860"/>
                  </a:lnTo>
                  <a:lnTo>
                    <a:pt x="746" y="855"/>
                  </a:lnTo>
                  <a:lnTo>
                    <a:pt x="747" y="850"/>
                  </a:lnTo>
                  <a:lnTo>
                    <a:pt x="748" y="843"/>
                  </a:lnTo>
                  <a:lnTo>
                    <a:pt x="748" y="838"/>
                  </a:lnTo>
                  <a:lnTo>
                    <a:pt x="748" y="835"/>
                  </a:lnTo>
                  <a:lnTo>
                    <a:pt x="747" y="833"/>
                  </a:lnTo>
                  <a:lnTo>
                    <a:pt x="746" y="829"/>
                  </a:lnTo>
                  <a:lnTo>
                    <a:pt x="744" y="827"/>
                  </a:lnTo>
                  <a:lnTo>
                    <a:pt x="742" y="825"/>
                  </a:lnTo>
                  <a:lnTo>
                    <a:pt x="738" y="824"/>
                  </a:lnTo>
                  <a:lnTo>
                    <a:pt x="736" y="823"/>
                  </a:lnTo>
                  <a:lnTo>
                    <a:pt x="733" y="82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591221237"/>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bg>
      <p:bgPr>
        <a:solidFill>
          <a:srgbClr val="0E2A47"/>
        </a:solidFill>
        <a:effectLst/>
      </p:bgPr>
    </p:bg>
    <p:spTree>
      <p:nvGrpSpPr>
        <p:cNvPr id="1" name="Shape 1096"/>
        <p:cNvGrpSpPr/>
        <p:nvPr/>
      </p:nvGrpSpPr>
      <p:grpSpPr>
        <a:xfrm>
          <a:off x="0" y="0"/>
          <a:ext cx="0" cy="0"/>
          <a:chOff x="0" y="0"/>
          <a:chExt cx="0" cy="0"/>
        </a:xfrm>
      </p:grpSpPr>
      <p:sp>
        <p:nvSpPr>
          <p:cNvPr id="1097" name="Google Shape;1097;p103"/>
          <p:cNvSpPr txBox="1"/>
          <p:nvPr/>
        </p:nvSpPr>
        <p:spPr>
          <a:xfrm>
            <a:off x="1424133" y="2045435"/>
            <a:ext cx="9396400" cy="643200"/>
          </a:xfrm>
          <a:prstGeom prst="rect">
            <a:avLst/>
          </a:prstGeom>
          <a:noFill/>
          <a:ln>
            <a:noFill/>
          </a:ln>
        </p:spPr>
        <p:txBody>
          <a:bodyPr spcFirstLastPara="1" wrap="square" lIns="121900" tIns="121900" rIns="121900" bIns="121900" anchor="ctr" anchorCtr="0">
            <a:noAutofit/>
          </a:bodyPr>
          <a:lstStyle/>
          <a:p>
            <a:pPr algn="ctr" defTabSz="1219170">
              <a:lnSpc>
                <a:spcPct val="115000"/>
              </a:lnSpc>
              <a:buClr>
                <a:srgbClr val="000000"/>
              </a:buClr>
            </a:pPr>
            <a:r>
              <a:rPr lang="en" sz="1467" kern="0">
                <a:solidFill>
                  <a:srgbClr val="FFFFFF"/>
                </a:solidFill>
                <a:latin typeface="Arial"/>
                <a:cs typeface="Arial"/>
                <a:sym typeface="Arial"/>
              </a:rPr>
              <a:t>You can easily</a:t>
            </a:r>
            <a:r>
              <a:rPr lang="en" sz="1467" kern="0">
                <a:solidFill>
                  <a:srgbClr val="435D74"/>
                </a:solidFill>
                <a:latin typeface="Arial"/>
                <a:cs typeface="Arial"/>
                <a:sym typeface="Arial"/>
              </a:rPr>
              <a:t> </a:t>
            </a:r>
            <a:r>
              <a:rPr lang="en" sz="1467" kern="0">
                <a:solidFill>
                  <a:srgbClr val="869FB2"/>
                </a:solidFill>
                <a:latin typeface="Arial"/>
                <a:cs typeface="Arial"/>
                <a:sym typeface="Arial"/>
              </a:rPr>
              <a:t>resize</a:t>
            </a:r>
            <a:r>
              <a:rPr lang="en" sz="1467" kern="0">
                <a:solidFill>
                  <a:srgbClr val="435D74"/>
                </a:solidFill>
                <a:latin typeface="Arial"/>
                <a:cs typeface="Arial"/>
                <a:sym typeface="Arial"/>
              </a:rPr>
              <a:t> </a:t>
            </a:r>
            <a:r>
              <a:rPr lang="en" sz="1467" kern="0">
                <a:solidFill>
                  <a:srgbClr val="FFFFFF"/>
                </a:solidFill>
                <a:latin typeface="Arial"/>
                <a:cs typeface="Arial"/>
                <a:sym typeface="Arial"/>
              </a:rPr>
              <a:t>these resources without losing quality. To</a:t>
            </a:r>
            <a:r>
              <a:rPr lang="en" sz="1467" kern="0">
                <a:solidFill>
                  <a:srgbClr val="435D74"/>
                </a:solidFill>
                <a:latin typeface="Arial"/>
                <a:cs typeface="Arial"/>
                <a:sym typeface="Arial"/>
              </a:rPr>
              <a:t> </a:t>
            </a:r>
            <a:r>
              <a:rPr lang="en" sz="1467" kern="0">
                <a:solidFill>
                  <a:srgbClr val="869FB2"/>
                </a:solidFill>
                <a:latin typeface="Arial"/>
                <a:cs typeface="Arial"/>
                <a:sym typeface="Arial"/>
              </a:rPr>
              <a:t>change the color</a:t>
            </a:r>
            <a:r>
              <a:rPr lang="en" sz="1467" kern="0">
                <a:solidFill>
                  <a:srgbClr val="FFFFFF"/>
                </a:solidFill>
                <a:latin typeface="Arial"/>
                <a:cs typeface="Arial"/>
                <a:sym typeface="Arial"/>
              </a:rPr>
              <a:t>, just ungroup the resource and click on the object you want to change. Then, click on the paint bucket and select the color you want. Group the resource again when you’re done. You can also look for more </a:t>
            </a:r>
            <a:r>
              <a:rPr lang="en" sz="1467" kern="0">
                <a:solidFill>
                  <a:srgbClr val="869FB2"/>
                </a:solidFill>
                <a:uFill>
                  <a:noFill/>
                </a:uFill>
                <a:latin typeface="Arial"/>
                <a:cs typeface="Arial"/>
                <a:sym typeface="Arial"/>
                <a:hlinkClick r:id="rId3">
                  <a:extLst>
                    <a:ext uri="{A12FA001-AC4F-418D-AE19-62706E023703}">
                      <ahyp:hlinkClr xmlns:ahyp="http://schemas.microsoft.com/office/drawing/2018/hyperlinkcolor" val="tx"/>
                    </a:ext>
                  </a:extLst>
                </a:hlinkClick>
              </a:rPr>
              <a:t>infographics</a:t>
            </a:r>
            <a:r>
              <a:rPr lang="en" sz="1467" kern="0">
                <a:solidFill>
                  <a:srgbClr val="FFFFFF"/>
                </a:solidFill>
                <a:latin typeface="Arial"/>
                <a:cs typeface="Arial"/>
                <a:sym typeface="Arial"/>
              </a:rPr>
              <a:t> on Slidesgo.</a:t>
            </a:r>
            <a:endParaRPr sz="1467" kern="0">
              <a:solidFill>
                <a:srgbClr val="FFFFFF"/>
              </a:solidFill>
              <a:latin typeface="Arial"/>
              <a:cs typeface="Arial"/>
              <a:sym typeface="Arial"/>
            </a:endParaRPr>
          </a:p>
        </p:txBody>
      </p:sp>
      <p:grpSp>
        <p:nvGrpSpPr>
          <p:cNvPr id="1098" name="Google Shape;1098;p103"/>
          <p:cNvGrpSpPr/>
          <p:nvPr/>
        </p:nvGrpSpPr>
        <p:grpSpPr>
          <a:xfrm>
            <a:off x="6874771" y="4114315"/>
            <a:ext cx="632392" cy="735055"/>
            <a:chOff x="4727025" y="1332775"/>
            <a:chExt cx="59900" cy="69625"/>
          </a:xfrm>
        </p:grpSpPr>
        <p:sp>
          <p:nvSpPr>
            <p:cNvPr id="1099" name="Google Shape;1099;p103"/>
            <p:cNvSpPr/>
            <p:nvPr/>
          </p:nvSpPr>
          <p:spPr>
            <a:xfrm>
              <a:off x="4727025" y="1332775"/>
              <a:ext cx="36450" cy="33200"/>
            </a:xfrm>
            <a:custGeom>
              <a:avLst/>
              <a:gdLst/>
              <a:ahLst/>
              <a:cxnLst/>
              <a:rect l="l" t="t" r="r" b="b"/>
              <a:pathLst>
                <a:path w="1458" h="1328" extrusionOk="0">
                  <a:moveTo>
                    <a:pt x="1047" y="1"/>
                  </a:moveTo>
                  <a:lnTo>
                    <a:pt x="1047" y="188"/>
                  </a:lnTo>
                  <a:cubicBezTo>
                    <a:pt x="484" y="289"/>
                    <a:pt x="51" y="758"/>
                    <a:pt x="1" y="1328"/>
                  </a:cubicBezTo>
                  <a:lnTo>
                    <a:pt x="477" y="1328"/>
                  </a:lnTo>
                  <a:cubicBezTo>
                    <a:pt x="527" y="1018"/>
                    <a:pt x="751" y="765"/>
                    <a:pt x="1047" y="679"/>
                  </a:cubicBezTo>
                  <a:lnTo>
                    <a:pt x="1047" y="845"/>
                  </a:lnTo>
                  <a:lnTo>
                    <a:pt x="1458" y="433"/>
                  </a:lnTo>
                  <a:lnTo>
                    <a:pt x="1047" y="1"/>
                  </a:lnTo>
                  <a:close/>
                </a:path>
              </a:pathLst>
            </a:custGeom>
            <a:noFill/>
            <a:ln w="9525" cap="flat" cmpd="sng">
              <a:solidFill>
                <a:srgbClr val="A5B7C6"/>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100" name="Google Shape;1100;p103"/>
            <p:cNvSpPr/>
            <p:nvPr/>
          </p:nvSpPr>
          <p:spPr>
            <a:xfrm>
              <a:off x="4750475" y="1369025"/>
              <a:ext cx="36450" cy="33375"/>
            </a:xfrm>
            <a:custGeom>
              <a:avLst/>
              <a:gdLst/>
              <a:ahLst/>
              <a:cxnLst/>
              <a:rect l="l" t="t" r="r" b="b"/>
              <a:pathLst>
                <a:path w="1458" h="1335" extrusionOk="0">
                  <a:moveTo>
                    <a:pt x="974" y="0"/>
                  </a:moveTo>
                  <a:cubicBezTo>
                    <a:pt x="931" y="311"/>
                    <a:pt x="707" y="570"/>
                    <a:pt x="404" y="657"/>
                  </a:cubicBezTo>
                  <a:lnTo>
                    <a:pt x="404" y="491"/>
                  </a:lnTo>
                  <a:lnTo>
                    <a:pt x="0" y="902"/>
                  </a:lnTo>
                  <a:lnTo>
                    <a:pt x="404" y="1335"/>
                  </a:lnTo>
                  <a:lnTo>
                    <a:pt x="404" y="1140"/>
                  </a:lnTo>
                  <a:cubicBezTo>
                    <a:pt x="967" y="1039"/>
                    <a:pt x="1400" y="577"/>
                    <a:pt x="1457" y="0"/>
                  </a:cubicBezTo>
                  <a:close/>
                </a:path>
              </a:pathLst>
            </a:custGeom>
            <a:noFill/>
            <a:ln w="9525" cap="flat" cmpd="sng">
              <a:solidFill>
                <a:srgbClr val="869FB2"/>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1101" name="Google Shape;1101;p103"/>
          <p:cNvGrpSpPr/>
          <p:nvPr/>
        </p:nvGrpSpPr>
        <p:grpSpPr>
          <a:xfrm>
            <a:off x="7692979" y="3085787"/>
            <a:ext cx="740871" cy="742708"/>
            <a:chOff x="4820425" y="1329900"/>
            <a:chExt cx="70175" cy="70350"/>
          </a:xfrm>
        </p:grpSpPr>
        <p:sp>
          <p:nvSpPr>
            <p:cNvPr id="1102" name="Google Shape;1102;p103"/>
            <p:cNvSpPr/>
            <p:nvPr/>
          </p:nvSpPr>
          <p:spPr>
            <a:xfrm>
              <a:off x="4862975" y="1335475"/>
              <a:ext cx="27625" cy="34650"/>
            </a:xfrm>
            <a:custGeom>
              <a:avLst/>
              <a:gdLst/>
              <a:ahLst/>
              <a:cxnLst/>
              <a:rect l="l" t="t" r="r" b="b"/>
              <a:pathLst>
                <a:path w="1105" h="1386" extrusionOk="0">
                  <a:moveTo>
                    <a:pt x="1" y="1"/>
                  </a:moveTo>
                  <a:lnTo>
                    <a:pt x="1" y="491"/>
                  </a:lnTo>
                  <a:cubicBezTo>
                    <a:pt x="217" y="585"/>
                    <a:pt x="376" y="765"/>
                    <a:pt x="441" y="989"/>
                  </a:cubicBezTo>
                  <a:lnTo>
                    <a:pt x="275" y="989"/>
                  </a:lnTo>
                  <a:lnTo>
                    <a:pt x="679" y="1386"/>
                  </a:lnTo>
                  <a:lnTo>
                    <a:pt x="1104" y="989"/>
                  </a:lnTo>
                  <a:lnTo>
                    <a:pt x="917" y="989"/>
                  </a:lnTo>
                  <a:cubicBezTo>
                    <a:pt x="830" y="513"/>
                    <a:pt x="470" y="123"/>
                    <a:pt x="1" y="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103" name="Google Shape;1103;p103"/>
            <p:cNvSpPr/>
            <p:nvPr/>
          </p:nvSpPr>
          <p:spPr>
            <a:xfrm>
              <a:off x="4820425" y="1360000"/>
              <a:ext cx="27625" cy="34650"/>
            </a:xfrm>
            <a:custGeom>
              <a:avLst/>
              <a:gdLst/>
              <a:ahLst/>
              <a:cxnLst/>
              <a:rect l="l" t="t" r="r" b="b"/>
              <a:pathLst>
                <a:path w="1105" h="1386" extrusionOk="0">
                  <a:moveTo>
                    <a:pt x="426" y="1"/>
                  </a:moveTo>
                  <a:lnTo>
                    <a:pt x="1" y="397"/>
                  </a:lnTo>
                  <a:lnTo>
                    <a:pt x="188" y="397"/>
                  </a:lnTo>
                  <a:cubicBezTo>
                    <a:pt x="275" y="873"/>
                    <a:pt x="628" y="1263"/>
                    <a:pt x="1097" y="1386"/>
                  </a:cubicBezTo>
                  <a:lnTo>
                    <a:pt x="1104" y="895"/>
                  </a:lnTo>
                  <a:cubicBezTo>
                    <a:pt x="888" y="801"/>
                    <a:pt x="729" y="621"/>
                    <a:pt x="664" y="397"/>
                  </a:cubicBezTo>
                  <a:lnTo>
                    <a:pt x="830" y="397"/>
                  </a:lnTo>
                  <a:lnTo>
                    <a:pt x="426" y="1"/>
                  </a:lnTo>
                  <a:close/>
                </a:path>
              </a:pathLst>
            </a:custGeom>
            <a:noFill/>
            <a:ln w="9525" cap="flat" cmpd="sng">
              <a:solidFill>
                <a:srgbClr val="A5B7C6"/>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104" name="Google Shape;1104;p103"/>
            <p:cNvSpPr/>
            <p:nvPr/>
          </p:nvSpPr>
          <p:spPr>
            <a:xfrm>
              <a:off x="4850375" y="1372800"/>
              <a:ext cx="34625" cy="27450"/>
            </a:xfrm>
            <a:custGeom>
              <a:avLst/>
              <a:gdLst/>
              <a:ahLst/>
              <a:cxnLst/>
              <a:rect l="l" t="t" r="r" b="b"/>
              <a:pathLst>
                <a:path w="1385" h="1098" extrusionOk="0">
                  <a:moveTo>
                    <a:pt x="894" y="1"/>
                  </a:moveTo>
                  <a:cubicBezTo>
                    <a:pt x="801" y="210"/>
                    <a:pt x="620" y="369"/>
                    <a:pt x="397" y="434"/>
                  </a:cubicBezTo>
                  <a:lnTo>
                    <a:pt x="397" y="275"/>
                  </a:lnTo>
                  <a:lnTo>
                    <a:pt x="0" y="672"/>
                  </a:lnTo>
                  <a:lnTo>
                    <a:pt x="397" y="1097"/>
                  </a:lnTo>
                  <a:lnTo>
                    <a:pt x="397" y="910"/>
                  </a:lnTo>
                  <a:cubicBezTo>
                    <a:pt x="873" y="823"/>
                    <a:pt x="1262" y="470"/>
                    <a:pt x="1385" y="1"/>
                  </a:cubicBezTo>
                  <a:close/>
                </a:path>
              </a:pathLst>
            </a:custGeom>
            <a:noFill/>
            <a:ln w="9525" cap="flat" cmpd="sng">
              <a:solidFill>
                <a:srgbClr val="374957"/>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105" name="Google Shape;1105;p103"/>
            <p:cNvSpPr/>
            <p:nvPr/>
          </p:nvSpPr>
          <p:spPr>
            <a:xfrm>
              <a:off x="4825850" y="1329900"/>
              <a:ext cx="34625" cy="27975"/>
            </a:xfrm>
            <a:custGeom>
              <a:avLst/>
              <a:gdLst/>
              <a:ahLst/>
              <a:cxnLst/>
              <a:rect l="l" t="t" r="r" b="b"/>
              <a:pathLst>
                <a:path w="1385" h="1119" extrusionOk="0">
                  <a:moveTo>
                    <a:pt x="988" y="0"/>
                  </a:moveTo>
                  <a:lnTo>
                    <a:pt x="988" y="188"/>
                  </a:lnTo>
                  <a:cubicBezTo>
                    <a:pt x="505" y="274"/>
                    <a:pt x="123" y="635"/>
                    <a:pt x="0" y="1118"/>
                  </a:cubicBezTo>
                  <a:lnTo>
                    <a:pt x="491" y="1118"/>
                  </a:lnTo>
                  <a:cubicBezTo>
                    <a:pt x="584" y="895"/>
                    <a:pt x="765" y="729"/>
                    <a:pt x="995" y="664"/>
                  </a:cubicBezTo>
                  <a:lnTo>
                    <a:pt x="995" y="830"/>
                  </a:lnTo>
                  <a:lnTo>
                    <a:pt x="1385" y="426"/>
                  </a:lnTo>
                  <a:lnTo>
                    <a:pt x="988" y="0"/>
                  </a:lnTo>
                  <a:close/>
                </a:path>
              </a:pathLst>
            </a:custGeom>
            <a:noFill/>
            <a:ln w="9525" cap="flat" cmpd="sng">
              <a:solidFill>
                <a:srgbClr val="869FB2"/>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1106" name="Google Shape;1106;p103"/>
          <p:cNvGrpSpPr/>
          <p:nvPr/>
        </p:nvGrpSpPr>
        <p:grpSpPr>
          <a:xfrm>
            <a:off x="8528138" y="3091794"/>
            <a:ext cx="776765" cy="711828"/>
            <a:chOff x="4903200" y="1331525"/>
            <a:chExt cx="73575" cy="67425"/>
          </a:xfrm>
        </p:grpSpPr>
        <p:sp>
          <p:nvSpPr>
            <p:cNvPr id="1107" name="Google Shape;1107;p103"/>
            <p:cNvSpPr/>
            <p:nvPr/>
          </p:nvSpPr>
          <p:spPr>
            <a:xfrm>
              <a:off x="4903200" y="1331525"/>
              <a:ext cx="73575" cy="67425"/>
            </a:xfrm>
            <a:custGeom>
              <a:avLst/>
              <a:gdLst/>
              <a:ahLst/>
              <a:cxnLst/>
              <a:rect l="l" t="t" r="r" b="b"/>
              <a:pathLst>
                <a:path w="2943" h="2697" extrusionOk="0">
                  <a:moveTo>
                    <a:pt x="1652" y="0"/>
                  </a:moveTo>
                  <a:lnTo>
                    <a:pt x="1652" y="173"/>
                  </a:lnTo>
                  <a:cubicBezTo>
                    <a:pt x="534" y="195"/>
                    <a:pt x="0" y="1551"/>
                    <a:pt x="794" y="2330"/>
                  </a:cubicBezTo>
                  <a:cubicBezTo>
                    <a:pt x="1051" y="2583"/>
                    <a:pt x="1366" y="2696"/>
                    <a:pt x="1674" y="2696"/>
                  </a:cubicBezTo>
                  <a:cubicBezTo>
                    <a:pt x="2323" y="2696"/>
                    <a:pt x="2943" y="2194"/>
                    <a:pt x="2943" y="1435"/>
                  </a:cubicBezTo>
                  <a:lnTo>
                    <a:pt x="2503" y="1435"/>
                  </a:lnTo>
                  <a:cubicBezTo>
                    <a:pt x="2503" y="1928"/>
                    <a:pt x="2093" y="2259"/>
                    <a:pt x="1668" y="2259"/>
                  </a:cubicBezTo>
                  <a:cubicBezTo>
                    <a:pt x="1470" y="2259"/>
                    <a:pt x="1269" y="2187"/>
                    <a:pt x="1104" y="2027"/>
                  </a:cubicBezTo>
                  <a:cubicBezTo>
                    <a:pt x="577" y="1515"/>
                    <a:pt x="923" y="628"/>
                    <a:pt x="1652" y="613"/>
                  </a:cubicBezTo>
                  <a:lnTo>
                    <a:pt x="1652" y="765"/>
                  </a:lnTo>
                  <a:lnTo>
                    <a:pt x="2020" y="390"/>
                  </a:lnTo>
                  <a:lnTo>
                    <a:pt x="1652" y="0"/>
                  </a:lnTo>
                  <a:close/>
                </a:path>
              </a:pathLst>
            </a:custGeom>
            <a:noFill/>
            <a:ln w="9525" cap="flat" cmpd="sng">
              <a:solidFill>
                <a:srgbClr val="A5B7C6"/>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108" name="Google Shape;1108;p103"/>
            <p:cNvSpPr/>
            <p:nvPr/>
          </p:nvSpPr>
          <p:spPr>
            <a:xfrm>
              <a:off x="4930250" y="1353150"/>
              <a:ext cx="29775" cy="32475"/>
            </a:xfrm>
            <a:custGeom>
              <a:avLst/>
              <a:gdLst/>
              <a:ahLst/>
              <a:cxnLst/>
              <a:rect l="l" t="t" r="r" b="b"/>
              <a:pathLst>
                <a:path w="1191" h="1299" extrusionOk="0">
                  <a:moveTo>
                    <a:pt x="592" y="1"/>
                  </a:moveTo>
                  <a:cubicBezTo>
                    <a:pt x="274" y="1"/>
                    <a:pt x="15" y="246"/>
                    <a:pt x="0" y="570"/>
                  </a:cubicBezTo>
                  <a:lnTo>
                    <a:pt x="447" y="570"/>
                  </a:lnTo>
                  <a:cubicBezTo>
                    <a:pt x="447" y="479"/>
                    <a:pt x="519" y="416"/>
                    <a:pt x="597" y="416"/>
                  </a:cubicBezTo>
                  <a:cubicBezTo>
                    <a:pt x="624" y="416"/>
                    <a:pt x="652" y="424"/>
                    <a:pt x="678" y="441"/>
                  </a:cubicBezTo>
                  <a:cubicBezTo>
                    <a:pt x="779" y="506"/>
                    <a:pt x="765" y="657"/>
                    <a:pt x="656" y="707"/>
                  </a:cubicBezTo>
                  <a:lnTo>
                    <a:pt x="656" y="534"/>
                  </a:lnTo>
                  <a:lnTo>
                    <a:pt x="289" y="902"/>
                  </a:lnTo>
                  <a:lnTo>
                    <a:pt x="656" y="1299"/>
                  </a:lnTo>
                  <a:lnTo>
                    <a:pt x="656" y="1155"/>
                  </a:lnTo>
                  <a:cubicBezTo>
                    <a:pt x="959" y="1126"/>
                    <a:pt x="1190" y="873"/>
                    <a:pt x="1190" y="570"/>
                  </a:cubicBezTo>
                  <a:cubicBezTo>
                    <a:pt x="1176" y="246"/>
                    <a:pt x="916" y="1"/>
                    <a:pt x="592" y="1"/>
                  </a:cubicBezTo>
                  <a:close/>
                </a:path>
              </a:pathLst>
            </a:custGeom>
            <a:noFill/>
            <a:ln w="9525" cap="flat" cmpd="sng">
              <a:solidFill>
                <a:srgbClr val="869FB2"/>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1109" name="Google Shape;1109;p103"/>
          <p:cNvGrpSpPr/>
          <p:nvPr/>
        </p:nvGrpSpPr>
        <p:grpSpPr>
          <a:xfrm>
            <a:off x="7674108" y="4104946"/>
            <a:ext cx="778613" cy="753793"/>
            <a:chOff x="4815575" y="1416800"/>
            <a:chExt cx="73750" cy="71400"/>
          </a:xfrm>
        </p:grpSpPr>
        <p:sp>
          <p:nvSpPr>
            <p:cNvPr id="1110" name="Google Shape;1110;p103"/>
            <p:cNvSpPr/>
            <p:nvPr/>
          </p:nvSpPr>
          <p:spPr>
            <a:xfrm>
              <a:off x="4815575" y="1416800"/>
              <a:ext cx="43100" cy="52150"/>
            </a:xfrm>
            <a:custGeom>
              <a:avLst/>
              <a:gdLst/>
              <a:ahLst/>
              <a:cxnLst/>
              <a:rect l="l" t="t" r="r" b="b"/>
              <a:pathLst>
                <a:path w="1724" h="2086" extrusionOk="0">
                  <a:moveTo>
                    <a:pt x="1327" y="1"/>
                  </a:moveTo>
                  <a:lnTo>
                    <a:pt x="1327" y="181"/>
                  </a:lnTo>
                  <a:cubicBezTo>
                    <a:pt x="469" y="361"/>
                    <a:pt x="0" y="1299"/>
                    <a:pt x="375" y="2085"/>
                  </a:cubicBezTo>
                  <a:lnTo>
                    <a:pt x="772" y="1818"/>
                  </a:lnTo>
                  <a:cubicBezTo>
                    <a:pt x="729" y="1717"/>
                    <a:pt x="707" y="1609"/>
                    <a:pt x="707" y="1501"/>
                  </a:cubicBezTo>
                  <a:cubicBezTo>
                    <a:pt x="714" y="1111"/>
                    <a:pt x="959" y="772"/>
                    <a:pt x="1327" y="657"/>
                  </a:cubicBezTo>
                  <a:lnTo>
                    <a:pt x="1327" y="823"/>
                  </a:lnTo>
                  <a:lnTo>
                    <a:pt x="1724" y="426"/>
                  </a:lnTo>
                  <a:lnTo>
                    <a:pt x="1327" y="1"/>
                  </a:lnTo>
                  <a:close/>
                </a:path>
              </a:pathLst>
            </a:custGeom>
            <a:noFill/>
            <a:ln w="9525" cap="flat" cmpd="sng">
              <a:solidFill>
                <a:srgbClr val="A5B7C6"/>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111" name="Google Shape;1111;p103"/>
            <p:cNvSpPr/>
            <p:nvPr/>
          </p:nvSpPr>
          <p:spPr>
            <a:xfrm>
              <a:off x="4861725" y="1421125"/>
              <a:ext cx="27600" cy="51250"/>
            </a:xfrm>
            <a:custGeom>
              <a:avLst/>
              <a:gdLst/>
              <a:ahLst/>
              <a:cxnLst/>
              <a:rect l="l" t="t" r="r" b="b"/>
              <a:pathLst>
                <a:path w="1104" h="2050" extrusionOk="0">
                  <a:moveTo>
                    <a:pt x="0" y="1"/>
                  </a:moveTo>
                  <a:lnTo>
                    <a:pt x="0" y="477"/>
                  </a:lnTo>
                  <a:cubicBezTo>
                    <a:pt x="375" y="592"/>
                    <a:pt x="635" y="938"/>
                    <a:pt x="635" y="1328"/>
                  </a:cubicBezTo>
                  <a:cubicBezTo>
                    <a:pt x="635" y="1429"/>
                    <a:pt x="621" y="1530"/>
                    <a:pt x="585" y="1624"/>
                  </a:cubicBezTo>
                  <a:lnTo>
                    <a:pt x="404" y="1494"/>
                  </a:lnTo>
                  <a:lnTo>
                    <a:pt x="513" y="2049"/>
                  </a:lnTo>
                  <a:lnTo>
                    <a:pt x="1089" y="1963"/>
                  </a:lnTo>
                  <a:lnTo>
                    <a:pt x="981" y="1883"/>
                  </a:lnTo>
                  <a:cubicBezTo>
                    <a:pt x="1061" y="1710"/>
                    <a:pt x="1104" y="1523"/>
                    <a:pt x="1104" y="1328"/>
                  </a:cubicBezTo>
                  <a:cubicBezTo>
                    <a:pt x="1104" y="679"/>
                    <a:pt x="635" y="123"/>
                    <a:pt x="0" y="1"/>
                  </a:cubicBezTo>
                  <a:close/>
                </a:path>
              </a:pathLst>
            </a:custGeom>
            <a:noFill/>
            <a:ln w="9525" cap="flat" cmpd="sng">
              <a:solidFill>
                <a:srgbClr val="869FB2"/>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112" name="Google Shape;1112;p103"/>
            <p:cNvSpPr/>
            <p:nvPr/>
          </p:nvSpPr>
          <p:spPr>
            <a:xfrm>
              <a:off x="4829450" y="1467825"/>
              <a:ext cx="49250" cy="20375"/>
            </a:xfrm>
            <a:custGeom>
              <a:avLst/>
              <a:gdLst/>
              <a:ahLst/>
              <a:cxnLst/>
              <a:rect l="l" t="t" r="r" b="b"/>
              <a:pathLst>
                <a:path w="1970" h="815" extrusionOk="0">
                  <a:moveTo>
                    <a:pt x="109" y="1"/>
                  </a:moveTo>
                  <a:lnTo>
                    <a:pt x="0" y="556"/>
                  </a:lnTo>
                  <a:lnTo>
                    <a:pt x="137" y="462"/>
                  </a:lnTo>
                  <a:cubicBezTo>
                    <a:pt x="394" y="698"/>
                    <a:pt x="720" y="815"/>
                    <a:pt x="1045" y="815"/>
                  </a:cubicBezTo>
                  <a:cubicBezTo>
                    <a:pt x="1378" y="815"/>
                    <a:pt x="1710" y="692"/>
                    <a:pt x="1969" y="448"/>
                  </a:cubicBezTo>
                  <a:lnTo>
                    <a:pt x="1969" y="441"/>
                  </a:lnTo>
                  <a:lnTo>
                    <a:pt x="1573" y="174"/>
                  </a:lnTo>
                  <a:cubicBezTo>
                    <a:pt x="1418" y="292"/>
                    <a:pt x="1232" y="352"/>
                    <a:pt x="1046" y="352"/>
                  </a:cubicBezTo>
                  <a:cubicBezTo>
                    <a:pt x="868" y="352"/>
                    <a:pt x="689" y="297"/>
                    <a:pt x="534" y="188"/>
                  </a:cubicBezTo>
                  <a:lnTo>
                    <a:pt x="678" y="95"/>
                  </a:lnTo>
                  <a:lnTo>
                    <a:pt x="109"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1113" name="Google Shape;1113;p103"/>
          <p:cNvGrpSpPr/>
          <p:nvPr/>
        </p:nvGrpSpPr>
        <p:grpSpPr>
          <a:xfrm>
            <a:off x="8520483" y="4145195"/>
            <a:ext cx="786531" cy="673293"/>
            <a:chOff x="4902475" y="1418875"/>
            <a:chExt cx="74500" cy="63775"/>
          </a:xfrm>
        </p:grpSpPr>
        <p:sp>
          <p:nvSpPr>
            <p:cNvPr id="1114" name="Google Shape;1114;p103"/>
            <p:cNvSpPr/>
            <p:nvPr/>
          </p:nvSpPr>
          <p:spPr>
            <a:xfrm>
              <a:off x="4902475" y="1418875"/>
              <a:ext cx="74500" cy="63775"/>
            </a:xfrm>
            <a:custGeom>
              <a:avLst/>
              <a:gdLst/>
              <a:ahLst/>
              <a:cxnLst/>
              <a:rect l="l" t="t" r="r" b="b"/>
              <a:pathLst>
                <a:path w="2980" h="2551" extrusionOk="0">
                  <a:moveTo>
                    <a:pt x="1703" y="444"/>
                  </a:moveTo>
                  <a:cubicBezTo>
                    <a:pt x="2164" y="444"/>
                    <a:pt x="2539" y="819"/>
                    <a:pt x="2539" y="1281"/>
                  </a:cubicBezTo>
                  <a:cubicBezTo>
                    <a:pt x="2539" y="1784"/>
                    <a:pt x="2126" y="2118"/>
                    <a:pt x="1695" y="2118"/>
                  </a:cubicBezTo>
                  <a:cubicBezTo>
                    <a:pt x="1490" y="2118"/>
                    <a:pt x="1281" y="2042"/>
                    <a:pt x="1111" y="1872"/>
                  </a:cubicBezTo>
                  <a:cubicBezTo>
                    <a:pt x="585" y="1346"/>
                    <a:pt x="960" y="444"/>
                    <a:pt x="1703" y="444"/>
                  </a:cubicBezTo>
                  <a:close/>
                  <a:moveTo>
                    <a:pt x="1697" y="0"/>
                  </a:moveTo>
                  <a:cubicBezTo>
                    <a:pt x="1383" y="0"/>
                    <a:pt x="1063" y="118"/>
                    <a:pt x="801" y="379"/>
                  </a:cubicBezTo>
                  <a:cubicBezTo>
                    <a:pt x="0" y="1180"/>
                    <a:pt x="570" y="2550"/>
                    <a:pt x="1703" y="2550"/>
                  </a:cubicBezTo>
                  <a:cubicBezTo>
                    <a:pt x="2409" y="2550"/>
                    <a:pt x="2979" y="1980"/>
                    <a:pt x="2979" y="1281"/>
                  </a:cubicBezTo>
                  <a:cubicBezTo>
                    <a:pt x="2979" y="510"/>
                    <a:pt x="2353" y="0"/>
                    <a:pt x="1697" y="0"/>
                  </a:cubicBezTo>
                  <a:close/>
                </a:path>
              </a:pathLst>
            </a:custGeom>
            <a:noFill/>
            <a:ln w="9525" cap="flat" cmpd="sng">
              <a:solidFill>
                <a:srgbClr val="374957"/>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115" name="Google Shape;1115;p103"/>
            <p:cNvSpPr/>
            <p:nvPr/>
          </p:nvSpPr>
          <p:spPr>
            <a:xfrm>
              <a:off x="4916350" y="1418975"/>
              <a:ext cx="59725" cy="63675"/>
            </a:xfrm>
            <a:custGeom>
              <a:avLst/>
              <a:gdLst/>
              <a:ahLst/>
              <a:cxnLst/>
              <a:rect l="l" t="t" r="r" b="b"/>
              <a:pathLst>
                <a:path w="2389" h="2547" extrusionOk="0">
                  <a:moveTo>
                    <a:pt x="1148" y="0"/>
                  </a:moveTo>
                  <a:cubicBezTo>
                    <a:pt x="765" y="0"/>
                    <a:pt x="397" y="173"/>
                    <a:pt x="159" y="476"/>
                  </a:cubicBezTo>
                  <a:lnTo>
                    <a:pt x="1" y="354"/>
                  </a:lnTo>
                  <a:lnTo>
                    <a:pt x="116" y="967"/>
                  </a:lnTo>
                  <a:lnTo>
                    <a:pt x="700" y="909"/>
                  </a:lnTo>
                  <a:lnTo>
                    <a:pt x="498" y="750"/>
                  </a:lnTo>
                  <a:cubicBezTo>
                    <a:pt x="669" y="541"/>
                    <a:pt x="910" y="441"/>
                    <a:pt x="1149" y="441"/>
                  </a:cubicBezTo>
                  <a:cubicBezTo>
                    <a:pt x="1454" y="441"/>
                    <a:pt x="1755" y="605"/>
                    <a:pt x="1905" y="916"/>
                  </a:cubicBezTo>
                  <a:cubicBezTo>
                    <a:pt x="2165" y="1472"/>
                    <a:pt x="1768" y="2106"/>
                    <a:pt x="1148" y="2106"/>
                  </a:cubicBezTo>
                  <a:lnTo>
                    <a:pt x="1148" y="2546"/>
                  </a:lnTo>
                  <a:cubicBezTo>
                    <a:pt x="1840" y="2532"/>
                    <a:pt x="2388" y="1962"/>
                    <a:pt x="2388" y="1277"/>
                  </a:cubicBezTo>
                  <a:cubicBezTo>
                    <a:pt x="2388" y="584"/>
                    <a:pt x="1840" y="22"/>
                    <a:pt x="1148" y="0"/>
                  </a:cubicBezTo>
                  <a:close/>
                </a:path>
              </a:pathLst>
            </a:custGeom>
            <a:noFill/>
            <a:ln w="9525" cap="flat" cmpd="sng">
              <a:solidFill>
                <a:srgbClr val="A5B7C6"/>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1116" name="Google Shape;1116;p103"/>
          <p:cNvGrpSpPr/>
          <p:nvPr/>
        </p:nvGrpSpPr>
        <p:grpSpPr>
          <a:xfrm>
            <a:off x="7687437" y="5101334"/>
            <a:ext cx="751956" cy="756169"/>
            <a:chOff x="4818100" y="1507675"/>
            <a:chExt cx="71225" cy="71625"/>
          </a:xfrm>
        </p:grpSpPr>
        <p:sp>
          <p:nvSpPr>
            <p:cNvPr id="1117" name="Google Shape;1117;p103"/>
            <p:cNvSpPr/>
            <p:nvPr/>
          </p:nvSpPr>
          <p:spPr>
            <a:xfrm>
              <a:off x="4818100" y="1507675"/>
              <a:ext cx="46000" cy="56300"/>
            </a:xfrm>
            <a:custGeom>
              <a:avLst/>
              <a:gdLst/>
              <a:ahLst/>
              <a:cxnLst/>
              <a:rect l="l" t="t" r="r" b="b"/>
              <a:pathLst>
                <a:path w="1840" h="2252" extrusionOk="0">
                  <a:moveTo>
                    <a:pt x="1457" y="1"/>
                  </a:moveTo>
                  <a:lnTo>
                    <a:pt x="1457" y="159"/>
                  </a:lnTo>
                  <a:cubicBezTo>
                    <a:pt x="606" y="188"/>
                    <a:pt x="0" y="989"/>
                    <a:pt x="195" y="1818"/>
                  </a:cubicBezTo>
                  <a:cubicBezTo>
                    <a:pt x="188" y="1818"/>
                    <a:pt x="188" y="1825"/>
                    <a:pt x="188" y="1833"/>
                  </a:cubicBezTo>
                  <a:lnTo>
                    <a:pt x="195" y="1869"/>
                  </a:lnTo>
                  <a:cubicBezTo>
                    <a:pt x="195" y="1876"/>
                    <a:pt x="202" y="1883"/>
                    <a:pt x="202" y="1898"/>
                  </a:cubicBezTo>
                  <a:cubicBezTo>
                    <a:pt x="202" y="1905"/>
                    <a:pt x="209" y="1912"/>
                    <a:pt x="209" y="1919"/>
                  </a:cubicBezTo>
                  <a:cubicBezTo>
                    <a:pt x="209" y="1934"/>
                    <a:pt x="216" y="1948"/>
                    <a:pt x="224" y="1955"/>
                  </a:cubicBezTo>
                  <a:lnTo>
                    <a:pt x="231" y="1977"/>
                  </a:lnTo>
                  <a:cubicBezTo>
                    <a:pt x="245" y="2013"/>
                    <a:pt x="260" y="2056"/>
                    <a:pt x="274" y="2092"/>
                  </a:cubicBezTo>
                  <a:lnTo>
                    <a:pt x="281" y="2100"/>
                  </a:lnTo>
                  <a:cubicBezTo>
                    <a:pt x="289" y="2114"/>
                    <a:pt x="296" y="2128"/>
                    <a:pt x="303" y="2143"/>
                  </a:cubicBezTo>
                  <a:lnTo>
                    <a:pt x="317" y="2157"/>
                  </a:lnTo>
                  <a:cubicBezTo>
                    <a:pt x="317" y="2172"/>
                    <a:pt x="325" y="2186"/>
                    <a:pt x="332" y="2201"/>
                  </a:cubicBezTo>
                  <a:lnTo>
                    <a:pt x="346" y="2215"/>
                  </a:lnTo>
                  <a:cubicBezTo>
                    <a:pt x="353" y="2229"/>
                    <a:pt x="361" y="2237"/>
                    <a:pt x="368" y="2251"/>
                  </a:cubicBezTo>
                  <a:lnTo>
                    <a:pt x="743" y="1970"/>
                  </a:lnTo>
                  <a:lnTo>
                    <a:pt x="721" y="1934"/>
                  </a:lnTo>
                  <a:lnTo>
                    <a:pt x="700" y="1898"/>
                  </a:lnTo>
                  <a:lnTo>
                    <a:pt x="692" y="1883"/>
                  </a:lnTo>
                  <a:cubicBezTo>
                    <a:pt x="685" y="1862"/>
                    <a:pt x="678" y="1847"/>
                    <a:pt x="671" y="1825"/>
                  </a:cubicBezTo>
                  <a:cubicBezTo>
                    <a:pt x="671" y="1818"/>
                    <a:pt x="664" y="1811"/>
                    <a:pt x="664" y="1804"/>
                  </a:cubicBezTo>
                  <a:cubicBezTo>
                    <a:pt x="664" y="1797"/>
                    <a:pt x="656" y="1782"/>
                    <a:pt x="649" y="1775"/>
                  </a:cubicBezTo>
                  <a:lnTo>
                    <a:pt x="642" y="1732"/>
                  </a:lnTo>
                  <a:lnTo>
                    <a:pt x="635" y="1703"/>
                  </a:lnTo>
                  <a:lnTo>
                    <a:pt x="628" y="1667"/>
                  </a:lnTo>
                  <a:lnTo>
                    <a:pt x="628" y="1645"/>
                  </a:lnTo>
                  <a:cubicBezTo>
                    <a:pt x="628" y="1638"/>
                    <a:pt x="620" y="1609"/>
                    <a:pt x="620" y="1587"/>
                  </a:cubicBezTo>
                  <a:lnTo>
                    <a:pt x="620" y="1573"/>
                  </a:lnTo>
                  <a:lnTo>
                    <a:pt x="620" y="1508"/>
                  </a:lnTo>
                  <a:cubicBezTo>
                    <a:pt x="620" y="1039"/>
                    <a:pt x="988" y="650"/>
                    <a:pt x="1457" y="628"/>
                  </a:cubicBezTo>
                  <a:lnTo>
                    <a:pt x="1457" y="809"/>
                  </a:lnTo>
                  <a:lnTo>
                    <a:pt x="1839" y="419"/>
                  </a:lnTo>
                  <a:lnTo>
                    <a:pt x="1457" y="1"/>
                  </a:lnTo>
                  <a:close/>
                </a:path>
              </a:pathLst>
            </a:custGeom>
            <a:noFill/>
            <a:ln w="9525" cap="flat" cmpd="sng">
              <a:solidFill>
                <a:srgbClr val="A5B7C6"/>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118" name="Google Shape;1118;p103"/>
            <p:cNvSpPr/>
            <p:nvPr/>
          </p:nvSpPr>
          <p:spPr>
            <a:xfrm>
              <a:off x="4869825" y="1519575"/>
              <a:ext cx="19500" cy="23825"/>
            </a:xfrm>
            <a:custGeom>
              <a:avLst/>
              <a:gdLst/>
              <a:ahLst/>
              <a:cxnLst/>
              <a:rect l="l" t="t" r="r" b="b"/>
              <a:pathLst>
                <a:path w="780" h="953" extrusionOk="0">
                  <a:moveTo>
                    <a:pt x="304" y="1"/>
                  </a:moveTo>
                  <a:lnTo>
                    <a:pt x="1" y="354"/>
                  </a:lnTo>
                  <a:cubicBezTo>
                    <a:pt x="181" y="506"/>
                    <a:pt x="289" y="722"/>
                    <a:pt x="311" y="953"/>
                  </a:cubicBezTo>
                  <a:lnTo>
                    <a:pt x="780" y="953"/>
                  </a:lnTo>
                  <a:cubicBezTo>
                    <a:pt x="751" y="585"/>
                    <a:pt x="585" y="239"/>
                    <a:pt x="304" y="1"/>
                  </a:cubicBezTo>
                  <a:close/>
                </a:path>
              </a:pathLst>
            </a:custGeom>
            <a:noFill/>
            <a:ln w="9525" cap="flat" cmpd="sng">
              <a:solidFill>
                <a:srgbClr val="A5B7C6"/>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119" name="Google Shape;1119;p103"/>
            <p:cNvSpPr/>
            <p:nvPr/>
          </p:nvSpPr>
          <p:spPr>
            <a:xfrm>
              <a:off x="4857575" y="1547700"/>
              <a:ext cx="31575" cy="31600"/>
            </a:xfrm>
            <a:custGeom>
              <a:avLst/>
              <a:gdLst/>
              <a:ahLst/>
              <a:cxnLst/>
              <a:rect l="l" t="t" r="r" b="b"/>
              <a:pathLst>
                <a:path w="1263" h="1264" extrusionOk="0">
                  <a:moveTo>
                    <a:pt x="801" y="1"/>
                  </a:moveTo>
                  <a:cubicBezTo>
                    <a:pt x="758" y="419"/>
                    <a:pt x="426" y="751"/>
                    <a:pt x="1" y="794"/>
                  </a:cubicBezTo>
                  <a:lnTo>
                    <a:pt x="1" y="1263"/>
                  </a:lnTo>
                  <a:cubicBezTo>
                    <a:pt x="679" y="1213"/>
                    <a:pt x="1219" y="679"/>
                    <a:pt x="1263" y="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120" name="Google Shape;1120;p103"/>
            <p:cNvSpPr/>
            <p:nvPr/>
          </p:nvSpPr>
          <p:spPr>
            <a:xfrm>
              <a:off x="4829800" y="1560150"/>
              <a:ext cx="23650" cy="18950"/>
            </a:xfrm>
            <a:custGeom>
              <a:avLst/>
              <a:gdLst/>
              <a:ahLst/>
              <a:cxnLst/>
              <a:rect l="l" t="t" r="r" b="b"/>
              <a:pathLst>
                <a:path w="946" h="758" extrusionOk="0">
                  <a:moveTo>
                    <a:pt x="376" y="1"/>
                  </a:moveTo>
                  <a:lnTo>
                    <a:pt x="1" y="282"/>
                  </a:lnTo>
                  <a:cubicBezTo>
                    <a:pt x="239" y="563"/>
                    <a:pt x="578" y="736"/>
                    <a:pt x="946" y="758"/>
                  </a:cubicBezTo>
                  <a:lnTo>
                    <a:pt x="946" y="289"/>
                  </a:lnTo>
                  <a:cubicBezTo>
                    <a:pt x="722" y="267"/>
                    <a:pt x="520" y="166"/>
                    <a:pt x="376" y="1"/>
                  </a:cubicBezTo>
                  <a:close/>
                </a:path>
              </a:pathLst>
            </a:custGeom>
            <a:noFill/>
            <a:ln w="9525" cap="flat" cmpd="sng">
              <a:solidFill>
                <a:srgbClr val="869FB2"/>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1121" name="Google Shape;1121;p103"/>
          <p:cNvGrpSpPr/>
          <p:nvPr/>
        </p:nvGrpSpPr>
        <p:grpSpPr>
          <a:xfrm>
            <a:off x="6772101" y="5105949"/>
            <a:ext cx="837735" cy="784673"/>
            <a:chOff x="4721450" y="1509475"/>
            <a:chExt cx="79350" cy="74325"/>
          </a:xfrm>
        </p:grpSpPr>
        <p:sp>
          <p:nvSpPr>
            <p:cNvPr id="1122" name="Google Shape;1122;p103"/>
            <p:cNvSpPr/>
            <p:nvPr/>
          </p:nvSpPr>
          <p:spPr>
            <a:xfrm>
              <a:off x="4729025" y="1509475"/>
              <a:ext cx="27050" cy="26725"/>
            </a:xfrm>
            <a:custGeom>
              <a:avLst/>
              <a:gdLst/>
              <a:ahLst/>
              <a:cxnLst/>
              <a:rect l="l" t="t" r="r" b="b"/>
              <a:pathLst>
                <a:path w="1082" h="1069" extrusionOk="0">
                  <a:moveTo>
                    <a:pt x="440" y="1"/>
                  </a:moveTo>
                  <a:lnTo>
                    <a:pt x="570" y="224"/>
                  </a:lnTo>
                  <a:cubicBezTo>
                    <a:pt x="296" y="405"/>
                    <a:pt x="94" y="672"/>
                    <a:pt x="0" y="989"/>
                  </a:cubicBezTo>
                  <a:lnTo>
                    <a:pt x="188" y="809"/>
                  </a:lnTo>
                  <a:lnTo>
                    <a:pt x="462" y="1068"/>
                  </a:lnTo>
                  <a:cubicBezTo>
                    <a:pt x="527" y="888"/>
                    <a:pt x="649" y="737"/>
                    <a:pt x="808" y="628"/>
                  </a:cubicBezTo>
                  <a:lnTo>
                    <a:pt x="923" y="823"/>
                  </a:lnTo>
                  <a:lnTo>
                    <a:pt x="1082" y="188"/>
                  </a:lnTo>
                  <a:lnTo>
                    <a:pt x="440" y="1"/>
                  </a:lnTo>
                  <a:close/>
                </a:path>
              </a:pathLst>
            </a:custGeom>
            <a:noFill/>
            <a:ln w="9525" cap="flat" cmpd="sng">
              <a:solidFill>
                <a:srgbClr val="374957"/>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123" name="Google Shape;1123;p103"/>
            <p:cNvSpPr/>
            <p:nvPr/>
          </p:nvSpPr>
          <p:spPr>
            <a:xfrm>
              <a:off x="4721450" y="1533275"/>
              <a:ext cx="32300" cy="42600"/>
            </a:xfrm>
            <a:custGeom>
              <a:avLst/>
              <a:gdLst/>
              <a:ahLst/>
              <a:cxnLst/>
              <a:rect l="l" t="t" r="r" b="b"/>
              <a:pathLst>
                <a:path w="1292" h="1704" extrusionOk="0">
                  <a:moveTo>
                    <a:pt x="491" y="1"/>
                  </a:moveTo>
                  <a:lnTo>
                    <a:pt x="0" y="455"/>
                  </a:lnTo>
                  <a:lnTo>
                    <a:pt x="238" y="455"/>
                  </a:lnTo>
                  <a:cubicBezTo>
                    <a:pt x="253" y="1025"/>
                    <a:pt x="635" y="1530"/>
                    <a:pt x="1183" y="1703"/>
                  </a:cubicBezTo>
                  <a:lnTo>
                    <a:pt x="1024" y="1530"/>
                  </a:lnTo>
                  <a:lnTo>
                    <a:pt x="1291" y="1256"/>
                  </a:lnTo>
                  <a:cubicBezTo>
                    <a:pt x="952" y="1133"/>
                    <a:pt x="721" y="816"/>
                    <a:pt x="707" y="455"/>
                  </a:cubicBezTo>
                  <a:lnTo>
                    <a:pt x="945" y="455"/>
                  </a:lnTo>
                  <a:lnTo>
                    <a:pt x="491"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124" name="Google Shape;1124;p103"/>
            <p:cNvSpPr/>
            <p:nvPr/>
          </p:nvSpPr>
          <p:spPr>
            <a:xfrm>
              <a:off x="4750650" y="1551675"/>
              <a:ext cx="42950" cy="32125"/>
            </a:xfrm>
            <a:custGeom>
              <a:avLst/>
              <a:gdLst/>
              <a:ahLst/>
              <a:cxnLst/>
              <a:rect l="l" t="t" r="r" b="b"/>
              <a:pathLst>
                <a:path w="1718" h="1285" extrusionOk="0">
                  <a:moveTo>
                    <a:pt x="1256" y="1"/>
                  </a:moveTo>
                  <a:cubicBezTo>
                    <a:pt x="1126" y="332"/>
                    <a:pt x="808" y="556"/>
                    <a:pt x="448" y="570"/>
                  </a:cubicBezTo>
                  <a:lnTo>
                    <a:pt x="448" y="340"/>
                  </a:lnTo>
                  <a:lnTo>
                    <a:pt x="1" y="794"/>
                  </a:lnTo>
                  <a:lnTo>
                    <a:pt x="448" y="1284"/>
                  </a:lnTo>
                  <a:lnTo>
                    <a:pt x="448" y="1032"/>
                  </a:lnTo>
                  <a:cubicBezTo>
                    <a:pt x="1039" y="1025"/>
                    <a:pt x="1551" y="635"/>
                    <a:pt x="1717" y="73"/>
                  </a:cubicBezTo>
                  <a:lnTo>
                    <a:pt x="1717" y="73"/>
                  </a:lnTo>
                  <a:lnTo>
                    <a:pt x="1515" y="260"/>
                  </a:lnTo>
                  <a:lnTo>
                    <a:pt x="1256" y="1"/>
                  </a:lnTo>
                  <a:close/>
                </a:path>
              </a:pathLst>
            </a:custGeom>
            <a:noFill/>
            <a:ln w="9525" cap="flat" cmpd="sng">
              <a:solidFill>
                <a:srgbClr val="869FB2"/>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125" name="Google Shape;1125;p103"/>
            <p:cNvSpPr/>
            <p:nvPr/>
          </p:nvSpPr>
          <p:spPr>
            <a:xfrm>
              <a:off x="4761300" y="1510025"/>
              <a:ext cx="39500" cy="44375"/>
            </a:xfrm>
            <a:custGeom>
              <a:avLst/>
              <a:gdLst/>
              <a:ahLst/>
              <a:cxnLst/>
              <a:rect l="l" t="t" r="r" b="b"/>
              <a:pathLst>
                <a:path w="1580" h="1775" extrusionOk="0">
                  <a:moveTo>
                    <a:pt x="13" y="0"/>
                  </a:moveTo>
                  <a:cubicBezTo>
                    <a:pt x="9" y="0"/>
                    <a:pt x="5" y="0"/>
                    <a:pt x="0" y="0"/>
                  </a:cubicBezTo>
                  <a:lnTo>
                    <a:pt x="0" y="462"/>
                  </a:lnTo>
                  <a:cubicBezTo>
                    <a:pt x="476" y="462"/>
                    <a:pt x="873" y="844"/>
                    <a:pt x="880" y="1328"/>
                  </a:cubicBezTo>
                  <a:lnTo>
                    <a:pt x="635" y="1328"/>
                  </a:lnTo>
                  <a:lnTo>
                    <a:pt x="1089" y="1775"/>
                  </a:lnTo>
                  <a:lnTo>
                    <a:pt x="1580" y="1328"/>
                  </a:lnTo>
                  <a:lnTo>
                    <a:pt x="1349" y="1328"/>
                  </a:lnTo>
                  <a:cubicBezTo>
                    <a:pt x="1335" y="589"/>
                    <a:pt x="743" y="0"/>
                    <a:pt x="13" y="0"/>
                  </a:cubicBezTo>
                  <a:close/>
                </a:path>
              </a:pathLst>
            </a:custGeom>
            <a:noFill/>
            <a:ln w="9525" cap="flat" cmpd="sng">
              <a:solidFill>
                <a:srgbClr val="A5B7C6"/>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1126" name="Google Shape;1126;p103"/>
          <p:cNvGrpSpPr/>
          <p:nvPr/>
        </p:nvGrpSpPr>
        <p:grpSpPr>
          <a:xfrm>
            <a:off x="8566144" y="5085369"/>
            <a:ext cx="742717" cy="750363"/>
            <a:chOff x="4906800" y="1507500"/>
            <a:chExt cx="70350" cy="71075"/>
          </a:xfrm>
        </p:grpSpPr>
        <p:sp>
          <p:nvSpPr>
            <p:cNvPr id="1127" name="Google Shape;1127;p103"/>
            <p:cNvSpPr/>
            <p:nvPr/>
          </p:nvSpPr>
          <p:spPr>
            <a:xfrm>
              <a:off x="4916000" y="1507500"/>
              <a:ext cx="30850" cy="24000"/>
            </a:xfrm>
            <a:custGeom>
              <a:avLst/>
              <a:gdLst/>
              <a:ahLst/>
              <a:cxnLst/>
              <a:rect l="l" t="t" r="r" b="b"/>
              <a:pathLst>
                <a:path w="1234" h="960" extrusionOk="0">
                  <a:moveTo>
                    <a:pt x="837" y="1"/>
                  </a:moveTo>
                  <a:lnTo>
                    <a:pt x="837" y="202"/>
                  </a:lnTo>
                  <a:cubicBezTo>
                    <a:pt x="484" y="282"/>
                    <a:pt x="181" y="498"/>
                    <a:pt x="0" y="808"/>
                  </a:cubicBezTo>
                  <a:lnTo>
                    <a:pt x="455" y="960"/>
                  </a:lnTo>
                  <a:cubicBezTo>
                    <a:pt x="556" y="837"/>
                    <a:pt x="686" y="736"/>
                    <a:pt x="837" y="686"/>
                  </a:cubicBezTo>
                  <a:lnTo>
                    <a:pt x="837" y="823"/>
                  </a:lnTo>
                  <a:lnTo>
                    <a:pt x="1234" y="426"/>
                  </a:lnTo>
                  <a:lnTo>
                    <a:pt x="837" y="1"/>
                  </a:lnTo>
                  <a:close/>
                </a:path>
              </a:pathLst>
            </a:custGeom>
            <a:noFill/>
            <a:ln w="9525" cap="flat" cmpd="sng">
              <a:solidFill>
                <a:srgbClr val="BAC8D3"/>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128" name="Google Shape;1128;p103"/>
            <p:cNvSpPr/>
            <p:nvPr/>
          </p:nvSpPr>
          <p:spPr>
            <a:xfrm>
              <a:off x="4906800" y="1533825"/>
              <a:ext cx="19675" cy="32475"/>
            </a:xfrm>
            <a:custGeom>
              <a:avLst/>
              <a:gdLst/>
              <a:ahLst/>
              <a:cxnLst/>
              <a:rect l="l" t="t" r="r" b="b"/>
              <a:pathLst>
                <a:path w="787" h="1299" extrusionOk="0">
                  <a:moveTo>
                    <a:pt x="527" y="1"/>
                  </a:moveTo>
                  <a:lnTo>
                    <a:pt x="1" y="246"/>
                  </a:lnTo>
                  <a:lnTo>
                    <a:pt x="181" y="303"/>
                  </a:lnTo>
                  <a:cubicBezTo>
                    <a:pt x="181" y="347"/>
                    <a:pt x="174" y="390"/>
                    <a:pt x="174" y="433"/>
                  </a:cubicBezTo>
                  <a:cubicBezTo>
                    <a:pt x="174" y="751"/>
                    <a:pt x="289" y="1061"/>
                    <a:pt x="498" y="1299"/>
                  </a:cubicBezTo>
                  <a:lnTo>
                    <a:pt x="787" y="909"/>
                  </a:lnTo>
                  <a:cubicBezTo>
                    <a:pt x="693" y="772"/>
                    <a:pt x="650" y="614"/>
                    <a:pt x="642" y="455"/>
                  </a:cubicBezTo>
                  <a:lnTo>
                    <a:pt x="642" y="455"/>
                  </a:lnTo>
                  <a:lnTo>
                    <a:pt x="787" y="498"/>
                  </a:lnTo>
                  <a:lnTo>
                    <a:pt x="527" y="1"/>
                  </a:lnTo>
                  <a:close/>
                </a:path>
              </a:pathLst>
            </a:custGeom>
            <a:noFill/>
            <a:ln w="9525" cap="flat" cmpd="sng">
              <a:solidFill>
                <a:srgbClr val="A5B7C6"/>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129" name="Google Shape;1129;p103"/>
            <p:cNvSpPr/>
            <p:nvPr/>
          </p:nvSpPr>
          <p:spPr>
            <a:xfrm>
              <a:off x="4926625" y="1561950"/>
              <a:ext cx="30675" cy="16625"/>
            </a:xfrm>
            <a:custGeom>
              <a:avLst/>
              <a:gdLst/>
              <a:ahLst/>
              <a:cxnLst/>
              <a:rect l="l" t="t" r="r" b="b"/>
              <a:pathLst>
                <a:path w="1227" h="665" extrusionOk="0">
                  <a:moveTo>
                    <a:pt x="556" y="1"/>
                  </a:moveTo>
                  <a:lnTo>
                    <a:pt x="1" y="87"/>
                  </a:lnTo>
                  <a:lnTo>
                    <a:pt x="66" y="664"/>
                  </a:lnTo>
                  <a:lnTo>
                    <a:pt x="181" y="513"/>
                  </a:lnTo>
                  <a:cubicBezTo>
                    <a:pt x="347" y="585"/>
                    <a:pt x="526" y="621"/>
                    <a:pt x="704" y="621"/>
                  </a:cubicBezTo>
                  <a:cubicBezTo>
                    <a:pt x="883" y="621"/>
                    <a:pt x="1061" y="585"/>
                    <a:pt x="1227" y="513"/>
                  </a:cubicBezTo>
                  <a:lnTo>
                    <a:pt x="946" y="123"/>
                  </a:lnTo>
                  <a:cubicBezTo>
                    <a:pt x="866" y="149"/>
                    <a:pt x="785" y="161"/>
                    <a:pt x="704" y="161"/>
                  </a:cubicBezTo>
                  <a:cubicBezTo>
                    <a:pt x="623" y="161"/>
                    <a:pt x="542" y="149"/>
                    <a:pt x="462" y="123"/>
                  </a:cubicBezTo>
                  <a:lnTo>
                    <a:pt x="556" y="1"/>
                  </a:lnTo>
                  <a:close/>
                </a:path>
              </a:pathLst>
            </a:custGeom>
            <a:noFill/>
            <a:ln w="9525" cap="flat" cmpd="sng">
              <a:solidFill>
                <a:srgbClr val="869FB2"/>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130" name="Google Shape;1130;p103"/>
            <p:cNvSpPr/>
            <p:nvPr/>
          </p:nvSpPr>
          <p:spPr>
            <a:xfrm>
              <a:off x="4957475" y="1541400"/>
              <a:ext cx="19675" cy="27800"/>
            </a:xfrm>
            <a:custGeom>
              <a:avLst/>
              <a:gdLst/>
              <a:ahLst/>
              <a:cxnLst/>
              <a:rect l="l" t="t" r="r" b="b"/>
              <a:pathLst>
                <a:path w="787" h="1112" extrusionOk="0">
                  <a:moveTo>
                    <a:pt x="779" y="0"/>
                  </a:moveTo>
                  <a:lnTo>
                    <a:pt x="318" y="145"/>
                  </a:lnTo>
                  <a:cubicBezTo>
                    <a:pt x="318" y="303"/>
                    <a:pt x="274" y="455"/>
                    <a:pt x="188" y="592"/>
                  </a:cubicBezTo>
                  <a:lnTo>
                    <a:pt x="80" y="448"/>
                  </a:lnTo>
                  <a:lnTo>
                    <a:pt x="0" y="1003"/>
                  </a:lnTo>
                  <a:lnTo>
                    <a:pt x="570" y="1111"/>
                  </a:lnTo>
                  <a:lnTo>
                    <a:pt x="469" y="981"/>
                  </a:lnTo>
                  <a:cubicBezTo>
                    <a:pt x="671" y="743"/>
                    <a:pt x="786" y="440"/>
                    <a:pt x="786" y="130"/>
                  </a:cubicBezTo>
                  <a:cubicBezTo>
                    <a:pt x="786" y="87"/>
                    <a:pt x="786" y="44"/>
                    <a:pt x="779"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131" name="Google Shape;1131;p103"/>
            <p:cNvSpPr/>
            <p:nvPr/>
          </p:nvSpPr>
          <p:spPr>
            <a:xfrm>
              <a:off x="4951325" y="1512550"/>
              <a:ext cx="24925" cy="26350"/>
            </a:xfrm>
            <a:custGeom>
              <a:avLst/>
              <a:gdLst/>
              <a:ahLst/>
              <a:cxnLst/>
              <a:rect l="l" t="t" r="r" b="b"/>
              <a:pathLst>
                <a:path w="997" h="1054" extrusionOk="0">
                  <a:moveTo>
                    <a:pt x="1" y="0"/>
                  </a:moveTo>
                  <a:lnTo>
                    <a:pt x="1" y="476"/>
                  </a:lnTo>
                  <a:cubicBezTo>
                    <a:pt x="145" y="534"/>
                    <a:pt x="282" y="628"/>
                    <a:pt x="376" y="751"/>
                  </a:cubicBezTo>
                  <a:lnTo>
                    <a:pt x="210" y="801"/>
                  </a:lnTo>
                  <a:lnTo>
                    <a:pt x="715" y="1053"/>
                  </a:lnTo>
                  <a:lnTo>
                    <a:pt x="996" y="549"/>
                  </a:lnTo>
                  <a:lnTo>
                    <a:pt x="996" y="549"/>
                  </a:lnTo>
                  <a:lnTo>
                    <a:pt x="838" y="599"/>
                  </a:lnTo>
                  <a:cubicBezTo>
                    <a:pt x="650" y="296"/>
                    <a:pt x="347" y="73"/>
                    <a:pt x="1" y="0"/>
                  </a:cubicBezTo>
                  <a:close/>
                </a:path>
              </a:pathLst>
            </a:custGeom>
            <a:noFill/>
            <a:ln w="9525" cap="flat" cmpd="sng">
              <a:solidFill>
                <a:srgbClr val="374957"/>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1132" name="Google Shape;1132;p103"/>
          <p:cNvGrpSpPr/>
          <p:nvPr/>
        </p:nvGrpSpPr>
        <p:grpSpPr>
          <a:xfrm>
            <a:off x="5949621" y="3121284"/>
            <a:ext cx="690579" cy="690579"/>
            <a:chOff x="3736598" y="2170606"/>
            <a:chExt cx="404889" cy="404889"/>
          </a:xfrm>
        </p:grpSpPr>
        <p:sp>
          <p:nvSpPr>
            <p:cNvPr id="1133" name="Google Shape;1133;p103"/>
            <p:cNvSpPr/>
            <p:nvPr/>
          </p:nvSpPr>
          <p:spPr>
            <a:xfrm>
              <a:off x="3950281" y="2170846"/>
              <a:ext cx="191206" cy="231947"/>
            </a:xfrm>
            <a:custGeom>
              <a:avLst/>
              <a:gdLst/>
              <a:ahLst/>
              <a:cxnLst/>
              <a:rect l="l" t="t" r="r" b="b"/>
              <a:pathLst>
                <a:path w="8781" h="10652" extrusionOk="0">
                  <a:moveTo>
                    <a:pt x="23" y="1"/>
                  </a:moveTo>
                  <a:lnTo>
                    <a:pt x="1435" y="2583"/>
                  </a:lnTo>
                  <a:lnTo>
                    <a:pt x="0" y="5246"/>
                  </a:lnTo>
                  <a:cubicBezTo>
                    <a:pt x="1997" y="5498"/>
                    <a:pt x="3512" y="7186"/>
                    <a:pt x="3547" y="9217"/>
                  </a:cubicBezTo>
                  <a:lnTo>
                    <a:pt x="6187" y="10652"/>
                  </a:lnTo>
                  <a:lnTo>
                    <a:pt x="8780" y="9217"/>
                  </a:lnTo>
                  <a:cubicBezTo>
                    <a:pt x="8746" y="4305"/>
                    <a:pt x="4913" y="276"/>
                    <a:pt x="23" y="1"/>
                  </a:cubicBezTo>
                  <a:close/>
                </a:path>
              </a:pathLst>
            </a:custGeom>
            <a:noFill/>
            <a:ln w="9525" cap="flat" cmpd="sng">
              <a:solidFill>
                <a:srgbClr val="F8FAFB"/>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134" name="Google Shape;1134;p103"/>
            <p:cNvSpPr/>
            <p:nvPr/>
          </p:nvSpPr>
          <p:spPr>
            <a:xfrm>
              <a:off x="3737099" y="2170606"/>
              <a:ext cx="231947" cy="191446"/>
            </a:xfrm>
            <a:custGeom>
              <a:avLst/>
              <a:gdLst/>
              <a:ahLst/>
              <a:cxnLst/>
              <a:rect l="l" t="t" r="r" b="b"/>
              <a:pathLst>
                <a:path w="10652" h="8792" extrusionOk="0">
                  <a:moveTo>
                    <a:pt x="9216" y="0"/>
                  </a:moveTo>
                  <a:cubicBezTo>
                    <a:pt x="4304" y="35"/>
                    <a:pt x="276" y="3868"/>
                    <a:pt x="0" y="8769"/>
                  </a:cubicBezTo>
                  <a:lnTo>
                    <a:pt x="2583" y="7346"/>
                  </a:lnTo>
                  <a:lnTo>
                    <a:pt x="5245" y="8792"/>
                  </a:lnTo>
                  <a:cubicBezTo>
                    <a:pt x="5498" y="6783"/>
                    <a:pt x="7185" y="5268"/>
                    <a:pt x="9216" y="5234"/>
                  </a:cubicBezTo>
                  <a:lnTo>
                    <a:pt x="10651" y="2594"/>
                  </a:lnTo>
                  <a:lnTo>
                    <a:pt x="9216" y="0"/>
                  </a:lnTo>
                  <a:close/>
                </a:path>
              </a:pathLst>
            </a:custGeom>
            <a:noFill/>
            <a:ln w="9525" cap="flat" cmpd="sng">
              <a:solidFill>
                <a:srgbClr val="374957"/>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135" name="Google Shape;1135;p103"/>
            <p:cNvSpPr/>
            <p:nvPr/>
          </p:nvSpPr>
          <p:spPr>
            <a:xfrm>
              <a:off x="3909539" y="2384027"/>
              <a:ext cx="231686" cy="191468"/>
            </a:xfrm>
            <a:custGeom>
              <a:avLst/>
              <a:gdLst/>
              <a:ahLst/>
              <a:cxnLst/>
              <a:rect l="l" t="t" r="r" b="b"/>
              <a:pathLst>
                <a:path w="10640" h="8793" extrusionOk="0">
                  <a:moveTo>
                    <a:pt x="5395" y="1"/>
                  </a:moveTo>
                  <a:cubicBezTo>
                    <a:pt x="5142" y="1998"/>
                    <a:pt x="3455" y="3513"/>
                    <a:pt x="1435" y="3559"/>
                  </a:cubicBezTo>
                  <a:lnTo>
                    <a:pt x="0" y="6187"/>
                  </a:lnTo>
                  <a:lnTo>
                    <a:pt x="1424" y="8792"/>
                  </a:lnTo>
                  <a:cubicBezTo>
                    <a:pt x="6324" y="8758"/>
                    <a:pt x="10364" y="4913"/>
                    <a:pt x="10640" y="24"/>
                  </a:cubicBezTo>
                  <a:lnTo>
                    <a:pt x="10640" y="24"/>
                  </a:lnTo>
                  <a:lnTo>
                    <a:pt x="8058" y="1436"/>
                  </a:lnTo>
                  <a:lnTo>
                    <a:pt x="5395" y="1"/>
                  </a:lnTo>
                  <a:close/>
                </a:path>
              </a:pathLst>
            </a:custGeom>
            <a:noFill/>
            <a:ln w="9525" cap="flat" cmpd="sng">
              <a:solidFill>
                <a:srgbClr val="BAC8D3"/>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136" name="Google Shape;1136;p103"/>
            <p:cNvSpPr/>
            <p:nvPr/>
          </p:nvSpPr>
          <p:spPr>
            <a:xfrm>
              <a:off x="3736598" y="2343307"/>
              <a:ext cx="191707" cy="231686"/>
            </a:xfrm>
            <a:custGeom>
              <a:avLst/>
              <a:gdLst/>
              <a:ahLst/>
              <a:cxnLst/>
              <a:rect l="l" t="t" r="r" b="b"/>
              <a:pathLst>
                <a:path w="8804" h="10640" extrusionOk="0">
                  <a:moveTo>
                    <a:pt x="2606" y="0"/>
                  </a:moveTo>
                  <a:lnTo>
                    <a:pt x="0" y="1435"/>
                  </a:lnTo>
                  <a:cubicBezTo>
                    <a:pt x="46" y="6335"/>
                    <a:pt x="3880" y="10364"/>
                    <a:pt x="8769" y="10639"/>
                  </a:cubicBezTo>
                  <a:lnTo>
                    <a:pt x="7357" y="8057"/>
                  </a:lnTo>
                  <a:lnTo>
                    <a:pt x="8803" y="5394"/>
                  </a:lnTo>
                  <a:cubicBezTo>
                    <a:pt x="6795" y="5142"/>
                    <a:pt x="5280" y="3455"/>
                    <a:pt x="5245" y="1435"/>
                  </a:cubicBezTo>
                  <a:lnTo>
                    <a:pt x="2606"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1137" name="Google Shape;1137;p103"/>
          <p:cNvGrpSpPr/>
          <p:nvPr/>
        </p:nvGrpSpPr>
        <p:grpSpPr>
          <a:xfrm>
            <a:off x="4972369" y="3121415"/>
            <a:ext cx="782648" cy="690320"/>
            <a:chOff x="3161917" y="2170682"/>
            <a:chExt cx="458870" cy="404737"/>
          </a:xfrm>
        </p:grpSpPr>
        <p:sp>
          <p:nvSpPr>
            <p:cNvPr id="1138" name="Google Shape;1138;p103"/>
            <p:cNvSpPr/>
            <p:nvPr/>
          </p:nvSpPr>
          <p:spPr>
            <a:xfrm>
              <a:off x="3161917" y="2170682"/>
              <a:ext cx="277174" cy="291676"/>
            </a:xfrm>
            <a:custGeom>
              <a:avLst/>
              <a:gdLst/>
              <a:ahLst/>
              <a:cxnLst/>
              <a:rect l="l" t="t" r="r" b="b"/>
              <a:pathLst>
                <a:path w="12729" h="13395" extrusionOk="0">
                  <a:moveTo>
                    <a:pt x="11294" y="0"/>
                  </a:moveTo>
                  <a:cubicBezTo>
                    <a:pt x="4442" y="46"/>
                    <a:pt x="0" y="7242"/>
                    <a:pt x="3019" y="13394"/>
                  </a:cubicBezTo>
                  <a:lnTo>
                    <a:pt x="4522" y="10915"/>
                  </a:lnTo>
                  <a:lnTo>
                    <a:pt x="7598" y="10835"/>
                  </a:lnTo>
                  <a:cubicBezTo>
                    <a:pt x="6531" y="8195"/>
                    <a:pt x="8436" y="5291"/>
                    <a:pt x="11294" y="5234"/>
                  </a:cubicBezTo>
                  <a:lnTo>
                    <a:pt x="12729" y="2606"/>
                  </a:lnTo>
                  <a:lnTo>
                    <a:pt x="11294" y="0"/>
                  </a:lnTo>
                  <a:close/>
                </a:path>
              </a:pathLst>
            </a:custGeom>
            <a:noFill/>
            <a:ln w="9525" cap="flat" cmpd="sng">
              <a:solidFill>
                <a:srgbClr val="374957"/>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139" name="Google Shape;1139;p103"/>
            <p:cNvSpPr/>
            <p:nvPr/>
          </p:nvSpPr>
          <p:spPr>
            <a:xfrm>
              <a:off x="3420326" y="2170922"/>
              <a:ext cx="200461" cy="302934"/>
            </a:xfrm>
            <a:custGeom>
              <a:avLst/>
              <a:gdLst/>
              <a:ahLst/>
              <a:cxnLst/>
              <a:rect l="l" t="t" r="r" b="b"/>
              <a:pathLst>
                <a:path w="9206" h="13912" extrusionOk="0">
                  <a:moveTo>
                    <a:pt x="24" y="1"/>
                  </a:moveTo>
                  <a:lnTo>
                    <a:pt x="1447" y="2583"/>
                  </a:lnTo>
                  <a:lnTo>
                    <a:pt x="1" y="5246"/>
                  </a:lnTo>
                  <a:cubicBezTo>
                    <a:pt x="2893" y="5602"/>
                    <a:pt x="4488" y="8815"/>
                    <a:pt x="3008" y="11329"/>
                  </a:cubicBezTo>
                  <a:lnTo>
                    <a:pt x="4557" y="13854"/>
                  </a:lnTo>
                  <a:lnTo>
                    <a:pt x="7564" y="13911"/>
                  </a:lnTo>
                  <a:cubicBezTo>
                    <a:pt x="9171" y="11122"/>
                    <a:pt x="9206" y="7691"/>
                    <a:pt x="7679" y="4856"/>
                  </a:cubicBezTo>
                  <a:cubicBezTo>
                    <a:pt x="6141" y="2021"/>
                    <a:pt x="3237" y="184"/>
                    <a:pt x="24" y="1"/>
                  </a:cubicBezTo>
                  <a:close/>
                </a:path>
              </a:pathLst>
            </a:custGeom>
            <a:noFill/>
            <a:ln w="9525" cap="flat" cmpd="sng">
              <a:solidFill>
                <a:srgbClr val="F8FAFB"/>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140" name="Google Shape;1140;p103"/>
            <p:cNvSpPr/>
            <p:nvPr/>
          </p:nvSpPr>
          <p:spPr>
            <a:xfrm>
              <a:off x="3233645" y="2417594"/>
              <a:ext cx="344393" cy="157825"/>
            </a:xfrm>
            <a:custGeom>
              <a:avLst/>
              <a:gdLst/>
              <a:ahLst/>
              <a:cxnLst/>
              <a:rect l="l" t="t" r="r" b="b"/>
              <a:pathLst>
                <a:path w="15816" h="7248" extrusionOk="0">
                  <a:moveTo>
                    <a:pt x="4557" y="1"/>
                  </a:moveTo>
                  <a:lnTo>
                    <a:pt x="1515" y="81"/>
                  </a:lnTo>
                  <a:lnTo>
                    <a:pt x="0" y="2583"/>
                  </a:lnTo>
                  <a:cubicBezTo>
                    <a:pt x="1607" y="5372"/>
                    <a:pt x="4545" y="7140"/>
                    <a:pt x="7770" y="7243"/>
                  </a:cubicBezTo>
                  <a:cubicBezTo>
                    <a:pt x="7870" y="7246"/>
                    <a:pt x="7970" y="7248"/>
                    <a:pt x="8070" y="7248"/>
                  </a:cubicBezTo>
                  <a:cubicBezTo>
                    <a:pt x="11183" y="7248"/>
                    <a:pt x="14092" y="5691"/>
                    <a:pt x="15816" y="3088"/>
                  </a:cubicBezTo>
                  <a:lnTo>
                    <a:pt x="12832" y="3019"/>
                  </a:lnTo>
                  <a:lnTo>
                    <a:pt x="11260" y="471"/>
                  </a:lnTo>
                  <a:cubicBezTo>
                    <a:pt x="10437" y="1506"/>
                    <a:pt x="9252" y="2011"/>
                    <a:pt x="8072" y="2011"/>
                  </a:cubicBezTo>
                  <a:cubicBezTo>
                    <a:pt x="6699" y="2011"/>
                    <a:pt x="5334" y="1328"/>
                    <a:pt x="4557" y="1"/>
                  </a:cubicBezTo>
                  <a:close/>
                </a:path>
              </a:pathLst>
            </a:custGeom>
            <a:noFill/>
            <a:ln w="9525" cap="flat" cmpd="sng">
              <a:solidFill>
                <a:srgbClr val="869FB2"/>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1141" name="Google Shape;1141;p103"/>
          <p:cNvGrpSpPr/>
          <p:nvPr/>
        </p:nvGrpSpPr>
        <p:grpSpPr>
          <a:xfrm>
            <a:off x="5003066" y="4136534"/>
            <a:ext cx="721257" cy="690617"/>
            <a:chOff x="3179914" y="2889488"/>
            <a:chExt cx="422876" cy="404911"/>
          </a:xfrm>
        </p:grpSpPr>
        <p:sp>
          <p:nvSpPr>
            <p:cNvPr id="1142" name="Google Shape;1142;p103"/>
            <p:cNvSpPr/>
            <p:nvPr/>
          </p:nvSpPr>
          <p:spPr>
            <a:xfrm>
              <a:off x="3402328" y="2889749"/>
              <a:ext cx="163726" cy="157477"/>
            </a:xfrm>
            <a:custGeom>
              <a:avLst/>
              <a:gdLst/>
              <a:ahLst/>
              <a:cxnLst/>
              <a:rect l="l" t="t" r="r" b="b"/>
              <a:pathLst>
                <a:path w="7519" h="7232" extrusionOk="0">
                  <a:moveTo>
                    <a:pt x="24" y="0"/>
                  </a:moveTo>
                  <a:lnTo>
                    <a:pt x="1447" y="2583"/>
                  </a:lnTo>
                  <a:lnTo>
                    <a:pt x="1" y="5257"/>
                  </a:lnTo>
                  <a:cubicBezTo>
                    <a:pt x="1252" y="5418"/>
                    <a:pt x="2365" y="6141"/>
                    <a:pt x="2996" y="7231"/>
                  </a:cubicBezTo>
                  <a:lnTo>
                    <a:pt x="5958" y="7151"/>
                  </a:lnTo>
                  <a:lnTo>
                    <a:pt x="7518" y="4580"/>
                  </a:lnTo>
                  <a:cubicBezTo>
                    <a:pt x="5946" y="1894"/>
                    <a:pt x="3134" y="184"/>
                    <a:pt x="24" y="0"/>
                  </a:cubicBezTo>
                  <a:close/>
                </a:path>
              </a:pathLst>
            </a:custGeom>
            <a:noFill/>
            <a:ln w="9525" cap="flat" cmpd="sng">
              <a:solidFill>
                <a:srgbClr val="CFD9E0"/>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143" name="Google Shape;1143;p103"/>
            <p:cNvSpPr/>
            <p:nvPr/>
          </p:nvSpPr>
          <p:spPr>
            <a:xfrm>
              <a:off x="3467807" y="3000956"/>
              <a:ext cx="134983" cy="191707"/>
            </a:xfrm>
            <a:custGeom>
              <a:avLst/>
              <a:gdLst/>
              <a:ahLst/>
              <a:cxnLst/>
              <a:rect l="l" t="t" r="r" b="b"/>
              <a:pathLst>
                <a:path w="6199" h="8804" extrusionOk="0">
                  <a:moveTo>
                    <a:pt x="4798" y="1"/>
                  </a:moveTo>
                  <a:lnTo>
                    <a:pt x="3249" y="2549"/>
                  </a:lnTo>
                  <a:lnTo>
                    <a:pt x="242" y="2629"/>
                  </a:lnTo>
                  <a:cubicBezTo>
                    <a:pt x="724" y="3800"/>
                    <a:pt x="644" y="5131"/>
                    <a:pt x="1" y="6221"/>
                  </a:cubicBezTo>
                  <a:lnTo>
                    <a:pt x="1550" y="8746"/>
                  </a:lnTo>
                  <a:lnTo>
                    <a:pt x="4557" y="8804"/>
                  </a:lnTo>
                  <a:cubicBezTo>
                    <a:pt x="6107" y="6095"/>
                    <a:pt x="6199" y="2790"/>
                    <a:pt x="4798" y="1"/>
                  </a:cubicBezTo>
                  <a:close/>
                </a:path>
              </a:pathLst>
            </a:custGeom>
            <a:noFill/>
            <a:ln w="9525" cap="flat" cmpd="sng">
              <a:solidFill>
                <a:srgbClr val="A5B7C6"/>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144" name="Google Shape;1144;p103"/>
            <p:cNvSpPr/>
            <p:nvPr/>
          </p:nvSpPr>
          <p:spPr>
            <a:xfrm>
              <a:off x="3222637" y="2889488"/>
              <a:ext cx="198457" cy="149224"/>
            </a:xfrm>
            <a:custGeom>
              <a:avLst/>
              <a:gdLst/>
              <a:ahLst/>
              <a:cxnLst/>
              <a:rect l="l" t="t" r="r" b="b"/>
              <a:pathLst>
                <a:path w="9114" h="6853" extrusionOk="0">
                  <a:moveTo>
                    <a:pt x="7690" y="1"/>
                  </a:moveTo>
                  <a:cubicBezTo>
                    <a:pt x="4592" y="24"/>
                    <a:pt x="1711" y="1585"/>
                    <a:pt x="1" y="4156"/>
                  </a:cubicBezTo>
                  <a:lnTo>
                    <a:pt x="2904" y="4225"/>
                  </a:lnTo>
                  <a:lnTo>
                    <a:pt x="4511" y="6853"/>
                  </a:lnTo>
                  <a:cubicBezTo>
                    <a:pt x="5257" y="5854"/>
                    <a:pt x="6428" y="5258"/>
                    <a:pt x="7679" y="5235"/>
                  </a:cubicBezTo>
                  <a:lnTo>
                    <a:pt x="9114" y="2606"/>
                  </a:lnTo>
                  <a:lnTo>
                    <a:pt x="7690" y="1"/>
                  </a:lnTo>
                  <a:close/>
                </a:path>
              </a:pathLst>
            </a:custGeom>
            <a:noFill/>
            <a:ln w="9525" cap="flat" cmpd="sng">
              <a:solidFill>
                <a:srgbClr val="F8FAFB"/>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145" name="Google Shape;1145;p103"/>
            <p:cNvSpPr/>
            <p:nvPr/>
          </p:nvSpPr>
          <p:spPr>
            <a:xfrm>
              <a:off x="3179914" y="2991462"/>
              <a:ext cx="133960" cy="190205"/>
            </a:xfrm>
            <a:custGeom>
              <a:avLst/>
              <a:gdLst/>
              <a:ahLst/>
              <a:cxnLst/>
              <a:rect l="l" t="t" r="r" b="b"/>
              <a:pathLst>
                <a:path w="6152" h="8735" extrusionOk="0">
                  <a:moveTo>
                    <a:pt x="1641" y="1"/>
                  </a:moveTo>
                  <a:cubicBezTo>
                    <a:pt x="103" y="2686"/>
                    <a:pt x="0" y="5957"/>
                    <a:pt x="1366" y="8735"/>
                  </a:cubicBezTo>
                  <a:lnTo>
                    <a:pt x="2869" y="6244"/>
                  </a:lnTo>
                  <a:lnTo>
                    <a:pt x="5957" y="6164"/>
                  </a:lnTo>
                  <a:cubicBezTo>
                    <a:pt x="5486" y="5016"/>
                    <a:pt x="5555" y="3731"/>
                    <a:pt x="6152" y="2640"/>
                  </a:cubicBezTo>
                  <a:lnTo>
                    <a:pt x="4568" y="58"/>
                  </a:lnTo>
                  <a:lnTo>
                    <a:pt x="1641" y="1"/>
                  </a:lnTo>
                  <a:close/>
                </a:path>
              </a:pathLst>
            </a:custGeom>
            <a:noFill/>
            <a:ln w="9525" cap="flat" cmpd="sng">
              <a:solidFill>
                <a:srgbClr val="374957"/>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146" name="Google Shape;1146;p103"/>
            <p:cNvSpPr/>
            <p:nvPr/>
          </p:nvSpPr>
          <p:spPr>
            <a:xfrm>
              <a:off x="3215887" y="3136661"/>
              <a:ext cx="162725" cy="157477"/>
            </a:xfrm>
            <a:custGeom>
              <a:avLst/>
              <a:gdLst/>
              <a:ahLst/>
              <a:cxnLst/>
              <a:rect l="l" t="t" r="r" b="b"/>
              <a:pathLst>
                <a:path w="7473" h="7232" extrusionOk="0">
                  <a:moveTo>
                    <a:pt x="4546" y="1"/>
                  </a:moveTo>
                  <a:lnTo>
                    <a:pt x="1516" y="81"/>
                  </a:lnTo>
                  <a:lnTo>
                    <a:pt x="1" y="2583"/>
                  </a:lnTo>
                  <a:cubicBezTo>
                    <a:pt x="1550" y="5280"/>
                    <a:pt x="4339" y="7025"/>
                    <a:pt x="7438" y="7232"/>
                  </a:cubicBezTo>
                  <a:lnTo>
                    <a:pt x="6026" y="4649"/>
                  </a:lnTo>
                  <a:lnTo>
                    <a:pt x="7472" y="1964"/>
                  </a:lnTo>
                  <a:cubicBezTo>
                    <a:pt x="6256" y="1791"/>
                    <a:pt x="5177" y="1068"/>
                    <a:pt x="4546" y="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147" name="Google Shape;1147;p103"/>
            <p:cNvSpPr/>
            <p:nvPr/>
          </p:nvSpPr>
          <p:spPr>
            <a:xfrm>
              <a:off x="3359605" y="3146677"/>
              <a:ext cx="200439" cy="147722"/>
            </a:xfrm>
            <a:custGeom>
              <a:avLst/>
              <a:gdLst/>
              <a:ahLst/>
              <a:cxnLst/>
              <a:rect l="l" t="t" r="r" b="b"/>
              <a:pathLst>
                <a:path w="9205" h="6784" extrusionOk="0">
                  <a:moveTo>
                    <a:pt x="4649" y="0"/>
                  </a:moveTo>
                  <a:cubicBezTo>
                    <a:pt x="3880" y="976"/>
                    <a:pt x="2697" y="1549"/>
                    <a:pt x="1446" y="1549"/>
                  </a:cubicBezTo>
                  <a:lnTo>
                    <a:pt x="1435" y="1549"/>
                  </a:lnTo>
                  <a:lnTo>
                    <a:pt x="0" y="4189"/>
                  </a:lnTo>
                  <a:lnTo>
                    <a:pt x="1435" y="6783"/>
                  </a:lnTo>
                  <a:lnTo>
                    <a:pt x="1446" y="6783"/>
                  </a:lnTo>
                  <a:cubicBezTo>
                    <a:pt x="1458" y="6783"/>
                    <a:pt x="1469" y="6783"/>
                    <a:pt x="1481" y="6783"/>
                  </a:cubicBezTo>
                  <a:cubicBezTo>
                    <a:pt x="4589" y="6783"/>
                    <a:pt x="7490" y="5224"/>
                    <a:pt x="9205" y="2628"/>
                  </a:cubicBezTo>
                  <a:lnTo>
                    <a:pt x="6221" y="2559"/>
                  </a:lnTo>
                  <a:lnTo>
                    <a:pt x="4649" y="0"/>
                  </a:lnTo>
                  <a:close/>
                </a:path>
              </a:pathLst>
            </a:custGeom>
            <a:noFill/>
            <a:ln w="9525" cap="flat" cmpd="sng">
              <a:solidFill>
                <a:srgbClr val="869FB2"/>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1148" name="Google Shape;1148;p103"/>
          <p:cNvGrpSpPr/>
          <p:nvPr/>
        </p:nvGrpSpPr>
        <p:grpSpPr>
          <a:xfrm>
            <a:off x="5937457" y="4136478"/>
            <a:ext cx="714907" cy="690729"/>
            <a:chOff x="3729467" y="2889422"/>
            <a:chExt cx="419153" cy="404977"/>
          </a:xfrm>
        </p:grpSpPr>
        <p:sp>
          <p:nvSpPr>
            <p:cNvPr id="1149" name="Google Shape;1149;p103"/>
            <p:cNvSpPr/>
            <p:nvPr/>
          </p:nvSpPr>
          <p:spPr>
            <a:xfrm>
              <a:off x="4014137" y="2974913"/>
              <a:ext cx="134482" cy="178707"/>
            </a:xfrm>
            <a:custGeom>
              <a:avLst/>
              <a:gdLst/>
              <a:ahLst/>
              <a:cxnLst/>
              <a:rect l="l" t="t" r="r" b="b"/>
              <a:pathLst>
                <a:path w="6176" h="8207" extrusionOk="0">
                  <a:moveTo>
                    <a:pt x="4121" y="0"/>
                  </a:moveTo>
                  <a:lnTo>
                    <a:pt x="2973" y="2732"/>
                  </a:lnTo>
                  <a:lnTo>
                    <a:pt x="0" y="3260"/>
                  </a:lnTo>
                  <a:cubicBezTo>
                    <a:pt x="391" y="3891"/>
                    <a:pt x="586" y="4625"/>
                    <a:pt x="586" y="5372"/>
                  </a:cubicBezTo>
                  <a:cubicBezTo>
                    <a:pt x="586" y="5658"/>
                    <a:pt x="563" y="5945"/>
                    <a:pt x="494" y="6232"/>
                  </a:cubicBezTo>
                  <a:lnTo>
                    <a:pt x="2743" y="8206"/>
                  </a:lnTo>
                  <a:lnTo>
                    <a:pt x="5613" y="7392"/>
                  </a:lnTo>
                  <a:cubicBezTo>
                    <a:pt x="6175" y="4832"/>
                    <a:pt x="5636" y="2146"/>
                    <a:pt x="4121"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150" name="Google Shape;1150;p103"/>
            <p:cNvSpPr/>
            <p:nvPr/>
          </p:nvSpPr>
          <p:spPr>
            <a:xfrm>
              <a:off x="3741225" y="3095375"/>
              <a:ext cx="148963" cy="173460"/>
            </a:xfrm>
            <a:custGeom>
              <a:avLst/>
              <a:gdLst/>
              <a:ahLst/>
              <a:cxnLst/>
              <a:rect l="l" t="t" r="r" b="b"/>
              <a:pathLst>
                <a:path w="6841" h="7966" extrusionOk="0">
                  <a:moveTo>
                    <a:pt x="2215" y="0"/>
                  </a:moveTo>
                  <a:lnTo>
                    <a:pt x="0" y="1963"/>
                  </a:lnTo>
                  <a:cubicBezTo>
                    <a:pt x="597" y="4511"/>
                    <a:pt x="2250" y="6691"/>
                    <a:pt x="4534" y="7965"/>
                  </a:cubicBezTo>
                  <a:lnTo>
                    <a:pt x="4373" y="5027"/>
                  </a:lnTo>
                  <a:lnTo>
                    <a:pt x="6841" y="3248"/>
                  </a:lnTo>
                  <a:cubicBezTo>
                    <a:pt x="5980" y="2686"/>
                    <a:pt x="5360" y="1814"/>
                    <a:pt x="5108" y="804"/>
                  </a:cubicBezTo>
                  <a:lnTo>
                    <a:pt x="2215" y="0"/>
                  </a:lnTo>
                  <a:close/>
                </a:path>
              </a:pathLst>
            </a:custGeom>
            <a:noFill/>
            <a:ln w="9525" cap="flat" cmpd="sng">
              <a:solidFill>
                <a:srgbClr val="E3E9ED"/>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151" name="Google Shape;1151;p103"/>
            <p:cNvSpPr/>
            <p:nvPr/>
          </p:nvSpPr>
          <p:spPr>
            <a:xfrm>
              <a:off x="3949660" y="2889684"/>
              <a:ext cx="146219" cy="145980"/>
            </a:xfrm>
            <a:custGeom>
              <a:avLst/>
              <a:gdLst/>
              <a:ahLst/>
              <a:cxnLst/>
              <a:rect l="l" t="t" r="r" b="b"/>
              <a:pathLst>
                <a:path w="6715" h="6704" extrusionOk="0">
                  <a:moveTo>
                    <a:pt x="12" y="0"/>
                  </a:moveTo>
                  <a:lnTo>
                    <a:pt x="1435" y="2583"/>
                  </a:lnTo>
                  <a:lnTo>
                    <a:pt x="0" y="5257"/>
                  </a:lnTo>
                  <a:cubicBezTo>
                    <a:pt x="1022" y="5383"/>
                    <a:pt x="1963" y="5900"/>
                    <a:pt x="2629" y="6703"/>
                  </a:cubicBezTo>
                  <a:lnTo>
                    <a:pt x="5567" y="6187"/>
                  </a:lnTo>
                  <a:lnTo>
                    <a:pt x="6714" y="3432"/>
                  </a:lnTo>
                  <a:cubicBezTo>
                    <a:pt x="5062" y="1401"/>
                    <a:pt x="2629" y="150"/>
                    <a:pt x="12" y="0"/>
                  </a:cubicBezTo>
                  <a:close/>
                </a:path>
              </a:pathLst>
            </a:custGeom>
            <a:noFill/>
            <a:ln w="9525" cap="flat" cmpd="sng">
              <a:solidFill>
                <a:srgbClr val="869FB2"/>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152" name="Google Shape;1152;p103"/>
            <p:cNvSpPr/>
            <p:nvPr/>
          </p:nvSpPr>
          <p:spPr>
            <a:xfrm>
              <a:off x="3847947" y="3172089"/>
              <a:ext cx="167210" cy="122310"/>
            </a:xfrm>
            <a:custGeom>
              <a:avLst/>
              <a:gdLst/>
              <a:ahLst/>
              <a:cxnLst/>
              <a:rect l="l" t="t" r="r" b="b"/>
              <a:pathLst>
                <a:path w="7679" h="5617" extrusionOk="0">
                  <a:moveTo>
                    <a:pt x="2433" y="1"/>
                  </a:moveTo>
                  <a:lnTo>
                    <a:pt x="0" y="1757"/>
                  </a:lnTo>
                  <a:lnTo>
                    <a:pt x="149" y="4718"/>
                  </a:lnTo>
                  <a:cubicBezTo>
                    <a:pt x="1415" y="5317"/>
                    <a:pt x="2781" y="5616"/>
                    <a:pt x="4148" y="5616"/>
                  </a:cubicBezTo>
                  <a:cubicBezTo>
                    <a:pt x="5347" y="5616"/>
                    <a:pt x="6546" y="5386"/>
                    <a:pt x="7678" y="4924"/>
                  </a:cubicBezTo>
                  <a:lnTo>
                    <a:pt x="5280" y="3203"/>
                  </a:lnTo>
                  <a:lnTo>
                    <a:pt x="5417" y="173"/>
                  </a:lnTo>
                  <a:lnTo>
                    <a:pt x="5417" y="173"/>
                  </a:lnTo>
                  <a:cubicBezTo>
                    <a:pt x="5016" y="311"/>
                    <a:pt x="4591" y="379"/>
                    <a:pt x="4155" y="379"/>
                  </a:cubicBezTo>
                  <a:cubicBezTo>
                    <a:pt x="3558" y="379"/>
                    <a:pt x="2973" y="253"/>
                    <a:pt x="2433" y="1"/>
                  </a:cubicBezTo>
                  <a:close/>
                </a:path>
              </a:pathLst>
            </a:custGeom>
            <a:noFill/>
            <a:ln w="9525" cap="flat" cmpd="sng">
              <a:solidFill>
                <a:srgbClr val="F8FAFB"/>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153" name="Google Shape;1153;p103"/>
            <p:cNvSpPr/>
            <p:nvPr/>
          </p:nvSpPr>
          <p:spPr>
            <a:xfrm>
              <a:off x="3974658" y="3122616"/>
              <a:ext cx="158457" cy="151206"/>
            </a:xfrm>
            <a:custGeom>
              <a:avLst/>
              <a:gdLst/>
              <a:ahLst/>
              <a:cxnLst/>
              <a:rect l="l" t="t" r="r" b="b"/>
              <a:pathLst>
                <a:path w="7277" h="6944" extrusionOk="0">
                  <a:moveTo>
                    <a:pt x="2158" y="0"/>
                  </a:moveTo>
                  <a:cubicBezTo>
                    <a:pt x="1790" y="964"/>
                    <a:pt x="1079" y="1768"/>
                    <a:pt x="149" y="2227"/>
                  </a:cubicBezTo>
                  <a:lnTo>
                    <a:pt x="0" y="5222"/>
                  </a:lnTo>
                  <a:lnTo>
                    <a:pt x="2422" y="6944"/>
                  </a:lnTo>
                  <a:cubicBezTo>
                    <a:pt x="4775" y="5785"/>
                    <a:pt x="6542" y="3696"/>
                    <a:pt x="7277" y="1171"/>
                  </a:cubicBezTo>
                  <a:lnTo>
                    <a:pt x="7277" y="1171"/>
                  </a:lnTo>
                  <a:lnTo>
                    <a:pt x="4430" y="1986"/>
                  </a:lnTo>
                  <a:lnTo>
                    <a:pt x="2158" y="0"/>
                  </a:lnTo>
                  <a:close/>
                </a:path>
              </a:pathLst>
            </a:custGeom>
            <a:noFill/>
            <a:ln w="9525" cap="flat" cmpd="sng">
              <a:solidFill>
                <a:srgbClr val="374957"/>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154" name="Google Shape;1154;p103"/>
            <p:cNvSpPr/>
            <p:nvPr/>
          </p:nvSpPr>
          <p:spPr>
            <a:xfrm>
              <a:off x="3729467" y="2966660"/>
              <a:ext cx="138990" cy="158718"/>
            </a:xfrm>
            <a:custGeom>
              <a:avLst/>
              <a:gdLst/>
              <a:ahLst/>
              <a:cxnLst/>
              <a:rect l="l" t="t" r="r" b="b"/>
              <a:pathLst>
                <a:path w="6383" h="7289" extrusionOk="0">
                  <a:moveTo>
                    <a:pt x="2296" y="0"/>
                  </a:moveTo>
                  <a:cubicBezTo>
                    <a:pt x="678" y="2055"/>
                    <a:pt x="1" y="4706"/>
                    <a:pt x="425" y="7288"/>
                  </a:cubicBezTo>
                  <a:lnTo>
                    <a:pt x="2618" y="5337"/>
                  </a:lnTo>
                  <a:lnTo>
                    <a:pt x="5556" y="6152"/>
                  </a:lnTo>
                  <a:cubicBezTo>
                    <a:pt x="5544" y="6026"/>
                    <a:pt x="5533" y="5888"/>
                    <a:pt x="5533" y="5751"/>
                  </a:cubicBezTo>
                  <a:cubicBezTo>
                    <a:pt x="5533" y="4855"/>
                    <a:pt x="5831" y="3983"/>
                    <a:pt x="6382" y="3271"/>
                  </a:cubicBezTo>
                  <a:lnTo>
                    <a:pt x="5211" y="505"/>
                  </a:lnTo>
                  <a:lnTo>
                    <a:pt x="2296" y="0"/>
                  </a:lnTo>
                  <a:close/>
                </a:path>
              </a:pathLst>
            </a:custGeom>
            <a:noFill/>
            <a:ln w="9525" cap="flat" cmpd="sng">
              <a:solidFill>
                <a:srgbClr val="CFD9E0"/>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155" name="Google Shape;1155;p103"/>
            <p:cNvSpPr/>
            <p:nvPr/>
          </p:nvSpPr>
          <p:spPr>
            <a:xfrm>
              <a:off x="3787716" y="2889422"/>
              <a:ext cx="180449" cy="139229"/>
            </a:xfrm>
            <a:custGeom>
              <a:avLst/>
              <a:gdLst/>
              <a:ahLst/>
              <a:cxnLst/>
              <a:rect l="l" t="t" r="r" b="b"/>
              <a:pathLst>
                <a:path w="8287" h="6394" extrusionOk="0">
                  <a:moveTo>
                    <a:pt x="6863" y="1"/>
                  </a:moveTo>
                  <a:cubicBezTo>
                    <a:pt x="4235" y="12"/>
                    <a:pt x="1756" y="1137"/>
                    <a:pt x="0" y="3088"/>
                  </a:cubicBezTo>
                  <a:lnTo>
                    <a:pt x="2904" y="3593"/>
                  </a:lnTo>
                  <a:lnTo>
                    <a:pt x="4086" y="6394"/>
                  </a:lnTo>
                  <a:cubicBezTo>
                    <a:pt x="4820" y="5671"/>
                    <a:pt x="5819" y="5258"/>
                    <a:pt x="6852" y="5235"/>
                  </a:cubicBezTo>
                  <a:lnTo>
                    <a:pt x="8287" y="2606"/>
                  </a:lnTo>
                  <a:lnTo>
                    <a:pt x="6863" y="1"/>
                  </a:lnTo>
                  <a:close/>
                </a:path>
              </a:pathLst>
            </a:custGeom>
            <a:noFill/>
            <a:ln w="9525" cap="flat" cmpd="sng">
              <a:solidFill>
                <a:srgbClr val="A5B7C6"/>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1156" name="Google Shape;1156;p103"/>
          <p:cNvGrpSpPr/>
          <p:nvPr/>
        </p:nvGrpSpPr>
        <p:grpSpPr>
          <a:xfrm>
            <a:off x="2653502" y="4594384"/>
            <a:ext cx="1287135" cy="179481"/>
            <a:chOff x="4411970" y="2962952"/>
            <a:chExt cx="706544" cy="104212"/>
          </a:xfrm>
        </p:grpSpPr>
        <p:sp>
          <p:nvSpPr>
            <p:cNvPr id="1157" name="Google Shape;1157;p103"/>
            <p:cNvSpPr/>
            <p:nvPr/>
          </p:nvSpPr>
          <p:spPr>
            <a:xfrm>
              <a:off x="4583864" y="2962952"/>
              <a:ext cx="534651" cy="104077"/>
            </a:xfrm>
            <a:custGeom>
              <a:avLst/>
              <a:gdLst/>
              <a:ahLst/>
              <a:cxnLst/>
              <a:rect l="l" t="t" r="r" b="b"/>
              <a:pathLst>
                <a:path w="11841" h="2305" extrusionOk="0">
                  <a:moveTo>
                    <a:pt x="1155" y="0"/>
                  </a:moveTo>
                  <a:lnTo>
                    <a:pt x="0" y="2304"/>
                  </a:lnTo>
                  <a:lnTo>
                    <a:pt x="11410" y="2304"/>
                  </a:lnTo>
                  <a:lnTo>
                    <a:pt x="11840" y="1153"/>
                  </a:lnTo>
                  <a:lnTo>
                    <a:pt x="11410" y="0"/>
                  </a:lnTo>
                  <a:close/>
                </a:path>
              </a:pathLst>
            </a:custGeom>
            <a:noFill/>
            <a:ln w="9525" cap="flat" cmpd="sng">
              <a:solidFill>
                <a:srgbClr val="E3E9ED"/>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158" name="Google Shape;1158;p103"/>
            <p:cNvSpPr/>
            <p:nvPr/>
          </p:nvSpPr>
          <p:spPr>
            <a:xfrm>
              <a:off x="4411970" y="2963088"/>
              <a:ext cx="124124" cy="104077"/>
            </a:xfrm>
            <a:custGeom>
              <a:avLst/>
              <a:gdLst/>
              <a:ahLst/>
              <a:cxnLst/>
              <a:rect l="l" t="t" r="r" b="b"/>
              <a:pathLst>
                <a:path w="2749" h="2305" extrusionOk="0">
                  <a:moveTo>
                    <a:pt x="2749" y="0"/>
                  </a:moveTo>
                  <a:lnTo>
                    <a:pt x="177" y="2"/>
                  </a:lnTo>
                  <a:cubicBezTo>
                    <a:pt x="79" y="2"/>
                    <a:pt x="1" y="79"/>
                    <a:pt x="1" y="176"/>
                  </a:cubicBezTo>
                  <a:lnTo>
                    <a:pt x="1" y="2130"/>
                  </a:lnTo>
                  <a:cubicBezTo>
                    <a:pt x="1" y="2226"/>
                    <a:pt x="79" y="2305"/>
                    <a:pt x="177" y="2305"/>
                  </a:cubicBezTo>
                  <a:lnTo>
                    <a:pt x="1522" y="2305"/>
                  </a:lnTo>
                  <a:lnTo>
                    <a:pt x="2749" y="0"/>
                  </a:lnTo>
                  <a:close/>
                </a:path>
              </a:pathLst>
            </a:custGeom>
            <a:noFill/>
            <a:ln w="9525" cap="flat" cmpd="sng">
              <a:solidFill>
                <a:srgbClr val="E3E9ED"/>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159" name="Google Shape;1159;p103"/>
            <p:cNvSpPr/>
            <p:nvPr/>
          </p:nvSpPr>
          <p:spPr>
            <a:xfrm>
              <a:off x="4496946" y="2963133"/>
              <a:ext cx="79920" cy="104031"/>
            </a:xfrm>
            <a:custGeom>
              <a:avLst/>
              <a:gdLst/>
              <a:ahLst/>
              <a:cxnLst/>
              <a:rect l="l" t="t" r="r" b="b"/>
              <a:pathLst>
                <a:path w="1770" h="2304" extrusionOk="0">
                  <a:moveTo>
                    <a:pt x="1227" y="1"/>
                  </a:moveTo>
                  <a:lnTo>
                    <a:pt x="0" y="2304"/>
                  </a:lnTo>
                  <a:lnTo>
                    <a:pt x="542" y="2304"/>
                  </a:lnTo>
                  <a:lnTo>
                    <a:pt x="1770" y="1"/>
                  </a:lnTo>
                  <a:close/>
                </a:path>
              </a:pathLst>
            </a:custGeom>
            <a:noFill/>
            <a:ln w="9525" cap="flat" cmpd="sng">
              <a:solidFill>
                <a:srgbClr val="E3E9ED"/>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160" name="Google Shape;1160;p103"/>
            <p:cNvSpPr/>
            <p:nvPr/>
          </p:nvSpPr>
          <p:spPr>
            <a:xfrm>
              <a:off x="4537628" y="2963133"/>
              <a:ext cx="79965" cy="104031"/>
            </a:xfrm>
            <a:custGeom>
              <a:avLst/>
              <a:gdLst/>
              <a:ahLst/>
              <a:cxnLst/>
              <a:rect l="l" t="t" r="r" b="b"/>
              <a:pathLst>
                <a:path w="1771" h="2304" extrusionOk="0">
                  <a:moveTo>
                    <a:pt x="1229" y="1"/>
                  </a:moveTo>
                  <a:lnTo>
                    <a:pt x="1" y="2304"/>
                  </a:lnTo>
                  <a:lnTo>
                    <a:pt x="544" y="2304"/>
                  </a:lnTo>
                  <a:lnTo>
                    <a:pt x="1770" y="1"/>
                  </a:lnTo>
                  <a:close/>
                </a:path>
              </a:pathLst>
            </a:custGeom>
            <a:noFill/>
            <a:ln w="9525" cap="flat" cmpd="sng">
              <a:solidFill>
                <a:srgbClr val="E3E9ED"/>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1161" name="Google Shape;1161;p103"/>
          <p:cNvGrpSpPr/>
          <p:nvPr/>
        </p:nvGrpSpPr>
        <p:grpSpPr>
          <a:xfrm>
            <a:off x="2653501" y="4054769"/>
            <a:ext cx="1280211" cy="385563"/>
            <a:chOff x="4411970" y="2726085"/>
            <a:chExt cx="643107" cy="193659"/>
          </a:xfrm>
        </p:grpSpPr>
        <p:sp>
          <p:nvSpPr>
            <p:cNvPr id="1162" name="Google Shape;1162;p103"/>
            <p:cNvSpPr/>
            <p:nvPr/>
          </p:nvSpPr>
          <p:spPr>
            <a:xfrm>
              <a:off x="4411970" y="2726085"/>
              <a:ext cx="118796" cy="193659"/>
            </a:xfrm>
            <a:custGeom>
              <a:avLst/>
              <a:gdLst/>
              <a:ahLst/>
              <a:cxnLst/>
              <a:rect l="l" t="t" r="r" b="b"/>
              <a:pathLst>
                <a:path w="2631" h="4289" extrusionOk="0">
                  <a:moveTo>
                    <a:pt x="450" y="0"/>
                  </a:moveTo>
                  <a:cubicBezTo>
                    <a:pt x="357" y="0"/>
                    <a:pt x="264" y="35"/>
                    <a:pt x="193" y="106"/>
                  </a:cubicBezTo>
                  <a:lnTo>
                    <a:pt x="1" y="298"/>
                  </a:lnTo>
                  <a:lnTo>
                    <a:pt x="1591" y="1886"/>
                  </a:lnTo>
                  <a:cubicBezTo>
                    <a:pt x="1732" y="2029"/>
                    <a:pt x="1732" y="2258"/>
                    <a:pt x="1591" y="2401"/>
                  </a:cubicBezTo>
                  <a:lnTo>
                    <a:pt x="1" y="3991"/>
                  </a:lnTo>
                  <a:lnTo>
                    <a:pt x="193" y="4183"/>
                  </a:lnTo>
                  <a:cubicBezTo>
                    <a:pt x="264" y="4253"/>
                    <a:pt x="357" y="4288"/>
                    <a:pt x="450" y="4288"/>
                  </a:cubicBezTo>
                  <a:cubicBezTo>
                    <a:pt x="543" y="4288"/>
                    <a:pt x="636" y="4253"/>
                    <a:pt x="707" y="4183"/>
                  </a:cubicBezTo>
                  <a:lnTo>
                    <a:pt x="2488" y="2401"/>
                  </a:lnTo>
                  <a:cubicBezTo>
                    <a:pt x="2630" y="2260"/>
                    <a:pt x="2630" y="2029"/>
                    <a:pt x="2488" y="1888"/>
                  </a:cubicBezTo>
                  <a:lnTo>
                    <a:pt x="707" y="106"/>
                  </a:lnTo>
                  <a:cubicBezTo>
                    <a:pt x="636" y="35"/>
                    <a:pt x="543" y="0"/>
                    <a:pt x="450" y="0"/>
                  </a:cubicBezTo>
                  <a:close/>
                </a:path>
              </a:pathLst>
            </a:custGeom>
            <a:noFill/>
            <a:ln w="9525" cap="flat" cmpd="sng">
              <a:solidFill>
                <a:srgbClr val="CFD9E0"/>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163" name="Google Shape;1163;p103"/>
            <p:cNvSpPr/>
            <p:nvPr/>
          </p:nvSpPr>
          <p:spPr>
            <a:xfrm>
              <a:off x="4426058" y="2791601"/>
              <a:ext cx="36167" cy="62627"/>
            </a:xfrm>
            <a:custGeom>
              <a:avLst/>
              <a:gdLst/>
              <a:ahLst/>
              <a:cxnLst/>
              <a:rect l="l" t="t" r="r" b="b"/>
              <a:pathLst>
                <a:path w="801" h="1387" extrusionOk="0">
                  <a:moveTo>
                    <a:pt x="176" y="0"/>
                  </a:moveTo>
                  <a:cubicBezTo>
                    <a:pt x="87" y="0"/>
                    <a:pt x="1" y="69"/>
                    <a:pt x="1" y="173"/>
                  </a:cubicBezTo>
                  <a:lnTo>
                    <a:pt x="1" y="1214"/>
                  </a:lnTo>
                  <a:cubicBezTo>
                    <a:pt x="1" y="1318"/>
                    <a:pt x="87" y="1386"/>
                    <a:pt x="176" y="1386"/>
                  </a:cubicBezTo>
                  <a:cubicBezTo>
                    <a:pt x="218" y="1386"/>
                    <a:pt x="262" y="1371"/>
                    <a:pt x="297" y="1335"/>
                  </a:cubicBezTo>
                  <a:lnTo>
                    <a:pt x="627" y="1006"/>
                  </a:lnTo>
                  <a:cubicBezTo>
                    <a:pt x="800" y="834"/>
                    <a:pt x="800" y="554"/>
                    <a:pt x="627" y="381"/>
                  </a:cubicBezTo>
                  <a:lnTo>
                    <a:pt x="297" y="51"/>
                  </a:lnTo>
                  <a:cubicBezTo>
                    <a:pt x="262" y="16"/>
                    <a:pt x="218" y="0"/>
                    <a:pt x="176" y="0"/>
                  </a:cubicBezTo>
                  <a:close/>
                </a:path>
              </a:pathLst>
            </a:custGeom>
            <a:noFill/>
            <a:ln w="9525" cap="flat" cmpd="sng">
              <a:solidFill>
                <a:srgbClr val="CFD9E0"/>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164" name="Google Shape;1164;p103"/>
            <p:cNvSpPr/>
            <p:nvPr/>
          </p:nvSpPr>
          <p:spPr>
            <a:xfrm>
              <a:off x="4456806" y="2743875"/>
              <a:ext cx="598271" cy="157989"/>
            </a:xfrm>
            <a:custGeom>
              <a:avLst/>
              <a:gdLst/>
              <a:ahLst/>
              <a:cxnLst/>
              <a:rect l="l" t="t" r="r" b="b"/>
              <a:pathLst>
                <a:path w="13250" h="3499" extrusionOk="0">
                  <a:moveTo>
                    <a:pt x="1" y="0"/>
                  </a:moveTo>
                  <a:lnTo>
                    <a:pt x="1495" y="1494"/>
                  </a:lnTo>
                  <a:cubicBezTo>
                    <a:pt x="1635" y="1635"/>
                    <a:pt x="1635" y="1866"/>
                    <a:pt x="1495" y="2007"/>
                  </a:cubicBezTo>
                  <a:lnTo>
                    <a:pt x="2" y="3499"/>
                  </a:lnTo>
                  <a:lnTo>
                    <a:pt x="11527" y="3499"/>
                  </a:lnTo>
                  <a:lnTo>
                    <a:pt x="13250" y="1750"/>
                  </a:lnTo>
                  <a:lnTo>
                    <a:pt x="11527" y="0"/>
                  </a:lnTo>
                  <a:close/>
                </a:path>
              </a:pathLst>
            </a:custGeom>
            <a:noFill/>
            <a:ln w="9525" cap="flat" cmpd="sng">
              <a:solidFill>
                <a:srgbClr val="A5B7C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1165" name="Google Shape;1165;p103"/>
          <p:cNvGrpSpPr/>
          <p:nvPr/>
        </p:nvGrpSpPr>
        <p:grpSpPr>
          <a:xfrm>
            <a:off x="1331499" y="4393867"/>
            <a:ext cx="1082004" cy="336779"/>
            <a:chOff x="4411970" y="4340222"/>
            <a:chExt cx="779467" cy="242683"/>
          </a:xfrm>
        </p:grpSpPr>
        <p:sp>
          <p:nvSpPr>
            <p:cNvPr id="1166" name="Google Shape;1166;p103"/>
            <p:cNvSpPr/>
            <p:nvPr/>
          </p:nvSpPr>
          <p:spPr>
            <a:xfrm>
              <a:off x="4411970" y="4340222"/>
              <a:ext cx="121370" cy="121370"/>
            </a:xfrm>
            <a:custGeom>
              <a:avLst/>
              <a:gdLst/>
              <a:ahLst/>
              <a:cxnLst/>
              <a:rect l="l" t="t" r="r" b="b"/>
              <a:pathLst>
                <a:path w="2688" h="2688" extrusionOk="0">
                  <a:moveTo>
                    <a:pt x="2688" y="1"/>
                  </a:moveTo>
                  <a:cubicBezTo>
                    <a:pt x="1205" y="1"/>
                    <a:pt x="1" y="1203"/>
                    <a:pt x="1" y="2688"/>
                  </a:cubicBezTo>
                  <a:lnTo>
                    <a:pt x="379" y="2688"/>
                  </a:lnTo>
                  <a:cubicBezTo>
                    <a:pt x="379" y="1411"/>
                    <a:pt x="1413" y="379"/>
                    <a:pt x="2688" y="379"/>
                  </a:cubicBezTo>
                  <a:lnTo>
                    <a:pt x="2688" y="1"/>
                  </a:lnTo>
                  <a:close/>
                </a:path>
              </a:pathLst>
            </a:custGeom>
            <a:noFill/>
            <a:ln w="9525" cap="flat" cmpd="sng">
              <a:solidFill>
                <a:srgbClr val="7994A9"/>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167" name="Google Shape;1167;p103"/>
            <p:cNvSpPr/>
            <p:nvPr/>
          </p:nvSpPr>
          <p:spPr>
            <a:xfrm>
              <a:off x="4457032" y="4385284"/>
              <a:ext cx="152661" cy="152615"/>
            </a:xfrm>
            <a:custGeom>
              <a:avLst/>
              <a:gdLst/>
              <a:ahLst/>
              <a:cxnLst/>
              <a:rect l="l" t="t" r="r" b="b"/>
              <a:pathLst>
                <a:path w="3381" h="3380" extrusionOk="0">
                  <a:moveTo>
                    <a:pt x="1690" y="0"/>
                  </a:moveTo>
                  <a:cubicBezTo>
                    <a:pt x="756" y="0"/>
                    <a:pt x="0" y="756"/>
                    <a:pt x="0" y="1690"/>
                  </a:cubicBezTo>
                  <a:cubicBezTo>
                    <a:pt x="0" y="2623"/>
                    <a:pt x="756" y="3379"/>
                    <a:pt x="1690" y="3379"/>
                  </a:cubicBezTo>
                  <a:cubicBezTo>
                    <a:pt x="2623" y="3379"/>
                    <a:pt x="3381" y="2623"/>
                    <a:pt x="3381" y="1690"/>
                  </a:cubicBezTo>
                  <a:cubicBezTo>
                    <a:pt x="3381" y="756"/>
                    <a:pt x="2623" y="0"/>
                    <a:pt x="1690" y="0"/>
                  </a:cubicBezTo>
                  <a:close/>
                </a:path>
              </a:pathLst>
            </a:custGeom>
            <a:noFill/>
            <a:ln w="9525" cap="flat" cmpd="sng">
              <a:solidFill>
                <a:srgbClr val="A5B7C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168" name="Google Shape;1168;p103"/>
            <p:cNvSpPr/>
            <p:nvPr/>
          </p:nvSpPr>
          <p:spPr>
            <a:xfrm>
              <a:off x="4533392" y="4383749"/>
              <a:ext cx="658046" cy="199155"/>
            </a:xfrm>
            <a:custGeom>
              <a:avLst/>
              <a:gdLst/>
              <a:ahLst/>
              <a:cxnLst/>
              <a:rect l="l" t="t" r="r" b="b"/>
              <a:pathLst>
                <a:path w="16511" h="4997" extrusionOk="0">
                  <a:moveTo>
                    <a:pt x="4619" y="1"/>
                  </a:moveTo>
                  <a:cubicBezTo>
                    <a:pt x="3342" y="1"/>
                    <a:pt x="2309" y="1035"/>
                    <a:pt x="2309" y="2310"/>
                  </a:cubicBezTo>
                  <a:cubicBezTo>
                    <a:pt x="2309" y="3586"/>
                    <a:pt x="1275" y="4619"/>
                    <a:pt x="0" y="4619"/>
                  </a:cubicBezTo>
                  <a:lnTo>
                    <a:pt x="0" y="4997"/>
                  </a:lnTo>
                  <a:cubicBezTo>
                    <a:pt x="482" y="4997"/>
                    <a:pt x="958" y="4867"/>
                    <a:pt x="1373" y="4619"/>
                  </a:cubicBezTo>
                  <a:lnTo>
                    <a:pt x="14185" y="4619"/>
                  </a:lnTo>
                  <a:cubicBezTo>
                    <a:pt x="15472" y="4619"/>
                    <a:pt x="16510" y="3567"/>
                    <a:pt x="16494" y="2279"/>
                  </a:cubicBezTo>
                  <a:cubicBezTo>
                    <a:pt x="16478" y="1006"/>
                    <a:pt x="15399" y="1"/>
                    <a:pt x="14126" y="1"/>
                  </a:cubicBezTo>
                  <a:close/>
                </a:path>
              </a:pathLst>
            </a:custGeom>
            <a:noFill/>
            <a:ln w="9525" cap="flat" cmpd="sng">
              <a:solidFill>
                <a:srgbClr val="7994A9"/>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1169" name="Google Shape;1169;p103"/>
          <p:cNvGrpSpPr/>
          <p:nvPr/>
        </p:nvGrpSpPr>
        <p:grpSpPr>
          <a:xfrm>
            <a:off x="2653501" y="3612411"/>
            <a:ext cx="1286880" cy="288307"/>
            <a:chOff x="4411970" y="2468674"/>
            <a:chExt cx="747317" cy="167425"/>
          </a:xfrm>
        </p:grpSpPr>
        <p:sp>
          <p:nvSpPr>
            <p:cNvPr id="1170" name="Google Shape;1170;p103"/>
            <p:cNvSpPr/>
            <p:nvPr/>
          </p:nvSpPr>
          <p:spPr>
            <a:xfrm>
              <a:off x="4411970" y="2468674"/>
              <a:ext cx="216235" cy="167425"/>
            </a:xfrm>
            <a:custGeom>
              <a:avLst/>
              <a:gdLst/>
              <a:ahLst/>
              <a:cxnLst/>
              <a:rect l="l" t="t" r="r" b="b"/>
              <a:pathLst>
                <a:path w="4789" h="3708" extrusionOk="0">
                  <a:moveTo>
                    <a:pt x="1" y="0"/>
                  </a:moveTo>
                  <a:lnTo>
                    <a:pt x="1" y="3707"/>
                  </a:lnTo>
                  <a:lnTo>
                    <a:pt x="3381" y="3707"/>
                  </a:lnTo>
                  <a:lnTo>
                    <a:pt x="4789" y="1853"/>
                  </a:lnTo>
                  <a:lnTo>
                    <a:pt x="3381" y="0"/>
                  </a:lnTo>
                  <a:close/>
                </a:path>
              </a:pathLst>
            </a:custGeom>
            <a:noFill/>
            <a:ln w="9525" cap="flat" cmpd="sng">
              <a:solidFill>
                <a:srgbClr val="A5B7C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171" name="Google Shape;1171;p103"/>
            <p:cNvSpPr/>
            <p:nvPr/>
          </p:nvSpPr>
          <p:spPr>
            <a:xfrm>
              <a:off x="4564629" y="2468674"/>
              <a:ext cx="594658" cy="167425"/>
            </a:xfrm>
            <a:custGeom>
              <a:avLst/>
              <a:gdLst/>
              <a:ahLst/>
              <a:cxnLst/>
              <a:rect l="l" t="t" r="r" b="b"/>
              <a:pathLst>
                <a:path w="13170" h="3708" extrusionOk="0">
                  <a:moveTo>
                    <a:pt x="0" y="0"/>
                  </a:moveTo>
                  <a:lnTo>
                    <a:pt x="1408" y="1853"/>
                  </a:lnTo>
                  <a:lnTo>
                    <a:pt x="0" y="3707"/>
                  </a:lnTo>
                  <a:lnTo>
                    <a:pt x="13169" y="3707"/>
                  </a:lnTo>
                  <a:lnTo>
                    <a:pt x="13169" y="0"/>
                  </a:lnTo>
                  <a:close/>
                </a:path>
              </a:pathLst>
            </a:custGeom>
            <a:noFill/>
            <a:ln w="9525" cap="flat" cmpd="sng">
              <a:solidFill>
                <a:srgbClr val="667E92"/>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sp>
        <p:nvSpPr>
          <p:cNvPr id="1172" name="Google Shape;1172;p103"/>
          <p:cNvSpPr/>
          <p:nvPr/>
        </p:nvSpPr>
        <p:spPr>
          <a:xfrm>
            <a:off x="1329165" y="4018786"/>
            <a:ext cx="1080824" cy="257311"/>
          </a:xfrm>
          <a:custGeom>
            <a:avLst/>
            <a:gdLst/>
            <a:ahLst/>
            <a:cxnLst/>
            <a:rect l="l" t="t" r="r" b="b"/>
            <a:pathLst>
              <a:path w="17936" h="4270" extrusionOk="0">
                <a:moveTo>
                  <a:pt x="2303" y="1110"/>
                </a:moveTo>
                <a:cubicBezTo>
                  <a:pt x="2883" y="1110"/>
                  <a:pt x="3355" y="1569"/>
                  <a:pt x="3355" y="2135"/>
                </a:cubicBezTo>
                <a:cubicBezTo>
                  <a:pt x="3353" y="2716"/>
                  <a:pt x="2883" y="3187"/>
                  <a:pt x="2303" y="3187"/>
                </a:cubicBezTo>
                <a:cubicBezTo>
                  <a:pt x="1722" y="3187"/>
                  <a:pt x="1251" y="2716"/>
                  <a:pt x="1251" y="2135"/>
                </a:cubicBezTo>
                <a:cubicBezTo>
                  <a:pt x="1251" y="1569"/>
                  <a:pt x="1722" y="1110"/>
                  <a:pt x="2303" y="1110"/>
                </a:cubicBezTo>
                <a:close/>
                <a:moveTo>
                  <a:pt x="2304" y="0"/>
                </a:moveTo>
                <a:cubicBezTo>
                  <a:pt x="1748" y="0"/>
                  <a:pt x="1201" y="218"/>
                  <a:pt x="793" y="626"/>
                </a:cubicBezTo>
                <a:cubicBezTo>
                  <a:pt x="183" y="1236"/>
                  <a:pt x="0" y="2154"/>
                  <a:pt x="330" y="2951"/>
                </a:cubicBezTo>
                <a:cubicBezTo>
                  <a:pt x="662" y="3749"/>
                  <a:pt x="1438" y="4269"/>
                  <a:pt x="2303" y="4269"/>
                </a:cubicBezTo>
                <a:cubicBezTo>
                  <a:pt x="3481" y="4269"/>
                  <a:pt x="4436" y="3313"/>
                  <a:pt x="4436" y="2135"/>
                </a:cubicBezTo>
                <a:lnTo>
                  <a:pt x="4436" y="3254"/>
                </a:lnTo>
                <a:cubicBezTo>
                  <a:pt x="4436" y="3814"/>
                  <a:pt x="4891" y="4269"/>
                  <a:pt x="5451" y="4269"/>
                </a:cubicBezTo>
                <a:lnTo>
                  <a:pt x="17600" y="4269"/>
                </a:lnTo>
                <a:cubicBezTo>
                  <a:pt x="17785" y="4269"/>
                  <a:pt x="17935" y="4119"/>
                  <a:pt x="17935" y="3936"/>
                </a:cubicBezTo>
                <a:lnTo>
                  <a:pt x="17935" y="333"/>
                </a:lnTo>
                <a:cubicBezTo>
                  <a:pt x="17934" y="149"/>
                  <a:pt x="17785" y="0"/>
                  <a:pt x="17602" y="0"/>
                </a:cubicBezTo>
                <a:lnTo>
                  <a:pt x="5451" y="0"/>
                </a:lnTo>
                <a:cubicBezTo>
                  <a:pt x="4891" y="0"/>
                  <a:pt x="4437" y="453"/>
                  <a:pt x="4437" y="1014"/>
                </a:cubicBezTo>
                <a:lnTo>
                  <a:pt x="4437" y="2133"/>
                </a:lnTo>
                <a:cubicBezTo>
                  <a:pt x="4436" y="1270"/>
                  <a:pt x="3915" y="492"/>
                  <a:pt x="3118" y="162"/>
                </a:cubicBezTo>
                <a:cubicBezTo>
                  <a:pt x="2855" y="53"/>
                  <a:pt x="2578" y="0"/>
                  <a:pt x="2304" y="0"/>
                </a:cubicBezTo>
                <a:close/>
              </a:path>
            </a:pathLst>
          </a:custGeom>
          <a:noFill/>
          <a:ln w="9525" cap="flat" cmpd="sng">
            <a:solidFill>
              <a:srgbClr val="445D73"/>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nvGrpSpPr>
          <p:cNvPr id="1173" name="Google Shape;1173;p103"/>
          <p:cNvGrpSpPr/>
          <p:nvPr/>
        </p:nvGrpSpPr>
        <p:grpSpPr>
          <a:xfrm>
            <a:off x="1330257" y="3112916"/>
            <a:ext cx="2612055" cy="278379"/>
            <a:chOff x="6336019" y="3733725"/>
            <a:chExt cx="2566206" cy="351310"/>
          </a:xfrm>
        </p:grpSpPr>
        <p:sp>
          <p:nvSpPr>
            <p:cNvPr id="1174" name="Google Shape;1174;p103"/>
            <p:cNvSpPr/>
            <p:nvPr/>
          </p:nvSpPr>
          <p:spPr>
            <a:xfrm>
              <a:off x="6336019" y="3733735"/>
              <a:ext cx="1881300" cy="351300"/>
            </a:xfrm>
            <a:prstGeom prst="homePlate">
              <a:avLst>
                <a:gd name="adj" fmla="val 50000"/>
              </a:avLst>
            </a:prstGeom>
            <a:noFill/>
            <a:ln w="9525" cap="flat" cmpd="sng">
              <a:solidFill>
                <a:srgbClr val="869FB2"/>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175" name="Google Shape;1175;p103"/>
            <p:cNvSpPr/>
            <p:nvPr/>
          </p:nvSpPr>
          <p:spPr>
            <a:xfrm>
              <a:off x="8098525" y="3733725"/>
              <a:ext cx="346500" cy="351300"/>
            </a:xfrm>
            <a:prstGeom prst="chevron">
              <a:avLst>
                <a:gd name="adj" fmla="val 50000"/>
              </a:avLst>
            </a:prstGeom>
            <a:noFill/>
            <a:ln w="9525" cap="flat" cmpd="sng">
              <a:solidFill>
                <a:srgbClr val="869FB2"/>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176" name="Google Shape;1176;p103"/>
            <p:cNvSpPr/>
            <p:nvPr/>
          </p:nvSpPr>
          <p:spPr>
            <a:xfrm>
              <a:off x="8327125" y="3733725"/>
              <a:ext cx="346500" cy="351300"/>
            </a:xfrm>
            <a:prstGeom prst="chevron">
              <a:avLst>
                <a:gd name="adj" fmla="val 50000"/>
              </a:avLst>
            </a:prstGeom>
            <a:noFill/>
            <a:ln w="9525" cap="flat" cmpd="sng">
              <a:solidFill>
                <a:srgbClr val="869FB2"/>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177" name="Google Shape;1177;p103"/>
            <p:cNvSpPr/>
            <p:nvPr/>
          </p:nvSpPr>
          <p:spPr>
            <a:xfrm>
              <a:off x="8555725" y="3733725"/>
              <a:ext cx="346500" cy="351300"/>
            </a:xfrm>
            <a:prstGeom prst="chevron">
              <a:avLst>
                <a:gd name="adj" fmla="val 50000"/>
              </a:avLst>
            </a:prstGeom>
            <a:noFill/>
            <a:ln w="9525" cap="flat" cmpd="sng">
              <a:solidFill>
                <a:srgbClr val="869FB2"/>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1178" name="Google Shape;1178;p103"/>
          <p:cNvGrpSpPr/>
          <p:nvPr/>
        </p:nvGrpSpPr>
        <p:grpSpPr>
          <a:xfrm>
            <a:off x="2653502" y="5267469"/>
            <a:ext cx="1262068" cy="204267"/>
            <a:chOff x="4404545" y="3301592"/>
            <a:chExt cx="782403" cy="129272"/>
          </a:xfrm>
        </p:grpSpPr>
        <p:sp>
          <p:nvSpPr>
            <p:cNvPr id="1179" name="Google Shape;1179;p103"/>
            <p:cNvSpPr/>
            <p:nvPr/>
          </p:nvSpPr>
          <p:spPr>
            <a:xfrm>
              <a:off x="4404545" y="3301592"/>
              <a:ext cx="782403" cy="129272"/>
            </a:xfrm>
            <a:custGeom>
              <a:avLst/>
              <a:gdLst/>
              <a:ahLst/>
              <a:cxnLst/>
              <a:rect l="l" t="t" r="r" b="b"/>
              <a:pathLst>
                <a:path w="17328" h="2863" extrusionOk="0">
                  <a:moveTo>
                    <a:pt x="1432" y="1"/>
                  </a:moveTo>
                  <a:cubicBezTo>
                    <a:pt x="641" y="1"/>
                    <a:pt x="1" y="641"/>
                    <a:pt x="2" y="1431"/>
                  </a:cubicBezTo>
                  <a:cubicBezTo>
                    <a:pt x="1" y="2222"/>
                    <a:pt x="641" y="2861"/>
                    <a:pt x="1432" y="2862"/>
                  </a:cubicBezTo>
                  <a:lnTo>
                    <a:pt x="15897" y="2862"/>
                  </a:lnTo>
                  <a:cubicBezTo>
                    <a:pt x="16687" y="2861"/>
                    <a:pt x="17327" y="2222"/>
                    <a:pt x="17327" y="1431"/>
                  </a:cubicBezTo>
                  <a:cubicBezTo>
                    <a:pt x="17327" y="641"/>
                    <a:pt x="16687" y="1"/>
                    <a:pt x="15897" y="1"/>
                  </a:cubicBezTo>
                  <a:close/>
                </a:path>
              </a:pathLst>
            </a:custGeom>
            <a:noFill/>
            <a:ln w="9525" cap="flat" cmpd="sng">
              <a:solidFill>
                <a:srgbClr val="E3E9ED"/>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180" name="Google Shape;1180;p103"/>
            <p:cNvSpPr/>
            <p:nvPr/>
          </p:nvSpPr>
          <p:spPr>
            <a:xfrm>
              <a:off x="4420869" y="3318308"/>
              <a:ext cx="92621" cy="95856"/>
            </a:xfrm>
            <a:custGeom>
              <a:avLst/>
              <a:gdLst/>
              <a:ahLst/>
              <a:cxnLst/>
              <a:rect l="l" t="t" r="r" b="b"/>
              <a:pathLst>
                <a:path w="2664" h="2563" extrusionOk="0">
                  <a:moveTo>
                    <a:pt x="1382" y="1"/>
                  </a:moveTo>
                  <a:cubicBezTo>
                    <a:pt x="864" y="1"/>
                    <a:pt x="398" y="313"/>
                    <a:pt x="199" y="792"/>
                  </a:cubicBezTo>
                  <a:cubicBezTo>
                    <a:pt x="0" y="1270"/>
                    <a:pt x="109" y="1821"/>
                    <a:pt x="476" y="2188"/>
                  </a:cubicBezTo>
                  <a:cubicBezTo>
                    <a:pt x="721" y="2433"/>
                    <a:pt x="1048" y="2563"/>
                    <a:pt x="1381" y="2563"/>
                  </a:cubicBezTo>
                  <a:cubicBezTo>
                    <a:pt x="1547" y="2563"/>
                    <a:pt x="1713" y="2531"/>
                    <a:pt x="1872" y="2465"/>
                  </a:cubicBezTo>
                  <a:cubicBezTo>
                    <a:pt x="2351" y="2268"/>
                    <a:pt x="2663" y="1800"/>
                    <a:pt x="2663" y="1282"/>
                  </a:cubicBezTo>
                  <a:cubicBezTo>
                    <a:pt x="2663" y="574"/>
                    <a:pt x="2090" y="1"/>
                    <a:pt x="1382" y="1"/>
                  </a:cubicBezTo>
                  <a:close/>
                </a:path>
              </a:pathLst>
            </a:custGeom>
            <a:noFill/>
            <a:ln w="9525" cap="flat" cmpd="sng">
              <a:solidFill>
                <a:srgbClr val="869FB2"/>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1181" name="Google Shape;1181;p103"/>
          <p:cNvGrpSpPr/>
          <p:nvPr/>
        </p:nvGrpSpPr>
        <p:grpSpPr>
          <a:xfrm>
            <a:off x="2653502" y="4927917"/>
            <a:ext cx="1283009" cy="185503"/>
            <a:chOff x="4411970" y="3131459"/>
            <a:chExt cx="710520" cy="117397"/>
          </a:xfrm>
        </p:grpSpPr>
        <p:sp>
          <p:nvSpPr>
            <p:cNvPr id="1182" name="Google Shape;1182;p103"/>
            <p:cNvSpPr/>
            <p:nvPr/>
          </p:nvSpPr>
          <p:spPr>
            <a:xfrm>
              <a:off x="4411970" y="3131459"/>
              <a:ext cx="710520" cy="117397"/>
            </a:xfrm>
            <a:custGeom>
              <a:avLst/>
              <a:gdLst/>
              <a:ahLst/>
              <a:cxnLst/>
              <a:rect l="l" t="t" r="r" b="b"/>
              <a:pathLst>
                <a:path w="15736" h="2600" extrusionOk="0">
                  <a:moveTo>
                    <a:pt x="201" y="1"/>
                  </a:moveTo>
                  <a:cubicBezTo>
                    <a:pt x="90" y="1"/>
                    <a:pt x="1" y="90"/>
                    <a:pt x="1" y="201"/>
                  </a:cubicBezTo>
                  <a:lnTo>
                    <a:pt x="1" y="2400"/>
                  </a:lnTo>
                  <a:cubicBezTo>
                    <a:pt x="1" y="2510"/>
                    <a:pt x="90" y="2600"/>
                    <a:pt x="201" y="2600"/>
                  </a:cubicBezTo>
                  <a:lnTo>
                    <a:pt x="15537" y="2600"/>
                  </a:lnTo>
                  <a:cubicBezTo>
                    <a:pt x="15646" y="2600"/>
                    <a:pt x="15735" y="2510"/>
                    <a:pt x="15735" y="2400"/>
                  </a:cubicBezTo>
                  <a:lnTo>
                    <a:pt x="15735" y="201"/>
                  </a:lnTo>
                  <a:cubicBezTo>
                    <a:pt x="15735" y="90"/>
                    <a:pt x="15646" y="1"/>
                    <a:pt x="15537" y="1"/>
                  </a:cubicBezTo>
                  <a:close/>
                </a:path>
              </a:pathLst>
            </a:custGeom>
            <a:noFill/>
            <a:ln w="9525" cap="flat" cmpd="sng">
              <a:solidFill>
                <a:srgbClr val="667E92"/>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183" name="Google Shape;1183;p103"/>
            <p:cNvSpPr/>
            <p:nvPr/>
          </p:nvSpPr>
          <p:spPr>
            <a:xfrm>
              <a:off x="4411970" y="3131459"/>
              <a:ext cx="168012" cy="117397"/>
            </a:xfrm>
            <a:custGeom>
              <a:avLst/>
              <a:gdLst/>
              <a:ahLst/>
              <a:cxnLst/>
              <a:rect l="l" t="t" r="r" b="b"/>
              <a:pathLst>
                <a:path w="3721" h="2600" extrusionOk="0">
                  <a:moveTo>
                    <a:pt x="201" y="1"/>
                  </a:moveTo>
                  <a:cubicBezTo>
                    <a:pt x="90" y="1"/>
                    <a:pt x="1" y="90"/>
                    <a:pt x="1" y="201"/>
                  </a:cubicBezTo>
                  <a:lnTo>
                    <a:pt x="1" y="2400"/>
                  </a:lnTo>
                  <a:cubicBezTo>
                    <a:pt x="1" y="2510"/>
                    <a:pt x="90" y="2600"/>
                    <a:pt x="201" y="2600"/>
                  </a:cubicBezTo>
                  <a:lnTo>
                    <a:pt x="3721" y="2600"/>
                  </a:lnTo>
                  <a:lnTo>
                    <a:pt x="2925" y="1693"/>
                  </a:lnTo>
                  <a:lnTo>
                    <a:pt x="2925" y="1"/>
                  </a:lnTo>
                  <a:close/>
                </a:path>
              </a:pathLst>
            </a:custGeom>
            <a:noFill/>
            <a:ln w="9525" cap="flat" cmpd="sng">
              <a:solidFill>
                <a:srgbClr val="A5B7C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sp>
        <p:nvSpPr>
          <p:cNvPr id="1184" name="Google Shape;1184;p103" descr="Timeline background shape"/>
          <p:cNvSpPr/>
          <p:nvPr/>
        </p:nvSpPr>
        <p:spPr>
          <a:xfrm>
            <a:off x="2653501" y="5625788"/>
            <a:ext cx="1280400" cy="204000"/>
          </a:xfrm>
          <a:prstGeom prst="homePlate">
            <a:avLst>
              <a:gd name="adj" fmla="val 50000"/>
            </a:avLst>
          </a:prstGeom>
          <a:noFill/>
          <a:ln w="9525" cap="flat" cmpd="sng">
            <a:solidFill>
              <a:srgbClr val="667E92"/>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nvGrpSpPr>
          <p:cNvPr id="1185" name="Google Shape;1185;p103"/>
          <p:cNvGrpSpPr/>
          <p:nvPr/>
        </p:nvGrpSpPr>
        <p:grpSpPr>
          <a:xfrm>
            <a:off x="1320361" y="4828804"/>
            <a:ext cx="1098451" cy="611984"/>
            <a:chOff x="4411970" y="1801825"/>
            <a:chExt cx="734586" cy="409262"/>
          </a:xfrm>
        </p:grpSpPr>
        <p:sp>
          <p:nvSpPr>
            <p:cNvPr id="1186" name="Google Shape;1186;p103"/>
            <p:cNvSpPr/>
            <p:nvPr/>
          </p:nvSpPr>
          <p:spPr>
            <a:xfrm>
              <a:off x="4411970" y="1801825"/>
              <a:ext cx="734586" cy="409262"/>
            </a:xfrm>
            <a:custGeom>
              <a:avLst/>
              <a:gdLst/>
              <a:ahLst/>
              <a:cxnLst/>
              <a:rect l="l" t="t" r="r" b="b"/>
              <a:pathLst>
                <a:path w="16269" h="9064" extrusionOk="0">
                  <a:moveTo>
                    <a:pt x="428" y="0"/>
                  </a:moveTo>
                  <a:cubicBezTo>
                    <a:pt x="193" y="0"/>
                    <a:pt x="2" y="191"/>
                    <a:pt x="2" y="428"/>
                  </a:cubicBezTo>
                  <a:lnTo>
                    <a:pt x="2" y="6900"/>
                  </a:lnTo>
                  <a:cubicBezTo>
                    <a:pt x="1" y="7136"/>
                    <a:pt x="193" y="7328"/>
                    <a:pt x="428" y="7328"/>
                  </a:cubicBezTo>
                  <a:lnTo>
                    <a:pt x="12834" y="7328"/>
                  </a:lnTo>
                  <a:lnTo>
                    <a:pt x="13836" y="9064"/>
                  </a:lnTo>
                  <a:lnTo>
                    <a:pt x="14839" y="7328"/>
                  </a:lnTo>
                  <a:lnTo>
                    <a:pt x="15839" y="7328"/>
                  </a:lnTo>
                  <a:cubicBezTo>
                    <a:pt x="16076" y="7328"/>
                    <a:pt x="16269" y="7137"/>
                    <a:pt x="16269" y="6900"/>
                  </a:cubicBezTo>
                  <a:lnTo>
                    <a:pt x="16269" y="428"/>
                  </a:lnTo>
                  <a:cubicBezTo>
                    <a:pt x="16267" y="191"/>
                    <a:pt x="16076" y="0"/>
                    <a:pt x="15839" y="0"/>
                  </a:cubicBezTo>
                  <a:close/>
                </a:path>
              </a:pathLst>
            </a:custGeom>
            <a:noFill/>
            <a:ln w="9525" cap="flat" cmpd="sng">
              <a:solidFill>
                <a:srgbClr val="B3C3CE"/>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187" name="Google Shape;1187;p103"/>
            <p:cNvSpPr/>
            <p:nvPr/>
          </p:nvSpPr>
          <p:spPr>
            <a:xfrm>
              <a:off x="4411970" y="1801825"/>
              <a:ext cx="184087" cy="330923"/>
            </a:xfrm>
            <a:custGeom>
              <a:avLst/>
              <a:gdLst/>
              <a:ahLst/>
              <a:cxnLst/>
              <a:rect l="l" t="t" r="r" b="b"/>
              <a:pathLst>
                <a:path w="4077" h="7329" extrusionOk="0">
                  <a:moveTo>
                    <a:pt x="428" y="0"/>
                  </a:moveTo>
                  <a:cubicBezTo>
                    <a:pt x="193" y="0"/>
                    <a:pt x="2" y="191"/>
                    <a:pt x="2" y="428"/>
                  </a:cubicBezTo>
                  <a:lnTo>
                    <a:pt x="2" y="6900"/>
                  </a:lnTo>
                  <a:cubicBezTo>
                    <a:pt x="1" y="7136"/>
                    <a:pt x="193" y="7328"/>
                    <a:pt x="428" y="7328"/>
                  </a:cubicBezTo>
                  <a:lnTo>
                    <a:pt x="4076" y="7328"/>
                  </a:lnTo>
                  <a:lnTo>
                    <a:pt x="4076" y="0"/>
                  </a:lnTo>
                  <a:close/>
                </a:path>
              </a:pathLst>
            </a:custGeom>
            <a:noFill/>
            <a:ln w="9525" cap="flat" cmpd="sng">
              <a:solidFill>
                <a:srgbClr val="667E92"/>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1188" name="Google Shape;1188;p103"/>
          <p:cNvGrpSpPr/>
          <p:nvPr/>
        </p:nvGrpSpPr>
        <p:grpSpPr>
          <a:xfrm>
            <a:off x="4126991" y="3118897"/>
            <a:ext cx="695352" cy="695352"/>
            <a:chOff x="5681300" y="2527788"/>
            <a:chExt cx="805800" cy="805800"/>
          </a:xfrm>
        </p:grpSpPr>
        <p:sp>
          <p:nvSpPr>
            <p:cNvPr id="1189" name="Google Shape;1189;p103"/>
            <p:cNvSpPr/>
            <p:nvPr/>
          </p:nvSpPr>
          <p:spPr>
            <a:xfrm>
              <a:off x="5681300" y="2527788"/>
              <a:ext cx="805800" cy="805800"/>
            </a:xfrm>
            <a:prstGeom prst="ellipse">
              <a:avLst/>
            </a:prstGeom>
            <a:noFill/>
            <a:ln w="9525" cap="flat" cmpd="sng">
              <a:solidFill>
                <a:srgbClr val="374957"/>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190" name="Google Shape;1190;p103"/>
            <p:cNvSpPr/>
            <p:nvPr/>
          </p:nvSpPr>
          <p:spPr>
            <a:xfrm>
              <a:off x="5681300" y="2527788"/>
              <a:ext cx="805800" cy="805800"/>
            </a:xfrm>
            <a:prstGeom prst="pie">
              <a:avLst>
                <a:gd name="adj1" fmla="val 0"/>
                <a:gd name="adj2" fmla="val 16200000"/>
              </a:avLst>
            </a:prstGeom>
            <a:solidFill>
              <a:srgbClr val="667E92"/>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1191" name="Google Shape;1191;p103"/>
          <p:cNvGrpSpPr/>
          <p:nvPr/>
        </p:nvGrpSpPr>
        <p:grpSpPr>
          <a:xfrm>
            <a:off x="4119311" y="4126487"/>
            <a:ext cx="710711" cy="710711"/>
            <a:chOff x="4049800" y="640400"/>
            <a:chExt cx="858900" cy="858900"/>
          </a:xfrm>
        </p:grpSpPr>
        <p:sp>
          <p:nvSpPr>
            <p:cNvPr id="1192" name="Google Shape;1192;p103"/>
            <p:cNvSpPr/>
            <p:nvPr/>
          </p:nvSpPr>
          <p:spPr>
            <a:xfrm>
              <a:off x="4049800" y="640400"/>
              <a:ext cx="858900" cy="858900"/>
            </a:xfrm>
            <a:prstGeom prst="donut">
              <a:avLst>
                <a:gd name="adj" fmla="val 25000"/>
              </a:avLst>
            </a:prstGeom>
            <a:noFill/>
            <a:ln w="9525" cap="flat" cmpd="sng">
              <a:solidFill>
                <a:srgbClr val="667E92"/>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193" name="Google Shape;1193;p103"/>
            <p:cNvSpPr/>
            <p:nvPr/>
          </p:nvSpPr>
          <p:spPr>
            <a:xfrm>
              <a:off x="4049800" y="640400"/>
              <a:ext cx="858900" cy="858900"/>
            </a:xfrm>
            <a:prstGeom prst="blockArc">
              <a:avLst>
                <a:gd name="adj1" fmla="val 7914150"/>
                <a:gd name="adj2" fmla="val 0"/>
                <a:gd name="adj3" fmla="val 25000"/>
              </a:avLst>
            </a:prstGeom>
            <a:solidFill>
              <a:srgbClr val="667E92"/>
            </a:solidFill>
            <a:ln w="9525" cap="flat" cmpd="sng">
              <a:solidFill>
                <a:srgbClr val="667E92"/>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1194" name="Google Shape;1194;p103"/>
          <p:cNvGrpSpPr/>
          <p:nvPr/>
        </p:nvGrpSpPr>
        <p:grpSpPr>
          <a:xfrm>
            <a:off x="4019955" y="5030057"/>
            <a:ext cx="909424" cy="909424"/>
            <a:chOff x="5080188" y="927900"/>
            <a:chExt cx="961200" cy="961200"/>
          </a:xfrm>
        </p:grpSpPr>
        <p:sp>
          <p:nvSpPr>
            <p:cNvPr id="1195" name="Google Shape;1195;p103"/>
            <p:cNvSpPr/>
            <p:nvPr/>
          </p:nvSpPr>
          <p:spPr>
            <a:xfrm>
              <a:off x="5201900" y="1050116"/>
              <a:ext cx="716700" cy="716700"/>
            </a:xfrm>
            <a:prstGeom prst="donut">
              <a:avLst>
                <a:gd name="adj" fmla="val 4716"/>
              </a:avLst>
            </a:prstGeom>
            <a:noFill/>
            <a:ln w="9525" cap="flat" cmpd="sng">
              <a:solidFill>
                <a:srgbClr val="667E92"/>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196" name="Google Shape;1196;p103"/>
            <p:cNvSpPr/>
            <p:nvPr/>
          </p:nvSpPr>
          <p:spPr>
            <a:xfrm>
              <a:off x="5269594" y="1117818"/>
              <a:ext cx="581100" cy="581100"/>
            </a:xfrm>
            <a:prstGeom prst="donut">
              <a:avLst>
                <a:gd name="adj" fmla="val 5814"/>
              </a:avLst>
            </a:prstGeom>
            <a:noFill/>
            <a:ln w="9525" cap="flat" cmpd="sng">
              <a:solidFill>
                <a:srgbClr val="667E92"/>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197" name="Google Shape;1197;p103"/>
            <p:cNvSpPr/>
            <p:nvPr/>
          </p:nvSpPr>
          <p:spPr>
            <a:xfrm>
              <a:off x="5339279" y="1187526"/>
              <a:ext cx="441900" cy="441600"/>
            </a:xfrm>
            <a:prstGeom prst="donut">
              <a:avLst>
                <a:gd name="adj" fmla="val 7648"/>
              </a:avLst>
            </a:prstGeom>
            <a:noFill/>
            <a:ln w="9525" cap="flat" cmpd="sng">
              <a:solidFill>
                <a:srgbClr val="667E92"/>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198" name="Google Shape;1198;p103"/>
            <p:cNvSpPr/>
            <p:nvPr/>
          </p:nvSpPr>
          <p:spPr>
            <a:xfrm>
              <a:off x="5414892" y="1263155"/>
              <a:ext cx="290700" cy="290700"/>
            </a:xfrm>
            <a:prstGeom prst="donut">
              <a:avLst>
                <a:gd name="adj" fmla="val 10182"/>
              </a:avLst>
            </a:prstGeom>
            <a:noFill/>
            <a:ln w="9525" cap="flat" cmpd="sng">
              <a:solidFill>
                <a:srgbClr val="667E92"/>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199" name="Google Shape;1199;p103"/>
            <p:cNvSpPr/>
            <p:nvPr/>
          </p:nvSpPr>
          <p:spPr>
            <a:xfrm rot="-3809958">
              <a:off x="5202435" y="1050148"/>
              <a:ext cx="716705" cy="716705"/>
            </a:xfrm>
            <a:prstGeom prst="blockArc">
              <a:avLst>
                <a:gd name="adj1" fmla="val 5266439"/>
                <a:gd name="adj2" fmla="val 19995741"/>
                <a:gd name="adj3" fmla="val 4692"/>
              </a:avLst>
            </a:prstGeom>
            <a:solidFill>
              <a:srgbClr val="E3E9ED"/>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200" name="Google Shape;1200;p103"/>
            <p:cNvSpPr/>
            <p:nvPr/>
          </p:nvSpPr>
          <p:spPr>
            <a:xfrm rot="-3906059">
              <a:off x="5269616" y="1117617"/>
              <a:ext cx="581445" cy="581445"/>
            </a:xfrm>
            <a:prstGeom prst="blockArc">
              <a:avLst>
                <a:gd name="adj1" fmla="val 3085776"/>
                <a:gd name="adj2" fmla="val 20100839"/>
                <a:gd name="adj3" fmla="val 5564"/>
              </a:avLst>
            </a:prstGeom>
            <a:solidFill>
              <a:srgbClr val="E3E9ED"/>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201" name="Google Shape;1201;p103"/>
            <p:cNvSpPr/>
            <p:nvPr/>
          </p:nvSpPr>
          <p:spPr>
            <a:xfrm rot="-4222340">
              <a:off x="5339825" y="1187386"/>
              <a:ext cx="442087" cy="442087"/>
            </a:xfrm>
            <a:prstGeom prst="blockArc">
              <a:avLst>
                <a:gd name="adj1" fmla="val 8884448"/>
                <a:gd name="adj2" fmla="val 20414899"/>
                <a:gd name="adj3" fmla="val 7688"/>
              </a:avLst>
            </a:prstGeom>
            <a:solidFill>
              <a:srgbClr val="E3E9ED"/>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202" name="Google Shape;1202;p103"/>
            <p:cNvSpPr/>
            <p:nvPr/>
          </p:nvSpPr>
          <p:spPr>
            <a:xfrm rot="-4538880">
              <a:off x="5414922" y="1262925"/>
              <a:ext cx="290465" cy="290465"/>
            </a:xfrm>
            <a:prstGeom prst="blockArc">
              <a:avLst>
                <a:gd name="adj1" fmla="val 6490304"/>
                <a:gd name="adj2" fmla="val 20700625"/>
                <a:gd name="adj3" fmla="val 10156"/>
              </a:avLst>
            </a:prstGeom>
            <a:solidFill>
              <a:srgbClr val="E3E9ED"/>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1203" name="Google Shape;1203;p103"/>
          <p:cNvGrpSpPr/>
          <p:nvPr/>
        </p:nvGrpSpPr>
        <p:grpSpPr>
          <a:xfrm>
            <a:off x="5971287" y="5158979"/>
            <a:ext cx="674200" cy="672008"/>
            <a:chOff x="6039282" y="1042577"/>
            <a:chExt cx="734315" cy="731929"/>
          </a:xfrm>
        </p:grpSpPr>
        <p:sp>
          <p:nvSpPr>
            <p:cNvPr id="1204" name="Google Shape;1204;p103"/>
            <p:cNvSpPr/>
            <p:nvPr/>
          </p:nvSpPr>
          <p:spPr>
            <a:xfrm>
              <a:off x="6045348" y="1300071"/>
              <a:ext cx="131951" cy="65352"/>
            </a:xfrm>
            <a:custGeom>
              <a:avLst/>
              <a:gdLst/>
              <a:ahLst/>
              <a:cxnLst/>
              <a:rect l="l" t="t" r="r" b="b"/>
              <a:pathLst>
                <a:path w="1414" h="701" extrusionOk="0">
                  <a:moveTo>
                    <a:pt x="108" y="0"/>
                  </a:moveTo>
                  <a:lnTo>
                    <a:pt x="51" y="224"/>
                  </a:lnTo>
                  <a:cubicBezTo>
                    <a:pt x="29" y="303"/>
                    <a:pt x="7" y="375"/>
                    <a:pt x="0" y="455"/>
                  </a:cubicBezTo>
                  <a:lnTo>
                    <a:pt x="1342" y="700"/>
                  </a:lnTo>
                  <a:cubicBezTo>
                    <a:pt x="1349" y="650"/>
                    <a:pt x="1363" y="599"/>
                    <a:pt x="1378" y="549"/>
                  </a:cubicBezTo>
                  <a:lnTo>
                    <a:pt x="1414" y="397"/>
                  </a:lnTo>
                  <a:lnTo>
                    <a:pt x="108" y="0"/>
                  </a:lnTo>
                  <a:close/>
                </a:path>
              </a:pathLst>
            </a:custGeom>
            <a:solidFill>
              <a:srgbClr val="5F7D95"/>
            </a:solid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205" name="Google Shape;1205;p103"/>
            <p:cNvSpPr/>
            <p:nvPr/>
          </p:nvSpPr>
          <p:spPr>
            <a:xfrm>
              <a:off x="6080342" y="1201250"/>
              <a:ext cx="127938" cy="96863"/>
            </a:xfrm>
            <a:custGeom>
              <a:avLst/>
              <a:gdLst/>
              <a:ahLst/>
              <a:cxnLst/>
              <a:rect l="l" t="t" r="r" b="b"/>
              <a:pathLst>
                <a:path w="1371" h="1039" extrusionOk="0">
                  <a:moveTo>
                    <a:pt x="245" y="0"/>
                  </a:moveTo>
                  <a:cubicBezTo>
                    <a:pt x="159" y="137"/>
                    <a:pt x="72" y="267"/>
                    <a:pt x="0" y="404"/>
                  </a:cubicBezTo>
                  <a:lnTo>
                    <a:pt x="1219" y="1039"/>
                  </a:lnTo>
                  <a:cubicBezTo>
                    <a:pt x="1262" y="945"/>
                    <a:pt x="1320" y="866"/>
                    <a:pt x="1371" y="772"/>
                  </a:cubicBezTo>
                  <a:lnTo>
                    <a:pt x="245" y="0"/>
                  </a:lnTo>
                  <a:close/>
                </a:path>
              </a:pathLst>
            </a:custGeom>
            <a:solidFill>
              <a:srgbClr val="5F7D95"/>
            </a:solid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206" name="Google Shape;1206;p103"/>
            <p:cNvSpPr/>
            <p:nvPr/>
          </p:nvSpPr>
          <p:spPr>
            <a:xfrm>
              <a:off x="6144918" y="1121167"/>
              <a:ext cx="112541" cy="119145"/>
            </a:xfrm>
            <a:custGeom>
              <a:avLst/>
              <a:gdLst/>
              <a:ahLst/>
              <a:cxnLst/>
              <a:rect l="l" t="t" r="r" b="b"/>
              <a:pathLst>
                <a:path w="1206" h="1278" extrusionOk="0">
                  <a:moveTo>
                    <a:pt x="347" y="1"/>
                  </a:moveTo>
                  <a:cubicBezTo>
                    <a:pt x="224" y="95"/>
                    <a:pt x="116" y="210"/>
                    <a:pt x="1" y="318"/>
                  </a:cubicBezTo>
                  <a:lnTo>
                    <a:pt x="974" y="1278"/>
                  </a:lnTo>
                  <a:cubicBezTo>
                    <a:pt x="1046" y="1205"/>
                    <a:pt x="1126" y="1133"/>
                    <a:pt x="1205" y="1068"/>
                  </a:cubicBezTo>
                  <a:lnTo>
                    <a:pt x="347" y="1"/>
                  </a:lnTo>
                  <a:close/>
                </a:path>
              </a:pathLst>
            </a:custGeom>
            <a:solidFill>
              <a:srgbClr val="5F7D95"/>
            </a:solid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207" name="Google Shape;1207;p103"/>
            <p:cNvSpPr/>
            <p:nvPr/>
          </p:nvSpPr>
          <p:spPr>
            <a:xfrm>
              <a:off x="6232449" y="1066723"/>
              <a:ext cx="86879" cy="130518"/>
            </a:xfrm>
            <a:custGeom>
              <a:avLst/>
              <a:gdLst/>
              <a:ahLst/>
              <a:cxnLst/>
              <a:rect l="l" t="t" r="r" b="b"/>
              <a:pathLst>
                <a:path w="931" h="1400" extrusionOk="0">
                  <a:moveTo>
                    <a:pt x="426" y="1"/>
                  </a:moveTo>
                  <a:cubicBezTo>
                    <a:pt x="354" y="22"/>
                    <a:pt x="282" y="58"/>
                    <a:pt x="209" y="94"/>
                  </a:cubicBezTo>
                  <a:lnTo>
                    <a:pt x="0" y="195"/>
                  </a:lnTo>
                  <a:lnTo>
                    <a:pt x="649" y="1400"/>
                  </a:lnTo>
                  <a:lnTo>
                    <a:pt x="786" y="1335"/>
                  </a:lnTo>
                  <a:cubicBezTo>
                    <a:pt x="830" y="1306"/>
                    <a:pt x="880" y="1285"/>
                    <a:pt x="931" y="1270"/>
                  </a:cubicBezTo>
                  <a:lnTo>
                    <a:pt x="426" y="1"/>
                  </a:lnTo>
                  <a:close/>
                </a:path>
              </a:pathLst>
            </a:custGeom>
            <a:solidFill>
              <a:srgbClr val="5F7D95"/>
            </a:solid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208" name="Google Shape;1208;p103"/>
            <p:cNvSpPr/>
            <p:nvPr/>
          </p:nvSpPr>
          <p:spPr>
            <a:xfrm>
              <a:off x="6335379" y="1042577"/>
              <a:ext cx="53284" cy="130518"/>
            </a:xfrm>
            <a:custGeom>
              <a:avLst/>
              <a:gdLst/>
              <a:ahLst/>
              <a:cxnLst/>
              <a:rect l="l" t="t" r="r" b="b"/>
              <a:pathLst>
                <a:path w="571" h="1400" extrusionOk="0">
                  <a:moveTo>
                    <a:pt x="470" y="0"/>
                  </a:moveTo>
                  <a:cubicBezTo>
                    <a:pt x="390" y="0"/>
                    <a:pt x="311" y="7"/>
                    <a:pt x="239" y="22"/>
                  </a:cubicBezTo>
                  <a:lnTo>
                    <a:pt x="1" y="58"/>
                  </a:lnTo>
                  <a:lnTo>
                    <a:pt x="268" y="1399"/>
                  </a:lnTo>
                  <a:lnTo>
                    <a:pt x="419" y="1378"/>
                  </a:lnTo>
                  <a:cubicBezTo>
                    <a:pt x="470" y="1370"/>
                    <a:pt x="520" y="1363"/>
                    <a:pt x="571" y="1363"/>
                  </a:cubicBezTo>
                  <a:lnTo>
                    <a:pt x="470" y="0"/>
                  </a:lnTo>
                  <a:close/>
                </a:path>
              </a:pathLst>
            </a:custGeom>
            <a:noFill/>
            <a:ln w="9525" cap="flat" cmpd="sng">
              <a:solidFill>
                <a:srgbClr val="CFD9E0"/>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209" name="Google Shape;1209;p103"/>
            <p:cNvSpPr/>
            <p:nvPr/>
          </p:nvSpPr>
          <p:spPr>
            <a:xfrm>
              <a:off x="6431682" y="1043229"/>
              <a:ext cx="56550" cy="131824"/>
            </a:xfrm>
            <a:custGeom>
              <a:avLst/>
              <a:gdLst/>
              <a:ahLst/>
              <a:cxnLst/>
              <a:rect l="l" t="t" r="r" b="b"/>
              <a:pathLst>
                <a:path w="606" h="1414" extrusionOk="0">
                  <a:moveTo>
                    <a:pt x="144" y="0"/>
                  </a:moveTo>
                  <a:lnTo>
                    <a:pt x="0" y="1356"/>
                  </a:lnTo>
                  <a:cubicBezTo>
                    <a:pt x="101" y="1378"/>
                    <a:pt x="202" y="1385"/>
                    <a:pt x="303" y="1414"/>
                  </a:cubicBezTo>
                  <a:lnTo>
                    <a:pt x="606" y="80"/>
                  </a:lnTo>
                  <a:cubicBezTo>
                    <a:pt x="454" y="36"/>
                    <a:pt x="296" y="22"/>
                    <a:pt x="144" y="0"/>
                  </a:cubicBezTo>
                  <a:close/>
                </a:path>
              </a:pathLst>
            </a:custGeom>
            <a:noFill/>
            <a:ln w="9525" cap="flat" cmpd="sng">
              <a:solidFill>
                <a:srgbClr val="CFD9E0"/>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210" name="Google Shape;1210;p103"/>
            <p:cNvSpPr/>
            <p:nvPr/>
          </p:nvSpPr>
          <p:spPr>
            <a:xfrm>
              <a:off x="6500924" y="1070731"/>
              <a:ext cx="89678" cy="130612"/>
            </a:xfrm>
            <a:custGeom>
              <a:avLst/>
              <a:gdLst/>
              <a:ahLst/>
              <a:cxnLst/>
              <a:rect l="l" t="t" r="r" b="b"/>
              <a:pathLst>
                <a:path w="961" h="1401" extrusionOk="0">
                  <a:moveTo>
                    <a:pt x="542" y="1"/>
                  </a:moveTo>
                  <a:lnTo>
                    <a:pt x="1" y="1256"/>
                  </a:lnTo>
                  <a:lnTo>
                    <a:pt x="138" y="1321"/>
                  </a:lnTo>
                  <a:cubicBezTo>
                    <a:pt x="181" y="1343"/>
                    <a:pt x="232" y="1371"/>
                    <a:pt x="275" y="1400"/>
                  </a:cubicBezTo>
                  <a:lnTo>
                    <a:pt x="960" y="210"/>
                  </a:lnTo>
                  <a:cubicBezTo>
                    <a:pt x="895" y="174"/>
                    <a:pt x="823" y="131"/>
                    <a:pt x="751" y="102"/>
                  </a:cubicBezTo>
                  <a:lnTo>
                    <a:pt x="542" y="1"/>
                  </a:lnTo>
                  <a:close/>
                </a:path>
              </a:pathLst>
            </a:custGeom>
            <a:noFill/>
            <a:ln w="9525" cap="flat" cmpd="sng">
              <a:solidFill>
                <a:srgbClr val="CFD9E0"/>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211" name="Google Shape;1211;p103"/>
            <p:cNvSpPr/>
            <p:nvPr/>
          </p:nvSpPr>
          <p:spPr>
            <a:xfrm>
              <a:off x="6561580" y="1127973"/>
              <a:ext cx="114501" cy="117746"/>
            </a:xfrm>
            <a:custGeom>
              <a:avLst/>
              <a:gdLst/>
              <a:ahLst/>
              <a:cxnLst/>
              <a:rect l="l" t="t" r="r" b="b"/>
              <a:pathLst>
                <a:path w="1227" h="1263" extrusionOk="0">
                  <a:moveTo>
                    <a:pt x="887" y="0"/>
                  </a:moveTo>
                  <a:lnTo>
                    <a:pt x="0" y="1046"/>
                  </a:lnTo>
                  <a:cubicBezTo>
                    <a:pt x="79" y="1111"/>
                    <a:pt x="152" y="1183"/>
                    <a:pt x="224" y="1262"/>
                  </a:cubicBezTo>
                  <a:lnTo>
                    <a:pt x="1226" y="332"/>
                  </a:lnTo>
                  <a:cubicBezTo>
                    <a:pt x="1118" y="209"/>
                    <a:pt x="1003" y="101"/>
                    <a:pt x="887" y="0"/>
                  </a:cubicBezTo>
                  <a:close/>
                </a:path>
              </a:pathLst>
            </a:custGeom>
            <a:noFill/>
            <a:ln w="9525" cap="flat" cmpd="sng">
              <a:solidFill>
                <a:srgbClr val="CFD9E0"/>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212" name="Google Shape;1212;p103"/>
            <p:cNvSpPr/>
            <p:nvPr/>
          </p:nvSpPr>
          <p:spPr>
            <a:xfrm>
              <a:off x="6636887" y="1310792"/>
              <a:ext cx="132697" cy="61996"/>
            </a:xfrm>
            <a:custGeom>
              <a:avLst/>
              <a:gdLst/>
              <a:ahLst/>
              <a:cxnLst/>
              <a:rect l="l" t="t" r="r" b="b"/>
              <a:pathLst>
                <a:path w="1422" h="665" extrusionOk="0">
                  <a:moveTo>
                    <a:pt x="1321" y="1"/>
                  </a:moveTo>
                  <a:lnTo>
                    <a:pt x="1" y="361"/>
                  </a:lnTo>
                  <a:lnTo>
                    <a:pt x="44" y="506"/>
                  </a:lnTo>
                  <a:cubicBezTo>
                    <a:pt x="51" y="556"/>
                    <a:pt x="59" y="614"/>
                    <a:pt x="66" y="664"/>
                  </a:cubicBezTo>
                  <a:lnTo>
                    <a:pt x="1422" y="462"/>
                  </a:lnTo>
                  <a:cubicBezTo>
                    <a:pt x="1407" y="383"/>
                    <a:pt x="1400" y="304"/>
                    <a:pt x="1378" y="232"/>
                  </a:cubicBezTo>
                  <a:lnTo>
                    <a:pt x="1321" y="1"/>
                  </a:lnTo>
                  <a:close/>
                </a:path>
              </a:pathLst>
            </a:custGeom>
            <a:noFill/>
            <a:ln w="9525" cap="flat" cmpd="sng">
              <a:solidFill>
                <a:srgbClr val="CFD9E0"/>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213" name="Google Shape;1213;p103"/>
            <p:cNvSpPr/>
            <p:nvPr/>
          </p:nvSpPr>
          <p:spPr>
            <a:xfrm>
              <a:off x="6642953" y="1415020"/>
              <a:ext cx="130645" cy="47826"/>
            </a:xfrm>
            <a:custGeom>
              <a:avLst/>
              <a:gdLst/>
              <a:ahLst/>
              <a:cxnLst/>
              <a:rect l="l" t="t" r="r" b="b"/>
              <a:pathLst>
                <a:path w="1400" h="513" extrusionOk="0">
                  <a:moveTo>
                    <a:pt x="30" y="1"/>
                  </a:moveTo>
                  <a:cubicBezTo>
                    <a:pt x="30" y="109"/>
                    <a:pt x="15" y="210"/>
                    <a:pt x="1" y="311"/>
                  </a:cubicBezTo>
                  <a:lnTo>
                    <a:pt x="1357" y="513"/>
                  </a:lnTo>
                  <a:cubicBezTo>
                    <a:pt x="1378" y="354"/>
                    <a:pt x="1393" y="203"/>
                    <a:pt x="1400" y="44"/>
                  </a:cubicBezTo>
                  <a:lnTo>
                    <a:pt x="30" y="1"/>
                  </a:lnTo>
                  <a:close/>
                </a:path>
              </a:pathLst>
            </a:custGeom>
            <a:noFill/>
            <a:ln w="9525" cap="flat" cmpd="sng">
              <a:solidFill>
                <a:srgbClr val="CFD9E0"/>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214" name="Google Shape;1214;p103"/>
            <p:cNvSpPr/>
            <p:nvPr/>
          </p:nvSpPr>
          <p:spPr>
            <a:xfrm>
              <a:off x="6622143" y="1485687"/>
              <a:ext cx="131951" cy="81388"/>
            </a:xfrm>
            <a:custGeom>
              <a:avLst/>
              <a:gdLst/>
              <a:ahLst/>
              <a:cxnLst/>
              <a:rect l="l" t="t" r="r" b="b"/>
              <a:pathLst>
                <a:path w="1414" h="873" extrusionOk="0">
                  <a:moveTo>
                    <a:pt x="123" y="0"/>
                  </a:moveTo>
                  <a:lnTo>
                    <a:pt x="65" y="144"/>
                  </a:lnTo>
                  <a:cubicBezTo>
                    <a:pt x="51" y="195"/>
                    <a:pt x="22" y="238"/>
                    <a:pt x="0" y="281"/>
                  </a:cubicBezTo>
                  <a:lnTo>
                    <a:pt x="1234" y="873"/>
                  </a:lnTo>
                  <a:cubicBezTo>
                    <a:pt x="1270" y="801"/>
                    <a:pt x="1306" y="736"/>
                    <a:pt x="1335" y="664"/>
                  </a:cubicBezTo>
                  <a:lnTo>
                    <a:pt x="1414" y="440"/>
                  </a:lnTo>
                  <a:lnTo>
                    <a:pt x="123" y="0"/>
                  </a:lnTo>
                  <a:close/>
                </a:path>
              </a:pathLst>
            </a:custGeom>
            <a:noFill/>
            <a:ln w="9525" cap="flat" cmpd="sng">
              <a:solidFill>
                <a:srgbClr val="CFD9E0"/>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215" name="Google Shape;1215;p103"/>
            <p:cNvSpPr/>
            <p:nvPr/>
          </p:nvSpPr>
          <p:spPr>
            <a:xfrm>
              <a:off x="6582390" y="1548895"/>
              <a:ext cx="121219" cy="108983"/>
            </a:xfrm>
            <a:custGeom>
              <a:avLst/>
              <a:gdLst/>
              <a:ahLst/>
              <a:cxnLst/>
              <a:rect l="l" t="t" r="r" b="b"/>
              <a:pathLst>
                <a:path w="1299" h="1169" extrusionOk="0">
                  <a:moveTo>
                    <a:pt x="195" y="0"/>
                  </a:moveTo>
                  <a:lnTo>
                    <a:pt x="102" y="123"/>
                  </a:lnTo>
                  <a:lnTo>
                    <a:pt x="1" y="238"/>
                  </a:lnTo>
                  <a:lnTo>
                    <a:pt x="1003" y="1168"/>
                  </a:lnTo>
                  <a:lnTo>
                    <a:pt x="1155" y="988"/>
                  </a:lnTo>
                  <a:lnTo>
                    <a:pt x="1299" y="801"/>
                  </a:lnTo>
                  <a:lnTo>
                    <a:pt x="195" y="0"/>
                  </a:lnTo>
                  <a:close/>
                </a:path>
              </a:pathLst>
            </a:custGeom>
            <a:noFill/>
            <a:ln w="9525" cap="flat" cmpd="sng">
              <a:solidFill>
                <a:srgbClr val="CFD9E0"/>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216" name="Google Shape;1216;p103"/>
            <p:cNvSpPr/>
            <p:nvPr/>
          </p:nvSpPr>
          <p:spPr>
            <a:xfrm>
              <a:off x="6526586" y="1599238"/>
              <a:ext cx="100316" cy="126510"/>
            </a:xfrm>
            <a:custGeom>
              <a:avLst/>
              <a:gdLst/>
              <a:ahLst/>
              <a:cxnLst/>
              <a:rect l="l" t="t" r="r" b="b"/>
              <a:pathLst>
                <a:path w="1075" h="1357" extrusionOk="0">
                  <a:moveTo>
                    <a:pt x="252" y="1"/>
                  </a:moveTo>
                  <a:cubicBezTo>
                    <a:pt x="209" y="37"/>
                    <a:pt x="173" y="66"/>
                    <a:pt x="130" y="95"/>
                  </a:cubicBezTo>
                  <a:lnTo>
                    <a:pt x="0" y="174"/>
                  </a:lnTo>
                  <a:lnTo>
                    <a:pt x="685" y="1357"/>
                  </a:lnTo>
                  <a:lnTo>
                    <a:pt x="880" y="1234"/>
                  </a:lnTo>
                  <a:cubicBezTo>
                    <a:pt x="952" y="1191"/>
                    <a:pt x="1010" y="1141"/>
                    <a:pt x="1075" y="1097"/>
                  </a:cubicBezTo>
                  <a:lnTo>
                    <a:pt x="252" y="1"/>
                  </a:lnTo>
                  <a:close/>
                </a:path>
              </a:pathLst>
            </a:custGeom>
            <a:noFill/>
            <a:ln w="9525" cap="flat" cmpd="sng">
              <a:solidFill>
                <a:srgbClr val="CFD9E0"/>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217" name="Google Shape;1217;p103"/>
            <p:cNvSpPr/>
            <p:nvPr/>
          </p:nvSpPr>
          <p:spPr>
            <a:xfrm>
              <a:off x="6459957" y="1632893"/>
              <a:ext cx="70735" cy="132570"/>
            </a:xfrm>
            <a:custGeom>
              <a:avLst/>
              <a:gdLst/>
              <a:ahLst/>
              <a:cxnLst/>
              <a:rect l="l" t="t" r="r" b="b"/>
              <a:pathLst>
                <a:path w="758" h="1422" extrusionOk="0">
                  <a:moveTo>
                    <a:pt x="296" y="1"/>
                  </a:moveTo>
                  <a:cubicBezTo>
                    <a:pt x="195" y="37"/>
                    <a:pt x="101" y="73"/>
                    <a:pt x="0" y="94"/>
                  </a:cubicBezTo>
                  <a:lnTo>
                    <a:pt x="303" y="1421"/>
                  </a:lnTo>
                  <a:cubicBezTo>
                    <a:pt x="454" y="1393"/>
                    <a:pt x="606" y="1342"/>
                    <a:pt x="757" y="1292"/>
                  </a:cubicBezTo>
                  <a:lnTo>
                    <a:pt x="296" y="1"/>
                  </a:lnTo>
                  <a:close/>
                </a:path>
              </a:pathLst>
            </a:custGeom>
            <a:noFill/>
            <a:ln w="9525" cap="flat" cmpd="sng">
              <a:solidFill>
                <a:srgbClr val="CFD9E0"/>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218" name="Google Shape;1218;p103"/>
            <p:cNvSpPr/>
            <p:nvPr/>
          </p:nvSpPr>
          <p:spPr>
            <a:xfrm>
              <a:off x="6379145" y="1646318"/>
              <a:ext cx="43859" cy="128188"/>
            </a:xfrm>
            <a:custGeom>
              <a:avLst/>
              <a:gdLst/>
              <a:ahLst/>
              <a:cxnLst/>
              <a:rect l="l" t="t" r="r" b="b"/>
              <a:pathLst>
                <a:path w="470" h="1375" extrusionOk="0">
                  <a:moveTo>
                    <a:pt x="102" y="1"/>
                  </a:moveTo>
                  <a:lnTo>
                    <a:pt x="1" y="1364"/>
                  </a:lnTo>
                  <a:cubicBezTo>
                    <a:pt x="113" y="1369"/>
                    <a:pt x="221" y="1374"/>
                    <a:pt x="331" y="1374"/>
                  </a:cubicBezTo>
                  <a:cubicBezTo>
                    <a:pt x="377" y="1374"/>
                    <a:pt x="423" y="1373"/>
                    <a:pt x="469" y="1371"/>
                  </a:cubicBezTo>
                  <a:lnTo>
                    <a:pt x="412" y="1"/>
                  </a:lnTo>
                  <a:cubicBezTo>
                    <a:pt x="361" y="4"/>
                    <a:pt x="309" y="6"/>
                    <a:pt x="257" y="6"/>
                  </a:cubicBezTo>
                  <a:cubicBezTo>
                    <a:pt x="204" y="6"/>
                    <a:pt x="152" y="4"/>
                    <a:pt x="102" y="1"/>
                  </a:cubicBezTo>
                  <a:close/>
                </a:path>
              </a:pathLst>
            </a:custGeom>
            <a:solidFill>
              <a:srgbClr val="5F7D95"/>
            </a:solid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219" name="Google Shape;1219;p103"/>
            <p:cNvSpPr/>
            <p:nvPr/>
          </p:nvSpPr>
          <p:spPr>
            <a:xfrm>
              <a:off x="6272109" y="1630842"/>
              <a:ext cx="74187" cy="131917"/>
            </a:xfrm>
            <a:custGeom>
              <a:avLst/>
              <a:gdLst/>
              <a:ahLst/>
              <a:cxnLst/>
              <a:rect l="l" t="t" r="r" b="b"/>
              <a:pathLst>
                <a:path w="795" h="1415" extrusionOk="0">
                  <a:moveTo>
                    <a:pt x="506" y="1"/>
                  </a:moveTo>
                  <a:lnTo>
                    <a:pt x="1" y="1270"/>
                  </a:lnTo>
                  <a:cubicBezTo>
                    <a:pt x="145" y="1328"/>
                    <a:pt x="296" y="1379"/>
                    <a:pt x="448" y="1415"/>
                  </a:cubicBezTo>
                  <a:lnTo>
                    <a:pt x="794" y="95"/>
                  </a:lnTo>
                  <a:cubicBezTo>
                    <a:pt x="693" y="66"/>
                    <a:pt x="599" y="37"/>
                    <a:pt x="506" y="1"/>
                  </a:cubicBezTo>
                  <a:close/>
                </a:path>
              </a:pathLst>
            </a:custGeom>
            <a:solidFill>
              <a:srgbClr val="5F7D95"/>
            </a:solid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220" name="Google Shape;1220;p103"/>
            <p:cNvSpPr/>
            <p:nvPr/>
          </p:nvSpPr>
          <p:spPr>
            <a:xfrm>
              <a:off x="6177205" y="1595229"/>
              <a:ext cx="103769" cy="125205"/>
            </a:xfrm>
            <a:custGeom>
              <a:avLst/>
              <a:gdLst/>
              <a:ahLst/>
              <a:cxnLst/>
              <a:rect l="l" t="t" r="r" b="b"/>
              <a:pathLst>
                <a:path w="1112" h="1343" extrusionOk="0">
                  <a:moveTo>
                    <a:pt x="859" y="1"/>
                  </a:moveTo>
                  <a:lnTo>
                    <a:pt x="1" y="1068"/>
                  </a:lnTo>
                  <a:cubicBezTo>
                    <a:pt x="123" y="1169"/>
                    <a:pt x="253" y="1256"/>
                    <a:pt x="390" y="1342"/>
                  </a:cubicBezTo>
                  <a:lnTo>
                    <a:pt x="1112" y="174"/>
                  </a:lnTo>
                  <a:cubicBezTo>
                    <a:pt x="1018" y="123"/>
                    <a:pt x="938" y="66"/>
                    <a:pt x="859" y="1"/>
                  </a:cubicBezTo>
                  <a:close/>
                </a:path>
              </a:pathLst>
            </a:custGeom>
            <a:solidFill>
              <a:srgbClr val="5F7D95"/>
            </a:solid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221" name="Google Shape;1221;p103"/>
            <p:cNvSpPr/>
            <p:nvPr/>
          </p:nvSpPr>
          <p:spPr>
            <a:xfrm>
              <a:off x="6103205" y="1542835"/>
              <a:ext cx="123272" cy="106932"/>
            </a:xfrm>
            <a:custGeom>
              <a:avLst/>
              <a:gdLst/>
              <a:ahLst/>
              <a:cxnLst/>
              <a:rect l="l" t="t" r="r" b="b"/>
              <a:pathLst>
                <a:path w="1321" h="1147" extrusionOk="0">
                  <a:moveTo>
                    <a:pt x="1126" y="0"/>
                  </a:moveTo>
                  <a:lnTo>
                    <a:pt x="0" y="772"/>
                  </a:lnTo>
                  <a:lnTo>
                    <a:pt x="137" y="959"/>
                  </a:lnTo>
                  <a:lnTo>
                    <a:pt x="210" y="1053"/>
                  </a:lnTo>
                  <a:lnTo>
                    <a:pt x="289" y="1147"/>
                  </a:lnTo>
                  <a:lnTo>
                    <a:pt x="1320" y="245"/>
                  </a:lnTo>
                  <a:lnTo>
                    <a:pt x="1263" y="188"/>
                  </a:lnTo>
                  <a:lnTo>
                    <a:pt x="1219" y="123"/>
                  </a:lnTo>
                  <a:lnTo>
                    <a:pt x="1126" y="0"/>
                  </a:lnTo>
                  <a:close/>
                </a:path>
              </a:pathLst>
            </a:custGeom>
            <a:solidFill>
              <a:srgbClr val="5F7D95"/>
            </a:solid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222" name="Google Shape;1222;p103"/>
            <p:cNvSpPr/>
            <p:nvPr/>
          </p:nvSpPr>
          <p:spPr>
            <a:xfrm>
              <a:off x="6055426" y="1478881"/>
              <a:ext cx="131951" cy="78777"/>
            </a:xfrm>
            <a:custGeom>
              <a:avLst/>
              <a:gdLst/>
              <a:ahLst/>
              <a:cxnLst/>
              <a:rect l="l" t="t" r="r" b="b"/>
              <a:pathLst>
                <a:path w="1414" h="845" extrusionOk="0">
                  <a:moveTo>
                    <a:pt x="1306" y="1"/>
                  </a:moveTo>
                  <a:lnTo>
                    <a:pt x="0" y="405"/>
                  </a:lnTo>
                  <a:cubicBezTo>
                    <a:pt x="51" y="549"/>
                    <a:pt x="101" y="701"/>
                    <a:pt x="166" y="845"/>
                  </a:cubicBezTo>
                  <a:lnTo>
                    <a:pt x="1414" y="282"/>
                  </a:lnTo>
                  <a:cubicBezTo>
                    <a:pt x="1371" y="196"/>
                    <a:pt x="1342" y="95"/>
                    <a:pt x="1306" y="1"/>
                  </a:cubicBezTo>
                  <a:close/>
                </a:path>
              </a:pathLst>
            </a:custGeom>
            <a:solidFill>
              <a:srgbClr val="5F7D95"/>
            </a:solid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223" name="Google Shape;1223;p103"/>
            <p:cNvSpPr/>
            <p:nvPr/>
          </p:nvSpPr>
          <p:spPr>
            <a:xfrm>
              <a:off x="6039282" y="1408308"/>
              <a:ext cx="129338" cy="43817"/>
            </a:xfrm>
            <a:custGeom>
              <a:avLst/>
              <a:gdLst/>
              <a:ahLst/>
              <a:cxnLst/>
              <a:rect l="l" t="t" r="r" b="b"/>
              <a:pathLst>
                <a:path w="1386" h="470" extrusionOk="0">
                  <a:moveTo>
                    <a:pt x="0" y="1"/>
                  </a:moveTo>
                  <a:cubicBezTo>
                    <a:pt x="7" y="152"/>
                    <a:pt x="7" y="311"/>
                    <a:pt x="29" y="469"/>
                  </a:cubicBezTo>
                  <a:lnTo>
                    <a:pt x="1385" y="304"/>
                  </a:lnTo>
                  <a:cubicBezTo>
                    <a:pt x="1371" y="203"/>
                    <a:pt x="1378" y="102"/>
                    <a:pt x="1363" y="1"/>
                  </a:cubicBezTo>
                  <a:close/>
                </a:path>
              </a:pathLst>
            </a:custGeom>
            <a:solidFill>
              <a:srgbClr val="5F7D95"/>
            </a:solid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224" name="Google Shape;1224;p103"/>
            <p:cNvSpPr/>
            <p:nvPr/>
          </p:nvSpPr>
          <p:spPr>
            <a:xfrm>
              <a:off x="6608612" y="1210666"/>
              <a:ext cx="128685" cy="93507"/>
            </a:xfrm>
            <a:custGeom>
              <a:avLst/>
              <a:gdLst/>
              <a:ahLst/>
              <a:cxnLst/>
              <a:rect l="l" t="t" r="r" b="b"/>
              <a:pathLst>
                <a:path w="1379" h="1003" extrusionOk="0">
                  <a:moveTo>
                    <a:pt x="1155" y="0"/>
                  </a:moveTo>
                  <a:lnTo>
                    <a:pt x="1" y="736"/>
                  </a:lnTo>
                  <a:lnTo>
                    <a:pt x="80" y="866"/>
                  </a:lnTo>
                  <a:cubicBezTo>
                    <a:pt x="102" y="909"/>
                    <a:pt x="131" y="959"/>
                    <a:pt x="145" y="1003"/>
                  </a:cubicBezTo>
                  <a:lnTo>
                    <a:pt x="1379" y="411"/>
                  </a:lnTo>
                  <a:cubicBezTo>
                    <a:pt x="1342" y="339"/>
                    <a:pt x="1314" y="267"/>
                    <a:pt x="1278" y="202"/>
                  </a:cubicBezTo>
                  <a:lnTo>
                    <a:pt x="1155" y="0"/>
                  </a:lnTo>
                  <a:close/>
                </a:path>
              </a:pathLst>
            </a:custGeom>
            <a:noFill/>
            <a:ln w="9525" cap="flat" cmpd="sng">
              <a:solidFill>
                <a:srgbClr val="CFD9E0"/>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1225" name="Google Shape;1225;p103"/>
          <p:cNvGrpSpPr/>
          <p:nvPr/>
        </p:nvGrpSpPr>
        <p:grpSpPr>
          <a:xfrm>
            <a:off x="6788089" y="3065149"/>
            <a:ext cx="756992" cy="802848"/>
            <a:chOff x="1825800" y="1651625"/>
            <a:chExt cx="539989" cy="571775"/>
          </a:xfrm>
        </p:grpSpPr>
        <p:sp>
          <p:nvSpPr>
            <p:cNvPr id="1226" name="Google Shape;1226;p103"/>
            <p:cNvSpPr/>
            <p:nvPr/>
          </p:nvSpPr>
          <p:spPr>
            <a:xfrm>
              <a:off x="2093189" y="1651625"/>
              <a:ext cx="272600" cy="287950"/>
            </a:xfrm>
            <a:custGeom>
              <a:avLst/>
              <a:gdLst/>
              <a:ahLst/>
              <a:cxnLst/>
              <a:rect l="l" t="t" r="r" b="b"/>
              <a:pathLst>
                <a:path w="10904" h="11518" extrusionOk="0">
                  <a:moveTo>
                    <a:pt x="2" y="1"/>
                  </a:moveTo>
                  <a:lnTo>
                    <a:pt x="0" y="11518"/>
                  </a:lnTo>
                  <a:lnTo>
                    <a:pt x="10904" y="11518"/>
                  </a:lnTo>
                  <a:cubicBezTo>
                    <a:pt x="10391" y="5596"/>
                    <a:pt x="5836" y="826"/>
                    <a:pt x="2" y="1"/>
                  </a:cubicBezTo>
                  <a:close/>
                </a:path>
              </a:pathLst>
            </a:custGeom>
            <a:noFill/>
            <a:ln w="9525" cap="flat" cmpd="sng">
              <a:solidFill>
                <a:srgbClr val="667E92"/>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227" name="Google Shape;1227;p103"/>
            <p:cNvSpPr/>
            <p:nvPr/>
          </p:nvSpPr>
          <p:spPr>
            <a:xfrm>
              <a:off x="1825800" y="1967150"/>
              <a:ext cx="231900" cy="233575"/>
            </a:xfrm>
            <a:custGeom>
              <a:avLst/>
              <a:gdLst/>
              <a:ahLst/>
              <a:cxnLst/>
              <a:rect l="l" t="t" r="r" b="b"/>
              <a:pathLst>
                <a:path w="9276" h="9343" extrusionOk="0">
                  <a:moveTo>
                    <a:pt x="0" y="1"/>
                  </a:moveTo>
                  <a:cubicBezTo>
                    <a:pt x="465" y="4930"/>
                    <a:pt x="4350" y="8842"/>
                    <a:pt x="9275" y="9343"/>
                  </a:cubicBezTo>
                  <a:lnTo>
                    <a:pt x="9275" y="1"/>
                  </a:lnTo>
                  <a:close/>
                </a:path>
              </a:pathLst>
            </a:custGeom>
            <a:noFill/>
            <a:ln w="9525" cap="flat" cmpd="sng">
              <a:solidFill>
                <a:srgbClr val="445D73"/>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228" name="Google Shape;1228;p103"/>
            <p:cNvSpPr/>
            <p:nvPr/>
          </p:nvSpPr>
          <p:spPr>
            <a:xfrm>
              <a:off x="2093189" y="1967150"/>
              <a:ext cx="244350" cy="256250"/>
            </a:xfrm>
            <a:custGeom>
              <a:avLst/>
              <a:gdLst/>
              <a:ahLst/>
              <a:cxnLst/>
              <a:rect l="l" t="t" r="r" b="b"/>
              <a:pathLst>
                <a:path w="9774" h="10250" extrusionOk="0">
                  <a:moveTo>
                    <a:pt x="0" y="1"/>
                  </a:moveTo>
                  <a:lnTo>
                    <a:pt x="0" y="10249"/>
                  </a:lnTo>
                  <a:cubicBezTo>
                    <a:pt x="5200" y="9514"/>
                    <a:pt x="9280" y="5280"/>
                    <a:pt x="9773" y="1"/>
                  </a:cubicBezTo>
                  <a:close/>
                </a:path>
              </a:pathLst>
            </a:custGeom>
            <a:noFill/>
            <a:ln w="9525" cap="flat" cmpd="sng">
              <a:solidFill>
                <a:srgbClr val="CFD9E0"/>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229" name="Google Shape;1229;p103"/>
            <p:cNvSpPr/>
            <p:nvPr/>
          </p:nvSpPr>
          <p:spPr>
            <a:xfrm>
              <a:off x="1851375" y="1730300"/>
              <a:ext cx="206325" cy="209275"/>
            </a:xfrm>
            <a:custGeom>
              <a:avLst/>
              <a:gdLst/>
              <a:ahLst/>
              <a:cxnLst/>
              <a:rect l="l" t="t" r="r" b="b"/>
              <a:pathLst>
                <a:path w="8253" h="8371" extrusionOk="0">
                  <a:moveTo>
                    <a:pt x="8252" y="1"/>
                  </a:moveTo>
                  <a:cubicBezTo>
                    <a:pt x="3865" y="441"/>
                    <a:pt x="383" y="3959"/>
                    <a:pt x="1" y="8371"/>
                  </a:cubicBezTo>
                  <a:lnTo>
                    <a:pt x="8252" y="8371"/>
                  </a:lnTo>
                  <a:lnTo>
                    <a:pt x="8252" y="1"/>
                  </a:lnTo>
                  <a:close/>
                </a:path>
              </a:pathLst>
            </a:custGeom>
            <a:noFill/>
            <a:ln w="9525" cap="flat" cmpd="sng">
              <a:solidFill>
                <a:srgbClr val="869FB1"/>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1230" name="Google Shape;1230;p103"/>
          <p:cNvGrpSpPr/>
          <p:nvPr/>
        </p:nvGrpSpPr>
        <p:grpSpPr>
          <a:xfrm>
            <a:off x="5021328" y="5140773"/>
            <a:ext cx="677497" cy="677273"/>
            <a:chOff x="1897577" y="2802432"/>
            <a:chExt cx="492176" cy="492014"/>
          </a:xfrm>
        </p:grpSpPr>
        <p:sp>
          <p:nvSpPr>
            <p:cNvPr id="1231" name="Google Shape;1231;p103"/>
            <p:cNvSpPr/>
            <p:nvPr/>
          </p:nvSpPr>
          <p:spPr>
            <a:xfrm>
              <a:off x="2067309" y="2802432"/>
              <a:ext cx="152163" cy="136326"/>
            </a:xfrm>
            <a:custGeom>
              <a:avLst/>
              <a:gdLst/>
              <a:ahLst/>
              <a:cxnLst/>
              <a:rect l="l" t="t" r="r" b="b"/>
              <a:pathLst>
                <a:path w="9435" h="8453" extrusionOk="0">
                  <a:moveTo>
                    <a:pt x="4727" y="1"/>
                  </a:moveTo>
                  <a:cubicBezTo>
                    <a:pt x="3131" y="1"/>
                    <a:pt x="1537" y="250"/>
                    <a:pt x="0" y="751"/>
                  </a:cubicBezTo>
                  <a:lnTo>
                    <a:pt x="2502" y="8452"/>
                  </a:lnTo>
                  <a:cubicBezTo>
                    <a:pt x="3225" y="8211"/>
                    <a:pt x="3983" y="8097"/>
                    <a:pt x="4740" y="8097"/>
                  </a:cubicBezTo>
                  <a:cubicBezTo>
                    <a:pt x="5486" y="8097"/>
                    <a:pt x="6221" y="8211"/>
                    <a:pt x="6932" y="8441"/>
                  </a:cubicBezTo>
                  <a:lnTo>
                    <a:pt x="9434" y="740"/>
                  </a:lnTo>
                  <a:cubicBezTo>
                    <a:pt x="7901" y="248"/>
                    <a:pt x="6313" y="1"/>
                    <a:pt x="4727" y="1"/>
                  </a:cubicBezTo>
                  <a:close/>
                </a:path>
              </a:pathLst>
            </a:custGeom>
            <a:noFill/>
            <a:ln w="9525" cap="flat" cmpd="sng">
              <a:solidFill>
                <a:srgbClr val="E3E9ED"/>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232" name="Google Shape;1232;p103"/>
            <p:cNvSpPr/>
            <p:nvPr/>
          </p:nvSpPr>
          <p:spPr>
            <a:xfrm>
              <a:off x="2179099" y="2814350"/>
              <a:ext cx="163452" cy="166049"/>
            </a:xfrm>
            <a:custGeom>
              <a:avLst/>
              <a:gdLst/>
              <a:ahLst/>
              <a:cxnLst/>
              <a:rect l="l" t="t" r="r" b="b"/>
              <a:pathLst>
                <a:path w="10135" h="10296" extrusionOk="0">
                  <a:moveTo>
                    <a:pt x="2491" y="1"/>
                  </a:moveTo>
                  <a:lnTo>
                    <a:pt x="0" y="7702"/>
                  </a:lnTo>
                  <a:cubicBezTo>
                    <a:pt x="1435" y="8161"/>
                    <a:pt x="2686" y="9079"/>
                    <a:pt x="3581" y="10296"/>
                  </a:cubicBezTo>
                  <a:lnTo>
                    <a:pt x="10135" y="5533"/>
                  </a:lnTo>
                  <a:cubicBezTo>
                    <a:pt x="8230" y="2927"/>
                    <a:pt x="5555" y="988"/>
                    <a:pt x="2491" y="1"/>
                  </a:cubicBezTo>
                  <a:close/>
                </a:path>
              </a:pathLst>
            </a:custGeom>
            <a:noFill/>
            <a:ln w="9525" cap="flat" cmpd="sng">
              <a:solidFill>
                <a:srgbClr val="869FB2"/>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233" name="Google Shape;1233;p103"/>
            <p:cNvSpPr/>
            <p:nvPr/>
          </p:nvSpPr>
          <p:spPr>
            <a:xfrm>
              <a:off x="2236848" y="3048492"/>
              <a:ext cx="152905" cy="144760"/>
            </a:xfrm>
            <a:custGeom>
              <a:avLst/>
              <a:gdLst/>
              <a:ahLst/>
              <a:cxnLst/>
              <a:rect l="l" t="t" r="r" b="b"/>
              <a:pathLst>
                <a:path w="9481" h="8976" extrusionOk="0">
                  <a:moveTo>
                    <a:pt x="1377" y="0"/>
                  </a:moveTo>
                  <a:cubicBezTo>
                    <a:pt x="1377" y="1515"/>
                    <a:pt x="895" y="2996"/>
                    <a:pt x="0" y="4212"/>
                  </a:cubicBezTo>
                  <a:lnTo>
                    <a:pt x="6554" y="8976"/>
                  </a:lnTo>
                  <a:cubicBezTo>
                    <a:pt x="8459" y="6370"/>
                    <a:pt x="9480" y="3225"/>
                    <a:pt x="9480" y="0"/>
                  </a:cubicBezTo>
                  <a:close/>
                </a:path>
              </a:pathLst>
            </a:custGeom>
            <a:noFill/>
            <a:ln w="9525" cap="flat" cmpd="sng">
              <a:solidFill>
                <a:srgbClr val="869FB2"/>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234" name="Google Shape;1234;p103"/>
            <p:cNvSpPr/>
            <p:nvPr/>
          </p:nvSpPr>
          <p:spPr>
            <a:xfrm>
              <a:off x="1944586" y="2814543"/>
              <a:ext cx="163097" cy="166226"/>
            </a:xfrm>
            <a:custGeom>
              <a:avLst/>
              <a:gdLst/>
              <a:ahLst/>
              <a:cxnLst/>
              <a:rect l="l" t="t" r="r" b="b"/>
              <a:pathLst>
                <a:path w="10113" h="10307" extrusionOk="0">
                  <a:moveTo>
                    <a:pt x="7610" y="0"/>
                  </a:moveTo>
                  <a:cubicBezTo>
                    <a:pt x="4557" y="999"/>
                    <a:pt x="1883" y="2938"/>
                    <a:pt x="1" y="5544"/>
                  </a:cubicBezTo>
                  <a:lnTo>
                    <a:pt x="6554" y="10307"/>
                  </a:lnTo>
                  <a:cubicBezTo>
                    <a:pt x="7438" y="9090"/>
                    <a:pt x="8677" y="8172"/>
                    <a:pt x="10112" y="7701"/>
                  </a:cubicBezTo>
                  <a:lnTo>
                    <a:pt x="7610" y="0"/>
                  </a:lnTo>
                  <a:close/>
                </a:path>
              </a:pathLst>
            </a:custGeom>
            <a:noFill/>
            <a:ln w="9525" cap="flat" cmpd="sng">
              <a:solidFill>
                <a:srgbClr val="869FB2"/>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235" name="Google Shape;1235;p103"/>
            <p:cNvSpPr/>
            <p:nvPr/>
          </p:nvSpPr>
          <p:spPr>
            <a:xfrm>
              <a:off x="2236848" y="2903562"/>
              <a:ext cx="152905" cy="144954"/>
            </a:xfrm>
            <a:custGeom>
              <a:avLst/>
              <a:gdLst/>
              <a:ahLst/>
              <a:cxnLst/>
              <a:rect l="l" t="t" r="r" b="b"/>
              <a:pathLst>
                <a:path w="9481" h="8988" extrusionOk="0">
                  <a:moveTo>
                    <a:pt x="6554" y="1"/>
                  </a:moveTo>
                  <a:lnTo>
                    <a:pt x="0" y="4764"/>
                  </a:lnTo>
                  <a:cubicBezTo>
                    <a:pt x="895" y="5992"/>
                    <a:pt x="1377" y="7472"/>
                    <a:pt x="1377" y="8987"/>
                  </a:cubicBezTo>
                  <a:lnTo>
                    <a:pt x="9469" y="8987"/>
                  </a:lnTo>
                  <a:cubicBezTo>
                    <a:pt x="9480" y="5751"/>
                    <a:pt x="8459" y="2606"/>
                    <a:pt x="6554" y="1"/>
                  </a:cubicBezTo>
                  <a:close/>
                </a:path>
              </a:pathLst>
            </a:custGeom>
            <a:noFill/>
            <a:ln w="9525" cap="flat" cmpd="sng">
              <a:solidFill>
                <a:srgbClr val="E3E9ED"/>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236" name="Google Shape;1236;p103"/>
            <p:cNvSpPr/>
            <p:nvPr/>
          </p:nvSpPr>
          <p:spPr>
            <a:xfrm>
              <a:off x="2179099" y="3116417"/>
              <a:ext cx="163452" cy="166242"/>
            </a:xfrm>
            <a:custGeom>
              <a:avLst/>
              <a:gdLst/>
              <a:ahLst/>
              <a:cxnLst/>
              <a:rect l="l" t="t" r="r" b="b"/>
              <a:pathLst>
                <a:path w="10135" h="10308" extrusionOk="0">
                  <a:moveTo>
                    <a:pt x="3581" y="0"/>
                  </a:moveTo>
                  <a:cubicBezTo>
                    <a:pt x="2686" y="1229"/>
                    <a:pt x="1435" y="2135"/>
                    <a:pt x="0" y="2594"/>
                  </a:cubicBezTo>
                  <a:lnTo>
                    <a:pt x="2502" y="10307"/>
                  </a:lnTo>
                  <a:cubicBezTo>
                    <a:pt x="5567" y="9309"/>
                    <a:pt x="8241" y="7369"/>
                    <a:pt x="10135" y="4764"/>
                  </a:cubicBezTo>
                  <a:lnTo>
                    <a:pt x="3581" y="0"/>
                  </a:lnTo>
                  <a:close/>
                </a:path>
              </a:pathLst>
            </a:custGeom>
            <a:noFill/>
            <a:ln w="9525" cap="flat" cmpd="sng">
              <a:solidFill>
                <a:srgbClr val="E3E9ED"/>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237" name="Google Shape;1237;p103"/>
            <p:cNvSpPr/>
            <p:nvPr/>
          </p:nvSpPr>
          <p:spPr>
            <a:xfrm>
              <a:off x="1897577" y="2903933"/>
              <a:ext cx="152727" cy="144583"/>
            </a:xfrm>
            <a:custGeom>
              <a:avLst/>
              <a:gdLst/>
              <a:ahLst/>
              <a:cxnLst/>
              <a:rect l="l" t="t" r="r" b="b"/>
              <a:pathLst>
                <a:path w="9470" h="8965" extrusionOk="0">
                  <a:moveTo>
                    <a:pt x="2916" y="1"/>
                  </a:moveTo>
                  <a:cubicBezTo>
                    <a:pt x="1022" y="2606"/>
                    <a:pt x="0" y="5739"/>
                    <a:pt x="12" y="8964"/>
                  </a:cubicBezTo>
                  <a:lnTo>
                    <a:pt x="8103" y="8964"/>
                  </a:lnTo>
                  <a:cubicBezTo>
                    <a:pt x="8103" y="7449"/>
                    <a:pt x="8574" y="5980"/>
                    <a:pt x="9469" y="4764"/>
                  </a:cubicBezTo>
                  <a:lnTo>
                    <a:pt x="2916" y="1"/>
                  </a:lnTo>
                  <a:close/>
                </a:path>
              </a:pathLst>
            </a:custGeom>
            <a:noFill/>
            <a:ln w="9525" cap="flat" cmpd="sng">
              <a:solidFill>
                <a:srgbClr val="E3E9ED"/>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238" name="Google Shape;1238;p103"/>
            <p:cNvSpPr/>
            <p:nvPr/>
          </p:nvSpPr>
          <p:spPr>
            <a:xfrm>
              <a:off x="2067309" y="3158056"/>
              <a:ext cx="152163" cy="136390"/>
            </a:xfrm>
            <a:custGeom>
              <a:avLst/>
              <a:gdLst/>
              <a:ahLst/>
              <a:cxnLst/>
              <a:rect l="l" t="t" r="r" b="b"/>
              <a:pathLst>
                <a:path w="9435" h="8457" extrusionOk="0">
                  <a:moveTo>
                    <a:pt x="2502" y="1"/>
                  </a:moveTo>
                  <a:lnTo>
                    <a:pt x="0" y="7702"/>
                  </a:lnTo>
                  <a:cubicBezTo>
                    <a:pt x="1541" y="8204"/>
                    <a:pt x="3140" y="8457"/>
                    <a:pt x="4740" y="8457"/>
                  </a:cubicBezTo>
                  <a:cubicBezTo>
                    <a:pt x="6322" y="8457"/>
                    <a:pt x="7905" y="8210"/>
                    <a:pt x="9434" y="7714"/>
                  </a:cubicBezTo>
                  <a:lnTo>
                    <a:pt x="6932" y="12"/>
                  </a:lnTo>
                  <a:cubicBezTo>
                    <a:pt x="6221" y="242"/>
                    <a:pt x="5475" y="357"/>
                    <a:pt x="4740" y="357"/>
                  </a:cubicBezTo>
                  <a:cubicBezTo>
                    <a:pt x="3983" y="357"/>
                    <a:pt x="3225" y="242"/>
                    <a:pt x="2502" y="1"/>
                  </a:cubicBezTo>
                  <a:close/>
                </a:path>
              </a:pathLst>
            </a:custGeom>
            <a:noFill/>
            <a:ln w="9525" cap="flat" cmpd="sng">
              <a:solidFill>
                <a:srgbClr val="869FB2"/>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239" name="Google Shape;1239;p103"/>
            <p:cNvSpPr/>
            <p:nvPr/>
          </p:nvSpPr>
          <p:spPr>
            <a:xfrm>
              <a:off x="1944586" y="3116046"/>
              <a:ext cx="163097" cy="166242"/>
            </a:xfrm>
            <a:custGeom>
              <a:avLst/>
              <a:gdLst/>
              <a:ahLst/>
              <a:cxnLst/>
              <a:rect l="l" t="t" r="r" b="b"/>
              <a:pathLst>
                <a:path w="10113" h="10308" extrusionOk="0">
                  <a:moveTo>
                    <a:pt x="6554" y="1"/>
                  </a:moveTo>
                  <a:lnTo>
                    <a:pt x="1" y="4764"/>
                  </a:lnTo>
                  <a:cubicBezTo>
                    <a:pt x="1883" y="7369"/>
                    <a:pt x="4557" y="9309"/>
                    <a:pt x="7610" y="10307"/>
                  </a:cubicBezTo>
                  <a:lnTo>
                    <a:pt x="10112" y="2606"/>
                  </a:lnTo>
                  <a:cubicBezTo>
                    <a:pt x="8677" y="2135"/>
                    <a:pt x="7438" y="1229"/>
                    <a:pt x="6554" y="1"/>
                  </a:cubicBezTo>
                  <a:close/>
                </a:path>
              </a:pathLst>
            </a:custGeom>
            <a:noFill/>
            <a:ln w="9525" cap="flat" cmpd="sng">
              <a:solidFill>
                <a:srgbClr val="E3E9ED"/>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240" name="Google Shape;1240;p103"/>
            <p:cNvSpPr/>
            <p:nvPr/>
          </p:nvSpPr>
          <p:spPr>
            <a:xfrm>
              <a:off x="1897577" y="3048492"/>
              <a:ext cx="152727" cy="144390"/>
            </a:xfrm>
            <a:custGeom>
              <a:avLst/>
              <a:gdLst/>
              <a:ahLst/>
              <a:cxnLst/>
              <a:rect l="l" t="t" r="r" b="b"/>
              <a:pathLst>
                <a:path w="9470" h="8953" extrusionOk="0">
                  <a:moveTo>
                    <a:pt x="12" y="0"/>
                  </a:moveTo>
                  <a:cubicBezTo>
                    <a:pt x="0" y="3214"/>
                    <a:pt x="1022" y="6347"/>
                    <a:pt x="2916" y="8953"/>
                  </a:cubicBezTo>
                  <a:lnTo>
                    <a:pt x="9469" y="4190"/>
                  </a:lnTo>
                  <a:cubicBezTo>
                    <a:pt x="8574" y="2973"/>
                    <a:pt x="8103" y="1504"/>
                    <a:pt x="8103" y="0"/>
                  </a:cubicBezTo>
                  <a:close/>
                </a:path>
              </a:pathLst>
            </a:custGeom>
            <a:noFill/>
            <a:ln w="9525" cap="flat" cmpd="sng">
              <a:solidFill>
                <a:srgbClr val="869FB2"/>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241" name="Google Shape;1241;p103"/>
            <p:cNvSpPr/>
            <p:nvPr/>
          </p:nvSpPr>
          <p:spPr>
            <a:xfrm>
              <a:off x="2143379" y="3048492"/>
              <a:ext cx="16" cy="16"/>
            </a:xfrm>
            <a:custGeom>
              <a:avLst/>
              <a:gdLst/>
              <a:ahLst/>
              <a:cxnLst/>
              <a:rect l="l" t="t" r="r" b="b"/>
              <a:pathLst>
                <a:path w="1" h="1" fill="none" extrusionOk="0">
                  <a:moveTo>
                    <a:pt x="0" y="0"/>
                  </a:moveTo>
                  <a:lnTo>
                    <a:pt x="0" y="0"/>
                  </a:lnTo>
                  <a:close/>
                </a:path>
              </a:pathLst>
            </a:custGeom>
            <a:noFill/>
            <a:ln w="9525" cap="rnd" cmpd="sng">
              <a:solidFill>
                <a:srgbClr val="000000"/>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242" name="Google Shape;1242;p103"/>
            <p:cNvSpPr/>
            <p:nvPr/>
          </p:nvSpPr>
          <p:spPr>
            <a:xfrm>
              <a:off x="2143379" y="3048492"/>
              <a:ext cx="16" cy="16"/>
            </a:xfrm>
            <a:custGeom>
              <a:avLst/>
              <a:gdLst/>
              <a:ahLst/>
              <a:cxnLst/>
              <a:rect l="l" t="t" r="r" b="b"/>
              <a:pathLst>
                <a:path w="1" h="1" fill="none" extrusionOk="0">
                  <a:moveTo>
                    <a:pt x="0" y="0"/>
                  </a:moveTo>
                  <a:lnTo>
                    <a:pt x="0" y="0"/>
                  </a:lnTo>
                  <a:close/>
                </a:path>
              </a:pathLst>
            </a:custGeom>
            <a:noFill/>
            <a:ln w="9525" cap="flat" cmpd="sng">
              <a:solidFill>
                <a:srgbClr val="000000"/>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1243" name="Google Shape;1243;p103"/>
          <p:cNvGrpSpPr/>
          <p:nvPr/>
        </p:nvGrpSpPr>
        <p:grpSpPr>
          <a:xfrm>
            <a:off x="1330034" y="5558831"/>
            <a:ext cx="1078969" cy="267789"/>
            <a:chOff x="2013045" y="4813233"/>
            <a:chExt cx="921986" cy="228854"/>
          </a:xfrm>
        </p:grpSpPr>
        <p:sp>
          <p:nvSpPr>
            <p:cNvPr id="1244" name="Google Shape;1244;p103"/>
            <p:cNvSpPr/>
            <p:nvPr/>
          </p:nvSpPr>
          <p:spPr>
            <a:xfrm>
              <a:off x="2013045" y="4867370"/>
              <a:ext cx="921986" cy="174718"/>
            </a:xfrm>
            <a:custGeom>
              <a:avLst/>
              <a:gdLst/>
              <a:ahLst/>
              <a:cxnLst/>
              <a:rect l="l" t="t" r="r" b="b"/>
              <a:pathLst>
                <a:path w="138801" h="26303" fill="none" extrusionOk="0">
                  <a:moveTo>
                    <a:pt x="0" y="18153"/>
                  </a:moveTo>
                  <a:lnTo>
                    <a:pt x="0" y="26303"/>
                  </a:lnTo>
                  <a:lnTo>
                    <a:pt x="138800" y="26303"/>
                  </a:lnTo>
                  <a:lnTo>
                    <a:pt x="138800" y="0"/>
                  </a:lnTo>
                  <a:lnTo>
                    <a:pt x="38405" y="0"/>
                  </a:lnTo>
                </a:path>
              </a:pathLst>
            </a:custGeom>
            <a:noFill/>
            <a:ln w="9525" cap="flat" cmpd="sng">
              <a:solidFill>
                <a:srgbClr val="CFD9E0"/>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245" name="Google Shape;1245;p103"/>
            <p:cNvSpPr/>
            <p:nvPr/>
          </p:nvSpPr>
          <p:spPr>
            <a:xfrm>
              <a:off x="2013045" y="4813233"/>
              <a:ext cx="316628" cy="174718"/>
            </a:xfrm>
            <a:custGeom>
              <a:avLst/>
              <a:gdLst/>
              <a:ahLst/>
              <a:cxnLst/>
              <a:rect l="l" t="t" r="r" b="b"/>
              <a:pathLst>
                <a:path w="47667" h="26303" fill="none" extrusionOk="0">
                  <a:moveTo>
                    <a:pt x="0" y="0"/>
                  </a:moveTo>
                  <a:lnTo>
                    <a:pt x="0" y="26303"/>
                  </a:lnTo>
                  <a:lnTo>
                    <a:pt x="47666" y="26303"/>
                  </a:lnTo>
                  <a:lnTo>
                    <a:pt x="34453" y="0"/>
                  </a:lnTo>
                  <a:close/>
                </a:path>
              </a:pathLst>
            </a:custGeom>
            <a:noFill/>
            <a:ln w="9525" cap="flat" cmpd="sng">
              <a:solidFill>
                <a:srgbClr val="E3E9ED"/>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1246" name="Google Shape;1246;p103"/>
          <p:cNvGrpSpPr/>
          <p:nvPr/>
        </p:nvGrpSpPr>
        <p:grpSpPr>
          <a:xfrm>
            <a:off x="1341314" y="3541340"/>
            <a:ext cx="1056561" cy="359921"/>
            <a:chOff x="1046767" y="4756633"/>
            <a:chExt cx="859646" cy="292841"/>
          </a:xfrm>
        </p:grpSpPr>
        <p:sp>
          <p:nvSpPr>
            <p:cNvPr id="1247" name="Google Shape;1247;p103"/>
            <p:cNvSpPr/>
            <p:nvPr/>
          </p:nvSpPr>
          <p:spPr>
            <a:xfrm>
              <a:off x="1046767" y="4811593"/>
              <a:ext cx="859646" cy="237881"/>
            </a:xfrm>
            <a:custGeom>
              <a:avLst/>
              <a:gdLst/>
              <a:ahLst/>
              <a:cxnLst/>
              <a:rect l="l" t="t" r="r" b="b"/>
              <a:pathLst>
                <a:path w="129416" h="35812" fill="none" extrusionOk="0">
                  <a:moveTo>
                    <a:pt x="31737" y="0"/>
                  </a:moveTo>
                  <a:cubicBezTo>
                    <a:pt x="33960" y="8644"/>
                    <a:pt x="27539" y="17041"/>
                    <a:pt x="18524" y="17041"/>
                  </a:cubicBezTo>
                  <a:cubicBezTo>
                    <a:pt x="9633" y="17041"/>
                    <a:pt x="3088" y="8644"/>
                    <a:pt x="5434" y="0"/>
                  </a:cubicBezTo>
                  <a:lnTo>
                    <a:pt x="2594" y="0"/>
                  </a:lnTo>
                  <a:cubicBezTo>
                    <a:pt x="1236" y="0"/>
                    <a:pt x="1" y="1112"/>
                    <a:pt x="1" y="2594"/>
                  </a:cubicBezTo>
                  <a:lnTo>
                    <a:pt x="1" y="35811"/>
                  </a:lnTo>
                  <a:lnTo>
                    <a:pt x="126823" y="35811"/>
                  </a:lnTo>
                  <a:cubicBezTo>
                    <a:pt x="128304" y="35811"/>
                    <a:pt x="129416" y="34576"/>
                    <a:pt x="129416" y="33218"/>
                  </a:cubicBezTo>
                  <a:lnTo>
                    <a:pt x="129416" y="0"/>
                  </a:lnTo>
                  <a:close/>
                </a:path>
              </a:pathLst>
            </a:custGeom>
            <a:noFill/>
            <a:ln w="9525" cap="flat" cmpd="sng">
              <a:solidFill>
                <a:srgbClr val="667E92"/>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248" name="Google Shape;1248;p103"/>
            <p:cNvSpPr/>
            <p:nvPr/>
          </p:nvSpPr>
          <p:spPr>
            <a:xfrm>
              <a:off x="1046767" y="4983846"/>
              <a:ext cx="65628" cy="65628"/>
            </a:xfrm>
            <a:custGeom>
              <a:avLst/>
              <a:gdLst/>
              <a:ahLst/>
              <a:cxnLst/>
              <a:rect l="l" t="t" r="r" b="b"/>
              <a:pathLst>
                <a:path w="9880" h="9880" fill="none" extrusionOk="0">
                  <a:moveTo>
                    <a:pt x="1" y="0"/>
                  </a:moveTo>
                  <a:lnTo>
                    <a:pt x="1" y="9879"/>
                  </a:lnTo>
                  <a:lnTo>
                    <a:pt x="9880" y="9879"/>
                  </a:lnTo>
                  <a:close/>
                </a:path>
              </a:pathLst>
            </a:custGeom>
            <a:noFill/>
            <a:ln w="9525" cap="flat" cmpd="sng">
              <a:solidFill>
                <a:srgbClr val="E3E9ED"/>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249" name="Google Shape;1249;p103"/>
            <p:cNvSpPr/>
            <p:nvPr/>
          </p:nvSpPr>
          <p:spPr>
            <a:xfrm>
              <a:off x="1067279" y="4756633"/>
              <a:ext cx="179640" cy="179646"/>
            </a:xfrm>
            <a:custGeom>
              <a:avLst/>
              <a:gdLst/>
              <a:ahLst/>
              <a:cxnLst/>
              <a:rect l="l" t="t" r="r" b="b"/>
              <a:pathLst>
                <a:path w="27044" h="27045" fill="none" extrusionOk="0">
                  <a:moveTo>
                    <a:pt x="15560" y="1"/>
                  </a:moveTo>
                  <a:cubicBezTo>
                    <a:pt x="5187" y="1"/>
                    <a:pt x="0" y="12473"/>
                    <a:pt x="7286" y="19759"/>
                  </a:cubicBezTo>
                  <a:cubicBezTo>
                    <a:pt x="14572" y="27044"/>
                    <a:pt x="27044" y="21858"/>
                    <a:pt x="27044" y="11609"/>
                  </a:cubicBezTo>
                  <a:cubicBezTo>
                    <a:pt x="27044" y="5187"/>
                    <a:pt x="21857" y="1"/>
                    <a:pt x="15560" y="1"/>
                  </a:cubicBezTo>
                  <a:close/>
                </a:path>
              </a:pathLst>
            </a:custGeom>
            <a:noFill/>
            <a:ln w="9525" cap="flat" cmpd="sng">
              <a:solidFill>
                <a:srgbClr val="A5B7C5"/>
              </a:solidFill>
              <a:prstDash val="solid"/>
              <a:miter lim="123487"/>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sp>
        <p:nvSpPr>
          <p:cNvPr id="1250" name="Google Shape;1250;p103"/>
          <p:cNvSpPr/>
          <p:nvPr/>
        </p:nvSpPr>
        <p:spPr>
          <a:xfrm>
            <a:off x="9919651" y="3134230"/>
            <a:ext cx="247213" cy="125341"/>
          </a:xfrm>
          <a:custGeom>
            <a:avLst/>
            <a:gdLst/>
            <a:ahLst/>
            <a:cxnLst/>
            <a:rect l="l" t="t" r="r" b="b"/>
            <a:pathLst>
              <a:path w="3045" h="1544" extrusionOk="0">
                <a:moveTo>
                  <a:pt x="1645" y="0"/>
                </a:moveTo>
                <a:lnTo>
                  <a:pt x="2143" y="505"/>
                </a:lnTo>
                <a:lnTo>
                  <a:pt x="0" y="505"/>
                </a:lnTo>
                <a:lnTo>
                  <a:pt x="0" y="1046"/>
                </a:lnTo>
                <a:lnTo>
                  <a:pt x="2143" y="1046"/>
                </a:lnTo>
                <a:lnTo>
                  <a:pt x="1645" y="1544"/>
                </a:lnTo>
                <a:lnTo>
                  <a:pt x="2272" y="1544"/>
                </a:lnTo>
                <a:lnTo>
                  <a:pt x="3044" y="772"/>
                </a:lnTo>
                <a:lnTo>
                  <a:pt x="2272" y="0"/>
                </a:lnTo>
                <a:close/>
              </a:path>
            </a:pathLst>
          </a:custGeom>
          <a:noFill/>
          <a:ln w="9525" cap="flat" cmpd="sng">
            <a:solidFill>
              <a:srgbClr val="869FB2"/>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251" name="Google Shape;1251;p103"/>
          <p:cNvSpPr/>
          <p:nvPr/>
        </p:nvSpPr>
        <p:spPr>
          <a:xfrm>
            <a:off x="9518925" y="3110767"/>
            <a:ext cx="229028" cy="172264"/>
          </a:xfrm>
          <a:custGeom>
            <a:avLst/>
            <a:gdLst/>
            <a:ahLst/>
            <a:cxnLst/>
            <a:rect l="l" t="t" r="r" b="b"/>
            <a:pathLst>
              <a:path w="2821" h="2122" extrusionOk="0">
                <a:moveTo>
                  <a:pt x="1761" y="1"/>
                </a:moveTo>
                <a:lnTo>
                  <a:pt x="1400" y="361"/>
                </a:lnTo>
                <a:lnTo>
                  <a:pt x="1847" y="808"/>
                </a:lnTo>
                <a:lnTo>
                  <a:pt x="1" y="808"/>
                </a:lnTo>
                <a:lnTo>
                  <a:pt x="1" y="1321"/>
                </a:lnTo>
                <a:lnTo>
                  <a:pt x="1847" y="1321"/>
                </a:lnTo>
                <a:lnTo>
                  <a:pt x="1400" y="1768"/>
                </a:lnTo>
                <a:lnTo>
                  <a:pt x="1761" y="2121"/>
                </a:lnTo>
                <a:lnTo>
                  <a:pt x="2821" y="1061"/>
                </a:lnTo>
                <a:lnTo>
                  <a:pt x="1761" y="1"/>
                </a:lnTo>
                <a:close/>
              </a:path>
            </a:pathLst>
          </a:custGeom>
          <a:noFill/>
          <a:ln w="9525" cap="flat" cmpd="sng">
            <a:solidFill>
              <a:srgbClr val="869FB2"/>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252" name="Google Shape;1252;p103"/>
          <p:cNvSpPr/>
          <p:nvPr/>
        </p:nvSpPr>
        <p:spPr>
          <a:xfrm>
            <a:off x="10348643" y="3119373"/>
            <a:ext cx="223751" cy="155703"/>
          </a:xfrm>
          <a:custGeom>
            <a:avLst/>
            <a:gdLst/>
            <a:ahLst/>
            <a:cxnLst/>
            <a:rect l="l" t="t" r="r" b="b"/>
            <a:pathLst>
              <a:path w="2756" h="1918" extrusionOk="0">
                <a:moveTo>
                  <a:pt x="1757" y="0"/>
                </a:moveTo>
                <a:cubicBezTo>
                  <a:pt x="1693" y="0"/>
                  <a:pt x="1630" y="25"/>
                  <a:pt x="1580" y="75"/>
                </a:cubicBezTo>
                <a:cubicBezTo>
                  <a:pt x="1479" y="176"/>
                  <a:pt x="1479" y="335"/>
                  <a:pt x="1580" y="436"/>
                </a:cubicBezTo>
                <a:lnTo>
                  <a:pt x="1768" y="623"/>
                </a:lnTo>
                <a:cubicBezTo>
                  <a:pt x="1797" y="652"/>
                  <a:pt x="1775" y="702"/>
                  <a:pt x="1739" y="702"/>
                </a:cubicBezTo>
                <a:lnTo>
                  <a:pt x="253" y="702"/>
                </a:lnTo>
                <a:cubicBezTo>
                  <a:pt x="116" y="702"/>
                  <a:pt x="1" y="818"/>
                  <a:pt x="1" y="962"/>
                </a:cubicBezTo>
                <a:cubicBezTo>
                  <a:pt x="1" y="1099"/>
                  <a:pt x="116" y="1215"/>
                  <a:pt x="253" y="1215"/>
                </a:cubicBezTo>
                <a:lnTo>
                  <a:pt x="1739" y="1215"/>
                </a:lnTo>
                <a:cubicBezTo>
                  <a:pt x="1775" y="1215"/>
                  <a:pt x="1797" y="1265"/>
                  <a:pt x="1768" y="1294"/>
                </a:cubicBezTo>
                <a:lnTo>
                  <a:pt x="1580" y="1481"/>
                </a:lnTo>
                <a:cubicBezTo>
                  <a:pt x="1479" y="1582"/>
                  <a:pt x="1479" y="1741"/>
                  <a:pt x="1580" y="1842"/>
                </a:cubicBezTo>
                <a:cubicBezTo>
                  <a:pt x="1631" y="1892"/>
                  <a:pt x="1696" y="1918"/>
                  <a:pt x="1760" y="1918"/>
                </a:cubicBezTo>
                <a:cubicBezTo>
                  <a:pt x="1825" y="1918"/>
                  <a:pt x="1890" y="1892"/>
                  <a:pt x="1941" y="1842"/>
                </a:cubicBezTo>
                <a:lnTo>
                  <a:pt x="2676" y="1106"/>
                </a:lnTo>
                <a:cubicBezTo>
                  <a:pt x="2756" y="1027"/>
                  <a:pt x="2756" y="897"/>
                  <a:pt x="2676" y="811"/>
                </a:cubicBezTo>
                <a:lnTo>
                  <a:pt x="1941" y="82"/>
                </a:lnTo>
                <a:cubicBezTo>
                  <a:pt x="1889" y="27"/>
                  <a:pt x="1823" y="0"/>
                  <a:pt x="1757" y="0"/>
                </a:cubicBezTo>
                <a:close/>
              </a:path>
            </a:pathLst>
          </a:custGeom>
          <a:noFill/>
          <a:ln w="9525" cap="flat" cmpd="sng">
            <a:solidFill>
              <a:srgbClr val="869FB2"/>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253" name="Google Shape;1253;p103"/>
          <p:cNvSpPr/>
          <p:nvPr/>
        </p:nvSpPr>
        <p:spPr>
          <a:xfrm>
            <a:off x="10741584" y="3110767"/>
            <a:ext cx="218473" cy="172264"/>
          </a:xfrm>
          <a:custGeom>
            <a:avLst/>
            <a:gdLst/>
            <a:ahLst/>
            <a:cxnLst/>
            <a:rect l="l" t="t" r="r" b="b"/>
            <a:pathLst>
              <a:path w="2691" h="2122" extrusionOk="0">
                <a:moveTo>
                  <a:pt x="1630" y="1"/>
                </a:moveTo>
                <a:lnTo>
                  <a:pt x="1630" y="722"/>
                </a:lnTo>
                <a:lnTo>
                  <a:pt x="1630" y="808"/>
                </a:lnTo>
                <a:lnTo>
                  <a:pt x="0" y="808"/>
                </a:lnTo>
                <a:lnTo>
                  <a:pt x="0" y="1321"/>
                </a:lnTo>
                <a:lnTo>
                  <a:pt x="1630" y="1321"/>
                </a:lnTo>
                <a:lnTo>
                  <a:pt x="1630" y="1407"/>
                </a:lnTo>
                <a:lnTo>
                  <a:pt x="1630" y="2121"/>
                </a:lnTo>
                <a:lnTo>
                  <a:pt x="2691" y="1061"/>
                </a:lnTo>
                <a:lnTo>
                  <a:pt x="1630" y="1"/>
                </a:lnTo>
                <a:close/>
              </a:path>
            </a:pathLst>
          </a:custGeom>
          <a:noFill/>
          <a:ln w="9525" cap="flat" cmpd="sng">
            <a:solidFill>
              <a:srgbClr val="869FB2"/>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nvGrpSpPr>
          <p:cNvPr id="1254" name="Google Shape;1254;p103"/>
          <p:cNvGrpSpPr/>
          <p:nvPr/>
        </p:nvGrpSpPr>
        <p:grpSpPr>
          <a:xfrm>
            <a:off x="9522455" y="3400750"/>
            <a:ext cx="221964" cy="188663"/>
            <a:chOff x="4660325" y="1866850"/>
            <a:chExt cx="68350" cy="58100"/>
          </a:xfrm>
        </p:grpSpPr>
        <p:sp>
          <p:nvSpPr>
            <p:cNvPr id="1255" name="Google Shape;1255;p103"/>
            <p:cNvSpPr/>
            <p:nvPr/>
          </p:nvSpPr>
          <p:spPr>
            <a:xfrm>
              <a:off x="4660325" y="1866850"/>
              <a:ext cx="37700" cy="58100"/>
            </a:xfrm>
            <a:custGeom>
              <a:avLst/>
              <a:gdLst/>
              <a:ahLst/>
              <a:cxnLst/>
              <a:rect l="l" t="t" r="r" b="b"/>
              <a:pathLst>
                <a:path w="1508" h="2324" extrusionOk="0">
                  <a:moveTo>
                    <a:pt x="346" y="1"/>
                  </a:moveTo>
                  <a:lnTo>
                    <a:pt x="0" y="354"/>
                  </a:lnTo>
                  <a:lnTo>
                    <a:pt x="815" y="1162"/>
                  </a:lnTo>
                  <a:lnTo>
                    <a:pt x="0" y="1977"/>
                  </a:lnTo>
                  <a:lnTo>
                    <a:pt x="346" y="2323"/>
                  </a:lnTo>
                  <a:lnTo>
                    <a:pt x="1508" y="1162"/>
                  </a:lnTo>
                  <a:lnTo>
                    <a:pt x="346" y="1"/>
                  </a:lnTo>
                  <a:close/>
                </a:path>
              </a:pathLst>
            </a:custGeom>
            <a:noFill/>
            <a:ln w="9525" cap="flat" cmpd="sng">
              <a:solidFill>
                <a:srgbClr val="869FB2"/>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256" name="Google Shape;1256;p103"/>
            <p:cNvSpPr/>
            <p:nvPr/>
          </p:nvSpPr>
          <p:spPr>
            <a:xfrm>
              <a:off x="4690975" y="1866850"/>
              <a:ext cx="37700" cy="58100"/>
            </a:xfrm>
            <a:custGeom>
              <a:avLst/>
              <a:gdLst/>
              <a:ahLst/>
              <a:cxnLst/>
              <a:rect l="l" t="t" r="r" b="b"/>
              <a:pathLst>
                <a:path w="1508" h="2324" extrusionOk="0">
                  <a:moveTo>
                    <a:pt x="346" y="1"/>
                  </a:moveTo>
                  <a:lnTo>
                    <a:pt x="0" y="354"/>
                  </a:lnTo>
                  <a:lnTo>
                    <a:pt x="808" y="1162"/>
                  </a:lnTo>
                  <a:lnTo>
                    <a:pt x="0" y="1977"/>
                  </a:lnTo>
                  <a:lnTo>
                    <a:pt x="346" y="2323"/>
                  </a:lnTo>
                  <a:lnTo>
                    <a:pt x="1508" y="1162"/>
                  </a:lnTo>
                  <a:lnTo>
                    <a:pt x="346" y="1"/>
                  </a:lnTo>
                  <a:close/>
                </a:path>
              </a:pathLst>
            </a:custGeom>
            <a:noFill/>
            <a:ln w="9525" cap="flat" cmpd="sng">
              <a:solidFill>
                <a:srgbClr val="869FB2"/>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1257" name="Google Shape;1257;p103"/>
          <p:cNvGrpSpPr/>
          <p:nvPr/>
        </p:nvGrpSpPr>
        <p:grpSpPr>
          <a:xfrm>
            <a:off x="9934915" y="3435049"/>
            <a:ext cx="216687" cy="120065"/>
            <a:chOff x="4791775" y="1877500"/>
            <a:chExt cx="66725" cy="36975"/>
          </a:xfrm>
        </p:grpSpPr>
        <p:sp>
          <p:nvSpPr>
            <p:cNvPr id="1258" name="Google Shape;1258;p103"/>
            <p:cNvSpPr/>
            <p:nvPr/>
          </p:nvSpPr>
          <p:spPr>
            <a:xfrm>
              <a:off x="4791775" y="1877500"/>
              <a:ext cx="36075" cy="36975"/>
            </a:xfrm>
            <a:custGeom>
              <a:avLst/>
              <a:gdLst/>
              <a:ahLst/>
              <a:cxnLst/>
              <a:rect l="l" t="t" r="r" b="b"/>
              <a:pathLst>
                <a:path w="1443" h="1479" extrusionOk="0">
                  <a:moveTo>
                    <a:pt x="0" y="0"/>
                  </a:moveTo>
                  <a:lnTo>
                    <a:pt x="743" y="736"/>
                  </a:lnTo>
                  <a:lnTo>
                    <a:pt x="0" y="1479"/>
                  </a:lnTo>
                  <a:lnTo>
                    <a:pt x="700" y="1479"/>
                  </a:lnTo>
                  <a:lnTo>
                    <a:pt x="1442" y="736"/>
                  </a:lnTo>
                  <a:lnTo>
                    <a:pt x="700" y="0"/>
                  </a:lnTo>
                  <a:close/>
                </a:path>
              </a:pathLst>
            </a:custGeom>
            <a:noFill/>
            <a:ln w="9525" cap="flat" cmpd="sng">
              <a:solidFill>
                <a:srgbClr val="869FB2"/>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259" name="Google Shape;1259;p103"/>
            <p:cNvSpPr/>
            <p:nvPr/>
          </p:nvSpPr>
          <p:spPr>
            <a:xfrm>
              <a:off x="4822425" y="1877500"/>
              <a:ext cx="36075" cy="36975"/>
            </a:xfrm>
            <a:custGeom>
              <a:avLst/>
              <a:gdLst/>
              <a:ahLst/>
              <a:cxnLst/>
              <a:rect l="l" t="t" r="r" b="b"/>
              <a:pathLst>
                <a:path w="1443" h="1479" extrusionOk="0">
                  <a:moveTo>
                    <a:pt x="0" y="0"/>
                  </a:moveTo>
                  <a:lnTo>
                    <a:pt x="743" y="736"/>
                  </a:lnTo>
                  <a:lnTo>
                    <a:pt x="0" y="1479"/>
                  </a:lnTo>
                  <a:lnTo>
                    <a:pt x="700" y="1479"/>
                  </a:lnTo>
                  <a:lnTo>
                    <a:pt x="1443" y="736"/>
                  </a:lnTo>
                  <a:lnTo>
                    <a:pt x="700" y="0"/>
                  </a:lnTo>
                  <a:close/>
                </a:path>
              </a:pathLst>
            </a:custGeom>
            <a:noFill/>
            <a:ln w="9525" cap="flat" cmpd="sng">
              <a:solidFill>
                <a:srgbClr val="869FB2"/>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1260" name="Google Shape;1260;p103"/>
          <p:cNvGrpSpPr/>
          <p:nvPr/>
        </p:nvGrpSpPr>
        <p:grpSpPr>
          <a:xfrm>
            <a:off x="10363866" y="3435049"/>
            <a:ext cx="193305" cy="120065"/>
            <a:chOff x="4923925" y="1877500"/>
            <a:chExt cx="59525" cy="36975"/>
          </a:xfrm>
        </p:grpSpPr>
        <p:sp>
          <p:nvSpPr>
            <p:cNvPr id="1261" name="Google Shape;1261;p103"/>
            <p:cNvSpPr/>
            <p:nvPr/>
          </p:nvSpPr>
          <p:spPr>
            <a:xfrm>
              <a:off x="4923925" y="1877500"/>
              <a:ext cx="28875" cy="36975"/>
            </a:xfrm>
            <a:custGeom>
              <a:avLst/>
              <a:gdLst/>
              <a:ahLst/>
              <a:cxnLst/>
              <a:rect l="l" t="t" r="r" b="b"/>
              <a:pathLst>
                <a:path w="1155" h="1479" extrusionOk="0">
                  <a:moveTo>
                    <a:pt x="332" y="0"/>
                  </a:moveTo>
                  <a:cubicBezTo>
                    <a:pt x="116" y="0"/>
                    <a:pt x="1" y="260"/>
                    <a:pt x="159" y="419"/>
                  </a:cubicBezTo>
                  <a:lnTo>
                    <a:pt x="433" y="700"/>
                  </a:lnTo>
                  <a:cubicBezTo>
                    <a:pt x="455" y="722"/>
                    <a:pt x="455" y="758"/>
                    <a:pt x="433" y="779"/>
                  </a:cubicBezTo>
                  <a:lnTo>
                    <a:pt x="159" y="1053"/>
                  </a:lnTo>
                  <a:cubicBezTo>
                    <a:pt x="1" y="1212"/>
                    <a:pt x="116" y="1479"/>
                    <a:pt x="332" y="1479"/>
                  </a:cubicBezTo>
                  <a:cubicBezTo>
                    <a:pt x="397" y="1479"/>
                    <a:pt x="462" y="1450"/>
                    <a:pt x="506" y="1407"/>
                  </a:cubicBezTo>
                  <a:lnTo>
                    <a:pt x="1133" y="779"/>
                  </a:lnTo>
                  <a:cubicBezTo>
                    <a:pt x="1155" y="758"/>
                    <a:pt x="1155" y="722"/>
                    <a:pt x="1133" y="700"/>
                  </a:cubicBezTo>
                  <a:lnTo>
                    <a:pt x="506" y="73"/>
                  </a:lnTo>
                  <a:cubicBezTo>
                    <a:pt x="462" y="22"/>
                    <a:pt x="397" y="0"/>
                    <a:pt x="332" y="0"/>
                  </a:cubicBezTo>
                  <a:close/>
                </a:path>
              </a:pathLst>
            </a:custGeom>
            <a:noFill/>
            <a:ln w="9525" cap="flat" cmpd="sng">
              <a:solidFill>
                <a:srgbClr val="869FB2"/>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262" name="Google Shape;1262;p103"/>
            <p:cNvSpPr/>
            <p:nvPr/>
          </p:nvSpPr>
          <p:spPr>
            <a:xfrm>
              <a:off x="4954575" y="1877500"/>
              <a:ext cx="28875" cy="36975"/>
            </a:xfrm>
            <a:custGeom>
              <a:avLst/>
              <a:gdLst/>
              <a:ahLst/>
              <a:cxnLst/>
              <a:rect l="l" t="t" r="r" b="b"/>
              <a:pathLst>
                <a:path w="1155" h="1479" extrusionOk="0">
                  <a:moveTo>
                    <a:pt x="333" y="0"/>
                  </a:moveTo>
                  <a:cubicBezTo>
                    <a:pt x="116" y="0"/>
                    <a:pt x="1" y="260"/>
                    <a:pt x="159" y="419"/>
                  </a:cubicBezTo>
                  <a:lnTo>
                    <a:pt x="434" y="700"/>
                  </a:lnTo>
                  <a:cubicBezTo>
                    <a:pt x="455" y="722"/>
                    <a:pt x="455" y="758"/>
                    <a:pt x="434" y="779"/>
                  </a:cubicBezTo>
                  <a:lnTo>
                    <a:pt x="159" y="1053"/>
                  </a:lnTo>
                  <a:cubicBezTo>
                    <a:pt x="1" y="1212"/>
                    <a:pt x="116" y="1479"/>
                    <a:pt x="333" y="1479"/>
                  </a:cubicBezTo>
                  <a:cubicBezTo>
                    <a:pt x="397" y="1479"/>
                    <a:pt x="462" y="1450"/>
                    <a:pt x="506" y="1407"/>
                  </a:cubicBezTo>
                  <a:lnTo>
                    <a:pt x="1133" y="779"/>
                  </a:lnTo>
                  <a:cubicBezTo>
                    <a:pt x="1155" y="758"/>
                    <a:pt x="1155" y="722"/>
                    <a:pt x="1133" y="700"/>
                  </a:cubicBezTo>
                  <a:lnTo>
                    <a:pt x="506" y="73"/>
                  </a:lnTo>
                  <a:cubicBezTo>
                    <a:pt x="462" y="22"/>
                    <a:pt x="397" y="0"/>
                    <a:pt x="333" y="0"/>
                  </a:cubicBezTo>
                  <a:close/>
                </a:path>
              </a:pathLst>
            </a:custGeom>
            <a:noFill/>
            <a:ln w="9525" cap="flat" cmpd="sng">
              <a:solidFill>
                <a:srgbClr val="869FB2"/>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1263" name="Google Shape;1263;p103"/>
          <p:cNvGrpSpPr/>
          <p:nvPr/>
        </p:nvGrpSpPr>
        <p:grpSpPr>
          <a:xfrm>
            <a:off x="10756521" y="3411303"/>
            <a:ext cx="188596" cy="167556"/>
            <a:chOff x="5058450" y="1870100"/>
            <a:chExt cx="58075" cy="51600"/>
          </a:xfrm>
        </p:grpSpPr>
        <p:sp>
          <p:nvSpPr>
            <p:cNvPr id="1264" name="Google Shape;1264;p103"/>
            <p:cNvSpPr/>
            <p:nvPr/>
          </p:nvSpPr>
          <p:spPr>
            <a:xfrm>
              <a:off x="5058450" y="1870100"/>
              <a:ext cx="25800" cy="51600"/>
            </a:xfrm>
            <a:custGeom>
              <a:avLst/>
              <a:gdLst/>
              <a:ahLst/>
              <a:cxnLst/>
              <a:rect l="l" t="t" r="r" b="b"/>
              <a:pathLst>
                <a:path w="1032" h="2064" extrusionOk="0">
                  <a:moveTo>
                    <a:pt x="0" y="1"/>
                  </a:moveTo>
                  <a:lnTo>
                    <a:pt x="0" y="621"/>
                  </a:lnTo>
                  <a:lnTo>
                    <a:pt x="0" y="1443"/>
                  </a:lnTo>
                  <a:lnTo>
                    <a:pt x="0" y="2063"/>
                  </a:lnTo>
                  <a:lnTo>
                    <a:pt x="1032" y="1032"/>
                  </a:lnTo>
                  <a:lnTo>
                    <a:pt x="0" y="1"/>
                  </a:lnTo>
                  <a:close/>
                </a:path>
              </a:pathLst>
            </a:custGeom>
            <a:noFill/>
            <a:ln w="9525" cap="flat" cmpd="sng">
              <a:solidFill>
                <a:srgbClr val="869FB2"/>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265" name="Google Shape;1265;p103"/>
            <p:cNvSpPr/>
            <p:nvPr/>
          </p:nvSpPr>
          <p:spPr>
            <a:xfrm>
              <a:off x="5090725" y="1870100"/>
              <a:ext cx="25800" cy="51600"/>
            </a:xfrm>
            <a:custGeom>
              <a:avLst/>
              <a:gdLst/>
              <a:ahLst/>
              <a:cxnLst/>
              <a:rect l="l" t="t" r="r" b="b"/>
              <a:pathLst>
                <a:path w="1032" h="2064" extrusionOk="0">
                  <a:moveTo>
                    <a:pt x="0" y="1"/>
                  </a:moveTo>
                  <a:lnTo>
                    <a:pt x="0" y="621"/>
                  </a:lnTo>
                  <a:lnTo>
                    <a:pt x="0" y="1443"/>
                  </a:lnTo>
                  <a:lnTo>
                    <a:pt x="0" y="2063"/>
                  </a:lnTo>
                  <a:lnTo>
                    <a:pt x="1032" y="1032"/>
                  </a:lnTo>
                  <a:lnTo>
                    <a:pt x="0" y="1"/>
                  </a:lnTo>
                  <a:close/>
                </a:path>
              </a:pathLst>
            </a:custGeom>
            <a:noFill/>
            <a:ln w="9525" cap="flat" cmpd="sng">
              <a:solidFill>
                <a:srgbClr val="869FB2"/>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1266" name="Google Shape;1266;p103"/>
          <p:cNvGrpSpPr/>
          <p:nvPr/>
        </p:nvGrpSpPr>
        <p:grpSpPr>
          <a:xfrm>
            <a:off x="9975874" y="3974514"/>
            <a:ext cx="134769" cy="143527"/>
            <a:chOff x="4811425" y="2065025"/>
            <a:chExt cx="41500" cy="44200"/>
          </a:xfrm>
        </p:grpSpPr>
        <p:sp>
          <p:nvSpPr>
            <p:cNvPr id="1267" name="Google Shape;1267;p103"/>
            <p:cNvSpPr/>
            <p:nvPr/>
          </p:nvSpPr>
          <p:spPr>
            <a:xfrm>
              <a:off x="4825300" y="2065025"/>
              <a:ext cx="27625" cy="44200"/>
            </a:xfrm>
            <a:custGeom>
              <a:avLst/>
              <a:gdLst/>
              <a:ahLst/>
              <a:cxnLst/>
              <a:rect l="l" t="t" r="r" b="b"/>
              <a:pathLst>
                <a:path w="1105" h="1768" extrusionOk="0">
                  <a:moveTo>
                    <a:pt x="217" y="0"/>
                  </a:moveTo>
                  <a:lnTo>
                    <a:pt x="1" y="224"/>
                  </a:lnTo>
                  <a:lnTo>
                    <a:pt x="657" y="880"/>
                  </a:lnTo>
                  <a:lnTo>
                    <a:pt x="1" y="1544"/>
                  </a:lnTo>
                  <a:lnTo>
                    <a:pt x="217" y="1767"/>
                  </a:lnTo>
                  <a:lnTo>
                    <a:pt x="1104" y="880"/>
                  </a:lnTo>
                  <a:lnTo>
                    <a:pt x="217" y="0"/>
                  </a:lnTo>
                  <a:close/>
                </a:path>
              </a:pathLst>
            </a:custGeom>
            <a:solidFill>
              <a:srgbClr val="869FB2"/>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268" name="Google Shape;1268;p103"/>
            <p:cNvSpPr/>
            <p:nvPr/>
          </p:nvSpPr>
          <p:spPr>
            <a:xfrm>
              <a:off x="4811425" y="2072950"/>
              <a:ext cx="19850" cy="28350"/>
            </a:xfrm>
            <a:custGeom>
              <a:avLst/>
              <a:gdLst/>
              <a:ahLst/>
              <a:cxnLst/>
              <a:rect l="l" t="t" r="r" b="b"/>
              <a:pathLst>
                <a:path w="794" h="1134" extrusionOk="0">
                  <a:moveTo>
                    <a:pt x="224" y="1"/>
                  </a:moveTo>
                  <a:lnTo>
                    <a:pt x="0" y="224"/>
                  </a:lnTo>
                  <a:lnTo>
                    <a:pt x="346" y="563"/>
                  </a:lnTo>
                  <a:lnTo>
                    <a:pt x="0" y="909"/>
                  </a:lnTo>
                  <a:lnTo>
                    <a:pt x="224" y="1133"/>
                  </a:lnTo>
                  <a:lnTo>
                    <a:pt x="794" y="563"/>
                  </a:lnTo>
                  <a:lnTo>
                    <a:pt x="224" y="1"/>
                  </a:lnTo>
                  <a:close/>
                </a:path>
              </a:pathLst>
            </a:custGeom>
            <a:solidFill>
              <a:srgbClr val="869FB2"/>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1269" name="Google Shape;1269;p103"/>
          <p:cNvGrpSpPr/>
          <p:nvPr/>
        </p:nvGrpSpPr>
        <p:grpSpPr>
          <a:xfrm>
            <a:off x="10365790" y="3974798"/>
            <a:ext cx="161156" cy="142957"/>
            <a:chOff x="4929875" y="2065025"/>
            <a:chExt cx="49625" cy="44025"/>
          </a:xfrm>
        </p:grpSpPr>
        <p:sp>
          <p:nvSpPr>
            <p:cNvPr id="1270" name="Google Shape;1270;p103"/>
            <p:cNvSpPr/>
            <p:nvPr/>
          </p:nvSpPr>
          <p:spPr>
            <a:xfrm>
              <a:off x="4950075" y="2065025"/>
              <a:ext cx="29425" cy="44025"/>
            </a:xfrm>
            <a:custGeom>
              <a:avLst/>
              <a:gdLst/>
              <a:ahLst/>
              <a:cxnLst/>
              <a:rect l="l" t="t" r="r" b="b"/>
              <a:pathLst>
                <a:path w="1177" h="1761" extrusionOk="0">
                  <a:moveTo>
                    <a:pt x="1" y="0"/>
                  </a:moveTo>
                  <a:lnTo>
                    <a:pt x="729" y="880"/>
                  </a:lnTo>
                  <a:lnTo>
                    <a:pt x="1" y="1760"/>
                  </a:lnTo>
                  <a:lnTo>
                    <a:pt x="1176" y="880"/>
                  </a:lnTo>
                  <a:lnTo>
                    <a:pt x="1" y="0"/>
                  </a:lnTo>
                  <a:close/>
                </a:path>
              </a:pathLst>
            </a:custGeom>
            <a:solidFill>
              <a:srgbClr val="869FB2"/>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271" name="Google Shape;1271;p103"/>
            <p:cNvSpPr/>
            <p:nvPr/>
          </p:nvSpPr>
          <p:spPr>
            <a:xfrm>
              <a:off x="4929875" y="2065025"/>
              <a:ext cx="29425" cy="44025"/>
            </a:xfrm>
            <a:custGeom>
              <a:avLst/>
              <a:gdLst/>
              <a:ahLst/>
              <a:cxnLst/>
              <a:rect l="l" t="t" r="r" b="b"/>
              <a:pathLst>
                <a:path w="1177" h="1761" extrusionOk="0">
                  <a:moveTo>
                    <a:pt x="1" y="0"/>
                  </a:moveTo>
                  <a:lnTo>
                    <a:pt x="736" y="880"/>
                  </a:lnTo>
                  <a:lnTo>
                    <a:pt x="1" y="1760"/>
                  </a:lnTo>
                  <a:lnTo>
                    <a:pt x="1" y="1760"/>
                  </a:lnTo>
                  <a:lnTo>
                    <a:pt x="1176" y="880"/>
                  </a:lnTo>
                  <a:lnTo>
                    <a:pt x="1" y="0"/>
                  </a:lnTo>
                  <a:close/>
                </a:path>
              </a:pathLst>
            </a:custGeom>
            <a:solidFill>
              <a:srgbClr val="869FB2"/>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1272" name="Google Shape;1272;p103"/>
          <p:cNvGrpSpPr/>
          <p:nvPr/>
        </p:nvGrpSpPr>
        <p:grpSpPr>
          <a:xfrm>
            <a:off x="10804015" y="3978817"/>
            <a:ext cx="93608" cy="134921"/>
            <a:chOff x="5083925" y="2066350"/>
            <a:chExt cx="28825" cy="41550"/>
          </a:xfrm>
        </p:grpSpPr>
        <p:sp>
          <p:nvSpPr>
            <p:cNvPr id="1273" name="Google Shape;1273;p103"/>
            <p:cNvSpPr/>
            <p:nvPr/>
          </p:nvSpPr>
          <p:spPr>
            <a:xfrm>
              <a:off x="5084050" y="2066350"/>
              <a:ext cx="28700" cy="41550"/>
            </a:xfrm>
            <a:custGeom>
              <a:avLst/>
              <a:gdLst/>
              <a:ahLst/>
              <a:cxnLst/>
              <a:rect l="l" t="t" r="r" b="b"/>
              <a:pathLst>
                <a:path w="1148" h="1662" extrusionOk="0">
                  <a:moveTo>
                    <a:pt x="52" y="1"/>
                  </a:moveTo>
                  <a:cubicBezTo>
                    <a:pt x="27" y="1"/>
                    <a:pt x="0" y="24"/>
                    <a:pt x="0" y="56"/>
                  </a:cubicBezTo>
                  <a:lnTo>
                    <a:pt x="0" y="200"/>
                  </a:lnTo>
                  <a:cubicBezTo>
                    <a:pt x="0" y="243"/>
                    <a:pt x="22" y="279"/>
                    <a:pt x="51" y="308"/>
                  </a:cubicBezTo>
                  <a:lnTo>
                    <a:pt x="700" y="791"/>
                  </a:lnTo>
                  <a:cubicBezTo>
                    <a:pt x="729" y="813"/>
                    <a:pt x="729" y="849"/>
                    <a:pt x="700" y="871"/>
                  </a:cubicBezTo>
                  <a:lnTo>
                    <a:pt x="51" y="1354"/>
                  </a:lnTo>
                  <a:cubicBezTo>
                    <a:pt x="22" y="1383"/>
                    <a:pt x="0" y="1419"/>
                    <a:pt x="0" y="1462"/>
                  </a:cubicBezTo>
                  <a:lnTo>
                    <a:pt x="0" y="1613"/>
                  </a:lnTo>
                  <a:cubicBezTo>
                    <a:pt x="0" y="1639"/>
                    <a:pt x="26" y="1661"/>
                    <a:pt x="51" y="1661"/>
                  </a:cubicBezTo>
                  <a:cubicBezTo>
                    <a:pt x="61" y="1661"/>
                    <a:pt x="71" y="1658"/>
                    <a:pt x="80" y="1649"/>
                  </a:cubicBezTo>
                  <a:lnTo>
                    <a:pt x="1111" y="878"/>
                  </a:lnTo>
                  <a:cubicBezTo>
                    <a:pt x="1147" y="856"/>
                    <a:pt x="1147" y="806"/>
                    <a:pt x="1111" y="784"/>
                  </a:cubicBezTo>
                  <a:lnTo>
                    <a:pt x="80" y="12"/>
                  </a:lnTo>
                  <a:cubicBezTo>
                    <a:pt x="72" y="4"/>
                    <a:pt x="62" y="1"/>
                    <a:pt x="52" y="1"/>
                  </a:cubicBezTo>
                  <a:close/>
                </a:path>
              </a:pathLst>
            </a:custGeom>
            <a:solidFill>
              <a:srgbClr val="869FB2"/>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274" name="Google Shape;1274;p103"/>
            <p:cNvSpPr/>
            <p:nvPr/>
          </p:nvSpPr>
          <p:spPr>
            <a:xfrm>
              <a:off x="5083925" y="2081325"/>
              <a:ext cx="8800" cy="11600"/>
            </a:xfrm>
            <a:custGeom>
              <a:avLst/>
              <a:gdLst/>
              <a:ahLst/>
              <a:cxnLst/>
              <a:rect l="l" t="t" r="r" b="b"/>
              <a:pathLst>
                <a:path w="352" h="464" extrusionOk="0">
                  <a:moveTo>
                    <a:pt x="53" y="0"/>
                  </a:moveTo>
                  <a:cubicBezTo>
                    <a:pt x="25" y="0"/>
                    <a:pt x="0" y="24"/>
                    <a:pt x="5" y="55"/>
                  </a:cubicBezTo>
                  <a:lnTo>
                    <a:pt x="5" y="416"/>
                  </a:lnTo>
                  <a:cubicBezTo>
                    <a:pt x="5" y="442"/>
                    <a:pt x="31" y="464"/>
                    <a:pt x="56" y="464"/>
                  </a:cubicBezTo>
                  <a:cubicBezTo>
                    <a:pt x="66" y="464"/>
                    <a:pt x="76" y="460"/>
                    <a:pt x="85" y="452"/>
                  </a:cubicBezTo>
                  <a:lnTo>
                    <a:pt x="323" y="279"/>
                  </a:lnTo>
                  <a:cubicBezTo>
                    <a:pt x="352" y="257"/>
                    <a:pt x="352" y="207"/>
                    <a:pt x="323" y="185"/>
                  </a:cubicBezTo>
                  <a:lnTo>
                    <a:pt x="85" y="12"/>
                  </a:lnTo>
                  <a:cubicBezTo>
                    <a:pt x="75" y="4"/>
                    <a:pt x="63" y="0"/>
                    <a:pt x="53" y="0"/>
                  </a:cubicBezTo>
                  <a:close/>
                </a:path>
              </a:pathLst>
            </a:custGeom>
            <a:solidFill>
              <a:srgbClr val="869FB2"/>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1275" name="Google Shape;1275;p103"/>
          <p:cNvGrpSpPr/>
          <p:nvPr/>
        </p:nvGrpSpPr>
        <p:grpSpPr>
          <a:xfrm>
            <a:off x="9512753" y="3999679"/>
            <a:ext cx="241368" cy="93195"/>
            <a:chOff x="4659775" y="2072775"/>
            <a:chExt cx="74325" cy="28700"/>
          </a:xfrm>
        </p:grpSpPr>
        <p:sp>
          <p:nvSpPr>
            <p:cNvPr id="1276" name="Google Shape;1276;p103"/>
            <p:cNvSpPr/>
            <p:nvPr/>
          </p:nvSpPr>
          <p:spPr>
            <a:xfrm>
              <a:off x="4659775" y="2072775"/>
              <a:ext cx="38075" cy="28700"/>
            </a:xfrm>
            <a:custGeom>
              <a:avLst/>
              <a:gdLst/>
              <a:ahLst/>
              <a:cxnLst/>
              <a:rect l="l" t="t" r="r" b="b"/>
              <a:pathLst>
                <a:path w="1523" h="1148" extrusionOk="0">
                  <a:moveTo>
                    <a:pt x="1" y="0"/>
                  </a:moveTo>
                  <a:lnTo>
                    <a:pt x="578" y="570"/>
                  </a:lnTo>
                  <a:lnTo>
                    <a:pt x="1" y="1147"/>
                  </a:lnTo>
                  <a:lnTo>
                    <a:pt x="945" y="1147"/>
                  </a:lnTo>
                  <a:lnTo>
                    <a:pt x="1522" y="570"/>
                  </a:lnTo>
                  <a:lnTo>
                    <a:pt x="945" y="0"/>
                  </a:lnTo>
                  <a:close/>
                </a:path>
              </a:pathLst>
            </a:custGeom>
            <a:noFill/>
            <a:ln w="9525" cap="flat" cmpd="sng">
              <a:solidFill>
                <a:srgbClr val="869FB2"/>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277" name="Google Shape;1277;p103"/>
            <p:cNvSpPr/>
            <p:nvPr/>
          </p:nvSpPr>
          <p:spPr>
            <a:xfrm>
              <a:off x="4691875" y="2072775"/>
              <a:ext cx="24550" cy="28700"/>
            </a:xfrm>
            <a:custGeom>
              <a:avLst/>
              <a:gdLst/>
              <a:ahLst/>
              <a:cxnLst/>
              <a:rect l="l" t="t" r="r" b="b"/>
              <a:pathLst>
                <a:path w="982" h="1148" extrusionOk="0">
                  <a:moveTo>
                    <a:pt x="0" y="0"/>
                  </a:moveTo>
                  <a:lnTo>
                    <a:pt x="570" y="570"/>
                  </a:lnTo>
                  <a:lnTo>
                    <a:pt x="0" y="1147"/>
                  </a:lnTo>
                  <a:lnTo>
                    <a:pt x="411" y="1147"/>
                  </a:lnTo>
                  <a:lnTo>
                    <a:pt x="981" y="570"/>
                  </a:lnTo>
                  <a:lnTo>
                    <a:pt x="411" y="0"/>
                  </a:lnTo>
                  <a:close/>
                </a:path>
              </a:pathLst>
            </a:custGeom>
            <a:noFill/>
            <a:ln w="9525" cap="flat" cmpd="sng">
              <a:solidFill>
                <a:srgbClr val="869FB2"/>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278" name="Google Shape;1278;p103"/>
            <p:cNvSpPr/>
            <p:nvPr/>
          </p:nvSpPr>
          <p:spPr>
            <a:xfrm>
              <a:off x="4709350" y="2072775"/>
              <a:ext cx="24750" cy="28700"/>
            </a:xfrm>
            <a:custGeom>
              <a:avLst/>
              <a:gdLst/>
              <a:ahLst/>
              <a:cxnLst/>
              <a:rect l="l" t="t" r="r" b="b"/>
              <a:pathLst>
                <a:path w="990" h="1148" extrusionOk="0">
                  <a:moveTo>
                    <a:pt x="1" y="0"/>
                  </a:moveTo>
                  <a:lnTo>
                    <a:pt x="578" y="570"/>
                  </a:lnTo>
                  <a:lnTo>
                    <a:pt x="1" y="1147"/>
                  </a:lnTo>
                  <a:lnTo>
                    <a:pt x="412" y="1147"/>
                  </a:lnTo>
                  <a:lnTo>
                    <a:pt x="989" y="570"/>
                  </a:lnTo>
                  <a:lnTo>
                    <a:pt x="412" y="0"/>
                  </a:lnTo>
                  <a:close/>
                </a:path>
              </a:pathLst>
            </a:custGeom>
            <a:noFill/>
            <a:ln w="9525" cap="flat" cmpd="sng">
              <a:solidFill>
                <a:srgbClr val="869FB2"/>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1279" name="Google Shape;1279;p103"/>
          <p:cNvGrpSpPr/>
          <p:nvPr/>
        </p:nvGrpSpPr>
        <p:grpSpPr>
          <a:xfrm>
            <a:off x="10739229" y="3720433"/>
            <a:ext cx="223183" cy="118929"/>
            <a:chOff x="4662475" y="1976500"/>
            <a:chExt cx="68725" cy="36625"/>
          </a:xfrm>
        </p:grpSpPr>
        <p:sp>
          <p:nvSpPr>
            <p:cNvPr id="1280" name="Google Shape;1280;p103"/>
            <p:cNvSpPr/>
            <p:nvPr/>
          </p:nvSpPr>
          <p:spPr>
            <a:xfrm>
              <a:off x="4690800" y="1976500"/>
              <a:ext cx="40400" cy="36625"/>
            </a:xfrm>
            <a:custGeom>
              <a:avLst/>
              <a:gdLst/>
              <a:ahLst/>
              <a:cxnLst/>
              <a:rect l="l" t="t" r="r" b="b"/>
              <a:pathLst>
                <a:path w="1616" h="1465" extrusionOk="0">
                  <a:moveTo>
                    <a:pt x="887" y="0"/>
                  </a:moveTo>
                  <a:lnTo>
                    <a:pt x="692" y="188"/>
                  </a:lnTo>
                  <a:lnTo>
                    <a:pt x="1104" y="599"/>
                  </a:lnTo>
                  <a:lnTo>
                    <a:pt x="0" y="599"/>
                  </a:lnTo>
                  <a:lnTo>
                    <a:pt x="0" y="866"/>
                  </a:lnTo>
                  <a:lnTo>
                    <a:pt x="1104" y="866"/>
                  </a:lnTo>
                  <a:lnTo>
                    <a:pt x="692" y="1269"/>
                  </a:lnTo>
                  <a:lnTo>
                    <a:pt x="887" y="1464"/>
                  </a:lnTo>
                  <a:lnTo>
                    <a:pt x="1616" y="729"/>
                  </a:lnTo>
                  <a:lnTo>
                    <a:pt x="887" y="0"/>
                  </a:lnTo>
                  <a:close/>
                </a:path>
              </a:pathLst>
            </a:custGeom>
            <a:solidFill>
              <a:srgbClr val="869FB2"/>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281" name="Google Shape;1281;p103"/>
            <p:cNvSpPr/>
            <p:nvPr/>
          </p:nvSpPr>
          <p:spPr>
            <a:xfrm>
              <a:off x="4674375" y="1991450"/>
              <a:ext cx="10675" cy="6700"/>
            </a:xfrm>
            <a:custGeom>
              <a:avLst/>
              <a:gdLst/>
              <a:ahLst/>
              <a:cxnLst/>
              <a:rect l="l" t="t" r="r" b="b"/>
              <a:pathLst>
                <a:path w="427" h="268" extrusionOk="0">
                  <a:moveTo>
                    <a:pt x="1" y="1"/>
                  </a:moveTo>
                  <a:lnTo>
                    <a:pt x="1" y="268"/>
                  </a:lnTo>
                  <a:lnTo>
                    <a:pt x="426" y="268"/>
                  </a:lnTo>
                  <a:lnTo>
                    <a:pt x="426" y="1"/>
                  </a:lnTo>
                  <a:close/>
                </a:path>
              </a:pathLst>
            </a:custGeom>
            <a:solidFill>
              <a:srgbClr val="869FB2"/>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282" name="Google Shape;1282;p103"/>
            <p:cNvSpPr/>
            <p:nvPr/>
          </p:nvSpPr>
          <p:spPr>
            <a:xfrm>
              <a:off x="4662475" y="1991450"/>
              <a:ext cx="5625" cy="6700"/>
            </a:xfrm>
            <a:custGeom>
              <a:avLst/>
              <a:gdLst/>
              <a:ahLst/>
              <a:cxnLst/>
              <a:rect l="l" t="t" r="r" b="b"/>
              <a:pathLst>
                <a:path w="225" h="268" extrusionOk="0">
                  <a:moveTo>
                    <a:pt x="1" y="1"/>
                  </a:moveTo>
                  <a:lnTo>
                    <a:pt x="1" y="268"/>
                  </a:lnTo>
                  <a:lnTo>
                    <a:pt x="224" y="268"/>
                  </a:lnTo>
                  <a:lnTo>
                    <a:pt x="224" y="1"/>
                  </a:lnTo>
                  <a:close/>
                </a:path>
              </a:pathLst>
            </a:custGeom>
            <a:solidFill>
              <a:srgbClr val="869FB2"/>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1283" name="Google Shape;1283;p103"/>
          <p:cNvGrpSpPr/>
          <p:nvPr/>
        </p:nvGrpSpPr>
        <p:grpSpPr>
          <a:xfrm>
            <a:off x="10335102" y="3725019"/>
            <a:ext cx="222532" cy="109756"/>
            <a:chOff x="4920150" y="1977875"/>
            <a:chExt cx="68525" cy="33800"/>
          </a:xfrm>
        </p:grpSpPr>
        <p:sp>
          <p:nvSpPr>
            <p:cNvPr id="1284" name="Google Shape;1284;p103"/>
            <p:cNvSpPr/>
            <p:nvPr/>
          </p:nvSpPr>
          <p:spPr>
            <a:xfrm>
              <a:off x="4949175" y="1977875"/>
              <a:ext cx="39500" cy="33800"/>
            </a:xfrm>
            <a:custGeom>
              <a:avLst/>
              <a:gdLst/>
              <a:ahLst/>
              <a:cxnLst/>
              <a:rect l="l" t="t" r="r" b="b"/>
              <a:pathLst>
                <a:path w="1580" h="1352" extrusionOk="0">
                  <a:moveTo>
                    <a:pt x="891" y="1"/>
                  </a:moveTo>
                  <a:cubicBezTo>
                    <a:pt x="859" y="1"/>
                    <a:pt x="828" y="12"/>
                    <a:pt x="801" y="32"/>
                  </a:cubicBezTo>
                  <a:cubicBezTo>
                    <a:pt x="743" y="89"/>
                    <a:pt x="743" y="176"/>
                    <a:pt x="801" y="226"/>
                  </a:cubicBezTo>
                  <a:lnTo>
                    <a:pt x="1039" y="472"/>
                  </a:lnTo>
                  <a:cubicBezTo>
                    <a:pt x="1068" y="493"/>
                    <a:pt x="1046" y="544"/>
                    <a:pt x="1010" y="544"/>
                  </a:cubicBezTo>
                  <a:lnTo>
                    <a:pt x="152" y="544"/>
                  </a:lnTo>
                  <a:cubicBezTo>
                    <a:pt x="147" y="543"/>
                    <a:pt x="143" y="543"/>
                    <a:pt x="139" y="543"/>
                  </a:cubicBezTo>
                  <a:cubicBezTo>
                    <a:pt x="66" y="543"/>
                    <a:pt x="14" y="598"/>
                    <a:pt x="8" y="666"/>
                  </a:cubicBezTo>
                  <a:cubicBezTo>
                    <a:pt x="0" y="746"/>
                    <a:pt x="65" y="811"/>
                    <a:pt x="145" y="811"/>
                  </a:cubicBezTo>
                  <a:lnTo>
                    <a:pt x="1010" y="811"/>
                  </a:lnTo>
                  <a:cubicBezTo>
                    <a:pt x="1046" y="811"/>
                    <a:pt x="1068" y="854"/>
                    <a:pt x="1039" y="883"/>
                  </a:cubicBezTo>
                  <a:lnTo>
                    <a:pt x="808" y="1113"/>
                  </a:lnTo>
                  <a:cubicBezTo>
                    <a:pt x="758" y="1164"/>
                    <a:pt x="751" y="1251"/>
                    <a:pt x="794" y="1308"/>
                  </a:cubicBezTo>
                  <a:cubicBezTo>
                    <a:pt x="823" y="1337"/>
                    <a:pt x="859" y="1351"/>
                    <a:pt x="895" y="1351"/>
                  </a:cubicBezTo>
                  <a:cubicBezTo>
                    <a:pt x="931" y="1351"/>
                    <a:pt x="967" y="1337"/>
                    <a:pt x="996" y="1308"/>
                  </a:cubicBezTo>
                  <a:lnTo>
                    <a:pt x="1522" y="774"/>
                  </a:lnTo>
                  <a:cubicBezTo>
                    <a:pt x="1580" y="717"/>
                    <a:pt x="1573" y="630"/>
                    <a:pt x="1522" y="573"/>
                  </a:cubicBezTo>
                  <a:lnTo>
                    <a:pt x="996" y="46"/>
                  </a:lnTo>
                  <a:cubicBezTo>
                    <a:pt x="965" y="15"/>
                    <a:pt x="928" y="1"/>
                    <a:pt x="891" y="1"/>
                  </a:cubicBezTo>
                  <a:close/>
                </a:path>
              </a:pathLst>
            </a:custGeom>
            <a:solidFill>
              <a:srgbClr val="869FB2"/>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285" name="Google Shape;1285;p103"/>
            <p:cNvSpPr/>
            <p:nvPr/>
          </p:nvSpPr>
          <p:spPr>
            <a:xfrm>
              <a:off x="4931875" y="1991450"/>
              <a:ext cx="12825" cy="6700"/>
            </a:xfrm>
            <a:custGeom>
              <a:avLst/>
              <a:gdLst/>
              <a:ahLst/>
              <a:cxnLst/>
              <a:rect l="l" t="t" r="r" b="b"/>
              <a:pathLst>
                <a:path w="513" h="268" extrusionOk="0">
                  <a:moveTo>
                    <a:pt x="180" y="1"/>
                  </a:moveTo>
                  <a:cubicBezTo>
                    <a:pt x="0" y="1"/>
                    <a:pt x="0" y="268"/>
                    <a:pt x="180" y="268"/>
                  </a:cubicBezTo>
                  <a:lnTo>
                    <a:pt x="332" y="268"/>
                  </a:lnTo>
                  <a:cubicBezTo>
                    <a:pt x="512" y="268"/>
                    <a:pt x="512" y="1"/>
                    <a:pt x="332" y="1"/>
                  </a:cubicBezTo>
                  <a:close/>
                </a:path>
              </a:pathLst>
            </a:custGeom>
            <a:solidFill>
              <a:srgbClr val="869FB2"/>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286" name="Google Shape;1286;p103"/>
            <p:cNvSpPr/>
            <p:nvPr/>
          </p:nvSpPr>
          <p:spPr>
            <a:xfrm>
              <a:off x="4920150" y="1991450"/>
              <a:ext cx="9225" cy="6700"/>
            </a:xfrm>
            <a:custGeom>
              <a:avLst/>
              <a:gdLst/>
              <a:ahLst/>
              <a:cxnLst/>
              <a:rect l="l" t="t" r="r" b="b"/>
              <a:pathLst>
                <a:path w="369" h="268" extrusionOk="0">
                  <a:moveTo>
                    <a:pt x="181" y="1"/>
                  </a:moveTo>
                  <a:cubicBezTo>
                    <a:pt x="0" y="1"/>
                    <a:pt x="0" y="268"/>
                    <a:pt x="181" y="268"/>
                  </a:cubicBezTo>
                  <a:lnTo>
                    <a:pt x="195" y="268"/>
                  </a:lnTo>
                  <a:cubicBezTo>
                    <a:pt x="368" y="268"/>
                    <a:pt x="368" y="1"/>
                    <a:pt x="195" y="1"/>
                  </a:cubicBezTo>
                  <a:close/>
                </a:path>
              </a:pathLst>
            </a:custGeom>
            <a:solidFill>
              <a:srgbClr val="869FB2"/>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1287" name="Google Shape;1287;p103"/>
          <p:cNvGrpSpPr/>
          <p:nvPr/>
        </p:nvGrpSpPr>
        <p:grpSpPr>
          <a:xfrm>
            <a:off x="9549977" y="4263577"/>
            <a:ext cx="166920" cy="170479"/>
            <a:chOff x="4676550" y="2160575"/>
            <a:chExt cx="51400" cy="52500"/>
          </a:xfrm>
        </p:grpSpPr>
        <p:sp>
          <p:nvSpPr>
            <p:cNvPr id="1288" name="Google Shape;1288;p103"/>
            <p:cNvSpPr/>
            <p:nvPr/>
          </p:nvSpPr>
          <p:spPr>
            <a:xfrm>
              <a:off x="4676550" y="2160575"/>
              <a:ext cx="27775" cy="52500"/>
            </a:xfrm>
            <a:custGeom>
              <a:avLst/>
              <a:gdLst/>
              <a:ahLst/>
              <a:cxnLst/>
              <a:rect l="l" t="t" r="r" b="b"/>
              <a:pathLst>
                <a:path w="1111" h="2100" extrusionOk="0">
                  <a:moveTo>
                    <a:pt x="0" y="1"/>
                  </a:moveTo>
                  <a:lnTo>
                    <a:pt x="823" y="1047"/>
                  </a:lnTo>
                  <a:lnTo>
                    <a:pt x="0" y="2100"/>
                  </a:lnTo>
                  <a:lnTo>
                    <a:pt x="289" y="2100"/>
                  </a:lnTo>
                  <a:lnTo>
                    <a:pt x="1111" y="1047"/>
                  </a:lnTo>
                  <a:lnTo>
                    <a:pt x="289" y="1"/>
                  </a:lnTo>
                  <a:close/>
                </a:path>
              </a:pathLst>
            </a:custGeom>
            <a:solidFill>
              <a:srgbClr val="869FB2"/>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289" name="Google Shape;1289;p103"/>
            <p:cNvSpPr/>
            <p:nvPr/>
          </p:nvSpPr>
          <p:spPr>
            <a:xfrm>
              <a:off x="4688275" y="2160575"/>
              <a:ext cx="27975" cy="52500"/>
            </a:xfrm>
            <a:custGeom>
              <a:avLst/>
              <a:gdLst/>
              <a:ahLst/>
              <a:cxnLst/>
              <a:rect l="l" t="t" r="r" b="b"/>
              <a:pathLst>
                <a:path w="1119" h="2100" extrusionOk="0">
                  <a:moveTo>
                    <a:pt x="0" y="1"/>
                  </a:moveTo>
                  <a:lnTo>
                    <a:pt x="822" y="1047"/>
                  </a:lnTo>
                  <a:lnTo>
                    <a:pt x="0" y="2100"/>
                  </a:lnTo>
                  <a:lnTo>
                    <a:pt x="296" y="2100"/>
                  </a:lnTo>
                  <a:lnTo>
                    <a:pt x="1118" y="1047"/>
                  </a:lnTo>
                  <a:lnTo>
                    <a:pt x="296" y="1"/>
                  </a:lnTo>
                  <a:close/>
                </a:path>
              </a:pathLst>
            </a:custGeom>
            <a:solidFill>
              <a:srgbClr val="869FB2"/>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290" name="Google Shape;1290;p103"/>
            <p:cNvSpPr/>
            <p:nvPr/>
          </p:nvSpPr>
          <p:spPr>
            <a:xfrm>
              <a:off x="4700175" y="2160575"/>
              <a:ext cx="27775" cy="52500"/>
            </a:xfrm>
            <a:custGeom>
              <a:avLst/>
              <a:gdLst/>
              <a:ahLst/>
              <a:cxnLst/>
              <a:rect l="l" t="t" r="r" b="b"/>
              <a:pathLst>
                <a:path w="1111" h="2100" extrusionOk="0">
                  <a:moveTo>
                    <a:pt x="0" y="1"/>
                  </a:moveTo>
                  <a:lnTo>
                    <a:pt x="822" y="1047"/>
                  </a:lnTo>
                  <a:lnTo>
                    <a:pt x="0" y="2100"/>
                  </a:lnTo>
                  <a:lnTo>
                    <a:pt x="289" y="2100"/>
                  </a:lnTo>
                  <a:lnTo>
                    <a:pt x="1111" y="1047"/>
                  </a:lnTo>
                  <a:lnTo>
                    <a:pt x="289" y="1"/>
                  </a:lnTo>
                  <a:close/>
                </a:path>
              </a:pathLst>
            </a:custGeom>
            <a:solidFill>
              <a:srgbClr val="869FB2"/>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1291" name="Google Shape;1291;p103"/>
          <p:cNvGrpSpPr/>
          <p:nvPr/>
        </p:nvGrpSpPr>
        <p:grpSpPr>
          <a:xfrm>
            <a:off x="9946322" y="4272952"/>
            <a:ext cx="193873" cy="151725"/>
            <a:chOff x="4768325" y="2163475"/>
            <a:chExt cx="59700" cy="46725"/>
          </a:xfrm>
        </p:grpSpPr>
        <p:sp>
          <p:nvSpPr>
            <p:cNvPr id="1292" name="Google Shape;1292;p103"/>
            <p:cNvSpPr/>
            <p:nvPr/>
          </p:nvSpPr>
          <p:spPr>
            <a:xfrm>
              <a:off x="4768325" y="2163475"/>
              <a:ext cx="35375" cy="46725"/>
            </a:xfrm>
            <a:custGeom>
              <a:avLst/>
              <a:gdLst/>
              <a:ahLst/>
              <a:cxnLst/>
              <a:rect l="l" t="t" r="r" b="b"/>
              <a:pathLst>
                <a:path w="1415" h="1869" extrusionOk="0">
                  <a:moveTo>
                    <a:pt x="0" y="0"/>
                  </a:moveTo>
                  <a:lnTo>
                    <a:pt x="895" y="931"/>
                  </a:lnTo>
                  <a:lnTo>
                    <a:pt x="0" y="1868"/>
                  </a:lnTo>
                  <a:lnTo>
                    <a:pt x="520" y="1868"/>
                  </a:lnTo>
                  <a:lnTo>
                    <a:pt x="1414" y="931"/>
                  </a:lnTo>
                  <a:lnTo>
                    <a:pt x="520" y="0"/>
                  </a:lnTo>
                  <a:close/>
                </a:path>
              </a:pathLst>
            </a:custGeom>
            <a:noFill/>
            <a:ln w="9525" cap="flat" cmpd="sng">
              <a:solidFill>
                <a:srgbClr val="869FB2"/>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293" name="Google Shape;1293;p103"/>
            <p:cNvSpPr/>
            <p:nvPr/>
          </p:nvSpPr>
          <p:spPr>
            <a:xfrm>
              <a:off x="4792475" y="2163475"/>
              <a:ext cx="35550" cy="46725"/>
            </a:xfrm>
            <a:custGeom>
              <a:avLst/>
              <a:gdLst/>
              <a:ahLst/>
              <a:cxnLst/>
              <a:rect l="l" t="t" r="r" b="b"/>
              <a:pathLst>
                <a:path w="1422" h="1869" extrusionOk="0">
                  <a:moveTo>
                    <a:pt x="1" y="0"/>
                  </a:moveTo>
                  <a:lnTo>
                    <a:pt x="895" y="931"/>
                  </a:lnTo>
                  <a:lnTo>
                    <a:pt x="1" y="1868"/>
                  </a:lnTo>
                  <a:lnTo>
                    <a:pt x="527" y="1868"/>
                  </a:lnTo>
                  <a:lnTo>
                    <a:pt x="1422" y="931"/>
                  </a:lnTo>
                  <a:lnTo>
                    <a:pt x="527" y="0"/>
                  </a:lnTo>
                  <a:close/>
                </a:path>
              </a:pathLst>
            </a:custGeom>
            <a:noFill/>
            <a:ln w="9525" cap="flat" cmpd="sng">
              <a:solidFill>
                <a:srgbClr val="869FB2"/>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sp>
        <p:nvSpPr>
          <p:cNvPr id="1294" name="Google Shape;1294;p103"/>
          <p:cNvSpPr/>
          <p:nvPr/>
        </p:nvSpPr>
        <p:spPr>
          <a:xfrm>
            <a:off x="10388929" y="4261629"/>
            <a:ext cx="114879" cy="174375"/>
          </a:xfrm>
          <a:custGeom>
            <a:avLst/>
            <a:gdLst/>
            <a:ahLst/>
            <a:cxnLst/>
            <a:rect l="l" t="t" r="r" b="b"/>
            <a:pathLst>
              <a:path w="1415" h="2148" extrusionOk="0">
                <a:moveTo>
                  <a:pt x="308" y="0"/>
                </a:moveTo>
                <a:cubicBezTo>
                  <a:pt x="152" y="0"/>
                  <a:pt x="1" y="123"/>
                  <a:pt x="1" y="308"/>
                </a:cubicBezTo>
                <a:lnTo>
                  <a:pt x="8" y="1844"/>
                </a:lnTo>
                <a:cubicBezTo>
                  <a:pt x="8" y="2026"/>
                  <a:pt x="158" y="2148"/>
                  <a:pt x="316" y="2148"/>
                </a:cubicBezTo>
                <a:cubicBezTo>
                  <a:pt x="390" y="2148"/>
                  <a:pt x="465" y="2121"/>
                  <a:pt x="527" y="2061"/>
                </a:cubicBezTo>
                <a:lnTo>
                  <a:pt x="1292" y="1296"/>
                </a:lnTo>
                <a:cubicBezTo>
                  <a:pt x="1414" y="1181"/>
                  <a:pt x="1414" y="986"/>
                  <a:pt x="1292" y="864"/>
                </a:cubicBezTo>
                <a:lnTo>
                  <a:pt x="520" y="92"/>
                </a:lnTo>
                <a:cubicBezTo>
                  <a:pt x="459" y="29"/>
                  <a:pt x="383" y="0"/>
                  <a:pt x="308" y="0"/>
                </a:cubicBezTo>
                <a:close/>
              </a:path>
            </a:pathLst>
          </a:custGeom>
          <a:noFill/>
          <a:ln w="9525" cap="flat" cmpd="sng">
            <a:solidFill>
              <a:srgbClr val="869FB2"/>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295" name="Google Shape;1295;p103"/>
          <p:cNvSpPr/>
          <p:nvPr/>
        </p:nvSpPr>
        <p:spPr>
          <a:xfrm>
            <a:off x="10752096" y="5604409"/>
            <a:ext cx="197445" cy="217319"/>
          </a:xfrm>
          <a:custGeom>
            <a:avLst/>
            <a:gdLst/>
            <a:ahLst/>
            <a:cxnLst/>
            <a:rect l="l" t="t" r="r" b="b"/>
            <a:pathLst>
              <a:path w="2432" h="2677" extrusionOk="0">
                <a:moveTo>
                  <a:pt x="801" y="1"/>
                </a:moveTo>
                <a:lnTo>
                  <a:pt x="1205" y="751"/>
                </a:lnTo>
                <a:lnTo>
                  <a:pt x="1" y="751"/>
                </a:lnTo>
                <a:lnTo>
                  <a:pt x="1" y="1927"/>
                </a:lnTo>
                <a:lnTo>
                  <a:pt x="1205" y="1927"/>
                </a:lnTo>
                <a:lnTo>
                  <a:pt x="801" y="2677"/>
                </a:lnTo>
                <a:lnTo>
                  <a:pt x="2431" y="1335"/>
                </a:lnTo>
                <a:lnTo>
                  <a:pt x="801" y="1"/>
                </a:lnTo>
                <a:close/>
              </a:path>
            </a:pathLst>
          </a:custGeom>
          <a:noFill/>
          <a:ln w="9525" cap="flat" cmpd="sng">
            <a:solidFill>
              <a:srgbClr val="869FB2"/>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296" name="Google Shape;1296;p103"/>
          <p:cNvSpPr/>
          <p:nvPr/>
        </p:nvSpPr>
        <p:spPr>
          <a:xfrm>
            <a:off x="9554038" y="4575370"/>
            <a:ext cx="158801" cy="217887"/>
          </a:xfrm>
          <a:custGeom>
            <a:avLst/>
            <a:gdLst/>
            <a:ahLst/>
            <a:cxnLst/>
            <a:rect l="l" t="t" r="r" b="b"/>
            <a:pathLst>
              <a:path w="1956" h="2684" extrusionOk="0">
                <a:moveTo>
                  <a:pt x="1" y="0"/>
                </a:moveTo>
                <a:lnTo>
                  <a:pt x="787" y="1342"/>
                </a:lnTo>
                <a:lnTo>
                  <a:pt x="1" y="2683"/>
                </a:lnTo>
                <a:lnTo>
                  <a:pt x="1955" y="1342"/>
                </a:lnTo>
                <a:lnTo>
                  <a:pt x="1" y="0"/>
                </a:lnTo>
                <a:close/>
              </a:path>
            </a:pathLst>
          </a:custGeom>
          <a:noFill/>
          <a:ln w="9525" cap="flat" cmpd="sng">
            <a:solidFill>
              <a:srgbClr val="869FB2"/>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297" name="Google Shape;1297;p103"/>
          <p:cNvSpPr/>
          <p:nvPr/>
        </p:nvSpPr>
        <p:spPr>
          <a:xfrm>
            <a:off x="9511333" y="5625516"/>
            <a:ext cx="244209" cy="175105"/>
          </a:xfrm>
          <a:custGeom>
            <a:avLst/>
            <a:gdLst/>
            <a:ahLst/>
            <a:cxnLst/>
            <a:rect l="l" t="t" r="r" b="b"/>
            <a:pathLst>
              <a:path w="3008" h="2157" extrusionOk="0">
                <a:moveTo>
                  <a:pt x="0" y="0"/>
                </a:moveTo>
                <a:lnTo>
                  <a:pt x="729" y="1075"/>
                </a:lnTo>
                <a:lnTo>
                  <a:pt x="0" y="2157"/>
                </a:lnTo>
                <a:lnTo>
                  <a:pt x="0" y="2157"/>
                </a:lnTo>
                <a:lnTo>
                  <a:pt x="3008" y="1075"/>
                </a:lnTo>
                <a:lnTo>
                  <a:pt x="0" y="0"/>
                </a:lnTo>
                <a:close/>
              </a:path>
            </a:pathLst>
          </a:custGeom>
          <a:noFill/>
          <a:ln w="9525" cap="flat" cmpd="sng">
            <a:solidFill>
              <a:srgbClr val="869FB2"/>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298" name="Google Shape;1298;p103"/>
          <p:cNvSpPr/>
          <p:nvPr/>
        </p:nvSpPr>
        <p:spPr>
          <a:xfrm>
            <a:off x="9534431" y="4934374"/>
            <a:ext cx="198015" cy="150020"/>
          </a:xfrm>
          <a:custGeom>
            <a:avLst/>
            <a:gdLst/>
            <a:ahLst/>
            <a:cxnLst/>
            <a:rect l="l" t="t" r="r" b="b"/>
            <a:pathLst>
              <a:path w="2439" h="1848" extrusionOk="0">
                <a:moveTo>
                  <a:pt x="1580" y="1"/>
                </a:moveTo>
                <a:lnTo>
                  <a:pt x="1371" y="203"/>
                </a:lnTo>
                <a:lnTo>
                  <a:pt x="1919" y="780"/>
                </a:lnTo>
                <a:lnTo>
                  <a:pt x="1" y="780"/>
                </a:lnTo>
                <a:lnTo>
                  <a:pt x="1" y="1068"/>
                </a:lnTo>
                <a:lnTo>
                  <a:pt x="1919" y="1068"/>
                </a:lnTo>
                <a:lnTo>
                  <a:pt x="1371" y="1645"/>
                </a:lnTo>
                <a:lnTo>
                  <a:pt x="1580" y="1847"/>
                </a:lnTo>
                <a:lnTo>
                  <a:pt x="2439" y="924"/>
                </a:lnTo>
                <a:lnTo>
                  <a:pt x="1580" y="1"/>
                </a:lnTo>
                <a:close/>
              </a:path>
            </a:pathLst>
          </a:custGeom>
          <a:solidFill>
            <a:srgbClr val="869FB2"/>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299" name="Google Shape;1299;p103"/>
          <p:cNvSpPr/>
          <p:nvPr/>
        </p:nvSpPr>
        <p:spPr>
          <a:xfrm>
            <a:off x="10379430" y="4910264"/>
            <a:ext cx="133877" cy="198241"/>
          </a:xfrm>
          <a:custGeom>
            <a:avLst/>
            <a:gdLst/>
            <a:ahLst/>
            <a:cxnLst/>
            <a:rect l="l" t="t" r="r" b="b"/>
            <a:pathLst>
              <a:path w="1649" h="2442" extrusionOk="0">
                <a:moveTo>
                  <a:pt x="501" y="1"/>
                </a:moveTo>
                <a:cubicBezTo>
                  <a:pt x="238" y="1"/>
                  <a:pt x="1" y="336"/>
                  <a:pt x="250" y="590"/>
                </a:cubicBezTo>
                <a:lnTo>
                  <a:pt x="841" y="1232"/>
                </a:lnTo>
                <a:lnTo>
                  <a:pt x="250" y="1874"/>
                </a:lnTo>
                <a:cubicBezTo>
                  <a:pt x="36" y="2126"/>
                  <a:pt x="260" y="2441"/>
                  <a:pt x="516" y="2441"/>
                </a:cubicBezTo>
                <a:cubicBezTo>
                  <a:pt x="596" y="2441"/>
                  <a:pt x="680" y="2410"/>
                  <a:pt x="754" y="2336"/>
                </a:cubicBezTo>
                <a:lnTo>
                  <a:pt x="1555" y="1463"/>
                </a:lnTo>
                <a:cubicBezTo>
                  <a:pt x="1613" y="1405"/>
                  <a:pt x="1641" y="1326"/>
                  <a:pt x="1649" y="1246"/>
                </a:cubicBezTo>
                <a:cubicBezTo>
                  <a:pt x="1649" y="1239"/>
                  <a:pt x="1649" y="1239"/>
                  <a:pt x="1649" y="1232"/>
                </a:cubicBezTo>
                <a:cubicBezTo>
                  <a:pt x="1649" y="1225"/>
                  <a:pt x="1649" y="1225"/>
                  <a:pt x="1649" y="1218"/>
                </a:cubicBezTo>
                <a:cubicBezTo>
                  <a:pt x="1641" y="1138"/>
                  <a:pt x="1613" y="1059"/>
                  <a:pt x="1555" y="1001"/>
                </a:cubicBezTo>
                <a:lnTo>
                  <a:pt x="754" y="129"/>
                </a:lnTo>
                <a:cubicBezTo>
                  <a:pt x="679" y="38"/>
                  <a:pt x="588" y="1"/>
                  <a:pt x="501" y="1"/>
                </a:cubicBezTo>
                <a:close/>
              </a:path>
            </a:pathLst>
          </a:custGeom>
          <a:noFill/>
          <a:ln w="9525" cap="flat" cmpd="sng">
            <a:solidFill>
              <a:srgbClr val="869FB2"/>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nvGrpSpPr>
          <p:cNvPr id="1300" name="Google Shape;1300;p103"/>
          <p:cNvGrpSpPr/>
          <p:nvPr/>
        </p:nvGrpSpPr>
        <p:grpSpPr>
          <a:xfrm>
            <a:off x="9968079" y="4613078"/>
            <a:ext cx="150357" cy="142471"/>
            <a:chOff x="4768575" y="2253950"/>
            <a:chExt cx="46300" cy="43875"/>
          </a:xfrm>
        </p:grpSpPr>
        <p:sp>
          <p:nvSpPr>
            <p:cNvPr id="1301" name="Google Shape;1301;p103"/>
            <p:cNvSpPr/>
            <p:nvPr/>
          </p:nvSpPr>
          <p:spPr>
            <a:xfrm>
              <a:off x="4785700" y="2253950"/>
              <a:ext cx="29175" cy="43875"/>
            </a:xfrm>
            <a:custGeom>
              <a:avLst/>
              <a:gdLst/>
              <a:ahLst/>
              <a:cxnLst/>
              <a:rect l="l" t="t" r="r" b="b"/>
              <a:pathLst>
                <a:path w="1167" h="1755" extrusionOk="0">
                  <a:moveTo>
                    <a:pt x="262" y="1"/>
                  </a:moveTo>
                  <a:cubicBezTo>
                    <a:pt x="150" y="1"/>
                    <a:pt x="49" y="149"/>
                    <a:pt x="164" y="247"/>
                  </a:cubicBezTo>
                  <a:lnTo>
                    <a:pt x="770" y="853"/>
                  </a:lnTo>
                  <a:lnTo>
                    <a:pt x="106" y="1517"/>
                  </a:lnTo>
                  <a:cubicBezTo>
                    <a:pt x="1" y="1616"/>
                    <a:pt x="95" y="1754"/>
                    <a:pt x="204" y="1754"/>
                  </a:cubicBezTo>
                  <a:cubicBezTo>
                    <a:pt x="236" y="1754"/>
                    <a:pt x="271" y="1742"/>
                    <a:pt x="301" y="1711"/>
                  </a:cubicBezTo>
                  <a:lnTo>
                    <a:pt x="1166" y="853"/>
                  </a:lnTo>
                  <a:lnTo>
                    <a:pt x="366" y="52"/>
                  </a:lnTo>
                  <a:cubicBezTo>
                    <a:pt x="334" y="16"/>
                    <a:pt x="297" y="1"/>
                    <a:pt x="262" y="1"/>
                  </a:cubicBezTo>
                  <a:close/>
                </a:path>
              </a:pathLst>
            </a:custGeom>
            <a:solidFill>
              <a:srgbClr val="869FB2"/>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302" name="Google Shape;1302;p103"/>
            <p:cNvSpPr/>
            <p:nvPr/>
          </p:nvSpPr>
          <p:spPr>
            <a:xfrm>
              <a:off x="4768575" y="2253950"/>
              <a:ext cx="29175" cy="43875"/>
            </a:xfrm>
            <a:custGeom>
              <a:avLst/>
              <a:gdLst/>
              <a:ahLst/>
              <a:cxnLst/>
              <a:rect l="l" t="t" r="r" b="b"/>
              <a:pathLst>
                <a:path w="1167" h="1755" extrusionOk="0">
                  <a:moveTo>
                    <a:pt x="261" y="1"/>
                  </a:moveTo>
                  <a:cubicBezTo>
                    <a:pt x="150" y="1"/>
                    <a:pt x="50" y="149"/>
                    <a:pt x="171" y="247"/>
                  </a:cubicBezTo>
                  <a:lnTo>
                    <a:pt x="769" y="853"/>
                  </a:lnTo>
                  <a:lnTo>
                    <a:pt x="106" y="1517"/>
                  </a:lnTo>
                  <a:cubicBezTo>
                    <a:pt x="1" y="1616"/>
                    <a:pt x="95" y="1754"/>
                    <a:pt x="203" y="1754"/>
                  </a:cubicBezTo>
                  <a:cubicBezTo>
                    <a:pt x="236" y="1754"/>
                    <a:pt x="270" y="1742"/>
                    <a:pt x="301" y="1711"/>
                  </a:cubicBezTo>
                  <a:lnTo>
                    <a:pt x="1166" y="853"/>
                  </a:lnTo>
                  <a:lnTo>
                    <a:pt x="365" y="52"/>
                  </a:lnTo>
                  <a:cubicBezTo>
                    <a:pt x="334" y="16"/>
                    <a:pt x="297" y="1"/>
                    <a:pt x="261" y="1"/>
                  </a:cubicBezTo>
                  <a:close/>
                </a:path>
              </a:pathLst>
            </a:custGeom>
            <a:solidFill>
              <a:srgbClr val="869FB2"/>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1303" name="Google Shape;1303;p103"/>
          <p:cNvGrpSpPr/>
          <p:nvPr/>
        </p:nvGrpSpPr>
        <p:grpSpPr>
          <a:xfrm>
            <a:off x="10367577" y="5265112"/>
            <a:ext cx="157583" cy="194995"/>
            <a:chOff x="4960900" y="2433225"/>
            <a:chExt cx="48525" cy="60050"/>
          </a:xfrm>
        </p:grpSpPr>
        <p:sp>
          <p:nvSpPr>
            <p:cNvPr id="1304" name="Google Shape;1304;p103"/>
            <p:cNvSpPr/>
            <p:nvPr/>
          </p:nvSpPr>
          <p:spPr>
            <a:xfrm>
              <a:off x="4974225" y="2433225"/>
              <a:ext cx="35200" cy="60050"/>
            </a:xfrm>
            <a:custGeom>
              <a:avLst/>
              <a:gdLst/>
              <a:ahLst/>
              <a:cxnLst/>
              <a:rect l="l" t="t" r="r" b="b"/>
              <a:pathLst>
                <a:path w="1408" h="2402" extrusionOk="0">
                  <a:moveTo>
                    <a:pt x="102" y="0"/>
                  </a:moveTo>
                  <a:lnTo>
                    <a:pt x="95" y="7"/>
                  </a:lnTo>
                  <a:lnTo>
                    <a:pt x="1112" y="1154"/>
                  </a:lnTo>
                  <a:lnTo>
                    <a:pt x="1" y="2402"/>
                  </a:lnTo>
                  <a:lnTo>
                    <a:pt x="297" y="2402"/>
                  </a:lnTo>
                  <a:lnTo>
                    <a:pt x="1407" y="1154"/>
                  </a:lnTo>
                  <a:lnTo>
                    <a:pt x="383" y="0"/>
                  </a:lnTo>
                  <a:close/>
                </a:path>
              </a:pathLst>
            </a:custGeom>
            <a:solidFill>
              <a:srgbClr val="869FB2"/>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305" name="Google Shape;1305;p103"/>
            <p:cNvSpPr/>
            <p:nvPr/>
          </p:nvSpPr>
          <p:spPr>
            <a:xfrm>
              <a:off x="4960900" y="2433225"/>
              <a:ext cx="35175" cy="60050"/>
            </a:xfrm>
            <a:custGeom>
              <a:avLst/>
              <a:gdLst/>
              <a:ahLst/>
              <a:cxnLst/>
              <a:rect l="l" t="t" r="r" b="b"/>
              <a:pathLst>
                <a:path w="1407" h="2402" extrusionOk="0">
                  <a:moveTo>
                    <a:pt x="108" y="0"/>
                  </a:moveTo>
                  <a:lnTo>
                    <a:pt x="94" y="7"/>
                  </a:lnTo>
                  <a:lnTo>
                    <a:pt x="1111" y="1154"/>
                  </a:lnTo>
                  <a:lnTo>
                    <a:pt x="0" y="2402"/>
                  </a:lnTo>
                  <a:lnTo>
                    <a:pt x="296" y="2402"/>
                  </a:lnTo>
                  <a:lnTo>
                    <a:pt x="1407" y="1154"/>
                  </a:lnTo>
                  <a:lnTo>
                    <a:pt x="390" y="0"/>
                  </a:lnTo>
                  <a:close/>
                </a:path>
              </a:pathLst>
            </a:custGeom>
            <a:solidFill>
              <a:srgbClr val="869FB2"/>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1306" name="Google Shape;1306;p103"/>
          <p:cNvGrpSpPr/>
          <p:nvPr/>
        </p:nvGrpSpPr>
        <p:grpSpPr>
          <a:xfrm>
            <a:off x="9952329" y="5617193"/>
            <a:ext cx="181859" cy="191747"/>
            <a:chOff x="4854075" y="2527625"/>
            <a:chExt cx="56000" cy="59050"/>
          </a:xfrm>
        </p:grpSpPr>
        <p:sp>
          <p:nvSpPr>
            <p:cNvPr id="1307" name="Google Shape;1307;p103"/>
            <p:cNvSpPr/>
            <p:nvPr/>
          </p:nvSpPr>
          <p:spPr>
            <a:xfrm>
              <a:off x="4872325" y="2527625"/>
              <a:ext cx="37750" cy="59050"/>
            </a:xfrm>
            <a:custGeom>
              <a:avLst/>
              <a:gdLst/>
              <a:ahLst/>
              <a:cxnLst/>
              <a:rect l="l" t="t" r="r" b="b"/>
              <a:pathLst>
                <a:path w="1510" h="2362" extrusionOk="0">
                  <a:moveTo>
                    <a:pt x="305" y="1"/>
                  </a:moveTo>
                  <a:cubicBezTo>
                    <a:pt x="141" y="1"/>
                    <a:pt x="1" y="210"/>
                    <a:pt x="146" y="371"/>
                  </a:cubicBezTo>
                  <a:lnTo>
                    <a:pt x="961" y="1179"/>
                  </a:lnTo>
                  <a:lnTo>
                    <a:pt x="146" y="1994"/>
                  </a:lnTo>
                  <a:cubicBezTo>
                    <a:pt x="0" y="2151"/>
                    <a:pt x="143" y="2361"/>
                    <a:pt x="308" y="2361"/>
                  </a:cubicBezTo>
                  <a:cubicBezTo>
                    <a:pt x="355" y="2361"/>
                    <a:pt x="404" y="2344"/>
                    <a:pt x="449" y="2304"/>
                  </a:cubicBezTo>
                  <a:lnTo>
                    <a:pt x="1423" y="1338"/>
                  </a:lnTo>
                  <a:cubicBezTo>
                    <a:pt x="1509" y="1244"/>
                    <a:pt x="1509" y="1107"/>
                    <a:pt x="1423" y="1013"/>
                  </a:cubicBezTo>
                  <a:lnTo>
                    <a:pt x="1423" y="1020"/>
                  </a:lnTo>
                  <a:lnTo>
                    <a:pt x="449" y="61"/>
                  </a:lnTo>
                  <a:cubicBezTo>
                    <a:pt x="403" y="19"/>
                    <a:pt x="353" y="1"/>
                    <a:pt x="305" y="1"/>
                  </a:cubicBezTo>
                  <a:close/>
                </a:path>
              </a:pathLst>
            </a:custGeom>
            <a:noFill/>
            <a:ln w="9525" cap="flat" cmpd="sng">
              <a:solidFill>
                <a:srgbClr val="869FB2"/>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308" name="Google Shape;1308;p103"/>
            <p:cNvSpPr/>
            <p:nvPr/>
          </p:nvSpPr>
          <p:spPr>
            <a:xfrm>
              <a:off x="4854075" y="2539100"/>
              <a:ext cx="26075" cy="35875"/>
            </a:xfrm>
            <a:custGeom>
              <a:avLst/>
              <a:gdLst/>
              <a:ahLst/>
              <a:cxnLst/>
              <a:rect l="l" t="t" r="r" b="b"/>
              <a:pathLst>
                <a:path w="1043" h="1435" extrusionOk="0">
                  <a:moveTo>
                    <a:pt x="326" y="1"/>
                  </a:moveTo>
                  <a:cubicBezTo>
                    <a:pt x="152" y="1"/>
                    <a:pt x="1" y="234"/>
                    <a:pt x="177" y="388"/>
                  </a:cubicBezTo>
                  <a:lnTo>
                    <a:pt x="516" y="720"/>
                  </a:lnTo>
                  <a:lnTo>
                    <a:pt x="177" y="1059"/>
                  </a:lnTo>
                  <a:cubicBezTo>
                    <a:pt x="21" y="1215"/>
                    <a:pt x="165" y="1435"/>
                    <a:pt x="336" y="1435"/>
                  </a:cubicBezTo>
                  <a:cubicBezTo>
                    <a:pt x="386" y="1435"/>
                    <a:pt x="439" y="1415"/>
                    <a:pt x="487" y="1369"/>
                  </a:cubicBezTo>
                  <a:lnTo>
                    <a:pt x="977" y="886"/>
                  </a:lnTo>
                  <a:cubicBezTo>
                    <a:pt x="1020" y="843"/>
                    <a:pt x="1042" y="785"/>
                    <a:pt x="1042" y="720"/>
                  </a:cubicBezTo>
                  <a:cubicBezTo>
                    <a:pt x="1042" y="662"/>
                    <a:pt x="1013" y="605"/>
                    <a:pt x="977" y="561"/>
                  </a:cubicBezTo>
                  <a:lnTo>
                    <a:pt x="487" y="78"/>
                  </a:lnTo>
                  <a:cubicBezTo>
                    <a:pt x="437" y="23"/>
                    <a:pt x="380" y="1"/>
                    <a:pt x="326" y="1"/>
                  </a:cubicBezTo>
                  <a:close/>
                </a:path>
              </a:pathLst>
            </a:custGeom>
            <a:noFill/>
            <a:ln w="9525" cap="flat" cmpd="sng">
              <a:solidFill>
                <a:srgbClr val="869FB2"/>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sp>
        <p:nvSpPr>
          <p:cNvPr id="1309" name="Google Shape;1309;p103"/>
          <p:cNvSpPr/>
          <p:nvPr/>
        </p:nvSpPr>
        <p:spPr>
          <a:xfrm>
            <a:off x="9972667" y="5274164"/>
            <a:ext cx="141184" cy="176891"/>
          </a:xfrm>
          <a:custGeom>
            <a:avLst/>
            <a:gdLst/>
            <a:ahLst/>
            <a:cxnLst/>
            <a:rect l="l" t="t" r="r" b="b"/>
            <a:pathLst>
              <a:path w="1739" h="2179" extrusionOk="0">
                <a:moveTo>
                  <a:pt x="1" y="1"/>
                </a:moveTo>
                <a:lnTo>
                  <a:pt x="1" y="2179"/>
                </a:lnTo>
                <a:lnTo>
                  <a:pt x="758" y="2179"/>
                </a:lnTo>
                <a:lnTo>
                  <a:pt x="1739" y="1090"/>
                </a:lnTo>
                <a:lnTo>
                  <a:pt x="758" y="1"/>
                </a:lnTo>
                <a:close/>
              </a:path>
            </a:pathLst>
          </a:custGeom>
          <a:noFill/>
          <a:ln w="9525" cap="flat" cmpd="sng">
            <a:solidFill>
              <a:srgbClr val="869FB2"/>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310" name="Google Shape;1310;p103"/>
          <p:cNvSpPr/>
          <p:nvPr/>
        </p:nvSpPr>
        <p:spPr>
          <a:xfrm>
            <a:off x="10744222" y="4260369"/>
            <a:ext cx="213196" cy="176891"/>
          </a:xfrm>
          <a:custGeom>
            <a:avLst/>
            <a:gdLst/>
            <a:ahLst/>
            <a:cxnLst/>
            <a:rect l="l" t="t" r="r" b="b"/>
            <a:pathLst>
              <a:path w="2626" h="2179" extrusionOk="0">
                <a:moveTo>
                  <a:pt x="0" y="1"/>
                </a:moveTo>
                <a:lnTo>
                  <a:pt x="887" y="1090"/>
                </a:lnTo>
                <a:lnTo>
                  <a:pt x="0" y="2179"/>
                </a:lnTo>
                <a:lnTo>
                  <a:pt x="1644" y="2179"/>
                </a:lnTo>
                <a:lnTo>
                  <a:pt x="2625" y="1090"/>
                </a:lnTo>
                <a:lnTo>
                  <a:pt x="1644" y="1"/>
                </a:lnTo>
                <a:close/>
              </a:path>
            </a:pathLst>
          </a:custGeom>
          <a:noFill/>
          <a:ln w="9525" cap="flat" cmpd="sng">
            <a:solidFill>
              <a:srgbClr val="869FB2"/>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311" name="Google Shape;1311;p103"/>
          <p:cNvSpPr/>
          <p:nvPr/>
        </p:nvSpPr>
        <p:spPr>
          <a:xfrm>
            <a:off x="9543239" y="5274164"/>
            <a:ext cx="180397" cy="176891"/>
          </a:xfrm>
          <a:custGeom>
            <a:avLst/>
            <a:gdLst/>
            <a:ahLst/>
            <a:cxnLst/>
            <a:rect l="l" t="t" r="r" b="b"/>
            <a:pathLst>
              <a:path w="2222" h="2179" extrusionOk="0">
                <a:moveTo>
                  <a:pt x="477" y="1"/>
                </a:moveTo>
                <a:lnTo>
                  <a:pt x="895" y="513"/>
                </a:lnTo>
                <a:lnTo>
                  <a:pt x="1" y="513"/>
                </a:lnTo>
                <a:lnTo>
                  <a:pt x="1" y="1659"/>
                </a:lnTo>
                <a:lnTo>
                  <a:pt x="895" y="1659"/>
                </a:lnTo>
                <a:lnTo>
                  <a:pt x="477" y="2179"/>
                </a:lnTo>
                <a:lnTo>
                  <a:pt x="1234" y="2179"/>
                </a:lnTo>
                <a:lnTo>
                  <a:pt x="2222" y="1090"/>
                </a:lnTo>
                <a:lnTo>
                  <a:pt x="1234" y="1"/>
                </a:lnTo>
                <a:close/>
              </a:path>
            </a:pathLst>
          </a:custGeom>
          <a:noFill/>
          <a:ln w="9525" cap="flat" cmpd="sng">
            <a:solidFill>
              <a:srgbClr val="869FB2"/>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nvGrpSpPr>
          <p:cNvPr id="1312" name="Google Shape;1312;p103"/>
          <p:cNvGrpSpPr/>
          <p:nvPr/>
        </p:nvGrpSpPr>
        <p:grpSpPr>
          <a:xfrm>
            <a:off x="10784611" y="4902186"/>
            <a:ext cx="132416" cy="214396"/>
            <a:chOff x="5059700" y="2334775"/>
            <a:chExt cx="40775" cy="66025"/>
          </a:xfrm>
        </p:grpSpPr>
        <p:sp>
          <p:nvSpPr>
            <p:cNvPr id="1313" name="Google Shape;1313;p103"/>
            <p:cNvSpPr/>
            <p:nvPr/>
          </p:nvSpPr>
          <p:spPr>
            <a:xfrm>
              <a:off x="5059700" y="2334775"/>
              <a:ext cx="12475" cy="10525"/>
            </a:xfrm>
            <a:custGeom>
              <a:avLst/>
              <a:gdLst/>
              <a:ahLst/>
              <a:cxnLst/>
              <a:rect l="l" t="t" r="r" b="b"/>
              <a:pathLst>
                <a:path w="499" h="421" extrusionOk="0">
                  <a:moveTo>
                    <a:pt x="282" y="0"/>
                  </a:moveTo>
                  <a:cubicBezTo>
                    <a:pt x="94" y="0"/>
                    <a:pt x="1" y="224"/>
                    <a:pt x="138" y="361"/>
                  </a:cubicBezTo>
                  <a:cubicBezTo>
                    <a:pt x="179" y="402"/>
                    <a:pt x="230" y="421"/>
                    <a:pt x="281" y="421"/>
                  </a:cubicBezTo>
                  <a:cubicBezTo>
                    <a:pt x="388" y="421"/>
                    <a:pt x="491" y="337"/>
                    <a:pt x="491" y="209"/>
                  </a:cubicBezTo>
                  <a:cubicBezTo>
                    <a:pt x="498" y="94"/>
                    <a:pt x="397" y="0"/>
                    <a:pt x="282" y="0"/>
                  </a:cubicBezTo>
                  <a:close/>
                </a:path>
              </a:pathLst>
            </a:custGeom>
            <a:solidFill>
              <a:srgbClr val="869FB2"/>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314" name="Google Shape;1314;p103"/>
            <p:cNvSpPr/>
            <p:nvPr/>
          </p:nvSpPr>
          <p:spPr>
            <a:xfrm>
              <a:off x="5059700" y="2348650"/>
              <a:ext cx="12475" cy="10550"/>
            </a:xfrm>
            <a:custGeom>
              <a:avLst/>
              <a:gdLst/>
              <a:ahLst/>
              <a:cxnLst/>
              <a:rect l="l" t="t" r="r" b="b"/>
              <a:pathLst>
                <a:path w="499" h="422" extrusionOk="0">
                  <a:moveTo>
                    <a:pt x="282" y="1"/>
                  </a:moveTo>
                  <a:cubicBezTo>
                    <a:pt x="94" y="1"/>
                    <a:pt x="1" y="224"/>
                    <a:pt x="138" y="361"/>
                  </a:cubicBezTo>
                  <a:cubicBezTo>
                    <a:pt x="179" y="403"/>
                    <a:pt x="230" y="421"/>
                    <a:pt x="281" y="421"/>
                  </a:cubicBezTo>
                  <a:cubicBezTo>
                    <a:pt x="388" y="421"/>
                    <a:pt x="491" y="337"/>
                    <a:pt x="491" y="210"/>
                  </a:cubicBezTo>
                  <a:cubicBezTo>
                    <a:pt x="498" y="94"/>
                    <a:pt x="397" y="1"/>
                    <a:pt x="282" y="1"/>
                  </a:cubicBezTo>
                  <a:close/>
                </a:path>
              </a:pathLst>
            </a:custGeom>
            <a:solidFill>
              <a:srgbClr val="869FB2"/>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315" name="Google Shape;1315;p103"/>
            <p:cNvSpPr/>
            <p:nvPr/>
          </p:nvSpPr>
          <p:spPr>
            <a:xfrm>
              <a:off x="5059700" y="2362525"/>
              <a:ext cx="12475" cy="10550"/>
            </a:xfrm>
            <a:custGeom>
              <a:avLst/>
              <a:gdLst/>
              <a:ahLst/>
              <a:cxnLst/>
              <a:rect l="l" t="t" r="r" b="b"/>
              <a:pathLst>
                <a:path w="499" h="422" extrusionOk="0">
                  <a:moveTo>
                    <a:pt x="282" y="1"/>
                  </a:moveTo>
                  <a:cubicBezTo>
                    <a:pt x="94" y="1"/>
                    <a:pt x="1" y="224"/>
                    <a:pt x="138" y="361"/>
                  </a:cubicBezTo>
                  <a:cubicBezTo>
                    <a:pt x="179" y="403"/>
                    <a:pt x="230" y="422"/>
                    <a:pt x="281" y="422"/>
                  </a:cubicBezTo>
                  <a:cubicBezTo>
                    <a:pt x="388" y="422"/>
                    <a:pt x="491" y="338"/>
                    <a:pt x="491" y="210"/>
                  </a:cubicBezTo>
                  <a:cubicBezTo>
                    <a:pt x="498" y="95"/>
                    <a:pt x="397" y="1"/>
                    <a:pt x="282" y="1"/>
                  </a:cubicBezTo>
                  <a:close/>
                </a:path>
              </a:pathLst>
            </a:custGeom>
            <a:solidFill>
              <a:srgbClr val="869FB2"/>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316" name="Google Shape;1316;p103"/>
            <p:cNvSpPr/>
            <p:nvPr/>
          </p:nvSpPr>
          <p:spPr>
            <a:xfrm>
              <a:off x="5059700" y="2376400"/>
              <a:ext cx="12475" cy="10500"/>
            </a:xfrm>
            <a:custGeom>
              <a:avLst/>
              <a:gdLst/>
              <a:ahLst/>
              <a:cxnLst/>
              <a:rect l="l" t="t" r="r" b="b"/>
              <a:pathLst>
                <a:path w="499" h="420" extrusionOk="0">
                  <a:moveTo>
                    <a:pt x="294" y="1"/>
                  </a:moveTo>
                  <a:cubicBezTo>
                    <a:pt x="290" y="1"/>
                    <a:pt x="286" y="1"/>
                    <a:pt x="282" y="1"/>
                  </a:cubicBezTo>
                  <a:cubicBezTo>
                    <a:pt x="94" y="1"/>
                    <a:pt x="1" y="225"/>
                    <a:pt x="138" y="355"/>
                  </a:cubicBezTo>
                  <a:cubicBezTo>
                    <a:pt x="180" y="400"/>
                    <a:pt x="233" y="420"/>
                    <a:pt x="285" y="420"/>
                  </a:cubicBezTo>
                  <a:cubicBezTo>
                    <a:pt x="390" y="420"/>
                    <a:pt x="491" y="336"/>
                    <a:pt x="491" y="210"/>
                  </a:cubicBezTo>
                  <a:cubicBezTo>
                    <a:pt x="498" y="99"/>
                    <a:pt x="404" y="1"/>
                    <a:pt x="294" y="1"/>
                  </a:cubicBezTo>
                  <a:close/>
                </a:path>
              </a:pathLst>
            </a:custGeom>
            <a:solidFill>
              <a:srgbClr val="869FB2"/>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317" name="Google Shape;1317;p103"/>
            <p:cNvSpPr/>
            <p:nvPr/>
          </p:nvSpPr>
          <p:spPr>
            <a:xfrm>
              <a:off x="5059700" y="2390125"/>
              <a:ext cx="12475" cy="10675"/>
            </a:xfrm>
            <a:custGeom>
              <a:avLst/>
              <a:gdLst/>
              <a:ahLst/>
              <a:cxnLst/>
              <a:rect l="l" t="t" r="r" b="b"/>
              <a:pathLst>
                <a:path w="499" h="427" extrusionOk="0">
                  <a:moveTo>
                    <a:pt x="282" y="0"/>
                  </a:moveTo>
                  <a:cubicBezTo>
                    <a:pt x="94" y="0"/>
                    <a:pt x="1" y="231"/>
                    <a:pt x="138" y="361"/>
                  </a:cubicBezTo>
                  <a:cubicBezTo>
                    <a:pt x="180" y="406"/>
                    <a:pt x="233" y="426"/>
                    <a:pt x="285" y="426"/>
                  </a:cubicBezTo>
                  <a:cubicBezTo>
                    <a:pt x="390" y="426"/>
                    <a:pt x="491" y="343"/>
                    <a:pt x="491" y="217"/>
                  </a:cubicBezTo>
                  <a:cubicBezTo>
                    <a:pt x="498" y="94"/>
                    <a:pt x="397" y="0"/>
                    <a:pt x="282" y="0"/>
                  </a:cubicBezTo>
                  <a:close/>
                </a:path>
              </a:pathLst>
            </a:custGeom>
            <a:solidFill>
              <a:srgbClr val="869FB2"/>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318" name="Google Shape;1318;p103"/>
            <p:cNvSpPr/>
            <p:nvPr/>
          </p:nvSpPr>
          <p:spPr>
            <a:xfrm>
              <a:off x="5073950" y="2348650"/>
              <a:ext cx="12275" cy="10550"/>
            </a:xfrm>
            <a:custGeom>
              <a:avLst/>
              <a:gdLst/>
              <a:ahLst/>
              <a:cxnLst/>
              <a:rect l="l" t="t" r="r" b="b"/>
              <a:pathLst>
                <a:path w="491" h="422" extrusionOk="0">
                  <a:moveTo>
                    <a:pt x="282" y="1"/>
                  </a:moveTo>
                  <a:cubicBezTo>
                    <a:pt x="94" y="1"/>
                    <a:pt x="0" y="224"/>
                    <a:pt x="130" y="361"/>
                  </a:cubicBezTo>
                  <a:cubicBezTo>
                    <a:pt x="174" y="403"/>
                    <a:pt x="227" y="421"/>
                    <a:pt x="278" y="421"/>
                  </a:cubicBezTo>
                  <a:cubicBezTo>
                    <a:pt x="387" y="421"/>
                    <a:pt x="491" y="337"/>
                    <a:pt x="491" y="210"/>
                  </a:cubicBezTo>
                  <a:cubicBezTo>
                    <a:pt x="491" y="94"/>
                    <a:pt x="397" y="1"/>
                    <a:pt x="282" y="1"/>
                  </a:cubicBezTo>
                  <a:close/>
                </a:path>
              </a:pathLst>
            </a:custGeom>
            <a:solidFill>
              <a:srgbClr val="869FB2"/>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319" name="Google Shape;1319;p103"/>
            <p:cNvSpPr/>
            <p:nvPr/>
          </p:nvSpPr>
          <p:spPr>
            <a:xfrm>
              <a:off x="5073950" y="2362525"/>
              <a:ext cx="12275" cy="10550"/>
            </a:xfrm>
            <a:custGeom>
              <a:avLst/>
              <a:gdLst/>
              <a:ahLst/>
              <a:cxnLst/>
              <a:rect l="l" t="t" r="r" b="b"/>
              <a:pathLst>
                <a:path w="491" h="422" extrusionOk="0">
                  <a:moveTo>
                    <a:pt x="282" y="1"/>
                  </a:moveTo>
                  <a:cubicBezTo>
                    <a:pt x="94" y="1"/>
                    <a:pt x="0" y="224"/>
                    <a:pt x="130" y="361"/>
                  </a:cubicBezTo>
                  <a:cubicBezTo>
                    <a:pt x="174" y="403"/>
                    <a:pt x="227" y="422"/>
                    <a:pt x="278" y="422"/>
                  </a:cubicBezTo>
                  <a:cubicBezTo>
                    <a:pt x="387" y="422"/>
                    <a:pt x="491" y="338"/>
                    <a:pt x="491" y="210"/>
                  </a:cubicBezTo>
                  <a:cubicBezTo>
                    <a:pt x="491" y="95"/>
                    <a:pt x="397" y="1"/>
                    <a:pt x="282" y="1"/>
                  </a:cubicBezTo>
                  <a:close/>
                </a:path>
              </a:pathLst>
            </a:custGeom>
            <a:solidFill>
              <a:srgbClr val="869FB2"/>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320" name="Google Shape;1320;p103"/>
            <p:cNvSpPr/>
            <p:nvPr/>
          </p:nvSpPr>
          <p:spPr>
            <a:xfrm>
              <a:off x="5074000" y="2376400"/>
              <a:ext cx="12225" cy="10500"/>
            </a:xfrm>
            <a:custGeom>
              <a:avLst/>
              <a:gdLst/>
              <a:ahLst/>
              <a:cxnLst/>
              <a:rect l="l" t="t" r="r" b="b"/>
              <a:pathLst>
                <a:path w="489" h="420" extrusionOk="0">
                  <a:moveTo>
                    <a:pt x="291" y="1"/>
                  </a:moveTo>
                  <a:cubicBezTo>
                    <a:pt x="287" y="1"/>
                    <a:pt x="284" y="1"/>
                    <a:pt x="280" y="1"/>
                  </a:cubicBezTo>
                  <a:cubicBezTo>
                    <a:pt x="277" y="1"/>
                    <a:pt x="274" y="1"/>
                    <a:pt x="271" y="1"/>
                  </a:cubicBezTo>
                  <a:cubicBezTo>
                    <a:pt x="89" y="1"/>
                    <a:pt x="0" y="227"/>
                    <a:pt x="128" y="355"/>
                  </a:cubicBezTo>
                  <a:cubicBezTo>
                    <a:pt x="173" y="400"/>
                    <a:pt x="228" y="420"/>
                    <a:pt x="281" y="420"/>
                  </a:cubicBezTo>
                  <a:cubicBezTo>
                    <a:pt x="388" y="420"/>
                    <a:pt x="489" y="336"/>
                    <a:pt x="489" y="210"/>
                  </a:cubicBezTo>
                  <a:cubicBezTo>
                    <a:pt x="489" y="99"/>
                    <a:pt x="401" y="1"/>
                    <a:pt x="291" y="1"/>
                  </a:cubicBezTo>
                  <a:close/>
                </a:path>
              </a:pathLst>
            </a:custGeom>
            <a:solidFill>
              <a:srgbClr val="869FB2"/>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321" name="Google Shape;1321;p103"/>
            <p:cNvSpPr/>
            <p:nvPr/>
          </p:nvSpPr>
          <p:spPr>
            <a:xfrm>
              <a:off x="5088000" y="2362525"/>
              <a:ext cx="12475" cy="10550"/>
            </a:xfrm>
            <a:custGeom>
              <a:avLst/>
              <a:gdLst/>
              <a:ahLst/>
              <a:cxnLst/>
              <a:rect l="l" t="t" r="r" b="b"/>
              <a:pathLst>
                <a:path w="499" h="422" extrusionOk="0">
                  <a:moveTo>
                    <a:pt x="289" y="1"/>
                  </a:moveTo>
                  <a:cubicBezTo>
                    <a:pt x="102" y="1"/>
                    <a:pt x="1" y="224"/>
                    <a:pt x="138" y="361"/>
                  </a:cubicBezTo>
                  <a:cubicBezTo>
                    <a:pt x="180" y="403"/>
                    <a:pt x="231" y="422"/>
                    <a:pt x="283" y="422"/>
                  </a:cubicBezTo>
                  <a:cubicBezTo>
                    <a:pt x="392" y="422"/>
                    <a:pt x="499" y="338"/>
                    <a:pt x="499" y="210"/>
                  </a:cubicBezTo>
                  <a:cubicBezTo>
                    <a:pt x="499" y="95"/>
                    <a:pt x="405" y="1"/>
                    <a:pt x="289" y="1"/>
                  </a:cubicBezTo>
                  <a:close/>
                </a:path>
              </a:pathLst>
            </a:custGeom>
            <a:solidFill>
              <a:srgbClr val="869FB2"/>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1322" name="Google Shape;1322;p103"/>
          <p:cNvGrpSpPr/>
          <p:nvPr/>
        </p:nvGrpSpPr>
        <p:grpSpPr>
          <a:xfrm>
            <a:off x="10727496" y="5255695"/>
            <a:ext cx="246645" cy="213828"/>
            <a:chOff x="5037700" y="2430325"/>
            <a:chExt cx="75950" cy="65850"/>
          </a:xfrm>
        </p:grpSpPr>
        <p:sp>
          <p:nvSpPr>
            <p:cNvPr id="1323" name="Google Shape;1323;p103"/>
            <p:cNvSpPr/>
            <p:nvPr/>
          </p:nvSpPr>
          <p:spPr>
            <a:xfrm>
              <a:off x="5059700" y="2430325"/>
              <a:ext cx="53950" cy="65850"/>
            </a:xfrm>
            <a:custGeom>
              <a:avLst/>
              <a:gdLst/>
              <a:ahLst/>
              <a:cxnLst/>
              <a:rect l="l" t="t" r="r" b="b"/>
              <a:pathLst>
                <a:path w="2158" h="2634" extrusionOk="0">
                  <a:moveTo>
                    <a:pt x="1" y="1"/>
                  </a:moveTo>
                  <a:lnTo>
                    <a:pt x="866" y="1321"/>
                  </a:lnTo>
                  <a:lnTo>
                    <a:pt x="1" y="2633"/>
                  </a:lnTo>
                  <a:lnTo>
                    <a:pt x="1292" y="2633"/>
                  </a:lnTo>
                  <a:lnTo>
                    <a:pt x="2157" y="1321"/>
                  </a:lnTo>
                  <a:lnTo>
                    <a:pt x="1292" y="1"/>
                  </a:lnTo>
                  <a:close/>
                </a:path>
              </a:pathLst>
            </a:custGeom>
            <a:noFill/>
            <a:ln w="9525" cap="flat" cmpd="sng">
              <a:solidFill>
                <a:srgbClr val="869FB2"/>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324" name="Google Shape;1324;p103"/>
            <p:cNvSpPr/>
            <p:nvPr/>
          </p:nvSpPr>
          <p:spPr>
            <a:xfrm>
              <a:off x="5037700" y="2430325"/>
              <a:ext cx="34100" cy="65850"/>
            </a:xfrm>
            <a:custGeom>
              <a:avLst/>
              <a:gdLst/>
              <a:ahLst/>
              <a:cxnLst/>
              <a:rect l="l" t="t" r="r" b="b"/>
              <a:pathLst>
                <a:path w="1364" h="2634" extrusionOk="0">
                  <a:moveTo>
                    <a:pt x="1" y="1"/>
                  </a:moveTo>
                  <a:lnTo>
                    <a:pt x="866" y="1321"/>
                  </a:lnTo>
                  <a:lnTo>
                    <a:pt x="1" y="2633"/>
                  </a:lnTo>
                  <a:lnTo>
                    <a:pt x="498" y="2633"/>
                  </a:lnTo>
                  <a:lnTo>
                    <a:pt x="1364" y="1321"/>
                  </a:lnTo>
                  <a:lnTo>
                    <a:pt x="498" y="1"/>
                  </a:lnTo>
                  <a:close/>
                </a:path>
              </a:pathLst>
            </a:custGeom>
            <a:noFill/>
            <a:ln w="9525" cap="flat" cmpd="sng">
              <a:solidFill>
                <a:srgbClr val="869FB2"/>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1325" name="Google Shape;1325;p103"/>
          <p:cNvGrpSpPr/>
          <p:nvPr/>
        </p:nvGrpSpPr>
        <p:grpSpPr>
          <a:xfrm>
            <a:off x="9953504" y="4944298"/>
            <a:ext cx="230685" cy="130172"/>
            <a:chOff x="4756975" y="2341800"/>
            <a:chExt cx="91975" cy="51925"/>
          </a:xfrm>
        </p:grpSpPr>
        <p:sp>
          <p:nvSpPr>
            <p:cNvPr id="1326" name="Google Shape;1326;p103"/>
            <p:cNvSpPr/>
            <p:nvPr/>
          </p:nvSpPr>
          <p:spPr>
            <a:xfrm>
              <a:off x="4756975" y="2341800"/>
              <a:ext cx="10650" cy="9150"/>
            </a:xfrm>
            <a:custGeom>
              <a:avLst/>
              <a:gdLst/>
              <a:ahLst/>
              <a:cxnLst/>
              <a:rect l="l" t="t" r="r" b="b"/>
              <a:pathLst>
                <a:path w="426" h="366" extrusionOk="0">
                  <a:moveTo>
                    <a:pt x="245" y="0"/>
                  </a:moveTo>
                  <a:cubicBezTo>
                    <a:pt x="79" y="0"/>
                    <a:pt x="0" y="195"/>
                    <a:pt x="115" y="311"/>
                  </a:cubicBezTo>
                  <a:cubicBezTo>
                    <a:pt x="153" y="348"/>
                    <a:pt x="199" y="365"/>
                    <a:pt x="244" y="365"/>
                  </a:cubicBezTo>
                  <a:cubicBezTo>
                    <a:pt x="337" y="365"/>
                    <a:pt x="426" y="293"/>
                    <a:pt x="426" y="181"/>
                  </a:cubicBezTo>
                  <a:cubicBezTo>
                    <a:pt x="426" y="80"/>
                    <a:pt x="346" y="0"/>
                    <a:pt x="245" y="0"/>
                  </a:cubicBezTo>
                  <a:close/>
                </a:path>
              </a:pathLst>
            </a:custGeom>
            <a:solidFill>
              <a:srgbClr val="869FB2"/>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327" name="Google Shape;1327;p103"/>
            <p:cNvSpPr/>
            <p:nvPr/>
          </p:nvSpPr>
          <p:spPr>
            <a:xfrm>
              <a:off x="4777350" y="2341800"/>
              <a:ext cx="10650" cy="9150"/>
            </a:xfrm>
            <a:custGeom>
              <a:avLst/>
              <a:gdLst/>
              <a:ahLst/>
              <a:cxnLst/>
              <a:rect l="l" t="t" r="r" b="b"/>
              <a:pathLst>
                <a:path w="426" h="366" extrusionOk="0">
                  <a:moveTo>
                    <a:pt x="245" y="0"/>
                  </a:moveTo>
                  <a:cubicBezTo>
                    <a:pt x="79" y="0"/>
                    <a:pt x="0" y="195"/>
                    <a:pt x="115" y="311"/>
                  </a:cubicBezTo>
                  <a:cubicBezTo>
                    <a:pt x="153" y="348"/>
                    <a:pt x="199" y="365"/>
                    <a:pt x="244" y="365"/>
                  </a:cubicBezTo>
                  <a:cubicBezTo>
                    <a:pt x="337" y="365"/>
                    <a:pt x="426" y="293"/>
                    <a:pt x="426" y="181"/>
                  </a:cubicBezTo>
                  <a:cubicBezTo>
                    <a:pt x="426" y="80"/>
                    <a:pt x="339" y="0"/>
                    <a:pt x="245" y="0"/>
                  </a:cubicBezTo>
                  <a:close/>
                </a:path>
              </a:pathLst>
            </a:custGeom>
            <a:solidFill>
              <a:srgbClr val="869FB2"/>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328" name="Google Shape;1328;p103"/>
            <p:cNvSpPr/>
            <p:nvPr/>
          </p:nvSpPr>
          <p:spPr>
            <a:xfrm>
              <a:off x="4797725" y="2341800"/>
              <a:ext cx="10475" cy="9150"/>
            </a:xfrm>
            <a:custGeom>
              <a:avLst/>
              <a:gdLst/>
              <a:ahLst/>
              <a:cxnLst/>
              <a:rect l="l" t="t" r="r" b="b"/>
              <a:pathLst>
                <a:path w="419" h="366" extrusionOk="0">
                  <a:moveTo>
                    <a:pt x="238" y="0"/>
                  </a:moveTo>
                  <a:cubicBezTo>
                    <a:pt x="79" y="0"/>
                    <a:pt x="0" y="195"/>
                    <a:pt x="115" y="311"/>
                  </a:cubicBezTo>
                  <a:cubicBezTo>
                    <a:pt x="151" y="348"/>
                    <a:pt x="195" y="365"/>
                    <a:pt x="239" y="365"/>
                  </a:cubicBezTo>
                  <a:cubicBezTo>
                    <a:pt x="330" y="365"/>
                    <a:pt x="418" y="293"/>
                    <a:pt x="418" y="181"/>
                  </a:cubicBezTo>
                  <a:cubicBezTo>
                    <a:pt x="418" y="80"/>
                    <a:pt x="339" y="0"/>
                    <a:pt x="238" y="0"/>
                  </a:cubicBezTo>
                  <a:close/>
                </a:path>
              </a:pathLst>
            </a:custGeom>
            <a:solidFill>
              <a:srgbClr val="869FB2"/>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329" name="Google Shape;1329;p103"/>
            <p:cNvSpPr/>
            <p:nvPr/>
          </p:nvSpPr>
          <p:spPr>
            <a:xfrm>
              <a:off x="4818100" y="2341800"/>
              <a:ext cx="10475" cy="9150"/>
            </a:xfrm>
            <a:custGeom>
              <a:avLst/>
              <a:gdLst/>
              <a:ahLst/>
              <a:cxnLst/>
              <a:rect l="l" t="t" r="r" b="b"/>
              <a:pathLst>
                <a:path w="419" h="366" extrusionOk="0">
                  <a:moveTo>
                    <a:pt x="238" y="0"/>
                  </a:moveTo>
                  <a:cubicBezTo>
                    <a:pt x="79" y="0"/>
                    <a:pt x="0" y="195"/>
                    <a:pt x="115" y="311"/>
                  </a:cubicBezTo>
                  <a:cubicBezTo>
                    <a:pt x="151" y="348"/>
                    <a:pt x="195" y="365"/>
                    <a:pt x="239" y="365"/>
                  </a:cubicBezTo>
                  <a:cubicBezTo>
                    <a:pt x="330" y="365"/>
                    <a:pt x="418" y="293"/>
                    <a:pt x="418" y="181"/>
                  </a:cubicBezTo>
                  <a:cubicBezTo>
                    <a:pt x="418" y="80"/>
                    <a:pt x="339" y="0"/>
                    <a:pt x="238" y="0"/>
                  </a:cubicBezTo>
                  <a:close/>
                </a:path>
              </a:pathLst>
            </a:custGeom>
            <a:solidFill>
              <a:srgbClr val="869FB2"/>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330" name="Google Shape;1330;p103"/>
            <p:cNvSpPr/>
            <p:nvPr/>
          </p:nvSpPr>
          <p:spPr>
            <a:xfrm>
              <a:off x="4768675" y="2352625"/>
              <a:ext cx="8875" cy="9025"/>
            </a:xfrm>
            <a:custGeom>
              <a:avLst/>
              <a:gdLst/>
              <a:ahLst/>
              <a:cxnLst/>
              <a:rect l="l" t="t" r="r" b="b"/>
              <a:pathLst>
                <a:path w="355" h="361" extrusionOk="0">
                  <a:moveTo>
                    <a:pt x="174" y="0"/>
                  </a:moveTo>
                  <a:cubicBezTo>
                    <a:pt x="80" y="0"/>
                    <a:pt x="1" y="87"/>
                    <a:pt x="1" y="181"/>
                  </a:cubicBezTo>
                  <a:cubicBezTo>
                    <a:pt x="1" y="281"/>
                    <a:pt x="80" y="361"/>
                    <a:pt x="174" y="361"/>
                  </a:cubicBezTo>
                  <a:cubicBezTo>
                    <a:pt x="275" y="361"/>
                    <a:pt x="354" y="281"/>
                    <a:pt x="354" y="181"/>
                  </a:cubicBezTo>
                  <a:cubicBezTo>
                    <a:pt x="354" y="87"/>
                    <a:pt x="275" y="0"/>
                    <a:pt x="174" y="0"/>
                  </a:cubicBezTo>
                  <a:close/>
                </a:path>
              </a:pathLst>
            </a:custGeom>
            <a:solidFill>
              <a:srgbClr val="869FB2"/>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331" name="Google Shape;1331;p103"/>
            <p:cNvSpPr/>
            <p:nvPr/>
          </p:nvSpPr>
          <p:spPr>
            <a:xfrm>
              <a:off x="4787425" y="2352625"/>
              <a:ext cx="10500" cy="9125"/>
            </a:xfrm>
            <a:custGeom>
              <a:avLst/>
              <a:gdLst/>
              <a:ahLst/>
              <a:cxnLst/>
              <a:rect l="l" t="t" r="r" b="b"/>
              <a:pathLst>
                <a:path w="420" h="365" extrusionOk="0">
                  <a:moveTo>
                    <a:pt x="239" y="0"/>
                  </a:moveTo>
                  <a:cubicBezTo>
                    <a:pt x="80" y="0"/>
                    <a:pt x="1" y="195"/>
                    <a:pt x="116" y="310"/>
                  </a:cubicBezTo>
                  <a:cubicBezTo>
                    <a:pt x="152" y="348"/>
                    <a:pt x="196" y="365"/>
                    <a:pt x="240" y="365"/>
                  </a:cubicBezTo>
                  <a:cubicBezTo>
                    <a:pt x="331" y="365"/>
                    <a:pt x="419" y="292"/>
                    <a:pt x="419" y="181"/>
                  </a:cubicBezTo>
                  <a:cubicBezTo>
                    <a:pt x="419" y="87"/>
                    <a:pt x="340" y="0"/>
                    <a:pt x="239" y="0"/>
                  </a:cubicBezTo>
                  <a:close/>
                </a:path>
              </a:pathLst>
            </a:custGeom>
            <a:solidFill>
              <a:srgbClr val="869FB2"/>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332" name="Google Shape;1332;p103"/>
            <p:cNvSpPr/>
            <p:nvPr/>
          </p:nvSpPr>
          <p:spPr>
            <a:xfrm>
              <a:off x="4809250" y="2352625"/>
              <a:ext cx="9050" cy="9025"/>
            </a:xfrm>
            <a:custGeom>
              <a:avLst/>
              <a:gdLst/>
              <a:ahLst/>
              <a:cxnLst/>
              <a:rect l="l" t="t" r="r" b="b"/>
              <a:pathLst>
                <a:path w="362" h="361" extrusionOk="0">
                  <a:moveTo>
                    <a:pt x="181" y="0"/>
                  </a:moveTo>
                  <a:cubicBezTo>
                    <a:pt x="80" y="0"/>
                    <a:pt x="1" y="87"/>
                    <a:pt x="1" y="181"/>
                  </a:cubicBezTo>
                  <a:cubicBezTo>
                    <a:pt x="1" y="281"/>
                    <a:pt x="80" y="361"/>
                    <a:pt x="181" y="361"/>
                  </a:cubicBezTo>
                  <a:cubicBezTo>
                    <a:pt x="282" y="361"/>
                    <a:pt x="361" y="281"/>
                    <a:pt x="361" y="181"/>
                  </a:cubicBezTo>
                  <a:cubicBezTo>
                    <a:pt x="361" y="87"/>
                    <a:pt x="282" y="0"/>
                    <a:pt x="181" y="0"/>
                  </a:cubicBezTo>
                  <a:close/>
                </a:path>
              </a:pathLst>
            </a:custGeom>
            <a:solidFill>
              <a:srgbClr val="869FB2"/>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333" name="Google Shape;1333;p103"/>
            <p:cNvSpPr/>
            <p:nvPr/>
          </p:nvSpPr>
          <p:spPr>
            <a:xfrm>
              <a:off x="4829625" y="2352625"/>
              <a:ext cx="9050" cy="9025"/>
            </a:xfrm>
            <a:custGeom>
              <a:avLst/>
              <a:gdLst/>
              <a:ahLst/>
              <a:cxnLst/>
              <a:rect l="l" t="t" r="r" b="b"/>
              <a:pathLst>
                <a:path w="362" h="361" extrusionOk="0">
                  <a:moveTo>
                    <a:pt x="181" y="0"/>
                  </a:moveTo>
                  <a:cubicBezTo>
                    <a:pt x="80" y="0"/>
                    <a:pt x="1" y="87"/>
                    <a:pt x="1" y="181"/>
                  </a:cubicBezTo>
                  <a:cubicBezTo>
                    <a:pt x="1" y="281"/>
                    <a:pt x="80" y="361"/>
                    <a:pt x="181" y="361"/>
                  </a:cubicBezTo>
                  <a:cubicBezTo>
                    <a:pt x="282" y="361"/>
                    <a:pt x="361" y="281"/>
                    <a:pt x="361" y="181"/>
                  </a:cubicBezTo>
                  <a:cubicBezTo>
                    <a:pt x="361" y="87"/>
                    <a:pt x="282" y="0"/>
                    <a:pt x="181" y="0"/>
                  </a:cubicBezTo>
                  <a:close/>
                </a:path>
              </a:pathLst>
            </a:custGeom>
            <a:solidFill>
              <a:srgbClr val="869FB2"/>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334" name="Google Shape;1334;p103"/>
            <p:cNvSpPr/>
            <p:nvPr/>
          </p:nvSpPr>
          <p:spPr>
            <a:xfrm>
              <a:off x="4777350" y="2363250"/>
              <a:ext cx="10650" cy="9025"/>
            </a:xfrm>
            <a:custGeom>
              <a:avLst/>
              <a:gdLst/>
              <a:ahLst/>
              <a:cxnLst/>
              <a:rect l="l" t="t" r="r" b="b"/>
              <a:pathLst>
                <a:path w="426" h="361" extrusionOk="0">
                  <a:moveTo>
                    <a:pt x="245" y="1"/>
                  </a:moveTo>
                  <a:cubicBezTo>
                    <a:pt x="79" y="1"/>
                    <a:pt x="0" y="195"/>
                    <a:pt x="115" y="311"/>
                  </a:cubicBezTo>
                  <a:cubicBezTo>
                    <a:pt x="152" y="345"/>
                    <a:pt x="197" y="361"/>
                    <a:pt x="241" y="361"/>
                  </a:cubicBezTo>
                  <a:cubicBezTo>
                    <a:pt x="335" y="361"/>
                    <a:pt x="426" y="289"/>
                    <a:pt x="426" y="181"/>
                  </a:cubicBezTo>
                  <a:cubicBezTo>
                    <a:pt x="426" y="80"/>
                    <a:pt x="339" y="1"/>
                    <a:pt x="245" y="1"/>
                  </a:cubicBezTo>
                  <a:close/>
                </a:path>
              </a:pathLst>
            </a:custGeom>
            <a:solidFill>
              <a:srgbClr val="869FB2"/>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335" name="Google Shape;1335;p103"/>
            <p:cNvSpPr/>
            <p:nvPr/>
          </p:nvSpPr>
          <p:spPr>
            <a:xfrm>
              <a:off x="4797725" y="2363250"/>
              <a:ext cx="10475" cy="9025"/>
            </a:xfrm>
            <a:custGeom>
              <a:avLst/>
              <a:gdLst/>
              <a:ahLst/>
              <a:cxnLst/>
              <a:rect l="l" t="t" r="r" b="b"/>
              <a:pathLst>
                <a:path w="419" h="361" extrusionOk="0">
                  <a:moveTo>
                    <a:pt x="238" y="1"/>
                  </a:moveTo>
                  <a:cubicBezTo>
                    <a:pt x="79" y="1"/>
                    <a:pt x="0" y="195"/>
                    <a:pt x="115" y="311"/>
                  </a:cubicBezTo>
                  <a:cubicBezTo>
                    <a:pt x="150" y="345"/>
                    <a:pt x="193" y="361"/>
                    <a:pt x="236" y="361"/>
                  </a:cubicBezTo>
                  <a:cubicBezTo>
                    <a:pt x="328" y="361"/>
                    <a:pt x="418" y="289"/>
                    <a:pt x="418" y="181"/>
                  </a:cubicBezTo>
                  <a:cubicBezTo>
                    <a:pt x="418" y="80"/>
                    <a:pt x="339" y="1"/>
                    <a:pt x="238" y="1"/>
                  </a:cubicBezTo>
                  <a:close/>
                </a:path>
              </a:pathLst>
            </a:custGeom>
            <a:solidFill>
              <a:srgbClr val="869FB2"/>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336" name="Google Shape;1336;p103"/>
            <p:cNvSpPr/>
            <p:nvPr/>
          </p:nvSpPr>
          <p:spPr>
            <a:xfrm>
              <a:off x="4818100" y="2363250"/>
              <a:ext cx="10475" cy="9025"/>
            </a:xfrm>
            <a:custGeom>
              <a:avLst/>
              <a:gdLst/>
              <a:ahLst/>
              <a:cxnLst/>
              <a:rect l="l" t="t" r="r" b="b"/>
              <a:pathLst>
                <a:path w="419" h="361" extrusionOk="0">
                  <a:moveTo>
                    <a:pt x="238" y="1"/>
                  </a:moveTo>
                  <a:cubicBezTo>
                    <a:pt x="79" y="1"/>
                    <a:pt x="0" y="195"/>
                    <a:pt x="115" y="311"/>
                  </a:cubicBezTo>
                  <a:cubicBezTo>
                    <a:pt x="150" y="345"/>
                    <a:pt x="193" y="361"/>
                    <a:pt x="236" y="361"/>
                  </a:cubicBezTo>
                  <a:cubicBezTo>
                    <a:pt x="328" y="361"/>
                    <a:pt x="418" y="289"/>
                    <a:pt x="418" y="181"/>
                  </a:cubicBezTo>
                  <a:cubicBezTo>
                    <a:pt x="418" y="80"/>
                    <a:pt x="339" y="1"/>
                    <a:pt x="238" y="1"/>
                  </a:cubicBezTo>
                  <a:close/>
                </a:path>
              </a:pathLst>
            </a:custGeom>
            <a:solidFill>
              <a:srgbClr val="869FB2"/>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337" name="Google Shape;1337;p103"/>
            <p:cNvSpPr/>
            <p:nvPr/>
          </p:nvSpPr>
          <p:spPr>
            <a:xfrm>
              <a:off x="4838475" y="2363250"/>
              <a:ext cx="10475" cy="9025"/>
            </a:xfrm>
            <a:custGeom>
              <a:avLst/>
              <a:gdLst/>
              <a:ahLst/>
              <a:cxnLst/>
              <a:rect l="l" t="t" r="r" b="b"/>
              <a:pathLst>
                <a:path w="419" h="361" extrusionOk="0">
                  <a:moveTo>
                    <a:pt x="238" y="1"/>
                  </a:moveTo>
                  <a:cubicBezTo>
                    <a:pt x="79" y="1"/>
                    <a:pt x="0" y="195"/>
                    <a:pt x="108" y="311"/>
                  </a:cubicBezTo>
                  <a:cubicBezTo>
                    <a:pt x="145" y="345"/>
                    <a:pt x="190" y="361"/>
                    <a:pt x="233" y="361"/>
                  </a:cubicBezTo>
                  <a:cubicBezTo>
                    <a:pt x="328" y="361"/>
                    <a:pt x="418" y="289"/>
                    <a:pt x="418" y="181"/>
                  </a:cubicBezTo>
                  <a:cubicBezTo>
                    <a:pt x="418" y="80"/>
                    <a:pt x="339" y="1"/>
                    <a:pt x="238" y="1"/>
                  </a:cubicBezTo>
                  <a:close/>
                </a:path>
              </a:pathLst>
            </a:custGeom>
            <a:solidFill>
              <a:srgbClr val="869FB2"/>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338" name="Google Shape;1338;p103"/>
            <p:cNvSpPr/>
            <p:nvPr/>
          </p:nvSpPr>
          <p:spPr>
            <a:xfrm>
              <a:off x="4768675" y="2374075"/>
              <a:ext cx="8875" cy="9050"/>
            </a:xfrm>
            <a:custGeom>
              <a:avLst/>
              <a:gdLst/>
              <a:ahLst/>
              <a:cxnLst/>
              <a:rect l="l" t="t" r="r" b="b"/>
              <a:pathLst>
                <a:path w="355" h="362" extrusionOk="0">
                  <a:moveTo>
                    <a:pt x="174" y="0"/>
                  </a:moveTo>
                  <a:cubicBezTo>
                    <a:pt x="80" y="0"/>
                    <a:pt x="1" y="80"/>
                    <a:pt x="1" y="181"/>
                  </a:cubicBezTo>
                  <a:cubicBezTo>
                    <a:pt x="1" y="282"/>
                    <a:pt x="80" y="361"/>
                    <a:pt x="174" y="361"/>
                  </a:cubicBezTo>
                  <a:cubicBezTo>
                    <a:pt x="275" y="361"/>
                    <a:pt x="354" y="282"/>
                    <a:pt x="354" y="181"/>
                  </a:cubicBezTo>
                  <a:cubicBezTo>
                    <a:pt x="354" y="80"/>
                    <a:pt x="275" y="0"/>
                    <a:pt x="174" y="0"/>
                  </a:cubicBezTo>
                  <a:close/>
                </a:path>
              </a:pathLst>
            </a:custGeom>
            <a:solidFill>
              <a:srgbClr val="869FB2"/>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339" name="Google Shape;1339;p103"/>
            <p:cNvSpPr/>
            <p:nvPr/>
          </p:nvSpPr>
          <p:spPr>
            <a:xfrm>
              <a:off x="4787425" y="2374075"/>
              <a:ext cx="10500" cy="9150"/>
            </a:xfrm>
            <a:custGeom>
              <a:avLst/>
              <a:gdLst/>
              <a:ahLst/>
              <a:cxnLst/>
              <a:rect l="l" t="t" r="r" b="b"/>
              <a:pathLst>
                <a:path w="420" h="366" extrusionOk="0">
                  <a:moveTo>
                    <a:pt x="239" y="0"/>
                  </a:moveTo>
                  <a:cubicBezTo>
                    <a:pt x="80" y="0"/>
                    <a:pt x="1" y="195"/>
                    <a:pt x="116" y="311"/>
                  </a:cubicBezTo>
                  <a:cubicBezTo>
                    <a:pt x="152" y="348"/>
                    <a:pt x="196" y="365"/>
                    <a:pt x="240" y="365"/>
                  </a:cubicBezTo>
                  <a:cubicBezTo>
                    <a:pt x="331" y="365"/>
                    <a:pt x="419" y="293"/>
                    <a:pt x="419" y="181"/>
                  </a:cubicBezTo>
                  <a:cubicBezTo>
                    <a:pt x="419" y="80"/>
                    <a:pt x="340" y="0"/>
                    <a:pt x="239" y="0"/>
                  </a:cubicBezTo>
                  <a:close/>
                </a:path>
              </a:pathLst>
            </a:custGeom>
            <a:solidFill>
              <a:srgbClr val="869FB2"/>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340" name="Google Shape;1340;p103"/>
            <p:cNvSpPr/>
            <p:nvPr/>
          </p:nvSpPr>
          <p:spPr>
            <a:xfrm>
              <a:off x="4809250" y="2374075"/>
              <a:ext cx="9050" cy="9050"/>
            </a:xfrm>
            <a:custGeom>
              <a:avLst/>
              <a:gdLst/>
              <a:ahLst/>
              <a:cxnLst/>
              <a:rect l="l" t="t" r="r" b="b"/>
              <a:pathLst>
                <a:path w="362" h="362" extrusionOk="0">
                  <a:moveTo>
                    <a:pt x="181" y="0"/>
                  </a:moveTo>
                  <a:cubicBezTo>
                    <a:pt x="80" y="0"/>
                    <a:pt x="1" y="80"/>
                    <a:pt x="1" y="181"/>
                  </a:cubicBezTo>
                  <a:cubicBezTo>
                    <a:pt x="1" y="282"/>
                    <a:pt x="80" y="361"/>
                    <a:pt x="181" y="361"/>
                  </a:cubicBezTo>
                  <a:cubicBezTo>
                    <a:pt x="282" y="361"/>
                    <a:pt x="361" y="282"/>
                    <a:pt x="361" y="181"/>
                  </a:cubicBezTo>
                  <a:cubicBezTo>
                    <a:pt x="361" y="80"/>
                    <a:pt x="282" y="0"/>
                    <a:pt x="181" y="0"/>
                  </a:cubicBezTo>
                  <a:close/>
                </a:path>
              </a:pathLst>
            </a:custGeom>
            <a:solidFill>
              <a:srgbClr val="869FB2"/>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341" name="Google Shape;1341;p103"/>
            <p:cNvSpPr/>
            <p:nvPr/>
          </p:nvSpPr>
          <p:spPr>
            <a:xfrm>
              <a:off x="4829625" y="2374075"/>
              <a:ext cx="9050" cy="9050"/>
            </a:xfrm>
            <a:custGeom>
              <a:avLst/>
              <a:gdLst/>
              <a:ahLst/>
              <a:cxnLst/>
              <a:rect l="l" t="t" r="r" b="b"/>
              <a:pathLst>
                <a:path w="362" h="362" extrusionOk="0">
                  <a:moveTo>
                    <a:pt x="181" y="0"/>
                  </a:moveTo>
                  <a:cubicBezTo>
                    <a:pt x="80" y="0"/>
                    <a:pt x="1" y="80"/>
                    <a:pt x="1" y="181"/>
                  </a:cubicBezTo>
                  <a:cubicBezTo>
                    <a:pt x="1" y="282"/>
                    <a:pt x="80" y="361"/>
                    <a:pt x="181" y="361"/>
                  </a:cubicBezTo>
                  <a:cubicBezTo>
                    <a:pt x="282" y="361"/>
                    <a:pt x="361" y="282"/>
                    <a:pt x="361" y="181"/>
                  </a:cubicBezTo>
                  <a:cubicBezTo>
                    <a:pt x="361" y="80"/>
                    <a:pt x="282" y="0"/>
                    <a:pt x="181" y="0"/>
                  </a:cubicBezTo>
                  <a:close/>
                </a:path>
              </a:pathLst>
            </a:custGeom>
            <a:solidFill>
              <a:srgbClr val="869FB2"/>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342" name="Google Shape;1342;p103"/>
            <p:cNvSpPr/>
            <p:nvPr/>
          </p:nvSpPr>
          <p:spPr>
            <a:xfrm>
              <a:off x="4756975" y="2384725"/>
              <a:ext cx="10650" cy="9000"/>
            </a:xfrm>
            <a:custGeom>
              <a:avLst/>
              <a:gdLst/>
              <a:ahLst/>
              <a:cxnLst/>
              <a:rect l="l" t="t" r="r" b="b"/>
              <a:pathLst>
                <a:path w="426" h="360" extrusionOk="0">
                  <a:moveTo>
                    <a:pt x="245" y="0"/>
                  </a:moveTo>
                  <a:cubicBezTo>
                    <a:pt x="79" y="0"/>
                    <a:pt x="0" y="195"/>
                    <a:pt x="115" y="310"/>
                  </a:cubicBezTo>
                  <a:cubicBezTo>
                    <a:pt x="152" y="344"/>
                    <a:pt x="197" y="360"/>
                    <a:pt x="241" y="360"/>
                  </a:cubicBezTo>
                  <a:cubicBezTo>
                    <a:pt x="335" y="360"/>
                    <a:pt x="426" y="289"/>
                    <a:pt x="426" y="180"/>
                  </a:cubicBezTo>
                  <a:cubicBezTo>
                    <a:pt x="426" y="79"/>
                    <a:pt x="346" y="0"/>
                    <a:pt x="245" y="0"/>
                  </a:cubicBezTo>
                  <a:close/>
                </a:path>
              </a:pathLst>
            </a:custGeom>
            <a:solidFill>
              <a:srgbClr val="869FB2"/>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343" name="Google Shape;1343;p103"/>
            <p:cNvSpPr/>
            <p:nvPr/>
          </p:nvSpPr>
          <p:spPr>
            <a:xfrm>
              <a:off x="4777350" y="2384725"/>
              <a:ext cx="10650" cy="9000"/>
            </a:xfrm>
            <a:custGeom>
              <a:avLst/>
              <a:gdLst/>
              <a:ahLst/>
              <a:cxnLst/>
              <a:rect l="l" t="t" r="r" b="b"/>
              <a:pathLst>
                <a:path w="426" h="360" extrusionOk="0">
                  <a:moveTo>
                    <a:pt x="245" y="0"/>
                  </a:moveTo>
                  <a:cubicBezTo>
                    <a:pt x="79" y="0"/>
                    <a:pt x="0" y="195"/>
                    <a:pt x="115" y="310"/>
                  </a:cubicBezTo>
                  <a:cubicBezTo>
                    <a:pt x="152" y="344"/>
                    <a:pt x="197" y="360"/>
                    <a:pt x="241" y="360"/>
                  </a:cubicBezTo>
                  <a:cubicBezTo>
                    <a:pt x="335" y="360"/>
                    <a:pt x="426" y="289"/>
                    <a:pt x="426" y="180"/>
                  </a:cubicBezTo>
                  <a:cubicBezTo>
                    <a:pt x="426" y="79"/>
                    <a:pt x="339" y="0"/>
                    <a:pt x="245" y="0"/>
                  </a:cubicBezTo>
                  <a:close/>
                </a:path>
              </a:pathLst>
            </a:custGeom>
            <a:solidFill>
              <a:srgbClr val="869FB2"/>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344" name="Google Shape;1344;p103"/>
            <p:cNvSpPr/>
            <p:nvPr/>
          </p:nvSpPr>
          <p:spPr>
            <a:xfrm>
              <a:off x="4797725" y="2384725"/>
              <a:ext cx="10475" cy="9000"/>
            </a:xfrm>
            <a:custGeom>
              <a:avLst/>
              <a:gdLst/>
              <a:ahLst/>
              <a:cxnLst/>
              <a:rect l="l" t="t" r="r" b="b"/>
              <a:pathLst>
                <a:path w="419" h="360" extrusionOk="0">
                  <a:moveTo>
                    <a:pt x="238" y="0"/>
                  </a:moveTo>
                  <a:cubicBezTo>
                    <a:pt x="79" y="0"/>
                    <a:pt x="0" y="195"/>
                    <a:pt x="115" y="310"/>
                  </a:cubicBezTo>
                  <a:cubicBezTo>
                    <a:pt x="150" y="344"/>
                    <a:pt x="193" y="360"/>
                    <a:pt x="236" y="360"/>
                  </a:cubicBezTo>
                  <a:cubicBezTo>
                    <a:pt x="328" y="360"/>
                    <a:pt x="418" y="289"/>
                    <a:pt x="418" y="180"/>
                  </a:cubicBezTo>
                  <a:cubicBezTo>
                    <a:pt x="418" y="79"/>
                    <a:pt x="339" y="0"/>
                    <a:pt x="238" y="0"/>
                  </a:cubicBezTo>
                  <a:close/>
                </a:path>
              </a:pathLst>
            </a:custGeom>
            <a:solidFill>
              <a:srgbClr val="869FB2"/>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345" name="Google Shape;1345;p103"/>
            <p:cNvSpPr/>
            <p:nvPr/>
          </p:nvSpPr>
          <p:spPr>
            <a:xfrm>
              <a:off x="4818100" y="2384725"/>
              <a:ext cx="10475" cy="9000"/>
            </a:xfrm>
            <a:custGeom>
              <a:avLst/>
              <a:gdLst/>
              <a:ahLst/>
              <a:cxnLst/>
              <a:rect l="l" t="t" r="r" b="b"/>
              <a:pathLst>
                <a:path w="419" h="360" extrusionOk="0">
                  <a:moveTo>
                    <a:pt x="238" y="0"/>
                  </a:moveTo>
                  <a:cubicBezTo>
                    <a:pt x="79" y="0"/>
                    <a:pt x="0" y="195"/>
                    <a:pt x="115" y="310"/>
                  </a:cubicBezTo>
                  <a:cubicBezTo>
                    <a:pt x="150" y="344"/>
                    <a:pt x="193" y="360"/>
                    <a:pt x="236" y="360"/>
                  </a:cubicBezTo>
                  <a:cubicBezTo>
                    <a:pt x="328" y="360"/>
                    <a:pt x="418" y="289"/>
                    <a:pt x="418" y="180"/>
                  </a:cubicBezTo>
                  <a:cubicBezTo>
                    <a:pt x="418" y="79"/>
                    <a:pt x="339" y="0"/>
                    <a:pt x="238" y="0"/>
                  </a:cubicBezTo>
                  <a:close/>
                </a:path>
              </a:pathLst>
            </a:custGeom>
            <a:solidFill>
              <a:srgbClr val="869FB2"/>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1346" name="Google Shape;1346;p103"/>
          <p:cNvGrpSpPr/>
          <p:nvPr/>
        </p:nvGrpSpPr>
        <p:grpSpPr>
          <a:xfrm>
            <a:off x="10309421" y="5595894"/>
            <a:ext cx="283329" cy="234348"/>
            <a:chOff x="4943575" y="2516350"/>
            <a:chExt cx="98675" cy="81700"/>
          </a:xfrm>
        </p:grpSpPr>
        <p:sp>
          <p:nvSpPr>
            <p:cNvPr id="1347" name="Google Shape;1347;p103"/>
            <p:cNvSpPr/>
            <p:nvPr/>
          </p:nvSpPr>
          <p:spPr>
            <a:xfrm>
              <a:off x="5036450" y="2554750"/>
              <a:ext cx="5800" cy="4825"/>
            </a:xfrm>
            <a:custGeom>
              <a:avLst/>
              <a:gdLst/>
              <a:ahLst/>
              <a:cxnLst/>
              <a:rect l="l" t="t" r="r" b="b"/>
              <a:pathLst>
                <a:path w="232" h="193" extrusionOk="0">
                  <a:moveTo>
                    <a:pt x="130" y="0"/>
                  </a:moveTo>
                  <a:cubicBezTo>
                    <a:pt x="51" y="0"/>
                    <a:pt x="0" y="101"/>
                    <a:pt x="65" y="166"/>
                  </a:cubicBezTo>
                  <a:cubicBezTo>
                    <a:pt x="83" y="184"/>
                    <a:pt x="106" y="192"/>
                    <a:pt x="129" y="192"/>
                  </a:cubicBezTo>
                  <a:cubicBezTo>
                    <a:pt x="179" y="192"/>
                    <a:pt x="229" y="153"/>
                    <a:pt x="224" y="94"/>
                  </a:cubicBezTo>
                  <a:cubicBezTo>
                    <a:pt x="231" y="44"/>
                    <a:pt x="188" y="0"/>
                    <a:pt x="130" y="0"/>
                  </a:cubicBezTo>
                  <a:close/>
                </a:path>
              </a:pathLst>
            </a:custGeom>
            <a:solidFill>
              <a:srgbClr val="869FB2"/>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348" name="Google Shape;1348;p103"/>
            <p:cNvSpPr/>
            <p:nvPr/>
          </p:nvSpPr>
          <p:spPr>
            <a:xfrm>
              <a:off x="5028150" y="2547175"/>
              <a:ext cx="5625" cy="4725"/>
            </a:xfrm>
            <a:custGeom>
              <a:avLst/>
              <a:gdLst/>
              <a:ahLst/>
              <a:cxnLst/>
              <a:rect l="l" t="t" r="r" b="b"/>
              <a:pathLst>
                <a:path w="225" h="189" extrusionOk="0">
                  <a:moveTo>
                    <a:pt x="123" y="0"/>
                  </a:moveTo>
                  <a:cubicBezTo>
                    <a:pt x="37" y="0"/>
                    <a:pt x="0" y="101"/>
                    <a:pt x="58" y="159"/>
                  </a:cubicBezTo>
                  <a:cubicBezTo>
                    <a:pt x="79" y="180"/>
                    <a:pt x="103" y="189"/>
                    <a:pt x="126" y="189"/>
                  </a:cubicBezTo>
                  <a:cubicBezTo>
                    <a:pt x="177" y="189"/>
                    <a:pt x="224" y="146"/>
                    <a:pt x="224" y="87"/>
                  </a:cubicBezTo>
                  <a:cubicBezTo>
                    <a:pt x="217" y="36"/>
                    <a:pt x="181" y="0"/>
                    <a:pt x="123" y="0"/>
                  </a:cubicBezTo>
                  <a:close/>
                </a:path>
              </a:pathLst>
            </a:custGeom>
            <a:solidFill>
              <a:srgbClr val="869FB2"/>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349" name="Google Shape;1349;p103"/>
            <p:cNvSpPr/>
            <p:nvPr/>
          </p:nvSpPr>
          <p:spPr>
            <a:xfrm>
              <a:off x="5028150" y="2554750"/>
              <a:ext cx="5625" cy="4825"/>
            </a:xfrm>
            <a:custGeom>
              <a:avLst/>
              <a:gdLst/>
              <a:ahLst/>
              <a:cxnLst/>
              <a:rect l="l" t="t" r="r" b="b"/>
              <a:pathLst>
                <a:path w="225" h="193" extrusionOk="0">
                  <a:moveTo>
                    <a:pt x="123" y="0"/>
                  </a:moveTo>
                  <a:cubicBezTo>
                    <a:pt x="44" y="0"/>
                    <a:pt x="0" y="101"/>
                    <a:pt x="58" y="166"/>
                  </a:cubicBezTo>
                  <a:cubicBezTo>
                    <a:pt x="76" y="184"/>
                    <a:pt x="99" y="192"/>
                    <a:pt x="123" y="192"/>
                  </a:cubicBezTo>
                  <a:cubicBezTo>
                    <a:pt x="173" y="192"/>
                    <a:pt x="224" y="153"/>
                    <a:pt x="224" y="94"/>
                  </a:cubicBezTo>
                  <a:cubicBezTo>
                    <a:pt x="224" y="44"/>
                    <a:pt x="181" y="0"/>
                    <a:pt x="123" y="0"/>
                  </a:cubicBezTo>
                  <a:close/>
                </a:path>
              </a:pathLst>
            </a:custGeom>
            <a:solidFill>
              <a:srgbClr val="869FB2"/>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350" name="Google Shape;1350;p103"/>
            <p:cNvSpPr/>
            <p:nvPr/>
          </p:nvSpPr>
          <p:spPr>
            <a:xfrm>
              <a:off x="5028150" y="2562500"/>
              <a:ext cx="5625" cy="4800"/>
            </a:xfrm>
            <a:custGeom>
              <a:avLst/>
              <a:gdLst/>
              <a:ahLst/>
              <a:cxnLst/>
              <a:rect l="l" t="t" r="r" b="b"/>
              <a:pathLst>
                <a:path w="225" h="192" extrusionOk="0">
                  <a:moveTo>
                    <a:pt x="123" y="0"/>
                  </a:moveTo>
                  <a:cubicBezTo>
                    <a:pt x="37" y="0"/>
                    <a:pt x="0" y="101"/>
                    <a:pt x="58" y="166"/>
                  </a:cubicBezTo>
                  <a:cubicBezTo>
                    <a:pt x="77" y="183"/>
                    <a:pt x="100" y="191"/>
                    <a:pt x="122" y="191"/>
                  </a:cubicBezTo>
                  <a:cubicBezTo>
                    <a:pt x="174" y="191"/>
                    <a:pt x="224" y="148"/>
                    <a:pt x="224" y="87"/>
                  </a:cubicBezTo>
                  <a:cubicBezTo>
                    <a:pt x="217" y="37"/>
                    <a:pt x="181" y="0"/>
                    <a:pt x="123" y="0"/>
                  </a:cubicBezTo>
                  <a:close/>
                </a:path>
              </a:pathLst>
            </a:custGeom>
            <a:solidFill>
              <a:srgbClr val="869FB2"/>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351" name="Google Shape;1351;p103"/>
            <p:cNvSpPr/>
            <p:nvPr/>
          </p:nvSpPr>
          <p:spPr>
            <a:xfrm>
              <a:off x="5019725" y="2539400"/>
              <a:ext cx="5575" cy="4750"/>
            </a:xfrm>
            <a:custGeom>
              <a:avLst/>
              <a:gdLst/>
              <a:ahLst/>
              <a:cxnLst/>
              <a:rect l="l" t="t" r="r" b="b"/>
              <a:pathLst>
                <a:path w="223" h="190" extrusionOk="0">
                  <a:moveTo>
                    <a:pt x="120" y="1"/>
                  </a:moveTo>
                  <a:cubicBezTo>
                    <a:pt x="39" y="1"/>
                    <a:pt x="0" y="104"/>
                    <a:pt x="56" y="160"/>
                  </a:cubicBezTo>
                  <a:cubicBezTo>
                    <a:pt x="77" y="181"/>
                    <a:pt x="101" y="190"/>
                    <a:pt x="125" y="190"/>
                  </a:cubicBezTo>
                  <a:cubicBezTo>
                    <a:pt x="175" y="190"/>
                    <a:pt x="222" y="149"/>
                    <a:pt x="222" y="95"/>
                  </a:cubicBezTo>
                  <a:cubicBezTo>
                    <a:pt x="222" y="37"/>
                    <a:pt x="179" y="1"/>
                    <a:pt x="128" y="1"/>
                  </a:cubicBezTo>
                  <a:cubicBezTo>
                    <a:pt x="126" y="1"/>
                    <a:pt x="123" y="1"/>
                    <a:pt x="120" y="1"/>
                  </a:cubicBezTo>
                  <a:close/>
                </a:path>
              </a:pathLst>
            </a:custGeom>
            <a:solidFill>
              <a:srgbClr val="869FB2"/>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352" name="Google Shape;1352;p103"/>
            <p:cNvSpPr/>
            <p:nvPr/>
          </p:nvSpPr>
          <p:spPr>
            <a:xfrm>
              <a:off x="5019675" y="2547175"/>
              <a:ext cx="5625" cy="4725"/>
            </a:xfrm>
            <a:custGeom>
              <a:avLst/>
              <a:gdLst/>
              <a:ahLst/>
              <a:cxnLst/>
              <a:rect l="l" t="t" r="r" b="b"/>
              <a:pathLst>
                <a:path w="225" h="189" extrusionOk="0">
                  <a:moveTo>
                    <a:pt x="130" y="0"/>
                  </a:moveTo>
                  <a:cubicBezTo>
                    <a:pt x="44" y="0"/>
                    <a:pt x="0" y="101"/>
                    <a:pt x="58" y="159"/>
                  </a:cubicBezTo>
                  <a:cubicBezTo>
                    <a:pt x="79" y="180"/>
                    <a:pt x="103" y="189"/>
                    <a:pt x="126" y="189"/>
                  </a:cubicBezTo>
                  <a:cubicBezTo>
                    <a:pt x="177" y="189"/>
                    <a:pt x="224" y="146"/>
                    <a:pt x="224" y="87"/>
                  </a:cubicBezTo>
                  <a:cubicBezTo>
                    <a:pt x="217" y="36"/>
                    <a:pt x="181" y="0"/>
                    <a:pt x="130" y="0"/>
                  </a:cubicBezTo>
                  <a:close/>
                </a:path>
              </a:pathLst>
            </a:custGeom>
            <a:solidFill>
              <a:srgbClr val="869FB2"/>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353" name="Google Shape;1353;p103"/>
            <p:cNvSpPr/>
            <p:nvPr/>
          </p:nvSpPr>
          <p:spPr>
            <a:xfrm>
              <a:off x="5019675" y="2554750"/>
              <a:ext cx="5625" cy="4825"/>
            </a:xfrm>
            <a:custGeom>
              <a:avLst/>
              <a:gdLst/>
              <a:ahLst/>
              <a:cxnLst/>
              <a:rect l="l" t="t" r="r" b="b"/>
              <a:pathLst>
                <a:path w="225" h="193" extrusionOk="0">
                  <a:moveTo>
                    <a:pt x="130" y="0"/>
                  </a:moveTo>
                  <a:cubicBezTo>
                    <a:pt x="44" y="0"/>
                    <a:pt x="0" y="101"/>
                    <a:pt x="58" y="166"/>
                  </a:cubicBezTo>
                  <a:cubicBezTo>
                    <a:pt x="79" y="184"/>
                    <a:pt x="102" y="192"/>
                    <a:pt x="126" y="192"/>
                  </a:cubicBezTo>
                  <a:cubicBezTo>
                    <a:pt x="177" y="192"/>
                    <a:pt x="224" y="153"/>
                    <a:pt x="224" y="94"/>
                  </a:cubicBezTo>
                  <a:cubicBezTo>
                    <a:pt x="224" y="44"/>
                    <a:pt x="181" y="0"/>
                    <a:pt x="130" y="0"/>
                  </a:cubicBezTo>
                  <a:close/>
                </a:path>
              </a:pathLst>
            </a:custGeom>
            <a:solidFill>
              <a:srgbClr val="869FB2"/>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354" name="Google Shape;1354;p103"/>
            <p:cNvSpPr/>
            <p:nvPr/>
          </p:nvSpPr>
          <p:spPr>
            <a:xfrm>
              <a:off x="5019675" y="2562500"/>
              <a:ext cx="5625" cy="4800"/>
            </a:xfrm>
            <a:custGeom>
              <a:avLst/>
              <a:gdLst/>
              <a:ahLst/>
              <a:cxnLst/>
              <a:rect l="l" t="t" r="r" b="b"/>
              <a:pathLst>
                <a:path w="225" h="192" extrusionOk="0">
                  <a:moveTo>
                    <a:pt x="130" y="0"/>
                  </a:moveTo>
                  <a:cubicBezTo>
                    <a:pt x="44" y="0"/>
                    <a:pt x="0" y="101"/>
                    <a:pt x="58" y="166"/>
                  </a:cubicBezTo>
                  <a:cubicBezTo>
                    <a:pt x="77" y="183"/>
                    <a:pt x="100" y="191"/>
                    <a:pt x="122" y="191"/>
                  </a:cubicBezTo>
                  <a:cubicBezTo>
                    <a:pt x="174" y="191"/>
                    <a:pt x="224" y="148"/>
                    <a:pt x="224" y="87"/>
                  </a:cubicBezTo>
                  <a:cubicBezTo>
                    <a:pt x="217" y="37"/>
                    <a:pt x="181" y="0"/>
                    <a:pt x="130" y="0"/>
                  </a:cubicBezTo>
                  <a:close/>
                </a:path>
              </a:pathLst>
            </a:custGeom>
            <a:solidFill>
              <a:srgbClr val="869FB2"/>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355" name="Google Shape;1355;p103"/>
            <p:cNvSpPr/>
            <p:nvPr/>
          </p:nvSpPr>
          <p:spPr>
            <a:xfrm>
              <a:off x="5019725" y="2570225"/>
              <a:ext cx="5575" cy="4750"/>
            </a:xfrm>
            <a:custGeom>
              <a:avLst/>
              <a:gdLst/>
              <a:ahLst/>
              <a:cxnLst/>
              <a:rect l="l" t="t" r="r" b="b"/>
              <a:pathLst>
                <a:path w="223" h="190" extrusionOk="0">
                  <a:moveTo>
                    <a:pt x="139" y="1"/>
                  </a:moveTo>
                  <a:cubicBezTo>
                    <a:pt x="136" y="1"/>
                    <a:pt x="132" y="1"/>
                    <a:pt x="128" y="2"/>
                  </a:cubicBezTo>
                  <a:cubicBezTo>
                    <a:pt x="126" y="1"/>
                    <a:pt x="123" y="1"/>
                    <a:pt x="120" y="1"/>
                  </a:cubicBezTo>
                  <a:cubicBezTo>
                    <a:pt x="39" y="1"/>
                    <a:pt x="0" y="104"/>
                    <a:pt x="56" y="160"/>
                  </a:cubicBezTo>
                  <a:cubicBezTo>
                    <a:pt x="77" y="181"/>
                    <a:pt x="101" y="190"/>
                    <a:pt x="124" y="190"/>
                  </a:cubicBezTo>
                  <a:cubicBezTo>
                    <a:pt x="175" y="190"/>
                    <a:pt x="222" y="147"/>
                    <a:pt x="222" y="88"/>
                  </a:cubicBezTo>
                  <a:cubicBezTo>
                    <a:pt x="215" y="41"/>
                    <a:pt x="184" y="1"/>
                    <a:pt x="139" y="1"/>
                  </a:cubicBezTo>
                  <a:close/>
                </a:path>
              </a:pathLst>
            </a:custGeom>
            <a:solidFill>
              <a:srgbClr val="869FB2"/>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356" name="Google Shape;1356;p103"/>
            <p:cNvSpPr/>
            <p:nvPr/>
          </p:nvSpPr>
          <p:spPr>
            <a:xfrm>
              <a:off x="5011200" y="2531675"/>
              <a:ext cx="5750" cy="4900"/>
            </a:xfrm>
            <a:custGeom>
              <a:avLst/>
              <a:gdLst/>
              <a:ahLst/>
              <a:cxnLst/>
              <a:rect l="l" t="t" r="r" b="b"/>
              <a:pathLst>
                <a:path w="230" h="196" extrusionOk="0">
                  <a:moveTo>
                    <a:pt x="130" y="0"/>
                  </a:moveTo>
                  <a:cubicBezTo>
                    <a:pt x="44" y="0"/>
                    <a:pt x="1" y="108"/>
                    <a:pt x="65" y="166"/>
                  </a:cubicBezTo>
                  <a:cubicBezTo>
                    <a:pt x="84" y="187"/>
                    <a:pt x="107" y="195"/>
                    <a:pt x="130" y="195"/>
                  </a:cubicBezTo>
                  <a:cubicBezTo>
                    <a:pt x="180" y="195"/>
                    <a:pt x="229" y="153"/>
                    <a:pt x="224" y="94"/>
                  </a:cubicBezTo>
                  <a:cubicBezTo>
                    <a:pt x="224" y="43"/>
                    <a:pt x="181" y="0"/>
                    <a:pt x="130" y="0"/>
                  </a:cubicBezTo>
                  <a:close/>
                </a:path>
              </a:pathLst>
            </a:custGeom>
            <a:solidFill>
              <a:srgbClr val="869FB2"/>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357" name="Google Shape;1357;p103"/>
            <p:cNvSpPr/>
            <p:nvPr/>
          </p:nvSpPr>
          <p:spPr>
            <a:xfrm>
              <a:off x="5011250" y="2539400"/>
              <a:ext cx="5575" cy="4750"/>
            </a:xfrm>
            <a:custGeom>
              <a:avLst/>
              <a:gdLst/>
              <a:ahLst/>
              <a:cxnLst/>
              <a:rect l="l" t="t" r="r" b="b"/>
              <a:pathLst>
                <a:path w="223" h="190" extrusionOk="0">
                  <a:moveTo>
                    <a:pt x="120" y="1"/>
                  </a:moveTo>
                  <a:cubicBezTo>
                    <a:pt x="39" y="1"/>
                    <a:pt x="0" y="104"/>
                    <a:pt x="56" y="160"/>
                  </a:cubicBezTo>
                  <a:cubicBezTo>
                    <a:pt x="77" y="181"/>
                    <a:pt x="101" y="190"/>
                    <a:pt x="125" y="190"/>
                  </a:cubicBezTo>
                  <a:cubicBezTo>
                    <a:pt x="175" y="190"/>
                    <a:pt x="222" y="149"/>
                    <a:pt x="222" y="95"/>
                  </a:cubicBezTo>
                  <a:cubicBezTo>
                    <a:pt x="222" y="37"/>
                    <a:pt x="179" y="1"/>
                    <a:pt x="128" y="1"/>
                  </a:cubicBezTo>
                  <a:cubicBezTo>
                    <a:pt x="126" y="1"/>
                    <a:pt x="123" y="1"/>
                    <a:pt x="120" y="1"/>
                  </a:cubicBezTo>
                  <a:close/>
                </a:path>
              </a:pathLst>
            </a:custGeom>
            <a:solidFill>
              <a:srgbClr val="869FB2"/>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358" name="Google Shape;1358;p103"/>
            <p:cNvSpPr/>
            <p:nvPr/>
          </p:nvSpPr>
          <p:spPr>
            <a:xfrm>
              <a:off x="5011200" y="2547175"/>
              <a:ext cx="5750" cy="4725"/>
            </a:xfrm>
            <a:custGeom>
              <a:avLst/>
              <a:gdLst/>
              <a:ahLst/>
              <a:cxnLst/>
              <a:rect l="l" t="t" r="r" b="b"/>
              <a:pathLst>
                <a:path w="230" h="189" extrusionOk="0">
                  <a:moveTo>
                    <a:pt x="130" y="0"/>
                  </a:moveTo>
                  <a:cubicBezTo>
                    <a:pt x="44" y="0"/>
                    <a:pt x="1" y="101"/>
                    <a:pt x="65" y="159"/>
                  </a:cubicBezTo>
                  <a:cubicBezTo>
                    <a:pt x="84" y="180"/>
                    <a:pt x="107" y="189"/>
                    <a:pt x="130" y="189"/>
                  </a:cubicBezTo>
                  <a:cubicBezTo>
                    <a:pt x="180" y="189"/>
                    <a:pt x="229" y="146"/>
                    <a:pt x="224" y="87"/>
                  </a:cubicBezTo>
                  <a:cubicBezTo>
                    <a:pt x="224" y="36"/>
                    <a:pt x="181" y="0"/>
                    <a:pt x="130" y="0"/>
                  </a:cubicBezTo>
                  <a:close/>
                </a:path>
              </a:pathLst>
            </a:custGeom>
            <a:solidFill>
              <a:srgbClr val="869FB2"/>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359" name="Google Shape;1359;p103"/>
            <p:cNvSpPr/>
            <p:nvPr/>
          </p:nvSpPr>
          <p:spPr>
            <a:xfrm>
              <a:off x="5011200" y="2554750"/>
              <a:ext cx="5625" cy="4825"/>
            </a:xfrm>
            <a:custGeom>
              <a:avLst/>
              <a:gdLst/>
              <a:ahLst/>
              <a:cxnLst/>
              <a:rect l="l" t="t" r="r" b="b"/>
              <a:pathLst>
                <a:path w="225" h="193" extrusionOk="0">
                  <a:moveTo>
                    <a:pt x="130" y="0"/>
                  </a:moveTo>
                  <a:cubicBezTo>
                    <a:pt x="44" y="0"/>
                    <a:pt x="1" y="101"/>
                    <a:pt x="58" y="166"/>
                  </a:cubicBezTo>
                  <a:cubicBezTo>
                    <a:pt x="79" y="184"/>
                    <a:pt x="103" y="192"/>
                    <a:pt x="126" y="192"/>
                  </a:cubicBezTo>
                  <a:cubicBezTo>
                    <a:pt x="177" y="192"/>
                    <a:pt x="224" y="153"/>
                    <a:pt x="224" y="94"/>
                  </a:cubicBezTo>
                  <a:cubicBezTo>
                    <a:pt x="224" y="44"/>
                    <a:pt x="181" y="0"/>
                    <a:pt x="130" y="0"/>
                  </a:cubicBezTo>
                  <a:close/>
                </a:path>
              </a:pathLst>
            </a:custGeom>
            <a:solidFill>
              <a:srgbClr val="869FB2"/>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360" name="Google Shape;1360;p103"/>
            <p:cNvSpPr/>
            <p:nvPr/>
          </p:nvSpPr>
          <p:spPr>
            <a:xfrm>
              <a:off x="5011200" y="2562500"/>
              <a:ext cx="5750" cy="4800"/>
            </a:xfrm>
            <a:custGeom>
              <a:avLst/>
              <a:gdLst/>
              <a:ahLst/>
              <a:cxnLst/>
              <a:rect l="l" t="t" r="r" b="b"/>
              <a:pathLst>
                <a:path w="230" h="192" extrusionOk="0">
                  <a:moveTo>
                    <a:pt x="130" y="0"/>
                  </a:moveTo>
                  <a:cubicBezTo>
                    <a:pt x="44" y="0"/>
                    <a:pt x="1" y="101"/>
                    <a:pt x="65" y="166"/>
                  </a:cubicBezTo>
                  <a:cubicBezTo>
                    <a:pt x="82" y="183"/>
                    <a:pt x="104" y="191"/>
                    <a:pt x="126" y="191"/>
                  </a:cubicBezTo>
                  <a:cubicBezTo>
                    <a:pt x="177" y="191"/>
                    <a:pt x="229" y="148"/>
                    <a:pt x="224" y="87"/>
                  </a:cubicBezTo>
                  <a:cubicBezTo>
                    <a:pt x="224" y="37"/>
                    <a:pt x="181" y="0"/>
                    <a:pt x="130" y="0"/>
                  </a:cubicBezTo>
                  <a:close/>
                </a:path>
              </a:pathLst>
            </a:custGeom>
            <a:solidFill>
              <a:srgbClr val="869FB2"/>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361" name="Google Shape;1361;p103"/>
            <p:cNvSpPr/>
            <p:nvPr/>
          </p:nvSpPr>
          <p:spPr>
            <a:xfrm>
              <a:off x="5011250" y="2570225"/>
              <a:ext cx="5700" cy="4750"/>
            </a:xfrm>
            <a:custGeom>
              <a:avLst/>
              <a:gdLst/>
              <a:ahLst/>
              <a:cxnLst/>
              <a:rect l="l" t="t" r="r" b="b"/>
              <a:pathLst>
                <a:path w="228" h="190" extrusionOk="0">
                  <a:moveTo>
                    <a:pt x="139" y="1"/>
                  </a:moveTo>
                  <a:cubicBezTo>
                    <a:pt x="136" y="1"/>
                    <a:pt x="132" y="1"/>
                    <a:pt x="128" y="2"/>
                  </a:cubicBezTo>
                  <a:cubicBezTo>
                    <a:pt x="126" y="1"/>
                    <a:pt x="123" y="1"/>
                    <a:pt x="120" y="1"/>
                  </a:cubicBezTo>
                  <a:cubicBezTo>
                    <a:pt x="39" y="1"/>
                    <a:pt x="1" y="104"/>
                    <a:pt x="63" y="160"/>
                  </a:cubicBezTo>
                  <a:cubicBezTo>
                    <a:pt x="82" y="181"/>
                    <a:pt x="105" y="190"/>
                    <a:pt x="128" y="190"/>
                  </a:cubicBezTo>
                  <a:cubicBezTo>
                    <a:pt x="178" y="190"/>
                    <a:pt x="227" y="147"/>
                    <a:pt x="222" y="88"/>
                  </a:cubicBezTo>
                  <a:cubicBezTo>
                    <a:pt x="222" y="41"/>
                    <a:pt x="185" y="1"/>
                    <a:pt x="139" y="1"/>
                  </a:cubicBezTo>
                  <a:close/>
                </a:path>
              </a:pathLst>
            </a:custGeom>
            <a:solidFill>
              <a:srgbClr val="869FB2"/>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362" name="Google Shape;1362;p103"/>
            <p:cNvSpPr/>
            <p:nvPr/>
          </p:nvSpPr>
          <p:spPr>
            <a:xfrm>
              <a:off x="5011200" y="2577825"/>
              <a:ext cx="5625" cy="4825"/>
            </a:xfrm>
            <a:custGeom>
              <a:avLst/>
              <a:gdLst/>
              <a:ahLst/>
              <a:cxnLst/>
              <a:rect l="l" t="t" r="r" b="b"/>
              <a:pathLst>
                <a:path w="225" h="193" extrusionOk="0">
                  <a:moveTo>
                    <a:pt x="130" y="1"/>
                  </a:moveTo>
                  <a:cubicBezTo>
                    <a:pt x="44" y="1"/>
                    <a:pt x="1" y="101"/>
                    <a:pt x="58" y="166"/>
                  </a:cubicBezTo>
                  <a:cubicBezTo>
                    <a:pt x="79" y="185"/>
                    <a:pt x="103" y="193"/>
                    <a:pt x="126" y="193"/>
                  </a:cubicBezTo>
                  <a:cubicBezTo>
                    <a:pt x="177" y="193"/>
                    <a:pt x="224" y="154"/>
                    <a:pt x="224" y="94"/>
                  </a:cubicBezTo>
                  <a:cubicBezTo>
                    <a:pt x="224" y="44"/>
                    <a:pt x="181" y="1"/>
                    <a:pt x="130" y="1"/>
                  </a:cubicBezTo>
                  <a:close/>
                </a:path>
              </a:pathLst>
            </a:custGeom>
            <a:solidFill>
              <a:srgbClr val="869FB2"/>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363" name="Google Shape;1363;p103"/>
            <p:cNvSpPr/>
            <p:nvPr/>
          </p:nvSpPr>
          <p:spPr>
            <a:xfrm>
              <a:off x="5002725" y="2524100"/>
              <a:ext cx="5750" cy="4775"/>
            </a:xfrm>
            <a:custGeom>
              <a:avLst/>
              <a:gdLst/>
              <a:ahLst/>
              <a:cxnLst/>
              <a:rect l="l" t="t" r="r" b="b"/>
              <a:pathLst>
                <a:path w="230" h="191" extrusionOk="0">
                  <a:moveTo>
                    <a:pt x="130" y="0"/>
                  </a:moveTo>
                  <a:cubicBezTo>
                    <a:pt x="44" y="0"/>
                    <a:pt x="1" y="101"/>
                    <a:pt x="65" y="166"/>
                  </a:cubicBezTo>
                  <a:cubicBezTo>
                    <a:pt x="83" y="183"/>
                    <a:pt x="104" y="191"/>
                    <a:pt x="126" y="191"/>
                  </a:cubicBezTo>
                  <a:cubicBezTo>
                    <a:pt x="177" y="191"/>
                    <a:pt x="229" y="148"/>
                    <a:pt x="224" y="87"/>
                  </a:cubicBezTo>
                  <a:cubicBezTo>
                    <a:pt x="224" y="36"/>
                    <a:pt x="181" y="0"/>
                    <a:pt x="130" y="0"/>
                  </a:cubicBezTo>
                  <a:close/>
                </a:path>
              </a:pathLst>
            </a:custGeom>
            <a:solidFill>
              <a:srgbClr val="869FB2"/>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364" name="Google Shape;1364;p103"/>
            <p:cNvSpPr/>
            <p:nvPr/>
          </p:nvSpPr>
          <p:spPr>
            <a:xfrm>
              <a:off x="5002725" y="2531675"/>
              <a:ext cx="5750" cy="4900"/>
            </a:xfrm>
            <a:custGeom>
              <a:avLst/>
              <a:gdLst/>
              <a:ahLst/>
              <a:cxnLst/>
              <a:rect l="l" t="t" r="r" b="b"/>
              <a:pathLst>
                <a:path w="230" h="196" extrusionOk="0">
                  <a:moveTo>
                    <a:pt x="130" y="0"/>
                  </a:moveTo>
                  <a:cubicBezTo>
                    <a:pt x="44" y="0"/>
                    <a:pt x="1" y="108"/>
                    <a:pt x="65" y="166"/>
                  </a:cubicBezTo>
                  <a:cubicBezTo>
                    <a:pt x="84" y="187"/>
                    <a:pt x="107" y="195"/>
                    <a:pt x="130" y="195"/>
                  </a:cubicBezTo>
                  <a:cubicBezTo>
                    <a:pt x="180" y="195"/>
                    <a:pt x="229" y="153"/>
                    <a:pt x="224" y="94"/>
                  </a:cubicBezTo>
                  <a:cubicBezTo>
                    <a:pt x="224" y="43"/>
                    <a:pt x="181" y="0"/>
                    <a:pt x="130" y="0"/>
                  </a:cubicBezTo>
                  <a:close/>
                </a:path>
              </a:pathLst>
            </a:custGeom>
            <a:solidFill>
              <a:srgbClr val="869FB2"/>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365" name="Google Shape;1365;p103"/>
            <p:cNvSpPr/>
            <p:nvPr/>
          </p:nvSpPr>
          <p:spPr>
            <a:xfrm>
              <a:off x="5002775" y="2539400"/>
              <a:ext cx="5575" cy="4750"/>
            </a:xfrm>
            <a:custGeom>
              <a:avLst/>
              <a:gdLst/>
              <a:ahLst/>
              <a:cxnLst/>
              <a:rect l="l" t="t" r="r" b="b"/>
              <a:pathLst>
                <a:path w="223" h="190" extrusionOk="0">
                  <a:moveTo>
                    <a:pt x="120" y="1"/>
                  </a:moveTo>
                  <a:cubicBezTo>
                    <a:pt x="39" y="1"/>
                    <a:pt x="0" y="104"/>
                    <a:pt x="56" y="160"/>
                  </a:cubicBezTo>
                  <a:cubicBezTo>
                    <a:pt x="77" y="181"/>
                    <a:pt x="101" y="190"/>
                    <a:pt x="125" y="190"/>
                  </a:cubicBezTo>
                  <a:cubicBezTo>
                    <a:pt x="175" y="190"/>
                    <a:pt x="222" y="149"/>
                    <a:pt x="222" y="95"/>
                  </a:cubicBezTo>
                  <a:cubicBezTo>
                    <a:pt x="222" y="37"/>
                    <a:pt x="179" y="1"/>
                    <a:pt x="128" y="1"/>
                  </a:cubicBezTo>
                  <a:cubicBezTo>
                    <a:pt x="126" y="1"/>
                    <a:pt x="123" y="1"/>
                    <a:pt x="120" y="1"/>
                  </a:cubicBezTo>
                  <a:close/>
                </a:path>
              </a:pathLst>
            </a:custGeom>
            <a:solidFill>
              <a:srgbClr val="869FB2"/>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366" name="Google Shape;1366;p103"/>
            <p:cNvSpPr/>
            <p:nvPr/>
          </p:nvSpPr>
          <p:spPr>
            <a:xfrm>
              <a:off x="5002725" y="2547175"/>
              <a:ext cx="5750" cy="4725"/>
            </a:xfrm>
            <a:custGeom>
              <a:avLst/>
              <a:gdLst/>
              <a:ahLst/>
              <a:cxnLst/>
              <a:rect l="l" t="t" r="r" b="b"/>
              <a:pathLst>
                <a:path w="230" h="189" extrusionOk="0">
                  <a:moveTo>
                    <a:pt x="130" y="0"/>
                  </a:moveTo>
                  <a:cubicBezTo>
                    <a:pt x="44" y="0"/>
                    <a:pt x="1" y="101"/>
                    <a:pt x="65" y="159"/>
                  </a:cubicBezTo>
                  <a:cubicBezTo>
                    <a:pt x="84" y="180"/>
                    <a:pt x="107" y="189"/>
                    <a:pt x="130" y="189"/>
                  </a:cubicBezTo>
                  <a:cubicBezTo>
                    <a:pt x="180" y="189"/>
                    <a:pt x="229" y="146"/>
                    <a:pt x="224" y="87"/>
                  </a:cubicBezTo>
                  <a:cubicBezTo>
                    <a:pt x="224" y="36"/>
                    <a:pt x="181" y="0"/>
                    <a:pt x="130" y="0"/>
                  </a:cubicBezTo>
                  <a:close/>
                </a:path>
              </a:pathLst>
            </a:custGeom>
            <a:solidFill>
              <a:srgbClr val="869FB2"/>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367" name="Google Shape;1367;p103"/>
            <p:cNvSpPr/>
            <p:nvPr/>
          </p:nvSpPr>
          <p:spPr>
            <a:xfrm>
              <a:off x="5002725" y="2554750"/>
              <a:ext cx="5625" cy="4825"/>
            </a:xfrm>
            <a:custGeom>
              <a:avLst/>
              <a:gdLst/>
              <a:ahLst/>
              <a:cxnLst/>
              <a:rect l="l" t="t" r="r" b="b"/>
              <a:pathLst>
                <a:path w="225" h="193" extrusionOk="0">
                  <a:moveTo>
                    <a:pt x="130" y="0"/>
                  </a:moveTo>
                  <a:cubicBezTo>
                    <a:pt x="44" y="0"/>
                    <a:pt x="1" y="101"/>
                    <a:pt x="58" y="166"/>
                  </a:cubicBezTo>
                  <a:cubicBezTo>
                    <a:pt x="79" y="184"/>
                    <a:pt x="103" y="192"/>
                    <a:pt x="126" y="192"/>
                  </a:cubicBezTo>
                  <a:cubicBezTo>
                    <a:pt x="177" y="192"/>
                    <a:pt x="224" y="153"/>
                    <a:pt x="224" y="94"/>
                  </a:cubicBezTo>
                  <a:cubicBezTo>
                    <a:pt x="224" y="44"/>
                    <a:pt x="181" y="0"/>
                    <a:pt x="130" y="0"/>
                  </a:cubicBezTo>
                  <a:close/>
                </a:path>
              </a:pathLst>
            </a:custGeom>
            <a:solidFill>
              <a:srgbClr val="869FB2"/>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368" name="Google Shape;1368;p103"/>
            <p:cNvSpPr/>
            <p:nvPr/>
          </p:nvSpPr>
          <p:spPr>
            <a:xfrm>
              <a:off x="5002725" y="2562500"/>
              <a:ext cx="5750" cy="4800"/>
            </a:xfrm>
            <a:custGeom>
              <a:avLst/>
              <a:gdLst/>
              <a:ahLst/>
              <a:cxnLst/>
              <a:rect l="l" t="t" r="r" b="b"/>
              <a:pathLst>
                <a:path w="230" h="192" extrusionOk="0">
                  <a:moveTo>
                    <a:pt x="130" y="0"/>
                  </a:moveTo>
                  <a:cubicBezTo>
                    <a:pt x="44" y="0"/>
                    <a:pt x="1" y="101"/>
                    <a:pt x="65" y="166"/>
                  </a:cubicBezTo>
                  <a:cubicBezTo>
                    <a:pt x="83" y="183"/>
                    <a:pt x="104" y="191"/>
                    <a:pt x="126" y="191"/>
                  </a:cubicBezTo>
                  <a:cubicBezTo>
                    <a:pt x="177" y="191"/>
                    <a:pt x="229" y="148"/>
                    <a:pt x="224" y="87"/>
                  </a:cubicBezTo>
                  <a:cubicBezTo>
                    <a:pt x="224" y="37"/>
                    <a:pt x="181" y="0"/>
                    <a:pt x="130" y="0"/>
                  </a:cubicBezTo>
                  <a:close/>
                </a:path>
              </a:pathLst>
            </a:custGeom>
            <a:solidFill>
              <a:srgbClr val="869FB2"/>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369" name="Google Shape;1369;p103"/>
            <p:cNvSpPr/>
            <p:nvPr/>
          </p:nvSpPr>
          <p:spPr>
            <a:xfrm>
              <a:off x="5002775" y="2570225"/>
              <a:ext cx="5700" cy="4750"/>
            </a:xfrm>
            <a:custGeom>
              <a:avLst/>
              <a:gdLst/>
              <a:ahLst/>
              <a:cxnLst/>
              <a:rect l="l" t="t" r="r" b="b"/>
              <a:pathLst>
                <a:path w="228" h="190" extrusionOk="0">
                  <a:moveTo>
                    <a:pt x="139" y="1"/>
                  </a:moveTo>
                  <a:cubicBezTo>
                    <a:pt x="136" y="1"/>
                    <a:pt x="132" y="1"/>
                    <a:pt x="128" y="2"/>
                  </a:cubicBezTo>
                  <a:cubicBezTo>
                    <a:pt x="126" y="1"/>
                    <a:pt x="123" y="1"/>
                    <a:pt x="120" y="1"/>
                  </a:cubicBezTo>
                  <a:cubicBezTo>
                    <a:pt x="39" y="1"/>
                    <a:pt x="1" y="104"/>
                    <a:pt x="63" y="160"/>
                  </a:cubicBezTo>
                  <a:cubicBezTo>
                    <a:pt x="82" y="181"/>
                    <a:pt x="105" y="190"/>
                    <a:pt x="128" y="190"/>
                  </a:cubicBezTo>
                  <a:cubicBezTo>
                    <a:pt x="178" y="190"/>
                    <a:pt x="227" y="147"/>
                    <a:pt x="222" y="88"/>
                  </a:cubicBezTo>
                  <a:cubicBezTo>
                    <a:pt x="222" y="41"/>
                    <a:pt x="185" y="1"/>
                    <a:pt x="139" y="1"/>
                  </a:cubicBezTo>
                  <a:close/>
                </a:path>
              </a:pathLst>
            </a:custGeom>
            <a:solidFill>
              <a:srgbClr val="869FB2"/>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370" name="Google Shape;1370;p103"/>
            <p:cNvSpPr/>
            <p:nvPr/>
          </p:nvSpPr>
          <p:spPr>
            <a:xfrm>
              <a:off x="5002725" y="2577825"/>
              <a:ext cx="5625" cy="4825"/>
            </a:xfrm>
            <a:custGeom>
              <a:avLst/>
              <a:gdLst/>
              <a:ahLst/>
              <a:cxnLst/>
              <a:rect l="l" t="t" r="r" b="b"/>
              <a:pathLst>
                <a:path w="225" h="193" extrusionOk="0">
                  <a:moveTo>
                    <a:pt x="130" y="1"/>
                  </a:moveTo>
                  <a:cubicBezTo>
                    <a:pt x="44" y="1"/>
                    <a:pt x="1" y="101"/>
                    <a:pt x="58" y="166"/>
                  </a:cubicBezTo>
                  <a:cubicBezTo>
                    <a:pt x="79" y="185"/>
                    <a:pt x="103" y="193"/>
                    <a:pt x="126" y="193"/>
                  </a:cubicBezTo>
                  <a:cubicBezTo>
                    <a:pt x="177" y="193"/>
                    <a:pt x="224" y="154"/>
                    <a:pt x="224" y="94"/>
                  </a:cubicBezTo>
                  <a:cubicBezTo>
                    <a:pt x="224" y="44"/>
                    <a:pt x="181" y="1"/>
                    <a:pt x="130" y="1"/>
                  </a:cubicBezTo>
                  <a:close/>
                </a:path>
              </a:pathLst>
            </a:custGeom>
            <a:solidFill>
              <a:srgbClr val="869FB2"/>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371" name="Google Shape;1371;p103"/>
            <p:cNvSpPr/>
            <p:nvPr/>
          </p:nvSpPr>
          <p:spPr>
            <a:xfrm>
              <a:off x="5002725" y="2585575"/>
              <a:ext cx="5750" cy="4800"/>
            </a:xfrm>
            <a:custGeom>
              <a:avLst/>
              <a:gdLst/>
              <a:ahLst/>
              <a:cxnLst/>
              <a:rect l="l" t="t" r="r" b="b"/>
              <a:pathLst>
                <a:path w="230" h="192" extrusionOk="0">
                  <a:moveTo>
                    <a:pt x="130" y="1"/>
                  </a:moveTo>
                  <a:cubicBezTo>
                    <a:pt x="44" y="1"/>
                    <a:pt x="1" y="102"/>
                    <a:pt x="65" y="167"/>
                  </a:cubicBezTo>
                  <a:cubicBezTo>
                    <a:pt x="83" y="184"/>
                    <a:pt x="104" y="191"/>
                    <a:pt x="126" y="191"/>
                  </a:cubicBezTo>
                  <a:cubicBezTo>
                    <a:pt x="177" y="191"/>
                    <a:pt x="229" y="148"/>
                    <a:pt x="224" y="87"/>
                  </a:cubicBezTo>
                  <a:cubicBezTo>
                    <a:pt x="224" y="37"/>
                    <a:pt x="181" y="1"/>
                    <a:pt x="130" y="1"/>
                  </a:cubicBezTo>
                  <a:close/>
                </a:path>
              </a:pathLst>
            </a:custGeom>
            <a:solidFill>
              <a:srgbClr val="869FB2"/>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372" name="Google Shape;1372;p103"/>
            <p:cNvSpPr/>
            <p:nvPr/>
          </p:nvSpPr>
          <p:spPr>
            <a:xfrm>
              <a:off x="4994250" y="2516350"/>
              <a:ext cx="5625" cy="4825"/>
            </a:xfrm>
            <a:custGeom>
              <a:avLst/>
              <a:gdLst/>
              <a:ahLst/>
              <a:cxnLst/>
              <a:rect l="l" t="t" r="r" b="b"/>
              <a:pathLst>
                <a:path w="225" h="193" extrusionOk="0">
                  <a:moveTo>
                    <a:pt x="130" y="0"/>
                  </a:moveTo>
                  <a:cubicBezTo>
                    <a:pt x="44" y="0"/>
                    <a:pt x="1" y="101"/>
                    <a:pt x="65" y="166"/>
                  </a:cubicBezTo>
                  <a:cubicBezTo>
                    <a:pt x="84" y="184"/>
                    <a:pt x="106" y="192"/>
                    <a:pt x="128" y="192"/>
                  </a:cubicBezTo>
                  <a:cubicBezTo>
                    <a:pt x="177" y="192"/>
                    <a:pt x="224" y="153"/>
                    <a:pt x="224" y="94"/>
                  </a:cubicBezTo>
                  <a:cubicBezTo>
                    <a:pt x="224" y="43"/>
                    <a:pt x="181" y="0"/>
                    <a:pt x="130" y="0"/>
                  </a:cubicBezTo>
                  <a:close/>
                </a:path>
              </a:pathLst>
            </a:custGeom>
            <a:solidFill>
              <a:srgbClr val="869FB2"/>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373" name="Google Shape;1373;p103"/>
            <p:cNvSpPr/>
            <p:nvPr/>
          </p:nvSpPr>
          <p:spPr>
            <a:xfrm>
              <a:off x="4994250" y="2524100"/>
              <a:ext cx="5750" cy="4775"/>
            </a:xfrm>
            <a:custGeom>
              <a:avLst/>
              <a:gdLst/>
              <a:ahLst/>
              <a:cxnLst/>
              <a:rect l="l" t="t" r="r" b="b"/>
              <a:pathLst>
                <a:path w="230" h="191" extrusionOk="0">
                  <a:moveTo>
                    <a:pt x="130" y="0"/>
                  </a:moveTo>
                  <a:cubicBezTo>
                    <a:pt x="44" y="0"/>
                    <a:pt x="1" y="101"/>
                    <a:pt x="65" y="166"/>
                  </a:cubicBezTo>
                  <a:cubicBezTo>
                    <a:pt x="83" y="183"/>
                    <a:pt x="104" y="191"/>
                    <a:pt x="126" y="191"/>
                  </a:cubicBezTo>
                  <a:cubicBezTo>
                    <a:pt x="177" y="191"/>
                    <a:pt x="229" y="148"/>
                    <a:pt x="224" y="87"/>
                  </a:cubicBezTo>
                  <a:cubicBezTo>
                    <a:pt x="224" y="36"/>
                    <a:pt x="181" y="0"/>
                    <a:pt x="130" y="0"/>
                  </a:cubicBezTo>
                  <a:close/>
                </a:path>
              </a:pathLst>
            </a:custGeom>
            <a:solidFill>
              <a:srgbClr val="869FB2"/>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374" name="Google Shape;1374;p103"/>
            <p:cNvSpPr/>
            <p:nvPr/>
          </p:nvSpPr>
          <p:spPr>
            <a:xfrm>
              <a:off x="4994250" y="2531675"/>
              <a:ext cx="5750" cy="4900"/>
            </a:xfrm>
            <a:custGeom>
              <a:avLst/>
              <a:gdLst/>
              <a:ahLst/>
              <a:cxnLst/>
              <a:rect l="l" t="t" r="r" b="b"/>
              <a:pathLst>
                <a:path w="230" h="196" extrusionOk="0">
                  <a:moveTo>
                    <a:pt x="130" y="0"/>
                  </a:moveTo>
                  <a:cubicBezTo>
                    <a:pt x="44" y="0"/>
                    <a:pt x="1" y="108"/>
                    <a:pt x="65" y="166"/>
                  </a:cubicBezTo>
                  <a:cubicBezTo>
                    <a:pt x="84" y="187"/>
                    <a:pt x="107" y="195"/>
                    <a:pt x="130" y="195"/>
                  </a:cubicBezTo>
                  <a:cubicBezTo>
                    <a:pt x="180" y="195"/>
                    <a:pt x="229" y="153"/>
                    <a:pt x="224" y="94"/>
                  </a:cubicBezTo>
                  <a:cubicBezTo>
                    <a:pt x="224" y="43"/>
                    <a:pt x="181" y="0"/>
                    <a:pt x="130" y="0"/>
                  </a:cubicBezTo>
                  <a:close/>
                </a:path>
              </a:pathLst>
            </a:custGeom>
            <a:solidFill>
              <a:srgbClr val="869FB2"/>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375" name="Google Shape;1375;p103"/>
            <p:cNvSpPr/>
            <p:nvPr/>
          </p:nvSpPr>
          <p:spPr>
            <a:xfrm>
              <a:off x="4994300" y="2539400"/>
              <a:ext cx="5575" cy="4750"/>
            </a:xfrm>
            <a:custGeom>
              <a:avLst/>
              <a:gdLst/>
              <a:ahLst/>
              <a:cxnLst/>
              <a:rect l="l" t="t" r="r" b="b"/>
              <a:pathLst>
                <a:path w="223" h="190" extrusionOk="0">
                  <a:moveTo>
                    <a:pt x="120" y="1"/>
                  </a:moveTo>
                  <a:cubicBezTo>
                    <a:pt x="39" y="1"/>
                    <a:pt x="1" y="104"/>
                    <a:pt x="63" y="160"/>
                  </a:cubicBezTo>
                  <a:cubicBezTo>
                    <a:pt x="82" y="181"/>
                    <a:pt x="105" y="190"/>
                    <a:pt x="127" y="190"/>
                  </a:cubicBezTo>
                  <a:cubicBezTo>
                    <a:pt x="175" y="190"/>
                    <a:pt x="222" y="149"/>
                    <a:pt x="222" y="95"/>
                  </a:cubicBezTo>
                  <a:cubicBezTo>
                    <a:pt x="222" y="37"/>
                    <a:pt x="179" y="1"/>
                    <a:pt x="128" y="1"/>
                  </a:cubicBezTo>
                  <a:cubicBezTo>
                    <a:pt x="126" y="1"/>
                    <a:pt x="123" y="1"/>
                    <a:pt x="120" y="1"/>
                  </a:cubicBezTo>
                  <a:close/>
                </a:path>
              </a:pathLst>
            </a:custGeom>
            <a:solidFill>
              <a:srgbClr val="869FB2"/>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376" name="Google Shape;1376;p103"/>
            <p:cNvSpPr/>
            <p:nvPr/>
          </p:nvSpPr>
          <p:spPr>
            <a:xfrm>
              <a:off x="4994250" y="2547175"/>
              <a:ext cx="5750" cy="4725"/>
            </a:xfrm>
            <a:custGeom>
              <a:avLst/>
              <a:gdLst/>
              <a:ahLst/>
              <a:cxnLst/>
              <a:rect l="l" t="t" r="r" b="b"/>
              <a:pathLst>
                <a:path w="230" h="189" extrusionOk="0">
                  <a:moveTo>
                    <a:pt x="130" y="0"/>
                  </a:moveTo>
                  <a:cubicBezTo>
                    <a:pt x="44" y="0"/>
                    <a:pt x="1" y="101"/>
                    <a:pt x="65" y="159"/>
                  </a:cubicBezTo>
                  <a:cubicBezTo>
                    <a:pt x="84" y="180"/>
                    <a:pt x="107" y="189"/>
                    <a:pt x="130" y="189"/>
                  </a:cubicBezTo>
                  <a:cubicBezTo>
                    <a:pt x="180" y="189"/>
                    <a:pt x="229" y="146"/>
                    <a:pt x="224" y="87"/>
                  </a:cubicBezTo>
                  <a:cubicBezTo>
                    <a:pt x="224" y="36"/>
                    <a:pt x="181" y="0"/>
                    <a:pt x="130" y="0"/>
                  </a:cubicBezTo>
                  <a:close/>
                </a:path>
              </a:pathLst>
            </a:custGeom>
            <a:solidFill>
              <a:srgbClr val="869FB2"/>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377" name="Google Shape;1377;p103"/>
            <p:cNvSpPr/>
            <p:nvPr/>
          </p:nvSpPr>
          <p:spPr>
            <a:xfrm>
              <a:off x="4994250" y="2554750"/>
              <a:ext cx="5625" cy="4825"/>
            </a:xfrm>
            <a:custGeom>
              <a:avLst/>
              <a:gdLst/>
              <a:ahLst/>
              <a:cxnLst/>
              <a:rect l="l" t="t" r="r" b="b"/>
              <a:pathLst>
                <a:path w="225" h="193" extrusionOk="0">
                  <a:moveTo>
                    <a:pt x="130" y="0"/>
                  </a:moveTo>
                  <a:cubicBezTo>
                    <a:pt x="44" y="0"/>
                    <a:pt x="1" y="101"/>
                    <a:pt x="65" y="166"/>
                  </a:cubicBezTo>
                  <a:cubicBezTo>
                    <a:pt x="84" y="184"/>
                    <a:pt x="106" y="192"/>
                    <a:pt x="128" y="192"/>
                  </a:cubicBezTo>
                  <a:cubicBezTo>
                    <a:pt x="177" y="192"/>
                    <a:pt x="224" y="153"/>
                    <a:pt x="224" y="94"/>
                  </a:cubicBezTo>
                  <a:cubicBezTo>
                    <a:pt x="224" y="44"/>
                    <a:pt x="181" y="0"/>
                    <a:pt x="130" y="0"/>
                  </a:cubicBezTo>
                  <a:close/>
                </a:path>
              </a:pathLst>
            </a:custGeom>
            <a:solidFill>
              <a:srgbClr val="869FB2"/>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378" name="Google Shape;1378;p103"/>
            <p:cNvSpPr/>
            <p:nvPr/>
          </p:nvSpPr>
          <p:spPr>
            <a:xfrm>
              <a:off x="4994250" y="2562500"/>
              <a:ext cx="5750" cy="4800"/>
            </a:xfrm>
            <a:custGeom>
              <a:avLst/>
              <a:gdLst/>
              <a:ahLst/>
              <a:cxnLst/>
              <a:rect l="l" t="t" r="r" b="b"/>
              <a:pathLst>
                <a:path w="230" h="192" extrusionOk="0">
                  <a:moveTo>
                    <a:pt x="130" y="0"/>
                  </a:moveTo>
                  <a:cubicBezTo>
                    <a:pt x="44" y="0"/>
                    <a:pt x="1" y="101"/>
                    <a:pt x="65" y="166"/>
                  </a:cubicBezTo>
                  <a:cubicBezTo>
                    <a:pt x="83" y="183"/>
                    <a:pt x="104" y="191"/>
                    <a:pt x="126" y="191"/>
                  </a:cubicBezTo>
                  <a:cubicBezTo>
                    <a:pt x="177" y="191"/>
                    <a:pt x="229" y="148"/>
                    <a:pt x="224" y="87"/>
                  </a:cubicBezTo>
                  <a:cubicBezTo>
                    <a:pt x="224" y="37"/>
                    <a:pt x="181" y="0"/>
                    <a:pt x="130" y="0"/>
                  </a:cubicBezTo>
                  <a:close/>
                </a:path>
              </a:pathLst>
            </a:custGeom>
            <a:solidFill>
              <a:srgbClr val="869FB2"/>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379" name="Google Shape;1379;p103"/>
            <p:cNvSpPr/>
            <p:nvPr/>
          </p:nvSpPr>
          <p:spPr>
            <a:xfrm>
              <a:off x="4994300" y="2570225"/>
              <a:ext cx="5700" cy="4750"/>
            </a:xfrm>
            <a:custGeom>
              <a:avLst/>
              <a:gdLst/>
              <a:ahLst/>
              <a:cxnLst/>
              <a:rect l="l" t="t" r="r" b="b"/>
              <a:pathLst>
                <a:path w="228" h="190" extrusionOk="0">
                  <a:moveTo>
                    <a:pt x="139" y="1"/>
                  </a:moveTo>
                  <a:cubicBezTo>
                    <a:pt x="136" y="1"/>
                    <a:pt x="132" y="1"/>
                    <a:pt x="128" y="2"/>
                  </a:cubicBezTo>
                  <a:cubicBezTo>
                    <a:pt x="126" y="1"/>
                    <a:pt x="123" y="1"/>
                    <a:pt x="120" y="1"/>
                  </a:cubicBezTo>
                  <a:cubicBezTo>
                    <a:pt x="39" y="1"/>
                    <a:pt x="1" y="104"/>
                    <a:pt x="63" y="160"/>
                  </a:cubicBezTo>
                  <a:cubicBezTo>
                    <a:pt x="82" y="181"/>
                    <a:pt x="105" y="190"/>
                    <a:pt x="128" y="190"/>
                  </a:cubicBezTo>
                  <a:cubicBezTo>
                    <a:pt x="178" y="190"/>
                    <a:pt x="227" y="147"/>
                    <a:pt x="222" y="88"/>
                  </a:cubicBezTo>
                  <a:cubicBezTo>
                    <a:pt x="222" y="41"/>
                    <a:pt x="185" y="1"/>
                    <a:pt x="139" y="1"/>
                  </a:cubicBezTo>
                  <a:close/>
                </a:path>
              </a:pathLst>
            </a:custGeom>
            <a:solidFill>
              <a:srgbClr val="869FB2"/>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380" name="Google Shape;1380;p103"/>
            <p:cNvSpPr/>
            <p:nvPr/>
          </p:nvSpPr>
          <p:spPr>
            <a:xfrm>
              <a:off x="4994250" y="2577825"/>
              <a:ext cx="5625" cy="4825"/>
            </a:xfrm>
            <a:custGeom>
              <a:avLst/>
              <a:gdLst/>
              <a:ahLst/>
              <a:cxnLst/>
              <a:rect l="l" t="t" r="r" b="b"/>
              <a:pathLst>
                <a:path w="225" h="193" extrusionOk="0">
                  <a:moveTo>
                    <a:pt x="130" y="1"/>
                  </a:moveTo>
                  <a:cubicBezTo>
                    <a:pt x="44" y="1"/>
                    <a:pt x="1" y="101"/>
                    <a:pt x="65" y="166"/>
                  </a:cubicBezTo>
                  <a:cubicBezTo>
                    <a:pt x="84" y="185"/>
                    <a:pt x="106" y="193"/>
                    <a:pt x="128" y="193"/>
                  </a:cubicBezTo>
                  <a:cubicBezTo>
                    <a:pt x="177" y="193"/>
                    <a:pt x="224" y="154"/>
                    <a:pt x="224" y="94"/>
                  </a:cubicBezTo>
                  <a:cubicBezTo>
                    <a:pt x="224" y="44"/>
                    <a:pt x="181" y="1"/>
                    <a:pt x="130" y="1"/>
                  </a:cubicBezTo>
                  <a:close/>
                </a:path>
              </a:pathLst>
            </a:custGeom>
            <a:solidFill>
              <a:srgbClr val="869FB2"/>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381" name="Google Shape;1381;p103"/>
            <p:cNvSpPr/>
            <p:nvPr/>
          </p:nvSpPr>
          <p:spPr>
            <a:xfrm>
              <a:off x="4994250" y="2585575"/>
              <a:ext cx="5750" cy="4800"/>
            </a:xfrm>
            <a:custGeom>
              <a:avLst/>
              <a:gdLst/>
              <a:ahLst/>
              <a:cxnLst/>
              <a:rect l="l" t="t" r="r" b="b"/>
              <a:pathLst>
                <a:path w="230" h="192" extrusionOk="0">
                  <a:moveTo>
                    <a:pt x="130" y="1"/>
                  </a:moveTo>
                  <a:cubicBezTo>
                    <a:pt x="44" y="1"/>
                    <a:pt x="1" y="102"/>
                    <a:pt x="65" y="167"/>
                  </a:cubicBezTo>
                  <a:cubicBezTo>
                    <a:pt x="83" y="184"/>
                    <a:pt x="104" y="191"/>
                    <a:pt x="126" y="191"/>
                  </a:cubicBezTo>
                  <a:cubicBezTo>
                    <a:pt x="177" y="191"/>
                    <a:pt x="229" y="148"/>
                    <a:pt x="224" y="87"/>
                  </a:cubicBezTo>
                  <a:cubicBezTo>
                    <a:pt x="224" y="37"/>
                    <a:pt x="181" y="1"/>
                    <a:pt x="130" y="1"/>
                  </a:cubicBezTo>
                  <a:close/>
                </a:path>
              </a:pathLst>
            </a:custGeom>
            <a:solidFill>
              <a:srgbClr val="869FB2"/>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382" name="Google Shape;1382;p103"/>
            <p:cNvSpPr/>
            <p:nvPr/>
          </p:nvSpPr>
          <p:spPr>
            <a:xfrm>
              <a:off x="4994250" y="2593150"/>
              <a:ext cx="5750" cy="4900"/>
            </a:xfrm>
            <a:custGeom>
              <a:avLst/>
              <a:gdLst/>
              <a:ahLst/>
              <a:cxnLst/>
              <a:rect l="l" t="t" r="r" b="b"/>
              <a:pathLst>
                <a:path w="230" h="196" extrusionOk="0">
                  <a:moveTo>
                    <a:pt x="130" y="1"/>
                  </a:moveTo>
                  <a:cubicBezTo>
                    <a:pt x="44" y="1"/>
                    <a:pt x="1" y="109"/>
                    <a:pt x="65" y="166"/>
                  </a:cubicBezTo>
                  <a:cubicBezTo>
                    <a:pt x="84" y="187"/>
                    <a:pt x="107" y="196"/>
                    <a:pt x="130" y="196"/>
                  </a:cubicBezTo>
                  <a:cubicBezTo>
                    <a:pt x="180" y="196"/>
                    <a:pt x="229" y="154"/>
                    <a:pt x="224" y="94"/>
                  </a:cubicBezTo>
                  <a:cubicBezTo>
                    <a:pt x="224" y="44"/>
                    <a:pt x="181" y="1"/>
                    <a:pt x="130" y="1"/>
                  </a:cubicBezTo>
                  <a:close/>
                </a:path>
              </a:pathLst>
            </a:custGeom>
            <a:solidFill>
              <a:srgbClr val="869FB2"/>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383" name="Google Shape;1383;p103"/>
            <p:cNvSpPr/>
            <p:nvPr/>
          </p:nvSpPr>
          <p:spPr>
            <a:xfrm>
              <a:off x="4985775" y="2531675"/>
              <a:ext cx="5750" cy="4900"/>
            </a:xfrm>
            <a:custGeom>
              <a:avLst/>
              <a:gdLst/>
              <a:ahLst/>
              <a:cxnLst/>
              <a:rect l="l" t="t" r="r" b="b"/>
              <a:pathLst>
                <a:path w="230" h="196" extrusionOk="0">
                  <a:moveTo>
                    <a:pt x="130" y="0"/>
                  </a:moveTo>
                  <a:cubicBezTo>
                    <a:pt x="44" y="0"/>
                    <a:pt x="1" y="108"/>
                    <a:pt x="65" y="166"/>
                  </a:cubicBezTo>
                  <a:cubicBezTo>
                    <a:pt x="86" y="187"/>
                    <a:pt x="110" y="195"/>
                    <a:pt x="133" y="195"/>
                  </a:cubicBezTo>
                  <a:cubicBezTo>
                    <a:pt x="183" y="195"/>
                    <a:pt x="229" y="153"/>
                    <a:pt x="224" y="94"/>
                  </a:cubicBezTo>
                  <a:cubicBezTo>
                    <a:pt x="224" y="43"/>
                    <a:pt x="181" y="0"/>
                    <a:pt x="130" y="0"/>
                  </a:cubicBezTo>
                  <a:close/>
                </a:path>
              </a:pathLst>
            </a:custGeom>
            <a:solidFill>
              <a:srgbClr val="869FB2"/>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384" name="Google Shape;1384;p103"/>
            <p:cNvSpPr/>
            <p:nvPr/>
          </p:nvSpPr>
          <p:spPr>
            <a:xfrm>
              <a:off x="4985825" y="2539400"/>
              <a:ext cx="5575" cy="4750"/>
            </a:xfrm>
            <a:custGeom>
              <a:avLst/>
              <a:gdLst/>
              <a:ahLst/>
              <a:cxnLst/>
              <a:rect l="l" t="t" r="r" b="b"/>
              <a:pathLst>
                <a:path w="223" h="190" extrusionOk="0">
                  <a:moveTo>
                    <a:pt x="120" y="1"/>
                  </a:moveTo>
                  <a:cubicBezTo>
                    <a:pt x="39" y="1"/>
                    <a:pt x="1" y="104"/>
                    <a:pt x="63" y="160"/>
                  </a:cubicBezTo>
                  <a:cubicBezTo>
                    <a:pt x="82" y="181"/>
                    <a:pt x="105" y="190"/>
                    <a:pt x="127" y="190"/>
                  </a:cubicBezTo>
                  <a:cubicBezTo>
                    <a:pt x="175" y="190"/>
                    <a:pt x="222" y="149"/>
                    <a:pt x="222" y="95"/>
                  </a:cubicBezTo>
                  <a:cubicBezTo>
                    <a:pt x="222" y="37"/>
                    <a:pt x="179" y="1"/>
                    <a:pt x="128" y="1"/>
                  </a:cubicBezTo>
                  <a:cubicBezTo>
                    <a:pt x="126" y="1"/>
                    <a:pt x="123" y="1"/>
                    <a:pt x="120" y="1"/>
                  </a:cubicBezTo>
                  <a:close/>
                </a:path>
              </a:pathLst>
            </a:custGeom>
            <a:solidFill>
              <a:srgbClr val="869FB2"/>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385" name="Google Shape;1385;p103"/>
            <p:cNvSpPr/>
            <p:nvPr/>
          </p:nvSpPr>
          <p:spPr>
            <a:xfrm>
              <a:off x="4985775" y="2547175"/>
              <a:ext cx="5750" cy="4725"/>
            </a:xfrm>
            <a:custGeom>
              <a:avLst/>
              <a:gdLst/>
              <a:ahLst/>
              <a:cxnLst/>
              <a:rect l="l" t="t" r="r" b="b"/>
              <a:pathLst>
                <a:path w="230" h="189" extrusionOk="0">
                  <a:moveTo>
                    <a:pt x="130" y="0"/>
                  </a:moveTo>
                  <a:cubicBezTo>
                    <a:pt x="44" y="0"/>
                    <a:pt x="1" y="101"/>
                    <a:pt x="65" y="159"/>
                  </a:cubicBezTo>
                  <a:cubicBezTo>
                    <a:pt x="86" y="180"/>
                    <a:pt x="110" y="189"/>
                    <a:pt x="133" y="189"/>
                  </a:cubicBezTo>
                  <a:cubicBezTo>
                    <a:pt x="183" y="189"/>
                    <a:pt x="229" y="146"/>
                    <a:pt x="224" y="87"/>
                  </a:cubicBezTo>
                  <a:cubicBezTo>
                    <a:pt x="224" y="36"/>
                    <a:pt x="181" y="0"/>
                    <a:pt x="130" y="0"/>
                  </a:cubicBezTo>
                  <a:close/>
                </a:path>
              </a:pathLst>
            </a:custGeom>
            <a:solidFill>
              <a:srgbClr val="869FB2"/>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386" name="Google Shape;1386;p103"/>
            <p:cNvSpPr/>
            <p:nvPr/>
          </p:nvSpPr>
          <p:spPr>
            <a:xfrm>
              <a:off x="4985775" y="2554750"/>
              <a:ext cx="5625" cy="4825"/>
            </a:xfrm>
            <a:custGeom>
              <a:avLst/>
              <a:gdLst/>
              <a:ahLst/>
              <a:cxnLst/>
              <a:rect l="l" t="t" r="r" b="b"/>
              <a:pathLst>
                <a:path w="225" h="193" extrusionOk="0">
                  <a:moveTo>
                    <a:pt x="130" y="0"/>
                  </a:moveTo>
                  <a:cubicBezTo>
                    <a:pt x="44" y="0"/>
                    <a:pt x="1" y="101"/>
                    <a:pt x="65" y="166"/>
                  </a:cubicBezTo>
                  <a:cubicBezTo>
                    <a:pt x="84" y="184"/>
                    <a:pt x="106" y="192"/>
                    <a:pt x="128" y="192"/>
                  </a:cubicBezTo>
                  <a:cubicBezTo>
                    <a:pt x="177" y="192"/>
                    <a:pt x="224" y="153"/>
                    <a:pt x="224" y="94"/>
                  </a:cubicBezTo>
                  <a:cubicBezTo>
                    <a:pt x="224" y="44"/>
                    <a:pt x="181" y="0"/>
                    <a:pt x="130" y="0"/>
                  </a:cubicBezTo>
                  <a:close/>
                </a:path>
              </a:pathLst>
            </a:custGeom>
            <a:solidFill>
              <a:srgbClr val="869FB2"/>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387" name="Google Shape;1387;p103"/>
            <p:cNvSpPr/>
            <p:nvPr/>
          </p:nvSpPr>
          <p:spPr>
            <a:xfrm>
              <a:off x="4985775" y="2562500"/>
              <a:ext cx="5750" cy="4800"/>
            </a:xfrm>
            <a:custGeom>
              <a:avLst/>
              <a:gdLst/>
              <a:ahLst/>
              <a:cxnLst/>
              <a:rect l="l" t="t" r="r" b="b"/>
              <a:pathLst>
                <a:path w="230" h="192" extrusionOk="0">
                  <a:moveTo>
                    <a:pt x="130" y="0"/>
                  </a:moveTo>
                  <a:cubicBezTo>
                    <a:pt x="44" y="0"/>
                    <a:pt x="1" y="101"/>
                    <a:pt x="65" y="166"/>
                  </a:cubicBezTo>
                  <a:cubicBezTo>
                    <a:pt x="85" y="183"/>
                    <a:pt x="107" y="191"/>
                    <a:pt x="129" y="191"/>
                  </a:cubicBezTo>
                  <a:cubicBezTo>
                    <a:pt x="181" y="191"/>
                    <a:pt x="229" y="148"/>
                    <a:pt x="224" y="87"/>
                  </a:cubicBezTo>
                  <a:cubicBezTo>
                    <a:pt x="224" y="37"/>
                    <a:pt x="181" y="0"/>
                    <a:pt x="130" y="0"/>
                  </a:cubicBezTo>
                  <a:close/>
                </a:path>
              </a:pathLst>
            </a:custGeom>
            <a:solidFill>
              <a:srgbClr val="869FB2"/>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388" name="Google Shape;1388;p103"/>
            <p:cNvSpPr/>
            <p:nvPr/>
          </p:nvSpPr>
          <p:spPr>
            <a:xfrm>
              <a:off x="4985825" y="2570225"/>
              <a:ext cx="5700" cy="4750"/>
            </a:xfrm>
            <a:custGeom>
              <a:avLst/>
              <a:gdLst/>
              <a:ahLst/>
              <a:cxnLst/>
              <a:rect l="l" t="t" r="r" b="b"/>
              <a:pathLst>
                <a:path w="228" h="190" extrusionOk="0">
                  <a:moveTo>
                    <a:pt x="139" y="1"/>
                  </a:moveTo>
                  <a:cubicBezTo>
                    <a:pt x="136" y="1"/>
                    <a:pt x="132" y="1"/>
                    <a:pt x="128" y="2"/>
                  </a:cubicBezTo>
                  <a:cubicBezTo>
                    <a:pt x="126" y="1"/>
                    <a:pt x="123" y="1"/>
                    <a:pt x="120" y="1"/>
                  </a:cubicBezTo>
                  <a:cubicBezTo>
                    <a:pt x="39" y="1"/>
                    <a:pt x="1" y="104"/>
                    <a:pt x="63" y="160"/>
                  </a:cubicBezTo>
                  <a:cubicBezTo>
                    <a:pt x="84" y="181"/>
                    <a:pt x="108" y="190"/>
                    <a:pt x="131" y="190"/>
                  </a:cubicBezTo>
                  <a:cubicBezTo>
                    <a:pt x="181" y="190"/>
                    <a:pt x="227" y="147"/>
                    <a:pt x="222" y="88"/>
                  </a:cubicBezTo>
                  <a:cubicBezTo>
                    <a:pt x="222" y="41"/>
                    <a:pt x="185" y="1"/>
                    <a:pt x="139" y="1"/>
                  </a:cubicBezTo>
                  <a:close/>
                </a:path>
              </a:pathLst>
            </a:custGeom>
            <a:solidFill>
              <a:srgbClr val="869FB2"/>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389" name="Google Shape;1389;p103"/>
            <p:cNvSpPr/>
            <p:nvPr/>
          </p:nvSpPr>
          <p:spPr>
            <a:xfrm>
              <a:off x="4985775" y="2577825"/>
              <a:ext cx="5625" cy="4825"/>
            </a:xfrm>
            <a:custGeom>
              <a:avLst/>
              <a:gdLst/>
              <a:ahLst/>
              <a:cxnLst/>
              <a:rect l="l" t="t" r="r" b="b"/>
              <a:pathLst>
                <a:path w="225" h="193" extrusionOk="0">
                  <a:moveTo>
                    <a:pt x="130" y="1"/>
                  </a:moveTo>
                  <a:cubicBezTo>
                    <a:pt x="44" y="1"/>
                    <a:pt x="1" y="101"/>
                    <a:pt x="65" y="166"/>
                  </a:cubicBezTo>
                  <a:cubicBezTo>
                    <a:pt x="84" y="185"/>
                    <a:pt x="106" y="193"/>
                    <a:pt x="128" y="193"/>
                  </a:cubicBezTo>
                  <a:cubicBezTo>
                    <a:pt x="177" y="193"/>
                    <a:pt x="224" y="154"/>
                    <a:pt x="224" y="94"/>
                  </a:cubicBezTo>
                  <a:cubicBezTo>
                    <a:pt x="224" y="44"/>
                    <a:pt x="181" y="1"/>
                    <a:pt x="130" y="1"/>
                  </a:cubicBezTo>
                  <a:close/>
                </a:path>
              </a:pathLst>
            </a:custGeom>
            <a:solidFill>
              <a:srgbClr val="869FB2"/>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390" name="Google Shape;1390;p103"/>
            <p:cNvSpPr/>
            <p:nvPr/>
          </p:nvSpPr>
          <p:spPr>
            <a:xfrm>
              <a:off x="4977300" y="2531675"/>
              <a:ext cx="5750" cy="4900"/>
            </a:xfrm>
            <a:custGeom>
              <a:avLst/>
              <a:gdLst/>
              <a:ahLst/>
              <a:cxnLst/>
              <a:rect l="l" t="t" r="r" b="b"/>
              <a:pathLst>
                <a:path w="230" h="196" extrusionOk="0">
                  <a:moveTo>
                    <a:pt x="130" y="0"/>
                  </a:moveTo>
                  <a:cubicBezTo>
                    <a:pt x="44" y="0"/>
                    <a:pt x="1" y="108"/>
                    <a:pt x="65" y="166"/>
                  </a:cubicBezTo>
                  <a:cubicBezTo>
                    <a:pt x="86" y="187"/>
                    <a:pt x="110" y="195"/>
                    <a:pt x="133" y="195"/>
                  </a:cubicBezTo>
                  <a:cubicBezTo>
                    <a:pt x="183" y="195"/>
                    <a:pt x="229" y="153"/>
                    <a:pt x="224" y="94"/>
                  </a:cubicBezTo>
                  <a:cubicBezTo>
                    <a:pt x="224" y="43"/>
                    <a:pt x="181" y="0"/>
                    <a:pt x="130" y="0"/>
                  </a:cubicBezTo>
                  <a:close/>
                </a:path>
              </a:pathLst>
            </a:custGeom>
            <a:solidFill>
              <a:srgbClr val="869FB2"/>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391" name="Google Shape;1391;p103"/>
            <p:cNvSpPr/>
            <p:nvPr/>
          </p:nvSpPr>
          <p:spPr>
            <a:xfrm>
              <a:off x="4977350" y="2539400"/>
              <a:ext cx="5575" cy="4750"/>
            </a:xfrm>
            <a:custGeom>
              <a:avLst/>
              <a:gdLst/>
              <a:ahLst/>
              <a:cxnLst/>
              <a:rect l="l" t="t" r="r" b="b"/>
              <a:pathLst>
                <a:path w="223" h="190" extrusionOk="0">
                  <a:moveTo>
                    <a:pt x="120" y="1"/>
                  </a:moveTo>
                  <a:cubicBezTo>
                    <a:pt x="39" y="1"/>
                    <a:pt x="1" y="104"/>
                    <a:pt x="63" y="160"/>
                  </a:cubicBezTo>
                  <a:cubicBezTo>
                    <a:pt x="82" y="181"/>
                    <a:pt x="105" y="190"/>
                    <a:pt x="127" y="190"/>
                  </a:cubicBezTo>
                  <a:cubicBezTo>
                    <a:pt x="175" y="190"/>
                    <a:pt x="222" y="149"/>
                    <a:pt x="222" y="95"/>
                  </a:cubicBezTo>
                  <a:cubicBezTo>
                    <a:pt x="222" y="37"/>
                    <a:pt x="179" y="1"/>
                    <a:pt x="128" y="1"/>
                  </a:cubicBezTo>
                  <a:cubicBezTo>
                    <a:pt x="126" y="1"/>
                    <a:pt x="123" y="1"/>
                    <a:pt x="120" y="1"/>
                  </a:cubicBezTo>
                  <a:close/>
                </a:path>
              </a:pathLst>
            </a:custGeom>
            <a:solidFill>
              <a:srgbClr val="869FB2"/>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392" name="Google Shape;1392;p103"/>
            <p:cNvSpPr/>
            <p:nvPr/>
          </p:nvSpPr>
          <p:spPr>
            <a:xfrm>
              <a:off x="4977300" y="2547175"/>
              <a:ext cx="5750" cy="4725"/>
            </a:xfrm>
            <a:custGeom>
              <a:avLst/>
              <a:gdLst/>
              <a:ahLst/>
              <a:cxnLst/>
              <a:rect l="l" t="t" r="r" b="b"/>
              <a:pathLst>
                <a:path w="230" h="189" extrusionOk="0">
                  <a:moveTo>
                    <a:pt x="130" y="0"/>
                  </a:moveTo>
                  <a:cubicBezTo>
                    <a:pt x="44" y="0"/>
                    <a:pt x="1" y="101"/>
                    <a:pt x="65" y="159"/>
                  </a:cubicBezTo>
                  <a:cubicBezTo>
                    <a:pt x="86" y="180"/>
                    <a:pt x="110" y="189"/>
                    <a:pt x="133" y="189"/>
                  </a:cubicBezTo>
                  <a:cubicBezTo>
                    <a:pt x="183" y="189"/>
                    <a:pt x="229" y="146"/>
                    <a:pt x="224" y="87"/>
                  </a:cubicBezTo>
                  <a:cubicBezTo>
                    <a:pt x="224" y="36"/>
                    <a:pt x="181" y="0"/>
                    <a:pt x="130" y="0"/>
                  </a:cubicBezTo>
                  <a:close/>
                </a:path>
              </a:pathLst>
            </a:custGeom>
            <a:solidFill>
              <a:srgbClr val="869FB2"/>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393" name="Google Shape;1393;p103"/>
            <p:cNvSpPr/>
            <p:nvPr/>
          </p:nvSpPr>
          <p:spPr>
            <a:xfrm>
              <a:off x="4977300" y="2554750"/>
              <a:ext cx="5625" cy="4825"/>
            </a:xfrm>
            <a:custGeom>
              <a:avLst/>
              <a:gdLst/>
              <a:ahLst/>
              <a:cxnLst/>
              <a:rect l="l" t="t" r="r" b="b"/>
              <a:pathLst>
                <a:path w="225" h="193" extrusionOk="0">
                  <a:moveTo>
                    <a:pt x="130" y="0"/>
                  </a:moveTo>
                  <a:cubicBezTo>
                    <a:pt x="44" y="0"/>
                    <a:pt x="1" y="101"/>
                    <a:pt x="65" y="166"/>
                  </a:cubicBezTo>
                  <a:cubicBezTo>
                    <a:pt x="84" y="184"/>
                    <a:pt x="106" y="192"/>
                    <a:pt x="128" y="192"/>
                  </a:cubicBezTo>
                  <a:cubicBezTo>
                    <a:pt x="177" y="192"/>
                    <a:pt x="224" y="153"/>
                    <a:pt x="224" y="94"/>
                  </a:cubicBezTo>
                  <a:cubicBezTo>
                    <a:pt x="224" y="44"/>
                    <a:pt x="181" y="0"/>
                    <a:pt x="130" y="0"/>
                  </a:cubicBezTo>
                  <a:close/>
                </a:path>
              </a:pathLst>
            </a:custGeom>
            <a:solidFill>
              <a:srgbClr val="869FB2"/>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394" name="Google Shape;1394;p103"/>
            <p:cNvSpPr/>
            <p:nvPr/>
          </p:nvSpPr>
          <p:spPr>
            <a:xfrm>
              <a:off x="4977300" y="2562500"/>
              <a:ext cx="5750" cy="4800"/>
            </a:xfrm>
            <a:custGeom>
              <a:avLst/>
              <a:gdLst/>
              <a:ahLst/>
              <a:cxnLst/>
              <a:rect l="l" t="t" r="r" b="b"/>
              <a:pathLst>
                <a:path w="230" h="192" extrusionOk="0">
                  <a:moveTo>
                    <a:pt x="130" y="0"/>
                  </a:moveTo>
                  <a:cubicBezTo>
                    <a:pt x="44" y="0"/>
                    <a:pt x="1" y="101"/>
                    <a:pt x="65" y="166"/>
                  </a:cubicBezTo>
                  <a:cubicBezTo>
                    <a:pt x="85" y="183"/>
                    <a:pt x="107" y="191"/>
                    <a:pt x="129" y="191"/>
                  </a:cubicBezTo>
                  <a:cubicBezTo>
                    <a:pt x="181" y="191"/>
                    <a:pt x="229" y="148"/>
                    <a:pt x="224" y="87"/>
                  </a:cubicBezTo>
                  <a:cubicBezTo>
                    <a:pt x="224" y="37"/>
                    <a:pt x="181" y="0"/>
                    <a:pt x="130" y="0"/>
                  </a:cubicBezTo>
                  <a:close/>
                </a:path>
              </a:pathLst>
            </a:custGeom>
            <a:solidFill>
              <a:srgbClr val="869FB2"/>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395" name="Google Shape;1395;p103"/>
            <p:cNvSpPr/>
            <p:nvPr/>
          </p:nvSpPr>
          <p:spPr>
            <a:xfrm>
              <a:off x="4977350" y="2570225"/>
              <a:ext cx="5700" cy="4750"/>
            </a:xfrm>
            <a:custGeom>
              <a:avLst/>
              <a:gdLst/>
              <a:ahLst/>
              <a:cxnLst/>
              <a:rect l="l" t="t" r="r" b="b"/>
              <a:pathLst>
                <a:path w="228" h="190" extrusionOk="0">
                  <a:moveTo>
                    <a:pt x="139" y="1"/>
                  </a:moveTo>
                  <a:cubicBezTo>
                    <a:pt x="136" y="1"/>
                    <a:pt x="132" y="1"/>
                    <a:pt x="128" y="2"/>
                  </a:cubicBezTo>
                  <a:cubicBezTo>
                    <a:pt x="126" y="1"/>
                    <a:pt x="123" y="1"/>
                    <a:pt x="120" y="1"/>
                  </a:cubicBezTo>
                  <a:cubicBezTo>
                    <a:pt x="39" y="1"/>
                    <a:pt x="1" y="104"/>
                    <a:pt x="63" y="160"/>
                  </a:cubicBezTo>
                  <a:cubicBezTo>
                    <a:pt x="84" y="181"/>
                    <a:pt x="108" y="190"/>
                    <a:pt x="131" y="190"/>
                  </a:cubicBezTo>
                  <a:cubicBezTo>
                    <a:pt x="181" y="190"/>
                    <a:pt x="227" y="147"/>
                    <a:pt x="222" y="88"/>
                  </a:cubicBezTo>
                  <a:cubicBezTo>
                    <a:pt x="222" y="41"/>
                    <a:pt x="185" y="1"/>
                    <a:pt x="139" y="1"/>
                  </a:cubicBezTo>
                  <a:close/>
                </a:path>
              </a:pathLst>
            </a:custGeom>
            <a:solidFill>
              <a:srgbClr val="869FB2"/>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396" name="Google Shape;1396;p103"/>
            <p:cNvSpPr/>
            <p:nvPr/>
          </p:nvSpPr>
          <p:spPr>
            <a:xfrm>
              <a:off x="4977300" y="2577825"/>
              <a:ext cx="5625" cy="4825"/>
            </a:xfrm>
            <a:custGeom>
              <a:avLst/>
              <a:gdLst/>
              <a:ahLst/>
              <a:cxnLst/>
              <a:rect l="l" t="t" r="r" b="b"/>
              <a:pathLst>
                <a:path w="225" h="193" extrusionOk="0">
                  <a:moveTo>
                    <a:pt x="130" y="1"/>
                  </a:moveTo>
                  <a:cubicBezTo>
                    <a:pt x="44" y="1"/>
                    <a:pt x="1" y="101"/>
                    <a:pt x="65" y="166"/>
                  </a:cubicBezTo>
                  <a:cubicBezTo>
                    <a:pt x="84" y="185"/>
                    <a:pt x="106" y="193"/>
                    <a:pt x="128" y="193"/>
                  </a:cubicBezTo>
                  <a:cubicBezTo>
                    <a:pt x="177" y="193"/>
                    <a:pt x="224" y="154"/>
                    <a:pt x="224" y="94"/>
                  </a:cubicBezTo>
                  <a:cubicBezTo>
                    <a:pt x="224" y="44"/>
                    <a:pt x="181" y="1"/>
                    <a:pt x="130" y="1"/>
                  </a:cubicBezTo>
                  <a:close/>
                </a:path>
              </a:pathLst>
            </a:custGeom>
            <a:solidFill>
              <a:srgbClr val="869FB2"/>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397" name="Google Shape;1397;p103"/>
            <p:cNvSpPr/>
            <p:nvPr/>
          </p:nvSpPr>
          <p:spPr>
            <a:xfrm>
              <a:off x="4968825" y="2531675"/>
              <a:ext cx="5750" cy="4900"/>
            </a:xfrm>
            <a:custGeom>
              <a:avLst/>
              <a:gdLst/>
              <a:ahLst/>
              <a:cxnLst/>
              <a:rect l="l" t="t" r="r" b="b"/>
              <a:pathLst>
                <a:path w="230" h="196" extrusionOk="0">
                  <a:moveTo>
                    <a:pt x="130" y="0"/>
                  </a:moveTo>
                  <a:cubicBezTo>
                    <a:pt x="44" y="0"/>
                    <a:pt x="1" y="108"/>
                    <a:pt x="66" y="166"/>
                  </a:cubicBezTo>
                  <a:cubicBezTo>
                    <a:pt x="86" y="187"/>
                    <a:pt x="110" y="195"/>
                    <a:pt x="133" y="195"/>
                  </a:cubicBezTo>
                  <a:cubicBezTo>
                    <a:pt x="183" y="195"/>
                    <a:pt x="229" y="153"/>
                    <a:pt x="224" y="94"/>
                  </a:cubicBezTo>
                  <a:cubicBezTo>
                    <a:pt x="224" y="43"/>
                    <a:pt x="181" y="0"/>
                    <a:pt x="130" y="0"/>
                  </a:cubicBezTo>
                  <a:close/>
                </a:path>
              </a:pathLst>
            </a:custGeom>
            <a:solidFill>
              <a:srgbClr val="869FB2"/>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398" name="Google Shape;1398;p103"/>
            <p:cNvSpPr/>
            <p:nvPr/>
          </p:nvSpPr>
          <p:spPr>
            <a:xfrm>
              <a:off x="4968875" y="2539400"/>
              <a:ext cx="5700" cy="4750"/>
            </a:xfrm>
            <a:custGeom>
              <a:avLst/>
              <a:gdLst/>
              <a:ahLst/>
              <a:cxnLst/>
              <a:rect l="l" t="t" r="r" b="b"/>
              <a:pathLst>
                <a:path w="228" h="190" extrusionOk="0">
                  <a:moveTo>
                    <a:pt x="121" y="1"/>
                  </a:moveTo>
                  <a:cubicBezTo>
                    <a:pt x="46" y="1"/>
                    <a:pt x="1" y="104"/>
                    <a:pt x="64" y="160"/>
                  </a:cubicBezTo>
                  <a:cubicBezTo>
                    <a:pt x="82" y="181"/>
                    <a:pt x="106" y="190"/>
                    <a:pt x="129" y="190"/>
                  </a:cubicBezTo>
                  <a:cubicBezTo>
                    <a:pt x="179" y="190"/>
                    <a:pt x="227" y="149"/>
                    <a:pt x="222" y="95"/>
                  </a:cubicBezTo>
                  <a:cubicBezTo>
                    <a:pt x="222" y="37"/>
                    <a:pt x="186" y="1"/>
                    <a:pt x="128" y="1"/>
                  </a:cubicBezTo>
                  <a:cubicBezTo>
                    <a:pt x="126" y="1"/>
                    <a:pt x="123" y="1"/>
                    <a:pt x="121" y="1"/>
                  </a:cubicBezTo>
                  <a:close/>
                </a:path>
              </a:pathLst>
            </a:custGeom>
            <a:solidFill>
              <a:srgbClr val="869FB2"/>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399" name="Google Shape;1399;p103"/>
            <p:cNvSpPr/>
            <p:nvPr/>
          </p:nvSpPr>
          <p:spPr>
            <a:xfrm>
              <a:off x="4968825" y="2547175"/>
              <a:ext cx="5750" cy="4725"/>
            </a:xfrm>
            <a:custGeom>
              <a:avLst/>
              <a:gdLst/>
              <a:ahLst/>
              <a:cxnLst/>
              <a:rect l="l" t="t" r="r" b="b"/>
              <a:pathLst>
                <a:path w="230" h="189" extrusionOk="0">
                  <a:moveTo>
                    <a:pt x="130" y="0"/>
                  </a:moveTo>
                  <a:cubicBezTo>
                    <a:pt x="44" y="0"/>
                    <a:pt x="1" y="101"/>
                    <a:pt x="66" y="159"/>
                  </a:cubicBezTo>
                  <a:cubicBezTo>
                    <a:pt x="86" y="180"/>
                    <a:pt x="110" y="189"/>
                    <a:pt x="133" y="189"/>
                  </a:cubicBezTo>
                  <a:cubicBezTo>
                    <a:pt x="183" y="189"/>
                    <a:pt x="229" y="146"/>
                    <a:pt x="224" y="87"/>
                  </a:cubicBezTo>
                  <a:cubicBezTo>
                    <a:pt x="224" y="36"/>
                    <a:pt x="181" y="0"/>
                    <a:pt x="130" y="0"/>
                  </a:cubicBezTo>
                  <a:close/>
                </a:path>
              </a:pathLst>
            </a:custGeom>
            <a:solidFill>
              <a:srgbClr val="869FB2"/>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400" name="Google Shape;1400;p103"/>
            <p:cNvSpPr/>
            <p:nvPr/>
          </p:nvSpPr>
          <p:spPr>
            <a:xfrm>
              <a:off x="4968825" y="2554750"/>
              <a:ext cx="5800" cy="4825"/>
            </a:xfrm>
            <a:custGeom>
              <a:avLst/>
              <a:gdLst/>
              <a:ahLst/>
              <a:cxnLst/>
              <a:rect l="l" t="t" r="r" b="b"/>
              <a:pathLst>
                <a:path w="232" h="193" extrusionOk="0">
                  <a:moveTo>
                    <a:pt x="130" y="0"/>
                  </a:moveTo>
                  <a:cubicBezTo>
                    <a:pt x="51" y="0"/>
                    <a:pt x="1" y="101"/>
                    <a:pt x="66" y="166"/>
                  </a:cubicBezTo>
                  <a:cubicBezTo>
                    <a:pt x="84" y="184"/>
                    <a:pt x="107" y="192"/>
                    <a:pt x="130" y="192"/>
                  </a:cubicBezTo>
                  <a:cubicBezTo>
                    <a:pt x="180" y="192"/>
                    <a:pt x="229" y="153"/>
                    <a:pt x="224" y="94"/>
                  </a:cubicBezTo>
                  <a:cubicBezTo>
                    <a:pt x="231" y="44"/>
                    <a:pt x="188" y="0"/>
                    <a:pt x="130" y="0"/>
                  </a:cubicBezTo>
                  <a:close/>
                </a:path>
              </a:pathLst>
            </a:custGeom>
            <a:solidFill>
              <a:srgbClr val="869FB2"/>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401" name="Google Shape;1401;p103"/>
            <p:cNvSpPr/>
            <p:nvPr/>
          </p:nvSpPr>
          <p:spPr>
            <a:xfrm>
              <a:off x="4968825" y="2562500"/>
              <a:ext cx="5750" cy="4800"/>
            </a:xfrm>
            <a:custGeom>
              <a:avLst/>
              <a:gdLst/>
              <a:ahLst/>
              <a:cxnLst/>
              <a:rect l="l" t="t" r="r" b="b"/>
              <a:pathLst>
                <a:path w="230" h="192" extrusionOk="0">
                  <a:moveTo>
                    <a:pt x="130" y="0"/>
                  </a:moveTo>
                  <a:cubicBezTo>
                    <a:pt x="44" y="0"/>
                    <a:pt x="1" y="101"/>
                    <a:pt x="66" y="166"/>
                  </a:cubicBezTo>
                  <a:cubicBezTo>
                    <a:pt x="85" y="183"/>
                    <a:pt x="107" y="191"/>
                    <a:pt x="129" y="191"/>
                  </a:cubicBezTo>
                  <a:cubicBezTo>
                    <a:pt x="181" y="191"/>
                    <a:pt x="229" y="148"/>
                    <a:pt x="224" y="87"/>
                  </a:cubicBezTo>
                  <a:cubicBezTo>
                    <a:pt x="224" y="37"/>
                    <a:pt x="181" y="0"/>
                    <a:pt x="130" y="0"/>
                  </a:cubicBezTo>
                  <a:close/>
                </a:path>
              </a:pathLst>
            </a:custGeom>
            <a:solidFill>
              <a:srgbClr val="869FB2"/>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402" name="Google Shape;1402;p103"/>
            <p:cNvSpPr/>
            <p:nvPr/>
          </p:nvSpPr>
          <p:spPr>
            <a:xfrm>
              <a:off x="4968875" y="2570225"/>
              <a:ext cx="5700" cy="4750"/>
            </a:xfrm>
            <a:custGeom>
              <a:avLst/>
              <a:gdLst/>
              <a:ahLst/>
              <a:cxnLst/>
              <a:rect l="l" t="t" r="r" b="b"/>
              <a:pathLst>
                <a:path w="228" h="190" extrusionOk="0">
                  <a:moveTo>
                    <a:pt x="139" y="1"/>
                  </a:moveTo>
                  <a:cubicBezTo>
                    <a:pt x="136" y="1"/>
                    <a:pt x="132" y="1"/>
                    <a:pt x="128" y="2"/>
                  </a:cubicBezTo>
                  <a:cubicBezTo>
                    <a:pt x="126" y="1"/>
                    <a:pt x="123" y="1"/>
                    <a:pt x="120" y="1"/>
                  </a:cubicBezTo>
                  <a:cubicBezTo>
                    <a:pt x="39" y="1"/>
                    <a:pt x="1" y="104"/>
                    <a:pt x="64" y="160"/>
                  </a:cubicBezTo>
                  <a:cubicBezTo>
                    <a:pt x="84" y="181"/>
                    <a:pt x="108" y="190"/>
                    <a:pt x="131" y="190"/>
                  </a:cubicBezTo>
                  <a:cubicBezTo>
                    <a:pt x="181" y="190"/>
                    <a:pt x="227" y="147"/>
                    <a:pt x="222" y="88"/>
                  </a:cubicBezTo>
                  <a:cubicBezTo>
                    <a:pt x="222" y="41"/>
                    <a:pt x="185" y="1"/>
                    <a:pt x="139" y="1"/>
                  </a:cubicBezTo>
                  <a:close/>
                </a:path>
              </a:pathLst>
            </a:custGeom>
            <a:solidFill>
              <a:srgbClr val="869FB2"/>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403" name="Google Shape;1403;p103"/>
            <p:cNvSpPr/>
            <p:nvPr/>
          </p:nvSpPr>
          <p:spPr>
            <a:xfrm>
              <a:off x="4968825" y="2577825"/>
              <a:ext cx="5800" cy="4825"/>
            </a:xfrm>
            <a:custGeom>
              <a:avLst/>
              <a:gdLst/>
              <a:ahLst/>
              <a:cxnLst/>
              <a:rect l="l" t="t" r="r" b="b"/>
              <a:pathLst>
                <a:path w="232" h="193" extrusionOk="0">
                  <a:moveTo>
                    <a:pt x="130" y="1"/>
                  </a:moveTo>
                  <a:cubicBezTo>
                    <a:pt x="51" y="1"/>
                    <a:pt x="1" y="101"/>
                    <a:pt x="66" y="166"/>
                  </a:cubicBezTo>
                  <a:cubicBezTo>
                    <a:pt x="84" y="185"/>
                    <a:pt x="107" y="193"/>
                    <a:pt x="130" y="193"/>
                  </a:cubicBezTo>
                  <a:cubicBezTo>
                    <a:pt x="180" y="193"/>
                    <a:pt x="229" y="154"/>
                    <a:pt x="224" y="94"/>
                  </a:cubicBezTo>
                  <a:cubicBezTo>
                    <a:pt x="231" y="44"/>
                    <a:pt x="188" y="1"/>
                    <a:pt x="130" y="1"/>
                  </a:cubicBezTo>
                  <a:close/>
                </a:path>
              </a:pathLst>
            </a:custGeom>
            <a:solidFill>
              <a:srgbClr val="869FB2"/>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404" name="Google Shape;1404;p103"/>
            <p:cNvSpPr/>
            <p:nvPr/>
          </p:nvSpPr>
          <p:spPr>
            <a:xfrm>
              <a:off x="4960525" y="2531675"/>
              <a:ext cx="5625" cy="4900"/>
            </a:xfrm>
            <a:custGeom>
              <a:avLst/>
              <a:gdLst/>
              <a:ahLst/>
              <a:cxnLst/>
              <a:rect l="l" t="t" r="r" b="b"/>
              <a:pathLst>
                <a:path w="225" h="196" extrusionOk="0">
                  <a:moveTo>
                    <a:pt x="123" y="0"/>
                  </a:moveTo>
                  <a:cubicBezTo>
                    <a:pt x="37" y="0"/>
                    <a:pt x="1" y="108"/>
                    <a:pt x="59" y="166"/>
                  </a:cubicBezTo>
                  <a:cubicBezTo>
                    <a:pt x="79" y="187"/>
                    <a:pt x="103" y="195"/>
                    <a:pt x="126" y="195"/>
                  </a:cubicBezTo>
                  <a:cubicBezTo>
                    <a:pt x="177" y="195"/>
                    <a:pt x="224" y="153"/>
                    <a:pt x="224" y="94"/>
                  </a:cubicBezTo>
                  <a:cubicBezTo>
                    <a:pt x="217" y="43"/>
                    <a:pt x="181" y="0"/>
                    <a:pt x="123" y="0"/>
                  </a:cubicBezTo>
                  <a:close/>
                </a:path>
              </a:pathLst>
            </a:custGeom>
            <a:solidFill>
              <a:srgbClr val="869FB2"/>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405" name="Google Shape;1405;p103"/>
            <p:cNvSpPr/>
            <p:nvPr/>
          </p:nvSpPr>
          <p:spPr>
            <a:xfrm>
              <a:off x="4960575" y="2539400"/>
              <a:ext cx="5575" cy="4750"/>
            </a:xfrm>
            <a:custGeom>
              <a:avLst/>
              <a:gdLst/>
              <a:ahLst/>
              <a:cxnLst/>
              <a:rect l="l" t="t" r="r" b="b"/>
              <a:pathLst>
                <a:path w="223" h="190" extrusionOk="0">
                  <a:moveTo>
                    <a:pt x="114" y="1"/>
                  </a:moveTo>
                  <a:cubicBezTo>
                    <a:pt x="39" y="1"/>
                    <a:pt x="1" y="104"/>
                    <a:pt x="57" y="160"/>
                  </a:cubicBezTo>
                  <a:cubicBezTo>
                    <a:pt x="75" y="181"/>
                    <a:pt x="99" y="190"/>
                    <a:pt x="122" y="190"/>
                  </a:cubicBezTo>
                  <a:cubicBezTo>
                    <a:pt x="172" y="190"/>
                    <a:pt x="222" y="149"/>
                    <a:pt x="222" y="95"/>
                  </a:cubicBezTo>
                  <a:cubicBezTo>
                    <a:pt x="222" y="37"/>
                    <a:pt x="179" y="1"/>
                    <a:pt x="121" y="1"/>
                  </a:cubicBezTo>
                  <a:cubicBezTo>
                    <a:pt x="119" y="1"/>
                    <a:pt x="116" y="1"/>
                    <a:pt x="114" y="1"/>
                  </a:cubicBezTo>
                  <a:close/>
                </a:path>
              </a:pathLst>
            </a:custGeom>
            <a:solidFill>
              <a:srgbClr val="869FB2"/>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406" name="Google Shape;1406;p103"/>
            <p:cNvSpPr/>
            <p:nvPr/>
          </p:nvSpPr>
          <p:spPr>
            <a:xfrm>
              <a:off x="4960525" y="2547175"/>
              <a:ext cx="5625" cy="4725"/>
            </a:xfrm>
            <a:custGeom>
              <a:avLst/>
              <a:gdLst/>
              <a:ahLst/>
              <a:cxnLst/>
              <a:rect l="l" t="t" r="r" b="b"/>
              <a:pathLst>
                <a:path w="225" h="189" extrusionOk="0">
                  <a:moveTo>
                    <a:pt x="123" y="0"/>
                  </a:moveTo>
                  <a:cubicBezTo>
                    <a:pt x="37" y="0"/>
                    <a:pt x="1" y="101"/>
                    <a:pt x="59" y="159"/>
                  </a:cubicBezTo>
                  <a:cubicBezTo>
                    <a:pt x="79" y="180"/>
                    <a:pt x="103" y="189"/>
                    <a:pt x="126" y="189"/>
                  </a:cubicBezTo>
                  <a:cubicBezTo>
                    <a:pt x="177" y="189"/>
                    <a:pt x="224" y="146"/>
                    <a:pt x="224" y="87"/>
                  </a:cubicBezTo>
                  <a:cubicBezTo>
                    <a:pt x="217" y="36"/>
                    <a:pt x="181" y="0"/>
                    <a:pt x="123" y="0"/>
                  </a:cubicBezTo>
                  <a:close/>
                </a:path>
              </a:pathLst>
            </a:custGeom>
            <a:solidFill>
              <a:srgbClr val="869FB2"/>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407" name="Google Shape;1407;p103"/>
            <p:cNvSpPr/>
            <p:nvPr/>
          </p:nvSpPr>
          <p:spPr>
            <a:xfrm>
              <a:off x="4960525" y="2554750"/>
              <a:ext cx="5625" cy="4825"/>
            </a:xfrm>
            <a:custGeom>
              <a:avLst/>
              <a:gdLst/>
              <a:ahLst/>
              <a:cxnLst/>
              <a:rect l="l" t="t" r="r" b="b"/>
              <a:pathLst>
                <a:path w="225" h="193" extrusionOk="0">
                  <a:moveTo>
                    <a:pt x="123" y="0"/>
                  </a:moveTo>
                  <a:cubicBezTo>
                    <a:pt x="44" y="0"/>
                    <a:pt x="1" y="101"/>
                    <a:pt x="59" y="166"/>
                  </a:cubicBezTo>
                  <a:cubicBezTo>
                    <a:pt x="77" y="184"/>
                    <a:pt x="100" y="192"/>
                    <a:pt x="123" y="192"/>
                  </a:cubicBezTo>
                  <a:cubicBezTo>
                    <a:pt x="173" y="192"/>
                    <a:pt x="224" y="153"/>
                    <a:pt x="224" y="94"/>
                  </a:cubicBezTo>
                  <a:cubicBezTo>
                    <a:pt x="224" y="44"/>
                    <a:pt x="181" y="0"/>
                    <a:pt x="123" y="0"/>
                  </a:cubicBezTo>
                  <a:close/>
                </a:path>
              </a:pathLst>
            </a:custGeom>
            <a:solidFill>
              <a:srgbClr val="869FB2"/>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408" name="Google Shape;1408;p103"/>
            <p:cNvSpPr/>
            <p:nvPr/>
          </p:nvSpPr>
          <p:spPr>
            <a:xfrm>
              <a:off x="4960525" y="2562500"/>
              <a:ext cx="5625" cy="4800"/>
            </a:xfrm>
            <a:custGeom>
              <a:avLst/>
              <a:gdLst/>
              <a:ahLst/>
              <a:cxnLst/>
              <a:rect l="l" t="t" r="r" b="b"/>
              <a:pathLst>
                <a:path w="225" h="192" extrusionOk="0">
                  <a:moveTo>
                    <a:pt x="123" y="0"/>
                  </a:moveTo>
                  <a:cubicBezTo>
                    <a:pt x="37" y="0"/>
                    <a:pt x="1" y="101"/>
                    <a:pt x="59" y="166"/>
                  </a:cubicBezTo>
                  <a:cubicBezTo>
                    <a:pt x="78" y="183"/>
                    <a:pt x="100" y="191"/>
                    <a:pt x="122" y="191"/>
                  </a:cubicBezTo>
                  <a:cubicBezTo>
                    <a:pt x="174" y="191"/>
                    <a:pt x="224" y="148"/>
                    <a:pt x="224" y="87"/>
                  </a:cubicBezTo>
                  <a:cubicBezTo>
                    <a:pt x="217" y="37"/>
                    <a:pt x="181" y="0"/>
                    <a:pt x="123" y="0"/>
                  </a:cubicBezTo>
                  <a:close/>
                </a:path>
              </a:pathLst>
            </a:custGeom>
            <a:solidFill>
              <a:srgbClr val="869FB2"/>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409" name="Google Shape;1409;p103"/>
            <p:cNvSpPr/>
            <p:nvPr/>
          </p:nvSpPr>
          <p:spPr>
            <a:xfrm>
              <a:off x="4960575" y="2570225"/>
              <a:ext cx="5575" cy="4750"/>
            </a:xfrm>
            <a:custGeom>
              <a:avLst/>
              <a:gdLst/>
              <a:ahLst/>
              <a:cxnLst/>
              <a:rect l="l" t="t" r="r" b="b"/>
              <a:pathLst>
                <a:path w="223" h="190" extrusionOk="0">
                  <a:moveTo>
                    <a:pt x="134" y="1"/>
                  </a:moveTo>
                  <a:cubicBezTo>
                    <a:pt x="130" y="1"/>
                    <a:pt x="126" y="1"/>
                    <a:pt x="121" y="2"/>
                  </a:cubicBezTo>
                  <a:cubicBezTo>
                    <a:pt x="119" y="1"/>
                    <a:pt x="116" y="1"/>
                    <a:pt x="113" y="1"/>
                  </a:cubicBezTo>
                  <a:cubicBezTo>
                    <a:pt x="33" y="1"/>
                    <a:pt x="1" y="104"/>
                    <a:pt x="57" y="160"/>
                  </a:cubicBezTo>
                  <a:cubicBezTo>
                    <a:pt x="77" y="181"/>
                    <a:pt x="101" y="190"/>
                    <a:pt x="124" y="190"/>
                  </a:cubicBezTo>
                  <a:cubicBezTo>
                    <a:pt x="175" y="190"/>
                    <a:pt x="222" y="147"/>
                    <a:pt x="222" y="88"/>
                  </a:cubicBezTo>
                  <a:cubicBezTo>
                    <a:pt x="216" y="41"/>
                    <a:pt x="184" y="1"/>
                    <a:pt x="134" y="1"/>
                  </a:cubicBezTo>
                  <a:close/>
                </a:path>
              </a:pathLst>
            </a:custGeom>
            <a:solidFill>
              <a:srgbClr val="869FB2"/>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410" name="Google Shape;1410;p103"/>
            <p:cNvSpPr/>
            <p:nvPr/>
          </p:nvSpPr>
          <p:spPr>
            <a:xfrm>
              <a:off x="4960525" y="2577825"/>
              <a:ext cx="5625" cy="4825"/>
            </a:xfrm>
            <a:custGeom>
              <a:avLst/>
              <a:gdLst/>
              <a:ahLst/>
              <a:cxnLst/>
              <a:rect l="l" t="t" r="r" b="b"/>
              <a:pathLst>
                <a:path w="225" h="193" extrusionOk="0">
                  <a:moveTo>
                    <a:pt x="123" y="1"/>
                  </a:moveTo>
                  <a:cubicBezTo>
                    <a:pt x="44" y="1"/>
                    <a:pt x="1" y="101"/>
                    <a:pt x="59" y="166"/>
                  </a:cubicBezTo>
                  <a:cubicBezTo>
                    <a:pt x="77" y="185"/>
                    <a:pt x="100" y="193"/>
                    <a:pt x="123" y="193"/>
                  </a:cubicBezTo>
                  <a:cubicBezTo>
                    <a:pt x="173" y="193"/>
                    <a:pt x="224" y="154"/>
                    <a:pt x="224" y="94"/>
                  </a:cubicBezTo>
                  <a:cubicBezTo>
                    <a:pt x="224" y="44"/>
                    <a:pt x="181" y="1"/>
                    <a:pt x="123" y="1"/>
                  </a:cubicBezTo>
                  <a:close/>
                </a:path>
              </a:pathLst>
            </a:custGeom>
            <a:solidFill>
              <a:srgbClr val="869FB2"/>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411" name="Google Shape;1411;p103"/>
            <p:cNvSpPr/>
            <p:nvPr/>
          </p:nvSpPr>
          <p:spPr>
            <a:xfrm>
              <a:off x="4952050" y="2531675"/>
              <a:ext cx="5625" cy="4900"/>
            </a:xfrm>
            <a:custGeom>
              <a:avLst/>
              <a:gdLst/>
              <a:ahLst/>
              <a:cxnLst/>
              <a:rect l="l" t="t" r="r" b="b"/>
              <a:pathLst>
                <a:path w="225" h="196" extrusionOk="0">
                  <a:moveTo>
                    <a:pt x="131" y="0"/>
                  </a:moveTo>
                  <a:cubicBezTo>
                    <a:pt x="44" y="0"/>
                    <a:pt x="1" y="108"/>
                    <a:pt x="59" y="166"/>
                  </a:cubicBezTo>
                  <a:cubicBezTo>
                    <a:pt x="79" y="187"/>
                    <a:pt x="103" y="195"/>
                    <a:pt x="126" y="195"/>
                  </a:cubicBezTo>
                  <a:cubicBezTo>
                    <a:pt x="177" y="195"/>
                    <a:pt x="224" y="153"/>
                    <a:pt x="224" y="94"/>
                  </a:cubicBezTo>
                  <a:cubicBezTo>
                    <a:pt x="217" y="43"/>
                    <a:pt x="181" y="0"/>
                    <a:pt x="131" y="0"/>
                  </a:cubicBezTo>
                  <a:close/>
                </a:path>
              </a:pathLst>
            </a:custGeom>
            <a:solidFill>
              <a:srgbClr val="869FB2"/>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412" name="Google Shape;1412;p103"/>
            <p:cNvSpPr/>
            <p:nvPr/>
          </p:nvSpPr>
          <p:spPr>
            <a:xfrm>
              <a:off x="4952100" y="2539400"/>
              <a:ext cx="5575" cy="4750"/>
            </a:xfrm>
            <a:custGeom>
              <a:avLst/>
              <a:gdLst/>
              <a:ahLst/>
              <a:cxnLst/>
              <a:rect l="l" t="t" r="r" b="b"/>
              <a:pathLst>
                <a:path w="223" h="190" extrusionOk="0">
                  <a:moveTo>
                    <a:pt x="120" y="1"/>
                  </a:moveTo>
                  <a:cubicBezTo>
                    <a:pt x="39" y="1"/>
                    <a:pt x="1" y="104"/>
                    <a:pt x="57" y="160"/>
                  </a:cubicBezTo>
                  <a:cubicBezTo>
                    <a:pt x="77" y="181"/>
                    <a:pt x="102" y="190"/>
                    <a:pt x="125" y="190"/>
                  </a:cubicBezTo>
                  <a:cubicBezTo>
                    <a:pt x="176" y="190"/>
                    <a:pt x="222" y="149"/>
                    <a:pt x="222" y="95"/>
                  </a:cubicBezTo>
                  <a:cubicBezTo>
                    <a:pt x="222" y="37"/>
                    <a:pt x="179" y="1"/>
                    <a:pt x="129" y="1"/>
                  </a:cubicBezTo>
                  <a:cubicBezTo>
                    <a:pt x="126" y="1"/>
                    <a:pt x="123" y="1"/>
                    <a:pt x="120" y="1"/>
                  </a:cubicBezTo>
                  <a:close/>
                </a:path>
              </a:pathLst>
            </a:custGeom>
            <a:solidFill>
              <a:srgbClr val="869FB2"/>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413" name="Google Shape;1413;p103"/>
            <p:cNvSpPr/>
            <p:nvPr/>
          </p:nvSpPr>
          <p:spPr>
            <a:xfrm>
              <a:off x="4952050" y="2547175"/>
              <a:ext cx="5625" cy="4725"/>
            </a:xfrm>
            <a:custGeom>
              <a:avLst/>
              <a:gdLst/>
              <a:ahLst/>
              <a:cxnLst/>
              <a:rect l="l" t="t" r="r" b="b"/>
              <a:pathLst>
                <a:path w="225" h="189" extrusionOk="0">
                  <a:moveTo>
                    <a:pt x="131" y="0"/>
                  </a:moveTo>
                  <a:cubicBezTo>
                    <a:pt x="44" y="0"/>
                    <a:pt x="1" y="101"/>
                    <a:pt x="59" y="159"/>
                  </a:cubicBezTo>
                  <a:cubicBezTo>
                    <a:pt x="79" y="180"/>
                    <a:pt x="103" y="189"/>
                    <a:pt x="126" y="189"/>
                  </a:cubicBezTo>
                  <a:cubicBezTo>
                    <a:pt x="177" y="189"/>
                    <a:pt x="224" y="146"/>
                    <a:pt x="224" y="87"/>
                  </a:cubicBezTo>
                  <a:cubicBezTo>
                    <a:pt x="217" y="36"/>
                    <a:pt x="181" y="0"/>
                    <a:pt x="131" y="0"/>
                  </a:cubicBezTo>
                  <a:close/>
                </a:path>
              </a:pathLst>
            </a:custGeom>
            <a:solidFill>
              <a:srgbClr val="869FB2"/>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414" name="Google Shape;1414;p103"/>
            <p:cNvSpPr/>
            <p:nvPr/>
          </p:nvSpPr>
          <p:spPr>
            <a:xfrm>
              <a:off x="4952050" y="2554750"/>
              <a:ext cx="5625" cy="4825"/>
            </a:xfrm>
            <a:custGeom>
              <a:avLst/>
              <a:gdLst/>
              <a:ahLst/>
              <a:cxnLst/>
              <a:rect l="l" t="t" r="r" b="b"/>
              <a:pathLst>
                <a:path w="225" h="193" extrusionOk="0">
                  <a:moveTo>
                    <a:pt x="131" y="0"/>
                  </a:moveTo>
                  <a:cubicBezTo>
                    <a:pt x="44" y="0"/>
                    <a:pt x="1" y="101"/>
                    <a:pt x="59" y="166"/>
                  </a:cubicBezTo>
                  <a:cubicBezTo>
                    <a:pt x="79" y="184"/>
                    <a:pt x="103" y="192"/>
                    <a:pt x="126" y="192"/>
                  </a:cubicBezTo>
                  <a:cubicBezTo>
                    <a:pt x="177" y="192"/>
                    <a:pt x="224" y="153"/>
                    <a:pt x="224" y="94"/>
                  </a:cubicBezTo>
                  <a:cubicBezTo>
                    <a:pt x="224" y="44"/>
                    <a:pt x="181" y="0"/>
                    <a:pt x="131" y="0"/>
                  </a:cubicBezTo>
                  <a:close/>
                </a:path>
              </a:pathLst>
            </a:custGeom>
            <a:solidFill>
              <a:srgbClr val="869FB2"/>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415" name="Google Shape;1415;p103"/>
            <p:cNvSpPr/>
            <p:nvPr/>
          </p:nvSpPr>
          <p:spPr>
            <a:xfrm>
              <a:off x="4952050" y="2562500"/>
              <a:ext cx="5625" cy="4800"/>
            </a:xfrm>
            <a:custGeom>
              <a:avLst/>
              <a:gdLst/>
              <a:ahLst/>
              <a:cxnLst/>
              <a:rect l="l" t="t" r="r" b="b"/>
              <a:pathLst>
                <a:path w="225" h="192" extrusionOk="0">
                  <a:moveTo>
                    <a:pt x="131" y="0"/>
                  </a:moveTo>
                  <a:cubicBezTo>
                    <a:pt x="44" y="0"/>
                    <a:pt x="1" y="101"/>
                    <a:pt x="59" y="166"/>
                  </a:cubicBezTo>
                  <a:cubicBezTo>
                    <a:pt x="78" y="183"/>
                    <a:pt x="100" y="191"/>
                    <a:pt x="122" y="191"/>
                  </a:cubicBezTo>
                  <a:cubicBezTo>
                    <a:pt x="174" y="191"/>
                    <a:pt x="224" y="148"/>
                    <a:pt x="224" y="87"/>
                  </a:cubicBezTo>
                  <a:cubicBezTo>
                    <a:pt x="217" y="37"/>
                    <a:pt x="181" y="0"/>
                    <a:pt x="131" y="0"/>
                  </a:cubicBezTo>
                  <a:close/>
                </a:path>
              </a:pathLst>
            </a:custGeom>
            <a:solidFill>
              <a:srgbClr val="869FB2"/>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416" name="Google Shape;1416;p103"/>
            <p:cNvSpPr/>
            <p:nvPr/>
          </p:nvSpPr>
          <p:spPr>
            <a:xfrm>
              <a:off x="4952100" y="2570225"/>
              <a:ext cx="5575" cy="4750"/>
            </a:xfrm>
            <a:custGeom>
              <a:avLst/>
              <a:gdLst/>
              <a:ahLst/>
              <a:cxnLst/>
              <a:rect l="l" t="t" r="r" b="b"/>
              <a:pathLst>
                <a:path w="223" h="190" extrusionOk="0">
                  <a:moveTo>
                    <a:pt x="140" y="1"/>
                  </a:moveTo>
                  <a:cubicBezTo>
                    <a:pt x="136" y="1"/>
                    <a:pt x="132" y="1"/>
                    <a:pt x="129" y="2"/>
                  </a:cubicBezTo>
                  <a:cubicBezTo>
                    <a:pt x="126" y="1"/>
                    <a:pt x="123" y="1"/>
                    <a:pt x="120" y="1"/>
                  </a:cubicBezTo>
                  <a:cubicBezTo>
                    <a:pt x="39" y="1"/>
                    <a:pt x="1" y="104"/>
                    <a:pt x="57" y="160"/>
                  </a:cubicBezTo>
                  <a:cubicBezTo>
                    <a:pt x="77" y="181"/>
                    <a:pt x="101" y="190"/>
                    <a:pt x="124" y="190"/>
                  </a:cubicBezTo>
                  <a:cubicBezTo>
                    <a:pt x="175" y="190"/>
                    <a:pt x="222" y="147"/>
                    <a:pt x="222" y="88"/>
                  </a:cubicBezTo>
                  <a:cubicBezTo>
                    <a:pt x="216" y="41"/>
                    <a:pt x="184" y="1"/>
                    <a:pt x="140" y="1"/>
                  </a:cubicBezTo>
                  <a:close/>
                </a:path>
              </a:pathLst>
            </a:custGeom>
            <a:solidFill>
              <a:srgbClr val="869FB2"/>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417" name="Google Shape;1417;p103"/>
            <p:cNvSpPr/>
            <p:nvPr/>
          </p:nvSpPr>
          <p:spPr>
            <a:xfrm>
              <a:off x="4952050" y="2577825"/>
              <a:ext cx="5625" cy="4825"/>
            </a:xfrm>
            <a:custGeom>
              <a:avLst/>
              <a:gdLst/>
              <a:ahLst/>
              <a:cxnLst/>
              <a:rect l="l" t="t" r="r" b="b"/>
              <a:pathLst>
                <a:path w="225" h="193" extrusionOk="0">
                  <a:moveTo>
                    <a:pt x="131" y="1"/>
                  </a:moveTo>
                  <a:cubicBezTo>
                    <a:pt x="44" y="1"/>
                    <a:pt x="1" y="101"/>
                    <a:pt x="59" y="166"/>
                  </a:cubicBezTo>
                  <a:cubicBezTo>
                    <a:pt x="79" y="185"/>
                    <a:pt x="103" y="193"/>
                    <a:pt x="126" y="193"/>
                  </a:cubicBezTo>
                  <a:cubicBezTo>
                    <a:pt x="177" y="193"/>
                    <a:pt x="224" y="154"/>
                    <a:pt x="224" y="94"/>
                  </a:cubicBezTo>
                  <a:cubicBezTo>
                    <a:pt x="224" y="44"/>
                    <a:pt x="181" y="1"/>
                    <a:pt x="131" y="1"/>
                  </a:cubicBezTo>
                  <a:close/>
                </a:path>
              </a:pathLst>
            </a:custGeom>
            <a:solidFill>
              <a:srgbClr val="869FB2"/>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418" name="Google Shape;1418;p103"/>
            <p:cNvSpPr/>
            <p:nvPr/>
          </p:nvSpPr>
          <p:spPr>
            <a:xfrm>
              <a:off x="4943575" y="2531675"/>
              <a:ext cx="5750" cy="4900"/>
            </a:xfrm>
            <a:custGeom>
              <a:avLst/>
              <a:gdLst/>
              <a:ahLst/>
              <a:cxnLst/>
              <a:rect l="l" t="t" r="r" b="b"/>
              <a:pathLst>
                <a:path w="230" h="196" extrusionOk="0">
                  <a:moveTo>
                    <a:pt x="131" y="0"/>
                  </a:moveTo>
                  <a:cubicBezTo>
                    <a:pt x="44" y="0"/>
                    <a:pt x="1" y="108"/>
                    <a:pt x="66" y="166"/>
                  </a:cubicBezTo>
                  <a:cubicBezTo>
                    <a:pt x="84" y="187"/>
                    <a:pt x="107" y="195"/>
                    <a:pt x="130" y="195"/>
                  </a:cubicBezTo>
                  <a:cubicBezTo>
                    <a:pt x="180" y="195"/>
                    <a:pt x="229" y="153"/>
                    <a:pt x="224" y="94"/>
                  </a:cubicBezTo>
                  <a:cubicBezTo>
                    <a:pt x="224" y="43"/>
                    <a:pt x="181" y="0"/>
                    <a:pt x="131" y="0"/>
                  </a:cubicBezTo>
                  <a:close/>
                </a:path>
              </a:pathLst>
            </a:custGeom>
            <a:solidFill>
              <a:srgbClr val="869FB2"/>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419" name="Google Shape;1419;p103"/>
            <p:cNvSpPr/>
            <p:nvPr/>
          </p:nvSpPr>
          <p:spPr>
            <a:xfrm>
              <a:off x="4943625" y="2539400"/>
              <a:ext cx="5575" cy="4750"/>
            </a:xfrm>
            <a:custGeom>
              <a:avLst/>
              <a:gdLst/>
              <a:ahLst/>
              <a:cxnLst/>
              <a:rect l="l" t="t" r="r" b="b"/>
              <a:pathLst>
                <a:path w="223" h="190" extrusionOk="0">
                  <a:moveTo>
                    <a:pt x="121" y="1"/>
                  </a:moveTo>
                  <a:cubicBezTo>
                    <a:pt x="39" y="1"/>
                    <a:pt x="1" y="104"/>
                    <a:pt x="57" y="160"/>
                  </a:cubicBezTo>
                  <a:cubicBezTo>
                    <a:pt x="77" y="181"/>
                    <a:pt x="102" y="190"/>
                    <a:pt x="125" y="190"/>
                  </a:cubicBezTo>
                  <a:cubicBezTo>
                    <a:pt x="176" y="190"/>
                    <a:pt x="222" y="149"/>
                    <a:pt x="222" y="95"/>
                  </a:cubicBezTo>
                  <a:cubicBezTo>
                    <a:pt x="222" y="37"/>
                    <a:pt x="179" y="1"/>
                    <a:pt x="129" y="1"/>
                  </a:cubicBezTo>
                  <a:cubicBezTo>
                    <a:pt x="126" y="1"/>
                    <a:pt x="123" y="1"/>
                    <a:pt x="121" y="1"/>
                  </a:cubicBezTo>
                  <a:close/>
                </a:path>
              </a:pathLst>
            </a:custGeom>
            <a:solidFill>
              <a:srgbClr val="869FB2"/>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420" name="Google Shape;1420;p103"/>
            <p:cNvSpPr/>
            <p:nvPr/>
          </p:nvSpPr>
          <p:spPr>
            <a:xfrm>
              <a:off x="4943575" y="2547175"/>
              <a:ext cx="5750" cy="4725"/>
            </a:xfrm>
            <a:custGeom>
              <a:avLst/>
              <a:gdLst/>
              <a:ahLst/>
              <a:cxnLst/>
              <a:rect l="l" t="t" r="r" b="b"/>
              <a:pathLst>
                <a:path w="230" h="189" extrusionOk="0">
                  <a:moveTo>
                    <a:pt x="131" y="0"/>
                  </a:moveTo>
                  <a:cubicBezTo>
                    <a:pt x="44" y="0"/>
                    <a:pt x="1" y="101"/>
                    <a:pt x="66" y="159"/>
                  </a:cubicBezTo>
                  <a:cubicBezTo>
                    <a:pt x="84" y="180"/>
                    <a:pt x="107" y="189"/>
                    <a:pt x="130" y="189"/>
                  </a:cubicBezTo>
                  <a:cubicBezTo>
                    <a:pt x="180" y="189"/>
                    <a:pt x="229" y="146"/>
                    <a:pt x="224" y="87"/>
                  </a:cubicBezTo>
                  <a:cubicBezTo>
                    <a:pt x="224" y="36"/>
                    <a:pt x="181" y="0"/>
                    <a:pt x="131" y="0"/>
                  </a:cubicBezTo>
                  <a:close/>
                </a:path>
              </a:pathLst>
            </a:custGeom>
            <a:solidFill>
              <a:srgbClr val="869FB2"/>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421" name="Google Shape;1421;p103"/>
            <p:cNvSpPr/>
            <p:nvPr/>
          </p:nvSpPr>
          <p:spPr>
            <a:xfrm>
              <a:off x="4943575" y="2554750"/>
              <a:ext cx="5625" cy="4825"/>
            </a:xfrm>
            <a:custGeom>
              <a:avLst/>
              <a:gdLst/>
              <a:ahLst/>
              <a:cxnLst/>
              <a:rect l="l" t="t" r="r" b="b"/>
              <a:pathLst>
                <a:path w="225" h="193" extrusionOk="0">
                  <a:moveTo>
                    <a:pt x="131" y="0"/>
                  </a:moveTo>
                  <a:cubicBezTo>
                    <a:pt x="44" y="0"/>
                    <a:pt x="1" y="101"/>
                    <a:pt x="59" y="166"/>
                  </a:cubicBezTo>
                  <a:cubicBezTo>
                    <a:pt x="79" y="184"/>
                    <a:pt x="103" y="192"/>
                    <a:pt x="126" y="192"/>
                  </a:cubicBezTo>
                  <a:cubicBezTo>
                    <a:pt x="177" y="192"/>
                    <a:pt x="224" y="153"/>
                    <a:pt x="224" y="94"/>
                  </a:cubicBezTo>
                  <a:cubicBezTo>
                    <a:pt x="224" y="44"/>
                    <a:pt x="181" y="0"/>
                    <a:pt x="131" y="0"/>
                  </a:cubicBezTo>
                  <a:close/>
                </a:path>
              </a:pathLst>
            </a:custGeom>
            <a:solidFill>
              <a:srgbClr val="869FB2"/>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422" name="Google Shape;1422;p103"/>
            <p:cNvSpPr/>
            <p:nvPr/>
          </p:nvSpPr>
          <p:spPr>
            <a:xfrm>
              <a:off x="4943575" y="2562500"/>
              <a:ext cx="5750" cy="4800"/>
            </a:xfrm>
            <a:custGeom>
              <a:avLst/>
              <a:gdLst/>
              <a:ahLst/>
              <a:cxnLst/>
              <a:rect l="l" t="t" r="r" b="b"/>
              <a:pathLst>
                <a:path w="230" h="192" extrusionOk="0">
                  <a:moveTo>
                    <a:pt x="131" y="0"/>
                  </a:moveTo>
                  <a:cubicBezTo>
                    <a:pt x="44" y="0"/>
                    <a:pt x="1" y="101"/>
                    <a:pt x="66" y="166"/>
                  </a:cubicBezTo>
                  <a:cubicBezTo>
                    <a:pt x="83" y="183"/>
                    <a:pt x="104" y="191"/>
                    <a:pt x="126" y="191"/>
                  </a:cubicBezTo>
                  <a:cubicBezTo>
                    <a:pt x="177" y="191"/>
                    <a:pt x="230" y="148"/>
                    <a:pt x="224" y="87"/>
                  </a:cubicBezTo>
                  <a:cubicBezTo>
                    <a:pt x="224" y="37"/>
                    <a:pt x="181" y="0"/>
                    <a:pt x="131" y="0"/>
                  </a:cubicBezTo>
                  <a:close/>
                </a:path>
              </a:pathLst>
            </a:custGeom>
            <a:solidFill>
              <a:srgbClr val="869FB2"/>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423" name="Google Shape;1423;p103"/>
            <p:cNvSpPr/>
            <p:nvPr/>
          </p:nvSpPr>
          <p:spPr>
            <a:xfrm>
              <a:off x="4943625" y="2570225"/>
              <a:ext cx="5700" cy="4750"/>
            </a:xfrm>
            <a:custGeom>
              <a:avLst/>
              <a:gdLst/>
              <a:ahLst/>
              <a:cxnLst/>
              <a:rect l="l" t="t" r="r" b="b"/>
              <a:pathLst>
                <a:path w="228" h="190" extrusionOk="0">
                  <a:moveTo>
                    <a:pt x="140" y="1"/>
                  </a:moveTo>
                  <a:cubicBezTo>
                    <a:pt x="136" y="1"/>
                    <a:pt x="132" y="1"/>
                    <a:pt x="129" y="2"/>
                  </a:cubicBezTo>
                  <a:cubicBezTo>
                    <a:pt x="126" y="1"/>
                    <a:pt x="123" y="1"/>
                    <a:pt x="121" y="1"/>
                  </a:cubicBezTo>
                  <a:cubicBezTo>
                    <a:pt x="39" y="1"/>
                    <a:pt x="1" y="104"/>
                    <a:pt x="64" y="160"/>
                  </a:cubicBezTo>
                  <a:cubicBezTo>
                    <a:pt x="82" y="181"/>
                    <a:pt x="105" y="190"/>
                    <a:pt x="128" y="190"/>
                  </a:cubicBezTo>
                  <a:cubicBezTo>
                    <a:pt x="178" y="190"/>
                    <a:pt x="227" y="147"/>
                    <a:pt x="222" y="88"/>
                  </a:cubicBezTo>
                  <a:cubicBezTo>
                    <a:pt x="222" y="41"/>
                    <a:pt x="185" y="1"/>
                    <a:pt x="140" y="1"/>
                  </a:cubicBezTo>
                  <a:close/>
                </a:path>
              </a:pathLst>
            </a:custGeom>
            <a:solidFill>
              <a:srgbClr val="869FB2"/>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424" name="Google Shape;1424;p103"/>
            <p:cNvSpPr/>
            <p:nvPr/>
          </p:nvSpPr>
          <p:spPr>
            <a:xfrm>
              <a:off x="4943575" y="2577825"/>
              <a:ext cx="5625" cy="4825"/>
            </a:xfrm>
            <a:custGeom>
              <a:avLst/>
              <a:gdLst/>
              <a:ahLst/>
              <a:cxnLst/>
              <a:rect l="l" t="t" r="r" b="b"/>
              <a:pathLst>
                <a:path w="225" h="193" extrusionOk="0">
                  <a:moveTo>
                    <a:pt x="131" y="1"/>
                  </a:moveTo>
                  <a:cubicBezTo>
                    <a:pt x="44" y="1"/>
                    <a:pt x="1" y="101"/>
                    <a:pt x="59" y="166"/>
                  </a:cubicBezTo>
                  <a:cubicBezTo>
                    <a:pt x="79" y="185"/>
                    <a:pt x="103" y="193"/>
                    <a:pt x="126" y="193"/>
                  </a:cubicBezTo>
                  <a:cubicBezTo>
                    <a:pt x="177" y="193"/>
                    <a:pt x="224" y="154"/>
                    <a:pt x="224" y="94"/>
                  </a:cubicBezTo>
                  <a:cubicBezTo>
                    <a:pt x="224" y="44"/>
                    <a:pt x="181" y="1"/>
                    <a:pt x="131" y="1"/>
                  </a:cubicBezTo>
                  <a:close/>
                </a:path>
              </a:pathLst>
            </a:custGeom>
            <a:solidFill>
              <a:srgbClr val="869FB2"/>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sp>
        <p:nvSpPr>
          <p:cNvPr id="1425" name="Google Shape;1425;p103"/>
          <p:cNvSpPr/>
          <p:nvPr/>
        </p:nvSpPr>
        <p:spPr>
          <a:xfrm>
            <a:off x="10330144" y="4568089"/>
            <a:ext cx="232449" cy="232449"/>
          </a:xfrm>
          <a:custGeom>
            <a:avLst/>
            <a:gdLst/>
            <a:ahLst/>
            <a:cxnLst/>
            <a:rect l="l" t="t" r="r" b="b"/>
            <a:pathLst>
              <a:path w="208163" h="208163" extrusionOk="0">
                <a:moveTo>
                  <a:pt x="79632" y="48546"/>
                </a:moveTo>
                <a:cubicBezTo>
                  <a:pt x="80399" y="48546"/>
                  <a:pt x="81191" y="48783"/>
                  <a:pt x="81877" y="49126"/>
                </a:cubicBezTo>
                <a:lnTo>
                  <a:pt x="158203" y="101306"/>
                </a:lnTo>
                <a:cubicBezTo>
                  <a:pt x="159036" y="101861"/>
                  <a:pt x="159591" y="102971"/>
                  <a:pt x="159591" y="104081"/>
                </a:cubicBezTo>
                <a:cubicBezTo>
                  <a:pt x="159591" y="105191"/>
                  <a:pt x="159036" y="106302"/>
                  <a:pt x="158203" y="106857"/>
                </a:cubicBezTo>
                <a:lnTo>
                  <a:pt x="81877" y="159036"/>
                </a:lnTo>
                <a:cubicBezTo>
                  <a:pt x="81045" y="159314"/>
                  <a:pt x="80489" y="159591"/>
                  <a:pt x="79934" y="159591"/>
                </a:cubicBezTo>
                <a:cubicBezTo>
                  <a:pt x="79379" y="159591"/>
                  <a:pt x="78547" y="159591"/>
                  <a:pt x="78269" y="159314"/>
                </a:cubicBezTo>
                <a:cubicBezTo>
                  <a:pt x="77159" y="158481"/>
                  <a:pt x="76326" y="157371"/>
                  <a:pt x="76326" y="156260"/>
                </a:cubicBezTo>
                <a:lnTo>
                  <a:pt x="76326" y="52179"/>
                </a:lnTo>
                <a:cubicBezTo>
                  <a:pt x="76326" y="50792"/>
                  <a:pt x="77159" y="49681"/>
                  <a:pt x="78269" y="48849"/>
                </a:cubicBezTo>
                <a:cubicBezTo>
                  <a:pt x="78693" y="48637"/>
                  <a:pt x="79158" y="48546"/>
                  <a:pt x="79632" y="48546"/>
                </a:cubicBezTo>
                <a:close/>
                <a:moveTo>
                  <a:pt x="104081" y="0"/>
                </a:moveTo>
                <a:cubicBezTo>
                  <a:pt x="46628" y="0"/>
                  <a:pt x="0" y="46628"/>
                  <a:pt x="0" y="104081"/>
                </a:cubicBezTo>
                <a:cubicBezTo>
                  <a:pt x="0" y="161534"/>
                  <a:pt x="46628" y="208162"/>
                  <a:pt x="104081" y="208162"/>
                </a:cubicBezTo>
                <a:cubicBezTo>
                  <a:pt x="161534" y="208162"/>
                  <a:pt x="208162" y="161534"/>
                  <a:pt x="208162" y="104081"/>
                </a:cubicBezTo>
                <a:cubicBezTo>
                  <a:pt x="208162" y="46628"/>
                  <a:pt x="161534" y="0"/>
                  <a:pt x="104081" y="0"/>
                </a:cubicBezTo>
                <a:close/>
              </a:path>
            </a:pathLst>
          </a:custGeom>
          <a:noFill/>
          <a:ln w="9525" cap="flat" cmpd="sng">
            <a:solidFill>
              <a:srgbClr val="869FB2"/>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426" name="Google Shape;1426;p103"/>
          <p:cNvSpPr/>
          <p:nvPr/>
        </p:nvSpPr>
        <p:spPr>
          <a:xfrm>
            <a:off x="10751819" y="4606513"/>
            <a:ext cx="198000" cy="155600"/>
          </a:xfrm>
          <a:prstGeom prst="stripedRightArrow">
            <a:avLst>
              <a:gd name="adj1" fmla="val 50000"/>
              <a:gd name="adj2" fmla="val 50000"/>
            </a:avLst>
          </a:prstGeom>
          <a:solidFill>
            <a:srgbClr val="869FB2"/>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427" name="Google Shape;1427;p103"/>
          <p:cNvSpPr/>
          <p:nvPr/>
        </p:nvSpPr>
        <p:spPr>
          <a:xfrm>
            <a:off x="9554637" y="3701096"/>
            <a:ext cx="157600" cy="157600"/>
          </a:xfrm>
          <a:prstGeom prst="curvedRightArrow">
            <a:avLst>
              <a:gd name="adj1" fmla="val 25000"/>
              <a:gd name="adj2" fmla="val 50000"/>
              <a:gd name="adj3" fmla="val 25000"/>
            </a:avLst>
          </a:prstGeom>
          <a:noFill/>
          <a:ln w="9525" cap="flat" cmpd="sng">
            <a:solidFill>
              <a:srgbClr val="869FB2"/>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428" name="Google Shape;1428;p103"/>
          <p:cNvSpPr/>
          <p:nvPr/>
        </p:nvSpPr>
        <p:spPr>
          <a:xfrm flipH="1">
            <a:off x="9964459" y="3701096"/>
            <a:ext cx="157600" cy="157600"/>
          </a:xfrm>
          <a:prstGeom prst="curvedRightArrow">
            <a:avLst>
              <a:gd name="adj1" fmla="val 25000"/>
              <a:gd name="adj2" fmla="val 50000"/>
              <a:gd name="adj3" fmla="val 25000"/>
            </a:avLst>
          </a:prstGeom>
          <a:noFill/>
          <a:ln w="9525" cap="flat" cmpd="sng">
            <a:solidFill>
              <a:srgbClr val="869FB2"/>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429" name="Google Shape;1429;p103"/>
          <p:cNvSpPr txBox="1">
            <a:spLocks noGrp="1"/>
          </p:cNvSpPr>
          <p:nvPr>
            <p:ph type="title" idx="4294967295"/>
          </p:nvPr>
        </p:nvSpPr>
        <p:spPr>
          <a:xfrm>
            <a:off x="1424133" y="1244600"/>
            <a:ext cx="9396400" cy="643200"/>
          </a:xfrm>
          <a:prstGeom prst="rect">
            <a:avLst/>
          </a:prstGeom>
        </p:spPr>
        <p:txBody>
          <a:bodyPr spcFirstLastPara="1" wrap="square" lIns="121900" tIns="121900" rIns="121900" bIns="121900" anchor="t" anchorCtr="0">
            <a:noAutofit/>
          </a:bodyPr>
          <a:lstStyle/>
          <a:p>
            <a:pPr>
              <a:buClr>
                <a:schemeClr val="dk1"/>
              </a:buClr>
              <a:buSzPts val="1100"/>
            </a:pPr>
            <a:r>
              <a:rPr lang="en">
                <a:solidFill>
                  <a:schemeClr val="lt1"/>
                </a:solidFill>
                <a:latin typeface="Arial"/>
                <a:ea typeface="Arial"/>
                <a:cs typeface="Arial"/>
                <a:sym typeface="Arial"/>
              </a:rPr>
              <a:t>Use our editable graphic resources...</a:t>
            </a:r>
            <a:endParaRPr>
              <a:solidFill>
                <a:srgbClr val="FFFFFF"/>
              </a:solidFill>
              <a:latin typeface="Arial"/>
              <a:ea typeface="Arial"/>
              <a:cs typeface="Arial"/>
              <a:sym typeface="Arial"/>
            </a:endParaRPr>
          </a:p>
        </p:txBody>
      </p:sp>
    </p:spTree>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Shape 1433"/>
        <p:cNvGrpSpPr/>
        <p:nvPr/>
      </p:nvGrpSpPr>
      <p:grpSpPr>
        <a:xfrm>
          <a:off x="0" y="0"/>
          <a:ext cx="0" cy="0"/>
          <a:chOff x="0" y="0"/>
          <a:chExt cx="0" cy="0"/>
        </a:xfrm>
      </p:grpSpPr>
      <p:grpSp>
        <p:nvGrpSpPr>
          <p:cNvPr id="1434" name="Google Shape;1434;p104"/>
          <p:cNvGrpSpPr/>
          <p:nvPr/>
        </p:nvGrpSpPr>
        <p:grpSpPr>
          <a:xfrm>
            <a:off x="4857268" y="1568987"/>
            <a:ext cx="2770909" cy="1822077"/>
            <a:chOff x="235800" y="830650"/>
            <a:chExt cx="6978450" cy="4588844"/>
          </a:xfrm>
        </p:grpSpPr>
        <p:sp>
          <p:nvSpPr>
            <p:cNvPr id="1435" name="Google Shape;1435;p104"/>
            <p:cNvSpPr/>
            <p:nvPr/>
          </p:nvSpPr>
          <p:spPr>
            <a:xfrm>
              <a:off x="235800" y="1224769"/>
              <a:ext cx="2592225" cy="4194725"/>
            </a:xfrm>
            <a:custGeom>
              <a:avLst/>
              <a:gdLst/>
              <a:ahLst/>
              <a:cxnLst/>
              <a:rect l="l" t="t" r="r" b="b"/>
              <a:pathLst>
                <a:path w="103689" h="167789" extrusionOk="0">
                  <a:moveTo>
                    <a:pt x="13807" y="0"/>
                  </a:moveTo>
                  <a:cubicBezTo>
                    <a:pt x="11526" y="0"/>
                    <a:pt x="9194" y="921"/>
                    <a:pt x="7431" y="2357"/>
                  </a:cubicBezTo>
                  <a:cubicBezTo>
                    <a:pt x="6418" y="3183"/>
                    <a:pt x="7559" y="5231"/>
                    <a:pt x="8433" y="6203"/>
                  </a:cubicBezTo>
                  <a:cubicBezTo>
                    <a:pt x="9308" y="7175"/>
                    <a:pt x="10393" y="8259"/>
                    <a:pt x="10189" y="9549"/>
                  </a:cubicBezTo>
                  <a:cubicBezTo>
                    <a:pt x="9355" y="9975"/>
                    <a:pt x="8287" y="10084"/>
                    <a:pt x="7292" y="10084"/>
                  </a:cubicBezTo>
                  <a:cubicBezTo>
                    <a:pt x="7024" y="10084"/>
                    <a:pt x="6762" y="10076"/>
                    <a:pt x="6511" y="10065"/>
                  </a:cubicBezTo>
                  <a:cubicBezTo>
                    <a:pt x="6102" y="10046"/>
                    <a:pt x="5686" y="9992"/>
                    <a:pt x="5277" y="9992"/>
                  </a:cubicBezTo>
                  <a:cubicBezTo>
                    <a:pt x="4990" y="9992"/>
                    <a:pt x="4705" y="10019"/>
                    <a:pt x="4430" y="10104"/>
                  </a:cubicBezTo>
                  <a:cubicBezTo>
                    <a:pt x="3763" y="10310"/>
                    <a:pt x="3182" y="11034"/>
                    <a:pt x="3440" y="11683"/>
                  </a:cubicBezTo>
                  <a:cubicBezTo>
                    <a:pt x="2981" y="12481"/>
                    <a:pt x="2431" y="12899"/>
                    <a:pt x="2962" y="13650"/>
                  </a:cubicBezTo>
                  <a:cubicBezTo>
                    <a:pt x="3377" y="14235"/>
                    <a:pt x="4081" y="14716"/>
                    <a:pt x="4076" y="15434"/>
                  </a:cubicBezTo>
                  <a:cubicBezTo>
                    <a:pt x="4071" y="16003"/>
                    <a:pt x="3591" y="16462"/>
                    <a:pt x="3082" y="16719"/>
                  </a:cubicBezTo>
                  <a:cubicBezTo>
                    <a:pt x="2572" y="16973"/>
                    <a:pt x="2000" y="17102"/>
                    <a:pt x="1518" y="17408"/>
                  </a:cubicBezTo>
                  <a:cubicBezTo>
                    <a:pt x="13" y="18366"/>
                    <a:pt x="0" y="20519"/>
                    <a:pt x="159" y="22295"/>
                  </a:cubicBezTo>
                  <a:cubicBezTo>
                    <a:pt x="1133" y="23491"/>
                    <a:pt x="1285" y="25550"/>
                    <a:pt x="817" y="27017"/>
                  </a:cubicBezTo>
                  <a:cubicBezTo>
                    <a:pt x="639" y="27577"/>
                    <a:pt x="351" y="28172"/>
                    <a:pt x="552" y="28724"/>
                  </a:cubicBezTo>
                  <a:cubicBezTo>
                    <a:pt x="782" y="29356"/>
                    <a:pt x="1526" y="29605"/>
                    <a:pt x="2177" y="29773"/>
                  </a:cubicBezTo>
                  <a:cubicBezTo>
                    <a:pt x="2891" y="29958"/>
                    <a:pt x="3669" y="30130"/>
                    <a:pt x="4408" y="30130"/>
                  </a:cubicBezTo>
                  <a:cubicBezTo>
                    <a:pt x="5109" y="30130"/>
                    <a:pt x="5775" y="29975"/>
                    <a:pt x="6314" y="29528"/>
                  </a:cubicBezTo>
                  <a:cubicBezTo>
                    <a:pt x="7583" y="28478"/>
                    <a:pt x="9157" y="28121"/>
                    <a:pt x="10834" y="28121"/>
                  </a:cubicBezTo>
                  <a:cubicBezTo>
                    <a:pt x="13016" y="28121"/>
                    <a:pt x="15374" y="28725"/>
                    <a:pt x="17464" y="29196"/>
                  </a:cubicBezTo>
                  <a:cubicBezTo>
                    <a:pt x="18740" y="29482"/>
                    <a:pt x="20083" y="29952"/>
                    <a:pt x="20830" y="31028"/>
                  </a:cubicBezTo>
                  <a:cubicBezTo>
                    <a:pt x="21824" y="32461"/>
                    <a:pt x="21400" y="34451"/>
                    <a:pt x="20580" y="35993"/>
                  </a:cubicBezTo>
                  <a:cubicBezTo>
                    <a:pt x="19762" y="37533"/>
                    <a:pt x="18587" y="38903"/>
                    <a:pt x="18068" y="40567"/>
                  </a:cubicBezTo>
                  <a:cubicBezTo>
                    <a:pt x="17582" y="42129"/>
                    <a:pt x="17717" y="43806"/>
                    <a:pt x="17859" y="45436"/>
                  </a:cubicBezTo>
                  <a:cubicBezTo>
                    <a:pt x="18032" y="47441"/>
                    <a:pt x="18242" y="49554"/>
                    <a:pt x="19405" y="51198"/>
                  </a:cubicBezTo>
                  <a:cubicBezTo>
                    <a:pt x="20624" y="52922"/>
                    <a:pt x="21392" y="55494"/>
                    <a:pt x="21294" y="57601"/>
                  </a:cubicBezTo>
                  <a:cubicBezTo>
                    <a:pt x="21216" y="59294"/>
                    <a:pt x="20619" y="60958"/>
                    <a:pt x="20775" y="62645"/>
                  </a:cubicBezTo>
                  <a:cubicBezTo>
                    <a:pt x="21057" y="65704"/>
                    <a:pt x="23699" y="67999"/>
                    <a:pt x="26397" y="69471"/>
                  </a:cubicBezTo>
                  <a:cubicBezTo>
                    <a:pt x="29219" y="71013"/>
                    <a:pt x="31651" y="73637"/>
                    <a:pt x="32623" y="76701"/>
                  </a:cubicBezTo>
                  <a:cubicBezTo>
                    <a:pt x="33112" y="78241"/>
                    <a:pt x="33257" y="79868"/>
                    <a:pt x="33688" y="81425"/>
                  </a:cubicBezTo>
                  <a:cubicBezTo>
                    <a:pt x="34432" y="84119"/>
                    <a:pt x="36051" y="86565"/>
                    <a:pt x="38239" y="88307"/>
                  </a:cubicBezTo>
                  <a:cubicBezTo>
                    <a:pt x="39834" y="89575"/>
                    <a:pt x="42451" y="90023"/>
                    <a:pt x="44455" y="90388"/>
                  </a:cubicBezTo>
                  <a:cubicBezTo>
                    <a:pt x="45495" y="90578"/>
                    <a:pt x="46617" y="90728"/>
                    <a:pt x="47400" y="91437"/>
                  </a:cubicBezTo>
                  <a:cubicBezTo>
                    <a:pt x="47762" y="91764"/>
                    <a:pt x="48023" y="92187"/>
                    <a:pt x="48369" y="92530"/>
                  </a:cubicBezTo>
                  <a:cubicBezTo>
                    <a:pt x="50044" y="94188"/>
                    <a:pt x="53127" y="93507"/>
                    <a:pt x="54821" y="95145"/>
                  </a:cubicBezTo>
                  <a:cubicBezTo>
                    <a:pt x="55259" y="95566"/>
                    <a:pt x="55558" y="96107"/>
                    <a:pt x="55941" y="96579"/>
                  </a:cubicBezTo>
                  <a:cubicBezTo>
                    <a:pt x="56887" y="97736"/>
                    <a:pt x="58370" y="98428"/>
                    <a:pt x="59861" y="98428"/>
                  </a:cubicBezTo>
                  <a:cubicBezTo>
                    <a:pt x="60003" y="98428"/>
                    <a:pt x="60145" y="98421"/>
                    <a:pt x="60286" y="98409"/>
                  </a:cubicBezTo>
                  <a:lnTo>
                    <a:pt x="60286" y="98409"/>
                  </a:lnTo>
                  <a:cubicBezTo>
                    <a:pt x="59905" y="99653"/>
                    <a:pt x="61397" y="101114"/>
                    <a:pt x="60936" y="102330"/>
                  </a:cubicBezTo>
                  <a:cubicBezTo>
                    <a:pt x="60565" y="103312"/>
                    <a:pt x="59445" y="103741"/>
                    <a:pt x="58674" y="104452"/>
                  </a:cubicBezTo>
                  <a:cubicBezTo>
                    <a:pt x="57337" y="105685"/>
                    <a:pt x="57129" y="107795"/>
                    <a:pt x="57705" y="109521"/>
                  </a:cubicBezTo>
                  <a:cubicBezTo>
                    <a:pt x="58282" y="111246"/>
                    <a:pt x="59498" y="112671"/>
                    <a:pt x="60717" y="114022"/>
                  </a:cubicBezTo>
                  <a:cubicBezTo>
                    <a:pt x="62978" y="116530"/>
                    <a:pt x="65696" y="117746"/>
                    <a:pt x="68148" y="120066"/>
                  </a:cubicBezTo>
                  <a:cubicBezTo>
                    <a:pt x="70420" y="122216"/>
                    <a:pt x="70937" y="125696"/>
                    <a:pt x="70438" y="128784"/>
                  </a:cubicBezTo>
                  <a:cubicBezTo>
                    <a:pt x="69938" y="131872"/>
                    <a:pt x="68585" y="134744"/>
                    <a:pt x="67620" y="137718"/>
                  </a:cubicBezTo>
                  <a:cubicBezTo>
                    <a:pt x="65814" y="143276"/>
                    <a:pt x="65376" y="149382"/>
                    <a:pt x="67102" y="154963"/>
                  </a:cubicBezTo>
                  <a:cubicBezTo>
                    <a:pt x="68828" y="160546"/>
                    <a:pt x="72869" y="165522"/>
                    <a:pt x="78283" y="167717"/>
                  </a:cubicBezTo>
                  <a:cubicBezTo>
                    <a:pt x="78404" y="167766"/>
                    <a:pt x="78530" y="167788"/>
                    <a:pt x="78658" y="167788"/>
                  </a:cubicBezTo>
                  <a:cubicBezTo>
                    <a:pt x="79167" y="167788"/>
                    <a:pt x="79705" y="167444"/>
                    <a:pt x="80056" y="167066"/>
                  </a:cubicBezTo>
                  <a:cubicBezTo>
                    <a:pt x="80495" y="166591"/>
                    <a:pt x="80589" y="165833"/>
                    <a:pt x="80281" y="165265"/>
                  </a:cubicBezTo>
                  <a:cubicBezTo>
                    <a:pt x="79304" y="163467"/>
                    <a:pt x="77566" y="161932"/>
                    <a:pt x="76298" y="160326"/>
                  </a:cubicBezTo>
                  <a:cubicBezTo>
                    <a:pt x="75898" y="159821"/>
                    <a:pt x="75478" y="159248"/>
                    <a:pt x="75530" y="158607"/>
                  </a:cubicBezTo>
                  <a:cubicBezTo>
                    <a:pt x="75589" y="157886"/>
                    <a:pt x="76208" y="157367"/>
                    <a:pt x="76666" y="156807"/>
                  </a:cubicBezTo>
                  <a:cubicBezTo>
                    <a:pt x="77361" y="155947"/>
                    <a:pt x="77729" y="154867"/>
                    <a:pt x="77704" y="153762"/>
                  </a:cubicBezTo>
                  <a:cubicBezTo>
                    <a:pt x="77674" y="152733"/>
                    <a:pt x="77075" y="151726"/>
                    <a:pt x="77111" y="150697"/>
                  </a:cubicBezTo>
                  <a:cubicBezTo>
                    <a:pt x="77146" y="149667"/>
                    <a:pt x="77701" y="148583"/>
                    <a:pt x="78676" y="148251"/>
                  </a:cubicBezTo>
                  <a:cubicBezTo>
                    <a:pt x="79120" y="148100"/>
                    <a:pt x="79614" y="148115"/>
                    <a:pt x="80042" y="147926"/>
                  </a:cubicBezTo>
                  <a:cubicBezTo>
                    <a:pt x="81453" y="147303"/>
                    <a:pt x="81228" y="145153"/>
                    <a:pt x="82249" y="143996"/>
                  </a:cubicBezTo>
                  <a:cubicBezTo>
                    <a:pt x="82722" y="143460"/>
                    <a:pt x="83419" y="143193"/>
                    <a:pt x="84064" y="142883"/>
                  </a:cubicBezTo>
                  <a:cubicBezTo>
                    <a:pt x="86792" y="141571"/>
                    <a:pt x="89035" y="138972"/>
                    <a:pt x="89283" y="135957"/>
                  </a:cubicBezTo>
                  <a:cubicBezTo>
                    <a:pt x="89483" y="133544"/>
                    <a:pt x="88605" y="130615"/>
                    <a:pt x="90438" y="129034"/>
                  </a:cubicBezTo>
                  <a:cubicBezTo>
                    <a:pt x="91238" y="128344"/>
                    <a:pt x="92244" y="128199"/>
                    <a:pt x="93314" y="128199"/>
                  </a:cubicBezTo>
                  <a:cubicBezTo>
                    <a:pt x="94087" y="128199"/>
                    <a:pt x="94894" y="128275"/>
                    <a:pt x="95682" y="128275"/>
                  </a:cubicBezTo>
                  <a:cubicBezTo>
                    <a:pt x="96098" y="128275"/>
                    <a:pt x="96509" y="128254"/>
                    <a:pt x="96908" y="128189"/>
                  </a:cubicBezTo>
                  <a:cubicBezTo>
                    <a:pt x="97800" y="128044"/>
                    <a:pt x="98396" y="127214"/>
                    <a:pt x="98814" y="126412"/>
                  </a:cubicBezTo>
                  <a:cubicBezTo>
                    <a:pt x="99231" y="125609"/>
                    <a:pt x="99280" y="124658"/>
                    <a:pt x="99129" y="123766"/>
                  </a:cubicBezTo>
                  <a:cubicBezTo>
                    <a:pt x="98945" y="122668"/>
                    <a:pt x="98473" y="121597"/>
                    <a:pt x="98577" y="120489"/>
                  </a:cubicBezTo>
                  <a:cubicBezTo>
                    <a:pt x="98723" y="118930"/>
                    <a:pt x="99942" y="117730"/>
                    <a:pt x="100886" y="116480"/>
                  </a:cubicBezTo>
                  <a:cubicBezTo>
                    <a:pt x="102003" y="114998"/>
                    <a:pt x="102797" y="113297"/>
                    <a:pt x="103214" y="111488"/>
                  </a:cubicBezTo>
                  <a:cubicBezTo>
                    <a:pt x="103689" y="109429"/>
                    <a:pt x="102371" y="106997"/>
                    <a:pt x="100524" y="105970"/>
                  </a:cubicBezTo>
                  <a:cubicBezTo>
                    <a:pt x="98677" y="104943"/>
                    <a:pt x="96462" y="104915"/>
                    <a:pt x="94350" y="104853"/>
                  </a:cubicBezTo>
                  <a:cubicBezTo>
                    <a:pt x="92237" y="104794"/>
                    <a:pt x="89999" y="104633"/>
                    <a:pt x="88273" y="103414"/>
                  </a:cubicBezTo>
                  <a:cubicBezTo>
                    <a:pt x="86692" y="102296"/>
                    <a:pt x="85799" y="100469"/>
                    <a:pt x="84550" y="98991"/>
                  </a:cubicBezTo>
                  <a:cubicBezTo>
                    <a:pt x="82441" y="96497"/>
                    <a:pt x="79375" y="95057"/>
                    <a:pt x="76410" y="93690"/>
                  </a:cubicBezTo>
                  <a:cubicBezTo>
                    <a:pt x="75559" y="93298"/>
                    <a:pt x="74630" y="92901"/>
                    <a:pt x="73720" y="92901"/>
                  </a:cubicBezTo>
                  <a:cubicBezTo>
                    <a:pt x="73431" y="92901"/>
                    <a:pt x="73144" y="92941"/>
                    <a:pt x="72862" y="93034"/>
                  </a:cubicBezTo>
                  <a:cubicBezTo>
                    <a:pt x="72400" y="93185"/>
                    <a:pt x="71985" y="93473"/>
                    <a:pt x="71508" y="93564"/>
                  </a:cubicBezTo>
                  <a:cubicBezTo>
                    <a:pt x="71390" y="93586"/>
                    <a:pt x="71274" y="93597"/>
                    <a:pt x="71159" y="93597"/>
                  </a:cubicBezTo>
                  <a:cubicBezTo>
                    <a:pt x="70006" y="93597"/>
                    <a:pt x="69033" y="92520"/>
                    <a:pt x="67966" y="91944"/>
                  </a:cubicBezTo>
                  <a:cubicBezTo>
                    <a:pt x="67424" y="91651"/>
                    <a:pt x="66830" y="91518"/>
                    <a:pt x="66231" y="91518"/>
                  </a:cubicBezTo>
                  <a:cubicBezTo>
                    <a:pt x="64138" y="91518"/>
                    <a:pt x="61986" y="93147"/>
                    <a:pt x="61817" y="95293"/>
                  </a:cubicBezTo>
                  <a:cubicBezTo>
                    <a:pt x="61476" y="95410"/>
                    <a:pt x="61056" y="95468"/>
                    <a:pt x="60611" y="95468"/>
                  </a:cubicBezTo>
                  <a:cubicBezTo>
                    <a:pt x="59413" y="95468"/>
                    <a:pt x="58031" y="95047"/>
                    <a:pt x="57510" y="94228"/>
                  </a:cubicBezTo>
                  <a:cubicBezTo>
                    <a:pt x="56995" y="93419"/>
                    <a:pt x="56789" y="92287"/>
                    <a:pt x="55904" y="91918"/>
                  </a:cubicBezTo>
                  <a:cubicBezTo>
                    <a:pt x="55432" y="91722"/>
                    <a:pt x="54840" y="91796"/>
                    <a:pt x="54455" y="91458"/>
                  </a:cubicBezTo>
                  <a:cubicBezTo>
                    <a:pt x="53818" y="90898"/>
                    <a:pt x="54313" y="89881"/>
                    <a:pt x="54428" y="89040"/>
                  </a:cubicBezTo>
                  <a:cubicBezTo>
                    <a:pt x="54609" y="87696"/>
                    <a:pt x="53607" y="86419"/>
                    <a:pt x="52383" y="85834"/>
                  </a:cubicBezTo>
                  <a:cubicBezTo>
                    <a:pt x="51161" y="85249"/>
                    <a:pt x="49761" y="85202"/>
                    <a:pt x="48407" y="85159"/>
                  </a:cubicBezTo>
                  <a:cubicBezTo>
                    <a:pt x="47051" y="85115"/>
                    <a:pt x="45649" y="85054"/>
                    <a:pt x="44436" y="84447"/>
                  </a:cubicBezTo>
                  <a:cubicBezTo>
                    <a:pt x="42077" y="83264"/>
                    <a:pt x="41111" y="80063"/>
                    <a:pt x="42146" y="77635"/>
                  </a:cubicBezTo>
                  <a:cubicBezTo>
                    <a:pt x="43156" y="75267"/>
                    <a:pt x="45760" y="73783"/>
                    <a:pt x="48337" y="73783"/>
                  </a:cubicBezTo>
                  <a:cubicBezTo>
                    <a:pt x="48401" y="73783"/>
                    <a:pt x="48464" y="73784"/>
                    <a:pt x="48528" y="73786"/>
                  </a:cubicBezTo>
                  <a:cubicBezTo>
                    <a:pt x="51112" y="73862"/>
                    <a:pt x="53842" y="75749"/>
                    <a:pt x="53870" y="78335"/>
                  </a:cubicBezTo>
                  <a:cubicBezTo>
                    <a:pt x="53875" y="78746"/>
                    <a:pt x="54287" y="78928"/>
                    <a:pt x="54735" y="78928"/>
                  </a:cubicBezTo>
                  <a:cubicBezTo>
                    <a:pt x="55004" y="78928"/>
                    <a:pt x="55285" y="78863"/>
                    <a:pt x="55498" y="78741"/>
                  </a:cubicBezTo>
                  <a:cubicBezTo>
                    <a:pt x="56067" y="78416"/>
                    <a:pt x="56365" y="77760"/>
                    <a:pt x="56505" y="77119"/>
                  </a:cubicBezTo>
                  <a:cubicBezTo>
                    <a:pt x="56645" y="76478"/>
                    <a:pt x="56664" y="75812"/>
                    <a:pt x="56860" y="75186"/>
                  </a:cubicBezTo>
                  <a:cubicBezTo>
                    <a:pt x="57310" y="73749"/>
                    <a:pt x="58757" y="72690"/>
                    <a:pt x="60261" y="72690"/>
                  </a:cubicBezTo>
                  <a:cubicBezTo>
                    <a:pt x="60273" y="72690"/>
                    <a:pt x="60285" y="72690"/>
                    <a:pt x="60297" y="72690"/>
                  </a:cubicBezTo>
                  <a:cubicBezTo>
                    <a:pt x="60306" y="72690"/>
                    <a:pt x="60314" y="72690"/>
                    <a:pt x="60323" y="72690"/>
                  </a:cubicBezTo>
                  <a:cubicBezTo>
                    <a:pt x="61893" y="72690"/>
                    <a:pt x="62998" y="71122"/>
                    <a:pt x="64116" y="70013"/>
                  </a:cubicBezTo>
                  <a:cubicBezTo>
                    <a:pt x="65241" y="68896"/>
                    <a:pt x="65913" y="67214"/>
                    <a:pt x="65469" y="65693"/>
                  </a:cubicBezTo>
                  <a:cubicBezTo>
                    <a:pt x="65229" y="64873"/>
                    <a:pt x="64683" y="64046"/>
                    <a:pt x="64956" y="63238"/>
                  </a:cubicBezTo>
                  <a:cubicBezTo>
                    <a:pt x="65170" y="62604"/>
                    <a:pt x="65822" y="62237"/>
                    <a:pt x="66438" y="61978"/>
                  </a:cubicBezTo>
                  <a:cubicBezTo>
                    <a:pt x="67992" y="61328"/>
                    <a:pt x="69657" y="60995"/>
                    <a:pt x="71338" y="60995"/>
                  </a:cubicBezTo>
                  <a:cubicBezTo>
                    <a:pt x="71514" y="60995"/>
                    <a:pt x="71689" y="60998"/>
                    <a:pt x="71865" y="61005"/>
                  </a:cubicBezTo>
                  <a:cubicBezTo>
                    <a:pt x="71916" y="61008"/>
                    <a:pt x="71966" y="61009"/>
                    <a:pt x="72016" y="61009"/>
                  </a:cubicBezTo>
                  <a:cubicBezTo>
                    <a:pt x="73530" y="61009"/>
                    <a:pt x="74333" y="60016"/>
                    <a:pt x="75129" y="58671"/>
                  </a:cubicBezTo>
                  <a:cubicBezTo>
                    <a:pt x="75724" y="57667"/>
                    <a:pt x="75988" y="56400"/>
                    <a:pt x="76935" y="55719"/>
                  </a:cubicBezTo>
                  <a:cubicBezTo>
                    <a:pt x="77461" y="55341"/>
                    <a:pt x="78061" y="55227"/>
                    <a:pt x="78697" y="55227"/>
                  </a:cubicBezTo>
                  <a:cubicBezTo>
                    <a:pt x="79669" y="55227"/>
                    <a:pt x="80723" y="55493"/>
                    <a:pt x="81724" y="55493"/>
                  </a:cubicBezTo>
                  <a:cubicBezTo>
                    <a:pt x="81835" y="55493"/>
                    <a:pt x="81945" y="55490"/>
                    <a:pt x="82055" y="55483"/>
                  </a:cubicBezTo>
                  <a:cubicBezTo>
                    <a:pt x="84597" y="55311"/>
                    <a:pt x="86582" y="52458"/>
                    <a:pt x="85860" y="50015"/>
                  </a:cubicBezTo>
                  <a:cubicBezTo>
                    <a:pt x="85517" y="48852"/>
                    <a:pt x="84704" y="47901"/>
                    <a:pt x="84043" y="46884"/>
                  </a:cubicBezTo>
                  <a:cubicBezTo>
                    <a:pt x="83131" y="45481"/>
                    <a:pt x="82492" y="43918"/>
                    <a:pt x="82159" y="42277"/>
                  </a:cubicBezTo>
                  <a:cubicBezTo>
                    <a:pt x="81854" y="40773"/>
                    <a:pt x="81767" y="39118"/>
                    <a:pt x="80776" y="37947"/>
                  </a:cubicBezTo>
                  <a:cubicBezTo>
                    <a:pt x="79227" y="38020"/>
                    <a:pt x="77350" y="37975"/>
                    <a:pt x="75971" y="38686"/>
                  </a:cubicBezTo>
                  <a:cubicBezTo>
                    <a:pt x="75699" y="37108"/>
                    <a:pt x="75398" y="35461"/>
                    <a:pt x="74423" y="34192"/>
                  </a:cubicBezTo>
                  <a:cubicBezTo>
                    <a:pt x="73732" y="33291"/>
                    <a:pt x="72587" y="32657"/>
                    <a:pt x="71488" y="32657"/>
                  </a:cubicBezTo>
                  <a:cubicBezTo>
                    <a:pt x="71039" y="32657"/>
                    <a:pt x="70597" y="32763"/>
                    <a:pt x="70198" y="32999"/>
                  </a:cubicBezTo>
                  <a:cubicBezTo>
                    <a:pt x="68851" y="33794"/>
                    <a:pt x="68559" y="35642"/>
                    <a:pt x="68807" y="37187"/>
                  </a:cubicBezTo>
                  <a:cubicBezTo>
                    <a:pt x="69057" y="38731"/>
                    <a:pt x="69698" y="40227"/>
                    <a:pt x="69655" y="41791"/>
                  </a:cubicBezTo>
                  <a:cubicBezTo>
                    <a:pt x="69615" y="43336"/>
                    <a:pt x="68552" y="45042"/>
                    <a:pt x="67017" y="45042"/>
                  </a:cubicBezTo>
                  <a:cubicBezTo>
                    <a:pt x="66998" y="45042"/>
                    <a:pt x="66979" y="45041"/>
                    <a:pt x="66960" y="45041"/>
                  </a:cubicBezTo>
                  <a:cubicBezTo>
                    <a:pt x="66146" y="45019"/>
                    <a:pt x="65416" y="44522"/>
                    <a:pt x="64843" y="43941"/>
                  </a:cubicBezTo>
                  <a:cubicBezTo>
                    <a:pt x="64022" y="43112"/>
                    <a:pt x="63372" y="42052"/>
                    <a:pt x="62317" y="41553"/>
                  </a:cubicBezTo>
                  <a:cubicBezTo>
                    <a:pt x="61507" y="41171"/>
                    <a:pt x="60577" y="41179"/>
                    <a:pt x="59704" y="40982"/>
                  </a:cubicBezTo>
                  <a:cubicBezTo>
                    <a:pt x="56728" y="40316"/>
                    <a:pt x="54688" y="36902"/>
                    <a:pt x="55510" y="33965"/>
                  </a:cubicBezTo>
                  <a:cubicBezTo>
                    <a:pt x="56182" y="31564"/>
                    <a:pt x="58657" y="29882"/>
                    <a:pt x="61117" y="29882"/>
                  </a:cubicBezTo>
                  <a:cubicBezTo>
                    <a:pt x="61664" y="29882"/>
                    <a:pt x="62211" y="29966"/>
                    <a:pt x="62737" y="30143"/>
                  </a:cubicBezTo>
                  <a:cubicBezTo>
                    <a:pt x="66237" y="28861"/>
                    <a:pt x="67660" y="24447"/>
                    <a:pt x="66265" y="20991"/>
                  </a:cubicBezTo>
                  <a:cubicBezTo>
                    <a:pt x="64868" y="17535"/>
                    <a:pt x="61115" y="15389"/>
                    <a:pt x="57392" y="15226"/>
                  </a:cubicBezTo>
                  <a:cubicBezTo>
                    <a:pt x="56302" y="15179"/>
                    <a:pt x="55191" y="15275"/>
                    <a:pt x="54134" y="15007"/>
                  </a:cubicBezTo>
                  <a:cubicBezTo>
                    <a:pt x="51145" y="14251"/>
                    <a:pt x="49582" y="10965"/>
                    <a:pt x="46980" y="9310"/>
                  </a:cubicBezTo>
                  <a:cubicBezTo>
                    <a:pt x="46287" y="8869"/>
                    <a:pt x="45224" y="8778"/>
                    <a:pt x="44079" y="8778"/>
                  </a:cubicBezTo>
                  <a:cubicBezTo>
                    <a:pt x="43277" y="8778"/>
                    <a:pt x="42435" y="8823"/>
                    <a:pt x="41651" y="8823"/>
                  </a:cubicBezTo>
                  <a:cubicBezTo>
                    <a:pt x="40795" y="8823"/>
                    <a:pt x="40007" y="8769"/>
                    <a:pt x="39418" y="8547"/>
                  </a:cubicBezTo>
                  <a:cubicBezTo>
                    <a:pt x="38499" y="8200"/>
                    <a:pt x="37525" y="8023"/>
                    <a:pt x="36546" y="8023"/>
                  </a:cubicBezTo>
                  <a:cubicBezTo>
                    <a:pt x="36275" y="8023"/>
                    <a:pt x="36003" y="8037"/>
                    <a:pt x="35731" y="8064"/>
                  </a:cubicBezTo>
                  <a:cubicBezTo>
                    <a:pt x="34635" y="9104"/>
                    <a:pt x="32585" y="9398"/>
                    <a:pt x="31077" y="9499"/>
                  </a:cubicBezTo>
                  <a:cubicBezTo>
                    <a:pt x="29526" y="7990"/>
                    <a:pt x="27655" y="6585"/>
                    <a:pt x="25725" y="5605"/>
                  </a:cubicBezTo>
                  <a:cubicBezTo>
                    <a:pt x="24435" y="4951"/>
                    <a:pt x="22930" y="4260"/>
                    <a:pt x="22532" y="2870"/>
                  </a:cubicBezTo>
                  <a:cubicBezTo>
                    <a:pt x="22012" y="1053"/>
                    <a:pt x="19376" y="125"/>
                    <a:pt x="17200" y="125"/>
                  </a:cubicBezTo>
                  <a:cubicBezTo>
                    <a:pt x="16716" y="125"/>
                    <a:pt x="16254" y="171"/>
                    <a:pt x="15844" y="263"/>
                  </a:cubicBezTo>
                  <a:cubicBezTo>
                    <a:pt x="15181" y="84"/>
                    <a:pt x="14496" y="0"/>
                    <a:pt x="13807" y="0"/>
                  </a:cubicBezTo>
                  <a:close/>
                </a:path>
              </a:pathLst>
            </a:custGeom>
            <a:noFill/>
            <a:ln w="9525" cap="flat" cmpd="sng">
              <a:solidFill>
                <a:srgbClr val="E1E7EC"/>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436" name="Google Shape;1436;p104"/>
            <p:cNvSpPr/>
            <p:nvPr/>
          </p:nvSpPr>
          <p:spPr>
            <a:xfrm>
              <a:off x="2370225" y="830650"/>
              <a:ext cx="1016975" cy="1158500"/>
            </a:xfrm>
            <a:custGeom>
              <a:avLst/>
              <a:gdLst/>
              <a:ahLst/>
              <a:cxnLst/>
              <a:rect l="l" t="t" r="r" b="b"/>
              <a:pathLst>
                <a:path w="40679" h="46340" extrusionOk="0">
                  <a:moveTo>
                    <a:pt x="15780" y="0"/>
                  </a:moveTo>
                  <a:cubicBezTo>
                    <a:pt x="14989" y="0"/>
                    <a:pt x="14213" y="109"/>
                    <a:pt x="13470" y="421"/>
                  </a:cubicBezTo>
                  <a:cubicBezTo>
                    <a:pt x="9879" y="1928"/>
                    <a:pt x="10933" y="5468"/>
                    <a:pt x="8580" y="7572"/>
                  </a:cubicBezTo>
                  <a:cubicBezTo>
                    <a:pt x="6546" y="9390"/>
                    <a:pt x="2788" y="7963"/>
                    <a:pt x="1150" y="10460"/>
                  </a:cubicBezTo>
                  <a:cubicBezTo>
                    <a:pt x="0" y="12215"/>
                    <a:pt x="1289" y="14606"/>
                    <a:pt x="2962" y="15871"/>
                  </a:cubicBezTo>
                  <a:cubicBezTo>
                    <a:pt x="4636" y="17135"/>
                    <a:pt x="6731" y="17894"/>
                    <a:pt x="8056" y="19522"/>
                  </a:cubicBezTo>
                  <a:cubicBezTo>
                    <a:pt x="10183" y="22136"/>
                    <a:pt x="9577" y="26004"/>
                    <a:pt x="8413" y="29169"/>
                  </a:cubicBezTo>
                  <a:cubicBezTo>
                    <a:pt x="7247" y="32332"/>
                    <a:pt x="5603" y="35532"/>
                    <a:pt x="6005" y="38881"/>
                  </a:cubicBezTo>
                  <a:cubicBezTo>
                    <a:pt x="6193" y="40459"/>
                    <a:pt x="6837" y="41956"/>
                    <a:pt x="7675" y="43307"/>
                  </a:cubicBezTo>
                  <a:cubicBezTo>
                    <a:pt x="8488" y="44615"/>
                    <a:pt x="9597" y="45873"/>
                    <a:pt x="11095" y="46235"/>
                  </a:cubicBezTo>
                  <a:cubicBezTo>
                    <a:pt x="11391" y="46306"/>
                    <a:pt x="11688" y="46339"/>
                    <a:pt x="11983" y="46339"/>
                  </a:cubicBezTo>
                  <a:cubicBezTo>
                    <a:pt x="13586" y="46339"/>
                    <a:pt x="15150" y="45367"/>
                    <a:pt x="16368" y="44250"/>
                  </a:cubicBezTo>
                  <a:cubicBezTo>
                    <a:pt x="17812" y="42927"/>
                    <a:pt x="19065" y="41325"/>
                    <a:pt x="20822" y="40465"/>
                  </a:cubicBezTo>
                  <a:cubicBezTo>
                    <a:pt x="23353" y="39224"/>
                    <a:pt x="26610" y="39686"/>
                    <a:pt x="28815" y="37929"/>
                  </a:cubicBezTo>
                  <a:cubicBezTo>
                    <a:pt x="31544" y="35754"/>
                    <a:pt x="31140" y="31606"/>
                    <a:pt x="31890" y="28199"/>
                  </a:cubicBezTo>
                  <a:cubicBezTo>
                    <a:pt x="33150" y="22476"/>
                    <a:pt x="38102" y="18249"/>
                    <a:pt x="40038" y="12718"/>
                  </a:cubicBezTo>
                  <a:cubicBezTo>
                    <a:pt x="40418" y="11636"/>
                    <a:pt x="40679" y="10499"/>
                    <a:pt x="40652" y="9352"/>
                  </a:cubicBezTo>
                  <a:cubicBezTo>
                    <a:pt x="40569" y="5649"/>
                    <a:pt x="37449" y="2571"/>
                    <a:pt x="33956" y="1339"/>
                  </a:cubicBezTo>
                  <a:cubicBezTo>
                    <a:pt x="31938" y="627"/>
                    <a:pt x="29911" y="457"/>
                    <a:pt x="27871" y="457"/>
                  </a:cubicBezTo>
                  <a:cubicBezTo>
                    <a:pt x="26007" y="457"/>
                    <a:pt x="24132" y="599"/>
                    <a:pt x="22245" y="599"/>
                  </a:cubicBezTo>
                  <a:cubicBezTo>
                    <a:pt x="21785" y="599"/>
                    <a:pt x="21325" y="591"/>
                    <a:pt x="20863" y="570"/>
                  </a:cubicBezTo>
                  <a:cubicBezTo>
                    <a:pt x="19225" y="496"/>
                    <a:pt x="17470" y="0"/>
                    <a:pt x="15780" y="0"/>
                  </a:cubicBezTo>
                  <a:close/>
                </a:path>
              </a:pathLst>
            </a:custGeom>
            <a:noFill/>
            <a:ln w="9525" cap="flat" cmpd="sng">
              <a:solidFill>
                <a:srgbClr val="E1E7EC"/>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437" name="Google Shape;1437;p104"/>
            <p:cNvSpPr/>
            <p:nvPr/>
          </p:nvSpPr>
          <p:spPr>
            <a:xfrm>
              <a:off x="3143325" y="1089650"/>
              <a:ext cx="4064350" cy="3503975"/>
            </a:xfrm>
            <a:custGeom>
              <a:avLst/>
              <a:gdLst/>
              <a:ahLst/>
              <a:cxnLst/>
              <a:rect l="l" t="t" r="r" b="b"/>
              <a:pathLst>
                <a:path w="162574" h="140159" extrusionOk="0">
                  <a:moveTo>
                    <a:pt x="149391" y="0"/>
                  </a:moveTo>
                  <a:cubicBezTo>
                    <a:pt x="148360" y="0"/>
                    <a:pt x="147330" y="156"/>
                    <a:pt x="146349" y="477"/>
                  </a:cubicBezTo>
                  <a:cubicBezTo>
                    <a:pt x="145329" y="812"/>
                    <a:pt x="144363" y="1309"/>
                    <a:pt x="143326" y="1583"/>
                  </a:cubicBezTo>
                  <a:cubicBezTo>
                    <a:pt x="142494" y="1801"/>
                    <a:pt x="141638" y="1870"/>
                    <a:pt x="140776" y="1870"/>
                  </a:cubicBezTo>
                  <a:cubicBezTo>
                    <a:pt x="140050" y="1870"/>
                    <a:pt x="139319" y="1821"/>
                    <a:pt x="138596" y="1772"/>
                  </a:cubicBezTo>
                  <a:lnTo>
                    <a:pt x="130106" y="1191"/>
                  </a:lnTo>
                  <a:cubicBezTo>
                    <a:pt x="129237" y="1132"/>
                    <a:pt x="128350" y="1076"/>
                    <a:pt x="127469" y="1076"/>
                  </a:cubicBezTo>
                  <a:cubicBezTo>
                    <a:pt x="125783" y="1076"/>
                    <a:pt x="124119" y="1281"/>
                    <a:pt x="122644" y="2056"/>
                  </a:cubicBezTo>
                  <a:cubicBezTo>
                    <a:pt x="119360" y="3782"/>
                    <a:pt x="117499" y="8084"/>
                    <a:pt x="113816" y="8529"/>
                  </a:cubicBezTo>
                  <a:cubicBezTo>
                    <a:pt x="113611" y="8554"/>
                    <a:pt x="113408" y="8566"/>
                    <a:pt x="113207" y="8566"/>
                  </a:cubicBezTo>
                  <a:cubicBezTo>
                    <a:pt x="110853" y="8566"/>
                    <a:pt x="108715" y="6973"/>
                    <a:pt x="106473" y="6087"/>
                  </a:cubicBezTo>
                  <a:cubicBezTo>
                    <a:pt x="105100" y="5543"/>
                    <a:pt x="103627" y="5279"/>
                    <a:pt x="102152" y="5279"/>
                  </a:cubicBezTo>
                  <a:cubicBezTo>
                    <a:pt x="99404" y="5279"/>
                    <a:pt x="96647" y="6196"/>
                    <a:pt x="94512" y="7933"/>
                  </a:cubicBezTo>
                  <a:cubicBezTo>
                    <a:pt x="93279" y="7304"/>
                    <a:pt x="93660" y="5468"/>
                    <a:pt x="93225" y="4153"/>
                  </a:cubicBezTo>
                  <a:cubicBezTo>
                    <a:pt x="92771" y="2782"/>
                    <a:pt x="91297" y="1954"/>
                    <a:pt x="89858" y="1828"/>
                  </a:cubicBezTo>
                  <a:cubicBezTo>
                    <a:pt x="89687" y="1813"/>
                    <a:pt x="89517" y="1806"/>
                    <a:pt x="89348" y="1806"/>
                  </a:cubicBezTo>
                  <a:cubicBezTo>
                    <a:pt x="88082" y="1806"/>
                    <a:pt x="86834" y="2194"/>
                    <a:pt x="85623" y="2590"/>
                  </a:cubicBezTo>
                  <a:cubicBezTo>
                    <a:pt x="82664" y="3556"/>
                    <a:pt x="79224" y="5204"/>
                    <a:pt x="78950" y="8303"/>
                  </a:cubicBezTo>
                  <a:cubicBezTo>
                    <a:pt x="78873" y="9176"/>
                    <a:pt x="79068" y="10104"/>
                    <a:pt x="78702" y="10900"/>
                  </a:cubicBezTo>
                  <a:cubicBezTo>
                    <a:pt x="78178" y="12033"/>
                    <a:pt x="76762" y="12408"/>
                    <a:pt x="75881" y="13291"/>
                  </a:cubicBezTo>
                  <a:cubicBezTo>
                    <a:pt x="74831" y="14345"/>
                    <a:pt x="74664" y="15971"/>
                    <a:pt x="74621" y="17458"/>
                  </a:cubicBezTo>
                  <a:cubicBezTo>
                    <a:pt x="74577" y="18944"/>
                    <a:pt x="74563" y="20541"/>
                    <a:pt x="73703" y="21754"/>
                  </a:cubicBezTo>
                  <a:cubicBezTo>
                    <a:pt x="73148" y="22537"/>
                    <a:pt x="71069" y="23068"/>
                    <a:pt x="69376" y="23068"/>
                  </a:cubicBezTo>
                  <a:cubicBezTo>
                    <a:pt x="68445" y="23068"/>
                    <a:pt x="67630" y="22907"/>
                    <a:pt x="67252" y="22539"/>
                  </a:cubicBezTo>
                  <a:cubicBezTo>
                    <a:pt x="66636" y="21940"/>
                    <a:pt x="65905" y="21693"/>
                    <a:pt x="65124" y="21693"/>
                  </a:cubicBezTo>
                  <a:cubicBezTo>
                    <a:pt x="63293" y="21693"/>
                    <a:pt x="61194" y="23048"/>
                    <a:pt x="59696" y="24392"/>
                  </a:cubicBezTo>
                  <a:lnTo>
                    <a:pt x="53326" y="30110"/>
                  </a:lnTo>
                  <a:cubicBezTo>
                    <a:pt x="51731" y="31541"/>
                    <a:pt x="50013" y="33034"/>
                    <a:pt x="47899" y="33389"/>
                  </a:cubicBezTo>
                  <a:cubicBezTo>
                    <a:pt x="47672" y="33427"/>
                    <a:pt x="47440" y="33446"/>
                    <a:pt x="47206" y="33446"/>
                  </a:cubicBezTo>
                  <a:cubicBezTo>
                    <a:pt x="45267" y="33446"/>
                    <a:pt x="43232" y="32171"/>
                    <a:pt x="43155" y="30259"/>
                  </a:cubicBezTo>
                  <a:cubicBezTo>
                    <a:pt x="43563" y="29875"/>
                    <a:pt x="44085" y="29761"/>
                    <a:pt x="44655" y="29761"/>
                  </a:cubicBezTo>
                  <a:cubicBezTo>
                    <a:pt x="45498" y="29761"/>
                    <a:pt x="46445" y="30012"/>
                    <a:pt x="47276" y="30012"/>
                  </a:cubicBezTo>
                  <a:cubicBezTo>
                    <a:pt x="47872" y="30012"/>
                    <a:pt x="48409" y="29883"/>
                    <a:pt x="48805" y="29438"/>
                  </a:cubicBezTo>
                  <a:cubicBezTo>
                    <a:pt x="49977" y="28121"/>
                    <a:pt x="48243" y="26238"/>
                    <a:pt x="46718" y="25356"/>
                  </a:cubicBezTo>
                  <a:cubicBezTo>
                    <a:pt x="43929" y="23744"/>
                    <a:pt x="41047" y="22101"/>
                    <a:pt x="37854" y="21667"/>
                  </a:cubicBezTo>
                  <a:cubicBezTo>
                    <a:pt x="37395" y="21605"/>
                    <a:pt x="36928" y="21573"/>
                    <a:pt x="36459" y="21573"/>
                  </a:cubicBezTo>
                  <a:cubicBezTo>
                    <a:pt x="33662" y="21573"/>
                    <a:pt x="30804" y="22696"/>
                    <a:pt x="29384" y="25062"/>
                  </a:cubicBezTo>
                  <a:cubicBezTo>
                    <a:pt x="27966" y="27426"/>
                    <a:pt x="28225" y="30512"/>
                    <a:pt x="26820" y="32884"/>
                  </a:cubicBezTo>
                  <a:cubicBezTo>
                    <a:pt x="25941" y="34369"/>
                    <a:pt x="24491" y="35431"/>
                    <a:pt x="23493" y="36839"/>
                  </a:cubicBezTo>
                  <a:cubicBezTo>
                    <a:pt x="22495" y="38247"/>
                    <a:pt x="22067" y="40372"/>
                    <a:pt x="23291" y="41591"/>
                  </a:cubicBezTo>
                  <a:cubicBezTo>
                    <a:pt x="24277" y="42574"/>
                    <a:pt x="25957" y="42576"/>
                    <a:pt x="26934" y="43568"/>
                  </a:cubicBezTo>
                  <a:cubicBezTo>
                    <a:pt x="27686" y="44334"/>
                    <a:pt x="27942" y="45612"/>
                    <a:pt x="28928" y="46032"/>
                  </a:cubicBezTo>
                  <a:cubicBezTo>
                    <a:pt x="29116" y="46112"/>
                    <a:pt x="29308" y="46149"/>
                    <a:pt x="29499" y="46149"/>
                  </a:cubicBezTo>
                  <a:cubicBezTo>
                    <a:pt x="30453" y="46149"/>
                    <a:pt x="31375" y="45228"/>
                    <a:pt x="31599" y="44232"/>
                  </a:cubicBezTo>
                  <a:cubicBezTo>
                    <a:pt x="31870" y="43035"/>
                    <a:pt x="31491" y="41803"/>
                    <a:pt x="31294" y="40594"/>
                  </a:cubicBezTo>
                  <a:cubicBezTo>
                    <a:pt x="30707" y="36976"/>
                    <a:pt x="32524" y="32527"/>
                    <a:pt x="36153" y="32010"/>
                  </a:cubicBezTo>
                  <a:cubicBezTo>
                    <a:pt x="36979" y="32041"/>
                    <a:pt x="37253" y="33221"/>
                    <a:pt x="36881" y="33960"/>
                  </a:cubicBezTo>
                  <a:cubicBezTo>
                    <a:pt x="36512" y="34700"/>
                    <a:pt x="35790" y="35213"/>
                    <a:pt x="35400" y="35941"/>
                  </a:cubicBezTo>
                  <a:cubicBezTo>
                    <a:pt x="34663" y="37314"/>
                    <a:pt x="35518" y="39272"/>
                    <a:pt x="37026" y="39667"/>
                  </a:cubicBezTo>
                  <a:cubicBezTo>
                    <a:pt x="38598" y="40078"/>
                    <a:pt x="41223" y="39748"/>
                    <a:pt x="41017" y="41358"/>
                  </a:cubicBezTo>
                  <a:cubicBezTo>
                    <a:pt x="40797" y="43068"/>
                    <a:pt x="37630" y="41948"/>
                    <a:pt x="36606" y="43336"/>
                  </a:cubicBezTo>
                  <a:cubicBezTo>
                    <a:pt x="36002" y="44155"/>
                    <a:pt x="36537" y="45296"/>
                    <a:pt x="36521" y="46313"/>
                  </a:cubicBezTo>
                  <a:cubicBezTo>
                    <a:pt x="36494" y="48303"/>
                    <a:pt x="34299" y="49599"/>
                    <a:pt x="32313" y="49739"/>
                  </a:cubicBezTo>
                  <a:cubicBezTo>
                    <a:pt x="32097" y="49755"/>
                    <a:pt x="31880" y="49762"/>
                    <a:pt x="31663" y="49762"/>
                  </a:cubicBezTo>
                  <a:cubicBezTo>
                    <a:pt x="30164" y="49762"/>
                    <a:pt x="28664" y="49439"/>
                    <a:pt x="27166" y="49439"/>
                  </a:cubicBezTo>
                  <a:cubicBezTo>
                    <a:pt x="26898" y="49439"/>
                    <a:pt x="26629" y="49449"/>
                    <a:pt x="26361" y="49474"/>
                  </a:cubicBezTo>
                  <a:cubicBezTo>
                    <a:pt x="24379" y="49654"/>
                    <a:pt x="22222" y="51058"/>
                    <a:pt x="22312" y="53044"/>
                  </a:cubicBezTo>
                  <a:cubicBezTo>
                    <a:pt x="19567" y="54331"/>
                    <a:pt x="16715" y="55374"/>
                    <a:pt x="13788" y="56164"/>
                  </a:cubicBezTo>
                  <a:cubicBezTo>
                    <a:pt x="13912" y="58317"/>
                    <a:pt x="17975" y="58517"/>
                    <a:pt x="17960" y="60675"/>
                  </a:cubicBezTo>
                  <a:cubicBezTo>
                    <a:pt x="17949" y="61887"/>
                    <a:pt x="16542" y="62556"/>
                    <a:pt x="15302" y="62556"/>
                  </a:cubicBezTo>
                  <a:cubicBezTo>
                    <a:pt x="15219" y="62556"/>
                    <a:pt x="15137" y="62553"/>
                    <a:pt x="15056" y="62547"/>
                  </a:cubicBezTo>
                  <a:cubicBezTo>
                    <a:pt x="14072" y="62475"/>
                    <a:pt x="13082" y="62160"/>
                    <a:pt x="12113" y="62160"/>
                  </a:cubicBezTo>
                  <a:cubicBezTo>
                    <a:pt x="11810" y="62160"/>
                    <a:pt x="11508" y="62191"/>
                    <a:pt x="11210" y="62270"/>
                  </a:cubicBezTo>
                  <a:cubicBezTo>
                    <a:pt x="9047" y="62839"/>
                    <a:pt x="8290" y="65880"/>
                    <a:pt x="9487" y="67769"/>
                  </a:cubicBezTo>
                  <a:cubicBezTo>
                    <a:pt x="10572" y="69481"/>
                    <a:pt x="12694" y="70258"/>
                    <a:pt x="14741" y="70258"/>
                  </a:cubicBezTo>
                  <a:cubicBezTo>
                    <a:pt x="14954" y="70258"/>
                    <a:pt x="15165" y="70249"/>
                    <a:pt x="15375" y="70233"/>
                  </a:cubicBezTo>
                  <a:cubicBezTo>
                    <a:pt x="16269" y="70162"/>
                    <a:pt x="17225" y="69924"/>
                    <a:pt x="17785" y="69223"/>
                  </a:cubicBezTo>
                  <a:cubicBezTo>
                    <a:pt x="18318" y="68554"/>
                    <a:pt x="18362" y="67634"/>
                    <a:pt x="18586" y="66808"/>
                  </a:cubicBezTo>
                  <a:cubicBezTo>
                    <a:pt x="19089" y="64960"/>
                    <a:pt x="20667" y="63445"/>
                    <a:pt x="22534" y="63019"/>
                  </a:cubicBezTo>
                  <a:cubicBezTo>
                    <a:pt x="23588" y="62778"/>
                    <a:pt x="24878" y="62758"/>
                    <a:pt x="25444" y="61839"/>
                  </a:cubicBezTo>
                  <a:cubicBezTo>
                    <a:pt x="27854" y="63143"/>
                    <a:pt x="29550" y="65685"/>
                    <a:pt x="29826" y="68413"/>
                  </a:cubicBezTo>
                  <a:cubicBezTo>
                    <a:pt x="30020" y="68663"/>
                    <a:pt x="30274" y="68770"/>
                    <a:pt x="30543" y="68770"/>
                  </a:cubicBezTo>
                  <a:cubicBezTo>
                    <a:pt x="31347" y="68770"/>
                    <a:pt x="32287" y="67809"/>
                    <a:pt x="32159" y="66868"/>
                  </a:cubicBezTo>
                  <a:cubicBezTo>
                    <a:pt x="31991" y="65614"/>
                    <a:pt x="30882" y="64743"/>
                    <a:pt x="30003" y="63834"/>
                  </a:cubicBezTo>
                  <a:cubicBezTo>
                    <a:pt x="29122" y="62923"/>
                    <a:pt x="28387" y="61510"/>
                    <a:pt x="29078" y="60448"/>
                  </a:cubicBezTo>
                  <a:lnTo>
                    <a:pt x="29078" y="60448"/>
                  </a:lnTo>
                  <a:cubicBezTo>
                    <a:pt x="33197" y="61658"/>
                    <a:pt x="36527" y="65238"/>
                    <a:pt x="37435" y="69435"/>
                  </a:cubicBezTo>
                  <a:cubicBezTo>
                    <a:pt x="38871" y="69149"/>
                    <a:pt x="39664" y="67205"/>
                    <a:pt x="38838" y="65997"/>
                  </a:cubicBezTo>
                  <a:cubicBezTo>
                    <a:pt x="39003" y="65628"/>
                    <a:pt x="39328" y="65472"/>
                    <a:pt x="39697" y="65472"/>
                  </a:cubicBezTo>
                  <a:cubicBezTo>
                    <a:pt x="40331" y="65472"/>
                    <a:pt x="41094" y="65932"/>
                    <a:pt x="41391" y="66558"/>
                  </a:cubicBezTo>
                  <a:cubicBezTo>
                    <a:pt x="41862" y="67549"/>
                    <a:pt x="41819" y="68770"/>
                    <a:pt x="42492" y="69636"/>
                  </a:cubicBezTo>
                  <a:cubicBezTo>
                    <a:pt x="43175" y="70517"/>
                    <a:pt x="44261" y="70711"/>
                    <a:pt x="45451" y="70711"/>
                  </a:cubicBezTo>
                  <a:cubicBezTo>
                    <a:pt x="46388" y="70711"/>
                    <a:pt x="47390" y="70590"/>
                    <a:pt x="48312" y="70590"/>
                  </a:cubicBezTo>
                  <a:cubicBezTo>
                    <a:pt x="49551" y="70590"/>
                    <a:pt x="50643" y="70808"/>
                    <a:pt x="51235" y="71828"/>
                  </a:cubicBezTo>
                  <a:cubicBezTo>
                    <a:pt x="52336" y="73723"/>
                    <a:pt x="49909" y="75927"/>
                    <a:pt x="47711" y="75927"/>
                  </a:cubicBezTo>
                  <a:cubicBezTo>
                    <a:pt x="47678" y="75927"/>
                    <a:pt x="47645" y="75926"/>
                    <a:pt x="47613" y="75925"/>
                  </a:cubicBezTo>
                  <a:cubicBezTo>
                    <a:pt x="45391" y="75856"/>
                    <a:pt x="43361" y="74585"/>
                    <a:pt x="41147" y="74365"/>
                  </a:cubicBezTo>
                  <a:cubicBezTo>
                    <a:pt x="40897" y="74340"/>
                    <a:pt x="40647" y="74329"/>
                    <a:pt x="40397" y="74329"/>
                  </a:cubicBezTo>
                  <a:cubicBezTo>
                    <a:pt x="38218" y="74329"/>
                    <a:pt x="36082" y="75200"/>
                    <a:pt x="33896" y="75455"/>
                  </a:cubicBezTo>
                  <a:cubicBezTo>
                    <a:pt x="33619" y="75487"/>
                    <a:pt x="33335" y="75503"/>
                    <a:pt x="33048" y="75503"/>
                  </a:cubicBezTo>
                  <a:cubicBezTo>
                    <a:pt x="30807" y="75503"/>
                    <a:pt x="28395" y="74514"/>
                    <a:pt x="27939" y="72388"/>
                  </a:cubicBezTo>
                  <a:cubicBezTo>
                    <a:pt x="27802" y="71741"/>
                    <a:pt x="27855" y="71030"/>
                    <a:pt x="27514" y="70464"/>
                  </a:cubicBezTo>
                  <a:cubicBezTo>
                    <a:pt x="27109" y="69793"/>
                    <a:pt x="26279" y="69553"/>
                    <a:pt x="25473" y="69553"/>
                  </a:cubicBezTo>
                  <a:cubicBezTo>
                    <a:pt x="25313" y="69553"/>
                    <a:pt x="25154" y="69562"/>
                    <a:pt x="24999" y="69580"/>
                  </a:cubicBezTo>
                  <a:cubicBezTo>
                    <a:pt x="21817" y="69942"/>
                    <a:pt x="18598" y="72595"/>
                    <a:pt x="15740" y="72595"/>
                  </a:cubicBezTo>
                  <a:cubicBezTo>
                    <a:pt x="14956" y="72595"/>
                    <a:pt x="14199" y="72395"/>
                    <a:pt x="13478" y="71894"/>
                  </a:cubicBezTo>
                  <a:cubicBezTo>
                    <a:pt x="11337" y="76062"/>
                    <a:pt x="6101" y="77629"/>
                    <a:pt x="3179" y="81294"/>
                  </a:cubicBezTo>
                  <a:cubicBezTo>
                    <a:pt x="0" y="85282"/>
                    <a:pt x="268" y="91440"/>
                    <a:pt x="3354" y="95500"/>
                  </a:cubicBezTo>
                  <a:cubicBezTo>
                    <a:pt x="6050" y="99045"/>
                    <a:pt x="10552" y="100957"/>
                    <a:pt x="15019" y="100957"/>
                  </a:cubicBezTo>
                  <a:cubicBezTo>
                    <a:pt x="15667" y="100957"/>
                    <a:pt x="16314" y="100917"/>
                    <a:pt x="16954" y="100836"/>
                  </a:cubicBezTo>
                  <a:cubicBezTo>
                    <a:pt x="17630" y="100750"/>
                    <a:pt x="18327" y="100626"/>
                    <a:pt x="19005" y="100626"/>
                  </a:cubicBezTo>
                  <a:cubicBezTo>
                    <a:pt x="19489" y="100626"/>
                    <a:pt x="19963" y="100690"/>
                    <a:pt x="20413" y="100875"/>
                  </a:cubicBezTo>
                  <a:cubicBezTo>
                    <a:pt x="21482" y="101317"/>
                    <a:pt x="22166" y="102352"/>
                    <a:pt x="23058" y="103088"/>
                  </a:cubicBezTo>
                  <a:cubicBezTo>
                    <a:pt x="23580" y="103519"/>
                    <a:pt x="24303" y="103823"/>
                    <a:pt x="24961" y="103823"/>
                  </a:cubicBezTo>
                  <a:cubicBezTo>
                    <a:pt x="25427" y="103823"/>
                    <a:pt x="25861" y="103670"/>
                    <a:pt x="26168" y="103301"/>
                  </a:cubicBezTo>
                  <a:lnTo>
                    <a:pt x="26168" y="103301"/>
                  </a:lnTo>
                  <a:cubicBezTo>
                    <a:pt x="25321" y="105399"/>
                    <a:pt x="25557" y="107902"/>
                    <a:pt x="26779" y="109805"/>
                  </a:cubicBezTo>
                  <a:cubicBezTo>
                    <a:pt x="28099" y="111859"/>
                    <a:pt x="30559" y="113484"/>
                    <a:pt x="30509" y="115926"/>
                  </a:cubicBezTo>
                  <a:cubicBezTo>
                    <a:pt x="30482" y="117190"/>
                    <a:pt x="29748" y="118318"/>
                    <a:pt x="29403" y="119536"/>
                  </a:cubicBezTo>
                  <a:cubicBezTo>
                    <a:pt x="27829" y="125109"/>
                    <a:pt x="34415" y="129657"/>
                    <a:pt x="35455" y="135354"/>
                  </a:cubicBezTo>
                  <a:cubicBezTo>
                    <a:pt x="35736" y="136888"/>
                    <a:pt x="35735" y="138735"/>
                    <a:pt x="37029" y="139601"/>
                  </a:cubicBezTo>
                  <a:cubicBezTo>
                    <a:pt x="37625" y="139999"/>
                    <a:pt x="38374" y="140081"/>
                    <a:pt x="39090" y="140127"/>
                  </a:cubicBezTo>
                  <a:cubicBezTo>
                    <a:pt x="39409" y="140148"/>
                    <a:pt x="39736" y="140158"/>
                    <a:pt x="40067" y="140158"/>
                  </a:cubicBezTo>
                  <a:cubicBezTo>
                    <a:pt x="43538" y="140158"/>
                    <a:pt x="47454" y="138962"/>
                    <a:pt x="48151" y="135675"/>
                  </a:cubicBezTo>
                  <a:cubicBezTo>
                    <a:pt x="48366" y="134657"/>
                    <a:pt x="48212" y="133602"/>
                    <a:pt x="48243" y="132560"/>
                  </a:cubicBezTo>
                  <a:cubicBezTo>
                    <a:pt x="48336" y="129451"/>
                    <a:pt x="50239" y="126459"/>
                    <a:pt x="53017" y="125056"/>
                  </a:cubicBezTo>
                  <a:cubicBezTo>
                    <a:pt x="53771" y="124675"/>
                    <a:pt x="54600" y="124390"/>
                    <a:pt x="55202" y="123799"/>
                  </a:cubicBezTo>
                  <a:cubicBezTo>
                    <a:pt x="56528" y="122495"/>
                    <a:pt x="56234" y="120283"/>
                    <a:pt x="55553" y="118553"/>
                  </a:cubicBezTo>
                  <a:cubicBezTo>
                    <a:pt x="54872" y="116821"/>
                    <a:pt x="53881" y="115076"/>
                    <a:pt x="54120" y="113231"/>
                  </a:cubicBezTo>
                  <a:cubicBezTo>
                    <a:pt x="54502" y="110269"/>
                    <a:pt x="57681" y="108706"/>
                    <a:pt x="60090" y="106941"/>
                  </a:cubicBezTo>
                  <a:cubicBezTo>
                    <a:pt x="63716" y="104284"/>
                    <a:pt x="66206" y="100125"/>
                    <a:pt x="66835" y="95675"/>
                  </a:cubicBezTo>
                  <a:lnTo>
                    <a:pt x="66835" y="95675"/>
                  </a:lnTo>
                  <a:cubicBezTo>
                    <a:pt x="65061" y="96232"/>
                    <a:pt x="63075" y="96745"/>
                    <a:pt x="61220" y="96745"/>
                  </a:cubicBezTo>
                  <a:cubicBezTo>
                    <a:pt x="59581" y="96745"/>
                    <a:pt x="58045" y="96344"/>
                    <a:pt x="56849" y="95215"/>
                  </a:cubicBezTo>
                  <a:cubicBezTo>
                    <a:pt x="55965" y="94380"/>
                    <a:pt x="55421" y="93259"/>
                    <a:pt x="54897" y="92162"/>
                  </a:cubicBezTo>
                  <a:lnTo>
                    <a:pt x="50173" y="82291"/>
                  </a:lnTo>
                  <a:cubicBezTo>
                    <a:pt x="49966" y="81857"/>
                    <a:pt x="49755" y="81362"/>
                    <a:pt x="49925" y="80912"/>
                  </a:cubicBezTo>
                  <a:cubicBezTo>
                    <a:pt x="50074" y="80517"/>
                    <a:pt x="50366" y="80356"/>
                    <a:pt x="50717" y="80356"/>
                  </a:cubicBezTo>
                  <a:cubicBezTo>
                    <a:pt x="51453" y="80356"/>
                    <a:pt x="52449" y="81064"/>
                    <a:pt x="52928" y="81807"/>
                  </a:cubicBezTo>
                  <a:cubicBezTo>
                    <a:pt x="55452" y="85724"/>
                    <a:pt x="57718" y="89804"/>
                    <a:pt x="59707" y="94020"/>
                  </a:cubicBezTo>
                  <a:cubicBezTo>
                    <a:pt x="63791" y="93273"/>
                    <a:pt x="67648" y="91596"/>
                    <a:pt x="70980" y="89118"/>
                  </a:cubicBezTo>
                  <a:cubicBezTo>
                    <a:pt x="72037" y="88329"/>
                    <a:pt x="73088" y="87386"/>
                    <a:pt x="73445" y="86117"/>
                  </a:cubicBezTo>
                  <a:cubicBezTo>
                    <a:pt x="73802" y="84846"/>
                    <a:pt x="73146" y="83218"/>
                    <a:pt x="71846" y="82993"/>
                  </a:cubicBezTo>
                  <a:cubicBezTo>
                    <a:pt x="71723" y="82971"/>
                    <a:pt x="71600" y="82963"/>
                    <a:pt x="71476" y="82963"/>
                  </a:cubicBezTo>
                  <a:cubicBezTo>
                    <a:pt x="71093" y="82963"/>
                    <a:pt x="70708" y="83045"/>
                    <a:pt x="70324" y="83086"/>
                  </a:cubicBezTo>
                  <a:cubicBezTo>
                    <a:pt x="70133" y="83106"/>
                    <a:pt x="69943" y="83115"/>
                    <a:pt x="69755" y="83115"/>
                  </a:cubicBezTo>
                  <a:cubicBezTo>
                    <a:pt x="66927" y="83115"/>
                    <a:pt x="64468" y="80925"/>
                    <a:pt x="62588" y="78727"/>
                  </a:cubicBezTo>
                  <a:cubicBezTo>
                    <a:pt x="63132" y="78118"/>
                    <a:pt x="63852" y="77890"/>
                    <a:pt x="64640" y="77890"/>
                  </a:cubicBezTo>
                  <a:cubicBezTo>
                    <a:pt x="65842" y="77890"/>
                    <a:pt x="67201" y="78421"/>
                    <a:pt x="68334" y="78941"/>
                  </a:cubicBezTo>
                  <a:cubicBezTo>
                    <a:pt x="71699" y="80486"/>
                    <a:pt x="75249" y="81588"/>
                    <a:pt x="78895" y="82221"/>
                  </a:cubicBezTo>
                  <a:cubicBezTo>
                    <a:pt x="79803" y="82378"/>
                    <a:pt x="80736" y="82513"/>
                    <a:pt x="81554" y="82936"/>
                  </a:cubicBezTo>
                  <a:cubicBezTo>
                    <a:pt x="82126" y="83232"/>
                    <a:pt x="82622" y="83658"/>
                    <a:pt x="83095" y="84096"/>
                  </a:cubicBezTo>
                  <a:cubicBezTo>
                    <a:pt x="87298" y="87967"/>
                    <a:pt x="90407" y="93013"/>
                    <a:pt x="91975" y="98509"/>
                  </a:cubicBezTo>
                  <a:cubicBezTo>
                    <a:pt x="92104" y="98538"/>
                    <a:pt x="92231" y="98552"/>
                    <a:pt x="92354" y="98552"/>
                  </a:cubicBezTo>
                  <a:cubicBezTo>
                    <a:pt x="93754" y="98552"/>
                    <a:pt x="94717" y="96760"/>
                    <a:pt x="94833" y="95252"/>
                  </a:cubicBezTo>
                  <a:cubicBezTo>
                    <a:pt x="94960" y="93612"/>
                    <a:pt x="94769" y="91722"/>
                    <a:pt x="95948" y="90578"/>
                  </a:cubicBezTo>
                  <a:cubicBezTo>
                    <a:pt x="96875" y="89678"/>
                    <a:pt x="98399" y="89556"/>
                    <a:pt x="99214" y="88552"/>
                  </a:cubicBezTo>
                  <a:cubicBezTo>
                    <a:pt x="100238" y="87289"/>
                    <a:pt x="99703" y="85157"/>
                    <a:pt x="100900" y="84056"/>
                  </a:cubicBezTo>
                  <a:cubicBezTo>
                    <a:pt x="101284" y="83704"/>
                    <a:pt x="101728" y="83552"/>
                    <a:pt x="102190" y="83552"/>
                  </a:cubicBezTo>
                  <a:cubicBezTo>
                    <a:pt x="103537" y="83552"/>
                    <a:pt x="105034" y="84844"/>
                    <a:pt x="105630" y="86240"/>
                  </a:cubicBezTo>
                  <a:cubicBezTo>
                    <a:pt x="106431" y="88116"/>
                    <a:pt x="106723" y="90422"/>
                    <a:pt x="108410" y="91569"/>
                  </a:cubicBezTo>
                  <a:lnTo>
                    <a:pt x="111137" y="91176"/>
                  </a:lnTo>
                  <a:cubicBezTo>
                    <a:pt x="111152" y="95778"/>
                    <a:pt x="112750" y="100362"/>
                    <a:pt x="115602" y="103975"/>
                  </a:cubicBezTo>
                  <a:cubicBezTo>
                    <a:pt x="117157" y="103161"/>
                    <a:pt x="116453" y="100795"/>
                    <a:pt x="115480" y="99330"/>
                  </a:cubicBezTo>
                  <a:cubicBezTo>
                    <a:pt x="114508" y="97866"/>
                    <a:pt x="113554" y="95681"/>
                    <a:pt x="114936" y="94596"/>
                  </a:cubicBezTo>
                  <a:lnTo>
                    <a:pt x="114936" y="94596"/>
                  </a:lnTo>
                  <a:cubicBezTo>
                    <a:pt x="116854" y="94614"/>
                    <a:pt x="117747" y="97259"/>
                    <a:pt x="119611" y="97712"/>
                  </a:cubicBezTo>
                  <a:cubicBezTo>
                    <a:pt x="119777" y="97752"/>
                    <a:pt x="119940" y="97771"/>
                    <a:pt x="120101" y="97771"/>
                  </a:cubicBezTo>
                  <a:cubicBezTo>
                    <a:pt x="121744" y="97771"/>
                    <a:pt x="123089" y="95790"/>
                    <a:pt x="122784" y="94080"/>
                  </a:cubicBezTo>
                  <a:cubicBezTo>
                    <a:pt x="122451" y="92201"/>
                    <a:pt x="120835" y="90820"/>
                    <a:pt x="119169" y="89895"/>
                  </a:cubicBezTo>
                  <a:cubicBezTo>
                    <a:pt x="117675" y="88258"/>
                    <a:pt x="119833" y="85644"/>
                    <a:pt x="122018" y="85274"/>
                  </a:cubicBezTo>
                  <a:cubicBezTo>
                    <a:pt x="122730" y="85153"/>
                    <a:pt x="123464" y="85138"/>
                    <a:pt x="124199" y="85138"/>
                  </a:cubicBezTo>
                  <a:cubicBezTo>
                    <a:pt x="124443" y="85138"/>
                    <a:pt x="124686" y="85140"/>
                    <a:pt x="124930" y="85140"/>
                  </a:cubicBezTo>
                  <a:cubicBezTo>
                    <a:pt x="126201" y="85140"/>
                    <a:pt x="127452" y="85095"/>
                    <a:pt x="128573" y="84531"/>
                  </a:cubicBezTo>
                  <a:cubicBezTo>
                    <a:pt x="130946" y="83339"/>
                    <a:pt x="131739" y="80207"/>
                    <a:pt x="131200" y="77607"/>
                  </a:cubicBezTo>
                  <a:cubicBezTo>
                    <a:pt x="130659" y="75007"/>
                    <a:pt x="129117" y="72748"/>
                    <a:pt x="127857" y="70410"/>
                  </a:cubicBezTo>
                  <a:cubicBezTo>
                    <a:pt x="126781" y="68413"/>
                    <a:pt x="126249" y="65298"/>
                    <a:pt x="128341" y="64420"/>
                  </a:cubicBezTo>
                  <a:cubicBezTo>
                    <a:pt x="128900" y="64186"/>
                    <a:pt x="129528" y="64195"/>
                    <a:pt x="130135" y="64170"/>
                  </a:cubicBezTo>
                  <a:cubicBezTo>
                    <a:pt x="138047" y="63837"/>
                    <a:pt x="144592" y="55459"/>
                    <a:pt x="143005" y="47701"/>
                  </a:cubicBezTo>
                  <a:cubicBezTo>
                    <a:pt x="142706" y="46238"/>
                    <a:pt x="142140" y="44786"/>
                    <a:pt x="141097" y="43719"/>
                  </a:cubicBezTo>
                  <a:cubicBezTo>
                    <a:pt x="139216" y="41800"/>
                    <a:pt x="136024" y="41349"/>
                    <a:pt x="134619" y="39057"/>
                  </a:cubicBezTo>
                  <a:cubicBezTo>
                    <a:pt x="132900" y="36255"/>
                    <a:pt x="135025" y="32537"/>
                    <a:pt x="137778" y="30737"/>
                  </a:cubicBezTo>
                  <a:cubicBezTo>
                    <a:pt x="140529" y="28938"/>
                    <a:pt x="143891" y="28156"/>
                    <a:pt x="146461" y="26105"/>
                  </a:cubicBezTo>
                  <a:cubicBezTo>
                    <a:pt x="147145" y="26087"/>
                    <a:pt x="147512" y="25417"/>
                    <a:pt x="147638" y="24743"/>
                  </a:cubicBezTo>
                  <a:cubicBezTo>
                    <a:pt x="147716" y="24319"/>
                    <a:pt x="147611" y="23887"/>
                    <a:pt x="147608" y="23456"/>
                  </a:cubicBezTo>
                  <a:cubicBezTo>
                    <a:pt x="147598" y="22276"/>
                    <a:pt x="148442" y="21139"/>
                    <a:pt x="149574" y="20805"/>
                  </a:cubicBezTo>
                  <a:cubicBezTo>
                    <a:pt x="149811" y="20736"/>
                    <a:pt x="150056" y="20702"/>
                    <a:pt x="150302" y="20702"/>
                  </a:cubicBezTo>
                  <a:cubicBezTo>
                    <a:pt x="151231" y="20702"/>
                    <a:pt x="152165" y="21179"/>
                    <a:pt x="152664" y="21968"/>
                  </a:cubicBezTo>
                  <a:cubicBezTo>
                    <a:pt x="153442" y="23198"/>
                    <a:pt x="153129" y="24821"/>
                    <a:pt x="152563" y="26163"/>
                  </a:cubicBezTo>
                  <a:cubicBezTo>
                    <a:pt x="151998" y="27505"/>
                    <a:pt x="151199" y="28790"/>
                    <a:pt x="151051" y="30239"/>
                  </a:cubicBezTo>
                  <a:cubicBezTo>
                    <a:pt x="150905" y="31687"/>
                    <a:pt x="151726" y="33391"/>
                    <a:pt x="153173" y="33553"/>
                  </a:cubicBezTo>
                  <a:cubicBezTo>
                    <a:pt x="153252" y="33562"/>
                    <a:pt x="153330" y="33566"/>
                    <a:pt x="153406" y="33566"/>
                  </a:cubicBezTo>
                  <a:cubicBezTo>
                    <a:pt x="155043" y="33566"/>
                    <a:pt x="156090" y="31574"/>
                    <a:pt x="156201" y="29877"/>
                  </a:cubicBezTo>
                  <a:cubicBezTo>
                    <a:pt x="156318" y="28099"/>
                    <a:pt x="155972" y="26160"/>
                    <a:pt x="156925" y="24659"/>
                  </a:cubicBezTo>
                  <a:cubicBezTo>
                    <a:pt x="158377" y="22374"/>
                    <a:pt x="162385" y="21839"/>
                    <a:pt x="162490" y="19133"/>
                  </a:cubicBezTo>
                  <a:cubicBezTo>
                    <a:pt x="162574" y="16945"/>
                    <a:pt x="159821" y="15661"/>
                    <a:pt x="159327" y="13530"/>
                  </a:cubicBezTo>
                  <a:cubicBezTo>
                    <a:pt x="159129" y="12668"/>
                    <a:pt x="159325" y="11773"/>
                    <a:pt x="159405" y="10894"/>
                  </a:cubicBezTo>
                  <a:cubicBezTo>
                    <a:pt x="159709" y="7612"/>
                    <a:pt x="158263" y="4218"/>
                    <a:pt x="155688" y="2163"/>
                  </a:cubicBezTo>
                  <a:cubicBezTo>
                    <a:pt x="153919" y="751"/>
                    <a:pt x="151652" y="0"/>
                    <a:pt x="149391" y="0"/>
                  </a:cubicBezTo>
                  <a:close/>
                </a:path>
              </a:pathLst>
            </a:custGeom>
            <a:noFill/>
            <a:ln w="9525" cap="flat" cmpd="sng">
              <a:solidFill>
                <a:srgbClr val="E1E7EC"/>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438" name="Google Shape;1438;p104"/>
            <p:cNvSpPr/>
            <p:nvPr/>
          </p:nvSpPr>
          <p:spPr>
            <a:xfrm>
              <a:off x="6146600" y="3671525"/>
              <a:ext cx="342925" cy="189500"/>
            </a:xfrm>
            <a:custGeom>
              <a:avLst/>
              <a:gdLst/>
              <a:ahLst/>
              <a:cxnLst/>
              <a:rect l="l" t="t" r="r" b="b"/>
              <a:pathLst>
                <a:path w="13717" h="7580" extrusionOk="0">
                  <a:moveTo>
                    <a:pt x="9951" y="0"/>
                  </a:moveTo>
                  <a:cubicBezTo>
                    <a:pt x="6355" y="0"/>
                    <a:pt x="1" y="1281"/>
                    <a:pt x="2486" y="4894"/>
                  </a:cubicBezTo>
                  <a:cubicBezTo>
                    <a:pt x="3169" y="5885"/>
                    <a:pt x="4297" y="6467"/>
                    <a:pt x="5404" y="6938"/>
                  </a:cubicBezTo>
                  <a:cubicBezTo>
                    <a:pt x="6217" y="7282"/>
                    <a:pt x="7136" y="7580"/>
                    <a:pt x="8003" y="7580"/>
                  </a:cubicBezTo>
                  <a:cubicBezTo>
                    <a:pt x="8565" y="7580"/>
                    <a:pt x="9106" y="7454"/>
                    <a:pt x="9581" y="7134"/>
                  </a:cubicBezTo>
                  <a:cubicBezTo>
                    <a:pt x="10406" y="6577"/>
                    <a:pt x="13156" y="2774"/>
                    <a:pt x="13348" y="1948"/>
                  </a:cubicBezTo>
                  <a:cubicBezTo>
                    <a:pt x="13716" y="358"/>
                    <a:pt x="13186" y="447"/>
                    <a:pt x="11597" y="126"/>
                  </a:cubicBezTo>
                  <a:cubicBezTo>
                    <a:pt x="11194" y="44"/>
                    <a:pt x="10620" y="0"/>
                    <a:pt x="9951" y="0"/>
                  </a:cubicBezTo>
                  <a:close/>
                </a:path>
              </a:pathLst>
            </a:custGeom>
            <a:noFill/>
            <a:ln w="9525" cap="flat" cmpd="sng">
              <a:solidFill>
                <a:srgbClr val="E1E7EC"/>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439" name="Google Shape;1439;p104"/>
            <p:cNvSpPr/>
            <p:nvPr/>
          </p:nvSpPr>
          <p:spPr>
            <a:xfrm>
              <a:off x="5901600" y="3652500"/>
              <a:ext cx="558700" cy="402875"/>
            </a:xfrm>
            <a:custGeom>
              <a:avLst/>
              <a:gdLst/>
              <a:ahLst/>
              <a:cxnLst/>
              <a:rect l="l" t="t" r="r" b="b"/>
              <a:pathLst>
                <a:path w="22348" h="16115" extrusionOk="0">
                  <a:moveTo>
                    <a:pt x="946" y="1"/>
                  </a:moveTo>
                  <a:cubicBezTo>
                    <a:pt x="616" y="1"/>
                    <a:pt x="299" y="66"/>
                    <a:pt x="1" y="208"/>
                  </a:cubicBezTo>
                  <a:cubicBezTo>
                    <a:pt x="742" y="1762"/>
                    <a:pt x="2032" y="3475"/>
                    <a:pt x="2935" y="5119"/>
                  </a:cubicBezTo>
                  <a:cubicBezTo>
                    <a:pt x="6575" y="11745"/>
                    <a:pt x="13987" y="16115"/>
                    <a:pt x="21544" y="16115"/>
                  </a:cubicBezTo>
                  <a:cubicBezTo>
                    <a:pt x="21635" y="16115"/>
                    <a:pt x="21726" y="16114"/>
                    <a:pt x="21817" y="16113"/>
                  </a:cubicBezTo>
                  <a:cubicBezTo>
                    <a:pt x="22347" y="15571"/>
                    <a:pt x="21564" y="14744"/>
                    <a:pt x="20866" y="14448"/>
                  </a:cubicBezTo>
                  <a:cubicBezTo>
                    <a:pt x="18934" y="13634"/>
                    <a:pt x="16857" y="13226"/>
                    <a:pt x="14879" y="12532"/>
                  </a:cubicBezTo>
                  <a:cubicBezTo>
                    <a:pt x="12900" y="11839"/>
                    <a:pt x="10943" y="10790"/>
                    <a:pt x="9769" y="9051"/>
                  </a:cubicBezTo>
                  <a:cubicBezTo>
                    <a:pt x="9280" y="8326"/>
                    <a:pt x="8945" y="7508"/>
                    <a:pt x="8542" y="6731"/>
                  </a:cubicBezTo>
                  <a:cubicBezTo>
                    <a:pt x="7503" y="4729"/>
                    <a:pt x="3759" y="1"/>
                    <a:pt x="946" y="1"/>
                  </a:cubicBezTo>
                  <a:close/>
                </a:path>
              </a:pathLst>
            </a:custGeom>
            <a:noFill/>
            <a:ln w="9525" cap="flat" cmpd="sng">
              <a:solidFill>
                <a:srgbClr val="E1E7EC"/>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440" name="Google Shape;1440;p104"/>
            <p:cNvSpPr/>
            <p:nvPr/>
          </p:nvSpPr>
          <p:spPr>
            <a:xfrm>
              <a:off x="6249675" y="4061675"/>
              <a:ext cx="964575" cy="811125"/>
            </a:xfrm>
            <a:custGeom>
              <a:avLst/>
              <a:gdLst/>
              <a:ahLst/>
              <a:cxnLst/>
              <a:rect l="l" t="t" r="r" b="b"/>
              <a:pathLst>
                <a:path w="38583" h="32445" extrusionOk="0">
                  <a:moveTo>
                    <a:pt x="17573" y="0"/>
                  </a:moveTo>
                  <a:cubicBezTo>
                    <a:pt x="14431" y="0"/>
                    <a:pt x="10968" y="2180"/>
                    <a:pt x="9011" y="4369"/>
                  </a:cubicBezTo>
                  <a:cubicBezTo>
                    <a:pt x="8028" y="5468"/>
                    <a:pt x="7111" y="6810"/>
                    <a:pt x="5676" y="7153"/>
                  </a:cubicBezTo>
                  <a:cubicBezTo>
                    <a:pt x="4830" y="7356"/>
                    <a:pt x="3925" y="7164"/>
                    <a:pt x="3076" y="7361"/>
                  </a:cubicBezTo>
                  <a:cubicBezTo>
                    <a:pt x="581" y="7938"/>
                    <a:pt x="1" y="11293"/>
                    <a:pt x="569" y="13791"/>
                  </a:cubicBezTo>
                  <a:cubicBezTo>
                    <a:pt x="1136" y="16289"/>
                    <a:pt x="2307" y="18910"/>
                    <a:pt x="1374" y="21296"/>
                  </a:cubicBezTo>
                  <a:cubicBezTo>
                    <a:pt x="1185" y="21776"/>
                    <a:pt x="913" y="22246"/>
                    <a:pt x="921" y="22762"/>
                  </a:cubicBezTo>
                  <a:cubicBezTo>
                    <a:pt x="932" y="23380"/>
                    <a:pt x="1355" y="23921"/>
                    <a:pt x="1849" y="24293"/>
                  </a:cubicBezTo>
                  <a:cubicBezTo>
                    <a:pt x="2646" y="24890"/>
                    <a:pt x="3559" y="25128"/>
                    <a:pt x="4517" y="25128"/>
                  </a:cubicBezTo>
                  <a:cubicBezTo>
                    <a:pt x="6301" y="25128"/>
                    <a:pt x="8239" y="24301"/>
                    <a:pt x="9868" y="23418"/>
                  </a:cubicBezTo>
                  <a:cubicBezTo>
                    <a:pt x="11665" y="22444"/>
                    <a:pt x="13735" y="21414"/>
                    <a:pt x="15685" y="21414"/>
                  </a:cubicBezTo>
                  <a:cubicBezTo>
                    <a:pt x="16453" y="21414"/>
                    <a:pt x="17203" y="21574"/>
                    <a:pt x="17910" y="21960"/>
                  </a:cubicBezTo>
                  <a:cubicBezTo>
                    <a:pt x="20585" y="23420"/>
                    <a:pt x="20837" y="27119"/>
                    <a:pt x="22486" y="29685"/>
                  </a:cubicBezTo>
                  <a:cubicBezTo>
                    <a:pt x="23522" y="31296"/>
                    <a:pt x="25450" y="32445"/>
                    <a:pt x="27291" y="32445"/>
                  </a:cubicBezTo>
                  <a:cubicBezTo>
                    <a:pt x="28027" y="32445"/>
                    <a:pt x="28749" y="32261"/>
                    <a:pt x="29394" y="31851"/>
                  </a:cubicBezTo>
                  <a:cubicBezTo>
                    <a:pt x="30163" y="31362"/>
                    <a:pt x="30731" y="30624"/>
                    <a:pt x="31285" y="29900"/>
                  </a:cubicBezTo>
                  <a:lnTo>
                    <a:pt x="34684" y="25460"/>
                  </a:lnTo>
                  <a:cubicBezTo>
                    <a:pt x="36183" y="23501"/>
                    <a:pt x="37736" y="21414"/>
                    <a:pt x="38025" y="18965"/>
                  </a:cubicBezTo>
                  <a:cubicBezTo>
                    <a:pt x="38582" y="14235"/>
                    <a:pt x="34390" y="10436"/>
                    <a:pt x="30609" y="7540"/>
                  </a:cubicBezTo>
                  <a:cubicBezTo>
                    <a:pt x="30407" y="6031"/>
                    <a:pt x="30190" y="4479"/>
                    <a:pt x="29421" y="3165"/>
                  </a:cubicBezTo>
                  <a:cubicBezTo>
                    <a:pt x="28683" y="1906"/>
                    <a:pt x="27576" y="1186"/>
                    <a:pt x="26718" y="1186"/>
                  </a:cubicBezTo>
                  <a:cubicBezTo>
                    <a:pt x="25783" y="1186"/>
                    <a:pt x="25141" y="2039"/>
                    <a:pt x="25589" y="3982"/>
                  </a:cubicBezTo>
                  <a:cubicBezTo>
                    <a:pt x="25561" y="3983"/>
                    <a:pt x="25533" y="3983"/>
                    <a:pt x="25505" y="3983"/>
                  </a:cubicBezTo>
                  <a:cubicBezTo>
                    <a:pt x="23077" y="3983"/>
                    <a:pt x="21095" y="399"/>
                    <a:pt x="18382" y="51"/>
                  </a:cubicBezTo>
                  <a:cubicBezTo>
                    <a:pt x="18115" y="17"/>
                    <a:pt x="17846" y="0"/>
                    <a:pt x="17573" y="0"/>
                  </a:cubicBezTo>
                  <a:close/>
                </a:path>
              </a:pathLst>
            </a:custGeom>
            <a:noFill/>
            <a:ln w="9525" cap="flat" cmpd="sng">
              <a:solidFill>
                <a:srgbClr val="E1E7EC"/>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1441" name="Google Shape;1441;p104"/>
          <p:cNvGrpSpPr/>
          <p:nvPr/>
        </p:nvGrpSpPr>
        <p:grpSpPr>
          <a:xfrm>
            <a:off x="984605" y="4010456"/>
            <a:ext cx="3497168" cy="1778053"/>
            <a:chOff x="238125" y="1038125"/>
            <a:chExt cx="7146800" cy="3633625"/>
          </a:xfrm>
        </p:grpSpPr>
        <p:sp>
          <p:nvSpPr>
            <p:cNvPr id="1442" name="Google Shape;1442;p104"/>
            <p:cNvSpPr/>
            <p:nvPr/>
          </p:nvSpPr>
          <p:spPr>
            <a:xfrm>
              <a:off x="6256150" y="3780375"/>
              <a:ext cx="62400" cy="53425"/>
            </a:xfrm>
            <a:custGeom>
              <a:avLst/>
              <a:gdLst/>
              <a:ahLst/>
              <a:cxnLst/>
              <a:rect l="l" t="t" r="r" b="b"/>
              <a:pathLst>
                <a:path w="2496" h="2137" extrusionOk="0">
                  <a:moveTo>
                    <a:pt x="1065" y="0"/>
                  </a:moveTo>
                  <a:cubicBezTo>
                    <a:pt x="472" y="0"/>
                    <a:pt x="0" y="480"/>
                    <a:pt x="0" y="1065"/>
                  </a:cubicBezTo>
                  <a:cubicBezTo>
                    <a:pt x="0" y="1709"/>
                    <a:pt x="525" y="2137"/>
                    <a:pt x="1074" y="2137"/>
                  </a:cubicBezTo>
                  <a:cubicBezTo>
                    <a:pt x="1336" y="2137"/>
                    <a:pt x="1603" y="2039"/>
                    <a:pt x="1821" y="1821"/>
                  </a:cubicBezTo>
                  <a:cubicBezTo>
                    <a:pt x="2496" y="1146"/>
                    <a:pt x="2016" y="0"/>
                    <a:pt x="1065"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443" name="Google Shape;1443;p104"/>
            <p:cNvSpPr/>
            <p:nvPr/>
          </p:nvSpPr>
          <p:spPr>
            <a:xfrm>
              <a:off x="6256150" y="3856775"/>
              <a:ext cx="62200" cy="53250"/>
            </a:xfrm>
            <a:custGeom>
              <a:avLst/>
              <a:gdLst/>
              <a:ahLst/>
              <a:cxnLst/>
              <a:rect l="l" t="t" r="r" b="b"/>
              <a:pathLst>
                <a:path w="2488" h="2130" extrusionOk="0">
                  <a:moveTo>
                    <a:pt x="1065" y="1"/>
                  </a:moveTo>
                  <a:cubicBezTo>
                    <a:pt x="480" y="1"/>
                    <a:pt x="0" y="472"/>
                    <a:pt x="0" y="1066"/>
                  </a:cubicBezTo>
                  <a:cubicBezTo>
                    <a:pt x="0" y="1704"/>
                    <a:pt x="524" y="2129"/>
                    <a:pt x="1070" y="2129"/>
                  </a:cubicBezTo>
                  <a:cubicBezTo>
                    <a:pt x="1331" y="2129"/>
                    <a:pt x="1597" y="2032"/>
                    <a:pt x="1813" y="1814"/>
                  </a:cubicBezTo>
                  <a:cubicBezTo>
                    <a:pt x="2488" y="1147"/>
                    <a:pt x="2016" y="1"/>
                    <a:pt x="1065"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444" name="Google Shape;1444;p104"/>
            <p:cNvSpPr/>
            <p:nvPr/>
          </p:nvSpPr>
          <p:spPr>
            <a:xfrm>
              <a:off x="6256150" y="3932800"/>
              <a:ext cx="62200" cy="53425"/>
            </a:xfrm>
            <a:custGeom>
              <a:avLst/>
              <a:gdLst/>
              <a:ahLst/>
              <a:cxnLst/>
              <a:rect l="l" t="t" r="r" b="b"/>
              <a:pathLst>
                <a:path w="2488" h="2137" extrusionOk="0">
                  <a:moveTo>
                    <a:pt x="1065" y="0"/>
                  </a:moveTo>
                  <a:cubicBezTo>
                    <a:pt x="472" y="0"/>
                    <a:pt x="0" y="480"/>
                    <a:pt x="0" y="1065"/>
                  </a:cubicBezTo>
                  <a:cubicBezTo>
                    <a:pt x="0" y="1709"/>
                    <a:pt x="525" y="2137"/>
                    <a:pt x="1071" y="2137"/>
                  </a:cubicBezTo>
                  <a:cubicBezTo>
                    <a:pt x="1332" y="2137"/>
                    <a:pt x="1597" y="2039"/>
                    <a:pt x="1813" y="1821"/>
                  </a:cubicBezTo>
                  <a:cubicBezTo>
                    <a:pt x="2488" y="1155"/>
                    <a:pt x="2016" y="0"/>
                    <a:pt x="1065"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445" name="Google Shape;1445;p104"/>
            <p:cNvSpPr/>
            <p:nvPr/>
          </p:nvSpPr>
          <p:spPr>
            <a:xfrm>
              <a:off x="6332350" y="3856775"/>
              <a:ext cx="62225" cy="53250"/>
            </a:xfrm>
            <a:custGeom>
              <a:avLst/>
              <a:gdLst/>
              <a:ahLst/>
              <a:cxnLst/>
              <a:rect l="l" t="t" r="r" b="b"/>
              <a:pathLst>
                <a:path w="2489" h="2130" extrusionOk="0">
                  <a:moveTo>
                    <a:pt x="1066" y="1"/>
                  </a:moveTo>
                  <a:cubicBezTo>
                    <a:pt x="472" y="1"/>
                    <a:pt x="1" y="472"/>
                    <a:pt x="1" y="1066"/>
                  </a:cubicBezTo>
                  <a:cubicBezTo>
                    <a:pt x="1" y="1704"/>
                    <a:pt x="525" y="2129"/>
                    <a:pt x="1071" y="2129"/>
                  </a:cubicBezTo>
                  <a:cubicBezTo>
                    <a:pt x="1332" y="2129"/>
                    <a:pt x="1598" y="2032"/>
                    <a:pt x="1813" y="1814"/>
                  </a:cubicBezTo>
                  <a:cubicBezTo>
                    <a:pt x="2488" y="1147"/>
                    <a:pt x="2009" y="1"/>
                    <a:pt x="1066"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446" name="Google Shape;1446;p104"/>
            <p:cNvSpPr/>
            <p:nvPr/>
          </p:nvSpPr>
          <p:spPr>
            <a:xfrm>
              <a:off x="6332350" y="3932800"/>
              <a:ext cx="62225" cy="53425"/>
            </a:xfrm>
            <a:custGeom>
              <a:avLst/>
              <a:gdLst/>
              <a:ahLst/>
              <a:cxnLst/>
              <a:rect l="l" t="t" r="r" b="b"/>
              <a:pathLst>
                <a:path w="2489" h="2137" extrusionOk="0">
                  <a:moveTo>
                    <a:pt x="1066" y="0"/>
                  </a:moveTo>
                  <a:cubicBezTo>
                    <a:pt x="472" y="8"/>
                    <a:pt x="1" y="480"/>
                    <a:pt x="1" y="1065"/>
                  </a:cubicBezTo>
                  <a:cubicBezTo>
                    <a:pt x="1" y="1709"/>
                    <a:pt x="526" y="2137"/>
                    <a:pt x="1072" y="2137"/>
                  </a:cubicBezTo>
                  <a:cubicBezTo>
                    <a:pt x="1333" y="2137"/>
                    <a:pt x="1598" y="2039"/>
                    <a:pt x="1813" y="1821"/>
                  </a:cubicBezTo>
                  <a:cubicBezTo>
                    <a:pt x="2488" y="1146"/>
                    <a:pt x="2009" y="0"/>
                    <a:pt x="1066"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447" name="Google Shape;1447;p104"/>
            <p:cNvSpPr/>
            <p:nvPr/>
          </p:nvSpPr>
          <p:spPr>
            <a:xfrm>
              <a:off x="6408350" y="3856775"/>
              <a:ext cx="62425" cy="53250"/>
            </a:xfrm>
            <a:custGeom>
              <a:avLst/>
              <a:gdLst/>
              <a:ahLst/>
              <a:cxnLst/>
              <a:rect l="l" t="t" r="r" b="b"/>
              <a:pathLst>
                <a:path w="2497" h="2130" extrusionOk="0">
                  <a:moveTo>
                    <a:pt x="1074" y="1"/>
                  </a:moveTo>
                  <a:cubicBezTo>
                    <a:pt x="481" y="1"/>
                    <a:pt x="9" y="472"/>
                    <a:pt x="1" y="1066"/>
                  </a:cubicBezTo>
                  <a:cubicBezTo>
                    <a:pt x="1" y="1704"/>
                    <a:pt x="525" y="2129"/>
                    <a:pt x="1074" y="2129"/>
                  </a:cubicBezTo>
                  <a:cubicBezTo>
                    <a:pt x="1336" y="2129"/>
                    <a:pt x="1604" y="2032"/>
                    <a:pt x="1822" y="1814"/>
                  </a:cubicBezTo>
                  <a:cubicBezTo>
                    <a:pt x="2497" y="1147"/>
                    <a:pt x="2017" y="1"/>
                    <a:pt x="1074"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448" name="Google Shape;1448;p104"/>
            <p:cNvSpPr/>
            <p:nvPr/>
          </p:nvSpPr>
          <p:spPr>
            <a:xfrm>
              <a:off x="6408350" y="3932800"/>
              <a:ext cx="62425" cy="53425"/>
            </a:xfrm>
            <a:custGeom>
              <a:avLst/>
              <a:gdLst/>
              <a:ahLst/>
              <a:cxnLst/>
              <a:rect l="l" t="t" r="r" b="b"/>
              <a:pathLst>
                <a:path w="2497" h="2137" extrusionOk="0">
                  <a:moveTo>
                    <a:pt x="1074" y="0"/>
                  </a:moveTo>
                  <a:cubicBezTo>
                    <a:pt x="481" y="0"/>
                    <a:pt x="1" y="480"/>
                    <a:pt x="1" y="1065"/>
                  </a:cubicBezTo>
                  <a:cubicBezTo>
                    <a:pt x="1" y="1709"/>
                    <a:pt x="526" y="2137"/>
                    <a:pt x="1075" y="2137"/>
                  </a:cubicBezTo>
                  <a:cubicBezTo>
                    <a:pt x="1337" y="2137"/>
                    <a:pt x="1604" y="2039"/>
                    <a:pt x="1822" y="1821"/>
                  </a:cubicBezTo>
                  <a:cubicBezTo>
                    <a:pt x="2497" y="1155"/>
                    <a:pt x="2017" y="0"/>
                    <a:pt x="1074"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449" name="Google Shape;1449;p104"/>
            <p:cNvSpPr/>
            <p:nvPr/>
          </p:nvSpPr>
          <p:spPr>
            <a:xfrm>
              <a:off x="6408350" y="4085225"/>
              <a:ext cx="62425" cy="53350"/>
            </a:xfrm>
            <a:custGeom>
              <a:avLst/>
              <a:gdLst/>
              <a:ahLst/>
              <a:cxnLst/>
              <a:rect l="l" t="t" r="r" b="b"/>
              <a:pathLst>
                <a:path w="2497" h="2134" extrusionOk="0">
                  <a:moveTo>
                    <a:pt x="1074" y="0"/>
                  </a:moveTo>
                  <a:cubicBezTo>
                    <a:pt x="481" y="0"/>
                    <a:pt x="9" y="480"/>
                    <a:pt x="1" y="1065"/>
                  </a:cubicBezTo>
                  <a:cubicBezTo>
                    <a:pt x="1" y="1709"/>
                    <a:pt x="526" y="2133"/>
                    <a:pt x="1075" y="2133"/>
                  </a:cubicBezTo>
                  <a:cubicBezTo>
                    <a:pt x="1337" y="2133"/>
                    <a:pt x="1604" y="2037"/>
                    <a:pt x="1822" y="1821"/>
                  </a:cubicBezTo>
                  <a:cubicBezTo>
                    <a:pt x="2497" y="1147"/>
                    <a:pt x="2017" y="0"/>
                    <a:pt x="1074"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450" name="Google Shape;1450;p104"/>
            <p:cNvSpPr/>
            <p:nvPr/>
          </p:nvSpPr>
          <p:spPr>
            <a:xfrm>
              <a:off x="6484575" y="3856775"/>
              <a:ext cx="62425" cy="53250"/>
            </a:xfrm>
            <a:custGeom>
              <a:avLst/>
              <a:gdLst/>
              <a:ahLst/>
              <a:cxnLst/>
              <a:rect l="l" t="t" r="r" b="b"/>
              <a:pathLst>
                <a:path w="2497" h="2130" extrusionOk="0">
                  <a:moveTo>
                    <a:pt x="1065" y="1"/>
                  </a:moveTo>
                  <a:cubicBezTo>
                    <a:pt x="480" y="1"/>
                    <a:pt x="1" y="472"/>
                    <a:pt x="1" y="1066"/>
                  </a:cubicBezTo>
                  <a:cubicBezTo>
                    <a:pt x="1" y="1704"/>
                    <a:pt x="525" y="2129"/>
                    <a:pt x="1073" y="2129"/>
                  </a:cubicBezTo>
                  <a:cubicBezTo>
                    <a:pt x="1335" y="2129"/>
                    <a:pt x="1603" y="2032"/>
                    <a:pt x="1822" y="1814"/>
                  </a:cubicBezTo>
                  <a:cubicBezTo>
                    <a:pt x="2496" y="1147"/>
                    <a:pt x="2017" y="1"/>
                    <a:pt x="1065"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451" name="Google Shape;1451;p104"/>
            <p:cNvSpPr/>
            <p:nvPr/>
          </p:nvSpPr>
          <p:spPr>
            <a:xfrm>
              <a:off x="6484575" y="3932800"/>
              <a:ext cx="62425" cy="53425"/>
            </a:xfrm>
            <a:custGeom>
              <a:avLst/>
              <a:gdLst/>
              <a:ahLst/>
              <a:cxnLst/>
              <a:rect l="l" t="t" r="r" b="b"/>
              <a:pathLst>
                <a:path w="2497" h="2137" extrusionOk="0">
                  <a:moveTo>
                    <a:pt x="1065" y="0"/>
                  </a:moveTo>
                  <a:cubicBezTo>
                    <a:pt x="480" y="0"/>
                    <a:pt x="1" y="480"/>
                    <a:pt x="1" y="1065"/>
                  </a:cubicBezTo>
                  <a:cubicBezTo>
                    <a:pt x="1" y="1709"/>
                    <a:pt x="526" y="2137"/>
                    <a:pt x="1074" y="2137"/>
                  </a:cubicBezTo>
                  <a:cubicBezTo>
                    <a:pt x="1336" y="2137"/>
                    <a:pt x="1603" y="2039"/>
                    <a:pt x="1822" y="1821"/>
                  </a:cubicBezTo>
                  <a:cubicBezTo>
                    <a:pt x="2496" y="1146"/>
                    <a:pt x="2017" y="0"/>
                    <a:pt x="1065"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452" name="Google Shape;1452;p104"/>
            <p:cNvSpPr/>
            <p:nvPr/>
          </p:nvSpPr>
          <p:spPr>
            <a:xfrm>
              <a:off x="6484575" y="4161425"/>
              <a:ext cx="62425" cy="53300"/>
            </a:xfrm>
            <a:custGeom>
              <a:avLst/>
              <a:gdLst/>
              <a:ahLst/>
              <a:cxnLst/>
              <a:rect l="l" t="t" r="r" b="b"/>
              <a:pathLst>
                <a:path w="2497" h="2132" extrusionOk="0">
                  <a:moveTo>
                    <a:pt x="1065" y="1"/>
                  </a:moveTo>
                  <a:cubicBezTo>
                    <a:pt x="480" y="1"/>
                    <a:pt x="1" y="472"/>
                    <a:pt x="1" y="1066"/>
                  </a:cubicBezTo>
                  <a:cubicBezTo>
                    <a:pt x="1" y="1708"/>
                    <a:pt x="523" y="2131"/>
                    <a:pt x="1070" y="2131"/>
                  </a:cubicBezTo>
                  <a:cubicBezTo>
                    <a:pt x="1333" y="2131"/>
                    <a:pt x="1602" y="2033"/>
                    <a:pt x="1822" y="1814"/>
                  </a:cubicBezTo>
                  <a:cubicBezTo>
                    <a:pt x="2496" y="1147"/>
                    <a:pt x="2017" y="1"/>
                    <a:pt x="1065"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453" name="Google Shape;1453;p104"/>
            <p:cNvSpPr/>
            <p:nvPr/>
          </p:nvSpPr>
          <p:spPr>
            <a:xfrm>
              <a:off x="6484575" y="4085225"/>
              <a:ext cx="62425" cy="53350"/>
            </a:xfrm>
            <a:custGeom>
              <a:avLst/>
              <a:gdLst/>
              <a:ahLst/>
              <a:cxnLst/>
              <a:rect l="l" t="t" r="r" b="b"/>
              <a:pathLst>
                <a:path w="2497" h="2134" extrusionOk="0">
                  <a:moveTo>
                    <a:pt x="1065" y="0"/>
                  </a:moveTo>
                  <a:cubicBezTo>
                    <a:pt x="480" y="0"/>
                    <a:pt x="1" y="480"/>
                    <a:pt x="1" y="1065"/>
                  </a:cubicBezTo>
                  <a:cubicBezTo>
                    <a:pt x="1" y="1709"/>
                    <a:pt x="526" y="2133"/>
                    <a:pt x="1075" y="2133"/>
                  </a:cubicBezTo>
                  <a:cubicBezTo>
                    <a:pt x="1336" y="2133"/>
                    <a:pt x="1604" y="2037"/>
                    <a:pt x="1822" y="1821"/>
                  </a:cubicBezTo>
                  <a:cubicBezTo>
                    <a:pt x="2496" y="1147"/>
                    <a:pt x="2017" y="0"/>
                    <a:pt x="1065"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454" name="Google Shape;1454;p104"/>
            <p:cNvSpPr/>
            <p:nvPr/>
          </p:nvSpPr>
          <p:spPr>
            <a:xfrm>
              <a:off x="6484575" y="4009000"/>
              <a:ext cx="62425" cy="53350"/>
            </a:xfrm>
            <a:custGeom>
              <a:avLst/>
              <a:gdLst/>
              <a:ahLst/>
              <a:cxnLst/>
              <a:rect l="l" t="t" r="r" b="b"/>
              <a:pathLst>
                <a:path w="2497" h="2134" extrusionOk="0">
                  <a:moveTo>
                    <a:pt x="1065" y="1"/>
                  </a:moveTo>
                  <a:cubicBezTo>
                    <a:pt x="480" y="1"/>
                    <a:pt x="1" y="480"/>
                    <a:pt x="1" y="1066"/>
                  </a:cubicBezTo>
                  <a:cubicBezTo>
                    <a:pt x="1" y="1710"/>
                    <a:pt x="526" y="2134"/>
                    <a:pt x="1075" y="2134"/>
                  </a:cubicBezTo>
                  <a:cubicBezTo>
                    <a:pt x="1336" y="2134"/>
                    <a:pt x="1604" y="2037"/>
                    <a:pt x="1822" y="1822"/>
                  </a:cubicBezTo>
                  <a:cubicBezTo>
                    <a:pt x="2496" y="1147"/>
                    <a:pt x="2017" y="1"/>
                    <a:pt x="1065"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455" name="Google Shape;1455;p104"/>
            <p:cNvSpPr/>
            <p:nvPr/>
          </p:nvSpPr>
          <p:spPr>
            <a:xfrm>
              <a:off x="6638425" y="3856775"/>
              <a:ext cx="62425" cy="53250"/>
            </a:xfrm>
            <a:custGeom>
              <a:avLst/>
              <a:gdLst/>
              <a:ahLst/>
              <a:cxnLst/>
              <a:rect l="l" t="t" r="r" b="b"/>
              <a:pathLst>
                <a:path w="2497" h="2130" extrusionOk="0">
                  <a:moveTo>
                    <a:pt x="1065" y="1"/>
                  </a:moveTo>
                  <a:cubicBezTo>
                    <a:pt x="480" y="1"/>
                    <a:pt x="9" y="472"/>
                    <a:pt x="1" y="1066"/>
                  </a:cubicBezTo>
                  <a:cubicBezTo>
                    <a:pt x="1" y="1704"/>
                    <a:pt x="525" y="2129"/>
                    <a:pt x="1073" y="2129"/>
                  </a:cubicBezTo>
                  <a:cubicBezTo>
                    <a:pt x="1335" y="2129"/>
                    <a:pt x="1603" y="2032"/>
                    <a:pt x="1822" y="1814"/>
                  </a:cubicBezTo>
                  <a:cubicBezTo>
                    <a:pt x="2496" y="1147"/>
                    <a:pt x="2017" y="1"/>
                    <a:pt x="1065"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456" name="Google Shape;1456;p104"/>
            <p:cNvSpPr/>
            <p:nvPr/>
          </p:nvSpPr>
          <p:spPr>
            <a:xfrm>
              <a:off x="6638425" y="3932800"/>
              <a:ext cx="62425" cy="53425"/>
            </a:xfrm>
            <a:custGeom>
              <a:avLst/>
              <a:gdLst/>
              <a:ahLst/>
              <a:cxnLst/>
              <a:rect l="l" t="t" r="r" b="b"/>
              <a:pathLst>
                <a:path w="2497" h="2137" extrusionOk="0">
                  <a:moveTo>
                    <a:pt x="1065" y="0"/>
                  </a:moveTo>
                  <a:cubicBezTo>
                    <a:pt x="480" y="0"/>
                    <a:pt x="1" y="480"/>
                    <a:pt x="1" y="1065"/>
                  </a:cubicBezTo>
                  <a:cubicBezTo>
                    <a:pt x="1" y="1709"/>
                    <a:pt x="526" y="2137"/>
                    <a:pt x="1074" y="2137"/>
                  </a:cubicBezTo>
                  <a:cubicBezTo>
                    <a:pt x="1336" y="2137"/>
                    <a:pt x="1603" y="2039"/>
                    <a:pt x="1822" y="1821"/>
                  </a:cubicBezTo>
                  <a:cubicBezTo>
                    <a:pt x="2496" y="1146"/>
                    <a:pt x="2017" y="0"/>
                    <a:pt x="1065"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457" name="Google Shape;1457;p104"/>
            <p:cNvSpPr/>
            <p:nvPr/>
          </p:nvSpPr>
          <p:spPr>
            <a:xfrm>
              <a:off x="6638425" y="4161425"/>
              <a:ext cx="62425" cy="53300"/>
            </a:xfrm>
            <a:custGeom>
              <a:avLst/>
              <a:gdLst/>
              <a:ahLst/>
              <a:cxnLst/>
              <a:rect l="l" t="t" r="r" b="b"/>
              <a:pathLst>
                <a:path w="2497" h="2132" extrusionOk="0">
                  <a:moveTo>
                    <a:pt x="1065" y="1"/>
                  </a:moveTo>
                  <a:cubicBezTo>
                    <a:pt x="480" y="1"/>
                    <a:pt x="1" y="472"/>
                    <a:pt x="1" y="1066"/>
                  </a:cubicBezTo>
                  <a:cubicBezTo>
                    <a:pt x="1" y="1708"/>
                    <a:pt x="526" y="2131"/>
                    <a:pt x="1073" y="2131"/>
                  </a:cubicBezTo>
                  <a:cubicBezTo>
                    <a:pt x="1337" y="2131"/>
                    <a:pt x="1605" y="2033"/>
                    <a:pt x="1822" y="1814"/>
                  </a:cubicBezTo>
                  <a:cubicBezTo>
                    <a:pt x="2496" y="1147"/>
                    <a:pt x="2017" y="1"/>
                    <a:pt x="1065"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458" name="Google Shape;1458;p104"/>
            <p:cNvSpPr/>
            <p:nvPr/>
          </p:nvSpPr>
          <p:spPr>
            <a:xfrm>
              <a:off x="6638425" y="4085225"/>
              <a:ext cx="62425" cy="53350"/>
            </a:xfrm>
            <a:custGeom>
              <a:avLst/>
              <a:gdLst/>
              <a:ahLst/>
              <a:cxnLst/>
              <a:rect l="l" t="t" r="r" b="b"/>
              <a:pathLst>
                <a:path w="2497" h="2134" extrusionOk="0">
                  <a:moveTo>
                    <a:pt x="1065" y="0"/>
                  </a:moveTo>
                  <a:cubicBezTo>
                    <a:pt x="480" y="0"/>
                    <a:pt x="9" y="480"/>
                    <a:pt x="1" y="1065"/>
                  </a:cubicBezTo>
                  <a:cubicBezTo>
                    <a:pt x="1" y="1709"/>
                    <a:pt x="526" y="2133"/>
                    <a:pt x="1074" y="2133"/>
                  </a:cubicBezTo>
                  <a:cubicBezTo>
                    <a:pt x="1336" y="2133"/>
                    <a:pt x="1604" y="2037"/>
                    <a:pt x="1822" y="1821"/>
                  </a:cubicBezTo>
                  <a:cubicBezTo>
                    <a:pt x="2496" y="1147"/>
                    <a:pt x="2017" y="0"/>
                    <a:pt x="1065"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459" name="Google Shape;1459;p104"/>
            <p:cNvSpPr/>
            <p:nvPr/>
          </p:nvSpPr>
          <p:spPr>
            <a:xfrm>
              <a:off x="6638425" y="4009000"/>
              <a:ext cx="62425" cy="53350"/>
            </a:xfrm>
            <a:custGeom>
              <a:avLst/>
              <a:gdLst/>
              <a:ahLst/>
              <a:cxnLst/>
              <a:rect l="l" t="t" r="r" b="b"/>
              <a:pathLst>
                <a:path w="2497" h="2134" extrusionOk="0">
                  <a:moveTo>
                    <a:pt x="1065" y="1"/>
                  </a:moveTo>
                  <a:cubicBezTo>
                    <a:pt x="480" y="1"/>
                    <a:pt x="1" y="480"/>
                    <a:pt x="1" y="1066"/>
                  </a:cubicBezTo>
                  <a:cubicBezTo>
                    <a:pt x="1" y="1710"/>
                    <a:pt x="530" y="2134"/>
                    <a:pt x="1078" y="2134"/>
                  </a:cubicBezTo>
                  <a:cubicBezTo>
                    <a:pt x="1340" y="2134"/>
                    <a:pt x="1606" y="2037"/>
                    <a:pt x="1822" y="1822"/>
                  </a:cubicBezTo>
                  <a:cubicBezTo>
                    <a:pt x="2496" y="1147"/>
                    <a:pt x="2017" y="1"/>
                    <a:pt x="1065"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460" name="Google Shape;1460;p104"/>
            <p:cNvSpPr/>
            <p:nvPr/>
          </p:nvSpPr>
          <p:spPr>
            <a:xfrm>
              <a:off x="6715450" y="3932800"/>
              <a:ext cx="62225" cy="53425"/>
            </a:xfrm>
            <a:custGeom>
              <a:avLst/>
              <a:gdLst/>
              <a:ahLst/>
              <a:cxnLst/>
              <a:rect l="l" t="t" r="r" b="b"/>
              <a:pathLst>
                <a:path w="2489" h="2137" extrusionOk="0">
                  <a:moveTo>
                    <a:pt x="1066" y="0"/>
                  </a:moveTo>
                  <a:cubicBezTo>
                    <a:pt x="480" y="0"/>
                    <a:pt x="1" y="480"/>
                    <a:pt x="1" y="1065"/>
                  </a:cubicBezTo>
                  <a:cubicBezTo>
                    <a:pt x="1" y="1709"/>
                    <a:pt x="526" y="2137"/>
                    <a:pt x="1074" y="2137"/>
                  </a:cubicBezTo>
                  <a:cubicBezTo>
                    <a:pt x="1336" y="2137"/>
                    <a:pt x="1604" y="2039"/>
                    <a:pt x="1822" y="1821"/>
                  </a:cubicBezTo>
                  <a:cubicBezTo>
                    <a:pt x="2488" y="1146"/>
                    <a:pt x="2017" y="0"/>
                    <a:pt x="1066"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461" name="Google Shape;1461;p104"/>
            <p:cNvSpPr/>
            <p:nvPr/>
          </p:nvSpPr>
          <p:spPr>
            <a:xfrm>
              <a:off x="6715450" y="4085225"/>
              <a:ext cx="62225" cy="53350"/>
            </a:xfrm>
            <a:custGeom>
              <a:avLst/>
              <a:gdLst/>
              <a:ahLst/>
              <a:cxnLst/>
              <a:rect l="l" t="t" r="r" b="b"/>
              <a:pathLst>
                <a:path w="2489" h="2134" extrusionOk="0">
                  <a:moveTo>
                    <a:pt x="1066" y="0"/>
                  </a:moveTo>
                  <a:cubicBezTo>
                    <a:pt x="480" y="0"/>
                    <a:pt x="1" y="480"/>
                    <a:pt x="1" y="1065"/>
                  </a:cubicBezTo>
                  <a:cubicBezTo>
                    <a:pt x="1" y="1709"/>
                    <a:pt x="526" y="2133"/>
                    <a:pt x="1075" y="2133"/>
                  </a:cubicBezTo>
                  <a:cubicBezTo>
                    <a:pt x="1336" y="2133"/>
                    <a:pt x="1604" y="2037"/>
                    <a:pt x="1822" y="1821"/>
                  </a:cubicBezTo>
                  <a:cubicBezTo>
                    <a:pt x="2488" y="1147"/>
                    <a:pt x="2017" y="0"/>
                    <a:pt x="1066"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462" name="Google Shape;1462;p104"/>
            <p:cNvSpPr/>
            <p:nvPr/>
          </p:nvSpPr>
          <p:spPr>
            <a:xfrm>
              <a:off x="6715450" y="4009000"/>
              <a:ext cx="62225" cy="53350"/>
            </a:xfrm>
            <a:custGeom>
              <a:avLst/>
              <a:gdLst/>
              <a:ahLst/>
              <a:cxnLst/>
              <a:rect l="l" t="t" r="r" b="b"/>
              <a:pathLst>
                <a:path w="2489" h="2134" extrusionOk="0">
                  <a:moveTo>
                    <a:pt x="1066" y="1"/>
                  </a:moveTo>
                  <a:cubicBezTo>
                    <a:pt x="480" y="1"/>
                    <a:pt x="1" y="480"/>
                    <a:pt x="1" y="1066"/>
                  </a:cubicBezTo>
                  <a:cubicBezTo>
                    <a:pt x="1" y="1710"/>
                    <a:pt x="526" y="2134"/>
                    <a:pt x="1075" y="2134"/>
                  </a:cubicBezTo>
                  <a:cubicBezTo>
                    <a:pt x="1336" y="2134"/>
                    <a:pt x="1604" y="2037"/>
                    <a:pt x="1822" y="1822"/>
                  </a:cubicBezTo>
                  <a:cubicBezTo>
                    <a:pt x="2488" y="1147"/>
                    <a:pt x="2017" y="1"/>
                    <a:pt x="1066"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463" name="Google Shape;1463;p104"/>
            <p:cNvSpPr/>
            <p:nvPr/>
          </p:nvSpPr>
          <p:spPr>
            <a:xfrm>
              <a:off x="6408350" y="4009000"/>
              <a:ext cx="62425" cy="53350"/>
            </a:xfrm>
            <a:custGeom>
              <a:avLst/>
              <a:gdLst/>
              <a:ahLst/>
              <a:cxnLst/>
              <a:rect l="l" t="t" r="r" b="b"/>
              <a:pathLst>
                <a:path w="2497" h="2134" extrusionOk="0">
                  <a:moveTo>
                    <a:pt x="1074" y="1"/>
                  </a:moveTo>
                  <a:cubicBezTo>
                    <a:pt x="481" y="1"/>
                    <a:pt x="1" y="480"/>
                    <a:pt x="1" y="1066"/>
                  </a:cubicBezTo>
                  <a:cubicBezTo>
                    <a:pt x="1" y="1710"/>
                    <a:pt x="530" y="2134"/>
                    <a:pt x="1079" y="2134"/>
                  </a:cubicBezTo>
                  <a:cubicBezTo>
                    <a:pt x="1340" y="2134"/>
                    <a:pt x="1607" y="2037"/>
                    <a:pt x="1822" y="1822"/>
                  </a:cubicBezTo>
                  <a:cubicBezTo>
                    <a:pt x="2497" y="1147"/>
                    <a:pt x="2017" y="1"/>
                    <a:pt x="1074"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464" name="Google Shape;1464;p104"/>
            <p:cNvSpPr/>
            <p:nvPr/>
          </p:nvSpPr>
          <p:spPr>
            <a:xfrm>
              <a:off x="6332350" y="4009000"/>
              <a:ext cx="62225" cy="53350"/>
            </a:xfrm>
            <a:custGeom>
              <a:avLst/>
              <a:gdLst/>
              <a:ahLst/>
              <a:cxnLst/>
              <a:rect l="l" t="t" r="r" b="b"/>
              <a:pathLst>
                <a:path w="2489" h="2134" extrusionOk="0">
                  <a:moveTo>
                    <a:pt x="1066" y="1"/>
                  </a:moveTo>
                  <a:cubicBezTo>
                    <a:pt x="472" y="1"/>
                    <a:pt x="1" y="480"/>
                    <a:pt x="1" y="1066"/>
                  </a:cubicBezTo>
                  <a:cubicBezTo>
                    <a:pt x="1" y="1710"/>
                    <a:pt x="526" y="2134"/>
                    <a:pt x="1072" y="2134"/>
                  </a:cubicBezTo>
                  <a:cubicBezTo>
                    <a:pt x="1333" y="2134"/>
                    <a:pt x="1598" y="2037"/>
                    <a:pt x="1813" y="1822"/>
                  </a:cubicBezTo>
                  <a:cubicBezTo>
                    <a:pt x="2488" y="1147"/>
                    <a:pt x="2009" y="1"/>
                    <a:pt x="1066"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465" name="Google Shape;1465;p104"/>
            <p:cNvSpPr/>
            <p:nvPr/>
          </p:nvSpPr>
          <p:spPr>
            <a:xfrm>
              <a:off x="6256150" y="4009000"/>
              <a:ext cx="62200" cy="53350"/>
            </a:xfrm>
            <a:custGeom>
              <a:avLst/>
              <a:gdLst/>
              <a:ahLst/>
              <a:cxnLst/>
              <a:rect l="l" t="t" r="r" b="b"/>
              <a:pathLst>
                <a:path w="2488" h="2134" extrusionOk="0">
                  <a:moveTo>
                    <a:pt x="1065" y="1"/>
                  </a:moveTo>
                  <a:cubicBezTo>
                    <a:pt x="472" y="1"/>
                    <a:pt x="0" y="480"/>
                    <a:pt x="0" y="1066"/>
                  </a:cubicBezTo>
                  <a:cubicBezTo>
                    <a:pt x="0" y="1710"/>
                    <a:pt x="525" y="2134"/>
                    <a:pt x="1071" y="2134"/>
                  </a:cubicBezTo>
                  <a:cubicBezTo>
                    <a:pt x="1332" y="2134"/>
                    <a:pt x="1598" y="2037"/>
                    <a:pt x="1813" y="1822"/>
                  </a:cubicBezTo>
                  <a:cubicBezTo>
                    <a:pt x="2488" y="1147"/>
                    <a:pt x="2016" y="1"/>
                    <a:pt x="1065"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466" name="Google Shape;1466;p104"/>
            <p:cNvSpPr/>
            <p:nvPr/>
          </p:nvSpPr>
          <p:spPr>
            <a:xfrm>
              <a:off x="5951475" y="3932800"/>
              <a:ext cx="62225" cy="53425"/>
            </a:xfrm>
            <a:custGeom>
              <a:avLst/>
              <a:gdLst/>
              <a:ahLst/>
              <a:cxnLst/>
              <a:rect l="l" t="t" r="r" b="b"/>
              <a:pathLst>
                <a:path w="2489" h="2137" extrusionOk="0">
                  <a:moveTo>
                    <a:pt x="1066" y="0"/>
                  </a:moveTo>
                  <a:cubicBezTo>
                    <a:pt x="472" y="8"/>
                    <a:pt x="1" y="480"/>
                    <a:pt x="1" y="1065"/>
                  </a:cubicBezTo>
                  <a:cubicBezTo>
                    <a:pt x="1" y="1709"/>
                    <a:pt x="526" y="2137"/>
                    <a:pt x="1072" y="2137"/>
                  </a:cubicBezTo>
                  <a:cubicBezTo>
                    <a:pt x="1333" y="2137"/>
                    <a:pt x="1598" y="2039"/>
                    <a:pt x="1814" y="1821"/>
                  </a:cubicBezTo>
                  <a:cubicBezTo>
                    <a:pt x="2489" y="1146"/>
                    <a:pt x="2017" y="0"/>
                    <a:pt x="1066"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467" name="Google Shape;1467;p104"/>
            <p:cNvSpPr/>
            <p:nvPr/>
          </p:nvSpPr>
          <p:spPr>
            <a:xfrm>
              <a:off x="5951475" y="4009000"/>
              <a:ext cx="62225" cy="53350"/>
            </a:xfrm>
            <a:custGeom>
              <a:avLst/>
              <a:gdLst/>
              <a:ahLst/>
              <a:cxnLst/>
              <a:rect l="l" t="t" r="r" b="b"/>
              <a:pathLst>
                <a:path w="2489" h="2134" extrusionOk="0">
                  <a:moveTo>
                    <a:pt x="1066" y="1"/>
                  </a:moveTo>
                  <a:cubicBezTo>
                    <a:pt x="472" y="1"/>
                    <a:pt x="1" y="480"/>
                    <a:pt x="1" y="1066"/>
                  </a:cubicBezTo>
                  <a:cubicBezTo>
                    <a:pt x="1" y="1710"/>
                    <a:pt x="526" y="2134"/>
                    <a:pt x="1075" y="2134"/>
                  </a:cubicBezTo>
                  <a:cubicBezTo>
                    <a:pt x="1337" y="2134"/>
                    <a:pt x="1604" y="2037"/>
                    <a:pt x="1822" y="1822"/>
                  </a:cubicBezTo>
                  <a:cubicBezTo>
                    <a:pt x="2489" y="1147"/>
                    <a:pt x="2017" y="1"/>
                    <a:pt x="1066"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468" name="Google Shape;1468;p104"/>
            <p:cNvSpPr/>
            <p:nvPr/>
          </p:nvSpPr>
          <p:spPr>
            <a:xfrm>
              <a:off x="6027500" y="3856775"/>
              <a:ext cx="62425" cy="53250"/>
            </a:xfrm>
            <a:custGeom>
              <a:avLst/>
              <a:gdLst/>
              <a:ahLst/>
              <a:cxnLst/>
              <a:rect l="l" t="t" r="r" b="b"/>
              <a:pathLst>
                <a:path w="2497" h="2130" extrusionOk="0">
                  <a:moveTo>
                    <a:pt x="1073" y="1"/>
                  </a:moveTo>
                  <a:cubicBezTo>
                    <a:pt x="480" y="1"/>
                    <a:pt x="9" y="472"/>
                    <a:pt x="0" y="1066"/>
                  </a:cubicBezTo>
                  <a:cubicBezTo>
                    <a:pt x="0" y="1704"/>
                    <a:pt x="529" y="2129"/>
                    <a:pt x="1077" y="2129"/>
                  </a:cubicBezTo>
                  <a:cubicBezTo>
                    <a:pt x="1339" y="2129"/>
                    <a:pt x="1606" y="2032"/>
                    <a:pt x="1821" y="1814"/>
                  </a:cubicBezTo>
                  <a:cubicBezTo>
                    <a:pt x="2496" y="1147"/>
                    <a:pt x="2016" y="1"/>
                    <a:pt x="1073"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469" name="Google Shape;1469;p104"/>
            <p:cNvSpPr/>
            <p:nvPr/>
          </p:nvSpPr>
          <p:spPr>
            <a:xfrm>
              <a:off x="6027500" y="3932800"/>
              <a:ext cx="62425" cy="53425"/>
            </a:xfrm>
            <a:custGeom>
              <a:avLst/>
              <a:gdLst/>
              <a:ahLst/>
              <a:cxnLst/>
              <a:rect l="l" t="t" r="r" b="b"/>
              <a:pathLst>
                <a:path w="2497" h="2137" extrusionOk="0">
                  <a:moveTo>
                    <a:pt x="1073" y="0"/>
                  </a:moveTo>
                  <a:cubicBezTo>
                    <a:pt x="480" y="0"/>
                    <a:pt x="9" y="480"/>
                    <a:pt x="0" y="1065"/>
                  </a:cubicBezTo>
                  <a:cubicBezTo>
                    <a:pt x="0" y="1709"/>
                    <a:pt x="529" y="2137"/>
                    <a:pt x="1078" y="2137"/>
                  </a:cubicBezTo>
                  <a:cubicBezTo>
                    <a:pt x="1340" y="2137"/>
                    <a:pt x="1606" y="2039"/>
                    <a:pt x="1821" y="1821"/>
                  </a:cubicBezTo>
                  <a:cubicBezTo>
                    <a:pt x="2496" y="1155"/>
                    <a:pt x="2016" y="0"/>
                    <a:pt x="1073"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470" name="Google Shape;1470;p104"/>
            <p:cNvSpPr/>
            <p:nvPr/>
          </p:nvSpPr>
          <p:spPr>
            <a:xfrm>
              <a:off x="6027500" y="4009000"/>
              <a:ext cx="62425" cy="53350"/>
            </a:xfrm>
            <a:custGeom>
              <a:avLst/>
              <a:gdLst/>
              <a:ahLst/>
              <a:cxnLst/>
              <a:rect l="l" t="t" r="r" b="b"/>
              <a:pathLst>
                <a:path w="2497" h="2134" extrusionOk="0">
                  <a:moveTo>
                    <a:pt x="1073" y="1"/>
                  </a:moveTo>
                  <a:cubicBezTo>
                    <a:pt x="480" y="1"/>
                    <a:pt x="9" y="480"/>
                    <a:pt x="0" y="1066"/>
                  </a:cubicBezTo>
                  <a:cubicBezTo>
                    <a:pt x="0" y="1710"/>
                    <a:pt x="529" y="2134"/>
                    <a:pt x="1078" y="2134"/>
                  </a:cubicBezTo>
                  <a:cubicBezTo>
                    <a:pt x="1340" y="2134"/>
                    <a:pt x="1606" y="2037"/>
                    <a:pt x="1821" y="1822"/>
                  </a:cubicBezTo>
                  <a:cubicBezTo>
                    <a:pt x="2496" y="1147"/>
                    <a:pt x="2016" y="1"/>
                    <a:pt x="1073"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471" name="Google Shape;1471;p104"/>
            <p:cNvSpPr/>
            <p:nvPr/>
          </p:nvSpPr>
          <p:spPr>
            <a:xfrm>
              <a:off x="6103700" y="3780375"/>
              <a:ext cx="62425" cy="53475"/>
            </a:xfrm>
            <a:custGeom>
              <a:avLst/>
              <a:gdLst/>
              <a:ahLst/>
              <a:cxnLst/>
              <a:rect l="l" t="t" r="r" b="b"/>
              <a:pathLst>
                <a:path w="2497" h="2139" extrusionOk="0">
                  <a:moveTo>
                    <a:pt x="1066" y="0"/>
                  </a:moveTo>
                  <a:cubicBezTo>
                    <a:pt x="481" y="0"/>
                    <a:pt x="1" y="480"/>
                    <a:pt x="1" y="1073"/>
                  </a:cubicBezTo>
                  <a:cubicBezTo>
                    <a:pt x="6" y="1715"/>
                    <a:pt x="530" y="2139"/>
                    <a:pt x="1078" y="2139"/>
                  </a:cubicBezTo>
                  <a:cubicBezTo>
                    <a:pt x="1342" y="2139"/>
                    <a:pt x="1611" y="2040"/>
                    <a:pt x="1830" y="1821"/>
                  </a:cubicBezTo>
                  <a:cubicBezTo>
                    <a:pt x="2497" y="1146"/>
                    <a:pt x="2017" y="0"/>
                    <a:pt x="1066"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472" name="Google Shape;1472;p104"/>
            <p:cNvSpPr/>
            <p:nvPr/>
          </p:nvSpPr>
          <p:spPr>
            <a:xfrm>
              <a:off x="6103700" y="3856775"/>
              <a:ext cx="62425" cy="53300"/>
            </a:xfrm>
            <a:custGeom>
              <a:avLst/>
              <a:gdLst/>
              <a:ahLst/>
              <a:cxnLst/>
              <a:rect l="l" t="t" r="r" b="b"/>
              <a:pathLst>
                <a:path w="2497" h="2132" extrusionOk="0">
                  <a:moveTo>
                    <a:pt x="1066" y="1"/>
                  </a:moveTo>
                  <a:cubicBezTo>
                    <a:pt x="481" y="1"/>
                    <a:pt x="1" y="480"/>
                    <a:pt x="1" y="1066"/>
                  </a:cubicBezTo>
                  <a:cubicBezTo>
                    <a:pt x="6" y="1708"/>
                    <a:pt x="530" y="2131"/>
                    <a:pt x="1075" y="2131"/>
                  </a:cubicBezTo>
                  <a:cubicBezTo>
                    <a:pt x="1338" y="2131"/>
                    <a:pt x="1605" y="2033"/>
                    <a:pt x="1822" y="1814"/>
                  </a:cubicBezTo>
                  <a:cubicBezTo>
                    <a:pt x="2497" y="1147"/>
                    <a:pt x="2017" y="1"/>
                    <a:pt x="1066"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473" name="Google Shape;1473;p104"/>
            <p:cNvSpPr/>
            <p:nvPr/>
          </p:nvSpPr>
          <p:spPr>
            <a:xfrm>
              <a:off x="6103700" y="3932800"/>
              <a:ext cx="62425" cy="53475"/>
            </a:xfrm>
            <a:custGeom>
              <a:avLst/>
              <a:gdLst/>
              <a:ahLst/>
              <a:cxnLst/>
              <a:rect l="l" t="t" r="r" b="b"/>
              <a:pathLst>
                <a:path w="2497" h="2139" extrusionOk="0">
                  <a:moveTo>
                    <a:pt x="1066" y="0"/>
                  </a:moveTo>
                  <a:cubicBezTo>
                    <a:pt x="481" y="0"/>
                    <a:pt x="1" y="480"/>
                    <a:pt x="1" y="1073"/>
                  </a:cubicBezTo>
                  <a:cubicBezTo>
                    <a:pt x="6" y="1715"/>
                    <a:pt x="530" y="2139"/>
                    <a:pt x="1075" y="2139"/>
                  </a:cubicBezTo>
                  <a:cubicBezTo>
                    <a:pt x="1338" y="2139"/>
                    <a:pt x="1605" y="2041"/>
                    <a:pt x="1822" y="1821"/>
                  </a:cubicBezTo>
                  <a:cubicBezTo>
                    <a:pt x="2497" y="1146"/>
                    <a:pt x="2017" y="0"/>
                    <a:pt x="1066"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474" name="Google Shape;1474;p104"/>
            <p:cNvSpPr/>
            <p:nvPr/>
          </p:nvSpPr>
          <p:spPr>
            <a:xfrm>
              <a:off x="6103700" y="4009000"/>
              <a:ext cx="62425" cy="53350"/>
            </a:xfrm>
            <a:custGeom>
              <a:avLst/>
              <a:gdLst/>
              <a:ahLst/>
              <a:cxnLst/>
              <a:rect l="l" t="t" r="r" b="b"/>
              <a:pathLst>
                <a:path w="2497" h="2134" extrusionOk="0">
                  <a:moveTo>
                    <a:pt x="1066" y="1"/>
                  </a:moveTo>
                  <a:cubicBezTo>
                    <a:pt x="481" y="1"/>
                    <a:pt x="1" y="480"/>
                    <a:pt x="1" y="1066"/>
                  </a:cubicBezTo>
                  <a:cubicBezTo>
                    <a:pt x="1" y="1710"/>
                    <a:pt x="530" y="2134"/>
                    <a:pt x="1079" y="2134"/>
                  </a:cubicBezTo>
                  <a:cubicBezTo>
                    <a:pt x="1340" y="2134"/>
                    <a:pt x="1607" y="2037"/>
                    <a:pt x="1822" y="1822"/>
                  </a:cubicBezTo>
                  <a:cubicBezTo>
                    <a:pt x="2497" y="1147"/>
                    <a:pt x="2017" y="1"/>
                    <a:pt x="1066"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475" name="Google Shape;1475;p104"/>
            <p:cNvSpPr/>
            <p:nvPr/>
          </p:nvSpPr>
          <p:spPr>
            <a:xfrm>
              <a:off x="6179925" y="3704150"/>
              <a:ext cx="62225" cy="53450"/>
            </a:xfrm>
            <a:custGeom>
              <a:avLst/>
              <a:gdLst/>
              <a:ahLst/>
              <a:cxnLst/>
              <a:rect l="l" t="t" r="r" b="b"/>
              <a:pathLst>
                <a:path w="2489" h="2138" extrusionOk="0">
                  <a:moveTo>
                    <a:pt x="1065" y="1"/>
                  </a:moveTo>
                  <a:cubicBezTo>
                    <a:pt x="480" y="1"/>
                    <a:pt x="0" y="480"/>
                    <a:pt x="0" y="1066"/>
                  </a:cubicBezTo>
                  <a:cubicBezTo>
                    <a:pt x="0" y="1709"/>
                    <a:pt x="526" y="2137"/>
                    <a:pt x="1074" y="2137"/>
                  </a:cubicBezTo>
                  <a:cubicBezTo>
                    <a:pt x="1336" y="2137"/>
                    <a:pt x="1603" y="2040"/>
                    <a:pt x="1821" y="1822"/>
                  </a:cubicBezTo>
                  <a:cubicBezTo>
                    <a:pt x="2488" y="1147"/>
                    <a:pt x="2017" y="1"/>
                    <a:pt x="1065"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476" name="Google Shape;1476;p104"/>
            <p:cNvSpPr/>
            <p:nvPr/>
          </p:nvSpPr>
          <p:spPr>
            <a:xfrm>
              <a:off x="6179925" y="3780375"/>
              <a:ext cx="62425" cy="53425"/>
            </a:xfrm>
            <a:custGeom>
              <a:avLst/>
              <a:gdLst/>
              <a:ahLst/>
              <a:cxnLst/>
              <a:rect l="l" t="t" r="r" b="b"/>
              <a:pathLst>
                <a:path w="2497" h="2137" extrusionOk="0">
                  <a:moveTo>
                    <a:pt x="1065" y="0"/>
                  </a:moveTo>
                  <a:cubicBezTo>
                    <a:pt x="480" y="0"/>
                    <a:pt x="0" y="480"/>
                    <a:pt x="0" y="1065"/>
                  </a:cubicBezTo>
                  <a:cubicBezTo>
                    <a:pt x="0" y="1709"/>
                    <a:pt x="529" y="2137"/>
                    <a:pt x="1078" y="2137"/>
                  </a:cubicBezTo>
                  <a:cubicBezTo>
                    <a:pt x="1340" y="2137"/>
                    <a:pt x="1606" y="2039"/>
                    <a:pt x="1821" y="1821"/>
                  </a:cubicBezTo>
                  <a:cubicBezTo>
                    <a:pt x="2496" y="1146"/>
                    <a:pt x="2017" y="0"/>
                    <a:pt x="1065"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477" name="Google Shape;1477;p104"/>
            <p:cNvSpPr/>
            <p:nvPr/>
          </p:nvSpPr>
          <p:spPr>
            <a:xfrm>
              <a:off x="6179925" y="4009000"/>
              <a:ext cx="62225" cy="53350"/>
            </a:xfrm>
            <a:custGeom>
              <a:avLst/>
              <a:gdLst/>
              <a:ahLst/>
              <a:cxnLst/>
              <a:rect l="l" t="t" r="r" b="b"/>
              <a:pathLst>
                <a:path w="2489" h="2134" extrusionOk="0">
                  <a:moveTo>
                    <a:pt x="1065" y="1"/>
                  </a:moveTo>
                  <a:cubicBezTo>
                    <a:pt x="480" y="1"/>
                    <a:pt x="0" y="480"/>
                    <a:pt x="0" y="1066"/>
                  </a:cubicBezTo>
                  <a:cubicBezTo>
                    <a:pt x="0" y="1710"/>
                    <a:pt x="526" y="2134"/>
                    <a:pt x="1074" y="2134"/>
                  </a:cubicBezTo>
                  <a:cubicBezTo>
                    <a:pt x="1336" y="2134"/>
                    <a:pt x="1603" y="2037"/>
                    <a:pt x="1821" y="1822"/>
                  </a:cubicBezTo>
                  <a:cubicBezTo>
                    <a:pt x="2488" y="1147"/>
                    <a:pt x="2017" y="1"/>
                    <a:pt x="1065"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478" name="Google Shape;1478;p104"/>
            <p:cNvSpPr/>
            <p:nvPr/>
          </p:nvSpPr>
          <p:spPr>
            <a:xfrm>
              <a:off x="6179925" y="3932800"/>
              <a:ext cx="62225" cy="53425"/>
            </a:xfrm>
            <a:custGeom>
              <a:avLst/>
              <a:gdLst/>
              <a:ahLst/>
              <a:cxnLst/>
              <a:rect l="l" t="t" r="r" b="b"/>
              <a:pathLst>
                <a:path w="2489" h="2137" extrusionOk="0">
                  <a:moveTo>
                    <a:pt x="1065" y="0"/>
                  </a:moveTo>
                  <a:cubicBezTo>
                    <a:pt x="480" y="0"/>
                    <a:pt x="0" y="480"/>
                    <a:pt x="0" y="1065"/>
                  </a:cubicBezTo>
                  <a:cubicBezTo>
                    <a:pt x="0" y="1709"/>
                    <a:pt x="526" y="2137"/>
                    <a:pt x="1074" y="2137"/>
                  </a:cubicBezTo>
                  <a:cubicBezTo>
                    <a:pt x="1336" y="2137"/>
                    <a:pt x="1603" y="2039"/>
                    <a:pt x="1821" y="1821"/>
                  </a:cubicBezTo>
                  <a:cubicBezTo>
                    <a:pt x="2488" y="1146"/>
                    <a:pt x="2017" y="0"/>
                    <a:pt x="1065"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479" name="Google Shape;1479;p104"/>
            <p:cNvSpPr/>
            <p:nvPr/>
          </p:nvSpPr>
          <p:spPr>
            <a:xfrm>
              <a:off x="6179925" y="3856775"/>
              <a:ext cx="62225" cy="53250"/>
            </a:xfrm>
            <a:custGeom>
              <a:avLst/>
              <a:gdLst/>
              <a:ahLst/>
              <a:cxnLst/>
              <a:rect l="l" t="t" r="r" b="b"/>
              <a:pathLst>
                <a:path w="2489" h="2130" extrusionOk="0">
                  <a:moveTo>
                    <a:pt x="1065" y="1"/>
                  </a:moveTo>
                  <a:cubicBezTo>
                    <a:pt x="480" y="1"/>
                    <a:pt x="0" y="472"/>
                    <a:pt x="0" y="1066"/>
                  </a:cubicBezTo>
                  <a:cubicBezTo>
                    <a:pt x="0" y="1704"/>
                    <a:pt x="525" y="2129"/>
                    <a:pt x="1073" y="2129"/>
                  </a:cubicBezTo>
                  <a:cubicBezTo>
                    <a:pt x="1335" y="2129"/>
                    <a:pt x="1603" y="2032"/>
                    <a:pt x="1821" y="1814"/>
                  </a:cubicBezTo>
                  <a:cubicBezTo>
                    <a:pt x="2488" y="1147"/>
                    <a:pt x="2017" y="1"/>
                    <a:pt x="1065"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480" name="Google Shape;1480;p104"/>
            <p:cNvSpPr/>
            <p:nvPr/>
          </p:nvSpPr>
          <p:spPr>
            <a:xfrm>
              <a:off x="7170300" y="3780375"/>
              <a:ext cx="62400" cy="53425"/>
            </a:xfrm>
            <a:custGeom>
              <a:avLst/>
              <a:gdLst/>
              <a:ahLst/>
              <a:cxnLst/>
              <a:rect l="l" t="t" r="r" b="b"/>
              <a:pathLst>
                <a:path w="2496" h="2137" extrusionOk="0">
                  <a:moveTo>
                    <a:pt x="1065" y="0"/>
                  </a:moveTo>
                  <a:cubicBezTo>
                    <a:pt x="480" y="0"/>
                    <a:pt x="0" y="480"/>
                    <a:pt x="0" y="1065"/>
                  </a:cubicBezTo>
                  <a:cubicBezTo>
                    <a:pt x="0" y="1709"/>
                    <a:pt x="525" y="2137"/>
                    <a:pt x="1074" y="2137"/>
                  </a:cubicBezTo>
                  <a:cubicBezTo>
                    <a:pt x="1336" y="2137"/>
                    <a:pt x="1603" y="2039"/>
                    <a:pt x="1821" y="1821"/>
                  </a:cubicBezTo>
                  <a:cubicBezTo>
                    <a:pt x="2496" y="1146"/>
                    <a:pt x="2016" y="0"/>
                    <a:pt x="1065"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481" name="Google Shape;1481;p104"/>
            <p:cNvSpPr/>
            <p:nvPr/>
          </p:nvSpPr>
          <p:spPr>
            <a:xfrm>
              <a:off x="6865650" y="3856775"/>
              <a:ext cx="62200" cy="53250"/>
            </a:xfrm>
            <a:custGeom>
              <a:avLst/>
              <a:gdLst/>
              <a:ahLst/>
              <a:cxnLst/>
              <a:rect l="l" t="t" r="r" b="b"/>
              <a:pathLst>
                <a:path w="2488" h="2130" extrusionOk="0">
                  <a:moveTo>
                    <a:pt x="1065" y="1"/>
                  </a:moveTo>
                  <a:cubicBezTo>
                    <a:pt x="480" y="1"/>
                    <a:pt x="0" y="472"/>
                    <a:pt x="0" y="1066"/>
                  </a:cubicBezTo>
                  <a:cubicBezTo>
                    <a:pt x="0" y="1704"/>
                    <a:pt x="525" y="2129"/>
                    <a:pt x="1073" y="2129"/>
                  </a:cubicBezTo>
                  <a:cubicBezTo>
                    <a:pt x="1335" y="2129"/>
                    <a:pt x="1603" y="2032"/>
                    <a:pt x="1821" y="1814"/>
                  </a:cubicBezTo>
                  <a:cubicBezTo>
                    <a:pt x="2488" y="1147"/>
                    <a:pt x="2016" y="1"/>
                    <a:pt x="1065"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482" name="Google Shape;1482;p104"/>
            <p:cNvSpPr/>
            <p:nvPr/>
          </p:nvSpPr>
          <p:spPr>
            <a:xfrm>
              <a:off x="6865650" y="3780375"/>
              <a:ext cx="62400" cy="53425"/>
            </a:xfrm>
            <a:custGeom>
              <a:avLst/>
              <a:gdLst/>
              <a:ahLst/>
              <a:cxnLst/>
              <a:rect l="l" t="t" r="r" b="b"/>
              <a:pathLst>
                <a:path w="2496" h="2137" extrusionOk="0">
                  <a:moveTo>
                    <a:pt x="1065" y="0"/>
                  </a:moveTo>
                  <a:cubicBezTo>
                    <a:pt x="480" y="0"/>
                    <a:pt x="0" y="480"/>
                    <a:pt x="0" y="1065"/>
                  </a:cubicBezTo>
                  <a:cubicBezTo>
                    <a:pt x="0" y="1709"/>
                    <a:pt x="525" y="2137"/>
                    <a:pt x="1074" y="2137"/>
                  </a:cubicBezTo>
                  <a:cubicBezTo>
                    <a:pt x="1336" y="2137"/>
                    <a:pt x="1603" y="2039"/>
                    <a:pt x="1821" y="1821"/>
                  </a:cubicBezTo>
                  <a:cubicBezTo>
                    <a:pt x="2496" y="1146"/>
                    <a:pt x="2016" y="0"/>
                    <a:pt x="1065"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483" name="Google Shape;1483;p104"/>
            <p:cNvSpPr/>
            <p:nvPr/>
          </p:nvSpPr>
          <p:spPr>
            <a:xfrm>
              <a:off x="6941850" y="3704150"/>
              <a:ext cx="62225" cy="53450"/>
            </a:xfrm>
            <a:custGeom>
              <a:avLst/>
              <a:gdLst/>
              <a:ahLst/>
              <a:cxnLst/>
              <a:rect l="l" t="t" r="r" b="b"/>
              <a:pathLst>
                <a:path w="2489" h="2138" extrusionOk="0">
                  <a:moveTo>
                    <a:pt x="1066" y="1"/>
                  </a:moveTo>
                  <a:cubicBezTo>
                    <a:pt x="472" y="1"/>
                    <a:pt x="1" y="480"/>
                    <a:pt x="1" y="1066"/>
                  </a:cubicBezTo>
                  <a:cubicBezTo>
                    <a:pt x="1" y="1709"/>
                    <a:pt x="526" y="2137"/>
                    <a:pt x="1072" y="2137"/>
                  </a:cubicBezTo>
                  <a:cubicBezTo>
                    <a:pt x="1333" y="2137"/>
                    <a:pt x="1598" y="2040"/>
                    <a:pt x="1814" y="1822"/>
                  </a:cubicBezTo>
                  <a:cubicBezTo>
                    <a:pt x="2488" y="1147"/>
                    <a:pt x="2017" y="1"/>
                    <a:pt x="1066"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484" name="Google Shape;1484;p104"/>
            <p:cNvSpPr/>
            <p:nvPr/>
          </p:nvSpPr>
          <p:spPr>
            <a:xfrm>
              <a:off x="6789225" y="3627950"/>
              <a:ext cx="62425" cy="53425"/>
            </a:xfrm>
            <a:custGeom>
              <a:avLst/>
              <a:gdLst/>
              <a:ahLst/>
              <a:cxnLst/>
              <a:rect l="l" t="t" r="r" b="b"/>
              <a:pathLst>
                <a:path w="2497" h="2137" extrusionOk="0">
                  <a:moveTo>
                    <a:pt x="1074" y="0"/>
                  </a:moveTo>
                  <a:cubicBezTo>
                    <a:pt x="480" y="8"/>
                    <a:pt x="9" y="480"/>
                    <a:pt x="1" y="1073"/>
                  </a:cubicBezTo>
                  <a:cubicBezTo>
                    <a:pt x="1" y="1711"/>
                    <a:pt x="529" y="2137"/>
                    <a:pt x="1077" y="2137"/>
                  </a:cubicBezTo>
                  <a:cubicBezTo>
                    <a:pt x="1339" y="2137"/>
                    <a:pt x="1606" y="2039"/>
                    <a:pt x="1822" y="1821"/>
                  </a:cubicBezTo>
                  <a:cubicBezTo>
                    <a:pt x="2496" y="1154"/>
                    <a:pt x="2017" y="8"/>
                    <a:pt x="1074"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485" name="Google Shape;1485;p104"/>
            <p:cNvSpPr/>
            <p:nvPr/>
          </p:nvSpPr>
          <p:spPr>
            <a:xfrm>
              <a:off x="6637000" y="3475725"/>
              <a:ext cx="62225" cy="53350"/>
            </a:xfrm>
            <a:custGeom>
              <a:avLst/>
              <a:gdLst/>
              <a:ahLst/>
              <a:cxnLst/>
              <a:rect l="l" t="t" r="r" b="b"/>
              <a:pathLst>
                <a:path w="2489" h="2134" extrusionOk="0">
                  <a:moveTo>
                    <a:pt x="1066" y="0"/>
                  </a:moveTo>
                  <a:cubicBezTo>
                    <a:pt x="472" y="0"/>
                    <a:pt x="1" y="472"/>
                    <a:pt x="1" y="1065"/>
                  </a:cubicBezTo>
                  <a:cubicBezTo>
                    <a:pt x="1" y="1709"/>
                    <a:pt x="526" y="2133"/>
                    <a:pt x="1072" y="2133"/>
                  </a:cubicBezTo>
                  <a:cubicBezTo>
                    <a:pt x="1333" y="2133"/>
                    <a:pt x="1598" y="2037"/>
                    <a:pt x="1813" y="1821"/>
                  </a:cubicBezTo>
                  <a:cubicBezTo>
                    <a:pt x="2488" y="1146"/>
                    <a:pt x="2017" y="0"/>
                    <a:pt x="1066"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486" name="Google Shape;1486;p104"/>
            <p:cNvSpPr/>
            <p:nvPr/>
          </p:nvSpPr>
          <p:spPr>
            <a:xfrm>
              <a:off x="6256150" y="3399500"/>
              <a:ext cx="62200" cy="53350"/>
            </a:xfrm>
            <a:custGeom>
              <a:avLst/>
              <a:gdLst/>
              <a:ahLst/>
              <a:cxnLst/>
              <a:rect l="l" t="t" r="r" b="b"/>
              <a:pathLst>
                <a:path w="2488" h="2134" extrusionOk="0">
                  <a:moveTo>
                    <a:pt x="1065" y="1"/>
                  </a:moveTo>
                  <a:cubicBezTo>
                    <a:pt x="472" y="1"/>
                    <a:pt x="0" y="480"/>
                    <a:pt x="0" y="1066"/>
                  </a:cubicBezTo>
                  <a:cubicBezTo>
                    <a:pt x="0" y="1709"/>
                    <a:pt x="525" y="2134"/>
                    <a:pt x="1071" y="2134"/>
                  </a:cubicBezTo>
                  <a:cubicBezTo>
                    <a:pt x="1332" y="2134"/>
                    <a:pt x="1598" y="2037"/>
                    <a:pt x="1813" y="1822"/>
                  </a:cubicBezTo>
                  <a:cubicBezTo>
                    <a:pt x="2488" y="1147"/>
                    <a:pt x="2016" y="1"/>
                    <a:pt x="1065"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487" name="Google Shape;1487;p104"/>
            <p:cNvSpPr/>
            <p:nvPr/>
          </p:nvSpPr>
          <p:spPr>
            <a:xfrm>
              <a:off x="6484575" y="3551925"/>
              <a:ext cx="62425" cy="53250"/>
            </a:xfrm>
            <a:custGeom>
              <a:avLst/>
              <a:gdLst/>
              <a:ahLst/>
              <a:cxnLst/>
              <a:rect l="l" t="t" r="r" b="b"/>
              <a:pathLst>
                <a:path w="2497" h="2130" extrusionOk="0">
                  <a:moveTo>
                    <a:pt x="1065" y="1"/>
                  </a:moveTo>
                  <a:cubicBezTo>
                    <a:pt x="480" y="1"/>
                    <a:pt x="1" y="472"/>
                    <a:pt x="1" y="1066"/>
                  </a:cubicBezTo>
                  <a:cubicBezTo>
                    <a:pt x="1" y="1704"/>
                    <a:pt x="525" y="2129"/>
                    <a:pt x="1073" y="2129"/>
                  </a:cubicBezTo>
                  <a:cubicBezTo>
                    <a:pt x="1335" y="2129"/>
                    <a:pt x="1603" y="2032"/>
                    <a:pt x="1822" y="1814"/>
                  </a:cubicBezTo>
                  <a:cubicBezTo>
                    <a:pt x="2496" y="1147"/>
                    <a:pt x="2017" y="1"/>
                    <a:pt x="1065"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488" name="Google Shape;1488;p104"/>
            <p:cNvSpPr/>
            <p:nvPr/>
          </p:nvSpPr>
          <p:spPr>
            <a:xfrm>
              <a:off x="6484575" y="3475725"/>
              <a:ext cx="62425" cy="53350"/>
            </a:xfrm>
            <a:custGeom>
              <a:avLst/>
              <a:gdLst/>
              <a:ahLst/>
              <a:cxnLst/>
              <a:rect l="l" t="t" r="r" b="b"/>
              <a:pathLst>
                <a:path w="2497" h="2134" extrusionOk="0">
                  <a:moveTo>
                    <a:pt x="1065" y="0"/>
                  </a:moveTo>
                  <a:cubicBezTo>
                    <a:pt x="480" y="0"/>
                    <a:pt x="1" y="480"/>
                    <a:pt x="1" y="1065"/>
                  </a:cubicBezTo>
                  <a:cubicBezTo>
                    <a:pt x="1" y="1709"/>
                    <a:pt x="526" y="2133"/>
                    <a:pt x="1075" y="2133"/>
                  </a:cubicBezTo>
                  <a:cubicBezTo>
                    <a:pt x="1336" y="2133"/>
                    <a:pt x="1604" y="2037"/>
                    <a:pt x="1822" y="1821"/>
                  </a:cubicBezTo>
                  <a:cubicBezTo>
                    <a:pt x="2496" y="1146"/>
                    <a:pt x="2017" y="0"/>
                    <a:pt x="1065"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489" name="Google Shape;1489;p104"/>
            <p:cNvSpPr/>
            <p:nvPr/>
          </p:nvSpPr>
          <p:spPr>
            <a:xfrm>
              <a:off x="6408350" y="3551925"/>
              <a:ext cx="62425" cy="53250"/>
            </a:xfrm>
            <a:custGeom>
              <a:avLst/>
              <a:gdLst/>
              <a:ahLst/>
              <a:cxnLst/>
              <a:rect l="l" t="t" r="r" b="b"/>
              <a:pathLst>
                <a:path w="2497" h="2130" extrusionOk="0">
                  <a:moveTo>
                    <a:pt x="1074" y="1"/>
                  </a:moveTo>
                  <a:cubicBezTo>
                    <a:pt x="481" y="1"/>
                    <a:pt x="9" y="472"/>
                    <a:pt x="1" y="1066"/>
                  </a:cubicBezTo>
                  <a:cubicBezTo>
                    <a:pt x="1" y="1704"/>
                    <a:pt x="525" y="2129"/>
                    <a:pt x="1074" y="2129"/>
                  </a:cubicBezTo>
                  <a:cubicBezTo>
                    <a:pt x="1336" y="2129"/>
                    <a:pt x="1604" y="2032"/>
                    <a:pt x="1822" y="1814"/>
                  </a:cubicBezTo>
                  <a:cubicBezTo>
                    <a:pt x="2497" y="1147"/>
                    <a:pt x="2017" y="1"/>
                    <a:pt x="1074"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490" name="Google Shape;1490;p104"/>
            <p:cNvSpPr/>
            <p:nvPr/>
          </p:nvSpPr>
          <p:spPr>
            <a:xfrm>
              <a:off x="6408350" y="3475725"/>
              <a:ext cx="62425" cy="53350"/>
            </a:xfrm>
            <a:custGeom>
              <a:avLst/>
              <a:gdLst/>
              <a:ahLst/>
              <a:cxnLst/>
              <a:rect l="l" t="t" r="r" b="b"/>
              <a:pathLst>
                <a:path w="2497" h="2134" extrusionOk="0">
                  <a:moveTo>
                    <a:pt x="1074" y="0"/>
                  </a:moveTo>
                  <a:cubicBezTo>
                    <a:pt x="481" y="0"/>
                    <a:pt x="1" y="472"/>
                    <a:pt x="1" y="1065"/>
                  </a:cubicBezTo>
                  <a:cubicBezTo>
                    <a:pt x="1" y="1709"/>
                    <a:pt x="526" y="2133"/>
                    <a:pt x="1075" y="2133"/>
                  </a:cubicBezTo>
                  <a:cubicBezTo>
                    <a:pt x="1337" y="2133"/>
                    <a:pt x="1604" y="2037"/>
                    <a:pt x="1822" y="1821"/>
                  </a:cubicBezTo>
                  <a:cubicBezTo>
                    <a:pt x="2497" y="1146"/>
                    <a:pt x="2017" y="0"/>
                    <a:pt x="1074"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491" name="Google Shape;1491;p104"/>
            <p:cNvSpPr/>
            <p:nvPr/>
          </p:nvSpPr>
          <p:spPr>
            <a:xfrm>
              <a:off x="6332350" y="3475725"/>
              <a:ext cx="62225" cy="53350"/>
            </a:xfrm>
            <a:custGeom>
              <a:avLst/>
              <a:gdLst/>
              <a:ahLst/>
              <a:cxnLst/>
              <a:rect l="l" t="t" r="r" b="b"/>
              <a:pathLst>
                <a:path w="2489" h="2134" extrusionOk="0">
                  <a:moveTo>
                    <a:pt x="1066" y="0"/>
                  </a:moveTo>
                  <a:cubicBezTo>
                    <a:pt x="472" y="0"/>
                    <a:pt x="1" y="480"/>
                    <a:pt x="1" y="1065"/>
                  </a:cubicBezTo>
                  <a:cubicBezTo>
                    <a:pt x="1" y="1709"/>
                    <a:pt x="526" y="2133"/>
                    <a:pt x="1072" y="2133"/>
                  </a:cubicBezTo>
                  <a:cubicBezTo>
                    <a:pt x="1333" y="2133"/>
                    <a:pt x="1598" y="2037"/>
                    <a:pt x="1813" y="1821"/>
                  </a:cubicBezTo>
                  <a:cubicBezTo>
                    <a:pt x="2488" y="1146"/>
                    <a:pt x="2009" y="0"/>
                    <a:pt x="1066"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492" name="Google Shape;1492;p104"/>
            <p:cNvSpPr/>
            <p:nvPr/>
          </p:nvSpPr>
          <p:spPr>
            <a:xfrm>
              <a:off x="6332350" y="3399500"/>
              <a:ext cx="62225" cy="53350"/>
            </a:xfrm>
            <a:custGeom>
              <a:avLst/>
              <a:gdLst/>
              <a:ahLst/>
              <a:cxnLst/>
              <a:rect l="l" t="t" r="r" b="b"/>
              <a:pathLst>
                <a:path w="2489" h="2134" extrusionOk="0">
                  <a:moveTo>
                    <a:pt x="1066" y="1"/>
                  </a:moveTo>
                  <a:cubicBezTo>
                    <a:pt x="472" y="1"/>
                    <a:pt x="1" y="480"/>
                    <a:pt x="1" y="1066"/>
                  </a:cubicBezTo>
                  <a:cubicBezTo>
                    <a:pt x="1" y="1709"/>
                    <a:pt x="526" y="2134"/>
                    <a:pt x="1072" y="2134"/>
                  </a:cubicBezTo>
                  <a:cubicBezTo>
                    <a:pt x="1333" y="2134"/>
                    <a:pt x="1598" y="2037"/>
                    <a:pt x="1813" y="1822"/>
                  </a:cubicBezTo>
                  <a:cubicBezTo>
                    <a:pt x="2488" y="1147"/>
                    <a:pt x="2009" y="1"/>
                    <a:pt x="1066"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493" name="Google Shape;1493;p104"/>
            <p:cNvSpPr/>
            <p:nvPr/>
          </p:nvSpPr>
          <p:spPr>
            <a:xfrm>
              <a:off x="7094075" y="4237450"/>
              <a:ext cx="62425" cy="53425"/>
            </a:xfrm>
            <a:custGeom>
              <a:avLst/>
              <a:gdLst/>
              <a:ahLst/>
              <a:cxnLst/>
              <a:rect l="l" t="t" r="r" b="b"/>
              <a:pathLst>
                <a:path w="2497" h="2137" extrusionOk="0">
                  <a:moveTo>
                    <a:pt x="1066" y="0"/>
                  </a:moveTo>
                  <a:cubicBezTo>
                    <a:pt x="480" y="8"/>
                    <a:pt x="1" y="480"/>
                    <a:pt x="1" y="1073"/>
                  </a:cubicBezTo>
                  <a:cubicBezTo>
                    <a:pt x="1" y="1711"/>
                    <a:pt x="525" y="2137"/>
                    <a:pt x="1073" y="2137"/>
                  </a:cubicBezTo>
                  <a:cubicBezTo>
                    <a:pt x="1336" y="2137"/>
                    <a:pt x="1603" y="2040"/>
                    <a:pt x="1822" y="1821"/>
                  </a:cubicBezTo>
                  <a:cubicBezTo>
                    <a:pt x="2496" y="1155"/>
                    <a:pt x="2017" y="0"/>
                    <a:pt x="1066"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494" name="Google Shape;1494;p104"/>
            <p:cNvSpPr/>
            <p:nvPr/>
          </p:nvSpPr>
          <p:spPr>
            <a:xfrm>
              <a:off x="7017875" y="4389875"/>
              <a:ext cx="62400" cy="53350"/>
            </a:xfrm>
            <a:custGeom>
              <a:avLst/>
              <a:gdLst/>
              <a:ahLst/>
              <a:cxnLst/>
              <a:rect l="l" t="t" r="r" b="b"/>
              <a:pathLst>
                <a:path w="2496" h="2134" extrusionOk="0">
                  <a:moveTo>
                    <a:pt x="1073" y="0"/>
                  </a:moveTo>
                  <a:cubicBezTo>
                    <a:pt x="480" y="0"/>
                    <a:pt x="8" y="480"/>
                    <a:pt x="0" y="1065"/>
                  </a:cubicBezTo>
                  <a:cubicBezTo>
                    <a:pt x="0" y="1709"/>
                    <a:pt x="529" y="2133"/>
                    <a:pt x="1078" y="2133"/>
                  </a:cubicBezTo>
                  <a:cubicBezTo>
                    <a:pt x="1340" y="2133"/>
                    <a:pt x="1606" y="2037"/>
                    <a:pt x="1821" y="1821"/>
                  </a:cubicBezTo>
                  <a:cubicBezTo>
                    <a:pt x="2496" y="1147"/>
                    <a:pt x="2016" y="0"/>
                    <a:pt x="1073"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495" name="Google Shape;1495;p104"/>
            <p:cNvSpPr/>
            <p:nvPr/>
          </p:nvSpPr>
          <p:spPr>
            <a:xfrm>
              <a:off x="7017875" y="4313650"/>
              <a:ext cx="62400" cy="53450"/>
            </a:xfrm>
            <a:custGeom>
              <a:avLst/>
              <a:gdLst/>
              <a:ahLst/>
              <a:cxnLst/>
              <a:rect l="l" t="t" r="r" b="b"/>
              <a:pathLst>
                <a:path w="2496" h="2138" extrusionOk="0">
                  <a:moveTo>
                    <a:pt x="1073" y="1"/>
                  </a:moveTo>
                  <a:cubicBezTo>
                    <a:pt x="480" y="1"/>
                    <a:pt x="8" y="480"/>
                    <a:pt x="0" y="1066"/>
                  </a:cubicBezTo>
                  <a:cubicBezTo>
                    <a:pt x="0" y="1709"/>
                    <a:pt x="529" y="2137"/>
                    <a:pt x="1078" y="2137"/>
                  </a:cubicBezTo>
                  <a:cubicBezTo>
                    <a:pt x="1339" y="2137"/>
                    <a:pt x="1606" y="2040"/>
                    <a:pt x="1821" y="1822"/>
                  </a:cubicBezTo>
                  <a:cubicBezTo>
                    <a:pt x="2496" y="1147"/>
                    <a:pt x="2016" y="1"/>
                    <a:pt x="1073"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496" name="Google Shape;1496;p104"/>
            <p:cNvSpPr/>
            <p:nvPr/>
          </p:nvSpPr>
          <p:spPr>
            <a:xfrm>
              <a:off x="6941850" y="4389875"/>
              <a:ext cx="62225" cy="53350"/>
            </a:xfrm>
            <a:custGeom>
              <a:avLst/>
              <a:gdLst/>
              <a:ahLst/>
              <a:cxnLst/>
              <a:rect l="l" t="t" r="r" b="b"/>
              <a:pathLst>
                <a:path w="2489" h="2134" extrusionOk="0">
                  <a:moveTo>
                    <a:pt x="1066" y="0"/>
                  </a:moveTo>
                  <a:cubicBezTo>
                    <a:pt x="472" y="0"/>
                    <a:pt x="1" y="480"/>
                    <a:pt x="1" y="1065"/>
                  </a:cubicBezTo>
                  <a:cubicBezTo>
                    <a:pt x="1" y="1709"/>
                    <a:pt x="526" y="2133"/>
                    <a:pt x="1072" y="2133"/>
                  </a:cubicBezTo>
                  <a:cubicBezTo>
                    <a:pt x="1333" y="2133"/>
                    <a:pt x="1598" y="2037"/>
                    <a:pt x="1814" y="1821"/>
                  </a:cubicBezTo>
                  <a:cubicBezTo>
                    <a:pt x="2488" y="1147"/>
                    <a:pt x="2017" y="0"/>
                    <a:pt x="1066"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497" name="Google Shape;1497;p104"/>
            <p:cNvSpPr/>
            <p:nvPr/>
          </p:nvSpPr>
          <p:spPr>
            <a:xfrm>
              <a:off x="6484575" y="4389875"/>
              <a:ext cx="62425" cy="53350"/>
            </a:xfrm>
            <a:custGeom>
              <a:avLst/>
              <a:gdLst/>
              <a:ahLst/>
              <a:cxnLst/>
              <a:rect l="l" t="t" r="r" b="b"/>
              <a:pathLst>
                <a:path w="2497" h="2134" extrusionOk="0">
                  <a:moveTo>
                    <a:pt x="1065" y="0"/>
                  </a:moveTo>
                  <a:cubicBezTo>
                    <a:pt x="480" y="0"/>
                    <a:pt x="1" y="480"/>
                    <a:pt x="1" y="1065"/>
                  </a:cubicBezTo>
                  <a:cubicBezTo>
                    <a:pt x="1" y="1709"/>
                    <a:pt x="526" y="2133"/>
                    <a:pt x="1075" y="2133"/>
                  </a:cubicBezTo>
                  <a:cubicBezTo>
                    <a:pt x="1336" y="2133"/>
                    <a:pt x="1604" y="2037"/>
                    <a:pt x="1822" y="1821"/>
                  </a:cubicBezTo>
                  <a:cubicBezTo>
                    <a:pt x="2496" y="1147"/>
                    <a:pt x="2017" y="0"/>
                    <a:pt x="1065"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498" name="Google Shape;1498;p104"/>
            <p:cNvSpPr/>
            <p:nvPr/>
          </p:nvSpPr>
          <p:spPr>
            <a:xfrm>
              <a:off x="6560800" y="4237450"/>
              <a:ext cx="62200" cy="53425"/>
            </a:xfrm>
            <a:custGeom>
              <a:avLst/>
              <a:gdLst/>
              <a:ahLst/>
              <a:cxnLst/>
              <a:rect l="l" t="t" r="r" b="b"/>
              <a:pathLst>
                <a:path w="2488" h="2137" extrusionOk="0">
                  <a:moveTo>
                    <a:pt x="1065" y="0"/>
                  </a:moveTo>
                  <a:cubicBezTo>
                    <a:pt x="480" y="8"/>
                    <a:pt x="0" y="480"/>
                    <a:pt x="0" y="1073"/>
                  </a:cubicBezTo>
                  <a:cubicBezTo>
                    <a:pt x="0" y="1711"/>
                    <a:pt x="524" y="2137"/>
                    <a:pt x="1073" y="2137"/>
                  </a:cubicBezTo>
                  <a:cubicBezTo>
                    <a:pt x="1335" y="2137"/>
                    <a:pt x="1603" y="2040"/>
                    <a:pt x="1821" y="1821"/>
                  </a:cubicBezTo>
                  <a:cubicBezTo>
                    <a:pt x="2488" y="1155"/>
                    <a:pt x="2016" y="0"/>
                    <a:pt x="1065"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499" name="Google Shape;1499;p104"/>
            <p:cNvSpPr/>
            <p:nvPr/>
          </p:nvSpPr>
          <p:spPr>
            <a:xfrm>
              <a:off x="6560800" y="4161425"/>
              <a:ext cx="62200" cy="53300"/>
            </a:xfrm>
            <a:custGeom>
              <a:avLst/>
              <a:gdLst/>
              <a:ahLst/>
              <a:cxnLst/>
              <a:rect l="l" t="t" r="r" b="b"/>
              <a:pathLst>
                <a:path w="2488" h="2132" extrusionOk="0">
                  <a:moveTo>
                    <a:pt x="1065" y="1"/>
                  </a:moveTo>
                  <a:cubicBezTo>
                    <a:pt x="480" y="1"/>
                    <a:pt x="0" y="472"/>
                    <a:pt x="0" y="1066"/>
                  </a:cubicBezTo>
                  <a:cubicBezTo>
                    <a:pt x="0" y="1708"/>
                    <a:pt x="522" y="2131"/>
                    <a:pt x="1069" y="2131"/>
                  </a:cubicBezTo>
                  <a:cubicBezTo>
                    <a:pt x="1333" y="2131"/>
                    <a:pt x="1602" y="2033"/>
                    <a:pt x="1821" y="1814"/>
                  </a:cubicBezTo>
                  <a:cubicBezTo>
                    <a:pt x="2488" y="1147"/>
                    <a:pt x="2016" y="1"/>
                    <a:pt x="1065"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500" name="Google Shape;1500;p104"/>
            <p:cNvSpPr/>
            <p:nvPr/>
          </p:nvSpPr>
          <p:spPr>
            <a:xfrm>
              <a:off x="6560800" y="4085225"/>
              <a:ext cx="62200" cy="53350"/>
            </a:xfrm>
            <a:custGeom>
              <a:avLst/>
              <a:gdLst/>
              <a:ahLst/>
              <a:cxnLst/>
              <a:rect l="l" t="t" r="r" b="b"/>
              <a:pathLst>
                <a:path w="2488" h="2134" extrusionOk="0">
                  <a:moveTo>
                    <a:pt x="1065" y="0"/>
                  </a:moveTo>
                  <a:cubicBezTo>
                    <a:pt x="480" y="0"/>
                    <a:pt x="0" y="480"/>
                    <a:pt x="0" y="1065"/>
                  </a:cubicBezTo>
                  <a:cubicBezTo>
                    <a:pt x="0" y="1709"/>
                    <a:pt x="525" y="2133"/>
                    <a:pt x="1074" y="2133"/>
                  </a:cubicBezTo>
                  <a:cubicBezTo>
                    <a:pt x="1336" y="2133"/>
                    <a:pt x="1603" y="2037"/>
                    <a:pt x="1821" y="1821"/>
                  </a:cubicBezTo>
                  <a:cubicBezTo>
                    <a:pt x="2488" y="1147"/>
                    <a:pt x="2016" y="0"/>
                    <a:pt x="1065"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501" name="Google Shape;1501;p104"/>
            <p:cNvSpPr/>
            <p:nvPr/>
          </p:nvSpPr>
          <p:spPr>
            <a:xfrm>
              <a:off x="6560800" y="4009000"/>
              <a:ext cx="62200" cy="53350"/>
            </a:xfrm>
            <a:custGeom>
              <a:avLst/>
              <a:gdLst/>
              <a:ahLst/>
              <a:cxnLst/>
              <a:rect l="l" t="t" r="r" b="b"/>
              <a:pathLst>
                <a:path w="2488" h="2134" extrusionOk="0">
                  <a:moveTo>
                    <a:pt x="1065" y="1"/>
                  </a:moveTo>
                  <a:cubicBezTo>
                    <a:pt x="480" y="1"/>
                    <a:pt x="0" y="480"/>
                    <a:pt x="0" y="1066"/>
                  </a:cubicBezTo>
                  <a:cubicBezTo>
                    <a:pt x="0" y="1710"/>
                    <a:pt x="525" y="2134"/>
                    <a:pt x="1074" y="2134"/>
                  </a:cubicBezTo>
                  <a:cubicBezTo>
                    <a:pt x="1336" y="2134"/>
                    <a:pt x="1603" y="2037"/>
                    <a:pt x="1821" y="1822"/>
                  </a:cubicBezTo>
                  <a:cubicBezTo>
                    <a:pt x="2488" y="1147"/>
                    <a:pt x="2016" y="1"/>
                    <a:pt x="1065"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502" name="Google Shape;1502;p104"/>
            <p:cNvSpPr/>
            <p:nvPr/>
          </p:nvSpPr>
          <p:spPr>
            <a:xfrm>
              <a:off x="6560800" y="3932800"/>
              <a:ext cx="62200" cy="53425"/>
            </a:xfrm>
            <a:custGeom>
              <a:avLst/>
              <a:gdLst/>
              <a:ahLst/>
              <a:cxnLst/>
              <a:rect l="l" t="t" r="r" b="b"/>
              <a:pathLst>
                <a:path w="2488" h="2137" extrusionOk="0">
                  <a:moveTo>
                    <a:pt x="1065" y="0"/>
                  </a:moveTo>
                  <a:cubicBezTo>
                    <a:pt x="480" y="0"/>
                    <a:pt x="0" y="480"/>
                    <a:pt x="0" y="1065"/>
                  </a:cubicBezTo>
                  <a:cubicBezTo>
                    <a:pt x="0" y="1709"/>
                    <a:pt x="525" y="2137"/>
                    <a:pt x="1074" y="2137"/>
                  </a:cubicBezTo>
                  <a:cubicBezTo>
                    <a:pt x="1336" y="2137"/>
                    <a:pt x="1603" y="2039"/>
                    <a:pt x="1821" y="1821"/>
                  </a:cubicBezTo>
                  <a:cubicBezTo>
                    <a:pt x="2488" y="1146"/>
                    <a:pt x="2016" y="0"/>
                    <a:pt x="1065"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503" name="Google Shape;1503;p104"/>
            <p:cNvSpPr/>
            <p:nvPr/>
          </p:nvSpPr>
          <p:spPr>
            <a:xfrm>
              <a:off x="6560800" y="3856775"/>
              <a:ext cx="62200" cy="53250"/>
            </a:xfrm>
            <a:custGeom>
              <a:avLst/>
              <a:gdLst/>
              <a:ahLst/>
              <a:cxnLst/>
              <a:rect l="l" t="t" r="r" b="b"/>
              <a:pathLst>
                <a:path w="2488" h="2130" extrusionOk="0">
                  <a:moveTo>
                    <a:pt x="1065" y="1"/>
                  </a:moveTo>
                  <a:cubicBezTo>
                    <a:pt x="480" y="1"/>
                    <a:pt x="0" y="472"/>
                    <a:pt x="0" y="1066"/>
                  </a:cubicBezTo>
                  <a:cubicBezTo>
                    <a:pt x="0" y="1704"/>
                    <a:pt x="524" y="2129"/>
                    <a:pt x="1073" y="2129"/>
                  </a:cubicBezTo>
                  <a:cubicBezTo>
                    <a:pt x="1335" y="2129"/>
                    <a:pt x="1603" y="2032"/>
                    <a:pt x="1821" y="1814"/>
                  </a:cubicBezTo>
                  <a:cubicBezTo>
                    <a:pt x="2488" y="1147"/>
                    <a:pt x="2016" y="1"/>
                    <a:pt x="1065"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504" name="Google Shape;1504;p104"/>
            <p:cNvSpPr/>
            <p:nvPr/>
          </p:nvSpPr>
          <p:spPr>
            <a:xfrm>
              <a:off x="6560800" y="3780375"/>
              <a:ext cx="62400" cy="53425"/>
            </a:xfrm>
            <a:custGeom>
              <a:avLst/>
              <a:gdLst/>
              <a:ahLst/>
              <a:cxnLst/>
              <a:rect l="l" t="t" r="r" b="b"/>
              <a:pathLst>
                <a:path w="2496" h="2137" extrusionOk="0">
                  <a:moveTo>
                    <a:pt x="1065" y="0"/>
                  </a:moveTo>
                  <a:cubicBezTo>
                    <a:pt x="480" y="0"/>
                    <a:pt x="0" y="480"/>
                    <a:pt x="0" y="1065"/>
                  </a:cubicBezTo>
                  <a:cubicBezTo>
                    <a:pt x="0" y="1709"/>
                    <a:pt x="529" y="2137"/>
                    <a:pt x="1077" y="2137"/>
                  </a:cubicBezTo>
                  <a:cubicBezTo>
                    <a:pt x="1339" y="2137"/>
                    <a:pt x="1606" y="2039"/>
                    <a:pt x="1821" y="1821"/>
                  </a:cubicBezTo>
                  <a:cubicBezTo>
                    <a:pt x="2496" y="1146"/>
                    <a:pt x="2016" y="0"/>
                    <a:pt x="1065"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505" name="Google Shape;1505;p104"/>
            <p:cNvSpPr/>
            <p:nvPr/>
          </p:nvSpPr>
          <p:spPr>
            <a:xfrm>
              <a:off x="6484575" y="4237450"/>
              <a:ext cx="62425" cy="53425"/>
            </a:xfrm>
            <a:custGeom>
              <a:avLst/>
              <a:gdLst/>
              <a:ahLst/>
              <a:cxnLst/>
              <a:rect l="l" t="t" r="r" b="b"/>
              <a:pathLst>
                <a:path w="2497" h="2137" extrusionOk="0">
                  <a:moveTo>
                    <a:pt x="1065" y="0"/>
                  </a:moveTo>
                  <a:cubicBezTo>
                    <a:pt x="480" y="8"/>
                    <a:pt x="1" y="480"/>
                    <a:pt x="1" y="1073"/>
                  </a:cubicBezTo>
                  <a:cubicBezTo>
                    <a:pt x="1" y="1711"/>
                    <a:pt x="525" y="2137"/>
                    <a:pt x="1073" y="2137"/>
                  </a:cubicBezTo>
                  <a:cubicBezTo>
                    <a:pt x="1335" y="2137"/>
                    <a:pt x="1603" y="2040"/>
                    <a:pt x="1822" y="1821"/>
                  </a:cubicBezTo>
                  <a:cubicBezTo>
                    <a:pt x="2496" y="1155"/>
                    <a:pt x="2017" y="0"/>
                    <a:pt x="1065"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506" name="Google Shape;1506;p104"/>
            <p:cNvSpPr/>
            <p:nvPr/>
          </p:nvSpPr>
          <p:spPr>
            <a:xfrm>
              <a:off x="6484575" y="3780375"/>
              <a:ext cx="62425" cy="53425"/>
            </a:xfrm>
            <a:custGeom>
              <a:avLst/>
              <a:gdLst/>
              <a:ahLst/>
              <a:cxnLst/>
              <a:rect l="l" t="t" r="r" b="b"/>
              <a:pathLst>
                <a:path w="2497" h="2137" extrusionOk="0">
                  <a:moveTo>
                    <a:pt x="1065" y="0"/>
                  </a:moveTo>
                  <a:cubicBezTo>
                    <a:pt x="480" y="0"/>
                    <a:pt x="1" y="480"/>
                    <a:pt x="1" y="1065"/>
                  </a:cubicBezTo>
                  <a:cubicBezTo>
                    <a:pt x="1" y="1709"/>
                    <a:pt x="529" y="2137"/>
                    <a:pt x="1078" y="2137"/>
                  </a:cubicBezTo>
                  <a:cubicBezTo>
                    <a:pt x="1340" y="2137"/>
                    <a:pt x="1606" y="2039"/>
                    <a:pt x="1822" y="1821"/>
                  </a:cubicBezTo>
                  <a:cubicBezTo>
                    <a:pt x="2496" y="1146"/>
                    <a:pt x="2017" y="0"/>
                    <a:pt x="1065"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507" name="Google Shape;1507;p104"/>
            <p:cNvSpPr/>
            <p:nvPr/>
          </p:nvSpPr>
          <p:spPr>
            <a:xfrm>
              <a:off x="6484575" y="3704150"/>
              <a:ext cx="62425" cy="53450"/>
            </a:xfrm>
            <a:custGeom>
              <a:avLst/>
              <a:gdLst/>
              <a:ahLst/>
              <a:cxnLst/>
              <a:rect l="l" t="t" r="r" b="b"/>
              <a:pathLst>
                <a:path w="2497" h="2138" extrusionOk="0">
                  <a:moveTo>
                    <a:pt x="1065" y="1"/>
                  </a:moveTo>
                  <a:cubicBezTo>
                    <a:pt x="480" y="1"/>
                    <a:pt x="1" y="480"/>
                    <a:pt x="1" y="1066"/>
                  </a:cubicBezTo>
                  <a:cubicBezTo>
                    <a:pt x="1" y="1709"/>
                    <a:pt x="526" y="2137"/>
                    <a:pt x="1074" y="2137"/>
                  </a:cubicBezTo>
                  <a:cubicBezTo>
                    <a:pt x="1336" y="2137"/>
                    <a:pt x="1603" y="2040"/>
                    <a:pt x="1822" y="1822"/>
                  </a:cubicBezTo>
                  <a:cubicBezTo>
                    <a:pt x="2496" y="1147"/>
                    <a:pt x="2017" y="1"/>
                    <a:pt x="1065"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508" name="Google Shape;1508;p104"/>
            <p:cNvSpPr/>
            <p:nvPr/>
          </p:nvSpPr>
          <p:spPr>
            <a:xfrm>
              <a:off x="6408350" y="4237450"/>
              <a:ext cx="62425" cy="53425"/>
            </a:xfrm>
            <a:custGeom>
              <a:avLst/>
              <a:gdLst/>
              <a:ahLst/>
              <a:cxnLst/>
              <a:rect l="l" t="t" r="r" b="b"/>
              <a:pathLst>
                <a:path w="2497" h="2137" extrusionOk="0">
                  <a:moveTo>
                    <a:pt x="1074" y="0"/>
                  </a:moveTo>
                  <a:cubicBezTo>
                    <a:pt x="481" y="8"/>
                    <a:pt x="9" y="480"/>
                    <a:pt x="1" y="1073"/>
                  </a:cubicBezTo>
                  <a:cubicBezTo>
                    <a:pt x="1" y="1711"/>
                    <a:pt x="525" y="2137"/>
                    <a:pt x="1074" y="2137"/>
                  </a:cubicBezTo>
                  <a:cubicBezTo>
                    <a:pt x="1336" y="2137"/>
                    <a:pt x="1604" y="2040"/>
                    <a:pt x="1822" y="1821"/>
                  </a:cubicBezTo>
                  <a:cubicBezTo>
                    <a:pt x="2497" y="1155"/>
                    <a:pt x="2017" y="0"/>
                    <a:pt x="1074"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509" name="Google Shape;1509;p104"/>
            <p:cNvSpPr/>
            <p:nvPr/>
          </p:nvSpPr>
          <p:spPr>
            <a:xfrm>
              <a:off x="6408350" y="4161425"/>
              <a:ext cx="62425" cy="53300"/>
            </a:xfrm>
            <a:custGeom>
              <a:avLst/>
              <a:gdLst/>
              <a:ahLst/>
              <a:cxnLst/>
              <a:rect l="l" t="t" r="r" b="b"/>
              <a:pathLst>
                <a:path w="2497" h="2132" extrusionOk="0">
                  <a:moveTo>
                    <a:pt x="1074" y="1"/>
                  </a:moveTo>
                  <a:cubicBezTo>
                    <a:pt x="481" y="1"/>
                    <a:pt x="1" y="472"/>
                    <a:pt x="1" y="1066"/>
                  </a:cubicBezTo>
                  <a:cubicBezTo>
                    <a:pt x="1" y="1708"/>
                    <a:pt x="527" y="2131"/>
                    <a:pt x="1074" y="2131"/>
                  </a:cubicBezTo>
                  <a:cubicBezTo>
                    <a:pt x="1337" y="2131"/>
                    <a:pt x="1605" y="2033"/>
                    <a:pt x="1822" y="1814"/>
                  </a:cubicBezTo>
                  <a:cubicBezTo>
                    <a:pt x="2497" y="1147"/>
                    <a:pt x="2017" y="1"/>
                    <a:pt x="1074"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510" name="Google Shape;1510;p104"/>
            <p:cNvSpPr/>
            <p:nvPr/>
          </p:nvSpPr>
          <p:spPr>
            <a:xfrm>
              <a:off x="6408350" y="3780375"/>
              <a:ext cx="62425" cy="53425"/>
            </a:xfrm>
            <a:custGeom>
              <a:avLst/>
              <a:gdLst/>
              <a:ahLst/>
              <a:cxnLst/>
              <a:rect l="l" t="t" r="r" b="b"/>
              <a:pathLst>
                <a:path w="2497" h="2137" extrusionOk="0">
                  <a:moveTo>
                    <a:pt x="1074" y="0"/>
                  </a:moveTo>
                  <a:cubicBezTo>
                    <a:pt x="481" y="0"/>
                    <a:pt x="1" y="480"/>
                    <a:pt x="1" y="1065"/>
                  </a:cubicBezTo>
                  <a:cubicBezTo>
                    <a:pt x="1" y="1709"/>
                    <a:pt x="530" y="2137"/>
                    <a:pt x="1081" y="2137"/>
                  </a:cubicBezTo>
                  <a:cubicBezTo>
                    <a:pt x="1344" y="2137"/>
                    <a:pt x="1612" y="2039"/>
                    <a:pt x="1830" y="1821"/>
                  </a:cubicBezTo>
                  <a:cubicBezTo>
                    <a:pt x="2497" y="1146"/>
                    <a:pt x="2025" y="0"/>
                    <a:pt x="1074"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511" name="Google Shape;1511;p104"/>
            <p:cNvSpPr/>
            <p:nvPr/>
          </p:nvSpPr>
          <p:spPr>
            <a:xfrm>
              <a:off x="6408350" y="3704150"/>
              <a:ext cx="62425" cy="53450"/>
            </a:xfrm>
            <a:custGeom>
              <a:avLst/>
              <a:gdLst/>
              <a:ahLst/>
              <a:cxnLst/>
              <a:rect l="l" t="t" r="r" b="b"/>
              <a:pathLst>
                <a:path w="2497" h="2138" extrusionOk="0">
                  <a:moveTo>
                    <a:pt x="1074" y="1"/>
                  </a:moveTo>
                  <a:cubicBezTo>
                    <a:pt x="481" y="1"/>
                    <a:pt x="9" y="480"/>
                    <a:pt x="1" y="1066"/>
                  </a:cubicBezTo>
                  <a:cubicBezTo>
                    <a:pt x="1" y="1709"/>
                    <a:pt x="526" y="2137"/>
                    <a:pt x="1075" y="2137"/>
                  </a:cubicBezTo>
                  <a:cubicBezTo>
                    <a:pt x="1337" y="2137"/>
                    <a:pt x="1604" y="2040"/>
                    <a:pt x="1822" y="1822"/>
                  </a:cubicBezTo>
                  <a:cubicBezTo>
                    <a:pt x="2497" y="1147"/>
                    <a:pt x="2017" y="1"/>
                    <a:pt x="1074"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512" name="Google Shape;1512;p104"/>
            <p:cNvSpPr/>
            <p:nvPr/>
          </p:nvSpPr>
          <p:spPr>
            <a:xfrm>
              <a:off x="6332350" y="4161425"/>
              <a:ext cx="62225" cy="53300"/>
            </a:xfrm>
            <a:custGeom>
              <a:avLst/>
              <a:gdLst/>
              <a:ahLst/>
              <a:cxnLst/>
              <a:rect l="l" t="t" r="r" b="b"/>
              <a:pathLst>
                <a:path w="2489" h="2132" extrusionOk="0">
                  <a:moveTo>
                    <a:pt x="1066" y="1"/>
                  </a:moveTo>
                  <a:cubicBezTo>
                    <a:pt x="472" y="1"/>
                    <a:pt x="1" y="472"/>
                    <a:pt x="1" y="1066"/>
                  </a:cubicBezTo>
                  <a:cubicBezTo>
                    <a:pt x="1" y="1708"/>
                    <a:pt x="523" y="2131"/>
                    <a:pt x="1067" y="2131"/>
                  </a:cubicBezTo>
                  <a:cubicBezTo>
                    <a:pt x="1329" y="2131"/>
                    <a:pt x="1597" y="2033"/>
                    <a:pt x="1813" y="1814"/>
                  </a:cubicBezTo>
                  <a:cubicBezTo>
                    <a:pt x="2488" y="1147"/>
                    <a:pt x="2009" y="1"/>
                    <a:pt x="1066"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513" name="Google Shape;1513;p104"/>
            <p:cNvSpPr/>
            <p:nvPr/>
          </p:nvSpPr>
          <p:spPr>
            <a:xfrm>
              <a:off x="6332350" y="4085225"/>
              <a:ext cx="62225" cy="53350"/>
            </a:xfrm>
            <a:custGeom>
              <a:avLst/>
              <a:gdLst/>
              <a:ahLst/>
              <a:cxnLst/>
              <a:rect l="l" t="t" r="r" b="b"/>
              <a:pathLst>
                <a:path w="2489" h="2134" extrusionOk="0">
                  <a:moveTo>
                    <a:pt x="1066" y="0"/>
                  </a:moveTo>
                  <a:cubicBezTo>
                    <a:pt x="472" y="0"/>
                    <a:pt x="1" y="480"/>
                    <a:pt x="1" y="1065"/>
                  </a:cubicBezTo>
                  <a:cubicBezTo>
                    <a:pt x="1" y="1709"/>
                    <a:pt x="526" y="2133"/>
                    <a:pt x="1072" y="2133"/>
                  </a:cubicBezTo>
                  <a:cubicBezTo>
                    <a:pt x="1333" y="2133"/>
                    <a:pt x="1598" y="2037"/>
                    <a:pt x="1813" y="1821"/>
                  </a:cubicBezTo>
                  <a:cubicBezTo>
                    <a:pt x="2488" y="1147"/>
                    <a:pt x="2009" y="0"/>
                    <a:pt x="1066"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514" name="Google Shape;1514;p104"/>
            <p:cNvSpPr/>
            <p:nvPr/>
          </p:nvSpPr>
          <p:spPr>
            <a:xfrm>
              <a:off x="6332350" y="3780375"/>
              <a:ext cx="62425" cy="53425"/>
            </a:xfrm>
            <a:custGeom>
              <a:avLst/>
              <a:gdLst/>
              <a:ahLst/>
              <a:cxnLst/>
              <a:rect l="l" t="t" r="r" b="b"/>
              <a:pathLst>
                <a:path w="2497" h="2137" extrusionOk="0">
                  <a:moveTo>
                    <a:pt x="1066" y="0"/>
                  </a:moveTo>
                  <a:cubicBezTo>
                    <a:pt x="472" y="0"/>
                    <a:pt x="1" y="480"/>
                    <a:pt x="1" y="1065"/>
                  </a:cubicBezTo>
                  <a:cubicBezTo>
                    <a:pt x="1" y="1709"/>
                    <a:pt x="526" y="2137"/>
                    <a:pt x="1074" y="2137"/>
                  </a:cubicBezTo>
                  <a:cubicBezTo>
                    <a:pt x="1336" y="2137"/>
                    <a:pt x="1604" y="2039"/>
                    <a:pt x="1822" y="1821"/>
                  </a:cubicBezTo>
                  <a:cubicBezTo>
                    <a:pt x="2496" y="1146"/>
                    <a:pt x="2017" y="0"/>
                    <a:pt x="1066"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515" name="Google Shape;1515;p104"/>
            <p:cNvSpPr/>
            <p:nvPr/>
          </p:nvSpPr>
          <p:spPr>
            <a:xfrm>
              <a:off x="6332350" y="3704150"/>
              <a:ext cx="62225" cy="53450"/>
            </a:xfrm>
            <a:custGeom>
              <a:avLst/>
              <a:gdLst/>
              <a:ahLst/>
              <a:cxnLst/>
              <a:rect l="l" t="t" r="r" b="b"/>
              <a:pathLst>
                <a:path w="2489" h="2138" extrusionOk="0">
                  <a:moveTo>
                    <a:pt x="1066" y="1"/>
                  </a:moveTo>
                  <a:cubicBezTo>
                    <a:pt x="472" y="1"/>
                    <a:pt x="1" y="480"/>
                    <a:pt x="1" y="1066"/>
                  </a:cubicBezTo>
                  <a:cubicBezTo>
                    <a:pt x="1" y="1709"/>
                    <a:pt x="526" y="2137"/>
                    <a:pt x="1072" y="2137"/>
                  </a:cubicBezTo>
                  <a:cubicBezTo>
                    <a:pt x="1333" y="2137"/>
                    <a:pt x="1598" y="2040"/>
                    <a:pt x="1813" y="1822"/>
                  </a:cubicBezTo>
                  <a:cubicBezTo>
                    <a:pt x="2488" y="1147"/>
                    <a:pt x="2009" y="1"/>
                    <a:pt x="1066"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516" name="Google Shape;1516;p104"/>
            <p:cNvSpPr/>
            <p:nvPr/>
          </p:nvSpPr>
          <p:spPr>
            <a:xfrm>
              <a:off x="6256150" y="4085225"/>
              <a:ext cx="62200" cy="53350"/>
            </a:xfrm>
            <a:custGeom>
              <a:avLst/>
              <a:gdLst/>
              <a:ahLst/>
              <a:cxnLst/>
              <a:rect l="l" t="t" r="r" b="b"/>
              <a:pathLst>
                <a:path w="2488" h="2134" extrusionOk="0">
                  <a:moveTo>
                    <a:pt x="1065" y="0"/>
                  </a:moveTo>
                  <a:cubicBezTo>
                    <a:pt x="480" y="0"/>
                    <a:pt x="0" y="480"/>
                    <a:pt x="0" y="1065"/>
                  </a:cubicBezTo>
                  <a:cubicBezTo>
                    <a:pt x="0" y="1709"/>
                    <a:pt x="525" y="2133"/>
                    <a:pt x="1071" y="2133"/>
                  </a:cubicBezTo>
                  <a:cubicBezTo>
                    <a:pt x="1332" y="2133"/>
                    <a:pt x="1598" y="2037"/>
                    <a:pt x="1813" y="1821"/>
                  </a:cubicBezTo>
                  <a:cubicBezTo>
                    <a:pt x="2488" y="1147"/>
                    <a:pt x="2016" y="0"/>
                    <a:pt x="1065"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517" name="Google Shape;1517;p104"/>
            <p:cNvSpPr/>
            <p:nvPr/>
          </p:nvSpPr>
          <p:spPr>
            <a:xfrm>
              <a:off x="6256150" y="3704150"/>
              <a:ext cx="62200" cy="53450"/>
            </a:xfrm>
            <a:custGeom>
              <a:avLst/>
              <a:gdLst/>
              <a:ahLst/>
              <a:cxnLst/>
              <a:rect l="l" t="t" r="r" b="b"/>
              <a:pathLst>
                <a:path w="2488" h="2138" extrusionOk="0">
                  <a:moveTo>
                    <a:pt x="1065" y="1"/>
                  </a:moveTo>
                  <a:cubicBezTo>
                    <a:pt x="480" y="1"/>
                    <a:pt x="0" y="480"/>
                    <a:pt x="0" y="1066"/>
                  </a:cubicBezTo>
                  <a:cubicBezTo>
                    <a:pt x="0" y="1709"/>
                    <a:pt x="525" y="2137"/>
                    <a:pt x="1071" y="2137"/>
                  </a:cubicBezTo>
                  <a:cubicBezTo>
                    <a:pt x="1332" y="2137"/>
                    <a:pt x="1597" y="2040"/>
                    <a:pt x="1813" y="1822"/>
                  </a:cubicBezTo>
                  <a:cubicBezTo>
                    <a:pt x="2488" y="1147"/>
                    <a:pt x="2016" y="1"/>
                    <a:pt x="1065"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518" name="Google Shape;1518;p104"/>
            <p:cNvSpPr/>
            <p:nvPr/>
          </p:nvSpPr>
          <p:spPr>
            <a:xfrm>
              <a:off x="6256150" y="3627950"/>
              <a:ext cx="62200" cy="53425"/>
            </a:xfrm>
            <a:custGeom>
              <a:avLst/>
              <a:gdLst/>
              <a:ahLst/>
              <a:cxnLst/>
              <a:rect l="l" t="t" r="r" b="b"/>
              <a:pathLst>
                <a:path w="2488" h="2137" extrusionOk="0">
                  <a:moveTo>
                    <a:pt x="1065" y="0"/>
                  </a:moveTo>
                  <a:cubicBezTo>
                    <a:pt x="472" y="8"/>
                    <a:pt x="0" y="480"/>
                    <a:pt x="0" y="1073"/>
                  </a:cubicBezTo>
                  <a:cubicBezTo>
                    <a:pt x="0" y="1711"/>
                    <a:pt x="524" y="2137"/>
                    <a:pt x="1070" y="2137"/>
                  </a:cubicBezTo>
                  <a:cubicBezTo>
                    <a:pt x="1331" y="2137"/>
                    <a:pt x="1597" y="2039"/>
                    <a:pt x="1813" y="1821"/>
                  </a:cubicBezTo>
                  <a:cubicBezTo>
                    <a:pt x="2488" y="1154"/>
                    <a:pt x="2016" y="0"/>
                    <a:pt x="1065"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519" name="Google Shape;1519;p104"/>
            <p:cNvSpPr/>
            <p:nvPr/>
          </p:nvSpPr>
          <p:spPr>
            <a:xfrm>
              <a:off x="6179925" y="4085225"/>
              <a:ext cx="62225" cy="53350"/>
            </a:xfrm>
            <a:custGeom>
              <a:avLst/>
              <a:gdLst/>
              <a:ahLst/>
              <a:cxnLst/>
              <a:rect l="l" t="t" r="r" b="b"/>
              <a:pathLst>
                <a:path w="2489" h="2134" extrusionOk="0">
                  <a:moveTo>
                    <a:pt x="1065" y="0"/>
                  </a:moveTo>
                  <a:cubicBezTo>
                    <a:pt x="480" y="0"/>
                    <a:pt x="0" y="480"/>
                    <a:pt x="0" y="1065"/>
                  </a:cubicBezTo>
                  <a:cubicBezTo>
                    <a:pt x="0" y="1709"/>
                    <a:pt x="526" y="2133"/>
                    <a:pt x="1074" y="2133"/>
                  </a:cubicBezTo>
                  <a:cubicBezTo>
                    <a:pt x="1336" y="2133"/>
                    <a:pt x="1603" y="2037"/>
                    <a:pt x="1821" y="1821"/>
                  </a:cubicBezTo>
                  <a:cubicBezTo>
                    <a:pt x="2488" y="1147"/>
                    <a:pt x="2017" y="0"/>
                    <a:pt x="1065"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520" name="Google Shape;1520;p104"/>
            <p:cNvSpPr/>
            <p:nvPr/>
          </p:nvSpPr>
          <p:spPr>
            <a:xfrm>
              <a:off x="6179925" y="3627950"/>
              <a:ext cx="62225" cy="53425"/>
            </a:xfrm>
            <a:custGeom>
              <a:avLst/>
              <a:gdLst/>
              <a:ahLst/>
              <a:cxnLst/>
              <a:rect l="l" t="t" r="r" b="b"/>
              <a:pathLst>
                <a:path w="2489" h="2137" extrusionOk="0">
                  <a:moveTo>
                    <a:pt x="1065" y="0"/>
                  </a:moveTo>
                  <a:cubicBezTo>
                    <a:pt x="480" y="8"/>
                    <a:pt x="0" y="480"/>
                    <a:pt x="0" y="1073"/>
                  </a:cubicBezTo>
                  <a:cubicBezTo>
                    <a:pt x="0" y="1711"/>
                    <a:pt x="525" y="2137"/>
                    <a:pt x="1073" y="2137"/>
                  </a:cubicBezTo>
                  <a:cubicBezTo>
                    <a:pt x="1335" y="2137"/>
                    <a:pt x="1603" y="2039"/>
                    <a:pt x="1821" y="1821"/>
                  </a:cubicBezTo>
                  <a:cubicBezTo>
                    <a:pt x="2488" y="1154"/>
                    <a:pt x="2017" y="0"/>
                    <a:pt x="1065"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521" name="Google Shape;1521;p104"/>
            <p:cNvSpPr/>
            <p:nvPr/>
          </p:nvSpPr>
          <p:spPr>
            <a:xfrm>
              <a:off x="6103700" y="4085225"/>
              <a:ext cx="62425" cy="53350"/>
            </a:xfrm>
            <a:custGeom>
              <a:avLst/>
              <a:gdLst/>
              <a:ahLst/>
              <a:cxnLst/>
              <a:rect l="l" t="t" r="r" b="b"/>
              <a:pathLst>
                <a:path w="2497" h="2134" extrusionOk="0">
                  <a:moveTo>
                    <a:pt x="1066" y="0"/>
                  </a:moveTo>
                  <a:cubicBezTo>
                    <a:pt x="481" y="0"/>
                    <a:pt x="9" y="480"/>
                    <a:pt x="1" y="1065"/>
                  </a:cubicBezTo>
                  <a:cubicBezTo>
                    <a:pt x="1" y="1709"/>
                    <a:pt x="526" y="2133"/>
                    <a:pt x="1075" y="2133"/>
                  </a:cubicBezTo>
                  <a:cubicBezTo>
                    <a:pt x="1337" y="2133"/>
                    <a:pt x="1604" y="2037"/>
                    <a:pt x="1822" y="1821"/>
                  </a:cubicBezTo>
                  <a:cubicBezTo>
                    <a:pt x="2497" y="1147"/>
                    <a:pt x="2017" y="0"/>
                    <a:pt x="1066"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522" name="Google Shape;1522;p104"/>
            <p:cNvSpPr/>
            <p:nvPr/>
          </p:nvSpPr>
          <p:spPr>
            <a:xfrm>
              <a:off x="6103700" y="3704150"/>
              <a:ext cx="62425" cy="53450"/>
            </a:xfrm>
            <a:custGeom>
              <a:avLst/>
              <a:gdLst/>
              <a:ahLst/>
              <a:cxnLst/>
              <a:rect l="l" t="t" r="r" b="b"/>
              <a:pathLst>
                <a:path w="2497" h="2138" extrusionOk="0">
                  <a:moveTo>
                    <a:pt x="1066" y="1"/>
                  </a:moveTo>
                  <a:cubicBezTo>
                    <a:pt x="481" y="1"/>
                    <a:pt x="9" y="480"/>
                    <a:pt x="1" y="1066"/>
                  </a:cubicBezTo>
                  <a:cubicBezTo>
                    <a:pt x="1" y="1709"/>
                    <a:pt x="526" y="2137"/>
                    <a:pt x="1075" y="2137"/>
                  </a:cubicBezTo>
                  <a:cubicBezTo>
                    <a:pt x="1337" y="2137"/>
                    <a:pt x="1604" y="2040"/>
                    <a:pt x="1822" y="1822"/>
                  </a:cubicBezTo>
                  <a:cubicBezTo>
                    <a:pt x="2497" y="1147"/>
                    <a:pt x="2017" y="1"/>
                    <a:pt x="1066"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523" name="Google Shape;1523;p104"/>
            <p:cNvSpPr/>
            <p:nvPr/>
          </p:nvSpPr>
          <p:spPr>
            <a:xfrm>
              <a:off x="6027500" y="4085225"/>
              <a:ext cx="62425" cy="53350"/>
            </a:xfrm>
            <a:custGeom>
              <a:avLst/>
              <a:gdLst/>
              <a:ahLst/>
              <a:cxnLst/>
              <a:rect l="l" t="t" r="r" b="b"/>
              <a:pathLst>
                <a:path w="2497" h="2134" extrusionOk="0">
                  <a:moveTo>
                    <a:pt x="1073" y="0"/>
                  </a:moveTo>
                  <a:cubicBezTo>
                    <a:pt x="480" y="0"/>
                    <a:pt x="9" y="480"/>
                    <a:pt x="0" y="1065"/>
                  </a:cubicBezTo>
                  <a:cubicBezTo>
                    <a:pt x="0" y="1709"/>
                    <a:pt x="529" y="2133"/>
                    <a:pt x="1078" y="2133"/>
                  </a:cubicBezTo>
                  <a:cubicBezTo>
                    <a:pt x="1340" y="2133"/>
                    <a:pt x="1606" y="2037"/>
                    <a:pt x="1821" y="1821"/>
                  </a:cubicBezTo>
                  <a:cubicBezTo>
                    <a:pt x="2496" y="1147"/>
                    <a:pt x="2016" y="0"/>
                    <a:pt x="1073"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524" name="Google Shape;1524;p104"/>
            <p:cNvSpPr/>
            <p:nvPr/>
          </p:nvSpPr>
          <p:spPr>
            <a:xfrm>
              <a:off x="6027500" y="3780375"/>
              <a:ext cx="62425" cy="53425"/>
            </a:xfrm>
            <a:custGeom>
              <a:avLst/>
              <a:gdLst/>
              <a:ahLst/>
              <a:cxnLst/>
              <a:rect l="l" t="t" r="r" b="b"/>
              <a:pathLst>
                <a:path w="2497" h="2137" extrusionOk="0">
                  <a:moveTo>
                    <a:pt x="1073" y="0"/>
                  </a:moveTo>
                  <a:cubicBezTo>
                    <a:pt x="480" y="0"/>
                    <a:pt x="9" y="480"/>
                    <a:pt x="0" y="1065"/>
                  </a:cubicBezTo>
                  <a:cubicBezTo>
                    <a:pt x="0" y="1709"/>
                    <a:pt x="529" y="2137"/>
                    <a:pt x="1080" y="2137"/>
                  </a:cubicBezTo>
                  <a:cubicBezTo>
                    <a:pt x="1343" y="2137"/>
                    <a:pt x="1611" y="2039"/>
                    <a:pt x="1830" y="1821"/>
                  </a:cubicBezTo>
                  <a:cubicBezTo>
                    <a:pt x="2496" y="1146"/>
                    <a:pt x="2025" y="0"/>
                    <a:pt x="1073"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525" name="Google Shape;1525;p104"/>
            <p:cNvSpPr/>
            <p:nvPr/>
          </p:nvSpPr>
          <p:spPr>
            <a:xfrm>
              <a:off x="6027500" y="3704150"/>
              <a:ext cx="62425" cy="53450"/>
            </a:xfrm>
            <a:custGeom>
              <a:avLst/>
              <a:gdLst/>
              <a:ahLst/>
              <a:cxnLst/>
              <a:rect l="l" t="t" r="r" b="b"/>
              <a:pathLst>
                <a:path w="2497" h="2138" extrusionOk="0">
                  <a:moveTo>
                    <a:pt x="1073" y="1"/>
                  </a:moveTo>
                  <a:cubicBezTo>
                    <a:pt x="480" y="1"/>
                    <a:pt x="9" y="480"/>
                    <a:pt x="0" y="1066"/>
                  </a:cubicBezTo>
                  <a:cubicBezTo>
                    <a:pt x="0" y="1709"/>
                    <a:pt x="529" y="2137"/>
                    <a:pt x="1078" y="2137"/>
                  </a:cubicBezTo>
                  <a:cubicBezTo>
                    <a:pt x="1340" y="2137"/>
                    <a:pt x="1606" y="2040"/>
                    <a:pt x="1821" y="1822"/>
                  </a:cubicBezTo>
                  <a:cubicBezTo>
                    <a:pt x="2496" y="1147"/>
                    <a:pt x="2016" y="1"/>
                    <a:pt x="1073"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526" name="Google Shape;1526;p104"/>
            <p:cNvSpPr/>
            <p:nvPr/>
          </p:nvSpPr>
          <p:spPr>
            <a:xfrm>
              <a:off x="5951475" y="4085225"/>
              <a:ext cx="62225" cy="53350"/>
            </a:xfrm>
            <a:custGeom>
              <a:avLst/>
              <a:gdLst/>
              <a:ahLst/>
              <a:cxnLst/>
              <a:rect l="l" t="t" r="r" b="b"/>
              <a:pathLst>
                <a:path w="2489" h="2134" extrusionOk="0">
                  <a:moveTo>
                    <a:pt x="1066" y="0"/>
                  </a:moveTo>
                  <a:cubicBezTo>
                    <a:pt x="472" y="0"/>
                    <a:pt x="1" y="480"/>
                    <a:pt x="1" y="1065"/>
                  </a:cubicBezTo>
                  <a:cubicBezTo>
                    <a:pt x="1" y="1709"/>
                    <a:pt x="526" y="2133"/>
                    <a:pt x="1072" y="2133"/>
                  </a:cubicBezTo>
                  <a:cubicBezTo>
                    <a:pt x="1333" y="2133"/>
                    <a:pt x="1598" y="2037"/>
                    <a:pt x="1814" y="1821"/>
                  </a:cubicBezTo>
                  <a:cubicBezTo>
                    <a:pt x="2489" y="1147"/>
                    <a:pt x="2017" y="0"/>
                    <a:pt x="1066"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527" name="Google Shape;1527;p104"/>
            <p:cNvSpPr/>
            <p:nvPr/>
          </p:nvSpPr>
          <p:spPr>
            <a:xfrm>
              <a:off x="5951475" y="3856775"/>
              <a:ext cx="62225" cy="53250"/>
            </a:xfrm>
            <a:custGeom>
              <a:avLst/>
              <a:gdLst/>
              <a:ahLst/>
              <a:cxnLst/>
              <a:rect l="l" t="t" r="r" b="b"/>
              <a:pathLst>
                <a:path w="2489" h="2130" extrusionOk="0">
                  <a:moveTo>
                    <a:pt x="1066" y="1"/>
                  </a:moveTo>
                  <a:cubicBezTo>
                    <a:pt x="472" y="1"/>
                    <a:pt x="1" y="472"/>
                    <a:pt x="1" y="1066"/>
                  </a:cubicBezTo>
                  <a:cubicBezTo>
                    <a:pt x="1" y="1704"/>
                    <a:pt x="525" y="2129"/>
                    <a:pt x="1071" y="2129"/>
                  </a:cubicBezTo>
                  <a:cubicBezTo>
                    <a:pt x="1332" y="2129"/>
                    <a:pt x="1598" y="2032"/>
                    <a:pt x="1814" y="1814"/>
                  </a:cubicBezTo>
                  <a:cubicBezTo>
                    <a:pt x="2489" y="1147"/>
                    <a:pt x="2017" y="1"/>
                    <a:pt x="1066"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528" name="Google Shape;1528;p104"/>
            <p:cNvSpPr/>
            <p:nvPr/>
          </p:nvSpPr>
          <p:spPr>
            <a:xfrm>
              <a:off x="5951475" y="3780375"/>
              <a:ext cx="62425" cy="53425"/>
            </a:xfrm>
            <a:custGeom>
              <a:avLst/>
              <a:gdLst/>
              <a:ahLst/>
              <a:cxnLst/>
              <a:rect l="l" t="t" r="r" b="b"/>
              <a:pathLst>
                <a:path w="2497" h="2137" extrusionOk="0">
                  <a:moveTo>
                    <a:pt x="1066" y="0"/>
                  </a:moveTo>
                  <a:cubicBezTo>
                    <a:pt x="472" y="0"/>
                    <a:pt x="1" y="480"/>
                    <a:pt x="1" y="1065"/>
                  </a:cubicBezTo>
                  <a:cubicBezTo>
                    <a:pt x="1" y="1709"/>
                    <a:pt x="526" y="2137"/>
                    <a:pt x="1075" y="2137"/>
                  </a:cubicBezTo>
                  <a:cubicBezTo>
                    <a:pt x="1337" y="2137"/>
                    <a:pt x="1604" y="2039"/>
                    <a:pt x="1822" y="1821"/>
                  </a:cubicBezTo>
                  <a:cubicBezTo>
                    <a:pt x="2497" y="1146"/>
                    <a:pt x="2017" y="0"/>
                    <a:pt x="1066"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529" name="Google Shape;1529;p104"/>
            <p:cNvSpPr/>
            <p:nvPr/>
          </p:nvSpPr>
          <p:spPr>
            <a:xfrm>
              <a:off x="5875275" y="4085225"/>
              <a:ext cx="62225" cy="53350"/>
            </a:xfrm>
            <a:custGeom>
              <a:avLst/>
              <a:gdLst/>
              <a:ahLst/>
              <a:cxnLst/>
              <a:rect l="l" t="t" r="r" b="b"/>
              <a:pathLst>
                <a:path w="2489" h="2134" extrusionOk="0">
                  <a:moveTo>
                    <a:pt x="1065" y="0"/>
                  </a:moveTo>
                  <a:cubicBezTo>
                    <a:pt x="480" y="0"/>
                    <a:pt x="0" y="480"/>
                    <a:pt x="0" y="1065"/>
                  </a:cubicBezTo>
                  <a:cubicBezTo>
                    <a:pt x="0" y="1709"/>
                    <a:pt x="526" y="2133"/>
                    <a:pt x="1074" y="2133"/>
                  </a:cubicBezTo>
                  <a:cubicBezTo>
                    <a:pt x="1336" y="2133"/>
                    <a:pt x="1603" y="2037"/>
                    <a:pt x="1821" y="1821"/>
                  </a:cubicBezTo>
                  <a:cubicBezTo>
                    <a:pt x="2488" y="1147"/>
                    <a:pt x="2017" y="0"/>
                    <a:pt x="1065"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530" name="Google Shape;1530;p104"/>
            <p:cNvSpPr/>
            <p:nvPr/>
          </p:nvSpPr>
          <p:spPr>
            <a:xfrm>
              <a:off x="5875275" y="4009000"/>
              <a:ext cx="62225" cy="53350"/>
            </a:xfrm>
            <a:custGeom>
              <a:avLst/>
              <a:gdLst/>
              <a:ahLst/>
              <a:cxnLst/>
              <a:rect l="l" t="t" r="r" b="b"/>
              <a:pathLst>
                <a:path w="2489" h="2134" extrusionOk="0">
                  <a:moveTo>
                    <a:pt x="1065" y="1"/>
                  </a:moveTo>
                  <a:cubicBezTo>
                    <a:pt x="480" y="1"/>
                    <a:pt x="0" y="480"/>
                    <a:pt x="0" y="1066"/>
                  </a:cubicBezTo>
                  <a:cubicBezTo>
                    <a:pt x="0" y="1710"/>
                    <a:pt x="526" y="2134"/>
                    <a:pt x="1074" y="2134"/>
                  </a:cubicBezTo>
                  <a:cubicBezTo>
                    <a:pt x="1336" y="2134"/>
                    <a:pt x="1603" y="2037"/>
                    <a:pt x="1821" y="1822"/>
                  </a:cubicBezTo>
                  <a:cubicBezTo>
                    <a:pt x="2488" y="1147"/>
                    <a:pt x="2017" y="1"/>
                    <a:pt x="1065"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531" name="Google Shape;1531;p104"/>
            <p:cNvSpPr/>
            <p:nvPr/>
          </p:nvSpPr>
          <p:spPr>
            <a:xfrm>
              <a:off x="5875275" y="3932800"/>
              <a:ext cx="62225" cy="53425"/>
            </a:xfrm>
            <a:custGeom>
              <a:avLst/>
              <a:gdLst/>
              <a:ahLst/>
              <a:cxnLst/>
              <a:rect l="l" t="t" r="r" b="b"/>
              <a:pathLst>
                <a:path w="2489" h="2137" extrusionOk="0">
                  <a:moveTo>
                    <a:pt x="1065" y="0"/>
                  </a:moveTo>
                  <a:cubicBezTo>
                    <a:pt x="480" y="0"/>
                    <a:pt x="0" y="480"/>
                    <a:pt x="0" y="1065"/>
                  </a:cubicBezTo>
                  <a:cubicBezTo>
                    <a:pt x="0" y="1709"/>
                    <a:pt x="526" y="2137"/>
                    <a:pt x="1074" y="2137"/>
                  </a:cubicBezTo>
                  <a:cubicBezTo>
                    <a:pt x="1336" y="2137"/>
                    <a:pt x="1603" y="2039"/>
                    <a:pt x="1821" y="1821"/>
                  </a:cubicBezTo>
                  <a:cubicBezTo>
                    <a:pt x="2488" y="1155"/>
                    <a:pt x="2017" y="0"/>
                    <a:pt x="1065"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532" name="Google Shape;1532;p104"/>
            <p:cNvSpPr/>
            <p:nvPr/>
          </p:nvSpPr>
          <p:spPr>
            <a:xfrm>
              <a:off x="5875275" y="3856775"/>
              <a:ext cx="62225" cy="53250"/>
            </a:xfrm>
            <a:custGeom>
              <a:avLst/>
              <a:gdLst/>
              <a:ahLst/>
              <a:cxnLst/>
              <a:rect l="l" t="t" r="r" b="b"/>
              <a:pathLst>
                <a:path w="2489" h="2130" extrusionOk="0">
                  <a:moveTo>
                    <a:pt x="1065" y="1"/>
                  </a:moveTo>
                  <a:cubicBezTo>
                    <a:pt x="480" y="1"/>
                    <a:pt x="0" y="472"/>
                    <a:pt x="0" y="1066"/>
                  </a:cubicBezTo>
                  <a:cubicBezTo>
                    <a:pt x="0" y="1704"/>
                    <a:pt x="525" y="2129"/>
                    <a:pt x="1073" y="2129"/>
                  </a:cubicBezTo>
                  <a:cubicBezTo>
                    <a:pt x="1335" y="2129"/>
                    <a:pt x="1603" y="2032"/>
                    <a:pt x="1821" y="1814"/>
                  </a:cubicBezTo>
                  <a:cubicBezTo>
                    <a:pt x="2488" y="1147"/>
                    <a:pt x="2017" y="1"/>
                    <a:pt x="1065"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533" name="Google Shape;1533;p104"/>
            <p:cNvSpPr/>
            <p:nvPr/>
          </p:nvSpPr>
          <p:spPr>
            <a:xfrm>
              <a:off x="4504050" y="3856775"/>
              <a:ext cx="62200" cy="53250"/>
            </a:xfrm>
            <a:custGeom>
              <a:avLst/>
              <a:gdLst/>
              <a:ahLst/>
              <a:cxnLst/>
              <a:rect l="l" t="t" r="r" b="b"/>
              <a:pathLst>
                <a:path w="2488" h="2130" extrusionOk="0">
                  <a:moveTo>
                    <a:pt x="1065" y="1"/>
                  </a:moveTo>
                  <a:cubicBezTo>
                    <a:pt x="480" y="1"/>
                    <a:pt x="0" y="472"/>
                    <a:pt x="0" y="1066"/>
                  </a:cubicBezTo>
                  <a:cubicBezTo>
                    <a:pt x="0" y="1704"/>
                    <a:pt x="525" y="2129"/>
                    <a:pt x="1073" y="2129"/>
                  </a:cubicBezTo>
                  <a:cubicBezTo>
                    <a:pt x="1335" y="2129"/>
                    <a:pt x="1603" y="2032"/>
                    <a:pt x="1821" y="1814"/>
                  </a:cubicBezTo>
                  <a:cubicBezTo>
                    <a:pt x="2488" y="1147"/>
                    <a:pt x="2016" y="1"/>
                    <a:pt x="1065"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534" name="Google Shape;1534;p104"/>
            <p:cNvSpPr/>
            <p:nvPr/>
          </p:nvSpPr>
          <p:spPr>
            <a:xfrm>
              <a:off x="4504050" y="3780375"/>
              <a:ext cx="62400" cy="53425"/>
            </a:xfrm>
            <a:custGeom>
              <a:avLst/>
              <a:gdLst/>
              <a:ahLst/>
              <a:cxnLst/>
              <a:rect l="l" t="t" r="r" b="b"/>
              <a:pathLst>
                <a:path w="2496" h="2137" extrusionOk="0">
                  <a:moveTo>
                    <a:pt x="1065" y="0"/>
                  </a:moveTo>
                  <a:cubicBezTo>
                    <a:pt x="480" y="0"/>
                    <a:pt x="0" y="480"/>
                    <a:pt x="0" y="1065"/>
                  </a:cubicBezTo>
                  <a:cubicBezTo>
                    <a:pt x="0" y="1709"/>
                    <a:pt x="529" y="2137"/>
                    <a:pt x="1077" y="2137"/>
                  </a:cubicBezTo>
                  <a:cubicBezTo>
                    <a:pt x="1339" y="2137"/>
                    <a:pt x="1606" y="2039"/>
                    <a:pt x="1821" y="1821"/>
                  </a:cubicBezTo>
                  <a:cubicBezTo>
                    <a:pt x="2496" y="1146"/>
                    <a:pt x="2016" y="0"/>
                    <a:pt x="1065"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535" name="Google Shape;1535;p104"/>
            <p:cNvSpPr/>
            <p:nvPr/>
          </p:nvSpPr>
          <p:spPr>
            <a:xfrm>
              <a:off x="4504050" y="3704150"/>
              <a:ext cx="62200" cy="53450"/>
            </a:xfrm>
            <a:custGeom>
              <a:avLst/>
              <a:gdLst/>
              <a:ahLst/>
              <a:cxnLst/>
              <a:rect l="l" t="t" r="r" b="b"/>
              <a:pathLst>
                <a:path w="2488" h="2138" extrusionOk="0">
                  <a:moveTo>
                    <a:pt x="1065" y="1"/>
                  </a:moveTo>
                  <a:cubicBezTo>
                    <a:pt x="480" y="1"/>
                    <a:pt x="0" y="480"/>
                    <a:pt x="0" y="1066"/>
                  </a:cubicBezTo>
                  <a:cubicBezTo>
                    <a:pt x="0" y="1709"/>
                    <a:pt x="525" y="2137"/>
                    <a:pt x="1074" y="2137"/>
                  </a:cubicBezTo>
                  <a:cubicBezTo>
                    <a:pt x="1336" y="2137"/>
                    <a:pt x="1603" y="2040"/>
                    <a:pt x="1821" y="1822"/>
                  </a:cubicBezTo>
                  <a:cubicBezTo>
                    <a:pt x="2488" y="1147"/>
                    <a:pt x="2016" y="1"/>
                    <a:pt x="1065"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536" name="Google Shape;1536;p104"/>
            <p:cNvSpPr/>
            <p:nvPr/>
          </p:nvSpPr>
          <p:spPr>
            <a:xfrm>
              <a:off x="4427825" y="3932800"/>
              <a:ext cx="62425" cy="53425"/>
            </a:xfrm>
            <a:custGeom>
              <a:avLst/>
              <a:gdLst/>
              <a:ahLst/>
              <a:cxnLst/>
              <a:rect l="l" t="t" r="r" b="b"/>
              <a:pathLst>
                <a:path w="2497" h="2137" extrusionOk="0">
                  <a:moveTo>
                    <a:pt x="1065" y="0"/>
                  </a:moveTo>
                  <a:cubicBezTo>
                    <a:pt x="480" y="8"/>
                    <a:pt x="9" y="480"/>
                    <a:pt x="1" y="1065"/>
                  </a:cubicBezTo>
                  <a:cubicBezTo>
                    <a:pt x="1" y="1709"/>
                    <a:pt x="526" y="2137"/>
                    <a:pt x="1074" y="2137"/>
                  </a:cubicBezTo>
                  <a:cubicBezTo>
                    <a:pt x="1336" y="2137"/>
                    <a:pt x="1603" y="2039"/>
                    <a:pt x="1822" y="1821"/>
                  </a:cubicBezTo>
                  <a:cubicBezTo>
                    <a:pt x="2496" y="1146"/>
                    <a:pt x="2017" y="0"/>
                    <a:pt x="1065"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537" name="Google Shape;1537;p104"/>
            <p:cNvSpPr/>
            <p:nvPr/>
          </p:nvSpPr>
          <p:spPr>
            <a:xfrm>
              <a:off x="4427825" y="3856775"/>
              <a:ext cx="62350" cy="53250"/>
            </a:xfrm>
            <a:custGeom>
              <a:avLst/>
              <a:gdLst/>
              <a:ahLst/>
              <a:cxnLst/>
              <a:rect l="l" t="t" r="r" b="b"/>
              <a:pathLst>
                <a:path w="2494" h="2130" extrusionOk="0">
                  <a:moveTo>
                    <a:pt x="1075" y="1"/>
                  </a:moveTo>
                  <a:cubicBezTo>
                    <a:pt x="1072" y="1"/>
                    <a:pt x="1069" y="1"/>
                    <a:pt x="1065" y="1"/>
                  </a:cubicBezTo>
                  <a:cubicBezTo>
                    <a:pt x="480" y="1"/>
                    <a:pt x="9" y="472"/>
                    <a:pt x="1" y="1066"/>
                  </a:cubicBezTo>
                  <a:cubicBezTo>
                    <a:pt x="1" y="1704"/>
                    <a:pt x="525" y="2129"/>
                    <a:pt x="1073" y="2129"/>
                  </a:cubicBezTo>
                  <a:cubicBezTo>
                    <a:pt x="1335" y="2129"/>
                    <a:pt x="1603" y="2032"/>
                    <a:pt x="1822" y="1814"/>
                  </a:cubicBezTo>
                  <a:cubicBezTo>
                    <a:pt x="2494" y="1149"/>
                    <a:pt x="2020" y="1"/>
                    <a:pt x="1075"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538" name="Google Shape;1538;p104"/>
            <p:cNvSpPr/>
            <p:nvPr/>
          </p:nvSpPr>
          <p:spPr>
            <a:xfrm>
              <a:off x="4427825" y="3780375"/>
              <a:ext cx="62425" cy="53425"/>
            </a:xfrm>
            <a:custGeom>
              <a:avLst/>
              <a:gdLst/>
              <a:ahLst/>
              <a:cxnLst/>
              <a:rect l="l" t="t" r="r" b="b"/>
              <a:pathLst>
                <a:path w="2497" h="2137" extrusionOk="0">
                  <a:moveTo>
                    <a:pt x="1065" y="0"/>
                  </a:moveTo>
                  <a:cubicBezTo>
                    <a:pt x="480" y="0"/>
                    <a:pt x="1" y="480"/>
                    <a:pt x="1" y="1065"/>
                  </a:cubicBezTo>
                  <a:cubicBezTo>
                    <a:pt x="1" y="1709"/>
                    <a:pt x="529" y="2137"/>
                    <a:pt x="1080" y="2137"/>
                  </a:cubicBezTo>
                  <a:cubicBezTo>
                    <a:pt x="1343" y="2137"/>
                    <a:pt x="1612" y="2039"/>
                    <a:pt x="1830" y="1821"/>
                  </a:cubicBezTo>
                  <a:cubicBezTo>
                    <a:pt x="2496" y="1146"/>
                    <a:pt x="2017" y="0"/>
                    <a:pt x="1065"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539" name="Google Shape;1539;p104"/>
            <p:cNvSpPr/>
            <p:nvPr/>
          </p:nvSpPr>
          <p:spPr>
            <a:xfrm>
              <a:off x="4351600" y="3171075"/>
              <a:ext cx="62425" cy="53350"/>
            </a:xfrm>
            <a:custGeom>
              <a:avLst/>
              <a:gdLst/>
              <a:ahLst/>
              <a:cxnLst/>
              <a:rect l="l" t="t" r="r" b="b"/>
              <a:pathLst>
                <a:path w="2497" h="2134" extrusionOk="0">
                  <a:moveTo>
                    <a:pt x="1074" y="0"/>
                  </a:moveTo>
                  <a:cubicBezTo>
                    <a:pt x="481" y="0"/>
                    <a:pt x="9" y="472"/>
                    <a:pt x="1" y="1065"/>
                  </a:cubicBezTo>
                  <a:cubicBezTo>
                    <a:pt x="1" y="1709"/>
                    <a:pt x="530" y="2133"/>
                    <a:pt x="1079" y="2133"/>
                  </a:cubicBezTo>
                  <a:cubicBezTo>
                    <a:pt x="1340" y="2133"/>
                    <a:pt x="1607" y="2037"/>
                    <a:pt x="1822" y="1821"/>
                  </a:cubicBezTo>
                  <a:cubicBezTo>
                    <a:pt x="2497" y="1146"/>
                    <a:pt x="2017" y="0"/>
                    <a:pt x="1074"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540" name="Google Shape;1540;p104"/>
            <p:cNvSpPr/>
            <p:nvPr/>
          </p:nvSpPr>
          <p:spPr>
            <a:xfrm>
              <a:off x="4351600" y="3247075"/>
              <a:ext cx="62425" cy="53450"/>
            </a:xfrm>
            <a:custGeom>
              <a:avLst/>
              <a:gdLst/>
              <a:ahLst/>
              <a:cxnLst/>
              <a:rect l="l" t="t" r="r" b="b"/>
              <a:pathLst>
                <a:path w="2497" h="2138" extrusionOk="0">
                  <a:moveTo>
                    <a:pt x="1074" y="1"/>
                  </a:moveTo>
                  <a:cubicBezTo>
                    <a:pt x="481" y="9"/>
                    <a:pt x="9" y="480"/>
                    <a:pt x="1" y="1074"/>
                  </a:cubicBezTo>
                  <a:cubicBezTo>
                    <a:pt x="1" y="1712"/>
                    <a:pt x="529" y="2137"/>
                    <a:pt x="1077" y="2137"/>
                  </a:cubicBezTo>
                  <a:cubicBezTo>
                    <a:pt x="1339" y="2137"/>
                    <a:pt x="1606" y="2040"/>
                    <a:pt x="1822" y="1822"/>
                  </a:cubicBezTo>
                  <a:cubicBezTo>
                    <a:pt x="2497" y="1155"/>
                    <a:pt x="2017" y="1"/>
                    <a:pt x="1074"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541" name="Google Shape;1541;p104"/>
            <p:cNvSpPr/>
            <p:nvPr/>
          </p:nvSpPr>
          <p:spPr>
            <a:xfrm>
              <a:off x="3970950" y="2790200"/>
              <a:ext cx="62225" cy="53350"/>
            </a:xfrm>
            <a:custGeom>
              <a:avLst/>
              <a:gdLst/>
              <a:ahLst/>
              <a:cxnLst/>
              <a:rect l="l" t="t" r="r" b="b"/>
              <a:pathLst>
                <a:path w="2489" h="2134" extrusionOk="0">
                  <a:moveTo>
                    <a:pt x="1065" y="1"/>
                  </a:moveTo>
                  <a:cubicBezTo>
                    <a:pt x="472" y="1"/>
                    <a:pt x="1" y="480"/>
                    <a:pt x="1" y="1066"/>
                  </a:cubicBezTo>
                  <a:cubicBezTo>
                    <a:pt x="1" y="1709"/>
                    <a:pt x="526" y="2134"/>
                    <a:pt x="1072" y="2134"/>
                  </a:cubicBezTo>
                  <a:cubicBezTo>
                    <a:pt x="1333" y="2134"/>
                    <a:pt x="1598" y="2037"/>
                    <a:pt x="1813" y="1822"/>
                  </a:cubicBezTo>
                  <a:cubicBezTo>
                    <a:pt x="2488" y="1147"/>
                    <a:pt x="2017" y="1"/>
                    <a:pt x="1065"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542" name="Google Shape;1542;p104"/>
            <p:cNvSpPr/>
            <p:nvPr/>
          </p:nvSpPr>
          <p:spPr>
            <a:xfrm>
              <a:off x="3970950" y="2866425"/>
              <a:ext cx="62225" cy="53275"/>
            </a:xfrm>
            <a:custGeom>
              <a:avLst/>
              <a:gdLst/>
              <a:ahLst/>
              <a:cxnLst/>
              <a:rect l="l" t="t" r="r" b="b"/>
              <a:pathLst>
                <a:path w="2489" h="2131" extrusionOk="0">
                  <a:moveTo>
                    <a:pt x="1065" y="0"/>
                  </a:moveTo>
                  <a:cubicBezTo>
                    <a:pt x="472" y="0"/>
                    <a:pt x="1" y="472"/>
                    <a:pt x="1" y="1065"/>
                  </a:cubicBezTo>
                  <a:cubicBezTo>
                    <a:pt x="1" y="1707"/>
                    <a:pt x="523" y="2131"/>
                    <a:pt x="1067" y="2131"/>
                  </a:cubicBezTo>
                  <a:cubicBezTo>
                    <a:pt x="1329" y="2131"/>
                    <a:pt x="1597" y="2032"/>
                    <a:pt x="1813" y="1813"/>
                  </a:cubicBezTo>
                  <a:cubicBezTo>
                    <a:pt x="2488" y="1146"/>
                    <a:pt x="2017" y="0"/>
                    <a:pt x="1065"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543" name="Google Shape;1543;p104"/>
            <p:cNvSpPr/>
            <p:nvPr/>
          </p:nvSpPr>
          <p:spPr>
            <a:xfrm>
              <a:off x="3970950" y="2942425"/>
              <a:ext cx="62225" cy="53450"/>
            </a:xfrm>
            <a:custGeom>
              <a:avLst/>
              <a:gdLst/>
              <a:ahLst/>
              <a:cxnLst/>
              <a:rect l="l" t="t" r="r" b="b"/>
              <a:pathLst>
                <a:path w="2489" h="2138" extrusionOk="0">
                  <a:moveTo>
                    <a:pt x="1065" y="1"/>
                  </a:moveTo>
                  <a:cubicBezTo>
                    <a:pt x="472" y="1"/>
                    <a:pt x="1" y="480"/>
                    <a:pt x="1" y="1066"/>
                  </a:cubicBezTo>
                  <a:cubicBezTo>
                    <a:pt x="1" y="1709"/>
                    <a:pt x="526" y="2137"/>
                    <a:pt x="1072" y="2137"/>
                  </a:cubicBezTo>
                  <a:cubicBezTo>
                    <a:pt x="1332" y="2137"/>
                    <a:pt x="1598" y="2040"/>
                    <a:pt x="1813" y="1822"/>
                  </a:cubicBezTo>
                  <a:cubicBezTo>
                    <a:pt x="2488" y="1155"/>
                    <a:pt x="2017" y="1"/>
                    <a:pt x="1065"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544" name="Google Shape;1544;p104"/>
            <p:cNvSpPr/>
            <p:nvPr/>
          </p:nvSpPr>
          <p:spPr>
            <a:xfrm>
              <a:off x="3970950" y="3018650"/>
              <a:ext cx="62225" cy="53425"/>
            </a:xfrm>
            <a:custGeom>
              <a:avLst/>
              <a:gdLst/>
              <a:ahLst/>
              <a:cxnLst/>
              <a:rect l="l" t="t" r="r" b="b"/>
              <a:pathLst>
                <a:path w="2489" h="2137" extrusionOk="0">
                  <a:moveTo>
                    <a:pt x="1065" y="0"/>
                  </a:moveTo>
                  <a:cubicBezTo>
                    <a:pt x="472" y="0"/>
                    <a:pt x="1" y="480"/>
                    <a:pt x="1" y="1065"/>
                  </a:cubicBezTo>
                  <a:cubicBezTo>
                    <a:pt x="1" y="1709"/>
                    <a:pt x="526" y="2137"/>
                    <a:pt x="1072" y="2137"/>
                  </a:cubicBezTo>
                  <a:cubicBezTo>
                    <a:pt x="1332" y="2137"/>
                    <a:pt x="1598" y="2039"/>
                    <a:pt x="1813" y="1821"/>
                  </a:cubicBezTo>
                  <a:cubicBezTo>
                    <a:pt x="2488" y="1146"/>
                    <a:pt x="2017" y="0"/>
                    <a:pt x="1065"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545" name="Google Shape;1545;p104"/>
            <p:cNvSpPr/>
            <p:nvPr/>
          </p:nvSpPr>
          <p:spPr>
            <a:xfrm>
              <a:off x="3970950" y="3094850"/>
              <a:ext cx="62225" cy="53350"/>
            </a:xfrm>
            <a:custGeom>
              <a:avLst/>
              <a:gdLst/>
              <a:ahLst/>
              <a:cxnLst/>
              <a:rect l="l" t="t" r="r" b="b"/>
              <a:pathLst>
                <a:path w="2489" h="2134" extrusionOk="0">
                  <a:moveTo>
                    <a:pt x="1065" y="1"/>
                  </a:moveTo>
                  <a:cubicBezTo>
                    <a:pt x="472" y="1"/>
                    <a:pt x="1" y="480"/>
                    <a:pt x="1" y="1066"/>
                  </a:cubicBezTo>
                  <a:cubicBezTo>
                    <a:pt x="1" y="1709"/>
                    <a:pt x="526" y="2134"/>
                    <a:pt x="1072" y="2134"/>
                  </a:cubicBezTo>
                  <a:cubicBezTo>
                    <a:pt x="1333" y="2134"/>
                    <a:pt x="1598" y="2037"/>
                    <a:pt x="1813" y="1822"/>
                  </a:cubicBezTo>
                  <a:cubicBezTo>
                    <a:pt x="2488" y="1147"/>
                    <a:pt x="2017" y="1"/>
                    <a:pt x="1065"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546" name="Google Shape;1546;p104"/>
            <p:cNvSpPr/>
            <p:nvPr/>
          </p:nvSpPr>
          <p:spPr>
            <a:xfrm>
              <a:off x="3970950" y="3171075"/>
              <a:ext cx="62225" cy="53350"/>
            </a:xfrm>
            <a:custGeom>
              <a:avLst/>
              <a:gdLst/>
              <a:ahLst/>
              <a:cxnLst/>
              <a:rect l="l" t="t" r="r" b="b"/>
              <a:pathLst>
                <a:path w="2489" h="2134" extrusionOk="0">
                  <a:moveTo>
                    <a:pt x="1065" y="0"/>
                  </a:moveTo>
                  <a:cubicBezTo>
                    <a:pt x="472" y="0"/>
                    <a:pt x="1" y="472"/>
                    <a:pt x="1" y="1065"/>
                  </a:cubicBezTo>
                  <a:cubicBezTo>
                    <a:pt x="1" y="1709"/>
                    <a:pt x="526" y="2133"/>
                    <a:pt x="1072" y="2133"/>
                  </a:cubicBezTo>
                  <a:cubicBezTo>
                    <a:pt x="1333" y="2133"/>
                    <a:pt x="1598" y="2037"/>
                    <a:pt x="1813" y="1821"/>
                  </a:cubicBezTo>
                  <a:cubicBezTo>
                    <a:pt x="2488" y="1146"/>
                    <a:pt x="2017" y="0"/>
                    <a:pt x="1065"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547" name="Google Shape;1547;p104"/>
            <p:cNvSpPr/>
            <p:nvPr/>
          </p:nvSpPr>
          <p:spPr>
            <a:xfrm>
              <a:off x="3970950" y="3247075"/>
              <a:ext cx="62225" cy="53450"/>
            </a:xfrm>
            <a:custGeom>
              <a:avLst/>
              <a:gdLst/>
              <a:ahLst/>
              <a:cxnLst/>
              <a:rect l="l" t="t" r="r" b="b"/>
              <a:pathLst>
                <a:path w="2489" h="2138" extrusionOk="0">
                  <a:moveTo>
                    <a:pt x="1065" y="1"/>
                  </a:moveTo>
                  <a:cubicBezTo>
                    <a:pt x="472" y="9"/>
                    <a:pt x="1" y="480"/>
                    <a:pt x="1" y="1074"/>
                  </a:cubicBezTo>
                  <a:cubicBezTo>
                    <a:pt x="1" y="1712"/>
                    <a:pt x="525" y="2137"/>
                    <a:pt x="1071" y="2137"/>
                  </a:cubicBezTo>
                  <a:cubicBezTo>
                    <a:pt x="1332" y="2137"/>
                    <a:pt x="1598" y="2040"/>
                    <a:pt x="1813" y="1822"/>
                  </a:cubicBezTo>
                  <a:cubicBezTo>
                    <a:pt x="2488" y="1155"/>
                    <a:pt x="2017" y="1"/>
                    <a:pt x="1065"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548" name="Google Shape;1548;p104"/>
            <p:cNvSpPr/>
            <p:nvPr/>
          </p:nvSpPr>
          <p:spPr>
            <a:xfrm>
              <a:off x="3970950" y="3323300"/>
              <a:ext cx="62225" cy="53425"/>
            </a:xfrm>
            <a:custGeom>
              <a:avLst/>
              <a:gdLst/>
              <a:ahLst/>
              <a:cxnLst/>
              <a:rect l="l" t="t" r="r" b="b"/>
              <a:pathLst>
                <a:path w="2489" h="2137" extrusionOk="0">
                  <a:moveTo>
                    <a:pt x="1065" y="0"/>
                  </a:moveTo>
                  <a:cubicBezTo>
                    <a:pt x="472" y="0"/>
                    <a:pt x="1" y="480"/>
                    <a:pt x="1" y="1065"/>
                  </a:cubicBezTo>
                  <a:cubicBezTo>
                    <a:pt x="1" y="1709"/>
                    <a:pt x="526" y="2137"/>
                    <a:pt x="1072" y="2137"/>
                  </a:cubicBezTo>
                  <a:cubicBezTo>
                    <a:pt x="1332" y="2137"/>
                    <a:pt x="1598" y="2039"/>
                    <a:pt x="1813" y="1821"/>
                  </a:cubicBezTo>
                  <a:cubicBezTo>
                    <a:pt x="2488" y="1154"/>
                    <a:pt x="2017" y="0"/>
                    <a:pt x="1065"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549" name="Google Shape;1549;p104"/>
            <p:cNvSpPr/>
            <p:nvPr/>
          </p:nvSpPr>
          <p:spPr>
            <a:xfrm>
              <a:off x="3970950" y="3399500"/>
              <a:ext cx="62225" cy="53350"/>
            </a:xfrm>
            <a:custGeom>
              <a:avLst/>
              <a:gdLst/>
              <a:ahLst/>
              <a:cxnLst/>
              <a:rect l="l" t="t" r="r" b="b"/>
              <a:pathLst>
                <a:path w="2489" h="2134" extrusionOk="0">
                  <a:moveTo>
                    <a:pt x="1065" y="1"/>
                  </a:moveTo>
                  <a:cubicBezTo>
                    <a:pt x="472" y="1"/>
                    <a:pt x="1" y="480"/>
                    <a:pt x="1" y="1066"/>
                  </a:cubicBezTo>
                  <a:cubicBezTo>
                    <a:pt x="1" y="1709"/>
                    <a:pt x="526" y="2134"/>
                    <a:pt x="1072" y="2134"/>
                  </a:cubicBezTo>
                  <a:cubicBezTo>
                    <a:pt x="1333" y="2134"/>
                    <a:pt x="1598" y="2037"/>
                    <a:pt x="1813" y="1822"/>
                  </a:cubicBezTo>
                  <a:cubicBezTo>
                    <a:pt x="2488" y="1147"/>
                    <a:pt x="2017" y="1"/>
                    <a:pt x="1065"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550" name="Google Shape;1550;p104"/>
            <p:cNvSpPr/>
            <p:nvPr/>
          </p:nvSpPr>
          <p:spPr>
            <a:xfrm>
              <a:off x="3970950" y="3475725"/>
              <a:ext cx="62225" cy="53350"/>
            </a:xfrm>
            <a:custGeom>
              <a:avLst/>
              <a:gdLst/>
              <a:ahLst/>
              <a:cxnLst/>
              <a:rect l="l" t="t" r="r" b="b"/>
              <a:pathLst>
                <a:path w="2489" h="2134" extrusionOk="0">
                  <a:moveTo>
                    <a:pt x="1065" y="0"/>
                  </a:moveTo>
                  <a:cubicBezTo>
                    <a:pt x="472" y="0"/>
                    <a:pt x="1" y="472"/>
                    <a:pt x="1" y="1065"/>
                  </a:cubicBezTo>
                  <a:cubicBezTo>
                    <a:pt x="1" y="1709"/>
                    <a:pt x="526" y="2133"/>
                    <a:pt x="1072" y="2133"/>
                  </a:cubicBezTo>
                  <a:cubicBezTo>
                    <a:pt x="1333" y="2133"/>
                    <a:pt x="1598" y="2037"/>
                    <a:pt x="1813" y="1821"/>
                  </a:cubicBezTo>
                  <a:cubicBezTo>
                    <a:pt x="2488" y="1146"/>
                    <a:pt x="2017" y="0"/>
                    <a:pt x="1065"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551" name="Google Shape;1551;p104"/>
            <p:cNvSpPr/>
            <p:nvPr/>
          </p:nvSpPr>
          <p:spPr>
            <a:xfrm>
              <a:off x="3970950" y="3551925"/>
              <a:ext cx="62225" cy="53250"/>
            </a:xfrm>
            <a:custGeom>
              <a:avLst/>
              <a:gdLst/>
              <a:ahLst/>
              <a:cxnLst/>
              <a:rect l="l" t="t" r="r" b="b"/>
              <a:pathLst>
                <a:path w="2489" h="2130" extrusionOk="0">
                  <a:moveTo>
                    <a:pt x="1065" y="1"/>
                  </a:moveTo>
                  <a:cubicBezTo>
                    <a:pt x="472" y="1"/>
                    <a:pt x="1" y="472"/>
                    <a:pt x="1" y="1066"/>
                  </a:cubicBezTo>
                  <a:cubicBezTo>
                    <a:pt x="1" y="1704"/>
                    <a:pt x="525" y="2129"/>
                    <a:pt x="1071" y="2129"/>
                  </a:cubicBezTo>
                  <a:cubicBezTo>
                    <a:pt x="1332" y="2129"/>
                    <a:pt x="1598" y="2032"/>
                    <a:pt x="1813" y="1814"/>
                  </a:cubicBezTo>
                  <a:cubicBezTo>
                    <a:pt x="2488" y="1147"/>
                    <a:pt x="2017" y="1"/>
                    <a:pt x="1065"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552" name="Google Shape;1552;p104"/>
            <p:cNvSpPr/>
            <p:nvPr/>
          </p:nvSpPr>
          <p:spPr>
            <a:xfrm>
              <a:off x="3970950" y="3627950"/>
              <a:ext cx="62225" cy="53425"/>
            </a:xfrm>
            <a:custGeom>
              <a:avLst/>
              <a:gdLst/>
              <a:ahLst/>
              <a:cxnLst/>
              <a:rect l="l" t="t" r="r" b="b"/>
              <a:pathLst>
                <a:path w="2489" h="2137" extrusionOk="0">
                  <a:moveTo>
                    <a:pt x="1065" y="0"/>
                  </a:moveTo>
                  <a:cubicBezTo>
                    <a:pt x="472" y="8"/>
                    <a:pt x="1" y="480"/>
                    <a:pt x="1" y="1073"/>
                  </a:cubicBezTo>
                  <a:cubicBezTo>
                    <a:pt x="1" y="1711"/>
                    <a:pt x="525" y="2137"/>
                    <a:pt x="1071" y="2137"/>
                  </a:cubicBezTo>
                  <a:cubicBezTo>
                    <a:pt x="1332" y="2137"/>
                    <a:pt x="1598" y="2039"/>
                    <a:pt x="1813" y="1821"/>
                  </a:cubicBezTo>
                  <a:cubicBezTo>
                    <a:pt x="2488" y="1154"/>
                    <a:pt x="2017" y="0"/>
                    <a:pt x="1065"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553" name="Google Shape;1553;p104"/>
            <p:cNvSpPr/>
            <p:nvPr/>
          </p:nvSpPr>
          <p:spPr>
            <a:xfrm>
              <a:off x="3970950" y="3704150"/>
              <a:ext cx="62225" cy="53450"/>
            </a:xfrm>
            <a:custGeom>
              <a:avLst/>
              <a:gdLst/>
              <a:ahLst/>
              <a:cxnLst/>
              <a:rect l="l" t="t" r="r" b="b"/>
              <a:pathLst>
                <a:path w="2489" h="2138" extrusionOk="0">
                  <a:moveTo>
                    <a:pt x="1065" y="1"/>
                  </a:moveTo>
                  <a:cubicBezTo>
                    <a:pt x="472" y="1"/>
                    <a:pt x="1" y="480"/>
                    <a:pt x="1" y="1066"/>
                  </a:cubicBezTo>
                  <a:cubicBezTo>
                    <a:pt x="1" y="1709"/>
                    <a:pt x="526" y="2137"/>
                    <a:pt x="1072" y="2137"/>
                  </a:cubicBezTo>
                  <a:cubicBezTo>
                    <a:pt x="1332" y="2137"/>
                    <a:pt x="1598" y="2040"/>
                    <a:pt x="1813" y="1822"/>
                  </a:cubicBezTo>
                  <a:cubicBezTo>
                    <a:pt x="2488" y="1147"/>
                    <a:pt x="2017" y="1"/>
                    <a:pt x="1065"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554" name="Google Shape;1554;p104"/>
            <p:cNvSpPr/>
            <p:nvPr/>
          </p:nvSpPr>
          <p:spPr>
            <a:xfrm>
              <a:off x="3970950" y="3780375"/>
              <a:ext cx="62425" cy="53425"/>
            </a:xfrm>
            <a:custGeom>
              <a:avLst/>
              <a:gdLst/>
              <a:ahLst/>
              <a:cxnLst/>
              <a:rect l="l" t="t" r="r" b="b"/>
              <a:pathLst>
                <a:path w="2497" h="2137" extrusionOk="0">
                  <a:moveTo>
                    <a:pt x="1065" y="0"/>
                  </a:moveTo>
                  <a:cubicBezTo>
                    <a:pt x="472" y="0"/>
                    <a:pt x="1" y="480"/>
                    <a:pt x="1" y="1065"/>
                  </a:cubicBezTo>
                  <a:cubicBezTo>
                    <a:pt x="1" y="1709"/>
                    <a:pt x="526" y="2137"/>
                    <a:pt x="1074" y="2137"/>
                  </a:cubicBezTo>
                  <a:cubicBezTo>
                    <a:pt x="1336" y="2137"/>
                    <a:pt x="1603" y="2039"/>
                    <a:pt x="1822" y="1821"/>
                  </a:cubicBezTo>
                  <a:cubicBezTo>
                    <a:pt x="2496" y="1146"/>
                    <a:pt x="2017" y="0"/>
                    <a:pt x="1065"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555" name="Google Shape;1555;p104"/>
            <p:cNvSpPr/>
            <p:nvPr/>
          </p:nvSpPr>
          <p:spPr>
            <a:xfrm>
              <a:off x="3970950" y="3856775"/>
              <a:ext cx="62225" cy="53250"/>
            </a:xfrm>
            <a:custGeom>
              <a:avLst/>
              <a:gdLst/>
              <a:ahLst/>
              <a:cxnLst/>
              <a:rect l="l" t="t" r="r" b="b"/>
              <a:pathLst>
                <a:path w="2489" h="2130" extrusionOk="0">
                  <a:moveTo>
                    <a:pt x="1065" y="1"/>
                  </a:moveTo>
                  <a:cubicBezTo>
                    <a:pt x="472" y="1"/>
                    <a:pt x="1" y="472"/>
                    <a:pt x="1" y="1066"/>
                  </a:cubicBezTo>
                  <a:cubicBezTo>
                    <a:pt x="1" y="1704"/>
                    <a:pt x="525" y="2129"/>
                    <a:pt x="1071" y="2129"/>
                  </a:cubicBezTo>
                  <a:cubicBezTo>
                    <a:pt x="1332" y="2129"/>
                    <a:pt x="1598" y="2032"/>
                    <a:pt x="1813" y="1814"/>
                  </a:cubicBezTo>
                  <a:cubicBezTo>
                    <a:pt x="2488" y="1147"/>
                    <a:pt x="2017" y="1"/>
                    <a:pt x="1065"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556" name="Google Shape;1556;p104"/>
            <p:cNvSpPr/>
            <p:nvPr/>
          </p:nvSpPr>
          <p:spPr>
            <a:xfrm>
              <a:off x="3970950" y="4009000"/>
              <a:ext cx="62225" cy="53350"/>
            </a:xfrm>
            <a:custGeom>
              <a:avLst/>
              <a:gdLst/>
              <a:ahLst/>
              <a:cxnLst/>
              <a:rect l="l" t="t" r="r" b="b"/>
              <a:pathLst>
                <a:path w="2489" h="2134" extrusionOk="0">
                  <a:moveTo>
                    <a:pt x="1065" y="1"/>
                  </a:moveTo>
                  <a:cubicBezTo>
                    <a:pt x="472" y="1"/>
                    <a:pt x="1" y="480"/>
                    <a:pt x="1" y="1066"/>
                  </a:cubicBezTo>
                  <a:cubicBezTo>
                    <a:pt x="1" y="1710"/>
                    <a:pt x="526" y="2134"/>
                    <a:pt x="1072" y="2134"/>
                  </a:cubicBezTo>
                  <a:cubicBezTo>
                    <a:pt x="1333" y="2134"/>
                    <a:pt x="1598" y="2037"/>
                    <a:pt x="1813" y="1822"/>
                  </a:cubicBezTo>
                  <a:cubicBezTo>
                    <a:pt x="2488" y="1147"/>
                    <a:pt x="2017" y="1"/>
                    <a:pt x="1065"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557" name="Google Shape;1557;p104"/>
            <p:cNvSpPr/>
            <p:nvPr/>
          </p:nvSpPr>
          <p:spPr>
            <a:xfrm>
              <a:off x="4046950" y="2790200"/>
              <a:ext cx="62425" cy="53350"/>
            </a:xfrm>
            <a:custGeom>
              <a:avLst/>
              <a:gdLst/>
              <a:ahLst/>
              <a:cxnLst/>
              <a:rect l="l" t="t" r="r" b="b"/>
              <a:pathLst>
                <a:path w="2497" h="2134" extrusionOk="0">
                  <a:moveTo>
                    <a:pt x="1074" y="1"/>
                  </a:moveTo>
                  <a:cubicBezTo>
                    <a:pt x="481" y="1"/>
                    <a:pt x="9" y="480"/>
                    <a:pt x="1" y="1066"/>
                  </a:cubicBezTo>
                  <a:cubicBezTo>
                    <a:pt x="1" y="1709"/>
                    <a:pt x="530" y="2134"/>
                    <a:pt x="1079" y="2134"/>
                  </a:cubicBezTo>
                  <a:cubicBezTo>
                    <a:pt x="1340" y="2134"/>
                    <a:pt x="1607" y="2037"/>
                    <a:pt x="1822" y="1822"/>
                  </a:cubicBezTo>
                  <a:cubicBezTo>
                    <a:pt x="2497" y="1147"/>
                    <a:pt x="2017" y="1"/>
                    <a:pt x="1074"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558" name="Google Shape;1558;p104"/>
            <p:cNvSpPr/>
            <p:nvPr/>
          </p:nvSpPr>
          <p:spPr>
            <a:xfrm>
              <a:off x="4046950" y="2866425"/>
              <a:ext cx="62425" cy="53275"/>
            </a:xfrm>
            <a:custGeom>
              <a:avLst/>
              <a:gdLst/>
              <a:ahLst/>
              <a:cxnLst/>
              <a:rect l="l" t="t" r="r" b="b"/>
              <a:pathLst>
                <a:path w="2497" h="2131" extrusionOk="0">
                  <a:moveTo>
                    <a:pt x="1074" y="0"/>
                  </a:moveTo>
                  <a:cubicBezTo>
                    <a:pt x="481" y="0"/>
                    <a:pt x="9" y="472"/>
                    <a:pt x="1" y="1065"/>
                  </a:cubicBezTo>
                  <a:cubicBezTo>
                    <a:pt x="1" y="1707"/>
                    <a:pt x="527" y="2131"/>
                    <a:pt x="1074" y="2131"/>
                  </a:cubicBezTo>
                  <a:cubicBezTo>
                    <a:pt x="1337" y="2131"/>
                    <a:pt x="1605" y="2032"/>
                    <a:pt x="1822" y="1813"/>
                  </a:cubicBezTo>
                  <a:cubicBezTo>
                    <a:pt x="2497" y="1146"/>
                    <a:pt x="2017" y="0"/>
                    <a:pt x="1074"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559" name="Google Shape;1559;p104"/>
            <p:cNvSpPr/>
            <p:nvPr/>
          </p:nvSpPr>
          <p:spPr>
            <a:xfrm>
              <a:off x="4046950" y="2942425"/>
              <a:ext cx="62425" cy="53450"/>
            </a:xfrm>
            <a:custGeom>
              <a:avLst/>
              <a:gdLst/>
              <a:ahLst/>
              <a:cxnLst/>
              <a:rect l="l" t="t" r="r" b="b"/>
              <a:pathLst>
                <a:path w="2497" h="2138" extrusionOk="0">
                  <a:moveTo>
                    <a:pt x="1074" y="1"/>
                  </a:moveTo>
                  <a:cubicBezTo>
                    <a:pt x="481" y="9"/>
                    <a:pt x="9" y="480"/>
                    <a:pt x="1" y="1066"/>
                  </a:cubicBezTo>
                  <a:cubicBezTo>
                    <a:pt x="1" y="1709"/>
                    <a:pt x="530" y="2137"/>
                    <a:pt x="1078" y="2137"/>
                  </a:cubicBezTo>
                  <a:cubicBezTo>
                    <a:pt x="1340" y="2137"/>
                    <a:pt x="1607" y="2040"/>
                    <a:pt x="1822" y="1822"/>
                  </a:cubicBezTo>
                  <a:cubicBezTo>
                    <a:pt x="2497" y="1147"/>
                    <a:pt x="2017" y="1"/>
                    <a:pt x="1074"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560" name="Google Shape;1560;p104"/>
            <p:cNvSpPr/>
            <p:nvPr/>
          </p:nvSpPr>
          <p:spPr>
            <a:xfrm>
              <a:off x="4046950" y="3018650"/>
              <a:ext cx="62425" cy="53425"/>
            </a:xfrm>
            <a:custGeom>
              <a:avLst/>
              <a:gdLst/>
              <a:ahLst/>
              <a:cxnLst/>
              <a:rect l="l" t="t" r="r" b="b"/>
              <a:pathLst>
                <a:path w="2497" h="2137" extrusionOk="0">
                  <a:moveTo>
                    <a:pt x="1074" y="0"/>
                  </a:moveTo>
                  <a:cubicBezTo>
                    <a:pt x="481" y="0"/>
                    <a:pt x="9" y="480"/>
                    <a:pt x="1" y="1065"/>
                  </a:cubicBezTo>
                  <a:cubicBezTo>
                    <a:pt x="1" y="1709"/>
                    <a:pt x="530" y="2137"/>
                    <a:pt x="1078" y="2137"/>
                  </a:cubicBezTo>
                  <a:cubicBezTo>
                    <a:pt x="1340" y="2137"/>
                    <a:pt x="1607" y="2039"/>
                    <a:pt x="1822" y="1821"/>
                  </a:cubicBezTo>
                  <a:cubicBezTo>
                    <a:pt x="2497" y="1146"/>
                    <a:pt x="2017" y="0"/>
                    <a:pt x="1074"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561" name="Google Shape;1561;p104"/>
            <p:cNvSpPr/>
            <p:nvPr/>
          </p:nvSpPr>
          <p:spPr>
            <a:xfrm>
              <a:off x="4046950" y="3094850"/>
              <a:ext cx="62425" cy="53350"/>
            </a:xfrm>
            <a:custGeom>
              <a:avLst/>
              <a:gdLst/>
              <a:ahLst/>
              <a:cxnLst/>
              <a:rect l="l" t="t" r="r" b="b"/>
              <a:pathLst>
                <a:path w="2497" h="2134" extrusionOk="0">
                  <a:moveTo>
                    <a:pt x="1074" y="1"/>
                  </a:moveTo>
                  <a:cubicBezTo>
                    <a:pt x="481" y="1"/>
                    <a:pt x="9" y="480"/>
                    <a:pt x="1" y="1066"/>
                  </a:cubicBezTo>
                  <a:cubicBezTo>
                    <a:pt x="1" y="1709"/>
                    <a:pt x="530" y="2134"/>
                    <a:pt x="1079" y="2134"/>
                  </a:cubicBezTo>
                  <a:cubicBezTo>
                    <a:pt x="1340" y="2134"/>
                    <a:pt x="1607" y="2037"/>
                    <a:pt x="1822" y="1822"/>
                  </a:cubicBezTo>
                  <a:cubicBezTo>
                    <a:pt x="2497" y="1147"/>
                    <a:pt x="2017" y="1"/>
                    <a:pt x="1074"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562" name="Google Shape;1562;p104"/>
            <p:cNvSpPr/>
            <p:nvPr/>
          </p:nvSpPr>
          <p:spPr>
            <a:xfrm>
              <a:off x="4046950" y="3171075"/>
              <a:ext cx="62425" cy="53275"/>
            </a:xfrm>
            <a:custGeom>
              <a:avLst/>
              <a:gdLst/>
              <a:ahLst/>
              <a:cxnLst/>
              <a:rect l="l" t="t" r="r" b="b"/>
              <a:pathLst>
                <a:path w="2497" h="2131" extrusionOk="0">
                  <a:moveTo>
                    <a:pt x="1074" y="0"/>
                  </a:moveTo>
                  <a:cubicBezTo>
                    <a:pt x="481" y="0"/>
                    <a:pt x="9" y="472"/>
                    <a:pt x="1" y="1065"/>
                  </a:cubicBezTo>
                  <a:cubicBezTo>
                    <a:pt x="1" y="1707"/>
                    <a:pt x="527" y="2131"/>
                    <a:pt x="1074" y="2131"/>
                  </a:cubicBezTo>
                  <a:cubicBezTo>
                    <a:pt x="1337" y="2131"/>
                    <a:pt x="1605" y="2032"/>
                    <a:pt x="1822" y="1813"/>
                  </a:cubicBezTo>
                  <a:cubicBezTo>
                    <a:pt x="2497" y="1146"/>
                    <a:pt x="2017" y="0"/>
                    <a:pt x="1074"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563" name="Google Shape;1563;p104"/>
            <p:cNvSpPr/>
            <p:nvPr/>
          </p:nvSpPr>
          <p:spPr>
            <a:xfrm>
              <a:off x="4046950" y="3247075"/>
              <a:ext cx="62425" cy="53450"/>
            </a:xfrm>
            <a:custGeom>
              <a:avLst/>
              <a:gdLst/>
              <a:ahLst/>
              <a:cxnLst/>
              <a:rect l="l" t="t" r="r" b="b"/>
              <a:pathLst>
                <a:path w="2497" h="2138" extrusionOk="0">
                  <a:moveTo>
                    <a:pt x="1074" y="1"/>
                  </a:moveTo>
                  <a:cubicBezTo>
                    <a:pt x="481" y="9"/>
                    <a:pt x="9" y="480"/>
                    <a:pt x="1" y="1074"/>
                  </a:cubicBezTo>
                  <a:cubicBezTo>
                    <a:pt x="1" y="1712"/>
                    <a:pt x="529" y="2137"/>
                    <a:pt x="1077" y="2137"/>
                  </a:cubicBezTo>
                  <a:cubicBezTo>
                    <a:pt x="1339" y="2137"/>
                    <a:pt x="1606" y="2040"/>
                    <a:pt x="1822" y="1822"/>
                  </a:cubicBezTo>
                  <a:cubicBezTo>
                    <a:pt x="2497" y="1155"/>
                    <a:pt x="2017" y="1"/>
                    <a:pt x="1074"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564" name="Google Shape;1564;p104"/>
            <p:cNvSpPr/>
            <p:nvPr/>
          </p:nvSpPr>
          <p:spPr>
            <a:xfrm>
              <a:off x="4046950" y="3323300"/>
              <a:ext cx="62425" cy="53425"/>
            </a:xfrm>
            <a:custGeom>
              <a:avLst/>
              <a:gdLst/>
              <a:ahLst/>
              <a:cxnLst/>
              <a:rect l="l" t="t" r="r" b="b"/>
              <a:pathLst>
                <a:path w="2497" h="2137" extrusionOk="0">
                  <a:moveTo>
                    <a:pt x="1074" y="0"/>
                  </a:moveTo>
                  <a:cubicBezTo>
                    <a:pt x="481" y="8"/>
                    <a:pt x="9" y="480"/>
                    <a:pt x="1" y="1065"/>
                  </a:cubicBezTo>
                  <a:cubicBezTo>
                    <a:pt x="1" y="1709"/>
                    <a:pt x="526" y="2137"/>
                    <a:pt x="1075" y="2137"/>
                  </a:cubicBezTo>
                  <a:cubicBezTo>
                    <a:pt x="1337" y="2137"/>
                    <a:pt x="1604" y="2039"/>
                    <a:pt x="1822" y="1821"/>
                  </a:cubicBezTo>
                  <a:cubicBezTo>
                    <a:pt x="2497" y="1154"/>
                    <a:pt x="2017" y="0"/>
                    <a:pt x="1074"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565" name="Google Shape;1565;p104"/>
            <p:cNvSpPr/>
            <p:nvPr/>
          </p:nvSpPr>
          <p:spPr>
            <a:xfrm>
              <a:off x="4046950" y="3399500"/>
              <a:ext cx="62425" cy="53350"/>
            </a:xfrm>
            <a:custGeom>
              <a:avLst/>
              <a:gdLst/>
              <a:ahLst/>
              <a:cxnLst/>
              <a:rect l="l" t="t" r="r" b="b"/>
              <a:pathLst>
                <a:path w="2497" h="2134" extrusionOk="0">
                  <a:moveTo>
                    <a:pt x="1074" y="1"/>
                  </a:moveTo>
                  <a:cubicBezTo>
                    <a:pt x="481" y="1"/>
                    <a:pt x="9" y="480"/>
                    <a:pt x="1" y="1066"/>
                  </a:cubicBezTo>
                  <a:cubicBezTo>
                    <a:pt x="1" y="1709"/>
                    <a:pt x="530" y="2134"/>
                    <a:pt x="1079" y="2134"/>
                  </a:cubicBezTo>
                  <a:cubicBezTo>
                    <a:pt x="1340" y="2134"/>
                    <a:pt x="1607" y="2037"/>
                    <a:pt x="1822" y="1822"/>
                  </a:cubicBezTo>
                  <a:cubicBezTo>
                    <a:pt x="2497" y="1147"/>
                    <a:pt x="2017" y="1"/>
                    <a:pt x="1074"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566" name="Google Shape;1566;p104"/>
            <p:cNvSpPr/>
            <p:nvPr/>
          </p:nvSpPr>
          <p:spPr>
            <a:xfrm>
              <a:off x="4046950" y="3475725"/>
              <a:ext cx="62425" cy="53350"/>
            </a:xfrm>
            <a:custGeom>
              <a:avLst/>
              <a:gdLst/>
              <a:ahLst/>
              <a:cxnLst/>
              <a:rect l="l" t="t" r="r" b="b"/>
              <a:pathLst>
                <a:path w="2497" h="2134" extrusionOk="0">
                  <a:moveTo>
                    <a:pt x="1074" y="0"/>
                  </a:moveTo>
                  <a:cubicBezTo>
                    <a:pt x="481" y="0"/>
                    <a:pt x="9" y="480"/>
                    <a:pt x="1" y="1065"/>
                  </a:cubicBezTo>
                  <a:cubicBezTo>
                    <a:pt x="1" y="1709"/>
                    <a:pt x="530" y="2133"/>
                    <a:pt x="1079" y="2133"/>
                  </a:cubicBezTo>
                  <a:cubicBezTo>
                    <a:pt x="1340" y="2133"/>
                    <a:pt x="1607" y="2037"/>
                    <a:pt x="1822" y="1821"/>
                  </a:cubicBezTo>
                  <a:cubicBezTo>
                    <a:pt x="2497" y="1146"/>
                    <a:pt x="2017" y="0"/>
                    <a:pt x="1074"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567" name="Google Shape;1567;p104"/>
            <p:cNvSpPr/>
            <p:nvPr/>
          </p:nvSpPr>
          <p:spPr>
            <a:xfrm>
              <a:off x="4046950" y="3551925"/>
              <a:ext cx="62425" cy="53250"/>
            </a:xfrm>
            <a:custGeom>
              <a:avLst/>
              <a:gdLst/>
              <a:ahLst/>
              <a:cxnLst/>
              <a:rect l="l" t="t" r="r" b="b"/>
              <a:pathLst>
                <a:path w="2497" h="2130" extrusionOk="0">
                  <a:moveTo>
                    <a:pt x="1074" y="1"/>
                  </a:moveTo>
                  <a:cubicBezTo>
                    <a:pt x="481" y="1"/>
                    <a:pt x="9" y="472"/>
                    <a:pt x="1" y="1066"/>
                  </a:cubicBezTo>
                  <a:cubicBezTo>
                    <a:pt x="1" y="1704"/>
                    <a:pt x="529" y="2129"/>
                    <a:pt x="1077" y="2129"/>
                  </a:cubicBezTo>
                  <a:cubicBezTo>
                    <a:pt x="1339" y="2129"/>
                    <a:pt x="1606" y="2032"/>
                    <a:pt x="1822" y="1814"/>
                  </a:cubicBezTo>
                  <a:cubicBezTo>
                    <a:pt x="2497" y="1147"/>
                    <a:pt x="2017" y="1"/>
                    <a:pt x="1074"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568" name="Google Shape;1568;p104"/>
            <p:cNvSpPr/>
            <p:nvPr/>
          </p:nvSpPr>
          <p:spPr>
            <a:xfrm>
              <a:off x="4046950" y="3627950"/>
              <a:ext cx="62425" cy="53425"/>
            </a:xfrm>
            <a:custGeom>
              <a:avLst/>
              <a:gdLst/>
              <a:ahLst/>
              <a:cxnLst/>
              <a:rect l="l" t="t" r="r" b="b"/>
              <a:pathLst>
                <a:path w="2497" h="2137" extrusionOk="0">
                  <a:moveTo>
                    <a:pt x="1074" y="0"/>
                  </a:moveTo>
                  <a:cubicBezTo>
                    <a:pt x="481" y="8"/>
                    <a:pt x="9" y="480"/>
                    <a:pt x="1" y="1073"/>
                  </a:cubicBezTo>
                  <a:cubicBezTo>
                    <a:pt x="1" y="1711"/>
                    <a:pt x="529" y="2137"/>
                    <a:pt x="1077" y="2137"/>
                  </a:cubicBezTo>
                  <a:cubicBezTo>
                    <a:pt x="1339" y="2137"/>
                    <a:pt x="1606" y="2039"/>
                    <a:pt x="1822" y="1821"/>
                  </a:cubicBezTo>
                  <a:cubicBezTo>
                    <a:pt x="2497" y="1154"/>
                    <a:pt x="2017" y="0"/>
                    <a:pt x="1074"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569" name="Google Shape;1569;p104"/>
            <p:cNvSpPr/>
            <p:nvPr/>
          </p:nvSpPr>
          <p:spPr>
            <a:xfrm>
              <a:off x="4046950" y="3704150"/>
              <a:ext cx="62425" cy="53450"/>
            </a:xfrm>
            <a:custGeom>
              <a:avLst/>
              <a:gdLst/>
              <a:ahLst/>
              <a:cxnLst/>
              <a:rect l="l" t="t" r="r" b="b"/>
              <a:pathLst>
                <a:path w="2497" h="2138" extrusionOk="0">
                  <a:moveTo>
                    <a:pt x="1074" y="1"/>
                  </a:moveTo>
                  <a:cubicBezTo>
                    <a:pt x="481" y="1"/>
                    <a:pt x="9" y="480"/>
                    <a:pt x="1" y="1066"/>
                  </a:cubicBezTo>
                  <a:cubicBezTo>
                    <a:pt x="1" y="1709"/>
                    <a:pt x="530" y="2137"/>
                    <a:pt x="1078" y="2137"/>
                  </a:cubicBezTo>
                  <a:cubicBezTo>
                    <a:pt x="1340" y="2137"/>
                    <a:pt x="1607" y="2040"/>
                    <a:pt x="1822" y="1822"/>
                  </a:cubicBezTo>
                  <a:cubicBezTo>
                    <a:pt x="2497" y="1147"/>
                    <a:pt x="2017" y="1"/>
                    <a:pt x="1074"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570" name="Google Shape;1570;p104"/>
            <p:cNvSpPr/>
            <p:nvPr/>
          </p:nvSpPr>
          <p:spPr>
            <a:xfrm>
              <a:off x="4123175" y="2790200"/>
              <a:ext cx="62425" cy="53350"/>
            </a:xfrm>
            <a:custGeom>
              <a:avLst/>
              <a:gdLst/>
              <a:ahLst/>
              <a:cxnLst/>
              <a:rect l="l" t="t" r="r" b="b"/>
              <a:pathLst>
                <a:path w="2497" h="2134" extrusionOk="0">
                  <a:moveTo>
                    <a:pt x="1065" y="1"/>
                  </a:moveTo>
                  <a:cubicBezTo>
                    <a:pt x="480" y="1"/>
                    <a:pt x="0" y="480"/>
                    <a:pt x="0" y="1066"/>
                  </a:cubicBezTo>
                  <a:cubicBezTo>
                    <a:pt x="0" y="1709"/>
                    <a:pt x="526" y="2134"/>
                    <a:pt x="1074" y="2134"/>
                  </a:cubicBezTo>
                  <a:cubicBezTo>
                    <a:pt x="1336" y="2134"/>
                    <a:pt x="1604" y="2037"/>
                    <a:pt x="1821" y="1822"/>
                  </a:cubicBezTo>
                  <a:cubicBezTo>
                    <a:pt x="2496" y="1147"/>
                    <a:pt x="2017" y="1"/>
                    <a:pt x="1065"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571" name="Google Shape;1571;p104"/>
            <p:cNvSpPr/>
            <p:nvPr/>
          </p:nvSpPr>
          <p:spPr>
            <a:xfrm>
              <a:off x="4123175" y="2866425"/>
              <a:ext cx="62425" cy="53275"/>
            </a:xfrm>
            <a:custGeom>
              <a:avLst/>
              <a:gdLst/>
              <a:ahLst/>
              <a:cxnLst/>
              <a:rect l="l" t="t" r="r" b="b"/>
              <a:pathLst>
                <a:path w="2497" h="2131" extrusionOk="0">
                  <a:moveTo>
                    <a:pt x="1065" y="0"/>
                  </a:moveTo>
                  <a:cubicBezTo>
                    <a:pt x="480" y="0"/>
                    <a:pt x="0" y="472"/>
                    <a:pt x="0" y="1065"/>
                  </a:cubicBezTo>
                  <a:cubicBezTo>
                    <a:pt x="0" y="1707"/>
                    <a:pt x="523" y="2131"/>
                    <a:pt x="1070" y="2131"/>
                  </a:cubicBezTo>
                  <a:cubicBezTo>
                    <a:pt x="1333" y="2131"/>
                    <a:pt x="1602" y="2032"/>
                    <a:pt x="1821" y="1813"/>
                  </a:cubicBezTo>
                  <a:cubicBezTo>
                    <a:pt x="2496" y="1146"/>
                    <a:pt x="2017" y="0"/>
                    <a:pt x="1065"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572" name="Google Shape;1572;p104"/>
            <p:cNvSpPr/>
            <p:nvPr/>
          </p:nvSpPr>
          <p:spPr>
            <a:xfrm>
              <a:off x="4123175" y="2942425"/>
              <a:ext cx="62425" cy="53450"/>
            </a:xfrm>
            <a:custGeom>
              <a:avLst/>
              <a:gdLst/>
              <a:ahLst/>
              <a:cxnLst/>
              <a:rect l="l" t="t" r="r" b="b"/>
              <a:pathLst>
                <a:path w="2497" h="2138" extrusionOk="0">
                  <a:moveTo>
                    <a:pt x="1065" y="1"/>
                  </a:moveTo>
                  <a:cubicBezTo>
                    <a:pt x="480" y="1"/>
                    <a:pt x="0" y="480"/>
                    <a:pt x="0" y="1066"/>
                  </a:cubicBezTo>
                  <a:cubicBezTo>
                    <a:pt x="0" y="1709"/>
                    <a:pt x="526" y="2137"/>
                    <a:pt x="1074" y="2137"/>
                  </a:cubicBezTo>
                  <a:cubicBezTo>
                    <a:pt x="1336" y="2137"/>
                    <a:pt x="1603" y="2040"/>
                    <a:pt x="1821" y="1822"/>
                  </a:cubicBezTo>
                  <a:cubicBezTo>
                    <a:pt x="2496" y="1155"/>
                    <a:pt x="2017" y="1"/>
                    <a:pt x="1065"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573" name="Google Shape;1573;p104"/>
            <p:cNvSpPr/>
            <p:nvPr/>
          </p:nvSpPr>
          <p:spPr>
            <a:xfrm>
              <a:off x="4123175" y="3018650"/>
              <a:ext cx="62425" cy="53425"/>
            </a:xfrm>
            <a:custGeom>
              <a:avLst/>
              <a:gdLst/>
              <a:ahLst/>
              <a:cxnLst/>
              <a:rect l="l" t="t" r="r" b="b"/>
              <a:pathLst>
                <a:path w="2497" h="2137" extrusionOk="0">
                  <a:moveTo>
                    <a:pt x="1065" y="0"/>
                  </a:moveTo>
                  <a:cubicBezTo>
                    <a:pt x="480" y="0"/>
                    <a:pt x="0" y="480"/>
                    <a:pt x="0" y="1065"/>
                  </a:cubicBezTo>
                  <a:cubicBezTo>
                    <a:pt x="0" y="1709"/>
                    <a:pt x="526" y="2137"/>
                    <a:pt x="1074" y="2137"/>
                  </a:cubicBezTo>
                  <a:cubicBezTo>
                    <a:pt x="1336" y="2137"/>
                    <a:pt x="1603" y="2039"/>
                    <a:pt x="1821" y="1821"/>
                  </a:cubicBezTo>
                  <a:cubicBezTo>
                    <a:pt x="2496" y="1146"/>
                    <a:pt x="2017" y="0"/>
                    <a:pt x="1065"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574" name="Google Shape;1574;p104"/>
            <p:cNvSpPr/>
            <p:nvPr/>
          </p:nvSpPr>
          <p:spPr>
            <a:xfrm>
              <a:off x="4123175" y="3094850"/>
              <a:ext cx="62425" cy="53350"/>
            </a:xfrm>
            <a:custGeom>
              <a:avLst/>
              <a:gdLst/>
              <a:ahLst/>
              <a:cxnLst/>
              <a:rect l="l" t="t" r="r" b="b"/>
              <a:pathLst>
                <a:path w="2497" h="2134" extrusionOk="0">
                  <a:moveTo>
                    <a:pt x="1065" y="1"/>
                  </a:moveTo>
                  <a:cubicBezTo>
                    <a:pt x="480" y="1"/>
                    <a:pt x="0" y="480"/>
                    <a:pt x="0" y="1066"/>
                  </a:cubicBezTo>
                  <a:cubicBezTo>
                    <a:pt x="0" y="1709"/>
                    <a:pt x="526" y="2134"/>
                    <a:pt x="1074" y="2134"/>
                  </a:cubicBezTo>
                  <a:cubicBezTo>
                    <a:pt x="1336" y="2134"/>
                    <a:pt x="1604" y="2037"/>
                    <a:pt x="1821" y="1822"/>
                  </a:cubicBezTo>
                  <a:cubicBezTo>
                    <a:pt x="2496" y="1147"/>
                    <a:pt x="2017" y="1"/>
                    <a:pt x="1065"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575" name="Google Shape;1575;p104"/>
            <p:cNvSpPr/>
            <p:nvPr/>
          </p:nvSpPr>
          <p:spPr>
            <a:xfrm>
              <a:off x="4123175" y="3171075"/>
              <a:ext cx="62425" cy="53350"/>
            </a:xfrm>
            <a:custGeom>
              <a:avLst/>
              <a:gdLst/>
              <a:ahLst/>
              <a:cxnLst/>
              <a:rect l="l" t="t" r="r" b="b"/>
              <a:pathLst>
                <a:path w="2497" h="2134" extrusionOk="0">
                  <a:moveTo>
                    <a:pt x="1065" y="0"/>
                  </a:moveTo>
                  <a:cubicBezTo>
                    <a:pt x="480" y="0"/>
                    <a:pt x="0" y="472"/>
                    <a:pt x="0" y="1065"/>
                  </a:cubicBezTo>
                  <a:cubicBezTo>
                    <a:pt x="0" y="1709"/>
                    <a:pt x="526" y="2133"/>
                    <a:pt x="1074" y="2133"/>
                  </a:cubicBezTo>
                  <a:cubicBezTo>
                    <a:pt x="1336" y="2133"/>
                    <a:pt x="1604" y="2037"/>
                    <a:pt x="1821" y="1821"/>
                  </a:cubicBezTo>
                  <a:cubicBezTo>
                    <a:pt x="2496" y="1146"/>
                    <a:pt x="2017" y="0"/>
                    <a:pt x="1065"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576" name="Google Shape;1576;p104"/>
            <p:cNvSpPr/>
            <p:nvPr/>
          </p:nvSpPr>
          <p:spPr>
            <a:xfrm>
              <a:off x="4123175" y="3247075"/>
              <a:ext cx="62425" cy="53450"/>
            </a:xfrm>
            <a:custGeom>
              <a:avLst/>
              <a:gdLst/>
              <a:ahLst/>
              <a:cxnLst/>
              <a:rect l="l" t="t" r="r" b="b"/>
              <a:pathLst>
                <a:path w="2497" h="2138" extrusionOk="0">
                  <a:moveTo>
                    <a:pt x="1065" y="1"/>
                  </a:moveTo>
                  <a:cubicBezTo>
                    <a:pt x="480" y="9"/>
                    <a:pt x="0" y="480"/>
                    <a:pt x="0" y="1074"/>
                  </a:cubicBezTo>
                  <a:cubicBezTo>
                    <a:pt x="0" y="1712"/>
                    <a:pt x="525" y="2137"/>
                    <a:pt x="1073" y="2137"/>
                  </a:cubicBezTo>
                  <a:cubicBezTo>
                    <a:pt x="1335" y="2137"/>
                    <a:pt x="1603" y="2040"/>
                    <a:pt x="1821" y="1822"/>
                  </a:cubicBezTo>
                  <a:cubicBezTo>
                    <a:pt x="2496" y="1155"/>
                    <a:pt x="2017" y="1"/>
                    <a:pt x="1065"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577" name="Google Shape;1577;p104"/>
            <p:cNvSpPr/>
            <p:nvPr/>
          </p:nvSpPr>
          <p:spPr>
            <a:xfrm>
              <a:off x="4123175" y="3323300"/>
              <a:ext cx="62425" cy="53425"/>
            </a:xfrm>
            <a:custGeom>
              <a:avLst/>
              <a:gdLst/>
              <a:ahLst/>
              <a:cxnLst/>
              <a:rect l="l" t="t" r="r" b="b"/>
              <a:pathLst>
                <a:path w="2497" h="2137" extrusionOk="0">
                  <a:moveTo>
                    <a:pt x="1065" y="0"/>
                  </a:moveTo>
                  <a:cubicBezTo>
                    <a:pt x="480" y="0"/>
                    <a:pt x="0" y="480"/>
                    <a:pt x="0" y="1065"/>
                  </a:cubicBezTo>
                  <a:cubicBezTo>
                    <a:pt x="0" y="1709"/>
                    <a:pt x="526" y="2137"/>
                    <a:pt x="1074" y="2137"/>
                  </a:cubicBezTo>
                  <a:cubicBezTo>
                    <a:pt x="1336" y="2137"/>
                    <a:pt x="1603" y="2039"/>
                    <a:pt x="1821" y="1821"/>
                  </a:cubicBezTo>
                  <a:cubicBezTo>
                    <a:pt x="2496" y="1154"/>
                    <a:pt x="2017" y="0"/>
                    <a:pt x="1065"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578" name="Google Shape;1578;p104"/>
            <p:cNvSpPr/>
            <p:nvPr/>
          </p:nvSpPr>
          <p:spPr>
            <a:xfrm>
              <a:off x="4123175" y="3399500"/>
              <a:ext cx="62425" cy="53350"/>
            </a:xfrm>
            <a:custGeom>
              <a:avLst/>
              <a:gdLst/>
              <a:ahLst/>
              <a:cxnLst/>
              <a:rect l="l" t="t" r="r" b="b"/>
              <a:pathLst>
                <a:path w="2497" h="2134" extrusionOk="0">
                  <a:moveTo>
                    <a:pt x="1065" y="1"/>
                  </a:moveTo>
                  <a:cubicBezTo>
                    <a:pt x="480" y="1"/>
                    <a:pt x="0" y="480"/>
                    <a:pt x="0" y="1066"/>
                  </a:cubicBezTo>
                  <a:cubicBezTo>
                    <a:pt x="0" y="1709"/>
                    <a:pt x="526" y="2134"/>
                    <a:pt x="1074" y="2134"/>
                  </a:cubicBezTo>
                  <a:cubicBezTo>
                    <a:pt x="1336" y="2134"/>
                    <a:pt x="1604" y="2037"/>
                    <a:pt x="1821" y="1822"/>
                  </a:cubicBezTo>
                  <a:cubicBezTo>
                    <a:pt x="2496" y="1147"/>
                    <a:pt x="2017" y="1"/>
                    <a:pt x="1065"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579" name="Google Shape;1579;p104"/>
            <p:cNvSpPr/>
            <p:nvPr/>
          </p:nvSpPr>
          <p:spPr>
            <a:xfrm>
              <a:off x="4123175" y="3475725"/>
              <a:ext cx="62425" cy="53350"/>
            </a:xfrm>
            <a:custGeom>
              <a:avLst/>
              <a:gdLst/>
              <a:ahLst/>
              <a:cxnLst/>
              <a:rect l="l" t="t" r="r" b="b"/>
              <a:pathLst>
                <a:path w="2497" h="2134" extrusionOk="0">
                  <a:moveTo>
                    <a:pt x="1065" y="0"/>
                  </a:moveTo>
                  <a:cubicBezTo>
                    <a:pt x="480" y="0"/>
                    <a:pt x="0" y="472"/>
                    <a:pt x="0" y="1065"/>
                  </a:cubicBezTo>
                  <a:cubicBezTo>
                    <a:pt x="0" y="1709"/>
                    <a:pt x="526" y="2133"/>
                    <a:pt x="1074" y="2133"/>
                  </a:cubicBezTo>
                  <a:cubicBezTo>
                    <a:pt x="1336" y="2133"/>
                    <a:pt x="1604" y="2037"/>
                    <a:pt x="1821" y="1821"/>
                  </a:cubicBezTo>
                  <a:cubicBezTo>
                    <a:pt x="2496" y="1146"/>
                    <a:pt x="2017" y="0"/>
                    <a:pt x="1065"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580" name="Google Shape;1580;p104"/>
            <p:cNvSpPr/>
            <p:nvPr/>
          </p:nvSpPr>
          <p:spPr>
            <a:xfrm>
              <a:off x="4123175" y="3551925"/>
              <a:ext cx="62425" cy="53250"/>
            </a:xfrm>
            <a:custGeom>
              <a:avLst/>
              <a:gdLst/>
              <a:ahLst/>
              <a:cxnLst/>
              <a:rect l="l" t="t" r="r" b="b"/>
              <a:pathLst>
                <a:path w="2497" h="2130" extrusionOk="0">
                  <a:moveTo>
                    <a:pt x="1065" y="1"/>
                  </a:moveTo>
                  <a:cubicBezTo>
                    <a:pt x="480" y="1"/>
                    <a:pt x="0" y="472"/>
                    <a:pt x="0" y="1066"/>
                  </a:cubicBezTo>
                  <a:cubicBezTo>
                    <a:pt x="0" y="1704"/>
                    <a:pt x="525" y="2129"/>
                    <a:pt x="1073" y="2129"/>
                  </a:cubicBezTo>
                  <a:cubicBezTo>
                    <a:pt x="1335" y="2129"/>
                    <a:pt x="1603" y="2032"/>
                    <a:pt x="1821" y="1814"/>
                  </a:cubicBezTo>
                  <a:cubicBezTo>
                    <a:pt x="2496" y="1147"/>
                    <a:pt x="2017" y="1"/>
                    <a:pt x="1065"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581" name="Google Shape;1581;p104"/>
            <p:cNvSpPr/>
            <p:nvPr/>
          </p:nvSpPr>
          <p:spPr>
            <a:xfrm>
              <a:off x="4123175" y="3627950"/>
              <a:ext cx="62425" cy="53425"/>
            </a:xfrm>
            <a:custGeom>
              <a:avLst/>
              <a:gdLst/>
              <a:ahLst/>
              <a:cxnLst/>
              <a:rect l="l" t="t" r="r" b="b"/>
              <a:pathLst>
                <a:path w="2497" h="2137" extrusionOk="0">
                  <a:moveTo>
                    <a:pt x="1065" y="0"/>
                  </a:moveTo>
                  <a:cubicBezTo>
                    <a:pt x="480" y="8"/>
                    <a:pt x="0" y="480"/>
                    <a:pt x="0" y="1073"/>
                  </a:cubicBezTo>
                  <a:cubicBezTo>
                    <a:pt x="0" y="1711"/>
                    <a:pt x="525" y="2137"/>
                    <a:pt x="1073" y="2137"/>
                  </a:cubicBezTo>
                  <a:cubicBezTo>
                    <a:pt x="1335" y="2137"/>
                    <a:pt x="1603" y="2039"/>
                    <a:pt x="1821" y="1821"/>
                  </a:cubicBezTo>
                  <a:cubicBezTo>
                    <a:pt x="2496" y="1154"/>
                    <a:pt x="2017" y="0"/>
                    <a:pt x="1065"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582" name="Google Shape;1582;p104"/>
            <p:cNvSpPr/>
            <p:nvPr/>
          </p:nvSpPr>
          <p:spPr>
            <a:xfrm>
              <a:off x="4199400" y="3018650"/>
              <a:ext cx="62200" cy="53425"/>
            </a:xfrm>
            <a:custGeom>
              <a:avLst/>
              <a:gdLst/>
              <a:ahLst/>
              <a:cxnLst/>
              <a:rect l="l" t="t" r="r" b="b"/>
              <a:pathLst>
                <a:path w="2488" h="2137" extrusionOk="0">
                  <a:moveTo>
                    <a:pt x="1065" y="0"/>
                  </a:moveTo>
                  <a:cubicBezTo>
                    <a:pt x="480" y="0"/>
                    <a:pt x="0" y="480"/>
                    <a:pt x="0" y="1065"/>
                  </a:cubicBezTo>
                  <a:cubicBezTo>
                    <a:pt x="0" y="1709"/>
                    <a:pt x="525" y="2137"/>
                    <a:pt x="1074" y="2137"/>
                  </a:cubicBezTo>
                  <a:cubicBezTo>
                    <a:pt x="1336" y="2137"/>
                    <a:pt x="1603" y="2039"/>
                    <a:pt x="1821" y="1821"/>
                  </a:cubicBezTo>
                  <a:cubicBezTo>
                    <a:pt x="2488" y="1146"/>
                    <a:pt x="2016" y="0"/>
                    <a:pt x="1065"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583" name="Google Shape;1583;p104"/>
            <p:cNvSpPr/>
            <p:nvPr/>
          </p:nvSpPr>
          <p:spPr>
            <a:xfrm>
              <a:off x="4199400" y="3094850"/>
              <a:ext cx="62200" cy="53350"/>
            </a:xfrm>
            <a:custGeom>
              <a:avLst/>
              <a:gdLst/>
              <a:ahLst/>
              <a:cxnLst/>
              <a:rect l="l" t="t" r="r" b="b"/>
              <a:pathLst>
                <a:path w="2488" h="2134" extrusionOk="0">
                  <a:moveTo>
                    <a:pt x="1065" y="1"/>
                  </a:moveTo>
                  <a:cubicBezTo>
                    <a:pt x="480" y="1"/>
                    <a:pt x="0" y="480"/>
                    <a:pt x="0" y="1066"/>
                  </a:cubicBezTo>
                  <a:cubicBezTo>
                    <a:pt x="0" y="1709"/>
                    <a:pt x="525" y="2134"/>
                    <a:pt x="1074" y="2134"/>
                  </a:cubicBezTo>
                  <a:cubicBezTo>
                    <a:pt x="1336" y="2134"/>
                    <a:pt x="1603" y="2037"/>
                    <a:pt x="1821" y="1822"/>
                  </a:cubicBezTo>
                  <a:cubicBezTo>
                    <a:pt x="2488" y="1147"/>
                    <a:pt x="2016" y="1"/>
                    <a:pt x="1065"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584" name="Google Shape;1584;p104"/>
            <p:cNvSpPr/>
            <p:nvPr/>
          </p:nvSpPr>
          <p:spPr>
            <a:xfrm>
              <a:off x="4199400" y="3171075"/>
              <a:ext cx="62200" cy="53275"/>
            </a:xfrm>
            <a:custGeom>
              <a:avLst/>
              <a:gdLst/>
              <a:ahLst/>
              <a:cxnLst/>
              <a:rect l="l" t="t" r="r" b="b"/>
              <a:pathLst>
                <a:path w="2488" h="2131" extrusionOk="0">
                  <a:moveTo>
                    <a:pt x="1065" y="0"/>
                  </a:moveTo>
                  <a:cubicBezTo>
                    <a:pt x="480" y="0"/>
                    <a:pt x="0" y="472"/>
                    <a:pt x="0" y="1065"/>
                  </a:cubicBezTo>
                  <a:cubicBezTo>
                    <a:pt x="0" y="1707"/>
                    <a:pt x="522" y="2131"/>
                    <a:pt x="1069" y="2131"/>
                  </a:cubicBezTo>
                  <a:cubicBezTo>
                    <a:pt x="1333" y="2131"/>
                    <a:pt x="1602" y="2032"/>
                    <a:pt x="1821" y="1813"/>
                  </a:cubicBezTo>
                  <a:cubicBezTo>
                    <a:pt x="2488" y="1146"/>
                    <a:pt x="2016" y="0"/>
                    <a:pt x="1065"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585" name="Google Shape;1585;p104"/>
            <p:cNvSpPr/>
            <p:nvPr/>
          </p:nvSpPr>
          <p:spPr>
            <a:xfrm>
              <a:off x="4199400" y="3247075"/>
              <a:ext cx="62200" cy="53450"/>
            </a:xfrm>
            <a:custGeom>
              <a:avLst/>
              <a:gdLst/>
              <a:ahLst/>
              <a:cxnLst/>
              <a:rect l="l" t="t" r="r" b="b"/>
              <a:pathLst>
                <a:path w="2488" h="2138" extrusionOk="0">
                  <a:moveTo>
                    <a:pt x="1065" y="1"/>
                  </a:moveTo>
                  <a:cubicBezTo>
                    <a:pt x="480" y="9"/>
                    <a:pt x="0" y="480"/>
                    <a:pt x="0" y="1074"/>
                  </a:cubicBezTo>
                  <a:cubicBezTo>
                    <a:pt x="0" y="1712"/>
                    <a:pt x="524" y="2137"/>
                    <a:pt x="1073" y="2137"/>
                  </a:cubicBezTo>
                  <a:cubicBezTo>
                    <a:pt x="1335" y="2137"/>
                    <a:pt x="1603" y="2040"/>
                    <a:pt x="1821" y="1822"/>
                  </a:cubicBezTo>
                  <a:cubicBezTo>
                    <a:pt x="2488" y="1155"/>
                    <a:pt x="2016" y="1"/>
                    <a:pt x="1065"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586" name="Google Shape;1586;p104"/>
            <p:cNvSpPr/>
            <p:nvPr/>
          </p:nvSpPr>
          <p:spPr>
            <a:xfrm>
              <a:off x="4275600" y="3018650"/>
              <a:ext cx="62225" cy="53425"/>
            </a:xfrm>
            <a:custGeom>
              <a:avLst/>
              <a:gdLst/>
              <a:ahLst/>
              <a:cxnLst/>
              <a:rect l="l" t="t" r="r" b="b"/>
              <a:pathLst>
                <a:path w="2489" h="2137" extrusionOk="0">
                  <a:moveTo>
                    <a:pt x="1066" y="0"/>
                  </a:moveTo>
                  <a:cubicBezTo>
                    <a:pt x="472" y="0"/>
                    <a:pt x="1" y="480"/>
                    <a:pt x="1" y="1065"/>
                  </a:cubicBezTo>
                  <a:cubicBezTo>
                    <a:pt x="1" y="1709"/>
                    <a:pt x="526" y="2137"/>
                    <a:pt x="1074" y="2137"/>
                  </a:cubicBezTo>
                  <a:cubicBezTo>
                    <a:pt x="1336" y="2137"/>
                    <a:pt x="1604" y="2039"/>
                    <a:pt x="1822" y="1821"/>
                  </a:cubicBezTo>
                  <a:cubicBezTo>
                    <a:pt x="2488" y="1146"/>
                    <a:pt x="2017" y="0"/>
                    <a:pt x="1066"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587" name="Google Shape;1587;p104"/>
            <p:cNvSpPr/>
            <p:nvPr/>
          </p:nvSpPr>
          <p:spPr>
            <a:xfrm>
              <a:off x="4275600" y="3094850"/>
              <a:ext cx="62225" cy="53350"/>
            </a:xfrm>
            <a:custGeom>
              <a:avLst/>
              <a:gdLst/>
              <a:ahLst/>
              <a:cxnLst/>
              <a:rect l="l" t="t" r="r" b="b"/>
              <a:pathLst>
                <a:path w="2489" h="2134" extrusionOk="0">
                  <a:moveTo>
                    <a:pt x="1066" y="1"/>
                  </a:moveTo>
                  <a:cubicBezTo>
                    <a:pt x="472" y="1"/>
                    <a:pt x="1" y="480"/>
                    <a:pt x="1" y="1066"/>
                  </a:cubicBezTo>
                  <a:cubicBezTo>
                    <a:pt x="1" y="1709"/>
                    <a:pt x="526" y="2134"/>
                    <a:pt x="1072" y="2134"/>
                  </a:cubicBezTo>
                  <a:cubicBezTo>
                    <a:pt x="1333" y="2134"/>
                    <a:pt x="1598" y="2037"/>
                    <a:pt x="1813" y="1822"/>
                  </a:cubicBezTo>
                  <a:cubicBezTo>
                    <a:pt x="2488" y="1147"/>
                    <a:pt x="2017" y="1"/>
                    <a:pt x="1066"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588" name="Google Shape;1588;p104"/>
            <p:cNvSpPr/>
            <p:nvPr/>
          </p:nvSpPr>
          <p:spPr>
            <a:xfrm>
              <a:off x="4275600" y="3171075"/>
              <a:ext cx="62225" cy="53275"/>
            </a:xfrm>
            <a:custGeom>
              <a:avLst/>
              <a:gdLst/>
              <a:ahLst/>
              <a:cxnLst/>
              <a:rect l="l" t="t" r="r" b="b"/>
              <a:pathLst>
                <a:path w="2489" h="2131" extrusionOk="0">
                  <a:moveTo>
                    <a:pt x="1066" y="0"/>
                  </a:moveTo>
                  <a:cubicBezTo>
                    <a:pt x="472" y="0"/>
                    <a:pt x="1" y="472"/>
                    <a:pt x="1" y="1065"/>
                  </a:cubicBezTo>
                  <a:cubicBezTo>
                    <a:pt x="1" y="1707"/>
                    <a:pt x="523" y="2131"/>
                    <a:pt x="1067" y="2131"/>
                  </a:cubicBezTo>
                  <a:cubicBezTo>
                    <a:pt x="1329" y="2131"/>
                    <a:pt x="1597" y="2032"/>
                    <a:pt x="1813" y="1813"/>
                  </a:cubicBezTo>
                  <a:cubicBezTo>
                    <a:pt x="2488" y="1146"/>
                    <a:pt x="2017" y="0"/>
                    <a:pt x="1066"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589" name="Google Shape;1589;p104"/>
            <p:cNvSpPr/>
            <p:nvPr/>
          </p:nvSpPr>
          <p:spPr>
            <a:xfrm>
              <a:off x="4275600" y="3247075"/>
              <a:ext cx="62225" cy="53450"/>
            </a:xfrm>
            <a:custGeom>
              <a:avLst/>
              <a:gdLst/>
              <a:ahLst/>
              <a:cxnLst/>
              <a:rect l="l" t="t" r="r" b="b"/>
              <a:pathLst>
                <a:path w="2489" h="2138" extrusionOk="0">
                  <a:moveTo>
                    <a:pt x="1066" y="1"/>
                  </a:moveTo>
                  <a:cubicBezTo>
                    <a:pt x="472" y="9"/>
                    <a:pt x="1" y="480"/>
                    <a:pt x="1" y="1074"/>
                  </a:cubicBezTo>
                  <a:cubicBezTo>
                    <a:pt x="1" y="1712"/>
                    <a:pt x="525" y="2137"/>
                    <a:pt x="1073" y="2137"/>
                  </a:cubicBezTo>
                  <a:cubicBezTo>
                    <a:pt x="1336" y="2137"/>
                    <a:pt x="1603" y="2040"/>
                    <a:pt x="1822" y="1822"/>
                  </a:cubicBezTo>
                  <a:cubicBezTo>
                    <a:pt x="2488" y="1155"/>
                    <a:pt x="2017" y="1"/>
                    <a:pt x="1066"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590" name="Google Shape;1590;p104"/>
            <p:cNvSpPr/>
            <p:nvPr/>
          </p:nvSpPr>
          <p:spPr>
            <a:xfrm>
              <a:off x="4275475" y="3323300"/>
              <a:ext cx="62350" cy="53425"/>
            </a:xfrm>
            <a:custGeom>
              <a:avLst/>
              <a:gdLst/>
              <a:ahLst/>
              <a:cxnLst/>
              <a:rect l="l" t="t" r="r" b="b"/>
              <a:pathLst>
                <a:path w="2494" h="2137" extrusionOk="0">
                  <a:moveTo>
                    <a:pt x="1071" y="0"/>
                  </a:moveTo>
                  <a:cubicBezTo>
                    <a:pt x="485" y="8"/>
                    <a:pt x="6" y="480"/>
                    <a:pt x="6" y="1065"/>
                  </a:cubicBezTo>
                  <a:cubicBezTo>
                    <a:pt x="0" y="1709"/>
                    <a:pt x="527" y="2137"/>
                    <a:pt x="1075" y="2137"/>
                  </a:cubicBezTo>
                  <a:cubicBezTo>
                    <a:pt x="1337" y="2137"/>
                    <a:pt x="1603" y="2039"/>
                    <a:pt x="1818" y="1821"/>
                  </a:cubicBezTo>
                  <a:cubicBezTo>
                    <a:pt x="2493" y="1154"/>
                    <a:pt x="2022" y="0"/>
                    <a:pt x="1071"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591" name="Google Shape;1591;p104"/>
            <p:cNvSpPr/>
            <p:nvPr/>
          </p:nvSpPr>
          <p:spPr>
            <a:xfrm>
              <a:off x="4199400" y="3323300"/>
              <a:ext cx="62200" cy="53425"/>
            </a:xfrm>
            <a:custGeom>
              <a:avLst/>
              <a:gdLst/>
              <a:ahLst/>
              <a:cxnLst/>
              <a:rect l="l" t="t" r="r" b="b"/>
              <a:pathLst>
                <a:path w="2488" h="2137" extrusionOk="0">
                  <a:moveTo>
                    <a:pt x="1065" y="0"/>
                  </a:moveTo>
                  <a:cubicBezTo>
                    <a:pt x="480" y="0"/>
                    <a:pt x="0" y="480"/>
                    <a:pt x="0" y="1065"/>
                  </a:cubicBezTo>
                  <a:cubicBezTo>
                    <a:pt x="0" y="1709"/>
                    <a:pt x="525" y="2137"/>
                    <a:pt x="1074" y="2137"/>
                  </a:cubicBezTo>
                  <a:cubicBezTo>
                    <a:pt x="1336" y="2137"/>
                    <a:pt x="1603" y="2039"/>
                    <a:pt x="1821" y="1821"/>
                  </a:cubicBezTo>
                  <a:cubicBezTo>
                    <a:pt x="2488" y="1154"/>
                    <a:pt x="2016" y="0"/>
                    <a:pt x="1065"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592" name="Google Shape;1592;p104"/>
            <p:cNvSpPr/>
            <p:nvPr/>
          </p:nvSpPr>
          <p:spPr>
            <a:xfrm>
              <a:off x="4199400" y="3399500"/>
              <a:ext cx="62200" cy="53350"/>
            </a:xfrm>
            <a:custGeom>
              <a:avLst/>
              <a:gdLst/>
              <a:ahLst/>
              <a:cxnLst/>
              <a:rect l="l" t="t" r="r" b="b"/>
              <a:pathLst>
                <a:path w="2488" h="2134" extrusionOk="0">
                  <a:moveTo>
                    <a:pt x="1065" y="1"/>
                  </a:moveTo>
                  <a:cubicBezTo>
                    <a:pt x="480" y="1"/>
                    <a:pt x="0" y="480"/>
                    <a:pt x="0" y="1066"/>
                  </a:cubicBezTo>
                  <a:cubicBezTo>
                    <a:pt x="0" y="1709"/>
                    <a:pt x="525" y="2134"/>
                    <a:pt x="1074" y="2134"/>
                  </a:cubicBezTo>
                  <a:cubicBezTo>
                    <a:pt x="1336" y="2134"/>
                    <a:pt x="1603" y="2037"/>
                    <a:pt x="1821" y="1822"/>
                  </a:cubicBezTo>
                  <a:cubicBezTo>
                    <a:pt x="2488" y="1147"/>
                    <a:pt x="2016" y="1"/>
                    <a:pt x="1065"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593" name="Google Shape;1593;p104"/>
            <p:cNvSpPr/>
            <p:nvPr/>
          </p:nvSpPr>
          <p:spPr>
            <a:xfrm>
              <a:off x="4199400" y="3475725"/>
              <a:ext cx="62200" cy="53350"/>
            </a:xfrm>
            <a:custGeom>
              <a:avLst/>
              <a:gdLst/>
              <a:ahLst/>
              <a:cxnLst/>
              <a:rect l="l" t="t" r="r" b="b"/>
              <a:pathLst>
                <a:path w="2488" h="2134" extrusionOk="0">
                  <a:moveTo>
                    <a:pt x="1065" y="0"/>
                  </a:moveTo>
                  <a:cubicBezTo>
                    <a:pt x="480" y="0"/>
                    <a:pt x="0" y="480"/>
                    <a:pt x="0" y="1065"/>
                  </a:cubicBezTo>
                  <a:cubicBezTo>
                    <a:pt x="0" y="1709"/>
                    <a:pt x="525" y="2133"/>
                    <a:pt x="1074" y="2133"/>
                  </a:cubicBezTo>
                  <a:cubicBezTo>
                    <a:pt x="1336" y="2133"/>
                    <a:pt x="1603" y="2037"/>
                    <a:pt x="1821" y="1821"/>
                  </a:cubicBezTo>
                  <a:cubicBezTo>
                    <a:pt x="2488" y="1146"/>
                    <a:pt x="2016" y="0"/>
                    <a:pt x="1065"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594" name="Google Shape;1594;p104"/>
            <p:cNvSpPr/>
            <p:nvPr/>
          </p:nvSpPr>
          <p:spPr>
            <a:xfrm>
              <a:off x="4199400" y="3551925"/>
              <a:ext cx="62200" cy="53250"/>
            </a:xfrm>
            <a:custGeom>
              <a:avLst/>
              <a:gdLst/>
              <a:ahLst/>
              <a:cxnLst/>
              <a:rect l="l" t="t" r="r" b="b"/>
              <a:pathLst>
                <a:path w="2488" h="2130" extrusionOk="0">
                  <a:moveTo>
                    <a:pt x="1065" y="1"/>
                  </a:moveTo>
                  <a:cubicBezTo>
                    <a:pt x="480" y="1"/>
                    <a:pt x="0" y="472"/>
                    <a:pt x="0" y="1066"/>
                  </a:cubicBezTo>
                  <a:cubicBezTo>
                    <a:pt x="0" y="1704"/>
                    <a:pt x="524" y="2129"/>
                    <a:pt x="1073" y="2129"/>
                  </a:cubicBezTo>
                  <a:cubicBezTo>
                    <a:pt x="1335" y="2129"/>
                    <a:pt x="1603" y="2032"/>
                    <a:pt x="1821" y="1814"/>
                  </a:cubicBezTo>
                  <a:cubicBezTo>
                    <a:pt x="2488" y="1147"/>
                    <a:pt x="2016" y="1"/>
                    <a:pt x="1065"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595" name="Google Shape;1595;p104"/>
            <p:cNvSpPr/>
            <p:nvPr/>
          </p:nvSpPr>
          <p:spPr>
            <a:xfrm>
              <a:off x="4199400" y="3627950"/>
              <a:ext cx="62200" cy="53425"/>
            </a:xfrm>
            <a:custGeom>
              <a:avLst/>
              <a:gdLst/>
              <a:ahLst/>
              <a:cxnLst/>
              <a:rect l="l" t="t" r="r" b="b"/>
              <a:pathLst>
                <a:path w="2488" h="2137" extrusionOk="0">
                  <a:moveTo>
                    <a:pt x="1065" y="0"/>
                  </a:moveTo>
                  <a:cubicBezTo>
                    <a:pt x="480" y="8"/>
                    <a:pt x="0" y="480"/>
                    <a:pt x="0" y="1073"/>
                  </a:cubicBezTo>
                  <a:cubicBezTo>
                    <a:pt x="0" y="1711"/>
                    <a:pt x="524" y="2137"/>
                    <a:pt x="1073" y="2137"/>
                  </a:cubicBezTo>
                  <a:cubicBezTo>
                    <a:pt x="1335" y="2137"/>
                    <a:pt x="1603" y="2039"/>
                    <a:pt x="1821" y="1821"/>
                  </a:cubicBezTo>
                  <a:cubicBezTo>
                    <a:pt x="2488" y="1154"/>
                    <a:pt x="2016" y="0"/>
                    <a:pt x="1065"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596" name="Google Shape;1596;p104"/>
            <p:cNvSpPr/>
            <p:nvPr/>
          </p:nvSpPr>
          <p:spPr>
            <a:xfrm>
              <a:off x="4199400" y="3704150"/>
              <a:ext cx="62200" cy="53450"/>
            </a:xfrm>
            <a:custGeom>
              <a:avLst/>
              <a:gdLst/>
              <a:ahLst/>
              <a:cxnLst/>
              <a:rect l="l" t="t" r="r" b="b"/>
              <a:pathLst>
                <a:path w="2488" h="2138" extrusionOk="0">
                  <a:moveTo>
                    <a:pt x="1065" y="1"/>
                  </a:moveTo>
                  <a:cubicBezTo>
                    <a:pt x="480" y="1"/>
                    <a:pt x="0" y="480"/>
                    <a:pt x="0" y="1066"/>
                  </a:cubicBezTo>
                  <a:cubicBezTo>
                    <a:pt x="0" y="1709"/>
                    <a:pt x="525" y="2137"/>
                    <a:pt x="1074" y="2137"/>
                  </a:cubicBezTo>
                  <a:cubicBezTo>
                    <a:pt x="1336" y="2137"/>
                    <a:pt x="1603" y="2040"/>
                    <a:pt x="1821" y="1822"/>
                  </a:cubicBezTo>
                  <a:cubicBezTo>
                    <a:pt x="2488" y="1147"/>
                    <a:pt x="2016" y="1"/>
                    <a:pt x="1065"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597" name="Google Shape;1597;p104"/>
            <p:cNvSpPr/>
            <p:nvPr/>
          </p:nvSpPr>
          <p:spPr>
            <a:xfrm>
              <a:off x="4123175" y="3704150"/>
              <a:ext cx="62425" cy="53450"/>
            </a:xfrm>
            <a:custGeom>
              <a:avLst/>
              <a:gdLst/>
              <a:ahLst/>
              <a:cxnLst/>
              <a:rect l="l" t="t" r="r" b="b"/>
              <a:pathLst>
                <a:path w="2497" h="2138" extrusionOk="0">
                  <a:moveTo>
                    <a:pt x="1065" y="1"/>
                  </a:moveTo>
                  <a:cubicBezTo>
                    <a:pt x="480" y="1"/>
                    <a:pt x="0" y="480"/>
                    <a:pt x="0" y="1066"/>
                  </a:cubicBezTo>
                  <a:cubicBezTo>
                    <a:pt x="0" y="1709"/>
                    <a:pt x="526" y="2137"/>
                    <a:pt x="1074" y="2137"/>
                  </a:cubicBezTo>
                  <a:cubicBezTo>
                    <a:pt x="1336" y="2137"/>
                    <a:pt x="1603" y="2040"/>
                    <a:pt x="1821" y="1822"/>
                  </a:cubicBezTo>
                  <a:cubicBezTo>
                    <a:pt x="2496" y="1147"/>
                    <a:pt x="2017" y="1"/>
                    <a:pt x="1065"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598" name="Google Shape;1598;p104"/>
            <p:cNvSpPr/>
            <p:nvPr/>
          </p:nvSpPr>
          <p:spPr>
            <a:xfrm>
              <a:off x="4123175" y="3780375"/>
              <a:ext cx="62425" cy="53425"/>
            </a:xfrm>
            <a:custGeom>
              <a:avLst/>
              <a:gdLst/>
              <a:ahLst/>
              <a:cxnLst/>
              <a:rect l="l" t="t" r="r" b="b"/>
              <a:pathLst>
                <a:path w="2497" h="2137" extrusionOk="0">
                  <a:moveTo>
                    <a:pt x="1065" y="0"/>
                  </a:moveTo>
                  <a:cubicBezTo>
                    <a:pt x="480" y="0"/>
                    <a:pt x="0" y="480"/>
                    <a:pt x="0" y="1065"/>
                  </a:cubicBezTo>
                  <a:cubicBezTo>
                    <a:pt x="0" y="1709"/>
                    <a:pt x="529" y="2137"/>
                    <a:pt x="1078" y="2137"/>
                  </a:cubicBezTo>
                  <a:cubicBezTo>
                    <a:pt x="1340" y="2137"/>
                    <a:pt x="1606" y="2039"/>
                    <a:pt x="1821" y="1821"/>
                  </a:cubicBezTo>
                  <a:cubicBezTo>
                    <a:pt x="2496" y="1146"/>
                    <a:pt x="2017" y="0"/>
                    <a:pt x="1065"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599" name="Google Shape;1599;p104"/>
            <p:cNvSpPr/>
            <p:nvPr/>
          </p:nvSpPr>
          <p:spPr>
            <a:xfrm>
              <a:off x="4046950" y="3780375"/>
              <a:ext cx="62425" cy="53425"/>
            </a:xfrm>
            <a:custGeom>
              <a:avLst/>
              <a:gdLst/>
              <a:ahLst/>
              <a:cxnLst/>
              <a:rect l="l" t="t" r="r" b="b"/>
              <a:pathLst>
                <a:path w="2497" h="2137" extrusionOk="0">
                  <a:moveTo>
                    <a:pt x="1074" y="0"/>
                  </a:moveTo>
                  <a:cubicBezTo>
                    <a:pt x="481" y="0"/>
                    <a:pt x="9" y="480"/>
                    <a:pt x="1" y="1065"/>
                  </a:cubicBezTo>
                  <a:cubicBezTo>
                    <a:pt x="1" y="1709"/>
                    <a:pt x="530" y="2137"/>
                    <a:pt x="1081" y="2137"/>
                  </a:cubicBezTo>
                  <a:cubicBezTo>
                    <a:pt x="1344" y="2137"/>
                    <a:pt x="1612" y="2039"/>
                    <a:pt x="1830" y="1821"/>
                  </a:cubicBezTo>
                  <a:cubicBezTo>
                    <a:pt x="2497" y="1146"/>
                    <a:pt x="2025" y="0"/>
                    <a:pt x="1074"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600" name="Google Shape;1600;p104"/>
            <p:cNvSpPr/>
            <p:nvPr/>
          </p:nvSpPr>
          <p:spPr>
            <a:xfrm>
              <a:off x="4046950" y="3856775"/>
              <a:ext cx="62425" cy="53250"/>
            </a:xfrm>
            <a:custGeom>
              <a:avLst/>
              <a:gdLst/>
              <a:ahLst/>
              <a:cxnLst/>
              <a:rect l="l" t="t" r="r" b="b"/>
              <a:pathLst>
                <a:path w="2497" h="2130" extrusionOk="0">
                  <a:moveTo>
                    <a:pt x="1074" y="1"/>
                  </a:moveTo>
                  <a:cubicBezTo>
                    <a:pt x="481" y="1"/>
                    <a:pt x="9" y="472"/>
                    <a:pt x="1" y="1066"/>
                  </a:cubicBezTo>
                  <a:cubicBezTo>
                    <a:pt x="1" y="1704"/>
                    <a:pt x="529" y="2129"/>
                    <a:pt x="1077" y="2129"/>
                  </a:cubicBezTo>
                  <a:cubicBezTo>
                    <a:pt x="1339" y="2129"/>
                    <a:pt x="1606" y="2032"/>
                    <a:pt x="1822" y="1814"/>
                  </a:cubicBezTo>
                  <a:cubicBezTo>
                    <a:pt x="2497" y="1147"/>
                    <a:pt x="2017" y="1"/>
                    <a:pt x="1074"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601" name="Google Shape;1601;p104"/>
            <p:cNvSpPr/>
            <p:nvPr/>
          </p:nvSpPr>
          <p:spPr>
            <a:xfrm>
              <a:off x="4046950" y="4009000"/>
              <a:ext cx="62425" cy="53350"/>
            </a:xfrm>
            <a:custGeom>
              <a:avLst/>
              <a:gdLst/>
              <a:ahLst/>
              <a:cxnLst/>
              <a:rect l="l" t="t" r="r" b="b"/>
              <a:pathLst>
                <a:path w="2497" h="2134" extrusionOk="0">
                  <a:moveTo>
                    <a:pt x="1074" y="1"/>
                  </a:moveTo>
                  <a:cubicBezTo>
                    <a:pt x="481" y="1"/>
                    <a:pt x="9" y="480"/>
                    <a:pt x="1" y="1066"/>
                  </a:cubicBezTo>
                  <a:cubicBezTo>
                    <a:pt x="1" y="1710"/>
                    <a:pt x="530" y="2134"/>
                    <a:pt x="1079" y="2134"/>
                  </a:cubicBezTo>
                  <a:cubicBezTo>
                    <a:pt x="1340" y="2134"/>
                    <a:pt x="1607" y="2037"/>
                    <a:pt x="1822" y="1822"/>
                  </a:cubicBezTo>
                  <a:cubicBezTo>
                    <a:pt x="2497" y="1147"/>
                    <a:pt x="2017" y="1"/>
                    <a:pt x="1074"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602" name="Google Shape;1602;p104"/>
            <p:cNvSpPr/>
            <p:nvPr/>
          </p:nvSpPr>
          <p:spPr>
            <a:xfrm>
              <a:off x="4046950" y="3932800"/>
              <a:ext cx="62425" cy="53425"/>
            </a:xfrm>
            <a:custGeom>
              <a:avLst/>
              <a:gdLst/>
              <a:ahLst/>
              <a:cxnLst/>
              <a:rect l="l" t="t" r="r" b="b"/>
              <a:pathLst>
                <a:path w="2497" h="2137" extrusionOk="0">
                  <a:moveTo>
                    <a:pt x="1074" y="0"/>
                  </a:moveTo>
                  <a:cubicBezTo>
                    <a:pt x="481" y="8"/>
                    <a:pt x="9" y="480"/>
                    <a:pt x="1" y="1065"/>
                  </a:cubicBezTo>
                  <a:cubicBezTo>
                    <a:pt x="1" y="1709"/>
                    <a:pt x="530" y="2137"/>
                    <a:pt x="1078" y="2137"/>
                  </a:cubicBezTo>
                  <a:cubicBezTo>
                    <a:pt x="1340" y="2137"/>
                    <a:pt x="1607" y="2039"/>
                    <a:pt x="1822" y="1821"/>
                  </a:cubicBezTo>
                  <a:cubicBezTo>
                    <a:pt x="2497" y="1146"/>
                    <a:pt x="2017" y="0"/>
                    <a:pt x="1074"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603" name="Google Shape;1603;p104"/>
            <p:cNvSpPr/>
            <p:nvPr/>
          </p:nvSpPr>
          <p:spPr>
            <a:xfrm>
              <a:off x="3970950" y="3932800"/>
              <a:ext cx="62225" cy="53425"/>
            </a:xfrm>
            <a:custGeom>
              <a:avLst/>
              <a:gdLst/>
              <a:ahLst/>
              <a:cxnLst/>
              <a:rect l="l" t="t" r="r" b="b"/>
              <a:pathLst>
                <a:path w="2489" h="2137" extrusionOk="0">
                  <a:moveTo>
                    <a:pt x="1065" y="0"/>
                  </a:moveTo>
                  <a:cubicBezTo>
                    <a:pt x="472" y="0"/>
                    <a:pt x="1" y="480"/>
                    <a:pt x="1" y="1065"/>
                  </a:cubicBezTo>
                  <a:cubicBezTo>
                    <a:pt x="1" y="1709"/>
                    <a:pt x="526" y="2137"/>
                    <a:pt x="1072" y="2137"/>
                  </a:cubicBezTo>
                  <a:cubicBezTo>
                    <a:pt x="1332" y="2137"/>
                    <a:pt x="1598" y="2039"/>
                    <a:pt x="1813" y="1821"/>
                  </a:cubicBezTo>
                  <a:cubicBezTo>
                    <a:pt x="2488" y="1155"/>
                    <a:pt x="2017" y="0"/>
                    <a:pt x="1065"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604" name="Google Shape;1604;p104"/>
            <p:cNvSpPr/>
            <p:nvPr/>
          </p:nvSpPr>
          <p:spPr>
            <a:xfrm>
              <a:off x="3589875" y="2637775"/>
              <a:ext cx="62225" cy="53450"/>
            </a:xfrm>
            <a:custGeom>
              <a:avLst/>
              <a:gdLst/>
              <a:ahLst/>
              <a:cxnLst/>
              <a:rect l="l" t="t" r="r" b="b"/>
              <a:pathLst>
                <a:path w="2489" h="2138" extrusionOk="0">
                  <a:moveTo>
                    <a:pt x="1066" y="1"/>
                  </a:moveTo>
                  <a:cubicBezTo>
                    <a:pt x="480" y="9"/>
                    <a:pt x="1" y="480"/>
                    <a:pt x="1" y="1074"/>
                  </a:cubicBezTo>
                  <a:cubicBezTo>
                    <a:pt x="1" y="1712"/>
                    <a:pt x="525" y="2137"/>
                    <a:pt x="1073" y="2137"/>
                  </a:cubicBezTo>
                  <a:cubicBezTo>
                    <a:pt x="1336" y="2137"/>
                    <a:pt x="1603" y="2040"/>
                    <a:pt x="1822" y="1822"/>
                  </a:cubicBezTo>
                  <a:cubicBezTo>
                    <a:pt x="2488" y="1147"/>
                    <a:pt x="2017" y="1"/>
                    <a:pt x="1066"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605" name="Google Shape;1605;p104"/>
            <p:cNvSpPr/>
            <p:nvPr/>
          </p:nvSpPr>
          <p:spPr>
            <a:xfrm>
              <a:off x="3589875" y="2714000"/>
              <a:ext cx="62225" cy="53350"/>
            </a:xfrm>
            <a:custGeom>
              <a:avLst/>
              <a:gdLst/>
              <a:ahLst/>
              <a:cxnLst/>
              <a:rect l="l" t="t" r="r" b="b"/>
              <a:pathLst>
                <a:path w="2489" h="2134" extrusionOk="0">
                  <a:moveTo>
                    <a:pt x="1066" y="0"/>
                  </a:moveTo>
                  <a:cubicBezTo>
                    <a:pt x="480" y="0"/>
                    <a:pt x="1" y="480"/>
                    <a:pt x="1" y="1065"/>
                  </a:cubicBezTo>
                  <a:cubicBezTo>
                    <a:pt x="1" y="1709"/>
                    <a:pt x="526" y="2133"/>
                    <a:pt x="1075" y="2133"/>
                  </a:cubicBezTo>
                  <a:cubicBezTo>
                    <a:pt x="1337" y="2133"/>
                    <a:pt x="1604" y="2036"/>
                    <a:pt x="1822" y="1821"/>
                  </a:cubicBezTo>
                  <a:cubicBezTo>
                    <a:pt x="2488" y="1146"/>
                    <a:pt x="2017" y="0"/>
                    <a:pt x="1066"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606" name="Google Shape;1606;p104"/>
            <p:cNvSpPr/>
            <p:nvPr/>
          </p:nvSpPr>
          <p:spPr>
            <a:xfrm>
              <a:off x="3589875" y="2790200"/>
              <a:ext cx="62225" cy="53350"/>
            </a:xfrm>
            <a:custGeom>
              <a:avLst/>
              <a:gdLst/>
              <a:ahLst/>
              <a:cxnLst/>
              <a:rect l="l" t="t" r="r" b="b"/>
              <a:pathLst>
                <a:path w="2489" h="2134" extrusionOk="0">
                  <a:moveTo>
                    <a:pt x="1066" y="1"/>
                  </a:moveTo>
                  <a:cubicBezTo>
                    <a:pt x="480" y="1"/>
                    <a:pt x="1" y="480"/>
                    <a:pt x="1" y="1066"/>
                  </a:cubicBezTo>
                  <a:cubicBezTo>
                    <a:pt x="1" y="1709"/>
                    <a:pt x="526" y="2134"/>
                    <a:pt x="1075" y="2134"/>
                  </a:cubicBezTo>
                  <a:cubicBezTo>
                    <a:pt x="1337" y="2134"/>
                    <a:pt x="1604" y="2037"/>
                    <a:pt x="1822" y="1822"/>
                  </a:cubicBezTo>
                  <a:cubicBezTo>
                    <a:pt x="2488" y="1147"/>
                    <a:pt x="2017" y="1"/>
                    <a:pt x="1066"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607" name="Google Shape;1607;p104"/>
            <p:cNvSpPr/>
            <p:nvPr/>
          </p:nvSpPr>
          <p:spPr>
            <a:xfrm>
              <a:off x="3589875" y="2866425"/>
              <a:ext cx="62225" cy="53275"/>
            </a:xfrm>
            <a:custGeom>
              <a:avLst/>
              <a:gdLst/>
              <a:ahLst/>
              <a:cxnLst/>
              <a:rect l="l" t="t" r="r" b="b"/>
              <a:pathLst>
                <a:path w="2489" h="2131" extrusionOk="0">
                  <a:moveTo>
                    <a:pt x="1066" y="0"/>
                  </a:moveTo>
                  <a:cubicBezTo>
                    <a:pt x="480" y="0"/>
                    <a:pt x="1" y="472"/>
                    <a:pt x="1" y="1065"/>
                  </a:cubicBezTo>
                  <a:cubicBezTo>
                    <a:pt x="1" y="1707"/>
                    <a:pt x="523" y="2131"/>
                    <a:pt x="1070" y="2131"/>
                  </a:cubicBezTo>
                  <a:cubicBezTo>
                    <a:pt x="1333" y="2131"/>
                    <a:pt x="1602" y="2032"/>
                    <a:pt x="1822" y="1813"/>
                  </a:cubicBezTo>
                  <a:cubicBezTo>
                    <a:pt x="2488" y="1146"/>
                    <a:pt x="2017" y="0"/>
                    <a:pt x="1066"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608" name="Google Shape;1608;p104"/>
            <p:cNvSpPr/>
            <p:nvPr/>
          </p:nvSpPr>
          <p:spPr>
            <a:xfrm>
              <a:off x="3589875" y="2942425"/>
              <a:ext cx="62225" cy="53450"/>
            </a:xfrm>
            <a:custGeom>
              <a:avLst/>
              <a:gdLst/>
              <a:ahLst/>
              <a:cxnLst/>
              <a:rect l="l" t="t" r="r" b="b"/>
              <a:pathLst>
                <a:path w="2489" h="2138" extrusionOk="0">
                  <a:moveTo>
                    <a:pt x="1066" y="1"/>
                  </a:moveTo>
                  <a:cubicBezTo>
                    <a:pt x="480" y="9"/>
                    <a:pt x="1" y="480"/>
                    <a:pt x="1" y="1066"/>
                  </a:cubicBezTo>
                  <a:cubicBezTo>
                    <a:pt x="1" y="1709"/>
                    <a:pt x="526" y="2137"/>
                    <a:pt x="1075" y="2137"/>
                  </a:cubicBezTo>
                  <a:cubicBezTo>
                    <a:pt x="1337" y="2137"/>
                    <a:pt x="1604" y="2040"/>
                    <a:pt x="1822" y="1822"/>
                  </a:cubicBezTo>
                  <a:cubicBezTo>
                    <a:pt x="2488" y="1147"/>
                    <a:pt x="2017" y="1"/>
                    <a:pt x="1066"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609" name="Google Shape;1609;p104"/>
            <p:cNvSpPr/>
            <p:nvPr/>
          </p:nvSpPr>
          <p:spPr>
            <a:xfrm>
              <a:off x="3589875" y="3018650"/>
              <a:ext cx="62225" cy="53425"/>
            </a:xfrm>
            <a:custGeom>
              <a:avLst/>
              <a:gdLst/>
              <a:ahLst/>
              <a:cxnLst/>
              <a:rect l="l" t="t" r="r" b="b"/>
              <a:pathLst>
                <a:path w="2489" h="2137" extrusionOk="0">
                  <a:moveTo>
                    <a:pt x="1066" y="0"/>
                  </a:moveTo>
                  <a:cubicBezTo>
                    <a:pt x="480" y="0"/>
                    <a:pt x="1" y="480"/>
                    <a:pt x="1" y="1065"/>
                  </a:cubicBezTo>
                  <a:cubicBezTo>
                    <a:pt x="1" y="1709"/>
                    <a:pt x="526" y="2137"/>
                    <a:pt x="1075" y="2137"/>
                  </a:cubicBezTo>
                  <a:cubicBezTo>
                    <a:pt x="1337" y="2137"/>
                    <a:pt x="1604" y="2039"/>
                    <a:pt x="1822" y="1821"/>
                  </a:cubicBezTo>
                  <a:cubicBezTo>
                    <a:pt x="2488" y="1146"/>
                    <a:pt x="2017" y="0"/>
                    <a:pt x="1066"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610" name="Google Shape;1610;p104"/>
            <p:cNvSpPr/>
            <p:nvPr/>
          </p:nvSpPr>
          <p:spPr>
            <a:xfrm>
              <a:off x="3589875" y="3094850"/>
              <a:ext cx="62225" cy="53350"/>
            </a:xfrm>
            <a:custGeom>
              <a:avLst/>
              <a:gdLst/>
              <a:ahLst/>
              <a:cxnLst/>
              <a:rect l="l" t="t" r="r" b="b"/>
              <a:pathLst>
                <a:path w="2489" h="2134" extrusionOk="0">
                  <a:moveTo>
                    <a:pt x="1066" y="1"/>
                  </a:moveTo>
                  <a:cubicBezTo>
                    <a:pt x="480" y="1"/>
                    <a:pt x="1" y="480"/>
                    <a:pt x="1" y="1066"/>
                  </a:cubicBezTo>
                  <a:cubicBezTo>
                    <a:pt x="1" y="1709"/>
                    <a:pt x="526" y="2134"/>
                    <a:pt x="1075" y="2134"/>
                  </a:cubicBezTo>
                  <a:cubicBezTo>
                    <a:pt x="1337" y="2134"/>
                    <a:pt x="1604" y="2037"/>
                    <a:pt x="1822" y="1822"/>
                  </a:cubicBezTo>
                  <a:cubicBezTo>
                    <a:pt x="2488" y="1147"/>
                    <a:pt x="2017" y="1"/>
                    <a:pt x="1066"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611" name="Google Shape;1611;p104"/>
            <p:cNvSpPr/>
            <p:nvPr/>
          </p:nvSpPr>
          <p:spPr>
            <a:xfrm>
              <a:off x="3285225" y="2866425"/>
              <a:ext cx="62225" cy="53275"/>
            </a:xfrm>
            <a:custGeom>
              <a:avLst/>
              <a:gdLst/>
              <a:ahLst/>
              <a:cxnLst/>
              <a:rect l="l" t="t" r="r" b="b"/>
              <a:pathLst>
                <a:path w="2489" h="2131" extrusionOk="0">
                  <a:moveTo>
                    <a:pt x="1066" y="0"/>
                  </a:moveTo>
                  <a:cubicBezTo>
                    <a:pt x="480" y="0"/>
                    <a:pt x="1" y="472"/>
                    <a:pt x="1" y="1065"/>
                  </a:cubicBezTo>
                  <a:cubicBezTo>
                    <a:pt x="1" y="1707"/>
                    <a:pt x="523" y="2131"/>
                    <a:pt x="1070" y="2131"/>
                  </a:cubicBezTo>
                  <a:cubicBezTo>
                    <a:pt x="1333" y="2131"/>
                    <a:pt x="1602" y="2032"/>
                    <a:pt x="1822" y="1813"/>
                  </a:cubicBezTo>
                  <a:cubicBezTo>
                    <a:pt x="2488" y="1146"/>
                    <a:pt x="2017" y="0"/>
                    <a:pt x="1066"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612" name="Google Shape;1612;p104"/>
            <p:cNvSpPr/>
            <p:nvPr/>
          </p:nvSpPr>
          <p:spPr>
            <a:xfrm>
              <a:off x="3285225" y="2942425"/>
              <a:ext cx="62225" cy="53450"/>
            </a:xfrm>
            <a:custGeom>
              <a:avLst/>
              <a:gdLst/>
              <a:ahLst/>
              <a:cxnLst/>
              <a:rect l="l" t="t" r="r" b="b"/>
              <a:pathLst>
                <a:path w="2489" h="2138" extrusionOk="0">
                  <a:moveTo>
                    <a:pt x="1066" y="1"/>
                  </a:moveTo>
                  <a:cubicBezTo>
                    <a:pt x="480" y="9"/>
                    <a:pt x="1" y="480"/>
                    <a:pt x="1" y="1066"/>
                  </a:cubicBezTo>
                  <a:cubicBezTo>
                    <a:pt x="1" y="1709"/>
                    <a:pt x="526" y="2137"/>
                    <a:pt x="1075" y="2137"/>
                  </a:cubicBezTo>
                  <a:cubicBezTo>
                    <a:pt x="1336" y="2137"/>
                    <a:pt x="1604" y="2040"/>
                    <a:pt x="1822" y="1822"/>
                  </a:cubicBezTo>
                  <a:cubicBezTo>
                    <a:pt x="2488" y="1147"/>
                    <a:pt x="2017" y="1"/>
                    <a:pt x="1066"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613" name="Google Shape;1613;p104"/>
            <p:cNvSpPr/>
            <p:nvPr/>
          </p:nvSpPr>
          <p:spPr>
            <a:xfrm>
              <a:off x="3285225" y="3018650"/>
              <a:ext cx="62225" cy="53425"/>
            </a:xfrm>
            <a:custGeom>
              <a:avLst/>
              <a:gdLst/>
              <a:ahLst/>
              <a:cxnLst/>
              <a:rect l="l" t="t" r="r" b="b"/>
              <a:pathLst>
                <a:path w="2489" h="2137" extrusionOk="0">
                  <a:moveTo>
                    <a:pt x="1066" y="0"/>
                  </a:moveTo>
                  <a:cubicBezTo>
                    <a:pt x="480" y="0"/>
                    <a:pt x="1" y="480"/>
                    <a:pt x="1" y="1065"/>
                  </a:cubicBezTo>
                  <a:cubicBezTo>
                    <a:pt x="1" y="1709"/>
                    <a:pt x="526" y="2137"/>
                    <a:pt x="1075" y="2137"/>
                  </a:cubicBezTo>
                  <a:cubicBezTo>
                    <a:pt x="1336" y="2137"/>
                    <a:pt x="1604" y="2039"/>
                    <a:pt x="1822" y="1821"/>
                  </a:cubicBezTo>
                  <a:cubicBezTo>
                    <a:pt x="2488" y="1146"/>
                    <a:pt x="2017" y="0"/>
                    <a:pt x="1066"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614" name="Google Shape;1614;p104"/>
            <p:cNvSpPr/>
            <p:nvPr/>
          </p:nvSpPr>
          <p:spPr>
            <a:xfrm>
              <a:off x="3361450" y="2790200"/>
              <a:ext cx="62200" cy="53350"/>
            </a:xfrm>
            <a:custGeom>
              <a:avLst/>
              <a:gdLst/>
              <a:ahLst/>
              <a:cxnLst/>
              <a:rect l="l" t="t" r="r" b="b"/>
              <a:pathLst>
                <a:path w="2488" h="2134" extrusionOk="0">
                  <a:moveTo>
                    <a:pt x="1065" y="1"/>
                  </a:moveTo>
                  <a:cubicBezTo>
                    <a:pt x="472" y="1"/>
                    <a:pt x="0" y="480"/>
                    <a:pt x="0" y="1066"/>
                  </a:cubicBezTo>
                  <a:cubicBezTo>
                    <a:pt x="0" y="1709"/>
                    <a:pt x="526" y="2134"/>
                    <a:pt x="1072" y="2134"/>
                  </a:cubicBezTo>
                  <a:cubicBezTo>
                    <a:pt x="1332" y="2134"/>
                    <a:pt x="1598" y="2037"/>
                    <a:pt x="1813" y="1822"/>
                  </a:cubicBezTo>
                  <a:cubicBezTo>
                    <a:pt x="2488" y="1147"/>
                    <a:pt x="2016" y="1"/>
                    <a:pt x="1065"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615" name="Google Shape;1615;p104"/>
            <p:cNvSpPr/>
            <p:nvPr/>
          </p:nvSpPr>
          <p:spPr>
            <a:xfrm>
              <a:off x="3361450" y="2866425"/>
              <a:ext cx="62200" cy="53275"/>
            </a:xfrm>
            <a:custGeom>
              <a:avLst/>
              <a:gdLst/>
              <a:ahLst/>
              <a:cxnLst/>
              <a:rect l="l" t="t" r="r" b="b"/>
              <a:pathLst>
                <a:path w="2488" h="2131" extrusionOk="0">
                  <a:moveTo>
                    <a:pt x="1065" y="0"/>
                  </a:moveTo>
                  <a:cubicBezTo>
                    <a:pt x="472" y="0"/>
                    <a:pt x="0" y="472"/>
                    <a:pt x="0" y="1065"/>
                  </a:cubicBezTo>
                  <a:cubicBezTo>
                    <a:pt x="0" y="1707"/>
                    <a:pt x="523" y="2131"/>
                    <a:pt x="1069" y="2131"/>
                  </a:cubicBezTo>
                  <a:cubicBezTo>
                    <a:pt x="1333" y="2131"/>
                    <a:pt x="1602" y="2032"/>
                    <a:pt x="1821" y="1813"/>
                  </a:cubicBezTo>
                  <a:cubicBezTo>
                    <a:pt x="2488" y="1146"/>
                    <a:pt x="2016" y="0"/>
                    <a:pt x="1065"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616" name="Google Shape;1616;p104"/>
            <p:cNvSpPr/>
            <p:nvPr/>
          </p:nvSpPr>
          <p:spPr>
            <a:xfrm>
              <a:off x="3361450" y="2942425"/>
              <a:ext cx="62200" cy="53450"/>
            </a:xfrm>
            <a:custGeom>
              <a:avLst/>
              <a:gdLst/>
              <a:ahLst/>
              <a:cxnLst/>
              <a:rect l="l" t="t" r="r" b="b"/>
              <a:pathLst>
                <a:path w="2488" h="2138" extrusionOk="0">
                  <a:moveTo>
                    <a:pt x="1065" y="1"/>
                  </a:moveTo>
                  <a:cubicBezTo>
                    <a:pt x="472" y="9"/>
                    <a:pt x="0" y="480"/>
                    <a:pt x="0" y="1066"/>
                  </a:cubicBezTo>
                  <a:cubicBezTo>
                    <a:pt x="0" y="1709"/>
                    <a:pt x="525" y="2137"/>
                    <a:pt x="1072" y="2137"/>
                  </a:cubicBezTo>
                  <a:cubicBezTo>
                    <a:pt x="1332" y="2137"/>
                    <a:pt x="1598" y="2040"/>
                    <a:pt x="1813" y="1822"/>
                  </a:cubicBezTo>
                  <a:cubicBezTo>
                    <a:pt x="2488" y="1147"/>
                    <a:pt x="2016" y="1"/>
                    <a:pt x="1065"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617" name="Google Shape;1617;p104"/>
            <p:cNvSpPr/>
            <p:nvPr/>
          </p:nvSpPr>
          <p:spPr>
            <a:xfrm>
              <a:off x="3361450" y="3018650"/>
              <a:ext cx="62200" cy="53425"/>
            </a:xfrm>
            <a:custGeom>
              <a:avLst/>
              <a:gdLst/>
              <a:ahLst/>
              <a:cxnLst/>
              <a:rect l="l" t="t" r="r" b="b"/>
              <a:pathLst>
                <a:path w="2488" h="2137" extrusionOk="0">
                  <a:moveTo>
                    <a:pt x="1065" y="0"/>
                  </a:moveTo>
                  <a:cubicBezTo>
                    <a:pt x="472" y="0"/>
                    <a:pt x="0" y="480"/>
                    <a:pt x="0" y="1065"/>
                  </a:cubicBezTo>
                  <a:cubicBezTo>
                    <a:pt x="0" y="1709"/>
                    <a:pt x="525" y="2137"/>
                    <a:pt x="1074" y="2137"/>
                  </a:cubicBezTo>
                  <a:cubicBezTo>
                    <a:pt x="1336" y="2137"/>
                    <a:pt x="1603" y="2039"/>
                    <a:pt x="1821" y="1821"/>
                  </a:cubicBezTo>
                  <a:cubicBezTo>
                    <a:pt x="2488" y="1146"/>
                    <a:pt x="2016" y="0"/>
                    <a:pt x="1065"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618" name="Google Shape;1618;p104"/>
            <p:cNvSpPr/>
            <p:nvPr/>
          </p:nvSpPr>
          <p:spPr>
            <a:xfrm>
              <a:off x="3361450" y="3094850"/>
              <a:ext cx="62200" cy="53350"/>
            </a:xfrm>
            <a:custGeom>
              <a:avLst/>
              <a:gdLst/>
              <a:ahLst/>
              <a:cxnLst/>
              <a:rect l="l" t="t" r="r" b="b"/>
              <a:pathLst>
                <a:path w="2488" h="2134" extrusionOk="0">
                  <a:moveTo>
                    <a:pt x="1065" y="1"/>
                  </a:moveTo>
                  <a:cubicBezTo>
                    <a:pt x="472" y="1"/>
                    <a:pt x="0" y="480"/>
                    <a:pt x="0" y="1066"/>
                  </a:cubicBezTo>
                  <a:cubicBezTo>
                    <a:pt x="0" y="1709"/>
                    <a:pt x="526" y="2134"/>
                    <a:pt x="1072" y="2134"/>
                  </a:cubicBezTo>
                  <a:cubicBezTo>
                    <a:pt x="1332" y="2134"/>
                    <a:pt x="1598" y="2037"/>
                    <a:pt x="1813" y="1822"/>
                  </a:cubicBezTo>
                  <a:cubicBezTo>
                    <a:pt x="2488" y="1147"/>
                    <a:pt x="2016" y="1"/>
                    <a:pt x="1065"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619" name="Google Shape;1619;p104"/>
            <p:cNvSpPr/>
            <p:nvPr/>
          </p:nvSpPr>
          <p:spPr>
            <a:xfrm>
              <a:off x="3437450" y="2637775"/>
              <a:ext cx="62425" cy="53450"/>
            </a:xfrm>
            <a:custGeom>
              <a:avLst/>
              <a:gdLst/>
              <a:ahLst/>
              <a:cxnLst/>
              <a:rect l="l" t="t" r="r" b="b"/>
              <a:pathLst>
                <a:path w="2497" h="2138" extrusionOk="0">
                  <a:moveTo>
                    <a:pt x="1074" y="1"/>
                  </a:moveTo>
                  <a:cubicBezTo>
                    <a:pt x="480" y="9"/>
                    <a:pt x="9" y="480"/>
                    <a:pt x="1" y="1074"/>
                  </a:cubicBezTo>
                  <a:cubicBezTo>
                    <a:pt x="1" y="1712"/>
                    <a:pt x="529" y="2137"/>
                    <a:pt x="1077" y="2137"/>
                  </a:cubicBezTo>
                  <a:cubicBezTo>
                    <a:pt x="1339" y="2137"/>
                    <a:pt x="1606" y="2040"/>
                    <a:pt x="1822" y="1822"/>
                  </a:cubicBezTo>
                  <a:cubicBezTo>
                    <a:pt x="2496" y="1147"/>
                    <a:pt x="2017" y="1"/>
                    <a:pt x="1074"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620" name="Google Shape;1620;p104"/>
            <p:cNvSpPr/>
            <p:nvPr/>
          </p:nvSpPr>
          <p:spPr>
            <a:xfrm>
              <a:off x="3437450" y="2714000"/>
              <a:ext cx="62425" cy="53350"/>
            </a:xfrm>
            <a:custGeom>
              <a:avLst/>
              <a:gdLst/>
              <a:ahLst/>
              <a:cxnLst/>
              <a:rect l="l" t="t" r="r" b="b"/>
              <a:pathLst>
                <a:path w="2497" h="2134" extrusionOk="0">
                  <a:moveTo>
                    <a:pt x="1074" y="0"/>
                  </a:moveTo>
                  <a:cubicBezTo>
                    <a:pt x="480" y="0"/>
                    <a:pt x="9" y="480"/>
                    <a:pt x="1" y="1065"/>
                  </a:cubicBezTo>
                  <a:cubicBezTo>
                    <a:pt x="1" y="1709"/>
                    <a:pt x="530" y="2133"/>
                    <a:pt x="1078" y="2133"/>
                  </a:cubicBezTo>
                  <a:cubicBezTo>
                    <a:pt x="1340" y="2133"/>
                    <a:pt x="1606" y="2036"/>
                    <a:pt x="1822" y="1821"/>
                  </a:cubicBezTo>
                  <a:cubicBezTo>
                    <a:pt x="2496" y="1146"/>
                    <a:pt x="2017" y="0"/>
                    <a:pt x="1074"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621" name="Google Shape;1621;p104"/>
            <p:cNvSpPr/>
            <p:nvPr/>
          </p:nvSpPr>
          <p:spPr>
            <a:xfrm>
              <a:off x="3437450" y="2790200"/>
              <a:ext cx="62425" cy="53350"/>
            </a:xfrm>
            <a:custGeom>
              <a:avLst/>
              <a:gdLst/>
              <a:ahLst/>
              <a:cxnLst/>
              <a:rect l="l" t="t" r="r" b="b"/>
              <a:pathLst>
                <a:path w="2497" h="2134" extrusionOk="0">
                  <a:moveTo>
                    <a:pt x="1074" y="1"/>
                  </a:moveTo>
                  <a:cubicBezTo>
                    <a:pt x="480" y="1"/>
                    <a:pt x="9" y="480"/>
                    <a:pt x="1" y="1066"/>
                  </a:cubicBezTo>
                  <a:cubicBezTo>
                    <a:pt x="1" y="1709"/>
                    <a:pt x="530" y="2134"/>
                    <a:pt x="1078" y="2134"/>
                  </a:cubicBezTo>
                  <a:cubicBezTo>
                    <a:pt x="1340" y="2134"/>
                    <a:pt x="1606" y="2037"/>
                    <a:pt x="1822" y="1822"/>
                  </a:cubicBezTo>
                  <a:cubicBezTo>
                    <a:pt x="2496" y="1147"/>
                    <a:pt x="2017" y="1"/>
                    <a:pt x="1074"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622" name="Google Shape;1622;p104"/>
            <p:cNvSpPr/>
            <p:nvPr/>
          </p:nvSpPr>
          <p:spPr>
            <a:xfrm>
              <a:off x="3437450" y="2866425"/>
              <a:ext cx="62425" cy="53275"/>
            </a:xfrm>
            <a:custGeom>
              <a:avLst/>
              <a:gdLst/>
              <a:ahLst/>
              <a:cxnLst/>
              <a:rect l="l" t="t" r="r" b="b"/>
              <a:pathLst>
                <a:path w="2497" h="2131" extrusionOk="0">
                  <a:moveTo>
                    <a:pt x="1074" y="0"/>
                  </a:moveTo>
                  <a:cubicBezTo>
                    <a:pt x="480" y="0"/>
                    <a:pt x="9" y="472"/>
                    <a:pt x="1" y="1065"/>
                  </a:cubicBezTo>
                  <a:cubicBezTo>
                    <a:pt x="1" y="1707"/>
                    <a:pt x="527" y="2131"/>
                    <a:pt x="1073" y="2131"/>
                  </a:cubicBezTo>
                  <a:cubicBezTo>
                    <a:pt x="1337" y="2131"/>
                    <a:pt x="1605" y="2032"/>
                    <a:pt x="1822" y="1813"/>
                  </a:cubicBezTo>
                  <a:cubicBezTo>
                    <a:pt x="2496" y="1146"/>
                    <a:pt x="2017" y="0"/>
                    <a:pt x="1074"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623" name="Google Shape;1623;p104"/>
            <p:cNvSpPr/>
            <p:nvPr/>
          </p:nvSpPr>
          <p:spPr>
            <a:xfrm>
              <a:off x="3437450" y="2942425"/>
              <a:ext cx="62425" cy="53450"/>
            </a:xfrm>
            <a:custGeom>
              <a:avLst/>
              <a:gdLst/>
              <a:ahLst/>
              <a:cxnLst/>
              <a:rect l="l" t="t" r="r" b="b"/>
              <a:pathLst>
                <a:path w="2497" h="2138" extrusionOk="0">
                  <a:moveTo>
                    <a:pt x="1074" y="1"/>
                  </a:moveTo>
                  <a:cubicBezTo>
                    <a:pt x="480" y="9"/>
                    <a:pt x="9" y="480"/>
                    <a:pt x="1" y="1066"/>
                  </a:cubicBezTo>
                  <a:cubicBezTo>
                    <a:pt x="1" y="1709"/>
                    <a:pt x="530" y="2137"/>
                    <a:pt x="1078" y="2137"/>
                  </a:cubicBezTo>
                  <a:cubicBezTo>
                    <a:pt x="1340" y="2137"/>
                    <a:pt x="1606" y="2040"/>
                    <a:pt x="1822" y="1822"/>
                  </a:cubicBezTo>
                  <a:cubicBezTo>
                    <a:pt x="2496" y="1147"/>
                    <a:pt x="2017" y="1"/>
                    <a:pt x="1074"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624" name="Google Shape;1624;p104"/>
            <p:cNvSpPr/>
            <p:nvPr/>
          </p:nvSpPr>
          <p:spPr>
            <a:xfrm>
              <a:off x="3437450" y="3018650"/>
              <a:ext cx="62425" cy="53425"/>
            </a:xfrm>
            <a:custGeom>
              <a:avLst/>
              <a:gdLst/>
              <a:ahLst/>
              <a:cxnLst/>
              <a:rect l="l" t="t" r="r" b="b"/>
              <a:pathLst>
                <a:path w="2497" h="2137" extrusionOk="0">
                  <a:moveTo>
                    <a:pt x="1074" y="0"/>
                  </a:moveTo>
                  <a:cubicBezTo>
                    <a:pt x="480" y="0"/>
                    <a:pt x="9" y="480"/>
                    <a:pt x="1" y="1065"/>
                  </a:cubicBezTo>
                  <a:cubicBezTo>
                    <a:pt x="1" y="1709"/>
                    <a:pt x="530" y="2137"/>
                    <a:pt x="1078" y="2137"/>
                  </a:cubicBezTo>
                  <a:cubicBezTo>
                    <a:pt x="1340" y="2137"/>
                    <a:pt x="1606" y="2039"/>
                    <a:pt x="1822" y="1821"/>
                  </a:cubicBezTo>
                  <a:cubicBezTo>
                    <a:pt x="2496" y="1146"/>
                    <a:pt x="2017" y="0"/>
                    <a:pt x="1074"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625" name="Google Shape;1625;p104"/>
            <p:cNvSpPr/>
            <p:nvPr/>
          </p:nvSpPr>
          <p:spPr>
            <a:xfrm>
              <a:off x="3437450" y="3094850"/>
              <a:ext cx="62425" cy="53350"/>
            </a:xfrm>
            <a:custGeom>
              <a:avLst/>
              <a:gdLst/>
              <a:ahLst/>
              <a:cxnLst/>
              <a:rect l="l" t="t" r="r" b="b"/>
              <a:pathLst>
                <a:path w="2497" h="2134" extrusionOk="0">
                  <a:moveTo>
                    <a:pt x="1074" y="1"/>
                  </a:moveTo>
                  <a:cubicBezTo>
                    <a:pt x="480" y="1"/>
                    <a:pt x="9" y="480"/>
                    <a:pt x="1" y="1066"/>
                  </a:cubicBezTo>
                  <a:cubicBezTo>
                    <a:pt x="1" y="1709"/>
                    <a:pt x="530" y="2134"/>
                    <a:pt x="1078" y="2134"/>
                  </a:cubicBezTo>
                  <a:cubicBezTo>
                    <a:pt x="1340" y="2134"/>
                    <a:pt x="1606" y="2037"/>
                    <a:pt x="1822" y="1822"/>
                  </a:cubicBezTo>
                  <a:cubicBezTo>
                    <a:pt x="2496" y="1147"/>
                    <a:pt x="2017" y="1"/>
                    <a:pt x="1074"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626" name="Google Shape;1626;p104"/>
            <p:cNvSpPr/>
            <p:nvPr/>
          </p:nvSpPr>
          <p:spPr>
            <a:xfrm>
              <a:off x="3513675" y="2637775"/>
              <a:ext cx="62425" cy="53450"/>
            </a:xfrm>
            <a:custGeom>
              <a:avLst/>
              <a:gdLst/>
              <a:ahLst/>
              <a:cxnLst/>
              <a:rect l="l" t="t" r="r" b="b"/>
              <a:pathLst>
                <a:path w="2497" h="2138" extrusionOk="0">
                  <a:moveTo>
                    <a:pt x="1065" y="1"/>
                  </a:moveTo>
                  <a:cubicBezTo>
                    <a:pt x="480" y="9"/>
                    <a:pt x="0" y="480"/>
                    <a:pt x="0" y="1074"/>
                  </a:cubicBezTo>
                  <a:cubicBezTo>
                    <a:pt x="0" y="1712"/>
                    <a:pt x="525" y="2137"/>
                    <a:pt x="1073" y="2137"/>
                  </a:cubicBezTo>
                  <a:cubicBezTo>
                    <a:pt x="1335" y="2137"/>
                    <a:pt x="1603" y="2040"/>
                    <a:pt x="1821" y="1822"/>
                  </a:cubicBezTo>
                  <a:cubicBezTo>
                    <a:pt x="2496" y="1147"/>
                    <a:pt x="2016" y="1"/>
                    <a:pt x="1065"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627" name="Google Shape;1627;p104"/>
            <p:cNvSpPr/>
            <p:nvPr/>
          </p:nvSpPr>
          <p:spPr>
            <a:xfrm>
              <a:off x="3513675" y="2714000"/>
              <a:ext cx="62425" cy="53350"/>
            </a:xfrm>
            <a:custGeom>
              <a:avLst/>
              <a:gdLst/>
              <a:ahLst/>
              <a:cxnLst/>
              <a:rect l="l" t="t" r="r" b="b"/>
              <a:pathLst>
                <a:path w="2497" h="2134" extrusionOk="0">
                  <a:moveTo>
                    <a:pt x="1065" y="0"/>
                  </a:moveTo>
                  <a:cubicBezTo>
                    <a:pt x="480" y="0"/>
                    <a:pt x="0" y="480"/>
                    <a:pt x="0" y="1065"/>
                  </a:cubicBezTo>
                  <a:cubicBezTo>
                    <a:pt x="0" y="1709"/>
                    <a:pt x="526" y="2133"/>
                    <a:pt x="1074" y="2133"/>
                  </a:cubicBezTo>
                  <a:cubicBezTo>
                    <a:pt x="1336" y="2133"/>
                    <a:pt x="1603" y="2036"/>
                    <a:pt x="1821" y="1821"/>
                  </a:cubicBezTo>
                  <a:cubicBezTo>
                    <a:pt x="2496" y="1146"/>
                    <a:pt x="2016" y="0"/>
                    <a:pt x="1065"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628" name="Google Shape;1628;p104"/>
            <p:cNvSpPr/>
            <p:nvPr/>
          </p:nvSpPr>
          <p:spPr>
            <a:xfrm>
              <a:off x="3513675" y="2790200"/>
              <a:ext cx="62425" cy="53350"/>
            </a:xfrm>
            <a:custGeom>
              <a:avLst/>
              <a:gdLst/>
              <a:ahLst/>
              <a:cxnLst/>
              <a:rect l="l" t="t" r="r" b="b"/>
              <a:pathLst>
                <a:path w="2497" h="2134" extrusionOk="0">
                  <a:moveTo>
                    <a:pt x="1065" y="1"/>
                  </a:moveTo>
                  <a:cubicBezTo>
                    <a:pt x="480" y="1"/>
                    <a:pt x="0" y="480"/>
                    <a:pt x="0" y="1066"/>
                  </a:cubicBezTo>
                  <a:cubicBezTo>
                    <a:pt x="0" y="1709"/>
                    <a:pt x="526" y="2134"/>
                    <a:pt x="1074" y="2134"/>
                  </a:cubicBezTo>
                  <a:cubicBezTo>
                    <a:pt x="1336" y="2134"/>
                    <a:pt x="1603" y="2037"/>
                    <a:pt x="1821" y="1822"/>
                  </a:cubicBezTo>
                  <a:cubicBezTo>
                    <a:pt x="2496" y="1147"/>
                    <a:pt x="2016" y="1"/>
                    <a:pt x="1065"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629" name="Google Shape;1629;p104"/>
            <p:cNvSpPr/>
            <p:nvPr/>
          </p:nvSpPr>
          <p:spPr>
            <a:xfrm>
              <a:off x="3513675" y="2866425"/>
              <a:ext cx="62425" cy="53275"/>
            </a:xfrm>
            <a:custGeom>
              <a:avLst/>
              <a:gdLst/>
              <a:ahLst/>
              <a:cxnLst/>
              <a:rect l="l" t="t" r="r" b="b"/>
              <a:pathLst>
                <a:path w="2497" h="2131" extrusionOk="0">
                  <a:moveTo>
                    <a:pt x="1065" y="0"/>
                  </a:moveTo>
                  <a:cubicBezTo>
                    <a:pt x="480" y="0"/>
                    <a:pt x="0" y="472"/>
                    <a:pt x="0" y="1065"/>
                  </a:cubicBezTo>
                  <a:cubicBezTo>
                    <a:pt x="0" y="1707"/>
                    <a:pt x="522" y="2131"/>
                    <a:pt x="1069" y="2131"/>
                  </a:cubicBezTo>
                  <a:cubicBezTo>
                    <a:pt x="1333" y="2131"/>
                    <a:pt x="1602" y="2032"/>
                    <a:pt x="1821" y="1813"/>
                  </a:cubicBezTo>
                  <a:cubicBezTo>
                    <a:pt x="2496" y="1146"/>
                    <a:pt x="2016" y="0"/>
                    <a:pt x="1065"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630" name="Google Shape;1630;p104"/>
            <p:cNvSpPr/>
            <p:nvPr/>
          </p:nvSpPr>
          <p:spPr>
            <a:xfrm>
              <a:off x="3513675" y="2942425"/>
              <a:ext cx="62425" cy="53450"/>
            </a:xfrm>
            <a:custGeom>
              <a:avLst/>
              <a:gdLst/>
              <a:ahLst/>
              <a:cxnLst/>
              <a:rect l="l" t="t" r="r" b="b"/>
              <a:pathLst>
                <a:path w="2497" h="2138" extrusionOk="0">
                  <a:moveTo>
                    <a:pt x="1065" y="1"/>
                  </a:moveTo>
                  <a:cubicBezTo>
                    <a:pt x="480" y="9"/>
                    <a:pt x="0" y="480"/>
                    <a:pt x="0" y="1066"/>
                  </a:cubicBezTo>
                  <a:cubicBezTo>
                    <a:pt x="0" y="1709"/>
                    <a:pt x="525" y="2137"/>
                    <a:pt x="1074" y="2137"/>
                  </a:cubicBezTo>
                  <a:cubicBezTo>
                    <a:pt x="1336" y="2137"/>
                    <a:pt x="1603" y="2040"/>
                    <a:pt x="1821" y="1822"/>
                  </a:cubicBezTo>
                  <a:cubicBezTo>
                    <a:pt x="2496" y="1147"/>
                    <a:pt x="2016" y="1"/>
                    <a:pt x="1065"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631" name="Google Shape;1631;p104"/>
            <p:cNvSpPr/>
            <p:nvPr/>
          </p:nvSpPr>
          <p:spPr>
            <a:xfrm>
              <a:off x="3513675" y="3018650"/>
              <a:ext cx="62425" cy="53425"/>
            </a:xfrm>
            <a:custGeom>
              <a:avLst/>
              <a:gdLst/>
              <a:ahLst/>
              <a:cxnLst/>
              <a:rect l="l" t="t" r="r" b="b"/>
              <a:pathLst>
                <a:path w="2497" h="2137" extrusionOk="0">
                  <a:moveTo>
                    <a:pt x="1065" y="0"/>
                  </a:moveTo>
                  <a:cubicBezTo>
                    <a:pt x="480" y="0"/>
                    <a:pt x="0" y="480"/>
                    <a:pt x="0" y="1065"/>
                  </a:cubicBezTo>
                  <a:cubicBezTo>
                    <a:pt x="0" y="1709"/>
                    <a:pt x="525" y="2137"/>
                    <a:pt x="1074" y="2137"/>
                  </a:cubicBezTo>
                  <a:cubicBezTo>
                    <a:pt x="1336" y="2137"/>
                    <a:pt x="1603" y="2039"/>
                    <a:pt x="1821" y="1821"/>
                  </a:cubicBezTo>
                  <a:cubicBezTo>
                    <a:pt x="2496" y="1146"/>
                    <a:pt x="2016" y="0"/>
                    <a:pt x="1065"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632" name="Google Shape;1632;p104"/>
            <p:cNvSpPr/>
            <p:nvPr/>
          </p:nvSpPr>
          <p:spPr>
            <a:xfrm>
              <a:off x="3513675" y="3094850"/>
              <a:ext cx="62425" cy="53350"/>
            </a:xfrm>
            <a:custGeom>
              <a:avLst/>
              <a:gdLst/>
              <a:ahLst/>
              <a:cxnLst/>
              <a:rect l="l" t="t" r="r" b="b"/>
              <a:pathLst>
                <a:path w="2497" h="2134" extrusionOk="0">
                  <a:moveTo>
                    <a:pt x="1065" y="1"/>
                  </a:moveTo>
                  <a:cubicBezTo>
                    <a:pt x="480" y="1"/>
                    <a:pt x="0" y="480"/>
                    <a:pt x="0" y="1066"/>
                  </a:cubicBezTo>
                  <a:cubicBezTo>
                    <a:pt x="0" y="1709"/>
                    <a:pt x="526" y="2134"/>
                    <a:pt x="1074" y="2134"/>
                  </a:cubicBezTo>
                  <a:cubicBezTo>
                    <a:pt x="1336" y="2134"/>
                    <a:pt x="1603" y="2037"/>
                    <a:pt x="1821" y="1822"/>
                  </a:cubicBezTo>
                  <a:cubicBezTo>
                    <a:pt x="2496" y="1147"/>
                    <a:pt x="2016" y="1"/>
                    <a:pt x="1065"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633" name="Google Shape;1633;p104"/>
            <p:cNvSpPr/>
            <p:nvPr/>
          </p:nvSpPr>
          <p:spPr>
            <a:xfrm>
              <a:off x="3513675" y="3171075"/>
              <a:ext cx="62425" cy="53275"/>
            </a:xfrm>
            <a:custGeom>
              <a:avLst/>
              <a:gdLst/>
              <a:ahLst/>
              <a:cxnLst/>
              <a:rect l="l" t="t" r="r" b="b"/>
              <a:pathLst>
                <a:path w="2497" h="2131" extrusionOk="0">
                  <a:moveTo>
                    <a:pt x="1065" y="0"/>
                  </a:moveTo>
                  <a:cubicBezTo>
                    <a:pt x="480" y="0"/>
                    <a:pt x="0" y="472"/>
                    <a:pt x="0" y="1065"/>
                  </a:cubicBezTo>
                  <a:cubicBezTo>
                    <a:pt x="0" y="1707"/>
                    <a:pt x="522" y="2131"/>
                    <a:pt x="1069" y="2131"/>
                  </a:cubicBezTo>
                  <a:cubicBezTo>
                    <a:pt x="1333" y="2131"/>
                    <a:pt x="1602" y="2032"/>
                    <a:pt x="1821" y="1813"/>
                  </a:cubicBezTo>
                  <a:cubicBezTo>
                    <a:pt x="2496" y="1146"/>
                    <a:pt x="2016" y="0"/>
                    <a:pt x="1065"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634" name="Google Shape;1634;p104"/>
            <p:cNvSpPr/>
            <p:nvPr/>
          </p:nvSpPr>
          <p:spPr>
            <a:xfrm>
              <a:off x="3589875" y="3171075"/>
              <a:ext cx="62225" cy="53275"/>
            </a:xfrm>
            <a:custGeom>
              <a:avLst/>
              <a:gdLst/>
              <a:ahLst/>
              <a:cxnLst/>
              <a:rect l="l" t="t" r="r" b="b"/>
              <a:pathLst>
                <a:path w="2489" h="2131" extrusionOk="0">
                  <a:moveTo>
                    <a:pt x="1066" y="0"/>
                  </a:moveTo>
                  <a:cubicBezTo>
                    <a:pt x="480" y="0"/>
                    <a:pt x="1" y="472"/>
                    <a:pt x="1" y="1065"/>
                  </a:cubicBezTo>
                  <a:cubicBezTo>
                    <a:pt x="1" y="1707"/>
                    <a:pt x="523" y="2131"/>
                    <a:pt x="1070" y="2131"/>
                  </a:cubicBezTo>
                  <a:cubicBezTo>
                    <a:pt x="1333" y="2131"/>
                    <a:pt x="1602" y="2032"/>
                    <a:pt x="1822" y="1813"/>
                  </a:cubicBezTo>
                  <a:cubicBezTo>
                    <a:pt x="2488" y="1146"/>
                    <a:pt x="2017" y="0"/>
                    <a:pt x="1066"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635" name="Google Shape;1635;p104"/>
            <p:cNvSpPr/>
            <p:nvPr/>
          </p:nvSpPr>
          <p:spPr>
            <a:xfrm>
              <a:off x="3666100" y="2637775"/>
              <a:ext cx="62200" cy="53450"/>
            </a:xfrm>
            <a:custGeom>
              <a:avLst/>
              <a:gdLst/>
              <a:ahLst/>
              <a:cxnLst/>
              <a:rect l="l" t="t" r="r" b="b"/>
              <a:pathLst>
                <a:path w="2488" h="2138" extrusionOk="0">
                  <a:moveTo>
                    <a:pt x="1065" y="1"/>
                  </a:moveTo>
                  <a:cubicBezTo>
                    <a:pt x="480" y="9"/>
                    <a:pt x="0" y="480"/>
                    <a:pt x="0" y="1074"/>
                  </a:cubicBezTo>
                  <a:cubicBezTo>
                    <a:pt x="0" y="1712"/>
                    <a:pt x="525" y="2137"/>
                    <a:pt x="1073" y="2137"/>
                  </a:cubicBezTo>
                  <a:cubicBezTo>
                    <a:pt x="1335" y="2137"/>
                    <a:pt x="1603" y="2040"/>
                    <a:pt x="1821" y="1822"/>
                  </a:cubicBezTo>
                  <a:cubicBezTo>
                    <a:pt x="2488" y="1147"/>
                    <a:pt x="2016" y="1"/>
                    <a:pt x="1065"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636" name="Google Shape;1636;p104"/>
            <p:cNvSpPr/>
            <p:nvPr/>
          </p:nvSpPr>
          <p:spPr>
            <a:xfrm>
              <a:off x="3666100" y="2714000"/>
              <a:ext cx="62200" cy="53350"/>
            </a:xfrm>
            <a:custGeom>
              <a:avLst/>
              <a:gdLst/>
              <a:ahLst/>
              <a:cxnLst/>
              <a:rect l="l" t="t" r="r" b="b"/>
              <a:pathLst>
                <a:path w="2488" h="2134"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637" name="Google Shape;1637;p104"/>
            <p:cNvSpPr/>
            <p:nvPr/>
          </p:nvSpPr>
          <p:spPr>
            <a:xfrm>
              <a:off x="3666100" y="2790200"/>
              <a:ext cx="62200" cy="53350"/>
            </a:xfrm>
            <a:custGeom>
              <a:avLst/>
              <a:gdLst/>
              <a:ahLst/>
              <a:cxnLst/>
              <a:rect l="l" t="t" r="r" b="b"/>
              <a:pathLst>
                <a:path w="2488" h="2134" extrusionOk="0">
                  <a:moveTo>
                    <a:pt x="1065" y="1"/>
                  </a:moveTo>
                  <a:cubicBezTo>
                    <a:pt x="480" y="1"/>
                    <a:pt x="0" y="480"/>
                    <a:pt x="0" y="1066"/>
                  </a:cubicBezTo>
                  <a:cubicBezTo>
                    <a:pt x="0" y="1709"/>
                    <a:pt x="526" y="2134"/>
                    <a:pt x="1074" y="2134"/>
                  </a:cubicBezTo>
                  <a:cubicBezTo>
                    <a:pt x="1336" y="2134"/>
                    <a:pt x="1603" y="2037"/>
                    <a:pt x="1821" y="1822"/>
                  </a:cubicBezTo>
                  <a:cubicBezTo>
                    <a:pt x="2488" y="1147"/>
                    <a:pt x="2016" y="1"/>
                    <a:pt x="1065"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638" name="Google Shape;1638;p104"/>
            <p:cNvSpPr/>
            <p:nvPr/>
          </p:nvSpPr>
          <p:spPr>
            <a:xfrm>
              <a:off x="3666100" y="2942425"/>
              <a:ext cx="62200" cy="53450"/>
            </a:xfrm>
            <a:custGeom>
              <a:avLst/>
              <a:gdLst/>
              <a:ahLst/>
              <a:cxnLst/>
              <a:rect l="l" t="t" r="r" b="b"/>
              <a:pathLst>
                <a:path w="2488" h="2138" extrusionOk="0">
                  <a:moveTo>
                    <a:pt x="1065" y="1"/>
                  </a:moveTo>
                  <a:cubicBezTo>
                    <a:pt x="480" y="9"/>
                    <a:pt x="0" y="480"/>
                    <a:pt x="0" y="1066"/>
                  </a:cubicBezTo>
                  <a:cubicBezTo>
                    <a:pt x="0" y="1709"/>
                    <a:pt x="526" y="2137"/>
                    <a:pt x="1074" y="2137"/>
                  </a:cubicBezTo>
                  <a:cubicBezTo>
                    <a:pt x="1336" y="2137"/>
                    <a:pt x="1603" y="2040"/>
                    <a:pt x="1821" y="1822"/>
                  </a:cubicBezTo>
                  <a:cubicBezTo>
                    <a:pt x="2488" y="1147"/>
                    <a:pt x="2016" y="1"/>
                    <a:pt x="1065"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639" name="Google Shape;1639;p104"/>
            <p:cNvSpPr/>
            <p:nvPr/>
          </p:nvSpPr>
          <p:spPr>
            <a:xfrm>
              <a:off x="3666100" y="3018650"/>
              <a:ext cx="62200" cy="53425"/>
            </a:xfrm>
            <a:custGeom>
              <a:avLst/>
              <a:gdLst/>
              <a:ahLst/>
              <a:cxnLst/>
              <a:rect l="l" t="t" r="r" b="b"/>
              <a:pathLst>
                <a:path w="2488" h="2137" extrusionOk="0">
                  <a:moveTo>
                    <a:pt x="1065" y="0"/>
                  </a:moveTo>
                  <a:cubicBezTo>
                    <a:pt x="480" y="0"/>
                    <a:pt x="0" y="480"/>
                    <a:pt x="0" y="1065"/>
                  </a:cubicBezTo>
                  <a:cubicBezTo>
                    <a:pt x="0" y="1709"/>
                    <a:pt x="526" y="2137"/>
                    <a:pt x="1074" y="2137"/>
                  </a:cubicBezTo>
                  <a:cubicBezTo>
                    <a:pt x="1336" y="2137"/>
                    <a:pt x="1603" y="2039"/>
                    <a:pt x="1821" y="1821"/>
                  </a:cubicBezTo>
                  <a:cubicBezTo>
                    <a:pt x="2488" y="1146"/>
                    <a:pt x="2016" y="0"/>
                    <a:pt x="1065"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640" name="Google Shape;1640;p104"/>
            <p:cNvSpPr/>
            <p:nvPr/>
          </p:nvSpPr>
          <p:spPr>
            <a:xfrm>
              <a:off x="3666100" y="3094850"/>
              <a:ext cx="62200" cy="53350"/>
            </a:xfrm>
            <a:custGeom>
              <a:avLst/>
              <a:gdLst/>
              <a:ahLst/>
              <a:cxnLst/>
              <a:rect l="l" t="t" r="r" b="b"/>
              <a:pathLst>
                <a:path w="2488" h="2134" extrusionOk="0">
                  <a:moveTo>
                    <a:pt x="1065" y="1"/>
                  </a:moveTo>
                  <a:cubicBezTo>
                    <a:pt x="480" y="1"/>
                    <a:pt x="0" y="480"/>
                    <a:pt x="0" y="1066"/>
                  </a:cubicBezTo>
                  <a:cubicBezTo>
                    <a:pt x="0" y="1709"/>
                    <a:pt x="526" y="2134"/>
                    <a:pt x="1074" y="2134"/>
                  </a:cubicBezTo>
                  <a:cubicBezTo>
                    <a:pt x="1336" y="2134"/>
                    <a:pt x="1603" y="2037"/>
                    <a:pt x="1821" y="1822"/>
                  </a:cubicBezTo>
                  <a:cubicBezTo>
                    <a:pt x="2488" y="1147"/>
                    <a:pt x="2016" y="1"/>
                    <a:pt x="1065"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641" name="Google Shape;1641;p104"/>
            <p:cNvSpPr/>
            <p:nvPr/>
          </p:nvSpPr>
          <p:spPr>
            <a:xfrm>
              <a:off x="3666100" y="3171075"/>
              <a:ext cx="62200" cy="53275"/>
            </a:xfrm>
            <a:custGeom>
              <a:avLst/>
              <a:gdLst/>
              <a:ahLst/>
              <a:cxnLst/>
              <a:rect l="l" t="t" r="r" b="b"/>
              <a:pathLst>
                <a:path w="2488" h="2131" extrusionOk="0">
                  <a:moveTo>
                    <a:pt x="1065" y="0"/>
                  </a:moveTo>
                  <a:cubicBezTo>
                    <a:pt x="480" y="0"/>
                    <a:pt x="0" y="472"/>
                    <a:pt x="0" y="1065"/>
                  </a:cubicBezTo>
                  <a:cubicBezTo>
                    <a:pt x="0" y="1707"/>
                    <a:pt x="523" y="2131"/>
                    <a:pt x="1069" y="2131"/>
                  </a:cubicBezTo>
                  <a:cubicBezTo>
                    <a:pt x="1333" y="2131"/>
                    <a:pt x="1602" y="2032"/>
                    <a:pt x="1821" y="1813"/>
                  </a:cubicBezTo>
                  <a:cubicBezTo>
                    <a:pt x="2488" y="1146"/>
                    <a:pt x="2016" y="0"/>
                    <a:pt x="1065"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642" name="Google Shape;1642;p104"/>
            <p:cNvSpPr/>
            <p:nvPr/>
          </p:nvSpPr>
          <p:spPr>
            <a:xfrm>
              <a:off x="3742300" y="2637775"/>
              <a:ext cx="62225" cy="53450"/>
            </a:xfrm>
            <a:custGeom>
              <a:avLst/>
              <a:gdLst/>
              <a:ahLst/>
              <a:cxnLst/>
              <a:rect l="l" t="t" r="r" b="b"/>
              <a:pathLst>
                <a:path w="2489" h="2138" extrusionOk="0">
                  <a:moveTo>
                    <a:pt x="1066" y="1"/>
                  </a:moveTo>
                  <a:cubicBezTo>
                    <a:pt x="481" y="1"/>
                    <a:pt x="1" y="480"/>
                    <a:pt x="1" y="1074"/>
                  </a:cubicBezTo>
                  <a:cubicBezTo>
                    <a:pt x="1" y="1712"/>
                    <a:pt x="525" y="2137"/>
                    <a:pt x="1071" y="2137"/>
                  </a:cubicBezTo>
                  <a:cubicBezTo>
                    <a:pt x="1332" y="2137"/>
                    <a:pt x="1598" y="2040"/>
                    <a:pt x="1814" y="1822"/>
                  </a:cubicBezTo>
                  <a:cubicBezTo>
                    <a:pt x="2489" y="1155"/>
                    <a:pt x="2017" y="9"/>
                    <a:pt x="1066"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643" name="Google Shape;1643;p104"/>
            <p:cNvSpPr/>
            <p:nvPr/>
          </p:nvSpPr>
          <p:spPr>
            <a:xfrm>
              <a:off x="3742300" y="2714000"/>
              <a:ext cx="62225" cy="53350"/>
            </a:xfrm>
            <a:custGeom>
              <a:avLst/>
              <a:gdLst/>
              <a:ahLst/>
              <a:cxnLst/>
              <a:rect l="l" t="t" r="r" b="b"/>
              <a:pathLst>
                <a:path w="2489" h="2134" extrusionOk="0">
                  <a:moveTo>
                    <a:pt x="1066" y="0"/>
                  </a:moveTo>
                  <a:cubicBezTo>
                    <a:pt x="481" y="0"/>
                    <a:pt x="1" y="480"/>
                    <a:pt x="1" y="1065"/>
                  </a:cubicBezTo>
                  <a:cubicBezTo>
                    <a:pt x="1" y="1709"/>
                    <a:pt x="526" y="2133"/>
                    <a:pt x="1072" y="2133"/>
                  </a:cubicBezTo>
                  <a:cubicBezTo>
                    <a:pt x="1333" y="2133"/>
                    <a:pt x="1598" y="2036"/>
                    <a:pt x="1814" y="1821"/>
                  </a:cubicBezTo>
                  <a:cubicBezTo>
                    <a:pt x="2489" y="1155"/>
                    <a:pt x="2017" y="0"/>
                    <a:pt x="1066"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644" name="Google Shape;1644;p104"/>
            <p:cNvSpPr/>
            <p:nvPr/>
          </p:nvSpPr>
          <p:spPr>
            <a:xfrm>
              <a:off x="3742300" y="2790200"/>
              <a:ext cx="62225" cy="53350"/>
            </a:xfrm>
            <a:custGeom>
              <a:avLst/>
              <a:gdLst/>
              <a:ahLst/>
              <a:cxnLst/>
              <a:rect l="l" t="t" r="r" b="b"/>
              <a:pathLst>
                <a:path w="2489" h="2134" extrusionOk="0">
                  <a:moveTo>
                    <a:pt x="1066" y="1"/>
                  </a:moveTo>
                  <a:cubicBezTo>
                    <a:pt x="481" y="1"/>
                    <a:pt x="1" y="472"/>
                    <a:pt x="1" y="1066"/>
                  </a:cubicBezTo>
                  <a:cubicBezTo>
                    <a:pt x="1" y="1709"/>
                    <a:pt x="526" y="2134"/>
                    <a:pt x="1072" y="2134"/>
                  </a:cubicBezTo>
                  <a:cubicBezTo>
                    <a:pt x="1333" y="2134"/>
                    <a:pt x="1598" y="2037"/>
                    <a:pt x="1814" y="1822"/>
                  </a:cubicBezTo>
                  <a:cubicBezTo>
                    <a:pt x="2489" y="1147"/>
                    <a:pt x="2017" y="1"/>
                    <a:pt x="1066"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645" name="Google Shape;1645;p104"/>
            <p:cNvSpPr/>
            <p:nvPr/>
          </p:nvSpPr>
          <p:spPr>
            <a:xfrm>
              <a:off x="3742300" y="2942425"/>
              <a:ext cx="62225" cy="53450"/>
            </a:xfrm>
            <a:custGeom>
              <a:avLst/>
              <a:gdLst/>
              <a:ahLst/>
              <a:cxnLst/>
              <a:rect l="l" t="t" r="r" b="b"/>
              <a:pathLst>
                <a:path w="2489" h="2138" extrusionOk="0">
                  <a:moveTo>
                    <a:pt x="1066" y="1"/>
                  </a:moveTo>
                  <a:cubicBezTo>
                    <a:pt x="481" y="1"/>
                    <a:pt x="1" y="480"/>
                    <a:pt x="1" y="1066"/>
                  </a:cubicBezTo>
                  <a:cubicBezTo>
                    <a:pt x="1" y="1709"/>
                    <a:pt x="526" y="2137"/>
                    <a:pt x="1072" y="2137"/>
                  </a:cubicBezTo>
                  <a:cubicBezTo>
                    <a:pt x="1333" y="2137"/>
                    <a:pt x="1598" y="2040"/>
                    <a:pt x="1814" y="1822"/>
                  </a:cubicBezTo>
                  <a:cubicBezTo>
                    <a:pt x="2489" y="1155"/>
                    <a:pt x="2017" y="9"/>
                    <a:pt x="1066"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646" name="Google Shape;1646;p104"/>
            <p:cNvSpPr/>
            <p:nvPr/>
          </p:nvSpPr>
          <p:spPr>
            <a:xfrm>
              <a:off x="3742300" y="3018650"/>
              <a:ext cx="62225" cy="53350"/>
            </a:xfrm>
            <a:custGeom>
              <a:avLst/>
              <a:gdLst/>
              <a:ahLst/>
              <a:cxnLst/>
              <a:rect l="l" t="t" r="r" b="b"/>
              <a:pathLst>
                <a:path w="2489" h="2134" extrusionOk="0">
                  <a:moveTo>
                    <a:pt x="1066" y="0"/>
                  </a:moveTo>
                  <a:cubicBezTo>
                    <a:pt x="481" y="0"/>
                    <a:pt x="1" y="480"/>
                    <a:pt x="1" y="1065"/>
                  </a:cubicBezTo>
                  <a:cubicBezTo>
                    <a:pt x="1" y="1709"/>
                    <a:pt x="526" y="2133"/>
                    <a:pt x="1072" y="2133"/>
                  </a:cubicBezTo>
                  <a:cubicBezTo>
                    <a:pt x="1333" y="2133"/>
                    <a:pt x="1598" y="2036"/>
                    <a:pt x="1814" y="1821"/>
                  </a:cubicBezTo>
                  <a:cubicBezTo>
                    <a:pt x="2489" y="1155"/>
                    <a:pt x="2017" y="0"/>
                    <a:pt x="1066"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647" name="Google Shape;1647;p104"/>
            <p:cNvSpPr/>
            <p:nvPr/>
          </p:nvSpPr>
          <p:spPr>
            <a:xfrm>
              <a:off x="3742300" y="3094850"/>
              <a:ext cx="62225" cy="53350"/>
            </a:xfrm>
            <a:custGeom>
              <a:avLst/>
              <a:gdLst/>
              <a:ahLst/>
              <a:cxnLst/>
              <a:rect l="l" t="t" r="r" b="b"/>
              <a:pathLst>
                <a:path w="2489" h="2134" extrusionOk="0">
                  <a:moveTo>
                    <a:pt x="1066" y="1"/>
                  </a:moveTo>
                  <a:cubicBezTo>
                    <a:pt x="481" y="1"/>
                    <a:pt x="1" y="480"/>
                    <a:pt x="1" y="1066"/>
                  </a:cubicBezTo>
                  <a:cubicBezTo>
                    <a:pt x="1" y="1709"/>
                    <a:pt x="526" y="2134"/>
                    <a:pt x="1072" y="2134"/>
                  </a:cubicBezTo>
                  <a:cubicBezTo>
                    <a:pt x="1333" y="2134"/>
                    <a:pt x="1598" y="2037"/>
                    <a:pt x="1814" y="1822"/>
                  </a:cubicBezTo>
                  <a:cubicBezTo>
                    <a:pt x="2489" y="1147"/>
                    <a:pt x="2017" y="1"/>
                    <a:pt x="1066"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648" name="Google Shape;1648;p104"/>
            <p:cNvSpPr/>
            <p:nvPr/>
          </p:nvSpPr>
          <p:spPr>
            <a:xfrm>
              <a:off x="3742300" y="3171075"/>
              <a:ext cx="62225" cy="53300"/>
            </a:xfrm>
            <a:custGeom>
              <a:avLst/>
              <a:gdLst/>
              <a:ahLst/>
              <a:cxnLst/>
              <a:rect l="l" t="t" r="r" b="b"/>
              <a:pathLst>
                <a:path w="2489" h="2132" extrusionOk="0">
                  <a:moveTo>
                    <a:pt x="1066" y="0"/>
                  </a:moveTo>
                  <a:cubicBezTo>
                    <a:pt x="481" y="0"/>
                    <a:pt x="1" y="472"/>
                    <a:pt x="1" y="1065"/>
                  </a:cubicBezTo>
                  <a:cubicBezTo>
                    <a:pt x="1" y="1705"/>
                    <a:pt x="528" y="2131"/>
                    <a:pt x="1076" y="2131"/>
                  </a:cubicBezTo>
                  <a:cubicBezTo>
                    <a:pt x="1335" y="2131"/>
                    <a:pt x="1599" y="2036"/>
                    <a:pt x="1814" y="1821"/>
                  </a:cubicBezTo>
                  <a:cubicBezTo>
                    <a:pt x="2489" y="1146"/>
                    <a:pt x="2017" y="0"/>
                    <a:pt x="1066"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649" name="Google Shape;1649;p104"/>
            <p:cNvSpPr/>
            <p:nvPr/>
          </p:nvSpPr>
          <p:spPr>
            <a:xfrm>
              <a:off x="3742300" y="3247075"/>
              <a:ext cx="62225" cy="53450"/>
            </a:xfrm>
            <a:custGeom>
              <a:avLst/>
              <a:gdLst/>
              <a:ahLst/>
              <a:cxnLst/>
              <a:rect l="l" t="t" r="r" b="b"/>
              <a:pathLst>
                <a:path w="2489" h="2138" extrusionOk="0">
                  <a:moveTo>
                    <a:pt x="1066" y="1"/>
                  </a:moveTo>
                  <a:cubicBezTo>
                    <a:pt x="481" y="9"/>
                    <a:pt x="1" y="480"/>
                    <a:pt x="1" y="1074"/>
                  </a:cubicBezTo>
                  <a:cubicBezTo>
                    <a:pt x="1" y="1712"/>
                    <a:pt x="525" y="2137"/>
                    <a:pt x="1071" y="2137"/>
                  </a:cubicBezTo>
                  <a:cubicBezTo>
                    <a:pt x="1332" y="2137"/>
                    <a:pt x="1598" y="2040"/>
                    <a:pt x="1814" y="1822"/>
                  </a:cubicBezTo>
                  <a:cubicBezTo>
                    <a:pt x="2489" y="1155"/>
                    <a:pt x="2017" y="9"/>
                    <a:pt x="1066"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650" name="Google Shape;1650;p104"/>
            <p:cNvSpPr/>
            <p:nvPr/>
          </p:nvSpPr>
          <p:spPr>
            <a:xfrm>
              <a:off x="3818525" y="2714000"/>
              <a:ext cx="62225" cy="53350"/>
            </a:xfrm>
            <a:custGeom>
              <a:avLst/>
              <a:gdLst/>
              <a:ahLst/>
              <a:cxnLst/>
              <a:rect l="l" t="t" r="r" b="b"/>
              <a:pathLst>
                <a:path w="2489" h="2134"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7" y="0"/>
                    <a:pt x="1065"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651" name="Google Shape;1651;p104"/>
            <p:cNvSpPr/>
            <p:nvPr/>
          </p:nvSpPr>
          <p:spPr>
            <a:xfrm>
              <a:off x="3818525" y="2790200"/>
              <a:ext cx="62225" cy="53350"/>
            </a:xfrm>
            <a:custGeom>
              <a:avLst/>
              <a:gdLst/>
              <a:ahLst/>
              <a:cxnLst/>
              <a:rect l="l" t="t" r="r" b="b"/>
              <a:pathLst>
                <a:path w="2489" h="2134" extrusionOk="0">
                  <a:moveTo>
                    <a:pt x="1065" y="1"/>
                  </a:moveTo>
                  <a:cubicBezTo>
                    <a:pt x="480" y="1"/>
                    <a:pt x="0" y="480"/>
                    <a:pt x="0" y="1066"/>
                  </a:cubicBezTo>
                  <a:cubicBezTo>
                    <a:pt x="0" y="1709"/>
                    <a:pt x="526" y="2134"/>
                    <a:pt x="1074" y="2134"/>
                  </a:cubicBezTo>
                  <a:cubicBezTo>
                    <a:pt x="1336" y="2134"/>
                    <a:pt x="1603" y="2037"/>
                    <a:pt x="1821" y="1822"/>
                  </a:cubicBezTo>
                  <a:cubicBezTo>
                    <a:pt x="2488" y="1147"/>
                    <a:pt x="2017" y="1"/>
                    <a:pt x="1065"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652" name="Google Shape;1652;p104"/>
            <p:cNvSpPr/>
            <p:nvPr/>
          </p:nvSpPr>
          <p:spPr>
            <a:xfrm>
              <a:off x="3818525" y="2942425"/>
              <a:ext cx="62225" cy="53450"/>
            </a:xfrm>
            <a:custGeom>
              <a:avLst/>
              <a:gdLst/>
              <a:ahLst/>
              <a:cxnLst/>
              <a:rect l="l" t="t" r="r" b="b"/>
              <a:pathLst>
                <a:path w="2489" h="2138" extrusionOk="0">
                  <a:moveTo>
                    <a:pt x="1065" y="1"/>
                  </a:moveTo>
                  <a:cubicBezTo>
                    <a:pt x="480" y="1"/>
                    <a:pt x="0" y="480"/>
                    <a:pt x="0" y="1066"/>
                  </a:cubicBezTo>
                  <a:cubicBezTo>
                    <a:pt x="0" y="1709"/>
                    <a:pt x="526" y="2137"/>
                    <a:pt x="1074" y="2137"/>
                  </a:cubicBezTo>
                  <a:cubicBezTo>
                    <a:pt x="1336" y="2137"/>
                    <a:pt x="1603" y="2040"/>
                    <a:pt x="1821" y="1822"/>
                  </a:cubicBezTo>
                  <a:cubicBezTo>
                    <a:pt x="2488" y="1147"/>
                    <a:pt x="2017" y="1"/>
                    <a:pt x="1065"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653" name="Google Shape;1653;p104"/>
            <p:cNvSpPr/>
            <p:nvPr/>
          </p:nvSpPr>
          <p:spPr>
            <a:xfrm>
              <a:off x="3818525" y="3018650"/>
              <a:ext cx="62225" cy="53425"/>
            </a:xfrm>
            <a:custGeom>
              <a:avLst/>
              <a:gdLst/>
              <a:ahLst/>
              <a:cxnLst/>
              <a:rect l="l" t="t" r="r" b="b"/>
              <a:pathLst>
                <a:path w="2489" h="2137" extrusionOk="0">
                  <a:moveTo>
                    <a:pt x="1065" y="0"/>
                  </a:moveTo>
                  <a:cubicBezTo>
                    <a:pt x="480" y="0"/>
                    <a:pt x="0" y="480"/>
                    <a:pt x="0" y="1065"/>
                  </a:cubicBezTo>
                  <a:cubicBezTo>
                    <a:pt x="0" y="1709"/>
                    <a:pt x="526" y="2137"/>
                    <a:pt x="1074" y="2137"/>
                  </a:cubicBezTo>
                  <a:cubicBezTo>
                    <a:pt x="1336" y="2137"/>
                    <a:pt x="1603" y="2039"/>
                    <a:pt x="1821" y="1821"/>
                  </a:cubicBezTo>
                  <a:cubicBezTo>
                    <a:pt x="2488" y="1146"/>
                    <a:pt x="2017" y="0"/>
                    <a:pt x="1065"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654" name="Google Shape;1654;p104"/>
            <p:cNvSpPr/>
            <p:nvPr/>
          </p:nvSpPr>
          <p:spPr>
            <a:xfrm>
              <a:off x="3818525" y="3094850"/>
              <a:ext cx="62225" cy="53350"/>
            </a:xfrm>
            <a:custGeom>
              <a:avLst/>
              <a:gdLst/>
              <a:ahLst/>
              <a:cxnLst/>
              <a:rect l="l" t="t" r="r" b="b"/>
              <a:pathLst>
                <a:path w="2489" h="2134" extrusionOk="0">
                  <a:moveTo>
                    <a:pt x="1065" y="1"/>
                  </a:moveTo>
                  <a:cubicBezTo>
                    <a:pt x="480" y="1"/>
                    <a:pt x="0" y="480"/>
                    <a:pt x="0" y="1066"/>
                  </a:cubicBezTo>
                  <a:cubicBezTo>
                    <a:pt x="0" y="1709"/>
                    <a:pt x="526" y="2134"/>
                    <a:pt x="1074" y="2134"/>
                  </a:cubicBezTo>
                  <a:cubicBezTo>
                    <a:pt x="1336" y="2134"/>
                    <a:pt x="1603" y="2037"/>
                    <a:pt x="1821" y="1822"/>
                  </a:cubicBezTo>
                  <a:cubicBezTo>
                    <a:pt x="2488" y="1147"/>
                    <a:pt x="2017" y="1"/>
                    <a:pt x="1065"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655" name="Google Shape;1655;p104"/>
            <p:cNvSpPr/>
            <p:nvPr/>
          </p:nvSpPr>
          <p:spPr>
            <a:xfrm>
              <a:off x="3818525" y="3171075"/>
              <a:ext cx="62225" cy="53275"/>
            </a:xfrm>
            <a:custGeom>
              <a:avLst/>
              <a:gdLst/>
              <a:ahLst/>
              <a:cxnLst/>
              <a:rect l="l" t="t" r="r" b="b"/>
              <a:pathLst>
                <a:path w="2489" h="2131" extrusionOk="0">
                  <a:moveTo>
                    <a:pt x="1065" y="0"/>
                  </a:moveTo>
                  <a:cubicBezTo>
                    <a:pt x="480" y="0"/>
                    <a:pt x="0" y="472"/>
                    <a:pt x="0" y="1065"/>
                  </a:cubicBezTo>
                  <a:cubicBezTo>
                    <a:pt x="0" y="1707"/>
                    <a:pt x="523" y="2131"/>
                    <a:pt x="1070" y="2131"/>
                  </a:cubicBezTo>
                  <a:cubicBezTo>
                    <a:pt x="1333" y="2131"/>
                    <a:pt x="1602" y="2032"/>
                    <a:pt x="1821" y="1813"/>
                  </a:cubicBezTo>
                  <a:cubicBezTo>
                    <a:pt x="2488" y="1146"/>
                    <a:pt x="2017" y="0"/>
                    <a:pt x="1065"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656" name="Google Shape;1656;p104"/>
            <p:cNvSpPr/>
            <p:nvPr/>
          </p:nvSpPr>
          <p:spPr>
            <a:xfrm>
              <a:off x="3818525" y="3247075"/>
              <a:ext cx="62225" cy="53450"/>
            </a:xfrm>
            <a:custGeom>
              <a:avLst/>
              <a:gdLst/>
              <a:ahLst/>
              <a:cxnLst/>
              <a:rect l="l" t="t" r="r" b="b"/>
              <a:pathLst>
                <a:path w="2489" h="2138" extrusionOk="0">
                  <a:moveTo>
                    <a:pt x="1065" y="1"/>
                  </a:moveTo>
                  <a:cubicBezTo>
                    <a:pt x="480" y="9"/>
                    <a:pt x="0" y="480"/>
                    <a:pt x="0" y="1074"/>
                  </a:cubicBezTo>
                  <a:cubicBezTo>
                    <a:pt x="0" y="1712"/>
                    <a:pt x="525" y="2137"/>
                    <a:pt x="1073" y="2137"/>
                  </a:cubicBezTo>
                  <a:cubicBezTo>
                    <a:pt x="1335" y="2137"/>
                    <a:pt x="1603" y="2040"/>
                    <a:pt x="1821" y="1822"/>
                  </a:cubicBezTo>
                  <a:cubicBezTo>
                    <a:pt x="2488" y="1155"/>
                    <a:pt x="2017" y="1"/>
                    <a:pt x="1065"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657" name="Google Shape;1657;p104"/>
            <p:cNvSpPr/>
            <p:nvPr/>
          </p:nvSpPr>
          <p:spPr>
            <a:xfrm>
              <a:off x="3818525" y="3323300"/>
              <a:ext cx="62225" cy="53425"/>
            </a:xfrm>
            <a:custGeom>
              <a:avLst/>
              <a:gdLst/>
              <a:ahLst/>
              <a:cxnLst/>
              <a:rect l="l" t="t" r="r" b="b"/>
              <a:pathLst>
                <a:path w="2489" h="2137" extrusionOk="0">
                  <a:moveTo>
                    <a:pt x="1065" y="0"/>
                  </a:moveTo>
                  <a:cubicBezTo>
                    <a:pt x="480" y="0"/>
                    <a:pt x="0" y="480"/>
                    <a:pt x="0" y="1065"/>
                  </a:cubicBezTo>
                  <a:cubicBezTo>
                    <a:pt x="0" y="1709"/>
                    <a:pt x="526" y="2137"/>
                    <a:pt x="1074" y="2137"/>
                  </a:cubicBezTo>
                  <a:cubicBezTo>
                    <a:pt x="1336" y="2137"/>
                    <a:pt x="1603" y="2039"/>
                    <a:pt x="1821" y="1821"/>
                  </a:cubicBezTo>
                  <a:cubicBezTo>
                    <a:pt x="2488" y="1154"/>
                    <a:pt x="2017" y="0"/>
                    <a:pt x="1065"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658" name="Google Shape;1658;p104"/>
            <p:cNvSpPr/>
            <p:nvPr/>
          </p:nvSpPr>
          <p:spPr>
            <a:xfrm>
              <a:off x="3818525" y="3399500"/>
              <a:ext cx="62225" cy="53350"/>
            </a:xfrm>
            <a:custGeom>
              <a:avLst/>
              <a:gdLst/>
              <a:ahLst/>
              <a:cxnLst/>
              <a:rect l="l" t="t" r="r" b="b"/>
              <a:pathLst>
                <a:path w="2489" h="2134" extrusionOk="0">
                  <a:moveTo>
                    <a:pt x="1065" y="1"/>
                  </a:moveTo>
                  <a:cubicBezTo>
                    <a:pt x="480" y="1"/>
                    <a:pt x="0" y="480"/>
                    <a:pt x="0" y="1066"/>
                  </a:cubicBezTo>
                  <a:cubicBezTo>
                    <a:pt x="0" y="1709"/>
                    <a:pt x="526" y="2134"/>
                    <a:pt x="1074" y="2134"/>
                  </a:cubicBezTo>
                  <a:cubicBezTo>
                    <a:pt x="1336" y="2134"/>
                    <a:pt x="1603" y="2037"/>
                    <a:pt x="1821" y="1822"/>
                  </a:cubicBezTo>
                  <a:cubicBezTo>
                    <a:pt x="2488" y="1147"/>
                    <a:pt x="2017" y="1"/>
                    <a:pt x="1065"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659" name="Google Shape;1659;p104"/>
            <p:cNvSpPr/>
            <p:nvPr/>
          </p:nvSpPr>
          <p:spPr>
            <a:xfrm>
              <a:off x="3818525" y="3780375"/>
              <a:ext cx="62425" cy="53425"/>
            </a:xfrm>
            <a:custGeom>
              <a:avLst/>
              <a:gdLst/>
              <a:ahLst/>
              <a:cxnLst/>
              <a:rect l="l" t="t" r="r" b="b"/>
              <a:pathLst>
                <a:path w="2497" h="2137" extrusionOk="0">
                  <a:moveTo>
                    <a:pt x="1065" y="0"/>
                  </a:moveTo>
                  <a:cubicBezTo>
                    <a:pt x="480" y="0"/>
                    <a:pt x="0" y="480"/>
                    <a:pt x="0" y="1065"/>
                  </a:cubicBezTo>
                  <a:cubicBezTo>
                    <a:pt x="0" y="1709"/>
                    <a:pt x="529" y="2137"/>
                    <a:pt x="1078" y="2137"/>
                  </a:cubicBezTo>
                  <a:cubicBezTo>
                    <a:pt x="1340" y="2137"/>
                    <a:pt x="1606" y="2039"/>
                    <a:pt x="1821" y="1821"/>
                  </a:cubicBezTo>
                  <a:cubicBezTo>
                    <a:pt x="2496" y="1146"/>
                    <a:pt x="2017" y="0"/>
                    <a:pt x="1065"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660" name="Google Shape;1660;p104"/>
            <p:cNvSpPr/>
            <p:nvPr/>
          </p:nvSpPr>
          <p:spPr>
            <a:xfrm>
              <a:off x="3894725" y="2790200"/>
              <a:ext cx="62225" cy="53350"/>
            </a:xfrm>
            <a:custGeom>
              <a:avLst/>
              <a:gdLst/>
              <a:ahLst/>
              <a:cxnLst/>
              <a:rect l="l" t="t" r="r" b="b"/>
              <a:pathLst>
                <a:path w="2489" h="2134" extrusionOk="0">
                  <a:moveTo>
                    <a:pt x="1066" y="1"/>
                  </a:moveTo>
                  <a:cubicBezTo>
                    <a:pt x="481" y="1"/>
                    <a:pt x="1" y="480"/>
                    <a:pt x="1" y="1066"/>
                  </a:cubicBezTo>
                  <a:cubicBezTo>
                    <a:pt x="1" y="1709"/>
                    <a:pt x="526" y="2134"/>
                    <a:pt x="1075" y="2134"/>
                  </a:cubicBezTo>
                  <a:cubicBezTo>
                    <a:pt x="1337" y="2134"/>
                    <a:pt x="1604" y="2037"/>
                    <a:pt x="1822" y="1822"/>
                  </a:cubicBezTo>
                  <a:cubicBezTo>
                    <a:pt x="2489" y="1147"/>
                    <a:pt x="2017" y="1"/>
                    <a:pt x="1066"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661" name="Google Shape;1661;p104"/>
            <p:cNvSpPr/>
            <p:nvPr/>
          </p:nvSpPr>
          <p:spPr>
            <a:xfrm>
              <a:off x="3894725" y="3932800"/>
              <a:ext cx="62225" cy="53425"/>
            </a:xfrm>
            <a:custGeom>
              <a:avLst/>
              <a:gdLst/>
              <a:ahLst/>
              <a:cxnLst/>
              <a:rect l="l" t="t" r="r" b="b"/>
              <a:pathLst>
                <a:path w="2489" h="2137" extrusionOk="0">
                  <a:moveTo>
                    <a:pt x="1066" y="0"/>
                  </a:moveTo>
                  <a:cubicBezTo>
                    <a:pt x="481" y="0"/>
                    <a:pt x="1" y="480"/>
                    <a:pt x="1" y="1065"/>
                  </a:cubicBezTo>
                  <a:cubicBezTo>
                    <a:pt x="1" y="1709"/>
                    <a:pt x="526" y="2137"/>
                    <a:pt x="1075" y="2137"/>
                  </a:cubicBezTo>
                  <a:cubicBezTo>
                    <a:pt x="1337" y="2137"/>
                    <a:pt x="1604" y="2039"/>
                    <a:pt x="1822" y="1821"/>
                  </a:cubicBezTo>
                  <a:cubicBezTo>
                    <a:pt x="2489" y="1146"/>
                    <a:pt x="2017" y="0"/>
                    <a:pt x="1066"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662" name="Google Shape;1662;p104"/>
            <p:cNvSpPr/>
            <p:nvPr/>
          </p:nvSpPr>
          <p:spPr>
            <a:xfrm>
              <a:off x="3894725" y="3856775"/>
              <a:ext cx="62175" cy="53250"/>
            </a:xfrm>
            <a:custGeom>
              <a:avLst/>
              <a:gdLst/>
              <a:ahLst/>
              <a:cxnLst/>
              <a:rect l="l" t="t" r="r" b="b"/>
              <a:pathLst>
                <a:path w="2487" h="2130" extrusionOk="0">
                  <a:moveTo>
                    <a:pt x="1076" y="1"/>
                  </a:moveTo>
                  <a:cubicBezTo>
                    <a:pt x="1073" y="1"/>
                    <a:pt x="1069" y="1"/>
                    <a:pt x="1066" y="1"/>
                  </a:cubicBezTo>
                  <a:cubicBezTo>
                    <a:pt x="481" y="1"/>
                    <a:pt x="1" y="472"/>
                    <a:pt x="1" y="1066"/>
                  </a:cubicBezTo>
                  <a:cubicBezTo>
                    <a:pt x="1" y="1704"/>
                    <a:pt x="525" y="2129"/>
                    <a:pt x="1074" y="2129"/>
                  </a:cubicBezTo>
                  <a:cubicBezTo>
                    <a:pt x="1336" y="2129"/>
                    <a:pt x="1604" y="2032"/>
                    <a:pt x="1822" y="1814"/>
                  </a:cubicBezTo>
                  <a:cubicBezTo>
                    <a:pt x="2486" y="1149"/>
                    <a:pt x="2020" y="1"/>
                    <a:pt x="1076"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663" name="Google Shape;1663;p104"/>
            <p:cNvSpPr/>
            <p:nvPr/>
          </p:nvSpPr>
          <p:spPr>
            <a:xfrm>
              <a:off x="3894725" y="3780375"/>
              <a:ext cx="62425" cy="53425"/>
            </a:xfrm>
            <a:custGeom>
              <a:avLst/>
              <a:gdLst/>
              <a:ahLst/>
              <a:cxnLst/>
              <a:rect l="l" t="t" r="r" b="b"/>
              <a:pathLst>
                <a:path w="2497" h="2137" extrusionOk="0">
                  <a:moveTo>
                    <a:pt x="1066" y="0"/>
                  </a:moveTo>
                  <a:cubicBezTo>
                    <a:pt x="481" y="0"/>
                    <a:pt x="1" y="480"/>
                    <a:pt x="1" y="1065"/>
                  </a:cubicBezTo>
                  <a:cubicBezTo>
                    <a:pt x="1" y="1709"/>
                    <a:pt x="526" y="2137"/>
                    <a:pt x="1075" y="2137"/>
                  </a:cubicBezTo>
                  <a:cubicBezTo>
                    <a:pt x="1337" y="2137"/>
                    <a:pt x="1604" y="2039"/>
                    <a:pt x="1822" y="1821"/>
                  </a:cubicBezTo>
                  <a:cubicBezTo>
                    <a:pt x="2497" y="1146"/>
                    <a:pt x="2017" y="0"/>
                    <a:pt x="1066"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664" name="Google Shape;1664;p104"/>
            <p:cNvSpPr/>
            <p:nvPr/>
          </p:nvSpPr>
          <p:spPr>
            <a:xfrm>
              <a:off x="3894725" y="3704150"/>
              <a:ext cx="62225" cy="53450"/>
            </a:xfrm>
            <a:custGeom>
              <a:avLst/>
              <a:gdLst/>
              <a:ahLst/>
              <a:cxnLst/>
              <a:rect l="l" t="t" r="r" b="b"/>
              <a:pathLst>
                <a:path w="2489" h="2138" extrusionOk="0">
                  <a:moveTo>
                    <a:pt x="1066" y="1"/>
                  </a:moveTo>
                  <a:cubicBezTo>
                    <a:pt x="481" y="1"/>
                    <a:pt x="1" y="480"/>
                    <a:pt x="1" y="1066"/>
                  </a:cubicBezTo>
                  <a:cubicBezTo>
                    <a:pt x="1" y="1709"/>
                    <a:pt x="526" y="2137"/>
                    <a:pt x="1075" y="2137"/>
                  </a:cubicBezTo>
                  <a:cubicBezTo>
                    <a:pt x="1337" y="2137"/>
                    <a:pt x="1604" y="2040"/>
                    <a:pt x="1822" y="1822"/>
                  </a:cubicBezTo>
                  <a:cubicBezTo>
                    <a:pt x="2489" y="1147"/>
                    <a:pt x="2017" y="1"/>
                    <a:pt x="1066"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665" name="Google Shape;1665;p104"/>
            <p:cNvSpPr/>
            <p:nvPr/>
          </p:nvSpPr>
          <p:spPr>
            <a:xfrm>
              <a:off x="3894725" y="3627950"/>
              <a:ext cx="62225" cy="53425"/>
            </a:xfrm>
            <a:custGeom>
              <a:avLst/>
              <a:gdLst/>
              <a:ahLst/>
              <a:cxnLst/>
              <a:rect l="l" t="t" r="r" b="b"/>
              <a:pathLst>
                <a:path w="2489" h="2137" extrusionOk="0">
                  <a:moveTo>
                    <a:pt x="1066" y="0"/>
                  </a:moveTo>
                  <a:cubicBezTo>
                    <a:pt x="481" y="8"/>
                    <a:pt x="1" y="480"/>
                    <a:pt x="1" y="1073"/>
                  </a:cubicBezTo>
                  <a:cubicBezTo>
                    <a:pt x="1" y="1711"/>
                    <a:pt x="525" y="2137"/>
                    <a:pt x="1074" y="2137"/>
                  </a:cubicBezTo>
                  <a:cubicBezTo>
                    <a:pt x="1336" y="2137"/>
                    <a:pt x="1604" y="2039"/>
                    <a:pt x="1822" y="1821"/>
                  </a:cubicBezTo>
                  <a:cubicBezTo>
                    <a:pt x="2489" y="1154"/>
                    <a:pt x="2017" y="0"/>
                    <a:pt x="1066"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666" name="Google Shape;1666;p104"/>
            <p:cNvSpPr/>
            <p:nvPr/>
          </p:nvSpPr>
          <p:spPr>
            <a:xfrm>
              <a:off x="3894725" y="3551925"/>
              <a:ext cx="62175" cy="53250"/>
            </a:xfrm>
            <a:custGeom>
              <a:avLst/>
              <a:gdLst/>
              <a:ahLst/>
              <a:cxnLst/>
              <a:rect l="l" t="t" r="r" b="b"/>
              <a:pathLst>
                <a:path w="2487" h="2130" extrusionOk="0">
                  <a:moveTo>
                    <a:pt x="1076" y="1"/>
                  </a:moveTo>
                  <a:cubicBezTo>
                    <a:pt x="1073" y="1"/>
                    <a:pt x="1069" y="1"/>
                    <a:pt x="1066" y="1"/>
                  </a:cubicBezTo>
                  <a:cubicBezTo>
                    <a:pt x="481" y="1"/>
                    <a:pt x="1" y="472"/>
                    <a:pt x="1" y="1066"/>
                  </a:cubicBezTo>
                  <a:cubicBezTo>
                    <a:pt x="1" y="1704"/>
                    <a:pt x="525" y="2129"/>
                    <a:pt x="1074" y="2129"/>
                  </a:cubicBezTo>
                  <a:cubicBezTo>
                    <a:pt x="1336" y="2129"/>
                    <a:pt x="1604" y="2032"/>
                    <a:pt x="1822" y="1814"/>
                  </a:cubicBezTo>
                  <a:cubicBezTo>
                    <a:pt x="2486" y="1149"/>
                    <a:pt x="2020" y="1"/>
                    <a:pt x="1076"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667" name="Google Shape;1667;p104"/>
            <p:cNvSpPr/>
            <p:nvPr/>
          </p:nvSpPr>
          <p:spPr>
            <a:xfrm>
              <a:off x="3894725" y="3475725"/>
              <a:ext cx="62225" cy="53350"/>
            </a:xfrm>
            <a:custGeom>
              <a:avLst/>
              <a:gdLst/>
              <a:ahLst/>
              <a:cxnLst/>
              <a:rect l="l" t="t" r="r" b="b"/>
              <a:pathLst>
                <a:path w="2489" h="2134" extrusionOk="0">
                  <a:moveTo>
                    <a:pt x="1066" y="0"/>
                  </a:moveTo>
                  <a:cubicBezTo>
                    <a:pt x="472" y="0"/>
                    <a:pt x="1" y="480"/>
                    <a:pt x="1" y="1065"/>
                  </a:cubicBezTo>
                  <a:cubicBezTo>
                    <a:pt x="1" y="1709"/>
                    <a:pt x="526" y="2133"/>
                    <a:pt x="1075" y="2133"/>
                  </a:cubicBezTo>
                  <a:cubicBezTo>
                    <a:pt x="1337" y="2133"/>
                    <a:pt x="1604" y="2037"/>
                    <a:pt x="1822" y="1821"/>
                  </a:cubicBezTo>
                  <a:cubicBezTo>
                    <a:pt x="2489" y="1146"/>
                    <a:pt x="2017" y="0"/>
                    <a:pt x="1066"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668" name="Google Shape;1668;p104"/>
            <p:cNvSpPr/>
            <p:nvPr/>
          </p:nvSpPr>
          <p:spPr>
            <a:xfrm>
              <a:off x="3894725" y="3399500"/>
              <a:ext cx="62225" cy="53350"/>
            </a:xfrm>
            <a:custGeom>
              <a:avLst/>
              <a:gdLst/>
              <a:ahLst/>
              <a:cxnLst/>
              <a:rect l="l" t="t" r="r" b="b"/>
              <a:pathLst>
                <a:path w="2489" h="2134" extrusionOk="0">
                  <a:moveTo>
                    <a:pt x="1066" y="1"/>
                  </a:moveTo>
                  <a:cubicBezTo>
                    <a:pt x="481" y="1"/>
                    <a:pt x="1" y="480"/>
                    <a:pt x="1" y="1066"/>
                  </a:cubicBezTo>
                  <a:cubicBezTo>
                    <a:pt x="1" y="1709"/>
                    <a:pt x="526" y="2134"/>
                    <a:pt x="1075" y="2134"/>
                  </a:cubicBezTo>
                  <a:cubicBezTo>
                    <a:pt x="1337" y="2134"/>
                    <a:pt x="1604" y="2037"/>
                    <a:pt x="1822" y="1822"/>
                  </a:cubicBezTo>
                  <a:cubicBezTo>
                    <a:pt x="2489" y="1147"/>
                    <a:pt x="2017" y="1"/>
                    <a:pt x="1066"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669" name="Google Shape;1669;p104"/>
            <p:cNvSpPr/>
            <p:nvPr/>
          </p:nvSpPr>
          <p:spPr>
            <a:xfrm>
              <a:off x="3894600" y="3323300"/>
              <a:ext cx="62350" cy="53425"/>
            </a:xfrm>
            <a:custGeom>
              <a:avLst/>
              <a:gdLst/>
              <a:ahLst/>
              <a:cxnLst/>
              <a:rect l="l" t="t" r="r" b="b"/>
              <a:pathLst>
                <a:path w="2494" h="2137" extrusionOk="0">
                  <a:moveTo>
                    <a:pt x="1071" y="0"/>
                  </a:moveTo>
                  <a:cubicBezTo>
                    <a:pt x="486" y="8"/>
                    <a:pt x="6" y="480"/>
                    <a:pt x="6" y="1065"/>
                  </a:cubicBezTo>
                  <a:cubicBezTo>
                    <a:pt x="0" y="1709"/>
                    <a:pt x="528" y="2137"/>
                    <a:pt x="1076" y="2137"/>
                  </a:cubicBezTo>
                  <a:cubicBezTo>
                    <a:pt x="1337" y="2137"/>
                    <a:pt x="1603" y="2039"/>
                    <a:pt x="1819" y="1821"/>
                  </a:cubicBezTo>
                  <a:cubicBezTo>
                    <a:pt x="2494" y="1154"/>
                    <a:pt x="2022" y="0"/>
                    <a:pt x="1071"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670" name="Google Shape;1670;p104"/>
            <p:cNvSpPr/>
            <p:nvPr/>
          </p:nvSpPr>
          <p:spPr>
            <a:xfrm>
              <a:off x="3894725" y="3247075"/>
              <a:ext cx="62225" cy="53450"/>
            </a:xfrm>
            <a:custGeom>
              <a:avLst/>
              <a:gdLst/>
              <a:ahLst/>
              <a:cxnLst/>
              <a:rect l="l" t="t" r="r" b="b"/>
              <a:pathLst>
                <a:path w="2489" h="2138" extrusionOk="0">
                  <a:moveTo>
                    <a:pt x="1066" y="1"/>
                  </a:moveTo>
                  <a:cubicBezTo>
                    <a:pt x="481" y="9"/>
                    <a:pt x="1" y="480"/>
                    <a:pt x="1" y="1074"/>
                  </a:cubicBezTo>
                  <a:cubicBezTo>
                    <a:pt x="1" y="1712"/>
                    <a:pt x="525" y="2137"/>
                    <a:pt x="1074" y="2137"/>
                  </a:cubicBezTo>
                  <a:cubicBezTo>
                    <a:pt x="1336" y="2137"/>
                    <a:pt x="1604" y="2040"/>
                    <a:pt x="1822" y="1822"/>
                  </a:cubicBezTo>
                  <a:cubicBezTo>
                    <a:pt x="2489" y="1155"/>
                    <a:pt x="2017" y="1"/>
                    <a:pt x="1066"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671" name="Google Shape;1671;p104"/>
            <p:cNvSpPr/>
            <p:nvPr/>
          </p:nvSpPr>
          <p:spPr>
            <a:xfrm>
              <a:off x="3894725" y="3171075"/>
              <a:ext cx="62225" cy="53275"/>
            </a:xfrm>
            <a:custGeom>
              <a:avLst/>
              <a:gdLst/>
              <a:ahLst/>
              <a:cxnLst/>
              <a:rect l="l" t="t" r="r" b="b"/>
              <a:pathLst>
                <a:path w="2489" h="2131" extrusionOk="0">
                  <a:moveTo>
                    <a:pt x="1066" y="0"/>
                  </a:moveTo>
                  <a:cubicBezTo>
                    <a:pt x="481" y="0"/>
                    <a:pt x="1" y="472"/>
                    <a:pt x="1" y="1065"/>
                  </a:cubicBezTo>
                  <a:cubicBezTo>
                    <a:pt x="1" y="1707"/>
                    <a:pt x="523" y="2131"/>
                    <a:pt x="1070" y="2131"/>
                  </a:cubicBezTo>
                  <a:cubicBezTo>
                    <a:pt x="1334" y="2131"/>
                    <a:pt x="1603" y="2032"/>
                    <a:pt x="1822" y="1813"/>
                  </a:cubicBezTo>
                  <a:cubicBezTo>
                    <a:pt x="2489" y="1146"/>
                    <a:pt x="2017" y="0"/>
                    <a:pt x="1066"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672" name="Google Shape;1672;p104"/>
            <p:cNvSpPr/>
            <p:nvPr/>
          </p:nvSpPr>
          <p:spPr>
            <a:xfrm>
              <a:off x="3894725" y="3094850"/>
              <a:ext cx="62225" cy="53350"/>
            </a:xfrm>
            <a:custGeom>
              <a:avLst/>
              <a:gdLst/>
              <a:ahLst/>
              <a:cxnLst/>
              <a:rect l="l" t="t" r="r" b="b"/>
              <a:pathLst>
                <a:path w="2489" h="2134" extrusionOk="0">
                  <a:moveTo>
                    <a:pt x="1066" y="1"/>
                  </a:moveTo>
                  <a:cubicBezTo>
                    <a:pt x="481" y="1"/>
                    <a:pt x="1" y="480"/>
                    <a:pt x="1" y="1066"/>
                  </a:cubicBezTo>
                  <a:cubicBezTo>
                    <a:pt x="1" y="1709"/>
                    <a:pt x="526" y="2134"/>
                    <a:pt x="1075" y="2134"/>
                  </a:cubicBezTo>
                  <a:cubicBezTo>
                    <a:pt x="1337" y="2134"/>
                    <a:pt x="1604" y="2037"/>
                    <a:pt x="1822" y="1822"/>
                  </a:cubicBezTo>
                  <a:cubicBezTo>
                    <a:pt x="2489" y="1147"/>
                    <a:pt x="2017" y="1"/>
                    <a:pt x="1066"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673" name="Google Shape;1673;p104"/>
            <p:cNvSpPr/>
            <p:nvPr/>
          </p:nvSpPr>
          <p:spPr>
            <a:xfrm>
              <a:off x="3894725" y="3018650"/>
              <a:ext cx="62225" cy="53425"/>
            </a:xfrm>
            <a:custGeom>
              <a:avLst/>
              <a:gdLst/>
              <a:ahLst/>
              <a:cxnLst/>
              <a:rect l="l" t="t" r="r" b="b"/>
              <a:pathLst>
                <a:path w="2489" h="2137" extrusionOk="0">
                  <a:moveTo>
                    <a:pt x="1066" y="0"/>
                  </a:moveTo>
                  <a:cubicBezTo>
                    <a:pt x="481" y="0"/>
                    <a:pt x="1" y="480"/>
                    <a:pt x="1" y="1065"/>
                  </a:cubicBezTo>
                  <a:cubicBezTo>
                    <a:pt x="1" y="1709"/>
                    <a:pt x="526" y="2137"/>
                    <a:pt x="1075" y="2137"/>
                  </a:cubicBezTo>
                  <a:cubicBezTo>
                    <a:pt x="1337" y="2137"/>
                    <a:pt x="1604" y="2039"/>
                    <a:pt x="1822" y="1821"/>
                  </a:cubicBezTo>
                  <a:cubicBezTo>
                    <a:pt x="2489" y="1146"/>
                    <a:pt x="2017" y="0"/>
                    <a:pt x="1066"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674" name="Google Shape;1674;p104"/>
            <p:cNvSpPr/>
            <p:nvPr/>
          </p:nvSpPr>
          <p:spPr>
            <a:xfrm>
              <a:off x="3894725" y="2942425"/>
              <a:ext cx="62225" cy="53450"/>
            </a:xfrm>
            <a:custGeom>
              <a:avLst/>
              <a:gdLst/>
              <a:ahLst/>
              <a:cxnLst/>
              <a:rect l="l" t="t" r="r" b="b"/>
              <a:pathLst>
                <a:path w="2489" h="2138" extrusionOk="0">
                  <a:moveTo>
                    <a:pt x="1066" y="1"/>
                  </a:moveTo>
                  <a:cubicBezTo>
                    <a:pt x="481" y="9"/>
                    <a:pt x="1" y="480"/>
                    <a:pt x="1" y="1066"/>
                  </a:cubicBezTo>
                  <a:cubicBezTo>
                    <a:pt x="1" y="1709"/>
                    <a:pt x="526" y="2137"/>
                    <a:pt x="1075" y="2137"/>
                  </a:cubicBezTo>
                  <a:cubicBezTo>
                    <a:pt x="1337" y="2137"/>
                    <a:pt x="1604" y="2040"/>
                    <a:pt x="1822" y="1822"/>
                  </a:cubicBezTo>
                  <a:cubicBezTo>
                    <a:pt x="2489" y="1147"/>
                    <a:pt x="2017" y="1"/>
                    <a:pt x="1066"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675" name="Google Shape;1675;p104"/>
            <p:cNvSpPr/>
            <p:nvPr/>
          </p:nvSpPr>
          <p:spPr>
            <a:xfrm>
              <a:off x="3894725" y="2866425"/>
              <a:ext cx="62225" cy="53275"/>
            </a:xfrm>
            <a:custGeom>
              <a:avLst/>
              <a:gdLst/>
              <a:ahLst/>
              <a:cxnLst/>
              <a:rect l="l" t="t" r="r" b="b"/>
              <a:pathLst>
                <a:path w="2489" h="2131" extrusionOk="0">
                  <a:moveTo>
                    <a:pt x="1066" y="0"/>
                  </a:moveTo>
                  <a:cubicBezTo>
                    <a:pt x="481" y="0"/>
                    <a:pt x="1" y="472"/>
                    <a:pt x="1" y="1065"/>
                  </a:cubicBezTo>
                  <a:cubicBezTo>
                    <a:pt x="1" y="1707"/>
                    <a:pt x="523" y="2131"/>
                    <a:pt x="1070" y="2131"/>
                  </a:cubicBezTo>
                  <a:cubicBezTo>
                    <a:pt x="1334" y="2131"/>
                    <a:pt x="1603" y="2032"/>
                    <a:pt x="1822" y="1813"/>
                  </a:cubicBezTo>
                  <a:cubicBezTo>
                    <a:pt x="2489" y="1146"/>
                    <a:pt x="2017" y="0"/>
                    <a:pt x="1066"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676" name="Google Shape;1676;p104"/>
            <p:cNvSpPr/>
            <p:nvPr/>
          </p:nvSpPr>
          <p:spPr>
            <a:xfrm>
              <a:off x="3818525" y="2866425"/>
              <a:ext cx="62225" cy="53275"/>
            </a:xfrm>
            <a:custGeom>
              <a:avLst/>
              <a:gdLst/>
              <a:ahLst/>
              <a:cxnLst/>
              <a:rect l="l" t="t" r="r" b="b"/>
              <a:pathLst>
                <a:path w="2489" h="2131" extrusionOk="0">
                  <a:moveTo>
                    <a:pt x="1065" y="0"/>
                  </a:moveTo>
                  <a:cubicBezTo>
                    <a:pt x="480" y="0"/>
                    <a:pt x="0" y="472"/>
                    <a:pt x="0" y="1065"/>
                  </a:cubicBezTo>
                  <a:cubicBezTo>
                    <a:pt x="0" y="1707"/>
                    <a:pt x="523" y="2131"/>
                    <a:pt x="1070" y="2131"/>
                  </a:cubicBezTo>
                  <a:cubicBezTo>
                    <a:pt x="1333" y="2131"/>
                    <a:pt x="1602" y="2032"/>
                    <a:pt x="1821" y="1813"/>
                  </a:cubicBezTo>
                  <a:cubicBezTo>
                    <a:pt x="2488" y="1146"/>
                    <a:pt x="2017" y="0"/>
                    <a:pt x="1065"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677" name="Google Shape;1677;p104"/>
            <p:cNvSpPr/>
            <p:nvPr/>
          </p:nvSpPr>
          <p:spPr>
            <a:xfrm>
              <a:off x="3742300" y="2866425"/>
              <a:ext cx="62225" cy="53225"/>
            </a:xfrm>
            <a:custGeom>
              <a:avLst/>
              <a:gdLst/>
              <a:ahLst/>
              <a:cxnLst/>
              <a:rect l="l" t="t" r="r" b="b"/>
              <a:pathLst>
                <a:path w="2489" h="2129" extrusionOk="0">
                  <a:moveTo>
                    <a:pt x="1066" y="0"/>
                  </a:moveTo>
                  <a:cubicBezTo>
                    <a:pt x="481" y="0"/>
                    <a:pt x="1" y="472"/>
                    <a:pt x="1" y="1065"/>
                  </a:cubicBezTo>
                  <a:cubicBezTo>
                    <a:pt x="1" y="1703"/>
                    <a:pt x="525" y="2129"/>
                    <a:pt x="1071" y="2129"/>
                  </a:cubicBezTo>
                  <a:cubicBezTo>
                    <a:pt x="1332" y="2129"/>
                    <a:pt x="1598" y="2031"/>
                    <a:pt x="1814" y="1813"/>
                  </a:cubicBezTo>
                  <a:cubicBezTo>
                    <a:pt x="2489" y="1146"/>
                    <a:pt x="2017" y="0"/>
                    <a:pt x="1066"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678" name="Google Shape;1678;p104"/>
            <p:cNvSpPr/>
            <p:nvPr/>
          </p:nvSpPr>
          <p:spPr>
            <a:xfrm>
              <a:off x="3666100" y="2866425"/>
              <a:ext cx="62200" cy="53275"/>
            </a:xfrm>
            <a:custGeom>
              <a:avLst/>
              <a:gdLst/>
              <a:ahLst/>
              <a:cxnLst/>
              <a:rect l="l" t="t" r="r" b="b"/>
              <a:pathLst>
                <a:path w="2488" h="2131" extrusionOk="0">
                  <a:moveTo>
                    <a:pt x="1065" y="0"/>
                  </a:moveTo>
                  <a:cubicBezTo>
                    <a:pt x="480" y="0"/>
                    <a:pt x="0" y="472"/>
                    <a:pt x="0" y="1065"/>
                  </a:cubicBezTo>
                  <a:cubicBezTo>
                    <a:pt x="0" y="1707"/>
                    <a:pt x="523" y="2131"/>
                    <a:pt x="1069" y="2131"/>
                  </a:cubicBezTo>
                  <a:cubicBezTo>
                    <a:pt x="1333" y="2131"/>
                    <a:pt x="1602" y="2032"/>
                    <a:pt x="1821" y="1813"/>
                  </a:cubicBezTo>
                  <a:cubicBezTo>
                    <a:pt x="2488" y="1146"/>
                    <a:pt x="2016" y="0"/>
                    <a:pt x="1065"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679" name="Google Shape;1679;p104"/>
            <p:cNvSpPr/>
            <p:nvPr/>
          </p:nvSpPr>
          <p:spPr>
            <a:xfrm>
              <a:off x="4504050" y="3247075"/>
              <a:ext cx="62200" cy="53450"/>
            </a:xfrm>
            <a:custGeom>
              <a:avLst/>
              <a:gdLst/>
              <a:ahLst/>
              <a:cxnLst/>
              <a:rect l="l" t="t" r="r" b="b"/>
              <a:pathLst>
                <a:path w="2488" h="2138" extrusionOk="0">
                  <a:moveTo>
                    <a:pt x="1065" y="1"/>
                  </a:moveTo>
                  <a:cubicBezTo>
                    <a:pt x="480" y="9"/>
                    <a:pt x="0" y="480"/>
                    <a:pt x="0" y="1074"/>
                  </a:cubicBezTo>
                  <a:cubicBezTo>
                    <a:pt x="0" y="1712"/>
                    <a:pt x="525" y="2137"/>
                    <a:pt x="1073" y="2137"/>
                  </a:cubicBezTo>
                  <a:cubicBezTo>
                    <a:pt x="1335" y="2137"/>
                    <a:pt x="1603" y="2040"/>
                    <a:pt x="1821" y="1822"/>
                  </a:cubicBezTo>
                  <a:cubicBezTo>
                    <a:pt x="2488" y="1155"/>
                    <a:pt x="2016" y="1"/>
                    <a:pt x="1065"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680" name="Google Shape;1680;p104"/>
            <p:cNvSpPr/>
            <p:nvPr/>
          </p:nvSpPr>
          <p:spPr>
            <a:xfrm>
              <a:off x="4504050" y="3171075"/>
              <a:ext cx="62200" cy="53350"/>
            </a:xfrm>
            <a:custGeom>
              <a:avLst/>
              <a:gdLst/>
              <a:ahLst/>
              <a:cxnLst/>
              <a:rect l="l" t="t" r="r" b="b"/>
              <a:pathLst>
                <a:path w="2488" h="2134" extrusionOk="0">
                  <a:moveTo>
                    <a:pt x="1065" y="0"/>
                  </a:moveTo>
                  <a:cubicBezTo>
                    <a:pt x="480" y="0"/>
                    <a:pt x="0" y="472"/>
                    <a:pt x="0" y="1065"/>
                  </a:cubicBezTo>
                  <a:cubicBezTo>
                    <a:pt x="0" y="1709"/>
                    <a:pt x="525" y="2133"/>
                    <a:pt x="1074" y="2133"/>
                  </a:cubicBezTo>
                  <a:cubicBezTo>
                    <a:pt x="1336" y="2133"/>
                    <a:pt x="1603" y="2037"/>
                    <a:pt x="1821" y="1821"/>
                  </a:cubicBezTo>
                  <a:cubicBezTo>
                    <a:pt x="2488" y="1146"/>
                    <a:pt x="2016" y="0"/>
                    <a:pt x="1065"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681" name="Google Shape;1681;p104"/>
            <p:cNvSpPr/>
            <p:nvPr/>
          </p:nvSpPr>
          <p:spPr>
            <a:xfrm>
              <a:off x="4504050" y="3094850"/>
              <a:ext cx="62200" cy="53350"/>
            </a:xfrm>
            <a:custGeom>
              <a:avLst/>
              <a:gdLst/>
              <a:ahLst/>
              <a:cxnLst/>
              <a:rect l="l" t="t" r="r" b="b"/>
              <a:pathLst>
                <a:path w="2488" h="2134" extrusionOk="0">
                  <a:moveTo>
                    <a:pt x="1065" y="1"/>
                  </a:moveTo>
                  <a:cubicBezTo>
                    <a:pt x="480" y="1"/>
                    <a:pt x="0" y="480"/>
                    <a:pt x="0" y="1066"/>
                  </a:cubicBezTo>
                  <a:cubicBezTo>
                    <a:pt x="0" y="1709"/>
                    <a:pt x="525" y="2134"/>
                    <a:pt x="1074" y="2134"/>
                  </a:cubicBezTo>
                  <a:cubicBezTo>
                    <a:pt x="1336" y="2134"/>
                    <a:pt x="1603" y="2037"/>
                    <a:pt x="1821" y="1822"/>
                  </a:cubicBezTo>
                  <a:cubicBezTo>
                    <a:pt x="2488" y="1147"/>
                    <a:pt x="2016" y="1"/>
                    <a:pt x="1065"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682" name="Google Shape;1682;p104"/>
            <p:cNvSpPr/>
            <p:nvPr/>
          </p:nvSpPr>
          <p:spPr>
            <a:xfrm>
              <a:off x="4427825" y="3323300"/>
              <a:ext cx="62425" cy="53425"/>
            </a:xfrm>
            <a:custGeom>
              <a:avLst/>
              <a:gdLst/>
              <a:ahLst/>
              <a:cxnLst/>
              <a:rect l="l" t="t" r="r" b="b"/>
              <a:pathLst>
                <a:path w="2497" h="2137" extrusionOk="0">
                  <a:moveTo>
                    <a:pt x="1065" y="0"/>
                  </a:moveTo>
                  <a:cubicBezTo>
                    <a:pt x="480" y="8"/>
                    <a:pt x="9" y="480"/>
                    <a:pt x="1" y="1065"/>
                  </a:cubicBezTo>
                  <a:cubicBezTo>
                    <a:pt x="1" y="1709"/>
                    <a:pt x="526" y="2137"/>
                    <a:pt x="1074" y="2137"/>
                  </a:cubicBezTo>
                  <a:cubicBezTo>
                    <a:pt x="1336" y="2137"/>
                    <a:pt x="1603" y="2039"/>
                    <a:pt x="1822" y="1821"/>
                  </a:cubicBezTo>
                  <a:cubicBezTo>
                    <a:pt x="2496" y="1154"/>
                    <a:pt x="2017" y="0"/>
                    <a:pt x="1065"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683" name="Google Shape;1683;p104"/>
            <p:cNvSpPr/>
            <p:nvPr/>
          </p:nvSpPr>
          <p:spPr>
            <a:xfrm>
              <a:off x="4427825" y="3247075"/>
              <a:ext cx="62425" cy="53450"/>
            </a:xfrm>
            <a:custGeom>
              <a:avLst/>
              <a:gdLst/>
              <a:ahLst/>
              <a:cxnLst/>
              <a:rect l="l" t="t" r="r" b="b"/>
              <a:pathLst>
                <a:path w="2497" h="2138" extrusionOk="0">
                  <a:moveTo>
                    <a:pt x="1065" y="1"/>
                  </a:moveTo>
                  <a:cubicBezTo>
                    <a:pt x="480" y="9"/>
                    <a:pt x="1" y="480"/>
                    <a:pt x="1" y="1074"/>
                  </a:cubicBezTo>
                  <a:cubicBezTo>
                    <a:pt x="1" y="1712"/>
                    <a:pt x="529" y="2137"/>
                    <a:pt x="1077" y="2137"/>
                  </a:cubicBezTo>
                  <a:cubicBezTo>
                    <a:pt x="1339" y="2137"/>
                    <a:pt x="1606" y="2040"/>
                    <a:pt x="1822" y="1822"/>
                  </a:cubicBezTo>
                  <a:cubicBezTo>
                    <a:pt x="2496" y="1155"/>
                    <a:pt x="2017" y="1"/>
                    <a:pt x="1065"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684" name="Google Shape;1684;p104"/>
            <p:cNvSpPr/>
            <p:nvPr/>
          </p:nvSpPr>
          <p:spPr>
            <a:xfrm>
              <a:off x="4427825" y="3171075"/>
              <a:ext cx="62425" cy="53275"/>
            </a:xfrm>
            <a:custGeom>
              <a:avLst/>
              <a:gdLst/>
              <a:ahLst/>
              <a:cxnLst/>
              <a:rect l="l" t="t" r="r" b="b"/>
              <a:pathLst>
                <a:path w="2497" h="2131" extrusionOk="0">
                  <a:moveTo>
                    <a:pt x="1065" y="0"/>
                  </a:moveTo>
                  <a:cubicBezTo>
                    <a:pt x="480" y="0"/>
                    <a:pt x="9" y="472"/>
                    <a:pt x="1" y="1065"/>
                  </a:cubicBezTo>
                  <a:cubicBezTo>
                    <a:pt x="1" y="1707"/>
                    <a:pt x="523" y="2131"/>
                    <a:pt x="1070" y="2131"/>
                  </a:cubicBezTo>
                  <a:cubicBezTo>
                    <a:pt x="1333" y="2131"/>
                    <a:pt x="1602" y="2032"/>
                    <a:pt x="1822" y="1813"/>
                  </a:cubicBezTo>
                  <a:cubicBezTo>
                    <a:pt x="2496" y="1146"/>
                    <a:pt x="2017" y="0"/>
                    <a:pt x="1065"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685" name="Google Shape;1685;p104"/>
            <p:cNvSpPr/>
            <p:nvPr/>
          </p:nvSpPr>
          <p:spPr>
            <a:xfrm>
              <a:off x="4427825" y="3094850"/>
              <a:ext cx="62425" cy="53350"/>
            </a:xfrm>
            <a:custGeom>
              <a:avLst/>
              <a:gdLst/>
              <a:ahLst/>
              <a:cxnLst/>
              <a:rect l="l" t="t" r="r" b="b"/>
              <a:pathLst>
                <a:path w="2497" h="2134" extrusionOk="0">
                  <a:moveTo>
                    <a:pt x="1065" y="1"/>
                  </a:moveTo>
                  <a:cubicBezTo>
                    <a:pt x="480" y="1"/>
                    <a:pt x="1" y="480"/>
                    <a:pt x="1" y="1066"/>
                  </a:cubicBezTo>
                  <a:cubicBezTo>
                    <a:pt x="1" y="1709"/>
                    <a:pt x="526" y="2134"/>
                    <a:pt x="1075" y="2134"/>
                  </a:cubicBezTo>
                  <a:cubicBezTo>
                    <a:pt x="1336" y="2134"/>
                    <a:pt x="1604" y="2037"/>
                    <a:pt x="1822" y="1822"/>
                  </a:cubicBezTo>
                  <a:cubicBezTo>
                    <a:pt x="2496" y="1147"/>
                    <a:pt x="2017" y="1"/>
                    <a:pt x="1065"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686" name="Google Shape;1686;p104"/>
            <p:cNvSpPr/>
            <p:nvPr/>
          </p:nvSpPr>
          <p:spPr>
            <a:xfrm>
              <a:off x="4427825" y="3018650"/>
              <a:ext cx="62425" cy="53425"/>
            </a:xfrm>
            <a:custGeom>
              <a:avLst/>
              <a:gdLst/>
              <a:ahLst/>
              <a:cxnLst/>
              <a:rect l="l" t="t" r="r" b="b"/>
              <a:pathLst>
                <a:path w="2497" h="2137" extrusionOk="0">
                  <a:moveTo>
                    <a:pt x="1065" y="0"/>
                  </a:moveTo>
                  <a:cubicBezTo>
                    <a:pt x="480" y="0"/>
                    <a:pt x="1" y="480"/>
                    <a:pt x="1" y="1065"/>
                  </a:cubicBezTo>
                  <a:cubicBezTo>
                    <a:pt x="1" y="1709"/>
                    <a:pt x="529" y="2137"/>
                    <a:pt x="1078" y="2137"/>
                  </a:cubicBezTo>
                  <a:cubicBezTo>
                    <a:pt x="1340" y="2137"/>
                    <a:pt x="1606" y="2039"/>
                    <a:pt x="1822" y="1821"/>
                  </a:cubicBezTo>
                  <a:cubicBezTo>
                    <a:pt x="2496" y="1146"/>
                    <a:pt x="2017" y="0"/>
                    <a:pt x="1065"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687" name="Google Shape;1687;p104"/>
            <p:cNvSpPr/>
            <p:nvPr/>
          </p:nvSpPr>
          <p:spPr>
            <a:xfrm>
              <a:off x="4351600" y="3399500"/>
              <a:ext cx="62425" cy="53350"/>
            </a:xfrm>
            <a:custGeom>
              <a:avLst/>
              <a:gdLst/>
              <a:ahLst/>
              <a:cxnLst/>
              <a:rect l="l" t="t" r="r" b="b"/>
              <a:pathLst>
                <a:path w="2497" h="2134" extrusionOk="0">
                  <a:moveTo>
                    <a:pt x="1074" y="1"/>
                  </a:moveTo>
                  <a:cubicBezTo>
                    <a:pt x="481" y="1"/>
                    <a:pt x="9" y="480"/>
                    <a:pt x="1" y="1066"/>
                  </a:cubicBezTo>
                  <a:cubicBezTo>
                    <a:pt x="1" y="1709"/>
                    <a:pt x="530" y="2134"/>
                    <a:pt x="1079" y="2134"/>
                  </a:cubicBezTo>
                  <a:cubicBezTo>
                    <a:pt x="1340" y="2134"/>
                    <a:pt x="1607" y="2037"/>
                    <a:pt x="1822" y="1822"/>
                  </a:cubicBezTo>
                  <a:cubicBezTo>
                    <a:pt x="2497" y="1147"/>
                    <a:pt x="2017" y="1"/>
                    <a:pt x="1074"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688" name="Google Shape;1688;p104"/>
            <p:cNvSpPr/>
            <p:nvPr/>
          </p:nvSpPr>
          <p:spPr>
            <a:xfrm>
              <a:off x="4351600" y="3323300"/>
              <a:ext cx="62425" cy="53425"/>
            </a:xfrm>
            <a:custGeom>
              <a:avLst/>
              <a:gdLst/>
              <a:ahLst/>
              <a:cxnLst/>
              <a:rect l="l" t="t" r="r" b="b"/>
              <a:pathLst>
                <a:path w="2497" h="2137" extrusionOk="0">
                  <a:moveTo>
                    <a:pt x="1074" y="0"/>
                  </a:moveTo>
                  <a:cubicBezTo>
                    <a:pt x="481" y="0"/>
                    <a:pt x="9" y="480"/>
                    <a:pt x="1" y="1065"/>
                  </a:cubicBezTo>
                  <a:cubicBezTo>
                    <a:pt x="1" y="1709"/>
                    <a:pt x="530" y="2137"/>
                    <a:pt x="1078" y="2137"/>
                  </a:cubicBezTo>
                  <a:cubicBezTo>
                    <a:pt x="1340" y="2137"/>
                    <a:pt x="1607" y="2039"/>
                    <a:pt x="1822" y="1821"/>
                  </a:cubicBezTo>
                  <a:cubicBezTo>
                    <a:pt x="2497" y="1154"/>
                    <a:pt x="2017" y="0"/>
                    <a:pt x="1074"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689" name="Google Shape;1689;p104"/>
            <p:cNvSpPr/>
            <p:nvPr/>
          </p:nvSpPr>
          <p:spPr>
            <a:xfrm>
              <a:off x="4351600" y="3094850"/>
              <a:ext cx="62425" cy="53350"/>
            </a:xfrm>
            <a:custGeom>
              <a:avLst/>
              <a:gdLst/>
              <a:ahLst/>
              <a:cxnLst/>
              <a:rect l="l" t="t" r="r" b="b"/>
              <a:pathLst>
                <a:path w="2497" h="2134" extrusionOk="0">
                  <a:moveTo>
                    <a:pt x="1074" y="1"/>
                  </a:moveTo>
                  <a:cubicBezTo>
                    <a:pt x="481" y="1"/>
                    <a:pt x="9" y="480"/>
                    <a:pt x="1" y="1066"/>
                  </a:cubicBezTo>
                  <a:cubicBezTo>
                    <a:pt x="1" y="1709"/>
                    <a:pt x="530" y="2134"/>
                    <a:pt x="1079" y="2134"/>
                  </a:cubicBezTo>
                  <a:cubicBezTo>
                    <a:pt x="1340" y="2134"/>
                    <a:pt x="1607" y="2037"/>
                    <a:pt x="1822" y="1822"/>
                  </a:cubicBezTo>
                  <a:cubicBezTo>
                    <a:pt x="2497" y="1147"/>
                    <a:pt x="2017" y="1"/>
                    <a:pt x="1074"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690" name="Google Shape;1690;p104"/>
            <p:cNvSpPr/>
            <p:nvPr/>
          </p:nvSpPr>
          <p:spPr>
            <a:xfrm>
              <a:off x="4351600" y="3018650"/>
              <a:ext cx="62425" cy="53425"/>
            </a:xfrm>
            <a:custGeom>
              <a:avLst/>
              <a:gdLst/>
              <a:ahLst/>
              <a:cxnLst/>
              <a:rect l="l" t="t" r="r" b="b"/>
              <a:pathLst>
                <a:path w="2497" h="2137" extrusionOk="0">
                  <a:moveTo>
                    <a:pt x="1074" y="0"/>
                  </a:moveTo>
                  <a:cubicBezTo>
                    <a:pt x="481" y="0"/>
                    <a:pt x="9" y="480"/>
                    <a:pt x="1" y="1065"/>
                  </a:cubicBezTo>
                  <a:cubicBezTo>
                    <a:pt x="1" y="1709"/>
                    <a:pt x="530" y="2137"/>
                    <a:pt x="1078" y="2137"/>
                  </a:cubicBezTo>
                  <a:cubicBezTo>
                    <a:pt x="1340" y="2137"/>
                    <a:pt x="1607" y="2039"/>
                    <a:pt x="1822" y="1821"/>
                  </a:cubicBezTo>
                  <a:cubicBezTo>
                    <a:pt x="2497" y="1146"/>
                    <a:pt x="2017" y="0"/>
                    <a:pt x="1074"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691" name="Google Shape;1691;p104"/>
            <p:cNvSpPr/>
            <p:nvPr/>
          </p:nvSpPr>
          <p:spPr>
            <a:xfrm>
              <a:off x="4351600" y="2942425"/>
              <a:ext cx="62425" cy="53450"/>
            </a:xfrm>
            <a:custGeom>
              <a:avLst/>
              <a:gdLst/>
              <a:ahLst/>
              <a:cxnLst/>
              <a:rect l="l" t="t" r="r" b="b"/>
              <a:pathLst>
                <a:path w="2497" h="2138" extrusionOk="0">
                  <a:moveTo>
                    <a:pt x="1074" y="1"/>
                  </a:moveTo>
                  <a:cubicBezTo>
                    <a:pt x="481" y="1"/>
                    <a:pt x="9" y="480"/>
                    <a:pt x="1" y="1066"/>
                  </a:cubicBezTo>
                  <a:cubicBezTo>
                    <a:pt x="1" y="1709"/>
                    <a:pt x="530" y="2137"/>
                    <a:pt x="1078" y="2137"/>
                  </a:cubicBezTo>
                  <a:cubicBezTo>
                    <a:pt x="1340" y="2137"/>
                    <a:pt x="1607" y="2040"/>
                    <a:pt x="1822" y="1822"/>
                  </a:cubicBezTo>
                  <a:cubicBezTo>
                    <a:pt x="2497" y="1155"/>
                    <a:pt x="2017" y="1"/>
                    <a:pt x="1074"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692" name="Google Shape;1692;p104"/>
            <p:cNvSpPr/>
            <p:nvPr/>
          </p:nvSpPr>
          <p:spPr>
            <a:xfrm>
              <a:off x="4275600" y="3780375"/>
              <a:ext cx="62425" cy="53425"/>
            </a:xfrm>
            <a:custGeom>
              <a:avLst/>
              <a:gdLst/>
              <a:ahLst/>
              <a:cxnLst/>
              <a:rect l="l" t="t" r="r" b="b"/>
              <a:pathLst>
                <a:path w="2497" h="2137" extrusionOk="0">
                  <a:moveTo>
                    <a:pt x="1066" y="0"/>
                  </a:moveTo>
                  <a:cubicBezTo>
                    <a:pt x="472" y="0"/>
                    <a:pt x="1" y="480"/>
                    <a:pt x="1" y="1065"/>
                  </a:cubicBezTo>
                  <a:cubicBezTo>
                    <a:pt x="1" y="1709"/>
                    <a:pt x="526" y="2137"/>
                    <a:pt x="1074" y="2137"/>
                  </a:cubicBezTo>
                  <a:cubicBezTo>
                    <a:pt x="1336" y="2137"/>
                    <a:pt x="1604" y="2039"/>
                    <a:pt x="1822" y="1821"/>
                  </a:cubicBezTo>
                  <a:cubicBezTo>
                    <a:pt x="2496" y="1146"/>
                    <a:pt x="2017" y="0"/>
                    <a:pt x="1066"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693" name="Google Shape;1693;p104"/>
            <p:cNvSpPr/>
            <p:nvPr/>
          </p:nvSpPr>
          <p:spPr>
            <a:xfrm>
              <a:off x="4275600" y="3704150"/>
              <a:ext cx="62225" cy="53450"/>
            </a:xfrm>
            <a:custGeom>
              <a:avLst/>
              <a:gdLst/>
              <a:ahLst/>
              <a:cxnLst/>
              <a:rect l="l" t="t" r="r" b="b"/>
              <a:pathLst>
                <a:path w="2489" h="2138" extrusionOk="0">
                  <a:moveTo>
                    <a:pt x="1066" y="1"/>
                  </a:moveTo>
                  <a:cubicBezTo>
                    <a:pt x="472" y="1"/>
                    <a:pt x="1" y="480"/>
                    <a:pt x="1" y="1066"/>
                  </a:cubicBezTo>
                  <a:cubicBezTo>
                    <a:pt x="1" y="1709"/>
                    <a:pt x="526" y="2137"/>
                    <a:pt x="1072" y="2137"/>
                  </a:cubicBezTo>
                  <a:cubicBezTo>
                    <a:pt x="1333" y="2137"/>
                    <a:pt x="1598" y="2040"/>
                    <a:pt x="1813" y="1822"/>
                  </a:cubicBezTo>
                  <a:cubicBezTo>
                    <a:pt x="2488" y="1147"/>
                    <a:pt x="2017" y="1"/>
                    <a:pt x="1066"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694" name="Google Shape;1694;p104"/>
            <p:cNvSpPr/>
            <p:nvPr/>
          </p:nvSpPr>
          <p:spPr>
            <a:xfrm>
              <a:off x="4275600" y="3627950"/>
              <a:ext cx="62225" cy="53425"/>
            </a:xfrm>
            <a:custGeom>
              <a:avLst/>
              <a:gdLst/>
              <a:ahLst/>
              <a:cxnLst/>
              <a:rect l="l" t="t" r="r" b="b"/>
              <a:pathLst>
                <a:path w="2489" h="2137" extrusionOk="0">
                  <a:moveTo>
                    <a:pt x="1066" y="0"/>
                  </a:moveTo>
                  <a:cubicBezTo>
                    <a:pt x="472" y="8"/>
                    <a:pt x="1" y="480"/>
                    <a:pt x="1" y="1073"/>
                  </a:cubicBezTo>
                  <a:cubicBezTo>
                    <a:pt x="1" y="1711"/>
                    <a:pt x="525" y="2137"/>
                    <a:pt x="1073" y="2137"/>
                  </a:cubicBezTo>
                  <a:cubicBezTo>
                    <a:pt x="1336" y="2137"/>
                    <a:pt x="1603" y="2039"/>
                    <a:pt x="1822" y="1821"/>
                  </a:cubicBezTo>
                  <a:cubicBezTo>
                    <a:pt x="2488" y="1154"/>
                    <a:pt x="2017" y="0"/>
                    <a:pt x="1066"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695" name="Google Shape;1695;p104"/>
            <p:cNvSpPr/>
            <p:nvPr/>
          </p:nvSpPr>
          <p:spPr>
            <a:xfrm>
              <a:off x="4275600" y="3551925"/>
              <a:ext cx="62225" cy="53250"/>
            </a:xfrm>
            <a:custGeom>
              <a:avLst/>
              <a:gdLst/>
              <a:ahLst/>
              <a:cxnLst/>
              <a:rect l="l" t="t" r="r" b="b"/>
              <a:pathLst>
                <a:path w="2489" h="2130" extrusionOk="0">
                  <a:moveTo>
                    <a:pt x="1066" y="1"/>
                  </a:moveTo>
                  <a:cubicBezTo>
                    <a:pt x="472" y="1"/>
                    <a:pt x="1" y="472"/>
                    <a:pt x="1" y="1066"/>
                  </a:cubicBezTo>
                  <a:cubicBezTo>
                    <a:pt x="1" y="1704"/>
                    <a:pt x="525" y="2129"/>
                    <a:pt x="1071" y="2129"/>
                  </a:cubicBezTo>
                  <a:cubicBezTo>
                    <a:pt x="1332" y="2129"/>
                    <a:pt x="1598" y="2032"/>
                    <a:pt x="1813" y="1814"/>
                  </a:cubicBezTo>
                  <a:cubicBezTo>
                    <a:pt x="2488" y="1147"/>
                    <a:pt x="2017" y="1"/>
                    <a:pt x="1066"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696" name="Google Shape;1696;p104"/>
            <p:cNvSpPr/>
            <p:nvPr/>
          </p:nvSpPr>
          <p:spPr>
            <a:xfrm>
              <a:off x="4275600" y="3475725"/>
              <a:ext cx="62225" cy="53350"/>
            </a:xfrm>
            <a:custGeom>
              <a:avLst/>
              <a:gdLst/>
              <a:ahLst/>
              <a:cxnLst/>
              <a:rect l="l" t="t" r="r" b="b"/>
              <a:pathLst>
                <a:path w="2489" h="2134" extrusionOk="0">
                  <a:moveTo>
                    <a:pt x="1066" y="0"/>
                  </a:moveTo>
                  <a:cubicBezTo>
                    <a:pt x="472" y="0"/>
                    <a:pt x="1" y="480"/>
                    <a:pt x="1" y="1065"/>
                  </a:cubicBezTo>
                  <a:cubicBezTo>
                    <a:pt x="1" y="1709"/>
                    <a:pt x="526" y="2133"/>
                    <a:pt x="1075" y="2133"/>
                  </a:cubicBezTo>
                  <a:cubicBezTo>
                    <a:pt x="1336" y="2133"/>
                    <a:pt x="1604" y="2037"/>
                    <a:pt x="1822" y="1821"/>
                  </a:cubicBezTo>
                  <a:cubicBezTo>
                    <a:pt x="2488" y="1146"/>
                    <a:pt x="2017" y="0"/>
                    <a:pt x="1066"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697" name="Google Shape;1697;p104"/>
            <p:cNvSpPr/>
            <p:nvPr/>
          </p:nvSpPr>
          <p:spPr>
            <a:xfrm>
              <a:off x="4275600" y="3399500"/>
              <a:ext cx="62225" cy="53350"/>
            </a:xfrm>
            <a:custGeom>
              <a:avLst/>
              <a:gdLst/>
              <a:ahLst/>
              <a:cxnLst/>
              <a:rect l="l" t="t" r="r" b="b"/>
              <a:pathLst>
                <a:path w="2489" h="2134" extrusionOk="0">
                  <a:moveTo>
                    <a:pt x="1066" y="1"/>
                  </a:moveTo>
                  <a:cubicBezTo>
                    <a:pt x="472" y="1"/>
                    <a:pt x="1" y="480"/>
                    <a:pt x="1" y="1066"/>
                  </a:cubicBezTo>
                  <a:cubicBezTo>
                    <a:pt x="1" y="1709"/>
                    <a:pt x="526" y="2134"/>
                    <a:pt x="1075" y="2134"/>
                  </a:cubicBezTo>
                  <a:cubicBezTo>
                    <a:pt x="1336" y="2134"/>
                    <a:pt x="1604" y="2037"/>
                    <a:pt x="1822" y="1822"/>
                  </a:cubicBezTo>
                  <a:cubicBezTo>
                    <a:pt x="2488" y="1147"/>
                    <a:pt x="2017" y="1"/>
                    <a:pt x="1066"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698" name="Google Shape;1698;p104"/>
            <p:cNvSpPr/>
            <p:nvPr/>
          </p:nvSpPr>
          <p:spPr>
            <a:xfrm>
              <a:off x="4275600" y="2942425"/>
              <a:ext cx="62225" cy="53450"/>
            </a:xfrm>
            <a:custGeom>
              <a:avLst/>
              <a:gdLst/>
              <a:ahLst/>
              <a:cxnLst/>
              <a:rect l="l" t="t" r="r" b="b"/>
              <a:pathLst>
                <a:path w="2489" h="2138" extrusionOk="0">
                  <a:moveTo>
                    <a:pt x="1066" y="1"/>
                  </a:moveTo>
                  <a:cubicBezTo>
                    <a:pt x="472" y="9"/>
                    <a:pt x="1" y="480"/>
                    <a:pt x="1" y="1066"/>
                  </a:cubicBezTo>
                  <a:cubicBezTo>
                    <a:pt x="1" y="1709"/>
                    <a:pt x="526" y="2137"/>
                    <a:pt x="1072" y="2137"/>
                  </a:cubicBezTo>
                  <a:cubicBezTo>
                    <a:pt x="1333" y="2137"/>
                    <a:pt x="1598" y="2040"/>
                    <a:pt x="1813" y="1822"/>
                  </a:cubicBezTo>
                  <a:cubicBezTo>
                    <a:pt x="2488" y="1147"/>
                    <a:pt x="2017" y="1"/>
                    <a:pt x="1066"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699" name="Google Shape;1699;p104"/>
            <p:cNvSpPr/>
            <p:nvPr/>
          </p:nvSpPr>
          <p:spPr>
            <a:xfrm>
              <a:off x="4275600" y="2866425"/>
              <a:ext cx="62225" cy="53275"/>
            </a:xfrm>
            <a:custGeom>
              <a:avLst/>
              <a:gdLst/>
              <a:ahLst/>
              <a:cxnLst/>
              <a:rect l="l" t="t" r="r" b="b"/>
              <a:pathLst>
                <a:path w="2489" h="2131" extrusionOk="0">
                  <a:moveTo>
                    <a:pt x="1066" y="0"/>
                  </a:moveTo>
                  <a:cubicBezTo>
                    <a:pt x="472" y="0"/>
                    <a:pt x="1" y="472"/>
                    <a:pt x="1" y="1065"/>
                  </a:cubicBezTo>
                  <a:cubicBezTo>
                    <a:pt x="1" y="1707"/>
                    <a:pt x="523" y="2131"/>
                    <a:pt x="1070" y="2131"/>
                  </a:cubicBezTo>
                  <a:cubicBezTo>
                    <a:pt x="1333" y="2131"/>
                    <a:pt x="1602" y="2032"/>
                    <a:pt x="1822" y="1813"/>
                  </a:cubicBezTo>
                  <a:cubicBezTo>
                    <a:pt x="2488" y="1146"/>
                    <a:pt x="2017" y="0"/>
                    <a:pt x="1066"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700" name="Google Shape;1700;p104"/>
            <p:cNvSpPr/>
            <p:nvPr/>
          </p:nvSpPr>
          <p:spPr>
            <a:xfrm>
              <a:off x="4199400" y="3856775"/>
              <a:ext cx="62200" cy="53250"/>
            </a:xfrm>
            <a:custGeom>
              <a:avLst/>
              <a:gdLst/>
              <a:ahLst/>
              <a:cxnLst/>
              <a:rect l="l" t="t" r="r" b="b"/>
              <a:pathLst>
                <a:path w="2488" h="2130" extrusionOk="0">
                  <a:moveTo>
                    <a:pt x="1065" y="1"/>
                  </a:moveTo>
                  <a:cubicBezTo>
                    <a:pt x="480" y="1"/>
                    <a:pt x="0" y="472"/>
                    <a:pt x="0" y="1066"/>
                  </a:cubicBezTo>
                  <a:cubicBezTo>
                    <a:pt x="0" y="1704"/>
                    <a:pt x="524" y="2129"/>
                    <a:pt x="1073" y="2129"/>
                  </a:cubicBezTo>
                  <a:cubicBezTo>
                    <a:pt x="1335" y="2129"/>
                    <a:pt x="1603" y="2032"/>
                    <a:pt x="1821" y="1814"/>
                  </a:cubicBezTo>
                  <a:cubicBezTo>
                    <a:pt x="2488" y="1147"/>
                    <a:pt x="2016" y="1"/>
                    <a:pt x="1065"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701" name="Google Shape;1701;p104"/>
            <p:cNvSpPr/>
            <p:nvPr/>
          </p:nvSpPr>
          <p:spPr>
            <a:xfrm>
              <a:off x="4199400" y="3780375"/>
              <a:ext cx="62400" cy="53425"/>
            </a:xfrm>
            <a:custGeom>
              <a:avLst/>
              <a:gdLst/>
              <a:ahLst/>
              <a:cxnLst/>
              <a:rect l="l" t="t" r="r" b="b"/>
              <a:pathLst>
                <a:path w="2496" h="2137" extrusionOk="0">
                  <a:moveTo>
                    <a:pt x="1065" y="0"/>
                  </a:moveTo>
                  <a:cubicBezTo>
                    <a:pt x="480" y="0"/>
                    <a:pt x="0" y="480"/>
                    <a:pt x="0" y="1065"/>
                  </a:cubicBezTo>
                  <a:cubicBezTo>
                    <a:pt x="0" y="1709"/>
                    <a:pt x="529" y="2137"/>
                    <a:pt x="1077" y="2137"/>
                  </a:cubicBezTo>
                  <a:cubicBezTo>
                    <a:pt x="1339" y="2137"/>
                    <a:pt x="1606" y="2039"/>
                    <a:pt x="1821" y="1821"/>
                  </a:cubicBezTo>
                  <a:cubicBezTo>
                    <a:pt x="2496" y="1146"/>
                    <a:pt x="2016" y="0"/>
                    <a:pt x="1065"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702" name="Google Shape;1702;p104"/>
            <p:cNvSpPr/>
            <p:nvPr/>
          </p:nvSpPr>
          <p:spPr>
            <a:xfrm>
              <a:off x="4199400" y="2866425"/>
              <a:ext cx="62200" cy="53275"/>
            </a:xfrm>
            <a:custGeom>
              <a:avLst/>
              <a:gdLst/>
              <a:ahLst/>
              <a:cxnLst/>
              <a:rect l="l" t="t" r="r" b="b"/>
              <a:pathLst>
                <a:path w="2488" h="2131" extrusionOk="0">
                  <a:moveTo>
                    <a:pt x="1065" y="0"/>
                  </a:moveTo>
                  <a:cubicBezTo>
                    <a:pt x="480" y="0"/>
                    <a:pt x="0" y="472"/>
                    <a:pt x="0" y="1065"/>
                  </a:cubicBezTo>
                  <a:cubicBezTo>
                    <a:pt x="0" y="1707"/>
                    <a:pt x="522" y="2131"/>
                    <a:pt x="1069" y="2131"/>
                  </a:cubicBezTo>
                  <a:cubicBezTo>
                    <a:pt x="1333" y="2131"/>
                    <a:pt x="1602" y="2032"/>
                    <a:pt x="1821" y="1813"/>
                  </a:cubicBezTo>
                  <a:cubicBezTo>
                    <a:pt x="2488" y="1146"/>
                    <a:pt x="2016" y="0"/>
                    <a:pt x="1065"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703" name="Google Shape;1703;p104"/>
            <p:cNvSpPr/>
            <p:nvPr/>
          </p:nvSpPr>
          <p:spPr>
            <a:xfrm>
              <a:off x="4199400" y="2790200"/>
              <a:ext cx="62200" cy="53350"/>
            </a:xfrm>
            <a:custGeom>
              <a:avLst/>
              <a:gdLst/>
              <a:ahLst/>
              <a:cxnLst/>
              <a:rect l="l" t="t" r="r" b="b"/>
              <a:pathLst>
                <a:path w="2488" h="2134" extrusionOk="0">
                  <a:moveTo>
                    <a:pt x="1065" y="1"/>
                  </a:moveTo>
                  <a:cubicBezTo>
                    <a:pt x="480" y="1"/>
                    <a:pt x="0" y="480"/>
                    <a:pt x="0" y="1066"/>
                  </a:cubicBezTo>
                  <a:cubicBezTo>
                    <a:pt x="0" y="1709"/>
                    <a:pt x="525" y="2134"/>
                    <a:pt x="1074" y="2134"/>
                  </a:cubicBezTo>
                  <a:cubicBezTo>
                    <a:pt x="1336" y="2134"/>
                    <a:pt x="1603" y="2037"/>
                    <a:pt x="1821" y="1822"/>
                  </a:cubicBezTo>
                  <a:cubicBezTo>
                    <a:pt x="2488" y="1147"/>
                    <a:pt x="2016" y="1"/>
                    <a:pt x="1065"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704" name="Google Shape;1704;p104"/>
            <p:cNvSpPr/>
            <p:nvPr/>
          </p:nvSpPr>
          <p:spPr>
            <a:xfrm>
              <a:off x="4123175" y="4085225"/>
              <a:ext cx="62425" cy="53350"/>
            </a:xfrm>
            <a:custGeom>
              <a:avLst/>
              <a:gdLst/>
              <a:ahLst/>
              <a:cxnLst/>
              <a:rect l="l" t="t" r="r" b="b"/>
              <a:pathLst>
                <a:path w="2497" h="2134" extrusionOk="0">
                  <a:moveTo>
                    <a:pt x="1065" y="0"/>
                  </a:moveTo>
                  <a:cubicBezTo>
                    <a:pt x="480" y="0"/>
                    <a:pt x="0" y="480"/>
                    <a:pt x="0" y="1065"/>
                  </a:cubicBezTo>
                  <a:cubicBezTo>
                    <a:pt x="0" y="1709"/>
                    <a:pt x="526" y="2133"/>
                    <a:pt x="1074" y="2133"/>
                  </a:cubicBezTo>
                  <a:cubicBezTo>
                    <a:pt x="1336" y="2133"/>
                    <a:pt x="1604" y="2037"/>
                    <a:pt x="1821" y="1821"/>
                  </a:cubicBezTo>
                  <a:cubicBezTo>
                    <a:pt x="2496" y="1147"/>
                    <a:pt x="2017" y="0"/>
                    <a:pt x="1065"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705" name="Google Shape;1705;p104"/>
            <p:cNvSpPr/>
            <p:nvPr/>
          </p:nvSpPr>
          <p:spPr>
            <a:xfrm>
              <a:off x="4123175" y="4009000"/>
              <a:ext cx="62425" cy="53350"/>
            </a:xfrm>
            <a:custGeom>
              <a:avLst/>
              <a:gdLst/>
              <a:ahLst/>
              <a:cxnLst/>
              <a:rect l="l" t="t" r="r" b="b"/>
              <a:pathLst>
                <a:path w="2497" h="2134" extrusionOk="0">
                  <a:moveTo>
                    <a:pt x="1065" y="1"/>
                  </a:moveTo>
                  <a:cubicBezTo>
                    <a:pt x="480" y="1"/>
                    <a:pt x="0" y="480"/>
                    <a:pt x="0" y="1066"/>
                  </a:cubicBezTo>
                  <a:cubicBezTo>
                    <a:pt x="0" y="1710"/>
                    <a:pt x="526" y="2134"/>
                    <a:pt x="1074" y="2134"/>
                  </a:cubicBezTo>
                  <a:cubicBezTo>
                    <a:pt x="1336" y="2134"/>
                    <a:pt x="1604" y="2037"/>
                    <a:pt x="1821" y="1822"/>
                  </a:cubicBezTo>
                  <a:cubicBezTo>
                    <a:pt x="2496" y="1147"/>
                    <a:pt x="2017" y="1"/>
                    <a:pt x="1065"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706" name="Google Shape;1706;p104"/>
            <p:cNvSpPr/>
            <p:nvPr/>
          </p:nvSpPr>
          <p:spPr>
            <a:xfrm>
              <a:off x="4123175" y="3932800"/>
              <a:ext cx="62425" cy="53425"/>
            </a:xfrm>
            <a:custGeom>
              <a:avLst/>
              <a:gdLst/>
              <a:ahLst/>
              <a:cxnLst/>
              <a:rect l="l" t="t" r="r" b="b"/>
              <a:pathLst>
                <a:path w="2497" h="2137" extrusionOk="0">
                  <a:moveTo>
                    <a:pt x="1065" y="0"/>
                  </a:moveTo>
                  <a:cubicBezTo>
                    <a:pt x="480" y="0"/>
                    <a:pt x="0" y="480"/>
                    <a:pt x="0" y="1065"/>
                  </a:cubicBezTo>
                  <a:cubicBezTo>
                    <a:pt x="0" y="1709"/>
                    <a:pt x="526" y="2137"/>
                    <a:pt x="1074" y="2137"/>
                  </a:cubicBezTo>
                  <a:cubicBezTo>
                    <a:pt x="1336" y="2137"/>
                    <a:pt x="1603" y="2039"/>
                    <a:pt x="1821" y="1821"/>
                  </a:cubicBezTo>
                  <a:cubicBezTo>
                    <a:pt x="2496" y="1155"/>
                    <a:pt x="2017" y="0"/>
                    <a:pt x="1065"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707" name="Google Shape;1707;p104"/>
            <p:cNvSpPr/>
            <p:nvPr/>
          </p:nvSpPr>
          <p:spPr>
            <a:xfrm>
              <a:off x="4123175" y="3856775"/>
              <a:ext cx="62425" cy="53250"/>
            </a:xfrm>
            <a:custGeom>
              <a:avLst/>
              <a:gdLst/>
              <a:ahLst/>
              <a:cxnLst/>
              <a:rect l="l" t="t" r="r" b="b"/>
              <a:pathLst>
                <a:path w="2497" h="2130" extrusionOk="0">
                  <a:moveTo>
                    <a:pt x="1065" y="1"/>
                  </a:moveTo>
                  <a:cubicBezTo>
                    <a:pt x="480" y="1"/>
                    <a:pt x="0" y="472"/>
                    <a:pt x="0" y="1066"/>
                  </a:cubicBezTo>
                  <a:cubicBezTo>
                    <a:pt x="0" y="1704"/>
                    <a:pt x="525" y="2129"/>
                    <a:pt x="1073" y="2129"/>
                  </a:cubicBezTo>
                  <a:cubicBezTo>
                    <a:pt x="1335" y="2129"/>
                    <a:pt x="1603" y="2032"/>
                    <a:pt x="1821" y="1814"/>
                  </a:cubicBezTo>
                  <a:cubicBezTo>
                    <a:pt x="2496" y="1147"/>
                    <a:pt x="2017" y="1"/>
                    <a:pt x="1065"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708" name="Google Shape;1708;p104"/>
            <p:cNvSpPr/>
            <p:nvPr/>
          </p:nvSpPr>
          <p:spPr>
            <a:xfrm>
              <a:off x="4123175" y="2714000"/>
              <a:ext cx="62425" cy="53350"/>
            </a:xfrm>
            <a:custGeom>
              <a:avLst/>
              <a:gdLst/>
              <a:ahLst/>
              <a:cxnLst/>
              <a:rect l="l" t="t" r="r" b="b"/>
              <a:pathLst>
                <a:path w="2497" h="2134" extrusionOk="0">
                  <a:moveTo>
                    <a:pt x="1065" y="0"/>
                  </a:moveTo>
                  <a:cubicBezTo>
                    <a:pt x="480" y="0"/>
                    <a:pt x="0" y="480"/>
                    <a:pt x="0" y="1065"/>
                  </a:cubicBezTo>
                  <a:cubicBezTo>
                    <a:pt x="0" y="1709"/>
                    <a:pt x="526" y="2133"/>
                    <a:pt x="1074" y="2133"/>
                  </a:cubicBezTo>
                  <a:cubicBezTo>
                    <a:pt x="1336" y="2133"/>
                    <a:pt x="1604" y="2036"/>
                    <a:pt x="1821" y="1821"/>
                  </a:cubicBezTo>
                  <a:cubicBezTo>
                    <a:pt x="2496" y="1146"/>
                    <a:pt x="2017" y="0"/>
                    <a:pt x="1065"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709" name="Google Shape;1709;p104"/>
            <p:cNvSpPr/>
            <p:nvPr/>
          </p:nvSpPr>
          <p:spPr>
            <a:xfrm>
              <a:off x="4046950" y="4085225"/>
              <a:ext cx="62425" cy="53350"/>
            </a:xfrm>
            <a:custGeom>
              <a:avLst/>
              <a:gdLst/>
              <a:ahLst/>
              <a:cxnLst/>
              <a:rect l="l" t="t" r="r" b="b"/>
              <a:pathLst>
                <a:path w="2497" h="2134" extrusionOk="0">
                  <a:moveTo>
                    <a:pt x="1074" y="0"/>
                  </a:moveTo>
                  <a:cubicBezTo>
                    <a:pt x="481" y="0"/>
                    <a:pt x="9" y="480"/>
                    <a:pt x="1" y="1065"/>
                  </a:cubicBezTo>
                  <a:cubicBezTo>
                    <a:pt x="1" y="1709"/>
                    <a:pt x="530" y="2133"/>
                    <a:pt x="1079" y="2133"/>
                  </a:cubicBezTo>
                  <a:cubicBezTo>
                    <a:pt x="1340" y="2133"/>
                    <a:pt x="1607" y="2037"/>
                    <a:pt x="1822" y="1821"/>
                  </a:cubicBezTo>
                  <a:cubicBezTo>
                    <a:pt x="2497" y="1147"/>
                    <a:pt x="2017" y="0"/>
                    <a:pt x="1074"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710" name="Google Shape;1710;p104"/>
            <p:cNvSpPr/>
            <p:nvPr/>
          </p:nvSpPr>
          <p:spPr>
            <a:xfrm>
              <a:off x="4046950" y="2714000"/>
              <a:ext cx="62425" cy="53350"/>
            </a:xfrm>
            <a:custGeom>
              <a:avLst/>
              <a:gdLst/>
              <a:ahLst/>
              <a:cxnLst/>
              <a:rect l="l" t="t" r="r" b="b"/>
              <a:pathLst>
                <a:path w="2497" h="2134" extrusionOk="0">
                  <a:moveTo>
                    <a:pt x="1074" y="0"/>
                  </a:moveTo>
                  <a:cubicBezTo>
                    <a:pt x="481" y="0"/>
                    <a:pt x="9" y="480"/>
                    <a:pt x="1" y="1065"/>
                  </a:cubicBezTo>
                  <a:cubicBezTo>
                    <a:pt x="1" y="1709"/>
                    <a:pt x="530" y="2133"/>
                    <a:pt x="1079" y="2133"/>
                  </a:cubicBezTo>
                  <a:cubicBezTo>
                    <a:pt x="1340" y="2133"/>
                    <a:pt x="1607" y="2036"/>
                    <a:pt x="1822" y="1821"/>
                  </a:cubicBezTo>
                  <a:cubicBezTo>
                    <a:pt x="2497" y="1146"/>
                    <a:pt x="2017" y="0"/>
                    <a:pt x="1074"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711" name="Google Shape;1711;p104"/>
            <p:cNvSpPr/>
            <p:nvPr/>
          </p:nvSpPr>
          <p:spPr>
            <a:xfrm>
              <a:off x="4046950" y="2637775"/>
              <a:ext cx="62425" cy="53450"/>
            </a:xfrm>
            <a:custGeom>
              <a:avLst/>
              <a:gdLst/>
              <a:ahLst/>
              <a:cxnLst/>
              <a:rect l="l" t="t" r="r" b="b"/>
              <a:pathLst>
                <a:path w="2497" h="2138" extrusionOk="0">
                  <a:moveTo>
                    <a:pt x="1074" y="1"/>
                  </a:moveTo>
                  <a:cubicBezTo>
                    <a:pt x="481" y="9"/>
                    <a:pt x="9" y="480"/>
                    <a:pt x="1" y="1074"/>
                  </a:cubicBezTo>
                  <a:cubicBezTo>
                    <a:pt x="1" y="1712"/>
                    <a:pt x="529" y="2137"/>
                    <a:pt x="1077" y="2137"/>
                  </a:cubicBezTo>
                  <a:cubicBezTo>
                    <a:pt x="1339" y="2137"/>
                    <a:pt x="1606" y="2040"/>
                    <a:pt x="1822" y="1822"/>
                  </a:cubicBezTo>
                  <a:cubicBezTo>
                    <a:pt x="2497" y="1147"/>
                    <a:pt x="2017" y="1"/>
                    <a:pt x="1074"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712" name="Google Shape;1712;p104"/>
            <p:cNvSpPr/>
            <p:nvPr/>
          </p:nvSpPr>
          <p:spPr>
            <a:xfrm>
              <a:off x="3970950" y="4085225"/>
              <a:ext cx="62225" cy="53350"/>
            </a:xfrm>
            <a:custGeom>
              <a:avLst/>
              <a:gdLst/>
              <a:ahLst/>
              <a:cxnLst/>
              <a:rect l="l" t="t" r="r" b="b"/>
              <a:pathLst>
                <a:path w="2489" h="2134" extrusionOk="0">
                  <a:moveTo>
                    <a:pt x="1065" y="0"/>
                  </a:moveTo>
                  <a:cubicBezTo>
                    <a:pt x="472" y="0"/>
                    <a:pt x="1" y="480"/>
                    <a:pt x="1" y="1065"/>
                  </a:cubicBezTo>
                  <a:cubicBezTo>
                    <a:pt x="1" y="1709"/>
                    <a:pt x="526" y="2133"/>
                    <a:pt x="1072" y="2133"/>
                  </a:cubicBezTo>
                  <a:cubicBezTo>
                    <a:pt x="1333" y="2133"/>
                    <a:pt x="1598" y="2037"/>
                    <a:pt x="1813" y="1821"/>
                  </a:cubicBezTo>
                  <a:cubicBezTo>
                    <a:pt x="2488" y="1147"/>
                    <a:pt x="2017" y="0"/>
                    <a:pt x="1065"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713" name="Google Shape;1713;p104"/>
            <p:cNvSpPr/>
            <p:nvPr/>
          </p:nvSpPr>
          <p:spPr>
            <a:xfrm>
              <a:off x="3970950" y="2714000"/>
              <a:ext cx="62225" cy="53350"/>
            </a:xfrm>
            <a:custGeom>
              <a:avLst/>
              <a:gdLst/>
              <a:ahLst/>
              <a:cxnLst/>
              <a:rect l="l" t="t" r="r" b="b"/>
              <a:pathLst>
                <a:path w="2489" h="2134" extrusionOk="0">
                  <a:moveTo>
                    <a:pt x="1065" y="0"/>
                  </a:moveTo>
                  <a:cubicBezTo>
                    <a:pt x="472" y="0"/>
                    <a:pt x="1" y="480"/>
                    <a:pt x="1" y="1065"/>
                  </a:cubicBezTo>
                  <a:cubicBezTo>
                    <a:pt x="1" y="1709"/>
                    <a:pt x="526" y="2133"/>
                    <a:pt x="1072" y="2133"/>
                  </a:cubicBezTo>
                  <a:cubicBezTo>
                    <a:pt x="1333" y="2133"/>
                    <a:pt x="1598" y="2036"/>
                    <a:pt x="1813" y="1821"/>
                  </a:cubicBezTo>
                  <a:cubicBezTo>
                    <a:pt x="2488" y="1146"/>
                    <a:pt x="2017" y="0"/>
                    <a:pt x="1065"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714" name="Google Shape;1714;p104"/>
            <p:cNvSpPr/>
            <p:nvPr/>
          </p:nvSpPr>
          <p:spPr>
            <a:xfrm>
              <a:off x="3970950" y="2637775"/>
              <a:ext cx="62225" cy="53450"/>
            </a:xfrm>
            <a:custGeom>
              <a:avLst/>
              <a:gdLst/>
              <a:ahLst/>
              <a:cxnLst/>
              <a:rect l="l" t="t" r="r" b="b"/>
              <a:pathLst>
                <a:path w="2489" h="2138" extrusionOk="0">
                  <a:moveTo>
                    <a:pt x="1065" y="1"/>
                  </a:moveTo>
                  <a:cubicBezTo>
                    <a:pt x="472" y="1"/>
                    <a:pt x="1" y="480"/>
                    <a:pt x="1" y="1074"/>
                  </a:cubicBezTo>
                  <a:cubicBezTo>
                    <a:pt x="1" y="1712"/>
                    <a:pt x="525" y="2137"/>
                    <a:pt x="1071" y="2137"/>
                  </a:cubicBezTo>
                  <a:cubicBezTo>
                    <a:pt x="1332" y="2137"/>
                    <a:pt x="1598" y="2040"/>
                    <a:pt x="1813" y="1822"/>
                  </a:cubicBezTo>
                  <a:cubicBezTo>
                    <a:pt x="2488" y="1155"/>
                    <a:pt x="2017" y="1"/>
                    <a:pt x="1065"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715" name="Google Shape;1715;p104"/>
            <p:cNvSpPr/>
            <p:nvPr/>
          </p:nvSpPr>
          <p:spPr>
            <a:xfrm>
              <a:off x="3894725" y="4085225"/>
              <a:ext cx="62225" cy="53350"/>
            </a:xfrm>
            <a:custGeom>
              <a:avLst/>
              <a:gdLst/>
              <a:ahLst/>
              <a:cxnLst/>
              <a:rect l="l" t="t" r="r" b="b"/>
              <a:pathLst>
                <a:path w="2489" h="2134" extrusionOk="0">
                  <a:moveTo>
                    <a:pt x="1066" y="0"/>
                  </a:moveTo>
                  <a:cubicBezTo>
                    <a:pt x="481" y="0"/>
                    <a:pt x="1" y="480"/>
                    <a:pt x="1" y="1065"/>
                  </a:cubicBezTo>
                  <a:cubicBezTo>
                    <a:pt x="1" y="1709"/>
                    <a:pt x="526" y="2133"/>
                    <a:pt x="1075" y="2133"/>
                  </a:cubicBezTo>
                  <a:cubicBezTo>
                    <a:pt x="1337" y="2133"/>
                    <a:pt x="1604" y="2037"/>
                    <a:pt x="1822" y="1821"/>
                  </a:cubicBezTo>
                  <a:cubicBezTo>
                    <a:pt x="2489" y="1147"/>
                    <a:pt x="2017" y="0"/>
                    <a:pt x="1066"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716" name="Google Shape;1716;p104"/>
            <p:cNvSpPr/>
            <p:nvPr/>
          </p:nvSpPr>
          <p:spPr>
            <a:xfrm>
              <a:off x="3894725" y="4009000"/>
              <a:ext cx="62225" cy="53350"/>
            </a:xfrm>
            <a:custGeom>
              <a:avLst/>
              <a:gdLst/>
              <a:ahLst/>
              <a:cxnLst/>
              <a:rect l="l" t="t" r="r" b="b"/>
              <a:pathLst>
                <a:path w="2489" h="2134" extrusionOk="0">
                  <a:moveTo>
                    <a:pt x="1066" y="1"/>
                  </a:moveTo>
                  <a:cubicBezTo>
                    <a:pt x="481" y="1"/>
                    <a:pt x="1" y="480"/>
                    <a:pt x="1" y="1066"/>
                  </a:cubicBezTo>
                  <a:cubicBezTo>
                    <a:pt x="1" y="1710"/>
                    <a:pt x="526" y="2134"/>
                    <a:pt x="1075" y="2134"/>
                  </a:cubicBezTo>
                  <a:cubicBezTo>
                    <a:pt x="1337" y="2134"/>
                    <a:pt x="1604" y="2037"/>
                    <a:pt x="1822" y="1822"/>
                  </a:cubicBezTo>
                  <a:cubicBezTo>
                    <a:pt x="2489" y="1147"/>
                    <a:pt x="2017" y="1"/>
                    <a:pt x="1066"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717" name="Google Shape;1717;p104"/>
            <p:cNvSpPr/>
            <p:nvPr/>
          </p:nvSpPr>
          <p:spPr>
            <a:xfrm>
              <a:off x="3894725" y="2714000"/>
              <a:ext cx="62225" cy="53350"/>
            </a:xfrm>
            <a:custGeom>
              <a:avLst/>
              <a:gdLst/>
              <a:ahLst/>
              <a:cxnLst/>
              <a:rect l="l" t="t" r="r" b="b"/>
              <a:pathLst>
                <a:path w="2489" h="2134" extrusionOk="0">
                  <a:moveTo>
                    <a:pt x="1066" y="0"/>
                  </a:moveTo>
                  <a:cubicBezTo>
                    <a:pt x="481" y="0"/>
                    <a:pt x="1" y="480"/>
                    <a:pt x="1" y="1065"/>
                  </a:cubicBezTo>
                  <a:cubicBezTo>
                    <a:pt x="1" y="1709"/>
                    <a:pt x="526" y="2133"/>
                    <a:pt x="1075" y="2133"/>
                  </a:cubicBezTo>
                  <a:cubicBezTo>
                    <a:pt x="1337" y="2133"/>
                    <a:pt x="1604" y="2036"/>
                    <a:pt x="1822" y="1821"/>
                  </a:cubicBezTo>
                  <a:cubicBezTo>
                    <a:pt x="2489" y="1146"/>
                    <a:pt x="2017" y="0"/>
                    <a:pt x="1066"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718" name="Google Shape;1718;p104"/>
            <p:cNvSpPr/>
            <p:nvPr/>
          </p:nvSpPr>
          <p:spPr>
            <a:xfrm>
              <a:off x="3894725" y="2637775"/>
              <a:ext cx="62225" cy="53450"/>
            </a:xfrm>
            <a:custGeom>
              <a:avLst/>
              <a:gdLst/>
              <a:ahLst/>
              <a:cxnLst/>
              <a:rect l="l" t="t" r="r" b="b"/>
              <a:pathLst>
                <a:path w="2489" h="2138" extrusionOk="0">
                  <a:moveTo>
                    <a:pt x="1066" y="1"/>
                  </a:moveTo>
                  <a:cubicBezTo>
                    <a:pt x="481" y="9"/>
                    <a:pt x="1" y="480"/>
                    <a:pt x="1" y="1074"/>
                  </a:cubicBezTo>
                  <a:cubicBezTo>
                    <a:pt x="1" y="1712"/>
                    <a:pt x="525" y="2137"/>
                    <a:pt x="1074" y="2137"/>
                  </a:cubicBezTo>
                  <a:cubicBezTo>
                    <a:pt x="1336" y="2137"/>
                    <a:pt x="1604" y="2040"/>
                    <a:pt x="1822" y="1822"/>
                  </a:cubicBezTo>
                  <a:cubicBezTo>
                    <a:pt x="2489" y="1147"/>
                    <a:pt x="2017" y="1"/>
                    <a:pt x="1066"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719" name="Google Shape;1719;p104"/>
            <p:cNvSpPr/>
            <p:nvPr/>
          </p:nvSpPr>
          <p:spPr>
            <a:xfrm>
              <a:off x="3818525" y="4009000"/>
              <a:ext cx="62225" cy="53350"/>
            </a:xfrm>
            <a:custGeom>
              <a:avLst/>
              <a:gdLst/>
              <a:ahLst/>
              <a:cxnLst/>
              <a:rect l="l" t="t" r="r" b="b"/>
              <a:pathLst>
                <a:path w="2489" h="2134" extrusionOk="0">
                  <a:moveTo>
                    <a:pt x="1065" y="1"/>
                  </a:moveTo>
                  <a:cubicBezTo>
                    <a:pt x="480" y="1"/>
                    <a:pt x="0" y="480"/>
                    <a:pt x="0" y="1066"/>
                  </a:cubicBezTo>
                  <a:cubicBezTo>
                    <a:pt x="0" y="1710"/>
                    <a:pt x="526" y="2134"/>
                    <a:pt x="1074" y="2134"/>
                  </a:cubicBezTo>
                  <a:cubicBezTo>
                    <a:pt x="1336" y="2134"/>
                    <a:pt x="1603" y="2037"/>
                    <a:pt x="1821" y="1822"/>
                  </a:cubicBezTo>
                  <a:cubicBezTo>
                    <a:pt x="2488" y="1147"/>
                    <a:pt x="2017" y="1"/>
                    <a:pt x="1065"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720" name="Google Shape;1720;p104"/>
            <p:cNvSpPr/>
            <p:nvPr/>
          </p:nvSpPr>
          <p:spPr>
            <a:xfrm>
              <a:off x="3818525" y="3932800"/>
              <a:ext cx="62225" cy="53425"/>
            </a:xfrm>
            <a:custGeom>
              <a:avLst/>
              <a:gdLst/>
              <a:ahLst/>
              <a:cxnLst/>
              <a:rect l="l" t="t" r="r" b="b"/>
              <a:pathLst>
                <a:path w="2489" h="2137" extrusionOk="0">
                  <a:moveTo>
                    <a:pt x="1065" y="0"/>
                  </a:moveTo>
                  <a:cubicBezTo>
                    <a:pt x="480" y="0"/>
                    <a:pt x="0" y="480"/>
                    <a:pt x="0" y="1065"/>
                  </a:cubicBezTo>
                  <a:cubicBezTo>
                    <a:pt x="0" y="1709"/>
                    <a:pt x="526" y="2137"/>
                    <a:pt x="1074" y="2137"/>
                  </a:cubicBezTo>
                  <a:cubicBezTo>
                    <a:pt x="1336" y="2137"/>
                    <a:pt x="1603" y="2039"/>
                    <a:pt x="1821" y="1821"/>
                  </a:cubicBezTo>
                  <a:cubicBezTo>
                    <a:pt x="2488" y="1146"/>
                    <a:pt x="2017" y="0"/>
                    <a:pt x="1065"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721" name="Google Shape;1721;p104"/>
            <p:cNvSpPr/>
            <p:nvPr/>
          </p:nvSpPr>
          <p:spPr>
            <a:xfrm>
              <a:off x="3818525" y="3856775"/>
              <a:ext cx="62225" cy="53250"/>
            </a:xfrm>
            <a:custGeom>
              <a:avLst/>
              <a:gdLst/>
              <a:ahLst/>
              <a:cxnLst/>
              <a:rect l="l" t="t" r="r" b="b"/>
              <a:pathLst>
                <a:path w="2489" h="2130" extrusionOk="0">
                  <a:moveTo>
                    <a:pt x="1065" y="1"/>
                  </a:moveTo>
                  <a:cubicBezTo>
                    <a:pt x="480" y="1"/>
                    <a:pt x="0" y="472"/>
                    <a:pt x="0" y="1066"/>
                  </a:cubicBezTo>
                  <a:cubicBezTo>
                    <a:pt x="0" y="1704"/>
                    <a:pt x="525" y="2129"/>
                    <a:pt x="1073" y="2129"/>
                  </a:cubicBezTo>
                  <a:cubicBezTo>
                    <a:pt x="1335" y="2129"/>
                    <a:pt x="1603" y="2032"/>
                    <a:pt x="1821" y="1814"/>
                  </a:cubicBezTo>
                  <a:cubicBezTo>
                    <a:pt x="2488" y="1147"/>
                    <a:pt x="2017" y="1"/>
                    <a:pt x="1065"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722" name="Google Shape;1722;p104"/>
            <p:cNvSpPr/>
            <p:nvPr/>
          </p:nvSpPr>
          <p:spPr>
            <a:xfrm>
              <a:off x="3818525" y="3704150"/>
              <a:ext cx="62225" cy="53450"/>
            </a:xfrm>
            <a:custGeom>
              <a:avLst/>
              <a:gdLst/>
              <a:ahLst/>
              <a:cxnLst/>
              <a:rect l="l" t="t" r="r" b="b"/>
              <a:pathLst>
                <a:path w="2489" h="2138" extrusionOk="0">
                  <a:moveTo>
                    <a:pt x="1065" y="1"/>
                  </a:moveTo>
                  <a:cubicBezTo>
                    <a:pt x="480" y="1"/>
                    <a:pt x="0" y="480"/>
                    <a:pt x="0" y="1066"/>
                  </a:cubicBezTo>
                  <a:cubicBezTo>
                    <a:pt x="0" y="1709"/>
                    <a:pt x="526" y="2137"/>
                    <a:pt x="1074" y="2137"/>
                  </a:cubicBezTo>
                  <a:cubicBezTo>
                    <a:pt x="1336" y="2137"/>
                    <a:pt x="1603" y="2040"/>
                    <a:pt x="1821" y="1822"/>
                  </a:cubicBezTo>
                  <a:cubicBezTo>
                    <a:pt x="2488" y="1147"/>
                    <a:pt x="2017" y="1"/>
                    <a:pt x="1065"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723" name="Google Shape;1723;p104"/>
            <p:cNvSpPr/>
            <p:nvPr/>
          </p:nvSpPr>
          <p:spPr>
            <a:xfrm>
              <a:off x="3818525" y="3627950"/>
              <a:ext cx="62225" cy="53425"/>
            </a:xfrm>
            <a:custGeom>
              <a:avLst/>
              <a:gdLst/>
              <a:ahLst/>
              <a:cxnLst/>
              <a:rect l="l" t="t" r="r" b="b"/>
              <a:pathLst>
                <a:path w="2489" h="2137" extrusionOk="0">
                  <a:moveTo>
                    <a:pt x="1065" y="0"/>
                  </a:moveTo>
                  <a:cubicBezTo>
                    <a:pt x="480" y="8"/>
                    <a:pt x="0" y="480"/>
                    <a:pt x="0" y="1073"/>
                  </a:cubicBezTo>
                  <a:cubicBezTo>
                    <a:pt x="0" y="1711"/>
                    <a:pt x="525" y="2137"/>
                    <a:pt x="1073" y="2137"/>
                  </a:cubicBezTo>
                  <a:cubicBezTo>
                    <a:pt x="1335" y="2137"/>
                    <a:pt x="1603" y="2039"/>
                    <a:pt x="1821" y="1821"/>
                  </a:cubicBezTo>
                  <a:cubicBezTo>
                    <a:pt x="2488" y="1154"/>
                    <a:pt x="2017" y="0"/>
                    <a:pt x="1065"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724" name="Google Shape;1724;p104"/>
            <p:cNvSpPr/>
            <p:nvPr/>
          </p:nvSpPr>
          <p:spPr>
            <a:xfrm>
              <a:off x="3818525" y="3551925"/>
              <a:ext cx="62225" cy="53250"/>
            </a:xfrm>
            <a:custGeom>
              <a:avLst/>
              <a:gdLst/>
              <a:ahLst/>
              <a:cxnLst/>
              <a:rect l="l" t="t" r="r" b="b"/>
              <a:pathLst>
                <a:path w="2489" h="2130" extrusionOk="0">
                  <a:moveTo>
                    <a:pt x="1065" y="1"/>
                  </a:moveTo>
                  <a:cubicBezTo>
                    <a:pt x="480" y="1"/>
                    <a:pt x="0" y="472"/>
                    <a:pt x="0" y="1066"/>
                  </a:cubicBezTo>
                  <a:cubicBezTo>
                    <a:pt x="0" y="1704"/>
                    <a:pt x="525" y="2129"/>
                    <a:pt x="1073" y="2129"/>
                  </a:cubicBezTo>
                  <a:cubicBezTo>
                    <a:pt x="1335" y="2129"/>
                    <a:pt x="1603" y="2032"/>
                    <a:pt x="1821" y="1814"/>
                  </a:cubicBezTo>
                  <a:cubicBezTo>
                    <a:pt x="2488" y="1147"/>
                    <a:pt x="2017" y="1"/>
                    <a:pt x="1065"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725" name="Google Shape;1725;p104"/>
            <p:cNvSpPr/>
            <p:nvPr/>
          </p:nvSpPr>
          <p:spPr>
            <a:xfrm>
              <a:off x="3818525" y="3475725"/>
              <a:ext cx="62225" cy="53350"/>
            </a:xfrm>
            <a:custGeom>
              <a:avLst/>
              <a:gdLst/>
              <a:ahLst/>
              <a:cxnLst/>
              <a:rect l="l" t="t" r="r" b="b"/>
              <a:pathLst>
                <a:path w="2489" h="2134" extrusionOk="0">
                  <a:moveTo>
                    <a:pt x="1065" y="0"/>
                  </a:moveTo>
                  <a:cubicBezTo>
                    <a:pt x="480" y="0"/>
                    <a:pt x="0" y="480"/>
                    <a:pt x="0" y="1065"/>
                  </a:cubicBezTo>
                  <a:cubicBezTo>
                    <a:pt x="0" y="1709"/>
                    <a:pt x="526" y="2133"/>
                    <a:pt x="1074" y="2133"/>
                  </a:cubicBezTo>
                  <a:cubicBezTo>
                    <a:pt x="1336" y="2133"/>
                    <a:pt x="1603" y="2037"/>
                    <a:pt x="1821" y="1821"/>
                  </a:cubicBezTo>
                  <a:cubicBezTo>
                    <a:pt x="2488" y="1146"/>
                    <a:pt x="2017" y="0"/>
                    <a:pt x="1065"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726" name="Google Shape;1726;p104"/>
            <p:cNvSpPr/>
            <p:nvPr/>
          </p:nvSpPr>
          <p:spPr>
            <a:xfrm>
              <a:off x="3818525" y="2637775"/>
              <a:ext cx="62225" cy="53450"/>
            </a:xfrm>
            <a:custGeom>
              <a:avLst/>
              <a:gdLst/>
              <a:ahLst/>
              <a:cxnLst/>
              <a:rect l="l" t="t" r="r" b="b"/>
              <a:pathLst>
                <a:path w="2489" h="2138" extrusionOk="0">
                  <a:moveTo>
                    <a:pt x="1065" y="1"/>
                  </a:moveTo>
                  <a:cubicBezTo>
                    <a:pt x="480" y="9"/>
                    <a:pt x="0" y="480"/>
                    <a:pt x="0" y="1074"/>
                  </a:cubicBezTo>
                  <a:cubicBezTo>
                    <a:pt x="0" y="1712"/>
                    <a:pt x="525" y="2137"/>
                    <a:pt x="1073" y="2137"/>
                  </a:cubicBezTo>
                  <a:cubicBezTo>
                    <a:pt x="1335" y="2137"/>
                    <a:pt x="1603" y="2040"/>
                    <a:pt x="1821" y="1822"/>
                  </a:cubicBezTo>
                  <a:cubicBezTo>
                    <a:pt x="2488" y="1147"/>
                    <a:pt x="2017" y="1"/>
                    <a:pt x="1065"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727" name="Google Shape;1727;p104"/>
            <p:cNvSpPr/>
            <p:nvPr/>
          </p:nvSpPr>
          <p:spPr>
            <a:xfrm>
              <a:off x="3742300" y="3780375"/>
              <a:ext cx="62225" cy="53425"/>
            </a:xfrm>
            <a:custGeom>
              <a:avLst/>
              <a:gdLst/>
              <a:ahLst/>
              <a:cxnLst/>
              <a:rect l="l" t="t" r="r" b="b"/>
              <a:pathLst>
                <a:path w="2489" h="2137" extrusionOk="0">
                  <a:moveTo>
                    <a:pt x="1066" y="0"/>
                  </a:moveTo>
                  <a:cubicBezTo>
                    <a:pt x="481" y="0"/>
                    <a:pt x="1" y="480"/>
                    <a:pt x="1" y="1065"/>
                  </a:cubicBezTo>
                  <a:cubicBezTo>
                    <a:pt x="1" y="1709"/>
                    <a:pt x="526" y="2137"/>
                    <a:pt x="1075" y="2137"/>
                  </a:cubicBezTo>
                  <a:cubicBezTo>
                    <a:pt x="1337" y="2137"/>
                    <a:pt x="1604" y="2039"/>
                    <a:pt x="1822" y="1821"/>
                  </a:cubicBezTo>
                  <a:cubicBezTo>
                    <a:pt x="2489" y="1155"/>
                    <a:pt x="2017" y="0"/>
                    <a:pt x="1066"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728" name="Google Shape;1728;p104"/>
            <p:cNvSpPr/>
            <p:nvPr/>
          </p:nvSpPr>
          <p:spPr>
            <a:xfrm>
              <a:off x="3742300" y="3704150"/>
              <a:ext cx="62225" cy="53450"/>
            </a:xfrm>
            <a:custGeom>
              <a:avLst/>
              <a:gdLst/>
              <a:ahLst/>
              <a:cxnLst/>
              <a:rect l="l" t="t" r="r" b="b"/>
              <a:pathLst>
                <a:path w="2489" h="2138" extrusionOk="0">
                  <a:moveTo>
                    <a:pt x="1066" y="1"/>
                  </a:moveTo>
                  <a:cubicBezTo>
                    <a:pt x="481" y="1"/>
                    <a:pt x="1" y="480"/>
                    <a:pt x="1" y="1066"/>
                  </a:cubicBezTo>
                  <a:cubicBezTo>
                    <a:pt x="1" y="1709"/>
                    <a:pt x="526" y="2137"/>
                    <a:pt x="1072" y="2137"/>
                  </a:cubicBezTo>
                  <a:cubicBezTo>
                    <a:pt x="1333" y="2137"/>
                    <a:pt x="1598" y="2040"/>
                    <a:pt x="1814" y="1822"/>
                  </a:cubicBezTo>
                  <a:cubicBezTo>
                    <a:pt x="2489" y="1155"/>
                    <a:pt x="2017" y="1"/>
                    <a:pt x="1066"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729" name="Google Shape;1729;p104"/>
            <p:cNvSpPr/>
            <p:nvPr/>
          </p:nvSpPr>
          <p:spPr>
            <a:xfrm>
              <a:off x="3742300" y="3475725"/>
              <a:ext cx="62225" cy="53350"/>
            </a:xfrm>
            <a:custGeom>
              <a:avLst/>
              <a:gdLst/>
              <a:ahLst/>
              <a:cxnLst/>
              <a:rect l="l" t="t" r="r" b="b"/>
              <a:pathLst>
                <a:path w="2489" h="2134" extrusionOk="0">
                  <a:moveTo>
                    <a:pt x="1066" y="0"/>
                  </a:moveTo>
                  <a:cubicBezTo>
                    <a:pt x="481" y="0"/>
                    <a:pt x="1" y="480"/>
                    <a:pt x="1" y="1065"/>
                  </a:cubicBezTo>
                  <a:cubicBezTo>
                    <a:pt x="1" y="1709"/>
                    <a:pt x="526" y="2133"/>
                    <a:pt x="1072" y="2133"/>
                  </a:cubicBezTo>
                  <a:cubicBezTo>
                    <a:pt x="1333" y="2133"/>
                    <a:pt x="1598" y="2037"/>
                    <a:pt x="1814" y="1821"/>
                  </a:cubicBezTo>
                  <a:cubicBezTo>
                    <a:pt x="2489" y="1146"/>
                    <a:pt x="2017" y="0"/>
                    <a:pt x="1066"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730" name="Google Shape;1730;p104"/>
            <p:cNvSpPr/>
            <p:nvPr/>
          </p:nvSpPr>
          <p:spPr>
            <a:xfrm>
              <a:off x="3742300" y="3399500"/>
              <a:ext cx="62225" cy="53350"/>
            </a:xfrm>
            <a:custGeom>
              <a:avLst/>
              <a:gdLst/>
              <a:ahLst/>
              <a:cxnLst/>
              <a:rect l="l" t="t" r="r" b="b"/>
              <a:pathLst>
                <a:path w="2489" h="2134" extrusionOk="0">
                  <a:moveTo>
                    <a:pt x="1066" y="1"/>
                  </a:moveTo>
                  <a:cubicBezTo>
                    <a:pt x="481" y="1"/>
                    <a:pt x="1" y="480"/>
                    <a:pt x="1" y="1066"/>
                  </a:cubicBezTo>
                  <a:cubicBezTo>
                    <a:pt x="1" y="1709"/>
                    <a:pt x="526" y="2134"/>
                    <a:pt x="1072" y="2134"/>
                  </a:cubicBezTo>
                  <a:cubicBezTo>
                    <a:pt x="1333" y="2134"/>
                    <a:pt x="1598" y="2037"/>
                    <a:pt x="1814" y="1822"/>
                  </a:cubicBezTo>
                  <a:cubicBezTo>
                    <a:pt x="2489" y="1147"/>
                    <a:pt x="2017" y="1"/>
                    <a:pt x="1066"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731" name="Google Shape;1731;p104"/>
            <p:cNvSpPr/>
            <p:nvPr/>
          </p:nvSpPr>
          <p:spPr>
            <a:xfrm>
              <a:off x="3742175" y="3323300"/>
              <a:ext cx="62350" cy="53425"/>
            </a:xfrm>
            <a:custGeom>
              <a:avLst/>
              <a:gdLst/>
              <a:ahLst/>
              <a:cxnLst/>
              <a:rect l="l" t="t" r="r" b="b"/>
              <a:pathLst>
                <a:path w="2494" h="2137" extrusionOk="0">
                  <a:moveTo>
                    <a:pt x="1071" y="0"/>
                  </a:moveTo>
                  <a:cubicBezTo>
                    <a:pt x="486" y="0"/>
                    <a:pt x="6" y="480"/>
                    <a:pt x="6" y="1065"/>
                  </a:cubicBezTo>
                  <a:cubicBezTo>
                    <a:pt x="0" y="1709"/>
                    <a:pt x="524" y="2137"/>
                    <a:pt x="1072" y="2137"/>
                  </a:cubicBezTo>
                  <a:cubicBezTo>
                    <a:pt x="1333" y="2137"/>
                    <a:pt x="1601" y="2039"/>
                    <a:pt x="1819" y="1821"/>
                  </a:cubicBezTo>
                  <a:cubicBezTo>
                    <a:pt x="2494" y="1154"/>
                    <a:pt x="2022" y="0"/>
                    <a:pt x="1071"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732" name="Google Shape;1732;p104"/>
            <p:cNvSpPr/>
            <p:nvPr/>
          </p:nvSpPr>
          <p:spPr>
            <a:xfrm>
              <a:off x="3742300" y="2561575"/>
              <a:ext cx="62225" cy="53425"/>
            </a:xfrm>
            <a:custGeom>
              <a:avLst/>
              <a:gdLst/>
              <a:ahLst/>
              <a:cxnLst/>
              <a:rect l="l" t="t" r="r" b="b"/>
              <a:pathLst>
                <a:path w="2489" h="2137" extrusionOk="0">
                  <a:moveTo>
                    <a:pt x="1066" y="0"/>
                  </a:moveTo>
                  <a:cubicBezTo>
                    <a:pt x="481" y="8"/>
                    <a:pt x="1" y="480"/>
                    <a:pt x="1" y="1073"/>
                  </a:cubicBezTo>
                  <a:cubicBezTo>
                    <a:pt x="1" y="1711"/>
                    <a:pt x="525" y="2137"/>
                    <a:pt x="1071" y="2137"/>
                  </a:cubicBezTo>
                  <a:cubicBezTo>
                    <a:pt x="1332" y="2137"/>
                    <a:pt x="1598" y="2039"/>
                    <a:pt x="1814" y="1821"/>
                  </a:cubicBezTo>
                  <a:cubicBezTo>
                    <a:pt x="2489" y="1154"/>
                    <a:pt x="2017" y="8"/>
                    <a:pt x="1066"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733" name="Google Shape;1733;p104"/>
            <p:cNvSpPr/>
            <p:nvPr/>
          </p:nvSpPr>
          <p:spPr>
            <a:xfrm>
              <a:off x="3665950" y="3323300"/>
              <a:ext cx="62350" cy="53425"/>
            </a:xfrm>
            <a:custGeom>
              <a:avLst/>
              <a:gdLst/>
              <a:ahLst/>
              <a:cxnLst/>
              <a:rect l="l" t="t" r="r" b="b"/>
              <a:pathLst>
                <a:path w="2494" h="2137" extrusionOk="0">
                  <a:moveTo>
                    <a:pt x="1071" y="0"/>
                  </a:moveTo>
                  <a:cubicBezTo>
                    <a:pt x="486" y="0"/>
                    <a:pt x="6" y="480"/>
                    <a:pt x="6" y="1065"/>
                  </a:cubicBezTo>
                  <a:cubicBezTo>
                    <a:pt x="1" y="1709"/>
                    <a:pt x="524" y="2137"/>
                    <a:pt x="1072" y="2137"/>
                  </a:cubicBezTo>
                  <a:cubicBezTo>
                    <a:pt x="1334" y="2137"/>
                    <a:pt x="1601" y="2039"/>
                    <a:pt x="1819" y="1821"/>
                  </a:cubicBezTo>
                  <a:cubicBezTo>
                    <a:pt x="2494" y="1154"/>
                    <a:pt x="2022" y="0"/>
                    <a:pt x="1071"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734" name="Google Shape;1734;p104"/>
            <p:cNvSpPr/>
            <p:nvPr/>
          </p:nvSpPr>
          <p:spPr>
            <a:xfrm>
              <a:off x="3666100" y="3247075"/>
              <a:ext cx="62200" cy="53450"/>
            </a:xfrm>
            <a:custGeom>
              <a:avLst/>
              <a:gdLst/>
              <a:ahLst/>
              <a:cxnLst/>
              <a:rect l="l" t="t" r="r" b="b"/>
              <a:pathLst>
                <a:path w="2488" h="2138" extrusionOk="0">
                  <a:moveTo>
                    <a:pt x="1065" y="1"/>
                  </a:moveTo>
                  <a:cubicBezTo>
                    <a:pt x="480" y="9"/>
                    <a:pt x="0" y="480"/>
                    <a:pt x="0" y="1074"/>
                  </a:cubicBezTo>
                  <a:cubicBezTo>
                    <a:pt x="0" y="1712"/>
                    <a:pt x="525" y="2137"/>
                    <a:pt x="1073" y="2137"/>
                  </a:cubicBezTo>
                  <a:cubicBezTo>
                    <a:pt x="1335" y="2137"/>
                    <a:pt x="1603" y="2040"/>
                    <a:pt x="1821" y="1822"/>
                  </a:cubicBezTo>
                  <a:cubicBezTo>
                    <a:pt x="2488" y="1155"/>
                    <a:pt x="2016" y="1"/>
                    <a:pt x="1065"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735" name="Google Shape;1735;p104"/>
            <p:cNvSpPr/>
            <p:nvPr/>
          </p:nvSpPr>
          <p:spPr>
            <a:xfrm>
              <a:off x="3666100" y="2561575"/>
              <a:ext cx="62200" cy="53425"/>
            </a:xfrm>
            <a:custGeom>
              <a:avLst/>
              <a:gdLst/>
              <a:ahLst/>
              <a:cxnLst/>
              <a:rect l="l" t="t" r="r" b="b"/>
              <a:pathLst>
                <a:path w="2488" h="2137" extrusionOk="0">
                  <a:moveTo>
                    <a:pt x="1065" y="0"/>
                  </a:moveTo>
                  <a:cubicBezTo>
                    <a:pt x="480" y="8"/>
                    <a:pt x="0" y="480"/>
                    <a:pt x="0" y="1073"/>
                  </a:cubicBezTo>
                  <a:cubicBezTo>
                    <a:pt x="0" y="1711"/>
                    <a:pt x="525" y="2137"/>
                    <a:pt x="1073" y="2137"/>
                  </a:cubicBezTo>
                  <a:cubicBezTo>
                    <a:pt x="1335" y="2137"/>
                    <a:pt x="1603" y="2039"/>
                    <a:pt x="1821" y="1821"/>
                  </a:cubicBezTo>
                  <a:cubicBezTo>
                    <a:pt x="2488" y="1154"/>
                    <a:pt x="2016" y="0"/>
                    <a:pt x="1065"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736" name="Google Shape;1736;p104"/>
            <p:cNvSpPr/>
            <p:nvPr/>
          </p:nvSpPr>
          <p:spPr>
            <a:xfrm>
              <a:off x="3589875" y="3247075"/>
              <a:ext cx="62225" cy="53450"/>
            </a:xfrm>
            <a:custGeom>
              <a:avLst/>
              <a:gdLst/>
              <a:ahLst/>
              <a:cxnLst/>
              <a:rect l="l" t="t" r="r" b="b"/>
              <a:pathLst>
                <a:path w="2489" h="2138" extrusionOk="0">
                  <a:moveTo>
                    <a:pt x="1066" y="1"/>
                  </a:moveTo>
                  <a:cubicBezTo>
                    <a:pt x="480" y="9"/>
                    <a:pt x="1" y="480"/>
                    <a:pt x="1" y="1074"/>
                  </a:cubicBezTo>
                  <a:cubicBezTo>
                    <a:pt x="1" y="1712"/>
                    <a:pt x="525" y="2137"/>
                    <a:pt x="1073" y="2137"/>
                  </a:cubicBezTo>
                  <a:cubicBezTo>
                    <a:pt x="1336" y="2137"/>
                    <a:pt x="1603" y="2040"/>
                    <a:pt x="1822" y="1822"/>
                  </a:cubicBezTo>
                  <a:cubicBezTo>
                    <a:pt x="2488" y="1155"/>
                    <a:pt x="2017" y="1"/>
                    <a:pt x="1066"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737" name="Google Shape;1737;p104"/>
            <p:cNvSpPr/>
            <p:nvPr/>
          </p:nvSpPr>
          <p:spPr>
            <a:xfrm>
              <a:off x="3589875" y="2561575"/>
              <a:ext cx="62225" cy="53425"/>
            </a:xfrm>
            <a:custGeom>
              <a:avLst/>
              <a:gdLst/>
              <a:ahLst/>
              <a:cxnLst/>
              <a:rect l="l" t="t" r="r" b="b"/>
              <a:pathLst>
                <a:path w="2489" h="2137" extrusionOk="0">
                  <a:moveTo>
                    <a:pt x="1066" y="0"/>
                  </a:moveTo>
                  <a:cubicBezTo>
                    <a:pt x="480" y="8"/>
                    <a:pt x="1" y="480"/>
                    <a:pt x="1" y="1073"/>
                  </a:cubicBezTo>
                  <a:cubicBezTo>
                    <a:pt x="1" y="1711"/>
                    <a:pt x="525" y="2137"/>
                    <a:pt x="1073" y="2137"/>
                  </a:cubicBezTo>
                  <a:cubicBezTo>
                    <a:pt x="1336" y="2137"/>
                    <a:pt x="1603" y="2039"/>
                    <a:pt x="1822" y="1821"/>
                  </a:cubicBezTo>
                  <a:cubicBezTo>
                    <a:pt x="2488" y="1154"/>
                    <a:pt x="2017" y="0"/>
                    <a:pt x="1066"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738" name="Google Shape;1738;p104"/>
            <p:cNvSpPr/>
            <p:nvPr/>
          </p:nvSpPr>
          <p:spPr>
            <a:xfrm>
              <a:off x="3589875" y="2485550"/>
              <a:ext cx="62225" cy="53300"/>
            </a:xfrm>
            <a:custGeom>
              <a:avLst/>
              <a:gdLst/>
              <a:ahLst/>
              <a:cxnLst/>
              <a:rect l="l" t="t" r="r" b="b"/>
              <a:pathLst>
                <a:path w="2489" h="2132" extrusionOk="0">
                  <a:moveTo>
                    <a:pt x="1066" y="1"/>
                  </a:moveTo>
                  <a:cubicBezTo>
                    <a:pt x="480" y="1"/>
                    <a:pt x="1" y="480"/>
                    <a:pt x="1" y="1066"/>
                  </a:cubicBezTo>
                  <a:cubicBezTo>
                    <a:pt x="1" y="1708"/>
                    <a:pt x="523" y="2131"/>
                    <a:pt x="1070" y="2131"/>
                  </a:cubicBezTo>
                  <a:cubicBezTo>
                    <a:pt x="1333" y="2131"/>
                    <a:pt x="1602" y="2033"/>
                    <a:pt x="1822" y="1814"/>
                  </a:cubicBezTo>
                  <a:cubicBezTo>
                    <a:pt x="2488" y="1147"/>
                    <a:pt x="2017" y="1"/>
                    <a:pt x="1066"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739" name="Google Shape;1739;p104"/>
            <p:cNvSpPr/>
            <p:nvPr/>
          </p:nvSpPr>
          <p:spPr>
            <a:xfrm>
              <a:off x="3513675" y="3247075"/>
              <a:ext cx="62425" cy="53450"/>
            </a:xfrm>
            <a:custGeom>
              <a:avLst/>
              <a:gdLst/>
              <a:ahLst/>
              <a:cxnLst/>
              <a:rect l="l" t="t" r="r" b="b"/>
              <a:pathLst>
                <a:path w="2497" h="2138" extrusionOk="0">
                  <a:moveTo>
                    <a:pt x="1065" y="1"/>
                  </a:moveTo>
                  <a:cubicBezTo>
                    <a:pt x="480" y="9"/>
                    <a:pt x="0" y="480"/>
                    <a:pt x="0" y="1074"/>
                  </a:cubicBezTo>
                  <a:cubicBezTo>
                    <a:pt x="0" y="1712"/>
                    <a:pt x="525" y="2137"/>
                    <a:pt x="1073" y="2137"/>
                  </a:cubicBezTo>
                  <a:cubicBezTo>
                    <a:pt x="1335" y="2137"/>
                    <a:pt x="1603" y="2040"/>
                    <a:pt x="1821" y="1822"/>
                  </a:cubicBezTo>
                  <a:cubicBezTo>
                    <a:pt x="2496" y="1155"/>
                    <a:pt x="2016" y="1"/>
                    <a:pt x="1065"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740" name="Google Shape;1740;p104"/>
            <p:cNvSpPr/>
            <p:nvPr/>
          </p:nvSpPr>
          <p:spPr>
            <a:xfrm>
              <a:off x="3513675" y="2561575"/>
              <a:ext cx="62425" cy="53425"/>
            </a:xfrm>
            <a:custGeom>
              <a:avLst/>
              <a:gdLst/>
              <a:ahLst/>
              <a:cxnLst/>
              <a:rect l="l" t="t" r="r" b="b"/>
              <a:pathLst>
                <a:path w="2497" h="2137" extrusionOk="0">
                  <a:moveTo>
                    <a:pt x="1065" y="0"/>
                  </a:moveTo>
                  <a:cubicBezTo>
                    <a:pt x="480" y="8"/>
                    <a:pt x="0" y="480"/>
                    <a:pt x="0" y="1073"/>
                  </a:cubicBezTo>
                  <a:cubicBezTo>
                    <a:pt x="0" y="1711"/>
                    <a:pt x="525" y="2137"/>
                    <a:pt x="1073" y="2137"/>
                  </a:cubicBezTo>
                  <a:cubicBezTo>
                    <a:pt x="1335" y="2137"/>
                    <a:pt x="1603" y="2039"/>
                    <a:pt x="1821" y="1821"/>
                  </a:cubicBezTo>
                  <a:cubicBezTo>
                    <a:pt x="2496" y="1154"/>
                    <a:pt x="2016" y="0"/>
                    <a:pt x="1065"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741" name="Google Shape;1741;p104"/>
            <p:cNvSpPr/>
            <p:nvPr/>
          </p:nvSpPr>
          <p:spPr>
            <a:xfrm>
              <a:off x="3513675" y="2485550"/>
              <a:ext cx="62425" cy="53300"/>
            </a:xfrm>
            <a:custGeom>
              <a:avLst/>
              <a:gdLst/>
              <a:ahLst/>
              <a:cxnLst/>
              <a:rect l="l" t="t" r="r" b="b"/>
              <a:pathLst>
                <a:path w="2497" h="2132" extrusionOk="0">
                  <a:moveTo>
                    <a:pt x="1065" y="1"/>
                  </a:moveTo>
                  <a:cubicBezTo>
                    <a:pt x="480" y="1"/>
                    <a:pt x="0" y="480"/>
                    <a:pt x="0" y="1066"/>
                  </a:cubicBezTo>
                  <a:cubicBezTo>
                    <a:pt x="0" y="1708"/>
                    <a:pt x="522" y="2131"/>
                    <a:pt x="1069" y="2131"/>
                  </a:cubicBezTo>
                  <a:cubicBezTo>
                    <a:pt x="1333" y="2131"/>
                    <a:pt x="1602" y="2033"/>
                    <a:pt x="1821" y="1814"/>
                  </a:cubicBezTo>
                  <a:cubicBezTo>
                    <a:pt x="2496" y="1147"/>
                    <a:pt x="2016" y="1"/>
                    <a:pt x="1065"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742" name="Google Shape;1742;p104"/>
            <p:cNvSpPr/>
            <p:nvPr/>
          </p:nvSpPr>
          <p:spPr>
            <a:xfrm>
              <a:off x="3437450" y="3247075"/>
              <a:ext cx="62425" cy="53450"/>
            </a:xfrm>
            <a:custGeom>
              <a:avLst/>
              <a:gdLst/>
              <a:ahLst/>
              <a:cxnLst/>
              <a:rect l="l" t="t" r="r" b="b"/>
              <a:pathLst>
                <a:path w="2497" h="2138" extrusionOk="0">
                  <a:moveTo>
                    <a:pt x="1074" y="1"/>
                  </a:moveTo>
                  <a:cubicBezTo>
                    <a:pt x="480" y="9"/>
                    <a:pt x="9" y="480"/>
                    <a:pt x="1" y="1074"/>
                  </a:cubicBezTo>
                  <a:cubicBezTo>
                    <a:pt x="1" y="1712"/>
                    <a:pt x="529" y="2137"/>
                    <a:pt x="1077" y="2137"/>
                  </a:cubicBezTo>
                  <a:cubicBezTo>
                    <a:pt x="1339" y="2137"/>
                    <a:pt x="1606" y="2040"/>
                    <a:pt x="1822" y="1822"/>
                  </a:cubicBezTo>
                  <a:cubicBezTo>
                    <a:pt x="2496" y="1155"/>
                    <a:pt x="2017" y="1"/>
                    <a:pt x="1074"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743" name="Google Shape;1743;p104"/>
            <p:cNvSpPr/>
            <p:nvPr/>
          </p:nvSpPr>
          <p:spPr>
            <a:xfrm>
              <a:off x="3437450" y="3171075"/>
              <a:ext cx="62425" cy="53275"/>
            </a:xfrm>
            <a:custGeom>
              <a:avLst/>
              <a:gdLst/>
              <a:ahLst/>
              <a:cxnLst/>
              <a:rect l="l" t="t" r="r" b="b"/>
              <a:pathLst>
                <a:path w="2497" h="2131" extrusionOk="0">
                  <a:moveTo>
                    <a:pt x="1074" y="0"/>
                  </a:moveTo>
                  <a:cubicBezTo>
                    <a:pt x="480" y="0"/>
                    <a:pt x="9" y="472"/>
                    <a:pt x="1" y="1065"/>
                  </a:cubicBezTo>
                  <a:cubicBezTo>
                    <a:pt x="1" y="1707"/>
                    <a:pt x="527" y="2131"/>
                    <a:pt x="1073" y="2131"/>
                  </a:cubicBezTo>
                  <a:cubicBezTo>
                    <a:pt x="1337" y="2131"/>
                    <a:pt x="1605" y="2032"/>
                    <a:pt x="1822" y="1813"/>
                  </a:cubicBezTo>
                  <a:cubicBezTo>
                    <a:pt x="2496" y="1146"/>
                    <a:pt x="2017" y="0"/>
                    <a:pt x="1074"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744" name="Google Shape;1744;p104"/>
            <p:cNvSpPr/>
            <p:nvPr/>
          </p:nvSpPr>
          <p:spPr>
            <a:xfrm>
              <a:off x="3437450" y="2561575"/>
              <a:ext cx="62425" cy="53425"/>
            </a:xfrm>
            <a:custGeom>
              <a:avLst/>
              <a:gdLst/>
              <a:ahLst/>
              <a:cxnLst/>
              <a:rect l="l" t="t" r="r" b="b"/>
              <a:pathLst>
                <a:path w="2497" h="2137" extrusionOk="0">
                  <a:moveTo>
                    <a:pt x="1074" y="0"/>
                  </a:moveTo>
                  <a:cubicBezTo>
                    <a:pt x="480" y="8"/>
                    <a:pt x="9" y="480"/>
                    <a:pt x="1" y="1073"/>
                  </a:cubicBezTo>
                  <a:cubicBezTo>
                    <a:pt x="1" y="1711"/>
                    <a:pt x="529" y="2137"/>
                    <a:pt x="1077" y="2137"/>
                  </a:cubicBezTo>
                  <a:cubicBezTo>
                    <a:pt x="1339" y="2137"/>
                    <a:pt x="1606" y="2039"/>
                    <a:pt x="1822" y="1821"/>
                  </a:cubicBezTo>
                  <a:cubicBezTo>
                    <a:pt x="2496" y="1154"/>
                    <a:pt x="2017" y="0"/>
                    <a:pt x="1074"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745" name="Google Shape;1745;p104"/>
            <p:cNvSpPr/>
            <p:nvPr/>
          </p:nvSpPr>
          <p:spPr>
            <a:xfrm>
              <a:off x="3437450" y="2485550"/>
              <a:ext cx="62425" cy="53300"/>
            </a:xfrm>
            <a:custGeom>
              <a:avLst/>
              <a:gdLst/>
              <a:ahLst/>
              <a:cxnLst/>
              <a:rect l="l" t="t" r="r" b="b"/>
              <a:pathLst>
                <a:path w="2497" h="2132" extrusionOk="0">
                  <a:moveTo>
                    <a:pt x="1074" y="1"/>
                  </a:moveTo>
                  <a:cubicBezTo>
                    <a:pt x="480" y="1"/>
                    <a:pt x="9" y="480"/>
                    <a:pt x="1" y="1066"/>
                  </a:cubicBezTo>
                  <a:cubicBezTo>
                    <a:pt x="1" y="1708"/>
                    <a:pt x="527" y="2131"/>
                    <a:pt x="1073" y="2131"/>
                  </a:cubicBezTo>
                  <a:cubicBezTo>
                    <a:pt x="1337" y="2131"/>
                    <a:pt x="1605" y="2033"/>
                    <a:pt x="1822" y="1814"/>
                  </a:cubicBezTo>
                  <a:cubicBezTo>
                    <a:pt x="2496" y="1147"/>
                    <a:pt x="2017" y="1"/>
                    <a:pt x="1074"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746" name="Google Shape;1746;p104"/>
            <p:cNvSpPr/>
            <p:nvPr/>
          </p:nvSpPr>
          <p:spPr>
            <a:xfrm>
              <a:off x="3361450" y="3171075"/>
              <a:ext cx="62200" cy="53275"/>
            </a:xfrm>
            <a:custGeom>
              <a:avLst/>
              <a:gdLst/>
              <a:ahLst/>
              <a:cxnLst/>
              <a:rect l="l" t="t" r="r" b="b"/>
              <a:pathLst>
                <a:path w="2488" h="2131" extrusionOk="0">
                  <a:moveTo>
                    <a:pt x="1065" y="0"/>
                  </a:moveTo>
                  <a:cubicBezTo>
                    <a:pt x="472" y="0"/>
                    <a:pt x="0" y="472"/>
                    <a:pt x="0" y="1065"/>
                  </a:cubicBezTo>
                  <a:cubicBezTo>
                    <a:pt x="0" y="1707"/>
                    <a:pt x="523" y="2131"/>
                    <a:pt x="1067" y="2131"/>
                  </a:cubicBezTo>
                  <a:cubicBezTo>
                    <a:pt x="1329" y="2131"/>
                    <a:pt x="1597" y="2032"/>
                    <a:pt x="1813" y="1813"/>
                  </a:cubicBezTo>
                  <a:cubicBezTo>
                    <a:pt x="2488" y="1146"/>
                    <a:pt x="2016" y="0"/>
                    <a:pt x="1065"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747" name="Google Shape;1747;p104"/>
            <p:cNvSpPr/>
            <p:nvPr/>
          </p:nvSpPr>
          <p:spPr>
            <a:xfrm>
              <a:off x="3361450" y="2714000"/>
              <a:ext cx="62200" cy="53350"/>
            </a:xfrm>
            <a:custGeom>
              <a:avLst/>
              <a:gdLst/>
              <a:ahLst/>
              <a:cxnLst/>
              <a:rect l="l" t="t" r="r" b="b"/>
              <a:pathLst>
                <a:path w="2488" h="2134" extrusionOk="0">
                  <a:moveTo>
                    <a:pt x="1065" y="0"/>
                  </a:moveTo>
                  <a:cubicBezTo>
                    <a:pt x="472" y="0"/>
                    <a:pt x="0" y="480"/>
                    <a:pt x="0" y="1065"/>
                  </a:cubicBezTo>
                  <a:cubicBezTo>
                    <a:pt x="0" y="1709"/>
                    <a:pt x="526" y="2133"/>
                    <a:pt x="1072" y="2133"/>
                  </a:cubicBezTo>
                  <a:cubicBezTo>
                    <a:pt x="1332" y="2133"/>
                    <a:pt x="1598" y="2036"/>
                    <a:pt x="1813" y="1821"/>
                  </a:cubicBezTo>
                  <a:cubicBezTo>
                    <a:pt x="2488" y="1146"/>
                    <a:pt x="2016" y="0"/>
                    <a:pt x="1065"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748" name="Google Shape;1748;p104"/>
            <p:cNvSpPr/>
            <p:nvPr/>
          </p:nvSpPr>
          <p:spPr>
            <a:xfrm>
              <a:off x="3361450" y="2637775"/>
              <a:ext cx="62200" cy="53450"/>
            </a:xfrm>
            <a:custGeom>
              <a:avLst/>
              <a:gdLst/>
              <a:ahLst/>
              <a:cxnLst/>
              <a:rect l="l" t="t" r="r" b="b"/>
              <a:pathLst>
                <a:path w="2488" h="2138" extrusionOk="0">
                  <a:moveTo>
                    <a:pt x="1065" y="1"/>
                  </a:moveTo>
                  <a:cubicBezTo>
                    <a:pt x="472" y="9"/>
                    <a:pt x="0" y="480"/>
                    <a:pt x="0" y="1074"/>
                  </a:cubicBezTo>
                  <a:cubicBezTo>
                    <a:pt x="0" y="1712"/>
                    <a:pt x="525" y="2137"/>
                    <a:pt x="1073" y="2137"/>
                  </a:cubicBezTo>
                  <a:cubicBezTo>
                    <a:pt x="1335" y="2137"/>
                    <a:pt x="1603" y="2040"/>
                    <a:pt x="1821" y="1822"/>
                  </a:cubicBezTo>
                  <a:cubicBezTo>
                    <a:pt x="2488" y="1147"/>
                    <a:pt x="2016" y="1"/>
                    <a:pt x="1065"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749" name="Google Shape;1749;p104"/>
            <p:cNvSpPr/>
            <p:nvPr/>
          </p:nvSpPr>
          <p:spPr>
            <a:xfrm>
              <a:off x="3361450" y="2561575"/>
              <a:ext cx="62200" cy="53425"/>
            </a:xfrm>
            <a:custGeom>
              <a:avLst/>
              <a:gdLst/>
              <a:ahLst/>
              <a:cxnLst/>
              <a:rect l="l" t="t" r="r" b="b"/>
              <a:pathLst>
                <a:path w="2488" h="2137" extrusionOk="0">
                  <a:moveTo>
                    <a:pt x="1065" y="0"/>
                  </a:moveTo>
                  <a:cubicBezTo>
                    <a:pt x="472" y="8"/>
                    <a:pt x="0" y="480"/>
                    <a:pt x="0" y="1073"/>
                  </a:cubicBezTo>
                  <a:cubicBezTo>
                    <a:pt x="0" y="1711"/>
                    <a:pt x="525" y="2137"/>
                    <a:pt x="1070" y="2137"/>
                  </a:cubicBezTo>
                  <a:cubicBezTo>
                    <a:pt x="1332" y="2137"/>
                    <a:pt x="1597" y="2039"/>
                    <a:pt x="1813" y="1821"/>
                  </a:cubicBezTo>
                  <a:cubicBezTo>
                    <a:pt x="2488" y="1154"/>
                    <a:pt x="2016" y="0"/>
                    <a:pt x="1065"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750" name="Google Shape;1750;p104"/>
            <p:cNvSpPr/>
            <p:nvPr/>
          </p:nvSpPr>
          <p:spPr>
            <a:xfrm>
              <a:off x="3285225" y="3171075"/>
              <a:ext cx="62225" cy="53275"/>
            </a:xfrm>
            <a:custGeom>
              <a:avLst/>
              <a:gdLst/>
              <a:ahLst/>
              <a:cxnLst/>
              <a:rect l="l" t="t" r="r" b="b"/>
              <a:pathLst>
                <a:path w="2489" h="2131" extrusionOk="0">
                  <a:moveTo>
                    <a:pt x="1066" y="0"/>
                  </a:moveTo>
                  <a:cubicBezTo>
                    <a:pt x="480" y="0"/>
                    <a:pt x="1" y="472"/>
                    <a:pt x="1" y="1065"/>
                  </a:cubicBezTo>
                  <a:cubicBezTo>
                    <a:pt x="1" y="1707"/>
                    <a:pt x="523" y="2131"/>
                    <a:pt x="1070" y="2131"/>
                  </a:cubicBezTo>
                  <a:cubicBezTo>
                    <a:pt x="1333" y="2131"/>
                    <a:pt x="1602" y="2032"/>
                    <a:pt x="1822" y="1813"/>
                  </a:cubicBezTo>
                  <a:cubicBezTo>
                    <a:pt x="2488" y="1146"/>
                    <a:pt x="2017" y="0"/>
                    <a:pt x="1066"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751" name="Google Shape;1751;p104"/>
            <p:cNvSpPr/>
            <p:nvPr/>
          </p:nvSpPr>
          <p:spPr>
            <a:xfrm>
              <a:off x="3285225" y="3094850"/>
              <a:ext cx="62225" cy="53350"/>
            </a:xfrm>
            <a:custGeom>
              <a:avLst/>
              <a:gdLst/>
              <a:ahLst/>
              <a:cxnLst/>
              <a:rect l="l" t="t" r="r" b="b"/>
              <a:pathLst>
                <a:path w="2489" h="2134" extrusionOk="0">
                  <a:moveTo>
                    <a:pt x="1066" y="1"/>
                  </a:moveTo>
                  <a:cubicBezTo>
                    <a:pt x="480" y="1"/>
                    <a:pt x="1" y="480"/>
                    <a:pt x="1" y="1066"/>
                  </a:cubicBezTo>
                  <a:cubicBezTo>
                    <a:pt x="1" y="1709"/>
                    <a:pt x="526" y="2134"/>
                    <a:pt x="1075" y="2134"/>
                  </a:cubicBezTo>
                  <a:cubicBezTo>
                    <a:pt x="1337" y="2134"/>
                    <a:pt x="1604" y="2037"/>
                    <a:pt x="1822" y="1822"/>
                  </a:cubicBezTo>
                  <a:cubicBezTo>
                    <a:pt x="2488" y="1147"/>
                    <a:pt x="2017" y="1"/>
                    <a:pt x="1066"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752" name="Google Shape;1752;p104"/>
            <p:cNvSpPr/>
            <p:nvPr/>
          </p:nvSpPr>
          <p:spPr>
            <a:xfrm>
              <a:off x="3285225" y="2790200"/>
              <a:ext cx="62225" cy="53350"/>
            </a:xfrm>
            <a:custGeom>
              <a:avLst/>
              <a:gdLst/>
              <a:ahLst/>
              <a:cxnLst/>
              <a:rect l="l" t="t" r="r" b="b"/>
              <a:pathLst>
                <a:path w="2489" h="2134" extrusionOk="0">
                  <a:moveTo>
                    <a:pt x="1066" y="1"/>
                  </a:moveTo>
                  <a:cubicBezTo>
                    <a:pt x="480" y="1"/>
                    <a:pt x="1" y="480"/>
                    <a:pt x="1" y="1066"/>
                  </a:cubicBezTo>
                  <a:cubicBezTo>
                    <a:pt x="1" y="1709"/>
                    <a:pt x="526" y="2134"/>
                    <a:pt x="1075" y="2134"/>
                  </a:cubicBezTo>
                  <a:cubicBezTo>
                    <a:pt x="1337" y="2134"/>
                    <a:pt x="1604" y="2037"/>
                    <a:pt x="1822" y="1822"/>
                  </a:cubicBezTo>
                  <a:cubicBezTo>
                    <a:pt x="2488" y="1147"/>
                    <a:pt x="2017" y="1"/>
                    <a:pt x="1066"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753" name="Google Shape;1753;p104"/>
            <p:cNvSpPr/>
            <p:nvPr/>
          </p:nvSpPr>
          <p:spPr>
            <a:xfrm>
              <a:off x="3285225" y="2714000"/>
              <a:ext cx="62225" cy="53350"/>
            </a:xfrm>
            <a:custGeom>
              <a:avLst/>
              <a:gdLst/>
              <a:ahLst/>
              <a:cxnLst/>
              <a:rect l="l" t="t" r="r" b="b"/>
              <a:pathLst>
                <a:path w="2489" h="2134" extrusionOk="0">
                  <a:moveTo>
                    <a:pt x="1066" y="0"/>
                  </a:moveTo>
                  <a:cubicBezTo>
                    <a:pt x="480" y="0"/>
                    <a:pt x="1" y="480"/>
                    <a:pt x="1" y="1065"/>
                  </a:cubicBezTo>
                  <a:cubicBezTo>
                    <a:pt x="1" y="1709"/>
                    <a:pt x="526" y="2133"/>
                    <a:pt x="1075" y="2133"/>
                  </a:cubicBezTo>
                  <a:cubicBezTo>
                    <a:pt x="1337" y="2133"/>
                    <a:pt x="1604" y="2036"/>
                    <a:pt x="1822" y="1821"/>
                  </a:cubicBezTo>
                  <a:cubicBezTo>
                    <a:pt x="2488" y="1146"/>
                    <a:pt x="2017" y="0"/>
                    <a:pt x="1066"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754" name="Google Shape;1754;p104"/>
            <p:cNvSpPr/>
            <p:nvPr/>
          </p:nvSpPr>
          <p:spPr>
            <a:xfrm>
              <a:off x="3209025" y="3094850"/>
              <a:ext cx="62200" cy="53350"/>
            </a:xfrm>
            <a:custGeom>
              <a:avLst/>
              <a:gdLst/>
              <a:ahLst/>
              <a:cxnLst/>
              <a:rect l="l" t="t" r="r" b="b"/>
              <a:pathLst>
                <a:path w="2488" h="2134" extrusionOk="0">
                  <a:moveTo>
                    <a:pt x="1065" y="1"/>
                  </a:moveTo>
                  <a:cubicBezTo>
                    <a:pt x="480" y="1"/>
                    <a:pt x="0" y="480"/>
                    <a:pt x="0" y="1066"/>
                  </a:cubicBezTo>
                  <a:cubicBezTo>
                    <a:pt x="0" y="1709"/>
                    <a:pt x="526" y="2134"/>
                    <a:pt x="1074" y="2134"/>
                  </a:cubicBezTo>
                  <a:cubicBezTo>
                    <a:pt x="1336" y="2134"/>
                    <a:pt x="1603" y="2037"/>
                    <a:pt x="1821" y="1822"/>
                  </a:cubicBezTo>
                  <a:cubicBezTo>
                    <a:pt x="2488" y="1147"/>
                    <a:pt x="2016" y="1"/>
                    <a:pt x="1065"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755" name="Google Shape;1755;p104"/>
            <p:cNvSpPr/>
            <p:nvPr/>
          </p:nvSpPr>
          <p:spPr>
            <a:xfrm>
              <a:off x="3209025" y="3018650"/>
              <a:ext cx="62200" cy="53425"/>
            </a:xfrm>
            <a:custGeom>
              <a:avLst/>
              <a:gdLst/>
              <a:ahLst/>
              <a:cxnLst/>
              <a:rect l="l" t="t" r="r" b="b"/>
              <a:pathLst>
                <a:path w="2488" h="2137" extrusionOk="0">
                  <a:moveTo>
                    <a:pt x="1065" y="0"/>
                  </a:moveTo>
                  <a:cubicBezTo>
                    <a:pt x="480" y="0"/>
                    <a:pt x="0" y="480"/>
                    <a:pt x="0" y="1065"/>
                  </a:cubicBezTo>
                  <a:cubicBezTo>
                    <a:pt x="0" y="1709"/>
                    <a:pt x="525" y="2137"/>
                    <a:pt x="1074" y="2137"/>
                  </a:cubicBezTo>
                  <a:cubicBezTo>
                    <a:pt x="1336" y="2137"/>
                    <a:pt x="1603" y="2039"/>
                    <a:pt x="1821" y="1821"/>
                  </a:cubicBezTo>
                  <a:cubicBezTo>
                    <a:pt x="2488" y="1146"/>
                    <a:pt x="2016" y="0"/>
                    <a:pt x="1065"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756" name="Google Shape;1756;p104"/>
            <p:cNvSpPr/>
            <p:nvPr/>
          </p:nvSpPr>
          <p:spPr>
            <a:xfrm>
              <a:off x="3209025" y="2942425"/>
              <a:ext cx="62200" cy="53450"/>
            </a:xfrm>
            <a:custGeom>
              <a:avLst/>
              <a:gdLst/>
              <a:ahLst/>
              <a:cxnLst/>
              <a:rect l="l" t="t" r="r" b="b"/>
              <a:pathLst>
                <a:path w="2488" h="2138" extrusionOk="0">
                  <a:moveTo>
                    <a:pt x="1065" y="1"/>
                  </a:moveTo>
                  <a:cubicBezTo>
                    <a:pt x="480" y="9"/>
                    <a:pt x="0" y="480"/>
                    <a:pt x="0" y="1066"/>
                  </a:cubicBezTo>
                  <a:cubicBezTo>
                    <a:pt x="0" y="1709"/>
                    <a:pt x="525" y="2137"/>
                    <a:pt x="1074" y="2137"/>
                  </a:cubicBezTo>
                  <a:cubicBezTo>
                    <a:pt x="1336" y="2137"/>
                    <a:pt x="1603" y="2040"/>
                    <a:pt x="1821" y="1822"/>
                  </a:cubicBezTo>
                  <a:cubicBezTo>
                    <a:pt x="2488" y="1147"/>
                    <a:pt x="2016" y="1"/>
                    <a:pt x="1065"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757" name="Google Shape;1757;p104"/>
            <p:cNvSpPr/>
            <p:nvPr/>
          </p:nvSpPr>
          <p:spPr>
            <a:xfrm>
              <a:off x="3209025" y="2866425"/>
              <a:ext cx="62200" cy="53275"/>
            </a:xfrm>
            <a:custGeom>
              <a:avLst/>
              <a:gdLst/>
              <a:ahLst/>
              <a:cxnLst/>
              <a:rect l="l" t="t" r="r" b="b"/>
              <a:pathLst>
                <a:path w="2488" h="2131" extrusionOk="0">
                  <a:moveTo>
                    <a:pt x="1065" y="0"/>
                  </a:moveTo>
                  <a:cubicBezTo>
                    <a:pt x="480" y="0"/>
                    <a:pt x="0" y="472"/>
                    <a:pt x="0" y="1065"/>
                  </a:cubicBezTo>
                  <a:cubicBezTo>
                    <a:pt x="0" y="1707"/>
                    <a:pt x="522" y="2131"/>
                    <a:pt x="1069" y="2131"/>
                  </a:cubicBezTo>
                  <a:cubicBezTo>
                    <a:pt x="1333" y="2131"/>
                    <a:pt x="1602" y="2032"/>
                    <a:pt x="1821" y="1813"/>
                  </a:cubicBezTo>
                  <a:cubicBezTo>
                    <a:pt x="2488" y="1146"/>
                    <a:pt x="2016" y="0"/>
                    <a:pt x="1065"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758" name="Google Shape;1758;p104"/>
            <p:cNvSpPr/>
            <p:nvPr/>
          </p:nvSpPr>
          <p:spPr>
            <a:xfrm>
              <a:off x="3209025" y="2790200"/>
              <a:ext cx="62200" cy="53350"/>
            </a:xfrm>
            <a:custGeom>
              <a:avLst/>
              <a:gdLst/>
              <a:ahLst/>
              <a:cxnLst/>
              <a:rect l="l" t="t" r="r" b="b"/>
              <a:pathLst>
                <a:path w="2488" h="2134" extrusionOk="0">
                  <a:moveTo>
                    <a:pt x="1065" y="1"/>
                  </a:moveTo>
                  <a:cubicBezTo>
                    <a:pt x="480" y="1"/>
                    <a:pt x="0" y="480"/>
                    <a:pt x="0" y="1066"/>
                  </a:cubicBezTo>
                  <a:cubicBezTo>
                    <a:pt x="0" y="1709"/>
                    <a:pt x="526" y="2134"/>
                    <a:pt x="1074" y="2134"/>
                  </a:cubicBezTo>
                  <a:cubicBezTo>
                    <a:pt x="1336" y="2134"/>
                    <a:pt x="1603" y="2037"/>
                    <a:pt x="1821" y="1822"/>
                  </a:cubicBezTo>
                  <a:cubicBezTo>
                    <a:pt x="2488" y="1147"/>
                    <a:pt x="2016" y="1"/>
                    <a:pt x="1065"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759" name="Google Shape;1759;p104"/>
            <p:cNvSpPr/>
            <p:nvPr/>
          </p:nvSpPr>
          <p:spPr>
            <a:xfrm>
              <a:off x="4199400" y="2942425"/>
              <a:ext cx="62200" cy="53450"/>
            </a:xfrm>
            <a:custGeom>
              <a:avLst/>
              <a:gdLst/>
              <a:ahLst/>
              <a:cxnLst/>
              <a:rect l="l" t="t" r="r" b="b"/>
              <a:pathLst>
                <a:path w="2488" h="2138" extrusionOk="0">
                  <a:moveTo>
                    <a:pt x="1065" y="1"/>
                  </a:moveTo>
                  <a:cubicBezTo>
                    <a:pt x="480" y="1"/>
                    <a:pt x="0" y="480"/>
                    <a:pt x="0" y="1066"/>
                  </a:cubicBezTo>
                  <a:cubicBezTo>
                    <a:pt x="0" y="1709"/>
                    <a:pt x="525" y="2137"/>
                    <a:pt x="1074" y="2137"/>
                  </a:cubicBezTo>
                  <a:cubicBezTo>
                    <a:pt x="1336" y="2137"/>
                    <a:pt x="1603" y="2040"/>
                    <a:pt x="1821" y="1822"/>
                  </a:cubicBezTo>
                  <a:cubicBezTo>
                    <a:pt x="2488" y="1147"/>
                    <a:pt x="2016" y="1"/>
                    <a:pt x="1065"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760" name="Google Shape;1760;p104"/>
            <p:cNvSpPr/>
            <p:nvPr/>
          </p:nvSpPr>
          <p:spPr>
            <a:xfrm>
              <a:off x="3132800" y="1114325"/>
              <a:ext cx="62425" cy="53350"/>
            </a:xfrm>
            <a:custGeom>
              <a:avLst/>
              <a:gdLst/>
              <a:ahLst/>
              <a:cxnLst/>
              <a:rect l="l" t="t" r="r" b="b"/>
              <a:pathLst>
                <a:path w="2497" h="2134" extrusionOk="0">
                  <a:moveTo>
                    <a:pt x="1066" y="1"/>
                  </a:moveTo>
                  <a:cubicBezTo>
                    <a:pt x="480" y="1"/>
                    <a:pt x="1" y="480"/>
                    <a:pt x="1" y="1065"/>
                  </a:cubicBezTo>
                  <a:cubicBezTo>
                    <a:pt x="1" y="1709"/>
                    <a:pt x="526" y="2133"/>
                    <a:pt x="1075" y="2133"/>
                  </a:cubicBezTo>
                  <a:cubicBezTo>
                    <a:pt x="1337" y="2133"/>
                    <a:pt x="1604" y="2037"/>
                    <a:pt x="1822" y="1822"/>
                  </a:cubicBezTo>
                  <a:cubicBezTo>
                    <a:pt x="2496" y="1147"/>
                    <a:pt x="2017" y="1"/>
                    <a:pt x="1066"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761" name="Google Shape;1761;p104"/>
            <p:cNvSpPr/>
            <p:nvPr/>
          </p:nvSpPr>
          <p:spPr>
            <a:xfrm>
              <a:off x="3056800" y="1114325"/>
              <a:ext cx="62200" cy="53350"/>
            </a:xfrm>
            <a:custGeom>
              <a:avLst/>
              <a:gdLst/>
              <a:ahLst/>
              <a:cxnLst/>
              <a:rect l="l" t="t" r="r" b="b"/>
              <a:pathLst>
                <a:path w="2488" h="2134" extrusionOk="0">
                  <a:moveTo>
                    <a:pt x="1065" y="1"/>
                  </a:moveTo>
                  <a:cubicBezTo>
                    <a:pt x="480" y="1"/>
                    <a:pt x="0" y="480"/>
                    <a:pt x="0" y="1065"/>
                  </a:cubicBezTo>
                  <a:cubicBezTo>
                    <a:pt x="0" y="1709"/>
                    <a:pt x="526" y="2133"/>
                    <a:pt x="1074" y="2133"/>
                  </a:cubicBezTo>
                  <a:cubicBezTo>
                    <a:pt x="1336" y="2133"/>
                    <a:pt x="1603" y="2037"/>
                    <a:pt x="1821" y="1822"/>
                  </a:cubicBezTo>
                  <a:cubicBezTo>
                    <a:pt x="2488" y="1147"/>
                    <a:pt x="2016" y="1"/>
                    <a:pt x="1065"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762" name="Google Shape;1762;p104"/>
            <p:cNvSpPr/>
            <p:nvPr/>
          </p:nvSpPr>
          <p:spPr>
            <a:xfrm>
              <a:off x="4351600" y="1647400"/>
              <a:ext cx="62425" cy="53450"/>
            </a:xfrm>
            <a:custGeom>
              <a:avLst/>
              <a:gdLst/>
              <a:ahLst/>
              <a:cxnLst/>
              <a:rect l="l" t="t" r="r" b="b"/>
              <a:pathLst>
                <a:path w="2497" h="2138" extrusionOk="0">
                  <a:moveTo>
                    <a:pt x="1074" y="1"/>
                  </a:moveTo>
                  <a:cubicBezTo>
                    <a:pt x="481" y="1"/>
                    <a:pt x="9" y="481"/>
                    <a:pt x="1" y="1066"/>
                  </a:cubicBezTo>
                  <a:cubicBezTo>
                    <a:pt x="1" y="1710"/>
                    <a:pt x="530" y="2138"/>
                    <a:pt x="1078" y="2138"/>
                  </a:cubicBezTo>
                  <a:cubicBezTo>
                    <a:pt x="1340" y="2138"/>
                    <a:pt x="1607" y="2040"/>
                    <a:pt x="1822" y="1822"/>
                  </a:cubicBezTo>
                  <a:cubicBezTo>
                    <a:pt x="2497" y="1155"/>
                    <a:pt x="2017" y="1"/>
                    <a:pt x="1074"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763" name="Google Shape;1763;p104"/>
            <p:cNvSpPr/>
            <p:nvPr/>
          </p:nvSpPr>
          <p:spPr>
            <a:xfrm>
              <a:off x="4351600" y="1723625"/>
              <a:ext cx="62425" cy="53350"/>
            </a:xfrm>
            <a:custGeom>
              <a:avLst/>
              <a:gdLst/>
              <a:ahLst/>
              <a:cxnLst/>
              <a:rect l="l" t="t" r="r" b="b"/>
              <a:pathLst>
                <a:path w="2497" h="2134" extrusionOk="0">
                  <a:moveTo>
                    <a:pt x="1074" y="1"/>
                  </a:moveTo>
                  <a:cubicBezTo>
                    <a:pt x="481" y="1"/>
                    <a:pt x="9" y="480"/>
                    <a:pt x="1" y="1065"/>
                  </a:cubicBezTo>
                  <a:cubicBezTo>
                    <a:pt x="1" y="1709"/>
                    <a:pt x="530" y="2133"/>
                    <a:pt x="1079" y="2133"/>
                  </a:cubicBezTo>
                  <a:cubicBezTo>
                    <a:pt x="1340" y="2133"/>
                    <a:pt x="1607" y="2037"/>
                    <a:pt x="1822" y="1822"/>
                  </a:cubicBezTo>
                  <a:cubicBezTo>
                    <a:pt x="2497" y="1147"/>
                    <a:pt x="2017" y="1"/>
                    <a:pt x="1074"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764" name="Google Shape;1764;p104"/>
            <p:cNvSpPr/>
            <p:nvPr/>
          </p:nvSpPr>
          <p:spPr>
            <a:xfrm>
              <a:off x="4351600" y="1799850"/>
              <a:ext cx="62425" cy="53325"/>
            </a:xfrm>
            <a:custGeom>
              <a:avLst/>
              <a:gdLst/>
              <a:ahLst/>
              <a:cxnLst/>
              <a:rect l="l" t="t" r="r" b="b"/>
              <a:pathLst>
                <a:path w="2497" h="2133" extrusionOk="0">
                  <a:moveTo>
                    <a:pt x="1074" y="0"/>
                  </a:moveTo>
                  <a:cubicBezTo>
                    <a:pt x="481" y="0"/>
                    <a:pt x="9" y="480"/>
                    <a:pt x="1" y="1065"/>
                  </a:cubicBezTo>
                  <a:cubicBezTo>
                    <a:pt x="1" y="1709"/>
                    <a:pt x="530" y="2133"/>
                    <a:pt x="1079" y="2133"/>
                  </a:cubicBezTo>
                  <a:cubicBezTo>
                    <a:pt x="1340" y="2133"/>
                    <a:pt x="1607" y="2036"/>
                    <a:pt x="1822" y="1821"/>
                  </a:cubicBezTo>
                  <a:cubicBezTo>
                    <a:pt x="2497" y="1146"/>
                    <a:pt x="2017" y="0"/>
                    <a:pt x="1074"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765" name="Google Shape;1765;p104"/>
            <p:cNvSpPr/>
            <p:nvPr/>
          </p:nvSpPr>
          <p:spPr>
            <a:xfrm>
              <a:off x="4351600" y="1876050"/>
              <a:ext cx="62425" cy="53350"/>
            </a:xfrm>
            <a:custGeom>
              <a:avLst/>
              <a:gdLst/>
              <a:ahLst/>
              <a:cxnLst/>
              <a:rect l="l" t="t" r="r" b="b"/>
              <a:pathLst>
                <a:path w="2497" h="2134" extrusionOk="0">
                  <a:moveTo>
                    <a:pt x="1074" y="1"/>
                  </a:moveTo>
                  <a:cubicBezTo>
                    <a:pt x="481" y="1"/>
                    <a:pt x="9" y="472"/>
                    <a:pt x="1" y="1066"/>
                  </a:cubicBezTo>
                  <a:cubicBezTo>
                    <a:pt x="1" y="1709"/>
                    <a:pt x="530" y="2133"/>
                    <a:pt x="1079" y="2133"/>
                  </a:cubicBezTo>
                  <a:cubicBezTo>
                    <a:pt x="1340" y="2133"/>
                    <a:pt x="1607" y="2037"/>
                    <a:pt x="1822" y="1822"/>
                  </a:cubicBezTo>
                  <a:cubicBezTo>
                    <a:pt x="2497" y="1147"/>
                    <a:pt x="2017" y="1"/>
                    <a:pt x="1074"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766" name="Google Shape;1766;p104"/>
            <p:cNvSpPr/>
            <p:nvPr/>
          </p:nvSpPr>
          <p:spPr>
            <a:xfrm>
              <a:off x="4351600" y="1952050"/>
              <a:ext cx="62425" cy="53450"/>
            </a:xfrm>
            <a:custGeom>
              <a:avLst/>
              <a:gdLst/>
              <a:ahLst/>
              <a:cxnLst/>
              <a:rect l="l" t="t" r="r" b="b"/>
              <a:pathLst>
                <a:path w="2497" h="2138" extrusionOk="0">
                  <a:moveTo>
                    <a:pt x="1074" y="1"/>
                  </a:moveTo>
                  <a:cubicBezTo>
                    <a:pt x="481" y="9"/>
                    <a:pt x="9" y="481"/>
                    <a:pt x="1" y="1074"/>
                  </a:cubicBezTo>
                  <a:cubicBezTo>
                    <a:pt x="1" y="1712"/>
                    <a:pt x="529" y="2138"/>
                    <a:pt x="1077" y="2138"/>
                  </a:cubicBezTo>
                  <a:cubicBezTo>
                    <a:pt x="1339" y="2138"/>
                    <a:pt x="1606" y="2040"/>
                    <a:pt x="1822" y="1822"/>
                  </a:cubicBezTo>
                  <a:cubicBezTo>
                    <a:pt x="2497" y="1155"/>
                    <a:pt x="2017" y="1"/>
                    <a:pt x="1074"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767" name="Google Shape;1767;p104"/>
            <p:cNvSpPr/>
            <p:nvPr/>
          </p:nvSpPr>
          <p:spPr>
            <a:xfrm>
              <a:off x="4351600" y="2028275"/>
              <a:ext cx="62425" cy="53450"/>
            </a:xfrm>
            <a:custGeom>
              <a:avLst/>
              <a:gdLst/>
              <a:ahLst/>
              <a:cxnLst/>
              <a:rect l="l" t="t" r="r" b="b"/>
              <a:pathLst>
                <a:path w="2497" h="2138" extrusionOk="0">
                  <a:moveTo>
                    <a:pt x="1074" y="1"/>
                  </a:moveTo>
                  <a:cubicBezTo>
                    <a:pt x="481" y="1"/>
                    <a:pt x="9" y="480"/>
                    <a:pt x="1" y="1065"/>
                  </a:cubicBezTo>
                  <a:cubicBezTo>
                    <a:pt x="1" y="1709"/>
                    <a:pt x="530" y="2137"/>
                    <a:pt x="1078" y="2137"/>
                  </a:cubicBezTo>
                  <a:cubicBezTo>
                    <a:pt x="1340" y="2137"/>
                    <a:pt x="1607" y="2040"/>
                    <a:pt x="1822" y="1821"/>
                  </a:cubicBezTo>
                  <a:cubicBezTo>
                    <a:pt x="2497" y="1147"/>
                    <a:pt x="2017" y="1"/>
                    <a:pt x="1074"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768" name="Google Shape;1768;p104"/>
            <p:cNvSpPr/>
            <p:nvPr/>
          </p:nvSpPr>
          <p:spPr>
            <a:xfrm>
              <a:off x="4351600" y="2104500"/>
              <a:ext cx="62425" cy="53325"/>
            </a:xfrm>
            <a:custGeom>
              <a:avLst/>
              <a:gdLst/>
              <a:ahLst/>
              <a:cxnLst/>
              <a:rect l="l" t="t" r="r" b="b"/>
              <a:pathLst>
                <a:path w="2497" h="2133" extrusionOk="0">
                  <a:moveTo>
                    <a:pt x="1074" y="0"/>
                  </a:moveTo>
                  <a:cubicBezTo>
                    <a:pt x="481" y="0"/>
                    <a:pt x="9" y="480"/>
                    <a:pt x="1" y="1065"/>
                  </a:cubicBezTo>
                  <a:cubicBezTo>
                    <a:pt x="1" y="1709"/>
                    <a:pt x="530" y="2133"/>
                    <a:pt x="1079" y="2133"/>
                  </a:cubicBezTo>
                  <a:cubicBezTo>
                    <a:pt x="1340" y="2133"/>
                    <a:pt x="1607" y="2036"/>
                    <a:pt x="1822" y="1821"/>
                  </a:cubicBezTo>
                  <a:cubicBezTo>
                    <a:pt x="2497" y="1146"/>
                    <a:pt x="2017" y="0"/>
                    <a:pt x="1074"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769" name="Google Shape;1769;p104"/>
            <p:cNvSpPr/>
            <p:nvPr/>
          </p:nvSpPr>
          <p:spPr>
            <a:xfrm>
              <a:off x="3970950" y="1876050"/>
              <a:ext cx="62225" cy="53350"/>
            </a:xfrm>
            <a:custGeom>
              <a:avLst/>
              <a:gdLst/>
              <a:ahLst/>
              <a:cxnLst/>
              <a:rect l="l" t="t" r="r" b="b"/>
              <a:pathLst>
                <a:path w="2489" h="2134" extrusionOk="0">
                  <a:moveTo>
                    <a:pt x="1065" y="1"/>
                  </a:moveTo>
                  <a:cubicBezTo>
                    <a:pt x="472" y="1"/>
                    <a:pt x="1" y="472"/>
                    <a:pt x="1" y="1066"/>
                  </a:cubicBezTo>
                  <a:cubicBezTo>
                    <a:pt x="1" y="1709"/>
                    <a:pt x="526" y="2133"/>
                    <a:pt x="1072" y="2133"/>
                  </a:cubicBezTo>
                  <a:cubicBezTo>
                    <a:pt x="1333" y="2133"/>
                    <a:pt x="1598" y="2037"/>
                    <a:pt x="1813" y="1822"/>
                  </a:cubicBezTo>
                  <a:cubicBezTo>
                    <a:pt x="2488" y="1147"/>
                    <a:pt x="2017" y="1"/>
                    <a:pt x="1065"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770" name="Google Shape;1770;p104"/>
            <p:cNvSpPr/>
            <p:nvPr/>
          </p:nvSpPr>
          <p:spPr>
            <a:xfrm>
              <a:off x="3970950" y="1952050"/>
              <a:ext cx="62225" cy="53450"/>
            </a:xfrm>
            <a:custGeom>
              <a:avLst/>
              <a:gdLst/>
              <a:ahLst/>
              <a:cxnLst/>
              <a:rect l="l" t="t" r="r" b="b"/>
              <a:pathLst>
                <a:path w="2489" h="2138" extrusionOk="0">
                  <a:moveTo>
                    <a:pt x="1065" y="1"/>
                  </a:moveTo>
                  <a:cubicBezTo>
                    <a:pt x="472" y="9"/>
                    <a:pt x="1" y="481"/>
                    <a:pt x="1" y="1074"/>
                  </a:cubicBezTo>
                  <a:cubicBezTo>
                    <a:pt x="1" y="1712"/>
                    <a:pt x="525" y="2138"/>
                    <a:pt x="1071" y="2138"/>
                  </a:cubicBezTo>
                  <a:cubicBezTo>
                    <a:pt x="1332" y="2138"/>
                    <a:pt x="1598" y="2040"/>
                    <a:pt x="1813" y="1822"/>
                  </a:cubicBezTo>
                  <a:cubicBezTo>
                    <a:pt x="2488" y="1155"/>
                    <a:pt x="2017" y="1"/>
                    <a:pt x="1065"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771" name="Google Shape;1771;p104"/>
            <p:cNvSpPr/>
            <p:nvPr/>
          </p:nvSpPr>
          <p:spPr>
            <a:xfrm>
              <a:off x="3666100" y="1952050"/>
              <a:ext cx="62200" cy="53450"/>
            </a:xfrm>
            <a:custGeom>
              <a:avLst/>
              <a:gdLst/>
              <a:ahLst/>
              <a:cxnLst/>
              <a:rect l="l" t="t" r="r" b="b"/>
              <a:pathLst>
                <a:path w="2488" h="2138" extrusionOk="0">
                  <a:moveTo>
                    <a:pt x="1065" y="1"/>
                  </a:moveTo>
                  <a:cubicBezTo>
                    <a:pt x="480" y="9"/>
                    <a:pt x="0" y="481"/>
                    <a:pt x="0" y="1074"/>
                  </a:cubicBezTo>
                  <a:cubicBezTo>
                    <a:pt x="0" y="1712"/>
                    <a:pt x="525" y="2138"/>
                    <a:pt x="1073" y="2138"/>
                  </a:cubicBezTo>
                  <a:cubicBezTo>
                    <a:pt x="1335" y="2138"/>
                    <a:pt x="1603" y="2040"/>
                    <a:pt x="1821" y="1822"/>
                  </a:cubicBezTo>
                  <a:cubicBezTo>
                    <a:pt x="2488" y="1155"/>
                    <a:pt x="2016" y="1"/>
                    <a:pt x="1065"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772" name="Google Shape;1772;p104"/>
            <p:cNvSpPr/>
            <p:nvPr/>
          </p:nvSpPr>
          <p:spPr>
            <a:xfrm>
              <a:off x="3742300" y="2028275"/>
              <a:ext cx="62225" cy="53450"/>
            </a:xfrm>
            <a:custGeom>
              <a:avLst/>
              <a:gdLst/>
              <a:ahLst/>
              <a:cxnLst/>
              <a:rect l="l" t="t" r="r" b="b"/>
              <a:pathLst>
                <a:path w="2489" h="2138" extrusionOk="0">
                  <a:moveTo>
                    <a:pt x="1066" y="1"/>
                  </a:moveTo>
                  <a:cubicBezTo>
                    <a:pt x="481" y="1"/>
                    <a:pt x="1" y="480"/>
                    <a:pt x="1" y="1065"/>
                  </a:cubicBezTo>
                  <a:cubicBezTo>
                    <a:pt x="1" y="1709"/>
                    <a:pt x="526" y="2137"/>
                    <a:pt x="1072" y="2137"/>
                  </a:cubicBezTo>
                  <a:cubicBezTo>
                    <a:pt x="1333" y="2137"/>
                    <a:pt x="1598" y="2040"/>
                    <a:pt x="1814" y="1821"/>
                  </a:cubicBezTo>
                  <a:cubicBezTo>
                    <a:pt x="2489" y="1155"/>
                    <a:pt x="2017" y="1"/>
                    <a:pt x="1066"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773" name="Google Shape;1773;p104"/>
            <p:cNvSpPr/>
            <p:nvPr/>
          </p:nvSpPr>
          <p:spPr>
            <a:xfrm>
              <a:off x="3742300" y="1952050"/>
              <a:ext cx="62225" cy="53450"/>
            </a:xfrm>
            <a:custGeom>
              <a:avLst/>
              <a:gdLst/>
              <a:ahLst/>
              <a:cxnLst/>
              <a:rect l="l" t="t" r="r" b="b"/>
              <a:pathLst>
                <a:path w="2489" h="2138" extrusionOk="0">
                  <a:moveTo>
                    <a:pt x="1066" y="1"/>
                  </a:moveTo>
                  <a:cubicBezTo>
                    <a:pt x="481" y="9"/>
                    <a:pt x="1" y="481"/>
                    <a:pt x="1" y="1074"/>
                  </a:cubicBezTo>
                  <a:cubicBezTo>
                    <a:pt x="1" y="1712"/>
                    <a:pt x="525" y="2138"/>
                    <a:pt x="1071" y="2138"/>
                  </a:cubicBezTo>
                  <a:cubicBezTo>
                    <a:pt x="1332" y="2138"/>
                    <a:pt x="1598" y="2040"/>
                    <a:pt x="1814" y="1822"/>
                  </a:cubicBezTo>
                  <a:cubicBezTo>
                    <a:pt x="2489" y="1155"/>
                    <a:pt x="2017" y="9"/>
                    <a:pt x="1066"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774" name="Google Shape;1774;p104"/>
            <p:cNvSpPr/>
            <p:nvPr/>
          </p:nvSpPr>
          <p:spPr>
            <a:xfrm>
              <a:off x="3818525" y="1952050"/>
              <a:ext cx="62225" cy="53450"/>
            </a:xfrm>
            <a:custGeom>
              <a:avLst/>
              <a:gdLst/>
              <a:ahLst/>
              <a:cxnLst/>
              <a:rect l="l" t="t" r="r" b="b"/>
              <a:pathLst>
                <a:path w="2489" h="2138" extrusionOk="0">
                  <a:moveTo>
                    <a:pt x="1065" y="1"/>
                  </a:moveTo>
                  <a:cubicBezTo>
                    <a:pt x="480" y="9"/>
                    <a:pt x="0" y="481"/>
                    <a:pt x="0" y="1074"/>
                  </a:cubicBezTo>
                  <a:cubicBezTo>
                    <a:pt x="0" y="1712"/>
                    <a:pt x="525" y="2138"/>
                    <a:pt x="1073" y="2138"/>
                  </a:cubicBezTo>
                  <a:cubicBezTo>
                    <a:pt x="1335" y="2138"/>
                    <a:pt x="1603" y="2040"/>
                    <a:pt x="1821" y="1822"/>
                  </a:cubicBezTo>
                  <a:cubicBezTo>
                    <a:pt x="2488" y="1155"/>
                    <a:pt x="2017" y="1"/>
                    <a:pt x="1065"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775" name="Google Shape;1775;p104"/>
            <p:cNvSpPr/>
            <p:nvPr/>
          </p:nvSpPr>
          <p:spPr>
            <a:xfrm>
              <a:off x="3894725" y="1952050"/>
              <a:ext cx="62225" cy="53450"/>
            </a:xfrm>
            <a:custGeom>
              <a:avLst/>
              <a:gdLst/>
              <a:ahLst/>
              <a:cxnLst/>
              <a:rect l="l" t="t" r="r" b="b"/>
              <a:pathLst>
                <a:path w="2489" h="2138" extrusionOk="0">
                  <a:moveTo>
                    <a:pt x="1066" y="1"/>
                  </a:moveTo>
                  <a:cubicBezTo>
                    <a:pt x="481" y="9"/>
                    <a:pt x="1" y="481"/>
                    <a:pt x="1" y="1074"/>
                  </a:cubicBezTo>
                  <a:cubicBezTo>
                    <a:pt x="1" y="1712"/>
                    <a:pt x="525" y="2138"/>
                    <a:pt x="1074" y="2138"/>
                  </a:cubicBezTo>
                  <a:cubicBezTo>
                    <a:pt x="1336" y="2138"/>
                    <a:pt x="1604" y="2040"/>
                    <a:pt x="1822" y="1822"/>
                  </a:cubicBezTo>
                  <a:cubicBezTo>
                    <a:pt x="2489" y="1155"/>
                    <a:pt x="2017" y="1"/>
                    <a:pt x="1066"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776" name="Google Shape;1776;p104"/>
            <p:cNvSpPr/>
            <p:nvPr/>
          </p:nvSpPr>
          <p:spPr>
            <a:xfrm>
              <a:off x="3894725" y="2028275"/>
              <a:ext cx="62225" cy="53450"/>
            </a:xfrm>
            <a:custGeom>
              <a:avLst/>
              <a:gdLst/>
              <a:ahLst/>
              <a:cxnLst/>
              <a:rect l="l" t="t" r="r" b="b"/>
              <a:pathLst>
                <a:path w="2489" h="2138" extrusionOk="0">
                  <a:moveTo>
                    <a:pt x="1066" y="1"/>
                  </a:moveTo>
                  <a:cubicBezTo>
                    <a:pt x="481" y="1"/>
                    <a:pt x="1" y="480"/>
                    <a:pt x="1" y="1065"/>
                  </a:cubicBezTo>
                  <a:cubicBezTo>
                    <a:pt x="1" y="1709"/>
                    <a:pt x="526" y="2137"/>
                    <a:pt x="1075" y="2137"/>
                  </a:cubicBezTo>
                  <a:cubicBezTo>
                    <a:pt x="1337" y="2137"/>
                    <a:pt x="1604" y="2040"/>
                    <a:pt x="1822" y="1821"/>
                  </a:cubicBezTo>
                  <a:cubicBezTo>
                    <a:pt x="2489" y="1147"/>
                    <a:pt x="2017" y="1"/>
                    <a:pt x="1066"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777" name="Google Shape;1777;p104"/>
            <p:cNvSpPr/>
            <p:nvPr/>
          </p:nvSpPr>
          <p:spPr>
            <a:xfrm>
              <a:off x="3970950" y="2028275"/>
              <a:ext cx="62225" cy="53450"/>
            </a:xfrm>
            <a:custGeom>
              <a:avLst/>
              <a:gdLst/>
              <a:ahLst/>
              <a:cxnLst/>
              <a:rect l="l" t="t" r="r" b="b"/>
              <a:pathLst>
                <a:path w="2489" h="2138" extrusionOk="0">
                  <a:moveTo>
                    <a:pt x="1065" y="1"/>
                  </a:moveTo>
                  <a:cubicBezTo>
                    <a:pt x="472" y="1"/>
                    <a:pt x="1" y="480"/>
                    <a:pt x="1" y="1065"/>
                  </a:cubicBezTo>
                  <a:cubicBezTo>
                    <a:pt x="1" y="1709"/>
                    <a:pt x="526" y="2137"/>
                    <a:pt x="1072" y="2137"/>
                  </a:cubicBezTo>
                  <a:cubicBezTo>
                    <a:pt x="1332" y="2137"/>
                    <a:pt x="1598" y="2040"/>
                    <a:pt x="1813" y="1821"/>
                  </a:cubicBezTo>
                  <a:cubicBezTo>
                    <a:pt x="2488" y="1147"/>
                    <a:pt x="2017" y="1"/>
                    <a:pt x="1065"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778" name="Google Shape;1778;p104"/>
            <p:cNvSpPr/>
            <p:nvPr/>
          </p:nvSpPr>
          <p:spPr>
            <a:xfrm>
              <a:off x="3970950" y="2104500"/>
              <a:ext cx="62225" cy="53325"/>
            </a:xfrm>
            <a:custGeom>
              <a:avLst/>
              <a:gdLst/>
              <a:ahLst/>
              <a:cxnLst/>
              <a:rect l="l" t="t" r="r" b="b"/>
              <a:pathLst>
                <a:path w="2489" h="2133" extrusionOk="0">
                  <a:moveTo>
                    <a:pt x="1065" y="0"/>
                  </a:moveTo>
                  <a:cubicBezTo>
                    <a:pt x="472" y="0"/>
                    <a:pt x="1" y="480"/>
                    <a:pt x="1" y="1065"/>
                  </a:cubicBezTo>
                  <a:cubicBezTo>
                    <a:pt x="1" y="1709"/>
                    <a:pt x="526" y="2133"/>
                    <a:pt x="1072" y="2133"/>
                  </a:cubicBezTo>
                  <a:cubicBezTo>
                    <a:pt x="1333" y="2133"/>
                    <a:pt x="1598" y="2036"/>
                    <a:pt x="1813" y="1821"/>
                  </a:cubicBezTo>
                  <a:cubicBezTo>
                    <a:pt x="2488" y="1146"/>
                    <a:pt x="2017" y="0"/>
                    <a:pt x="1065"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779" name="Google Shape;1779;p104"/>
            <p:cNvSpPr/>
            <p:nvPr/>
          </p:nvSpPr>
          <p:spPr>
            <a:xfrm>
              <a:off x="4046950" y="1876050"/>
              <a:ext cx="62425" cy="53275"/>
            </a:xfrm>
            <a:custGeom>
              <a:avLst/>
              <a:gdLst/>
              <a:ahLst/>
              <a:cxnLst/>
              <a:rect l="l" t="t" r="r" b="b"/>
              <a:pathLst>
                <a:path w="2497" h="2131" extrusionOk="0">
                  <a:moveTo>
                    <a:pt x="1074" y="1"/>
                  </a:moveTo>
                  <a:cubicBezTo>
                    <a:pt x="481" y="1"/>
                    <a:pt x="9" y="472"/>
                    <a:pt x="1" y="1066"/>
                  </a:cubicBezTo>
                  <a:cubicBezTo>
                    <a:pt x="1" y="1707"/>
                    <a:pt x="527" y="2131"/>
                    <a:pt x="1074" y="2131"/>
                  </a:cubicBezTo>
                  <a:cubicBezTo>
                    <a:pt x="1337" y="2131"/>
                    <a:pt x="1605" y="2033"/>
                    <a:pt x="1822" y="1813"/>
                  </a:cubicBezTo>
                  <a:cubicBezTo>
                    <a:pt x="2497" y="1147"/>
                    <a:pt x="2017" y="1"/>
                    <a:pt x="1074"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780" name="Google Shape;1780;p104"/>
            <p:cNvSpPr/>
            <p:nvPr/>
          </p:nvSpPr>
          <p:spPr>
            <a:xfrm>
              <a:off x="4046950" y="1952050"/>
              <a:ext cx="62425" cy="53450"/>
            </a:xfrm>
            <a:custGeom>
              <a:avLst/>
              <a:gdLst/>
              <a:ahLst/>
              <a:cxnLst/>
              <a:rect l="l" t="t" r="r" b="b"/>
              <a:pathLst>
                <a:path w="2497" h="2138" extrusionOk="0">
                  <a:moveTo>
                    <a:pt x="1074" y="1"/>
                  </a:moveTo>
                  <a:cubicBezTo>
                    <a:pt x="481" y="9"/>
                    <a:pt x="9" y="481"/>
                    <a:pt x="1" y="1074"/>
                  </a:cubicBezTo>
                  <a:cubicBezTo>
                    <a:pt x="1" y="1712"/>
                    <a:pt x="529" y="2138"/>
                    <a:pt x="1077" y="2138"/>
                  </a:cubicBezTo>
                  <a:cubicBezTo>
                    <a:pt x="1339" y="2138"/>
                    <a:pt x="1606" y="2040"/>
                    <a:pt x="1822" y="1822"/>
                  </a:cubicBezTo>
                  <a:cubicBezTo>
                    <a:pt x="2497" y="1155"/>
                    <a:pt x="2017" y="1"/>
                    <a:pt x="1074"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781" name="Google Shape;1781;p104"/>
            <p:cNvSpPr/>
            <p:nvPr/>
          </p:nvSpPr>
          <p:spPr>
            <a:xfrm>
              <a:off x="4046950" y="2028275"/>
              <a:ext cx="62425" cy="53450"/>
            </a:xfrm>
            <a:custGeom>
              <a:avLst/>
              <a:gdLst/>
              <a:ahLst/>
              <a:cxnLst/>
              <a:rect l="l" t="t" r="r" b="b"/>
              <a:pathLst>
                <a:path w="2497" h="2138" extrusionOk="0">
                  <a:moveTo>
                    <a:pt x="1074" y="1"/>
                  </a:moveTo>
                  <a:cubicBezTo>
                    <a:pt x="481" y="1"/>
                    <a:pt x="9" y="480"/>
                    <a:pt x="1" y="1065"/>
                  </a:cubicBezTo>
                  <a:cubicBezTo>
                    <a:pt x="1" y="1709"/>
                    <a:pt x="530" y="2137"/>
                    <a:pt x="1078" y="2137"/>
                  </a:cubicBezTo>
                  <a:cubicBezTo>
                    <a:pt x="1340" y="2137"/>
                    <a:pt x="1607" y="2040"/>
                    <a:pt x="1822" y="1821"/>
                  </a:cubicBezTo>
                  <a:cubicBezTo>
                    <a:pt x="2497" y="1147"/>
                    <a:pt x="2017" y="1"/>
                    <a:pt x="1074"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782" name="Google Shape;1782;p104"/>
            <p:cNvSpPr/>
            <p:nvPr/>
          </p:nvSpPr>
          <p:spPr>
            <a:xfrm>
              <a:off x="4046950" y="2104500"/>
              <a:ext cx="62425" cy="53325"/>
            </a:xfrm>
            <a:custGeom>
              <a:avLst/>
              <a:gdLst/>
              <a:ahLst/>
              <a:cxnLst/>
              <a:rect l="l" t="t" r="r" b="b"/>
              <a:pathLst>
                <a:path w="2497" h="2133" extrusionOk="0">
                  <a:moveTo>
                    <a:pt x="1074" y="0"/>
                  </a:moveTo>
                  <a:cubicBezTo>
                    <a:pt x="481" y="0"/>
                    <a:pt x="9" y="480"/>
                    <a:pt x="1" y="1065"/>
                  </a:cubicBezTo>
                  <a:cubicBezTo>
                    <a:pt x="1" y="1709"/>
                    <a:pt x="530" y="2133"/>
                    <a:pt x="1079" y="2133"/>
                  </a:cubicBezTo>
                  <a:cubicBezTo>
                    <a:pt x="1340" y="2133"/>
                    <a:pt x="1607" y="2036"/>
                    <a:pt x="1822" y="1821"/>
                  </a:cubicBezTo>
                  <a:cubicBezTo>
                    <a:pt x="2497" y="1146"/>
                    <a:pt x="2017" y="0"/>
                    <a:pt x="1074"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783" name="Google Shape;1783;p104"/>
            <p:cNvSpPr/>
            <p:nvPr/>
          </p:nvSpPr>
          <p:spPr>
            <a:xfrm>
              <a:off x="4123175" y="1723625"/>
              <a:ext cx="62425" cy="53350"/>
            </a:xfrm>
            <a:custGeom>
              <a:avLst/>
              <a:gdLst/>
              <a:ahLst/>
              <a:cxnLst/>
              <a:rect l="l" t="t" r="r" b="b"/>
              <a:pathLst>
                <a:path w="2497" h="2134" extrusionOk="0">
                  <a:moveTo>
                    <a:pt x="1065" y="1"/>
                  </a:moveTo>
                  <a:cubicBezTo>
                    <a:pt x="480" y="1"/>
                    <a:pt x="0" y="480"/>
                    <a:pt x="0" y="1065"/>
                  </a:cubicBezTo>
                  <a:cubicBezTo>
                    <a:pt x="0" y="1709"/>
                    <a:pt x="526" y="2133"/>
                    <a:pt x="1074" y="2133"/>
                  </a:cubicBezTo>
                  <a:cubicBezTo>
                    <a:pt x="1336" y="2133"/>
                    <a:pt x="1604" y="2037"/>
                    <a:pt x="1821" y="1822"/>
                  </a:cubicBezTo>
                  <a:cubicBezTo>
                    <a:pt x="2496" y="1147"/>
                    <a:pt x="2017" y="1"/>
                    <a:pt x="1065"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784" name="Google Shape;1784;p104"/>
            <p:cNvSpPr/>
            <p:nvPr/>
          </p:nvSpPr>
          <p:spPr>
            <a:xfrm>
              <a:off x="4123175" y="1799850"/>
              <a:ext cx="62425" cy="53325"/>
            </a:xfrm>
            <a:custGeom>
              <a:avLst/>
              <a:gdLst/>
              <a:ahLst/>
              <a:cxnLst/>
              <a:rect l="l" t="t" r="r" b="b"/>
              <a:pathLst>
                <a:path w="2497" h="2133" extrusionOk="0">
                  <a:moveTo>
                    <a:pt x="1065" y="0"/>
                  </a:moveTo>
                  <a:cubicBezTo>
                    <a:pt x="480" y="0"/>
                    <a:pt x="0" y="480"/>
                    <a:pt x="0" y="1065"/>
                  </a:cubicBezTo>
                  <a:cubicBezTo>
                    <a:pt x="0" y="1709"/>
                    <a:pt x="526" y="2133"/>
                    <a:pt x="1074" y="2133"/>
                  </a:cubicBezTo>
                  <a:cubicBezTo>
                    <a:pt x="1336" y="2133"/>
                    <a:pt x="1604" y="2036"/>
                    <a:pt x="1821" y="1821"/>
                  </a:cubicBezTo>
                  <a:cubicBezTo>
                    <a:pt x="2496" y="1146"/>
                    <a:pt x="2017" y="0"/>
                    <a:pt x="1065"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785" name="Google Shape;1785;p104"/>
            <p:cNvSpPr/>
            <p:nvPr/>
          </p:nvSpPr>
          <p:spPr>
            <a:xfrm>
              <a:off x="4123175" y="1876050"/>
              <a:ext cx="62425" cy="53350"/>
            </a:xfrm>
            <a:custGeom>
              <a:avLst/>
              <a:gdLst/>
              <a:ahLst/>
              <a:cxnLst/>
              <a:rect l="l" t="t" r="r" b="b"/>
              <a:pathLst>
                <a:path w="2497" h="2134" extrusionOk="0">
                  <a:moveTo>
                    <a:pt x="1065" y="1"/>
                  </a:moveTo>
                  <a:cubicBezTo>
                    <a:pt x="480" y="1"/>
                    <a:pt x="0" y="472"/>
                    <a:pt x="0" y="1066"/>
                  </a:cubicBezTo>
                  <a:cubicBezTo>
                    <a:pt x="0" y="1709"/>
                    <a:pt x="526" y="2133"/>
                    <a:pt x="1074" y="2133"/>
                  </a:cubicBezTo>
                  <a:cubicBezTo>
                    <a:pt x="1336" y="2133"/>
                    <a:pt x="1604" y="2037"/>
                    <a:pt x="1821" y="1822"/>
                  </a:cubicBezTo>
                  <a:cubicBezTo>
                    <a:pt x="2496" y="1147"/>
                    <a:pt x="2017" y="1"/>
                    <a:pt x="1065"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786" name="Google Shape;1786;p104"/>
            <p:cNvSpPr/>
            <p:nvPr/>
          </p:nvSpPr>
          <p:spPr>
            <a:xfrm>
              <a:off x="4123175" y="1952050"/>
              <a:ext cx="62425" cy="53450"/>
            </a:xfrm>
            <a:custGeom>
              <a:avLst/>
              <a:gdLst/>
              <a:ahLst/>
              <a:cxnLst/>
              <a:rect l="l" t="t" r="r" b="b"/>
              <a:pathLst>
                <a:path w="2497" h="2138" extrusionOk="0">
                  <a:moveTo>
                    <a:pt x="1065" y="1"/>
                  </a:moveTo>
                  <a:cubicBezTo>
                    <a:pt x="480" y="9"/>
                    <a:pt x="0" y="481"/>
                    <a:pt x="0" y="1074"/>
                  </a:cubicBezTo>
                  <a:cubicBezTo>
                    <a:pt x="0" y="1712"/>
                    <a:pt x="525" y="2138"/>
                    <a:pt x="1073" y="2138"/>
                  </a:cubicBezTo>
                  <a:cubicBezTo>
                    <a:pt x="1335" y="2138"/>
                    <a:pt x="1603" y="2040"/>
                    <a:pt x="1821" y="1822"/>
                  </a:cubicBezTo>
                  <a:cubicBezTo>
                    <a:pt x="2496" y="1155"/>
                    <a:pt x="2017" y="1"/>
                    <a:pt x="1065"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787" name="Google Shape;1787;p104"/>
            <p:cNvSpPr/>
            <p:nvPr/>
          </p:nvSpPr>
          <p:spPr>
            <a:xfrm>
              <a:off x="4123175" y="2028275"/>
              <a:ext cx="62425" cy="53450"/>
            </a:xfrm>
            <a:custGeom>
              <a:avLst/>
              <a:gdLst/>
              <a:ahLst/>
              <a:cxnLst/>
              <a:rect l="l" t="t" r="r" b="b"/>
              <a:pathLst>
                <a:path w="2497" h="2138" extrusionOk="0">
                  <a:moveTo>
                    <a:pt x="1065" y="1"/>
                  </a:moveTo>
                  <a:cubicBezTo>
                    <a:pt x="480" y="1"/>
                    <a:pt x="0" y="480"/>
                    <a:pt x="0" y="1065"/>
                  </a:cubicBezTo>
                  <a:cubicBezTo>
                    <a:pt x="0" y="1709"/>
                    <a:pt x="526" y="2137"/>
                    <a:pt x="1074" y="2137"/>
                  </a:cubicBezTo>
                  <a:cubicBezTo>
                    <a:pt x="1336" y="2137"/>
                    <a:pt x="1603" y="2040"/>
                    <a:pt x="1821" y="1821"/>
                  </a:cubicBezTo>
                  <a:cubicBezTo>
                    <a:pt x="2496" y="1147"/>
                    <a:pt x="2017" y="1"/>
                    <a:pt x="1065"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788" name="Google Shape;1788;p104"/>
            <p:cNvSpPr/>
            <p:nvPr/>
          </p:nvSpPr>
          <p:spPr>
            <a:xfrm>
              <a:off x="4123175" y="2104500"/>
              <a:ext cx="62425" cy="53325"/>
            </a:xfrm>
            <a:custGeom>
              <a:avLst/>
              <a:gdLst/>
              <a:ahLst/>
              <a:cxnLst/>
              <a:rect l="l" t="t" r="r" b="b"/>
              <a:pathLst>
                <a:path w="2497" h="2133" extrusionOk="0">
                  <a:moveTo>
                    <a:pt x="1065" y="0"/>
                  </a:moveTo>
                  <a:cubicBezTo>
                    <a:pt x="480" y="0"/>
                    <a:pt x="0" y="480"/>
                    <a:pt x="0" y="1065"/>
                  </a:cubicBezTo>
                  <a:cubicBezTo>
                    <a:pt x="0" y="1709"/>
                    <a:pt x="526" y="2133"/>
                    <a:pt x="1074" y="2133"/>
                  </a:cubicBezTo>
                  <a:cubicBezTo>
                    <a:pt x="1336" y="2133"/>
                    <a:pt x="1604" y="2036"/>
                    <a:pt x="1821" y="1821"/>
                  </a:cubicBezTo>
                  <a:cubicBezTo>
                    <a:pt x="2496" y="1146"/>
                    <a:pt x="2017" y="0"/>
                    <a:pt x="1065"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789" name="Google Shape;1789;p104"/>
            <p:cNvSpPr/>
            <p:nvPr/>
          </p:nvSpPr>
          <p:spPr>
            <a:xfrm>
              <a:off x="4199400" y="1723625"/>
              <a:ext cx="62200" cy="53350"/>
            </a:xfrm>
            <a:custGeom>
              <a:avLst/>
              <a:gdLst/>
              <a:ahLst/>
              <a:cxnLst/>
              <a:rect l="l" t="t" r="r" b="b"/>
              <a:pathLst>
                <a:path w="2488" h="2134" extrusionOk="0">
                  <a:moveTo>
                    <a:pt x="1065" y="1"/>
                  </a:moveTo>
                  <a:cubicBezTo>
                    <a:pt x="480" y="1"/>
                    <a:pt x="0" y="480"/>
                    <a:pt x="0" y="1065"/>
                  </a:cubicBezTo>
                  <a:cubicBezTo>
                    <a:pt x="0" y="1709"/>
                    <a:pt x="525" y="2133"/>
                    <a:pt x="1074" y="2133"/>
                  </a:cubicBezTo>
                  <a:cubicBezTo>
                    <a:pt x="1336" y="2133"/>
                    <a:pt x="1603" y="2037"/>
                    <a:pt x="1821" y="1822"/>
                  </a:cubicBezTo>
                  <a:cubicBezTo>
                    <a:pt x="2488" y="1147"/>
                    <a:pt x="2016" y="1"/>
                    <a:pt x="1065"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790" name="Google Shape;1790;p104"/>
            <p:cNvSpPr/>
            <p:nvPr/>
          </p:nvSpPr>
          <p:spPr>
            <a:xfrm>
              <a:off x="4199400" y="1799850"/>
              <a:ext cx="62200" cy="53325"/>
            </a:xfrm>
            <a:custGeom>
              <a:avLst/>
              <a:gdLst/>
              <a:ahLst/>
              <a:cxnLst/>
              <a:rect l="l" t="t" r="r" b="b"/>
              <a:pathLst>
                <a:path w="2488" h="2133"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791" name="Google Shape;1791;p104"/>
            <p:cNvSpPr/>
            <p:nvPr/>
          </p:nvSpPr>
          <p:spPr>
            <a:xfrm>
              <a:off x="4199400" y="1876050"/>
              <a:ext cx="62200" cy="53275"/>
            </a:xfrm>
            <a:custGeom>
              <a:avLst/>
              <a:gdLst/>
              <a:ahLst/>
              <a:cxnLst/>
              <a:rect l="l" t="t" r="r" b="b"/>
              <a:pathLst>
                <a:path w="2488" h="2131" extrusionOk="0">
                  <a:moveTo>
                    <a:pt x="1065" y="1"/>
                  </a:moveTo>
                  <a:cubicBezTo>
                    <a:pt x="480" y="1"/>
                    <a:pt x="0" y="472"/>
                    <a:pt x="0" y="1066"/>
                  </a:cubicBezTo>
                  <a:cubicBezTo>
                    <a:pt x="0" y="1707"/>
                    <a:pt x="522" y="2131"/>
                    <a:pt x="1069" y="2131"/>
                  </a:cubicBezTo>
                  <a:cubicBezTo>
                    <a:pt x="1333" y="2131"/>
                    <a:pt x="1602" y="2033"/>
                    <a:pt x="1821" y="1813"/>
                  </a:cubicBezTo>
                  <a:cubicBezTo>
                    <a:pt x="2488" y="1147"/>
                    <a:pt x="2016" y="1"/>
                    <a:pt x="1065"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792" name="Google Shape;1792;p104"/>
            <p:cNvSpPr/>
            <p:nvPr/>
          </p:nvSpPr>
          <p:spPr>
            <a:xfrm>
              <a:off x="4199400" y="1952050"/>
              <a:ext cx="62200" cy="53450"/>
            </a:xfrm>
            <a:custGeom>
              <a:avLst/>
              <a:gdLst/>
              <a:ahLst/>
              <a:cxnLst/>
              <a:rect l="l" t="t" r="r" b="b"/>
              <a:pathLst>
                <a:path w="2488" h="2138" extrusionOk="0">
                  <a:moveTo>
                    <a:pt x="1065" y="1"/>
                  </a:moveTo>
                  <a:cubicBezTo>
                    <a:pt x="480" y="9"/>
                    <a:pt x="0" y="481"/>
                    <a:pt x="0" y="1074"/>
                  </a:cubicBezTo>
                  <a:cubicBezTo>
                    <a:pt x="0" y="1712"/>
                    <a:pt x="524" y="2138"/>
                    <a:pt x="1073" y="2138"/>
                  </a:cubicBezTo>
                  <a:cubicBezTo>
                    <a:pt x="1335" y="2138"/>
                    <a:pt x="1603" y="2040"/>
                    <a:pt x="1821" y="1822"/>
                  </a:cubicBezTo>
                  <a:cubicBezTo>
                    <a:pt x="2488" y="1155"/>
                    <a:pt x="2016" y="1"/>
                    <a:pt x="1065"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793" name="Google Shape;1793;p104"/>
            <p:cNvSpPr/>
            <p:nvPr/>
          </p:nvSpPr>
          <p:spPr>
            <a:xfrm>
              <a:off x="4199400" y="2028275"/>
              <a:ext cx="62200" cy="53450"/>
            </a:xfrm>
            <a:custGeom>
              <a:avLst/>
              <a:gdLst/>
              <a:ahLst/>
              <a:cxnLst/>
              <a:rect l="l" t="t" r="r" b="b"/>
              <a:pathLst>
                <a:path w="2488" h="2138" extrusionOk="0">
                  <a:moveTo>
                    <a:pt x="1065" y="1"/>
                  </a:moveTo>
                  <a:cubicBezTo>
                    <a:pt x="480" y="1"/>
                    <a:pt x="0" y="480"/>
                    <a:pt x="0" y="1065"/>
                  </a:cubicBezTo>
                  <a:cubicBezTo>
                    <a:pt x="0" y="1709"/>
                    <a:pt x="525" y="2137"/>
                    <a:pt x="1074" y="2137"/>
                  </a:cubicBezTo>
                  <a:cubicBezTo>
                    <a:pt x="1336" y="2137"/>
                    <a:pt x="1603" y="2040"/>
                    <a:pt x="1821" y="1821"/>
                  </a:cubicBezTo>
                  <a:cubicBezTo>
                    <a:pt x="2488" y="1147"/>
                    <a:pt x="2016" y="1"/>
                    <a:pt x="1065"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794" name="Google Shape;1794;p104"/>
            <p:cNvSpPr/>
            <p:nvPr/>
          </p:nvSpPr>
          <p:spPr>
            <a:xfrm>
              <a:off x="4199400" y="2104500"/>
              <a:ext cx="62200" cy="53325"/>
            </a:xfrm>
            <a:custGeom>
              <a:avLst/>
              <a:gdLst/>
              <a:ahLst/>
              <a:cxnLst/>
              <a:rect l="l" t="t" r="r" b="b"/>
              <a:pathLst>
                <a:path w="2488" h="2133"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795" name="Google Shape;1795;p104"/>
            <p:cNvSpPr/>
            <p:nvPr/>
          </p:nvSpPr>
          <p:spPr>
            <a:xfrm>
              <a:off x="4199400" y="2180700"/>
              <a:ext cx="62200" cy="53350"/>
            </a:xfrm>
            <a:custGeom>
              <a:avLst/>
              <a:gdLst/>
              <a:ahLst/>
              <a:cxnLst/>
              <a:rect l="l" t="t" r="r" b="b"/>
              <a:pathLst>
                <a:path w="2488" h="2134" extrusionOk="0">
                  <a:moveTo>
                    <a:pt x="1065" y="1"/>
                  </a:moveTo>
                  <a:cubicBezTo>
                    <a:pt x="480" y="1"/>
                    <a:pt x="0" y="480"/>
                    <a:pt x="0" y="1066"/>
                  </a:cubicBezTo>
                  <a:cubicBezTo>
                    <a:pt x="0" y="1709"/>
                    <a:pt x="525" y="2133"/>
                    <a:pt x="1074" y="2133"/>
                  </a:cubicBezTo>
                  <a:cubicBezTo>
                    <a:pt x="1336" y="2133"/>
                    <a:pt x="1603" y="2037"/>
                    <a:pt x="1821" y="1822"/>
                  </a:cubicBezTo>
                  <a:cubicBezTo>
                    <a:pt x="2488" y="1147"/>
                    <a:pt x="2016" y="1"/>
                    <a:pt x="1065"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796" name="Google Shape;1796;p104"/>
            <p:cNvSpPr/>
            <p:nvPr/>
          </p:nvSpPr>
          <p:spPr>
            <a:xfrm>
              <a:off x="4275600" y="1647400"/>
              <a:ext cx="62225" cy="53450"/>
            </a:xfrm>
            <a:custGeom>
              <a:avLst/>
              <a:gdLst/>
              <a:ahLst/>
              <a:cxnLst/>
              <a:rect l="l" t="t" r="r" b="b"/>
              <a:pathLst>
                <a:path w="2489" h="2138" extrusionOk="0">
                  <a:moveTo>
                    <a:pt x="1066" y="1"/>
                  </a:moveTo>
                  <a:cubicBezTo>
                    <a:pt x="472" y="9"/>
                    <a:pt x="1" y="481"/>
                    <a:pt x="1" y="1066"/>
                  </a:cubicBezTo>
                  <a:cubicBezTo>
                    <a:pt x="1" y="1710"/>
                    <a:pt x="526" y="2138"/>
                    <a:pt x="1072" y="2138"/>
                  </a:cubicBezTo>
                  <a:cubicBezTo>
                    <a:pt x="1333" y="2138"/>
                    <a:pt x="1598" y="2040"/>
                    <a:pt x="1813" y="1822"/>
                  </a:cubicBezTo>
                  <a:cubicBezTo>
                    <a:pt x="2488" y="1147"/>
                    <a:pt x="2017" y="1"/>
                    <a:pt x="1066"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797" name="Google Shape;1797;p104"/>
            <p:cNvSpPr/>
            <p:nvPr/>
          </p:nvSpPr>
          <p:spPr>
            <a:xfrm>
              <a:off x="4275600" y="1723625"/>
              <a:ext cx="62225" cy="53350"/>
            </a:xfrm>
            <a:custGeom>
              <a:avLst/>
              <a:gdLst/>
              <a:ahLst/>
              <a:cxnLst/>
              <a:rect l="l" t="t" r="r" b="b"/>
              <a:pathLst>
                <a:path w="2489" h="2134" extrusionOk="0">
                  <a:moveTo>
                    <a:pt x="1066" y="1"/>
                  </a:moveTo>
                  <a:cubicBezTo>
                    <a:pt x="472" y="1"/>
                    <a:pt x="1" y="480"/>
                    <a:pt x="1" y="1065"/>
                  </a:cubicBezTo>
                  <a:cubicBezTo>
                    <a:pt x="1" y="1709"/>
                    <a:pt x="526" y="2133"/>
                    <a:pt x="1072" y="2133"/>
                  </a:cubicBezTo>
                  <a:cubicBezTo>
                    <a:pt x="1333" y="2133"/>
                    <a:pt x="1598" y="2037"/>
                    <a:pt x="1813" y="1822"/>
                  </a:cubicBezTo>
                  <a:cubicBezTo>
                    <a:pt x="2488" y="1147"/>
                    <a:pt x="2017" y="1"/>
                    <a:pt x="1066"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798" name="Google Shape;1798;p104"/>
            <p:cNvSpPr/>
            <p:nvPr/>
          </p:nvSpPr>
          <p:spPr>
            <a:xfrm>
              <a:off x="4275600" y="1799850"/>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3" y="1821"/>
                  </a:cubicBezTo>
                  <a:cubicBezTo>
                    <a:pt x="2488" y="1146"/>
                    <a:pt x="2017" y="0"/>
                    <a:pt x="1066"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799" name="Google Shape;1799;p104"/>
            <p:cNvSpPr/>
            <p:nvPr/>
          </p:nvSpPr>
          <p:spPr>
            <a:xfrm>
              <a:off x="4275600" y="1876050"/>
              <a:ext cx="62225" cy="53275"/>
            </a:xfrm>
            <a:custGeom>
              <a:avLst/>
              <a:gdLst/>
              <a:ahLst/>
              <a:cxnLst/>
              <a:rect l="l" t="t" r="r" b="b"/>
              <a:pathLst>
                <a:path w="2489" h="2131" extrusionOk="0">
                  <a:moveTo>
                    <a:pt x="1066" y="1"/>
                  </a:moveTo>
                  <a:cubicBezTo>
                    <a:pt x="472" y="1"/>
                    <a:pt x="1" y="472"/>
                    <a:pt x="1" y="1066"/>
                  </a:cubicBezTo>
                  <a:cubicBezTo>
                    <a:pt x="1" y="1707"/>
                    <a:pt x="523" y="2131"/>
                    <a:pt x="1067" y="2131"/>
                  </a:cubicBezTo>
                  <a:cubicBezTo>
                    <a:pt x="1329" y="2131"/>
                    <a:pt x="1597" y="2033"/>
                    <a:pt x="1813" y="1813"/>
                  </a:cubicBezTo>
                  <a:cubicBezTo>
                    <a:pt x="2488" y="1147"/>
                    <a:pt x="2017" y="1"/>
                    <a:pt x="1066"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800" name="Google Shape;1800;p104"/>
            <p:cNvSpPr/>
            <p:nvPr/>
          </p:nvSpPr>
          <p:spPr>
            <a:xfrm>
              <a:off x="4275600" y="1952050"/>
              <a:ext cx="62225" cy="53450"/>
            </a:xfrm>
            <a:custGeom>
              <a:avLst/>
              <a:gdLst/>
              <a:ahLst/>
              <a:cxnLst/>
              <a:rect l="l" t="t" r="r" b="b"/>
              <a:pathLst>
                <a:path w="2489" h="2138" extrusionOk="0">
                  <a:moveTo>
                    <a:pt x="1066" y="1"/>
                  </a:moveTo>
                  <a:cubicBezTo>
                    <a:pt x="472" y="9"/>
                    <a:pt x="1" y="481"/>
                    <a:pt x="1" y="1074"/>
                  </a:cubicBezTo>
                  <a:cubicBezTo>
                    <a:pt x="1" y="1712"/>
                    <a:pt x="525" y="2138"/>
                    <a:pt x="1071" y="2138"/>
                  </a:cubicBezTo>
                  <a:cubicBezTo>
                    <a:pt x="1332" y="2138"/>
                    <a:pt x="1598" y="2040"/>
                    <a:pt x="1813" y="1822"/>
                  </a:cubicBezTo>
                  <a:cubicBezTo>
                    <a:pt x="2488" y="1155"/>
                    <a:pt x="2017" y="1"/>
                    <a:pt x="1066"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801" name="Google Shape;1801;p104"/>
            <p:cNvSpPr/>
            <p:nvPr/>
          </p:nvSpPr>
          <p:spPr>
            <a:xfrm>
              <a:off x="4275600" y="2028275"/>
              <a:ext cx="62225" cy="53450"/>
            </a:xfrm>
            <a:custGeom>
              <a:avLst/>
              <a:gdLst/>
              <a:ahLst/>
              <a:cxnLst/>
              <a:rect l="l" t="t" r="r" b="b"/>
              <a:pathLst>
                <a:path w="2489" h="2138" extrusionOk="0">
                  <a:moveTo>
                    <a:pt x="1066" y="1"/>
                  </a:moveTo>
                  <a:cubicBezTo>
                    <a:pt x="472" y="1"/>
                    <a:pt x="1" y="480"/>
                    <a:pt x="1" y="1065"/>
                  </a:cubicBezTo>
                  <a:cubicBezTo>
                    <a:pt x="1" y="1709"/>
                    <a:pt x="526" y="2137"/>
                    <a:pt x="1072" y="2137"/>
                  </a:cubicBezTo>
                  <a:cubicBezTo>
                    <a:pt x="1333" y="2137"/>
                    <a:pt x="1598" y="2040"/>
                    <a:pt x="1813" y="1821"/>
                  </a:cubicBezTo>
                  <a:cubicBezTo>
                    <a:pt x="2488" y="1147"/>
                    <a:pt x="2017" y="1"/>
                    <a:pt x="1066"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802" name="Google Shape;1802;p104"/>
            <p:cNvSpPr/>
            <p:nvPr/>
          </p:nvSpPr>
          <p:spPr>
            <a:xfrm>
              <a:off x="4275600" y="2104500"/>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3" y="1821"/>
                  </a:cubicBezTo>
                  <a:cubicBezTo>
                    <a:pt x="2488" y="1146"/>
                    <a:pt x="2017" y="0"/>
                    <a:pt x="1066"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803" name="Google Shape;1803;p104"/>
            <p:cNvSpPr/>
            <p:nvPr/>
          </p:nvSpPr>
          <p:spPr>
            <a:xfrm>
              <a:off x="4275600" y="2180700"/>
              <a:ext cx="62225" cy="53350"/>
            </a:xfrm>
            <a:custGeom>
              <a:avLst/>
              <a:gdLst/>
              <a:ahLst/>
              <a:cxnLst/>
              <a:rect l="l" t="t" r="r" b="b"/>
              <a:pathLst>
                <a:path w="2489" h="2134" extrusionOk="0">
                  <a:moveTo>
                    <a:pt x="1066" y="1"/>
                  </a:moveTo>
                  <a:cubicBezTo>
                    <a:pt x="472" y="1"/>
                    <a:pt x="1" y="480"/>
                    <a:pt x="1" y="1066"/>
                  </a:cubicBezTo>
                  <a:cubicBezTo>
                    <a:pt x="1" y="1709"/>
                    <a:pt x="526" y="2133"/>
                    <a:pt x="1072" y="2133"/>
                  </a:cubicBezTo>
                  <a:cubicBezTo>
                    <a:pt x="1333" y="2133"/>
                    <a:pt x="1598" y="2037"/>
                    <a:pt x="1813" y="1822"/>
                  </a:cubicBezTo>
                  <a:cubicBezTo>
                    <a:pt x="2488" y="1147"/>
                    <a:pt x="2017" y="1"/>
                    <a:pt x="1066"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804" name="Google Shape;1804;p104"/>
            <p:cNvSpPr/>
            <p:nvPr/>
          </p:nvSpPr>
          <p:spPr>
            <a:xfrm>
              <a:off x="4351600" y="2180700"/>
              <a:ext cx="62425" cy="53350"/>
            </a:xfrm>
            <a:custGeom>
              <a:avLst/>
              <a:gdLst/>
              <a:ahLst/>
              <a:cxnLst/>
              <a:rect l="l" t="t" r="r" b="b"/>
              <a:pathLst>
                <a:path w="2497" h="2134" extrusionOk="0">
                  <a:moveTo>
                    <a:pt x="1074" y="1"/>
                  </a:moveTo>
                  <a:cubicBezTo>
                    <a:pt x="481" y="1"/>
                    <a:pt x="9" y="480"/>
                    <a:pt x="1" y="1066"/>
                  </a:cubicBezTo>
                  <a:cubicBezTo>
                    <a:pt x="1" y="1709"/>
                    <a:pt x="530" y="2133"/>
                    <a:pt x="1079" y="2133"/>
                  </a:cubicBezTo>
                  <a:cubicBezTo>
                    <a:pt x="1340" y="2133"/>
                    <a:pt x="1607" y="2037"/>
                    <a:pt x="1822" y="1822"/>
                  </a:cubicBezTo>
                  <a:cubicBezTo>
                    <a:pt x="2497" y="1147"/>
                    <a:pt x="2017" y="1"/>
                    <a:pt x="1074"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805" name="Google Shape;1805;p104"/>
            <p:cNvSpPr/>
            <p:nvPr/>
          </p:nvSpPr>
          <p:spPr>
            <a:xfrm>
              <a:off x="4427825" y="1647400"/>
              <a:ext cx="62425" cy="53450"/>
            </a:xfrm>
            <a:custGeom>
              <a:avLst/>
              <a:gdLst/>
              <a:ahLst/>
              <a:cxnLst/>
              <a:rect l="l" t="t" r="r" b="b"/>
              <a:pathLst>
                <a:path w="2497" h="2138" extrusionOk="0">
                  <a:moveTo>
                    <a:pt x="1065" y="1"/>
                  </a:moveTo>
                  <a:cubicBezTo>
                    <a:pt x="480" y="9"/>
                    <a:pt x="9" y="481"/>
                    <a:pt x="1" y="1066"/>
                  </a:cubicBezTo>
                  <a:cubicBezTo>
                    <a:pt x="1" y="1710"/>
                    <a:pt x="526" y="2138"/>
                    <a:pt x="1074" y="2138"/>
                  </a:cubicBezTo>
                  <a:cubicBezTo>
                    <a:pt x="1336" y="2138"/>
                    <a:pt x="1603" y="2040"/>
                    <a:pt x="1822" y="1822"/>
                  </a:cubicBezTo>
                  <a:cubicBezTo>
                    <a:pt x="2496" y="1147"/>
                    <a:pt x="2017" y="1"/>
                    <a:pt x="1065"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806" name="Google Shape;1806;p104"/>
            <p:cNvSpPr/>
            <p:nvPr/>
          </p:nvSpPr>
          <p:spPr>
            <a:xfrm>
              <a:off x="4427825" y="1723625"/>
              <a:ext cx="62425" cy="53350"/>
            </a:xfrm>
            <a:custGeom>
              <a:avLst/>
              <a:gdLst/>
              <a:ahLst/>
              <a:cxnLst/>
              <a:rect l="l" t="t" r="r" b="b"/>
              <a:pathLst>
                <a:path w="2497" h="2134" extrusionOk="0">
                  <a:moveTo>
                    <a:pt x="1065" y="1"/>
                  </a:moveTo>
                  <a:cubicBezTo>
                    <a:pt x="480" y="1"/>
                    <a:pt x="9" y="480"/>
                    <a:pt x="1" y="1065"/>
                  </a:cubicBezTo>
                  <a:cubicBezTo>
                    <a:pt x="1" y="1709"/>
                    <a:pt x="526" y="2133"/>
                    <a:pt x="1075" y="2133"/>
                  </a:cubicBezTo>
                  <a:cubicBezTo>
                    <a:pt x="1336" y="2133"/>
                    <a:pt x="1604" y="2037"/>
                    <a:pt x="1822" y="1822"/>
                  </a:cubicBezTo>
                  <a:cubicBezTo>
                    <a:pt x="2496" y="1147"/>
                    <a:pt x="2017" y="1"/>
                    <a:pt x="1065"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807" name="Google Shape;1807;p104"/>
            <p:cNvSpPr/>
            <p:nvPr/>
          </p:nvSpPr>
          <p:spPr>
            <a:xfrm>
              <a:off x="4427825" y="1799850"/>
              <a:ext cx="62425" cy="53325"/>
            </a:xfrm>
            <a:custGeom>
              <a:avLst/>
              <a:gdLst/>
              <a:ahLst/>
              <a:cxnLst/>
              <a:rect l="l" t="t" r="r" b="b"/>
              <a:pathLst>
                <a:path w="2497" h="2133" extrusionOk="0">
                  <a:moveTo>
                    <a:pt x="1065" y="0"/>
                  </a:moveTo>
                  <a:cubicBezTo>
                    <a:pt x="480" y="0"/>
                    <a:pt x="9" y="480"/>
                    <a:pt x="1" y="1065"/>
                  </a:cubicBezTo>
                  <a:cubicBezTo>
                    <a:pt x="1" y="1709"/>
                    <a:pt x="526" y="2133"/>
                    <a:pt x="1075" y="2133"/>
                  </a:cubicBezTo>
                  <a:cubicBezTo>
                    <a:pt x="1336" y="2133"/>
                    <a:pt x="1604" y="2036"/>
                    <a:pt x="1822" y="1821"/>
                  </a:cubicBezTo>
                  <a:cubicBezTo>
                    <a:pt x="2496" y="1146"/>
                    <a:pt x="2017" y="0"/>
                    <a:pt x="1065"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808" name="Google Shape;1808;p104"/>
            <p:cNvSpPr/>
            <p:nvPr/>
          </p:nvSpPr>
          <p:spPr>
            <a:xfrm>
              <a:off x="4427825" y="1876050"/>
              <a:ext cx="62425" cy="53275"/>
            </a:xfrm>
            <a:custGeom>
              <a:avLst/>
              <a:gdLst/>
              <a:ahLst/>
              <a:cxnLst/>
              <a:rect l="l" t="t" r="r" b="b"/>
              <a:pathLst>
                <a:path w="2497" h="2131" extrusionOk="0">
                  <a:moveTo>
                    <a:pt x="1065" y="1"/>
                  </a:moveTo>
                  <a:cubicBezTo>
                    <a:pt x="480" y="1"/>
                    <a:pt x="9" y="472"/>
                    <a:pt x="1" y="1066"/>
                  </a:cubicBezTo>
                  <a:cubicBezTo>
                    <a:pt x="1" y="1707"/>
                    <a:pt x="523" y="2131"/>
                    <a:pt x="1070" y="2131"/>
                  </a:cubicBezTo>
                  <a:cubicBezTo>
                    <a:pt x="1333" y="2131"/>
                    <a:pt x="1602" y="2033"/>
                    <a:pt x="1822" y="1813"/>
                  </a:cubicBezTo>
                  <a:cubicBezTo>
                    <a:pt x="2496" y="1147"/>
                    <a:pt x="2017" y="1"/>
                    <a:pt x="1065"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809" name="Google Shape;1809;p104"/>
            <p:cNvSpPr/>
            <p:nvPr/>
          </p:nvSpPr>
          <p:spPr>
            <a:xfrm>
              <a:off x="4427825" y="1952050"/>
              <a:ext cx="62425" cy="53450"/>
            </a:xfrm>
            <a:custGeom>
              <a:avLst/>
              <a:gdLst/>
              <a:ahLst/>
              <a:cxnLst/>
              <a:rect l="l" t="t" r="r" b="b"/>
              <a:pathLst>
                <a:path w="2497" h="2138" extrusionOk="0">
                  <a:moveTo>
                    <a:pt x="1065" y="1"/>
                  </a:moveTo>
                  <a:cubicBezTo>
                    <a:pt x="480" y="9"/>
                    <a:pt x="9" y="481"/>
                    <a:pt x="1" y="1074"/>
                  </a:cubicBezTo>
                  <a:cubicBezTo>
                    <a:pt x="1" y="1712"/>
                    <a:pt x="525" y="2138"/>
                    <a:pt x="1073" y="2138"/>
                  </a:cubicBezTo>
                  <a:cubicBezTo>
                    <a:pt x="1335" y="2138"/>
                    <a:pt x="1603" y="2040"/>
                    <a:pt x="1822" y="1822"/>
                  </a:cubicBezTo>
                  <a:cubicBezTo>
                    <a:pt x="2496" y="1155"/>
                    <a:pt x="2017" y="1"/>
                    <a:pt x="1065"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810" name="Google Shape;1810;p104"/>
            <p:cNvSpPr/>
            <p:nvPr/>
          </p:nvSpPr>
          <p:spPr>
            <a:xfrm>
              <a:off x="4427825" y="2028275"/>
              <a:ext cx="62425" cy="53450"/>
            </a:xfrm>
            <a:custGeom>
              <a:avLst/>
              <a:gdLst/>
              <a:ahLst/>
              <a:cxnLst/>
              <a:rect l="l" t="t" r="r" b="b"/>
              <a:pathLst>
                <a:path w="2497" h="2138" extrusionOk="0">
                  <a:moveTo>
                    <a:pt x="1065" y="1"/>
                  </a:moveTo>
                  <a:cubicBezTo>
                    <a:pt x="480" y="1"/>
                    <a:pt x="9" y="480"/>
                    <a:pt x="1" y="1065"/>
                  </a:cubicBezTo>
                  <a:cubicBezTo>
                    <a:pt x="1" y="1709"/>
                    <a:pt x="526" y="2137"/>
                    <a:pt x="1074" y="2137"/>
                  </a:cubicBezTo>
                  <a:cubicBezTo>
                    <a:pt x="1336" y="2137"/>
                    <a:pt x="1603" y="2040"/>
                    <a:pt x="1822" y="1821"/>
                  </a:cubicBezTo>
                  <a:cubicBezTo>
                    <a:pt x="2496" y="1147"/>
                    <a:pt x="2017" y="1"/>
                    <a:pt x="1065"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811" name="Google Shape;1811;p104"/>
            <p:cNvSpPr/>
            <p:nvPr/>
          </p:nvSpPr>
          <p:spPr>
            <a:xfrm>
              <a:off x="4427825" y="2104500"/>
              <a:ext cx="62425" cy="53325"/>
            </a:xfrm>
            <a:custGeom>
              <a:avLst/>
              <a:gdLst/>
              <a:ahLst/>
              <a:cxnLst/>
              <a:rect l="l" t="t" r="r" b="b"/>
              <a:pathLst>
                <a:path w="2497" h="2133" extrusionOk="0">
                  <a:moveTo>
                    <a:pt x="1065" y="0"/>
                  </a:moveTo>
                  <a:cubicBezTo>
                    <a:pt x="480" y="0"/>
                    <a:pt x="9" y="480"/>
                    <a:pt x="1" y="1065"/>
                  </a:cubicBezTo>
                  <a:cubicBezTo>
                    <a:pt x="1" y="1709"/>
                    <a:pt x="526" y="2133"/>
                    <a:pt x="1075" y="2133"/>
                  </a:cubicBezTo>
                  <a:cubicBezTo>
                    <a:pt x="1336" y="2133"/>
                    <a:pt x="1604" y="2036"/>
                    <a:pt x="1822" y="1821"/>
                  </a:cubicBezTo>
                  <a:cubicBezTo>
                    <a:pt x="2496" y="1146"/>
                    <a:pt x="2017" y="0"/>
                    <a:pt x="1065"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812" name="Google Shape;1812;p104"/>
            <p:cNvSpPr/>
            <p:nvPr/>
          </p:nvSpPr>
          <p:spPr>
            <a:xfrm>
              <a:off x="4427825" y="2180700"/>
              <a:ext cx="62425" cy="53350"/>
            </a:xfrm>
            <a:custGeom>
              <a:avLst/>
              <a:gdLst/>
              <a:ahLst/>
              <a:cxnLst/>
              <a:rect l="l" t="t" r="r" b="b"/>
              <a:pathLst>
                <a:path w="2497" h="2134" extrusionOk="0">
                  <a:moveTo>
                    <a:pt x="1065" y="1"/>
                  </a:moveTo>
                  <a:cubicBezTo>
                    <a:pt x="480" y="1"/>
                    <a:pt x="9" y="480"/>
                    <a:pt x="1" y="1066"/>
                  </a:cubicBezTo>
                  <a:cubicBezTo>
                    <a:pt x="1" y="1709"/>
                    <a:pt x="526" y="2133"/>
                    <a:pt x="1075" y="2133"/>
                  </a:cubicBezTo>
                  <a:cubicBezTo>
                    <a:pt x="1336" y="2133"/>
                    <a:pt x="1604" y="2037"/>
                    <a:pt x="1822" y="1822"/>
                  </a:cubicBezTo>
                  <a:cubicBezTo>
                    <a:pt x="2496" y="1147"/>
                    <a:pt x="2017" y="1"/>
                    <a:pt x="1065"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813" name="Google Shape;1813;p104"/>
            <p:cNvSpPr/>
            <p:nvPr/>
          </p:nvSpPr>
          <p:spPr>
            <a:xfrm>
              <a:off x="4427825" y="1571400"/>
              <a:ext cx="62350" cy="53250"/>
            </a:xfrm>
            <a:custGeom>
              <a:avLst/>
              <a:gdLst/>
              <a:ahLst/>
              <a:cxnLst/>
              <a:rect l="l" t="t" r="r" b="b"/>
              <a:pathLst>
                <a:path w="2494" h="2130" extrusionOk="0">
                  <a:moveTo>
                    <a:pt x="1075" y="1"/>
                  </a:moveTo>
                  <a:cubicBezTo>
                    <a:pt x="1072" y="1"/>
                    <a:pt x="1069" y="1"/>
                    <a:pt x="1065" y="1"/>
                  </a:cubicBezTo>
                  <a:cubicBezTo>
                    <a:pt x="480" y="1"/>
                    <a:pt x="9" y="472"/>
                    <a:pt x="1" y="1066"/>
                  </a:cubicBezTo>
                  <a:cubicBezTo>
                    <a:pt x="1" y="1703"/>
                    <a:pt x="525" y="2129"/>
                    <a:pt x="1073" y="2129"/>
                  </a:cubicBezTo>
                  <a:cubicBezTo>
                    <a:pt x="1335" y="2129"/>
                    <a:pt x="1603" y="2032"/>
                    <a:pt x="1822" y="1813"/>
                  </a:cubicBezTo>
                  <a:cubicBezTo>
                    <a:pt x="2494" y="1149"/>
                    <a:pt x="2020" y="1"/>
                    <a:pt x="1075"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814" name="Google Shape;1814;p104"/>
            <p:cNvSpPr/>
            <p:nvPr/>
          </p:nvSpPr>
          <p:spPr>
            <a:xfrm>
              <a:off x="4351600" y="1571400"/>
              <a:ext cx="62425" cy="53250"/>
            </a:xfrm>
            <a:custGeom>
              <a:avLst/>
              <a:gdLst/>
              <a:ahLst/>
              <a:cxnLst/>
              <a:rect l="l" t="t" r="r" b="b"/>
              <a:pathLst>
                <a:path w="2497" h="2130" extrusionOk="0">
                  <a:moveTo>
                    <a:pt x="1074" y="1"/>
                  </a:moveTo>
                  <a:cubicBezTo>
                    <a:pt x="481" y="1"/>
                    <a:pt x="9" y="472"/>
                    <a:pt x="1" y="1066"/>
                  </a:cubicBezTo>
                  <a:cubicBezTo>
                    <a:pt x="1" y="1703"/>
                    <a:pt x="529" y="2129"/>
                    <a:pt x="1077" y="2129"/>
                  </a:cubicBezTo>
                  <a:cubicBezTo>
                    <a:pt x="1339" y="2129"/>
                    <a:pt x="1606" y="2032"/>
                    <a:pt x="1822" y="1813"/>
                  </a:cubicBezTo>
                  <a:cubicBezTo>
                    <a:pt x="2497" y="1147"/>
                    <a:pt x="2017" y="1"/>
                    <a:pt x="1074"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815" name="Google Shape;1815;p104"/>
            <p:cNvSpPr/>
            <p:nvPr/>
          </p:nvSpPr>
          <p:spPr>
            <a:xfrm>
              <a:off x="4275600" y="1571400"/>
              <a:ext cx="62225" cy="53250"/>
            </a:xfrm>
            <a:custGeom>
              <a:avLst/>
              <a:gdLst/>
              <a:ahLst/>
              <a:cxnLst/>
              <a:rect l="l" t="t" r="r" b="b"/>
              <a:pathLst>
                <a:path w="2489" h="2130" extrusionOk="0">
                  <a:moveTo>
                    <a:pt x="1066" y="1"/>
                  </a:moveTo>
                  <a:cubicBezTo>
                    <a:pt x="472" y="1"/>
                    <a:pt x="1" y="472"/>
                    <a:pt x="1" y="1066"/>
                  </a:cubicBezTo>
                  <a:cubicBezTo>
                    <a:pt x="1" y="1703"/>
                    <a:pt x="525" y="2129"/>
                    <a:pt x="1071" y="2129"/>
                  </a:cubicBezTo>
                  <a:cubicBezTo>
                    <a:pt x="1332" y="2129"/>
                    <a:pt x="1598" y="2032"/>
                    <a:pt x="1813" y="1813"/>
                  </a:cubicBezTo>
                  <a:cubicBezTo>
                    <a:pt x="2488" y="1147"/>
                    <a:pt x="2017" y="1"/>
                    <a:pt x="1066"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816" name="Google Shape;1816;p104"/>
            <p:cNvSpPr/>
            <p:nvPr/>
          </p:nvSpPr>
          <p:spPr>
            <a:xfrm>
              <a:off x="4275600" y="1418975"/>
              <a:ext cx="62225" cy="53350"/>
            </a:xfrm>
            <a:custGeom>
              <a:avLst/>
              <a:gdLst/>
              <a:ahLst/>
              <a:cxnLst/>
              <a:rect l="l" t="t" r="r" b="b"/>
              <a:pathLst>
                <a:path w="2489" h="2134" extrusionOk="0">
                  <a:moveTo>
                    <a:pt x="1066" y="1"/>
                  </a:moveTo>
                  <a:cubicBezTo>
                    <a:pt x="472" y="1"/>
                    <a:pt x="1" y="480"/>
                    <a:pt x="1" y="1065"/>
                  </a:cubicBezTo>
                  <a:cubicBezTo>
                    <a:pt x="1" y="1709"/>
                    <a:pt x="526" y="2133"/>
                    <a:pt x="1072" y="2133"/>
                  </a:cubicBezTo>
                  <a:cubicBezTo>
                    <a:pt x="1333" y="2133"/>
                    <a:pt x="1598" y="2037"/>
                    <a:pt x="1813" y="1822"/>
                  </a:cubicBezTo>
                  <a:cubicBezTo>
                    <a:pt x="2488" y="1147"/>
                    <a:pt x="2017" y="1"/>
                    <a:pt x="1066"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817" name="Google Shape;1817;p104"/>
            <p:cNvSpPr/>
            <p:nvPr/>
          </p:nvSpPr>
          <p:spPr>
            <a:xfrm>
              <a:off x="4199400" y="1647400"/>
              <a:ext cx="62200" cy="53450"/>
            </a:xfrm>
            <a:custGeom>
              <a:avLst/>
              <a:gdLst/>
              <a:ahLst/>
              <a:cxnLst/>
              <a:rect l="l" t="t" r="r" b="b"/>
              <a:pathLst>
                <a:path w="2488" h="2138" extrusionOk="0">
                  <a:moveTo>
                    <a:pt x="1065" y="1"/>
                  </a:moveTo>
                  <a:cubicBezTo>
                    <a:pt x="480" y="1"/>
                    <a:pt x="0" y="481"/>
                    <a:pt x="0" y="1066"/>
                  </a:cubicBezTo>
                  <a:cubicBezTo>
                    <a:pt x="0" y="1710"/>
                    <a:pt x="525" y="2138"/>
                    <a:pt x="1074" y="2138"/>
                  </a:cubicBezTo>
                  <a:cubicBezTo>
                    <a:pt x="1336" y="2138"/>
                    <a:pt x="1603" y="2040"/>
                    <a:pt x="1821" y="1822"/>
                  </a:cubicBezTo>
                  <a:cubicBezTo>
                    <a:pt x="2488" y="1147"/>
                    <a:pt x="2016" y="1"/>
                    <a:pt x="1065"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818" name="Google Shape;1818;p104"/>
            <p:cNvSpPr/>
            <p:nvPr/>
          </p:nvSpPr>
          <p:spPr>
            <a:xfrm>
              <a:off x="4199400" y="1571400"/>
              <a:ext cx="62200" cy="53250"/>
            </a:xfrm>
            <a:custGeom>
              <a:avLst/>
              <a:gdLst/>
              <a:ahLst/>
              <a:cxnLst/>
              <a:rect l="l" t="t" r="r" b="b"/>
              <a:pathLst>
                <a:path w="2488" h="2130" extrusionOk="0">
                  <a:moveTo>
                    <a:pt x="1065" y="1"/>
                  </a:moveTo>
                  <a:cubicBezTo>
                    <a:pt x="480" y="1"/>
                    <a:pt x="0" y="472"/>
                    <a:pt x="0" y="1066"/>
                  </a:cubicBezTo>
                  <a:cubicBezTo>
                    <a:pt x="0" y="1703"/>
                    <a:pt x="524" y="2129"/>
                    <a:pt x="1073" y="2129"/>
                  </a:cubicBezTo>
                  <a:cubicBezTo>
                    <a:pt x="1335" y="2129"/>
                    <a:pt x="1603" y="2032"/>
                    <a:pt x="1821" y="1813"/>
                  </a:cubicBezTo>
                  <a:cubicBezTo>
                    <a:pt x="2488" y="1147"/>
                    <a:pt x="2016" y="1"/>
                    <a:pt x="1065"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819" name="Google Shape;1819;p104"/>
            <p:cNvSpPr/>
            <p:nvPr/>
          </p:nvSpPr>
          <p:spPr>
            <a:xfrm>
              <a:off x="4199400" y="1495200"/>
              <a:ext cx="62200" cy="53325"/>
            </a:xfrm>
            <a:custGeom>
              <a:avLst/>
              <a:gdLst/>
              <a:ahLst/>
              <a:cxnLst/>
              <a:rect l="l" t="t" r="r" b="b"/>
              <a:pathLst>
                <a:path w="2488" h="2133"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820" name="Google Shape;1820;p104"/>
            <p:cNvSpPr/>
            <p:nvPr/>
          </p:nvSpPr>
          <p:spPr>
            <a:xfrm>
              <a:off x="4199400" y="1418975"/>
              <a:ext cx="62200" cy="53350"/>
            </a:xfrm>
            <a:custGeom>
              <a:avLst/>
              <a:gdLst/>
              <a:ahLst/>
              <a:cxnLst/>
              <a:rect l="l" t="t" r="r" b="b"/>
              <a:pathLst>
                <a:path w="2488" h="2134" extrusionOk="0">
                  <a:moveTo>
                    <a:pt x="1065" y="1"/>
                  </a:moveTo>
                  <a:cubicBezTo>
                    <a:pt x="480" y="1"/>
                    <a:pt x="0" y="480"/>
                    <a:pt x="0" y="1065"/>
                  </a:cubicBezTo>
                  <a:cubicBezTo>
                    <a:pt x="0" y="1709"/>
                    <a:pt x="525" y="2133"/>
                    <a:pt x="1074" y="2133"/>
                  </a:cubicBezTo>
                  <a:cubicBezTo>
                    <a:pt x="1336" y="2133"/>
                    <a:pt x="1603" y="2037"/>
                    <a:pt x="1821" y="1822"/>
                  </a:cubicBezTo>
                  <a:cubicBezTo>
                    <a:pt x="2488" y="1147"/>
                    <a:pt x="2016" y="1"/>
                    <a:pt x="1065"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821" name="Google Shape;1821;p104"/>
            <p:cNvSpPr/>
            <p:nvPr/>
          </p:nvSpPr>
          <p:spPr>
            <a:xfrm>
              <a:off x="4123175" y="2180700"/>
              <a:ext cx="62425" cy="53350"/>
            </a:xfrm>
            <a:custGeom>
              <a:avLst/>
              <a:gdLst/>
              <a:ahLst/>
              <a:cxnLst/>
              <a:rect l="l" t="t" r="r" b="b"/>
              <a:pathLst>
                <a:path w="2497" h="2134" extrusionOk="0">
                  <a:moveTo>
                    <a:pt x="1065" y="1"/>
                  </a:moveTo>
                  <a:cubicBezTo>
                    <a:pt x="480" y="1"/>
                    <a:pt x="0" y="480"/>
                    <a:pt x="0" y="1066"/>
                  </a:cubicBezTo>
                  <a:cubicBezTo>
                    <a:pt x="0" y="1709"/>
                    <a:pt x="526" y="2133"/>
                    <a:pt x="1074" y="2133"/>
                  </a:cubicBezTo>
                  <a:cubicBezTo>
                    <a:pt x="1336" y="2133"/>
                    <a:pt x="1604" y="2037"/>
                    <a:pt x="1821" y="1822"/>
                  </a:cubicBezTo>
                  <a:cubicBezTo>
                    <a:pt x="2496" y="1147"/>
                    <a:pt x="2017" y="1"/>
                    <a:pt x="1065"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822" name="Google Shape;1822;p104"/>
            <p:cNvSpPr/>
            <p:nvPr/>
          </p:nvSpPr>
          <p:spPr>
            <a:xfrm>
              <a:off x="4123175" y="1647400"/>
              <a:ext cx="62425" cy="53450"/>
            </a:xfrm>
            <a:custGeom>
              <a:avLst/>
              <a:gdLst/>
              <a:ahLst/>
              <a:cxnLst/>
              <a:rect l="l" t="t" r="r" b="b"/>
              <a:pathLst>
                <a:path w="2497" h="2138" extrusionOk="0">
                  <a:moveTo>
                    <a:pt x="1065" y="1"/>
                  </a:moveTo>
                  <a:cubicBezTo>
                    <a:pt x="480" y="1"/>
                    <a:pt x="0" y="481"/>
                    <a:pt x="0" y="1066"/>
                  </a:cubicBezTo>
                  <a:cubicBezTo>
                    <a:pt x="0" y="1710"/>
                    <a:pt x="526" y="2138"/>
                    <a:pt x="1074" y="2138"/>
                  </a:cubicBezTo>
                  <a:cubicBezTo>
                    <a:pt x="1336" y="2138"/>
                    <a:pt x="1603" y="2040"/>
                    <a:pt x="1821" y="1822"/>
                  </a:cubicBezTo>
                  <a:cubicBezTo>
                    <a:pt x="2496" y="1155"/>
                    <a:pt x="2017" y="1"/>
                    <a:pt x="1065"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823" name="Google Shape;1823;p104"/>
            <p:cNvSpPr/>
            <p:nvPr/>
          </p:nvSpPr>
          <p:spPr>
            <a:xfrm>
              <a:off x="4123175" y="1571400"/>
              <a:ext cx="62425" cy="53250"/>
            </a:xfrm>
            <a:custGeom>
              <a:avLst/>
              <a:gdLst/>
              <a:ahLst/>
              <a:cxnLst/>
              <a:rect l="l" t="t" r="r" b="b"/>
              <a:pathLst>
                <a:path w="2497" h="2130" extrusionOk="0">
                  <a:moveTo>
                    <a:pt x="1065" y="1"/>
                  </a:moveTo>
                  <a:cubicBezTo>
                    <a:pt x="480" y="1"/>
                    <a:pt x="0" y="472"/>
                    <a:pt x="0" y="1066"/>
                  </a:cubicBezTo>
                  <a:cubicBezTo>
                    <a:pt x="0" y="1703"/>
                    <a:pt x="525" y="2129"/>
                    <a:pt x="1073" y="2129"/>
                  </a:cubicBezTo>
                  <a:cubicBezTo>
                    <a:pt x="1335" y="2129"/>
                    <a:pt x="1603" y="2032"/>
                    <a:pt x="1821" y="1813"/>
                  </a:cubicBezTo>
                  <a:cubicBezTo>
                    <a:pt x="2496" y="1147"/>
                    <a:pt x="2017" y="1"/>
                    <a:pt x="1065"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824" name="Google Shape;1824;p104"/>
            <p:cNvSpPr/>
            <p:nvPr/>
          </p:nvSpPr>
          <p:spPr>
            <a:xfrm>
              <a:off x="4123175" y="1495200"/>
              <a:ext cx="62425" cy="53325"/>
            </a:xfrm>
            <a:custGeom>
              <a:avLst/>
              <a:gdLst/>
              <a:ahLst/>
              <a:cxnLst/>
              <a:rect l="l" t="t" r="r" b="b"/>
              <a:pathLst>
                <a:path w="2497" h="2133" extrusionOk="0">
                  <a:moveTo>
                    <a:pt x="1065" y="0"/>
                  </a:moveTo>
                  <a:cubicBezTo>
                    <a:pt x="480" y="0"/>
                    <a:pt x="0" y="480"/>
                    <a:pt x="0" y="1065"/>
                  </a:cubicBezTo>
                  <a:cubicBezTo>
                    <a:pt x="0" y="1709"/>
                    <a:pt x="526" y="2133"/>
                    <a:pt x="1074" y="2133"/>
                  </a:cubicBezTo>
                  <a:cubicBezTo>
                    <a:pt x="1336" y="2133"/>
                    <a:pt x="1604" y="2036"/>
                    <a:pt x="1821" y="1821"/>
                  </a:cubicBezTo>
                  <a:cubicBezTo>
                    <a:pt x="2496" y="1146"/>
                    <a:pt x="2017" y="0"/>
                    <a:pt x="1065"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825" name="Google Shape;1825;p104"/>
            <p:cNvSpPr/>
            <p:nvPr/>
          </p:nvSpPr>
          <p:spPr>
            <a:xfrm>
              <a:off x="4123175" y="1418975"/>
              <a:ext cx="62425" cy="53350"/>
            </a:xfrm>
            <a:custGeom>
              <a:avLst/>
              <a:gdLst/>
              <a:ahLst/>
              <a:cxnLst/>
              <a:rect l="l" t="t" r="r" b="b"/>
              <a:pathLst>
                <a:path w="2497" h="2134" extrusionOk="0">
                  <a:moveTo>
                    <a:pt x="1065" y="1"/>
                  </a:moveTo>
                  <a:cubicBezTo>
                    <a:pt x="480" y="1"/>
                    <a:pt x="0" y="480"/>
                    <a:pt x="0" y="1065"/>
                  </a:cubicBezTo>
                  <a:cubicBezTo>
                    <a:pt x="0" y="1709"/>
                    <a:pt x="526" y="2133"/>
                    <a:pt x="1074" y="2133"/>
                  </a:cubicBezTo>
                  <a:cubicBezTo>
                    <a:pt x="1336" y="2133"/>
                    <a:pt x="1604" y="2037"/>
                    <a:pt x="1821" y="1822"/>
                  </a:cubicBezTo>
                  <a:cubicBezTo>
                    <a:pt x="2496" y="1147"/>
                    <a:pt x="2017" y="1"/>
                    <a:pt x="1065"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826" name="Google Shape;1826;p104"/>
            <p:cNvSpPr/>
            <p:nvPr/>
          </p:nvSpPr>
          <p:spPr>
            <a:xfrm>
              <a:off x="4123175" y="1342750"/>
              <a:ext cx="62425" cy="53450"/>
            </a:xfrm>
            <a:custGeom>
              <a:avLst/>
              <a:gdLst/>
              <a:ahLst/>
              <a:cxnLst/>
              <a:rect l="l" t="t" r="r" b="b"/>
              <a:pathLst>
                <a:path w="2497" h="2138" extrusionOk="0">
                  <a:moveTo>
                    <a:pt x="1065" y="1"/>
                  </a:moveTo>
                  <a:cubicBezTo>
                    <a:pt x="480" y="1"/>
                    <a:pt x="0" y="481"/>
                    <a:pt x="0" y="1066"/>
                  </a:cubicBezTo>
                  <a:cubicBezTo>
                    <a:pt x="0" y="1710"/>
                    <a:pt x="526" y="2138"/>
                    <a:pt x="1074" y="2138"/>
                  </a:cubicBezTo>
                  <a:cubicBezTo>
                    <a:pt x="1336" y="2138"/>
                    <a:pt x="1603" y="2040"/>
                    <a:pt x="1821" y="1822"/>
                  </a:cubicBezTo>
                  <a:cubicBezTo>
                    <a:pt x="2496" y="1147"/>
                    <a:pt x="2017" y="1"/>
                    <a:pt x="1065"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827" name="Google Shape;1827;p104"/>
            <p:cNvSpPr/>
            <p:nvPr/>
          </p:nvSpPr>
          <p:spPr>
            <a:xfrm>
              <a:off x="4046950" y="2180700"/>
              <a:ext cx="62425" cy="53350"/>
            </a:xfrm>
            <a:custGeom>
              <a:avLst/>
              <a:gdLst/>
              <a:ahLst/>
              <a:cxnLst/>
              <a:rect l="l" t="t" r="r" b="b"/>
              <a:pathLst>
                <a:path w="2497" h="2134" extrusionOk="0">
                  <a:moveTo>
                    <a:pt x="1074" y="1"/>
                  </a:moveTo>
                  <a:cubicBezTo>
                    <a:pt x="481" y="1"/>
                    <a:pt x="9" y="480"/>
                    <a:pt x="1" y="1066"/>
                  </a:cubicBezTo>
                  <a:cubicBezTo>
                    <a:pt x="1" y="1709"/>
                    <a:pt x="530" y="2133"/>
                    <a:pt x="1079" y="2133"/>
                  </a:cubicBezTo>
                  <a:cubicBezTo>
                    <a:pt x="1340" y="2133"/>
                    <a:pt x="1607" y="2037"/>
                    <a:pt x="1822" y="1822"/>
                  </a:cubicBezTo>
                  <a:cubicBezTo>
                    <a:pt x="2497" y="1147"/>
                    <a:pt x="2017" y="1"/>
                    <a:pt x="1074"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828" name="Google Shape;1828;p104"/>
            <p:cNvSpPr/>
            <p:nvPr/>
          </p:nvSpPr>
          <p:spPr>
            <a:xfrm>
              <a:off x="4046950" y="1799850"/>
              <a:ext cx="62425" cy="53325"/>
            </a:xfrm>
            <a:custGeom>
              <a:avLst/>
              <a:gdLst/>
              <a:ahLst/>
              <a:cxnLst/>
              <a:rect l="l" t="t" r="r" b="b"/>
              <a:pathLst>
                <a:path w="2497" h="2133" extrusionOk="0">
                  <a:moveTo>
                    <a:pt x="1074" y="0"/>
                  </a:moveTo>
                  <a:cubicBezTo>
                    <a:pt x="481" y="0"/>
                    <a:pt x="9" y="480"/>
                    <a:pt x="1" y="1065"/>
                  </a:cubicBezTo>
                  <a:cubicBezTo>
                    <a:pt x="1" y="1709"/>
                    <a:pt x="530" y="2133"/>
                    <a:pt x="1079" y="2133"/>
                  </a:cubicBezTo>
                  <a:cubicBezTo>
                    <a:pt x="1340" y="2133"/>
                    <a:pt x="1607" y="2036"/>
                    <a:pt x="1822" y="1821"/>
                  </a:cubicBezTo>
                  <a:cubicBezTo>
                    <a:pt x="2497" y="1146"/>
                    <a:pt x="2017" y="0"/>
                    <a:pt x="1074"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829" name="Google Shape;1829;p104"/>
            <p:cNvSpPr/>
            <p:nvPr/>
          </p:nvSpPr>
          <p:spPr>
            <a:xfrm>
              <a:off x="4046950" y="1723625"/>
              <a:ext cx="62425" cy="53350"/>
            </a:xfrm>
            <a:custGeom>
              <a:avLst/>
              <a:gdLst/>
              <a:ahLst/>
              <a:cxnLst/>
              <a:rect l="l" t="t" r="r" b="b"/>
              <a:pathLst>
                <a:path w="2497" h="2134" extrusionOk="0">
                  <a:moveTo>
                    <a:pt x="1074" y="1"/>
                  </a:moveTo>
                  <a:cubicBezTo>
                    <a:pt x="481" y="1"/>
                    <a:pt x="9" y="480"/>
                    <a:pt x="1" y="1065"/>
                  </a:cubicBezTo>
                  <a:cubicBezTo>
                    <a:pt x="1" y="1709"/>
                    <a:pt x="530" y="2133"/>
                    <a:pt x="1079" y="2133"/>
                  </a:cubicBezTo>
                  <a:cubicBezTo>
                    <a:pt x="1340" y="2133"/>
                    <a:pt x="1607" y="2037"/>
                    <a:pt x="1822" y="1822"/>
                  </a:cubicBezTo>
                  <a:cubicBezTo>
                    <a:pt x="2497" y="1147"/>
                    <a:pt x="2017" y="1"/>
                    <a:pt x="1074"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830" name="Google Shape;1830;p104"/>
            <p:cNvSpPr/>
            <p:nvPr/>
          </p:nvSpPr>
          <p:spPr>
            <a:xfrm>
              <a:off x="4046950" y="1647400"/>
              <a:ext cx="62425" cy="53450"/>
            </a:xfrm>
            <a:custGeom>
              <a:avLst/>
              <a:gdLst/>
              <a:ahLst/>
              <a:cxnLst/>
              <a:rect l="l" t="t" r="r" b="b"/>
              <a:pathLst>
                <a:path w="2497" h="2138" extrusionOk="0">
                  <a:moveTo>
                    <a:pt x="1074" y="1"/>
                  </a:moveTo>
                  <a:cubicBezTo>
                    <a:pt x="481" y="9"/>
                    <a:pt x="9" y="481"/>
                    <a:pt x="1" y="1066"/>
                  </a:cubicBezTo>
                  <a:cubicBezTo>
                    <a:pt x="1" y="1710"/>
                    <a:pt x="530" y="2138"/>
                    <a:pt x="1078" y="2138"/>
                  </a:cubicBezTo>
                  <a:cubicBezTo>
                    <a:pt x="1340" y="2138"/>
                    <a:pt x="1607" y="2040"/>
                    <a:pt x="1822" y="1822"/>
                  </a:cubicBezTo>
                  <a:cubicBezTo>
                    <a:pt x="2497" y="1147"/>
                    <a:pt x="2017" y="1"/>
                    <a:pt x="1074"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831" name="Google Shape;1831;p104"/>
            <p:cNvSpPr/>
            <p:nvPr/>
          </p:nvSpPr>
          <p:spPr>
            <a:xfrm>
              <a:off x="4046950" y="1571400"/>
              <a:ext cx="62425" cy="53250"/>
            </a:xfrm>
            <a:custGeom>
              <a:avLst/>
              <a:gdLst/>
              <a:ahLst/>
              <a:cxnLst/>
              <a:rect l="l" t="t" r="r" b="b"/>
              <a:pathLst>
                <a:path w="2497" h="2130" extrusionOk="0">
                  <a:moveTo>
                    <a:pt x="1074" y="1"/>
                  </a:moveTo>
                  <a:cubicBezTo>
                    <a:pt x="481" y="1"/>
                    <a:pt x="9" y="472"/>
                    <a:pt x="1" y="1066"/>
                  </a:cubicBezTo>
                  <a:cubicBezTo>
                    <a:pt x="1" y="1703"/>
                    <a:pt x="529" y="2129"/>
                    <a:pt x="1077" y="2129"/>
                  </a:cubicBezTo>
                  <a:cubicBezTo>
                    <a:pt x="1339" y="2129"/>
                    <a:pt x="1606" y="2032"/>
                    <a:pt x="1822" y="1813"/>
                  </a:cubicBezTo>
                  <a:cubicBezTo>
                    <a:pt x="2497" y="1147"/>
                    <a:pt x="2017" y="1"/>
                    <a:pt x="1074"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832" name="Google Shape;1832;p104"/>
            <p:cNvSpPr/>
            <p:nvPr/>
          </p:nvSpPr>
          <p:spPr>
            <a:xfrm>
              <a:off x="4046950" y="1495200"/>
              <a:ext cx="62425" cy="53325"/>
            </a:xfrm>
            <a:custGeom>
              <a:avLst/>
              <a:gdLst/>
              <a:ahLst/>
              <a:cxnLst/>
              <a:rect l="l" t="t" r="r" b="b"/>
              <a:pathLst>
                <a:path w="2497" h="2133" extrusionOk="0">
                  <a:moveTo>
                    <a:pt x="1074" y="0"/>
                  </a:moveTo>
                  <a:cubicBezTo>
                    <a:pt x="481" y="0"/>
                    <a:pt x="9" y="480"/>
                    <a:pt x="1" y="1065"/>
                  </a:cubicBezTo>
                  <a:cubicBezTo>
                    <a:pt x="1" y="1709"/>
                    <a:pt x="530" y="2133"/>
                    <a:pt x="1079" y="2133"/>
                  </a:cubicBezTo>
                  <a:cubicBezTo>
                    <a:pt x="1340" y="2133"/>
                    <a:pt x="1607" y="2036"/>
                    <a:pt x="1822" y="1821"/>
                  </a:cubicBezTo>
                  <a:cubicBezTo>
                    <a:pt x="2497" y="1146"/>
                    <a:pt x="2017" y="0"/>
                    <a:pt x="1074"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833" name="Google Shape;1833;p104"/>
            <p:cNvSpPr/>
            <p:nvPr/>
          </p:nvSpPr>
          <p:spPr>
            <a:xfrm>
              <a:off x="4046950" y="1418975"/>
              <a:ext cx="62425" cy="53350"/>
            </a:xfrm>
            <a:custGeom>
              <a:avLst/>
              <a:gdLst/>
              <a:ahLst/>
              <a:cxnLst/>
              <a:rect l="l" t="t" r="r" b="b"/>
              <a:pathLst>
                <a:path w="2497" h="2134" extrusionOk="0">
                  <a:moveTo>
                    <a:pt x="1074" y="1"/>
                  </a:moveTo>
                  <a:cubicBezTo>
                    <a:pt x="481" y="1"/>
                    <a:pt x="9" y="480"/>
                    <a:pt x="1" y="1065"/>
                  </a:cubicBezTo>
                  <a:cubicBezTo>
                    <a:pt x="1" y="1709"/>
                    <a:pt x="530" y="2133"/>
                    <a:pt x="1079" y="2133"/>
                  </a:cubicBezTo>
                  <a:cubicBezTo>
                    <a:pt x="1340" y="2133"/>
                    <a:pt x="1607" y="2037"/>
                    <a:pt x="1822" y="1822"/>
                  </a:cubicBezTo>
                  <a:cubicBezTo>
                    <a:pt x="2497" y="1147"/>
                    <a:pt x="2017" y="1"/>
                    <a:pt x="1074"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834" name="Google Shape;1834;p104"/>
            <p:cNvSpPr/>
            <p:nvPr/>
          </p:nvSpPr>
          <p:spPr>
            <a:xfrm>
              <a:off x="4046950" y="1342750"/>
              <a:ext cx="62425" cy="53450"/>
            </a:xfrm>
            <a:custGeom>
              <a:avLst/>
              <a:gdLst/>
              <a:ahLst/>
              <a:cxnLst/>
              <a:rect l="l" t="t" r="r" b="b"/>
              <a:pathLst>
                <a:path w="2497" h="2138" extrusionOk="0">
                  <a:moveTo>
                    <a:pt x="1074" y="1"/>
                  </a:moveTo>
                  <a:cubicBezTo>
                    <a:pt x="481" y="1"/>
                    <a:pt x="9" y="481"/>
                    <a:pt x="1" y="1066"/>
                  </a:cubicBezTo>
                  <a:cubicBezTo>
                    <a:pt x="1" y="1710"/>
                    <a:pt x="530" y="2138"/>
                    <a:pt x="1078" y="2138"/>
                  </a:cubicBezTo>
                  <a:cubicBezTo>
                    <a:pt x="1340" y="2138"/>
                    <a:pt x="1607" y="2040"/>
                    <a:pt x="1822" y="1822"/>
                  </a:cubicBezTo>
                  <a:cubicBezTo>
                    <a:pt x="2497" y="1147"/>
                    <a:pt x="2017" y="1"/>
                    <a:pt x="1074"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835" name="Google Shape;1835;p104"/>
            <p:cNvSpPr/>
            <p:nvPr/>
          </p:nvSpPr>
          <p:spPr>
            <a:xfrm>
              <a:off x="3970950" y="2256925"/>
              <a:ext cx="62350" cy="53425"/>
            </a:xfrm>
            <a:custGeom>
              <a:avLst/>
              <a:gdLst/>
              <a:ahLst/>
              <a:cxnLst/>
              <a:rect l="l" t="t" r="r" b="b"/>
              <a:pathLst>
                <a:path w="2494" h="2137" extrusionOk="0">
                  <a:moveTo>
                    <a:pt x="1075" y="0"/>
                  </a:moveTo>
                  <a:cubicBezTo>
                    <a:pt x="1072" y="0"/>
                    <a:pt x="1069" y="0"/>
                    <a:pt x="1065" y="0"/>
                  </a:cubicBezTo>
                  <a:cubicBezTo>
                    <a:pt x="472" y="0"/>
                    <a:pt x="1" y="480"/>
                    <a:pt x="1" y="1065"/>
                  </a:cubicBezTo>
                  <a:cubicBezTo>
                    <a:pt x="1" y="1709"/>
                    <a:pt x="526" y="2137"/>
                    <a:pt x="1074" y="2137"/>
                  </a:cubicBezTo>
                  <a:cubicBezTo>
                    <a:pt x="1336" y="2137"/>
                    <a:pt x="1603" y="2039"/>
                    <a:pt x="1822" y="1821"/>
                  </a:cubicBezTo>
                  <a:cubicBezTo>
                    <a:pt x="2494" y="1149"/>
                    <a:pt x="2020" y="0"/>
                    <a:pt x="1075"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836" name="Google Shape;1836;p104"/>
            <p:cNvSpPr/>
            <p:nvPr/>
          </p:nvSpPr>
          <p:spPr>
            <a:xfrm>
              <a:off x="3970950" y="2180700"/>
              <a:ext cx="62225" cy="53350"/>
            </a:xfrm>
            <a:custGeom>
              <a:avLst/>
              <a:gdLst/>
              <a:ahLst/>
              <a:cxnLst/>
              <a:rect l="l" t="t" r="r" b="b"/>
              <a:pathLst>
                <a:path w="2489" h="2134" extrusionOk="0">
                  <a:moveTo>
                    <a:pt x="1065" y="1"/>
                  </a:moveTo>
                  <a:cubicBezTo>
                    <a:pt x="472" y="1"/>
                    <a:pt x="1" y="480"/>
                    <a:pt x="1" y="1066"/>
                  </a:cubicBezTo>
                  <a:cubicBezTo>
                    <a:pt x="1" y="1709"/>
                    <a:pt x="526" y="2133"/>
                    <a:pt x="1072" y="2133"/>
                  </a:cubicBezTo>
                  <a:cubicBezTo>
                    <a:pt x="1333" y="2133"/>
                    <a:pt x="1598" y="2037"/>
                    <a:pt x="1813" y="1822"/>
                  </a:cubicBezTo>
                  <a:cubicBezTo>
                    <a:pt x="2488" y="1147"/>
                    <a:pt x="2017" y="1"/>
                    <a:pt x="1065"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837" name="Google Shape;1837;p104"/>
            <p:cNvSpPr/>
            <p:nvPr/>
          </p:nvSpPr>
          <p:spPr>
            <a:xfrm>
              <a:off x="3970950" y="1799850"/>
              <a:ext cx="62225" cy="53325"/>
            </a:xfrm>
            <a:custGeom>
              <a:avLst/>
              <a:gdLst/>
              <a:ahLst/>
              <a:cxnLst/>
              <a:rect l="l" t="t" r="r" b="b"/>
              <a:pathLst>
                <a:path w="2489" h="2133" extrusionOk="0">
                  <a:moveTo>
                    <a:pt x="1065" y="0"/>
                  </a:moveTo>
                  <a:cubicBezTo>
                    <a:pt x="472" y="0"/>
                    <a:pt x="1" y="480"/>
                    <a:pt x="1" y="1065"/>
                  </a:cubicBezTo>
                  <a:cubicBezTo>
                    <a:pt x="1" y="1709"/>
                    <a:pt x="526" y="2133"/>
                    <a:pt x="1072" y="2133"/>
                  </a:cubicBezTo>
                  <a:cubicBezTo>
                    <a:pt x="1333" y="2133"/>
                    <a:pt x="1598" y="2036"/>
                    <a:pt x="1813" y="1821"/>
                  </a:cubicBezTo>
                  <a:cubicBezTo>
                    <a:pt x="2488" y="1146"/>
                    <a:pt x="2017" y="0"/>
                    <a:pt x="1065"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838" name="Google Shape;1838;p104"/>
            <p:cNvSpPr/>
            <p:nvPr/>
          </p:nvSpPr>
          <p:spPr>
            <a:xfrm>
              <a:off x="3970950" y="1647400"/>
              <a:ext cx="62225" cy="53450"/>
            </a:xfrm>
            <a:custGeom>
              <a:avLst/>
              <a:gdLst/>
              <a:ahLst/>
              <a:cxnLst/>
              <a:rect l="l" t="t" r="r" b="b"/>
              <a:pathLst>
                <a:path w="2489" h="2138" extrusionOk="0">
                  <a:moveTo>
                    <a:pt x="1065" y="1"/>
                  </a:moveTo>
                  <a:cubicBezTo>
                    <a:pt x="472" y="1"/>
                    <a:pt x="1" y="481"/>
                    <a:pt x="1" y="1066"/>
                  </a:cubicBezTo>
                  <a:cubicBezTo>
                    <a:pt x="1" y="1710"/>
                    <a:pt x="526" y="2138"/>
                    <a:pt x="1072" y="2138"/>
                  </a:cubicBezTo>
                  <a:cubicBezTo>
                    <a:pt x="1332" y="2138"/>
                    <a:pt x="1598" y="2040"/>
                    <a:pt x="1813" y="1822"/>
                  </a:cubicBezTo>
                  <a:cubicBezTo>
                    <a:pt x="2488" y="1155"/>
                    <a:pt x="2017" y="1"/>
                    <a:pt x="1065"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839" name="Google Shape;1839;p104"/>
            <p:cNvSpPr/>
            <p:nvPr/>
          </p:nvSpPr>
          <p:spPr>
            <a:xfrm>
              <a:off x="3970950" y="1571400"/>
              <a:ext cx="62225" cy="53250"/>
            </a:xfrm>
            <a:custGeom>
              <a:avLst/>
              <a:gdLst/>
              <a:ahLst/>
              <a:cxnLst/>
              <a:rect l="l" t="t" r="r" b="b"/>
              <a:pathLst>
                <a:path w="2489" h="2130" extrusionOk="0">
                  <a:moveTo>
                    <a:pt x="1065" y="1"/>
                  </a:moveTo>
                  <a:cubicBezTo>
                    <a:pt x="472" y="1"/>
                    <a:pt x="1" y="472"/>
                    <a:pt x="1" y="1066"/>
                  </a:cubicBezTo>
                  <a:cubicBezTo>
                    <a:pt x="1" y="1703"/>
                    <a:pt x="525" y="2129"/>
                    <a:pt x="1071" y="2129"/>
                  </a:cubicBezTo>
                  <a:cubicBezTo>
                    <a:pt x="1332" y="2129"/>
                    <a:pt x="1598" y="2032"/>
                    <a:pt x="1813" y="1813"/>
                  </a:cubicBezTo>
                  <a:cubicBezTo>
                    <a:pt x="2488" y="1147"/>
                    <a:pt x="2017" y="1"/>
                    <a:pt x="1065"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840" name="Google Shape;1840;p104"/>
            <p:cNvSpPr/>
            <p:nvPr/>
          </p:nvSpPr>
          <p:spPr>
            <a:xfrm>
              <a:off x="3970950" y="1495200"/>
              <a:ext cx="62225" cy="53325"/>
            </a:xfrm>
            <a:custGeom>
              <a:avLst/>
              <a:gdLst/>
              <a:ahLst/>
              <a:cxnLst/>
              <a:rect l="l" t="t" r="r" b="b"/>
              <a:pathLst>
                <a:path w="2489" h="2133" extrusionOk="0">
                  <a:moveTo>
                    <a:pt x="1065" y="0"/>
                  </a:moveTo>
                  <a:cubicBezTo>
                    <a:pt x="472" y="0"/>
                    <a:pt x="1" y="480"/>
                    <a:pt x="1" y="1065"/>
                  </a:cubicBezTo>
                  <a:cubicBezTo>
                    <a:pt x="1" y="1709"/>
                    <a:pt x="526" y="2133"/>
                    <a:pt x="1072" y="2133"/>
                  </a:cubicBezTo>
                  <a:cubicBezTo>
                    <a:pt x="1333" y="2133"/>
                    <a:pt x="1598" y="2036"/>
                    <a:pt x="1813" y="1821"/>
                  </a:cubicBezTo>
                  <a:cubicBezTo>
                    <a:pt x="2488" y="1146"/>
                    <a:pt x="2017" y="0"/>
                    <a:pt x="1065"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841" name="Google Shape;1841;p104"/>
            <p:cNvSpPr/>
            <p:nvPr/>
          </p:nvSpPr>
          <p:spPr>
            <a:xfrm>
              <a:off x="3970950" y="1418975"/>
              <a:ext cx="62225" cy="53350"/>
            </a:xfrm>
            <a:custGeom>
              <a:avLst/>
              <a:gdLst/>
              <a:ahLst/>
              <a:cxnLst/>
              <a:rect l="l" t="t" r="r" b="b"/>
              <a:pathLst>
                <a:path w="2489" h="2134" extrusionOk="0">
                  <a:moveTo>
                    <a:pt x="1065" y="1"/>
                  </a:moveTo>
                  <a:cubicBezTo>
                    <a:pt x="472" y="1"/>
                    <a:pt x="1" y="480"/>
                    <a:pt x="1" y="1065"/>
                  </a:cubicBezTo>
                  <a:cubicBezTo>
                    <a:pt x="1" y="1709"/>
                    <a:pt x="526" y="2133"/>
                    <a:pt x="1072" y="2133"/>
                  </a:cubicBezTo>
                  <a:cubicBezTo>
                    <a:pt x="1333" y="2133"/>
                    <a:pt x="1598" y="2037"/>
                    <a:pt x="1813" y="1822"/>
                  </a:cubicBezTo>
                  <a:cubicBezTo>
                    <a:pt x="2488" y="1147"/>
                    <a:pt x="2017" y="1"/>
                    <a:pt x="1065"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842" name="Google Shape;1842;p104"/>
            <p:cNvSpPr/>
            <p:nvPr/>
          </p:nvSpPr>
          <p:spPr>
            <a:xfrm>
              <a:off x="3970950" y="1342750"/>
              <a:ext cx="62225" cy="53450"/>
            </a:xfrm>
            <a:custGeom>
              <a:avLst/>
              <a:gdLst/>
              <a:ahLst/>
              <a:cxnLst/>
              <a:rect l="l" t="t" r="r" b="b"/>
              <a:pathLst>
                <a:path w="2489" h="2138" extrusionOk="0">
                  <a:moveTo>
                    <a:pt x="1065" y="1"/>
                  </a:moveTo>
                  <a:cubicBezTo>
                    <a:pt x="472" y="1"/>
                    <a:pt x="1" y="481"/>
                    <a:pt x="1" y="1066"/>
                  </a:cubicBezTo>
                  <a:cubicBezTo>
                    <a:pt x="1" y="1710"/>
                    <a:pt x="526" y="2138"/>
                    <a:pt x="1072" y="2138"/>
                  </a:cubicBezTo>
                  <a:cubicBezTo>
                    <a:pt x="1332" y="2138"/>
                    <a:pt x="1598" y="2040"/>
                    <a:pt x="1813" y="1822"/>
                  </a:cubicBezTo>
                  <a:cubicBezTo>
                    <a:pt x="2488" y="1147"/>
                    <a:pt x="2017" y="1"/>
                    <a:pt x="1065"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843" name="Google Shape;1843;p104"/>
            <p:cNvSpPr/>
            <p:nvPr/>
          </p:nvSpPr>
          <p:spPr>
            <a:xfrm>
              <a:off x="3970950" y="1114325"/>
              <a:ext cx="62225" cy="53350"/>
            </a:xfrm>
            <a:custGeom>
              <a:avLst/>
              <a:gdLst/>
              <a:ahLst/>
              <a:cxnLst/>
              <a:rect l="l" t="t" r="r" b="b"/>
              <a:pathLst>
                <a:path w="2489" h="2134" extrusionOk="0">
                  <a:moveTo>
                    <a:pt x="1065" y="1"/>
                  </a:moveTo>
                  <a:cubicBezTo>
                    <a:pt x="472" y="1"/>
                    <a:pt x="1" y="480"/>
                    <a:pt x="1" y="1065"/>
                  </a:cubicBezTo>
                  <a:cubicBezTo>
                    <a:pt x="1" y="1709"/>
                    <a:pt x="526" y="2133"/>
                    <a:pt x="1072" y="2133"/>
                  </a:cubicBezTo>
                  <a:cubicBezTo>
                    <a:pt x="1333" y="2133"/>
                    <a:pt x="1598" y="2037"/>
                    <a:pt x="1813" y="1822"/>
                  </a:cubicBezTo>
                  <a:cubicBezTo>
                    <a:pt x="2488" y="1147"/>
                    <a:pt x="2017" y="1"/>
                    <a:pt x="1065"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844" name="Google Shape;1844;p104"/>
            <p:cNvSpPr/>
            <p:nvPr/>
          </p:nvSpPr>
          <p:spPr>
            <a:xfrm>
              <a:off x="3894725" y="2104500"/>
              <a:ext cx="62225" cy="53325"/>
            </a:xfrm>
            <a:custGeom>
              <a:avLst/>
              <a:gdLst/>
              <a:ahLst/>
              <a:cxnLst/>
              <a:rect l="l" t="t" r="r" b="b"/>
              <a:pathLst>
                <a:path w="2489" h="2133" extrusionOk="0">
                  <a:moveTo>
                    <a:pt x="1066" y="0"/>
                  </a:moveTo>
                  <a:cubicBezTo>
                    <a:pt x="481" y="0"/>
                    <a:pt x="1" y="480"/>
                    <a:pt x="1" y="1065"/>
                  </a:cubicBezTo>
                  <a:cubicBezTo>
                    <a:pt x="1" y="1709"/>
                    <a:pt x="526" y="2133"/>
                    <a:pt x="1075" y="2133"/>
                  </a:cubicBezTo>
                  <a:cubicBezTo>
                    <a:pt x="1337" y="2133"/>
                    <a:pt x="1604" y="2036"/>
                    <a:pt x="1822" y="1821"/>
                  </a:cubicBezTo>
                  <a:cubicBezTo>
                    <a:pt x="2489" y="1146"/>
                    <a:pt x="2017" y="0"/>
                    <a:pt x="1066"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845" name="Google Shape;1845;p104"/>
            <p:cNvSpPr/>
            <p:nvPr/>
          </p:nvSpPr>
          <p:spPr>
            <a:xfrm>
              <a:off x="3894725" y="1876050"/>
              <a:ext cx="62225" cy="53275"/>
            </a:xfrm>
            <a:custGeom>
              <a:avLst/>
              <a:gdLst/>
              <a:ahLst/>
              <a:cxnLst/>
              <a:rect l="l" t="t" r="r" b="b"/>
              <a:pathLst>
                <a:path w="2489" h="2131" extrusionOk="0">
                  <a:moveTo>
                    <a:pt x="1066" y="1"/>
                  </a:moveTo>
                  <a:cubicBezTo>
                    <a:pt x="481" y="1"/>
                    <a:pt x="1" y="472"/>
                    <a:pt x="1" y="1066"/>
                  </a:cubicBezTo>
                  <a:cubicBezTo>
                    <a:pt x="1" y="1707"/>
                    <a:pt x="523" y="2131"/>
                    <a:pt x="1070" y="2131"/>
                  </a:cubicBezTo>
                  <a:cubicBezTo>
                    <a:pt x="1334" y="2131"/>
                    <a:pt x="1603" y="2033"/>
                    <a:pt x="1822" y="1813"/>
                  </a:cubicBezTo>
                  <a:cubicBezTo>
                    <a:pt x="2489" y="1147"/>
                    <a:pt x="2017" y="1"/>
                    <a:pt x="1066"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846" name="Google Shape;1846;p104"/>
            <p:cNvSpPr/>
            <p:nvPr/>
          </p:nvSpPr>
          <p:spPr>
            <a:xfrm>
              <a:off x="3894725" y="1799850"/>
              <a:ext cx="62225" cy="53325"/>
            </a:xfrm>
            <a:custGeom>
              <a:avLst/>
              <a:gdLst/>
              <a:ahLst/>
              <a:cxnLst/>
              <a:rect l="l" t="t" r="r" b="b"/>
              <a:pathLst>
                <a:path w="2489" h="2133" extrusionOk="0">
                  <a:moveTo>
                    <a:pt x="1066" y="0"/>
                  </a:moveTo>
                  <a:cubicBezTo>
                    <a:pt x="481" y="0"/>
                    <a:pt x="1" y="480"/>
                    <a:pt x="1" y="1065"/>
                  </a:cubicBezTo>
                  <a:cubicBezTo>
                    <a:pt x="1" y="1709"/>
                    <a:pt x="526" y="2133"/>
                    <a:pt x="1075" y="2133"/>
                  </a:cubicBezTo>
                  <a:cubicBezTo>
                    <a:pt x="1337" y="2133"/>
                    <a:pt x="1604" y="2036"/>
                    <a:pt x="1822" y="1821"/>
                  </a:cubicBezTo>
                  <a:cubicBezTo>
                    <a:pt x="2489" y="1146"/>
                    <a:pt x="2017" y="0"/>
                    <a:pt x="1066"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847" name="Google Shape;1847;p104"/>
            <p:cNvSpPr/>
            <p:nvPr/>
          </p:nvSpPr>
          <p:spPr>
            <a:xfrm>
              <a:off x="3894725" y="1723625"/>
              <a:ext cx="62225" cy="53350"/>
            </a:xfrm>
            <a:custGeom>
              <a:avLst/>
              <a:gdLst/>
              <a:ahLst/>
              <a:cxnLst/>
              <a:rect l="l" t="t" r="r" b="b"/>
              <a:pathLst>
                <a:path w="2489" h="2134" extrusionOk="0">
                  <a:moveTo>
                    <a:pt x="1066" y="1"/>
                  </a:moveTo>
                  <a:cubicBezTo>
                    <a:pt x="481" y="1"/>
                    <a:pt x="1" y="480"/>
                    <a:pt x="1" y="1065"/>
                  </a:cubicBezTo>
                  <a:cubicBezTo>
                    <a:pt x="1" y="1709"/>
                    <a:pt x="526" y="2133"/>
                    <a:pt x="1075" y="2133"/>
                  </a:cubicBezTo>
                  <a:cubicBezTo>
                    <a:pt x="1337" y="2133"/>
                    <a:pt x="1604" y="2037"/>
                    <a:pt x="1822" y="1822"/>
                  </a:cubicBezTo>
                  <a:cubicBezTo>
                    <a:pt x="2489" y="1147"/>
                    <a:pt x="2017" y="1"/>
                    <a:pt x="1066"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848" name="Google Shape;1848;p104"/>
            <p:cNvSpPr/>
            <p:nvPr/>
          </p:nvSpPr>
          <p:spPr>
            <a:xfrm>
              <a:off x="3894725" y="1647400"/>
              <a:ext cx="62225" cy="53450"/>
            </a:xfrm>
            <a:custGeom>
              <a:avLst/>
              <a:gdLst/>
              <a:ahLst/>
              <a:cxnLst/>
              <a:rect l="l" t="t" r="r" b="b"/>
              <a:pathLst>
                <a:path w="2489" h="2138" extrusionOk="0">
                  <a:moveTo>
                    <a:pt x="1066" y="1"/>
                  </a:moveTo>
                  <a:cubicBezTo>
                    <a:pt x="481" y="9"/>
                    <a:pt x="1" y="481"/>
                    <a:pt x="1" y="1066"/>
                  </a:cubicBezTo>
                  <a:cubicBezTo>
                    <a:pt x="1" y="1710"/>
                    <a:pt x="526" y="2138"/>
                    <a:pt x="1075" y="2138"/>
                  </a:cubicBezTo>
                  <a:cubicBezTo>
                    <a:pt x="1337" y="2138"/>
                    <a:pt x="1604" y="2040"/>
                    <a:pt x="1822" y="1822"/>
                  </a:cubicBezTo>
                  <a:cubicBezTo>
                    <a:pt x="2489" y="1147"/>
                    <a:pt x="2017" y="1"/>
                    <a:pt x="1066"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849" name="Google Shape;1849;p104"/>
            <p:cNvSpPr/>
            <p:nvPr/>
          </p:nvSpPr>
          <p:spPr>
            <a:xfrm>
              <a:off x="3894725" y="1571400"/>
              <a:ext cx="62175" cy="53250"/>
            </a:xfrm>
            <a:custGeom>
              <a:avLst/>
              <a:gdLst/>
              <a:ahLst/>
              <a:cxnLst/>
              <a:rect l="l" t="t" r="r" b="b"/>
              <a:pathLst>
                <a:path w="2487" h="2130" extrusionOk="0">
                  <a:moveTo>
                    <a:pt x="1076" y="1"/>
                  </a:moveTo>
                  <a:cubicBezTo>
                    <a:pt x="1073" y="1"/>
                    <a:pt x="1069" y="1"/>
                    <a:pt x="1066" y="1"/>
                  </a:cubicBezTo>
                  <a:cubicBezTo>
                    <a:pt x="481" y="1"/>
                    <a:pt x="1" y="472"/>
                    <a:pt x="1" y="1066"/>
                  </a:cubicBezTo>
                  <a:cubicBezTo>
                    <a:pt x="1" y="1703"/>
                    <a:pt x="525" y="2129"/>
                    <a:pt x="1074" y="2129"/>
                  </a:cubicBezTo>
                  <a:cubicBezTo>
                    <a:pt x="1336" y="2129"/>
                    <a:pt x="1604" y="2032"/>
                    <a:pt x="1822" y="1813"/>
                  </a:cubicBezTo>
                  <a:cubicBezTo>
                    <a:pt x="2486" y="1149"/>
                    <a:pt x="2020" y="1"/>
                    <a:pt x="1076"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850" name="Google Shape;1850;p104"/>
            <p:cNvSpPr/>
            <p:nvPr/>
          </p:nvSpPr>
          <p:spPr>
            <a:xfrm>
              <a:off x="3894725" y="1495200"/>
              <a:ext cx="62225" cy="53325"/>
            </a:xfrm>
            <a:custGeom>
              <a:avLst/>
              <a:gdLst/>
              <a:ahLst/>
              <a:cxnLst/>
              <a:rect l="l" t="t" r="r" b="b"/>
              <a:pathLst>
                <a:path w="2489" h="2133" extrusionOk="0">
                  <a:moveTo>
                    <a:pt x="1066" y="0"/>
                  </a:moveTo>
                  <a:cubicBezTo>
                    <a:pt x="481" y="0"/>
                    <a:pt x="1" y="480"/>
                    <a:pt x="1" y="1065"/>
                  </a:cubicBezTo>
                  <a:cubicBezTo>
                    <a:pt x="1" y="1709"/>
                    <a:pt x="526" y="2133"/>
                    <a:pt x="1075" y="2133"/>
                  </a:cubicBezTo>
                  <a:cubicBezTo>
                    <a:pt x="1337" y="2133"/>
                    <a:pt x="1604" y="2036"/>
                    <a:pt x="1822" y="1821"/>
                  </a:cubicBezTo>
                  <a:cubicBezTo>
                    <a:pt x="2489" y="1146"/>
                    <a:pt x="2017" y="0"/>
                    <a:pt x="1066"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851" name="Google Shape;1851;p104"/>
            <p:cNvSpPr/>
            <p:nvPr/>
          </p:nvSpPr>
          <p:spPr>
            <a:xfrm>
              <a:off x="3894725" y="1418975"/>
              <a:ext cx="62225" cy="53350"/>
            </a:xfrm>
            <a:custGeom>
              <a:avLst/>
              <a:gdLst/>
              <a:ahLst/>
              <a:cxnLst/>
              <a:rect l="l" t="t" r="r" b="b"/>
              <a:pathLst>
                <a:path w="2489" h="2134" extrusionOk="0">
                  <a:moveTo>
                    <a:pt x="1066" y="1"/>
                  </a:moveTo>
                  <a:cubicBezTo>
                    <a:pt x="481" y="1"/>
                    <a:pt x="1" y="480"/>
                    <a:pt x="1" y="1065"/>
                  </a:cubicBezTo>
                  <a:cubicBezTo>
                    <a:pt x="1" y="1709"/>
                    <a:pt x="526" y="2133"/>
                    <a:pt x="1075" y="2133"/>
                  </a:cubicBezTo>
                  <a:cubicBezTo>
                    <a:pt x="1337" y="2133"/>
                    <a:pt x="1604" y="2037"/>
                    <a:pt x="1822" y="1822"/>
                  </a:cubicBezTo>
                  <a:cubicBezTo>
                    <a:pt x="2489" y="1147"/>
                    <a:pt x="2017" y="1"/>
                    <a:pt x="1066"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852" name="Google Shape;1852;p104"/>
            <p:cNvSpPr/>
            <p:nvPr/>
          </p:nvSpPr>
          <p:spPr>
            <a:xfrm>
              <a:off x="3894725" y="1342750"/>
              <a:ext cx="62225" cy="53450"/>
            </a:xfrm>
            <a:custGeom>
              <a:avLst/>
              <a:gdLst/>
              <a:ahLst/>
              <a:cxnLst/>
              <a:rect l="l" t="t" r="r" b="b"/>
              <a:pathLst>
                <a:path w="2489" h="2138" extrusionOk="0">
                  <a:moveTo>
                    <a:pt x="1066" y="1"/>
                  </a:moveTo>
                  <a:cubicBezTo>
                    <a:pt x="481" y="1"/>
                    <a:pt x="1" y="481"/>
                    <a:pt x="1" y="1066"/>
                  </a:cubicBezTo>
                  <a:cubicBezTo>
                    <a:pt x="1" y="1710"/>
                    <a:pt x="526" y="2138"/>
                    <a:pt x="1075" y="2138"/>
                  </a:cubicBezTo>
                  <a:cubicBezTo>
                    <a:pt x="1337" y="2138"/>
                    <a:pt x="1604" y="2040"/>
                    <a:pt x="1822" y="1822"/>
                  </a:cubicBezTo>
                  <a:cubicBezTo>
                    <a:pt x="2489" y="1147"/>
                    <a:pt x="2017" y="1"/>
                    <a:pt x="1066"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853" name="Google Shape;1853;p104"/>
            <p:cNvSpPr/>
            <p:nvPr/>
          </p:nvSpPr>
          <p:spPr>
            <a:xfrm>
              <a:off x="3894725" y="1114325"/>
              <a:ext cx="62225" cy="53350"/>
            </a:xfrm>
            <a:custGeom>
              <a:avLst/>
              <a:gdLst/>
              <a:ahLst/>
              <a:cxnLst/>
              <a:rect l="l" t="t" r="r" b="b"/>
              <a:pathLst>
                <a:path w="2489" h="2134" extrusionOk="0">
                  <a:moveTo>
                    <a:pt x="1066" y="1"/>
                  </a:moveTo>
                  <a:cubicBezTo>
                    <a:pt x="481" y="1"/>
                    <a:pt x="1" y="480"/>
                    <a:pt x="1" y="1065"/>
                  </a:cubicBezTo>
                  <a:cubicBezTo>
                    <a:pt x="1" y="1709"/>
                    <a:pt x="526" y="2133"/>
                    <a:pt x="1075" y="2133"/>
                  </a:cubicBezTo>
                  <a:cubicBezTo>
                    <a:pt x="1337" y="2133"/>
                    <a:pt x="1604" y="2037"/>
                    <a:pt x="1822" y="1822"/>
                  </a:cubicBezTo>
                  <a:cubicBezTo>
                    <a:pt x="2489" y="1147"/>
                    <a:pt x="2017" y="1"/>
                    <a:pt x="1066"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854" name="Google Shape;1854;p104"/>
            <p:cNvSpPr/>
            <p:nvPr/>
          </p:nvSpPr>
          <p:spPr>
            <a:xfrm>
              <a:off x="3818525" y="2256925"/>
              <a:ext cx="62350" cy="53425"/>
            </a:xfrm>
            <a:custGeom>
              <a:avLst/>
              <a:gdLst/>
              <a:ahLst/>
              <a:cxnLst/>
              <a:rect l="l" t="t" r="r" b="b"/>
              <a:pathLst>
                <a:path w="2494" h="2137" extrusionOk="0">
                  <a:moveTo>
                    <a:pt x="1075" y="0"/>
                  </a:moveTo>
                  <a:cubicBezTo>
                    <a:pt x="1072" y="0"/>
                    <a:pt x="1069" y="0"/>
                    <a:pt x="1065" y="0"/>
                  </a:cubicBezTo>
                  <a:cubicBezTo>
                    <a:pt x="480" y="0"/>
                    <a:pt x="0" y="480"/>
                    <a:pt x="0" y="1065"/>
                  </a:cubicBezTo>
                  <a:cubicBezTo>
                    <a:pt x="0" y="1709"/>
                    <a:pt x="529" y="2137"/>
                    <a:pt x="1080" y="2137"/>
                  </a:cubicBezTo>
                  <a:cubicBezTo>
                    <a:pt x="1343" y="2137"/>
                    <a:pt x="1612" y="2039"/>
                    <a:pt x="1830" y="1821"/>
                  </a:cubicBezTo>
                  <a:cubicBezTo>
                    <a:pt x="2494" y="1149"/>
                    <a:pt x="2020" y="0"/>
                    <a:pt x="1075"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855" name="Google Shape;1855;p104"/>
            <p:cNvSpPr/>
            <p:nvPr/>
          </p:nvSpPr>
          <p:spPr>
            <a:xfrm>
              <a:off x="3818525" y="2180700"/>
              <a:ext cx="62225" cy="53350"/>
            </a:xfrm>
            <a:custGeom>
              <a:avLst/>
              <a:gdLst/>
              <a:ahLst/>
              <a:cxnLst/>
              <a:rect l="l" t="t" r="r" b="b"/>
              <a:pathLst>
                <a:path w="2489" h="2134" extrusionOk="0">
                  <a:moveTo>
                    <a:pt x="1065" y="1"/>
                  </a:moveTo>
                  <a:cubicBezTo>
                    <a:pt x="480" y="1"/>
                    <a:pt x="0" y="480"/>
                    <a:pt x="0" y="1066"/>
                  </a:cubicBezTo>
                  <a:cubicBezTo>
                    <a:pt x="0" y="1709"/>
                    <a:pt x="526" y="2133"/>
                    <a:pt x="1074" y="2133"/>
                  </a:cubicBezTo>
                  <a:cubicBezTo>
                    <a:pt x="1336" y="2133"/>
                    <a:pt x="1603" y="2037"/>
                    <a:pt x="1821" y="1822"/>
                  </a:cubicBezTo>
                  <a:cubicBezTo>
                    <a:pt x="2488" y="1147"/>
                    <a:pt x="2017" y="1"/>
                    <a:pt x="1065"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856" name="Google Shape;1856;p104"/>
            <p:cNvSpPr/>
            <p:nvPr/>
          </p:nvSpPr>
          <p:spPr>
            <a:xfrm>
              <a:off x="3818525" y="2028275"/>
              <a:ext cx="62225" cy="53450"/>
            </a:xfrm>
            <a:custGeom>
              <a:avLst/>
              <a:gdLst/>
              <a:ahLst/>
              <a:cxnLst/>
              <a:rect l="l" t="t" r="r" b="b"/>
              <a:pathLst>
                <a:path w="2489" h="2138" extrusionOk="0">
                  <a:moveTo>
                    <a:pt x="1065" y="1"/>
                  </a:moveTo>
                  <a:cubicBezTo>
                    <a:pt x="480" y="1"/>
                    <a:pt x="0" y="480"/>
                    <a:pt x="0" y="1065"/>
                  </a:cubicBezTo>
                  <a:cubicBezTo>
                    <a:pt x="0" y="1709"/>
                    <a:pt x="526" y="2137"/>
                    <a:pt x="1074" y="2137"/>
                  </a:cubicBezTo>
                  <a:cubicBezTo>
                    <a:pt x="1336" y="2137"/>
                    <a:pt x="1603" y="2040"/>
                    <a:pt x="1821" y="1821"/>
                  </a:cubicBezTo>
                  <a:cubicBezTo>
                    <a:pt x="2488" y="1147"/>
                    <a:pt x="2017" y="1"/>
                    <a:pt x="1065"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857" name="Google Shape;1857;p104"/>
            <p:cNvSpPr/>
            <p:nvPr/>
          </p:nvSpPr>
          <p:spPr>
            <a:xfrm>
              <a:off x="3818525" y="1876050"/>
              <a:ext cx="62225" cy="53275"/>
            </a:xfrm>
            <a:custGeom>
              <a:avLst/>
              <a:gdLst/>
              <a:ahLst/>
              <a:cxnLst/>
              <a:rect l="l" t="t" r="r" b="b"/>
              <a:pathLst>
                <a:path w="2489" h="2131" extrusionOk="0">
                  <a:moveTo>
                    <a:pt x="1065" y="1"/>
                  </a:moveTo>
                  <a:cubicBezTo>
                    <a:pt x="480" y="1"/>
                    <a:pt x="0" y="472"/>
                    <a:pt x="0" y="1066"/>
                  </a:cubicBezTo>
                  <a:cubicBezTo>
                    <a:pt x="0" y="1707"/>
                    <a:pt x="523" y="2131"/>
                    <a:pt x="1070" y="2131"/>
                  </a:cubicBezTo>
                  <a:cubicBezTo>
                    <a:pt x="1333" y="2131"/>
                    <a:pt x="1602" y="2033"/>
                    <a:pt x="1821" y="1813"/>
                  </a:cubicBezTo>
                  <a:cubicBezTo>
                    <a:pt x="2488" y="1147"/>
                    <a:pt x="2017" y="1"/>
                    <a:pt x="1065"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858" name="Google Shape;1858;p104"/>
            <p:cNvSpPr/>
            <p:nvPr/>
          </p:nvSpPr>
          <p:spPr>
            <a:xfrm>
              <a:off x="3818525" y="1723625"/>
              <a:ext cx="62225" cy="53350"/>
            </a:xfrm>
            <a:custGeom>
              <a:avLst/>
              <a:gdLst/>
              <a:ahLst/>
              <a:cxnLst/>
              <a:rect l="l" t="t" r="r" b="b"/>
              <a:pathLst>
                <a:path w="2489" h="2134" extrusionOk="0">
                  <a:moveTo>
                    <a:pt x="1065" y="1"/>
                  </a:moveTo>
                  <a:cubicBezTo>
                    <a:pt x="480" y="1"/>
                    <a:pt x="0" y="480"/>
                    <a:pt x="0" y="1065"/>
                  </a:cubicBezTo>
                  <a:cubicBezTo>
                    <a:pt x="0" y="1709"/>
                    <a:pt x="526" y="2133"/>
                    <a:pt x="1074" y="2133"/>
                  </a:cubicBezTo>
                  <a:cubicBezTo>
                    <a:pt x="1336" y="2133"/>
                    <a:pt x="1603" y="2037"/>
                    <a:pt x="1821" y="1822"/>
                  </a:cubicBezTo>
                  <a:cubicBezTo>
                    <a:pt x="2488" y="1147"/>
                    <a:pt x="2017" y="1"/>
                    <a:pt x="1065"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859" name="Google Shape;1859;p104"/>
            <p:cNvSpPr/>
            <p:nvPr/>
          </p:nvSpPr>
          <p:spPr>
            <a:xfrm>
              <a:off x="3818525" y="1647400"/>
              <a:ext cx="62225" cy="53450"/>
            </a:xfrm>
            <a:custGeom>
              <a:avLst/>
              <a:gdLst/>
              <a:ahLst/>
              <a:cxnLst/>
              <a:rect l="l" t="t" r="r" b="b"/>
              <a:pathLst>
                <a:path w="2489" h="2138" extrusionOk="0">
                  <a:moveTo>
                    <a:pt x="1065" y="1"/>
                  </a:moveTo>
                  <a:cubicBezTo>
                    <a:pt x="480" y="1"/>
                    <a:pt x="0" y="481"/>
                    <a:pt x="0" y="1066"/>
                  </a:cubicBezTo>
                  <a:cubicBezTo>
                    <a:pt x="0" y="1710"/>
                    <a:pt x="526" y="2138"/>
                    <a:pt x="1074" y="2138"/>
                  </a:cubicBezTo>
                  <a:cubicBezTo>
                    <a:pt x="1336" y="2138"/>
                    <a:pt x="1603" y="2040"/>
                    <a:pt x="1821" y="1822"/>
                  </a:cubicBezTo>
                  <a:cubicBezTo>
                    <a:pt x="2488" y="1147"/>
                    <a:pt x="2017" y="1"/>
                    <a:pt x="1065"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860" name="Google Shape;1860;p104"/>
            <p:cNvSpPr/>
            <p:nvPr/>
          </p:nvSpPr>
          <p:spPr>
            <a:xfrm>
              <a:off x="3818525" y="1571400"/>
              <a:ext cx="62225" cy="53250"/>
            </a:xfrm>
            <a:custGeom>
              <a:avLst/>
              <a:gdLst/>
              <a:ahLst/>
              <a:cxnLst/>
              <a:rect l="l" t="t" r="r" b="b"/>
              <a:pathLst>
                <a:path w="2489" h="2130" extrusionOk="0">
                  <a:moveTo>
                    <a:pt x="1065" y="1"/>
                  </a:moveTo>
                  <a:cubicBezTo>
                    <a:pt x="480" y="1"/>
                    <a:pt x="0" y="472"/>
                    <a:pt x="0" y="1066"/>
                  </a:cubicBezTo>
                  <a:cubicBezTo>
                    <a:pt x="0" y="1703"/>
                    <a:pt x="525" y="2129"/>
                    <a:pt x="1073" y="2129"/>
                  </a:cubicBezTo>
                  <a:cubicBezTo>
                    <a:pt x="1335" y="2129"/>
                    <a:pt x="1603" y="2032"/>
                    <a:pt x="1821" y="1813"/>
                  </a:cubicBezTo>
                  <a:cubicBezTo>
                    <a:pt x="2488" y="1147"/>
                    <a:pt x="2017" y="1"/>
                    <a:pt x="1065"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861" name="Google Shape;1861;p104"/>
            <p:cNvSpPr/>
            <p:nvPr/>
          </p:nvSpPr>
          <p:spPr>
            <a:xfrm>
              <a:off x="3818525" y="1495200"/>
              <a:ext cx="62225" cy="53325"/>
            </a:xfrm>
            <a:custGeom>
              <a:avLst/>
              <a:gdLst/>
              <a:ahLst/>
              <a:cxnLst/>
              <a:rect l="l" t="t" r="r" b="b"/>
              <a:pathLst>
                <a:path w="2489" h="2133"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7" y="0"/>
                    <a:pt x="1065"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862" name="Google Shape;1862;p104"/>
            <p:cNvSpPr/>
            <p:nvPr/>
          </p:nvSpPr>
          <p:spPr>
            <a:xfrm>
              <a:off x="3818525" y="1418975"/>
              <a:ext cx="62225" cy="53350"/>
            </a:xfrm>
            <a:custGeom>
              <a:avLst/>
              <a:gdLst/>
              <a:ahLst/>
              <a:cxnLst/>
              <a:rect l="l" t="t" r="r" b="b"/>
              <a:pathLst>
                <a:path w="2489" h="2134" extrusionOk="0">
                  <a:moveTo>
                    <a:pt x="1065" y="1"/>
                  </a:moveTo>
                  <a:cubicBezTo>
                    <a:pt x="480" y="1"/>
                    <a:pt x="0" y="480"/>
                    <a:pt x="0" y="1065"/>
                  </a:cubicBezTo>
                  <a:cubicBezTo>
                    <a:pt x="0" y="1709"/>
                    <a:pt x="526" y="2133"/>
                    <a:pt x="1074" y="2133"/>
                  </a:cubicBezTo>
                  <a:cubicBezTo>
                    <a:pt x="1336" y="2133"/>
                    <a:pt x="1603" y="2037"/>
                    <a:pt x="1821" y="1822"/>
                  </a:cubicBezTo>
                  <a:cubicBezTo>
                    <a:pt x="2488" y="1147"/>
                    <a:pt x="2017" y="1"/>
                    <a:pt x="1065"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863" name="Google Shape;1863;p104"/>
            <p:cNvSpPr/>
            <p:nvPr/>
          </p:nvSpPr>
          <p:spPr>
            <a:xfrm>
              <a:off x="3818525" y="1190550"/>
              <a:ext cx="62225" cy="53325"/>
            </a:xfrm>
            <a:custGeom>
              <a:avLst/>
              <a:gdLst/>
              <a:ahLst/>
              <a:cxnLst/>
              <a:rect l="l" t="t" r="r" b="b"/>
              <a:pathLst>
                <a:path w="2489" h="2133"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7" y="0"/>
                    <a:pt x="1065"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864" name="Google Shape;1864;p104"/>
            <p:cNvSpPr/>
            <p:nvPr/>
          </p:nvSpPr>
          <p:spPr>
            <a:xfrm>
              <a:off x="3818525" y="1114325"/>
              <a:ext cx="62225" cy="53350"/>
            </a:xfrm>
            <a:custGeom>
              <a:avLst/>
              <a:gdLst/>
              <a:ahLst/>
              <a:cxnLst/>
              <a:rect l="l" t="t" r="r" b="b"/>
              <a:pathLst>
                <a:path w="2489" h="2134" extrusionOk="0">
                  <a:moveTo>
                    <a:pt x="1065" y="1"/>
                  </a:moveTo>
                  <a:cubicBezTo>
                    <a:pt x="480" y="1"/>
                    <a:pt x="0" y="480"/>
                    <a:pt x="0" y="1065"/>
                  </a:cubicBezTo>
                  <a:cubicBezTo>
                    <a:pt x="0" y="1709"/>
                    <a:pt x="526" y="2133"/>
                    <a:pt x="1074" y="2133"/>
                  </a:cubicBezTo>
                  <a:cubicBezTo>
                    <a:pt x="1336" y="2133"/>
                    <a:pt x="1603" y="2037"/>
                    <a:pt x="1821" y="1822"/>
                  </a:cubicBezTo>
                  <a:cubicBezTo>
                    <a:pt x="2488" y="1147"/>
                    <a:pt x="2017" y="1"/>
                    <a:pt x="1065"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865" name="Google Shape;1865;p104"/>
            <p:cNvSpPr/>
            <p:nvPr/>
          </p:nvSpPr>
          <p:spPr>
            <a:xfrm>
              <a:off x="3742300" y="2180700"/>
              <a:ext cx="62225" cy="53350"/>
            </a:xfrm>
            <a:custGeom>
              <a:avLst/>
              <a:gdLst/>
              <a:ahLst/>
              <a:cxnLst/>
              <a:rect l="l" t="t" r="r" b="b"/>
              <a:pathLst>
                <a:path w="2489" h="2134" extrusionOk="0">
                  <a:moveTo>
                    <a:pt x="1066" y="1"/>
                  </a:moveTo>
                  <a:cubicBezTo>
                    <a:pt x="481" y="1"/>
                    <a:pt x="1" y="472"/>
                    <a:pt x="1" y="1066"/>
                  </a:cubicBezTo>
                  <a:cubicBezTo>
                    <a:pt x="1" y="1709"/>
                    <a:pt x="526" y="2133"/>
                    <a:pt x="1072" y="2133"/>
                  </a:cubicBezTo>
                  <a:cubicBezTo>
                    <a:pt x="1333" y="2133"/>
                    <a:pt x="1598" y="2037"/>
                    <a:pt x="1814" y="1822"/>
                  </a:cubicBezTo>
                  <a:cubicBezTo>
                    <a:pt x="2489" y="1147"/>
                    <a:pt x="2017" y="1"/>
                    <a:pt x="1066"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866" name="Google Shape;1866;p104"/>
            <p:cNvSpPr/>
            <p:nvPr/>
          </p:nvSpPr>
          <p:spPr>
            <a:xfrm>
              <a:off x="3742300" y="2104500"/>
              <a:ext cx="62225" cy="53325"/>
            </a:xfrm>
            <a:custGeom>
              <a:avLst/>
              <a:gdLst/>
              <a:ahLst/>
              <a:cxnLst/>
              <a:rect l="l" t="t" r="r" b="b"/>
              <a:pathLst>
                <a:path w="2489" h="2133" extrusionOk="0">
                  <a:moveTo>
                    <a:pt x="1066" y="0"/>
                  </a:moveTo>
                  <a:cubicBezTo>
                    <a:pt x="481" y="0"/>
                    <a:pt x="1" y="480"/>
                    <a:pt x="1" y="1065"/>
                  </a:cubicBezTo>
                  <a:cubicBezTo>
                    <a:pt x="1" y="1709"/>
                    <a:pt x="526" y="2133"/>
                    <a:pt x="1072" y="2133"/>
                  </a:cubicBezTo>
                  <a:cubicBezTo>
                    <a:pt x="1333" y="2133"/>
                    <a:pt x="1598" y="2036"/>
                    <a:pt x="1814" y="1821"/>
                  </a:cubicBezTo>
                  <a:cubicBezTo>
                    <a:pt x="2489" y="1154"/>
                    <a:pt x="2017" y="0"/>
                    <a:pt x="1066"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867" name="Google Shape;1867;p104"/>
            <p:cNvSpPr/>
            <p:nvPr/>
          </p:nvSpPr>
          <p:spPr>
            <a:xfrm>
              <a:off x="3742300" y="1876050"/>
              <a:ext cx="62225" cy="53300"/>
            </a:xfrm>
            <a:custGeom>
              <a:avLst/>
              <a:gdLst/>
              <a:ahLst/>
              <a:cxnLst/>
              <a:rect l="l" t="t" r="r" b="b"/>
              <a:pathLst>
                <a:path w="2489" h="2132" extrusionOk="0">
                  <a:moveTo>
                    <a:pt x="1066" y="1"/>
                  </a:moveTo>
                  <a:cubicBezTo>
                    <a:pt x="481" y="1"/>
                    <a:pt x="1" y="472"/>
                    <a:pt x="1" y="1066"/>
                  </a:cubicBezTo>
                  <a:cubicBezTo>
                    <a:pt x="1" y="1705"/>
                    <a:pt x="528" y="2132"/>
                    <a:pt x="1076" y="2132"/>
                  </a:cubicBezTo>
                  <a:cubicBezTo>
                    <a:pt x="1335" y="2132"/>
                    <a:pt x="1599" y="2036"/>
                    <a:pt x="1814" y="1822"/>
                  </a:cubicBezTo>
                  <a:cubicBezTo>
                    <a:pt x="2489" y="1147"/>
                    <a:pt x="2017" y="1"/>
                    <a:pt x="1066"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868" name="Google Shape;1868;p104"/>
            <p:cNvSpPr/>
            <p:nvPr/>
          </p:nvSpPr>
          <p:spPr>
            <a:xfrm>
              <a:off x="3742300" y="1799850"/>
              <a:ext cx="62225" cy="53325"/>
            </a:xfrm>
            <a:custGeom>
              <a:avLst/>
              <a:gdLst/>
              <a:ahLst/>
              <a:cxnLst/>
              <a:rect l="l" t="t" r="r" b="b"/>
              <a:pathLst>
                <a:path w="2489" h="2133" extrusionOk="0">
                  <a:moveTo>
                    <a:pt x="1066" y="0"/>
                  </a:moveTo>
                  <a:cubicBezTo>
                    <a:pt x="481" y="0"/>
                    <a:pt x="1" y="472"/>
                    <a:pt x="1" y="1065"/>
                  </a:cubicBezTo>
                  <a:cubicBezTo>
                    <a:pt x="1" y="1709"/>
                    <a:pt x="526" y="2133"/>
                    <a:pt x="1072" y="2133"/>
                  </a:cubicBezTo>
                  <a:cubicBezTo>
                    <a:pt x="1333" y="2133"/>
                    <a:pt x="1598" y="2036"/>
                    <a:pt x="1814" y="1821"/>
                  </a:cubicBezTo>
                  <a:cubicBezTo>
                    <a:pt x="2489" y="1146"/>
                    <a:pt x="2017" y="0"/>
                    <a:pt x="1066"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869" name="Google Shape;1869;p104"/>
            <p:cNvSpPr/>
            <p:nvPr/>
          </p:nvSpPr>
          <p:spPr>
            <a:xfrm>
              <a:off x="3742300" y="1723625"/>
              <a:ext cx="62225" cy="53350"/>
            </a:xfrm>
            <a:custGeom>
              <a:avLst/>
              <a:gdLst/>
              <a:ahLst/>
              <a:cxnLst/>
              <a:rect l="l" t="t" r="r" b="b"/>
              <a:pathLst>
                <a:path w="2489" h="2134" extrusionOk="0">
                  <a:moveTo>
                    <a:pt x="1066" y="1"/>
                  </a:moveTo>
                  <a:cubicBezTo>
                    <a:pt x="481" y="1"/>
                    <a:pt x="1" y="480"/>
                    <a:pt x="1" y="1065"/>
                  </a:cubicBezTo>
                  <a:cubicBezTo>
                    <a:pt x="1" y="1709"/>
                    <a:pt x="526" y="2133"/>
                    <a:pt x="1072" y="2133"/>
                  </a:cubicBezTo>
                  <a:cubicBezTo>
                    <a:pt x="1333" y="2133"/>
                    <a:pt x="1598" y="2037"/>
                    <a:pt x="1814" y="1822"/>
                  </a:cubicBezTo>
                  <a:cubicBezTo>
                    <a:pt x="2489" y="1155"/>
                    <a:pt x="2017" y="1"/>
                    <a:pt x="1066"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870" name="Google Shape;1870;p104"/>
            <p:cNvSpPr/>
            <p:nvPr/>
          </p:nvSpPr>
          <p:spPr>
            <a:xfrm>
              <a:off x="3742300" y="1647400"/>
              <a:ext cx="62225" cy="53450"/>
            </a:xfrm>
            <a:custGeom>
              <a:avLst/>
              <a:gdLst/>
              <a:ahLst/>
              <a:cxnLst/>
              <a:rect l="l" t="t" r="r" b="b"/>
              <a:pathLst>
                <a:path w="2489" h="2138" extrusionOk="0">
                  <a:moveTo>
                    <a:pt x="1066" y="1"/>
                  </a:moveTo>
                  <a:cubicBezTo>
                    <a:pt x="481" y="1"/>
                    <a:pt x="1" y="481"/>
                    <a:pt x="1" y="1066"/>
                  </a:cubicBezTo>
                  <a:cubicBezTo>
                    <a:pt x="1" y="1710"/>
                    <a:pt x="526" y="2138"/>
                    <a:pt x="1072" y="2138"/>
                  </a:cubicBezTo>
                  <a:cubicBezTo>
                    <a:pt x="1333" y="2138"/>
                    <a:pt x="1598" y="2040"/>
                    <a:pt x="1814" y="1822"/>
                  </a:cubicBezTo>
                  <a:cubicBezTo>
                    <a:pt x="2489" y="1155"/>
                    <a:pt x="2017" y="9"/>
                    <a:pt x="1066"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871" name="Google Shape;1871;p104"/>
            <p:cNvSpPr/>
            <p:nvPr/>
          </p:nvSpPr>
          <p:spPr>
            <a:xfrm>
              <a:off x="3742300" y="1571400"/>
              <a:ext cx="62225" cy="53250"/>
            </a:xfrm>
            <a:custGeom>
              <a:avLst/>
              <a:gdLst/>
              <a:ahLst/>
              <a:cxnLst/>
              <a:rect l="l" t="t" r="r" b="b"/>
              <a:pathLst>
                <a:path w="2489" h="2130" extrusionOk="0">
                  <a:moveTo>
                    <a:pt x="1066" y="1"/>
                  </a:moveTo>
                  <a:cubicBezTo>
                    <a:pt x="481" y="1"/>
                    <a:pt x="1" y="472"/>
                    <a:pt x="1" y="1066"/>
                  </a:cubicBezTo>
                  <a:cubicBezTo>
                    <a:pt x="1" y="1703"/>
                    <a:pt x="525" y="2129"/>
                    <a:pt x="1071" y="2129"/>
                  </a:cubicBezTo>
                  <a:cubicBezTo>
                    <a:pt x="1332" y="2129"/>
                    <a:pt x="1598" y="2032"/>
                    <a:pt x="1814" y="1813"/>
                  </a:cubicBezTo>
                  <a:cubicBezTo>
                    <a:pt x="2489" y="1147"/>
                    <a:pt x="2017" y="1"/>
                    <a:pt x="1066"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872" name="Google Shape;1872;p104"/>
            <p:cNvSpPr/>
            <p:nvPr/>
          </p:nvSpPr>
          <p:spPr>
            <a:xfrm>
              <a:off x="3742300" y="1495200"/>
              <a:ext cx="62225" cy="53325"/>
            </a:xfrm>
            <a:custGeom>
              <a:avLst/>
              <a:gdLst/>
              <a:ahLst/>
              <a:cxnLst/>
              <a:rect l="l" t="t" r="r" b="b"/>
              <a:pathLst>
                <a:path w="2489" h="2133" extrusionOk="0">
                  <a:moveTo>
                    <a:pt x="1066" y="0"/>
                  </a:moveTo>
                  <a:cubicBezTo>
                    <a:pt x="481" y="0"/>
                    <a:pt x="1" y="472"/>
                    <a:pt x="1" y="1065"/>
                  </a:cubicBezTo>
                  <a:cubicBezTo>
                    <a:pt x="1" y="1709"/>
                    <a:pt x="526" y="2133"/>
                    <a:pt x="1072" y="2133"/>
                  </a:cubicBezTo>
                  <a:cubicBezTo>
                    <a:pt x="1333" y="2133"/>
                    <a:pt x="1598" y="2036"/>
                    <a:pt x="1814" y="1821"/>
                  </a:cubicBezTo>
                  <a:cubicBezTo>
                    <a:pt x="2489" y="1146"/>
                    <a:pt x="2017" y="0"/>
                    <a:pt x="1066"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873" name="Google Shape;1873;p104"/>
            <p:cNvSpPr/>
            <p:nvPr/>
          </p:nvSpPr>
          <p:spPr>
            <a:xfrm>
              <a:off x="3742300" y="1114325"/>
              <a:ext cx="62225" cy="53350"/>
            </a:xfrm>
            <a:custGeom>
              <a:avLst/>
              <a:gdLst/>
              <a:ahLst/>
              <a:cxnLst/>
              <a:rect l="l" t="t" r="r" b="b"/>
              <a:pathLst>
                <a:path w="2489" h="2134" extrusionOk="0">
                  <a:moveTo>
                    <a:pt x="1066" y="1"/>
                  </a:moveTo>
                  <a:cubicBezTo>
                    <a:pt x="481" y="1"/>
                    <a:pt x="1" y="480"/>
                    <a:pt x="1" y="1065"/>
                  </a:cubicBezTo>
                  <a:cubicBezTo>
                    <a:pt x="1" y="1709"/>
                    <a:pt x="526" y="2133"/>
                    <a:pt x="1072" y="2133"/>
                  </a:cubicBezTo>
                  <a:cubicBezTo>
                    <a:pt x="1333" y="2133"/>
                    <a:pt x="1598" y="2037"/>
                    <a:pt x="1814" y="1822"/>
                  </a:cubicBezTo>
                  <a:cubicBezTo>
                    <a:pt x="2489" y="1155"/>
                    <a:pt x="2017" y="1"/>
                    <a:pt x="1066"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874" name="Google Shape;1874;p104"/>
            <p:cNvSpPr/>
            <p:nvPr/>
          </p:nvSpPr>
          <p:spPr>
            <a:xfrm>
              <a:off x="3666100" y="2104500"/>
              <a:ext cx="62200" cy="53325"/>
            </a:xfrm>
            <a:custGeom>
              <a:avLst/>
              <a:gdLst/>
              <a:ahLst/>
              <a:cxnLst/>
              <a:rect l="l" t="t" r="r" b="b"/>
              <a:pathLst>
                <a:path w="2488" h="2133"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875" name="Google Shape;1875;p104"/>
            <p:cNvSpPr/>
            <p:nvPr/>
          </p:nvSpPr>
          <p:spPr>
            <a:xfrm>
              <a:off x="3666100" y="2028275"/>
              <a:ext cx="62200" cy="53450"/>
            </a:xfrm>
            <a:custGeom>
              <a:avLst/>
              <a:gdLst/>
              <a:ahLst/>
              <a:cxnLst/>
              <a:rect l="l" t="t" r="r" b="b"/>
              <a:pathLst>
                <a:path w="2488" h="2138" extrusionOk="0">
                  <a:moveTo>
                    <a:pt x="1065" y="1"/>
                  </a:moveTo>
                  <a:cubicBezTo>
                    <a:pt x="480" y="1"/>
                    <a:pt x="0" y="480"/>
                    <a:pt x="0" y="1065"/>
                  </a:cubicBezTo>
                  <a:cubicBezTo>
                    <a:pt x="0" y="1709"/>
                    <a:pt x="526" y="2137"/>
                    <a:pt x="1074" y="2137"/>
                  </a:cubicBezTo>
                  <a:cubicBezTo>
                    <a:pt x="1336" y="2137"/>
                    <a:pt x="1603" y="2040"/>
                    <a:pt x="1821" y="1821"/>
                  </a:cubicBezTo>
                  <a:cubicBezTo>
                    <a:pt x="2488" y="1147"/>
                    <a:pt x="2016" y="1"/>
                    <a:pt x="1065"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876" name="Google Shape;1876;p104"/>
            <p:cNvSpPr/>
            <p:nvPr/>
          </p:nvSpPr>
          <p:spPr>
            <a:xfrm>
              <a:off x="3666100" y="1876050"/>
              <a:ext cx="62200" cy="53275"/>
            </a:xfrm>
            <a:custGeom>
              <a:avLst/>
              <a:gdLst/>
              <a:ahLst/>
              <a:cxnLst/>
              <a:rect l="l" t="t" r="r" b="b"/>
              <a:pathLst>
                <a:path w="2488" h="2131" extrusionOk="0">
                  <a:moveTo>
                    <a:pt x="1065" y="1"/>
                  </a:moveTo>
                  <a:cubicBezTo>
                    <a:pt x="480" y="1"/>
                    <a:pt x="0" y="472"/>
                    <a:pt x="0" y="1066"/>
                  </a:cubicBezTo>
                  <a:cubicBezTo>
                    <a:pt x="0" y="1707"/>
                    <a:pt x="523" y="2131"/>
                    <a:pt x="1069" y="2131"/>
                  </a:cubicBezTo>
                  <a:cubicBezTo>
                    <a:pt x="1333" y="2131"/>
                    <a:pt x="1602" y="2033"/>
                    <a:pt x="1821" y="1813"/>
                  </a:cubicBezTo>
                  <a:cubicBezTo>
                    <a:pt x="2488" y="1147"/>
                    <a:pt x="2016" y="1"/>
                    <a:pt x="1065"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877" name="Google Shape;1877;p104"/>
            <p:cNvSpPr/>
            <p:nvPr/>
          </p:nvSpPr>
          <p:spPr>
            <a:xfrm>
              <a:off x="3666100" y="1647400"/>
              <a:ext cx="62200" cy="53450"/>
            </a:xfrm>
            <a:custGeom>
              <a:avLst/>
              <a:gdLst/>
              <a:ahLst/>
              <a:cxnLst/>
              <a:rect l="l" t="t" r="r" b="b"/>
              <a:pathLst>
                <a:path w="2488" h="2138" extrusionOk="0">
                  <a:moveTo>
                    <a:pt x="1065" y="1"/>
                  </a:moveTo>
                  <a:cubicBezTo>
                    <a:pt x="480" y="1"/>
                    <a:pt x="0" y="481"/>
                    <a:pt x="0" y="1066"/>
                  </a:cubicBezTo>
                  <a:cubicBezTo>
                    <a:pt x="0" y="1710"/>
                    <a:pt x="526" y="2138"/>
                    <a:pt x="1074" y="2138"/>
                  </a:cubicBezTo>
                  <a:cubicBezTo>
                    <a:pt x="1336" y="2138"/>
                    <a:pt x="1603" y="2040"/>
                    <a:pt x="1821" y="1822"/>
                  </a:cubicBezTo>
                  <a:cubicBezTo>
                    <a:pt x="2488" y="1147"/>
                    <a:pt x="2016" y="1"/>
                    <a:pt x="1065"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878" name="Google Shape;1878;p104"/>
            <p:cNvSpPr/>
            <p:nvPr/>
          </p:nvSpPr>
          <p:spPr>
            <a:xfrm>
              <a:off x="3666100" y="1571400"/>
              <a:ext cx="62150" cy="53250"/>
            </a:xfrm>
            <a:custGeom>
              <a:avLst/>
              <a:gdLst/>
              <a:ahLst/>
              <a:cxnLst/>
              <a:rect l="l" t="t" r="r" b="b"/>
              <a:pathLst>
                <a:path w="2486" h="2130" extrusionOk="0">
                  <a:moveTo>
                    <a:pt x="1075" y="1"/>
                  </a:moveTo>
                  <a:cubicBezTo>
                    <a:pt x="1072" y="1"/>
                    <a:pt x="1069" y="1"/>
                    <a:pt x="1065" y="1"/>
                  </a:cubicBezTo>
                  <a:cubicBezTo>
                    <a:pt x="480" y="1"/>
                    <a:pt x="0" y="472"/>
                    <a:pt x="0" y="1066"/>
                  </a:cubicBezTo>
                  <a:cubicBezTo>
                    <a:pt x="0" y="1703"/>
                    <a:pt x="525" y="2129"/>
                    <a:pt x="1073" y="2129"/>
                  </a:cubicBezTo>
                  <a:cubicBezTo>
                    <a:pt x="1335" y="2129"/>
                    <a:pt x="1603" y="2032"/>
                    <a:pt x="1821" y="1813"/>
                  </a:cubicBezTo>
                  <a:cubicBezTo>
                    <a:pt x="2486" y="1149"/>
                    <a:pt x="2020" y="1"/>
                    <a:pt x="1075"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879" name="Google Shape;1879;p104"/>
            <p:cNvSpPr/>
            <p:nvPr/>
          </p:nvSpPr>
          <p:spPr>
            <a:xfrm>
              <a:off x="3589875" y="2180700"/>
              <a:ext cx="62225" cy="53350"/>
            </a:xfrm>
            <a:custGeom>
              <a:avLst/>
              <a:gdLst/>
              <a:ahLst/>
              <a:cxnLst/>
              <a:rect l="l" t="t" r="r" b="b"/>
              <a:pathLst>
                <a:path w="2489" h="2134" extrusionOk="0">
                  <a:moveTo>
                    <a:pt x="1066" y="1"/>
                  </a:moveTo>
                  <a:cubicBezTo>
                    <a:pt x="480" y="1"/>
                    <a:pt x="1" y="480"/>
                    <a:pt x="1" y="1066"/>
                  </a:cubicBezTo>
                  <a:cubicBezTo>
                    <a:pt x="1" y="1709"/>
                    <a:pt x="526" y="2133"/>
                    <a:pt x="1075" y="2133"/>
                  </a:cubicBezTo>
                  <a:cubicBezTo>
                    <a:pt x="1337" y="2133"/>
                    <a:pt x="1604" y="2037"/>
                    <a:pt x="1822" y="1822"/>
                  </a:cubicBezTo>
                  <a:cubicBezTo>
                    <a:pt x="2488" y="1147"/>
                    <a:pt x="2017" y="1"/>
                    <a:pt x="1066"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880" name="Google Shape;1880;p104"/>
            <p:cNvSpPr/>
            <p:nvPr/>
          </p:nvSpPr>
          <p:spPr>
            <a:xfrm>
              <a:off x="3589875" y="2104500"/>
              <a:ext cx="62225" cy="53325"/>
            </a:xfrm>
            <a:custGeom>
              <a:avLst/>
              <a:gdLst/>
              <a:ahLst/>
              <a:cxnLst/>
              <a:rect l="l" t="t" r="r" b="b"/>
              <a:pathLst>
                <a:path w="2489" h="2133" extrusionOk="0">
                  <a:moveTo>
                    <a:pt x="1066" y="0"/>
                  </a:moveTo>
                  <a:cubicBezTo>
                    <a:pt x="480" y="0"/>
                    <a:pt x="1" y="480"/>
                    <a:pt x="1" y="1065"/>
                  </a:cubicBezTo>
                  <a:cubicBezTo>
                    <a:pt x="1" y="1709"/>
                    <a:pt x="526" y="2133"/>
                    <a:pt x="1075" y="2133"/>
                  </a:cubicBezTo>
                  <a:cubicBezTo>
                    <a:pt x="1337" y="2133"/>
                    <a:pt x="1604" y="2036"/>
                    <a:pt x="1822" y="1821"/>
                  </a:cubicBezTo>
                  <a:cubicBezTo>
                    <a:pt x="2488" y="1146"/>
                    <a:pt x="2017" y="0"/>
                    <a:pt x="1066"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881" name="Google Shape;1881;p104"/>
            <p:cNvSpPr/>
            <p:nvPr/>
          </p:nvSpPr>
          <p:spPr>
            <a:xfrm>
              <a:off x="3589875" y="2028275"/>
              <a:ext cx="62225" cy="53450"/>
            </a:xfrm>
            <a:custGeom>
              <a:avLst/>
              <a:gdLst/>
              <a:ahLst/>
              <a:cxnLst/>
              <a:rect l="l" t="t" r="r" b="b"/>
              <a:pathLst>
                <a:path w="2489" h="2138" extrusionOk="0">
                  <a:moveTo>
                    <a:pt x="1066" y="1"/>
                  </a:moveTo>
                  <a:cubicBezTo>
                    <a:pt x="480" y="1"/>
                    <a:pt x="1" y="480"/>
                    <a:pt x="1" y="1065"/>
                  </a:cubicBezTo>
                  <a:cubicBezTo>
                    <a:pt x="1" y="1709"/>
                    <a:pt x="526" y="2137"/>
                    <a:pt x="1075" y="2137"/>
                  </a:cubicBezTo>
                  <a:cubicBezTo>
                    <a:pt x="1337" y="2137"/>
                    <a:pt x="1604" y="2040"/>
                    <a:pt x="1822" y="1821"/>
                  </a:cubicBezTo>
                  <a:cubicBezTo>
                    <a:pt x="2488" y="1147"/>
                    <a:pt x="2017" y="1"/>
                    <a:pt x="1066"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882" name="Google Shape;1882;p104"/>
            <p:cNvSpPr/>
            <p:nvPr/>
          </p:nvSpPr>
          <p:spPr>
            <a:xfrm>
              <a:off x="3589875" y="1952050"/>
              <a:ext cx="62225" cy="53450"/>
            </a:xfrm>
            <a:custGeom>
              <a:avLst/>
              <a:gdLst/>
              <a:ahLst/>
              <a:cxnLst/>
              <a:rect l="l" t="t" r="r" b="b"/>
              <a:pathLst>
                <a:path w="2489" h="2138" extrusionOk="0">
                  <a:moveTo>
                    <a:pt x="1066" y="1"/>
                  </a:moveTo>
                  <a:cubicBezTo>
                    <a:pt x="480" y="9"/>
                    <a:pt x="1" y="481"/>
                    <a:pt x="1" y="1074"/>
                  </a:cubicBezTo>
                  <a:cubicBezTo>
                    <a:pt x="1" y="1712"/>
                    <a:pt x="525" y="2138"/>
                    <a:pt x="1073" y="2138"/>
                  </a:cubicBezTo>
                  <a:cubicBezTo>
                    <a:pt x="1336" y="2138"/>
                    <a:pt x="1603" y="2040"/>
                    <a:pt x="1822" y="1822"/>
                  </a:cubicBezTo>
                  <a:cubicBezTo>
                    <a:pt x="2488" y="1155"/>
                    <a:pt x="2017" y="1"/>
                    <a:pt x="1066"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883" name="Google Shape;1883;p104"/>
            <p:cNvSpPr/>
            <p:nvPr/>
          </p:nvSpPr>
          <p:spPr>
            <a:xfrm>
              <a:off x="3589875" y="1647400"/>
              <a:ext cx="62225" cy="53450"/>
            </a:xfrm>
            <a:custGeom>
              <a:avLst/>
              <a:gdLst/>
              <a:ahLst/>
              <a:cxnLst/>
              <a:rect l="l" t="t" r="r" b="b"/>
              <a:pathLst>
                <a:path w="2489" h="2138" extrusionOk="0">
                  <a:moveTo>
                    <a:pt x="1066" y="1"/>
                  </a:moveTo>
                  <a:cubicBezTo>
                    <a:pt x="480" y="9"/>
                    <a:pt x="1" y="481"/>
                    <a:pt x="1" y="1066"/>
                  </a:cubicBezTo>
                  <a:cubicBezTo>
                    <a:pt x="1" y="1710"/>
                    <a:pt x="526" y="2138"/>
                    <a:pt x="1075" y="2138"/>
                  </a:cubicBezTo>
                  <a:cubicBezTo>
                    <a:pt x="1337" y="2138"/>
                    <a:pt x="1604" y="2040"/>
                    <a:pt x="1822" y="1822"/>
                  </a:cubicBezTo>
                  <a:cubicBezTo>
                    <a:pt x="2488" y="1147"/>
                    <a:pt x="2017" y="1"/>
                    <a:pt x="1066"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884" name="Google Shape;1884;p104"/>
            <p:cNvSpPr/>
            <p:nvPr/>
          </p:nvSpPr>
          <p:spPr>
            <a:xfrm>
              <a:off x="3513675" y="2256925"/>
              <a:ext cx="62550" cy="53425"/>
            </a:xfrm>
            <a:custGeom>
              <a:avLst/>
              <a:gdLst/>
              <a:ahLst/>
              <a:cxnLst/>
              <a:rect l="l" t="t" r="r" b="b"/>
              <a:pathLst>
                <a:path w="2502" h="2137" extrusionOk="0">
                  <a:moveTo>
                    <a:pt x="1075" y="0"/>
                  </a:moveTo>
                  <a:cubicBezTo>
                    <a:pt x="1072" y="0"/>
                    <a:pt x="1069" y="0"/>
                    <a:pt x="1065" y="0"/>
                  </a:cubicBezTo>
                  <a:cubicBezTo>
                    <a:pt x="480" y="0"/>
                    <a:pt x="0" y="480"/>
                    <a:pt x="0" y="1065"/>
                  </a:cubicBezTo>
                  <a:cubicBezTo>
                    <a:pt x="0" y="1709"/>
                    <a:pt x="529" y="2137"/>
                    <a:pt x="1080" y="2137"/>
                  </a:cubicBezTo>
                  <a:cubicBezTo>
                    <a:pt x="1343" y="2137"/>
                    <a:pt x="1611" y="2039"/>
                    <a:pt x="1829" y="1821"/>
                  </a:cubicBezTo>
                  <a:cubicBezTo>
                    <a:pt x="2502" y="1149"/>
                    <a:pt x="2028" y="0"/>
                    <a:pt x="1075"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885" name="Google Shape;1885;p104"/>
            <p:cNvSpPr/>
            <p:nvPr/>
          </p:nvSpPr>
          <p:spPr>
            <a:xfrm>
              <a:off x="3513675" y="2180700"/>
              <a:ext cx="62425" cy="53350"/>
            </a:xfrm>
            <a:custGeom>
              <a:avLst/>
              <a:gdLst/>
              <a:ahLst/>
              <a:cxnLst/>
              <a:rect l="l" t="t" r="r" b="b"/>
              <a:pathLst>
                <a:path w="2497" h="2134" extrusionOk="0">
                  <a:moveTo>
                    <a:pt x="1065" y="1"/>
                  </a:moveTo>
                  <a:cubicBezTo>
                    <a:pt x="480" y="1"/>
                    <a:pt x="0" y="480"/>
                    <a:pt x="0" y="1066"/>
                  </a:cubicBezTo>
                  <a:cubicBezTo>
                    <a:pt x="0" y="1709"/>
                    <a:pt x="526" y="2133"/>
                    <a:pt x="1074" y="2133"/>
                  </a:cubicBezTo>
                  <a:cubicBezTo>
                    <a:pt x="1336" y="2133"/>
                    <a:pt x="1603" y="2037"/>
                    <a:pt x="1821" y="1822"/>
                  </a:cubicBezTo>
                  <a:cubicBezTo>
                    <a:pt x="2496" y="1147"/>
                    <a:pt x="2016" y="1"/>
                    <a:pt x="1065"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886" name="Google Shape;1886;p104"/>
            <p:cNvSpPr/>
            <p:nvPr/>
          </p:nvSpPr>
          <p:spPr>
            <a:xfrm>
              <a:off x="3513675" y="2104500"/>
              <a:ext cx="62425" cy="53325"/>
            </a:xfrm>
            <a:custGeom>
              <a:avLst/>
              <a:gdLst/>
              <a:ahLst/>
              <a:cxnLst/>
              <a:rect l="l" t="t" r="r" b="b"/>
              <a:pathLst>
                <a:path w="2497" h="2133" extrusionOk="0">
                  <a:moveTo>
                    <a:pt x="1065" y="0"/>
                  </a:moveTo>
                  <a:cubicBezTo>
                    <a:pt x="480" y="0"/>
                    <a:pt x="0" y="480"/>
                    <a:pt x="0" y="1065"/>
                  </a:cubicBezTo>
                  <a:cubicBezTo>
                    <a:pt x="0" y="1709"/>
                    <a:pt x="526" y="2133"/>
                    <a:pt x="1074" y="2133"/>
                  </a:cubicBezTo>
                  <a:cubicBezTo>
                    <a:pt x="1336" y="2133"/>
                    <a:pt x="1603" y="2036"/>
                    <a:pt x="1821" y="1821"/>
                  </a:cubicBezTo>
                  <a:cubicBezTo>
                    <a:pt x="2496" y="1146"/>
                    <a:pt x="2016" y="0"/>
                    <a:pt x="1065"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887" name="Google Shape;1887;p104"/>
            <p:cNvSpPr/>
            <p:nvPr/>
          </p:nvSpPr>
          <p:spPr>
            <a:xfrm>
              <a:off x="3513675" y="2028275"/>
              <a:ext cx="62425" cy="53450"/>
            </a:xfrm>
            <a:custGeom>
              <a:avLst/>
              <a:gdLst/>
              <a:ahLst/>
              <a:cxnLst/>
              <a:rect l="l" t="t" r="r" b="b"/>
              <a:pathLst>
                <a:path w="2497" h="2138" extrusionOk="0">
                  <a:moveTo>
                    <a:pt x="1065" y="1"/>
                  </a:moveTo>
                  <a:cubicBezTo>
                    <a:pt x="480" y="1"/>
                    <a:pt x="0" y="480"/>
                    <a:pt x="0" y="1065"/>
                  </a:cubicBezTo>
                  <a:cubicBezTo>
                    <a:pt x="0" y="1709"/>
                    <a:pt x="525" y="2137"/>
                    <a:pt x="1074" y="2137"/>
                  </a:cubicBezTo>
                  <a:cubicBezTo>
                    <a:pt x="1336" y="2137"/>
                    <a:pt x="1603" y="2040"/>
                    <a:pt x="1821" y="1821"/>
                  </a:cubicBezTo>
                  <a:cubicBezTo>
                    <a:pt x="2496" y="1147"/>
                    <a:pt x="2016" y="1"/>
                    <a:pt x="1065"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888" name="Google Shape;1888;p104"/>
            <p:cNvSpPr/>
            <p:nvPr/>
          </p:nvSpPr>
          <p:spPr>
            <a:xfrm>
              <a:off x="3513675" y="1952050"/>
              <a:ext cx="62425" cy="53450"/>
            </a:xfrm>
            <a:custGeom>
              <a:avLst/>
              <a:gdLst/>
              <a:ahLst/>
              <a:cxnLst/>
              <a:rect l="l" t="t" r="r" b="b"/>
              <a:pathLst>
                <a:path w="2497" h="2138" extrusionOk="0">
                  <a:moveTo>
                    <a:pt x="1065" y="1"/>
                  </a:moveTo>
                  <a:cubicBezTo>
                    <a:pt x="480" y="9"/>
                    <a:pt x="0" y="481"/>
                    <a:pt x="0" y="1074"/>
                  </a:cubicBezTo>
                  <a:cubicBezTo>
                    <a:pt x="0" y="1712"/>
                    <a:pt x="525" y="2138"/>
                    <a:pt x="1073" y="2138"/>
                  </a:cubicBezTo>
                  <a:cubicBezTo>
                    <a:pt x="1335" y="2138"/>
                    <a:pt x="1603" y="2040"/>
                    <a:pt x="1821" y="1822"/>
                  </a:cubicBezTo>
                  <a:cubicBezTo>
                    <a:pt x="2496" y="1155"/>
                    <a:pt x="2016" y="1"/>
                    <a:pt x="1065"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889" name="Google Shape;1889;p104"/>
            <p:cNvSpPr/>
            <p:nvPr/>
          </p:nvSpPr>
          <p:spPr>
            <a:xfrm>
              <a:off x="3513675" y="1876050"/>
              <a:ext cx="62425" cy="53275"/>
            </a:xfrm>
            <a:custGeom>
              <a:avLst/>
              <a:gdLst/>
              <a:ahLst/>
              <a:cxnLst/>
              <a:rect l="l" t="t" r="r" b="b"/>
              <a:pathLst>
                <a:path w="2497" h="2131" extrusionOk="0">
                  <a:moveTo>
                    <a:pt x="1065" y="1"/>
                  </a:moveTo>
                  <a:cubicBezTo>
                    <a:pt x="480" y="1"/>
                    <a:pt x="0" y="472"/>
                    <a:pt x="0" y="1066"/>
                  </a:cubicBezTo>
                  <a:cubicBezTo>
                    <a:pt x="0" y="1707"/>
                    <a:pt x="522" y="2131"/>
                    <a:pt x="1069" y="2131"/>
                  </a:cubicBezTo>
                  <a:cubicBezTo>
                    <a:pt x="1333" y="2131"/>
                    <a:pt x="1602" y="2033"/>
                    <a:pt x="1821" y="1813"/>
                  </a:cubicBezTo>
                  <a:cubicBezTo>
                    <a:pt x="2496" y="1147"/>
                    <a:pt x="2016" y="1"/>
                    <a:pt x="1065"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890" name="Google Shape;1890;p104"/>
            <p:cNvSpPr/>
            <p:nvPr/>
          </p:nvSpPr>
          <p:spPr>
            <a:xfrm>
              <a:off x="3513675" y="1799850"/>
              <a:ext cx="62425" cy="53325"/>
            </a:xfrm>
            <a:custGeom>
              <a:avLst/>
              <a:gdLst/>
              <a:ahLst/>
              <a:cxnLst/>
              <a:rect l="l" t="t" r="r" b="b"/>
              <a:pathLst>
                <a:path w="2497" h="2133" extrusionOk="0">
                  <a:moveTo>
                    <a:pt x="1065" y="0"/>
                  </a:moveTo>
                  <a:cubicBezTo>
                    <a:pt x="480" y="0"/>
                    <a:pt x="0" y="480"/>
                    <a:pt x="0" y="1065"/>
                  </a:cubicBezTo>
                  <a:cubicBezTo>
                    <a:pt x="0" y="1709"/>
                    <a:pt x="526" y="2133"/>
                    <a:pt x="1074" y="2133"/>
                  </a:cubicBezTo>
                  <a:cubicBezTo>
                    <a:pt x="1336" y="2133"/>
                    <a:pt x="1603" y="2036"/>
                    <a:pt x="1821" y="1821"/>
                  </a:cubicBezTo>
                  <a:cubicBezTo>
                    <a:pt x="2496" y="1146"/>
                    <a:pt x="2016" y="0"/>
                    <a:pt x="1065"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891" name="Google Shape;1891;p104"/>
            <p:cNvSpPr/>
            <p:nvPr/>
          </p:nvSpPr>
          <p:spPr>
            <a:xfrm>
              <a:off x="3437450" y="2333125"/>
              <a:ext cx="62425" cy="53450"/>
            </a:xfrm>
            <a:custGeom>
              <a:avLst/>
              <a:gdLst/>
              <a:ahLst/>
              <a:cxnLst/>
              <a:rect l="l" t="t" r="r" b="b"/>
              <a:pathLst>
                <a:path w="2497" h="2138" extrusionOk="0">
                  <a:moveTo>
                    <a:pt x="1074" y="1"/>
                  </a:moveTo>
                  <a:cubicBezTo>
                    <a:pt x="480" y="1"/>
                    <a:pt x="9" y="480"/>
                    <a:pt x="1" y="1066"/>
                  </a:cubicBezTo>
                  <a:cubicBezTo>
                    <a:pt x="1" y="1709"/>
                    <a:pt x="530" y="2137"/>
                    <a:pt x="1078" y="2137"/>
                  </a:cubicBezTo>
                  <a:cubicBezTo>
                    <a:pt x="1340" y="2137"/>
                    <a:pt x="1606" y="2040"/>
                    <a:pt x="1822" y="1822"/>
                  </a:cubicBezTo>
                  <a:cubicBezTo>
                    <a:pt x="2496" y="1147"/>
                    <a:pt x="2017" y="1"/>
                    <a:pt x="1074"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892" name="Google Shape;1892;p104"/>
            <p:cNvSpPr/>
            <p:nvPr/>
          </p:nvSpPr>
          <p:spPr>
            <a:xfrm>
              <a:off x="3437450" y="2256925"/>
              <a:ext cx="62575" cy="53425"/>
            </a:xfrm>
            <a:custGeom>
              <a:avLst/>
              <a:gdLst/>
              <a:ahLst/>
              <a:cxnLst/>
              <a:rect l="l" t="t" r="r" b="b"/>
              <a:pathLst>
                <a:path w="2503" h="2137" extrusionOk="0">
                  <a:moveTo>
                    <a:pt x="1084" y="0"/>
                  </a:moveTo>
                  <a:cubicBezTo>
                    <a:pt x="1080" y="0"/>
                    <a:pt x="1077" y="0"/>
                    <a:pt x="1074" y="0"/>
                  </a:cubicBezTo>
                  <a:cubicBezTo>
                    <a:pt x="480" y="0"/>
                    <a:pt x="9" y="480"/>
                    <a:pt x="1" y="1065"/>
                  </a:cubicBezTo>
                  <a:cubicBezTo>
                    <a:pt x="1" y="1709"/>
                    <a:pt x="530" y="2137"/>
                    <a:pt x="1081" y="2137"/>
                  </a:cubicBezTo>
                  <a:cubicBezTo>
                    <a:pt x="1344" y="2137"/>
                    <a:pt x="1612" y="2039"/>
                    <a:pt x="1830" y="1821"/>
                  </a:cubicBezTo>
                  <a:cubicBezTo>
                    <a:pt x="2502" y="1149"/>
                    <a:pt x="2028" y="0"/>
                    <a:pt x="1084"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893" name="Google Shape;1893;p104"/>
            <p:cNvSpPr/>
            <p:nvPr/>
          </p:nvSpPr>
          <p:spPr>
            <a:xfrm>
              <a:off x="3437450" y="2180700"/>
              <a:ext cx="62425" cy="53350"/>
            </a:xfrm>
            <a:custGeom>
              <a:avLst/>
              <a:gdLst/>
              <a:ahLst/>
              <a:cxnLst/>
              <a:rect l="l" t="t" r="r" b="b"/>
              <a:pathLst>
                <a:path w="2497" h="2134" extrusionOk="0">
                  <a:moveTo>
                    <a:pt x="1074" y="1"/>
                  </a:moveTo>
                  <a:cubicBezTo>
                    <a:pt x="480" y="1"/>
                    <a:pt x="9" y="480"/>
                    <a:pt x="1" y="1066"/>
                  </a:cubicBezTo>
                  <a:cubicBezTo>
                    <a:pt x="1" y="1709"/>
                    <a:pt x="530" y="2133"/>
                    <a:pt x="1078" y="2133"/>
                  </a:cubicBezTo>
                  <a:cubicBezTo>
                    <a:pt x="1340" y="2133"/>
                    <a:pt x="1606" y="2037"/>
                    <a:pt x="1822" y="1822"/>
                  </a:cubicBezTo>
                  <a:cubicBezTo>
                    <a:pt x="2496" y="1147"/>
                    <a:pt x="2017" y="1"/>
                    <a:pt x="1074"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894" name="Google Shape;1894;p104"/>
            <p:cNvSpPr/>
            <p:nvPr/>
          </p:nvSpPr>
          <p:spPr>
            <a:xfrm>
              <a:off x="3437450" y="2028275"/>
              <a:ext cx="62425" cy="53450"/>
            </a:xfrm>
            <a:custGeom>
              <a:avLst/>
              <a:gdLst/>
              <a:ahLst/>
              <a:cxnLst/>
              <a:rect l="l" t="t" r="r" b="b"/>
              <a:pathLst>
                <a:path w="2497" h="2138" extrusionOk="0">
                  <a:moveTo>
                    <a:pt x="1074" y="1"/>
                  </a:moveTo>
                  <a:cubicBezTo>
                    <a:pt x="480" y="1"/>
                    <a:pt x="9" y="480"/>
                    <a:pt x="1" y="1065"/>
                  </a:cubicBezTo>
                  <a:cubicBezTo>
                    <a:pt x="1" y="1709"/>
                    <a:pt x="530" y="2137"/>
                    <a:pt x="1078" y="2137"/>
                  </a:cubicBezTo>
                  <a:cubicBezTo>
                    <a:pt x="1340" y="2137"/>
                    <a:pt x="1606" y="2040"/>
                    <a:pt x="1822" y="1821"/>
                  </a:cubicBezTo>
                  <a:cubicBezTo>
                    <a:pt x="2496" y="1147"/>
                    <a:pt x="2017" y="1"/>
                    <a:pt x="1074"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895" name="Google Shape;1895;p104"/>
            <p:cNvSpPr/>
            <p:nvPr/>
          </p:nvSpPr>
          <p:spPr>
            <a:xfrm>
              <a:off x="3437450" y="1876050"/>
              <a:ext cx="62425" cy="53275"/>
            </a:xfrm>
            <a:custGeom>
              <a:avLst/>
              <a:gdLst/>
              <a:ahLst/>
              <a:cxnLst/>
              <a:rect l="l" t="t" r="r" b="b"/>
              <a:pathLst>
                <a:path w="2497" h="2131" extrusionOk="0">
                  <a:moveTo>
                    <a:pt x="1074" y="1"/>
                  </a:moveTo>
                  <a:cubicBezTo>
                    <a:pt x="480" y="1"/>
                    <a:pt x="9" y="472"/>
                    <a:pt x="1" y="1066"/>
                  </a:cubicBezTo>
                  <a:cubicBezTo>
                    <a:pt x="1" y="1707"/>
                    <a:pt x="527" y="2131"/>
                    <a:pt x="1073" y="2131"/>
                  </a:cubicBezTo>
                  <a:cubicBezTo>
                    <a:pt x="1337" y="2131"/>
                    <a:pt x="1605" y="2033"/>
                    <a:pt x="1822" y="1813"/>
                  </a:cubicBezTo>
                  <a:cubicBezTo>
                    <a:pt x="2496" y="1147"/>
                    <a:pt x="2017" y="1"/>
                    <a:pt x="1074"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896" name="Google Shape;1896;p104"/>
            <p:cNvSpPr/>
            <p:nvPr/>
          </p:nvSpPr>
          <p:spPr>
            <a:xfrm>
              <a:off x="3437450" y="1799850"/>
              <a:ext cx="62425" cy="53325"/>
            </a:xfrm>
            <a:custGeom>
              <a:avLst/>
              <a:gdLst/>
              <a:ahLst/>
              <a:cxnLst/>
              <a:rect l="l" t="t" r="r" b="b"/>
              <a:pathLst>
                <a:path w="2497" h="2133" extrusionOk="0">
                  <a:moveTo>
                    <a:pt x="1074" y="0"/>
                  </a:moveTo>
                  <a:cubicBezTo>
                    <a:pt x="480" y="0"/>
                    <a:pt x="9" y="480"/>
                    <a:pt x="1" y="1065"/>
                  </a:cubicBezTo>
                  <a:cubicBezTo>
                    <a:pt x="1" y="1709"/>
                    <a:pt x="530" y="2133"/>
                    <a:pt x="1078" y="2133"/>
                  </a:cubicBezTo>
                  <a:cubicBezTo>
                    <a:pt x="1340" y="2133"/>
                    <a:pt x="1606" y="2036"/>
                    <a:pt x="1822" y="1821"/>
                  </a:cubicBezTo>
                  <a:cubicBezTo>
                    <a:pt x="2496" y="1146"/>
                    <a:pt x="2017" y="0"/>
                    <a:pt x="1074"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897" name="Google Shape;1897;p104"/>
            <p:cNvSpPr/>
            <p:nvPr/>
          </p:nvSpPr>
          <p:spPr>
            <a:xfrm>
              <a:off x="3437450" y="1723625"/>
              <a:ext cx="62425" cy="53350"/>
            </a:xfrm>
            <a:custGeom>
              <a:avLst/>
              <a:gdLst/>
              <a:ahLst/>
              <a:cxnLst/>
              <a:rect l="l" t="t" r="r" b="b"/>
              <a:pathLst>
                <a:path w="2497" h="2134" extrusionOk="0">
                  <a:moveTo>
                    <a:pt x="1074" y="1"/>
                  </a:moveTo>
                  <a:cubicBezTo>
                    <a:pt x="480" y="1"/>
                    <a:pt x="9" y="480"/>
                    <a:pt x="1" y="1065"/>
                  </a:cubicBezTo>
                  <a:cubicBezTo>
                    <a:pt x="1" y="1709"/>
                    <a:pt x="530" y="2133"/>
                    <a:pt x="1078" y="2133"/>
                  </a:cubicBezTo>
                  <a:cubicBezTo>
                    <a:pt x="1340" y="2133"/>
                    <a:pt x="1606" y="2037"/>
                    <a:pt x="1822" y="1822"/>
                  </a:cubicBezTo>
                  <a:cubicBezTo>
                    <a:pt x="2496" y="1147"/>
                    <a:pt x="2017" y="1"/>
                    <a:pt x="1074"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898" name="Google Shape;1898;p104"/>
            <p:cNvSpPr/>
            <p:nvPr/>
          </p:nvSpPr>
          <p:spPr>
            <a:xfrm>
              <a:off x="3361450" y="2333125"/>
              <a:ext cx="62200" cy="53450"/>
            </a:xfrm>
            <a:custGeom>
              <a:avLst/>
              <a:gdLst/>
              <a:ahLst/>
              <a:cxnLst/>
              <a:rect l="l" t="t" r="r" b="b"/>
              <a:pathLst>
                <a:path w="2488" h="2138" extrusionOk="0">
                  <a:moveTo>
                    <a:pt x="1065" y="1"/>
                  </a:moveTo>
                  <a:cubicBezTo>
                    <a:pt x="472" y="1"/>
                    <a:pt x="0" y="480"/>
                    <a:pt x="0" y="1066"/>
                  </a:cubicBezTo>
                  <a:cubicBezTo>
                    <a:pt x="0" y="1709"/>
                    <a:pt x="525" y="2137"/>
                    <a:pt x="1072" y="2137"/>
                  </a:cubicBezTo>
                  <a:cubicBezTo>
                    <a:pt x="1332" y="2137"/>
                    <a:pt x="1598" y="2040"/>
                    <a:pt x="1813" y="1822"/>
                  </a:cubicBezTo>
                  <a:cubicBezTo>
                    <a:pt x="2488" y="1147"/>
                    <a:pt x="2016" y="1"/>
                    <a:pt x="1065"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899" name="Google Shape;1899;p104"/>
            <p:cNvSpPr/>
            <p:nvPr/>
          </p:nvSpPr>
          <p:spPr>
            <a:xfrm>
              <a:off x="3361450" y="2256925"/>
              <a:ext cx="62350" cy="53425"/>
            </a:xfrm>
            <a:custGeom>
              <a:avLst/>
              <a:gdLst/>
              <a:ahLst/>
              <a:cxnLst/>
              <a:rect l="l" t="t" r="r" b="b"/>
              <a:pathLst>
                <a:path w="2494" h="2137" extrusionOk="0">
                  <a:moveTo>
                    <a:pt x="1075" y="0"/>
                  </a:moveTo>
                  <a:cubicBezTo>
                    <a:pt x="1072" y="0"/>
                    <a:pt x="1069" y="0"/>
                    <a:pt x="1065" y="0"/>
                  </a:cubicBezTo>
                  <a:cubicBezTo>
                    <a:pt x="472" y="0"/>
                    <a:pt x="0" y="480"/>
                    <a:pt x="0" y="1065"/>
                  </a:cubicBezTo>
                  <a:cubicBezTo>
                    <a:pt x="0" y="1709"/>
                    <a:pt x="525" y="2137"/>
                    <a:pt x="1074" y="2137"/>
                  </a:cubicBezTo>
                  <a:cubicBezTo>
                    <a:pt x="1336" y="2137"/>
                    <a:pt x="1603" y="2039"/>
                    <a:pt x="1821" y="1821"/>
                  </a:cubicBezTo>
                  <a:cubicBezTo>
                    <a:pt x="2494" y="1149"/>
                    <a:pt x="2020" y="0"/>
                    <a:pt x="1075"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900" name="Google Shape;1900;p104"/>
            <p:cNvSpPr/>
            <p:nvPr/>
          </p:nvSpPr>
          <p:spPr>
            <a:xfrm>
              <a:off x="3361450" y="2180700"/>
              <a:ext cx="62200" cy="53350"/>
            </a:xfrm>
            <a:custGeom>
              <a:avLst/>
              <a:gdLst/>
              <a:ahLst/>
              <a:cxnLst/>
              <a:rect l="l" t="t" r="r" b="b"/>
              <a:pathLst>
                <a:path w="2488" h="2134" extrusionOk="0">
                  <a:moveTo>
                    <a:pt x="1065" y="1"/>
                  </a:moveTo>
                  <a:cubicBezTo>
                    <a:pt x="472" y="1"/>
                    <a:pt x="0" y="480"/>
                    <a:pt x="0" y="1066"/>
                  </a:cubicBezTo>
                  <a:cubicBezTo>
                    <a:pt x="0" y="1709"/>
                    <a:pt x="526" y="2133"/>
                    <a:pt x="1072" y="2133"/>
                  </a:cubicBezTo>
                  <a:cubicBezTo>
                    <a:pt x="1332" y="2133"/>
                    <a:pt x="1598" y="2037"/>
                    <a:pt x="1813" y="1822"/>
                  </a:cubicBezTo>
                  <a:cubicBezTo>
                    <a:pt x="2488" y="1147"/>
                    <a:pt x="2016" y="1"/>
                    <a:pt x="1065"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901" name="Google Shape;1901;p104"/>
            <p:cNvSpPr/>
            <p:nvPr/>
          </p:nvSpPr>
          <p:spPr>
            <a:xfrm>
              <a:off x="3361450" y="1799850"/>
              <a:ext cx="62200" cy="53325"/>
            </a:xfrm>
            <a:custGeom>
              <a:avLst/>
              <a:gdLst/>
              <a:ahLst/>
              <a:cxnLst/>
              <a:rect l="l" t="t" r="r" b="b"/>
              <a:pathLst>
                <a:path w="2488" h="2133" extrusionOk="0">
                  <a:moveTo>
                    <a:pt x="1065" y="0"/>
                  </a:moveTo>
                  <a:cubicBezTo>
                    <a:pt x="472" y="0"/>
                    <a:pt x="0" y="480"/>
                    <a:pt x="0" y="1065"/>
                  </a:cubicBezTo>
                  <a:cubicBezTo>
                    <a:pt x="0" y="1709"/>
                    <a:pt x="526" y="2133"/>
                    <a:pt x="1072" y="2133"/>
                  </a:cubicBezTo>
                  <a:cubicBezTo>
                    <a:pt x="1332" y="2133"/>
                    <a:pt x="1598" y="2036"/>
                    <a:pt x="1813" y="1821"/>
                  </a:cubicBezTo>
                  <a:cubicBezTo>
                    <a:pt x="2488" y="1146"/>
                    <a:pt x="2016" y="0"/>
                    <a:pt x="1065"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902" name="Google Shape;1902;p104"/>
            <p:cNvSpPr/>
            <p:nvPr/>
          </p:nvSpPr>
          <p:spPr>
            <a:xfrm>
              <a:off x="3285225" y="1876050"/>
              <a:ext cx="62225" cy="53275"/>
            </a:xfrm>
            <a:custGeom>
              <a:avLst/>
              <a:gdLst/>
              <a:ahLst/>
              <a:cxnLst/>
              <a:rect l="l" t="t" r="r" b="b"/>
              <a:pathLst>
                <a:path w="2489" h="2131" extrusionOk="0">
                  <a:moveTo>
                    <a:pt x="1066" y="1"/>
                  </a:moveTo>
                  <a:cubicBezTo>
                    <a:pt x="480" y="1"/>
                    <a:pt x="1" y="472"/>
                    <a:pt x="1" y="1066"/>
                  </a:cubicBezTo>
                  <a:cubicBezTo>
                    <a:pt x="1" y="1707"/>
                    <a:pt x="523" y="2131"/>
                    <a:pt x="1070" y="2131"/>
                  </a:cubicBezTo>
                  <a:cubicBezTo>
                    <a:pt x="1333" y="2131"/>
                    <a:pt x="1602" y="2033"/>
                    <a:pt x="1822" y="1813"/>
                  </a:cubicBezTo>
                  <a:cubicBezTo>
                    <a:pt x="2488" y="1147"/>
                    <a:pt x="2017" y="1"/>
                    <a:pt x="1066"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903" name="Google Shape;1903;p104"/>
            <p:cNvSpPr/>
            <p:nvPr/>
          </p:nvSpPr>
          <p:spPr>
            <a:xfrm>
              <a:off x="3132800" y="1647400"/>
              <a:ext cx="62425" cy="53450"/>
            </a:xfrm>
            <a:custGeom>
              <a:avLst/>
              <a:gdLst/>
              <a:ahLst/>
              <a:cxnLst/>
              <a:rect l="l" t="t" r="r" b="b"/>
              <a:pathLst>
                <a:path w="2497" h="2138" extrusionOk="0">
                  <a:moveTo>
                    <a:pt x="1066" y="1"/>
                  </a:moveTo>
                  <a:cubicBezTo>
                    <a:pt x="480" y="1"/>
                    <a:pt x="1" y="481"/>
                    <a:pt x="1" y="1066"/>
                  </a:cubicBezTo>
                  <a:cubicBezTo>
                    <a:pt x="1" y="1710"/>
                    <a:pt x="526" y="2138"/>
                    <a:pt x="1074" y="2138"/>
                  </a:cubicBezTo>
                  <a:cubicBezTo>
                    <a:pt x="1336" y="2138"/>
                    <a:pt x="1604" y="2040"/>
                    <a:pt x="1822" y="1822"/>
                  </a:cubicBezTo>
                  <a:cubicBezTo>
                    <a:pt x="2496" y="1147"/>
                    <a:pt x="2017" y="1"/>
                    <a:pt x="1066"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904" name="Google Shape;1904;p104"/>
            <p:cNvSpPr/>
            <p:nvPr/>
          </p:nvSpPr>
          <p:spPr>
            <a:xfrm>
              <a:off x="3056800" y="1723625"/>
              <a:ext cx="62200" cy="53350"/>
            </a:xfrm>
            <a:custGeom>
              <a:avLst/>
              <a:gdLst/>
              <a:ahLst/>
              <a:cxnLst/>
              <a:rect l="l" t="t" r="r" b="b"/>
              <a:pathLst>
                <a:path w="2488" h="2134" extrusionOk="0">
                  <a:moveTo>
                    <a:pt x="1065" y="1"/>
                  </a:moveTo>
                  <a:cubicBezTo>
                    <a:pt x="480" y="1"/>
                    <a:pt x="0" y="480"/>
                    <a:pt x="0" y="1065"/>
                  </a:cubicBezTo>
                  <a:cubicBezTo>
                    <a:pt x="0" y="1709"/>
                    <a:pt x="526" y="2133"/>
                    <a:pt x="1074" y="2133"/>
                  </a:cubicBezTo>
                  <a:cubicBezTo>
                    <a:pt x="1336" y="2133"/>
                    <a:pt x="1603" y="2037"/>
                    <a:pt x="1821" y="1822"/>
                  </a:cubicBezTo>
                  <a:cubicBezTo>
                    <a:pt x="2488" y="1147"/>
                    <a:pt x="2016" y="1"/>
                    <a:pt x="1065"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905" name="Google Shape;1905;p104"/>
            <p:cNvSpPr/>
            <p:nvPr/>
          </p:nvSpPr>
          <p:spPr>
            <a:xfrm>
              <a:off x="3056800" y="1647400"/>
              <a:ext cx="62200" cy="53450"/>
            </a:xfrm>
            <a:custGeom>
              <a:avLst/>
              <a:gdLst/>
              <a:ahLst/>
              <a:cxnLst/>
              <a:rect l="l" t="t" r="r" b="b"/>
              <a:pathLst>
                <a:path w="2488" h="2138" extrusionOk="0">
                  <a:moveTo>
                    <a:pt x="1065" y="1"/>
                  </a:moveTo>
                  <a:cubicBezTo>
                    <a:pt x="480" y="1"/>
                    <a:pt x="0" y="481"/>
                    <a:pt x="0" y="1066"/>
                  </a:cubicBezTo>
                  <a:cubicBezTo>
                    <a:pt x="0" y="1710"/>
                    <a:pt x="525" y="2138"/>
                    <a:pt x="1074" y="2138"/>
                  </a:cubicBezTo>
                  <a:cubicBezTo>
                    <a:pt x="1336" y="2138"/>
                    <a:pt x="1603" y="2040"/>
                    <a:pt x="1821" y="1822"/>
                  </a:cubicBezTo>
                  <a:cubicBezTo>
                    <a:pt x="2488" y="1147"/>
                    <a:pt x="2016" y="1"/>
                    <a:pt x="1065"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906" name="Google Shape;1906;p104"/>
            <p:cNvSpPr/>
            <p:nvPr/>
          </p:nvSpPr>
          <p:spPr>
            <a:xfrm>
              <a:off x="2980575" y="1723625"/>
              <a:ext cx="62225" cy="53350"/>
            </a:xfrm>
            <a:custGeom>
              <a:avLst/>
              <a:gdLst/>
              <a:ahLst/>
              <a:cxnLst/>
              <a:rect l="l" t="t" r="r" b="b"/>
              <a:pathLst>
                <a:path w="2489" h="2134" extrusionOk="0">
                  <a:moveTo>
                    <a:pt x="1066" y="1"/>
                  </a:moveTo>
                  <a:cubicBezTo>
                    <a:pt x="480" y="1"/>
                    <a:pt x="1" y="480"/>
                    <a:pt x="1" y="1065"/>
                  </a:cubicBezTo>
                  <a:cubicBezTo>
                    <a:pt x="1" y="1709"/>
                    <a:pt x="526" y="2133"/>
                    <a:pt x="1075" y="2133"/>
                  </a:cubicBezTo>
                  <a:cubicBezTo>
                    <a:pt x="1337" y="2133"/>
                    <a:pt x="1604" y="2037"/>
                    <a:pt x="1822" y="1822"/>
                  </a:cubicBezTo>
                  <a:cubicBezTo>
                    <a:pt x="2488" y="1147"/>
                    <a:pt x="2017" y="1"/>
                    <a:pt x="1066"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907" name="Google Shape;1907;p104"/>
            <p:cNvSpPr/>
            <p:nvPr/>
          </p:nvSpPr>
          <p:spPr>
            <a:xfrm>
              <a:off x="2980575" y="1647400"/>
              <a:ext cx="62225" cy="53450"/>
            </a:xfrm>
            <a:custGeom>
              <a:avLst/>
              <a:gdLst/>
              <a:ahLst/>
              <a:cxnLst/>
              <a:rect l="l" t="t" r="r" b="b"/>
              <a:pathLst>
                <a:path w="2489" h="2138" extrusionOk="0">
                  <a:moveTo>
                    <a:pt x="1066" y="1"/>
                  </a:moveTo>
                  <a:cubicBezTo>
                    <a:pt x="480" y="9"/>
                    <a:pt x="1" y="481"/>
                    <a:pt x="1" y="1066"/>
                  </a:cubicBezTo>
                  <a:cubicBezTo>
                    <a:pt x="1" y="1710"/>
                    <a:pt x="526" y="2138"/>
                    <a:pt x="1075" y="2138"/>
                  </a:cubicBezTo>
                  <a:cubicBezTo>
                    <a:pt x="1336" y="2138"/>
                    <a:pt x="1604" y="2040"/>
                    <a:pt x="1822" y="1822"/>
                  </a:cubicBezTo>
                  <a:cubicBezTo>
                    <a:pt x="2488" y="1147"/>
                    <a:pt x="2017" y="1"/>
                    <a:pt x="1066"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908" name="Google Shape;1908;p104"/>
            <p:cNvSpPr/>
            <p:nvPr/>
          </p:nvSpPr>
          <p:spPr>
            <a:xfrm>
              <a:off x="2980575" y="1342750"/>
              <a:ext cx="62225" cy="53450"/>
            </a:xfrm>
            <a:custGeom>
              <a:avLst/>
              <a:gdLst/>
              <a:ahLst/>
              <a:cxnLst/>
              <a:rect l="l" t="t" r="r" b="b"/>
              <a:pathLst>
                <a:path w="2489" h="2138" extrusionOk="0">
                  <a:moveTo>
                    <a:pt x="1066" y="1"/>
                  </a:moveTo>
                  <a:cubicBezTo>
                    <a:pt x="480" y="1"/>
                    <a:pt x="1" y="481"/>
                    <a:pt x="1" y="1066"/>
                  </a:cubicBezTo>
                  <a:cubicBezTo>
                    <a:pt x="1" y="1710"/>
                    <a:pt x="526" y="2138"/>
                    <a:pt x="1075" y="2138"/>
                  </a:cubicBezTo>
                  <a:cubicBezTo>
                    <a:pt x="1336" y="2138"/>
                    <a:pt x="1604" y="2040"/>
                    <a:pt x="1822" y="1822"/>
                  </a:cubicBezTo>
                  <a:cubicBezTo>
                    <a:pt x="2488" y="1147"/>
                    <a:pt x="2017" y="1"/>
                    <a:pt x="1066"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909" name="Google Shape;1909;p104"/>
            <p:cNvSpPr/>
            <p:nvPr/>
          </p:nvSpPr>
          <p:spPr>
            <a:xfrm>
              <a:off x="2980575" y="1266550"/>
              <a:ext cx="62225" cy="53450"/>
            </a:xfrm>
            <a:custGeom>
              <a:avLst/>
              <a:gdLst/>
              <a:ahLst/>
              <a:cxnLst/>
              <a:rect l="l" t="t" r="r" b="b"/>
              <a:pathLst>
                <a:path w="2489" h="2138" extrusionOk="0">
                  <a:moveTo>
                    <a:pt x="1066" y="0"/>
                  </a:moveTo>
                  <a:cubicBezTo>
                    <a:pt x="480" y="9"/>
                    <a:pt x="1" y="480"/>
                    <a:pt x="1" y="1074"/>
                  </a:cubicBezTo>
                  <a:cubicBezTo>
                    <a:pt x="1" y="1711"/>
                    <a:pt x="525" y="2137"/>
                    <a:pt x="1073" y="2137"/>
                  </a:cubicBezTo>
                  <a:cubicBezTo>
                    <a:pt x="1336" y="2137"/>
                    <a:pt x="1603" y="2040"/>
                    <a:pt x="1822" y="1821"/>
                  </a:cubicBezTo>
                  <a:cubicBezTo>
                    <a:pt x="2488" y="1155"/>
                    <a:pt x="2017" y="0"/>
                    <a:pt x="1066"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910" name="Google Shape;1910;p104"/>
            <p:cNvSpPr/>
            <p:nvPr/>
          </p:nvSpPr>
          <p:spPr>
            <a:xfrm>
              <a:off x="2980575" y="1190550"/>
              <a:ext cx="62225" cy="53325"/>
            </a:xfrm>
            <a:custGeom>
              <a:avLst/>
              <a:gdLst/>
              <a:ahLst/>
              <a:cxnLst/>
              <a:rect l="l" t="t" r="r" b="b"/>
              <a:pathLst>
                <a:path w="2489" h="2133" extrusionOk="0">
                  <a:moveTo>
                    <a:pt x="1066" y="0"/>
                  </a:moveTo>
                  <a:cubicBezTo>
                    <a:pt x="480" y="0"/>
                    <a:pt x="1" y="480"/>
                    <a:pt x="1" y="1065"/>
                  </a:cubicBezTo>
                  <a:cubicBezTo>
                    <a:pt x="1" y="1709"/>
                    <a:pt x="526" y="2133"/>
                    <a:pt x="1075" y="2133"/>
                  </a:cubicBezTo>
                  <a:cubicBezTo>
                    <a:pt x="1337" y="2133"/>
                    <a:pt x="1604" y="2036"/>
                    <a:pt x="1822" y="1821"/>
                  </a:cubicBezTo>
                  <a:cubicBezTo>
                    <a:pt x="2488" y="1146"/>
                    <a:pt x="2017" y="0"/>
                    <a:pt x="1066"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911" name="Google Shape;1911;p104"/>
            <p:cNvSpPr/>
            <p:nvPr/>
          </p:nvSpPr>
          <p:spPr>
            <a:xfrm>
              <a:off x="2980575" y="1114325"/>
              <a:ext cx="62225" cy="53350"/>
            </a:xfrm>
            <a:custGeom>
              <a:avLst/>
              <a:gdLst/>
              <a:ahLst/>
              <a:cxnLst/>
              <a:rect l="l" t="t" r="r" b="b"/>
              <a:pathLst>
                <a:path w="2489" h="2134" extrusionOk="0">
                  <a:moveTo>
                    <a:pt x="1066" y="1"/>
                  </a:moveTo>
                  <a:cubicBezTo>
                    <a:pt x="480" y="1"/>
                    <a:pt x="1" y="480"/>
                    <a:pt x="1" y="1065"/>
                  </a:cubicBezTo>
                  <a:cubicBezTo>
                    <a:pt x="1" y="1709"/>
                    <a:pt x="526" y="2133"/>
                    <a:pt x="1075" y="2133"/>
                  </a:cubicBezTo>
                  <a:cubicBezTo>
                    <a:pt x="1337" y="2133"/>
                    <a:pt x="1604" y="2037"/>
                    <a:pt x="1822" y="1822"/>
                  </a:cubicBezTo>
                  <a:cubicBezTo>
                    <a:pt x="2488" y="1147"/>
                    <a:pt x="2017" y="1"/>
                    <a:pt x="1066"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912" name="Google Shape;1912;p104"/>
            <p:cNvSpPr/>
            <p:nvPr/>
          </p:nvSpPr>
          <p:spPr>
            <a:xfrm>
              <a:off x="2904375" y="1495200"/>
              <a:ext cx="62200" cy="53325"/>
            </a:xfrm>
            <a:custGeom>
              <a:avLst/>
              <a:gdLst/>
              <a:ahLst/>
              <a:cxnLst/>
              <a:rect l="l" t="t" r="r" b="b"/>
              <a:pathLst>
                <a:path w="2488" h="2133"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913" name="Google Shape;1913;p104"/>
            <p:cNvSpPr/>
            <p:nvPr/>
          </p:nvSpPr>
          <p:spPr>
            <a:xfrm>
              <a:off x="2904375" y="1418975"/>
              <a:ext cx="62200" cy="53350"/>
            </a:xfrm>
            <a:custGeom>
              <a:avLst/>
              <a:gdLst/>
              <a:ahLst/>
              <a:cxnLst/>
              <a:rect l="l" t="t" r="r" b="b"/>
              <a:pathLst>
                <a:path w="2488" h="2134" extrusionOk="0">
                  <a:moveTo>
                    <a:pt x="1065" y="1"/>
                  </a:moveTo>
                  <a:cubicBezTo>
                    <a:pt x="480" y="1"/>
                    <a:pt x="0" y="480"/>
                    <a:pt x="0" y="1065"/>
                  </a:cubicBezTo>
                  <a:cubicBezTo>
                    <a:pt x="0" y="1709"/>
                    <a:pt x="525" y="2133"/>
                    <a:pt x="1074" y="2133"/>
                  </a:cubicBezTo>
                  <a:cubicBezTo>
                    <a:pt x="1336" y="2133"/>
                    <a:pt x="1603" y="2037"/>
                    <a:pt x="1821" y="1822"/>
                  </a:cubicBezTo>
                  <a:cubicBezTo>
                    <a:pt x="2488" y="1147"/>
                    <a:pt x="2016" y="1"/>
                    <a:pt x="1065"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914" name="Google Shape;1914;p104"/>
            <p:cNvSpPr/>
            <p:nvPr/>
          </p:nvSpPr>
          <p:spPr>
            <a:xfrm>
              <a:off x="2904375" y="1342750"/>
              <a:ext cx="62200" cy="53450"/>
            </a:xfrm>
            <a:custGeom>
              <a:avLst/>
              <a:gdLst/>
              <a:ahLst/>
              <a:cxnLst/>
              <a:rect l="l" t="t" r="r" b="b"/>
              <a:pathLst>
                <a:path w="2488" h="2138" extrusionOk="0">
                  <a:moveTo>
                    <a:pt x="1065" y="1"/>
                  </a:moveTo>
                  <a:cubicBezTo>
                    <a:pt x="480" y="1"/>
                    <a:pt x="0" y="481"/>
                    <a:pt x="0" y="1066"/>
                  </a:cubicBezTo>
                  <a:cubicBezTo>
                    <a:pt x="0" y="1710"/>
                    <a:pt x="525" y="2138"/>
                    <a:pt x="1074" y="2138"/>
                  </a:cubicBezTo>
                  <a:cubicBezTo>
                    <a:pt x="1336" y="2138"/>
                    <a:pt x="1603" y="2040"/>
                    <a:pt x="1821" y="1822"/>
                  </a:cubicBezTo>
                  <a:cubicBezTo>
                    <a:pt x="2488" y="1147"/>
                    <a:pt x="2016" y="1"/>
                    <a:pt x="1065"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915" name="Google Shape;1915;p104"/>
            <p:cNvSpPr/>
            <p:nvPr/>
          </p:nvSpPr>
          <p:spPr>
            <a:xfrm>
              <a:off x="2904375" y="1266550"/>
              <a:ext cx="62200" cy="53450"/>
            </a:xfrm>
            <a:custGeom>
              <a:avLst/>
              <a:gdLst/>
              <a:ahLst/>
              <a:cxnLst/>
              <a:rect l="l" t="t" r="r" b="b"/>
              <a:pathLst>
                <a:path w="2488" h="2138" extrusionOk="0">
                  <a:moveTo>
                    <a:pt x="1065" y="0"/>
                  </a:moveTo>
                  <a:cubicBezTo>
                    <a:pt x="480" y="9"/>
                    <a:pt x="0" y="480"/>
                    <a:pt x="0" y="1074"/>
                  </a:cubicBezTo>
                  <a:cubicBezTo>
                    <a:pt x="0" y="1711"/>
                    <a:pt x="525" y="2137"/>
                    <a:pt x="1073" y="2137"/>
                  </a:cubicBezTo>
                  <a:cubicBezTo>
                    <a:pt x="1335" y="2137"/>
                    <a:pt x="1603" y="2040"/>
                    <a:pt x="1821" y="1821"/>
                  </a:cubicBezTo>
                  <a:cubicBezTo>
                    <a:pt x="2488" y="1155"/>
                    <a:pt x="2016" y="0"/>
                    <a:pt x="1065"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916" name="Google Shape;1916;p104"/>
            <p:cNvSpPr/>
            <p:nvPr/>
          </p:nvSpPr>
          <p:spPr>
            <a:xfrm>
              <a:off x="2904375" y="1190550"/>
              <a:ext cx="62200" cy="53325"/>
            </a:xfrm>
            <a:custGeom>
              <a:avLst/>
              <a:gdLst/>
              <a:ahLst/>
              <a:cxnLst/>
              <a:rect l="l" t="t" r="r" b="b"/>
              <a:pathLst>
                <a:path w="2488" h="2133"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917" name="Google Shape;1917;p104"/>
            <p:cNvSpPr/>
            <p:nvPr/>
          </p:nvSpPr>
          <p:spPr>
            <a:xfrm>
              <a:off x="2904375" y="1114325"/>
              <a:ext cx="62200" cy="53350"/>
            </a:xfrm>
            <a:custGeom>
              <a:avLst/>
              <a:gdLst/>
              <a:ahLst/>
              <a:cxnLst/>
              <a:rect l="l" t="t" r="r" b="b"/>
              <a:pathLst>
                <a:path w="2488" h="2134" extrusionOk="0">
                  <a:moveTo>
                    <a:pt x="1065" y="1"/>
                  </a:moveTo>
                  <a:cubicBezTo>
                    <a:pt x="480" y="1"/>
                    <a:pt x="0" y="480"/>
                    <a:pt x="0" y="1065"/>
                  </a:cubicBezTo>
                  <a:cubicBezTo>
                    <a:pt x="0" y="1709"/>
                    <a:pt x="525" y="2133"/>
                    <a:pt x="1074" y="2133"/>
                  </a:cubicBezTo>
                  <a:cubicBezTo>
                    <a:pt x="1336" y="2133"/>
                    <a:pt x="1603" y="2037"/>
                    <a:pt x="1821" y="1822"/>
                  </a:cubicBezTo>
                  <a:cubicBezTo>
                    <a:pt x="2488" y="1147"/>
                    <a:pt x="2016" y="1"/>
                    <a:pt x="1065"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918" name="Google Shape;1918;p104"/>
            <p:cNvSpPr/>
            <p:nvPr/>
          </p:nvSpPr>
          <p:spPr>
            <a:xfrm>
              <a:off x="2904375" y="1038125"/>
              <a:ext cx="62200" cy="53325"/>
            </a:xfrm>
            <a:custGeom>
              <a:avLst/>
              <a:gdLst/>
              <a:ahLst/>
              <a:cxnLst/>
              <a:rect l="l" t="t" r="r" b="b"/>
              <a:pathLst>
                <a:path w="2488" h="2133"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919" name="Google Shape;1919;p104"/>
            <p:cNvSpPr/>
            <p:nvPr/>
          </p:nvSpPr>
          <p:spPr>
            <a:xfrm>
              <a:off x="2828150" y="1571400"/>
              <a:ext cx="62150" cy="53250"/>
            </a:xfrm>
            <a:custGeom>
              <a:avLst/>
              <a:gdLst/>
              <a:ahLst/>
              <a:cxnLst/>
              <a:rect l="l" t="t" r="r" b="b"/>
              <a:pathLst>
                <a:path w="2486" h="2130" extrusionOk="0">
                  <a:moveTo>
                    <a:pt x="1076" y="1"/>
                  </a:moveTo>
                  <a:cubicBezTo>
                    <a:pt x="1072" y="1"/>
                    <a:pt x="1069" y="1"/>
                    <a:pt x="1066" y="1"/>
                  </a:cubicBezTo>
                  <a:cubicBezTo>
                    <a:pt x="480" y="1"/>
                    <a:pt x="1" y="472"/>
                    <a:pt x="1" y="1066"/>
                  </a:cubicBezTo>
                  <a:cubicBezTo>
                    <a:pt x="1" y="1703"/>
                    <a:pt x="525" y="2129"/>
                    <a:pt x="1073" y="2129"/>
                  </a:cubicBezTo>
                  <a:cubicBezTo>
                    <a:pt x="1336" y="2129"/>
                    <a:pt x="1603" y="2032"/>
                    <a:pt x="1822" y="1813"/>
                  </a:cubicBezTo>
                  <a:cubicBezTo>
                    <a:pt x="2486" y="1149"/>
                    <a:pt x="2020" y="1"/>
                    <a:pt x="1076"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920" name="Google Shape;1920;p104"/>
            <p:cNvSpPr/>
            <p:nvPr/>
          </p:nvSpPr>
          <p:spPr>
            <a:xfrm>
              <a:off x="2828150" y="1495200"/>
              <a:ext cx="62225" cy="53325"/>
            </a:xfrm>
            <a:custGeom>
              <a:avLst/>
              <a:gdLst/>
              <a:ahLst/>
              <a:cxnLst/>
              <a:rect l="l" t="t" r="r" b="b"/>
              <a:pathLst>
                <a:path w="2489" h="2133" extrusionOk="0">
                  <a:moveTo>
                    <a:pt x="1066" y="0"/>
                  </a:moveTo>
                  <a:cubicBezTo>
                    <a:pt x="480" y="0"/>
                    <a:pt x="1" y="480"/>
                    <a:pt x="1" y="1065"/>
                  </a:cubicBezTo>
                  <a:cubicBezTo>
                    <a:pt x="1" y="1709"/>
                    <a:pt x="526" y="2133"/>
                    <a:pt x="1075" y="2133"/>
                  </a:cubicBezTo>
                  <a:cubicBezTo>
                    <a:pt x="1336" y="2133"/>
                    <a:pt x="1604" y="2036"/>
                    <a:pt x="1822" y="1821"/>
                  </a:cubicBezTo>
                  <a:cubicBezTo>
                    <a:pt x="2488" y="1146"/>
                    <a:pt x="2017" y="0"/>
                    <a:pt x="1066"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921" name="Google Shape;1921;p104"/>
            <p:cNvSpPr/>
            <p:nvPr/>
          </p:nvSpPr>
          <p:spPr>
            <a:xfrm>
              <a:off x="2828150" y="1418975"/>
              <a:ext cx="62225" cy="53350"/>
            </a:xfrm>
            <a:custGeom>
              <a:avLst/>
              <a:gdLst/>
              <a:ahLst/>
              <a:cxnLst/>
              <a:rect l="l" t="t" r="r" b="b"/>
              <a:pathLst>
                <a:path w="2489" h="2134" extrusionOk="0">
                  <a:moveTo>
                    <a:pt x="1066" y="1"/>
                  </a:moveTo>
                  <a:cubicBezTo>
                    <a:pt x="480" y="1"/>
                    <a:pt x="1" y="480"/>
                    <a:pt x="1" y="1065"/>
                  </a:cubicBezTo>
                  <a:cubicBezTo>
                    <a:pt x="1" y="1709"/>
                    <a:pt x="526" y="2133"/>
                    <a:pt x="1075" y="2133"/>
                  </a:cubicBezTo>
                  <a:cubicBezTo>
                    <a:pt x="1336" y="2133"/>
                    <a:pt x="1604" y="2037"/>
                    <a:pt x="1822" y="1822"/>
                  </a:cubicBezTo>
                  <a:cubicBezTo>
                    <a:pt x="2488" y="1147"/>
                    <a:pt x="2017" y="1"/>
                    <a:pt x="1066"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922" name="Google Shape;1922;p104"/>
            <p:cNvSpPr/>
            <p:nvPr/>
          </p:nvSpPr>
          <p:spPr>
            <a:xfrm>
              <a:off x="2828150" y="1342750"/>
              <a:ext cx="62225" cy="53450"/>
            </a:xfrm>
            <a:custGeom>
              <a:avLst/>
              <a:gdLst/>
              <a:ahLst/>
              <a:cxnLst/>
              <a:rect l="l" t="t" r="r" b="b"/>
              <a:pathLst>
                <a:path w="2489" h="2138" extrusionOk="0">
                  <a:moveTo>
                    <a:pt x="1066" y="1"/>
                  </a:moveTo>
                  <a:cubicBezTo>
                    <a:pt x="480" y="1"/>
                    <a:pt x="1" y="481"/>
                    <a:pt x="1" y="1066"/>
                  </a:cubicBezTo>
                  <a:cubicBezTo>
                    <a:pt x="1" y="1710"/>
                    <a:pt x="526" y="2138"/>
                    <a:pt x="1074" y="2138"/>
                  </a:cubicBezTo>
                  <a:cubicBezTo>
                    <a:pt x="1336" y="2138"/>
                    <a:pt x="1604" y="2040"/>
                    <a:pt x="1822" y="1822"/>
                  </a:cubicBezTo>
                  <a:cubicBezTo>
                    <a:pt x="2488" y="1147"/>
                    <a:pt x="2017" y="1"/>
                    <a:pt x="1066"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923" name="Google Shape;1923;p104"/>
            <p:cNvSpPr/>
            <p:nvPr/>
          </p:nvSpPr>
          <p:spPr>
            <a:xfrm>
              <a:off x="2828150" y="1266550"/>
              <a:ext cx="62225" cy="53450"/>
            </a:xfrm>
            <a:custGeom>
              <a:avLst/>
              <a:gdLst/>
              <a:ahLst/>
              <a:cxnLst/>
              <a:rect l="l" t="t" r="r" b="b"/>
              <a:pathLst>
                <a:path w="2489" h="2138" extrusionOk="0">
                  <a:moveTo>
                    <a:pt x="1066" y="0"/>
                  </a:moveTo>
                  <a:cubicBezTo>
                    <a:pt x="480" y="9"/>
                    <a:pt x="1" y="480"/>
                    <a:pt x="1" y="1074"/>
                  </a:cubicBezTo>
                  <a:cubicBezTo>
                    <a:pt x="1" y="1711"/>
                    <a:pt x="525" y="2137"/>
                    <a:pt x="1073" y="2137"/>
                  </a:cubicBezTo>
                  <a:cubicBezTo>
                    <a:pt x="1336" y="2137"/>
                    <a:pt x="1603" y="2040"/>
                    <a:pt x="1822" y="1821"/>
                  </a:cubicBezTo>
                  <a:cubicBezTo>
                    <a:pt x="2488" y="1155"/>
                    <a:pt x="2017" y="0"/>
                    <a:pt x="1066"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924" name="Google Shape;1924;p104"/>
            <p:cNvSpPr/>
            <p:nvPr/>
          </p:nvSpPr>
          <p:spPr>
            <a:xfrm>
              <a:off x="2828150" y="1190550"/>
              <a:ext cx="62225" cy="53325"/>
            </a:xfrm>
            <a:custGeom>
              <a:avLst/>
              <a:gdLst/>
              <a:ahLst/>
              <a:cxnLst/>
              <a:rect l="l" t="t" r="r" b="b"/>
              <a:pathLst>
                <a:path w="2489" h="2133" extrusionOk="0">
                  <a:moveTo>
                    <a:pt x="1066" y="0"/>
                  </a:moveTo>
                  <a:cubicBezTo>
                    <a:pt x="480" y="0"/>
                    <a:pt x="1" y="480"/>
                    <a:pt x="1" y="1065"/>
                  </a:cubicBezTo>
                  <a:cubicBezTo>
                    <a:pt x="1" y="1709"/>
                    <a:pt x="526" y="2133"/>
                    <a:pt x="1075" y="2133"/>
                  </a:cubicBezTo>
                  <a:cubicBezTo>
                    <a:pt x="1336" y="2133"/>
                    <a:pt x="1604" y="2036"/>
                    <a:pt x="1822" y="1821"/>
                  </a:cubicBezTo>
                  <a:cubicBezTo>
                    <a:pt x="2488" y="1146"/>
                    <a:pt x="2017" y="0"/>
                    <a:pt x="1066"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925" name="Google Shape;1925;p104"/>
            <p:cNvSpPr/>
            <p:nvPr/>
          </p:nvSpPr>
          <p:spPr>
            <a:xfrm>
              <a:off x="2828150" y="1114325"/>
              <a:ext cx="62225" cy="53350"/>
            </a:xfrm>
            <a:custGeom>
              <a:avLst/>
              <a:gdLst/>
              <a:ahLst/>
              <a:cxnLst/>
              <a:rect l="l" t="t" r="r" b="b"/>
              <a:pathLst>
                <a:path w="2489" h="2134" extrusionOk="0">
                  <a:moveTo>
                    <a:pt x="1066" y="1"/>
                  </a:moveTo>
                  <a:cubicBezTo>
                    <a:pt x="480" y="1"/>
                    <a:pt x="1" y="480"/>
                    <a:pt x="1" y="1065"/>
                  </a:cubicBezTo>
                  <a:cubicBezTo>
                    <a:pt x="1" y="1709"/>
                    <a:pt x="526" y="2133"/>
                    <a:pt x="1075" y="2133"/>
                  </a:cubicBezTo>
                  <a:cubicBezTo>
                    <a:pt x="1336" y="2133"/>
                    <a:pt x="1604" y="2037"/>
                    <a:pt x="1822" y="1822"/>
                  </a:cubicBezTo>
                  <a:cubicBezTo>
                    <a:pt x="2488" y="1147"/>
                    <a:pt x="2017" y="1"/>
                    <a:pt x="1066"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926" name="Google Shape;1926;p104"/>
            <p:cNvSpPr/>
            <p:nvPr/>
          </p:nvSpPr>
          <p:spPr>
            <a:xfrm>
              <a:off x="2828150" y="1038125"/>
              <a:ext cx="62225" cy="53325"/>
            </a:xfrm>
            <a:custGeom>
              <a:avLst/>
              <a:gdLst/>
              <a:ahLst/>
              <a:cxnLst/>
              <a:rect l="l" t="t" r="r" b="b"/>
              <a:pathLst>
                <a:path w="2489" h="2133" extrusionOk="0">
                  <a:moveTo>
                    <a:pt x="1066" y="0"/>
                  </a:moveTo>
                  <a:cubicBezTo>
                    <a:pt x="480" y="0"/>
                    <a:pt x="1" y="480"/>
                    <a:pt x="1" y="1065"/>
                  </a:cubicBezTo>
                  <a:cubicBezTo>
                    <a:pt x="1" y="1709"/>
                    <a:pt x="526" y="2133"/>
                    <a:pt x="1075" y="2133"/>
                  </a:cubicBezTo>
                  <a:cubicBezTo>
                    <a:pt x="1336" y="2133"/>
                    <a:pt x="1604" y="2036"/>
                    <a:pt x="1822" y="1821"/>
                  </a:cubicBezTo>
                  <a:cubicBezTo>
                    <a:pt x="2488" y="1146"/>
                    <a:pt x="2017" y="0"/>
                    <a:pt x="1066"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927" name="Google Shape;1927;p104"/>
            <p:cNvSpPr/>
            <p:nvPr/>
          </p:nvSpPr>
          <p:spPr>
            <a:xfrm>
              <a:off x="2751950" y="1571400"/>
              <a:ext cx="62200" cy="53250"/>
            </a:xfrm>
            <a:custGeom>
              <a:avLst/>
              <a:gdLst/>
              <a:ahLst/>
              <a:cxnLst/>
              <a:rect l="l" t="t" r="r" b="b"/>
              <a:pathLst>
                <a:path w="2488" h="2130" extrusionOk="0">
                  <a:moveTo>
                    <a:pt x="1065" y="1"/>
                  </a:moveTo>
                  <a:cubicBezTo>
                    <a:pt x="480" y="1"/>
                    <a:pt x="0" y="472"/>
                    <a:pt x="0" y="1066"/>
                  </a:cubicBezTo>
                  <a:cubicBezTo>
                    <a:pt x="0" y="1703"/>
                    <a:pt x="525" y="2129"/>
                    <a:pt x="1073" y="2129"/>
                  </a:cubicBezTo>
                  <a:cubicBezTo>
                    <a:pt x="1335" y="2129"/>
                    <a:pt x="1603" y="2032"/>
                    <a:pt x="1821" y="1813"/>
                  </a:cubicBezTo>
                  <a:cubicBezTo>
                    <a:pt x="2488" y="1147"/>
                    <a:pt x="2016" y="1"/>
                    <a:pt x="1065"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928" name="Google Shape;1928;p104"/>
            <p:cNvSpPr/>
            <p:nvPr/>
          </p:nvSpPr>
          <p:spPr>
            <a:xfrm>
              <a:off x="2751950" y="1495200"/>
              <a:ext cx="62200" cy="53325"/>
            </a:xfrm>
            <a:custGeom>
              <a:avLst/>
              <a:gdLst/>
              <a:ahLst/>
              <a:cxnLst/>
              <a:rect l="l" t="t" r="r" b="b"/>
              <a:pathLst>
                <a:path w="2488" h="2133"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929" name="Google Shape;1929;p104"/>
            <p:cNvSpPr/>
            <p:nvPr/>
          </p:nvSpPr>
          <p:spPr>
            <a:xfrm>
              <a:off x="2751950" y="1418975"/>
              <a:ext cx="62200" cy="53350"/>
            </a:xfrm>
            <a:custGeom>
              <a:avLst/>
              <a:gdLst/>
              <a:ahLst/>
              <a:cxnLst/>
              <a:rect l="l" t="t" r="r" b="b"/>
              <a:pathLst>
                <a:path w="2488" h="2134" extrusionOk="0">
                  <a:moveTo>
                    <a:pt x="1065" y="1"/>
                  </a:moveTo>
                  <a:cubicBezTo>
                    <a:pt x="480" y="1"/>
                    <a:pt x="0" y="480"/>
                    <a:pt x="0" y="1065"/>
                  </a:cubicBezTo>
                  <a:cubicBezTo>
                    <a:pt x="0" y="1709"/>
                    <a:pt x="525" y="2133"/>
                    <a:pt x="1074" y="2133"/>
                  </a:cubicBezTo>
                  <a:cubicBezTo>
                    <a:pt x="1336" y="2133"/>
                    <a:pt x="1603" y="2037"/>
                    <a:pt x="1821" y="1822"/>
                  </a:cubicBezTo>
                  <a:cubicBezTo>
                    <a:pt x="2488" y="1147"/>
                    <a:pt x="2016" y="1"/>
                    <a:pt x="1065"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930" name="Google Shape;1930;p104"/>
            <p:cNvSpPr/>
            <p:nvPr/>
          </p:nvSpPr>
          <p:spPr>
            <a:xfrm>
              <a:off x="2751950" y="1342750"/>
              <a:ext cx="62200" cy="53450"/>
            </a:xfrm>
            <a:custGeom>
              <a:avLst/>
              <a:gdLst/>
              <a:ahLst/>
              <a:cxnLst/>
              <a:rect l="l" t="t" r="r" b="b"/>
              <a:pathLst>
                <a:path w="2488" h="2138" extrusionOk="0">
                  <a:moveTo>
                    <a:pt x="1065" y="1"/>
                  </a:moveTo>
                  <a:cubicBezTo>
                    <a:pt x="480" y="1"/>
                    <a:pt x="0" y="481"/>
                    <a:pt x="0" y="1066"/>
                  </a:cubicBezTo>
                  <a:cubicBezTo>
                    <a:pt x="0" y="1710"/>
                    <a:pt x="525" y="2138"/>
                    <a:pt x="1074" y="2138"/>
                  </a:cubicBezTo>
                  <a:cubicBezTo>
                    <a:pt x="1336" y="2138"/>
                    <a:pt x="1603" y="2040"/>
                    <a:pt x="1821" y="1822"/>
                  </a:cubicBezTo>
                  <a:cubicBezTo>
                    <a:pt x="2488" y="1147"/>
                    <a:pt x="2016" y="1"/>
                    <a:pt x="1065"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931" name="Google Shape;1931;p104"/>
            <p:cNvSpPr/>
            <p:nvPr/>
          </p:nvSpPr>
          <p:spPr>
            <a:xfrm>
              <a:off x="2751950" y="1266550"/>
              <a:ext cx="62200" cy="53450"/>
            </a:xfrm>
            <a:custGeom>
              <a:avLst/>
              <a:gdLst/>
              <a:ahLst/>
              <a:cxnLst/>
              <a:rect l="l" t="t" r="r" b="b"/>
              <a:pathLst>
                <a:path w="2488" h="2138" extrusionOk="0">
                  <a:moveTo>
                    <a:pt x="1065" y="0"/>
                  </a:moveTo>
                  <a:cubicBezTo>
                    <a:pt x="480" y="9"/>
                    <a:pt x="0" y="480"/>
                    <a:pt x="0" y="1074"/>
                  </a:cubicBezTo>
                  <a:cubicBezTo>
                    <a:pt x="0" y="1711"/>
                    <a:pt x="525" y="2137"/>
                    <a:pt x="1073" y="2137"/>
                  </a:cubicBezTo>
                  <a:cubicBezTo>
                    <a:pt x="1335" y="2137"/>
                    <a:pt x="1603" y="2040"/>
                    <a:pt x="1821" y="1821"/>
                  </a:cubicBezTo>
                  <a:cubicBezTo>
                    <a:pt x="2488" y="1155"/>
                    <a:pt x="2016" y="0"/>
                    <a:pt x="1065"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932" name="Google Shape;1932;p104"/>
            <p:cNvSpPr/>
            <p:nvPr/>
          </p:nvSpPr>
          <p:spPr>
            <a:xfrm>
              <a:off x="2751950" y="1190550"/>
              <a:ext cx="62200" cy="53325"/>
            </a:xfrm>
            <a:custGeom>
              <a:avLst/>
              <a:gdLst/>
              <a:ahLst/>
              <a:cxnLst/>
              <a:rect l="l" t="t" r="r" b="b"/>
              <a:pathLst>
                <a:path w="2488" h="2133"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933" name="Google Shape;1933;p104"/>
            <p:cNvSpPr/>
            <p:nvPr/>
          </p:nvSpPr>
          <p:spPr>
            <a:xfrm>
              <a:off x="2751950" y="1114325"/>
              <a:ext cx="62200" cy="53350"/>
            </a:xfrm>
            <a:custGeom>
              <a:avLst/>
              <a:gdLst/>
              <a:ahLst/>
              <a:cxnLst/>
              <a:rect l="l" t="t" r="r" b="b"/>
              <a:pathLst>
                <a:path w="2488" h="2134" extrusionOk="0">
                  <a:moveTo>
                    <a:pt x="1065" y="1"/>
                  </a:moveTo>
                  <a:cubicBezTo>
                    <a:pt x="480" y="1"/>
                    <a:pt x="0" y="480"/>
                    <a:pt x="0" y="1065"/>
                  </a:cubicBezTo>
                  <a:cubicBezTo>
                    <a:pt x="0" y="1709"/>
                    <a:pt x="525" y="2133"/>
                    <a:pt x="1074" y="2133"/>
                  </a:cubicBezTo>
                  <a:cubicBezTo>
                    <a:pt x="1336" y="2133"/>
                    <a:pt x="1603" y="2037"/>
                    <a:pt x="1821" y="1822"/>
                  </a:cubicBezTo>
                  <a:cubicBezTo>
                    <a:pt x="2488" y="1147"/>
                    <a:pt x="2016" y="1"/>
                    <a:pt x="1065"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934" name="Google Shape;1934;p104"/>
            <p:cNvSpPr/>
            <p:nvPr/>
          </p:nvSpPr>
          <p:spPr>
            <a:xfrm>
              <a:off x="2751950" y="1038125"/>
              <a:ext cx="62200" cy="53325"/>
            </a:xfrm>
            <a:custGeom>
              <a:avLst/>
              <a:gdLst/>
              <a:ahLst/>
              <a:cxnLst/>
              <a:rect l="l" t="t" r="r" b="b"/>
              <a:pathLst>
                <a:path w="2488" h="2133"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935" name="Google Shape;1935;p104"/>
            <p:cNvSpPr/>
            <p:nvPr/>
          </p:nvSpPr>
          <p:spPr>
            <a:xfrm>
              <a:off x="2675925" y="1571400"/>
              <a:ext cx="62225" cy="53250"/>
            </a:xfrm>
            <a:custGeom>
              <a:avLst/>
              <a:gdLst/>
              <a:ahLst/>
              <a:cxnLst/>
              <a:rect l="l" t="t" r="r" b="b"/>
              <a:pathLst>
                <a:path w="2489" h="2130" extrusionOk="0">
                  <a:moveTo>
                    <a:pt x="1066" y="1"/>
                  </a:moveTo>
                  <a:cubicBezTo>
                    <a:pt x="472" y="1"/>
                    <a:pt x="1" y="472"/>
                    <a:pt x="1" y="1066"/>
                  </a:cubicBezTo>
                  <a:cubicBezTo>
                    <a:pt x="1" y="1703"/>
                    <a:pt x="525" y="2129"/>
                    <a:pt x="1071" y="2129"/>
                  </a:cubicBezTo>
                  <a:cubicBezTo>
                    <a:pt x="1332" y="2129"/>
                    <a:pt x="1598" y="2032"/>
                    <a:pt x="1814" y="1813"/>
                  </a:cubicBezTo>
                  <a:cubicBezTo>
                    <a:pt x="2488" y="1147"/>
                    <a:pt x="2017" y="1"/>
                    <a:pt x="1066"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936" name="Google Shape;1936;p104"/>
            <p:cNvSpPr/>
            <p:nvPr/>
          </p:nvSpPr>
          <p:spPr>
            <a:xfrm>
              <a:off x="2675925" y="1495200"/>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4" y="1821"/>
                  </a:cubicBezTo>
                  <a:cubicBezTo>
                    <a:pt x="2488" y="1146"/>
                    <a:pt x="2017" y="0"/>
                    <a:pt x="1066"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937" name="Google Shape;1937;p104"/>
            <p:cNvSpPr/>
            <p:nvPr/>
          </p:nvSpPr>
          <p:spPr>
            <a:xfrm>
              <a:off x="2675925" y="1418975"/>
              <a:ext cx="62225" cy="53350"/>
            </a:xfrm>
            <a:custGeom>
              <a:avLst/>
              <a:gdLst/>
              <a:ahLst/>
              <a:cxnLst/>
              <a:rect l="l" t="t" r="r" b="b"/>
              <a:pathLst>
                <a:path w="2489" h="2134" extrusionOk="0">
                  <a:moveTo>
                    <a:pt x="1066" y="1"/>
                  </a:moveTo>
                  <a:cubicBezTo>
                    <a:pt x="472" y="1"/>
                    <a:pt x="1" y="480"/>
                    <a:pt x="1" y="1065"/>
                  </a:cubicBezTo>
                  <a:cubicBezTo>
                    <a:pt x="1" y="1709"/>
                    <a:pt x="526" y="2133"/>
                    <a:pt x="1072" y="2133"/>
                  </a:cubicBezTo>
                  <a:cubicBezTo>
                    <a:pt x="1333" y="2133"/>
                    <a:pt x="1598" y="2037"/>
                    <a:pt x="1814" y="1822"/>
                  </a:cubicBezTo>
                  <a:cubicBezTo>
                    <a:pt x="2488" y="1147"/>
                    <a:pt x="2017" y="1"/>
                    <a:pt x="1066"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938" name="Google Shape;1938;p104"/>
            <p:cNvSpPr/>
            <p:nvPr/>
          </p:nvSpPr>
          <p:spPr>
            <a:xfrm>
              <a:off x="2675925" y="1342750"/>
              <a:ext cx="62225" cy="53450"/>
            </a:xfrm>
            <a:custGeom>
              <a:avLst/>
              <a:gdLst/>
              <a:ahLst/>
              <a:cxnLst/>
              <a:rect l="l" t="t" r="r" b="b"/>
              <a:pathLst>
                <a:path w="2489" h="2138" extrusionOk="0">
                  <a:moveTo>
                    <a:pt x="1066" y="1"/>
                  </a:moveTo>
                  <a:cubicBezTo>
                    <a:pt x="472" y="1"/>
                    <a:pt x="1" y="481"/>
                    <a:pt x="1" y="1066"/>
                  </a:cubicBezTo>
                  <a:cubicBezTo>
                    <a:pt x="1" y="1710"/>
                    <a:pt x="526" y="2138"/>
                    <a:pt x="1072" y="2138"/>
                  </a:cubicBezTo>
                  <a:cubicBezTo>
                    <a:pt x="1333" y="2138"/>
                    <a:pt x="1598" y="2040"/>
                    <a:pt x="1814" y="1822"/>
                  </a:cubicBezTo>
                  <a:cubicBezTo>
                    <a:pt x="2488" y="1147"/>
                    <a:pt x="2017" y="1"/>
                    <a:pt x="1066"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939" name="Google Shape;1939;p104"/>
            <p:cNvSpPr/>
            <p:nvPr/>
          </p:nvSpPr>
          <p:spPr>
            <a:xfrm>
              <a:off x="2675925" y="1266550"/>
              <a:ext cx="62225" cy="53450"/>
            </a:xfrm>
            <a:custGeom>
              <a:avLst/>
              <a:gdLst/>
              <a:ahLst/>
              <a:cxnLst/>
              <a:rect l="l" t="t" r="r" b="b"/>
              <a:pathLst>
                <a:path w="2489" h="2138" extrusionOk="0">
                  <a:moveTo>
                    <a:pt x="1066" y="0"/>
                  </a:moveTo>
                  <a:cubicBezTo>
                    <a:pt x="472" y="9"/>
                    <a:pt x="1" y="480"/>
                    <a:pt x="1" y="1074"/>
                  </a:cubicBezTo>
                  <a:cubicBezTo>
                    <a:pt x="1" y="1711"/>
                    <a:pt x="525" y="2137"/>
                    <a:pt x="1071" y="2137"/>
                  </a:cubicBezTo>
                  <a:cubicBezTo>
                    <a:pt x="1332" y="2137"/>
                    <a:pt x="1598" y="2040"/>
                    <a:pt x="1814" y="1821"/>
                  </a:cubicBezTo>
                  <a:cubicBezTo>
                    <a:pt x="2488" y="1155"/>
                    <a:pt x="2017" y="0"/>
                    <a:pt x="1066"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940" name="Google Shape;1940;p104"/>
            <p:cNvSpPr/>
            <p:nvPr/>
          </p:nvSpPr>
          <p:spPr>
            <a:xfrm>
              <a:off x="2675925" y="1190550"/>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4" y="1821"/>
                  </a:cubicBezTo>
                  <a:cubicBezTo>
                    <a:pt x="2488" y="1146"/>
                    <a:pt x="2017" y="0"/>
                    <a:pt x="1066"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941" name="Google Shape;1941;p104"/>
            <p:cNvSpPr/>
            <p:nvPr/>
          </p:nvSpPr>
          <p:spPr>
            <a:xfrm>
              <a:off x="2675925" y="1114325"/>
              <a:ext cx="62225" cy="53350"/>
            </a:xfrm>
            <a:custGeom>
              <a:avLst/>
              <a:gdLst/>
              <a:ahLst/>
              <a:cxnLst/>
              <a:rect l="l" t="t" r="r" b="b"/>
              <a:pathLst>
                <a:path w="2489" h="2134" extrusionOk="0">
                  <a:moveTo>
                    <a:pt x="1066" y="1"/>
                  </a:moveTo>
                  <a:cubicBezTo>
                    <a:pt x="472" y="1"/>
                    <a:pt x="1" y="480"/>
                    <a:pt x="1" y="1065"/>
                  </a:cubicBezTo>
                  <a:cubicBezTo>
                    <a:pt x="1" y="1709"/>
                    <a:pt x="526" y="2133"/>
                    <a:pt x="1072" y="2133"/>
                  </a:cubicBezTo>
                  <a:cubicBezTo>
                    <a:pt x="1333" y="2133"/>
                    <a:pt x="1598" y="2037"/>
                    <a:pt x="1814" y="1822"/>
                  </a:cubicBezTo>
                  <a:cubicBezTo>
                    <a:pt x="2488" y="1147"/>
                    <a:pt x="2017" y="1"/>
                    <a:pt x="1066"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942" name="Google Shape;1942;p104"/>
            <p:cNvSpPr/>
            <p:nvPr/>
          </p:nvSpPr>
          <p:spPr>
            <a:xfrm>
              <a:off x="2675925" y="1038125"/>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4" y="1821"/>
                  </a:cubicBezTo>
                  <a:cubicBezTo>
                    <a:pt x="2488" y="1146"/>
                    <a:pt x="2017" y="0"/>
                    <a:pt x="1066"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943" name="Google Shape;1943;p104"/>
            <p:cNvSpPr/>
            <p:nvPr/>
          </p:nvSpPr>
          <p:spPr>
            <a:xfrm>
              <a:off x="2599725" y="1647400"/>
              <a:ext cx="62200" cy="53450"/>
            </a:xfrm>
            <a:custGeom>
              <a:avLst/>
              <a:gdLst/>
              <a:ahLst/>
              <a:cxnLst/>
              <a:rect l="l" t="t" r="r" b="b"/>
              <a:pathLst>
                <a:path w="2488" h="2138" extrusionOk="0">
                  <a:moveTo>
                    <a:pt x="1065" y="1"/>
                  </a:moveTo>
                  <a:cubicBezTo>
                    <a:pt x="480" y="9"/>
                    <a:pt x="0" y="481"/>
                    <a:pt x="0" y="1066"/>
                  </a:cubicBezTo>
                  <a:cubicBezTo>
                    <a:pt x="0" y="1710"/>
                    <a:pt x="525" y="2138"/>
                    <a:pt x="1074" y="2138"/>
                  </a:cubicBezTo>
                  <a:cubicBezTo>
                    <a:pt x="1336" y="2138"/>
                    <a:pt x="1603" y="2040"/>
                    <a:pt x="1821" y="1822"/>
                  </a:cubicBezTo>
                  <a:cubicBezTo>
                    <a:pt x="2488" y="1147"/>
                    <a:pt x="2016" y="1"/>
                    <a:pt x="1065"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944" name="Google Shape;1944;p104"/>
            <p:cNvSpPr/>
            <p:nvPr/>
          </p:nvSpPr>
          <p:spPr>
            <a:xfrm>
              <a:off x="2599725" y="1571400"/>
              <a:ext cx="62200" cy="53250"/>
            </a:xfrm>
            <a:custGeom>
              <a:avLst/>
              <a:gdLst/>
              <a:ahLst/>
              <a:cxnLst/>
              <a:rect l="l" t="t" r="r" b="b"/>
              <a:pathLst>
                <a:path w="2488" h="2130" extrusionOk="0">
                  <a:moveTo>
                    <a:pt x="1065" y="1"/>
                  </a:moveTo>
                  <a:cubicBezTo>
                    <a:pt x="480" y="1"/>
                    <a:pt x="0" y="472"/>
                    <a:pt x="0" y="1066"/>
                  </a:cubicBezTo>
                  <a:cubicBezTo>
                    <a:pt x="0" y="1703"/>
                    <a:pt x="525" y="2129"/>
                    <a:pt x="1073" y="2129"/>
                  </a:cubicBezTo>
                  <a:cubicBezTo>
                    <a:pt x="1335" y="2129"/>
                    <a:pt x="1603" y="2032"/>
                    <a:pt x="1821" y="1813"/>
                  </a:cubicBezTo>
                  <a:cubicBezTo>
                    <a:pt x="2488" y="1147"/>
                    <a:pt x="2016" y="1"/>
                    <a:pt x="1065"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945" name="Google Shape;1945;p104"/>
            <p:cNvSpPr/>
            <p:nvPr/>
          </p:nvSpPr>
          <p:spPr>
            <a:xfrm>
              <a:off x="2599725" y="1495200"/>
              <a:ext cx="62200" cy="53325"/>
            </a:xfrm>
            <a:custGeom>
              <a:avLst/>
              <a:gdLst/>
              <a:ahLst/>
              <a:cxnLst/>
              <a:rect l="l" t="t" r="r" b="b"/>
              <a:pathLst>
                <a:path w="2488" h="2133"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946" name="Google Shape;1946;p104"/>
            <p:cNvSpPr/>
            <p:nvPr/>
          </p:nvSpPr>
          <p:spPr>
            <a:xfrm>
              <a:off x="2599725" y="1418975"/>
              <a:ext cx="62200" cy="53350"/>
            </a:xfrm>
            <a:custGeom>
              <a:avLst/>
              <a:gdLst/>
              <a:ahLst/>
              <a:cxnLst/>
              <a:rect l="l" t="t" r="r" b="b"/>
              <a:pathLst>
                <a:path w="2488" h="2134" extrusionOk="0">
                  <a:moveTo>
                    <a:pt x="1065" y="1"/>
                  </a:moveTo>
                  <a:cubicBezTo>
                    <a:pt x="480" y="1"/>
                    <a:pt x="0" y="480"/>
                    <a:pt x="0" y="1065"/>
                  </a:cubicBezTo>
                  <a:cubicBezTo>
                    <a:pt x="0" y="1709"/>
                    <a:pt x="525" y="2133"/>
                    <a:pt x="1074" y="2133"/>
                  </a:cubicBezTo>
                  <a:cubicBezTo>
                    <a:pt x="1336" y="2133"/>
                    <a:pt x="1603" y="2037"/>
                    <a:pt x="1821" y="1822"/>
                  </a:cubicBezTo>
                  <a:cubicBezTo>
                    <a:pt x="2488" y="1147"/>
                    <a:pt x="2016" y="1"/>
                    <a:pt x="1065"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947" name="Google Shape;1947;p104"/>
            <p:cNvSpPr/>
            <p:nvPr/>
          </p:nvSpPr>
          <p:spPr>
            <a:xfrm>
              <a:off x="2599725" y="1342750"/>
              <a:ext cx="62200" cy="53450"/>
            </a:xfrm>
            <a:custGeom>
              <a:avLst/>
              <a:gdLst/>
              <a:ahLst/>
              <a:cxnLst/>
              <a:rect l="l" t="t" r="r" b="b"/>
              <a:pathLst>
                <a:path w="2488" h="2138" extrusionOk="0">
                  <a:moveTo>
                    <a:pt x="1065" y="1"/>
                  </a:moveTo>
                  <a:cubicBezTo>
                    <a:pt x="480" y="1"/>
                    <a:pt x="0" y="481"/>
                    <a:pt x="0" y="1066"/>
                  </a:cubicBezTo>
                  <a:cubicBezTo>
                    <a:pt x="0" y="1710"/>
                    <a:pt x="525" y="2138"/>
                    <a:pt x="1074" y="2138"/>
                  </a:cubicBezTo>
                  <a:cubicBezTo>
                    <a:pt x="1336" y="2138"/>
                    <a:pt x="1603" y="2040"/>
                    <a:pt x="1821" y="1822"/>
                  </a:cubicBezTo>
                  <a:cubicBezTo>
                    <a:pt x="2488" y="1147"/>
                    <a:pt x="2016" y="1"/>
                    <a:pt x="1065"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948" name="Google Shape;1948;p104"/>
            <p:cNvSpPr/>
            <p:nvPr/>
          </p:nvSpPr>
          <p:spPr>
            <a:xfrm>
              <a:off x="2599725" y="1266550"/>
              <a:ext cx="62200" cy="53450"/>
            </a:xfrm>
            <a:custGeom>
              <a:avLst/>
              <a:gdLst/>
              <a:ahLst/>
              <a:cxnLst/>
              <a:rect l="l" t="t" r="r" b="b"/>
              <a:pathLst>
                <a:path w="2488" h="2138" extrusionOk="0">
                  <a:moveTo>
                    <a:pt x="1065" y="0"/>
                  </a:moveTo>
                  <a:cubicBezTo>
                    <a:pt x="480" y="9"/>
                    <a:pt x="0" y="480"/>
                    <a:pt x="0" y="1074"/>
                  </a:cubicBezTo>
                  <a:cubicBezTo>
                    <a:pt x="0" y="1711"/>
                    <a:pt x="525" y="2137"/>
                    <a:pt x="1073" y="2137"/>
                  </a:cubicBezTo>
                  <a:cubicBezTo>
                    <a:pt x="1335" y="2137"/>
                    <a:pt x="1603" y="2040"/>
                    <a:pt x="1821" y="1821"/>
                  </a:cubicBezTo>
                  <a:cubicBezTo>
                    <a:pt x="2488" y="1155"/>
                    <a:pt x="2016" y="0"/>
                    <a:pt x="1065"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949" name="Google Shape;1949;p104"/>
            <p:cNvSpPr/>
            <p:nvPr/>
          </p:nvSpPr>
          <p:spPr>
            <a:xfrm>
              <a:off x="2599725" y="1190550"/>
              <a:ext cx="62200" cy="53325"/>
            </a:xfrm>
            <a:custGeom>
              <a:avLst/>
              <a:gdLst/>
              <a:ahLst/>
              <a:cxnLst/>
              <a:rect l="l" t="t" r="r" b="b"/>
              <a:pathLst>
                <a:path w="2488" h="2133"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950" name="Google Shape;1950;p104"/>
            <p:cNvSpPr/>
            <p:nvPr/>
          </p:nvSpPr>
          <p:spPr>
            <a:xfrm>
              <a:off x="2599725" y="1114325"/>
              <a:ext cx="62200" cy="53350"/>
            </a:xfrm>
            <a:custGeom>
              <a:avLst/>
              <a:gdLst/>
              <a:ahLst/>
              <a:cxnLst/>
              <a:rect l="l" t="t" r="r" b="b"/>
              <a:pathLst>
                <a:path w="2488" h="2134" extrusionOk="0">
                  <a:moveTo>
                    <a:pt x="1065" y="1"/>
                  </a:moveTo>
                  <a:cubicBezTo>
                    <a:pt x="480" y="1"/>
                    <a:pt x="0" y="480"/>
                    <a:pt x="0" y="1065"/>
                  </a:cubicBezTo>
                  <a:cubicBezTo>
                    <a:pt x="0" y="1709"/>
                    <a:pt x="525" y="2133"/>
                    <a:pt x="1074" y="2133"/>
                  </a:cubicBezTo>
                  <a:cubicBezTo>
                    <a:pt x="1336" y="2133"/>
                    <a:pt x="1603" y="2037"/>
                    <a:pt x="1821" y="1822"/>
                  </a:cubicBezTo>
                  <a:cubicBezTo>
                    <a:pt x="2488" y="1147"/>
                    <a:pt x="2016" y="1"/>
                    <a:pt x="1065"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951" name="Google Shape;1951;p104"/>
            <p:cNvSpPr/>
            <p:nvPr/>
          </p:nvSpPr>
          <p:spPr>
            <a:xfrm>
              <a:off x="2599725" y="1038125"/>
              <a:ext cx="62200" cy="53325"/>
            </a:xfrm>
            <a:custGeom>
              <a:avLst/>
              <a:gdLst/>
              <a:ahLst/>
              <a:cxnLst/>
              <a:rect l="l" t="t" r="r" b="b"/>
              <a:pathLst>
                <a:path w="2488" h="2133"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952" name="Google Shape;1952;p104"/>
            <p:cNvSpPr/>
            <p:nvPr/>
          </p:nvSpPr>
          <p:spPr>
            <a:xfrm>
              <a:off x="2523500" y="1723625"/>
              <a:ext cx="62225" cy="53350"/>
            </a:xfrm>
            <a:custGeom>
              <a:avLst/>
              <a:gdLst/>
              <a:ahLst/>
              <a:cxnLst/>
              <a:rect l="l" t="t" r="r" b="b"/>
              <a:pathLst>
                <a:path w="2489" h="2134" extrusionOk="0">
                  <a:moveTo>
                    <a:pt x="1066" y="1"/>
                  </a:moveTo>
                  <a:cubicBezTo>
                    <a:pt x="480" y="1"/>
                    <a:pt x="1" y="480"/>
                    <a:pt x="1" y="1065"/>
                  </a:cubicBezTo>
                  <a:cubicBezTo>
                    <a:pt x="1" y="1709"/>
                    <a:pt x="526" y="2133"/>
                    <a:pt x="1075" y="2133"/>
                  </a:cubicBezTo>
                  <a:cubicBezTo>
                    <a:pt x="1336" y="2133"/>
                    <a:pt x="1604" y="2037"/>
                    <a:pt x="1822" y="1822"/>
                  </a:cubicBezTo>
                  <a:cubicBezTo>
                    <a:pt x="2488" y="1147"/>
                    <a:pt x="2017" y="1"/>
                    <a:pt x="1066"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953" name="Google Shape;1953;p104"/>
            <p:cNvSpPr/>
            <p:nvPr/>
          </p:nvSpPr>
          <p:spPr>
            <a:xfrm>
              <a:off x="2523500" y="1647400"/>
              <a:ext cx="62225" cy="53450"/>
            </a:xfrm>
            <a:custGeom>
              <a:avLst/>
              <a:gdLst/>
              <a:ahLst/>
              <a:cxnLst/>
              <a:rect l="l" t="t" r="r" b="b"/>
              <a:pathLst>
                <a:path w="2489" h="2138" extrusionOk="0">
                  <a:moveTo>
                    <a:pt x="1066" y="1"/>
                  </a:moveTo>
                  <a:cubicBezTo>
                    <a:pt x="480" y="1"/>
                    <a:pt x="1" y="481"/>
                    <a:pt x="1" y="1066"/>
                  </a:cubicBezTo>
                  <a:cubicBezTo>
                    <a:pt x="1" y="1710"/>
                    <a:pt x="526" y="2138"/>
                    <a:pt x="1074" y="2138"/>
                  </a:cubicBezTo>
                  <a:cubicBezTo>
                    <a:pt x="1336" y="2138"/>
                    <a:pt x="1604" y="2040"/>
                    <a:pt x="1822" y="1822"/>
                  </a:cubicBezTo>
                  <a:cubicBezTo>
                    <a:pt x="2488" y="1147"/>
                    <a:pt x="2017" y="1"/>
                    <a:pt x="1066"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954" name="Google Shape;1954;p104"/>
            <p:cNvSpPr/>
            <p:nvPr/>
          </p:nvSpPr>
          <p:spPr>
            <a:xfrm>
              <a:off x="2523500" y="1571400"/>
              <a:ext cx="62225" cy="53250"/>
            </a:xfrm>
            <a:custGeom>
              <a:avLst/>
              <a:gdLst/>
              <a:ahLst/>
              <a:cxnLst/>
              <a:rect l="l" t="t" r="r" b="b"/>
              <a:pathLst>
                <a:path w="2489" h="2130" extrusionOk="0">
                  <a:moveTo>
                    <a:pt x="1066" y="1"/>
                  </a:moveTo>
                  <a:cubicBezTo>
                    <a:pt x="480" y="1"/>
                    <a:pt x="1" y="472"/>
                    <a:pt x="1" y="1066"/>
                  </a:cubicBezTo>
                  <a:cubicBezTo>
                    <a:pt x="1" y="1703"/>
                    <a:pt x="525" y="2129"/>
                    <a:pt x="1073" y="2129"/>
                  </a:cubicBezTo>
                  <a:cubicBezTo>
                    <a:pt x="1336" y="2129"/>
                    <a:pt x="1603" y="2032"/>
                    <a:pt x="1822" y="1813"/>
                  </a:cubicBezTo>
                  <a:cubicBezTo>
                    <a:pt x="2488" y="1147"/>
                    <a:pt x="2017" y="1"/>
                    <a:pt x="1066"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955" name="Google Shape;1955;p104"/>
            <p:cNvSpPr/>
            <p:nvPr/>
          </p:nvSpPr>
          <p:spPr>
            <a:xfrm>
              <a:off x="2523500" y="1495200"/>
              <a:ext cx="62225" cy="53325"/>
            </a:xfrm>
            <a:custGeom>
              <a:avLst/>
              <a:gdLst/>
              <a:ahLst/>
              <a:cxnLst/>
              <a:rect l="l" t="t" r="r" b="b"/>
              <a:pathLst>
                <a:path w="2489" h="2133" extrusionOk="0">
                  <a:moveTo>
                    <a:pt x="1066" y="0"/>
                  </a:moveTo>
                  <a:cubicBezTo>
                    <a:pt x="480" y="0"/>
                    <a:pt x="1" y="480"/>
                    <a:pt x="1" y="1065"/>
                  </a:cubicBezTo>
                  <a:cubicBezTo>
                    <a:pt x="1" y="1709"/>
                    <a:pt x="526" y="2133"/>
                    <a:pt x="1075" y="2133"/>
                  </a:cubicBezTo>
                  <a:cubicBezTo>
                    <a:pt x="1336" y="2133"/>
                    <a:pt x="1604" y="2036"/>
                    <a:pt x="1822" y="1821"/>
                  </a:cubicBezTo>
                  <a:cubicBezTo>
                    <a:pt x="2488" y="1146"/>
                    <a:pt x="2017" y="0"/>
                    <a:pt x="1066"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956" name="Google Shape;1956;p104"/>
            <p:cNvSpPr/>
            <p:nvPr/>
          </p:nvSpPr>
          <p:spPr>
            <a:xfrm>
              <a:off x="2523500" y="1418975"/>
              <a:ext cx="62225" cy="53350"/>
            </a:xfrm>
            <a:custGeom>
              <a:avLst/>
              <a:gdLst/>
              <a:ahLst/>
              <a:cxnLst/>
              <a:rect l="l" t="t" r="r" b="b"/>
              <a:pathLst>
                <a:path w="2489" h="2134" extrusionOk="0">
                  <a:moveTo>
                    <a:pt x="1066" y="1"/>
                  </a:moveTo>
                  <a:cubicBezTo>
                    <a:pt x="480" y="1"/>
                    <a:pt x="1" y="480"/>
                    <a:pt x="1" y="1065"/>
                  </a:cubicBezTo>
                  <a:cubicBezTo>
                    <a:pt x="1" y="1709"/>
                    <a:pt x="526" y="2133"/>
                    <a:pt x="1075" y="2133"/>
                  </a:cubicBezTo>
                  <a:cubicBezTo>
                    <a:pt x="1336" y="2133"/>
                    <a:pt x="1604" y="2037"/>
                    <a:pt x="1822" y="1822"/>
                  </a:cubicBezTo>
                  <a:cubicBezTo>
                    <a:pt x="2488" y="1147"/>
                    <a:pt x="2017" y="1"/>
                    <a:pt x="1066"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957" name="Google Shape;1957;p104"/>
            <p:cNvSpPr/>
            <p:nvPr/>
          </p:nvSpPr>
          <p:spPr>
            <a:xfrm>
              <a:off x="2523500" y="1342750"/>
              <a:ext cx="62225" cy="53450"/>
            </a:xfrm>
            <a:custGeom>
              <a:avLst/>
              <a:gdLst/>
              <a:ahLst/>
              <a:cxnLst/>
              <a:rect l="l" t="t" r="r" b="b"/>
              <a:pathLst>
                <a:path w="2489" h="2138" extrusionOk="0">
                  <a:moveTo>
                    <a:pt x="1066" y="1"/>
                  </a:moveTo>
                  <a:cubicBezTo>
                    <a:pt x="480" y="1"/>
                    <a:pt x="1" y="481"/>
                    <a:pt x="1" y="1066"/>
                  </a:cubicBezTo>
                  <a:cubicBezTo>
                    <a:pt x="1" y="1710"/>
                    <a:pt x="526" y="2138"/>
                    <a:pt x="1074" y="2138"/>
                  </a:cubicBezTo>
                  <a:cubicBezTo>
                    <a:pt x="1336" y="2138"/>
                    <a:pt x="1604" y="2040"/>
                    <a:pt x="1822" y="1822"/>
                  </a:cubicBezTo>
                  <a:cubicBezTo>
                    <a:pt x="2488" y="1147"/>
                    <a:pt x="2017" y="1"/>
                    <a:pt x="1066"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958" name="Google Shape;1958;p104"/>
            <p:cNvSpPr/>
            <p:nvPr/>
          </p:nvSpPr>
          <p:spPr>
            <a:xfrm>
              <a:off x="2523500" y="1266550"/>
              <a:ext cx="62225" cy="53450"/>
            </a:xfrm>
            <a:custGeom>
              <a:avLst/>
              <a:gdLst/>
              <a:ahLst/>
              <a:cxnLst/>
              <a:rect l="l" t="t" r="r" b="b"/>
              <a:pathLst>
                <a:path w="2489" h="2138" extrusionOk="0">
                  <a:moveTo>
                    <a:pt x="1066" y="0"/>
                  </a:moveTo>
                  <a:cubicBezTo>
                    <a:pt x="480" y="9"/>
                    <a:pt x="1" y="480"/>
                    <a:pt x="1" y="1074"/>
                  </a:cubicBezTo>
                  <a:cubicBezTo>
                    <a:pt x="1" y="1711"/>
                    <a:pt x="525" y="2137"/>
                    <a:pt x="1073" y="2137"/>
                  </a:cubicBezTo>
                  <a:cubicBezTo>
                    <a:pt x="1336" y="2137"/>
                    <a:pt x="1603" y="2040"/>
                    <a:pt x="1822" y="1821"/>
                  </a:cubicBezTo>
                  <a:cubicBezTo>
                    <a:pt x="2488" y="1155"/>
                    <a:pt x="2017" y="0"/>
                    <a:pt x="1066"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959" name="Google Shape;1959;p104"/>
            <p:cNvSpPr/>
            <p:nvPr/>
          </p:nvSpPr>
          <p:spPr>
            <a:xfrm>
              <a:off x="2523500" y="1190550"/>
              <a:ext cx="62225" cy="53425"/>
            </a:xfrm>
            <a:custGeom>
              <a:avLst/>
              <a:gdLst/>
              <a:ahLst/>
              <a:cxnLst/>
              <a:rect l="l" t="t" r="r" b="b"/>
              <a:pathLst>
                <a:path w="2489" h="2137" extrusionOk="0">
                  <a:moveTo>
                    <a:pt x="1066" y="0"/>
                  </a:moveTo>
                  <a:cubicBezTo>
                    <a:pt x="480" y="0"/>
                    <a:pt x="1" y="480"/>
                    <a:pt x="1" y="1065"/>
                  </a:cubicBezTo>
                  <a:cubicBezTo>
                    <a:pt x="1" y="1709"/>
                    <a:pt x="526" y="2137"/>
                    <a:pt x="1074" y="2137"/>
                  </a:cubicBezTo>
                  <a:cubicBezTo>
                    <a:pt x="1336" y="2137"/>
                    <a:pt x="1604" y="2039"/>
                    <a:pt x="1822" y="1821"/>
                  </a:cubicBezTo>
                  <a:cubicBezTo>
                    <a:pt x="2488" y="1146"/>
                    <a:pt x="2017" y="0"/>
                    <a:pt x="1066"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960" name="Google Shape;1960;p104"/>
            <p:cNvSpPr/>
            <p:nvPr/>
          </p:nvSpPr>
          <p:spPr>
            <a:xfrm>
              <a:off x="2523500" y="1114325"/>
              <a:ext cx="62225" cy="53350"/>
            </a:xfrm>
            <a:custGeom>
              <a:avLst/>
              <a:gdLst/>
              <a:ahLst/>
              <a:cxnLst/>
              <a:rect l="l" t="t" r="r" b="b"/>
              <a:pathLst>
                <a:path w="2489" h="2134" extrusionOk="0">
                  <a:moveTo>
                    <a:pt x="1066" y="1"/>
                  </a:moveTo>
                  <a:cubicBezTo>
                    <a:pt x="480" y="1"/>
                    <a:pt x="1" y="480"/>
                    <a:pt x="1" y="1065"/>
                  </a:cubicBezTo>
                  <a:cubicBezTo>
                    <a:pt x="1" y="1709"/>
                    <a:pt x="526" y="2133"/>
                    <a:pt x="1075" y="2133"/>
                  </a:cubicBezTo>
                  <a:cubicBezTo>
                    <a:pt x="1336" y="2133"/>
                    <a:pt x="1604" y="2037"/>
                    <a:pt x="1822" y="1822"/>
                  </a:cubicBezTo>
                  <a:cubicBezTo>
                    <a:pt x="2488" y="1147"/>
                    <a:pt x="2017" y="1"/>
                    <a:pt x="1066"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961" name="Google Shape;1961;p104"/>
            <p:cNvSpPr/>
            <p:nvPr/>
          </p:nvSpPr>
          <p:spPr>
            <a:xfrm>
              <a:off x="2523500" y="1038125"/>
              <a:ext cx="62225" cy="53325"/>
            </a:xfrm>
            <a:custGeom>
              <a:avLst/>
              <a:gdLst/>
              <a:ahLst/>
              <a:cxnLst/>
              <a:rect l="l" t="t" r="r" b="b"/>
              <a:pathLst>
                <a:path w="2489" h="2133" extrusionOk="0">
                  <a:moveTo>
                    <a:pt x="1066" y="0"/>
                  </a:moveTo>
                  <a:cubicBezTo>
                    <a:pt x="480" y="0"/>
                    <a:pt x="1" y="480"/>
                    <a:pt x="1" y="1065"/>
                  </a:cubicBezTo>
                  <a:cubicBezTo>
                    <a:pt x="1" y="1709"/>
                    <a:pt x="526" y="2133"/>
                    <a:pt x="1075" y="2133"/>
                  </a:cubicBezTo>
                  <a:cubicBezTo>
                    <a:pt x="1336" y="2133"/>
                    <a:pt x="1604" y="2036"/>
                    <a:pt x="1822" y="1821"/>
                  </a:cubicBezTo>
                  <a:cubicBezTo>
                    <a:pt x="2488" y="1146"/>
                    <a:pt x="2017" y="0"/>
                    <a:pt x="1066"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962" name="Google Shape;1962;p104"/>
            <p:cNvSpPr/>
            <p:nvPr/>
          </p:nvSpPr>
          <p:spPr>
            <a:xfrm>
              <a:off x="2447300" y="1723625"/>
              <a:ext cx="62400" cy="53350"/>
            </a:xfrm>
            <a:custGeom>
              <a:avLst/>
              <a:gdLst/>
              <a:ahLst/>
              <a:cxnLst/>
              <a:rect l="l" t="t" r="r" b="b"/>
              <a:pathLst>
                <a:path w="2496" h="2134" extrusionOk="0">
                  <a:moveTo>
                    <a:pt x="1065" y="1"/>
                  </a:moveTo>
                  <a:cubicBezTo>
                    <a:pt x="480" y="1"/>
                    <a:pt x="0" y="480"/>
                    <a:pt x="0" y="1065"/>
                  </a:cubicBezTo>
                  <a:cubicBezTo>
                    <a:pt x="0" y="1709"/>
                    <a:pt x="525" y="2133"/>
                    <a:pt x="1074" y="2133"/>
                  </a:cubicBezTo>
                  <a:cubicBezTo>
                    <a:pt x="1336" y="2133"/>
                    <a:pt x="1603" y="2037"/>
                    <a:pt x="1821" y="1822"/>
                  </a:cubicBezTo>
                  <a:cubicBezTo>
                    <a:pt x="2496" y="1147"/>
                    <a:pt x="2016" y="1"/>
                    <a:pt x="1065"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963" name="Google Shape;1963;p104"/>
            <p:cNvSpPr/>
            <p:nvPr/>
          </p:nvSpPr>
          <p:spPr>
            <a:xfrm>
              <a:off x="2447300" y="1647400"/>
              <a:ext cx="62400" cy="53450"/>
            </a:xfrm>
            <a:custGeom>
              <a:avLst/>
              <a:gdLst/>
              <a:ahLst/>
              <a:cxnLst/>
              <a:rect l="l" t="t" r="r" b="b"/>
              <a:pathLst>
                <a:path w="2496" h="2138" extrusionOk="0">
                  <a:moveTo>
                    <a:pt x="1065" y="1"/>
                  </a:moveTo>
                  <a:cubicBezTo>
                    <a:pt x="480" y="9"/>
                    <a:pt x="8" y="481"/>
                    <a:pt x="0" y="1066"/>
                  </a:cubicBezTo>
                  <a:cubicBezTo>
                    <a:pt x="0" y="1710"/>
                    <a:pt x="525" y="2138"/>
                    <a:pt x="1074" y="2138"/>
                  </a:cubicBezTo>
                  <a:cubicBezTo>
                    <a:pt x="1336" y="2138"/>
                    <a:pt x="1603" y="2040"/>
                    <a:pt x="1821" y="1822"/>
                  </a:cubicBezTo>
                  <a:cubicBezTo>
                    <a:pt x="2496" y="1147"/>
                    <a:pt x="2016" y="1"/>
                    <a:pt x="1065"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964" name="Google Shape;1964;p104"/>
            <p:cNvSpPr/>
            <p:nvPr/>
          </p:nvSpPr>
          <p:spPr>
            <a:xfrm>
              <a:off x="2447300" y="1571400"/>
              <a:ext cx="62400" cy="53250"/>
            </a:xfrm>
            <a:custGeom>
              <a:avLst/>
              <a:gdLst/>
              <a:ahLst/>
              <a:cxnLst/>
              <a:rect l="l" t="t" r="r" b="b"/>
              <a:pathLst>
                <a:path w="2496" h="2130" extrusionOk="0">
                  <a:moveTo>
                    <a:pt x="1065" y="1"/>
                  </a:moveTo>
                  <a:cubicBezTo>
                    <a:pt x="480" y="1"/>
                    <a:pt x="8" y="472"/>
                    <a:pt x="0" y="1066"/>
                  </a:cubicBezTo>
                  <a:cubicBezTo>
                    <a:pt x="0" y="1703"/>
                    <a:pt x="525" y="2129"/>
                    <a:pt x="1073" y="2129"/>
                  </a:cubicBezTo>
                  <a:cubicBezTo>
                    <a:pt x="1335" y="2129"/>
                    <a:pt x="1603" y="2032"/>
                    <a:pt x="1821" y="1813"/>
                  </a:cubicBezTo>
                  <a:cubicBezTo>
                    <a:pt x="2496" y="1147"/>
                    <a:pt x="2016" y="1"/>
                    <a:pt x="1065"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965" name="Google Shape;1965;p104"/>
            <p:cNvSpPr/>
            <p:nvPr/>
          </p:nvSpPr>
          <p:spPr>
            <a:xfrm>
              <a:off x="2447300" y="1495200"/>
              <a:ext cx="62400" cy="53325"/>
            </a:xfrm>
            <a:custGeom>
              <a:avLst/>
              <a:gdLst/>
              <a:ahLst/>
              <a:cxnLst/>
              <a:rect l="l" t="t" r="r" b="b"/>
              <a:pathLst>
                <a:path w="2496" h="2133" extrusionOk="0">
                  <a:moveTo>
                    <a:pt x="1065" y="0"/>
                  </a:moveTo>
                  <a:cubicBezTo>
                    <a:pt x="480" y="0"/>
                    <a:pt x="0" y="480"/>
                    <a:pt x="0" y="1065"/>
                  </a:cubicBezTo>
                  <a:cubicBezTo>
                    <a:pt x="0" y="1709"/>
                    <a:pt x="525" y="2133"/>
                    <a:pt x="1074" y="2133"/>
                  </a:cubicBezTo>
                  <a:cubicBezTo>
                    <a:pt x="1336" y="2133"/>
                    <a:pt x="1603" y="2036"/>
                    <a:pt x="1821" y="1821"/>
                  </a:cubicBezTo>
                  <a:cubicBezTo>
                    <a:pt x="2496" y="1146"/>
                    <a:pt x="2016" y="0"/>
                    <a:pt x="1065"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966" name="Google Shape;1966;p104"/>
            <p:cNvSpPr/>
            <p:nvPr/>
          </p:nvSpPr>
          <p:spPr>
            <a:xfrm>
              <a:off x="2447300" y="1418975"/>
              <a:ext cx="62400" cy="53350"/>
            </a:xfrm>
            <a:custGeom>
              <a:avLst/>
              <a:gdLst/>
              <a:ahLst/>
              <a:cxnLst/>
              <a:rect l="l" t="t" r="r" b="b"/>
              <a:pathLst>
                <a:path w="2496" h="2134" extrusionOk="0">
                  <a:moveTo>
                    <a:pt x="1065" y="1"/>
                  </a:moveTo>
                  <a:cubicBezTo>
                    <a:pt x="480" y="1"/>
                    <a:pt x="8" y="480"/>
                    <a:pt x="0" y="1065"/>
                  </a:cubicBezTo>
                  <a:cubicBezTo>
                    <a:pt x="0" y="1709"/>
                    <a:pt x="525" y="2133"/>
                    <a:pt x="1074" y="2133"/>
                  </a:cubicBezTo>
                  <a:cubicBezTo>
                    <a:pt x="1336" y="2133"/>
                    <a:pt x="1603" y="2037"/>
                    <a:pt x="1821" y="1822"/>
                  </a:cubicBezTo>
                  <a:cubicBezTo>
                    <a:pt x="2496" y="1147"/>
                    <a:pt x="2016" y="1"/>
                    <a:pt x="1065"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967" name="Google Shape;1967;p104"/>
            <p:cNvSpPr/>
            <p:nvPr/>
          </p:nvSpPr>
          <p:spPr>
            <a:xfrm>
              <a:off x="2447300" y="1342750"/>
              <a:ext cx="62400" cy="53450"/>
            </a:xfrm>
            <a:custGeom>
              <a:avLst/>
              <a:gdLst/>
              <a:ahLst/>
              <a:cxnLst/>
              <a:rect l="l" t="t" r="r" b="b"/>
              <a:pathLst>
                <a:path w="2496" h="2138" extrusionOk="0">
                  <a:moveTo>
                    <a:pt x="1065" y="1"/>
                  </a:moveTo>
                  <a:cubicBezTo>
                    <a:pt x="480" y="1"/>
                    <a:pt x="0" y="481"/>
                    <a:pt x="0" y="1066"/>
                  </a:cubicBezTo>
                  <a:cubicBezTo>
                    <a:pt x="0" y="1710"/>
                    <a:pt x="525" y="2138"/>
                    <a:pt x="1074" y="2138"/>
                  </a:cubicBezTo>
                  <a:cubicBezTo>
                    <a:pt x="1336" y="2138"/>
                    <a:pt x="1603" y="2040"/>
                    <a:pt x="1821" y="1822"/>
                  </a:cubicBezTo>
                  <a:cubicBezTo>
                    <a:pt x="2496" y="1147"/>
                    <a:pt x="2016" y="1"/>
                    <a:pt x="1065"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968" name="Google Shape;1968;p104"/>
            <p:cNvSpPr/>
            <p:nvPr/>
          </p:nvSpPr>
          <p:spPr>
            <a:xfrm>
              <a:off x="2447300" y="1266550"/>
              <a:ext cx="62400" cy="53450"/>
            </a:xfrm>
            <a:custGeom>
              <a:avLst/>
              <a:gdLst/>
              <a:ahLst/>
              <a:cxnLst/>
              <a:rect l="l" t="t" r="r" b="b"/>
              <a:pathLst>
                <a:path w="2496" h="2138" extrusionOk="0">
                  <a:moveTo>
                    <a:pt x="1065" y="0"/>
                  </a:moveTo>
                  <a:cubicBezTo>
                    <a:pt x="480" y="9"/>
                    <a:pt x="8" y="480"/>
                    <a:pt x="0" y="1074"/>
                  </a:cubicBezTo>
                  <a:cubicBezTo>
                    <a:pt x="0" y="1711"/>
                    <a:pt x="525" y="2137"/>
                    <a:pt x="1073" y="2137"/>
                  </a:cubicBezTo>
                  <a:cubicBezTo>
                    <a:pt x="1335" y="2137"/>
                    <a:pt x="1603" y="2040"/>
                    <a:pt x="1821" y="1821"/>
                  </a:cubicBezTo>
                  <a:cubicBezTo>
                    <a:pt x="2496" y="1155"/>
                    <a:pt x="2016" y="0"/>
                    <a:pt x="1065"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969" name="Google Shape;1969;p104"/>
            <p:cNvSpPr/>
            <p:nvPr/>
          </p:nvSpPr>
          <p:spPr>
            <a:xfrm>
              <a:off x="2447300" y="1190550"/>
              <a:ext cx="62400" cy="53325"/>
            </a:xfrm>
            <a:custGeom>
              <a:avLst/>
              <a:gdLst/>
              <a:ahLst/>
              <a:cxnLst/>
              <a:rect l="l" t="t" r="r" b="b"/>
              <a:pathLst>
                <a:path w="2496" h="2133" extrusionOk="0">
                  <a:moveTo>
                    <a:pt x="1065" y="0"/>
                  </a:moveTo>
                  <a:cubicBezTo>
                    <a:pt x="480" y="0"/>
                    <a:pt x="8" y="480"/>
                    <a:pt x="0" y="1065"/>
                  </a:cubicBezTo>
                  <a:cubicBezTo>
                    <a:pt x="0" y="1709"/>
                    <a:pt x="525" y="2133"/>
                    <a:pt x="1074" y="2133"/>
                  </a:cubicBezTo>
                  <a:cubicBezTo>
                    <a:pt x="1336" y="2133"/>
                    <a:pt x="1603" y="2036"/>
                    <a:pt x="1821" y="1821"/>
                  </a:cubicBezTo>
                  <a:cubicBezTo>
                    <a:pt x="2496" y="1146"/>
                    <a:pt x="2016" y="0"/>
                    <a:pt x="1065"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970" name="Google Shape;1970;p104"/>
            <p:cNvSpPr/>
            <p:nvPr/>
          </p:nvSpPr>
          <p:spPr>
            <a:xfrm>
              <a:off x="2447300" y="1114325"/>
              <a:ext cx="62400" cy="53350"/>
            </a:xfrm>
            <a:custGeom>
              <a:avLst/>
              <a:gdLst/>
              <a:ahLst/>
              <a:cxnLst/>
              <a:rect l="l" t="t" r="r" b="b"/>
              <a:pathLst>
                <a:path w="2496" h="2134" extrusionOk="0">
                  <a:moveTo>
                    <a:pt x="1065" y="1"/>
                  </a:moveTo>
                  <a:cubicBezTo>
                    <a:pt x="480" y="1"/>
                    <a:pt x="0" y="480"/>
                    <a:pt x="0" y="1065"/>
                  </a:cubicBezTo>
                  <a:cubicBezTo>
                    <a:pt x="0" y="1709"/>
                    <a:pt x="525" y="2133"/>
                    <a:pt x="1074" y="2133"/>
                  </a:cubicBezTo>
                  <a:cubicBezTo>
                    <a:pt x="1336" y="2133"/>
                    <a:pt x="1603" y="2037"/>
                    <a:pt x="1821" y="1822"/>
                  </a:cubicBezTo>
                  <a:cubicBezTo>
                    <a:pt x="2496" y="1147"/>
                    <a:pt x="2016" y="1"/>
                    <a:pt x="1065"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971" name="Google Shape;1971;p104"/>
            <p:cNvSpPr/>
            <p:nvPr/>
          </p:nvSpPr>
          <p:spPr>
            <a:xfrm>
              <a:off x="2447300" y="1038125"/>
              <a:ext cx="62400" cy="53325"/>
            </a:xfrm>
            <a:custGeom>
              <a:avLst/>
              <a:gdLst/>
              <a:ahLst/>
              <a:cxnLst/>
              <a:rect l="l" t="t" r="r" b="b"/>
              <a:pathLst>
                <a:path w="2496" h="2133" extrusionOk="0">
                  <a:moveTo>
                    <a:pt x="1065" y="0"/>
                  </a:moveTo>
                  <a:cubicBezTo>
                    <a:pt x="480" y="0"/>
                    <a:pt x="8" y="480"/>
                    <a:pt x="0" y="1065"/>
                  </a:cubicBezTo>
                  <a:cubicBezTo>
                    <a:pt x="0" y="1709"/>
                    <a:pt x="525" y="2133"/>
                    <a:pt x="1074" y="2133"/>
                  </a:cubicBezTo>
                  <a:cubicBezTo>
                    <a:pt x="1336" y="2133"/>
                    <a:pt x="1603" y="2036"/>
                    <a:pt x="1821" y="1821"/>
                  </a:cubicBezTo>
                  <a:cubicBezTo>
                    <a:pt x="2496" y="1146"/>
                    <a:pt x="2016" y="0"/>
                    <a:pt x="1065"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972" name="Google Shape;1972;p104"/>
            <p:cNvSpPr/>
            <p:nvPr/>
          </p:nvSpPr>
          <p:spPr>
            <a:xfrm>
              <a:off x="2371275" y="1647400"/>
              <a:ext cx="62225" cy="53450"/>
            </a:xfrm>
            <a:custGeom>
              <a:avLst/>
              <a:gdLst/>
              <a:ahLst/>
              <a:cxnLst/>
              <a:rect l="l" t="t" r="r" b="b"/>
              <a:pathLst>
                <a:path w="2489" h="2138" extrusionOk="0">
                  <a:moveTo>
                    <a:pt x="1066" y="1"/>
                  </a:moveTo>
                  <a:cubicBezTo>
                    <a:pt x="472" y="1"/>
                    <a:pt x="1" y="481"/>
                    <a:pt x="1" y="1066"/>
                  </a:cubicBezTo>
                  <a:cubicBezTo>
                    <a:pt x="1" y="1710"/>
                    <a:pt x="526" y="2138"/>
                    <a:pt x="1072" y="2138"/>
                  </a:cubicBezTo>
                  <a:cubicBezTo>
                    <a:pt x="1333" y="2138"/>
                    <a:pt x="1598" y="2040"/>
                    <a:pt x="1814" y="1822"/>
                  </a:cubicBezTo>
                  <a:cubicBezTo>
                    <a:pt x="2488" y="1147"/>
                    <a:pt x="2009" y="1"/>
                    <a:pt x="1066"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973" name="Google Shape;1973;p104"/>
            <p:cNvSpPr/>
            <p:nvPr/>
          </p:nvSpPr>
          <p:spPr>
            <a:xfrm>
              <a:off x="2371275" y="1571400"/>
              <a:ext cx="62225" cy="53250"/>
            </a:xfrm>
            <a:custGeom>
              <a:avLst/>
              <a:gdLst/>
              <a:ahLst/>
              <a:cxnLst/>
              <a:rect l="l" t="t" r="r" b="b"/>
              <a:pathLst>
                <a:path w="2489" h="2130" extrusionOk="0">
                  <a:moveTo>
                    <a:pt x="1066" y="1"/>
                  </a:moveTo>
                  <a:cubicBezTo>
                    <a:pt x="472" y="1"/>
                    <a:pt x="1" y="472"/>
                    <a:pt x="1" y="1066"/>
                  </a:cubicBezTo>
                  <a:cubicBezTo>
                    <a:pt x="1" y="1703"/>
                    <a:pt x="525" y="2129"/>
                    <a:pt x="1071" y="2129"/>
                  </a:cubicBezTo>
                  <a:cubicBezTo>
                    <a:pt x="1332" y="2129"/>
                    <a:pt x="1598" y="2032"/>
                    <a:pt x="1814" y="1813"/>
                  </a:cubicBezTo>
                  <a:cubicBezTo>
                    <a:pt x="2488" y="1147"/>
                    <a:pt x="2009" y="1"/>
                    <a:pt x="1066"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974" name="Google Shape;1974;p104"/>
            <p:cNvSpPr/>
            <p:nvPr/>
          </p:nvSpPr>
          <p:spPr>
            <a:xfrm>
              <a:off x="2371275" y="1495200"/>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4" y="1821"/>
                  </a:cubicBezTo>
                  <a:cubicBezTo>
                    <a:pt x="2488" y="1146"/>
                    <a:pt x="2009" y="0"/>
                    <a:pt x="1066"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975" name="Google Shape;1975;p104"/>
            <p:cNvSpPr/>
            <p:nvPr/>
          </p:nvSpPr>
          <p:spPr>
            <a:xfrm>
              <a:off x="2371275" y="1418975"/>
              <a:ext cx="62225" cy="53350"/>
            </a:xfrm>
            <a:custGeom>
              <a:avLst/>
              <a:gdLst/>
              <a:ahLst/>
              <a:cxnLst/>
              <a:rect l="l" t="t" r="r" b="b"/>
              <a:pathLst>
                <a:path w="2489" h="2134" extrusionOk="0">
                  <a:moveTo>
                    <a:pt x="1066" y="1"/>
                  </a:moveTo>
                  <a:cubicBezTo>
                    <a:pt x="472" y="1"/>
                    <a:pt x="1" y="480"/>
                    <a:pt x="1" y="1065"/>
                  </a:cubicBezTo>
                  <a:cubicBezTo>
                    <a:pt x="1" y="1709"/>
                    <a:pt x="526" y="2133"/>
                    <a:pt x="1072" y="2133"/>
                  </a:cubicBezTo>
                  <a:cubicBezTo>
                    <a:pt x="1333" y="2133"/>
                    <a:pt x="1598" y="2037"/>
                    <a:pt x="1814" y="1822"/>
                  </a:cubicBezTo>
                  <a:cubicBezTo>
                    <a:pt x="2488" y="1147"/>
                    <a:pt x="2009" y="1"/>
                    <a:pt x="1066"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976" name="Google Shape;1976;p104"/>
            <p:cNvSpPr/>
            <p:nvPr/>
          </p:nvSpPr>
          <p:spPr>
            <a:xfrm>
              <a:off x="2371275" y="1342750"/>
              <a:ext cx="62225" cy="53450"/>
            </a:xfrm>
            <a:custGeom>
              <a:avLst/>
              <a:gdLst/>
              <a:ahLst/>
              <a:cxnLst/>
              <a:rect l="l" t="t" r="r" b="b"/>
              <a:pathLst>
                <a:path w="2489" h="2138" extrusionOk="0">
                  <a:moveTo>
                    <a:pt x="1066" y="1"/>
                  </a:moveTo>
                  <a:cubicBezTo>
                    <a:pt x="472" y="1"/>
                    <a:pt x="1" y="481"/>
                    <a:pt x="1" y="1066"/>
                  </a:cubicBezTo>
                  <a:cubicBezTo>
                    <a:pt x="1" y="1710"/>
                    <a:pt x="526" y="2138"/>
                    <a:pt x="1072" y="2138"/>
                  </a:cubicBezTo>
                  <a:cubicBezTo>
                    <a:pt x="1333" y="2138"/>
                    <a:pt x="1598" y="2040"/>
                    <a:pt x="1814" y="1822"/>
                  </a:cubicBezTo>
                  <a:cubicBezTo>
                    <a:pt x="2488" y="1147"/>
                    <a:pt x="2009" y="1"/>
                    <a:pt x="1066"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977" name="Google Shape;1977;p104"/>
            <p:cNvSpPr/>
            <p:nvPr/>
          </p:nvSpPr>
          <p:spPr>
            <a:xfrm>
              <a:off x="2371275" y="1266550"/>
              <a:ext cx="62225" cy="53450"/>
            </a:xfrm>
            <a:custGeom>
              <a:avLst/>
              <a:gdLst/>
              <a:ahLst/>
              <a:cxnLst/>
              <a:rect l="l" t="t" r="r" b="b"/>
              <a:pathLst>
                <a:path w="2489" h="2138" extrusionOk="0">
                  <a:moveTo>
                    <a:pt x="1066" y="0"/>
                  </a:moveTo>
                  <a:cubicBezTo>
                    <a:pt x="472" y="9"/>
                    <a:pt x="1" y="480"/>
                    <a:pt x="1" y="1074"/>
                  </a:cubicBezTo>
                  <a:cubicBezTo>
                    <a:pt x="1" y="1711"/>
                    <a:pt x="525" y="2137"/>
                    <a:pt x="1071" y="2137"/>
                  </a:cubicBezTo>
                  <a:cubicBezTo>
                    <a:pt x="1332" y="2137"/>
                    <a:pt x="1598" y="2040"/>
                    <a:pt x="1814" y="1821"/>
                  </a:cubicBezTo>
                  <a:cubicBezTo>
                    <a:pt x="2488" y="1155"/>
                    <a:pt x="2009" y="0"/>
                    <a:pt x="1066"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978" name="Google Shape;1978;p104"/>
            <p:cNvSpPr/>
            <p:nvPr/>
          </p:nvSpPr>
          <p:spPr>
            <a:xfrm>
              <a:off x="2371275" y="1190550"/>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4" y="1821"/>
                  </a:cubicBezTo>
                  <a:cubicBezTo>
                    <a:pt x="2488" y="1146"/>
                    <a:pt x="2009" y="0"/>
                    <a:pt x="1066"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979" name="Google Shape;1979;p104"/>
            <p:cNvSpPr/>
            <p:nvPr/>
          </p:nvSpPr>
          <p:spPr>
            <a:xfrm>
              <a:off x="2371275" y="1114325"/>
              <a:ext cx="62225" cy="53350"/>
            </a:xfrm>
            <a:custGeom>
              <a:avLst/>
              <a:gdLst/>
              <a:ahLst/>
              <a:cxnLst/>
              <a:rect l="l" t="t" r="r" b="b"/>
              <a:pathLst>
                <a:path w="2489" h="2134" extrusionOk="0">
                  <a:moveTo>
                    <a:pt x="1066" y="1"/>
                  </a:moveTo>
                  <a:cubicBezTo>
                    <a:pt x="472" y="1"/>
                    <a:pt x="1" y="480"/>
                    <a:pt x="1" y="1065"/>
                  </a:cubicBezTo>
                  <a:cubicBezTo>
                    <a:pt x="1" y="1709"/>
                    <a:pt x="526" y="2133"/>
                    <a:pt x="1072" y="2133"/>
                  </a:cubicBezTo>
                  <a:cubicBezTo>
                    <a:pt x="1333" y="2133"/>
                    <a:pt x="1598" y="2037"/>
                    <a:pt x="1814" y="1822"/>
                  </a:cubicBezTo>
                  <a:cubicBezTo>
                    <a:pt x="2488" y="1147"/>
                    <a:pt x="2009" y="1"/>
                    <a:pt x="1066"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980" name="Google Shape;1980;p104"/>
            <p:cNvSpPr/>
            <p:nvPr/>
          </p:nvSpPr>
          <p:spPr>
            <a:xfrm>
              <a:off x="2371275" y="1038125"/>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4" y="1821"/>
                  </a:cubicBezTo>
                  <a:cubicBezTo>
                    <a:pt x="2488" y="1146"/>
                    <a:pt x="2009" y="0"/>
                    <a:pt x="1066"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981" name="Google Shape;1981;p104"/>
            <p:cNvSpPr/>
            <p:nvPr/>
          </p:nvSpPr>
          <p:spPr>
            <a:xfrm>
              <a:off x="2295075" y="1342750"/>
              <a:ext cx="62200" cy="53450"/>
            </a:xfrm>
            <a:custGeom>
              <a:avLst/>
              <a:gdLst/>
              <a:ahLst/>
              <a:cxnLst/>
              <a:rect l="l" t="t" r="r" b="b"/>
              <a:pathLst>
                <a:path w="2488" h="2138" extrusionOk="0">
                  <a:moveTo>
                    <a:pt x="1065" y="1"/>
                  </a:moveTo>
                  <a:cubicBezTo>
                    <a:pt x="472" y="1"/>
                    <a:pt x="0" y="481"/>
                    <a:pt x="0" y="1066"/>
                  </a:cubicBezTo>
                  <a:cubicBezTo>
                    <a:pt x="0" y="1710"/>
                    <a:pt x="525" y="2138"/>
                    <a:pt x="1071" y="2138"/>
                  </a:cubicBezTo>
                  <a:cubicBezTo>
                    <a:pt x="1332" y="2138"/>
                    <a:pt x="1598" y="2040"/>
                    <a:pt x="1813" y="1822"/>
                  </a:cubicBezTo>
                  <a:cubicBezTo>
                    <a:pt x="2488" y="1147"/>
                    <a:pt x="2016" y="1"/>
                    <a:pt x="1065"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982" name="Google Shape;1982;p104"/>
            <p:cNvSpPr/>
            <p:nvPr/>
          </p:nvSpPr>
          <p:spPr>
            <a:xfrm>
              <a:off x="2295075" y="1266550"/>
              <a:ext cx="62200" cy="53450"/>
            </a:xfrm>
            <a:custGeom>
              <a:avLst/>
              <a:gdLst/>
              <a:ahLst/>
              <a:cxnLst/>
              <a:rect l="l" t="t" r="r" b="b"/>
              <a:pathLst>
                <a:path w="2488" h="2138" extrusionOk="0">
                  <a:moveTo>
                    <a:pt x="1065" y="0"/>
                  </a:moveTo>
                  <a:cubicBezTo>
                    <a:pt x="472" y="9"/>
                    <a:pt x="0" y="480"/>
                    <a:pt x="0" y="1074"/>
                  </a:cubicBezTo>
                  <a:cubicBezTo>
                    <a:pt x="0" y="1711"/>
                    <a:pt x="525" y="2137"/>
                    <a:pt x="1070" y="2137"/>
                  </a:cubicBezTo>
                  <a:cubicBezTo>
                    <a:pt x="1331" y="2137"/>
                    <a:pt x="1597" y="2040"/>
                    <a:pt x="1813" y="1821"/>
                  </a:cubicBezTo>
                  <a:cubicBezTo>
                    <a:pt x="2488" y="1155"/>
                    <a:pt x="2016" y="0"/>
                    <a:pt x="1065"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983" name="Google Shape;1983;p104"/>
            <p:cNvSpPr/>
            <p:nvPr/>
          </p:nvSpPr>
          <p:spPr>
            <a:xfrm>
              <a:off x="2295075" y="1190550"/>
              <a:ext cx="62200" cy="53325"/>
            </a:xfrm>
            <a:custGeom>
              <a:avLst/>
              <a:gdLst/>
              <a:ahLst/>
              <a:cxnLst/>
              <a:rect l="l" t="t" r="r" b="b"/>
              <a:pathLst>
                <a:path w="2488" h="2133" extrusionOk="0">
                  <a:moveTo>
                    <a:pt x="1065" y="0"/>
                  </a:moveTo>
                  <a:cubicBezTo>
                    <a:pt x="472" y="0"/>
                    <a:pt x="0" y="480"/>
                    <a:pt x="0" y="1065"/>
                  </a:cubicBezTo>
                  <a:cubicBezTo>
                    <a:pt x="0" y="1709"/>
                    <a:pt x="525" y="2133"/>
                    <a:pt x="1072" y="2133"/>
                  </a:cubicBezTo>
                  <a:cubicBezTo>
                    <a:pt x="1332" y="2133"/>
                    <a:pt x="1598" y="2036"/>
                    <a:pt x="1813" y="1821"/>
                  </a:cubicBezTo>
                  <a:cubicBezTo>
                    <a:pt x="2488" y="1146"/>
                    <a:pt x="2016" y="0"/>
                    <a:pt x="1065"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984" name="Google Shape;1984;p104"/>
            <p:cNvSpPr/>
            <p:nvPr/>
          </p:nvSpPr>
          <p:spPr>
            <a:xfrm>
              <a:off x="2295075" y="1114325"/>
              <a:ext cx="62200" cy="53350"/>
            </a:xfrm>
            <a:custGeom>
              <a:avLst/>
              <a:gdLst/>
              <a:ahLst/>
              <a:cxnLst/>
              <a:rect l="l" t="t" r="r" b="b"/>
              <a:pathLst>
                <a:path w="2488" h="2134" extrusionOk="0">
                  <a:moveTo>
                    <a:pt x="1065" y="1"/>
                  </a:moveTo>
                  <a:cubicBezTo>
                    <a:pt x="472" y="1"/>
                    <a:pt x="0" y="480"/>
                    <a:pt x="0" y="1065"/>
                  </a:cubicBezTo>
                  <a:cubicBezTo>
                    <a:pt x="0" y="1709"/>
                    <a:pt x="525" y="2133"/>
                    <a:pt x="1072" y="2133"/>
                  </a:cubicBezTo>
                  <a:cubicBezTo>
                    <a:pt x="1332" y="2133"/>
                    <a:pt x="1598" y="2037"/>
                    <a:pt x="1813" y="1822"/>
                  </a:cubicBezTo>
                  <a:cubicBezTo>
                    <a:pt x="2488" y="1147"/>
                    <a:pt x="2016" y="1"/>
                    <a:pt x="1065"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985" name="Google Shape;1985;p104"/>
            <p:cNvSpPr/>
            <p:nvPr/>
          </p:nvSpPr>
          <p:spPr>
            <a:xfrm>
              <a:off x="2218650" y="1266550"/>
              <a:ext cx="62225" cy="53450"/>
            </a:xfrm>
            <a:custGeom>
              <a:avLst/>
              <a:gdLst/>
              <a:ahLst/>
              <a:cxnLst/>
              <a:rect l="l" t="t" r="r" b="b"/>
              <a:pathLst>
                <a:path w="2489" h="2138" extrusionOk="0">
                  <a:moveTo>
                    <a:pt x="1074" y="0"/>
                  </a:moveTo>
                  <a:cubicBezTo>
                    <a:pt x="480" y="9"/>
                    <a:pt x="0" y="480"/>
                    <a:pt x="0" y="1074"/>
                  </a:cubicBezTo>
                  <a:cubicBezTo>
                    <a:pt x="0" y="1711"/>
                    <a:pt x="525" y="2137"/>
                    <a:pt x="1073" y="2137"/>
                  </a:cubicBezTo>
                  <a:cubicBezTo>
                    <a:pt x="1335" y="2137"/>
                    <a:pt x="1603" y="2040"/>
                    <a:pt x="1821" y="1821"/>
                  </a:cubicBezTo>
                  <a:cubicBezTo>
                    <a:pt x="2488" y="1155"/>
                    <a:pt x="2017" y="9"/>
                    <a:pt x="1074"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986" name="Google Shape;1986;p104"/>
            <p:cNvSpPr/>
            <p:nvPr/>
          </p:nvSpPr>
          <p:spPr>
            <a:xfrm>
              <a:off x="2218650" y="1190550"/>
              <a:ext cx="62225" cy="53325"/>
            </a:xfrm>
            <a:custGeom>
              <a:avLst/>
              <a:gdLst/>
              <a:ahLst/>
              <a:cxnLst/>
              <a:rect l="l" t="t" r="r" b="b"/>
              <a:pathLst>
                <a:path w="2489" h="2133" extrusionOk="0">
                  <a:moveTo>
                    <a:pt x="1074" y="0"/>
                  </a:moveTo>
                  <a:cubicBezTo>
                    <a:pt x="480" y="0"/>
                    <a:pt x="0" y="480"/>
                    <a:pt x="0" y="1065"/>
                  </a:cubicBezTo>
                  <a:cubicBezTo>
                    <a:pt x="0" y="1709"/>
                    <a:pt x="526" y="2133"/>
                    <a:pt x="1074" y="2133"/>
                  </a:cubicBezTo>
                  <a:cubicBezTo>
                    <a:pt x="1336" y="2133"/>
                    <a:pt x="1603" y="2036"/>
                    <a:pt x="1821" y="1821"/>
                  </a:cubicBezTo>
                  <a:cubicBezTo>
                    <a:pt x="2488" y="1154"/>
                    <a:pt x="2017" y="0"/>
                    <a:pt x="1074"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987" name="Google Shape;1987;p104"/>
            <p:cNvSpPr/>
            <p:nvPr/>
          </p:nvSpPr>
          <p:spPr>
            <a:xfrm>
              <a:off x="2218650" y="1114325"/>
              <a:ext cx="62225" cy="53350"/>
            </a:xfrm>
            <a:custGeom>
              <a:avLst/>
              <a:gdLst/>
              <a:ahLst/>
              <a:cxnLst/>
              <a:rect l="l" t="t" r="r" b="b"/>
              <a:pathLst>
                <a:path w="2489" h="2134" extrusionOk="0">
                  <a:moveTo>
                    <a:pt x="1074" y="1"/>
                  </a:moveTo>
                  <a:cubicBezTo>
                    <a:pt x="480" y="1"/>
                    <a:pt x="0" y="480"/>
                    <a:pt x="0" y="1065"/>
                  </a:cubicBezTo>
                  <a:cubicBezTo>
                    <a:pt x="0" y="1709"/>
                    <a:pt x="526" y="2133"/>
                    <a:pt x="1074" y="2133"/>
                  </a:cubicBezTo>
                  <a:cubicBezTo>
                    <a:pt x="1336" y="2133"/>
                    <a:pt x="1603" y="2037"/>
                    <a:pt x="1821" y="1822"/>
                  </a:cubicBezTo>
                  <a:cubicBezTo>
                    <a:pt x="2488" y="1155"/>
                    <a:pt x="2017" y="1"/>
                    <a:pt x="1074"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988" name="Google Shape;1988;p104"/>
            <p:cNvSpPr/>
            <p:nvPr/>
          </p:nvSpPr>
          <p:spPr>
            <a:xfrm>
              <a:off x="2142425" y="1266550"/>
              <a:ext cx="62425" cy="53450"/>
            </a:xfrm>
            <a:custGeom>
              <a:avLst/>
              <a:gdLst/>
              <a:ahLst/>
              <a:cxnLst/>
              <a:rect l="l" t="t" r="r" b="b"/>
              <a:pathLst>
                <a:path w="2497" h="2138" extrusionOk="0">
                  <a:moveTo>
                    <a:pt x="1074" y="0"/>
                  </a:moveTo>
                  <a:cubicBezTo>
                    <a:pt x="481" y="9"/>
                    <a:pt x="9" y="480"/>
                    <a:pt x="1" y="1074"/>
                  </a:cubicBezTo>
                  <a:cubicBezTo>
                    <a:pt x="1" y="1711"/>
                    <a:pt x="529" y="2137"/>
                    <a:pt x="1077" y="2137"/>
                  </a:cubicBezTo>
                  <a:cubicBezTo>
                    <a:pt x="1339" y="2137"/>
                    <a:pt x="1606" y="2040"/>
                    <a:pt x="1822" y="1821"/>
                  </a:cubicBezTo>
                  <a:cubicBezTo>
                    <a:pt x="2497" y="1155"/>
                    <a:pt x="2017" y="0"/>
                    <a:pt x="1074"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989" name="Google Shape;1989;p104"/>
            <p:cNvSpPr/>
            <p:nvPr/>
          </p:nvSpPr>
          <p:spPr>
            <a:xfrm>
              <a:off x="2142425" y="1190550"/>
              <a:ext cx="62425" cy="53325"/>
            </a:xfrm>
            <a:custGeom>
              <a:avLst/>
              <a:gdLst/>
              <a:ahLst/>
              <a:cxnLst/>
              <a:rect l="l" t="t" r="r" b="b"/>
              <a:pathLst>
                <a:path w="2497" h="2133" extrusionOk="0">
                  <a:moveTo>
                    <a:pt x="1074" y="0"/>
                  </a:moveTo>
                  <a:cubicBezTo>
                    <a:pt x="481" y="0"/>
                    <a:pt x="9" y="480"/>
                    <a:pt x="1" y="1065"/>
                  </a:cubicBezTo>
                  <a:cubicBezTo>
                    <a:pt x="1" y="1709"/>
                    <a:pt x="530" y="2133"/>
                    <a:pt x="1079" y="2133"/>
                  </a:cubicBezTo>
                  <a:cubicBezTo>
                    <a:pt x="1340" y="2133"/>
                    <a:pt x="1607" y="2036"/>
                    <a:pt x="1822" y="1821"/>
                  </a:cubicBezTo>
                  <a:cubicBezTo>
                    <a:pt x="2497" y="1146"/>
                    <a:pt x="2017" y="0"/>
                    <a:pt x="1074"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990" name="Google Shape;1990;p104"/>
            <p:cNvSpPr/>
            <p:nvPr/>
          </p:nvSpPr>
          <p:spPr>
            <a:xfrm>
              <a:off x="2751950" y="3627950"/>
              <a:ext cx="62200" cy="53425"/>
            </a:xfrm>
            <a:custGeom>
              <a:avLst/>
              <a:gdLst/>
              <a:ahLst/>
              <a:cxnLst/>
              <a:rect l="l" t="t" r="r" b="b"/>
              <a:pathLst>
                <a:path w="2488" h="2137" extrusionOk="0">
                  <a:moveTo>
                    <a:pt x="1065" y="0"/>
                  </a:moveTo>
                  <a:cubicBezTo>
                    <a:pt x="480" y="8"/>
                    <a:pt x="0" y="480"/>
                    <a:pt x="0" y="1073"/>
                  </a:cubicBezTo>
                  <a:cubicBezTo>
                    <a:pt x="0" y="1711"/>
                    <a:pt x="525" y="2137"/>
                    <a:pt x="1073" y="2137"/>
                  </a:cubicBezTo>
                  <a:cubicBezTo>
                    <a:pt x="1335" y="2137"/>
                    <a:pt x="1603" y="2039"/>
                    <a:pt x="1821" y="1821"/>
                  </a:cubicBezTo>
                  <a:cubicBezTo>
                    <a:pt x="2488" y="1154"/>
                    <a:pt x="2016" y="0"/>
                    <a:pt x="1065"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991" name="Google Shape;1991;p104"/>
            <p:cNvSpPr/>
            <p:nvPr/>
          </p:nvSpPr>
          <p:spPr>
            <a:xfrm>
              <a:off x="2751950" y="3551925"/>
              <a:ext cx="62350" cy="53300"/>
            </a:xfrm>
            <a:custGeom>
              <a:avLst/>
              <a:gdLst/>
              <a:ahLst/>
              <a:cxnLst/>
              <a:rect l="l" t="t" r="r" b="b"/>
              <a:pathLst>
                <a:path w="2494" h="2132" extrusionOk="0">
                  <a:moveTo>
                    <a:pt x="1075" y="1"/>
                  </a:moveTo>
                  <a:cubicBezTo>
                    <a:pt x="1072" y="1"/>
                    <a:pt x="1068" y="1"/>
                    <a:pt x="1065" y="1"/>
                  </a:cubicBezTo>
                  <a:cubicBezTo>
                    <a:pt x="480" y="1"/>
                    <a:pt x="0" y="480"/>
                    <a:pt x="0" y="1066"/>
                  </a:cubicBezTo>
                  <a:cubicBezTo>
                    <a:pt x="6" y="1708"/>
                    <a:pt x="530" y="2131"/>
                    <a:pt x="1075" y="2131"/>
                  </a:cubicBezTo>
                  <a:cubicBezTo>
                    <a:pt x="1337" y="2131"/>
                    <a:pt x="1604" y="2033"/>
                    <a:pt x="1821" y="1814"/>
                  </a:cubicBezTo>
                  <a:cubicBezTo>
                    <a:pt x="2493" y="1141"/>
                    <a:pt x="2020" y="1"/>
                    <a:pt x="1075"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992" name="Google Shape;1992;p104"/>
            <p:cNvSpPr/>
            <p:nvPr/>
          </p:nvSpPr>
          <p:spPr>
            <a:xfrm>
              <a:off x="2751950" y="3475725"/>
              <a:ext cx="62350" cy="53275"/>
            </a:xfrm>
            <a:custGeom>
              <a:avLst/>
              <a:gdLst/>
              <a:ahLst/>
              <a:cxnLst/>
              <a:rect l="l" t="t" r="r" b="b"/>
              <a:pathLst>
                <a:path w="2494" h="2131" extrusionOk="0">
                  <a:moveTo>
                    <a:pt x="1075" y="0"/>
                  </a:moveTo>
                  <a:cubicBezTo>
                    <a:pt x="1072" y="0"/>
                    <a:pt x="1068" y="0"/>
                    <a:pt x="1065" y="0"/>
                  </a:cubicBezTo>
                  <a:cubicBezTo>
                    <a:pt x="480" y="0"/>
                    <a:pt x="0" y="480"/>
                    <a:pt x="0" y="1065"/>
                  </a:cubicBezTo>
                  <a:cubicBezTo>
                    <a:pt x="0" y="1707"/>
                    <a:pt x="526" y="2131"/>
                    <a:pt x="1073" y="2131"/>
                  </a:cubicBezTo>
                  <a:cubicBezTo>
                    <a:pt x="1336" y="2131"/>
                    <a:pt x="1604" y="2032"/>
                    <a:pt x="1821" y="1813"/>
                  </a:cubicBezTo>
                  <a:cubicBezTo>
                    <a:pt x="2493" y="1149"/>
                    <a:pt x="2020" y="0"/>
                    <a:pt x="1075"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993" name="Google Shape;1993;p104"/>
            <p:cNvSpPr/>
            <p:nvPr/>
          </p:nvSpPr>
          <p:spPr>
            <a:xfrm>
              <a:off x="2675925" y="3856775"/>
              <a:ext cx="62225" cy="53300"/>
            </a:xfrm>
            <a:custGeom>
              <a:avLst/>
              <a:gdLst/>
              <a:ahLst/>
              <a:cxnLst/>
              <a:rect l="l" t="t" r="r" b="b"/>
              <a:pathLst>
                <a:path w="2489" h="2132" extrusionOk="0">
                  <a:moveTo>
                    <a:pt x="1066" y="1"/>
                  </a:moveTo>
                  <a:cubicBezTo>
                    <a:pt x="472" y="1"/>
                    <a:pt x="1" y="480"/>
                    <a:pt x="1" y="1066"/>
                  </a:cubicBezTo>
                  <a:cubicBezTo>
                    <a:pt x="1" y="1708"/>
                    <a:pt x="523" y="2131"/>
                    <a:pt x="1067" y="2131"/>
                  </a:cubicBezTo>
                  <a:cubicBezTo>
                    <a:pt x="1330" y="2131"/>
                    <a:pt x="1597" y="2033"/>
                    <a:pt x="1814" y="1814"/>
                  </a:cubicBezTo>
                  <a:cubicBezTo>
                    <a:pt x="2488" y="1147"/>
                    <a:pt x="2009" y="1"/>
                    <a:pt x="1066"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994" name="Google Shape;1994;p104"/>
            <p:cNvSpPr/>
            <p:nvPr/>
          </p:nvSpPr>
          <p:spPr>
            <a:xfrm>
              <a:off x="2675725" y="3780375"/>
              <a:ext cx="62425" cy="53475"/>
            </a:xfrm>
            <a:custGeom>
              <a:avLst/>
              <a:gdLst/>
              <a:ahLst/>
              <a:cxnLst/>
              <a:rect l="l" t="t" r="r" b="b"/>
              <a:pathLst>
                <a:path w="2497" h="2139" extrusionOk="0">
                  <a:moveTo>
                    <a:pt x="1074" y="0"/>
                  </a:moveTo>
                  <a:cubicBezTo>
                    <a:pt x="480" y="0"/>
                    <a:pt x="1" y="480"/>
                    <a:pt x="9" y="1073"/>
                  </a:cubicBezTo>
                  <a:cubicBezTo>
                    <a:pt x="9" y="1715"/>
                    <a:pt x="535" y="2139"/>
                    <a:pt x="1081" y="2139"/>
                  </a:cubicBezTo>
                  <a:cubicBezTo>
                    <a:pt x="1345" y="2139"/>
                    <a:pt x="1613" y="2040"/>
                    <a:pt x="1830" y="1821"/>
                  </a:cubicBezTo>
                  <a:cubicBezTo>
                    <a:pt x="2496" y="1146"/>
                    <a:pt x="2025" y="0"/>
                    <a:pt x="1074"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995" name="Google Shape;1995;p104"/>
            <p:cNvSpPr/>
            <p:nvPr/>
          </p:nvSpPr>
          <p:spPr>
            <a:xfrm>
              <a:off x="2675925" y="3704150"/>
              <a:ext cx="62225" cy="53450"/>
            </a:xfrm>
            <a:custGeom>
              <a:avLst/>
              <a:gdLst/>
              <a:ahLst/>
              <a:cxnLst/>
              <a:rect l="l" t="t" r="r" b="b"/>
              <a:pathLst>
                <a:path w="2489" h="2138" extrusionOk="0">
                  <a:moveTo>
                    <a:pt x="1066" y="1"/>
                  </a:moveTo>
                  <a:cubicBezTo>
                    <a:pt x="472" y="1"/>
                    <a:pt x="1" y="480"/>
                    <a:pt x="1" y="1066"/>
                  </a:cubicBezTo>
                  <a:cubicBezTo>
                    <a:pt x="1" y="1709"/>
                    <a:pt x="526" y="2137"/>
                    <a:pt x="1072" y="2137"/>
                  </a:cubicBezTo>
                  <a:cubicBezTo>
                    <a:pt x="1333" y="2137"/>
                    <a:pt x="1598" y="2040"/>
                    <a:pt x="1814" y="1822"/>
                  </a:cubicBezTo>
                  <a:cubicBezTo>
                    <a:pt x="2488" y="1147"/>
                    <a:pt x="2017" y="1"/>
                    <a:pt x="1066"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996" name="Google Shape;1996;p104"/>
            <p:cNvSpPr/>
            <p:nvPr/>
          </p:nvSpPr>
          <p:spPr>
            <a:xfrm>
              <a:off x="2675925" y="3627950"/>
              <a:ext cx="62225" cy="53425"/>
            </a:xfrm>
            <a:custGeom>
              <a:avLst/>
              <a:gdLst/>
              <a:ahLst/>
              <a:cxnLst/>
              <a:rect l="l" t="t" r="r" b="b"/>
              <a:pathLst>
                <a:path w="2489" h="2137" extrusionOk="0">
                  <a:moveTo>
                    <a:pt x="1066" y="0"/>
                  </a:moveTo>
                  <a:cubicBezTo>
                    <a:pt x="472" y="8"/>
                    <a:pt x="1" y="480"/>
                    <a:pt x="1" y="1073"/>
                  </a:cubicBezTo>
                  <a:cubicBezTo>
                    <a:pt x="1" y="1711"/>
                    <a:pt x="525" y="2137"/>
                    <a:pt x="1073" y="2137"/>
                  </a:cubicBezTo>
                  <a:cubicBezTo>
                    <a:pt x="1336" y="2137"/>
                    <a:pt x="1603" y="2039"/>
                    <a:pt x="1822" y="1821"/>
                  </a:cubicBezTo>
                  <a:cubicBezTo>
                    <a:pt x="2488" y="1154"/>
                    <a:pt x="2017" y="0"/>
                    <a:pt x="1066"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997" name="Google Shape;1997;p104"/>
            <p:cNvSpPr/>
            <p:nvPr/>
          </p:nvSpPr>
          <p:spPr>
            <a:xfrm>
              <a:off x="2675925" y="3551925"/>
              <a:ext cx="62225" cy="53300"/>
            </a:xfrm>
            <a:custGeom>
              <a:avLst/>
              <a:gdLst/>
              <a:ahLst/>
              <a:cxnLst/>
              <a:rect l="l" t="t" r="r" b="b"/>
              <a:pathLst>
                <a:path w="2489" h="2132" extrusionOk="0">
                  <a:moveTo>
                    <a:pt x="1066" y="1"/>
                  </a:moveTo>
                  <a:cubicBezTo>
                    <a:pt x="472" y="1"/>
                    <a:pt x="1" y="480"/>
                    <a:pt x="1" y="1066"/>
                  </a:cubicBezTo>
                  <a:cubicBezTo>
                    <a:pt x="1" y="1708"/>
                    <a:pt x="523" y="2131"/>
                    <a:pt x="1067" y="2131"/>
                  </a:cubicBezTo>
                  <a:cubicBezTo>
                    <a:pt x="1330" y="2131"/>
                    <a:pt x="1597" y="2033"/>
                    <a:pt x="1814" y="1814"/>
                  </a:cubicBezTo>
                  <a:cubicBezTo>
                    <a:pt x="2488" y="1147"/>
                    <a:pt x="2009" y="1"/>
                    <a:pt x="1066"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998" name="Google Shape;1998;p104"/>
            <p:cNvSpPr/>
            <p:nvPr/>
          </p:nvSpPr>
          <p:spPr>
            <a:xfrm>
              <a:off x="2675925" y="3475725"/>
              <a:ext cx="62225" cy="53350"/>
            </a:xfrm>
            <a:custGeom>
              <a:avLst/>
              <a:gdLst/>
              <a:ahLst/>
              <a:cxnLst/>
              <a:rect l="l" t="t" r="r" b="b"/>
              <a:pathLst>
                <a:path w="2489" h="2134" extrusionOk="0">
                  <a:moveTo>
                    <a:pt x="1066" y="0"/>
                  </a:moveTo>
                  <a:cubicBezTo>
                    <a:pt x="472" y="0"/>
                    <a:pt x="1" y="480"/>
                    <a:pt x="1" y="1065"/>
                  </a:cubicBezTo>
                  <a:cubicBezTo>
                    <a:pt x="1" y="1709"/>
                    <a:pt x="526" y="2133"/>
                    <a:pt x="1072" y="2133"/>
                  </a:cubicBezTo>
                  <a:cubicBezTo>
                    <a:pt x="1333" y="2133"/>
                    <a:pt x="1598" y="2037"/>
                    <a:pt x="1814" y="1821"/>
                  </a:cubicBezTo>
                  <a:cubicBezTo>
                    <a:pt x="2488" y="1146"/>
                    <a:pt x="2017" y="0"/>
                    <a:pt x="1066"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999" name="Google Shape;1999;p104"/>
            <p:cNvSpPr/>
            <p:nvPr/>
          </p:nvSpPr>
          <p:spPr>
            <a:xfrm>
              <a:off x="2599725" y="3856775"/>
              <a:ext cx="62200" cy="53300"/>
            </a:xfrm>
            <a:custGeom>
              <a:avLst/>
              <a:gdLst/>
              <a:ahLst/>
              <a:cxnLst/>
              <a:rect l="l" t="t" r="r" b="b"/>
              <a:pathLst>
                <a:path w="2488" h="2132" extrusionOk="0">
                  <a:moveTo>
                    <a:pt x="1065" y="1"/>
                  </a:moveTo>
                  <a:cubicBezTo>
                    <a:pt x="472" y="1"/>
                    <a:pt x="0" y="480"/>
                    <a:pt x="0" y="1066"/>
                  </a:cubicBezTo>
                  <a:cubicBezTo>
                    <a:pt x="0" y="1708"/>
                    <a:pt x="522" y="2131"/>
                    <a:pt x="1069" y="2131"/>
                  </a:cubicBezTo>
                  <a:cubicBezTo>
                    <a:pt x="1333" y="2131"/>
                    <a:pt x="1602" y="2033"/>
                    <a:pt x="1821" y="1814"/>
                  </a:cubicBezTo>
                  <a:cubicBezTo>
                    <a:pt x="2488" y="1147"/>
                    <a:pt x="2016" y="1"/>
                    <a:pt x="1065"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000" name="Google Shape;2000;p104"/>
            <p:cNvSpPr/>
            <p:nvPr/>
          </p:nvSpPr>
          <p:spPr>
            <a:xfrm>
              <a:off x="2599725" y="3780375"/>
              <a:ext cx="62400" cy="53475"/>
            </a:xfrm>
            <a:custGeom>
              <a:avLst/>
              <a:gdLst/>
              <a:ahLst/>
              <a:cxnLst/>
              <a:rect l="l" t="t" r="r" b="b"/>
              <a:pathLst>
                <a:path w="2496" h="2139" extrusionOk="0">
                  <a:moveTo>
                    <a:pt x="1065" y="0"/>
                  </a:moveTo>
                  <a:cubicBezTo>
                    <a:pt x="472" y="0"/>
                    <a:pt x="0" y="480"/>
                    <a:pt x="0" y="1073"/>
                  </a:cubicBezTo>
                  <a:cubicBezTo>
                    <a:pt x="0" y="1715"/>
                    <a:pt x="526" y="2139"/>
                    <a:pt x="1073" y="2139"/>
                  </a:cubicBezTo>
                  <a:cubicBezTo>
                    <a:pt x="1336" y="2139"/>
                    <a:pt x="1604" y="2040"/>
                    <a:pt x="1821" y="1821"/>
                  </a:cubicBezTo>
                  <a:cubicBezTo>
                    <a:pt x="2496" y="1146"/>
                    <a:pt x="2016" y="0"/>
                    <a:pt x="1065"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001" name="Google Shape;2001;p104"/>
            <p:cNvSpPr/>
            <p:nvPr/>
          </p:nvSpPr>
          <p:spPr>
            <a:xfrm>
              <a:off x="2599725" y="3704150"/>
              <a:ext cx="62200" cy="53450"/>
            </a:xfrm>
            <a:custGeom>
              <a:avLst/>
              <a:gdLst/>
              <a:ahLst/>
              <a:cxnLst/>
              <a:rect l="l" t="t" r="r" b="b"/>
              <a:pathLst>
                <a:path w="2488" h="2138" extrusionOk="0">
                  <a:moveTo>
                    <a:pt x="1065" y="1"/>
                  </a:moveTo>
                  <a:cubicBezTo>
                    <a:pt x="480" y="1"/>
                    <a:pt x="0" y="480"/>
                    <a:pt x="0" y="1066"/>
                  </a:cubicBezTo>
                  <a:cubicBezTo>
                    <a:pt x="0" y="1709"/>
                    <a:pt x="525" y="2137"/>
                    <a:pt x="1074" y="2137"/>
                  </a:cubicBezTo>
                  <a:cubicBezTo>
                    <a:pt x="1336" y="2137"/>
                    <a:pt x="1603" y="2040"/>
                    <a:pt x="1821" y="1822"/>
                  </a:cubicBezTo>
                  <a:cubicBezTo>
                    <a:pt x="2488" y="1147"/>
                    <a:pt x="2016" y="1"/>
                    <a:pt x="1065"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002" name="Google Shape;2002;p104"/>
            <p:cNvSpPr/>
            <p:nvPr/>
          </p:nvSpPr>
          <p:spPr>
            <a:xfrm>
              <a:off x="2599725" y="3627950"/>
              <a:ext cx="62200" cy="53425"/>
            </a:xfrm>
            <a:custGeom>
              <a:avLst/>
              <a:gdLst/>
              <a:ahLst/>
              <a:cxnLst/>
              <a:rect l="l" t="t" r="r" b="b"/>
              <a:pathLst>
                <a:path w="2488" h="2137" extrusionOk="0">
                  <a:moveTo>
                    <a:pt x="1065" y="0"/>
                  </a:moveTo>
                  <a:cubicBezTo>
                    <a:pt x="480" y="8"/>
                    <a:pt x="0" y="480"/>
                    <a:pt x="0" y="1073"/>
                  </a:cubicBezTo>
                  <a:cubicBezTo>
                    <a:pt x="0" y="1711"/>
                    <a:pt x="525" y="2137"/>
                    <a:pt x="1073" y="2137"/>
                  </a:cubicBezTo>
                  <a:cubicBezTo>
                    <a:pt x="1335" y="2137"/>
                    <a:pt x="1603" y="2039"/>
                    <a:pt x="1821" y="1821"/>
                  </a:cubicBezTo>
                  <a:cubicBezTo>
                    <a:pt x="2488" y="1154"/>
                    <a:pt x="2016" y="0"/>
                    <a:pt x="1065"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003" name="Google Shape;2003;p104"/>
            <p:cNvSpPr/>
            <p:nvPr/>
          </p:nvSpPr>
          <p:spPr>
            <a:xfrm>
              <a:off x="2599725" y="3551925"/>
              <a:ext cx="62200" cy="53300"/>
            </a:xfrm>
            <a:custGeom>
              <a:avLst/>
              <a:gdLst/>
              <a:ahLst/>
              <a:cxnLst/>
              <a:rect l="l" t="t" r="r" b="b"/>
              <a:pathLst>
                <a:path w="2488" h="2132" extrusionOk="0">
                  <a:moveTo>
                    <a:pt x="1065" y="1"/>
                  </a:moveTo>
                  <a:cubicBezTo>
                    <a:pt x="472" y="1"/>
                    <a:pt x="0" y="480"/>
                    <a:pt x="0" y="1066"/>
                  </a:cubicBezTo>
                  <a:cubicBezTo>
                    <a:pt x="0" y="1708"/>
                    <a:pt x="522" y="2131"/>
                    <a:pt x="1069" y="2131"/>
                  </a:cubicBezTo>
                  <a:cubicBezTo>
                    <a:pt x="1333" y="2131"/>
                    <a:pt x="1602" y="2033"/>
                    <a:pt x="1821" y="1814"/>
                  </a:cubicBezTo>
                  <a:cubicBezTo>
                    <a:pt x="2488" y="1147"/>
                    <a:pt x="2016" y="1"/>
                    <a:pt x="1065"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004" name="Google Shape;2004;p104"/>
            <p:cNvSpPr/>
            <p:nvPr/>
          </p:nvSpPr>
          <p:spPr>
            <a:xfrm>
              <a:off x="2599725" y="3475725"/>
              <a:ext cx="62200" cy="53350"/>
            </a:xfrm>
            <a:custGeom>
              <a:avLst/>
              <a:gdLst/>
              <a:ahLst/>
              <a:cxnLst/>
              <a:rect l="l" t="t" r="r" b="b"/>
              <a:pathLst>
                <a:path w="2488" h="2134" extrusionOk="0">
                  <a:moveTo>
                    <a:pt x="1065" y="0"/>
                  </a:moveTo>
                  <a:cubicBezTo>
                    <a:pt x="472" y="0"/>
                    <a:pt x="0" y="480"/>
                    <a:pt x="0" y="1065"/>
                  </a:cubicBezTo>
                  <a:cubicBezTo>
                    <a:pt x="0" y="1709"/>
                    <a:pt x="525" y="2133"/>
                    <a:pt x="1074" y="2133"/>
                  </a:cubicBezTo>
                  <a:cubicBezTo>
                    <a:pt x="1336" y="2133"/>
                    <a:pt x="1603" y="2037"/>
                    <a:pt x="1821" y="1821"/>
                  </a:cubicBezTo>
                  <a:cubicBezTo>
                    <a:pt x="2488" y="1146"/>
                    <a:pt x="2016" y="0"/>
                    <a:pt x="1065"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005" name="Google Shape;2005;p104"/>
            <p:cNvSpPr/>
            <p:nvPr/>
          </p:nvSpPr>
          <p:spPr>
            <a:xfrm>
              <a:off x="2523500" y="3932800"/>
              <a:ext cx="62225" cy="53475"/>
            </a:xfrm>
            <a:custGeom>
              <a:avLst/>
              <a:gdLst/>
              <a:ahLst/>
              <a:cxnLst/>
              <a:rect l="l" t="t" r="r" b="b"/>
              <a:pathLst>
                <a:path w="2489" h="2139" extrusionOk="0">
                  <a:moveTo>
                    <a:pt x="1066" y="0"/>
                  </a:moveTo>
                  <a:cubicBezTo>
                    <a:pt x="480" y="0"/>
                    <a:pt x="1" y="480"/>
                    <a:pt x="1" y="1073"/>
                  </a:cubicBezTo>
                  <a:cubicBezTo>
                    <a:pt x="6" y="1715"/>
                    <a:pt x="530" y="2139"/>
                    <a:pt x="1075" y="2139"/>
                  </a:cubicBezTo>
                  <a:cubicBezTo>
                    <a:pt x="1338" y="2139"/>
                    <a:pt x="1605" y="2041"/>
                    <a:pt x="1822" y="1821"/>
                  </a:cubicBezTo>
                  <a:cubicBezTo>
                    <a:pt x="2488" y="1146"/>
                    <a:pt x="2017" y="0"/>
                    <a:pt x="1066"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006" name="Google Shape;2006;p104"/>
            <p:cNvSpPr/>
            <p:nvPr/>
          </p:nvSpPr>
          <p:spPr>
            <a:xfrm>
              <a:off x="2523500" y="3856775"/>
              <a:ext cx="62225" cy="53300"/>
            </a:xfrm>
            <a:custGeom>
              <a:avLst/>
              <a:gdLst/>
              <a:ahLst/>
              <a:cxnLst/>
              <a:rect l="l" t="t" r="r" b="b"/>
              <a:pathLst>
                <a:path w="2489" h="2132" extrusionOk="0">
                  <a:moveTo>
                    <a:pt x="1066" y="1"/>
                  </a:moveTo>
                  <a:cubicBezTo>
                    <a:pt x="480" y="1"/>
                    <a:pt x="1" y="480"/>
                    <a:pt x="1" y="1066"/>
                  </a:cubicBezTo>
                  <a:cubicBezTo>
                    <a:pt x="1" y="1708"/>
                    <a:pt x="527" y="2131"/>
                    <a:pt x="1073" y="2131"/>
                  </a:cubicBezTo>
                  <a:cubicBezTo>
                    <a:pt x="1337" y="2131"/>
                    <a:pt x="1605" y="2033"/>
                    <a:pt x="1822" y="1814"/>
                  </a:cubicBezTo>
                  <a:cubicBezTo>
                    <a:pt x="2488" y="1147"/>
                    <a:pt x="2017" y="1"/>
                    <a:pt x="1066"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007" name="Google Shape;2007;p104"/>
            <p:cNvSpPr/>
            <p:nvPr/>
          </p:nvSpPr>
          <p:spPr>
            <a:xfrm>
              <a:off x="2523500" y="3780375"/>
              <a:ext cx="62425" cy="53475"/>
            </a:xfrm>
            <a:custGeom>
              <a:avLst/>
              <a:gdLst/>
              <a:ahLst/>
              <a:cxnLst/>
              <a:rect l="l" t="t" r="r" b="b"/>
              <a:pathLst>
                <a:path w="2497" h="2139" extrusionOk="0">
                  <a:moveTo>
                    <a:pt x="1066" y="0"/>
                  </a:moveTo>
                  <a:cubicBezTo>
                    <a:pt x="480" y="0"/>
                    <a:pt x="1" y="480"/>
                    <a:pt x="1" y="1073"/>
                  </a:cubicBezTo>
                  <a:cubicBezTo>
                    <a:pt x="6" y="1715"/>
                    <a:pt x="530" y="2139"/>
                    <a:pt x="1078" y="2139"/>
                  </a:cubicBezTo>
                  <a:cubicBezTo>
                    <a:pt x="1341" y="2139"/>
                    <a:pt x="1610" y="2040"/>
                    <a:pt x="1830" y="1821"/>
                  </a:cubicBezTo>
                  <a:cubicBezTo>
                    <a:pt x="2496" y="1146"/>
                    <a:pt x="2017" y="0"/>
                    <a:pt x="1066"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008" name="Google Shape;2008;p104"/>
            <p:cNvSpPr/>
            <p:nvPr/>
          </p:nvSpPr>
          <p:spPr>
            <a:xfrm>
              <a:off x="2523500" y="3704150"/>
              <a:ext cx="62225" cy="53450"/>
            </a:xfrm>
            <a:custGeom>
              <a:avLst/>
              <a:gdLst/>
              <a:ahLst/>
              <a:cxnLst/>
              <a:rect l="l" t="t" r="r" b="b"/>
              <a:pathLst>
                <a:path w="2489" h="2138" extrusionOk="0">
                  <a:moveTo>
                    <a:pt x="1066" y="1"/>
                  </a:moveTo>
                  <a:cubicBezTo>
                    <a:pt x="480" y="1"/>
                    <a:pt x="1" y="480"/>
                    <a:pt x="1" y="1066"/>
                  </a:cubicBezTo>
                  <a:cubicBezTo>
                    <a:pt x="1" y="1709"/>
                    <a:pt x="526" y="2137"/>
                    <a:pt x="1074" y="2137"/>
                  </a:cubicBezTo>
                  <a:cubicBezTo>
                    <a:pt x="1336" y="2137"/>
                    <a:pt x="1604" y="2040"/>
                    <a:pt x="1822" y="1822"/>
                  </a:cubicBezTo>
                  <a:cubicBezTo>
                    <a:pt x="2488" y="1147"/>
                    <a:pt x="2017" y="1"/>
                    <a:pt x="1066"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009" name="Google Shape;2009;p104"/>
            <p:cNvSpPr/>
            <p:nvPr/>
          </p:nvSpPr>
          <p:spPr>
            <a:xfrm>
              <a:off x="2523500" y="3627950"/>
              <a:ext cx="62225" cy="53475"/>
            </a:xfrm>
            <a:custGeom>
              <a:avLst/>
              <a:gdLst/>
              <a:ahLst/>
              <a:cxnLst/>
              <a:rect l="l" t="t" r="r" b="b"/>
              <a:pathLst>
                <a:path w="2489" h="2139" extrusionOk="0">
                  <a:moveTo>
                    <a:pt x="1066" y="0"/>
                  </a:moveTo>
                  <a:cubicBezTo>
                    <a:pt x="480" y="8"/>
                    <a:pt x="1" y="488"/>
                    <a:pt x="1" y="1073"/>
                  </a:cubicBezTo>
                  <a:cubicBezTo>
                    <a:pt x="1" y="1715"/>
                    <a:pt x="527" y="2139"/>
                    <a:pt x="1073" y="2139"/>
                  </a:cubicBezTo>
                  <a:cubicBezTo>
                    <a:pt x="1337" y="2139"/>
                    <a:pt x="1605" y="2040"/>
                    <a:pt x="1822" y="1821"/>
                  </a:cubicBezTo>
                  <a:cubicBezTo>
                    <a:pt x="2488" y="1146"/>
                    <a:pt x="2017" y="0"/>
                    <a:pt x="1066"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010" name="Google Shape;2010;p104"/>
            <p:cNvSpPr/>
            <p:nvPr/>
          </p:nvSpPr>
          <p:spPr>
            <a:xfrm>
              <a:off x="2523500" y="3551925"/>
              <a:ext cx="62225" cy="53300"/>
            </a:xfrm>
            <a:custGeom>
              <a:avLst/>
              <a:gdLst/>
              <a:ahLst/>
              <a:cxnLst/>
              <a:rect l="l" t="t" r="r" b="b"/>
              <a:pathLst>
                <a:path w="2489" h="2132" extrusionOk="0">
                  <a:moveTo>
                    <a:pt x="1066" y="1"/>
                  </a:moveTo>
                  <a:cubicBezTo>
                    <a:pt x="480" y="1"/>
                    <a:pt x="1" y="480"/>
                    <a:pt x="1" y="1066"/>
                  </a:cubicBezTo>
                  <a:cubicBezTo>
                    <a:pt x="1" y="1708"/>
                    <a:pt x="527" y="2131"/>
                    <a:pt x="1073" y="2131"/>
                  </a:cubicBezTo>
                  <a:cubicBezTo>
                    <a:pt x="1337" y="2131"/>
                    <a:pt x="1605" y="2033"/>
                    <a:pt x="1822" y="1814"/>
                  </a:cubicBezTo>
                  <a:cubicBezTo>
                    <a:pt x="2488" y="1147"/>
                    <a:pt x="2017" y="1"/>
                    <a:pt x="1066"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011" name="Google Shape;2011;p104"/>
            <p:cNvSpPr/>
            <p:nvPr/>
          </p:nvSpPr>
          <p:spPr>
            <a:xfrm>
              <a:off x="2523500" y="3475725"/>
              <a:ext cx="62225" cy="53350"/>
            </a:xfrm>
            <a:custGeom>
              <a:avLst/>
              <a:gdLst/>
              <a:ahLst/>
              <a:cxnLst/>
              <a:rect l="l" t="t" r="r" b="b"/>
              <a:pathLst>
                <a:path w="2489" h="2134" extrusionOk="0">
                  <a:moveTo>
                    <a:pt x="1066" y="0"/>
                  </a:moveTo>
                  <a:cubicBezTo>
                    <a:pt x="480" y="0"/>
                    <a:pt x="1" y="480"/>
                    <a:pt x="1" y="1065"/>
                  </a:cubicBezTo>
                  <a:cubicBezTo>
                    <a:pt x="1" y="1709"/>
                    <a:pt x="526" y="2133"/>
                    <a:pt x="1075" y="2133"/>
                  </a:cubicBezTo>
                  <a:cubicBezTo>
                    <a:pt x="1336" y="2133"/>
                    <a:pt x="1604" y="2037"/>
                    <a:pt x="1822" y="1821"/>
                  </a:cubicBezTo>
                  <a:cubicBezTo>
                    <a:pt x="2488" y="1146"/>
                    <a:pt x="2017" y="0"/>
                    <a:pt x="1066"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012" name="Google Shape;2012;p104"/>
            <p:cNvSpPr/>
            <p:nvPr/>
          </p:nvSpPr>
          <p:spPr>
            <a:xfrm>
              <a:off x="2523500" y="3399500"/>
              <a:ext cx="62225" cy="53350"/>
            </a:xfrm>
            <a:custGeom>
              <a:avLst/>
              <a:gdLst/>
              <a:ahLst/>
              <a:cxnLst/>
              <a:rect l="l" t="t" r="r" b="b"/>
              <a:pathLst>
                <a:path w="2489" h="2134" extrusionOk="0">
                  <a:moveTo>
                    <a:pt x="1066" y="1"/>
                  </a:moveTo>
                  <a:cubicBezTo>
                    <a:pt x="480" y="1"/>
                    <a:pt x="1" y="480"/>
                    <a:pt x="1" y="1066"/>
                  </a:cubicBezTo>
                  <a:cubicBezTo>
                    <a:pt x="1" y="1709"/>
                    <a:pt x="526" y="2134"/>
                    <a:pt x="1075" y="2134"/>
                  </a:cubicBezTo>
                  <a:cubicBezTo>
                    <a:pt x="1336" y="2134"/>
                    <a:pt x="1604" y="2037"/>
                    <a:pt x="1822" y="1822"/>
                  </a:cubicBezTo>
                  <a:cubicBezTo>
                    <a:pt x="2488" y="1147"/>
                    <a:pt x="2017" y="1"/>
                    <a:pt x="1066"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013" name="Google Shape;2013;p104"/>
            <p:cNvSpPr/>
            <p:nvPr/>
          </p:nvSpPr>
          <p:spPr>
            <a:xfrm>
              <a:off x="2447300" y="4085225"/>
              <a:ext cx="62400" cy="53350"/>
            </a:xfrm>
            <a:custGeom>
              <a:avLst/>
              <a:gdLst/>
              <a:ahLst/>
              <a:cxnLst/>
              <a:rect l="l" t="t" r="r" b="b"/>
              <a:pathLst>
                <a:path w="2496" h="2134" extrusionOk="0">
                  <a:moveTo>
                    <a:pt x="1065" y="0"/>
                  </a:moveTo>
                  <a:cubicBezTo>
                    <a:pt x="480" y="0"/>
                    <a:pt x="8" y="480"/>
                    <a:pt x="0" y="1065"/>
                  </a:cubicBezTo>
                  <a:cubicBezTo>
                    <a:pt x="0" y="1709"/>
                    <a:pt x="525" y="2133"/>
                    <a:pt x="1074" y="2133"/>
                  </a:cubicBezTo>
                  <a:cubicBezTo>
                    <a:pt x="1336" y="2133"/>
                    <a:pt x="1603" y="2037"/>
                    <a:pt x="1821" y="1821"/>
                  </a:cubicBezTo>
                  <a:cubicBezTo>
                    <a:pt x="2496" y="1147"/>
                    <a:pt x="2016" y="0"/>
                    <a:pt x="1065"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014" name="Google Shape;2014;p104"/>
            <p:cNvSpPr/>
            <p:nvPr/>
          </p:nvSpPr>
          <p:spPr>
            <a:xfrm>
              <a:off x="2447300" y="4009000"/>
              <a:ext cx="62400" cy="53350"/>
            </a:xfrm>
            <a:custGeom>
              <a:avLst/>
              <a:gdLst/>
              <a:ahLst/>
              <a:cxnLst/>
              <a:rect l="l" t="t" r="r" b="b"/>
              <a:pathLst>
                <a:path w="2496" h="2134" extrusionOk="0">
                  <a:moveTo>
                    <a:pt x="1065" y="1"/>
                  </a:moveTo>
                  <a:cubicBezTo>
                    <a:pt x="480" y="1"/>
                    <a:pt x="0" y="480"/>
                    <a:pt x="0" y="1066"/>
                  </a:cubicBezTo>
                  <a:cubicBezTo>
                    <a:pt x="0" y="1710"/>
                    <a:pt x="529" y="2134"/>
                    <a:pt x="1078" y="2134"/>
                  </a:cubicBezTo>
                  <a:cubicBezTo>
                    <a:pt x="1339" y="2134"/>
                    <a:pt x="1606" y="2037"/>
                    <a:pt x="1821" y="1822"/>
                  </a:cubicBezTo>
                  <a:cubicBezTo>
                    <a:pt x="2496" y="1147"/>
                    <a:pt x="2016" y="1"/>
                    <a:pt x="1065"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015" name="Google Shape;2015;p104"/>
            <p:cNvSpPr/>
            <p:nvPr/>
          </p:nvSpPr>
          <p:spPr>
            <a:xfrm>
              <a:off x="2447300" y="3932800"/>
              <a:ext cx="62200" cy="53475"/>
            </a:xfrm>
            <a:custGeom>
              <a:avLst/>
              <a:gdLst/>
              <a:ahLst/>
              <a:cxnLst/>
              <a:rect l="l" t="t" r="r" b="b"/>
              <a:pathLst>
                <a:path w="2488" h="2139" extrusionOk="0">
                  <a:moveTo>
                    <a:pt x="1065" y="0"/>
                  </a:moveTo>
                  <a:cubicBezTo>
                    <a:pt x="480" y="0"/>
                    <a:pt x="0" y="480"/>
                    <a:pt x="0" y="1073"/>
                  </a:cubicBezTo>
                  <a:cubicBezTo>
                    <a:pt x="6" y="1715"/>
                    <a:pt x="530" y="2139"/>
                    <a:pt x="1075" y="2139"/>
                  </a:cubicBezTo>
                  <a:cubicBezTo>
                    <a:pt x="1337" y="2139"/>
                    <a:pt x="1604" y="2041"/>
                    <a:pt x="1821" y="1821"/>
                  </a:cubicBezTo>
                  <a:cubicBezTo>
                    <a:pt x="2488" y="1146"/>
                    <a:pt x="2016" y="0"/>
                    <a:pt x="1065"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016" name="Google Shape;2016;p104"/>
            <p:cNvSpPr/>
            <p:nvPr/>
          </p:nvSpPr>
          <p:spPr>
            <a:xfrm>
              <a:off x="2447300" y="3856775"/>
              <a:ext cx="62200" cy="53300"/>
            </a:xfrm>
            <a:custGeom>
              <a:avLst/>
              <a:gdLst/>
              <a:ahLst/>
              <a:cxnLst/>
              <a:rect l="l" t="t" r="r" b="b"/>
              <a:pathLst>
                <a:path w="2488" h="2132" extrusionOk="0">
                  <a:moveTo>
                    <a:pt x="1065" y="1"/>
                  </a:moveTo>
                  <a:cubicBezTo>
                    <a:pt x="480" y="1"/>
                    <a:pt x="0" y="480"/>
                    <a:pt x="0" y="1066"/>
                  </a:cubicBezTo>
                  <a:cubicBezTo>
                    <a:pt x="0" y="1708"/>
                    <a:pt x="526" y="2131"/>
                    <a:pt x="1073" y="2131"/>
                  </a:cubicBezTo>
                  <a:cubicBezTo>
                    <a:pt x="1336" y="2131"/>
                    <a:pt x="1604" y="2033"/>
                    <a:pt x="1821" y="1814"/>
                  </a:cubicBezTo>
                  <a:cubicBezTo>
                    <a:pt x="2488" y="1147"/>
                    <a:pt x="2016" y="1"/>
                    <a:pt x="1065"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017" name="Google Shape;2017;p104"/>
            <p:cNvSpPr/>
            <p:nvPr/>
          </p:nvSpPr>
          <p:spPr>
            <a:xfrm>
              <a:off x="2447300" y="3780375"/>
              <a:ext cx="62400" cy="53475"/>
            </a:xfrm>
            <a:custGeom>
              <a:avLst/>
              <a:gdLst/>
              <a:ahLst/>
              <a:cxnLst/>
              <a:rect l="l" t="t" r="r" b="b"/>
              <a:pathLst>
                <a:path w="2496" h="2139" extrusionOk="0">
                  <a:moveTo>
                    <a:pt x="1065" y="0"/>
                  </a:moveTo>
                  <a:cubicBezTo>
                    <a:pt x="480" y="0"/>
                    <a:pt x="0" y="480"/>
                    <a:pt x="0" y="1073"/>
                  </a:cubicBezTo>
                  <a:cubicBezTo>
                    <a:pt x="6" y="1715"/>
                    <a:pt x="530" y="2139"/>
                    <a:pt x="1077" y="2139"/>
                  </a:cubicBezTo>
                  <a:cubicBezTo>
                    <a:pt x="1341" y="2139"/>
                    <a:pt x="1610" y="2040"/>
                    <a:pt x="1829" y="1821"/>
                  </a:cubicBezTo>
                  <a:cubicBezTo>
                    <a:pt x="2496" y="1146"/>
                    <a:pt x="2016" y="0"/>
                    <a:pt x="1065"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018" name="Google Shape;2018;p104"/>
            <p:cNvSpPr/>
            <p:nvPr/>
          </p:nvSpPr>
          <p:spPr>
            <a:xfrm>
              <a:off x="2447300" y="3704150"/>
              <a:ext cx="62400" cy="53450"/>
            </a:xfrm>
            <a:custGeom>
              <a:avLst/>
              <a:gdLst/>
              <a:ahLst/>
              <a:cxnLst/>
              <a:rect l="l" t="t" r="r" b="b"/>
              <a:pathLst>
                <a:path w="2496" h="2138" extrusionOk="0">
                  <a:moveTo>
                    <a:pt x="1065" y="1"/>
                  </a:moveTo>
                  <a:cubicBezTo>
                    <a:pt x="480" y="1"/>
                    <a:pt x="8" y="480"/>
                    <a:pt x="0" y="1066"/>
                  </a:cubicBezTo>
                  <a:cubicBezTo>
                    <a:pt x="0" y="1709"/>
                    <a:pt x="525" y="2137"/>
                    <a:pt x="1074" y="2137"/>
                  </a:cubicBezTo>
                  <a:cubicBezTo>
                    <a:pt x="1336" y="2137"/>
                    <a:pt x="1603" y="2040"/>
                    <a:pt x="1821" y="1822"/>
                  </a:cubicBezTo>
                  <a:cubicBezTo>
                    <a:pt x="2496" y="1147"/>
                    <a:pt x="2016" y="1"/>
                    <a:pt x="1065"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019" name="Google Shape;2019;p104"/>
            <p:cNvSpPr/>
            <p:nvPr/>
          </p:nvSpPr>
          <p:spPr>
            <a:xfrm>
              <a:off x="2447300" y="3627950"/>
              <a:ext cx="62400" cy="53425"/>
            </a:xfrm>
            <a:custGeom>
              <a:avLst/>
              <a:gdLst/>
              <a:ahLst/>
              <a:cxnLst/>
              <a:rect l="l" t="t" r="r" b="b"/>
              <a:pathLst>
                <a:path w="2496" h="2137" extrusionOk="0">
                  <a:moveTo>
                    <a:pt x="1065" y="0"/>
                  </a:moveTo>
                  <a:cubicBezTo>
                    <a:pt x="480" y="8"/>
                    <a:pt x="0" y="480"/>
                    <a:pt x="0" y="1073"/>
                  </a:cubicBezTo>
                  <a:cubicBezTo>
                    <a:pt x="0" y="1711"/>
                    <a:pt x="528" y="2137"/>
                    <a:pt x="1076" y="2137"/>
                  </a:cubicBezTo>
                  <a:cubicBezTo>
                    <a:pt x="1339" y="2137"/>
                    <a:pt x="1605" y="2039"/>
                    <a:pt x="1821" y="1821"/>
                  </a:cubicBezTo>
                  <a:cubicBezTo>
                    <a:pt x="2496" y="1154"/>
                    <a:pt x="2016" y="0"/>
                    <a:pt x="1065"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020" name="Google Shape;2020;p104"/>
            <p:cNvSpPr/>
            <p:nvPr/>
          </p:nvSpPr>
          <p:spPr>
            <a:xfrm>
              <a:off x="2447300" y="3551925"/>
              <a:ext cx="62200" cy="53300"/>
            </a:xfrm>
            <a:custGeom>
              <a:avLst/>
              <a:gdLst/>
              <a:ahLst/>
              <a:cxnLst/>
              <a:rect l="l" t="t" r="r" b="b"/>
              <a:pathLst>
                <a:path w="2488" h="2132" extrusionOk="0">
                  <a:moveTo>
                    <a:pt x="1065" y="1"/>
                  </a:moveTo>
                  <a:cubicBezTo>
                    <a:pt x="480" y="1"/>
                    <a:pt x="0" y="480"/>
                    <a:pt x="0" y="1066"/>
                  </a:cubicBezTo>
                  <a:cubicBezTo>
                    <a:pt x="0" y="1708"/>
                    <a:pt x="526" y="2131"/>
                    <a:pt x="1073" y="2131"/>
                  </a:cubicBezTo>
                  <a:cubicBezTo>
                    <a:pt x="1336" y="2131"/>
                    <a:pt x="1604" y="2033"/>
                    <a:pt x="1821" y="1814"/>
                  </a:cubicBezTo>
                  <a:cubicBezTo>
                    <a:pt x="2488" y="1147"/>
                    <a:pt x="2016" y="1"/>
                    <a:pt x="1065"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021" name="Google Shape;2021;p104"/>
            <p:cNvSpPr/>
            <p:nvPr/>
          </p:nvSpPr>
          <p:spPr>
            <a:xfrm>
              <a:off x="2447300" y="3475725"/>
              <a:ext cx="62400" cy="53350"/>
            </a:xfrm>
            <a:custGeom>
              <a:avLst/>
              <a:gdLst/>
              <a:ahLst/>
              <a:cxnLst/>
              <a:rect l="l" t="t" r="r" b="b"/>
              <a:pathLst>
                <a:path w="2496" h="2134" extrusionOk="0">
                  <a:moveTo>
                    <a:pt x="1065" y="0"/>
                  </a:moveTo>
                  <a:cubicBezTo>
                    <a:pt x="480" y="0"/>
                    <a:pt x="0" y="480"/>
                    <a:pt x="0" y="1065"/>
                  </a:cubicBezTo>
                  <a:cubicBezTo>
                    <a:pt x="0" y="1709"/>
                    <a:pt x="525" y="2133"/>
                    <a:pt x="1074" y="2133"/>
                  </a:cubicBezTo>
                  <a:cubicBezTo>
                    <a:pt x="1336" y="2133"/>
                    <a:pt x="1603" y="2037"/>
                    <a:pt x="1821" y="1821"/>
                  </a:cubicBezTo>
                  <a:cubicBezTo>
                    <a:pt x="2496" y="1146"/>
                    <a:pt x="2016" y="0"/>
                    <a:pt x="1065"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022" name="Google Shape;2022;p104"/>
            <p:cNvSpPr/>
            <p:nvPr/>
          </p:nvSpPr>
          <p:spPr>
            <a:xfrm>
              <a:off x="2447300" y="3399500"/>
              <a:ext cx="62400" cy="53350"/>
            </a:xfrm>
            <a:custGeom>
              <a:avLst/>
              <a:gdLst/>
              <a:ahLst/>
              <a:cxnLst/>
              <a:rect l="l" t="t" r="r" b="b"/>
              <a:pathLst>
                <a:path w="2496" h="2134" extrusionOk="0">
                  <a:moveTo>
                    <a:pt x="1065" y="1"/>
                  </a:moveTo>
                  <a:cubicBezTo>
                    <a:pt x="480" y="1"/>
                    <a:pt x="0" y="480"/>
                    <a:pt x="0" y="1066"/>
                  </a:cubicBezTo>
                  <a:cubicBezTo>
                    <a:pt x="0" y="1709"/>
                    <a:pt x="525" y="2134"/>
                    <a:pt x="1074" y="2134"/>
                  </a:cubicBezTo>
                  <a:cubicBezTo>
                    <a:pt x="1336" y="2134"/>
                    <a:pt x="1603" y="2037"/>
                    <a:pt x="1821" y="1822"/>
                  </a:cubicBezTo>
                  <a:cubicBezTo>
                    <a:pt x="2496" y="1147"/>
                    <a:pt x="2016" y="1"/>
                    <a:pt x="1065"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023" name="Google Shape;2023;p104"/>
            <p:cNvSpPr/>
            <p:nvPr/>
          </p:nvSpPr>
          <p:spPr>
            <a:xfrm>
              <a:off x="2447300" y="3323300"/>
              <a:ext cx="62400" cy="53425"/>
            </a:xfrm>
            <a:custGeom>
              <a:avLst/>
              <a:gdLst/>
              <a:ahLst/>
              <a:cxnLst/>
              <a:rect l="l" t="t" r="r" b="b"/>
              <a:pathLst>
                <a:path w="2496" h="2137" extrusionOk="0">
                  <a:moveTo>
                    <a:pt x="1065" y="0"/>
                  </a:moveTo>
                  <a:cubicBezTo>
                    <a:pt x="480" y="0"/>
                    <a:pt x="8" y="480"/>
                    <a:pt x="0" y="1065"/>
                  </a:cubicBezTo>
                  <a:cubicBezTo>
                    <a:pt x="0" y="1709"/>
                    <a:pt x="525" y="2137"/>
                    <a:pt x="1074" y="2137"/>
                  </a:cubicBezTo>
                  <a:cubicBezTo>
                    <a:pt x="1336" y="2137"/>
                    <a:pt x="1603" y="2039"/>
                    <a:pt x="1821" y="1821"/>
                  </a:cubicBezTo>
                  <a:cubicBezTo>
                    <a:pt x="2496" y="1154"/>
                    <a:pt x="2016" y="0"/>
                    <a:pt x="1065"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024" name="Google Shape;2024;p104"/>
            <p:cNvSpPr/>
            <p:nvPr/>
          </p:nvSpPr>
          <p:spPr>
            <a:xfrm>
              <a:off x="2371275" y="4237450"/>
              <a:ext cx="62225" cy="53425"/>
            </a:xfrm>
            <a:custGeom>
              <a:avLst/>
              <a:gdLst/>
              <a:ahLst/>
              <a:cxnLst/>
              <a:rect l="l" t="t" r="r" b="b"/>
              <a:pathLst>
                <a:path w="2489" h="2137" extrusionOk="0">
                  <a:moveTo>
                    <a:pt x="1066" y="0"/>
                  </a:moveTo>
                  <a:cubicBezTo>
                    <a:pt x="472" y="8"/>
                    <a:pt x="1" y="480"/>
                    <a:pt x="1" y="1073"/>
                  </a:cubicBezTo>
                  <a:cubicBezTo>
                    <a:pt x="1" y="1711"/>
                    <a:pt x="525" y="2137"/>
                    <a:pt x="1071" y="2137"/>
                  </a:cubicBezTo>
                  <a:cubicBezTo>
                    <a:pt x="1332" y="2137"/>
                    <a:pt x="1598" y="2040"/>
                    <a:pt x="1814" y="1821"/>
                  </a:cubicBezTo>
                  <a:cubicBezTo>
                    <a:pt x="2488" y="1155"/>
                    <a:pt x="2009" y="0"/>
                    <a:pt x="1066"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025" name="Google Shape;2025;p104"/>
            <p:cNvSpPr/>
            <p:nvPr/>
          </p:nvSpPr>
          <p:spPr>
            <a:xfrm>
              <a:off x="2371275" y="4161425"/>
              <a:ext cx="62225" cy="53300"/>
            </a:xfrm>
            <a:custGeom>
              <a:avLst/>
              <a:gdLst/>
              <a:ahLst/>
              <a:cxnLst/>
              <a:rect l="l" t="t" r="r" b="b"/>
              <a:pathLst>
                <a:path w="2489" h="2132" extrusionOk="0">
                  <a:moveTo>
                    <a:pt x="1066" y="1"/>
                  </a:moveTo>
                  <a:cubicBezTo>
                    <a:pt x="472" y="1"/>
                    <a:pt x="1" y="472"/>
                    <a:pt x="1" y="1066"/>
                  </a:cubicBezTo>
                  <a:cubicBezTo>
                    <a:pt x="1" y="1708"/>
                    <a:pt x="523" y="2131"/>
                    <a:pt x="1067" y="2131"/>
                  </a:cubicBezTo>
                  <a:cubicBezTo>
                    <a:pt x="1329" y="2131"/>
                    <a:pt x="1597" y="2033"/>
                    <a:pt x="1814" y="1814"/>
                  </a:cubicBezTo>
                  <a:cubicBezTo>
                    <a:pt x="2488" y="1147"/>
                    <a:pt x="2009" y="1"/>
                    <a:pt x="1066"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026" name="Google Shape;2026;p104"/>
            <p:cNvSpPr/>
            <p:nvPr/>
          </p:nvSpPr>
          <p:spPr>
            <a:xfrm>
              <a:off x="2371275" y="4085225"/>
              <a:ext cx="62225" cy="53350"/>
            </a:xfrm>
            <a:custGeom>
              <a:avLst/>
              <a:gdLst/>
              <a:ahLst/>
              <a:cxnLst/>
              <a:rect l="l" t="t" r="r" b="b"/>
              <a:pathLst>
                <a:path w="2489" h="2134" extrusionOk="0">
                  <a:moveTo>
                    <a:pt x="1066" y="0"/>
                  </a:moveTo>
                  <a:cubicBezTo>
                    <a:pt x="472" y="0"/>
                    <a:pt x="1" y="480"/>
                    <a:pt x="1" y="1065"/>
                  </a:cubicBezTo>
                  <a:cubicBezTo>
                    <a:pt x="1" y="1709"/>
                    <a:pt x="526" y="2133"/>
                    <a:pt x="1072" y="2133"/>
                  </a:cubicBezTo>
                  <a:cubicBezTo>
                    <a:pt x="1333" y="2133"/>
                    <a:pt x="1598" y="2037"/>
                    <a:pt x="1814" y="1821"/>
                  </a:cubicBezTo>
                  <a:cubicBezTo>
                    <a:pt x="2488" y="1147"/>
                    <a:pt x="2009" y="0"/>
                    <a:pt x="1066"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027" name="Google Shape;2027;p104"/>
            <p:cNvSpPr/>
            <p:nvPr/>
          </p:nvSpPr>
          <p:spPr>
            <a:xfrm>
              <a:off x="2371275" y="4009000"/>
              <a:ext cx="62225" cy="53350"/>
            </a:xfrm>
            <a:custGeom>
              <a:avLst/>
              <a:gdLst/>
              <a:ahLst/>
              <a:cxnLst/>
              <a:rect l="l" t="t" r="r" b="b"/>
              <a:pathLst>
                <a:path w="2489" h="2134" extrusionOk="0">
                  <a:moveTo>
                    <a:pt x="1066" y="1"/>
                  </a:moveTo>
                  <a:cubicBezTo>
                    <a:pt x="472" y="1"/>
                    <a:pt x="1" y="480"/>
                    <a:pt x="1" y="1066"/>
                  </a:cubicBezTo>
                  <a:cubicBezTo>
                    <a:pt x="1" y="1710"/>
                    <a:pt x="526" y="2134"/>
                    <a:pt x="1072" y="2134"/>
                  </a:cubicBezTo>
                  <a:cubicBezTo>
                    <a:pt x="1333" y="2134"/>
                    <a:pt x="1598" y="2037"/>
                    <a:pt x="1814" y="1822"/>
                  </a:cubicBezTo>
                  <a:cubicBezTo>
                    <a:pt x="2488" y="1147"/>
                    <a:pt x="2009" y="1"/>
                    <a:pt x="1066"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028" name="Google Shape;2028;p104"/>
            <p:cNvSpPr/>
            <p:nvPr/>
          </p:nvSpPr>
          <p:spPr>
            <a:xfrm>
              <a:off x="2371075" y="3932800"/>
              <a:ext cx="62425" cy="53475"/>
            </a:xfrm>
            <a:custGeom>
              <a:avLst/>
              <a:gdLst/>
              <a:ahLst/>
              <a:cxnLst/>
              <a:rect l="l" t="t" r="r" b="b"/>
              <a:pathLst>
                <a:path w="2497" h="2139" extrusionOk="0">
                  <a:moveTo>
                    <a:pt x="1074" y="0"/>
                  </a:moveTo>
                  <a:cubicBezTo>
                    <a:pt x="480" y="0"/>
                    <a:pt x="1" y="480"/>
                    <a:pt x="1" y="1073"/>
                  </a:cubicBezTo>
                  <a:cubicBezTo>
                    <a:pt x="6" y="1715"/>
                    <a:pt x="530" y="2139"/>
                    <a:pt x="1075" y="2139"/>
                  </a:cubicBezTo>
                  <a:cubicBezTo>
                    <a:pt x="1337" y="2139"/>
                    <a:pt x="1605" y="2041"/>
                    <a:pt x="1822" y="1821"/>
                  </a:cubicBezTo>
                  <a:cubicBezTo>
                    <a:pt x="2496" y="1146"/>
                    <a:pt x="2017" y="0"/>
                    <a:pt x="1074"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029" name="Google Shape;2029;p104"/>
            <p:cNvSpPr/>
            <p:nvPr/>
          </p:nvSpPr>
          <p:spPr>
            <a:xfrm>
              <a:off x="2371075" y="3856775"/>
              <a:ext cx="62425" cy="53300"/>
            </a:xfrm>
            <a:custGeom>
              <a:avLst/>
              <a:gdLst/>
              <a:ahLst/>
              <a:cxnLst/>
              <a:rect l="l" t="t" r="r" b="b"/>
              <a:pathLst>
                <a:path w="2497" h="2132" extrusionOk="0">
                  <a:moveTo>
                    <a:pt x="1074" y="1"/>
                  </a:moveTo>
                  <a:cubicBezTo>
                    <a:pt x="480" y="1"/>
                    <a:pt x="1" y="480"/>
                    <a:pt x="1" y="1066"/>
                  </a:cubicBezTo>
                  <a:cubicBezTo>
                    <a:pt x="6" y="1708"/>
                    <a:pt x="530" y="2131"/>
                    <a:pt x="1075" y="2131"/>
                  </a:cubicBezTo>
                  <a:cubicBezTo>
                    <a:pt x="1337" y="2131"/>
                    <a:pt x="1605" y="2033"/>
                    <a:pt x="1822" y="1814"/>
                  </a:cubicBezTo>
                  <a:cubicBezTo>
                    <a:pt x="2496" y="1147"/>
                    <a:pt x="2017" y="1"/>
                    <a:pt x="1074"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030" name="Google Shape;2030;p104"/>
            <p:cNvSpPr/>
            <p:nvPr/>
          </p:nvSpPr>
          <p:spPr>
            <a:xfrm>
              <a:off x="2371075" y="3780375"/>
              <a:ext cx="62425" cy="53475"/>
            </a:xfrm>
            <a:custGeom>
              <a:avLst/>
              <a:gdLst/>
              <a:ahLst/>
              <a:cxnLst/>
              <a:rect l="l" t="t" r="r" b="b"/>
              <a:pathLst>
                <a:path w="2497" h="2139" extrusionOk="0">
                  <a:moveTo>
                    <a:pt x="1074" y="0"/>
                  </a:moveTo>
                  <a:cubicBezTo>
                    <a:pt x="480" y="0"/>
                    <a:pt x="1" y="480"/>
                    <a:pt x="1" y="1073"/>
                  </a:cubicBezTo>
                  <a:cubicBezTo>
                    <a:pt x="6" y="1715"/>
                    <a:pt x="530" y="2139"/>
                    <a:pt x="1078" y="2139"/>
                  </a:cubicBezTo>
                  <a:cubicBezTo>
                    <a:pt x="1341" y="2139"/>
                    <a:pt x="1610" y="2040"/>
                    <a:pt x="1830" y="1821"/>
                  </a:cubicBezTo>
                  <a:cubicBezTo>
                    <a:pt x="2496" y="1146"/>
                    <a:pt x="2025" y="0"/>
                    <a:pt x="1074"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031" name="Google Shape;2031;p104"/>
            <p:cNvSpPr/>
            <p:nvPr/>
          </p:nvSpPr>
          <p:spPr>
            <a:xfrm>
              <a:off x="2371275" y="3704150"/>
              <a:ext cx="62225" cy="53450"/>
            </a:xfrm>
            <a:custGeom>
              <a:avLst/>
              <a:gdLst/>
              <a:ahLst/>
              <a:cxnLst/>
              <a:rect l="l" t="t" r="r" b="b"/>
              <a:pathLst>
                <a:path w="2489" h="2138" extrusionOk="0">
                  <a:moveTo>
                    <a:pt x="1066" y="1"/>
                  </a:moveTo>
                  <a:cubicBezTo>
                    <a:pt x="472" y="1"/>
                    <a:pt x="1" y="480"/>
                    <a:pt x="1" y="1066"/>
                  </a:cubicBezTo>
                  <a:cubicBezTo>
                    <a:pt x="1" y="1709"/>
                    <a:pt x="526" y="2137"/>
                    <a:pt x="1072" y="2137"/>
                  </a:cubicBezTo>
                  <a:cubicBezTo>
                    <a:pt x="1333" y="2137"/>
                    <a:pt x="1598" y="2040"/>
                    <a:pt x="1814" y="1822"/>
                  </a:cubicBezTo>
                  <a:cubicBezTo>
                    <a:pt x="2488" y="1147"/>
                    <a:pt x="2009" y="1"/>
                    <a:pt x="1066"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032" name="Google Shape;2032;p104"/>
            <p:cNvSpPr/>
            <p:nvPr/>
          </p:nvSpPr>
          <p:spPr>
            <a:xfrm>
              <a:off x="2371275" y="3627950"/>
              <a:ext cx="62225" cy="53425"/>
            </a:xfrm>
            <a:custGeom>
              <a:avLst/>
              <a:gdLst/>
              <a:ahLst/>
              <a:cxnLst/>
              <a:rect l="l" t="t" r="r" b="b"/>
              <a:pathLst>
                <a:path w="2489" h="2137" extrusionOk="0">
                  <a:moveTo>
                    <a:pt x="1066" y="0"/>
                  </a:moveTo>
                  <a:cubicBezTo>
                    <a:pt x="472" y="8"/>
                    <a:pt x="1" y="480"/>
                    <a:pt x="1" y="1073"/>
                  </a:cubicBezTo>
                  <a:cubicBezTo>
                    <a:pt x="1" y="1711"/>
                    <a:pt x="525" y="2137"/>
                    <a:pt x="1071" y="2137"/>
                  </a:cubicBezTo>
                  <a:cubicBezTo>
                    <a:pt x="1332" y="2137"/>
                    <a:pt x="1598" y="2039"/>
                    <a:pt x="1814" y="1821"/>
                  </a:cubicBezTo>
                  <a:cubicBezTo>
                    <a:pt x="2488" y="1154"/>
                    <a:pt x="2009" y="0"/>
                    <a:pt x="1066"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033" name="Google Shape;2033;p104"/>
            <p:cNvSpPr/>
            <p:nvPr/>
          </p:nvSpPr>
          <p:spPr>
            <a:xfrm>
              <a:off x="2371075" y="3551925"/>
              <a:ext cx="62425" cy="53300"/>
            </a:xfrm>
            <a:custGeom>
              <a:avLst/>
              <a:gdLst/>
              <a:ahLst/>
              <a:cxnLst/>
              <a:rect l="l" t="t" r="r" b="b"/>
              <a:pathLst>
                <a:path w="2497" h="2132" extrusionOk="0">
                  <a:moveTo>
                    <a:pt x="1074" y="1"/>
                  </a:moveTo>
                  <a:cubicBezTo>
                    <a:pt x="480" y="1"/>
                    <a:pt x="1" y="480"/>
                    <a:pt x="1" y="1066"/>
                  </a:cubicBezTo>
                  <a:cubicBezTo>
                    <a:pt x="6" y="1708"/>
                    <a:pt x="530" y="2131"/>
                    <a:pt x="1075" y="2131"/>
                  </a:cubicBezTo>
                  <a:cubicBezTo>
                    <a:pt x="1337" y="2131"/>
                    <a:pt x="1605" y="2033"/>
                    <a:pt x="1822" y="1814"/>
                  </a:cubicBezTo>
                  <a:cubicBezTo>
                    <a:pt x="2496" y="1147"/>
                    <a:pt x="2017" y="1"/>
                    <a:pt x="1074"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034" name="Google Shape;2034;p104"/>
            <p:cNvSpPr/>
            <p:nvPr/>
          </p:nvSpPr>
          <p:spPr>
            <a:xfrm>
              <a:off x="2371075" y="3475725"/>
              <a:ext cx="62425" cy="53350"/>
            </a:xfrm>
            <a:custGeom>
              <a:avLst/>
              <a:gdLst/>
              <a:ahLst/>
              <a:cxnLst/>
              <a:rect l="l" t="t" r="r" b="b"/>
              <a:pathLst>
                <a:path w="2497" h="2134" extrusionOk="0">
                  <a:moveTo>
                    <a:pt x="1074" y="0"/>
                  </a:moveTo>
                  <a:cubicBezTo>
                    <a:pt x="480" y="0"/>
                    <a:pt x="9" y="480"/>
                    <a:pt x="1" y="1065"/>
                  </a:cubicBezTo>
                  <a:cubicBezTo>
                    <a:pt x="1" y="1709"/>
                    <a:pt x="530" y="2133"/>
                    <a:pt x="1078" y="2133"/>
                  </a:cubicBezTo>
                  <a:cubicBezTo>
                    <a:pt x="1340" y="2133"/>
                    <a:pt x="1606" y="2037"/>
                    <a:pt x="1822" y="1821"/>
                  </a:cubicBezTo>
                  <a:cubicBezTo>
                    <a:pt x="2496" y="1146"/>
                    <a:pt x="2017" y="0"/>
                    <a:pt x="1074"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035" name="Google Shape;2035;p104"/>
            <p:cNvSpPr/>
            <p:nvPr/>
          </p:nvSpPr>
          <p:spPr>
            <a:xfrm>
              <a:off x="2371075" y="3399500"/>
              <a:ext cx="62425" cy="53350"/>
            </a:xfrm>
            <a:custGeom>
              <a:avLst/>
              <a:gdLst/>
              <a:ahLst/>
              <a:cxnLst/>
              <a:rect l="l" t="t" r="r" b="b"/>
              <a:pathLst>
                <a:path w="2497" h="2134" extrusionOk="0">
                  <a:moveTo>
                    <a:pt x="1074" y="1"/>
                  </a:moveTo>
                  <a:cubicBezTo>
                    <a:pt x="480" y="1"/>
                    <a:pt x="9" y="480"/>
                    <a:pt x="1" y="1066"/>
                  </a:cubicBezTo>
                  <a:cubicBezTo>
                    <a:pt x="1" y="1709"/>
                    <a:pt x="526" y="2134"/>
                    <a:pt x="1075" y="2134"/>
                  </a:cubicBezTo>
                  <a:cubicBezTo>
                    <a:pt x="1336" y="2134"/>
                    <a:pt x="1604" y="2037"/>
                    <a:pt x="1822" y="1822"/>
                  </a:cubicBezTo>
                  <a:cubicBezTo>
                    <a:pt x="2496" y="1147"/>
                    <a:pt x="2017" y="1"/>
                    <a:pt x="1074"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036" name="Google Shape;2036;p104"/>
            <p:cNvSpPr/>
            <p:nvPr/>
          </p:nvSpPr>
          <p:spPr>
            <a:xfrm>
              <a:off x="2371075" y="3323300"/>
              <a:ext cx="62425" cy="53425"/>
            </a:xfrm>
            <a:custGeom>
              <a:avLst/>
              <a:gdLst/>
              <a:ahLst/>
              <a:cxnLst/>
              <a:rect l="l" t="t" r="r" b="b"/>
              <a:pathLst>
                <a:path w="2497" h="2137" extrusionOk="0">
                  <a:moveTo>
                    <a:pt x="1074" y="0"/>
                  </a:moveTo>
                  <a:cubicBezTo>
                    <a:pt x="480" y="0"/>
                    <a:pt x="9" y="480"/>
                    <a:pt x="1" y="1065"/>
                  </a:cubicBezTo>
                  <a:cubicBezTo>
                    <a:pt x="1" y="1709"/>
                    <a:pt x="526" y="2137"/>
                    <a:pt x="1074" y="2137"/>
                  </a:cubicBezTo>
                  <a:cubicBezTo>
                    <a:pt x="1336" y="2137"/>
                    <a:pt x="1603" y="2039"/>
                    <a:pt x="1822" y="1821"/>
                  </a:cubicBezTo>
                  <a:cubicBezTo>
                    <a:pt x="2496" y="1154"/>
                    <a:pt x="2025" y="0"/>
                    <a:pt x="1074"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037" name="Google Shape;2037;p104"/>
            <p:cNvSpPr/>
            <p:nvPr/>
          </p:nvSpPr>
          <p:spPr>
            <a:xfrm>
              <a:off x="2371075" y="3247075"/>
              <a:ext cx="62425" cy="53450"/>
            </a:xfrm>
            <a:custGeom>
              <a:avLst/>
              <a:gdLst/>
              <a:ahLst/>
              <a:cxnLst/>
              <a:rect l="l" t="t" r="r" b="b"/>
              <a:pathLst>
                <a:path w="2497" h="2138" extrusionOk="0">
                  <a:moveTo>
                    <a:pt x="1074" y="1"/>
                  </a:moveTo>
                  <a:cubicBezTo>
                    <a:pt x="480" y="9"/>
                    <a:pt x="9" y="480"/>
                    <a:pt x="1" y="1066"/>
                  </a:cubicBezTo>
                  <a:cubicBezTo>
                    <a:pt x="1" y="1709"/>
                    <a:pt x="526" y="2137"/>
                    <a:pt x="1074" y="2137"/>
                  </a:cubicBezTo>
                  <a:cubicBezTo>
                    <a:pt x="1336" y="2137"/>
                    <a:pt x="1603" y="2040"/>
                    <a:pt x="1822" y="1822"/>
                  </a:cubicBezTo>
                  <a:cubicBezTo>
                    <a:pt x="2496" y="1155"/>
                    <a:pt x="2025" y="1"/>
                    <a:pt x="1074"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038" name="Google Shape;2038;p104"/>
            <p:cNvSpPr/>
            <p:nvPr/>
          </p:nvSpPr>
          <p:spPr>
            <a:xfrm>
              <a:off x="2295075" y="4313650"/>
              <a:ext cx="62200" cy="53450"/>
            </a:xfrm>
            <a:custGeom>
              <a:avLst/>
              <a:gdLst/>
              <a:ahLst/>
              <a:cxnLst/>
              <a:rect l="l" t="t" r="r" b="b"/>
              <a:pathLst>
                <a:path w="2488" h="2138" extrusionOk="0">
                  <a:moveTo>
                    <a:pt x="1065" y="1"/>
                  </a:moveTo>
                  <a:cubicBezTo>
                    <a:pt x="472" y="1"/>
                    <a:pt x="0" y="480"/>
                    <a:pt x="0" y="1066"/>
                  </a:cubicBezTo>
                  <a:cubicBezTo>
                    <a:pt x="0" y="1709"/>
                    <a:pt x="525" y="2137"/>
                    <a:pt x="1071" y="2137"/>
                  </a:cubicBezTo>
                  <a:cubicBezTo>
                    <a:pt x="1332" y="2137"/>
                    <a:pt x="1598" y="2040"/>
                    <a:pt x="1813" y="1822"/>
                  </a:cubicBezTo>
                  <a:cubicBezTo>
                    <a:pt x="2488" y="1147"/>
                    <a:pt x="2016" y="1"/>
                    <a:pt x="1065"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039" name="Google Shape;2039;p104"/>
            <p:cNvSpPr/>
            <p:nvPr/>
          </p:nvSpPr>
          <p:spPr>
            <a:xfrm>
              <a:off x="2295075" y="4237450"/>
              <a:ext cx="62200" cy="53425"/>
            </a:xfrm>
            <a:custGeom>
              <a:avLst/>
              <a:gdLst/>
              <a:ahLst/>
              <a:cxnLst/>
              <a:rect l="l" t="t" r="r" b="b"/>
              <a:pathLst>
                <a:path w="2488" h="2137" extrusionOk="0">
                  <a:moveTo>
                    <a:pt x="1065" y="0"/>
                  </a:moveTo>
                  <a:cubicBezTo>
                    <a:pt x="472" y="8"/>
                    <a:pt x="0" y="480"/>
                    <a:pt x="0" y="1073"/>
                  </a:cubicBezTo>
                  <a:cubicBezTo>
                    <a:pt x="0" y="1711"/>
                    <a:pt x="525" y="2137"/>
                    <a:pt x="1070" y="2137"/>
                  </a:cubicBezTo>
                  <a:cubicBezTo>
                    <a:pt x="1331" y="2137"/>
                    <a:pt x="1597" y="2040"/>
                    <a:pt x="1813" y="1821"/>
                  </a:cubicBezTo>
                  <a:cubicBezTo>
                    <a:pt x="2488" y="1155"/>
                    <a:pt x="2016" y="0"/>
                    <a:pt x="1065"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040" name="Google Shape;2040;p104"/>
            <p:cNvSpPr/>
            <p:nvPr/>
          </p:nvSpPr>
          <p:spPr>
            <a:xfrm>
              <a:off x="2295075" y="4161425"/>
              <a:ext cx="62200" cy="53300"/>
            </a:xfrm>
            <a:custGeom>
              <a:avLst/>
              <a:gdLst/>
              <a:ahLst/>
              <a:cxnLst/>
              <a:rect l="l" t="t" r="r" b="b"/>
              <a:pathLst>
                <a:path w="2488" h="2132" extrusionOk="0">
                  <a:moveTo>
                    <a:pt x="1065" y="1"/>
                  </a:moveTo>
                  <a:cubicBezTo>
                    <a:pt x="472" y="1"/>
                    <a:pt x="0" y="472"/>
                    <a:pt x="0" y="1066"/>
                  </a:cubicBezTo>
                  <a:cubicBezTo>
                    <a:pt x="0" y="1708"/>
                    <a:pt x="522" y="2131"/>
                    <a:pt x="1069" y="2131"/>
                  </a:cubicBezTo>
                  <a:cubicBezTo>
                    <a:pt x="1333" y="2131"/>
                    <a:pt x="1602" y="2033"/>
                    <a:pt x="1821" y="1814"/>
                  </a:cubicBezTo>
                  <a:cubicBezTo>
                    <a:pt x="2488" y="1147"/>
                    <a:pt x="2016" y="1"/>
                    <a:pt x="1065"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041" name="Google Shape;2041;p104"/>
            <p:cNvSpPr/>
            <p:nvPr/>
          </p:nvSpPr>
          <p:spPr>
            <a:xfrm>
              <a:off x="2295075" y="4085225"/>
              <a:ext cx="62200" cy="53350"/>
            </a:xfrm>
            <a:custGeom>
              <a:avLst/>
              <a:gdLst/>
              <a:ahLst/>
              <a:cxnLst/>
              <a:rect l="l" t="t" r="r" b="b"/>
              <a:pathLst>
                <a:path w="2488" h="2134" extrusionOk="0">
                  <a:moveTo>
                    <a:pt x="1065" y="0"/>
                  </a:moveTo>
                  <a:cubicBezTo>
                    <a:pt x="472" y="0"/>
                    <a:pt x="0" y="480"/>
                    <a:pt x="0" y="1065"/>
                  </a:cubicBezTo>
                  <a:cubicBezTo>
                    <a:pt x="0" y="1709"/>
                    <a:pt x="525" y="2133"/>
                    <a:pt x="1072" y="2133"/>
                  </a:cubicBezTo>
                  <a:cubicBezTo>
                    <a:pt x="1332" y="2133"/>
                    <a:pt x="1598" y="2037"/>
                    <a:pt x="1813" y="1821"/>
                  </a:cubicBezTo>
                  <a:cubicBezTo>
                    <a:pt x="2488" y="1147"/>
                    <a:pt x="2016" y="0"/>
                    <a:pt x="1065"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042" name="Google Shape;2042;p104"/>
            <p:cNvSpPr/>
            <p:nvPr/>
          </p:nvSpPr>
          <p:spPr>
            <a:xfrm>
              <a:off x="2295075" y="4009000"/>
              <a:ext cx="62200" cy="53350"/>
            </a:xfrm>
            <a:custGeom>
              <a:avLst/>
              <a:gdLst/>
              <a:ahLst/>
              <a:cxnLst/>
              <a:rect l="l" t="t" r="r" b="b"/>
              <a:pathLst>
                <a:path w="2488" h="2134" extrusionOk="0">
                  <a:moveTo>
                    <a:pt x="1065" y="1"/>
                  </a:moveTo>
                  <a:cubicBezTo>
                    <a:pt x="472" y="1"/>
                    <a:pt x="0" y="480"/>
                    <a:pt x="0" y="1066"/>
                  </a:cubicBezTo>
                  <a:cubicBezTo>
                    <a:pt x="0" y="1710"/>
                    <a:pt x="525" y="2134"/>
                    <a:pt x="1074" y="2134"/>
                  </a:cubicBezTo>
                  <a:cubicBezTo>
                    <a:pt x="1336" y="2134"/>
                    <a:pt x="1603" y="2037"/>
                    <a:pt x="1821" y="1822"/>
                  </a:cubicBezTo>
                  <a:cubicBezTo>
                    <a:pt x="2488" y="1147"/>
                    <a:pt x="2016" y="1"/>
                    <a:pt x="1065"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043" name="Google Shape;2043;p104"/>
            <p:cNvSpPr/>
            <p:nvPr/>
          </p:nvSpPr>
          <p:spPr>
            <a:xfrm>
              <a:off x="2294850" y="3932800"/>
              <a:ext cx="62425" cy="53475"/>
            </a:xfrm>
            <a:custGeom>
              <a:avLst/>
              <a:gdLst/>
              <a:ahLst/>
              <a:cxnLst/>
              <a:rect l="l" t="t" r="r" b="b"/>
              <a:pathLst>
                <a:path w="2497" h="2139" extrusionOk="0">
                  <a:moveTo>
                    <a:pt x="1074" y="0"/>
                  </a:moveTo>
                  <a:cubicBezTo>
                    <a:pt x="481" y="0"/>
                    <a:pt x="1" y="480"/>
                    <a:pt x="9" y="1073"/>
                  </a:cubicBezTo>
                  <a:cubicBezTo>
                    <a:pt x="9" y="1715"/>
                    <a:pt x="531" y="2139"/>
                    <a:pt x="1078" y="2139"/>
                  </a:cubicBezTo>
                  <a:cubicBezTo>
                    <a:pt x="1342" y="2139"/>
                    <a:pt x="1611" y="2041"/>
                    <a:pt x="1830" y="1821"/>
                  </a:cubicBezTo>
                  <a:cubicBezTo>
                    <a:pt x="2497" y="1146"/>
                    <a:pt x="2017" y="0"/>
                    <a:pt x="1074"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044" name="Google Shape;2044;p104"/>
            <p:cNvSpPr/>
            <p:nvPr/>
          </p:nvSpPr>
          <p:spPr>
            <a:xfrm>
              <a:off x="2295075" y="3856775"/>
              <a:ext cx="62200" cy="53300"/>
            </a:xfrm>
            <a:custGeom>
              <a:avLst/>
              <a:gdLst/>
              <a:ahLst/>
              <a:cxnLst/>
              <a:rect l="l" t="t" r="r" b="b"/>
              <a:pathLst>
                <a:path w="2488" h="2132" extrusionOk="0">
                  <a:moveTo>
                    <a:pt x="1065" y="1"/>
                  </a:moveTo>
                  <a:cubicBezTo>
                    <a:pt x="472" y="1"/>
                    <a:pt x="0" y="480"/>
                    <a:pt x="0" y="1066"/>
                  </a:cubicBezTo>
                  <a:cubicBezTo>
                    <a:pt x="0" y="1708"/>
                    <a:pt x="522" y="2131"/>
                    <a:pt x="1069" y="2131"/>
                  </a:cubicBezTo>
                  <a:cubicBezTo>
                    <a:pt x="1333" y="2131"/>
                    <a:pt x="1602" y="2033"/>
                    <a:pt x="1821" y="1814"/>
                  </a:cubicBezTo>
                  <a:cubicBezTo>
                    <a:pt x="2488" y="1147"/>
                    <a:pt x="2008" y="1"/>
                    <a:pt x="1065"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045" name="Google Shape;2045;p104"/>
            <p:cNvSpPr/>
            <p:nvPr/>
          </p:nvSpPr>
          <p:spPr>
            <a:xfrm>
              <a:off x="2294850" y="3780375"/>
              <a:ext cx="62625" cy="53475"/>
            </a:xfrm>
            <a:custGeom>
              <a:avLst/>
              <a:gdLst/>
              <a:ahLst/>
              <a:cxnLst/>
              <a:rect l="l" t="t" r="r" b="b"/>
              <a:pathLst>
                <a:path w="2505" h="2139" extrusionOk="0">
                  <a:moveTo>
                    <a:pt x="1074" y="0"/>
                  </a:moveTo>
                  <a:cubicBezTo>
                    <a:pt x="481" y="0"/>
                    <a:pt x="1" y="480"/>
                    <a:pt x="9" y="1073"/>
                  </a:cubicBezTo>
                  <a:cubicBezTo>
                    <a:pt x="9" y="1715"/>
                    <a:pt x="535" y="2139"/>
                    <a:pt x="1082" y="2139"/>
                  </a:cubicBezTo>
                  <a:cubicBezTo>
                    <a:pt x="1345" y="2139"/>
                    <a:pt x="1613" y="2040"/>
                    <a:pt x="1830" y="1821"/>
                  </a:cubicBezTo>
                  <a:cubicBezTo>
                    <a:pt x="2505" y="1146"/>
                    <a:pt x="2025" y="0"/>
                    <a:pt x="1074"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046" name="Google Shape;2046;p104"/>
            <p:cNvSpPr/>
            <p:nvPr/>
          </p:nvSpPr>
          <p:spPr>
            <a:xfrm>
              <a:off x="2295075" y="3704150"/>
              <a:ext cx="62200" cy="53450"/>
            </a:xfrm>
            <a:custGeom>
              <a:avLst/>
              <a:gdLst/>
              <a:ahLst/>
              <a:cxnLst/>
              <a:rect l="l" t="t" r="r" b="b"/>
              <a:pathLst>
                <a:path w="2488" h="2138" extrusionOk="0">
                  <a:moveTo>
                    <a:pt x="1065" y="1"/>
                  </a:moveTo>
                  <a:cubicBezTo>
                    <a:pt x="472" y="1"/>
                    <a:pt x="0" y="480"/>
                    <a:pt x="0" y="1066"/>
                  </a:cubicBezTo>
                  <a:cubicBezTo>
                    <a:pt x="0" y="1709"/>
                    <a:pt x="525" y="2137"/>
                    <a:pt x="1071" y="2137"/>
                  </a:cubicBezTo>
                  <a:cubicBezTo>
                    <a:pt x="1332" y="2137"/>
                    <a:pt x="1598" y="2040"/>
                    <a:pt x="1813" y="1822"/>
                  </a:cubicBezTo>
                  <a:cubicBezTo>
                    <a:pt x="2488" y="1147"/>
                    <a:pt x="2016" y="1"/>
                    <a:pt x="1065"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047" name="Google Shape;2047;p104"/>
            <p:cNvSpPr/>
            <p:nvPr/>
          </p:nvSpPr>
          <p:spPr>
            <a:xfrm>
              <a:off x="2295075" y="3627950"/>
              <a:ext cx="62200" cy="53425"/>
            </a:xfrm>
            <a:custGeom>
              <a:avLst/>
              <a:gdLst/>
              <a:ahLst/>
              <a:cxnLst/>
              <a:rect l="l" t="t" r="r" b="b"/>
              <a:pathLst>
                <a:path w="2488" h="2137" extrusionOk="0">
                  <a:moveTo>
                    <a:pt x="1065" y="0"/>
                  </a:moveTo>
                  <a:cubicBezTo>
                    <a:pt x="472" y="8"/>
                    <a:pt x="0" y="480"/>
                    <a:pt x="0" y="1073"/>
                  </a:cubicBezTo>
                  <a:cubicBezTo>
                    <a:pt x="0" y="1711"/>
                    <a:pt x="525" y="2137"/>
                    <a:pt x="1073" y="2137"/>
                  </a:cubicBezTo>
                  <a:cubicBezTo>
                    <a:pt x="1335" y="2137"/>
                    <a:pt x="1603" y="2039"/>
                    <a:pt x="1821" y="1821"/>
                  </a:cubicBezTo>
                  <a:cubicBezTo>
                    <a:pt x="2488" y="1154"/>
                    <a:pt x="2016" y="0"/>
                    <a:pt x="1065"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048" name="Google Shape;2048;p104"/>
            <p:cNvSpPr/>
            <p:nvPr/>
          </p:nvSpPr>
          <p:spPr>
            <a:xfrm>
              <a:off x="2295075" y="3551925"/>
              <a:ext cx="62200" cy="53300"/>
            </a:xfrm>
            <a:custGeom>
              <a:avLst/>
              <a:gdLst/>
              <a:ahLst/>
              <a:cxnLst/>
              <a:rect l="l" t="t" r="r" b="b"/>
              <a:pathLst>
                <a:path w="2488" h="2132" extrusionOk="0">
                  <a:moveTo>
                    <a:pt x="1065" y="1"/>
                  </a:moveTo>
                  <a:cubicBezTo>
                    <a:pt x="472" y="1"/>
                    <a:pt x="0" y="480"/>
                    <a:pt x="0" y="1066"/>
                  </a:cubicBezTo>
                  <a:cubicBezTo>
                    <a:pt x="0" y="1708"/>
                    <a:pt x="522" y="2131"/>
                    <a:pt x="1069" y="2131"/>
                  </a:cubicBezTo>
                  <a:cubicBezTo>
                    <a:pt x="1333" y="2131"/>
                    <a:pt x="1602" y="2033"/>
                    <a:pt x="1821" y="1814"/>
                  </a:cubicBezTo>
                  <a:cubicBezTo>
                    <a:pt x="2488" y="1147"/>
                    <a:pt x="2008" y="1"/>
                    <a:pt x="1065"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049" name="Google Shape;2049;p104"/>
            <p:cNvSpPr/>
            <p:nvPr/>
          </p:nvSpPr>
          <p:spPr>
            <a:xfrm>
              <a:off x="2295075" y="3475725"/>
              <a:ext cx="62200" cy="53350"/>
            </a:xfrm>
            <a:custGeom>
              <a:avLst/>
              <a:gdLst/>
              <a:ahLst/>
              <a:cxnLst/>
              <a:rect l="l" t="t" r="r" b="b"/>
              <a:pathLst>
                <a:path w="2488" h="2134" extrusionOk="0">
                  <a:moveTo>
                    <a:pt x="1065" y="0"/>
                  </a:moveTo>
                  <a:cubicBezTo>
                    <a:pt x="472" y="0"/>
                    <a:pt x="0" y="480"/>
                    <a:pt x="0" y="1065"/>
                  </a:cubicBezTo>
                  <a:cubicBezTo>
                    <a:pt x="0" y="1709"/>
                    <a:pt x="525" y="2133"/>
                    <a:pt x="1074" y="2133"/>
                  </a:cubicBezTo>
                  <a:cubicBezTo>
                    <a:pt x="1336" y="2133"/>
                    <a:pt x="1603" y="2037"/>
                    <a:pt x="1821" y="1821"/>
                  </a:cubicBezTo>
                  <a:cubicBezTo>
                    <a:pt x="2488" y="1146"/>
                    <a:pt x="2016" y="0"/>
                    <a:pt x="1065"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050" name="Google Shape;2050;p104"/>
            <p:cNvSpPr/>
            <p:nvPr/>
          </p:nvSpPr>
          <p:spPr>
            <a:xfrm>
              <a:off x="2295075" y="3399500"/>
              <a:ext cx="62200" cy="53350"/>
            </a:xfrm>
            <a:custGeom>
              <a:avLst/>
              <a:gdLst/>
              <a:ahLst/>
              <a:cxnLst/>
              <a:rect l="l" t="t" r="r" b="b"/>
              <a:pathLst>
                <a:path w="2488" h="2134" extrusionOk="0">
                  <a:moveTo>
                    <a:pt x="1065" y="1"/>
                  </a:moveTo>
                  <a:cubicBezTo>
                    <a:pt x="472" y="1"/>
                    <a:pt x="0" y="480"/>
                    <a:pt x="0" y="1066"/>
                  </a:cubicBezTo>
                  <a:cubicBezTo>
                    <a:pt x="0" y="1709"/>
                    <a:pt x="525" y="2134"/>
                    <a:pt x="1072" y="2134"/>
                  </a:cubicBezTo>
                  <a:cubicBezTo>
                    <a:pt x="1332" y="2134"/>
                    <a:pt x="1598" y="2037"/>
                    <a:pt x="1813" y="1822"/>
                  </a:cubicBezTo>
                  <a:cubicBezTo>
                    <a:pt x="2488" y="1147"/>
                    <a:pt x="2016" y="1"/>
                    <a:pt x="1065"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051" name="Google Shape;2051;p104"/>
            <p:cNvSpPr/>
            <p:nvPr/>
          </p:nvSpPr>
          <p:spPr>
            <a:xfrm>
              <a:off x="2294925" y="3323300"/>
              <a:ext cx="62350" cy="53425"/>
            </a:xfrm>
            <a:custGeom>
              <a:avLst/>
              <a:gdLst/>
              <a:ahLst/>
              <a:cxnLst/>
              <a:rect l="l" t="t" r="r" b="b"/>
              <a:pathLst>
                <a:path w="2494" h="2137" extrusionOk="0">
                  <a:moveTo>
                    <a:pt x="1071" y="0"/>
                  </a:moveTo>
                  <a:cubicBezTo>
                    <a:pt x="486" y="8"/>
                    <a:pt x="6" y="480"/>
                    <a:pt x="6" y="1065"/>
                  </a:cubicBezTo>
                  <a:cubicBezTo>
                    <a:pt x="1" y="1709"/>
                    <a:pt x="528" y="2137"/>
                    <a:pt x="1076" y="2137"/>
                  </a:cubicBezTo>
                  <a:cubicBezTo>
                    <a:pt x="1337" y="2137"/>
                    <a:pt x="1604" y="2039"/>
                    <a:pt x="1819" y="1821"/>
                  </a:cubicBezTo>
                  <a:cubicBezTo>
                    <a:pt x="2494" y="1154"/>
                    <a:pt x="2022" y="0"/>
                    <a:pt x="1071"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052" name="Google Shape;2052;p104"/>
            <p:cNvSpPr/>
            <p:nvPr/>
          </p:nvSpPr>
          <p:spPr>
            <a:xfrm>
              <a:off x="2294925" y="3247075"/>
              <a:ext cx="62350" cy="53450"/>
            </a:xfrm>
            <a:custGeom>
              <a:avLst/>
              <a:gdLst/>
              <a:ahLst/>
              <a:cxnLst/>
              <a:rect l="l" t="t" r="r" b="b"/>
              <a:pathLst>
                <a:path w="2494" h="2138" extrusionOk="0">
                  <a:moveTo>
                    <a:pt x="1071" y="1"/>
                  </a:moveTo>
                  <a:cubicBezTo>
                    <a:pt x="486" y="9"/>
                    <a:pt x="6" y="480"/>
                    <a:pt x="6" y="1066"/>
                  </a:cubicBezTo>
                  <a:cubicBezTo>
                    <a:pt x="1" y="1709"/>
                    <a:pt x="524" y="2137"/>
                    <a:pt x="1072" y="2137"/>
                  </a:cubicBezTo>
                  <a:cubicBezTo>
                    <a:pt x="1334" y="2137"/>
                    <a:pt x="1601" y="2040"/>
                    <a:pt x="1819" y="1822"/>
                  </a:cubicBezTo>
                  <a:cubicBezTo>
                    <a:pt x="2494" y="1155"/>
                    <a:pt x="2022" y="1"/>
                    <a:pt x="1071"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053" name="Google Shape;2053;p104"/>
            <p:cNvSpPr/>
            <p:nvPr/>
          </p:nvSpPr>
          <p:spPr>
            <a:xfrm>
              <a:off x="2295075" y="3171075"/>
              <a:ext cx="62200" cy="53275"/>
            </a:xfrm>
            <a:custGeom>
              <a:avLst/>
              <a:gdLst/>
              <a:ahLst/>
              <a:cxnLst/>
              <a:rect l="l" t="t" r="r" b="b"/>
              <a:pathLst>
                <a:path w="2488" h="2131" extrusionOk="0">
                  <a:moveTo>
                    <a:pt x="1065" y="0"/>
                  </a:moveTo>
                  <a:cubicBezTo>
                    <a:pt x="472" y="0"/>
                    <a:pt x="0" y="472"/>
                    <a:pt x="0" y="1065"/>
                  </a:cubicBezTo>
                  <a:cubicBezTo>
                    <a:pt x="0" y="1707"/>
                    <a:pt x="522" y="2131"/>
                    <a:pt x="1067" y="2131"/>
                  </a:cubicBezTo>
                  <a:cubicBezTo>
                    <a:pt x="1329" y="2131"/>
                    <a:pt x="1596" y="2032"/>
                    <a:pt x="1813" y="1813"/>
                  </a:cubicBezTo>
                  <a:cubicBezTo>
                    <a:pt x="2488" y="1146"/>
                    <a:pt x="2016" y="0"/>
                    <a:pt x="1065"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054" name="Google Shape;2054;p104"/>
            <p:cNvSpPr/>
            <p:nvPr/>
          </p:nvSpPr>
          <p:spPr>
            <a:xfrm>
              <a:off x="2295075" y="2028275"/>
              <a:ext cx="62200" cy="53450"/>
            </a:xfrm>
            <a:custGeom>
              <a:avLst/>
              <a:gdLst/>
              <a:ahLst/>
              <a:cxnLst/>
              <a:rect l="l" t="t" r="r" b="b"/>
              <a:pathLst>
                <a:path w="2488" h="2138" extrusionOk="0">
                  <a:moveTo>
                    <a:pt x="1065" y="1"/>
                  </a:moveTo>
                  <a:cubicBezTo>
                    <a:pt x="472" y="1"/>
                    <a:pt x="0" y="480"/>
                    <a:pt x="0" y="1065"/>
                  </a:cubicBezTo>
                  <a:cubicBezTo>
                    <a:pt x="0" y="1709"/>
                    <a:pt x="525" y="2137"/>
                    <a:pt x="1071" y="2137"/>
                  </a:cubicBezTo>
                  <a:cubicBezTo>
                    <a:pt x="1332" y="2137"/>
                    <a:pt x="1598" y="2040"/>
                    <a:pt x="1813" y="1821"/>
                  </a:cubicBezTo>
                  <a:cubicBezTo>
                    <a:pt x="2488" y="1147"/>
                    <a:pt x="2016" y="1"/>
                    <a:pt x="1065"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055" name="Google Shape;2055;p104"/>
            <p:cNvSpPr/>
            <p:nvPr/>
          </p:nvSpPr>
          <p:spPr>
            <a:xfrm>
              <a:off x="2218650" y="4389875"/>
              <a:ext cx="62225" cy="53350"/>
            </a:xfrm>
            <a:custGeom>
              <a:avLst/>
              <a:gdLst/>
              <a:ahLst/>
              <a:cxnLst/>
              <a:rect l="l" t="t" r="r" b="b"/>
              <a:pathLst>
                <a:path w="2489" h="2134" extrusionOk="0">
                  <a:moveTo>
                    <a:pt x="1074" y="0"/>
                  </a:moveTo>
                  <a:cubicBezTo>
                    <a:pt x="480" y="0"/>
                    <a:pt x="0" y="480"/>
                    <a:pt x="0" y="1065"/>
                  </a:cubicBezTo>
                  <a:cubicBezTo>
                    <a:pt x="0" y="1709"/>
                    <a:pt x="526" y="2133"/>
                    <a:pt x="1074" y="2133"/>
                  </a:cubicBezTo>
                  <a:cubicBezTo>
                    <a:pt x="1336" y="2133"/>
                    <a:pt x="1603" y="2037"/>
                    <a:pt x="1821" y="1821"/>
                  </a:cubicBezTo>
                  <a:cubicBezTo>
                    <a:pt x="2488" y="1147"/>
                    <a:pt x="2017" y="0"/>
                    <a:pt x="1074"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056" name="Google Shape;2056;p104"/>
            <p:cNvSpPr/>
            <p:nvPr/>
          </p:nvSpPr>
          <p:spPr>
            <a:xfrm>
              <a:off x="2218650" y="4313650"/>
              <a:ext cx="62225" cy="53450"/>
            </a:xfrm>
            <a:custGeom>
              <a:avLst/>
              <a:gdLst/>
              <a:ahLst/>
              <a:cxnLst/>
              <a:rect l="l" t="t" r="r" b="b"/>
              <a:pathLst>
                <a:path w="2489" h="2138" extrusionOk="0">
                  <a:moveTo>
                    <a:pt x="1074" y="1"/>
                  </a:moveTo>
                  <a:cubicBezTo>
                    <a:pt x="480" y="1"/>
                    <a:pt x="0" y="480"/>
                    <a:pt x="0" y="1066"/>
                  </a:cubicBezTo>
                  <a:cubicBezTo>
                    <a:pt x="0" y="1709"/>
                    <a:pt x="526" y="2137"/>
                    <a:pt x="1074" y="2137"/>
                  </a:cubicBezTo>
                  <a:cubicBezTo>
                    <a:pt x="1336" y="2137"/>
                    <a:pt x="1603" y="2040"/>
                    <a:pt x="1821" y="1822"/>
                  </a:cubicBezTo>
                  <a:cubicBezTo>
                    <a:pt x="2488" y="1155"/>
                    <a:pt x="2017" y="1"/>
                    <a:pt x="1074"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057" name="Google Shape;2057;p104"/>
            <p:cNvSpPr/>
            <p:nvPr/>
          </p:nvSpPr>
          <p:spPr>
            <a:xfrm>
              <a:off x="2218650" y="4237450"/>
              <a:ext cx="62225" cy="53425"/>
            </a:xfrm>
            <a:custGeom>
              <a:avLst/>
              <a:gdLst/>
              <a:ahLst/>
              <a:cxnLst/>
              <a:rect l="l" t="t" r="r" b="b"/>
              <a:pathLst>
                <a:path w="2489" h="2137" extrusionOk="0">
                  <a:moveTo>
                    <a:pt x="1074" y="0"/>
                  </a:moveTo>
                  <a:cubicBezTo>
                    <a:pt x="480" y="8"/>
                    <a:pt x="0" y="480"/>
                    <a:pt x="0" y="1073"/>
                  </a:cubicBezTo>
                  <a:cubicBezTo>
                    <a:pt x="0" y="1711"/>
                    <a:pt x="525" y="2137"/>
                    <a:pt x="1073" y="2137"/>
                  </a:cubicBezTo>
                  <a:cubicBezTo>
                    <a:pt x="1335" y="2137"/>
                    <a:pt x="1603" y="2040"/>
                    <a:pt x="1821" y="1821"/>
                  </a:cubicBezTo>
                  <a:cubicBezTo>
                    <a:pt x="2488" y="1155"/>
                    <a:pt x="2017" y="8"/>
                    <a:pt x="1074"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058" name="Google Shape;2058;p104"/>
            <p:cNvSpPr/>
            <p:nvPr/>
          </p:nvSpPr>
          <p:spPr>
            <a:xfrm>
              <a:off x="2218650" y="4161425"/>
              <a:ext cx="62225" cy="53250"/>
            </a:xfrm>
            <a:custGeom>
              <a:avLst/>
              <a:gdLst/>
              <a:ahLst/>
              <a:cxnLst/>
              <a:rect l="l" t="t" r="r" b="b"/>
              <a:pathLst>
                <a:path w="2489" h="2130" extrusionOk="0">
                  <a:moveTo>
                    <a:pt x="1074" y="1"/>
                  </a:moveTo>
                  <a:cubicBezTo>
                    <a:pt x="480" y="1"/>
                    <a:pt x="0" y="472"/>
                    <a:pt x="0" y="1066"/>
                  </a:cubicBezTo>
                  <a:cubicBezTo>
                    <a:pt x="0" y="1704"/>
                    <a:pt x="525" y="2129"/>
                    <a:pt x="1073" y="2129"/>
                  </a:cubicBezTo>
                  <a:cubicBezTo>
                    <a:pt x="1335" y="2129"/>
                    <a:pt x="1603" y="2032"/>
                    <a:pt x="1821" y="1814"/>
                  </a:cubicBezTo>
                  <a:cubicBezTo>
                    <a:pt x="2488" y="1147"/>
                    <a:pt x="2017" y="1"/>
                    <a:pt x="1074"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059" name="Google Shape;2059;p104"/>
            <p:cNvSpPr/>
            <p:nvPr/>
          </p:nvSpPr>
          <p:spPr>
            <a:xfrm>
              <a:off x="2218650" y="4085225"/>
              <a:ext cx="62225" cy="53350"/>
            </a:xfrm>
            <a:custGeom>
              <a:avLst/>
              <a:gdLst/>
              <a:ahLst/>
              <a:cxnLst/>
              <a:rect l="l" t="t" r="r" b="b"/>
              <a:pathLst>
                <a:path w="2489" h="2134" extrusionOk="0">
                  <a:moveTo>
                    <a:pt x="1074" y="0"/>
                  </a:moveTo>
                  <a:cubicBezTo>
                    <a:pt x="480" y="0"/>
                    <a:pt x="0" y="472"/>
                    <a:pt x="0" y="1065"/>
                  </a:cubicBezTo>
                  <a:cubicBezTo>
                    <a:pt x="0" y="1709"/>
                    <a:pt x="526" y="2133"/>
                    <a:pt x="1074" y="2133"/>
                  </a:cubicBezTo>
                  <a:cubicBezTo>
                    <a:pt x="1336" y="2133"/>
                    <a:pt x="1603" y="2037"/>
                    <a:pt x="1821" y="1821"/>
                  </a:cubicBezTo>
                  <a:cubicBezTo>
                    <a:pt x="2488" y="1147"/>
                    <a:pt x="2017" y="0"/>
                    <a:pt x="1074"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060" name="Google Shape;2060;p104"/>
            <p:cNvSpPr/>
            <p:nvPr/>
          </p:nvSpPr>
          <p:spPr>
            <a:xfrm>
              <a:off x="2218650" y="4009000"/>
              <a:ext cx="62225" cy="53350"/>
            </a:xfrm>
            <a:custGeom>
              <a:avLst/>
              <a:gdLst/>
              <a:ahLst/>
              <a:cxnLst/>
              <a:rect l="l" t="t" r="r" b="b"/>
              <a:pathLst>
                <a:path w="2489" h="2134" extrusionOk="0">
                  <a:moveTo>
                    <a:pt x="1074" y="1"/>
                  </a:moveTo>
                  <a:cubicBezTo>
                    <a:pt x="480" y="1"/>
                    <a:pt x="0" y="480"/>
                    <a:pt x="0" y="1066"/>
                  </a:cubicBezTo>
                  <a:cubicBezTo>
                    <a:pt x="0" y="1710"/>
                    <a:pt x="526" y="2134"/>
                    <a:pt x="1074" y="2134"/>
                  </a:cubicBezTo>
                  <a:cubicBezTo>
                    <a:pt x="1336" y="2134"/>
                    <a:pt x="1603" y="2037"/>
                    <a:pt x="1821" y="1822"/>
                  </a:cubicBezTo>
                  <a:cubicBezTo>
                    <a:pt x="2488" y="1147"/>
                    <a:pt x="2017" y="1"/>
                    <a:pt x="1074"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061" name="Google Shape;2061;p104"/>
            <p:cNvSpPr/>
            <p:nvPr/>
          </p:nvSpPr>
          <p:spPr>
            <a:xfrm>
              <a:off x="2218650" y="3932800"/>
              <a:ext cx="62225" cy="53475"/>
            </a:xfrm>
            <a:custGeom>
              <a:avLst/>
              <a:gdLst/>
              <a:ahLst/>
              <a:cxnLst/>
              <a:rect l="l" t="t" r="r" b="b"/>
              <a:pathLst>
                <a:path w="2489" h="2139" extrusionOk="0">
                  <a:moveTo>
                    <a:pt x="1074" y="0"/>
                  </a:moveTo>
                  <a:cubicBezTo>
                    <a:pt x="480" y="0"/>
                    <a:pt x="0" y="480"/>
                    <a:pt x="0" y="1073"/>
                  </a:cubicBezTo>
                  <a:cubicBezTo>
                    <a:pt x="6" y="1715"/>
                    <a:pt x="530" y="2139"/>
                    <a:pt x="1075" y="2139"/>
                  </a:cubicBezTo>
                  <a:cubicBezTo>
                    <a:pt x="1337" y="2139"/>
                    <a:pt x="1605" y="2041"/>
                    <a:pt x="1821" y="1821"/>
                  </a:cubicBezTo>
                  <a:cubicBezTo>
                    <a:pt x="2488" y="1146"/>
                    <a:pt x="2017" y="8"/>
                    <a:pt x="1074"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062" name="Google Shape;2062;p104"/>
            <p:cNvSpPr/>
            <p:nvPr/>
          </p:nvSpPr>
          <p:spPr>
            <a:xfrm>
              <a:off x="2218650" y="3856775"/>
              <a:ext cx="62225" cy="53300"/>
            </a:xfrm>
            <a:custGeom>
              <a:avLst/>
              <a:gdLst/>
              <a:ahLst/>
              <a:cxnLst/>
              <a:rect l="l" t="t" r="r" b="b"/>
              <a:pathLst>
                <a:path w="2489" h="2132" extrusionOk="0">
                  <a:moveTo>
                    <a:pt x="1074" y="1"/>
                  </a:moveTo>
                  <a:cubicBezTo>
                    <a:pt x="480" y="1"/>
                    <a:pt x="0" y="472"/>
                    <a:pt x="0" y="1066"/>
                  </a:cubicBezTo>
                  <a:cubicBezTo>
                    <a:pt x="0" y="1708"/>
                    <a:pt x="523" y="2131"/>
                    <a:pt x="1070" y="2131"/>
                  </a:cubicBezTo>
                  <a:cubicBezTo>
                    <a:pt x="1333" y="2131"/>
                    <a:pt x="1602" y="2033"/>
                    <a:pt x="1821" y="1814"/>
                  </a:cubicBezTo>
                  <a:cubicBezTo>
                    <a:pt x="2488" y="1147"/>
                    <a:pt x="2017" y="1"/>
                    <a:pt x="1074"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063" name="Google Shape;2063;p104"/>
            <p:cNvSpPr/>
            <p:nvPr/>
          </p:nvSpPr>
          <p:spPr>
            <a:xfrm>
              <a:off x="2218650" y="3780375"/>
              <a:ext cx="62425" cy="53475"/>
            </a:xfrm>
            <a:custGeom>
              <a:avLst/>
              <a:gdLst/>
              <a:ahLst/>
              <a:cxnLst/>
              <a:rect l="l" t="t" r="r" b="b"/>
              <a:pathLst>
                <a:path w="2497" h="2139" extrusionOk="0">
                  <a:moveTo>
                    <a:pt x="1074" y="0"/>
                  </a:moveTo>
                  <a:cubicBezTo>
                    <a:pt x="480" y="0"/>
                    <a:pt x="0" y="480"/>
                    <a:pt x="0" y="1073"/>
                  </a:cubicBezTo>
                  <a:cubicBezTo>
                    <a:pt x="6" y="1715"/>
                    <a:pt x="530" y="2139"/>
                    <a:pt x="1077" y="2139"/>
                  </a:cubicBezTo>
                  <a:cubicBezTo>
                    <a:pt x="1341" y="2139"/>
                    <a:pt x="1610" y="2040"/>
                    <a:pt x="1830" y="1821"/>
                  </a:cubicBezTo>
                  <a:cubicBezTo>
                    <a:pt x="2496" y="1146"/>
                    <a:pt x="2017" y="0"/>
                    <a:pt x="1074"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064" name="Google Shape;2064;p104"/>
            <p:cNvSpPr/>
            <p:nvPr/>
          </p:nvSpPr>
          <p:spPr>
            <a:xfrm>
              <a:off x="2218650" y="3704150"/>
              <a:ext cx="62225" cy="53450"/>
            </a:xfrm>
            <a:custGeom>
              <a:avLst/>
              <a:gdLst/>
              <a:ahLst/>
              <a:cxnLst/>
              <a:rect l="l" t="t" r="r" b="b"/>
              <a:pathLst>
                <a:path w="2489" h="2138" extrusionOk="0">
                  <a:moveTo>
                    <a:pt x="1074" y="1"/>
                  </a:moveTo>
                  <a:cubicBezTo>
                    <a:pt x="480" y="1"/>
                    <a:pt x="0" y="480"/>
                    <a:pt x="0" y="1066"/>
                  </a:cubicBezTo>
                  <a:cubicBezTo>
                    <a:pt x="0" y="1709"/>
                    <a:pt x="526" y="2137"/>
                    <a:pt x="1074" y="2137"/>
                  </a:cubicBezTo>
                  <a:cubicBezTo>
                    <a:pt x="1336" y="2137"/>
                    <a:pt x="1603" y="2040"/>
                    <a:pt x="1821" y="1822"/>
                  </a:cubicBezTo>
                  <a:cubicBezTo>
                    <a:pt x="2488" y="1155"/>
                    <a:pt x="2017" y="1"/>
                    <a:pt x="1074"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065" name="Google Shape;2065;p104"/>
            <p:cNvSpPr/>
            <p:nvPr/>
          </p:nvSpPr>
          <p:spPr>
            <a:xfrm>
              <a:off x="2218650" y="3627950"/>
              <a:ext cx="62225" cy="53425"/>
            </a:xfrm>
            <a:custGeom>
              <a:avLst/>
              <a:gdLst/>
              <a:ahLst/>
              <a:cxnLst/>
              <a:rect l="l" t="t" r="r" b="b"/>
              <a:pathLst>
                <a:path w="2489" h="2137" extrusionOk="0">
                  <a:moveTo>
                    <a:pt x="1074" y="0"/>
                  </a:moveTo>
                  <a:cubicBezTo>
                    <a:pt x="480" y="8"/>
                    <a:pt x="0" y="480"/>
                    <a:pt x="0" y="1073"/>
                  </a:cubicBezTo>
                  <a:cubicBezTo>
                    <a:pt x="0" y="1711"/>
                    <a:pt x="525" y="2137"/>
                    <a:pt x="1073" y="2137"/>
                  </a:cubicBezTo>
                  <a:cubicBezTo>
                    <a:pt x="1335" y="2137"/>
                    <a:pt x="1603" y="2039"/>
                    <a:pt x="1821" y="1821"/>
                  </a:cubicBezTo>
                  <a:cubicBezTo>
                    <a:pt x="2488" y="1154"/>
                    <a:pt x="2017" y="8"/>
                    <a:pt x="1074"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066" name="Google Shape;2066;p104"/>
            <p:cNvSpPr/>
            <p:nvPr/>
          </p:nvSpPr>
          <p:spPr>
            <a:xfrm>
              <a:off x="2218650" y="3551925"/>
              <a:ext cx="62225" cy="53300"/>
            </a:xfrm>
            <a:custGeom>
              <a:avLst/>
              <a:gdLst/>
              <a:ahLst/>
              <a:cxnLst/>
              <a:rect l="l" t="t" r="r" b="b"/>
              <a:pathLst>
                <a:path w="2489" h="2132" extrusionOk="0">
                  <a:moveTo>
                    <a:pt x="1074" y="1"/>
                  </a:moveTo>
                  <a:cubicBezTo>
                    <a:pt x="480" y="1"/>
                    <a:pt x="0" y="472"/>
                    <a:pt x="0" y="1066"/>
                  </a:cubicBezTo>
                  <a:cubicBezTo>
                    <a:pt x="0" y="1708"/>
                    <a:pt x="523" y="2131"/>
                    <a:pt x="1070" y="2131"/>
                  </a:cubicBezTo>
                  <a:cubicBezTo>
                    <a:pt x="1333" y="2131"/>
                    <a:pt x="1602" y="2033"/>
                    <a:pt x="1821" y="1814"/>
                  </a:cubicBezTo>
                  <a:cubicBezTo>
                    <a:pt x="2488" y="1147"/>
                    <a:pt x="2017" y="1"/>
                    <a:pt x="1074"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067" name="Google Shape;2067;p104"/>
            <p:cNvSpPr/>
            <p:nvPr/>
          </p:nvSpPr>
          <p:spPr>
            <a:xfrm>
              <a:off x="2218650" y="3475725"/>
              <a:ext cx="62225" cy="53350"/>
            </a:xfrm>
            <a:custGeom>
              <a:avLst/>
              <a:gdLst/>
              <a:ahLst/>
              <a:cxnLst/>
              <a:rect l="l" t="t" r="r" b="b"/>
              <a:pathLst>
                <a:path w="2489" h="2134" extrusionOk="0">
                  <a:moveTo>
                    <a:pt x="1074" y="0"/>
                  </a:moveTo>
                  <a:cubicBezTo>
                    <a:pt x="480" y="0"/>
                    <a:pt x="0" y="480"/>
                    <a:pt x="0" y="1065"/>
                  </a:cubicBezTo>
                  <a:cubicBezTo>
                    <a:pt x="0" y="1709"/>
                    <a:pt x="526" y="2133"/>
                    <a:pt x="1074" y="2133"/>
                  </a:cubicBezTo>
                  <a:cubicBezTo>
                    <a:pt x="1336" y="2133"/>
                    <a:pt x="1603" y="2037"/>
                    <a:pt x="1821" y="1821"/>
                  </a:cubicBezTo>
                  <a:cubicBezTo>
                    <a:pt x="2488" y="1146"/>
                    <a:pt x="2017" y="0"/>
                    <a:pt x="1074"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068" name="Google Shape;2068;p104"/>
            <p:cNvSpPr/>
            <p:nvPr/>
          </p:nvSpPr>
          <p:spPr>
            <a:xfrm>
              <a:off x="2218650" y="3399500"/>
              <a:ext cx="62425" cy="53350"/>
            </a:xfrm>
            <a:custGeom>
              <a:avLst/>
              <a:gdLst/>
              <a:ahLst/>
              <a:cxnLst/>
              <a:rect l="l" t="t" r="r" b="b"/>
              <a:pathLst>
                <a:path w="2497" h="2134" extrusionOk="0">
                  <a:moveTo>
                    <a:pt x="1074" y="1"/>
                  </a:moveTo>
                  <a:cubicBezTo>
                    <a:pt x="480" y="1"/>
                    <a:pt x="9" y="480"/>
                    <a:pt x="0" y="1066"/>
                  </a:cubicBezTo>
                  <a:cubicBezTo>
                    <a:pt x="0" y="1709"/>
                    <a:pt x="526" y="2134"/>
                    <a:pt x="1074" y="2134"/>
                  </a:cubicBezTo>
                  <a:cubicBezTo>
                    <a:pt x="1336" y="2134"/>
                    <a:pt x="1603" y="2037"/>
                    <a:pt x="1821" y="1822"/>
                  </a:cubicBezTo>
                  <a:cubicBezTo>
                    <a:pt x="2496" y="1155"/>
                    <a:pt x="2017" y="1"/>
                    <a:pt x="1074"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069" name="Google Shape;2069;p104"/>
            <p:cNvSpPr/>
            <p:nvPr/>
          </p:nvSpPr>
          <p:spPr>
            <a:xfrm>
              <a:off x="2218650" y="3323300"/>
              <a:ext cx="62425" cy="53425"/>
            </a:xfrm>
            <a:custGeom>
              <a:avLst/>
              <a:gdLst/>
              <a:ahLst/>
              <a:cxnLst/>
              <a:rect l="l" t="t" r="r" b="b"/>
              <a:pathLst>
                <a:path w="2497" h="2137" extrusionOk="0">
                  <a:moveTo>
                    <a:pt x="1074" y="0"/>
                  </a:moveTo>
                  <a:cubicBezTo>
                    <a:pt x="480" y="0"/>
                    <a:pt x="9" y="480"/>
                    <a:pt x="0" y="1065"/>
                  </a:cubicBezTo>
                  <a:cubicBezTo>
                    <a:pt x="0" y="1709"/>
                    <a:pt x="526" y="2137"/>
                    <a:pt x="1074" y="2137"/>
                  </a:cubicBezTo>
                  <a:cubicBezTo>
                    <a:pt x="1336" y="2137"/>
                    <a:pt x="1603" y="2039"/>
                    <a:pt x="1821" y="1821"/>
                  </a:cubicBezTo>
                  <a:cubicBezTo>
                    <a:pt x="2496" y="1154"/>
                    <a:pt x="2017" y="8"/>
                    <a:pt x="1074"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070" name="Google Shape;2070;p104"/>
            <p:cNvSpPr/>
            <p:nvPr/>
          </p:nvSpPr>
          <p:spPr>
            <a:xfrm>
              <a:off x="2218650" y="3247075"/>
              <a:ext cx="62425" cy="53500"/>
            </a:xfrm>
            <a:custGeom>
              <a:avLst/>
              <a:gdLst/>
              <a:ahLst/>
              <a:cxnLst/>
              <a:rect l="l" t="t" r="r" b="b"/>
              <a:pathLst>
                <a:path w="2497" h="2140" extrusionOk="0">
                  <a:moveTo>
                    <a:pt x="1074" y="1"/>
                  </a:moveTo>
                  <a:cubicBezTo>
                    <a:pt x="480" y="9"/>
                    <a:pt x="9" y="480"/>
                    <a:pt x="0" y="1066"/>
                  </a:cubicBezTo>
                  <a:cubicBezTo>
                    <a:pt x="0" y="1711"/>
                    <a:pt x="529" y="2140"/>
                    <a:pt x="1079" y="2140"/>
                  </a:cubicBezTo>
                  <a:cubicBezTo>
                    <a:pt x="1339" y="2140"/>
                    <a:pt x="1605" y="2044"/>
                    <a:pt x="1821" y="1830"/>
                  </a:cubicBezTo>
                  <a:cubicBezTo>
                    <a:pt x="2496" y="1155"/>
                    <a:pt x="2017" y="9"/>
                    <a:pt x="1074"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071" name="Google Shape;2071;p104"/>
            <p:cNvSpPr/>
            <p:nvPr/>
          </p:nvSpPr>
          <p:spPr>
            <a:xfrm>
              <a:off x="2218650" y="3171075"/>
              <a:ext cx="62225" cy="53300"/>
            </a:xfrm>
            <a:custGeom>
              <a:avLst/>
              <a:gdLst/>
              <a:ahLst/>
              <a:cxnLst/>
              <a:rect l="l" t="t" r="r" b="b"/>
              <a:pathLst>
                <a:path w="2489" h="2132" extrusionOk="0">
                  <a:moveTo>
                    <a:pt x="1074" y="0"/>
                  </a:moveTo>
                  <a:cubicBezTo>
                    <a:pt x="480" y="0"/>
                    <a:pt x="0" y="472"/>
                    <a:pt x="0" y="1065"/>
                  </a:cubicBezTo>
                  <a:cubicBezTo>
                    <a:pt x="0" y="1705"/>
                    <a:pt x="528" y="2131"/>
                    <a:pt x="1078" y="2131"/>
                  </a:cubicBezTo>
                  <a:cubicBezTo>
                    <a:pt x="1339" y="2131"/>
                    <a:pt x="1604" y="2036"/>
                    <a:pt x="1821" y="1821"/>
                  </a:cubicBezTo>
                  <a:cubicBezTo>
                    <a:pt x="2488" y="1146"/>
                    <a:pt x="2017" y="0"/>
                    <a:pt x="1074"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072" name="Google Shape;2072;p104"/>
            <p:cNvSpPr/>
            <p:nvPr/>
          </p:nvSpPr>
          <p:spPr>
            <a:xfrm>
              <a:off x="2218650" y="2180700"/>
              <a:ext cx="62225" cy="53350"/>
            </a:xfrm>
            <a:custGeom>
              <a:avLst/>
              <a:gdLst/>
              <a:ahLst/>
              <a:cxnLst/>
              <a:rect l="l" t="t" r="r" b="b"/>
              <a:pathLst>
                <a:path w="2489" h="2134" extrusionOk="0">
                  <a:moveTo>
                    <a:pt x="1074" y="1"/>
                  </a:moveTo>
                  <a:cubicBezTo>
                    <a:pt x="480" y="1"/>
                    <a:pt x="0" y="472"/>
                    <a:pt x="0" y="1066"/>
                  </a:cubicBezTo>
                  <a:cubicBezTo>
                    <a:pt x="0" y="1709"/>
                    <a:pt x="526" y="2133"/>
                    <a:pt x="1074" y="2133"/>
                  </a:cubicBezTo>
                  <a:cubicBezTo>
                    <a:pt x="1336" y="2133"/>
                    <a:pt x="1603" y="2037"/>
                    <a:pt x="1821" y="1822"/>
                  </a:cubicBezTo>
                  <a:cubicBezTo>
                    <a:pt x="2488" y="1147"/>
                    <a:pt x="2017" y="1"/>
                    <a:pt x="1074"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073" name="Google Shape;2073;p104"/>
            <p:cNvSpPr/>
            <p:nvPr/>
          </p:nvSpPr>
          <p:spPr>
            <a:xfrm>
              <a:off x="2218650" y="2028275"/>
              <a:ext cx="62225" cy="53450"/>
            </a:xfrm>
            <a:custGeom>
              <a:avLst/>
              <a:gdLst/>
              <a:ahLst/>
              <a:cxnLst/>
              <a:rect l="l" t="t" r="r" b="b"/>
              <a:pathLst>
                <a:path w="2489" h="2138" extrusionOk="0">
                  <a:moveTo>
                    <a:pt x="1074" y="1"/>
                  </a:moveTo>
                  <a:cubicBezTo>
                    <a:pt x="480" y="1"/>
                    <a:pt x="0" y="480"/>
                    <a:pt x="0" y="1065"/>
                  </a:cubicBezTo>
                  <a:cubicBezTo>
                    <a:pt x="0" y="1709"/>
                    <a:pt x="526" y="2137"/>
                    <a:pt x="1074" y="2137"/>
                  </a:cubicBezTo>
                  <a:cubicBezTo>
                    <a:pt x="1336" y="2137"/>
                    <a:pt x="1603" y="2040"/>
                    <a:pt x="1821" y="1821"/>
                  </a:cubicBezTo>
                  <a:cubicBezTo>
                    <a:pt x="2488" y="1155"/>
                    <a:pt x="2017" y="1"/>
                    <a:pt x="1074"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074" name="Google Shape;2074;p104"/>
            <p:cNvSpPr/>
            <p:nvPr/>
          </p:nvSpPr>
          <p:spPr>
            <a:xfrm>
              <a:off x="2218650" y="1952050"/>
              <a:ext cx="62225" cy="53450"/>
            </a:xfrm>
            <a:custGeom>
              <a:avLst/>
              <a:gdLst/>
              <a:ahLst/>
              <a:cxnLst/>
              <a:rect l="l" t="t" r="r" b="b"/>
              <a:pathLst>
                <a:path w="2489" h="2138" extrusionOk="0">
                  <a:moveTo>
                    <a:pt x="1074" y="1"/>
                  </a:moveTo>
                  <a:cubicBezTo>
                    <a:pt x="480" y="9"/>
                    <a:pt x="0" y="481"/>
                    <a:pt x="0" y="1074"/>
                  </a:cubicBezTo>
                  <a:cubicBezTo>
                    <a:pt x="0" y="1712"/>
                    <a:pt x="525" y="2138"/>
                    <a:pt x="1073" y="2138"/>
                  </a:cubicBezTo>
                  <a:cubicBezTo>
                    <a:pt x="1335" y="2138"/>
                    <a:pt x="1603" y="2040"/>
                    <a:pt x="1821" y="1822"/>
                  </a:cubicBezTo>
                  <a:cubicBezTo>
                    <a:pt x="2488" y="1155"/>
                    <a:pt x="2017" y="9"/>
                    <a:pt x="1074"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075" name="Google Shape;2075;p104"/>
            <p:cNvSpPr/>
            <p:nvPr/>
          </p:nvSpPr>
          <p:spPr>
            <a:xfrm>
              <a:off x="2142425" y="4618300"/>
              <a:ext cx="62425" cy="53450"/>
            </a:xfrm>
            <a:custGeom>
              <a:avLst/>
              <a:gdLst/>
              <a:ahLst/>
              <a:cxnLst/>
              <a:rect l="l" t="t" r="r" b="b"/>
              <a:pathLst>
                <a:path w="2497" h="2138" extrusionOk="0">
                  <a:moveTo>
                    <a:pt x="1074" y="1"/>
                  </a:moveTo>
                  <a:cubicBezTo>
                    <a:pt x="481" y="9"/>
                    <a:pt x="9" y="480"/>
                    <a:pt x="1" y="1066"/>
                  </a:cubicBezTo>
                  <a:cubicBezTo>
                    <a:pt x="1" y="1709"/>
                    <a:pt x="530" y="2137"/>
                    <a:pt x="1078" y="2137"/>
                  </a:cubicBezTo>
                  <a:cubicBezTo>
                    <a:pt x="1340" y="2137"/>
                    <a:pt x="1606" y="2040"/>
                    <a:pt x="1822" y="1822"/>
                  </a:cubicBezTo>
                  <a:cubicBezTo>
                    <a:pt x="2497" y="1147"/>
                    <a:pt x="2017" y="1"/>
                    <a:pt x="1074"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076" name="Google Shape;2076;p104"/>
            <p:cNvSpPr/>
            <p:nvPr/>
          </p:nvSpPr>
          <p:spPr>
            <a:xfrm>
              <a:off x="2142425" y="4389875"/>
              <a:ext cx="62425" cy="53350"/>
            </a:xfrm>
            <a:custGeom>
              <a:avLst/>
              <a:gdLst/>
              <a:ahLst/>
              <a:cxnLst/>
              <a:rect l="l" t="t" r="r" b="b"/>
              <a:pathLst>
                <a:path w="2497" h="2134" extrusionOk="0">
                  <a:moveTo>
                    <a:pt x="1074" y="0"/>
                  </a:moveTo>
                  <a:cubicBezTo>
                    <a:pt x="481" y="0"/>
                    <a:pt x="9" y="480"/>
                    <a:pt x="1" y="1065"/>
                  </a:cubicBezTo>
                  <a:cubicBezTo>
                    <a:pt x="1" y="1709"/>
                    <a:pt x="530" y="2133"/>
                    <a:pt x="1079" y="2133"/>
                  </a:cubicBezTo>
                  <a:cubicBezTo>
                    <a:pt x="1340" y="2133"/>
                    <a:pt x="1607" y="2037"/>
                    <a:pt x="1822" y="1821"/>
                  </a:cubicBezTo>
                  <a:cubicBezTo>
                    <a:pt x="2497" y="1147"/>
                    <a:pt x="2017" y="0"/>
                    <a:pt x="1074"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077" name="Google Shape;2077;p104"/>
            <p:cNvSpPr/>
            <p:nvPr/>
          </p:nvSpPr>
          <p:spPr>
            <a:xfrm>
              <a:off x="2142425" y="4313650"/>
              <a:ext cx="62425" cy="53450"/>
            </a:xfrm>
            <a:custGeom>
              <a:avLst/>
              <a:gdLst/>
              <a:ahLst/>
              <a:cxnLst/>
              <a:rect l="l" t="t" r="r" b="b"/>
              <a:pathLst>
                <a:path w="2497" h="2138" extrusionOk="0">
                  <a:moveTo>
                    <a:pt x="1074" y="1"/>
                  </a:moveTo>
                  <a:cubicBezTo>
                    <a:pt x="481" y="1"/>
                    <a:pt x="9" y="480"/>
                    <a:pt x="1" y="1066"/>
                  </a:cubicBezTo>
                  <a:cubicBezTo>
                    <a:pt x="1" y="1709"/>
                    <a:pt x="530" y="2137"/>
                    <a:pt x="1078" y="2137"/>
                  </a:cubicBezTo>
                  <a:cubicBezTo>
                    <a:pt x="1340" y="2137"/>
                    <a:pt x="1606" y="2040"/>
                    <a:pt x="1822" y="1822"/>
                  </a:cubicBezTo>
                  <a:cubicBezTo>
                    <a:pt x="2497" y="1147"/>
                    <a:pt x="2017" y="1"/>
                    <a:pt x="1074"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078" name="Google Shape;2078;p104"/>
            <p:cNvSpPr/>
            <p:nvPr/>
          </p:nvSpPr>
          <p:spPr>
            <a:xfrm>
              <a:off x="2142425" y="4237450"/>
              <a:ext cx="62425" cy="53425"/>
            </a:xfrm>
            <a:custGeom>
              <a:avLst/>
              <a:gdLst/>
              <a:ahLst/>
              <a:cxnLst/>
              <a:rect l="l" t="t" r="r" b="b"/>
              <a:pathLst>
                <a:path w="2497" h="2137" extrusionOk="0">
                  <a:moveTo>
                    <a:pt x="1074" y="0"/>
                  </a:moveTo>
                  <a:cubicBezTo>
                    <a:pt x="481" y="8"/>
                    <a:pt x="9" y="480"/>
                    <a:pt x="1" y="1073"/>
                  </a:cubicBezTo>
                  <a:cubicBezTo>
                    <a:pt x="1" y="1711"/>
                    <a:pt x="529" y="2137"/>
                    <a:pt x="1077" y="2137"/>
                  </a:cubicBezTo>
                  <a:cubicBezTo>
                    <a:pt x="1339" y="2137"/>
                    <a:pt x="1606" y="2040"/>
                    <a:pt x="1822" y="1821"/>
                  </a:cubicBezTo>
                  <a:cubicBezTo>
                    <a:pt x="2497" y="1155"/>
                    <a:pt x="2017" y="0"/>
                    <a:pt x="1074"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079" name="Google Shape;2079;p104"/>
            <p:cNvSpPr/>
            <p:nvPr/>
          </p:nvSpPr>
          <p:spPr>
            <a:xfrm>
              <a:off x="2142425" y="4161425"/>
              <a:ext cx="62425" cy="53300"/>
            </a:xfrm>
            <a:custGeom>
              <a:avLst/>
              <a:gdLst/>
              <a:ahLst/>
              <a:cxnLst/>
              <a:rect l="l" t="t" r="r" b="b"/>
              <a:pathLst>
                <a:path w="2497" h="2132" extrusionOk="0">
                  <a:moveTo>
                    <a:pt x="1074" y="1"/>
                  </a:moveTo>
                  <a:cubicBezTo>
                    <a:pt x="481" y="1"/>
                    <a:pt x="9" y="472"/>
                    <a:pt x="1" y="1066"/>
                  </a:cubicBezTo>
                  <a:cubicBezTo>
                    <a:pt x="1" y="1708"/>
                    <a:pt x="527" y="2131"/>
                    <a:pt x="1074" y="2131"/>
                  </a:cubicBezTo>
                  <a:cubicBezTo>
                    <a:pt x="1337" y="2131"/>
                    <a:pt x="1605" y="2033"/>
                    <a:pt x="1822" y="1814"/>
                  </a:cubicBezTo>
                  <a:cubicBezTo>
                    <a:pt x="2497" y="1147"/>
                    <a:pt x="2017" y="1"/>
                    <a:pt x="1074"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080" name="Google Shape;2080;p104"/>
            <p:cNvSpPr/>
            <p:nvPr/>
          </p:nvSpPr>
          <p:spPr>
            <a:xfrm>
              <a:off x="2142425" y="4085225"/>
              <a:ext cx="62425" cy="53350"/>
            </a:xfrm>
            <a:custGeom>
              <a:avLst/>
              <a:gdLst/>
              <a:ahLst/>
              <a:cxnLst/>
              <a:rect l="l" t="t" r="r" b="b"/>
              <a:pathLst>
                <a:path w="2497" h="2134" extrusionOk="0">
                  <a:moveTo>
                    <a:pt x="1074" y="0"/>
                  </a:moveTo>
                  <a:cubicBezTo>
                    <a:pt x="481" y="0"/>
                    <a:pt x="9" y="480"/>
                    <a:pt x="1" y="1065"/>
                  </a:cubicBezTo>
                  <a:cubicBezTo>
                    <a:pt x="1" y="1709"/>
                    <a:pt x="530" y="2133"/>
                    <a:pt x="1079" y="2133"/>
                  </a:cubicBezTo>
                  <a:cubicBezTo>
                    <a:pt x="1340" y="2133"/>
                    <a:pt x="1607" y="2037"/>
                    <a:pt x="1822" y="1821"/>
                  </a:cubicBezTo>
                  <a:cubicBezTo>
                    <a:pt x="2497" y="1147"/>
                    <a:pt x="2017" y="0"/>
                    <a:pt x="1074"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081" name="Google Shape;2081;p104"/>
            <p:cNvSpPr/>
            <p:nvPr/>
          </p:nvSpPr>
          <p:spPr>
            <a:xfrm>
              <a:off x="2142425" y="4009000"/>
              <a:ext cx="62425" cy="53350"/>
            </a:xfrm>
            <a:custGeom>
              <a:avLst/>
              <a:gdLst/>
              <a:ahLst/>
              <a:cxnLst/>
              <a:rect l="l" t="t" r="r" b="b"/>
              <a:pathLst>
                <a:path w="2497" h="2134" extrusionOk="0">
                  <a:moveTo>
                    <a:pt x="1074" y="1"/>
                  </a:moveTo>
                  <a:cubicBezTo>
                    <a:pt x="481" y="1"/>
                    <a:pt x="9" y="480"/>
                    <a:pt x="1" y="1066"/>
                  </a:cubicBezTo>
                  <a:cubicBezTo>
                    <a:pt x="1" y="1710"/>
                    <a:pt x="530" y="2134"/>
                    <a:pt x="1079" y="2134"/>
                  </a:cubicBezTo>
                  <a:cubicBezTo>
                    <a:pt x="1340" y="2134"/>
                    <a:pt x="1607" y="2037"/>
                    <a:pt x="1822" y="1822"/>
                  </a:cubicBezTo>
                  <a:cubicBezTo>
                    <a:pt x="2497" y="1147"/>
                    <a:pt x="2017" y="1"/>
                    <a:pt x="1074"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082" name="Google Shape;2082;p104"/>
            <p:cNvSpPr/>
            <p:nvPr/>
          </p:nvSpPr>
          <p:spPr>
            <a:xfrm>
              <a:off x="2142425" y="3932800"/>
              <a:ext cx="62425" cy="53475"/>
            </a:xfrm>
            <a:custGeom>
              <a:avLst/>
              <a:gdLst/>
              <a:ahLst/>
              <a:cxnLst/>
              <a:rect l="l" t="t" r="r" b="b"/>
              <a:pathLst>
                <a:path w="2497" h="2139" extrusionOk="0">
                  <a:moveTo>
                    <a:pt x="1074" y="0"/>
                  </a:moveTo>
                  <a:cubicBezTo>
                    <a:pt x="481" y="0"/>
                    <a:pt x="1" y="480"/>
                    <a:pt x="1" y="1073"/>
                  </a:cubicBezTo>
                  <a:cubicBezTo>
                    <a:pt x="6" y="1715"/>
                    <a:pt x="530" y="2139"/>
                    <a:pt x="1075" y="2139"/>
                  </a:cubicBezTo>
                  <a:cubicBezTo>
                    <a:pt x="1338" y="2139"/>
                    <a:pt x="1605" y="2041"/>
                    <a:pt x="1822" y="1821"/>
                  </a:cubicBezTo>
                  <a:cubicBezTo>
                    <a:pt x="2497" y="1146"/>
                    <a:pt x="2017" y="0"/>
                    <a:pt x="1074"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083" name="Google Shape;2083;p104"/>
            <p:cNvSpPr/>
            <p:nvPr/>
          </p:nvSpPr>
          <p:spPr>
            <a:xfrm>
              <a:off x="2142425" y="3856775"/>
              <a:ext cx="62425" cy="53300"/>
            </a:xfrm>
            <a:custGeom>
              <a:avLst/>
              <a:gdLst/>
              <a:ahLst/>
              <a:cxnLst/>
              <a:rect l="l" t="t" r="r" b="b"/>
              <a:pathLst>
                <a:path w="2497" h="2132" extrusionOk="0">
                  <a:moveTo>
                    <a:pt x="1074" y="1"/>
                  </a:moveTo>
                  <a:cubicBezTo>
                    <a:pt x="481" y="1"/>
                    <a:pt x="1" y="480"/>
                    <a:pt x="1" y="1066"/>
                  </a:cubicBezTo>
                  <a:cubicBezTo>
                    <a:pt x="6" y="1708"/>
                    <a:pt x="530" y="2131"/>
                    <a:pt x="1075" y="2131"/>
                  </a:cubicBezTo>
                  <a:cubicBezTo>
                    <a:pt x="1338" y="2131"/>
                    <a:pt x="1605" y="2033"/>
                    <a:pt x="1822" y="1814"/>
                  </a:cubicBezTo>
                  <a:cubicBezTo>
                    <a:pt x="2497" y="1147"/>
                    <a:pt x="2017" y="1"/>
                    <a:pt x="1074"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084" name="Google Shape;2084;p104"/>
            <p:cNvSpPr/>
            <p:nvPr/>
          </p:nvSpPr>
          <p:spPr>
            <a:xfrm>
              <a:off x="2142425" y="3780375"/>
              <a:ext cx="62425" cy="53475"/>
            </a:xfrm>
            <a:custGeom>
              <a:avLst/>
              <a:gdLst/>
              <a:ahLst/>
              <a:cxnLst/>
              <a:rect l="l" t="t" r="r" b="b"/>
              <a:pathLst>
                <a:path w="2497" h="2139" extrusionOk="0">
                  <a:moveTo>
                    <a:pt x="1074" y="0"/>
                  </a:moveTo>
                  <a:cubicBezTo>
                    <a:pt x="481" y="0"/>
                    <a:pt x="1" y="480"/>
                    <a:pt x="1" y="1073"/>
                  </a:cubicBezTo>
                  <a:cubicBezTo>
                    <a:pt x="6" y="1715"/>
                    <a:pt x="530" y="2139"/>
                    <a:pt x="1078" y="2139"/>
                  </a:cubicBezTo>
                  <a:cubicBezTo>
                    <a:pt x="1342" y="2139"/>
                    <a:pt x="1611" y="2040"/>
                    <a:pt x="1830" y="1821"/>
                  </a:cubicBezTo>
                  <a:cubicBezTo>
                    <a:pt x="2497" y="1146"/>
                    <a:pt x="2017" y="0"/>
                    <a:pt x="1074"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085" name="Google Shape;2085;p104"/>
            <p:cNvSpPr/>
            <p:nvPr/>
          </p:nvSpPr>
          <p:spPr>
            <a:xfrm>
              <a:off x="2142425" y="3704150"/>
              <a:ext cx="62425" cy="53450"/>
            </a:xfrm>
            <a:custGeom>
              <a:avLst/>
              <a:gdLst/>
              <a:ahLst/>
              <a:cxnLst/>
              <a:rect l="l" t="t" r="r" b="b"/>
              <a:pathLst>
                <a:path w="2497" h="2138" extrusionOk="0">
                  <a:moveTo>
                    <a:pt x="1074" y="1"/>
                  </a:moveTo>
                  <a:cubicBezTo>
                    <a:pt x="481" y="1"/>
                    <a:pt x="9" y="480"/>
                    <a:pt x="1" y="1066"/>
                  </a:cubicBezTo>
                  <a:cubicBezTo>
                    <a:pt x="1" y="1709"/>
                    <a:pt x="530" y="2137"/>
                    <a:pt x="1078" y="2137"/>
                  </a:cubicBezTo>
                  <a:cubicBezTo>
                    <a:pt x="1340" y="2137"/>
                    <a:pt x="1606" y="2040"/>
                    <a:pt x="1822" y="1822"/>
                  </a:cubicBezTo>
                  <a:cubicBezTo>
                    <a:pt x="2497" y="1147"/>
                    <a:pt x="2017" y="1"/>
                    <a:pt x="1074"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086" name="Google Shape;2086;p104"/>
            <p:cNvSpPr/>
            <p:nvPr/>
          </p:nvSpPr>
          <p:spPr>
            <a:xfrm>
              <a:off x="2142425" y="3627950"/>
              <a:ext cx="62425" cy="53425"/>
            </a:xfrm>
            <a:custGeom>
              <a:avLst/>
              <a:gdLst/>
              <a:ahLst/>
              <a:cxnLst/>
              <a:rect l="l" t="t" r="r" b="b"/>
              <a:pathLst>
                <a:path w="2497" h="2137" extrusionOk="0">
                  <a:moveTo>
                    <a:pt x="1074" y="0"/>
                  </a:moveTo>
                  <a:cubicBezTo>
                    <a:pt x="481" y="8"/>
                    <a:pt x="9" y="480"/>
                    <a:pt x="1" y="1073"/>
                  </a:cubicBezTo>
                  <a:cubicBezTo>
                    <a:pt x="1" y="1711"/>
                    <a:pt x="529" y="2137"/>
                    <a:pt x="1077" y="2137"/>
                  </a:cubicBezTo>
                  <a:cubicBezTo>
                    <a:pt x="1339" y="2137"/>
                    <a:pt x="1606" y="2039"/>
                    <a:pt x="1822" y="1821"/>
                  </a:cubicBezTo>
                  <a:cubicBezTo>
                    <a:pt x="2497" y="1154"/>
                    <a:pt x="2017" y="0"/>
                    <a:pt x="1074"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087" name="Google Shape;2087;p104"/>
            <p:cNvSpPr/>
            <p:nvPr/>
          </p:nvSpPr>
          <p:spPr>
            <a:xfrm>
              <a:off x="2142425" y="3551925"/>
              <a:ext cx="62425" cy="53300"/>
            </a:xfrm>
            <a:custGeom>
              <a:avLst/>
              <a:gdLst/>
              <a:ahLst/>
              <a:cxnLst/>
              <a:rect l="l" t="t" r="r" b="b"/>
              <a:pathLst>
                <a:path w="2497" h="2132" extrusionOk="0">
                  <a:moveTo>
                    <a:pt x="1074" y="1"/>
                  </a:moveTo>
                  <a:cubicBezTo>
                    <a:pt x="481" y="1"/>
                    <a:pt x="1" y="480"/>
                    <a:pt x="1" y="1066"/>
                  </a:cubicBezTo>
                  <a:cubicBezTo>
                    <a:pt x="6" y="1708"/>
                    <a:pt x="530" y="2131"/>
                    <a:pt x="1075" y="2131"/>
                  </a:cubicBezTo>
                  <a:cubicBezTo>
                    <a:pt x="1338" y="2131"/>
                    <a:pt x="1605" y="2033"/>
                    <a:pt x="1822" y="1814"/>
                  </a:cubicBezTo>
                  <a:cubicBezTo>
                    <a:pt x="2497" y="1147"/>
                    <a:pt x="2017" y="1"/>
                    <a:pt x="1074"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088" name="Google Shape;2088;p104"/>
            <p:cNvSpPr/>
            <p:nvPr/>
          </p:nvSpPr>
          <p:spPr>
            <a:xfrm>
              <a:off x="2142425" y="3475725"/>
              <a:ext cx="62425" cy="53350"/>
            </a:xfrm>
            <a:custGeom>
              <a:avLst/>
              <a:gdLst/>
              <a:ahLst/>
              <a:cxnLst/>
              <a:rect l="l" t="t" r="r" b="b"/>
              <a:pathLst>
                <a:path w="2497" h="2134" extrusionOk="0">
                  <a:moveTo>
                    <a:pt x="1074" y="0"/>
                  </a:moveTo>
                  <a:cubicBezTo>
                    <a:pt x="481" y="0"/>
                    <a:pt x="1" y="480"/>
                    <a:pt x="1" y="1065"/>
                  </a:cubicBezTo>
                  <a:cubicBezTo>
                    <a:pt x="1" y="1709"/>
                    <a:pt x="530" y="2133"/>
                    <a:pt x="1079" y="2133"/>
                  </a:cubicBezTo>
                  <a:cubicBezTo>
                    <a:pt x="1340" y="2133"/>
                    <a:pt x="1607" y="2037"/>
                    <a:pt x="1822" y="1821"/>
                  </a:cubicBezTo>
                  <a:cubicBezTo>
                    <a:pt x="2497" y="1146"/>
                    <a:pt x="2017" y="0"/>
                    <a:pt x="1074"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089" name="Google Shape;2089;p104"/>
            <p:cNvSpPr/>
            <p:nvPr/>
          </p:nvSpPr>
          <p:spPr>
            <a:xfrm>
              <a:off x="2142425" y="3399500"/>
              <a:ext cx="62425" cy="53350"/>
            </a:xfrm>
            <a:custGeom>
              <a:avLst/>
              <a:gdLst/>
              <a:ahLst/>
              <a:cxnLst/>
              <a:rect l="l" t="t" r="r" b="b"/>
              <a:pathLst>
                <a:path w="2497" h="2134" extrusionOk="0">
                  <a:moveTo>
                    <a:pt x="1074" y="1"/>
                  </a:moveTo>
                  <a:cubicBezTo>
                    <a:pt x="481" y="1"/>
                    <a:pt x="9" y="480"/>
                    <a:pt x="1" y="1066"/>
                  </a:cubicBezTo>
                  <a:cubicBezTo>
                    <a:pt x="1" y="1709"/>
                    <a:pt x="526" y="2134"/>
                    <a:pt x="1075" y="2134"/>
                  </a:cubicBezTo>
                  <a:cubicBezTo>
                    <a:pt x="1337" y="2134"/>
                    <a:pt x="1604" y="2037"/>
                    <a:pt x="1822" y="1822"/>
                  </a:cubicBezTo>
                  <a:cubicBezTo>
                    <a:pt x="2497" y="1147"/>
                    <a:pt x="2017" y="1"/>
                    <a:pt x="1074"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090" name="Google Shape;2090;p104"/>
            <p:cNvSpPr/>
            <p:nvPr/>
          </p:nvSpPr>
          <p:spPr>
            <a:xfrm>
              <a:off x="2142425" y="3323300"/>
              <a:ext cx="62425" cy="53425"/>
            </a:xfrm>
            <a:custGeom>
              <a:avLst/>
              <a:gdLst/>
              <a:ahLst/>
              <a:cxnLst/>
              <a:rect l="l" t="t" r="r" b="b"/>
              <a:pathLst>
                <a:path w="2497" h="2137" extrusionOk="0">
                  <a:moveTo>
                    <a:pt x="1074" y="0"/>
                  </a:moveTo>
                  <a:cubicBezTo>
                    <a:pt x="481" y="0"/>
                    <a:pt x="9" y="480"/>
                    <a:pt x="1" y="1065"/>
                  </a:cubicBezTo>
                  <a:cubicBezTo>
                    <a:pt x="1" y="1709"/>
                    <a:pt x="526" y="2137"/>
                    <a:pt x="1075" y="2137"/>
                  </a:cubicBezTo>
                  <a:cubicBezTo>
                    <a:pt x="1337" y="2137"/>
                    <a:pt x="1604" y="2039"/>
                    <a:pt x="1822" y="1821"/>
                  </a:cubicBezTo>
                  <a:cubicBezTo>
                    <a:pt x="2497" y="1154"/>
                    <a:pt x="2017" y="0"/>
                    <a:pt x="1074"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091" name="Google Shape;2091;p104"/>
            <p:cNvSpPr/>
            <p:nvPr/>
          </p:nvSpPr>
          <p:spPr>
            <a:xfrm>
              <a:off x="2142425" y="3247075"/>
              <a:ext cx="62425" cy="53450"/>
            </a:xfrm>
            <a:custGeom>
              <a:avLst/>
              <a:gdLst/>
              <a:ahLst/>
              <a:cxnLst/>
              <a:rect l="l" t="t" r="r" b="b"/>
              <a:pathLst>
                <a:path w="2497" h="2138" extrusionOk="0">
                  <a:moveTo>
                    <a:pt x="1074" y="1"/>
                  </a:moveTo>
                  <a:cubicBezTo>
                    <a:pt x="481" y="9"/>
                    <a:pt x="9" y="480"/>
                    <a:pt x="1" y="1066"/>
                  </a:cubicBezTo>
                  <a:cubicBezTo>
                    <a:pt x="1" y="1709"/>
                    <a:pt x="526" y="2137"/>
                    <a:pt x="1075" y="2137"/>
                  </a:cubicBezTo>
                  <a:cubicBezTo>
                    <a:pt x="1337" y="2137"/>
                    <a:pt x="1604" y="2040"/>
                    <a:pt x="1822" y="1822"/>
                  </a:cubicBezTo>
                  <a:cubicBezTo>
                    <a:pt x="2497" y="1155"/>
                    <a:pt x="2017" y="1"/>
                    <a:pt x="1074"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092" name="Google Shape;2092;p104"/>
            <p:cNvSpPr/>
            <p:nvPr/>
          </p:nvSpPr>
          <p:spPr>
            <a:xfrm>
              <a:off x="2142425" y="3171075"/>
              <a:ext cx="62425" cy="53275"/>
            </a:xfrm>
            <a:custGeom>
              <a:avLst/>
              <a:gdLst/>
              <a:ahLst/>
              <a:cxnLst/>
              <a:rect l="l" t="t" r="r" b="b"/>
              <a:pathLst>
                <a:path w="2497" h="2131" extrusionOk="0">
                  <a:moveTo>
                    <a:pt x="1074" y="0"/>
                  </a:moveTo>
                  <a:cubicBezTo>
                    <a:pt x="481" y="0"/>
                    <a:pt x="9" y="472"/>
                    <a:pt x="1" y="1065"/>
                  </a:cubicBezTo>
                  <a:cubicBezTo>
                    <a:pt x="1" y="1707"/>
                    <a:pt x="527" y="2131"/>
                    <a:pt x="1074" y="2131"/>
                  </a:cubicBezTo>
                  <a:cubicBezTo>
                    <a:pt x="1337" y="2131"/>
                    <a:pt x="1605" y="2032"/>
                    <a:pt x="1822" y="1813"/>
                  </a:cubicBezTo>
                  <a:cubicBezTo>
                    <a:pt x="2497" y="1146"/>
                    <a:pt x="2017" y="0"/>
                    <a:pt x="1074"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093" name="Google Shape;2093;p104"/>
            <p:cNvSpPr/>
            <p:nvPr/>
          </p:nvSpPr>
          <p:spPr>
            <a:xfrm>
              <a:off x="2142425" y="2180700"/>
              <a:ext cx="62425" cy="53350"/>
            </a:xfrm>
            <a:custGeom>
              <a:avLst/>
              <a:gdLst/>
              <a:ahLst/>
              <a:cxnLst/>
              <a:rect l="l" t="t" r="r" b="b"/>
              <a:pathLst>
                <a:path w="2497" h="2134" extrusionOk="0">
                  <a:moveTo>
                    <a:pt x="1074" y="1"/>
                  </a:moveTo>
                  <a:cubicBezTo>
                    <a:pt x="481" y="1"/>
                    <a:pt x="9" y="480"/>
                    <a:pt x="1" y="1066"/>
                  </a:cubicBezTo>
                  <a:cubicBezTo>
                    <a:pt x="1" y="1709"/>
                    <a:pt x="530" y="2133"/>
                    <a:pt x="1079" y="2133"/>
                  </a:cubicBezTo>
                  <a:cubicBezTo>
                    <a:pt x="1340" y="2133"/>
                    <a:pt x="1607" y="2037"/>
                    <a:pt x="1822" y="1822"/>
                  </a:cubicBezTo>
                  <a:cubicBezTo>
                    <a:pt x="2497" y="1147"/>
                    <a:pt x="2017" y="1"/>
                    <a:pt x="1074"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094" name="Google Shape;2094;p104"/>
            <p:cNvSpPr/>
            <p:nvPr/>
          </p:nvSpPr>
          <p:spPr>
            <a:xfrm>
              <a:off x="2142425" y="2028275"/>
              <a:ext cx="62425" cy="53450"/>
            </a:xfrm>
            <a:custGeom>
              <a:avLst/>
              <a:gdLst/>
              <a:ahLst/>
              <a:cxnLst/>
              <a:rect l="l" t="t" r="r" b="b"/>
              <a:pathLst>
                <a:path w="2497" h="2138" extrusionOk="0">
                  <a:moveTo>
                    <a:pt x="1074" y="1"/>
                  </a:moveTo>
                  <a:cubicBezTo>
                    <a:pt x="481" y="1"/>
                    <a:pt x="9" y="480"/>
                    <a:pt x="1" y="1065"/>
                  </a:cubicBezTo>
                  <a:cubicBezTo>
                    <a:pt x="1" y="1709"/>
                    <a:pt x="530" y="2137"/>
                    <a:pt x="1078" y="2137"/>
                  </a:cubicBezTo>
                  <a:cubicBezTo>
                    <a:pt x="1340" y="2137"/>
                    <a:pt x="1606" y="2040"/>
                    <a:pt x="1822" y="1821"/>
                  </a:cubicBezTo>
                  <a:cubicBezTo>
                    <a:pt x="2497" y="1147"/>
                    <a:pt x="2017" y="1"/>
                    <a:pt x="1074"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095" name="Google Shape;2095;p104"/>
            <p:cNvSpPr/>
            <p:nvPr/>
          </p:nvSpPr>
          <p:spPr>
            <a:xfrm>
              <a:off x="2142425" y="1952050"/>
              <a:ext cx="62425" cy="53450"/>
            </a:xfrm>
            <a:custGeom>
              <a:avLst/>
              <a:gdLst/>
              <a:ahLst/>
              <a:cxnLst/>
              <a:rect l="l" t="t" r="r" b="b"/>
              <a:pathLst>
                <a:path w="2497" h="2138" extrusionOk="0">
                  <a:moveTo>
                    <a:pt x="1074" y="1"/>
                  </a:moveTo>
                  <a:cubicBezTo>
                    <a:pt x="481" y="9"/>
                    <a:pt x="9" y="481"/>
                    <a:pt x="1" y="1074"/>
                  </a:cubicBezTo>
                  <a:cubicBezTo>
                    <a:pt x="1" y="1712"/>
                    <a:pt x="529" y="2138"/>
                    <a:pt x="1077" y="2138"/>
                  </a:cubicBezTo>
                  <a:cubicBezTo>
                    <a:pt x="1339" y="2138"/>
                    <a:pt x="1606" y="2040"/>
                    <a:pt x="1822" y="1822"/>
                  </a:cubicBezTo>
                  <a:cubicBezTo>
                    <a:pt x="2497" y="1155"/>
                    <a:pt x="2017" y="1"/>
                    <a:pt x="1074"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096" name="Google Shape;2096;p104"/>
            <p:cNvSpPr/>
            <p:nvPr/>
          </p:nvSpPr>
          <p:spPr>
            <a:xfrm>
              <a:off x="2142425" y="1876050"/>
              <a:ext cx="62425" cy="53275"/>
            </a:xfrm>
            <a:custGeom>
              <a:avLst/>
              <a:gdLst/>
              <a:ahLst/>
              <a:cxnLst/>
              <a:rect l="l" t="t" r="r" b="b"/>
              <a:pathLst>
                <a:path w="2497" h="2131" extrusionOk="0">
                  <a:moveTo>
                    <a:pt x="1074" y="1"/>
                  </a:moveTo>
                  <a:cubicBezTo>
                    <a:pt x="481" y="1"/>
                    <a:pt x="9" y="472"/>
                    <a:pt x="1" y="1066"/>
                  </a:cubicBezTo>
                  <a:cubicBezTo>
                    <a:pt x="1" y="1707"/>
                    <a:pt x="527" y="2131"/>
                    <a:pt x="1074" y="2131"/>
                  </a:cubicBezTo>
                  <a:cubicBezTo>
                    <a:pt x="1337" y="2131"/>
                    <a:pt x="1605" y="2033"/>
                    <a:pt x="1822" y="1813"/>
                  </a:cubicBezTo>
                  <a:cubicBezTo>
                    <a:pt x="2497" y="1147"/>
                    <a:pt x="2017" y="1"/>
                    <a:pt x="1074"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097" name="Google Shape;2097;p104"/>
            <p:cNvSpPr/>
            <p:nvPr/>
          </p:nvSpPr>
          <p:spPr>
            <a:xfrm>
              <a:off x="2142425" y="1799850"/>
              <a:ext cx="62425" cy="53325"/>
            </a:xfrm>
            <a:custGeom>
              <a:avLst/>
              <a:gdLst/>
              <a:ahLst/>
              <a:cxnLst/>
              <a:rect l="l" t="t" r="r" b="b"/>
              <a:pathLst>
                <a:path w="2497" h="2133" extrusionOk="0">
                  <a:moveTo>
                    <a:pt x="1074" y="0"/>
                  </a:moveTo>
                  <a:cubicBezTo>
                    <a:pt x="481" y="0"/>
                    <a:pt x="9" y="480"/>
                    <a:pt x="1" y="1065"/>
                  </a:cubicBezTo>
                  <a:cubicBezTo>
                    <a:pt x="1" y="1709"/>
                    <a:pt x="530" y="2133"/>
                    <a:pt x="1079" y="2133"/>
                  </a:cubicBezTo>
                  <a:cubicBezTo>
                    <a:pt x="1340" y="2133"/>
                    <a:pt x="1607" y="2036"/>
                    <a:pt x="1822" y="1821"/>
                  </a:cubicBezTo>
                  <a:cubicBezTo>
                    <a:pt x="2497" y="1146"/>
                    <a:pt x="2017" y="0"/>
                    <a:pt x="1074"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098" name="Google Shape;2098;p104"/>
            <p:cNvSpPr/>
            <p:nvPr/>
          </p:nvSpPr>
          <p:spPr>
            <a:xfrm>
              <a:off x="2142425" y="1571400"/>
              <a:ext cx="62425" cy="53250"/>
            </a:xfrm>
            <a:custGeom>
              <a:avLst/>
              <a:gdLst/>
              <a:ahLst/>
              <a:cxnLst/>
              <a:rect l="l" t="t" r="r" b="b"/>
              <a:pathLst>
                <a:path w="2497" h="2130" extrusionOk="0">
                  <a:moveTo>
                    <a:pt x="1074" y="1"/>
                  </a:moveTo>
                  <a:cubicBezTo>
                    <a:pt x="481" y="1"/>
                    <a:pt x="9" y="472"/>
                    <a:pt x="1" y="1066"/>
                  </a:cubicBezTo>
                  <a:cubicBezTo>
                    <a:pt x="1" y="1703"/>
                    <a:pt x="529" y="2129"/>
                    <a:pt x="1077" y="2129"/>
                  </a:cubicBezTo>
                  <a:cubicBezTo>
                    <a:pt x="1339" y="2129"/>
                    <a:pt x="1606" y="2032"/>
                    <a:pt x="1822" y="1813"/>
                  </a:cubicBezTo>
                  <a:cubicBezTo>
                    <a:pt x="2497" y="1147"/>
                    <a:pt x="2017" y="1"/>
                    <a:pt x="1074"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099" name="Google Shape;2099;p104"/>
            <p:cNvSpPr/>
            <p:nvPr/>
          </p:nvSpPr>
          <p:spPr>
            <a:xfrm>
              <a:off x="2142425" y="1495200"/>
              <a:ext cx="62425" cy="53325"/>
            </a:xfrm>
            <a:custGeom>
              <a:avLst/>
              <a:gdLst/>
              <a:ahLst/>
              <a:cxnLst/>
              <a:rect l="l" t="t" r="r" b="b"/>
              <a:pathLst>
                <a:path w="2497" h="2133" extrusionOk="0">
                  <a:moveTo>
                    <a:pt x="1074" y="0"/>
                  </a:moveTo>
                  <a:cubicBezTo>
                    <a:pt x="481" y="0"/>
                    <a:pt x="9" y="480"/>
                    <a:pt x="1" y="1065"/>
                  </a:cubicBezTo>
                  <a:cubicBezTo>
                    <a:pt x="1" y="1709"/>
                    <a:pt x="530" y="2133"/>
                    <a:pt x="1079" y="2133"/>
                  </a:cubicBezTo>
                  <a:cubicBezTo>
                    <a:pt x="1340" y="2133"/>
                    <a:pt x="1607" y="2036"/>
                    <a:pt x="1822" y="1821"/>
                  </a:cubicBezTo>
                  <a:cubicBezTo>
                    <a:pt x="2497" y="1146"/>
                    <a:pt x="2017" y="0"/>
                    <a:pt x="1074"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100" name="Google Shape;2100;p104"/>
            <p:cNvSpPr/>
            <p:nvPr/>
          </p:nvSpPr>
          <p:spPr>
            <a:xfrm>
              <a:off x="2142425" y="1038125"/>
              <a:ext cx="62425" cy="53325"/>
            </a:xfrm>
            <a:custGeom>
              <a:avLst/>
              <a:gdLst/>
              <a:ahLst/>
              <a:cxnLst/>
              <a:rect l="l" t="t" r="r" b="b"/>
              <a:pathLst>
                <a:path w="2497" h="2133" extrusionOk="0">
                  <a:moveTo>
                    <a:pt x="1074" y="0"/>
                  </a:moveTo>
                  <a:cubicBezTo>
                    <a:pt x="481" y="0"/>
                    <a:pt x="9" y="480"/>
                    <a:pt x="1" y="1065"/>
                  </a:cubicBezTo>
                  <a:cubicBezTo>
                    <a:pt x="1" y="1709"/>
                    <a:pt x="530" y="2133"/>
                    <a:pt x="1079" y="2133"/>
                  </a:cubicBezTo>
                  <a:cubicBezTo>
                    <a:pt x="1340" y="2133"/>
                    <a:pt x="1607" y="2036"/>
                    <a:pt x="1822" y="1821"/>
                  </a:cubicBezTo>
                  <a:cubicBezTo>
                    <a:pt x="2497" y="1146"/>
                    <a:pt x="2017" y="0"/>
                    <a:pt x="1074"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101" name="Google Shape;2101;p104"/>
            <p:cNvSpPr/>
            <p:nvPr/>
          </p:nvSpPr>
          <p:spPr>
            <a:xfrm>
              <a:off x="2066425" y="4618300"/>
              <a:ext cx="62225" cy="53450"/>
            </a:xfrm>
            <a:custGeom>
              <a:avLst/>
              <a:gdLst/>
              <a:ahLst/>
              <a:cxnLst/>
              <a:rect l="l" t="t" r="r" b="b"/>
              <a:pathLst>
                <a:path w="2489" h="2138" extrusionOk="0">
                  <a:moveTo>
                    <a:pt x="1065" y="1"/>
                  </a:moveTo>
                  <a:cubicBezTo>
                    <a:pt x="472" y="9"/>
                    <a:pt x="0" y="480"/>
                    <a:pt x="0" y="1066"/>
                  </a:cubicBezTo>
                  <a:cubicBezTo>
                    <a:pt x="0" y="1709"/>
                    <a:pt x="526" y="2137"/>
                    <a:pt x="1072" y="2137"/>
                  </a:cubicBezTo>
                  <a:cubicBezTo>
                    <a:pt x="1332" y="2137"/>
                    <a:pt x="1598" y="2040"/>
                    <a:pt x="1813" y="1822"/>
                  </a:cubicBezTo>
                  <a:cubicBezTo>
                    <a:pt x="2488" y="1147"/>
                    <a:pt x="2008" y="1"/>
                    <a:pt x="1065"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102" name="Google Shape;2102;p104"/>
            <p:cNvSpPr/>
            <p:nvPr/>
          </p:nvSpPr>
          <p:spPr>
            <a:xfrm>
              <a:off x="2066425" y="4542300"/>
              <a:ext cx="62225" cy="53275"/>
            </a:xfrm>
            <a:custGeom>
              <a:avLst/>
              <a:gdLst/>
              <a:ahLst/>
              <a:cxnLst/>
              <a:rect l="l" t="t" r="r" b="b"/>
              <a:pathLst>
                <a:path w="2489" h="2131" extrusionOk="0">
                  <a:moveTo>
                    <a:pt x="1065" y="0"/>
                  </a:moveTo>
                  <a:cubicBezTo>
                    <a:pt x="472" y="0"/>
                    <a:pt x="0" y="472"/>
                    <a:pt x="0" y="1065"/>
                  </a:cubicBezTo>
                  <a:cubicBezTo>
                    <a:pt x="0" y="1707"/>
                    <a:pt x="523" y="2131"/>
                    <a:pt x="1067" y="2131"/>
                  </a:cubicBezTo>
                  <a:cubicBezTo>
                    <a:pt x="1329" y="2131"/>
                    <a:pt x="1597" y="2033"/>
                    <a:pt x="1813" y="1813"/>
                  </a:cubicBezTo>
                  <a:cubicBezTo>
                    <a:pt x="2488" y="1147"/>
                    <a:pt x="2008" y="0"/>
                    <a:pt x="1065"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103" name="Google Shape;2103;p104"/>
            <p:cNvSpPr/>
            <p:nvPr/>
          </p:nvSpPr>
          <p:spPr>
            <a:xfrm>
              <a:off x="2066425" y="4466075"/>
              <a:ext cx="62225" cy="53300"/>
            </a:xfrm>
            <a:custGeom>
              <a:avLst/>
              <a:gdLst/>
              <a:ahLst/>
              <a:cxnLst/>
              <a:rect l="l" t="t" r="r" b="b"/>
              <a:pathLst>
                <a:path w="2489" h="2132" extrusionOk="0">
                  <a:moveTo>
                    <a:pt x="1065" y="1"/>
                  </a:moveTo>
                  <a:cubicBezTo>
                    <a:pt x="472" y="1"/>
                    <a:pt x="0" y="472"/>
                    <a:pt x="0" y="1066"/>
                  </a:cubicBezTo>
                  <a:cubicBezTo>
                    <a:pt x="0" y="1708"/>
                    <a:pt x="523" y="2131"/>
                    <a:pt x="1067" y="2131"/>
                  </a:cubicBezTo>
                  <a:cubicBezTo>
                    <a:pt x="1329" y="2131"/>
                    <a:pt x="1597" y="2033"/>
                    <a:pt x="1813" y="1814"/>
                  </a:cubicBezTo>
                  <a:cubicBezTo>
                    <a:pt x="2488" y="1147"/>
                    <a:pt x="2008" y="1"/>
                    <a:pt x="1065"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104" name="Google Shape;2104;p104"/>
            <p:cNvSpPr/>
            <p:nvPr/>
          </p:nvSpPr>
          <p:spPr>
            <a:xfrm>
              <a:off x="2066425" y="4389875"/>
              <a:ext cx="62225" cy="53350"/>
            </a:xfrm>
            <a:custGeom>
              <a:avLst/>
              <a:gdLst/>
              <a:ahLst/>
              <a:cxnLst/>
              <a:rect l="l" t="t" r="r" b="b"/>
              <a:pathLst>
                <a:path w="2489" h="2134" extrusionOk="0">
                  <a:moveTo>
                    <a:pt x="1065" y="0"/>
                  </a:moveTo>
                  <a:cubicBezTo>
                    <a:pt x="472" y="0"/>
                    <a:pt x="0" y="480"/>
                    <a:pt x="0" y="1065"/>
                  </a:cubicBezTo>
                  <a:cubicBezTo>
                    <a:pt x="0" y="1709"/>
                    <a:pt x="526" y="2133"/>
                    <a:pt x="1072" y="2133"/>
                  </a:cubicBezTo>
                  <a:cubicBezTo>
                    <a:pt x="1333" y="2133"/>
                    <a:pt x="1598" y="2037"/>
                    <a:pt x="1813" y="1821"/>
                  </a:cubicBezTo>
                  <a:cubicBezTo>
                    <a:pt x="2488" y="1147"/>
                    <a:pt x="2008" y="0"/>
                    <a:pt x="1065"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105" name="Google Shape;2105;p104"/>
            <p:cNvSpPr/>
            <p:nvPr/>
          </p:nvSpPr>
          <p:spPr>
            <a:xfrm>
              <a:off x="2066425" y="4313650"/>
              <a:ext cx="62225" cy="53450"/>
            </a:xfrm>
            <a:custGeom>
              <a:avLst/>
              <a:gdLst/>
              <a:ahLst/>
              <a:cxnLst/>
              <a:rect l="l" t="t" r="r" b="b"/>
              <a:pathLst>
                <a:path w="2489" h="2138" extrusionOk="0">
                  <a:moveTo>
                    <a:pt x="1065" y="1"/>
                  </a:moveTo>
                  <a:cubicBezTo>
                    <a:pt x="472" y="1"/>
                    <a:pt x="0" y="480"/>
                    <a:pt x="0" y="1066"/>
                  </a:cubicBezTo>
                  <a:cubicBezTo>
                    <a:pt x="0" y="1709"/>
                    <a:pt x="526" y="2137"/>
                    <a:pt x="1072" y="2137"/>
                  </a:cubicBezTo>
                  <a:cubicBezTo>
                    <a:pt x="1332" y="2137"/>
                    <a:pt x="1598" y="2040"/>
                    <a:pt x="1813" y="1822"/>
                  </a:cubicBezTo>
                  <a:cubicBezTo>
                    <a:pt x="2488" y="1147"/>
                    <a:pt x="2008" y="1"/>
                    <a:pt x="1065"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106" name="Google Shape;2106;p104"/>
            <p:cNvSpPr/>
            <p:nvPr/>
          </p:nvSpPr>
          <p:spPr>
            <a:xfrm>
              <a:off x="2066425" y="4237450"/>
              <a:ext cx="62225" cy="53425"/>
            </a:xfrm>
            <a:custGeom>
              <a:avLst/>
              <a:gdLst/>
              <a:ahLst/>
              <a:cxnLst/>
              <a:rect l="l" t="t" r="r" b="b"/>
              <a:pathLst>
                <a:path w="2489" h="2137" extrusionOk="0">
                  <a:moveTo>
                    <a:pt x="1065" y="0"/>
                  </a:moveTo>
                  <a:cubicBezTo>
                    <a:pt x="472" y="8"/>
                    <a:pt x="0" y="480"/>
                    <a:pt x="0" y="1073"/>
                  </a:cubicBezTo>
                  <a:cubicBezTo>
                    <a:pt x="0" y="1711"/>
                    <a:pt x="525" y="2137"/>
                    <a:pt x="1071" y="2137"/>
                  </a:cubicBezTo>
                  <a:cubicBezTo>
                    <a:pt x="1332" y="2137"/>
                    <a:pt x="1598" y="2040"/>
                    <a:pt x="1813" y="1821"/>
                  </a:cubicBezTo>
                  <a:cubicBezTo>
                    <a:pt x="2488" y="1155"/>
                    <a:pt x="2008" y="0"/>
                    <a:pt x="1065"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107" name="Google Shape;2107;p104"/>
            <p:cNvSpPr/>
            <p:nvPr/>
          </p:nvSpPr>
          <p:spPr>
            <a:xfrm>
              <a:off x="2066425" y="4161425"/>
              <a:ext cx="62225" cy="53300"/>
            </a:xfrm>
            <a:custGeom>
              <a:avLst/>
              <a:gdLst/>
              <a:ahLst/>
              <a:cxnLst/>
              <a:rect l="l" t="t" r="r" b="b"/>
              <a:pathLst>
                <a:path w="2489" h="2132" extrusionOk="0">
                  <a:moveTo>
                    <a:pt x="1065" y="1"/>
                  </a:moveTo>
                  <a:cubicBezTo>
                    <a:pt x="472" y="1"/>
                    <a:pt x="0" y="472"/>
                    <a:pt x="0" y="1066"/>
                  </a:cubicBezTo>
                  <a:cubicBezTo>
                    <a:pt x="0" y="1708"/>
                    <a:pt x="523" y="2131"/>
                    <a:pt x="1067" y="2131"/>
                  </a:cubicBezTo>
                  <a:cubicBezTo>
                    <a:pt x="1329" y="2131"/>
                    <a:pt x="1597" y="2033"/>
                    <a:pt x="1813" y="1814"/>
                  </a:cubicBezTo>
                  <a:cubicBezTo>
                    <a:pt x="2488" y="1147"/>
                    <a:pt x="2008" y="1"/>
                    <a:pt x="1065"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108" name="Google Shape;2108;p104"/>
            <p:cNvSpPr/>
            <p:nvPr/>
          </p:nvSpPr>
          <p:spPr>
            <a:xfrm>
              <a:off x="2066425" y="3704150"/>
              <a:ext cx="62225" cy="53450"/>
            </a:xfrm>
            <a:custGeom>
              <a:avLst/>
              <a:gdLst/>
              <a:ahLst/>
              <a:cxnLst/>
              <a:rect l="l" t="t" r="r" b="b"/>
              <a:pathLst>
                <a:path w="2489" h="2138" extrusionOk="0">
                  <a:moveTo>
                    <a:pt x="1065" y="1"/>
                  </a:moveTo>
                  <a:cubicBezTo>
                    <a:pt x="472" y="1"/>
                    <a:pt x="0" y="480"/>
                    <a:pt x="0" y="1066"/>
                  </a:cubicBezTo>
                  <a:cubicBezTo>
                    <a:pt x="0" y="1709"/>
                    <a:pt x="526" y="2137"/>
                    <a:pt x="1072" y="2137"/>
                  </a:cubicBezTo>
                  <a:cubicBezTo>
                    <a:pt x="1332" y="2137"/>
                    <a:pt x="1598" y="2040"/>
                    <a:pt x="1813" y="1822"/>
                  </a:cubicBezTo>
                  <a:cubicBezTo>
                    <a:pt x="2488" y="1147"/>
                    <a:pt x="2008" y="1"/>
                    <a:pt x="1065"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109" name="Google Shape;2109;p104"/>
            <p:cNvSpPr/>
            <p:nvPr/>
          </p:nvSpPr>
          <p:spPr>
            <a:xfrm>
              <a:off x="2066425" y="3627950"/>
              <a:ext cx="62225" cy="53425"/>
            </a:xfrm>
            <a:custGeom>
              <a:avLst/>
              <a:gdLst/>
              <a:ahLst/>
              <a:cxnLst/>
              <a:rect l="l" t="t" r="r" b="b"/>
              <a:pathLst>
                <a:path w="2489" h="2137" extrusionOk="0">
                  <a:moveTo>
                    <a:pt x="1065" y="0"/>
                  </a:moveTo>
                  <a:cubicBezTo>
                    <a:pt x="472" y="8"/>
                    <a:pt x="0" y="480"/>
                    <a:pt x="0" y="1073"/>
                  </a:cubicBezTo>
                  <a:cubicBezTo>
                    <a:pt x="0" y="1711"/>
                    <a:pt x="525" y="2137"/>
                    <a:pt x="1071" y="2137"/>
                  </a:cubicBezTo>
                  <a:cubicBezTo>
                    <a:pt x="1332" y="2137"/>
                    <a:pt x="1598" y="2039"/>
                    <a:pt x="1813" y="1821"/>
                  </a:cubicBezTo>
                  <a:cubicBezTo>
                    <a:pt x="2488" y="1154"/>
                    <a:pt x="2008" y="0"/>
                    <a:pt x="1065"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110" name="Google Shape;2110;p104"/>
            <p:cNvSpPr/>
            <p:nvPr/>
          </p:nvSpPr>
          <p:spPr>
            <a:xfrm>
              <a:off x="2066425" y="3551925"/>
              <a:ext cx="62225" cy="53300"/>
            </a:xfrm>
            <a:custGeom>
              <a:avLst/>
              <a:gdLst/>
              <a:ahLst/>
              <a:cxnLst/>
              <a:rect l="l" t="t" r="r" b="b"/>
              <a:pathLst>
                <a:path w="2489" h="2132" extrusionOk="0">
                  <a:moveTo>
                    <a:pt x="1065" y="1"/>
                  </a:moveTo>
                  <a:cubicBezTo>
                    <a:pt x="472" y="1"/>
                    <a:pt x="0" y="480"/>
                    <a:pt x="0" y="1066"/>
                  </a:cubicBezTo>
                  <a:cubicBezTo>
                    <a:pt x="0" y="1708"/>
                    <a:pt x="523" y="2131"/>
                    <a:pt x="1067" y="2131"/>
                  </a:cubicBezTo>
                  <a:cubicBezTo>
                    <a:pt x="1329" y="2131"/>
                    <a:pt x="1597" y="2033"/>
                    <a:pt x="1813" y="1814"/>
                  </a:cubicBezTo>
                  <a:cubicBezTo>
                    <a:pt x="2488" y="1147"/>
                    <a:pt x="2008" y="1"/>
                    <a:pt x="1065"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111" name="Google Shape;2111;p104"/>
            <p:cNvSpPr/>
            <p:nvPr/>
          </p:nvSpPr>
          <p:spPr>
            <a:xfrm>
              <a:off x="2066425" y="3475725"/>
              <a:ext cx="62225" cy="53350"/>
            </a:xfrm>
            <a:custGeom>
              <a:avLst/>
              <a:gdLst/>
              <a:ahLst/>
              <a:cxnLst/>
              <a:rect l="l" t="t" r="r" b="b"/>
              <a:pathLst>
                <a:path w="2489" h="2134" extrusionOk="0">
                  <a:moveTo>
                    <a:pt x="1065" y="0"/>
                  </a:moveTo>
                  <a:cubicBezTo>
                    <a:pt x="472" y="0"/>
                    <a:pt x="0" y="480"/>
                    <a:pt x="0" y="1065"/>
                  </a:cubicBezTo>
                  <a:cubicBezTo>
                    <a:pt x="0" y="1709"/>
                    <a:pt x="526" y="2133"/>
                    <a:pt x="1072" y="2133"/>
                  </a:cubicBezTo>
                  <a:cubicBezTo>
                    <a:pt x="1333" y="2133"/>
                    <a:pt x="1598" y="2037"/>
                    <a:pt x="1813" y="1821"/>
                  </a:cubicBezTo>
                  <a:cubicBezTo>
                    <a:pt x="2488" y="1146"/>
                    <a:pt x="2008" y="0"/>
                    <a:pt x="1065"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112" name="Google Shape;2112;p104"/>
            <p:cNvSpPr/>
            <p:nvPr/>
          </p:nvSpPr>
          <p:spPr>
            <a:xfrm>
              <a:off x="2066275" y="3399500"/>
              <a:ext cx="62375" cy="53350"/>
            </a:xfrm>
            <a:custGeom>
              <a:avLst/>
              <a:gdLst/>
              <a:ahLst/>
              <a:cxnLst/>
              <a:rect l="l" t="t" r="r" b="b"/>
              <a:pathLst>
                <a:path w="2495" h="2134" extrusionOk="0">
                  <a:moveTo>
                    <a:pt x="1071" y="1"/>
                  </a:moveTo>
                  <a:cubicBezTo>
                    <a:pt x="478" y="1"/>
                    <a:pt x="6" y="480"/>
                    <a:pt x="6" y="1066"/>
                  </a:cubicBezTo>
                  <a:cubicBezTo>
                    <a:pt x="1" y="1709"/>
                    <a:pt x="528" y="2134"/>
                    <a:pt x="1076" y="2134"/>
                  </a:cubicBezTo>
                  <a:cubicBezTo>
                    <a:pt x="1338" y="2134"/>
                    <a:pt x="1604" y="2037"/>
                    <a:pt x="1819" y="1822"/>
                  </a:cubicBezTo>
                  <a:cubicBezTo>
                    <a:pt x="2494" y="1147"/>
                    <a:pt x="2014" y="1"/>
                    <a:pt x="1071"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113" name="Google Shape;2113;p104"/>
            <p:cNvSpPr/>
            <p:nvPr/>
          </p:nvSpPr>
          <p:spPr>
            <a:xfrm>
              <a:off x="2066275" y="3323300"/>
              <a:ext cx="62375" cy="53425"/>
            </a:xfrm>
            <a:custGeom>
              <a:avLst/>
              <a:gdLst/>
              <a:ahLst/>
              <a:cxnLst/>
              <a:rect l="l" t="t" r="r" b="b"/>
              <a:pathLst>
                <a:path w="2495" h="2137" extrusionOk="0">
                  <a:moveTo>
                    <a:pt x="1071" y="0"/>
                  </a:moveTo>
                  <a:cubicBezTo>
                    <a:pt x="478" y="8"/>
                    <a:pt x="6" y="480"/>
                    <a:pt x="6" y="1065"/>
                  </a:cubicBezTo>
                  <a:cubicBezTo>
                    <a:pt x="1" y="1709"/>
                    <a:pt x="524" y="2137"/>
                    <a:pt x="1072" y="2137"/>
                  </a:cubicBezTo>
                  <a:cubicBezTo>
                    <a:pt x="1334" y="2137"/>
                    <a:pt x="1601" y="2039"/>
                    <a:pt x="1819" y="1821"/>
                  </a:cubicBezTo>
                  <a:cubicBezTo>
                    <a:pt x="2494" y="1154"/>
                    <a:pt x="2023" y="0"/>
                    <a:pt x="1071"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114" name="Google Shape;2114;p104"/>
            <p:cNvSpPr/>
            <p:nvPr/>
          </p:nvSpPr>
          <p:spPr>
            <a:xfrm>
              <a:off x="2066275" y="3247075"/>
              <a:ext cx="62375" cy="53450"/>
            </a:xfrm>
            <a:custGeom>
              <a:avLst/>
              <a:gdLst/>
              <a:ahLst/>
              <a:cxnLst/>
              <a:rect l="l" t="t" r="r" b="b"/>
              <a:pathLst>
                <a:path w="2495" h="2138" extrusionOk="0">
                  <a:moveTo>
                    <a:pt x="1071" y="1"/>
                  </a:moveTo>
                  <a:cubicBezTo>
                    <a:pt x="486" y="9"/>
                    <a:pt x="6" y="480"/>
                    <a:pt x="6" y="1066"/>
                  </a:cubicBezTo>
                  <a:cubicBezTo>
                    <a:pt x="1" y="1709"/>
                    <a:pt x="524" y="2137"/>
                    <a:pt x="1072" y="2137"/>
                  </a:cubicBezTo>
                  <a:cubicBezTo>
                    <a:pt x="1334" y="2137"/>
                    <a:pt x="1601" y="2040"/>
                    <a:pt x="1819" y="1822"/>
                  </a:cubicBezTo>
                  <a:cubicBezTo>
                    <a:pt x="2494" y="1155"/>
                    <a:pt x="2023" y="1"/>
                    <a:pt x="1071"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115" name="Google Shape;2115;p104"/>
            <p:cNvSpPr/>
            <p:nvPr/>
          </p:nvSpPr>
          <p:spPr>
            <a:xfrm>
              <a:off x="2066425" y="3171075"/>
              <a:ext cx="62225" cy="53275"/>
            </a:xfrm>
            <a:custGeom>
              <a:avLst/>
              <a:gdLst/>
              <a:ahLst/>
              <a:cxnLst/>
              <a:rect l="l" t="t" r="r" b="b"/>
              <a:pathLst>
                <a:path w="2489" h="2131" extrusionOk="0">
                  <a:moveTo>
                    <a:pt x="1065" y="0"/>
                  </a:moveTo>
                  <a:cubicBezTo>
                    <a:pt x="472" y="0"/>
                    <a:pt x="0" y="472"/>
                    <a:pt x="0" y="1065"/>
                  </a:cubicBezTo>
                  <a:cubicBezTo>
                    <a:pt x="0" y="1707"/>
                    <a:pt x="523" y="2131"/>
                    <a:pt x="1067" y="2131"/>
                  </a:cubicBezTo>
                  <a:cubicBezTo>
                    <a:pt x="1329" y="2131"/>
                    <a:pt x="1597" y="2032"/>
                    <a:pt x="1813" y="1813"/>
                  </a:cubicBezTo>
                  <a:cubicBezTo>
                    <a:pt x="2488" y="1146"/>
                    <a:pt x="2008" y="0"/>
                    <a:pt x="1065"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116" name="Google Shape;2116;p104"/>
            <p:cNvSpPr/>
            <p:nvPr/>
          </p:nvSpPr>
          <p:spPr>
            <a:xfrm>
              <a:off x="2066425" y="3094850"/>
              <a:ext cx="62225" cy="53350"/>
            </a:xfrm>
            <a:custGeom>
              <a:avLst/>
              <a:gdLst/>
              <a:ahLst/>
              <a:cxnLst/>
              <a:rect l="l" t="t" r="r" b="b"/>
              <a:pathLst>
                <a:path w="2489" h="2134" extrusionOk="0">
                  <a:moveTo>
                    <a:pt x="1065" y="1"/>
                  </a:moveTo>
                  <a:cubicBezTo>
                    <a:pt x="472" y="1"/>
                    <a:pt x="0" y="480"/>
                    <a:pt x="0" y="1066"/>
                  </a:cubicBezTo>
                  <a:cubicBezTo>
                    <a:pt x="0" y="1709"/>
                    <a:pt x="526" y="2134"/>
                    <a:pt x="1072" y="2134"/>
                  </a:cubicBezTo>
                  <a:cubicBezTo>
                    <a:pt x="1333" y="2134"/>
                    <a:pt x="1598" y="2037"/>
                    <a:pt x="1813" y="1822"/>
                  </a:cubicBezTo>
                  <a:cubicBezTo>
                    <a:pt x="2488" y="1147"/>
                    <a:pt x="2008" y="1"/>
                    <a:pt x="1065"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117" name="Google Shape;2117;p104"/>
            <p:cNvSpPr/>
            <p:nvPr/>
          </p:nvSpPr>
          <p:spPr>
            <a:xfrm>
              <a:off x="2066425" y="2942425"/>
              <a:ext cx="62225" cy="53450"/>
            </a:xfrm>
            <a:custGeom>
              <a:avLst/>
              <a:gdLst/>
              <a:ahLst/>
              <a:cxnLst/>
              <a:rect l="l" t="t" r="r" b="b"/>
              <a:pathLst>
                <a:path w="2489" h="2138" extrusionOk="0">
                  <a:moveTo>
                    <a:pt x="1065" y="1"/>
                  </a:moveTo>
                  <a:cubicBezTo>
                    <a:pt x="472" y="9"/>
                    <a:pt x="0" y="480"/>
                    <a:pt x="0" y="1066"/>
                  </a:cubicBezTo>
                  <a:cubicBezTo>
                    <a:pt x="0" y="1709"/>
                    <a:pt x="526" y="2137"/>
                    <a:pt x="1072" y="2137"/>
                  </a:cubicBezTo>
                  <a:cubicBezTo>
                    <a:pt x="1332" y="2137"/>
                    <a:pt x="1598" y="2040"/>
                    <a:pt x="1813" y="1822"/>
                  </a:cubicBezTo>
                  <a:cubicBezTo>
                    <a:pt x="2488" y="1147"/>
                    <a:pt x="2008" y="1"/>
                    <a:pt x="1065"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118" name="Google Shape;2118;p104"/>
            <p:cNvSpPr/>
            <p:nvPr/>
          </p:nvSpPr>
          <p:spPr>
            <a:xfrm>
              <a:off x="2066425" y="2256925"/>
              <a:ext cx="62350" cy="53425"/>
            </a:xfrm>
            <a:custGeom>
              <a:avLst/>
              <a:gdLst/>
              <a:ahLst/>
              <a:cxnLst/>
              <a:rect l="l" t="t" r="r" b="b"/>
              <a:pathLst>
                <a:path w="2494" h="2137" extrusionOk="0">
                  <a:moveTo>
                    <a:pt x="1075" y="0"/>
                  </a:moveTo>
                  <a:cubicBezTo>
                    <a:pt x="1072" y="0"/>
                    <a:pt x="1069" y="0"/>
                    <a:pt x="1065" y="0"/>
                  </a:cubicBezTo>
                  <a:cubicBezTo>
                    <a:pt x="472" y="0"/>
                    <a:pt x="0" y="480"/>
                    <a:pt x="0" y="1065"/>
                  </a:cubicBezTo>
                  <a:cubicBezTo>
                    <a:pt x="0" y="1709"/>
                    <a:pt x="526" y="2137"/>
                    <a:pt x="1074" y="2137"/>
                  </a:cubicBezTo>
                  <a:cubicBezTo>
                    <a:pt x="1336" y="2137"/>
                    <a:pt x="1603" y="2039"/>
                    <a:pt x="1821" y="1821"/>
                  </a:cubicBezTo>
                  <a:cubicBezTo>
                    <a:pt x="2494" y="1149"/>
                    <a:pt x="2020" y="0"/>
                    <a:pt x="1075"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119" name="Google Shape;2119;p104"/>
            <p:cNvSpPr/>
            <p:nvPr/>
          </p:nvSpPr>
          <p:spPr>
            <a:xfrm>
              <a:off x="2066425" y="2180700"/>
              <a:ext cx="62225" cy="53350"/>
            </a:xfrm>
            <a:custGeom>
              <a:avLst/>
              <a:gdLst/>
              <a:ahLst/>
              <a:cxnLst/>
              <a:rect l="l" t="t" r="r" b="b"/>
              <a:pathLst>
                <a:path w="2489" h="2134" extrusionOk="0">
                  <a:moveTo>
                    <a:pt x="1065" y="1"/>
                  </a:moveTo>
                  <a:cubicBezTo>
                    <a:pt x="472" y="1"/>
                    <a:pt x="0" y="480"/>
                    <a:pt x="0" y="1066"/>
                  </a:cubicBezTo>
                  <a:cubicBezTo>
                    <a:pt x="0" y="1709"/>
                    <a:pt x="526" y="2133"/>
                    <a:pt x="1072" y="2133"/>
                  </a:cubicBezTo>
                  <a:cubicBezTo>
                    <a:pt x="1333" y="2133"/>
                    <a:pt x="1598" y="2037"/>
                    <a:pt x="1813" y="1822"/>
                  </a:cubicBezTo>
                  <a:cubicBezTo>
                    <a:pt x="2488" y="1147"/>
                    <a:pt x="2008" y="1"/>
                    <a:pt x="1065"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120" name="Google Shape;2120;p104"/>
            <p:cNvSpPr/>
            <p:nvPr/>
          </p:nvSpPr>
          <p:spPr>
            <a:xfrm>
              <a:off x="2066425" y="2104500"/>
              <a:ext cx="62225" cy="53325"/>
            </a:xfrm>
            <a:custGeom>
              <a:avLst/>
              <a:gdLst/>
              <a:ahLst/>
              <a:cxnLst/>
              <a:rect l="l" t="t" r="r" b="b"/>
              <a:pathLst>
                <a:path w="2489" h="2133" extrusionOk="0">
                  <a:moveTo>
                    <a:pt x="1065" y="0"/>
                  </a:moveTo>
                  <a:cubicBezTo>
                    <a:pt x="472" y="0"/>
                    <a:pt x="0" y="480"/>
                    <a:pt x="0" y="1065"/>
                  </a:cubicBezTo>
                  <a:cubicBezTo>
                    <a:pt x="0" y="1709"/>
                    <a:pt x="526" y="2133"/>
                    <a:pt x="1072" y="2133"/>
                  </a:cubicBezTo>
                  <a:cubicBezTo>
                    <a:pt x="1333" y="2133"/>
                    <a:pt x="1598" y="2036"/>
                    <a:pt x="1813" y="1821"/>
                  </a:cubicBezTo>
                  <a:cubicBezTo>
                    <a:pt x="2488" y="1146"/>
                    <a:pt x="2008" y="0"/>
                    <a:pt x="1065"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121" name="Google Shape;2121;p104"/>
            <p:cNvSpPr/>
            <p:nvPr/>
          </p:nvSpPr>
          <p:spPr>
            <a:xfrm>
              <a:off x="2066425" y="2028275"/>
              <a:ext cx="62225" cy="53450"/>
            </a:xfrm>
            <a:custGeom>
              <a:avLst/>
              <a:gdLst/>
              <a:ahLst/>
              <a:cxnLst/>
              <a:rect l="l" t="t" r="r" b="b"/>
              <a:pathLst>
                <a:path w="2489" h="2138" extrusionOk="0">
                  <a:moveTo>
                    <a:pt x="1065" y="1"/>
                  </a:moveTo>
                  <a:cubicBezTo>
                    <a:pt x="472" y="1"/>
                    <a:pt x="0" y="480"/>
                    <a:pt x="0" y="1065"/>
                  </a:cubicBezTo>
                  <a:cubicBezTo>
                    <a:pt x="0" y="1709"/>
                    <a:pt x="526" y="2137"/>
                    <a:pt x="1072" y="2137"/>
                  </a:cubicBezTo>
                  <a:cubicBezTo>
                    <a:pt x="1332" y="2137"/>
                    <a:pt x="1598" y="2040"/>
                    <a:pt x="1813" y="1821"/>
                  </a:cubicBezTo>
                  <a:cubicBezTo>
                    <a:pt x="2488" y="1147"/>
                    <a:pt x="2008" y="1"/>
                    <a:pt x="1065"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122" name="Google Shape;2122;p104"/>
            <p:cNvSpPr/>
            <p:nvPr/>
          </p:nvSpPr>
          <p:spPr>
            <a:xfrm>
              <a:off x="2066425" y="1876050"/>
              <a:ext cx="62225" cy="53275"/>
            </a:xfrm>
            <a:custGeom>
              <a:avLst/>
              <a:gdLst/>
              <a:ahLst/>
              <a:cxnLst/>
              <a:rect l="l" t="t" r="r" b="b"/>
              <a:pathLst>
                <a:path w="2489" h="2131" extrusionOk="0">
                  <a:moveTo>
                    <a:pt x="1065" y="1"/>
                  </a:moveTo>
                  <a:cubicBezTo>
                    <a:pt x="472" y="1"/>
                    <a:pt x="0" y="472"/>
                    <a:pt x="0" y="1066"/>
                  </a:cubicBezTo>
                  <a:cubicBezTo>
                    <a:pt x="0" y="1707"/>
                    <a:pt x="523" y="2131"/>
                    <a:pt x="1067" y="2131"/>
                  </a:cubicBezTo>
                  <a:cubicBezTo>
                    <a:pt x="1329" y="2131"/>
                    <a:pt x="1597" y="2033"/>
                    <a:pt x="1813" y="1813"/>
                  </a:cubicBezTo>
                  <a:cubicBezTo>
                    <a:pt x="2488" y="1147"/>
                    <a:pt x="2008" y="1"/>
                    <a:pt x="1065"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123" name="Google Shape;2123;p104"/>
            <p:cNvSpPr/>
            <p:nvPr/>
          </p:nvSpPr>
          <p:spPr>
            <a:xfrm>
              <a:off x="2066425" y="1647400"/>
              <a:ext cx="62225" cy="53450"/>
            </a:xfrm>
            <a:custGeom>
              <a:avLst/>
              <a:gdLst/>
              <a:ahLst/>
              <a:cxnLst/>
              <a:rect l="l" t="t" r="r" b="b"/>
              <a:pathLst>
                <a:path w="2489" h="2138" extrusionOk="0">
                  <a:moveTo>
                    <a:pt x="1065" y="1"/>
                  </a:moveTo>
                  <a:cubicBezTo>
                    <a:pt x="472" y="9"/>
                    <a:pt x="0" y="481"/>
                    <a:pt x="0" y="1066"/>
                  </a:cubicBezTo>
                  <a:cubicBezTo>
                    <a:pt x="0" y="1710"/>
                    <a:pt x="526" y="2138"/>
                    <a:pt x="1072" y="2138"/>
                  </a:cubicBezTo>
                  <a:cubicBezTo>
                    <a:pt x="1332" y="2138"/>
                    <a:pt x="1598" y="2040"/>
                    <a:pt x="1813" y="1822"/>
                  </a:cubicBezTo>
                  <a:cubicBezTo>
                    <a:pt x="2488" y="1147"/>
                    <a:pt x="2008" y="1"/>
                    <a:pt x="1065"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124" name="Google Shape;2124;p104"/>
            <p:cNvSpPr/>
            <p:nvPr/>
          </p:nvSpPr>
          <p:spPr>
            <a:xfrm>
              <a:off x="2066425" y="1571400"/>
              <a:ext cx="62225" cy="53250"/>
            </a:xfrm>
            <a:custGeom>
              <a:avLst/>
              <a:gdLst/>
              <a:ahLst/>
              <a:cxnLst/>
              <a:rect l="l" t="t" r="r" b="b"/>
              <a:pathLst>
                <a:path w="2489" h="2130" extrusionOk="0">
                  <a:moveTo>
                    <a:pt x="1065" y="1"/>
                  </a:moveTo>
                  <a:cubicBezTo>
                    <a:pt x="472" y="1"/>
                    <a:pt x="0" y="472"/>
                    <a:pt x="0" y="1066"/>
                  </a:cubicBezTo>
                  <a:cubicBezTo>
                    <a:pt x="0" y="1703"/>
                    <a:pt x="525" y="2129"/>
                    <a:pt x="1071" y="2129"/>
                  </a:cubicBezTo>
                  <a:cubicBezTo>
                    <a:pt x="1332" y="2129"/>
                    <a:pt x="1598" y="2032"/>
                    <a:pt x="1813" y="1813"/>
                  </a:cubicBezTo>
                  <a:cubicBezTo>
                    <a:pt x="2488" y="1147"/>
                    <a:pt x="2008" y="1"/>
                    <a:pt x="1065"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125" name="Google Shape;2125;p104"/>
            <p:cNvSpPr/>
            <p:nvPr/>
          </p:nvSpPr>
          <p:spPr>
            <a:xfrm>
              <a:off x="2066425" y="1495200"/>
              <a:ext cx="62225" cy="53325"/>
            </a:xfrm>
            <a:custGeom>
              <a:avLst/>
              <a:gdLst/>
              <a:ahLst/>
              <a:cxnLst/>
              <a:rect l="l" t="t" r="r" b="b"/>
              <a:pathLst>
                <a:path w="2489" h="2133" extrusionOk="0">
                  <a:moveTo>
                    <a:pt x="1065" y="0"/>
                  </a:moveTo>
                  <a:cubicBezTo>
                    <a:pt x="472" y="0"/>
                    <a:pt x="0" y="480"/>
                    <a:pt x="0" y="1065"/>
                  </a:cubicBezTo>
                  <a:cubicBezTo>
                    <a:pt x="0" y="1709"/>
                    <a:pt x="526" y="2133"/>
                    <a:pt x="1072" y="2133"/>
                  </a:cubicBezTo>
                  <a:cubicBezTo>
                    <a:pt x="1333" y="2133"/>
                    <a:pt x="1598" y="2036"/>
                    <a:pt x="1813" y="1821"/>
                  </a:cubicBezTo>
                  <a:cubicBezTo>
                    <a:pt x="2488" y="1146"/>
                    <a:pt x="2008" y="0"/>
                    <a:pt x="1065"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126" name="Google Shape;2126;p104"/>
            <p:cNvSpPr/>
            <p:nvPr/>
          </p:nvSpPr>
          <p:spPr>
            <a:xfrm>
              <a:off x="2066425" y="1418975"/>
              <a:ext cx="62225" cy="53350"/>
            </a:xfrm>
            <a:custGeom>
              <a:avLst/>
              <a:gdLst/>
              <a:ahLst/>
              <a:cxnLst/>
              <a:rect l="l" t="t" r="r" b="b"/>
              <a:pathLst>
                <a:path w="2489" h="2134" extrusionOk="0">
                  <a:moveTo>
                    <a:pt x="1065" y="1"/>
                  </a:moveTo>
                  <a:cubicBezTo>
                    <a:pt x="472" y="1"/>
                    <a:pt x="0" y="480"/>
                    <a:pt x="0" y="1065"/>
                  </a:cubicBezTo>
                  <a:cubicBezTo>
                    <a:pt x="0" y="1709"/>
                    <a:pt x="526" y="2133"/>
                    <a:pt x="1072" y="2133"/>
                  </a:cubicBezTo>
                  <a:cubicBezTo>
                    <a:pt x="1333" y="2133"/>
                    <a:pt x="1598" y="2037"/>
                    <a:pt x="1813" y="1822"/>
                  </a:cubicBezTo>
                  <a:cubicBezTo>
                    <a:pt x="2488" y="1147"/>
                    <a:pt x="2008" y="1"/>
                    <a:pt x="1065"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127" name="Google Shape;2127;p104"/>
            <p:cNvSpPr/>
            <p:nvPr/>
          </p:nvSpPr>
          <p:spPr>
            <a:xfrm>
              <a:off x="2066425" y="1114325"/>
              <a:ext cx="62225" cy="53350"/>
            </a:xfrm>
            <a:custGeom>
              <a:avLst/>
              <a:gdLst/>
              <a:ahLst/>
              <a:cxnLst/>
              <a:rect l="l" t="t" r="r" b="b"/>
              <a:pathLst>
                <a:path w="2489" h="2134" extrusionOk="0">
                  <a:moveTo>
                    <a:pt x="1065" y="1"/>
                  </a:moveTo>
                  <a:cubicBezTo>
                    <a:pt x="472" y="1"/>
                    <a:pt x="0" y="480"/>
                    <a:pt x="0" y="1065"/>
                  </a:cubicBezTo>
                  <a:cubicBezTo>
                    <a:pt x="0" y="1709"/>
                    <a:pt x="526" y="2133"/>
                    <a:pt x="1072" y="2133"/>
                  </a:cubicBezTo>
                  <a:cubicBezTo>
                    <a:pt x="1333" y="2133"/>
                    <a:pt x="1598" y="2037"/>
                    <a:pt x="1813" y="1822"/>
                  </a:cubicBezTo>
                  <a:cubicBezTo>
                    <a:pt x="2488" y="1147"/>
                    <a:pt x="2008" y="1"/>
                    <a:pt x="1065"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128" name="Google Shape;2128;p104"/>
            <p:cNvSpPr/>
            <p:nvPr/>
          </p:nvSpPr>
          <p:spPr>
            <a:xfrm>
              <a:off x="2066425" y="1038125"/>
              <a:ext cx="62225" cy="53325"/>
            </a:xfrm>
            <a:custGeom>
              <a:avLst/>
              <a:gdLst/>
              <a:ahLst/>
              <a:cxnLst/>
              <a:rect l="l" t="t" r="r" b="b"/>
              <a:pathLst>
                <a:path w="2489" h="2133" extrusionOk="0">
                  <a:moveTo>
                    <a:pt x="1065" y="0"/>
                  </a:moveTo>
                  <a:cubicBezTo>
                    <a:pt x="472" y="0"/>
                    <a:pt x="0" y="480"/>
                    <a:pt x="0" y="1065"/>
                  </a:cubicBezTo>
                  <a:cubicBezTo>
                    <a:pt x="0" y="1709"/>
                    <a:pt x="526" y="2133"/>
                    <a:pt x="1072" y="2133"/>
                  </a:cubicBezTo>
                  <a:cubicBezTo>
                    <a:pt x="1333" y="2133"/>
                    <a:pt x="1598" y="2036"/>
                    <a:pt x="1813" y="1821"/>
                  </a:cubicBezTo>
                  <a:cubicBezTo>
                    <a:pt x="2488" y="1146"/>
                    <a:pt x="2008" y="0"/>
                    <a:pt x="1065"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129" name="Google Shape;2129;p104"/>
            <p:cNvSpPr/>
            <p:nvPr/>
          </p:nvSpPr>
          <p:spPr>
            <a:xfrm>
              <a:off x="1990200" y="4542300"/>
              <a:ext cx="62225" cy="53275"/>
            </a:xfrm>
            <a:custGeom>
              <a:avLst/>
              <a:gdLst/>
              <a:ahLst/>
              <a:cxnLst/>
              <a:rect l="l" t="t" r="r" b="b"/>
              <a:pathLst>
                <a:path w="2489" h="2131" extrusionOk="0">
                  <a:moveTo>
                    <a:pt x="1066" y="0"/>
                  </a:moveTo>
                  <a:cubicBezTo>
                    <a:pt x="481" y="0"/>
                    <a:pt x="1" y="472"/>
                    <a:pt x="1" y="1065"/>
                  </a:cubicBezTo>
                  <a:cubicBezTo>
                    <a:pt x="1" y="1707"/>
                    <a:pt x="523" y="2131"/>
                    <a:pt x="1070" y="2131"/>
                  </a:cubicBezTo>
                  <a:cubicBezTo>
                    <a:pt x="1333" y="2131"/>
                    <a:pt x="1603" y="2033"/>
                    <a:pt x="1822" y="1813"/>
                  </a:cubicBezTo>
                  <a:cubicBezTo>
                    <a:pt x="2489" y="1147"/>
                    <a:pt x="2017" y="0"/>
                    <a:pt x="1066"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130" name="Google Shape;2130;p104"/>
            <p:cNvSpPr/>
            <p:nvPr/>
          </p:nvSpPr>
          <p:spPr>
            <a:xfrm>
              <a:off x="1990200" y="4466075"/>
              <a:ext cx="62225" cy="53300"/>
            </a:xfrm>
            <a:custGeom>
              <a:avLst/>
              <a:gdLst/>
              <a:ahLst/>
              <a:cxnLst/>
              <a:rect l="l" t="t" r="r" b="b"/>
              <a:pathLst>
                <a:path w="2489" h="2132" extrusionOk="0">
                  <a:moveTo>
                    <a:pt x="1066" y="1"/>
                  </a:moveTo>
                  <a:cubicBezTo>
                    <a:pt x="481" y="1"/>
                    <a:pt x="1" y="472"/>
                    <a:pt x="1" y="1066"/>
                  </a:cubicBezTo>
                  <a:cubicBezTo>
                    <a:pt x="1" y="1708"/>
                    <a:pt x="523" y="2131"/>
                    <a:pt x="1070" y="2131"/>
                  </a:cubicBezTo>
                  <a:cubicBezTo>
                    <a:pt x="1333" y="2131"/>
                    <a:pt x="1603" y="2033"/>
                    <a:pt x="1822" y="1814"/>
                  </a:cubicBezTo>
                  <a:cubicBezTo>
                    <a:pt x="2489" y="1147"/>
                    <a:pt x="2017" y="1"/>
                    <a:pt x="1066"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131" name="Google Shape;2131;p104"/>
            <p:cNvSpPr/>
            <p:nvPr/>
          </p:nvSpPr>
          <p:spPr>
            <a:xfrm>
              <a:off x="1990200" y="4389875"/>
              <a:ext cx="62225" cy="53350"/>
            </a:xfrm>
            <a:custGeom>
              <a:avLst/>
              <a:gdLst/>
              <a:ahLst/>
              <a:cxnLst/>
              <a:rect l="l" t="t" r="r" b="b"/>
              <a:pathLst>
                <a:path w="2489" h="2134" extrusionOk="0">
                  <a:moveTo>
                    <a:pt x="1066" y="0"/>
                  </a:moveTo>
                  <a:cubicBezTo>
                    <a:pt x="481" y="0"/>
                    <a:pt x="1" y="480"/>
                    <a:pt x="1" y="1065"/>
                  </a:cubicBezTo>
                  <a:cubicBezTo>
                    <a:pt x="1" y="1709"/>
                    <a:pt x="526" y="2133"/>
                    <a:pt x="1075" y="2133"/>
                  </a:cubicBezTo>
                  <a:cubicBezTo>
                    <a:pt x="1337" y="2133"/>
                    <a:pt x="1604" y="2037"/>
                    <a:pt x="1822" y="1821"/>
                  </a:cubicBezTo>
                  <a:cubicBezTo>
                    <a:pt x="2489" y="1147"/>
                    <a:pt x="2017" y="0"/>
                    <a:pt x="1066"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132" name="Google Shape;2132;p104"/>
            <p:cNvSpPr/>
            <p:nvPr/>
          </p:nvSpPr>
          <p:spPr>
            <a:xfrm>
              <a:off x="1990200" y="3627950"/>
              <a:ext cx="62225" cy="53425"/>
            </a:xfrm>
            <a:custGeom>
              <a:avLst/>
              <a:gdLst/>
              <a:ahLst/>
              <a:cxnLst/>
              <a:rect l="l" t="t" r="r" b="b"/>
              <a:pathLst>
                <a:path w="2489" h="2137" extrusionOk="0">
                  <a:moveTo>
                    <a:pt x="1066" y="0"/>
                  </a:moveTo>
                  <a:cubicBezTo>
                    <a:pt x="481" y="8"/>
                    <a:pt x="1" y="480"/>
                    <a:pt x="1" y="1073"/>
                  </a:cubicBezTo>
                  <a:cubicBezTo>
                    <a:pt x="1" y="1711"/>
                    <a:pt x="525" y="2137"/>
                    <a:pt x="1074" y="2137"/>
                  </a:cubicBezTo>
                  <a:cubicBezTo>
                    <a:pt x="1336" y="2137"/>
                    <a:pt x="1604" y="2039"/>
                    <a:pt x="1822" y="1821"/>
                  </a:cubicBezTo>
                  <a:cubicBezTo>
                    <a:pt x="2489" y="1154"/>
                    <a:pt x="2017" y="0"/>
                    <a:pt x="1066"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133" name="Google Shape;2133;p104"/>
            <p:cNvSpPr/>
            <p:nvPr/>
          </p:nvSpPr>
          <p:spPr>
            <a:xfrm>
              <a:off x="1990200" y="3551925"/>
              <a:ext cx="62225" cy="53300"/>
            </a:xfrm>
            <a:custGeom>
              <a:avLst/>
              <a:gdLst/>
              <a:ahLst/>
              <a:cxnLst/>
              <a:rect l="l" t="t" r="r" b="b"/>
              <a:pathLst>
                <a:path w="2489" h="2132" extrusionOk="0">
                  <a:moveTo>
                    <a:pt x="1066" y="1"/>
                  </a:moveTo>
                  <a:cubicBezTo>
                    <a:pt x="472" y="1"/>
                    <a:pt x="1" y="480"/>
                    <a:pt x="1" y="1066"/>
                  </a:cubicBezTo>
                  <a:cubicBezTo>
                    <a:pt x="1" y="1708"/>
                    <a:pt x="523" y="2131"/>
                    <a:pt x="1070" y="2131"/>
                  </a:cubicBezTo>
                  <a:cubicBezTo>
                    <a:pt x="1333" y="2131"/>
                    <a:pt x="1603" y="2033"/>
                    <a:pt x="1822" y="1814"/>
                  </a:cubicBezTo>
                  <a:cubicBezTo>
                    <a:pt x="2489" y="1147"/>
                    <a:pt x="2017" y="1"/>
                    <a:pt x="1066"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134" name="Google Shape;2134;p104"/>
            <p:cNvSpPr/>
            <p:nvPr/>
          </p:nvSpPr>
          <p:spPr>
            <a:xfrm>
              <a:off x="1990200" y="3475725"/>
              <a:ext cx="62225" cy="53350"/>
            </a:xfrm>
            <a:custGeom>
              <a:avLst/>
              <a:gdLst/>
              <a:ahLst/>
              <a:cxnLst/>
              <a:rect l="l" t="t" r="r" b="b"/>
              <a:pathLst>
                <a:path w="2489" h="2134" extrusionOk="0">
                  <a:moveTo>
                    <a:pt x="1066" y="0"/>
                  </a:moveTo>
                  <a:cubicBezTo>
                    <a:pt x="472" y="0"/>
                    <a:pt x="1" y="480"/>
                    <a:pt x="1" y="1065"/>
                  </a:cubicBezTo>
                  <a:cubicBezTo>
                    <a:pt x="1" y="1709"/>
                    <a:pt x="526" y="2133"/>
                    <a:pt x="1075" y="2133"/>
                  </a:cubicBezTo>
                  <a:cubicBezTo>
                    <a:pt x="1337" y="2133"/>
                    <a:pt x="1604" y="2037"/>
                    <a:pt x="1822" y="1821"/>
                  </a:cubicBezTo>
                  <a:cubicBezTo>
                    <a:pt x="2489" y="1146"/>
                    <a:pt x="2017" y="0"/>
                    <a:pt x="1066"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135" name="Google Shape;2135;p104"/>
            <p:cNvSpPr/>
            <p:nvPr/>
          </p:nvSpPr>
          <p:spPr>
            <a:xfrm>
              <a:off x="1990200" y="3399500"/>
              <a:ext cx="62225" cy="53350"/>
            </a:xfrm>
            <a:custGeom>
              <a:avLst/>
              <a:gdLst/>
              <a:ahLst/>
              <a:cxnLst/>
              <a:rect l="l" t="t" r="r" b="b"/>
              <a:pathLst>
                <a:path w="2489" h="2134" extrusionOk="0">
                  <a:moveTo>
                    <a:pt x="1066" y="1"/>
                  </a:moveTo>
                  <a:cubicBezTo>
                    <a:pt x="481" y="1"/>
                    <a:pt x="1" y="480"/>
                    <a:pt x="1" y="1066"/>
                  </a:cubicBezTo>
                  <a:cubicBezTo>
                    <a:pt x="1" y="1709"/>
                    <a:pt x="526" y="2134"/>
                    <a:pt x="1075" y="2134"/>
                  </a:cubicBezTo>
                  <a:cubicBezTo>
                    <a:pt x="1337" y="2134"/>
                    <a:pt x="1604" y="2037"/>
                    <a:pt x="1822" y="1822"/>
                  </a:cubicBezTo>
                  <a:cubicBezTo>
                    <a:pt x="2489" y="1147"/>
                    <a:pt x="2017" y="1"/>
                    <a:pt x="1066"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136" name="Google Shape;2136;p104"/>
            <p:cNvSpPr/>
            <p:nvPr/>
          </p:nvSpPr>
          <p:spPr>
            <a:xfrm>
              <a:off x="1990075" y="3323300"/>
              <a:ext cx="62350" cy="53425"/>
            </a:xfrm>
            <a:custGeom>
              <a:avLst/>
              <a:gdLst/>
              <a:ahLst/>
              <a:cxnLst/>
              <a:rect l="l" t="t" r="r" b="b"/>
              <a:pathLst>
                <a:path w="2494" h="2137" extrusionOk="0">
                  <a:moveTo>
                    <a:pt x="1071" y="0"/>
                  </a:moveTo>
                  <a:cubicBezTo>
                    <a:pt x="486" y="8"/>
                    <a:pt x="6" y="480"/>
                    <a:pt x="6" y="1065"/>
                  </a:cubicBezTo>
                  <a:cubicBezTo>
                    <a:pt x="0" y="1709"/>
                    <a:pt x="528" y="2137"/>
                    <a:pt x="1075" y="2137"/>
                  </a:cubicBezTo>
                  <a:cubicBezTo>
                    <a:pt x="1337" y="2137"/>
                    <a:pt x="1603" y="2039"/>
                    <a:pt x="1819" y="1821"/>
                  </a:cubicBezTo>
                  <a:cubicBezTo>
                    <a:pt x="2494" y="1154"/>
                    <a:pt x="2022" y="0"/>
                    <a:pt x="1071"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137" name="Google Shape;2137;p104"/>
            <p:cNvSpPr/>
            <p:nvPr/>
          </p:nvSpPr>
          <p:spPr>
            <a:xfrm>
              <a:off x="1990075" y="3247075"/>
              <a:ext cx="62350" cy="53450"/>
            </a:xfrm>
            <a:custGeom>
              <a:avLst/>
              <a:gdLst/>
              <a:ahLst/>
              <a:cxnLst/>
              <a:rect l="l" t="t" r="r" b="b"/>
              <a:pathLst>
                <a:path w="2494" h="2138" extrusionOk="0">
                  <a:moveTo>
                    <a:pt x="1071" y="1"/>
                  </a:moveTo>
                  <a:cubicBezTo>
                    <a:pt x="486" y="9"/>
                    <a:pt x="6" y="480"/>
                    <a:pt x="6" y="1066"/>
                  </a:cubicBezTo>
                  <a:cubicBezTo>
                    <a:pt x="0" y="1709"/>
                    <a:pt x="528" y="2137"/>
                    <a:pt x="1075" y="2137"/>
                  </a:cubicBezTo>
                  <a:cubicBezTo>
                    <a:pt x="1337" y="2137"/>
                    <a:pt x="1603" y="2040"/>
                    <a:pt x="1819" y="1822"/>
                  </a:cubicBezTo>
                  <a:cubicBezTo>
                    <a:pt x="2494" y="1155"/>
                    <a:pt x="2022" y="1"/>
                    <a:pt x="1071"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138" name="Google Shape;2138;p104"/>
            <p:cNvSpPr/>
            <p:nvPr/>
          </p:nvSpPr>
          <p:spPr>
            <a:xfrm>
              <a:off x="1990200" y="3171075"/>
              <a:ext cx="62225" cy="53275"/>
            </a:xfrm>
            <a:custGeom>
              <a:avLst/>
              <a:gdLst/>
              <a:ahLst/>
              <a:cxnLst/>
              <a:rect l="l" t="t" r="r" b="b"/>
              <a:pathLst>
                <a:path w="2489" h="2131" extrusionOk="0">
                  <a:moveTo>
                    <a:pt x="1066" y="0"/>
                  </a:moveTo>
                  <a:cubicBezTo>
                    <a:pt x="481" y="0"/>
                    <a:pt x="1" y="472"/>
                    <a:pt x="1" y="1065"/>
                  </a:cubicBezTo>
                  <a:cubicBezTo>
                    <a:pt x="1" y="1707"/>
                    <a:pt x="523" y="2131"/>
                    <a:pt x="1070" y="2131"/>
                  </a:cubicBezTo>
                  <a:cubicBezTo>
                    <a:pt x="1333" y="2131"/>
                    <a:pt x="1603" y="2032"/>
                    <a:pt x="1822" y="1813"/>
                  </a:cubicBezTo>
                  <a:cubicBezTo>
                    <a:pt x="2489" y="1146"/>
                    <a:pt x="2017" y="0"/>
                    <a:pt x="1066"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139" name="Google Shape;2139;p104"/>
            <p:cNvSpPr/>
            <p:nvPr/>
          </p:nvSpPr>
          <p:spPr>
            <a:xfrm>
              <a:off x="1990200" y="2942425"/>
              <a:ext cx="62225" cy="53450"/>
            </a:xfrm>
            <a:custGeom>
              <a:avLst/>
              <a:gdLst/>
              <a:ahLst/>
              <a:cxnLst/>
              <a:rect l="l" t="t" r="r" b="b"/>
              <a:pathLst>
                <a:path w="2489" h="2138" extrusionOk="0">
                  <a:moveTo>
                    <a:pt x="1066" y="1"/>
                  </a:moveTo>
                  <a:cubicBezTo>
                    <a:pt x="481" y="9"/>
                    <a:pt x="1" y="480"/>
                    <a:pt x="1" y="1066"/>
                  </a:cubicBezTo>
                  <a:cubicBezTo>
                    <a:pt x="1" y="1709"/>
                    <a:pt x="526" y="2137"/>
                    <a:pt x="1075" y="2137"/>
                  </a:cubicBezTo>
                  <a:cubicBezTo>
                    <a:pt x="1337" y="2137"/>
                    <a:pt x="1604" y="2040"/>
                    <a:pt x="1822" y="1822"/>
                  </a:cubicBezTo>
                  <a:cubicBezTo>
                    <a:pt x="2489" y="1147"/>
                    <a:pt x="2017" y="1"/>
                    <a:pt x="1066"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140" name="Google Shape;2140;p104"/>
            <p:cNvSpPr/>
            <p:nvPr/>
          </p:nvSpPr>
          <p:spPr>
            <a:xfrm>
              <a:off x="1990200" y="2866425"/>
              <a:ext cx="62225" cy="53275"/>
            </a:xfrm>
            <a:custGeom>
              <a:avLst/>
              <a:gdLst/>
              <a:ahLst/>
              <a:cxnLst/>
              <a:rect l="l" t="t" r="r" b="b"/>
              <a:pathLst>
                <a:path w="2489" h="2131" extrusionOk="0">
                  <a:moveTo>
                    <a:pt x="1066" y="0"/>
                  </a:moveTo>
                  <a:cubicBezTo>
                    <a:pt x="481" y="0"/>
                    <a:pt x="1" y="472"/>
                    <a:pt x="1" y="1065"/>
                  </a:cubicBezTo>
                  <a:cubicBezTo>
                    <a:pt x="1" y="1707"/>
                    <a:pt x="523" y="2131"/>
                    <a:pt x="1070" y="2131"/>
                  </a:cubicBezTo>
                  <a:cubicBezTo>
                    <a:pt x="1333" y="2131"/>
                    <a:pt x="1603" y="2032"/>
                    <a:pt x="1822" y="1813"/>
                  </a:cubicBezTo>
                  <a:cubicBezTo>
                    <a:pt x="2489" y="1146"/>
                    <a:pt x="2017" y="0"/>
                    <a:pt x="1066"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141" name="Google Shape;2141;p104"/>
            <p:cNvSpPr/>
            <p:nvPr/>
          </p:nvSpPr>
          <p:spPr>
            <a:xfrm>
              <a:off x="1990200" y="2333125"/>
              <a:ext cx="62225" cy="53450"/>
            </a:xfrm>
            <a:custGeom>
              <a:avLst/>
              <a:gdLst/>
              <a:ahLst/>
              <a:cxnLst/>
              <a:rect l="l" t="t" r="r" b="b"/>
              <a:pathLst>
                <a:path w="2489" h="2138" extrusionOk="0">
                  <a:moveTo>
                    <a:pt x="1066" y="1"/>
                  </a:moveTo>
                  <a:cubicBezTo>
                    <a:pt x="481" y="1"/>
                    <a:pt x="1" y="480"/>
                    <a:pt x="1" y="1066"/>
                  </a:cubicBezTo>
                  <a:cubicBezTo>
                    <a:pt x="1" y="1709"/>
                    <a:pt x="526" y="2137"/>
                    <a:pt x="1075" y="2137"/>
                  </a:cubicBezTo>
                  <a:cubicBezTo>
                    <a:pt x="1337" y="2137"/>
                    <a:pt x="1604" y="2040"/>
                    <a:pt x="1822" y="1822"/>
                  </a:cubicBezTo>
                  <a:cubicBezTo>
                    <a:pt x="2489" y="1147"/>
                    <a:pt x="2017" y="1"/>
                    <a:pt x="1066"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142" name="Google Shape;2142;p104"/>
            <p:cNvSpPr/>
            <p:nvPr/>
          </p:nvSpPr>
          <p:spPr>
            <a:xfrm>
              <a:off x="1990200" y="2256925"/>
              <a:ext cx="62375" cy="53425"/>
            </a:xfrm>
            <a:custGeom>
              <a:avLst/>
              <a:gdLst/>
              <a:ahLst/>
              <a:cxnLst/>
              <a:rect l="l" t="t" r="r" b="b"/>
              <a:pathLst>
                <a:path w="2495" h="2137" extrusionOk="0">
                  <a:moveTo>
                    <a:pt x="1076" y="0"/>
                  </a:moveTo>
                  <a:cubicBezTo>
                    <a:pt x="1073" y="0"/>
                    <a:pt x="1069" y="0"/>
                    <a:pt x="1066" y="0"/>
                  </a:cubicBezTo>
                  <a:cubicBezTo>
                    <a:pt x="472" y="0"/>
                    <a:pt x="1" y="480"/>
                    <a:pt x="1" y="1065"/>
                  </a:cubicBezTo>
                  <a:cubicBezTo>
                    <a:pt x="1" y="1709"/>
                    <a:pt x="530" y="2137"/>
                    <a:pt x="1078" y="2137"/>
                  </a:cubicBezTo>
                  <a:cubicBezTo>
                    <a:pt x="1340" y="2137"/>
                    <a:pt x="1607" y="2039"/>
                    <a:pt x="1822" y="1821"/>
                  </a:cubicBezTo>
                  <a:cubicBezTo>
                    <a:pt x="2494" y="1149"/>
                    <a:pt x="2020" y="0"/>
                    <a:pt x="1076"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143" name="Google Shape;2143;p104"/>
            <p:cNvSpPr/>
            <p:nvPr/>
          </p:nvSpPr>
          <p:spPr>
            <a:xfrm>
              <a:off x="1990200" y="2180700"/>
              <a:ext cx="62225" cy="53350"/>
            </a:xfrm>
            <a:custGeom>
              <a:avLst/>
              <a:gdLst/>
              <a:ahLst/>
              <a:cxnLst/>
              <a:rect l="l" t="t" r="r" b="b"/>
              <a:pathLst>
                <a:path w="2489" h="2134" extrusionOk="0">
                  <a:moveTo>
                    <a:pt x="1066" y="1"/>
                  </a:moveTo>
                  <a:cubicBezTo>
                    <a:pt x="481" y="1"/>
                    <a:pt x="1" y="480"/>
                    <a:pt x="1" y="1066"/>
                  </a:cubicBezTo>
                  <a:cubicBezTo>
                    <a:pt x="1" y="1709"/>
                    <a:pt x="526" y="2133"/>
                    <a:pt x="1075" y="2133"/>
                  </a:cubicBezTo>
                  <a:cubicBezTo>
                    <a:pt x="1337" y="2133"/>
                    <a:pt x="1604" y="2037"/>
                    <a:pt x="1822" y="1822"/>
                  </a:cubicBezTo>
                  <a:cubicBezTo>
                    <a:pt x="2489" y="1147"/>
                    <a:pt x="2017" y="1"/>
                    <a:pt x="1066"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144" name="Google Shape;2144;p104"/>
            <p:cNvSpPr/>
            <p:nvPr/>
          </p:nvSpPr>
          <p:spPr>
            <a:xfrm>
              <a:off x="1990200" y="2104500"/>
              <a:ext cx="62225" cy="53325"/>
            </a:xfrm>
            <a:custGeom>
              <a:avLst/>
              <a:gdLst/>
              <a:ahLst/>
              <a:cxnLst/>
              <a:rect l="l" t="t" r="r" b="b"/>
              <a:pathLst>
                <a:path w="2489" h="2133" extrusionOk="0">
                  <a:moveTo>
                    <a:pt x="1066" y="0"/>
                  </a:moveTo>
                  <a:cubicBezTo>
                    <a:pt x="481" y="0"/>
                    <a:pt x="1" y="480"/>
                    <a:pt x="1" y="1065"/>
                  </a:cubicBezTo>
                  <a:cubicBezTo>
                    <a:pt x="1" y="1709"/>
                    <a:pt x="526" y="2133"/>
                    <a:pt x="1075" y="2133"/>
                  </a:cubicBezTo>
                  <a:cubicBezTo>
                    <a:pt x="1337" y="2133"/>
                    <a:pt x="1604" y="2036"/>
                    <a:pt x="1822" y="1821"/>
                  </a:cubicBezTo>
                  <a:cubicBezTo>
                    <a:pt x="2489" y="1146"/>
                    <a:pt x="2017" y="0"/>
                    <a:pt x="1066"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145" name="Google Shape;2145;p104"/>
            <p:cNvSpPr/>
            <p:nvPr/>
          </p:nvSpPr>
          <p:spPr>
            <a:xfrm>
              <a:off x="1990200" y="2028275"/>
              <a:ext cx="62225" cy="53450"/>
            </a:xfrm>
            <a:custGeom>
              <a:avLst/>
              <a:gdLst/>
              <a:ahLst/>
              <a:cxnLst/>
              <a:rect l="l" t="t" r="r" b="b"/>
              <a:pathLst>
                <a:path w="2489" h="2138" extrusionOk="0">
                  <a:moveTo>
                    <a:pt x="1066" y="1"/>
                  </a:moveTo>
                  <a:cubicBezTo>
                    <a:pt x="481" y="1"/>
                    <a:pt x="1" y="480"/>
                    <a:pt x="1" y="1065"/>
                  </a:cubicBezTo>
                  <a:cubicBezTo>
                    <a:pt x="1" y="1709"/>
                    <a:pt x="526" y="2137"/>
                    <a:pt x="1075" y="2137"/>
                  </a:cubicBezTo>
                  <a:cubicBezTo>
                    <a:pt x="1337" y="2137"/>
                    <a:pt x="1604" y="2040"/>
                    <a:pt x="1822" y="1821"/>
                  </a:cubicBezTo>
                  <a:cubicBezTo>
                    <a:pt x="2489" y="1147"/>
                    <a:pt x="2017" y="1"/>
                    <a:pt x="1066"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146" name="Google Shape;2146;p104"/>
            <p:cNvSpPr/>
            <p:nvPr/>
          </p:nvSpPr>
          <p:spPr>
            <a:xfrm>
              <a:off x="1990200" y="1952050"/>
              <a:ext cx="62225" cy="53450"/>
            </a:xfrm>
            <a:custGeom>
              <a:avLst/>
              <a:gdLst/>
              <a:ahLst/>
              <a:cxnLst/>
              <a:rect l="l" t="t" r="r" b="b"/>
              <a:pathLst>
                <a:path w="2489" h="2138" extrusionOk="0">
                  <a:moveTo>
                    <a:pt x="1066" y="1"/>
                  </a:moveTo>
                  <a:cubicBezTo>
                    <a:pt x="481" y="9"/>
                    <a:pt x="1" y="481"/>
                    <a:pt x="1" y="1074"/>
                  </a:cubicBezTo>
                  <a:cubicBezTo>
                    <a:pt x="1" y="1712"/>
                    <a:pt x="525" y="2138"/>
                    <a:pt x="1074" y="2138"/>
                  </a:cubicBezTo>
                  <a:cubicBezTo>
                    <a:pt x="1336" y="2138"/>
                    <a:pt x="1604" y="2040"/>
                    <a:pt x="1822" y="1822"/>
                  </a:cubicBezTo>
                  <a:cubicBezTo>
                    <a:pt x="2489" y="1155"/>
                    <a:pt x="2017" y="1"/>
                    <a:pt x="1066"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147" name="Google Shape;2147;p104"/>
            <p:cNvSpPr/>
            <p:nvPr/>
          </p:nvSpPr>
          <p:spPr>
            <a:xfrm>
              <a:off x="1990200" y="1876050"/>
              <a:ext cx="62225" cy="53275"/>
            </a:xfrm>
            <a:custGeom>
              <a:avLst/>
              <a:gdLst/>
              <a:ahLst/>
              <a:cxnLst/>
              <a:rect l="l" t="t" r="r" b="b"/>
              <a:pathLst>
                <a:path w="2489" h="2131" extrusionOk="0">
                  <a:moveTo>
                    <a:pt x="1066" y="1"/>
                  </a:moveTo>
                  <a:cubicBezTo>
                    <a:pt x="481" y="1"/>
                    <a:pt x="1" y="472"/>
                    <a:pt x="1" y="1066"/>
                  </a:cubicBezTo>
                  <a:cubicBezTo>
                    <a:pt x="1" y="1707"/>
                    <a:pt x="523" y="2131"/>
                    <a:pt x="1070" y="2131"/>
                  </a:cubicBezTo>
                  <a:cubicBezTo>
                    <a:pt x="1333" y="2131"/>
                    <a:pt x="1603" y="2033"/>
                    <a:pt x="1822" y="1813"/>
                  </a:cubicBezTo>
                  <a:cubicBezTo>
                    <a:pt x="2489" y="1147"/>
                    <a:pt x="2017" y="1"/>
                    <a:pt x="1066"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148" name="Google Shape;2148;p104"/>
            <p:cNvSpPr/>
            <p:nvPr/>
          </p:nvSpPr>
          <p:spPr>
            <a:xfrm>
              <a:off x="1990200" y="1799850"/>
              <a:ext cx="62225" cy="53325"/>
            </a:xfrm>
            <a:custGeom>
              <a:avLst/>
              <a:gdLst/>
              <a:ahLst/>
              <a:cxnLst/>
              <a:rect l="l" t="t" r="r" b="b"/>
              <a:pathLst>
                <a:path w="2489" h="2133" extrusionOk="0">
                  <a:moveTo>
                    <a:pt x="1066" y="0"/>
                  </a:moveTo>
                  <a:cubicBezTo>
                    <a:pt x="481" y="0"/>
                    <a:pt x="1" y="480"/>
                    <a:pt x="1" y="1065"/>
                  </a:cubicBezTo>
                  <a:cubicBezTo>
                    <a:pt x="1" y="1709"/>
                    <a:pt x="526" y="2133"/>
                    <a:pt x="1075" y="2133"/>
                  </a:cubicBezTo>
                  <a:cubicBezTo>
                    <a:pt x="1337" y="2133"/>
                    <a:pt x="1604" y="2036"/>
                    <a:pt x="1822" y="1821"/>
                  </a:cubicBezTo>
                  <a:cubicBezTo>
                    <a:pt x="2489" y="1146"/>
                    <a:pt x="2017" y="0"/>
                    <a:pt x="1066"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149" name="Google Shape;2149;p104"/>
            <p:cNvSpPr/>
            <p:nvPr/>
          </p:nvSpPr>
          <p:spPr>
            <a:xfrm>
              <a:off x="1990200" y="1647400"/>
              <a:ext cx="62225" cy="53450"/>
            </a:xfrm>
            <a:custGeom>
              <a:avLst/>
              <a:gdLst/>
              <a:ahLst/>
              <a:cxnLst/>
              <a:rect l="l" t="t" r="r" b="b"/>
              <a:pathLst>
                <a:path w="2489" h="2138" extrusionOk="0">
                  <a:moveTo>
                    <a:pt x="1066" y="1"/>
                  </a:moveTo>
                  <a:cubicBezTo>
                    <a:pt x="481" y="9"/>
                    <a:pt x="1" y="481"/>
                    <a:pt x="1" y="1066"/>
                  </a:cubicBezTo>
                  <a:cubicBezTo>
                    <a:pt x="1" y="1710"/>
                    <a:pt x="526" y="2138"/>
                    <a:pt x="1075" y="2138"/>
                  </a:cubicBezTo>
                  <a:cubicBezTo>
                    <a:pt x="1337" y="2138"/>
                    <a:pt x="1604" y="2040"/>
                    <a:pt x="1822" y="1822"/>
                  </a:cubicBezTo>
                  <a:cubicBezTo>
                    <a:pt x="2489" y="1147"/>
                    <a:pt x="2017" y="1"/>
                    <a:pt x="1066"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150" name="Google Shape;2150;p104"/>
            <p:cNvSpPr/>
            <p:nvPr/>
          </p:nvSpPr>
          <p:spPr>
            <a:xfrm>
              <a:off x="1990200" y="1571400"/>
              <a:ext cx="62225" cy="53250"/>
            </a:xfrm>
            <a:custGeom>
              <a:avLst/>
              <a:gdLst/>
              <a:ahLst/>
              <a:cxnLst/>
              <a:rect l="l" t="t" r="r" b="b"/>
              <a:pathLst>
                <a:path w="2489" h="2130" extrusionOk="0">
                  <a:moveTo>
                    <a:pt x="1066" y="1"/>
                  </a:moveTo>
                  <a:cubicBezTo>
                    <a:pt x="481" y="1"/>
                    <a:pt x="1" y="472"/>
                    <a:pt x="1" y="1066"/>
                  </a:cubicBezTo>
                  <a:cubicBezTo>
                    <a:pt x="1" y="1703"/>
                    <a:pt x="525" y="2129"/>
                    <a:pt x="1074" y="2129"/>
                  </a:cubicBezTo>
                  <a:cubicBezTo>
                    <a:pt x="1336" y="2129"/>
                    <a:pt x="1604" y="2032"/>
                    <a:pt x="1822" y="1813"/>
                  </a:cubicBezTo>
                  <a:cubicBezTo>
                    <a:pt x="2489" y="1147"/>
                    <a:pt x="2017" y="1"/>
                    <a:pt x="1066"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151" name="Google Shape;2151;p104"/>
            <p:cNvSpPr/>
            <p:nvPr/>
          </p:nvSpPr>
          <p:spPr>
            <a:xfrm>
              <a:off x="1990200" y="1495200"/>
              <a:ext cx="62225" cy="53325"/>
            </a:xfrm>
            <a:custGeom>
              <a:avLst/>
              <a:gdLst/>
              <a:ahLst/>
              <a:cxnLst/>
              <a:rect l="l" t="t" r="r" b="b"/>
              <a:pathLst>
                <a:path w="2489" h="2133" extrusionOk="0">
                  <a:moveTo>
                    <a:pt x="1066" y="0"/>
                  </a:moveTo>
                  <a:cubicBezTo>
                    <a:pt x="481" y="0"/>
                    <a:pt x="1" y="480"/>
                    <a:pt x="1" y="1065"/>
                  </a:cubicBezTo>
                  <a:cubicBezTo>
                    <a:pt x="1" y="1709"/>
                    <a:pt x="526" y="2133"/>
                    <a:pt x="1075" y="2133"/>
                  </a:cubicBezTo>
                  <a:cubicBezTo>
                    <a:pt x="1337" y="2133"/>
                    <a:pt x="1604" y="2036"/>
                    <a:pt x="1822" y="1821"/>
                  </a:cubicBezTo>
                  <a:cubicBezTo>
                    <a:pt x="2489" y="1146"/>
                    <a:pt x="2017" y="0"/>
                    <a:pt x="1066"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152" name="Google Shape;2152;p104"/>
            <p:cNvSpPr/>
            <p:nvPr/>
          </p:nvSpPr>
          <p:spPr>
            <a:xfrm>
              <a:off x="1990200" y="1418975"/>
              <a:ext cx="62225" cy="53350"/>
            </a:xfrm>
            <a:custGeom>
              <a:avLst/>
              <a:gdLst/>
              <a:ahLst/>
              <a:cxnLst/>
              <a:rect l="l" t="t" r="r" b="b"/>
              <a:pathLst>
                <a:path w="2489" h="2134" extrusionOk="0">
                  <a:moveTo>
                    <a:pt x="1066" y="1"/>
                  </a:moveTo>
                  <a:cubicBezTo>
                    <a:pt x="481" y="1"/>
                    <a:pt x="1" y="480"/>
                    <a:pt x="1" y="1065"/>
                  </a:cubicBezTo>
                  <a:cubicBezTo>
                    <a:pt x="1" y="1709"/>
                    <a:pt x="526" y="2133"/>
                    <a:pt x="1075" y="2133"/>
                  </a:cubicBezTo>
                  <a:cubicBezTo>
                    <a:pt x="1337" y="2133"/>
                    <a:pt x="1604" y="2037"/>
                    <a:pt x="1822" y="1822"/>
                  </a:cubicBezTo>
                  <a:cubicBezTo>
                    <a:pt x="2489" y="1147"/>
                    <a:pt x="2017" y="1"/>
                    <a:pt x="1066"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153" name="Google Shape;2153;p104"/>
            <p:cNvSpPr/>
            <p:nvPr/>
          </p:nvSpPr>
          <p:spPr>
            <a:xfrm>
              <a:off x="1990200" y="1114325"/>
              <a:ext cx="62225" cy="53350"/>
            </a:xfrm>
            <a:custGeom>
              <a:avLst/>
              <a:gdLst/>
              <a:ahLst/>
              <a:cxnLst/>
              <a:rect l="l" t="t" r="r" b="b"/>
              <a:pathLst>
                <a:path w="2489" h="2134" extrusionOk="0">
                  <a:moveTo>
                    <a:pt x="1066" y="1"/>
                  </a:moveTo>
                  <a:cubicBezTo>
                    <a:pt x="481" y="1"/>
                    <a:pt x="1" y="480"/>
                    <a:pt x="1" y="1065"/>
                  </a:cubicBezTo>
                  <a:cubicBezTo>
                    <a:pt x="1" y="1709"/>
                    <a:pt x="526" y="2133"/>
                    <a:pt x="1075" y="2133"/>
                  </a:cubicBezTo>
                  <a:cubicBezTo>
                    <a:pt x="1337" y="2133"/>
                    <a:pt x="1604" y="2037"/>
                    <a:pt x="1822" y="1822"/>
                  </a:cubicBezTo>
                  <a:cubicBezTo>
                    <a:pt x="2489" y="1147"/>
                    <a:pt x="2017" y="1"/>
                    <a:pt x="1066"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154" name="Google Shape;2154;p104"/>
            <p:cNvSpPr/>
            <p:nvPr/>
          </p:nvSpPr>
          <p:spPr>
            <a:xfrm>
              <a:off x="1990200" y="1038125"/>
              <a:ext cx="62225" cy="53325"/>
            </a:xfrm>
            <a:custGeom>
              <a:avLst/>
              <a:gdLst/>
              <a:ahLst/>
              <a:cxnLst/>
              <a:rect l="l" t="t" r="r" b="b"/>
              <a:pathLst>
                <a:path w="2489" h="2133" extrusionOk="0">
                  <a:moveTo>
                    <a:pt x="1066" y="0"/>
                  </a:moveTo>
                  <a:cubicBezTo>
                    <a:pt x="481" y="0"/>
                    <a:pt x="1" y="480"/>
                    <a:pt x="1" y="1065"/>
                  </a:cubicBezTo>
                  <a:cubicBezTo>
                    <a:pt x="1" y="1709"/>
                    <a:pt x="526" y="2133"/>
                    <a:pt x="1075" y="2133"/>
                  </a:cubicBezTo>
                  <a:cubicBezTo>
                    <a:pt x="1337" y="2133"/>
                    <a:pt x="1604" y="2036"/>
                    <a:pt x="1822" y="1821"/>
                  </a:cubicBezTo>
                  <a:cubicBezTo>
                    <a:pt x="2489" y="1146"/>
                    <a:pt x="2017" y="0"/>
                    <a:pt x="1066"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155" name="Google Shape;2155;p104"/>
            <p:cNvSpPr/>
            <p:nvPr/>
          </p:nvSpPr>
          <p:spPr>
            <a:xfrm>
              <a:off x="1914000" y="3551925"/>
              <a:ext cx="62225" cy="53300"/>
            </a:xfrm>
            <a:custGeom>
              <a:avLst/>
              <a:gdLst/>
              <a:ahLst/>
              <a:cxnLst/>
              <a:rect l="l" t="t" r="r" b="b"/>
              <a:pathLst>
                <a:path w="2489" h="2132" extrusionOk="0">
                  <a:moveTo>
                    <a:pt x="1065" y="1"/>
                  </a:moveTo>
                  <a:cubicBezTo>
                    <a:pt x="480" y="1"/>
                    <a:pt x="0" y="480"/>
                    <a:pt x="0" y="1066"/>
                  </a:cubicBezTo>
                  <a:cubicBezTo>
                    <a:pt x="0" y="1708"/>
                    <a:pt x="526" y="2131"/>
                    <a:pt x="1073" y="2131"/>
                  </a:cubicBezTo>
                  <a:cubicBezTo>
                    <a:pt x="1337" y="2131"/>
                    <a:pt x="1605" y="2033"/>
                    <a:pt x="1821" y="1814"/>
                  </a:cubicBezTo>
                  <a:cubicBezTo>
                    <a:pt x="2488" y="1147"/>
                    <a:pt x="2017" y="1"/>
                    <a:pt x="1065"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156" name="Google Shape;2156;p104"/>
            <p:cNvSpPr/>
            <p:nvPr/>
          </p:nvSpPr>
          <p:spPr>
            <a:xfrm>
              <a:off x="1914000" y="3475725"/>
              <a:ext cx="62225" cy="53350"/>
            </a:xfrm>
            <a:custGeom>
              <a:avLst/>
              <a:gdLst/>
              <a:ahLst/>
              <a:cxnLst/>
              <a:rect l="l" t="t" r="r" b="b"/>
              <a:pathLst>
                <a:path w="2489" h="2134" extrusionOk="0">
                  <a:moveTo>
                    <a:pt x="1065" y="0"/>
                  </a:moveTo>
                  <a:cubicBezTo>
                    <a:pt x="480" y="0"/>
                    <a:pt x="0" y="480"/>
                    <a:pt x="0" y="1065"/>
                  </a:cubicBezTo>
                  <a:cubicBezTo>
                    <a:pt x="0" y="1709"/>
                    <a:pt x="526" y="2133"/>
                    <a:pt x="1074" y="2133"/>
                  </a:cubicBezTo>
                  <a:cubicBezTo>
                    <a:pt x="1336" y="2133"/>
                    <a:pt x="1603" y="2037"/>
                    <a:pt x="1821" y="1821"/>
                  </a:cubicBezTo>
                  <a:cubicBezTo>
                    <a:pt x="2488" y="1146"/>
                    <a:pt x="2017" y="0"/>
                    <a:pt x="1065"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157" name="Google Shape;2157;p104"/>
            <p:cNvSpPr/>
            <p:nvPr/>
          </p:nvSpPr>
          <p:spPr>
            <a:xfrm>
              <a:off x="1914000" y="3399500"/>
              <a:ext cx="62225" cy="53350"/>
            </a:xfrm>
            <a:custGeom>
              <a:avLst/>
              <a:gdLst/>
              <a:ahLst/>
              <a:cxnLst/>
              <a:rect l="l" t="t" r="r" b="b"/>
              <a:pathLst>
                <a:path w="2489" h="2134" extrusionOk="0">
                  <a:moveTo>
                    <a:pt x="1065" y="1"/>
                  </a:moveTo>
                  <a:cubicBezTo>
                    <a:pt x="480" y="1"/>
                    <a:pt x="0" y="480"/>
                    <a:pt x="0" y="1066"/>
                  </a:cubicBezTo>
                  <a:cubicBezTo>
                    <a:pt x="0" y="1709"/>
                    <a:pt x="526" y="2134"/>
                    <a:pt x="1074" y="2134"/>
                  </a:cubicBezTo>
                  <a:cubicBezTo>
                    <a:pt x="1336" y="2134"/>
                    <a:pt x="1603" y="2037"/>
                    <a:pt x="1821" y="1822"/>
                  </a:cubicBezTo>
                  <a:cubicBezTo>
                    <a:pt x="2488" y="1147"/>
                    <a:pt x="2017" y="1"/>
                    <a:pt x="1065"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158" name="Google Shape;2158;p104"/>
            <p:cNvSpPr/>
            <p:nvPr/>
          </p:nvSpPr>
          <p:spPr>
            <a:xfrm>
              <a:off x="1914000" y="3323300"/>
              <a:ext cx="62225" cy="53425"/>
            </a:xfrm>
            <a:custGeom>
              <a:avLst/>
              <a:gdLst/>
              <a:ahLst/>
              <a:cxnLst/>
              <a:rect l="l" t="t" r="r" b="b"/>
              <a:pathLst>
                <a:path w="2489" h="2137" extrusionOk="0">
                  <a:moveTo>
                    <a:pt x="1065" y="0"/>
                  </a:moveTo>
                  <a:cubicBezTo>
                    <a:pt x="480" y="8"/>
                    <a:pt x="0" y="480"/>
                    <a:pt x="0" y="1065"/>
                  </a:cubicBezTo>
                  <a:cubicBezTo>
                    <a:pt x="0" y="1709"/>
                    <a:pt x="526" y="2137"/>
                    <a:pt x="1074" y="2137"/>
                  </a:cubicBezTo>
                  <a:cubicBezTo>
                    <a:pt x="1336" y="2137"/>
                    <a:pt x="1603" y="2039"/>
                    <a:pt x="1821" y="1821"/>
                  </a:cubicBezTo>
                  <a:cubicBezTo>
                    <a:pt x="2488" y="1154"/>
                    <a:pt x="2017" y="0"/>
                    <a:pt x="1065"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159" name="Google Shape;2159;p104"/>
            <p:cNvSpPr/>
            <p:nvPr/>
          </p:nvSpPr>
          <p:spPr>
            <a:xfrm>
              <a:off x="1914000" y="3247075"/>
              <a:ext cx="62425" cy="53450"/>
            </a:xfrm>
            <a:custGeom>
              <a:avLst/>
              <a:gdLst/>
              <a:ahLst/>
              <a:cxnLst/>
              <a:rect l="l" t="t" r="r" b="b"/>
              <a:pathLst>
                <a:path w="2497" h="2138" extrusionOk="0">
                  <a:moveTo>
                    <a:pt x="1065" y="1"/>
                  </a:moveTo>
                  <a:cubicBezTo>
                    <a:pt x="480" y="9"/>
                    <a:pt x="9" y="480"/>
                    <a:pt x="0" y="1066"/>
                  </a:cubicBezTo>
                  <a:cubicBezTo>
                    <a:pt x="0" y="1709"/>
                    <a:pt x="526" y="2137"/>
                    <a:pt x="1074" y="2137"/>
                  </a:cubicBezTo>
                  <a:cubicBezTo>
                    <a:pt x="1336" y="2137"/>
                    <a:pt x="1603" y="2040"/>
                    <a:pt x="1821" y="1822"/>
                  </a:cubicBezTo>
                  <a:cubicBezTo>
                    <a:pt x="2496" y="1155"/>
                    <a:pt x="2017" y="1"/>
                    <a:pt x="1065"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160" name="Google Shape;2160;p104"/>
            <p:cNvSpPr/>
            <p:nvPr/>
          </p:nvSpPr>
          <p:spPr>
            <a:xfrm>
              <a:off x="1914000" y="3171075"/>
              <a:ext cx="62225" cy="53275"/>
            </a:xfrm>
            <a:custGeom>
              <a:avLst/>
              <a:gdLst/>
              <a:ahLst/>
              <a:cxnLst/>
              <a:rect l="l" t="t" r="r" b="b"/>
              <a:pathLst>
                <a:path w="2489" h="2131" extrusionOk="0">
                  <a:moveTo>
                    <a:pt x="1065" y="0"/>
                  </a:moveTo>
                  <a:cubicBezTo>
                    <a:pt x="480" y="0"/>
                    <a:pt x="0" y="472"/>
                    <a:pt x="0" y="1065"/>
                  </a:cubicBezTo>
                  <a:cubicBezTo>
                    <a:pt x="0" y="1707"/>
                    <a:pt x="523" y="2131"/>
                    <a:pt x="1070" y="2131"/>
                  </a:cubicBezTo>
                  <a:cubicBezTo>
                    <a:pt x="1333" y="2131"/>
                    <a:pt x="1602" y="2032"/>
                    <a:pt x="1821" y="1813"/>
                  </a:cubicBezTo>
                  <a:cubicBezTo>
                    <a:pt x="2488" y="1146"/>
                    <a:pt x="2017" y="0"/>
                    <a:pt x="1065"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161" name="Google Shape;2161;p104"/>
            <p:cNvSpPr/>
            <p:nvPr/>
          </p:nvSpPr>
          <p:spPr>
            <a:xfrm>
              <a:off x="1914000" y="2866425"/>
              <a:ext cx="62225" cy="53275"/>
            </a:xfrm>
            <a:custGeom>
              <a:avLst/>
              <a:gdLst/>
              <a:ahLst/>
              <a:cxnLst/>
              <a:rect l="l" t="t" r="r" b="b"/>
              <a:pathLst>
                <a:path w="2489" h="2131" extrusionOk="0">
                  <a:moveTo>
                    <a:pt x="1065" y="0"/>
                  </a:moveTo>
                  <a:cubicBezTo>
                    <a:pt x="480" y="0"/>
                    <a:pt x="0" y="472"/>
                    <a:pt x="0" y="1065"/>
                  </a:cubicBezTo>
                  <a:cubicBezTo>
                    <a:pt x="0" y="1707"/>
                    <a:pt x="523" y="2131"/>
                    <a:pt x="1070" y="2131"/>
                  </a:cubicBezTo>
                  <a:cubicBezTo>
                    <a:pt x="1333" y="2131"/>
                    <a:pt x="1602" y="2032"/>
                    <a:pt x="1821" y="1813"/>
                  </a:cubicBezTo>
                  <a:cubicBezTo>
                    <a:pt x="2488" y="1146"/>
                    <a:pt x="2017" y="0"/>
                    <a:pt x="1065"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162" name="Google Shape;2162;p104"/>
            <p:cNvSpPr/>
            <p:nvPr/>
          </p:nvSpPr>
          <p:spPr>
            <a:xfrm>
              <a:off x="1914000" y="2714000"/>
              <a:ext cx="62225" cy="53350"/>
            </a:xfrm>
            <a:custGeom>
              <a:avLst/>
              <a:gdLst/>
              <a:ahLst/>
              <a:cxnLst/>
              <a:rect l="l" t="t" r="r" b="b"/>
              <a:pathLst>
                <a:path w="2489" h="2134"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7" y="0"/>
                    <a:pt x="1065"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163" name="Google Shape;2163;p104"/>
            <p:cNvSpPr/>
            <p:nvPr/>
          </p:nvSpPr>
          <p:spPr>
            <a:xfrm>
              <a:off x="1914000" y="2409350"/>
              <a:ext cx="62225" cy="53350"/>
            </a:xfrm>
            <a:custGeom>
              <a:avLst/>
              <a:gdLst/>
              <a:ahLst/>
              <a:cxnLst/>
              <a:rect l="l" t="t" r="r" b="b"/>
              <a:pathLst>
                <a:path w="2489" h="2134"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7" y="0"/>
                    <a:pt x="1065"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164" name="Google Shape;2164;p104"/>
            <p:cNvSpPr/>
            <p:nvPr/>
          </p:nvSpPr>
          <p:spPr>
            <a:xfrm>
              <a:off x="1914000" y="2333125"/>
              <a:ext cx="62225" cy="53450"/>
            </a:xfrm>
            <a:custGeom>
              <a:avLst/>
              <a:gdLst/>
              <a:ahLst/>
              <a:cxnLst/>
              <a:rect l="l" t="t" r="r" b="b"/>
              <a:pathLst>
                <a:path w="2489" h="2138" extrusionOk="0">
                  <a:moveTo>
                    <a:pt x="1065" y="1"/>
                  </a:moveTo>
                  <a:cubicBezTo>
                    <a:pt x="480" y="1"/>
                    <a:pt x="0" y="480"/>
                    <a:pt x="0" y="1066"/>
                  </a:cubicBezTo>
                  <a:cubicBezTo>
                    <a:pt x="0" y="1709"/>
                    <a:pt x="526" y="2137"/>
                    <a:pt x="1074" y="2137"/>
                  </a:cubicBezTo>
                  <a:cubicBezTo>
                    <a:pt x="1336" y="2137"/>
                    <a:pt x="1603" y="2040"/>
                    <a:pt x="1821" y="1822"/>
                  </a:cubicBezTo>
                  <a:cubicBezTo>
                    <a:pt x="2488" y="1147"/>
                    <a:pt x="2017" y="1"/>
                    <a:pt x="1065"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165" name="Google Shape;2165;p104"/>
            <p:cNvSpPr/>
            <p:nvPr/>
          </p:nvSpPr>
          <p:spPr>
            <a:xfrm>
              <a:off x="1914000" y="2256925"/>
              <a:ext cx="62350" cy="53425"/>
            </a:xfrm>
            <a:custGeom>
              <a:avLst/>
              <a:gdLst/>
              <a:ahLst/>
              <a:cxnLst/>
              <a:rect l="l" t="t" r="r" b="b"/>
              <a:pathLst>
                <a:path w="2494" h="2137" extrusionOk="0">
                  <a:moveTo>
                    <a:pt x="1075" y="0"/>
                  </a:moveTo>
                  <a:cubicBezTo>
                    <a:pt x="1072" y="0"/>
                    <a:pt x="1069" y="0"/>
                    <a:pt x="1065" y="0"/>
                  </a:cubicBezTo>
                  <a:cubicBezTo>
                    <a:pt x="480" y="0"/>
                    <a:pt x="0" y="480"/>
                    <a:pt x="0" y="1065"/>
                  </a:cubicBezTo>
                  <a:cubicBezTo>
                    <a:pt x="0" y="1709"/>
                    <a:pt x="529" y="2137"/>
                    <a:pt x="1080" y="2137"/>
                  </a:cubicBezTo>
                  <a:cubicBezTo>
                    <a:pt x="1343" y="2137"/>
                    <a:pt x="1611" y="2039"/>
                    <a:pt x="1830" y="1821"/>
                  </a:cubicBezTo>
                  <a:cubicBezTo>
                    <a:pt x="2494" y="1149"/>
                    <a:pt x="2020" y="0"/>
                    <a:pt x="1075"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166" name="Google Shape;2166;p104"/>
            <p:cNvSpPr/>
            <p:nvPr/>
          </p:nvSpPr>
          <p:spPr>
            <a:xfrm>
              <a:off x="1914000" y="2180700"/>
              <a:ext cx="62225" cy="53350"/>
            </a:xfrm>
            <a:custGeom>
              <a:avLst/>
              <a:gdLst/>
              <a:ahLst/>
              <a:cxnLst/>
              <a:rect l="l" t="t" r="r" b="b"/>
              <a:pathLst>
                <a:path w="2489" h="2134" extrusionOk="0">
                  <a:moveTo>
                    <a:pt x="1065" y="1"/>
                  </a:moveTo>
                  <a:cubicBezTo>
                    <a:pt x="480" y="1"/>
                    <a:pt x="0" y="480"/>
                    <a:pt x="0" y="1066"/>
                  </a:cubicBezTo>
                  <a:cubicBezTo>
                    <a:pt x="0" y="1709"/>
                    <a:pt x="526" y="2133"/>
                    <a:pt x="1074" y="2133"/>
                  </a:cubicBezTo>
                  <a:cubicBezTo>
                    <a:pt x="1336" y="2133"/>
                    <a:pt x="1603" y="2037"/>
                    <a:pt x="1821" y="1822"/>
                  </a:cubicBezTo>
                  <a:cubicBezTo>
                    <a:pt x="2488" y="1147"/>
                    <a:pt x="2017" y="1"/>
                    <a:pt x="1065"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167" name="Google Shape;2167;p104"/>
            <p:cNvSpPr/>
            <p:nvPr/>
          </p:nvSpPr>
          <p:spPr>
            <a:xfrm>
              <a:off x="1914000" y="2104500"/>
              <a:ext cx="62225" cy="53325"/>
            </a:xfrm>
            <a:custGeom>
              <a:avLst/>
              <a:gdLst/>
              <a:ahLst/>
              <a:cxnLst/>
              <a:rect l="l" t="t" r="r" b="b"/>
              <a:pathLst>
                <a:path w="2489" h="2133"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7" y="0"/>
                    <a:pt x="1065"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168" name="Google Shape;2168;p104"/>
            <p:cNvSpPr/>
            <p:nvPr/>
          </p:nvSpPr>
          <p:spPr>
            <a:xfrm>
              <a:off x="1914000" y="2028275"/>
              <a:ext cx="62225" cy="53450"/>
            </a:xfrm>
            <a:custGeom>
              <a:avLst/>
              <a:gdLst/>
              <a:ahLst/>
              <a:cxnLst/>
              <a:rect l="l" t="t" r="r" b="b"/>
              <a:pathLst>
                <a:path w="2489" h="2138" extrusionOk="0">
                  <a:moveTo>
                    <a:pt x="1065" y="1"/>
                  </a:moveTo>
                  <a:cubicBezTo>
                    <a:pt x="480" y="1"/>
                    <a:pt x="0" y="480"/>
                    <a:pt x="0" y="1065"/>
                  </a:cubicBezTo>
                  <a:cubicBezTo>
                    <a:pt x="0" y="1709"/>
                    <a:pt x="526" y="2137"/>
                    <a:pt x="1074" y="2137"/>
                  </a:cubicBezTo>
                  <a:cubicBezTo>
                    <a:pt x="1336" y="2137"/>
                    <a:pt x="1603" y="2040"/>
                    <a:pt x="1821" y="1821"/>
                  </a:cubicBezTo>
                  <a:cubicBezTo>
                    <a:pt x="2488" y="1147"/>
                    <a:pt x="2017" y="1"/>
                    <a:pt x="1065"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169" name="Google Shape;2169;p104"/>
            <p:cNvSpPr/>
            <p:nvPr/>
          </p:nvSpPr>
          <p:spPr>
            <a:xfrm>
              <a:off x="1914000" y="1647400"/>
              <a:ext cx="62225" cy="53450"/>
            </a:xfrm>
            <a:custGeom>
              <a:avLst/>
              <a:gdLst/>
              <a:ahLst/>
              <a:cxnLst/>
              <a:rect l="l" t="t" r="r" b="b"/>
              <a:pathLst>
                <a:path w="2489" h="2138" extrusionOk="0">
                  <a:moveTo>
                    <a:pt x="1065" y="1"/>
                  </a:moveTo>
                  <a:cubicBezTo>
                    <a:pt x="480" y="1"/>
                    <a:pt x="0" y="481"/>
                    <a:pt x="0" y="1066"/>
                  </a:cubicBezTo>
                  <a:cubicBezTo>
                    <a:pt x="0" y="1710"/>
                    <a:pt x="526" y="2138"/>
                    <a:pt x="1074" y="2138"/>
                  </a:cubicBezTo>
                  <a:cubicBezTo>
                    <a:pt x="1336" y="2138"/>
                    <a:pt x="1603" y="2040"/>
                    <a:pt x="1821" y="1822"/>
                  </a:cubicBezTo>
                  <a:cubicBezTo>
                    <a:pt x="2488" y="1147"/>
                    <a:pt x="2017" y="1"/>
                    <a:pt x="1065"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170" name="Google Shape;2170;p104"/>
            <p:cNvSpPr/>
            <p:nvPr/>
          </p:nvSpPr>
          <p:spPr>
            <a:xfrm>
              <a:off x="1914000" y="1418975"/>
              <a:ext cx="62225" cy="53350"/>
            </a:xfrm>
            <a:custGeom>
              <a:avLst/>
              <a:gdLst/>
              <a:ahLst/>
              <a:cxnLst/>
              <a:rect l="l" t="t" r="r" b="b"/>
              <a:pathLst>
                <a:path w="2489" h="2134" extrusionOk="0">
                  <a:moveTo>
                    <a:pt x="1065" y="1"/>
                  </a:moveTo>
                  <a:cubicBezTo>
                    <a:pt x="480" y="1"/>
                    <a:pt x="0" y="480"/>
                    <a:pt x="0" y="1065"/>
                  </a:cubicBezTo>
                  <a:cubicBezTo>
                    <a:pt x="0" y="1709"/>
                    <a:pt x="526" y="2133"/>
                    <a:pt x="1074" y="2133"/>
                  </a:cubicBezTo>
                  <a:cubicBezTo>
                    <a:pt x="1336" y="2133"/>
                    <a:pt x="1603" y="2037"/>
                    <a:pt x="1821" y="1822"/>
                  </a:cubicBezTo>
                  <a:cubicBezTo>
                    <a:pt x="2488" y="1147"/>
                    <a:pt x="2017" y="1"/>
                    <a:pt x="1065"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171" name="Google Shape;2171;p104"/>
            <p:cNvSpPr/>
            <p:nvPr/>
          </p:nvSpPr>
          <p:spPr>
            <a:xfrm>
              <a:off x="1914000" y="1190550"/>
              <a:ext cx="62225" cy="53325"/>
            </a:xfrm>
            <a:custGeom>
              <a:avLst/>
              <a:gdLst/>
              <a:ahLst/>
              <a:cxnLst/>
              <a:rect l="l" t="t" r="r" b="b"/>
              <a:pathLst>
                <a:path w="2489" h="2133"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7" y="0"/>
                    <a:pt x="1065"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172" name="Google Shape;2172;p104"/>
            <p:cNvSpPr/>
            <p:nvPr/>
          </p:nvSpPr>
          <p:spPr>
            <a:xfrm>
              <a:off x="1914000" y="1114325"/>
              <a:ext cx="62225" cy="53350"/>
            </a:xfrm>
            <a:custGeom>
              <a:avLst/>
              <a:gdLst/>
              <a:ahLst/>
              <a:cxnLst/>
              <a:rect l="l" t="t" r="r" b="b"/>
              <a:pathLst>
                <a:path w="2489" h="2134" extrusionOk="0">
                  <a:moveTo>
                    <a:pt x="1065" y="1"/>
                  </a:moveTo>
                  <a:cubicBezTo>
                    <a:pt x="480" y="1"/>
                    <a:pt x="0" y="480"/>
                    <a:pt x="0" y="1065"/>
                  </a:cubicBezTo>
                  <a:cubicBezTo>
                    <a:pt x="0" y="1709"/>
                    <a:pt x="526" y="2133"/>
                    <a:pt x="1074" y="2133"/>
                  </a:cubicBezTo>
                  <a:cubicBezTo>
                    <a:pt x="1336" y="2133"/>
                    <a:pt x="1603" y="2037"/>
                    <a:pt x="1821" y="1822"/>
                  </a:cubicBezTo>
                  <a:cubicBezTo>
                    <a:pt x="2488" y="1147"/>
                    <a:pt x="2017" y="1"/>
                    <a:pt x="1065"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173" name="Google Shape;2173;p104"/>
            <p:cNvSpPr/>
            <p:nvPr/>
          </p:nvSpPr>
          <p:spPr>
            <a:xfrm>
              <a:off x="1837775" y="3171075"/>
              <a:ext cx="62425" cy="53275"/>
            </a:xfrm>
            <a:custGeom>
              <a:avLst/>
              <a:gdLst/>
              <a:ahLst/>
              <a:cxnLst/>
              <a:rect l="l" t="t" r="r" b="b"/>
              <a:pathLst>
                <a:path w="2497" h="2131" extrusionOk="0">
                  <a:moveTo>
                    <a:pt x="1066" y="0"/>
                  </a:moveTo>
                  <a:cubicBezTo>
                    <a:pt x="481" y="0"/>
                    <a:pt x="9" y="472"/>
                    <a:pt x="1" y="1065"/>
                  </a:cubicBezTo>
                  <a:cubicBezTo>
                    <a:pt x="1" y="1707"/>
                    <a:pt x="523" y="2131"/>
                    <a:pt x="1070" y="2131"/>
                  </a:cubicBezTo>
                  <a:cubicBezTo>
                    <a:pt x="1333" y="2131"/>
                    <a:pt x="1603" y="2032"/>
                    <a:pt x="1822" y="1813"/>
                  </a:cubicBezTo>
                  <a:cubicBezTo>
                    <a:pt x="2497" y="1146"/>
                    <a:pt x="2017" y="0"/>
                    <a:pt x="1066"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174" name="Google Shape;2174;p104"/>
            <p:cNvSpPr/>
            <p:nvPr/>
          </p:nvSpPr>
          <p:spPr>
            <a:xfrm>
              <a:off x="1837775" y="2866425"/>
              <a:ext cx="62425" cy="53275"/>
            </a:xfrm>
            <a:custGeom>
              <a:avLst/>
              <a:gdLst/>
              <a:ahLst/>
              <a:cxnLst/>
              <a:rect l="l" t="t" r="r" b="b"/>
              <a:pathLst>
                <a:path w="2497" h="2131" extrusionOk="0">
                  <a:moveTo>
                    <a:pt x="1066" y="0"/>
                  </a:moveTo>
                  <a:cubicBezTo>
                    <a:pt x="481" y="0"/>
                    <a:pt x="1" y="472"/>
                    <a:pt x="1" y="1065"/>
                  </a:cubicBezTo>
                  <a:cubicBezTo>
                    <a:pt x="1" y="1707"/>
                    <a:pt x="527" y="2131"/>
                    <a:pt x="1074" y="2131"/>
                  </a:cubicBezTo>
                  <a:cubicBezTo>
                    <a:pt x="1337" y="2131"/>
                    <a:pt x="1605" y="2032"/>
                    <a:pt x="1822" y="1813"/>
                  </a:cubicBezTo>
                  <a:cubicBezTo>
                    <a:pt x="2497" y="1146"/>
                    <a:pt x="2017" y="0"/>
                    <a:pt x="1066"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175" name="Google Shape;2175;p104"/>
            <p:cNvSpPr/>
            <p:nvPr/>
          </p:nvSpPr>
          <p:spPr>
            <a:xfrm>
              <a:off x="1837775" y="2714000"/>
              <a:ext cx="62425" cy="53350"/>
            </a:xfrm>
            <a:custGeom>
              <a:avLst/>
              <a:gdLst/>
              <a:ahLst/>
              <a:cxnLst/>
              <a:rect l="l" t="t" r="r" b="b"/>
              <a:pathLst>
                <a:path w="2497" h="2134" extrusionOk="0">
                  <a:moveTo>
                    <a:pt x="1066" y="0"/>
                  </a:moveTo>
                  <a:cubicBezTo>
                    <a:pt x="481" y="0"/>
                    <a:pt x="1" y="480"/>
                    <a:pt x="1" y="1065"/>
                  </a:cubicBezTo>
                  <a:cubicBezTo>
                    <a:pt x="1" y="1709"/>
                    <a:pt x="526" y="2133"/>
                    <a:pt x="1075" y="2133"/>
                  </a:cubicBezTo>
                  <a:cubicBezTo>
                    <a:pt x="1337" y="2133"/>
                    <a:pt x="1604" y="2036"/>
                    <a:pt x="1822" y="1821"/>
                  </a:cubicBezTo>
                  <a:cubicBezTo>
                    <a:pt x="2497" y="1146"/>
                    <a:pt x="2017" y="0"/>
                    <a:pt x="1066"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176" name="Google Shape;2176;p104"/>
            <p:cNvSpPr/>
            <p:nvPr/>
          </p:nvSpPr>
          <p:spPr>
            <a:xfrm>
              <a:off x="1837775" y="2637775"/>
              <a:ext cx="62425" cy="53450"/>
            </a:xfrm>
            <a:custGeom>
              <a:avLst/>
              <a:gdLst/>
              <a:ahLst/>
              <a:cxnLst/>
              <a:rect l="l" t="t" r="r" b="b"/>
              <a:pathLst>
                <a:path w="2497" h="2138" extrusionOk="0">
                  <a:moveTo>
                    <a:pt x="1066" y="1"/>
                  </a:moveTo>
                  <a:cubicBezTo>
                    <a:pt x="481" y="9"/>
                    <a:pt x="1" y="480"/>
                    <a:pt x="1" y="1074"/>
                  </a:cubicBezTo>
                  <a:cubicBezTo>
                    <a:pt x="1" y="1712"/>
                    <a:pt x="529" y="2137"/>
                    <a:pt x="1077" y="2137"/>
                  </a:cubicBezTo>
                  <a:cubicBezTo>
                    <a:pt x="1339" y="2137"/>
                    <a:pt x="1606" y="2040"/>
                    <a:pt x="1822" y="1822"/>
                  </a:cubicBezTo>
                  <a:cubicBezTo>
                    <a:pt x="2497" y="1147"/>
                    <a:pt x="2017" y="1"/>
                    <a:pt x="1066"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177" name="Google Shape;2177;p104"/>
            <p:cNvSpPr/>
            <p:nvPr/>
          </p:nvSpPr>
          <p:spPr>
            <a:xfrm>
              <a:off x="1837775" y="2561575"/>
              <a:ext cx="62425" cy="53425"/>
            </a:xfrm>
            <a:custGeom>
              <a:avLst/>
              <a:gdLst/>
              <a:ahLst/>
              <a:cxnLst/>
              <a:rect l="l" t="t" r="r" b="b"/>
              <a:pathLst>
                <a:path w="2497" h="2137" extrusionOk="0">
                  <a:moveTo>
                    <a:pt x="1066" y="0"/>
                  </a:moveTo>
                  <a:cubicBezTo>
                    <a:pt x="481" y="8"/>
                    <a:pt x="9" y="480"/>
                    <a:pt x="1" y="1073"/>
                  </a:cubicBezTo>
                  <a:cubicBezTo>
                    <a:pt x="1" y="1711"/>
                    <a:pt x="525" y="2137"/>
                    <a:pt x="1074" y="2137"/>
                  </a:cubicBezTo>
                  <a:cubicBezTo>
                    <a:pt x="1336" y="2137"/>
                    <a:pt x="1604" y="2039"/>
                    <a:pt x="1822" y="1821"/>
                  </a:cubicBezTo>
                  <a:cubicBezTo>
                    <a:pt x="2497" y="1154"/>
                    <a:pt x="2017" y="0"/>
                    <a:pt x="1066"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178" name="Google Shape;2178;p104"/>
            <p:cNvSpPr/>
            <p:nvPr/>
          </p:nvSpPr>
          <p:spPr>
            <a:xfrm>
              <a:off x="1837775" y="2485550"/>
              <a:ext cx="62425" cy="53300"/>
            </a:xfrm>
            <a:custGeom>
              <a:avLst/>
              <a:gdLst/>
              <a:ahLst/>
              <a:cxnLst/>
              <a:rect l="l" t="t" r="r" b="b"/>
              <a:pathLst>
                <a:path w="2497" h="2132" extrusionOk="0">
                  <a:moveTo>
                    <a:pt x="1066" y="1"/>
                  </a:moveTo>
                  <a:cubicBezTo>
                    <a:pt x="481" y="1"/>
                    <a:pt x="1" y="480"/>
                    <a:pt x="1" y="1066"/>
                  </a:cubicBezTo>
                  <a:cubicBezTo>
                    <a:pt x="1" y="1708"/>
                    <a:pt x="527" y="2131"/>
                    <a:pt x="1074" y="2131"/>
                  </a:cubicBezTo>
                  <a:cubicBezTo>
                    <a:pt x="1337" y="2131"/>
                    <a:pt x="1605" y="2033"/>
                    <a:pt x="1822" y="1814"/>
                  </a:cubicBezTo>
                  <a:cubicBezTo>
                    <a:pt x="2497" y="1147"/>
                    <a:pt x="2017" y="1"/>
                    <a:pt x="1066"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179" name="Google Shape;2179;p104"/>
            <p:cNvSpPr/>
            <p:nvPr/>
          </p:nvSpPr>
          <p:spPr>
            <a:xfrm>
              <a:off x="1837775" y="2409350"/>
              <a:ext cx="62425" cy="53350"/>
            </a:xfrm>
            <a:custGeom>
              <a:avLst/>
              <a:gdLst/>
              <a:ahLst/>
              <a:cxnLst/>
              <a:rect l="l" t="t" r="r" b="b"/>
              <a:pathLst>
                <a:path w="2497" h="2134" extrusionOk="0">
                  <a:moveTo>
                    <a:pt x="1066" y="0"/>
                  </a:moveTo>
                  <a:cubicBezTo>
                    <a:pt x="481" y="0"/>
                    <a:pt x="9" y="480"/>
                    <a:pt x="1" y="1065"/>
                  </a:cubicBezTo>
                  <a:cubicBezTo>
                    <a:pt x="1" y="1709"/>
                    <a:pt x="526" y="2133"/>
                    <a:pt x="1075" y="2133"/>
                  </a:cubicBezTo>
                  <a:cubicBezTo>
                    <a:pt x="1337" y="2133"/>
                    <a:pt x="1604" y="2036"/>
                    <a:pt x="1822" y="1821"/>
                  </a:cubicBezTo>
                  <a:cubicBezTo>
                    <a:pt x="2497" y="1146"/>
                    <a:pt x="2017" y="0"/>
                    <a:pt x="1066"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180" name="Google Shape;2180;p104"/>
            <p:cNvSpPr/>
            <p:nvPr/>
          </p:nvSpPr>
          <p:spPr>
            <a:xfrm>
              <a:off x="1837775" y="2333125"/>
              <a:ext cx="62425" cy="53450"/>
            </a:xfrm>
            <a:custGeom>
              <a:avLst/>
              <a:gdLst/>
              <a:ahLst/>
              <a:cxnLst/>
              <a:rect l="l" t="t" r="r" b="b"/>
              <a:pathLst>
                <a:path w="2497" h="2138" extrusionOk="0">
                  <a:moveTo>
                    <a:pt x="1066" y="1"/>
                  </a:moveTo>
                  <a:cubicBezTo>
                    <a:pt x="481" y="1"/>
                    <a:pt x="1" y="480"/>
                    <a:pt x="1" y="1066"/>
                  </a:cubicBezTo>
                  <a:cubicBezTo>
                    <a:pt x="1" y="1709"/>
                    <a:pt x="526" y="2137"/>
                    <a:pt x="1075" y="2137"/>
                  </a:cubicBezTo>
                  <a:cubicBezTo>
                    <a:pt x="1337" y="2137"/>
                    <a:pt x="1604" y="2040"/>
                    <a:pt x="1822" y="1822"/>
                  </a:cubicBezTo>
                  <a:cubicBezTo>
                    <a:pt x="2497" y="1147"/>
                    <a:pt x="2017" y="1"/>
                    <a:pt x="1066"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181" name="Google Shape;2181;p104"/>
            <p:cNvSpPr/>
            <p:nvPr/>
          </p:nvSpPr>
          <p:spPr>
            <a:xfrm>
              <a:off x="1837775" y="2256925"/>
              <a:ext cx="62575" cy="53425"/>
            </a:xfrm>
            <a:custGeom>
              <a:avLst/>
              <a:gdLst/>
              <a:ahLst/>
              <a:cxnLst/>
              <a:rect l="l" t="t" r="r" b="b"/>
              <a:pathLst>
                <a:path w="2503" h="2137" extrusionOk="0">
                  <a:moveTo>
                    <a:pt x="1076" y="0"/>
                  </a:moveTo>
                  <a:cubicBezTo>
                    <a:pt x="1073" y="0"/>
                    <a:pt x="1069" y="0"/>
                    <a:pt x="1066" y="0"/>
                  </a:cubicBezTo>
                  <a:cubicBezTo>
                    <a:pt x="481" y="0"/>
                    <a:pt x="1" y="480"/>
                    <a:pt x="1" y="1065"/>
                  </a:cubicBezTo>
                  <a:cubicBezTo>
                    <a:pt x="1" y="1709"/>
                    <a:pt x="530" y="2137"/>
                    <a:pt x="1081" y="2137"/>
                  </a:cubicBezTo>
                  <a:cubicBezTo>
                    <a:pt x="1344" y="2137"/>
                    <a:pt x="1612" y="2039"/>
                    <a:pt x="1830" y="1821"/>
                  </a:cubicBezTo>
                  <a:cubicBezTo>
                    <a:pt x="2502" y="1149"/>
                    <a:pt x="2028" y="0"/>
                    <a:pt x="1076"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182" name="Google Shape;2182;p104"/>
            <p:cNvSpPr/>
            <p:nvPr/>
          </p:nvSpPr>
          <p:spPr>
            <a:xfrm>
              <a:off x="1837775" y="2180700"/>
              <a:ext cx="62425" cy="53350"/>
            </a:xfrm>
            <a:custGeom>
              <a:avLst/>
              <a:gdLst/>
              <a:ahLst/>
              <a:cxnLst/>
              <a:rect l="l" t="t" r="r" b="b"/>
              <a:pathLst>
                <a:path w="2497" h="2134" extrusionOk="0">
                  <a:moveTo>
                    <a:pt x="1066" y="1"/>
                  </a:moveTo>
                  <a:cubicBezTo>
                    <a:pt x="481" y="1"/>
                    <a:pt x="9" y="480"/>
                    <a:pt x="1" y="1066"/>
                  </a:cubicBezTo>
                  <a:cubicBezTo>
                    <a:pt x="1" y="1709"/>
                    <a:pt x="526" y="2133"/>
                    <a:pt x="1075" y="2133"/>
                  </a:cubicBezTo>
                  <a:cubicBezTo>
                    <a:pt x="1337" y="2133"/>
                    <a:pt x="1604" y="2037"/>
                    <a:pt x="1822" y="1822"/>
                  </a:cubicBezTo>
                  <a:cubicBezTo>
                    <a:pt x="2497" y="1147"/>
                    <a:pt x="2017" y="1"/>
                    <a:pt x="1066"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183" name="Google Shape;2183;p104"/>
            <p:cNvSpPr/>
            <p:nvPr/>
          </p:nvSpPr>
          <p:spPr>
            <a:xfrm>
              <a:off x="1837775" y="2104500"/>
              <a:ext cx="62425" cy="53325"/>
            </a:xfrm>
            <a:custGeom>
              <a:avLst/>
              <a:gdLst/>
              <a:ahLst/>
              <a:cxnLst/>
              <a:rect l="l" t="t" r="r" b="b"/>
              <a:pathLst>
                <a:path w="2497" h="2133" extrusionOk="0">
                  <a:moveTo>
                    <a:pt x="1066" y="0"/>
                  </a:moveTo>
                  <a:cubicBezTo>
                    <a:pt x="481" y="0"/>
                    <a:pt x="1" y="480"/>
                    <a:pt x="1" y="1065"/>
                  </a:cubicBezTo>
                  <a:cubicBezTo>
                    <a:pt x="1" y="1709"/>
                    <a:pt x="526" y="2133"/>
                    <a:pt x="1075" y="2133"/>
                  </a:cubicBezTo>
                  <a:cubicBezTo>
                    <a:pt x="1337" y="2133"/>
                    <a:pt x="1604" y="2036"/>
                    <a:pt x="1822" y="1821"/>
                  </a:cubicBezTo>
                  <a:cubicBezTo>
                    <a:pt x="2497" y="1146"/>
                    <a:pt x="2017" y="0"/>
                    <a:pt x="1066"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184" name="Google Shape;2184;p104"/>
            <p:cNvSpPr/>
            <p:nvPr/>
          </p:nvSpPr>
          <p:spPr>
            <a:xfrm>
              <a:off x="1837775" y="2028275"/>
              <a:ext cx="62425" cy="53450"/>
            </a:xfrm>
            <a:custGeom>
              <a:avLst/>
              <a:gdLst/>
              <a:ahLst/>
              <a:cxnLst/>
              <a:rect l="l" t="t" r="r" b="b"/>
              <a:pathLst>
                <a:path w="2497" h="2138" extrusionOk="0">
                  <a:moveTo>
                    <a:pt x="1066" y="1"/>
                  </a:moveTo>
                  <a:cubicBezTo>
                    <a:pt x="481" y="1"/>
                    <a:pt x="9" y="480"/>
                    <a:pt x="1" y="1065"/>
                  </a:cubicBezTo>
                  <a:cubicBezTo>
                    <a:pt x="1" y="1709"/>
                    <a:pt x="526" y="2137"/>
                    <a:pt x="1075" y="2137"/>
                  </a:cubicBezTo>
                  <a:cubicBezTo>
                    <a:pt x="1337" y="2137"/>
                    <a:pt x="1604" y="2040"/>
                    <a:pt x="1822" y="1821"/>
                  </a:cubicBezTo>
                  <a:cubicBezTo>
                    <a:pt x="2497" y="1147"/>
                    <a:pt x="2017" y="1"/>
                    <a:pt x="1066"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185" name="Google Shape;2185;p104"/>
            <p:cNvSpPr/>
            <p:nvPr/>
          </p:nvSpPr>
          <p:spPr>
            <a:xfrm>
              <a:off x="1837775" y="1952050"/>
              <a:ext cx="62425" cy="53450"/>
            </a:xfrm>
            <a:custGeom>
              <a:avLst/>
              <a:gdLst/>
              <a:ahLst/>
              <a:cxnLst/>
              <a:rect l="l" t="t" r="r" b="b"/>
              <a:pathLst>
                <a:path w="2497" h="2138" extrusionOk="0">
                  <a:moveTo>
                    <a:pt x="1066" y="1"/>
                  </a:moveTo>
                  <a:cubicBezTo>
                    <a:pt x="481" y="9"/>
                    <a:pt x="9" y="481"/>
                    <a:pt x="1" y="1074"/>
                  </a:cubicBezTo>
                  <a:cubicBezTo>
                    <a:pt x="1" y="1712"/>
                    <a:pt x="525" y="2138"/>
                    <a:pt x="1074" y="2138"/>
                  </a:cubicBezTo>
                  <a:cubicBezTo>
                    <a:pt x="1336" y="2138"/>
                    <a:pt x="1604" y="2040"/>
                    <a:pt x="1822" y="1822"/>
                  </a:cubicBezTo>
                  <a:cubicBezTo>
                    <a:pt x="2497" y="1155"/>
                    <a:pt x="2017" y="1"/>
                    <a:pt x="1066"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186" name="Google Shape;2186;p104"/>
            <p:cNvSpPr/>
            <p:nvPr/>
          </p:nvSpPr>
          <p:spPr>
            <a:xfrm>
              <a:off x="1837775" y="1647400"/>
              <a:ext cx="62425" cy="53450"/>
            </a:xfrm>
            <a:custGeom>
              <a:avLst/>
              <a:gdLst/>
              <a:ahLst/>
              <a:cxnLst/>
              <a:rect l="l" t="t" r="r" b="b"/>
              <a:pathLst>
                <a:path w="2497" h="2138" extrusionOk="0">
                  <a:moveTo>
                    <a:pt x="1066" y="1"/>
                  </a:moveTo>
                  <a:cubicBezTo>
                    <a:pt x="481" y="9"/>
                    <a:pt x="9" y="481"/>
                    <a:pt x="1" y="1066"/>
                  </a:cubicBezTo>
                  <a:cubicBezTo>
                    <a:pt x="1" y="1710"/>
                    <a:pt x="526" y="2138"/>
                    <a:pt x="1075" y="2138"/>
                  </a:cubicBezTo>
                  <a:cubicBezTo>
                    <a:pt x="1337" y="2138"/>
                    <a:pt x="1604" y="2040"/>
                    <a:pt x="1822" y="1822"/>
                  </a:cubicBezTo>
                  <a:cubicBezTo>
                    <a:pt x="2497" y="1147"/>
                    <a:pt x="2017" y="1"/>
                    <a:pt x="1066"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187" name="Google Shape;2187;p104"/>
            <p:cNvSpPr/>
            <p:nvPr/>
          </p:nvSpPr>
          <p:spPr>
            <a:xfrm>
              <a:off x="1837775" y="1571400"/>
              <a:ext cx="62425" cy="53250"/>
            </a:xfrm>
            <a:custGeom>
              <a:avLst/>
              <a:gdLst/>
              <a:ahLst/>
              <a:cxnLst/>
              <a:rect l="l" t="t" r="r" b="b"/>
              <a:pathLst>
                <a:path w="2497" h="2130" extrusionOk="0">
                  <a:moveTo>
                    <a:pt x="1066" y="1"/>
                  </a:moveTo>
                  <a:cubicBezTo>
                    <a:pt x="481" y="1"/>
                    <a:pt x="9" y="472"/>
                    <a:pt x="1" y="1066"/>
                  </a:cubicBezTo>
                  <a:cubicBezTo>
                    <a:pt x="1" y="1703"/>
                    <a:pt x="525" y="2129"/>
                    <a:pt x="1074" y="2129"/>
                  </a:cubicBezTo>
                  <a:cubicBezTo>
                    <a:pt x="1336" y="2129"/>
                    <a:pt x="1604" y="2032"/>
                    <a:pt x="1822" y="1813"/>
                  </a:cubicBezTo>
                  <a:cubicBezTo>
                    <a:pt x="2497" y="1147"/>
                    <a:pt x="2017" y="1"/>
                    <a:pt x="1066"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188" name="Google Shape;2188;p104"/>
            <p:cNvSpPr/>
            <p:nvPr/>
          </p:nvSpPr>
          <p:spPr>
            <a:xfrm>
              <a:off x="1837775" y="1418975"/>
              <a:ext cx="62425" cy="53350"/>
            </a:xfrm>
            <a:custGeom>
              <a:avLst/>
              <a:gdLst/>
              <a:ahLst/>
              <a:cxnLst/>
              <a:rect l="l" t="t" r="r" b="b"/>
              <a:pathLst>
                <a:path w="2497" h="2134" extrusionOk="0">
                  <a:moveTo>
                    <a:pt x="1066" y="1"/>
                  </a:moveTo>
                  <a:cubicBezTo>
                    <a:pt x="481" y="1"/>
                    <a:pt x="9" y="480"/>
                    <a:pt x="1" y="1065"/>
                  </a:cubicBezTo>
                  <a:cubicBezTo>
                    <a:pt x="1" y="1709"/>
                    <a:pt x="526" y="2133"/>
                    <a:pt x="1075" y="2133"/>
                  </a:cubicBezTo>
                  <a:cubicBezTo>
                    <a:pt x="1337" y="2133"/>
                    <a:pt x="1604" y="2037"/>
                    <a:pt x="1822" y="1822"/>
                  </a:cubicBezTo>
                  <a:cubicBezTo>
                    <a:pt x="2497" y="1147"/>
                    <a:pt x="2017" y="1"/>
                    <a:pt x="1066"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189" name="Google Shape;2189;p104"/>
            <p:cNvSpPr/>
            <p:nvPr/>
          </p:nvSpPr>
          <p:spPr>
            <a:xfrm>
              <a:off x="1837775" y="1190550"/>
              <a:ext cx="62425" cy="53325"/>
            </a:xfrm>
            <a:custGeom>
              <a:avLst/>
              <a:gdLst/>
              <a:ahLst/>
              <a:cxnLst/>
              <a:rect l="l" t="t" r="r" b="b"/>
              <a:pathLst>
                <a:path w="2497" h="2133" extrusionOk="0">
                  <a:moveTo>
                    <a:pt x="1066" y="0"/>
                  </a:moveTo>
                  <a:cubicBezTo>
                    <a:pt x="481" y="0"/>
                    <a:pt x="9" y="480"/>
                    <a:pt x="1" y="1065"/>
                  </a:cubicBezTo>
                  <a:cubicBezTo>
                    <a:pt x="1" y="1709"/>
                    <a:pt x="526" y="2133"/>
                    <a:pt x="1075" y="2133"/>
                  </a:cubicBezTo>
                  <a:cubicBezTo>
                    <a:pt x="1337" y="2133"/>
                    <a:pt x="1604" y="2036"/>
                    <a:pt x="1822" y="1821"/>
                  </a:cubicBezTo>
                  <a:cubicBezTo>
                    <a:pt x="2497" y="1146"/>
                    <a:pt x="2017" y="0"/>
                    <a:pt x="1066"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190" name="Google Shape;2190;p104"/>
            <p:cNvSpPr/>
            <p:nvPr/>
          </p:nvSpPr>
          <p:spPr>
            <a:xfrm>
              <a:off x="1837775" y="1114325"/>
              <a:ext cx="62425" cy="53350"/>
            </a:xfrm>
            <a:custGeom>
              <a:avLst/>
              <a:gdLst/>
              <a:ahLst/>
              <a:cxnLst/>
              <a:rect l="l" t="t" r="r" b="b"/>
              <a:pathLst>
                <a:path w="2497" h="2134" extrusionOk="0">
                  <a:moveTo>
                    <a:pt x="1066" y="1"/>
                  </a:moveTo>
                  <a:cubicBezTo>
                    <a:pt x="481" y="1"/>
                    <a:pt x="1" y="480"/>
                    <a:pt x="1" y="1065"/>
                  </a:cubicBezTo>
                  <a:cubicBezTo>
                    <a:pt x="1" y="1709"/>
                    <a:pt x="526" y="2133"/>
                    <a:pt x="1075" y="2133"/>
                  </a:cubicBezTo>
                  <a:cubicBezTo>
                    <a:pt x="1337" y="2133"/>
                    <a:pt x="1604" y="2037"/>
                    <a:pt x="1822" y="1822"/>
                  </a:cubicBezTo>
                  <a:cubicBezTo>
                    <a:pt x="2497" y="1147"/>
                    <a:pt x="2017" y="1"/>
                    <a:pt x="1066"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191" name="Google Shape;2191;p104"/>
            <p:cNvSpPr/>
            <p:nvPr/>
          </p:nvSpPr>
          <p:spPr>
            <a:xfrm>
              <a:off x="1761775" y="3171075"/>
              <a:ext cx="62225" cy="53275"/>
            </a:xfrm>
            <a:custGeom>
              <a:avLst/>
              <a:gdLst/>
              <a:ahLst/>
              <a:cxnLst/>
              <a:rect l="l" t="t" r="r" b="b"/>
              <a:pathLst>
                <a:path w="2489" h="2131" extrusionOk="0">
                  <a:moveTo>
                    <a:pt x="1065" y="0"/>
                  </a:moveTo>
                  <a:cubicBezTo>
                    <a:pt x="472" y="0"/>
                    <a:pt x="0" y="472"/>
                    <a:pt x="0" y="1065"/>
                  </a:cubicBezTo>
                  <a:cubicBezTo>
                    <a:pt x="0" y="1707"/>
                    <a:pt x="523" y="2131"/>
                    <a:pt x="1067" y="2131"/>
                  </a:cubicBezTo>
                  <a:cubicBezTo>
                    <a:pt x="1329" y="2131"/>
                    <a:pt x="1597" y="2032"/>
                    <a:pt x="1813" y="1813"/>
                  </a:cubicBezTo>
                  <a:cubicBezTo>
                    <a:pt x="2488" y="1146"/>
                    <a:pt x="2008" y="0"/>
                    <a:pt x="1065"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192" name="Google Shape;2192;p104"/>
            <p:cNvSpPr/>
            <p:nvPr/>
          </p:nvSpPr>
          <p:spPr>
            <a:xfrm>
              <a:off x="1761775" y="3094850"/>
              <a:ext cx="62225" cy="53350"/>
            </a:xfrm>
            <a:custGeom>
              <a:avLst/>
              <a:gdLst/>
              <a:ahLst/>
              <a:cxnLst/>
              <a:rect l="l" t="t" r="r" b="b"/>
              <a:pathLst>
                <a:path w="2489" h="2134" extrusionOk="0">
                  <a:moveTo>
                    <a:pt x="1065" y="1"/>
                  </a:moveTo>
                  <a:cubicBezTo>
                    <a:pt x="472" y="1"/>
                    <a:pt x="0" y="480"/>
                    <a:pt x="0" y="1066"/>
                  </a:cubicBezTo>
                  <a:cubicBezTo>
                    <a:pt x="0" y="1709"/>
                    <a:pt x="526" y="2134"/>
                    <a:pt x="1072" y="2134"/>
                  </a:cubicBezTo>
                  <a:cubicBezTo>
                    <a:pt x="1333" y="2134"/>
                    <a:pt x="1598" y="2037"/>
                    <a:pt x="1813" y="1822"/>
                  </a:cubicBezTo>
                  <a:cubicBezTo>
                    <a:pt x="2488" y="1147"/>
                    <a:pt x="2008" y="1"/>
                    <a:pt x="1065"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193" name="Google Shape;2193;p104"/>
            <p:cNvSpPr/>
            <p:nvPr/>
          </p:nvSpPr>
          <p:spPr>
            <a:xfrm>
              <a:off x="1761775" y="3018650"/>
              <a:ext cx="62225" cy="53425"/>
            </a:xfrm>
            <a:custGeom>
              <a:avLst/>
              <a:gdLst/>
              <a:ahLst/>
              <a:cxnLst/>
              <a:rect l="l" t="t" r="r" b="b"/>
              <a:pathLst>
                <a:path w="2489" h="2137" extrusionOk="0">
                  <a:moveTo>
                    <a:pt x="1065" y="0"/>
                  </a:moveTo>
                  <a:cubicBezTo>
                    <a:pt x="472" y="0"/>
                    <a:pt x="0" y="480"/>
                    <a:pt x="0" y="1065"/>
                  </a:cubicBezTo>
                  <a:cubicBezTo>
                    <a:pt x="0" y="1709"/>
                    <a:pt x="526" y="2137"/>
                    <a:pt x="1072" y="2137"/>
                  </a:cubicBezTo>
                  <a:cubicBezTo>
                    <a:pt x="1332" y="2137"/>
                    <a:pt x="1598" y="2039"/>
                    <a:pt x="1813" y="1821"/>
                  </a:cubicBezTo>
                  <a:cubicBezTo>
                    <a:pt x="2488" y="1146"/>
                    <a:pt x="2008" y="0"/>
                    <a:pt x="1065"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194" name="Google Shape;2194;p104"/>
            <p:cNvSpPr/>
            <p:nvPr/>
          </p:nvSpPr>
          <p:spPr>
            <a:xfrm>
              <a:off x="1761775" y="2561575"/>
              <a:ext cx="62225" cy="53425"/>
            </a:xfrm>
            <a:custGeom>
              <a:avLst/>
              <a:gdLst/>
              <a:ahLst/>
              <a:cxnLst/>
              <a:rect l="l" t="t" r="r" b="b"/>
              <a:pathLst>
                <a:path w="2489" h="2137" extrusionOk="0">
                  <a:moveTo>
                    <a:pt x="1065" y="0"/>
                  </a:moveTo>
                  <a:cubicBezTo>
                    <a:pt x="472" y="8"/>
                    <a:pt x="0" y="480"/>
                    <a:pt x="0" y="1073"/>
                  </a:cubicBezTo>
                  <a:cubicBezTo>
                    <a:pt x="0" y="1711"/>
                    <a:pt x="525" y="2137"/>
                    <a:pt x="1071" y="2137"/>
                  </a:cubicBezTo>
                  <a:cubicBezTo>
                    <a:pt x="1332" y="2137"/>
                    <a:pt x="1598" y="2039"/>
                    <a:pt x="1813" y="1821"/>
                  </a:cubicBezTo>
                  <a:cubicBezTo>
                    <a:pt x="2488" y="1154"/>
                    <a:pt x="2008" y="0"/>
                    <a:pt x="1065"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195" name="Google Shape;2195;p104"/>
            <p:cNvSpPr/>
            <p:nvPr/>
          </p:nvSpPr>
          <p:spPr>
            <a:xfrm>
              <a:off x="1761775" y="2485550"/>
              <a:ext cx="62225" cy="53300"/>
            </a:xfrm>
            <a:custGeom>
              <a:avLst/>
              <a:gdLst/>
              <a:ahLst/>
              <a:cxnLst/>
              <a:rect l="l" t="t" r="r" b="b"/>
              <a:pathLst>
                <a:path w="2489" h="2132" extrusionOk="0">
                  <a:moveTo>
                    <a:pt x="1065" y="1"/>
                  </a:moveTo>
                  <a:cubicBezTo>
                    <a:pt x="472" y="1"/>
                    <a:pt x="0" y="480"/>
                    <a:pt x="0" y="1066"/>
                  </a:cubicBezTo>
                  <a:cubicBezTo>
                    <a:pt x="0" y="1708"/>
                    <a:pt x="523" y="2131"/>
                    <a:pt x="1067" y="2131"/>
                  </a:cubicBezTo>
                  <a:cubicBezTo>
                    <a:pt x="1329" y="2131"/>
                    <a:pt x="1597" y="2033"/>
                    <a:pt x="1813" y="1814"/>
                  </a:cubicBezTo>
                  <a:cubicBezTo>
                    <a:pt x="2488" y="1147"/>
                    <a:pt x="2008" y="1"/>
                    <a:pt x="1065"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196" name="Google Shape;2196;p104"/>
            <p:cNvSpPr/>
            <p:nvPr/>
          </p:nvSpPr>
          <p:spPr>
            <a:xfrm>
              <a:off x="1761775" y="2409350"/>
              <a:ext cx="62225" cy="53350"/>
            </a:xfrm>
            <a:custGeom>
              <a:avLst/>
              <a:gdLst/>
              <a:ahLst/>
              <a:cxnLst/>
              <a:rect l="l" t="t" r="r" b="b"/>
              <a:pathLst>
                <a:path w="2489" h="2134" extrusionOk="0">
                  <a:moveTo>
                    <a:pt x="1065" y="0"/>
                  </a:moveTo>
                  <a:cubicBezTo>
                    <a:pt x="472" y="0"/>
                    <a:pt x="0" y="480"/>
                    <a:pt x="0" y="1065"/>
                  </a:cubicBezTo>
                  <a:cubicBezTo>
                    <a:pt x="0" y="1709"/>
                    <a:pt x="526" y="2133"/>
                    <a:pt x="1072" y="2133"/>
                  </a:cubicBezTo>
                  <a:cubicBezTo>
                    <a:pt x="1333" y="2133"/>
                    <a:pt x="1598" y="2036"/>
                    <a:pt x="1813" y="1821"/>
                  </a:cubicBezTo>
                  <a:cubicBezTo>
                    <a:pt x="2488" y="1146"/>
                    <a:pt x="2008" y="0"/>
                    <a:pt x="1065"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197" name="Google Shape;2197;p104"/>
            <p:cNvSpPr/>
            <p:nvPr/>
          </p:nvSpPr>
          <p:spPr>
            <a:xfrm>
              <a:off x="1761775" y="2333125"/>
              <a:ext cx="62225" cy="53450"/>
            </a:xfrm>
            <a:custGeom>
              <a:avLst/>
              <a:gdLst/>
              <a:ahLst/>
              <a:cxnLst/>
              <a:rect l="l" t="t" r="r" b="b"/>
              <a:pathLst>
                <a:path w="2489" h="2138" extrusionOk="0">
                  <a:moveTo>
                    <a:pt x="1065" y="1"/>
                  </a:moveTo>
                  <a:cubicBezTo>
                    <a:pt x="472" y="1"/>
                    <a:pt x="0" y="480"/>
                    <a:pt x="0" y="1066"/>
                  </a:cubicBezTo>
                  <a:cubicBezTo>
                    <a:pt x="0" y="1709"/>
                    <a:pt x="526" y="2137"/>
                    <a:pt x="1072" y="2137"/>
                  </a:cubicBezTo>
                  <a:cubicBezTo>
                    <a:pt x="1332" y="2137"/>
                    <a:pt x="1598" y="2040"/>
                    <a:pt x="1813" y="1822"/>
                  </a:cubicBezTo>
                  <a:cubicBezTo>
                    <a:pt x="2488" y="1147"/>
                    <a:pt x="2008" y="1"/>
                    <a:pt x="1065"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198" name="Google Shape;2198;p104"/>
            <p:cNvSpPr/>
            <p:nvPr/>
          </p:nvSpPr>
          <p:spPr>
            <a:xfrm>
              <a:off x="1761775" y="2256925"/>
              <a:ext cx="62350" cy="53425"/>
            </a:xfrm>
            <a:custGeom>
              <a:avLst/>
              <a:gdLst/>
              <a:ahLst/>
              <a:cxnLst/>
              <a:rect l="l" t="t" r="r" b="b"/>
              <a:pathLst>
                <a:path w="2494" h="2137" extrusionOk="0">
                  <a:moveTo>
                    <a:pt x="1075" y="0"/>
                  </a:moveTo>
                  <a:cubicBezTo>
                    <a:pt x="1072" y="0"/>
                    <a:pt x="1069" y="0"/>
                    <a:pt x="1065" y="0"/>
                  </a:cubicBezTo>
                  <a:cubicBezTo>
                    <a:pt x="472" y="0"/>
                    <a:pt x="0" y="480"/>
                    <a:pt x="0" y="1065"/>
                  </a:cubicBezTo>
                  <a:cubicBezTo>
                    <a:pt x="0" y="1709"/>
                    <a:pt x="526" y="2137"/>
                    <a:pt x="1074" y="2137"/>
                  </a:cubicBezTo>
                  <a:cubicBezTo>
                    <a:pt x="1336" y="2137"/>
                    <a:pt x="1603" y="2039"/>
                    <a:pt x="1821" y="1821"/>
                  </a:cubicBezTo>
                  <a:cubicBezTo>
                    <a:pt x="2494" y="1149"/>
                    <a:pt x="2020" y="0"/>
                    <a:pt x="1075"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199" name="Google Shape;2199;p104"/>
            <p:cNvSpPr/>
            <p:nvPr/>
          </p:nvSpPr>
          <p:spPr>
            <a:xfrm>
              <a:off x="1761775" y="2180700"/>
              <a:ext cx="62225" cy="53350"/>
            </a:xfrm>
            <a:custGeom>
              <a:avLst/>
              <a:gdLst/>
              <a:ahLst/>
              <a:cxnLst/>
              <a:rect l="l" t="t" r="r" b="b"/>
              <a:pathLst>
                <a:path w="2489" h="2134" extrusionOk="0">
                  <a:moveTo>
                    <a:pt x="1065" y="1"/>
                  </a:moveTo>
                  <a:cubicBezTo>
                    <a:pt x="472" y="1"/>
                    <a:pt x="0" y="480"/>
                    <a:pt x="0" y="1066"/>
                  </a:cubicBezTo>
                  <a:cubicBezTo>
                    <a:pt x="0" y="1709"/>
                    <a:pt x="526" y="2133"/>
                    <a:pt x="1072" y="2133"/>
                  </a:cubicBezTo>
                  <a:cubicBezTo>
                    <a:pt x="1333" y="2133"/>
                    <a:pt x="1598" y="2037"/>
                    <a:pt x="1813" y="1822"/>
                  </a:cubicBezTo>
                  <a:cubicBezTo>
                    <a:pt x="2488" y="1147"/>
                    <a:pt x="2008" y="1"/>
                    <a:pt x="1065"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200" name="Google Shape;2200;p104"/>
            <p:cNvSpPr/>
            <p:nvPr/>
          </p:nvSpPr>
          <p:spPr>
            <a:xfrm>
              <a:off x="1761775" y="2104500"/>
              <a:ext cx="62225" cy="53325"/>
            </a:xfrm>
            <a:custGeom>
              <a:avLst/>
              <a:gdLst/>
              <a:ahLst/>
              <a:cxnLst/>
              <a:rect l="l" t="t" r="r" b="b"/>
              <a:pathLst>
                <a:path w="2489" h="2133" extrusionOk="0">
                  <a:moveTo>
                    <a:pt x="1065" y="0"/>
                  </a:moveTo>
                  <a:cubicBezTo>
                    <a:pt x="472" y="0"/>
                    <a:pt x="0" y="480"/>
                    <a:pt x="0" y="1065"/>
                  </a:cubicBezTo>
                  <a:cubicBezTo>
                    <a:pt x="0" y="1709"/>
                    <a:pt x="526" y="2133"/>
                    <a:pt x="1072" y="2133"/>
                  </a:cubicBezTo>
                  <a:cubicBezTo>
                    <a:pt x="1333" y="2133"/>
                    <a:pt x="1598" y="2036"/>
                    <a:pt x="1813" y="1821"/>
                  </a:cubicBezTo>
                  <a:cubicBezTo>
                    <a:pt x="2488" y="1146"/>
                    <a:pt x="2008" y="0"/>
                    <a:pt x="1065"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201" name="Google Shape;2201;p104"/>
            <p:cNvSpPr/>
            <p:nvPr/>
          </p:nvSpPr>
          <p:spPr>
            <a:xfrm>
              <a:off x="1761775" y="2028275"/>
              <a:ext cx="62225" cy="53450"/>
            </a:xfrm>
            <a:custGeom>
              <a:avLst/>
              <a:gdLst/>
              <a:ahLst/>
              <a:cxnLst/>
              <a:rect l="l" t="t" r="r" b="b"/>
              <a:pathLst>
                <a:path w="2489" h="2138" extrusionOk="0">
                  <a:moveTo>
                    <a:pt x="1065" y="1"/>
                  </a:moveTo>
                  <a:cubicBezTo>
                    <a:pt x="472" y="1"/>
                    <a:pt x="0" y="480"/>
                    <a:pt x="0" y="1065"/>
                  </a:cubicBezTo>
                  <a:cubicBezTo>
                    <a:pt x="0" y="1709"/>
                    <a:pt x="526" y="2137"/>
                    <a:pt x="1072" y="2137"/>
                  </a:cubicBezTo>
                  <a:cubicBezTo>
                    <a:pt x="1332" y="2137"/>
                    <a:pt x="1598" y="2040"/>
                    <a:pt x="1813" y="1821"/>
                  </a:cubicBezTo>
                  <a:cubicBezTo>
                    <a:pt x="2488" y="1147"/>
                    <a:pt x="2008" y="1"/>
                    <a:pt x="1065"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202" name="Google Shape;2202;p104"/>
            <p:cNvSpPr/>
            <p:nvPr/>
          </p:nvSpPr>
          <p:spPr>
            <a:xfrm>
              <a:off x="1761775" y="1952050"/>
              <a:ext cx="62225" cy="53450"/>
            </a:xfrm>
            <a:custGeom>
              <a:avLst/>
              <a:gdLst/>
              <a:ahLst/>
              <a:cxnLst/>
              <a:rect l="l" t="t" r="r" b="b"/>
              <a:pathLst>
                <a:path w="2489" h="2138" extrusionOk="0">
                  <a:moveTo>
                    <a:pt x="1065" y="1"/>
                  </a:moveTo>
                  <a:cubicBezTo>
                    <a:pt x="472" y="9"/>
                    <a:pt x="0" y="481"/>
                    <a:pt x="0" y="1074"/>
                  </a:cubicBezTo>
                  <a:cubicBezTo>
                    <a:pt x="0" y="1712"/>
                    <a:pt x="525" y="2138"/>
                    <a:pt x="1071" y="2138"/>
                  </a:cubicBezTo>
                  <a:cubicBezTo>
                    <a:pt x="1332" y="2138"/>
                    <a:pt x="1598" y="2040"/>
                    <a:pt x="1813" y="1822"/>
                  </a:cubicBezTo>
                  <a:cubicBezTo>
                    <a:pt x="2488" y="1155"/>
                    <a:pt x="2008" y="1"/>
                    <a:pt x="1065"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203" name="Google Shape;2203;p104"/>
            <p:cNvSpPr/>
            <p:nvPr/>
          </p:nvSpPr>
          <p:spPr>
            <a:xfrm>
              <a:off x="1761775" y="1647400"/>
              <a:ext cx="62225" cy="53450"/>
            </a:xfrm>
            <a:custGeom>
              <a:avLst/>
              <a:gdLst/>
              <a:ahLst/>
              <a:cxnLst/>
              <a:rect l="l" t="t" r="r" b="b"/>
              <a:pathLst>
                <a:path w="2489" h="2138" extrusionOk="0">
                  <a:moveTo>
                    <a:pt x="1065" y="1"/>
                  </a:moveTo>
                  <a:cubicBezTo>
                    <a:pt x="472" y="1"/>
                    <a:pt x="0" y="481"/>
                    <a:pt x="0" y="1066"/>
                  </a:cubicBezTo>
                  <a:cubicBezTo>
                    <a:pt x="0" y="1710"/>
                    <a:pt x="526" y="2138"/>
                    <a:pt x="1072" y="2138"/>
                  </a:cubicBezTo>
                  <a:cubicBezTo>
                    <a:pt x="1332" y="2138"/>
                    <a:pt x="1598" y="2040"/>
                    <a:pt x="1813" y="1822"/>
                  </a:cubicBezTo>
                  <a:cubicBezTo>
                    <a:pt x="2488" y="1147"/>
                    <a:pt x="2008" y="1"/>
                    <a:pt x="1065"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204" name="Google Shape;2204;p104"/>
            <p:cNvSpPr/>
            <p:nvPr/>
          </p:nvSpPr>
          <p:spPr>
            <a:xfrm>
              <a:off x="1761775" y="1418975"/>
              <a:ext cx="62225" cy="53350"/>
            </a:xfrm>
            <a:custGeom>
              <a:avLst/>
              <a:gdLst/>
              <a:ahLst/>
              <a:cxnLst/>
              <a:rect l="l" t="t" r="r" b="b"/>
              <a:pathLst>
                <a:path w="2489" h="2134" extrusionOk="0">
                  <a:moveTo>
                    <a:pt x="1065" y="1"/>
                  </a:moveTo>
                  <a:cubicBezTo>
                    <a:pt x="472" y="1"/>
                    <a:pt x="0" y="480"/>
                    <a:pt x="0" y="1065"/>
                  </a:cubicBezTo>
                  <a:cubicBezTo>
                    <a:pt x="0" y="1709"/>
                    <a:pt x="526" y="2133"/>
                    <a:pt x="1072" y="2133"/>
                  </a:cubicBezTo>
                  <a:cubicBezTo>
                    <a:pt x="1333" y="2133"/>
                    <a:pt x="1598" y="2037"/>
                    <a:pt x="1813" y="1822"/>
                  </a:cubicBezTo>
                  <a:cubicBezTo>
                    <a:pt x="2488" y="1147"/>
                    <a:pt x="2008" y="1"/>
                    <a:pt x="1065"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205" name="Google Shape;2205;p104"/>
            <p:cNvSpPr/>
            <p:nvPr/>
          </p:nvSpPr>
          <p:spPr>
            <a:xfrm>
              <a:off x="1761775" y="1190550"/>
              <a:ext cx="62225" cy="53325"/>
            </a:xfrm>
            <a:custGeom>
              <a:avLst/>
              <a:gdLst/>
              <a:ahLst/>
              <a:cxnLst/>
              <a:rect l="l" t="t" r="r" b="b"/>
              <a:pathLst>
                <a:path w="2489" h="2133" extrusionOk="0">
                  <a:moveTo>
                    <a:pt x="1065" y="0"/>
                  </a:moveTo>
                  <a:cubicBezTo>
                    <a:pt x="472" y="0"/>
                    <a:pt x="0" y="480"/>
                    <a:pt x="0" y="1065"/>
                  </a:cubicBezTo>
                  <a:cubicBezTo>
                    <a:pt x="0" y="1709"/>
                    <a:pt x="526" y="2133"/>
                    <a:pt x="1072" y="2133"/>
                  </a:cubicBezTo>
                  <a:cubicBezTo>
                    <a:pt x="1333" y="2133"/>
                    <a:pt x="1598" y="2036"/>
                    <a:pt x="1813" y="1821"/>
                  </a:cubicBezTo>
                  <a:cubicBezTo>
                    <a:pt x="2488" y="1146"/>
                    <a:pt x="2008" y="0"/>
                    <a:pt x="1065"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206" name="Google Shape;2206;p104"/>
            <p:cNvSpPr/>
            <p:nvPr/>
          </p:nvSpPr>
          <p:spPr>
            <a:xfrm>
              <a:off x="1761775" y="1114325"/>
              <a:ext cx="62225" cy="53350"/>
            </a:xfrm>
            <a:custGeom>
              <a:avLst/>
              <a:gdLst/>
              <a:ahLst/>
              <a:cxnLst/>
              <a:rect l="l" t="t" r="r" b="b"/>
              <a:pathLst>
                <a:path w="2489" h="2134" extrusionOk="0">
                  <a:moveTo>
                    <a:pt x="1065" y="1"/>
                  </a:moveTo>
                  <a:cubicBezTo>
                    <a:pt x="472" y="1"/>
                    <a:pt x="0" y="480"/>
                    <a:pt x="0" y="1065"/>
                  </a:cubicBezTo>
                  <a:cubicBezTo>
                    <a:pt x="0" y="1709"/>
                    <a:pt x="526" y="2133"/>
                    <a:pt x="1072" y="2133"/>
                  </a:cubicBezTo>
                  <a:cubicBezTo>
                    <a:pt x="1333" y="2133"/>
                    <a:pt x="1598" y="2037"/>
                    <a:pt x="1813" y="1822"/>
                  </a:cubicBezTo>
                  <a:cubicBezTo>
                    <a:pt x="2488" y="1147"/>
                    <a:pt x="2008" y="1"/>
                    <a:pt x="1065"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207" name="Google Shape;2207;p104"/>
            <p:cNvSpPr/>
            <p:nvPr/>
          </p:nvSpPr>
          <p:spPr>
            <a:xfrm>
              <a:off x="1685550" y="3018650"/>
              <a:ext cx="62225" cy="53425"/>
            </a:xfrm>
            <a:custGeom>
              <a:avLst/>
              <a:gdLst/>
              <a:ahLst/>
              <a:cxnLst/>
              <a:rect l="l" t="t" r="r" b="b"/>
              <a:pathLst>
                <a:path w="2489" h="2137" extrusionOk="0">
                  <a:moveTo>
                    <a:pt x="1066" y="0"/>
                  </a:moveTo>
                  <a:cubicBezTo>
                    <a:pt x="472" y="0"/>
                    <a:pt x="1" y="480"/>
                    <a:pt x="1" y="1065"/>
                  </a:cubicBezTo>
                  <a:cubicBezTo>
                    <a:pt x="1" y="1709"/>
                    <a:pt x="526" y="2137"/>
                    <a:pt x="1075" y="2137"/>
                  </a:cubicBezTo>
                  <a:cubicBezTo>
                    <a:pt x="1337" y="2137"/>
                    <a:pt x="1604" y="2039"/>
                    <a:pt x="1822" y="1821"/>
                  </a:cubicBezTo>
                  <a:cubicBezTo>
                    <a:pt x="2489" y="1146"/>
                    <a:pt x="2017" y="0"/>
                    <a:pt x="1066"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208" name="Google Shape;2208;p104"/>
            <p:cNvSpPr/>
            <p:nvPr/>
          </p:nvSpPr>
          <p:spPr>
            <a:xfrm>
              <a:off x="1685550" y="2942425"/>
              <a:ext cx="62225" cy="53450"/>
            </a:xfrm>
            <a:custGeom>
              <a:avLst/>
              <a:gdLst/>
              <a:ahLst/>
              <a:cxnLst/>
              <a:rect l="l" t="t" r="r" b="b"/>
              <a:pathLst>
                <a:path w="2489" h="2138" extrusionOk="0">
                  <a:moveTo>
                    <a:pt x="1066" y="1"/>
                  </a:moveTo>
                  <a:cubicBezTo>
                    <a:pt x="472" y="9"/>
                    <a:pt x="1" y="480"/>
                    <a:pt x="1" y="1066"/>
                  </a:cubicBezTo>
                  <a:cubicBezTo>
                    <a:pt x="1" y="1709"/>
                    <a:pt x="526" y="2137"/>
                    <a:pt x="1072" y="2137"/>
                  </a:cubicBezTo>
                  <a:cubicBezTo>
                    <a:pt x="1333" y="2137"/>
                    <a:pt x="1598" y="2040"/>
                    <a:pt x="1814" y="1822"/>
                  </a:cubicBezTo>
                  <a:cubicBezTo>
                    <a:pt x="2489" y="1147"/>
                    <a:pt x="2017" y="1"/>
                    <a:pt x="1066"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209" name="Google Shape;2209;p104"/>
            <p:cNvSpPr/>
            <p:nvPr/>
          </p:nvSpPr>
          <p:spPr>
            <a:xfrm>
              <a:off x="1685550" y="2866425"/>
              <a:ext cx="62225" cy="53275"/>
            </a:xfrm>
            <a:custGeom>
              <a:avLst/>
              <a:gdLst/>
              <a:ahLst/>
              <a:cxnLst/>
              <a:rect l="l" t="t" r="r" b="b"/>
              <a:pathLst>
                <a:path w="2489" h="2131" extrusionOk="0">
                  <a:moveTo>
                    <a:pt x="1066" y="0"/>
                  </a:moveTo>
                  <a:cubicBezTo>
                    <a:pt x="472" y="0"/>
                    <a:pt x="1" y="472"/>
                    <a:pt x="1" y="1065"/>
                  </a:cubicBezTo>
                  <a:cubicBezTo>
                    <a:pt x="1" y="1707"/>
                    <a:pt x="523" y="2131"/>
                    <a:pt x="1070" y="2131"/>
                  </a:cubicBezTo>
                  <a:cubicBezTo>
                    <a:pt x="1333" y="2131"/>
                    <a:pt x="1603" y="2032"/>
                    <a:pt x="1822" y="1813"/>
                  </a:cubicBezTo>
                  <a:cubicBezTo>
                    <a:pt x="2489" y="1146"/>
                    <a:pt x="2017" y="0"/>
                    <a:pt x="1066"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210" name="Google Shape;2210;p104"/>
            <p:cNvSpPr/>
            <p:nvPr/>
          </p:nvSpPr>
          <p:spPr>
            <a:xfrm>
              <a:off x="1685550" y="2561575"/>
              <a:ext cx="62225" cy="53425"/>
            </a:xfrm>
            <a:custGeom>
              <a:avLst/>
              <a:gdLst/>
              <a:ahLst/>
              <a:cxnLst/>
              <a:rect l="l" t="t" r="r" b="b"/>
              <a:pathLst>
                <a:path w="2489" h="2137" extrusionOk="0">
                  <a:moveTo>
                    <a:pt x="1066" y="0"/>
                  </a:moveTo>
                  <a:cubicBezTo>
                    <a:pt x="472" y="8"/>
                    <a:pt x="1" y="480"/>
                    <a:pt x="1" y="1073"/>
                  </a:cubicBezTo>
                  <a:cubicBezTo>
                    <a:pt x="1" y="1711"/>
                    <a:pt x="525" y="2137"/>
                    <a:pt x="1071" y="2137"/>
                  </a:cubicBezTo>
                  <a:cubicBezTo>
                    <a:pt x="1332" y="2137"/>
                    <a:pt x="1598" y="2039"/>
                    <a:pt x="1814" y="1821"/>
                  </a:cubicBezTo>
                  <a:cubicBezTo>
                    <a:pt x="2489" y="1154"/>
                    <a:pt x="2017" y="0"/>
                    <a:pt x="1066"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211" name="Google Shape;2211;p104"/>
            <p:cNvSpPr/>
            <p:nvPr/>
          </p:nvSpPr>
          <p:spPr>
            <a:xfrm>
              <a:off x="1685550" y="2485550"/>
              <a:ext cx="62225" cy="53300"/>
            </a:xfrm>
            <a:custGeom>
              <a:avLst/>
              <a:gdLst/>
              <a:ahLst/>
              <a:cxnLst/>
              <a:rect l="l" t="t" r="r" b="b"/>
              <a:pathLst>
                <a:path w="2489" h="2132" extrusionOk="0">
                  <a:moveTo>
                    <a:pt x="1066" y="1"/>
                  </a:moveTo>
                  <a:cubicBezTo>
                    <a:pt x="472" y="1"/>
                    <a:pt x="1" y="480"/>
                    <a:pt x="1" y="1066"/>
                  </a:cubicBezTo>
                  <a:cubicBezTo>
                    <a:pt x="1" y="1708"/>
                    <a:pt x="523" y="2131"/>
                    <a:pt x="1070" y="2131"/>
                  </a:cubicBezTo>
                  <a:cubicBezTo>
                    <a:pt x="1333" y="2131"/>
                    <a:pt x="1603" y="2033"/>
                    <a:pt x="1822" y="1814"/>
                  </a:cubicBezTo>
                  <a:cubicBezTo>
                    <a:pt x="2489" y="1147"/>
                    <a:pt x="2017" y="1"/>
                    <a:pt x="1066"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212" name="Google Shape;2212;p104"/>
            <p:cNvSpPr/>
            <p:nvPr/>
          </p:nvSpPr>
          <p:spPr>
            <a:xfrm>
              <a:off x="1685550" y="2409350"/>
              <a:ext cx="62225" cy="53350"/>
            </a:xfrm>
            <a:custGeom>
              <a:avLst/>
              <a:gdLst/>
              <a:ahLst/>
              <a:cxnLst/>
              <a:rect l="l" t="t" r="r" b="b"/>
              <a:pathLst>
                <a:path w="2489" h="2134" extrusionOk="0">
                  <a:moveTo>
                    <a:pt x="1066" y="0"/>
                  </a:moveTo>
                  <a:cubicBezTo>
                    <a:pt x="472" y="0"/>
                    <a:pt x="1" y="480"/>
                    <a:pt x="1" y="1065"/>
                  </a:cubicBezTo>
                  <a:cubicBezTo>
                    <a:pt x="1" y="1709"/>
                    <a:pt x="526" y="2133"/>
                    <a:pt x="1072" y="2133"/>
                  </a:cubicBezTo>
                  <a:cubicBezTo>
                    <a:pt x="1333" y="2133"/>
                    <a:pt x="1598" y="2036"/>
                    <a:pt x="1814" y="1821"/>
                  </a:cubicBezTo>
                  <a:cubicBezTo>
                    <a:pt x="2489" y="1146"/>
                    <a:pt x="2017" y="0"/>
                    <a:pt x="1066"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213" name="Google Shape;2213;p104"/>
            <p:cNvSpPr/>
            <p:nvPr/>
          </p:nvSpPr>
          <p:spPr>
            <a:xfrm>
              <a:off x="1685550" y="2333125"/>
              <a:ext cx="62225" cy="53450"/>
            </a:xfrm>
            <a:custGeom>
              <a:avLst/>
              <a:gdLst/>
              <a:ahLst/>
              <a:cxnLst/>
              <a:rect l="l" t="t" r="r" b="b"/>
              <a:pathLst>
                <a:path w="2489" h="2138" extrusionOk="0">
                  <a:moveTo>
                    <a:pt x="1066" y="1"/>
                  </a:moveTo>
                  <a:cubicBezTo>
                    <a:pt x="472" y="1"/>
                    <a:pt x="1" y="480"/>
                    <a:pt x="1" y="1066"/>
                  </a:cubicBezTo>
                  <a:cubicBezTo>
                    <a:pt x="1" y="1709"/>
                    <a:pt x="526" y="2137"/>
                    <a:pt x="1072" y="2137"/>
                  </a:cubicBezTo>
                  <a:cubicBezTo>
                    <a:pt x="1333" y="2137"/>
                    <a:pt x="1598" y="2040"/>
                    <a:pt x="1814" y="1822"/>
                  </a:cubicBezTo>
                  <a:cubicBezTo>
                    <a:pt x="2489" y="1147"/>
                    <a:pt x="2017" y="1"/>
                    <a:pt x="1066"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214" name="Google Shape;2214;p104"/>
            <p:cNvSpPr/>
            <p:nvPr/>
          </p:nvSpPr>
          <p:spPr>
            <a:xfrm>
              <a:off x="1685550" y="2256925"/>
              <a:ext cx="62375" cy="53425"/>
            </a:xfrm>
            <a:custGeom>
              <a:avLst/>
              <a:gdLst/>
              <a:ahLst/>
              <a:cxnLst/>
              <a:rect l="l" t="t" r="r" b="b"/>
              <a:pathLst>
                <a:path w="2495" h="2137" extrusionOk="0">
                  <a:moveTo>
                    <a:pt x="1076" y="0"/>
                  </a:moveTo>
                  <a:cubicBezTo>
                    <a:pt x="1073" y="0"/>
                    <a:pt x="1069" y="0"/>
                    <a:pt x="1066" y="0"/>
                  </a:cubicBezTo>
                  <a:cubicBezTo>
                    <a:pt x="472" y="0"/>
                    <a:pt x="1" y="480"/>
                    <a:pt x="1" y="1065"/>
                  </a:cubicBezTo>
                  <a:cubicBezTo>
                    <a:pt x="1" y="1709"/>
                    <a:pt x="526" y="2137"/>
                    <a:pt x="1075" y="2137"/>
                  </a:cubicBezTo>
                  <a:cubicBezTo>
                    <a:pt x="1337" y="2137"/>
                    <a:pt x="1604" y="2039"/>
                    <a:pt x="1822" y="1821"/>
                  </a:cubicBezTo>
                  <a:cubicBezTo>
                    <a:pt x="2494" y="1149"/>
                    <a:pt x="2020" y="0"/>
                    <a:pt x="1076"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215" name="Google Shape;2215;p104"/>
            <p:cNvSpPr/>
            <p:nvPr/>
          </p:nvSpPr>
          <p:spPr>
            <a:xfrm>
              <a:off x="1685550" y="2180700"/>
              <a:ext cx="62225" cy="53350"/>
            </a:xfrm>
            <a:custGeom>
              <a:avLst/>
              <a:gdLst/>
              <a:ahLst/>
              <a:cxnLst/>
              <a:rect l="l" t="t" r="r" b="b"/>
              <a:pathLst>
                <a:path w="2489" h="2134" extrusionOk="0">
                  <a:moveTo>
                    <a:pt x="1066" y="1"/>
                  </a:moveTo>
                  <a:cubicBezTo>
                    <a:pt x="472" y="1"/>
                    <a:pt x="1" y="480"/>
                    <a:pt x="1" y="1066"/>
                  </a:cubicBezTo>
                  <a:cubicBezTo>
                    <a:pt x="1" y="1709"/>
                    <a:pt x="526" y="2133"/>
                    <a:pt x="1072" y="2133"/>
                  </a:cubicBezTo>
                  <a:cubicBezTo>
                    <a:pt x="1333" y="2133"/>
                    <a:pt x="1598" y="2037"/>
                    <a:pt x="1814" y="1822"/>
                  </a:cubicBezTo>
                  <a:cubicBezTo>
                    <a:pt x="2489" y="1147"/>
                    <a:pt x="2017" y="1"/>
                    <a:pt x="1066"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216" name="Google Shape;2216;p104"/>
            <p:cNvSpPr/>
            <p:nvPr/>
          </p:nvSpPr>
          <p:spPr>
            <a:xfrm>
              <a:off x="1685550" y="2104500"/>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4" y="1821"/>
                  </a:cubicBezTo>
                  <a:cubicBezTo>
                    <a:pt x="2489" y="1146"/>
                    <a:pt x="2017" y="0"/>
                    <a:pt x="1066"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217" name="Google Shape;2217;p104"/>
            <p:cNvSpPr/>
            <p:nvPr/>
          </p:nvSpPr>
          <p:spPr>
            <a:xfrm>
              <a:off x="1685550" y="2028275"/>
              <a:ext cx="62225" cy="53450"/>
            </a:xfrm>
            <a:custGeom>
              <a:avLst/>
              <a:gdLst/>
              <a:ahLst/>
              <a:cxnLst/>
              <a:rect l="l" t="t" r="r" b="b"/>
              <a:pathLst>
                <a:path w="2489" h="2138" extrusionOk="0">
                  <a:moveTo>
                    <a:pt x="1066" y="1"/>
                  </a:moveTo>
                  <a:cubicBezTo>
                    <a:pt x="472" y="1"/>
                    <a:pt x="1" y="480"/>
                    <a:pt x="1" y="1065"/>
                  </a:cubicBezTo>
                  <a:cubicBezTo>
                    <a:pt x="1" y="1709"/>
                    <a:pt x="526" y="2137"/>
                    <a:pt x="1072" y="2137"/>
                  </a:cubicBezTo>
                  <a:cubicBezTo>
                    <a:pt x="1333" y="2137"/>
                    <a:pt x="1598" y="2040"/>
                    <a:pt x="1814" y="1821"/>
                  </a:cubicBezTo>
                  <a:cubicBezTo>
                    <a:pt x="2489" y="1147"/>
                    <a:pt x="2017" y="1"/>
                    <a:pt x="1066"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218" name="Google Shape;2218;p104"/>
            <p:cNvSpPr/>
            <p:nvPr/>
          </p:nvSpPr>
          <p:spPr>
            <a:xfrm>
              <a:off x="1685550" y="1952050"/>
              <a:ext cx="62225" cy="53450"/>
            </a:xfrm>
            <a:custGeom>
              <a:avLst/>
              <a:gdLst/>
              <a:ahLst/>
              <a:cxnLst/>
              <a:rect l="l" t="t" r="r" b="b"/>
              <a:pathLst>
                <a:path w="2489" h="2138" extrusionOk="0">
                  <a:moveTo>
                    <a:pt x="1066" y="1"/>
                  </a:moveTo>
                  <a:cubicBezTo>
                    <a:pt x="472" y="9"/>
                    <a:pt x="1" y="481"/>
                    <a:pt x="1" y="1074"/>
                  </a:cubicBezTo>
                  <a:cubicBezTo>
                    <a:pt x="1" y="1712"/>
                    <a:pt x="525" y="2138"/>
                    <a:pt x="1071" y="2138"/>
                  </a:cubicBezTo>
                  <a:cubicBezTo>
                    <a:pt x="1332" y="2138"/>
                    <a:pt x="1598" y="2040"/>
                    <a:pt x="1814" y="1822"/>
                  </a:cubicBezTo>
                  <a:cubicBezTo>
                    <a:pt x="2489" y="1155"/>
                    <a:pt x="2017" y="1"/>
                    <a:pt x="1066"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219" name="Google Shape;2219;p104"/>
            <p:cNvSpPr/>
            <p:nvPr/>
          </p:nvSpPr>
          <p:spPr>
            <a:xfrm>
              <a:off x="1685550" y="1876050"/>
              <a:ext cx="62225" cy="53275"/>
            </a:xfrm>
            <a:custGeom>
              <a:avLst/>
              <a:gdLst/>
              <a:ahLst/>
              <a:cxnLst/>
              <a:rect l="l" t="t" r="r" b="b"/>
              <a:pathLst>
                <a:path w="2489" h="2131" extrusionOk="0">
                  <a:moveTo>
                    <a:pt x="1066" y="1"/>
                  </a:moveTo>
                  <a:cubicBezTo>
                    <a:pt x="472" y="1"/>
                    <a:pt x="1" y="472"/>
                    <a:pt x="1" y="1066"/>
                  </a:cubicBezTo>
                  <a:cubicBezTo>
                    <a:pt x="1" y="1707"/>
                    <a:pt x="523" y="2131"/>
                    <a:pt x="1068" y="2131"/>
                  </a:cubicBezTo>
                  <a:cubicBezTo>
                    <a:pt x="1330" y="2131"/>
                    <a:pt x="1597" y="2033"/>
                    <a:pt x="1814" y="1813"/>
                  </a:cubicBezTo>
                  <a:cubicBezTo>
                    <a:pt x="2489" y="1147"/>
                    <a:pt x="2017" y="1"/>
                    <a:pt x="1066"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220" name="Google Shape;2220;p104"/>
            <p:cNvSpPr/>
            <p:nvPr/>
          </p:nvSpPr>
          <p:spPr>
            <a:xfrm>
              <a:off x="1685550" y="1647400"/>
              <a:ext cx="62225" cy="53450"/>
            </a:xfrm>
            <a:custGeom>
              <a:avLst/>
              <a:gdLst/>
              <a:ahLst/>
              <a:cxnLst/>
              <a:rect l="l" t="t" r="r" b="b"/>
              <a:pathLst>
                <a:path w="2489" h="2138" extrusionOk="0">
                  <a:moveTo>
                    <a:pt x="1066" y="1"/>
                  </a:moveTo>
                  <a:cubicBezTo>
                    <a:pt x="472" y="9"/>
                    <a:pt x="1" y="481"/>
                    <a:pt x="1" y="1066"/>
                  </a:cubicBezTo>
                  <a:cubicBezTo>
                    <a:pt x="1" y="1710"/>
                    <a:pt x="526" y="2138"/>
                    <a:pt x="1072" y="2138"/>
                  </a:cubicBezTo>
                  <a:cubicBezTo>
                    <a:pt x="1333" y="2138"/>
                    <a:pt x="1598" y="2040"/>
                    <a:pt x="1814" y="1822"/>
                  </a:cubicBezTo>
                  <a:cubicBezTo>
                    <a:pt x="2489" y="1147"/>
                    <a:pt x="2017" y="1"/>
                    <a:pt x="1066"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221" name="Google Shape;2221;p104"/>
            <p:cNvSpPr/>
            <p:nvPr/>
          </p:nvSpPr>
          <p:spPr>
            <a:xfrm>
              <a:off x="1685550" y="1342750"/>
              <a:ext cx="62225" cy="53450"/>
            </a:xfrm>
            <a:custGeom>
              <a:avLst/>
              <a:gdLst/>
              <a:ahLst/>
              <a:cxnLst/>
              <a:rect l="l" t="t" r="r" b="b"/>
              <a:pathLst>
                <a:path w="2489" h="2138" extrusionOk="0">
                  <a:moveTo>
                    <a:pt x="1066" y="1"/>
                  </a:moveTo>
                  <a:cubicBezTo>
                    <a:pt x="472" y="1"/>
                    <a:pt x="1" y="481"/>
                    <a:pt x="1" y="1066"/>
                  </a:cubicBezTo>
                  <a:cubicBezTo>
                    <a:pt x="1" y="1710"/>
                    <a:pt x="526" y="2138"/>
                    <a:pt x="1072" y="2138"/>
                  </a:cubicBezTo>
                  <a:cubicBezTo>
                    <a:pt x="1333" y="2138"/>
                    <a:pt x="1598" y="2040"/>
                    <a:pt x="1814" y="1822"/>
                  </a:cubicBezTo>
                  <a:cubicBezTo>
                    <a:pt x="2489" y="1147"/>
                    <a:pt x="2017" y="1"/>
                    <a:pt x="1066"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222" name="Google Shape;2222;p104"/>
            <p:cNvSpPr/>
            <p:nvPr/>
          </p:nvSpPr>
          <p:spPr>
            <a:xfrm>
              <a:off x="1685550" y="1114325"/>
              <a:ext cx="62225" cy="53350"/>
            </a:xfrm>
            <a:custGeom>
              <a:avLst/>
              <a:gdLst/>
              <a:ahLst/>
              <a:cxnLst/>
              <a:rect l="l" t="t" r="r" b="b"/>
              <a:pathLst>
                <a:path w="2489" h="2134" extrusionOk="0">
                  <a:moveTo>
                    <a:pt x="1066" y="1"/>
                  </a:moveTo>
                  <a:cubicBezTo>
                    <a:pt x="472" y="1"/>
                    <a:pt x="1" y="480"/>
                    <a:pt x="1" y="1065"/>
                  </a:cubicBezTo>
                  <a:cubicBezTo>
                    <a:pt x="1" y="1709"/>
                    <a:pt x="526" y="2133"/>
                    <a:pt x="1072" y="2133"/>
                  </a:cubicBezTo>
                  <a:cubicBezTo>
                    <a:pt x="1333" y="2133"/>
                    <a:pt x="1598" y="2037"/>
                    <a:pt x="1814" y="1822"/>
                  </a:cubicBezTo>
                  <a:cubicBezTo>
                    <a:pt x="2489" y="1147"/>
                    <a:pt x="2017" y="1"/>
                    <a:pt x="1066"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223" name="Google Shape;2223;p104"/>
            <p:cNvSpPr/>
            <p:nvPr/>
          </p:nvSpPr>
          <p:spPr>
            <a:xfrm>
              <a:off x="1609350" y="2942425"/>
              <a:ext cx="62200" cy="53450"/>
            </a:xfrm>
            <a:custGeom>
              <a:avLst/>
              <a:gdLst/>
              <a:ahLst/>
              <a:cxnLst/>
              <a:rect l="l" t="t" r="r" b="b"/>
              <a:pathLst>
                <a:path w="2488" h="2138" extrusionOk="0">
                  <a:moveTo>
                    <a:pt x="1065" y="1"/>
                  </a:moveTo>
                  <a:cubicBezTo>
                    <a:pt x="480" y="9"/>
                    <a:pt x="0" y="480"/>
                    <a:pt x="0" y="1066"/>
                  </a:cubicBezTo>
                  <a:cubicBezTo>
                    <a:pt x="0" y="1709"/>
                    <a:pt x="526" y="2137"/>
                    <a:pt x="1074" y="2137"/>
                  </a:cubicBezTo>
                  <a:cubicBezTo>
                    <a:pt x="1336" y="2137"/>
                    <a:pt x="1603" y="2040"/>
                    <a:pt x="1821" y="1822"/>
                  </a:cubicBezTo>
                  <a:cubicBezTo>
                    <a:pt x="2488" y="1147"/>
                    <a:pt x="2016" y="1"/>
                    <a:pt x="1065"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224" name="Google Shape;2224;p104"/>
            <p:cNvSpPr/>
            <p:nvPr/>
          </p:nvSpPr>
          <p:spPr>
            <a:xfrm>
              <a:off x="1609350" y="2866425"/>
              <a:ext cx="62200" cy="53275"/>
            </a:xfrm>
            <a:custGeom>
              <a:avLst/>
              <a:gdLst/>
              <a:ahLst/>
              <a:cxnLst/>
              <a:rect l="l" t="t" r="r" b="b"/>
              <a:pathLst>
                <a:path w="2488" h="2131" extrusionOk="0">
                  <a:moveTo>
                    <a:pt x="1065" y="0"/>
                  </a:moveTo>
                  <a:cubicBezTo>
                    <a:pt x="480" y="0"/>
                    <a:pt x="0" y="472"/>
                    <a:pt x="0" y="1065"/>
                  </a:cubicBezTo>
                  <a:cubicBezTo>
                    <a:pt x="0" y="1707"/>
                    <a:pt x="523" y="2131"/>
                    <a:pt x="1069" y="2131"/>
                  </a:cubicBezTo>
                  <a:cubicBezTo>
                    <a:pt x="1333" y="2131"/>
                    <a:pt x="1602" y="2032"/>
                    <a:pt x="1821" y="1813"/>
                  </a:cubicBezTo>
                  <a:cubicBezTo>
                    <a:pt x="2488" y="1146"/>
                    <a:pt x="2016" y="0"/>
                    <a:pt x="1065"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225" name="Google Shape;2225;p104"/>
            <p:cNvSpPr/>
            <p:nvPr/>
          </p:nvSpPr>
          <p:spPr>
            <a:xfrm>
              <a:off x="1609350" y="2561575"/>
              <a:ext cx="62200" cy="53425"/>
            </a:xfrm>
            <a:custGeom>
              <a:avLst/>
              <a:gdLst/>
              <a:ahLst/>
              <a:cxnLst/>
              <a:rect l="l" t="t" r="r" b="b"/>
              <a:pathLst>
                <a:path w="2488" h="2137" extrusionOk="0">
                  <a:moveTo>
                    <a:pt x="1065" y="0"/>
                  </a:moveTo>
                  <a:cubicBezTo>
                    <a:pt x="480" y="8"/>
                    <a:pt x="0" y="480"/>
                    <a:pt x="0" y="1073"/>
                  </a:cubicBezTo>
                  <a:cubicBezTo>
                    <a:pt x="0" y="1711"/>
                    <a:pt x="525" y="2137"/>
                    <a:pt x="1073" y="2137"/>
                  </a:cubicBezTo>
                  <a:cubicBezTo>
                    <a:pt x="1335" y="2137"/>
                    <a:pt x="1603" y="2039"/>
                    <a:pt x="1821" y="1821"/>
                  </a:cubicBezTo>
                  <a:cubicBezTo>
                    <a:pt x="2488" y="1154"/>
                    <a:pt x="2016" y="0"/>
                    <a:pt x="1065"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226" name="Google Shape;2226;p104"/>
            <p:cNvSpPr/>
            <p:nvPr/>
          </p:nvSpPr>
          <p:spPr>
            <a:xfrm>
              <a:off x="1609350" y="2485550"/>
              <a:ext cx="62200" cy="53300"/>
            </a:xfrm>
            <a:custGeom>
              <a:avLst/>
              <a:gdLst/>
              <a:ahLst/>
              <a:cxnLst/>
              <a:rect l="l" t="t" r="r" b="b"/>
              <a:pathLst>
                <a:path w="2488" h="2132" extrusionOk="0">
                  <a:moveTo>
                    <a:pt x="1065" y="1"/>
                  </a:moveTo>
                  <a:cubicBezTo>
                    <a:pt x="480" y="1"/>
                    <a:pt x="0" y="480"/>
                    <a:pt x="0" y="1066"/>
                  </a:cubicBezTo>
                  <a:cubicBezTo>
                    <a:pt x="0" y="1708"/>
                    <a:pt x="523" y="2131"/>
                    <a:pt x="1069" y="2131"/>
                  </a:cubicBezTo>
                  <a:cubicBezTo>
                    <a:pt x="1333" y="2131"/>
                    <a:pt x="1602" y="2033"/>
                    <a:pt x="1821" y="1814"/>
                  </a:cubicBezTo>
                  <a:cubicBezTo>
                    <a:pt x="2488" y="1147"/>
                    <a:pt x="2016" y="1"/>
                    <a:pt x="1065"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227" name="Google Shape;2227;p104"/>
            <p:cNvSpPr/>
            <p:nvPr/>
          </p:nvSpPr>
          <p:spPr>
            <a:xfrm>
              <a:off x="1609350" y="2409350"/>
              <a:ext cx="62200" cy="53350"/>
            </a:xfrm>
            <a:custGeom>
              <a:avLst/>
              <a:gdLst/>
              <a:ahLst/>
              <a:cxnLst/>
              <a:rect l="l" t="t" r="r" b="b"/>
              <a:pathLst>
                <a:path w="2488" h="2134"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228" name="Google Shape;2228;p104"/>
            <p:cNvSpPr/>
            <p:nvPr/>
          </p:nvSpPr>
          <p:spPr>
            <a:xfrm>
              <a:off x="1609350" y="2333125"/>
              <a:ext cx="62200" cy="53450"/>
            </a:xfrm>
            <a:custGeom>
              <a:avLst/>
              <a:gdLst/>
              <a:ahLst/>
              <a:cxnLst/>
              <a:rect l="l" t="t" r="r" b="b"/>
              <a:pathLst>
                <a:path w="2488" h="2138" extrusionOk="0">
                  <a:moveTo>
                    <a:pt x="1065" y="1"/>
                  </a:moveTo>
                  <a:cubicBezTo>
                    <a:pt x="480" y="1"/>
                    <a:pt x="0" y="480"/>
                    <a:pt x="0" y="1066"/>
                  </a:cubicBezTo>
                  <a:cubicBezTo>
                    <a:pt x="0" y="1709"/>
                    <a:pt x="526" y="2137"/>
                    <a:pt x="1074" y="2137"/>
                  </a:cubicBezTo>
                  <a:cubicBezTo>
                    <a:pt x="1336" y="2137"/>
                    <a:pt x="1603" y="2040"/>
                    <a:pt x="1821" y="1822"/>
                  </a:cubicBezTo>
                  <a:cubicBezTo>
                    <a:pt x="2488" y="1147"/>
                    <a:pt x="2016" y="1"/>
                    <a:pt x="1065"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229" name="Google Shape;2229;p104"/>
            <p:cNvSpPr/>
            <p:nvPr/>
          </p:nvSpPr>
          <p:spPr>
            <a:xfrm>
              <a:off x="1609350" y="2256925"/>
              <a:ext cx="62350" cy="53425"/>
            </a:xfrm>
            <a:custGeom>
              <a:avLst/>
              <a:gdLst/>
              <a:ahLst/>
              <a:cxnLst/>
              <a:rect l="l" t="t" r="r" b="b"/>
              <a:pathLst>
                <a:path w="2494" h="2137" extrusionOk="0">
                  <a:moveTo>
                    <a:pt x="1075" y="0"/>
                  </a:moveTo>
                  <a:cubicBezTo>
                    <a:pt x="1072" y="0"/>
                    <a:pt x="1069" y="0"/>
                    <a:pt x="1065" y="0"/>
                  </a:cubicBezTo>
                  <a:cubicBezTo>
                    <a:pt x="480" y="0"/>
                    <a:pt x="0" y="480"/>
                    <a:pt x="0" y="1065"/>
                  </a:cubicBezTo>
                  <a:cubicBezTo>
                    <a:pt x="0" y="1709"/>
                    <a:pt x="529" y="2137"/>
                    <a:pt x="1078" y="2137"/>
                  </a:cubicBezTo>
                  <a:cubicBezTo>
                    <a:pt x="1340" y="2137"/>
                    <a:pt x="1606" y="2039"/>
                    <a:pt x="1821" y="1821"/>
                  </a:cubicBezTo>
                  <a:cubicBezTo>
                    <a:pt x="2494" y="1149"/>
                    <a:pt x="2020" y="0"/>
                    <a:pt x="1075"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230" name="Google Shape;2230;p104"/>
            <p:cNvSpPr/>
            <p:nvPr/>
          </p:nvSpPr>
          <p:spPr>
            <a:xfrm>
              <a:off x="1609350" y="2180700"/>
              <a:ext cx="62200" cy="53350"/>
            </a:xfrm>
            <a:custGeom>
              <a:avLst/>
              <a:gdLst/>
              <a:ahLst/>
              <a:cxnLst/>
              <a:rect l="l" t="t" r="r" b="b"/>
              <a:pathLst>
                <a:path w="2488" h="2134" extrusionOk="0">
                  <a:moveTo>
                    <a:pt x="1065" y="1"/>
                  </a:moveTo>
                  <a:cubicBezTo>
                    <a:pt x="480" y="1"/>
                    <a:pt x="0" y="480"/>
                    <a:pt x="0" y="1066"/>
                  </a:cubicBezTo>
                  <a:cubicBezTo>
                    <a:pt x="0" y="1709"/>
                    <a:pt x="526" y="2133"/>
                    <a:pt x="1074" y="2133"/>
                  </a:cubicBezTo>
                  <a:cubicBezTo>
                    <a:pt x="1336" y="2133"/>
                    <a:pt x="1603" y="2037"/>
                    <a:pt x="1821" y="1822"/>
                  </a:cubicBezTo>
                  <a:cubicBezTo>
                    <a:pt x="2488" y="1147"/>
                    <a:pt x="2016" y="1"/>
                    <a:pt x="1065"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231" name="Google Shape;2231;p104"/>
            <p:cNvSpPr/>
            <p:nvPr/>
          </p:nvSpPr>
          <p:spPr>
            <a:xfrm>
              <a:off x="1609350" y="2104500"/>
              <a:ext cx="62200" cy="53325"/>
            </a:xfrm>
            <a:custGeom>
              <a:avLst/>
              <a:gdLst/>
              <a:ahLst/>
              <a:cxnLst/>
              <a:rect l="l" t="t" r="r" b="b"/>
              <a:pathLst>
                <a:path w="2488" h="2133"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232" name="Google Shape;2232;p104"/>
            <p:cNvSpPr/>
            <p:nvPr/>
          </p:nvSpPr>
          <p:spPr>
            <a:xfrm>
              <a:off x="1609350" y="2028275"/>
              <a:ext cx="62200" cy="53450"/>
            </a:xfrm>
            <a:custGeom>
              <a:avLst/>
              <a:gdLst/>
              <a:ahLst/>
              <a:cxnLst/>
              <a:rect l="l" t="t" r="r" b="b"/>
              <a:pathLst>
                <a:path w="2488" h="2138" extrusionOk="0">
                  <a:moveTo>
                    <a:pt x="1065" y="1"/>
                  </a:moveTo>
                  <a:cubicBezTo>
                    <a:pt x="480" y="1"/>
                    <a:pt x="0" y="480"/>
                    <a:pt x="0" y="1065"/>
                  </a:cubicBezTo>
                  <a:cubicBezTo>
                    <a:pt x="0" y="1709"/>
                    <a:pt x="526" y="2137"/>
                    <a:pt x="1074" y="2137"/>
                  </a:cubicBezTo>
                  <a:cubicBezTo>
                    <a:pt x="1336" y="2137"/>
                    <a:pt x="1603" y="2040"/>
                    <a:pt x="1821" y="1821"/>
                  </a:cubicBezTo>
                  <a:cubicBezTo>
                    <a:pt x="2488" y="1147"/>
                    <a:pt x="2016" y="1"/>
                    <a:pt x="1065"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233" name="Google Shape;2233;p104"/>
            <p:cNvSpPr/>
            <p:nvPr/>
          </p:nvSpPr>
          <p:spPr>
            <a:xfrm>
              <a:off x="1609350" y="1952050"/>
              <a:ext cx="62200" cy="53450"/>
            </a:xfrm>
            <a:custGeom>
              <a:avLst/>
              <a:gdLst/>
              <a:ahLst/>
              <a:cxnLst/>
              <a:rect l="l" t="t" r="r" b="b"/>
              <a:pathLst>
                <a:path w="2488" h="2138" extrusionOk="0">
                  <a:moveTo>
                    <a:pt x="1065" y="1"/>
                  </a:moveTo>
                  <a:cubicBezTo>
                    <a:pt x="480" y="9"/>
                    <a:pt x="0" y="481"/>
                    <a:pt x="0" y="1074"/>
                  </a:cubicBezTo>
                  <a:cubicBezTo>
                    <a:pt x="0" y="1712"/>
                    <a:pt x="525" y="2138"/>
                    <a:pt x="1073" y="2138"/>
                  </a:cubicBezTo>
                  <a:cubicBezTo>
                    <a:pt x="1335" y="2138"/>
                    <a:pt x="1603" y="2040"/>
                    <a:pt x="1821" y="1822"/>
                  </a:cubicBezTo>
                  <a:cubicBezTo>
                    <a:pt x="2488" y="1155"/>
                    <a:pt x="2016" y="1"/>
                    <a:pt x="1065"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234" name="Google Shape;2234;p104"/>
            <p:cNvSpPr/>
            <p:nvPr/>
          </p:nvSpPr>
          <p:spPr>
            <a:xfrm>
              <a:off x="1609350" y="1876050"/>
              <a:ext cx="62200" cy="53275"/>
            </a:xfrm>
            <a:custGeom>
              <a:avLst/>
              <a:gdLst/>
              <a:ahLst/>
              <a:cxnLst/>
              <a:rect l="l" t="t" r="r" b="b"/>
              <a:pathLst>
                <a:path w="2488" h="2131" extrusionOk="0">
                  <a:moveTo>
                    <a:pt x="1065" y="1"/>
                  </a:moveTo>
                  <a:cubicBezTo>
                    <a:pt x="480" y="1"/>
                    <a:pt x="0" y="472"/>
                    <a:pt x="0" y="1066"/>
                  </a:cubicBezTo>
                  <a:cubicBezTo>
                    <a:pt x="0" y="1707"/>
                    <a:pt x="523" y="2131"/>
                    <a:pt x="1069" y="2131"/>
                  </a:cubicBezTo>
                  <a:cubicBezTo>
                    <a:pt x="1333" y="2131"/>
                    <a:pt x="1602" y="2033"/>
                    <a:pt x="1821" y="1813"/>
                  </a:cubicBezTo>
                  <a:cubicBezTo>
                    <a:pt x="2488" y="1147"/>
                    <a:pt x="2016" y="1"/>
                    <a:pt x="1065"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235" name="Google Shape;2235;p104"/>
            <p:cNvSpPr/>
            <p:nvPr/>
          </p:nvSpPr>
          <p:spPr>
            <a:xfrm>
              <a:off x="1609350" y="1723625"/>
              <a:ext cx="62200" cy="53350"/>
            </a:xfrm>
            <a:custGeom>
              <a:avLst/>
              <a:gdLst/>
              <a:ahLst/>
              <a:cxnLst/>
              <a:rect l="l" t="t" r="r" b="b"/>
              <a:pathLst>
                <a:path w="2488" h="2134" extrusionOk="0">
                  <a:moveTo>
                    <a:pt x="1065" y="1"/>
                  </a:moveTo>
                  <a:cubicBezTo>
                    <a:pt x="480" y="1"/>
                    <a:pt x="0" y="480"/>
                    <a:pt x="0" y="1065"/>
                  </a:cubicBezTo>
                  <a:cubicBezTo>
                    <a:pt x="0" y="1709"/>
                    <a:pt x="526" y="2133"/>
                    <a:pt x="1074" y="2133"/>
                  </a:cubicBezTo>
                  <a:cubicBezTo>
                    <a:pt x="1336" y="2133"/>
                    <a:pt x="1603" y="2037"/>
                    <a:pt x="1821" y="1822"/>
                  </a:cubicBezTo>
                  <a:cubicBezTo>
                    <a:pt x="2488" y="1147"/>
                    <a:pt x="2016" y="1"/>
                    <a:pt x="1065"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236" name="Google Shape;2236;p104"/>
            <p:cNvSpPr/>
            <p:nvPr/>
          </p:nvSpPr>
          <p:spPr>
            <a:xfrm>
              <a:off x="1609350" y="1647400"/>
              <a:ext cx="62200" cy="53450"/>
            </a:xfrm>
            <a:custGeom>
              <a:avLst/>
              <a:gdLst/>
              <a:ahLst/>
              <a:cxnLst/>
              <a:rect l="l" t="t" r="r" b="b"/>
              <a:pathLst>
                <a:path w="2488" h="2138" extrusionOk="0">
                  <a:moveTo>
                    <a:pt x="1065" y="1"/>
                  </a:moveTo>
                  <a:cubicBezTo>
                    <a:pt x="480" y="9"/>
                    <a:pt x="0" y="481"/>
                    <a:pt x="0" y="1066"/>
                  </a:cubicBezTo>
                  <a:cubicBezTo>
                    <a:pt x="0" y="1710"/>
                    <a:pt x="526" y="2138"/>
                    <a:pt x="1074" y="2138"/>
                  </a:cubicBezTo>
                  <a:cubicBezTo>
                    <a:pt x="1336" y="2138"/>
                    <a:pt x="1603" y="2040"/>
                    <a:pt x="1821" y="1822"/>
                  </a:cubicBezTo>
                  <a:cubicBezTo>
                    <a:pt x="2488" y="1147"/>
                    <a:pt x="2016" y="1"/>
                    <a:pt x="1065"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237" name="Google Shape;2237;p104"/>
            <p:cNvSpPr/>
            <p:nvPr/>
          </p:nvSpPr>
          <p:spPr>
            <a:xfrm>
              <a:off x="1609350" y="1571400"/>
              <a:ext cx="62200" cy="53250"/>
            </a:xfrm>
            <a:custGeom>
              <a:avLst/>
              <a:gdLst/>
              <a:ahLst/>
              <a:cxnLst/>
              <a:rect l="l" t="t" r="r" b="b"/>
              <a:pathLst>
                <a:path w="2488" h="2130" extrusionOk="0">
                  <a:moveTo>
                    <a:pt x="1065" y="1"/>
                  </a:moveTo>
                  <a:cubicBezTo>
                    <a:pt x="480" y="1"/>
                    <a:pt x="0" y="472"/>
                    <a:pt x="0" y="1066"/>
                  </a:cubicBezTo>
                  <a:cubicBezTo>
                    <a:pt x="0" y="1703"/>
                    <a:pt x="525" y="2129"/>
                    <a:pt x="1073" y="2129"/>
                  </a:cubicBezTo>
                  <a:cubicBezTo>
                    <a:pt x="1335" y="2129"/>
                    <a:pt x="1603" y="2032"/>
                    <a:pt x="1821" y="1813"/>
                  </a:cubicBezTo>
                  <a:cubicBezTo>
                    <a:pt x="2488" y="1147"/>
                    <a:pt x="2016" y="1"/>
                    <a:pt x="1065"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238" name="Google Shape;2238;p104"/>
            <p:cNvSpPr/>
            <p:nvPr/>
          </p:nvSpPr>
          <p:spPr>
            <a:xfrm>
              <a:off x="1609350" y="1495200"/>
              <a:ext cx="62200" cy="53325"/>
            </a:xfrm>
            <a:custGeom>
              <a:avLst/>
              <a:gdLst/>
              <a:ahLst/>
              <a:cxnLst/>
              <a:rect l="l" t="t" r="r" b="b"/>
              <a:pathLst>
                <a:path w="2488" h="2133"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239" name="Google Shape;2239;p104"/>
            <p:cNvSpPr/>
            <p:nvPr/>
          </p:nvSpPr>
          <p:spPr>
            <a:xfrm>
              <a:off x="1609350" y="1266550"/>
              <a:ext cx="62200" cy="53450"/>
            </a:xfrm>
            <a:custGeom>
              <a:avLst/>
              <a:gdLst/>
              <a:ahLst/>
              <a:cxnLst/>
              <a:rect l="l" t="t" r="r" b="b"/>
              <a:pathLst>
                <a:path w="2488" h="2138" extrusionOk="0">
                  <a:moveTo>
                    <a:pt x="1065" y="0"/>
                  </a:moveTo>
                  <a:cubicBezTo>
                    <a:pt x="480" y="9"/>
                    <a:pt x="0" y="480"/>
                    <a:pt x="0" y="1074"/>
                  </a:cubicBezTo>
                  <a:cubicBezTo>
                    <a:pt x="0" y="1711"/>
                    <a:pt x="525" y="2137"/>
                    <a:pt x="1073" y="2137"/>
                  </a:cubicBezTo>
                  <a:cubicBezTo>
                    <a:pt x="1335" y="2137"/>
                    <a:pt x="1603" y="2040"/>
                    <a:pt x="1821" y="1821"/>
                  </a:cubicBezTo>
                  <a:cubicBezTo>
                    <a:pt x="2488" y="1155"/>
                    <a:pt x="2016" y="0"/>
                    <a:pt x="1065"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240" name="Google Shape;2240;p104"/>
            <p:cNvSpPr/>
            <p:nvPr/>
          </p:nvSpPr>
          <p:spPr>
            <a:xfrm>
              <a:off x="1609350" y="1114325"/>
              <a:ext cx="62200" cy="53350"/>
            </a:xfrm>
            <a:custGeom>
              <a:avLst/>
              <a:gdLst/>
              <a:ahLst/>
              <a:cxnLst/>
              <a:rect l="l" t="t" r="r" b="b"/>
              <a:pathLst>
                <a:path w="2488" h="2134" extrusionOk="0">
                  <a:moveTo>
                    <a:pt x="1065" y="1"/>
                  </a:moveTo>
                  <a:cubicBezTo>
                    <a:pt x="480" y="1"/>
                    <a:pt x="0" y="480"/>
                    <a:pt x="0" y="1065"/>
                  </a:cubicBezTo>
                  <a:cubicBezTo>
                    <a:pt x="0" y="1709"/>
                    <a:pt x="526" y="2133"/>
                    <a:pt x="1074" y="2133"/>
                  </a:cubicBezTo>
                  <a:cubicBezTo>
                    <a:pt x="1336" y="2133"/>
                    <a:pt x="1603" y="2037"/>
                    <a:pt x="1821" y="1822"/>
                  </a:cubicBezTo>
                  <a:cubicBezTo>
                    <a:pt x="2488" y="1147"/>
                    <a:pt x="2016" y="1"/>
                    <a:pt x="1065"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241" name="Google Shape;2241;p104"/>
            <p:cNvSpPr/>
            <p:nvPr/>
          </p:nvSpPr>
          <p:spPr>
            <a:xfrm>
              <a:off x="1533125" y="2942425"/>
              <a:ext cx="62425" cy="53450"/>
            </a:xfrm>
            <a:custGeom>
              <a:avLst/>
              <a:gdLst/>
              <a:ahLst/>
              <a:cxnLst/>
              <a:rect l="l" t="t" r="r" b="b"/>
              <a:pathLst>
                <a:path w="2497" h="2138" extrusionOk="0">
                  <a:moveTo>
                    <a:pt x="1066" y="1"/>
                  </a:moveTo>
                  <a:cubicBezTo>
                    <a:pt x="480" y="9"/>
                    <a:pt x="1" y="480"/>
                    <a:pt x="1" y="1066"/>
                  </a:cubicBezTo>
                  <a:cubicBezTo>
                    <a:pt x="1" y="1709"/>
                    <a:pt x="526" y="2137"/>
                    <a:pt x="1075" y="2137"/>
                  </a:cubicBezTo>
                  <a:cubicBezTo>
                    <a:pt x="1337" y="2137"/>
                    <a:pt x="1604" y="2040"/>
                    <a:pt x="1822" y="1822"/>
                  </a:cubicBezTo>
                  <a:cubicBezTo>
                    <a:pt x="2497" y="1147"/>
                    <a:pt x="2017" y="1"/>
                    <a:pt x="1066"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242" name="Google Shape;2242;p104"/>
            <p:cNvSpPr/>
            <p:nvPr/>
          </p:nvSpPr>
          <p:spPr>
            <a:xfrm>
              <a:off x="1533125" y="2866425"/>
              <a:ext cx="62425" cy="53275"/>
            </a:xfrm>
            <a:custGeom>
              <a:avLst/>
              <a:gdLst/>
              <a:ahLst/>
              <a:cxnLst/>
              <a:rect l="l" t="t" r="r" b="b"/>
              <a:pathLst>
                <a:path w="2497" h="2131" extrusionOk="0">
                  <a:moveTo>
                    <a:pt x="1066" y="0"/>
                  </a:moveTo>
                  <a:cubicBezTo>
                    <a:pt x="480" y="0"/>
                    <a:pt x="1" y="472"/>
                    <a:pt x="1" y="1065"/>
                  </a:cubicBezTo>
                  <a:cubicBezTo>
                    <a:pt x="1" y="1707"/>
                    <a:pt x="523" y="2131"/>
                    <a:pt x="1070" y="2131"/>
                  </a:cubicBezTo>
                  <a:cubicBezTo>
                    <a:pt x="1333" y="2131"/>
                    <a:pt x="1602" y="2032"/>
                    <a:pt x="1822" y="1813"/>
                  </a:cubicBezTo>
                  <a:cubicBezTo>
                    <a:pt x="2497" y="1146"/>
                    <a:pt x="2017" y="0"/>
                    <a:pt x="1066"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243" name="Google Shape;2243;p104"/>
            <p:cNvSpPr/>
            <p:nvPr/>
          </p:nvSpPr>
          <p:spPr>
            <a:xfrm>
              <a:off x="1533125" y="2561575"/>
              <a:ext cx="62425" cy="53425"/>
            </a:xfrm>
            <a:custGeom>
              <a:avLst/>
              <a:gdLst/>
              <a:ahLst/>
              <a:cxnLst/>
              <a:rect l="l" t="t" r="r" b="b"/>
              <a:pathLst>
                <a:path w="2497" h="2137" extrusionOk="0">
                  <a:moveTo>
                    <a:pt x="1066" y="0"/>
                  </a:moveTo>
                  <a:cubicBezTo>
                    <a:pt x="480" y="8"/>
                    <a:pt x="1" y="480"/>
                    <a:pt x="1" y="1073"/>
                  </a:cubicBezTo>
                  <a:cubicBezTo>
                    <a:pt x="1" y="1711"/>
                    <a:pt x="525" y="2137"/>
                    <a:pt x="1073" y="2137"/>
                  </a:cubicBezTo>
                  <a:cubicBezTo>
                    <a:pt x="1336" y="2137"/>
                    <a:pt x="1603" y="2039"/>
                    <a:pt x="1822" y="1821"/>
                  </a:cubicBezTo>
                  <a:cubicBezTo>
                    <a:pt x="2497" y="1154"/>
                    <a:pt x="2017" y="0"/>
                    <a:pt x="1066"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244" name="Google Shape;2244;p104"/>
            <p:cNvSpPr/>
            <p:nvPr/>
          </p:nvSpPr>
          <p:spPr>
            <a:xfrm>
              <a:off x="1533125" y="2485550"/>
              <a:ext cx="62425" cy="53300"/>
            </a:xfrm>
            <a:custGeom>
              <a:avLst/>
              <a:gdLst/>
              <a:ahLst/>
              <a:cxnLst/>
              <a:rect l="l" t="t" r="r" b="b"/>
              <a:pathLst>
                <a:path w="2497" h="2132" extrusionOk="0">
                  <a:moveTo>
                    <a:pt x="1066" y="1"/>
                  </a:moveTo>
                  <a:cubicBezTo>
                    <a:pt x="480" y="1"/>
                    <a:pt x="1" y="480"/>
                    <a:pt x="1" y="1066"/>
                  </a:cubicBezTo>
                  <a:cubicBezTo>
                    <a:pt x="1" y="1708"/>
                    <a:pt x="523" y="2131"/>
                    <a:pt x="1070" y="2131"/>
                  </a:cubicBezTo>
                  <a:cubicBezTo>
                    <a:pt x="1333" y="2131"/>
                    <a:pt x="1602" y="2033"/>
                    <a:pt x="1822" y="1814"/>
                  </a:cubicBezTo>
                  <a:cubicBezTo>
                    <a:pt x="2497" y="1147"/>
                    <a:pt x="2017" y="1"/>
                    <a:pt x="1066"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245" name="Google Shape;2245;p104"/>
            <p:cNvSpPr/>
            <p:nvPr/>
          </p:nvSpPr>
          <p:spPr>
            <a:xfrm>
              <a:off x="1533125" y="2409350"/>
              <a:ext cx="62425" cy="53350"/>
            </a:xfrm>
            <a:custGeom>
              <a:avLst/>
              <a:gdLst/>
              <a:ahLst/>
              <a:cxnLst/>
              <a:rect l="l" t="t" r="r" b="b"/>
              <a:pathLst>
                <a:path w="2497" h="2134" extrusionOk="0">
                  <a:moveTo>
                    <a:pt x="1066" y="0"/>
                  </a:moveTo>
                  <a:cubicBezTo>
                    <a:pt x="480" y="0"/>
                    <a:pt x="1" y="480"/>
                    <a:pt x="1" y="1065"/>
                  </a:cubicBezTo>
                  <a:cubicBezTo>
                    <a:pt x="1" y="1709"/>
                    <a:pt x="526" y="2133"/>
                    <a:pt x="1075" y="2133"/>
                  </a:cubicBezTo>
                  <a:cubicBezTo>
                    <a:pt x="1337" y="2133"/>
                    <a:pt x="1604" y="2036"/>
                    <a:pt x="1822" y="1821"/>
                  </a:cubicBezTo>
                  <a:cubicBezTo>
                    <a:pt x="2497" y="1146"/>
                    <a:pt x="2017" y="0"/>
                    <a:pt x="1066"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246" name="Google Shape;2246;p104"/>
            <p:cNvSpPr/>
            <p:nvPr/>
          </p:nvSpPr>
          <p:spPr>
            <a:xfrm>
              <a:off x="1533125" y="2333125"/>
              <a:ext cx="62425" cy="53450"/>
            </a:xfrm>
            <a:custGeom>
              <a:avLst/>
              <a:gdLst/>
              <a:ahLst/>
              <a:cxnLst/>
              <a:rect l="l" t="t" r="r" b="b"/>
              <a:pathLst>
                <a:path w="2497" h="2138" extrusionOk="0">
                  <a:moveTo>
                    <a:pt x="1066" y="1"/>
                  </a:moveTo>
                  <a:cubicBezTo>
                    <a:pt x="480" y="1"/>
                    <a:pt x="1" y="480"/>
                    <a:pt x="1" y="1066"/>
                  </a:cubicBezTo>
                  <a:cubicBezTo>
                    <a:pt x="1" y="1709"/>
                    <a:pt x="526" y="2137"/>
                    <a:pt x="1075" y="2137"/>
                  </a:cubicBezTo>
                  <a:cubicBezTo>
                    <a:pt x="1337" y="2137"/>
                    <a:pt x="1604" y="2040"/>
                    <a:pt x="1822" y="1822"/>
                  </a:cubicBezTo>
                  <a:cubicBezTo>
                    <a:pt x="2497" y="1147"/>
                    <a:pt x="2017" y="1"/>
                    <a:pt x="1066"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247" name="Google Shape;2247;p104"/>
            <p:cNvSpPr/>
            <p:nvPr/>
          </p:nvSpPr>
          <p:spPr>
            <a:xfrm>
              <a:off x="1533125" y="2256925"/>
              <a:ext cx="62575" cy="53425"/>
            </a:xfrm>
            <a:custGeom>
              <a:avLst/>
              <a:gdLst/>
              <a:ahLst/>
              <a:cxnLst/>
              <a:rect l="l" t="t" r="r" b="b"/>
              <a:pathLst>
                <a:path w="2503" h="2137" extrusionOk="0">
                  <a:moveTo>
                    <a:pt x="1076" y="0"/>
                  </a:moveTo>
                  <a:cubicBezTo>
                    <a:pt x="1073" y="0"/>
                    <a:pt x="1069" y="0"/>
                    <a:pt x="1066" y="0"/>
                  </a:cubicBezTo>
                  <a:cubicBezTo>
                    <a:pt x="480" y="0"/>
                    <a:pt x="1" y="480"/>
                    <a:pt x="1" y="1065"/>
                  </a:cubicBezTo>
                  <a:cubicBezTo>
                    <a:pt x="1" y="1709"/>
                    <a:pt x="530" y="2137"/>
                    <a:pt x="1081" y="2137"/>
                  </a:cubicBezTo>
                  <a:cubicBezTo>
                    <a:pt x="1344" y="2137"/>
                    <a:pt x="1612" y="2039"/>
                    <a:pt x="1830" y="1821"/>
                  </a:cubicBezTo>
                  <a:cubicBezTo>
                    <a:pt x="2502" y="1149"/>
                    <a:pt x="2028" y="0"/>
                    <a:pt x="1076"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248" name="Google Shape;2248;p104"/>
            <p:cNvSpPr/>
            <p:nvPr/>
          </p:nvSpPr>
          <p:spPr>
            <a:xfrm>
              <a:off x="1533125" y="2180700"/>
              <a:ext cx="62425" cy="53350"/>
            </a:xfrm>
            <a:custGeom>
              <a:avLst/>
              <a:gdLst/>
              <a:ahLst/>
              <a:cxnLst/>
              <a:rect l="l" t="t" r="r" b="b"/>
              <a:pathLst>
                <a:path w="2497" h="2134" extrusionOk="0">
                  <a:moveTo>
                    <a:pt x="1066" y="1"/>
                  </a:moveTo>
                  <a:cubicBezTo>
                    <a:pt x="480" y="1"/>
                    <a:pt x="1" y="480"/>
                    <a:pt x="1" y="1066"/>
                  </a:cubicBezTo>
                  <a:cubicBezTo>
                    <a:pt x="1" y="1709"/>
                    <a:pt x="526" y="2133"/>
                    <a:pt x="1075" y="2133"/>
                  </a:cubicBezTo>
                  <a:cubicBezTo>
                    <a:pt x="1337" y="2133"/>
                    <a:pt x="1604" y="2037"/>
                    <a:pt x="1822" y="1822"/>
                  </a:cubicBezTo>
                  <a:cubicBezTo>
                    <a:pt x="2497" y="1147"/>
                    <a:pt x="2017" y="1"/>
                    <a:pt x="1066"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249" name="Google Shape;2249;p104"/>
            <p:cNvSpPr/>
            <p:nvPr/>
          </p:nvSpPr>
          <p:spPr>
            <a:xfrm>
              <a:off x="1533125" y="2104500"/>
              <a:ext cx="62425" cy="53325"/>
            </a:xfrm>
            <a:custGeom>
              <a:avLst/>
              <a:gdLst/>
              <a:ahLst/>
              <a:cxnLst/>
              <a:rect l="l" t="t" r="r" b="b"/>
              <a:pathLst>
                <a:path w="2497" h="2133" extrusionOk="0">
                  <a:moveTo>
                    <a:pt x="1066" y="0"/>
                  </a:moveTo>
                  <a:cubicBezTo>
                    <a:pt x="480" y="0"/>
                    <a:pt x="1" y="480"/>
                    <a:pt x="1" y="1065"/>
                  </a:cubicBezTo>
                  <a:cubicBezTo>
                    <a:pt x="1" y="1709"/>
                    <a:pt x="526" y="2133"/>
                    <a:pt x="1075" y="2133"/>
                  </a:cubicBezTo>
                  <a:cubicBezTo>
                    <a:pt x="1337" y="2133"/>
                    <a:pt x="1604" y="2036"/>
                    <a:pt x="1822" y="1821"/>
                  </a:cubicBezTo>
                  <a:cubicBezTo>
                    <a:pt x="2497" y="1146"/>
                    <a:pt x="2017" y="0"/>
                    <a:pt x="1066"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250" name="Google Shape;2250;p104"/>
            <p:cNvSpPr/>
            <p:nvPr/>
          </p:nvSpPr>
          <p:spPr>
            <a:xfrm>
              <a:off x="1533125" y="2028275"/>
              <a:ext cx="62425" cy="53450"/>
            </a:xfrm>
            <a:custGeom>
              <a:avLst/>
              <a:gdLst/>
              <a:ahLst/>
              <a:cxnLst/>
              <a:rect l="l" t="t" r="r" b="b"/>
              <a:pathLst>
                <a:path w="2497" h="2138" extrusionOk="0">
                  <a:moveTo>
                    <a:pt x="1066" y="1"/>
                  </a:moveTo>
                  <a:cubicBezTo>
                    <a:pt x="480" y="1"/>
                    <a:pt x="1" y="480"/>
                    <a:pt x="1" y="1065"/>
                  </a:cubicBezTo>
                  <a:cubicBezTo>
                    <a:pt x="1" y="1709"/>
                    <a:pt x="526" y="2137"/>
                    <a:pt x="1075" y="2137"/>
                  </a:cubicBezTo>
                  <a:cubicBezTo>
                    <a:pt x="1337" y="2137"/>
                    <a:pt x="1604" y="2040"/>
                    <a:pt x="1822" y="1821"/>
                  </a:cubicBezTo>
                  <a:cubicBezTo>
                    <a:pt x="2497" y="1147"/>
                    <a:pt x="2017" y="1"/>
                    <a:pt x="1066"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251" name="Google Shape;2251;p104"/>
            <p:cNvSpPr/>
            <p:nvPr/>
          </p:nvSpPr>
          <p:spPr>
            <a:xfrm>
              <a:off x="1533125" y="1952050"/>
              <a:ext cx="62425" cy="53450"/>
            </a:xfrm>
            <a:custGeom>
              <a:avLst/>
              <a:gdLst/>
              <a:ahLst/>
              <a:cxnLst/>
              <a:rect l="l" t="t" r="r" b="b"/>
              <a:pathLst>
                <a:path w="2497" h="2138" extrusionOk="0">
                  <a:moveTo>
                    <a:pt x="1066" y="1"/>
                  </a:moveTo>
                  <a:cubicBezTo>
                    <a:pt x="480" y="9"/>
                    <a:pt x="1" y="481"/>
                    <a:pt x="1" y="1074"/>
                  </a:cubicBezTo>
                  <a:cubicBezTo>
                    <a:pt x="1" y="1712"/>
                    <a:pt x="525" y="2138"/>
                    <a:pt x="1073" y="2138"/>
                  </a:cubicBezTo>
                  <a:cubicBezTo>
                    <a:pt x="1336" y="2138"/>
                    <a:pt x="1603" y="2040"/>
                    <a:pt x="1822" y="1822"/>
                  </a:cubicBezTo>
                  <a:cubicBezTo>
                    <a:pt x="2497" y="1155"/>
                    <a:pt x="2017" y="1"/>
                    <a:pt x="1066"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252" name="Google Shape;2252;p104"/>
            <p:cNvSpPr/>
            <p:nvPr/>
          </p:nvSpPr>
          <p:spPr>
            <a:xfrm>
              <a:off x="1533125" y="1876050"/>
              <a:ext cx="62425" cy="53275"/>
            </a:xfrm>
            <a:custGeom>
              <a:avLst/>
              <a:gdLst/>
              <a:ahLst/>
              <a:cxnLst/>
              <a:rect l="l" t="t" r="r" b="b"/>
              <a:pathLst>
                <a:path w="2497" h="2131" extrusionOk="0">
                  <a:moveTo>
                    <a:pt x="1066" y="1"/>
                  </a:moveTo>
                  <a:cubicBezTo>
                    <a:pt x="480" y="1"/>
                    <a:pt x="1" y="472"/>
                    <a:pt x="1" y="1066"/>
                  </a:cubicBezTo>
                  <a:cubicBezTo>
                    <a:pt x="1" y="1707"/>
                    <a:pt x="523" y="2131"/>
                    <a:pt x="1070" y="2131"/>
                  </a:cubicBezTo>
                  <a:cubicBezTo>
                    <a:pt x="1333" y="2131"/>
                    <a:pt x="1602" y="2033"/>
                    <a:pt x="1822" y="1813"/>
                  </a:cubicBezTo>
                  <a:cubicBezTo>
                    <a:pt x="2497" y="1147"/>
                    <a:pt x="2017" y="1"/>
                    <a:pt x="1066"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253" name="Google Shape;2253;p104"/>
            <p:cNvSpPr/>
            <p:nvPr/>
          </p:nvSpPr>
          <p:spPr>
            <a:xfrm>
              <a:off x="1533125" y="1799850"/>
              <a:ext cx="62425" cy="53325"/>
            </a:xfrm>
            <a:custGeom>
              <a:avLst/>
              <a:gdLst/>
              <a:ahLst/>
              <a:cxnLst/>
              <a:rect l="l" t="t" r="r" b="b"/>
              <a:pathLst>
                <a:path w="2497" h="2133" extrusionOk="0">
                  <a:moveTo>
                    <a:pt x="1066" y="0"/>
                  </a:moveTo>
                  <a:cubicBezTo>
                    <a:pt x="480" y="0"/>
                    <a:pt x="1" y="480"/>
                    <a:pt x="1" y="1065"/>
                  </a:cubicBezTo>
                  <a:cubicBezTo>
                    <a:pt x="1" y="1709"/>
                    <a:pt x="526" y="2133"/>
                    <a:pt x="1075" y="2133"/>
                  </a:cubicBezTo>
                  <a:cubicBezTo>
                    <a:pt x="1337" y="2133"/>
                    <a:pt x="1604" y="2036"/>
                    <a:pt x="1822" y="1821"/>
                  </a:cubicBezTo>
                  <a:cubicBezTo>
                    <a:pt x="2497" y="1146"/>
                    <a:pt x="2017" y="0"/>
                    <a:pt x="1066"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254" name="Google Shape;2254;p104"/>
            <p:cNvSpPr/>
            <p:nvPr/>
          </p:nvSpPr>
          <p:spPr>
            <a:xfrm>
              <a:off x="1533125" y="1723625"/>
              <a:ext cx="62425" cy="53350"/>
            </a:xfrm>
            <a:custGeom>
              <a:avLst/>
              <a:gdLst/>
              <a:ahLst/>
              <a:cxnLst/>
              <a:rect l="l" t="t" r="r" b="b"/>
              <a:pathLst>
                <a:path w="2497" h="2134" extrusionOk="0">
                  <a:moveTo>
                    <a:pt x="1066" y="1"/>
                  </a:moveTo>
                  <a:cubicBezTo>
                    <a:pt x="480" y="1"/>
                    <a:pt x="1" y="480"/>
                    <a:pt x="1" y="1065"/>
                  </a:cubicBezTo>
                  <a:cubicBezTo>
                    <a:pt x="1" y="1709"/>
                    <a:pt x="526" y="2133"/>
                    <a:pt x="1075" y="2133"/>
                  </a:cubicBezTo>
                  <a:cubicBezTo>
                    <a:pt x="1337" y="2133"/>
                    <a:pt x="1604" y="2037"/>
                    <a:pt x="1822" y="1822"/>
                  </a:cubicBezTo>
                  <a:cubicBezTo>
                    <a:pt x="2497" y="1147"/>
                    <a:pt x="2017" y="1"/>
                    <a:pt x="1066"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255" name="Google Shape;2255;p104"/>
            <p:cNvSpPr/>
            <p:nvPr/>
          </p:nvSpPr>
          <p:spPr>
            <a:xfrm>
              <a:off x="1533125" y="1647400"/>
              <a:ext cx="62425" cy="53450"/>
            </a:xfrm>
            <a:custGeom>
              <a:avLst/>
              <a:gdLst/>
              <a:ahLst/>
              <a:cxnLst/>
              <a:rect l="l" t="t" r="r" b="b"/>
              <a:pathLst>
                <a:path w="2497" h="2138" extrusionOk="0">
                  <a:moveTo>
                    <a:pt x="1066" y="1"/>
                  </a:moveTo>
                  <a:cubicBezTo>
                    <a:pt x="480" y="1"/>
                    <a:pt x="1" y="481"/>
                    <a:pt x="1" y="1066"/>
                  </a:cubicBezTo>
                  <a:cubicBezTo>
                    <a:pt x="1" y="1710"/>
                    <a:pt x="526" y="2138"/>
                    <a:pt x="1075" y="2138"/>
                  </a:cubicBezTo>
                  <a:cubicBezTo>
                    <a:pt x="1337" y="2138"/>
                    <a:pt x="1604" y="2040"/>
                    <a:pt x="1822" y="1822"/>
                  </a:cubicBezTo>
                  <a:cubicBezTo>
                    <a:pt x="2497" y="1147"/>
                    <a:pt x="2017" y="1"/>
                    <a:pt x="1066"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256" name="Google Shape;2256;p104"/>
            <p:cNvSpPr/>
            <p:nvPr/>
          </p:nvSpPr>
          <p:spPr>
            <a:xfrm>
              <a:off x="1533125" y="1342750"/>
              <a:ext cx="62425" cy="53450"/>
            </a:xfrm>
            <a:custGeom>
              <a:avLst/>
              <a:gdLst/>
              <a:ahLst/>
              <a:cxnLst/>
              <a:rect l="l" t="t" r="r" b="b"/>
              <a:pathLst>
                <a:path w="2497" h="2138" extrusionOk="0">
                  <a:moveTo>
                    <a:pt x="1066" y="1"/>
                  </a:moveTo>
                  <a:cubicBezTo>
                    <a:pt x="480" y="1"/>
                    <a:pt x="1" y="481"/>
                    <a:pt x="1" y="1066"/>
                  </a:cubicBezTo>
                  <a:cubicBezTo>
                    <a:pt x="1" y="1710"/>
                    <a:pt x="526" y="2138"/>
                    <a:pt x="1075" y="2138"/>
                  </a:cubicBezTo>
                  <a:cubicBezTo>
                    <a:pt x="1337" y="2138"/>
                    <a:pt x="1604" y="2040"/>
                    <a:pt x="1822" y="1822"/>
                  </a:cubicBezTo>
                  <a:cubicBezTo>
                    <a:pt x="2497" y="1147"/>
                    <a:pt x="2017" y="1"/>
                    <a:pt x="1066"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257" name="Google Shape;2257;p104"/>
            <p:cNvSpPr/>
            <p:nvPr/>
          </p:nvSpPr>
          <p:spPr>
            <a:xfrm>
              <a:off x="1456925" y="2866425"/>
              <a:ext cx="62425" cy="53275"/>
            </a:xfrm>
            <a:custGeom>
              <a:avLst/>
              <a:gdLst/>
              <a:ahLst/>
              <a:cxnLst/>
              <a:rect l="l" t="t" r="r" b="b"/>
              <a:pathLst>
                <a:path w="2497" h="2131" extrusionOk="0">
                  <a:moveTo>
                    <a:pt x="1065" y="0"/>
                  </a:moveTo>
                  <a:cubicBezTo>
                    <a:pt x="480" y="0"/>
                    <a:pt x="0" y="472"/>
                    <a:pt x="0" y="1065"/>
                  </a:cubicBezTo>
                  <a:cubicBezTo>
                    <a:pt x="0" y="1707"/>
                    <a:pt x="526" y="2131"/>
                    <a:pt x="1073" y="2131"/>
                  </a:cubicBezTo>
                  <a:cubicBezTo>
                    <a:pt x="1336" y="2131"/>
                    <a:pt x="1605" y="2032"/>
                    <a:pt x="1821" y="1813"/>
                  </a:cubicBezTo>
                  <a:cubicBezTo>
                    <a:pt x="2496" y="1146"/>
                    <a:pt x="2016" y="0"/>
                    <a:pt x="1065"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258" name="Google Shape;2258;p104"/>
            <p:cNvSpPr/>
            <p:nvPr/>
          </p:nvSpPr>
          <p:spPr>
            <a:xfrm>
              <a:off x="1456925" y="2790200"/>
              <a:ext cx="62425" cy="53350"/>
            </a:xfrm>
            <a:custGeom>
              <a:avLst/>
              <a:gdLst/>
              <a:ahLst/>
              <a:cxnLst/>
              <a:rect l="l" t="t" r="r" b="b"/>
              <a:pathLst>
                <a:path w="2497" h="2134" extrusionOk="0">
                  <a:moveTo>
                    <a:pt x="1065" y="1"/>
                  </a:moveTo>
                  <a:cubicBezTo>
                    <a:pt x="480" y="1"/>
                    <a:pt x="8" y="480"/>
                    <a:pt x="0" y="1066"/>
                  </a:cubicBezTo>
                  <a:cubicBezTo>
                    <a:pt x="0" y="1709"/>
                    <a:pt x="526" y="2134"/>
                    <a:pt x="1074" y="2134"/>
                  </a:cubicBezTo>
                  <a:cubicBezTo>
                    <a:pt x="1336" y="2134"/>
                    <a:pt x="1603" y="2037"/>
                    <a:pt x="1821" y="1822"/>
                  </a:cubicBezTo>
                  <a:cubicBezTo>
                    <a:pt x="2496" y="1147"/>
                    <a:pt x="2016" y="1"/>
                    <a:pt x="1065"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259" name="Google Shape;2259;p104"/>
            <p:cNvSpPr/>
            <p:nvPr/>
          </p:nvSpPr>
          <p:spPr>
            <a:xfrm>
              <a:off x="1456925" y="2714000"/>
              <a:ext cx="62425" cy="53350"/>
            </a:xfrm>
            <a:custGeom>
              <a:avLst/>
              <a:gdLst/>
              <a:ahLst/>
              <a:cxnLst/>
              <a:rect l="l" t="t" r="r" b="b"/>
              <a:pathLst>
                <a:path w="2497" h="2134" extrusionOk="0">
                  <a:moveTo>
                    <a:pt x="1065" y="0"/>
                  </a:moveTo>
                  <a:cubicBezTo>
                    <a:pt x="480" y="0"/>
                    <a:pt x="0" y="480"/>
                    <a:pt x="0" y="1065"/>
                  </a:cubicBezTo>
                  <a:cubicBezTo>
                    <a:pt x="0" y="1709"/>
                    <a:pt x="526" y="2133"/>
                    <a:pt x="1074" y="2133"/>
                  </a:cubicBezTo>
                  <a:cubicBezTo>
                    <a:pt x="1336" y="2133"/>
                    <a:pt x="1603" y="2036"/>
                    <a:pt x="1821" y="1821"/>
                  </a:cubicBezTo>
                  <a:cubicBezTo>
                    <a:pt x="2496" y="1146"/>
                    <a:pt x="2016" y="0"/>
                    <a:pt x="1065"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260" name="Google Shape;2260;p104"/>
            <p:cNvSpPr/>
            <p:nvPr/>
          </p:nvSpPr>
          <p:spPr>
            <a:xfrm>
              <a:off x="1456925" y="2637775"/>
              <a:ext cx="62425" cy="53450"/>
            </a:xfrm>
            <a:custGeom>
              <a:avLst/>
              <a:gdLst/>
              <a:ahLst/>
              <a:cxnLst/>
              <a:rect l="l" t="t" r="r" b="b"/>
              <a:pathLst>
                <a:path w="2497" h="2138" extrusionOk="0">
                  <a:moveTo>
                    <a:pt x="1065" y="1"/>
                  </a:moveTo>
                  <a:cubicBezTo>
                    <a:pt x="480" y="9"/>
                    <a:pt x="0" y="480"/>
                    <a:pt x="0" y="1074"/>
                  </a:cubicBezTo>
                  <a:cubicBezTo>
                    <a:pt x="0" y="1712"/>
                    <a:pt x="528" y="2137"/>
                    <a:pt x="1077" y="2137"/>
                  </a:cubicBezTo>
                  <a:cubicBezTo>
                    <a:pt x="1339" y="2137"/>
                    <a:pt x="1606" y="2040"/>
                    <a:pt x="1821" y="1822"/>
                  </a:cubicBezTo>
                  <a:cubicBezTo>
                    <a:pt x="2496" y="1147"/>
                    <a:pt x="2016" y="1"/>
                    <a:pt x="1065"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261" name="Google Shape;2261;p104"/>
            <p:cNvSpPr/>
            <p:nvPr/>
          </p:nvSpPr>
          <p:spPr>
            <a:xfrm>
              <a:off x="1456925" y="2561575"/>
              <a:ext cx="62425" cy="53425"/>
            </a:xfrm>
            <a:custGeom>
              <a:avLst/>
              <a:gdLst/>
              <a:ahLst/>
              <a:cxnLst/>
              <a:rect l="l" t="t" r="r" b="b"/>
              <a:pathLst>
                <a:path w="2497" h="2137" extrusionOk="0">
                  <a:moveTo>
                    <a:pt x="1065" y="0"/>
                  </a:moveTo>
                  <a:cubicBezTo>
                    <a:pt x="480" y="8"/>
                    <a:pt x="8" y="480"/>
                    <a:pt x="0" y="1073"/>
                  </a:cubicBezTo>
                  <a:cubicBezTo>
                    <a:pt x="0" y="1711"/>
                    <a:pt x="525" y="2137"/>
                    <a:pt x="1073" y="2137"/>
                  </a:cubicBezTo>
                  <a:cubicBezTo>
                    <a:pt x="1335" y="2137"/>
                    <a:pt x="1603" y="2039"/>
                    <a:pt x="1821" y="1821"/>
                  </a:cubicBezTo>
                  <a:cubicBezTo>
                    <a:pt x="2496" y="1154"/>
                    <a:pt x="2016" y="0"/>
                    <a:pt x="1065"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262" name="Google Shape;2262;p104"/>
            <p:cNvSpPr/>
            <p:nvPr/>
          </p:nvSpPr>
          <p:spPr>
            <a:xfrm>
              <a:off x="1456925" y="2485550"/>
              <a:ext cx="62425" cy="53300"/>
            </a:xfrm>
            <a:custGeom>
              <a:avLst/>
              <a:gdLst/>
              <a:ahLst/>
              <a:cxnLst/>
              <a:rect l="l" t="t" r="r" b="b"/>
              <a:pathLst>
                <a:path w="2497" h="2132" extrusionOk="0">
                  <a:moveTo>
                    <a:pt x="1065" y="1"/>
                  </a:moveTo>
                  <a:cubicBezTo>
                    <a:pt x="480" y="1"/>
                    <a:pt x="0" y="480"/>
                    <a:pt x="0" y="1066"/>
                  </a:cubicBezTo>
                  <a:cubicBezTo>
                    <a:pt x="0" y="1708"/>
                    <a:pt x="526" y="2131"/>
                    <a:pt x="1073" y="2131"/>
                  </a:cubicBezTo>
                  <a:cubicBezTo>
                    <a:pt x="1336" y="2131"/>
                    <a:pt x="1605" y="2033"/>
                    <a:pt x="1821" y="1814"/>
                  </a:cubicBezTo>
                  <a:cubicBezTo>
                    <a:pt x="2496" y="1147"/>
                    <a:pt x="2016" y="1"/>
                    <a:pt x="1065"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263" name="Google Shape;2263;p104"/>
            <p:cNvSpPr/>
            <p:nvPr/>
          </p:nvSpPr>
          <p:spPr>
            <a:xfrm>
              <a:off x="1456925" y="2409350"/>
              <a:ext cx="62425" cy="53350"/>
            </a:xfrm>
            <a:custGeom>
              <a:avLst/>
              <a:gdLst/>
              <a:ahLst/>
              <a:cxnLst/>
              <a:rect l="l" t="t" r="r" b="b"/>
              <a:pathLst>
                <a:path w="2497" h="2134" extrusionOk="0">
                  <a:moveTo>
                    <a:pt x="1065" y="0"/>
                  </a:moveTo>
                  <a:cubicBezTo>
                    <a:pt x="480" y="0"/>
                    <a:pt x="8" y="480"/>
                    <a:pt x="0" y="1065"/>
                  </a:cubicBezTo>
                  <a:cubicBezTo>
                    <a:pt x="0" y="1709"/>
                    <a:pt x="526" y="2133"/>
                    <a:pt x="1074" y="2133"/>
                  </a:cubicBezTo>
                  <a:cubicBezTo>
                    <a:pt x="1336" y="2133"/>
                    <a:pt x="1603" y="2036"/>
                    <a:pt x="1821" y="1821"/>
                  </a:cubicBezTo>
                  <a:cubicBezTo>
                    <a:pt x="2496" y="1146"/>
                    <a:pt x="2016" y="0"/>
                    <a:pt x="1065"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264" name="Google Shape;2264;p104"/>
            <p:cNvSpPr/>
            <p:nvPr/>
          </p:nvSpPr>
          <p:spPr>
            <a:xfrm>
              <a:off x="1456925" y="2333125"/>
              <a:ext cx="62425" cy="53450"/>
            </a:xfrm>
            <a:custGeom>
              <a:avLst/>
              <a:gdLst/>
              <a:ahLst/>
              <a:cxnLst/>
              <a:rect l="l" t="t" r="r" b="b"/>
              <a:pathLst>
                <a:path w="2497" h="2138" extrusionOk="0">
                  <a:moveTo>
                    <a:pt x="1065" y="1"/>
                  </a:moveTo>
                  <a:cubicBezTo>
                    <a:pt x="480" y="1"/>
                    <a:pt x="0" y="480"/>
                    <a:pt x="0" y="1066"/>
                  </a:cubicBezTo>
                  <a:cubicBezTo>
                    <a:pt x="0" y="1709"/>
                    <a:pt x="525" y="2137"/>
                    <a:pt x="1074" y="2137"/>
                  </a:cubicBezTo>
                  <a:cubicBezTo>
                    <a:pt x="1336" y="2137"/>
                    <a:pt x="1603" y="2040"/>
                    <a:pt x="1821" y="1822"/>
                  </a:cubicBezTo>
                  <a:cubicBezTo>
                    <a:pt x="2496" y="1147"/>
                    <a:pt x="2016" y="1"/>
                    <a:pt x="1065"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265" name="Google Shape;2265;p104"/>
            <p:cNvSpPr/>
            <p:nvPr/>
          </p:nvSpPr>
          <p:spPr>
            <a:xfrm>
              <a:off x="1456925" y="2256925"/>
              <a:ext cx="62550" cy="53425"/>
            </a:xfrm>
            <a:custGeom>
              <a:avLst/>
              <a:gdLst/>
              <a:ahLst/>
              <a:cxnLst/>
              <a:rect l="l" t="t" r="r" b="b"/>
              <a:pathLst>
                <a:path w="2502" h="2137" extrusionOk="0">
                  <a:moveTo>
                    <a:pt x="1075" y="0"/>
                  </a:moveTo>
                  <a:cubicBezTo>
                    <a:pt x="1072" y="0"/>
                    <a:pt x="1069" y="0"/>
                    <a:pt x="1065" y="0"/>
                  </a:cubicBezTo>
                  <a:cubicBezTo>
                    <a:pt x="480" y="0"/>
                    <a:pt x="0" y="480"/>
                    <a:pt x="0" y="1065"/>
                  </a:cubicBezTo>
                  <a:cubicBezTo>
                    <a:pt x="0" y="1709"/>
                    <a:pt x="529" y="2137"/>
                    <a:pt x="1080" y="2137"/>
                  </a:cubicBezTo>
                  <a:cubicBezTo>
                    <a:pt x="1343" y="2137"/>
                    <a:pt x="1611" y="2039"/>
                    <a:pt x="1829" y="1821"/>
                  </a:cubicBezTo>
                  <a:cubicBezTo>
                    <a:pt x="2502" y="1149"/>
                    <a:pt x="2028" y="0"/>
                    <a:pt x="1075"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266" name="Google Shape;2266;p104"/>
            <p:cNvSpPr/>
            <p:nvPr/>
          </p:nvSpPr>
          <p:spPr>
            <a:xfrm>
              <a:off x="1456925" y="2180700"/>
              <a:ext cx="62425" cy="53350"/>
            </a:xfrm>
            <a:custGeom>
              <a:avLst/>
              <a:gdLst/>
              <a:ahLst/>
              <a:cxnLst/>
              <a:rect l="l" t="t" r="r" b="b"/>
              <a:pathLst>
                <a:path w="2497" h="2134" extrusionOk="0">
                  <a:moveTo>
                    <a:pt x="1065" y="1"/>
                  </a:moveTo>
                  <a:cubicBezTo>
                    <a:pt x="480" y="1"/>
                    <a:pt x="8" y="480"/>
                    <a:pt x="0" y="1066"/>
                  </a:cubicBezTo>
                  <a:cubicBezTo>
                    <a:pt x="0" y="1709"/>
                    <a:pt x="526" y="2133"/>
                    <a:pt x="1074" y="2133"/>
                  </a:cubicBezTo>
                  <a:cubicBezTo>
                    <a:pt x="1336" y="2133"/>
                    <a:pt x="1603" y="2037"/>
                    <a:pt x="1821" y="1822"/>
                  </a:cubicBezTo>
                  <a:cubicBezTo>
                    <a:pt x="2496" y="1147"/>
                    <a:pt x="2016" y="1"/>
                    <a:pt x="1065"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267" name="Google Shape;2267;p104"/>
            <p:cNvSpPr/>
            <p:nvPr/>
          </p:nvSpPr>
          <p:spPr>
            <a:xfrm>
              <a:off x="1456925" y="2104500"/>
              <a:ext cx="62425" cy="53325"/>
            </a:xfrm>
            <a:custGeom>
              <a:avLst/>
              <a:gdLst/>
              <a:ahLst/>
              <a:cxnLst/>
              <a:rect l="l" t="t" r="r" b="b"/>
              <a:pathLst>
                <a:path w="2497" h="2133" extrusionOk="0">
                  <a:moveTo>
                    <a:pt x="1065" y="0"/>
                  </a:moveTo>
                  <a:cubicBezTo>
                    <a:pt x="480" y="0"/>
                    <a:pt x="0" y="480"/>
                    <a:pt x="0" y="1065"/>
                  </a:cubicBezTo>
                  <a:cubicBezTo>
                    <a:pt x="0" y="1709"/>
                    <a:pt x="526" y="2133"/>
                    <a:pt x="1074" y="2133"/>
                  </a:cubicBezTo>
                  <a:cubicBezTo>
                    <a:pt x="1336" y="2133"/>
                    <a:pt x="1603" y="2036"/>
                    <a:pt x="1821" y="1821"/>
                  </a:cubicBezTo>
                  <a:cubicBezTo>
                    <a:pt x="2496" y="1146"/>
                    <a:pt x="2016" y="0"/>
                    <a:pt x="1065"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268" name="Google Shape;2268;p104"/>
            <p:cNvSpPr/>
            <p:nvPr/>
          </p:nvSpPr>
          <p:spPr>
            <a:xfrm>
              <a:off x="1456925" y="2028275"/>
              <a:ext cx="62425" cy="53450"/>
            </a:xfrm>
            <a:custGeom>
              <a:avLst/>
              <a:gdLst/>
              <a:ahLst/>
              <a:cxnLst/>
              <a:rect l="l" t="t" r="r" b="b"/>
              <a:pathLst>
                <a:path w="2497" h="2138" extrusionOk="0">
                  <a:moveTo>
                    <a:pt x="1065" y="1"/>
                  </a:moveTo>
                  <a:cubicBezTo>
                    <a:pt x="480" y="1"/>
                    <a:pt x="8" y="480"/>
                    <a:pt x="0" y="1065"/>
                  </a:cubicBezTo>
                  <a:cubicBezTo>
                    <a:pt x="0" y="1709"/>
                    <a:pt x="525" y="2137"/>
                    <a:pt x="1074" y="2137"/>
                  </a:cubicBezTo>
                  <a:cubicBezTo>
                    <a:pt x="1336" y="2137"/>
                    <a:pt x="1603" y="2040"/>
                    <a:pt x="1821" y="1821"/>
                  </a:cubicBezTo>
                  <a:cubicBezTo>
                    <a:pt x="2496" y="1147"/>
                    <a:pt x="2016" y="1"/>
                    <a:pt x="1065"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269" name="Google Shape;2269;p104"/>
            <p:cNvSpPr/>
            <p:nvPr/>
          </p:nvSpPr>
          <p:spPr>
            <a:xfrm>
              <a:off x="1456925" y="1952050"/>
              <a:ext cx="62425" cy="53450"/>
            </a:xfrm>
            <a:custGeom>
              <a:avLst/>
              <a:gdLst/>
              <a:ahLst/>
              <a:cxnLst/>
              <a:rect l="l" t="t" r="r" b="b"/>
              <a:pathLst>
                <a:path w="2497" h="2138" extrusionOk="0">
                  <a:moveTo>
                    <a:pt x="1065" y="1"/>
                  </a:moveTo>
                  <a:cubicBezTo>
                    <a:pt x="480" y="9"/>
                    <a:pt x="8" y="481"/>
                    <a:pt x="0" y="1074"/>
                  </a:cubicBezTo>
                  <a:cubicBezTo>
                    <a:pt x="0" y="1712"/>
                    <a:pt x="525" y="2138"/>
                    <a:pt x="1073" y="2138"/>
                  </a:cubicBezTo>
                  <a:cubicBezTo>
                    <a:pt x="1335" y="2138"/>
                    <a:pt x="1603" y="2040"/>
                    <a:pt x="1821" y="1822"/>
                  </a:cubicBezTo>
                  <a:cubicBezTo>
                    <a:pt x="2496" y="1155"/>
                    <a:pt x="2016" y="1"/>
                    <a:pt x="1065"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270" name="Google Shape;2270;p104"/>
            <p:cNvSpPr/>
            <p:nvPr/>
          </p:nvSpPr>
          <p:spPr>
            <a:xfrm>
              <a:off x="1456925" y="1876050"/>
              <a:ext cx="62425" cy="53275"/>
            </a:xfrm>
            <a:custGeom>
              <a:avLst/>
              <a:gdLst/>
              <a:ahLst/>
              <a:cxnLst/>
              <a:rect l="l" t="t" r="r" b="b"/>
              <a:pathLst>
                <a:path w="2497" h="2131" extrusionOk="0">
                  <a:moveTo>
                    <a:pt x="1065" y="1"/>
                  </a:moveTo>
                  <a:cubicBezTo>
                    <a:pt x="480" y="1"/>
                    <a:pt x="0" y="472"/>
                    <a:pt x="0" y="1066"/>
                  </a:cubicBezTo>
                  <a:cubicBezTo>
                    <a:pt x="0" y="1707"/>
                    <a:pt x="522" y="2131"/>
                    <a:pt x="1069" y="2131"/>
                  </a:cubicBezTo>
                  <a:cubicBezTo>
                    <a:pt x="1333" y="2131"/>
                    <a:pt x="1602" y="2033"/>
                    <a:pt x="1821" y="1813"/>
                  </a:cubicBezTo>
                  <a:cubicBezTo>
                    <a:pt x="2496" y="1147"/>
                    <a:pt x="2016" y="1"/>
                    <a:pt x="1065"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271" name="Google Shape;2271;p104"/>
            <p:cNvSpPr/>
            <p:nvPr/>
          </p:nvSpPr>
          <p:spPr>
            <a:xfrm>
              <a:off x="1456925" y="1799850"/>
              <a:ext cx="62425" cy="53325"/>
            </a:xfrm>
            <a:custGeom>
              <a:avLst/>
              <a:gdLst/>
              <a:ahLst/>
              <a:cxnLst/>
              <a:rect l="l" t="t" r="r" b="b"/>
              <a:pathLst>
                <a:path w="2497" h="2133" extrusionOk="0">
                  <a:moveTo>
                    <a:pt x="1065" y="0"/>
                  </a:moveTo>
                  <a:cubicBezTo>
                    <a:pt x="480" y="0"/>
                    <a:pt x="8" y="480"/>
                    <a:pt x="0" y="1065"/>
                  </a:cubicBezTo>
                  <a:cubicBezTo>
                    <a:pt x="0" y="1709"/>
                    <a:pt x="526" y="2133"/>
                    <a:pt x="1074" y="2133"/>
                  </a:cubicBezTo>
                  <a:cubicBezTo>
                    <a:pt x="1336" y="2133"/>
                    <a:pt x="1603" y="2036"/>
                    <a:pt x="1821" y="1821"/>
                  </a:cubicBezTo>
                  <a:cubicBezTo>
                    <a:pt x="2496" y="1146"/>
                    <a:pt x="2016" y="0"/>
                    <a:pt x="1065"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272" name="Google Shape;2272;p104"/>
            <p:cNvSpPr/>
            <p:nvPr/>
          </p:nvSpPr>
          <p:spPr>
            <a:xfrm>
              <a:off x="1456925" y="1723625"/>
              <a:ext cx="62425" cy="53350"/>
            </a:xfrm>
            <a:custGeom>
              <a:avLst/>
              <a:gdLst/>
              <a:ahLst/>
              <a:cxnLst/>
              <a:rect l="l" t="t" r="r" b="b"/>
              <a:pathLst>
                <a:path w="2497" h="2134" extrusionOk="0">
                  <a:moveTo>
                    <a:pt x="1065" y="1"/>
                  </a:moveTo>
                  <a:cubicBezTo>
                    <a:pt x="480" y="1"/>
                    <a:pt x="0" y="480"/>
                    <a:pt x="0" y="1065"/>
                  </a:cubicBezTo>
                  <a:cubicBezTo>
                    <a:pt x="0" y="1709"/>
                    <a:pt x="526" y="2133"/>
                    <a:pt x="1074" y="2133"/>
                  </a:cubicBezTo>
                  <a:cubicBezTo>
                    <a:pt x="1336" y="2133"/>
                    <a:pt x="1603" y="2037"/>
                    <a:pt x="1821" y="1822"/>
                  </a:cubicBezTo>
                  <a:cubicBezTo>
                    <a:pt x="2496" y="1147"/>
                    <a:pt x="2016" y="1"/>
                    <a:pt x="1065"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273" name="Google Shape;2273;p104"/>
            <p:cNvSpPr/>
            <p:nvPr/>
          </p:nvSpPr>
          <p:spPr>
            <a:xfrm>
              <a:off x="1456925" y="1647400"/>
              <a:ext cx="62425" cy="53450"/>
            </a:xfrm>
            <a:custGeom>
              <a:avLst/>
              <a:gdLst/>
              <a:ahLst/>
              <a:cxnLst/>
              <a:rect l="l" t="t" r="r" b="b"/>
              <a:pathLst>
                <a:path w="2497" h="2138" extrusionOk="0">
                  <a:moveTo>
                    <a:pt x="1065" y="1"/>
                  </a:moveTo>
                  <a:cubicBezTo>
                    <a:pt x="480" y="9"/>
                    <a:pt x="8" y="481"/>
                    <a:pt x="0" y="1066"/>
                  </a:cubicBezTo>
                  <a:cubicBezTo>
                    <a:pt x="0" y="1710"/>
                    <a:pt x="525" y="2138"/>
                    <a:pt x="1074" y="2138"/>
                  </a:cubicBezTo>
                  <a:cubicBezTo>
                    <a:pt x="1336" y="2138"/>
                    <a:pt x="1603" y="2040"/>
                    <a:pt x="1821" y="1822"/>
                  </a:cubicBezTo>
                  <a:cubicBezTo>
                    <a:pt x="2496" y="1147"/>
                    <a:pt x="2016" y="1"/>
                    <a:pt x="1065"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274" name="Google Shape;2274;p104"/>
            <p:cNvSpPr/>
            <p:nvPr/>
          </p:nvSpPr>
          <p:spPr>
            <a:xfrm>
              <a:off x="1456925" y="1571400"/>
              <a:ext cx="62425" cy="53250"/>
            </a:xfrm>
            <a:custGeom>
              <a:avLst/>
              <a:gdLst/>
              <a:ahLst/>
              <a:cxnLst/>
              <a:rect l="l" t="t" r="r" b="b"/>
              <a:pathLst>
                <a:path w="2497" h="2130" extrusionOk="0">
                  <a:moveTo>
                    <a:pt x="1065" y="1"/>
                  </a:moveTo>
                  <a:cubicBezTo>
                    <a:pt x="480" y="1"/>
                    <a:pt x="8" y="472"/>
                    <a:pt x="0" y="1066"/>
                  </a:cubicBezTo>
                  <a:cubicBezTo>
                    <a:pt x="0" y="1703"/>
                    <a:pt x="525" y="2129"/>
                    <a:pt x="1073" y="2129"/>
                  </a:cubicBezTo>
                  <a:cubicBezTo>
                    <a:pt x="1335" y="2129"/>
                    <a:pt x="1603" y="2032"/>
                    <a:pt x="1821" y="1813"/>
                  </a:cubicBezTo>
                  <a:cubicBezTo>
                    <a:pt x="2496" y="1147"/>
                    <a:pt x="2016" y="1"/>
                    <a:pt x="1065"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275" name="Google Shape;2275;p104"/>
            <p:cNvSpPr/>
            <p:nvPr/>
          </p:nvSpPr>
          <p:spPr>
            <a:xfrm>
              <a:off x="1456925" y="1266550"/>
              <a:ext cx="62425" cy="53450"/>
            </a:xfrm>
            <a:custGeom>
              <a:avLst/>
              <a:gdLst/>
              <a:ahLst/>
              <a:cxnLst/>
              <a:rect l="l" t="t" r="r" b="b"/>
              <a:pathLst>
                <a:path w="2497" h="2138" extrusionOk="0">
                  <a:moveTo>
                    <a:pt x="1065" y="0"/>
                  </a:moveTo>
                  <a:cubicBezTo>
                    <a:pt x="480" y="9"/>
                    <a:pt x="8" y="480"/>
                    <a:pt x="0" y="1074"/>
                  </a:cubicBezTo>
                  <a:cubicBezTo>
                    <a:pt x="0" y="1711"/>
                    <a:pt x="525" y="2137"/>
                    <a:pt x="1073" y="2137"/>
                  </a:cubicBezTo>
                  <a:cubicBezTo>
                    <a:pt x="1335" y="2137"/>
                    <a:pt x="1603" y="2040"/>
                    <a:pt x="1821" y="1821"/>
                  </a:cubicBezTo>
                  <a:cubicBezTo>
                    <a:pt x="2496" y="1155"/>
                    <a:pt x="2016" y="0"/>
                    <a:pt x="1065"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276" name="Google Shape;2276;p104"/>
            <p:cNvSpPr/>
            <p:nvPr/>
          </p:nvSpPr>
          <p:spPr>
            <a:xfrm>
              <a:off x="1380900" y="2790200"/>
              <a:ext cx="62225" cy="53350"/>
            </a:xfrm>
            <a:custGeom>
              <a:avLst/>
              <a:gdLst/>
              <a:ahLst/>
              <a:cxnLst/>
              <a:rect l="l" t="t" r="r" b="b"/>
              <a:pathLst>
                <a:path w="2489" h="2134" extrusionOk="0">
                  <a:moveTo>
                    <a:pt x="1066" y="1"/>
                  </a:moveTo>
                  <a:cubicBezTo>
                    <a:pt x="472" y="1"/>
                    <a:pt x="1" y="480"/>
                    <a:pt x="1" y="1066"/>
                  </a:cubicBezTo>
                  <a:cubicBezTo>
                    <a:pt x="1" y="1709"/>
                    <a:pt x="526" y="2134"/>
                    <a:pt x="1072" y="2134"/>
                  </a:cubicBezTo>
                  <a:cubicBezTo>
                    <a:pt x="1333" y="2134"/>
                    <a:pt x="1598" y="2037"/>
                    <a:pt x="1814" y="1822"/>
                  </a:cubicBezTo>
                  <a:cubicBezTo>
                    <a:pt x="2488" y="1147"/>
                    <a:pt x="2009" y="1"/>
                    <a:pt x="1066"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277" name="Google Shape;2277;p104"/>
            <p:cNvSpPr/>
            <p:nvPr/>
          </p:nvSpPr>
          <p:spPr>
            <a:xfrm>
              <a:off x="1380900" y="2714000"/>
              <a:ext cx="62225" cy="53350"/>
            </a:xfrm>
            <a:custGeom>
              <a:avLst/>
              <a:gdLst/>
              <a:ahLst/>
              <a:cxnLst/>
              <a:rect l="l" t="t" r="r" b="b"/>
              <a:pathLst>
                <a:path w="2489" h="2134" extrusionOk="0">
                  <a:moveTo>
                    <a:pt x="1066" y="0"/>
                  </a:moveTo>
                  <a:cubicBezTo>
                    <a:pt x="472" y="0"/>
                    <a:pt x="1" y="480"/>
                    <a:pt x="1" y="1065"/>
                  </a:cubicBezTo>
                  <a:cubicBezTo>
                    <a:pt x="1" y="1709"/>
                    <a:pt x="526" y="2133"/>
                    <a:pt x="1072" y="2133"/>
                  </a:cubicBezTo>
                  <a:cubicBezTo>
                    <a:pt x="1333" y="2133"/>
                    <a:pt x="1598" y="2036"/>
                    <a:pt x="1814" y="1821"/>
                  </a:cubicBezTo>
                  <a:cubicBezTo>
                    <a:pt x="2488" y="1146"/>
                    <a:pt x="2009" y="0"/>
                    <a:pt x="1066"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278" name="Google Shape;2278;p104"/>
            <p:cNvSpPr/>
            <p:nvPr/>
          </p:nvSpPr>
          <p:spPr>
            <a:xfrm>
              <a:off x="1380900" y="2637775"/>
              <a:ext cx="62225" cy="53450"/>
            </a:xfrm>
            <a:custGeom>
              <a:avLst/>
              <a:gdLst/>
              <a:ahLst/>
              <a:cxnLst/>
              <a:rect l="l" t="t" r="r" b="b"/>
              <a:pathLst>
                <a:path w="2489" h="2138" extrusionOk="0">
                  <a:moveTo>
                    <a:pt x="1066" y="1"/>
                  </a:moveTo>
                  <a:cubicBezTo>
                    <a:pt x="472" y="9"/>
                    <a:pt x="1" y="480"/>
                    <a:pt x="1" y="1074"/>
                  </a:cubicBezTo>
                  <a:cubicBezTo>
                    <a:pt x="1" y="1712"/>
                    <a:pt x="525" y="2137"/>
                    <a:pt x="1071" y="2137"/>
                  </a:cubicBezTo>
                  <a:cubicBezTo>
                    <a:pt x="1332" y="2137"/>
                    <a:pt x="1598" y="2040"/>
                    <a:pt x="1814" y="1822"/>
                  </a:cubicBezTo>
                  <a:cubicBezTo>
                    <a:pt x="2488" y="1147"/>
                    <a:pt x="2009" y="1"/>
                    <a:pt x="1066"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279" name="Google Shape;2279;p104"/>
            <p:cNvSpPr/>
            <p:nvPr/>
          </p:nvSpPr>
          <p:spPr>
            <a:xfrm>
              <a:off x="1380900" y="2561575"/>
              <a:ext cx="62225" cy="53425"/>
            </a:xfrm>
            <a:custGeom>
              <a:avLst/>
              <a:gdLst/>
              <a:ahLst/>
              <a:cxnLst/>
              <a:rect l="l" t="t" r="r" b="b"/>
              <a:pathLst>
                <a:path w="2489" h="2137" extrusionOk="0">
                  <a:moveTo>
                    <a:pt x="1066" y="0"/>
                  </a:moveTo>
                  <a:cubicBezTo>
                    <a:pt x="472" y="8"/>
                    <a:pt x="1" y="480"/>
                    <a:pt x="1" y="1073"/>
                  </a:cubicBezTo>
                  <a:cubicBezTo>
                    <a:pt x="1" y="1711"/>
                    <a:pt x="525" y="2137"/>
                    <a:pt x="1071" y="2137"/>
                  </a:cubicBezTo>
                  <a:cubicBezTo>
                    <a:pt x="1332" y="2137"/>
                    <a:pt x="1598" y="2039"/>
                    <a:pt x="1814" y="1821"/>
                  </a:cubicBezTo>
                  <a:cubicBezTo>
                    <a:pt x="2488" y="1154"/>
                    <a:pt x="2009" y="0"/>
                    <a:pt x="1066"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280" name="Google Shape;2280;p104"/>
            <p:cNvSpPr/>
            <p:nvPr/>
          </p:nvSpPr>
          <p:spPr>
            <a:xfrm>
              <a:off x="1380900" y="2485550"/>
              <a:ext cx="62225" cy="53300"/>
            </a:xfrm>
            <a:custGeom>
              <a:avLst/>
              <a:gdLst/>
              <a:ahLst/>
              <a:cxnLst/>
              <a:rect l="l" t="t" r="r" b="b"/>
              <a:pathLst>
                <a:path w="2489" h="2132" extrusionOk="0">
                  <a:moveTo>
                    <a:pt x="1066" y="1"/>
                  </a:moveTo>
                  <a:cubicBezTo>
                    <a:pt x="472" y="1"/>
                    <a:pt x="1" y="480"/>
                    <a:pt x="1" y="1066"/>
                  </a:cubicBezTo>
                  <a:cubicBezTo>
                    <a:pt x="1" y="1708"/>
                    <a:pt x="523" y="2131"/>
                    <a:pt x="1067" y="2131"/>
                  </a:cubicBezTo>
                  <a:cubicBezTo>
                    <a:pt x="1330" y="2131"/>
                    <a:pt x="1597" y="2033"/>
                    <a:pt x="1814" y="1814"/>
                  </a:cubicBezTo>
                  <a:cubicBezTo>
                    <a:pt x="2488" y="1147"/>
                    <a:pt x="2009" y="1"/>
                    <a:pt x="1066"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281" name="Google Shape;2281;p104"/>
            <p:cNvSpPr/>
            <p:nvPr/>
          </p:nvSpPr>
          <p:spPr>
            <a:xfrm>
              <a:off x="1380900" y="2409350"/>
              <a:ext cx="62225" cy="53350"/>
            </a:xfrm>
            <a:custGeom>
              <a:avLst/>
              <a:gdLst/>
              <a:ahLst/>
              <a:cxnLst/>
              <a:rect l="l" t="t" r="r" b="b"/>
              <a:pathLst>
                <a:path w="2489" h="2134" extrusionOk="0">
                  <a:moveTo>
                    <a:pt x="1066" y="0"/>
                  </a:moveTo>
                  <a:cubicBezTo>
                    <a:pt x="472" y="0"/>
                    <a:pt x="1" y="480"/>
                    <a:pt x="1" y="1065"/>
                  </a:cubicBezTo>
                  <a:cubicBezTo>
                    <a:pt x="1" y="1709"/>
                    <a:pt x="526" y="2133"/>
                    <a:pt x="1072" y="2133"/>
                  </a:cubicBezTo>
                  <a:cubicBezTo>
                    <a:pt x="1333" y="2133"/>
                    <a:pt x="1598" y="2036"/>
                    <a:pt x="1814" y="1821"/>
                  </a:cubicBezTo>
                  <a:cubicBezTo>
                    <a:pt x="2488" y="1146"/>
                    <a:pt x="2009" y="0"/>
                    <a:pt x="1066"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282" name="Google Shape;2282;p104"/>
            <p:cNvSpPr/>
            <p:nvPr/>
          </p:nvSpPr>
          <p:spPr>
            <a:xfrm>
              <a:off x="1380900" y="2333125"/>
              <a:ext cx="62225" cy="53450"/>
            </a:xfrm>
            <a:custGeom>
              <a:avLst/>
              <a:gdLst/>
              <a:ahLst/>
              <a:cxnLst/>
              <a:rect l="l" t="t" r="r" b="b"/>
              <a:pathLst>
                <a:path w="2489" h="2138" extrusionOk="0">
                  <a:moveTo>
                    <a:pt x="1066" y="1"/>
                  </a:moveTo>
                  <a:cubicBezTo>
                    <a:pt x="472" y="1"/>
                    <a:pt x="1" y="480"/>
                    <a:pt x="1" y="1066"/>
                  </a:cubicBezTo>
                  <a:cubicBezTo>
                    <a:pt x="1" y="1709"/>
                    <a:pt x="526" y="2137"/>
                    <a:pt x="1072" y="2137"/>
                  </a:cubicBezTo>
                  <a:cubicBezTo>
                    <a:pt x="1333" y="2137"/>
                    <a:pt x="1598" y="2040"/>
                    <a:pt x="1814" y="1822"/>
                  </a:cubicBezTo>
                  <a:cubicBezTo>
                    <a:pt x="2488" y="1147"/>
                    <a:pt x="2009" y="1"/>
                    <a:pt x="1066"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283" name="Google Shape;2283;p104"/>
            <p:cNvSpPr/>
            <p:nvPr/>
          </p:nvSpPr>
          <p:spPr>
            <a:xfrm>
              <a:off x="1380900" y="2256925"/>
              <a:ext cx="62375" cy="53425"/>
            </a:xfrm>
            <a:custGeom>
              <a:avLst/>
              <a:gdLst/>
              <a:ahLst/>
              <a:cxnLst/>
              <a:rect l="l" t="t" r="r" b="b"/>
              <a:pathLst>
                <a:path w="2495" h="2137" extrusionOk="0">
                  <a:moveTo>
                    <a:pt x="1076" y="0"/>
                  </a:moveTo>
                  <a:cubicBezTo>
                    <a:pt x="1072" y="0"/>
                    <a:pt x="1069" y="0"/>
                    <a:pt x="1066" y="0"/>
                  </a:cubicBezTo>
                  <a:cubicBezTo>
                    <a:pt x="472" y="0"/>
                    <a:pt x="1" y="480"/>
                    <a:pt x="1" y="1065"/>
                  </a:cubicBezTo>
                  <a:cubicBezTo>
                    <a:pt x="1" y="1709"/>
                    <a:pt x="526" y="2137"/>
                    <a:pt x="1075" y="2137"/>
                  </a:cubicBezTo>
                  <a:cubicBezTo>
                    <a:pt x="1337" y="2137"/>
                    <a:pt x="1604" y="2039"/>
                    <a:pt x="1822" y="1821"/>
                  </a:cubicBezTo>
                  <a:cubicBezTo>
                    <a:pt x="2494" y="1149"/>
                    <a:pt x="2020" y="0"/>
                    <a:pt x="1076"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284" name="Google Shape;2284;p104"/>
            <p:cNvSpPr/>
            <p:nvPr/>
          </p:nvSpPr>
          <p:spPr>
            <a:xfrm>
              <a:off x="1380900" y="2180700"/>
              <a:ext cx="62225" cy="53350"/>
            </a:xfrm>
            <a:custGeom>
              <a:avLst/>
              <a:gdLst/>
              <a:ahLst/>
              <a:cxnLst/>
              <a:rect l="l" t="t" r="r" b="b"/>
              <a:pathLst>
                <a:path w="2489" h="2134" extrusionOk="0">
                  <a:moveTo>
                    <a:pt x="1066" y="1"/>
                  </a:moveTo>
                  <a:cubicBezTo>
                    <a:pt x="472" y="1"/>
                    <a:pt x="1" y="480"/>
                    <a:pt x="1" y="1066"/>
                  </a:cubicBezTo>
                  <a:cubicBezTo>
                    <a:pt x="1" y="1709"/>
                    <a:pt x="526" y="2133"/>
                    <a:pt x="1072" y="2133"/>
                  </a:cubicBezTo>
                  <a:cubicBezTo>
                    <a:pt x="1333" y="2133"/>
                    <a:pt x="1598" y="2037"/>
                    <a:pt x="1814" y="1822"/>
                  </a:cubicBezTo>
                  <a:cubicBezTo>
                    <a:pt x="2488" y="1147"/>
                    <a:pt x="2009" y="1"/>
                    <a:pt x="1066"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285" name="Google Shape;2285;p104"/>
            <p:cNvSpPr/>
            <p:nvPr/>
          </p:nvSpPr>
          <p:spPr>
            <a:xfrm>
              <a:off x="1380900" y="2104500"/>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4" y="1821"/>
                  </a:cubicBezTo>
                  <a:cubicBezTo>
                    <a:pt x="2488" y="1146"/>
                    <a:pt x="2009" y="0"/>
                    <a:pt x="1066"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286" name="Google Shape;2286;p104"/>
            <p:cNvSpPr/>
            <p:nvPr/>
          </p:nvSpPr>
          <p:spPr>
            <a:xfrm>
              <a:off x="1380900" y="2028275"/>
              <a:ext cx="62225" cy="53450"/>
            </a:xfrm>
            <a:custGeom>
              <a:avLst/>
              <a:gdLst/>
              <a:ahLst/>
              <a:cxnLst/>
              <a:rect l="l" t="t" r="r" b="b"/>
              <a:pathLst>
                <a:path w="2489" h="2138" extrusionOk="0">
                  <a:moveTo>
                    <a:pt x="1066" y="1"/>
                  </a:moveTo>
                  <a:cubicBezTo>
                    <a:pt x="472" y="1"/>
                    <a:pt x="1" y="480"/>
                    <a:pt x="1" y="1065"/>
                  </a:cubicBezTo>
                  <a:cubicBezTo>
                    <a:pt x="1" y="1709"/>
                    <a:pt x="526" y="2137"/>
                    <a:pt x="1072" y="2137"/>
                  </a:cubicBezTo>
                  <a:cubicBezTo>
                    <a:pt x="1333" y="2137"/>
                    <a:pt x="1598" y="2040"/>
                    <a:pt x="1814" y="1821"/>
                  </a:cubicBezTo>
                  <a:cubicBezTo>
                    <a:pt x="2488" y="1147"/>
                    <a:pt x="2009" y="1"/>
                    <a:pt x="1066"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287" name="Google Shape;2287;p104"/>
            <p:cNvSpPr/>
            <p:nvPr/>
          </p:nvSpPr>
          <p:spPr>
            <a:xfrm>
              <a:off x="1380900" y="1952050"/>
              <a:ext cx="62225" cy="53450"/>
            </a:xfrm>
            <a:custGeom>
              <a:avLst/>
              <a:gdLst/>
              <a:ahLst/>
              <a:cxnLst/>
              <a:rect l="l" t="t" r="r" b="b"/>
              <a:pathLst>
                <a:path w="2489" h="2138" extrusionOk="0">
                  <a:moveTo>
                    <a:pt x="1066" y="1"/>
                  </a:moveTo>
                  <a:cubicBezTo>
                    <a:pt x="472" y="9"/>
                    <a:pt x="1" y="481"/>
                    <a:pt x="1" y="1074"/>
                  </a:cubicBezTo>
                  <a:cubicBezTo>
                    <a:pt x="1" y="1712"/>
                    <a:pt x="525" y="2138"/>
                    <a:pt x="1071" y="2138"/>
                  </a:cubicBezTo>
                  <a:cubicBezTo>
                    <a:pt x="1332" y="2138"/>
                    <a:pt x="1598" y="2040"/>
                    <a:pt x="1814" y="1822"/>
                  </a:cubicBezTo>
                  <a:cubicBezTo>
                    <a:pt x="2488" y="1155"/>
                    <a:pt x="2009" y="1"/>
                    <a:pt x="1066"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288" name="Google Shape;2288;p104"/>
            <p:cNvSpPr/>
            <p:nvPr/>
          </p:nvSpPr>
          <p:spPr>
            <a:xfrm>
              <a:off x="1380900" y="1876050"/>
              <a:ext cx="62225" cy="53275"/>
            </a:xfrm>
            <a:custGeom>
              <a:avLst/>
              <a:gdLst/>
              <a:ahLst/>
              <a:cxnLst/>
              <a:rect l="l" t="t" r="r" b="b"/>
              <a:pathLst>
                <a:path w="2489" h="2131" extrusionOk="0">
                  <a:moveTo>
                    <a:pt x="1066" y="1"/>
                  </a:moveTo>
                  <a:cubicBezTo>
                    <a:pt x="472" y="1"/>
                    <a:pt x="1" y="472"/>
                    <a:pt x="1" y="1066"/>
                  </a:cubicBezTo>
                  <a:cubicBezTo>
                    <a:pt x="1" y="1707"/>
                    <a:pt x="523" y="2131"/>
                    <a:pt x="1067" y="2131"/>
                  </a:cubicBezTo>
                  <a:cubicBezTo>
                    <a:pt x="1330" y="2131"/>
                    <a:pt x="1597" y="2033"/>
                    <a:pt x="1814" y="1813"/>
                  </a:cubicBezTo>
                  <a:cubicBezTo>
                    <a:pt x="2488" y="1147"/>
                    <a:pt x="2009" y="1"/>
                    <a:pt x="1066"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289" name="Google Shape;2289;p104"/>
            <p:cNvSpPr/>
            <p:nvPr/>
          </p:nvSpPr>
          <p:spPr>
            <a:xfrm>
              <a:off x="1380900" y="1799850"/>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4" y="1821"/>
                  </a:cubicBezTo>
                  <a:cubicBezTo>
                    <a:pt x="2488" y="1146"/>
                    <a:pt x="2009" y="0"/>
                    <a:pt x="1066"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290" name="Google Shape;2290;p104"/>
            <p:cNvSpPr/>
            <p:nvPr/>
          </p:nvSpPr>
          <p:spPr>
            <a:xfrm>
              <a:off x="1380900" y="1723625"/>
              <a:ext cx="62225" cy="53350"/>
            </a:xfrm>
            <a:custGeom>
              <a:avLst/>
              <a:gdLst/>
              <a:ahLst/>
              <a:cxnLst/>
              <a:rect l="l" t="t" r="r" b="b"/>
              <a:pathLst>
                <a:path w="2489" h="2134" extrusionOk="0">
                  <a:moveTo>
                    <a:pt x="1066" y="1"/>
                  </a:moveTo>
                  <a:cubicBezTo>
                    <a:pt x="472" y="1"/>
                    <a:pt x="1" y="480"/>
                    <a:pt x="1" y="1065"/>
                  </a:cubicBezTo>
                  <a:cubicBezTo>
                    <a:pt x="1" y="1709"/>
                    <a:pt x="526" y="2133"/>
                    <a:pt x="1072" y="2133"/>
                  </a:cubicBezTo>
                  <a:cubicBezTo>
                    <a:pt x="1333" y="2133"/>
                    <a:pt x="1598" y="2037"/>
                    <a:pt x="1814" y="1822"/>
                  </a:cubicBezTo>
                  <a:cubicBezTo>
                    <a:pt x="2488" y="1147"/>
                    <a:pt x="2009" y="1"/>
                    <a:pt x="1066"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291" name="Google Shape;2291;p104"/>
            <p:cNvSpPr/>
            <p:nvPr/>
          </p:nvSpPr>
          <p:spPr>
            <a:xfrm>
              <a:off x="1380900" y="1647400"/>
              <a:ext cx="62225" cy="53450"/>
            </a:xfrm>
            <a:custGeom>
              <a:avLst/>
              <a:gdLst/>
              <a:ahLst/>
              <a:cxnLst/>
              <a:rect l="l" t="t" r="r" b="b"/>
              <a:pathLst>
                <a:path w="2489" h="2138" extrusionOk="0">
                  <a:moveTo>
                    <a:pt x="1066" y="1"/>
                  </a:moveTo>
                  <a:cubicBezTo>
                    <a:pt x="472" y="1"/>
                    <a:pt x="1" y="481"/>
                    <a:pt x="1" y="1066"/>
                  </a:cubicBezTo>
                  <a:cubicBezTo>
                    <a:pt x="1" y="1710"/>
                    <a:pt x="526" y="2138"/>
                    <a:pt x="1072" y="2138"/>
                  </a:cubicBezTo>
                  <a:cubicBezTo>
                    <a:pt x="1333" y="2138"/>
                    <a:pt x="1598" y="2040"/>
                    <a:pt x="1814" y="1822"/>
                  </a:cubicBezTo>
                  <a:cubicBezTo>
                    <a:pt x="2488" y="1147"/>
                    <a:pt x="2009" y="1"/>
                    <a:pt x="1066"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292" name="Google Shape;2292;p104"/>
            <p:cNvSpPr/>
            <p:nvPr/>
          </p:nvSpPr>
          <p:spPr>
            <a:xfrm>
              <a:off x="1380900" y="1571400"/>
              <a:ext cx="62225" cy="53250"/>
            </a:xfrm>
            <a:custGeom>
              <a:avLst/>
              <a:gdLst/>
              <a:ahLst/>
              <a:cxnLst/>
              <a:rect l="l" t="t" r="r" b="b"/>
              <a:pathLst>
                <a:path w="2489" h="2130" extrusionOk="0">
                  <a:moveTo>
                    <a:pt x="1066" y="1"/>
                  </a:moveTo>
                  <a:cubicBezTo>
                    <a:pt x="472" y="1"/>
                    <a:pt x="1" y="472"/>
                    <a:pt x="1" y="1066"/>
                  </a:cubicBezTo>
                  <a:cubicBezTo>
                    <a:pt x="1" y="1703"/>
                    <a:pt x="525" y="2129"/>
                    <a:pt x="1071" y="2129"/>
                  </a:cubicBezTo>
                  <a:cubicBezTo>
                    <a:pt x="1332" y="2129"/>
                    <a:pt x="1598" y="2032"/>
                    <a:pt x="1814" y="1813"/>
                  </a:cubicBezTo>
                  <a:cubicBezTo>
                    <a:pt x="2488" y="1147"/>
                    <a:pt x="2009" y="1"/>
                    <a:pt x="1066"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293" name="Google Shape;2293;p104"/>
            <p:cNvSpPr/>
            <p:nvPr/>
          </p:nvSpPr>
          <p:spPr>
            <a:xfrm>
              <a:off x="1380900" y="1495200"/>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4" y="1821"/>
                  </a:cubicBezTo>
                  <a:cubicBezTo>
                    <a:pt x="2488" y="1146"/>
                    <a:pt x="2009" y="0"/>
                    <a:pt x="1066"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294" name="Google Shape;2294;p104"/>
            <p:cNvSpPr/>
            <p:nvPr/>
          </p:nvSpPr>
          <p:spPr>
            <a:xfrm>
              <a:off x="1304700" y="2561575"/>
              <a:ext cx="62200" cy="53425"/>
            </a:xfrm>
            <a:custGeom>
              <a:avLst/>
              <a:gdLst/>
              <a:ahLst/>
              <a:cxnLst/>
              <a:rect l="l" t="t" r="r" b="b"/>
              <a:pathLst>
                <a:path w="2488" h="2137" extrusionOk="0">
                  <a:moveTo>
                    <a:pt x="1065" y="0"/>
                  </a:moveTo>
                  <a:cubicBezTo>
                    <a:pt x="480" y="8"/>
                    <a:pt x="0" y="480"/>
                    <a:pt x="0" y="1073"/>
                  </a:cubicBezTo>
                  <a:cubicBezTo>
                    <a:pt x="0" y="1711"/>
                    <a:pt x="525" y="2137"/>
                    <a:pt x="1073" y="2137"/>
                  </a:cubicBezTo>
                  <a:cubicBezTo>
                    <a:pt x="1335" y="2137"/>
                    <a:pt x="1603" y="2039"/>
                    <a:pt x="1821" y="1821"/>
                  </a:cubicBezTo>
                  <a:cubicBezTo>
                    <a:pt x="2488" y="1154"/>
                    <a:pt x="2016" y="0"/>
                    <a:pt x="1065"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295" name="Google Shape;2295;p104"/>
            <p:cNvSpPr/>
            <p:nvPr/>
          </p:nvSpPr>
          <p:spPr>
            <a:xfrm>
              <a:off x="1304700" y="2485550"/>
              <a:ext cx="62200" cy="53300"/>
            </a:xfrm>
            <a:custGeom>
              <a:avLst/>
              <a:gdLst/>
              <a:ahLst/>
              <a:cxnLst/>
              <a:rect l="l" t="t" r="r" b="b"/>
              <a:pathLst>
                <a:path w="2488" h="2132" extrusionOk="0">
                  <a:moveTo>
                    <a:pt x="1065" y="1"/>
                  </a:moveTo>
                  <a:cubicBezTo>
                    <a:pt x="480" y="1"/>
                    <a:pt x="0" y="480"/>
                    <a:pt x="0" y="1066"/>
                  </a:cubicBezTo>
                  <a:cubicBezTo>
                    <a:pt x="0" y="1708"/>
                    <a:pt x="523" y="2131"/>
                    <a:pt x="1069" y="2131"/>
                  </a:cubicBezTo>
                  <a:cubicBezTo>
                    <a:pt x="1333" y="2131"/>
                    <a:pt x="1602" y="2033"/>
                    <a:pt x="1821" y="1814"/>
                  </a:cubicBezTo>
                  <a:cubicBezTo>
                    <a:pt x="2488" y="1147"/>
                    <a:pt x="2016" y="1"/>
                    <a:pt x="1065"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296" name="Google Shape;2296;p104"/>
            <p:cNvSpPr/>
            <p:nvPr/>
          </p:nvSpPr>
          <p:spPr>
            <a:xfrm>
              <a:off x="1304700" y="2409350"/>
              <a:ext cx="62200" cy="53350"/>
            </a:xfrm>
            <a:custGeom>
              <a:avLst/>
              <a:gdLst/>
              <a:ahLst/>
              <a:cxnLst/>
              <a:rect l="l" t="t" r="r" b="b"/>
              <a:pathLst>
                <a:path w="2488" h="2134"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297" name="Google Shape;2297;p104"/>
            <p:cNvSpPr/>
            <p:nvPr/>
          </p:nvSpPr>
          <p:spPr>
            <a:xfrm>
              <a:off x="1304700" y="2333125"/>
              <a:ext cx="62200" cy="53450"/>
            </a:xfrm>
            <a:custGeom>
              <a:avLst/>
              <a:gdLst/>
              <a:ahLst/>
              <a:cxnLst/>
              <a:rect l="l" t="t" r="r" b="b"/>
              <a:pathLst>
                <a:path w="2488" h="2138" extrusionOk="0">
                  <a:moveTo>
                    <a:pt x="1065" y="1"/>
                  </a:moveTo>
                  <a:cubicBezTo>
                    <a:pt x="480" y="1"/>
                    <a:pt x="0" y="480"/>
                    <a:pt x="0" y="1066"/>
                  </a:cubicBezTo>
                  <a:cubicBezTo>
                    <a:pt x="0" y="1709"/>
                    <a:pt x="525" y="2137"/>
                    <a:pt x="1074" y="2137"/>
                  </a:cubicBezTo>
                  <a:cubicBezTo>
                    <a:pt x="1336" y="2137"/>
                    <a:pt x="1603" y="2040"/>
                    <a:pt x="1821" y="1822"/>
                  </a:cubicBezTo>
                  <a:cubicBezTo>
                    <a:pt x="2488" y="1147"/>
                    <a:pt x="2016" y="1"/>
                    <a:pt x="1065"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298" name="Google Shape;2298;p104"/>
            <p:cNvSpPr/>
            <p:nvPr/>
          </p:nvSpPr>
          <p:spPr>
            <a:xfrm>
              <a:off x="1304700" y="2256925"/>
              <a:ext cx="62350" cy="53425"/>
            </a:xfrm>
            <a:custGeom>
              <a:avLst/>
              <a:gdLst/>
              <a:ahLst/>
              <a:cxnLst/>
              <a:rect l="l" t="t" r="r" b="b"/>
              <a:pathLst>
                <a:path w="2494" h="2137" extrusionOk="0">
                  <a:moveTo>
                    <a:pt x="1075" y="0"/>
                  </a:moveTo>
                  <a:cubicBezTo>
                    <a:pt x="1072" y="0"/>
                    <a:pt x="1069" y="0"/>
                    <a:pt x="1065" y="0"/>
                  </a:cubicBezTo>
                  <a:cubicBezTo>
                    <a:pt x="472" y="0"/>
                    <a:pt x="0" y="480"/>
                    <a:pt x="0" y="1065"/>
                  </a:cubicBezTo>
                  <a:cubicBezTo>
                    <a:pt x="0" y="1709"/>
                    <a:pt x="529" y="2137"/>
                    <a:pt x="1078" y="2137"/>
                  </a:cubicBezTo>
                  <a:cubicBezTo>
                    <a:pt x="1340" y="2137"/>
                    <a:pt x="1606" y="2039"/>
                    <a:pt x="1821" y="1821"/>
                  </a:cubicBezTo>
                  <a:cubicBezTo>
                    <a:pt x="2494" y="1149"/>
                    <a:pt x="2020" y="0"/>
                    <a:pt x="1075"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299" name="Google Shape;2299;p104"/>
            <p:cNvSpPr/>
            <p:nvPr/>
          </p:nvSpPr>
          <p:spPr>
            <a:xfrm>
              <a:off x="1304700" y="2180700"/>
              <a:ext cx="62200" cy="53350"/>
            </a:xfrm>
            <a:custGeom>
              <a:avLst/>
              <a:gdLst/>
              <a:ahLst/>
              <a:cxnLst/>
              <a:rect l="l" t="t" r="r" b="b"/>
              <a:pathLst>
                <a:path w="2488" h="2134" extrusionOk="0">
                  <a:moveTo>
                    <a:pt x="1065" y="1"/>
                  </a:moveTo>
                  <a:cubicBezTo>
                    <a:pt x="480" y="1"/>
                    <a:pt x="0" y="480"/>
                    <a:pt x="0" y="1066"/>
                  </a:cubicBezTo>
                  <a:cubicBezTo>
                    <a:pt x="0" y="1709"/>
                    <a:pt x="526" y="2133"/>
                    <a:pt x="1074" y="2133"/>
                  </a:cubicBezTo>
                  <a:cubicBezTo>
                    <a:pt x="1336" y="2133"/>
                    <a:pt x="1603" y="2037"/>
                    <a:pt x="1821" y="1822"/>
                  </a:cubicBezTo>
                  <a:cubicBezTo>
                    <a:pt x="2488" y="1147"/>
                    <a:pt x="2016" y="1"/>
                    <a:pt x="1065"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300" name="Google Shape;2300;p104"/>
            <p:cNvSpPr/>
            <p:nvPr/>
          </p:nvSpPr>
          <p:spPr>
            <a:xfrm>
              <a:off x="1304700" y="2104500"/>
              <a:ext cx="62200" cy="53325"/>
            </a:xfrm>
            <a:custGeom>
              <a:avLst/>
              <a:gdLst/>
              <a:ahLst/>
              <a:cxnLst/>
              <a:rect l="l" t="t" r="r" b="b"/>
              <a:pathLst>
                <a:path w="2488" h="2133"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301" name="Google Shape;2301;p104"/>
            <p:cNvSpPr/>
            <p:nvPr/>
          </p:nvSpPr>
          <p:spPr>
            <a:xfrm>
              <a:off x="1304700" y="2028275"/>
              <a:ext cx="62200" cy="53450"/>
            </a:xfrm>
            <a:custGeom>
              <a:avLst/>
              <a:gdLst/>
              <a:ahLst/>
              <a:cxnLst/>
              <a:rect l="l" t="t" r="r" b="b"/>
              <a:pathLst>
                <a:path w="2488" h="2138" extrusionOk="0">
                  <a:moveTo>
                    <a:pt x="1065" y="1"/>
                  </a:moveTo>
                  <a:cubicBezTo>
                    <a:pt x="480" y="1"/>
                    <a:pt x="0" y="480"/>
                    <a:pt x="0" y="1065"/>
                  </a:cubicBezTo>
                  <a:cubicBezTo>
                    <a:pt x="0" y="1709"/>
                    <a:pt x="525" y="2137"/>
                    <a:pt x="1074" y="2137"/>
                  </a:cubicBezTo>
                  <a:cubicBezTo>
                    <a:pt x="1336" y="2137"/>
                    <a:pt x="1603" y="2040"/>
                    <a:pt x="1821" y="1821"/>
                  </a:cubicBezTo>
                  <a:cubicBezTo>
                    <a:pt x="2488" y="1147"/>
                    <a:pt x="2016" y="1"/>
                    <a:pt x="1065"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302" name="Google Shape;2302;p104"/>
            <p:cNvSpPr/>
            <p:nvPr/>
          </p:nvSpPr>
          <p:spPr>
            <a:xfrm>
              <a:off x="1304700" y="1952050"/>
              <a:ext cx="62200" cy="53450"/>
            </a:xfrm>
            <a:custGeom>
              <a:avLst/>
              <a:gdLst/>
              <a:ahLst/>
              <a:cxnLst/>
              <a:rect l="l" t="t" r="r" b="b"/>
              <a:pathLst>
                <a:path w="2488" h="2138" extrusionOk="0">
                  <a:moveTo>
                    <a:pt x="1065" y="1"/>
                  </a:moveTo>
                  <a:cubicBezTo>
                    <a:pt x="480" y="9"/>
                    <a:pt x="0" y="481"/>
                    <a:pt x="0" y="1074"/>
                  </a:cubicBezTo>
                  <a:cubicBezTo>
                    <a:pt x="0" y="1712"/>
                    <a:pt x="525" y="2138"/>
                    <a:pt x="1073" y="2138"/>
                  </a:cubicBezTo>
                  <a:cubicBezTo>
                    <a:pt x="1335" y="2138"/>
                    <a:pt x="1603" y="2040"/>
                    <a:pt x="1821" y="1822"/>
                  </a:cubicBezTo>
                  <a:cubicBezTo>
                    <a:pt x="2488" y="1155"/>
                    <a:pt x="2016" y="1"/>
                    <a:pt x="1065"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303" name="Google Shape;2303;p104"/>
            <p:cNvSpPr/>
            <p:nvPr/>
          </p:nvSpPr>
          <p:spPr>
            <a:xfrm>
              <a:off x="1304700" y="1876050"/>
              <a:ext cx="62200" cy="53275"/>
            </a:xfrm>
            <a:custGeom>
              <a:avLst/>
              <a:gdLst/>
              <a:ahLst/>
              <a:cxnLst/>
              <a:rect l="l" t="t" r="r" b="b"/>
              <a:pathLst>
                <a:path w="2488" h="2131" extrusionOk="0">
                  <a:moveTo>
                    <a:pt x="1065" y="1"/>
                  </a:moveTo>
                  <a:cubicBezTo>
                    <a:pt x="480" y="1"/>
                    <a:pt x="0" y="472"/>
                    <a:pt x="0" y="1066"/>
                  </a:cubicBezTo>
                  <a:cubicBezTo>
                    <a:pt x="0" y="1707"/>
                    <a:pt x="523" y="2131"/>
                    <a:pt x="1069" y="2131"/>
                  </a:cubicBezTo>
                  <a:cubicBezTo>
                    <a:pt x="1333" y="2131"/>
                    <a:pt x="1602" y="2033"/>
                    <a:pt x="1821" y="1813"/>
                  </a:cubicBezTo>
                  <a:cubicBezTo>
                    <a:pt x="2488" y="1147"/>
                    <a:pt x="2016" y="1"/>
                    <a:pt x="1065"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304" name="Google Shape;2304;p104"/>
            <p:cNvSpPr/>
            <p:nvPr/>
          </p:nvSpPr>
          <p:spPr>
            <a:xfrm>
              <a:off x="1304700" y="1799850"/>
              <a:ext cx="62200" cy="53325"/>
            </a:xfrm>
            <a:custGeom>
              <a:avLst/>
              <a:gdLst/>
              <a:ahLst/>
              <a:cxnLst/>
              <a:rect l="l" t="t" r="r" b="b"/>
              <a:pathLst>
                <a:path w="2488" h="2133"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305" name="Google Shape;2305;p104"/>
            <p:cNvSpPr/>
            <p:nvPr/>
          </p:nvSpPr>
          <p:spPr>
            <a:xfrm>
              <a:off x="1304700" y="1723625"/>
              <a:ext cx="62200" cy="53350"/>
            </a:xfrm>
            <a:custGeom>
              <a:avLst/>
              <a:gdLst/>
              <a:ahLst/>
              <a:cxnLst/>
              <a:rect l="l" t="t" r="r" b="b"/>
              <a:pathLst>
                <a:path w="2488" h="2134" extrusionOk="0">
                  <a:moveTo>
                    <a:pt x="1065" y="1"/>
                  </a:moveTo>
                  <a:cubicBezTo>
                    <a:pt x="480" y="1"/>
                    <a:pt x="0" y="480"/>
                    <a:pt x="0" y="1065"/>
                  </a:cubicBezTo>
                  <a:cubicBezTo>
                    <a:pt x="0" y="1709"/>
                    <a:pt x="526" y="2133"/>
                    <a:pt x="1074" y="2133"/>
                  </a:cubicBezTo>
                  <a:cubicBezTo>
                    <a:pt x="1336" y="2133"/>
                    <a:pt x="1603" y="2037"/>
                    <a:pt x="1821" y="1822"/>
                  </a:cubicBezTo>
                  <a:cubicBezTo>
                    <a:pt x="2488" y="1147"/>
                    <a:pt x="2016" y="1"/>
                    <a:pt x="1065"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306" name="Google Shape;2306;p104"/>
            <p:cNvSpPr/>
            <p:nvPr/>
          </p:nvSpPr>
          <p:spPr>
            <a:xfrm>
              <a:off x="1304700" y="1647400"/>
              <a:ext cx="62200" cy="53450"/>
            </a:xfrm>
            <a:custGeom>
              <a:avLst/>
              <a:gdLst/>
              <a:ahLst/>
              <a:cxnLst/>
              <a:rect l="l" t="t" r="r" b="b"/>
              <a:pathLst>
                <a:path w="2488" h="2138" extrusionOk="0">
                  <a:moveTo>
                    <a:pt x="1065" y="1"/>
                  </a:moveTo>
                  <a:cubicBezTo>
                    <a:pt x="480" y="9"/>
                    <a:pt x="0" y="481"/>
                    <a:pt x="0" y="1066"/>
                  </a:cubicBezTo>
                  <a:cubicBezTo>
                    <a:pt x="0" y="1710"/>
                    <a:pt x="525" y="2138"/>
                    <a:pt x="1074" y="2138"/>
                  </a:cubicBezTo>
                  <a:cubicBezTo>
                    <a:pt x="1336" y="2138"/>
                    <a:pt x="1603" y="2040"/>
                    <a:pt x="1821" y="1822"/>
                  </a:cubicBezTo>
                  <a:cubicBezTo>
                    <a:pt x="2488" y="1147"/>
                    <a:pt x="2016" y="1"/>
                    <a:pt x="1065"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307" name="Google Shape;2307;p104"/>
            <p:cNvSpPr/>
            <p:nvPr/>
          </p:nvSpPr>
          <p:spPr>
            <a:xfrm>
              <a:off x="1304700" y="1571400"/>
              <a:ext cx="62200" cy="53250"/>
            </a:xfrm>
            <a:custGeom>
              <a:avLst/>
              <a:gdLst/>
              <a:ahLst/>
              <a:cxnLst/>
              <a:rect l="l" t="t" r="r" b="b"/>
              <a:pathLst>
                <a:path w="2488" h="2130" extrusionOk="0">
                  <a:moveTo>
                    <a:pt x="1065" y="1"/>
                  </a:moveTo>
                  <a:cubicBezTo>
                    <a:pt x="480" y="1"/>
                    <a:pt x="0" y="472"/>
                    <a:pt x="0" y="1066"/>
                  </a:cubicBezTo>
                  <a:cubicBezTo>
                    <a:pt x="0" y="1703"/>
                    <a:pt x="525" y="2129"/>
                    <a:pt x="1073" y="2129"/>
                  </a:cubicBezTo>
                  <a:cubicBezTo>
                    <a:pt x="1335" y="2129"/>
                    <a:pt x="1603" y="2032"/>
                    <a:pt x="1821" y="1813"/>
                  </a:cubicBezTo>
                  <a:cubicBezTo>
                    <a:pt x="2488" y="1147"/>
                    <a:pt x="2016" y="1"/>
                    <a:pt x="1065"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308" name="Google Shape;2308;p104"/>
            <p:cNvSpPr/>
            <p:nvPr/>
          </p:nvSpPr>
          <p:spPr>
            <a:xfrm>
              <a:off x="1304700" y="1495200"/>
              <a:ext cx="62200" cy="53325"/>
            </a:xfrm>
            <a:custGeom>
              <a:avLst/>
              <a:gdLst/>
              <a:ahLst/>
              <a:cxnLst/>
              <a:rect l="l" t="t" r="r" b="b"/>
              <a:pathLst>
                <a:path w="2488" h="2133"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309" name="Google Shape;2309;p104"/>
            <p:cNvSpPr/>
            <p:nvPr/>
          </p:nvSpPr>
          <p:spPr>
            <a:xfrm>
              <a:off x="1304700" y="1418975"/>
              <a:ext cx="62200" cy="53350"/>
            </a:xfrm>
            <a:custGeom>
              <a:avLst/>
              <a:gdLst/>
              <a:ahLst/>
              <a:cxnLst/>
              <a:rect l="l" t="t" r="r" b="b"/>
              <a:pathLst>
                <a:path w="2488" h="2134" extrusionOk="0">
                  <a:moveTo>
                    <a:pt x="1065" y="1"/>
                  </a:moveTo>
                  <a:cubicBezTo>
                    <a:pt x="480" y="1"/>
                    <a:pt x="0" y="480"/>
                    <a:pt x="0" y="1065"/>
                  </a:cubicBezTo>
                  <a:cubicBezTo>
                    <a:pt x="0" y="1709"/>
                    <a:pt x="526" y="2133"/>
                    <a:pt x="1074" y="2133"/>
                  </a:cubicBezTo>
                  <a:cubicBezTo>
                    <a:pt x="1336" y="2133"/>
                    <a:pt x="1603" y="2037"/>
                    <a:pt x="1821" y="1822"/>
                  </a:cubicBezTo>
                  <a:cubicBezTo>
                    <a:pt x="2488" y="1147"/>
                    <a:pt x="2016" y="1"/>
                    <a:pt x="1065"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310" name="Google Shape;2310;p104"/>
            <p:cNvSpPr/>
            <p:nvPr/>
          </p:nvSpPr>
          <p:spPr>
            <a:xfrm>
              <a:off x="1304700" y="1190550"/>
              <a:ext cx="62200" cy="53325"/>
            </a:xfrm>
            <a:custGeom>
              <a:avLst/>
              <a:gdLst/>
              <a:ahLst/>
              <a:cxnLst/>
              <a:rect l="l" t="t" r="r" b="b"/>
              <a:pathLst>
                <a:path w="2488" h="2133"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311" name="Google Shape;2311;p104"/>
            <p:cNvSpPr/>
            <p:nvPr/>
          </p:nvSpPr>
          <p:spPr>
            <a:xfrm>
              <a:off x="1228475" y="2714000"/>
              <a:ext cx="62225" cy="53350"/>
            </a:xfrm>
            <a:custGeom>
              <a:avLst/>
              <a:gdLst/>
              <a:ahLst/>
              <a:cxnLst/>
              <a:rect l="l" t="t" r="r" b="b"/>
              <a:pathLst>
                <a:path w="2489" h="2134" extrusionOk="0">
                  <a:moveTo>
                    <a:pt x="1066" y="0"/>
                  </a:moveTo>
                  <a:cubicBezTo>
                    <a:pt x="480" y="0"/>
                    <a:pt x="1" y="480"/>
                    <a:pt x="1" y="1065"/>
                  </a:cubicBezTo>
                  <a:cubicBezTo>
                    <a:pt x="1" y="1709"/>
                    <a:pt x="526" y="2133"/>
                    <a:pt x="1075" y="2133"/>
                  </a:cubicBezTo>
                  <a:cubicBezTo>
                    <a:pt x="1337" y="2133"/>
                    <a:pt x="1604" y="2036"/>
                    <a:pt x="1822" y="1821"/>
                  </a:cubicBezTo>
                  <a:cubicBezTo>
                    <a:pt x="2488" y="1146"/>
                    <a:pt x="2017" y="0"/>
                    <a:pt x="1066"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312" name="Google Shape;2312;p104"/>
            <p:cNvSpPr/>
            <p:nvPr/>
          </p:nvSpPr>
          <p:spPr>
            <a:xfrm>
              <a:off x="1228475" y="2637775"/>
              <a:ext cx="62225" cy="53450"/>
            </a:xfrm>
            <a:custGeom>
              <a:avLst/>
              <a:gdLst/>
              <a:ahLst/>
              <a:cxnLst/>
              <a:rect l="l" t="t" r="r" b="b"/>
              <a:pathLst>
                <a:path w="2489" h="2138" extrusionOk="0">
                  <a:moveTo>
                    <a:pt x="1066" y="1"/>
                  </a:moveTo>
                  <a:cubicBezTo>
                    <a:pt x="480" y="9"/>
                    <a:pt x="1" y="480"/>
                    <a:pt x="1" y="1074"/>
                  </a:cubicBezTo>
                  <a:cubicBezTo>
                    <a:pt x="1" y="1712"/>
                    <a:pt x="525" y="2137"/>
                    <a:pt x="1073" y="2137"/>
                  </a:cubicBezTo>
                  <a:cubicBezTo>
                    <a:pt x="1336" y="2137"/>
                    <a:pt x="1603" y="2040"/>
                    <a:pt x="1822" y="1822"/>
                  </a:cubicBezTo>
                  <a:cubicBezTo>
                    <a:pt x="2488" y="1147"/>
                    <a:pt x="2017" y="1"/>
                    <a:pt x="1066"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313" name="Google Shape;2313;p104"/>
            <p:cNvSpPr/>
            <p:nvPr/>
          </p:nvSpPr>
          <p:spPr>
            <a:xfrm>
              <a:off x="1228475" y="2561575"/>
              <a:ext cx="62225" cy="53425"/>
            </a:xfrm>
            <a:custGeom>
              <a:avLst/>
              <a:gdLst/>
              <a:ahLst/>
              <a:cxnLst/>
              <a:rect l="l" t="t" r="r" b="b"/>
              <a:pathLst>
                <a:path w="2489" h="2137" extrusionOk="0">
                  <a:moveTo>
                    <a:pt x="1066" y="0"/>
                  </a:moveTo>
                  <a:cubicBezTo>
                    <a:pt x="480" y="8"/>
                    <a:pt x="1" y="480"/>
                    <a:pt x="1" y="1073"/>
                  </a:cubicBezTo>
                  <a:cubicBezTo>
                    <a:pt x="1" y="1711"/>
                    <a:pt x="525" y="2137"/>
                    <a:pt x="1073" y="2137"/>
                  </a:cubicBezTo>
                  <a:cubicBezTo>
                    <a:pt x="1336" y="2137"/>
                    <a:pt x="1603" y="2039"/>
                    <a:pt x="1822" y="1821"/>
                  </a:cubicBezTo>
                  <a:cubicBezTo>
                    <a:pt x="2488" y="1154"/>
                    <a:pt x="2017" y="0"/>
                    <a:pt x="1066"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314" name="Google Shape;2314;p104"/>
            <p:cNvSpPr/>
            <p:nvPr/>
          </p:nvSpPr>
          <p:spPr>
            <a:xfrm>
              <a:off x="1228475" y="2485550"/>
              <a:ext cx="62225" cy="53300"/>
            </a:xfrm>
            <a:custGeom>
              <a:avLst/>
              <a:gdLst/>
              <a:ahLst/>
              <a:cxnLst/>
              <a:rect l="l" t="t" r="r" b="b"/>
              <a:pathLst>
                <a:path w="2489" h="2132" extrusionOk="0">
                  <a:moveTo>
                    <a:pt x="1066" y="1"/>
                  </a:moveTo>
                  <a:cubicBezTo>
                    <a:pt x="480" y="1"/>
                    <a:pt x="1" y="480"/>
                    <a:pt x="1" y="1066"/>
                  </a:cubicBezTo>
                  <a:cubicBezTo>
                    <a:pt x="1" y="1708"/>
                    <a:pt x="523" y="2131"/>
                    <a:pt x="1070" y="2131"/>
                  </a:cubicBezTo>
                  <a:cubicBezTo>
                    <a:pt x="1333" y="2131"/>
                    <a:pt x="1602" y="2033"/>
                    <a:pt x="1822" y="1814"/>
                  </a:cubicBezTo>
                  <a:cubicBezTo>
                    <a:pt x="2488" y="1147"/>
                    <a:pt x="2017" y="1"/>
                    <a:pt x="1066"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315" name="Google Shape;2315;p104"/>
            <p:cNvSpPr/>
            <p:nvPr/>
          </p:nvSpPr>
          <p:spPr>
            <a:xfrm>
              <a:off x="1228475" y="2409350"/>
              <a:ext cx="62225" cy="53350"/>
            </a:xfrm>
            <a:custGeom>
              <a:avLst/>
              <a:gdLst/>
              <a:ahLst/>
              <a:cxnLst/>
              <a:rect l="l" t="t" r="r" b="b"/>
              <a:pathLst>
                <a:path w="2489" h="2134" extrusionOk="0">
                  <a:moveTo>
                    <a:pt x="1066" y="0"/>
                  </a:moveTo>
                  <a:cubicBezTo>
                    <a:pt x="480" y="0"/>
                    <a:pt x="1" y="480"/>
                    <a:pt x="1" y="1065"/>
                  </a:cubicBezTo>
                  <a:cubicBezTo>
                    <a:pt x="1" y="1709"/>
                    <a:pt x="526" y="2133"/>
                    <a:pt x="1075" y="2133"/>
                  </a:cubicBezTo>
                  <a:cubicBezTo>
                    <a:pt x="1337" y="2133"/>
                    <a:pt x="1604" y="2036"/>
                    <a:pt x="1822" y="1821"/>
                  </a:cubicBezTo>
                  <a:cubicBezTo>
                    <a:pt x="2488" y="1146"/>
                    <a:pt x="2017" y="0"/>
                    <a:pt x="1066"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316" name="Google Shape;2316;p104"/>
            <p:cNvSpPr/>
            <p:nvPr/>
          </p:nvSpPr>
          <p:spPr>
            <a:xfrm>
              <a:off x="1228475" y="2333125"/>
              <a:ext cx="62225" cy="53450"/>
            </a:xfrm>
            <a:custGeom>
              <a:avLst/>
              <a:gdLst/>
              <a:ahLst/>
              <a:cxnLst/>
              <a:rect l="l" t="t" r="r" b="b"/>
              <a:pathLst>
                <a:path w="2489" h="2138" extrusionOk="0">
                  <a:moveTo>
                    <a:pt x="1066" y="1"/>
                  </a:moveTo>
                  <a:cubicBezTo>
                    <a:pt x="480" y="1"/>
                    <a:pt x="1" y="480"/>
                    <a:pt x="1" y="1066"/>
                  </a:cubicBezTo>
                  <a:cubicBezTo>
                    <a:pt x="1" y="1709"/>
                    <a:pt x="526" y="2137"/>
                    <a:pt x="1075" y="2137"/>
                  </a:cubicBezTo>
                  <a:cubicBezTo>
                    <a:pt x="1336" y="2137"/>
                    <a:pt x="1604" y="2040"/>
                    <a:pt x="1822" y="1822"/>
                  </a:cubicBezTo>
                  <a:cubicBezTo>
                    <a:pt x="2488" y="1147"/>
                    <a:pt x="2017" y="1"/>
                    <a:pt x="1066"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317" name="Google Shape;2317;p104"/>
            <p:cNvSpPr/>
            <p:nvPr/>
          </p:nvSpPr>
          <p:spPr>
            <a:xfrm>
              <a:off x="1228475" y="2256925"/>
              <a:ext cx="62375" cy="53425"/>
            </a:xfrm>
            <a:custGeom>
              <a:avLst/>
              <a:gdLst/>
              <a:ahLst/>
              <a:cxnLst/>
              <a:rect l="l" t="t" r="r" b="b"/>
              <a:pathLst>
                <a:path w="2495" h="2137" extrusionOk="0">
                  <a:moveTo>
                    <a:pt x="1076" y="0"/>
                  </a:moveTo>
                  <a:cubicBezTo>
                    <a:pt x="1072" y="0"/>
                    <a:pt x="1069" y="0"/>
                    <a:pt x="1066" y="0"/>
                  </a:cubicBezTo>
                  <a:cubicBezTo>
                    <a:pt x="480" y="0"/>
                    <a:pt x="1" y="480"/>
                    <a:pt x="1" y="1065"/>
                  </a:cubicBezTo>
                  <a:cubicBezTo>
                    <a:pt x="1" y="1709"/>
                    <a:pt x="530" y="2137"/>
                    <a:pt x="1081" y="2137"/>
                  </a:cubicBezTo>
                  <a:cubicBezTo>
                    <a:pt x="1344" y="2137"/>
                    <a:pt x="1612" y="2039"/>
                    <a:pt x="1830" y="1821"/>
                  </a:cubicBezTo>
                  <a:cubicBezTo>
                    <a:pt x="2494" y="1149"/>
                    <a:pt x="2020" y="0"/>
                    <a:pt x="1076"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318" name="Google Shape;2318;p104"/>
            <p:cNvSpPr/>
            <p:nvPr/>
          </p:nvSpPr>
          <p:spPr>
            <a:xfrm>
              <a:off x="1228475" y="2180700"/>
              <a:ext cx="62225" cy="53350"/>
            </a:xfrm>
            <a:custGeom>
              <a:avLst/>
              <a:gdLst/>
              <a:ahLst/>
              <a:cxnLst/>
              <a:rect l="l" t="t" r="r" b="b"/>
              <a:pathLst>
                <a:path w="2489" h="2134" extrusionOk="0">
                  <a:moveTo>
                    <a:pt x="1066" y="1"/>
                  </a:moveTo>
                  <a:cubicBezTo>
                    <a:pt x="480" y="1"/>
                    <a:pt x="1" y="480"/>
                    <a:pt x="1" y="1066"/>
                  </a:cubicBezTo>
                  <a:cubicBezTo>
                    <a:pt x="1" y="1709"/>
                    <a:pt x="526" y="2133"/>
                    <a:pt x="1075" y="2133"/>
                  </a:cubicBezTo>
                  <a:cubicBezTo>
                    <a:pt x="1337" y="2133"/>
                    <a:pt x="1604" y="2037"/>
                    <a:pt x="1822" y="1822"/>
                  </a:cubicBezTo>
                  <a:cubicBezTo>
                    <a:pt x="2488" y="1147"/>
                    <a:pt x="2017" y="1"/>
                    <a:pt x="1066"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319" name="Google Shape;2319;p104"/>
            <p:cNvSpPr/>
            <p:nvPr/>
          </p:nvSpPr>
          <p:spPr>
            <a:xfrm>
              <a:off x="1228475" y="2104500"/>
              <a:ext cx="62225" cy="53325"/>
            </a:xfrm>
            <a:custGeom>
              <a:avLst/>
              <a:gdLst/>
              <a:ahLst/>
              <a:cxnLst/>
              <a:rect l="l" t="t" r="r" b="b"/>
              <a:pathLst>
                <a:path w="2489" h="2133" extrusionOk="0">
                  <a:moveTo>
                    <a:pt x="1066" y="0"/>
                  </a:moveTo>
                  <a:cubicBezTo>
                    <a:pt x="480" y="0"/>
                    <a:pt x="1" y="480"/>
                    <a:pt x="1" y="1065"/>
                  </a:cubicBezTo>
                  <a:cubicBezTo>
                    <a:pt x="1" y="1709"/>
                    <a:pt x="526" y="2133"/>
                    <a:pt x="1075" y="2133"/>
                  </a:cubicBezTo>
                  <a:cubicBezTo>
                    <a:pt x="1337" y="2133"/>
                    <a:pt x="1604" y="2036"/>
                    <a:pt x="1822" y="1821"/>
                  </a:cubicBezTo>
                  <a:cubicBezTo>
                    <a:pt x="2488" y="1146"/>
                    <a:pt x="2017" y="0"/>
                    <a:pt x="1066"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320" name="Google Shape;2320;p104"/>
            <p:cNvSpPr/>
            <p:nvPr/>
          </p:nvSpPr>
          <p:spPr>
            <a:xfrm>
              <a:off x="1228475" y="2028275"/>
              <a:ext cx="62225" cy="53450"/>
            </a:xfrm>
            <a:custGeom>
              <a:avLst/>
              <a:gdLst/>
              <a:ahLst/>
              <a:cxnLst/>
              <a:rect l="l" t="t" r="r" b="b"/>
              <a:pathLst>
                <a:path w="2489" h="2138" extrusionOk="0">
                  <a:moveTo>
                    <a:pt x="1066" y="1"/>
                  </a:moveTo>
                  <a:cubicBezTo>
                    <a:pt x="480" y="1"/>
                    <a:pt x="1" y="480"/>
                    <a:pt x="1" y="1065"/>
                  </a:cubicBezTo>
                  <a:cubicBezTo>
                    <a:pt x="1" y="1709"/>
                    <a:pt x="526" y="2137"/>
                    <a:pt x="1075" y="2137"/>
                  </a:cubicBezTo>
                  <a:cubicBezTo>
                    <a:pt x="1336" y="2137"/>
                    <a:pt x="1604" y="2040"/>
                    <a:pt x="1822" y="1821"/>
                  </a:cubicBezTo>
                  <a:cubicBezTo>
                    <a:pt x="2488" y="1147"/>
                    <a:pt x="2017" y="1"/>
                    <a:pt x="1066"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321" name="Google Shape;2321;p104"/>
            <p:cNvSpPr/>
            <p:nvPr/>
          </p:nvSpPr>
          <p:spPr>
            <a:xfrm>
              <a:off x="1228475" y="1952050"/>
              <a:ext cx="62225" cy="53450"/>
            </a:xfrm>
            <a:custGeom>
              <a:avLst/>
              <a:gdLst/>
              <a:ahLst/>
              <a:cxnLst/>
              <a:rect l="l" t="t" r="r" b="b"/>
              <a:pathLst>
                <a:path w="2489" h="2138" extrusionOk="0">
                  <a:moveTo>
                    <a:pt x="1066" y="1"/>
                  </a:moveTo>
                  <a:cubicBezTo>
                    <a:pt x="480" y="9"/>
                    <a:pt x="1" y="481"/>
                    <a:pt x="1" y="1074"/>
                  </a:cubicBezTo>
                  <a:cubicBezTo>
                    <a:pt x="1" y="1712"/>
                    <a:pt x="525" y="2138"/>
                    <a:pt x="1073" y="2138"/>
                  </a:cubicBezTo>
                  <a:cubicBezTo>
                    <a:pt x="1336" y="2138"/>
                    <a:pt x="1603" y="2040"/>
                    <a:pt x="1822" y="1822"/>
                  </a:cubicBezTo>
                  <a:cubicBezTo>
                    <a:pt x="2488" y="1155"/>
                    <a:pt x="2017" y="1"/>
                    <a:pt x="1066"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322" name="Google Shape;2322;p104"/>
            <p:cNvSpPr/>
            <p:nvPr/>
          </p:nvSpPr>
          <p:spPr>
            <a:xfrm>
              <a:off x="1228475" y="1876050"/>
              <a:ext cx="62225" cy="53275"/>
            </a:xfrm>
            <a:custGeom>
              <a:avLst/>
              <a:gdLst/>
              <a:ahLst/>
              <a:cxnLst/>
              <a:rect l="l" t="t" r="r" b="b"/>
              <a:pathLst>
                <a:path w="2489" h="2131" extrusionOk="0">
                  <a:moveTo>
                    <a:pt x="1066" y="1"/>
                  </a:moveTo>
                  <a:cubicBezTo>
                    <a:pt x="480" y="1"/>
                    <a:pt x="1" y="472"/>
                    <a:pt x="1" y="1066"/>
                  </a:cubicBezTo>
                  <a:cubicBezTo>
                    <a:pt x="1" y="1707"/>
                    <a:pt x="523" y="2131"/>
                    <a:pt x="1070" y="2131"/>
                  </a:cubicBezTo>
                  <a:cubicBezTo>
                    <a:pt x="1333" y="2131"/>
                    <a:pt x="1602" y="2033"/>
                    <a:pt x="1822" y="1813"/>
                  </a:cubicBezTo>
                  <a:cubicBezTo>
                    <a:pt x="2488" y="1147"/>
                    <a:pt x="2017" y="1"/>
                    <a:pt x="1066"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323" name="Google Shape;2323;p104"/>
            <p:cNvSpPr/>
            <p:nvPr/>
          </p:nvSpPr>
          <p:spPr>
            <a:xfrm>
              <a:off x="1228475" y="1799850"/>
              <a:ext cx="62225" cy="53325"/>
            </a:xfrm>
            <a:custGeom>
              <a:avLst/>
              <a:gdLst/>
              <a:ahLst/>
              <a:cxnLst/>
              <a:rect l="l" t="t" r="r" b="b"/>
              <a:pathLst>
                <a:path w="2489" h="2133" extrusionOk="0">
                  <a:moveTo>
                    <a:pt x="1066" y="0"/>
                  </a:moveTo>
                  <a:cubicBezTo>
                    <a:pt x="480" y="0"/>
                    <a:pt x="1" y="480"/>
                    <a:pt x="1" y="1065"/>
                  </a:cubicBezTo>
                  <a:cubicBezTo>
                    <a:pt x="1" y="1709"/>
                    <a:pt x="526" y="2133"/>
                    <a:pt x="1075" y="2133"/>
                  </a:cubicBezTo>
                  <a:cubicBezTo>
                    <a:pt x="1337" y="2133"/>
                    <a:pt x="1604" y="2036"/>
                    <a:pt x="1822" y="1821"/>
                  </a:cubicBezTo>
                  <a:cubicBezTo>
                    <a:pt x="2488" y="1146"/>
                    <a:pt x="2017" y="0"/>
                    <a:pt x="1066"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324" name="Google Shape;2324;p104"/>
            <p:cNvSpPr/>
            <p:nvPr/>
          </p:nvSpPr>
          <p:spPr>
            <a:xfrm>
              <a:off x="1228475" y="1723625"/>
              <a:ext cx="62225" cy="53350"/>
            </a:xfrm>
            <a:custGeom>
              <a:avLst/>
              <a:gdLst/>
              <a:ahLst/>
              <a:cxnLst/>
              <a:rect l="l" t="t" r="r" b="b"/>
              <a:pathLst>
                <a:path w="2489" h="2134" extrusionOk="0">
                  <a:moveTo>
                    <a:pt x="1066" y="1"/>
                  </a:moveTo>
                  <a:cubicBezTo>
                    <a:pt x="480" y="1"/>
                    <a:pt x="1" y="480"/>
                    <a:pt x="1" y="1065"/>
                  </a:cubicBezTo>
                  <a:cubicBezTo>
                    <a:pt x="1" y="1709"/>
                    <a:pt x="526" y="2133"/>
                    <a:pt x="1075" y="2133"/>
                  </a:cubicBezTo>
                  <a:cubicBezTo>
                    <a:pt x="1337" y="2133"/>
                    <a:pt x="1604" y="2037"/>
                    <a:pt x="1822" y="1822"/>
                  </a:cubicBezTo>
                  <a:cubicBezTo>
                    <a:pt x="2488" y="1147"/>
                    <a:pt x="2017" y="1"/>
                    <a:pt x="1066"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325" name="Google Shape;2325;p104"/>
            <p:cNvSpPr/>
            <p:nvPr/>
          </p:nvSpPr>
          <p:spPr>
            <a:xfrm>
              <a:off x="1228475" y="1647400"/>
              <a:ext cx="62225" cy="53450"/>
            </a:xfrm>
            <a:custGeom>
              <a:avLst/>
              <a:gdLst/>
              <a:ahLst/>
              <a:cxnLst/>
              <a:rect l="l" t="t" r="r" b="b"/>
              <a:pathLst>
                <a:path w="2489" h="2138" extrusionOk="0">
                  <a:moveTo>
                    <a:pt x="1066" y="1"/>
                  </a:moveTo>
                  <a:cubicBezTo>
                    <a:pt x="480" y="9"/>
                    <a:pt x="1" y="481"/>
                    <a:pt x="1" y="1066"/>
                  </a:cubicBezTo>
                  <a:cubicBezTo>
                    <a:pt x="1" y="1710"/>
                    <a:pt x="526" y="2138"/>
                    <a:pt x="1075" y="2138"/>
                  </a:cubicBezTo>
                  <a:cubicBezTo>
                    <a:pt x="1336" y="2138"/>
                    <a:pt x="1604" y="2040"/>
                    <a:pt x="1822" y="1822"/>
                  </a:cubicBezTo>
                  <a:cubicBezTo>
                    <a:pt x="2488" y="1147"/>
                    <a:pt x="2017" y="1"/>
                    <a:pt x="1066"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326" name="Google Shape;2326;p104"/>
            <p:cNvSpPr/>
            <p:nvPr/>
          </p:nvSpPr>
          <p:spPr>
            <a:xfrm>
              <a:off x="1228475" y="1571400"/>
              <a:ext cx="62225" cy="53250"/>
            </a:xfrm>
            <a:custGeom>
              <a:avLst/>
              <a:gdLst/>
              <a:ahLst/>
              <a:cxnLst/>
              <a:rect l="l" t="t" r="r" b="b"/>
              <a:pathLst>
                <a:path w="2489" h="2130" extrusionOk="0">
                  <a:moveTo>
                    <a:pt x="1066" y="1"/>
                  </a:moveTo>
                  <a:cubicBezTo>
                    <a:pt x="480" y="1"/>
                    <a:pt x="1" y="472"/>
                    <a:pt x="1" y="1066"/>
                  </a:cubicBezTo>
                  <a:cubicBezTo>
                    <a:pt x="1" y="1703"/>
                    <a:pt x="525" y="2129"/>
                    <a:pt x="1073" y="2129"/>
                  </a:cubicBezTo>
                  <a:cubicBezTo>
                    <a:pt x="1336" y="2129"/>
                    <a:pt x="1603" y="2032"/>
                    <a:pt x="1822" y="1813"/>
                  </a:cubicBezTo>
                  <a:cubicBezTo>
                    <a:pt x="2488" y="1147"/>
                    <a:pt x="2017" y="1"/>
                    <a:pt x="1066"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327" name="Google Shape;2327;p104"/>
            <p:cNvSpPr/>
            <p:nvPr/>
          </p:nvSpPr>
          <p:spPr>
            <a:xfrm>
              <a:off x="1228475" y="1495200"/>
              <a:ext cx="62225" cy="53325"/>
            </a:xfrm>
            <a:custGeom>
              <a:avLst/>
              <a:gdLst/>
              <a:ahLst/>
              <a:cxnLst/>
              <a:rect l="l" t="t" r="r" b="b"/>
              <a:pathLst>
                <a:path w="2489" h="2133" extrusionOk="0">
                  <a:moveTo>
                    <a:pt x="1066" y="0"/>
                  </a:moveTo>
                  <a:cubicBezTo>
                    <a:pt x="480" y="0"/>
                    <a:pt x="1" y="480"/>
                    <a:pt x="1" y="1065"/>
                  </a:cubicBezTo>
                  <a:cubicBezTo>
                    <a:pt x="1" y="1709"/>
                    <a:pt x="526" y="2133"/>
                    <a:pt x="1075" y="2133"/>
                  </a:cubicBezTo>
                  <a:cubicBezTo>
                    <a:pt x="1337" y="2133"/>
                    <a:pt x="1604" y="2036"/>
                    <a:pt x="1822" y="1821"/>
                  </a:cubicBezTo>
                  <a:cubicBezTo>
                    <a:pt x="2488" y="1146"/>
                    <a:pt x="2017" y="0"/>
                    <a:pt x="1066"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328" name="Google Shape;2328;p104"/>
            <p:cNvSpPr/>
            <p:nvPr/>
          </p:nvSpPr>
          <p:spPr>
            <a:xfrm>
              <a:off x="1228475" y="1266550"/>
              <a:ext cx="62225" cy="53450"/>
            </a:xfrm>
            <a:custGeom>
              <a:avLst/>
              <a:gdLst/>
              <a:ahLst/>
              <a:cxnLst/>
              <a:rect l="l" t="t" r="r" b="b"/>
              <a:pathLst>
                <a:path w="2489" h="2138" extrusionOk="0">
                  <a:moveTo>
                    <a:pt x="1066" y="0"/>
                  </a:moveTo>
                  <a:cubicBezTo>
                    <a:pt x="480" y="9"/>
                    <a:pt x="1" y="480"/>
                    <a:pt x="1" y="1074"/>
                  </a:cubicBezTo>
                  <a:cubicBezTo>
                    <a:pt x="1" y="1711"/>
                    <a:pt x="525" y="2137"/>
                    <a:pt x="1073" y="2137"/>
                  </a:cubicBezTo>
                  <a:cubicBezTo>
                    <a:pt x="1336" y="2137"/>
                    <a:pt x="1603" y="2040"/>
                    <a:pt x="1822" y="1821"/>
                  </a:cubicBezTo>
                  <a:cubicBezTo>
                    <a:pt x="2488" y="1155"/>
                    <a:pt x="2017" y="0"/>
                    <a:pt x="1066"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329" name="Google Shape;2329;p104"/>
            <p:cNvSpPr/>
            <p:nvPr/>
          </p:nvSpPr>
          <p:spPr>
            <a:xfrm>
              <a:off x="1152275" y="2561575"/>
              <a:ext cx="62400" cy="53425"/>
            </a:xfrm>
            <a:custGeom>
              <a:avLst/>
              <a:gdLst/>
              <a:ahLst/>
              <a:cxnLst/>
              <a:rect l="l" t="t" r="r" b="b"/>
              <a:pathLst>
                <a:path w="2496" h="2137" extrusionOk="0">
                  <a:moveTo>
                    <a:pt x="1065" y="0"/>
                  </a:moveTo>
                  <a:cubicBezTo>
                    <a:pt x="480" y="8"/>
                    <a:pt x="8" y="480"/>
                    <a:pt x="0" y="1073"/>
                  </a:cubicBezTo>
                  <a:cubicBezTo>
                    <a:pt x="0" y="1711"/>
                    <a:pt x="525" y="2137"/>
                    <a:pt x="1073" y="2137"/>
                  </a:cubicBezTo>
                  <a:cubicBezTo>
                    <a:pt x="1335" y="2137"/>
                    <a:pt x="1603" y="2039"/>
                    <a:pt x="1821" y="1821"/>
                  </a:cubicBezTo>
                  <a:cubicBezTo>
                    <a:pt x="2496" y="1154"/>
                    <a:pt x="2016" y="0"/>
                    <a:pt x="1065"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330" name="Google Shape;2330;p104"/>
            <p:cNvSpPr/>
            <p:nvPr/>
          </p:nvSpPr>
          <p:spPr>
            <a:xfrm>
              <a:off x="1152275" y="2485550"/>
              <a:ext cx="62400" cy="53300"/>
            </a:xfrm>
            <a:custGeom>
              <a:avLst/>
              <a:gdLst/>
              <a:ahLst/>
              <a:cxnLst/>
              <a:rect l="l" t="t" r="r" b="b"/>
              <a:pathLst>
                <a:path w="2496" h="2132" extrusionOk="0">
                  <a:moveTo>
                    <a:pt x="1065" y="1"/>
                  </a:moveTo>
                  <a:cubicBezTo>
                    <a:pt x="480" y="1"/>
                    <a:pt x="0" y="480"/>
                    <a:pt x="0" y="1066"/>
                  </a:cubicBezTo>
                  <a:cubicBezTo>
                    <a:pt x="0" y="1708"/>
                    <a:pt x="526" y="2131"/>
                    <a:pt x="1073" y="2131"/>
                  </a:cubicBezTo>
                  <a:cubicBezTo>
                    <a:pt x="1336" y="2131"/>
                    <a:pt x="1605" y="2033"/>
                    <a:pt x="1821" y="1814"/>
                  </a:cubicBezTo>
                  <a:cubicBezTo>
                    <a:pt x="2496" y="1147"/>
                    <a:pt x="2016" y="1"/>
                    <a:pt x="1065"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331" name="Google Shape;2331;p104"/>
            <p:cNvSpPr/>
            <p:nvPr/>
          </p:nvSpPr>
          <p:spPr>
            <a:xfrm>
              <a:off x="1152275" y="2409350"/>
              <a:ext cx="62400" cy="53350"/>
            </a:xfrm>
            <a:custGeom>
              <a:avLst/>
              <a:gdLst/>
              <a:ahLst/>
              <a:cxnLst/>
              <a:rect l="l" t="t" r="r" b="b"/>
              <a:pathLst>
                <a:path w="2496" h="2134" extrusionOk="0">
                  <a:moveTo>
                    <a:pt x="1065" y="0"/>
                  </a:moveTo>
                  <a:cubicBezTo>
                    <a:pt x="480" y="0"/>
                    <a:pt x="8" y="480"/>
                    <a:pt x="0" y="1065"/>
                  </a:cubicBezTo>
                  <a:cubicBezTo>
                    <a:pt x="0" y="1709"/>
                    <a:pt x="526" y="2133"/>
                    <a:pt x="1074" y="2133"/>
                  </a:cubicBezTo>
                  <a:cubicBezTo>
                    <a:pt x="1336" y="2133"/>
                    <a:pt x="1603" y="2036"/>
                    <a:pt x="1821" y="1821"/>
                  </a:cubicBezTo>
                  <a:cubicBezTo>
                    <a:pt x="2496" y="1146"/>
                    <a:pt x="2016" y="0"/>
                    <a:pt x="1065"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332" name="Google Shape;2332;p104"/>
            <p:cNvSpPr/>
            <p:nvPr/>
          </p:nvSpPr>
          <p:spPr>
            <a:xfrm>
              <a:off x="1152275" y="2333125"/>
              <a:ext cx="62400" cy="53450"/>
            </a:xfrm>
            <a:custGeom>
              <a:avLst/>
              <a:gdLst/>
              <a:ahLst/>
              <a:cxnLst/>
              <a:rect l="l" t="t" r="r" b="b"/>
              <a:pathLst>
                <a:path w="2496" h="2138" extrusionOk="0">
                  <a:moveTo>
                    <a:pt x="1065" y="1"/>
                  </a:moveTo>
                  <a:cubicBezTo>
                    <a:pt x="480" y="1"/>
                    <a:pt x="0" y="480"/>
                    <a:pt x="0" y="1066"/>
                  </a:cubicBezTo>
                  <a:cubicBezTo>
                    <a:pt x="0" y="1709"/>
                    <a:pt x="525" y="2137"/>
                    <a:pt x="1074" y="2137"/>
                  </a:cubicBezTo>
                  <a:cubicBezTo>
                    <a:pt x="1336" y="2137"/>
                    <a:pt x="1603" y="2040"/>
                    <a:pt x="1821" y="1822"/>
                  </a:cubicBezTo>
                  <a:cubicBezTo>
                    <a:pt x="2496" y="1147"/>
                    <a:pt x="2016" y="1"/>
                    <a:pt x="1065"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333" name="Google Shape;2333;p104"/>
            <p:cNvSpPr/>
            <p:nvPr/>
          </p:nvSpPr>
          <p:spPr>
            <a:xfrm>
              <a:off x="1152275" y="2256925"/>
              <a:ext cx="62550" cy="53425"/>
            </a:xfrm>
            <a:custGeom>
              <a:avLst/>
              <a:gdLst/>
              <a:ahLst/>
              <a:cxnLst/>
              <a:rect l="l" t="t" r="r" b="b"/>
              <a:pathLst>
                <a:path w="2502" h="2137" extrusionOk="0">
                  <a:moveTo>
                    <a:pt x="1075" y="0"/>
                  </a:moveTo>
                  <a:cubicBezTo>
                    <a:pt x="1072" y="0"/>
                    <a:pt x="1069" y="0"/>
                    <a:pt x="1065" y="0"/>
                  </a:cubicBezTo>
                  <a:cubicBezTo>
                    <a:pt x="480" y="0"/>
                    <a:pt x="0" y="480"/>
                    <a:pt x="0" y="1065"/>
                  </a:cubicBezTo>
                  <a:cubicBezTo>
                    <a:pt x="0" y="1709"/>
                    <a:pt x="529" y="2137"/>
                    <a:pt x="1080" y="2137"/>
                  </a:cubicBezTo>
                  <a:cubicBezTo>
                    <a:pt x="1343" y="2137"/>
                    <a:pt x="1611" y="2039"/>
                    <a:pt x="1829" y="1821"/>
                  </a:cubicBezTo>
                  <a:cubicBezTo>
                    <a:pt x="2502" y="1149"/>
                    <a:pt x="2028" y="0"/>
                    <a:pt x="1075"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334" name="Google Shape;2334;p104"/>
            <p:cNvSpPr/>
            <p:nvPr/>
          </p:nvSpPr>
          <p:spPr>
            <a:xfrm>
              <a:off x="1152275" y="2180700"/>
              <a:ext cx="62400" cy="53350"/>
            </a:xfrm>
            <a:custGeom>
              <a:avLst/>
              <a:gdLst/>
              <a:ahLst/>
              <a:cxnLst/>
              <a:rect l="l" t="t" r="r" b="b"/>
              <a:pathLst>
                <a:path w="2496" h="2134" extrusionOk="0">
                  <a:moveTo>
                    <a:pt x="1065" y="1"/>
                  </a:moveTo>
                  <a:cubicBezTo>
                    <a:pt x="480" y="1"/>
                    <a:pt x="0" y="480"/>
                    <a:pt x="0" y="1066"/>
                  </a:cubicBezTo>
                  <a:cubicBezTo>
                    <a:pt x="0" y="1709"/>
                    <a:pt x="526" y="2133"/>
                    <a:pt x="1074" y="2133"/>
                  </a:cubicBezTo>
                  <a:cubicBezTo>
                    <a:pt x="1336" y="2133"/>
                    <a:pt x="1603" y="2037"/>
                    <a:pt x="1821" y="1822"/>
                  </a:cubicBezTo>
                  <a:cubicBezTo>
                    <a:pt x="2496" y="1147"/>
                    <a:pt x="2016" y="1"/>
                    <a:pt x="1065"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335" name="Google Shape;2335;p104"/>
            <p:cNvSpPr/>
            <p:nvPr/>
          </p:nvSpPr>
          <p:spPr>
            <a:xfrm>
              <a:off x="1152275" y="2104500"/>
              <a:ext cx="62400" cy="53325"/>
            </a:xfrm>
            <a:custGeom>
              <a:avLst/>
              <a:gdLst/>
              <a:ahLst/>
              <a:cxnLst/>
              <a:rect l="l" t="t" r="r" b="b"/>
              <a:pathLst>
                <a:path w="2496" h="2133" extrusionOk="0">
                  <a:moveTo>
                    <a:pt x="1065" y="0"/>
                  </a:moveTo>
                  <a:cubicBezTo>
                    <a:pt x="480" y="0"/>
                    <a:pt x="0" y="480"/>
                    <a:pt x="0" y="1065"/>
                  </a:cubicBezTo>
                  <a:cubicBezTo>
                    <a:pt x="0" y="1709"/>
                    <a:pt x="526" y="2133"/>
                    <a:pt x="1074" y="2133"/>
                  </a:cubicBezTo>
                  <a:cubicBezTo>
                    <a:pt x="1336" y="2133"/>
                    <a:pt x="1603" y="2036"/>
                    <a:pt x="1821" y="1821"/>
                  </a:cubicBezTo>
                  <a:cubicBezTo>
                    <a:pt x="2496" y="1146"/>
                    <a:pt x="2016" y="0"/>
                    <a:pt x="1065"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336" name="Google Shape;2336;p104"/>
            <p:cNvSpPr/>
            <p:nvPr/>
          </p:nvSpPr>
          <p:spPr>
            <a:xfrm>
              <a:off x="1152275" y="2028275"/>
              <a:ext cx="62400" cy="53450"/>
            </a:xfrm>
            <a:custGeom>
              <a:avLst/>
              <a:gdLst/>
              <a:ahLst/>
              <a:cxnLst/>
              <a:rect l="l" t="t" r="r" b="b"/>
              <a:pathLst>
                <a:path w="2496" h="2138" extrusionOk="0">
                  <a:moveTo>
                    <a:pt x="1065" y="1"/>
                  </a:moveTo>
                  <a:cubicBezTo>
                    <a:pt x="480" y="1"/>
                    <a:pt x="0" y="480"/>
                    <a:pt x="0" y="1065"/>
                  </a:cubicBezTo>
                  <a:cubicBezTo>
                    <a:pt x="0" y="1709"/>
                    <a:pt x="525" y="2137"/>
                    <a:pt x="1074" y="2137"/>
                  </a:cubicBezTo>
                  <a:cubicBezTo>
                    <a:pt x="1336" y="2137"/>
                    <a:pt x="1603" y="2040"/>
                    <a:pt x="1821" y="1821"/>
                  </a:cubicBezTo>
                  <a:cubicBezTo>
                    <a:pt x="2496" y="1147"/>
                    <a:pt x="2016" y="1"/>
                    <a:pt x="1065"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337" name="Google Shape;2337;p104"/>
            <p:cNvSpPr/>
            <p:nvPr/>
          </p:nvSpPr>
          <p:spPr>
            <a:xfrm>
              <a:off x="1152275" y="1952050"/>
              <a:ext cx="62400" cy="53450"/>
            </a:xfrm>
            <a:custGeom>
              <a:avLst/>
              <a:gdLst/>
              <a:ahLst/>
              <a:cxnLst/>
              <a:rect l="l" t="t" r="r" b="b"/>
              <a:pathLst>
                <a:path w="2496" h="2138" extrusionOk="0">
                  <a:moveTo>
                    <a:pt x="1065" y="1"/>
                  </a:moveTo>
                  <a:cubicBezTo>
                    <a:pt x="480" y="9"/>
                    <a:pt x="0" y="481"/>
                    <a:pt x="0" y="1074"/>
                  </a:cubicBezTo>
                  <a:cubicBezTo>
                    <a:pt x="0" y="1712"/>
                    <a:pt x="525" y="2138"/>
                    <a:pt x="1073" y="2138"/>
                  </a:cubicBezTo>
                  <a:cubicBezTo>
                    <a:pt x="1335" y="2138"/>
                    <a:pt x="1603" y="2040"/>
                    <a:pt x="1821" y="1822"/>
                  </a:cubicBezTo>
                  <a:cubicBezTo>
                    <a:pt x="2496" y="1155"/>
                    <a:pt x="2016" y="1"/>
                    <a:pt x="1065"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338" name="Google Shape;2338;p104"/>
            <p:cNvSpPr/>
            <p:nvPr/>
          </p:nvSpPr>
          <p:spPr>
            <a:xfrm>
              <a:off x="1152275" y="1876050"/>
              <a:ext cx="62400" cy="53275"/>
            </a:xfrm>
            <a:custGeom>
              <a:avLst/>
              <a:gdLst/>
              <a:ahLst/>
              <a:cxnLst/>
              <a:rect l="l" t="t" r="r" b="b"/>
              <a:pathLst>
                <a:path w="2496" h="2131" extrusionOk="0">
                  <a:moveTo>
                    <a:pt x="1065" y="1"/>
                  </a:moveTo>
                  <a:cubicBezTo>
                    <a:pt x="480" y="1"/>
                    <a:pt x="0" y="472"/>
                    <a:pt x="0" y="1066"/>
                  </a:cubicBezTo>
                  <a:cubicBezTo>
                    <a:pt x="0" y="1707"/>
                    <a:pt x="522" y="2131"/>
                    <a:pt x="1069" y="2131"/>
                  </a:cubicBezTo>
                  <a:cubicBezTo>
                    <a:pt x="1333" y="2131"/>
                    <a:pt x="1602" y="2033"/>
                    <a:pt x="1821" y="1813"/>
                  </a:cubicBezTo>
                  <a:cubicBezTo>
                    <a:pt x="2496" y="1147"/>
                    <a:pt x="2016" y="1"/>
                    <a:pt x="1065"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339" name="Google Shape;2339;p104"/>
            <p:cNvSpPr/>
            <p:nvPr/>
          </p:nvSpPr>
          <p:spPr>
            <a:xfrm>
              <a:off x="1152275" y="1799850"/>
              <a:ext cx="62400" cy="53325"/>
            </a:xfrm>
            <a:custGeom>
              <a:avLst/>
              <a:gdLst/>
              <a:ahLst/>
              <a:cxnLst/>
              <a:rect l="l" t="t" r="r" b="b"/>
              <a:pathLst>
                <a:path w="2496" h="2133" extrusionOk="0">
                  <a:moveTo>
                    <a:pt x="1065" y="0"/>
                  </a:moveTo>
                  <a:cubicBezTo>
                    <a:pt x="480" y="0"/>
                    <a:pt x="0" y="480"/>
                    <a:pt x="0" y="1065"/>
                  </a:cubicBezTo>
                  <a:cubicBezTo>
                    <a:pt x="0" y="1709"/>
                    <a:pt x="526" y="2133"/>
                    <a:pt x="1074" y="2133"/>
                  </a:cubicBezTo>
                  <a:cubicBezTo>
                    <a:pt x="1336" y="2133"/>
                    <a:pt x="1603" y="2036"/>
                    <a:pt x="1821" y="1821"/>
                  </a:cubicBezTo>
                  <a:cubicBezTo>
                    <a:pt x="2496" y="1146"/>
                    <a:pt x="2016" y="0"/>
                    <a:pt x="1065"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340" name="Google Shape;2340;p104"/>
            <p:cNvSpPr/>
            <p:nvPr/>
          </p:nvSpPr>
          <p:spPr>
            <a:xfrm>
              <a:off x="1152275" y="1723625"/>
              <a:ext cx="62400" cy="53350"/>
            </a:xfrm>
            <a:custGeom>
              <a:avLst/>
              <a:gdLst/>
              <a:ahLst/>
              <a:cxnLst/>
              <a:rect l="l" t="t" r="r" b="b"/>
              <a:pathLst>
                <a:path w="2496" h="2134" extrusionOk="0">
                  <a:moveTo>
                    <a:pt x="1065" y="1"/>
                  </a:moveTo>
                  <a:cubicBezTo>
                    <a:pt x="480" y="1"/>
                    <a:pt x="0" y="480"/>
                    <a:pt x="0" y="1065"/>
                  </a:cubicBezTo>
                  <a:cubicBezTo>
                    <a:pt x="0" y="1709"/>
                    <a:pt x="526" y="2133"/>
                    <a:pt x="1074" y="2133"/>
                  </a:cubicBezTo>
                  <a:cubicBezTo>
                    <a:pt x="1336" y="2133"/>
                    <a:pt x="1603" y="2037"/>
                    <a:pt x="1821" y="1822"/>
                  </a:cubicBezTo>
                  <a:cubicBezTo>
                    <a:pt x="2496" y="1147"/>
                    <a:pt x="2016" y="1"/>
                    <a:pt x="1065"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341" name="Google Shape;2341;p104"/>
            <p:cNvSpPr/>
            <p:nvPr/>
          </p:nvSpPr>
          <p:spPr>
            <a:xfrm>
              <a:off x="1152275" y="1647400"/>
              <a:ext cx="62400" cy="53450"/>
            </a:xfrm>
            <a:custGeom>
              <a:avLst/>
              <a:gdLst/>
              <a:ahLst/>
              <a:cxnLst/>
              <a:rect l="l" t="t" r="r" b="b"/>
              <a:pathLst>
                <a:path w="2496" h="2138" extrusionOk="0">
                  <a:moveTo>
                    <a:pt x="1065" y="1"/>
                  </a:moveTo>
                  <a:cubicBezTo>
                    <a:pt x="480" y="1"/>
                    <a:pt x="0" y="481"/>
                    <a:pt x="0" y="1066"/>
                  </a:cubicBezTo>
                  <a:cubicBezTo>
                    <a:pt x="0" y="1710"/>
                    <a:pt x="525" y="2138"/>
                    <a:pt x="1074" y="2138"/>
                  </a:cubicBezTo>
                  <a:cubicBezTo>
                    <a:pt x="1336" y="2138"/>
                    <a:pt x="1603" y="2040"/>
                    <a:pt x="1821" y="1822"/>
                  </a:cubicBezTo>
                  <a:cubicBezTo>
                    <a:pt x="2496" y="1147"/>
                    <a:pt x="2016" y="1"/>
                    <a:pt x="1065"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342" name="Google Shape;2342;p104"/>
            <p:cNvSpPr/>
            <p:nvPr/>
          </p:nvSpPr>
          <p:spPr>
            <a:xfrm>
              <a:off x="1152275" y="1571400"/>
              <a:ext cx="62400" cy="53250"/>
            </a:xfrm>
            <a:custGeom>
              <a:avLst/>
              <a:gdLst/>
              <a:ahLst/>
              <a:cxnLst/>
              <a:rect l="l" t="t" r="r" b="b"/>
              <a:pathLst>
                <a:path w="2496" h="2130" extrusionOk="0">
                  <a:moveTo>
                    <a:pt x="1065" y="1"/>
                  </a:moveTo>
                  <a:cubicBezTo>
                    <a:pt x="480" y="1"/>
                    <a:pt x="0" y="472"/>
                    <a:pt x="0" y="1066"/>
                  </a:cubicBezTo>
                  <a:cubicBezTo>
                    <a:pt x="0" y="1703"/>
                    <a:pt x="525" y="2129"/>
                    <a:pt x="1073" y="2129"/>
                  </a:cubicBezTo>
                  <a:cubicBezTo>
                    <a:pt x="1335" y="2129"/>
                    <a:pt x="1603" y="2032"/>
                    <a:pt x="1821" y="1813"/>
                  </a:cubicBezTo>
                  <a:cubicBezTo>
                    <a:pt x="2496" y="1147"/>
                    <a:pt x="2016" y="1"/>
                    <a:pt x="1065"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343" name="Google Shape;2343;p104"/>
            <p:cNvSpPr/>
            <p:nvPr/>
          </p:nvSpPr>
          <p:spPr>
            <a:xfrm>
              <a:off x="1152275" y="1342750"/>
              <a:ext cx="62400" cy="53450"/>
            </a:xfrm>
            <a:custGeom>
              <a:avLst/>
              <a:gdLst/>
              <a:ahLst/>
              <a:cxnLst/>
              <a:rect l="l" t="t" r="r" b="b"/>
              <a:pathLst>
                <a:path w="2496" h="2138" extrusionOk="0">
                  <a:moveTo>
                    <a:pt x="1065" y="1"/>
                  </a:moveTo>
                  <a:cubicBezTo>
                    <a:pt x="480" y="1"/>
                    <a:pt x="0" y="481"/>
                    <a:pt x="0" y="1066"/>
                  </a:cubicBezTo>
                  <a:cubicBezTo>
                    <a:pt x="0" y="1710"/>
                    <a:pt x="525" y="2138"/>
                    <a:pt x="1074" y="2138"/>
                  </a:cubicBezTo>
                  <a:cubicBezTo>
                    <a:pt x="1336" y="2138"/>
                    <a:pt x="1603" y="2040"/>
                    <a:pt x="1821" y="1822"/>
                  </a:cubicBezTo>
                  <a:cubicBezTo>
                    <a:pt x="2496" y="1147"/>
                    <a:pt x="2016" y="1"/>
                    <a:pt x="1065"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344" name="Google Shape;2344;p104"/>
            <p:cNvSpPr/>
            <p:nvPr/>
          </p:nvSpPr>
          <p:spPr>
            <a:xfrm>
              <a:off x="1076050" y="2409350"/>
              <a:ext cx="62425" cy="53350"/>
            </a:xfrm>
            <a:custGeom>
              <a:avLst/>
              <a:gdLst/>
              <a:ahLst/>
              <a:cxnLst/>
              <a:rect l="l" t="t" r="r" b="b"/>
              <a:pathLst>
                <a:path w="2497" h="2134" extrusionOk="0">
                  <a:moveTo>
                    <a:pt x="1074" y="0"/>
                  </a:moveTo>
                  <a:cubicBezTo>
                    <a:pt x="480" y="0"/>
                    <a:pt x="9" y="480"/>
                    <a:pt x="1" y="1065"/>
                  </a:cubicBezTo>
                  <a:cubicBezTo>
                    <a:pt x="1" y="1709"/>
                    <a:pt x="530" y="2133"/>
                    <a:pt x="1078" y="2133"/>
                  </a:cubicBezTo>
                  <a:cubicBezTo>
                    <a:pt x="1340" y="2133"/>
                    <a:pt x="1606" y="2036"/>
                    <a:pt x="1822" y="1821"/>
                  </a:cubicBezTo>
                  <a:cubicBezTo>
                    <a:pt x="2496" y="1146"/>
                    <a:pt x="2017" y="0"/>
                    <a:pt x="1074"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345" name="Google Shape;2345;p104"/>
            <p:cNvSpPr/>
            <p:nvPr/>
          </p:nvSpPr>
          <p:spPr>
            <a:xfrm>
              <a:off x="1076050" y="2333125"/>
              <a:ext cx="62425" cy="53450"/>
            </a:xfrm>
            <a:custGeom>
              <a:avLst/>
              <a:gdLst/>
              <a:ahLst/>
              <a:cxnLst/>
              <a:rect l="l" t="t" r="r" b="b"/>
              <a:pathLst>
                <a:path w="2497" h="2138" extrusionOk="0">
                  <a:moveTo>
                    <a:pt x="1074" y="1"/>
                  </a:moveTo>
                  <a:cubicBezTo>
                    <a:pt x="480" y="1"/>
                    <a:pt x="9" y="480"/>
                    <a:pt x="1" y="1066"/>
                  </a:cubicBezTo>
                  <a:cubicBezTo>
                    <a:pt x="1" y="1709"/>
                    <a:pt x="530" y="2137"/>
                    <a:pt x="1078" y="2137"/>
                  </a:cubicBezTo>
                  <a:cubicBezTo>
                    <a:pt x="1340" y="2137"/>
                    <a:pt x="1606" y="2040"/>
                    <a:pt x="1822" y="1822"/>
                  </a:cubicBezTo>
                  <a:cubicBezTo>
                    <a:pt x="2496" y="1147"/>
                    <a:pt x="2017" y="1"/>
                    <a:pt x="1074"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346" name="Google Shape;2346;p104"/>
            <p:cNvSpPr/>
            <p:nvPr/>
          </p:nvSpPr>
          <p:spPr>
            <a:xfrm>
              <a:off x="1076050" y="2256925"/>
              <a:ext cx="62575" cy="53425"/>
            </a:xfrm>
            <a:custGeom>
              <a:avLst/>
              <a:gdLst/>
              <a:ahLst/>
              <a:cxnLst/>
              <a:rect l="l" t="t" r="r" b="b"/>
              <a:pathLst>
                <a:path w="2503" h="2137" extrusionOk="0">
                  <a:moveTo>
                    <a:pt x="1084" y="0"/>
                  </a:moveTo>
                  <a:cubicBezTo>
                    <a:pt x="1080" y="0"/>
                    <a:pt x="1077" y="0"/>
                    <a:pt x="1074" y="0"/>
                  </a:cubicBezTo>
                  <a:cubicBezTo>
                    <a:pt x="480" y="0"/>
                    <a:pt x="9" y="480"/>
                    <a:pt x="1" y="1065"/>
                  </a:cubicBezTo>
                  <a:cubicBezTo>
                    <a:pt x="1" y="1709"/>
                    <a:pt x="530" y="2137"/>
                    <a:pt x="1081" y="2137"/>
                  </a:cubicBezTo>
                  <a:cubicBezTo>
                    <a:pt x="1344" y="2137"/>
                    <a:pt x="1612" y="2039"/>
                    <a:pt x="1830" y="1821"/>
                  </a:cubicBezTo>
                  <a:cubicBezTo>
                    <a:pt x="2502" y="1149"/>
                    <a:pt x="2028" y="0"/>
                    <a:pt x="1084"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347" name="Google Shape;2347;p104"/>
            <p:cNvSpPr/>
            <p:nvPr/>
          </p:nvSpPr>
          <p:spPr>
            <a:xfrm>
              <a:off x="1076050" y="2180700"/>
              <a:ext cx="62425" cy="53350"/>
            </a:xfrm>
            <a:custGeom>
              <a:avLst/>
              <a:gdLst/>
              <a:ahLst/>
              <a:cxnLst/>
              <a:rect l="l" t="t" r="r" b="b"/>
              <a:pathLst>
                <a:path w="2497" h="2134" extrusionOk="0">
                  <a:moveTo>
                    <a:pt x="1074" y="1"/>
                  </a:moveTo>
                  <a:cubicBezTo>
                    <a:pt x="480" y="1"/>
                    <a:pt x="9" y="480"/>
                    <a:pt x="1" y="1066"/>
                  </a:cubicBezTo>
                  <a:cubicBezTo>
                    <a:pt x="1" y="1709"/>
                    <a:pt x="530" y="2133"/>
                    <a:pt x="1078" y="2133"/>
                  </a:cubicBezTo>
                  <a:cubicBezTo>
                    <a:pt x="1340" y="2133"/>
                    <a:pt x="1606" y="2037"/>
                    <a:pt x="1822" y="1822"/>
                  </a:cubicBezTo>
                  <a:cubicBezTo>
                    <a:pt x="2496" y="1147"/>
                    <a:pt x="2017" y="1"/>
                    <a:pt x="1074"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348" name="Google Shape;2348;p104"/>
            <p:cNvSpPr/>
            <p:nvPr/>
          </p:nvSpPr>
          <p:spPr>
            <a:xfrm>
              <a:off x="1076050" y="2104500"/>
              <a:ext cx="62425" cy="53325"/>
            </a:xfrm>
            <a:custGeom>
              <a:avLst/>
              <a:gdLst/>
              <a:ahLst/>
              <a:cxnLst/>
              <a:rect l="l" t="t" r="r" b="b"/>
              <a:pathLst>
                <a:path w="2497" h="2133" extrusionOk="0">
                  <a:moveTo>
                    <a:pt x="1074" y="0"/>
                  </a:moveTo>
                  <a:cubicBezTo>
                    <a:pt x="480" y="0"/>
                    <a:pt x="9" y="480"/>
                    <a:pt x="1" y="1065"/>
                  </a:cubicBezTo>
                  <a:cubicBezTo>
                    <a:pt x="1" y="1709"/>
                    <a:pt x="530" y="2133"/>
                    <a:pt x="1078" y="2133"/>
                  </a:cubicBezTo>
                  <a:cubicBezTo>
                    <a:pt x="1340" y="2133"/>
                    <a:pt x="1606" y="2036"/>
                    <a:pt x="1822" y="1821"/>
                  </a:cubicBezTo>
                  <a:cubicBezTo>
                    <a:pt x="2496" y="1146"/>
                    <a:pt x="2017" y="0"/>
                    <a:pt x="1074"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349" name="Google Shape;2349;p104"/>
            <p:cNvSpPr/>
            <p:nvPr/>
          </p:nvSpPr>
          <p:spPr>
            <a:xfrm>
              <a:off x="1076050" y="2028275"/>
              <a:ext cx="62425" cy="53450"/>
            </a:xfrm>
            <a:custGeom>
              <a:avLst/>
              <a:gdLst/>
              <a:ahLst/>
              <a:cxnLst/>
              <a:rect l="l" t="t" r="r" b="b"/>
              <a:pathLst>
                <a:path w="2497" h="2138" extrusionOk="0">
                  <a:moveTo>
                    <a:pt x="1074" y="1"/>
                  </a:moveTo>
                  <a:cubicBezTo>
                    <a:pt x="480" y="1"/>
                    <a:pt x="9" y="480"/>
                    <a:pt x="1" y="1065"/>
                  </a:cubicBezTo>
                  <a:cubicBezTo>
                    <a:pt x="1" y="1709"/>
                    <a:pt x="530" y="2137"/>
                    <a:pt x="1078" y="2137"/>
                  </a:cubicBezTo>
                  <a:cubicBezTo>
                    <a:pt x="1340" y="2137"/>
                    <a:pt x="1606" y="2040"/>
                    <a:pt x="1822" y="1821"/>
                  </a:cubicBezTo>
                  <a:cubicBezTo>
                    <a:pt x="2496" y="1147"/>
                    <a:pt x="2017" y="1"/>
                    <a:pt x="1074"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350" name="Google Shape;2350;p104"/>
            <p:cNvSpPr/>
            <p:nvPr/>
          </p:nvSpPr>
          <p:spPr>
            <a:xfrm>
              <a:off x="1076050" y="1952050"/>
              <a:ext cx="62425" cy="53450"/>
            </a:xfrm>
            <a:custGeom>
              <a:avLst/>
              <a:gdLst/>
              <a:ahLst/>
              <a:cxnLst/>
              <a:rect l="l" t="t" r="r" b="b"/>
              <a:pathLst>
                <a:path w="2497" h="2138" extrusionOk="0">
                  <a:moveTo>
                    <a:pt x="1074" y="1"/>
                  </a:moveTo>
                  <a:cubicBezTo>
                    <a:pt x="480" y="9"/>
                    <a:pt x="9" y="481"/>
                    <a:pt x="1" y="1074"/>
                  </a:cubicBezTo>
                  <a:cubicBezTo>
                    <a:pt x="1" y="1712"/>
                    <a:pt x="529" y="2138"/>
                    <a:pt x="1077" y="2138"/>
                  </a:cubicBezTo>
                  <a:cubicBezTo>
                    <a:pt x="1339" y="2138"/>
                    <a:pt x="1606" y="2040"/>
                    <a:pt x="1822" y="1822"/>
                  </a:cubicBezTo>
                  <a:cubicBezTo>
                    <a:pt x="2496" y="1155"/>
                    <a:pt x="2017" y="1"/>
                    <a:pt x="1074"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351" name="Google Shape;2351;p104"/>
            <p:cNvSpPr/>
            <p:nvPr/>
          </p:nvSpPr>
          <p:spPr>
            <a:xfrm>
              <a:off x="1076050" y="1876050"/>
              <a:ext cx="62425" cy="53275"/>
            </a:xfrm>
            <a:custGeom>
              <a:avLst/>
              <a:gdLst/>
              <a:ahLst/>
              <a:cxnLst/>
              <a:rect l="l" t="t" r="r" b="b"/>
              <a:pathLst>
                <a:path w="2497" h="2131" extrusionOk="0">
                  <a:moveTo>
                    <a:pt x="1074" y="1"/>
                  </a:moveTo>
                  <a:cubicBezTo>
                    <a:pt x="480" y="1"/>
                    <a:pt x="9" y="472"/>
                    <a:pt x="1" y="1066"/>
                  </a:cubicBezTo>
                  <a:cubicBezTo>
                    <a:pt x="1" y="1707"/>
                    <a:pt x="527" y="2131"/>
                    <a:pt x="1073" y="2131"/>
                  </a:cubicBezTo>
                  <a:cubicBezTo>
                    <a:pt x="1337" y="2131"/>
                    <a:pt x="1605" y="2033"/>
                    <a:pt x="1822" y="1813"/>
                  </a:cubicBezTo>
                  <a:cubicBezTo>
                    <a:pt x="2496" y="1147"/>
                    <a:pt x="2017" y="1"/>
                    <a:pt x="1074"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352" name="Google Shape;2352;p104"/>
            <p:cNvSpPr/>
            <p:nvPr/>
          </p:nvSpPr>
          <p:spPr>
            <a:xfrm>
              <a:off x="1076050" y="1799850"/>
              <a:ext cx="62425" cy="53325"/>
            </a:xfrm>
            <a:custGeom>
              <a:avLst/>
              <a:gdLst/>
              <a:ahLst/>
              <a:cxnLst/>
              <a:rect l="l" t="t" r="r" b="b"/>
              <a:pathLst>
                <a:path w="2497" h="2133" extrusionOk="0">
                  <a:moveTo>
                    <a:pt x="1074" y="0"/>
                  </a:moveTo>
                  <a:cubicBezTo>
                    <a:pt x="480" y="0"/>
                    <a:pt x="9" y="480"/>
                    <a:pt x="1" y="1065"/>
                  </a:cubicBezTo>
                  <a:cubicBezTo>
                    <a:pt x="1" y="1709"/>
                    <a:pt x="530" y="2133"/>
                    <a:pt x="1078" y="2133"/>
                  </a:cubicBezTo>
                  <a:cubicBezTo>
                    <a:pt x="1340" y="2133"/>
                    <a:pt x="1606" y="2036"/>
                    <a:pt x="1822" y="1821"/>
                  </a:cubicBezTo>
                  <a:cubicBezTo>
                    <a:pt x="2496" y="1146"/>
                    <a:pt x="2017" y="0"/>
                    <a:pt x="1074"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353" name="Google Shape;2353;p104"/>
            <p:cNvSpPr/>
            <p:nvPr/>
          </p:nvSpPr>
          <p:spPr>
            <a:xfrm>
              <a:off x="1076050" y="1723625"/>
              <a:ext cx="62425" cy="53350"/>
            </a:xfrm>
            <a:custGeom>
              <a:avLst/>
              <a:gdLst/>
              <a:ahLst/>
              <a:cxnLst/>
              <a:rect l="l" t="t" r="r" b="b"/>
              <a:pathLst>
                <a:path w="2497" h="2134" extrusionOk="0">
                  <a:moveTo>
                    <a:pt x="1074" y="1"/>
                  </a:moveTo>
                  <a:cubicBezTo>
                    <a:pt x="480" y="1"/>
                    <a:pt x="9" y="480"/>
                    <a:pt x="1" y="1065"/>
                  </a:cubicBezTo>
                  <a:cubicBezTo>
                    <a:pt x="1" y="1709"/>
                    <a:pt x="530" y="2133"/>
                    <a:pt x="1078" y="2133"/>
                  </a:cubicBezTo>
                  <a:cubicBezTo>
                    <a:pt x="1340" y="2133"/>
                    <a:pt x="1606" y="2037"/>
                    <a:pt x="1822" y="1822"/>
                  </a:cubicBezTo>
                  <a:cubicBezTo>
                    <a:pt x="2496" y="1147"/>
                    <a:pt x="2017" y="1"/>
                    <a:pt x="1074"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354" name="Google Shape;2354;p104"/>
            <p:cNvSpPr/>
            <p:nvPr/>
          </p:nvSpPr>
          <p:spPr>
            <a:xfrm>
              <a:off x="1076050" y="1647400"/>
              <a:ext cx="62425" cy="53450"/>
            </a:xfrm>
            <a:custGeom>
              <a:avLst/>
              <a:gdLst/>
              <a:ahLst/>
              <a:cxnLst/>
              <a:rect l="l" t="t" r="r" b="b"/>
              <a:pathLst>
                <a:path w="2497" h="2138" extrusionOk="0">
                  <a:moveTo>
                    <a:pt x="1074" y="1"/>
                  </a:moveTo>
                  <a:cubicBezTo>
                    <a:pt x="480" y="9"/>
                    <a:pt x="9" y="481"/>
                    <a:pt x="1" y="1066"/>
                  </a:cubicBezTo>
                  <a:cubicBezTo>
                    <a:pt x="1" y="1710"/>
                    <a:pt x="530" y="2138"/>
                    <a:pt x="1078" y="2138"/>
                  </a:cubicBezTo>
                  <a:cubicBezTo>
                    <a:pt x="1340" y="2138"/>
                    <a:pt x="1606" y="2040"/>
                    <a:pt x="1822" y="1822"/>
                  </a:cubicBezTo>
                  <a:cubicBezTo>
                    <a:pt x="2496" y="1147"/>
                    <a:pt x="2017" y="1"/>
                    <a:pt x="1074"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355" name="Google Shape;2355;p104"/>
            <p:cNvSpPr/>
            <p:nvPr/>
          </p:nvSpPr>
          <p:spPr>
            <a:xfrm>
              <a:off x="1076050" y="1571400"/>
              <a:ext cx="62425" cy="53250"/>
            </a:xfrm>
            <a:custGeom>
              <a:avLst/>
              <a:gdLst/>
              <a:ahLst/>
              <a:cxnLst/>
              <a:rect l="l" t="t" r="r" b="b"/>
              <a:pathLst>
                <a:path w="2497" h="2130" extrusionOk="0">
                  <a:moveTo>
                    <a:pt x="1074" y="1"/>
                  </a:moveTo>
                  <a:cubicBezTo>
                    <a:pt x="480" y="1"/>
                    <a:pt x="9" y="472"/>
                    <a:pt x="1" y="1066"/>
                  </a:cubicBezTo>
                  <a:cubicBezTo>
                    <a:pt x="1" y="1703"/>
                    <a:pt x="529" y="2129"/>
                    <a:pt x="1077" y="2129"/>
                  </a:cubicBezTo>
                  <a:cubicBezTo>
                    <a:pt x="1339" y="2129"/>
                    <a:pt x="1606" y="2032"/>
                    <a:pt x="1822" y="1813"/>
                  </a:cubicBezTo>
                  <a:cubicBezTo>
                    <a:pt x="2496" y="1147"/>
                    <a:pt x="2017" y="1"/>
                    <a:pt x="1074"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356" name="Google Shape;2356;p104"/>
            <p:cNvSpPr/>
            <p:nvPr/>
          </p:nvSpPr>
          <p:spPr>
            <a:xfrm>
              <a:off x="1076050" y="1418975"/>
              <a:ext cx="62425" cy="53350"/>
            </a:xfrm>
            <a:custGeom>
              <a:avLst/>
              <a:gdLst/>
              <a:ahLst/>
              <a:cxnLst/>
              <a:rect l="l" t="t" r="r" b="b"/>
              <a:pathLst>
                <a:path w="2497" h="2134" extrusionOk="0">
                  <a:moveTo>
                    <a:pt x="1074" y="1"/>
                  </a:moveTo>
                  <a:cubicBezTo>
                    <a:pt x="480" y="1"/>
                    <a:pt x="9" y="480"/>
                    <a:pt x="1" y="1065"/>
                  </a:cubicBezTo>
                  <a:cubicBezTo>
                    <a:pt x="1" y="1709"/>
                    <a:pt x="530" y="2133"/>
                    <a:pt x="1078" y="2133"/>
                  </a:cubicBezTo>
                  <a:cubicBezTo>
                    <a:pt x="1340" y="2133"/>
                    <a:pt x="1606" y="2037"/>
                    <a:pt x="1822" y="1822"/>
                  </a:cubicBezTo>
                  <a:cubicBezTo>
                    <a:pt x="2496" y="1147"/>
                    <a:pt x="2017" y="1"/>
                    <a:pt x="1074"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357" name="Google Shape;2357;p104"/>
            <p:cNvSpPr/>
            <p:nvPr/>
          </p:nvSpPr>
          <p:spPr>
            <a:xfrm>
              <a:off x="1076050" y="1342750"/>
              <a:ext cx="62425" cy="53450"/>
            </a:xfrm>
            <a:custGeom>
              <a:avLst/>
              <a:gdLst/>
              <a:ahLst/>
              <a:cxnLst/>
              <a:rect l="l" t="t" r="r" b="b"/>
              <a:pathLst>
                <a:path w="2497" h="2138" extrusionOk="0">
                  <a:moveTo>
                    <a:pt x="1074" y="1"/>
                  </a:moveTo>
                  <a:cubicBezTo>
                    <a:pt x="480" y="1"/>
                    <a:pt x="9" y="481"/>
                    <a:pt x="1" y="1066"/>
                  </a:cubicBezTo>
                  <a:cubicBezTo>
                    <a:pt x="1" y="1710"/>
                    <a:pt x="530" y="2138"/>
                    <a:pt x="1078" y="2138"/>
                  </a:cubicBezTo>
                  <a:cubicBezTo>
                    <a:pt x="1340" y="2138"/>
                    <a:pt x="1606" y="2040"/>
                    <a:pt x="1822" y="1822"/>
                  </a:cubicBezTo>
                  <a:cubicBezTo>
                    <a:pt x="2496" y="1147"/>
                    <a:pt x="2017" y="1"/>
                    <a:pt x="1074"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358" name="Google Shape;2358;p104"/>
            <p:cNvSpPr/>
            <p:nvPr/>
          </p:nvSpPr>
          <p:spPr>
            <a:xfrm>
              <a:off x="1076050" y="1266550"/>
              <a:ext cx="62425" cy="53450"/>
            </a:xfrm>
            <a:custGeom>
              <a:avLst/>
              <a:gdLst/>
              <a:ahLst/>
              <a:cxnLst/>
              <a:rect l="l" t="t" r="r" b="b"/>
              <a:pathLst>
                <a:path w="2497" h="2138" extrusionOk="0">
                  <a:moveTo>
                    <a:pt x="1074" y="0"/>
                  </a:moveTo>
                  <a:cubicBezTo>
                    <a:pt x="480" y="9"/>
                    <a:pt x="9" y="480"/>
                    <a:pt x="1" y="1074"/>
                  </a:cubicBezTo>
                  <a:cubicBezTo>
                    <a:pt x="1" y="1711"/>
                    <a:pt x="529" y="2137"/>
                    <a:pt x="1077" y="2137"/>
                  </a:cubicBezTo>
                  <a:cubicBezTo>
                    <a:pt x="1339" y="2137"/>
                    <a:pt x="1606" y="2040"/>
                    <a:pt x="1822" y="1821"/>
                  </a:cubicBezTo>
                  <a:cubicBezTo>
                    <a:pt x="2496" y="1155"/>
                    <a:pt x="2017" y="0"/>
                    <a:pt x="1074"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359" name="Google Shape;2359;p104"/>
            <p:cNvSpPr/>
            <p:nvPr/>
          </p:nvSpPr>
          <p:spPr>
            <a:xfrm>
              <a:off x="1000050" y="2104500"/>
              <a:ext cx="62200" cy="53325"/>
            </a:xfrm>
            <a:custGeom>
              <a:avLst/>
              <a:gdLst/>
              <a:ahLst/>
              <a:cxnLst/>
              <a:rect l="l" t="t" r="r" b="b"/>
              <a:pathLst>
                <a:path w="2488" h="2133" extrusionOk="0">
                  <a:moveTo>
                    <a:pt x="1065" y="0"/>
                  </a:moveTo>
                  <a:cubicBezTo>
                    <a:pt x="472" y="0"/>
                    <a:pt x="0" y="480"/>
                    <a:pt x="0" y="1065"/>
                  </a:cubicBezTo>
                  <a:cubicBezTo>
                    <a:pt x="0" y="1709"/>
                    <a:pt x="526" y="2133"/>
                    <a:pt x="1072" y="2133"/>
                  </a:cubicBezTo>
                  <a:cubicBezTo>
                    <a:pt x="1332" y="2133"/>
                    <a:pt x="1598" y="2036"/>
                    <a:pt x="1813" y="1821"/>
                  </a:cubicBezTo>
                  <a:cubicBezTo>
                    <a:pt x="2488" y="1146"/>
                    <a:pt x="2016" y="0"/>
                    <a:pt x="1065"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360" name="Google Shape;2360;p104"/>
            <p:cNvSpPr/>
            <p:nvPr/>
          </p:nvSpPr>
          <p:spPr>
            <a:xfrm>
              <a:off x="1000050" y="2028275"/>
              <a:ext cx="62200" cy="53450"/>
            </a:xfrm>
            <a:custGeom>
              <a:avLst/>
              <a:gdLst/>
              <a:ahLst/>
              <a:cxnLst/>
              <a:rect l="l" t="t" r="r" b="b"/>
              <a:pathLst>
                <a:path w="2488" h="2138" extrusionOk="0">
                  <a:moveTo>
                    <a:pt x="1065" y="1"/>
                  </a:moveTo>
                  <a:cubicBezTo>
                    <a:pt x="472" y="1"/>
                    <a:pt x="0" y="480"/>
                    <a:pt x="0" y="1065"/>
                  </a:cubicBezTo>
                  <a:cubicBezTo>
                    <a:pt x="0" y="1709"/>
                    <a:pt x="525" y="2137"/>
                    <a:pt x="1072" y="2137"/>
                  </a:cubicBezTo>
                  <a:cubicBezTo>
                    <a:pt x="1332" y="2137"/>
                    <a:pt x="1598" y="2040"/>
                    <a:pt x="1813" y="1821"/>
                  </a:cubicBezTo>
                  <a:cubicBezTo>
                    <a:pt x="2488" y="1147"/>
                    <a:pt x="2016" y="1"/>
                    <a:pt x="1065"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361" name="Google Shape;2361;p104"/>
            <p:cNvSpPr/>
            <p:nvPr/>
          </p:nvSpPr>
          <p:spPr>
            <a:xfrm>
              <a:off x="1000050" y="1952050"/>
              <a:ext cx="62200" cy="53450"/>
            </a:xfrm>
            <a:custGeom>
              <a:avLst/>
              <a:gdLst/>
              <a:ahLst/>
              <a:cxnLst/>
              <a:rect l="l" t="t" r="r" b="b"/>
              <a:pathLst>
                <a:path w="2488" h="2138" extrusionOk="0">
                  <a:moveTo>
                    <a:pt x="1065" y="1"/>
                  </a:moveTo>
                  <a:cubicBezTo>
                    <a:pt x="472" y="9"/>
                    <a:pt x="0" y="481"/>
                    <a:pt x="0" y="1074"/>
                  </a:cubicBezTo>
                  <a:cubicBezTo>
                    <a:pt x="0" y="1712"/>
                    <a:pt x="525" y="2138"/>
                    <a:pt x="1070" y="2138"/>
                  </a:cubicBezTo>
                  <a:cubicBezTo>
                    <a:pt x="1332" y="2138"/>
                    <a:pt x="1597" y="2040"/>
                    <a:pt x="1813" y="1822"/>
                  </a:cubicBezTo>
                  <a:cubicBezTo>
                    <a:pt x="2488" y="1155"/>
                    <a:pt x="2016" y="1"/>
                    <a:pt x="1065"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362" name="Google Shape;2362;p104"/>
            <p:cNvSpPr/>
            <p:nvPr/>
          </p:nvSpPr>
          <p:spPr>
            <a:xfrm>
              <a:off x="1000050" y="1876050"/>
              <a:ext cx="62200" cy="53275"/>
            </a:xfrm>
            <a:custGeom>
              <a:avLst/>
              <a:gdLst/>
              <a:ahLst/>
              <a:cxnLst/>
              <a:rect l="l" t="t" r="r" b="b"/>
              <a:pathLst>
                <a:path w="2488" h="2131" extrusionOk="0">
                  <a:moveTo>
                    <a:pt x="1065" y="1"/>
                  </a:moveTo>
                  <a:cubicBezTo>
                    <a:pt x="472" y="1"/>
                    <a:pt x="0" y="472"/>
                    <a:pt x="0" y="1066"/>
                  </a:cubicBezTo>
                  <a:cubicBezTo>
                    <a:pt x="0" y="1707"/>
                    <a:pt x="522" y="2131"/>
                    <a:pt x="1067" y="2131"/>
                  </a:cubicBezTo>
                  <a:cubicBezTo>
                    <a:pt x="1329" y="2131"/>
                    <a:pt x="1596" y="2033"/>
                    <a:pt x="1813" y="1813"/>
                  </a:cubicBezTo>
                  <a:cubicBezTo>
                    <a:pt x="2488" y="1147"/>
                    <a:pt x="2016" y="1"/>
                    <a:pt x="1065"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363" name="Google Shape;2363;p104"/>
            <p:cNvSpPr/>
            <p:nvPr/>
          </p:nvSpPr>
          <p:spPr>
            <a:xfrm>
              <a:off x="1000050" y="1799850"/>
              <a:ext cx="62200" cy="53325"/>
            </a:xfrm>
            <a:custGeom>
              <a:avLst/>
              <a:gdLst/>
              <a:ahLst/>
              <a:cxnLst/>
              <a:rect l="l" t="t" r="r" b="b"/>
              <a:pathLst>
                <a:path w="2488" h="2133" extrusionOk="0">
                  <a:moveTo>
                    <a:pt x="1065" y="0"/>
                  </a:moveTo>
                  <a:cubicBezTo>
                    <a:pt x="472" y="0"/>
                    <a:pt x="0" y="480"/>
                    <a:pt x="0" y="1065"/>
                  </a:cubicBezTo>
                  <a:cubicBezTo>
                    <a:pt x="0" y="1709"/>
                    <a:pt x="526" y="2133"/>
                    <a:pt x="1072" y="2133"/>
                  </a:cubicBezTo>
                  <a:cubicBezTo>
                    <a:pt x="1332" y="2133"/>
                    <a:pt x="1598" y="2036"/>
                    <a:pt x="1813" y="1821"/>
                  </a:cubicBezTo>
                  <a:cubicBezTo>
                    <a:pt x="2488" y="1146"/>
                    <a:pt x="2016" y="0"/>
                    <a:pt x="1065"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364" name="Google Shape;2364;p104"/>
            <p:cNvSpPr/>
            <p:nvPr/>
          </p:nvSpPr>
          <p:spPr>
            <a:xfrm>
              <a:off x="1000050" y="1723625"/>
              <a:ext cx="62200" cy="53350"/>
            </a:xfrm>
            <a:custGeom>
              <a:avLst/>
              <a:gdLst/>
              <a:ahLst/>
              <a:cxnLst/>
              <a:rect l="l" t="t" r="r" b="b"/>
              <a:pathLst>
                <a:path w="2488" h="2134" extrusionOk="0">
                  <a:moveTo>
                    <a:pt x="1065" y="1"/>
                  </a:moveTo>
                  <a:cubicBezTo>
                    <a:pt x="472" y="1"/>
                    <a:pt x="0" y="480"/>
                    <a:pt x="0" y="1065"/>
                  </a:cubicBezTo>
                  <a:cubicBezTo>
                    <a:pt x="0" y="1709"/>
                    <a:pt x="526" y="2133"/>
                    <a:pt x="1072" y="2133"/>
                  </a:cubicBezTo>
                  <a:cubicBezTo>
                    <a:pt x="1332" y="2133"/>
                    <a:pt x="1598" y="2037"/>
                    <a:pt x="1813" y="1822"/>
                  </a:cubicBezTo>
                  <a:cubicBezTo>
                    <a:pt x="2488" y="1147"/>
                    <a:pt x="2016" y="1"/>
                    <a:pt x="1065"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365" name="Google Shape;2365;p104"/>
            <p:cNvSpPr/>
            <p:nvPr/>
          </p:nvSpPr>
          <p:spPr>
            <a:xfrm>
              <a:off x="1000050" y="1647400"/>
              <a:ext cx="62200" cy="53450"/>
            </a:xfrm>
            <a:custGeom>
              <a:avLst/>
              <a:gdLst/>
              <a:ahLst/>
              <a:cxnLst/>
              <a:rect l="l" t="t" r="r" b="b"/>
              <a:pathLst>
                <a:path w="2488" h="2138" extrusionOk="0">
                  <a:moveTo>
                    <a:pt x="1065" y="1"/>
                  </a:moveTo>
                  <a:cubicBezTo>
                    <a:pt x="472" y="1"/>
                    <a:pt x="0" y="481"/>
                    <a:pt x="0" y="1066"/>
                  </a:cubicBezTo>
                  <a:cubicBezTo>
                    <a:pt x="0" y="1710"/>
                    <a:pt x="525" y="2138"/>
                    <a:pt x="1072" y="2138"/>
                  </a:cubicBezTo>
                  <a:cubicBezTo>
                    <a:pt x="1332" y="2138"/>
                    <a:pt x="1598" y="2040"/>
                    <a:pt x="1813" y="1822"/>
                  </a:cubicBezTo>
                  <a:cubicBezTo>
                    <a:pt x="2488" y="1147"/>
                    <a:pt x="2016" y="1"/>
                    <a:pt x="1065"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366" name="Google Shape;2366;p104"/>
            <p:cNvSpPr/>
            <p:nvPr/>
          </p:nvSpPr>
          <p:spPr>
            <a:xfrm>
              <a:off x="1000050" y="1571400"/>
              <a:ext cx="62200" cy="53250"/>
            </a:xfrm>
            <a:custGeom>
              <a:avLst/>
              <a:gdLst/>
              <a:ahLst/>
              <a:cxnLst/>
              <a:rect l="l" t="t" r="r" b="b"/>
              <a:pathLst>
                <a:path w="2488" h="2130" extrusionOk="0">
                  <a:moveTo>
                    <a:pt x="1065" y="1"/>
                  </a:moveTo>
                  <a:cubicBezTo>
                    <a:pt x="472" y="1"/>
                    <a:pt x="0" y="472"/>
                    <a:pt x="0" y="1066"/>
                  </a:cubicBezTo>
                  <a:cubicBezTo>
                    <a:pt x="0" y="1703"/>
                    <a:pt x="525" y="2129"/>
                    <a:pt x="1070" y="2129"/>
                  </a:cubicBezTo>
                  <a:cubicBezTo>
                    <a:pt x="1332" y="2129"/>
                    <a:pt x="1597" y="2032"/>
                    <a:pt x="1813" y="1813"/>
                  </a:cubicBezTo>
                  <a:cubicBezTo>
                    <a:pt x="2488" y="1147"/>
                    <a:pt x="2016" y="1"/>
                    <a:pt x="1065"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367" name="Google Shape;2367;p104"/>
            <p:cNvSpPr/>
            <p:nvPr/>
          </p:nvSpPr>
          <p:spPr>
            <a:xfrm>
              <a:off x="1000050" y="1342750"/>
              <a:ext cx="62200" cy="53450"/>
            </a:xfrm>
            <a:custGeom>
              <a:avLst/>
              <a:gdLst/>
              <a:ahLst/>
              <a:cxnLst/>
              <a:rect l="l" t="t" r="r" b="b"/>
              <a:pathLst>
                <a:path w="2488" h="2138" extrusionOk="0">
                  <a:moveTo>
                    <a:pt x="1065" y="1"/>
                  </a:moveTo>
                  <a:cubicBezTo>
                    <a:pt x="472" y="1"/>
                    <a:pt x="0" y="481"/>
                    <a:pt x="0" y="1066"/>
                  </a:cubicBezTo>
                  <a:cubicBezTo>
                    <a:pt x="0" y="1710"/>
                    <a:pt x="525" y="2138"/>
                    <a:pt x="1072" y="2138"/>
                  </a:cubicBezTo>
                  <a:cubicBezTo>
                    <a:pt x="1332" y="2138"/>
                    <a:pt x="1598" y="2040"/>
                    <a:pt x="1813" y="1822"/>
                  </a:cubicBezTo>
                  <a:cubicBezTo>
                    <a:pt x="2488" y="1147"/>
                    <a:pt x="2016" y="1"/>
                    <a:pt x="1065"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368" name="Google Shape;2368;p104"/>
            <p:cNvSpPr/>
            <p:nvPr/>
          </p:nvSpPr>
          <p:spPr>
            <a:xfrm>
              <a:off x="923825" y="2028275"/>
              <a:ext cx="62225" cy="53450"/>
            </a:xfrm>
            <a:custGeom>
              <a:avLst/>
              <a:gdLst/>
              <a:ahLst/>
              <a:cxnLst/>
              <a:rect l="l" t="t" r="r" b="b"/>
              <a:pathLst>
                <a:path w="2489" h="2138" extrusionOk="0">
                  <a:moveTo>
                    <a:pt x="1066" y="1"/>
                  </a:moveTo>
                  <a:cubicBezTo>
                    <a:pt x="480" y="1"/>
                    <a:pt x="1" y="480"/>
                    <a:pt x="1" y="1065"/>
                  </a:cubicBezTo>
                  <a:cubicBezTo>
                    <a:pt x="1" y="1709"/>
                    <a:pt x="526" y="2137"/>
                    <a:pt x="1075" y="2137"/>
                  </a:cubicBezTo>
                  <a:cubicBezTo>
                    <a:pt x="1336" y="2137"/>
                    <a:pt x="1604" y="2040"/>
                    <a:pt x="1822" y="1821"/>
                  </a:cubicBezTo>
                  <a:cubicBezTo>
                    <a:pt x="2488" y="1147"/>
                    <a:pt x="2017" y="1"/>
                    <a:pt x="1066"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369" name="Google Shape;2369;p104"/>
            <p:cNvSpPr/>
            <p:nvPr/>
          </p:nvSpPr>
          <p:spPr>
            <a:xfrm>
              <a:off x="923825" y="1952050"/>
              <a:ext cx="62225" cy="53450"/>
            </a:xfrm>
            <a:custGeom>
              <a:avLst/>
              <a:gdLst/>
              <a:ahLst/>
              <a:cxnLst/>
              <a:rect l="l" t="t" r="r" b="b"/>
              <a:pathLst>
                <a:path w="2489" h="2138" extrusionOk="0">
                  <a:moveTo>
                    <a:pt x="1066" y="1"/>
                  </a:moveTo>
                  <a:cubicBezTo>
                    <a:pt x="480" y="9"/>
                    <a:pt x="1" y="481"/>
                    <a:pt x="1" y="1074"/>
                  </a:cubicBezTo>
                  <a:cubicBezTo>
                    <a:pt x="1" y="1712"/>
                    <a:pt x="525" y="2138"/>
                    <a:pt x="1073" y="2138"/>
                  </a:cubicBezTo>
                  <a:cubicBezTo>
                    <a:pt x="1336" y="2138"/>
                    <a:pt x="1603" y="2040"/>
                    <a:pt x="1822" y="1822"/>
                  </a:cubicBezTo>
                  <a:cubicBezTo>
                    <a:pt x="2488" y="1155"/>
                    <a:pt x="2017" y="1"/>
                    <a:pt x="1066"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370" name="Google Shape;2370;p104"/>
            <p:cNvSpPr/>
            <p:nvPr/>
          </p:nvSpPr>
          <p:spPr>
            <a:xfrm>
              <a:off x="923825" y="1876050"/>
              <a:ext cx="62225" cy="53350"/>
            </a:xfrm>
            <a:custGeom>
              <a:avLst/>
              <a:gdLst/>
              <a:ahLst/>
              <a:cxnLst/>
              <a:rect l="l" t="t" r="r" b="b"/>
              <a:pathLst>
                <a:path w="2489" h="2134" extrusionOk="0">
                  <a:moveTo>
                    <a:pt x="1066" y="1"/>
                  </a:moveTo>
                  <a:cubicBezTo>
                    <a:pt x="480" y="1"/>
                    <a:pt x="1" y="472"/>
                    <a:pt x="1" y="1066"/>
                  </a:cubicBezTo>
                  <a:cubicBezTo>
                    <a:pt x="1" y="1709"/>
                    <a:pt x="526" y="2133"/>
                    <a:pt x="1075" y="2133"/>
                  </a:cubicBezTo>
                  <a:cubicBezTo>
                    <a:pt x="1337" y="2133"/>
                    <a:pt x="1604" y="2037"/>
                    <a:pt x="1822" y="1822"/>
                  </a:cubicBezTo>
                  <a:cubicBezTo>
                    <a:pt x="2488" y="1147"/>
                    <a:pt x="2017" y="1"/>
                    <a:pt x="1066"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371" name="Google Shape;2371;p104"/>
            <p:cNvSpPr/>
            <p:nvPr/>
          </p:nvSpPr>
          <p:spPr>
            <a:xfrm>
              <a:off x="923825" y="1799850"/>
              <a:ext cx="62225" cy="53325"/>
            </a:xfrm>
            <a:custGeom>
              <a:avLst/>
              <a:gdLst/>
              <a:ahLst/>
              <a:cxnLst/>
              <a:rect l="l" t="t" r="r" b="b"/>
              <a:pathLst>
                <a:path w="2489" h="2133" extrusionOk="0">
                  <a:moveTo>
                    <a:pt x="1066" y="0"/>
                  </a:moveTo>
                  <a:cubicBezTo>
                    <a:pt x="480" y="0"/>
                    <a:pt x="1" y="480"/>
                    <a:pt x="1" y="1065"/>
                  </a:cubicBezTo>
                  <a:cubicBezTo>
                    <a:pt x="1" y="1709"/>
                    <a:pt x="526" y="2133"/>
                    <a:pt x="1075" y="2133"/>
                  </a:cubicBezTo>
                  <a:cubicBezTo>
                    <a:pt x="1337" y="2133"/>
                    <a:pt x="1604" y="2036"/>
                    <a:pt x="1822" y="1821"/>
                  </a:cubicBezTo>
                  <a:cubicBezTo>
                    <a:pt x="2488" y="1146"/>
                    <a:pt x="2017" y="0"/>
                    <a:pt x="1066"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372" name="Google Shape;2372;p104"/>
            <p:cNvSpPr/>
            <p:nvPr/>
          </p:nvSpPr>
          <p:spPr>
            <a:xfrm>
              <a:off x="923825" y="1723625"/>
              <a:ext cx="62225" cy="53350"/>
            </a:xfrm>
            <a:custGeom>
              <a:avLst/>
              <a:gdLst/>
              <a:ahLst/>
              <a:cxnLst/>
              <a:rect l="l" t="t" r="r" b="b"/>
              <a:pathLst>
                <a:path w="2489" h="2134" extrusionOk="0">
                  <a:moveTo>
                    <a:pt x="1066" y="1"/>
                  </a:moveTo>
                  <a:cubicBezTo>
                    <a:pt x="480" y="1"/>
                    <a:pt x="1" y="480"/>
                    <a:pt x="1" y="1065"/>
                  </a:cubicBezTo>
                  <a:cubicBezTo>
                    <a:pt x="1" y="1709"/>
                    <a:pt x="526" y="2133"/>
                    <a:pt x="1075" y="2133"/>
                  </a:cubicBezTo>
                  <a:cubicBezTo>
                    <a:pt x="1337" y="2133"/>
                    <a:pt x="1604" y="2037"/>
                    <a:pt x="1822" y="1822"/>
                  </a:cubicBezTo>
                  <a:cubicBezTo>
                    <a:pt x="2488" y="1147"/>
                    <a:pt x="2017" y="1"/>
                    <a:pt x="1066"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373" name="Google Shape;2373;p104"/>
            <p:cNvSpPr/>
            <p:nvPr/>
          </p:nvSpPr>
          <p:spPr>
            <a:xfrm>
              <a:off x="923825" y="1647400"/>
              <a:ext cx="62225" cy="53450"/>
            </a:xfrm>
            <a:custGeom>
              <a:avLst/>
              <a:gdLst/>
              <a:ahLst/>
              <a:cxnLst/>
              <a:rect l="l" t="t" r="r" b="b"/>
              <a:pathLst>
                <a:path w="2489" h="2138" extrusionOk="0">
                  <a:moveTo>
                    <a:pt x="1066" y="1"/>
                  </a:moveTo>
                  <a:cubicBezTo>
                    <a:pt x="480" y="9"/>
                    <a:pt x="1" y="481"/>
                    <a:pt x="1" y="1066"/>
                  </a:cubicBezTo>
                  <a:cubicBezTo>
                    <a:pt x="1" y="1710"/>
                    <a:pt x="526" y="2138"/>
                    <a:pt x="1075" y="2138"/>
                  </a:cubicBezTo>
                  <a:cubicBezTo>
                    <a:pt x="1336" y="2138"/>
                    <a:pt x="1604" y="2040"/>
                    <a:pt x="1822" y="1822"/>
                  </a:cubicBezTo>
                  <a:cubicBezTo>
                    <a:pt x="2488" y="1147"/>
                    <a:pt x="2017" y="1"/>
                    <a:pt x="1066"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374" name="Google Shape;2374;p104"/>
            <p:cNvSpPr/>
            <p:nvPr/>
          </p:nvSpPr>
          <p:spPr>
            <a:xfrm>
              <a:off x="923825" y="1571400"/>
              <a:ext cx="62225" cy="53250"/>
            </a:xfrm>
            <a:custGeom>
              <a:avLst/>
              <a:gdLst/>
              <a:ahLst/>
              <a:cxnLst/>
              <a:rect l="l" t="t" r="r" b="b"/>
              <a:pathLst>
                <a:path w="2489" h="2130" extrusionOk="0">
                  <a:moveTo>
                    <a:pt x="1066" y="1"/>
                  </a:moveTo>
                  <a:cubicBezTo>
                    <a:pt x="480" y="1"/>
                    <a:pt x="1" y="472"/>
                    <a:pt x="1" y="1066"/>
                  </a:cubicBezTo>
                  <a:cubicBezTo>
                    <a:pt x="1" y="1703"/>
                    <a:pt x="525" y="2129"/>
                    <a:pt x="1073" y="2129"/>
                  </a:cubicBezTo>
                  <a:cubicBezTo>
                    <a:pt x="1336" y="2129"/>
                    <a:pt x="1603" y="2032"/>
                    <a:pt x="1822" y="1813"/>
                  </a:cubicBezTo>
                  <a:cubicBezTo>
                    <a:pt x="2488" y="1147"/>
                    <a:pt x="2017" y="1"/>
                    <a:pt x="1066"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375" name="Google Shape;2375;p104"/>
            <p:cNvSpPr/>
            <p:nvPr/>
          </p:nvSpPr>
          <p:spPr>
            <a:xfrm>
              <a:off x="847625" y="1952050"/>
              <a:ext cx="62200" cy="53450"/>
            </a:xfrm>
            <a:custGeom>
              <a:avLst/>
              <a:gdLst/>
              <a:ahLst/>
              <a:cxnLst/>
              <a:rect l="l" t="t" r="r" b="b"/>
              <a:pathLst>
                <a:path w="2488" h="2138" extrusionOk="0">
                  <a:moveTo>
                    <a:pt x="1065" y="1"/>
                  </a:moveTo>
                  <a:cubicBezTo>
                    <a:pt x="480" y="9"/>
                    <a:pt x="0" y="481"/>
                    <a:pt x="0" y="1074"/>
                  </a:cubicBezTo>
                  <a:cubicBezTo>
                    <a:pt x="0" y="1712"/>
                    <a:pt x="525" y="2138"/>
                    <a:pt x="1073" y="2138"/>
                  </a:cubicBezTo>
                  <a:cubicBezTo>
                    <a:pt x="1335" y="2138"/>
                    <a:pt x="1603" y="2040"/>
                    <a:pt x="1821" y="1822"/>
                  </a:cubicBezTo>
                  <a:cubicBezTo>
                    <a:pt x="2488" y="1155"/>
                    <a:pt x="2016" y="1"/>
                    <a:pt x="1065"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376" name="Google Shape;2376;p104"/>
            <p:cNvSpPr/>
            <p:nvPr/>
          </p:nvSpPr>
          <p:spPr>
            <a:xfrm>
              <a:off x="847625" y="1876050"/>
              <a:ext cx="62200" cy="53275"/>
            </a:xfrm>
            <a:custGeom>
              <a:avLst/>
              <a:gdLst/>
              <a:ahLst/>
              <a:cxnLst/>
              <a:rect l="l" t="t" r="r" b="b"/>
              <a:pathLst>
                <a:path w="2488" h="2131" extrusionOk="0">
                  <a:moveTo>
                    <a:pt x="1065" y="1"/>
                  </a:moveTo>
                  <a:cubicBezTo>
                    <a:pt x="480" y="1"/>
                    <a:pt x="0" y="472"/>
                    <a:pt x="0" y="1066"/>
                  </a:cubicBezTo>
                  <a:cubicBezTo>
                    <a:pt x="0" y="1707"/>
                    <a:pt x="522" y="2131"/>
                    <a:pt x="1069" y="2131"/>
                  </a:cubicBezTo>
                  <a:cubicBezTo>
                    <a:pt x="1333" y="2131"/>
                    <a:pt x="1602" y="2033"/>
                    <a:pt x="1821" y="1813"/>
                  </a:cubicBezTo>
                  <a:cubicBezTo>
                    <a:pt x="2488" y="1147"/>
                    <a:pt x="2016" y="1"/>
                    <a:pt x="1065"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377" name="Google Shape;2377;p104"/>
            <p:cNvSpPr/>
            <p:nvPr/>
          </p:nvSpPr>
          <p:spPr>
            <a:xfrm>
              <a:off x="847625" y="1799850"/>
              <a:ext cx="62200" cy="53325"/>
            </a:xfrm>
            <a:custGeom>
              <a:avLst/>
              <a:gdLst/>
              <a:ahLst/>
              <a:cxnLst/>
              <a:rect l="l" t="t" r="r" b="b"/>
              <a:pathLst>
                <a:path w="2488" h="2133"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378" name="Google Shape;2378;p104"/>
            <p:cNvSpPr/>
            <p:nvPr/>
          </p:nvSpPr>
          <p:spPr>
            <a:xfrm>
              <a:off x="847625" y="1723625"/>
              <a:ext cx="62200" cy="53350"/>
            </a:xfrm>
            <a:custGeom>
              <a:avLst/>
              <a:gdLst/>
              <a:ahLst/>
              <a:cxnLst/>
              <a:rect l="l" t="t" r="r" b="b"/>
              <a:pathLst>
                <a:path w="2488" h="2134" extrusionOk="0">
                  <a:moveTo>
                    <a:pt x="1065" y="1"/>
                  </a:moveTo>
                  <a:cubicBezTo>
                    <a:pt x="480" y="1"/>
                    <a:pt x="0" y="480"/>
                    <a:pt x="0" y="1065"/>
                  </a:cubicBezTo>
                  <a:cubicBezTo>
                    <a:pt x="0" y="1709"/>
                    <a:pt x="525" y="2133"/>
                    <a:pt x="1074" y="2133"/>
                  </a:cubicBezTo>
                  <a:cubicBezTo>
                    <a:pt x="1336" y="2133"/>
                    <a:pt x="1603" y="2037"/>
                    <a:pt x="1821" y="1822"/>
                  </a:cubicBezTo>
                  <a:cubicBezTo>
                    <a:pt x="2488" y="1147"/>
                    <a:pt x="2016" y="1"/>
                    <a:pt x="1065"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379" name="Google Shape;2379;p104"/>
            <p:cNvSpPr/>
            <p:nvPr/>
          </p:nvSpPr>
          <p:spPr>
            <a:xfrm>
              <a:off x="847625" y="1647400"/>
              <a:ext cx="62200" cy="53450"/>
            </a:xfrm>
            <a:custGeom>
              <a:avLst/>
              <a:gdLst/>
              <a:ahLst/>
              <a:cxnLst/>
              <a:rect l="l" t="t" r="r" b="b"/>
              <a:pathLst>
                <a:path w="2488" h="2138" extrusionOk="0">
                  <a:moveTo>
                    <a:pt x="1065" y="1"/>
                  </a:moveTo>
                  <a:cubicBezTo>
                    <a:pt x="480" y="9"/>
                    <a:pt x="0" y="481"/>
                    <a:pt x="0" y="1066"/>
                  </a:cubicBezTo>
                  <a:cubicBezTo>
                    <a:pt x="0" y="1710"/>
                    <a:pt x="525" y="2138"/>
                    <a:pt x="1074" y="2138"/>
                  </a:cubicBezTo>
                  <a:cubicBezTo>
                    <a:pt x="1336" y="2138"/>
                    <a:pt x="1603" y="2040"/>
                    <a:pt x="1821" y="1822"/>
                  </a:cubicBezTo>
                  <a:cubicBezTo>
                    <a:pt x="2488" y="1147"/>
                    <a:pt x="2016" y="1"/>
                    <a:pt x="1065"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380" name="Google Shape;2380;p104"/>
            <p:cNvSpPr/>
            <p:nvPr/>
          </p:nvSpPr>
          <p:spPr>
            <a:xfrm>
              <a:off x="847625" y="1571400"/>
              <a:ext cx="62200" cy="53250"/>
            </a:xfrm>
            <a:custGeom>
              <a:avLst/>
              <a:gdLst/>
              <a:ahLst/>
              <a:cxnLst/>
              <a:rect l="l" t="t" r="r" b="b"/>
              <a:pathLst>
                <a:path w="2488" h="2130" extrusionOk="0">
                  <a:moveTo>
                    <a:pt x="1065" y="1"/>
                  </a:moveTo>
                  <a:cubicBezTo>
                    <a:pt x="480" y="1"/>
                    <a:pt x="0" y="472"/>
                    <a:pt x="0" y="1066"/>
                  </a:cubicBezTo>
                  <a:cubicBezTo>
                    <a:pt x="0" y="1703"/>
                    <a:pt x="525" y="2129"/>
                    <a:pt x="1073" y="2129"/>
                  </a:cubicBezTo>
                  <a:cubicBezTo>
                    <a:pt x="1335" y="2129"/>
                    <a:pt x="1603" y="2032"/>
                    <a:pt x="1821" y="1813"/>
                  </a:cubicBezTo>
                  <a:cubicBezTo>
                    <a:pt x="2488" y="1147"/>
                    <a:pt x="2016" y="1"/>
                    <a:pt x="1065"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381" name="Google Shape;2381;p104"/>
            <p:cNvSpPr/>
            <p:nvPr/>
          </p:nvSpPr>
          <p:spPr>
            <a:xfrm>
              <a:off x="771400" y="1799850"/>
              <a:ext cx="62425" cy="53325"/>
            </a:xfrm>
            <a:custGeom>
              <a:avLst/>
              <a:gdLst/>
              <a:ahLst/>
              <a:cxnLst/>
              <a:rect l="l" t="t" r="r" b="b"/>
              <a:pathLst>
                <a:path w="2497" h="2133" extrusionOk="0">
                  <a:moveTo>
                    <a:pt x="1066" y="0"/>
                  </a:moveTo>
                  <a:cubicBezTo>
                    <a:pt x="480" y="0"/>
                    <a:pt x="1" y="480"/>
                    <a:pt x="1" y="1065"/>
                  </a:cubicBezTo>
                  <a:cubicBezTo>
                    <a:pt x="1" y="1709"/>
                    <a:pt x="526" y="2133"/>
                    <a:pt x="1075" y="2133"/>
                  </a:cubicBezTo>
                  <a:cubicBezTo>
                    <a:pt x="1337" y="2133"/>
                    <a:pt x="1604" y="2036"/>
                    <a:pt x="1822" y="1821"/>
                  </a:cubicBezTo>
                  <a:cubicBezTo>
                    <a:pt x="2496" y="1146"/>
                    <a:pt x="2017" y="0"/>
                    <a:pt x="1066"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382" name="Google Shape;2382;p104"/>
            <p:cNvSpPr/>
            <p:nvPr/>
          </p:nvSpPr>
          <p:spPr>
            <a:xfrm>
              <a:off x="771400" y="1723625"/>
              <a:ext cx="62425" cy="53350"/>
            </a:xfrm>
            <a:custGeom>
              <a:avLst/>
              <a:gdLst/>
              <a:ahLst/>
              <a:cxnLst/>
              <a:rect l="l" t="t" r="r" b="b"/>
              <a:pathLst>
                <a:path w="2497" h="2134" extrusionOk="0">
                  <a:moveTo>
                    <a:pt x="1066" y="1"/>
                  </a:moveTo>
                  <a:cubicBezTo>
                    <a:pt x="480" y="1"/>
                    <a:pt x="1" y="480"/>
                    <a:pt x="1" y="1065"/>
                  </a:cubicBezTo>
                  <a:cubicBezTo>
                    <a:pt x="1" y="1709"/>
                    <a:pt x="526" y="2133"/>
                    <a:pt x="1075" y="2133"/>
                  </a:cubicBezTo>
                  <a:cubicBezTo>
                    <a:pt x="1337" y="2133"/>
                    <a:pt x="1604" y="2037"/>
                    <a:pt x="1822" y="1822"/>
                  </a:cubicBezTo>
                  <a:cubicBezTo>
                    <a:pt x="2496" y="1147"/>
                    <a:pt x="2017" y="1"/>
                    <a:pt x="1066"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383" name="Google Shape;2383;p104"/>
            <p:cNvSpPr/>
            <p:nvPr/>
          </p:nvSpPr>
          <p:spPr>
            <a:xfrm>
              <a:off x="771400" y="1647400"/>
              <a:ext cx="62425" cy="53450"/>
            </a:xfrm>
            <a:custGeom>
              <a:avLst/>
              <a:gdLst/>
              <a:ahLst/>
              <a:cxnLst/>
              <a:rect l="l" t="t" r="r" b="b"/>
              <a:pathLst>
                <a:path w="2497" h="2138" extrusionOk="0">
                  <a:moveTo>
                    <a:pt x="1066" y="1"/>
                  </a:moveTo>
                  <a:cubicBezTo>
                    <a:pt x="480" y="1"/>
                    <a:pt x="1" y="481"/>
                    <a:pt x="1" y="1066"/>
                  </a:cubicBezTo>
                  <a:cubicBezTo>
                    <a:pt x="1" y="1710"/>
                    <a:pt x="526" y="2138"/>
                    <a:pt x="1074" y="2138"/>
                  </a:cubicBezTo>
                  <a:cubicBezTo>
                    <a:pt x="1336" y="2138"/>
                    <a:pt x="1604" y="2040"/>
                    <a:pt x="1822" y="1822"/>
                  </a:cubicBezTo>
                  <a:cubicBezTo>
                    <a:pt x="2496" y="1147"/>
                    <a:pt x="2017" y="1"/>
                    <a:pt x="1066"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384" name="Google Shape;2384;p104"/>
            <p:cNvSpPr/>
            <p:nvPr/>
          </p:nvSpPr>
          <p:spPr>
            <a:xfrm>
              <a:off x="771400" y="1571400"/>
              <a:ext cx="62425" cy="53250"/>
            </a:xfrm>
            <a:custGeom>
              <a:avLst/>
              <a:gdLst/>
              <a:ahLst/>
              <a:cxnLst/>
              <a:rect l="l" t="t" r="r" b="b"/>
              <a:pathLst>
                <a:path w="2497" h="2130" extrusionOk="0">
                  <a:moveTo>
                    <a:pt x="1066" y="1"/>
                  </a:moveTo>
                  <a:cubicBezTo>
                    <a:pt x="480" y="1"/>
                    <a:pt x="1" y="472"/>
                    <a:pt x="1" y="1066"/>
                  </a:cubicBezTo>
                  <a:cubicBezTo>
                    <a:pt x="1" y="1703"/>
                    <a:pt x="525" y="2129"/>
                    <a:pt x="1073" y="2129"/>
                  </a:cubicBezTo>
                  <a:cubicBezTo>
                    <a:pt x="1336" y="2129"/>
                    <a:pt x="1603" y="2032"/>
                    <a:pt x="1822" y="1813"/>
                  </a:cubicBezTo>
                  <a:cubicBezTo>
                    <a:pt x="2496" y="1147"/>
                    <a:pt x="2017" y="1"/>
                    <a:pt x="1066"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385" name="Google Shape;2385;p104"/>
            <p:cNvSpPr/>
            <p:nvPr/>
          </p:nvSpPr>
          <p:spPr>
            <a:xfrm>
              <a:off x="695200" y="1799850"/>
              <a:ext cx="62200" cy="53325"/>
            </a:xfrm>
            <a:custGeom>
              <a:avLst/>
              <a:gdLst/>
              <a:ahLst/>
              <a:cxnLst/>
              <a:rect l="l" t="t" r="r" b="b"/>
              <a:pathLst>
                <a:path w="2488" h="2133" extrusionOk="0">
                  <a:moveTo>
                    <a:pt x="1065" y="0"/>
                  </a:moveTo>
                  <a:cubicBezTo>
                    <a:pt x="480" y="0"/>
                    <a:pt x="0" y="472"/>
                    <a:pt x="0" y="1065"/>
                  </a:cubicBezTo>
                  <a:cubicBezTo>
                    <a:pt x="0" y="1709"/>
                    <a:pt x="525" y="2133"/>
                    <a:pt x="1072" y="2133"/>
                  </a:cubicBezTo>
                  <a:cubicBezTo>
                    <a:pt x="1332" y="2133"/>
                    <a:pt x="1598" y="2036"/>
                    <a:pt x="1813" y="1821"/>
                  </a:cubicBezTo>
                  <a:cubicBezTo>
                    <a:pt x="2488" y="1146"/>
                    <a:pt x="2016" y="0"/>
                    <a:pt x="1065"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386" name="Google Shape;2386;p104"/>
            <p:cNvSpPr/>
            <p:nvPr/>
          </p:nvSpPr>
          <p:spPr>
            <a:xfrm>
              <a:off x="695200" y="1723625"/>
              <a:ext cx="62200" cy="53350"/>
            </a:xfrm>
            <a:custGeom>
              <a:avLst/>
              <a:gdLst/>
              <a:ahLst/>
              <a:cxnLst/>
              <a:rect l="l" t="t" r="r" b="b"/>
              <a:pathLst>
                <a:path w="2488" h="2134" extrusionOk="0">
                  <a:moveTo>
                    <a:pt x="1065" y="1"/>
                  </a:moveTo>
                  <a:cubicBezTo>
                    <a:pt x="480" y="1"/>
                    <a:pt x="0" y="480"/>
                    <a:pt x="0" y="1065"/>
                  </a:cubicBezTo>
                  <a:cubicBezTo>
                    <a:pt x="0" y="1709"/>
                    <a:pt x="525" y="2133"/>
                    <a:pt x="1072" y="2133"/>
                  </a:cubicBezTo>
                  <a:cubicBezTo>
                    <a:pt x="1332" y="2133"/>
                    <a:pt x="1598" y="2037"/>
                    <a:pt x="1813" y="1822"/>
                  </a:cubicBezTo>
                  <a:cubicBezTo>
                    <a:pt x="2488" y="1155"/>
                    <a:pt x="2016" y="1"/>
                    <a:pt x="1065"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387" name="Google Shape;2387;p104"/>
            <p:cNvSpPr/>
            <p:nvPr/>
          </p:nvSpPr>
          <p:spPr>
            <a:xfrm>
              <a:off x="695200" y="1647400"/>
              <a:ext cx="62200" cy="53450"/>
            </a:xfrm>
            <a:custGeom>
              <a:avLst/>
              <a:gdLst/>
              <a:ahLst/>
              <a:cxnLst/>
              <a:rect l="l" t="t" r="r" b="b"/>
              <a:pathLst>
                <a:path w="2488" h="2138" extrusionOk="0">
                  <a:moveTo>
                    <a:pt x="1065" y="1"/>
                  </a:moveTo>
                  <a:cubicBezTo>
                    <a:pt x="480" y="1"/>
                    <a:pt x="0" y="481"/>
                    <a:pt x="0" y="1066"/>
                  </a:cubicBezTo>
                  <a:cubicBezTo>
                    <a:pt x="0" y="1710"/>
                    <a:pt x="525" y="2138"/>
                    <a:pt x="1071" y="2138"/>
                  </a:cubicBezTo>
                  <a:cubicBezTo>
                    <a:pt x="1332" y="2138"/>
                    <a:pt x="1598" y="2040"/>
                    <a:pt x="1813" y="1822"/>
                  </a:cubicBezTo>
                  <a:cubicBezTo>
                    <a:pt x="2488" y="1155"/>
                    <a:pt x="2016" y="9"/>
                    <a:pt x="1065"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388" name="Google Shape;2388;p104"/>
            <p:cNvSpPr/>
            <p:nvPr/>
          </p:nvSpPr>
          <p:spPr>
            <a:xfrm>
              <a:off x="695200" y="1571400"/>
              <a:ext cx="62200" cy="53250"/>
            </a:xfrm>
            <a:custGeom>
              <a:avLst/>
              <a:gdLst/>
              <a:ahLst/>
              <a:cxnLst/>
              <a:rect l="l" t="t" r="r" b="b"/>
              <a:pathLst>
                <a:path w="2488" h="2130" extrusionOk="0">
                  <a:moveTo>
                    <a:pt x="1065" y="1"/>
                  </a:moveTo>
                  <a:cubicBezTo>
                    <a:pt x="480" y="1"/>
                    <a:pt x="0" y="472"/>
                    <a:pt x="0" y="1066"/>
                  </a:cubicBezTo>
                  <a:cubicBezTo>
                    <a:pt x="0" y="1703"/>
                    <a:pt x="525" y="2129"/>
                    <a:pt x="1070" y="2129"/>
                  </a:cubicBezTo>
                  <a:cubicBezTo>
                    <a:pt x="1331" y="2129"/>
                    <a:pt x="1597" y="2032"/>
                    <a:pt x="1813" y="1813"/>
                  </a:cubicBezTo>
                  <a:cubicBezTo>
                    <a:pt x="2488" y="1147"/>
                    <a:pt x="2016" y="1"/>
                    <a:pt x="1065"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389" name="Google Shape;2389;p104"/>
            <p:cNvSpPr/>
            <p:nvPr/>
          </p:nvSpPr>
          <p:spPr>
            <a:xfrm>
              <a:off x="618975" y="1799850"/>
              <a:ext cx="62225" cy="53325"/>
            </a:xfrm>
            <a:custGeom>
              <a:avLst/>
              <a:gdLst/>
              <a:ahLst/>
              <a:cxnLst/>
              <a:rect l="l" t="t" r="r" b="b"/>
              <a:pathLst>
                <a:path w="2489" h="2133" extrusionOk="0">
                  <a:moveTo>
                    <a:pt x="1066" y="0"/>
                  </a:moveTo>
                  <a:cubicBezTo>
                    <a:pt x="480" y="0"/>
                    <a:pt x="1" y="480"/>
                    <a:pt x="1" y="1065"/>
                  </a:cubicBezTo>
                  <a:cubicBezTo>
                    <a:pt x="1" y="1709"/>
                    <a:pt x="526" y="2133"/>
                    <a:pt x="1075" y="2133"/>
                  </a:cubicBezTo>
                  <a:cubicBezTo>
                    <a:pt x="1336" y="2133"/>
                    <a:pt x="1604" y="2036"/>
                    <a:pt x="1822" y="1821"/>
                  </a:cubicBezTo>
                  <a:cubicBezTo>
                    <a:pt x="2488" y="1146"/>
                    <a:pt x="2017" y="0"/>
                    <a:pt x="1066"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390" name="Google Shape;2390;p104"/>
            <p:cNvSpPr/>
            <p:nvPr/>
          </p:nvSpPr>
          <p:spPr>
            <a:xfrm>
              <a:off x="618975" y="1723625"/>
              <a:ext cx="62225" cy="53350"/>
            </a:xfrm>
            <a:custGeom>
              <a:avLst/>
              <a:gdLst/>
              <a:ahLst/>
              <a:cxnLst/>
              <a:rect l="l" t="t" r="r" b="b"/>
              <a:pathLst>
                <a:path w="2489" h="2134" extrusionOk="0">
                  <a:moveTo>
                    <a:pt x="1066" y="1"/>
                  </a:moveTo>
                  <a:cubicBezTo>
                    <a:pt x="480" y="1"/>
                    <a:pt x="1" y="480"/>
                    <a:pt x="1" y="1065"/>
                  </a:cubicBezTo>
                  <a:cubicBezTo>
                    <a:pt x="1" y="1709"/>
                    <a:pt x="526" y="2133"/>
                    <a:pt x="1075" y="2133"/>
                  </a:cubicBezTo>
                  <a:cubicBezTo>
                    <a:pt x="1336" y="2133"/>
                    <a:pt x="1604" y="2037"/>
                    <a:pt x="1822" y="1822"/>
                  </a:cubicBezTo>
                  <a:cubicBezTo>
                    <a:pt x="2488" y="1147"/>
                    <a:pt x="2017" y="1"/>
                    <a:pt x="1066"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391" name="Google Shape;2391;p104"/>
            <p:cNvSpPr/>
            <p:nvPr/>
          </p:nvSpPr>
          <p:spPr>
            <a:xfrm>
              <a:off x="618975" y="1647400"/>
              <a:ext cx="62225" cy="53450"/>
            </a:xfrm>
            <a:custGeom>
              <a:avLst/>
              <a:gdLst/>
              <a:ahLst/>
              <a:cxnLst/>
              <a:rect l="l" t="t" r="r" b="b"/>
              <a:pathLst>
                <a:path w="2489" h="2138" extrusionOk="0">
                  <a:moveTo>
                    <a:pt x="1066" y="1"/>
                  </a:moveTo>
                  <a:cubicBezTo>
                    <a:pt x="480" y="9"/>
                    <a:pt x="1" y="481"/>
                    <a:pt x="1" y="1066"/>
                  </a:cubicBezTo>
                  <a:cubicBezTo>
                    <a:pt x="1" y="1710"/>
                    <a:pt x="526" y="2138"/>
                    <a:pt x="1074" y="2138"/>
                  </a:cubicBezTo>
                  <a:cubicBezTo>
                    <a:pt x="1336" y="2138"/>
                    <a:pt x="1604" y="2040"/>
                    <a:pt x="1822" y="1822"/>
                  </a:cubicBezTo>
                  <a:cubicBezTo>
                    <a:pt x="2488" y="1147"/>
                    <a:pt x="2017" y="1"/>
                    <a:pt x="1066"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392" name="Google Shape;2392;p104"/>
            <p:cNvSpPr/>
            <p:nvPr/>
          </p:nvSpPr>
          <p:spPr>
            <a:xfrm>
              <a:off x="618975" y="1571400"/>
              <a:ext cx="62225" cy="53250"/>
            </a:xfrm>
            <a:custGeom>
              <a:avLst/>
              <a:gdLst/>
              <a:ahLst/>
              <a:cxnLst/>
              <a:rect l="l" t="t" r="r" b="b"/>
              <a:pathLst>
                <a:path w="2489" h="2130" extrusionOk="0">
                  <a:moveTo>
                    <a:pt x="1066" y="1"/>
                  </a:moveTo>
                  <a:cubicBezTo>
                    <a:pt x="480" y="1"/>
                    <a:pt x="1" y="472"/>
                    <a:pt x="1" y="1066"/>
                  </a:cubicBezTo>
                  <a:cubicBezTo>
                    <a:pt x="1" y="1703"/>
                    <a:pt x="525" y="2129"/>
                    <a:pt x="1073" y="2129"/>
                  </a:cubicBezTo>
                  <a:cubicBezTo>
                    <a:pt x="1336" y="2129"/>
                    <a:pt x="1603" y="2032"/>
                    <a:pt x="1822" y="1813"/>
                  </a:cubicBezTo>
                  <a:cubicBezTo>
                    <a:pt x="2488" y="1147"/>
                    <a:pt x="2017" y="1"/>
                    <a:pt x="1066"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393" name="Google Shape;2393;p104"/>
            <p:cNvSpPr/>
            <p:nvPr/>
          </p:nvSpPr>
          <p:spPr>
            <a:xfrm>
              <a:off x="542775" y="1799850"/>
              <a:ext cx="62400" cy="53325"/>
            </a:xfrm>
            <a:custGeom>
              <a:avLst/>
              <a:gdLst/>
              <a:ahLst/>
              <a:cxnLst/>
              <a:rect l="l" t="t" r="r" b="b"/>
              <a:pathLst>
                <a:path w="2496" h="2133" extrusionOk="0">
                  <a:moveTo>
                    <a:pt x="1065" y="0"/>
                  </a:moveTo>
                  <a:cubicBezTo>
                    <a:pt x="480" y="0"/>
                    <a:pt x="0" y="480"/>
                    <a:pt x="0" y="1065"/>
                  </a:cubicBezTo>
                  <a:cubicBezTo>
                    <a:pt x="0" y="1709"/>
                    <a:pt x="525" y="2133"/>
                    <a:pt x="1074" y="2133"/>
                  </a:cubicBezTo>
                  <a:cubicBezTo>
                    <a:pt x="1336" y="2133"/>
                    <a:pt x="1603" y="2036"/>
                    <a:pt x="1821" y="1821"/>
                  </a:cubicBezTo>
                  <a:cubicBezTo>
                    <a:pt x="2496" y="1146"/>
                    <a:pt x="2016" y="0"/>
                    <a:pt x="1065"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394" name="Google Shape;2394;p104"/>
            <p:cNvSpPr/>
            <p:nvPr/>
          </p:nvSpPr>
          <p:spPr>
            <a:xfrm>
              <a:off x="542775" y="1723625"/>
              <a:ext cx="62400" cy="53350"/>
            </a:xfrm>
            <a:custGeom>
              <a:avLst/>
              <a:gdLst/>
              <a:ahLst/>
              <a:cxnLst/>
              <a:rect l="l" t="t" r="r" b="b"/>
              <a:pathLst>
                <a:path w="2496" h="2134" extrusionOk="0">
                  <a:moveTo>
                    <a:pt x="1065" y="1"/>
                  </a:moveTo>
                  <a:cubicBezTo>
                    <a:pt x="480" y="1"/>
                    <a:pt x="0" y="480"/>
                    <a:pt x="0" y="1065"/>
                  </a:cubicBezTo>
                  <a:cubicBezTo>
                    <a:pt x="0" y="1709"/>
                    <a:pt x="525" y="2133"/>
                    <a:pt x="1074" y="2133"/>
                  </a:cubicBezTo>
                  <a:cubicBezTo>
                    <a:pt x="1336" y="2133"/>
                    <a:pt x="1603" y="2037"/>
                    <a:pt x="1821" y="1822"/>
                  </a:cubicBezTo>
                  <a:cubicBezTo>
                    <a:pt x="2496" y="1147"/>
                    <a:pt x="2016" y="1"/>
                    <a:pt x="1065"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395" name="Google Shape;2395;p104"/>
            <p:cNvSpPr/>
            <p:nvPr/>
          </p:nvSpPr>
          <p:spPr>
            <a:xfrm>
              <a:off x="542775" y="1647400"/>
              <a:ext cx="62400" cy="53450"/>
            </a:xfrm>
            <a:custGeom>
              <a:avLst/>
              <a:gdLst/>
              <a:ahLst/>
              <a:cxnLst/>
              <a:rect l="l" t="t" r="r" b="b"/>
              <a:pathLst>
                <a:path w="2496" h="2138" extrusionOk="0">
                  <a:moveTo>
                    <a:pt x="1065" y="1"/>
                  </a:moveTo>
                  <a:cubicBezTo>
                    <a:pt x="480" y="1"/>
                    <a:pt x="0" y="481"/>
                    <a:pt x="0" y="1066"/>
                  </a:cubicBezTo>
                  <a:cubicBezTo>
                    <a:pt x="0" y="1710"/>
                    <a:pt x="525" y="2138"/>
                    <a:pt x="1074" y="2138"/>
                  </a:cubicBezTo>
                  <a:cubicBezTo>
                    <a:pt x="1336" y="2138"/>
                    <a:pt x="1603" y="2040"/>
                    <a:pt x="1821" y="1822"/>
                  </a:cubicBezTo>
                  <a:cubicBezTo>
                    <a:pt x="2496" y="1147"/>
                    <a:pt x="2016" y="1"/>
                    <a:pt x="1065"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396" name="Google Shape;2396;p104"/>
            <p:cNvSpPr/>
            <p:nvPr/>
          </p:nvSpPr>
          <p:spPr>
            <a:xfrm>
              <a:off x="542775" y="1571400"/>
              <a:ext cx="62400" cy="53250"/>
            </a:xfrm>
            <a:custGeom>
              <a:avLst/>
              <a:gdLst/>
              <a:ahLst/>
              <a:cxnLst/>
              <a:rect l="l" t="t" r="r" b="b"/>
              <a:pathLst>
                <a:path w="2496" h="2130" extrusionOk="0">
                  <a:moveTo>
                    <a:pt x="1065" y="1"/>
                  </a:moveTo>
                  <a:cubicBezTo>
                    <a:pt x="480" y="1"/>
                    <a:pt x="0" y="472"/>
                    <a:pt x="0" y="1066"/>
                  </a:cubicBezTo>
                  <a:cubicBezTo>
                    <a:pt x="0" y="1703"/>
                    <a:pt x="524" y="2129"/>
                    <a:pt x="1073" y="2129"/>
                  </a:cubicBezTo>
                  <a:cubicBezTo>
                    <a:pt x="1335" y="2129"/>
                    <a:pt x="1603" y="2032"/>
                    <a:pt x="1821" y="1813"/>
                  </a:cubicBezTo>
                  <a:cubicBezTo>
                    <a:pt x="2496" y="1147"/>
                    <a:pt x="2016" y="1"/>
                    <a:pt x="1065"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397" name="Google Shape;2397;p104"/>
            <p:cNvSpPr/>
            <p:nvPr/>
          </p:nvSpPr>
          <p:spPr>
            <a:xfrm>
              <a:off x="466550" y="1799850"/>
              <a:ext cx="62425" cy="53325"/>
            </a:xfrm>
            <a:custGeom>
              <a:avLst/>
              <a:gdLst/>
              <a:ahLst/>
              <a:cxnLst/>
              <a:rect l="l" t="t" r="r" b="b"/>
              <a:pathLst>
                <a:path w="2497" h="2133" extrusionOk="0">
                  <a:moveTo>
                    <a:pt x="1074" y="0"/>
                  </a:moveTo>
                  <a:cubicBezTo>
                    <a:pt x="480" y="0"/>
                    <a:pt x="9" y="480"/>
                    <a:pt x="0" y="1065"/>
                  </a:cubicBezTo>
                  <a:cubicBezTo>
                    <a:pt x="0" y="1709"/>
                    <a:pt x="530" y="2133"/>
                    <a:pt x="1078" y="2133"/>
                  </a:cubicBezTo>
                  <a:cubicBezTo>
                    <a:pt x="1340" y="2133"/>
                    <a:pt x="1606" y="2036"/>
                    <a:pt x="1821" y="1821"/>
                  </a:cubicBezTo>
                  <a:cubicBezTo>
                    <a:pt x="2496" y="1146"/>
                    <a:pt x="2017" y="0"/>
                    <a:pt x="1074"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398" name="Google Shape;2398;p104"/>
            <p:cNvSpPr/>
            <p:nvPr/>
          </p:nvSpPr>
          <p:spPr>
            <a:xfrm>
              <a:off x="466550" y="1723625"/>
              <a:ext cx="62425" cy="53350"/>
            </a:xfrm>
            <a:custGeom>
              <a:avLst/>
              <a:gdLst/>
              <a:ahLst/>
              <a:cxnLst/>
              <a:rect l="l" t="t" r="r" b="b"/>
              <a:pathLst>
                <a:path w="2497" h="2134" extrusionOk="0">
                  <a:moveTo>
                    <a:pt x="1074" y="1"/>
                  </a:moveTo>
                  <a:cubicBezTo>
                    <a:pt x="480" y="1"/>
                    <a:pt x="9" y="480"/>
                    <a:pt x="0" y="1065"/>
                  </a:cubicBezTo>
                  <a:cubicBezTo>
                    <a:pt x="0" y="1709"/>
                    <a:pt x="530" y="2133"/>
                    <a:pt x="1078" y="2133"/>
                  </a:cubicBezTo>
                  <a:cubicBezTo>
                    <a:pt x="1340" y="2133"/>
                    <a:pt x="1606" y="2037"/>
                    <a:pt x="1821" y="1822"/>
                  </a:cubicBezTo>
                  <a:cubicBezTo>
                    <a:pt x="2496" y="1147"/>
                    <a:pt x="2017" y="1"/>
                    <a:pt x="1074"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399" name="Google Shape;2399;p104"/>
            <p:cNvSpPr/>
            <p:nvPr/>
          </p:nvSpPr>
          <p:spPr>
            <a:xfrm>
              <a:off x="466550" y="1647400"/>
              <a:ext cx="62425" cy="53450"/>
            </a:xfrm>
            <a:custGeom>
              <a:avLst/>
              <a:gdLst/>
              <a:ahLst/>
              <a:cxnLst/>
              <a:rect l="l" t="t" r="r" b="b"/>
              <a:pathLst>
                <a:path w="2497" h="2138" extrusionOk="0">
                  <a:moveTo>
                    <a:pt x="1074" y="1"/>
                  </a:moveTo>
                  <a:cubicBezTo>
                    <a:pt x="480" y="9"/>
                    <a:pt x="9" y="481"/>
                    <a:pt x="0" y="1066"/>
                  </a:cubicBezTo>
                  <a:cubicBezTo>
                    <a:pt x="0" y="1710"/>
                    <a:pt x="529" y="2138"/>
                    <a:pt x="1078" y="2138"/>
                  </a:cubicBezTo>
                  <a:cubicBezTo>
                    <a:pt x="1340" y="2138"/>
                    <a:pt x="1606" y="2040"/>
                    <a:pt x="1821" y="1822"/>
                  </a:cubicBezTo>
                  <a:cubicBezTo>
                    <a:pt x="2496" y="1147"/>
                    <a:pt x="2017" y="1"/>
                    <a:pt x="1074"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400" name="Google Shape;2400;p104"/>
            <p:cNvSpPr/>
            <p:nvPr/>
          </p:nvSpPr>
          <p:spPr>
            <a:xfrm>
              <a:off x="466550" y="1571400"/>
              <a:ext cx="62425" cy="53250"/>
            </a:xfrm>
            <a:custGeom>
              <a:avLst/>
              <a:gdLst/>
              <a:ahLst/>
              <a:cxnLst/>
              <a:rect l="l" t="t" r="r" b="b"/>
              <a:pathLst>
                <a:path w="2497" h="2130" extrusionOk="0">
                  <a:moveTo>
                    <a:pt x="1074" y="1"/>
                  </a:moveTo>
                  <a:cubicBezTo>
                    <a:pt x="480" y="1"/>
                    <a:pt x="9" y="472"/>
                    <a:pt x="0" y="1066"/>
                  </a:cubicBezTo>
                  <a:cubicBezTo>
                    <a:pt x="0" y="1703"/>
                    <a:pt x="529" y="2129"/>
                    <a:pt x="1077" y="2129"/>
                  </a:cubicBezTo>
                  <a:cubicBezTo>
                    <a:pt x="1339" y="2129"/>
                    <a:pt x="1606" y="2032"/>
                    <a:pt x="1821" y="1813"/>
                  </a:cubicBezTo>
                  <a:cubicBezTo>
                    <a:pt x="2496" y="1147"/>
                    <a:pt x="2017" y="1"/>
                    <a:pt x="1074"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401" name="Google Shape;2401;p104"/>
            <p:cNvSpPr/>
            <p:nvPr/>
          </p:nvSpPr>
          <p:spPr>
            <a:xfrm>
              <a:off x="390550" y="1876050"/>
              <a:ext cx="62350" cy="53275"/>
            </a:xfrm>
            <a:custGeom>
              <a:avLst/>
              <a:gdLst/>
              <a:ahLst/>
              <a:cxnLst/>
              <a:rect l="l" t="t" r="r" b="b"/>
              <a:pathLst>
                <a:path w="2494" h="2131" extrusionOk="0">
                  <a:moveTo>
                    <a:pt x="1075" y="1"/>
                  </a:moveTo>
                  <a:cubicBezTo>
                    <a:pt x="1072" y="1"/>
                    <a:pt x="1068" y="1"/>
                    <a:pt x="1065" y="1"/>
                  </a:cubicBezTo>
                  <a:cubicBezTo>
                    <a:pt x="480" y="1"/>
                    <a:pt x="0" y="480"/>
                    <a:pt x="0" y="1066"/>
                  </a:cubicBezTo>
                  <a:cubicBezTo>
                    <a:pt x="0" y="1707"/>
                    <a:pt x="522" y="2131"/>
                    <a:pt x="1069" y="2131"/>
                  </a:cubicBezTo>
                  <a:cubicBezTo>
                    <a:pt x="1333" y="2131"/>
                    <a:pt x="1602" y="2033"/>
                    <a:pt x="1821" y="1813"/>
                  </a:cubicBezTo>
                  <a:cubicBezTo>
                    <a:pt x="2493" y="1149"/>
                    <a:pt x="2020" y="1"/>
                    <a:pt x="1075"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402" name="Google Shape;2402;p104"/>
            <p:cNvSpPr/>
            <p:nvPr/>
          </p:nvSpPr>
          <p:spPr>
            <a:xfrm>
              <a:off x="390550" y="1799825"/>
              <a:ext cx="62350" cy="53300"/>
            </a:xfrm>
            <a:custGeom>
              <a:avLst/>
              <a:gdLst/>
              <a:ahLst/>
              <a:cxnLst/>
              <a:rect l="l" t="t" r="r" b="b"/>
              <a:pathLst>
                <a:path w="2494" h="2132" extrusionOk="0">
                  <a:moveTo>
                    <a:pt x="1075" y="1"/>
                  </a:moveTo>
                  <a:cubicBezTo>
                    <a:pt x="1072" y="1"/>
                    <a:pt x="1068" y="1"/>
                    <a:pt x="1065" y="1"/>
                  </a:cubicBezTo>
                  <a:cubicBezTo>
                    <a:pt x="480" y="1"/>
                    <a:pt x="0" y="481"/>
                    <a:pt x="0" y="1066"/>
                  </a:cubicBezTo>
                  <a:cubicBezTo>
                    <a:pt x="0" y="1708"/>
                    <a:pt x="526" y="2131"/>
                    <a:pt x="1073" y="2131"/>
                  </a:cubicBezTo>
                  <a:cubicBezTo>
                    <a:pt x="1336" y="2131"/>
                    <a:pt x="1604" y="2033"/>
                    <a:pt x="1821" y="1814"/>
                  </a:cubicBezTo>
                  <a:cubicBezTo>
                    <a:pt x="2493" y="1150"/>
                    <a:pt x="2020" y="1"/>
                    <a:pt x="1075"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403" name="Google Shape;2403;p104"/>
            <p:cNvSpPr/>
            <p:nvPr/>
          </p:nvSpPr>
          <p:spPr>
            <a:xfrm>
              <a:off x="390550" y="1723625"/>
              <a:ext cx="62400" cy="53350"/>
            </a:xfrm>
            <a:custGeom>
              <a:avLst/>
              <a:gdLst/>
              <a:ahLst/>
              <a:cxnLst/>
              <a:rect l="l" t="t" r="r" b="b"/>
              <a:pathLst>
                <a:path w="2496" h="2134" extrusionOk="0">
                  <a:moveTo>
                    <a:pt x="1065" y="1"/>
                  </a:moveTo>
                  <a:cubicBezTo>
                    <a:pt x="480" y="1"/>
                    <a:pt x="0" y="480"/>
                    <a:pt x="0" y="1065"/>
                  </a:cubicBezTo>
                  <a:cubicBezTo>
                    <a:pt x="0" y="1709"/>
                    <a:pt x="529" y="2133"/>
                    <a:pt x="1078" y="2133"/>
                  </a:cubicBezTo>
                  <a:cubicBezTo>
                    <a:pt x="1339" y="2133"/>
                    <a:pt x="1606" y="2037"/>
                    <a:pt x="1821" y="1822"/>
                  </a:cubicBezTo>
                  <a:cubicBezTo>
                    <a:pt x="2496" y="1147"/>
                    <a:pt x="2016" y="1"/>
                    <a:pt x="1065"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404" name="Google Shape;2404;p104"/>
            <p:cNvSpPr/>
            <p:nvPr/>
          </p:nvSpPr>
          <p:spPr>
            <a:xfrm>
              <a:off x="390550" y="1647400"/>
              <a:ext cx="62400" cy="53450"/>
            </a:xfrm>
            <a:custGeom>
              <a:avLst/>
              <a:gdLst/>
              <a:ahLst/>
              <a:cxnLst/>
              <a:rect l="l" t="t" r="r" b="b"/>
              <a:pathLst>
                <a:path w="2496" h="2138" extrusionOk="0">
                  <a:moveTo>
                    <a:pt x="1065" y="1"/>
                  </a:moveTo>
                  <a:cubicBezTo>
                    <a:pt x="480" y="9"/>
                    <a:pt x="0" y="481"/>
                    <a:pt x="0" y="1066"/>
                  </a:cubicBezTo>
                  <a:cubicBezTo>
                    <a:pt x="0" y="1710"/>
                    <a:pt x="525" y="2138"/>
                    <a:pt x="1074" y="2138"/>
                  </a:cubicBezTo>
                  <a:cubicBezTo>
                    <a:pt x="1336" y="2138"/>
                    <a:pt x="1603" y="2040"/>
                    <a:pt x="1821" y="1822"/>
                  </a:cubicBezTo>
                  <a:cubicBezTo>
                    <a:pt x="2496" y="1147"/>
                    <a:pt x="2016" y="1"/>
                    <a:pt x="1065"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405" name="Google Shape;2405;p104"/>
            <p:cNvSpPr/>
            <p:nvPr/>
          </p:nvSpPr>
          <p:spPr>
            <a:xfrm>
              <a:off x="390550" y="1571400"/>
              <a:ext cx="62350" cy="53275"/>
            </a:xfrm>
            <a:custGeom>
              <a:avLst/>
              <a:gdLst/>
              <a:ahLst/>
              <a:cxnLst/>
              <a:rect l="l" t="t" r="r" b="b"/>
              <a:pathLst>
                <a:path w="2494" h="2131" extrusionOk="0">
                  <a:moveTo>
                    <a:pt x="1075" y="1"/>
                  </a:moveTo>
                  <a:cubicBezTo>
                    <a:pt x="1072" y="1"/>
                    <a:pt x="1068" y="1"/>
                    <a:pt x="1065" y="1"/>
                  </a:cubicBezTo>
                  <a:cubicBezTo>
                    <a:pt x="480" y="1"/>
                    <a:pt x="0" y="472"/>
                    <a:pt x="0" y="1066"/>
                  </a:cubicBezTo>
                  <a:cubicBezTo>
                    <a:pt x="0" y="1708"/>
                    <a:pt x="522" y="2131"/>
                    <a:pt x="1069" y="2131"/>
                  </a:cubicBezTo>
                  <a:cubicBezTo>
                    <a:pt x="1333" y="2131"/>
                    <a:pt x="1602" y="2033"/>
                    <a:pt x="1821" y="1813"/>
                  </a:cubicBezTo>
                  <a:cubicBezTo>
                    <a:pt x="2493" y="1141"/>
                    <a:pt x="2020" y="1"/>
                    <a:pt x="1075"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406" name="Google Shape;2406;p104"/>
            <p:cNvSpPr/>
            <p:nvPr/>
          </p:nvSpPr>
          <p:spPr>
            <a:xfrm>
              <a:off x="314325" y="1952050"/>
              <a:ext cx="62225" cy="53450"/>
            </a:xfrm>
            <a:custGeom>
              <a:avLst/>
              <a:gdLst/>
              <a:ahLst/>
              <a:cxnLst/>
              <a:rect l="l" t="t" r="r" b="b"/>
              <a:pathLst>
                <a:path w="2489" h="2138" extrusionOk="0">
                  <a:moveTo>
                    <a:pt x="1065" y="1"/>
                  </a:moveTo>
                  <a:cubicBezTo>
                    <a:pt x="480" y="9"/>
                    <a:pt x="1" y="481"/>
                    <a:pt x="1" y="1074"/>
                  </a:cubicBezTo>
                  <a:cubicBezTo>
                    <a:pt x="1" y="1712"/>
                    <a:pt x="525" y="2138"/>
                    <a:pt x="1073" y="2138"/>
                  </a:cubicBezTo>
                  <a:cubicBezTo>
                    <a:pt x="1335" y="2138"/>
                    <a:pt x="1603" y="2040"/>
                    <a:pt x="1822" y="1822"/>
                  </a:cubicBezTo>
                  <a:cubicBezTo>
                    <a:pt x="2488" y="1147"/>
                    <a:pt x="2017" y="1"/>
                    <a:pt x="1065"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407" name="Google Shape;2407;p104"/>
            <p:cNvSpPr/>
            <p:nvPr/>
          </p:nvSpPr>
          <p:spPr>
            <a:xfrm>
              <a:off x="314325" y="1876050"/>
              <a:ext cx="62225" cy="53275"/>
            </a:xfrm>
            <a:custGeom>
              <a:avLst/>
              <a:gdLst/>
              <a:ahLst/>
              <a:cxnLst/>
              <a:rect l="l" t="t" r="r" b="b"/>
              <a:pathLst>
                <a:path w="2489" h="2131" extrusionOk="0">
                  <a:moveTo>
                    <a:pt x="1065" y="1"/>
                  </a:moveTo>
                  <a:cubicBezTo>
                    <a:pt x="480" y="1"/>
                    <a:pt x="1" y="472"/>
                    <a:pt x="1" y="1066"/>
                  </a:cubicBezTo>
                  <a:cubicBezTo>
                    <a:pt x="1" y="1707"/>
                    <a:pt x="523" y="2131"/>
                    <a:pt x="1070" y="2131"/>
                  </a:cubicBezTo>
                  <a:cubicBezTo>
                    <a:pt x="1333" y="2131"/>
                    <a:pt x="1602" y="2033"/>
                    <a:pt x="1822" y="1813"/>
                  </a:cubicBezTo>
                  <a:cubicBezTo>
                    <a:pt x="2488" y="1147"/>
                    <a:pt x="2017" y="1"/>
                    <a:pt x="1065"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408" name="Google Shape;2408;p104"/>
            <p:cNvSpPr/>
            <p:nvPr/>
          </p:nvSpPr>
          <p:spPr>
            <a:xfrm>
              <a:off x="314325" y="1799850"/>
              <a:ext cx="62225" cy="53325"/>
            </a:xfrm>
            <a:custGeom>
              <a:avLst/>
              <a:gdLst/>
              <a:ahLst/>
              <a:cxnLst/>
              <a:rect l="l" t="t" r="r" b="b"/>
              <a:pathLst>
                <a:path w="2489" h="2133" extrusionOk="0">
                  <a:moveTo>
                    <a:pt x="1065" y="0"/>
                  </a:moveTo>
                  <a:cubicBezTo>
                    <a:pt x="480" y="0"/>
                    <a:pt x="1" y="480"/>
                    <a:pt x="1" y="1065"/>
                  </a:cubicBezTo>
                  <a:cubicBezTo>
                    <a:pt x="1" y="1709"/>
                    <a:pt x="526" y="2133"/>
                    <a:pt x="1075" y="2133"/>
                  </a:cubicBezTo>
                  <a:cubicBezTo>
                    <a:pt x="1336" y="2133"/>
                    <a:pt x="1604" y="2036"/>
                    <a:pt x="1822" y="1821"/>
                  </a:cubicBezTo>
                  <a:cubicBezTo>
                    <a:pt x="2488" y="1146"/>
                    <a:pt x="2017" y="0"/>
                    <a:pt x="1065"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409" name="Google Shape;2409;p104"/>
            <p:cNvSpPr/>
            <p:nvPr/>
          </p:nvSpPr>
          <p:spPr>
            <a:xfrm>
              <a:off x="314325" y="1723625"/>
              <a:ext cx="62225" cy="53350"/>
            </a:xfrm>
            <a:custGeom>
              <a:avLst/>
              <a:gdLst/>
              <a:ahLst/>
              <a:cxnLst/>
              <a:rect l="l" t="t" r="r" b="b"/>
              <a:pathLst>
                <a:path w="2489" h="2134" extrusionOk="0">
                  <a:moveTo>
                    <a:pt x="1065" y="1"/>
                  </a:moveTo>
                  <a:cubicBezTo>
                    <a:pt x="480" y="1"/>
                    <a:pt x="1" y="480"/>
                    <a:pt x="1" y="1065"/>
                  </a:cubicBezTo>
                  <a:cubicBezTo>
                    <a:pt x="1" y="1709"/>
                    <a:pt x="526" y="2133"/>
                    <a:pt x="1075" y="2133"/>
                  </a:cubicBezTo>
                  <a:cubicBezTo>
                    <a:pt x="1336" y="2133"/>
                    <a:pt x="1604" y="2037"/>
                    <a:pt x="1822" y="1822"/>
                  </a:cubicBezTo>
                  <a:cubicBezTo>
                    <a:pt x="2488" y="1147"/>
                    <a:pt x="2017" y="1"/>
                    <a:pt x="1065"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410" name="Google Shape;2410;p104"/>
            <p:cNvSpPr/>
            <p:nvPr/>
          </p:nvSpPr>
          <p:spPr>
            <a:xfrm>
              <a:off x="314325" y="1647400"/>
              <a:ext cx="62225" cy="53450"/>
            </a:xfrm>
            <a:custGeom>
              <a:avLst/>
              <a:gdLst/>
              <a:ahLst/>
              <a:cxnLst/>
              <a:rect l="l" t="t" r="r" b="b"/>
              <a:pathLst>
                <a:path w="2489" h="2138" extrusionOk="0">
                  <a:moveTo>
                    <a:pt x="1065" y="1"/>
                  </a:moveTo>
                  <a:cubicBezTo>
                    <a:pt x="480" y="9"/>
                    <a:pt x="1" y="481"/>
                    <a:pt x="1" y="1066"/>
                  </a:cubicBezTo>
                  <a:cubicBezTo>
                    <a:pt x="1" y="1710"/>
                    <a:pt x="526" y="2138"/>
                    <a:pt x="1074" y="2138"/>
                  </a:cubicBezTo>
                  <a:cubicBezTo>
                    <a:pt x="1336" y="2138"/>
                    <a:pt x="1604" y="2040"/>
                    <a:pt x="1822" y="1822"/>
                  </a:cubicBezTo>
                  <a:cubicBezTo>
                    <a:pt x="2488" y="1147"/>
                    <a:pt x="2017" y="1"/>
                    <a:pt x="1065"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411" name="Google Shape;2411;p104"/>
            <p:cNvSpPr/>
            <p:nvPr/>
          </p:nvSpPr>
          <p:spPr>
            <a:xfrm>
              <a:off x="314325" y="1571400"/>
              <a:ext cx="62150" cy="53250"/>
            </a:xfrm>
            <a:custGeom>
              <a:avLst/>
              <a:gdLst/>
              <a:ahLst/>
              <a:cxnLst/>
              <a:rect l="l" t="t" r="r" b="b"/>
              <a:pathLst>
                <a:path w="2486" h="2130" extrusionOk="0">
                  <a:moveTo>
                    <a:pt x="1075" y="1"/>
                  </a:moveTo>
                  <a:cubicBezTo>
                    <a:pt x="1072" y="1"/>
                    <a:pt x="1069" y="1"/>
                    <a:pt x="1065" y="1"/>
                  </a:cubicBezTo>
                  <a:cubicBezTo>
                    <a:pt x="480" y="1"/>
                    <a:pt x="1" y="472"/>
                    <a:pt x="1" y="1066"/>
                  </a:cubicBezTo>
                  <a:cubicBezTo>
                    <a:pt x="1" y="1703"/>
                    <a:pt x="525" y="2129"/>
                    <a:pt x="1073" y="2129"/>
                  </a:cubicBezTo>
                  <a:cubicBezTo>
                    <a:pt x="1335" y="2129"/>
                    <a:pt x="1603" y="2032"/>
                    <a:pt x="1822" y="1813"/>
                  </a:cubicBezTo>
                  <a:cubicBezTo>
                    <a:pt x="2486" y="1149"/>
                    <a:pt x="2020" y="1"/>
                    <a:pt x="1075"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412" name="Google Shape;2412;p104"/>
            <p:cNvSpPr/>
            <p:nvPr/>
          </p:nvSpPr>
          <p:spPr>
            <a:xfrm>
              <a:off x="238125" y="1952050"/>
              <a:ext cx="62200" cy="53450"/>
            </a:xfrm>
            <a:custGeom>
              <a:avLst/>
              <a:gdLst/>
              <a:ahLst/>
              <a:cxnLst/>
              <a:rect l="l" t="t" r="r" b="b"/>
              <a:pathLst>
                <a:path w="2488" h="2138" extrusionOk="0">
                  <a:moveTo>
                    <a:pt x="1065" y="1"/>
                  </a:moveTo>
                  <a:cubicBezTo>
                    <a:pt x="480" y="9"/>
                    <a:pt x="0" y="481"/>
                    <a:pt x="0" y="1074"/>
                  </a:cubicBezTo>
                  <a:cubicBezTo>
                    <a:pt x="0" y="1712"/>
                    <a:pt x="524" y="2138"/>
                    <a:pt x="1073" y="2138"/>
                  </a:cubicBezTo>
                  <a:cubicBezTo>
                    <a:pt x="1335" y="2138"/>
                    <a:pt x="1603" y="2040"/>
                    <a:pt x="1821" y="1822"/>
                  </a:cubicBezTo>
                  <a:cubicBezTo>
                    <a:pt x="2488" y="1155"/>
                    <a:pt x="2016" y="1"/>
                    <a:pt x="1065"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413" name="Google Shape;2413;p104"/>
            <p:cNvSpPr/>
            <p:nvPr/>
          </p:nvSpPr>
          <p:spPr>
            <a:xfrm>
              <a:off x="238125" y="1799850"/>
              <a:ext cx="62200" cy="53325"/>
            </a:xfrm>
            <a:custGeom>
              <a:avLst/>
              <a:gdLst/>
              <a:ahLst/>
              <a:cxnLst/>
              <a:rect l="l" t="t" r="r" b="b"/>
              <a:pathLst>
                <a:path w="2488" h="2133"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414" name="Google Shape;2414;p104"/>
            <p:cNvSpPr/>
            <p:nvPr/>
          </p:nvSpPr>
          <p:spPr>
            <a:xfrm>
              <a:off x="238125" y="1723625"/>
              <a:ext cx="62200" cy="53350"/>
            </a:xfrm>
            <a:custGeom>
              <a:avLst/>
              <a:gdLst/>
              <a:ahLst/>
              <a:cxnLst/>
              <a:rect l="l" t="t" r="r" b="b"/>
              <a:pathLst>
                <a:path w="2488" h="2134" extrusionOk="0">
                  <a:moveTo>
                    <a:pt x="1065" y="1"/>
                  </a:moveTo>
                  <a:cubicBezTo>
                    <a:pt x="480" y="1"/>
                    <a:pt x="0" y="480"/>
                    <a:pt x="0" y="1065"/>
                  </a:cubicBezTo>
                  <a:cubicBezTo>
                    <a:pt x="0" y="1709"/>
                    <a:pt x="525" y="2133"/>
                    <a:pt x="1074" y="2133"/>
                  </a:cubicBezTo>
                  <a:cubicBezTo>
                    <a:pt x="1336" y="2133"/>
                    <a:pt x="1603" y="2037"/>
                    <a:pt x="1821" y="1822"/>
                  </a:cubicBezTo>
                  <a:cubicBezTo>
                    <a:pt x="2488" y="1147"/>
                    <a:pt x="2016" y="1"/>
                    <a:pt x="1065"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415" name="Google Shape;2415;p104"/>
            <p:cNvSpPr/>
            <p:nvPr/>
          </p:nvSpPr>
          <p:spPr>
            <a:xfrm>
              <a:off x="238125" y="1647400"/>
              <a:ext cx="62200" cy="53450"/>
            </a:xfrm>
            <a:custGeom>
              <a:avLst/>
              <a:gdLst/>
              <a:ahLst/>
              <a:cxnLst/>
              <a:rect l="l" t="t" r="r" b="b"/>
              <a:pathLst>
                <a:path w="2488" h="2138" extrusionOk="0">
                  <a:moveTo>
                    <a:pt x="1065" y="1"/>
                  </a:moveTo>
                  <a:cubicBezTo>
                    <a:pt x="480" y="9"/>
                    <a:pt x="0" y="481"/>
                    <a:pt x="0" y="1066"/>
                  </a:cubicBezTo>
                  <a:cubicBezTo>
                    <a:pt x="0" y="1710"/>
                    <a:pt x="525" y="2138"/>
                    <a:pt x="1074" y="2138"/>
                  </a:cubicBezTo>
                  <a:cubicBezTo>
                    <a:pt x="1336" y="2138"/>
                    <a:pt x="1603" y="2040"/>
                    <a:pt x="1821" y="1822"/>
                  </a:cubicBezTo>
                  <a:cubicBezTo>
                    <a:pt x="2488" y="1147"/>
                    <a:pt x="2016" y="1"/>
                    <a:pt x="1065"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416" name="Google Shape;2416;p104"/>
            <p:cNvSpPr/>
            <p:nvPr/>
          </p:nvSpPr>
          <p:spPr>
            <a:xfrm>
              <a:off x="4427825" y="2637775"/>
              <a:ext cx="62425" cy="53450"/>
            </a:xfrm>
            <a:custGeom>
              <a:avLst/>
              <a:gdLst/>
              <a:ahLst/>
              <a:cxnLst/>
              <a:rect l="l" t="t" r="r" b="b"/>
              <a:pathLst>
                <a:path w="2497" h="2138" extrusionOk="0">
                  <a:moveTo>
                    <a:pt x="1065" y="1"/>
                  </a:moveTo>
                  <a:cubicBezTo>
                    <a:pt x="480" y="9"/>
                    <a:pt x="1" y="480"/>
                    <a:pt x="1" y="1074"/>
                  </a:cubicBezTo>
                  <a:cubicBezTo>
                    <a:pt x="1" y="1712"/>
                    <a:pt x="529" y="2137"/>
                    <a:pt x="1077" y="2137"/>
                  </a:cubicBezTo>
                  <a:cubicBezTo>
                    <a:pt x="1339" y="2137"/>
                    <a:pt x="1606" y="2040"/>
                    <a:pt x="1822" y="1822"/>
                  </a:cubicBezTo>
                  <a:cubicBezTo>
                    <a:pt x="2496" y="1147"/>
                    <a:pt x="2017" y="1"/>
                    <a:pt x="1065"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417" name="Google Shape;2417;p104"/>
            <p:cNvSpPr/>
            <p:nvPr/>
          </p:nvSpPr>
          <p:spPr>
            <a:xfrm>
              <a:off x="4427825" y="2714000"/>
              <a:ext cx="62425" cy="53350"/>
            </a:xfrm>
            <a:custGeom>
              <a:avLst/>
              <a:gdLst/>
              <a:ahLst/>
              <a:cxnLst/>
              <a:rect l="l" t="t" r="r" b="b"/>
              <a:pathLst>
                <a:path w="2497" h="2134" extrusionOk="0">
                  <a:moveTo>
                    <a:pt x="1065" y="0"/>
                  </a:moveTo>
                  <a:cubicBezTo>
                    <a:pt x="480" y="0"/>
                    <a:pt x="1" y="480"/>
                    <a:pt x="1" y="1065"/>
                  </a:cubicBezTo>
                  <a:cubicBezTo>
                    <a:pt x="1" y="1709"/>
                    <a:pt x="526" y="2133"/>
                    <a:pt x="1075" y="2133"/>
                  </a:cubicBezTo>
                  <a:cubicBezTo>
                    <a:pt x="1336" y="2133"/>
                    <a:pt x="1604" y="2036"/>
                    <a:pt x="1822" y="1821"/>
                  </a:cubicBezTo>
                  <a:cubicBezTo>
                    <a:pt x="2496" y="1146"/>
                    <a:pt x="2017" y="0"/>
                    <a:pt x="1065"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418" name="Google Shape;2418;p104"/>
            <p:cNvSpPr/>
            <p:nvPr/>
          </p:nvSpPr>
          <p:spPr>
            <a:xfrm>
              <a:off x="4504050" y="2714000"/>
              <a:ext cx="62200" cy="53350"/>
            </a:xfrm>
            <a:custGeom>
              <a:avLst/>
              <a:gdLst/>
              <a:ahLst/>
              <a:cxnLst/>
              <a:rect l="l" t="t" r="r" b="b"/>
              <a:pathLst>
                <a:path w="2488" h="2134"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419" name="Google Shape;2419;p104"/>
            <p:cNvSpPr/>
            <p:nvPr/>
          </p:nvSpPr>
          <p:spPr>
            <a:xfrm>
              <a:off x="4504050" y="2866425"/>
              <a:ext cx="62200" cy="53275"/>
            </a:xfrm>
            <a:custGeom>
              <a:avLst/>
              <a:gdLst/>
              <a:ahLst/>
              <a:cxnLst/>
              <a:rect l="l" t="t" r="r" b="b"/>
              <a:pathLst>
                <a:path w="2488" h="2131" extrusionOk="0">
                  <a:moveTo>
                    <a:pt x="1065" y="0"/>
                  </a:moveTo>
                  <a:cubicBezTo>
                    <a:pt x="480" y="0"/>
                    <a:pt x="0" y="472"/>
                    <a:pt x="0" y="1065"/>
                  </a:cubicBezTo>
                  <a:cubicBezTo>
                    <a:pt x="0" y="1707"/>
                    <a:pt x="522" y="2131"/>
                    <a:pt x="1069" y="2131"/>
                  </a:cubicBezTo>
                  <a:cubicBezTo>
                    <a:pt x="1333" y="2131"/>
                    <a:pt x="1602" y="2032"/>
                    <a:pt x="1821" y="1813"/>
                  </a:cubicBezTo>
                  <a:cubicBezTo>
                    <a:pt x="2488" y="1146"/>
                    <a:pt x="2016" y="0"/>
                    <a:pt x="1065"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420" name="Google Shape;2420;p104"/>
            <p:cNvSpPr/>
            <p:nvPr/>
          </p:nvSpPr>
          <p:spPr>
            <a:xfrm>
              <a:off x="4580250" y="2790200"/>
              <a:ext cx="62225" cy="53350"/>
            </a:xfrm>
            <a:custGeom>
              <a:avLst/>
              <a:gdLst/>
              <a:ahLst/>
              <a:cxnLst/>
              <a:rect l="l" t="t" r="r" b="b"/>
              <a:pathLst>
                <a:path w="2489" h="2134" extrusionOk="0">
                  <a:moveTo>
                    <a:pt x="1066" y="1"/>
                  </a:moveTo>
                  <a:cubicBezTo>
                    <a:pt x="480" y="1"/>
                    <a:pt x="1" y="480"/>
                    <a:pt x="1" y="1066"/>
                  </a:cubicBezTo>
                  <a:cubicBezTo>
                    <a:pt x="1" y="1709"/>
                    <a:pt x="526" y="2134"/>
                    <a:pt x="1075" y="2134"/>
                  </a:cubicBezTo>
                  <a:cubicBezTo>
                    <a:pt x="1336" y="2134"/>
                    <a:pt x="1604" y="2037"/>
                    <a:pt x="1822" y="1822"/>
                  </a:cubicBezTo>
                  <a:cubicBezTo>
                    <a:pt x="2488" y="1147"/>
                    <a:pt x="2017" y="1"/>
                    <a:pt x="1066"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421" name="Google Shape;2421;p104"/>
            <p:cNvSpPr/>
            <p:nvPr/>
          </p:nvSpPr>
          <p:spPr>
            <a:xfrm>
              <a:off x="4504050" y="2790200"/>
              <a:ext cx="62200" cy="53350"/>
            </a:xfrm>
            <a:custGeom>
              <a:avLst/>
              <a:gdLst/>
              <a:ahLst/>
              <a:cxnLst/>
              <a:rect l="l" t="t" r="r" b="b"/>
              <a:pathLst>
                <a:path w="2488" h="2134" extrusionOk="0">
                  <a:moveTo>
                    <a:pt x="1065" y="1"/>
                  </a:moveTo>
                  <a:cubicBezTo>
                    <a:pt x="480" y="1"/>
                    <a:pt x="0" y="480"/>
                    <a:pt x="0" y="1066"/>
                  </a:cubicBezTo>
                  <a:cubicBezTo>
                    <a:pt x="0" y="1709"/>
                    <a:pt x="525" y="2134"/>
                    <a:pt x="1074" y="2134"/>
                  </a:cubicBezTo>
                  <a:cubicBezTo>
                    <a:pt x="1336" y="2134"/>
                    <a:pt x="1603" y="2037"/>
                    <a:pt x="1821" y="1822"/>
                  </a:cubicBezTo>
                  <a:cubicBezTo>
                    <a:pt x="2488" y="1147"/>
                    <a:pt x="2016" y="1"/>
                    <a:pt x="1065"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422" name="Google Shape;2422;p104"/>
            <p:cNvSpPr/>
            <p:nvPr/>
          </p:nvSpPr>
          <p:spPr>
            <a:xfrm>
              <a:off x="5113350" y="1495200"/>
              <a:ext cx="62400" cy="53325"/>
            </a:xfrm>
            <a:custGeom>
              <a:avLst/>
              <a:gdLst/>
              <a:ahLst/>
              <a:cxnLst/>
              <a:rect l="l" t="t" r="r" b="b"/>
              <a:pathLst>
                <a:path w="2496" h="2133" extrusionOk="0">
                  <a:moveTo>
                    <a:pt x="1073" y="0"/>
                  </a:moveTo>
                  <a:cubicBezTo>
                    <a:pt x="480" y="0"/>
                    <a:pt x="8" y="480"/>
                    <a:pt x="0" y="1065"/>
                  </a:cubicBezTo>
                  <a:cubicBezTo>
                    <a:pt x="0" y="1709"/>
                    <a:pt x="525" y="2133"/>
                    <a:pt x="1074" y="2133"/>
                  </a:cubicBezTo>
                  <a:cubicBezTo>
                    <a:pt x="1336" y="2133"/>
                    <a:pt x="1603" y="2036"/>
                    <a:pt x="1821" y="1821"/>
                  </a:cubicBezTo>
                  <a:cubicBezTo>
                    <a:pt x="2496" y="1146"/>
                    <a:pt x="2016" y="0"/>
                    <a:pt x="1073"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423" name="Google Shape;2423;p104"/>
            <p:cNvSpPr/>
            <p:nvPr/>
          </p:nvSpPr>
          <p:spPr>
            <a:xfrm>
              <a:off x="5113350" y="1571400"/>
              <a:ext cx="62400" cy="53250"/>
            </a:xfrm>
            <a:custGeom>
              <a:avLst/>
              <a:gdLst/>
              <a:ahLst/>
              <a:cxnLst/>
              <a:rect l="l" t="t" r="r" b="b"/>
              <a:pathLst>
                <a:path w="2496" h="2130" extrusionOk="0">
                  <a:moveTo>
                    <a:pt x="1073" y="1"/>
                  </a:moveTo>
                  <a:cubicBezTo>
                    <a:pt x="480" y="1"/>
                    <a:pt x="8" y="472"/>
                    <a:pt x="0" y="1066"/>
                  </a:cubicBezTo>
                  <a:cubicBezTo>
                    <a:pt x="0" y="1703"/>
                    <a:pt x="525" y="2129"/>
                    <a:pt x="1073" y="2129"/>
                  </a:cubicBezTo>
                  <a:cubicBezTo>
                    <a:pt x="1335" y="2129"/>
                    <a:pt x="1603" y="2032"/>
                    <a:pt x="1821" y="1813"/>
                  </a:cubicBezTo>
                  <a:cubicBezTo>
                    <a:pt x="2496" y="1147"/>
                    <a:pt x="2016" y="1"/>
                    <a:pt x="1073"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424" name="Google Shape;2424;p104"/>
            <p:cNvSpPr/>
            <p:nvPr/>
          </p:nvSpPr>
          <p:spPr>
            <a:xfrm>
              <a:off x="5113350" y="1647400"/>
              <a:ext cx="62400" cy="53450"/>
            </a:xfrm>
            <a:custGeom>
              <a:avLst/>
              <a:gdLst/>
              <a:ahLst/>
              <a:cxnLst/>
              <a:rect l="l" t="t" r="r" b="b"/>
              <a:pathLst>
                <a:path w="2496" h="2138" extrusionOk="0">
                  <a:moveTo>
                    <a:pt x="1073" y="1"/>
                  </a:moveTo>
                  <a:cubicBezTo>
                    <a:pt x="480" y="1"/>
                    <a:pt x="8" y="481"/>
                    <a:pt x="0" y="1066"/>
                  </a:cubicBezTo>
                  <a:cubicBezTo>
                    <a:pt x="0" y="1710"/>
                    <a:pt x="525" y="2138"/>
                    <a:pt x="1074" y="2138"/>
                  </a:cubicBezTo>
                  <a:cubicBezTo>
                    <a:pt x="1336" y="2138"/>
                    <a:pt x="1603" y="2040"/>
                    <a:pt x="1821" y="1822"/>
                  </a:cubicBezTo>
                  <a:cubicBezTo>
                    <a:pt x="2496" y="1155"/>
                    <a:pt x="2016" y="1"/>
                    <a:pt x="1073"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425" name="Google Shape;2425;p104"/>
            <p:cNvSpPr/>
            <p:nvPr/>
          </p:nvSpPr>
          <p:spPr>
            <a:xfrm>
              <a:off x="5113350" y="1723625"/>
              <a:ext cx="62400" cy="53350"/>
            </a:xfrm>
            <a:custGeom>
              <a:avLst/>
              <a:gdLst/>
              <a:ahLst/>
              <a:cxnLst/>
              <a:rect l="l" t="t" r="r" b="b"/>
              <a:pathLst>
                <a:path w="2496" h="2134" extrusionOk="0">
                  <a:moveTo>
                    <a:pt x="1073" y="1"/>
                  </a:moveTo>
                  <a:cubicBezTo>
                    <a:pt x="480" y="1"/>
                    <a:pt x="8" y="480"/>
                    <a:pt x="0" y="1065"/>
                  </a:cubicBezTo>
                  <a:cubicBezTo>
                    <a:pt x="0" y="1709"/>
                    <a:pt x="525" y="2133"/>
                    <a:pt x="1074" y="2133"/>
                  </a:cubicBezTo>
                  <a:cubicBezTo>
                    <a:pt x="1336" y="2133"/>
                    <a:pt x="1603" y="2037"/>
                    <a:pt x="1821" y="1822"/>
                  </a:cubicBezTo>
                  <a:cubicBezTo>
                    <a:pt x="2496" y="1147"/>
                    <a:pt x="2016" y="1"/>
                    <a:pt x="1073"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426" name="Google Shape;2426;p104"/>
            <p:cNvSpPr/>
            <p:nvPr/>
          </p:nvSpPr>
          <p:spPr>
            <a:xfrm>
              <a:off x="5113350" y="1799850"/>
              <a:ext cx="62400" cy="53325"/>
            </a:xfrm>
            <a:custGeom>
              <a:avLst/>
              <a:gdLst/>
              <a:ahLst/>
              <a:cxnLst/>
              <a:rect l="l" t="t" r="r" b="b"/>
              <a:pathLst>
                <a:path w="2496" h="2133" extrusionOk="0">
                  <a:moveTo>
                    <a:pt x="1073" y="0"/>
                  </a:moveTo>
                  <a:cubicBezTo>
                    <a:pt x="480" y="0"/>
                    <a:pt x="8" y="480"/>
                    <a:pt x="0" y="1065"/>
                  </a:cubicBezTo>
                  <a:cubicBezTo>
                    <a:pt x="0" y="1709"/>
                    <a:pt x="525" y="2133"/>
                    <a:pt x="1074" y="2133"/>
                  </a:cubicBezTo>
                  <a:cubicBezTo>
                    <a:pt x="1336" y="2133"/>
                    <a:pt x="1603" y="2036"/>
                    <a:pt x="1821" y="1821"/>
                  </a:cubicBezTo>
                  <a:cubicBezTo>
                    <a:pt x="2496" y="1146"/>
                    <a:pt x="2016" y="0"/>
                    <a:pt x="1073"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427" name="Google Shape;2427;p104"/>
            <p:cNvSpPr/>
            <p:nvPr/>
          </p:nvSpPr>
          <p:spPr>
            <a:xfrm>
              <a:off x="5113350" y="1876050"/>
              <a:ext cx="62400" cy="53350"/>
            </a:xfrm>
            <a:custGeom>
              <a:avLst/>
              <a:gdLst/>
              <a:ahLst/>
              <a:cxnLst/>
              <a:rect l="l" t="t" r="r" b="b"/>
              <a:pathLst>
                <a:path w="2496" h="2134" extrusionOk="0">
                  <a:moveTo>
                    <a:pt x="1073" y="1"/>
                  </a:moveTo>
                  <a:cubicBezTo>
                    <a:pt x="480" y="1"/>
                    <a:pt x="8" y="472"/>
                    <a:pt x="0" y="1066"/>
                  </a:cubicBezTo>
                  <a:cubicBezTo>
                    <a:pt x="0" y="1709"/>
                    <a:pt x="525" y="2133"/>
                    <a:pt x="1074" y="2133"/>
                  </a:cubicBezTo>
                  <a:cubicBezTo>
                    <a:pt x="1336" y="2133"/>
                    <a:pt x="1603" y="2037"/>
                    <a:pt x="1821" y="1822"/>
                  </a:cubicBezTo>
                  <a:cubicBezTo>
                    <a:pt x="2496" y="1147"/>
                    <a:pt x="2016" y="1"/>
                    <a:pt x="1073"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428" name="Google Shape;2428;p104"/>
            <p:cNvSpPr/>
            <p:nvPr/>
          </p:nvSpPr>
          <p:spPr>
            <a:xfrm>
              <a:off x="5113350" y="1952050"/>
              <a:ext cx="62400" cy="53450"/>
            </a:xfrm>
            <a:custGeom>
              <a:avLst/>
              <a:gdLst/>
              <a:ahLst/>
              <a:cxnLst/>
              <a:rect l="l" t="t" r="r" b="b"/>
              <a:pathLst>
                <a:path w="2496" h="2138" extrusionOk="0">
                  <a:moveTo>
                    <a:pt x="1073" y="1"/>
                  </a:moveTo>
                  <a:cubicBezTo>
                    <a:pt x="480" y="9"/>
                    <a:pt x="8" y="481"/>
                    <a:pt x="0" y="1074"/>
                  </a:cubicBezTo>
                  <a:cubicBezTo>
                    <a:pt x="0" y="1712"/>
                    <a:pt x="525" y="2138"/>
                    <a:pt x="1073" y="2138"/>
                  </a:cubicBezTo>
                  <a:cubicBezTo>
                    <a:pt x="1335" y="2138"/>
                    <a:pt x="1603" y="2040"/>
                    <a:pt x="1821" y="1822"/>
                  </a:cubicBezTo>
                  <a:cubicBezTo>
                    <a:pt x="2496" y="1155"/>
                    <a:pt x="2016" y="1"/>
                    <a:pt x="1073"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429" name="Google Shape;2429;p104"/>
            <p:cNvSpPr/>
            <p:nvPr/>
          </p:nvSpPr>
          <p:spPr>
            <a:xfrm>
              <a:off x="5113350" y="2028275"/>
              <a:ext cx="62400" cy="53450"/>
            </a:xfrm>
            <a:custGeom>
              <a:avLst/>
              <a:gdLst/>
              <a:ahLst/>
              <a:cxnLst/>
              <a:rect l="l" t="t" r="r" b="b"/>
              <a:pathLst>
                <a:path w="2496" h="2138" extrusionOk="0">
                  <a:moveTo>
                    <a:pt x="1073" y="1"/>
                  </a:moveTo>
                  <a:cubicBezTo>
                    <a:pt x="480" y="1"/>
                    <a:pt x="8" y="480"/>
                    <a:pt x="0" y="1065"/>
                  </a:cubicBezTo>
                  <a:cubicBezTo>
                    <a:pt x="0" y="1709"/>
                    <a:pt x="525" y="2137"/>
                    <a:pt x="1074" y="2137"/>
                  </a:cubicBezTo>
                  <a:cubicBezTo>
                    <a:pt x="1336" y="2137"/>
                    <a:pt x="1603" y="2040"/>
                    <a:pt x="1821" y="1821"/>
                  </a:cubicBezTo>
                  <a:cubicBezTo>
                    <a:pt x="2496" y="1147"/>
                    <a:pt x="2016" y="1"/>
                    <a:pt x="1073"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430" name="Google Shape;2430;p104"/>
            <p:cNvSpPr/>
            <p:nvPr/>
          </p:nvSpPr>
          <p:spPr>
            <a:xfrm>
              <a:off x="5113350" y="2104500"/>
              <a:ext cx="62400" cy="53325"/>
            </a:xfrm>
            <a:custGeom>
              <a:avLst/>
              <a:gdLst/>
              <a:ahLst/>
              <a:cxnLst/>
              <a:rect l="l" t="t" r="r" b="b"/>
              <a:pathLst>
                <a:path w="2496" h="2133" extrusionOk="0">
                  <a:moveTo>
                    <a:pt x="1073" y="0"/>
                  </a:moveTo>
                  <a:cubicBezTo>
                    <a:pt x="480" y="0"/>
                    <a:pt x="8" y="480"/>
                    <a:pt x="0" y="1065"/>
                  </a:cubicBezTo>
                  <a:cubicBezTo>
                    <a:pt x="0" y="1709"/>
                    <a:pt x="525" y="2133"/>
                    <a:pt x="1074" y="2133"/>
                  </a:cubicBezTo>
                  <a:cubicBezTo>
                    <a:pt x="1336" y="2133"/>
                    <a:pt x="1603" y="2036"/>
                    <a:pt x="1821" y="1821"/>
                  </a:cubicBezTo>
                  <a:cubicBezTo>
                    <a:pt x="2496" y="1146"/>
                    <a:pt x="2016" y="0"/>
                    <a:pt x="1073"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431" name="Google Shape;2431;p104"/>
            <p:cNvSpPr/>
            <p:nvPr/>
          </p:nvSpPr>
          <p:spPr>
            <a:xfrm>
              <a:off x="5113350" y="2180700"/>
              <a:ext cx="62400" cy="53350"/>
            </a:xfrm>
            <a:custGeom>
              <a:avLst/>
              <a:gdLst/>
              <a:ahLst/>
              <a:cxnLst/>
              <a:rect l="l" t="t" r="r" b="b"/>
              <a:pathLst>
                <a:path w="2496" h="2134" extrusionOk="0">
                  <a:moveTo>
                    <a:pt x="1073" y="1"/>
                  </a:moveTo>
                  <a:cubicBezTo>
                    <a:pt x="480" y="1"/>
                    <a:pt x="8" y="480"/>
                    <a:pt x="0" y="1066"/>
                  </a:cubicBezTo>
                  <a:cubicBezTo>
                    <a:pt x="0" y="1709"/>
                    <a:pt x="525" y="2133"/>
                    <a:pt x="1074" y="2133"/>
                  </a:cubicBezTo>
                  <a:cubicBezTo>
                    <a:pt x="1336" y="2133"/>
                    <a:pt x="1603" y="2037"/>
                    <a:pt x="1821" y="1822"/>
                  </a:cubicBezTo>
                  <a:cubicBezTo>
                    <a:pt x="2496" y="1147"/>
                    <a:pt x="2016" y="1"/>
                    <a:pt x="1073"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432" name="Google Shape;2432;p104"/>
            <p:cNvSpPr/>
            <p:nvPr/>
          </p:nvSpPr>
          <p:spPr>
            <a:xfrm>
              <a:off x="5113350" y="2256925"/>
              <a:ext cx="62550" cy="53425"/>
            </a:xfrm>
            <a:custGeom>
              <a:avLst/>
              <a:gdLst/>
              <a:ahLst/>
              <a:cxnLst/>
              <a:rect l="l" t="t" r="r" b="b"/>
              <a:pathLst>
                <a:path w="2502" h="2137" extrusionOk="0">
                  <a:moveTo>
                    <a:pt x="1083" y="0"/>
                  </a:moveTo>
                  <a:cubicBezTo>
                    <a:pt x="1080" y="0"/>
                    <a:pt x="1077" y="0"/>
                    <a:pt x="1073" y="0"/>
                  </a:cubicBezTo>
                  <a:cubicBezTo>
                    <a:pt x="480" y="0"/>
                    <a:pt x="0" y="480"/>
                    <a:pt x="0" y="1065"/>
                  </a:cubicBezTo>
                  <a:cubicBezTo>
                    <a:pt x="0" y="1709"/>
                    <a:pt x="529" y="2137"/>
                    <a:pt x="1080" y="2137"/>
                  </a:cubicBezTo>
                  <a:cubicBezTo>
                    <a:pt x="1343" y="2137"/>
                    <a:pt x="1611" y="2039"/>
                    <a:pt x="1829" y="1821"/>
                  </a:cubicBezTo>
                  <a:cubicBezTo>
                    <a:pt x="2502" y="1149"/>
                    <a:pt x="2028" y="0"/>
                    <a:pt x="1083"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433" name="Google Shape;2433;p104"/>
            <p:cNvSpPr/>
            <p:nvPr/>
          </p:nvSpPr>
          <p:spPr>
            <a:xfrm>
              <a:off x="5113350" y="2333125"/>
              <a:ext cx="62400" cy="53450"/>
            </a:xfrm>
            <a:custGeom>
              <a:avLst/>
              <a:gdLst/>
              <a:ahLst/>
              <a:cxnLst/>
              <a:rect l="l" t="t" r="r" b="b"/>
              <a:pathLst>
                <a:path w="2496" h="2138" extrusionOk="0">
                  <a:moveTo>
                    <a:pt x="1073" y="1"/>
                  </a:moveTo>
                  <a:cubicBezTo>
                    <a:pt x="480" y="1"/>
                    <a:pt x="0" y="480"/>
                    <a:pt x="0" y="1066"/>
                  </a:cubicBezTo>
                  <a:cubicBezTo>
                    <a:pt x="0" y="1709"/>
                    <a:pt x="525" y="2137"/>
                    <a:pt x="1074" y="2137"/>
                  </a:cubicBezTo>
                  <a:cubicBezTo>
                    <a:pt x="1336" y="2137"/>
                    <a:pt x="1603" y="2040"/>
                    <a:pt x="1821" y="1822"/>
                  </a:cubicBezTo>
                  <a:cubicBezTo>
                    <a:pt x="2496" y="1147"/>
                    <a:pt x="2016" y="1"/>
                    <a:pt x="1073"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434" name="Google Shape;2434;p104"/>
            <p:cNvSpPr/>
            <p:nvPr/>
          </p:nvSpPr>
          <p:spPr>
            <a:xfrm>
              <a:off x="5113350" y="2409350"/>
              <a:ext cx="62400" cy="53350"/>
            </a:xfrm>
            <a:custGeom>
              <a:avLst/>
              <a:gdLst/>
              <a:ahLst/>
              <a:cxnLst/>
              <a:rect l="l" t="t" r="r" b="b"/>
              <a:pathLst>
                <a:path w="2496" h="2134" extrusionOk="0">
                  <a:moveTo>
                    <a:pt x="1073" y="0"/>
                  </a:moveTo>
                  <a:cubicBezTo>
                    <a:pt x="480" y="0"/>
                    <a:pt x="8" y="480"/>
                    <a:pt x="0" y="1065"/>
                  </a:cubicBezTo>
                  <a:cubicBezTo>
                    <a:pt x="0" y="1709"/>
                    <a:pt x="525" y="2133"/>
                    <a:pt x="1074" y="2133"/>
                  </a:cubicBezTo>
                  <a:cubicBezTo>
                    <a:pt x="1336" y="2133"/>
                    <a:pt x="1603" y="2036"/>
                    <a:pt x="1821" y="1821"/>
                  </a:cubicBezTo>
                  <a:cubicBezTo>
                    <a:pt x="2496" y="1146"/>
                    <a:pt x="2016" y="0"/>
                    <a:pt x="1073"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435" name="Google Shape;2435;p104"/>
            <p:cNvSpPr/>
            <p:nvPr/>
          </p:nvSpPr>
          <p:spPr>
            <a:xfrm>
              <a:off x="5113350" y="2485550"/>
              <a:ext cx="62400" cy="53300"/>
            </a:xfrm>
            <a:custGeom>
              <a:avLst/>
              <a:gdLst/>
              <a:ahLst/>
              <a:cxnLst/>
              <a:rect l="l" t="t" r="r" b="b"/>
              <a:pathLst>
                <a:path w="2496" h="2132" extrusionOk="0">
                  <a:moveTo>
                    <a:pt x="1073" y="1"/>
                  </a:moveTo>
                  <a:cubicBezTo>
                    <a:pt x="480" y="1"/>
                    <a:pt x="0" y="472"/>
                    <a:pt x="0" y="1066"/>
                  </a:cubicBezTo>
                  <a:cubicBezTo>
                    <a:pt x="0" y="1708"/>
                    <a:pt x="526" y="2131"/>
                    <a:pt x="1073" y="2131"/>
                  </a:cubicBezTo>
                  <a:cubicBezTo>
                    <a:pt x="1336" y="2131"/>
                    <a:pt x="1604" y="2033"/>
                    <a:pt x="1821" y="1814"/>
                  </a:cubicBezTo>
                  <a:cubicBezTo>
                    <a:pt x="2496" y="1147"/>
                    <a:pt x="2016" y="1"/>
                    <a:pt x="1073"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436" name="Google Shape;2436;p104"/>
            <p:cNvSpPr/>
            <p:nvPr/>
          </p:nvSpPr>
          <p:spPr>
            <a:xfrm>
              <a:off x="4732475" y="1495200"/>
              <a:ext cx="62425" cy="53325"/>
            </a:xfrm>
            <a:custGeom>
              <a:avLst/>
              <a:gdLst/>
              <a:ahLst/>
              <a:cxnLst/>
              <a:rect l="l" t="t" r="r" b="b"/>
              <a:pathLst>
                <a:path w="2497" h="2133" extrusionOk="0">
                  <a:moveTo>
                    <a:pt x="1074" y="0"/>
                  </a:moveTo>
                  <a:cubicBezTo>
                    <a:pt x="480" y="0"/>
                    <a:pt x="9" y="480"/>
                    <a:pt x="1" y="1065"/>
                  </a:cubicBezTo>
                  <a:cubicBezTo>
                    <a:pt x="1" y="1709"/>
                    <a:pt x="526" y="2133"/>
                    <a:pt x="1075" y="2133"/>
                  </a:cubicBezTo>
                  <a:cubicBezTo>
                    <a:pt x="1336" y="2133"/>
                    <a:pt x="1604" y="2036"/>
                    <a:pt x="1822" y="1821"/>
                  </a:cubicBezTo>
                  <a:cubicBezTo>
                    <a:pt x="2496" y="1146"/>
                    <a:pt x="2017" y="0"/>
                    <a:pt x="1074"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437" name="Google Shape;2437;p104"/>
            <p:cNvSpPr/>
            <p:nvPr/>
          </p:nvSpPr>
          <p:spPr>
            <a:xfrm>
              <a:off x="4732475" y="1571400"/>
              <a:ext cx="62425" cy="53250"/>
            </a:xfrm>
            <a:custGeom>
              <a:avLst/>
              <a:gdLst/>
              <a:ahLst/>
              <a:cxnLst/>
              <a:rect l="l" t="t" r="r" b="b"/>
              <a:pathLst>
                <a:path w="2497" h="2130" extrusionOk="0">
                  <a:moveTo>
                    <a:pt x="1074" y="1"/>
                  </a:moveTo>
                  <a:cubicBezTo>
                    <a:pt x="480" y="1"/>
                    <a:pt x="9" y="472"/>
                    <a:pt x="1" y="1066"/>
                  </a:cubicBezTo>
                  <a:cubicBezTo>
                    <a:pt x="1" y="1703"/>
                    <a:pt x="525" y="2129"/>
                    <a:pt x="1073" y="2129"/>
                  </a:cubicBezTo>
                  <a:cubicBezTo>
                    <a:pt x="1335" y="2129"/>
                    <a:pt x="1603" y="2032"/>
                    <a:pt x="1822" y="1813"/>
                  </a:cubicBezTo>
                  <a:cubicBezTo>
                    <a:pt x="2496" y="1147"/>
                    <a:pt x="2017" y="1"/>
                    <a:pt x="1074"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438" name="Google Shape;2438;p104"/>
            <p:cNvSpPr/>
            <p:nvPr/>
          </p:nvSpPr>
          <p:spPr>
            <a:xfrm>
              <a:off x="4732475" y="1647400"/>
              <a:ext cx="62425" cy="53450"/>
            </a:xfrm>
            <a:custGeom>
              <a:avLst/>
              <a:gdLst/>
              <a:ahLst/>
              <a:cxnLst/>
              <a:rect l="l" t="t" r="r" b="b"/>
              <a:pathLst>
                <a:path w="2497" h="2138" extrusionOk="0">
                  <a:moveTo>
                    <a:pt x="1074" y="1"/>
                  </a:moveTo>
                  <a:cubicBezTo>
                    <a:pt x="480" y="1"/>
                    <a:pt x="9" y="481"/>
                    <a:pt x="1" y="1066"/>
                  </a:cubicBezTo>
                  <a:cubicBezTo>
                    <a:pt x="1" y="1710"/>
                    <a:pt x="526" y="2138"/>
                    <a:pt x="1074" y="2138"/>
                  </a:cubicBezTo>
                  <a:cubicBezTo>
                    <a:pt x="1336" y="2138"/>
                    <a:pt x="1604" y="2040"/>
                    <a:pt x="1822" y="1822"/>
                  </a:cubicBezTo>
                  <a:cubicBezTo>
                    <a:pt x="2496" y="1155"/>
                    <a:pt x="2017" y="1"/>
                    <a:pt x="1074"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439" name="Google Shape;2439;p104"/>
            <p:cNvSpPr/>
            <p:nvPr/>
          </p:nvSpPr>
          <p:spPr>
            <a:xfrm>
              <a:off x="4732475" y="1723625"/>
              <a:ext cx="62425" cy="53350"/>
            </a:xfrm>
            <a:custGeom>
              <a:avLst/>
              <a:gdLst/>
              <a:ahLst/>
              <a:cxnLst/>
              <a:rect l="l" t="t" r="r" b="b"/>
              <a:pathLst>
                <a:path w="2497" h="2134" extrusionOk="0">
                  <a:moveTo>
                    <a:pt x="1074" y="1"/>
                  </a:moveTo>
                  <a:cubicBezTo>
                    <a:pt x="480" y="1"/>
                    <a:pt x="9" y="480"/>
                    <a:pt x="1" y="1065"/>
                  </a:cubicBezTo>
                  <a:cubicBezTo>
                    <a:pt x="1" y="1709"/>
                    <a:pt x="526" y="2133"/>
                    <a:pt x="1075" y="2133"/>
                  </a:cubicBezTo>
                  <a:cubicBezTo>
                    <a:pt x="1336" y="2133"/>
                    <a:pt x="1604" y="2037"/>
                    <a:pt x="1822" y="1822"/>
                  </a:cubicBezTo>
                  <a:cubicBezTo>
                    <a:pt x="2496" y="1147"/>
                    <a:pt x="2017" y="1"/>
                    <a:pt x="1074"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440" name="Google Shape;2440;p104"/>
            <p:cNvSpPr/>
            <p:nvPr/>
          </p:nvSpPr>
          <p:spPr>
            <a:xfrm>
              <a:off x="4732475" y="1799850"/>
              <a:ext cx="62425" cy="53325"/>
            </a:xfrm>
            <a:custGeom>
              <a:avLst/>
              <a:gdLst/>
              <a:ahLst/>
              <a:cxnLst/>
              <a:rect l="l" t="t" r="r" b="b"/>
              <a:pathLst>
                <a:path w="2497" h="2133" extrusionOk="0">
                  <a:moveTo>
                    <a:pt x="1074" y="0"/>
                  </a:moveTo>
                  <a:cubicBezTo>
                    <a:pt x="480" y="0"/>
                    <a:pt x="9" y="480"/>
                    <a:pt x="1" y="1065"/>
                  </a:cubicBezTo>
                  <a:cubicBezTo>
                    <a:pt x="1" y="1709"/>
                    <a:pt x="526" y="2133"/>
                    <a:pt x="1075" y="2133"/>
                  </a:cubicBezTo>
                  <a:cubicBezTo>
                    <a:pt x="1336" y="2133"/>
                    <a:pt x="1604" y="2036"/>
                    <a:pt x="1822" y="1821"/>
                  </a:cubicBezTo>
                  <a:cubicBezTo>
                    <a:pt x="2496" y="1146"/>
                    <a:pt x="2017" y="0"/>
                    <a:pt x="1074"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441" name="Google Shape;2441;p104"/>
            <p:cNvSpPr/>
            <p:nvPr/>
          </p:nvSpPr>
          <p:spPr>
            <a:xfrm>
              <a:off x="4732475" y="1876050"/>
              <a:ext cx="62425" cy="53350"/>
            </a:xfrm>
            <a:custGeom>
              <a:avLst/>
              <a:gdLst/>
              <a:ahLst/>
              <a:cxnLst/>
              <a:rect l="l" t="t" r="r" b="b"/>
              <a:pathLst>
                <a:path w="2497" h="2134" extrusionOk="0">
                  <a:moveTo>
                    <a:pt x="1074" y="1"/>
                  </a:moveTo>
                  <a:cubicBezTo>
                    <a:pt x="480" y="1"/>
                    <a:pt x="9" y="472"/>
                    <a:pt x="1" y="1066"/>
                  </a:cubicBezTo>
                  <a:cubicBezTo>
                    <a:pt x="1" y="1709"/>
                    <a:pt x="526" y="2133"/>
                    <a:pt x="1075" y="2133"/>
                  </a:cubicBezTo>
                  <a:cubicBezTo>
                    <a:pt x="1336" y="2133"/>
                    <a:pt x="1604" y="2037"/>
                    <a:pt x="1822" y="1822"/>
                  </a:cubicBezTo>
                  <a:cubicBezTo>
                    <a:pt x="2496" y="1147"/>
                    <a:pt x="2017" y="1"/>
                    <a:pt x="1074"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442" name="Google Shape;2442;p104"/>
            <p:cNvSpPr/>
            <p:nvPr/>
          </p:nvSpPr>
          <p:spPr>
            <a:xfrm>
              <a:off x="4732475" y="1952050"/>
              <a:ext cx="62425" cy="53450"/>
            </a:xfrm>
            <a:custGeom>
              <a:avLst/>
              <a:gdLst/>
              <a:ahLst/>
              <a:cxnLst/>
              <a:rect l="l" t="t" r="r" b="b"/>
              <a:pathLst>
                <a:path w="2497" h="2138" extrusionOk="0">
                  <a:moveTo>
                    <a:pt x="1074" y="1"/>
                  </a:moveTo>
                  <a:cubicBezTo>
                    <a:pt x="480" y="9"/>
                    <a:pt x="9" y="481"/>
                    <a:pt x="1" y="1074"/>
                  </a:cubicBezTo>
                  <a:cubicBezTo>
                    <a:pt x="1" y="1712"/>
                    <a:pt x="525" y="2138"/>
                    <a:pt x="1073" y="2138"/>
                  </a:cubicBezTo>
                  <a:cubicBezTo>
                    <a:pt x="1335" y="2138"/>
                    <a:pt x="1603" y="2040"/>
                    <a:pt x="1822" y="1822"/>
                  </a:cubicBezTo>
                  <a:cubicBezTo>
                    <a:pt x="2496" y="1155"/>
                    <a:pt x="2017" y="1"/>
                    <a:pt x="1074"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443" name="Google Shape;2443;p104"/>
            <p:cNvSpPr/>
            <p:nvPr/>
          </p:nvSpPr>
          <p:spPr>
            <a:xfrm>
              <a:off x="4732475" y="2028275"/>
              <a:ext cx="62425" cy="53450"/>
            </a:xfrm>
            <a:custGeom>
              <a:avLst/>
              <a:gdLst/>
              <a:ahLst/>
              <a:cxnLst/>
              <a:rect l="l" t="t" r="r" b="b"/>
              <a:pathLst>
                <a:path w="2497" h="2138" extrusionOk="0">
                  <a:moveTo>
                    <a:pt x="1074" y="1"/>
                  </a:moveTo>
                  <a:cubicBezTo>
                    <a:pt x="480" y="1"/>
                    <a:pt x="9" y="480"/>
                    <a:pt x="1" y="1065"/>
                  </a:cubicBezTo>
                  <a:cubicBezTo>
                    <a:pt x="1" y="1709"/>
                    <a:pt x="526" y="2137"/>
                    <a:pt x="1074" y="2137"/>
                  </a:cubicBezTo>
                  <a:cubicBezTo>
                    <a:pt x="1336" y="2137"/>
                    <a:pt x="1604" y="2040"/>
                    <a:pt x="1822" y="1821"/>
                  </a:cubicBezTo>
                  <a:cubicBezTo>
                    <a:pt x="2496" y="1147"/>
                    <a:pt x="2017" y="1"/>
                    <a:pt x="1074"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444" name="Google Shape;2444;p104"/>
            <p:cNvSpPr/>
            <p:nvPr/>
          </p:nvSpPr>
          <p:spPr>
            <a:xfrm>
              <a:off x="4732475" y="2104500"/>
              <a:ext cx="62425" cy="53325"/>
            </a:xfrm>
            <a:custGeom>
              <a:avLst/>
              <a:gdLst/>
              <a:ahLst/>
              <a:cxnLst/>
              <a:rect l="l" t="t" r="r" b="b"/>
              <a:pathLst>
                <a:path w="2497" h="2133" extrusionOk="0">
                  <a:moveTo>
                    <a:pt x="1074" y="0"/>
                  </a:moveTo>
                  <a:cubicBezTo>
                    <a:pt x="480" y="0"/>
                    <a:pt x="9" y="480"/>
                    <a:pt x="1" y="1065"/>
                  </a:cubicBezTo>
                  <a:cubicBezTo>
                    <a:pt x="1" y="1709"/>
                    <a:pt x="526" y="2133"/>
                    <a:pt x="1075" y="2133"/>
                  </a:cubicBezTo>
                  <a:cubicBezTo>
                    <a:pt x="1336" y="2133"/>
                    <a:pt x="1604" y="2036"/>
                    <a:pt x="1822" y="1821"/>
                  </a:cubicBezTo>
                  <a:cubicBezTo>
                    <a:pt x="2496" y="1146"/>
                    <a:pt x="2017" y="0"/>
                    <a:pt x="1074"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445" name="Google Shape;2445;p104"/>
            <p:cNvSpPr/>
            <p:nvPr/>
          </p:nvSpPr>
          <p:spPr>
            <a:xfrm>
              <a:off x="4732475" y="2180700"/>
              <a:ext cx="62425" cy="53350"/>
            </a:xfrm>
            <a:custGeom>
              <a:avLst/>
              <a:gdLst/>
              <a:ahLst/>
              <a:cxnLst/>
              <a:rect l="l" t="t" r="r" b="b"/>
              <a:pathLst>
                <a:path w="2497" h="2134" extrusionOk="0">
                  <a:moveTo>
                    <a:pt x="1074" y="1"/>
                  </a:moveTo>
                  <a:cubicBezTo>
                    <a:pt x="480" y="1"/>
                    <a:pt x="9" y="480"/>
                    <a:pt x="1" y="1066"/>
                  </a:cubicBezTo>
                  <a:cubicBezTo>
                    <a:pt x="1" y="1709"/>
                    <a:pt x="526" y="2133"/>
                    <a:pt x="1075" y="2133"/>
                  </a:cubicBezTo>
                  <a:cubicBezTo>
                    <a:pt x="1336" y="2133"/>
                    <a:pt x="1604" y="2037"/>
                    <a:pt x="1822" y="1822"/>
                  </a:cubicBezTo>
                  <a:cubicBezTo>
                    <a:pt x="2496" y="1147"/>
                    <a:pt x="2017" y="1"/>
                    <a:pt x="1074"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446" name="Google Shape;2446;p104"/>
            <p:cNvSpPr/>
            <p:nvPr/>
          </p:nvSpPr>
          <p:spPr>
            <a:xfrm>
              <a:off x="4732475" y="2256925"/>
              <a:ext cx="62575" cy="53425"/>
            </a:xfrm>
            <a:custGeom>
              <a:avLst/>
              <a:gdLst/>
              <a:ahLst/>
              <a:cxnLst/>
              <a:rect l="l" t="t" r="r" b="b"/>
              <a:pathLst>
                <a:path w="2503" h="2137" extrusionOk="0">
                  <a:moveTo>
                    <a:pt x="1084" y="0"/>
                  </a:moveTo>
                  <a:cubicBezTo>
                    <a:pt x="1080" y="0"/>
                    <a:pt x="1077" y="0"/>
                    <a:pt x="1074" y="0"/>
                  </a:cubicBezTo>
                  <a:cubicBezTo>
                    <a:pt x="480" y="0"/>
                    <a:pt x="1" y="480"/>
                    <a:pt x="1" y="1065"/>
                  </a:cubicBezTo>
                  <a:cubicBezTo>
                    <a:pt x="1" y="1709"/>
                    <a:pt x="529" y="2137"/>
                    <a:pt x="1080" y="2137"/>
                  </a:cubicBezTo>
                  <a:cubicBezTo>
                    <a:pt x="1344" y="2137"/>
                    <a:pt x="1612" y="2039"/>
                    <a:pt x="1830" y="1821"/>
                  </a:cubicBezTo>
                  <a:cubicBezTo>
                    <a:pt x="2502" y="1149"/>
                    <a:pt x="2028" y="0"/>
                    <a:pt x="1084"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447" name="Google Shape;2447;p104"/>
            <p:cNvSpPr/>
            <p:nvPr/>
          </p:nvSpPr>
          <p:spPr>
            <a:xfrm>
              <a:off x="4732475" y="2333125"/>
              <a:ext cx="62425" cy="53450"/>
            </a:xfrm>
            <a:custGeom>
              <a:avLst/>
              <a:gdLst/>
              <a:ahLst/>
              <a:cxnLst/>
              <a:rect l="l" t="t" r="r" b="b"/>
              <a:pathLst>
                <a:path w="2497" h="2138" extrusionOk="0">
                  <a:moveTo>
                    <a:pt x="1074" y="1"/>
                  </a:moveTo>
                  <a:cubicBezTo>
                    <a:pt x="480" y="1"/>
                    <a:pt x="1" y="480"/>
                    <a:pt x="1" y="1066"/>
                  </a:cubicBezTo>
                  <a:cubicBezTo>
                    <a:pt x="1" y="1709"/>
                    <a:pt x="526" y="2137"/>
                    <a:pt x="1074" y="2137"/>
                  </a:cubicBezTo>
                  <a:cubicBezTo>
                    <a:pt x="1336" y="2137"/>
                    <a:pt x="1604" y="2040"/>
                    <a:pt x="1822" y="1822"/>
                  </a:cubicBezTo>
                  <a:cubicBezTo>
                    <a:pt x="2496" y="1147"/>
                    <a:pt x="2017" y="1"/>
                    <a:pt x="1074"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448" name="Google Shape;2448;p104"/>
            <p:cNvSpPr/>
            <p:nvPr/>
          </p:nvSpPr>
          <p:spPr>
            <a:xfrm>
              <a:off x="4351600" y="2256925"/>
              <a:ext cx="62575" cy="53425"/>
            </a:xfrm>
            <a:custGeom>
              <a:avLst/>
              <a:gdLst/>
              <a:ahLst/>
              <a:cxnLst/>
              <a:rect l="l" t="t" r="r" b="b"/>
              <a:pathLst>
                <a:path w="2503" h="2137" extrusionOk="0">
                  <a:moveTo>
                    <a:pt x="1084" y="0"/>
                  </a:moveTo>
                  <a:cubicBezTo>
                    <a:pt x="1081" y="0"/>
                    <a:pt x="1077" y="0"/>
                    <a:pt x="1074" y="0"/>
                  </a:cubicBezTo>
                  <a:cubicBezTo>
                    <a:pt x="481" y="0"/>
                    <a:pt x="9" y="480"/>
                    <a:pt x="1" y="1065"/>
                  </a:cubicBezTo>
                  <a:cubicBezTo>
                    <a:pt x="1" y="1709"/>
                    <a:pt x="530" y="2137"/>
                    <a:pt x="1081" y="2137"/>
                  </a:cubicBezTo>
                  <a:cubicBezTo>
                    <a:pt x="1344" y="2137"/>
                    <a:pt x="1612" y="2039"/>
                    <a:pt x="1830" y="1821"/>
                  </a:cubicBezTo>
                  <a:cubicBezTo>
                    <a:pt x="2502" y="1149"/>
                    <a:pt x="2029" y="0"/>
                    <a:pt x="1084"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449" name="Google Shape;2449;p104"/>
            <p:cNvSpPr/>
            <p:nvPr/>
          </p:nvSpPr>
          <p:spPr>
            <a:xfrm>
              <a:off x="4351600" y="2485550"/>
              <a:ext cx="62425" cy="53300"/>
            </a:xfrm>
            <a:custGeom>
              <a:avLst/>
              <a:gdLst/>
              <a:ahLst/>
              <a:cxnLst/>
              <a:rect l="l" t="t" r="r" b="b"/>
              <a:pathLst>
                <a:path w="2497" h="2132" extrusionOk="0">
                  <a:moveTo>
                    <a:pt x="1074" y="1"/>
                  </a:moveTo>
                  <a:cubicBezTo>
                    <a:pt x="481" y="1"/>
                    <a:pt x="9" y="472"/>
                    <a:pt x="1" y="1066"/>
                  </a:cubicBezTo>
                  <a:cubicBezTo>
                    <a:pt x="1" y="1708"/>
                    <a:pt x="527" y="2131"/>
                    <a:pt x="1074" y="2131"/>
                  </a:cubicBezTo>
                  <a:cubicBezTo>
                    <a:pt x="1337" y="2131"/>
                    <a:pt x="1605" y="2033"/>
                    <a:pt x="1822" y="1814"/>
                  </a:cubicBezTo>
                  <a:cubicBezTo>
                    <a:pt x="2497" y="1147"/>
                    <a:pt x="2017" y="1"/>
                    <a:pt x="1074"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450" name="Google Shape;2450;p104"/>
            <p:cNvSpPr/>
            <p:nvPr/>
          </p:nvSpPr>
          <p:spPr>
            <a:xfrm>
              <a:off x="4351600" y="2409350"/>
              <a:ext cx="62425" cy="53350"/>
            </a:xfrm>
            <a:custGeom>
              <a:avLst/>
              <a:gdLst/>
              <a:ahLst/>
              <a:cxnLst/>
              <a:rect l="l" t="t" r="r" b="b"/>
              <a:pathLst>
                <a:path w="2497" h="2134" extrusionOk="0">
                  <a:moveTo>
                    <a:pt x="1074" y="0"/>
                  </a:moveTo>
                  <a:cubicBezTo>
                    <a:pt x="481" y="0"/>
                    <a:pt x="9" y="480"/>
                    <a:pt x="1" y="1065"/>
                  </a:cubicBezTo>
                  <a:cubicBezTo>
                    <a:pt x="1" y="1709"/>
                    <a:pt x="530" y="2133"/>
                    <a:pt x="1079" y="2133"/>
                  </a:cubicBezTo>
                  <a:cubicBezTo>
                    <a:pt x="1340" y="2133"/>
                    <a:pt x="1607" y="2036"/>
                    <a:pt x="1822" y="1821"/>
                  </a:cubicBezTo>
                  <a:cubicBezTo>
                    <a:pt x="2497" y="1146"/>
                    <a:pt x="2017" y="0"/>
                    <a:pt x="1074"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451" name="Google Shape;2451;p104"/>
            <p:cNvSpPr/>
            <p:nvPr/>
          </p:nvSpPr>
          <p:spPr>
            <a:xfrm>
              <a:off x="4351600" y="2333125"/>
              <a:ext cx="62425" cy="53450"/>
            </a:xfrm>
            <a:custGeom>
              <a:avLst/>
              <a:gdLst/>
              <a:ahLst/>
              <a:cxnLst/>
              <a:rect l="l" t="t" r="r" b="b"/>
              <a:pathLst>
                <a:path w="2497" h="2138" extrusionOk="0">
                  <a:moveTo>
                    <a:pt x="1074" y="1"/>
                  </a:moveTo>
                  <a:cubicBezTo>
                    <a:pt x="481" y="1"/>
                    <a:pt x="9" y="480"/>
                    <a:pt x="1" y="1066"/>
                  </a:cubicBezTo>
                  <a:cubicBezTo>
                    <a:pt x="1" y="1709"/>
                    <a:pt x="530" y="2137"/>
                    <a:pt x="1078" y="2137"/>
                  </a:cubicBezTo>
                  <a:cubicBezTo>
                    <a:pt x="1340" y="2137"/>
                    <a:pt x="1607" y="2040"/>
                    <a:pt x="1822" y="1822"/>
                  </a:cubicBezTo>
                  <a:cubicBezTo>
                    <a:pt x="2497" y="1147"/>
                    <a:pt x="2017" y="1"/>
                    <a:pt x="1074"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452" name="Google Shape;2452;p104"/>
            <p:cNvSpPr/>
            <p:nvPr/>
          </p:nvSpPr>
          <p:spPr>
            <a:xfrm>
              <a:off x="4427825" y="2256925"/>
              <a:ext cx="62575" cy="53425"/>
            </a:xfrm>
            <a:custGeom>
              <a:avLst/>
              <a:gdLst/>
              <a:ahLst/>
              <a:cxnLst/>
              <a:rect l="l" t="t" r="r" b="b"/>
              <a:pathLst>
                <a:path w="2503" h="2137" extrusionOk="0">
                  <a:moveTo>
                    <a:pt x="1076" y="0"/>
                  </a:moveTo>
                  <a:cubicBezTo>
                    <a:pt x="1072" y="0"/>
                    <a:pt x="1069" y="0"/>
                    <a:pt x="1065" y="0"/>
                  </a:cubicBezTo>
                  <a:cubicBezTo>
                    <a:pt x="480" y="0"/>
                    <a:pt x="1" y="480"/>
                    <a:pt x="1" y="1065"/>
                  </a:cubicBezTo>
                  <a:cubicBezTo>
                    <a:pt x="1" y="1709"/>
                    <a:pt x="529" y="2137"/>
                    <a:pt x="1080" y="2137"/>
                  </a:cubicBezTo>
                  <a:cubicBezTo>
                    <a:pt x="1343" y="2137"/>
                    <a:pt x="1612" y="2039"/>
                    <a:pt x="1830" y="1821"/>
                  </a:cubicBezTo>
                  <a:cubicBezTo>
                    <a:pt x="2502" y="1149"/>
                    <a:pt x="2028" y="0"/>
                    <a:pt x="1076"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453" name="Google Shape;2453;p104"/>
            <p:cNvSpPr/>
            <p:nvPr/>
          </p:nvSpPr>
          <p:spPr>
            <a:xfrm>
              <a:off x="4427825" y="2333125"/>
              <a:ext cx="62425" cy="53450"/>
            </a:xfrm>
            <a:custGeom>
              <a:avLst/>
              <a:gdLst/>
              <a:ahLst/>
              <a:cxnLst/>
              <a:rect l="l" t="t" r="r" b="b"/>
              <a:pathLst>
                <a:path w="2497" h="2138" extrusionOk="0">
                  <a:moveTo>
                    <a:pt x="1065" y="1"/>
                  </a:moveTo>
                  <a:cubicBezTo>
                    <a:pt x="480" y="1"/>
                    <a:pt x="1" y="480"/>
                    <a:pt x="1" y="1066"/>
                  </a:cubicBezTo>
                  <a:cubicBezTo>
                    <a:pt x="1" y="1709"/>
                    <a:pt x="526" y="2137"/>
                    <a:pt x="1074" y="2137"/>
                  </a:cubicBezTo>
                  <a:cubicBezTo>
                    <a:pt x="1336" y="2137"/>
                    <a:pt x="1603" y="2040"/>
                    <a:pt x="1822" y="1822"/>
                  </a:cubicBezTo>
                  <a:cubicBezTo>
                    <a:pt x="2496" y="1147"/>
                    <a:pt x="2017" y="1"/>
                    <a:pt x="1065"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454" name="Google Shape;2454;p104"/>
            <p:cNvSpPr/>
            <p:nvPr/>
          </p:nvSpPr>
          <p:spPr>
            <a:xfrm>
              <a:off x="4504050" y="1571400"/>
              <a:ext cx="62200" cy="53250"/>
            </a:xfrm>
            <a:custGeom>
              <a:avLst/>
              <a:gdLst/>
              <a:ahLst/>
              <a:cxnLst/>
              <a:rect l="l" t="t" r="r" b="b"/>
              <a:pathLst>
                <a:path w="2488" h="2130" extrusionOk="0">
                  <a:moveTo>
                    <a:pt x="1065" y="1"/>
                  </a:moveTo>
                  <a:cubicBezTo>
                    <a:pt x="480" y="1"/>
                    <a:pt x="0" y="472"/>
                    <a:pt x="0" y="1066"/>
                  </a:cubicBezTo>
                  <a:cubicBezTo>
                    <a:pt x="0" y="1703"/>
                    <a:pt x="525" y="2129"/>
                    <a:pt x="1073" y="2129"/>
                  </a:cubicBezTo>
                  <a:cubicBezTo>
                    <a:pt x="1335" y="2129"/>
                    <a:pt x="1603" y="2032"/>
                    <a:pt x="1821" y="1813"/>
                  </a:cubicBezTo>
                  <a:cubicBezTo>
                    <a:pt x="2488" y="1147"/>
                    <a:pt x="2016" y="1"/>
                    <a:pt x="1065"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455" name="Google Shape;2455;p104"/>
            <p:cNvSpPr/>
            <p:nvPr/>
          </p:nvSpPr>
          <p:spPr>
            <a:xfrm>
              <a:off x="4504050" y="1647400"/>
              <a:ext cx="62200" cy="53450"/>
            </a:xfrm>
            <a:custGeom>
              <a:avLst/>
              <a:gdLst/>
              <a:ahLst/>
              <a:cxnLst/>
              <a:rect l="l" t="t" r="r" b="b"/>
              <a:pathLst>
                <a:path w="2488" h="2138" extrusionOk="0">
                  <a:moveTo>
                    <a:pt x="1065" y="1"/>
                  </a:moveTo>
                  <a:cubicBezTo>
                    <a:pt x="480" y="1"/>
                    <a:pt x="0" y="481"/>
                    <a:pt x="0" y="1066"/>
                  </a:cubicBezTo>
                  <a:cubicBezTo>
                    <a:pt x="0" y="1710"/>
                    <a:pt x="525" y="2138"/>
                    <a:pt x="1074" y="2138"/>
                  </a:cubicBezTo>
                  <a:cubicBezTo>
                    <a:pt x="1336" y="2138"/>
                    <a:pt x="1603" y="2040"/>
                    <a:pt x="1821" y="1822"/>
                  </a:cubicBezTo>
                  <a:cubicBezTo>
                    <a:pt x="2488" y="1155"/>
                    <a:pt x="2016" y="1"/>
                    <a:pt x="1065"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456" name="Google Shape;2456;p104"/>
            <p:cNvSpPr/>
            <p:nvPr/>
          </p:nvSpPr>
          <p:spPr>
            <a:xfrm>
              <a:off x="4504050" y="1723625"/>
              <a:ext cx="62200" cy="53350"/>
            </a:xfrm>
            <a:custGeom>
              <a:avLst/>
              <a:gdLst/>
              <a:ahLst/>
              <a:cxnLst/>
              <a:rect l="l" t="t" r="r" b="b"/>
              <a:pathLst>
                <a:path w="2488" h="2134" extrusionOk="0">
                  <a:moveTo>
                    <a:pt x="1065" y="1"/>
                  </a:moveTo>
                  <a:cubicBezTo>
                    <a:pt x="480" y="1"/>
                    <a:pt x="0" y="480"/>
                    <a:pt x="0" y="1065"/>
                  </a:cubicBezTo>
                  <a:cubicBezTo>
                    <a:pt x="0" y="1709"/>
                    <a:pt x="525" y="2133"/>
                    <a:pt x="1074" y="2133"/>
                  </a:cubicBezTo>
                  <a:cubicBezTo>
                    <a:pt x="1336" y="2133"/>
                    <a:pt x="1603" y="2037"/>
                    <a:pt x="1821" y="1822"/>
                  </a:cubicBezTo>
                  <a:cubicBezTo>
                    <a:pt x="2488" y="1147"/>
                    <a:pt x="2016" y="1"/>
                    <a:pt x="1065"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457" name="Google Shape;2457;p104"/>
            <p:cNvSpPr/>
            <p:nvPr/>
          </p:nvSpPr>
          <p:spPr>
            <a:xfrm>
              <a:off x="4504050" y="1799850"/>
              <a:ext cx="62200" cy="53325"/>
            </a:xfrm>
            <a:custGeom>
              <a:avLst/>
              <a:gdLst/>
              <a:ahLst/>
              <a:cxnLst/>
              <a:rect l="l" t="t" r="r" b="b"/>
              <a:pathLst>
                <a:path w="2488" h="2133"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458" name="Google Shape;2458;p104"/>
            <p:cNvSpPr/>
            <p:nvPr/>
          </p:nvSpPr>
          <p:spPr>
            <a:xfrm>
              <a:off x="4504050" y="1876050"/>
              <a:ext cx="62200" cy="53350"/>
            </a:xfrm>
            <a:custGeom>
              <a:avLst/>
              <a:gdLst/>
              <a:ahLst/>
              <a:cxnLst/>
              <a:rect l="l" t="t" r="r" b="b"/>
              <a:pathLst>
                <a:path w="2488" h="2134" extrusionOk="0">
                  <a:moveTo>
                    <a:pt x="1065" y="1"/>
                  </a:moveTo>
                  <a:cubicBezTo>
                    <a:pt x="480" y="1"/>
                    <a:pt x="0" y="472"/>
                    <a:pt x="0" y="1066"/>
                  </a:cubicBezTo>
                  <a:cubicBezTo>
                    <a:pt x="0" y="1709"/>
                    <a:pt x="525" y="2133"/>
                    <a:pt x="1074" y="2133"/>
                  </a:cubicBezTo>
                  <a:cubicBezTo>
                    <a:pt x="1336" y="2133"/>
                    <a:pt x="1603" y="2037"/>
                    <a:pt x="1821" y="1822"/>
                  </a:cubicBezTo>
                  <a:cubicBezTo>
                    <a:pt x="2488" y="1147"/>
                    <a:pt x="2016" y="1"/>
                    <a:pt x="1065"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459" name="Google Shape;2459;p104"/>
            <p:cNvSpPr/>
            <p:nvPr/>
          </p:nvSpPr>
          <p:spPr>
            <a:xfrm>
              <a:off x="4504050" y="1952050"/>
              <a:ext cx="62200" cy="53450"/>
            </a:xfrm>
            <a:custGeom>
              <a:avLst/>
              <a:gdLst/>
              <a:ahLst/>
              <a:cxnLst/>
              <a:rect l="l" t="t" r="r" b="b"/>
              <a:pathLst>
                <a:path w="2488" h="2138" extrusionOk="0">
                  <a:moveTo>
                    <a:pt x="1065" y="1"/>
                  </a:moveTo>
                  <a:cubicBezTo>
                    <a:pt x="480" y="9"/>
                    <a:pt x="0" y="481"/>
                    <a:pt x="0" y="1074"/>
                  </a:cubicBezTo>
                  <a:cubicBezTo>
                    <a:pt x="0" y="1712"/>
                    <a:pt x="525" y="2138"/>
                    <a:pt x="1073" y="2138"/>
                  </a:cubicBezTo>
                  <a:cubicBezTo>
                    <a:pt x="1335" y="2138"/>
                    <a:pt x="1603" y="2040"/>
                    <a:pt x="1821" y="1822"/>
                  </a:cubicBezTo>
                  <a:cubicBezTo>
                    <a:pt x="2488" y="1155"/>
                    <a:pt x="2016" y="1"/>
                    <a:pt x="1065"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460" name="Google Shape;2460;p104"/>
            <p:cNvSpPr/>
            <p:nvPr/>
          </p:nvSpPr>
          <p:spPr>
            <a:xfrm>
              <a:off x="4504050" y="2028275"/>
              <a:ext cx="62200" cy="53450"/>
            </a:xfrm>
            <a:custGeom>
              <a:avLst/>
              <a:gdLst/>
              <a:ahLst/>
              <a:cxnLst/>
              <a:rect l="l" t="t" r="r" b="b"/>
              <a:pathLst>
                <a:path w="2488" h="2138" extrusionOk="0">
                  <a:moveTo>
                    <a:pt x="1065" y="1"/>
                  </a:moveTo>
                  <a:cubicBezTo>
                    <a:pt x="480" y="1"/>
                    <a:pt x="0" y="480"/>
                    <a:pt x="0" y="1065"/>
                  </a:cubicBezTo>
                  <a:cubicBezTo>
                    <a:pt x="0" y="1709"/>
                    <a:pt x="525" y="2137"/>
                    <a:pt x="1074" y="2137"/>
                  </a:cubicBezTo>
                  <a:cubicBezTo>
                    <a:pt x="1336" y="2137"/>
                    <a:pt x="1603" y="2040"/>
                    <a:pt x="1821" y="1821"/>
                  </a:cubicBezTo>
                  <a:cubicBezTo>
                    <a:pt x="2488" y="1147"/>
                    <a:pt x="2016" y="1"/>
                    <a:pt x="1065"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461" name="Google Shape;2461;p104"/>
            <p:cNvSpPr/>
            <p:nvPr/>
          </p:nvSpPr>
          <p:spPr>
            <a:xfrm>
              <a:off x="4504050" y="2104500"/>
              <a:ext cx="62200" cy="53325"/>
            </a:xfrm>
            <a:custGeom>
              <a:avLst/>
              <a:gdLst/>
              <a:ahLst/>
              <a:cxnLst/>
              <a:rect l="l" t="t" r="r" b="b"/>
              <a:pathLst>
                <a:path w="2488" h="2133"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462" name="Google Shape;2462;p104"/>
            <p:cNvSpPr/>
            <p:nvPr/>
          </p:nvSpPr>
          <p:spPr>
            <a:xfrm>
              <a:off x="4504050" y="2180700"/>
              <a:ext cx="62200" cy="53350"/>
            </a:xfrm>
            <a:custGeom>
              <a:avLst/>
              <a:gdLst/>
              <a:ahLst/>
              <a:cxnLst/>
              <a:rect l="l" t="t" r="r" b="b"/>
              <a:pathLst>
                <a:path w="2488" h="2134" extrusionOk="0">
                  <a:moveTo>
                    <a:pt x="1065" y="1"/>
                  </a:moveTo>
                  <a:cubicBezTo>
                    <a:pt x="480" y="1"/>
                    <a:pt x="0" y="480"/>
                    <a:pt x="0" y="1066"/>
                  </a:cubicBezTo>
                  <a:cubicBezTo>
                    <a:pt x="0" y="1709"/>
                    <a:pt x="525" y="2133"/>
                    <a:pt x="1074" y="2133"/>
                  </a:cubicBezTo>
                  <a:cubicBezTo>
                    <a:pt x="1336" y="2133"/>
                    <a:pt x="1603" y="2037"/>
                    <a:pt x="1821" y="1822"/>
                  </a:cubicBezTo>
                  <a:cubicBezTo>
                    <a:pt x="2488" y="1147"/>
                    <a:pt x="2016" y="1"/>
                    <a:pt x="1065"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463" name="Google Shape;2463;p104"/>
            <p:cNvSpPr/>
            <p:nvPr/>
          </p:nvSpPr>
          <p:spPr>
            <a:xfrm>
              <a:off x="4504050" y="2256925"/>
              <a:ext cx="62350" cy="53425"/>
            </a:xfrm>
            <a:custGeom>
              <a:avLst/>
              <a:gdLst/>
              <a:ahLst/>
              <a:cxnLst/>
              <a:rect l="l" t="t" r="r" b="b"/>
              <a:pathLst>
                <a:path w="2494" h="2137" extrusionOk="0">
                  <a:moveTo>
                    <a:pt x="1075" y="0"/>
                  </a:moveTo>
                  <a:cubicBezTo>
                    <a:pt x="1072" y="0"/>
                    <a:pt x="1068" y="0"/>
                    <a:pt x="1065" y="0"/>
                  </a:cubicBezTo>
                  <a:cubicBezTo>
                    <a:pt x="480" y="0"/>
                    <a:pt x="0" y="480"/>
                    <a:pt x="0" y="1065"/>
                  </a:cubicBezTo>
                  <a:cubicBezTo>
                    <a:pt x="0" y="1709"/>
                    <a:pt x="529" y="2137"/>
                    <a:pt x="1080" y="2137"/>
                  </a:cubicBezTo>
                  <a:cubicBezTo>
                    <a:pt x="1343" y="2137"/>
                    <a:pt x="1611" y="2039"/>
                    <a:pt x="1829" y="1821"/>
                  </a:cubicBezTo>
                  <a:cubicBezTo>
                    <a:pt x="2493" y="1149"/>
                    <a:pt x="2020" y="0"/>
                    <a:pt x="1075"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464" name="Google Shape;2464;p104"/>
            <p:cNvSpPr/>
            <p:nvPr/>
          </p:nvSpPr>
          <p:spPr>
            <a:xfrm>
              <a:off x="4504050" y="2333125"/>
              <a:ext cx="62200" cy="53450"/>
            </a:xfrm>
            <a:custGeom>
              <a:avLst/>
              <a:gdLst/>
              <a:ahLst/>
              <a:cxnLst/>
              <a:rect l="l" t="t" r="r" b="b"/>
              <a:pathLst>
                <a:path w="2488" h="2138" extrusionOk="0">
                  <a:moveTo>
                    <a:pt x="1065" y="1"/>
                  </a:moveTo>
                  <a:cubicBezTo>
                    <a:pt x="480" y="1"/>
                    <a:pt x="0" y="480"/>
                    <a:pt x="0" y="1066"/>
                  </a:cubicBezTo>
                  <a:cubicBezTo>
                    <a:pt x="0" y="1709"/>
                    <a:pt x="525" y="2137"/>
                    <a:pt x="1074" y="2137"/>
                  </a:cubicBezTo>
                  <a:cubicBezTo>
                    <a:pt x="1336" y="2137"/>
                    <a:pt x="1603" y="2040"/>
                    <a:pt x="1821" y="1822"/>
                  </a:cubicBezTo>
                  <a:cubicBezTo>
                    <a:pt x="2488" y="1147"/>
                    <a:pt x="2016" y="1"/>
                    <a:pt x="1065"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465" name="Google Shape;2465;p104"/>
            <p:cNvSpPr/>
            <p:nvPr/>
          </p:nvSpPr>
          <p:spPr>
            <a:xfrm>
              <a:off x="4504050" y="2409350"/>
              <a:ext cx="62200" cy="53350"/>
            </a:xfrm>
            <a:custGeom>
              <a:avLst/>
              <a:gdLst/>
              <a:ahLst/>
              <a:cxnLst/>
              <a:rect l="l" t="t" r="r" b="b"/>
              <a:pathLst>
                <a:path w="2488" h="2134"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466" name="Google Shape;2466;p104"/>
            <p:cNvSpPr/>
            <p:nvPr/>
          </p:nvSpPr>
          <p:spPr>
            <a:xfrm>
              <a:off x="4580250" y="1571400"/>
              <a:ext cx="62225" cy="53250"/>
            </a:xfrm>
            <a:custGeom>
              <a:avLst/>
              <a:gdLst/>
              <a:ahLst/>
              <a:cxnLst/>
              <a:rect l="l" t="t" r="r" b="b"/>
              <a:pathLst>
                <a:path w="2489" h="2130" extrusionOk="0">
                  <a:moveTo>
                    <a:pt x="1066" y="1"/>
                  </a:moveTo>
                  <a:cubicBezTo>
                    <a:pt x="480" y="1"/>
                    <a:pt x="1" y="472"/>
                    <a:pt x="1" y="1066"/>
                  </a:cubicBezTo>
                  <a:cubicBezTo>
                    <a:pt x="1" y="1703"/>
                    <a:pt x="525" y="2129"/>
                    <a:pt x="1073" y="2129"/>
                  </a:cubicBezTo>
                  <a:cubicBezTo>
                    <a:pt x="1336" y="2129"/>
                    <a:pt x="1603" y="2032"/>
                    <a:pt x="1822" y="1813"/>
                  </a:cubicBezTo>
                  <a:cubicBezTo>
                    <a:pt x="2488" y="1147"/>
                    <a:pt x="2017" y="1"/>
                    <a:pt x="1066"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467" name="Google Shape;2467;p104"/>
            <p:cNvSpPr/>
            <p:nvPr/>
          </p:nvSpPr>
          <p:spPr>
            <a:xfrm>
              <a:off x="4580250" y="1647400"/>
              <a:ext cx="62225" cy="53450"/>
            </a:xfrm>
            <a:custGeom>
              <a:avLst/>
              <a:gdLst/>
              <a:ahLst/>
              <a:cxnLst/>
              <a:rect l="l" t="t" r="r" b="b"/>
              <a:pathLst>
                <a:path w="2489" h="2138" extrusionOk="0">
                  <a:moveTo>
                    <a:pt x="1066" y="1"/>
                  </a:moveTo>
                  <a:cubicBezTo>
                    <a:pt x="480" y="1"/>
                    <a:pt x="1" y="481"/>
                    <a:pt x="1" y="1066"/>
                  </a:cubicBezTo>
                  <a:cubicBezTo>
                    <a:pt x="1" y="1710"/>
                    <a:pt x="526" y="2138"/>
                    <a:pt x="1074" y="2138"/>
                  </a:cubicBezTo>
                  <a:cubicBezTo>
                    <a:pt x="1336" y="2138"/>
                    <a:pt x="1604" y="2040"/>
                    <a:pt x="1822" y="1822"/>
                  </a:cubicBezTo>
                  <a:cubicBezTo>
                    <a:pt x="2488" y="1147"/>
                    <a:pt x="2017" y="1"/>
                    <a:pt x="1066"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468" name="Google Shape;2468;p104"/>
            <p:cNvSpPr/>
            <p:nvPr/>
          </p:nvSpPr>
          <p:spPr>
            <a:xfrm>
              <a:off x="4580250" y="1723625"/>
              <a:ext cx="62225" cy="53350"/>
            </a:xfrm>
            <a:custGeom>
              <a:avLst/>
              <a:gdLst/>
              <a:ahLst/>
              <a:cxnLst/>
              <a:rect l="l" t="t" r="r" b="b"/>
              <a:pathLst>
                <a:path w="2489" h="2134" extrusionOk="0">
                  <a:moveTo>
                    <a:pt x="1066" y="1"/>
                  </a:moveTo>
                  <a:cubicBezTo>
                    <a:pt x="480" y="1"/>
                    <a:pt x="1" y="480"/>
                    <a:pt x="1" y="1065"/>
                  </a:cubicBezTo>
                  <a:cubicBezTo>
                    <a:pt x="1" y="1709"/>
                    <a:pt x="526" y="2133"/>
                    <a:pt x="1075" y="2133"/>
                  </a:cubicBezTo>
                  <a:cubicBezTo>
                    <a:pt x="1336" y="2133"/>
                    <a:pt x="1604" y="2037"/>
                    <a:pt x="1822" y="1822"/>
                  </a:cubicBezTo>
                  <a:cubicBezTo>
                    <a:pt x="2488" y="1147"/>
                    <a:pt x="2017" y="1"/>
                    <a:pt x="1066"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469" name="Google Shape;2469;p104"/>
            <p:cNvSpPr/>
            <p:nvPr/>
          </p:nvSpPr>
          <p:spPr>
            <a:xfrm>
              <a:off x="4580250" y="1799850"/>
              <a:ext cx="62225" cy="53325"/>
            </a:xfrm>
            <a:custGeom>
              <a:avLst/>
              <a:gdLst/>
              <a:ahLst/>
              <a:cxnLst/>
              <a:rect l="l" t="t" r="r" b="b"/>
              <a:pathLst>
                <a:path w="2489" h="2133" extrusionOk="0">
                  <a:moveTo>
                    <a:pt x="1066" y="0"/>
                  </a:moveTo>
                  <a:cubicBezTo>
                    <a:pt x="480" y="0"/>
                    <a:pt x="1" y="480"/>
                    <a:pt x="1" y="1065"/>
                  </a:cubicBezTo>
                  <a:cubicBezTo>
                    <a:pt x="1" y="1709"/>
                    <a:pt x="526" y="2133"/>
                    <a:pt x="1075" y="2133"/>
                  </a:cubicBezTo>
                  <a:cubicBezTo>
                    <a:pt x="1336" y="2133"/>
                    <a:pt x="1604" y="2036"/>
                    <a:pt x="1822" y="1821"/>
                  </a:cubicBezTo>
                  <a:cubicBezTo>
                    <a:pt x="2488" y="1146"/>
                    <a:pt x="2017" y="0"/>
                    <a:pt x="1066"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470" name="Google Shape;2470;p104"/>
            <p:cNvSpPr/>
            <p:nvPr/>
          </p:nvSpPr>
          <p:spPr>
            <a:xfrm>
              <a:off x="4580250" y="1876050"/>
              <a:ext cx="62225" cy="53275"/>
            </a:xfrm>
            <a:custGeom>
              <a:avLst/>
              <a:gdLst/>
              <a:ahLst/>
              <a:cxnLst/>
              <a:rect l="l" t="t" r="r" b="b"/>
              <a:pathLst>
                <a:path w="2489" h="2131" extrusionOk="0">
                  <a:moveTo>
                    <a:pt x="1066" y="1"/>
                  </a:moveTo>
                  <a:cubicBezTo>
                    <a:pt x="480" y="1"/>
                    <a:pt x="1" y="472"/>
                    <a:pt x="1" y="1066"/>
                  </a:cubicBezTo>
                  <a:cubicBezTo>
                    <a:pt x="1" y="1707"/>
                    <a:pt x="523" y="2131"/>
                    <a:pt x="1070" y="2131"/>
                  </a:cubicBezTo>
                  <a:cubicBezTo>
                    <a:pt x="1333" y="2131"/>
                    <a:pt x="1602" y="2033"/>
                    <a:pt x="1822" y="1813"/>
                  </a:cubicBezTo>
                  <a:cubicBezTo>
                    <a:pt x="2488" y="1147"/>
                    <a:pt x="2017" y="1"/>
                    <a:pt x="1066"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471" name="Google Shape;2471;p104"/>
            <p:cNvSpPr/>
            <p:nvPr/>
          </p:nvSpPr>
          <p:spPr>
            <a:xfrm>
              <a:off x="4580250" y="1952050"/>
              <a:ext cx="62225" cy="53450"/>
            </a:xfrm>
            <a:custGeom>
              <a:avLst/>
              <a:gdLst/>
              <a:ahLst/>
              <a:cxnLst/>
              <a:rect l="l" t="t" r="r" b="b"/>
              <a:pathLst>
                <a:path w="2489" h="2138" extrusionOk="0">
                  <a:moveTo>
                    <a:pt x="1066" y="1"/>
                  </a:moveTo>
                  <a:cubicBezTo>
                    <a:pt x="480" y="9"/>
                    <a:pt x="1" y="481"/>
                    <a:pt x="1" y="1074"/>
                  </a:cubicBezTo>
                  <a:cubicBezTo>
                    <a:pt x="1" y="1712"/>
                    <a:pt x="525" y="2138"/>
                    <a:pt x="1073" y="2138"/>
                  </a:cubicBezTo>
                  <a:cubicBezTo>
                    <a:pt x="1336" y="2138"/>
                    <a:pt x="1603" y="2040"/>
                    <a:pt x="1822" y="1822"/>
                  </a:cubicBezTo>
                  <a:cubicBezTo>
                    <a:pt x="2488" y="1155"/>
                    <a:pt x="2017" y="1"/>
                    <a:pt x="1066"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472" name="Google Shape;2472;p104"/>
            <p:cNvSpPr/>
            <p:nvPr/>
          </p:nvSpPr>
          <p:spPr>
            <a:xfrm>
              <a:off x="4580250" y="2028275"/>
              <a:ext cx="62225" cy="53450"/>
            </a:xfrm>
            <a:custGeom>
              <a:avLst/>
              <a:gdLst/>
              <a:ahLst/>
              <a:cxnLst/>
              <a:rect l="l" t="t" r="r" b="b"/>
              <a:pathLst>
                <a:path w="2489" h="2138" extrusionOk="0">
                  <a:moveTo>
                    <a:pt x="1066" y="1"/>
                  </a:moveTo>
                  <a:cubicBezTo>
                    <a:pt x="480" y="1"/>
                    <a:pt x="1" y="480"/>
                    <a:pt x="1" y="1065"/>
                  </a:cubicBezTo>
                  <a:cubicBezTo>
                    <a:pt x="1" y="1709"/>
                    <a:pt x="526" y="2137"/>
                    <a:pt x="1074" y="2137"/>
                  </a:cubicBezTo>
                  <a:cubicBezTo>
                    <a:pt x="1336" y="2137"/>
                    <a:pt x="1604" y="2040"/>
                    <a:pt x="1822" y="1821"/>
                  </a:cubicBezTo>
                  <a:cubicBezTo>
                    <a:pt x="2488" y="1147"/>
                    <a:pt x="2017" y="1"/>
                    <a:pt x="1066"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473" name="Google Shape;2473;p104"/>
            <p:cNvSpPr/>
            <p:nvPr/>
          </p:nvSpPr>
          <p:spPr>
            <a:xfrm>
              <a:off x="4580250" y="2104500"/>
              <a:ext cx="62225" cy="53325"/>
            </a:xfrm>
            <a:custGeom>
              <a:avLst/>
              <a:gdLst/>
              <a:ahLst/>
              <a:cxnLst/>
              <a:rect l="l" t="t" r="r" b="b"/>
              <a:pathLst>
                <a:path w="2489" h="2133" extrusionOk="0">
                  <a:moveTo>
                    <a:pt x="1066" y="0"/>
                  </a:moveTo>
                  <a:cubicBezTo>
                    <a:pt x="480" y="0"/>
                    <a:pt x="1" y="480"/>
                    <a:pt x="1" y="1065"/>
                  </a:cubicBezTo>
                  <a:cubicBezTo>
                    <a:pt x="1" y="1709"/>
                    <a:pt x="526" y="2133"/>
                    <a:pt x="1075" y="2133"/>
                  </a:cubicBezTo>
                  <a:cubicBezTo>
                    <a:pt x="1336" y="2133"/>
                    <a:pt x="1604" y="2036"/>
                    <a:pt x="1822" y="1821"/>
                  </a:cubicBezTo>
                  <a:cubicBezTo>
                    <a:pt x="2488" y="1146"/>
                    <a:pt x="2017" y="0"/>
                    <a:pt x="1066"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474" name="Google Shape;2474;p104"/>
            <p:cNvSpPr/>
            <p:nvPr/>
          </p:nvSpPr>
          <p:spPr>
            <a:xfrm>
              <a:off x="4580250" y="2180700"/>
              <a:ext cx="62225" cy="53350"/>
            </a:xfrm>
            <a:custGeom>
              <a:avLst/>
              <a:gdLst/>
              <a:ahLst/>
              <a:cxnLst/>
              <a:rect l="l" t="t" r="r" b="b"/>
              <a:pathLst>
                <a:path w="2489" h="2134" extrusionOk="0">
                  <a:moveTo>
                    <a:pt x="1066" y="1"/>
                  </a:moveTo>
                  <a:cubicBezTo>
                    <a:pt x="480" y="1"/>
                    <a:pt x="1" y="480"/>
                    <a:pt x="1" y="1066"/>
                  </a:cubicBezTo>
                  <a:cubicBezTo>
                    <a:pt x="1" y="1709"/>
                    <a:pt x="526" y="2133"/>
                    <a:pt x="1075" y="2133"/>
                  </a:cubicBezTo>
                  <a:cubicBezTo>
                    <a:pt x="1336" y="2133"/>
                    <a:pt x="1604" y="2037"/>
                    <a:pt x="1822" y="1822"/>
                  </a:cubicBezTo>
                  <a:cubicBezTo>
                    <a:pt x="2488" y="1147"/>
                    <a:pt x="2017" y="1"/>
                    <a:pt x="1066"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475" name="Google Shape;2475;p104"/>
            <p:cNvSpPr/>
            <p:nvPr/>
          </p:nvSpPr>
          <p:spPr>
            <a:xfrm>
              <a:off x="4580250" y="2256925"/>
              <a:ext cx="62350" cy="53425"/>
            </a:xfrm>
            <a:custGeom>
              <a:avLst/>
              <a:gdLst/>
              <a:ahLst/>
              <a:cxnLst/>
              <a:rect l="l" t="t" r="r" b="b"/>
              <a:pathLst>
                <a:path w="2494" h="2137" extrusionOk="0">
                  <a:moveTo>
                    <a:pt x="1076" y="0"/>
                  </a:moveTo>
                  <a:cubicBezTo>
                    <a:pt x="1072" y="0"/>
                    <a:pt x="1069" y="0"/>
                    <a:pt x="1066" y="0"/>
                  </a:cubicBezTo>
                  <a:cubicBezTo>
                    <a:pt x="480" y="0"/>
                    <a:pt x="1" y="480"/>
                    <a:pt x="1" y="1065"/>
                  </a:cubicBezTo>
                  <a:cubicBezTo>
                    <a:pt x="1" y="1709"/>
                    <a:pt x="529" y="2137"/>
                    <a:pt x="1078" y="2137"/>
                  </a:cubicBezTo>
                  <a:cubicBezTo>
                    <a:pt x="1340" y="2137"/>
                    <a:pt x="1606" y="2039"/>
                    <a:pt x="1822" y="1821"/>
                  </a:cubicBezTo>
                  <a:cubicBezTo>
                    <a:pt x="2494" y="1149"/>
                    <a:pt x="2020" y="0"/>
                    <a:pt x="1076"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476" name="Google Shape;2476;p104"/>
            <p:cNvSpPr/>
            <p:nvPr/>
          </p:nvSpPr>
          <p:spPr>
            <a:xfrm>
              <a:off x="4580250" y="2333125"/>
              <a:ext cx="62225" cy="53450"/>
            </a:xfrm>
            <a:custGeom>
              <a:avLst/>
              <a:gdLst/>
              <a:ahLst/>
              <a:cxnLst/>
              <a:rect l="l" t="t" r="r" b="b"/>
              <a:pathLst>
                <a:path w="2489" h="2138" extrusionOk="0">
                  <a:moveTo>
                    <a:pt x="1066" y="1"/>
                  </a:moveTo>
                  <a:cubicBezTo>
                    <a:pt x="480" y="1"/>
                    <a:pt x="1" y="480"/>
                    <a:pt x="1" y="1066"/>
                  </a:cubicBezTo>
                  <a:cubicBezTo>
                    <a:pt x="1" y="1709"/>
                    <a:pt x="526" y="2137"/>
                    <a:pt x="1074" y="2137"/>
                  </a:cubicBezTo>
                  <a:cubicBezTo>
                    <a:pt x="1336" y="2137"/>
                    <a:pt x="1604" y="2040"/>
                    <a:pt x="1822" y="1822"/>
                  </a:cubicBezTo>
                  <a:cubicBezTo>
                    <a:pt x="2488" y="1147"/>
                    <a:pt x="2017" y="1"/>
                    <a:pt x="1066"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477" name="Google Shape;2477;p104"/>
            <p:cNvSpPr/>
            <p:nvPr/>
          </p:nvSpPr>
          <p:spPr>
            <a:xfrm>
              <a:off x="4580250" y="2409350"/>
              <a:ext cx="62225" cy="53350"/>
            </a:xfrm>
            <a:custGeom>
              <a:avLst/>
              <a:gdLst/>
              <a:ahLst/>
              <a:cxnLst/>
              <a:rect l="l" t="t" r="r" b="b"/>
              <a:pathLst>
                <a:path w="2489" h="2134" extrusionOk="0">
                  <a:moveTo>
                    <a:pt x="1066" y="0"/>
                  </a:moveTo>
                  <a:cubicBezTo>
                    <a:pt x="480" y="0"/>
                    <a:pt x="1" y="480"/>
                    <a:pt x="1" y="1065"/>
                  </a:cubicBezTo>
                  <a:cubicBezTo>
                    <a:pt x="1" y="1709"/>
                    <a:pt x="526" y="2133"/>
                    <a:pt x="1075" y="2133"/>
                  </a:cubicBezTo>
                  <a:cubicBezTo>
                    <a:pt x="1336" y="2133"/>
                    <a:pt x="1604" y="2036"/>
                    <a:pt x="1822" y="1821"/>
                  </a:cubicBezTo>
                  <a:cubicBezTo>
                    <a:pt x="2488" y="1146"/>
                    <a:pt x="2017" y="0"/>
                    <a:pt x="1066"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478" name="Google Shape;2478;p104"/>
            <p:cNvSpPr/>
            <p:nvPr/>
          </p:nvSpPr>
          <p:spPr>
            <a:xfrm>
              <a:off x="4656475" y="1571400"/>
              <a:ext cx="62200" cy="53250"/>
            </a:xfrm>
            <a:custGeom>
              <a:avLst/>
              <a:gdLst/>
              <a:ahLst/>
              <a:cxnLst/>
              <a:rect l="l" t="t" r="r" b="b"/>
              <a:pathLst>
                <a:path w="2488" h="2130" extrusionOk="0">
                  <a:moveTo>
                    <a:pt x="1065" y="1"/>
                  </a:moveTo>
                  <a:cubicBezTo>
                    <a:pt x="472" y="1"/>
                    <a:pt x="0" y="472"/>
                    <a:pt x="0" y="1066"/>
                  </a:cubicBezTo>
                  <a:cubicBezTo>
                    <a:pt x="0" y="1703"/>
                    <a:pt x="525" y="2129"/>
                    <a:pt x="1070" y="2129"/>
                  </a:cubicBezTo>
                  <a:cubicBezTo>
                    <a:pt x="1331" y="2129"/>
                    <a:pt x="1597" y="2032"/>
                    <a:pt x="1813" y="1813"/>
                  </a:cubicBezTo>
                  <a:cubicBezTo>
                    <a:pt x="2488" y="1147"/>
                    <a:pt x="2016" y="1"/>
                    <a:pt x="1065"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479" name="Google Shape;2479;p104"/>
            <p:cNvSpPr/>
            <p:nvPr/>
          </p:nvSpPr>
          <p:spPr>
            <a:xfrm>
              <a:off x="4656475" y="1647400"/>
              <a:ext cx="62200" cy="53450"/>
            </a:xfrm>
            <a:custGeom>
              <a:avLst/>
              <a:gdLst/>
              <a:ahLst/>
              <a:cxnLst/>
              <a:rect l="l" t="t" r="r" b="b"/>
              <a:pathLst>
                <a:path w="2488" h="2138" extrusionOk="0">
                  <a:moveTo>
                    <a:pt x="1065" y="1"/>
                  </a:moveTo>
                  <a:cubicBezTo>
                    <a:pt x="472" y="9"/>
                    <a:pt x="0" y="481"/>
                    <a:pt x="0" y="1066"/>
                  </a:cubicBezTo>
                  <a:cubicBezTo>
                    <a:pt x="0" y="1710"/>
                    <a:pt x="525" y="2138"/>
                    <a:pt x="1071" y="2138"/>
                  </a:cubicBezTo>
                  <a:cubicBezTo>
                    <a:pt x="1332" y="2138"/>
                    <a:pt x="1598" y="2040"/>
                    <a:pt x="1813" y="1822"/>
                  </a:cubicBezTo>
                  <a:cubicBezTo>
                    <a:pt x="2488" y="1147"/>
                    <a:pt x="2016" y="1"/>
                    <a:pt x="1065"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480" name="Google Shape;2480;p104"/>
            <p:cNvSpPr/>
            <p:nvPr/>
          </p:nvSpPr>
          <p:spPr>
            <a:xfrm>
              <a:off x="4656475" y="1723625"/>
              <a:ext cx="62200" cy="53350"/>
            </a:xfrm>
            <a:custGeom>
              <a:avLst/>
              <a:gdLst/>
              <a:ahLst/>
              <a:cxnLst/>
              <a:rect l="l" t="t" r="r" b="b"/>
              <a:pathLst>
                <a:path w="2488" h="2134" extrusionOk="0">
                  <a:moveTo>
                    <a:pt x="1065" y="1"/>
                  </a:moveTo>
                  <a:cubicBezTo>
                    <a:pt x="472" y="1"/>
                    <a:pt x="0" y="480"/>
                    <a:pt x="0" y="1065"/>
                  </a:cubicBezTo>
                  <a:cubicBezTo>
                    <a:pt x="0" y="1709"/>
                    <a:pt x="525" y="2133"/>
                    <a:pt x="1072" y="2133"/>
                  </a:cubicBezTo>
                  <a:cubicBezTo>
                    <a:pt x="1332" y="2133"/>
                    <a:pt x="1598" y="2037"/>
                    <a:pt x="1813" y="1822"/>
                  </a:cubicBezTo>
                  <a:cubicBezTo>
                    <a:pt x="2488" y="1147"/>
                    <a:pt x="2016" y="1"/>
                    <a:pt x="1065"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481" name="Google Shape;2481;p104"/>
            <p:cNvSpPr/>
            <p:nvPr/>
          </p:nvSpPr>
          <p:spPr>
            <a:xfrm>
              <a:off x="4656475" y="1799850"/>
              <a:ext cx="62200" cy="53325"/>
            </a:xfrm>
            <a:custGeom>
              <a:avLst/>
              <a:gdLst/>
              <a:ahLst/>
              <a:cxnLst/>
              <a:rect l="l" t="t" r="r" b="b"/>
              <a:pathLst>
                <a:path w="2488" h="2133" extrusionOk="0">
                  <a:moveTo>
                    <a:pt x="1065" y="0"/>
                  </a:moveTo>
                  <a:cubicBezTo>
                    <a:pt x="472" y="0"/>
                    <a:pt x="0" y="480"/>
                    <a:pt x="0" y="1065"/>
                  </a:cubicBezTo>
                  <a:cubicBezTo>
                    <a:pt x="0" y="1709"/>
                    <a:pt x="525" y="2133"/>
                    <a:pt x="1072" y="2133"/>
                  </a:cubicBezTo>
                  <a:cubicBezTo>
                    <a:pt x="1332" y="2133"/>
                    <a:pt x="1598" y="2036"/>
                    <a:pt x="1813" y="1821"/>
                  </a:cubicBezTo>
                  <a:cubicBezTo>
                    <a:pt x="2488" y="1146"/>
                    <a:pt x="2016" y="0"/>
                    <a:pt x="1065"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482" name="Google Shape;2482;p104"/>
            <p:cNvSpPr/>
            <p:nvPr/>
          </p:nvSpPr>
          <p:spPr>
            <a:xfrm>
              <a:off x="4656475" y="1876050"/>
              <a:ext cx="62200" cy="53275"/>
            </a:xfrm>
            <a:custGeom>
              <a:avLst/>
              <a:gdLst/>
              <a:ahLst/>
              <a:cxnLst/>
              <a:rect l="l" t="t" r="r" b="b"/>
              <a:pathLst>
                <a:path w="2488" h="2131" extrusionOk="0">
                  <a:moveTo>
                    <a:pt x="1065" y="1"/>
                  </a:moveTo>
                  <a:cubicBezTo>
                    <a:pt x="472" y="1"/>
                    <a:pt x="0" y="472"/>
                    <a:pt x="0" y="1066"/>
                  </a:cubicBezTo>
                  <a:cubicBezTo>
                    <a:pt x="0" y="1707"/>
                    <a:pt x="522" y="2131"/>
                    <a:pt x="1067" y="2131"/>
                  </a:cubicBezTo>
                  <a:cubicBezTo>
                    <a:pt x="1329" y="2131"/>
                    <a:pt x="1596" y="2033"/>
                    <a:pt x="1813" y="1813"/>
                  </a:cubicBezTo>
                  <a:cubicBezTo>
                    <a:pt x="2488" y="1147"/>
                    <a:pt x="2016" y="1"/>
                    <a:pt x="1065"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483" name="Google Shape;2483;p104"/>
            <p:cNvSpPr/>
            <p:nvPr/>
          </p:nvSpPr>
          <p:spPr>
            <a:xfrm>
              <a:off x="4656475" y="1952050"/>
              <a:ext cx="62200" cy="53450"/>
            </a:xfrm>
            <a:custGeom>
              <a:avLst/>
              <a:gdLst/>
              <a:ahLst/>
              <a:cxnLst/>
              <a:rect l="l" t="t" r="r" b="b"/>
              <a:pathLst>
                <a:path w="2488" h="2138" extrusionOk="0">
                  <a:moveTo>
                    <a:pt x="1065" y="1"/>
                  </a:moveTo>
                  <a:cubicBezTo>
                    <a:pt x="472" y="9"/>
                    <a:pt x="0" y="481"/>
                    <a:pt x="0" y="1074"/>
                  </a:cubicBezTo>
                  <a:cubicBezTo>
                    <a:pt x="0" y="1712"/>
                    <a:pt x="525" y="2138"/>
                    <a:pt x="1070" y="2138"/>
                  </a:cubicBezTo>
                  <a:cubicBezTo>
                    <a:pt x="1331" y="2138"/>
                    <a:pt x="1597" y="2040"/>
                    <a:pt x="1813" y="1822"/>
                  </a:cubicBezTo>
                  <a:cubicBezTo>
                    <a:pt x="2488" y="1155"/>
                    <a:pt x="2016" y="1"/>
                    <a:pt x="1065"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484" name="Google Shape;2484;p104"/>
            <p:cNvSpPr/>
            <p:nvPr/>
          </p:nvSpPr>
          <p:spPr>
            <a:xfrm>
              <a:off x="4656475" y="2028275"/>
              <a:ext cx="62200" cy="53450"/>
            </a:xfrm>
            <a:custGeom>
              <a:avLst/>
              <a:gdLst/>
              <a:ahLst/>
              <a:cxnLst/>
              <a:rect l="l" t="t" r="r" b="b"/>
              <a:pathLst>
                <a:path w="2488" h="2138" extrusionOk="0">
                  <a:moveTo>
                    <a:pt x="1065" y="1"/>
                  </a:moveTo>
                  <a:cubicBezTo>
                    <a:pt x="472" y="1"/>
                    <a:pt x="0" y="480"/>
                    <a:pt x="0" y="1065"/>
                  </a:cubicBezTo>
                  <a:cubicBezTo>
                    <a:pt x="0" y="1709"/>
                    <a:pt x="525" y="2137"/>
                    <a:pt x="1071" y="2137"/>
                  </a:cubicBezTo>
                  <a:cubicBezTo>
                    <a:pt x="1332" y="2137"/>
                    <a:pt x="1598" y="2040"/>
                    <a:pt x="1813" y="1821"/>
                  </a:cubicBezTo>
                  <a:cubicBezTo>
                    <a:pt x="2488" y="1147"/>
                    <a:pt x="2016" y="1"/>
                    <a:pt x="1065"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485" name="Google Shape;2485;p104"/>
            <p:cNvSpPr/>
            <p:nvPr/>
          </p:nvSpPr>
          <p:spPr>
            <a:xfrm>
              <a:off x="4656475" y="2104500"/>
              <a:ext cx="62200" cy="53325"/>
            </a:xfrm>
            <a:custGeom>
              <a:avLst/>
              <a:gdLst/>
              <a:ahLst/>
              <a:cxnLst/>
              <a:rect l="l" t="t" r="r" b="b"/>
              <a:pathLst>
                <a:path w="2488" h="2133" extrusionOk="0">
                  <a:moveTo>
                    <a:pt x="1065" y="0"/>
                  </a:moveTo>
                  <a:cubicBezTo>
                    <a:pt x="472" y="0"/>
                    <a:pt x="0" y="480"/>
                    <a:pt x="0" y="1065"/>
                  </a:cubicBezTo>
                  <a:cubicBezTo>
                    <a:pt x="0" y="1709"/>
                    <a:pt x="525" y="2133"/>
                    <a:pt x="1072" y="2133"/>
                  </a:cubicBezTo>
                  <a:cubicBezTo>
                    <a:pt x="1332" y="2133"/>
                    <a:pt x="1598" y="2036"/>
                    <a:pt x="1813" y="1821"/>
                  </a:cubicBezTo>
                  <a:cubicBezTo>
                    <a:pt x="2488" y="1146"/>
                    <a:pt x="2016" y="0"/>
                    <a:pt x="1065"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486" name="Google Shape;2486;p104"/>
            <p:cNvSpPr/>
            <p:nvPr/>
          </p:nvSpPr>
          <p:spPr>
            <a:xfrm>
              <a:off x="4656475" y="2180700"/>
              <a:ext cx="62200" cy="53350"/>
            </a:xfrm>
            <a:custGeom>
              <a:avLst/>
              <a:gdLst/>
              <a:ahLst/>
              <a:cxnLst/>
              <a:rect l="l" t="t" r="r" b="b"/>
              <a:pathLst>
                <a:path w="2488" h="2134" extrusionOk="0">
                  <a:moveTo>
                    <a:pt x="1065" y="1"/>
                  </a:moveTo>
                  <a:cubicBezTo>
                    <a:pt x="472" y="1"/>
                    <a:pt x="0" y="480"/>
                    <a:pt x="0" y="1066"/>
                  </a:cubicBezTo>
                  <a:cubicBezTo>
                    <a:pt x="0" y="1709"/>
                    <a:pt x="525" y="2133"/>
                    <a:pt x="1072" y="2133"/>
                  </a:cubicBezTo>
                  <a:cubicBezTo>
                    <a:pt x="1332" y="2133"/>
                    <a:pt x="1598" y="2037"/>
                    <a:pt x="1813" y="1822"/>
                  </a:cubicBezTo>
                  <a:cubicBezTo>
                    <a:pt x="2488" y="1147"/>
                    <a:pt x="2016" y="1"/>
                    <a:pt x="1065"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487" name="Google Shape;2487;p104"/>
            <p:cNvSpPr/>
            <p:nvPr/>
          </p:nvSpPr>
          <p:spPr>
            <a:xfrm>
              <a:off x="4656475" y="2256925"/>
              <a:ext cx="62350" cy="53425"/>
            </a:xfrm>
            <a:custGeom>
              <a:avLst/>
              <a:gdLst/>
              <a:ahLst/>
              <a:cxnLst/>
              <a:rect l="l" t="t" r="r" b="b"/>
              <a:pathLst>
                <a:path w="2494" h="2137" extrusionOk="0">
                  <a:moveTo>
                    <a:pt x="1075" y="0"/>
                  </a:moveTo>
                  <a:cubicBezTo>
                    <a:pt x="1072" y="0"/>
                    <a:pt x="1068" y="0"/>
                    <a:pt x="1065" y="0"/>
                  </a:cubicBezTo>
                  <a:cubicBezTo>
                    <a:pt x="472" y="0"/>
                    <a:pt x="0" y="480"/>
                    <a:pt x="0" y="1065"/>
                  </a:cubicBezTo>
                  <a:cubicBezTo>
                    <a:pt x="0" y="1709"/>
                    <a:pt x="525" y="2137"/>
                    <a:pt x="1074" y="2137"/>
                  </a:cubicBezTo>
                  <a:cubicBezTo>
                    <a:pt x="1336" y="2137"/>
                    <a:pt x="1603" y="2039"/>
                    <a:pt x="1821" y="1821"/>
                  </a:cubicBezTo>
                  <a:cubicBezTo>
                    <a:pt x="2494" y="1149"/>
                    <a:pt x="2020" y="0"/>
                    <a:pt x="1075"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488" name="Google Shape;2488;p104"/>
            <p:cNvSpPr/>
            <p:nvPr/>
          </p:nvSpPr>
          <p:spPr>
            <a:xfrm>
              <a:off x="4656475" y="2333125"/>
              <a:ext cx="62200" cy="53450"/>
            </a:xfrm>
            <a:custGeom>
              <a:avLst/>
              <a:gdLst/>
              <a:ahLst/>
              <a:cxnLst/>
              <a:rect l="l" t="t" r="r" b="b"/>
              <a:pathLst>
                <a:path w="2488" h="2138" extrusionOk="0">
                  <a:moveTo>
                    <a:pt x="1065" y="1"/>
                  </a:moveTo>
                  <a:cubicBezTo>
                    <a:pt x="472" y="1"/>
                    <a:pt x="0" y="480"/>
                    <a:pt x="0" y="1066"/>
                  </a:cubicBezTo>
                  <a:cubicBezTo>
                    <a:pt x="0" y="1709"/>
                    <a:pt x="525" y="2137"/>
                    <a:pt x="1071" y="2137"/>
                  </a:cubicBezTo>
                  <a:cubicBezTo>
                    <a:pt x="1332" y="2137"/>
                    <a:pt x="1598" y="2040"/>
                    <a:pt x="1813" y="1822"/>
                  </a:cubicBezTo>
                  <a:cubicBezTo>
                    <a:pt x="2488" y="1147"/>
                    <a:pt x="2016" y="1"/>
                    <a:pt x="1065"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489" name="Google Shape;2489;p104"/>
            <p:cNvSpPr/>
            <p:nvPr/>
          </p:nvSpPr>
          <p:spPr>
            <a:xfrm>
              <a:off x="4656475" y="2409350"/>
              <a:ext cx="62200" cy="53350"/>
            </a:xfrm>
            <a:custGeom>
              <a:avLst/>
              <a:gdLst/>
              <a:ahLst/>
              <a:cxnLst/>
              <a:rect l="l" t="t" r="r" b="b"/>
              <a:pathLst>
                <a:path w="2488" h="2134" extrusionOk="0">
                  <a:moveTo>
                    <a:pt x="1065" y="0"/>
                  </a:moveTo>
                  <a:cubicBezTo>
                    <a:pt x="472" y="0"/>
                    <a:pt x="0" y="480"/>
                    <a:pt x="0" y="1065"/>
                  </a:cubicBezTo>
                  <a:cubicBezTo>
                    <a:pt x="0" y="1709"/>
                    <a:pt x="525" y="2133"/>
                    <a:pt x="1072" y="2133"/>
                  </a:cubicBezTo>
                  <a:cubicBezTo>
                    <a:pt x="1332" y="2133"/>
                    <a:pt x="1598" y="2036"/>
                    <a:pt x="1813" y="1821"/>
                  </a:cubicBezTo>
                  <a:cubicBezTo>
                    <a:pt x="2488" y="1146"/>
                    <a:pt x="2016" y="0"/>
                    <a:pt x="1065"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490" name="Google Shape;2490;p104"/>
            <p:cNvSpPr/>
            <p:nvPr/>
          </p:nvSpPr>
          <p:spPr>
            <a:xfrm>
              <a:off x="4732475" y="2409350"/>
              <a:ext cx="62425" cy="53350"/>
            </a:xfrm>
            <a:custGeom>
              <a:avLst/>
              <a:gdLst/>
              <a:ahLst/>
              <a:cxnLst/>
              <a:rect l="l" t="t" r="r" b="b"/>
              <a:pathLst>
                <a:path w="2497" h="2134" extrusionOk="0">
                  <a:moveTo>
                    <a:pt x="1074" y="0"/>
                  </a:moveTo>
                  <a:cubicBezTo>
                    <a:pt x="480" y="0"/>
                    <a:pt x="9" y="480"/>
                    <a:pt x="1" y="1065"/>
                  </a:cubicBezTo>
                  <a:cubicBezTo>
                    <a:pt x="1" y="1709"/>
                    <a:pt x="526" y="2133"/>
                    <a:pt x="1075" y="2133"/>
                  </a:cubicBezTo>
                  <a:cubicBezTo>
                    <a:pt x="1336" y="2133"/>
                    <a:pt x="1604" y="2036"/>
                    <a:pt x="1822" y="1821"/>
                  </a:cubicBezTo>
                  <a:cubicBezTo>
                    <a:pt x="2496" y="1146"/>
                    <a:pt x="2017" y="0"/>
                    <a:pt x="1074"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491" name="Google Shape;2491;p104"/>
            <p:cNvSpPr/>
            <p:nvPr/>
          </p:nvSpPr>
          <p:spPr>
            <a:xfrm>
              <a:off x="4732475" y="2485550"/>
              <a:ext cx="62425" cy="53300"/>
            </a:xfrm>
            <a:custGeom>
              <a:avLst/>
              <a:gdLst/>
              <a:ahLst/>
              <a:cxnLst/>
              <a:rect l="l" t="t" r="r" b="b"/>
              <a:pathLst>
                <a:path w="2497" h="2132" extrusionOk="0">
                  <a:moveTo>
                    <a:pt x="1074" y="1"/>
                  </a:moveTo>
                  <a:cubicBezTo>
                    <a:pt x="480" y="1"/>
                    <a:pt x="1" y="472"/>
                    <a:pt x="1" y="1066"/>
                  </a:cubicBezTo>
                  <a:cubicBezTo>
                    <a:pt x="1" y="1708"/>
                    <a:pt x="526" y="2131"/>
                    <a:pt x="1073" y="2131"/>
                  </a:cubicBezTo>
                  <a:cubicBezTo>
                    <a:pt x="1337" y="2131"/>
                    <a:pt x="1605" y="2033"/>
                    <a:pt x="1822" y="1814"/>
                  </a:cubicBezTo>
                  <a:cubicBezTo>
                    <a:pt x="2496" y="1147"/>
                    <a:pt x="2017" y="1"/>
                    <a:pt x="1074"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492" name="Google Shape;2492;p104"/>
            <p:cNvSpPr/>
            <p:nvPr/>
          </p:nvSpPr>
          <p:spPr>
            <a:xfrm>
              <a:off x="4808700" y="1495200"/>
              <a:ext cx="62400" cy="53325"/>
            </a:xfrm>
            <a:custGeom>
              <a:avLst/>
              <a:gdLst/>
              <a:ahLst/>
              <a:cxnLst/>
              <a:rect l="l" t="t" r="r" b="b"/>
              <a:pathLst>
                <a:path w="2496" h="2133" extrusionOk="0">
                  <a:moveTo>
                    <a:pt x="1065" y="0"/>
                  </a:moveTo>
                  <a:cubicBezTo>
                    <a:pt x="480" y="0"/>
                    <a:pt x="0" y="480"/>
                    <a:pt x="0" y="1065"/>
                  </a:cubicBezTo>
                  <a:cubicBezTo>
                    <a:pt x="0" y="1709"/>
                    <a:pt x="525" y="2133"/>
                    <a:pt x="1074" y="2133"/>
                  </a:cubicBezTo>
                  <a:cubicBezTo>
                    <a:pt x="1336" y="2133"/>
                    <a:pt x="1603" y="2036"/>
                    <a:pt x="1821" y="1821"/>
                  </a:cubicBezTo>
                  <a:cubicBezTo>
                    <a:pt x="2496" y="1146"/>
                    <a:pt x="2016" y="0"/>
                    <a:pt x="1065"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493" name="Google Shape;2493;p104"/>
            <p:cNvSpPr/>
            <p:nvPr/>
          </p:nvSpPr>
          <p:spPr>
            <a:xfrm>
              <a:off x="4808700" y="1571400"/>
              <a:ext cx="62400" cy="53250"/>
            </a:xfrm>
            <a:custGeom>
              <a:avLst/>
              <a:gdLst/>
              <a:ahLst/>
              <a:cxnLst/>
              <a:rect l="l" t="t" r="r" b="b"/>
              <a:pathLst>
                <a:path w="2496" h="2130" extrusionOk="0">
                  <a:moveTo>
                    <a:pt x="1065" y="1"/>
                  </a:moveTo>
                  <a:cubicBezTo>
                    <a:pt x="480" y="1"/>
                    <a:pt x="0" y="472"/>
                    <a:pt x="0" y="1066"/>
                  </a:cubicBezTo>
                  <a:cubicBezTo>
                    <a:pt x="0" y="1703"/>
                    <a:pt x="525" y="2129"/>
                    <a:pt x="1073" y="2129"/>
                  </a:cubicBezTo>
                  <a:cubicBezTo>
                    <a:pt x="1335" y="2129"/>
                    <a:pt x="1603" y="2032"/>
                    <a:pt x="1821" y="1813"/>
                  </a:cubicBezTo>
                  <a:cubicBezTo>
                    <a:pt x="2496" y="1147"/>
                    <a:pt x="2016" y="1"/>
                    <a:pt x="1065"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494" name="Google Shape;2494;p104"/>
            <p:cNvSpPr/>
            <p:nvPr/>
          </p:nvSpPr>
          <p:spPr>
            <a:xfrm>
              <a:off x="4808700" y="1647400"/>
              <a:ext cx="62400" cy="53450"/>
            </a:xfrm>
            <a:custGeom>
              <a:avLst/>
              <a:gdLst/>
              <a:ahLst/>
              <a:cxnLst/>
              <a:rect l="l" t="t" r="r" b="b"/>
              <a:pathLst>
                <a:path w="2496" h="2138" extrusionOk="0">
                  <a:moveTo>
                    <a:pt x="1065" y="1"/>
                  </a:moveTo>
                  <a:cubicBezTo>
                    <a:pt x="480" y="9"/>
                    <a:pt x="0" y="481"/>
                    <a:pt x="0" y="1066"/>
                  </a:cubicBezTo>
                  <a:cubicBezTo>
                    <a:pt x="0" y="1710"/>
                    <a:pt x="525" y="2138"/>
                    <a:pt x="1074" y="2138"/>
                  </a:cubicBezTo>
                  <a:cubicBezTo>
                    <a:pt x="1336" y="2138"/>
                    <a:pt x="1603" y="2040"/>
                    <a:pt x="1821" y="1822"/>
                  </a:cubicBezTo>
                  <a:cubicBezTo>
                    <a:pt x="2496" y="1147"/>
                    <a:pt x="2016" y="1"/>
                    <a:pt x="1065"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495" name="Google Shape;2495;p104"/>
            <p:cNvSpPr/>
            <p:nvPr/>
          </p:nvSpPr>
          <p:spPr>
            <a:xfrm>
              <a:off x="4808700" y="1723625"/>
              <a:ext cx="62400" cy="53350"/>
            </a:xfrm>
            <a:custGeom>
              <a:avLst/>
              <a:gdLst/>
              <a:ahLst/>
              <a:cxnLst/>
              <a:rect l="l" t="t" r="r" b="b"/>
              <a:pathLst>
                <a:path w="2496" h="2134" extrusionOk="0">
                  <a:moveTo>
                    <a:pt x="1065" y="1"/>
                  </a:moveTo>
                  <a:cubicBezTo>
                    <a:pt x="480" y="1"/>
                    <a:pt x="0" y="480"/>
                    <a:pt x="0" y="1065"/>
                  </a:cubicBezTo>
                  <a:cubicBezTo>
                    <a:pt x="0" y="1709"/>
                    <a:pt x="525" y="2133"/>
                    <a:pt x="1074" y="2133"/>
                  </a:cubicBezTo>
                  <a:cubicBezTo>
                    <a:pt x="1336" y="2133"/>
                    <a:pt x="1603" y="2037"/>
                    <a:pt x="1821" y="1822"/>
                  </a:cubicBezTo>
                  <a:cubicBezTo>
                    <a:pt x="2496" y="1147"/>
                    <a:pt x="2016" y="1"/>
                    <a:pt x="1065"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496" name="Google Shape;2496;p104"/>
            <p:cNvSpPr/>
            <p:nvPr/>
          </p:nvSpPr>
          <p:spPr>
            <a:xfrm>
              <a:off x="4808700" y="1799850"/>
              <a:ext cx="62400" cy="53325"/>
            </a:xfrm>
            <a:custGeom>
              <a:avLst/>
              <a:gdLst/>
              <a:ahLst/>
              <a:cxnLst/>
              <a:rect l="l" t="t" r="r" b="b"/>
              <a:pathLst>
                <a:path w="2496" h="2133" extrusionOk="0">
                  <a:moveTo>
                    <a:pt x="1065" y="0"/>
                  </a:moveTo>
                  <a:cubicBezTo>
                    <a:pt x="480" y="0"/>
                    <a:pt x="0" y="480"/>
                    <a:pt x="0" y="1065"/>
                  </a:cubicBezTo>
                  <a:cubicBezTo>
                    <a:pt x="0" y="1709"/>
                    <a:pt x="525" y="2133"/>
                    <a:pt x="1074" y="2133"/>
                  </a:cubicBezTo>
                  <a:cubicBezTo>
                    <a:pt x="1336" y="2133"/>
                    <a:pt x="1603" y="2036"/>
                    <a:pt x="1821" y="1821"/>
                  </a:cubicBezTo>
                  <a:cubicBezTo>
                    <a:pt x="2496" y="1146"/>
                    <a:pt x="2016" y="0"/>
                    <a:pt x="1065"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497" name="Google Shape;2497;p104"/>
            <p:cNvSpPr/>
            <p:nvPr/>
          </p:nvSpPr>
          <p:spPr>
            <a:xfrm>
              <a:off x="4808700" y="1876050"/>
              <a:ext cx="62400" cy="53275"/>
            </a:xfrm>
            <a:custGeom>
              <a:avLst/>
              <a:gdLst/>
              <a:ahLst/>
              <a:cxnLst/>
              <a:rect l="l" t="t" r="r" b="b"/>
              <a:pathLst>
                <a:path w="2496" h="2131" extrusionOk="0">
                  <a:moveTo>
                    <a:pt x="1065" y="1"/>
                  </a:moveTo>
                  <a:cubicBezTo>
                    <a:pt x="480" y="1"/>
                    <a:pt x="0" y="472"/>
                    <a:pt x="0" y="1066"/>
                  </a:cubicBezTo>
                  <a:cubicBezTo>
                    <a:pt x="0" y="1707"/>
                    <a:pt x="522" y="2131"/>
                    <a:pt x="1069" y="2131"/>
                  </a:cubicBezTo>
                  <a:cubicBezTo>
                    <a:pt x="1333" y="2131"/>
                    <a:pt x="1602" y="2033"/>
                    <a:pt x="1821" y="1813"/>
                  </a:cubicBezTo>
                  <a:cubicBezTo>
                    <a:pt x="2496" y="1147"/>
                    <a:pt x="2016" y="1"/>
                    <a:pt x="1065"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498" name="Google Shape;2498;p104"/>
            <p:cNvSpPr/>
            <p:nvPr/>
          </p:nvSpPr>
          <p:spPr>
            <a:xfrm>
              <a:off x="4808700" y="1952050"/>
              <a:ext cx="62400" cy="53450"/>
            </a:xfrm>
            <a:custGeom>
              <a:avLst/>
              <a:gdLst/>
              <a:ahLst/>
              <a:cxnLst/>
              <a:rect l="l" t="t" r="r" b="b"/>
              <a:pathLst>
                <a:path w="2496" h="2138" extrusionOk="0">
                  <a:moveTo>
                    <a:pt x="1065" y="1"/>
                  </a:moveTo>
                  <a:cubicBezTo>
                    <a:pt x="480" y="9"/>
                    <a:pt x="0" y="481"/>
                    <a:pt x="0" y="1074"/>
                  </a:cubicBezTo>
                  <a:cubicBezTo>
                    <a:pt x="0" y="1712"/>
                    <a:pt x="525" y="2138"/>
                    <a:pt x="1073" y="2138"/>
                  </a:cubicBezTo>
                  <a:cubicBezTo>
                    <a:pt x="1335" y="2138"/>
                    <a:pt x="1603" y="2040"/>
                    <a:pt x="1821" y="1822"/>
                  </a:cubicBezTo>
                  <a:cubicBezTo>
                    <a:pt x="2496" y="1155"/>
                    <a:pt x="2016" y="1"/>
                    <a:pt x="1065"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499" name="Google Shape;2499;p104"/>
            <p:cNvSpPr/>
            <p:nvPr/>
          </p:nvSpPr>
          <p:spPr>
            <a:xfrm>
              <a:off x="4808700" y="2028275"/>
              <a:ext cx="62400" cy="53450"/>
            </a:xfrm>
            <a:custGeom>
              <a:avLst/>
              <a:gdLst/>
              <a:ahLst/>
              <a:cxnLst/>
              <a:rect l="l" t="t" r="r" b="b"/>
              <a:pathLst>
                <a:path w="2496" h="2138" extrusionOk="0">
                  <a:moveTo>
                    <a:pt x="1065" y="1"/>
                  </a:moveTo>
                  <a:cubicBezTo>
                    <a:pt x="480" y="1"/>
                    <a:pt x="0" y="480"/>
                    <a:pt x="0" y="1065"/>
                  </a:cubicBezTo>
                  <a:cubicBezTo>
                    <a:pt x="0" y="1709"/>
                    <a:pt x="525" y="2137"/>
                    <a:pt x="1074" y="2137"/>
                  </a:cubicBezTo>
                  <a:cubicBezTo>
                    <a:pt x="1336" y="2137"/>
                    <a:pt x="1603" y="2040"/>
                    <a:pt x="1821" y="1821"/>
                  </a:cubicBezTo>
                  <a:cubicBezTo>
                    <a:pt x="2496" y="1147"/>
                    <a:pt x="2016" y="1"/>
                    <a:pt x="1065"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500" name="Google Shape;2500;p104"/>
            <p:cNvSpPr/>
            <p:nvPr/>
          </p:nvSpPr>
          <p:spPr>
            <a:xfrm>
              <a:off x="4808700" y="2104500"/>
              <a:ext cx="62400" cy="53325"/>
            </a:xfrm>
            <a:custGeom>
              <a:avLst/>
              <a:gdLst/>
              <a:ahLst/>
              <a:cxnLst/>
              <a:rect l="l" t="t" r="r" b="b"/>
              <a:pathLst>
                <a:path w="2496" h="2133" extrusionOk="0">
                  <a:moveTo>
                    <a:pt x="1065" y="0"/>
                  </a:moveTo>
                  <a:cubicBezTo>
                    <a:pt x="480" y="0"/>
                    <a:pt x="0" y="480"/>
                    <a:pt x="0" y="1065"/>
                  </a:cubicBezTo>
                  <a:cubicBezTo>
                    <a:pt x="0" y="1709"/>
                    <a:pt x="525" y="2133"/>
                    <a:pt x="1074" y="2133"/>
                  </a:cubicBezTo>
                  <a:cubicBezTo>
                    <a:pt x="1336" y="2133"/>
                    <a:pt x="1603" y="2036"/>
                    <a:pt x="1821" y="1821"/>
                  </a:cubicBezTo>
                  <a:cubicBezTo>
                    <a:pt x="2496" y="1146"/>
                    <a:pt x="2016" y="0"/>
                    <a:pt x="1065"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501" name="Google Shape;2501;p104"/>
            <p:cNvSpPr/>
            <p:nvPr/>
          </p:nvSpPr>
          <p:spPr>
            <a:xfrm>
              <a:off x="4808700" y="2180700"/>
              <a:ext cx="62400" cy="53350"/>
            </a:xfrm>
            <a:custGeom>
              <a:avLst/>
              <a:gdLst/>
              <a:ahLst/>
              <a:cxnLst/>
              <a:rect l="l" t="t" r="r" b="b"/>
              <a:pathLst>
                <a:path w="2496" h="2134" extrusionOk="0">
                  <a:moveTo>
                    <a:pt x="1065" y="1"/>
                  </a:moveTo>
                  <a:cubicBezTo>
                    <a:pt x="480" y="1"/>
                    <a:pt x="0" y="480"/>
                    <a:pt x="0" y="1066"/>
                  </a:cubicBezTo>
                  <a:cubicBezTo>
                    <a:pt x="0" y="1709"/>
                    <a:pt x="525" y="2133"/>
                    <a:pt x="1074" y="2133"/>
                  </a:cubicBezTo>
                  <a:cubicBezTo>
                    <a:pt x="1336" y="2133"/>
                    <a:pt x="1603" y="2037"/>
                    <a:pt x="1821" y="1822"/>
                  </a:cubicBezTo>
                  <a:cubicBezTo>
                    <a:pt x="2496" y="1147"/>
                    <a:pt x="2016" y="1"/>
                    <a:pt x="1065"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502" name="Google Shape;2502;p104"/>
            <p:cNvSpPr/>
            <p:nvPr/>
          </p:nvSpPr>
          <p:spPr>
            <a:xfrm>
              <a:off x="4808700" y="2256925"/>
              <a:ext cx="62550" cy="53425"/>
            </a:xfrm>
            <a:custGeom>
              <a:avLst/>
              <a:gdLst/>
              <a:ahLst/>
              <a:cxnLst/>
              <a:rect l="l" t="t" r="r" b="b"/>
              <a:pathLst>
                <a:path w="2502" h="2137" extrusionOk="0">
                  <a:moveTo>
                    <a:pt x="1075" y="0"/>
                  </a:moveTo>
                  <a:cubicBezTo>
                    <a:pt x="1072" y="0"/>
                    <a:pt x="1068" y="0"/>
                    <a:pt x="1065" y="0"/>
                  </a:cubicBezTo>
                  <a:cubicBezTo>
                    <a:pt x="480" y="0"/>
                    <a:pt x="0" y="480"/>
                    <a:pt x="0" y="1065"/>
                  </a:cubicBezTo>
                  <a:cubicBezTo>
                    <a:pt x="0" y="1709"/>
                    <a:pt x="529" y="2137"/>
                    <a:pt x="1080" y="2137"/>
                  </a:cubicBezTo>
                  <a:cubicBezTo>
                    <a:pt x="1343" y="2137"/>
                    <a:pt x="1611" y="2039"/>
                    <a:pt x="1829" y="1821"/>
                  </a:cubicBezTo>
                  <a:cubicBezTo>
                    <a:pt x="2502" y="1149"/>
                    <a:pt x="2028" y="0"/>
                    <a:pt x="1075"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503" name="Google Shape;2503;p104"/>
            <p:cNvSpPr/>
            <p:nvPr/>
          </p:nvSpPr>
          <p:spPr>
            <a:xfrm>
              <a:off x="4808700" y="2333125"/>
              <a:ext cx="62400" cy="53450"/>
            </a:xfrm>
            <a:custGeom>
              <a:avLst/>
              <a:gdLst/>
              <a:ahLst/>
              <a:cxnLst/>
              <a:rect l="l" t="t" r="r" b="b"/>
              <a:pathLst>
                <a:path w="2496" h="2138" extrusionOk="0">
                  <a:moveTo>
                    <a:pt x="1065" y="1"/>
                  </a:moveTo>
                  <a:cubicBezTo>
                    <a:pt x="480" y="1"/>
                    <a:pt x="0" y="480"/>
                    <a:pt x="0" y="1066"/>
                  </a:cubicBezTo>
                  <a:cubicBezTo>
                    <a:pt x="0" y="1709"/>
                    <a:pt x="525" y="2137"/>
                    <a:pt x="1074" y="2137"/>
                  </a:cubicBezTo>
                  <a:cubicBezTo>
                    <a:pt x="1336" y="2137"/>
                    <a:pt x="1603" y="2040"/>
                    <a:pt x="1821" y="1822"/>
                  </a:cubicBezTo>
                  <a:cubicBezTo>
                    <a:pt x="2496" y="1147"/>
                    <a:pt x="2016" y="1"/>
                    <a:pt x="1065"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504" name="Google Shape;2504;p104"/>
            <p:cNvSpPr/>
            <p:nvPr/>
          </p:nvSpPr>
          <p:spPr>
            <a:xfrm>
              <a:off x="4808700" y="2409350"/>
              <a:ext cx="62400" cy="53350"/>
            </a:xfrm>
            <a:custGeom>
              <a:avLst/>
              <a:gdLst/>
              <a:ahLst/>
              <a:cxnLst/>
              <a:rect l="l" t="t" r="r" b="b"/>
              <a:pathLst>
                <a:path w="2496" h="2134" extrusionOk="0">
                  <a:moveTo>
                    <a:pt x="1065" y="0"/>
                  </a:moveTo>
                  <a:cubicBezTo>
                    <a:pt x="480" y="0"/>
                    <a:pt x="0" y="480"/>
                    <a:pt x="0" y="1065"/>
                  </a:cubicBezTo>
                  <a:cubicBezTo>
                    <a:pt x="0" y="1709"/>
                    <a:pt x="525" y="2133"/>
                    <a:pt x="1074" y="2133"/>
                  </a:cubicBezTo>
                  <a:cubicBezTo>
                    <a:pt x="1336" y="2133"/>
                    <a:pt x="1603" y="2036"/>
                    <a:pt x="1821" y="1821"/>
                  </a:cubicBezTo>
                  <a:cubicBezTo>
                    <a:pt x="2496" y="1146"/>
                    <a:pt x="2016" y="0"/>
                    <a:pt x="1065"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505" name="Google Shape;2505;p104"/>
            <p:cNvSpPr/>
            <p:nvPr/>
          </p:nvSpPr>
          <p:spPr>
            <a:xfrm>
              <a:off x="4808700" y="2485550"/>
              <a:ext cx="62400" cy="53300"/>
            </a:xfrm>
            <a:custGeom>
              <a:avLst/>
              <a:gdLst/>
              <a:ahLst/>
              <a:cxnLst/>
              <a:rect l="l" t="t" r="r" b="b"/>
              <a:pathLst>
                <a:path w="2496" h="2132" extrusionOk="0">
                  <a:moveTo>
                    <a:pt x="1065" y="1"/>
                  </a:moveTo>
                  <a:cubicBezTo>
                    <a:pt x="480" y="1"/>
                    <a:pt x="0" y="480"/>
                    <a:pt x="0" y="1066"/>
                  </a:cubicBezTo>
                  <a:cubicBezTo>
                    <a:pt x="0" y="1708"/>
                    <a:pt x="522" y="2131"/>
                    <a:pt x="1069" y="2131"/>
                  </a:cubicBezTo>
                  <a:cubicBezTo>
                    <a:pt x="1333" y="2131"/>
                    <a:pt x="1602" y="2033"/>
                    <a:pt x="1821" y="1814"/>
                  </a:cubicBezTo>
                  <a:cubicBezTo>
                    <a:pt x="2496" y="1147"/>
                    <a:pt x="2016" y="1"/>
                    <a:pt x="1065"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506" name="Google Shape;2506;p104"/>
            <p:cNvSpPr/>
            <p:nvPr/>
          </p:nvSpPr>
          <p:spPr>
            <a:xfrm>
              <a:off x="4884900" y="1495200"/>
              <a:ext cx="62225" cy="53325"/>
            </a:xfrm>
            <a:custGeom>
              <a:avLst/>
              <a:gdLst/>
              <a:ahLst/>
              <a:cxnLst/>
              <a:rect l="l" t="t" r="r" b="b"/>
              <a:pathLst>
                <a:path w="2489" h="2133" extrusionOk="0">
                  <a:moveTo>
                    <a:pt x="1066" y="0"/>
                  </a:moveTo>
                  <a:cubicBezTo>
                    <a:pt x="480" y="0"/>
                    <a:pt x="1" y="480"/>
                    <a:pt x="1" y="1065"/>
                  </a:cubicBezTo>
                  <a:cubicBezTo>
                    <a:pt x="1" y="1709"/>
                    <a:pt x="526" y="2133"/>
                    <a:pt x="1075" y="2133"/>
                  </a:cubicBezTo>
                  <a:cubicBezTo>
                    <a:pt x="1336" y="2133"/>
                    <a:pt x="1604" y="2036"/>
                    <a:pt x="1822" y="1821"/>
                  </a:cubicBezTo>
                  <a:cubicBezTo>
                    <a:pt x="2488" y="1146"/>
                    <a:pt x="2017" y="0"/>
                    <a:pt x="1066"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507" name="Google Shape;2507;p104"/>
            <p:cNvSpPr/>
            <p:nvPr/>
          </p:nvSpPr>
          <p:spPr>
            <a:xfrm>
              <a:off x="4884900" y="1571400"/>
              <a:ext cx="62225" cy="53250"/>
            </a:xfrm>
            <a:custGeom>
              <a:avLst/>
              <a:gdLst/>
              <a:ahLst/>
              <a:cxnLst/>
              <a:rect l="l" t="t" r="r" b="b"/>
              <a:pathLst>
                <a:path w="2489" h="2130" extrusionOk="0">
                  <a:moveTo>
                    <a:pt x="1066" y="1"/>
                  </a:moveTo>
                  <a:cubicBezTo>
                    <a:pt x="480" y="1"/>
                    <a:pt x="1" y="472"/>
                    <a:pt x="1" y="1066"/>
                  </a:cubicBezTo>
                  <a:cubicBezTo>
                    <a:pt x="1" y="1703"/>
                    <a:pt x="525" y="2129"/>
                    <a:pt x="1073" y="2129"/>
                  </a:cubicBezTo>
                  <a:cubicBezTo>
                    <a:pt x="1336" y="2129"/>
                    <a:pt x="1603" y="2032"/>
                    <a:pt x="1822" y="1813"/>
                  </a:cubicBezTo>
                  <a:cubicBezTo>
                    <a:pt x="2488" y="1147"/>
                    <a:pt x="2017" y="1"/>
                    <a:pt x="1066"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508" name="Google Shape;2508;p104"/>
            <p:cNvSpPr/>
            <p:nvPr/>
          </p:nvSpPr>
          <p:spPr>
            <a:xfrm>
              <a:off x="4884900" y="1647400"/>
              <a:ext cx="62225" cy="53450"/>
            </a:xfrm>
            <a:custGeom>
              <a:avLst/>
              <a:gdLst/>
              <a:ahLst/>
              <a:cxnLst/>
              <a:rect l="l" t="t" r="r" b="b"/>
              <a:pathLst>
                <a:path w="2489" h="2138" extrusionOk="0">
                  <a:moveTo>
                    <a:pt x="1066" y="1"/>
                  </a:moveTo>
                  <a:cubicBezTo>
                    <a:pt x="480" y="1"/>
                    <a:pt x="1" y="481"/>
                    <a:pt x="1" y="1066"/>
                  </a:cubicBezTo>
                  <a:cubicBezTo>
                    <a:pt x="1" y="1710"/>
                    <a:pt x="526" y="2138"/>
                    <a:pt x="1074" y="2138"/>
                  </a:cubicBezTo>
                  <a:cubicBezTo>
                    <a:pt x="1336" y="2138"/>
                    <a:pt x="1604" y="2040"/>
                    <a:pt x="1822" y="1822"/>
                  </a:cubicBezTo>
                  <a:cubicBezTo>
                    <a:pt x="2488" y="1155"/>
                    <a:pt x="2017" y="1"/>
                    <a:pt x="1066"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509" name="Google Shape;2509;p104"/>
            <p:cNvSpPr/>
            <p:nvPr/>
          </p:nvSpPr>
          <p:spPr>
            <a:xfrm>
              <a:off x="4884900" y="1723625"/>
              <a:ext cx="62225" cy="53350"/>
            </a:xfrm>
            <a:custGeom>
              <a:avLst/>
              <a:gdLst/>
              <a:ahLst/>
              <a:cxnLst/>
              <a:rect l="l" t="t" r="r" b="b"/>
              <a:pathLst>
                <a:path w="2489" h="2134" extrusionOk="0">
                  <a:moveTo>
                    <a:pt x="1066" y="1"/>
                  </a:moveTo>
                  <a:cubicBezTo>
                    <a:pt x="480" y="1"/>
                    <a:pt x="1" y="480"/>
                    <a:pt x="1" y="1065"/>
                  </a:cubicBezTo>
                  <a:cubicBezTo>
                    <a:pt x="1" y="1709"/>
                    <a:pt x="526" y="2133"/>
                    <a:pt x="1075" y="2133"/>
                  </a:cubicBezTo>
                  <a:cubicBezTo>
                    <a:pt x="1336" y="2133"/>
                    <a:pt x="1604" y="2037"/>
                    <a:pt x="1822" y="1822"/>
                  </a:cubicBezTo>
                  <a:cubicBezTo>
                    <a:pt x="2488" y="1147"/>
                    <a:pt x="2017" y="1"/>
                    <a:pt x="1066"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510" name="Google Shape;2510;p104"/>
            <p:cNvSpPr/>
            <p:nvPr/>
          </p:nvSpPr>
          <p:spPr>
            <a:xfrm>
              <a:off x="4884900" y="1799850"/>
              <a:ext cx="62225" cy="53325"/>
            </a:xfrm>
            <a:custGeom>
              <a:avLst/>
              <a:gdLst/>
              <a:ahLst/>
              <a:cxnLst/>
              <a:rect l="l" t="t" r="r" b="b"/>
              <a:pathLst>
                <a:path w="2489" h="2133" extrusionOk="0">
                  <a:moveTo>
                    <a:pt x="1066" y="0"/>
                  </a:moveTo>
                  <a:cubicBezTo>
                    <a:pt x="480" y="0"/>
                    <a:pt x="1" y="480"/>
                    <a:pt x="1" y="1065"/>
                  </a:cubicBezTo>
                  <a:cubicBezTo>
                    <a:pt x="1" y="1709"/>
                    <a:pt x="526" y="2133"/>
                    <a:pt x="1075" y="2133"/>
                  </a:cubicBezTo>
                  <a:cubicBezTo>
                    <a:pt x="1336" y="2133"/>
                    <a:pt x="1604" y="2036"/>
                    <a:pt x="1822" y="1821"/>
                  </a:cubicBezTo>
                  <a:cubicBezTo>
                    <a:pt x="2488" y="1146"/>
                    <a:pt x="2017" y="0"/>
                    <a:pt x="1066"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511" name="Google Shape;2511;p104"/>
            <p:cNvSpPr/>
            <p:nvPr/>
          </p:nvSpPr>
          <p:spPr>
            <a:xfrm>
              <a:off x="4884900" y="1876050"/>
              <a:ext cx="62225" cy="53350"/>
            </a:xfrm>
            <a:custGeom>
              <a:avLst/>
              <a:gdLst/>
              <a:ahLst/>
              <a:cxnLst/>
              <a:rect l="l" t="t" r="r" b="b"/>
              <a:pathLst>
                <a:path w="2489" h="2134" extrusionOk="0">
                  <a:moveTo>
                    <a:pt x="1066" y="1"/>
                  </a:moveTo>
                  <a:cubicBezTo>
                    <a:pt x="480" y="1"/>
                    <a:pt x="1" y="472"/>
                    <a:pt x="1" y="1066"/>
                  </a:cubicBezTo>
                  <a:cubicBezTo>
                    <a:pt x="1" y="1709"/>
                    <a:pt x="526" y="2133"/>
                    <a:pt x="1075" y="2133"/>
                  </a:cubicBezTo>
                  <a:cubicBezTo>
                    <a:pt x="1336" y="2133"/>
                    <a:pt x="1604" y="2037"/>
                    <a:pt x="1822" y="1822"/>
                  </a:cubicBezTo>
                  <a:cubicBezTo>
                    <a:pt x="2488" y="1147"/>
                    <a:pt x="2017" y="1"/>
                    <a:pt x="1066"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512" name="Google Shape;2512;p104"/>
            <p:cNvSpPr/>
            <p:nvPr/>
          </p:nvSpPr>
          <p:spPr>
            <a:xfrm>
              <a:off x="4884900" y="1952050"/>
              <a:ext cx="62225" cy="53450"/>
            </a:xfrm>
            <a:custGeom>
              <a:avLst/>
              <a:gdLst/>
              <a:ahLst/>
              <a:cxnLst/>
              <a:rect l="l" t="t" r="r" b="b"/>
              <a:pathLst>
                <a:path w="2489" h="2138" extrusionOk="0">
                  <a:moveTo>
                    <a:pt x="1066" y="1"/>
                  </a:moveTo>
                  <a:cubicBezTo>
                    <a:pt x="480" y="9"/>
                    <a:pt x="1" y="481"/>
                    <a:pt x="1" y="1074"/>
                  </a:cubicBezTo>
                  <a:cubicBezTo>
                    <a:pt x="1" y="1712"/>
                    <a:pt x="525" y="2138"/>
                    <a:pt x="1073" y="2138"/>
                  </a:cubicBezTo>
                  <a:cubicBezTo>
                    <a:pt x="1336" y="2138"/>
                    <a:pt x="1603" y="2040"/>
                    <a:pt x="1822" y="1822"/>
                  </a:cubicBezTo>
                  <a:cubicBezTo>
                    <a:pt x="2488" y="1155"/>
                    <a:pt x="2017" y="1"/>
                    <a:pt x="1066"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513" name="Google Shape;2513;p104"/>
            <p:cNvSpPr/>
            <p:nvPr/>
          </p:nvSpPr>
          <p:spPr>
            <a:xfrm>
              <a:off x="4884900" y="2028275"/>
              <a:ext cx="62225" cy="53450"/>
            </a:xfrm>
            <a:custGeom>
              <a:avLst/>
              <a:gdLst/>
              <a:ahLst/>
              <a:cxnLst/>
              <a:rect l="l" t="t" r="r" b="b"/>
              <a:pathLst>
                <a:path w="2489" h="2138" extrusionOk="0">
                  <a:moveTo>
                    <a:pt x="1066" y="1"/>
                  </a:moveTo>
                  <a:cubicBezTo>
                    <a:pt x="480" y="1"/>
                    <a:pt x="1" y="480"/>
                    <a:pt x="1" y="1065"/>
                  </a:cubicBezTo>
                  <a:cubicBezTo>
                    <a:pt x="1" y="1709"/>
                    <a:pt x="526" y="2137"/>
                    <a:pt x="1074" y="2137"/>
                  </a:cubicBezTo>
                  <a:cubicBezTo>
                    <a:pt x="1336" y="2137"/>
                    <a:pt x="1604" y="2040"/>
                    <a:pt x="1822" y="1821"/>
                  </a:cubicBezTo>
                  <a:cubicBezTo>
                    <a:pt x="2488" y="1147"/>
                    <a:pt x="2017" y="1"/>
                    <a:pt x="1066"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514" name="Google Shape;2514;p104"/>
            <p:cNvSpPr/>
            <p:nvPr/>
          </p:nvSpPr>
          <p:spPr>
            <a:xfrm>
              <a:off x="4884900" y="2104500"/>
              <a:ext cx="62225" cy="53325"/>
            </a:xfrm>
            <a:custGeom>
              <a:avLst/>
              <a:gdLst/>
              <a:ahLst/>
              <a:cxnLst/>
              <a:rect l="l" t="t" r="r" b="b"/>
              <a:pathLst>
                <a:path w="2489" h="2133" extrusionOk="0">
                  <a:moveTo>
                    <a:pt x="1066" y="0"/>
                  </a:moveTo>
                  <a:cubicBezTo>
                    <a:pt x="480" y="0"/>
                    <a:pt x="1" y="480"/>
                    <a:pt x="1" y="1065"/>
                  </a:cubicBezTo>
                  <a:cubicBezTo>
                    <a:pt x="1" y="1709"/>
                    <a:pt x="526" y="2133"/>
                    <a:pt x="1075" y="2133"/>
                  </a:cubicBezTo>
                  <a:cubicBezTo>
                    <a:pt x="1336" y="2133"/>
                    <a:pt x="1604" y="2036"/>
                    <a:pt x="1822" y="1821"/>
                  </a:cubicBezTo>
                  <a:cubicBezTo>
                    <a:pt x="2488" y="1146"/>
                    <a:pt x="2017" y="0"/>
                    <a:pt x="1066"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515" name="Google Shape;2515;p104"/>
            <p:cNvSpPr/>
            <p:nvPr/>
          </p:nvSpPr>
          <p:spPr>
            <a:xfrm>
              <a:off x="4884900" y="2180700"/>
              <a:ext cx="62225" cy="53350"/>
            </a:xfrm>
            <a:custGeom>
              <a:avLst/>
              <a:gdLst/>
              <a:ahLst/>
              <a:cxnLst/>
              <a:rect l="l" t="t" r="r" b="b"/>
              <a:pathLst>
                <a:path w="2489" h="2134" extrusionOk="0">
                  <a:moveTo>
                    <a:pt x="1066" y="1"/>
                  </a:moveTo>
                  <a:cubicBezTo>
                    <a:pt x="480" y="1"/>
                    <a:pt x="1" y="480"/>
                    <a:pt x="1" y="1066"/>
                  </a:cubicBezTo>
                  <a:cubicBezTo>
                    <a:pt x="1" y="1709"/>
                    <a:pt x="526" y="2133"/>
                    <a:pt x="1075" y="2133"/>
                  </a:cubicBezTo>
                  <a:cubicBezTo>
                    <a:pt x="1336" y="2133"/>
                    <a:pt x="1604" y="2037"/>
                    <a:pt x="1822" y="1822"/>
                  </a:cubicBezTo>
                  <a:cubicBezTo>
                    <a:pt x="2488" y="1147"/>
                    <a:pt x="2017" y="1"/>
                    <a:pt x="1066"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516" name="Google Shape;2516;p104"/>
            <p:cNvSpPr/>
            <p:nvPr/>
          </p:nvSpPr>
          <p:spPr>
            <a:xfrm>
              <a:off x="4884900" y="2256925"/>
              <a:ext cx="62375" cy="53425"/>
            </a:xfrm>
            <a:custGeom>
              <a:avLst/>
              <a:gdLst/>
              <a:ahLst/>
              <a:cxnLst/>
              <a:rect l="l" t="t" r="r" b="b"/>
              <a:pathLst>
                <a:path w="2495" h="2137" extrusionOk="0">
                  <a:moveTo>
                    <a:pt x="1076" y="0"/>
                  </a:moveTo>
                  <a:cubicBezTo>
                    <a:pt x="1072" y="0"/>
                    <a:pt x="1069" y="0"/>
                    <a:pt x="1066" y="0"/>
                  </a:cubicBezTo>
                  <a:cubicBezTo>
                    <a:pt x="480" y="0"/>
                    <a:pt x="1" y="480"/>
                    <a:pt x="1" y="1065"/>
                  </a:cubicBezTo>
                  <a:cubicBezTo>
                    <a:pt x="1" y="1709"/>
                    <a:pt x="530" y="2137"/>
                    <a:pt x="1078" y="2137"/>
                  </a:cubicBezTo>
                  <a:cubicBezTo>
                    <a:pt x="1340" y="2137"/>
                    <a:pt x="1606" y="2039"/>
                    <a:pt x="1822" y="1821"/>
                  </a:cubicBezTo>
                  <a:cubicBezTo>
                    <a:pt x="2494" y="1149"/>
                    <a:pt x="2020" y="0"/>
                    <a:pt x="1076"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517" name="Google Shape;2517;p104"/>
            <p:cNvSpPr/>
            <p:nvPr/>
          </p:nvSpPr>
          <p:spPr>
            <a:xfrm>
              <a:off x="4884900" y="2333125"/>
              <a:ext cx="62225" cy="53450"/>
            </a:xfrm>
            <a:custGeom>
              <a:avLst/>
              <a:gdLst/>
              <a:ahLst/>
              <a:cxnLst/>
              <a:rect l="l" t="t" r="r" b="b"/>
              <a:pathLst>
                <a:path w="2489" h="2138" extrusionOk="0">
                  <a:moveTo>
                    <a:pt x="1066" y="1"/>
                  </a:moveTo>
                  <a:cubicBezTo>
                    <a:pt x="480" y="1"/>
                    <a:pt x="1" y="480"/>
                    <a:pt x="1" y="1066"/>
                  </a:cubicBezTo>
                  <a:cubicBezTo>
                    <a:pt x="1" y="1709"/>
                    <a:pt x="526" y="2137"/>
                    <a:pt x="1074" y="2137"/>
                  </a:cubicBezTo>
                  <a:cubicBezTo>
                    <a:pt x="1336" y="2137"/>
                    <a:pt x="1604" y="2040"/>
                    <a:pt x="1822" y="1822"/>
                  </a:cubicBezTo>
                  <a:cubicBezTo>
                    <a:pt x="2488" y="1147"/>
                    <a:pt x="2017" y="1"/>
                    <a:pt x="1066"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518" name="Google Shape;2518;p104"/>
            <p:cNvSpPr/>
            <p:nvPr/>
          </p:nvSpPr>
          <p:spPr>
            <a:xfrm>
              <a:off x="4884900" y="2409350"/>
              <a:ext cx="62225" cy="53350"/>
            </a:xfrm>
            <a:custGeom>
              <a:avLst/>
              <a:gdLst/>
              <a:ahLst/>
              <a:cxnLst/>
              <a:rect l="l" t="t" r="r" b="b"/>
              <a:pathLst>
                <a:path w="2489" h="2134" extrusionOk="0">
                  <a:moveTo>
                    <a:pt x="1066" y="0"/>
                  </a:moveTo>
                  <a:cubicBezTo>
                    <a:pt x="480" y="0"/>
                    <a:pt x="1" y="480"/>
                    <a:pt x="1" y="1065"/>
                  </a:cubicBezTo>
                  <a:cubicBezTo>
                    <a:pt x="1" y="1709"/>
                    <a:pt x="526" y="2133"/>
                    <a:pt x="1075" y="2133"/>
                  </a:cubicBezTo>
                  <a:cubicBezTo>
                    <a:pt x="1336" y="2133"/>
                    <a:pt x="1604" y="2036"/>
                    <a:pt x="1822" y="1821"/>
                  </a:cubicBezTo>
                  <a:cubicBezTo>
                    <a:pt x="2488" y="1146"/>
                    <a:pt x="2017" y="0"/>
                    <a:pt x="1066"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519" name="Google Shape;2519;p104"/>
            <p:cNvSpPr/>
            <p:nvPr/>
          </p:nvSpPr>
          <p:spPr>
            <a:xfrm>
              <a:off x="4884900" y="2485550"/>
              <a:ext cx="62225" cy="53300"/>
            </a:xfrm>
            <a:custGeom>
              <a:avLst/>
              <a:gdLst/>
              <a:ahLst/>
              <a:cxnLst/>
              <a:rect l="l" t="t" r="r" b="b"/>
              <a:pathLst>
                <a:path w="2489" h="2132" extrusionOk="0">
                  <a:moveTo>
                    <a:pt x="1066" y="1"/>
                  </a:moveTo>
                  <a:cubicBezTo>
                    <a:pt x="480" y="1"/>
                    <a:pt x="1" y="472"/>
                    <a:pt x="1" y="1066"/>
                  </a:cubicBezTo>
                  <a:cubicBezTo>
                    <a:pt x="1" y="1708"/>
                    <a:pt x="523" y="2131"/>
                    <a:pt x="1070" y="2131"/>
                  </a:cubicBezTo>
                  <a:cubicBezTo>
                    <a:pt x="1333" y="2131"/>
                    <a:pt x="1602" y="2033"/>
                    <a:pt x="1822" y="1814"/>
                  </a:cubicBezTo>
                  <a:cubicBezTo>
                    <a:pt x="2488" y="1147"/>
                    <a:pt x="2017" y="1"/>
                    <a:pt x="1066"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520" name="Google Shape;2520;p104"/>
            <p:cNvSpPr/>
            <p:nvPr/>
          </p:nvSpPr>
          <p:spPr>
            <a:xfrm>
              <a:off x="4884900" y="2561575"/>
              <a:ext cx="62225" cy="53425"/>
            </a:xfrm>
            <a:custGeom>
              <a:avLst/>
              <a:gdLst/>
              <a:ahLst/>
              <a:cxnLst/>
              <a:rect l="l" t="t" r="r" b="b"/>
              <a:pathLst>
                <a:path w="2489" h="2137" extrusionOk="0">
                  <a:moveTo>
                    <a:pt x="1066" y="0"/>
                  </a:moveTo>
                  <a:cubicBezTo>
                    <a:pt x="480" y="8"/>
                    <a:pt x="1" y="480"/>
                    <a:pt x="1" y="1073"/>
                  </a:cubicBezTo>
                  <a:cubicBezTo>
                    <a:pt x="1" y="1711"/>
                    <a:pt x="525" y="2137"/>
                    <a:pt x="1073" y="2137"/>
                  </a:cubicBezTo>
                  <a:cubicBezTo>
                    <a:pt x="1336" y="2137"/>
                    <a:pt x="1603" y="2039"/>
                    <a:pt x="1822" y="1821"/>
                  </a:cubicBezTo>
                  <a:cubicBezTo>
                    <a:pt x="2488" y="1154"/>
                    <a:pt x="2017" y="0"/>
                    <a:pt x="1066"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521" name="Google Shape;2521;p104"/>
            <p:cNvSpPr/>
            <p:nvPr/>
          </p:nvSpPr>
          <p:spPr>
            <a:xfrm>
              <a:off x="4961125" y="1571400"/>
              <a:ext cx="62200" cy="53250"/>
            </a:xfrm>
            <a:custGeom>
              <a:avLst/>
              <a:gdLst/>
              <a:ahLst/>
              <a:cxnLst/>
              <a:rect l="l" t="t" r="r" b="b"/>
              <a:pathLst>
                <a:path w="2488" h="2130" extrusionOk="0">
                  <a:moveTo>
                    <a:pt x="1065" y="1"/>
                  </a:moveTo>
                  <a:cubicBezTo>
                    <a:pt x="480" y="1"/>
                    <a:pt x="0" y="472"/>
                    <a:pt x="0" y="1066"/>
                  </a:cubicBezTo>
                  <a:cubicBezTo>
                    <a:pt x="0" y="1703"/>
                    <a:pt x="525" y="2129"/>
                    <a:pt x="1073" y="2129"/>
                  </a:cubicBezTo>
                  <a:cubicBezTo>
                    <a:pt x="1335" y="2129"/>
                    <a:pt x="1603" y="2032"/>
                    <a:pt x="1821" y="1813"/>
                  </a:cubicBezTo>
                  <a:cubicBezTo>
                    <a:pt x="2488" y="1147"/>
                    <a:pt x="2016" y="1"/>
                    <a:pt x="1065"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522" name="Google Shape;2522;p104"/>
            <p:cNvSpPr/>
            <p:nvPr/>
          </p:nvSpPr>
          <p:spPr>
            <a:xfrm>
              <a:off x="4961125" y="1647400"/>
              <a:ext cx="62200" cy="53450"/>
            </a:xfrm>
            <a:custGeom>
              <a:avLst/>
              <a:gdLst/>
              <a:ahLst/>
              <a:cxnLst/>
              <a:rect l="l" t="t" r="r" b="b"/>
              <a:pathLst>
                <a:path w="2488" h="2138" extrusionOk="0">
                  <a:moveTo>
                    <a:pt x="1065" y="1"/>
                  </a:moveTo>
                  <a:cubicBezTo>
                    <a:pt x="480" y="1"/>
                    <a:pt x="0" y="481"/>
                    <a:pt x="0" y="1066"/>
                  </a:cubicBezTo>
                  <a:cubicBezTo>
                    <a:pt x="0" y="1710"/>
                    <a:pt x="525" y="2138"/>
                    <a:pt x="1074" y="2138"/>
                  </a:cubicBezTo>
                  <a:cubicBezTo>
                    <a:pt x="1336" y="2138"/>
                    <a:pt x="1603" y="2040"/>
                    <a:pt x="1821" y="1822"/>
                  </a:cubicBezTo>
                  <a:cubicBezTo>
                    <a:pt x="2488" y="1147"/>
                    <a:pt x="2016" y="1"/>
                    <a:pt x="1065"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523" name="Google Shape;2523;p104"/>
            <p:cNvSpPr/>
            <p:nvPr/>
          </p:nvSpPr>
          <p:spPr>
            <a:xfrm>
              <a:off x="4961125" y="1723625"/>
              <a:ext cx="62200" cy="53350"/>
            </a:xfrm>
            <a:custGeom>
              <a:avLst/>
              <a:gdLst/>
              <a:ahLst/>
              <a:cxnLst/>
              <a:rect l="l" t="t" r="r" b="b"/>
              <a:pathLst>
                <a:path w="2488" h="2134" extrusionOk="0">
                  <a:moveTo>
                    <a:pt x="1065" y="1"/>
                  </a:moveTo>
                  <a:cubicBezTo>
                    <a:pt x="480" y="1"/>
                    <a:pt x="0" y="480"/>
                    <a:pt x="0" y="1065"/>
                  </a:cubicBezTo>
                  <a:cubicBezTo>
                    <a:pt x="0" y="1709"/>
                    <a:pt x="525" y="2133"/>
                    <a:pt x="1074" y="2133"/>
                  </a:cubicBezTo>
                  <a:cubicBezTo>
                    <a:pt x="1336" y="2133"/>
                    <a:pt x="1603" y="2037"/>
                    <a:pt x="1821" y="1822"/>
                  </a:cubicBezTo>
                  <a:cubicBezTo>
                    <a:pt x="2488" y="1147"/>
                    <a:pt x="2016" y="1"/>
                    <a:pt x="1065"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524" name="Google Shape;2524;p104"/>
            <p:cNvSpPr/>
            <p:nvPr/>
          </p:nvSpPr>
          <p:spPr>
            <a:xfrm>
              <a:off x="4961125" y="1799850"/>
              <a:ext cx="62200" cy="53325"/>
            </a:xfrm>
            <a:custGeom>
              <a:avLst/>
              <a:gdLst/>
              <a:ahLst/>
              <a:cxnLst/>
              <a:rect l="l" t="t" r="r" b="b"/>
              <a:pathLst>
                <a:path w="2488" h="2133"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525" name="Google Shape;2525;p104"/>
            <p:cNvSpPr/>
            <p:nvPr/>
          </p:nvSpPr>
          <p:spPr>
            <a:xfrm>
              <a:off x="4961125" y="1876050"/>
              <a:ext cx="62200" cy="53275"/>
            </a:xfrm>
            <a:custGeom>
              <a:avLst/>
              <a:gdLst/>
              <a:ahLst/>
              <a:cxnLst/>
              <a:rect l="l" t="t" r="r" b="b"/>
              <a:pathLst>
                <a:path w="2488" h="2131" extrusionOk="0">
                  <a:moveTo>
                    <a:pt x="1065" y="1"/>
                  </a:moveTo>
                  <a:cubicBezTo>
                    <a:pt x="480" y="1"/>
                    <a:pt x="0" y="472"/>
                    <a:pt x="0" y="1066"/>
                  </a:cubicBezTo>
                  <a:cubicBezTo>
                    <a:pt x="0" y="1707"/>
                    <a:pt x="522" y="2131"/>
                    <a:pt x="1069" y="2131"/>
                  </a:cubicBezTo>
                  <a:cubicBezTo>
                    <a:pt x="1333" y="2131"/>
                    <a:pt x="1602" y="2033"/>
                    <a:pt x="1821" y="1813"/>
                  </a:cubicBezTo>
                  <a:cubicBezTo>
                    <a:pt x="2488" y="1147"/>
                    <a:pt x="2016" y="1"/>
                    <a:pt x="1065"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526" name="Google Shape;2526;p104"/>
            <p:cNvSpPr/>
            <p:nvPr/>
          </p:nvSpPr>
          <p:spPr>
            <a:xfrm>
              <a:off x="4961125" y="1952050"/>
              <a:ext cx="62200" cy="53450"/>
            </a:xfrm>
            <a:custGeom>
              <a:avLst/>
              <a:gdLst/>
              <a:ahLst/>
              <a:cxnLst/>
              <a:rect l="l" t="t" r="r" b="b"/>
              <a:pathLst>
                <a:path w="2488" h="2138" extrusionOk="0">
                  <a:moveTo>
                    <a:pt x="1065" y="1"/>
                  </a:moveTo>
                  <a:cubicBezTo>
                    <a:pt x="480" y="9"/>
                    <a:pt x="0" y="481"/>
                    <a:pt x="0" y="1074"/>
                  </a:cubicBezTo>
                  <a:cubicBezTo>
                    <a:pt x="0" y="1712"/>
                    <a:pt x="525" y="2138"/>
                    <a:pt x="1073" y="2138"/>
                  </a:cubicBezTo>
                  <a:cubicBezTo>
                    <a:pt x="1335" y="2138"/>
                    <a:pt x="1603" y="2040"/>
                    <a:pt x="1821" y="1822"/>
                  </a:cubicBezTo>
                  <a:cubicBezTo>
                    <a:pt x="2488" y="1155"/>
                    <a:pt x="2016" y="1"/>
                    <a:pt x="1065"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527" name="Google Shape;2527;p104"/>
            <p:cNvSpPr/>
            <p:nvPr/>
          </p:nvSpPr>
          <p:spPr>
            <a:xfrm>
              <a:off x="4961125" y="2028275"/>
              <a:ext cx="62200" cy="53450"/>
            </a:xfrm>
            <a:custGeom>
              <a:avLst/>
              <a:gdLst/>
              <a:ahLst/>
              <a:cxnLst/>
              <a:rect l="l" t="t" r="r" b="b"/>
              <a:pathLst>
                <a:path w="2488" h="2138" extrusionOk="0">
                  <a:moveTo>
                    <a:pt x="1065" y="1"/>
                  </a:moveTo>
                  <a:cubicBezTo>
                    <a:pt x="480" y="1"/>
                    <a:pt x="0" y="480"/>
                    <a:pt x="0" y="1065"/>
                  </a:cubicBezTo>
                  <a:cubicBezTo>
                    <a:pt x="0" y="1709"/>
                    <a:pt x="525" y="2137"/>
                    <a:pt x="1074" y="2137"/>
                  </a:cubicBezTo>
                  <a:cubicBezTo>
                    <a:pt x="1336" y="2137"/>
                    <a:pt x="1603" y="2040"/>
                    <a:pt x="1821" y="1821"/>
                  </a:cubicBezTo>
                  <a:cubicBezTo>
                    <a:pt x="2488" y="1147"/>
                    <a:pt x="2016" y="1"/>
                    <a:pt x="1065"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528" name="Google Shape;2528;p104"/>
            <p:cNvSpPr/>
            <p:nvPr/>
          </p:nvSpPr>
          <p:spPr>
            <a:xfrm>
              <a:off x="4961125" y="2104500"/>
              <a:ext cx="62200" cy="53325"/>
            </a:xfrm>
            <a:custGeom>
              <a:avLst/>
              <a:gdLst/>
              <a:ahLst/>
              <a:cxnLst/>
              <a:rect l="l" t="t" r="r" b="b"/>
              <a:pathLst>
                <a:path w="2488" h="2133"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529" name="Google Shape;2529;p104"/>
            <p:cNvSpPr/>
            <p:nvPr/>
          </p:nvSpPr>
          <p:spPr>
            <a:xfrm>
              <a:off x="4961125" y="2180700"/>
              <a:ext cx="62200" cy="53350"/>
            </a:xfrm>
            <a:custGeom>
              <a:avLst/>
              <a:gdLst/>
              <a:ahLst/>
              <a:cxnLst/>
              <a:rect l="l" t="t" r="r" b="b"/>
              <a:pathLst>
                <a:path w="2488" h="2134" extrusionOk="0">
                  <a:moveTo>
                    <a:pt x="1065" y="1"/>
                  </a:moveTo>
                  <a:cubicBezTo>
                    <a:pt x="480" y="1"/>
                    <a:pt x="0" y="480"/>
                    <a:pt x="0" y="1066"/>
                  </a:cubicBezTo>
                  <a:cubicBezTo>
                    <a:pt x="0" y="1709"/>
                    <a:pt x="525" y="2133"/>
                    <a:pt x="1074" y="2133"/>
                  </a:cubicBezTo>
                  <a:cubicBezTo>
                    <a:pt x="1336" y="2133"/>
                    <a:pt x="1603" y="2037"/>
                    <a:pt x="1821" y="1822"/>
                  </a:cubicBezTo>
                  <a:cubicBezTo>
                    <a:pt x="2488" y="1147"/>
                    <a:pt x="2016" y="1"/>
                    <a:pt x="1065"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530" name="Google Shape;2530;p104"/>
            <p:cNvSpPr/>
            <p:nvPr/>
          </p:nvSpPr>
          <p:spPr>
            <a:xfrm>
              <a:off x="4961125" y="2256925"/>
              <a:ext cx="62350" cy="53425"/>
            </a:xfrm>
            <a:custGeom>
              <a:avLst/>
              <a:gdLst/>
              <a:ahLst/>
              <a:cxnLst/>
              <a:rect l="l" t="t" r="r" b="b"/>
              <a:pathLst>
                <a:path w="2494" h="2137" extrusionOk="0">
                  <a:moveTo>
                    <a:pt x="1075" y="0"/>
                  </a:moveTo>
                  <a:cubicBezTo>
                    <a:pt x="1072" y="0"/>
                    <a:pt x="1068" y="0"/>
                    <a:pt x="1065" y="0"/>
                  </a:cubicBezTo>
                  <a:cubicBezTo>
                    <a:pt x="472" y="0"/>
                    <a:pt x="0" y="480"/>
                    <a:pt x="0" y="1065"/>
                  </a:cubicBezTo>
                  <a:cubicBezTo>
                    <a:pt x="0" y="1709"/>
                    <a:pt x="529" y="2137"/>
                    <a:pt x="1078" y="2137"/>
                  </a:cubicBezTo>
                  <a:cubicBezTo>
                    <a:pt x="1339" y="2137"/>
                    <a:pt x="1606" y="2039"/>
                    <a:pt x="1821" y="1821"/>
                  </a:cubicBezTo>
                  <a:cubicBezTo>
                    <a:pt x="2494" y="1149"/>
                    <a:pt x="2020" y="0"/>
                    <a:pt x="1075"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531" name="Google Shape;2531;p104"/>
            <p:cNvSpPr/>
            <p:nvPr/>
          </p:nvSpPr>
          <p:spPr>
            <a:xfrm>
              <a:off x="4961125" y="2333125"/>
              <a:ext cx="62200" cy="53450"/>
            </a:xfrm>
            <a:custGeom>
              <a:avLst/>
              <a:gdLst/>
              <a:ahLst/>
              <a:cxnLst/>
              <a:rect l="l" t="t" r="r" b="b"/>
              <a:pathLst>
                <a:path w="2488" h="2138" extrusionOk="0">
                  <a:moveTo>
                    <a:pt x="1065" y="1"/>
                  </a:moveTo>
                  <a:cubicBezTo>
                    <a:pt x="480" y="1"/>
                    <a:pt x="0" y="480"/>
                    <a:pt x="0" y="1066"/>
                  </a:cubicBezTo>
                  <a:cubicBezTo>
                    <a:pt x="0" y="1709"/>
                    <a:pt x="525" y="2137"/>
                    <a:pt x="1074" y="2137"/>
                  </a:cubicBezTo>
                  <a:cubicBezTo>
                    <a:pt x="1336" y="2137"/>
                    <a:pt x="1603" y="2040"/>
                    <a:pt x="1821" y="1822"/>
                  </a:cubicBezTo>
                  <a:cubicBezTo>
                    <a:pt x="2488" y="1147"/>
                    <a:pt x="2016" y="1"/>
                    <a:pt x="1065"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532" name="Google Shape;2532;p104"/>
            <p:cNvSpPr/>
            <p:nvPr/>
          </p:nvSpPr>
          <p:spPr>
            <a:xfrm>
              <a:off x="4961125" y="2409350"/>
              <a:ext cx="62200" cy="53350"/>
            </a:xfrm>
            <a:custGeom>
              <a:avLst/>
              <a:gdLst/>
              <a:ahLst/>
              <a:cxnLst/>
              <a:rect l="l" t="t" r="r" b="b"/>
              <a:pathLst>
                <a:path w="2488" h="2134"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533" name="Google Shape;2533;p104"/>
            <p:cNvSpPr/>
            <p:nvPr/>
          </p:nvSpPr>
          <p:spPr>
            <a:xfrm>
              <a:off x="4961125" y="2485550"/>
              <a:ext cx="62200" cy="53300"/>
            </a:xfrm>
            <a:custGeom>
              <a:avLst/>
              <a:gdLst/>
              <a:ahLst/>
              <a:cxnLst/>
              <a:rect l="l" t="t" r="r" b="b"/>
              <a:pathLst>
                <a:path w="2488" h="2132" extrusionOk="0">
                  <a:moveTo>
                    <a:pt x="1065" y="1"/>
                  </a:moveTo>
                  <a:cubicBezTo>
                    <a:pt x="472" y="1"/>
                    <a:pt x="0" y="472"/>
                    <a:pt x="0" y="1066"/>
                  </a:cubicBezTo>
                  <a:cubicBezTo>
                    <a:pt x="0" y="1708"/>
                    <a:pt x="522" y="2131"/>
                    <a:pt x="1069" y="2131"/>
                  </a:cubicBezTo>
                  <a:cubicBezTo>
                    <a:pt x="1333" y="2131"/>
                    <a:pt x="1602" y="2033"/>
                    <a:pt x="1821" y="1814"/>
                  </a:cubicBezTo>
                  <a:cubicBezTo>
                    <a:pt x="2488" y="1147"/>
                    <a:pt x="2016" y="1"/>
                    <a:pt x="1065"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534" name="Google Shape;2534;p104"/>
            <p:cNvSpPr/>
            <p:nvPr/>
          </p:nvSpPr>
          <p:spPr>
            <a:xfrm>
              <a:off x="4961125" y="2561575"/>
              <a:ext cx="62200" cy="53425"/>
            </a:xfrm>
            <a:custGeom>
              <a:avLst/>
              <a:gdLst/>
              <a:ahLst/>
              <a:cxnLst/>
              <a:rect l="l" t="t" r="r" b="b"/>
              <a:pathLst>
                <a:path w="2488" h="2137" extrusionOk="0">
                  <a:moveTo>
                    <a:pt x="1065" y="0"/>
                  </a:moveTo>
                  <a:cubicBezTo>
                    <a:pt x="480" y="8"/>
                    <a:pt x="0" y="480"/>
                    <a:pt x="0" y="1073"/>
                  </a:cubicBezTo>
                  <a:cubicBezTo>
                    <a:pt x="0" y="1711"/>
                    <a:pt x="525" y="2137"/>
                    <a:pt x="1073" y="2137"/>
                  </a:cubicBezTo>
                  <a:cubicBezTo>
                    <a:pt x="1335" y="2137"/>
                    <a:pt x="1603" y="2039"/>
                    <a:pt x="1821" y="1821"/>
                  </a:cubicBezTo>
                  <a:cubicBezTo>
                    <a:pt x="2488" y="1154"/>
                    <a:pt x="2016" y="0"/>
                    <a:pt x="1065"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535" name="Google Shape;2535;p104"/>
            <p:cNvSpPr/>
            <p:nvPr/>
          </p:nvSpPr>
          <p:spPr>
            <a:xfrm>
              <a:off x="5037325" y="1571400"/>
              <a:ext cx="62225" cy="53250"/>
            </a:xfrm>
            <a:custGeom>
              <a:avLst/>
              <a:gdLst/>
              <a:ahLst/>
              <a:cxnLst/>
              <a:rect l="l" t="t" r="r" b="b"/>
              <a:pathLst>
                <a:path w="2489" h="2130" extrusionOk="0">
                  <a:moveTo>
                    <a:pt x="1066" y="1"/>
                  </a:moveTo>
                  <a:cubicBezTo>
                    <a:pt x="472" y="1"/>
                    <a:pt x="1" y="472"/>
                    <a:pt x="1" y="1066"/>
                  </a:cubicBezTo>
                  <a:cubicBezTo>
                    <a:pt x="1" y="1703"/>
                    <a:pt x="525" y="2129"/>
                    <a:pt x="1071" y="2129"/>
                  </a:cubicBezTo>
                  <a:cubicBezTo>
                    <a:pt x="1332" y="2129"/>
                    <a:pt x="1598" y="2032"/>
                    <a:pt x="1814" y="1813"/>
                  </a:cubicBezTo>
                  <a:cubicBezTo>
                    <a:pt x="2488" y="1147"/>
                    <a:pt x="2009" y="1"/>
                    <a:pt x="1066"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536" name="Google Shape;2536;p104"/>
            <p:cNvSpPr/>
            <p:nvPr/>
          </p:nvSpPr>
          <p:spPr>
            <a:xfrm>
              <a:off x="5037325" y="1647400"/>
              <a:ext cx="62225" cy="53450"/>
            </a:xfrm>
            <a:custGeom>
              <a:avLst/>
              <a:gdLst/>
              <a:ahLst/>
              <a:cxnLst/>
              <a:rect l="l" t="t" r="r" b="b"/>
              <a:pathLst>
                <a:path w="2489" h="2138" extrusionOk="0">
                  <a:moveTo>
                    <a:pt x="1066" y="1"/>
                  </a:moveTo>
                  <a:cubicBezTo>
                    <a:pt x="472" y="9"/>
                    <a:pt x="1" y="481"/>
                    <a:pt x="1" y="1066"/>
                  </a:cubicBezTo>
                  <a:cubicBezTo>
                    <a:pt x="1" y="1710"/>
                    <a:pt x="526" y="2138"/>
                    <a:pt x="1072" y="2138"/>
                  </a:cubicBezTo>
                  <a:cubicBezTo>
                    <a:pt x="1333" y="2138"/>
                    <a:pt x="1598" y="2040"/>
                    <a:pt x="1814" y="1822"/>
                  </a:cubicBezTo>
                  <a:cubicBezTo>
                    <a:pt x="2488" y="1147"/>
                    <a:pt x="2009" y="1"/>
                    <a:pt x="1066"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537" name="Google Shape;2537;p104"/>
            <p:cNvSpPr/>
            <p:nvPr/>
          </p:nvSpPr>
          <p:spPr>
            <a:xfrm>
              <a:off x="5037325" y="1723625"/>
              <a:ext cx="62225" cy="53350"/>
            </a:xfrm>
            <a:custGeom>
              <a:avLst/>
              <a:gdLst/>
              <a:ahLst/>
              <a:cxnLst/>
              <a:rect l="l" t="t" r="r" b="b"/>
              <a:pathLst>
                <a:path w="2489" h="2134" extrusionOk="0">
                  <a:moveTo>
                    <a:pt x="1066" y="1"/>
                  </a:moveTo>
                  <a:cubicBezTo>
                    <a:pt x="472" y="1"/>
                    <a:pt x="1" y="480"/>
                    <a:pt x="1" y="1065"/>
                  </a:cubicBezTo>
                  <a:cubicBezTo>
                    <a:pt x="1" y="1709"/>
                    <a:pt x="526" y="2133"/>
                    <a:pt x="1072" y="2133"/>
                  </a:cubicBezTo>
                  <a:cubicBezTo>
                    <a:pt x="1333" y="2133"/>
                    <a:pt x="1598" y="2037"/>
                    <a:pt x="1814" y="1822"/>
                  </a:cubicBezTo>
                  <a:cubicBezTo>
                    <a:pt x="2488" y="1147"/>
                    <a:pt x="2009" y="1"/>
                    <a:pt x="1066"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538" name="Google Shape;2538;p104"/>
            <p:cNvSpPr/>
            <p:nvPr/>
          </p:nvSpPr>
          <p:spPr>
            <a:xfrm>
              <a:off x="5037325" y="1799850"/>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4" y="1821"/>
                  </a:cubicBezTo>
                  <a:cubicBezTo>
                    <a:pt x="2488" y="1146"/>
                    <a:pt x="2009" y="0"/>
                    <a:pt x="1066"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539" name="Google Shape;2539;p104"/>
            <p:cNvSpPr/>
            <p:nvPr/>
          </p:nvSpPr>
          <p:spPr>
            <a:xfrm>
              <a:off x="5037325" y="1876050"/>
              <a:ext cx="62225" cy="53275"/>
            </a:xfrm>
            <a:custGeom>
              <a:avLst/>
              <a:gdLst/>
              <a:ahLst/>
              <a:cxnLst/>
              <a:rect l="l" t="t" r="r" b="b"/>
              <a:pathLst>
                <a:path w="2489" h="2131" extrusionOk="0">
                  <a:moveTo>
                    <a:pt x="1066" y="1"/>
                  </a:moveTo>
                  <a:cubicBezTo>
                    <a:pt x="472" y="1"/>
                    <a:pt x="1" y="472"/>
                    <a:pt x="1" y="1066"/>
                  </a:cubicBezTo>
                  <a:cubicBezTo>
                    <a:pt x="1" y="1707"/>
                    <a:pt x="523" y="2131"/>
                    <a:pt x="1067" y="2131"/>
                  </a:cubicBezTo>
                  <a:cubicBezTo>
                    <a:pt x="1330" y="2131"/>
                    <a:pt x="1597" y="2033"/>
                    <a:pt x="1814" y="1813"/>
                  </a:cubicBezTo>
                  <a:cubicBezTo>
                    <a:pt x="2488" y="1147"/>
                    <a:pt x="2009" y="1"/>
                    <a:pt x="1066"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540" name="Google Shape;2540;p104"/>
            <p:cNvSpPr/>
            <p:nvPr/>
          </p:nvSpPr>
          <p:spPr>
            <a:xfrm>
              <a:off x="5037325" y="1952050"/>
              <a:ext cx="62225" cy="53450"/>
            </a:xfrm>
            <a:custGeom>
              <a:avLst/>
              <a:gdLst/>
              <a:ahLst/>
              <a:cxnLst/>
              <a:rect l="l" t="t" r="r" b="b"/>
              <a:pathLst>
                <a:path w="2489" h="2138" extrusionOk="0">
                  <a:moveTo>
                    <a:pt x="1066" y="1"/>
                  </a:moveTo>
                  <a:cubicBezTo>
                    <a:pt x="472" y="9"/>
                    <a:pt x="1" y="481"/>
                    <a:pt x="1" y="1074"/>
                  </a:cubicBezTo>
                  <a:cubicBezTo>
                    <a:pt x="1" y="1712"/>
                    <a:pt x="525" y="2138"/>
                    <a:pt x="1071" y="2138"/>
                  </a:cubicBezTo>
                  <a:cubicBezTo>
                    <a:pt x="1332" y="2138"/>
                    <a:pt x="1598" y="2040"/>
                    <a:pt x="1814" y="1822"/>
                  </a:cubicBezTo>
                  <a:cubicBezTo>
                    <a:pt x="2488" y="1155"/>
                    <a:pt x="2009" y="1"/>
                    <a:pt x="1066"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541" name="Google Shape;2541;p104"/>
            <p:cNvSpPr/>
            <p:nvPr/>
          </p:nvSpPr>
          <p:spPr>
            <a:xfrm>
              <a:off x="5037325" y="2028275"/>
              <a:ext cx="62225" cy="53450"/>
            </a:xfrm>
            <a:custGeom>
              <a:avLst/>
              <a:gdLst/>
              <a:ahLst/>
              <a:cxnLst/>
              <a:rect l="l" t="t" r="r" b="b"/>
              <a:pathLst>
                <a:path w="2489" h="2138" extrusionOk="0">
                  <a:moveTo>
                    <a:pt x="1066" y="1"/>
                  </a:moveTo>
                  <a:cubicBezTo>
                    <a:pt x="472" y="1"/>
                    <a:pt x="1" y="480"/>
                    <a:pt x="1" y="1065"/>
                  </a:cubicBezTo>
                  <a:cubicBezTo>
                    <a:pt x="1" y="1709"/>
                    <a:pt x="526" y="2137"/>
                    <a:pt x="1072" y="2137"/>
                  </a:cubicBezTo>
                  <a:cubicBezTo>
                    <a:pt x="1333" y="2137"/>
                    <a:pt x="1598" y="2040"/>
                    <a:pt x="1814" y="1821"/>
                  </a:cubicBezTo>
                  <a:cubicBezTo>
                    <a:pt x="2488" y="1147"/>
                    <a:pt x="2009" y="1"/>
                    <a:pt x="1066"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542" name="Google Shape;2542;p104"/>
            <p:cNvSpPr/>
            <p:nvPr/>
          </p:nvSpPr>
          <p:spPr>
            <a:xfrm>
              <a:off x="5037325" y="2104500"/>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4" y="1821"/>
                  </a:cubicBezTo>
                  <a:cubicBezTo>
                    <a:pt x="2488" y="1146"/>
                    <a:pt x="2009" y="0"/>
                    <a:pt x="1066"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543" name="Google Shape;2543;p104"/>
            <p:cNvSpPr/>
            <p:nvPr/>
          </p:nvSpPr>
          <p:spPr>
            <a:xfrm>
              <a:off x="5037325" y="2180700"/>
              <a:ext cx="62225" cy="53350"/>
            </a:xfrm>
            <a:custGeom>
              <a:avLst/>
              <a:gdLst/>
              <a:ahLst/>
              <a:cxnLst/>
              <a:rect l="l" t="t" r="r" b="b"/>
              <a:pathLst>
                <a:path w="2489" h="2134" extrusionOk="0">
                  <a:moveTo>
                    <a:pt x="1066" y="1"/>
                  </a:moveTo>
                  <a:cubicBezTo>
                    <a:pt x="472" y="1"/>
                    <a:pt x="1" y="480"/>
                    <a:pt x="1" y="1066"/>
                  </a:cubicBezTo>
                  <a:cubicBezTo>
                    <a:pt x="1" y="1709"/>
                    <a:pt x="526" y="2133"/>
                    <a:pt x="1072" y="2133"/>
                  </a:cubicBezTo>
                  <a:cubicBezTo>
                    <a:pt x="1333" y="2133"/>
                    <a:pt x="1598" y="2037"/>
                    <a:pt x="1814" y="1822"/>
                  </a:cubicBezTo>
                  <a:cubicBezTo>
                    <a:pt x="2488" y="1147"/>
                    <a:pt x="2009" y="1"/>
                    <a:pt x="1066"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544" name="Google Shape;2544;p104"/>
            <p:cNvSpPr/>
            <p:nvPr/>
          </p:nvSpPr>
          <p:spPr>
            <a:xfrm>
              <a:off x="5037325" y="2256925"/>
              <a:ext cx="62375" cy="53425"/>
            </a:xfrm>
            <a:custGeom>
              <a:avLst/>
              <a:gdLst/>
              <a:ahLst/>
              <a:cxnLst/>
              <a:rect l="l" t="t" r="r" b="b"/>
              <a:pathLst>
                <a:path w="2495" h="2137" extrusionOk="0">
                  <a:moveTo>
                    <a:pt x="1076" y="0"/>
                  </a:moveTo>
                  <a:cubicBezTo>
                    <a:pt x="1072" y="0"/>
                    <a:pt x="1069" y="0"/>
                    <a:pt x="1066" y="0"/>
                  </a:cubicBezTo>
                  <a:cubicBezTo>
                    <a:pt x="472" y="0"/>
                    <a:pt x="1" y="480"/>
                    <a:pt x="1" y="1065"/>
                  </a:cubicBezTo>
                  <a:cubicBezTo>
                    <a:pt x="1" y="1709"/>
                    <a:pt x="526" y="2137"/>
                    <a:pt x="1075" y="2137"/>
                  </a:cubicBezTo>
                  <a:cubicBezTo>
                    <a:pt x="1336" y="2137"/>
                    <a:pt x="1604" y="2039"/>
                    <a:pt x="1822" y="1821"/>
                  </a:cubicBezTo>
                  <a:cubicBezTo>
                    <a:pt x="2494" y="1149"/>
                    <a:pt x="2020" y="0"/>
                    <a:pt x="1076"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545" name="Google Shape;2545;p104"/>
            <p:cNvSpPr/>
            <p:nvPr/>
          </p:nvSpPr>
          <p:spPr>
            <a:xfrm>
              <a:off x="5037325" y="2333125"/>
              <a:ext cx="62225" cy="53450"/>
            </a:xfrm>
            <a:custGeom>
              <a:avLst/>
              <a:gdLst/>
              <a:ahLst/>
              <a:cxnLst/>
              <a:rect l="l" t="t" r="r" b="b"/>
              <a:pathLst>
                <a:path w="2489" h="2138" extrusionOk="0">
                  <a:moveTo>
                    <a:pt x="1066" y="1"/>
                  </a:moveTo>
                  <a:cubicBezTo>
                    <a:pt x="472" y="1"/>
                    <a:pt x="1" y="480"/>
                    <a:pt x="1" y="1066"/>
                  </a:cubicBezTo>
                  <a:cubicBezTo>
                    <a:pt x="1" y="1709"/>
                    <a:pt x="526" y="2137"/>
                    <a:pt x="1072" y="2137"/>
                  </a:cubicBezTo>
                  <a:cubicBezTo>
                    <a:pt x="1333" y="2137"/>
                    <a:pt x="1598" y="2040"/>
                    <a:pt x="1814" y="1822"/>
                  </a:cubicBezTo>
                  <a:cubicBezTo>
                    <a:pt x="2488" y="1147"/>
                    <a:pt x="2009" y="1"/>
                    <a:pt x="1066"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546" name="Google Shape;2546;p104"/>
            <p:cNvSpPr/>
            <p:nvPr/>
          </p:nvSpPr>
          <p:spPr>
            <a:xfrm>
              <a:off x="5037325" y="2409350"/>
              <a:ext cx="62225" cy="53350"/>
            </a:xfrm>
            <a:custGeom>
              <a:avLst/>
              <a:gdLst/>
              <a:ahLst/>
              <a:cxnLst/>
              <a:rect l="l" t="t" r="r" b="b"/>
              <a:pathLst>
                <a:path w="2489" h="2134" extrusionOk="0">
                  <a:moveTo>
                    <a:pt x="1066" y="0"/>
                  </a:moveTo>
                  <a:cubicBezTo>
                    <a:pt x="472" y="0"/>
                    <a:pt x="1" y="480"/>
                    <a:pt x="1" y="1065"/>
                  </a:cubicBezTo>
                  <a:cubicBezTo>
                    <a:pt x="1" y="1709"/>
                    <a:pt x="526" y="2133"/>
                    <a:pt x="1072" y="2133"/>
                  </a:cubicBezTo>
                  <a:cubicBezTo>
                    <a:pt x="1333" y="2133"/>
                    <a:pt x="1598" y="2036"/>
                    <a:pt x="1814" y="1821"/>
                  </a:cubicBezTo>
                  <a:cubicBezTo>
                    <a:pt x="2488" y="1146"/>
                    <a:pt x="2009" y="0"/>
                    <a:pt x="1066"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547" name="Google Shape;2547;p104"/>
            <p:cNvSpPr/>
            <p:nvPr/>
          </p:nvSpPr>
          <p:spPr>
            <a:xfrm>
              <a:off x="5037325" y="2485550"/>
              <a:ext cx="62225" cy="53300"/>
            </a:xfrm>
            <a:custGeom>
              <a:avLst/>
              <a:gdLst/>
              <a:ahLst/>
              <a:cxnLst/>
              <a:rect l="l" t="t" r="r" b="b"/>
              <a:pathLst>
                <a:path w="2489" h="2132" extrusionOk="0">
                  <a:moveTo>
                    <a:pt x="1066" y="1"/>
                  </a:moveTo>
                  <a:cubicBezTo>
                    <a:pt x="472" y="1"/>
                    <a:pt x="1" y="480"/>
                    <a:pt x="1" y="1066"/>
                  </a:cubicBezTo>
                  <a:cubicBezTo>
                    <a:pt x="1" y="1708"/>
                    <a:pt x="523" y="2131"/>
                    <a:pt x="1067" y="2131"/>
                  </a:cubicBezTo>
                  <a:cubicBezTo>
                    <a:pt x="1330" y="2131"/>
                    <a:pt x="1597" y="2033"/>
                    <a:pt x="1814" y="1814"/>
                  </a:cubicBezTo>
                  <a:cubicBezTo>
                    <a:pt x="2488" y="1147"/>
                    <a:pt x="2009" y="1"/>
                    <a:pt x="1066"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548" name="Google Shape;2548;p104"/>
            <p:cNvSpPr/>
            <p:nvPr/>
          </p:nvSpPr>
          <p:spPr>
            <a:xfrm>
              <a:off x="5037325" y="2561575"/>
              <a:ext cx="62225" cy="53425"/>
            </a:xfrm>
            <a:custGeom>
              <a:avLst/>
              <a:gdLst/>
              <a:ahLst/>
              <a:cxnLst/>
              <a:rect l="l" t="t" r="r" b="b"/>
              <a:pathLst>
                <a:path w="2489" h="2137" extrusionOk="0">
                  <a:moveTo>
                    <a:pt x="1066" y="0"/>
                  </a:moveTo>
                  <a:cubicBezTo>
                    <a:pt x="472" y="8"/>
                    <a:pt x="1" y="480"/>
                    <a:pt x="1" y="1073"/>
                  </a:cubicBezTo>
                  <a:cubicBezTo>
                    <a:pt x="1" y="1711"/>
                    <a:pt x="525" y="2137"/>
                    <a:pt x="1071" y="2137"/>
                  </a:cubicBezTo>
                  <a:cubicBezTo>
                    <a:pt x="1332" y="2137"/>
                    <a:pt x="1598" y="2039"/>
                    <a:pt x="1814" y="1821"/>
                  </a:cubicBezTo>
                  <a:cubicBezTo>
                    <a:pt x="2488" y="1154"/>
                    <a:pt x="2009" y="0"/>
                    <a:pt x="1066"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549" name="Google Shape;2549;p104"/>
            <p:cNvSpPr/>
            <p:nvPr/>
          </p:nvSpPr>
          <p:spPr>
            <a:xfrm>
              <a:off x="5113350" y="2561575"/>
              <a:ext cx="62400" cy="53425"/>
            </a:xfrm>
            <a:custGeom>
              <a:avLst/>
              <a:gdLst/>
              <a:ahLst/>
              <a:cxnLst/>
              <a:rect l="l" t="t" r="r" b="b"/>
              <a:pathLst>
                <a:path w="2496" h="2137" extrusionOk="0">
                  <a:moveTo>
                    <a:pt x="1073" y="0"/>
                  </a:moveTo>
                  <a:cubicBezTo>
                    <a:pt x="480" y="8"/>
                    <a:pt x="8" y="480"/>
                    <a:pt x="0" y="1073"/>
                  </a:cubicBezTo>
                  <a:cubicBezTo>
                    <a:pt x="0" y="1711"/>
                    <a:pt x="525" y="2137"/>
                    <a:pt x="1073" y="2137"/>
                  </a:cubicBezTo>
                  <a:cubicBezTo>
                    <a:pt x="1335" y="2137"/>
                    <a:pt x="1603" y="2039"/>
                    <a:pt x="1821" y="1821"/>
                  </a:cubicBezTo>
                  <a:cubicBezTo>
                    <a:pt x="2496" y="1154"/>
                    <a:pt x="2016" y="0"/>
                    <a:pt x="1073"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550" name="Google Shape;2550;p104"/>
            <p:cNvSpPr/>
            <p:nvPr/>
          </p:nvSpPr>
          <p:spPr>
            <a:xfrm>
              <a:off x="5113350" y="2637775"/>
              <a:ext cx="62400" cy="53450"/>
            </a:xfrm>
            <a:custGeom>
              <a:avLst/>
              <a:gdLst/>
              <a:ahLst/>
              <a:cxnLst/>
              <a:rect l="l" t="t" r="r" b="b"/>
              <a:pathLst>
                <a:path w="2496" h="2138" extrusionOk="0">
                  <a:moveTo>
                    <a:pt x="1073" y="1"/>
                  </a:moveTo>
                  <a:cubicBezTo>
                    <a:pt x="480" y="1"/>
                    <a:pt x="0" y="480"/>
                    <a:pt x="0" y="1074"/>
                  </a:cubicBezTo>
                  <a:cubicBezTo>
                    <a:pt x="0" y="1712"/>
                    <a:pt x="528" y="2137"/>
                    <a:pt x="1076" y="2137"/>
                  </a:cubicBezTo>
                  <a:cubicBezTo>
                    <a:pt x="1339" y="2137"/>
                    <a:pt x="1605" y="2040"/>
                    <a:pt x="1821" y="1822"/>
                  </a:cubicBezTo>
                  <a:cubicBezTo>
                    <a:pt x="2496" y="1155"/>
                    <a:pt x="2016" y="1"/>
                    <a:pt x="1073"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551" name="Google Shape;2551;p104"/>
            <p:cNvSpPr/>
            <p:nvPr/>
          </p:nvSpPr>
          <p:spPr>
            <a:xfrm>
              <a:off x="5189550" y="1418975"/>
              <a:ext cx="62225" cy="53350"/>
            </a:xfrm>
            <a:custGeom>
              <a:avLst/>
              <a:gdLst/>
              <a:ahLst/>
              <a:cxnLst/>
              <a:rect l="l" t="t" r="r" b="b"/>
              <a:pathLst>
                <a:path w="2489" h="2134" extrusionOk="0">
                  <a:moveTo>
                    <a:pt x="1066" y="1"/>
                  </a:moveTo>
                  <a:cubicBezTo>
                    <a:pt x="480" y="1"/>
                    <a:pt x="1" y="480"/>
                    <a:pt x="1" y="1065"/>
                  </a:cubicBezTo>
                  <a:cubicBezTo>
                    <a:pt x="1" y="1709"/>
                    <a:pt x="526" y="2133"/>
                    <a:pt x="1072" y="2133"/>
                  </a:cubicBezTo>
                  <a:cubicBezTo>
                    <a:pt x="1333" y="2133"/>
                    <a:pt x="1598" y="2037"/>
                    <a:pt x="1814" y="1822"/>
                  </a:cubicBezTo>
                  <a:cubicBezTo>
                    <a:pt x="2488" y="1155"/>
                    <a:pt x="2017" y="1"/>
                    <a:pt x="1066"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552" name="Google Shape;2552;p104"/>
            <p:cNvSpPr/>
            <p:nvPr/>
          </p:nvSpPr>
          <p:spPr>
            <a:xfrm>
              <a:off x="5189550" y="1495200"/>
              <a:ext cx="62225" cy="53325"/>
            </a:xfrm>
            <a:custGeom>
              <a:avLst/>
              <a:gdLst/>
              <a:ahLst/>
              <a:cxnLst/>
              <a:rect l="l" t="t" r="r" b="b"/>
              <a:pathLst>
                <a:path w="2489" h="2133" extrusionOk="0">
                  <a:moveTo>
                    <a:pt x="1066" y="0"/>
                  </a:moveTo>
                  <a:cubicBezTo>
                    <a:pt x="480" y="0"/>
                    <a:pt x="1" y="472"/>
                    <a:pt x="1" y="1065"/>
                  </a:cubicBezTo>
                  <a:cubicBezTo>
                    <a:pt x="1" y="1709"/>
                    <a:pt x="522" y="2133"/>
                    <a:pt x="1069" y="2133"/>
                  </a:cubicBezTo>
                  <a:cubicBezTo>
                    <a:pt x="1329" y="2133"/>
                    <a:pt x="1596" y="2036"/>
                    <a:pt x="1814" y="1821"/>
                  </a:cubicBezTo>
                  <a:cubicBezTo>
                    <a:pt x="2488" y="1154"/>
                    <a:pt x="2017" y="0"/>
                    <a:pt x="1066"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553" name="Google Shape;2553;p104"/>
            <p:cNvSpPr/>
            <p:nvPr/>
          </p:nvSpPr>
          <p:spPr>
            <a:xfrm>
              <a:off x="5189550" y="1571400"/>
              <a:ext cx="62225" cy="53300"/>
            </a:xfrm>
            <a:custGeom>
              <a:avLst/>
              <a:gdLst/>
              <a:ahLst/>
              <a:cxnLst/>
              <a:rect l="l" t="t" r="r" b="b"/>
              <a:pathLst>
                <a:path w="2489" h="2132" extrusionOk="0">
                  <a:moveTo>
                    <a:pt x="1051" y="0"/>
                  </a:moveTo>
                  <a:cubicBezTo>
                    <a:pt x="472" y="0"/>
                    <a:pt x="1" y="477"/>
                    <a:pt x="1" y="1066"/>
                  </a:cubicBezTo>
                  <a:cubicBezTo>
                    <a:pt x="1" y="1705"/>
                    <a:pt x="524" y="2132"/>
                    <a:pt x="1072" y="2132"/>
                  </a:cubicBezTo>
                  <a:cubicBezTo>
                    <a:pt x="1332" y="2132"/>
                    <a:pt x="1597" y="2036"/>
                    <a:pt x="1814" y="1822"/>
                  </a:cubicBezTo>
                  <a:cubicBezTo>
                    <a:pt x="2488" y="1147"/>
                    <a:pt x="2017" y="1"/>
                    <a:pt x="1066" y="1"/>
                  </a:cubicBezTo>
                  <a:cubicBezTo>
                    <a:pt x="1061" y="1"/>
                    <a:pt x="1056" y="0"/>
                    <a:pt x="1051"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554" name="Google Shape;2554;p104"/>
            <p:cNvSpPr/>
            <p:nvPr/>
          </p:nvSpPr>
          <p:spPr>
            <a:xfrm>
              <a:off x="5189550" y="1647400"/>
              <a:ext cx="62225" cy="53450"/>
            </a:xfrm>
            <a:custGeom>
              <a:avLst/>
              <a:gdLst/>
              <a:ahLst/>
              <a:cxnLst/>
              <a:rect l="l" t="t" r="r" b="b"/>
              <a:pathLst>
                <a:path w="2489" h="2138" extrusionOk="0">
                  <a:moveTo>
                    <a:pt x="1066" y="1"/>
                  </a:moveTo>
                  <a:cubicBezTo>
                    <a:pt x="480" y="1"/>
                    <a:pt x="1" y="481"/>
                    <a:pt x="1" y="1066"/>
                  </a:cubicBezTo>
                  <a:cubicBezTo>
                    <a:pt x="1" y="1710"/>
                    <a:pt x="522" y="2138"/>
                    <a:pt x="1068" y="2138"/>
                  </a:cubicBezTo>
                  <a:cubicBezTo>
                    <a:pt x="1329" y="2138"/>
                    <a:pt x="1596" y="2040"/>
                    <a:pt x="1814" y="1822"/>
                  </a:cubicBezTo>
                  <a:cubicBezTo>
                    <a:pt x="2488" y="1155"/>
                    <a:pt x="2017" y="9"/>
                    <a:pt x="1066"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555" name="Google Shape;2555;p104"/>
            <p:cNvSpPr/>
            <p:nvPr/>
          </p:nvSpPr>
          <p:spPr>
            <a:xfrm>
              <a:off x="5189550" y="1723625"/>
              <a:ext cx="62225" cy="53350"/>
            </a:xfrm>
            <a:custGeom>
              <a:avLst/>
              <a:gdLst/>
              <a:ahLst/>
              <a:cxnLst/>
              <a:rect l="l" t="t" r="r" b="b"/>
              <a:pathLst>
                <a:path w="2489" h="2134" extrusionOk="0">
                  <a:moveTo>
                    <a:pt x="1066" y="1"/>
                  </a:moveTo>
                  <a:cubicBezTo>
                    <a:pt x="480" y="1"/>
                    <a:pt x="1" y="480"/>
                    <a:pt x="1" y="1065"/>
                  </a:cubicBezTo>
                  <a:cubicBezTo>
                    <a:pt x="1" y="1709"/>
                    <a:pt x="526" y="2133"/>
                    <a:pt x="1072" y="2133"/>
                  </a:cubicBezTo>
                  <a:cubicBezTo>
                    <a:pt x="1333" y="2133"/>
                    <a:pt x="1598" y="2037"/>
                    <a:pt x="1814" y="1822"/>
                  </a:cubicBezTo>
                  <a:cubicBezTo>
                    <a:pt x="2488" y="1155"/>
                    <a:pt x="2017" y="9"/>
                    <a:pt x="1066"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556" name="Google Shape;2556;p104"/>
            <p:cNvSpPr/>
            <p:nvPr/>
          </p:nvSpPr>
          <p:spPr>
            <a:xfrm>
              <a:off x="5189550" y="1799850"/>
              <a:ext cx="62225" cy="53325"/>
            </a:xfrm>
            <a:custGeom>
              <a:avLst/>
              <a:gdLst/>
              <a:ahLst/>
              <a:cxnLst/>
              <a:rect l="l" t="t" r="r" b="b"/>
              <a:pathLst>
                <a:path w="2489" h="2133" extrusionOk="0">
                  <a:moveTo>
                    <a:pt x="1066" y="0"/>
                  </a:moveTo>
                  <a:cubicBezTo>
                    <a:pt x="480" y="0"/>
                    <a:pt x="1" y="472"/>
                    <a:pt x="1" y="1065"/>
                  </a:cubicBezTo>
                  <a:cubicBezTo>
                    <a:pt x="1" y="1709"/>
                    <a:pt x="526" y="2133"/>
                    <a:pt x="1072" y="2133"/>
                  </a:cubicBezTo>
                  <a:cubicBezTo>
                    <a:pt x="1333" y="2133"/>
                    <a:pt x="1598" y="2036"/>
                    <a:pt x="1814" y="1821"/>
                  </a:cubicBezTo>
                  <a:cubicBezTo>
                    <a:pt x="2488" y="1146"/>
                    <a:pt x="2017" y="0"/>
                    <a:pt x="1066"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557" name="Google Shape;2557;p104"/>
            <p:cNvSpPr/>
            <p:nvPr/>
          </p:nvSpPr>
          <p:spPr>
            <a:xfrm>
              <a:off x="5189550" y="1876050"/>
              <a:ext cx="62225" cy="53300"/>
            </a:xfrm>
            <a:custGeom>
              <a:avLst/>
              <a:gdLst/>
              <a:ahLst/>
              <a:cxnLst/>
              <a:rect l="l" t="t" r="r" b="b"/>
              <a:pathLst>
                <a:path w="2489" h="2132" extrusionOk="0">
                  <a:moveTo>
                    <a:pt x="1066" y="1"/>
                  </a:moveTo>
                  <a:cubicBezTo>
                    <a:pt x="480" y="1"/>
                    <a:pt x="1" y="472"/>
                    <a:pt x="1" y="1066"/>
                  </a:cubicBezTo>
                  <a:cubicBezTo>
                    <a:pt x="1" y="1705"/>
                    <a:pt x="524" y="2132"/>
                    <a:pt x="1072" y="2132"/>
                  </a:cubicBezTo>
                  <a:cubicBezTo>
                    <a:pt x="1332" y="2132"/>
                    <a:pt x="1597" y="2036"/>
                    <a:pt x="1814" y="1822"/>
                  </a:cubicBezTo>
                  <a:cubicBezTo>
                    <a:pt x="2488" y="1147"/>
                    <a:pt x="2017" y="1"/>
                    <a:pt x="1066"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558" name="Google Shape;2558;p104"/>
            <p:cNvSpPr/>
            <p:nvPr/>
          </p:nvSpPr>
          <p:spPr>
            <a:xfrm>
              <a:off x="5189550" y="1952050"/>
              <a:ext cx="62225" cy="53450"/>
            </a:xfrm>
            <a:custGeom>
              <a:avLst/>
              <a:gdLst/>
              <a:ahLst/>
              <a:cxnLst/>
              <a:rect l="l" t="t" r="r" b="b"/>
              <a:pathLst>
                <a:path w="2489" h="2138" extrusionOk="0">
                  <a:moveTo>
                    <a:pt x="1066" y="1"/>
                  </a:moveTo>
                  <a:cubicBezTo>
                    <a:pt x="480" y="1"/>
                    <a:pt x="1" y="481"/>
                    <a:pt x="1" y="1074"/>
                  </a:cubicBezTo>
                  <a:cubicBezTo>
                    <a:pt x="1" y="1712"/>
                    <a:pt x="525" y="2138"/>
                    <a:pt x="1071" y="2138"/>
                  </a:cubicBezTo>
                  <a:cubicBezTo>
                    <a:pt x="1332" y="2138"/>
                    <a:pt x="1598" y="2040"/>
                    <a:pt x="1814" y="1822"/>
                  </a:cubicBezTo>
                  <a:cubicBezTo>
                    <a:pt x="2488" y="1155"/>
                    <a:pt x="2017" y="9"/>
                    <a:pt x="1066"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559" name="Google Shape;2559;p104"/>
            <p:cNvSpPr/>
            <p:nvPr/>
          </p:nvSpPr>
          <p:spPr>
            <a:xfrm>
              <a:off x="5189550" y="2028275"/>
              <a:ext cx="62225" cy="53350"/>
            </a:xfrm>
            <a:custGeom>
              <a:avLst/>
              <a:gdLst/>
              <a:ahLst/>
              <a:cxnLst/>
              <a:rect l="l" t="t" r="r" b="b"/>
              <a:pathLst>
                <a:path w="2489" h="2134" extrusionOk="0">
                  <a:moveTo>
                    <a:pt x="1066" y="1"/>
                  </a:moveTo>
                  <a:cubicBezTo>
                    <a:pt x="480" y="1"/>
                    <a:pt x="1" y="480"/>
                    <a:pt x="1" y="1065"/>
                  </a:cubicBezTo>
                  <a:cubicBezTo>
                    <a:pt x="1" y="1709"/>
                    <a:pt x="526" y="2133"/>
                    <a:pt x="1072" y="2133"/>
                  </a:cubicBezTo>
                  <a:cubicBezTo>
                    <a:pt x="1333" y="2133"/>
                    <a:pt x="1598" y="2037"/>
                    <a:pt x="1814" y="1821"/>
                  </a:cubicBezTo>
                  <a:cubicBezTo>
                    <a:pt x="2488" y="1155"/>
                    <a:pt x="2017" y="9"/>
                    <a:pt x="1066"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560" name="Google Shape;2560;p104"/>
            <p:cNvSpPr/>
            <p:nvPr/>
          </p:nvSpPr>
          <p:spPr>
            <a:xfrm>
              <a:off x="5189550" y="2104500"/>
              <a:ext cx="62225" cy="53325"/>
            </a:xfrm>
            <a:custGeom>
              <a:avLst/>
              <a:gdLst/>
              <a:ahLst/>
              <a:cxnLst/>
              <a:rect l="l" t="t" r="r" b="b"/>
              <a:pathLst>
                <a:path w="2489" h="2133" extrusionOk="0">
                  <a:moveTo>
                    <a:pt x="1066" y="0"/>
                  </a:moveTo>
                  <a:cubicBezTo>
                    <a:pt x="480" y="0"/>
                    <a:pt x="1" y="480"/>
                    <a:pt x="1" y="1065"/>
                  </a:cubicBezTo>
                  <a:cubicBezTo>
                    <a:pt x="1" y="1709"/>
                    <a:pt x="522" y="2133"/>
                    <a:pt x="1069" y="2133"/>
                  </a:cubicBezTo>
                  <a:cubicBezTo>
                    <a:pt x="1329" y="2133"/>
                    <a:pt x="1596" y="2036"/>
                    <a:pt x="1814" y="1821"/>
                  </a:cubicBezTo>
                  <a:cubicBezTo>
                    <a:pt x="2488" y="1154"/>
                    <a:pt x="2017" y="8"/>
                    <a:pt x="1066"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561" name="Google Shape;2561;p104"/>
            <p:cNvSpPr/>
            <p:nvPr/>
          </p:nvSpPr>
          <p:spPr>
            <a:xfrm>
              <a:off x="5189550" y="2180700"/>
              <a:ext cx="62225" cy="53350"/>
            </a:xfrm>
            <a:custGeom>
              <a:avLst/>
              <a:gdLst/>
              <a:ahLst/>
              <a:cxnLst/>
              <a:rect l="l" t="t" r="r" b="b"/>
              <a:pathLst>
                <a:path w="2489" h="2134" extrusionOk="0">
                  <a:moveTo>
                    <a:pt x="1066" y="1"/>
                  </a:moveTo>
                  <a:cubicBezTo>
                    <a:pt x="480" y="1"/>
                    <a:pt x="1" y="472"/>
                    <a:pt x="1" y="1066"/>
                  </a:cubicBezTo>
                  <a:cubicBezTo>
                    <a:pt x="1" y="1709"/>
                    <a:pt x="522" y="2133"/>
                    <a:pt x="1069" y="2133"/>
                  </a:cubicBezTo>
                  <a:cubicBezTo>
                    <a:pt x="1329" y="2133"/>
                    <a:pt x="1596" y="2037"/>
                    <a:pt x="1814" y="1822"/>
                  </a:cubicBezTo>
                  <a:cubicBezTo>
                    <a:pt x="2488" y="1155"/>
                    <a:pt x="2017" y="1"/>
                    <a:pt x="1066"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562" name="Google Shape;2562;p104"/>
            <p:cNvSpPr/>
            <p:nvPr/>
          </p:nvSpPr>
          <p:spPr>
            <a:xfrm>
              <a:off x="5189550" y="2256925"/>
              <a:ext cx="62425" cy="53425"/>
            </a:xfrm>
            <a:custGeom>
              <a:avLst/>
              <a:gdLst/>
              <a:ahLst/>
              <a:cxnLst/>
              <a:rect l="l" t="t" r="r" b="b"/>
              <a:pathLst>
                <a:path w="2497" h="2137" extrusionOk="0">
                  <a:moveTo>
                    <a:pt x="1066" y="0"/>
                  </a:moveTo>
                  <a:cubicBezTo>
                    <a:pt x="480" y="0"/>
                    <a:pt x="1" y="472"/>
                    <a:pt x="1" y="1065"/>
                  </a:cubicBezTo>
                  <a:cubicBezTo>
                    <a:pt x="1" y="1709"/>
                    <a:pt x="526" y="2137"/>
                    <a:pt x="1074" y="2137"/>
                  </a:cubicBezTo>
                  <a:cubicBezTo>
                    <a:pt x="1336" y="2137"/>
                    <a:pt x="1604" y="2039"/>
                    <a:pt x="1822" y="1821"/>
                  </a:cubicBezTo>
                  <a:cubicBezTo>
                    <a:pt x="2496" y="1146"/>
                    <a:pt x="2017" y="0"/>
                    <a:pt x="1066"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563" name="Google Shape;2563;p104"/>
            <p:cNvSpPr/>
            <p:nvPr/>
          </p:nvSpPr>
          <p:spPr>
            <a:xfrm>
              <a:off x="5189550" y="2333125"/>
              <a:ext cx="62225" cy="53350"/>
            </a:xfrm>
            <a:custGeom>
              <a:avLst/>
              <a:gdLst/>
              <a:ahLst/>
              <a:cxnLst/>
              <a:rect l="l" t="t" r="r" b="b"/>
              <a:pathLst>
                <a:path w="2489" h="2134" extrusionOk="0">
                  <a:moveTo>
                    <a:pt x="1066" y="1"/>
                  </a:moveTo>
                  <a:cubicBezTo>
                    <a:pt x="480" y="1"/>
                    <a:pt x="1" y="480"/>
                    <a:pt x="1" y="1066"/>
                  </a:cubicBezTo>
                  <a:cubicBezTo>
                    <a:pt x="1" y="1709"/>
                    <a:pt x="522" y="2134"/>
                    <a:pt x="1069" y="2134"/>
                  </a:cubicBezTo>
                  <a:cubicBezTo>
                    <a:pt x="1329" y="2134"/>
                    <a:pt x="1596" y="2037"/>
                    <a:pt x="1814" y="1822"/>
                  </a:cubicBezTo>
                  <a:cubicBezTo>
                    <a:pt x="2488" y="1155"/>
                    <a:pt x="2017" y="9"/>
                    <a:pt x="1066"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564" name="Google Shape;2564;p104"/>
            <p:cNvSpPr/>
            <p:nvPr/>
          </p:nvSpPr>
          <p:spPr>
            <a:xfrm>
              <a:off x="5189550" y="2409350"/>
              <a:ext cx="62225" cy="53350"/>
            </a:xfrm>
            <a:custGeom>
              <a:avLst/>
              <a:gdLst/>
              <a:ahLst/>
              <a:cxnLst/>
              <a:rect l="l" t="t" r="r" b="b"/>
              <a:pathLst>
                <a:path w="2489" h="2134" extrusionOk="0">
                  <a:moveTo>
                    <a:pt x="1066" y="0"/>
                  </a:moveTo>
                  <a:cubicBezTo>
                    <a:pt x="480" y="0"/>
                    <a:pt x="1" y="472"/>
                    <a:pt x="1" y="1065"/>
                  </a:cubicBezTo>
                  <a:cubicBezTo>
                    <a:pt x="1" y="1709"/>
                    <a:pt x="526" y="2133"/>
                    <a:pt x="1072" y="2133"/>
                  </a:cubicBezTo>
                  <a:cubicBezTo>
                    <a:pt x="1333" y="2133"/>
                    <a:pt x="1598" y="2036"/>
                    <a:pt x="1814" y="1821"/>
                  </a:cubicBezTo>
                  <a:cubicBezTo>
                    <a:pt x="2488" y="1146"/>
                    <a:pt x="2017" y="0"/>
                    <a:pt x="1066"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565" name="Google Shape;2565;p104"/>
            <p:cNvSpPr/>
            <p:nvPr/>
          </p:nvSpPr>
          <p:spPr>
            <a:xfrm>
              <a:off x="5189550" y="2485550"/>
              <a:ext cx="62425" cy="53300"/>
            </a:xfrm>
            <a:custGeom>
              <a:avLst/>
              <a:gdLst/>
              <a:ahLst/>
              <a:cxnLst/>
              <a:rect l="l" t="t" r="r" b="b"/>
              <a:pathLst>
                <a:path w="2497" h="2132" extrusionOk="0">
                  <a:moveTo>
                    <a:pt x="1066" y="1"/>
                  </a:moveTo>
                  <a:cubicBezTo>
                    <a:pt x="480" y="1"/>
                    <a:pt x="1" y="480"/>
                    <a:pt x="1" y="1066"/>
                  </a:cubicBezTo>
                  <a:cubicBezTo>
                    <a:pt x="1" y="1708"/>
                    <a:pt x="523" y="2131"/>
                    <a:pt x="1070" y="2131"/>
                  </a:cubicBezTo>
                  <a:cubicBezTo>
                    <a:pt x="1333" y="2131"/>
                    <a:pt x="1602" y="2033"/>
                    <a:pt x="1822" y="1814"/>
                  </a:cubicBezTo>
                  <a:cubicBezTo>
                    <a:pt x="2496" y="1147"/>
                    <a:pt x="2017" y="1"/>
                    <a:pt x="1066"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566" name="Google Shape;2566;p104"/>
            <p:cNvSpPr/>
            <p:nvPr/>
          </p:nvSpPr>
          <p:spPr>
            <a:xfrm>
              <a:off x="5189550" y="2561575"/>
              <a:ext cx="62225" cy="53425"/>
            </a:xfrm>
            <a:custGeom>
              <a:avLst/>
              <a:gdLst/>
              <a:ahLst/>
              <a:cxnLst/>
              <a:rect l="l" t="t" r="r" b="b"/>
              <a:pathLst>
                <a:path w="2489" h="2137" extrusionOk="0">
                  <a:moveTo>
                    <a:pt x="1066" y="0"/>
                  </a:moveTo>
                  <a:cubicBezTo>
                    <a:pt x="480" y="0"/>
                    <a:pt x="1" y="480"/>
                    <a:pt x="1" y="1073"/>
                  </a:cubicBezTo>
                  <a:cubicBezTo>
                    <a:pt x="1" y="1711"/>
                    <a:pt x="521" y="2137"/>
                    <a:pt x="1067" y="2137"/>
                  </a:cubicBezTo>
                  <a:cubicBezTo>
                    <a:pt x="1328" y="2137"/>
                    <a:pt x="1595" y="2039"/>
                    <a:pt x="1814" y="1821"/>
                  </a:cubicBezTo>
                  <a:cubicBezTo>
                    <a:pt x="2488" y="1154"/>
                    <a:pt x="2017" y="8"/>
                    <a:pt x="1066"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567" name="Google Shape;2567;p104"/>
            <p:cNvSpPr/>
            <p:nvPr/>
          </p:nvSpPr>
          <p:spPr>
            <a:xfrm>
              <a:off x="5189550" y="2714000"/>
              <a:ext cx="62225" cy="53350"/>
            </a:xfrm>
            <a:custGeom>
              <a:avLst/>
              <a:gdLst/>
              <a:ahLst/>
              <a:cxnLst/>
              <a:rect l="l" t="t" r="r" b="b"/>
              <a:pathLst>
                <a:path w="2489" h="2134" extrusionOk="0">
                  <a:moveTo>
                    <a:pt x="1066" y="0"/>
                  </a:moveTo>
                  <a:cubicBezTo>
                    <a:pt x="480" y="0"/>
                    <a:pt x="1" y="480"/>
                    <a:pt x="1" y="1065"/>
                  </a:cubicBezTo>
                  <a:cubicBezTo>
                    <a:pt x="1" y="1709"/>
                    <a:pt x="522" y="2133"/>
                    <a:pt x="1069" y="2133"/>
                  </a:cubicBezTo>
                  <a:cubicBezTo>
                    <a:pt x="1329" y="2133"/>
                    <a:pt x="1596" y="2036"/>
                    <a:pt x="1814" y="1821"/>
                  </a:cubicBezTo>
                  <a:cubicBezTo>
                    <a:pt x="2488" y="1155"/>
                    <a:pt x="2017" y="8"/>
                    <a:pt x="1066"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568" name="Google Shape;2568;p104"/>
            <p:cNvSpPr/>
            <p:nvPr/>
          </p:nvSpPr>
          <p:spPr>
            <a:xfrm>
              <a:off x="5189550" y="2637775"/>
              <a:ext cx="62425" cy="53450"/>
            </a:xfrm>
            <a:custGeom>
              <a:avLst/>
              <a:gdLst/>
              <a:ahLst/>
              <a:cxnLst/>
              <a:rect l="l" t="t" r="r" b="b"/>
              <a:pathLst>
                <a:path w="2497" h="2138" extrusionOk="0">
                  <a:moveTo>
                    <a:pt x="1066" y="1"/>
                  </a:moveTo>
                  <a:cubicBezTo>
                    <a:pt x="480" y="9"/>
                    <a:pt x="1" y="480"/>
                    <a:pt x="1" y="1074"/>
                  </a:cubicBezTo>
                  <a:cubicBezTo>
                    <a:pt x="1" y="1712"/>
                    <a:pt x="525" y="2137"/>
                    <a:pt x="1073" y="2137"/>
                  </a:cubicBezTo>
                  <a:cubicBezTo>
                    <a:pt x="1336" y="2137"/>
                    <a:pt x="1603" y="2040"/>
                    <a:pt x="1822" y="1822"/>
                  </a:cubicBezTo>
                  <a:cubicBezTo>
                    <a:pt x="2496" y="1147"/>
                    <a:pt x="2017" y="1"/>
                    <a:pt x="1066"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569" name="Google Shape;2569;p104"/>
            <p:cNvSpPr/>
            <p:nvPr/>
          </p:nvSpPr>
          <p:spPr>
            <a:xfrm>
              <a:off x="5265775" y="1342750"/>
              <a:ext cx="62200" cy="53350"/>
            </a:xfrm>
            <a:custGeom>
              <a:avLst/>
              <a:gdLst/>
              <a:ahLst/>
              <a:cxnLst/>
              <a:rect l="l" t="t" r="r" b="b"/>
              <a:pathLst>
                <a:path w="2488" h="2134" extrusionOk="0">
                  <a:moveTo>
                    <a:pt x="1065" y="1"/>
                  </a:moveTo>
                  <a:cubicBezTo>
                    <a:pt x="480" y="1"/>
                    <a:pt x="0" y="481"/>
                    <a:pt x="0" y="1066"/>
                  </a:cubicBezTo>
                  <a:cubicBezTo>
                    <a:pt x="0" y="1710"/>
                    <a:pt x="522" y="2134"/>
                    <a:pt x="1068" y="2134"/>
                  </a:cubicBezTo>
                  <a:cubicBezTo>
                    <a:pt x="1329" y="2134"/>
                    <a:pt x="1595" y="2037"/>
                    <a:pt x="1813" y="1822"/>
                  </a:cubicBezTo>
                  <a:cubicBezTo>
                    <a:pt x="2488" y="1155"/>
                    <a:pt x="2016" y="9"/>
                    <a:pt x="1065"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570" name="Google Shape;2570;p104"/>
            <p:cNvSpPr/>
            <p:nvPr/>
          </p:nvSpPr>
          <p:spPr>
            <a:xfrm>
              <a:off x="5265775" y="1418975"/>
              <a:ext cx="62200" cy="53350"/>
            </a:xfrm>
            <a:custGeom>
              <a:avLst/>
              <a:gdLst/>
              <a:ahLst/>
              <a:cxnLst/>
              <a:rect l="l" t="t" r="r" b="b"/>
              <a:pathLst>
                <a:path w="2488" h="2134" extrusionOk="0">
                  <a:moveTo>
                    <a:pt x="1065" y="1"/>
                  </a:moveTo>
                  <a:cubicBezTo>
                    <a:pt x="480" y="1"/>
                    <a:pt x="0" y="480"/>
                    <a:pt x="0" y="1065"/>
                  </a:cubicBezTo>
                  <a:cubicBezTo>
                    <a:pt x="0" y="1709"/>
                    <a:pt x="522" y="2133"/>
                    <a:pt x="1068" y="2133"/>
                  </a:cubicBezTo>
                  <a:cubicBezTo>
                    <a:pt x="1329" y="2133"/>
                    <a:pt x="1595" y="2037"/>
                    <a:pt x="1813" y="1822"/>
                  </a:cubicBezTo>
                  <a:cubicBezTo>
                    <a:pt x="2488" y="1155"/>
                    <a:pt x="2016" y="9"/>
                    <a:pt x="1065"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571" name="Google Shape;2571;p104"/>
            <p:cNvSpPr/>
            <p:nvPr/>
          </p:nvSpPr>
          <p:spPr>
            <a:xfrm>
              <a:off x="5265775" y="1495200"/>
              <a:ext cx="62200" cy="53325"/>
            </a:xfrm>
            <a:custGeom>
              <a:avLst/>
              <a:gdLst/>
              <a:ahLst/>
              <a:cxnLst/>
              <a:rect l="l" t="t" r="r" b="b"/>
              <a:pathLst>
                <a:path w="2488" h="2133" extrusionOk="0">
                  <a:moveTo>
                    <a:pt x="1065" y="0"/>
                  </a:moveTo>
                  <a:cubicBezTo>
                    <a:pt x="480" y="0"/>
                    <a:pt x="0" y="472"/>
                    <a:pt x="0" y="1065"/>
                  </a:cubicBezTo>
                  <a:cubicBezTo>
                    <a:pt x="0" y="1709"/>
                    <a:pt x="522" y="2133"/>
                    <a:pt x="1068" y="2133"/>
                  </a:cubicBezTo>
                  <a:cubicBezTo>
                    <a:pt x="1329" y="2133"/>
                    <a:pt x="1595" y="2036"/>
                    <a:pt x="1813" y="1821"/>
                  </a:cubicBezTo>
                  <a:cubicBezTo>
                    <a:pt x="2488" y="1154"/>
                    <a:pt x="2016" y="0"/>
                    <a:pt x="1065"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572" name="Google Shape;2572;p104"/>
            <p:cNvSpPr/>
            <p:nvPr/>
          </p:nvSpPr>
          <p:spPr>
            <a:xfrm>
              <a:off x="5265775" y="1571400"/>
              <a:ext cx="62200" cy="53300"/>
            </a:xfrm>
            <a:custGeom>
              <a:avLst/>
              <a:gdLst/>
              <a:ahLst/>
              <a:cxnLst/>
              <a:rect l="l" t="t" r="r" b="b"/>
              <a:pathLst>
                <a:path w="2488" h="2132" extrusionOk="0">
                  <a:moveTo>
                    <a:pt x="1051" y="0"/>
                  </a:moveTo>
                  <a:cubicBezTo>
                    <a:pt x="472" y="0"/>
                    <a:pt x="0" y="477"/>
                    <a:pt x="0" y="1066"/>
                  </a:cubicBezTo>
                  <a:cubicBezTo>
                    <a:pt x="0" y="1705"/>
                    <a:pt x="524" y="2132"/>
                    <a:pt x="1072" y="2132"/>
                  </a:cubicBezTo>
                  <a:cubicBezTo>
                    <a:pt x="1331" y="2132"/>
                    <a:pt x="1596" y="2036"/>
                    <a:pt x="1813" y="1822"/>
                  </a:cubicBezTo>
                  <a:cubicBezTo>
                    <a:pt x="2488" y="1147"/>
                    <a:pt x="2016" y="1"/>
                    <a:pt x="1065" y="1"/>
                  </a:cubicBezTo>
                  <a:cubicBezTo>
                    <a:pt x="1060" y="1"/>
                    <a:pt x="1055" y="0"/>
                    <a:pt x="1051"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573" name="Google Shape;2573;p104"/>
            <p:cNvSpPr/>
            <p:nvPr/>
          </p:nvSpPr>
          <p:spPr>
            <a:xfrm>
              <a:off x="5265775" y="1647400"/>
              <a:ext cx="62200" cy="53450"/>
            </a:xfrm>
            <a:custGeom>
              <a:avLst/>
              <a:gdLst/>
              <a:ahLst/>
              <a:cxnLst/>
              <a:rect l="l" t="t" r="r" b="b"/>
              <a:pathLst>
                <a:path w="2488" h="2138" extrusionOk="0">
                  <a:moveTo>
                    <a:pt x="1065" y="1"/>
                  </a:moveTo>
                  <a:cubicBezTo>
                    <a:pt x="480" y="1"/>
                    <a:pt x="0" y="481"/>
                    <a:pt x="0" y="1066"/>
                  </a:cubicBezTo>
                  <a:cubicBezTo>
                    <a:pt x="0" y="1710"/>
                    <a:pt x="522" y="2138"/>
                    <a:pt x="1068" y="2138"/>
                  </a:cubicBezTo>
                  <a:cubicBezTo>
                    <a:pt x="1329" y="2138"/>
                    <a:pt x="1595" y="2040"/>
                    <a:pt x="1813" y="1822"/>
                  </a:cubicBezTo>
                  <a:cubicBezTo>
                    <a:pt x="2488" y="1155"/>
                    <a:pt x="2016" y="9"/>
                    <a:pt x="1065"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574" name="Google Shape;2574;p104"/>
            <p:cNvSpPr/>
            <p:nvPr/>
          </p:nvSpPr>
          <p:spPr>
            <a:xfrm>
              <a:off x="5265775" y="1723625"/>
              <a:ext cx="62200" cy="53350"/>
            </a:xfrm>
            <a:custGeom>
              <a:avLst/>
              <a:gdLst/>
              <a:ahLst/>
              <a:cxnLst/>
              <a:rect l="l" t="t" r="r" b="b"/>
              <a:pathLst>
                <a:path w="2488" h="2134" extrusionOk="0">
                  <a:moveTo>
                    <a:pt x="1065" y="1"/>
                  </a:moveTo>
                  <a:cubicBezTo>
                    <a:pt x="480" y="1"/>
                    <a:pt x="0" y="480"/>
                    <a:pt x="0" y="1065"/>
                  </a:cubicBezTo>
                  <a:cubicBezTo>
                    <a:pt x="0" y="1709"/>
                    <a:pt x="522" y="2133"/>
                    <a:pt x="1068" y="2133"/>
                  </a:cubicBezTo>
                  <a:cubicBezTo>
                    <a:pt x="1329" y="2133"/>
                    <a:pt x="1595" y="2037"/>
                    <a:pt x="1813" y="1822"/>
                  </a:cubicBezTo>
                  <a:cubicBezTo>
                    <a:pt x="2488" y="1155"/>
                    <a:pt x="2016" y="9"/>
                    <a:pt x="1065"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575" name="Google Shape;2575;p104"/>
            <p:cNvSpPr/>
            <p:nvPr/>
          </p:nvSpPr>
          <p:spPr>
            <a:xfrm>
              <a:off x="5265775" y="1799850"/>
              <a:ext cx="62200" cy="53325"/>
            </a:xfrm>
            <a:custGeom>
              <a:avLst/>
              <a:gdLst/>
              <a:ahLst/>
              <a:cxnLst/>
              <a:rect l="l" t="t" r="r" b="b"/>
              <a:pathLst>
                <a:path w="2488" h="2133" extrusionOk="0">
                  <a:moveTo>
                    <a:pt x="1065" y="0"/>
                  </a:moveTo>
                  <a:cubicBezTo>
                    <a:pt x="480" y="0"/>
                    <a:pt x="0" y="472"/>
                    <a:pt x="0" y="1065"/>
                  </a:cubicBezTo>
                  <a:cubicBezTo>
                    <a:pt x="0" y="1709"/>
                    <a:pt x="522" y="2133"/>
                    <a:pt x="1068" y="2133"/>
                  </a:cubicBezTo>
                  <a:cubicBezTo>
                    <a:pt x="1329" y="2133"/>
                    <a:pt x="1595" y="2036"/>
                    <a:pt x="1813" y="1821"/>
                  </a:cubicBezTo>
                  <a:cubicBezTo>
                    <a:pt x="2488" y="1154"/>
                    <a:pt x="2016" y="0"/>
                    <a:pt x="1065"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576" name="Google Shape;2576;p104"/>
            <p:cNvSpPr/>
            <p:nvPr/>
          </p:nvSpPr>
          <p:spPr>
            <a:xfrm>
              <a:off x="5265775" y="1876050"/>
              <a:ext cx="62200" cy="53300"/>
            </a:xfrm>
            <a:custGeom>
              <a:avLst/>
              <a:gdLst/>
              <a:ahLst/>
              <a:cxnLst/>
              <a:rect l="l" t="t" r="r" b="b"/>
              <a:pathLst>
                <a:path w="2488" h="2132" extrusionOk="0">
                  <a:moveTo>
                    <a:pt x="1065" y="1"/>
                  </a:moveTo>
                  <a:cubicBezTo>
                    <a:pt x="480" y="1"/>
                    <a:pt x="0" y="472"/>
                    <a:pt x="0" y="1066"/>
                  </a:cubicBezTo>
                  <a:cubicBezTo>
                    <a:pt x="0" y="1705"/>
                    <a:pt x="524" y="2132"/>
                    <a:pt x="1072" y="2132"/>
                  </a:cubicBezTo>
                  <a:cubicBezTo>
                    <a:pt x="1331" y="2132"/>
                    <a:pt x="1596" y="2036"/>
                    <a:pt x="1813" y="1822"/>
                  </a:cubicBezTo>
                  <a:cubicBezTo>
                    <a:pt x="2488" y="1147"/>
                    <a:pt x="2016" y="1"/>
                    <a:pt x="1065"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577" name="Google Shape;2577;p104"/>
            <p:cNvSpPr/>
            <p:nvPr/>
          </p:nvSpPr>
          <p:spPr>
            <a:xfrm>
              <a:off x="5265775" y="1952050"/>
              <a:ext cx="62200" cy="53450"/>
            </a:xfrm>
            <a:custGeom>
              <a:avLst/>
              <a:gdLst/>
              <a:ahLst/>
              <a:cxnLst/>
              <a:rect l="l" t="t" r="r" b="b"/>
              <a:pathLst>
                <a:path w="2488" h="2138" extrusionOk="0">
                  <a:moveTo>
                    <a:pt x="1065" y="1"/>
                  </a:moveTo>
                  <a:cubicBezTo>
                    <a:pt x="480" y="1"/>
                    <a:pt x="0" y="481"/>
                    <a:pt x="0" y="1074"/>
                  </a:cubicBezTo>
                  <a:cubicBezTo>
                    <a:pt x="0" y="1712"/>
                    <a:pt x="521" y="2138"/>
                    <a:pt x="1067" y="2138"/>
                  </a:cubicBezTo>
                  <a:cubicBezTo>
                    <a:pt x="1328" y="2138"/>
                    <a:pt x="1595" y="2040"/>
                    <a:pt x="1813" y="1822"/>
                  </a:cubicBezTo>
                  <a:cubicBezTo>
                    <a:pt x="2488" y="1155"/>
                    <a:pt x="2016" y="9"/>
                    <a:pt x="1065"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578" name="Google Shape;2578;p104"/>
            <p:cNvSpPr/>
            <p:nvPr/>
          </p:nvSpPr>
          <p:spPr>
            <a:xfrm>
              <a:off x="5265775" y="2028275"/>
              <a:ext cx="62200" cy="53350"/>
            </a:xfrm>
            <a:custGeom>
              <a:avLst/>
              <a:gdLst/>
              <a:ahLst/>
              <a:cxnLst/>
              <a:rect l="l" t="t" r="r" b="b"/>
              <a:pathLst>
                <a:path w="2488" h="2134" extrusionOk="0">
                  <a:moveTo>
                    <a:pt x="1065" y="1"/>
                  </a:moveTo>
                  <a:cubicBezTo>
                    <a:pt x="480" y="1"/>
                    <a:pt x="0" y="480"/>
                    <a:pt x="0" y="1065"/>
                  </a:cubicBezTo>
                  <a:cubicBezTo>
                    <a:pt x="0" y="1709"/>
                    <a:pt x="522" y="2133"/>
                    <a:pt x="1068" y="2133"/>
                  </a:cubicBezTo>
                  <a:cubicBezTo>
                    <a:pt x="1329" y="2133"/>
                    <a:pt x="1595" y="2037"/>
                    <a:pt x="1813" y="1821"/>
                  </a:cubicBezTo>
                  <a:cubicBezTo>
                    <a:pt x="2488" y="1155"/>
                    <a:pt x="2016" y="9"/>
                    <a:pt x="1065"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579" name="Google Shape;2579;p104"/>
            <p:cNvSpPr/>
            <p:nvPr/>
          </p:nvSpPr>
          <p:spPr>
            <a:xfrm>
              <a:off x="5265775" y="2104500"/>
              <a:ext cx="62200" cy="53325"/>
            </a:xfrm>
            <a:custGeom>
              <a:avLst/>
              <a:gdLst/>
              <a:ahLst/>
              <a:cxnLst/>
              <a:rect l="l" t="t" r="r" b="b"/>
              <a:pathLst>
                <a:path w="2488" h="2133" extrusionOk="0">
                  <a:moveTo>
                    <a:pt x="1065" y="0"/>
                  </a:moveTo>
                  <a:cubicBezTo>
                    <a:pt x="480" y="0"/>
                    <a:pt x="0" y="480"/>
                    <a:pt x="0" y="1065"/>
                  </a:cubicBezTo>
                  <a:cubicBezTo>
                    <a:pt x="0" y="1709"/>
                    <a:pt x="522" y="2133"/>
                    <a:pt x="1068" y="2133"/>
                  </a:cubicBezTo>
                  <a:cubicBezTo>
                    <a:pt x="1329" y="2133"/>
                    <a:pt x="1595" y="2036"/>
                    <a:pt x="1813" y="1821"/>
                  </a:cubicBezTo>
                  <a:cubicBezTo>
                    <a:pt x="2488" y="1154"/>
                    <a:pt x="2016" y="8"/>
                    <a:pt x="1065"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580" name="Google Shape;2580;p104"/>
            <p:cNvSpPr/>
            <p:nvPr/>
          </p:nvSpPr>
          <p:spPr>
            <a:xfrm>
              <a:off x="5265775" y="2180700"/>
              <a:ext cx="62200" cy="53350"/>
            </a:xfrm>
            <a:custGeom>
              <a:avLst/>
              <a:gdLst/>
              <a:ahLst/>
              <a:cxnLst/>
              <a:rect l="l" t="t" r="r" b="b"/>
              <a:pathLst>
                <a:path w="2488" h="2134" extrusionOk="0">
                  <a:moveTo>
                    <a:pt x="1065" y="1"/>
                  </a:moveTo>
                  <a:cubicBezTo>
                    <a:pt x="480" y="1"/>
                    <a:pt x="0" y="472"/>
                    <a:pt x="0" y="1066"/>
                  </a:cubicBezTo>
                  <a:cubicBezTo>
                    <a:pt x="0" y="1709"/>
                    <a:pt x="522" y="2133"/>
                    <a:pt x="1068" y="2133"/>
                  </a:cubicBezTo>
                  <a:cubicBezTo>
                    <a:pt x="1329" y="2133"/>
                    <a:pt x="1595" y="2037"/>
                    <a:pt x="1813" y="1822"/>
                  </a:cubicBezTo>
                  <a:cubicBezTo>
                    <a:pt x="2488" y="1155"/>
                    <a:pt x="2016" y="1"/>
                    <a:pt x="1065"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581" name="Google Shape;2581;p104"/>
            <p:cNvSpPr/>
            <p:nvPr/>
          </p:nvSpPr>
          <p:spPr>
            <a:xfrm>
              <a:off x="5265775" y="2256925"/>
              <a:ext cx="62400" cy="53425"/>
            </a:xfrm>
            <a:custGeom>
              <a:avLst/>
              <a:gdLst/>
              <a:ahLst/>
              <a:cxnLst/>
              <a:rect l="l" t="t" r="r" b="b"/>
              <a:pathLst>
                <a:path w="2496" h="2137" extrusionOk="0">
                  <a:moveTo>
                    <a:pt x="1065" y="0"/>
                  </a:moveTo>
                  <a:cubicBezTo>
                    <a:pt x="480" y="0"/>
                    <a:pt x="0" y="472"/>
                    <a:pt x="0" y="1065"/>
                  </a:cubicBezTo>
                  <a:cubicBezTo>
                    <a:pt x="0" y="1709"/>
                    <a:pt x="525" y="2137"/>
                    <a:pt x="1074" y="2137"/>
                  </a:cubicBezTo>
                  <a:cubicBezTo>
                    <a:pt x="1336" y="2137"/>
                    <a:pt x="1603" y="2039"/>
                    <a:pt x="1821" y="1821"/>
                  </a:cubicBezTo>
                  <a:cubicBezTo>
                    <a:pt x="2496" y="1154"/>
                    <a:pt x="2016" y="0"/>
                    <a:pt x="1065"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582" name="Google Shape;2582;p104"/>
            <p:cNvSpPr/>
            <p:nvPr/>
          </p:nvSpPr>
          <p:spPr>
            <a:xfrm>
              <a:off x="5265775" y="2333125"/>
              <a:ext cx="62200" cy="53350"/>
            </a:xfrm>
            <a:custGeom>
              <a:avLst/>
              <a:gdLst/>
              <a:ahLst/>
              <a:cxnLst/>
              <a:rect l="l" t="t" r="r" b="b"/>
              <a:pathLst>
                <a:path w="2488" h="2134" extrusionOk="0">
                  <a:moveTo>
                    <a:pt x="1065" y="1"/>
                  </a:moveTo>
                  <a:cubicBezTo>
                    <a:pt x="480" y="1"/>
                    <a:pt x="0" y="480"/>
                    <a:pt x="0" y="1066"/>
                  </a:cubicBezTo>
                  <a:cubicBezTo>
                    <a:pt x="0" y="1709"/>
                    <a:pt x="522" y="2134"/>
                    <a:pt x="1068" y="2134"/>
                  </a:cubicBezTo>
                  <a:cubicBezTo>
                    <a:pt x="1329" y="2134"/>
                    <a:pt x="1595" y="2037"/>
                    <a:pt x="1813" y="1822"/>
                  </a:cubicBezTo>
                  <a:cubicBezTo>
                    <a:pt x="2488" y="1155"/>
                    <a:pt x="2016" y="9"/>
                    <a:pt x="1065"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583" name="Google Shape;2583;p104"/>
            <p:cNvSpPr/>
            <p:nvPr/>
          </p:nvSpPr>
          <p:spPr>
            <a:xfrm>
              <a:off x="5265775" y="2409350"/>
              <a:ext cx="62200" cy="53350"/>
            </a:xfrm>
            <a:custGeom>
              <a:avLst/>
              <a:gdLst/>
              <a:ahLst/>
              <a:cxnLst/>
              <a:rect l="l" t="t" r="r" b="b"/>
              <a:pathLst>
                <a:path w="2488" h="2134" extrusionOk="0">
                  <a:moveTo>
                    <a:pt x="1065" y="0"/>
                  </a:moveTo>
                  <a:cubicBezTo>
                    <a:pt x="480" y="0"/>
                    <a:pt x="0" y="472"/>
                    <a:pt x="0" y="1065"/>
                  </a:cubicBezTo>
                  <a:cubicBezTo>
                    <a:pt x="0" y="1709"/>
                    <a:pt x="522" y="2133"/>
                    <a:pt x="1068" y="2133"/>
                  </a:cubicBezTo>
                  <a:cubicBezTo>
                    <a:pt x="1329" y="2133"/>
                    <a:pt x="1595" y="2036"/>
                    <a:pt x="1813" y="1821"/>
                  </a:cubicBezTo>
                  <a:cubicBezTo>
                    <a:pt x="2488" y="1155"/>
                    <a:pt x="2016" y="0"/>
                    <a:pt x="1065"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584" name="Google Shape;2584;p104"/>
            <p:cNvSpPr/>
            <p:nvPr/>
          </p:nvSpPr>
          <p:spPr>
            <a:xfrm>
              <a:off x="5265775" y="2485550"/>
              <a:ext cx="62200" cy="53350"/>
            </a:xfrm>
            <a:custGeom>
              <a:avLst/>
              <a:gdLst/>
              <a:ahLst/>
              <a:cxnLst/>
              <a:rect l="l" t="t" r="r" b="b"/>
              <a:pathLst>
                <a:path w="2488" h="2134" extrusionOk="0">
                  <a:moveTo>
                    <a:pt x="1065" y="1"/>
                  </a:moveTo>
                  <a:cubicBezTo>
                    <a:pt x="480" y="1"/>
                    <a:pt x="0" y="472"/>
                    <a:pt x="0" y="1066"/>
                  </a:cubicBezTo>
                  <a:cubicBezTo>
                    <a:pt x="0" y="1710"/>
                    <a:pt x="526" y="2134"/>
                    <a:pt x="1074" y="2134"/>
                  </a:cubicBezTo>
                  <a:cubicBezTo>
                    <a:pt x="1336" y="2134"/>
                    <a:pt x="1603" y="2037"/>
                    <a:pt x="1821" y="1822"/>
                  </a:cubicBezTo>
                  <a:cubicBezTo>
                    <a:pt x="2488" y="1147"/>
                    <a:pt x="2016" y="1"/>
                    <a:pt x="1065"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585" name="Google Shape;2585;p104"/>
            <p:cNvSpPr/>
            <p:nvPr/>
          </p:nvSpPr>
          <p:spPr>
            <a:xfrm>
              <a:off x="5265775" y="2561575"/>
              <a:ext cx="62200" cy="53425"/>
            </a:xfrm>
            <a:custGeom>
              <a:avLst/>
              <a:gdLst/>
              <a:ahLst/>
              <a:cxnLst/>
              <a:rect l="l" t="t" r="r" b="b"/>
              <a:pathLst>
                <a:path w="2488" h="2137" extrusionOk="0">
                  <a:moveTo>
                    <a:pt x="1065" y="0"/>
                  </a:moveTo>
                  <a:cubicBezTo>
                    <a:pt x="480" y="0"/>
                    <a:pt x="0" y="480"/>
                    <a:pt x="0" y="1073"/>
                  </a:cubicBezTo>
                  <a:cubicBezTo>
                    <a:pt x="0" y="1711"/>
                    <a:pt x="521" y="2137"/>
                    <a:pt x="1067" y="2137"/>
                  </a:cubicBezTo>
                  <a:cubicBezTo>
                    <a:pt x="1328" y="2137"/>
                    <a:pt x="1595" y="2039"/>
                    <a:pt x="1813" y="1821"/>
                  </a:cubicBezTo>
                  <a:cubicBezTo>
                    <a:pt x="2488" y="1154"/>
                    <a:pt x="2016" y="8"/>
                    <a:pt x="1065"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586" name="Google Shape;2586;p104"/>
            <p:cNvSpPr/>
            <p:nvPr/>
          </p:nvSpPr>
          <p:spPr>
            <a:xfrm>
              <a:off x="5265775" y="2637775"/>
              <a:ext cx="62200" cy="53450"/>
            </a:xfrm>
            <a:custGeom>
              <a:avLst/>
              <a:gdLst/>
              <a:ahLst/>
              <a:cxnLst/>
              <a:rect l="l" t="t" r="r" b="b"/>
              <a:pathLst>
                <a:path w="2488" h="2138" extrusionOk="0">
                  <a:moveTo>
                    <a:pt x="1065" y="1"/>
                  </a:moveTo>
                  <a:cubicBezTo>
                    <a:pt x="480" y="1"/>
                    <a:pt x="0" y="480"/>
                    <a:pt x="0" y="1074"/>
                  </a:cubicBezTo>
                  <a:cubicBezTo>
                    <a:pt x="0" y="1712"/>
                    <a:pt x="525" y="2137"/>
                    <a:pt x="1073" y="2137"/>
                  </a:cubicBezTo>
                  <a:cubicBezTo>
                    <a:pt x="1335" y="2137"/>
                    <a:pt x="1603" y="2040"/>
                    <a:pt x="1821" y="1822"/>
                  </a:cubicBezTo>
                  <a:cubicBezTo>
                    <a:pt x="2488" y="1155"/>
                    <a:pt x="2016" y="1"/>
                    <a:pt x="1065"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587" name="Google Shape;2587;p104"/>
            <p:cNvSpPr/>
            <p:nvPr/>
          </p:nvSpPr>
          <p:spPr>
            <a:xfrm>
              <a:off x="5341975" y="1342750"/>
              <a:ext cx="62425" cy="53450"/>
            </a:xfrm>
            <a:custGeom>
              <a:avLst/>
              <a:gdLst/>
              <a:ahLst/>
              <a:cxnLst/>
              <a:rect l="l" t="t" r="r" b="b"/>
              <a:pathLst>
                <a:path w="2497" h="2138" extrusionOk="0">
                  <a:moveTo>
                    <a:pt x="1074" y="1"/>
                  </a:moveTo>
                  <a:cubicBezTo>
                    <a:pt x="480" y="1"/>
                    <a:pt x="9" y="481"/>
                    <a:pt x="1" y="1066"/>
                  </a:cubicBezTo>
                  <a:cubicBezTo>
                    <a:pt x="1" y="1710"/>
                    <a:pt x="530" y="2138"/>
                    <a:pt x="1078" y="2138"/>
                  </a:cubicBezTo>
                  <a:cubicBezTo>
                    <a:pt x="1340" y="2138"/>
                    <a:pt x="1606" y="2040"/>
                    <a:pt x="1822" y="1822"/>
                  </a:cubicBezTo>
                  <a:cubicBezTo>
                    <a:pt x="2497" y="1147"/>
                    <a:pt x="2017" y="1"/>
                    <a:pt x="1074"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588" name="Google Shape;2588;p104"/>
            <p:cNvSpPr/>
            <p:nvPr/>
          </p:nvSpPr>
          <p:spPr>
            <a:xfrm>
              <a:off x="5341975" y="1418975"/>
              <a:ext cx="62425" cy="53350"/>
            </a:xfrm>
            <a:custGeom>
              <a:avLst/>
              <a:gdLst/>
              <a:ahLst/>
              <a:cxnLst/>
              <a:rect l="l" t="t" r="r" b="b"/>
              <a:pathLst>
                <a:path w="2497" h="2134" extrusionOk="0">
                  <a:moveTo>
                    <a:pt x="1074" y="1"/>
                  </a:moveTo>
                  <a:cubicBezTo>
                    <a:pt x="480" y="1"/>
                    <a:pt x="9" y="480"/>
                    <a:pt x="1" y="1065"/>
                  </a:cubicBezTo>
                  <a:cubicBezTo>
                    <a:pt x="1" y="1709"/>
                    <a:pt x="530" y="2133"/>
                    <a:pt x="1078" y="2133"/>
                  </a:cubicBezTo>
                  <a:cubicBezTo>
                    <a:pt x="1340" y="2133"/>
                    <a:pt x="1606" y="2037"/>
                    <a:pt x="1822" y="1822"/>
                  </a:cubicBezTo>
                  <a:cubicBezTo>
                    <a:pt x="2497" y="1147"/>
                    <a:pt x="2017" y="1"/>
                    <a:pt x="1074"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589" name="Google Shape;2589;p104"/>
            <p:cNvSpPr/>
            <p:nvPr/>
          </p:nvSpPr>
          <p:spPr>
            <a:xfrm>
              <a:off x="5341975" y="1495200"/>
              <a:ext cx="62425" cy="53325"/>
            </a:xfrm>
            <a:custGeom>
              <a:avLst/>
              <a:gdLst/>
              <a:ahLst/>
              <a:cxnLst/>
              <a:rect l="l" t="t" r="r" b="b"/>
              <a:pathLst>
                <a:path w="2497" h="2133" extrusionOk="0">
                  <a:moveTo>
                    <a:pt x="1074" y="0"/>
                  </a:moveTo>
                  <a:cubicBezTo>
                    <a:pt x="480" y="0"/>
                    <a:pt x="9" y="480"/>
                    <a:pt x="1" y="1065"/>
                  </a:cubicBezTo>
                  <a:cubicBezTo>
                    <a:pt x="1" y="1709"/>
                    <a:pt x="530" y="2133"/>
                    <a:pt x="1078" y="2133"/>
                  </a:cubicBezTo>
                  <a:cubicBezTo>
                    <a:pt x="1340" y="2133"/>
                    <a:pt x="1606" y="2036"/>
                    <a:pt x="1822" y="1821"/>
                  </a:cubicBezTo>
                  <a:cubicBezTo>
                    <a:pt x="2497" y="1146"/>
                    <a:pt x="2017" y="0"/>
                    <a:pt x="1074"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590" name="Google Shape;2590;p104"/>
            <p:cNvSpPr/>
            <p:nvPr/>
          </p:nvSpPr>
          <p:spPr>
            <a:xfrm>
              <a:off x="5341975" y="1571400"/>
              <a:ext cx="62375" cy="53250"/>
            </a:xfrm>
            <a:custGeom>
              <a:avLst/>
              <a:gdLst/>
              <a:ahLst/>
              <a:cxnLst/>
              <a:rect l="l" t="t" r="r" b="b"/>
              <a:pathLst>
                <a:path w="2495" h="2130" extrusionOk="0">
                  <a:moveTo>
                    <a:pt x="1084" y="1"/>
                  </a:moveTo>
                  <a:cubicBezTo>
                    <a:pt x="1080" y="1"/>
                    <a:pt x="1077" y="1"/>
                    <a:pt x="1074" y="1"/>
                  </a:cubicBezTo>
                  <a:cubicBezTo>
                    <a:pt x="480" y="1"/>
                    <a:pt x="9" y="472"/>
                    <a:pt x="1" y="1066"/>
                  </a:cubicBezTo>
                  <a:cubicBezTo>
                    <a:pt x="1" y="1703"/>
                    <a:pt x="529" y="2129"/>
                    <a:pt x="1077" y="2129"/>
                  </a:cubicBezTo>
                  <a:cubicBezTo>
                    <a:pt x="1339" y="2129"/>
                    <a:pt x="1606" y="2032"/>
                    <a:pt x="1822" y="1813"/>
                  </a:cubicBezTo>
                  <a:cubicBezTo>
                    <a:pt x="2494" y="1149"/>
                    <a:pt x="2020" y="1"/>
                    <a:pt x="1084"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591" name="Google Shape;2591;p104"/>
            <p:cNvSpPr/>
            <p:nvPr/>
          </p:nvSpPr>
          <p:spPr>
            <a:xfrm>
              <a:off x="5341975" y="1647400"/>
              <a:ext cx="62425" cy="53450"/>
            </a:xfrm>
            <a:custGeom>
              <a:avLst/>
              <a:gdLst/>
              <a:ahLst/>
              <a:cxnLst/>
              <a:rect l="l" t="t" r="r" b="b"/>
              <a:pathLst>
                <a:path w="2497" h="2138" extrusionOk="0">
                  <a:moveTo>
                    <a:pt x="1074" y="1"/>
                  </a:moveTo>
                  <a:cubicBezTo>
                    <a:pt x="480" y="9"/>
                    <a:pt x="9" y="481"/>
                    <a:pt x="1" y="1066"/>
                  </a:cubicBezTo>
                  <a:cubicBezTo>
                    <a:pt x="1" y="1710"/>
                    <a:pt x="530" y="2138"/>
                    <a:pt x="1078" y="2138"/>
                  </a:cubicBezTo>
                  <a:cubicBezTo>
                    <a:pt x="1340" y="2138"/>
                    <a:pt x="1606" y="2040"/>
                    <a:pt x="1822" y="1822"/>
                  </a:cubicBezTo>
                  <a:cubicBezTo>
                    <a:pt x="2497" y="1147"/>
                    <a:pt x="2017" y="1"/>
                    <a:pt x="1074"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592" name="Google Shape;2592;p104"/>
            <p:cNvSpPr/>
            <p:nvPr/>
          </p:nvSpPr>
          <p:spPr>
            <a:xfrm>
              <a:off x="5341975" y="1723625"/>
              <a:ext cx="62425" cy="53350"/>
            </a:xfrm>
            <a:custGeom>
              <a:avLst/>
              <a:gdLst/>
              <a:ahLst/>
              <a:cxnLst/>
              <a:rect l="l" t="t" r="r" b="b"/>
              <a:pathLst>
                <a:path w="2497" h="2134" extrusionOk="0">
                  <a:moveTo>
                    <a:pt x="1074" y="1"/>
                  </a:moveTo>
                  <a:cubicBezTo>
                    <a:pt x="480" y="1"/>
                    <a:pt x="9" y="480"/>
                    <a:pt x="1" y="1065"/>
                  </a:cubicBezTo>
                  <a:cubicBezTo>
                    <a:pt x="1" y="1709"/>
                    <a:pt x="530" y="2133"/>
                    <a:pt x="1078" y="2133"/>
                  </a:cubicBezTo>
                  <a:cubicBezTo>
                    <a:pt x="1340" y="2133"/>
                    <a:pt x="1606" y="2037"/>
                    <a:pt x="1822" y="1822"/>
                  </a:cubicBezTo>
                  <a:cubicBezTo>
                    <a:pt x="2497" y="1147"/>
                    <a:pt x="2017" y="1"/>
                    <a:pt x="1074"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593" name="Google Shape;2593;p104"/>
            <p:cNvSpPr/>
            <p:nvPr/>
          </p:nvSpPr>
          <p:spPr>
            <a:xfrm>
              <a:off x="5341975" y="1799850"/>
              <a:ext cx="62425" cy="53325"/>
            </a:xfrm>
            <a:custGeom>
              <a:avLst/>
              <a:gdLst/>
              <a:ahLst/>
              <a:cxnLst/>
              <a:rect l="l" t="t" r="r" b="b"/>
              <a:pathLst>
                <a:path w="2497" h="2133" extrusionOk="0">
                  <a:moveTo>
                    <a:pt x="1074" y="0"/>
                  </a:moveTo>
                  <a:cubicBezTo>
                    <a:pt x="480" y="0"/>
                    <a:pt x="9" y="480"/>
                    <a:pt x="1" y="1065"/>
                  </a:cubicBezTo>
                  <a:cubicBezTo>
                    <a:pt x="1" y="1709"/>
                    <a:pt x="530" y="2133"/>
                    <a:pt x="1078" y="2133"/>
                  </a:cubicBezTo>
                  <a:cubicBezTo>
                    <a:pt x="1340" y="2133"/>
                    <a:pt x="1606" y="2036"/>
                    <a:pt x="1822" y="1821"/>
                  </a:cubicBezTo>
                  <a:cubicBezTo>
                    <a:pt x="2497" y="1146"/>
                    <a:pt x="2017" y="0"/>
                    <a:pt x="1074"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594" name="Google Shape;2594;p104"/>
            <p:cNvSpPr/>
            <p:nvPr/>
          </p:nvSpPr>
          <p:spPr>
            <a:xfrm>
              <a:off x="5341975" y="1876050"/>
              <a:ext cx="62425" cy="53275"/>
            </a:xfrm>
            <a:custGeom>
              <a:avLst/>
              <a:gdLst/>
              <a:ahLst/>
              <a:cxnLst/>
              <a:rect l="l" t="t" r="r" b="b"/>
              <a:pathLst>
                <a:path w="2497" h="2131" extrusionOk="0">
                  <a:moveTo>
                    <a:pt x="1074" y="1"/>
                  </a:moveTo>
                  <a:cubicBezTo>
                    <a:pt x="480" y="1"/>
                    <a:pt x="9" y="472"/>
                    <a:pt x="1" y="1066"/>
                  </a:cubicBezTo>
                  <a:cubicBezTo>
                    <a:pt x="1" y="1707"/>
                    <a:pt x="527" y="2131"/>
                    <a:pt x="1074" y="2131"/>
                  </a:cubicBezTo>
                  <a:cubicBezTo>
                    <a:pt x="1337" y="2131"/>
                    <a:pt x="1605" y="2033"/>
                    <a:pt x="1822" y="1813"/>
                  </a:cubicBezTo>
                  <a:cubicBezTo>
                    <a:pt x="2497" y="1147"/>
                    <a:pt x="2017" y="1"/>
                    <a:pt x="1074"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595" name="Google Shape;2595;p104"/>
            <p:cNvSpPr/>
            <p:nvPr/>
          </p:nvSpPr>
          <p:spPr>
            <a:xfrm>
              <a:off x="5341975" y="1952050"/>
              <a:ext cx="62425" cy="53450"/>
            </a:xfrm>
            <a:custGeom>
              <a:avLst/>
              <a:gdLst/>
              <a:ahLst/>
              <a:cxnLst/>
              <a:rect l="l" t="t" r="r" b="b"/>
              <a:pathLst>
                <a:path w="2497" h="2138" extrusionOk="0">
                  <a:moveTo>
                    <a:pt x="1074" y="1"/>
                  </a:moveTo>
                  <a:cubicBezTo>
                    <a:pt x="480" y="9"/>
                    <a:pt x="9" y="481"/>
                    <a:pt x="1" y="1074"/>
                  </a:cubicBezTo>
                  <a:cubicBezTo>
                    <a:pt x="1" y="1712"/>
                    <a:pt x="529" y="2138"/>
                    <a:pt x="1077" y="2138"/>
                  </a:cubicBezTo>
                  <a:cubicBezTo>
                    <a:pt x="1339" y="2138"/>
                    <a:pt x="1606" y="2040"/>
                    <a:pt x="1822" y="1822"/>
                  </a:cubicBezTo>
                  <a:cubicBezTo>
                    <a:pt x="2497" y="1155"/>
                    <a:pt x="2017" y="1"/>
                    <a:pt x="1074"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596" name="Google Shape;2596;p104"/>
            <p:cNvSpPr/>
            <p:nvPr/>
          </p:nvSpPr>
          <p:spPr>
            <a:xfrm>
              <a:off x="5341975" y="2028275"/>
              <a:ext cx="62425" cy="53450"/>
            </a:xfrm>
            <a:custGeom>
              <a:avLst/>
              <a:gdLst/>
              <a:ahLst/>
              <a:cxnLst/>
              <a:rect l="l" t="t" r="r" b="b"/>
              <a:pathLst>
                <a:path w="2497" h="2138" extrusionOk="0">
                  <a:moveTo>
                    <a:pt x="1074" y="1"/>
                  </a:moveTo>
                  <a:cubicBezTo>
                    <a:pt x="480" y="1"/>
                    <a:pt x="9" y="480"/>
                    <a:pt x="1" y="1065"/>
                  </a:cubicBezTo>
                  <a:cubicBezTo>
                    <a:pt x="1" y="1709"/>
                    <a:pt x="530" y="2137"/>
                    <a:pt x="1078" y="2137"/>
                  </a:cubicBezTo>
                  <a:cubicBezTo>
                    <a:pt x="1340" y="2137"/>
                    <a:pt x="1606" y="2040"/>
                    <a:pt x="1822" y="1821"/>
                  </a:cubicBezTo>
                  <a:cubicBezTo>
                    <a:pt x="2497" y="1147"/>
                    <a:pt x="2017" y="1"/>
                    <a:pt x="1074"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597" name="Google Shape;2597;p104"/>
            <p:cNvSpPr/>
            <p:nvPr/>
          </p:nvSpPr>
          <p:spPr>
            <a:xfrm>
              <a:off x="5341975" y="2104500"/>
              <a:ext cx="62425" cy="53325"/>
            </a:xfrm>
            <a:custGeom>
              <a:avLst/>
              <a:gdLst/>
              <a:ahLst/>
              <a:cxnLst/>
              <a:rect l="l" t="t" r="r" b="b"/>
              <a:pathLst>
                <a:path w="2497" h="2133" extrusionOk="0">
                  <a:moveTo>
                    <a:pt x="1074" y="0"/>
                  </a:moveTo>
                  <a:cubicBezTo>
                    <a:pt x="480" y="0"/>
                    <a:pt x="9" y="480"/>
                    <a:pt x="1" y="1065"/>
                  </a:cubicBezTo>
                  <a:cubicBezTo>
                    <a:pt x="1" y="1709"/>
                    <a:pt x="530" y="2133"/>
                    <a:pt x="1078" y="2133"/>
                  </a:cubicBezTo>
                  <a:cubicBezTo>
                    <a:pt x="1340" y="2133"/>
                    <a:pt x="1606" y="2036"/>
                    <a:pt x="1822" y="1821"/>
                  </a:cubicBezTo>
                  <a:cubicBezTo>
                    <a:pt x="2497" y="1146"/>
                    <a:pt x="2017" y="0"/>
                    <a:pt x="1074"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598" name="Google Shape;2598;p104"/>
            <p:cNvSpPr/>
            <p:nvPr/>
          </p:nvSpPr>
          <p:spPr>
            <a:xfrm>
              <a:off x="5341975" y="2180700"/>
              <a:ext cx="62425" cy="53350"/>
            </a:xfrm>
            <a:custGeom>
              <a:avLst/>
              <a:gdLst/>
              <a:ahLst/>
              <a:cxnLst/>
              <a:rect l="l" t="t" r="r" b="b"/>
              <a:pathLst>
                <a:path w="2497" h="2134" extrusionOk="0">
                  <a:moveTo>
                    <a:pt x="1074" y="1"/>
                  </a:moveTo>
                  <a:cubicBezTo>
                    <a:pt x="480" y="1"/>
                    <a:pt x="9" y="480"/>
                    <a:pt x="1" y="1066"/>
                  </a:cubicBezTo>
                  <a:cubicBezTo>
                    <a:pt x="1" y="1709"/>
                    <a:pt x="530" y="2133"/>
                    <a:pt x="1078" y="2133"/>
                  </a:cubicBezTo>
                  <a:cubicBezTo>
                    <a:pt x="1340" y="2133"/>
                    <a:pt x="1606" y="2037"/>
                    <a:pt x="1822" y="1822"/>
                  </a:cubicBezTo>
                  <a:cubicBezTo>
                    <a:pt x="2497" y="1147"/>
                    <a:pt x="2017" y="1"/>
                    <a:pt x="1074"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599" name="Google Shape;2599;p104"/>
            <p:cNvSpPr/>
            <p:nvPr/>
          </p:nvSpPr>
          <p:spPr>
            <a:xfrm>
              <a:off x="5341975" y="2256925"/>
              <a:ext cx="62575" cy="53425"/>
            </a:xfrm>
            <a:custGeom>
              <a:avLst/>
              <a:gdLst/>
              <a:ahLst/>
              <a:cxnLst/>
              <a:rect l="l" t="t" r="r" b="b"/>
              <a:pathLst>
                <a:path w="2503" h="2137" extrusionOk="0">
                  <a:moveTo>
                    <a:pt x="1084" y="0"/>
                  </a:moveTo>
                  <a:cubicBezTo>
                    <a:pt x="1081" y="0"/>
                    <a:pt x="1077" y="0"/>
                    <a:pt x="1074" y="0"/>
                  </a:cubicBezTo>
                  <a:cubicBezTo>
                    <a:pt x="480" y="0"/>
                    <a:pt x="9" y="480"/>
                    <a:pt x="1" y="1065"/>
                  </a:cubicBezTo>
                  <a:cubicBezTo>
                    <a:pt x="1" y="1709"/>
                    <a:pt x="530" y="2137"/>
                    <a:pt x="1081" y="2137"/>
                  </a:cubicBezTo>
                  <a:cubicBezTo>
                    <a:pt x="1344" y="2137"/>
                    <a:pt x="1612" y="2039"/>
                    <a:pt x="1830" y="1821"/>
                  </a:cubicBezTo>
                  <a:cubicBezTo>
                    <a:pt x="2502" y="1149"/>
                    <a:pt x="2028" y="0"/>
                    <a:pt x="1084"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600" name="Google Shape;2600;p104"/>
            <p:cNvSpPr/>
            <p:nvPr/>
          </p:nvSpPr>
          <p:spPr>
            <a:xfrm>
              <a:off x="5341975" y="2333125"/>
              <a:ext cx="62425" cy="53450"/>
            </a:xfrm>
            <a:custGeom>
              <a:avLst/>
              <a:gdLst/>
              <a:ahLst/>
              <a:cxnLst/>
              <a:rect l="l" t="t" r="r" b="b"/>
              <a:pathLst>
                <a:path w="2497" h="2138" extrusionOk="0">
                  <a:moveTo>
                    <a:pt x="1074" y="1"/>
                  </a:moveTo>
                  <a:cubicBezTo>
                    <a:pt x="480" y="1"/>
                    <a:pt x="9" y="480"/>
                    <a:pt x="1" y="1066"/>
                  </a:cubicBezTo>
                  <a:cubicBezTo>
                    <a:pt x="1" y="1709"/>
                    <a:pt x="530" y="2137"/>
                    <a:pt x="1078" y="2137"/>
                  </a:cubicBezTo>
                  <a:cubicBezTo>
                    <a:pt x="1340" y="2137"/>
                    <a:pt x="1606" y="2040"/>
                    <a:pt x="1822" y="1822"/>
                  </a:cubicBezTo>
                  <a:cubicBezTo>
                    <a:pt x="2497" y="1147"/>
                    <a:pt x="2017" y="1"/>
                    <a:pt x="1074"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601" name="Google Shape;2601;p104"/>
            <p:cNvSpPr/>
            <p:nvPr/>
          </p:nvSpPr>
          <p:spPr>
            <a:xfrm>
              <a:off x="5341975" y="2485550"/>
              <a:ext cx="62425" cy="53300"/>
            </a:xfrm>
            <a:custGeom>
              <a:avLst/>
              <a:gdLst/>
              <a:ahLst/>
              <a:cxnLst/>
              <a:rect l="l" t="t" r="r" b="b"/>
              <a:pathLst>
                <a:path w="2497" h="2132" extrusionOk="0">
                  <a:moveTo>
                    <a:pt x="1074" y="1"/>
                  </a:moveTo>
                  <a:cubicBezTo>
                    <a:pt x="480" y="1"/>
                    <a:pt x="9" y="480"/>
                    <a:pt x="1" y="1066"/>
                  </a:cubicBezTo>
                  <a:cubicBezTo>
                    <a:pt x="1" y="1708"/>
                    <a:pt x="527" y="2131"/>
                    <a:pt x="1074" y="2131"/>
                  </a:cubicBezTo>
                  <a:cubicBezTo>
                    <a:pt x="1337" y="2131"/>
                    <a:pt x="1605" y="2033"/>
                    <a:pt x="1822" y="1814"/>
                  </a:cubicBezTo>
                  <a:cubicBezTo>
                    <a:pt x="2497" y="1147"/>
                    <a:pt x="2017" y="1"/>
                    <a:pt x="1074"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602" name="Google Shape;2602;p104"/>
            <p:cNvSpPr/>
            <p:nvPr/>
          </p:nvSpPr>
          <p:spPr>
            <a:xfrm>
              <a:off x="5341975" y="2561575"/>
              <a:ext cx="62425" cy="53425"/>
            </a:xfrm>
            <a:custGeom>
              <a:avLst/>
              <a:gdLst/>
              <a:ahLst/>
              <a:cxnLst/>
              <a:rect l="l" t="t" r="r" b="b"/>
              <a:pathLst>
                <a:path w="2497" h="2137" extrusionOk="0">
                  <a:moveTo>
                    <a:pt x="1074" y="0"/>
                  </a:moveTo>
                  <a:cubicBezTo>
                    <a:pt x="480" y="8"/>
                    <a:pt x="9" y="480"/>
                    <a:pt x="1" y="1073"/>
                  </a:cubicBezTo>
                  <a:cubicBezTo>
                    <a:pt x="1" y="1711"/>
                    <a:pt x="529" y="2137"/>
                    <a:pt x="1077" y="2137"/>
                  </a:cubicBezTo>
                  <a:cubicBezTo>
                    <a:pt x="1339" y="2137"/>
                    <a:pt x="1606" y="2039"/>
                    <a:pt x="1822" y="1821"/>
                  </a:cubicBezTo>
                  <a:cubicBezTo>
                    <a:pt x="2497" y="1154"/>
                    <a:pt x="2017" y="0"/>
                    <a:pt x="1074"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603" name="Google Shape;2603;p104"/>
            <p:cNvSpPr/>
            <p:nvPr/>
          </p:nvSpPr>
          <p:spPr>
            <a:xfrm>
              <a:off x="5341975" y="2637775"/>
              <a:ext cx="62425" cy="53450"/>
            </a:xfrm>
            <a:custGeom>
              <a:avLst/>
              <a:gdLst/>
              <a:ahLst/>
              <a:cxnLst/>
              <a:rect l="l" t="t" r="r" b="b"/>
              <a:pathLst>
                <a:path w="2497" h="2138" extrusionOk="0">
                  <a:moveTo>
                    <a:pt x="1074" y="1"/>
                  </a:moveTo>
                  <a:cubicBezTo>
                    <a:pt x="480" y="9"/>
                    <a:pt x="9" y="480"/>
                    <a:pt x="1" y="1074"/>
                  </a:cubicBezTo>
                  <a:cubicBezTo>
                    <a:pt x="1" y="1712"/>
                    <a:pt x="529" y="2137"/>
                    <a:pt x="1077" y="2137"/>
                  </a:cubicBezTo>
                  <a:cubicBezTo>
                    <a:pt x="1339" y="2137"/>
                    <a:pt x="1606" y="2040"/>
                    <a:pt x="1822" y="1822"/>
                  </a:cubicBezTo>
                  <a:cubicBezTo>
                    <a:pt x="2497" y="1147"/>
                    <a:pt x="2017" y="1"/>
                    <a:pt x="1074"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604" name="Google Shape;2604;p104"/>
            <p:cNvSpPr/>
            <p:nvPr/>
          </p:nvSpPr>
          <p:spPr>
            <a:xfrm>
              <a:off x="5418200" y="1342750"/>
              <a:ext cx="62425" cy="53450"/>
            </a:xfrm>
            <a:custGeom>
              <a:avLst/>
              <a:gdLst/>
              <a:ahLst/>
              <a:cxnLst/>
              <a:rect l="l" t="t" r="r" b="b"/>
              <a:pathLst>
                <a:path w="2497" h="2138" extrusionOk="0">
                  <a:moveTo>
                    <a:pt x="1065" y="1"/>
                  </a:moveTo>
                  <a:cubicBezTo>
                    <a:pt x="480" y="1"/>
                    <a:pt x="0" y="481"/>
                    <a:pt x="0" y="1066"/>
                  </a:cubicBezTo>
                  <a:cubicBezTo>
                    <a:pt x="0" y="1710"/>
                    <a:pt x="525" y="2138"/>
                    <a:pt x="1074" y="2138"/>
                  </a:cubicBezTo>
                  <a:cubicBezTo>
                    <a:pt x="1336" y="2138"/>
                    <a:pt x="1603" y="2040"/>
                    <a:pt x="1821" y="1822"/>
                  </a:cubicBezTo>
                  <a:cubicBezTo>
                    <a:pt x="2496" y="1147"/>
                    <a:pt x="2016" y="1"/>
                    <a:pt x="1065"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605" name="Google Shape;2605;p104"/>
            <p:cNvSpPr/>
            <p:nvPr/>
          </p:nvSpPr>
          <p:spPr>
            <a:xfrm>
              <a:off x="5418200" y="1418975"/>
              <a:ext cx="62425" cy="53350"/>
            </a:xfrm>
            <a:custGeom>
              <a:avLst/>
              <a:gdLst/>
              <a:ahLst/>
              <a:cxnLst/>
              <a:rect l="l" t="t" r="r" b="b"/>
              <a:pathLst>
                <a:path w="2497" h="2134" extrusionOk="0">
                  <a:moveTo>
                    <a:pt x="1065" y="1"/>
                  </a:moveTo>
                  <a:cubicBezTo>
                    <a:pt x="480" y="1"/>
                    <a:pt x="0" y="480"/>
                    <a:pt x="0" y="1065"/>
                  </a:cubicBezTo>
                  <a:cubicBezTo>
                    <a:pt x="0" y="1709"/>
                    <a:pt x="526" y="2133"/>
                    <a:pt x="1074" y="2133"/>
                  </a:cubicBezTo>
                  <a:cubicBezTo>
                    <a:pt x="1336" y="2133"/>
                    <a:pt x="1603" y="2037"/>
                    <a:pt x="1821" y="1822"/>
                  </a:cubicBezTo>
                  <a:cubicBezTo>
                    <a:pt x="2496" y="1147"/>
                    <a:pt x="2016" y="1"/>
                    <a:pt x="1065"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606" name="Google Shape;2606;p104"/>
            <p:cNvSpPr/>
            <p:nvPr/>
          </p:nvSpPr>
          <p:spPr>
            <a:xfrm>
              <a:off x="5418200" y="1495200"/>
              <a:ext cx="62425" cy="53325"/>
            </a:xfrm>
            <a:custGeom>
              <a:avLst/>
              <a:gdLst/>
              <a:ahLst/>
              <a:cxnLst/>
              <a:rect l="l" t="t" r="r" b="b"/>
              <a:pathLst>
                <a:path w="2497" h="2133" extrusionOk="0">
                  <a:moveTo>
                    <a:pt x="1065" y="0"/>
                  </a:moveTo>
                  <a:cubicBezTo>
                    <a:pt x="480" y="0"/>
                    <a:pt x="0" y="480"/>
                    <a:pt x="0" y="1065"/>
                  </a:cubicBezTo>
                  <a:cubicBezTo>
                    <a:pt x="0" y="1709"/>
                    <a:pt x="526" y="2133"/>
                    <a:pt x="1074" y="2133"/>
                  </a:cubicBezTo>
                  <a:cubicBezTo>
                    <a:pt x="1336" y="2133"/>
                    <a:pt x="1603" y="2036"/>
                    <a:pt x="1821" y="1821"/>
                  </a:cubicBezTo>
                  <a:cubicBezTo>
                    <a:pt x="2496" y="1146"/>
                    <a:pt x="2016" y="0"/>
                    <a:pt x="1065"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607" name="Google Shape;2607;p104"/>
            <p:cNvSpPr/>
            <p:nvPr/>
          </p:nvSpPr>
          <p:spPr>
            <a:xfrm>
              <a:off x="5418200" y="1571400"/>
              <a:ext cx="62425" cy="53250"/>
            </a:xfrm>
            <a:custGeom>
              <a:avLst/>
              <a:gdLst/>
              <a:ahLst/>
              <a:cxnLst/>
              <a:rect l="l" t="t" r="r" b="b"/>
              <a:pathLst>
                <a:path w="2497" h="2130" extrusionOk="0">
                  <a:moveTo>
                    <a:pt x="1065" y="1"/>
                  </a:moveTo>
                  <a:cubicBezTo>
                    <a:pt x="480" y="1"/>
                    <a:pt x="0" y="472"/>
                    <a:pt x="0" y="1066"/>
                  </a:cubicBezTo>
                  <a:cubicBezTo>
                    <a:pt x="0" y="1703"/>
                    <a:pt x="525" y="2129"/>
                    <a:pt x="1073" y="2129"/>
                  </a:cubicBezTo>
                  <a:cubicBezTo>
                    <a:pt x="1335" y="2129"/>
                    <a:pt x="1603" y="2032"/>
                    <a:pt x="1821" y="1813"/>
                  </a:cubicBezTo>
                  <a:cubicBezTo>
                    <a:pt x="2496" y="1147"/>
                    <a:pt x="2016" y="1"/>
                    <a:pt x="1065"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608" name="Google Shape;2608;p104"/>
            <p:cNvSpPr/>
            <p:nvPr/>
          </p:nvSpPr>
          <p:spPr>
            <a:xfrm>
              <a:off x="5418200" y="1647400"/>
              <a:ext cx="62425" cy="53450"/>
            </a:xfrm>
            <a:custGeom>
              <a:avLst/>
              <a:gdLst/>
              <a:ahLst/>
              <a:cxnLst/>
              <a:rect l="l" t="t" r="r" b="b"/>
              <a:pathLst>
                <a:path w="2497" h="2138" extrusionOk="0">
                  <a:moveTo>
                    <a:pt x="1065" y="1"/>
                  </a:moveTo>
                  <a:cubicBezTo>
                    <a:pt x="480" y="1"/>
                    <a:pt x="0" y="481"/>
                    <a:pt x="0" y="1066"/>
                  </a:cubicBezTo>
                  <a:cubicBezTo>
                    <a:pt x="0" y="1710"/>
                    <a:pt x="525" y="2138"/>
                    <a:pt x="1074" y="2138"/>
                  </a:cubicBezTo>
                  <a:cubicBezTo>
                    <a:pt x="1336" y="2138"/>
                    <a:pt x="1603" y="2040"/>
                    <a:pt x="1821" y="1822"/>
                  </a:cubicBezTo>
                  <a:cubicBezTo>
                    <a:pt x="2496" y="1147"/>
                    <a:pt x="2016" y="1"/>
                    <a:pt x="1065"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609" name="Google Shape;2609;p104"/>
            <p:cNvSpPr/>
            <p:nvPr/>
          </p:nvSpPr>
          <p:spPr>
            <a:xfrm>
              <a:off x="5418200" y="1723625"/>
              <a:ext cx="62425" cy="53350"/>
            </a:xfrm>
            <a:custGeom>
              <a:avLst/>
              <a:gdLst/>
              <a:ahLst/>
              <a:cxnLst/>
              <a:rect l="l" t="t" r="r" b="b"/>
              <a:pathLst>
                <a:path w="2497" h="2134" extrusionOk="0">
                  <a:moveTo>
                    <a:pt x="1065" y="1"/>
                  </a:moveTo>
                  <a:cubicBezTo>
                    <a:pt x="480" y="1"/>
                    <a:pt x="0" y="480"/>
                    <a:pt x="0" y="1065"/>
                  </a:cubicBezTo>
                  <a:cubicBezTo>
                    <a:pt x="0" y="1709"/>
                    <a:pt x="526" y="2133"/>
                    <a:pt x="1074" y="2133"/>
                  </a:cubicBezTo>
                  <a:cubicBezTo>
                    <a:pt x="1336" y="2133"/>
                    <a:pt x="1603" y="2037"/>
                    <a:pt x="1821" y="1822"/>
                  </a:cubicBezTo>
                  <a:cubicBezTo>
                    <a:pt x="2496" y="1147"/>
                    <a:pt x="2016" y="1"/>
                    <a:pt x="1065"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610" name="Google Shape;2610;p104"/>
            <p:cNvSpPr/>
            <p:nvPr/>
          </p:nvSpPr>
          <p:spPr>
            <a:xfrm>
              <a:off x="5418200" y="1799850"/>
              <a:ext cx="62425" cy="53325"/>
            </a:xfrm>
            <a:custGeom>
              <a:avLst/>
              <a:gdLst/>
              <a:ahLst/>
              <a:cxnLst/>
              <a:rect l="l" t="t" r="r" b="b"/>
              <a:pathLst>
                <a:path w="2497" h="2133" extrusionOk="0">
                  <a:moveTo>
                    <a:pt x="1065" y="0"/>
                  </a:moveTo>
                  <a:cubicBezTo>
                    <a:pt x="480" y="0"/>
                    <a:pt x="0" y="480"/>
                    <a:pt x="0" y="1065"/>
                  </a:cubicBezTo>
                  <a:cubicBezTo>
                    <a:pt x="0" y="1709"/>
                    <a:pt x="526" y="2133"/>
                    <a:pt x="1074" y="2133"/>
                  </a:cubicBezTo>
                  <a:cubicBezTo>
                    <a:pt x="1336" y="2133"/>
                    <a:pt x="1603" y="2036"/>
                    <a:pt x="1821" y="1821"/>
                  </a:cubicBezTo>
                  <a:cubicBezTo>
                    <a:pt x="2496" y="1146"/>
                    <a:pt x="2016" y="0"/>
                    <a:pt x="1065"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611" name="Google Shape;2611;p104"/>
            <p:cNvSpPr/>
            <p:nvPr/>
          </p:nvSpPr>
          <p:spPr>
            <a:xfrm>
              <a:off x="5418200" y="1876050"/>
              <a:ext cx="62425" cy="53275"/>
            </a:xfrm>
            <a:custGeom>
              <a:avLst/>
              <a:gdLst/>
              <a:ahLst/>
              <a:cxnLst/>
              <a:rect l="l" t="t" r="r" b="b"/>
              <a:pathLst>
                <a:path w="2497" h="2131" extrusionOk="0">
                  <a:moveTo>
                    <a:pt x="1065" y="1"/>
                  </a:moveTo>
                  <a:cubicBezTo>
                    <a:pt x="480" y="1"/>
                    <a:pt x="0" y="472"/>
                    <a:pt x="0" y="1066"/>
                  </a:cubicBezTo>
                  <a:cubicBezTo>
                    <a:pt x="0" y="1707"/>
                    <a:pt x="522" y="2131"/>
                    <a:pt x="1069" y="2131"/>
                  </a:cubicBezTo>
                  <a:cubicBezTo>
                    <a:pt x="1333" y="2131"/>
                    <a:pt x="1602" y="2033"/>
                    <a:pt x="1821" y="1813"/>
                  </a:cubicBezTo>
                  <a:cubicBezTo>
                    <a:pt x="2496" y="1147"/>
                    <a:pt x="2016" y="1"/>
                    <a:pt x="1065"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612" name="Google Shape;2612;p104"/>
            <p:cNvSpPr/>
            <p:nvPr/>
          </p:nvSpPr>
          <p:spPr>
            <a:xfrm>
              <a:off x="5418200" y="1952050"/>
              <a:ext cx="62425" cy="53450"/>
            </a:xfrm>
            <a:custGeom>
              <a:avLst/>
              <a:gdLst/>
              <a:ahLst/>
              <a:cxnLst/>
              <a:rect l="l" t="t" r="r" b="b"/>
              <a:pathLst>
                <a:path w="2497" h="2138" extrusionOk="0">
                  <a:moveTo>
                    <a:pt x="1065" y="1"/>
                  </a:moveTo>
                  <a:cubicBezTo>
                    <a:pt x="480" y="9"/>
                    <a:pt x="0" y="481"/>
                    <a:pt x="0" y="1074"/>
                  </a:cubicBezTo>
                  <a:cubicBezTo>
                    <a:pt x="0" y="1712"/>
                    <a:pt x="525" y="2138"/>
                    <a:pt x="1073" y="2138"/>
                  </a:cubicBezTo>
                  <a:cubicBezTo>
                    <a:pt x="1335" y="2138"/>
                    <a:pt x="1603" y="2040"/>
                    <a:pt x="1821" y="1822"/>
                  </a:cubicBezTo>
                  <a:cubicBezTo>
                    <a:pt x="2496" y="1155"/>
                    <a:pt x="2016" y="1"/>
                    <a:pt x="1065"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613" name="Google Shape;2613;p104"/>
            <p:cNvSpPr/>
            <p:nvPr/>
          </p:nvSpPr>
          <p:spPr>
            <a:xfrm>
              <a:off x="5418200" y="2028275"/>
              <a:ext cx="62425" cy="53450"/>
            </a:xfrm>
            <a:custGeom>
              <a:avLst/>
              <a:gdLst/>
              <a:ahLst/>
              <a:cxnLst/>
              <a:rect l="l" t="t" r="r" b="b"/>
              <a:pathLst>
                <a:path w="2497" h="2138" extrusionOk="0">
                  <a:moveTo>
                    <a:pt x="1065" y="1"/>
                  </a:moveTo>
                  <a:cubicBezTo>
                    <a:pt x="480" y="1"/>
                    <a:pt x="0" y="480"/>
                    <a:pt x="0" y="1065"/>
                  </a:cubicBezTo>
                  <a:cubicBezTo>
                    <a:pt x="0" y="1709"/>
                    <a:pt x="525" y="2137"/>
                    <a:pt x="1074" y="2137"/>
                  </a:cubicBezTo>
                  <a:cubicBezTo>
                    <a:pt x="1336" y="2137"/>
                    <a:pt x="1603" y="2040"/>
                    <a:pt x="1821" y="1821"/>
                  </a:cubicBezTo>
                  <a:cubicBezTo>
                    <a:pt x="2496" y="1147"/>
                    <a:pt x="2016" y="1"/>
                    <a:pt x="1065"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614" name="Google Shape;2614;p104"/>
            <p:cNvSpPr/>
            <p:nvPr/>
          </p:nvSpPr>
          <p:spPr>
            <a:xfrm>
              <a:off x="5418200" y="2104500"/>
              <a:ext cx="62425" cy="53325"/>
            </a:xfrm>
            <a:custGeom>
              <a:avLst/>
              <a:gdLst/>
              <a:ahLst/>
              <a:cxnLst/>
              <a:rect l="l" t="t" r="r" b="b"/>
              <a:pathLst>
                <a:path w="2497" h="2133" extrusionOk="0">
                  <a:moveTo>
                    <a:pt x="1065" y="0"/>
                  </a:moveTo>
                  <a:cubicBezTo>
                    <a:pt x="480" y="0"/>
                    <a:pt x="0" y="480"/>
                    <a:pt x="0" y="1065"/>
                  </a:cubicBezTo>
                  <a:cubicBezTo>
                    <a:pt x="0" y="1709"/>
                    <a:pt x="526" y="2133"/>
                    <a:pt x="1074" y="2133"/>
                  </a:cubicBezTo>
                  <a:cubicBezTo>
                    <a:pt x="1336" y="2133"/>
                    <a:pt x="1603" y="2036"/>
                    <a:pt x="1821" y="1821"/>
                  </a:cubicBezTo>
                  <a:cubicBezTo>
                    <a:pt x="2496" y="1146"/>
                    <a:pt x="2016" y="0"/>
                    <a:pt x="1065"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615" name="Google Shape;2615;p104"/>
            <p:cNvSpPr/>
            <p:nvPr/>
          </p:nvSpPr>
          <p:spPr>
            <a:xfrm>
              <a:off x="5418200" y="2180700"/>
              <a:ext cx="62425" cy="53350"/>
            </a:xfrm>
            <a:custGeom>
              <a:avLst/>
              <a:gdLst/>
              <a:ahLst/>
              <a:cxnLst/>
              <a:rect l="l" t="t" r="r" b="b"/>
              <a:pathLst>
                <a:path w="2497" h="2134" extrusionOk="0">
                  <a:moveTo>
                    <a:pt x="1065" y="1"/>
                  </a:moveTo>
                  <a:cubicBezTo>
                    <a:pt x="480" y="1"/>
                    <a:pt x="0" y="480"/>
                    <a:pt x="0" y="1066"/>
                  </a:cubicBezTo>
                  <a:cubicBezTo>
                    <a:pt x="0" y="1709"/>
                    <a:pt x="526" y="2133"/>
                    <a:pt x="1074" y="2133"/>
                  </a:cubicBezTo>
                  <a:cubicBezTo>
                    <a:pt x="1336" y="2133"/>
                    <a:pt x="1603" y="2037"/>
                    <a:pt x="1821" y="1822"/>
                  </a:cubicBezTo>
                  <a:cubicBezTo>
                    <a:pt x="2496" y="1147"/>
                    <a:pt x="2016" y="1"/>
                    <a:pt x="1065"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616" name="Google Shape;2616;p104"/>
            <p:cNvSpPr/>
            <p:nvPr/>
          </p:nvSpPr>
          <p:spPr>
            <a:xfrm>
              <a:off x="5418200" y="2256925"/>
              <a:ext cx="62550" cy="53425"/>
            </a:xfrm>
            <a:custGeom>
              <a:avLst/>
              <a:gdLst/>
              <a:ahLst/>
              <a:cxnLst/>
              <a:rect l="l" t="t" r="r" b="b"/>
              <a:pathLst>
                <a:path w="2502" h="2137" extrusionOk="0">
                  <a:moveTo>
                    <a:pt x="1075" y="0"/>
                  </a:moveTo>
                  <a:cubicBezTo>
                    <a:pt x="1072" y="0"/>
                    <a:pt x="1069" y="0"/>
                    <a:pt x="1065" y="0"/>
                  </a:cubicBezTo>
                  <a:cubicBezTo>
                    <a:pt x="480" y="0"/>
                    <a:pt x="0" y="480"/>
                    <a:pt x="0" y="1065"/>
                  </a:cubicBezTo>
                  <a:cubicBezTo>
                    <a:pt x="0" y="1709"/>
                    <a:pt x="529" y="2137"/>
                    <a:pt x="1080" y="2137"/>
                  </a:cubicBezTo>
                  <a:cubicBezTo>
                    <a:pt x="1343" y="2137"/>
                    <a:pt x="1611" y="2039"/>
                    <a:pt x="1829" y="1821"/>
                  </a:cubicBezTo>
                  <a:cubicBezTo>
                    <a:pt x="2502" y="1149"/>
                    <a:pt x="2028" y="0"/>
                    <a:pt x="1075"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617" name="Google Shape;2617;p104"/>
            <p:cNvSpPr/>
            <p:nvPr/>
          </p:nvSpPr>
          <p:spPr>
            <a:xfrm>
              <a:off x="5418200" y="2333125"/>
              <a:ext cx="62425" cy="53450"/>
            </a:xfrm>
            <a:custGeom>
              <a:avLst/>
              <a:gdLst/>
              <a:ahLst/>
              <a:cxnLst/>
              <a:rect l="l" t="t" r="r" b="b"/>
              <a:pathLst>
                <a:path w="2497" h="2138" extrusionOk="0">
                  <a:moveTo>
                    <a:pt x="1065" y="1"/>
                  </a:moveTo>
                  <a:cubicBezTo>
                    <a:pt x="480" y="1"/>
                    <a:pt x="0" y="480"/>
                    <a:pt x="0" y="1066"/>
                  </a:cubicBezTo>
                  <a:cubicBezTo>
                    <a:pt x="0" y="1709"/>
                    <a:pt x="525" y="2137"/>
                    <a:pt x="1074" y="2137"/>
                  </a:cubicBezTo>
                  <a:cubicBezTo>
                    <a:pt x="1336" y="2137"/>
                    <a:pt x="1603" y="2040"/>
                    <a:pt x="1821" y="1822"/>
                  </a:cubicBezTo>
                  <a:cubicBezTo>
                    <a:pt x="2496" y="1147"/>
                    <a:pt x="2016" y="1"/>
                    <a:pt x="1065"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618" name="Google Shape;2618;p104"/>
            <p:cNvSpPr/>
            <p:nvPr/>
          </p:nvSpPr>
          <p:spPr>
            <a:xfrm>
              <a:off x="5418200" y="2485550"/>
              <a:ext cx="62425" cy="53300"/>
            </a:xfrm>
            <a:custGeom>
              <a:avLst/>
              <a:gdLst/>
              <a:ahLst/>
              <a:cxnLst/>
              <a:rect l="l" t="t" r="r" b="b"/>
              <a:pathLst>
                <a:path w="2497" h="2132" extrusionOk="0">
                  <a:moveTo>
                    <a:pt x="1065" y="1"/>
                  </a:moveTo>
                  <a:cubicBezTo>
                    <a:pt x="480" y="1"/>
                    <a:pt x="0" y="472"/>
                    <a:pt x="0" y="1066"/>
                  </a:cubicBezTo>
                  <a:cubicBezTo>
                    <a:pt x="0" y="1708"/>
                    <a:pt x="526" y="2131"/>
                    <a:pt x="1073" y="2131"/>
                  </a:cubicBezTo>
                  <a:cubicBezTo>
                    <a:pt x="1336" y="2131"/>
                    <a:pt x="1605" y="2033"/>
                    <a:pt x="1821" y="1814"/>
                  </a:cubicBezTo>
                  <a:cubicBezTo>
                    <a:pt x="2496" y="1147"/>
                    <a:pt x="2016" y="1"/>
                    <a:pt x="1065"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619" name="Google Shape;2619;p104"/>
            <p:cNvSpPr/>
            <p:nvPr/>
          </p:nvSpPr>
          <p:spPr>
            <a:xfrm>
              <a:off x="5418200" y="2561575"/>
              <a:ext cx="62425" cy="53425"/>
            </a:xfrm>
            <a:custGeom>
              <a:avLst/>
              <a:gdLst/>
              <a:ahLst/>
              <a:cxnLst/>
              <a:rect l="l" t="t" r="r" b="b"/>
              <a:pathLst>
                <a:path w="2497" h="2137" extrusionOk="0">
                  <a:moveTo>
                    <a:pt x="1065" y="0"/>
                  </a:moveTo>
                  <a:cubicBezTo>
                    <a:pt x="480" y="8"/>
                    <a:pt x="0" y="480"/>
                    <a:pt x="0" y="1073"/>
                  </a:cubicBezTo>
                  <a:cubicBezTo>
                    <a:pt x="0" y="1711"/>
                    <a:pt x="525" y="2137"/>
                    <a:pt x="1073" y="2137"/>
                  </a:cubicBezTo>
                  <a:cubicBezTo>
                    <a:pt x="1335" y="2137"/>
                    <a:pt x="1603" y="2039"/>
                    <a:pt x="1821" y="1821"/>
                  </a:cubicBezTo>
                  <a:cubicBezTo>
                    <a:pt x="2496" y="1154"/>
                    <a:pt x="2016" y="0"/>
                    <a:pt x="1065"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620" name="Google Shape;2620;p104"/>
            <p:cNvSpPr/>
            <p:nvPr/>
          </p:nvSpPr>
          <p:spPr>
            <a:xfrm>
              <a:off x="5418200" y="2637775"/>
              <a:ext cx="62425" cy="53450"/>
            </a:xfrm>
            <a:custGeom>
              <a:avLst/>
              <a:gdLst/>
              <a:ahLst/>
              <a:cxnLst/>
              <a:rect l="l" t="t" r="r" b="b"/>
              <a:pathLst>
                <a:path w="2497" h="2138" extrusionOk="0">
                  <a:moveTo>
                    <a:pt x="1065" y="1"/>
                  </a:moveTo>
                  <a:cubicBezTo>
                    <a:pt x="480" y="9"/>
                    <a:pt x="0" y="480"/>
                    <a:pt x="0" y="1074"/>
                  </a:cubicBezTo>
                  <a:cubicBezTo>
                    <a:pt x="0" y="1712"/>
                    <a:pt x="528" y="2137"/>
                    <a:pt x="1077" y="2137"/>
                  </a:cubicBezTo>
                  <a:cubicBezTo>
                    <a:pt x="1339" y="2137"/>
                    <a:pt x="1606" y="2040"/>
                    <a:pt x="1821" y="1822"/>
                  </a:cubicBezTo>
                  <a:cubicBezTo>
                    <a:pt x="2496" y="1147"/>
                    <a:pt x="2016" y="1"/>
                    <a:pt x="1065"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621" name="Google Shape;2621;p104"/>
            <p:cNvSpPr/>
            <p:nvPr/>
          </p:nvSpPr>
          <p:spPr>
            <a:xfrm>
              <a:off x="5418200" y="2714000"/>
              <a:ext cx="62425" cy="53350"/>
            </a:xfrm>
            <a:custGeom>
              <a:avLst/>
              <a:gdLst/>
              <a:ahLst/>
              <a:cxnLst/>
              <a:rect l="l" t="t" r="r" b="b"/>
              <a:pathLst>
                <a:path w="2497" h="2134" extrusionOk="0">
                  <a:moveTo>
                    <a:pt x="1065" y="0"/>
                  </a:moveTo>
                  <a:cubicBezTo>
                    <a:pt x="480" y="0"/>
                    <a:pt x="0" y="480"/>
                    <a:pt x="0" y="1065"/>
                  </a:cubicBezTo>
                  <a:cubicBezTo>
                    <a:pt x="0" y="1709"/>
                    <a:pt x="526" y="2133"/>
                    <a:pt x="1074" y="2133"/>
                  </a:cubicBezTo>
                  <a:cubicBezTo>
                    <a:pt x="1336" y="2133"/>
                    <a:pt x="1603" y="2036"/>
                    <a:pt x="1821" y="1821"/>
                  </a:cubicBezTo>
                  <a:cubicBezTo>
                    <a:pt x="2496" y="1146"/>
                    <a:pt x="2016" y="0"/>
                    <a:pt x="1065"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622" name="Google Shape;2622;p104"/>
            <p:cNvSpPr/>
            <p:nvPr/>
          </p:nvSpPr>
          <p:spPr>
            <a:xfrm>
              <a:off x="5494400" y="1266550"/>
              <a:ext cx="62225" cy="53450"/>
            </a:xfrm>
            <a:custGeom>
              <a:avLst/>
              <a:gdLst/>
              <a:ahLst/>
              <a:cxnLst/>
              <a:rect l="l" t="t" r="r" b="b"/>
              <a:pathLst>
                <a:path w="2489" h="2138" extrusionOk="0">
                  <a:moveTo>
                    <a:pt x="1066" y="0"/>
                  </a:moveTo>
                  <a:cubicBezTo>
                    <a:pt x="480" y="9"/>
                    <a:pt x="1" y="480"/>
                    <a:pt x="1" y="1074"/>
                  </a:cubicBezTo>
                  <a:cubicBezTo>
                    <a:pt x="1" y="1711"/>
                    <a:pt x="525" y="2137"/>
                    <a:pt x="1074" y="2137"/>
                  </a:cubicBezTo>
                  <a:cubicBezTo>
                    <a:pt x="1336" y="2137"/>
                    <a:pt x="1604" y="2040"/>
                    <a:pt x="1822" y="1821"/>
                  </a:cubicBezTo>
                  <a:cubicBezTo>
                    <a:pt x="2488" y="1155"/>
                    <a:pt x="2017" y="0"/>
                    <a:pt x="1066"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623" name="Google Shape;2623;p104"/>
            <p:cNvSpPr/>
            <p:nvPr/>
          </p:nvSpPr>
          <p:spPr>
            <a:xfrm>
              <a:off x="5494400" y="1342750"/>
              <a:ext cx="62225" cy="53450"/>
            </a:xfrm>
            <a:custGeom>
              <a:avLst/>
              <a:gdLst/>
              <a:ahLst/>
              <a:cxnLst/>
              <a:rect l="l" t="t" r="r" b="b"/>
              <a:pathLst>
                <a:path w="2489" h="2138" extrusionOk="0">
                  <a:moveTo>
                    <a:pt x="1066" y="1"/>
                  </a:moveTo>
                  <a:cubicBezTo>
                    <a:pt x="480" y="1"/>
                    <a:pt x="1" y="481"/>
                    <a:pt x="1" y="1066"/>
                  </a:cubicBezTo>
                  <a:cubicBezTo>
                    <a:pt x="1" y="1710"/>
                    <a:pt x="526" y="2138"/>
                    <a:pt x="1075" y="2138"/>
                  </a:cubicBezTo>
                  <a:cubicBezTo>
                    <a:pt x="1337" y="2138"/>
                    <a:pt x="1604" y="2040"/>
                    <a:pt x="1822" y="1822"/>
                  </a:cubicBezTo>
                  <a:cubicBezTo>
                    <a:pt x="2488" y="1147"/>
                    <a:pt x="2017" y="1"/>
                    <a:pt x="1066"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624" name="Google Shape;2624;p104"/>
            <p:cNvSpPr/>
            <p:nvPr/>
          </p:nvSpPr>
          <p:spPr>
            <a:xfrm>
              <a:off x="5494400" y="1418975"/>
              <a:ext cx="62225" cy="53350"/>
            </a:xfrm>
            <a:custGeom>
              <a:avLst/>
              <a:gdLst/>
              <a:ahLst/>
              <a:cxnLst/>
              <a:rect l="l" t="t" r="r" b="b"/>
              <a:pathLst>
                <a:path w="2489" h="2134" extrusionOk="0">
                  <a:moveTo>
                    <a:pt x="1066" y="1"/>
                  </a:moveTo>
                  <a:cubicBezTo>
                    <a:pt x="480" y="1"/>
                    <a:pt x="1" y="480"/>
                    <a:pt x="1" y="1065"/>
                  </a:cubicBezTo>
                  <a:cubicBezTo>
                    <a:pt x="1" y="1709"/>
                    <a:pt x="526" y="2133"/>
                    <a:pt x="1075" y="2133"/>
                  </a:cubicBezTo>
                  <a:cubicBezTo>
                    <a:pt x="1337" y="2133"/>
                    <a:pt x="1604" y="2037"/>
                    <a:pt x="1822" y="1822"/>
                  </a:cubicBezTo>
                  <a:cubicBezTo>
                    <a:pt x="2488" y="1147"/>
                    <a:pt x="2017" y="1"/>
                    <a:pt x="1066"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625" name="Google Shape;2625;p104"/>
            <p:cNvSpPr/>
            <p:nvPr/>
          </p:nvSpPr>
          <p:spPr>
            <a:xfrm>
              <a:off x="5494400" y="1495200"/>
              <a:ext cx="62225" cy="53325"/>
            </a:xfrm>
            <a:custGeom>
              <a:avLst/>
              <a:gdLst/>
              <a:ahLst/>
              <a:cxnLst/>
              <a:rect l="l" t="t" r="r" b="b"/>
              <a:pathLst>
                <a:path w="2489" h="2133" extrusionOk="0">
                  <a:moveTo>
                    <a:pt x="1066" y="0"/>
                  </a:moveTo>
                  <a:cubicBezTo>
                    <a:pt x="480" y="0"/>
                    <a:pt x="1" y="480"/>
                    <a:pt x="1" y="1065"/>
                  </a:cubicBezTo>
                  <a:cubicBezTo>
                    <a:pt x="1" y="1709"/>
                    <a:pt x="526" y="2133"/>
                    <a:pt x="1075" y="2133"/>
                  </a:cubicBezTo>
                  <a:cubicBezTo>
                    <a:pt x="1337" y="2133"/>
                    <a:pt x="1604" y="2036"/>
                    <a:pt x="1822" y="1821"/>
                  </a:cubicBezTo>
                  <a:cubicBezTo>
                    <a:pt x="2488" y="1146"/>
                    <a:pt x="2017" y="0"/>
                    <a:pt x="1066"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626" name="Google Shape;2626;p104"/>
            <p:cNvSpPr/>
            <p:nvPr/>
          </p:nvSpPr>
          <p:spPr>
            <a:xfrm>
              <a:off x="5494400" y="1571400"/>
              <a:ext cx="62225" cy="53250"/>
            </a:xfrm>
            <a:custGeom>
              <a:avLst/>
              <a:gdLst/>
              <a:ahLst/>
              <a:cxnLst/>
              <a:rect l="l" t="t" r="r" b="b"/>
              <a:pathLst>
                <a:path w="2489" h="2130" extrusionOk="0">
                  <a:moveTo>
                    <a:pt x="1066" y="1"/>
                  </a:moveTo>
                  <a:cubicBezTo>
                    <a:pt x="480" y="1"/>
                    <a:pt x="1" y="472"/>
                    <a:pt x="1" y="1066"/>
                  </a:cubicBezTo>
                  <a:cubicBezTo>
                    <a:pt x="1" y="1703"/>
                    <a:pt x="525" y="2129"/>
                    <a:pt x="1074" y="2129"/>
                  </a:cubicBezTo>
                  <a:cubicBezTo>
                    <a:pt x="1336" y="2129"/>
                    <a:pt x="1604" y="2032"/>
                    <a:pt x="1822" y="1813"/>
                  </a:cubicBezTo>
                  <a:cubicBezTo>
                    <a:pt x="2488" y="1147"/>
                    <a:pt x="2017" y="1"/>
                    <a:pt x="1066"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627" name="Google Shape;2627;p104"/>
            <p:cNvSpPr/>
            <p:nvPr/>
          </p:nvSpPr>
          <p:spPr>
            <a:xfrm>
              <a:off x="6332350" y="1418975"/>
              <a:ext cx="62225" cy="53350"/>
            </a:xfrm>
            <a:custGeom>
              <a:avLst/>
              <a:gdLst/>
              <a:ahLst/>
              <a:cxnLst/>
              <a:rect l="l" t="t" r="r" b="b"/>
              <a:pathLst>
                <a:path w="2489" h="2134" extrusionOk="0">
                  <a:moveTo>
                    <a:pt x="1066" y="1"/>
                  </a:moveTo>
                  <a:cubicBezTo>
                    <a:pt x="472" y="1"/>
                    <a:pt x="1" y="480"/>
                    <a:pt x="1" y="1065"/>
                  </a:cubicBezTo>
                  <a:cubicBezTo>
                    <a:pt x="1" y="1709"/>
                    <a:pt x="526" y="2133"/>
                    <a:pt x="1072" y="2133"/>
                  </a:cubicBezTo>
                  <a:cubicBezTo>
                    <a:pt x="1333" y="2133"/>
                    <a:pt x="1598" y="2037"/>
                    <a:pt x="1813" y="1822"/>
                  </a:cubicBezTo>
                  <a:cubicBezTo>
                    <a:pt x="2488" y="1147"/>
                    <a:pt x="2009" y="1"/>
                    <a:pt x="1066"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628" name="Google Shape;2628;p104"/>
            <p:cNvSpPr/>
            <p:nvPr/>
          </p:nvSpPr>
          <p:spPr>
            <a:xfrm>
              <a:off x="6332350" y="1495200"/>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3" y="1821"/>
                  </a:cubicBezTo>
                  <a:cubicBezTo>
                    <a:pt x="2488" y="1146"/>
                    <a:pt x="2009" y="0"/>
                    <a:pt x="1066"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629" name="Google Shape;2629;p104"/>
            <p:cNvSpPr/>
            <p:nvPr/>
          </p:nvSpPr>
          <p:spPr>
            <a:xfrm>
              <a:off x="6408350" y="1418975"/>
              <a:ext cx="62425" cy="53350"/>
            </a:xfrm>
            <a:custGeom>
              <a:avLst/>
              <a:gdLst/>
              <a:ahLst/>
              <a:cxnLst/>
              <a:rect l="l" t="t" r="r" b="b"/>
              <a:pathLst>
                <a:path w="2497" h="2134" extrusionOk="0">
                  <a:moveTo>
                    <a:pt x="1074" y="1"/>
                  </a:moveTo>
                  <a:cubicBezTo>
                    <a:pt x="481" y="1"/>
                    <a:pt x="9" y="480"/>
                    <a:pt x="1" y="1065"/>
                  </a:cubicBezTo>
                  <a:cubicBezTo>
                    <a:pt x="1" y="1709"/>
                    <a:pt x="526" y="2133"/>
                    <a:pt x="1075" y="2133"/>
                  </a:cubicBezTo>
                  <a:cubicBezTo>
                    <a:pt x="1337" y="2133"/>
                    <a:pt x="1604" y="2037"/>
                    <a:pt x="1822" y="1822"/>
                  </a:cubicBezTo>
                  <a:cubicBezTo>
                    <a:pt x="2497" y="1147"/>
                    <a:pt x="2017" y="1"/>
                    <a:pt x="1074"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630" name="Google Shape;2630;p104"/>
            <p:cNvSpPr/>
            <p:nvPr/>
          </p:nvSpPr>
          <p:spPr>
            <a:xfrm>
              <a:off x="6408350" y="1495200"/>
              <a:ext cx="62425" cy="53325"/>
            </a:xfrm>
            <a:custGeom>
              <a:avLst/>
              <a:gdLst/>
              <a:ahLst/>
              <a:cxnLst/>
              <a:rect l="l" t="t" r="r" b="b"/>
              <a:pathLst>
                <a:path w="2497" h="2133" extrusionOk="0">
                  <a:moveTo>
                    <a:pt x="1074" y="0"/>
                  </a:moveTo>
                  <a:cubicBezTo>
                    <a:pt x="481" y="0"/>
                    <a:pt x="9" y="480"/>
                    <a:pt x="1" y="1065"/>
                  </a:cubicBezTo>
                  <a:cubicBezTo>
                    <a:pt x="1" y="1709"/>
                    <a:pt x="526" y="2133"/>
                    <a:pt x="1075" y="2133"/>
                  </a:cubicBezTo>
                  <a:cubicBezTo>
                    <a:pt x="1337" y="2133"/>
                    <a:pt x="1604" y="2036"/>
                    <a:pt x="1822" y="1821"/>
                  </a:cubicBezTo>
                  <a:cubicBezTo>
                    <a:pt x="2497" y="1146"/>
                    <a:pt x="2017" y="0"/>
                    <a:pt x="1074"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631" name="Google Shape;2631;p104"/>
            <p:cNvSpPr/>
            <p:nvPr/>
          </p:nvSpPr>
          <p:spPr>
            <a:xfrm>
              <a:off x="6484575" y="1342750"/>
              <a:ext cx="62425" cy="53450"/>
            </a:xfrm>
            <a:custGeom>
              <a:avLst/>
              <a:gdLst/>
              <a:ahLst/>
              <a:cxnLst/>
              <a:rect l="l" t="t" r="r" b="b"/>
              <a:pathLst>
                <a:path w="2497" h="2138" extrusionOk="0">
                  <a:moveTo>
                    <a:pt x="1065" y="1"/>
                  </a:moveTo>
                  <a:cubicBezTo>
                    <a:pt x="480" y="1"/>
                    <a:pt x="1" y="481"/>
                    <a:pt x="1" y="1066"/>
                  </a:cubicBezTo>
                  <a:cubicBezTo>
                    <a:pt x="1" y="1710"/>
                    <a:pt x="526" y="2138"/>
                    <a:pt x="1074" y="2138"/>
                  </a:cubicBezTo>
                  <a:cubicBezTo>
                    <a:pt x="1336" y="2138"/>
                    <a:pt x="1603" y="2040"/>
                    <a:pt x="1822" y="1822"/>
                  </a:cubicBezTo>
                  <a:cubicBezTo>
                    <a:pt x="2496" y="1147"/>
                    <a:pt x="2017" y="1"/>
                    <a:pt x="1065"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632" name="Google Shape;2632;p104"/>
            <p:cNvSpPr/>
            <p:nvPr/>
          </p:nvSpPr>
          <p:spPr>
            <a:xfrm>
              <a:off x="6484575" y="1418975"/>
              <a:ext cx="62425" cy="53350"/>
            </a:xfrm>
            <a:custGeom>
              <a:avLst/>
              <a:gdLst/>
              <a:ahLst/>
              <a:cxnLst/>
              <a:rect l="l" t="t" r="r" b="b"/>
              <a:pathLst>
                <a:path w="2497" h="2134" extrusionOk="0">
                  <a:moveTo>
                    <a:pt x="1065" y="1"/>
                  </a:moveTo>
                  <a:cubicBezTo>
                    <a:pt x="480" y="1"/>
                    <a:pt x="1" y="480"/>
                    <a:pt x="1" y="1065"/>
                  </a:cubicBezTo>
                  <a:cubicBezTo>
                    <a:pt x="1" y="1709"/>
                    <a:pt x="526" y="2133"/>
                    <a:pt x="1075" y="2133"/>
                  </a:cubicBezTo>
                  <a:cubicBezTo>
                    <a:pt x="1336" y="2133"/>
                    <a:pt x="1604" y="2037"/>
                    <a:pt x="1822" y="1822"/>
                  </a:cubicBezTo>
                  <a:cubicBezTo>
                    <a:pt x="2496" y="1147"/>
                    <a:pt x="2017" y="1"/>
                    <a:pt x="1065"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633" name="Google Shape;2633;p104"/>
            <p:cNvSpPr/>
            <p:nvPr/>
          </p:nvSpPr>
          <p:spPr>
            <a:xfrm>
              <a:off x="6484575" y="1495200"/>
              <a:ext cx="62425" cy="53325"/>
            </a:xfrm>
            <a:custGeom>
              <a:avLst/>
              <a:gdLst/>
              <a:ahLst/>
              <a:cxnLst/>
              <a:rect l="l" t="t" r="r" b="b"/>
              <a:pathLst>
                <a:path w="2497" h="2133" extrusionOk="0">
                  <a:moveTo>
                    <a:pt x="1065" y="0"/>
                  </a:moveTo>
                  <a:cubicBezTo>
                    <a:pt x="480" y="0"/>
                    <a:pt x="1" y="480"/>
                    <a:pt x="1" y="1065"/>
                  </a:cubicBezTo>
                  <a:cubicBezTo>
                    <a:pt x="1" y="1709"/>
                    <a:pt x="526" y="2133"/>
                    <a:pt x="1075" y="2133"/>
                  </a:cubicBezTo>
                  <a:cubicBezTo>
                    <a:pt x="1336" y="2133"/>
                    <a:pt x="1604" y="2036"/>
                    <a:pt x="1822" y="1821"/>
                  </a:cubicBezTo>
                  <a:cubicBezTo>
                    <a:pt x="2496" y="1146"/>
                    <a:pt x="2017" y="0"/>
                    <a:pt x="1065"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634" name="Google Shape;2634;p104"/>
            <p:cNvSpPr/>
            <p:nvPr/>
          </p:nvSpPr>
          <p:spPr>
            <a:xfrm>
              <a:off x="6560800" y="1418975"/>
              <a:ext cx="62200" cy="53350"/>
            </a:xfrm>
            <a:custGeom>
              <a:avLst/>
              <a:gdLst/>
              <a:ahLst/>
              <a:cxnLst/>
              <a:rect l="l" t="t" r="r" b="b"/>
              <a:pathLst>
                <a:path w="2488" h="2134" extrusionOk="0">
                  <a:moveTo>
                    <a:pt x="1065" y="1"/>
                  </a:moveTo>
                  <a:cubicBezTo>
                    <a:pt x="480" y="1"/>
                    <a:pt x="0" y="480"/>
                    <a:pt x="0" y="1065"/>
                  </a:cubicBezTo>
                  <a:cubicBezTo>
                    <a:pt x="0" y="1709"/>
                    <a:pt x="525" y="2133"/>
                    <a:pt x="1074" y="2133"/>
                  </a:cubicBezTo>
                  <a:cubicBezTo>
                    <a:pt x="1336" y="2133"/>
                    <a:pt x="1603" y="2037"/>
                    <a:pt x="1821" y="1822"/>
                  </a:cubicBezTo>
                  <a:cubicBezTo>
                    <a:pt x="2488" y="1147"/>
                    <a:pt x="2016" y="1"/>
                    <a:pt x="1065"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635" name="Google Shape;2635;p104"/>
            <p:cNvSpPr/>
            <p:nvPr/>
          </p:nvSpPr>
          <p:spPr>
            <a:xfrm>
              <a:off x="6560800" y="1495200"/>
              <a:ext cx="62200" cy="53325"/>
            </a:xfrm>
            <a:custGeom>
              <a:avLst/>
              <a:gdLst/>
              <a:ahLst/>
              <a:cxnLst/>
              <a:rect l="l" t="t" r="r" b="b"/>
              <a:pathLst>
                <a:path w="2488" h="2133"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636" name="Google Shape;2636;p104"/>
            <p:cNvSpPr/>
            <p:nvPr/>
          </p:nvSpPr>
          <p:spPr>
            <a:xfrm>
              <a:off x="6637000" y="1418975"/>
              <a:ext cx="62225" cy="53350"/>
            </a:xfrm>
            <a:custGeom>
              <a:avLst/>
              <a:gdLst/>
              <a:ahLst/>
              <a:cxnLst/>
              <a:rect l="l" t="t" r="r" b="b"/>
              <a:pathLst>
                <a:path w="2489" h="2134" extrusionOk="0">
                  <a:moveTo>
                    <a:pt x="1066" y="1"/>
                  </a:moveTo>
                  <a:cubicBezTo>
                    <a:pt x="480" y="1"/>
                    <a:pt x="1" y="480"/>
                    <a:pt x="1" y="1065"/>
                  </a:cubicBezTo>
                  <a:cubicBezTo>
                    <a:pt x="1" y="1709"/>
                    <a:pt x="526" y="2133"/>
                    <a:pt x="1072" y="2133"/>
                  </a:cubicBezTo>
                  <a:cubicBezTo>
                    <a:pt x="1333" y="2133"/>
                    <a:pt x="1598" y="2037"/>
                    <a:pt x="1813" y="1822"/>
                  </a:cubicBezTo>
                  <a:cubicBezTo>
                    <a:pt x="2488" y="1147"/>
                    <a:pt x="2017" y="1"/>
                    <a:pt x="1066"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637" name="Google Shape;2637;p104"/>
            <p:cNvSpPr/>
            <p:nvPr/>
          </p:nvSpPr>
          <p:spPr>
            <a:xfrm>
              <a:off x="7094075" y="1495200"/>
              <a:ext cx="62425" cy="53325"/>
            </a:xfrm>
            <a:custGeom>
              <a:avLst/>
              <a:gdLst/>
              <a:ahLst/>
              <a:cxnLst/>
              <a:rect l="l" t="t" r="r" b="b"/>
              <a:pathLst>
                <a:path w="2497" h="2133" extrusionOk="0">
                  <a:moveTo>
                    <a:pt x="1066" y="0"/>
                  </a:moveTo>
                  <a:cubicBezTo>
                    <a:pt x="480" y="0"/>
                    <a:pt x="1" y="480"/>
                    <a:pt x="1" y="1065"/>
                  </a:cubicBezTo>
                  <a:cubicBezTo>
                    <a:pt x="1" y="1709"/>
                    <a:pt x="526" y="2133"/>
                    <a:pt x="1075" y="2133"/>
                  </a:cubicBezTo>
                  <a:cubicBezTo>
                    <a:pt x="1337" y="2133"/>
                    <a:pt x="1604" y="2036"/>
                    <a:pt x="1822" y="1821"/>
                  </a:cubicBezTo>
                  <a:cubicBezTo>
                    <a:pt x="2496" y="1146"/>
                    <a:pt x="2017" y="0"/>
                    <a:pt x="1066"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638" name="Google Shape;2638;p104"/>
            <p:cNvSpPr/>
            <p:nvPr/>
          </p:nvSpPr>
          <p:spPr>
            <a:xfrm>
              <a:off x="6713225" y="1418975"/>
              <a:ext cx="62200" cy="53350"/>
            </a:xfrm>
            <a:custGeom>
              <a:avLst/>
              <a:gdLst/>
              <a:ahLst/>
              <a:cxnLst/>
              <a:rect l="l" t="t" r="r" b="b"/>
              <a:pathLst>
                <a:path w="2488" h="2134" extrusionOk="0">
                  <a:moveTo>
                    <a:pt x="1065" y="1"/>
                  </a:moveTo>
                  <a:cubicBezTo>
                    <a:pt x="472" y="1"/>
                    <a:pt x="0" y="480"/>
                    <a:pt x="0" y="1065"/>
                  </a:cubicBezTo>
                  <a:cubicBezTo>
                    <a:pt x="0" y="1709"/>
                    <a:pt x="525" y="2133"/>
                    <a:pt x="1072" y="2133"/>
                  </a:cubicBezTo>
                  <a:cubicBezTo>
                    <a:pt x="1332" y="2133"/>
                    <a:pt x="1598" y="2037"/>
                    <a:pt x="1813" y="1822"/>
                  </a:cubicBezTo>
                  <a:cubicBezTo>
                    <a:pt x="2488" y="1147"/>
                    <a:pt x="2008" y="1"/>
                    <a:pt x="1065"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639" name="Google Shape;2639;p104"/>
            <p:cNvSpPr/>
            <p:nvPr/>
          </p:nvSpPr>
          <p:spPr>
            <a:xfrm>
              <a:off x="6789225" y="1418975"/>
              <a:ext cx="62425" cy="53350"/>
            </a:xfrm>
            <a:custGeom>
              <a:avLst/>
              <a:gdLst/>
              <a:ahLst/>
              <a:cxnLst/>
              <a:rect l="l" t="t" r="r" b="b"/>
              <a:pathLst>
                <a:path w="2497" h="2134" extrusionOk="0">
                  <a:moveTo>
                    <a:pt x="1074" y="1"/>
                  </a:moveTo>
                  <a:cubicBezTo>
                    <a:pt x="480" y="1"/>
                    <a:pt x="9" y="480"/>
                    <a:pt x="1" y="1065"/>
                  </a:cubicBezTo>
                  <a:cubicBezTo>
                    <a:pt x="1" y="1709"/>
                    <a:pt x="526" y="2133"/>
                    <a:pt x="1075" y="2133"/>
                  </a:cubicBezTo>
                  <a:cubicBezTo>
                    <a:pt x="1336" y="2133"/>
                    <a:pt x="1604" y="2037"/>
                    <a:pt x="1822" y="1822"/>
                  </a:cubicBezTo>
                  <a:cubicBezTo>
                    <a:pt x="2496" y="1147"/>
                    <a:pt x="2025" y="1"/>
                    <a:pt x="1074"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640" name="Google Shape;2640;p104"/>
            <p:cNvSpPr/>
            <p:nvPr/>
          </p:nvSpPr>
          <p:spPr>
            <a:xfrm>
              <a:off x="6865650" y="1418975"/>
              <a:ext cx="62200" cy="53350"/>
            </a:xfrm>
            <a:custGeom>
              <a:avLst/>
              <a:gdLst/>
              <a:ahLst/>
              <a:cxnLst/>
              <a:rect l="l" t="t" r="r" b="b"/>
              <a:pathLst>
                <a:path w="2488" h="2134" extrusionOk="0">
                  <a:moveTo>
                    <a:pt x="1065" y="1"/>
                  </a:moveTo>
                  <a:cubicBezTo>
                    <a:pt x="480" y="1"/>
                    <a:pt x="0" y="480"/>
                    <a:pt x="0" y="1065"/>
                  </a:cubicBezTo>
                  <a:cubicBezTo>
                    <a:pt x="0" y="1709"/>
                    <a:pt x="526" y="2133"/>
                    <a:pt x="1074" y="2133"/>
                  </a:cubicBezTo>
                  <a:cubicBezTo>
                    <a:pt x="1336" y="2133"/>
                    <a:pt x="1603" y="2037"/>
                    <a:pt x="1821" y="1822"/>
                  </a:cubicBezTo>
                  <a:cubicBezTo>
                    <a:pt x="2488" y="1147"/>
                    <a:pt x="2016" y="1"/>
                    <a:pt x="1065"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641" name="Google Shape;2641;p104"/>
            <p:cNvSpPr/>
            <p:nvPr/>
          </p:nvSpPr>
          <p:spPr>
            <a:xfrm>
              <a:off x="7017875" y="1495200"/>
              <a:ext cx="62400" cy="53325"/>
            </a:xfrm>
            <a:custGeom>
              <a:avLst/>
              <a:gdLst/>
              <a:ahLst/>
              <a:cxnLst/>
              <a:rect l="l" t="t" r="r" b="b"/>
              <a:pathLst>
                <a:path w="2496" h="2133" extrusionOk="0">
                  <a:moveTo>
                    <a:pt x="1073" y="0"/>
                  </a:moveTo>
                  <a:cubicBezTo>
                    <a:pt x="480" y="0"/>
                    <a:pt x="8" y="480"/>
                    <a:pt x="0" y="1065"/>
                  </a:cubicBezTo>
                  <a:cubicBezTo>
                    <a:pt x="0" y="1709"/>
                    <a:pt x="529" y="2133"/>
                    <a:pt x="1078" y="2133"/>
                  </a:cubicBezTo>
                  <a:cubicBezTo>
                    <a:pt x="1340" y="2133"/>
                    <a:pt x="1606" y="2036"/>
                    <a:pt x="1821" y="1821"/>
                  </a:cubicBezTo>
                  <a:cubicBezTo>
                    <a:pt x="2496" y="1146"/>
                    <a:pt x="2016" y="0"/>
                    <a:pt x="1073"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642" name="Google Shape;2642;p104"/>
            <p:cNvSpPr/>
            <p:nvPr/>
          </p:nvSpPr>
          <p:spPr>
            <a:xfrm>
              <a:off x="6941850" y="1495200"/>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4" y="1821"/>
                  </a:cubicBezTo>
                  <a:cubicBezTo>
                    <a:pt x="2488" y="1146"/>
                    <a:pt x="2017" y="0"/>
                    <a:pt x="1066"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643" name="Google Shape;2643;p104"/>
            <p:cNvSpPr/>
            <p:nvPr/>
          </p:nvSpPr>
          <p:spPr>
            <a:xfrm>
              <a:off x="6865650" y="1495200"/>
              <a:ext cx="62200" cy="53325"/>
            </a:xfrm>
            <a:custGeom>
              <a:avLst/>
              <a:gdLst/>
              <a:ahLst/>
              <a:cxnLst/>
              <a:rect l="l" t="t" r="r" b="b"/>
              <a:pathLst>
                <a:path w="2488" h="2133"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644" name="Google Shape;2644;p104"/>
            <p:cNvSpPr/>
            <p:nvPr/>
          </p:nvSpPr>
          <p:spPr>
            <a:xfrm>
              <a:off x="6789225" y="1495200"/>
              <a:ext cx="62425" cy="53325"/>
            </a:xfrm>
            <a:custGeom>
              <a:avLst/>
              <a:gdLst/>
              <a:ahLst/>
              <a:cxnLst/>
              <a:rect l="l" t="t" r="r" b="b"/>
              <a:pathLst>
                <a:path w="2497" h="2133" extrusionOk="0">
                  <a:moveTo>
                    <a:pt x="1074" y="0"/>
                  </a:moveTo>
                  <a:cubicBezTo>
                    <a:pt x="480" y="0"/>
                    <a:pt x="9" y="480"/>
                    <a:pt x="1" y="1065"/>
                  </a:cubicBezTo>
                  <a:cubicBezTo>
                    <a:pt x="1" y="1709"/>
                    <a:pt x="526" y="2133"/>
                    <a:pt x="1075" y="2133"/>
                  </a:cubicBezTo>
                  <a:cubicBezTo>
                    <a:pt x="1336" y="2133"/>
                    <a:pt x="1604" y="2036"/>
                    <a:pt x="1822" y="1821"/>
                  </a:cubicBezTo>
                  <a:cubicBezTo>
                    <a:pt x="2496" y="1146"/>
                    <a:pt x="2025" y="0"/>
                    <a:pt x="1074"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645" name="Google Shape;2645;p104"/>
            <p:cNvSpPr/>
            <p:nvPr/>
          </p:nvSpPr>
          <p:spPr>
            <a:xfrm>
              <a:off x="6713225" y="1495200"/>
              <a:ext cx="62200" cy="53325"/>
            </a:xfrm>
            <a:custGeom>
              <a:avLst/>
              <a:gdLst/>
              <a:ahLst/>
              <a:cxnLst/>
              <a:rect l="l" t="t" r="r" b="b"/>
              <a:pathLst>
                <a:path w="2488" h="2133" extrusionOk="0">
                  <a:moveTo>
                    <a:pt x="1065" y="0"/>
                  </a:moveTo>
                  <a:cubicBezTo>
                    <a:pt x="472" y="0"/>
                    <a:pt x="0" y="480"/>
                    <a:pt x="0" y="1065"/>
                  </a:cubicBezTo>
                  <a:cubicBezTo>
                    <a:pt x="0" y="1709"/>
                    <a:pt x="525" y="2133"/>
                    <a:pt x="1072" y="2133"/>
                  </a:cubicBezTo>
                  <a:cubicBezTo>
                    <a:pt x="1332" y="2133"/>
                    <a:pt x="1598" y="2036"/>
                    <a:pt x="1813" y="1821"/>
                  </a:cubicBezTo>
                  <a:cubicBezTo>
                    <a:pt x="2488" y="1146"/>
                    <a:pt x="2008" y="0"/>
                    <a:pt x="1065"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646" name="Google Shape;2646;p104"/>
            <p:cNvSpPr/>
            <p:nvPr/>
          </p:nvSpPr>
          <p:spPr>
            <a:xfrm>
              <a:off x="6637000" y="1495200"/>
              <a:ext cx="62225" cy="53325"/>
            </a:xfrm>
            <a:custGeom>
              <a:avLst/>
              <a:gdLst/>
              <a:ahLst/>
              <a:cxnLst/>
              <a:rect l="l" t="t" r="r" b="b"/>
              <a:pathLst>
                <a:path w="2489" h="2133" extrusionOk="0">
                  <a:moveTo>
                    <a:pt x="1066" y="0"/>
                  </a:moveTo>
                  <a:cubicBezTo>
                    <a:pt x="480" y="0"/>
                    <a:pt x="1" y="480"/>
                    <a:pt x="1" y="1065"/>
                  </a:cubicBezTo>
                  <a:cubicBezTo>
                    <a:pt x="1" y="1709"/>
                    <a:pt x="526" y="2133"/>
                    <a:pt x="1072" y="2133"/>
                  </a:cubicBezTo>
                  <a:cubicBezTo>
                    <a:pt x="1333" y="2133"/>
                    <a:pt x="1598" y="2036"/>
                    <a:pt x="1813" y="1821"/>
                  </a:cubicBezTo>
                  <a:cubicBezTo>
                    <a:pt x="2488" y="1146"/>
                    <a:pt x="2017" y="0"/>
                    <a:pt x="1066"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647" name="Google Shape;2647;p104"/>
            <p:cNvSpPr/>
            <p:nvPr/>
          </p:nvSpPr>
          <p:spPr>
            <a:xfrm>
              <a:off x="6637000" y="1571400"/>
              <a:ext cx="62225" cy="53250"/>
            </a:xfrm>
            <a:custGeom>
              <a:avLst/>
              <a:gdLst/>
              <a:ahLst/>
              <a:cxnLst/>
              <a:rect l="l" t="t" r="r" b="b"/>
              <a:pathLst>
                <a:path w="2489" h="2130" extrusionOk="0">
                  <a:moveTo>
                    <a:pt x="1066" y="1"/>
                  </a:moveTo>
                  <a:cubicBezTo>
                    <a:pt x="480" y="1"/>
                    <a:pt x="1" y="472"/>
                    <a:pt x="1" y="1066"/>
                  </a:cubicBezTo>
                  <a:cubicBezTo>
                    <a:pt x="1" y="1703"/>
                    <a:pt x="525" y="2129"/>
                    <a:pt x="1071" y="2129"/>
                  </a:cubicBezTo>
                  <a:cubicBezTo>
                    <a:pt x="1332" y="2129"/>
                    <a:pt x="1598" y="2032"/>
                    <a:pt x="1813" y="1813"/>
                  </a:cubicBezTo>
                  <a:cubicBezTo>
                    <a:pt x="2488" y="1147"/>
                    <a:pt x="2017" y="1"/>
                    <a:pt x="1066"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648" name="Google Shape;2648;p104"/>
            <p:cNvSpPr/>
            <p:nvPr/>
          </p:nvSpPr>
          <p:spPr>
            <a:xfrm>
              <a:off x="6560800" y="1571400"/>
              <a:ext cx="62200" cy="53250"/>
            </a:xfrm>
            <a:custGeom>
              <a:avLst/>
              <a:gdLst/>
              <a:ahLst/>
              <a:cxnLst/>
              <a:rect l="l" t="t" r="r" b="b"/>
              <a:pathLst>
                <a:path w="2488" h="2130" extrusionOk="0">
                  <a:moveTo>
                    <a:pt x="1065" y="1"/>
                  </a:moveTo>
                  <a:cubicBezTo>
                    <a:pt x="480" y="1"/>
                    <a:pt x="0" y="472"/>
                    <a:pt x="0" y="1066"/>
                  </a:cubicBezTo>
                  <a:cubicBezTo>
                    <a:pt x="0" y="1703"/>
                    <a:pt x="524" y="2129"/>
                    <a:pt x="1073" y="2129"/>
                  </a:cubicBezTo>
                  <a:cubicBezTo>
                    <a:pt x="1335" y="2129"/>
                    <a:pt x="1603" y="2032"/>
                    <a:pt x="1821" y="1813"/>
                  </a:cubicBezTo>
                  <a:cubicBezTo>
                    <a:pt x="2488" y="1147"/>
                    <a:pt x="2016" y="1"/>
                    <a:pt x="1065"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649" name="Google Shape;2649;p104"/>
            <p:cNvSpPr/>
            <p:nvPr/>
          </p:nvSpPr>
          <p:spPr>
            <a:xfrm>
              <a:off x="6484575" y="1571400"/>
              <a:ext cx="62425" cy="53250"/>
            </a:xfrm>
            <a:custGeom>
              <a:avLst/>
              <a:gdLst/>
              <a:ahLst/>
              <a:cxnLst/>
              <a:rect l="l" t="t" r="r" b="b"/>
              <a:pathLst>
                <a:path w="2497" h="2130" extrusionOk="0">
                  <a:moveTo>
                    <a:pt x="1065" y="1"/>
                  </a:moveTo>
                  <a:cubicBezTo>
                    <a:pt x="480" y="1"/>
                    <a:pt x="1" y="472"/>
                    <a:pt x="1" y="1066"/>
                  </a:cubicBezTo>
                  <a:cubicBezTo>
                    <a:pt x="1" y="1703"/>
                    <a:pt x="525" y="2129"/>
                    <a:pt x="1073" y="2129"/>
                  </a:cubicBezTo>
                  <a:cubicBezTo>
                    <a:pt x="1335" y="2129"/>
                    <a:pt x="1603" y="2032"/>
                    <a:pt x="1822" y="1813"/>
                  </a:cubicBezTo>
                  <a:cubicBezTo>
                    <a:pt x="2496" y="1147"/>
                    <a:pt x="2017" y="1"/>
                    <a:pt x="1065"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650" name="Google Shape;2650;p104"/>
            <p:cNvSpPr/>
            <p:nvPr/>
          </p:nvSpPr>
          <p:spPr>
            <a:xfrm>
              <a:off x="6408350" y="1571400"/>
              <a:ext cx="62425" cy="53250"/>
            </a:xfrm>
            <a:custGeom>
              <a:avLst/>
              <a:gdLst/>
              <a:ahLst/>
              <a:cxnLst/>
              <a:rect l="l" t="t" r="r" b="b"/>
              <a:pathLst>
                <a:path w="2497" h="2130" extrusionOk="0">
                  <a:moveTo>
                    <a:pt x="1074" y="1"/>
                  </a:moveTo>
                  <a:cubicBezTo>
                    <a:pt x="481" y="1"/>
                    <a:pt x="9" y="472"/>
                    <a:pt x="1" y="1066"/>
                  </a:cubicBezTo>
                  <a:cubicBezTo>
                    <a:pt x="1" y="1703"/>
                    <a:pt x="525" y="2129"/>
                    <a:pt x="1074" y="2129"/>
                  </a:cubicBezTo>
                  <a:cubicBezTo>
                    <a:pt x="1336" y="2129"/>
                    <a:pt x="1604" y="2032"/>
                    <a:pt x="1822" y="1813"/>
                  </a:cubicBezTo>
                  <a:cubicBezTo>
                    <a:pt x="2497" y="1147"/>
                    <a:pt x="2017" y="1"/>
                    <a:pt x="1074"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651" name="Google Shape;2651;p104"/>
            <p:cNvSpPr/>
            <p:nvPr/>
          </p:nvSpPr>
          <p:spPr>
            <a:xfrm>
              <a:off x="6332350" y="1571400"/>
              <a:ext cx="62225" cy="53250"/>
            </a:xfrm>
            <a:custGeom>
              <a:avLst/>
              <a:gdLst/>
              <a:ahLst/>
              <a:cxnLst/>
              <a:rect l="l" t="t" r="r" b="b"/>
              <a:pathLst>
                <a:path w="2489" h="2130" extrusionOk="0">
                  <a:moveTo>
                    <a:pt x="1066" y="1"/>
                  </a:moveTo>
                  <a:cubicBezTo>
                    <a:pt x="472" y="1"/>
                    <a:pt x="1" y="472"/>
                    <a:pt x="1" y="1066"/>
                  </a:cubicBezTo>
                  <a:cubicBezTo>
                    <a:pt x="1" y="1703"/>
                    <a:pt x="525" y="2129"/>
                    <a:pt x="1071" y="2129"/>
                  </a:cubicBezTo>
                  <a:cubicBezTo>
                    <a:pt x="1332" y="2129"/>
                    <a:pt x="1598" y="2032"/>
                    <a:pt x="1813" y="1813"/>
                  </a:cubicBezTo>
                  <a:cubicBezTo>
                    <a:pt x="2488" y="1147"/>
                    <a:pt x="2009" y="1"/>
                    <a:pt x="1066"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652" name="Google Shape;2652;p104"/>
            <p:cNvSpPr/>
            <p:nvPr/>
          </p:nvSpPr>
          <p:spPr>
            <a:xfrm>
              <a:off x="5875275" y="2180700"/>
              <a:ext cx="62225" cy="53350"/>
            </a:xfrm>
            <a:custGeom>
              <a:avLst/>
              <a:gdLst/>
              <a:ahLst/>
              <a:cxnLst/>
              <a:rect l="l" t="t" r="r" b="b"/>
              <a:pathLst>
                <a:path w="2489" h="2134" extrusionOk="0">
                  <a:moveTo>
                    <a:pt x="1065" y="1"/>
                  </a:moveTo>
                  <a:cubicBezTo>
                    <a:pt x="480" y="1"/>
                    <a:pt x="0" y="480"/>
                    <a:pt x="0" y="1066"/>
                  </a:cubicBezTo>
                  <a:cubicBezTo>
                    <a:pt x="0" y="1709"/>
                    <a:pt x="526" y="2133"/>
                    <a:pt x="1074" y="2133"/>
                  </a:cubicBezTo>
                  <a:cubicBezTo>
                    <a:pt x="1336" y="2133"/>
                    <a:pt x="1603" y="2037"/>
                    <a:pt x="1821" y="1822"/>
                  </a:cubicBezTo>
                  <a:cubicBezTo>
                    <a:pt x="2488" y="1147"/>
                    <a:pt x="2017" y="1"/>
                    <a:pt x="1065"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653" name="Google Shape;2653;p104"/>
            <p:cNvSpPr/>
            <p:nvPr/>
          </p:nvSpPr>
          <p:spPr>
            <a:xfrm>
              <a:off x="5875275" y="2409350"/>
              <a:ext cx="62225" cy="53350"/>
            </a:xfrm>
            <a:custGeom>
              <a:avLst/>
              <a:gdLst/>
              <a:ahLst/>
              <a:cxnLst/>
              <a:rect l="l" t="t" r="r" b="b"/>
              <a:pathLst>
                <a:path w="2489" h="2134"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7" y="0"/>
                    <a:pt x="1065"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654" name="Google Shape;2654;p104"/>
            <p:cNvSpPr/>
            <p:nvPr/>
          </p:nvSpPr>
          <p:spPr>
            <a:xfrm>
              <a:off x="5951475" y="1418975"/>
              <a:ext cx="62225" cy="53350"/>
            </a:xfrm>
            <a:custGeom>
              <a:avLst/>
              <a:gdLst/>
              <a:ahLst/>
              <a:cxnLst/>
              <a:rect l="l" t="t" r="r" b="b"/>
              <a:pathLst>
                <a:path w="2489" h="2134" extrusionOk="0">
                  <a:moveTo>
                    <a:pt x="1066" y="1"/>
                  </a:moveTo>
                  <a:cubicBezTo>
                    <a:pt x="472" y="1"/>
                    <a:pt x="1" y="480"/>
                    <a:pt x="1" y="1065"/>
                  </a:cubicBezTo>
                  <a:cubicBezTo>
                    <a:pt x="1" y="1709"/>
                    <a:pt x="526" y="2133"/>
                    <a:pt x="1072" y="2133"/>
                  </a:cubicBezTo>
                  <a:cubicBezTo>
                    <a:pt x="1333" y="2133"/>
                    <a:pt x="1598" y="2037"/>
                    <a:pt x="1814" y="1822"/>
                  </a:cubicBezTo>
                  <a:cubicBezTo>
                    <a:pt x="2489" y="1147"/>
                    <a:pt x="2017" y="1"/>
                    <a:pt x="1066"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655" name="Google Shape;2655;p104"/>
            <p:cNvSpPr/>
            <p:nvPr/>
          </p:nvSpPr>
          <p:spPr>
            <a:xfrm>
              <a:off x="5951475" y="1495200"/>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4" y="1821"/>
                  </a:cubicBezTo>
                  <a:cubicBezTo>
                    <a:pt x="2489" y="1146"/>
                    <a:pt x="2017" y="0"/>
                    <a:pt x="1066"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656" name="Google Shape;2656;p104"/>
            <p:cNvSpPr/>
            <p:nvPr/>
          </p:nvSpPr>
          <p:spPr>
            <a:xfrm>
              <a:off x="5951475" y="1571400"/>
              <a:ext cx="62225" cy="53250"/>
            </a:xfrm>
            <a:custGeom>
              <a:avLst/>
              <a:gdLst/>
              <a:ahLst/>
              <a:cxnLst/>
              <a:rect l="l" t="t" r="r" b="b"/>
              <a:pathLst>
                <a:path w="2489" h="2130" extrusionOk="0">
                  <a:moveTo>
                    <a:pt x="1066" y="1"/>
                  </a:moveTo>
                  <a:cubicBezTo>
                    <a:pt x="472" y="1"/>
                    <a:pt x="1" y="472"/>
                    <a:pt x="1" y="1066"/>
                  </a:cubicBezTo>
                  <a:cubicBezTo>
                    <a:pt x="1" y="1703"/>
                    <a:pt x="525" y="2129"/>
                    <a:pt x="1071" y="2129"/>
                  </a:cubicBezTo>
                  <a:cubicBezTo>
                    <a:pt x="1332" y="2129"/>
                    <a:pt x="1598" y="2032"/>
                    <a:pt x="1814" y="1813"/>
                  </a:cubicBezTo>
                  <a:cubicBezTo>
                    <a:pt x="2489" y="1147"/>
                    <a:pt x="2017" y="1"/>
                    <a:pt x="1066"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657" name="Google Shape;2657;p104"/>
            <p:cNvSpPr/>
            <p:nvPr/>
          </p:nvSpPr>
          <p:spPr>
            <a:xfrm>
              <a:off x="5951475" y="1647400"/>
              <a:ext cx="62225" cy="53450"/>
            </a:xfrm>
            <a:custGeom>
              <a:avLst/>
              <a:gdLst/>
              <a:ahLst/>
              <a:cxnLst/>
              <a:rect l="l" t="t" r="r" b="b"/>
              <a:pathLst>
                <a:path w="2489" h="2138" extrusionOk="0">
                  <a:moveTo>
                    <a:pt x="1066" y="1"/>
                  </a:moveTo>
                  <a:cubicBezTo>
                    <a:pt x="472" y="9"/>
                    <a:pt x="1" y="481"/>
                    <a:pt x="1" y="1066"/>
                  </a:cubicBezTo>
                  <a:cubicBezTo>
                    <a:pt x="1" y="1710"/>
                    <a:pt x="526" y="2138"/>
                    <a:pt x="1072" y="2138"/>
                  </a:cubicBezTo>
                  <a:cubicBezTo>
                    <a:pt x="1333" y="2138"/>
                    <a:pt x="1598" y="2040"/>
                    <a:pt x="1814" y="1822"/>
                  </a:cubicBezTo>
                  <a:cubicBezTo>
                    <a:pt x="2489" y="1147"/>
                    <a:pt x="2017" y="1"/>
                    <a:pt x="1066"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658" name="Google Shape;2658;p104"/>
            <p:cNvSpPr/>
            <p:nvPr/>
          </p:nvSpPr>
          <p:spPr>
            <a:xfrm>
              <a:off x="5951475" y="1723625"/>
              <a:ext cx="62225" cy="53350"/>
            </a:xfrm>
            <a:custGeom>
              <a:avLst/>
              <a:gdLst/>
              <a:ahLst/>
              <a:cxnLst/>
              <a:rect l="l" t="t" r="r" b="b"/>
              <a:pathLst>
                <a:path w="2489" h="2134" extrusionOk="0">
                  <a:moveTo>
                    <a:pt x="1066" y="1"/>
                  </a:moveTo>
                  <a:cubicBezTo>
                    <a:pt x="472" y="1"/>
                    <a:pt x="1" y="480"/>
                    <a:pt x="1" y="1065"/>
                  </a:cubicBezTo>
                  <a:cubicBezTo>
                    <a:pt x="1" y="1709"/>
                    <a:pt x="526" y="2133"/>
                    <a:pt x="1072" y="2133"/>
                  </a:cubicBezTo>
                  <a:cubicBezTo>
                    <a:pt x="1333" y="2133"/>
                    <a:pt x="1598" y="2037"/>
                    <a:pt x="1814" y="1822"/>
                  </a:cubicBezTo>
                  <a:cubicBezTo>
                    <a:pt x="2489" y="1147"/>
                    <a:pt x="2017" y="1"/>
                    <a:pt x="1066"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659" name="Google Shape;2659;p104"/>
            <p:cNvSpPr/>
            <p:nvPr/>
          </p:nvSpPr>
          <p:spPr>
            <a:xfrm>
              <a:off x="5951475" y="1799850"/>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4" y="1821"/>
                  </a:cubicBezTo>
                  <a:cubicBezTo>
                    <a:pt x="2489" y="1146"/>
                    <a:pt x="2017" y="0"/>
                    <a:pt x="1066"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660" name="Google Shape;2660;p104"/>
            <p:cNvSpPr/>
            <p:nvPr/>
          </p:nvSpPr>
          <p:spPr>
            <a:xfrm>
              <a:off x="5951475" y="1876050"/>
              <a:ext cx="62225" cy="53275"/>
            </a:xfrm>
            <a:custGeom>
              <a:avLst/>
              <a:gdLst/>
              <a:ahLst/>
              <a:cxnLst/>
              <a:rect l="l" t="t" r="r" b="b"/>
              <a:pathLst>
                <a:path w="2489" h="2131" extrusionOk="0">
                  <a:moveTo>
                    <a:pt x="1066" y="1"/>
                  </a:moveTo>
                  <a:cubicBezTo>
                    <a:pt x="472" y="1"/>
                    <a:pt x="1" y="472"/>
                    <a:pt x="1" y="1066"/>
                  </a:cubicBezTo>
                  <a:cubicBezTo>
                    <a:pt x="1" y="1707"/>
                    <a:pt x="523" y="2131"/>
                    <a:pt x="1068" y="2131"/>
                  </a:cubicBezTo>
                  <a:cubicBezTo>
                    <a:pt x="1330" y="2131"/>
                    <a:pt x="1597" y="2033"/>
                    <a:pt x="1814" y="1813"/>
                  </a:cubicBezTo>
                  <a:cubicBezTo>
                    <a:pt x="2489" y="1147"/>
                    <a:pt x="2017" y="1"/>
                    <a:pt x="1066"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661" name="Google Shape;2661;p104"/>
            <p:cNvSpPr/>
            <p:nvPr/>
          </p:nvSpPr>
          <p:spPr>
            <a:xfrm>
              <a:off x="5951475" y="1952050"/>
              <a:ext cx="62225" cy="53450"/>
            </a:xfrm>
            <a:custGeom>
              <a:avLst/>
              <a:gdLst/>
              <a:ahLst/>
              <a:cxnLst/>
              <a:rect l="l" t="t" r="r" b="b"/>
              <a:pathLst>
                <a:path w="2489" h="2138" extrusionOk="0">
                  <a:moveTo>
                    <a:pt x="1066" y="1"/>
                  </a:moveTo>
                  <a:cubicBezTo>
                    <a:pt x="472" y="9"/>
                    <a:pt x="1" y="481"/>
                    <a:pt x="1" y="1074"/>
                  </a:cubicBezTo>
                  <a:cubicBezTo>
                    <a:pt x="1" y="1712"/>
                    <a:pt x="525" y="2138"/>
                    <a:pt x="1071" y="2138"/>
                  </a:cubicBezTo>
                  <a:cubicBezTo>
                    <a:pt x="1332" y="2138"/>
                    <a:pt x="1598" y="2040"/>
                    <a:pt x="1814" y="1822"/>
                  </a:cubicBezTo>
                  <a:cubicBezTo>
                    <a:pt x="2489" y="1155"/>
                    <a:pt x="2017" y="1"/>
                    <a:pt x="1066"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662" name="Google Shape;2662;p104"/>
            <p:cNvSpPr/>
            <p:nvPr/>
          </p:nvSpPr>
          <p:spPr>
            <a:xfrm>
              <a:off x="5951475" y="2028275"/>
              <a:ext cx="62225" cy="53450"/>
            </a:xfrm>
            <a:custGeom>
              <a:avLst/>
              <a:gdLst/>
              <a:ahLst/>
              <a:cxnLst/>
              <a:rect l="l" t="t" r="r" b="b"/>
              <a:pathLst>
                <a:path w="2489" h="2138" extrusionOk="0">
                  <a:moveTo>
                    <a:pt x="1066" y="1"/>
                  </a:moveTo>
                  <a:cubicBezTo>
                    <a:pt x="472" y="1"/>
                    <a:pt x="1" y="480"/>
                    <a:pt x="1" y="1065"/>
                  </a:cubicBezTo>
                  <a:cubicBezTo>
                    <a:pt x="1" y="1709"/>
                    <a:pt x="526" y="2137"/>
                    <a:pt x="1072" y="2137"/>
                  </a:cubicBezTo>
                  <a:cubicBezTo>
                    <a:pt x="1333" y="2137"/>
                    <a:pt x="1598" y="2040"/>
                    <a:pt x="1814" y="1821"/>
                  </a:cubicBezTo>
                  <a:cubicBezTo>
                    <a:pt x="2489" y="1147"/>
                    <a:pt x="2017" y="1"/>
                    <a:pt x="1066"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663" name="Google Shape;2663;p104"/>
            <p:cNvSpPr/>
            <p:nvPr/>
          </p:nvSpPr>
          <p:spPr>
            <a:xfrm>
              <a:off x="6027500" y="1418975"/>
              <a:ext cx="62425" cy="53350"/>
            </a:xfrm>
            <a:custGeom>
              <a:avLst/>
              <a:gdLst/>
              <a:ahLst/>
              <a:cxnLst/>
              <a:rect l="l" t="t" r="r" b="b"/>
              <a:pathLst>
                <a:path w="2497" h="2134" extrusionOk="0">
                  <a:moveTo>
                    <a:pt x="1073" y="1"/>
                  </a:moveTo>
                  <a:cubicBezTo>
                    <a:pt x="480" y="1"/>
                    <a:pt x="9" y="480"/>
                    <a:pt x="0" y="1065"/>
                  </a:cubicBezTo>
                  <a:cubicBezTo>
                    <a:pt x="0" y="1709"/>
                    <a:pt x="529" y="2133"/>
                    <a:pt x="1078" y="2133"/>
                  </a:cubicBezTo>
                  <a:cubicBezTo>
                    <a:pt x="1340" y="2133"/>
                    <a:pt x="1606" y="2037"/>
                    <a:pt x="1821" y="1822"/>
                  </a:cubicBezTo>
                  <a:cubicBezTo>
                    <a:pt x="2496" y="1147"/>
                    <a:pt x="2016" y="1"/>
                    <a:pt x="1073"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664" name="Google Shape;2664;p104"/>
            <p:cNvSpPr/>
            <p:nvPr/>
          </p:nvSpPr>
          <p:spPr>
            <a:xfrm>
              <a:off x="6027500" y="1495200"/>
              <a:ext cx="62425" cy="53325"/>
            </a:xfrm>
            <a:custGeom>
              <a:avLst/>
              <a:gdLst/>
              <a:ahLst/>
              <a:cxnLst/>
              <a:rect l="l" t="t" r="r" b="b"/>
              <a:pathLst>
                <a:path w="2497" h="2133" extrusionOk="0">
                  <a:moveTo>
                    <a:pt x="1073" y="0"/>
                  </a:moveTo>
                  <a:cubicBezTo>
                    <a:pt x="480" y="0"/>
                    <a:pt x="9" y="480"/>
                    <a:pt x="0" y="1065"/>
                  </a:cubicBezTo>
                  <a:cubicBezTo>
                    <a:pt x="0" y="1709"/>
                    <a:pt x="529" y="2133"/>
                    <a:pt x="1078" y="2133"/>
                  </a:cubicBezTo>
                  <a:cubicBezTo>
                    <a:pt x="1340" y="2133"/>
                    <a:pt x="1606" y="2036"/>
                    <a:pt x="1821" y="1821"/>
                  </a:cubicBezTo>
                  <a:cubicBezTo>
                    <a:pt x="2496" y="1146"/>
                    <a:pt x="2016" y="0"/>
                    <a:pt x="1073"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665" name="Google Shape;2665;p104"/>
            <p:cNvSpPr/>
            <p:nvPr/>
          </p:nvSpPr>
          <p:spPr>
            <a:xfrm>
              <a:off x="6027500" y="1571400"/>
              <a:ext cx="62425" cy="53250"/>
            </a:xfrm>
            <a:custGeom>
              <a:avLst/>
              <a:gdLst/>
              <a:ahLst/>
              <a:cxnLst/>
              <a:rect l="l" t="t" r="r" b="b"/>
              <a:pathLst>
                <a:path w="2497" h="2130" extrusionOk="0">
                  <a:moveTo>
                    <a:pt x="1073" y="1"/>
                  </a:moveTo>
                  <a:cubicBezTo>
                    <a:pt x="480" y="1"/>
                    <a:pt x="9" y="472"/>
                    <a:pt x="0" y="1066"/>
                  </a:cubicBezTo>
                  <a:cubicBezTo>
                    <a:pt x="0" y="1703"/>
                    <a:pt x="529" y="2129"/>
                    <a:pt x="1077" y="2129"/>
                  </a:cubicBezTo>
                  <a:cubicBezTo>
                    <a:pt x="1339" y="2129"/>
                    <a:pt x="1606" y="2032"/>
                    <a:pt x="1821" y="1813"/>
                  </a:cubicBezTo>
                  <a:cubicBezTo>
                    <a:pt x="2496" y="1147"/>
                    <a:pt x="2016" y="1"/>
                    <a:pt x="1073"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666" name="Google Shape;2666;p104"/>
            <p:cNvSpPr/>
            <p:nvPr/>
          </p:nvSpPr>
          <p:spPr>
            <a:xfrm>
              <a:off x="6027500" y="1647400"/>
              <a:ext cx="62425" cy="53450"/>
            </a:xfrm>
            <a:custGeom>
              <a:avLst/>
              <a:gdLst/>
              <a:ahLst/>
              <a:cxnLst/>
              <a:rect l="l" t="t" r="r" b="b"/>
              <a:pathLst>
                <a:path w="2497" h="2138" extrusionOk="0">
                  <a:moveTo>
                    <a:pt x="1073" y="1"/>
                  </a:moveTo>
                  <a:cubicBezTo>
                    <a:pt x="480" y="1"/>
                    <a:pt x="9" y="481"/>
                    <a:pt x="0" y="1066"/>
                  </a:cubicBezTo>
                  <a:cubicBezTo>
                    <a:pt x="0" y="1710"/>
                    <a:pt x="529" y="2138"/>
                    <a:pt x="1078" y="2138"/>
                  </a:cubicBezTo>
                  <a:cubicBezTo>
                    <a:pt x="1340" y="2138"/>
                    <a:pt x="1606" y="2040"/>
                    <a:pt x="1821" y="1822"/>
                  </a:cubicBezTo>
                  <a:cubicBezTo>
                    <a:pt x="2496" y="1155"/>
                    <a:pt x="2016" y="1"/>
                    <a:pt x="1073"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667" name="Google Shape;2667;p104"/>
            <p:cNvSpPr/>
            <p:nvPr/>
          </p:nvSpPr>
          <p:spPr>
            <a:xfrm>
              <a:off x="6027500" y="1723625"/>
              <a:ext cx="62425" cy="53350"/>
            </a:xfrm>
            <a:custGeom>
              <a:avLst/>
              <a:gdLst/>
              <a:ahLst/>
              <a:cxnLst/>
              <a:rect l="l" t="t" r="r" b="b"/>
              <a:pathLst>
                <a:path w="2497" h="2134" extrusionOk="0">
                  <a:moveTo>
                    <a:pt x="1073" y="1"/>
                  </a:moveTo>
                  <a:cubicBezTo>
                    <a:pt x="480" y="1"/>
                    <a:pt x="9" y="480"/>
                    <a:pt x="0" y="1065"/>
                  </a:cubicBezTo>
                  <a:cubicBezTo>
                    <a:pt x="0" y="1709"/>
                    <a:pt x="529" y="2133"/>
                    <a:pt x="1078" y="2133"/>
                  </a:cubicBezTo>
                  <a:cubicBezTo>
                    <a:pt x="1340" y="2133"/>
                    <a:pt x="1606" y="2037"/>
                    <a:pt x="1821" y="1822"/>
                  </a:cubicBezTo>
                  <a:cubicBezTo>
                    <a:pt x="2496" y="1147"/>
                    <a:pt x="2016" y="1"/>
                    <a:pt x="1073"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668" name="Google Shape;2668;p104"/>
            <p:cNvSpPr/>
            <p:nvPr/>
          </p:nvSpPr>
          <p:spPr>
            <a:xfrm>
              <a:off x="6027500" y="1799850"/>
              <a:ext cx="62425" cy="53325"/>
            </a:xfrm>
            <a:custGeom>
              <a:avLst/>
              <a:gdLst/>
              <a:ahLst/>
              <a:cxnLst/>
              <a:rect l="l" t="t" r="r" b="b"/>
              <a:pathLst>
                <a:path w="2497" h="2133" extrusionOk="0">
                  <a:moveTo>
                    <a:pt x="1073" y="0"/>
                  </a:moveTo>
                  <a:cubicBezTo>
                    <a:pt x="480" y="0"/>
                    <a:pt x="9" y="480"/>
                    <a:pt x="0" y="1065"/>
                  </a:cubicBezTo>
                  <a:cubicBezTo>
                    <a:pt x="0" y="1709"/>
                    <a:pt x="529" y="2133"/>
                    <a:pt x="1078" y="2133"/>
                  </a:cubicBezTo>
                  <a:cubicBezTo>
                    <a:pt x="1340" y="2133"/>
                    <a:pt x="1606" y="2036"/>
                    <a:pt x="1821" y="1821"/>
                  </a:cubicBezTo>
                  <a:cubicBezTo>
                    <a:pt x="2496" y="1146"/>
                    <a:pt x="2016" y="0"/>
                    <a:pt x="1073"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669" name="Google Shape;2669;p104"/>
            <p:cNvSpPr/>
            <p:nvPr/>
          </p:nvSpPr>
          <p:spPr>
            <a:xfrm>
              <a:off x="6027500" y="1876050"/>
              <a:ext cx="62425" cy="53350"/>
            </a:xfrm>
            <a:custGeom>
              <a:avLst/>
              <a:gdLst/>
              <a:ahLst/>
              <a:cxnLst/>
              <a:rect l="l" t="t" r="r" b="b"/>
              <a:pathLst>
                <a:path w="2497" h="2134" extrusionOk="0">
                  <a:moveTo>
                    <a:pt x="1073" y="1"/>
                  </a:moveTo>
                  <a:cubicBezTo>
                    <a:pt x="480" y="1"/>
                    <a:pt x="9" y="472"/>
                    <a:pt x="0" y="1066"/>
                  </a:cubicBezTo>
                  <a:cubicBezTo>
                    <a:pt x="0" y="1709"/>
                    <a:pt x="529" y="2133"/>
                    <a:pt x="1078" y="2133"/>
                  </a:cubicBezTo>
                  <a:cubicBezTo>
                    <a:pt x="1340" y="2133"/>
                    <a:pt x="1606" y="2037"/>
                    <a:pt x="1821" y="1822"/>
                  </a:cubicBezTo>
                  <a:cubicBezTo>
                    <a:pt x="2496" y="1147"/>
                    <a:pt x="2016" y="1"/>
                    <a:pt x="1073"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670" name="Google Shape;2670;p104"/>
            <p:cNvSpPr/>
            <p:nvPr/>
          </p:nvSpPr>
          <p:spPr>
            <a:xfrm>
              <a:off x="6027500" y="1952050"/>
              <a:ext cx="62425" cy="53450"/>
            </a:xfrm>
            <a:custGeom>
              <a:avLst/>
              <a:gdLst/>
              <a:ahLst/>
              <a:cxnLst/>
              <a:rect l="l" t="t" r="r" b="b"/>
              <a:pathLst>
                <a:path w="2497" h="2138" extrusionOk="0">
                  <a:moveTo>
                    <a:pt x="1073" y="1"/>
                  </a:moveTo>
                  <a:cubicBezTo>
                    <a:pt x="480" y="9"/>
                    <a:pt x="9" y="481"/>
                    <a:pt x="0" y="1074"/>
                  </a:cubicBezTo>
                  <a:cubicBezTo>
                    <a:pt x="0" y="1712"/>
                    <a:pt x="529" y="2138"/>
                    <a:pt x="1077" y="2138"/>
                  </a:cubicBezTo>
                  <a:cubicBezTo>
                    <a:pt x="1339" y="2138"/>
                    <a:pt x="1606" y="2040"/>
                    <a:pt x="1821" y="1822"/>
                  </a:cubicBezTo>
                  <a:cubicBezTo>
                    <a:pt x="2496" y="1155"/>
                    <a:pt x="2016" y="1"/>
                    <a:pt x="1073"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671" name="Google Shape;2671;p104"/>
            <p:cNvSpPr/>
            <p:nvPr/>
          </p:nvSpPr>
          <p:spPr>
            <a:xfrm>
              <a:off x="6103700" y="1418975"/>
              <a:ext cx="62425" cy="53350"/>
            </a:xfrm>
            <a:custGeom>
              <a:avLst/>
              <a:gdLst/>
              <a:ahLst/>
              <a:cxnLst/>
              <a:rect l="l" t="t" r="r" b="b"/>
              <a:pathLst>
                <a:path w="2497" h="2134" extrusionOk="0">
                  <a:moveTo>
                    <a:pt x="1066" y="1"/>
                  </a:moveTo>
                  <a:cubicBezTo>
                    <a:pt x="481" y="1"/>
                    <a:pt x="9" y="480"/>
                    <a:pt x="1" y="1065"/>
                  </a:cubicBezTo>
                  <a:cubicBezTo>
                    <a:pt x="1" y="1709"/>
                    <a:pt x="526" y="2133"/>
                    <a:pt x="1075" y="2133"/>
                  </a:cubicBezTo>
                  <a:cubicBezTo>
                    <a:pt x="1337" y="2133"/>
                    <a:pt x="1604" y="2037"/>
                    <a:pt x="1822" y="1822"/>
                  </a:cubicBezTo>
                  <a:cubicBezTo>
                    <a:pt x="2497" y="1147"/>
                    <a:pt x="2017" y="1"/>
                    <a:pt x="1066"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672" name="Google Shape;2672;p104"/>
            <p:cNvSpPr/>
            <p:nvPr/>
          </p:nvSpPr>
          <p:spPr>
            <a:xfrm>
              <a:off x="6103700" y="1495200"/>
              <a:ext cx="62425" cy="53325"/>
            </a:xfrm>
            <a:custGeom>
              <a:avLst/>
              <a:gdLst/>
              <a:ahLst/>
              <a:cxnLst/>
              <a:rect l="l" t="t" r="r" b="b"/>
              <a:pathLst>
                <a:path w="2497" h="2133" extrusionOk="0">
                  <a:moveTo>
                    <a:pt x="1066" y="0"/>
                  </a:moveTo>
                  <a:cubicBezTo>
                    <a:pt x="481" y="0"/>
                    <a:pt x="9" y="480"/>
                    <a:pt x="1" y="1065"/>
                  </a:cubicBezTo>
                  <a:cubicBezTo>
                    <a:pt x="1" y="1709"/>
                    <a:pt x="526" y="2133"/>
                    <a:pt x="1075" y="2133"/>
                  </a:cubicBezTo>
                  <a:cubicBezTo>
                    <a:pt x="1337" y="2133"/>
                    <a:pt x="1604" y="2036"/>
                    <a:pt x="1822" y="1821"/>
                  </a:cubicBezTo>
                  <a:cubicBezTo>
                    <a:pt x="2497" y="1146"/>
                    <a:pt x="2017" y="0"/>
                    <a:pt x="1066"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673" name="Google Shape;2673;p104"/>
            <p:cNvSpPr/>
            <p:nvPr/>
          </p:nvSpPr>
          <p:spPr>
            <a:xfrm>
              <a:off x="6103700" y="1571400"/>
              <a:ext cx="62425" cy="53250"/>
            </a:xfrm>
            <a:custGeom>
              <a:avLst/>
              <a:gdLst/>
              <a:ahLst/>
              <a:cxnLst/>
              <a:rect l="l" t="t" r="r" b="b"/>
              <a:pathLst>
                <a:path w="2497" h="2130" extrusionOk="0">
                  <a:moveTo>
                    <a:pt x="1066" y="1"/>
                  </a:moveTo>
                  <a:cubicBezTo>
                    <a:pt x="481" y="1"/>
                    <a:pt x="9" y="472"/>
                    <a:pt x="1" y="1066"/>
                  </a:cubicBezTo>
                  <a:cubicBezTo>
                    <a:pt x="1" y="1703"/>
                    <a:pt x="525" y="2129"/>
                    <a:pt x="1074" y="2129"/>
                  </a:cubicBezTo>
                  <a:cubicBezTo>
                    <a:pt x="1336" y="2129"/>
                    <a:pt x="1604" y="2032"/>
                    <a:pt x="1822" y="1813"/>
                  </a:cubicBezTo>
                  <a:cubicBezTo>
                    <a:pt x="2497" y="1147"/>
                    <a:pt x="2017" y="1"/>
                    <a:pt x="1066"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674" name="Google Shape;2674;p104"/>
            <p:cNvSpPr/>
            <p:nvPr/>
          </p:nvSpPr>
          <p:spPr>
            <a:xfrm>
              <a:off x="6103700" y="1647400"/>
              <a:ext cx="62425" cy="53450"/>
            </a:xfrm>
            <a:custGeom>
              <a:avLst/>
              <a:gdLst/>
              <a:ahLst/>
              <a:cxnLst/>
              <a:rect l="l" t="t" r="r" b="b"/>
              <a:pathLst>
                <a:path w="2497" h="2138" extrusionOk="0">
                  <a:moveTo>
                    <a:pt x="1066" y="1"/>
                  </a:moveTo>
                  <a:cubicBezTo>
                    <a:pt x="481" y="9"/>
                    <a:pt x="9" y="481"/>
                    <a:pt x="1" y="1066"/>
                  </a:cubicBezTo>
                  <a:cubicBezTo>
                    <a:pt x="1" y="1710"/>
                    <a:pt x="526" y="2138"/>
                    <a:pt x="1075" y="2138"/>
                  </a:cubicBezTo>
                  <a:cubicBezTo>
                    <a:pt x="1337" y="2138"/>
                    <a:pt x="1604" y="2040"/>
                    <a:pt x="1822" y="1822"/>
                  </a:cubicBezTo>
                  <a:cubicBezTo>
                    <a:pt x="2497" y="1147"/>
                    <a:pt x="2017" y="1"/>
                    <a:pt x="1066"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675" name="Google Shape;2675;p104"/>
            <p:cNvSpPr/>
            <p:nvPr/>
          </p:nvSpPr>
          <p:spPr>
            <a:xfrm>
              <a:off x="6103700" y="1723625"/>
              <a:ext cx="62425" cy="53350"/>
            </a:xfrm>
            <a:custGeom>
              <a:avLst/>
              <a:gdLst/>
              <a:ahLst/>
              <a:cxnLst/>
              <a:rect l="l" t="t" r="r" b="b"/>
              <a:pathLst>
                <a:path w="2497" h="2134" extrusionOk="0">
                  <a:moveTo>
                    <a:pt x="1066" y="1"/>
                  </a:moveTo>
                  <a:cubicBezTo>
                    <a:pt x="481" y="1"/>
                    <a:pt x="9" y="480"/>
                    <a:pt x="1" y="1065"/>
                  </a:cubicBezTo>
                  <a:cubicBezTo>
                    <a:pt x="1" y="1709"/>
                    <a:pt x="526" y="2133"/>
                    <a:pt x="1075" y="2133"/>
                  </a:cubicBezTo>
                  <a:cubicBezTo>
                    <a:pt x="1337" y="2133"/>
                    <a:pt x="1604" y="2037"/>
                    <a:pt x="1822" y="1822"/>
                  </a:cubicBezTo>
                  <a:cubicBezTo>
                    <a:pt x="2497" y="1147"/>
                    <a:pt x="2017" y="1"/>
                    <a:pt x="1066"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676" name="Google Shape;2676;p104"/>
            <p:cNvSpPr/>
            <p:nvPr/>
          </p:nvSpPr>
          <p:spPr>
            <a:xfrm>
              <a:off x="6103700" y="1799850"/>
              <a:ext cx="62425" cy="53325"/>
            </a:xfrm>
            <a:custGeom>
              <a:avLst/>
              <a:gdLst/>
              <a:ahLst/>
              <a:cxnLst/>
              <a:rect l="l" t="t" r="r" b="b"/>
              <a:pathLst>
                <a:path w="2497" h="2133" extrusionOk="0">
                  <a:moveTo>
                    <a:pt x="1066" y="0"/>
                  </a:moveTo>
                  <a:cubicBezTo>
                    <a:pt x="481" y="0"/>
                    <a:pt x="9" y="480"/>
                    <a:pt x="1" y="1065"/>
                  </a:cubicBezTo>
                  <a:cubicBezTo>
                    <a:pt x="1" y="1709"/>
                    <a:pt x="526" y="2133"/>
                    <a:pt x="1075" y="2133"/>
                  </a:cubicBezTo>
                  <a:cubicBezTo>
                    <a:pt x="1337" y="2133"/>
                    <a:pt x="1604" y="2036"/>
                    <a:pt x="1822" y="1821"/>
                  </a:cubicBezTo>
                  <a:cubicBezTo>
                    <a:pt x="2497" y="1146"/>
                    <a:pt x="2017" y="0"/>
                    <a:pt x="1066"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677" name="Google Shape;2677;p104"/>
            <p:cNvSpPr/>
            <p:nvPr/>
          </p:nvSpPr>
          <p:spPr>
            <a:xfrm>
              <a:off x="6103700" y="1876050"/>
              <a:ext cx="62425" cy="53275"/>
            </a:xfrm>
            <a:custGeom>
              <a:avLst/>
              <a:gdLst/>
              <a:ahLst/>
              <a:cxnLst/>
              <a:rect l="l" t="t" r="r" b="b"/>
              <a:pathLst>
                <a:path w="2497" h="2131" extrusionOk="0">
                  <a:moveTo>
                    <a:pt x="1066" y="1"/>
                  </a:moveTo>
                  <a:cubicBezTo>
                    <a:pt x="481" y="1"/>
                    <a:pt x="9" y="472"/>
                    <a:pt x="1" y="1066"/>
                  </a:cubicBezTo>
                  <a:cubicBezTo>
                    <a:pt x="1" y="1707"/>
                    <a:pt x="523" y="2131"/>
                    <a:pt x="1070" y="2131"/>
                  </a:cubicBezTo>
                  <a:cubicBezTo>
                    <a:pt x="1333" y="2131"/>
                    <a:pt x="1603" y="2033"/>
                    <a:pt x="1822" y="1813"/>
                  </a:cubicBezTo>
                  <a:cubicBezTo>
                    <a:pt x="2497" y="1147"/>
                    <a:pt x="2017" y="1"/>
                    <a:pt x="1066"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678" name="Google Shape;2678;p104"/>
            <p:cNvSpPr/>
            <p:nvPr/>
          </p:nvSpPr>
          <p:spPr>
            <a:xfrm>
              <a:off x="6103700" y="1952050"/>
              <a:ext cx="62425" cy="53450"/>
            </a:xfrm>
            <a:custGeom>
              <a:avLst/>
              <a:gdLst/>
              <a:ahLst/>
              <a:cxnLst/>
              <a:rect l="l" t="t" r="r" b="b"/>
              <a:pathLst>
                <a:path w="2497" h="2138" extrusionOk="0">
                  <a:moveTo>
                    <a:pt x="1066" y="1"/>
                  </a:moveTo>
                  <a:cubicBezTo>
                    <a:pt x="481" y="9"/>
                    <a:pt x="9" y="481"/>
                    <a:pt x="1" y="1074"/>
                  </a:cubicBezTo>
                  <a:cubicBezTo>
                    <a:pt x="1" y="1712"/>
                    <a:pt x="525" y="2138"/>
                    <a:pt x="1074" y="2138"/>
                  </a:cubicBezTo>
                  <a:cubicBezTo>
                    <a:pt x="1336" y="2138"/>
                    <a:pt x="1604" y="2040"/>
                    <a:pt x="1822" y="1822"/>
                  </a:cubicBezTo>
                  <a:cubicBezTo>
                    <a:pt x="2497" y="1155"/>
                    <a:pt x="2017" y="1"/>
                    <a:pt x="1066"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679" name="Google Shape;2679;p104"/>
            <p:cNvSpPr/>
            <p:nvPr/>
          </p:nvSpPr>
          <p:spPr>
            <a:xfrm>
              <a:off x="6179925" y="1418975"/>
              <a:ext cx="62225" cy="53350"/>
            </a:xfrm>
            <a:custGeom>
              <a:avLst/>
              <a:gdLst/>
              <a:ahLst/>
              <a:cxnLst/>
              <a:rect l="l" t="t" r="r" b="b"/>
              <a:pathLst>
                <a:path w="2489" h="2134" extrusionOk="0">
                  <a:moveTo>
                    <a:pt x="1065" y="1"/>
                  </a:moveTo>
                  <a:cubicBezTo>
                    <a:pt x="480" y="1"/>
                    <a:pt x="0" y="480"/>
                    <a:pt x="0" y="1065"/>
                  </a:cubicBezTo>
                  <a:cubicBezTo>
                    <a:pt x="0" y="1709"/>
                    <a:pt x="526" y="2133"/>
                    <a:pt x="1074" y="2133"/>
                  </a:cubicBezTo>
                  <a:cubicBezTo>
                    <a:pt x="1336" y="2133"/>
                    <a:pt x="1603" y="2037"/>
                    <a:pt x="1821" y="1822"/>
                  </a:cubicBezTo>
                  <a:cubicBezTo>
                    <a:pt x="2488" y="1147"/>
                    <a:pt x="2017" y="1"/>
                    <a:pt x="1065"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680" name="Google Shape;2680;p104"/>
            <p:cNvSpPr/>
            <p:nvPr/>
          </p:nvSpPr>
          <p:spPr>
            <a:xfrm>
              <a:off x="6179925" y="1495200"/>
              <a:ext cx="62225" cy="53325"/>
            </a:xfrm>
            <a:custGeom>
              <a:avLst/>
              <a:gdLst/>
              <a:ahLst/>
              <a:cxnLst/>
              <a:rect l="l" t="t" r="r" b="b"/>
              <a:pathLst>
                <a:path w="2489" h="2133"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7" y="0"/>
                    <a:pt x="1065"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681" name="Google Shape;2681;p104"/>
            <p:cNvSpPr/>
            <p:nvPr/>
          </p:nvSpPr>
          <p:spPr>
            <a:xfrm>
              <a:off x="6179925" y="1571400"/>
              <a:ext cx="62225" cy="53250"/>
            </a:xfrm>
            <a:custGeom>
              <a:avLst/>
              <a:gdLst/>
              <a:ahLst/>
              <a:cxnLst/>
              <a:rect l="l" t="t" r="r" b="b"/>
              <a:pathLst>
                <a:path w="2489" h="2130" extrusionOk="0">
                  <a:moveTo>
                    <a:pt x="1065" y="1"/>
                  </a:moveTo>
                  <a:cubicBezTo>
                    <a:pt x="480" y="1"/>
                    <a:pt x="0" y="472"/>
                    <a:pt x="0" y="1066"/>
                  </a:cubicBezTo>
                  <a:cubicBezTo>
                    <a:pt x="0" y="1703"/>
                    <a:pt x="525" y="2129"/>
                    <a:pt x="1073" y="2129"/>
                  </a:cubicBezTo>
                  <a:cubicBezTo>
                    <a:pt x="1335" y="2129"/>
                    <a:pt x="1603" y="2032"/>
                    <a:pt x="1821" y="1813"/>
                  </a:cubicBezTo>
                  <a:cubicBezTo>
                    <a:pt x="2488" y="1147"/>
                    <a:pt x="2017" y="1"/>
                    <a:pt x="1065"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682" name="Google Shape;2682;p104"/>
            <p:cNvSpPr/>
            <p:nvPr/>
          </p:nvSpPr>
          <p:spPr>
            <a:xfrm>
              <a:off x="6256150" y="1418975"/>
              <a:ext cx="62200" cy="53350"/>
            </a:xfrm>
            <a:custGeom>
              <a:avLst/>
              <a:gdLst/>
              <a:ahLst/>
              <a:cxnLst/>
              <a:rect l="l" t="t" r="r" b="b"/>
              <a:pathLst>
                <a:path w="2488" h="2134" extrusionOk="0">
                  <a:moveTo>
                    <a:pt x="1065" y="1"/>
                  </a:moveTo>
                  <a:cubicBezTo>
                    <a:pt x="480" y="1"/>
                    <a:pt x="0" y="480"/>
                    <a:pt x="0" y="1065"/>
                  </a:cubicBezTo>
                  <a:cubicBezTo>
                    <a:pt x="0" y="1709"/>
                    <a:pt x="525" y="2133"/>
                    <a:pt x="1071" y="2133"/>
                  </a:cubicBezTo>
                  <a:cubicBezTo>
                    <a:pt x="1332" y="2133"/>
                    <a:pt x="1598" y="2037"/>
                    <a:pt x="1813" y="1822"/>
                  </a:cubicBezTo>
                  <a:cubicBezTo>
                    <a:pt x="2488" y="1147"/>
                    <a:pt x="2016" y="1"/>
                    <a:pt x="1065"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683" name="Google Shape;2683;p104"/>
            <p:cNvSpPr/>
            <p:nvPr/>
          </p:nvSpPr>
          <p:spPr>
            <a:xfrm>
              <a:off x="6256150" y="1495200"/>
              <a:ext cx="62200" cy="53325"/>
            </a:xfrm>
            <a:custGeom>
              <a:avLst/>
              <a:gdLst/>
              <a:ahLst/>
              <a:cxnLst/>
              <a:rect l="l" t="t" r="r" b="b"/>
              <a:pathLst>
                <a:path w="2488" h="2133" extrusionOk="0">
                  <a:moveTo>
                    <a:pt x="1065" y="0"/>
                  </a:moveTo>
                  <a:cubicBezTo>
                    <a:pt x="480" y="0"/>
                    <a:pt x="0" y="480"/>
                    <a:pt x="0" y="1065"/>
                  </a:cubicBezTo>
                  <a:cubicBezTo>
                    <a:pt x="0" y="1709"/>
                    <a:pt x="525" y="2133"/>
                    <a:pt x="1071" y="2133"/>
                  </a:cubicBezTo>
                  <a:cubicBezTo>
                    <a:pt x="1332" y="2133"/>
                    <a:pt x="1598" y="2036"/>
                    <a:pt x="1813" y="1821"/>
                  </a:cubicBezTo>
                  <a:cubicBezTo>
                    <a:pt x="2488" y="1146"/>
                    <a:pt x="2016" y="0"/>
                    <a:pt x="1065"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684" name="Google Shape;2684;p104"/>
            <p:cNvSpPr/>
            <p:nvPr/>
          </p:nvSpPr>
          <p:spPr>
            <a:xfrm>
              <a:off x="6256150" y="1571400"/>
              <a:ext cx="62200" cy="53250"/>
            </a:xfrm>
            <a:custGeom>
              <a:avLst/>
              <a:gdLst/>
              <a:ahLst/>
              <a:cxnLst/>
              <a:rect l="l" t="t" r="r" b="b"/>
              <a:pathLst>
                <a:path w="2488" h="2130" extrusionOk="0">
                  <a:moveTo>
                    <a:pt x="1065" y="1"/>
                  </a:moveTo>
                  <a:cubicBezTo>
                    <a:pt x="480" y="1"/>
                    <a:pt x="0" y="472"/>
                    <a:pt x="0" y="1066"/>
                  </a:cubicBezTo>
                  <a:cubicBezTo>
                    <a:pt x="0" y="1703"/>
                    <a:pt x="524" y="2129"/>
                    <a:pt x="1070" y="2129"/>
                  </a:cubicBezTo>
                  <a:cubicBezTo>
                    <a:pt x="1331" y="2129"/>
                    <a:pt x="1597" y="2032"/>
                    <a:pt x="1813" y="1813"/>
                  </a:cubicBezTo>
                  <a:cubicBezTo>
                    <a:pt x="2488" y="1147"/>
                    <a:pt x="2016" y="1"/>
                    <a:pt x="1065"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685" name="Google Shape;2685;p104"/>
            <p:cNvSpPr/>
            <p:nvPr/>
          </p:nvSpPr>
          <p:spPr>
            <a:xfrm>
              <a:off x="6256150" y="1647400"/>
              <a:ext cx="62200" cy="53450"/>
            </a:xfrm>
            <a:custGeom>
              <a:avLst/>
              <a:gdLst/>
              <a:ahLst/>
              <a:cxnLst/>
              <a:rect l="l" t="t" r="r" b="b"/>
              <a:pathLst>
                <a:path w="2488" h="2138" extrusionOk="0">
                  <a:moveTo>
                    <a:pt x="1065" y="1"/>
                  </a:moveTo>
                  <a:cubicBezTo>
                    <a:pt x="480" y="1"/>
                    <a:pt x="0" y="481"/>
                    <a:pt x="0" y="1066"/>
                  </a:cubicBezTo>
                  <a:cubicBezTo>
                    <a:pt x="0" y="1710"/>
                    <a:pt x="525" y="2138"/>
                    <a:pt x="1071" y="2138"/>
                  </a:cubicBezTo>
                  <a:cubicBezTo>
                    <a:pt x="1332" y="2138"/>
                    <a:pt x="1597" y="2040"/>
                    <a:pt x="1813" y="1822"/>
                  </a:cubicBezTo>
                  <a:cubicBezTo>
                    <a:pt x="2488" y="1155"/>
                    <a:pt x="2016" y="1"/>
                    <a:pt x="1065"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686" name="Google Shape;2686;p104"/>
            <p:cNvSpPr/>
            <p:nvPr/>
          </p:nvSpPr>
          <p:spPr>
            <a:xfrm>
              <a:off x="6179925" y="1647400"/>
              <a:ext cx="62225" cy="53450"/>
            </a:xfrm>
            <a:custGeom>
              <a:avLst/>
              <a:gdLst/>
              <a:ahLst/>
              <a:cxnLst/>
              <a:rect l="l" t="t" r="r" b="b"/>
              <a:pathLst>
                <a:path w="2489" h="2138" extrusionOk="0">
                  <a:moveTo>
                    <a:pt x="1065" y="1"/>
                  </a:moveTo>
                  <a:cubicBezTo>
                    <a:pt x="480" y="1"/>
                    <a:pt x="0" y="481"/>
                    <a:pt x="0" y="1066"/>
                  </a:cubicBezTo>
                  <a:cubicBezTo>
                    <a:pt x="0" y="1710"/>
                    <a:pt x="526" y="2138"/>
                    <a:pt x="1074" y="2138"/>
                  </a:cubicBezTo>
                  <a:cubicBezTo>
                    <a:pt x="1336" y="2138"/>
                    <a:pt x="1603" y="2040"/>
                    <a:pt x="1821" y="1822"/>
                  </a:cubicBezTo>
                  <a:cubicBezTo>
                    <a:pt x="2488" y="1147"/>
                    <a:pt x="2017" y="1"/>
                    <a:pt x="1065"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687" name="Google Shape;2687;p104"/>
            <p:cNvSpPr/>
            <p:nvPr/>
          </p:nvSpPr>
          <p:spPr>
            <a:xfrm>
              <a:off x="6179925" y="1723625"/>
              <a:ext cx="62225" cy="53350"/>
            </a:xfrm>
            <a:custGeom>
              <a:avLst/>
              <a:gdLst/>
              <a:ahLst/>
              <a:cxnLst/>
              <a:rect l="l" t="t" r="r" b="b"/>
              <a:pathLst>
                <a:path w="2489" h="2134" extrusionOk="0">
                  <a:moveTo>
                    <a:pt x="1065" y="1"/>
                  </a:moveTo>
                  <a:cubicBezTo>
                    <a:pt x="480" y="1"/>
                    <a:pt x="0" y="480"/>
                    <a:pt x="0" y="1065"/>
                  </a:cubicBezTo>
                  <a:cubicBezTo>
                    <a:pt x="0" y="1709"/>
                    <a:pt x="526" y="2133"/>
                    <a:pt x="1074" y="2133"/>
                  </a:cubicBezTo>
                  <a:cubicBezTo>
                    <a:pt x="1336" y="2133"/>
                    <a:pt x="1603" y="2037"/>
                    <a:pt x="1821" y="1822"/>
                  </a:cubicBezTo>
                  <a:cubicBezTo>
                    <a:pt x="2488" y="1147"/>
                    <a:pt x="2017" y="1"/>
                    <a:pt x="1065"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688" name="Google Shape;2688;p104"/>
            <p:cNvSpPr/>
            <p:nvPr/>
          </p:nvSpPr>
          <p:spPr>
            <a:xfrm>
              <a:off x="6179925" y="1799850"/>
              <a:ext cx="62225" cy="53325"/>
            </a:xfrm>
            <a:custGeom>
              <a:avLst/>
              <a:gdLst/>
              <a:ahLst/>
              <a:cxnLst/>
              <a:rect l="l" t="t" r="r" b="b"/>
              <a:pathLst>
                <a:path w="2489" h="2133"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7" y="0"/>
                    <a:pt x="1065"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689" name="Google Shape;2689;p104"/>
            <p:cNvSpPr/>
            <p:nvPr/>
          </p:nvSpPr>
          <p:spPr>
            <a:xfrm>
              <a:off x="6179925" y="1876050"/>
              <a:ext cx="62225" cy="53275"/>
            </a:xfrm>
            <a:custGeom>
              <a:avLst/>
              <a:gdLst/>
              <a:ahLst/>
              <a:cxnLst/>
              <a:rect l="l" t="t" r="r" b="b"/>
              <a:pathLst>
                <a:path w="2489" h="2131" extrusionOk="0">
                  <a:moveTo>
                    <a:pt x="1065" y="1"/>
                  </a:moveTo>
                  <a:cubicBezTo>
                    <a:pt x="480" y="1"/>
                    <a:pt x="0" y="472"/>
                    <a:pt x="0" y="1066"/>
                  </a:cubicBezTo>
                  <a:cubicBezTo>
                    <a:pt x="0" y="1707"/>
                    <a:pt x="523" y="2131"/>
                    <a:pt x="1070" y="2131"/>
                  </a:cubicBezTo>
                  <a:cubicBezTo>
                    <a:pt x="1333" y="2131"/>
                    <a:pt x="1602" y="2033"/>
                    <a:pt x="1821" y="1813"/>
                  </a:cubicBezTo>
                  <a:cubicBezTo>
                    <a:pt x="2488" y="1147"/>
                    <a:pt x="2017" y="1"/>
                    <a:pt x="1065"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690" name="Google Shape;2690;p104"/>
            <p:cNvSpPr/>
            <p:nvPr/>
          </p:nvSpPr>
          <p:spPr>
            <a:xfrm>
              <a:off x="6179925" y="1952050"/>
              <a:ext cx="62225" cy="53450"/>
            </a:xfrm>
            <a:custGeom>
              <a:avLst/>
              <a:gdLst/>
              <a:ahLst/>
              <a:cxnLst/>
              <a:rect l="l" t="t" r="r" b="b"/>
              <a:pathLst>
                <a:path w="2489" h="2138" extrusionOk="0">
                  <a:moveTo>
                    <a:pt x="1065" y="1"/>
                  </a:moveTo>
                  <a:cubicBezTo>
                    <a:pt x="480" y="9"/>
                    <a:pt x="0" y="481"/>
                    <a:pt x="0" y="1074"/>
                  </a:cubicBezTo>
                  <a:cubicBezTo>
                    <a:pt x="0" y="1712"/>
                    <a:pt x="525" y="2138"/>
                    <a:pt x="1073" y="2138"/>
                  </a:cubicBezTo>
                  <a:cubicBezTo>
                    <a:pt x="1335" y="2138"/>
                    <a:pt x="1603" y="2040"/>
                    <a:pt x="1821" y="1822"/>
                  </a:cubicBezTo>
                  <a:cubicBezTo>
                    <a:pt x="2488" y="1155"/>
                    <a:pt x="2017" y="1"/>
                    <a:pt x="1065"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691" name="Google Shape;2691;p104"/>
            <p:cNvSpPr/>
            <p:nvPr/>
          </p:nvSpPr>
          <p:spPr>
            <a:xfrm>
              <a:off x="6179925" y="2028275"/>
              <a:ext cx="62225" cy="53450"/>
            </a:xfrm>
            <a:custGeom>
              <a:avLst/>
              <a:gdLst/>
              <a:ahLst/>
              <a:cxnLst/>
              <a:rect l="l" t="t" r="r" b="b"/>
              <a:pathLst>
                <a:path w="2489" h="2138" extrusionOk="0">
                  <a:moveTo>
                    <a:pt x="1065" y="1"/>
                  </a:moveTo>
                  <a:cubicBezTo>
                    <a:pt x="480" y="1"/>
                    <a:pt x="0" y="480"/>
                    <a:pt x="0" y="1065"/>
                  </a:cubicBezTo>
                  <a:cubicBezTo>
                    <a:pt x="0" y="1709"/>
                    <a:pt x="526" y="2137"/>
                    <a:pt x="1074" y="2137"/>
                  </a:cubicBezTo>
                  <a:cubicBezTo>
                    <a:pt x="1336" y="2137"/>
                    <a:pt x="1603" y="2040"/>
                    <a:pt x="1821" y="1821"/>
                  </a:cubicBezTo>
                  <a:cubicBezTo>
                    <a:pt x="2488" y="1147"/>
                    <a:pt x="2017" y="1"/>
                    <a:pt x="1065"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692" name="Google Shape;2692;p104"/>
            <p:cNvSpPr/>
            <p:nvPr/>
          </p:nvSpPr>
          <p:spPr>
            <a:xfrm>
              <a:off x="6103700" y="2028275"/>
              <a:ext cx="62425" cy="53450"/>
            </a:xfrm>
            <a:custGeom>
              <a:avLst/>
              <a:gdLst/>
              <a:ahLst/>
              <a:cxnLst/>
              <a:rect l="l" t="t" r="r" b="b"/>
              <a:pathLst>
                <a:path w="2497" h="2138" extrusionOk="0">
                  <a:moveTo>
                    <a:pt x="1066" y="1"/>
                  </a:moveTo>
                  <a:cubicBezTo>
                    <a:pt x="481" y="1"/>
                    <a:pt x="9" y="480"/>
                    <a:pt x="1" y="1065"/>
                  </a:cubicBezTo>
                  <a:cubicBezTo>
                    <a:pt x="1" y="1709"/>
                    <a:pt x="526" y="2137"/>
                    <a:pt x="1075" y="2137"/>
                  </a:cubicBezTo>
                  <a:cubicBezTo>
                    <a:pt x="1337" y="2137"/>
                    <a:pt x="1604" y="2040"/>
                    <a:pt x="1822" y="1821"/>
                  </a:cubicBezTo>
                  <a:cubicBezTo>
                    <a:pt x="2497" y="1147"/>
                    <a:pt x="2017" y="1"/>
                    <a:pt x="1066"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693" name="Google Shape;2693;p104"/>
            <p:cNvSpPr/>
            <p:nvPr/>
          </p:nvSpPr>
          <p:spPr>
            <a:xfrm>
              <a:off x="6027500" y="2028275"/>
              <a:ext cx="62425" cy="53450"/>
            </a:xfrm>
            <a:custGeom>
              <a:avLst/>
              <a:gdLst/>
              <a:ahLst/>
              <a:cxnLst/>
              <a:rect l="l" t="t" r="r" b="b"/>
              <a:pathLst>
                <a:path w="2497" h="2138" extrusionOk="0">
                  <a:moveTo>
                    <a:pt x="1073" y="1"/>
                  </a:moveTo>
                  <a:cubicBezTo>
                    <a:pt x="480" y="1"/>
                    <a:pt x="9" y="480"/>
                    <a:pt x="0" y="1065"/>
                  </a:cubicBezTo>
                  <a:cubicBezTo>
                    <a:pt x="0" y="1709"/>
                    <a:pt x="529" y="2137"/>
                    <a:pt x="1078" y="2137"/>
                  </a:cubicBezTo>
                  <a:cubicBezTo>
                    <a:pt x="1340" y="2137"/>
                    <a:pt x="1606" y="2040"/>
                    <a:pt x="1821" y="1821"/>
                  </a:cubicBezTo>
                  <a:cubicBezTo>
                    <a:pt x="2496" y="1147"/>
                    <a:pt x="2016" y="1"/>
                    <a:pt x="1073"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694" name="Google Shape;2694;p104"/>
            <p:cNvSpPr/>
            <p:nvPr/>
          </p:nvSpPr>
          <p:spPr>
            <a:xfrm>
              <a:off x="6027500" y="2104500"/>
              <a:ext cx="62425" cy="53325"/>
            </a:xfrm>
            <a:custGeom>
              <a:avLst/>
              <a:gdLst/>
              <a:ahLst/>
              <a:cxnLst/>
              <a:rect l="l" t="t" r="r" b="b"/>
              <a:pathLst>
                <a:path w="2497" h="2133" extrusionOk="0">
                  <a:moveTo>
                    <a:pt x="1073" y="0"/>
                  </a:moveTo>
                  <a:cubicBezTo>
                    <a:pt x="480" y="0"/>
                    <a:pt x="9" y="480"/>
                    <a:pt x="0" y="1065"/>
                  </a:cubicBezTo>
                  <a:cubicBezTo>
                    <a:pt x="0" y="1709"/>
                    <a:pt x="529" y="2133"/>
                    <a:pt x="1078" y="2133"/>
                  </a:cubicBezTo>
                  <a:cubicBezTo>
                    <a:pt x="1340" y="2133"/>
                    <a:pt x="1606" y="2036"/>
                    <a:pt x="1821" y="1821"/>
                  </a:cubicBezTo>
                  <a:cubicBezTo>
                    <a:pt x="2496" y="1146"/>
                    <a:pt x="2016" y="0"/>
                    <a:pt x="1073"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695" name="Google Shape;2695;p104"/>
            <p:cNvSpPr/>
            <p:nvPr/>
          </p:nvSpPr>
          <p:spPr>
            <a:xfrm>
              <a:off x="5951475" y="2104500"/>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4" y="1821"/>
                  </a:cubicBezTo>
                  <a:cubicBezTo>
                    <a:pt x="2489" y="1146"/>
                    <a:pt x="2017" y="0"/>
                    <a:pt x="1066"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696" name="Google Shape;2696;p104"/>
            <p:cNvSpPr/>
            <p:nvPr/>
          </p:nvSpPr>
          <p:spPr>
            <a:xfrm>
              <a:off x="5494400" y="1647400"/>
              <a:ext cx="62225" cy="53450"/>
            </a:xfrm>
            <a:custGeom>
              <a:avLst/>
              <a:gdLst/>
              <a:ahLst/>
              <a:cxnLst/>
              <a:rect l="l" t="t" r="r" b="b"/>
              <a:pathLst>
                <a:path w="2489" h="2138" extrusionOk="0">
                  <a:moveTo>
                    <a:pt x="1066" y="1"/>
                  </a:moveTo>
                  <a:cubicBezTo>
                    <a:pt x="480" y="1"/>
                    <a:pt x="1" y="481"/>
                    <a:pt x="1" y="1066"/>
                  </a:cubicBezTo>
                  <a:cubicBezTo>
                    <a:pt x="1" y="1710"/>
                    <a:pt x="526" y="2138"/>
                    <a:pt x="1075" y="2138"/>
                  </a:cubicBezTo>
                  <a:cubicBezTo>
                    <a:pt x="1337" y="2138"/>
                    <a:pt x="1604" y="2040"/>
                    <a:pt x="1822" y="1822"/>
                  </a:cubicBezTo>
                  <a:cubicBezTo>
                    <a:pt x="2488" y="1155"/>
                    <a:pt x="2017" y="1"/>
                    <a:pt x="1066"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697" name="Google Shape;2697;p104"/>
            <p:cNvSpPr/>
            <p:nvPr/>
          </p:nvSpPr>
          <p:spPr>
            <a:xfrm>
              <a:off x="5494400" y="1723625"/>
              <a:ext cx="62225" cy="53350"/>
            </a:xfrm>
            <a:custGeom>
              <a:avLst/>
              <a:gdLst/>
              <a:ahLst/>
              <a:cxnLst/>
              <a:rect l="l" t="t" r="r" b="b"/>
              <a:pathLst>
                <a:path w="2489" h="2134" extrusionOk="0">
                  <a:moveTo>
                    <a:pt x="1066" y="1"/>
                  </a:moveTo>
                  <a:cubicBezTo>
                    <a:pt x="480" y="1"/>
                    <a:pt x="1" y="480"/>
                    <a:pt x="1" y="1065"/>
                  </a:cubicBezTo>
                  <a:cubicBezTo>
                    <a:pt x="1" y="1709"/>
                    <a:pt x="526" y="2133"/>
                    <a:pt x="1075" y="2133"/>
                  </a:cubicBezTo>
                  <a:cubicBezTo>
                    <a:pt x="1337" y="2133"/>
                    <a:pt x="1604" y="2037"/>
                    <a:pt x="1822" y="1822"/>
                  </a:cubicBezTo>
                  <a:cubicBezTo>
                    <a:pt x="2488" y="1147"/>
                    <a:pt x="2017" y="1"/>
                    <a:pt x="1066"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698" name="Google Shape;2698;p104"/>
            <p:cNvSpPr/>
            <p:nvPr/>
          </p:nvSpPr>
          <p:spPr>
            <a:xfrm>
              <a:off x="5494400" y="1799850"/>
              <a:ext cx="62225" cy="53325"/>
            </a:xfrm>
            <a:custGeom>
              <a:avLst/>
              <a:gdLst/>
              <a:ahLst/>
              <a:cxnLst/>
              <a:rect l="l" t="t" r="r" b="b"/>
              <a:pathLst>
                <a:path w="2489" h="2133" extrusionOk="0">
                  <a:moveTo>
                    <a:pt x="1066" y="0"/>
                  </a:moveTo>
                  <a:cubicBezTo>
                    <a:pt x="480" y="0"/>
                    <a:pt x="1" y="480"/>
                    <a:pt x="1" y="1065"/>
                  </a:cubicBezTo>
                  <a:cubicBezTo>
                    <a:pt x="1" y="1709"/>
                    <a:pt x="526" y="2133"/>
                    <a:pt x="1075" y="2133"/>
                  </a:cubicBezTo>
                  <a:cubicBezTo>
                    <a:pt x="1337" y="2133"/>
                    <a:pt x="1604" y="2036"/>
                    <a:pt x="1822" y="1821"/>
                  </a:cubicBezTo>
                  <a:cubicBezTo>
                    <a:pt x="2488" y="1146"/>
                    <a:pt x="2017" y="0"/>
                    <a:pt x="1066"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699" name="Google Shape;2699;p104"/>
            <p:cNvSpPr/>
            <p:nvPr/>
          </p:nvSpPr>
          <p:spPr>
            <a:xfrm>
              <a:off x="5494400" y="1876050"/>
              <a:ext cx="62225" cy="53300"/>
            </a:xfrm>
            <a:custGeom>
              <a:avLst/>
              <a:gdLst/>
              <a:ahLst/>
              <a:cxnLst/>
              <a:rect l="l" t="t" r="r" b="b"/>
              <a:pathLst>
                <a:path w="2489" h="2132" extrusionOk="0">
                  <a:moveTo>
                    <a:pt x="1066" y="1"/>
                  </a:moveTo>
                  <a:cubicBezTo>
                    <a:pt x="480" y="1"/>
                    <a:pt x="1" y="472"/>
                    <a:pt x="1" y="1066"/>
                  </a:cubicBezTo>
                  <a:cubicBezTo>
                    <a:pt x="1" y="1705"/>
                    <a:pt x="525" y="2132"/>
                    <a:pt x="1072" y="2132"/>
                  </a:cubicBezTo>
                  <a:cubicBezTo>
                    <a:pt x="1332" y="2132"/>
                    <a:pt x="1597" y="2036"/>
                    <a:pt x="1814" y="1822"/>
                  </a:cubicBezTo>
                  <a:cubicBezTo>
                    <a:pt x="2488" y="1147"/>
                    <a:pt x="2017" y="1"/>
                    <a:pt x="1066"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700" name="Google Shape;2700;p104"/>
            <p:cNvSpPr/>
            <p:nvPr/>
          </p:nvSpPr>
          <p:spPr>
            <a:xfrm>
              <a:off x="5494400" y="1952050"/>
              <a:ext cx="62225" cy="53450"/>
            </a:xfrm>
            <a:custGeom>
              <a:avLst/>
              <a:gdLst/>
              <a:ahLst/>
              <a:cxnLst/>
              <a:rect l="l" t="t" r="r" b="b"/>
              <a:pathLst>
                <a:path w="2489" h="2138" extrusionOk="0">
                  <a:moveTo>
                    <a:pt x="1066" y="1"/>
                  </a:moveTo>
                  <a:cubicBezTo>
                    <a:pt x="480" y="9"/>
                    <a:pt x="1" y="481"/>
                    <a:pt x="1" y="1074"/>
                  </a:cubicBezTo>
                  <a:cubicBezTo>
                    <a:pt x="1" y="1712"/>
                    <a:pt x="525" y="2138"/>
                    <a:pt x="1074" y="2138"/>
                  </a:cubicBezTo>
                  <a:cubicBezTo>
                    <a:pt x="1336" y="2138"/>
                    <a:pt x="1604" y="2040"/>
                    <a:pt x="1822" y="1822"/>
                  </a:cubicBezTo>
                  <a:cubicBezTo>
                    <a:pt x="2488" y="1155"/>
                    <a:pt x="2017" y="1"/>
                    <a:pt x="1066"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701" name="Google Shape;2701;p104"/>
            <p:cNvSpPr/>
            <p:nvPr/>
          </p:nvSpPr>
          <p:spPr>
            <a:xfrm>
              <a:off x="5494400" y="2028275"/>
              <a:ext cx="62225" cy="53450"/>
            </a:xfrm>
            <a:custGeom>
              <a:avLst/>
              <a:gdLst/>
              <a:ahLst/>
              <a:cxnLst/>
              <a:rect l="l" t="t" r="r" b="b"/>
              <a:pathLst>
                <a:path w="2489" h="2138" extrusionOk="0">
                  <a:moveTo>
                    <a:pt x="1066" y="1"/>
                  </a:moveTo>
                  <a:cubicBezTo>
                    <a:pt x="480" y="1"/>
                    <a:pt x="1" y="480"/>
                    <a:pt x="1" y="1065"/>
                  </a:cubicBezTo>
                  <a:cubicBezTo>
                    <a:pt x="1" y="1709"/>
                    <a:pt x="526" y="2137"/>
                    <a:pt x="1075" y="2137"/>
                  </a:cubicBezTo>
                  <a:cubicBezTo>
                    <a:pt x="1337" y="2137"/>
                    <a:pt x="1604" y="2040"/>
                    <a:pt x="1822" y="1821"/>
                  </a:cubicBezTo>
                  <a:cubicBezTo>
                    <a:pt x="2488" y="1147"/>
                    <a:pt x="2017" y="1"/>
                    <a:pt x="1066"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702" name="Google Shape;2702;p104"/>
            <p:cNvSpPr/>
            <p:nvPr/>
          </p:nvSpPr>
          <p:spPr>
            <a:xfrm>
              <a:off x="5494400" y="2104500"/>
              <a:ext cx="62225" cy="53325"/>
            </a:xfrm>
            <a:custGeom>
              <a:avLst/>
              <a:gdLst/>
              <a:ahLst/>
              <a:cxnLst/>
              <a:rect l="l" t="t" r="r" b="b"/>
              <a:pathLst>
                <a:path w="2489" h="2133" extrusionOk="0">
                  <a:moveTo>
                    <a:pt x="1066" y="0"/>
                  </a:moveTo>
                  <a:cubicBezTo>
                    <a:pt x="480" y="0"/>
                    <a:pt x="1" y="480"/>
                    <a:pt x="1" y="1065"/>
                  </a:cubicBezTo>
                  <a:cubicBezTo>
                    <a:pt x="1" y="1709"/>
                    <a:pt x="526" y="2133"/>
                    <a:pt x="1075" y="2133"/>
                  </a:cubicBezTo>
                  <a:cubicBezTo>
                    <a:pt x="1337" y="2133"/>
                    <a:pt x="1604" y="2036"/>
                    <a:pt x="1822" y="1821"/>
                  </a:cubicBezTo>
                  <a:cubicBezTo>
                    <a:pt x="2488" y="1146"/>
                    <a:pt x="2017" y="0"/>
                    <a:pt x="1066"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703" name="Google Shape;2703;p104"/>
            <p:cNvSpPr/>
            <p:nvPr/>
          </p:nvSpPr>
          <p:spPr>
            <a:xfrm>
              <a:off x="5494400" y="2180700"/>
              <a:ext cx="62225" cy="53350"/>
            </a:xfrm>
            <a:custGeom>
              <a:avLst/>
              <a:gdLst/>
              <a:ahLst/>
              <a:cxnLst/>
              <a:rect l="l" t="t" r="r" b="b"/>
              <a:pathLst>
                <a:path w="2489" h="2134" extrusionOk="0">
                  <a:moveTo>
                    <a:pt x="1066" y="1"/>
                  </a:moveTo>
                  <a:cubicBezTo>
                    <a:pt x="480" y="1"/>
                    <a:pt x="1" y="480"/>
                    <a:pt x="1" y="1066"/>
                  </a:cubicBezTo>
                  <a:cubicBezTo>
                    <a:pt x="1" y="1709"/>
                    <a:pt x="526" y="2133"/>
                    <a:pt x="1075" y="2133"/>
                  </a:cubicBezTo>
                  <a:cubicBezTo>
                    <a:pt x="1337" y="2133"/>
                    <a:pt x="1604" y="2037"/>
                    <a:pt x="1822" y="1822"/>
                  </a:cubicBezTo>
                  <a:cubicBezTo>
                    <a:pt x="2488" y="1147"/>
                    <a:pt x="2017" y="1"/>
                    <a:pt x="1066"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704" name="Google Shape;2704;p104"/>
            <p:cNvSpPr/>
            <p:nvPr/>
          </p:nvSpPr>
          <p:spPr>
            <a:xfrm>
              <a:off x="5494400" y="2256925"/>
              <a:ext cx="62375" cy="53425"/>
            </a:xfrm>
            <a:custGeom>
              <a:avLst/>
              <a:gdLst/>
              <a:ahLst/>
              <a:cxnLst/>
              <a:rect l="l" t="t" r="r" b="b"/>
              <a:pathLst>
                <a:path w="2495" h="2137" extrusionOk="0">
                  <a:moveTo>
                    <a:pt x="1076" y="0"/>
                  </a:moveTo>
                  <a:cubicBezTo>
                    <a:pt x="1072" y="0"/>
                    <a:pt x="1069" y="0"/>
                    <a:pt x="1066" y="0"/>
                  </a:cubicBezTo>
                  <a:cubicBezTo>
                    <a:pt x="480" y="0"/>
                    <a:pt x="1" y="480"/>
                    <a:pt x="1" y="1065"/>
                  </a:cubicBezTo>
                  <a:cubicBezTo>
                    <a:pt x="1" y="1709"/>
                    <a:pt x="530" y="2137"/>
                    <a:pt x="1078" y="2137"/>
                  </a:cubicBezTo>
                  <a:cubicBezTo>
                    <a:pt x="1340" y="2137"/>
                    <a:pt x="1606" y="2039"/>
                    <a:pt x="1822" y="1821"/>
                  </a:cubicBezTo>
                  <a:cubicBezTo>
                    <a:pt x="2494" y="1149"/>
                    <a:pt x="2020" y="0"/>
                    <a:pt x="1076"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705" name="Google Shape;2705;p104"/>
            <p:cNvSpPr/>
            <p:nvPr/>
          </p:nvSpPr>
          <p:spPr>
            <a:xfrm>
              <a:off x="5494400" y="2333125"/>
              <a:ext cx="62225" cy="53450"/>
            </a:xfrm>
            <a:custGeom>
              <a:avLst/>
              <a:gdLst/>
              <a:ahLst/>
              <a:cxnLst/>
              <a:rect l="l" t="t" r="r" b="b"/>
              <a:pathLst>
                <a:path w="2489" h="2138" extrusionOk="0">
                  <a:moveTo>
                    <a:pt x="1066" y="1"/>
                  </a:moveTo>
                  <a:cubicBezTo>
                    <a:pt x="480" y="1"/>
                    <a:pt x="1" y="480"/>
                    <a:pt x="1" y="1066"/>
                  </a:cubicBezTo>
                  <a:cubicBezTo>
                    <a:pt x="1" y="1709"/>
                    <a:pt x="526" y="2137"/>
                    <a:pt x="1075" y="2137"/>
                  </a:cubicBezTo>
                  <a:cubicBezTo>
                    <a:pt x="1337" y="2137"/>
                    <a:pt x="1604" y="2040"/>
                    <a:pt x="1822" y="1822"/>
                  </a:cubicBezTo>
                  <a:cubicBezTo>
                    <a:pt x="2488" y="1147"/>
                    <a:pt x="2017" y="1"/>
                    <a:pt x="1066"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706" name="Google Shape;2706;p104"/>
            <p:cNvSpPr/>
            <p:nvPr/>
          </p:nvSpPr>
          <p:spPr>
            <a:xfrm>
              <a:off x="5494400" y="2485550"/>
              <a:ext cx="62225" cy="53300"/>
            </a:xfrm>
            <a:custGeom>
              <a:avLst/>
              <a:gdLst/>
              <a:ahLst/>
              <a:cxnLst/>
              <a:rect l="l" t="t" r="r" b="b"/>
              <a:pathLst>
                <a:path w="2489" h="2132" extrusionOk="0">
                  <a:moveTo>
                    <a:pt x="1066" y="1"/>
                  </a:moveTo>
                  <a:cubicBezTo>
                    <a:pt x="480" y="1"/>
                    <a:pt x="1" y="472"/>
                    <a:pt x="1" y="1066"/>
                  </a:cubicBezTo>
                  <a:cubicBezTo>
                    <a:pt x="1" y="1708"/>
                    <a:pt x="523" y="2131"/>
                    <a:pt x="1070" y="2131"/>
                  </a:cubicBezTo>
                  <a:cubicBezTo>
                    <a:pt x="1333" y="2131"/>
                    <a:pt x="1603" y="2033"/>
                    <a:pt x="1822" y="1814"/>
                  </a:cubicBezTo>
                  <a:cubicBezTo>
                    <a:pt x="2488" y="1147"/>
                    <a:pt x="2017" y="1"/>
                    <a:pt x="1066"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707" name="Google Shape;2707;p104"/>
            <p:cNvSpPr/>
            <p:nvPr/>
          </p:nvSpPr>
          <p:spPr>
            <a:xfrm>
              <a:off x="5494400" y="2561575"/>
              <a:ext cx="62225" cy="53425"/>
            </a:xfrm>
            <a:custGeom>
              <a:avLst/>
              <a:gdLst/>
              <a:ahLst/>
              <a:cxnLst/>
              <a:rect l="l" t="t" r="r" b="b"/>
              <a:pathLst>
                <a:path w="2489" h="2137" extrusionOk="0">
                  <a:moveTo>
                    <a:pt x="1066" y="0"/>
                  </a:moveTo>
                  <a:cubicBezTo>
                    <a:pt x="480" y="0"/>
                    <a:pt x="1" y="480"/>
                    <a:pt x="1" y="1073"/>
                  </a:cubicBezTo>
                  <a:cubicBezTo>
                    <a:pt x="1" y="1711"/>
                    <a:pt x="522" y="2137"/>
                    <a:pt x="1067" y="2137"/>
                  </a:cubicBezTo>
                  <a:cubicBezTo>
                    <a:pt x="1329" y="2137"/>
                    <a:pt x="1595" y="2039"/>
                    <a:pt x="1814" y="1821"/>
                  </a:cubicBezTo>
                  <a:cubicBezTo>
                    <a:pt x="2488" y="1154"/>
                    <a:pt x="2017" y="8"/>
                    <a:pt x="1066"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708" name="Google Shape;2708;p104"/>
            <p:cNvSpPr/>
            <p:nvPr/>
          </p:nvSpPr>
          <p:spPr>
            <a:xfrm>
              <a:off x="5494400" y="2637775"/>
              <a:ext cx="62225" cy="53450"/>
            </a:xfrm>
            <a:custGeom>
              <a:avLst/>
              <a:gdLst/>
              <a:ahLst/>
              <a:cxnLst/>
              <a:rect l="l" t="t" r="r" b="b"/>
              <a:pathLst>
                <a:path w="2489" h="2138" extrusionOk="0">
                  <a:moveTo>
                    <a:pt x="1066" y="1"/>
                  </a:moveTo>
                  <a:cubicBezTo>
                    <a:pt x="480" y="1"/>
                    <a:pt x="1" y="480"/>
                    <a:pt x="1" y="1074"/>
                  </a:cubicBezTo>
                  <a:cubicBezTo>
                    <a:pt x="1" y="1712"/>
                    <a:pt x="525" y="2137"/>
                    <a:pt x="1074" y="2137"/>
                  </a:cubicBezTo>
                  <a:cubicBezTo>
                    <a:pt x="1336" y="2137"/>
                    <a:pt x="1604" y="2040"/>
                    <a:pt x="1822" y="1822"/>
                  </a:cubicBezTo>
                  <a:cubicBezTo>
                    <a:pt x="2488" y="1155"/>
                    <a:pt x="2017" y="1"/>
                    <a:pt x="1066"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709" name="Google Shape;2709;p104"/>
            <p:cNvSpPr/>
            <p:nvPr/>
          </p:nvSpPr>
          <p:spPr>
            <a:xfrm>
              <a:off x="5494400" y="2714000"/>
              <a:ext cx="62225" cy="53350"/>
            </a:xfrm>
            <a:custGeom>
              <a:avLst/>
              <a:gdLst/>
              <a:ahLst/>
              <a:cxnLst/>
              <a:rect l="l" t="t" r="r" b="b"/>
              <a:pathLst>
                <a:path w="2489" h="2134" extrusionOk="0">
                  <a:moveTo>
                    <a:pt x="1066" y="0"/>
                  </a:moveTo>
                  <a:cubicBezTo>
                    <a:pt x="480" y="0"/>
                    <a:pt x="1" y="480"/>
                    <a:pt x="1" y="1065"/>
                  </a:cubicBezTo>
                  <a:cubicBezTo>
                    <a:pt x="1" y="1709"/>
                    <a:pt x="526" y="2133"/>
                    <a:pt x="1075" y="2133"/>
                  </a:cubicBezTo>
                  <a:cubicBezTo>
                    <a:pt x="1337" y="2133"/>
                    <a:pt x="1604" y="2036"/>
                    <a:pt x="1822" y="1821"/>
                  </a:cubicBezTo>
                  <a:cubicBezTo>
                    <a:pt x="2488" y="1146"/>
                    <a:pt x="2017" y="0"/>
                    <a:pt x="1066"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710" name="Google Shape;2710;p104"/>
            <p:cNvSpPr/>
            <p:nvPr/>
          </p:nvSpPr>
          <p:spPr>
            <a:xfrm>
              <a:off x="5494400" y="2790200"/>
              <a:ext cx="62225" cy="53350"/>
            </a:xfrm>
            <a:custGeom>
              <a:avLst/>
              <a:gdLst/>
              <a:ahLst/>
              <a:cxnLst/>
              <a:rect l="l" t="t" r="r" b="b"/>
              <a:pathLst>
                <a:path w="2489" h="2134" extrusionOk="0">
                  <a:moveTo>
                    <a:pt x="1066" y="1"/>
                  </a:moveTo>
                  <a:cubicBezTo>
                    <a:pt x="480" y="1"/>
                    <a:pt x="1" y="480"/>
                    <a:pt x="1" y="1066"/>
                  </a:cubicBezTo>
                  <a:cubicBezTo>
                    <a:pt x="1" y="1709"/>
                    <a:pt x="526" y="2134"/>
                    <a:pt x="1075" y="2134"/>
                  </a:cubicBezTo>
                  <a:cubicBezTo>
                    <a:pt x="1337" y="2134"/>
                    <a:pt x="1604" y="2037"/>
                    <a:pt x="1822" y="1822"/>
                  </a:cubicBezTo>
                  <a:cubicBezTo>
                    <a:pt x="2488" y="1147"/>
                    <a:pt x="2017" y="1"/>
                    <a:pt x="1066"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711" name="Google Shape;2711;p104"/>
            <p:cNvSpPr/>
            <p:nvPr/>
          </p:nvSpPr>
          <p:spPr>
            <a:xfrm>
              <a:off x="5570625" y="1266550"/>
              <a:ext cx="62200" cy="53450"/>
            </a:xfrm>
            <a:custGeom>
              <a:avLst/>
              <a:gdLst/>
              <a:ahLst/>
              <a:cxnLst/>
              <a:rect l="l" t="t" r="r" b="b"/>
              <a:pathLst>
                <a:path w="2488" h="2138" extrusionOk="0">
                  <a:moveTo>
                    <a:pt x="1065" y="0"/>
                  </a:moveTo>
                  <a:cubicBezTo>
                    <a:pt x="472" y="9"/>
                    <a:pt x="0" y="480"/>
                    <a:pt x="0" y="1074"/>
                  </a:cubicBezTo>
                  <a:cubicBezTo>
                    <a:pt x="0" y="1711"/>
                    <a:pt x="525" y="2137"/>
                    <a:pt x="1071" y="2137"/>
                  </a:cubicBezTo>
                  <a:cubicBezTo>
                    <a:pt x="1332" y="2137"/>
                    <a:pt x="1598" y="2040"/>
                    <a:pt x="1813" y="1821"/>
                  </a:cubicBezTo>
                  <a:cubicBezTo>
                    <a:pt x="2488" y="1155"/>
                    <a:pt x="2016" y="9"/>
                    <a:pt x="1065"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712" name="Google Shape;2712;p104"/>
            <p:cNvSpPr/>
            <p:nvPr/>
          </p:nvSpPr>
          <p:spPr>
            <a:xfrm>
              <a:off x="5570625" y="1342750"/>
              <a:ext cx="62200" cy="53450"/>
            </a:xfrm>
            <a:custGeom>
              <a:avLst/>
              <a:gdLst/>
              <a:ahLst/>
              <a:cxnLst/>
              <a:rect l="l" t="t" r="r" b="b"/>
              <a:pathLst>
                <a:path w="2488" h="2138" extrusionOk="0">
                  <a:moveTo>
                    <a:pt x="1065" y="1"/>
                  </a:moveTo>
                  <a:cubicBezTo>
                    <a:pt x="472" y="1"/>
                    <a:pt x="0" y="481"/>
                    <a:pt x="0" y="1066"/>
                  </a:cubicBezTo>
                  <a:cubicBezTo>
                    <a:pt x="0" y="1710"/>
                    <a:pt x="526" y="2138"/>
                    <a:pt x="1072" y="2138"/>
                  </a:cubicBezTo>
                  <a:cubicBezTo>
                    <a:pt x="1332" y="2138"/>
                    <a:pt x="1598" y="2040"/>
                    <a:pt x="1813" y="1822"/>
                  </a:cubicBezTo>
                  <a:cubicBezTo>
                    <a:pt x="2488" y="1155"/>
                    <a:pt x="2016" y="1"/>
                    <a:pt x="1065"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713" name="Google Shape;2713;p104"/>
            <p:cNvSpPr/>
            <p:nvPr/>
          </p:nvSpPr>
          <p:spPr>
            <a:xfrm>
              <a:off x="5570625" y="1418975"/>
              <a:ext cx="62200" cy="53350"/>
            </a:xfrm>
            <a:custGeom>
              <a:avLst/>
              <a:gdLst/>
              <a:ahLst/>
              <a:cxnLst/>
              <a:rect l="l" t="t" r="r" b="b"/>
              <a:pathLst>
                <a:path w="2488" h="2134" extrusionOk="0">
                  <a:moveTo>
                    <a:pt x="1065" y="1"/>
                  </a:moveTo>
                  <a:cubicBezTo>
                    <a:pt x="472" y="1"/>
                    <a:pt x="0" y="480"/>
                    <a:pt x="0" y="1065"/>
                  </a:cubicBezTo>
                  <a:cubicBezTo>
                    <a:pt x="0" y="1709"/>
                    <a:pt x="526" y="2133"/>
                    <a:pt x="1072" y="2133"/>
                  </a:cubicBezTo>
                  <a:cubicBezTo>
                    <a:pt x="1333" y="2133"/>
                    <a:pt x="1598" y="2037"/>
                    <a:pt x="1813" y="1822"/>
                  </a:cubicBezTo>
                  <a:cubicBezTo>
                    <a:pt x="2488" y="1147"/>
                    <a:pt x="2016" y="1"/>
                    <a:pt x="1065"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714" name="Google Shape;2714;p104"/>
            <p:cNvSpPr/>
            <p:nvPr/>
          </p:nvSpPr>
          <p:spPr>
            <a:xfrm>
              <a:off x="5570625" y="1495200"/>
              <a:ext cx="62200" cy="53325"/>
            </a:xfrm>
            <a:custGeom>
              <a:avLst/>
              <a:gdLst/>
              <a:ahLst/>
              <a:cxnLst/>
              <a:rect l="l" t="t" r="r" b="b"/>
              <a:pathLst>
                <a:path w="2488" h="2133" extrusionOk="0">
                  <a:moveTo>
                    <a:pt x="1065" y="0"/>
                  </a:moveTo>
                  <a:cubicBezTo>
                    <a:pt x="472" y="0"/>
                    <a:pt x="0" y="472"/>
                    <a:pt x="0" y="1065"/>
                  </a:cubicBezTo>
                  <a:cubicBezTo>
                    <a:pt x="0" y="1709"/>
                    <a:pt x="526" y="2133"/>
                    <a:pt x="1072" y="2133"/>
                  </a:cubicBezTo>
                  <a:cubicBezTo>
                    <a:pt x="1333" y="2133"/>
                    <a:pt x="1598" y="2036"/>
                    <a:pt x="1813" y="1821"/>
                  </a:cubicBezTo>
                  <a:cubicBezTo>
                    <a:pt x="2488" y="1146"/>
                    <a:pt x="2016" y="0"/>
                    <a:pt x="1065"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715" name="Google Shape;2715;p104"/>
            <p:cNvSpPr/>
            <p:nvPr/>
          </p:nvSpPr>
          <p:spPr>
            <a:xfrm>
              <a:off x="5570625" y="1571400"/>
              <a:ext cx="62200" cy="53250"/>
            </a:xfrm>
            <a:custGeom>
              <a:avLst/>
              <a:gdLst/>
              <a:ahLst/>
              <a:cxnLst/>
              <a:rect l="l" t="t" r="r" b="b"/>
              <a:pathLst>
                <a:path w="2488" h="2130" extrusionOk="0">
                  <a:moveTo>
                    <a:pt x="1065" y="1"/>
                  </a:moveTo>
                  <a:cubicBezTo>
                    <a:pt x="472" y="1"/>
                    <a:pt x="0" y="472"/>
                    <a:pt x="0" y="1066"/>
                  </a:cubicBezTo>
                  <a:cubicBezTo>
                    <a:pt x="0" y="1703"/>
                    <a:pt x="525" y="2129"/>
                    <a:pt x="1071" y="2129"/>
                  </a:cubicBezTo>
                  <a:cubicBezTo>
                    <a:pt x="1332" y="2129"/>
                    <a:pt x="1598" y="2032"/>
                    <a:pt x="1813" y="1813"/>
                  </a:cubicBezTo>
                  <a:cubicBezTo>
                    <a:pt x="2488" y="1147"/>
                    <a:pt x="2016" y="1"/>
                    <a:pt x="1065"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716" name="Google Shape;2716;p104"/>
            <p:cNvSpPr/>
            <p:nvPr/>
          </p:nvSpPr>
          <p:spPr>
            <a:xfrm>
              <a:off x="5570625" y="1647400"/>
              <a:ext cx="62200" cy="53450"/>
            </a:xfrm>
            <a:custGeom>
              <a:avLst/>
              <a:gdLst/>
              <a:ahLst/>
              <a:cxnLst/>
              <a:rect l="l" t="t" r="r" b="b"/>
              <a:pathLst>
                <a:path w="2488" h="2138" extrusionOk="0">
                  <a:moveTo>
                    <a:pt x="1065" y="1"/>
                  </a:moveTo>
                  <a:cubicBezTo>
                    <a:pt x="472" y="1"/>
                    <a:pt x="0" y="481"/>
                    <a:pt x="0" y="1066"/>
                  </a:cubicBezTo>
                  <a:cubicBezTo>
                    <a:pt x="0" y="1710"/>
                    <a:pt x="526" y="2138"/>
                    <a:pt x="1072" y="2138"/>
                  </a:cubicBezTo>
                  <a:cubicBezTo>
                    <a:pt x="1332" y="2138"/>
                    <a:pt x="1598" y="2040"/>
                    <a:pt x="1813" y="1822"/>
                  </a:cubicBezTo>
                  <a:cubicBezTo>
                    <a:pt x="2488" y="1155"/>
                    <a:pt x="2016" y="1"/>
                    <a:pt x="1065"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717" name="Google Shape;2717;p104"/>
            <p:cNvSpPr/>
            <p:nvPr/>
          </p:nvSpPr>
          <p:spPr>
            <a:xfrm>
              <a:off x="5570625" y="1723625"/>
              <a:ext cx="62200" cy="53350"/>
            </a:xfrm>
            <a:custGeom>
              <a:avLst/>
              <a:gdLst/>
              <a:ahLst/>
              <a:cxnLst/>
              <a:rect l="l" t="t" r="r" b="b"/>
              <a:pathLst>
                <a:path w="2488" h="2134" extrusionOk="0">
                  <a:moveTo>
                    <a:pt x="1065" y="1"/>
                  </a:moveTo>
                  <a:cubicBezTo>
                    <a:pt x="472" y="1"/>
                    <a:pt x="0" y="480"/>
                    <a:pt x="0" y="1065"/>
                  </a:cubicBezTo>
                  <a:cubicBezTo>
                    <a:pt x="0" y="1709"/>
                    <a:pt x="526" y="2133"/>
                    <a:pt x="1072" y="2133"/>
                  </a:cubicBezTo>
                  <a:cubicBezTo>
                    <a:pt x="1333" y="2133"/>
                    <a:pt x="1598" y="2037"/>
                    <a:pt x="1813" y="1822"/>
                  </a:cubicBezTo>
                  <a:cubicBezTo>
                    <a:pt x="2488" y="1147"/>
                    <a:pt x="2016" y="1"/>
                    <a:pt x="1065"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718" name="Google Shape;2718;p104"/>
            <p:cNvSpPr/>
            <p:nvPr/>
          </p:nvSpPr>
          <p:spPr>
            <a:xfrm>
              <a:off x="5570625" y="1799850"/>
              <a:ext cx="62200" cy="53325"/>
            </a:xfrm>
            <a:custGeom>
              <a:avLst/>
              <a:gdLst/>
              <a:ahLst/>
              <a:cxnLst/>
              <a:rect l="l" t="t" r="r" b="b"/>
              <a:pathLst>
                <a:path w="2488" h="2133" extrusionOk="0">
                  <a:moveTo>
                    <a:pt x="1065" y="0"/>
                  </a:moveTo>
                  <a:cubicBezTo>
                    <a:pt x="472" y="0"/>
                    <a:pt x="0" y="480"/>
                    <a:pt x="0" y="1065"/>
                  </a:cubicBezTo>
                  <a:cubicBezTo>
                    <a:pt x="0" y="1709"/>
                    <a:pt x="526" y="2133"/>
                    <a:pt x="1072" y="2133"/>
                  </a:cubicBezTo>
                  <a:cubicBezTo>
                    <a:pt x="1333" y="2133"/>
                    <a:pt x="1598" y="2036"/>
                    <a:pt x="1813" y="1821"/>
                  </a:cubicBezTo>
                  <a:cubicBezTo>
                    <a:pt x="2488" y="1146"/>
                    <a:pt x="2016" y="0"/>
                    <a:pt x="1065"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719" name="Google Shape;2719;p104"/>
            <p:cNvSpPr/>
            <p:nvPr/>
          </p:nvSpPr>
          <p:spPr>
            <a:xfrm>
              <a:off x="5570625" y="1876050"/>
              <a:ext cx="62200" cy="53350"/>
            </a:xfrm>
            <a:custGeom>
              <a:avLst/>
              <a:gdLst/>
              <a:ahLst/>
              <a:cxnLst/>
              <a:rect l="l" t="t" r="r" b="b"/>
              <a:pathLst>
                <a:path w="2488" h="2134" extrusionOk="0">
                  <a:moveTo>
                    <a:pt x="1065" y="1"/>
                  </a:moveTo>
                  <a:cubicBezTo>
                    <a:pt x="472" y="1"/>
                    <a:pt x="0" y="472"/>
                    <a:pt x="0" y="1066"/>
                  </a:cubicBezTo>
                  <a:cubicBezTo>
                    <a:pt x="0" y="1709"/>
                    <a:pt x="526" y="2133"/>
                    <a:pt x="1072" y="2133"/>
                  </a:cubicBezTo>
                  <a:cubicBezTo>
                    <a:pt x="1333" y="2133"/>
                    <a:pt x="1598" y="2037"/>
                    <a:pt x="1813" y="1822"/>
                  </a:cubicBezTo>
                  <a:cubicBezTo>
                    <a:pt x="2488" y="1147"/>
                    <a:pt x="2016" y="1"/>
                    <a:pt x="1065"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720" name="Google Shape;2720;p104"/>
            <p:cNvSpPr/>
            <p:nvPr/>
          </p:nvSpPr>
          <p:spPr>
            <a:xfrm>
              <a:off x="5570625" y="1952050"/>
              <a:ext cx="62200" cy="53450"/>
            </a:xfrm>
            <a:custGeom>
              <a:avLst/>
              <a:gdLst/>
              <a:ahLst/>
              <a:cxnLst/>
              <a:rect l="l" t="t" r="r" b="b"/>
              <a:pathLst>
                <a:path w="2488" h="2138" extrusionOk="0">
                  <a:moveTo>
                    <a:pt x="1065" y="1"/>
                  </a:moveTo>
                  <a:cubicBezTo>
                    <a:pt x="472" y="9"/>
                    <a:pt x="0" y="481"/>
                    <a:pt x="0" y="1074"/>
                  </a:cubicBezTo>
                  <a:cubicBezTo>
                    <a:pt x="0" y="1712"/>
                    <a:pt x="525" y="2138"/>
                    <a:pt x="1071" y="2138"/>
                  </a:cubicBezTo>
                  <a:cubicBezTo>
                    <a:pt x="1332" y="2138"/>
                    <a:pt x="1598" y="2040"/>
                    <a:pt x="1813" y="1822"/>
                  </a:cubicBezTo>
                  <a:cubicBezTo>
                    <a:pt x="2488" y="1155"/>
                    <a:pt x="2016" y="9"/>
                    <a:pt x="1065"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721" name="Google Shape;2721;p104"/>
            <p:cNvSpPr/>
            <p:nvPr/>
          </p:nvSpPr>
          <p:spPr>
            <a:xfrm>
              <a:off x="5570625" y="2028275"/>
              <a:ext cx="62200" cy="53450"/>
            </a:xfrm>
            <a:custGeom>
              <a:avLst/>
              <a:gdLst/>
              <a:ahLst/>
              <a:cxnLst/>
              <a:rect l="l" t="t" r="r" b="b"/>
              <a:pathLst>
                <a:path w="2488" h="2138" extrusionOk="0">
                  <a:moveTo>
                    <a:pt x="1065" y="1"/>
                  </a:moveTo>
                  <a:cubicBezTo>
                    <a:pt x="472" y="1"/>
                    <a:pt x="0" y="480"/>
                    <a:pt x="0" y="1065"/>
                  </a:cubicBezTo>
                  <a:cubicBezTo>
                    <a:pt x="0" y="1709"/>
                    <a:pt x="526" y="2137"/>
                    <a:pt x="1072" y="2137"/>
                  </a:cubicBezTo>
                  <a:cubicBezTo>
                    <a:pt x="1332" y="2137"/>
                    <a:pt x="1598" y="2040"/>
                    <a:pt x="1813" y="1821"/>
                  </a:cubicBezTo>
                  <a:cubicBezTo>
                    <a:pt x="2488" y="1155"/>
                    <a:pt x="2016" y="1"/>
                    <a:pt x="1065"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722" name="Google Shape;2722;p104"/>
            <p:cNvSpPr/>
            <p:nvPr/>
          </p:nvSpPr>
          <p:spPr>
            <a:xfrm>
              <a:off x="5570625" y="2104500"/>
              <a:ext cx="62200" cy="53325"/>
            </a:xfrm>
            <a:custGeom>
              <a:avLst/>
              <a:gdLst/>
              <a:ahLst/>
              <a:cxnLst/>
              <a:rect l="l" t="t" r="r" b="b"/>
              <a:pathLst>
                <a:path w="2488" h="2133" extrusionOk="0">
                  <a:moveTo>
                    <a:pt x="1065" y="0"/>
                  </a:moveTo>
                  <a:cubicBezTo>
                    <a:pt x="472" y="0"/>
                    <a:pt x="0" y="480"/>
                    <a:pt x="0" y="1065"/>
                  </a:cubicBezTo>
                  <a:cubicBezTo>
                    <a:pt x="0" y="1709"/>
                    <a:pt x="526" y="2133"/>
                    <a:pt x="1072" y="2133"/>
                  </a:cubicBezTo>
                  <a:cubicBezTo>
                    <a:pt x="1333" y="2133"/>
                    <a:pt x="1598" y="2036"/>
                    <a:pt x="1813" y="1821"/>
                  </a:cubicBezTo>
                  <a:cubicBezTo>
                    <a:pt x="2488" y="1146"/>
                    <a:pt x="2016" y="0"/>
                    <a:pt x="1065"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723" name="Google Shape;2723;p104"/>
            <p:cNvSpPr/>
            <p:nvPr/>
          </p:nvSpPr>
          <p:spPr>
            <a:xfrm>
              <a:off x="5570625" y="2180700"/>
              <a:ext cx="62200" cy="53350"/>
            </a:xfrm>
            <a:custGeom>
              <a:avLst/>
              <a:gdLst/>
              <a:ahLst/>
              <a:cxnLst/>
              <a:rect l="l" t="t" r="r" b="b"/>
              <a:pathLst>
                <a:path w="2488" h="2134" extrusionOk="0">
                  <a:moveTo>
                    <a:pt x="1065" y="1"/>
                  </a:moveTo>
                  <a:cubicBezTo>
                    <a:pt x="472" y="1"/>
                    <a:pt x="0" y="472"/>
                    <a:pt x="0" y="1066"/>
                  </a:cubicBezTo>
                  <a:cubicBezTo>
                    <a:pt x="0" y="1709"/>
                    <a:pt x="526" y="2133"/>
                    <a:pt x="1072" y="2133"/>
                  </a:cubicBezTo>
                  <a:cubicBezTo>
                    <a:pt x="1333" y="2133"/>
                    <a:pt x="1598" y="2037"/>
                    <a:pt x="1813" y="1822"/>
                  </a:cubicBezTo>
                  <a:cubicBezTo>
                    <a:pt x="2488" y="1147"/>
                    <a:pt x="2016" y="1"/>
                    <a:pt x="1065"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724" name="Google Shape;2724;p104"/>
            <p:cNvSpPr/>
            <p:nvPr/>
          </p:nvSpPr>
          <p:spPr>
            <a:xfrm>
              <a:off x="5570625" y="2256925"/>
              <a:ext cx="62425" cy="53425"/>
            </a:xfrm>
            <a:custGeom>
              <a:avLst/>
              <a:gdLst/>
              <a:ahLst/>
              <a:cxnLst/>
              <a:rect l="l" t="t" r="r" b="b"/>
              <a:pathLst>
                <a:path w="2497" h="2137" extrusionOk="0">
                  <a:moveTo>
                    <a:pt x="1065" y="0"/>
                  </a:moveTo>
                  <a:cubicBezTo>
                    <a:pt x="472" y="0"/>
                    <a:pt x="0" y="480"/>
                    <a:pt x="0" y="1065"/>
                  </a:cubicBezTo>
                  <a:cubicBezTo>
                    <a:pt x="0" y="1709"/>
                    <a:pt x="526" y="2137"/>
                    <a:pt x="1074" y="2137"/>
                  </a:cubicBezTo>
                  <a:cubicBezTo>
                    <a:pt x="1336" y="2137"/>
                    <a:pt x="1603" y="2039"/>
                    <a:pt x="1821" y="1821"/>
                  </a:cubicBezTo>
                  <a:cubicBezTo>
                    <a:pt x="2496" y="1146"/>
                    <a:pt x="2016" y="0"/>
                    <a:pt x="1065"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725" name="Google Shape;2725;p104"/>
            <p:cNvSpPr/>
            <p:nvPr/>
          </p:nvSpPr>
          <p:spPr>
            <a:xfrm>
              <a:off x="5570625" y="2333125"/>
              <a:ext cx="62200" cy="53450"/>
            </a:xfrm>
            <a:custGeom>
              <a:avLst/>
              <a:gdLst/>
              <a:ahLst/>
              <a:cxnLst/>
              <a:rect l="l" t="t" r="r" b="b"/>
              <a:pathLst>
                <a:path w="2488" h="2138" extrusionOk="0">
                  <a:moveTo>
                    <a:pt x="1065" y="1"/>
                  </a:moveTo>
                  <a:cubicBezTo>
                    <a:pt x="472" y="1"/>
                    <a:pt x="0" y="480"/>
                    <a:pt x="0" y="1066"/>
                  </a:cubicBezTo>
                  <a:cubicBezTo>
                    <a:pt x="0" y="1709"/>
                    <a:pt x="526" y="2137"/>
                    <a:pt x="1072" y="2137"/>
                  </a:cubicBezTo>
                  <a:cubicBezTo>
                    <a:pt x="1332" y="2137"/>
                    <a:pt x="1598" y="2040"/>
                    <a:pt x="1813" y="1822"/>
                  </a:cubicBezTo>
                  <a:cubicBezTo>
                    <a:pt x="2488" y="1155"/>
                    <a:pt x="2016" y="1"/>
                    <a:pt x="1065"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726" name="Google Shape;2726;p104"/>
            <p:cNvSpPr/>
            <p:nvPr/>
          </p:nvSpPr>
          <p:spPr>
            <a:xfrm>
              <a:off x="5570625" y="2485550"/>
              <a:ext cx="62200" cy="53300"/>
            </a:xfrm>
            <a:custGeom>
              <a:avLst/>
              <a:gdLst/>
              <a:ahLst/>
              <a:cxnLst/>
              <a:rect l="l" t="t" r="r" b="b"/>
              <a:pathLst>
                <a:path w="2488" h="2132" extrusionOk="0">
                  <a:moveTo>
                    <a:pt x="1065" y="1"/>
                  </a:moveTo>
                  <a:cubicBezTo>
                    <a:pt x="480" y="1"/>
                    <a:pt x="0" y="480"/>
                    <a:pt x="0" y="1066"/>
                  </a:cubicBezTo>
                  <a:cubicBezTo>
                    <a:pt x="0" y="1708"/>
                    <a:pt x="523" y="2131"/>
                    <a:pt x="1070" y="2131"/>
                  </a:cubicBezTo>
                  <a:cubicBezTo>
                    <a:pt x="1333" y="2131"/>
                    <a:pt x="1602" y="2033"/>
                    <a:pt x="1821" y="1814"/>
                  </a:cubicBezTo>
                  <a:cubicBezTo>
                    <a:pt x="2488" y="1147"/>
                    <a:pt x="2016" y="1"/>
                    <a:pt x="1065"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727" name="Google Shape;2727;p104"/>
            <p:cNvSpPr/>
            <p:nvPr/>
          </p:nvSpPr>
          <p:spPr>
            <a:xfrm>
              <a:off x="5570625" y="2561575"/>
              <a:ext cx="62200" cy="53425"/>
            </a:xfrm>
            <a:custGeom>
              <a:avLst/>
              <a:gdLst/>
              <a:ahLst/>
              <a:cxnLst/>
              <a:rect l="l" t="t" r="r" b="b"/>
              <a:pathLst>
                <a:path w="2488" h="2137" extrusionOk="0">
                  <a:moveTo>
                    <a:pt x="1065" y="0"/>
                  </a:moveTo>
                  <a:cubicBezTo>
                    <a:pt x="472" y="8"/>
                    <a:pt x="0" y="480"/>
                    <a:pt x="0" y="1073"/>
                  </a:cubicBezTo>
                  <a:cubicBezTo>
                    <a:pt x="0" y="1711"/>
                    <a:pt x="525" y="2137"/>
                    <a:pt x="1071" y="2137"/>
                  </a:cubicBezTo>
                  <a:cubicBezTo>
                    <a:pt x="1332" y="2137"/>
                    <a:pt x="1598" y="2039"/>
                    <a:pt x="1813" y="1821"/>
                  </a:cubicBezTo>
                  <a:cubicBezTo>
                    <a:pt x="2488" y="1154"/>
                    <a:pt x="2016" y="8"/>
                    <a:pt x="1065"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728" name="Google Shape;2728;p104"/>
            <p:cNvSpPr/>
            <p:nvPr/>
          </p:nvSpPr>
          <p:spPr>
            <a:xfrm>
              <a:off x="5570625" y="2637775"/>
              <a:ext cx="62200" cy="53450"/>
            </a:xfrm>
            <a:custGeom>
              <a:avLst/>
              <a:gdLst/>
              <a:ahLst/>
              <a:cxnLst/>
              <a:rect l="l" t="t" r="r" b="b"/>
              <a:pathLst>
                <a:path w="2488" h="2138" extrusionOk="0">
                  <a:moveTo>
                    <a:pt x="1065" y="1"/>
                  </a:moveTo>
                  <a:cubicBezTo>
                    <a:pt x="480" y="9"/>
                    <a:pt x="0" y="480"/>
                    <a:pt x="0" y="1074"/>
                  </a:cubicBezTo>
                  <a:cubicBezTo>
                    <a:pt x="0" y="1712"/>
                    <a:pt x="525" y="2137"/>
                    <a:pt x="1073" y="2137"/>
                  </a:cubicBezTo>
                  <a:cubicBezTo>
                    <a:pt x="1335" y="2137"/>
                    <a:pt x="1603" y="2040"/>
                    <a:pt x="1821" y="1822"/>
                  </a:cubicBezTo>
                  <a:cubicBezTo>
                    <a:pt x="2488" y="1147"/>
                    <a:pt x="2016" y="1"/>
                    <a:pt x="1065"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729" name="Google Shape;2729;p104"/>
            <p:cNvSpPr/>
            <p:nvPr/>
          </p:nvSpPr>
          <p:spPr>
            <a:xfrm>
              <a:off x="5570625" y="2866425"/>
              <a:ext cx="62200" cy="53275"/>
            </a:xfrm>
            <a:custGeom>
              <a:avLst/>
              <a:gdLst/>
              <a:ahLst/>
              <a:cxnLst/>
              <a:rect l="l" t="t" r="r" b="b"/>
              <a:pathLst>
                <a:path w="2488" h="2131" extrusionOk="0">
                  <a:moveTo>
                    <a:pt x="1065" y="0"/>
                  </a:moveTo>
                  <a:cubicBezTo>
                    <a:pt x="480" y="0"/>
                    <a:pt x="0" y="472"/>
                    <a:pt x="0" y="1065"/>
                  </a:cubicBezTo>
                  <a:cubicBezTo>
                    <a:pt x="0" y="1707"/>
                    <a:pt x="523" y="2131"/>
                    <a:pt x="1070" y="2131"/>
                  </a:cubicBezTo>
                  <a:cubicBezTo>
                    <a:pt x="1333" y="2131"/>
                    <a:pt x="1602" y="2032"/>
                    <a:pt x="1821" y="1813"/>
                  </a:cubicBezTo>
                  <a:cubicBezTo>
                    <a:pt x="2488" y="1146"/>
                    <a:pt x="2016" y="0"/>
                    <a:pt x="1065"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730" name="Google Shape;2730;p104"/>
            <p:cNvSpPr/>
            <p:nvPr/>
          </p:nvSpPr>
          <p:spPr>
            <a:xfrm>
              <a:off x="5570625" y="2790200"/>
              <a:ext cx="62200" cy="53350"/>
            </a:xfrm>
            <a:custGeom>
              <a:avLst/>
              <a:gdLst/>
              <a:ahLst/>
              <a:cxnLst/>
              <a:rect l="l" t="t" r="r" b="b"/>
              <a:pathLst>
                <a:path w="2488" h="2134" extrusionOk="0">
                  <a:moveTo>
                    <a:pt x="1065" y="1"/>
                  </a:moveTo>
                  <a:cubicBezTo>
                    <a:pt x="472" y="1"/>
                    <a:pt x="0" y="472"/>
                    <a:pt x="0" y="1066"/>
                  </a:cubicBezTo>
                  <a:cubicBezTo>
                    <a:pt x="0" y="1709"/>
                    <a:pt x="526" y="2134"/>
                    <a:pt x="1072" y="2134"/>
                  </a:cubicBezTo>
                  <a:cubicBezTo>
                    <a:pt x="1333" y="2134"/>
                    <a:pt x="1598" y="2037"/>
                    <a:pt x="1813" y="1822"/>
                  </a:cubicBezTo>
                  <a:cubicBezTo>
                    <a:pt x="2488" y="1147"/>
                    <a:pt x="2016" y="1"/>
                    <a:pt x="1065"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731" name="Google Shape;2731;p104"/>
            <p:cNvSpPr/>
            <p:nvPr/>
          </p:nvSpPr>
          <p:spPr>
            <a:xfrm>
              <a:off x="5570625" y="2714000"/>
              <a:ext cx="62200" cy="53350"/>
            </a:xfrm>
            <a:custGeom>
              <a:avLst/>
              <a:gdLst/>
              <a:ahLst/>
              <a:cxnLst/>
              <a:rect l="l" t="t" r="r" b="b"/>
              <a:pathLst>
                <a:path w="2488" h="2134" extrusionOk="0">
                  <a:moveTo>
                    <a:pt x="1065" y="0"/>
                  </a:moveTo>
                  <a:cubicBezTo>
                    <a:pt x="472" y="0"/>
                    <a:pt x="0" y="480"/>
                    <a:pt x="0" y="1065"/>
                  </a:cubicBezTo>
                  <a:cubicBezTo>
                    <a:pt x="0" y="1709"/>
                    <a:pt x="526" y="2133"/>
                    <a:pt x="1072" y="2133"/>
                  </a:cubicBezTo>
                  <a:cubicBezTo>
                    <a:pt x="1333" y="2133"/>
                    <a:pt x="1598" y="2036"/>
                    <a:pt x="1813" y="1821"/>
                  </a:cubicBezTo>
                  <a:cubicBezTo>
                    <a:pt x="2488" y="1146"/>
                    <a:pt x="2016" y="0"/>
                    <a:pt x="1065"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732" name="Google Shape;2732;p104"/>
            <p:cNvSpPr/>
            <p:nvPr/>
          </p:nvSpPr>
          <p:spPr>
            <a:xfrm>
              <a:off x="5646825" y="1418975"/>
              <a:ext cx="62225" cy="53350"/>
            </a:xfrm>
            <a:custGeom>
              <a:avLst/>
              <a:gdLst/>
              <a:ahLst/>
              <a:cxnLst/>
              <a:rect l="l" t="t" r="r" b="b"/>
              <a:pathLst>
                <a:path w="2489" h="2134" extrusionOk="0">
                  <a:moveTo>
                    <a:pt x="1066" y="1"/>
                  </a:moveTo>
                  <a:cubicBezTo>
                    <a:pt x="472" y="1"/>
                    <a:pt x="1" y="480"/>
                    <a:pt x="1" y="1065"/>
                  </a:cubicBezTo>
                  <a:cubicBezTo>
                    <a:pt x="1" y="1709"/>
                    <a:pt x="526" y="2133"/>
                    <a:pt x="1072" y="2133"/>
                  </a:cubicBezTo>
                  <a:cubicBezTo>
                    <a:pt x="1333" y="2133"/>
                    <a:pt x="1598" y="2037"/>
                    <a:pt x="1814" y="1822"/>
                  </a:cubicBezTo>
                  <a:cubicBezTo>
                    <a:pt x="2489" y="1147"/>
                    <a:pt x="2017" y="1"/>
                    <a:pt x="1066"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733" name="Google Shape;2733;p104"/>
            <p:cNvSpPr/>
            <p:nvPr/>
          </p:nvSpPr>
          <p:spPr>
            <a:xfrm>
              <a:off x="5646825" y="1495200"/>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4" y="1821"/>
                  </a:cubicBezTo>
                  <a:cubicBezTo>
                    <a:pt x="2489" y="1146"/>
                    <a:pt x="2017" y="0"/>
                    <a:pt x="1066"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734" name="Google Shape;2734;p104"/>
            <p:cNvSpPr/>
            <p:nvPr/>
          </p:nvSpPr>
          <p:spPr>
            <a:xfrm>
              <a:off x="5646825" y="1571400"/>
              <a:ext cx="62225" cy="53250"/>
            </a:xfrm>
            <a:custGeom>
              <a:avLst/>
              <a:gdLst/>
              <a:ahLst/>
              <a:cxnLst/>
              <a:rect l="l" t="t" r="r" b="b"/>
              <a:pathLst>
                <a:path w="2489" h="2130" extrusionOk="0">
                  <a:moveTo>
                    <a:pt x="1066" y="1"/>
                  </a:moveTo>
                  <a:cubicBezTo>
                    <a:pt x="472" y="1"/>
                    <a:pt x="1" y="472"/>
                    <a:pt x="1" y="1066"/>
                  </a:cubicBezTo>
                  <a:cubicBezTo>
                    <a:pt x="1" y="1703"/>
                    <a:pt x="525" y="2129"/>
                    <a:pt x="1071" y="2129"/>
                  </a:cubicBezTo>
                  <a:cubicBezTo>
                    <a:pt x="1332" y="2129"/>
                    <a:pt x="1598" y="2032"/>
                    <a:pt x="1814" y="1813"/>
                  </a:cubicBezTo>
                  <a:cubicBezTo>
                    <a:pt x="2489" y="1147"/>
                    <a:pt x="2017" y="1"/>
                    <a:pt x="1066"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735" name="Google Shape;2735;p104"/>
            <p:cNvSpPr/>
            <p:nvPr/>
          </p:nvSpPr>
          <p:spPr>
            <a:xfrm>
              <a:off x="5646825" y="1647400"/>
              <a:ext cx="62225" cy="53450"/>
            </a:xfrm>
            <a:custGeom>
              <a:avLst/>
              <a:gdLst/>
              <a:ahLst/>
              <a:cxnLst/>
              <a:rect l="l" t="t" r="r" b="b"/>
              <a:pathLst>
                <a:path w="2489" h="2138" extrusionOk="0">
                  <a:moveTo>
                    <a:pt x="1066" y="1"/>
                  </a:moveTo>
                  <a:cubicBezTo>
                    <a:pt x="472" y="1"/>
                    <a:pt x="1" y="481"/>
                    <a:pt x="1" y="1066"/>
                  </a:cubicBezTo>
                  <a:cubicBezTo>
                    <a:pt x="1" y="1710"/>
                    <a:pt x="526" y="2138"/>
                    <a:pt x="1072" y="2138"/>
                  </a:cubicBezTo>
                  <a:cubicBezTo>
                    <a:pt x="1333" y="2138"/>
                    <a:pt x="1598" y="2040"/>
                    <a:pt x="1814" y="1822"/>
                  </a:cubicBezTo>
                  <a:cubicBezTo>
                    <a:pt x="2489" y="1155"/>
                    <a:pt x="2017" y="1"/>
                    <a:pt x="1066"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736" name="Google Shape;2736;p104"/>
            <p:cNvSpPr/>
            <p:nvPr/>
          </p:nvSpPr>
          <p:spPr>
            <a:xfrm>
              <a:off x="5646825" y="1723625"/>
              <a:ext cx="62225" cy="53350"/>
            </a:xfrm>
            <a:custGeom>
              <a:avLst/>
              <a:gdLst/>
              <a:ahLst/>
              <a:cxnLst/>
              <a:rect l="l" t="t" r="r" b="b"/>
              <a:pathLst>
                <a:path w="2489" h="2134" extrusionOk="0">
                  <a:moveTo>
                    <a:pt x="1066" y="1"/>
                  </a:moveTo>
                  <a:cubicBezTo>
                    <a:pt x="472" y="1"/>
                    <a:pt x="1" y="480"/>
                    <a:pt x="1" y="1065"/>
                  </a:cubicBezTo>
                  <a:cubicBezTo>
                    <a:pt x="1" y="1709"/>
                    <a:pt x="526" y="2133"/>
                    <a:pt x="1072" y="2133"/>
                  </a:cubicBezTo>
                  <a:cubicBezTo>
                    <a:pt x="1333" y="2133"/>
                    <a:pt x="1598" y="2037"/>
                    <a:pt x="1814" y="1822"/>
                  </a:cubicBezTo>
                  <a:cubicBezTo>
                    <a:pt x="2489" y="1147"/>
                    <a:pt x="2017" y="1"/>
                    <a:pt x="1066"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737" name="Google Shape;2737;p104"/>
            <p:cNvSpPr/>
            <p:nvPr/>
          </p:nvSpPr>
          <p:spPr>
            <a:xfrm>
              <a:off x="5646825" y="1799850"/>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4" y="1821"/>
                  </a:cubicBezTo>
                  <a:cubicBezTo>
                    <a:pt x="2489" y="1146"/>
                    <a:pt x="2017" y="0"/>
                    <a:pt x="1066"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738" name="Google Shape;2738;p104"/>
            <p:cNvSpPr/>
            <p:nvPr/>
          </p:nvSpPr>
          <p:spPr>
            <a:xfrm>
              <a:off x="5646825" y="1876050"/>
              <a:ext cx="62225" cy="53350"/>
            </a:xfrm>
            <a:custGeom>
              <a:avLst/>
              <a:gdLst/>
              <a:ahLst/>
              <a:cxnLst/>
              <a:rect l="l" t="t" r="r" b="b"/>
              <a:pathLst>
                <a:path w="2489" h="2134" extrusionOk="0">
                  <a:moveTo>
                    <a:pt x="1066" y="1"/>
                  </a:moveTo>
                  <a:cubicBezTo>
                    <a:pt x="472" y="1"/>
                    <a:pt x="1" y="472"/>
                    <a:pt x="1" y="1066"/>
                  </a:cubicBezTo>
                  <a:cubicBezTo>
                    <a:pt x="1" y="1709"/>
                    <a:pt x="526" y="2133"/>
                    <a:pt x="1072" y="2133"/>
                  </a:cubicBezTo>
                  <a:cubicBezTo>
                    <a:pt x="1333" y="2133"/>
                    <a:pt x="1598" y="2037"/>
                    <a:pt x="1814" y="1822"/>
                  </a:cubicBezTo>
                  <a:cubicBezTo>
                    <a:pt x="2489" y="1147"/>
                    <a:pt x="2017" y="1"/>
                    <a:pt x="1066"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739" name="Google Shape;2739;p104"/>
            <p:cNvSpPr/>
            <p:nvPr/>
          </p:nvSpPr>
          <p:spPr>
            <a:xfrm>
              <a:off x="5646825" y="1952050"/>
              <a:ext cx="62225" cy="53450"/>
            </a:xfrm>
            <a:custGeom>
              <a:avLst/>
              <a:gdLst/>
              <a:ahLst/>
              <a:cxnLst/>
              <a:rect l="l" t="t" r="r" b="b"/>
              <a:pathLst>
                <a:path w="2489" h="2138" extrusionOk="0">
                  <a:moveTo>
                    <a:pt x="1066" y="1"/>
                  </a:moveTo>
                  <a:cubicBezTo>
                    <a:pt x="472" y="9"/>
                    <a:pt x="1" y="481"/>
                    <a:pt x="1" y="1074"/>
                  </a:cubicBezTo>
                  <a:cubicBezTo>
                    <a:pt x="1" y="1712"/>
                    <a:pt x="525" y="2138"/>
                    <a:pt x="1071" y="2138"/>
                  </a:cubicBezTo>
                  <a:cubicBezTo>
                    <a:pt x="1332" y="2138"/>
                    <a:pt x="1598" y="2040"/>
                    <a:pt x="1814" y="1822"/>
                  </a:cubicBezTo>
                  <a:cubicBezTo>
                    <a:pt x="2489" y="1155"/>
                    <a:pt x="2017" y="1"/>
                    <a:pt x="1066"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740" name="Google Shape;2740;p104"/>
            <p:cNvSpPr/>
            <p:nvPr/>
          </p:nvSpPr>
          <p:spPr>
            <a:xfrm>
              <a:off x="5646825" y="2028275"/>
              <a:ext cx="62225" cy="53450"/>
            </a:xfrm>
            <a:custGeom>
              <a:avLst/>
              <a:gdLst/>
              <a:ahLst/>
              <a:cxnLst/>
              <a:rect l="l" t="t" r="r" b="b"/>
              <a:pathLst>
                <a:path w="2489" h="2138" extrusionOk="0">
                  <a:moveTo>
                    <a:pt x="1066" y="1"/>
                  </a:moveTo>
                  <a:cubicBezTo>
                    <a:pt x="472" y="1"/>
                    <a:pt x="1" y="480"/>
                    <a:pt x="1" y="1065"/>
                  </a:cubicBezTo>
                  <a:cubicBezTo>
                    <a:pt x="1" y="1709"/>
                    <a:pt x="526" y="2137"/>
                    <a:pt x="1072" y="2137"/>
                  </a:cubicBezTo>
                  <a:cubicBezTo>
                    <a:pt x="1333" y="2137"/>
                    <a:pt x="1598" y="2040"/>
                    <a:pt x="1814" y="1821"/>
                  </a:cubicBezTo>
                  <a:cubicBezTo>
                    <a:pt x="2489" y="1147"/>
                    <a:pt x="2017" y="1"/>
                    <a:pt x="1066"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741" name="Google Shape;2741;p104"/>
            <p:cNvSpPr/>
            <p:nvPr/>
          </p:nvSpPr>
          <p:spPr>
            <a:xfrm>
              <a:off x="5646825" y="2104500"/>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4" y="1821"/>
                  </a:cubicBezTo>
                  <a:cubicBezTo>
                    <a:pt x="2489" y="1146"/>
                    <a:pt x="2017" y="0"/>
                    <a:pt x="1066"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742" name="Google Shape;2742;p104"/>
            <p:cNvSpPr/>
            <p:nvPr/>
          </p:nvSpPr>
          <p:spPr>
            <a:xfrm>
              <a:off x="5646825" y="2180700"/>
              <a:ext cx="62225" cy="53350"/>
            </a:xfrm>
            <a:custGeom>
              <a:avLst/>
              <a:gdLst/>
              <a:ahLst/>
              <a:cxnLst/>
              <a:rect l="l" t="t" r="r" b="b"/>
              <a:pathLst>
                <a:path w="2489" h="2134" extrusionOk="0">
                  <a:moveTo>
                    <a:pt x="1066" y="1"/>
                  </a:moveTo>
                  <a:cubicBezTo>
                    <a:pt x="472" y="1"/>
                    <a:pt x="1" y="480"/>
                    <a:pt x="1" y="1066"/>
                  </a:cubicBezTo>
                  <a:cubicBezTo>
                    <a:pt x="1" y="1709"/>
                    <a:pt x="526" y="2133"/>
                    <a:pt x="1072" y="2133"/>
                  </a:cubicBezTo>
                  <a:cubicBezTo>
                    <a:pt x="1333" y="2133"/>
                    <a:pt x="1598" y="2037"/>
                    <a:pt x="1814" y="1822"/>
                  </a:cubicBezTo>
                  <a:cubicBezTo>
                    <a:pt x="2489" y="1147"/>
                    <a:pt x="2017" y="1"/>
                    <a:pt x="1066"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743" name="Google Shape;2743;p104"/>
            <p:cNvSpPr/>
            <p:nvPr/>
          </p:nvSpPr>
          <p:spPr>
            <a:xfrm>
              <a:off x="5646825" y="2256925"/>
              <a:ext cx="62375" cy="53425"/>
            </a:xfrm>
            <a:custGeom>
              <a:avLst/>
              <a:gdLst/>
              <a:ahLst/>
              <a:cxnLst/>
              <a:rect l="l" t="t" r="r" b="b"/>
              <a:pathLst>
                <a:path w="2495" h="2137" extrusionOk="0">
                  <a:moveTo>
                    <a:pt x="1076" y="0"/>
                  </a:moveTo>
                  <a:cubicBezTo>
                    <a:pt x="1073" y="0"/>
                    <a:pt x="1069" y="0"/>
                    <a:pt x="1066" y="0"/>
                  </a:cubicBezTo>
                  <a:cubicBezTo>
                    <a:pt x="472" y="0"/>
                    <a:pt x="1" y="480"/>
                    <a:pt x="1" y="1065"/>
                  </a:cubicBezTo>
                  <a:cubicBezTo>
                    <a:pt x="1" y="1709"/>
                    <a:pt x="526" y="2137"/>
                    <a:pt x="1075" y="2137"/>
                  </a:cubicBezTo>
                  <a:cubicBezTo>
                    <a:pt x="1337" y="2137"/>
                    <a:pt x="1604" y="2039"/>
                    <a:pt x="1822" y="1821"/>
                  </a:cubicBezTo>
                  <a:cubicBezTo>
                    <a:pt x="2494" y="1149"/>
                    <a:pt x="2020" y="0"/>
                    <a:pt x="1076"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744" name="Google Shape;2744;p104"/>
            <p:cNvSpPr/>
            <p:nvPr/>
          </p:nvSpPr>
          <p:spPr>
            <a:xfrm>
              <a:off x="5646825" y="2333125"/>
              <a:ext cx="62225" cy="53450"/>
            </a:xfrm>
            <a:custGeom>
              <a:avLst/>
              <a:gdLst/>
              <a:ahLst/>
              <a:cxnLst/>
              <a:rect l="l" t="t" r="r" b="b"/>
              <a:pathLst>
                <a:path w="2489" h="2138" extrusionOk="0">
                  <a:moveTo>
                    <a:pt x="1066" y="1"/>
                  </a:moveTo>
                  <a:cubicBezTo>
                    <a:pt x="472" y="1"/>
                    <a:pt x="1" y="480"/>
                    <a:pt x="1" y="1066"/>
                  </a:cubicBezTo>
                  <a:cubicBezTo>
                    <a:pt x="1" y="1709"/>
                    <a:pt x="526" y="2137"/>
                    <a:pt x="1072" y="2137"/>
                  </a:cubicBezTo>
                  <a:cubicBezTo>
                    <a:pt x="1333" y="2137"/>
                    <a:pt x="1598" y="2040"/>
                    <a:pt x="1814" y="1822"/>
                  </a:cubicBezTo>
                  <a:cubicBezTo>
                    <a:pt x="2489" y="1147"/>
                    <a:pt x="2017" y="1"/>
                    <a:pt x="1066"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745" name="Google Shape;2745;p104"/>
            <p:cNvSpPr/>
            <p:nvPr/>
          </p:nvSpPr>
          <p:spPr>
            <a:xfrm>
              <a:off x="5646825" y="2485550"/>
              <a:ext cx="62225" cy="53300"/>
            </a:xfrm>
            <a:custGeom>
              <a:avLst/>
              <a:gdLst/>
              <a:ahLst/>
              <a:cxnLst/>
              <a:rect l="l" t="t" r="r" b="b"/>
              <a:pathLst>
                <a:path w="2489" h="2132" extrusionOk="0">
                  <a:moveTo>
                    <a:pt x="1066" y="1"/>
                  </a:moveTo>
                  <a:cubicBezTo>
                    <a:pt x="472" y="1"/>
                    <a:pt x="1" y="472"/>
                    <a:pt x="1" y="1066"/>
                  </a:cubicBezTo>
                  <a:cubicBezTo>
                    <a:pt x="1" y="1708"/>
                    <a:pt x="523" y="2131"/>
                    <a:pt x="1068" y="2131"/>
                  </a:cubicBezTo>
                  <a:cubicBezTo>
                    <a:pt x="1330" y="2131"/>
                    <a:pt x="1597" y="2033"/>
                    <a:pt x="1814" y="1814"/>
                  </a:cubicBezTo>
                  <a:cubicBezTo>
                    <a:pt x="2489" y="1147"/>
                    <a:pt x="2017" y="1"/>
                    <a:pt x="1066"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746" name="Google Shape;2746;p104"/>
            <p:cNvSpPr/>
            <p:nvPr/>
          </p:nvSpPr>
          <p:spPr>
            <a:xfrm>
              <a:off x="5646825" y="2561575"/>
              <a:ext cx="62225" cy="53425"/>
            </a:xfrm>
            <a:custGeom>
              <a:avLst/>
              <a:gdLst/>
              <a:ahLst/>
              <a:cxnLst/>
              <a:rect l="l" t="t" r="r" b="b"/>
              <a:pathLst>
                <a:path w="2489" h="2137" extrusionOk="0">
                  <a:moveTo>
                    <a:pt x="1066" y="0"/>
                  </a:moveTo>
                  <a:cubicBezTo>
                    <a:pt x="472" y="8"/>
                    <a:pt x="1" y="480"/>
                    <a:pt x="1" y="1073"/>
                  </a:cubicBezTo>
                  <a:cubicBezTo>
                    <a:pt x="1" y="1711"/>
                    <a:pt x="525" y="2137"/>
                    <a:pt x="1071" y="2137"/>
                  </a:cubicBezTo>
                  <a:cubicBezTo>
                    <a:pt x="1332" y="2137"/>
                    <a:pt x="1598" y="2039"/>
                    <a:pt x="1814" y="1821"/>
                  </a:cubicBezTo>
                  <a:cubicBezTo>
                    <a:pt x="2489" y="1154"/>
                    <a:pt x="2017" y="0"/>
                    <a:pt x="1066"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747" name="Google Shape;2747;p104"/>
            <p:cNvSpPr/>
            <p:nvPr/>
          </p:nvSpPr>
          <p:spPr>
            <a:xfrm>
              <a:off x="5646825" y="2714000"/>
              <a:ext cx="62225" cy="53350"/>
            </a:xfrm>
            <a:custGeom>
              <a:avLst/>
              <a:gdLst/>
              <a:ahLst/>
              <a:cxnLst/>
              <a:rect l="l" t="t" r="r" b="b"/>
              <a:pathLst>
                <a:path w="2489" h="2134" extrusionOk="0">
                  <a:moveTo>
                    <a:pt x="1066" y="0"/>
                  </a:moveTo>
                  <a:cubicBezTo>
                    <a:pt x="472" y="0"/>
                    <a:pt x="1" y="480"/>
                    <a:pt x="1" y="1065"/>
                  </a:cubicBezTo>
                  <a:cubicBezTo>
                    <a:pt x="1" y="1709"/>
                    <a:pt x="526" y="2133"/>
                    <a:pt x="1072" y="2133"/>
                  </a:cubicBezTo>
                  <a:cubicBezTo>
                    <a:pt x="1333" y="2133"/>
                    <a:pt x="1598" y="2036"/>
                    <a:pt x="1814" y="1821"/>
                  </a:cubicBezTo>
                  <a:cubicBezTo>
                    <a:pt x="2489" y="1146"/>
                    <a:pt x="2017" y="0"/>
                    <a:pt x="1066"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748" name="Google Shape;2748;p104"/>
            <p:cNvSpPr/>
            <p:nvPr/>
          </p:nvSpPr>
          <p:spPr>
            <a:xfrm>
              <a:off x="5646825" y="2637775"/>
              <a:ext cx="62225" cy="53450"/>
            </a:xfrm>
            <a:custGeom>
              <a:avLst/>
              <a:gdLst/>
              <a:ahLst/>
              <a:cxnLst/>
              <a:rect l="l" t="t" r="r" b="b"/>
              <a:pathLst>
                <a:path w="2489" h="2138" extrusionOk="0">
                  <a:moveTo>
                    <a:pt x="1066" y="1"/>
                  </a:moveTo>
                  <a:cubicBezTo>
                    <a:pt x="472" y="1"/>
                    <a:pt x="1" y="480"/>
                    <a:pt x="1" y="1074"/>
                  </a:cubicBezTo>
                  <a:cubicBezTo>
                    <a:pt x="1" y="1712"/>
                    <a:pt x="525" y="2137"/>
                    <a:pt x="1071" y="2137"/>
                  </a:cubicBezTo>
                  <a:cubicBezTo>
                    <a:pt x="1332" y="2137"/>
                    <a:pt x="1598" y="2040"/>
                    <a:pt x="1814" y="1822"/>
                  </a:cubicBezTo>
                  <a:cubicBezTo>
                    <a:pt x="2489" y="1155"/>
                    <a:pt x="2017" y="1"/>
                    <a:pt x="1066"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749" name="Google Shape;2749;p104"/>
            <p:cNvSpPr/>
            <p:nvPr/>
          </p:nvSpPr>
          <p:spPr>
            <a:xfrm>
              <a:off x="5723050" y="1418975"/>
              <a:ext cx="62225" cy="53350"/>
            </a:xfrm>
            <a:custGeom>
              <a:avLst/>
              <a:gdLst/>
              <a:ahLst/>
              <a:cxnLst/>
              <a:rect l="l" t="t" r="r" b="b"/>
              <a:pathLst>
                <a:path w="2489" h="2134" extrusionOk="0">
                  <a:moveTo>
                    <a:pt x="1065" y="1"/>
                  </a:moveTo>
                  <a:cubicBezTo>
                    <a:pt x="472" y="1"/>
                    <a:pt x="0" y="480"/>
                    <a:pt x="0" y="1065"/>
                  </a:cubicBezTo>
                  <a:cubicBezTo>
                    <a:pt x="0" y="1709"/>
                    <a:pt x="526" y="2133"/>
                    <a:pt x="1072" y="2133"/>
                  </a:cubicBezTo>
                  <a:cubicBezTo>
                    <a:pt x="1333" y="2133"/>
                    <a:pt x="1598" y="2037"/>
                    <a:pt x="1813" y="1822"/>
                  </a:cubicBezTo>
                  <a:cubicBezTo>
                    <a:pt x="2488" y="1147"/>
                    <a:pt x="2008" y="1"/>
                    <a:pt x="1065"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750" name="Google Shape;2750;p104"/>
            <p:cNvSpPr/>
            <p:nvPr/>
          </p:nvSpPr>
          <p:spPr>
            <a:xfrm>
              <a:off x="5723050" y="1495200"/>
              <a:ext cx="62225" cy="53325"/>
            </a:xfrm>
            <a:custGeom>
              <a:avLst/>
              <a:gdLst/>
              <a:ahLst/>
              <a:cxnLst/>
              <a:rect l="l" t="t" r="r" b="b"/>
              <a:pathLst>
                <a:path w="2489" h="2133" extrusionOk="0">
                  <a:moveTo>
                    <a:pt x="1065" y="0"/>
                  </a:moveTo>
                  <a:cubicBezTo>
                    <a:pt x="472" y="0"/>
                    <a:pt x="0" y="480"/>
                    <a:pt x="0" y="1065"/>
                  </a:cubicBezTo>
                  <a:cubicBezTo>
                    <a:pt x="0" y="1709"/>
                    <a:pt x="526" y="2133"/>
                    <a:pt x="1072" y="2133"/>
                  </a:cubicBezTo>
                  <a:cubicBezTo>
                    <a:pt x="1333" y="2133"/>
                    <a:pt x="1598" y="2036"/>
                    <a:pt x="1813" y="1821"/>
                  </a:cubicBezTo>
                  <a:cubicBezTo>
                    <a:pt x="2488" y="1146"/>
                    <a:pt x="2008" y="0"/>
                    <a:pt x="1065"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751" name="Google Shape;2751;p104"/>
            <p:cNvSpPr/>
            <p:nvPr/>
          </p:nvSpPr>
          <p:spPr>
            <a:xfrm>
              <a:off x="5723050" y="1571400"/>
              <a:ext cx="62150" cy="53250"/>
            </a:xfrm>
            <a:custGeom>
              <a:avLst/>
              <a:gdLst/>
              <a:ahLst/>
              <a:cxnLst/>
              <a:rect l="l" t="t" r="r" b="b"/>
              <a:pathLst>
                <a:path w="2486" h="2130" extrusionOk="0">
                  <a:moveTo>
                    <a:pt x="1075" y="1"/>
                  </a:moveTo>
                  <a:cubicBezTo>
                    <a:pt x="1072" y="1"/>
                    <a:pt x="1069" y="1"/>
                    <a:pt x="1065" y="1"/>
                  </a:cubicBezTo>
                  <a:cubicBezTo>
                    <a:pt x="472" y="1"/>
                    <a:pt x="0" y="472"/>
                    <a:pt x="0" y="1066"/>
                  </a:cubicBezTo>
                  <a:cubicBezTo>
                    <a:pt x="0" y="1703"/>
                    <a:pt x="525" y="2129"/>
                    <a:pt x="1071" y="2129"/>
                  </a:cubicBezTo>
                  <a:cubicBezTo>
                    <a:pt x="1332" y="2129"/>
                    <a:pt x="1598" y="2032"/>
                    <a:pt x="1813" y="1813"/>
                  </a:cubicBezTo>
                  <a:cubicBezTo>
                    <a:pt x="2486" y="1149"/>
                    <a:pt x="2012" y="1"/>
                    <a:pt x="1075"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752" name="Google Shape;2752;p104"/>
            <p:cNvSpPr/>
            <p:nvPr/>
          </p:nvSpPr>
          <p:spPr>
            <a:xfrm>
              <a:off x="5723050" y="1647400"/>
              <a:ext cx="62225" cy="53450"/>
            </a:xfrm>
            <a:custGeom>
              <a:avLst/>
              <a:gdLst/>
              <a:ahLst/>
              <a:cxnLst/>
              <a:rect l="l" t="t" r="r" b="b"/>
              <a:pathLst>
                <a:path w="2489" h="2138" extrusionOk="0">
                  <a:moveTo>
                    <a:pt x="1065" y="1"/>
                  </a:moveTo>
                  <a:cubicBezTo>
                    <a:pt x="472" y="9"/>
                    <a:pt x="0" y="481"/>
                    <a:pt x="0" y="1066"/>
                  </a:cubicBezTo>
                  <a:cubicBezTo>
                    <a:pt x="0" y="1710"/>
                    <a:pt x="526" y="2138"/>
                    <a:pt x="1072" y="2138"/>
                  </a:cubicBezTo>
                  <a:cubicBezTo>
                    <a:pt x="1332" y="2138"/>
                    <a:pt x="1598" y="2040"/>
                    <a:pt x="1813" y="1822"/>
                  </a:cubicBezTo>
                  <a:cubicBezTo>
                    <a:pt x="2488" y="1147"/>
                    <a:pt x="2008" y="1"/>
                    <a:pt x="1065"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753" name="Google Shape;2753;p104"/>
            <p:cNvSpPr/>
            <p:nvPr/>
          </p:nvSpPr>
          <p:spPr>
            <a:xfrm>
              <a:off x="5723050" y="1723625"/>
              <a:ext cx="62225" cy="53350"/>
            </a:xfrm>
            <a:custGeom>
              <a:avLst/>
              <a:gdLst/>
              <a:ahLst/>
              <a:cxnLst/>
              <a:rect l="l" t="t" r="r" b="b"/>
              <a:pathLst>
                <a:path w="2489" h="2134" extrusionOk="0">
                  <a:moveTo>
                    <a:pt x="1065" y="1"/>
                  </a:moveTo>
                  <a:cubicBezTo>
                    <a:pt x="472" y="1"/>
                    <a:pt x="0" y="480"/>
                    <a:pt x="0" y="1065"/>
                  </a:cubicBezTo>
                  <a:cubicBezTo>
                    <a:pt x="0" y="1709"/>
                    <a:pt x="526" y="2133"/>
                    <a:pt x="1072" y="2133"/>
                  </a:cubicBezTo>
                  <a:cubicBezTo>
                    <a:pt x="1333" y="2133"/>
                    <a:pt x="1598" y="2037"/>
                    <a:pt x="1813" y="1822"/>
                  </a:cubicBezTo>
                  <a:cubicBezTo>
                    <a:pt x="2488" y="1147"/>
                    <a:pt x="2008" y="1"/>
                    <a:pt x="1065"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754" name="Google Shape;2754;p104"/>
            <p:cNvSpPr/>
            <p:nvPr/>
          </p:nvSpPr>
          <p:spPr>
            <a:xfrm>
              <a:off x="5723050" y="1799850"/>
              <a:ext cx="62225" cy="53325"/>
            </a:xfrm>
            <a:custGeom>
              <a:avLst/>
              <a:gdLst/>
              <a:ahLst/>
              <a:cxnLst/>
              <a:rect l="l" t="t" r="r" b="b"/>
              <a:pathLst>
                <a:path w="2489" h="2133" extrusionOk="0">
                  <a:moveTo>
                    <a:pt x="1065" y="0"/>
                  </a:moveTo>
                  <a:cubicBezTo>
                    <a:pt x="472" y="0"/>
                    <a:pt x="0" y="480"/>
                    <a:pt x="0" y="1065"/>
                  </a:cubicBezTo>
                  <a:cubicBezTo>
                    <a:pt x="0" y="1709"/>
                    <a:pt x="526" y="2133"/>
                    <a:pt x="1072" y="2133"/>
                  </a:cubicBezTo>
                  <a:cubicBezTo>
                    <a:pt x="1333" y="2133"/>
                    <a:pt x="1598" y="2036"/>
                    <a:pt x="1813" y="1821"/>
                  </a:cubicBezTo>
                  <a:cubicBezTo>
                    <a:pt x="2488" y="1146"/>
                    <a:pt x="2008" y="0"/>
                    <a:pt x="1065"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755" name="Google Shape;2755;p104"/>
            <p:cNvSpPr/>
            <p:nvPr/>
          </p:nvSpPr>
          <p:spPr>
            <a:xfrm>
              <a:off x="5723050" y="1876050"/>
              <a:ext cx="62225" cy="53275"/>
            </a:xfrm>
            <a:custGeom>
              <a:avLst/>
              <a:gdLst/>
              <a:ahLst/>
              <a:cxnLst/>
              <a:rect l="l" t="t" r="r" b="b"/>
              <a:pathLst>
                <a:path w="2489" h="2131" extrusionOk="0">
                  <a:moveTo>
                    <a:pt x="1065" y="1"/>
                  </a:moveTo>
                  <a:cubicBezTo>
                    <a:pt x="472" y="1"/>
                    <a:pt x="0" y="472"/>
                    <a:pt x="0" y="1066"/>
                  </a:cubicBezTo>
                  <a:cubicBezTo>
                    <a:pt x="0" y="1707"/>
                    <a:pt x="523" y="2131"/>
                    <a:pt x="1067" y="2131"/>
                  </a:cubicBezTo>
                  <a:cubicBezTo>
                    <a:pt x="1329" y="2131"/>
                    <a:pt x="1597" y="2033"/>
                    <a:pt x="1813" y="1813"/>
                  </a:cubicBezTo>
                  <a:cubicBezTo>
                    <a:pt x="2488" y="1147"/>
                    <a:pt x="2008" y="1"/>
                    <a:pt x="1065"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756" name="Google Shape;2756;p104"/>
            <p:cNvSpPr/>
            <p:nvPr/>
          </p:nvSpPr>
          <p:spPr>
            <a:xfrm>
              <a:off x="5723050" y="1952050"/>
              <a:ext cx="62225" cy="53450"/>
            </a:xfrm>
            <a:custGeom>
              <a:avLst/>
              <a:gdLst/>
              <a:ahLst/>
              <a:cxnLst/>
              <a:rect l="l" t="t" r="r" b="b"/>
              <a:pathLst>
                <a:path w="2489" h="2138" extrusionOk="0">
                  <a:moveTo>
                    <a:pt x="1065" y="1"/>
                  </a:moveTo>
                  <a:cubicBezTo>
                    <a:pt x="472" y="9"/>
                    <a:pt x="0" y="481"/>
                    <a:pt x="0" y="1074"/>
                  </a:cubicBezTo>
                  <a:cubicBezTo>
                    <a:pt x="0" y="1712"/>
                    <a:pt x="525" y="2138"/>
                    <a:pt x="1071" y="2138"/>
                  </a:cubicBezTo>
                  <a:cubicBezTo>
                    <a:pt x="1332" y="2138"/>
                    <a:pt x="1598" y="2040"/>
                    <a:pt x="1813" y="1822"/>
                  </a:cubicBezTo>
                  <a:cubicBezTo>
                    <a:pt x="2488" y="1147"/>
                    <a:pt x="2008" y="1"/>
                    <a:pt x="1065"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757" name="Google Shape;2757;p104"/>
            <p:cNvSpPr/>
            <p:nvPr/>
          </p:nvSpPr>
          <p:spPr>
            <a:xfrm>
              <a:off x="5723050" y="2028275"/>
              <a:ext cx="62225" cy="53450"/>
            </a:xfrm>
            <a:custGeom>
              <a:avLst/>
              <a:gdLst/>
              <a:ahLst/>
              <a:cxnLst/>
              <a:rect l="l" t="t" r="r" b="b"/>
              <a:pathLst>
                <a:path w="2489" h="2138" extrusionOk="0">
                  <a:moveTo>
                    <a:pt x="1065" y="1"/>
                  </a:moveTo>
                  <a:cubicBezTo>
                    <a:pt x="472" y="1"/>
                    <a:pt x="0" y="480"/>
                    <a:pt x="0" y="1065"/>
                  </a:cubicBezTo>
                  <a:cubicBezTo>
                    <a:pt x="0" y="1709"/>
                    <a:pt x="526" y="2137"/>
                    <a:pt x="1072" y="2137"/>
                  </a:cubicBezTo>
                  <a:cubicBezTo>
                    <a:pt x="1332" y="2137"/>
                    <a:pt x="1598" y="2040"/>
                    <a:pt x="1813" y="1821"/>
                  </a:cubicBezTo>
                  <a:cubicBezTo>
                    <a:pt x="2488" y="1147"/>
                    <a:pt x="2008" y="1"/>
                    <a:pt x="1065"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758" name="Google Shape;2758;p104"/>
            <p:cNvSpPr/>
            <p:nvPr/>
          </p:nvSpPr>
          <p:spPr>
            <a:xfrm>
              <a:off x="5723050" y="2104500"/>
              <a:ext cx="62225" cy="53325"/>
            </a:xfrm>
            <a:custGeom>
              <a:avLst/>
              <a:gdLst/>
              <a:ahLst/>
              <a:cxnLst/>
              <a:rect l="l" t="t" r="r" b="b"/>
              <a:pathLst>
                <a:path w="2489" h="2133" extrusionOk="0">
                  <a:moveTo>
                    <a:pt x="1065" y="0"/>
                  </a:moveTo>
                  <a:cubicBezTo>
                    <a:pt x="472" y="0"/>
                    <a:pt x="0" y="480"/>
                    <a:pt x="0" y="1065"/>
                  </a:cubicBezTo>
                  <a:cubicBezTo>
                    <a:pt x="0" y="1709"/>
                    <a:pt x="526" y="2133"/>
                    <a:pt x="1072" y="2133"/>
                  </a:cubicBezTo>
                  <a:cubicBezTo>
                    <a:pt x="1333" y="2133"/>
                    <a:pt x="1598" y="2036"/>
                    <a:pt x="1813" y="1821"/>
                  </a:cubicBezTo>
                  <a:cubicBezTo>
                    <a:pt x="2488" y="1146"/>
                    <a:pt x="2008" y="0"/>
                    <a:pt x="1065"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759" name="Google Shape;2759;p104"/>
            <p:cNvSpPr/>
            <p:nvPr/>
          </p:nvSpPr>
          <p:spPr>
            <a:xfrm>
              <a:off x="5723050" y="2180700"/>
              <a:ext cx="62225" cy="53350"/>
            </a:xfrm>
            <a:custGeom>
              <a:avLst/>
              <a:gdLst/>
              <a:ahLst/>
              <a:cxnLst/>
              <a:rect l="l" t="t" r="r" b="b"/>
              <a:pathLst>
                <a:path w="2489" h="2134" extrusionOk="0">
                  <a:moveTo>
                    <a:pt x="1065" y="1"/>
                  </a:moveTo>
                  <a:cubicBezTo>
                    <a:pt x="472" y="1"/>
                    <a:pt x="0" y="480"/>
                    <a:pt x="0" y="1066"/>
                  </a:cubicBezTo>
                  <a:cubicBezTo>
                    <a:pt x="0" y="1709"/>
                    <a:pt x="526" y="2133"/>
                    <a:pt x="1072" y="2133"/>
                  </a:cubicBezTo>
                  <a:cubicBezTo>
                    <a:pt x="1333" y="2133"/>
                    <a:pt x="1598" y="2037"/>
                    <a:pt x="1813" y="1822"/>
                  </a:cubicBezTo>
                  <a:cubicBezTo>
                    <a:pt x="2488" y="1147"/>
                    <a:pt x="2008" y="1"/>
                    <a:pt x="1065"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760" name="Google Shape;2760;p104"/>
            <p:cNvSpPr/>
            <p:nvPr/>
          </p:nvSpPr>
          <p:spPr>
            <a:xfrm>
              <a:off x="5723050" y="2256925"/>
              <a:ext cx="62350" cy="53425"/>
            </a:xfrm>
            <a:custGeom>
              <a:avLst/>
              <a:gdLst/>
              <a:ahLst/>
              <a:cxnLst/>
              <a:rect l="l" t="t" r="r" b="b"/>
              <a:pathLst>
                <a:path w="2494" h="2137" extrusionOk="0">
                  <a:moveTo>
                    <a:pt x="1075" y="0"/>
                  </a:moveTo>
                  <a:cubicBezTo>
                    <a:pt x="1072" y="0"/>
                    <a:pt x="1069" y="0"/>
                    <a:pt x="1065" y="0"/>
                  </a:cubicBezTo>
                  <a:cubicBezTo>
                    <a:pt x="472" y="0"/>
                    <a:pt x="0" y="480"/>
                    <a:pt x="0" y="1065"/>
                  </a:cubicBezTo>
                  <a:cubicBezTo>
                    <a:pt x="0" y="1709"/>
                    <a:pt x="526" y="2137"/>
                    <a:pt x="1074" y="2137"/>
                  </a:cubicBezTo>
                  <a:cubicBezTo>
                    <a:pt x="1336" y="2137"/>
                    <a:pt x="1603" y="2039"/>
                    <a:pt x="1821" y="1821"/>
                  </a:cubicBezTo>
                  <a:cubicBezTo>
                    <a:pt x="2494" y="1149"/>
                    <a:pt x="2020" y="0"/>
                    <a:pt x="1075"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761" name="Google Shape;2761;p104"/>
            <p:cNvSpPr/>
            <p:nvPr/>
          </p:nvSpPr>
          <p:spPr>
            <a:xfrm>
              <a:off x="5723050" y="2333125"/>
              <a:ext cx="62225" cy="53450"/>
            </a:xfrm>
            <a:custGeom>
              <a:avLst/>
              <a:gdLst/>
              <a:ahLst/>
              <a:cxnLst/>
              <a:rect l="l" t="t" r="r" b="b"/>
              <a:pathLst>
                <a:path w="2489" h="2138" extrusionOk="0">
                  <a:moveTo>
                    <a:pt x="1065" y="1"/>
                  </a:moveTo>
                  <a:cubicBezTo>
                    <a:pt x="472" y="1"/>
                    <a:pt x="0" y="480"/>
                    <a:pt x="0" y="1066"/>
                  </a:cubicBezTo>
                  <a:cubicBezTo>
                    <a:pt x="0" y="1709"/>
                    <a:pt x="526" y="2137"/>
                    <a:pt x="1072" y="2137"/>
                  </a:cubicBezTo>
                  <a:cubicBezTo>
                    <a:pt x="1332" y="2137"/>
                    <a:pt x="1598" y="2040"/>
                    <a:pt x="1813" y="1822"/>
                  </a:cubicBezTo>
                  <a:cubicBezTo>
                    <a:pt x="2488" y="1147"/>
                    <a:pt x="2008" y="1"/>
                    <a:pt x="1065"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762" name="Google Shape;2762;p104"/>
            <p:cNvSpPr/>
            <p:nvPr/>
          </p:nvSpPr>
          <p:spPr>
            <a:xfrm>
              <a:off x="5722850" y="2485550"/>
              <a:ext cx="62425" cy="53300"/>
            </a:xfrm>
            <a:custGeom>
              <a:avLst/>
              <a:gdLst/>
              <a:ahLst/>
              <a:cxnLst/>
              <a:rect l="l" t="t" r="r" b="b"/>
              <a:pathLst>
                <a:path w="2497" h="2132" extrusionOk="0">
                  <a:moveTo>
                    <a:pt x="1073" y="1"/>
                  </a:moveTo>
                  <a:cubicBezTo>
                    <a:pt x="480" y="1"/>
                    <a:pt x="8" y="480"/>
                    <a:pt x="0" y="1066"/>
                  </a:cubicBezTo>
                  <a:cubicBezTo>
                    <a:pt x="0" y="1708"/>
                    <a:pt x="526" y="2131"/>
                    <a:pt x="1073" y="2131"/>
                  </a:cubicBezTo>
                  <a:cubicBezTo>
                    <a:pt x="1336" y="2131"/>
                    <a:pt x="1605" y="2033"/>
                    <a:pt x="1821" y="1814"/>
                  </a:cubicBezTo>
                  <a:cubicBezTo>
                    <a:pt x="2496" y="1147"/>
                    <a:pt x="2016" y="1"/>
                    <a:pt x="1073"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763" name="Google Shape;2763;p104"/>
            <p:cNvSpPr/>
            <p:nvPr/>
          </p:nvSpPr>
          <p:spPr>
            <a:xfrm>
              <a:off x="5723050" y="2561575"/>
              <a:ext cx="62225" cy="53425"/>
            </a:xfrm>
            <a:custGeom>
              <a:avLst/>
              <a:gdLst/>
              <a:ahLst/>
              <a:cxnLst/>
              <a:rect l="l" t="t" r="r" b="b"/>
              <a:pathLst>
                <a:path w="2489" h="2137" extrusionOk="0">
                  <a:moveTo>
                    <a:pt x="1065" y="0"/>
                  </a:moveTo>
                  <a:cubicBezTo>
                    <a:pt x="472" y="8"/>
                    <a:pt x="0" y="480"/>
                    <a:pt x="0" y="1073"/>
                  </a:cubicBezTo>
                  <a:cubicBezTo>
                    <a:pt x="0" y="1711"/>
                    <a:pt x="525" y="2137"/>
                    <a:pt x="1071" y="2137"/>
                  </a:cubicBezTo>
                  <a:cubicBezTo>
                    <a:pt x="1332" y="2137"/>
                    <a:pt x="1598" y="2039"/>
                    <a:pt x="1813" y="1821"/>
                  </a:cubicBezTo>
                  <a:cubicBezTo>
                    <a:pt x="2488" y="1154"/>
                    <a:pt x="2008" y="0"/>
                    <a:pt x="1065"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764" name="Google Shape;2764;p104"/>
            <p:cNvSpPr/>
            <p:nvPr/>
          </p:nvSpPr>
          <p:spPr>
            <a:xfrm>
              <a:off x="5722850" y="2637775"/>
              <a:ext cx="62425" cy="53450"/>
            </a:xfrm>
            <a:custGeom>
              <a:avLst/>
              <a:gdLst/>
              <a:ahLst/>
              <a:cxnLst/>
              <a:rect l="l" t="t" r="r" b="b"/>
              <a:pathLst>
                <a:path w="2497" h="2138" extrusionOk="0">
                  <a:moveTo>
                    <a:pt x="1073" y="1"/>
                  </a:moveTo>
                  <a:cubicBezTo>
                    <a:pt x="480" y="9"/>
                    <a:pt x="8" y="480"/>
                    <a:pt x="0" y="1074"/>
                  </a:cubicBezTo>
                  <a:cubicBezTo>
                    <a:pt x="0" y="1712"/>
                    <a:pt x="529" y="2137"/>
                    <a:pt x="1077" y="2137"/>
                  </a:cubicBezTo>
                  <a:cubicBezTo>
                    <a:pt x="1339" y="2137"/>
                    <a:pt x="1606" y="2040"/>
                    <a:pt x="1821" y="1822"/>
                  </a:cubicBezTo>
                  <a:cubicBezTo>
                    <a:pt x="2496" y="1147"/>
                    <a:pt x="2016" y="1"/>
                    <a:pt x="1073"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765" name="Google Shape;2765;p104"/>
            <p:cNvSpPr/>
            <p:nvPr/>
          </p:nvSpPr>
          <p:spPr>
            <a:xfrm>
              <a:off x="5799275" y="1418975"/>
              <a:ext cx="62200" cy="53350"/>
            </a:xfrm>
            <a:custGeom>
              <a:avLst/>
              <a:gdLst/>
              <a:ahLst/>
              <a:cxnLst/>
              <a:rect l="l" t="t" r="r" b="b"/>
              <a:pathLst>
                <a:path w="2488" h="2134" extrusionOk="0">
                  <a:moveTo>
                    <a:pt x="1057" y="1"/>
                  </a:moveTo>
                  <a:cubicBezTo>
                    <a:pt x="472" y="1"/>
                    <a:pt x="0" y="480"/>
                    <a:pt x="0" y="1065"/>
                  </a:cubicBezTo>
                  <a:cubicBezTo>
                    <a:pt x="0" y="1709"/>
                    <a:pt x="525" y="2133"/>
                    <a:pt x="1074" y="2133"/>
                  </a:cubicBezTo>
                  <a:cubicBezTo>
                    <a:pt x="1336" y="2133"/>
                    <a:pt x="1603" y="2037"/>
                    <a:pt x="1821" y="1822"/>
                  </a:cubicBezTo>
                  <a:cubicBezTo>
                    <a:pt x="2488" y="1147"/>
                    <a:pt x="2008" y="1"/>
                    <a:pt x="1057"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766" name="Google Shape;2766;p104"/>
            <p:cNvSpPr/>
            <p:nvPr/>
          </p:nvSpPr>
          <p:spPr>
            <a:xfrm>
              <a:off x="5799275" y="1495200"/>
              <a:ext cx="62150" cy="53275"/>
            </a:xfrm>
            <a:custGeom>
              <a:avLst/>
              <a:gdLst/>
              <a:ahLst/>
              <a:cxnLst/>
              <a:rect l="l" t="t" r="r" b="b"/>
              <a:pathLst>
                <a:path w="2486" h="2131" extrusionOk="0">
                  <a:moveTo>
                    <a:pt x="1067" y="0"/>
                  </a:moveTo>
                  <a:cubicBezTo>
                    <a:pt x="1064" y="0"/>
                    <a:pt x="1060" y="0"/>
                    <a:pt x="1057" y="0"/>
                  </a:cubicBezTo>
                  <a:cubicBezTo>
                    <a:pt x="472" y="0"/>
                    <a:pt x="0" y="480"/>
                    <a:pt x="0" y="1065"/>
                  </a:cubicBezTo>
                  <a:cubicBezTo>
                    <a:pt x="0" y="1707"/>
                    <a:pt x="522" y="2130"/>
                    <a:pt x="1067" y="2130"/>
                  </a:cubicBezTo>
                  <a:cubicBezTo>
                    <a:pt x="1329" y="2130"/>
                    <a:pt x="1596" y="2032"/>
                    <a:pt x="1813" y="1813"/>
                  </a:cubicBezTo>
                  <a:cubicBezTo>
                    <a:pt x="2485" y="1149"/>
                    <a:pt x="2011" y="0"/>
                    <a:pt x="1067"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767" name="Google Shape;2767;p104"/>
            <p:cNvSpPr/>
            <p:nvPr/>
          </p:nvSpPr>
          <p:spPr>
            <a:xfrm>
              <a:off x="5799275" y="1571400"/>
              <a:ext cx="62150" cy="53275"/>
            </a:xfrm>
            <a:custGeom>
              <a:avLst/>
              <a:gdLst/>
              <a:ahLst/>
              <a:cxnLst/>
              <a:rect l="l" t="t" r="r" b="b"/>
              <a:pathLst>
                <a:path w="2486" h="2131" extrusionOk="0">
                  <a:moveTo>
                    <a:pt x="1067" y="1"/>
                  </a:moveTo>
                  <a:cubicBezTo>
                    <a:pt x="1064" y="1"/>
                    <a:pt x="1060" y="1"/>
                    <a:pt x="1057" y="1"/>
                  </a:cubicBezTo>
                  <a:cubicBezTo>
                    <a:pt x="472" y="1"/>
                    <a:pt x="0" y="472"/>
                    <a:pt x="0" y="1066"/>
                  </a:cubicBezTo>
                  <a:cubicBezTo>
                    <a:pt x="0" y="1708"/>
                    <a:pt x="522" y="2131"/>
                    <a:pt x="1067" y="2131"/>
                  </a:cubicBezTo>
                  <a:cubicBezTo>
                    <a:pt x="1329" y="2131"/>
                    <a:pt x="1596" y="2033"/>
                    <a:pt x="1813" y="1813"/>
                  </a:cubicBezTo>
                  <a:cubicBezTo>
                    <a:pt x="2485" y="1141"/>
                    <a:pt x="2011" y="1"/>
                    <a:pt x="1067"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768" name="Google Shape;2768;p104"/>
            <p:cNvSpPr/>
            <p:nvPr/>
          </p:nvSpPr>
          <p:spPr>
            <a:xfrm>
              <a:off x="5799275" y="1647400"/>
              <a:ext cx="62200" cy="53450"/>
            </a:xfrm>
            <a:custGeom>
              <a:avLst/>
              <a:gdLst/>
              <a:ahLst/>
              <a:cxnLst/>
              <a:rect l="l" t="t" r="r" b="b"/>
              <a:pathLst>
                <a:path w="2488" h="2138" extrusionOk="0">
                  <a:moveTo>
                    <a:pt x="1057" y="1"/>
                  </a:moveTo>
                  <a:cubicBezTo>
                    <a:pt x="472" y="9"/>
                    <a:pt x="0" y="481"/>
                    <a:pt x="0" y="1066"/>
                  </a:cubicBezTo>
                  <a:cubicBezTo>
                    <a:pt x="0" y="1710"/>
                    <a:pt x="525" y="2138"/>
                    <a:pt x="1071" y="2138"/>
                  </a:cubicBezTo>
                  <a:cubicBezTo>
                    <a:pt x="1332" y="2138"/>
                    <a:pt x="1597" y="2040"/>
                    <a:pt x="1813" y="1822"/>
                  </a:cubicBezTo>
                  <a:cubicBezTo>
                    <a:pt x="2488" y="1147"/>
                    <a:pt x="2008" y="1"/>
                    <a:pt x="1057"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769" name="Google Shape;2769;p104"/>
            <p:cNvSpPr/>
            <p:nvPr/>
          </p:nvSpPr>
          <p:spPr>
            <a:xfrm>
              <a:off x="5799275" y="1723625"/>
              <a:ext cx="62200" cy="53350"/>
            </a:xfrm>
            <a:custGeom>
              <a:avLst/>
              <a:gdLst/>
              <a:ahLst/>
              <a:cxnLst/>
              <a:rect l="l" t="t" r="r" b="b"/>
              <a:pathLst>
                <a:path w="2488" h="2134" extrusionOk="0">
                  <a:moveTo>
                    <a:pt x="1057" y="1"/>
                  </a:moveTo>
                  <a:cubicBezTo>
                    <a:pt x="472" y="1"/>
                    <a:pt x="0" y="480"/>
                    <a:pt x="0" y="1065"/>
                  </a:cubicBezTo>
                  <a:cubicBezTo>
                    <a:pt x="0" y="1709"/>
                    <a:pt x="525" y="2133"/>
                    <a:pt x="1074" y="2133"/>
                  </a:cubicBezTo>
                  <a:cubicBezTo>
                    <a:pt x="1336" y="2133"/>
                    <a:pt x="1603" y="2037"/>
                    <a:pt x="1821" y="1822"/>
                  </a:cubicBezTo>
                  <a:cubicBezTo>
                    <a:pt x="2488" y="1147"/>
                    <a:pt x="2008" y="1"/>
                    <a:pt x="1057"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770" name="Google Shape;2770;p104"/>
            <p:cNvSpPr/>
            <p:nvPr/>
          </p:nvSpPr>
          <p:spPr>
            <a:xfrm>
              <a:off x="5799275" y="1799825"/>
              <a:ext cx="62150" cy="53300"/>
            </a:xfrm>
            <a:custGeom>
              <a:avLst/>
              <a:gdLst/>
              <a:ahLst/>
              <a:cxnLst/>
              <a:rect l="l" t="t" r="r" b="b"/>
              <a:pathLst>
                <a:path w="2486" h="2132" extrusionOk="0">
                  <a:moveTo>
                    <a:pt x="1067" y="1"/>
                  </a:moveTo>
                  <a:cubicBezTo>
                    <a:pt x="1064" y="1"/>
                    <a:pt x="1060" y="1"/>
                    <a:pt x="1057" y="1"/>
                  </a:cubicBezTo>
                  <a:cubicBezTo>
                    <a:pt x="472" y="1"/>
                    <a:pt x="0" y="481"/>
                    <a:pt x="0" y="1066"/>
                  </a:cubicBezTo>
                  <a:cubicBezTo>
                    <a:pt x="0" y="1708"/>
                    <a:pt x="522" y="2131"/>
                    <a:pt x="1069" y="2131"/>
                  </a:cubicBezTo>
                  <a:cubicBezTo>
                    <a:pt x="1333" y="2131"/>
                    <a:pt x="1602" y="2033"/>
                    <a:pt x="1821" y="1814"/>
                  </a:cubicBezTo>
                  <a:cubicBezTo>
                    <a:pt x="2485" y="1150"/>
                    <a:pt x="2011" y="1"/>
                    <a:pt x="1067"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771" name="Google Shape;2771;p104"/>
            <p:cNvSpPr/>
            <p:nvPr/>
          </p:nvSpPr>
          <p:spPr>
            <a:xfrm>
              <a:off x="5799275" y="1876050"/>
              <a:ext cx="62150" cy="53275"/>
            </a:xfrm>
            <a:custGeom>
              <a:avLst/>
              <a:gdLst/>
              <a:ahLst/>
              <a:cxnLst/>
              <a:rect l="l" t="t" r="r" b="b"/>
              <a:pathLst>
                <a:path w="2486" h="2131" extrusionOk="0">
                  <a:moveTo>
                    <a:pt x="1067" y="1"/>
                  </a:moveTo>
                  <a:cubicBezTo>
                    <a:pt x="1064" y="1"/>
                    <a:pt x="1060" y="1"/>
                    <a:pt x="1057" y="1"/>
                  </a:cubicBezTo>
                  <a:cubicBezTo>
                    <a:pt x="472" y="1"/>
                    <a:pt x="0" y="480"/>
                    <a:pt x="0" y="1066"/>
                  </a:cubicBezTo>
                  <a:cubicBezTo>
                    <a:pt x="0" y="1707"/>
                    <a:pt x="522" y="2131"/>
                    <a:pt x="1067" y="2131"/>
                  </a:cubicBezTo>
                  <a:cubicBezTo>
                    <a:pt x="1329" y="2131"/>
                    <a:pt x="1596" y="2033"/>
                    <a:pt x="1813" y="1813"/>
                  </a:cubicBezTo>
                  <a:cubicBezTo>
                    <a:pt x="2485" y="1149"/>
                    <a:pt x="2011" y="1"/>
                    <a:pt x="1067"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772" name="Google Shape;2772;p104"/>
            <p:cNvSpPr/>
            <p:nvPr/>
          </p:nvSpPr>
          <p:spPr>
            <a:xfrm>
              <a:off x="5799275" y="1952050"/>
              <a:ext cx="62200" cy="53500"/>
            </a:xfrm>
            <a:custGeom>
              <a:avLst/>
              <a:gdLst/>
              <a:ahLst/>
              <a:cxnLst/>
              <a:rect l="l" t="t" r="r" b="b"/>
              <a:pathLst>
                <a:path w="2488" h="2140" extrusionOk="0">
                  <a:moveTo>
                    <a:pt x="1057" y="1"/>
                  </a:moveTo>
                  <a:cubicBezTo>
                    <a:pt x="472" y="9"/>
                    <a:pt x="0" y="481"/>
                    <a:pt x="0" y="1074"/>
                  </a:cubicBezTo>
                  <a:cubicBezTo>
                    <a:pt x="0" y="1716"/>
                    <a:pt x="522" y="2139"/>
                    <a:pt x="1069" y="2139"/>
                  </a:cubicBezTo>
                  <a:cubicBezTo>
                    <a:pt x="1333" y="2139"/>
                    <a:pt x="1602" y="2041"/>
                    <a:pt x="1821" y="1822"/>
                  </a:cubicBezTo>
                  <a:cubicBezTo>
                    <a:pt x="2488" y="1147"/>
                    <a:pt x="2008" y="1"/>
                    <a:pt x="1057"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773" name="Google Shape;2773;p104"/>
            <p:cNvSpPr/>
            <p:nvPr/>
          </p:nvSpPr>
          <p:spPr>
            <a:xfrm>
              <a:off x="5799275" y="2028275"/>
              <a:ext cx="62200" cy="53450"/>
            </a:xfrm>
            <a:custGeom>
              <a:avLst/>
              <a:gdLst/>
              <a:ahLst/>
              <a:cxnLst/>
              <a:rect l="l" t="t" r="r" b="b"/>
              <a:pathLst>
                <a:path w="2488" h="2138" extrusionOk="0">
                  <a:moveTo>
                    <a:pt x="1057" y="1"/>
                  </a:moveTo>
                  <a:cubicBezTo>
                    <a:pt x="472" y="9"/>
                    <a:pt x="0" y="480"/>
                    <a:pt x="0" y="1065"/>
                  </a:cubicBezTo>
                  <a:cubicBezTo>
                    <a:pt x="0" y="1709"/>
                    <a:pt x="525" y="2137"/>
                    <a:pt x="1074" y="2137"/>
                  </a:cubicBezTo>
                  <a:cubicBezTo>
                    <a:pt x="1336" y="2137"/>
                    <a:pt x="1603" y="2040"/>
                    <a:pt x="1821" y="1821"/>
                  </a:cubicBezTo>
                  <a:cubicBezTo>
                    <a:pt x="2488" y="1147"/>
                    <a:pt x="2008" y="1"/>
                    <a:pt x="1057"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774" name="Google Shape;2774;p104"/>
            <p:cNvSpPr/>
            <p:nvPr/>
          </p:nvSpPr>
          <p:spPr>
            <a:xfrm>
              <a:off x="5875275" y="1418975"/>
              <a:ext cx="62225" cy="53350"/>
            </a:xfrm>
            <a:custGeom>
              <a:avLst/>
              <a:gdLst/>
              <a:ahLst/>
              <a:cxnLst/>
              <a:rect l="l" t="t" r="r" b="b"/>
              <a:pathLst>
                <a:path w="2489" h="2134" extrusionOk="0">
                  <a:moveTo>
                    <a:pt x="1065" y="1"/>
                  </a:moveTo>
                  <a:cubicBezTo>
                    <a:pt x="480" y="1"/>
                    <a:pt x="0" y="480"/>
                    <a:pt x="0" y="1065"/>
                  </a:cubicBezTo>
                  <a:cubicBezTo>
                    <a:pt x="0" y="1709"/>
                    <a:pt x="526" y="2133"/>
                    <a:pt x="1074" y="2133"/>
                  </a:cubicBezTo>
                  <a:cubicBezTo>
                    <a:pt x="1336" y="2133"/>
                    <a:pt x="1603" y="2037"/>
                    <a:pt x="1821" y="1822"/>
                  </a:cubicBezTo>
                  <a:cubicBezTo>
                    <a:pt x="2488" y="1147"/>
                    <a:pt x="2017" y="1"/>
                    <a:pt x="1065"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775" name="Google Shape;2775;p104"/>
            <p:cNvSpPr/>
            <p:nvPr/>
          </p:nvSpPr>
          <p:spPr>
            <a:xfrm>
              <a:off x="5875275" y="1495200"/>
              <a:ext cx="62225" cy="53325"/>
            </a:xfrm>
            <a:custGeom>
              <a:avLst/>
              <a:gdLst/>
              <a:ahLst/>
              <a:cxnLst/>
              <a:rect l="l" t="t" r="r" b="b"/>
              <a:pathLst>
                <a:path w="2489" h="2133"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7" y="0"/>
                    <a:pt x="1065"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776" name="Google Shape;2776;p104"/>
            <p:cNvSpPr/>
            <p:nvPr/>
          </p:nvSpPr>
          <p:spPr>
            <a:xfrm>
              <a:off x="5875275" y="1571400"/>
              <a:ext cx="62225" cy="53250"/>
            </a:xfrm>
            <a:custGeom>
              <a:avLst/>
              <a:gdLst/>
              <a:ahLst/>
              <a:cxnLst/>
              <a:rect l="l" t="t" r="r" b="b"/>
              <a:pathLst>
                <a:path w="2489" h="2130" extrusionOk="0">
                  <a:moveTo>
                    <a:pt x="1065" y="1"/>
                  </a:moveTo>
                  <a:cubicBezTo>
                    <a:pt x="480" y="1"/>
                    <a:pt x="0" y="472"/>
                    <a:pt x="0" y="1066"/>
                  </a:cubicBezTo>
                  <a:cubicBezTo>
                    <a:pt x="0" y="1703"/>
                    <a:pt x="525" y="2129"/>
                    <a:pt x="1073" y="2129"/>
                  </a:cubicBezTo>
                  <a:cubicBezTo>
                    <a:pt x="1335" y="2129"/>
                    <a:pt x="1603" y="2032"/>
                    <a:pt x="1821" y="1813"/>
                  </a:cubicBezTo>
                  <a:cubicBezTo>
                    <a:pt x="2488" y="1147"/>
                    <a:pt x="2017" y="1"/>
                    <a:pt x="1065"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777" name="Google Shape;2777;p104"/>
            <p:cNvSpPr/>
            <p:nvPr/>
          </p:nvSpPr>
          <p:spPr>
            <a:xfrm>
              <a:off x="5875275" y="1647400"/>
              <a:ext cx="62225" cy="53450"/>
            </a:xfrm>
            <a:custGeom>
              <a:avLst/>
              <a:gdLst/>
              <a:ahLst/>
              <a:cxnLst/>
              <a:rect l="l" t="t" r="r" b="b"/>
              <a:pathLst>
                <a:path w="2489" h="2138" extrusionOk="0">
                  <a:moveTo>
                    <a:pt x="1065" y="1"/>
                  </a:moveTo>
                  <a:cubicBezTo>
                    <a:pt x="480" y="1"/>
                    <a:pt x="0" y="481"/>
                    <a:pt x="0" y="1066"/>
                  </a:cubicBezTo>
                  <a:cubicBezTo>
                    <a:pt x="0" y="1710"/>
                    <a:pt x="526" y="2138"/>
                    <a:pt x="1074" y="2138"/>
                  </a:cubicBezTo>
                  <a:cubicBezTo>
                    <a:pt x="1336" y="2138"/>
                    <a:pt x="1603" y="2040"/>
                    <a:pt x="1821" y="1822"/>
                  </a:cubicBezTo>
                  <a:cubicBezTo>
                    <a:pt x="2488" y="1155"/>
                    <a:pt x="2017" y="1"/>
                    <a:pt x="1065"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778" name="Google Shape;2778;p104"/>
            <p:cNvSpPr/>
            <p:nvPr/>
          </p:nvSpPr>
          <p:spPr>
            <a:xfrm>
              <a:off x="5875275" y="1723625"/>
              <a:ext cx="62225" cy="53350"/>
            </a:xfrm>
            <a:custGeom>
              <a:avLst/>
              <a:gdLst/>
              <a:ahLst/>
              <a:cxnLst/>
              <a:rect l="l" t="t" r="r" b="b"/>
              <a:pathLst>
                <a:path w="2489" h="2134" extrusionOk="0">
                  <a:moveTo>
                    <a:pt x="1065" y="1"/>
                  </a:moveTo>
                  <a:cubicBezTo>
                    <a:pt x="480" y="1"/>
                    <a:pt x="0" y="480"/>
                    <a:pt x="0" y="1065"/>
                  </a:cubicBezTo>
                  <a:cubicBezTo>
                    <a:pt x="0" y="1709"/>
                    <a:pt x="526" y="2133"/>
                    <a:pt x="1074" y="2133"/>
                  </a:cubicBezTo>
                  <a:cubicBezTo>
                    <a:pt x="1336" y="2133"/>
                    <a:pt x="1603" y="2037"/>
                    <a:pt x="1821" y="1822"/>
                  </a:cubicBezTo>
                  <a:cubicBezTo>
                    <a:pt x="2488" y="1147"/>
                    <a:pt x="2017" y="1"/>
                    <a:pt x="1065"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779" name="Google Shape;2779;p104"/>
            <p:cNvSpPr/>
            <p:nvPr/>
          </p:nvSpPr>
          <p:spPr>
            <a:xfrm>
              <a:off x="5875275" y="1799850"/>
              <a:ext cx="62225" cy="53325"/>
            </a:xfrm>
            <a:custGeom>
              <a:avLst/>
              <a:gdLst/>
              <a:ahLst/>
              <a:cxnLst/>
              <a:rect l="l" t="t" r="r" b="b"/>
              <a:pathLst>
                <a:path w="2489" h="2133"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7" y="0"/>
                    <a:pt x="1065"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780" name="Google Shape;2780;p104"/>
            <p:cNvSpPr/>
            <p:nvPr/>
          </p:nvSpPr>
          <p:spPr>
            <a:xfrm>
              <a:off x="5875275" y="1876050"/>
              <a:ext cx="62225" cy="53350"/>
            </a:xfrm>
            <a:custGeom>
              <a:avLst/>
              <a:gdLst/>
              <a:ahLst/>
              <a:cxnLst/>
              <a:rect l="l" t="t" r="r" b="b"/>
              <a:pathLst>
                <a:path w="2489" h="2134" extrusionOk="0">
                  <a:moveTo>
                    <a:pt x="1065" y="1"/>
                  </a:moveTo>
                  <a:cubicBezTo>
                    <a:pt x="480" y="1"/>
                    <a:pt x="0" y="472"/>
                    <a:pt x="0" y="1066"/>
                  </a:cubicBezTo>
                  <a:cubicBezTo>
                    <a:pt x="0" y="1709"/>
                    <a:pt x="526" y="2133"/>
                    <a:pt x="1074" y="2133"/>
                  </a:cubicBezTo>
                  <a:cubicBezTo>
                    <a:pt x="1336" y="2133"/>
                    <a:pt x="1603" y="2037"/>
                    <a:pt x="1821" y="1822"/>
                  </a:cubicBezTo>
                  <a:cubicBezTo>
                    <a:pt x="2488" y="1147"/>
                    <a:pt x="2017" y="1"/>
                    <a:pt x="1065"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781" name="Google Shape;2781;p104"/>
            <p:cNvSpPr/>
            <p:nvPr/>
          </p:nvSpPr>
          <p:spPr>
            <a:xfrm>
              <a:off x="5875275" y="1952050"/>
              <a:ext cx="62225" cy="53450"/>
            </a:xfrm>
            <a:custGeom>
              <a:avLst/>
              <a:gdLst/>
              <a:ahLst/>
              <a:cxnLst/>
              <a:rect l="l" t="t" r="r" b="b"/>
              <a:pathLst>
                <a:path w="2489" h="2138" extrusionOk="0">
                  <a:moveTo>
                    <a:pt x="1065" y="1"/>
                  </a:moveTo>
                  <a:cubicBezTo>
                    <a:pt x="480" y="9"/>
                    <a:pt x="0" y="481"/>
                    <a:pt x="0" y="1074"/>
                  </a:cubicBezTo>
                  <a:cubicBezTo>
                    <a:pt x="0" y="1712"/>
                    <a:pt x="525" y="2138"/>
                    <a:pt x="1073" y="2138"/>
                  </a:cubicBezTo>
                  <a:cubicBezTo>
                    <a:pt x="1335" y="2138"/>
                    <a:pt x="1603" y="2040"/>
                    <a:pt x="1821" y="1822"/>
                  </a:cubicBezTo>
                  <a:cubicBezTo>
                    <a:pt x="2488" y="1155"/>
                    <a:pt x="2017" y="1"/>
                    <a:pt x="1065"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782" name="Google Shape;2782;p104"/>
            <p:cNvSpPr/>
            <p:nvPr/>
          </p:nvSpPr>
          <p:spPr>
            <a:xfrm>
              <a:off x="5875275" y="2028275"/>
              <a:ext cx="62225" cy="53450"/>
            </a:xfrm>
            <a:custGeom>
              <a:avLst/>
              <a:gdLst/>
              <a:ahLst/>
              <a:cxnLst/>
              <a:rect l="l" t="t" r="r" b="b"/>
              <a:pathLst>
                <a:path w="2489" h="2138" extrusionOk="0">
                  <a:moveTo>
                    <a:pt x="1065" y="1"/>
                  </a:moveTo>
                  <a:cubicBezTo>
                    <a:pt x="480" y="1"/>
                    <a:pt x="0" y="480"/>
                    <a:pt x="0" y="1065"/>
                  </a:cubicBezTo>
                  <a:cubicBezTo>
                    <a:pt x="0" y="1709"/>
                    <a:pt x="526" y="2137"/>
                    <a:pt x="1074" y="2137"/>
                  </a:cubicBezTo>
                  <a:cubicBezTo>
                    <a:pt x="1336" y="2137"/>
                    <a:pt x="1603" y="2040"/>
                    <a:pt x="1821" y="1821"/>
                  </a:cubicBezTo>
                  <a:cubicBezTo>
                    <a:pt x="2488" y="1147"/>
                    <a:pt x="2017" y="1"/>
                    <a:pt x="1065"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783" name="Google Shape;2783;p104"/>
            <p:cNvSpPr/>
            <p:nvPr/>
          </p:nvSpPr>
          <p:spPr>
            <a:xfrm>
              <a:off x="5875275" y="2104500"/>
              <a:ext cx="62225" cy="53325"/>
            </a:xfrm>
            <a:custGeom>
              <a:avLst/>
              <a:gdLst/>
              <a:ahLst/>
              <a:cxnLst/>
              <a:rect l="l" t="t" r="r" b="b"/>
              <a:pathLst>
                <a:path w="2489" h="2133"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7" y="0"/>
                    <a:pt x="1065"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784" name="Google Shape;2784;p104"/>
            <p:cNvSpPr/>
            <p:nvPr/>
          </p:nvSpPr>
          <p:spPr>
            <a:xfrm>
              <a:off x="5799275" y="2104500"/>
              <a:ext cx="62200" cy="53325"/>
            </a:xfrm>
            <a:custGeom>
              <a:avLst/>
              <a:gdLst/>
              <a:ahLst/>
              <a:cxnLst/>
              <a:rect l="l" t="t" r="r" b="b"/>
              <a:pathLst>
                <a:path w="2488" h="2133" extrusionOk="0">
                  <a:moveTo>
                    <a:pt x="1057" y="0"/>
                  </a:moveTo>
                  <a:cubicBezTo>
                    <a:pt x="472" y="0"/>
                    <a:pt x="0" y="480"/>
                    <a:pt x="0" y="1065"/>
                  </a:cubicBezTo>
                  <a:cubicBezTo>
                    <a:pt x="0" y="1709"/>
                    <a:pt x="525" y="2133"/>
                    <a:pt x="1071" y="2133"/>
                  </a:cubicBezTo>
                  <a:cubicBezTo>
                    <a:pt x="1332" y="2133"/>
                    <a:pt x="1598" y="2036"/>
                    <a:pt x="1813" y="1821"/>
                  </a:cubicBezTo>
                  <a:cubicBezTo>
                    <a:pt x="2488" y="1146"/>
                    <a:pt x="2008" y="0"/>
                    <a:pt x="1057"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785" name="Google Shape;2785;p104"/>
            <p:cNvSpPr/>
            <p:nvPr/>
          </p:nvSpPr>
          <p:spPr>
            <a:xfrm>
              <a:off x="5799275" y="2180700"/>
              <a:ext cx="62150" cy="53275"/>
            </a:xfrm>
            <a:custGeom>
              <a:avLst/>
              <a:gdLst/>
              <a:ahLst/>
              <a:cxnLst/>
              <a:rect l="l" t="t" r="r" b="b"/>
              <a:pathLst>
                <a:path w="2486" h="2131" extrusionOk="0">
                  <a:moveTo>
                    <a:pt x="1067" y="1"/>
                  </a:moveTo>
                  <a:cubicBezTo>
                    <a:pt x="1064" y="1"/>
                    <a:pt x="1060" y="1"/>
                    <a:pt x="1057" y="1"/>
                  </a:cubicBezTo>
                  <a:cubicBezTo>
                    <a:pt x="472" y="1"/>
                    <a:pt x="0" y="480"/>
                    <a:pt x="0" y="1066"/>
                  </a:cubicBezTo>
                  <a:cubicBezTo>
                    <a:pt x="0" y="1707"/>
                    <a:pt x="522" y="2131"/>
                    <a:pt x="1067" y="2131"/>
                  </a:cubicBezTo>
                  <a:cubicBezTo>
                    <a:pt x="1329" y="2131"/>
                    <a:pt x="1596" y="2033"/>
                    <a:pt x="1813" y="1813"/>
                  </a:cubicBezTo>
                  <a:cubicBezTo>
                    <a:pt x="2485" y="1149"/>
                    <a:pt x="2011" y="1"/>
                    <a:pt x="1067"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786" name="Google Shape;2786;p104"/>
            <p:cNvSpPr/>
            <p:nvPr/>
          </p:nvSpPr>
          <p:spPr>
            <a:xfrm>
              <a:off x="5799275" y="2256925"/>
              <a:ext cx="62350" cy="53425"/>
            </a:xfrm>
            <a:custGeom>
              <a:avLst/>
              <a:gdLst/>
              <a:ahLst/>
              <a:cxnLst/>
              <a:rect l="l" t="t" r="r" b="b"/>
              <a:pathLst>
                <a:path w="2494" h="2137" extrusionOk="0">
                  <a:moveTo>
                    <a:pt x="1067" y="0"/>
                  </a:moveTo>
                  <a:cubicBezTo>
                    <a:pt x="1064" y="0"/>
                    <a:pt x="1060" y="0"/>
                    <a:pt x="1057" y="0"/>
                  </a:cubicBezTo>
                  <a:cubicBezTo>
                    <a:pt x="472" y="0"/>
                    <a:pt x="0" y="480"/>
                    <a:pt x="0" y="1065"/>
                  </a:cubicBezTo>
                  <a:cubicBezTo>
                    <a:pt x="0" y="1709"/>
                    <a:pt x="529" y="2137"/>
                    <a:pt x="1077" y="2137"/>
                  </a:cubicBezTo>
                  <a:cubicBezTo>
                    <a:pt x="1339" y="2137"/>
                    <a:pt x="1606" y="2039"/>
                    <a:pt x="1821" y="1821"/>
                  </a:cubicBezTo>
                  <a:cubicBezTo>
                    <a:pt x="2493" y="1149"/>
                    <a:pt x="2019" y="0"/>
                    <a:pt x="1067"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787" name="Google Shape;2787;p104"/>
            <p:cNvSpPr/>
            <p:nvPr/>
          </p:nvSpPr>
          <p:spPr>
            <a:xfrm>
              <a:off x="5799275" y="2333125"/>
              <a:ext cx="62200" cy="53450"/>
            </a:xfrm>
            <a:custGeom>
              <a:avLst/>
              <a:gdLst/>
              <a:ahLst/>
              <a:cxnLst/>
              <a:rect l="l" t="t" r="r" b="b"/>
              <a:pathLst>
                <a:path w="2488" h="2138" extrusionOk="0">
                  <a:moveTo>
                    <a:pt x="1057" y="1"/>
                  </a:moveTo>
                  <a:cubicBezTo>
                    <a:pt x="472" y="9"/>
                    <a:pt x="0" y="480"/>
                    <a:pt x="0" y="1066"/>
                  </a:cubicBezTo>
                  <a:cubicBezTo>
                    <a:pt x="0" y="1709"/>
                    <a:pt x="525" y="2137"/>
                    <a:pt x="1071" y="2137"/>
                  </a:cubicBezTo>
                  <a:cubicBezTo>
                    <a:pt x="1332" y="2137"/>
                    <a:pt x="1597" y="2040"/>
                    <a:pt x="1813" y="1822"/>
                  </a:cubicBezTo>
                  <a:cubicBezTo>
                    <a:pt x="2488" y="1147"/>
                    <a:pt x="2008" y="1"/>
                    <a:pt x="1057"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788" name="Google Shape;2788;p104"/>
            <p:cNvSpPr/>
            <p:nvPr/>
          </p:nvSpPr>
          <p:spPr>
            <a:xfrm>
              <a:off x="5799050" y="2637775"/>
              <a:ext cx="62425" cy="53450"/>
            </a:xfrm>
            <a:custGeom>
              <a:avLst/>
              <a:gdLst/>
              <a:ahLst/>
              <a:cxnLst/>
              <a:rect l="l" t="t" r="r" b="b"/>
              <a:pathLst>
                <a:path w="2497" h="2138" extrusionOk="0">
                  <a:moveTo>
                    <a:pt x="1066" y="1"/>
                  </a:moveTo>
                  <a:cubicBezTo>
                    <a:pt x="481" y="9"/>
                    <a:pt x="1" y="480"/>
                    <a:pt x="1" y="1074"/>
                  </a:cubicBezTo>
                  <a:cubicBezTo>
                    <a:pt x="1" y="1712"/>
                    <a:pt x="525" y="2137"/>
                    <a:pt x="1074" y="2137"/>
                  </a:cubicBezTo>
                  <a:cubicBezTo>
                    <a:pt x="1336" y="2137"/>
                    <a:pt x="1604" y="2040"/>
                    <a:pt x="1822" y="1822"/>
                  </a:cubicBezTo>
                  <a:cubicBezTo>
                    <a:pt x="2497" y="1147"/>
                    <a:pt x="2017" y="1"/>
                    <a:pt x="1066"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789" name="Google Shape;2789;p104"/>
            <p:cNvSpPr/>
            <p:nvPr/>
          </p:nvSpPr>
          <p:spPr>
            <a:xfrm>
              <a:off x="5799275" y="2561575"/>
              <a:ext cx="62200" cy="53425"/>
            </a:xfrm>
            <a:custGeom>
              <a:avLst/>
              <a:gdLst/>
              <a:ahLst/>
              <a:cxnLst/>
              <a:rect l="l" t="t" r="r" b="b"/>
              <a:pathLst>
                <a:path w="2488" h="2137" extrusionOk="0">
                  <a:moveTo>
                    <a:pt x="1057" y="0"/>
                  </a:moveTo>
                  <a:cubicBezTo>
                    <a:pt x="472" y="8"/>
                    <a:pt x="0" y="480"/>
                    <a:pt x="0" y="1073"/>
                  </a:cubicBezTo>
                  <a:cubicBezTo>
                    <a:pt x="0" y="1711"/>
                    <a:pt x="524" y="2137"/>
                    <a:pt x="1070" y="2137"/>
                  </a:cubicBezTo>
                  <a:cubicBezTo>
                    <a:pt x="1331" y="2137"/>
                    <a:pt x="1597" y="2039"/>
                    <a:pt x="1813" y="1821"/>
                  </a:cubicBezTo>
                  <a:cubicBezTo>
                    <a:pt x="2488" y="1146"/>
                    <a:pt x="2008" y="0"/>
                    <a:pt x="1057"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790" name="Google Shape;2790;p104"/>
            <p:cNvSpPr/>
            <p:nvPr/>
          </p:nvSpPr>
          <p:spPr>
            <a:xfrm>
              <a:off x="5799050" y="2485550"/>
              <a:ext cx="62425" cy="53300"/>
            </a:xfrm>
            <a:custGeom>
              <a:avLst/>
              <a:gdLst/>
              <a:ahLst/>
              <a:cxnLst/>
              <a:rect l="l" t="t" r="r" b="b"/>
              <a:pathLst>
                <a:path w="2497" h="2132" extrusionOk="0">
                  <a:moveTo>
                    <a:pt x="1066" y="1"/>
                  </a:moveTo>
                  <a:cubicBezTo>
                    <a:pt x="481" y="1"/>
                    <a:pt x="1" y="472"/>
                    <a:pt x="1" y="1066"/>
                  </a:cubicBezTo>
                  <a:cubicBezTo>
                    <a:pt x="1" y="1708"/>
                    <a:pt x="523" y="2131"/>
                    <a:pt x="1070" y="2131"/>
                  </a:cubicBezTo>
                  <a:cubicBezTo>
                    <a:pt x="1333" y="2131"/>
                    <a:pt x="1603" y="2033"/>
                    <a:pt x="1822" y="1814"/>
                  </a:cubicBezTo>
                  <a:cubicBezTo>
                    <a:pt x="2497" y="1147"/>
                    <a:pt x="2017" y="1"/>
                    <a:pt x="1066"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791" name="Google Shape;2791;p104"/>
            <p:cNvSpPr/>
            <p:nvPr/>
          </p:nvSpPr>
          <p:spPr>
            <a:xfrm>
              <a:off x="5799275" y="2409350"/>
              <a:ext cx="62150" cy="53275"/>
            </a:xfrm>
            <a:custGeom>
              <a:avLst/>
              <a:gdLst/>
              <a:ahLst/>
              <a:cxnLst/>
              <a:rect l="l" t="t" r="r" b="b"/>
              <a:pathLst>
                <a:path w="2486" h="2131" extrusionOk="0">
                  <a:moveTo>
                    <a:pt x="1067" y="0"/>
                  </a:moveTo>
                  <a:cubicBezTo>
                    <a:pt x="1064" y="0"/>
                    <a:pt x="1060" y="0"/>
                    <a:pt x="1057" y="0"/>
                  </a:cubicBezTo>
                  <a:cubicBezTo>
                    <a:pt x="472" y="0"/>
                    <a:pt x="0" y="480"/>
                    <a:pt x="0" y="1065"/>
                  </a:cubicBezTo>
                  <a:cubicBezTo>
                    <a:pt x="0" y="1707"/>
                    <a:pt x="522" y="2131"/>
                    <a:pt x="1069" y="2131"/>
                  </a:cubicBezTo>
                  <a:cubicBezTo>
                    <a:pt x="1333" y="2131"/>
                    <a:pt x="1602" y="2032"/>
                    <a:pt x="1821" y="1813"/>
                  </a:cubicBezTo>
                  <a:cubicBezTo>
                    <a:pt x="2485" y="1149"/>
                    <a:pt x="2011" y="0"/>
                    <a:pt x="1067"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792" name="Google Shape;2792;p104"/>
            <p:cNvSpPr/>
            <p:nvPr/>
          </p:nvSpPr>
          <p:spPr>
            <a:xfrm>
              <a:off x="5723050" y="2409350"/>
              <a:ext cx="62225" cy="53350"/>
            </a:xfrm>
            <a:custGeom>
              <a:avLst/>
              <a:gdLst/>
              <a:ahLst/>
              <a:cxnLst/>
              <a:rect l="l" t="t" r="r" b="b"/>
              <a:pathLst>
                <a:path w="2489" h="2134" extrusionOk="0">
                  <a:moveTo>
                    <a:pt x="1065" y="0"/>
                  </a:moveTo>
                  <a:cubicBezTo>
                    <a:pt x="472" y="0"/>
                    <a:pt x="0" y="480"/>
                    <a:pt x="0" y="1065"/>
                  </a:cubicBezTo>
                  <a:cubicBezTo>
                    <a:pt x="0" y="1709"/>
                    <a:pt x="526" y="2133"/>
                    <a:pt x="1072" y="2133"/>
                  </a:cubicBezTo>
                  <a:cubicBezTo>
                    <a:pt x="1333" y="2133"/>
                    <a:pt x="1598" y="2036"/>
                    <a:pt x="1813" y="1821"/>
                  </a:cubicBezTo>
                  <a:cubicBezTo>
                    <a:pt x="2488" y="1146"/>
                    <a:pt x="2008" y="0"/>
                    <a:pt x="1065"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793" name="Google Shape;2793;p104"/>
            <p:cNvSpPr/>
            <p:nvPr/>
          </p:nvSpPr>
          <p:spPr>
            <a:xfrm>
              <a:off x="5646825" y="2409350"/>
              <a:ext cx="62225" cy="53350"/>
            </a:xfrm>
            <a:custGeom>
              <a:avLst/>
              <a:gdLst/>
              <a:ahLst/>
              <a:cxnLst/>
              <a:rect l="l" t="t" r="r" b="b"/>
              <a:pathLst>
                <a:path w="2489" h="2134" extrusionOk="0">
                  <a:moveTo>
                    <a:pt x="1066" y="0"/>
                  </a:moveTo>
                  <a:cubicBezTo>
                    <a:pt x="472" y="0"/>
                    <a:pt x="1" y="480"/>
                    <a:pt x="1" y="1065"/>
                  </a:cubicBezTo>
                  <a:cubicBezTo>
                    <a:pt x="1" y="1709"/>
                    <a:pt x="526" y="2133"/>
                    <a:pt x="1072" y="2133"/>
                  </a:cubicBezTo>
                  <a:cubicBezTo>
                    <a:pt x="1333" y="2133"/>
                    <a:pt x="1598" y="2036"/>
                    <a:pt x="1814" y="1821"/>
                  </a:cubicBezTo>
                  <a:cubicBezTo>
                    <a:pt x="2489" y="1146"/>
                    <a:pt x="2017" y="0"/>
                    <a:pt x="1066"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794" name="Google Shape;2794;p104"/>
            <p:cNvSpPr/>
            <p:nvPr/>
          </p:nvSpPr>
          <p:spPr>
            <a:xfrm>
              <a:off x="5570625" y="2409350"/>
              <a:ext cx="62200" cy="53350"/>
            </a:xfrm>
            <a:custGeom>
              <a:avLst/>
              <a:gdLst/>
              <a:ahLst/>
              <a:cxnLst/>
              <a:rect l="l" t="t" r="r" b="b"/>
              <a:pathLst>
                <a:path w="2488" h="2134" extrusionOk="0">
                  <a:moveTo>
                    <a:pt x="1065" y="0"/>
                  </a:moveTo>
                  <a:cubicBezTo>
                    <a:pt x="472" y="0"/>
                    <a:pt x="0" y="480"/>
                    <a:pt x="0" y="1065"/>
                  </a:cubicBezTo>
                  <a:cubicBezTo>
                    <a:pt x="0" y="1709"/>
                    <a:pt x="526" y="2133"/>
                    <a:pt x="1072" y="2133"/>
                  </a:cubicBezTo>
                  <a:cubicBezTo>
                    <a:pt x="1333" y="2133"/>
                    <a:pt x="1598" y="2036"/>
                    <a:pt x="1813" y="1821"/>
                  </a:cubicBezTo>
                  <a:cubicBezTo>
                    <a:pt x="2488" y="1146"/>
                    <a:pt x="2016" y="0"/>
                    <a:pt x="1065"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795" name="Google Shape;2795;p104"/>
            <p:cNvSpPr/>
            <p:nvPr/>
          </p:nvSpPr>
          <p:spPr>
            <a:xfrm>
              <a:off x="5494400" y="2409350"/>
              <a:ext cx="62225" cy="53350"/>
            </a:xfrm>
            <a:custGeom>
              <a:avLst/>
              <a:gdLst/>
              <a:ahLst/>
              <a:cxnLst/>
              <a:rect l="l" t="t" r="r" b="b"/>
              <a:pathLst>
                <a:path w="2489" h="2134" extrusionOk="0">
                  <a:moveTo>
                    <a:pt x="1066" y="0"/>
                  </a:moveTo>
                  <a:cubicBezTo>
                    <a:pt x="480" y="0"/>
                    <a:pt x="1" y="480"/>
                    <a:pt x="1" y="1065"/>
                  </a:cubicBezTo>
                  <a:cubicBezTo>
                    <a:pt x="1" y="1709"/>
                    <a:pt x="526" y="2133"/>
                    <a:pt x="1075" y="2133"/>
                  </a:cubicBezTo>
                  <a:cubicBezTo>
                    <a:pt x="1337" y="2133"/>
                    <a:pt x="1604" y="2036"/>
                    <a:pt x="1822" y="1821"/>
                  </a:cubicBezTo>
                  <a:cubicBezTo>
                    <a:pt x="2488" y="1146"/>
                    <a:pt x="2017" y="0"/>
                    <a:pt x="1066"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796" name="Google Shape;2796;p104"/>
            <p:cNvSpPr/>
            <p:nvPr/>
          </p:nvSpPr>
          <p:spPr>
            <a:xfrm>
              <a:off x="5418200" y="2409350"/>
              <a:ext cx="62425" cy="53350"/>
            </a:xfrm>
            <a:custGeom>
              <a:avLst/>
              <a:gdLst/>
              <a:ahLst/>
              <a:cxnLst/>
              <a:rect l="l" t="t" r="r" b="b"/>
              <a:pathLst>
                <a:path w="2497" h="2134" extrusionOk="0">
                  <a:moveTo>
                    <a:pt x="1065" y="0"/>
                  </a:moveTo>
                  <a:cubicBezTo>
                    <a:pt x="480" y="0"/>
                    <a:pt x="0" y="480"/>
                    <a:pt x="0" y="1065"/>
                  </a:cubicBezTo>
                  <a:cubicBezTo>
                    <a:pt x="0" y="1709"/>
                    <a:pt x="526" y="2133"/>
                    <a:pt x="1074" y="2133"/>
                  </a:cubicBezTo>
                  <a:cubicBezTo>
                    <a:pt x="1336" y="2133"/>
                    <a:pt x="1603" y="2036"/>
                    <a:pt x="1821" y="1821"/>
                  </a:cubicBezTo>
                  <a:cubicBezTo>
                    <a:pt x="2496" y="1146"/>
                    <a:pt x="2016" y="0"/>
                    <a:pt x="1065"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797" name="Google Shape;2797;p104"/>
            <p:cNvSpPr/>
            <p:nvPr/>
          </p:nvSpPr>
          <p:spPr>
            <a:xfrm>
              <a:off x="5341975" y="2409350"/>
              <a:ext cx="62425" cy="53350"/>
            </a:xfrm>
            <a:custGeom>
              <a:avLst/>
              <a:gdLst/>
              <a:ahLst/>
              <a:cxnLst/>
              <a:rect l="l" t="t" r="r" b="b"/>
              <a:pathLst>
                <a:path w="2497" h="2134" extrusionOk="0">
                  <a:moveTo>
                    <a:pt x="1074" y="0"/>
                  </a:moveTo>
                  <a:cubicBezTo>
                    <a:pt x="480" y="0"/>
                    <a:pt x="9" y="480"/>
                    <a:pt x="1" y="1065"/>
                  </a:cubicBezTo>
                  <a:cubicBezTo>
                    <a:pt x="1" y="1709"/>
                    <a:pt x="530" y="2133"/>
                    <a:pt x="1078" y="2133"/>
                  </a:cubicBezTo>
                  <a:cubicBezTo>
                    <a:pt x="1340" y="2133"/>
                    <a:pt x="1606" y="2036"/>
                    <a:pt x="1822" y="1821"/>
                  </a:cubicBezTo>
                  <a:cubicBezTo>
                    <a:pt x="2497" y="1146"/>
                    <a:pt x="2017" y="0"/>
                    <a:pt x="1074"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798" name="Google Shape;2798;p104"/>
            <p:cNvSpPr/>
            <p:nvPr/>
          </p:nvSpPr>
          <p:spPr>
            <a:xfrm>
              <a:off x="6027500" y="3399500"/>
              <a:ext cx="62425" cy="53350"/>
            </a:xfrm>
            <a:custGeom>
              <a:avLst/>
              <a:gdLst/>
              <a:ahLst/>
              <a:cxnLst/>
              <a:rect l="l" t="t" r="r" b="b"/>
              <a:pathLst>
                <a:path w="2497" h="2134" extrusionOk="0">
                  <a:moveTo>
                    <a:pt x="1073" y="1"/>
                  </a:moveTo>
                  <a:cubicBezTo>
                    <a:pt x="480" y="1"/>
                    <a:pt x="9" y="480"/>
                    <a:pt x="0" y="1066"/>
                  </a:cubicBezTo>
                  <a:cubicBezTo>
                    <a:pt x="0" y="1709"/>
                    <a:pt x="529" y="2134"/>
                    <a:pt x="1078" y="2134"/>
                  </a:cubicBezTo>
                  <a:cubicBezTo>
                    <a:pt x="1340" y="2134"/>
                    <a:pt x="1606" y="2037"/>
                    <a:pt x="1821" y="1822"/>
                  </a:cubicBezTo>
                  <a:cubicBezTo>
                    <a:pt x="2496" y="1147"/>
                    <a:pt x="2016" y="1"/>
                    <a:pt x="1073"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799" name="Google Shape;2799;p104"/>
            <p:cNvSpPr/>
            <p:nvPr/>
          </p:nvSpPr>
          <p:spPr>
            <a:xfrm>
              <a:off x="6027500" y="3323300"/>
              <a:ext cx="62425" cy="53425"/>
            </a:xfrm>
            <a:custGeom>
              <a:avLst/>
              <a:gdLst/>
              <a:ahLst/>
              <a:cxnLst/>
              <a:rect l="l" t="t" r="r" b="b"/>
              <a:pathLst>
                <a:path w="2497" h="2137" extrusionOk="0">
                  <a:moveTo>
                    <a:pt x="1073" y="0"/>
                  </a:moveTo>
                  <a:cubicBezTo>
                    <a:pt x="480" y="0"/>
                    <a:pt x="9" y="480"/>
                    <a:pt x="0" y="1065"/>
                  </a:cubicBezTo>
                  <a:cubicBezTo>
                    <a:pt x="0" y="1709"/>
                    <a:pt x="529" y="2137"/>
                    <a:pt x="1078" y="2137"/>
                  </a:cubicBezTo>
                  <a:cubicBezTo>
                    <a:pt x="1340" y="2137"/>
                    <a:pt x="1606" y="2039"/>
                    <a:pt x="1821" y="1821"/>
                  </a:cubicBezTo>
                  <a:cubicBezTo>
                    <a:pt x="2496" y="1154"/>
                    <a:pt x="2016" y="0"/>
                    <a:pt x="1073"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800" name="Google Shape;2800;p104"/>
            <p:cNvSpPr/>
            <p:nvPr/>
          </p:nvSpPr>
          <p:spPr>
            <a:xfrm>
              <a:off x="6103700" y="3171075"/>
              <a:ext cx="62425" cy="53275"/>
            </a:xfrm>
            <a:custGeom>
              <a:avLst/>
              <a:gdLst/>
              <a:ahLst/>
              <a:cxnLst/>
              <a:rect l="l" t="t" r="r" b="b"/>
              <a:pathLst>
                <a:path w="2497" h="2131" extrusionOk="0">
                  <a:moveTo>
                    <a:pt x="1066" y="0"/>
                  </a:moveTo>
                  <a:cubicBezTo>
                    <a:pt x="481" y="0"/>
                    <a:pt x="9" y="472"/>
                    <a:pt x="1" y="1065"/>
                  </a:cubicBezTo>
                  <a:cubicBezTo>
                    <a:pt x="1" y="1707"/>
                    <a:pt x="523" y="2131"/>
                    <a:pt x="1070" y="2131"/>
                  </a:cubicBezTo>
                  <a:cubicBezTo>
                    <a:pt x="1333" y="2131"/>
                    <a:pt x="1603" y="2032"/>
                    <a:pt x="1822" y="1813"/>
                  </a:cubicBezTo>
                  <a:cubicBezTo>
                    <a:pt x="2497" y="1146"/>
                    <a:pt x="2017" y="0"/>
                    <a:pt x="1066"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801" name="Google Shape;2801;p104"/>
            <p:cNvSpPr/>
            <p:nvPr/>
          </p:nvSpPr>
          <p:spPr>
            <a:xfrm>
              <a:off x="6103700" y="3094850"/>
              <a:ext cx="62425" cy="53350"/>
            </a:xfrm>
            <a:custGeom>
              <a:avLst/>
              <a:gdLst/>
              <a:ahLst/>
              <a:cxnLst/>
              <a:rect l="l" t="t" r="r" b="b"/>
              <a:pathLst>
                <a:path w="2497" h="2134" extrusionOk="0">
                  <a:moveTo>
                    <a:pt x="1066" y="1"/>
                  </a:moveTo>
                  <a:cubicBezTo>
                    <a:pt x="481" y="1"/>
                    <a:pt x="1" y="480"/>
                    <a:pt x="1" y="1066"/>
                  </a:cubicBezTo>
                  <a:cubicBezTo>
                    <a:pt x="1" y="1709"/>
                    <a:pt x="526" y="2134"/>
                    <a:pt x="1075" y="2134"/>
                  </a:cubicBezTo>
                  <a:cubicBezTo>
                    <a:pt x="1337" y="2134"/>
                    <a:pt x="1604" y="2037"/>
                    <a:pt x="1822" y="1822"/>
                  </a:cubicBezTo>
                  <a:cubicBezTo>
                    <a:pt x="2497" y="1147"/>
                    <a:pt x="2017" y="1"/>
                    <a:pt x="1066"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802" name="Google Shape;2802;p104"/>
            <p:cNvSpPr/>
            <p:nvPr/>
          </p:nvSpPr>
          <p:spPr>
            <a:xfrm>
              <a:off x="5951475" y="3094850"/>
              <a:ext cx="62225" cy="53350"/>
            </a:xfrm>
            <a:custGeom>
              <a:avLst/>
              <a:gdLst/>
              <a:ahLst/>
              <a:cxnLst/>
              <a:rect l="l" t="t" r="r" b="b"/>
              <a:pathLst>
                <a:path w="2489" h="2134" extrusionOk="0">
                  <a:moveTo>
                    <a:pt x="1066" y="1"/>
                  </a:moveTo>
                  <a:cubicBezTo>
                    <a:pt x="472" y="1"/>
                    <a:pt x="1" y="480"/>
                    <a:pt x="1" y="1066"/>
                  </a:cubicBezTo>
                  <a:cubicBezTo>
                    <a:pt x="1" y="1709"/>
                    <a:pt x="526" y="2134"/>
                    <a:pt x="1072" y="2134"/>
                  </a:cubicBezTo>
                  <a:cubicBezTo>
                    <a:pt x="1333" y="2134"/>
                    <a:pt x="1598" y="2037"/>
                    <a:pt x="1814" y="1822"/>
                  </a:cubicBezTo>
                  <a:cubicBezTo>
                    <a:pt x="2489" y="1147"/>
                    <a:pt x="2017" y="1"/>
                    <a:pt x="1066"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803" name="Google Shape;2803;p104"/>
            <p:cNvSpPr/>
            <p:nvPr/>
          </p:nvSpPr>
          <p:spPr>
            <a:xfrm>
              <a:off x="5951475" y="2942425"/>
              <a:ext cx="62225" cy="53450"/>
            </a:xfrm>
            <a:custGeom>
              <a:avLst/>
              <a:gdLst/>
              <a:ahLst/>
              <a:cxnLst/>
              <a:rect l="l" t="t" r="r" b="b"/>
              <a:pathLst>
                <a:path w="2489" h="2138" extrusionOk="0">
                  <a:moveTo>
                    <a:pt x="1066" y="1"/>
                  </a:moveTo>
                  <a:cubicBezTo>
                    <a:pt x="472" y="9"/>
                    <a:pt x="1" y="480"/>
                    <a:pt x="1" y="1066"/>
                  </a:cubicBezTo>
                  <a:cubicBezTo>
                    <a:pt x="1" y="1709"/>
                    <a:pt x="526" y="2137"/>
                    <a:pt x="1072" y="2137"/>
                  </a:cubicBezTo>
                  <a:cubicBezTo>
                    <a:pt x="1333" y="2137"/>
                    <a:pt x="1598" y="2040"/>
                    <a:pt x="1814" y="1822"/>
                  </a:cubicBezTo>
                  <a:cubicBezTo>
                    <a:pt x="2489" y="1147"/>
                    <a:pt x="2017" y="1"/>
                    <a:pt x="1066"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804" name="Google Shape;2804;p104"/>
            <p:cNvSpPr/>
            <p:nvPr/>
          </p:nvSpPr>
          <p:spPr>
            <a:xfrm>
              <a:off x="5875275" y="3399500"/>
              <a:ext cx="62225" cy="53350"/>
            </a:xfrm>
            <a:custGeom>
              <a:avLst/>
              <a:gdLst/>
              <a:ahLst/>
              <a:cxnLst/>
              <a:rect l="l" t="t" r="r" b="b"/>
              <a:pathLst>
                <a:path w="2489" h="2134" extrusionOk="0">
                  <a:moveTo>
                    <a:pt x="1065" y="1"/>
                  </a:moveTo>
                  <a:cubicBezTo>
                    <a:pt x="480" y="1"/>
                    <a:pt x="0" y="480"/>
                    <a:pt x="0" y="1066"/>
                  </a:cubicBezTo>
                  <a:cubicBezTo>
                    <a:pt x="0" y="1709"/>
                    <a:pt x="526" y="2134"/>
                    <a:pt x="1074" y="2134"/>
                  </a:cubicBezTo>
                  <a:cubicBezTo>
                    <a:pt x="1336" y="2134"/>
                    <a:pt x="1603" y="2037"/>
                    <a:pt x="1821" y="1822"/>
                  </a:cubicBezTo>
                  <a:cubicBezTo>
                    <a:pt x="2488" y="1147"/>
                    <a:pt x="2017" y="1"/>
                    <a:pt x="1065"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805" name="Google Shape;2805;p104"/>
            <p:cNvSpPr/>
            <p:nvPr/>
          </p:nvSpPr>
          <p:spPr>
            <a:xfrm>
              <a:off x="5875275" y="3323300"/>
              <a:ext cx="62225" cy="53425"/>
            </a:xfrm>
            <a:custGeom>
              <a:avLst/>
              <a:gdLst/>
              <a:ahLst/>
              <a:cxnLst/>
              <a:rect l="l" t="t" r="r" b="b"/>
              <a:pathLst>
                <a:path w="2489" h="2137" extrusionOk="0">
                  <a:moveTo>
                    <a:pt x="1065" y="0"/>
                  </a:moveTo>
                  <a:cubicBezTo>
                    <a:pt x="480" y="0"/>
                    <a:pt x="0" y="480"/>
                    <a:pt x="0" y="1065"/>
                  </a:cubicBezTo>
                  <a:cubicBezTo>
                    <a:pt x="0" y="1709"/>
                    <a:pt x="526" y="2137"/>
                    <a:pt x="1074" y="2137"/>
                  </a:cubicBezTo>
                  <a:cubicBezTo>
                    <a:pt x="1336" y="2137"/>
                    <a:pt x="1603" y="2039"/>
                    <a:pt x="1821" y="1821"/>
                  </a:cubicBezTo>
                  <a:cubicBezTo>
                    <a:pt x="2488" y="1154"/>
                    <a:pt x="2017" y="0"/>
                    <a:pt x="1065"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806" name="Google Shape;2806;p104"/>
            <p:cNvSpPr/>
            <p:nvPr/>
          </p:nvSpPr>
          <p:spPr>
            <a:xfrm>
              <a:off x="5875275" y="3247075"/>
              <a:ext cx="62225" cy="53450"/>
            </a:xfrm>
            <a:custGeom>
              <a:avLst/>
              <a:gdLst/>
              <a:ahLst/>
              <a:cxnLst/>
              <a:rect l="l" t="t" r="r" b="b"/>
              <a:pathLst>
                <a:path w="2489" h="2138" extrusionOk="0">
                  <a:moveTo>
                    <a:pt x="1065" y="1"/>
                  </a:moveTo>
                  <a:cubicBezTo>
                    <a:pt x="480" y="9"/>
                    <a:pt x="0" y="480"/>
                    <a:pt x="0" y="1074"/>
                  </a:cubicBezTo>
                  <a:cubicBezTo>
                    <a:pt x="0" y="1712"/>
                    <a:pt x="525" y="2137"/>
                    <a:pt x="1073" y="2137"/>
                  </a:cubicBezTo>
                  <a:cubicBezTo>
                    <a:pt x="1335" y="2137"/>
                    <a:pt x="1603" y="2040"/>
                    <a:pt x="1821" y="1822"/>
                  </a:cubicBezTo>
                  <a:cubicBezTo>
                    <a:pt x="2488" y="1155"/>
                    <a:pt x="2017" y="1"/>
                    <a:pt x="1065"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807" name="Google Shape;2807;p104"/>
            <p:cNvSpPr/>
            <p:nvPr/>
          </p:nvSpPr>
          <p:spPr>
            <a:xfrm>
              <a:off x="5799125" y="3399500"/>
              <a:ext cx="62350" cy="53450"/>
            </a:xfrm>
            <a:custGeom>
              <a:avLst/>
              <a:gdLst/>
              <a:ahLst/>
              <a:cxnLst/>
              <a:rect l="l" t="t" r="r" b="b"/>
              <a:pathLst>
                <a:path w="2494" h="2138" extrusionOk="0">
                  <a:moveTo>
                    <a:pt x="1063" y="1"/>
                  </a:moveTo>
                  <a:cubicBezTo>
                    <a:pt x="478" y="1"/>
                    <a:pt x="6" y="480"/>
                    <a:pt x="6" y="1066"/>
                  </a:cubicBezTo>
                  <a:cubicBezTo>
                    <a:pt x="1" y="1709"/>
                    <a:pt x="528" y="2137"/>
                    <a:pt x="1076" y="2137"/>
                  </a:cubicBezTo>
                  <a:cubicBezTo>
                    <a:pt x="1337" y="2137"/>
                    <a:pt x="1603" y="2040"/>
                    <a:pt x="1819" y="1822"/>
                  </a:cubicBezTo>
                  <a:cubicBezTo>
                    <a:pt x="2494" y="1147"/>
                    <a:pt x="2014" y="1"/>
                    <a:pt x="1063"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808" name="Google Shape;2808;p104"/>
            <p:cNvSpPr/>
            <p:nvPr/>
          </p:nvSpPr>
          <p:spPr>
            <a:xfrm>
              <a:off x="5799125" y="3323300"/>
              <a:ext cx="62350" cy="53425"/>
            </a:xfrm>
            <a:custGeom>
              <a:avLst/>
              <a:gdLst/>
              <a:ahLst/>
              <a:cxnLst/>
              <a:rect l="l" t="t" r="r" b="b"/>
              <a:pathLst>
                <a:path w="2494" h="2137" extrusionOk="0">
                  <a:moveTo>
                    <a:pt x="1063" y="0"/>
                  </a:moveTo>
                  <a:cubicBezTo>
                    <a:pt x="478" y="8"/>
                    <a:pt x="6" y="480"/>
                    <a:pt x="6" y="1065"/>
                  </a:cubicBezTo>
                  <a:cubicBezTo>
                    <a:pt x="1" y="1709"/>
                    <a:pt x="528" y="2137"/>
                    <a:pt x="1076" y="2137"/>
                  </a:cubicBezTo>
                  <a:cubicBezTo>
                    <a:pt x="1337" y="2137"/>
                    <a:pt x="1603" y="2039"/>
                    <a:pt x="1819" y="1821"/>
                  </a:cubicBezTo>
                  <a:cubicBezTo>
                    <a:pt x="2494" y="1146"/>
                    <a:pt x="2014" y="0"/>
                    <a:pt x="1063"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809" name="Google Shape;2809;p104"/>
            <p:cNvSpPr/>
            <p:nvPr/>
          </p:nvSpPr>
          <p:spPr>
            <a:xfrm>
              <a:off x="6027500" y="3551925"/>
              <a:ext cx="62425" cy="53250"/>
            </a:xfrm>
            <a:custGeom>
              <a:avLst/>
              <a:gdLst/>
              <a:ahLst/>
              <a:cxnLst/>
              <a:rect l="l" t="t" r="r" b="b"/>
              <a:pathLst>
                <a:path w="2497" h="2130" extrusionOk="0">
                  <a:moveTo>
                    <a:pt x="1073" y="1"/>
                  </a:moveTo>
                  <a:cubicBezTo>
                    <a:pt x="480" y="1"/>
                    <a:pt x="9" y="472"/>
                    <a:pt x="0" y="1066"/>
                  </a:cubicBezTo>
                  <a:cubicBezTo>
                    <a:pt x="0" y="1704"/>
                    <a:pt x="529" y="2129"/>
                    <a:pt x="1077" y="2129"/>
                  </a:cubicBezTo>
                  <a:cubicBezTo>
                    <a:pt x="1339" y="2129"/>
                    <a:pt x="1606" y="2032"/>
                    <a:pt x="1821" y="1814"/>
                  </a:cubicBezTo>
                  <a:cubicBezTo>
                    <a:pt x="2496" y="1147"/>
                    <a:pt x="2016" y="1"/>
                    <a:pt x="1073"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810" name="Google Shape;2810;p104"/>
            <p:cNvSpPr/>
            <p:nvPr/>
          </p:nvSpPr>
          <p:spPr>
            <a:xfrm>
              <a:off x="5951475" y="3551925"/>
              <a:ext cx="62225" cy="53250"/>
            </a:xfrm>
            <a:custGeom>
              <a:avLst/>
              <a:gdLst/>
              <a:ahLst/>
              <a:cxnLst/>
              <a:rect l="l" t="t" r="r" b="b"/>
              <a:pathLst>
                <a:path w="2489" h="2130" extrusionOk="0">
                  <a:moveTo>
                    <a:pt x="1066" y="1"/>
                  </a:moveTo>
                  <a:cubicBezTo>
                    <a:pt x="472" y="1"/>
                    <a:pt x="1" y="472"/>
                    <a:pt x="1" y="1066"/>
                  </a:cubicBezTo>
                  <a:cubicBezTo>
                    <a:pt x="1" y="1704"/>
                    <a:pt x="525" y="2129"/>
                    <a:pt x="1071" y="2129"/>
                  </a:cubicBezTo>
                  <a:cubicBezTo>
                    <a:pt x="1332" y="2129"/>
                    <a:pt x="1598" y="2032"/>
                    <a:pt x="1814" y="1814"/>
                  </a:cubicBezTo>
                  <a:cubicBezTo>
                    <a:pt x="2489" y="1147"/>
                    <a:pt x="2017" y="1"/>
                    <a:pt x="1066"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811" name="Google Shape;2811;p104"/>
            <p:cNvSpPr/>
            <p:nvPr/>
          </p:nvSpPr>
          <p:spPr>
            <a:xfrm>
              <a:off x="5875275" y="3551925"/>
              <a:ext cx="62225" cy="53250"/>
            </a:xfrm>
            <a:custGeom>
              <a:avLst/>
              <a:gdLst/>
              <a:ahLst/>
              <a:cxnLst/>
              <a:rect l="l" t="t" r="r" b="b"/>
              <a:pathLst>
                <a:path w="2489" h="2130" extrusionOk="0">
                  <a:moveTo>
                    <a:pt x="1065" y="1"/>
                  </a:moveTo>
                  <a:cubicBezTo>
                    <a:pt x="480" y="1"/>
                    <a:pt x="0" y="472"/>
                    <a:pt x="0" y="1066"/>
                  </a:cubicBezTo>
                  <a:cubicBezTo>
                    <a:pt x="0" y="1704"/>
                    <a:pt x="525" y="2129"/>
                    <a:pt x="1073" y="2129"/>
                  </a:cubicBezTo>
                  <a:cubicBezTo>
                    <a:pt x="1335" y="2129"/>
                    <a:pt x="1603" y="2032"/>
                    <a:pt x="1821" y="1814"/>
                  </a:cubicBezTo>
                  <a:cubicBezTo>
                    <a:pt x="2488" y="1147"/>
                    <a:pt x="2017" y="1"/>
                    <a:pt x="1065"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812" name="Google Shape;2812;p104"/>
            <p:cNvSpPr/>
            <p:nvPr/>
          </p:nvSpPr>
          <p:spPr>
            <a:xfrm>
              <a:off x="5799050" y="3551925"/>
              <a:ext cx="62375" cy="53300"/>
            </a:xfrm>
            <a:custGeom>
              <a:avLst/>
              <a:gdLst/>
              <a:ahLst/>
              <a:cxnLst/>
              <a:rect l="l" t="t" r="r" b="b"/>
              <a:pathLst>
                <a:path w="2495" h="2132" extrusionOk="0">
                  <a:moveTo>
                    <a:pt x="1076" y="1"/>
                  </a:moveTo>
                  <a:cubicBezTo>
                    <a:pt x="1073" y="1"/>
                    <a:pt x="1069" y="1"/>
                    <a:pt x="1066" y="1"/>
                  </a:cubicBezTo>
                  <a:cubicBezTo>
                    <a:pt x="481" y="1"/>
                    <a:pt x="1" y="480"/>
                    <a:pt x="9" y="1066"/>
                  </a:cubicBezTo>
                  <a:cubicBezTo>
                    <a:pt x="9" y="1708"/>
                    <a:pt x="531" y="2131"/>
                    <a:pt x="1078" y="2131"/>
                  </a:cubicBezTo>
                  <a:cubicBezTo>
                    <a:pt x="1342" y="2131"/>
                    <a:pt x="1611" y="2033"/>
                    <a:pt x="1830" y="1814"/>
                  </a:cubicBezTo>
                  <a:cubicBezTo>
                    <a:pt x="2494" y="1141"/>
                    <a:pt x="2020" y="1"/>
                    <a:pt x="1076"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813" name="Google Shape;2813;p104"/>
            <p:cNvSpPr/>
            <p:nvPr/>
          </p:nvSpPr>
          <p:spPr>
            <a:xfrm>
              <a:off x="5723050" y="3551925"/>
              <a:ext cx="62150" cy="53300"/>
            </a:xfrm>
            <a:custGeom>
              <a:avLst/>
              <a:gdLst/>
              <a:ahLst/>
              <a:cxnLst/>
              <a:rect l="l" t="t" r="r" b="b"/>
              <a:pathLst>
                <a:path w="2486" h="2132" extrusionOk="0">
                  <a:moveTo>
                    <a:pt x="1075" y="1"/>
                  </a:moveTo>
                  <a:cubicBezTo>
                    <a:pt x="1072" y="1"/>
                    <a:pt x="1069" y="1"/>
                    <a:pt x="1065" y="1"/>
                  </a:cubicBezTo>
                  <a:cubicBezTo>
                    <a:pt x="472" y="1"/>
                    <a:pt x="0" y="480"/>
                    <a:pt x="0" y="1066"/>
                  </a:cubicBezTo>
                  <a:cubicBezTo>
                    <a:pt x="0" y="1708"/>
                    <a:pt x="523" y="2131"/>
                    <a:pt x="1070" y="2131"/>
                  </a:cubicBezTo>
                  <a:cubicBezTo>
                    <a:pt x="1333" y="2131"/>
                    <a:pt x="1602" y="2033"/>
                    <a:pt x="1821" y="1814"/>
                  </a:cubicBezTo>
                  <a:cubicBezTo>
                    <a:pt x="2486" y="1141"/>
                    <a:pt x="2012" y="1"/>
                    <a:pt x="1075"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814" name="Google Shape;2814;p104"/>
            <p:cNvSpPr/>
            <p:nvPr/>
          </p:nvSpPr>
          <p:spPr>
            <a:xfrm>
              <a:off x="5723050" y="3475725"/>
              <a:ext cx="62225" cy="53350"/>
            </a:xfrm>
            <a:custGeom>
              <a:avLst/>
              <a:gdLst/>
              <a:ahLst/>
              <a:cxnLst/>
              <a:rect l="l" t="t" r="r" b="b"/>
              <a:pathLst>
                <a:path w="2489" h="2134" extrusionOk="0">
                  <a:moveTo>
                    <a:pt x="1065" y="0"/>
                  </a:moveTo>
                  <a:cubicBezTo>
                    <a:pt x="472" y="0"/>
                    <a:pt x="0" y="480"/>
                    <a:pt x="0" y="1065"/>
                  </a:cubicBezTo>
                  <a:cubicBezTo>
                    <a:pt x="0" y="1709"/>
                    <a:pt x="526" y="2133"/>
                    <a:pt x="1072" y="2133"/>
                  </a:cubicBezTo>
                  <a:cubicBezTo>
                    <a:pt x="1333" y="2133"/>
                    <a:pt x="1598" y="2037"/>
                    <a:pt x="1813" y="1821"/>
                  </a:cubicBezTo>
                  <a:cubicBezTo>
                    <a:pt x="2488" y="1146"/>
                    <a:pt x="2008" y="0"/>
                    <a:pt x="1065"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815" name="Google Shape;2815;p104"/>
            <p:cNvSpPr/>
            <p:nvPr/>
          </p:nvSpPr>
          <p:spPr>
            <a:xfrm>
              <a:off x="5646825" y="3475725"/>
              <a:ext cx="62225" cy="53350"/>
            </a:xfrm>
            <a:custGeom>
              <a:avLst/>
              <a:gdLst/>
              <a:ahLst/>
              <a:cxnLst/>
              <a:rect l="l" t="t" r="r" b="b"/>
              <a:pathLst>
                <a:path w="2489" h="2134" extrusionOk="0">
                  <a:moveTo>
                    <a:pt x="1066" y="0"/>
                  </a:moveTo>
                  <a:cubicBezTo>
                    <a:pt x="472" y="0"/>
                    <a:pt x="1" y="480"/>
                    <a:pt x="1" y="1065"/>
                  </a:cubicBezTo>
                  <a:cubicBezTo>
                    <a:pt x="1" y="1709"/>
                    <a:pt x="526" y="2133"/>
                    <a:pt x="1072" y="2133"/>
                  </a:cubicBezTo>
                  <a:cubicBezTo>
                    <a:pt x="1333" y="2133"/>
                    <a:pt x="1598" y="2037"/>
                    <a:pt x="1814" y="1821"/>
                  </a:cubicBezTo>
                  <a:cubicBezTo>
                    <a:pt x="2489" y="1146"/>
                    <a:pt x="2017" y="0"/>
                    <a:pt x="1066"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816" name="Google Shape;2816;p104"/>
            <p:cNvSpPr/>
            <p:nvPr/>
          </p:nvSpPr>
          <p:spPr>
            <a:xfrm>
              <a:off x="5646700" y="3399500"/>
              <a:ext cx="62350" cy="53350"/>
            </a:xfrm>
            <a:custGeom>
              <a:avLst/>
              <a:gdLst/>
              <a:ahLst/>
              <a:cxnLst/>
              <a:rect l="l" t="t" r="r" b="b"/>
              <a:pathLst>
                <a:path w="2494" h="2134" extrusionOk="0">
                  <a:moveTo>
                    <a:pt x="1071" y="1"/>
                  </a:moveTo>
                  <a:cubicBezTo>
                    <a:pt x="477" y="1"/>
                    <a:pt x="6" y="480"/>
                    <a:pt x="6" y="1066"/>
                  </a:cubicBezTo>
                  <a:cubicBezTo>
                    <a:pt x="0" y="1709"/>
                    <a:pt x="528" y="2134"/>
                    <a:pt x="1076" y="2134"/>
                  </a:cubicBezTo>
                  <a:cubicBezTo>
                    <a:pt x="1337" y="2134"/>
                    <a:pt x="1603" y="2037"/>
                    <a:pt x="1819" y="1822"/>
                  </a:cubicBezTo>
                  <a:cubicBezTo>
                    <a:pt x="2494" y="1147"/>
                    <a:pt x="2022" y="1"/>
                    <a:pt x="1071"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817" name="Google Shape;2817;p104"/>
            <p:cNvSpPr/>
            <p:nvPr/>
          </p:nvSpPr>
          <p:spPr>
            <a:xfrm>
              <a:off x="5570475" y="3399500"/>
              <a:ext cx="62350" cy="53350"/>
            </a:xfrm>
            <a:custGeom>
              <a:avLst/>
              <a:gdLst/>
              <a:ahLst/>
              <a:cxnLst/>
              <a:rect l="l" t="t" r="r" b="b"/>
              <a:pathLst>
                <a:path w="2494" h="2134" extrusionOk="0">
                  <a:moveTo>
                    <a:pt x="1071" y="1"/>
                  </a:moveTo>
                  <a:cubicBezTo>
                    <a:pt x="486" y="1"/>
                    <a:pt x="6" y="480"/>
                    <a:pt x="6" y="1066"/>
                  </a:cubicBezTo>
                  <a:cubicBezTo>
                    <a:pt x="1" y="1709"/>
                    <a:pt x="528" y="2134"/>
                    <a:pt x="1076" y="2134"/>
                  </a:cubicBezTo>
                  <a:cubicBezTo>
                    <a:pt x="1338" y="2134"/>
                    <a:pt x="1604" y="2037"/>
                    <a:pt x="1819" y="1822"/>
                  </a:cubicBezTo>
                  <a:cubicBezTo>
                    <a:pt x="2494" y="1155"/>
                    <a:pt x="2022" y="1"/>
                    <a:pt x="1071"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818" name="Google Shape;2818;p104"/>
            <p:cNvSpPr/>
            <p:nvPr/>
          </p:nvSpPr>
          <p:spPr>
            <a:xfrm>
              <a:off x="5570475" y="3323300"/>
              <a:ext cx="62350" cy="53425"/>
            </a:xfrm>
            <a:custGeom>
              <a:avLst/>
              <a:gdLst/>
              <a:ahLst/>
              <a:cxnLst/>
              <a:rect l="l" t="t" r="r" b="b"/>
              <a:pathLst>
                <a:path w="2494" h="2137" extrusionOk="0">
                  <a:moveTo>
                    <a:pt x="1071" y="0"/>
                  </a:moveTo>
                  <a:cubicBezTo>
                    <a:pt x="486" y="0"/>
                    <a:pt x="6" y="480"/>
                    <a:pt x="6" y="1065"/>
                  </a:cubicBezTo>
                  <a:cubicBezTo>
                    <a:pt x="1" y="1709"/>
                    <a:pt x="524" y="2137"/>
                    <a:pt x="1072" y="2137"/>
                  </a:cubicBezTo>
                  <a:cubicBezTo>
                    <a:pt x="1334" y="2137"/>
                    <a:pt x="1601" y="2039"/>
                    <a:pt x="1819" y="1821"/>
                  </a:cubicBezTo>
                  <a:cubicBezTo>
                    <a:pt x="2494" y="1154"/>
                    <a:pt x="2022" y="0"/>
                    <a:pt x="1071"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819" name="Google Shape;2819;p104"/>
            <p:cNvSpPr/>
            <p:nvPr/>
          </p:nvSpPr>
          <p:spPr>
            <a:xfrm>
              <a:off x="5494275" y="3323300"/>
              <a:ext cx="62350" cy="53425"/>
            </a:xfrm>
            <a:custGeom>
              <a:avLst/>
              <a:gdLst/>
              <a:ahLst/>
              <a:cxnLst/>
              <a:rect l="l" t="t" r="r" b="b"/>
              <a:pathLst>
                <a:path w="2494" h="2137" extrusionOk="0">
                  <a:moveTo>
                    <a:pt x="1071" y="0"/>
                  </a:moveTo>
                  <a:cubicBezTo>
                    <a:pt x="485" y="0"/>
                    <a:pt x="6" y="480"/>
                    <a:pt x="6" y="1065"/>
                  </a:cubicBezTo>
                  <a:cubicBezTo>
                    <a:pt x="0" y="1709"/>
                    <a:pt x="524" y="2137"/>
                    <a:pt x="1072" y="2137"/>
                  </a:cubicBezTo>
                  <a:cubicBezTo>
                    <a:pt x="1333" y="2137"/>
                    <a:pt x="1601" y="2039"/>
                    <a:pt x="1819" y="1821"/>
                  </a:cubicBezTo>
                  <a:cubicBezTo>
                    <a:pt x="2493" y="1154"/>
                    <a:pt x="2022" y="8"/>
                    <a:pt x="1071"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820" name="Google Shape;2820;p104"/>
            <p:cNvSpPr/>
            <p:nvPr/>
          </p:nvSpPr>
          <p:spPr>
            <a:xfrm>
              <a:off x="5494275" y="3247075"/>
              <a:ext cx="62350" cy="53500"/>
            </a:xfrm>
            <a:custGeom>
              <a:avLst/>
              <a:gdLst/>
              <a:ahLst/>
              <a:cxnLst/>
              <a:rect l="l" t="t" r="r" b="b"/>
              <a:pathLst>
                <a:path w="2494" h="2140" extrusionOk="0">
                  <a:moveTo>
                    <a:pt x="1071" y="1"/>
                  </a:moveTo>
                  <a:cubicBezTo>
                    <a:pt x="485" y="1"/>
                    <a:pt x="6" y="480"/>
                    <a:pt x="6" y="1066"/>
                  </a:cubicBezTo>
                  <a:cubicBezTo>
                    <a:pt x="0" y="1711"/>
                    <a:pt x="527" y="2140"/>
                    <a:pt x="1077" y="2140"/>
                  </a:cubicBezTo>
                  <a:cubicBezTo>
                    <a:pt x="1337" y="2140"/>
                    <a:pt x="1602" y="2044"/>
                    <a:pt x="1819" y="1830"/>
                  </a:cubicBezTo>
                  <a:cubicBezTo>
                    <a:pt x="2493" y="1155"/>
                    <a:pt x="2022" y="9"/>
                    <a:pt x="1071"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821" name="Google Shape;2821;p104"/>
            <p:cNvSpPr/>
            <p:nvPr/>
          </p:nvSpPr>
          <p:spPr>
            <a:xfrm>
              <a:off x="5646700" y="3247075"/>
              <a:ext cx="62350" cy="53450"/>
            </a:xfrm>
            <a:custGeom>
              <a:avLst/>
              <a:gdLst/>
              <a:ahLst/>
              <a:cxnLst/>
              <a:rect l="l" t="t" r="r" b="b"/>
              <a:pathLst>
                <a:path w="2494" h="2138" extrusionOk="0">
                  <a:moveTo>
                    <a:pt x="1071" y="1"/>
                  </a:moveTo>
                  <a:cubicBezTo>
                    <a:pt x="486" y="9"/>
                    <a:pt x="6" y="480"/>
                    <a:pt x="6" y="1066"/>
                  </a:cubicBezTo>
                  <a:cubicBezTo>
                    <a:pt x="0" y="1709"/>
                    <a:pt x="524" y="2137"/>
                    <a:pt x="1072" y="2137"/>
                  </a:cubicBezTo>
                  <a:cubicBezTo>
                    <a:pt x="1333" y="2137"/>
                    <a:pt x="1601" y="2040"/>
                    <a:pt x="1819" y="1822"/>
                  </a:cubicBezTo>
                  <a:cubicBezTo>
                    <a:pt x="2494" y="1155"/>
                    <a:pt x="2022" y="1"/>
                    <a:pt x="1071"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822" name="Google Shape;2822;p104"/>
            <p:cNvSpPr/>
            <p:nvPr/>
          </p:nvSpPr>
          <p:spPr>
            <a:xfrm>
              <a:off x="5570625" y="3171075"/>
              <a:ext cx="62200" cy="53350"/>
            </a:xfrm>
            <a:custGeom>
              <a:avLst/>
              <a:gdLst/>
              <a:ahLst/>
              <a:cxnLst/>
              <a:rect l="l" t="t" r="r" b="b"/>
              <a:pathLst>
                <a:path w="2488" h="2134" extrusionOk="0">
                  <a:moveTo>
                    <a:pt x="1065" y="0"/>
                  </a:moveTo>
                  <a:cubicBezTo>
                    <a:pt x="472" y="0"/>
                    <a:pt x="0" y="472"/>
                    <a:pt x="0" y="1065"/>
                  </a:cubicBezTo>
                  <a:cubicBezTo>
                    <a:pt x="0" y="1709"/>
                    <a:pt x="526" y="2133"/>
                    <a:pt x="1072" y="2133"/>
                  </a:cubicBezTo>
                  <a:cubicBezTo>
                    <a:pt x="1333" y="2133"/>
                    <a:pt x="1598" y="2037"/>
                    <a:pt x="1813" y="1821"/>
                  </a:cubicBezTo>
                  <a:cubicBezTo>
                    <a:pt x="2488" y="1146"/>
                    <a:pt x="2016" y="0"/>
                    <a:pt x="1065"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823" name="Google Shape;2823;p104"/>
            <p:cNvSpPr/>
            <p:nvPr/>
          </p:nvSpPr>
          <p:spPr>
            <a:xfrm>
              <a:off x="5494400" y="3094850"/>
              <a:ext cx="62225" cy="53350"/>
            </a:xfrm>
            <a:custGeom>
              <a:avLst/>
              <a:gdLst/>
              <a:ahLst/>
              <a:cxnLst/>
              <a:rect l="l" t="t" r="r" b="b"/>
              <a:pathLst>
                <a:path w="2489" h="2134" extrusionOk="0">
                  <a:moveTo>
                    <a:pt x="1066" y="1"/>
                  </a:moveTo>
                  <a:cubicBezTo>
                    <a:pt x="480" y="1"/>
                    <a:pt x="1" y="480"/>
                    <a:pt x="1" y="1066"/>
                  </a:cubicBezTo>
                  <a:cubicBezTo>
                    <a:pt x="1" y="1709"/>
                    <a:pt x="526" y="2134"/>
                    <a:pt x="1075" y="2134"/>
                  </a:cubicBezTo>
                  <a:cubicBezTo>
                    <a:pt x="1337" y="2134"/>
                    <a:pt x="1604" y="2037"/>
                    <a:pt x="1822" y="1822"/>
                  </a:cubicBezTo>
                  <a:cubicBezTo>
                    <a:pt x="2488" y="1147"/>
                    <a:pt x="2017" y="1"/>
                    <a:pt x="1066"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824" name="Google Shape;2824;p104"/>
            <p:cNvSpPr/>
            <p:nvPr/>
          </p:nvSpPr>
          <p:spPr>
            <a:xfrm>
              <a:off x="7322525" y="1495200"/>
              <a:ext cx="62400" cy="53325"/>
            </a:xfrm>
            <a:custGeom>
              <a:avLst/>
              <a:gdLst/>
              <a:ahLst/>
              <a:cxnLst/>
              <a:rect l="l" t="t" r="r" b="b"/>
              <a:pathLst>
                <a:path w="2496" h="2133" extrusionOk="0">
                  <a:moveTo>
                    <a:pt x="1073" y="0"/>
                  </a:moveTo>
                  <a:cubicBezTo>
                    <a:pt x="480" y="0"/>
                    <a:pt x="8" y="480"/>
                    <a:pt x="0" y="1065"/>
                  </a:cubicBezTo>
                  <a:cubicBezTo>
                    <a:pt x="0" y="1709"/>
                    <a:pt x="529" y="2133"/>
                    <a:pt x="1078" y="2133"/>
                  </a:cubicBezTo>
                  <a:cubicBezTo>
                    <a:pt x="1340" y="2133"/>
                    <a:pt x="1606" y="2036"/>
                    <a:pt x="1821" y="1821"/>
                  </a:cubicBezTo>
                  <a:cubicBezTo>
                    <a:pt x="2496" y="1146"/>
                    <a:pt x="2016" y="0"/>
                    <a:pt x="1073"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825" name="Google Shape;2825;p104"/>
            <p:cNvSpPr/>
            <p:nvPr/>
          </p:nvSpPr>
          <p:spPr>
            <a:xfrm>
              <a:off x="7246500" y="1495200"/>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4" y="1821"/>
                  </a:cubicBezTo>
                  <a:cubicBezTo>
                    <a:pt x="2488" y="1146"/>
                    <a:pt x="2017" y="0"/>
                    <a:pt x="1066"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826" name="Google Shape;2826;p104"/>
            <p:cNvSpPr/>
            <p:nvPr/>
          </p:nvSpPr>
          <p:spPr>
            <a:xfrm>
              <a:off x="7246500" y="1418975"/>
              <a:ext cx="62225" cy="53350"/>
            </a:xfrm>
            <a:custGeom>
              <a:avLst/>
              <a:gdLst/>
              <a:ahLst/>
              <a:cxnLst/>
              <a:rect l="l" t="t" r="r" b="b"/>
              <a:pathLst>
                <a:path w="2489" h="2134" extrusionOk="0">
                  <a:moveTo>
                    <a:pt x="1066" y="1"/>
                  </a:moveTo>
                  <a:cubicBezTo>
                    <a:pt x="472" y="1"/>
                    <a:pt x="1" y="480"/>
                    <a:pt x="1" y="1065"/>
                  </a:cubicBezTo>
                  <a:cubicBezTo>
                    <a:pt x="1" y="1709"/>
                    <a:pt x="526" y="2133"/>
                    <a:pt x="1072" y="2133"/>
                  </a:cubicBezTo>
                  <a:cubicBezTo>
                    <a:pt x="1333" y="2133"/>
                    <a:pt x="1598" y="2037"/>
                    <a:pt x="1814" y="1822"/>
                  </a:cubicBezTo>
                  <a:cubicBezTo>
                    <a:pt x="2488" y="1147"/>
                    <a:pt x="2017" y="1"/>
                    <a:pt x="1066"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827" name="Google Shape;2827;p104"/>
            <p:cNvSpPr/>
            <p:nvPr/>
          </p:nvSpPr>
          <p:spPr>
            <a:xfrm>
              <a:off x="7170300" y="1495200"/>
              <a:ext cx="62200" cy="53325"/>
            </a:xfrm>
            <a:custGeom>
              <a:avLst/>
              <a:gdLst/>
              <a:ahLst/>
              <a:cxnLst/>
              <a:rect l="l" t="t" r="r" b="b"/>
              <a:pathLst>
                <a:path w="2488" h="2133"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828" name="Google Shape;2828;p104"/>
            <p:cNvSpPr/>
            <p:nvPr/>
          </p:nvSpPr>
          <p:spPr>
            <a:xfrm>
              <a:off x="7170300" y="1418975"/>
              <a:ext cx="62200" cy="53350"/>
            </a:xfrm>
            <a:custGeom>
              <a:avLst/>
              <a:gdLst/>
              <a:ahLst/>
              <a:cxnLst/>
              <a:rect l="l" t="t" r="r" b="b"/>
              <a:pathLst>
                <a:path w="2488" h="2134" extrusionOk="0">
                  <a:moveTo>
                    <a:pt x="1065" y="1"/>
                  </a:moveTo>
                  <a:cubicBezTo>
                    <a:pt x="480" y="1"/>
                    <a:pt x="0" y="480"/>
                    <a:pt x="0" y="1065"/>
                  </a:cubicBezTo>
                  <a:cubicBezTo>
                    <a:pt x="0" y="1709"/>
                    <a:pt x="526" y="2133"/>
                    <a:pt x="1074" y="2133"/>
                  </a:cubicBezTo>
                  <a:cubicBezTo>
                    <a:pt x="1336" y="2133"/>
                    <a:pt x="1603" y="2037"/>
                    <a:pt x="1821" y="1822"/>
                  </a:cubicBezTo>
                  <a:cubicBezTo>
                    <a:pt x="2488" y="1147"/>
                    <a:pt x="2016" y="1"/>
                    <a:pt x="1065"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829" name="Google Shape;2829;p104"/>
            <p:cNvSpPr/>
            <p:nvPr/>
          </p:nvSpPr>
          <p:spPr>
            <a:xfrm>
              <a:off x="7094075" y="1571400"/>
              <a:ext cx="62425" cy="53250"/>
            </a:xfrm>
            <a:custGeom>
              <a:avLst/>
              <a:gdLst/>
              <a:ahLst/>
              <a:cxnLst/>
              <a:rect l="l" t="t" r="r" b="b"/>
              <a:pathLst>
                <a:path w="2497" h="2130" extrusionOk="0">
                  <a:moveTo>
                    <a:pt x="1066" y="1"/>
                  </a:moveTo>
                  <a:cubicBezTo>
                    <a:pt x="480" y="1"/>
                    <a:pt x="1" y="472"/>
                    <a:pt x="1" y="1066"/>
                  </a:cubicBezTo>
                  <a:cubicBezTo>
                    <a:pt x="1" y="1703"/>
                    <a:pt x="525" y="2129"/>
                    <a:pt x="1073" y="2129"/>
                  </a:cubicBezTo>
                  <a:cubicBezTo>
                    <a:pt x="1336" y="2129"/>
                    <a:pt x="1603" y="2032"/>
                    <a:pt x="1822" y="1813"/>
                  </a:cubicBezTo>
                  <a:cubicBezTo>
                    <a:pt x="2496" y="1147"/>
                    <a:pt x="2017" y="1"/>
                    <a:pt x="1066"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830" name="Google Shape;2830;p104"/>
            <p:cNvSpPr/>
            <p:nvPr/>
          </p:nvSpPr>
          <p:spPr>
            <a:xfrm>
              <a:off x="7094075" y="1418975"/>
              <a:ext cx="62425" cy="53350"/>
            </a:xfrm>
            <a:custGeom>
              <a:avLst/>
              <a:gdLst/>
              <a:ahLst/>
              <a:cxnLst/>
              <a:rect l="l" t="t" r="r" b="b"/>
              <a:pathLst>
                <a:path w="2497" h="2134" extrusionOk="0">
                  <a:moveTo>
                    <a:pt x="1066" y="1"/>
                  </a:moveTo>
                  <a:cubicBezTo>
                    <a:pt x="480" y="1"/>
                    <a:pt x="1" y="480"/>
                    <a:pt x="1" y="1065"/>
                  </a:cubicBezTo>
                  <a:cubicBezTo>
                    <a:pt x="1" y="1709"/>
                    <a:pt x="526" y="2133"/>
                    <a:pt x="1075" y="2133"/>
                  </a:cubicBezTo>
                  <a:cubicBezTo>
                    <a:pt x="1337" y="2133"/>
                    <a:pt x="1604" y="2037"/>
                    <a:pt x="1822" y="1822"/>
                  </a:cubicBezTo>
                  <a:cubicBezTo>
                    <a:pt x="2496" y="1147"/>
                    <a:pt x="2017" y="1"/>
                    <a:pt x="1066"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831" name="Google Shape;2831;p104"/>
            <p:cNvSpPr/>
            <p:nvPr/>
          </p:nvSpPr>
          <p:spPr>
            <a:xfrm>
              <a:off x="7017875" y="1571400"/>
              <a:ext cx="62400" cy="53250"/>
            </a:xfrm>
            <a:custGeom>
              <a:avLst/>
              <a:gdLst/>
              <a:ahLst/>
              <a:cxnLst/>
              <a:rect l="l" t="t" r="r" b="b"/>
              <a:pathLst>
                <a:path w="2496" h="2130" extrusionOk="0">
                  <a:moveTo>
                    <a:pt x="1073" y="1"/>
                  </a:moveTo>
                  <a:cubicBezTo>
                    <a:pt x="480" y="1"/>
                    <a:pt x="8" y="472"/>
                    <a:pt x="0" y="1066"/>
                  </a:cubicBezTo>
                  <a:cubicBezTo>
                    <a:pt x="0" y="1703"/>
                    <a:pt x="528" y="2129"/>
                    <a:pt x="1076" y="2129"/>
                  </a:cubicBezTo>
                  <a:cubicBezTo>
                    <a:pt x="1339" y="2129"/>
                    <a:pt x="1605" y="2032"/>
                    <a:pt x="1821" y="1813"/>
                  </a:cubicBezTo>
                  <a:cubicBezTo>
                    <a:pt x="2496" y="1147"/>
                    <a:pt x="2016" y="1"/>
                    <a:pt x="1073"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832" name="Google Shape;2832;p104"/>
            <p:cNvSpPr/>
            <p:nvPr/>
          </p:nvSpPr>
          <p:spPr>
            <a:xfrm>
              <a:off x="7017875" y="1418975"/>
              <a:ext cx="62400" cy="53350"/>
            </a:xfrm>
            <a:custGeom>
              <a:avLst/>
              <a:gdLst/>
              <a:ahLst/>
              <a:cxnLst/>
              <a:rect l="l" t="t" r="r" b="b"/>
              <a:pathLst>
                <a:path w="2496" h="2134" extrusionOk="0">
                  <a:moveTo>
                    <a:pt x="1073" y="1"/>
                  </a:moveTo>
                  <a:cubicBezTo>
                    <a:pt x="480" y="1"/>
                    <a:pt x="8" y="480"/>
                    <a:pt x="0" y="1065"/>
                  </a:cubicBezTo>
                  <a:cubicBezTo>
                    <a:pt x="0" y="1709"/>
                    <a:pt x="529" y="2133"/>
                    <a:pt x="1078" y="2133"/>
                  </a:cubicBezTo>
                  <a:cubicBezTo>
                    <a:pt x="1340" y="2133"/>
                    <a:pt x="1606" y="2037"/>
                    <a:pt x="1821" y="1822"/>
                  </a:cubicBezTo>
                  <a:cubicBezTo>
                    <a:pt x="2496" y="1147"/>
                    <a:pt x="2016" y="1"/>
                    <a:pt x="1073"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833" name="Google Shape;2833;p104"/>
            <p:cNvSpPr/>
            <p:nvPr/>
          </p:nvSpPr>
          <p:spPr>
            <a:xfrm>
              <a:off x="6941850" y="1647400"/>
              <a:ext cx="62225" cy="53450"/>
            </a:xfrm>
            <a:custGeom>
              <a:avLst/>
              <a:gdLst/>
              <a:ahLst/>
              <a:cxnLst/>
              <a:rect l="l" t="t" r="r" b="b"/>
              <a:pathLst>
                <a:path w="2489" h="2138" extrusionOk="0">
                  <a:moveTo>
                    <a:pt x="1066" y="1"/>
                  </a:moveTo>
                  <a:cubicBezTo>
                    <a:pt x="472" y="1"/>
                    <a:pt x="1" y="481"/>
                    <a:pt x="1" y="1066"/>
                  </a:cubicBezTo>
                  <a:cubicBezTo>
                    <a:pt x="1" y="1710"/>
                    <a:pt x="526" y="2138"/>
                    <a:pt x="1072" y="2138"/>
                  </a:cubicBezTo>
                  <a:cubicBezTo>
                    <a:pt x="1333" y="2138"/>
                    <a:pt x="1598" y="2040"/>
                    <a:pt x="1814" y="1822"/>
                  </a:cubicBezTo>
                  <a:cubicBezTo>
                    <a:pt x="2488" y="1155"/>
                    <a:pt x="2017" y="1"/>
                    <a:pt x="1066"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834" name="Google Shape;2834;p104"/>
            <p:cNvSpPr/>
            <p:nvPr/>
          </p:nvSpPr>
          <p:spPr>
            <a:xfrm>
              <a:off x="6941850" y="1571400"/>
              <a:ext cx="62225" cy="53250"/>
            </a:xfrm>
            <a:custGeom>
              <a:avLst/>
              <a:gdLst/>
              <a:ahLst/>
              <a:cxnLst/>
              <a:rect l="l" t="t" r="r" b="b"/>
              <a:pathLst>
                <a:path w="2489" h="2130" extrusionOk="0">
                  <a:moveTo>
                    <a:pt x="1066" y="1"/>
                  </a:moveTo>
                  <a:cubicBezTo>
                    <a:pt x="472" y="1"/>
                    <a:pt x="1" y="472"/>
                    <a:pt x="1" y="1066"/>
                  </a:cubicBezTo>
                  <a:cubicBezTo>
                    <a:pt x="1" y="1703"/>
                    <a:pt x="525" y="2129"/>
                    <a:pt x="1071" y="2129"/>
                  </a:cubicBezTo>
                  <a:cubicBezTo>
                    <a:pt x="1332" y="2129"/>
                    <a:pt x="1598" y="2032"/>
                    <a:pt x="1814" y="1813"/>
                  </a:cubicBezTo>
                  <a:cubicBezTo>
                    <a:pt x="2488" y="1147"/>
                    <a:pt x="2017" y="1"/>
                    <a:pt x="1066"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835" name="Google Shape;2835;p104"/>
            <p:cNvSpPr/>
            <p:nvPr/>
          </p:nvSpPr>
          <p:spPr>
            <a:xfrm>
              <a:off x="6941850" y="1418975"/>
              <a:ext cx="62225" cy="53350"/>
            </a:xfrm>
            <a:custGeom>
              <a:avLst/>
              <a:gdLst/>
              <a:ahLst/>
              <a:cxnLst/>
              <a:rect l="l" t="t" r="r" b="b"/>
              <a:pathLst>
                <a:path w="2489" h="2134" extrusionOk="0">
                  <a:moveTo>
                    <a:pt x="1066" y="1"/>
                  </a:moveTo>
                  <a:cubicBezTo>
                    <a:pt x="472" y="1"/>
                    <a:pt x="1" y="480"/>
                    <a:pt x="1" y="1065"/>
                  </a:cubicBezTo>
                  <a:cubicBezTo>
                    <a:pt x="1" y="1709"/>
                    <a:pt x="526" y="2133"/>
                    <a:pt x="1072" y="2133"/>
                  </a:cubicBezTo>
                  <a:cubicBezTo>
                    <a:pt x="1333" y="2133"/>
                    <a:pt x="1598" y="2037"/>
                    <a:pt x="1814" y="1822"/>
                  </a:cubicBezTo>
                  <a:cubicBezTo>
                    <a:pt x="2488" y="1147"/>
                    <a:pt x="2017" y="1"/>
                    <a:pt x="1066"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836" name="Google Shape;2836;p104"/>
            <p:cNvSpPr/>
            <p:nvPr/>
          </p:nvSpPr>
          <p:spPr>
            <a:xfrm>
              <a:off x="6941850" y="1342750"/>
              <a:ext cx="62225" cy="53450"/>
            </a:xfrm>
            <a:custGeom>
              <a:avLst/>
              <a:gdLst/>
              <a:ahLst/>
              <a:cxnLst/>
              <a:rect l="l" t="t" r="r" b="b"/>
              <a:pathLst>
                <a:path w="2489" h="2138" extrusionOk="0">
                  <a:moveTo>
                    <a:pt x="1066" y="1"/>
                  </a:moveTo>
                  <a:cubicBezTo>
                    <a:pt x="472" y="1"/>
                    <a:pt x="1" y="481"/>
                    <a:pt x="1" y="1066"/>
                  </a:cubicBezTo>
                  <a:cubicBezTo>
                    <a:pt x="1" y="1710"/>
                    <a:pt x="526" y="2138"/>
                    <a:pt x="1072" y="2138"/>
                  </a:cubicBezTo>
                  <a:cubicBezTo>
                    <a:pt x="1333" y="2138"/>
                    <a:pt x="1598" y="2040"/>
                    <a:pt x="1814" y="1822"/>
                  </a:cubicBezTo>
                  <a:cubicBezTo>
                    <a:pt x="2488" y="1147"/>
                    <a:pt x="2017" y="1"/>
                    <a:pt x="1066"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837" name="Google Shape;2837;p104"/>
            <p:cNvSpPr/>
            <p:nvPr/>
          </p:nvSpPr>
          <p:spPr>
            <a:xfrm>
              <a:off x="6865650" y="1723625"/>
              <a:ext cx="62200" cy="53350"/>
            </a:xfrm>
            <a:custGeom>
              <a:avLst/>
              <a:gdLst/>
              <a:ahLst/>
              <a:cxnLst/>
              <a:rect l="l" t="t" r="r" b="b"/>
              <a:pathLst>
                <a:path w="2488" h="2134" extrusionOk="0">
                  <a:moveTo>
                    <a:pt x="1065" y="1"/>
                  </a:moveTo>
                  <a:cubicBezTo>
                    <a:pt x="480" y="1"/>
                    <a:pt x="0" y="480"/>
                    <a:pt x="0" y="1065"/>
                  </a:cubicBezTo>
                  <a:cubicBezTo>
                    <a:pt x="0" y="1709"/>
                    <a:pt x="526" y="2133"/>
                    <a:pt x="1074" y="2133"/>
                  </a:cubicBezTo>
                  <a:cubicBezTo>
                    <a:pt x="1336" y="2133"/>
                    <a:pt x="1603" y="2037"/>
                    <a:pt x="1821" y="1822"/>
                  </a:cubicBezTo>
                  <a:cubicBezTo>
                    <a:pt x="2488" y="1147"/>
                    <a:pt x="2016" y="1"/>
                    <a:pt x="1065"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838" name="Google Shape;2838;p104"/>
            <p:cNvSpPr/>
            <p:nvPr/>
          </p:nvSpPr>
          <p:spPr>
            <a:xfrm>
              <a:off x="6865650" y="1647400"/>
              <a:ext cx="62200" cy="53450"/>
            </a:xfrm>
            <a:custGeom>
              <a:avLst/>
              <a:gdLst/>
              <a:ahLst/>
              <a:cxnLst/>
              <a:rect l="l" t="t" r="r" b="b"/>
              <a:pathLst>
                <a:path w="2488" h="2138" extrusionOk="0">
                  <a:moveTo>
                    <a:pt x="1065" y="1"/>
                  </a:moveTo>
                  <a:cubicBezTo>
                    <a:pt x="480" y="9"/>
                    <a:pt x="0" y="481"/>
                    <a:pt x="0" y="1066"/>
                  </a:cubicBezTo>
                  <a:cubicBezTo>
                    <a:pt x="0" y="1710"/>
                    <a:pt x="525" y="2138"/>
                    <a:pt x="1074" y="2138"/>
                  </a:cubicBezTo>
                  <a:cubicBezTo>
                    <a:pt x="1336" y="2138"/>
                    <a:pt x="1603" y="2040"/>
                    <a:pt x="1821" y="1822"/>
                  </a:cubicBezTo>
                  <a:cubicBezTo>
                    <a:pt x="2488" y="1147"/>
                    <a:pt x="2016" y="1"/>
                    <a:pt x="1065"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839" name="Google Shape;2839;p104"/>
            <p:cNvSpPr/>
            <p:nvPr/>
          </p:nvSpPr>
          <p:spPr>
            <a:xfrm>
              <a:off x="6865650" y="1571400"/>
              <a:ext cx="62200" cy="53250"/>
            </a:xfrm>
            <a:custGeom>
              <a:avLst/>
              <a:gdLst/>
              <a:ahLst/>
              <a:cxnLst/>
              <a:rect l="l" t="t" r="r" b="b"/>
              <a:pathLst>
                <a:path w="2488" h="2130" extrusionOk="0">
                  <a:moveTo>
                    <a:pt x="1065" y="1"/>
                  </a:moveTo>
                  <a:cubicBezTo>
                    <a:pt x="480" y="1"/>
                    <a:pt x="0" y="472"/>
                    <a:pt x="0" y="1066"/>
                  </a:cubicBezTo>
                  <a:cubicBezTo>
                    <a:pt x="0" y="1703"/>
                    <a:pt x="525" y="2129"/>
                    <a:pt x="1073" y="2129"/>
                  </a:cubicBezTo>
                  <a:cubicBezTo>
                    <a:pt x="1335" y="2129"/>
                    <a:pt x="1603" y="2032"/>
                    <a:pt x="1821" y="1813"/>
                  </a:cubicBezTo>
                  <a:cubicBezTo>
                    <a:pt x="2488" y="1147"/>
                    <a:pt x="2016" y="1"/>
                    <a:pt x="1065"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840" name="Google Shape;2840;p104"/>
            <p:cNvSpPr/>
            <p:nvPr/>
          </p:nvSpPr>
          <p:spPr>
            <a:xfrm>
              <a:off x="6865650" y="1342750"/>
              <a:ext cx="62200" cy="53450"/>
            </a:xfrm>
            <a:custGeom>
              <a:avLst/>
              <a:gdLst/>
              <a:ahLst/>
              <a:cxnLst/>
              <a:rect l="l" t="t" r="r" b="b"/>
              <a:pathLst>
                <a:path w="2488" h="2138" extrusionOk="0">
                  <a:moveTo>
                    <a:pt x="1065" y="1"/>
                  </a:moveTo>
                  <a:cubicBezTo>
                    <a:pt x="480" y="1"/>
                    <a:pt x="0" y="481"/>
                    <a:pt x="0" y="1066"/>
                  </a:cubicBezTo>
                  <a:cubicBezTo>
                    <a:pt x="0" y="1710"/>
                    <a:pt x="525" y="2138"/>
                    <a:pt x="1074" y="2138"/>
                  </a:cubicBezTo>
                  <a:cubicBezTo>
                    <a:pt x="1336" y="2138"/>
                    <a:pt x="1603" y="2040"/>
                    <a:pt x="1821" y="1822"/>
                  </a:cubicBezTo>
                  <a:cubicBezTo>
                    <a:pt x="2488" y="1147"/>
                    <a:pt x="2016" y="1"/>
                    <a:pt x="1065"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841" name="Google Shape;2841;p104"/>
            <p:cNvSpPr/>
            <p:nvPr/>
          </p:nvSpPr>
          <p:spPr>
            <a:xfrm>
              <a:off x="6789225" y="1799850"/>
              <a:ext cx="62425" cy="53325"/>
            </a:xfrm>
            <a:custGeom>
              <a:avLst/>
              <a:gdLst/>
              <a:ahLst/>
              <a:cxnLst/>
              <a:rect l="l" t="t" r="r" b="b"/>
              <a:pathLst>
                <a:path w="2497" h="2133" extrusionOk="0">
                  <a:moveTo>
                    <a:pt x="1074" y="0"/>
                  </a:moveTo>
                  <a:cubicBezTo>
                    <a:pt x="480" y="0"/>
                    <a:pt x="9" y="480"/>
                    <a:pt x="1" y="1065"/>
                  </a:cubicBezTo>
                  <a:cubicBezTo>
                    <a:pt x="1" y="1709"/>
                    <a:pt x="526" y="2133"/>
                    <a:pt x="1075" y="2133"/>
                  </a:cubicBezTo>
                  <a:cubicBezTo>
                    <a:pt x="1336" y="2133"/>
                    <a:pt x="1604" y="2036"/>
                    <a:pt x="1822" y="1821"/>
                  </a:cubicBezTo>
                  <a:cubicBezTo>
                    <a:pt x="2496" y="1146"/>
                    <a:pt x="2025" y="0"/>
                    <a:pt x="1074"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842" name="Google Shape;2842;p104"/>
            <p:cNvSpPr/>
            <p:nvPr/>
          </p:nvSpPr>
          <p:spPr>
            <a:xfrm>
              <a:off x="6789225" y="1723625"/>
              <a:ext cx="62425" cy="53350"/>
            </a:xfrm>
            <a:custGeom>
              <a:avLst/>
              <a:gdLst/>
              <a:ahLst/>
              <a:cxnLst/>
              <a:rect l="l" t="t" r="r" b="b"/>
              <a:pathLst>
                <a:path w="2497" h="2134" extrusionOk="0">
                  <a:moveTo>
                    <a:pt x="1074" y="1"/>
                  </a:moveTo>
                  <a:cubicBezTo>
                    <a:pt x="480" y="1"/>
                    <a:pt x="9" y="480"/>
                    <a:pt x="1" y="1065"/>
                  </a:cubicBezTo>
                  <a:cubicBezTo>
                    <a:pt x="1" y="1709"/>
                    <a:pt x="526" y="2133"/>
                    <a:pt x="1075" y="2133"/>
                  </a:cubicBezTo>
                  <a:cubicBezTo>
                    <a:pt x="1336" y="2133"/>
                    <a:pt x="1604" y="2037"/>
                    <a:pt x="1822" y="1822"/>
                  </a:cubicBezTo>
                  <a:cubicBezTo>
                    <a:pt x="2496" y="1147"/>
                    <a:pt x="2025" y="1"/>
                    <a:pt x="1074"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843" name="Google Shape;2843;p104"/>
            <p:cNvSpPr/>
            <p:nvPr/>
          </p:nvSpPr>
          <p:spPr>
            <a:xfrm>
              <a:off x="6789225" y="1571400"/>
              <a:ext cx="62425" cy="53250"/>
            </a:xfrm>
            <a:custGeom>
              <a:avLst/>
              <a:gdLst/>
              <a:ahLst/>
              <a:cxnLst/>
              <a:rect l="l" t="t" r="r" b="b"/>
              <a:pathLst>
                <a:path w="2497" h="2130" extrusionOk="0">
                  <a:moveTo>
                    <a:pt x="1074" y="1"/>
                  </a:moveTo>
                  <a:cubicBezTo>
                    <a:pt x="480" y="1"/>
                    <a:pt x="9" y="472"/>
                    <a:pt x="1" y="1066"/>
                  </a:cubicBezTo>
                  <a:cubicBezTo>
                    <a:pt x="1" y="1703"/>
                    <a:pt x="525" y="2129"/>
                    <a:pt x="1073" y="2129"/>
                  </a:cubicBezTo>
                  <a:cubicBezTo>
                    <a:pt x="1335" y="2129"/>
                    <a:pt x="1603" y="2032"/>
                    <a:pt x="1822" y="1813"/>
                  </a:cubicBezTo>
                  <a:cubicBezTo>
                    <a:pt x="2496" y="1147"/>
                    <a:pt x="2025" y="1"/>
                    <a:pt x="1074"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844" name="Google Shape;2844;p104"/>
            <p:cNvSpPr/>
            <p:nvPr/>
          </p:nvSpPr>
          <p:spPr>
            <a:xfrm>
              <a:off x="6789225" y="1342750"/>
              <a:ext cx="62425" cy="53450"/>
            </a:xfrm>
            <a:custGeom>
              <a:avLst/>
              <a:gdLst/>
              <a:ahLst/>
              <a:cxnLst/>
              <a:rect l="l" t="t" r="r" b="b"/>
              <a:pathLst>
                <a:path w="2497" h="2138" extrusionOk="0">
                  <a:moveTo>
                    <a:pt x="1074" y="1"/>
                  </a:moveTo>
                  <a:cubicBezTo>
                    <a:pt x="480" y="1"/>
                    <a:pt x="9" y="481"/>
                    <a:pt x="1" y="1066"/>
                  </a:cubicBezTo>
                  <a:cubicBezTo>
                    <a:pt x="1" y="1710"/>
                    <a:pt x="526" y="2138"/>
                    <a:pt x="1074" y="2138"/>
                  </a:cubicBezTo>
                  <a:cubicBezTo>
                    <a:pt x="1336" y="2138"/>
                    <a:pt x="1604" y="2040"/>
                    <a:pt x="1822" y="1822"/>
                  </a:cubicBezTo>
                  <a:cubicBezTo>
                    <a:pt x="2496" y="1155"/>
                    <a:pt x="2025" y="1"/>
                    <a:pt x="1074"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845" name="Google Shape;2845;p104"/>
            <p:cNvSpPr/>
            <p:nvPr/>
          </p:nvSpPr>
          <p:spPr>
            <a:xfrm>
              <a:off x="6713225" y="1876050"/>
              <a:ext cx="62200" cy="53275"/>
            </a:xfrm>
            <a:custGeom>
              <a:avLst/>
              <a:gdLst/>
              <a:ahLst/>
              <a:cxnLst/>
              <a:rect l="l" t="t" r="r" b="b"/>
              <a:pathLst>
                <a:path w="2488" h="2131" extrusionOk="0">
                  <a:moveTo>
                    <a:pt x="1065" y="1"/>
                  </a:moveTo>
                  <a:cubicBezTo>
                    <a:pt x="472" y="1"/>
                    <a:pt x="0" y="472"/>
                    <a:pt x="0" y="1066"/>
                  </a:cubicBezTo>
                  <a:cubicBezTo>
                    <a:pt x="0" y="1707"/>
                    <a:pt x="522" y="2131"/>
                    <a:pt x="1067" y="2131"/>
                  </a:cubicBezTo>
                  <a:cubicBezTo>
                    <a:pt x="1329" y="2131"/>
                    <a:pt x="1596" y="2033"/>
                    <a:pt x="1813" y="1813"/>
                  </a:cubicBezTo>
                  <a:cubicBezTo>
                    <a:pt x="2488" y="1147"/>
                    <a:pt x="2008" y="1"/>
                    <a:pt x="1065"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846" name="Google Shape;2846;p104"/>
            <p:cNvSpPr/>
            <p:nvPr/>
          </p:nvSpPr>
          <p:spPr>
            <a:xfrm>
              <a:off x="6713225" y="1799850"/>
              <a:ext cx="62200" cy="53325"/>
            </a:xfrm>
            <a:custGeom>
              <a:avLst/>
              <a:gdLst/>
              <a:ahLst/>
              <a:cxnLst/>
              <a:rect l="l" t="t" r="r" b="b"/>
              <a:pathLst>
                <a:path w="2488" h="2133" extrusionOk="0">
                  <a:moveTo>
                    <a:pt x="1065" y="0"/>
                  </a:moveTo>
                  <a:cubicBezTo>
                    <a:pt x="472" y="0"/>
                    <a:pt x="0" y="480"/>
                    <a:pt x="0" y="1065"/>
                  </a:cubicBezTo>
                  <a:cubicBezTo>
                    <a:pt x="0" y="1709"/>
                    <a:pt x="525" y="2133"/>
                    <a:pt x="1072" y="2133"/>
                  </a:cubicBezTo>
                  <a:cubicBezTo>
                    <a:pt x="1332" y="2133"/>
                    <a:pt x="1598" y="2036"/>
                    <a:pt x="1813" y="1821"/>
                  </a:cubicBezTo>
                  <a:cubicBezTo>
                    <a:pt x="2488" y="1146"/>
                    <a:pt x="2008" y="0"/>
                    <a:pt x="1065"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847" name="Google Shape;2847;p104"/>
            <p:cNvSpPr/>
            <p:nvPr/>
          </p:nvSpPr>
          <p:spPr>
            <a:xfrm>
              <a:off x="6713225" y="1647400"/>
              <a:ext cx="62200" cy="53450"/>
            </a:xfrm>
            <a:custGeom>
              <a:avLst/>
              <a:gdLst/>
              <a:ahLst/>
              <a:cxnLst/>
              <a:rect l="l" t="t" r="r" b="b"/>
              <a:pathLst>
                <a:path w="2488" h="2138" extrusionOk="0">
                  <a:moveTo>
                    <a:pt x="1065" y="1"/>
                  </a:moveTo>
                  <a:cubicBezTo>
                    <a:pt x="472" y="9"/>
                    <a:pt x="0" y="481"/>
                    <a:pt x="0" y="1066"/>
                  </a:cubicBezTo>
                  <a:cubicBezTo>
                    <a:pt x="0" y="1710"/>
                    <a:pt x="525" y="2138"/>
                    <a:pt x="1071" y="2138"/>
                  </a:cubicBezTo>
                  <a:cubicBezTo>
                    <a:pt x="1332" y="2138"/>
                    <a:pt x="1598" y="2040"/>
                    <a:pt x="1813" y="1822"/>
                  </a:cubicBezTo>
                  <a:cubicBezTo>
                    <a:pt x="2488" y="1147"/>
                    <a:pt x="2008" y="1"/>
                    <a:pt x="1065"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848" name="Google Shape;2848;p104"/>
            <p:cNvSpPr/>
            <p:nvPr/>
          </p:nvSpPr>
          <p:spPr>
            <a:xfrm>
              <a:off x="6713225" y="1571400"/>
              <a:ext cx="62200" cy="53250"/>
            </a:xfrm>
            <a:custGeom>
              <a:avLst/>
              <a:gdLst/>
              <a:ahLst/>
              <a:cxnLst/>
              <a:rect l="l" t="t" r="r" b="b"/>
              <a:pathLst>
                <a:path w="2488" h="2130" extrusionOk="0">
                  <a:moveTo>
                    <a:pt x="1065" y="1"/>
                  </a:moveTo>
                  <a:cubicBezTo>
                    <a:pt x="472" y="1"/>
                    <a:pt x="0" y="472"/>
                    <a:pt x="0" y="1066"/>
                  </a:cubicBezTo>
                  <a:cubicBezTo>
                    <a:pt x="0" y="1703"/>
                    <a:pt x="525" y="2129"/>
                    <a:pt x="1070" y="2129"/>
                  </a:cubicBezTo>
                  <a:cubicBezTo>
                    <a:pt x="1331" y="2129"/>
                    <a:pt x="1597" y="2032"/>
                    <a:pt x="1813" y="1813"/>
                  </a:cubicBezTo>
                  <a:cubicBezTo>
                    <a:pt x="2488" y="1147"/>
                    <a:pt x="2008" y="1"/>
                    <a:pt x="1065"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849" name="Google Shape;2849;p104"/>
            <p:cNvSpPr/>
            <p:nvPr/>
          </p:nvSpPr>
          <p:spPr>
            <a:xfrm>
              <a:off x="6713225" y="1342750"/>
              <a:ext cx="62200" cy="53450"/>
            </a:xfrm>
            <a:custGeom>
              <a:avLst/>
              <a:gdLst/>
              <a:ahLst/>
              <a:cxnLst/>
              <a:rect l="l" t="t" r="r" b="b"/>
              <a:pathLst>
                <a:path w="2488" h="2138" extrusionOk="0">
                  <a:moveTo>
                    <a:pt x="1065" y="1"/>
                  </a:moveTo>
                  <a:cubicBezTo>
                    <a:pt x="472" y="1"/>
                    <a:pt x="0" y="481"/>
                    <a:pt x="0" y="1066"/>
                  </a:cubicBezTo>
                  <a:cubicBezTo>
                    <a:pt x="0" y="1710"/>
                    <a:pt x="525" y="2138"/>
                    <a:pt x="1071" y="2138"/>
                  </a:cubicBezTo>
                  <a:cubicBezTo>
                    <a:pt x="1332" y="2138"/>
                    <a:pt x="1598" y="2040"/>
                    <a:pt x="1813" y="1822"/>
                  </a:cubicBezTo>
                  <a:cubicBezTo>
                    <a:pt x="2488" y="1147"/>
                    <a:pt x="2008" y="1"/>
                    <a:pt x="1065"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850" name="Google Shape;2850;p104"/>
            <p:cNvSpPr/>
            <p:nvPr/>
          </p:nvSpPr>
          <p:spPr>
            <a:xfrm>
              <a:off x="6637000" y="1647400"/>
              <a:ext cx="62225" cy="53450"/>
            </a:xfrm>
            <a:custGeom>
              <a:avLst/>
              <a:gdLst/>
              <a:ahLst/>
              <a:cxnLst/>
              <a:rect l="l" t="t" r="r" b="b"/>
              <a:pathLst>
                <a:path w="2489" h="2138" extrusionOk="0">
                  <a:moveTo>
                    <a:pt x="1066" y="1"/>
                  </a:moveTo>
                  <a:cubicBezTo>
                    <a:pt x="480" y="1"/>
                    <a:pt x="1" y="481"/>
                    <a:pt x="1" y="1066"/>
                  </a:cubicBezTo>
                  <a:cubicBezTo>
                    <a:pt x="1" y="1710"/>
                    <a:pt x="526" y="2138"/>
                    <a:pt x="1072" y="2138"/>
                  </a:cubicBezTo>
                  <a:cubicBezTo>
                    <a:pt x="1333" y="2138"/>
                    <a:pt x="1598" y="2040"/>
                    <a:pt x="1813" y="1822"/>
                  </a:cubicBezTo>
                  <a:cubicBezTo>
                    <a:pt x="2488" y="1155"/>
                    <a:pt x="2017" y="1"/>
                    <a:pt x="1066"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851" name="Google Shape;2851;p104"/>
            <p:cNvSpPr/>
            <p:nvPr/>
          </p:nvSpPr>
          <p:spPr>
            <a:xfrm>
              <a:off x="6637000" y="1342750"/>
              <a:ext cx="62225" cy="53450"/>
            </a:xfrm>
            <a:custGeom>
              <a:avLst/>
              <a:gdLst/>
              <a:ahLst/>
              <a:cxnLst/>
              <a:rect l="l" t="t" r="r" b="b"/>
              <a:pathLst>
                <a:path w="2489" h="2138" extrusionOk="0">
                  <a:moveTo>
                    <a:pt x="1066" y="1"/>
                  </a:moveTo>
                  <a:cubicBezTo>
                    <a:pt x="480" y="1"/>
                    <a:pt x="1" y="481"/>
                    <a:pt x="1" y="1066"/>
                  </a:cubicBezTo>
                  <a:cubicBezTo>
                    <a:pt x="1" y="1710"/>
                    <a:pt x="526" y="2138"/>
                    <a:pt x="1072" y="2138"/>
                  </a:cubicBezTo>
                  <a:cubicBezTo>
                    <a:pt x="1333" y="2138"/>
                    <a:pt x="1598" y="2040"/>
                    <a:pt x="1813" y="1822"/>
                  </a:cubicBezTo>
                  <a:cubicBezTo>
                    <a:pt x="2488" y="1147"/>
                    <a:pt x="2017" y="1"/>
                    <a:pt x="1066"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852" name="Google Shape;2852;p104"/>
            <p:cNvSpPr/>
            <p:nvPr/>
          </p:nvSpPr>
          <p:spPr>
            <a:xfrm>
              <a:off x="6560800" y="1647400"/>
              <a:ext cx="62200" cy="53450"/>
            </a:xfrm>
            <a:custGeom>
              <a:avLst/>
              <a:gdLst/>
              <a:ahLst/>
              <a:cxnLst/>
              <a:rect l="l" t="t" r="r" b="b"/>
              <a:pathLst>
                <a:path w="2488" h="2138" extrusionOk="0">
                  <a:moveTo>
                    <a:pt x="1065" y="1"/>
                  </a:moveTo>
                  <a:cubicBezTo>
                    <a:pt x="480" y="1"/>
                    <a:pt x="0" y="481"/>
                    <a:pt x="0" y="1066"/>
                  </a:cubicBezTo>
                  <a:cubicBezTo>
                    <a:pt x="0" y="1710"/>
                    <a:pt x="525" y="2138"/>
                    <a:pt x="1074" y="2138"/>
                  </a:cubicBezTo>
                  <a:cubicBezTo>
                    <a:pt x="1336" y="2138"/>
                    <a:pt x="1603" y="2040"/>
                    <a:pt x="1821" y="1822"/>
                  </a:cubicBezTo>
                  <a:cubicBezTo>
                    <a:pt x="2488" y="1147"/>
                    <a:pt x="2016" y="1"/>
                    <a:pt x="1065"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853" name="Google Shape;2853;p104"/>
            <p:cNvSpPr/>
            <p:nvPr/>
          </p:nvSpPr>
          <p:spPr>
            <a:xfrm>
              <a:off x="6560800" y="1342750"/>
              <a:ext cx="62200" cy="53450"/>
            </a:xfrm>
            <a:custGeom>
              <a:avLst/>
              <a:gdLst/>
              <a:ahLst/>
              <a:cxnLst/>
              <a:rect l="l" t="t" r="r" b="b"/>
              <a:pathLst>
                <a:path w="2488" h="2138" extrusionOk="0">
                  <a:moveTo>
                    <a:pt x="1065" y="1"/>
                  </a:moveTo>
                  <a:cubicBezTo>
                    <a:pt x="480" y="1"/>
                    <a:pt x="0" y="481"/>
                    <a:pt x="0" y="1066"/>
                  </a:cubicBezTo>
                  <a:cubicBezTo>
                    <a:pt x="0" y="1710"/>
                    <a:pt x="525" y="2138"/>
                    <a:pt x="1074" y="2138"/>
                  </a:cubicBezTo>
                  <a:cubicBezTo>
                    <a:pt x="1336" y="2138"/>
                    <a:pt x="1603" y="2040"/>
                    <a:pt x="1821" y="1822"/>
                  </a:cubicBezTo>
                  <a:cubicBezTo>
                    <a:pt x="2488" y="1147"/>
                    <a:pt x="2016" y="1"/>
                    <a:pt x="1065"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854" name="Google Shape;2854;p104"/>
            <p:cNvSpPr/>
            <p:nvPr/>
          </p:nvSpPr>
          <p:spPr>
            <a:xfrm>
              <a:off x="6560800" y="1266550"/>
              <a:ext cx="62200" cy="53450"/>
            </a:xfrm>
            <a:custGeom>
              <a:avLst/>
              <a:gdLst/>
              <a:ahLst/>
              <a:cxnLst/>
              <a:rect l="l" t="t" r="r" b="b"/>
              <a:pathLst>
                <a:path w="2488" h="2138" extrusionOk="0">
                  <a:moveTo>
                    <a:pt x="1065" y="0"/>
                  </a:moveTo>
                  <a:cubicBezTo>
                    <a:pt x="480" y="9"/>
                    <a:pt x="0" y="480"/>
                    <a:pt x="0" y="1074"/>
                  </a:cubicBezTo>
                  <a:cubicBezTo>
                    <a:pt x="0" y="1711"/>
                    <a:pt x="524" y="2137"/>
                    <a:pt x="1073" y="2137"/>
                  </a:cubicBezTo>
                  <a:cubicBezTo>
                    <a:pt x="1335" y="2137"/>
                    <a:pt x="1603" y="2040"/>
                    <a:pt x="1821" y="1821"/>
                  </a:cubicBezTo>
                  <a:cubicBezTo>
                    <a:pt x="2488" y="1155"/>
                    <a:pt x="2016" y="0"/>
                    <a:pt x="1065"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855" name="Google Shape;2855;p104"/>
            <p:cNvSpPr/>
            <p:nvPr/>
          </p:nvSpPr>
          <p:spPr>
            <a:xfrm>
              <a:off x="6484575" y="1647400"/>
              <a:ext cx="62425" cy="53450"/>
            </a:xfrm>
            <a:custGeom>
              <a:avLst/>
              <a:gdLst/>
              <a:ahLst/>
              <a:cxnLst/>
              <a:rect l="l" t="t" r="r" b="b"/>
              <a:pathLst>
                <a:path w="2497" h="2138" extrusionOk="0">
                  <a:moveTo>
                    <a:pt x="1065" y="1"/>
                  </a:moveTo>
                  <a:cubicBezTo>
                    <a:pt x="480" y="9"/>
                    <a:pt x="1" y="481"/>
                    <a:pt x="1" y="1066"/>
                  </a:cubicBezTo>
                  <a:cubicBezTo>
                    <a:pt x="1" y="1710"/>
                    <a:pt x="526" y="2138"/>
                    <a:pt x="1074" y="2138"/>
                  </a:cubicBezTo>
                  <a:cubicBezTo>
                    <a:pt x="1336" y="2138"/>
                    <a:pt x="1603" y="2040"/>
                    <a:pt x="1822" y="1822"/>
                  </a:cubicBezTo>
                  <a:cubicBezTo>
                    <a:pt x="2496" y="1147"/>
                    <a:pt x="2017" y="1"/>
                    <a:pt x="1065"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856" name="Google Shape;2856;p104"/>
            <p:cNvSpPr/>
            <p:nvPr/>
          </p:nvSpPr>
          <p:spPr>
            <a:xfrm>
              <a:off x="6484575" y="1266550"/>
              <a:ext cx="62425" cy="53450"/>
            </a:xfrm>
            <a:custGeom>
              <a:avLst/>
              <a:gdLst/>
              <a:ahLst/>
              <a:cxnLst/>
              <a:rect l="l" t="t" r="r" b="b"/>
              <a:pathLst>
                <a:path w="2497" h="2138" extrusionOk="0">
                  <a:moveTo>
                    <a:pt x="1065" y="0"/>
                  </a:moveTo>
                  <a:cubicBezTo>
                    <a:pt x="480" y="9"/>
                    <a:pt x="1" y="480"/>
                    <a:pt x="1" y="1074"/>
                  </a:cubicBezTo>
                  <a:cubicBezTo>
                    <a:pt x="1" y="1711"/>
                    <a:pt x="525" y="2137"/>
                    <a:pt x="1073" y="2137"/>
                  </a:cubicBezTo>
                  <a:cubicBezTo>
                    <a:pt x="1335" y="2137"/>
                    <a:pt x="1603" y="2040"/>
                    <a:pt x="1822" y="1821"/>
                  </a:cubicBezTo>
                  <a:cubicBezTo>
                    <a:pt x="2496" y="1155"/>
                    <a:pt x="2017" y="0"/>
                    <a:pt x="1065"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857" name="Google Shape;2857;p104"/>
            <p:cNvSpPr/>
            <p:nvPr/>
          </p:nvSpPr>
          <p:spPr>
            <a:xfrm>
              <a:off x="6408350" y="2333125"/>
              <a:ext cx="62425" cy="53450"/>
            </a:xfrm>
            <a:custGeom>
              <a:avLst/>
              <a:gdLst/>
              <a:ahLst/>
              <a:cxnLst/>
              <a:rect l="l" t="t" r="r" b="b"/>
              <a:pathLst>
                <a:path w="2497" h="2138" extrusionOk="0">
                  <a:moveTo>
                    <a:pt x="1074" y="1"/>
                  </a:moveTo>
                  <a:cubicBezTo>
                    <a:pt x="481" y="1"/>
                    <a:pt x="1" y="480"/>
                    <a:pt x="1" y="1066"/>
                  </a:cubicBezTo>
                  <a:cubicBezTo>
                    <a:pt x="1" y="1709"/>
                    <a:pt x="526" y="2137"/>
                    <a:pt x="1075" y="2137"/>
                  </a:cubicBezTo>
                  <a:cubicBezTo>
                    <a:pt x="1337" y="2137"/>
                    <a:pt x="1604" y="2040"/>
                    <a:pt x="1822" y="1822"/>
                  </a:cubicBezTo>
                  <a:cubicBezTo>
                    <a:pt x="2497" y="1147"/>
                    <a:pt x="2017" y="1"/>
                    <a:pt x="1074"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858" name="Google Shape;2858;p104"/>
            <p:cNvSpPr/>
            <p:nvPr/>
          </p:nvSpPr>
          <p:spPr>
            <a:xfrm>
              <a:off x="6408350" y="2256925"/>
              <a:ext cx="62575" cy="53425"/>
            </a:xfrm>
            <a:custGeom>
              <a:avLst/>
              <a:gdLst/>
              <a:ahLst/>
              <a:cxnLst/>
              <a:rect l="l" t="t" r="r" b="b"/>
              <a:pathLst>
                <a:path w="2503" h="2137" extrusionOk="0">
                  <a:moveTo>
                    <a:pt x="1084" y="0"/>
                  </a:moveTo>
                  <a:cubicBezTo>
                    <a:pt x="1081" y="0"/>
                    <a:pt x="1077" y="0"/>
                    <a:pt x="1074" y="0"/>
                  </a:cubicBezTo>
                  <a:cubicBezTo>
                    <a:pt x="481" y="0"/>
                    <a:pt x="1" y="480"/>
                    <a:pt x="1" y="1065"/>
                  </a:cubicBezTo>
                  <a:cubicBezTo>
                    <a:pt x="1" y="1709"/>
                    <a:pt x="530" y="2137"/>
                    <a:pt x="1081" y="2137"/>
                  </a:cubicBezTo>
                  <a:cubicBezTo>
                    <a:pt x="1344" y="2137"/>
                    <a:pt x="1612" y="2039"/>
                    <a:pt x="1830" y="1821"/>
                  </a:cubicBezTo>
                  <a:cubicBezTo>
                    <a:pt x="2502" y="1149"/>
                    <a:pt x="2029" y="0"/>
                    <a:pt x="1084"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859" name="Google Shape;2859;p104"/>
            <p:cNvSpPr/>
            <p:nvPr/>
          </p:nvSpPr>
          <p:spPr>
            <a:xfrm>
              <a:off x="6408350" y="2104500"/>
              <a:ext cx="62425" cy="53325"/>
            </a:xfrm>
            <a:custGeom>
              <a:avLst/>
              <a:gdLst/>
              <a:ahLst/>
              <a:cxnLst/>
              <a:rect l="l" t="t" r="r" b="b"/>
              <a:pathLst>
                <a:path w="2497" h="2133" extrusionOk="0">
                  <a:moveTo>
                    <a:pt x="1074" y="0"/>
                  </a:moveTo>
                  <a:cubicBezTo>
                    <a:pt x="481" y="0"/>
                    <a:pt x="9" y="480"/>
                    <a:pt x="1" y="1065"/>
                  </a:cubicBezTo>
                  <a:cubicBezTo>
                    <a:pt x="1" y="1709"/>
                    <a:pt x="526" y="2133"/>
                    <a:pt x="1075" y="2133"/>
                  </a:cubicBezTo>
                  <a:cubicBezTo>
                    <a:pt x="1337" y="2133"/>
                    <a:pt x="1604" y="2036"/>
                    <a:pt x="1822" y="1821"/>
                  </a:cubicBezTo>
                  <a:cubicBezTo>
                    <a:pt x="2497" y="1146"/>
                    <a:pt x="2017" y="0"/>
                    <a:pt x="1074"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860" name="Google Shape;2860;p104"/>
            <p:cNvSpPr/>
            <p:nvPr/>
          </p:nvSpPr>
          <p:spPr>
            <a:xfrm>
              <a:off x="6408350" y="1799850"/>
              <a:ext cx="62425" cy="53325"/>
            </a:xfrm>
            <a:custGeom>
              <a:avLst/>
              <a:gdLst/>
              <a:ahLst/>
              <a:cxnLst/>
              <a:rect l="l" t="t" r="r" b="b"/>
              <a:pathLst>
                <a:path w="2497" h="2133" extrusionOk="0">
                  <a:moveTo>
                    <a:pt x="1074" y="0"/>
                  </a:moveTo>
                  <a:cubicBezTo>
                    <a:pt x="481" y="0"/>
                    <a:pt x="9" y="480"/>
                    <a:pt x="1" y="1065"/>
                  </a:cubicBezTo>
                  <a:cubicBezTo>
                    <a:pt x="1" y="1709"/>
                    <a:pt x="526" y="2133"/>
                    <a:pt x="1075" y="2133"/>
                  </a:cubicBezTo>
                  <a:cubicBezTo>
                    <a:pt x="1337" y="2133"/>
                    <a:pt x="1604" y="2036"/>
                    <a:pt x="1822" y="1821"/>
                  </a:cubicBezTo>
                  <a:cubicBezTo>
                    <a:pt x="2497" y="1146"/>
                    <a:pt x="2017" y="0"/>
                    <a:pt x="1074"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861" name="Google Shape;2861;p104"/>
            <p:cNvSpPr/>
            <p:nvPr/>
          </p:nvSpPr>
          <p:spPr>
            <a:xfrm>
              <a:off x="6408350" y="1647400"/>
              <a:ext cx="62425" cy="53450"/>
            </a:xfrm>
            <a:custGeom>
              <a:avLst/>
              <a:gdLst/>
              <a:ahLst/>
              <a:cxnLst/>
              <a:rect l="l" t="t" r="r" b="b"/>
              <a:pathLst>
                <a:path w="2497" h="2138" extrusionOk="0">
                  <a:moveTo>
                    <a:pt x="1074" y="1"/>
                  </a:moveTo>
                  <a:cubicBezTo>
                    <a:pt x="481" y="1"/>
                    <a:pt x="9" y="481"/>
                    <a:pt x="1" y="1066"/>
                  </a:cubicBezTo>
                  <a:cubicBezTo>
                    <a:pt x="1" y="1710"/>
                    <a:pt x="526" y="2138"/>
                    <a:pt x="1075" y="2138"/>
                  </a:cubicBezTo>
                  <a:cubicBezTo>
                    <a:pt x="1337" y="2138"/>
                    <a:pt x="1604" y="2040"/>
                    <a:pt x="1822" y="1822"/>
                  </a:cubicBezTo>
                  <a:cubicBezTo>
                    <a:pt x="2497" y="1155"/>
                    <a:pt x="2017" y="1"/>
                    <a:pt x="1074"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862" name="Google Shape;2862;p104"/>
            <p:cNvSpPr/>
            <p:nvPr/>
          </p:nvSpPr>
          <p:spPr>
            <a:xfrm>
              <a:off x="6408350" y="1342750"/>
              <a:ext cx="62425" cy="53450"/>
            </a:xfrm>
            <a:custGeom>
              <a:avLst/>
              <a:gdLst/>
              <a:ahLst/>
              <a:cxnLst/>
              <a:rect l="l" t="t" r="r" b="b"/>
              <a:pathLst>
                <a:path w="2497" h="2138" extrusionOk="0">
                  <a:moveTo>
                    <a:pt x="1074" y="1"/>
                  </a:moveTo>
                  <a:cubicBezTo>
                    <a:pt x="481" y="1"/>
                    <a:pt x="9" y="481"/>
                    <a:pt x="1" y="1066"/>
                  </a:cubicBezTo>
                  <a:cubicBezTo>
                    <a:pt x="1" y="1710"/>
                    <a:pt x="526" y="2138"/>
                    <a:pt x="1075" y="2138"/>
                  </a:cubicBezTo>
                  <a:cubicBezTo>
                    <a:pt x="1337" y="2138"/>
                    <a:pt x="1604" y="2040"/>
                    <a:pt x="1822" y="1822"/>
                  </a:cubicBezTo>
                  <a:cubicBezTo>
                    <a:pt x="2497" y="1147"/>
                    <a:pt x="2017" y="1"/>
                    <a:pt x="1074"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863" name="Google Shape;2863;p104"/>
            <p:cNvSpPr/>
            <p:nvPr/>
          </p:nvSpPr>
          <p:spPr>
            <a:xfrm>
              <a:off x="6408350" y="1266550"/>
              <a:ext cx="62425" cy="53450"/>
            </a:xfrm>
            <a:custGeom>
              <a:avLst/>
              <a:gdLst/>
              <a:ahLst/>
              <a:cxnLst/>
              <a:rect l="l" t="t" r="r" b="b"/>
              <a:pathLst>
                <a:path w="2497" h="2138" extrusionOk="0">
                  <a:moveTo>
                    <a:pt x="1074" y="0"/>
                  </a:moveTo>
                  <a:cubicBezTo>
                    <a:pt x="481" y="9"/>
                    <a:pt x="9" y="480"/>
                    <a:pt x="1" y="1074"/>
                  </a:cubicBezTo>
                  <a:cubicBezTo>
                    <a:pt x="1" y="1711"/>
                    <a:pt x="525" y="2137"/>
                    <a:pt x="1074" y="2137"/>
                  </a:cubicBezTo>
                  <a:cubicBezTo>
                    <a:pt x="1336" y="2137"/>
                    <a:pt x="1604" y="2040"/>
                    <a:pt x="1822" y="1821"/>
                  </a:cubicBezTo>
                  <a:cubicBezTo>
                    <a:pt x="2497" y="1155"/>
                    <a:pt x="2017" y="0"/>
                    <a:pt x="1074"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864" name="Google Shape;2864;p104"/>
            <p:cNvSpPr/>
            <p:nvPr/>
          </p:nvSpPr>
          <p:spPr>
            <a:xfrm>
              <a:off x="6332350" y="2409350"/>
              <a:ext cx="62225" cy="53350"/>
            </a:xfrm>
            <a:custGeom>
              <a:avLst/>
              <a:gdLst/>
              <a:ahLst/>
              <a:cxnLst/>
              <a:rect l="l" t="t" r="r" b="b"/>
              <a:pathLst>
                <a:path w="2489" h="2134" extrusionOk="0">
                  <a:moveTo>
                    <a:pt x="1066" y="0"/>
                  </a:moveTo>
                  <a:cubicBezTo>
                    <a:pt x="472" y="0"/>
                    <a:pt x="1" y="480"/>
                    <a:pt x="1" y="1065"/>
                  </a:cubicBezTo>
                  <a:cubicBezTo>
                    <a:pt x="1" y="1709"/>
                    <a:pt x="526" y="2133"/>
                    <a:pt x="1072" y="2133"/>
                  </a:cubicBezTo>
                  <a:cubicBezTo>
                    <a:pt x="1333" y="2133"/>
                    <a:pt x="1598" y="2036"/>
                    <a:pt x="1813" y="1821"/>
                  </a:cubicBezTo>
                  <a:cubicBezTo>
                    <a:pt x="2488" y="1146"/>
                    <a:pt x="2009" y="0"/>
                    <a:pt x="1066"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865" name="Google Shape;2865;p104"/>
            <p:cNvSpPr/>
            <p:nvPr/>
          </p:nvSpPr>
          <p:spPr>
            <a:xfrm>
              <a:off x="6332350" y="2333125"/>
              <a:ext cx="62225" cy="53450"/>
            </a:xfrm>
            <a:custGeom>
              <a:avLst/>
              <a:gdLst/>
              <a:ahLst/>
              <a:cxnLst/>
              <a:rect l="l" t="t" r="r" b="b"/>
              <a:pathLst>
                <a:path w="2489" h="2138" extrusionOk="0">
                  <a:moveTo>
                    <a:pt x="1066" y="1"/>
                  </a:moveTo>
                  <a:cubicBezTo>
                    <a:pt x="472" y="1"/>
                    <a:pt x="1" y="480"/>
                    <a:pt x="1" y="1066"/>
                  </a:cubicBezTo>
                  <a:cubicBezTo>
                    <a:pt x="1" y="1709"/>
                    <a:pt x="526" y="2137"/>
                    <a:pt x="1072" y="2137"/>
                  </a:cubicBezTo>
                  <a:cubicBezTo>
                    <a:pt x="1333" y="2137"/>
                    <a:pt x="1598" y="2040"/>
                    <a:pt x="1813" y="1822"/>
                  </a:cubicBezTo>
                  <a:cubicBezTo>
                    <a:pt x="2488" y="1147"/>
                    <a:pt x="2009" y="1"/>
                    <a:pt x="1066"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866" name="Google Shape;2866;p104"/>
            <p:cNvSpPr/>
            <p:nvPr/>
          </p:nvSpPr>
          <p:spPr>
            <a:xfrm>
              <a:off x="6332350" y="1952050"/>
              <a:ext cx="62225" cy="53450"/>
            </a:xfrm>
            <a:custGeom>
              <a:avLst/>
              <a:gdLst/>
              <a:ahLst/>
              <a:cxnLst/>
              <a:rect l="l" t="t" r="r" b="b"/>
              <a:pathLst>
                <a:path w="2489" h="2138" extrusionOk="0">
                  <a:moveTo>
                    <a:pt x="1066" y="1"/>
                  </a:moveTo>
                  <a:cubicBezTo>
                    <a:pt x="472" y="9"/>
                    <a:pt x="1" y="481"/>
                    <a:pt x="1" y="1074"/>
                  </a:cubicBezTo>
                  <a:cubicBezTo>
                    <a:pt x="1" y="1712"/>
                    <a:pt x="525" y="2138"/>
                    <a:pt x="1071" y="2138"/>
                  </a:cubicBezTo>
                  <a:cubicBezTo>
                    <a:pt x="1332" y="2138"/>
                    <a:pt x="1598" y="2040"/>
                    <a:pt x="1813" y="1822"/>
                  </a:cubicBezTo>
                  <a:cubicBezTo>
                    <a:pt x="2488" y="1155"/>
                    <a:pt x="2009" y="1"/>
                    <a:pt x="1066"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867" name="Google Shape;2867;p104"/>
            <p:cNvSpPr/>
            <p:nvPr/>
          </p:nvSpPr>
          <p:spPr>
            <a:xfrm>
              <a:off x="6332350" y="1876050"/>
              <a:ext cx="62225" cy="53275"/>
            </a:xfrm>
            <a:custGeom>
              <a:avLst/>
              <a:gdLst/>
              <a:ahLst/>
              <a:cxnLst/>
              <a:rect l="l" t="t" r="r" b="b"/>
              <a:pathLst>
                <a:path w="2489" h="2131" extrusionOk="0">
                  <a:moveTo>
                    <a:pt x="1066" y="1"/>
                  </a:moveTo>
                  <a:cubicBezTo>
                    <a:pt x="472" y="1"/>
                    <a:pt x="1" y="472"/>
                    <a:pt x="1" y="1066"/>
                  </a:cubicBezTo>
                  <a:cubicBezTo>
                    <a:pt x="1" y="1707"/>
                    <a:pt x="523" y="2131"/>
                    <a:pt x="1067" y="2131"/>
                  </a:cubicBezTo>
                  <a:cubicBezTo>
                    <a:pt x="1329" y="2131"/>
                    <a:pt x="1597" y="2033"/>
                    <a:pt x="1813" y="1813"/>
                  </a:cubicBezTo>
                  <a:cubicBezTo>
                    <a:pt x="2488" y="1147"/>
                    <a:pt x="2009" y="1"/>
                    <a:pt x="1066"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868" name="Google Shape;2868;p104"/>
            <p:cNvSpPr/>
            <p:nvPr/>
          </p:nvSpPr>
          <p:spPr>
            <a:xfrm>
              <a:off x="6332350" y="1723625"/>
              <a:ext cx="62225" cy="53350"/>
            </a:xfrm>
            <a:custGeom>
              <a:avLst/>
              <a:gdLst/>
              <a:ahLst/>
              <a:cxnLst/>
              <a:rect l="l" t="t" r="r" b="b"/>
              <a:pathLst>
                <a:path w="2489" h="2134" extrusionOk="0">
                  <a:moveTo>
                    <a:pt x="1066" y="1"/>
                  </a:moveTo>
                  <a:cubicBezTo>
                    <a:pt x="472" y="1"/>
                    <a:pt x="1" y="480"/>
                    <a:pt x="1" y="1065"/>
                  </a:cubicBezTo>
                  <a:cubicBezTo>
                    <a:pt x="1" y="1709"/>
                    <a:pt x="526" y="2133"/>
                    <a:pt x="1072" y="2133"/>
                  </a:cubicBezTo>
                  <a:cubicBezTo>
                    <a:pt x="1333" y="2133"/>
                    <a:pt x="1598" y="2037"/>
                    <a:pt x="1813" y="1822"/>
                  </a:cubicBezTo>
                  <a:cubicBezTo>
                    <a:pt x="2488" y="1147"/>
                    <a:pt x="2009" y="1"/>
                    <a:pt x="1066"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869" name="Google Shape;2869;p104"/>
            <p:cNvSpPr/>
            <p:nvPr/>
          </p:nvSpPr>
          <p:spPr>
            <a:xfrm>
              <a:off x="6332350" y="1647400"/>
              <a:ext cx="62225" cy="53450"/>
            </a:xfrm>
            <a:custGeom>
              <a:avLst/>
              <a:gdLst/>
              <a:ahLst/>
              <a:cxnLst/>
              <a:rect l="l" t="t" r="r" b="b"/>
              <a:pathLst>
                <a:path w="2489" h="2138" extrusionOk="0">
                  <a:moveTo>
                    <a:pt x="1066" y="1"/>
                  </a:moveTo>
                  <a:cubicBezTo>
                    <a:pt x="472" y="9"/>
                    <a:pt x="1" y="481"/>
                    <a:pt x="1" y="1066"/>
                  </a:cubicBezTo>
                  <a:cubicBezTo>
                    <a:pt x="1" y="1710"/>
                    <a:pt x="526" y="2138"/>
                    <a:pt x="1072" y="2138"/>
                  </a:cubicBezTo>
                  <a:cubicBezTo>
                    <a:pt x="1333" y="2138"/>
                    <a:pt x="1598" y="2040"/>
                    <a:pt x="1813" y="1822"/>
                  </a:cubicBezTo>
                  <a:cubicBezTo>
                    <a:pt x="2488" y="1147"/>
                    <a:pt x="2009" y="1"/>
                    <a:pt x="1066"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870" name="Google Shape;2870;p104"/>
            <p:cNvSpPr/>
            <p:nvPr/>
          </p:nvSpPr>
          <p:spPr>
            <a:xfrm>
              <a:off x="6332350" y="1342750"/>
              <a:ext cx="62225" cy="53450"/>
            </a:xfrm>
            <a:custGeom>
              <a:avLst/>
              <a:gdLst/>
              <a:ahLst/>
              <a:cxnLst/>
              <a:rect l="l" t="t" r="r" b="b"/>
              <a:pathLst>
                <a:path w="2489" h="2138" extrusionOk="0">
                  <a:moveTo>
                    <a:pt x="1066" y="1"/>
                  </a:moveTo>
                  <a:cubicBezTo>
                    <a:pt x="472" y="1"/>
                    <a:pt x="1" y="481"/>
                    <a:pt x="1" y="1066"/>
                  </a:cubicBezTo>
                  <a:cubicBezTo>
                    <a:pt x="1" y="1710"/>
                    <a:pt x="526" y="2138"/>
                    <a:pt x="1072" y="2138"/>
                  </a:cubicBezTo>
                  <a:cubicBezTo>
                    <a:pt x="1333" y="2138"/>
                    <a:pt x="1598" y="2040"/>
                    <a:pt x="1813" y="1822"/>
                  </a:cubicBezTo>
                  <a:cubicBezTo>
                    <a:pt x="2488" y="1147"/>
                    <a:pt x="2009" y="1"/>
                    <a:pt x="1066"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871" name="Google Shape;2871;p104"/>
            <p:cNvSpPr/>
            <p:nvPr/>
          </p:nvSpPr>
          <p:spPr>
            <a:xfrm>
              <a:off x="6256150" y="2485550"/>
              <a:ext cx="62200" cy="53300"/>
            </a:xfrm>
            <a:custGeom>
              <a:avLst/>
              <a:gdLst/>
              <a:ahLst/>
              <a:cxnLst/>
              <a:rect l="l" t="t" r="r" b="b"/>
              <a:pathLst>
                <a:path w="2488" h="2132" extrusionOk="0">
                  <a:moveTo>
                    <a:pt x="1065" y="1"/>
                  </a:moveTo>
                  <a:cubicBezTo>
                    <a:pt x="472" y="1"/>
                    <a:pt x="0" y="472"/>
                    <a:pt x="0" y="1066"/>
                  </a:cubicBezTo>
                  <a:cubicBezTo>
                    <a:pt x="0" y="1708"/>
                    <a:pt x="522" y="2131"/>
                    <a:pt x="1067" y="2131"/>
                  </a:cubicBezTo>
                  <a:cubicBezTo>
                    <a:pt x="1329" y="2131"/>
                    <a:pt x="1596" y="2033"/>
                    <a:pt x="1813" y="1814"/>
                  </a:cubicBezTo>
                  <a:cubicBezTo>
                    <a:pt x="2488" y="1147"/>
                    <a:pt x="2016" y="1"/>
                    <a:pt x="1065"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872" name="Google Shape;2872;p104"/>
            <p:cNvSpPr/>
            <p:nvPr/>
          </p:nvSpPr>
          <p:spPr>
            <a:xfrm>
              <a:off x="6256150" y="2409350"/>
              <a:ext cx="62200" cy="53350"/>
            </a:xfrm>
            <a:custGeom>
              <a:avLst/>
              <a:gdLst/>
              <a:ahLst/>
              <a:cxnLst/>
              <a:rect l="l" t="t" r="r" b="b"/>
              <a:pathLst>
                <a:path w="2488" h="2134" extrusionOk="0">
                  <a:moveTo>
                    <a:pt x="1065" y="0"/>
                  </a:moveTo>
                  <a:cubicBezTo>
                    <a:pt x="480" y="0"/>
                    <a:pt x="0" y="480"/>
                    <a:pt x="0" y="1065"/>
                  </a:cubicBezTo>
                  <a:cubicBezTo>
                    <a:pt x="0" y="1709"/>
                    <a:pt x="525" y="2133"/>
                    <a:pt x="1071" y="2133"/>
                  </a:cubicBezTo>
                  <a:cubicBezTo>
                    <a:pt x="1332" y="2133"/>
                    <a:pt x="1598" y="2036"/>
                    <a:pt x="1813" y="1821"/>
                  </a:cubicBezTo>
                  <a:cubicBezTo>
                    <a:pt x="2488" y="1146"/>
                    <a:pt x="2016" y="0"/>
                    <a:pt x="1065"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873" name="Google Shape;2873;p104"/>
            <p:cNvSpPr/>
            <p:nvPr/>
          </p:nvSpPr>
          <p:spPr>
            <a:xfrm>
              <a:off x="6256150" y="2028275"/>
              <a:ext cx="62200" cy="53450"/>
            </a:xfrm>
            <a:custGeom>
              <a:avLst/>
              <a:gdLst/>
              <a:ahLst/>
              <a:cxnLst/>
              <a:rect l="l" t="t" r="r" b="b"/>
              <a:pathLst>
                <a:path w="2488" h="2138" extrusionOk="0">
                  <a:moveTo>
                    <a:pt x="1065" y="1"/>
                  </a:moveTo>
                  <a:cubicBezTo>
                    <a:pt x="480" y="1"/>
                    <a:pt x="0" y="480"/>
                    <a:pt x="0" y="1065"/>
                  </a:cubicBezTo>
                  <a:cubicBezTo>
                    <a:pt x="0" y="1709"/>
                    <a:pt x="525" y="2137"/>
                    <a:pt x="1071" y="2137"/>
                  </a:cubicBezTo>
                  <a:cubicBezTo>
                    <a:pt x="1332" y="2137"/>
                    <a:pt x="1597" y="2040"/>
                    <a:pt x="1813" y="1821"/>
                  </a:cubicBezTo>
                  <a:cubicBezTo>
                    <a:pt x="2488" y="1147"/>
                    <a:pt x="2016" y="1"/>
                    <a:pt x="1065"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874" name="Google Shape;2874;p104"/>
            <p:cNvSpPr/>
            <p:nvPr/>
          </p:nvSpPr>
          <p:spPr>
            <a:xfrm>
              <a:off x="6256150" y="1952050"/>
              <a:ext cx="62200" cy="53450"/>
            </a:xfrm>
            <a:custGeom>
              <a:avLst/>
              <a:gdLst/>
              <a:ahLst/>
              <a:cxnLst/>
              <a:rect l="l" t="t" r="r" b="b"/>
              <a:pathLst>
                <a:path w="2488" h="2138" extrusionOk="0">
                  <a:moveTo>
                    <a:pt x="1065" y="1"/>
                  </a:moveTo>
                  <a:cubicBezTo>
                    <a:pt x="480" y="9"/>
                    <a:pt x="0" y="481"/>
                    <a:pt x="0" y="1074"/>
                  </a:cubicBezTo>
                  <a:cubicBezTo>
                    <a:pt x="0" y="1712"/>
                    <a:pt x="524" y="2138"/>
                    <a:pt x="1070" y="2138"/>
                  </a:cubicBezTo>
                  <a:cubicBezTo>
                    <a:pt x="1331" y="2138"/>
                    <a:pt x="1597" y="2040"/>
                    <a:pt x="1813" y="1822"/>
                  </a:cubicBezTo>
                  <a:cubicBezTo>
                    <a:pt x="2488" y="1155"/>
                    <a:pt x="2016" y="1"/>
                    <a:pt x="1065"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875" name="Google Shape;2875;p104"/>
            <p:cNvSpPr/>
            <p:nvPr/>
          </p:nvSpPr>
          <p:spPr>
            <a:xfrm>
              <a:off x="6256150" y="1876050"/>
              <a:ext cx="62200" cy="53350"/>
            </a:xfrm>
            <a:custGeom>
              <a:avLst/>
              <a:gdLst/>
              <a:ahLst/>
              <a:cxnLst/>
              <a:rect l="l" t="t" r="r" b="b"/>
              <a:pathLst>
                <a:path w="2488" h="2134" extrusionOk="0">
                  <a:moveTo>
                    <a:pt x="1065" y="1"/>
                  </a:moveTo>
                  <a:cubicBezTo>
                    <a:pt x="480" y="1"/>
                    <a:pt x="0" y="472"/>
                    <a:pt x="0" y="1066"/>
                  </a:cubicBezTo>
                  <a:cubicBezTo>
                    <a:pt x="0" y="1709"/>
                    <a:pt x="525" y="2133"/>
                    <a:pt x="1071" y="2133"/>
                  </a:cubicBezTo>
                  <a:cubicBezTo>
                    <a:pt x="1332" y="2133"/>
                    <a:pt x="1598" y="2037"/>
                    <a:pt x="1813" y="1822"/>
                  </a:cubicBezTo>
                  <a:cubicBezTo>
                    <a:pt x="2488" y="1147"/>
                    <a:pt x="2016" y="1"/>
                    <a:pt x="1065"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876" name="Google Shape;2876;p104"/>
            <p:cNvSpPr/>
            <p:nvPr/>
          </p:nvSpPr>
          <p:spPr>
            <a:xfrm>
              <a:off x="6256150" y="1799850"/>
              <a:ext cx="62200" cy="53325"/>
            </a:xfrm>
            <a:custGeom>
              <a:avLst/>
              <a:gdLst/>
              <a:ahLst/>
              <a:cxnLst/>
              <a:rect l="l" t="t" r="r" b="b"/>
              <a:pathLst>
                <a:path w="2488" h="2133" extrusionOk="0">
                  <a:moveTo>
                    <a:pt x="1065" y="0"/>
                  </a:moveTo>
                  <a:cubicBezTo>
                    <a:pt x="480" y="0"/>
                    <a:pt x="0" y="480"/>
                    <a:pt x="0" y="1065"/>
                  </a:cubicBezTo>
                  <a:cubicBezTo>
                    <a:pt x="0" y="1709"/>
                    <a:pt x="525" y="2133"/>
                    <a:pt x="1071" y="2133"/>
                  </a:cubicBezTo>
                  <a:cubicBezTo>
                    <a:pt x="1332" y="2133"/>
                    <a:pt x="1598" y="2036"/>
                    <a:pt x="1813" y="1821"/>
                  </a:cubicBezTo>
                  <a:cubicBezTo>
                    <a:pt x="2488" y="1146"/>
                    <a:pt x="2016" y="0"/>
                    <a:pt x="1065"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877" name="Google Shape;2877;p104"/>
            <p:cNvSpPr/>
            <p:nvPr/>
          </p:nvSpPr>
          <p:spPr>
            <a:xfrm>
              <a:off x="6256150" y="1723625"/>
              <a:ext cx="62200" cy="53350"/>
            </a:xfrm>
            <a:custGeom>
              <a:avLst/>
              <a:gdLst/>
              <a:ahLst/>
              <a:cxnLst/>
              <a:rect l="l" t="t" r="r" b="b"/>
              <a:pathLst>
                <a:path w="2488" h="2134" extrusionOk="0">
                  <a:moveTo>
                    <a:pt x="1065" y="1"/>
                  </a:moveTo>
                  <a:cubicBezTo>
                    <a:pt x="480" y="1"/>
                    <a:pt x="0" y="480"/>
                    <a:pt x="0" y="1065"/>
                  </a:cubicBezTo>
                  <a:cubicBezTo>
                    <a:pt x="0" y="1709"/>
                    <a:pt x="525" y="2133"/>
                    <a:pt x="1071" y="2133"/>
                  </a:cubicBezTo>
                  <a:cubicBezTo>
                    <a:pt x="1332" y="2133"/>
                    <a:pt x="1598" y="2037"/>
                    <a:pt x="1813" y="1822"/>
                  </a:cubicBezTo>
                  <a:cubicBezTo>
                    <a:pt x="2488" y="1147"/>
                    <a:pt x="2016" y="1"/>
                    <a:pt x="1065"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878" name="Google Shape;2878;p104"/>
            <p:cNvSpPr/>
            <p:nvPr/>
          </p:nvSpPr>
          <p:spPr>
            <a:xfrm>
              <a:off x="6256150" y="1342750"/>
              <a:ext cx="62200" cy="53450"/>
            </a:xfrm>
            <a:custGeom>
              <a:avLst/>
              <a:gdLst/>
              <a:ahLst/>
              <a:cxnLst/>
              <a:rect l="l" t="t" r="r" b="b"/>
              <a:pathLst>
                <a:path w="2488" h="2138" extrusionOk="0">
                  <a:moveTo>
                    <a:pt x="1065" y="1"/>
                  </a:moveTo>
                  <a:cubicBezTo>
                    <a:pt x="480" y="1"/>
                    <a:pt x="0" y="481"/>
                    <a:pt x="0" y="1066"/>
                  </a:cubicBezTo>
                  <a:cubicBezTo>
                    <a:pt x="0" y="1710"/>
                    <a:pt x="525" y="2138"/>
                    <a:pt x="1071" y="2138"/>
                  </a:cubicBezTo>
                  <a:cubicBezTo>
                    <a:pt x="1332" y="2138"/>
                    <a:pt x="1597" y="2040"/>
                    <a:pt x="1813" y="1822"/>
                  </a:cubicBezTo>
                  <a:cubicBezTo>
                    <a:pt x="2488" y="1147"/>
                    <a:pt x="2016" y="1"/>
                    <a:pt x="1065"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879" name="Google Shape;2879;p104"/>
            <p:cNvSpPr/>
            <p:nvPr/>
          </p:nvSpPr>
          <p:spPr>
            <a:xfrm>
              <a:off x="6179925" y="2485550"/>
              <a:ext cx="62225" cy="53300"/>
            </a:xfrm>
            <a:custGeom>
              <a:avLst/>
              <a:gdLst/>
              <a:ahLst/>
              <a:cxnLst/>
              <a:rect l="l" t="t" r="r" b="b"/>
              <a:pathLst>
                <a:path w="2489" h="2132" extrusionOk="0">
                  <a:moveTo>
                    <a:pt x="1065" y="1"/>
                  </a:moveTo>
                  <a:cubicBezTo>
                    <a:pt x="480" y="1"/>
                    <a:pt x="0" y="472"/>
                    <a:pt x="0" y="1066"/>
                  </a:cubicBezTo>
                  <a:cubicBezTo>
                    <a:pt x="0" y="1708"/>
                    <a:pt x="523" y="2131"/>
                    <a:pt x="1070" y="2131"/>
                  </a:cubicBezTo>
                  <a:cubicBezTo>
                    <a:pt x="1333" y="2131"/>
                    <a:pt x="1602" y="2033"/>
                    <a:pt x="1821" y="1814"/>
                  </a:cubicBezTo>
                  <a:cubicBezTo>
                    <a:pt x="2488" y="1147"/>
                    <a:pt x="2017" y="1"/>
                    <a:pt x="1065"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880" name="Google Shape;2880;p104"/>
            <p:cNvSpPr/>
            <p:nvPr/>
          </p:nvSpPr>
          <p:spPr>
            <a:xfrm>
              <a:off x="6179925" y="2409350"/>
              <a:ext cx="62225" cy="53350"/>
            </a:xfrm>
            <a:custGeom>
              <a:avLst/>
              <a:gdLst/>
              <a:ahLst/>
              <a:cxnLst/>
              <a:rect l="l" t="t" r="r" b="b"/>
              <a:pathLst>
                <a:path w="2489" h="2134"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7" y="0"/>
                    <a:pt x="1065"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881" name="Google Shape;2881;p104"/>
            <p:cNvSpPr/>
            <p:nvPr/>
          </p:nvSpPr>
          <p:spPr>
            <a:xfrm>
              <a:off x="6179925" y="2104500"/>
              <a:ext cx="62225" cy="53325"/>
            </a:xfrm>
            <a:custGeom>
              <a:avLst/>
              <a:gdLst/>
              <a:ahLst/>
              <a:cxnLst/>
              <a:rect l="l" t="t" r="r" b="b"/>
              <a:pathLst>
                <a:path w="2489" h="2133"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7" y="0"/>
                    <a:pt x="1065"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882" name="Google Shape;2882;p104"/>
            <p:cNvSpPr/>
            <p:nvPr/>
          </p:nvSpPr>
          <p:spPr>
            <a:xfrm>
              <a:off x="6179925" y="1342750"/>
              <a:ext cx="62225" cy="53450"/>
            </a:xfrm>
            <a:custGeom>
              <a:avLst/>
              <a:gdLst/>
              <a:ahLst/>
              <a:cxnLst/>
              <a:rect l="l" t="t" r="r" b="b"/>
              <a:pathLst>
                <a:path w="2489" h="2138" extrusionOk="0">
                  <a:moveTo>
                    <a:pt x="1065" y="1"/>
                  </a:moveTo>
                  <a:cubicBezTo>
                    <a:pt x="480" y="1"/>
                    <a:pt x="0" y="481"/>
                    <a:pt x="0" y="1066"/>
                  </a:cubicBezTo>
                  <a:cubicBezTo>
                    <a:pt x="0" y="1710"/>
                    <a:pt x="526" y="2138"/>
                    <a:pt x="1074" y="2138"/>
                  </a:cubicBezTo>
                  <a:cubicBezTo>
                    <a:pt x="1336" y="2138"/>
                    <a:pt x="1603" y="2040"/>
                    <a:pt x="1821" y="1822"/>
                  </a:cubicBezTo>
                  <a:cubicBezTo>
                    <a:pt x="2488" y="1147"/>
                    <a:pt x="2017" y="1"/>
                    <a:pt x="1065"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883" name="Google Shape;2883;p104"/>
            <p:cNvSpPr/>
            <p:nvPr/>
          </p:nvSpPr>
          <p:spPr>
            <a:xfrm>
              <a:off x="6103700" y="2333125"/>
              <a:ext cx="62425" cy="53450"/>
            </a:xfrm>
            <a:custGeom>
              <a:avLst/>
              <a:gdLst/>
              <a:ahLst/>
              <a:cxnLst/>
              <a:rect l="l" t="t" r="r" b="b"/>
              <a:pathLst>
                <a:path w="2497" h="2138" extrusionOk="0">
                  <a:moveTo>
                    <a:pt x="1066" y="1"/>
                  </a:moveTo>
                  <a:cubicBezTo>
                    <a:pt x="481" y="1"/>
                    <a:pt x="1" y="480"/>
                    <a:pt x="1" y="1066"/>
                  </a:cubicBezTo>
                  <a:cubicBezTo>
                    <a:pt x="1" y="1709"/>
                    <a:pt x="526" y="2137"/>
                    <a:pt x="1075" y="2137"/>
                  </a:cubicBezTo>
                  <a:cubicBezTo>
                    <a:pt x="1337" y="2137"/>
                    <a:pt x="1604" y="2040"/>
                    <a:pt x="1822" y="1822"/>
                  </a:cubicBezTo>
                  <a:cubicBezTo>
                    <a:pt x="2497" y="1147"/>
                    <a:pt x="2017" y="1"/>
                    <a:pt x="1066"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884" name="Google Shape;2884;p104"/>
            <p:cNvSpPr/>
            <p:nvPr/>
          </p:nvSpPr>
          <p:spPr>
            <a:xfrm>
              <a:off x="6103700" y="2256925"/>
              <a:ext cx="62575" cy="53425"/>
            </a:xfrm>
            <a:custGeom>
              <a:avLst/>
              <a:gdLst/>
              <a:ahLst/>
              <a:cxnLst/>
              <a:rect l="l" t="t" r="r" b="b"/>
              <a:pathLst>
                <a:path w="2503" h="2137" extrusionOk="0">
                  <a:moveTo>
                    <a:pt x="1076" y="0"/>
                  </a:moveTo>
                  <a:cubicBezTo>
                    <a:pt x="1073" y="0"/>
                    <a:pt x="1069" y="0"/>
                    <a:pt x="1066" y="0"/>
                  </a:cubicBezTo>
                  <a:cubicBezTo>
                    <a:pt x="481" y="0"/>
                    <a:pt x="1" y="480"/>
                    <a:pt x="1" y="1065"/>
                  </a:cubicBezTo>
                  <a:cubicBezTo>
                    <a:pt x="1" y="1709"/>
                    <a:pt x="530" y="2137"/>
                    <a:pt x="1081" y="2137"/>
                  </a:cubicBezTo>
                  <a:cubicBezTo>
                    <a:pt x="1344" y="2137"/>
                    <a:pt x="1612" y="2039"/>
                    <a:pt x="1830" y="1821"/>
                  </a:cubicBezTo>
                  <a:cubicBezTo>
                    <a:pt x="2502" y="1149"/>
                    <a:pt x="2029" y="0"/>
                    <a:pt x="1076"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885" name="Google Shape;2885;p104"/>
            <p:cNvSpPr/>
            <p:nvPr/>
          </p:nvSpPr>
          <p:spPr>
            <a:xfrm>
              <a:off x="6103700" y="2180700"/>
              <a:ext cx="62425" cy="53350"/>
            </a:xfrm>
            <a:custGeom>
              <a:avLst/>
              <a:gdLst/>
              <a:ahLst/>
              <a:cxnLst/>
              <a:rect l="l" t="t" r="r" b="b"/>
              <a:pathLst>
                <a:path w="2497" h="2134" extrusionOk="0">
                  <a:moveTo>
                    <a:pt x="1066" y="1"/>
                  </a:moveTo>
                  <a:cubicBezTo>
                    <a:pt x="481" y="1"/>
                    <a:pt x="9" y="480"/>
                    <a:pt x="1" y="1066"/>
                  </a:cubicBezTo>
                  <a:cubicBezTo>
                    <a:pt x="1" y="1709"/>
                    <a:pt x="526" y="2133"/>
                    <a:pt x="1075" y="2133"/>
                  </a:cubicBezTo>
                  <a:cubicBezTo>
                    <a:pt x="1337" y="2133"/>
                    <a:pt x="1604" y="2037"/>
                    <a:pt x="1822" y="1822"/>
                  </a:cubicBezTo>
                  <a:cubicBezTo>
                    <a:pt x="2497" y="1147"/>
                    <a:pt x="2017" y="1"/>
                    <a:pt x="1066"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886" name="Google Shape;2886;p104"/>
            <p:cNvSpPr/>
            <p:nvPr/>
          </p:nvSpPr>
          <p:spPr>
            <a:xfrm>
              <a:off x="6103700" y="2104500"/>
              <a:ext cx="62425" cy="53325"/>
            </a:xfrm>
            <a:custGeom>
              <a:avLst/>
              <a:gdLst/>
              <a:ahLst/>
              <a:cxnLst/>
              <a:rect l="l" t="t" r="r" b="b"/>
              <a:pathLst>
                <a:path w="2497" h="2133" extrusionOk="0">
                  <a:moveTo>
                    <a:pt x="1066" y="0"/>
                  </a:moveTo>
                  <a:cubicBezTo>
                    <a:pt x="481" y="0"/>
                    <a:pt x="9" y="480"/>
                    <a:pt x="1" y="1065"/>
                  </a:cubicBezTo>
                  <a:cubicBezTo>
                    <a:pt x="1" y="1709"/>
                    <a:pt x="526" y="2133"/>
                    <a:pt x="1075" y="2133"/>
                  </a:cubicBezTo>
                  <a:cubicBezTo>
                    <a:pt x="1337" y="2133"/>
                    <a:pt x="1604" y="2036"/>
                    <a:pt x="1822" y="1821"/>
                  </a:cubicBezTo>
                  <a:cubicBezTo>
                    <a:pt x="2497" y="1146"/>
                    <a:pt x="2017" y="0"/>
                    <a:pt x="1066"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887" name="Google Shape;2887;p104"/>
            <p:cNvSpPr/>
            <p:nvPr/>
          </p:nvSpPr>
          <p:spPr>
            <a:xfrm>
              <a:off x="6103700" y="1342750"/>
              <a:ext cx="62425" cy="53450"/>
            </a:xfrm>
            <a:custGeom>
              <a:avLst/>
              <a:gdLst/>
              <a:ahLst/>
              <a:cxnLst/>
              <a:rect l="l" t="t" r="r" b="b"/>
              <a:pathLst>
                <a:path w="2497" h="2138" extrusionOk="0">
                  <a:moveTo>
                    <a:pt x="1066" y="1"/>
                  </a:moveTo>
                  <a:cubicBezTo>
                    <a:pt x="481" y="1"/>
                    <a:pt x="9" y="481"/>
                    <a:pt x="1" y="1066"/>
                  </a:cubicBezTo>
                  <a:cubicBezTo>
                    <a:pt x="1" y="1710"/>
                    <a:pt x="526" y="2138"/>
                    <a:pt x="1075" y="2138"/>
                  </a:cubicBezTo>
                  <a:cubicBezTo>
                    <a:pt x="1337" y="2138"/>
                    <a:pt x="1604" y="2040"/>
                    <a:pt x="1822" y="1822"/>
                  </a:cubicBezTo>
                  <a:cubicBezTo>
                    <a:pt x="2497" y="1147"/>
                    <a:pt x="2017" y="1"/>
                    <a:pt x="1066"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888" name="Google Shape;2888;p104"/>
            <p:cNvSpPr/>
            <p:nvPr/>
          </p:nvSpPr>
          <p:spPr>
            <a:xfrm>
              <a:off x="6027500" y="2180700"/>
              <a:ext cx="62425" cy="53350"/>
            </a:xfrm>
            <a:custGeom>
              <a:avLst/>
              <a:gdLst/>
              <a:ahLst/>
              <a:cxnLst/>
              <a:rect l="l" t="t" r="r" b="b"/>
              <a:pathLst>
                <a:path w="2497" h="2134" extrusionOk="0">
                  <a:moveTo>
                    <a:pt x="1073" y="1"/>
                  </a:moveTo>
                  <a:cubicBezTo>
                    <a:pt x="480" y="1"/>
                    <a:pt x="9" y="480"/>
                    <a:pt x="0" y="1066"/>
                  </a:cubicBezTo>
                  <a:cubicBezTo>
                    <a:pt x="0" y="1709"/>
                    <a:pt x="529" y="2133"/>
                    <a:pt x="1078" y="2133"/>
                  </a:cubicBezTo>
                  <a:cubicBezTo>
                    <a:pt x="1340" y="2133"/>
                    <a:pt x="1606" y="2037"/>
                    <a:pt x="1821" y="1822"/>
                  </a:cubicBezTo>
                  <a:cubicBezTo>
                    <a:pt x="2496" y="1147"/>
                    <a:pt x="2016" y="1"/>
                    <a:pt x="1073"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889" name="Google Shape;2889;p104"/>
            <p:cNvSpPr/>
            <p:nvPr/>
          </p:nvSpPr>
          <p:spPr>
            <a:xfrm>
              <a:off x="6027500" y="1342750"/>
              <a:ext cx="62425" cy="53450"/>
            </a:xfrm>
            <a:custGeom>
              <a:avLst/>
              <a:gdLst/>
              <a:ahLst/>
              <a:cxnLst/>
              <a:rect l="l" t="t" r="r" b="b"/>
              <a:pathLst>
                <a:path w="2497" h="2138" extrusionOk="0">
                  <a:moveTo>
                    <a:pt x="1073" y="1"/>
                  </a:moveTo>
                  <a:cubicBezTo>
                    <a:pt x="480" y="1"/>
                    <a:pt x="9" y="481"/>
                    <a:pt x="0" y="1066"/>
                  </a:cubicBezTo>
                  <a:cubicBezTo>
                    <a:pt x="0" y="1710"/>
                    <a:pt x="529" y="2138"/>
                    <a:pt x="1078" y="2138"/>
                  </a:cubicBezTo>
                  <a:cubicBezTo>
                    <a:pt x="1340" y="2138"/>
                    <a:pt x="1606" y="2040"/>
                    <a:pt x="1821" y="1822"/>
                  </a:cubicBezTo>
                  <a:cubicBezTo>
                    <a:pt x="2496" y="1147"/>
                    <a:pt x="2016" y="1"/>
                    <a:pt x="1073"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890" name="Google Shape;2890;p104"/>
            <p:cNvSpPr/>
            <p:nvPr/>
          </p:nvSpPr>
          <p:spPr>
            <a:xfrm>
              <a:off x="5951475" y="2485550"/>
              <a:ext cx="62225" cy="53300"/>
            </a:xfrm>
            <a:custGeom>
              <a:avLst/>
              <a:gdLst/>
              <a:ahLst/>
              <a:cxnLst/>
              <a:rect l="l" t="t" r="r" b="b"/>
              <a:pathLst>
                <a:path w="2489" h="2132" extrusionOk="0">
                  <a:moveTo>
                    <a:pt x="1066" y="1"/>
                  </a:moveTo>
                  <a:cubicBezTo>
                    <a:pt x="472" y="1"/>
                    <a:pt x="1" y="480"/>
                    <a:pt x="1" y="1066"/>
                  </a:cubicBezTo>
                  <a:cubicBezTo>
                    <a:pt x="1" y="1708"/>
                    <a:pt x="523" y="2131"/>
                    <a:pt x="1070" y="2131"/>
                  </a:cubicBezTo>
                  <a:cubicBezTo>
                    <a:pt x="1333" y="2131"/>
                    <a:pt x="1603" y="2033"/>
                    <a:pt x="1822" y="1814"/>
                  </a:cubicBezTo>
                  <a:cubicBezTo>
                    <a:pt x="2489" y="1147"/>
                    <a:pt x="2017" y="1"/>
                    <a:pt x="1066"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891" name="Google Shape;2891;p104"/>
            <p:cNvSpPr/>
            <p:nvPr/>
          </p:nvSpPr>
          <p:spPr>
            <a:xfrm>
              <a:off x="5951475" y="2409350"/>
              <a:ext cx="62225" cy="53350"/>
            </a:xfrm>
            <a:custGeom>
              <a:avLst/>
              <a:gdLst/>
              <a:ahLst/>
              <a:cxnLst/>
              <a:rect l="l" t="t" r="r" b="b"/>
              <a:pathLst>
                <a:path w="2489" h="2134" extrusionOk="0">
                  <a:moveTo>
                    <a:pt x="1066" y="0"/>
                  </a:moveTo>
                  <a:cubicBezTo>
                    <a:pt x="472" y="0"/>
                    <a:pt x="1" y="480"/>
                    <a:pt x="1" y="1065"/>
                  </a:cubicBezTo>
                  <a:cubicBezTo>
                    <a:pt x="1" y="1709"/>
                    <a:pt x="526" y="2133"/>
                    <a:pt x="1072" y="2133"/>
                  </a:cubicBezTo>
                  <a:cubicBezTo>
                    <a:pt x="1333" y="2133"/>
                    <a:pt x="1598" y="2036"/>
                    <a:pt x="1814" y="1821"/>
                  </a:cubicBezTo>
                  <a:cubicBezTo>
                    <a:pt x="2489" y="1146"/>
                    <a:pt x="2017" y="0"/>
                    <a:pt x="1066"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892" name="Google Shape;2892;p104"/>
            <p:cNvSpPr/>
            <p:nvPr/>
          </p:nvSpPr>
          <p:spPr>
            <a:xfrm>
              <a:off x="5951475" y="2333125"/>
              <a:ext cx="62225" cy="53450"/>
            </a:xfrm>
            <a:custGeom>
              <a:avLst/>
              <a:gdLst/>
              <a:ahLst/>
              <a:cxnLst/>
              <a:rect l="l" t="t" r="r" b="b"/>
              <a:pathLst>
                <a:path w="2489" h="2138" extrusionOk="0">
                  <a:moveTo>
                    <a:pt x="1066" y="1"/>
                  </a:moveTo>
                  <a:cubicBezTo>
                    <a:pt x="472" y="1"/>
                    <a:pt x="1" y="480"/>
                    <a:pt x="1" y="1066"/>
                  </a:cubicBezTo>
                  <a:cubicBezTo>
                    <a:pt x="1" y="1709"/>
                    <a:pt x="526" y="2137"/>
                    <a:pt x="1072" y="2137"/>
                  </a:cubicBezTo>
                  <a:cubicBezTo>
                    <a:pt x="1333" y="2137"/>
                    <a:pt x="1598" y="2040"/>
                    <a:pt x="1814" y="1822"/>
                  </a:cubicBezTo>
                  <a:cubicBezTo>
                    <a:pt x="2489" y="1147"/>
                    <a:pt x="2017" y="1"/>
                    <a:pt x="1066"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893" name="Google Shape;2893;p104"/>
            <p:cNvSpPr/>
            <p:nvPr/>
          </p:nvSpPr>
          <p:spPr>
            <a:xfrm>
              <a:off x="5951475" y="2180700"/>
              <a:ext cx="62225" cy="53350"/>
            </a:xfrm>
            <a:custGeom>
              <a:avLst/>
              <a:gdLst/>
              <a:ahLst/>
              <a:cxnLst/>
              <a:rect l="l" t="t" r="r" b="b"/>
              <a:pathLst>
                <a:path w="2489" h="2134" extrusionOk="0">
                  <a:moveTo>
                    <a:pt x="1066" y="1"/>
                  </a:moveTo>
                  <a:cubicBezTo>
                    <a:pt x="472" y="1"/>
                    <a:pt x="1" y="480"/>
                    <a:pt x="1" y="1066"/>
                  </a:cubicBezTo>
                  <a:cubicBezTo>
                    <a:pt x="1" y="1709"/>
                    <a:pt x="526" y="2133"/>
                    <a:pt x="1072" y="2133"/>
                  </a:cubicBezTo>
                  <a:cubicBezTo>
                    <a:pt x="1333" y="2133"/>
                    <a:pt x="1598" y="2037"/>
                    <a:pt x="1814" y="1822"/>
                  </a:cubicBezTo>
                  <a:cubicBezTo>
                    <a:pt x="2489" y="1147"/>
                    <a:pt x="2017" y="1"/>
                    <a:pt x="1066"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894" name="Google Shape;2894;p104"/>
            <p:cNvSpPr/>
            <p:nvPr/>
          </p:nvSpPr>
          <p:spPr>
            <a:xfrm>
              <a:off x="5951475" y="1342750"/>
              <a:ext cx="62225" cy="53450"/>
            </a:xfrm>
            <a:custGeom>
              <a:avLst/>
              <a:gdLst/>
              <a:ahLst/>
              <a:cxnLst/>
              <a:rect l="l" t="t" r="r" b="b"/>
              <a:pathLst>
                <a:path w="2489" h="2138" extrusionOk="0">
                  <a:moveTo>
                    <a:pt x="1066" y="1"/>
                  </a:moveTo>
                  <a:cubicBezTo>
                    <a:pt x="472" y="1"/>
                    <a:pt x="1" y="481"/>
                    <a:pt x="1" y="1066"/>
                  </a:cubicBezTo>
                  <a:cubicBezTo>
                    <a:pt x="1" y="1710"/>
                    <a:pt x="526" y="2138"/>
                    <a:pt x="1072" y="2138"/>
                  </a:cubicBezTo>
                  <a:cubicBezTo>
                    <a:pt x="1333" y="2138"/>
                    <a:pt x="1598" y="2040"/>
                    <a:pt x="1814" y="1822"/>
                  </a:cubicBezTo>
                  <a:cubicBezTo>
                    <a:pt x="2489" y="1147"/>
                    <a:pt x="2017" y="1"/>
                    <a:pt x="1066"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895" name="Google Shape;2895;p104"/>
            <p:cNvSpPr/>
            <p:nvPr/>
          </p:nvSpPr>
          <p:spPr>
            <a:xfrm>
              <a:off x="5875275" y="2714000"/>
              <a:ext cx="62225" cy="53350"/>
            </a:xfrm>
            <a:custGeom>
              <a:avLst/>
              <a:gdLst/>
              <a:ahLst/>
              <a:cxnLst/>
              <a:rect l="l" t="t" r="r" b="b"/>
              <a:pathLst>
                <a:path w="2489" h="2134"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7" y="0"/>
                    <a:pt x="1065"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896" name="Google Shape;2896;p104"/>
            <p:cNvSpPr/>
            <p:nvPr/>
          </p:nvSpPr>
          <p:spPr>
            <a:xfrm>
              <a:off x="5875275" y="2637775"/>
              <a:ext cx="62225" cy="53450"/>
            </a:xfrm>
            <a:custGeom>
              <a:avLst/>
              <a:gdLst/>
              <a:ahLst/>
              <a:cxnLst/>
              <a:rect l="l" t="t" r="r" b="b"/>
              <a:pathLst>
                <a:path w="2489" h="2138" extrusionOk="0">
                  <a:moveTo>
                    <a:pt x="1065" y="1"/>
                  </a:moveTo>
                  <a:cubicBezTo>
                    <a:pt x="480" y="1"/>
                    <a:pt x="0" y="480"/>
                    <a:pt x="0" y="1074"/>
                  </a:cubicBezTo>
                  <a:cubicBezTo>
                    <a:pt x="0" y="1712"/>
                    <a:pt x="525" y="2137"/>
                    <a:pt x="1073" y="2137"/>
                  </a:cubicBezTo>
                  <a:cubicBezTo>
                    <a:pt x="1335" y="2137"/>
                    <a:pt x="1603" y="2040"/>
                    <a:pt x="1821" y="1822"/>
                  </a:cubicBezTo>
                  <a:cubicBezTo>
                    <a:pt x="2488" y="1155"/>
                    <a:pt x="2017" y="1"/>
                    <a:pt x="1065"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897" name="Google Shape;2897;p104"/>
            <p:cNvSpPr/>
            <p:nvPr/>
          </p:nvSpPr>
          <p:spPr>
            <a:xfrm>
              <a:off x="5875275" y="2561575"/>
              <a:ext cx="62225" cy="53425"/>
            </a:xfrm>
            <a:custGeom>
              <a:avLst/>
              <a:gdLst/>
              <a:ahLst/>
              <a:cxnLst/>
              <a:rect l="l" t="t" r="r" b="b"/>
              <a:pathLst>
                <a:path w="2489" h="2137" extrusionOk="0">
                  <a:moveTo>
                    <a:pt x="1065" y="0"/>
                  </a:moveTo>
                  <a:cubicBezTo>
                    <a:pt x="480" y="8"/>
                    <a:pt x="0" y="480"/>
                    <a:pt x="0" y="1073"/>
                  </a:cubicBezTo>
                  <a:cubicBezTo>
                    <a:pt x="0" y="1711"/>
                    <a:pt x="525" y="2137"/>
                    <a:pt x="1073" y="2137"/>
                  </a:cubicBezTo>
                  <a:cubicBezTo>
                    <a:pt x="1335" y="2137"/>
                    <a:pt x="1603" y="2039"/>
                    <a:pt x="1821" y="1821"/>
                  </a:cubicBezTo>
                  <a:cubicBezTo>
                    <a:pt x="2488" y="1154"/>
                    <a:pt x="2017" y="0"/>
                    <a:pt x="1065"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898" name="Google Shape;2898;p104"/>
            <p:cNvSpPr/>
            <p:nvPr/>
          </p:nvSpPr>
          <p:spPr>
            <a:xfrm>
              <a:off x="5875275" y="2485550"/>
              <a:ext cx="62225" cy="53300"/>
            </a:xfrm>
            <a:custGeom>
              <a:avLst/>
              <a:gdLst/>
              <a:ahLst/>
              <a:cxnLst/>
              <a:rect l="l" t="t" r="r" b="b"/>
              <a:pathLst>
                <a:path w="2489" h="2132" extrusionOk="0">
                  <a:moveTo>
                    <a:pt x="1065" y="1"/>
                  </a:moveTo>
                  <a:cubicBezTo>
                    <a:pt x="480" y="1"/>
                    <a:pt x="0" y="472"/>
                    <a:pt x="0" y="1066"/>
                  </a:cubicBezTo>
                  <a:cubicBezTo>
                    <a:pt x="0" y="1708"/>
                    <a:pt x="523" y="2131"/>
                    <a:pt x="1070" y="2131"/>
                  </a:cubicBezTo>
                  <a:cubicBezTo>
                    <a:pt x="1333" y="2131"/>
                    <a:pt x="1602" y="2033"/>
                    <a:pt x="1821" y="1814"/>
                  </a:cubicBezTo>
                  <a:cubicBezTo>
                    <a:pt x="2488" y="1147"/>
                    <a:pt x="2017" y="1"/>
                    <a:pt x="1065"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899" name="Google Shape;2899;p104"/>
            <p:cNvSpPr/>
            <p:nvPr/>
          </p:nvSpPr>
          <p:spPr>
            <a:xfrm>
              <a:off x="5875275" y="2333125"/>
              <a:ext cx="62225" cy="53450"/>
            </a:xfrm>
            <a:custGeom>
              <a:avLst/>
              <a:gdLst/>
              <a:ahLst/>
              <a:cxnLst/>
              <a:rect l="l" t="t" r="r" b="b"/>
              <a:pathLst>
                <a:path w="2489" h="2138" extrusionOk="0">
                  <a:moveTo>
                    <a:pt x="1065" y="1"/>
                  </a:moveTo>
                  <a:cubicBezTo>
                    <a:pt x="480" y="1"/>
                    <a:pt x="0" y="480"/>
                    <a:pt x="0" y="1066"/>
                  </a:cubicBezTo>
                  <a:cubicBezTo>
                    <a:pt x="0" y="1709"/>
                    <a:pt x="526" y="2137"/>
                    <a:pt x="1074" y="2137"/>
                  </a:cubicBezTo>
                  <a:cubicBezTo>
                    <a:pt x="1336" y="2137"/>
                    <a:pt x="1603" y="2040"/>
                    <a:pt x="1821" y="1822"/>
                  </a:cubicBezTo>
                  <a:cubicBezTo>
                    <a:pt x="2488" y="1147"/>
                    <a:pt x="2017" y="1"/>
                    <a:pt x="1065"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900" name="Google Shape;2900;p104"/>
            <p:cNvSpPr/>
            <p:nvPr/>
          </p:nvSpPr>
          <p:spPr>
            <a:xfrm>
              <a:off x="5875275" y="2256925"/>
              <a:ext cx="62350" cy="53425"/>
            </a:xfrm>
            <a:custGeom>
              <a:avLst/>
              <a:gdLst/>
              <a:ahLst/>
              <a:cxnLst/>
              <a:rect l="l" t="t" r="r" b="b"/>
              <a:pathLst>
                <a:path w="2494" h="2137" extrusionOk="0">
                  <a:moveTo>
                    <a:pt x="1075" y="0"/>
                  </a:moveTo>
                  <a:cubicBezTo>
                    <a:pt x="1072" y="0"/>
                    <a:pt x="1069" y="0"/>
                    <a:pt x="1065" y="0"/>
                  </a:cubicBezTo>
                  <a:cubicBezTo>
                    <a:pt x="480" y="0"/>
                    <a:pt x="0" y="480"/>
                    <a:pt x="0" y="1065"/>
                  </a:cubicBezTo>
                  <a:cubicBezTo>
                    <a:pt x="0" y="1709"/>
                    <a:pt x="529" y="2137"/>
                    <a:pt x="1078" y="2137"/>
                  </a:cubicBezTo>
                  <a:cubicBezTo>
                    <a:pt x="1340" y="2137"/>
                    <a:pt x="1606" y="2039"/>
                    <a:pt x="1821" y="1821"/>
                  </a:cubicBezTo>
                  <a:cubicBezTo>
                    <a:pt x="2494" y="1149"/>
                    <a:pt x="2020" y="0"/>
                    <a:pt x="1075"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901" name="Google Shape;2901;p104"/>
            <p:cNvSpPr/>
            <p:nvPr/>
          </p:nvSpPr>
          <p:spPr>
            <a:xfrm>
              <a:off x="5875275" y="1342750"/>
              <a:ext cx="62225" cy="53450"/>
            </a:xfrm>
            <a:custGeom>
              <a:avLst/>
              <a:gdLst/>
              <a:ahLst/>
              <a:cxnLst/>
              <a:rect l="l" t="t" r="r" b="b"/>
              <a:pathLst>
                <a:path w="2489" h="2138" extrusionOk="0">
                  <a:moveTo>
                    <a:pt x="1065" y="1"/>
                  </a:moveTo>
                  <a:cubicBezTo>
                    <a:pt x="480" y="1"/>
                    <a:pt x="0" y="481"/>
                    <a:pt x="0" y="1066"/>
                  </a:cubicBezTo>
                  <a:cubicBezTo>
                    <a:pt x="0" y="1710"/>
                    <a:pt x="526" y="2138"/>
                    <a:pt x="1074" y="2138"/>
                  </a:cubicBezTo>
                  <a:cubicBezTo>
                    <a:pt x="1336" y="2138"/>
                    <a:pt x="1603" y="2040"/>
                    <a:pt x="1821" y="1822"/>
                  </a:cubicBezTo>
                  <a:cubicBezTo>
                    <a:pt x="2488" y="1147"/>
                    <a:pt x="2017" y="1"/>
                    <a:pt x="1065"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902" name="Google Shape;2902;p104"/>
            <p:cNvSpPr/>
            <p:nvPr/>
          </p:nvSpPr>
          <p:spPr>
            <a:xfrm>
              <a:off x="5799275" y="2714000"/>
              <a:ext cx="62200" cy="53350"/>
            </a:xfrm>
            <a:custGeom>
              <a:avLst/>
              <a:gdLst/>
              <a:ahLst/>
              <a:cxnLst/>
              <a:rect l="l" t="t" r="r" b="b"/>
              <a:pathLst>
                <a:path w="2488" h="2134" extrusionOk="0">
                  <a:moveTo>
                    <a:pt x="1057" y="0"/>
                  </a:moveTo>
                  <a:cubicBezTo>
                    <a:pt x="472" y="0"/>
                    <a:pt x="0" y="480"/>
                    <a:pt x="0" y="1065"/>
                  </a:cubicBezTo>
                  <a:cubicBezTo>
                    <a:pt x="0" y="1709"/>
                    <a:pt x="525" y="2133"/>
                    <a:pt x="1071" y="2133"/>
                  </a:cubicBezTo>
                  <a:cubicBezTo>
                    <a:pt x="1332" y="2133"/>
                    <a:pt x="1598" y="2036"/>
                    <a:pt x="1813" y="1821"/>
                  </a:cubicBezTo>
                  <a:cubicBezTo>
                    <a:pt x="2488" y="1146"/>
                    <a:pt x="2008" y="0"/>
                    <a:pt x="1057"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903" name="Google Shape;2903;p104"/>
            <p:cNvSpPr/>
            <p:nvPr/>
          </p:nvSpPr>
          <p:spPr>
            <a:xfrm>
              <a:off x="5799275" y="1342750"/>
              <a:ext cx="62200" cy="53450"/>
            </a:xfrm>
            <a:custGeom>
              <a:avLst/>
              <a:gdLst/>
              <a:ahLst/>
              <a:cxnLst/>
              <a:rect l="l" t="t" r="r" b="b"/>
              <a:pathLst>
                <a:path w="2488" h="2138" extrusionOk="0">
                  <a:moveTo>
                    <a:pt x="1057" y="1"/>
                  </a:moveTo>
                  <a:cubicBezTo>
                    <a:pt x="472" y="9"/>
                    <a:pt x="0" y="481"/>
                    <a:pt x="0" y="1066"/>
                  </a:cubicBezTo>
                  <a:cubicBezTo>
                    <a:pt x="0" y="1710"/>
                    <a:pt x="525" y="2138"/>
                    <a:pt x="1071" y="2138"/>
                  </a:cubicBezTo>
                  <a:cubicBezTo>
                    <a:pt x="1332" y="2138"/>
                    <a:pt x="1597" y="2040"/>
                    <a:pt x="1813" y="1822"/>
                  </a:cubicBezTo>
                  <a:cubicBezTo>
                    <a:pt x="2488" y="1147"/>
                    <a:pt x="2008" y="1"/>
                    <a:pt x="1057"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904" name="Google Shape;2904;p104"/>
            <p:cNvSpPr/>
            <p:nvPr/>
          </p:nvSpPr>
          <p:spPr>
            <a:xfrm>
              <a:off x="5799125" y="1190550"/>
              <a:ext cx="62350" cy="53425"/>
            </a:xfrm>
            <a:custGeom>
              <a:avLst/>
              <a:gdLst/>
              <a:ahLst/>
              <a:cxnLst/>
              <a:rect l="l" t="t" r="r" b="b"/>
              <a:pathLst>
                <a:path w="2494" h="2137" extrusionOk="0">
                  <a:moveTo>
                    <a:pt x="1063" y="0"/>
                  </a:moveTo>
                  <a:cubicBezTo>
                    <a:pt x="478" y="0"/>
                    <a:pt x="6" y="480"/>
                    <a:pt x="6" y="1065"/>
                  </a:cubicBezTo>
                  <a:cubicBezTo>
                    <a:pt x="1" y="1709"/>
                    <a:pt x="528" y="2137"/>
                    <a:pt x="1076" y="2137"/>
                  </a:cubicBezTo>
                  <a:cubicBezTo>
                    <a:pt x="1337" y="2137"/>
                    <a:pt x="1603" y="2039"/>
                    <a:pt x="1819" y="1821"/>
                  </a:cubicBezTo>
                  <a:cubicBezTo>
                    <a:pt x="2494" y="1146"/>
                    <a:pt x="2014" y="0"/>
                    <a:pt x="1063"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905" name="Google Shape;2905;p104"/>
            <p:cNvSpPr/>
            <p:nvPr/>
          </p:nvSpPr>
          <p:spPr>
            <a:xfrm>
              <a:off x="5723050" y="3094850"/>
              <a:ext cx="62225" cy="53350"/>
            </a:xfrm>
            <a:custGeom>
              <a:avLst/>
              <a:gdLst/>
              <a:ahLst/>
              <a:cxnLst/>
              <a:rect l="l" t="t" r="r" b="b"/>
              <a:pathLst>
                <a:path w="2489" h="2134" extrusionOk="0">
                  <a:moveTo>
                    <a:pt x="1065" y="1"/>
                  </a:moveTo>
                  <a:cubicBezTo>
                    <a:pt x="472" y="1"/>
                    <a:pt x="0" y="480"/>
                    <a:pt x="0" y="1066"/>
                  </a:cubicBezTo>
                  <a:cubicBezTo>
                    <a:pt x="0" y="1709"/>
                    <a:pt x="526" y="2134"/>
                    <a:pt x="1072" y="2134"/>
                  </a:cubicBezTo>
                  <a:cubicBezTo>
                    <a:pt x="1333" y="2134"/>
                    <a:pt x="1598" y="2037"/>
                    <a:pt x="1813" y="1822"/>
                  </a:cubicBezTo>
                  <a:cubicBezTo>
                    <a:pt x="2488" y="1147"/>
                    <a:pt x="2008" y="1"/>
                    <a:pt x="1065"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906" name="Google Shape;2906;p104"/>
            <p:cNvSpPr/>
            <p:nvPr/>
          </p:nvSpPr>
          <p:spPr>
            <a:xfrm>
              <a:off x="5723050" y="3018650"/>
              <a:ext cx="62225" cy="53425"/>
            </a:xfrm>
            <a:custGeom>
              <a:avLst/>
              <a:gdLst/>
              <a:ahLst/>
              <a:cxnLst/>
              <a:rect l="l" t="t" r="r" b="b"/>
              <a:pathLst>
                <a:path w="2489" h="2137" extrusionOk="0">
                  <a:moveTo>
                    <a:pt x="1065" y="0"/>
                  </a:moveTo>
                  <a:cubicBezTo>
                    <a:pt x="472" y="0"/>
                    <a:pt x="0" y="480"/>
                    <a:pt x="0" y="1065"/>
                  </a:cubicBezTo>
                  <a:cubicBezTo>
                    <a:pt x="0" y="1709"/>
                    <a:pt x="526" y="2137"/>
                    <a:pt x="1072" y="2137"/>
                  </a:cubicBezTo>
                  <a:cubicBezTo>
                    <a:pt x="1332" y="2137"/>
                    <a:pt x="1598" y="2039"/>
                    <a:pt x="1813" y="1821"/>
                  </a:cubicBezTo>
                  <a:cubicBezTo>
                    <a:pt x="2488" y="1146"/>
                    <a:pt x="2008" y="0"/>
                    <a:pt x="1065"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907" name="Google Shape;2907;p104"/>
            <p:cNvSpPr/>
            <p:nvPr/>
          </p:nvSpPr>
          <p:spPr>
            <a:xfrm>
              <a:off x="5723050" y="2942425"/>
              <a:ext cx="62225" cy="53450"/>
            </a:xfrm>
            <a:custGeom>
              <a:avLst/>
              <a:gdLst/>
              <a:ahLst/>
              <a:cxnLst/>
              <a:rect l="l" t="t" r="r" b="b"/>
              <a:pathLst>
                <a:path w="2489" h="2138" extrusionOk="0">
                  <a:moveTo>
                    <a:pt x="1065" y="1"/>
                  </a:moveTo>
                  <a:cubicBezTo>
                    <a:pt x="472" y="9"/>
                    <a:pt x="0" y="480"/>
                    <a:pt x="0" y="1074"/>
                  </a:cubicBezTo>
                  <a:cubicBezTo>
                    <a:pt x="0" y="1712"/>
                    <a:pt x="525" y="2137"/>
                    <a:pt x="1071" y="2137"/>
                  </a:cubicBezTo>
                  <a:cubicBezTo>
                    <a:pt x="1332" y="2137"/>
                    <a:pt x="1598" y="2040"/>
                    <a:pt x="1813" y="1822"/>
                  </a:cubicBezTo>
                  <a:cubicBezTo>
                    <a:pt x="2488" y="1147"/>
                    <a:pt x="2008" y="1"/>
                    <a:pt x="1065"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908" name="Google Shape;2908;p104"/>
            <p:cNvSpPr/>
            <p:nvPr/>
          </p:nvSpPr>
          <p:spPr>
            <a:xfrm>
              <a:off x="5723050" y="2714000"/>
              <a:ext cx="62225" cy="53350"/>
            </a:xfrm>
            <a:custGeom>
              <a:avLst/>
              <a:gdLst/>
              <a:ahLst/>
              <a:cxnLst/>
              <a:rect l="l" t="t" r="r" b="b"/>
              <a:pathLst>
                <a:path w="2489" h="2134" extrusionOk="0">
                  <a:moveTo>
                    <a:pt x="1065" y="0"/>
                  </a:moveTo>
                  <a:cubicBezTo>
                    <a:pt x="472" y="0"/>
                    <a:pt x="0" y="480"/>
                    <a:pt x="0" y="1065"/>
                  </a:cubicBezTo>
                  <a:cubicBezTo>
                    <a:pt x="0" y="1709"/>
                    <a:pt x="526" y="2133"/>
                    <a:pt x="1072" y="2133"/>
                  </a:cubicBezTo>
                  <a:cubicBezTo>
                    <a:pt x="1333" y="2133"/>
                    <a:pt x="1598" y="2036"/>
                    <a:pt x="1813" y="1821"/>
                  </a:cubicBezTo>
                  <a:cubicBezTo>
                    <a:pt x="2488" y="1146"/>
                    <a:pt x="2008" y="0"/>
                    <a:pt x="1065"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909" name="Google Shape;2909;p104"/>
            <p:cNvSpPr/>
            <p:nvPr/>
          </p:nvSpPr>
          <p:spPr>
            <a:xfrm>
              <a:off x="5723050" y="1342750"/>
              <a:ext cx="62225" cy="53450"/>
            </a:xfrm>
            <a:custGeom>
              <a:avLst/>
              <a:gdLst/>
              <a:ahLst/>
              <a:cxnLst/>
              <a:rect l="l" t="t" r="r" b="b"/>
              <a:pathLst>
                <a:path w="2489" h="2138" extrusionOk="0">
                  <a:moveTo>
                    <a:pt x="1065" y="1"/>
                  </a:moveTo>
                  <a:cubicBezTo>
                    <a:pt x="472" y="1"/>
                    <a:pt x="0" y="481"/>
                    <a:pt x="0" y="1066"/>
                  </a:cubicBezTo>
                  <a:cubicBezTo>
                    <a:pt x="0" y="1710"/>
                    <a:pt x="526" y="2138"/>
                    <a:pt x="1072" y="2138"/>
                  </a:cubicBezTo>
                  <a:cubicBezTo>
                    <a:pt x="1332" y="2138"/>
                    <a:pt x="1598" y="2040"/>
                    <a:pt x="1813" y="1822"/>
                  </a:cubicBezTo>
                  <a:cubicBezTo>
                    <a:pt x="2488" y="1147"/>
                    <a:pt x="2008" y="1"/>
                    <a:pt x="1065"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910" name="Google Shape;2910;p104"/>
            <p:cNvSpPr/>
            <p:nvPr/>
          </p:nvSpPr>
          <p:spPr>
            <a:xfrm>
              <a:off x="5722900" y="1190550"/>
              <a:ext cx="62375" cy="53425"/>
            </a:xfrm>
            <a:custGeom>
              <a:avLst/>
              <a:gdLst/>
              <a:ahLst/>
              <a:cxnLst/>
              <a:rect l="l" t="t" r="r" b="b"/>
              <a:pathLst>
                <a:path w="2495" h="2137" extrusionOk="0">
                  <a:moveTo>
                    <a:pt x="1071" y="0"/>
                  </a:moveTo>
                  <a:cubicBezTo>
                    <a:pt x="478" y="0"/>
                    <a:pt x="6" y="480"/>
                    <a:pt x="6" y="1065"/>
                  </a:cubicBezTo>
                  <a:cubicBezTo>
                    <a:pt x="1" y="1709"/>
                    <a:pt x="524" y="2137"/>
                    <a:pt x="1072" y="2137"/>
                  </a:cubicBezTo>
                  <a:cubicBezTo>
                    <a:pt x="1334" y="2137"/>
                    <a:pt x="1601" y="2039"/>
                    <a:pt x="1819" y="1821"/>
                  </a:cubicBezTo>
                  <a:cubicBezTo>
                    <a:pt x="2494" y="1146"/>
                    <a:pt x="2014" y="0"/>
                    <a:pt x="1071"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911" name="Google Shape;2911;p104"/>
            <p:cNvSpPr/>
            <p:nvPr/>
          </p:nvSpPr>
          <p:spPr>
            <a:xfrm>
              <a:off x="5646825" y="3018650"/>
              <a:ext cx="62225" cy="53425"/>
            </a:xfrm>
            <a:custGeom>
              <a:avLst/>
              <a:gdLst/>
              <a:ahLst/>
              <a:cxnLst/>
              <a:rect l="l" t="t" r="r" b="b"/>
              <a:pathLst>
                <a:path w="2489" h="2137" extrusionOk="0">
                  <a:moveTo>
                    <a:pt x="1066" y="0"/>
                  </a:moveTo>
                  <a:cubicBezTo>
                    <a:pt x="472" y="0"/>
                    <a:pt x="1" y="480"/>
                    <a:pt x="1" y="1065"/>
                  </a:cubicBezTo>
                  <a:cubicBezTo>
                    <a:pt x="1" y="1709"/>
                    <a:pt x="526" y="2137"/>
                    <a:pt x="1072" y="2137"/>
                  </a:cubicBezTo>
                  <a:cubicBezTo>
                    <a:pt x="1333" y="2137"/>
                    <a:pt x="1598" y="2039"/>
                    <a:pt x="1814" y="1821"/>
                  </a:cubicBezTo>
                  <a:cubicBezTo>
                    <a:pt x="2489" y="1146"/>
                    <a:pt x="2017" y="0"/>
                    <a:pt x="1066"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912" name="Google Shape;2912;p104"/>
            <p:cNvSpPr/>
            <p:nvPr/>
          </p:nvSpPr>
          <p:spPr>
            <a:xfrm>
              <a:off x="5646825" y="2866425"/>
              <a:ext cx="62225" cy="53275"/>
            </a:xfrm>
            <a:custGeom>
              <a:avLst/>
              <a:gdLst/>
              <a:ahLst/>
              <a:cxnLst/>
              <a:rect l="l" t="t" r="r" b="b"/>
              <a:pathLst>
                <a:path w="2489" h="2131" extrusionOk="0">
                  <a:moveTo>
                    <a:pt x="1066" y="0"/>
                  </a:moveTo>
                  <a:cubicBezTo>
                    <a:pt x="472" y="0"/>
                    <a:pt x="1" y="472"/>
                    <a:pt x="1" y="1065"/>
                  </a:cubicBezTo>
                  <a:cubicBezTo>
                    <a:pt x="1" y="1707"/>
                    <a:pt x="523" y="2131"/>
                    <a:pt x="1068" y="2131"/>
                  </a:cubicBezTo>
                  <a:cubicBezTo>
                    <a:pt x="1330" y="2131"/>
                    <a:pt x="1597" y="2032"/>
                    <a:pt x="1814" y="1813"/>
                  </a:cubicBezTo>
                  <a:cubicBezTo>
                    <a:pt x="2489" y="1146"/>
                    <a:pt x="2017" y="0"/>
                    <a:pt x="1066"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913" name="Google Shape;2913;p104"/>
            <p:cNvSpPr/>
            <p:nvPr/>
          </p:nvSpPr>
          <p:spPr>
            <a:xfrm>
              <a:off x="5646825" y="2790200"/>
              <a:ext cx="62225" cy="53350"/>
            </a:xfrm>
            <a:custGeom>
              <a:avLst/>
              <a:gdLst/>
              <a:ahLst/>
              <a:cxnLst/>
              <a:rect l="l" t="t" r="r" b="b"/>
              <a:pathLst>
                <a:path w="2489" h="2134" extrusionOk="0">
                  <a:moveTo>
                    <a:pt x="1066" y="1"/>
                  </a:moveTo>
                  <a:cubicBezTo>
                    <a:pt x="472" y="1"/>
                    <a:pt x="1" y="480"/>
                    <a:pt x="1" y="1066"/>
                  </a:cubicBezTo>
                  <a:cubicBezTo>
                    <a:pt x="1" y="1709"/>
                    <a:pt x="526" y="2134"/>
                    <a:pt x="1072" y="2134"/>
                  </a:cubicBezTo>
                  <a:cubicBezTo>
                    <a:pt x="1333" y="2134"/>
                    <a:pt x="1598" y="2037"/>
                    <a:pt x="1814" y="1822"/>
                  </a:cubicBezTo>
                  <a:cubicBezTo>
                    <a:pt x="2489" y="1147"/>
                    <a:pt x="2017" y="1"/>
                    <a:pt x="1066"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914" name="Google Shape;2914;p104"/>
            <p:cNvSpPr/>
            <p:nvPr/>
          </p:nvSpPr>
          <p:spPr>
            <a:xfrm>
              <a:off x="5646825" y="1342750"/>
              <a:ext cx="62225" cy="53450"/>
            </a:xfrm>
            <a:custGeom>
              <a:avLst/>
              <a:gdLst/>
              <a:ahLst/>
              <a:cxnLst/>
              <a:rect l="l" t="t" r="r" b="b"/>
              <a:pathLst>
                <a:path w="2489" h="2138" extrusionOk="0">
                  <a:moveTo>
                    <a:pt x="1066" y="1"/>
                  </a:moveTo>
                  <a:cubicBezTo>
                    <a:pt x="472" y="1"/>
                    <a:pt x="1" y="481"/>
                    <a:pt x="1" y="1066"/>
                  </a:cubicBezTo>
                  <a:cubicBezTo>
                    <a:pt x="1" y="1710"/>
                    <a:pt x="526" y="2138"/>
                    <a:pt x="1072" y="2138"/>
                  </a:cubicBezTo>
                  <a:cubicBezTo>
                    <a:pt x="1333" y="2138"/>
                    <a:pt x="1598" y="2040"/>
                    <a:pt x="1814" y="1822"/>
                  </a:cubicBezTo>
                  <a:cubicBezTo>
                    <a:pt x="2489" y="1147"/>
                    <a:pt x="2017" y="1"/>
                    <a:pt x="1066"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915" name="Google Shape;2915;p104"/>
            <p:cNvSpPr/>
            <p:nvPr/>
          </p:nvSpPr>
          <p:spPr>
            <a:xfrm>
              <a:off x="5646825" y="1266550"/>
              <a:ext cx="62225" cy="53450"/>
            </a:xfrm>
            <a:custGeom>
              <a:avLst/>
              <a:gdLst/>
              <a:ahLst/>
              <a:cxnLst/>
              <a:rect l="l" t="t" r="r" b="b"/>
              <a:pathLst>
                <a:path w="2489" h="2138" extrusionOk="0">
                  <a:moveTo>
                    <a:pt x="1066" y="0"/>
                  </a:moveTo>
                  <a:cubicBezTo>
                    <a:pt x="472" y="9"/>
                    <a:pt x="1" y="480"/>
                    <a:pt x="1" y="1074"/>
                  </a:cubicBezTo>
                  <a:cubicBezTo>
                    <a:pt x="1" y="1711"/>
                    <a:pt x="525" y="2137"/>
                    <a:pt x="1071" y="2137"/>
                  </a:cubicBezTo>
                  <a:cubicBezTo>
                    <a:pt x="1332" y="2137"/>
                    <a:pt x="1598" y="2040"/>
                    <a:pt x="1814" y="1821"/>
                  </a:cubicBezTo>
                  <a:cubicBezTo>
                    <a:pt x="2489" y="1155"/>
                    <a:pt x="2017" y="0"/>
                    <a:pt x="1066"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916" name="Google Shape;2916;p104"/>
            <p:cNvSpPr/>
            <p:nvPr/>
          </p:nvSpPr>
          <p:spPr>
            <a:xfrm>
              <a:off x="5646700" y="1190550"/>
              <a:ext cx="62350" cy="53425"/>
            </a:xfrm>
            <a:custGeom>
              <a:avLst/>
              <a:gdLst/>
              <a:ahLst/>
              <a:cxnLst/>
              <a:rect l="l" t="t" r="r" b="b"/>
              <a:pathLst>
                <a:path w="2494" h="2137" extrusionOk="0">
                  <a:moveTo>
                    <a:pt x="1071" y="0"/>
                  </a:moveTo>
                  <a:cubicBezTo>
                    <a:pt x="486" y="0"/>
                    <a:pt x="6" y="480"/>
                    <a:pt x="6" y="1065"/>
                  </a:cubicBezTo>
                  <a:cubicBezTo>
                    <a:pt x="0" y="1709"/>
                    <a:pt x="524" y="2137"/>
                    <a:pt x="1072" y="2137"/>
                  </a:cubicBezTo>
                  <a:cubicBezTo>
                    <a:pt x="1333" y="2137"/>
                    <a:pt x="1601" y="2039"/>
                    <a:pt x="1819" y="1821"/>
                  </a:cubicBezTo>
                  <a:cubicBezTo>
                    <a:pt x="2494" y="1154"/>
                    <a:pt x="2022" y="0"/>
                    <a:pt x="1071"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917" name="Google Shape;2917;p104"/>
            <p:cNvSpPr/>
            <p:nvPr/>
          </p:nvSpPr>
          <p:spPr>
            <a:xfrm>
              <a:off x="5570625" y="3018650"/>
              <a:ext cx="62200" cy="53425"/>
            </a:xfrm>
            <a:custGeom>
              <a:avLst/>
              <a:gdLst/>
              <a:ahLst/>
              <a:cxnLst/>
              <a:rect l="l" t="t" r="r" b="b"/>
              <a:pathLst>
                <a:path w="2488" h="2137" extrusionOk="0">
                  <a:moveTo>
                    <a:pt x="1065" y="0"/>
                  </a:moveTo>
                  <a:cubicBezTo>
                    <a:pt x="472" y="0"/>
                    <a:pt x="0" y="480"/>
                    <a:pt x="0" y="1065"/>
                  </a:cubicBezTo>
                  <a:cubicBezTo>
                    <a:pt x="0" y="1709"/>
                    <a:pt x="526" y="2137"/>
                    <a:pt x="1072" y="2137"/>
                  </a:cubicBezTo>
                  <a:cubicBezTo>
                    <a:pt x="1332" y="2137"/>
                    <a:pt x="1598" y="2039"/>
                    <a:pt x="1813" y="1821"/>
                  </a:cubicBezTo>
                  <a:cubicBezTo>
                    <a:pt x="2488" y="1155"/>
                    <a:pt x="2016" y="0"/>
                    <a:pt x="1065"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918" name="Google Shape;2918;p104"/>
            <p:cNvSpPr/>
            <p:nvPr/>
          </p:nvSpPr>
          <p:spPr>
            <a:xfrm>
              <a:off x="5570625" y="2942425"/>
              <a:ext cx="62200" cy="53450"/>
            </a:xfrm>
            <a:custGeom>
              <a:avLst/>
              <a:gdLst/>
              <a:ahLst/>
              <a:cxnLst/>
              <a:rect l="l" t="t" r="r" b="b"/>
              <a:pathLst>
                <a:path w="2488" h="2138" extrusionOk="0">
                  <a:moveTo>
                    <a:pt x="1065" y="1"/>
                  </a:moveTo>
                  <a:cubicBezTo>
                    <a:pt x="472" y="1"/>
                    <a:pt x="0" y="480"/>
                    <a:pt x="0" y="1074"/>
                  </a:cubicBezTo>
                  <a:cubicBezTo>
                    <a:pt x="0" y="1712"/>
                    <a:pt x="525" y="2137"/>
                    <a:pt x="1071" y="2137"/>
                  </a:cubicBezTo>
                  <a:cubicBezTo>
                    <a:pt x="1332" y="2137"/>
                    <a:pt x="1598" y="2040"/>
                    <a:pt x="1813" y="1822"/>
                  </a:cubicBezTo>
                  <a:cubicBezTo>
                    <a:pt x="2488" y="1155"/>
                    <a:pt x="2016" y="1"/>
                    <a:pt x="1065"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919" name="Google Shape;2919;p104"/>
            <p:cNvSpPr/>
            <p:nvPr/>
          </p:nvSpPr>
          <p:spPr>
            <a:xfrm>
              <a:off x="5570475" y="1190550"/>
              <a:ext cx="62350" cy="53325"/>
            </a:xfrm>
            <a:custGeom>
              <a:avLst/>
              <a:gdLst/>
              <a:ahLst/>
              <a:cxnLst/>
              <a:rect l="l" t="t" r="r" b="b"/>
              <a:pathLst>
                <a:path w="2494" h="2133" extrusionOk="0">
                  <a:moveTo>
                    <a:pt x="1071" y="0"/>
                  </a:moveTo>
                  <a:cubicBezTo>
                    <a:pt x="486" y="0"/>
                    <a:pt x="6" y="472"/>
                    <a:pt x="6" y="1065"/>
                  </a:cubicBezTo>
                  <a:cubicBezTo>
                    <a:pt x="1" y="1709"/>
                    <a:pt x="524" y="2133"/>
                    <a:pt x="1073" y="2133"/>
                  </a:cubicBezTo>
                  <a:cubicBezTo>
                    <a:pt x="1334" y="2133"/>
                    <a:pt x="1601" y="2036"/>
                    <a:pt x="1819" y="1821"/>
                  </a:cubicBezTo>
                  <a:cubicBezTo>
                    <a:pt x="2494" y="1154"/>
                    <a:pt x="2022" y="0"/>
                    <a:pt x="1071"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920" name="Google Shape;2920;p104"/>
            <p:cNvSpPr/>
            <p:nvPr/>
          </p:nvSpPr>
          <p:spPr>
            <a:xfrm>
              <a:off x="5494400" y="2942425"/>
              <a:ext cx="62225" cy="53450"/>
            </a:xfrm>
            <a:custGeom>
              <a:avLst/>
              <a:gdLst/>
              <a:ahLst/>
              <a:cxnLst/>
              <a:rect l="l" t="t" r="r" b="b"/>
              <a:pathLst>
                <a:path w="2489" h="2138" extrusionOk="0">
                  <a:moveTo>
                    <a:pt x="1066" y="1"/>
                  </a:moveTo>
                  <a:cubicBezTo>
                    <a:pt x="480" y="1"/>
                    <a:pt x="1" y="480"/>
                    <a:pt x="1" y="1066"/>
                  </a:cubicBezTo>
                  <a:cubicBezTo>
                    <a:pt x="1" y="1709"/>
                    <a:pt x="526" y="2137"/>
                    <a:pt x="1075" y="2137"/>
                  </a:cubicBezTo>
                  <a:cubicBezTo>
                    <a:pt x="1337" y="2137"/>
                    <a:pt x="1604" y="2040"/>
                    <a:pt x="1822" y="1822"/>
                  </a:cubicBezTo>
                  <a:cubicBezTo>
                    <a:pt x="2488" y="1155"/>
                    <a:pt x="2017" y="1"/>
                    <a:pt x="1066"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921" name="Google Shape;2921;p104"/>
            <p:cNvSpPr/>
            <p:nvPr/>
          </p:nvSpPr>
          <p:spPr>
            <a:xfrm>
              <a:off x="5494400" y="2866425"/>
              <a:ext cx="62225" cy="53275"/>
            </a:xfrm>
            <a:custGeom>
              <a:avLst/>
              <a:gdLst/>
              <a:ahLst/>
              <a:cxnLst/>
              <a:rect l="l" t="t" r="r" b="b"/>
              <a:pathLst>
                <a:path w="2489" h="2131" extrusionOk="0">
                  <a:moveTo>
                    <a:pt x="1066" y="0"/>
                  </a:moveTo>
                  <a:cubicBezTo>
                    <a:pt x="480" y="0"/>
                    <a:pt x="1" y="472"/>
                    <a:pt x="1" y="1065"/>
                  </a:cubicBezTo>
                  <a:cubicBezTo>
                    <a:pt x="1" y="1707"/>
                    <a:pt x="523" y="2131"/>
                    <a:pt x="1070" y="2131"/>
                  </a:cubicBezTo>
                  <a:cubicBezTo>
                    <a:pt x="1333" y="2131"/>
                    <a:pt x="1603" y="2032"/>
                    <a:pt x="1822" y="1813"/>
                  </a:cubicBezTo>
                  <a:cubicBezTo>
                    <a:pt x="2488" y="1146"/>
                    <a:pt x="2017" y="0"/>
                    <a:pt x="1066"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922" name="Google Shape;2922;p104"/>
            <p:cNvSpPr/>
            <p:nvPr/>
          </p:nvSpPr>
          <p:spPr>
            <a:xfrm>
              <a:off x="5494275" y="1190550"/>
              <a:ext cx="62350" cy="53325"/>
            </a:xfrm>
            <a:custGeom>
              <a:avLst/>
              <a:gdLst/>
              <a:ahLst/>
              <a:cxnLst/>
              <a:rect l="l" t="t" r="r" b="b"/>
              <a:pathLst>
                <a:path w="2494" h="2133" extrusionOk="0">
                  <a:moveTo>
                    <a:pt x="1071" y="0"/>
                  </a:moveTo>
                  <a:cubicBezTo>
                    <a:pt x="485" y="0"/>
                    <a:pt x="6" y="472"/>
                    <a:pt x="6" y="1065"/>
                  </a:cubicBezTo>
                  <a:cubicBezTo>
                    <a:pt x="0" y="1709"/>
                    <a:pt x="524" y="2133"/>
                    <a:pt x="1072" y="2133"/>
                  </a:cubicBezTo>
                  <a:cubicBezTo>
                    <a:pt x="1334" y="2133"/>
                    <a:pt x="1601" y="2036"/>
                    <a:pt x="1819" y="1821"/>
                  </a:cubicBezTo>
                  <a:cubicBezTo>
                    <a:pt x="2493" y="1154"/>
                    <a:pt x="2022" y="0"/>
                    <a:pt x="1071"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923" name="Google Shape;2923;p104"/>
            <p:cNvSpPr/>
            <p:nvPr/>
          </p:nvSpPr>
          <p:spPr>
            <a:xfrm>
              <a:off x="5418200" y="2866425"/>
              <a:ext cx="62425" cy="53275"/>
            </a:xfrm>
            <a:custGeom>
              <a:avLst/>
              <a:gdLst/>
              <a:ahLst/>
              <a:cxnLst/>
              <a:rect l="l" t="t" r="r" b="b"/>
              <a:pathLst>
                <a:path w="2497" h="2131" extrusionOk="0">
                  <a:moveTo>
                    <a:pt x="1065" y="0"/>
                  </a:moveTo>
                  <a:cubicBezTo>
                    <a:pt x="480" y="0"/>
                    <a:pt x="0" y="472"/>
                    <a:pt x="0" y="1065"/>
                  </a:cubicBezTo>
                  <a:cubicBezTo>
                    <a:pt x="0" y="1707"/>
                    <a:pt x="526" y="2131"/>
                    <a:pt x="1073" y="2131"/>
                  </a:cubicBezTo>
                  <a:cubicBezTo>
                    <a:pt x="1336" y="2131"/>
                    <a:pt x="1605" y="2032"/>
                    <a:pt x="1821" y="1813"/>
                  </a:cubicBezTo>
                  <a:cubicBezTo>
                    <a:pt x="2496" y="1146"/>
                    <a:pt x="2016" y="0"/>
                    <a:pt x="1065"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924" name="Google Shape;2924;p104"/>
            <p:cNvSpPr/>
            <p:nvPr/>
          </p:nvSpPr>
          <p:spPr>
            <a:xfrm>
              <a:off x="5418200" y="2790200"/>
              <a:ext cx="62425" cy="53350"/>
            </a:xfrm>
            <a:custGeom>
              <a:avLst/>
              <a:gdLst/>
              <a:ahLst/>
              <a:cxnLst/>
              <a:rect l="l" t="t" r="r" b="b"/>
              <a:pathLst>
                <a:path w="2497" h="2134" extrusionOk="0">
                  <a:moveTo>
                    <a:pt x="1065" y="1"/>
                  </a:moveTo>
                  <a:cubicBezTo>
                    <a:pt x="480" y="1"/>
                    <a:pt x="0" y="480"/>
                    <a:pt x="0" y="1066"/>
                  </a:cubicBezTo>
                  <a:cubicBezTo>
                    <a:pt x="0" y="1709"/>
                    <a:pt x="526" y="2134"/>
                    <a:pt x="1074" y="2134"/>
                  </a:cubicBezTo>
                  <a:cubicBezTo>
                    <a:pt x="1336" y="2134"/>
                    <a:pt x="1603" y="2037"/>
                    <a:pt x="1821" y="1822"/>
                  </a:cubicBezTo>
                  <a:cubicBezTo>
                    <a:pt x="2496" y="1147"/>
                    <a:pt x="2016" y="1"/>
                    <a:pt x="1065"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925" name="Google Shape;2925;p104"/>
            <p:cNvSpPr/>
            <p:nvPr/>
          </p:nvSpPr>
          <p:spPr>
            <a:xfrm>
              <a:off x="5418200" y="1266550"/>
              <a:ext cx="62425" cy="53450"/>
            </a:xfrm>
            <a:custGeom>
              <a:avLst/>
              <a:gdLst/>
              <a:ahLst/>
              <a:cxnLst/>
              <a:rect l="l" t="t" r="r" b="b"/>
              <a:pathLst>
                <a:path w="2497" h="2138" extrusionOk="0">
                  <a:moveTo>
                    <a:pt x="1065" y="0"/>
                  </a:moveTo>
                  <a:cubicBezTo>
                    <a:pt x="480" y="9"/>
                    <a:pt x="0" y="480"/>
                    <a:pt x="0" y="1074"/>
                  </a:cubicBezTo>
                  <a:cubicBezTo>
                    <a:pt x="0" y="1711"/>
                    <a:pt x="525" y="2137"/>
                    <a:pt x="1073" y="2137"/>
                  </a:cubicBezTo>
                  <a:cubicBezTo>
                    <a:pt x="1335" y="2137"/>
                    <a:pt x="1603" y="2040"/>
                    <a:pt x="1821" y="1821"/>
                  </a:cubicBezTo>
                  <a:cubicBezTo>
                    <a:pt x="2496" y="1155"/>
                    <a:pt x="2016" y="0"/>
                    <a:pt x="1065"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926" name="Google Shape;2926;p104"/>
            <p:cNvSpPr/>
            <p:nvPr/>
          </p:nvSpPr>
          <p:spPr>
            <a:xfrm>
              <a:off x="5418200" y="1190550"/>
              <a:ext cx="62425" cy="53325"/>
            </a:xfrm>
            <a:custGeom>
              <a:avLst/>
              <a:gdLst/>
              <a:ahLst/>
              <a:cxnLst/>
              <a:rect l="l" t="t" r="r" b="b"/>
              <a:pathLst>
                <a:path w="2497" h="2133" extrusionOk="0">
                  <a:moveTo>
                    <a:pt x="1065" y="0"/>
                  </a:moveTo>
                  <a:cubicBezTo>
                    <a:pt x="480" y="0"/>
                    <a:pt x="0" y="480"/>
                    <a:pt x="0" y="1065"/>
                  </a:cubicBezTo>
                  <a:cubicBezTo>
                    <a:pt x="0" y="1709"/>
                    <a:pt x="526" y="2133"/>
                    <a:pt x="1074" y="2133"/>
                  </a:cubicBezTo>
                  <a:cubicBezTo>
                    <a:pt x="1336" y="2133"/>
                    <a:pt x="1603" y="2036"/>
                    <a:pt x="1821" y="1821"/>
                  </a:cubicBezTo>
                  <a:cubicBezTo>
                    <a:pt x="2496" y="1146"/>
                    <a:pt x="2016" y="0"/>
                    <a:pt x="1065"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927" name="Google Shape;2927;p104"/>
            <p:cNvSpPr/>
            <p:nvPr/>
          </p:nvSpPr>
          <p:spPr>
            <a:xfrm>
              <a:off x="5341975" y="2714000"/>
              <a:ext cx="62425" cy="53350"/>
            </a:xfrm>
            <a:custGeom>
              <a:avLst/>
              <a:gdLst/>
              <a:ahLst/>
              <a:cxnLst/>
              <a:rect l="l" t="t" r="r" b="b"/>
              <a:pathLst>
                <a:path w="2497" h="2134" extrusionOk="0">
                  <a:moveTo>
                    <a:pt x="1074" y="0"/>
                  </a:moveTo>
                  <a:cubicBezTo>
                    <a:pt x="480" y="0"/>
                    <a:pt x="9" y="480"/>
                    <a:pt x="1" y="1065"/>
                  </a:cubicBezTo>
                  <a:cubicBezTo>
                    <a:pt x="1" y="1709"/>
                    <a:pt x="530" y="2133"/>
                    <a:pt x="1078" y="2133"/>
                  </a:cubicBezTo>
                  <a:cubicBezTo>
                    <a:pt x="1340" y="2133"/>
                    <a:pt x="1606" y="2036"/>
                    <a:pt x="1822" y="1821"/>
                  </a:cubicBezTo>
                  <a:cubicBezTo>
                    <a:pt x="2497" y="1146"/>
                    <a:pt x="2017" y="0"/>
                    <a:pt x="1074"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928" name="Google Shape;2928;p104"/>
            <p:cNvSpPr/>
            <p:nvPr/>
          </p:nvSpPr>
          <p:spPr>
            <a:xfrm>
              <a:off x="5341975" y="1266550"/>
              <a:ext cx="62425" cy="53450"/>
            </a:xfrm>
            <a:custGeom>
              <a:avLst/>
              <a:gdLst/>
              <a:ahLst/>
              <a:cxnLst/>
              <a:rect l="l" t="t" r="r" b="b"/>
              <a:pathLst>
                <a:path w="2497" h="2138" extrusionOk="0">
                  <a:moveTo>
                    <a:pt x="1074" y="0"/>
                  </a:moveTo>
                  <a:cubicBezTo>
                    <a:pt x="480" y="9"/>
                    <a:pt x="9" y="480"/>
                    <a:pt x="1" y="1074"/>
                  </a:cubicBezTo>
                  <a:cubicBezTo>
                    <a:pt x="1" y="1711"/>
                    <a:pt x="529" y="2137"/>
                    <a:pt x="1077" y="2137"/>
                  </a:cubicBezTo>
                  <a:cubicBezTo>
                    <a:pt x="1339" y="2137"/>
                    <a:pt x="1606" y="2040"/>
                    <a:pt x="1822" y="1821"/>
                  </a:cubicBezTo>
                  <a:cubicBezTo>
                    <a:pt x="2497" y="1155"/>
                    <a:pt x="2017" y="0"/>
                    <a:pt x="1074"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929" name="Google Shape;2929;p104"/>
            <p:cNvSpPr/>
            <p:nvPr/>
          </p:nvSpPr>
          <p:spPr>
            <a:xfrm>
              <a:off x="5265775" y="2790200"/>
              <a:ext cx="62200" cy="53350"/>
            </a:xfrm>
            <a:custGeom>
              <a:avLst/>
              <a:gdLst/>
              <a:ahLst/>
              <a:cxnLst/>
              <a:rect l="l" t="t" r="r" b="b"/>
              <a:pathLst>
                <a:path w="2488" h="2134" extrusionOk="0">
                  <a:moveTo>
                    <a:pt x="1065" y="1"/>
                  </a:moveTo>
                  <a:cubicBezTo>
                    <a:pt x="480" y="1"/>
                    <a:pt x="0" y="472"/>
                    <a:pt x="0" y="1066"/>
                  </a:cubicBezTo>
                  <a:cubicBezTo>
                    <a:pt x="0" y="1709"/>
                    <a:pt x="522" y="2134"/>
                    <a:pt x="1068" y="2134"/>
                  </a:cubicBezTo>
                  <a:cubicBezTo>
                    <a:pt x="1329" y="2134"/>
                    <a:pt x="1595" y="2037"/>
                    <a:pt x="1813" y="1822"/>
                  </a:cubicBezTo>
                  <a:cubicBezTo>
                    <a:pt x="2488" y="1155"/>
                    <a:pt x="2016" y="1"/>
                    <a:pt x="1065"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930" name="Google Shape;2930;p104"/>
            <p:cNvSpPr/>
            <p:nvPr/>
          </p:nvSpPr>
          <p:spPr>
            <a:xfrm>
              <a:off x="5265775" y="2714000"/>
              <a:ext cx="62200" cy="53350"/>
            </a:xfrm>
            <a:custGeom>
              <a:avLst/>
              <a:gdLst/>
              <a:ahLst/>
              <a:cxnLst/>
              <a:rect l="l" t="t" r="r" b="b"/>
              <a:pathLst>
                <a:path w="2488" h="2134" extrusionOk="0">
                  <a:moveTo>
                    <a:pt x="1065" y="0"/>
                  </a:moveTo>
                  <a:cubicBezTo>
                    <a:pt x="480" y="0"/>
                    <a:pt x="0" y="480"/>
                    <a:pt x="0" y="1065"/>
                  </a:cubicBezTo>
                  <a:cubicBezTo>
                    <a:pt x="0" y="1709"/>
                    <a:pt x="522" y="2133"/>
                    <a:pt x="1068" y="2133"/>
                  </a:cubicBezTo>
                  <a:cubicBezTo>
                    <a:pt x="1329" y="2133"/>
                    <a:pt x="1595" y="2036"/>
                    <a:pt x="1813" y="1821"/>
                  </a:cubicBezTo>
                  <a:cubicBezTo>
                    <a:pt x="2488" y="1155"/>
                    <a:pt x="2016" y="8"/>
                    <a:pt x="1065"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931" name="Google Shape;2931;p104"/>
            <p:cNvSpPr/>
            <p:nvPr/>
          </p:nvSpPr>
          <p:spPr>
            <a:xfrm>
              <a:off x="5265775" y="1266550"/>
              <a:ext cx="62200" cy="53450"/>
            </a:xfrm>
            <a:custGeom>
              <a:avLst/>
              <a:gdLst/>
              <a:ahLst/>
              <a:cxnLst/>
              <a:rect l="l" t="t" r="r" b="b"/>
              <a:pathLst>
                <a:path w="2488" h="2138" extrusionOk="0">
                  <a:moveTo>
                    <a:pt x="1065" y="0"/>
                  </a:moveTo>
                  <a:cubicBezTo>
                    <a:pt x="480" y="0"/>
                    <a:pt x="0" y="480"/>
                    <a:pt x="0" y="1074"/>
                  </a:cubicBezTo>
                  <a:cubicBezTo>
                    <a:pt x="0" y="1711"/>
                    <a:pt x="521" y="2137"/>
                    <a:pt x="1067" y="2137"/>
                  </a:cubicBezTo>
                  <a:cubicBezTo>
                    <a:pt x="1328" y="2137"/>
                    <a:pt x="1595" y="2040"/>
                    <a:pt x="1813" y="1821"/>
                  </a:cubicBezTo>
                  <a:cubicBezTo>
                    <a:pt x="2488" y="1155"/>
                    <a:pt x="2016" y="9"/>
                    <a:pt x="1065"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932" name="Google Shape;2932;p104"/>
            <p:cNvSpPr/>
            <p:nvPr/>
          </p:nvSpPr>
          <p:spPr>
            <a:xfrm>
              <a:off x="5189550" y="2866425"/>
              <a:ext cx="62425" cy="53275"/>
            </a:xfrm>
            <a:custGeom>
              <a:avLst/>
              <a:gdLst/>
              <a:ahLst/>
              <a:cxnLst/>
              <a:rect l="l" t="t" r="r" b="b"/>
              <a:pathLst>
                <a:path w="2497" h="2131" extrusionOk="0">
                  <a:moveTo>
                    <a:pt x="1066" y="0"/>
                  </a:moveTo>
                  <a:cubicBezTo>
                    <a:pt x="480" y="0"/>
                    <a:pt x="1" y="472"/>
                    <a:pt x="1" y="1065"/>
                  </a:cubicBezTo>
                  <a:cubicBezTo>
                    <a:pt x="1" y="1707"/>
                    <a:pt x="523" y="2131"/>
                    <a:pt x="1070" y="2131"/>
                  </a:cubicBezTo>
                  <a:cubicBezTo>
                    <a:pt x="1333" y="2131"/>
                    <a:pt x="1602" y="2032"/>
                    <a:pt x="1822" y="1813"/>
                  </a:cubicBezTo>
                  <a:cubicBezTo>
                    <a:pt x="2496" y="1146"/>
                    <a:pt x="2017" y="0"/>
                    <a:pt x="1066"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933" name="Google Shape;2933;p104"/>
            <p:cNvSpPr/>
            <p:nvPr/>
          </p:nvSpPr>
          <p:spPr>
            <a:xfrm>
              <a:off x="5189550" y="2790200"/>
              <a:ext cx="62225" cy="53350"/>
            </a:xfrm>
            <a:custGeom>
              <a:avLst/>
              <a:gdLst/>
              <a:ahLst/>
              <a:cxnLst/>
              <a:rect l="l" t="t" r="r" b="b"/>
              <a:pathLst>
                <a:path w="2489" h="2134" extrusionOk="0">
                  <a:moveTo>
                    <a:pt x="1066" y="1"/>
                  </a:moveTo>
                  <a:cubicBezTo>
                    <a:pt x="480" y="1"/>
                    <a:pt x="1" y="472"/>
                    <a:pt x="1" y="1066"/>
                  </a:cubicBezTo>
                  <a:cubicBezTo>
                    <a:pt x="1" y="1709"/>
                    <a:pt x="522" y="2134"/>
                    <a:pt x="1069" y="2134"/>
                  </a:cubicBezTo>
                  <a:cubicBezTo>
                    <a:pt x="1329" y="2134"/>
                    <a:pt x="1596" y="2037"/>
                    <a:pt x="1814" y="1822"/>
                  </a:cubicBezTo>
                  <a:cubicBezTo>
                    <a:pt x="2488" y="1155"/>
                    <a:pt x="2017" y="1"/>
                    <a:pt x="1066"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934" name="Google Shape;2934;p104"/>
            <p:cNvSpPr/>
            <p:nvPr/>
          </p:nvSpPr>
          <p:spPr>
            <a:xfrm>
              <a:off x="5189550" y="1342750"/>
              <a:ext cx="62225" cy="53350"/>
            </a:xfrm>
            <a:custGeom>
              <a:avLst/>
              <a:gdLst/>
              <a:ahLst/>
              <a:cxnLst/>
              <a:rect l="l" t="t" r="r" b="b"/>
              <a:pathLst>
                <a:path w="2489" h="2134" extrusionOk="0">
                  <a:moveTo>
                    <a:pt x="1066" y="1"/>
                  </a:moveTo>
                  <a:cubicBezTo>
                    <a:pt x="480" y="1"/>
                    <a:pt x="1" y="481"/>
                    <a:pt x="1" y="1066"/>
                  </a:cubicBezTo>
                  <a:cubicBezTo>
                    <a:pt x="1" y="1710"/>
                    <a:pt x="522" y="2134"/>
                    <a:pt x="1069" y="2134"/>
                  </a:cubicBezTo>
                  <a:cubicBezTo>
                    <a:pt x="1329" y="2134"/>
                    <a:pt x="1596" y="2037"/>
                    <a:pt x="1814" y="1822"/>
                  </a:cubicBezTo>
                  <a:cubicBezTo>
                    <a:pt x="2488" y="1155"/>
                    <a:pt x="2017" y="9"/>
                    <a:pt x="1066"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935" name="Google Shape;2935;p104"/>
            <p:cNvSpPr/>
            <p:nvPr/>
          </p:nvSpPr>
          <p:spPr>
            <a:xfrm>
              <a:off x="5113350" y="3094850"/>
              <a:ext cx="62400" cy="53350"/>
            </a:xfrm>
            <a:custGeom>
              <a:avLst/>
              <a:gdLst/>
              <a:ahLst/>
              <a:cxnLst/>
              <a:rect l="l" t="t" r="r" b="b"/>
              <a:pathLst>
                <a:path w="2496" h="2134" extrusionOk="0">
                  <a:moveTo>
                    <a:pt x="1073" y="1"/>
                  </a:moveTo>
                  <a:cubicBezTo>
                    <a:pt x="480" y="1"/>
                    <a:pt x="0" y="480"/>
                    <a:pt x="0" y="1066"/>
                  </a:cubicBezTo>
                  <a:cubicBezTo>
                    <a:pt x="0" y="1709"/>
                    <a:pt x="525" y="2134"/>
                    <a:pt x="1074" y="2134"/>
                  </a:cubicBezTo>
                  <a:cubicBezTo>
                    <a:pt x="1336" y="2134"/>
                    <a:pt x="1603" y="2037"/>
                    <a:pt x="1821" y="1822"/>
                  </a:cubicBezTo>
                  <a:cubicBezTo>
                    <a:pt x="2496" y="1147"/>
                    <a:pt x="2016" y="1"/>
                    <a:pt x="1073"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936" name="Google Shape;2936;p104"/>
            <p:cNvSpPr/>
            <p:nvPr/>
          </p:nvSpPr>
          <p:spPr>
            <a:xfrm>
              <a:off x="5113350" y="3018650"/>
              <a:ext cx="62400" cy="53425"/>
            </a:xfrm>
            <a:custGeom>
              <a:avLst/>
              <a:gdLst/>
              <a:ahLst/>
              <a:cxnLst/>
              <a:rect l="l" t="t" r="r" b="b"/>
              <a:pathLst>
                <a:path w="2496" h="2137" extrusionOk="0">
                  <a:moveTo>
                    <a:pt x="1073" y="0"/>
                  </a:moveTo>
                  <a:cubicBezTo>
                    <a:pt x="480" y="0"/>
                    <a:pt x="0" y="480"/>
                    <a:pt x="0" y="1065"/>
                  </a:cubicBezTo>
                  <a:cubicBezTo>
                    <a:pt x="0" y="1709"/>
                    <a:pt x="529" y="2137"/>
                    <a:pt x="1078" y="2137"/>
                  </a:cubicBezTo>
                  <a:cubicBezTo>
                    <a:pt x="1339" y="2137"/>
                    <a:pt x="1606" y="2039"/>
                    <a:pt x="1821" y="1821"/>
                  </a:cubicBezTo>
                  <a:cubicBezTo>
                    <a:pt x="2496" y="1146"/>
                    <a:pt x="2016" y="0"/>
                    <a:pt x="1073"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937" name="Google Shape;2937;p104"/>
            <p:cNvSpPr/>
            <p:nvPr/>
          </p:nvSpPr>
          <p:spPr>
            <a:xfrm>
              <a:off x="5113350" y="2942425"/>
              <a:ext cx="62400" cy="53450"/>
            </a:xfrm>
            <a:custGeom>
              <a:avLst/>
              <a:gdLst/>
              <a:ahLst/>
              <a:cxnLst/>
              <a:rect l="l" t="t" r="r" b="b"/>
              <a:pathLst>
                <a:path w="2496" h="2138" extrusionOk="0">
                  <a:moveTo>
                    <a:pt x="1073" y="1"/>
                  </a:moveTo>
                  <a:cubicBezTo>
                    <a:pt x="480" y="1"/>
                    <a:pt x="8" y="480"/>
                    <a:pt x="0" y="1066"/>
                  </a:cubicBezTo>
                  <a:cubicBezTo>
                    <a:pt x="0" y="1709"/>
                    <a:pt x="525" y="2137"/>
                    <a:pt x="1074" y="2137"/>
                  </a:cubicBezTo>
                  <a:cubicBezTo>
                    <a:pt x="1336" y="2137"/>
                    <a:pt x="1603" y="2040"/>
                    <a:pt x="1821" y="1822"/>
                  </a:cubicBezTo>
                  <a:cubicBezTo>
                    <a:pt x="2496" y="1155"/>
                    <a:pt x="2016" y="1"/>
                    <a:pt x="1073"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938" name="Google Shape;2938;p104"/>
            <p:cNvSpPr/>
            <p:nvPr/>
          </p:nvSpPr>
          <p:spPr>
            <a:xfrm>
              <a:off x="5113350" y="2866425"/>
              <a:ext cx="62400" cy="53275"/>
            </a:xfrm>
            <a:custGeom>
              <a:avLst/>
              <a:gdLst/>
              <a:ahLst/>
              <a:cxnLst/>
              <a:rect l="l" t="t" r="r" b="b"/>
              <a:pathLst>
                <a:path w="2496" h="2131" extrusionOk="0">
                  <a:moveTo>
                    <a:pt x="1073" y="0"/>
                  </a:moveTo>
                  <a:cubicBezTo>
                    <a:pt x="480" y="0"/>
                    <a:pt x="0" y="472"/>
                    <a:pt x="0" y="1065"/>
                  </a:cubicBezTo>
                  <a:cubicBezTo>
                    <a:pt x="0" y="1707"/>
                    <a:pt x="526" y="2131"/>
                    <a:pt x="1073" y="2131"/>
                  </a:cubicBezTo>
                  <a:cubicBezTo>
                    <a:pt x="1336" y="2131"/>
                    <a:pt x="1604" y="2032"/>
                    <a:pt x="1821" y="1813"/>
                  </a:cubicBezTo>
                  <a:cubicBezTo>
                    <a:pt x="2496" y="1146"/>
                    <a:pt x="2016" y="0"/>
                    <a:pt x="1073"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939" name="Google Shape;2939;p104"/>
            <p:cNvSpPr/>
            <p:nvPr/>
          </p:nvSpPr>
          <p:spPr>
            <a:xfrm>
              <a:off x="5113350" y="2790200"/>
              <a:ext cx="62400" cy="53350"/>
            </a:xfrm>
            <a:custGeom>
              <a:avLst/>
              <a:gdLst/>
              <a:ahLst/>
              <a:cxnLst/>
              <a:rect l="l" t="t" r="r" b="b"/>
              <a:pathLst>
                <a:path w="2496" h="2134" extrusionOk="0">
                  <a:moveTo>
                    <a:pt x="1073" y="1"/>
                  </a:moveTo>
                  <a:cubicBezTo>
                    <a:pt x="480" y="1"/>
                    <a:pt x="8" y="480"/>
                    <a:pt x="0" y="1066"/>
                  </a:cubicBezTo>
                  <a:cubicBezTo>
                    <a:pt x="0" y="1709"/>
                    <a:pt x="525" y="2134"/>
                    <a:pt x="1074" y="2134"/>
                  </a:cubicBezTo>
                  <a:cubicBezTo>
                    <a:pt x="1336" y="2134"/>
                    <a:pt x="1603" y="2037"/>
                    <a:pt x="1821" y="1822"/>
                  </a:cubicBezTo>
                  <a:cubicBezTo>
                    <a:pt x="2496" y="1147"/>
                    <a:pt x="2016" y="1"/>
                    <a:pt x="1073"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940" name="Google Shape;2940;p104"/>
            <p:cNvSpPr/>
            <p:nvPr/>
          </p:nvSpPr>
          <p:spPr>
            <a:xfrm>
              <a:off x="5113350" y="2714000"/>
              <a:ext cx="62400" cy="53350"/>
            </a:xfrm>
            <a:custGeom>
              <a:avLst/>
              <a:gdLst/>
              <a:ahLst/>
              <a:cxnLst/>
              <a:rect l="l" t="t" r="r" b="b"/>
              <a:pathLst>
                <a:path w="2496" h="2134" extrusionOk="0">
                  <a:moveTo>
                    <a:pt x="1073" y="0"/>
                  </a:moveTo>
                  <a:cubicBezTo>
                    <a:pt x="480" y="0"/>
                    <a:pt x="0" y="480"/>
                    <a:pt x="0" y="1065"/>
                  </a:cubicBezTo>
                  <a:cubicBezTo>
                    <a:pt x="0" y="1709"/>
                    <a:pt x="525" y="2133"/>
                    <a:pt x="1074" y="2133"/>
                  </a:cubicBezTo>
                  <a:cubicBezTo>
                    <a:pt x="1336" y="2133"/>
                    <a:pt x="1603" y="2036"/>
                    <a:pt x="1821" y="1821"/>
                  </a:cubicBezTo>
                  <a:cubicBezTo>
                    <a:pt x="2496" y="1146"/>
                    <a:pt x="2016" y="0"/>
                    <a:pt x="1073"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941" name="Google Shape;2941;p104"/>
            <p:cNvSpPr/>
            <p:nvPr/>
          </p:nvSpPr>
          <p:spPr>
            <a:xfrm>
              <a:off x="5113350" y="1418975"/>
              <a:ext cx="62400" cy="53350"/>
            </a:xfrm>
            <a:custGeom>
              <a:avLst/>
              <a:gdLst/>
              <a:ahLst/>
              <a:cxnLst/>
              <a:rect l="l" t="t" r="r" b="b"/>
              <a:pathLst>
                <a:path w="2496" h="2134" extrusionOk="0">
                  <a:moveTo>
                    <a:pt x="1073" y="1"/>
                  </a:moveTo>
                  <a:cubicBezTo>
                    <a:pt x="480" y="1"/>
                    <a:pt x="8" y="480"/>
                    <a:pt x="0" y="1065"/>
                  </a:cubicBezTo>
                  <a:cubicBezTo>
                    <a:pt x="0" y="1709"/>
                    <a:pt x="525" y="2133"/>
                    <a:pt x="1074" y="2133"/>
                  </a:cubicBezTo>
                  <a:cubicBezTo>
                    <a:pt x="1336" y="2133"/>
                    <a:pt x="1603" y="2037"/>
                    <a:pt x="1821" y="1822"/>
                  </a:cubicBezTo>
                  <a:cubicBezTo>
                    <a:pt x="2496" y="1147"/>
                    <a:pt x="2016" y="1"/>
                    <a:pt x="1073"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942" name="Google Shape;2942;p104"/>
            <p:cNvSpPr/>
            <p:nvPr/>
          </p:nvSpPr>
          <p:spPr>
            <a:xfrm>
              <a:off x="5113350" y="1342750"/>
              <a:ext cx="62400" cy="53450"/>
            </a:xfrm>
            <a:custGeom>
              <a:avLst/>
              <a:gdLst/>
              <a:ahLst/>
              <a:cxnLst/>
              <a:rect l="l" t="t" r="r" b="b"/>
              <a:pathLst>
                <a:path w="2496" h="2138" extrusionOk="0">
                  <a:moveTo>
                    <a:pt x="1073" y="1"/>
                  </a:moveTo>
                  <a:cubicBezTo>
                    <a:pt x="480" y="1"/>
                    <a:pt x="8" y="481"/>
                    <a:pt x="0" y="1066"/>
                  </a:cubicBezTo>
                  <a:cubicBezTo>
                    <a:pt x="0" y="1710"/>
                    <a:pt x="525" y="2138"/>
                    <a:pt x="1074" y="2138"/>
                  </a:cubicBezTo>
                  <a:cubicBezTo>
                    <a:pt x="1336" y="2138"/>
                    <a:pt x="1603" y="2040"/>
                    <a:pt x="1821" y="1822"/>
                  </a:cubicBezTo>
                  <a:cubicBezTo>
                    <a:pt x="2496" y="1147"/>
                    <a:pt x="2016" y="1"/>
                    <a:pt x="1073"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943" name="Google Shape;2943;p104"/>
            <p:cNvSpPr/>
            <p:nvPr/>
          </p:nvSpPr>
          <p:spPr>
            <a:xfrm>
              <a:off x="5037325" y="3018650"/>
              <a:ext cx="62225" cy="53425"/>
            </a:xfrm>
            <a:custGeom>
              <a:avLst/>
              <a:gdLst/>
              <a:ahLst/>
              <a:cxnLst/>
              <a:rect l="l" t="t" r="r" b="b"/>
              <a:pathLst>
                <a:path w="2489" h="2137" extrusionOk="0">
                  <a:moveTo>
                    <a:pt x="1066" y="0"/>
                  </a:moveTo>
                  <a:cubicBezTo>
                    <a:pt x="472" y="0"/>
                    <a:pt x="1" y="480"/>
                    <a:pt x="1" y="1065"/>
                  </a:cubicBezTo>
                  <a:cubicBezTo>
                    <a:pt x="1" y="1709"/>
                    <a:pt x="526" y="2137"/>
                    <a:pt x="1072" y="2137"/>
                  </a:cubicBezTo>
                  <a:cubicBezTo>
                    <a:pt x="1333" y="2137"/>
                    <a:pt x="1598" y="2039"/>
                    <a:pt x="1814" y="1821"/>
                  </a:cubicBezTo>
                  <a:cubicBezTo>
                    <a:pt x="2488" y="1146"/>
                    <a:pt x="2009" y="0"/>
                    <a:pt x="1066"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944" name="Google Shape;2944;p104"/>
            <p:cNvSpPr/>
            <p:nvPr/>
          </p:nvSpPr>
          <p:spPr>
            <a:xfrm>
              <a:off x="5037325" y="2942425"/>
              <a:ext cx="62225" cy="53450"/>
            </a:xfrm>
            <a:custGeom>
              <a:avLst/>
              <a:gdLst/>
              <a:ahLst/>
              <a:cxnLst/>
              <a:rect l="l" t="t" r="r" b="b"/>
              <a:pathLst>
                <a:path w="2489" h="2138" extrusionOk="0">
                  <a:moveTo>
                    <a:pt x="1066" y="1"/>
                  </a:moveTo>
                  <a:cubicBezTo>
                    <a:pt x="472" y="9"/>
                    <a:pt x="1" y="480"/>
                    <a:pt x="1" y="1066"/>
                  </a:cubicBezTo>
                  <a:cubicBezTo>
                    <a:pt x="1" y="1709"/>
                    <a:pt x="526" y="2137"/>
                    <a:pt x="1072" y="2137"/>
                  </a:cubicBezTo>
                  <a:cubicBezTo>
                    <a:pt x="1333" y="2137"/>
                    <a:pt x="1598" y="2040"/>
                    <a:pt x="1814" y="1822"/>
                  </a:cubicBezTo>
                  <a:cubicBezTo>
                    <a:pt x="2488" y="1147"/>
                    <a:pt x="2009" y="1"/>
                    <a:pt x="1066"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945" name="Google Shape;2945;p104"/>
            <p:cNvSpPr/>
            <p:nvPr/>
          </p:nvSpPr>
          <p:spPr>
            <a:xfrm>
              <a:off x="5037325" y="2866425"/>
              <a:ext cx="62225" cy="53275"/>
            </a:xfrm>
            <a:custGeom>
              <a:avLst/>
              <a:gdLst/>
              <a:ahLst/>
              <a:cxnLst/>
              <a:rect l="l" t="t" r="r" b="b"/>
              <a:pathLst>
                <a:path w="2489" h="2131" extrusionOk="0">
                  <a:moveTo>
                    <a:pt x="1066" y="0"/>
                  </a:moveTo>
                  <a:cubicBezTo>
                    <a:pt x="472" y="0"/>
                    <a:pt x="1" y="472"/>
                    <a:pt x="1" y="1065"/>
                  </a:cubicBezTo>
                  <a:cubicBezTo>
                    <a:pt x="1" y="1707"/>
                    <a:pt x="523" y="2131"/>
                    <a:pt x="1067" y="2131"/>
                  </a:cubicBezTo>
                  <a:cubicBezTo>
                    <a:pt x="1330" y="2131"/>
                    <a:pt x="1597" y="2032"/>
                    <a:pt x="1814" y="1813"/>
                  </a:cubicBezTo>
                  <a:cubicBezTo>
                    <a:pt x="2488" y="1146"/>
                    <a:pt x="2009" y="0"/>
                    <a:pt x="1066"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946" name="Google Shape;2946;p104"/>
            <p:cNvSpPr/>
            <p:nvPr/>
          </p:nvSpPr>
          <p:spPr>
            <a:xfrm>
              <a:off x="5037325" y="2790200"/>
              <a:ext cx="62225" cy="53350"/>
            </a:xfrm>
            <a:custGeom>
              <a:avLst/>
              <a:gdLst/>
              <a:ahLst/>
              <a:cxnLst/>
              <a:rect l="l" t="t" r="r" b="b"/>
              <a:pathLst>
                <a:path w="2489" h="2134" extrusionOk="0">
                  <a:moveTo>
                    <a:pt x="1066" y="1"/>
                  </a:moveTo>
                  <a:cubicBezTo>
                    <a:pt x="472" y="1"/>
                    <a:pt x="1" y="480"/>
                    <a:pt x="1" y="1066"/>
                  </a:cubicBezTo>
                  <a:cubicBezTo>
                    <a:pt x="1" y="1709"/>
                    <a:pt x="526" y="2134"/>
                    <a:pt x="1072" y="2134"/>
                  </a:cubicBezTo>
                  <a:cubicBezTo>
                    <a:pt x="1333" y="2134"/>
                    <a:pt x="1598" y="2037"/>
                    <a:pt x="1814" y="1822"/>
                  </a:cubicBezTo>
                  <a:cubicBezTo>
                    <a:pt x="2488" y="1147"/>
                    <a:pt x="2009" y="1"/>
                    <a:pt x="1066"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947" name="Google Shape;2947;p104"/>
            <p:cNvSpPr/>
            <p:nvPr/>
          </p:nvSpPr>
          <p:spPr>
            <a:xfrm>
              <a:off x="5037325" y="2714000"/>
              <a:ext cx="62225" cy="53350"/>
            </a:xfrm>
            <a:custGeom>
              <a:avLst/>
              <a:gdLst/>
              <a:ahLst/>
              <a:cxnLst/>
              <a:rect l="l" t="t" r="r" b="b"/>
              <a:pathLst>
                <a:path w="2489" h="2134" extrusionOk="0">
                  <a:moveTo>
                    <a:pt x="1066" y="0"/>
                  </a:moveTo>
                  <a:cubicBezTo>
                    <a:pt x="472" y="0"/>
                    <a:pt x="1" y="480"/>
                    <a:pt x="1" y="1065"/>
                  </a:cubicBezTo>
                  <a:cubicBezTo>
                    <a:pt x="1" y="1709"/>
                    <a:pt x="526" y="2133"/>
                    <a:pt x="1072" y="2133"/>
                  </a:cubicBezTo>
                  <a:cubicBezTo>
                    <a:pt x="1333" y="2133"/>
                    <a:pt x="1598" y="2036"/>
                    <a:pt x="1814" y="1821"/>
                  </a:cubicBezTo>
                  <a:cubicBezTo>
                    <a:pt x="2488" y="1146"/>
                    <a:pt x="2009" y="0"/>
                    <a:pt x="1066"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948" name="Google Shape;2948;p104"/>
            <p:cNvSpPr/>
            <p:nvPr/>
          </p:nvSpPr>
          <p:spPr>
            <a:xfrm>
              <a:off x="5037325" y="2637775"/>
              <a:ext cx="62225" cy="53450"/>
            </a:xfrm>
            <a:custGeom>
              <a:avLst/>
              <a:gdLst/>
              <a:ahLst/>
              <a:cxnLst/>
              <a:rect l="l" t="t" r="r" b="b"/>
              <a:pathLst>
                <a:path w="2489" h="2138" extrusionOk="0">
                  <a:moveTo>
                    <a:pt x="1066" y="1"/>
                  </a:moveTo>
                  <a:cubicBezTo>
                    <a:pt x="472" y="9"/>
                    <a:pt x="1" y="480"/>
                    <a:pt x="1" y="1074"/>
                  </a:cubicBezTo>
                  <a:cubicBezTo>
                    <a:pt x="1" y="1712"/>
                    <a:pt x="525" y="2137"/>
                    <a:pt x="1071" y="2137"/>
                  </a:cubicBezTo>
                  <a:cubicBezTo>
                    <a:pt x="1332" y="2137"/>
                    <a:pt x="1598" y="2040"/>
                    <a:pt x="1814" y="1822"/>
                  </a:cubicBezTo>
                  <a:cubicBezTo>
                    <a:pt x="2488" y="1147"/>
                    <a:pt x="2009" y="1"/>
                    <a:pt x="1066"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949" name="Google Shape;2949;p104"/>
            <p:cNvSpPr/>
            <p:nvPr/>
          </p:nvSpPr>
          <p:spPr>
            <a:xfrm>
              <a:off x="5037325" y="1495200"/>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4" y="1821"/>
                  </a:cubicBezTo>
                  <a:cubicBezTo>
                    <a:pt x="2488" y="1146"/>
                    <a:pt x="2009" y="0"/>
                    <a:pt x="1066"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950" name="Google Shape;2950;p104"/>
            <p:cNvSpPr/>
            <p:nvPr/>
          </p:nvSpPr>
          <p:spPr>
            <a:xfrm>
              <a:off x="4961125" y="2714000"/>
              <a:ext cx="62200" cy="53350"/>
            </a:xfrm>
            <a:custGeom>
              <a:avLst/>
              <a:gdLst/>
              <a:ahLst/>
              <a:cxnLst/>
              <a:rect l="l" t="t" r="r" b="b"/>
              <a:pathLst>
                <a:path w="2488" h="2134"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951" name="Google Shape;2951;p104"/>
            <p:cNvSpPr/>
            <p:nvPr/>
          </p:nvSpPr>
          <p:spPr>
            <a:xfrm>
              <a:off x="4961125" y="2637775"/>
              <a:ext cx="62200" cy="53450"/>
            </a:xfrm>
            <a:custGeom>
              <a:avLst/>
              <a:gdLst/>
              <a:ahLst/>
              <a:cxnLst/>
              <a:rect l="l" t="t" r="r" b="b"/>
              <a:pathLst>
                <a:path w="2488" h="2138" extrusionOk="0">
                  <a:moveTo>
                    <a:pt x="1065" y="1"/>
                  </a:moveTo>
                  <a:cubicBezTo>
                    <a:pt x="480" y="9"/>
                    <a:pt x="0" y="480"/>
                    <a:pt x="0" y="1074"/>
                  </a:cubicBezTo>
                  <a:cubicBezTo>
                    <a:pt x="0" y="1712"/>
                    <a:pt x="525" y="2137"/>
                    <a:pt x="1073" y="2137"/>
                  </a:cubicBezTo>
                  <a:cubicBezTo>
                    <a:pt x="1335" y="2137"/>
                    <a:pt x="1603" y="2040"/>
                    <a:pt x="1821" y="1822"/>
                  </a:cubicBezTo>
                  <a:cubicBezTo>
                    <a:pt x="2488" y="1147"/>
                    <a:pt x="2016" y="1"/>
                    <a:pt x="1065"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952" name="Google Shape;2952;p104"/>
            <p:cNvSpPr/>
            <p:nvPr/>
          </p:nvSpPr>
          <p:spPr>
            <a:xfrm>
              <a:off x="4961125" y="1495200"/>
              <a:ext cx="62200" cy="53325"/>
            </a:xfrm>
            <a:custGeom>
              <a:avLst/>
              <a:gdLst/>
              <a:ahLst/>
              <a:cxnLst/>
              <a:rect l="l" t="t" r="r" b="b"/>
              <a:pathLst>
                <a:path w="2488" h="2133"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953" name="Google Shape;2953;p104"/>
            <p:cNvSpPr/>
            <p:nvPr/>
          </p:nvSpPr>
          <p:spPr>
            <a:xfrm>
              <a:off x="4961125" y="1418975"/>
              <a:ext cx="62200" cy="53350"/>
            </a:xfrm>
            <a:custGeom>
              <a:avLst/>
              <a:gdLst/>
              <a:ahLst/>
              <a:cxnLst/>
              <a:rect l="l" t="t" r="r" b="b"/>
              <a:pathLst>
                <a:path w="2488" h="2134" extrusionOk="0">
                  <a:moveTo>
                    <a:pt x="1065" y="1"/>
                  </a:moveTo>
                  <a:cubicBezTo>
                    <a:pt x="480" y="1"/>
                    <a:pt x="0" y="480"/>
                    <a:pt x="0" y="1065"/>
                  </a:cubicBezTo>
                  <a:cubicBezTo>
                    <a:pt x="0" y="1709"/>
                    <a:pt x="525" y="2133"/>
                    <a:pt x="1074" y="2133"/>
                  </a:cubicBezTo>
                  <a:cubicBezTo>
                    <a:pt x="1336" y="2133"/>
                    <a:pt x="1603" y="2037"/>
                    <a:pt x="1821" y="1822"/>
                  </a:cubicBezTo>
                  <a:cubicBezTo>
                    <a:pt x="2488" y="1147"/>
                    <a:pt x="2016" y="1"/>
                    <a:pt x="1065"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954" name="Google Shape;2954;p104"/>
            <p:cNvSpPr/>
            <p:nvPr/>
          </p:nvSpPr>
          <p:spPr>
            <a:xfrm>
              <a:off x="4961125" y="1342750"/>
              <a:ext cx="62200" cy="53450"/>
            </a:xfrm>
            <a:custGeom>
              <a:avLst/>
              <a:gdLst/>
              <a:ahLst/>
              <a:cxnLst/>
              <a:rect l="l" t="t" r="r" b="b"/>
              <a:pathLst>
                <a:path w="2488" h="2138" extrusionOk="0">
                  <a:moveTo>
                    <a:pt x="1065" y="1"/>
                  </a:moveTo>
                  <a:cubicBezTo>
                    <a:pt x="480" y="1"/>
                    <a:pt x="0" y="481"/>
                    <a:pt x="0" y="1066"/>
                  </a:cubicBezTo>
                  <a:cubicBezTo>
                    <a:pt x="0" y="1710"/>
                    <a:pt x="525" y="2138"/>
                    <a:pt x="1074" y="2138"/>
                  </a:cubicBezTo>
                  <a:cubicBezTo>
                    <a:pt x="1336" y="2138"/>
                    <a:pt x="1603" y="2040"/>
                    <a:pt x="1821" y="1822"/>
                  </a:cubicBezTo>
                  <a:cubicBezTo>
                    <a:pt x="2488" y="1147"/>
                    <a:pt x="2016" y="1"/>
                    <a:pt x="1065"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955" name="Google Shape;2955;p104"/>
            <p:cNvSpPr/>
            <p:nvPr/>
          </p:nvSpPr>
          <p:spPr>
            <a:xfrm>
              <a:off x="4961125" y="1266550"/>
              <a:ext cx="62200" cy="53450"/>
            </a:xfrm>
            <a:custGeom>
              <a:avLst/>
              <a:gdLst/>
              <a:ahLst/>
              <a:cxnLst/>
              <a:rect l="l" t="t" r="r" b="b"/>
              <a:pathLst>
                <a:path w="2488" h="2138" extrusionOk="0">
                  <a:moveTo>
                    <a:pt x="1065" y="0"/>
                  </a:moveTo>
                  <a:cubicBezTo>
                    <a:pt x="480" y="9"/>
                    <a:pt x="0" y="480"/>
                    <a:pt x="0" y="1074"/>
                  </a:cubicBezTo>
                  <a:cubicBezTo>
                    <a:pt x="0" y="1711"/>
                    <a:pt x="525" y="2137"/>
                    <a:pt x="1073" y="2137"/>
                  </a:cubicBezTo>
                  <a:cubicBezTo>
                    <a:pt x="1335" y="2137"/>
                    <a:pt x="1603" y="2040"/>
                    <a:pt x="1821" y="1821"/>
                  </a:cubicBezTo>
                  <a:cubicBezTo>
                    <a:pt x="2488" y="1155"/>
                    <a:pt x="2016" y="0"/>
                    <a:pt x="1065"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956" name="Google Shape;2956;p104"/>
            <p:cNvSpPr/>
            <p:nvPr/>
          </p:nvSpPr>
          <p:spPr>
            <a:xfrm>
              <a:off x="4884900" y="2637775"/>
              <a:ext cx="62225" cy="53450"/>
            </a:xfrm>
            <a:custGeom>
              <a:avLst/>
              <a:gdLst/>
              <a:ahLst/>
              <a:cxnLst/>
              <a:rect l="l" t="t" r="r" b="b"/>
              <a:pathLst>
                <a:path w="2489" h="2138" extrusionOk="0">
                  <a:moveTo>
                    <a:pt x="1066" y="1"/>
                  </a:moveTo>
                  <a:cubicBezTo>
                    <a:pt x="480" y="1"/>
                    <a:pt x="1" y="480"/>
                    <a:pt x="1" y="1074"/>
                  </a:cubicBezTo>
                  <a:cubicBezTo>
                    <a:pt x="1" y="1712"/>
                    <a:pt x="525" y="2137"/>
                    <a:pt x="1073" y="2137"/>
                  </a:cubicBezTo>
                  <a:cubicBezTo>
                    <a:pt x="1336" y="2137"/>
                    <a:pt x="1603" y="2040"/>
                    <a:pt x="1822" y="1822"/>
                  </a:cubicBezTo>
                  <a:cubicBezTo>
                    <a:pt x="2488" y="1155"/>
                    <a:pt x="2017" y="1"/>
                    <a:pt x="1066"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957" name="Google Shape;2957;p104"/>
            <p:cNvSpPr/>
            <p:nvPr/>
          </p:nvSpPr>
          <p:spPr>
            <a:xfrm>
              <a:off x="4884900" y="1418975"/>
              <a:ext cx="62225" cy="53350"/>
            </a:xfrm>
            <a:custGeom>
              <a:avLst/>
              <a:gdLst/>
              <a:ahLst/>
              <a:cxnLst/>
              <a:rect l="l" t="t" r="r" b="b"/>
              <a:pathLst>
                <a:path w="2489" h="2134" extrusionOk="0">
                  <a:moveTo>
                    <a:pt x="1066" y="1"/>
                  </a:moveTo>
                  <a:cubicBezTo>
                    <a:pt x="480" y="1"/>
                    <a:pt x="1" y="480"/>
                    <a:pt x="1" y="1065"/>
                  </a:cubicBezTo>
                  <a:cubicBezTo>
                    <a:pt x="1" y="1709"/>
                    <a:pt x="526" y="2133"/>
                    <a:pt x="1075" y="2133"/>
                  </a:cubicBezTo>
                  <a:cubicBezTo>
                    <a:pt x="1336" y="2133"/>
                    <a:pt x="1604" y="2037"/>
                    <a:pt x="1822" y="1822"/>
                  </a:cubicBezTo>
                  <a:cubicBezTo>
                    <a:pt x="2488" y="1147"/>
                    <a:pt x="2017" y="1"/>
                    <a:pt x="1066"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958" name="Google Shape;2958;p104"/>
            <p:cNvSpPr/>
            <p:nvPr/>
          </p:nvSpPr>
          <p:spPr>
            <a:xfrm>
              <a:off x="4884900" y="1342750"/>
              <a:ext cx="62225" cy="53450"/>
            </a:xfrm>
            <a:custGeom>
              <a:avLst/>
              <a:gdLst/>
              <a:ahLst/>
              <a:cxnLst/>
              <a:rect l="l" t="t" r="r" b="b"/>
              <a:pathLst>
                <a:path w="2489" h="2138" extrusionOk="0">
                  <a:moveTo>
                    <a:pt x="1066" y="1"/>
                  </a:moveTo>
                  <a:cubicBezTo>
                    <a:pt x="480" y="1"/>
                    <a:pt x="1" y="481"/>
                    <a:pt x="1" y="1066"/>
                  </a:cubicBezTo>
                  <a:cubicBezTo>
                    <a:pt x="1" y="1710"/>
                    <a:pt x="526" y="2138"/>
                    <a:pt x="1074" y="2138"/>
                  </a:cubicBezTo>
                  <a:cubicBezTo>
                    <a:pt x="1336" y="2138"/>
                    <a:pt x="1604" y="2040"/>
                    <a:pt x="1822" y="1822"/>
                  </a:cubicBezTo>
                  <a:cubicBezTo>
                    <a:pt x="2488" y="1147"/>
                    <a:pt x="2017" y="1"/>
                    <a:pt x="1066"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959" name="Google Shape;2959;p104"/>
            <p:cNvSpPr/>
            <p:nvPr/>
          </p:nvSpPr>
          <p:spPr>
            <a:xfrm>
              <a:off x="4884900" y="1190550"/>
              <a:ext cx="62225" cy="53325"/>
            </a:xfrm>
            <a:custGeom>
              <a:avLst/>
              <a:gdLst/>
              <a:ahLst/>
              <a:cxnLst/>
              <a:rect l="l" t="t" r="r" b="b"/>
              <a:pathLst>
                <a:path w="2489" h="2133" extrusionOk="0">
                  <a:moveTo>
                    <a:pt x="1066" y="0"/>
                  </a:moveTo>
                  <a:cubicBezTo>
                    <a:pt x="480" y="0"/>
                    <a:pt x="1" y="480"/>
                    <a:pt x="1" y="1065"/>
                  </a:cubicBezTo>
                  <a:cubicBezTo>
                    <a:pt x="1" y="1709"/>
                    <a:pt x="526" y="2133"/>
                    <a:pt x="1075" y="2133"/>
                  </a:cubicBezTo>
                  <a:cubicBezTo>
                    <a:pt x="1336" y="2133"/>
                    <a:pt x="1604" y="2036"/>
                    <a:pt x="1822" y="1821"/>
                  </a:cubicBezTo>
                  <a:cubicBezTo>
                    <a:pt x="2488" y="1146"/>
                    <a:pt x="2017" y="0"/>
                    <a:pt x="1066"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960" name="Google Shape;2960;p104"/>
            <p:cNvSpPr/>
            <p:nvPr/>
          </p:nvSpPr>
          <p:spPr>
            <a:xfrm>
              <a:off x="4808700" y="2637775"/>
              <a:ext cx="62400" cy="53450"/>
            </a:xfrm>
            <a:custGeom>
              <a:avLst/>
              <a:gdLst/>
              <a:ahLst/>
              <a:cxnLst/>
              <a:rect l="l" t="t" r="r" b="b"/>
              <a:pathLst>
                <a:path w="2496" h="2138" extrusionOk="0">
                  <a:moveTo>
                    <a:pt x="1065" y="1"/>
                  </a:moveTo>
                  <a:cubicBezTo>
                    <a:pt x="480" y="9"/>
                    <a:pt x="0" y="480"/>
                    <a:pt x="0" y="1074"/>
                  </a:cubicBezTo>
                  <a:cubicBezTo>
                    <a:pt x="0" y="1712"/>
                    <a:pt x="525" y="2137"/>
                    <a:pt x="1073" y="2137"/>
                  </a:cubicBezTo>
                  <a:cubicBezTo>
                    <a:pt x="1335" y="2137"/>
                    <a:pt x="1603" y="2040"/>
                    <a:pt x="1821" y="1822"/>
                  </a:cubicBezTo>
                  <a:cubicBezTo>
                    <a:pt x="2496" y="1147"/>
                    <a:pt x="2016" y="1"/>
                    <a:pt x="1065"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961" name="Google Shape;2961;p104"/>
            <p:cNvSpPr/>
            <p:nvPr/>
          </p:nvSpPr>
          <p:spPr>
            <a:xfrm>
              <a:off x="4808700" y="2561575"/>
              <a:ext cx="62400" cy="53425"/>
            </a:xfrm>
            <a:custGeom>
              <a:avLst/>
              <a:gdLst/>
              <a:ahLst/>
              <a:cxnLst/>
              <a:rect l="l" t="t" r="r" b="b"/>
              <a:pathLst>
                <a:path w="2496" h="2137" extrusionOk="0">
                  <a:moveTo>
                    <a:pt x="1065" y="0"/>
                  </a:moveTo>
                  <a:cubicBezTo>
                    <a:pt x="480" y="8"/>
                    <a:pt x="0" y="480"/>
                    <a:pt x="0" y="1073"/>
                  </a:cubicBezTo>
                  <a:cubicBezTo>
                    <a:pt x="0" y="1711"/>
                    <a:pt x="525" y="2137"/>
                    <a:pt x="1073" y="2137"/>
                  </a:cubicBezTo>
                  <a:cubicBezTo>
                    <a:pt x="1335" y="2137"/>
                    <a:pt x="1603" y="2039"/>
                    <a:pt x="1821" y="1821"/>
                  </a:cubicBezTo>
                  <a:cubicBezTo>
                    <a:pt x="2496" y="1154"/>
                    <a:pt x="2016" y="0"/>
                    <a:pt x="1065"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962" name="Google Shape;2962;p104"/>
            <p:cNvSpPr/>
            <p:nvPr/>
          </p:nvSpPr>
          <p:spPr>
            <a:xfrm>
              <a:off x="4808700" y="1418975"/>
              <a:ext cx="62400" cy="53350"/>
            </a:xfrm>
            <a:custGeom>
              <a:avLst/>
              <a:gdLst/>
              <a:ahLst/>
              <a:cxnLst/>
              <a:rect l="l" t="t" r="r" b="b"/>
              <a:pathLst>
                <a:path w="2496" h="2134" extrusionOk="0">
                  <a:moveTo>
                    <a:pt x="1065" y="1"/>
                  </a:moveTo>
                  <a:cubicBezTo>
                    <a:pt x="480" y="1"/>
                    <a:pt x="0" y="480"/>
                    <a:pt x="0" y="1065"/>
                  </a:cubicBezTo>
                  <a:cubicBezTo>
                    <a:pt x="0" y="1709"/>
                    <a:pt x="525" y="2133"/>
                    <a:pt x="1074" y="2133"/>
                  </a:cubicBezTo>
                  <a:cubicBezTo>
                    <a:pt x="1336" y="2133"/>
                    <a:pt x="1603" y="2037"/>
                    <a:pt x="1821" y="1822"/>
                  </a:cubicBezTo>
                  <a:cubicBezTo>
                    <a:pt x="2496" y="1147"/>
                    <a:pt x="2016" y="1"/>
                    <a:pt x="1065"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963" name="Google Shape;2963;p104"/>
            <p:cNvSpPr/>
            <p:nvPr/>
          </p:nvSpPr>
          <p:spPr>
            <a:xfrm>
              <a:off x="4808700" y="1342750"/>
              <a:ext cx="62400" cy="53450"/>
            </a:xfrm>
            <a:custGeom>
              <a:avLst/>
              <a:gdLst/>
              <a:ahLst/>
              <a:cxnLst/>
              <a:rect l="l" t="t" r="r" b="b"/>
              <a:pathLst>
                <a:path w="2496" h="2138" extrusionOk="0">
                  <a:moveTo>
                    <a:pt x="1065" y="1"/>
                  </a:moveTo>
                  <a:cubicBezTo>
                    <a:pt x="480" y="1"/>
                    <a:pt x="0" y="481"/>
                    <a:pt x="0" y="1066"/>
                  </a:cubicBezTo>
                  <a:cubicBezTo>
                    <a:pt x="0" y="1710"/>
                    <a:pt x="525" y="2138"/>
                    <a:pt x="1074" y="2138"/>
                  </a:cubicBezTo>
                  <a:cubicBezTo>
                    <a:pt x="1336" y="2138"/>
                    <a:pt x="1603" y="2040"/>
                    <a:pt x="1821" y="1822"/>
                  </a:cubicBezTo>
                  <a:cubicBezTo>
                    <a:pt x="2496" y="1147"/>
                    <a:pt x="2016" y="1"/>
                    <a:pt x="1065"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964" name="Google Shape;2964;p104"/>
            <p:cNvSpPr/>
            <p:nvPr/>
          </p:nvSpPr>
          <p:spPr>
            <a:xfrm>
              <a:off x="4808700" y="1190550"/>
              <a:ext cx="62400" cy="53325"/>
            </a:xfrm>
            <a:custGeom>
              <a:avLst/>
              <a:gdLst/>
              <a:ahLst/>
              <a:cxnLst/>
              <a:rect l="l" t="t" r="r" b="b"/>
              <a:pathLst>
                <a:path w="2496" h="2133" extrusionOk="0">
                  <a:moveTo>
                    <a:pt x="1065" y="0"/>
                  </a:moveTo>
                  <a:cubicBezTo>
                    <a:pt x="480" y="0"/>
                    <a:pt x="0" y="480"/>
                    <a:pt x="0" y="1065"/>
                  </a:cubicBezTo>
                  <a:cubicBezTo>
                    <a:pt x="0" y="1709"/>
                    <a:pt x="525" y="2133"/>
                    <a:pt x="1074" y="2133"/>
                  </a:cubicBezTo>
                  <a:cubicBezTo>
                    <a:pt x="1336" y="2133"/>
                    <a:pt x="1603" y="2036"/>
                    <a:pt x="1821" y="1821"/>
                  </a:cubicBezTo>
                  <a:cubicBezTo>
                    <a:pt x="2496" y="1146"/>
                    <a:pt x="2016" y="0"/>
                    <a:pt x="1065"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965" name="Google Shape;2965;p104"/>
            <p:cNvSpPr/>
            <p:nvPr/>
          </p:nvSpPr>
          <p:spPr>
            <a:xfrm>
              <a:off x="4808700" y="1038125"/>
              <a:ext cx="62400" cy="53325"/>
            </a:xfrm>
            <a:custGeom>
              <a:avLst/>
              <a:gdLst/>
              <a:ahLst/>
              <a:cxnLst/>
              <a:rect l="l" t="t" r="r" b="b"/>
              <a:pathLst>
                <a:path w="2496" h="2133" extrusionOk="0">
                  <a:moveTo>
                    <a:pt x="1065" y="0"/>
                  </a:moveTo>
                  <a:cubicBezTo>
                    <a:pt x="480" y="0"/>
                    <a:pt x="0" y="480"/>
                    <a:pt x="0" y="1065"/>
                  </a:cubicBezTo>
                  <a:cubicBezTo>
                    <a:pt x="0" y="1709"/>
                    <a:pt x="525" y="2133"/>
                    <a:pt x="1074" y="2133"/>
                  </a:cubicBezTo>
                  <a:cubicBezTo>
                    <a:pt x="1336" y="2133"/>
                    <a:pt x="1603" y="2036"/>
                    <a:pt x="1821" y="1821"/>
                  </a:cubicBezTo>
                  <a:cubicBezTo>
                    <a:pt x="2496" y="1146"/>
                    <a:pt x="2016" y="0"/>
                    <a:pt x="1065"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966" name="Google Shape;2966;p104"/>
            <p:cNvSpPr/>
            <p:nvPr/>
          </p:nvSpPr>
          <p:spPr>
            <a:xfrm>
              <a:off x="4732475" y="2790200"/>
              <a:ext cx="62425" cy="53350"/>
            </a:xfrm>
            <a:custGeom>
              <a:avLst/>
              <a:gdLst/>
              <a:ahLst/>
              <a:cxnLst/>
              <a:rect l="l" t="t" r="r" b="b"/>
              <a:pathLst>
                <a:path w="2497" h="2134" extrusionOk="0">
                  <a:moveTo>
                    <a:pt x="1074" y="1"/>
                  </a:moveTo>
                  <a:cubicBezTo>
                    <a:pt x="480" y="1"/>
                    <a:pt x="9" y="480"/>
                    <a:pt x="1" y="1066"/>
                  </a:cubicBezTo>
                  <a:cubicBezTo>
                    <a:pt x="1" y="1709"/>
                    <a:pt x="526" y="2134"/>
                    <a:pt x="1075" y="2134"/>
                  </a:cubicBezTo>
                  <a:cubicBezTo>
                    <a:pt x="1336" y="2134"/>
                    <a:pt x="1604" y="2037"/>
                    <a:pt x="1822" y="1822"/>
                  </a:cubicBezTo>
                  <a:cubicBezTo>
                    <a:pt x="2496" y="1147"/>
                    <a:pt x="2017" y="1"/>
                    <a:pt x="1074"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967" name="Google Shape;2967;p104"/>
            <p:cNvSpPr/>
            <p:nvPr/>
          </p:nvSpPr>
          <p:spPr>
            <a:xfrm>
              <a:off x="4732475" y="2714000"/>
              <a:ext cx="62425" cy="53350"/>
            </a:xfrm>
            <a:custGeom>
              <a:avLst/>
              <a:gdLst/>
              <a:ahLst/>
              <a:cxnLst/>
              <a:rect l="l" t="t" r="r" b="b"/>
              <a:pathLst>
                <a:path w="2497" h="2134" extrusionOk="0">
                  <a:moveTo>
                    <a:pt x="1074" y="0"/>
                  </a:moveTo>
                  <a:cubicBezTo>
                    <a:pt x="480" y="0"/>
                    <a:pt x="1" y="480"/>
                    <a:pt x="1" y="1065"/>
                  </a:cubicBezTo>
                  <a:cubicBezTo>
                    <a:pt x="1" y="1709"/>
                    <a:pt x="526" y="2133"/>
                    <a:pt x="1075" y="2133"/>
                  </a:cubicBezTo>
                  <a:cubicBezTo>
                    <a:pt x="1336" y="2133"/>
                    <a:pt x="1604" y="2036"/>
                    <a:pt x="1822" y="1821"/>
                  </a:cubicBezTo>
                  <a:cubicBezTo>
                    <a:pt x="2496" y="1146"/>
                    <a:pt x="2017" y="0"/>
                    <a:pt x="1074"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968" name="Google Shape;2968;p104"/>
            <p:cNvSpPr/>
            <p:nvPr/>
          </p:nvSpPr>
          <p:spPr>
            <a:xfrm>
              <a:off x="4732475" y="2561575"/>
              <a:ext cx="62425" cy="53425"/>
            </a:xfrm>
            <a:custGeom>
              <a:avLst/>
              <a:gdLst/>
              <a:ahLst/>
              <a:cxnLst/>
              <a:rect l="l" t="t" r="r" b="b"/>
              <a:pathLst>
                <a:path w="2497" h="2137" extrusionOk="0">
                  <a:moveTo>
                    <a:pt x="1074" y="0"/>
                  </a:moveTo>
                  <a:cubicBezTo>
                    <a:pt x="480" y="8"/>
                    <a:pt x="9" y="480"/>
                    <a:pt x="1" y="1073"/>
                  </a:cubicBezTo>
                  <a:cubicBezTo>
                    <a:pt x="1" y="1711"/>
                    <a:pt x="525" y="2137"/>
                    <a:pt x="1073" y="2137"/>
                  </a:cubicBezTo>
                  <a:cubicBezTo>
                    <a:pt x="1335" y="2137"/>
                    <a:pt x="1603" y="2039"/>
                    <a:pt x="1822" y="1821"/>
                  </a:cubicBezTo>
                  <a:cubicBezTo>
                    <a:pt x="2496" y="1154"/>
                    <a:pt x="2017" y="0"/>
                    <a:pt x="1074"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969" name="Google Shape;2969;p104"/>
            <p:cNvSpPr/>
            <p:nvPr/>
          </p:nvSpPr>
          <p:spPr>
            <a:xfrm>
              <a:off x="4732475" y="1418975"/>
              <a:ext cx="62425" cy="53350"/>
            </a:xfrm>
            <a:custGeom>
              <a:avLst/>
              <a:gdLst/>
              <a:ahLst/>
              <a:cxnLst/>
              <a:rect l="l" t="t" r="r" b="b"/>
              <a:pathLst>
                <a:path w="2497" h="2134" extrusionOk="0">
                  <a:moveTo>
                    <a:pt x="1074" y="1"/>
                  </a:moveTo>
                  <a:cubicBezTo>
                    <a:pt x="480" y="1"/>
                    <a:pt x="9" y="480"/>
                    <a:pt x="1" y="1065"/>
                  </a:cubicBezTo>
                  <a:cubicBezTo>
                    <a:pt x="1" y="1709"/>
                    <a:pt x="526" y="2133"/>
                    <a:pt x="1075" y="2133"/>
                  </a:cubicBezTo>
                  <a:cubicBezTo>
                    <a:pt x="1336" y="2133"/>
                    <a:pt x="1604" y="2037"/>
                    <a:pt x="1822" y="1822"/>
                  </a:cubicBezTo>
                  <a:cubicBezTo>
                    <a:pt x="2496" y="1147"/>
                    <a:pt x="2017" y="1"/>
                    <a:pt x="1074"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970" name="Google Shape;2970;p104"/>
            <p:cNvSpPr/>
            <p:nvPr/>
          </p:nvSpPr>
          <p:spPr>
            <a:xfrm>
              <a:off x="4732475" y="1190550"/>
              <a:ext cx="62425" cy="53325"/>
            </a:xfrm>
            <a:custGeom>
              <a:avLst/>
              <a:gdLst/>
              <a:ahLst/>
              <a:cxnLst/>
              <a:rect l="l" t="t" r="r" b="b"/>
              <a:pathLst>
                <a:path w="2497" h="2133" extrusionOk="0">
                  <a:moveTo>
                    <a:pt x="1074" y="0"/>
                  </a:moveTo>
                  <a:cubicBezTo>
                    <a:pt x="480" y="0"/>
                    <a:pt x="9" y="480"/>
                    <a:pt x="1" y="1065"/>
                  </a:cubicBezTo>
                  <a:cubicBezTo>
                    <a:pt x="1" y="1709"/>
                    <a:pt x="526" y="2133"/>
                    <a:pt x="1075" y="2133"/>
                  </a:cubicBezTo>
                  <a:cubicBezTo>
                    <a:pt x="1336" y="2133"/>
                    <a:pt x="1604" y="2036"/>
                    <a:pt x="1822" y="1821"/>
                  </a:cubicBezTo>
                  <a:cubicBezTo>
                    <a:pt x="2496" y="1146"/>
                    <a:pt x="2017" y="0"/>
                    <a:pt x="1074"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971" name="Google Shape;2971;p104"/>
            <p:cNvSpPr/>
            <p:nvPr/>
          </p:nvSpPr>
          <p:spPr>
            <a:xfrm>
              <a:off x="4656475" y="2866425"/>
              <a:ext cx="62200" cy="53275"/>
            </a:xfrm>
            <a:custGeom>
              <a:avLst/>
              <a:gdLst/>
              <a:ahLst/>
              <a:cxnLst/>
              <a:rect l="l" t="t" r="r" b="b"/>
              <a:pathLst>
                <a:path w="2488" h="2131" extrusionOk="0">
                  <a:moveTo>
                    <a:pt x="1065" y="0"/>
                  </a:moveTo>
                  <a:cubicBezTo>
                    <a:pt x="472" y="0"/>
                    <a:pt x="0" y="472"/>
                    <a:pt x="0" y="1065"/>
                  </a:cubicBezTo>
                  <a:cubicBezTo>
                    <a:pt x="0" y="1707"/>
                    <a:pt x="522" y="2131"/>
                    <a:pt x="1069" y="2131"/>
                  </a:cubicBezTo>
                  <a:cubicBezTo>
                    <a:pt x="1333" y="2131"/>
                    <a:pt x="1602" y="2032"/>
                    <a:pt x="1821" y="1813"/>
                  </a:cubicBezTo>
                  <a:cubicBezTo>
                    <a:pt x="2488" y="1146"/>
                    <a:pt x="2016" y="0"/>
                    <a:pt x="1065"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972" name="Google Shape;2972;p104"/>
            <p:cNvSpPr/>
            <p:nvPr/>
          </p:nvSpPr>
          <p:spPr>
            <a:xfrm>
              <a:off x="4656475" y="2790200"/>
              <a:ext cx="62200" cy="53350"/>
            </a:xfrm>
            <a:custGeom>
              <a:avLst/>
              <a:gdLst/>
              <a:ahLst/>
              <a:cxnLst/>
              <a:rect l="l" t="t" r="r" b="b"/>
              <a:pathLst>
                <a:path w="2488" h="2134" extrusionOk="0">
                  <a:moveTo>
                    <a:pt x="1065" y="1"/>
                  </a:moveTo>
                  <a:cubicBezTo>
                    <a:pt x="472" y="1"/>
                    <a:pt x="0" y="480"/>
                    <a:pt x="0" y="1066"/>
                  </a:cubicBezTo>
                  <a:cubicBezTo>
                    <a:pt x="0" y="1709"/>
                    <a:pt x="525" y="2134"/>
                    <a:pt x="1072" y="2134"/>
                  </a:cubicBezTo>
                  <a:cubicBezTo>
                    <a:pt x="1332" y="2134"/>
                    <a:pt x="1598" y="2037"/>
                    <a:pt x="1813" y="1822"/>
                  </a:cubicBezTo>
                  <a:cubicBezTo>
                    <a:pt x="2488" y="1147"/>
                    <a:pt x="2016" y="1"/>
                    <a:pt x="1065"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973" name="Google Shape;2973;p104"/>
            <p:cNvSpPr/>
            <p:nvPr/>
          </p:nvSpPr>
          <p:spPr>
            <a:xfrm>
              <a:off x="4656475" y="2714000"/>
              <a:ext cx="62200" cy="53350"/>
            </a:xfrm>
            <a:custGeom>
              <a:avLst/>
              <a:gdLst/>
              <a:ahLst/>
              <a:cxnLst/>
              <a:rect l="l" t="t" r="r" b="b"/>
              <a:pathLst>
                <a:path w="2488" h="2134" extrusionOk="0">
                  <a:moveTo>
                    <a:pt x="1065" y="0"/>
                  </a:moveTo>
                  <a:cubicBezTo>
                    <a:pt x="472" y="0"/>
                    <a:pt x="0" y="480"/>
                    <a:pt x="0" y="1065"/>
                  </a:cubicBezTo>
                  <a:cubicBezTo>
                    <a:pt x="0" y="1709"/>
                    <a:pt x="525" y="2133"/>
                    <a:pt x="1072" y="2133"/>
                  </a:cubicBezTo>
                  <a:cubicBezTo>
                    <a:pt x="1332" y="2133"/>
                    <a:pt x="1598" y="2036"/>
                    <a:pt x="1813" y="1821"/>
                  </a:cubicBezTo>
                  <a:cubicBezTo>
                    <a:pt x="2488" y="1146"/>
                    <a:pt x="2016" y="0"/>
                    <a:pt x="1065"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974" name="Google Shape;2974;p104"/>
            <p:cNvSpPr/>
            <p:nvPr/>
          </p:nvSpPr>
          <p:spPr>
            <a:xfrm>
              <a:off x="4656475" y="2485550"/>
              <a:ext cx="62200" cy="53300"/>
            </a:xfrm>
            <a:custGeom>
              <a:avLst/>
              <a:gdLst/>
              <a:ahLst/>
              <a:cxnLst/>
              <a:rect l="l" t="t" r="r" b="b"/>
              <a:pathLst>
                <a:path w="2488" h="2132" extrusionOk="0">
                  <a:moveTo>
                    <a:pt x="1065" y="1"/>
                  </a:moveTo>
                  <a:cubicBezTo>
                    <a:pt x="472" y="1"/>
                    <a:pt x="0" y="480"/>
                    <a:pt x="0" y="1066"/>
                  </a:cubicBezTo>
                  <a:cubicBezTo>
                    <a:pt x="0" y="1708"/>
                    <a:pt x="522" y="2131"/>
                    <a:pt x="1069" y="2131"/>
                  </a:cubicBezTo>
                  <a:cubicBezTo>
                    <a:pt x="1333" y="2131"/>
                    <a:pt x="1602" y="2033"/>
                    <a:pt x="1821" y="1814"/>
                  </a:cubicBezTo>
                  <a:cubicBezTo>
                    <a:pt x="2488" y="1147"/>
                    <a:pt x="2016" y="1"/>
                    <a:pt x="1065"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975" name="Google Shape;2975;p104"/>
            <p:cNvSpPr/>
            <p:nvPr/>
          </p:nvSpPr>
          <p:spPr>
            <a:xfrm>
              <a:off x="4656475" y="1495200"/>
              <a:ext cx="62200" cy="53325"/>
            </a:xfrm>
            <a:custGeom>
              <a:avLst/>
              <a:gdLst/>
              <a:ahLst/>
              <a:cxnLst/>
              <a:rect l="l" t="t" r="r" b="b"/>
              <a:pathLst>
                <a:path w="2488" h="2133" extrusionOk="0">
                  <a:moveTo>
                    <a:pt x="1065" y="0"/>
                  </a:moveTo>
                  <a:cubicBezTo>
                    <a:pt x="472" y="0"/>
                    <a:pt x="0" y="480"/>
                    <a:pt x="0" y="1065"/>
                  </a:cubicBezTo>
                  <a:cubicBezTo>
                    <a:pt x="0" y="1709"/>
                    <a:pt x="525" y="2133"/>
                    <a:pt x="1072" y="2133"/>
                  </a:cubicBezTo>
                  <a:cubicBezTo>
                    <a:pt x="1332" y="2133"/>
                    <a:pt x="1598" y="2036"/>
                    <a:pt x="1813" y="1821"/>
                  </a:cubicBezTo>
                  <a:cubicBezTo>
                    <a:pt x="2488" y="1146"/>
                    <a:pt x="2016" y="0"/>
                    <a:pt x="1065"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976" name="Google Shape;2976;p104"/>
            <p:cNvSpPr/>
            <p:nvPr/>
          </p:nvSpPr>
          <p:spPr>
            <a:xfrm>
              <a:off x="4656475" y="1418975"/>
              <a:ext cx="62200" cy="53350"/>
            </a:xfrm>
            <a:custGeom>
              <a:avLst/>
              <a:gdLst/>
              <a:ahLst/>
              <a:cxnLst/>
              <a:rect l="l" t="t" r="r" b="b"/>
              <a:pathLst>
                <a:path w="2488" h="2134" extrusionOk="0">
                  <a:moveTo>
                    <a:pt x="1065" y="1"/>
                  </a:moveTo>
                  <a:cubicBezTo>
                    <a:pt x="472" y="1"/>
                    <a:pt x="0" y="480"/>
                    <a:pt x="0" y="1065"/>
                  </a:cubicBezTo>
                  <a:cubicBezTo>
                    <a:pt x="0" y="1709"/>
                    <a:pt x="525" y="2133"/>
                    <a:pt x="1072" y="2133"/>
                  </a:cubicBezTo>
                  <a:cubicBezTo>
                    <a:pt x="1332" y="2133"/>
                    <a:pt x="1598" y="2037"/>
                    <a:pt x="1813" y="1822"/>
                  </a:cubicBezTo>
                  <a:cubicBezTo>
                    <a:pt x="2488" y="1147"/>
                    <a:pt x="2016" y="1"/>
                    <a:pt x="1065"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977" name="Google Shape;2977;p104"/>
            <p:cNvSpPr/>
            <p:nvPr/>
          </p:nvSpPr>
          <p:spPr>
            <a:xfrm>
              <a:off x="4656475" y="1266550"/>
              <a:ext cx="62200" cy="53450"/>
            </a:xfrm>
            <a:custGeom>
              <a:avLst/>
              <a:gdLst/>
              <a:ahLst/>
              <a:cxnLst/>
              <a:rect l="l" t="t" r="r" b="b"/>
              <a:pathLst>
                <a:path w="2488" h="2138" extrusionOk="0">
                  <a:moveTo>
                    <a:pt x="1065" y="0"/>
                  </a:moveTo>
                  <a:cubicBezTo>
                    <a:pt x="472" y="9"/>
                    <a:pt x="0" y="480"/>
                    <a:pt x="0" y="1074"/>
                  </a:cubicBezTo>
                  <a:cubicBezTo>
                    <a:pt x="0" y="1711"/>
                    <a:pt x="525" y="2137"/>
                    <a:pt x="1070" y="2137"/>
                  </a:cubicBezTo>
                  <a:cubicBezTo>
                    <a:pt x="1331" y="2137"/>
                    <a:pt x="1597" y="2040"/>
                    <a:pt x="1813" y="1821"/>
                  </a:cubicBezTo>
                  <a:cubicBezTo>
                    <a:pt x="2488" y="1155"/>
                    <a:pt x="2016" y="0"/>
                    <a:pt x="1065"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978" name="Google Shape;2978;p104"/>
            <p:cNvSpPr/>
            <p:nvPr/>
          </p:nvSpPr>
          <p:spPr>
            <a:xfrm>
              <a:off x="4656475" y="1038125"/>
              <a:ext cx="62200" cy="53325"/>
            </a:xfrm>
            <a:custGeom>
              <a:avLst/>
              <a:gdLst/>
              <a:ahLst/>
              <a:cxnLst/>
              <a:rect l="l" t="t" r="r" b="b"/>
              <a:pathLst>
                <a:path w="2488" h="2133" extrusionOk="0">
                  <a:moveTo>
                    <a:pt x="1065" y="0"/>
                  </a:moveTo>
                  <a:cubicBezTo>
                    <a:pt x="472" y="0"/>
                    <a:pt x="0" y="480"/>
                    <a:pt x="0" y="1065"/>
                  </a:cubicBezTo>
                  <a:cubicBezTo>
                    <a:pt x="0" y="1709"/>
                    <a:pt x="525" y="2133"/>
                    <a:pt x="1072" y="2133"/>
                  </a:cubicBezTo>
                  <a:cubicBezTo>
                    <a:pt x="1332" y="2133"/>
                    <a:pt x="1598" y="2036"/>
                    <a:pt x="1813" y="1821"/>
                  </a:cubicBezTo>
                  <a:cubicBezTo>
                    <a:pt x="2488" y="1146"/>
                    <a:pt x="2016" y="0"/>
                    <a:pt x="1065"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979" name="Google Shape;2979;p104"/>
            <p:cNvSpPr/>
            <p:nvPr/>
          </p:nvSpPr>
          <p:spPr>
            <a:xfrm>
              <a:off x="4580250" y="2942425"/>
              <a:ext cx="62225" cy="53450"/>
            </a:xfrm>
            <a:custGeom>
              <a:avLst/>
              <a:gdLst/>
              <a:ahLst/>
              <a:cxnLst/>
              <a:rect l="l" t="t" r="r" b="b"/>
              <a:pathLst>
                <a:path w="2489" h="2138" extrusionOk="0">
                  <a:moveTo>
                    <a:pt x="1066" y="1"/>
                  </a:moveTo>
                  <a:cubicBezTo>
                    <a:pt x="480" y="1"/>
                    <a:pt x="1" y="480"/>
                    <a:pt x="1" y="1066"/>
                  </a:cubicBezTo>
                  <a:cubicBezTo>
                    <a:pt x="1" y="1709"/>
                    <a:pt x="526" y="2137"/>
                    <a:pt x="1074" y="2137"/>
                  </a:cubicBezTo>
                  <a:cubicBezTo>
                    <a:pt x="1336" y="2137"/>
                    <a:pt x="1604" y="2040"/>
                    <a:pt x="1822" y="1822"/>
                  </a:cubicBezTo>
                  <a:cubicBezTo>
                    <a:pt x="2488" y="1147"/>
                    <a:pt x="2017" y="1"/>
                    <a:pt x="1066"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980" name="Google Shape;2980;p104"/>
            <p:cNvSpPr/>
            <p:nvPr/>
          </p:nvSpPr>
          <p:spPr>
            <a:xfrm>
              <a:off x="4580250" y="2866425"/>
              <a:ext cx="62225" cy="53275"/>
            </a:xfrm>
            <a:custGeom>
              <a:avLst/>
              <a:gdLst/>
              <a:ahLst/>
              <a:cxnLst/>
              <a:rect l="l" t="t" r="r" b="b"/>
              <a:pathLst>
                <a:path w="2489" h="2131" extrusionOk="0">
                  <a:moveTo>
                    <a:pt x="1066" y="0"/>
                  </a:moveTo>
                  <a:cubicBezTo>
                    <a:pt x="480" y="0"/>
                    <a:pt x="1" y="472"/>
                    <a:pt x="1" y="1065"/>
                  </a:cubicBezTo>
                  <a:cubicBezTo>
                    <a:pt x="1" y="1707"/>
                    <a:pt x="523" y="2131"/>
                    <a:pt x="1070" y="2131"/>
                  </a:cubicBezTo>
                  <a:cubicBezTo>
                    <a:pt x="1333" y="2131"/>
                    <a:pt x="1602" y="2032"/>
                    <a:pt x="1822" y="1813"/>
                  </a:cubicBezTo>
                  <a:cubicBezTo>
                    <a:pt x="2488" y="1146"/>
                    <a:pt x="2017" y="0"/>
                    <a:pt x="1066"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981" name="Google Shape;2981;p104"/>
            <p:cNvSpPr/>
            <p:nvPr/>
          </p:nvSpPr>
          <p:spPr>
            <a:xfrm>
              <a:off x="4580250" y="2714000"/>
              <a:ext cx="62225" cy="53350"/>
            </a:xfrm>
            <a:custGeom>
              <a:avLst/>
              <a:gdLst/>
              <a:ahLst/>
              <a:cxnLst/>
              <a:rect l="l" t="t" r="r" b="b"/>
              <a:pathLst>
                <a:path w="2489" h="2134" extrusionOk="0">
                  <a:moveTo>
                    <a:pt x="1066" y="0"/>
                  </a:moveTo>
                  <a:cubicBezTo>
                    <a:pt x="480" y="0"/>
                    <a:pt x="1" y="480"/>
                    <a:pt x="1" y="1065"/>
                  </a:cubicBezTo>
                  <a:cubicBezTo>
                    <a:pt x="1" y="1709"/>
                    <a:pt x="526" y="2133"/>
                    <a:pt x="1075" y="2133"/>
                  </a:cubicBezTo>
                  <a:cubicBezTo>
                    <a:pt x="1336" y="2133"/>
                    <a:pt x="1604" y="2036"/>
                    <a:pt x="1822" y="1821"/>
                  </a:cubicBezTo>
                  <a:cubicBezTo>
                    <a:pt x="2488" y="1146"/>
                    <a:pt x="2017" y="0"/>
                    <a:pt x="1066"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982" name="Google Shape;2982;p104"/>
            <p:cNvSpPr/>
            <p:nvPr/>
          </p:nvSpPr>
          <p:spPr>
            <a:xfrm>
              <a:off x="4580250" y="2637775"/>
              <a:ext cx="62225" cy="53450"/>
            </a:xfrm>
            <a:custGeom>
              <a:avLst/>
              <a:gdLst/>
              <a:ahLst/>
              <a:cxnLst/>
              <a:rect l="l" t="t" r="r" b="b"/>
              <a:pathLst>
                <a:path w="2489" h="2138" extrusionOk="0">
                  <a:moveTo>
                    <a:pt x="1066" y="1"/>
                  </a:moveTo>
                  <a:cubicBezTo>
                    <a:pt x="480" y="9"/>
                    <a:pt x="1" y="480"/>
                    <a:pt x="1" y="1074"/>
                  </a:cubicBezTo>
                  <a:cubicBezTo>
                    <a:pt x="1" y="1712"/>
                    <a:pt x="525" y="2137"/>
                    <a:pt x="1073" y="2137"/>
                  </a:cubicBezTo>
                  <a:cubicBezTo>
                    <a:pt x="1336" y="2137"/>
                    <a:pt x="1603" y="2040"/>
                    <a:pt x="1822" y="1822"/>
                  </a:cubicBezTo>
                  <a:cubicBezTo>
                    <a:pt x="2488" y="1147"/>
                    <a:pt x="2017" y="1"/>
                    <a:pt x="1066"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983" name="Google Shape;2983;p104"/>
            <p:cNvSpPr/>
            <p:nvPr/>
          </p:nvSpPr>
          <p:spPr>
            <a:xfrm>
              <a:off x="4580250" y="2485550"/>
              <a:ext cx="62225" cy="53300"/>
            </a:xfrm>
            <a:custGeom>
              <a:avLst/>
              <a:gdLst/>
              <a:ahLst/>
              <a:cxnLst/>
              <a:rect l="l" t="t" r="r" b="b"/>
              <a:pathLst>
                <a:path w="2489" h="2132" extrusionOk="0">
                  <a:moveTo>
                    <a:pt x="1066" y="1"/>
                  </a:moveTo>
                  <a:cubicBezTo>
                    <a:pt x="480" y="1"/>
                    <a:pt x="1" y="472"/>
                    <a:pt x="1" y="1066"/>
                  </a:cubicBezTo>
                  <a:cubicBezTo>
                    <a:pt x="1" y="1708"/>
                    <a:pt x="523" y="2131"/>
                    <a:pt x="1070" y="2131"/>
                  </a:cubicBezTo>
                  <a:cubicBezTo>
                    <a:pt x="1333" y="2131"/>
                    <a:pt x="1602" y="2033"/>
                    <a:pt x="1822" y="1814"/>
                  </a:cubicBezTo>
                  <a:cubicBezTo>
                    <a:pt x="2488" y="1147"/>
                    <a:pt x="2017" y="1"/>
                    <a:pt x="1066"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984" name="Google Shape;2984;p104"/>
            <p:cNvSpPr/>
            <p:nvPr/>
          </p:nvSpPr>
          <p:spPr>
            <a:xfrm>
              <a:off x="4580250" y="1495200"/>
              <a:ext cx="62225" cy="53325"/>
            </a:xfrm>
            <a:custGeom>
              <a:avLst/>
              <a:gdLst/>
              <a:ahLst/>
              <a:cxnLst/>
              <a:rect l="l" t="t" r="r" b="b"/>
              <a:pathLst>
                <a:path w="2489" h="2133" extrusionOk="0">
                  <a:moveTo>
                    <a:pt x="1066" y="0"/>
                  </a:moveTo>
                  <a:cubicBezTo>
                    <a:pt x="480" y="0"/>
                    <a:pt x="1" y="480"/>
                    <a:pt x="1" y="1065"/>
                  </a:cubicBezTo>
                  <a:cubicBezTo>
                    <a:pt x="1" y="1709"/>
                    <a:pt x="526" y="2133"/>
                    <a:pt x="1075" y="2133"/>
                  </a:cubicBezTo>
                  <a:cubicBezTo>
                    <a:pt x="1336" y="2133"/>
                    <a:pt x="1604" y="2036"/>
                    <a:pt x="1822" y="1821"/>
                  </a:cubicBezTo>
                  <a:cubicBezTo>
                    <a:pt x="2488" y="1146"/>
                    <a:pt x="2017" y="0"/>
                    <a:pt x="1066"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985" name="Google Shape;2985;p104"/>
            <p:cNvSpPr/>
            <p:nvPr/>
          </p:nvSpPr>
          <p:spPr>
            <a:xfrm>
              <a:off x="4580250" y="1342750"/>
              <a:ext cx="62225" cy="53450"/>
            </a:xfrm>
            <a:custGeom>
              <a:avLst/>
              <a:gdLst/>
              <a:ahLst/>
              <a:cxnLst/>
              <a:rect l="l" t="t" r="r" b="b"/>
              <a:pathLst>
                <a:path w="2489" h="2138" extrusionOk="0">
                  <a:moveTo>
                    <a:pt x="1066" y="1"/>
                  </a:moveTo>
                  <a:cubicBezTo>
                    <a:pt x="480" y="1"/>
                    <a:pt x="1" y="481"/>
                    <a:pt x="1" y="1066"/>
                  </a:cubicBezTo>
                  <a:cubicBezTo>
                    <a:pt x="1" y="1710"/>
                    <a:pt x="526" y="2138"/>
                    <a:pt x="1074" y="2138"/>
                  </a:cubicBezTo>
                  <a:cubicBezTo>
                    <a:pt x="1336" y="2138"/>
                    <a:pt x="1604" y="2040"/>
                    <a:pt x="1822" y="1822"/>
                  </a:cubicBezTo>
                  <a:cubicBezTo>
                    <a:pt x="2488" y="1147"/>
                    <a:pt x="2017" y="1"/>
                    <a:pt x="1066"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986" name="Google Shape;2986;p104"/>
            <p:cNvSpPr/>
            <p:nvPr/>
          </p:nvSpPr>
          <p:spPr>
            <a:xfrm>
              <a:off x="4580250" y="1266550"/>
              <a:ext cx="62225" cy="53450"/>
            </a:xfrm>
            <a:custGeom>
              <a:avLst/>
              <a:gdLst/>
              <a:ahLst/>
              <a:cxnLst/>
              <a:rect l="l" t="t" r="r" b="b"/>
              <a:pathLst>
                <a:path w="2489" h="2138" extrusionOk="0">
                  <a:moveTo>
                    <a:pt x="1066" y="0"/>
                  </a:moveTo>
                  <a:cubicBezTo>
                    <a:pt x="480" y="9"/>
                    <a:pt x="1" y="480"/>
                    <a:pt x="1" y="1074"/>
                  </a:cubicBezTo>
                  <a:cubicBezTo>
                    <a:pt x="1" y="1711"/>
                    <a:pt x="525" y="2137"/>
                    <a:pt x="1073" y="2137"/>
                  </a:cubicBezTo>
                  <a:cubicBezTo>
                    <a:pt x="1336" y="2137"/>
                    <a:pt x="1603" y="2040"/>
                    <a:pt x="1822" y="1821"/>
                  </a:cubicBezTo>
                  <a:cubicBezTo>
                    <a:pt x="2488" y="1155"/>
                    <a:pt x="2017" y="0"/>
                    <a:pt x="1066"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987" name="Google Shape;2987;p104"/>
            <p:cNvSpPr/>
            <p:nvPr/>
          </p:nvSpPr>
          <p:spPr>
            <a:xfrm>
              <a:off x="4504050" y="2942425"/>
              <a:ext cx="62200" cy="53450"/>
            </a:xfrm>
            <a:custGeom>
              <a:avLst/>
              <a:gdLst/>
              <a:ahLst/>
              <a:cxnLst/>
              <a:rect l="l" t="t" r="r" b="b"/>
              <a:pathLst>
                <a:path w="2488" h="2138" extrusionOk="0">
                  <a:moveTo>
                    <a:pt x="1065" y="1"/>
                  </a:moveTo>
                  <a:cubicBezTo>
                    <a:pt x="480" y="1"/>
                    <a:pt x="0" y="480"/>
                    <a:pt x="0" y="1066"/>
                  </a:cubicBezTo>
                  <a:cubicBezTo>
                    <a:pt x="0" y="1709"/>
                    <a:pt x="525" y="2137"/>
                    <a:pt x="1074" y="2137"/>
                  </a:cubicBezTo>
                  <a:cubicBezTo>
                    <a:pt x="1336" y="2137"/>
                    <a:pt x="1603" y="2040"/>
                    <a:pt x="1821" y="1822"/>
                  </a:cubicBezTo>
                  <a:cubicBezTo>
                    <a:pt x="2488" y="1155"/>
                    <a:pt x="2016" y="1"/>
                    <a:pt x="1065"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988" name="Google Shape;2988;p104"/>
            <p:cNvSpPr/>
            <p:nvPr/>
          </p:nvSpPr>
          <p:spPr>
            <a:xfrm>
              <a:off x="4504050" y="2637775"/>
              <a:ext cx="62200" cy="53450"/>
            </a:xfrm>
            <a:custGeom>
              <a:avLst/>
              <a:gdLst/>
              <a:ahLst/>
              <a:cxnLst/>
              <a:rect l="l" t="t" r="r" b="b"/>
              <a:pathLst>
                <a:path w="2488" h="2138" extrusionOk="0">
                  <a:moveTo>
                    <a:pt x="1065" y="1"/>
                  </a:moveTo>
                  <a:cubicBezTo>
                    <a:pt x="480" y="1"/>
                    <a:pt x="0" y="480"/>
                    <a:pt x="0" y="1074"/>
                  </a:cubicBezTo>
                  <a:cubicBezTo>
                    <a:pt x="0" y="1712"/>
                    <a:pt x="525" y="2137"/>
                    <a:pt x="1073" y="2137"/>
                  </a:cubicBezTo>
                  <a:cubicBezTo>
                    <a:pt x="1335" y="2137"/>
                    <a:pt x="1603" y="2040"/>
                    <a:pt x="1821" y="1822"/>
                  </a:cubicBezTo>
                  <a:cubicBezTo>
                    <a:pt x="2488" y="1155"/>
                    <a:pt x="2016" y="1"/>
                    <a:pt x="1065"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989" name="Google Shape;2989;p104"/>
            <p:cNvSpPr/>
            <p:nvPr/>
          </p:nvSpPr>
          <p:spPr>
            <a:xfrm>
              <a:off x="4504050" y="2561575"/>
              <a:ext cx="62200" cy="53425"/>
            </a:xfrm>
            <a:custGeom>
              <a:avLst/>
              <a:gdLst/>
              <a:ahLst/>
              <a:cxnLst/>
              <a:rect l="l" t="t" r="r" b="b"/>
              <a:pathLst>
                <a:path w="2488" h="2137" extrusionOk="0">
                  <a:moveTo>
                    <a:pt x="1065" y="0"/>
                  </a:moveTo>
                  <a:cubicBezTo>
                    <a:pt x="480" y="8"/>
                    <a:pt x="0" y="480"/>
                    <a:pt x="0" y="1073"/>
                  </a:cubicBezTo>
                  <a:cubicBezTo>
                    <a:pt x="0" y="1711"/>
                    <a:pt x="525" y="2137"/>
                    <a:pt x="1073" y="2137"/>
                  </a:cubicBezTo>
                  <a:cubicBezTo>
                    <a:pt x="1335" y="2137"/>
                    <a:pt x="1603" y="2039"/>
                    <a:pt x="1821" y="1821"/>
                  </a:cubicBezTo>
                  <a:cubicBezTo>
                    <a:pt x="2488" y="1154"/>
                    <a:pt x="2016" y="0"/>
                    <a:pt x="1065"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990" name="Google Shape;2990;p104"/>
            <p:cNvSpPr/>
            <p:nvPr/>
          </p:nvSpPr>
          <p:spPr>
            <a:xfrm>
              <a:off x="4504050" y="2485550"/>
              <a:ext cx="62200" cy="53300"/>
            </a:xfrm>
            <a:custGeom>
              <a:avLst/>
              <a:gdLst/>
              <a:ahLst/>
              <a:cxnLst/>
              <a:rect l="l" t="t" r="r" b="b"/>
              <a:pathLst>
                <a:path w="2488" h="2132" extrusionOk="0">
                  <a:moveTo>
                    <a:pt x="1065" y="1"/>
                  </a:moveTo>
                  <a:cubicBezTo>
                    <a:pt x="480" y="1"/>
                    <a:pt x="0" y="472"/>
                    <a:pt x="0" y="1066"/>
                  </a:cubicBezTo>
                  <a:cubicBezTo>
                    <a:pt x="0" y="1708"/>
                    <a:pt x="522" y="2131"/>
                    <a:pt x="1069" y="2131"/>
                  </a:cubicBezTo>
                  <a:cubicBezTo>
                    <a:pt x="1333" y="2131"/>
                    <a:pt x="1602" y="2033"/>
                    <a:pt x="1821" y="1814"/>
                  </a:cubicBezTo>
                  <a:cubicBezTo>
                    <a:pt x="2488" y="1147"/>
                    <a:pt x="2016" y="1"/>
                    <a:pt x="1065"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991" name="Google Shape;2991;p104"/>
            <p:cNvSpPr/>
            <p:nvPr/>
          </p:nvSpPr>
          <p:spPr>
            <a:xfrm>
              <a:off x="4504050" y="1495200"/>
              <a:ext cx="62200" cy="53325"/>
            </a:xfrm>
            <a:custGeom>
              <a:avLst/>
              <a:gdLst/>
              <a:ahLst/>
              <a:cxnLst/>
              <a:rect l="l" t="t" r="r" b="b"/>
              <a:pathLst>
                <a:path w="2488" h="2133"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992" name="Google Shape;2992;p104"/>
            <p:cNvSpPr/>
            <p:nvPr/>
          </p:nvSpPr>
          <p:spPr>
            <a:xfrm>
              <a:off x="4504050" y="1114325"/>
              <a:ext cx="62200" cy="53350"/>
            </a:xfrm>
            <a:custGeom>
              <a:avLst/>
              <a:gdLst/>
              <a:ahLst/>
              <a:cxnLst/>
              <a:rect l="l" t="t" r="r" b="b"/>
              <a:pathLst>
                <a:path w="2488" h="2134" extrusionOk="0">
                  <a:moveTo>
                    <a:pt x="1065" y="1"/>
                  </a:moveTo>
                  <a:cubicBezTo>
                    <a:pt x="480" y="1"/>
                    <a:pt x="0" y="480"/>
                    <a:pt x="0" y="1065"/>
                  </a:cubicBezTo>
                  <a:cubicBezTo>
                    <a:pt x="0" y="1709"/>
                    <a:pt x="525" y="2133"/>
                    <a:pt x="1074" y="2133"/>
                  </a:cubicBezTo>
                  <a:cubicBezTo>
                    <a:pt x="1336" y="2133"/>
                    <a:pt x="1603" y="2037"/>
                    <a:pt x="1821" y="1822"/>
                  </a:cubicBezTo>
                  <a:cubicBezTo>
                    <a:pt x="2488" y="1147"/>
                    <a:pt x="2016" y="1"/>
                    <a:pt x="1065"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993" name="Google Shape;2993;p104"/>
            <p:cNvSpPr/>
            <p:nvPr/>
          </p:nvSpPr>
          <p:spPr>
            <a:xfrm>
              <a:off x="4427825" y="2942425"/>
              <a:ext cx="62425" cy="53450"/>
            </a:xfrm>
            <a:custGeom>
              <a:avLst/>
              <a:gdLst/>
              <a:ahLst/>
              <a:cxnLst/>
              <a:rect l="l" t="t" r="r" b="b"/>
              <a:pathLst>
                <a:path w="2497" h="2138" extrusionOk="0">
                  <a:moveTo>
                    <a:pt x="1065" y="1"/>
                  </a:moveTo>
                  <a:cubicBezTo>
                    <a:pt x="480" y="9"/>
                    <a:pt x="9" y="480"/>
                    <a:pt x="1" y="1066"/>
                  </a:cubicBezTo>
                  <a:cubicBezTo>
                    <a:pt x="1" y="1709"/>
                    <a:pt x="526" y="2137"/>
                    <a:pt x="1074" y="2137"/>
                  </a:cubicBezTo>
                  <a:cubicBezTo>
                    <a:pt x="1336" y="2137"/>
                    <a:pt x="1603" y="2040"/>
                    <a:pt x="1822" y="1822"/>
                  </a:cubicBezTo>
                  <a:cubicBezTo>
                    <a:pt x="2496" y="1147"/>
                    <a:pt x="2017" y="1"/>
                    <a:pt x="1065"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994" name="Google Shape;2994;p104"/>
            <p:cNvSpPr/>
            <p:nvPr/>
          </p:nvSpPr>
          <p:spPr>
            <a:xfrm>
              <a:off x="4427825" y="2866425"/>
              <a:ext cx="62425" cy="53275"/>
            </a:xfrm>
            <a:custGeom>
              <a:avLst/>
              <a:gdLst/>
              <a:ahLst/>
              <a:cxnLst/>
              <a:rect l="l" t="t" r="r" b="b"/>
              <a:pathLst>
                <a:path w="2497" h="2131" extrusionOk="0">
                  <a:moveTo>
                    <a:pt x="1065" y="0"/>
                  </a:moveTo>
                  <a:cubicBezTo>
                    <a:pt x="480" y="0"/>
                    <a:pt x="1" y="472"/>
                    <a:pt x="1" y="1065"/>
                  </a:cubicBezTo>
                  <a:cubicBezTo>
                    <a:pt x="1" y="1707"/>
                    <a:pt x="526" y="2131"/>
                    <a:pt x="1073" y="2131"/>
                  </a:cubicBezTo>
                  <a:cubicBezTo>
                    <a:pt x="1337" y="2131"/>
                    <a:pt x="1605" y="2032"/>
                    <a:pt x="1822" y="1813"/>
                  </a:cubicBezTo>
                  <a:cubicBezTo>
                    <a:pt x="2496" y="1146"/>
                    <a:pt x="2017" y="0"/>
                    <a:pt x="1065"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995" name="Google Shape;2995;p104"/>
            <p:cNvSpPr/>
            <p:nvPr/>
          </p:nvSpPr>
          <p:spPr>
            <a:xfrm>
              <a:off x="4427825" y="2790200"/>
              <a:ext cx="62425" cy="53350"/>
            </a:xfrm>
            <a:custGeom>
              <a:avLst/>
              <a:gdLst/>
              <a:ahLst/>
              <a:cxnLst/>
              <a:rect l="l" t="t" r="r" b="b"/>
              <a:pathLst>
                <a:path w="2497" h="2134" extrusionOk="0">
                  <a:moveTo>
                    <a:pt x="1065" y="1"/>
                  </a:moveTo>
                  <a:cubicBezTo>
                    <a:pt x="480" y="1"/>
                    <a:pt x="9" y="480"/>
                    <a:pt x="1" y="1066"/>
                  </a:cubicBezTo>
                  <a:cubicBezTo>
                    <a:pt x="1" y="1709"/>
                    <a:pt x="526" y="2134"/>
                    <a:pt x="1075" y="2134"/>
                  </a:cubicBezTo>
                  <a:cubicBezTo>
                    <a:pt x="1336" y="2134"/>
                    <a:pt x="1604" y="2037"/>
                    <a:pt x="1822" y="1822"/>
                  </a:cubicBezTo>
                  <a:cubicBezTo>
                    <a:pt x="2496" y="1147"/>
                    <a:pt x="2017" y="1"/>
                    <a:pt x="1065"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996" name="Google Shape;2996;p104"/>
            <p:cNvSpPr/>
            <p:nvPr/>
          </p:nvSpPr>
          <p:spPr>
            <a:xfrm>
              <a:off x="4427825" y="2561575"/>
              <a:ext cx="62425" cy="53425"/>
            </a:xfrm>
            <a:custGeom>
              <a:avLst/>
              <a:gdLst/>
              <a:ahLst/>
              <a:cxnLst/>
              <a:rect l="l" t="t" r="r" b="b"/>
              <a:pathLst>
                <a:path w="2497" h="2137" extrusionOk="0">
                  <a:moveTo>
                    <a:pt x="1065" y="0"/>
                  </a:moveTo>
                  <a:cubicBezTo>
                    <a:pt x="480" y="8"/>
                    <a:pt x="9" y="480"/>
                    <a:pt x="1" y="1073"/>
                  </a:cubicBezTo>
                  <a:cubicBezTo>
                    <a:pt x="1" y="1711"/>
                    <a:pt x="525" y="2137"/>
                    <a:pt x="1073" y="2137"/>
                  </a:cubicBezTo>
                  <a:cubicBezTo>
                    <a:pt x="1335" y="2137"/>
                    <a:pt x="1603" y="2039"/>
                    <a:pt x="1822" y="1821"/>
                  </a:cubicBezTo>
                  <a:cubicBezTo>
                    <a:pt x="2496" y="1154"/>
                    <a:pt x="2017" y="0"/>
                    <a:pt x="1065"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997" name="Google Shape;2997;p104"/>
            <p:cNvSpPr/>
            <p:nvPr/>
          </p:nvSpPr>
          <p:spPr>
            <a:xfrm>
              <a:off x="4427825" y="2485550"/>
              <a:ext cx="62425" cy="53300"/>
            </a:xfrm>
            <a:custGeom>
              <a:avLst/>
              <a:gdLst/>
              <a:ahLst/>
              <a:cxnLst/>
              <a:rect l="l" t="t" r="r" b="b"/>
              <a:pathLst>
                <a:path w="2497" h="2132" extrusionOk="0">
                  <a:moveTo>
                    <a:pt x="1065" y="1"/>
                  </a:moveTo>
                  <a:cubicBezTo>
                    <a:pt x="480" y="1"/>
                    <a:pt x="1" y="480"/>
                    <a:pt x="1" y="1066"/>
                  </a:cubicBezTo>
                  <a:cubicBezTo>
                    <a:pt x="1" y="1708"/>
                    <a:pt x="526" y="2131"/>
                    <a:pt x="1073" y="2131"/>
                  </a:cubicBezTo>
                  <a:cubicBezTo>
                    <a:pt x="1337" y="2131"/>
                    <a:pt x="1605" y="2033"/>
                    <a:pt x="1822" y="1814"/>
                  </a:cubicBezTo>
                  <a:cubicBezTo>
                    <a:pt x="2496" y="1147"/>
                    <a:pt x="2017" y="1"/>
                    <a:pt x="1065"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998" name="Google Shape;2998;p104"/>
            <p:cNvSpPr/>
            <p:nvPr/>
          </p:nvSpPr>
          <p:spPr>
            <a:xfrm>
              <a:off x="4427825" y="2409350"/>
              <a:ext cx="62425" cy="53350"/>
            </a:xfrm>
            <a:custGeom>
              <a:avLst/>
              <a:gdLst/>
              <a:ahLst/>
              <a:cxnLst/>
              <a:rect l="l" t="t" r="r" b="b"/>
              <a:pathLst>
                <a:path w="2497" h="2134" extrusionOk="0">
                  <a:moveTo>
                    <a:pt x="1065" y="0"/>
                  </a:moveTo>
                  <a:cubicBezTo>
                    <a:pt x="480" y="0"/>
                    <a:pt x="9" y="480"/>
                    <a:pt x="1" y="1065"/>
                  </a:cubicBezTo>
                  <a:cubicBezTo>
                    <a:pt x="1" y="1709"/>
                    <a:pt x="526" y="2133"/>
                    <a:pt x="1075" y="2133"/>
                  </a:cubicBezTo>
                  <a:cubicBezTo>
                    <a:pt x="1336" y="2133"/>
                    <a:pt x="1604" y="2036"/>
                    <a:pt x="1822" y="1821"/>
                  </a:cubicBezTo>
                  <a:cubicBezTo>
                    <a:pt x="2496" y="1146"/>
                    <a:pt x="2017" y="0"/>
                    <a:pt x="1065"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999" name="Google Shape;2999;p104"/>
            <p:cNvSpPr/>
            <p:nvPr/>
          </p:nvSpPr>
          <p:spPr>
            <a:xfrm>
              <a:off x="4351600" y="2790200"/>
              <a:ext cx="62425" cy="53350"/>
            </a:xfrm>
            <a:custGeom>
              <a:avLst/>
              <a:gdLst/>
              <a:ahLst/>
              <a:cxnLst/>
              <a:rect l="l" t="t" r="r" b="b"/>
              <a:pathLst>
                <a:path w="2497" h="2134" extrusionOk="0">
                  <a:moveTo>
                    <a:pt x="1074" y="1"/>
                  </a:moveTo>
                  <a:cubicBezTo>
                    <a:pt x="481" y="1"/>
                    <a:pt x="9" y="480"/>
                    <a:pt x="1" y="1066"/>
                  </a:cubicBezTo>
                  <a:cubicBezTo>
                    <a:pt x="1" y="1709"/>
                    <a:pt x="530" y="2134"/>
                    <a:pt x="1079" y="2134"/>
                  </a:cubicBezTo>
                  <a:cubicBezTo>
                    <a:pt x="1340" y="2134"/>
                    <a:pt x="1607" y="2037"/>
                    <a:pt x="1822" y="1822"/>
                  </a:cubicBezTo>
                  <a:cubicBezTo>
                    <a:pt x="2497" y="1147"/>
                    <a:pt x="2017" y="1"/>
                    <a:pt x="1074"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000" name="Google Shape;3000;p104"/>
            <p:cNvSpPr/>
            <p:nvPr/>
          </p:nvSpPr>
          <p:spPr>
            <a:xfrm>
              <a:off x="4351600" y="2714000"/>
              <a:ext cx="62425" cy="53350"/>
            </a:xfrm>
            <a:custGeom>
              <a:avLst/>
              <a:gdLst/>
              <a:ahLst/>
              <a:cxnLst/>
              <a:rect l="l" t="t" r="r" b="b"/>
              <a:pathLst>
                <a:path w="2497" h="2134" extrusionOk="0">
                  <a:moveTo>
                    <a:pt x="1074" y="0"/>
                  </a:moveTo>
                  <a:cubicBezTo>
                    <a:pt x="481" y="0"/>
                    <a:pt x="9" y="480"/>
                    <a:pt x="1" y="1065"/>
                  </a:cubicBezTo>
                  <a:cubicBezTo>
                    <a:pt x="1" y="1709"/>
                    <a:pt x="530" y="2133"/>
                    <a:pt x="1079" y="2133"/>
                  </a:cubicBezTo>
                  <a:cubicBezTo>
                    <a:pt x="1340" y="2133"/>
                    <a:pt x="1607" y="2036"/>
                    <a:pt x="1822" y="1821"/>
                  </a:cubicBezTo>
                  <a:cubicBezTo>
                    <a:pt x="2497" y="1146"/>
                    <a:pt x="2017" y="0"/>
                    <a:pt x="1074"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001" name="Google Shape;3001;p104"/>
            <p:cNvSpPr/>
            <p:nvPr/>
          </p:nvSpPr>
          <p:spPr>
            <a:xfrm>
              <a:off x="4351600" y="2637775"/>
              <a:ext cx="62425" cy="53450"/>
            </a:xfrm>
            <a:custGeom>
              <a:avLst/>
              <a:gdLst/>
              <a:ahLst/>
              <a:cxnLst/>
              <a:rect l="l" t="t" r="r" b="b"/>
              <a:pathLst>
                <a:path w="2497" h="2138" extrusionOk="0">
                  <a:moveTo>
                    <a:pt x="1074" y="1"/>
                  </a:moveTo>
                  <a:cubicBezTo>
                    <a:pt x="481" y="1"/>
                    <a:pt x="9" y="480"/>
                    <a:pt x="1" y="1074"/>
                  </a:cubicBezTo>
                  <a:cubicBezTo>
                    <a:pt x="1" y="1712"/>
                    <a:pt x="529" y="2137"/>
                    <a:pt x="1077" y="2137"/>
                  </a:cubicBezTo>
                  <a:cubicBezTo>
                    <a:pt x="1339" y="2137"/>
                    <a:pt x="1606" y="2040"/>
                    <a:pt x="1822" y="1822"/>
                  </a:cubicBezTo>
                  <a:cubicBezTo>
                    <a:pt x="2497" y="1155"/>
                    <a:pt x="2017" y="1"/>
                    <a:pt x="1074"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002" name="Google Shape;3002;p104"/>
            <p:cNvSpPr/>
            <p:nvPr/>
          </p:nvSpPr>
          <p:spPr>
            <a:xfrm>
              <a:off x="4351600" y="2561575"/>
              <a:ext cx="62425" cy="53425"/>
            </a:xfrm>
            <a:custGeom>
              <a:avLst/>
              <a:gdLst/>
              <a:ahLst/>
              <a:cxnLst/>
              <a:rect l="l" t="t" r="r" b="b"/>
              <a:pathLst>
                <a:path w="2497" h="2137" extrusionOk="0">
                  <a:moveTo>
                    <a:pt x="1074" y="0"/>
                  </a:moveTo>
                  <a:cubicBezTo>
                    <a:pt x="481" y="8"/>
                    <a:pt x="9" y="480"/>
                    <a:pt x="1" y="1073"/>
                  </a:cubicBezTo>
                  <a:cubicBezTo>
                    <a:pt x="1" y="1711"/>
                    <a:pt x="529" y="2137"/>
                    <a:pt x="1077" y="2137"/>
                  </a:cubicBezTo>
                  <a:cubicBezTo>
                    <a:pt x="1339" y="2137"/>
                    <a:pt x="1606" y="2039"/>
                    <a:pt x="1822" y="1821"/>
                  </a:cubicBezTo>
                  <a:cubicBezTo>
                    <a:pt x="2497" y="1154"/>
                    <a:pt x="2017" y="0"/>
                    <a:pt x="1074"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003" name="Google Shape;3003;p104"/>
            <p:cNvSpPr/>
            <p:nvPr/>
          </p:nvSpPr>
          <p:spPr>
            <a:xfrm>
              <a:off x="4275600" y="2637775"/>
              <a:ext cx="62225" cy="53450"/>
            </a:xfrm>
            <a:custGeom>
              <a:avLst/>
              <a:gdLst/>
              <a:ahLst/>
              <a:cxnLst/>
              <a:rect l="l" t="t" r="r" b="b"/>
              <a:pathLst>
                <a:path w="2489" h="2138" extrusionOk="0">
                  <a:moveTo>
                    <a:pt x="1066" y="1"/>
                  </a:moveTo>
                  <a:cubicBezTo>
                    <a:pt x="472" y="9"/>
                    <a:pt x="1" y="480"/>
                    <a:pt x="1" y="1074"/>
                  </a:cubicBezTo>
                  <a:cubicBezTo>
                    <a:pt x="1" y="1712"/>
                    <a:pt x="525" y="2137"/>
                    <a:pt x="1073" y="2137"/>
                  </a:cubicBezTo>
                  <a:cubicBezTo>
                    <a:pt x="1336" y="2137"/>
                    <a:pt x="1603" y="2040"/>
                    <a:pt x="1822" y="1822"/>
                  </a:cubicBezTo>
                  <a:cubicBezTo>
                    <a:pt x="2488" y="1147"/>
                    <a:pt x="2017" y="1"/>
                    <a:pt x="1066"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004" name="Google Shape;3004;p104"/>
            <p:cNvSpPr/>
            <p:nvPr/>
          </p:nvSpPr>
          <p:spPr>
            <a:xfrm>
              <a:off x="4275600" y="2561575"/>
              <a:ext cx="62225" cy="53425"/>
            </a:xfrm>
            <a:custGeom>
              <a:avLst/>
              <a:gdLst/>
              <a:ahLst/>
              <a:cxnLst/>
              <a:rect l="l" t="t" r="r" b="b"/>
              <a:pathLst>
                <a:path w="2489" h="2137" extrusionOk="0">
                  <a:moveTo>
                    <a:pt x="1066" y="0"/>
                  </a:moveTo>
                  <a:cubicBezTo>
                    <a:pt x="472" y="8"/>
                    <a:pt x="1" y="480"/>
                    <a:pt x="1" y="1073"/>
                  </a:cubicBezTo>
                  <a:cubicBezTo>
                    <a:pt x="1" y="1711"/>
                    <a:pt x="525" y="2137"/>
                    <a:pt x="1071" y="2137"/>
                  </a:cubicBezTo>
                  <a:cubicBezTo>
                    <a:pt x="1332" y="2137"/>
                    <a:pt x="1598" y="2039"/>
                    <a:pt x="1813" y="1821"/>
                  </a:cubicBezTo>
                  <a:cubicBezTo>
                    <a:pt x="2488" y="1154"/>
                    <a:pt x="2017" y="0"/>
                    <a:pt x="1066"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005" name="Google Shape;3005;p104"/>
            <p:cNvSpPr/>
            <p:nvPr/>
          </p:nvSpPr>
          <p:spPr>
            <a:xfrm>
              <a:off x="4275600" y="2485550"/>
              <a:ext cx="62225" cy="53300"/>
            </a:xfrm>
            <a:custGeom>
              <a:avLst/>
              <a:gdLst/>
              <a:ahLst/>
              <a:cxnLst/>
              <a:rect l="l" t="t" r="r" b="b"/>
              <a:pathLst>
                <a:path w="2489" h="2132" extrusionOk="0">
                  <a:moveTo>
                    <a:pt x="1066" y="1"/>
                  </a:moveTo>
                  <a:cubicBezTo>
                    <a:pt x="472" y="1"/>
                    <a:pt x="1" y="480"/>
                    <a:pt x="1" y="1066"/>
                  </a:cubicBezTo>
                  <a:cubicBezTo>
                    <a:pt x="1" y="1708"/>
                    <a:pt x="523" y="2131"/>
                    <a:pt x="1070" y="2131"/>
                  </a:cubicBezTo>
                  <a:cubicBezTo>
                    <a:pt x="1333" y="2131"/>
                    <a:pt x="1602" y="2033"/>
                    <a:pt x="1822" y="1814"/>
                  </a:cubicBezTo>
                  <a:cubicBezTo>
                    <a:pt x="2488" y="1147"/>
                    <a:pt x="2017" y="1"/>
                    <a:pt x="1066"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006" name="Google Shape;3006;p104"/>
            <p:cNvSpPr/>
            <p:nvPr/>
          </p:nvSpPr>
          <p:spPr>
            <a:xfrm>
              <a:off x="4275600" y="2409350"/>
              <a:ext cx="62225" cy="53350"/>
            </a:xfrm>
            <a:custGeom>
              <a:avLst/>
              <a:gdLst/>
              <a:ahLst/>
              <a:cxnLst/>
              <a:rect l="l" t="t" r="r" b="b"/>
              <a:pathLst>
                <a:path w="2489" h="2134" extrusionOk="0">
                  <a:moveTo>
                    <a:pt x="1066" y="0"/>
                  </a:moveTo>
                  <a:cubicBezTo>
                    <a:pt x="472" y="0"/>
                    <a:pt x="1" y="480"/>
                    <a:pt x="1" y="1065"/>
                  </a:cubicBezTo>
                  <a:cubicBezTo>
                    <a:pt x="1" y="1709"/>
                    <a:pt x="526" y="2133"/>
                    <a:pt x="1072" y="2133"/>
                  </a:cubicBezTo>
                  <a:cubicBezTo>
                    <a:pt x="1333" y="2133"/>
                    <a:pt x="1598" y="2036"/>
                    <a:pt x="1813" y="1821"/>
                  </a:cubicBezTo>
                  <a:cubicBezTo>
                    <a:pt x="2488" y="1146"/>
                    <a:pt x="2017" y="0"/>
                    <a:pt x="1066"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007" name="Google Shape;3007;p104"/>
            <p:cNvSpPr/>
            <p:nvPr/>
          </p:nvSpPr>
          <p:spPr>
            <a:xfrm>
              <a:off x="4275600" y="2333125"/>
              <a:ext cx="62225" cy="53450"/>
            </a:xfrm>
            <a:custGeom>
              <a:avLst/>
              <a:gdLst/>
              <a:ahLst/>
              <a:cxnLst/>
              <a:rect l="l" t="t" r="r" b="b"/>
              <a:pathLst>
                <a:path w="2489" h="2138" extrusionOk="0">
                  <a:moveTo>
                    <a:pt x="1066" y="1"/>
                  </a:moveTo>
                  <a:cubicBezTo>
                    <a:pt x="472" y="1"/>
                    <a:pt x="1" y="480"/>
                    <a:pt x="1" y="1066"/>
                  </a:cubicBezTo>
                  <a:cubicBezTo>
                    <a:pt x="1" y="1709"/>
                    <a:pt x="526" y="2137"/>
                    <a:pt x="1072" y="2137"/>
                  </a:cubicBezTo>
                  <a:cubicBezTo>
                    <a:pt x="1333" y="2137"/>
                    <a:pt x="1598" y="2040"/>
                    <a:pt x="1813" y="1822"/>
                  </a:cubicBezTo>
                  <a:cubicBezTo>
                    <a:pt x="2488" y="1147"/>
                    <a:pt x="2017" y="1"/>
                    <a:pt x="1066"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008" name="Google Shape;3008;p104"/>
            <p:cNvSpPr/>
            <p:nvPr/>
          </p:nvSpPr>
          <p:spPr>
            <a:xfrm>
              <a:off x="4275600" y="2256925"/>
              <a:ext cx="62350" cy="53425"/>
            </a:xfrm>
            <a:custGeom>
              <a:avLst/>
              <a:gdLst/>
              <a:ahLst/>
              <a:cxnLst/>
              <a:rect l="l" t="t" r="r" b="b"/>
              <a:pathLst>
                <a:path w="2494" h="2137" extrusionOk="0">
                  <a:moveTo>
                    <a:pt x="1076" y="0"/>
                  </a:moveTo>
                  <a:cubicBezTo>
                    <a:pt x="1072" y="0"/>
                    <a:pt x="1069" y="0"/>
                    <a:pt x="1066" y="0"/>
                  </a:cubicBezTo>
                  <a:cubicBezTo>
                    <a:pt x="472" y="0"/>
                    <a:pt x="1" y="480"/>
                    <a:pt x="1" y="1065"/>
                  </a:cubicBezTo>
                  <a:cubicBezTo>
                    <a:pt x="1" y="1709"/>
                    <a:pt x="526" y="2137"/>
                    <a:pt x="1074" y="2137"/>
                  </a:cubicBezTo>
                  <a:cubicBezTo>
                    <a:pt x="1336" y="2137"/>
                    <a:pt x="1604" y="2039"/>
                    <a:pt x="1822" y="1821"/>
                  </a:cubicBezTo>
                  <a:cubicBezTo>
                    <a:pt x="2494" y="1149"/>
                    <a:pt x="2020" y="0"/>
                    <a:pt x="1076"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009" name="Google Shape;3009;p104"/>
            <p:cNvSpPr/>
            <p:nvPr/>
          </p:nvSpPr>
          <p:spPr>
            <a:xfrm>
              <a:off x="4199400" y="2485550"/>
              <a:ext cx="62200" cy="53300"/>
            </a:xfrm>
            <a:custGeom>
              <a:avLst/>
              <a:gdLst/>
              <a:ahLst/>
              <a:cxnLst/>
              <a:rect l="l" t="t" r="r" b="b"/>
              <a:pathLst>
                <a:path w="2488" h="2132" extrusionOk="0">
                  <a:moveTo>
                    <a:pt x="1065" y="1"/>
                  </a:moveTo>
                  <a:cubicBezTo>
                    <a:pt x="480" y="1"/>
                    <a:pt x="0" y="472"/>
                    <a:pt x="0" y="1066"/>
                  </a:cubicBezTo>
                  <a:cubicBezTo>
                    <a:pt x="0" y="1708"/>
                    <a:pt x="522" y="2131"/>
                    <a:pt x="1069" y="2131"/>
                  </a:cubicBezTo>
                  <a:cubicBezTo>
                    <a:pt x="1333" y="2131"/>
                    <a:pt x="1602" y="2033"/>
                    <a:pt x="1821" y="1814"/>
                  </a:cubicBezTo>
                  <a:cubicBezTo>
                    <a:pt x="2488" y="1147"/>
                    <a:pt x="2016" y="1"/>
                    <a:pt x="1065"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010" name="Google Shape;3010;p104"/>
            <p:cNvSpPr/>
            <p:nvPr/>
          </p:nvSpPr>
          <p:spPr>
            <a:xfrm>
              <a:off x="4199400" y="2333125"/>
              <a:ext cx="62200" cy="53450"/>
            </a:xfrm>
            <a:custGeom>
              <a:avLst/>
              <a:gdLst/>
              <a:ahLst/>
              <a:cxnLst/>
              <a:rect l="l" t="t" r="r" b="b"/>
              <a:pathLst>
                <a:path w="2488" h="2138" extrusionOk="0">
                  <a:moveTo>
                    <a:pt x="1065" y="1"/>
                  </a:moveTo>
                  <a:cubicBezTo>
                    <a:pt x="480" y="1"/>
                    <a:pt x="0" y="480"/>
                    <a:pt x="0" y="1066"/>
                  </a:cubicBezTo>
                  <a:cubicBezTo>
                    <a:pt x="0" y="1709"/>
                    <a:pt x="525" y="2137"/>
                    <a:pt x="1074" y="2137"/>
                  </a:cubicBezTo>
                  <a:cubicBezTo>
                    <a:pt x="1336" y="2137"/>
                    <a:pt x="1603" y="2040"/>
                    <a:pt x="1821" y="1822"/>
                  </a:cubicBezTo>
                  <a:cubicBezTo>
                    <a:pt x="2488" y="1147"/>
                    <a:pt x="2016" y="1"/>
                    <a:pt x="1065"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011" name="Google Shape;3011;p104"/>
            <p:cNvSpPr/>
            <p:nvPr/>
          </p:nvSpPr>
          <p:spPr>
            <a:xfrm>
              <a:off x="4199400" y="2256925"/>
              <a:ext cx="62350" cy="53425"/>
            </a:xfrm>
            <a:custGeom>
              <a:avLst/>
              <a:gdLst/>
              <a:ahLst/>
              <a:cxnLst/>
              <a:rect l="l" t="t" r="r" b="b"/>
              <a:pathLst>
                <a:path w="2494" h="2137" extrusionOk="0">
                  <a:moveTo>
                    <a:pt x="1075" y="0"/>
                  </a:moveTo>
                  <a:cubicBezTo>
                    <a:pt x="1072" y="0"/>
                    <a:pt x="1068" y="0"/>
                    <a:pt x="1065" y="0"/>
                  </a:cubicBezTo>
                  <a:cubicBezTo>
                    <a:pt x="480" y="0"/>
                    <a:pt x="0" y="480"/>
                    <a:pt x="0" y="1065"/>
                  </a:cubicBezTo>
                  <a:cubicBezTo>
                    <a:pt x="0" y="1709"/>
                    <a:pt x="529" y="2137"/>
                    <a:pt x="1080" y="2137"/>
                  </a:cubicBezTo>
                  <a:cubicBezTo>
                    <a:pt x="1343" y="2137"/>
                    <a:pt x="1611" y="2039"/>
                    <a:pt x="1829" y="1821"/>
                  </a:cubicBezTo>
                  <a:cubicBezTo>
                    <a:pt x="2493" y="1149"/>
                    <a:pt x="2019" y="0"/>
                    <a:pt x="1075"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012" name="Google Shape;3012;p104"/>
            <p:cNvSpPr/>
            <p:nvPr/>
          </p:nvSpPr>
          <p:spPr>
            <a:xfrm>
              <a:off x="4123175" y="2333125"/>
              <a:ext cx="62425" cy="53450"/>
            </a:xfrm>
            <a:custGeom>
              <a:avLst/>
              <a:gdLst/>
              <a:ahLst/>
              <a:cxnLst/>
              <a:rect l="l" t="t" r="r" b="b"/>
              <a:pathLst>
                <a:path w="2497" h="2138" extrusionOk="0">
                  <a:moveTo>
                    <a:pt x="1065" y="1"/>
                  </a:moveTo>
                  <a:cubicBezTo>
                    <a:pt x="480" y="1"/>
                    <a:pt x="0" y="480"/>
                    <a:pt x="0" y="1066"/>
                  </a:cubicBezTo>
                  <a:cubicBezTo>
                    <a:pt x="0" y="1709"/>
                    <a:pt x="526" y="2137"/>
                    <a:pt x="1074" y="2137"/>
                  </a:cubicBezTo>
                  <a:cubicBezTo>
                    <a:pt x="1336" y="2137"/>
                    <a:pt x="1603" y="2040"/>
                    <a:pt x="1821" y="1822"/>
                  </a:cubicBezTo>
                  <a:cubicBezTo>
                    <a:pt x="2496" y="1147"/>
                    <a:pt x="2017" y="1"/>
                    <a:pt x="1065"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013" name="Google Shape;3013;p104"/>
            <p:cNvSpPr/>
            <p:nvPr/>
          </p:nvSpPr>
          <p:spPr>
            <a:xfrm>
              <a:off x="4123175" y="2256925"/>
              <a:ext cx="62350" cy="53425"/>
            </a:xfrm>
            <a:custGeom>
              <a:avLst/>
              <a:gdLst/>
              <a:ahLst/>
              <a:cxnLst/>
              <a:rect l="l" t="t" r="r" b="b"/>
              <a:pathLst>
                <a:path w="2494" h="2137" extrusionOk="0">
                  <a:moveTo>
                    <a:pt x="1076" y="0"/>
                  </a:moveTo>
                  <a:cubicBezTo>
                    <a:pt x="1072" y="0"/>
                    <a:pt x="1069" y="0"/>
                    <a:pt x="1065" y="0"/>
                  </a:cubicBezTo>
                  <a:cubicBezTo>
                    <a:pt x="480" y="0"/>
                    <a:pt x="0" y="480"/>
                    <a:pt x="0" y="1065"/>
                  </a:cubicBezTo>
                  <a:cubicBezTo>
                    <a:pt x="0" y="1709"/>
                    <a:pt x="529" y="2137"/>
                    <a:pt x="1080" y="2137"/>
                  </a:cubicBezTo>
                  <a:cubicBezTo>
                    <a:pt x="1343" y="2137"/>
                    <a:pt x="1612" y="2039"/>
                    <a:pt x="1830" y="1821"/>
                  </a:cubicBezTo>
                  <a:cubicBezTo>
                    <a:pt x="2494" y="1149"/>
                    <a:pt x="2028" y="0"/>
                    <a:pt x="1076"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3014" name="Google Shape;3014;p104"/>
          <p:cNvGrpSpPr/>
          <p:nvPr/>
        </p:nvGrpSpPr>
        <p:grpSpPr>
          <a:xfrm>
            <a:off x="7948415" y="1641515"/>
            <a:ext cx="3247947" cy="1730300"/>
            <a:chOff x="233350" y="949250"/>
            <a:chExt cx="7137300" cy="3802300"/>
          </a:xfrm>
        </p:grpSpPr>
        <p:sp>
          <p:nvSpPr>
            <p:cNvPr id="3015" name="Google Shape;3015;p104"/>
            <p:cNvSpPr/>
            <p:nvPr/>
          </p:nvSpPr>
          <p:spPr>
            <a:xfrm>
              <a:off x="4428450" y="2808675"/>
              <a:ext cx="1478900" cy="330100"/>
            </a:xfrm>
            <a:custGeom>
              <a:avLst/>
              <a:gdLst/>
              <a:ahLst/>
              <a:cxnLst/>
              <a:rect l="l" t="t" r="r" b="b"/>
              <a:pathLst>
                <a:path w="59156" h="13204" extrusionOk="0">
                  <a:moveTo>
                    <a:pt x="1" y="0"/>
                  </a:moveTo>
                  <a:lnTo>
                    <a:pt x="1" y="0"/>
                  </a:lnTo>
                  <a:close/>
                  <a:moveTo>
                    <a:pt x="59155" y="13203"/>
                  </a:moveTo>
                  <a:close/>
                </a:path>
              </a:pathLst>
            </a:custGeom>
            <a:noFill/>
            <a:ln w="9525" cap="flat" cmpd="sng">
              <a:solidFill>
                <a:srgbClr val="A5B7C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016" name="Google Shape;3016;p104"/>
            <p:cNvSpPr/>
            <p:nvPr/>
          </p:nvSpPr>
          <p:spPr>
            <a:xfrm>
              <a:off x="2909400" y="1076125"/>
              <a:ext cx="4118650" cy="3109225"/>
            </a:xfrm>
            <a:custGeom>
              <a:avLst/>
              <a:gdLst/>
              <a:ahLst/>
              <a:cxnLst/>
              <a:rect l="l" t="t" r="r" b="b"/>
              <a:pathLst>
                <a:path w="164746" h="124369" extrusionOk="0">
                  <a:moveTo>
                    <a:pt x="49520" y="11070"/>
                  </a:moveTo>
                  <a:cubicBezTo>
                    <a:pt x="49737" y="11070"/>
                    <a:pt x="49861" y="11136"/>
                    <a:pt x="49875" y="11358"/>
                  </a:cubicBezTo>
                  <a:cubicBezTo>
                    <a:pt x="49875" y="11575"/>
                    <a:pt x="49818" y="11698"/>
                    <a:pt x="49684" y="11698"/>
                  </a:cubicBezTo>
                  <a:cubicBezTo>
                    <a:pt x="49636" y="11698"/>
                    <a:pt x="49580" y="11683"/>
                    <a:pt x="49512" y="11651"/>
                  </a:cubicBezTo>
                  <a:cubicBezTo>
                    <a:pt x="49305" y="11565"/>
                    <a:pt x="49115" y="11444"/>
                    <a:pt x="48925" y="11323"/>
                  </a:cubicBezTo>
                  <a:lnTo>
                    <a:pt x="49339" y="11081"/>
                  </a:lnTo>
                  <a:cubicBezTo>
                    <a:pt x="49405" y="11074"/>
                    <a:pt x="49465" y="11070"/>
                    <a:pt x="49520" y="11070"/>
                  </a:cubicBezTo>
                  <a:close/>
                  <a:moveTo>
                    <a:pt x="46983" y="11081"/>
                  </a:moveTo>
                  <a:cubicBezTo>
                    <a:pt x="47014" y="11081"/>
                    <a:pt x="47051" y="11087"/>
                    <a:pt x="47093" y="11098"/>
                  </a:cubicBezTo>
                  <a:cubicBezTo>
                    <a:pt x="47369" y="11185"/>
                    <a:pt x="47870" y="11168"/>
                    <a:pt x="47767" y="11686"/>
                  </a:cubicBezTo>
                  <a:cubicBezTo>
                    <a:pt x="47732" y="11893"/>
                    <a:pt x="47888" y="12274"/>
                    <a:pt x="47490" y="12343"/>
                  </a:cubicBezTo>
                  <a:cubicBezTo>
                    <a:pt x="47110" y="12222"/>
                    <a:pt x="46834" y="11893"/>
                    <a:pt x="46799" y="11496"/>
                  </a:cubicBezTo>
                  <a:cubicBezTo>
                    <a:pt x="46784" y="11302"/>
                    <a:pt x="46782" y="11081"/>
                    <a:pt x="46983" y="11081"/>
                  </a:cubicBezTo>
                  <a:close/>
                  <a:moveTo>
                    <a:pt x="38158" y="11530"/>
                  </a:moveTo>
                  <a:cubicBezTo>
                    <a:pt x="38279" y="11530"/>
                    <a:pt x="38417" y="11703"/>
                    <a:pt x="38642" y="11876"/>
                  </a:cubicBezTo>
                  <a:cubicBezTo>
                    <a:pt x="38366" y="12118"/>
                    <a:pt x="38089" y="12360"/>
                    <a:pt x="37778" y="12585"/>
                  </a:cubicBezTo>
                  <a:cubicBezTo>
                    <a:pt x="35549" y="13967"/>
                    <a:pt x="35514" y="15903"/>
                    <a:pt x="37692" y="17268"/>
                  </a:cubicBezTo>
                  <a:cubicBezTo>
                    <a:pt x="38003" y="17458"/>
                    <a:pt x="38227" y="17631"/>
                    <a:pt x="38158" y="18080"/>
                  </a:cubicBezTo>
                  <a:cubicBezTo>
                    <a:pt x="38106" y="18529"/>
                    <a:pt x="37951" y="18599"/>
                    <a:pt x="37553" y="18737"/>
                  </a:cubicBezTo>
                  <a:cubicBezTo>
                    <a:pt x="36568" y="19117"/>
                    <a:pt x="36309" y="19981"/>
                    <a:pt x="36378" y="20949"/>
                  </a:cubicBezTo>
                  <a:cubicBezTo>
                    <a:pt x="36427" y="21679"/>
                    <a:pt x="36279" y="22143"/>
                    <a:pt x="35819" y="22143"/>
                  </a:cubicBezTo>
                  <a:cubicBezTo>
                    <a:pt x="35625" y="22143"/>
                    <a:pt x="35377" y="22061"/>
                    <a:pt x="35065" y="21882"/>
                  </a:cubicBezTo>
                  <a:cubicBezTo>
                    <a:pt x="34913" y="21798"/>
                    <a:pt x="34745" y="21754"/>
                    <a:pt x="34578" y="21754"/>
                  </a:cubicBezTo>
                  <a:cubicBezTo>
                    <a:pt x="34403" y="21754"/>
                    <a:pt x="34230" y="21802"/>
                    <a:pt x="34080" y="21899"/>
                  </a:cubicBezTo>
                  <a:cubicBezTo>
                    <a:pt x="33134" y="22372"/>
                    <a:pt x="32094" y="22613"/>
                    <a:pt x="31041" y="22613"/>
                  </a:cubicBezTo>
                  <a:cubicBezTo>
                    <a:pt x="30747" y="22613"/>
                    <a:pt x="30451" y="22594"/>
                    <a:pt x="30157" y="22556"/>
                  </a:cubicBezTo>
                  <a:cubicBezTo>
                    <a:pt x="29915" y="22521"/>
                    <a:pt x="29759" y="22608"/>
                    <a:pt x="29829" y="22262"/>
                  </a:cubicBezTo>
                  <a:lnTo>
                    <a:pt x="29829" y="22262"/>
                  </a:lnTo>
                  <a:lnTo>
                    <a:pt x="29829" y="22279"/>
                  </a:lnTo>
                  <a:cubicBezTo>
                    <a:pt x="29898" y="21986"/>
                    <a:pt x="29984" y="21882"/>
                    <a:pt x="30364" y="21830"/>
                  </a:cubicBezTo>
                  <a:cubicBezTo>
                    <a:pt x="31505" y="21675"/>
                    <a:pt x="32836" y="21467"/>
                    <a:pt x="33354" y="20361"/>
                  </a:cubicBezTo>
                  <a:cubicBezTo>
                    <a:pt x="33821" y="19342"/>
                    <a:pt x="33872" y="18184"/>
                    <a:pt x="34927" y="17458"/>
                  </a:cubicBezTo>
                  <a:cubicBezTo>
                    <a:pt x="35238" y="17216"/>
                    <a:pt x="34978" y="16836"/>
                    <a:pt x="34667" y="16594"/>
                  </a:cubicBezTo>
                  <a:cubicBezTo>
                    <a:pt x="33216" y="15436"/>
                    <a:pt x="33907" y="14572"/>
                    <a:pt x="35099" y="13846"/>
                  </a:cubicBezTo>
                  <a:cubicBezTo>
                    <a:pt x="35860" y="13380"/>
                    <a:pt x="36724" y="13086"/>
                    <a:pt x="37018" y="12066"/>
                  </a:cubicBezTo>
                  <a:cubicBezTo>
                    <a:pt x="37156" y="11582"/>
                    <a:pt x="37709" y="11548"/>
                    <a:pt x="38158" y="11530"/>
                  </a:cubicBezTo>
                  <a:close/>
                  <a:moveTo>
                    <a:pt x="46802" y="32066"/>
                  </a:moveTo>
                  <a:cubicBezTo>
                    <a:pt x="47245" y="32066"/>
                    <a:pt x="47720" y="32469"/>
                    <a:pt x="47888" y="33080"/>
                  </a:cubicBezTo>
                  <a:cubicBezTo>
                    <a:pt x="48059" y="33754"/>
                    <a:pt x="48393" y="34225"/>
                    <a:pt x="48918" y="34225"/>
                  </a:cubicBezTo>
                  <a:cubicBezTo>
                    <a:pt x="49080" y="34225"/>
                    <a:pt x="49261" y="34181"/>
                    <a:pt x="49460" y="34083"/>
                  </a:cubicBezTo>
                  <a:cubicBezTo>
                    <a:pt x="50103" y="33764"/>
                    <a:pt x="50701" y="33627"/>
                    <a:pt x="51269" y="33627"/>
                  </a:cubicBezTo>
                  <a:cubicBezTo>
                    <a:pt x="52489" y="33627"/>
                    <a:pt x="53566" y="34260"/>
                    <a:pt x="54628" y="35085"/>
                  </a:cubicBezTo>
                  <a:cubicBezTo>
                    <a:pt x="54818" y="35223"/>
                    <a:pt x="55008" y="35396"/>
                    <a:pt x="55163" y="35586"/>
                  </a:cubicBezTo>
                  <a:cubicBezTo>
                    <a:pt x="55543" y="36053"/>
                    <a:pt x="56684" y="36070"/>
                    <a:pt x="56321" y="36917"/>
                  </a:cubicBezTo>
                  <a:lnTo>
                    <a:pt x="56321" y="36934"/>
                  </a:lnTo>
                  <a:cubicBezTo>
                    <a:pt x="56149" y="37350"/>
                    <a:pt x="55751" y="37415"/>
                    <a:pt x="55318" y="37415"/>
                  </a:cubicBezTo>
                  <a:cubicBezTo>
                    <a:pt x="55122" y="37415"/>
                    <a:pt x="54919" y="37401"/>
                    <a:pt x="54727" y="37401"/>
                  </a:cubicBezTo>
                  <a:cubicBezTo>
                    <a:pt x="54620" y="37401"/>
                    <a:pt x="54517" y="37405"/>
                    <a:pt x="54420" y="37418"/>
                  </a:cubicBezTo>
                  <a:cubicBezTo>
                    <a:pt x="54278" y="37432"/>
                    <a:pt x="54136" y="37440"/>
                    <a:pt x="53995" y="37440"/>
                  </a:cubicBezTo>
                  <a:cubicBezTo>
                    <a:pt x="53292" y="37440"/>
                    <a:pt x="52602" y="37262"/>
                    <a:pt x="51983" y="36917"/>
                  </a:cubicBezTo>
                  <a:cubicBezTo>
                    <a:pt x="51332" y="36539"/>
                    <a:pt x="50680" y="36418"/>
                    <a:pt x="50028" y="36418"/>
                  </a:cubicBezTo>
                  <a:cubicBezTo>
                    <a:pt x="48867" y="36418"/>
                    <a:pt x="47706" y="36802"/>
                    <a:pt x="46545" y="36802"/>
                  </a:cubicBezTo>
                  <a:cubicBezTo>
                    <a:pt x="46302" y="36802"/>
                    <a:pt x="46058" y="36785"/>
                    <a:pt x="45814" y="36744"/>
                  </a:cubicBezTo>
                  <a:cubicBezTo>
                    <a:pt x="44881" y="36588"/>
                    <a:pt x="44552" y="36105"/>
                    <a:pt x="44673" y="35241"/>
                  </a:cubicBezTo>
                  <a:cubicBezTo>
                    <a:pt x="44846" y="34083"/>
                    <a:pt x="45537" y="33115"/>
                    <a:pt x="46263" y="32320"/>
                  </a:cubicBezTo>
                  <a:cubicBezTo>
                    <a:pt x="46417" y="32145"/>
                    <a:pt x="46607" y="32066"/>
                    <a:pt x="46802" y="32066"/>
                  </a:cubicBezTo>
                  <a:close/>
                  <a:moveTo>
                    <a:pt x="64554" y="31370"/>
                  </a:moveTo>
                  <a:cubicBezTo>
                    <a:pt x="64860" y="31370"/>
                    <a:pt x="65185" y="31437"/>
                    <a:pt x="65532" y="31594"/>
                  </a:cubicBezTo>
                  <a:cubicBezTo>
                    <a:pt x="65878" y="31767"/>
                    <a:pt x="65930" y="32251"/>
                    <a:pt x="65636" y="32493"/>
                  </a:cubicBezTo>
                  <a:cubicBezTo>
                    <a:pt x="64063" y="34065"/>
                    <a:pt x="64184" y="35085"/>
                    <a:pt x="65895" y="36588"/>
                  </a:cubicBezTo>
                  <a:cubicBezTo>
                    <a:pt x="67243" y="37815"/>
                    <a:pt x="67762" y="39544"/>
                    <a:pt x="68211" y="41237"/>
                  </a:cubicBezTo>
                  <a:cubicBezTo>
                    <a:pt x="68364" y="41802"/>
                    <a:pt x="68057" y="41990"/>
                    <a:pt x="67435" y="41990"/>
                  </a:cubicBezTo>
                  <a:cubicBezTo>
                    <a:pt x="67353" y="41990"/>
                    <a:pt x="67266" y="41986"/>
                    <a:pt x="67174" y="41980"/>
                  </a:cubicBezTo>
                  <a:cubicBezTo>
                    <a:pt x="66517" y="41064"/>
                    <a:pt x="64271" y="41825"/>
                    <a:pt x="64547" y="39146"/>
                  </a:cubicBezTo>
                  <a:lnTo>
                    <a:pt x="64547" y="39146"/>
                  </a:lnTo>
                  <a:lnTo>
                    <a:pt x="64547" y="39181"/>
                  </a:lnTo>
                  <a:cubicBezTo>
                    <a:pt x="64685" y="37885"/>
                    <a:pt x="63113" y="36295"/>
                    <a:pt x="62076" y="35050"/>
                  </a:cubicBezTo>
                  <a:cubicBezTo>
                    <a:pt x="61281" y="34100"/>
                    <a:pt x="61385" y="33288"/>
                    <a:pt x="62076" y="32683"/>
                  </a:cubicBezTo>
                  <a:cubicBezTo>
                    <a:pt x="62786" y="32052"/>
                    <a:pt x="63577" y="31370"/>
                    <a:pt x="64554" y="31370"/>
                  </a:cubicBezTo>
                  <a:close/>
                  <a:moveTo>
                    <a:pt x="30705" y="33465"/>
                  </a:moveTo>
                  <a:cubicBezTo>
                    <a:pt x="30874" y="33465"/>
                    <a:pt x="31043" y="33637"/>
                    <a:pt x="31090" y="33720"/>
                  </a:cubicBezTo>
                  <a:cubicBezTo>
                    <a:pt x="31920" y="35120"/>
                    <a:pt x="33579" y="35258"/>
                    <a:pt x="34719" y="36226"/>
                  </a:cubicBezTo>
                  <a:cubicBezTo>
                    <a:pt x="36205" y="37487"/>
                    <a:pt x="36275" y="39354"/>
                    <a:pt x="37191" y="40822"/>
                  </a:cubicBezTo>
                  <a:cubicBezTo>
                    <a:pt x="37484" y="41289"/>
                    <a:pt x="37571" y="41980"/>
                    <a:pt x="37968" y="42274"/>
                  </a:cubicBezTo>
                  <a:cubicBezTo>
                    <a:pt x="38403" y="42594"/>
                    <a:pt x="39075" y="43217"/>
                    <a:pt x="39556" y="43217"/>
                  </a:cubicBezTo>
                  <a:cubicBezTo>
                    <a:pt x="39725" y="43217"/>
                    <a:pt x="39870" y="43141"/>
                    <a:pt x="39973" y="42948"/>
                  </a:cubicBezTo>
                  <a:cubicBezTo>
                    <a:pt x="40336" y="42274"/>
                    <a:pt x="41234" y="41289"/>
                    <a:pt x="40543" y="40183"/>
                  </a:cubicBezTo>
                  <a:cubicBezTo>
                    <a:pt x="40301" y="39803"/>
                    <a:pt x="39610" y="39215"/>
                    <a:pt x="40284" y="38904"/>
                  </a:cubicBezTo>
                  <a:cubicBezTo>
                    <a:pt x="40592" y="38765"/>
                    <a:pt x="41024" y="38302"/>
                    <a:pt x="41439" y="38302"/>
                  </a:cubicBezTo>
                  <a:cubicBezTo>
                    <a:pt x="41746" y="38302"/>
                    <a:pt x="42043" y="38557"/>
                    <a:pt x="42271" y="39388"/>
                  </a:cubicBezTo>
                  <a:cubicBezTo>
                    <a:pt x="42782" y="41200"/>
                    <a:pt x="43748" y="43327"/>
                    <a:pt x="46038" y="43327"/>
                  </a:cubicBezTo>
                  <a:cubicBezTo>
                    <a:pt x="46150" y="43327"/>
                    <a:pt x="46266" y="43321"/>
                    <a:pt x="46384" y="43311"/>
                  </a:cubicBezTo>
                  <a:cubicBezTo>
                    <a:pt x="46463" y="43304"/>
                    <a:pt x="46542" y="43300"/>
                    <a:pt x="46620" y="43300"/>
                  </a:cubicBezTo>
                  <a:cubicBezTo>
                    <a:pt x="47585" y="43300"/>
                    <a:pt x="48526" y="43802"/>
                    <a:pt x="49487" y="43802"/>
                  </a:cubicBezTo>
                  <a:cubicBezTo>
                    <a:pt x="49955" y="43802"/>
                    <a:pt x="50429" y="43683"/>
                    <a:pt x="50912" y="43328"/>
                  </a:cubicBezTo>
                  <a:cubicBezTo>
                    <a:pt x="51106" y="43191"/>
                    <a:pt x="51242" y="43135"/>
                    <a:pt x="51336" y="43135"/>
                  </a:cubicBezTo>
                  <a:cubicBezTo>
                    <a:pt x="51643" y="43135"/>
                    <a:pt x="51508" y="43736"/>
                    <a:pt x="51534" y="44054"/>
                  </a:cubicBezTo>
                  <a:cubicBezTo>
                    <a:pt x="51845" y="45488"/>
                    <a:pt x="50843" y="46629"/>
                    <a:pt x="50618" y="47942"/>
                  </a:cubicBezTo>
                  <a:cubicBezTo>
                    <a:pt x="50585" y="48144"/>
                    <a:pt x="50240" y="48444"/>
                    <a:pt x="50046" y="48444"/>
                  </a:cubicBezTo>
                  <a:cubicBezTo>
                    <a:pt x="50041" y="48444"/>
                    <a:pt x="50036" y="48444"/>
                    <a:pt x="50031" y="48444"/>
                  </a:cubicBezTo>
                  <a:cubicBezTo>
                    <a:pt x="49523" y="48389"/>
                    <a:pt x="49010" y="48372"/>
                    <a:pt x="48494" y="48372"/>
                  </a:cubicBezTo>
                  <a:cubicBezTo>
                    <a:pt x="47534" y="48372"/>
                    <a:pt x="46564" y="48433"/>
                    <a:pt x="45600" y="48433"/>
                  </a:cubicBezTo>
                  <a:cubicBezTo>
                    <a:pt x="43779" y="48433"/>
                    <a:pt x="41984" y="48215"/>
                    <a:pt x="40336" y="46957"/>
                  </a:cubicBezTo>
                  <a:cubicBezTo>
                    <a:pt x="40033" y="46726"/>
                    <a:pt x="39675" y="46623"/>
                    <a:pt x="39308" y="46623"/>
                  </a:cubicBezTo>
                  <a:cubicBezTo>
                    <a:pt x="38250" y="46623"/>
                    <a:pt x="37116" y="47478"/>
                    <a:pt x="37000" y="48582"/>
                  </a:cubicBezTo>
                  <a:cubicBezTo>
                    <a:pt x="36972" y="48947"/>
                    <a:pt x="36796" y="49426"/>
                    <a:pt x="36527" y="49426"/>
                  </a:cubicBezTo>
                  <a:cubicBezTo>
                    <a:pt x="36465" y="49426"/>
                    <a:pt x="36398" y="49400"/>
                    <a:pt x="36326" y="49342"/>
                  </a:cubicBezTo>
                  <a:cubicBezTo>
                    <a:pt x="35376" y="48582"/>
                    <a:pt x="34045" y="48772"/>
                    <a:pt x="33147" y="47752"/>
                  </a:cubicBezTo>
                  <a:cubicBezTo>
                    <a:pt x="32334" y="46819"/>
                    <a:pt x="30900" y="46785"/>
                    <a:pt x="29673" y="46525"/>
                  </a:cubicBezTo>
                  <a:cubicBezTo>
                    <a:pt x="28913" y="46370"/>
                    <a:pt x="27807" y="46422"/>
                    <a:pt x="28567" y="44953"/>
                  </a:cubicBezTo>
                  <a:cubicBezTo>
                    <a:pt x="28982" y="44158"/>
                    <a:pt x="29034" y="43000"/>
                    <a:pt x="28515" y="42257"/>
                  </a:cubicBezTo>
                  <a:cubicBezTo>
                    <a:pt x="28230" y="41853"/>
                    <a:pt x="27848" y="41722"/>
                    <a:pt x="27412" y="41722"/>
                  </a:cubicBezTo>
                  <a:cubicBezTo>
                    <a:pt x="27028" y="41722"/>
                    <a:pt x="26602" y="41823"/>
                    <a:pt x="26165" y="41928"/>
                  </a:cubicBezTo>
                  <a:cubicBezTo>
                    <a:pt x="25497" y="42091"/>
                    <a:pt x="24818" y="42128"/>
                    <a:pt x="24133" y="42128"/>
                  </a:cubicBezTo>
                  <a:cubicBezTo>
                    <a:pt x="23569" y="42128"/>
                    <a:pt x="23001" y="42103"/>
                    <a:pt x="22432" y="42103"/>
                  </a:cubicBezTo>
                  <a:cubicBezTo>
                    <a:pt x="21707" y="42103"/>
                    <a:pt x="20980" y="42143"/>
                    <a:pt x="20255" y="42326"/>
                  </a:cubicBezTo>
                  <a:cubicBezTo>
                    <a:pt x="19287" y="42585"/>
                    <a:pt x="18319" y="42862"/>
                    <a:pt x="17559" y="43380"/>
                  </a:cubicBezTo>
                  <a:cubicBezTo>
                    <a:pt x="17082" y="43705"/>
                    <a:pt x="16613" y="43798"/>
                    <a:pt x="16149" y="43798"/>
                  </a:cubicBezTo>
                  <a:cubicBezTo>
                    <a:pt x="15538" y="43798"/>
                    <a:pt x="14935" y="43638"/>
                    <a:pt x="14326" y="43638"/>
                  </a:cubicBezTo>
                  <a:cubicBezTo>
                    <a:pt x="14292" y="43638"/>
                    <a:pt x="14258" y="43638"/>
                    <a:pt x="14223" y="43639"/>
                  </a:cubicBezTo>
                  <a:cubicBezTo>
                    <a:pt x="14120" y="43622"/>
                    <a:pt x="14016" y="43570"/>
                    <a:pt x="13930" y="43466"/>
                  </a:cubicBezTo>
                  <a:cubicBezTo>
                    <a:pt x="14043" y="43169"/>
                    <a:pt x="14308" y="43115"/>
                    <a:pt x="14562" y="43115"/>
                  </a:cubicBezTo>
                  <a:cubicBezTo>
                    <a:pt x="14617" y="43115"/>
                    <a:pt x="14672" y="43118"/>
                    <a:pt x="14725" y="43121"/>
                  </a:cubicBezTo>
                  <a:cubicBezTo>
                    <a:pt x="14838" y="43129"/>
                    <a:pt x="14949" y="43134"/>
                    <a:pt x="15058" y="43134"/>
                  </a:cubicBezTo>
                  <a:cubicBezTo>
                    <a:pt x="16723" y="43134"/>
                    <a:pt x="17967" y="42165"/>
                    <a:pt x="18388" y="40771"/>
                  </a:cubicBezTo>
                  <a:cubicBezTo>
                    <a:pt x="18976" y="38921"/>
                    <a:pt x="20808" y="38282"/>
                    <a:pt x="21482" y="37090"/>
                  </a:cubicBezTo>
                  <a:cubicBezTo>
                    <a:pt x="22174" y="35865"/>
                    <a:pt x="22770" y="35535"/>
                    <a:pt x="23579" y="35535"/>
                  </a:cubicBezTo>
                  <a:cubicBezTo>
                    <a:pt x="23899" y="35535"/>
                    <a:pt x="24254" y="35587"/>
                    <a:pt x="24661" y="35655"/>
                  </a:cubicBezTo>
                  <a:cubicBezTo>
                    <a:pt x="24682" y="35658"/>
                    <a:pt x="24703" y="35660"/>
                    <a:pt x="24725" y="35660"/>
                  </a:cubicBezTo>
                  <a:cubicBezTo>
                    <a:pt x="25065" y="35660"/>
                    <a:pt x="25513" y="35293"/>
                    <a:pt x="25854" y="35033"/>
                  </a:cubicBezTo>
                  <a:cubicBezTo>
                    <a:pt x="26267" y="34730"/>
                    <a:pt x="26584" y="34570"/>
                    <a:pt x="26849" y="34570"/>
                  </a:cubicBezTo>
                  <a:cubicBezTo>
                    <a:pt x="27249" y="34570"/>
                    <a:pt x="27529" y="34935"/>
                    <a:pt x="27841" y="35724"/>
                  </a:cubicBezTo>
                  <a:cubicBezTo>
                    <a:pt x="28325" y="36969"/>
                    <a:pt x="29742" y="37574"/>
                    <a:pt x="30952" y="38161"/>
                  </a:cubicBezTo>
                  <a:cubicBezTo>
                    <a:pt x="31712" y="38524"/>
                    <a:pt x="32732" y="38852"/>
                    <a:pt x="32680" y="39716"/>
                  </a:cubicBezTo>
                  <a:cubicBezTo>
                    <a:pt x="32594" y="40753"/>
                    <a:pt x="31488" y="40546"/>
                    <a:pt x="30710" y="40615"/>
                  </a:cubicBezTo>
                  <a:cubicBezTo>
                    <a:pt x="30312" y="40650"/>
                    <a:pt x="29794" y="40598"/>
                    <a:pt x="29673" y="41134"/>
                  </a:cubicBezTo>
                  <a:cubicBezTo>
                    <a:pt x="29552" y="41669"/>
                    <a:pt x="30036" y="41825"/>
                    <a:pt x="30382" y="42032"/>
                  </a:cubicBezTo>
                  <a:cubicBezTo>
                    <a:pt x="30898" y="42336"/>
                    <a:pt x="31474" y="42934"/>
                    <a:pt x="32011" y="42934"/>
                  </a:cubicBezTo>
                  <a:cubicBezTo>
                    <a:pt x="32175" y="42934"/>
                    <a:pt x="32336" y="42878"/>
                    <a:pt x="32490" y="42741"/>
                  </a:cubicBezTo>
                  <a:cubicBezTo>
                    <a:pt x="33354" y="41963"/>
                    <a:pt x="33890" y="40788"/>
                    <a:pt x="34512" y="39751"/>
                  </a:cubicBezTo>
                  <a:cubicBezTo>
                    <a:pt x="34586" y="39617"/>
                    <a:pt x="34289" y="39329"/>
                    <a:pt x="34602" y="39329"/>
                  </a:cubicBezTo>
                  <a:cubicBezTo>
                    <a:pt x="34653" y="39329"/>
                    <a:pt x="34719" y="39337"/>
                    <a:pt x="34806" y="39354"/>
                  </a:cubicBezTo>
                  <a:cubicBezTo>
                    <a:pt x="34890" y="39373"/>
                    <a:pt x="34965" y="39381"/>
                    <a:pt x="35031" y="39381"/>
                  </a:cubicBezTo>
                  <a:cubicBezTo>
                    <a:pt x="35567" y="39381"/>
                    <a:pt x="35557" y="38814"/>
                    <a:pt x="35341" y="38507"/>
                  </a:cubicBezTo>
                  <a:cubicBezTo>
                    <a:pt x="34806" y="37781"/>
                    <a:pt x="34546" y="36658"/>
                    <a:pt x="33561" y="36468"/>
                  </a:cubicBezTo>
                  <a:cubicBezTo>
                    <a:pt x="32248" y="36208"/>
                    <a:pt x="31591" y="35206"/>
                    <a:pt x="30727" y="34411"/>
                  </a:cubicBezTo>
                  <a:cubicBezTo>
                    <a:pt x="30468" y="34169"/>
                    <a:pt x="30278" y="33910"/>
                    <a:pt x="30485" y="33599"/>
                  </a:cubicBezTo>
                  <a:cubicBezTo>
                    <a:pt x="30551" y="33501"/>
                    <a:pt x="30628" y="33465"/>
                    <a:pt x="30705" y="33465"/>
                  </a:cubicBezTo>
                  <a:close/>
                  <a:moveTo>
                    <a:pt x="65829" y="50622"/>
                  </a:moveTo>
                  <a:cubicBezTo>
                    <a:pt x="66138" y="50622"/>
                    <a:pt x="66376" y="50877"/>
                    <a:pt x="66569" y="51209"/>
                  </a:cubicBezTo>
                  <a:cubicBezTo>
                    <a:pt x="67601" y="52923"/>
                    <a:pt x="68767" y="54401"/>
                    <a:pt x="70703" y="54401"/>
                  </a:cubicBezTo>
                  <a:cubicBezTo>
                    <a:pt x="71167" y="54401"/>
                    <a:pt x="71676" y="54316"/>
                    <a:pt x="72237" y="54129"/>
                  </a:cubicBezTo>
                  <a:cubicBezTo>
                    <a:pt x="72263" y="54119"/>
                    <a:pt x="72291" y="54114"/>
                    <a:pt x="72320" y="54114"/>
                  </a:cubicBezTo>
                  <a:cubicBezTo>
                    <a:pt x="72487" y="54114"/>
                    <a:pt x="72701" y="54260"/>
                    <a:pt x="72877" y="54319"/>
                  </a:cubicBezTo>
                  <a:cubicBezTo>
                    <a:pt x="72687" y="54406"/>
                    <a:pt x="72514" y="54527"/>
                    <a:pt x="72358" y="54665"/>
                  </a:cubicBezTo>
                  <a:lnTo>
                    <a:pt x="72358" y="54682"/>
                  </a:lnTo>
                  <a:cubicBezTo>
                    <a:pt x="71675" y="55659"/>
                    <a:pt x="71022" y="56681"/>
                    <a:pt x="69648" y="56681"/>
                  </a:cubicBezTo>
                  <a:cubicBezTo>
                    <a:pt x="69564" y="56681"/>
                    <a:pt x="69476" y="56678"/>
                    <a:pt x="69386" y="56669"/>
                  </a:cubicBezTo>
                  <a:cubicBezTo>
                    <a:pt x="69196" y="56600"/>
                    <a:pt x="68850" y="56549"/>
                    <a:pt x="68850" y="56445"/>
                  </a:cubicBezTo>
                  <a:cubicBezTo>
                    <a:pt x="68660" y="54216"/>
                    <a:pt x="66258" y="53559"/>
                    <a:pt x="65532" y="51727"/>
                  </a:cubicBezTo>
                  <a:cubicBezTo>
                    <a:pt x="65394" y="51381"/>
                    <a:pt x="64945" y="50932"/>
                    <a:pt x="65584" y="50673"/>
                  </a:cubicBezTo>
                  <a:cubicBezTo>
                    <a:pt x="65670" y="50638"/>
                    <a:pt x="65752" y="50622"/>
                    <a:pt x="65829" y="50622"/>
                  </a:cubicBezTo>
                  <a:close/>
                  <a:moveTo>
                    <a:pt x="50497" y="52695"/>
                  </a:moveTo>
                  <a:lnTo>
                    <a:pt x="50497" y="52695"/>
                  </a:lnTo>
                  <a:cubicBezTo>
                    <a:pt x="51016" y="52885"/>
                    <a:pt x="51863" y="52937"/>
                    <a:pt x="52001" y="53265"/>
                  </a:cubicBezTo>
                  <a:cubicBezTo>
                    <a:pt x="53055" y="55840"/>
                    <a:pt x="55734" y="57464"/>
                    <a:pt x="56114" y="60420"/>
                  </a:cubicBezTo>
                  <a:cubicBezTo>
                    <a:pt x="56252" y="61439"/>
                    <a:pt x="57323" y="61802"/>
                    <a:pt x="57859" y="62580"/>
                  </a:cubicBezTo>
                  <a:cubicBezTo>
                    <a:pt x="59294" y="64654"/>
                    <a:pt x="60106" y="66952"/>
                    <a:pt x="60763" y="69337"/>
                  </a:cubicBezTo>
                  <a:cubicBezTo>
                    <a:pt x="58533" y="67643"/>
                    <a:pt x="56615" y="65656"/>
                    <a:pt x="55336" y="63133"/>
                  </a:cubicBezTo>
                  <a:cubicBezTo>
                    <a:pt x="55198" y="62874"/>
                    <a:pt x="55008" y="62614"/>
                    <a:pt x="55008" y="62355"/>
                  </a:cubicBezTo>
                  <a:cubicBezTo>
                    <a:pt x="54990" y="58916"/>
                    <a:pt x="52139" y="56739"/>
                    <a:pt x="51189" y="53697"/>
                  </a:cubicBezTo>
                  <a:cubicBezTo>
                    <a:pt x="51085" y="53334"/>
                    <a:pt x="50739" y="53040"/>
                    <a:pt x="50497" y="52695"/>
                  </a:cubicBezTo>
                  <a:close/>
                  <a:moveTo>
                    <a:pt x="87976" y="1"/>
                  </a:moveTo>
                  <a:cubicBezTo>
                    <a:pt x="87018" y="1"/>
                    <a:pt x="85745" y="1010"/>
                    <a:pt x="84455" y="1127"/>
                  </a:cubicBezTo>
                  <a:cubicBezTo>
                    <a:pt x="83776" y="1176"/>
                    <a:pt x="83111" y="1512"/>
                    <a:pt x="82448" y="1512"/>
                  </a:cubicBezTo>
                  <a:cubicBezTo>
                    <a:pt x="82403" y="1512"/>
                    <a:pt x="82358" y="1511"/>
                    <a:pt x="82313" y="1507"/>
                  </a:cubicBezTo>
                  <a:cubicBezTo>
                    <a:pt x="82281" y="1506"/>
                    <a:pt x="82250" y="1506"/>
                    <a:pt x="82218" y="1506"/>
                  </a:cubicBezTo>
                  <a:cubicBezTo>
                    <a:pt x="80376" y="1506"/>
                    <a:pt x="79245" y="3375"/>
                    <a:pt x="77443" y="3375"/>
                  </a:cubicBezTo>
                  <a:cubicBezTo>
                    <a:pt x="77340" y="3375"/>
                    <a:pt x="77235" y="3369"/>
                    <a:pt x="77128" y="3356"/>
                  </a:cubicBezTo>
                  <a:cubicBezTo>
                    <a:pt x="77026" y="3344"/>
                    <a:pt x="76928" y="3335"/>
                    <a:pt x="76837" y="3335"/>
                  </a:cubicBezTo>
                  <a:cubicBezTo>
                    <a:pt x="76434" y="3335"/>
                    <a:pt x="76136" y="3491"/>
                    <a:pt x="75953" y="4082"/>
                  </a:cubicBezTo>
                  <a:cubicBezTo>
                    <a:pt x="75843" y="4459"/>
                    <a:pt x="75132" y="4980"/>
                    <a:pt x="74758" y="4980"/>
                  </a:cubicBezTo>
                  <a:cubicBezTo>
                    <a:pt x="74720" y="4980"/>
                    <a:pt x="74687" y="4974"/>
                    <a:pt x="74657" y="4964"/>
                  </a:cubicBezTo>
                  <a:cubicBezTo>
                    <a:pt x="73910" y="4715"/>
                    <a:pt x="73366" y="4590"/>
                    <a:pt x="73013" y="4590"/>
                  </a:cubicBezTo>
                  <a:cubicBezTo>
                    <a:pt x="72190" y="4590"/>
                    <a:pt x="72409" y="5268"/>
                    <a:pt x="73534" y="6623"/>
                  </a:cubicBezTo>
                  <a:cubicBezTo>
                    <a:pt x="73585" y="6692"/>
                    <a:pt x="73499" y="6882"/>
                    <a:pt x="73482" y="7003"/>
                  </a:cubicBezTo>
                  <a:cubicBezTo>
                    <a:pt x="73413" y="6968"/>
                    <a:pt x="73292" y="6951"/>
                    <a:pt x="73240" y="6882"/>
                  </a:cubicBezTo>
                  <a:cubicBezTo>
                    <a:pt x="72877" y="6381"/>
                    <a:pt x="72324" y="5914"/>
                    <a:pt x="72220" y="5344"/>
                  </a:cubicBezTo>
                  <a:cubicBezTo>
                    <a:pt x="72065" y="4531"/>
                    <a:pt x="71961" y="3840"/>
                    <a:pt x="71010" y="3650"/>
                  </a:cubicBezTo>
                  <a:cubicBezTo>
                    <a:pt x="70839" y="3615"/>
                    <a:pt x="70680" y="3599"/>
                    <a:pt x="70533" y="3599"/>
                  </a:cubicBezTo>
                  <a:cubicBezTo>
                    <a:pt x="69359" y="3599"/>
                    <a:pt x="68898" y="4626"/>
                    <a:pt x="68315" y="5517"/>
                  </a:cubicBezTo>
                  <a:cubicBezTo>
                    <a:pt x="67865" y="6208"/>
                    <a:pt x="68349" y="6536"/>
                    <a:pt x="68729" y="6934"/>
                  </a:cubicBezTo>
                  <a:cubicBezTo>
                    <a:pt x="68798" y="7003"/>
                    <a:pt x="68850" y="7089"/>
                    <a:pt x="68902" y="7176"/>
                  </a:cubicBezTo>
                  <a:cubicBezTo>
                    <a:pt x="68817" y="7188"/>
                    <a:pt x="68731" y="7200"/>
                    <a:pt x="68645" y="7200"/>
                  </a:cubicBezTo>
                  <a:cubicBezTo>
                    <a:pt x="68610" y="7200"/>
                    <a:pt x="68575" y="7198"/>
                    <a:pt x="68539" y="7193"/>
                  </a:cubicBezTo>
                  <a:cubicBezTo>
                    <a:pt x="67376" y="7024"/>
                    <a:pt x="66212" y="6691"/>
                    <a:pt x="65033" y="6691"/>
                  </a:cubicBezTo>
                  <a:cubicBezTo>
                    <a:pt x="65003" y="6691"/>
                    <a:pt x="64974" y="6691"/>
                    <a:pt x="64945" y="6692"/>
                  </a:cubicBezTo>
                  <a:cubicBezTo>
                    <a:pt x="64584" y="6692"/>
                    <a:pt x="63909" y="6196"/>
                    <a:pt x="63437" y="6196"/>
                  </a:cubicBezTo>
                  <a:cubicBezTo>
                    <a:pt x="63072" y="6196"/>
                    <a:pt x="62827" y="6492"/>
                    <a:pt x="62940" y="7538"/>
                  </a:cubicBezTo>
                  <a:cubicBezTo>
                    <a:pt x="62940" y="7608"/>
                    <a:pt x="62525" y="7711"/>
                    <a:pt x="62283" y="7798"/>
                  </a:cubicBezTo>
                  <a:cubicBezTo>
                    <a:pt x="61879" y="7955"/>
                    <a:pt x="61464" y="8005"/>
                    <a:pt x="61043" y="8005"/>
                  </a:cubicBezTo>
                  <a:cubicBezTo>
                    <a:pt x="60325" y="8005"/>
                    <a:pt x="59591" y="7860"/>
                    <a:pt x="58870" y="7860"/>
                  </a:cubicBezTo>
                  <a:cubicBezTo>
                    <a:pt x="58295" y="7860"/>
                    <a:pt x="57729" y="7952"/>
                    <a:pt x="57185" y="8282"/>
                  </a:cubicBezTo>
                  <a:cubicBezTo>
                    <a:pt x="56736" y="8610"/>
                    <a:pt x="56304" y="8938"/>
                    <a:pt x="55837" y="9267"/>
                  </a:cubicBezTo>
                  <a:cubicBezTo>
                    <a:pt x="55671" y="9381"/>
                    <a:pt x="55417" y="9527"/>
                    <a:pt x="55226" y="9527"/>
                  </a:cubicBezTo>
                  <a:cubicBezTo>
                    <a:pt x="55100" y="9527"/>
                    <a:pt x="55001" y="9463"/>
                    <a:pt x="54973" y="9284"/>
                  </a:cubicBezTo>
                  <a:cubicBezTo>
                    <a:pt x="54819" y="8258"/>
                    <a:pt x="54209" y="8003"/>
                    <a:pt x="53545" y="8003"/>
                  </a:cubicBezTo>
                  <a:cubicBezTo>
                    <a:pt x="53313" y="8003"/>
                    <a:pt x="53075" y="8034"/>
                    <a:pt x="52848" y="8074"/>
                  </a:cubicBezTo>
                  <a:cubicBezTo>
                    <a:pt x="51897" y="8264"/>
                    <a:pt x="52416" y="9232"/>
                    <a:pt x="52295" y="9854"/>
                  </a:cubicBezTo>
                  <a:cubicBezTo>
                    <a:pt x="52156" y="10615"/>
                    <a:pt x="51344" y="10096"/>
                    <a:pt x="50998" y="10545"/>
                  </a:cubicBezTo>
                  <a:cubicBezTo>
                    <a:pt x="50949" y="10609"/>
                    <a:pt x="50910" y="10635"/>
                    <a:pt x="50880" y="10635"/>
                  </a:cubicBezTo>
                  <a:cubicBezTo>
                    <a:pt x="50805" y="10635"/>
                    <a:pt x="50789" y="10469"/>
                    <a:pt x="50826" y="10321"/>
                  </a:cubicBezTo>
                  <a:cubicBezTo>
                    <a:pt x="51033" y="8990"/>
                    <a:pt x="50221" y="8541"/>
                    <a:pt x="49115" y="8161"/>
                  </a:cubicBezTo>
                  <a:cubicBezTo>
                    <a:pt x="46903" y="7400"/>
                    <a:pt x="44535" y="7176"/>
                    <a:pt x="42392" y="6070"/>
                  </a:cubicBezTo>
                  <a:cubicBezTo>
                    <a:pt x="41667" y="5697"/>
                    <a:pt x="40852" y="5536"/>
                    <a:pt x="40032" y="5536"/>
                  </a:cubicBezTo>
                  <a:cubicBezTo>
                    <a:pt x="39367" y="5536"/>
                    <a:pt x="38699" y="5642"/>
                    <a:pt x="38072" y="5828"/>
                  </a:cubicBezTo>
                  <a:cubicBezTo>
                    <a:pt x="36033" y="6432"/>
                    <a:pt x="33838" y="6502"/>
                    <a:pt x="31989" y="7642"/>
                  </a:cubicBezTo>
                  <a:cubicBezTo>
                    <a:pt x="31263" y="8074"/>
                    <a:pt x="29206" y="7296"/>
                    <a:pt x="30226" y="9457"/>
                  </a:cubicBezTo>
                  <a:cubicBezTo>
                    <a:pt x="30278" y="9578"/>
                    <a:pt x="29984" y="9854"/>
                    <a:pt x="29863" y="10079"/>
                  </a:cubicBezTo>
                  <a:cubicBezTo>
                    <a:pt x="28653" y="12412"/>
                    <a:pt x="26234" y="13224"/>
                    <a:pt x="24229" y="14555"/>
                  </a:cubicBezTo>
                  <a:cubicBezTo>
                    <a:pt x="22536" y="15661"/>
                    <a:pt x="23486" y="17112"/>
                    <a:pt x="24022" y="18236"/>
                  </a:cubicBezTo>
                  <a:cubicBezTo>
                    <a:pt x="24328" y="18880"/>
                    <a:pt x="24972" y="19241"/>
                    <a:pt x="25627" y="19241"/>
                  </a:cubicBezTo>
                  <a:cubicBezTo>
                    <a:pt x="26008" y="19241"/>
                    <a:pt x="26393" y="19119"/>
                    <a:pt x="26718" y="18858"/>
                  </a:cubicBezTo>
                  <a:cubicBezTo>
                    <a:pt x="27228" y="18470"/>
                    <a:pt x="27609" y="18306"/>
                    <a:pt x="27903" y="18306"/>
                  </a:cubicBezTo>
                  <a:cubicBezTo>
                    <a:pt x="28524" y="18306"/>
                    <a:pt x="28748" y="19042"/>
                    <a:pt x="28947" y="19946"/>
                  </a:cubicBezTo>
                  <a:cubicBezTo>
                    <a:pt x="28982" y="20223"/>
                    <a:pt x="28999" y="20499"/>
                    <a:pt x="28982" y="20776"/>
                  </a:cubicBezTo>
                  <a:cubicBezTo>
                    <a:pt x="28774" y="20551"/>
                    <a:pt x="28446" y="20396"/>
                    <a:pt x="28342" y="20119"/>
                  </a:cubicBezTo>
                  <a:cubicBezTo>
                    <a:pt x="28124" y="19474"/>
                    <a:pt x="27849" y="19234"/>
                    <a:pt x="27528" y="19234"/>
                  </a:cubicBezTo>
                  <a:cubicBezTo>
                    <a:pt x="27212" y="19234"/>
                    <a:pt x="26853" y="19465"/>
                    <a:pt x="26459" y="19774"/>
                  </a:cubicBezTo>
                  <a:cubicBezTo>
                    <a:pt x="25646" y="20379"/>
                    <a:pt x="25958" y="21260"/>
                    <a:pt x="26130" y="21899"/>
                  </a:cubicBezTo>
                  <a:cubicBezTo>
                    <a:pt x="26459" y="23092"/>
                    <a:pt x="25802" y="23420"/>
                    <a:pt x="24938" y="23627"/>
                  </a:cubicBezTo>
                  <a:cubicBezTo>
                    <a:pt x="23901" y="23852"/>
                    <a:pt x="23072" y="24267"/>
                    <a:pt x="22553" y="25269"/>
                  </a:cubicBezTo>
                  <a:cubicBezTo>
                    <a:pt x="22273" y="25790"/>
                    <a:pt x="21682" y="26043"/>
                    <a:pt x="21157" y="26043"/>
                  </a:cubicBezTo>
                  <a:cubicBezTo>
                    <a:pt x="21003" y="26043"/>
                    <a:pt x="20855" y="26021"/>
                    <a:pt x="20721" y="25978"/>
                  </a:cubicBezTo>
                  <a:cubicBezTo>
                    <a:pt x="20116" y="25788"/>
                    <a:pt x="20963" y="25390"/>
                    <a:pt x="20946" y="24993"/>
                  </a:cubicBezTo>
                  <a:cubicBezTo>
                    <a:pt x="20929" y="24543"/>
                    <a:pt x="20738" y="24129"/>
                    <a:pt x="20410" y="23835"/>
                  </a:cubicBezTo>
                  <a:cubicBezTo>
                    <a:pt x="19477" y="22798"/>
                    <a:pt x="18354" y="21709"/>
                    <a:pt x="18215" y="20327"/>
                  </a:cubicBezTo>
                  <a:cubicBezTo>
                    <a:pt x="18098" y="19205"/>
                    <a:pt x="17332" y="17921"/>
                    <a:pt x="16200" y="17921"/>
                  </a:cubicBezTo>
                  <a:cubicBezTo>
                    <a:pt x="16163" y="17921"/>
                    <a:pt x="16127" y="17922"/>
                    <a:pt x="16090" y="17925"/>
                  </a:cubicBezTo>
                  <a:cubicBezTo>
                    <a:pt x="15105" y="17976"/>
                    <a:pt x="14068" y="18391"/>
                    <a:pt x="13930" y="19221"/>
                  </a:cubicBezTo>
                  <a:cubicBezTo>
                    <a:pt x="13670" y="20430"/>
                    <a:pt x="14137" y="21709"/>
                    <a:pt x="15122" y="22470"/>
                  </a:cubicBezTo>
                  <a:cubicBezTo>
                    <a:pt x="15952" y="23109"/>
                    <a:pt x="15952" y="23161"/>
                    <a:pt x="15589" y="23489"/>
                  </a:cubicBezTo>
                  <a:cubicBezTo>
                    <a:pt x="14448" y="24526"/>
                    <a:pt x="14915" y="26116"/>
                    <a:pt x="14292" y="27377"/>
                  </a:cubicBezTo>
                  <a:cubicBezTo>
                    <a:pt x="14143" y="27687"/>
                    <a:pt x="14420" y="27822"/>
                    <a:pt x="14760" y="27822"/>
                  </a:cubicBezTo>
                  <a:cubicBezTo>
                    <a:pt x="14932" y="27822"/>
                    <a:pt x="15121" y="27787"/>
                    <a:pt x="15278" y="27723"/>
                  </a:cubicBezTo>
                  <a:cubicBezTo>
                    <a:pt x="16510" y="27249"/>
                    <a:pt x="17772" y="26919"/>
                    <a:pt x="19089" y="26919"/>
                  </a:cubicBezTo>
                  <a:cubicBezTo>
                    <a:pt x="19212" y="26919"/>
                    <a:pt x="19336" y="26922"/>
                    <a:pt x="19460" y="26928"/>
                  </a:cubicBezTo>
                  <a:lnTo>
                    <a:pt x="19874" y="26928"/>
                  </a:lnTo>
                  <a:cubicBezTo>
                    <a:pt x="19840" y="26997"/>
                    <a:pt x="19823" y="27136"/>
                    <a:pt x="19753" y="27153"/>
                  </a:cubicBezTo>
                  <a:cubicBezTo>
                    <a:pt x="18630" y="27585"/>
                    <a:pt x="17507" y="28138"/>
                    <a:pt x="16349" y="28414"/>
                  </a:cubicBezTo>
                  <a:cubicBezTo>
                    <a:pt x="15692" y="28570"/>
                    <a:pt x="14915" y="28432"/>
                    <a:pt x="14707" y="29209"/>
                  </a:cubicBezTo>
                  <a:cubicBezTo>
                    <a:pt x="14500" y="30004"/>
                    <a:pt x="15260" y="30194"/>
                    <a:pt x="15813" y="30505"/>
                  </a:cubicBezTo>
                  <a:cubicBezTo>
                    <a:pt x="17161" y="31318"/>
                    <a:pt x="17369" y="32493"/>
                    <a:pt x="16867" y="33910"/>
                  </a:cubicBezTo>
                  <a:cubicBezTo>
                    <a:pt x="16664" y="34503"/>
                    <a:pt x="16349" y="34660"/>
                    <a:pt x="15995" y="34660"/>
                  </a:cubicBezTo>
                  <a:cubicBezTo>
                    <a:pt x="15626" y="34660"/>
                    <a:pt x="15216" y="34489"/>
                    <a:pt x="14846" y="34463"/>
                  </a:cubicBezTo>
                  <a:cubicBezTo>
                    <a:pt x="13916" y="34396"/>
                    <a:pt x="12987" y="34203"/>
                    <a:pt x="12042" y="34203"/>
                  </a:cubicBezTo>
                  <a:cubicBezTo>
                    <a:pt x="12003" y="34203"/>
                    <a:pt x="11964" y="34203"/>
                    <a:pt x="11925" y="34204"/>
                  </a:cubicBezTo>
                  <a:cubicBezTo>
                    <a:pt x="10957" y="34221"/>
                    <a:pt x="9834" y="34446"/>
                    <a:pt x="9989" y="35759"/>
                  </a:cubicBezTo>
                  <a:cubicBezTo>
                    <a:pt x="10128" y="37072"/>
                    <a:pt x="9834" y="38196"/>
                    <a:pt x="9592" y="39440"/>
                  </a:cubicBezTo>
                  <a:cubicBezTo>
                    <a:pt x="9385" y="40425"/>
                    <a:pt x="8693" y="42136"/>
                    <a:pt x="10542" y="42464"/>
                  </a:cubicBezTo>
                  <a:cubicBezTo>
                    <a:pt x="12305" y="42758"/>
                    <a:pt x="12668" y="43173"/>
                    <a:pt x="11735" y="44693"/>
                  </a:cubicBezTo>
                  <a:cubicBezTo>
                    <a:pt x="11389" y="45298"/>
                    <a:pt x="10888" y="45817"/>
                    <a:pt x="10300" y="46180"/>
                  </a:cubicBezTo>
                  <a:cubicBezTo>
                    <a:pt x="9108" y="46871"/>
                    <a:pt x="8175" y="47752"/>
                    <a:pt x="8313" y="49342"/>
                  </a:cubicBezTo>
                  <a:cubicBezTo>
                    <a:pt x="8365" y="49964"/>
                    <a:pt x="8140" y="50707"/>
                    <a:pt x="7535" y="50967"/>
                  </a:cubicBezTo>
                  <a:cubicBezTo>
                    <a:pt x="5168" y="52021"/>
                    <a:pt x="3768" y="53991"/>
                    <a:pt x="2662" y="56168"/>
                  </a:cubicBezTo>
                  <a:cubicBezTo>
                    <a:pt x="1781" y="57931"/>
                    <a:pt x="122" y="59469"/>
                    <a:pt x="1279" y="61888"/>
                  </a:cubicBezTo>
                  <a:cubicBezTo>
                    <a:pt x="1936" y="63236"/>
                    <a:pt x="1573" y="64792"/>
                    <a:pt x="830" y="66209"/>
                  </a:cubicBezTo>
                  <a:cubicBezTo>
                    <a:pt x="1" y="67781"/>
                    <a:pt x="744" y="70477"/>
                    <a:pt x="2126" y="71687"/>
                  </a:cubicBezTo>
                  <a:cubicBezTo>
                    <a:pt x="2420" y="71946"/>
                    <a:pt x="2662" y="72240"/>
                    <a:pt x="2818" y="72586"/>
                  </a:cubicBezTo>
                  <a:cubicBezTo>
                    <a:pt x="4027" y="75040"/>
                    <a:pt x="5462" y="77303"/>
                    <a:pt x="7881" y="78755"/>
                  </a:cubicBezTo>
                  <a:cubicBezTo>
                    <a:pt x="8455" y="79100"/>
                    <a:pt x="9053" y="79742"/>
                    <a:pt x="9645" y="79742"/>
                  </a:cubicBezTo>
                  <a:cubicBezTo>
                    <a:pt x="9766" y="79742"/>
                    <a:pt x="9887" y="79715"/>
                    <a:pt x="10007" y="79654"/>
                  </a:cubicBezTo>
                  <a:cubicBezTo>
                    <a:pt x="12824" y="78254"/>
                    <a:pt x="16142" y="79844"/>
                    <a:pt x="18889" y="77874"/>
                  </a:cubicBezTo>
                  <a:cubicBezTo>
                    <a:pt x="19326" y="77562"/>
                    <a:pt x="19938" y="77352"/>
                    <a:pt x="20558" y="77352"/>
                  </a:cubicBezTo>
                  <a:cubicBezTo>
                    <a:pt x="21313" y="77352"/>
                    <a:pt x="22079" y="77663"/>
                    <a:pt x="22553" y="78479"/>
                  </a:cubicBezTo>
                  <a:cubicBezTo>
                    <a:pt x="23034" y="79313"/>
                    <a:pt x="23538" y="79650"/>
                    <a:pt x="24283" y="79650"/>
                  </a:cubicBezTo>
                  <a:cubicBezTo>
                    <a:pt x="24448" y="79650"/>
                    <a:pt x="24626" y="79633"/>
                    <a:pt x="24817" y="79602"/>
                  </a:cubicBezTo>
                  <a:cubicBezTo>
                    <a:pt x="24994" y="79574"/>
                    <a:pt x="25161" y="79561"/>
                    <a:pt x="25317" y="79561"/>
                  </a:cubicBezTo>
                  <a:cubicBezTo>
                    <a:pt x="26715" y="79561"/>
                    <a:pt x="27271" y="80640"/>
                    <a:pt x="26960" y="82194"/>
                  </a:cubicBezTo>
                  <a:cubicBezTo>
                    <a:pt x="26683" y="83611"/>
                    <a:pt x="25750" y="85218"/>
                    <a:pt x="26545" y="86480"/>
                  </a:cubicBezTo>
                  <a:cubicBezTo>
                    <a:pt x="27461" y="87966"/>
                    <a:pt x="28515" y="89400"/>
                    <a:pt x="29206" y="90973"/>
                  </a:cubicBezTo>
                  <a:cubicBezTo>
                    <a:pt x="30416" y="93721"/>
                    <a:pt x="31298" y="96641"/>
                    <a:pt x="29777" y="99631"/>
                  </a:cubicBezTo>
                  <a:cubicBezTo>
                    <a:pt x="28809" y="101515"/>
                    <a:pt x="28619" y="103502"/>
                    <a:pt x="29535" y="105369"/>
                  </a:cubicBezTo>
                  <a:cubicBezTo>
                    <a:pt x="30503" y="107321"/>
                    <a:pt x="31228" y="109274"/>
                    <a:pt x="31488" y="111469"/>
                  </a:cubicBezTo>
                  <a:cubicBezTo>
                    <a:pt x="31712" y="113456"/>
                    <a:pt x="31695" y="115599"/>
                    <a:pt x="33371" y="117172"/>
                  </a:cubicBezTo>
                  <a:cubicBezTo>
                    <a:pt x="34322" y="118088"/>
                    <a:pt x="34581" y="119436"/>
                    <a:pt x="35013" y="120645"/>
                  </a:cubicBezTo>
                  <a:cubicBezTo>
                    <a:pt x="35393" y="121717"/>
                    <a:pt x="34546" y="123065"/>
                    <a:pt x="35843" y="123998"/>
                  </a:cubicBezTo>
                  <a:cubicBezTo>
                    <a:pt x="36206" y="124270"/>
                    <a:pt x="36549" y="124368"/>
                    <a:pt x="36881" y="124368"/>
                  </a:cubicBezTo>
                  <a:cubicBezTo>
                    <a:pt x="37735" y="124368"/>
                    <a:pt x="38515" y="123721"/>
                    <a:pt x="39372" y="123721"/>
                  </a:cubicBezTo>
                  <a:cubicBezTo>
                    <a:pt x="39388" y="123721"/>
                    <a:pt x="39404" y="123721"/>
                    <a:pt x="39420" y="123721"/>
                  </a:cubicBezTo>
                  <a:cubicBezTo>
                    <a:pt x="39526" y="123724"/>
                    <a:pt x="39630" y="123725"/>
                    <a:pt x="39734" y="123725"/>
                  </a:cubicBezTo>
                  <a:cubicBezTo>
                    <a:pt x="44937" y="123725"/>
                    <a:pt x="47636" y="120353"/>
                    <a:pt x="49754" y="116100"/>
                  </a:cubicBezTo>
                  <a:cubicBezTo>
                    <a:pt x="50186" y="115236"/>
                    <a:pt x="49720" y="113957"/>
                    <a:pt x="50826" y="113508"/>
                  </a:cubicBezTo>
                  <a:cubicBezTo>
                    <a:pt x="52761" y="112713"/>
                    <a:pt x="53193" y="111175"/>
                    <a:pt x="52692" y="109499"/>
                  </a:cubicBezTo>
                  <a:cubicBezTo>
                    <a:pt x="51949" y="107028"/>
                    <a:pt x="53297" y="106112"/>
                    <a:pt x="55181" y="105282"/>
                  </a:cubicBezTo>
                  <a:cubicBezTo>
                    <a:pt x="57773" y="104107"/>
                    <a:pt x="59449" y="98370"/>
                    <a:pt x="57963" y="96071"/>
                  </a:cubicBezTo>
                  <a:cubicBezTo>
                    <a:pt x="56770" y="94239"/>
                    <a:pt x="57099" y="92217"/>
                    <a:pt x="57444" y="90316"/>
                  </a:cubicBezTo>
                  <a:cubicBezTo>
                    <a:pt x="57911" y="87621"/>
                    <a:pt x="59933" y="85823"/>
                    <a:pt x="61851" y="84164"/>
                  </a:cubicBezTo>
                  <a:cubicBezTo>
                    <a:pt x="65601" y="80915"/>
                    <a:pt x="68055" y="76992"/>
                    <a:pt x="69109" y="72171"/>
                  </a:cubicBezTo>
                  <a:cubicBezTo>
                    <a:pt x="69271" y="71459"/>
                    <a:pt x="69266" y="70656"/>
                    <a:pt x="68371" y="70656"/>
                  </a:cubicBezTo>
                  <a:cubicBezTo>
                    <a:pt x="68311" y="70656"/>
                    <a:pt x="68246" y="70660"/>
                    <a:pt x="68176" y="70667"/>
                  </a:cubicBezTo>
                  <a:cubicBezTo>
                    <a:pt x="67157" y="70788"/>
                    <a:pt x="66154" y="71151"/>
                    <a:pt x="65152" y="71462"/>
                  </a:cubicBezTo>
                  <a:cubicBezTo>
                    <a:pt x="63960" y="71826"/>
                    <a:pt x="63201" y="72060"/>
                    <a:pt x="62664" y="72060"/>
                  </a:cubicBezTo>
                  <a:cubicBezTo>
                    <a:pt x="61727" y="72060"/>
                    <a:pt x="61469" y="71346"/>
                    <a:pt x="60772" y="69363"/>
                  </a:cubicBezTo>
                  <a:lnTo>
                    <a:pt x="60772" y="69363"/>
                  </a:lnTo>
                  <a:cubicBezTo>
                    <a:pt x="61180" y="69747"/>
                    <a:pt x="61467" y="70422"/>
                    <a:pt x="62074" y="70422"/>
                  </a:cubicBezTo>
                  <a:cubicBezTo>
                    <a:pt x="62180" y="70422"/>
                    <a:pt x="62295" y="70402"/>
                    <a:pt x="62422" y="70356"/>
                  </a:cubicBezTo>
                  <a:cubicBezTo>
                    <a:pt x="63925" y="69769"/>
                    <a:pt x="65359" y="68957"/>
                    <a:pt x="66897" y="68455"/>
                  </a:cubicBezTo>
                  <a:cubicBezTo>
                    <a:pt x="68660" y="67868"/>
                    <a:pt x="69732" y="66209"/>
                    <a:pt x="71391" y="65639"/>
                  </a:cubicBezTo>
                  <a:cubicBezTo>
                    <a:pt x="73706" y="64844"/>
                    <a:pt x="76713" y="61716"/>
                    <a:pt x="76852" y="59383"/>
                  </a:cubicBezTo>
                  <a:cubicBezTo>
                    <a:pt x="76834" y="59072"/>
                    <a:pt x="76713" y="58778"/>
                    <a:pt x="76506" y="58553"/>
                  </a:cubicBezTo>
                  <a:cubicBezTo>
                    <a:pt x="75918" y="57810"/>
                    <a:pt x="75279" y="57153"/>
                    <a:pt x="74294" y="56894"/>
                  </a:cubicBezTo>
                  <a:cubicBezTo>
                    <a:pt x="73724" y="56739"/>
                    <a:pt x="73378" y="56151"/>
                    <a:pt x="73516" y="55581"/>
                  </a:cubicBezTo>
                  <a:cubicBezTo>
                    <a:pt x="73547" y="55481"/>
                    <a:pt x="73596" y="55443"/>
                    <a:pt x="73658" y="55443"/>
                  </a:cubicBezTo>
                  <a:cubicBezTo>
                    <a:pt x="73842" y="55443"/>
                    <a:pt x="74139" y="55775"/>
                    <a:pt x="74398" y="55788"/>
                  </a:cubicBezTo>
                  <a:cubicBezTo>
                    <a:pt x="75366" y="55855"/>
                    <a:pt x="76333" y="56083"/>
                    <a:pt x="77301" y="56083"/>
                  </a:cubicBezTo>
                  <a:cubicBezTo>
                    <a:pt x="77336" y="56083"/>
                    <a:pt x="77370" y="56083"/>
                    <a:pt x="77405" y="56082"/>
                  </a:cubicBezTo>
                  <a:cubicBezTo>
                    <a:pt x="77727" y="56077"/>
                    <a:pt x="78047" y="56073"/>
                    <a:pt x="78365" y="56073"/>
                  </a:cubicBezTo>
                  <a:cubicBezTo>
                    <a:pt x="81373" y="56073"/>
                    <a:pt x="84145" y="56432"/>
                    <a:pt x="85786" y="59746"/>
                  </a:cubicBezTo>
                  <a:cubicBezTo>
                    <a:pt x="86136" y="60461"/>
                    <a:pt x="86996" y="61297"/>
                    <a:pt x="88011" y="61297"/>
                  </a:cubicBezTo>
                  <a:cubicBezTo>
                    <a:pt x="88148" y="61297"/>
                    <a:pt x="88288" y="61282"/>
                    <a:pt x="88430" y="61249"/>
                  </a:cubicBezTo>
                  <a:cubicBezTo>
                    <a:pt x="88585" y="61214"/>
                    <a:pt x="88707" y="61197"/>
                    <a:pt x="88805" y="61197"/>
                  </a:cubicBezTo>
                  <a:cubicBezTo>
                    <a:pt x="89186" y="61197"/>
                    <a:pt x="89184" y="61451"/>
                    <a:pt x="89225" y="61837"/>
                  </a:cubicBezTo>
                  <a:cubicBezTo>
                    <a:pt x="89830" y="66554"/>
                    <a:pt x="91990" y="70685"/>
                    <a:pt x="94133" y="74832"/>
                  </a:cubicBezTo>
                  <a:cubicBezTo>
                    <a:pt x="94475" y="75487"/>
                    <a:pt x="94875" y="75911"/>
                    <a:pt x="95290" y="75911"/>
                  </a:cubicBezTo>
                  <a:cubicBezTo>
                    <a:pt x="95652" y="75911"/>
                    <a:pt x="96025" y="75588"/>
                    <a:pt x="96380" y="74815"/>
                  </a:cubicBezTo>
                  <a:cubicBezTo>
                    <a:pt x="96622" y="74297"/>
                    <a:pt x="97036" y="73847"/>
                    <a:pt x="97382" y="73381"/>
                  </a:cubicBezTo>
                  <a:lnTo>
                    <a:pt x="97538" y="73225"/>
                  </a:lnTo>
                  <a:cubicBezTo>
                    <a:pt x="98212" y="71618"/>
                    <a:pt x="98056" y="69993"/>
                    <a:pt x="97831" y="68317"/>
                  </a:cubicBezTo>
                  <a:cubicBezTo>
                    <a:pt x="97762" y="67833"/>
                    <a:pt x="97589" y="67211"/>
                    <a:pt x="98194" y="67073"/>
                  </a:cubicBezTo>
                  <a:cubicBezTo>
                    <a:pt x="99784" y="66693"/>
                    <a:pt x="100268" y="65258"/>
                    <a:pt x="101149" y="64187"/>
                  </a:cubicBezTo>
                  <a:cubicBezTo>
                    <a:pt x="102117" y="63029"/>
                    <a:pt x="103137" y="61629"/>
                    <a:pt x="104243" y="60903"/>
                  </a:cubicBezTo>
                  <a:cubicBezTo>
                    <a:pt x="104825" y="60515"/>
                    <a:pt x="105739" y="59942"/>
                    <a:pt x="106690" y="59942"/>
                  </a:cubicBezTo>
                  <a:cubicBezTo>
                    <a:pt x="107432" y="59942"/>
                    <a:pt x="108196" y="60292"/>
                    <a:pt x="108840" y="61353"/>
                  </a:cubicBezTo>
                  <a:cubicBezTo>
                    <a:pt x="109600" y="62632"/>
                    <a:pt x="110965" y="63565"/>
                    <a:pt x="111017" y="65258"/>
                  </a:cubicBezTo>
                  <a:cubicBezTo>
                    <a:pt x="111034" y="65777"/>
                    <a:pt x="110793" y="66433"/>
                    <a:pt x="111536" y="66693"/>
                  </a:cubicBezTo>
                  <a:cubicBezTo>
                    <a:pt x="111822" y="66788"/>
                    <a:pt x="112112" y="66862"/>
                    <a:pt x="112391" y="66862"/>
                  </a:cubicBezTo>
                  <a:cubicBezTo>
                    <a:pt x="112769" y="66862"/>
                    <a:pt x="113129" y="66727"/>
                    <a:pt x="113437" y="66330"/>
                  </a:cubicBezTo>
                  <a:cubicBezTo>
                    <a:pt x="113540" y="66205"/>
                    <a:pt x="113700" y="66031"/>
                    <a:pt x="113856" y="66031"/>
                  </a:cubicBezTo>
                  <a:cubicBezTo>
                    <a:pt x="113960" y="66031"/>
                    <a:pt x="114062" y="66109"/>
                    <a:pt x="114145" y="66330"/>
                  </a:cubicBezTo>
                  <a:cubicBezTo>
                    <a:pt x="114543" y="67470"/>
                    <a:pt x="114802" y="68663"/>
                    <a:pt x="115286" y="69769"/>
                  </a:cubicBezTo>
                  <a:cubicBezTo>
                    <a:pt x="116271" y="72033"/>
                    <a:pt x="114940" y="74677"/>
                    <a:pt x="116858" y="76871"/>
                  </a:cubicBezTo>
                  <a:cubicBezTo>
                    <a:pt x="118241" y="78461"/>
                    <a:pt x="118362" y="80915"/>
                    <a:pt x="119900" y="82540"/>
                  </a:cubicBezTo>
                  <a:cubicBezTo>
                    <a:pt x="120401" y="82799"/>
                    <a:pt x="120885" y="83058"/>
                    <a:pt x="121386" y="83300"/>
                  </a:cubicBezTo>
                  <a:cubicBezTo>
                    <a:pt x="121538" y="83368"/>
                    <a:pt x="121699" y="83403"/>
                    <a:pt x="121846" y="83403"/>
                  </a:cubicBezTo>
                  <a:cubicBezTo>
                    <a:pt x="122184" y="83403"/>
                    <a:pt x="122445" y="83219"/>
                    <a:pt x="122337" y="82834"/>
                  </a:cubicBezTo>
                  <a:cubicBezTo>
                    <a:pt x="121818" y="80915"/>
                    <a:pt x="121991" y="78790"/>
                    <a:pt x="119969" y="77355"/>
                  </a:cubicBezTo>
                  <a:cubicBezTo>
                    <a:pt x="118414" y="76249"/>
                    <a:pt x="117239" y="74521"/>
                    <a:pt x="117463" y="72378"/>
                  </a:cubicBezTo>
                  <a:cubicBezTo>
                    <a:pt x="117528" y="71821"/>
                    <a:pt x="116912" y="70437"/>
                    <a:pt x="117695" y="70437"/>
                  </a:cubicBezTo>
                  <a:cubicBezTo>
                    <a:pt x="117955" y="70437"/>
                    <a:pt x="118371" y="70590"/>
                    <a:pt x="119019" y="70979"/>
                  </a:cubicBezTo>
                  <a:cubicBezTo>
                    <a:pt x="120194" y="71704"/>
                    <a:pt x="121386" y="72655"/>
                    <a:pt x="121749" y="73605"/>
                  </a:cubicBezTo>
                  <a:cubicBezTo>
                    <a:pt x="122096" y="74553"/>
                    <a:pt x="122434" y="74868"/>
                    <a:pt x="122776" y="74868"/>
                  </a:cubicBezTo>
                  <a:cubicBezTo>
                    <a:pt x="123251" y="74868"/>
                    <a:pt x="123732" y="74261"/>
                    <a:pt x="124255" y="73899"/>
                  </a:cubicBezTo>
                  <a:cubicBezTo>
                    <a:pt x="124531" y="73709"/>
                    <a:pt x="124721" y="73363"/>
                    <a:pt x="125015" y="73208"/>
                  </a:cubicBezTo>
                  <a:cubicBezTo>
                    <a:pt x="126743" y="72292"/>
                    <a:pt x="127210" y="70961"/>
                    <a:pt x="126743" y="69043"/>
                  </a:cubicBezTo>
                  <a:cubicBezTo>
                    <a:pt x="126294" y="67159"/>
                    <a:pt x="125292" y="65725"/>
                    <a:pt x="123892" y="64533"/>
                  </a:cubicBezTo>
                  <a:cubicBezTo>
                    <a:pt x="122596" y="63409"/>
                    <a:pt x="122285" y="62459"/>
                    <a:pt x="123546" y="61059"/>
                  </a:cubicBezTo>
                  <a:cubicBezTo>
                    <a:pt x="123952" y="60621"/>
                    <a:pt x="124332" y="60388"/>
                    <a:pt x="124705" y="60388"/>
                  </a:cubicBezTo>
                  <a:cubicBezTo>
                    <a:pt x="124936" y="60388"/>
                    <a:pt x="125164" y="60477"/>
                    <a:pt x="125395" y="60661"/>
                  </a:cubicBezTo>
                  <a:cubicBezTo>
                    <a:pt x="126000" y="61145"/>
                    <a:pt x="125810" y="61750"/>
                    <a:pt x="125119" y="62234"/>
                  </a:cubicBezTo>
                  <a:cubicBezTo>
                    <a:pt x="124618" y="62580"/>
                    <a:pt x="124445" y="63219"/>
                    <a:pt x="125050" y="63651"/>
                  </a:cubicBezTo>
                  <a:cubicBezTo>
                    <a:pt x="125442" y="63952"/>
                    <a:pt x="125858" y="64171"/>
                    <a:pt x="126268" y="64171"/>
                  </a:cubicBezTo>
                  <a:cubicBezTo>
                    <a:pt x="126635" y="64171"/>
                    <a:pt x="126996" y="63996"/>
                    <a:pt x="127331" y="63547"/>
                  </a:cubicBezTo>
                  <a:cubicBezTo>
                    <a:pt x="127694" y="63046"/>
                    <a:pt x="128247" y="62407"/>
                    <a:pt x="127469" y="61940"/>
                  </a:cubicBezTo>
                  <a:cubicBezTo>
                    <a:pt x="126398" y="61318"/>
                    <a:pt x="127037" y="61042"/>
                    <a:pt x="127590" y="60696"/>
                  </a:cubicBezTo>
                  <a:cubicBezTo>
                    <a:pt x="130061" y="59210"/>
                    <a:pt x="133449" y="59106"/>
                    <a:pt x="134693" y="55788"/>
                  </a:cubicBezTo>
                  <a:cubicBezTo>
                    <a:pt x="135298" y="54146"/>
                    <a:pt x="136093" y="52591"/>
                    <a:pt x="135851" y="50725"/>
                  </a:cubicBezTo>
                  <a:cubicBezTo>
                    <a:pt x="135522" y="48288"/>
                    <a:pt x="133932" y="46629"/>
                    <a:pt x="132498" y="44918"/>
                  </a:cubicBezTo>
                  <a:cubicBezTo>
                    <a:pt x="131772" y="44054"/>
                    <a:pt x="131859" y="43622"/>
                    <a:pt x="132775" y="43173"/>
                  </a:cubicBezTo>
                  <a:cubicBezTo>
                    <a:pt x="133120" y="43017"/>
                    <a:pt x="133397" y="42793"/>
                    <a:pt x="133362" y="42378"/>
                  </a:cubicBezTo>
                  <a:cubicBezTo>
                    <a:pt x="133345" y="41980"/>
                    <a:pt x="133051" y="41635"/>
                    <a:pt x="132671" y="41548"/>
                  </a:cubicBezTo>
                  <a:cubicBezTo>
                    <a:pt x="132227" y="41462"/>
                    <a:pt x="131713" y="41297"/>
                    <a:pt x="131292" y="41297"/>
                  </a:cubicBezTo>
                  <a:cubicBezTo>
                    <a:pt x="131122" y="41297"/>
                    <a:pt x="130968" y="41323"/>
                    <a:pt x="130839" y="41393"/>
                  </a:cubicBezTo>
                  <a:cubicBezTo>
                    <a:pt x="130667" y="41486"/>
                    <a:pt x="130517" y="41524"/>
                    <a:pt x="130385" y="41524"/>
                  </a:cubicBezTo>
                  <a:cubicBezTo>
                    <a:pt x="129751" y="41524"/>
                    <a:pt x="129496" y="40648"/>
                    <a:pt x="128935" y="40648"/>
                  </a:cubicBezTo>
                  <a:cubicBezTo>
                    <a:pt x="128871" y="40648"/>
                    <a:pt x="128804" y="40659"/>
                    <a:pt x="128731" y="40684"/>
                  </a:cubicBezTo>
                  <a:cubicBezTo>
                    <a:pt x="129025" y="40425"/>
                    <a:pt x="129336" y="40166"/>
                    <a:pt x="129612" y="39889"/>
                  </a:cubicBezTo>
                  <a:cubicBezTo>
                    <a:pt x="129699" y="39786"/>
                    <a:pt x="129768" y="39647"/>
                    <a:pt x="129802" y="39509"/>
                  </a:cubicBezTo>
                  <a:cubicBezTo>
                    <a:pt x="129896" y="39229"/>
                    <a:pt x="130059" y="38963"/>
                    <a:pt x="130355" y="38963"/>
                  </a:cubicBezTo>
                  <a:cubicBezTo>
                    <a:pt x="130388" y="38963"/>
                    <a:pt x="130423" y="38966"/>
                    <a:pt x="130459" y="38973"/>
                  </a:cubicBezTo>
                  <a:cubicBezTo>
                    <a:pt x="130822" y="39025"/>
                    <a:pt x="130718" y="39405"/>
                    <a:pt x="130753" y="39665"/>
                  </a:cubicBezTo>
                  <a:cubicBezTo>
                    <a:pt x="130885" y="40368"/>
                    <a:pt x="131150" y="40680"/>
                    <a:pt x="131522" y="40680"/>
                  </a:cubicBezTo>
                  <a:cubicBezTo>
                    <a:pt x="131781" y="40680"/>
                    <a:pt x="132092" y="40529"/>
                    <a:pt x="132446" y="40252"/>
                  </a:cubicBezTo>
                  <a:cubicBezTo>
                    <a:pt x="132816" y="39963"/>
                    <a:pt x="133198" y="39825"/>
                    <a:pt x="133552" y="39825"/>
                  </a:cubicBezTo>
                  <a:cubicBezTo>
                    <a:pt x="134190" y="39825"/>
                    <a:pt x="134735" y="40276"/>
                    <a:pt x="134935" y="41099"/>
                  </a:cubicBezTo>
                  <a:cubicBezTo>
                    <a:pt x="135004" y="41410"/>
                    <a:pt x="135246" y="41911"/>
                    <a:pt x="135436" y="41928"/>
                  </a:cubicBezTo>
                  <a:cubicBezTo>
                    <a:pt x="136836" y="42067"/>
                    <a:pt x="137130" y="43259"/>
                    <a:pt x="137441" y="44192"/>
                  </a:cubicBezTo>
                  <a:cubicBezTo>
                    <a:pt x="137757" y="45176"/>
                    <a:pt x="138205" y="45491"/>
                    <a:pt x="138710" y="45491"/>
                  </a:cubicBezTo>
                  <a:cubicBezTo>
                    <a:pt x="139226" y="45491"/>
                    <a:pt x="139803" y="45163"/>
                    <a:pt x="140361" y="44884"/>
                  </a:cubicBezTo>
                  <a:cubicBezTo>
                    <a:pt x="141813" y="44175"/>
                    <a:pt x="140586" y="43363"/>
                    <a:pt x="140327" y="42654"/>
                  </a:cubicBezTo>
                  <a:cubicBezTo>
                    <a:pt x="140188" y="42188"/>
                    <a:pt x="139739" y="41773"/>
                    <a:pt x="139324" y="41479"/>
                  </a:cubicBezTo>
                  <a:cubicBezTo>
                    <a:pt x="137717" y="40356"/>
                    <a:pt x="137648" y="38921"/>
                    <a:pt x="138305" y="37245"/>
                  </a:cubicBezTo>
                  <a:cubicBezTo>
                    <a:pt x="138533" y="36644"/>
                    <a:pt x="138753" y="36160"/>
                    <a:pt x="139216" y="36160"/>
                  </a:cubicBezTo>
                  <a:cubicBezTo>
                    <a:pt x="139418" y="36160"/>
                    <a:pt x="139666" y="36252"/>
                    <a:pt x="139981" y="36468"/>
                  </a:cubicBezTo>
                  <a:cubicBezTo>
                    <a:pt x="140121" y="36569"/>
                    <a:pt x="140268" y="36617"/>
                    <a:pt x="140413" y="36617"/>
                  </a:cubicBezTo>
                  <a:cubicBezTo>
                    <a:pt x="140661" y="36617"/>
                    <a:pt x="140902" y="36477"/>
                    <a:pt x="141087" y="36226"/>
                  </a:cubicBezTo>
                  <a:cubicBezTo>
                    <a:pt x="142573" y="34255"/>
                    <a:pt x="142850" y="29797"/>
                    <a:pt x="141640" y="27706"/>
                  </a:cubicBezTo>
                  <a:cubicBezTo>
                    <a:pt x="141485" y="27447"/>
                    <a:pt x="141104" y="27187"/>
                    <a:pt x="141398" y="26807"/>
                  </a:cubicBezTo>
                  <a:lnTo>
                    <a:pt x="141398" y="26807"/>
                  </a:lnTo>
                  <a:cubicBezTo>
                    <a:pt x="141623" y="26997"/>
                    <a:pt x="141917" y="27153"/>
                    <a:pt x="142072" y="27395"/>
                  </a:cubicBezTo>
                  <a:cubicBezTo>
                    <a:pt x="142988" y="28812"/>
                    <a:pt x="143869" y="30229"/>
                    <a:pt x="144733" y="31663"/>
                  </a:cubicBezTo>
                  <a:cubicBezTo>
                    <a:pt x="144984" y="32062"/>
                    <a:pt x="145261" y="32460"/>
                    <a:pt x="145713" y="32460"/>
                  </a:cubicBezTo>
                  <a:cubicBezTo>
                    <a:pt x="145790" y="32460"/>
                    <a:pt x="145872" y="32449"/>
                    <a:pt x="145960" y="32424"/>
                  </a:cubicBezTo>
                  <a:cubicBezTo>
                    <a:pt x="146323" y="32320"/>
                    <a:pt x="146825" y="32043"/>
                    <a:pt x="146928" y="31750"/>
                  </a:cubicBezTo>
                  <a:cubicBezTo>
                    <a:pt x="147118" y="31197"/>
                    <a:pt x="146496" y="30972"/>
                    <a:pt x="146151" y="30644"/>
                  </a:cubicBezTo>
                  <a:cubicBezTo>
                    <a:pt x="145805" y="30298"/>
                    <a:pt x="144889" y="29935"/>
                    <a:pt x="145511" y="29348"/>
                  </a:cubicBezTo>
                  <a:cubicBezTo>
                    <a:pt x="146220" y="28674"/>
                    <a:pt x="145701" y="28363"/>
                    <a:pt x="145373" y="27982"/>
                  </a:cubicBezTo>
                  <a:cubicBezTo>
                    <a:pt x="144924" y="27464"/>
                    <a:pt x="144353" y="27049"/>
                    <a:pt x="143904" y="26513"/>
                  </a:cubicBezTo>
                  <a:cubicBezTo>
                    <a:pt x="142452" y="24803"/>
                    <a:pt x="140309" y="24008"/>
                    <a:pt x="138927" y="23455"/>
                  </a:cubicBezTo>
                  <a:cubicBezTo>
                    <a:pt x="137233" y="22781"/>
                    <a:pt x="135350" y="23368"/>
                    <a:pt x="133794" y="22349"/>
                  </a:cubicBezTo>
                  <a:cubicBezTo>
                    <a:pt x="133621" y="22228"/>
                    <a:pt x="133120" y="22141"/>
                    <a:pt x="133379" y="21934"/>
                  </a:cubicBezTo>
                  <a:cubicBezTo>
                    <a:pt x="134416" y="21156"/>
                    <a:pt x="134192" y="19843"/>
                    <a:pt x="134814" y="18910"/>
                  </a:cubicBezTo>
                  <a:cubicBezTo>
                    <a:pt x="135183" y="18357"/>
                    <a:pt x="137525" y="17996"/>
                    <a:pt x="139389" y="17996"/>
                  </a:cubicBezTo>
                  <a:cubicBezTo>
                    <a:pt x="140321" y="17996"/>
                    <a:pt x="141133" y="18086"/>
                    <a:pt x="141519" y="18287"/>
                  </a:cubicBezTo>
                  <a:cubicBezTo>
                    <a:pt x="141913" y="18491"/>
                    <a:pt x="142318" y="18567"/>
                    <a:pt x="142722" y="18567"/>
                  </a:cubicBezTo>
                  <a:cubicBezTo>
                    <a:pt x="143310" y="18567"/>
                    <a:pt x="143896" y="18407"/>
                    <a:pt x="144440" y="18253"/>
                  </a:cubicBezTo>
                  <a:cubicBezTo>
                    <a:pt x="145183" y="18028"/>
                    <a:pt x="144301" y="17320"/>
                    <a:pt x="144440" y="16905"/>
                  </a:cubicBezTo>
                  <a:cubicBezTo>
                    <a:pt x="144595" y="16473"/>
                    <a:pt x="144232" y="15764"/>
                    <a:pt x="144803" y="15626"/>
                  </a:cubicBezTo>
                  <a:cubicBezTo>
                    <a:pt x="144894" y="15602"/>
                    <a:pt x="144986" y="15590"/>
                    <a:pt x="145078" y="15590"/>
                  </a:cubicBezTo>
                  <a:cubicBezTo>
                    <a:pt x="145503" y="15590"/>
                    <a:pt x="145922" y="15838"/>
                    <a:pt x="146306" y="16179"/>
                  </a:cubicBezTo>
                  <a:cubicBezTo>
                    <a:pt x="146709" y="16532"/>
                    <a:pt x="147171" y="16997"/>
                    <a:pt x="147617" y="16997"/>
                  </a:cubicBezTo>
                  <a:cubicBezTo>
                    <a:pt x="147935" y="16997"/>
                    <a:pt x="148244" y="16760"/>
                    <a:pt x="148518" y="16075"/>
                  </a:cubicBezTo>
                  <a:cubicBezTo>
                    <a:pt x="148584" y="15900"/>
                    <a:pt x="148692" y="15801"/>
                    <a:pt x="148828" y="15801"/>
                  </a:cubicBezTo>
                  <a:cubicBezTo>
                    <a:pt x="148906" y="15801"/>
                    <a:pt x="148994" y="15833"/>
                    <a:pt x="149088" y="15903"/>
                  </a:cubicBezTo>
                  <a:cubicBezTo>
                    <a:pt x="149348" y="16110"/>
                    <a:pt x="149348" y="16335"/>
                    <a:pt x="149192" y="16646"/>
                  </a:cubicBezTo>
                  <a:cubicBezTo>
                    <a:pt x="148743" y="17596"/>
                    <a:pt x="147965" y="18547"/>
                    <a:pt x="147965" y="19497"/>
                  </a:cubicBezTo>
                  <a:cubicBezTo>
                    <a:pt x="147931" y="21122"/>
                    <a:pt x="148708" y="22677"/>
                    <a:pt x="150022" y="23627"/>
                  </a:cubicBezTo>
                  <a:cubicBezTo>
                    <a:pt x="151231" y="24561"/>
                    <a:pt x="152631" y="25269"/>
                    <a:pt x="153582" y="26513"/>
                  </a:cubicBezTo>
                  <a:cubicBezTo>
                    <a:pt x="153835" y="26852"/>
                    <a:pt x="154112" y="27339"/>
                    <a:pt x="154580" y="27339"/>
                  </a:cubicBezTo>
                  <a:cubicBezTo>
                    <a:pt x="154686" y="27339"/>
                    <a:pt x="154802" y="27314"/>
                    <a:pt x="154930" y="27257"/>
                  </a:cubicBezTo>
                  <a:cubicBezTo>
                    <a:pt x="155621" y="26928"/>
                    <a:pt x="155673" y="26271"/>
                    <a:pt x="155604" y="25615"/>
                  </a:cubicBezTo>
                  <a:cubicBezTo>
                    <a:pt x="155448" y="24025"/>
                    <a:pt x="155863" y="22435"/>
                    <a:pt x="154739" y="20845"/>
                  </a:cubicBezTo>
                  <a:cubicBezTo>
                    <a:pt x="154065" y="19877"/>
                    <a:pt x="153772" y="18823"/>
                    <a:pt x="152406" y="18737"/>
                  </a:cubicBezTo>
                  <a:cubicBezTo>
                    <a:pt x="152044" y="18720"/>
                    <a:pt x="151940" y="18478"/>
                    <a:pt x="151888" y="18201"/>
                  </a:cubicBezTo>
                  <a:cubicBezTo>
                    <a:pt x="151820" y="17931"/>
                    <a:pt x="151918" y="17578"/>
                    <a:pt x="152229" y="17578"/>
                  </a:cubicBezTo>
                  <a:cubicBezTo>
                    <a:pt x="152236" y="17578"/>
                    <a:pt x="152243" y="17579"/>
                    <a:pt x="152251" y="17579"/>
                  </a:cubicBezTo>
                  <a:cubicBezTo>
                    <a:pt x="152284" y="17581"/>
                    <a:pt x="152317" y="17582"/>
                    <a:pt x="152350" y="17582"/>
                  </a:cubicBezTo>
                  <a:cubicBezTo>
                    <a:pt x="153000" y="17582"/>
                    <a:pt x="153628" y="17254"/>
                    <a:pt x="154277" y="17254"/>
                  </a:cubicBezTo>
                  <a:cubicBezTo>
                    <a:pt x="154558" y="17254"/>
                    <a:pt x="154844" y="17316"/>
                    <a:pt x="155137" y="17493"/>
                  </a:cubicBezTo>
                  <a:cubicBezTo>
                    <a:pt x="155393" y="17649"/>
                    <a:pt x="155627" y="17726"/>
                    <a:pt x="155836" y="17726"/>
                  </a:cubicBezTo>
                  <a:cubicBezTo>
                    <a:pt x="156249" y="17726"/>
                    <a:pt x="156566" y="17427"/>
                    <a:pt x="156761" y="16853"/>
                  </a:cubicBezTo>
                  <a:cubicBezTo>
                    <a:pt x="157072" y="15920"/>
                    <a:pt x="157954" y="15505"/>
                    <a:pt x="158662" y="15039"/>
                  </a:cubicBezTo>
                  <a:cubicBezTo>
                    <a:pt x="158771" y="14969"/>
                    <a:pt x="158912" y="14953"/>
                    <a:pt x="159064" y="14953"/>
                  </a:cubicBezTo>
                  <a:cubicBezTo>
                    <a:pt x="159192" y="14953"/>
                    <a:pt x="159327" y="14964"/>
                    <a:pt x="159458" y="14964"/>
                  </a:cubicBezTo>
                  <a:cubicBezTo>
                    <a:pt x="159792" y="14964"/>
                    <a:pt x="160100" y="14892"/>
                    <a:pt x="160183" y="14382"/>
                  </a:cubicBezTo>
                  <a:cubicBezTo>
                    <a:pt x="160304" y="13501"/>
                    <a:pt x="159475" y="13310"/>
                    <a:pt x="158887" y="12965"/>
                  </a:cubicBezTo>
                  <a:cubicBezTo>
                    <a:pt x="158662" y="12827"/>
                    <a:pt x="158334" y="12550"/>
                    <a:pt x="158351" y="12395"/>
                  </a:cubicBezTo>
                  <a:cubicBezTo>
                    <a:pt x="158404" y="12154"/>
                    <a:pt x="158582" y="12097"/>
                    <a:pt x="158776" y="12097"/>
                  </a:cubicBezTo>
                  <a:cubicBezTo>
                    <a:pt x="158903" y="12097"/>
                    <a:pt x="159037" y="12122"/>
                    <a:pt x="159146" y="12135"/>
                  </a:cubicBezTo>
                  <a:cubicBezTo>
                    <a:pt x="160460" y="12308"/>
                    <a:pt x="161652" y="12999"/>
                    <a:pt x="163017" y="12999"/>
                  </a:cubicBezTo>
                  <a:cubicBezTo>
                    <a:pt x="163570" y="12999"/>
                    <a:pt x="163795" y="12913"/>
                    <a:pt x="164002" y="12274"/>
                  </a:cubicBezTo>
                  <a:cubicBezTo>
                    <a:pt x="164745" y="10182"/>
                    <a:pt x="163311" y="10010"/>
                    <a:pt x="161998" y="9923"/>
                  </a:cubicBezTo>
                  <a:cubicBezTo>
                    <a:pt x="160218" y="9820"/>
                    <a:pt x="158438" y="9543"/>
                    <a:pt x="156710" y="9076"/>
                  </a:cubicBezTo>
                  <a:cubicBezTo>
                    <a:pt x="153313" y="8169"/>
                    <a:pt x="149984" y="6872"/>
                    <a:pt x="146431" y="6872"/>
                  </a:cubicBezTo>
                  <a:cubicBezTo>
                    <a:pt x="145249" y="6872"/>
                    <a:pt x="144041" y="7016"/>
                    <a:pt x="142798" y="7366"/>
                  </a:cubicBezTo>
                  <a:cubicBezTo>
                    <a:pt x="142441" y="7468"/>
                    <a:pt x="142044" y="7507"/>
                    <a:pt x="141624" y="7507"/>
                  </a:cubicBezTo>
                  <a:cubicBezTo>
                    <a:pt x="140475" y="7507"/>
                    <a:pt x="139148" y="7211"/>
                    <a:pt x="137959" y="7072"/>
                  </a:cubicBezTo>
                  <a:cubicBezTo>
                    <a:pt x="135760" y="6810"/>
                    <a:pt x="133765" y="5577"/>
                    <a:pt x="131513" y="5577"/>
                  </a:cubicBezTo>
                  <a:cubicBezTo>
                    <a:pt x="131235" y="5577"/>
                    <a:pt x="130953" y="5596"/>
                    <a:pt x="130666" y="5637"/>
                  </a:cubicBezTo>
                  <a:cubicBezTo>
                    <a:pt x="130197" y="5701"/>
                    <a:pt x="129713" y="5752"/>
                    <a:pt x="129231" y="5752"/>
                  </a:cubicBezTo>
                  <a:cubicBezTo>
                    <a:pt x="128525" y="5752"/>
                    <a:pt x="127823" y="5641"/>
                    <a:pt x="127175" y="5292"/>
                  </a:cubicBezTo>
                  <a:cubicBezTo>
                    <a:pt x="124583" y="3857"/>
                    <a:pt x="121352" y="4808"/>
                    <a:pt x="118811" y="3097"/>
                  </a:cubicBezTo>
                  <a:cubicBezTo>
                    <a:pt x="118623" y="2965"/>
                    <a:pt x="118385" y="2894"/>
                    <a:pt x="118144" y="2894"/>
                  </a:cubicBezTo>
                  <a:cubicBezTo>
                    <a:pt x="117786" y="2894"/>
                    <a:pt x="117421" y="3050"/>
                    <a:pt x="117204" y="3391"/>
                  </a:cubicBezTo>
                  <a:cubicBezTo>
                    <a:pt x="116737" y="4117"/>
                    <a:pt x="117601" y="4134"/>
                    <a:pt x="117930" y="4462"/>
                  </a:cubicBezTo>
                  <a:cubicBezTo>
                    <a:pt x="118103" y="4670"/>
                    <a:pt x="118154" y="4946"/>
                    <a:pt x="118068" y="5188"/>
                  </a:cubicBezTo>
                  <a:cubicBezTo>
                    <a:pt x="117958" y="5398"/>
                    <a:pt x="116241" y="5510"/>
                    <a:pt x="114740" y="5510"/>
                  </a:cubicBezTo>
                  <a:cubicBezTo>
                    <a:pt x="113645" y="5510"/>
                    <a:pt x="112664" y="5450"/>
                    <a:pt x="112503" y="5326"/>
                  </a:cubicBezTo>
                  <a:cubicBezTo>
                    <a:pt x="111242" y="4410"/>
                    <a:pt x="109825" y="3719"/>
                    <a:pt x="108321" y="3287"/>
                  </a:cubicBezTo>
                  <a:cubicBezTo>
                    <a:pt x="108108" y="3224"/>
                    <a:pt x="107902" y="3198"/>
                    <a:pt x="107703" y="3198"/>
                  </a:cubicBezTo>
                  <a:cubicBezTo>
                    <a:pt x="106742" y="3198"/>
                    <a:pt x="105934" y="3807"/>
                    <a:pt x="105084" y="3807"/>
                  </a:cubicBezTo>
                  <a:cubicBezTo>
                    <a:pt x="105000" y="3807"/>
                    <a:pt x="104915" y="3801"/>
                    <a:pt x="104830" y="3788"/>
                  </a:cubicBezTo>
                  <a:cubicBezTo>
                    <a:pt x="102083" y="3391"/>
                    <a:pt x="99266" y="3909"/>
                    <a:pt x="96760" y="1559"/>
                  </a:cubicBezTo>
                  <a:cubicBezTo>
                    <a:pt x="95295" y="185"/>
                    <a:pt x="93272" y="50"/>
                    <a:pt x="91223" y="50"/>
                  </a:cubicBezTo>
                  <a:cubicBezTo>
                    <a:pt x="90718" y="50"/>
                    <a:pt x="90212" y="58"/>
                    <a:pt x="89713" y="58"/>
                  </a:cubicBezTo>
                  <a:cubicBezTo>
                    <a:pt x="89152" y="58"/>
                    <a:pt x="88600" y="48"/>
                    <a:pt x="88067" y="4"/>
                  </a:cubicBezTo>
                  <a:cubicBezTo>
                    <a:pt x="88037" y="2"/>
                    <a:pt x="88007" y="1"/>
                    <a:pt x="87976" y="1"/>
                  </a:cubicBezTo>
                  <a:close/>
                </a:path>
              </a:pathLst>
            </a:custGeom>
            <a:noFill/>
            <a:ln w="9525" cap="flat" cmpd="sng">
              <a:solidFill>
                <a:srgbClr val="A5B7C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017" name="Google Shape;3017;p104"/>
            <p:cNvSpPr/>
            <p:nvPr/>
          </p:nvSpPr>
          <p:spPr>
            <a:xfrm>
              <a:off x="5913800" y="3523050"/>
              <a:ext cx="1109075" cy="813875"/>
            </a:xfrm>
            <a:custGeom>
              <a:avLst/>
              <a:gdLst/>
              <a:ahLst/>
              <a:cxnLst/>
              <a:rect l="l" t="t" r="r" b="b"/>
              <a:pathLst>
                <a:path w="44363" h="32555" extrusionOk="0">
                  <a:moveTo>
                    <a:pt x="28245" y="1"/>
                  </a:moveTo>
                  <a:cubicBezTo>
                    <a:pt x="27747" y="1"/>
                    <a:pt x="27602" y="373"/>
                    <a:pt x="27634" y="804"/>
                  </a:cubicBezTo>
                  <a:cubicBezTo>
                    <a:pt x="27737" y="2117"/>
                    <a:pt x="27979" y="3482"/>
                    <a:pt x="27996" y="4778"/>
                  </a:cubicBezTo>
                  <a:cubicBezTo>
                    <a:pt x="28014" y="5660"/>
                    <a:pt x="28567" y="7094"/>
                    <a:pt x="27634" y="7267"/>
                  </a:cubicBezTo>
                  <a:cubicBezTo>
                    <a:pt x="27521" y="7286"/>
                    <a:pt x="27406" y="7295"/>
                    <a:pt x="27290" y="7295"/>
                  </a:cubicBezTo>
                  <a:cubicBezTo>
                    <a:pt x="25431" y="7295"/>
                    <a:pt x="23230" y="4918"/>
                    <a:pt x="23555" y="3275"/>
                  </a:cubicBezTo>
                  <a:cubicBezTo>
                    <a:pt x="23754" y="2264"/>
                    <a:pt x="23333" y="1317"/>
                    <a:pt x="22034" y="1317"/>
                  </a:cubicBezTo>
                  <a:cubicBezTo>
                    <a:pt x="21978" y="1317"/>
                    <a:pt x="21920" y="1318"/>
                    <a:pt x="21862" y="1322"/>
                  </a:cubicBezTo>
                  <a:cubicBezTo>
                    <a:pt x="21814" y="1325"/>
                    <a:pt x="21765" y="1327"/>
                    <a:pt x="21716" y="1327"/>
                  </a:cubicBezTo>
                  <a:cubicBezTo>
                    <a:pt x="20777" y="1327"/>
                    <a:pt x="19668" y="752"/>
                    <a:pt x="18692" y="752"/>
                  </a:cubicBezTo>
                  <a:cubicBezTo>
                    <a:pt x="18107" y="752"/>
                    <a:pt x="17570" y="958"/>
                    <a:pt x="17144" y="1616"/>
                  </a:cubicBezTo>
                  <a:cubicBezTo>
                    <a:pt x="16642" y="2376"/>
                    <a:pt x="15295" y="2826"/>
                    <a:pt x="15191" y="4035"/>
                  </a:cubicBezTo>
                  <a:cubicBezTo>
                    <a:pt x="15162" y="4430"/>
                    <a:pt x="15144" y="4616"/>
                    <a:pt x="15002" y="4616"/>
                  </a:cubicBezTo>
                  <a:cubicBezTo>
                    <a:pt x="14889" y="4616"/>
                    <a:pt x="14698" y="4499"/>
                    <a:pt x="14361" y="4277"/>
                  </a:cubicBezTo>
                  <a:cubicBezTo>
                    <a:pt x="13724" y="3844"/>
                    <a:pt x="13113" y="3612"/>
                    <a:pt x="12606" y="3612"/>
                  </a:cubicBezTo>
                  <a:cubicBezTo>
                    <a:pt x="12042" y="3612"/>
                    <a:pt x="11607" y="3900"/>
                    <a:pt x="11406" y="4519"/>
                  </a:cubicBezTo>
                  <a:cubicBezTo>
                    <a:pt x="10784" y="6334"/>
                    <a:pt x="8710" y="7215"/>
                    <a:pt x="8624" y="9392"/>
                  </a:cubicBezTo>
                  <a:cubicBezTo>
                    <a:pt x="8607" y="10153"/>
                    <a:pt x="7933" y="10619"/>
                    <a:pt x="7086" y="10879"/>
                  </a:cubicBezTo>
                  <a:cubicBezTo>
                    <a:pt x="5669" y="11311"/>
                    <a:pt x="4355" y="11864"/>
                    <a:pt x="3007" y="12382"/>
                  </a:cubicBezTo>
                  <a:cubicBezTo>
                    <a:pt x="1003" y="13160"/>
                    <a:pt x="0" y="16910"/>
                    <a:pt x="1538" y="19018"/>
                  </a:cubicBezTo>
                  <a:cubicBezTo>
                    <a:pt x="2835" y="20798"/>
                    <a:pt x="3128" y="22595"/>
                    <a:pt x="3992" y="24375"/>
                  </a:cubicBezTo>
                  <a:cubicBezTo>
                    <a:pt x="4494" y="25360"/>
                    <a:pt x="4424" y="26276"/>
                    <a:pt x="3750" y="26950"/>
                  </a:cubicBezTo>
                  <a:cubicBezTo>
                    <a:pt x="3353" y="27348"/>
                    <a:pt x="3509" y="27797"/>
                    <a:pt x="4148" y="28298"/>
                  </a:cubicBezTo>
                  <a:cubicBezTo>
                    <a:pt x="5020" y="28962"/>
                    <a:pt x="5824" y="29302"/>
                    <a:pt x="6549" y="29302"/>
                  </a:cubicBezTo>
                  <a:cubicBezTo>
                    <a:pt x="7089" y="29302"/>
                    <a:pt x="7586" y="29114"/>
                    <a:pt x="8036" y="28730"/>
                  </a:cubicBezTo>
                  <a:cubicBezTo>
                    <a:pt x="8740" y="28095"/>
                    <a:pt x="9643" y="27747"/>
                    <a:pt x="10576" y="27747"/>
                  </a:cubicBezTo>
                  <a:cubicBezTo>
                    <a:pt x="10811" y="27747"/>
                    <a:pt x="11049" y="27769"/>
                    <a:pt x="11285" y="27814"/>
                  </a:cubicBezTo>
                  <a:cubicBezTo>
                    <a:pt x="11420" y="27836"/>
                    <a:pt x="11551" y="27846"/>
                    <a:pt x="11676" y="27846"/>
                  </a:cubicBezTo>
                  <a:cubicBezTo>
                    <a:pt x="12065" y="27846"/>
                    <a:pt x="12402" y="27743"/>
                    <a:pt x="12650" y="27521"/>
                  </a:cubicBezTo>
                  <a:cubicBezTo>
                    <a:pt x="14551" y="25793"/>
                    <a:pt x="17368" y="25343"/>
                    <a:pt x="20047" y="24790"/>
                  </a:cubicBezTo>
                  <a:cubicBezTo>
                    <a:pt x="20247" y="24746"/>
                    <a:pt x="20464" y="24721"/>
                    <a:pt x="20691" y="24721"/>
                  </a:cubicBezTo>
                  <a:cubicBezTo>
                    <a:pt x="21623" y="24721"/>
                    <a:pt x="22712" y="25150"/>
                    <a:pt x="23365" y="26484"/>
                  </a:cubicBezTo>
                  <a:cubicBezTo>
                    <a:pt x="23667" y="27105"/>
                    <a:pt x="23855" y="28198"/>
                    <a:pt x="25083" y="28198"/>
                  </a:cubicBezTo>
                  <a:cubicBezTo>
                    <a:pt x="25120" y="28198"/>
                    <a:pt x="25158" y="28197"/>
                    <a:pt x="25197" y="28195"/>
                  </a:cubicBezTo>
                  <a:cubicBezTo>
                    <a:pt x="25345" y="28183"/>
                    <a:pt x="25455" y="28022"/>
                    <a:pt x="25593" y="28022"/>
                  </a:cubicBezTo>
                  <a:cubicBezTo>
                    <a:pt x="25664" y="28022"/>
                    <a:pt x="25742" y="28065"/>
                    <a:pt x="25836" y="28195"/>
                  </a:cubicBezTo>
                  <a:cubicBezTo>
                    <a:pt x="25923" y="28298"/>
                    <a:pt x="25767" y="28592"/>
                    <a:pt x="25612" y="28713"/>
                  </a:cubicBezTo>
                  <a:cubicBezTo>
                    <a:pt x="25318" y="28938"/>
                    <a:pt x="24903" y="29128"/>
                    <a:pt x="25283" y="29646"/>
                  </a:cubicBezTo>
                  <a:cubicBezTo>
                    <a:pt x="25508" y="29871"/>
                    <a:pt x="25802" y="30026"/>
                    <a:pt x="26113" y="30078"/>
                  </a:cubicBezTo>
                  <a:cubicBezTo>
                    <a:pt x="26172" y="30086"/>
                    <a:pt x="26229" y="30090"/>
                    <a:pt x="26283" y="30090"/>
                  </a:cubicBezTo>
                  <a:cubicBezTo>
                    <a:pt x="26710" y="30090"/>
                    <a:pt x="27006" y="29856"/>
                    <a:pt x="27098" y="29473"/>
                  </a:cubicBezTo>
                  <a:cubicBezTo>
                    <a:pt x="27115" y="29335"/>
                    <a:pt x="27098" y="29197"/>
                    <a:pt x="27029" y="29076"/>
                  </a:cubicBezTo>
                  <a:cubicBezTo>
                    <a:pt x="26976" y="28903"/>
                    <a:pt x="26992" y="28848"/>
                    <a:pt x="27041" y="28848"/>
                  </a:cubicBezTo>
                  <a:cubicBezTo>
                    <a:pt x="27105" y="28848"/>
                    <a:pt x="27225" y="28941"/>
                    <a:pt x="27322" y="28990"/>
                  </a:cubicBezTo>
                  <a:cubicBezTo>
                    <a:pt x="27824" y="29266"/>
                    <a:pt x="28463" y="29473"/>
                    <a:pt x="28169" y="30113"/>
                  </a:cubicBezTo>
                  <a:cubicBezTo>
                    <a:pt x="27945" y="30597"/>
                    <a:pt x="28117" y="31029"/>
                    <a:pt x="28809" y="31461"/>
                  </a:cubicBezTo>
                  <a:cubicBezTo>
                    <a:pt x="30199" y="32318"/>
                    <a:pt x="31628" y="32554"/>
                    <a:pt x="32898" y="32554"/>
                  </a:cubicBezTo>
                  <a:cubicBezTo>
                    <a:pt x="33522" y="32554"/>
                    <a:pt x="34108" y="32497"/>
                    <a:pt x="34633" y="32429"/>
                  </a:cubicBezTo>
                  <a:cubicBezTo>
                    <a:pt x="36672" y="32135"/>
                    <a:pt x="39299" y="31824"/>
                    <a:pt x="39299" y="29145"/>
                  </a:cubicBezTo>
                  <a:cubicBezTo>
                    <a:pt x="39299" y="28938"/>
                    <a:pt x="39541" y="28799"/>
                    <a:pt x="39592" y="28575"/>
                  </a:cubicBezTo>
                  <a:cubicBezTo>
                    <a:pt x="40024" y="26968"/>
                    <a:pt x="41804" y="26363"/>
                    <a:pt x="42496" y="24998"/>
                  </a:cubicBezTo>
                  <a:cubicBezTo>
                    <a:pt x="44224" y="21559"/>
                    <a:pt x="44362" y="17722"/>
                    <a:pt x="40232" y="13661"/>
                  </a:cubicBezTo>
                  <a:cubicBezTo>
                    <a:pt x="38953" y="12399"/>
                    <a:pt x="38037" y="10671"/>
                    <a:pt x="36309" y="9859"/>
                  </a:cubicBezTo>
                  <a:cubicBezTo>
                    <a:pt x="34494" y="9012"/>
                    <a:pt x="34080" y="7716"/>
                    <a:pt x="33509" y="6472"/>
                  </a:cubicBezTo>
                  <a:cubicBezTo>
                    <a:pt x="33388" y="5608"/>
                    <a:pt x="33008" y="4761"/>
                    <a:pt x="32213" y="4346"/>
                  </a:cubicBezTo>
                  <a:cubicBezTo>
                    <a:pt x="30658" y="3465"/>
                    <a:pt x="30278" y="2100"/>
                    <a:pt x="29414" y="942"/>
                  </a:cubicBezTo>
                  <a:cubicBezTo>
                    <a:pt x="29120" y="544"/>
                    <a:pt x="28947" y="78"/>
                    <a:pt x="28377" y="9"/>
                  </a:cubicBezTo>
                  <a:cubicBezTo>
                    <a:pt x="28330" y="3"/>
                    <a:pt x="28287" y="1"/>
                    <a:pt x="28245" y="1"/>
                  </a:cubicBezTo>
                  <a:close/>
                </a:path>
              </a:pathLst>
            </a:custGeom>
            <a:noFill/>
            <a:ln w="9525" cap="flat" cmpd="sng">
              <a:solidFill>
                <a:srgbClr val="A5B7C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018" name="Google Shape;3018;p104"/>
            <p:cNvSpPr/>
            <p:nvPr/>
          </p:nvSpPr>
          <p:spPr>
            <a:xfrm>
              <a:off x="6442175" y="3238700"/>
              <a:ext cx="571625" cy="311800"/>
            </a:xfrm>
            <a:custGeom>
              <a:avLst/>
              <a:gdLst/>
              <a:ahLst/>
              <a:cxnLst/>
              <a:rect l="l" t="t" r="r" b="b"/>
              <a:pathLst>
                <a:path w="22865" h="12472" extrusionOk="0">
                  <a:moveTo>
                    <a:pt x="3070" y="1"/>
                  </a:moveTo>
                  <a:cubicBezTo>
                    <a:pt x="2939" y="1"/>
                    <a:pt x="2792" y="15"/>
                    <a:pt x="2627" y="46"/>
                  </a:cubicBezTo>
                  <a:cubicBezTo>
                    <a:pt x="1833" y="202"/>
                    <a:pt x="830" y="29"/>
                    <a:pt x="415" y="927"/>
                  </a:cubicBezTo>
                  <a:cubicBezTo>
                    <a:pt x="1" y="1826"/>
                    <a:pt x="934" y="1861"/>
                    <a:pt x="1400" y="2189"/>
                  </a:cubicBezTo>
                  <a:cubicBezTo>
                    <a:pt x="1504" y="2258"/>
                    <a:pt x="1366" y="2569"/>
                    <a:pt x="1435" y="2742"/>
                  </a:cubicBezTo>
                  <a:cubicBezTo>
                    <a:pt x="1757" y="3623"/>
                    <a:pt x="1963" y="4886"/>
                    <a:pt x="3062" y="4886"/>
                  </a:cubicBezTo>
                  <a:cubicBezTo>
                    <a:pt x="3084" y="4886"/>
                    <a:pt x="3106" y="4886"/>
                    <a:pt x="3129" y="4885"/>
                  </a:cubicBezTo>
                  <a:cubicBezTo>
                    <a:pt x="3207" y="4880"/>
                    <a:pt x="3284" y="4878"/>
                    <a:pt x="3360" y="4878"/>
                  </a:cubicBezTo>
                  <a:cubicBezTo>
                    <a:pt x="4698" y="4878"/>
                    <a:pt x="5731" y="5570"/>
                    <a:pt x="6810" y="6077"/>
                  </a:cubicBezTo>
                  <a:cubicBezTo>
                    <a:pt x="7328" y="6319"/>
                    <a:pt x="8019" y="7322"/>
                    <a:pt x="7207" y="8203"/>
                  </a:cubicBezTo>
                  <a:cubicBezTo>
                    <a:pt x="6913" y="8531"/>
                    <a:pt x="6948" y="8911"/>
                    <a:pt x="7121" y="9292"/>
                  </a:cubicBezTo>
                  <a:cubicBezTo>
                    <a:pt x="7274" y="9613"/>
                    <a:pt x="7597" y="9810"/>
                    <a:pt x="7934" y="9810"/>
                  </a:cubicBezTo>
                  <a:cubicBezTo>
                    <a:pt x="8014" y="9810"/>
                    <a:pt x="8095" y="9799"/>
                    <a:pt x="8175" y="9775"/>
                  </a:cubicBezTo>
                  <a:cubicBezTo>
                    <a:pt x="8275" y="9755"/>
                    <a:pt x="8368" y="9745"/>
                    <a:pt x="8457" y="9745"/>
                  </a:cubicBezTo>
                  <a:cubicBezTo>
                    <a:pt x="8811" y="9745"/>
                    <a:pt x="9087" y="9900"/>
                    <a:pt x="9419" y="10121"/>
                  </a:cubicBezTo>
                  <a:cubicBezTo>
                    <a:pt x="10079" y="10569"/>
                    <a:pt x="10930" y="10787"/>
                    <a:pt x="11688" y="10787"/>
                  </a:cubicBezTo>
                  <a:cubicBezTo>
                    <a:pt x="12538" y="10787"/>
                    <a:pt x="13270" y="10513"/>
                    <a:pt x="13480" y="9983"/>
                  </a:cubicBezTo>
                  <a:cubicBezTo>
                    <a:pt x="13648" y="9563"/>
                    <a:pt x="13555" y="9014"/>
                    <a:pt x="14230" y="9014"/>
                  </a:cubicBezTo>
                  <a:cubicBezTo>
                    <a:pt x="14250" y="9014"/>
                    <a:pt x="14271" y="9014"/>
                    <a:pt x="14293" y="9015"/>
                  </a:cubicBezTo>
                  <a:cubicBezTo>
                    <a:pt x="15036" y="9050"/>
                    <a:pt x="15381" y="9516"/>
                    <a:pt x="15450" y="10138"/>
                  </a:cubicBezTo>
                  <a:cubicBezTo>
                    <a:pt x="15640" y="11486"/>
                    <a:pt x="16522" y="11953"/>
                    <a:pt x="17697" y="11988"/>
                  </a:cubicBezTo>
                  <a:cubicBezTo>
                    <a:pt x="18224" y="11988"/>
                    <a:pt x="18870" y="12472"/>
                    <a:pt x="19366" y="12472"/>
                  </a:cubicBezTo>
                  <a:cubicBezTo>
                    <a:pt x="19602" y="12472"/>
                    <a:pt x="19804" y="12362"/>
                    <a:pt x="19944" y="12039"/>
                  </a:cubicBezTo>
                  <a:cubicBezTo>
                    <a:pt x="20289" y="11210"/>
                    <a:pt x="19287" y="10398"/>
                    <a:pt x="18596" y="9758"/>
                  </a:cubicBezTo>
                  <a:cubicBezTo>
                    <a:pt x="18164" y="9361"/>
                    <a:pt x="17420" y="8825"/>
                    <a:pt x="17749" y="8272"/>
                  </a:cubicBezTo>
                  <a:cubicBezTo>
                    <a:pt x="17984" y="7884"/>
                    <a:pt x="18253" y="7197"/>
                    <a:pt x="18937" y="7197"/>
                  </a:cubicBezTo>
                  <a:cubicBezTo>
                    <a:pt x="19107" y="7197"/>
                    <a:pt x="19302" y="7239"/>
                    <a:pt x="19529" y="7339"/>
                  </a:cubicBezTo>
                  <a:cubicBezTo>
                    <a:pt x="19732" y="7429"/>
                    <a:pt x="19935" y="7468"/>
                    <a:pt x="20135" y="7468"/>
                  </a:cubicBezTo>
                  <a:cubicBezTo>
                    <a:pt x="20854" y="7468"/>
                    <a:pt x="21544" y="6970"/>
                    <a:pt x="22138" y="6578"/>
                  </a:cubicBezTo>
                  <a:cubicBezTo>
                    <a:pt x="22795" y="6146"/>
                    <a:pt x="22864" y="5248"/>
                    <a:pt x="22311" y="4643"/>
                  </a:cubicBezTo>
                  <a:cubicBezTo>
                    <a:pt x="22115" y="4425"/>
                    <a:pt x="21948" y="4340"/>
                    <a:pt x="21799" y="4340"/>
                  </a:cubicBezTo>
                  <a:cubicBezTo>
                    <a:pt x="21465" y="4340"/>
                    <a:pt x="21227" y="4774"/>
                    <a:pt x="20963" y="5110"/>
                  </a:cubicBezTo>
                  <a:cubicBezTo>
                    <a:pt x="20756" y="5334"/>
                    <a:pt x="20479" y="5472"/>
                    <a:pt x="20168" y="5507"/>
                  </a:cubicBezTo>
                  <a:cubicBezTo>
                    <a:pt x="20112" y="5512"/>
                    <a:pt x="20051" y="5514"/>
                    <a:pt x="19986" y="5514"/>
                  </a:cubicBezTo>
                  <a:cubicBezTo>
                    <a:pt x="18639" y="5514"/>
                    <a:pt x="15548" y="4518"/>
                    <a:pt x="14344" y="3727"/>
                  </a:cubicBezTo>
                  <a:cubicBezTo>
                    <a:pt x="13999" y="3485"/>
                    <a:pt x="13636" y="3295"/>
                    <a:pt x="13238" y="3139"/>
                  </a:cubicBezTo>
                  <a:cubicBezTo>
                    <a:pt x="11925" y="2690"/>
                    <a:pt x="10473" y="2465"/>
                    <a:pt x="9298" y="1774"/>
                  </a:cubicBezTo>
                  <a:cubicBezTo>
                    <a:pt x="8770" y="1458"/>
                    <a:pt x="8301" y="1322"/>
                    <a:pt x="7877" y="1322"/>
                  </a:cubicBezTo>
                  <a:cubicBezTo>
                    <a:pt x="7093" y="1322"/>
                    <a:pt x="6459" y="1787"/>
                    <a:pt x="5876" y="2448"/>
                  </a:cubicBezTo>
                  <a:cubicBezTo>
                    <a:pt x="5497" y="2886"/>
                    <a:pt x="5240" y="3062"/>
                    <a:pt x="5050" y="3062"/>
                  </a:cubicBezTo>
                  <a:cubicBezTo>
                    <a:pt x="4739" y="3062"/>
                    <a:pt x="4614" y="2586"/>
                    <a:pt x="4442" y="2016"/>
                  </a:cubicBezTo>
                  <a:cubicBezTo>
                    <a:pt x="4193" y="1191"/>
                    <a:pt x="4266" y="1"/>
                    <a:pt x="3070" y="1"/>
                  </a:cubicBezTo>
                  <a:close/>
                </a:path>
              </a:pathLst>
            </a:custGeom>
            <a:noFill/>
            <a:ln w="9525" cap="flat" cmpd="sng">
              <a:solidFill>
                <a:srgbClr val="A5B7C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019" name="Google Shape;3019;p104"/>
            <p:cNvSpPr/>
            <p:nvPr/>
          </p:nvSpPr>
          <p:spPr>
            <a:xfrm>
              <a:off x="5898675" y="3029225"/>
              <a:ext cx="282150" cy="318450"/>
            </a:xfrm>
            <a:custGeom>
              <a:avLst/>
              <a:gdLst/>
              <a:ahLst/>
              <a:cxnLst/>
              <a:rect l="l" t="t" r="r" b="b"/>
              <a:pathLst>
                <a:path w="11286" h="12738" extrusionOk="0">
                  <a:moveTo>
                    <a:pt x="8163" y="0"/>
                  </a:moveTo>
                  <a:cubicBezTo>
                    <a:pt x="7646" y="0"/>
                    <a:pt x="7307" y="634"/>
                    <a:pt x="7121" y="1115"/>
                  </a:cubicBezTo>
                  <a:cubicBezTo>
                    <a:pt x="6498" y="2618"/>
                    <a:pt x="5081" y="3362"/>
                    <a:pt x="4027" y="4450"/>
                  </a:cubicBezTo>
                  <a:cubicBezTo>
                    <a:pt x="3562" y="4916"/>
                    <a:pt x="2753" y="5709"/>
                    <a:pt x="2170" y="5709"/>
                  </a:cubicBezTo>
                  <a:cubicBezTo>
                    <a:pt x="2125" y="5709"/>
                    <a:pt x="2082" y="5704"/>
                    <a:pt x="2040" y="5695"/>
                  </a:cubicBezTo>
                  <a:cubicBezTo>
                    <a:pt x="1767" y="5631"/>
                    <a:pt x="1536" y="5602"/>
                    <a:pt x="1339" y="5602"/>
                  </a:cubicBezTo>
                  <a:cubicBezTo>
                    <a:pt x="150" y="5602"/>
                    <a:pt x="215" y="6659"/>
                    <a:pt x="52" y="7475"/>
                  </a:cubicBezTo>
                  <a:cubicBezTo>
                    <a:pt x="1" y="9410"/>
                    <a:pt x="1625" y="11518"/>
                    <a:pt x="3267" y="12123"/>
                  </a:cubicBezTo>
                  <a:cubicBezTo>
                    <a:pt x="3638" y="12262"/>
                    <a:pt x="4019" y="12277"/>
                    <a:pt x="4389" y="12277"/>
                  </a:cubicBezTo>
                  <a:cubicBezTo>
                    <a:pt x="4488" y="12277"/>
                    <a:pt x="4586" y="12276"/>
                    <a:pt x="4683" y="12276"/>
                  </a:cubicBezTo>
                  <a:cubicBezTo>
                    <a:pt x="5034" y="12276"/>
                    <a:pt x="5369" y="12290"/>
                    <a:pt x="5669" y="12417"/>
                  </a:cubicBezTo>
                  <a:cubicBezTo>
                    <a:pt x="6156" y="12630"/>
                    <a:pt x="6559" y="12738"/>
                    <a:pt x="6895" y="12738"/>
                  </a:cubicBezTo>
                  <a:cubicBezTo>
                    <a:pt x="7678" y="12738"/>
                    <a:pt x="8093" y="12148"/>
                    <a:pt x="8348" y="10914"/>
                  </a:cubicBezTo>
                  <a:cubicBezTo>
                    <a:pt x="8572" y="9773"/>
                    <a:pt x="9073" y="8235"/>
                    <a:pt x="9937" y="7786"/>
                  </a:cubicBezTo>
                  <a:cubicBezTo>
                    <a:pt x="11268" y="7094"/>
                    <a:pt x="10577" y="6697"/>
                    <a:pt x="10231" y="6023"/>
                  </a:cubicBezTo>
                  <a:cubicBezTo>
                    <a:pt x="9782" y="5124"/>
                    <a:pt x="8797" y="4278"/>
                    <a:pt x="10058" y="3189"/>
                  </a:cubicBezTo>
                  <a:cubicBezTo>
                    <a:pt x="10404" y="2895"/>
                    <a:pt x="11285" y="2618"/>
                    <a:pt x="10853" y="1945"/>
                  </a:cubicBezTo>
                  <a:cubicBezTo>
                    <a:pt x="10266" y="1063"/>
                    <a:pt x="9402" y="286"/>
                    <a:pt x="8348" y="26"/>
                  </a:cubicBezTo>
                  <a:cubicBezTo>
                    <a:pt x="8284" y="9"/>
                    <a:pt x="8222" y="0"/>
                    <a:pt x="8163" y="0"/>
                  </a:cubicBezTo>
                  <a:close/>
                </a:path>
              </a:pathLst>
            </a:custGeom>
            <a:noFill/>
            <a:ln w="9525" cap="flat" cmpd="sng">
              <a:solidFill>
                <a:srgbClr val="A5B7C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020" name="Google Shape;3020;p104"/>
            <p:cNvSpPr/>
            <p:nvPr/>
          </p:nvSpPr>
          <p:spPr>
            <a:xfrm>
              <a:off x="5544400" y="3065225"/>
              <a:ext cx="541800" cy="430700"/>
            </a:xfrm>
            <a:custGeom>
              <a:avLst/>
              <a:gdLst/>
              <a:ahLst/>
              <a:cxnLst/>
              <a:rect l="l" t="t" r="r" b="b"/>
              <a:pathLst>
                <a:path w="21672" h="17228" extrusionOk="0">
                  <a:moveTo>
                    <a:pt x="7484" y="4583"/>
                  </a:moveTo>
                  <a:lnTo>
                    <a:pt x="7484" y="4583"/>
                  </a:lnTo>
                  <a:cubicBezTo>
                    <a:pt x="7486" y="4586"/>
                    <a:pt x="7488" y="4589"/>
                    <a:pt x="7491" y="4592"/>
                  </a:cubicBezTo>
                  <a:lnTo>
                    <a:pt x="7491" y="4592"/>
                  </a:lnTo>
                  <a:cubicBezTo>
                    <a:pt x="7494" y="4595"/>
                    <a:pt x="7498" y="4597"/>
                    <a:pt x="7501" y="4600"/>
                  </a:cubicBezTo>
                  <a:lnTo>
                    <a:pt x="7484" y="4583"/>
                  </a:lnTo>
                  <a:close/>
                  <a:moveTo>
                    <a:pt x="1210" y="0"/>
                  </a:moveTo>
                  <a:cubicBezTo>
                    <a:pt x="910" y="0"/>
                    <a:pt x="646" y="84"/>
                    <a:pt x="415" y="314"/>
                  </a:cubicBezTo>
                  <a:cubicBezTo>
                    <a:pt x="1" y="712"/>
                    <a:pt x="260" y="1127"/>
                    <a:pt x="571" y="1403"/>
                  </a:cubicBezTo>
                  <a:cubicBezTo>
                    <a:pt x="1833" y="2561"/>
                    <a:pt x="2939" y="3874"/>
                    <a:pt x="3872" y="5309"/>
                  </a:cubicBezTo>
                  <a:cubicBezTo>
                    <a:pt x="5894" y="8264"/>
                    <a:pt x="6948" y="12014"/>
                    <a:pt x="10663" y="13552"/>
                  </a:cubicBezTo>
                  <a:cubicBezTo>
                    <a:pt x="10715" y="13587"/>
                    <a:pt x="10733" y="13656"/>
                    <a:pt x="10733" y="13725"/>
                  </a:cubicBezTo>
                  <a:cubicBezTo>
                    <a:pt x="10007" y="15522"/>
                    <a:pt x="11579" y="15401"/>
                    <a:pt x="12478" y="15660"/>
                  </a:cubicBezTo>
                  <a:cubicBezTo>
                    <a:pt x="14932" y="16334"/>
                    <a:pt x="17420" y="16801"/>
                    <a:pt x="19961" y="17043"/>
                  </a:cubicBezTo>
                  <a:cubicBezTo>
                    <a:pt x="20276" y="17079"/>
                    <a:pt x="20618" y="17227"/>
                    <a:pt x="20904" y="17227"/>
                  </a:cubicBezTo>
                  <a:cubicBezTo>
                    <a:pt x="21167" y="17227"/>
                    <a:pt x="21382" y="17101"/>
                    <a:pt x="21482" y="16645"/>
                  </a:cubicBezTo>
                  <a:cubicBezTo>
                    <a:pt x="21672" y="15816"/>
                    <a:pt x="20842" y="15626"/>
                    <a:pt x="20306" y="15280"/>
                  </a:cubicBezTo>
                  <a:cubicBezTo>
                    <a:pt x="18129" y="13932"/>
                    <a:pt x="15502" y="14347"/>
                    <a:pt x="13204" y="13448"/>
                  </a:cubicBezTo>
                  <a:cubicBezTo>
                    <a:pt x="13103" y="13410"/>
                    <a:pt x="12986" y="13400"/>
                    <a:pt x="12863" y="13400"/>
                  </a:cubicBezTo>
                  <a:cubicBezTo>
                    <a:pt x="12726" y="13400"/>
                    <a:pt x="12582" y="13412"/>
                    <a:pt x="12448" y="13412"/>
                  </a:cubicBezTo>
                  <a:cubicBezTo>
                    <a:pt x="12162" y="13412"/>
                    <a:pt x="11919" y="13355"/>
                    <a:pt x="11873" y="12999"/>
                  </a:cubicBezTo>
                  <a:cubicBezTo>
                    <a:pt x="11769" y="12221"/>
                    <a:pt x="11614" y="11288"/>
                    <a:pt x="12409" y="10666"/>
                  </a:cubicBezTo>
                  <a:cubicBezTo>
                    <a:pt x="12979" y="10199"/>
                    <a:pt x="12806" y="9836"/>
                    <a:pt x="12478" y="9249"/>
                  </a:cubicBezTo>
                  <a:cubicBezTo>
                    <a:pt x="11908" y="8195"/>
                    <a:pt x="10352" y="8558"/>
                    <a:pt x="10076" y="7849"/>
                  </a:cubicBezTo>
                  <a:cubicBezTo>
                    <a:pt x="9542" y="6419"/>
                    <a:pt x="8354" y="5659"/>
                    <a:pt x="7491" y="4592"/>
                  </a:cubicBezTo>
                  <a:lnTo>
                    <a:pt x="7491" y="4592"/>
                  </a:lnTo>
                  <a:cubicBezTo>
                    <a:pt x="6993" y="4179"/>
                    <a:pt x="6512" y="3733"/>
                    <a:pt x="5980" y="3339"/>
                  </a:cubicBezTo>
                  <a:cubicBezTo>
                    <a:pt x="4563" y="2285"/>
                    <a:pt x="3682" y="522"/>
                    <a:pt x="1763" y="72"/>
                  </a:cubicBezTo>
                  <a:cubicBezTo>
                    <a:pt x="1567" y="28"/>
                    <a:pt x="1383" y="0"/>
                    <a:pt x="1210" y="0"/>
                  </a:cubicBezTo>
                  <a:close/>
                </a:path>
              </a:pathLst>
            </a:custGeom>
            <a:noFill/>
            <a:ln w="9525" cap="flat" cmpd="sng">
              <a:solidFill>
                <a:srgbClr val="A5B7C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021" name="Google Shape;3021;p104"/>
            <p:cNvSpPr/>
            <p:nvPr/>
          </p:nvSpPr>
          <p:spPr>
            <a:xfrm>
              <a:off x="4388700" y="3530600"/>
              <a:ext cx="227275" cy="395425"/>
            </a:xfrm>
            <a:custGeom>
              <a:avLst/>
              <a:gdLst/>
              <a:ahLst/>
              <a:cxnLst/>
              <a:rect l="l" t="t" r="r" b="b"/>
              <a:pathLst>
                <a:path w="9091" h="15817" extrusionOk="0">
                  <a:moveTo>
                    <a:pt x="7622" y="0"/>
                  </a:moveTo>
                  <a:cubicBezTo>
                    <a:pt x="7155" y="0"/>
                    <a:pt x="6965" y="363"/>
                    <a:pt x="6740" y="761"/>
                  </a:cubicBezTo>
                  <a:cubicBezTo>
                    <a:pt x="5963" y="2212"/>
                    <a:pt x="5323" y="3802"/>
                    <a:pt x="3405" y="4200"/>
                  </a:cubicBezTo>
                  <a:cubicBezTo>
                    <a:pt x="2645" y="4338"/>
                    <a:pt x="2247" y="4891"/>
                    <a:pt x="2109" y="5738"/>
                  </a:cubicBezTo>
                  <a:cubicBezTo>
                    <a:pt x="1781" y="7587"/>
                    <a:pt x="1971" y="9471"/>
                    <a:pt x="917" y="11285"/>
                  </a:cubicBezTo>
                  <a:cubicBezTo>
                    <a:pt x="1" y="12910"/>
                    <a:pt x="1660" y="15813"/>
                    <a:pt x="3077" y="15813"/>
                  </a:cubicBezTo>
                  <a:cubicBezTo>
                    <a:pt x="3125" y="15815"/>
                    <a:pt x="3172" y="15816"/>
                    <a:pt x="3219" y="15816"/>
                  </a:cubicBezTo>
                  <a:cubicBezTo>
                    <a:pt x="4640" y="15816"/>
                    <a:pt x="5279" y="14808"/>
                    <a:pt x="5496" y="13670"/>
                  </a:cubicBezTo>
                  <a:cubicBezTo>
                    <a:pt x="6049" y="11095"/>
                    <a:pt x="7034" y="8676"/>
                    <a:pt x="8002" y="6256"/>
                  </a:cubicBezTo>
                  <a:cubicBezTo>
                    <a:pt x="8745" y="4373"/>
                    <a:pt x="9091" y="2645"/>
                    <a:pt x="8192" y="778"/>
                  </a:cubicBezTo>
                  <a:cubicBezTo>
                    <a:pt x="8054" y="467"/>
                    <a:pt x="8106" y="18"/>
                    <a:pt x="7622" y="0"/>
                  </a:cubicBezTo>
                  <a:close/>
                </a:path>
              </a:pathLst>
            </a:custGeom>
            <a:noFill/>
            <a:ln w="9525" cap="flat" cmpd="sng">
              <a:solidFill>
                <a:srgbClr val="A5B7C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022" name="Google Shape;3022;p104"/>
            <p:cNvSpPr/>
            <p:nvPr/>
          </p:nvSpPr>
          <p:spPr>
            <a:xfrm>
              <a:off x="6438300" y="1893850"/>
              <a:ext cx="267450" cy="418275"/>
            </a:xfrm>
            <a:custGeom>
              <a:avLst/>
              <a:gdLst/>
              <a:ahLst/>
              <a:cxnLst/>
              <a:rect l="l" t="t" r="r" b="b"/>
              <a:pathLst>
                <a:path w="10698" h="16731" extrusionOk="0">
                  <a:moveTo>
                    <a:pt x="4909" y="1"/>
                  </a:moveTo>
                  <a:cubicBezTo>
                    <a:pt x="4667" y="1"/>
                    <a:pt x="4504" y="61"/>
                    <a:pt x="4562" y="216"/>
                  </a:cubicBezTo>
                  <a:cubicBezTo>
                    <a:pt x="5064" y="1633"/>
                    <a:pt x="3992" y="3465"/>
                    <a:pt x="5444" y="4502"/>
                  </a:cubicBezTo>
                  <a:cubicBezTo>
                    <a:pt x="6654" y="5366"/>
                    <a:pt x="6515" y="6627"/>
                    <a:pt x="6913" y="7647"/>
                  </a:cubicBezTo>
                  <a:cubicBezTo>
                    <a:pt x="6804" y="8207"/>
                    <a:pt x="6835" y="9062"/>
                    <a:pt x="6426" y="9062"/>
                  </a:cubicBezTo>
                  <a:cubicBezTo>
                    <a:pt x="6380" y="9062"/>
                    <a:pt x="6330" y="9052"/>
                    <a:pt x="6273" y="9029"/>
                  </a:cubicBezTo>
                  <a:cubicBezTo>
                    <a:pt x="6019" y="8928"/>
                    <a:pt x="5817" y="8884"/>
                    <a:pt x="5657" y="8884"/>
                  </a:cubicBezTo>
                  <a:cubicBezTo>
                    <a:pt x="5131" y="8884"/>
                    <a:pt x="5047" y="9360"/>
                    <a:pt x="4995" y="9876"/>
                  </a:cubicBezTo>
                  <a:cubicBezTo>
                    <a:pt x="4925" y="10533"/>
                    <a:pt x="4614" y="10757"/>
                    <a:pt x="4044" y="10896"/>
                  </a:cubicBezTo>
                  <a:cubicBezTo>
                    <a:pt x="726" y="11673"/>
                    <a:pt x="0" y="13229"/>
                    <a:pt x="1659" y="16028"/>
                  </a:cubicBezTo>
                  <a:cubicBezTo>
                    <a:pt x="1834" y="16314"/>
                    <a:pt x="1935" y="16730"/>
                    <a:pt x="2351" y="16730"/>
                  </a:cubicBezTo>
                  <a:cubicBezTo>
                    <a:pt x="2389" y="16730"/>
                    <a:pt x="2429" y="16727"/>
                    <a:pt x="2471" y="16720"/>
                  </a:cubicBezTo>
                  <a:cubicBezTo>
                    <a:pt x="3007" y="16633"/>
                    <a:pt x="3197" y="16236"/>
                    <a:pt x="3301" y="15752"/>
                  </a:cubicBezTo>
                  <a:cubicBezTo>
                    <a:pt x="3405" y="15251"/>
                    <a:pt x="3301" y="14784"/>
                    <a:pt x="4009" y="14542"/>
                  </a:cubicBezTo>
                  <a:cubicBezTo>
                    <a:pt x="5651" y="13955"/>
                    <a:pt x="7241" y="13194"/>
                    <a:pt x="8866" y="12555"/>
                  </a:cubicBezTo>
                  <a:cubicBezTo>
                    <a:pt x="9298" y="12399"/>
                    <a:pt x="9643" y="12261"/>
                    <a:pt x="9799" y="11829"/>
                  </a:cubicBezTo>
                  <a:cubicBezTo>
                    <a:pt x="10300" y="10308"/>
                    <a:pt x="8866" y="5746"/>
                    <a:pt x="7604" y="4709"/>
                  </a:cubicBezTo>
                  <a:cubicBezTo>
                    <a:pt x="7397" y="4536"/>
                    <a:pt x="6809" y="4571"/>
                    <a:pt x="7016" y="4139"/>
                  </a:cubicBezTo>
                  <a:cubicBezTo>
                    <a:pt x="7082" y="4008"/>
                    <a:pt x="7166" y="3963"/>
                    <a:pt x="7262" y="3963"/>
                  </a:cubicBezTo>
                  <a:cubicBezTo>
                    <a:pt x="7468" y="3963"/>
                    <a:pt x="7725" y="4173"/>
                    <a:pt x="7950" y="4173"/>
                  </a:cubicBezTo>
                  <a:cubicBezTo>
                    <a:pt x="7979" y="4174"/>
                    <a:pt x="8009" y="4175"/>
                    <a:pt x="8039" y="4175"/>
                  </a:cubicBezTo>
                  <a:cubicBezTo>
                    <a:pt x="9008" y="4175"/>
                    <a:pt x="9913" y="3634"/>
                    <a:pt x="10265" y="2946"/>
                  </a:cubicBezTo>
                  <a:cubicBezTo>
                    <a:pt x="10697" y="2117"/>
                    <a:pt x="9695" y="1667"/>
                    <a:pt x="8987" y="1581"/>
                  </a:cubicBezTo>
                  <a:cubicBezTo>
                    <a:pt x="7811" y="1443"/>
                    <a:pt x="6930" y="786"/>
                    <a:pt x="5962" y="250"/>
                  </a:cubicBezTo>
                  <a:cubicBezTo>
                    <a:pt x="5704" y="111"/>
                    <a:pt x="5235" y="1"/>
                    <a:pt x="4909" y="1"/>
                  </a:cubicBezTo>
                  <a:close/>
                </a:path>
              </a:pathLst>
            </a:custGeom>
            <a:noFill/>
            <a:ln w="9525" cap="flat" cmpd="sng">
              <a:solidFill>
                <a:srgbClr val="A5B7C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023" name="Google Shape;3023;p104"/>
            <p:cNvSpPr/>
            <p:nvPr/>
          </p:nvSpPr>
          <p:spPr>
            <a:xfrm>
              <a:off x="6901875" y="4220725"/>
              <a:ext cx="468775" cy="354550"/>
            </a:xfrm>
            <a:custGeom>
              <a:avLst/>
              <a:gdLst/>
              <a:ahLst/>
              <a:cxnLst/>
              <a:rect l="l" t="t" r="r" b="b"/>
              <a:pathLst>
                <a:path w="18751" h="14182" extrusionOk="0">
                  <a:moveTo>
                    <a:pt x="15666" y="0"/>
                  </a:moveTo>
                  <a:cubicBezTo>
                    <a:pt x="15588" y="0"/>
                    <a:pt x="15504" y="9"/>
                    <a:pt x="15415" y="28"/>
                  </a:cubicBezTo>
                  <a:cubicBezTo>
                    <a:pt x="14690" y="184"/>
                    <a:pt x="14759" y="772"/>
                    <a:pt x="14897" y="1290"/>
                  </a:cubicBezTo>
                  <a:cubicBezTo>
                    <a:pt x="15294" y="2845"/>
                    <a:pt x="14880" y="4038"/>
                    <a:pt x="13463" y="4850"/>
                  </a:cubicBezTo>
                  <a:cubicBezTo>
                    <a:pt x="13013" y="5109"/>
                    <a:pt x="12823" y="5472"/>
                    <a:pt x="13065" y="5991"/>
                  </a:cubicBezTo>
                  <a:cubicBezTo>
                    <a:pt x="13324" y="6578"/>
                    <a:pt x="12823" y="6803"/>
                    <a:pt x="12512" y="7097"/>
                  </a:cubicBezTo>
                  <a:cubicBezTo>
                    <a:pt x="12410" y="7191"/>
                    <a:pt x="12303" y="7233"/>
                    <a:pt x="12200" y="7233"/>
                  </a:cubicBezTo>
                  <a:cubicBezTo>
                    <a:pt x="12041" y="7233"/>
                    <a:pt x="11891" y="7133"/>
                    <a:pt x="11786" y="6976"/>
                  </a:cubicBezTo>
                  <a:cubicBezTo>
                    <a:pt x="11531" y="6610"/>
                    <a:pt x="11284" y="6477"/>
                    <a:pt x="11039" y="6477"/>
                  </a:cubicBezTo>
                  <a:cubicBezTo>
                    <a:pt x="10705" y="6477"/>
                    <a:pt x="10373" y="6726"/>
                    <a:pt x="10024" y="6976"/>
                  </a:cubicBezTo>
                  <a:cubicBezTo>
                    <a:pt x="8797" y="7891"/>
                    <a:pt x="7811" y="9188"/>
                    <a:pt x="6308" y="9637"/>
                  </a:cubicBezTo>
                  <a:cubicBezTo>
                    <a:pt x="4303" y="10242"/>
                    <a:pt x="2696" y="11572"/>
                    <a:pt x="812" y="12385"/>
                  </a:cubicBezTo>
                  <a:cubicBezTo>
                    <a:pt x="242" y="12627"/>
                    <a:pt x="0" y="13214"/>
                    <a:pt x="692" y="13577"/>
                  </a:cubicBezTo>
                  <a:cubicBezTo>
                    <a:pt x="1262" y="13888"/>
                    <a:pt x="1936" y="13992"/>
                    <a:pt x="2610" y="14182"/>
                  </a:cubicBezTo>
                  <a:cubicBezTo>
                    <a:pt x="3819" y="13854"/>
                    <a:pt x="4943" y="13249"/>
                    <a:pt x="5893" y="12436"/>
                  </a:cubicBezTo>
                  <a:cubicBezTo>
                    <a:pt x="7829" y="10743"/>
                    <a:pt x="10144" y="9447"/>
                    <a:pt x="12357" y="8496"/>
                  </a:cubicBezTo>
                  <a:cubicBezTo>
                    <a:pt x="14396" y="7615"/>
                    <a:pt x="15847" y="6042"/>
                    <a:pt x="17817" y="5213"/>
                  </a:cubicBezTo>
                  <a:cubicBezTo>
                    <a:pt x="18301" y="4988"/>
                    <a:pt x="18751" y="4452"/>
                    <a:pt x="18612" y="3848"/>
                  </a:cubicBezTo>
                  <a:cubicBezTo>
                    <a:pt x="18539" y="3538"/>
                    <a:pt x="18402" y="3442"/>
                    <a:pt x="18239" y="3442"/>
                  </a:cubicBezTo>
                  <a:cubicBezTo>
                    <a:pt x="18019" y="3442"/>
                    <a:pt x="17752" y="3615"/>
                    <a:pt x="17524" y="3675"/>
                  </a:cubicBezTo>
                  <a:cubicBezTo>
                    <a:pt x="17487" y="3682"/>
                    <a:pt x="17451" y="3686"/>
                    <a:pt x="17417" y="3686"/>
                  </a:cubicBezTo>
                  <a:cubicBezTo>
                    <a:pt x="17207" y="3686"/>
                    <a:pt x="17050" y="3554"/>
                    <a:pt x="17109" y="3346"/>
                  </a:cubicBezTo>
                  <a:cubicBezTo>
                    <a:pt x="17385" y="2431"/>
                    <a:pt x="16625" y="1791"/>
                    <a:pt x="16556" y="962"/>
                  </a:cubicBezTo>
                  <a:cubicBezTo>
                    <a:pt x="16526" y="461"/>
                    <a:pt x="16229" y="0"/>
                    <a:pt x="15666" y="0"/>
                  </a:cubicBezTo>
                  <a:close/>
                </a:path>
              </a:pathLst>
            </a:custGeom>
            <a:noFill/>
            <a:ln w="9525" cap="flat" cmpd="sng">
              <a:solidFill>
                <a:srgbClr val="A5B7C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024" name="Google Shape;3024;p104"/>
            <p:cNvSpPr/>
            <p:nvPr/>
          </p:nvSpPr>
          <p:spPr>
            <a:xfrm>
              <a:off x="6306100" y="2654825"/>
              <a:ext cx="232875" cy="385425"/>
            </a:xfrm>
            <a:custGeom>
              <a:avLst/>
              <a:gdLst/>
              <a:ahLst/>
              <a:cxnLst/>
              <a:rect l="l" t="t" r="r" b="b"/>
              <a:pathLst>
                <a:path w="9315" h="15417" extrusionOk="0">
                  <a:moveTo>
                    <a:pt x="6907" y="9941"/>
                  </a:moveTo>
                  <a:cubicBezTo>
                    <a:pt x="6738" y="10523"/>
                    <a:pt x="6645" y="11167"/>
                    <a:pt x="5910" y="11304"/>
                  </a:cubicBezTo>
                  <a:cubicBezTo>
                    <a:pt x="5905" y="11305"/>
                    <a:pt x="5899" y="11305"/>
                    <a:pt x="5892" y="11305"/>
                  </a:cubicBezTo>
                  <a:cubicBezTo>
                    <a:pt x="5767" y="11305"/>
                    <a:pt x="5547" y="11146"/>
                    <a:pt x="5547" y="11097"/>
                  </a:cubicBezTo>
                  <a:cubicBezTo>
                    <a:pt x="5616" y="10270"/>
                    <a:pt x="6304" y="10147"/>
                    <a:pt x="6907" y="9941"/>
                  </a:cubicBezTo>
                  <a:close/>
                  <a:moveTo>
                    <a:pt x="2345" y="1"/>
                  </a:moveTo>
                  <a:cubicBezTo>
                    <a:pt x="2049" y="1"/>
                    <a:pt x="1708" y="93"/>
                    <a:pt x="1419" y="93"/>
                  </a:cubicBezTo>
                  <a:cubicBezTo>
                    <a:pt x="1383" y="93"/>
                    <a:pt x="1348" y="92"/>
                    <a:pt x="1313" y="88"/>
                  </a:cubicBezTo>
                  <a:cubicBezTo>
                    <a:pt x="1306" y="88"/>
                    <a:pt x="1299" y="88"/>
                    <a:pt x="1292" y="88"/>
                  </a:cubicBezTo>
                  <a:cubicBezTo>
                    <a:pt x="885" y="88"/>
                    <a:pt x="504" y="561"/>
                    <a:pt x="639" y="883"/>
                  </a:cubicBezTo>
                  <a:cubicBezTo>
                    <a:pt x="1244" y="2283"/>
                    <a:pt x="0" y="3977"/>
                    <a:pt x="1348" y="5273"/>
                  </a:cubicBezTo>
                  <a:cubicBezTo>
                    <a:pt x="1538" y="5446"/>
                    <a:pt x="1383" y="5964"/>
                    <a:pt x="1538" y="6241"/>
                  </a:cubicBezTo>
                  <a:cubicBezTo>
                    <a:pt x="1851" y="6738"/>
                    <a:pt x="1941" y="7889"/>
                    <a:pt x="2501" y="7889"/>
                  </a:cubicBezTo>
                  <a:cubicBezTo>
                    <a:pt x="2623" y="7889"/>
                    <a:pt x="2766" y="7836"/>
                    <a:pt x="2938" y="7710"/>
                  </a:cubicBezTo>
                  <a:cubicBezTo>
                    <a:pt x="3345" y="7411"/>
                    <a:pt x="3664" y="7306"/>
                    <a:pt x="3951" y="7306"/>
                  </a:cubicBezTo>
                  <a:cubicBezTo>
                    <a:pt x="4345" y="7306"/>
                    <a:pt x="4678" y="7505"/>
                    <a:pt x="5098" y="7675"/>
                  </a:cubicBezTo>
                  <a:cubicBezTo>
                    <a:pt x="5375" y="7796"/>
                    <a:pt x="5651" y="7848"/>
                    <a:pt x="5668" y="8176"/>
                  </a:cubicBezTo>
                  <a:cubicBezTo>
                    <a:pt x="5668" y="8297"/>
                    <a:pt x="5547" y="8401"/>
                    <a:pt x="5478" y="8504"/>
                  </a:cubicBezTo>
                  <a:cubicBezTo>
                    <a:pt x="5288" y="8384"/>
                    <a:pt x="5098" y="8263"/>
                    <a:pt x="4908" y="8107"/>
                  </a:cubicBezTo>
                  <a:cubicBezTo>
                    <a:pt x="4670" y="7869"/>
                    <a:pt x="4349" y="7740"/>
                    <a:pt x="4020" y="7740"/>
                  </a:cubicBezTo>
                  <a:cubicBezTo>
                    <a:pt x="3895" y="7740"/>
                    <a:pt x="3770" y="7758"/>
                    <a:pt x="3646" y="7796"/>
                  </a:cubicBezTo>
                  <a:cubicBezTo>
                    <a:pt x="3059" y="7951"/>
                    <a:pt x="3284" y="8470"/>
                    <a:pt x="3249" y="8850"/>
                  </a:cubicBezTo>
                  <a:cubicBezTo>
                    <a:pt x="3180" y="10008"/>
                    <a:pt x="4701" y="11270"/>
                    <a:pt x="4580" y="11408"/>
                  </a:cubicBezTo>
                  <a:cubicBezTo>
                    <a:pt x="3042" y="13170"/>
                    <a:pt x="4251" y="13205"/>
                    <a:pt x="5599" y="13758"/>
                  </a:cubicBezTo>
                  <a:cubicBezTo>
                    <a:pt x="6014" y="13948"/>
                    <a:pt x="6429" y="15244"/>
                    <a:pt x="7379" y="15400"/>
                  </a:cubicBezTo>
                  <a:cubicBezTo>
                    <a:pt x="7454" y="15411"/>
                    <a:pt x="7523" y="15417"/>
                    <a:pt x="7586" y="15417"/>
                  </a:cubicBezTo>
                  <a:cubicBezTo>
                    <a:pt x="8462" y="15417"/>
                    <a:pt x="8316" y="14362"/>
                    <a:pt x="8606" y="13879"/>
                  </a:cubicBezTo>
                  <a:cubicBezTo>
                    <a:pt x="9315" y="12687"/>
                    <a:pt x="8554" y="11529"/>
                    <a:pt x="8105" y="10423"/>
                  </a:cubicBezTo>
                  <a:cubicBezTo>
                    <a:pt x="7967" y="10058"/>
                    <a:pt x="7709" y="9812"/>
                    <a:pt x="7353" y="9812"/>
                  </a:cubicBezTo>
                  <a:cubicBezTo>
                    <a:pt x="7222" y="9812"/>
                    <a:pt x="7078" y="9845"/>
                    <a:pt x="6922" y="9917"/>
                  </a:cubicBezTo>
                  <a:lnTo>
                    <a:pt x="6922" y="9917"/>
                  </a:lnTo>
                  <a:cubicBezTo>
                    <a:pt x="7290" y="9072"/>
                    <a:pt x="8114" y="7913"/>
                    <a:pt x="7103" y="7433"/>
                  </a:cubicBezTo>
                  <a:cubicBezTo>
                    <a:pt x="5789" y="6828"/>
                    <a:pt x="5530" y="5048"/>
                    <a:pt x="3854" y="4927"/>
                  </a:cubicBezTo>
                  <a:cubicBezTo>
                    <a:pt x="3335" y="4893"/>
                    <a:pt x="2886" y="4167"/>
                    <a:pt x="3318" y="3424"/>
                  </a:cubicBezTo>
                  <a:cubicBezTo>
                    <a:pt x="3975" y="2318"/>
                    <a:pt x="3353" y="1298"/>
                    <a:pt x="2955" y="348"/>
                  </a:cubicBezTo>
                  <a:cubicBezTo>
                    <a:pt x="2833" y="73"/>
                    <a:pt x="2607" y="1"/>
                    <a:pt x="2345" y="1"/>
                  </a:cubicBezTo>
                  <a:close/>
                </a:path>
              </a:pathLst>
            </a:custGeom>
            <a:noFill/>
            <a:ln w="9525" cap="flat" cmpd="sng">
              <a:solidFill>
                <a:srgbClr val="A5B7C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025" name="Google Shape;3025;p104"/>
            <p:cNvSpPr/>
            <p:nvPr/>
          </p:nvSpPr>
          <p:spPr>
            <a:xfrm>
              <a:off x="6139750" y="3178550"/>
              <a:ext cx="185375" cy="227425"/>
            </a:xfrm>
            <a:custGeom>
              <a:avLst/>
              <a:gdLst/>
              <a:ahLst/>
              <a:cxnLst/>
              <a:rect l="l" t="t" r="r" b="b"/>
              <a:pathLst>
                <a:path w="7415" h="9097" extrusionOk="0">
                  <a:moveTo>
                    <a:pt x="6576" y="0"/>
                  </a:moveTo>
                  <a:cubicBezTo>
                    <a:pt x="6440" y="0"/>
                    <a:pt x="6314" y="46"/>
                    <a:pt x="6222" y="154"/>
                  </a:cubicBezTo>
                  <a:cubicBezTo>
                    <a:pt x="5928" y="483"/>
                    <a:pt x="5611" y="592"/>
                    <a:pt x="5290" y="592"/>
                  </a:cubicBezTo>
                  <a:cubicBezTo>
                    <a:pt x="4988" y="592"/>
                    <a:pt x="4683" y="496"/>
                    <a:pt x="4390" y="396"/>
                  </a:cubicBezTo>
                  <a:cubicBezTo>
                    <a:pt x="3964" y="242"/>
                    <a:pt x="3597" y="173"/>
                    <a:pt x="3279" y="173"/>
                  </a:cubicBezTo>
                  <a:cubicBezTo>
                    <a:pt x="1986" y="173"/>
                    <a:pt x="1492" y="1318"/>
                    <a:pt x="1020" y="2608"/>
                  </a:cubicBezTo>
                  <a:cubicBezTo>
                    <a:pt x="364" y="4353"/>
                    <a:pt x="1" y="6064"/>
                    <a:pt x="796" y="7360"/>
                  </a:cubicBezTo>
                  <a:cubicBezTo>
                    <a:pt x="847" y="8362"/>
                    <a:pt x="761" y="8984"/>
                    <a:pt x="1470" y="9088"/>
                  </a:cubicBezTo>
                  <a:cubicBezTo>
                    <a:pt x="1519" y="9094"/>
                    <a:pt x="1568" y="9097"/>
                    <a:pt x="1614" y="9097"/>
                  </a:cubicBezTo>
                  <a:cubicBezTo>
                    <a:pt x="2117" y="9097"/>
                    <a:pt x="2435" y="8762"/>
                    <a:pt x="2593" y="8224"/>
                  </a:cubicBezTo>
                  <a:cubicBezTo>
                    <a:pt x="2634" y="8075"/>
                    <a:pt x="2578" y="7743"/>
                    <a:pt x="2746" y="7743"/>
                  </a:cubicBezTo>
                  <a:cubicBezTo>
                    <a:pt x="2792" y="7743"/>
                    <a:pt x="2854" y="7768"/>
                    <a:pt x="2938" y="7827"/>
                  </a:cubicBezTo>
                  <a:cubicBezTo>
                    <a:pt x="3173" y="7995"/>
                    <a:pt x="3380" y="8062"/>
                    <a:pt x="3567" y="8062"/>
                  </a:cubicBezTo>
                  <a:cubicBezTo>
                    <a:pt x="4013" y="8062"/>
                    <a:pt x="4340" y="7677"/>
                    <a:pt x="4632" y="7360"/>
                  </a:cubicBezTo>
                  <a:cubicBezTo>
                    <a:pt x="5116" y="6842"/>
                    <a:pt x="4563" y="6358"/>
                    <a:pt x="4373" y="5839"/>
                  </a:cubicBezTo>
                  <a:cubicBezTo>
                    <a:pt x="4183" y="5321"/>
                    <a:pt x="3491" y="4750"/>
                    <a:pt x="4442" y="4249"/>
                  </a:cubicBezTo>
                  <a:cubicBezTo>
                    <a:pt x="4943" y="3990"/>
                    <a:pt x="5790" y="3852"/>
                    <a:pt x="5427" y="3057"/>
                  </a:cubicBezTo>
                  <a:cubicBezTo>
                    <a:pt x="5274" y="2713"/>
                    <a:pt x="5030" y="2616"/>
                    <a:pt x="4752" y="2616"/>
                  </a:cubicBezTo>
                  <a:cubicBezTo>
                    <a:pt x="4400" y="2616"/>
                    <a:pt x="3994" y="2771"/>
                    <a:pt x="3647" y="2780"/>
                  </a:cubicBezTo>
                  <a:cubicBezTo>
                    <a:pt x="3388" y="2815"/>
                    <a:pt x="3129" y="2850"/>
                    <a:pt x="2887" y="2919"/>
                  </a:cubicBezTo>
                  <a:cubicBezTo>
                    <a:pt x="2887" y="2746"/>
                    <a:pt x="2800" y="2487"/>
                    <a:pt x="2887" y="2435"/>
                  </a:cubicBezTo>
                  <a:cubicBezTo>
                    <a:pt x="3111" y="2262"/>
                    <a:pt x="3405" y="2037"/>
                    <a:pt x="3664" y="2037"/>
                  </a:cubicBezTo>
                  <a:cubicBezTo>
                    <a:pt x="4321" y="2055"/>
                    <a:pt x="4995" y="2262"/>
                    <a:pt x="5634" y="2262"/>
                  </a:cubicBezTo>
                  <a:cubicBezTo>
                    <a:pt x="6481" y="2262"/>
                    <a:pt x="6861" y="1553"/>
                    <a:pt x="7242" y="931"/>
                  </a:cubicBezTo>
                  <a:cubicBezTo>
                    <a:pt x="7414" y="689"/>
                    <a:pt x="7328" y="344"/>
                    <a:pt x="7086" y="188"/>
                  </a:cubicBezTo>
                  <a:cubicBezTo>
                    <a:pt x="6932" y="73"/>
                    <a:pt x="6746" y="0"/>
                    <a:pt x="6576" y="0"/>
                  </a:cubicBezTo>
                  <a:close/>
                </a:path>
              </a:pathLst>
            </a:custGeom>
            <a:noFill/>
            <a:ln w="9525" cap="flat" cmpd="sng">
              <a:solidFill>
                <a:srgbClr val="A5B7C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026" name="Google Shape;3026;p104"/>
            <p:cNvSpPr/>
            <p:nvPr/>
          </p:nvSpPr>
          <p:spPr>
            <a:xfrm>
              <a:off x="4320000" y="1079225"/>
              <a:ext cx="260125" cy="163000"/>
            </a:xfrm>
            <a:custGeom>
              <a:avLst/>
              <a:gdLst/>
              <a:ahLst/>
              <a:cxnLst/>
              <a:rect l="l" t="t" r="r" b="b"/>
              <a:pathLst>
                <a:path w="10405" h="6520" extrusionOk="0">
                  <a:moveTo>
                    <a:pt x="8970" y="1"/>
                  </a:moveTo>
                  <a:cubicBezTo>
                    <a:pt x="6620" y="778"/>
                    <a:pt x="3786" y="294"/>
                    <a:pt x="1764" y="2576"/>
                  </a:cubicBezTo>
                  <a:cubicBezTo>
                    <a:pt x="502" y="3993"/>
                    <a:pt x="1" y="5410"/>
                    <a:pt x="1038" y="5876"/>
                  </a:cubicBezTo>
                  <a:cubicBezTo>
                    <a:pt x="2057" y="6274"/>
                    <a:pt x="3146" y="6499"/>
                    <a:pt x="4252" y="6516"/>
                  </a:cubicBezTo>
                  <a:cubicBezTo>
                    <a:pt x="4303" y="6518"/>
                    <a:pt x="4355" y="6520"/>
                    <a:pt x="4406" y="6520"/>
                  </a:cubicBezTo>
                  <a:cubicBezTo>
                    <a:pt x="4717" y="6520"/>
                    <a:pt x="5012" y="6455"/>
                    <a:pt x="5116" y="6084"/>
                  </a:cubicBezTo>
                  <a:cubicBezTo>
                    <a:pt x="5237" y="5652"/>
                    <a:pt x="4892" y="5479"/>
                    <a:pt x="4563" y="5323"/>
                  </a:cubicBezTo>
                  <a:cubicBezTo>
                    <a:pt x="3094" y="4598"/>
                    <a:pt x="3630" y="3924"/>
                    <a:pt x="4598" y="3198"/>
                  </a:cubicBezTo>
                  <a:cubicBezTo>
                    <a:pt x="5980" y="2144"/>
                    <a:pt x="7726" y="2126"/>
                    <a:pt x="9264" y="1487"/>
                  </a:cubicBezTo>
                  <a:cubicBezTo>
                    <a:pt x="9696" y="1331"/>
                    <a:pt x="10404" y="1556"/>
                    <a:pt x="10352" y="796"/>
                  </a:cubicBezTo>
                  <a:cubicBezTo>
                    <a:pt x="10301" y="35"/>
                    <a:pt x="9627" y="70"/>
                    <a:pt x="8970" y="1"/>
                  </a:cubicBezTo>
                  <a:close/>
                </a:path>
              </a:pathLst>
            </a:custGeom>
            <a:noFill/>
            <a:ln w="9525" cap="flat" cmpd="sng">
              <a:solidFill>
                <a:srgbClr val="A5B7C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027" name="Google Shape;3027;p104"/>
            <p:cNvSpPr/>
            <p:nvPr/>
          </p:nvSpPr>
          <p:spPr>
            <a:xfrm>
              <a:off x="3605850" y="1017225"/>
              <a:ext cx="246275" cy="88775"/>
            </a:xfrm>
            <a:custGeom>
              <a:avLst/>
              <a:gdLst/>
              <a:ahLst/>
              <a:cxnLst/>
              <a:rect l="l" t="t" r="r" b="b"/>
              <a:pathLst>
                <a:path w="9851" h="3551" extrusionOk="0">
                  <a:moveTo>
                    <a:pt x="3896" y="1"/>
                  </a:moveTo>
                  <a:cubicBezTo>
                    <a:pt x="2951" y="1"/>
                    <a:pt x="1998" y="113"/>
                    <a:pt x="1055" y="130"/>
                  </a:cubicBezTo>
                  <a:cubicBezTo>
                    <a:pt x="674" y="130"/>
                    <a:pt x="260" y="217"/>
                    <a:pt x="121" y="649"/>
                  </a:cubicBezTo>
                  <a:cubicBezTo>
                    <a:pt x="0" y="1046"/>
                    <a:pt x="173" y="1461"/>
                    <a:pt x="536" y="1651"/>
                  </a:cubicBezTo>
                  <a:cubicBezTo>
                    <a:pt x="1487" y="2256"/>
                    <a:pt x="2489" y="2792"/>
                    <a:pt x="3474" y="3345"/>
                  </a:cubicBezTo>
                  <a:cubicBezTo>
                    <a:pt x="3715" y="3472"/>
                    <a:pt x="3939" y="3551"/>
                    <a:pt x="4149" y="3551"/>
                  </a:cubicBezTo>
                  <a:cubicBezTo>
                    <a:pt x="4450" y="3551"/>
                    <a:pt x="4723" y="3389"/>
                    <a:pt x="4978" y="2982"/>
                  </a:cubicBezTo>
                  <a:cubicBezTo>
                    <a:pt x="5203" y="2650"/>
                    <a:pt x="5511" y="2104"/>
                    <a:pt x="5931" y="2104"/>
                  </a:cubicBezTo>
                  <a:cubicBezTo>
                    <a:pt x="6058" y="2104"/>
                    <a:pt x="6195" y="2153"/>
                    <a:pt x="6343" y="2273"/>
                  </a:cubicBezTo>
                  <a:cubicBezTo>
                    <a:pt x="6982" y="2809"/>
                    <a:pt x="7673" y="2826"/>
                    <a:pt x="8365" y="2895"/>
                  </a:cubicBezTo>
                  <a:cubicBezTo>
                    <a:pt x="8588" y="2920"/>
                    <a:pt x="8869" y="3004"/>
                    <a:pt x="9118" y="3004"/>
                  </a:cubicBezTo>
                  <a:cubicBezTo>
                    <a:pt x="9390" y="3004"/>
                    <a:pt x="9623" y="2904"/>
                    <a:pt x="9695" y="2515"/>
                  </a:cubicBezTo>
                  <a:cubicBezTo>
                    <a:pt x="9851" y="1789"/>
                    <a:pt x="9142" y="1668"/>
                    <a:pt x="8641" y="1478"/>
                  </a:cubicBezTo>
                  <a:lnTo>
                    <a:pt x="6585" y="493"/>
                  </a:lnTo>
                  <a:cubicBezTo>
                    <a:pt x="5704" y="104"/>
                    <a:pt x="4803" y="1"/>
                    <a:pt x="3896" y="1"/>
                  </a:cubicBezTo>
                  <a:close/>
                </a:path>
              </a:pathLst>
            </a:custGeom>
            <a:noFill/>
            <a:ln w="9525" cap="flat" cmpd="sng">
              <a:solidFill>
                <a:srgbClr val="A5B7C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028" name="Google Shape;3028;p104"/>
            <p:cNvSpPr/>
            <p:nvPr/>
          </p:nvSpPr>
          <p:spPr>
            <a:xfrm>
              <a:off x="3161275" y="1612775"/>
              <a:ext cx="115825" cy="115825"/>
            </a:xfrm>
            <a:custGeom>
              <a:avLst/>
              <a:gdLst/>
              <a:ahLst/>
              <a:cxnLst/>
              <a:rect l="l" t="t" r="r" b="b"/>
              <a:pathLst>
                <a:path w="4633" h="4633" extrusionOk="0">
                  <a:moveTo>
                    <a:pt x="2966" y="1"/>
                  </a:moveTo>
                  <a:cubicBezTo>
                    <a:pt x="2951" y="1"/>
                    <a:pt x="2936" y="1"/>
                    <a:pt x="2921" y="1"/>
                  </a:cubicBezTo>
                  <a:cubicBezTo>
                    <a:pt x="1729" y="36"/>
                    <a:pt x="1" y="2421"/>
                    <a:pt x="139" y="3803"/>
                  </a:cubicBezTo>
                  <a:cubicBezTo>
                    <a:pt x="139" y="4252"/>
                    <a:pt x="502" y="4615"/>
                    <a:pt x="951" y="4633"/>
                  </a:cubicBezTo>
                  <a:cubicBezTo>
                    <a:pt x="2956" y="4581"/>
                    <a:pt x="4632" y="3026"/>
                    <a:pt x="4529" y="1297"/>
                  </a:cubicBezTo>
                  <a:cubicBezTo>
                    <a:pt x="4478" y="482"/>
                    <a:pt x="3809" y="1"/>
                    <a:pt x="2966" y="1"/>
                  </a:cubicBezTo>
                  <a:close/>
                </a:path>
              </a:pathLst>
            </a:custGeom>
            <a:noFill/>
            <a:ln w="9525" cap="flat" cmpd="sng">
              <a:solidFill>
                <a:srgbClr val="A5B7C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029" name="Google Shape;3029;p104"/>
            <p:cNvSpPr/>
            <p:nvPr/>
          </p:nvSpPr>
          <p:spPr>
            <a:xfrm>
              <a:off x="6082850" y="3458350"/>
              <a:ext cx="215350" cy="82375"/>
            </a:xfrm>
            <a:custGeom>
              <a:avLst/>
              <a:gdLst/>
              <a:ahLst/>
              <a:cxnLst/>
              <a:rect l="l" t="t" r="r" b="b"/>
              <a:pathLst>
                <a:path w="8614" h="3295" extrusionOk="0">
                  <a:moveTo>
                    <a:pt x="8412" y="834"/>
                  </a:moveTo>
                  <a:lnTo>
                    <a:pt x="8412" y="834"/>
                  </a:lnTo>
                  <a:cubicBezTo>
                    <a:pt x="8408" y="835"/>
                    <a:pt x="8404" y="836"/>
                    <a:pt x="8401" y="837"/>
                  </a:cubicBezTo>
                  <a:lnTo>
                    <a:pt x="8401" y="837"/>
                  </a:lnTo>
                  <a:cubicBezTo>
                    <a:pt x="8399" y="842"/>
                    <a:pt x="8396" y="846"/>
                    <a:pt x="8394" y="851"/>
                  </a:cubicBezTo>
                  <a:lnTo>
                    <a:pt x="8412" y="834"/>
                  </a:lnTo>
                  <a:close/>
                  <a:moveTo>
                    <a:pt x="6441" y="1"/>
                  </a:moveTo>
                  <a:cubicBezTo>
                    <a:pt x="5426" y="1"/>
                    <a:pt x="4424" y="103"/>
                    <a:pt x="3504" y="557"/>
                  </a:cubicBezTo>
                  <a:cubicBezTo>
                    <a:pt x="3268" y="683"/>
                    <a:pt x="3156" y="756"/>
                    <a:pt x="3064" y="756"/>
                  </a:cubicBezTo>
                  <a:cubicBezTo>
                    <a:pt x="2968" y="756"/>
                    <a:pt x="2895" y="675"/>
                    <a:pt x="2726" y="488"/>
                  </a:cubicBezTo>
                  <a:cubicBezTo>
                    <a:pt x="2440" y="160"/>
                    <a:pt x="2158" y="41"/>
                    <a:pt x="1882" y="41"/>
                  </a:cubicBezTo>
                  <a:cubicBezTo>
                    <a:pt x="1373" y="41"/>
                    <a:pt x="881" y="443"/>
                    <a:pt x="410" y="678"/>
                  </a:cubicBezTo>
                  <a:cubicBezTo>
                    <a:pt x="0" y="866"/>
                    <a:pt x="164" y="1612"/>
                    <a:pt x="452" y="1612"/>
                  </a:cubicBezTo>
                  <a:cubicBezTo>
                    <a:pt x="455" y="1612"/>
                    <a:pt x="459" y="1612"/>
                    <a:pt x="462" y="1612"/>
                  </a:cubicBezTo>
                  <a:cubicBezTo>
                    <a:pt x="518" y="1607"/>
                    <a:pt x="572" y="1605"/>
                    <a:pt x="625" y="1605"/>
                  </a:cubicBezTo>
                  <a:cubicBezTo>
                    <a:pt x="1895" y="1605"/>
                    <a:pt x="2508" y="2753"/>
                    <a:pt x="3504" y="3184"/>
                  </a:cubicBezTo>
                  <a:cubicBezTo>
                    <a:pt x="3665" y="3259"/>
                    <a:pt x="3818" y="3295"/>
                    <a:pt x="3955" y="3295"/>
                  </a:cubicBezTo>
                  <a:cubicBezTo>
                    <a:pt x="4389" y="3295"/>
                    <a:pt x="4667" y="2934"/>
                    <a:pt x="4575" y="2303"/>
                  </a:cubicBezTo>
                  <a:cubicBezTo>
                    <a:pt x="4523" y="1905"/>
                    <a:pt x="4541" y="1784"/>
                    <a:pt x="4973" y="1698"/>
                  </a:cubicBezTo>
                  <a:cubicBezTo>
                    <a:pt x="6127" y="1457"/>
                    <a:pt x="7264" y="1130"/>
                    <a:pt x="8401" y="837"/>
                  </a:cubicBezTo>
                  <a:lnTo>
                    <a:pt x="8401" y="837"/>
                  </a:lnTo>
                  <a:cubicBezTo>
                    <a:pt x="8535" y="525"/>
                    <a:pt x="8613" y="56"/>
                    <a:pt x="8256" y="56"/>
                  </a:cubicBezTo>
                  <a:cubicBezTo>
                    <a:pt x="7656" y="37"/>
                    <a:pt x="7046" y="1"/>
                    <a:pt x="6441" y="1"/>
                  </a:cubicBezTo>
                  <a:close/>
                </a:path>
              </a:pathLst>
            </a:custGeom>
            <a:noFill/>
            <a:ln w="9525" cap="flat" cmpd="sng">
              <a:solidFill>
                <a:srgbClr val="A5B7C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030" name="Google Shape;3030;p104"/>
            <p:cNvSpPr/>
            <p:nvPr/>
          </p:nvSpPr>
          <p:spPr>
            <a:xfrm>
              <a:off x="5726825" y="1103850"/>
              <a:ext cx="262175" cy="54825"/>
            </a:xfrm>
            <a:custGeom>
              <a:avLst/>
              <a:gdLst/>
              <a:ahLst/>
              <a:cxnLst/>
              <a:rect l="l" t="t" r="r" b="b"/>
              <a:pathLst>
                <a:path w="10487" h="2193" extrusionOk="0">
                  <a:moveTo>
                    <a:pt x="2675" y="1"/>
                  </a:moveTo>
                  <a:cubicBezTo>
                    <a:pt x="2260" y="122"/>
                    <a:pt x="1984" y="208"/>
                    <a:pt x="1707" y="260"/>
                  </a:cubicBezTo>
                  <a:cubicBezTo>
                    <a:pt x="1625" y="276"/>
                    <a:pt x="1533" y="281"/>
                    <a:pt x="1436" y="281"/>
                  </a:cubicBezTo>
                  <a:cubicBezTo>
                    <a:pt x="1238" y="281"/>
                    <a:pt x="1018" y="259"/>
                    <a:pt x="814" y="259"/>
                  </a:cubicBezTo>
                  <a:cubicBezTo>
                    <a:pt x="370" y="259"/>
                    <a:pt x="1" y="367"/>
                    <a:pt x="83" y="1055"/>
                  </a:cubicBezTo>
                  <a:cubicBezTo>
                    <a:pt x="160" y="1671"/>
                    <a:pt x="629" y="1783"/>
                    <a:pt x="1147" y="1783"/>
                  </a:cubicBezTo>
                  <a:cubicBezTo>
                    <a:pt x="1443" y="1783"/>
                    <a:pt x="1754" y="1746"/>
                    <a:pt x="2018" y="1746"/>
                  </a:cubicBezTo>
                  <a:cubicBezTo>
                    <a:pt x="3176" y="1729"/>
                    <a:pt x="4334" y="1625"/>
                    <a:pt x="5488" y="1625"/>
                  </a:cubicBezTo>
                  <a:cubicBezTo>
                    <a:pt x="6641" y="1625"/>
                    <a:pt x="7790" y="1729"/>
                    <a:pt x="8931" y="2126"/>
                  </a:cubicBezTo>
                  <a:cubicBezTo>
                    <a:pt x="9064" y="2171"/>
                    <a:pt x="9201" y="2192"/>
                    <a:pt x="9336" y="2192"/>
                  </a:cubicBezTo>
                  <a:cubicBezTo>
                    <a:pt x="9780" y="2192"/>
                    <a:pt x="10194" y="1955"/>
                    <a:pt x="10314" y="1504"/>
                  </a:cubicBezTo>
                  <a:cubicBezTo>
                    <a:pt x="10486" y="813"/>
                    <a:pt x="9761" y="744"/>
                    <a:pt x="9294" y="606"/>
                  </a:cubicBezTo>
                  <a:cubicBezTo>
                    <a:pt x="8746" y="426"/>
                    <a:pt x="8189" y="370"/>
                    <a:pt x="7630" y="370"/>
                  </a:cubicBezTo>
                  <a:cubicBezTo>
                    <a:pt x="6715" y="370"/>
                    <a:pt x="5795" y="519"/>
                    <a:pt x="4900" y="519"/>
                  </a:cubicBezTo>
                  <a:cubicBezTo>
                    <a:pt x="4133" y="519"/>
                    <a:pt x="3384" y="409"/>
                    <a:pt x="2675" y="1"/>
                  </a:cubicBezTo>
                  <a:close/>
                </a:path>
              </a:pathLst>
            </a:custGeom>
            <a:noFill/>
            <a:ln w="9525" cap="flat" cmpd="sng">
              <a:solidFill>
                <a:srgbClr val="A5B7C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031" name="Google Shape;3031;p104"/>
            <p:cNvSpPr/>
            <p:nvPr/>
          </p:nvSpPr>
          <p:spPr>
            <a:xfrm>
              <a:off x="6497925" y="4391525"/>
              <a:ext cx="125725" cy="97375"/>
            </a:xfrm>
            <a:custGeom>
              <a:avLst/>
              <a:gdLst/>
              <a:ahLst/>
              <a:cxnLst/>
              <a:rect l="l" t="t" r="r" b="b"/>
              <a:pathLst>
                <a:path w="5029" h="3895" extrusionOk="0">
                  <a:moveTo>
                    <a:pt x="4062" y="0"/>
                  </a:moveTo>
                  <a:cubicBezTo>
                    <a:pt x="3557" y="0"/>
                    <a:pt x="2937" y="491"/>
                    <a:pt x="2445" y="491"/>
                  </a:cubicBezTo>
                  <a:cubicBezTo>
                    <a:pt x="2234" y="491"/>
                    <a:pt x="2046" y="401"/>
                    <a:pt x="1901" y="144"/>
                  </a:cubicBezTo>
                  <a:cubicBezTo>
                    <a:pt x="0" y="403"/>
                    <a:pt x="570" y="1975"/>
                    <a:pt x="225" y="2960"/>
                  </a:cubicBezTo>
                  <a:cubicBezTo>
                    <a:pt x="38" y="3485"/>
                    <a:pt x="566" y="3894"/>
                    <a:pt x="1172" y="3894"/>
                  </a:cubicBezTo>
                  <a:cubicBezTo>
                    <a:pt x="1185" y="3894"/>
                    <a:pt x="1197" y="3894"/>
                    <a:pt x="1210" y="3894"/>
                  </a:cubicBezTo>
                  <a:cubicBezTo>
                    <a:pt x="2298" y="3876"/>
                    <a:pt x="5029" y="1630"/>
                    <a:pt x="4804" y="783"/>
                  </a:cubicBezTo>
                  <a:cubicBezTo>
                    <a:pt x="4638" y="185"/>
                    <a:pt x="4372" y="0"/>
                    <a:pt x="4062" y="0"/>
                  </a:cubicBezTo>
                  <a:close/>
                </a:path>
              </a:pathLst>
            </a:custGeom>
            <a:noFill/>
            <a:ln w="9525" cap="flat" cmpd="sng">
              <a:solidFill>
                <a:srgbClr val="A5B7C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032" name="Google Shape;3032;p104"/>
            <p:cNvSpPr/>
            <p:nvPr/>
          </p:nvSpPr>
          <p:spPr>
            <a:xfrm>
              <a:off x="5334875" y="2906300"/>
              <a:ext cx="82100" cy="128050"/>
            </a:xfrm>
            <a:custGeom>
              <a:avLst/>
              <a:gdLst/>
              <a:ahLst/>
              <a:cxnLst/>
              <a:rect l="l" t="t" r="r" b="b"/>
              <a:pathLst>
                <a:path w="3284" h="5122" extrusionOk="0">
                  <a:moveTo>
                    <a:pt x="519" y="1"/>
                  </a:moveTo>
                  <a:lnTo>
                    <a:pt x="380" y="139"/>
                  </a:lnTo>
                  <a:cubicBezTo>
                    <a:pt x="104" y="1452"/>
                    <a:pt x="0" y="2766"/>
                    <a:pt x="380" y="4062"/>
                  </a:cubicBezTo>
                  <a:cubicBezTo>
                    <a:pt x="534" y="4660"/>
                    <a:pt x="796" y="5122"/>
                    <a:pt x="1420" y="5122"/>
                  </a:cubicBezTo>
                  <a:cubicBezTo>
                    <a:pt x="1500" y="5122"/>
                    <a:pt x="1585" y="5114"/>
                    <a:pt x="1676" y="5099"/>
                  </a:cubicBezTo>
                  <a:cubicBezTo>
                    <a:pt x="2471" y="4978"/>
                    <a:pt x="3284" y="4408"/>
                    <a:pt x="3111" y="3734"/>
                  </a:cubicBezTo>
                  <a:cubicBezTo>
                    <a:pt x="2748" y="2213"/>
                    <a:pt x="2108" y="744"/>
                    <a:pt x="519" y="1"/>
                  </a:cubicBezTo>
                  <a:close/>
                </a:path>
              </a:pathLst>
            </a:custGeom>
            <a:noFill/>
            <a:ln w="9525" cap="flat" cmpd="sng">
              <a:solidFill>
                <a:srgbClr val="A5B7C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033" name="Google Shape;3033;p104"/>
            <p:cNvSpPr/>
            <p:nvPr/>
          </p:nvSpPr>
          <p:spPr>
            <a:xfrm>
              <a:off x="4869125" y="997550"/>
              <a:ext cx="160750" cy="66150"/>
            </a:xfrm>
            <a:custGeom>
              <a:avLst/>
              <a:gdLst/>
              <a:ahLst/>
              <a:cxnLst/>
              <a:rect l="l" t="t" r="r" b="b"/>
              <a:pathLst>
                <a:path w="6430" h="2646" extrusionOk="0">
                  <a:moveTo>
                    <a:pt x="1040" y="1"/>
                  </a:moveTo>
                  <a:cubicBezTo>
                    <a:pt x="589" y="1"/>
                    <a:pt x="239" y="358"/>
                    <a:pt x="104" y="814"/>
                  </a:cubicBezTo>
                  <a:cubicBezTo>
                    <a:pt x="1" y="1108"/>
                    <a:pt x="191" y="1419"/>
                    <a:pt x="502" y="1470"/>
                  </a:cubicBezTo>
                  <a:cubicBezTo>
                    <a:pt x="1971" y="1885"/>
                    <a:pt x="3440" y="2283"/>
                    <a:pt x="4736" y="2646"/>
                  </a:cubicBezTo>
                  <a:cubicBezTo>
                    <a:pt x="5427" y="2611"/>
                    <a:pt x="5928" y="2611"/>
                    <a:pt x="6239" y="2127"/>
                  </a:cubicBezTo>
                  <a:cubicBezTo>
                    <a:pt x="6429" y="1851"/>
                    <a:pt x="6308" y="1470"/>
                    <a:pt x="6066" y="1419"/>
                  </a:cubicBezTo>
                  <a:cubicBezTo>
                    <a:pt x="4373" y="1021"/>
                    <a:pt x="2852" y="36"/>
                    <a:pt x="1072" y="2"/>
                  </a:cubicBezTo>
                  <a:cubicBezTo>
                    <a:pt x="1061" y="1"/>
                    <a:pt x="1051" y="1"/>
                    <a:pt x="1040" y="1"/>
                  </a:cubicBezTo>
                  <a:close/>
                </a:path>
              </a:pathLst>
            </a:custGeom>
            <a:noFill/>
            <a:ln w="9525" cap="flat" cmpd="sng">
              <a:solidFill>
                <a:srgbClr val="A5B7C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034" name="Google Shape;3034;p104"/>
            <p:cNvSpPr/>
            <p:nvPr/>
          </p:nvSpPr>
          <p:spPr>
            <a:xfrm>
              <a:off x="3763550" y="998475"/>
              <a:ext cx="117975" cy="55725"/>
            </a:xfrm>
            <a:custGeom>
              <a:avLst/>
              <a:gdLst/>
              <a:ahLst/>
              <a:cxnLst/>
              <a:rect l="l" t="t" r="r" b="b"/>
              <a:pathLst>
                <a:path w="4719" h="2229" extrusionOk="0">
                  <a:moveTo>
                    <a:pt x="747" y="0"/>
                  </a:moveTo>
                  <a:cubicBezTo>
                    <a:pt x="407" y="0"/>
                    <a:pt x="65" y="161"/>
                    <a:pt x="18" y="690"/>
                  </a:cubicBezTo>
                  <a:cubicBezTo>
                    <a:pt x="0" y="863"/>
                    <a:pt x="190" y="1053"/>
                    <a:pt x="277" y="1243"/>
                  </a:cubicBezTo>
                  <a:lnTo>
                    <a:pt x="2333" y="2228"/>
                  </a:lnTo>
                  <a:cubicBezTo>
                    <a:pt x="2437" y="2220"/>
                    <a:pt x="2541" y="2220"/>
                    <a:pt x="2644" y="2220"/>
                  </a:cubicBezTo>
                  <a:cubicBezTo>
                    <a:pt x="2748" y="2220"/>
                    <a:pt x="2852" y="2220"/>
                    <a:pt x="2955" y="2211"/>
                  </a:cubicBezTo>
                  <a:cubicBezTo>
                    <a:pt x="3647" y="2142"/>
                    <a:pt x="4718" y="2090"/>
                    <a:pt x="4511" y="1261"/>
                  </a:cubicBezTo>
                  <a:cubicBezTo>
                    <a:pt x="4255" y="308"/>
                    <a:pt x="3582" y="187"/>
                    <a:pt x="2842" y="187"/>
                  </a:cubicBezTo>
                  <a:cubicBezTo>
                    <a:pt x="2589" y="187"/>
                    <a:pt x="2328" y="201"/>
                    <a:pt x="2074" y="201"/>
                  </a:cubicBezTo>
                  <a:cubicBezTo>
                    <a:pt x="1762" y="201"/>
                    <a:pt x="1460" y="180"/>
                    <a:pt x="1193" y="85"/>
                  </a:cubicBezTo>
                  <a:cubicBezTo>
                    <a:pt x="1066" y="36"/>
                    <a:pt x="907" y="0"/>
                    <a:pt x="747" y="0"/>
                  </a:cubicBezTo>
                  <a:close/>
                </a:path>
              </a:pathLst>
            </a:custGeom>
            <a:noFill/>
            <a:ln w="9525" cap="flat" cmpd="sng">
              <a:solidFill>
                <a:srgbClr val="A5B7C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035" name="Google Shape;3035;p104"/>
            <p:cNvSpPr/>
            <p:nvPr/>
          </p:nvSpPr>
          <p:spPr>
            <a:xfrm>
              <a:off x="6244750" y="3463175"/>
              <a:ext cx="127900" cy="76650"/>
            </a:xfrm>
            <a:custGeom>
              <a:avLst/>
              <a:gdLst/>
              <a:ahLst/>
              <a:cxnLst/>
              <a:rect l="l" t="t" r="r" b="b"/>
              <a:pathLst>
                <a:path w="5116" h="3066" extrusionOk="0">
                  <a:moveTo>
                    <a:pt x="4184" y="1"/>
                  </a:moveTo>
                  <a:cubicBezTo>
                    <a:pt x="4093" y="1"/>
                    <a:pt x="4000" y="13"/>
                    <a:pt x="3906" y="36"/>
                  </a:cubicBezTo>
                  <a:cubicBezTo>
                    <a:pt x="3232" y="209"/>
                    <a:pt x="2575" y="416"/>
                    <a:pt x="1918" y="641"/>
                  </a:cubicBezTo>
                  <a:lnTo>
                    <a:pt x="1936" y="641"/>
                  </a:lnTo>
                  <a:cubicBezTo>
                    <a:pt x="1659" y="848"/>
                    <a:pt x="1383" y="1038"/>
                    <a:pt x="1089" y="1194"/>
                  </a:cubicBezTo>
                  <a:cubicBezTo>
                    <a:pt x="432" y="1505"/>
                    <a:pt x="0" y="2093"/>
                    <a:pt x="311" y="2680"/>
                  </a:cubicBezTo>
                  <a:cubicBezTo>
                    <a:pt x="460" y="2964"/>
                    <a:pt x="650" y="3065"/>
                    <a:pt x="856" y="3065"/>
                  </a:cubicBezTo>
                  <a:cubicBezTo>
                    <a:pt x="1178" y="3065"/>
                    <a:pt x="1537" y="2818"/>
                    <a:pt x="1832" y="2628"/>
                  </a:cubicBezTo>
                  <a:cubicBezTo>
                    <a:pt x="2558" y="2093"/>
                    <a:pt x="3370" y="1695"/>
                    <a:pt x="4234" y="1436"/>
                  </a:cubicBezTo>
                  <a:cubicBezTo>
                    <a:pt x="4631" y="1332"/>
                    <a:pt x="5115" y="1108"/>
                    <a:pt x="4994" y="606"/>
                  </a:cubicBezTo>
                  <a:cubicBezTo>
                    <a:pt x="4883" y="203"/>
                    <a:pt x="4559" y="1"/>
                    <a:pt x="4184" y="1"/>
                  </a:cubicBezTo>
                  <a:close/>
                </a:path>
              </a:pathLst>
            </a:custGeom>
            <a:noFill/>
            <a:ln w="9525" cap="flat" cmpd="sng">
              <a:solidFill>
                <a:srgbClr val="A5B7C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036" name="Google Shape;3036;p104"/>
            <p:cNvSpPr/>
            <p:nvPr/>
          </p:nvSpPr>
          <p:spPr>
            <a:xfrm>
              <a:off x="6286725" y="2464325"/>
              <a:ext cx="67775" cy="93850"/>
            </a:xfrm>
            <a:custGeom>
              <a:avLst/>
              <a:gdLst/>
              <a:ahLst/>
              <a:cxnLst/>
              <a:rect l="l" t="t" r="r" b="b"/>
              <a:pathLst>
                <a:path w="2711" h="3754" extrusionOk="0">
                  <a:moveTo>
                    <a:pt x="1532" y="0"/>
                  </a:moveTo>
                  <a:cubicBezTo>
                    <a:pt x="1516" y="0"/>
                    <a:pt x="1500" y="0"/>
                    <a:pt x="1484" y="1"/>
                  </a:cubicBezTo>
                  <a:cubicBezTo>
                    <a:pt x="187" y="53"/>
                    <a:pt x="239" y="1332"/>
                    <a:pt x="101" y="2265"/>
                  </a:cubicBezTo>
                  <a:cubicBezTo>
                    <a:pt x="1" y="3066"/>
                    <a:pt x="465" y="3754"/>
                    <a:pt x="1243" y="3754"/>
                  </a:cubicBezTo>
                  <a:cubicBezTo>
                    <a:pt x="1271" y="3754"/>
                    <a:pt x="1299" y="3753"/>
                    <a:pt x="1328" y="3751"/>
                  </a:cubicBezTo>
                  <a:cubicBezTo>
                    <a:pt x="2711" y="3682"/>
                    <a:pt x="1967" y="2403"/>
                    <a:pt x="2313" y="1815"/>
                  </a:cubicBezTo>
                  <a:cubicBezTo>
                    <a:pt x="2228" y="1050"/>
                    <a:pt x="2528" y="0"/>
                    <a:pt x="1532" y="0"/>
                  </a:cubicBezTo>
                  <a:close/>
                </a:path>
              </a:pathLst>
            </a:custGeom>
            <a:noFill/>
            <a:ln w="9525" cap="flat" cmpd="sng">
              <a:solidFill>
                <a:srgbClr val="A5B7C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037" name="Google Shape;3037;p104"/>
            <p:cNvSpPr/>
            <p:nvPr/>
          </p:nvSpPr>
          <p:spPr>
            <a:xfrm>
              <a:off x="6279300" y="2861375"/>
              <a:ext cx="75625" cy="97275"/>
            </a:xfrm>
            <a:custGeom>
              <a:avLst/>
              <a:gdLst/>
              <a:ahLst/>
              <a:cxnLst/>
              <a:rect l="l" t="t" r="r" b="b"/>
              <a:pathLst>
                <a:path w="3025" h="3891" extrusionOk="0">
                  <a:moveTo>
                    <a:pt x="2403" y="1"/>
                  </a:moveTo>
                  <a:cubicBezTo>
                    <a:pt x="2178" y="1"/>
                    <a:pt x="1971" y="104"/>
                    <a:pt x="1850" y="277"/>
                  </a:cubicBezTo>
                  <a:cubicBezTo>
                    <a:pt x="1504" y="1193"/>
                    <a:pt x="882" y="1884"/>
                    <a:pt x="277" y="2610"/>
                  </a:cubicBezTo>
                  <a:cubicBezTo>
                    <a:pt x="35" y="2869"/>
                    <a:pt x="1" y="3284"/>
                    <a:pt x="208" y="3578"/>
                  </a:cubicBezTo>
                  <a:cubicBezTo>
                    <a:pt x="326" y="3766"/>
                    <a:pt x="507" y="3890"/>
                    <a:pt x="682" y="3890"/>
                  </a:cubicBezTo>
                  <a:cubicBezTo>
                    <a:pt x="764" y="3890"/>
                    <a:pt x="845" y="3863"/>
                    <a:pt x="916" y="3802"/>
                  </a:cubicBezTo>
                  <a:cubicBezTo>
                    <a:pt x="1815" y="3128"/>
                    <a:pt x="2731" y="2420"/>
                    <a:pt x="3025" y="1452"/>
                  </a:cubicBezTo>
                  <a:cubicBezTo>
                    <a:pt x="2973" y="744"/>
                    <a:pt x="2921" y="225"/>
                    <a:pt x="2403" y="1"/>
                  </a:cubicBezTo>
                  <a:close/>
                </a:path>
              </a:pathLst>
            </a:custGeom>
            <a:noFill/>
            <a:ln w="9525" cap="flat" cmpd="sng">
              <a:solidFill>
                <a:srgbClr val="A5B7C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038" name="Google Shape;3038;p104"/>
            <p:cNvSpPr/>
            <p:nvPr/>
          </p:nvSpPr>
          <p:spPr>
            <a:xfrm>
              <a:off x="4145025" y="994975"/>
              <a:ext cx="111500" cy="47325"/>
            </a:xfrm>
            <a:custGeom>
              <a:avLst/>
              <a:gdLst/>
              <a:ahLst/>
              <a:cxnLst/>
              <a:rect l="l" t="t" r="r" b="b"/>
              <a:pathLst>
                <a:path w="4460" h="1893" extrusionOk="0">
                  <a:moveTo>
                    <a:pt x="1539" y="105"/>
                  </a:moveTo>
                  <a:cubicBezTo>
                    <a:pt x="969" y="243"/>
                    <a:pt x="139" y="1"/>
                    <a:pt x="70" y="744"/>
                  </a:cubicBezTo>
                  <a:cubicBezTo>
                    <a:pt x="1" y="1418"/>
                    <a:pt x="813" y="1418"/>
                    <a:pt x="1332" y="1556"/>
                  </a:cubicBezTo>
                  <a:cubicBezTo>
                    <a:pt x="1764" y="1677"/>
                    <a:pt x="2213" y="1764"/>
                    <a:pt x="2645" y="1815"/>
                  </a:cubicBezTo>
                  <a:cubicBezTo>
                    <a:pt x="2898" y="1847"/>
                    <a:pt x="3179" y="1893"/>
                    <a:pt x="3440" y="1893"/>
                  </a:cubicBezTo>
                  <a:cubicBezTo>
                    <a:pt x="3890" y="1893"/>
                    <a:pt x="4279" y="1756"/>
                    <a:pt x="4356" y="1176"/>
                  </a:cubicBezTo>
                  <a:cubicBezTo>
                    <a:pt x="4459" y="346"/>
                    <a:pt x="3561" y="416"/>
                    <a:pt x="2956" y="329"/>
                  </a:cubicBezTo>
                  <a:lnTo>
                    <a:pt x="1539" y="105"/>
                  </a:lnTo>
                  <a:close/>
                </a:path>
              </a:pathLst>
            </a:custGeom>
            <a:noFill/>
            <a:ln w="9525" cap="flat" cmpd="sng">
              <a:solidFill>
                <a:srgbClr val="A5B7C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039" name="Google Shape;3039;p104"/>
            <p:cNvSpPr/>
            <p:nvPr/>
          </p:nvSpPr>
          <p:spPr>
            <a:xfrm>
              <a:off x="7213625" y="3803350"/>
              <a:ext cx="74075" cy="80050"/>
            </a:xfrm>
            <a:custGeom>
              <a:avLst/>
              <a:gdLst/>
              <a:ahLst/>
              <a:cxnLst/>
              <a:rect l="l" t="t" r="r" b="b"/>
              <a:pathLst>
                <a:path w="2963" h="3202" extrusionOk="0">
                  <a:moveTo>
                    <a:pt x="573" y="1"/>
                  </a:moveTo>
                  <a:cubicBezTo>
                    <a:pt x="233" y="1"/>
                    <a:pt x="0" y="333"/>
                    <a:pt x="59" y="704"/>
                  </a:cubicBezTo>
                  <a:cubicBezTo>
                    <a:pt x="284" y="1965"/>
                    <a:pt x="1096" y="2777"/>
                    <a:pt x="2289" y="3175"/>
                  </a:cubicBezTo>
                  <a:cubicBezTo>
                    <a:pt x="2343" y="3193"/>
                    <a:pt x="2395" y="3202"/>
                    <a:pt x="2445" y="3202"/>
                  </a:cubicBezTo>
                  <a:cubicBezTo>
                    <a:pt x="2729" y="3202"/>
                    <a:pt x="2933" y="2914"/>
                    <a:pt x="2963" y="2414"/>
                  </a:cubicBezTo>
                  <a:cubicBezTo>
                    <a:pt x="2341" y="1619"/>
                    <a:pt x="1960" y="427"/>
                    <a:pt x="751" y="30"/>
                  </a:cubicBezTo>
                  <a:cubicBezTo>
                    <a:pt x="689" y="10"/>
                    <a:pt x="630" y="1"/>
                    <a:pt x="573" y="1"/>
                  </a:cubicBezTo>
                  <a:close/>
                </a:path>
              </a:pathLst>
            </a:custGeom>
            <a:noFill/>
            <a:ln w="9525" cap="flat" cmpd="sng">
              <a:solidFill>
                <a:srgbClr val="A5B7C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040" name="Google Shape;3040;p104"/>
            <p:cNvSpPr/>
            <p:nvPr/>
          </p:nvSpPr>
          <p:spPr>
            <a:xfrm>
              <a:off x="6542025" y="3118350"/>
              <a:ext cx="66075" cy="79800"/>
            </a:xfrm>
            <a:custGeom>
              <a:avLst/>
              <a:gdLst/>
              <a:ahLst/>
              <a:cxnLst/>
              <a:rect l="l" t="t" r="r" b="b"/>
              <a:pathLst>
                <a:path w="2643" h="3192" extrusionOk="0">
                  <a:moveTo>
                    <a:pt x="1295" y="1"/>
                  </a:moveTo>
                  <a:cubicBezTo>
                    <a:pt x="1273" y="1"/>
                    <a:pt x="1250" y="2"/>
                    <a:pt x="1226" y="4"/>
                  </a:cubicBezTo>
                  <a:cubicBezTo>
                    <a:pt x="275" y="108"/>
                    <a:pt x="51" y="954"/>
                    <a:pt x="33" y="1732"/>
                  </a:cubicBezTo>
                  <a:cubicBezTo>
                    <a:pt x="1" y="2354"/>
                    <a:pt x="200" y="3192"/>
                    <a:pt x="910" y="3192"/>
                  </a:cubicBezTo>
                  <a:cubicBezTo>
                    <a:pt x="950" y="3192"/>
                    <a:pt x="992" y="3189"/>
                    <a:pt x="1036" y="3184"/>
                  </a:cubicBezTo>
                  <a:cubicBezTo>
                    <a:pt x="2643" y="2959"/>
                    <a:pt x="1640" y="1767"/>
                    <a:pt x="1640" y="1110"/>
                  </a:cubicBezTo>
                  <a:cubicBezTo>
                    <a:pt x="1740" y="547"/>
                    <a:pt x="1792" y="1"/>
                    <a:pt x="1295" y="1"/>
                  </a:cubicBezTo>
                  <a:close/>
                </a:path>
              </a:pathLst>
            </a:custGeom>
            <a:noFill/>
            <a:ln w="9525" cap="flat" cmpd="sng">
              <a:solidFill>
                <a:srgbClr val="A5B7C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041" name="Google Shape;3041;p104"/>
            <p:cNvSpPr/>
            <p:nvPr/>
          </p:nvSpPr>
          <p:spPr>
            <a:xfrm>
              <a:off x="4278100" y="987200"/>
              <a:ext cx="87225" cy="50150"/>
            </a:xfrm>
            <a:custGeom>
              <a:avLst/>
              <a:gdLst/>
              <a:ahLst/>
              <a:cxnLst/>
              <a:rect l="l" t="t" r="r" b="b"/>
              <a:pathLst>
                <a:path w="3489" h="2006" extrusionOk="0">
                  <a:moveTo>
                    <a:pt x="2519" y="46"/>
                  </a:moveTo>
                  <a:cubicBezTo>
                    <a:pt x="2407" y="46"/>
                    <a:pt x="2296" y="60"/>
                    <a:pt x="2195" y="87"/>
                  </a:cubicBezTo>
                  <a:cubicBezTo>
                    <a:pt x="1435" y="312"/>
                    <a:pt x="191" y="1"/>
                    <a:pt x="87" y="1107"/>
                  </a:cubicBezTo>
                  <a:cubicBezTo>
                    <a:pt x="1" y="1798"/>
                    <a:pt x="986" y="1746"/>
                    <a:pt x="1642" y="1781"/>
                  </a:cubicBezTo>
                  <a:cubicBezTo>
                    <a:pt x="2299" y="1556"/>
                    <a:pt x="3422" y="2005"/>
                    <a:pt x="3474" y="813"/>
                  </a:cubicBezTo>
                  <a:cubicBezTo>
                    <a:pt x="3488" y="284"/>
                    <a:pt x="2986" y="46"/>
                    <a:pt x="2519" y="46"/>
                  </a:cubicBezTo>
                  <a:close/>
                </a:path>
              </a:pathLst>
            </a:custGeom>
            <a:noFill/>
            <a:ln w="9525" cap="flat" cmpd="sng">
              <a:solidFill>
                <a:srgbClr val="A5B7C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042" name="Google Shape;3042;p104"/>
            <p:cNvSpPr/>
            <p:nvPr/>
          </p:nvSpPr>
          <p:spPr>
            <a:xfrm>
              <a:off x="6595650" y="1204100"/>
              <a:ext cx="81075" cy="41800"/>
            </a:xfrm>
            <a:custGeom>
              <a:avLst/>
              <a:gdLst/>
              <a:ahLst/>
              <a:cxnLst/>
              <a:rect l="l" t="t" r="r" b="b"/>
              <a:pathLst>
                <a:path w="3243" h="1672" extrusionOk="0">
                  <a:moveTo>
                    <a:pt x="1466" y="121"/>
                  </a:moveTo>
                  <a:cubicBezTo>
                    <a:pt x="1366" y="163"/>
                    <a:pt x="1241" y="173"/>
                    <a:pt x="1106" y="173"/>
                  </a:cubicBezTo>
                  <a:cubicBezTo>
                    <a:pt x="987" y="173"/>
                    <a:pt x="861" y="165"/>
                    <a:pt x="738" y="165"/>
                  </a:cubicBezTo>
                  <a:cubicBezTo>
                    <a:pt x="371" y="165"/>
                    <a:pt x="34" y="234"/>
                    <a:pt x="14" y="778"/>
                  </a:cubicBezTo>
                  <a:cubicBezTo>
                    <a:pt x="0" y="1593"/>
                    <a:pt x="628" y="1660"/>
                    <a:pt x="1232" y="1660"/>
                  </a:cubicBezTo>
                  <a:cubicBezTo>
                    <a:pt x="1352" y="1660"/>
                    <a:pt x="1472" y="1658"/>
                    <a:pt x="1585" y="1658"/>
                  </a:cubicBezTo>
                  <a:cubicBezTo>
                    <a:pt x="1627" y="1658"/>
                    <a:pt x="1668" y="1658"/>
                    <a:pt x="1708" y="1659"/>
                  </a:cubicBezTo>
                  <a:cubicBezTo>
                    <a:pt x="1826" y="1666"/>
                    <a:pt x="1954" y="1672"/>
                    <a:pt x="2085" y="1672"/>
                  </a:cubicBezTo>
                  <a:cubicBezTo>
                    <a:pt x="2644" y="1672"/>
                    <a:pt x="3242" y="1563"/>
                    <a:pt x="3228" y="933"/>
                  </a:cubicBezTo>
                  <a:cubicBezTo>
                    <a:pt x="3194" y="0"/>
                    <a:pt x="2209" y="207"/>
                    <a:pt x="1466" y="121"/>
                  </a:cubicBezTo>
                  <a:close/>
                </a:path>
              </a:pathLst>
            </a:custGeom>
            <a:noFill/>
            <a:ln w="9525" cap="flat" cmpd="sng">
              <a:solidFill>
                <a:srgbClr val="A5B7C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043" name="Google Shape;3043;p104"/>
            <p:cNvSpPr/>
            <p:nvPr/>
          </p:nvSpPr>
          <p:spPr>
            <a:xfrm>
              <a:off x="5040350" y="1034625"/>
              <a:ext cx="81550" cy="46975"/>
            </a:xfrm>
            <a:custGeom>
              <a:avLst/>
              <a:gdLst/>
              <a:ahLst/>
              <a:cxnLst/>
              <a:rect l="l" t="t" r="r" b="b"/>
              <a:pathLst>
                <a:path w="3262" h="1879" extrusionOk="0">
                  <a:moveTo>
                    <a:pt x="1625" y="1"/>
                  </a:moveTo>
                  <a:cubicBezTo>
                    <a:pt x="803" y="1"/>
                    <a:pt x="279" y="461"/>
                    <a:pt x="99" y="1249"/>
                  </a:cubicBezTo>
                  <a:cubicBezTo>
                    <a:pt x="0" y="1616"/>
                    <a:pt x="339" y="1879"/>
                    <a:pt x="645" y="1879"/>
                  </a:cubicBezTo>
                  <a:cubicBezTo>
                    <a:pt x="714" y="1879"/>
                    <a:pt x="781" y="1865"/>
                    <a:pt x="842" y="1837"/>
                  </a:cubicBezTo>
                  <a:cubicBezTo>
                    <a:pt x="1620" y="1474"/>
                    <a:pt x="2829" y="1750"/>
                    <a:pt x="3106" y="800"/>
                  </a:cubicBezTo>
                  <a:cubicBezTo>
                    <a:pt x="3261" y="229"/>
                    <a:pt x="2363" y="22"/>
                    <a:pt x="1758" y="5"/>
                  </a:cubicBezTo>
                  <a:cubicBezTo>
                    <a:pt x="1713" y="2"/>
                    <a:pt x="1668" y="1"/>
                    <a:pt x="1625" y="1"/>
                  </a:cubicBezTo>
                  <a:close/>
                </a:path>
              </a:pathLst>
            </a:custGeom>
            <a:noFill/>
            <a:ln w="9525" cap="flat" cmpd="sng">
              <a:solidFill>
                <a:srgbClr val="A5B7C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044" name="Google Shape;3044;p104"/>
            <p:cNvSpPr/>
            <p:nvPr/>
          </p:nvSpPr>
          <p:spPr>
            <a:xfrm>
              <a:off x="6380950" y="3302475"/>
              <a:ext cx="77800" cy="40225"/>
            </a:xfrm>
            <a:custGeom>
              <a:avLst/>
              <a:gdLst/>
              <a:ahLst/>
              <a:cxnLst/>
              <a:rect l="l" t="t" r="r" b="b"/>
              <a:pathLst>
                <a:path w="3112" h="1609" extrusionOk="0">
                  <a:moveTo>
                    <a:pt x="843" y="80"/>
                  </a:moveTo>
                  <a:cubicBezTo>
                    <a:pt x="352" y="80"/>
                    <a:pt x="1" y="466"/>
                    <a:pt x="65" y="882"/>
                  </a:cubicBezTo>
                  <a:cubicBezTo>
                    <a:pt x="161" y="1545"/>
                    <a:pt x="602" y="1578"/>
                    <a:pt x="1054" y="1578"/>
                  </a:cubicBezTo>
                  <a:cubicBezTo>
                    <a:pt x="1103" y="1578"/>
                    <a:pt x="1152" y="1577"/>
                    <a:pt x="1201" y="1577"/>
                  </a:cubicBezTo>
                  <a:cubicBezTo>
                    <a:pt x="1347" y="1577"/>
                    <a:pt x="1491" y="1581"/>
                    <a:pt x="1620" y="1608"/>
                  </a:cubicBezTo>
                  <a:cubicBezTo>
                    <a:pt x="1746" y="1549"/>
                    <a:pt x="1903" y="1535"/>
                    <a:pt x="2065" y="1535"/>
                  </a:cubicBezTo>
                  <a:cubicBezTo>
                    <a:pt x="2212" y="1535"/>
                    <a:pt x="2363" y="1547"/>
                    <a:pt x="2502" y="1547"/>
                  </a:cubicBezTo>
                  <a:cubicBezTo>
                    <a:pt x="2845" y="1547"/>
                    <a:pt x="3112" y="1478"/>
                    <a:pt x="3037" y="1003"/>
                  </a:cubicBezTo>
                  <a:cubicBezTo>
                    <a:pt x="2882" y="1"/>
                    <a:pt x="1741" y="191"/>
                    <a:pt x="963" y="87"/>
                  </a:cubicBezTo>
                  <a:cubicBezTo>
                    <a:pt x="923" y="82"/>
                    <a:pt x="882" y="80"/>
                    <a:pt x="843" y="80"/>
                  </a:cubicBezTo>
                  <a:close/>
                </a:path>
              </a:pathLst>
            </a:custGeom>
            <a:noFill/>
            <a:ln w="9525" cap="flat" cmpd="sng">
              <a:solidFill>
                <a:srgbClr val="A5B7C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045" name="Google Shape;3045;p104"/>
            <p:cNvSpPr/>
            <p:nvPr/>
          </p:nvSpPr>
          <p:spPr>
            <a:xfrm>
              <a:off x="4384825" y="996700"/>
              <a:ext cx="62025" cy="39775"/>
            </a:xfrm>
            <a:custGeom>
              <a:avLst/>
              <a:gdLst/>
              <a:ahLst/>
              <a:cxnLst/>
              <a:rect l="l" t="t" r="r" b="b"/>
              <a:pathLst>
                <a:path w="2481" h="1591" extrusionOk="0">
                  <a:moveTo>
                    <a:pt x="1811" y="155"/>
                  </a:moveTo>
                  <a:cubicBezTo>
                    <a:pt x="1713" y="155"/>
                    <a:pt x="1613" y="168"/>
                    <a:pt x="1521" y="191"/>
                  </a:cubicBezTo>
                  <a:cubicBezTo>
                    <a:pt x="985" y="312"/>
                    <a:pt x="121" y="1"/>
                    <a:pt x="52" y="917"/>
                  </a:cubicBezTo>
                  <a:cubicBezTo>
                    <a:pt x="0" y="1487"/>
                    <a:pt x="536" y="1574"/>
                    <a:pt x="1054" y="1591"/>
                  </a:cubicBezTo>
                  <a:cubicBezTo>
                    <a:pt x="1573" y="1418"/>
                    <a:pt x="2385" y="1556"/>
                    <a:pt x="2454" y="727"/>
                  </a:cubicBezTo>
                  <a:cubicBezTo>
                    <a:pt x="2481" y="311"/>
                    <a:pt x="2153" y="155"/>
                    <a:pt x="1811" y="155"/>
                  </a:cubicBezTo>
                  <a:close/>
                </a:path>
              </a:pathLst>
            </a:custGeom>
            <a:noFill/>
            <a:ln w="9525" cap="flat" cmpd="sng">
              <a:solidFill>
                <a:srgbClr val="A5B7C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046" name="Google Shape;3046;p104"/>
            <p:cNvSpPr/>
            <p:nvPr/>
          </p:nvSpPr>
          <p:spPr>
            <a:xfrm>
              <a:off x="2100625" y="1004500"/>
              <a:ext cx="520200" cy="95050"/>
            </a:xfrm>
            <a:custGeom>
              <a:avLst/>
              <a:gdLst/>
              <a:ahLst/>
              <a:cxnLst/>
              <a:rect l="l" t="t" r="r" b="b"/>
              <a:pathLst>
                <a:path w="20808" h="3802" extrusionOk="0">
                  <a:moveTo>
                    <a:pt x="20756" y="0"/>
                  </a:moveTo>
                  <a:lnTo>
                    <a:pt x="20738" y="17"/>
                  </a:lnTo>
                  <a:lnTo>
                    <a:pt x="20773" y="17"/>
                  </a:lnTo>
                  <a:lnTo>
                    <a:pt x="20808" y="0"/>
                  </a:lnTo>
                  <a:close/>
                  <a:moveTo>
                    <a:pt x="1" y="3785"/>
                  </a:moveTo>
                  <a:lnTo>
                    <a:pt x="1" y="3802"/>
                  </a:lnTo>
                  <a:lnTo>
                    <a:pt x="18" y="3802"/>
                  </a:lnTo>
                  <a:lnTo>
                    <a:pt x="18" y="3785"/>
                  </a:lnTo>
                  <a:close/>
                </a:path>
              </a:pathLst>
            </a:custGeom>
            <a:noFill/>
            <a:ln w="9525" cap="flat" cmpd="sng">
              <a:solidFill>
                <a:srgbClr val="A5B7C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047" name="Google Shape;3047;p104"/>
            <p:cNvSpPr/>
            <p:nvPr/>
          </p:nvSpPr>
          <p:spPr>
            <a:xfrm>
              <a:off x="233350" y="949250"/>
              <a:ext cx="3232550" cy="3802300"/>
            </a:xfrm>
            <a:custGeom>
              <a:avLst/>
              <a:gdLst/>
              <a:ahLst/>
              <a:cxnLst/>
              <a:rect l="l" t="t" r="r" b="b"/>
              <a:pathLst>
                <a:path w="129302" h="152092" extrusionOk="0">
                  <a:moveTo>
                    <a:pt x="97270" y="1644"/>
                  </a:moveTo>
                  <a:cubicBezTo>
                    <a:pt x="97347" y="1644"/>
                    <a:pt x="97424" y="1648"/>
                    <a:pt x="97503" y="1657"/>
                  </a:cubicBezTo>
                  <a:cubicBezTo>
                    <a:pt x="97555" y="1674"/>
                    <a:pt x="97607" y="1692"/>
                    <a:pt x="97642" y="1709"/>
                  </a:cubicBezTo>
                  <a:lnTo>
                    <a:pt x="95601" y="2170"/>
                  </a:lnTo>
                  <a:lnTo>
                    <a:pt x="95601" y="2170"/>
                  </a:lnTo>
                  <a:cubicBezTo>
                    <a:pt x="96129" y="1917"/>
                    <a:pt x="96661" y="1644"/>
                    <a:pt x="97270" y="1644"/>
                  </a:cubicBezTo>
                  <a:close/>
                  <a:moveTo>
                    <a:pt x="95473" y="2210"/>
                  </a:moveTo>
                  <a:lnTo>
                    <a:pt x="95447" y="2227"/>
                  </a:lnTo>
                  <a:lnTo>
                    <a:pt x="95429" y="2227"/>
                  </a:lnTo>
                  <a:lnTo>
                    <a:pt x="95464" y="2210"/>
                  </a:lnTo>
                  <a:close/>
                  <a:moveTo>
                    <a:pt x="68358" y="8951"/>
                  </a:moveTo>
                  <a:cubicBezTo>
                    <a:pt x="68553" y="8951"/>
                    <a:pt x="68761" y="9049"/>
                    <a:pt x="68989" y="9313"/>
                  </a:cubicBezTo>
                  <a:cubicBezTo>
                    <a:pt x="69208" y="9280"/>
                    <a:pt x="69420" y="9268"/>
                    <a:pt x="69634" y="9268"/>
                  </a:cubicBezTo>
                  <a:cubicBezTo>
                    <a:pt x="69758" y="9268"/>
                    <a:pt x="69882" y="9272"/>
                    <a:pt x="70008" y="9278"/>
                  </a:cubicBezTo>
                  <a:cubicBezTo>
                    <a:pt x="70061" y="9286"/>
                    <a:pt x="70117" y="9289"/>
                    <a:pt x="70177" y="9289"/>
                  </a:cubicBezTo>
                  <a:cubicBezTo>
                    <a:pt x="70522" y="9289"/>
                    <a:pt x="70965" y="9176"/>
                    <a:pt x="71318" y="9176"/>
                  </a:cubicBezTo>
                  <a:cubicBezTo>
                    <a:pt x="71841" y="9176"/>
                    <a:pt x="72167" y="9425"/>
                    <a:pt x="71685" y="10661"/>
                  </a:cubicBezTo>
                  <a:cubicBezTo>
                    <a:pt x="71581" y="10937"/>
                    <a:pt x="71823" y="11265"/>
                    <a:pt x="72151" y="11386"/>
                  </a:cubicBezTo>
                  <a:cubicBezTo>
                    <a:pt x="72428" y="11438"/>
                    <a:pt x="72722" y="11490"/>
                    <a:pt x="72998" y="11507"/>
                  </a:cubicBezTo>
                  <a:cubicBezTo>
                    <a:pt x="72652" y="11922"/>
                    <a:pt x="72359" y="12406"/>
                    <a:pt x="71927" y="12717"/>
                  </a:cubicBezTo>
                  <a:cubicBezTo>
                    <a:pt x="71831" y="12786"/>
                    <a:pt x="71741" y="12813"/>
                    <a:pt x="71654" y="12813"/>
                  </a:cubicBezTo>
                  <a:cubicBezTo>
                    <a:pt x="71349" y="12813"/>
                    <a:pt x="71090" y="12473"/>
                    <a:pt x="70821" y="12406"/>
                  </a:cubicBezTo>
                  <a:cubicBezTo>
                    <a:pt x="69127" y="11939"/>
                    <a:pt x="69334" y="10488"/>
                    <a:pt x="68989" y="9313"/>
                  </a:cubicBezTo>
                  <a:lnTo>
                    <a:pt x="67330" y="9520"/>
                  </a:lnTo>
                  <a:cubicBezTo>
                    <a:pt x="67668" y="9295"/>
                    <a:pt x="67992" y="8951"/>
                    <a:pt x="68358" y="8951"/>
                  </a:cubicBezTo>
                  <a:close/>
                  <a:moveTo>
                    <a:pt x="51546" y="12467"/>
                  </a:moveTo>
                  <a:cubicBezTo>
                    <a:pt x="51593" y="12467"/>
                    <a:pt x="51647" y="12470"/>
                    <a:pt x="51707" y="12475"/>
                  </a:cubicBezTo>
                  <a:cubicBezTo>
                    <a:pt x="51897" y="12648"/>
                    <a:pt x="52157" y="12890"/>
                    <a:pt x="52433" y="13115"/>
                  </a:cubicBezTo>
                  <a:cubicBezTo>
                    <a:pt x="52260" y="13270"/>
                    <a:pt x="52053" y="13374"/>
                    <a:pt x="51845" y="13460"/>
                  </a:cubicBezTo>
                  <a:cubicBezTo>
                    <a:pt x="51802" y="13467"/>
                    <a:pt x="51764" y="13470"/>
                    <a:pt x="51729" y="13470"/>
                  </a:cubicBezTo>
                  <a:cubicBezTo>
                    <a:pt x="51300" y="13470"/>
                    <a:pt x="51439" y="13007"/>
                    <a:pt x="51327" y="12752"/>
                  </a:cubicBezTo>
                  <a:cubicBezTo>
                    <a:pt x="51225" y="12548"/>
                    <a:pt x="51295" y="12467"/>
                    <a:pt x="51546" y="12467"/>
                  </a:cubicBezTo>
                  <a:close/>
                  <a:moveTo>
                    <a:pt x="55481" y="12549"/>
                  </a:moveTo>
                  <a:cubicBezTo>
                    <a:pt x="55526" y="12549"/>
                    <a:pt x="55570" y="12553"/>
                    <a:pt x="55613" y="12562"/>
                  </a:cubicBezTo>
                  <a:lnTo>
                    <a:pt x="54576" y="13789"/>
                  </a:lnTo>
                  <a:lnTo>
                    <a:pt x="53954" y="13184"/>
                  </a:lnTo>
                  <a:cubicBezTo>
                    <a:pt x="54420" y="12976"/>
                    <a:pt x="54870" y="12752"/>
                    <a:pt x="55336" y="12562"/>
                  </a:cubicBezTo>
                  <a:cubicBezTo>
                    <a:pt x="55388" y="12553"/>
                    <a:pt x="55436" y="12549"/>
                    <a:pt x="55481" y="12549"/>
                  </a:cubicBezTo>
                  <a:close/>
                  <a:moveTo>
                    <a:pt x="116966" y="0"/>
                  </a:moveTo>
                  <a:cubicBezTo>
                    <a:pt x="112339" y="0"/>
                    <a:pt x="107712" y="747"/>
                    <a:pt x="103085" y="1035"/>
                  </a:cubicBezTo>
                  <a:cubicBezTo>
                    <a:pt x="101910" y="1104"/>
                    <a:pt x="100735" y="983"/>
                    <a:pt x="99542" y="1260"/>
                  </a:cubicBezTo>
                  <a:cubicBezTo>
                    <a:pt x="99533" y="1262"/>
                    <a:pt x="99523" y="1263"/>
                    <a:pt x="99512" y="1263"/>
                  </a:cubicBezTo>
                  <a:cubicBezTo>
                    <a:pt x="99194" y="1263"/>
                    <a:pt x="98389" y="307"/>
                    <a:pt x="97503" y="240"/>
                  </a:cubicBezTo>
                  <a:cubicBezTo>
                    <a:pt x="96554" y="172"/>
                    <a:pt x="95607" y="143"/>
                    <a:pt x="94661" y="143"/>
                  </a:cubicBezTo>
                  <a:cubicBezTo>
                    <a:pt x="91541" y="143"/>
                    <a:pt x="88432" y="459"/>
                    <a:pt x="85303" y="724"/>
                  </a:cubicBezTo>
                  <a:cubicBezTo>
                    <a:pt x="83379" y="875"/>
                    <a:pt x="81549" y="1637"/>
                    <a:pt x="79578" y="1637"/>
                  </a:cubicBezTo>
                  <a:cubicBezTo>
                    <a:pt x="79300" y="1637"/>
                    <a:pt x="79020" y="1622"/>
                    <a:pt x="78736" y="1588"/>
                  </a:cubicBezTo>
                  <a:cubicBezTo>
                    <a:pt x="78573" y="1568"/>
                    <a:pt x="78403" y="1557"/>
                    <a:pt x="78229" y="1557"/>
                  </a:cubicBezTo>
                  <a:cubicBezTo>
                    <a:pt x="77349" y="1557"/>
                    <a:pt x="76386" y="1840"/>
                    <a:pt x="75953" y="2677"/>
                  </a:cubicBezTo>
                  <a:cubicBezTo>
                    <a:pt x="75538" y="3489"/>
                    <a:pt x="76333" y="4163"/>
                    <a:pt x="76956" y="4750"/>
                  </a:cubicBezTo>
                  <a:cubicBezTo>
                    <a:pt x="77215" y="4992"/>
                    <a:pt x="77232" y="5511"/>
                    <a:pt x="77370" y="5891"/>
                  </a:cubicBezTo>
                  <a:cubicBezTo>
                    <a:pt x="77348" y="5890"/>
                    <a:pt x="77325" y="5889"/>
                    <a:pt x="77301" y="5889"/>
                  </a:cubicBezTo>
                  <a:cubicBezTo>
                    <a:pt x="77154" y="5889"/>
                    <a:pt x="76988" y="5912"/>
                    <a:pt x="76844" y="5912"/>
                  </a:cubicBezTo>
                  <a:cubicBezTo>
                    <a:pt x="76726" y="5912"/>
                    <a:pt x="76623" y="5896"/>
                    <a:pt x="76558" y="5839"/>
                  </a:cubicBezTo>
                  <a:cubicBezTo>
                    <a:pt x="76285" y="5586"/>
                    <a:pt x="76034" y="5489"/>
                    <a:pt x="75796" y="5489"/>
                  </a:cubicBezTo>
                  <a:cubicBezTo>
                    <a:pt x="75417" y="5489"/>
                    <a:pt x="75070" y="5733"/>
                    <a:pt x="74709" y="5977"/>
                  </a:cubicBezTo>
                  <a:lnTo>
                    <a:pt x="74709" y="5995"/>
                  </a:lnTo>
                  <a:lnTo>
                    <a:pt x="74692" y="5995"/>
                  </a:lnTo>
                  <a:cubicBezTo>
                    <a:pt x="74415" y="6358"/>
                    <a:pt x="73707" y="6479"/>
                    <a:pt x="73897" y="7066"/>
                  </a:cubicBezTo>
                  <a:cubicBezTo>
                    <a:pt x="74104" y="7654"/>
                    <a:pt x="74761" y="7671"/>
                    <a:pt x="75331" y="7723"/>
                  </a:cubicBezTo>
                  <a:lnTo>
                    <a:pt x="75625" y="7723"/>
                  </a:lnTo>
                  <a:lnTo>
                    <a:pt x="77146" y="7982"/>
                  </a:lnTo>
                  <a:cubicBezTo>
                    <a:pt x="76904" y="8068"/>
                    <a:pt x="76662" y="8120"/>
                    <a:pt x="76403" y="8120"/>
                  </a:cubicBezTo>
                  <a:cubicBezTo>
                    <a:pt x="76178" y="8103"/>
                    <a:pt x="75970" y="7930"/>
                    <a:pt x="75729" y="7861"/>
                  </a:cubicBezTo>
                  <a:cubicBezTo>
                    <a:pt x="75594" y="7823"/>
                    <a:pt x="75464" y="7807"/>
                    <a:pt x="75337" y="7807"/>
                  </a:cubicBezTo>
                  <a:cubicBezTo>
                    <a:pt x="74777" y="7807"/>
                    <a:pt x="74273" y="8116"/>
                    <a:pt x="73724" y="8172"/>
                  </a:cubicBezTo>
                  <a:cubicBezTo>
                    <a:pt x="73717" y="8173"/>
                    <a:pt x="73710" y="8174"/>
                    <a:pt x="73702" y="8174"/>
                  </a:cubicBezTo>
                  <a:cubicBezTo>
                    <a:pt x="73450" y="8174"/>
                    <a:pt x="72913" y="7613"/>
                    <a:pt x="72946" y="7394"/>
                  </a:cubicBezTo>
                  <a:cubicBezTo>
                    <a:pt x="73102" y="6479"/>
                    <a:pt x="73810" y="6098"/>
                    <a:pt x="74674" y="5995"/>
                  </a:cubicBezTo>
                  <a:lnTo>
                    <a:pt x="74674" y="5977"/>
                  </a:lnTo>
                  <a:cubicBezTo>
                    <a:pt x="74726" y="5545"/>
                    <a:pt x="74830" y="5113"/>
                    <a:pt x="74951" y="4681"/>
                  </a:cubicBezTo>
                  <a:cubicBezTo>
                    <a:pt x="75072" y="4370"/>
                    <a:pt x="75435" y="4076"/>
                    <a:pt x="75124" y="3748"/>
                  </a:cubicBezTo>
                  <a:cubicBezTo>
                    <a:pt x="74832" y="3467"/>
                    <a:pt x="74483" y="3396"/>
                    <a:pt x="74119" y="3396"/>
                  </a:cubicBezTo>
                  <a:cubicBezTo>
                    <a:pt x="73856" y="3396"/>
                    <a:pt x="73587" y="3433"/>
                    <a:pt x="73326" y="3454"/>
                  </a:cubicBezTo>
                  <a:cubicBezTo>
                    <a:pt x="72946" y="3506"/>
                    <a:pt x="72756" y="3748"/>
                    <a:pt x="72704" y="4180"/>
                  </a:cubicBezTo>
                  <a:cubicBezTo>
                    <a:pt x="72601" y="5252"/>
                    <a:pt x="72134" y="6098"/>
                    <a:pt x="70959" y="6340"/>
                  </a:cubicBezTo>
                  <a:cubicBezTo>
                    <a:pt x="70855" y="6427"/>
                    <a:pt x="70769" y="6513"/>
                    <a:pt x="70665" y="6617"/>
                  </a:cubicBezTo>
                  <a:cubicBezTo>
                    <a:pt x="70786" y="6859"/>
                    <a:pt x="70924" y="7083"/>
                    <a:pt x="71097" y="7291"/>
                  </a:cubicBezTo>
                  <a:cubicBezTo>
                    <a:pt x="71304" y="7412"/>
                    <a:pt x="71546" y="7515"/>
                    <a:pt x="71788" y="7567"/>
                  </a:cubicBezTo>
                  <a:cubicBezTo>
                    <a:pt x="71650" y="7550"/>
                    <a:pt x="71512" y="7541"/>
                    <a:pt x="71374" y="7541"/>
                  </a:cubicBezTo>
                  <a:cubicBezTo>
                    <a:pt x="71235" y="7541"/>
                    <a:pt x="71097" y="7550"/>
                    <a:pt x="70959" y="7567"/>
                  </a:cubicBezTo>
                  <a:cubicBezTo>
                    <a:pt x="70569" y="7671"/>
                    <a:pt x="70173" y="7708"/>
                    <a:pt x="69775" y="7708"/>
                  </a:cubicBezTo>
                  <a:cubicBezTo>
                    <a:pt x="68812" y="7708"/>
                    <a:pt x="67832" y="7494"/>
                    <a:pt x="66868" y="7494"/>
                  </a:cubicBezTo>
                  <a:cubicBezTo>
                    <a:pt x="66108" y="7494"/>
                    <a:pt x="65357" y="7627"/>
                    <a:pt x="64634" y="8103"/>
                  </a:cubicBezTo>
                  <a:cubicBezTo>
                    <a:pt x="64271" y="8345"/>
                    <a:pt x="63580" y="8379"/>
                    <a:pt x="63666" y="8863"/>
                  </a:cubicBezTo>
                  <a:cubicBezTo>
                    <a:pt x="63752" y="9382"/>
                    <a:pt x="64167" y="9900"/>
                    <a:pt x="64547" y="10315"/>
                  </a:cubicBezTo>
                  <a:cubicBezTo>
                    <a:pt x="64666" y="10447"/>
                    <a:pt x="64798" y="10498"/>
                    <a:pt x="64939" y="10498"/>
                  </a:cubicBezTo>
                  <a:cubicBezTo>
                    <a:pt x="65148" y="10498"/>
                    <a:pt x="65375" y="10387"/>
                    <a:pt x="65602" y="10263"/>
                  </a:cubicBezTo>
                  <a:cubicBezTo>
                    <a:pt x="66124" y="9977"/>
                    <a:pt x="66711" y="9789"/>
                    <a:pt x="67269" y="9556"/>
                  </a:cubicBezTo>
                  <a:lnTo>
                    <a:pt x="67269" y="9556"/>
                  </a:lnTo>
                  <a:cubicBezTo>
                    <a:pt x="66173" y="11022"/>
                    <a:pt x="64072" y="10911"/>
                    <a:pt x="62975" y="11974"/>
                  </a:cubicBezTo>
                  <a:cubicBezTo>
                    <a:pt x="62086" y="12850"/>
                    <a:pt x="61268" y="13162"/>
                    <a:pt x="60357" y="13162"/>
                  </a:cubicBezTo>
                  <a:cubicBezTo>
                    <a:pt x="59993" y="13162"/>
                    <a:pt x="59613" y="13112"/>
                    <a:pt x="59207" y="13028"/>
                  </a:cubicBezTo>
                  <a:cubicBezTo>
                    <a:pt x="58430" y="12873"/>
                    <a:pt x="57687" y="12510"/>
                    <a:pt x="56926" y="12233"/>
                  </a:cubicBezTo>
                  <a:cubicBezTo>
                    <a:pt x="57173" y="12050"/>
                    <a:pt x="57402" y="11981"/>
                    <a:pt x="57619" y="11981"/>
                  </a:cubicBezTo>
                  <a:cubicBezTo>
                    <a:pt x="58162" y="11981"/>
                    <a:pt x="58632" y="12416"/>
                    <a:pt x="59138" y="12613"/>
                  </a:cubicBezTo>
                  <a:cubicBezTo>
                    <a:pt x="59332" y="12687"/>
                    <a:pt x="59512" y="12718"/>
                    <a:pt x="59680" y="12718"/>
                  </a:cubicBezTo>
                  <a:cubicBezTo>
                    <a:pt x="60502" y="12718"/>
                    <a:pt x="61062" y="11967"/>
                    <a:pt x="61765" y="11680"/>
                  </a:cubicBezTo>
                  <a:cubicBezTo>
                    <a:pt x="62404" y="11421"/>
                    <a:pt x="61903" y="10851"/>
                    <a:pt x="61661" y="10384"/>
                  </a:cubicBezTo>
                  <a:cubicBezTo>
                    <a:pt x="61454" y="9987"/>
                    <a:pt x="61921" y="9745"/>
                    <a:pt x="62249" y="9537"/>
                  </a:cubicBezTo>
                  <a:cubicBezTo>
                    <a:pt x="62664" y="9295"/>
                    <a:pt x="63441" y="9226"/>
                    <a:pt x="63182" y="8518"/>
                  </a:cubicBezTo>
                  <a:cubicBezTo>
                    <a:pt x="63018" y="8098"/>
                    <a:pt x="62703" y="8030"/>
                    <a:pt x="62354" y="8030"/>
                  </a:cubicBezTo>
                  <a:cubicBezTo>
                    <a:pt x="62187" y="8030"/>
                    <a:pt x="62013" y="8045"/>
                    <a:pt x="61845" y="8045"/>
                  </a:cubicBezTo>
                  <a:cubicBezTo>
                    <a:pt x="61771" y="8045"/>
                    <a:pt x="61698" y="8042"/>
                    <a:pt x="61627" y="8034"/>
                  </a:cubicBezTo>
                  <a:cubicBezTo>
                    <a:pt x="61564" y="8027"/>
                    <a:pt x="61502" y="8024"/>
                    <a:pt x="61440" y="8024"/>
                  </a:cubicBezTo>
                  <a:cubicBezTo>
                    <a:pt x="60620" y="8024"/>
                    <a:pt x="59973" y="8583"/>
                    <a:pt x="59080" y="8583"/>
                  </a:cubicBezTo>
                  <a:cubicBezTo>
                    <a:pt x="59004" y="8583"/>
                    <a:pt x="58925" y="8579"/>
                    <a:pt x="58844" y="8570"/>
                  </a:cubicBezTo>
                  <a:cubicBezTo>
                    <a:pt x="57410" y="8414"/>
                    <a:pt x="56391" y="7671"/>
                    <a:pt x="55181" y="7187"/>
                  </a:cubicBezTo>
                  <a:cubicBezTo>
                    <a:pt x="54440" y="6892"/>
                    <a:pt x="53723" y="6767"/>
                    <a:pt x="53025" y="6767"/>
                  </a:cubicBezTo>
                  <a:cubicBezTo>
                    <a:pt x="51022" y="6767"/>
                    <a:pt x="49177" y="7799"/>
                    <a:pt x="47370" y="8812"/>
                  </a:cubicBezTo>
                  <a:cubicBezTo>
                    <a:pt x="46903" y="9071"/>
                    <a:pt x="46765" y="9434"/>
                    <a:pt x="46972" y="9969"/>
                  </a:cubicBezTo>
                  <a:cubicBezTo>
                    <a:pt x="47155" y="10426"/>
                    <a:pt x="47351" y="10748"/>
                    <a:pt x="47819" y="10748"/>
                  </a:cubicBezTo>
                  <a:cubicBezTo>
                    <a:pt x="47883" y="10748"/>
                    <a:pt x="47952" y="10742"/>
                    <a:pt x="48026" y="10730"/>
                  </a:cubicBezTo>
                  <a:lnTo>
                    <a:pt x="50498" y="10280"/>
                  </a:lnTo>
                  <a:cubicBezTo>
                    <a:pt x="50618" y="10263"/>
                    <a:pt x="50739" y="10229"/>
                    <a:pt x="50878" y="10194"/>
                  </a:cubicBezTo>
                  <a:lnTo>
                    <a:pt x="50878" y="10194"/>
                  </a:lnTo>
                  <a:cubicBezTo>
                    <a:pt x="50878" y="10298"/>
                    <a:pt x="50860" y="10401"/>
                    <a:pt x="50860" y="10505"/>
                  </a:cubicBezTo>
                  <a:cubicBezTo>
                    <a:pt x="50614" y="11663"/>
                    <a:pt x="50148" y="12321"/>
                    <a:pt x="49280" y="12321"/>
                  </a:cubicBezTo>
                  <a:cubicBezTo>
                    <a:pt x="48931" y="12321"/>
                    <a:pt x="48517" y="12214"/>
                    <a:pt x="48026" y="11991"/>
                  </a:cubicBezTo>
                  <a:cubicBezTo>
                    <a:pt x="46374" y="11254"/>
                    <a:pt x="44693" y="10979"/>
                    <a:pt x="42955" y="10979"/>
                  </a:cubicBezTo>
                  <a:cubicBezTo>
                    <a:pt x="42002" y="10979"/>
                    <a:pt x="41033" y="11062"/>
                    <a:pt x="40042" y="11196"/>
                  </a:cubicBezTo>
                  <a:cubicBezTo>
                    <a:pt x="38536" y="11404"/>
                    <a:pt x="37062" y="12285"/>
                    <a:pt x="35569" y="12285"/>
                  </a:cubicBezTo>
                  <a:cubicBezTo>
                    <a:pt x="35195" y="12285"/>
                    <a:pt x="34820" y="12230"/>
                    <a:pt x="34443" y="12095"/>
                  </a:cubicBezTo>
                  <a:cubicBezTo>
                    <a:pt x="32698" y="11490"/>
                    <a:pt x="30900" y="11110"/>
                    <a:pt x="29068" y="10920"/>
                  </a:cubicBezTo>
                  <a:cubicBezTo>
                    <a:pt x="27080" y="10698"/>
                    <a:pt x="25171" y="10202"/>
                    <a:pt x="23146" y="10202"/>
                  </a:cubicBezTo>
                  <a:cubicBezTo>
                    <a:pt x="22337" y="10202"/>
                    <a:pt x="21510" y="10281"/>
                    <a:pt x="20652" y="10488"/>
                  </a:cubicBezTo>
                  <a:cubicBezTo>
                    <a:pt x="18383" y="11055"/>
                    <a:pt x="16215" y="12269"/>
                    <a:pt x="13793" y="12269"/>
                  </a:cubicBezTo>
                  <a:cubicBezTo>
                    <a:pt x="13559" y="12269"/>
                    <a:pt x="13322" y="12258"/>
                    <a:pt x="13083" y="12233"/>
                  </a:cubicBezTo>
                  <a:cubicBezTo>
                    <a:pt x="13049" y="12230"/>
                    <a:pt x="13015" y="12229"/>
                    <a:pt x="12982" y="12229"/>
                  </a:cubicBezTo>
                  <a:cubicBezTo>
                    <a:pt x="12473" y="12229"/>
                    <a:pt x="12176" y="12605"/>
                    <a:pt x="12323" y="13287"/>
                  </a:cubicBezTo>
                  <a:cubicBezTo>
                    <a:pt x="12498" y="14071"/>
                    <a:pt x="12325" y="14707"/>
                    <a:pt x="11687" y="14707"/>
                  </a:cubicBezTo>
                  <a:cubicBezTo>
                    <a:pt x="11510" y="14707"/>
                    <a:pt x="11296" y="14658"/>
                    <a:pt x="11044" y="14549"/>
                  </a:cubicBezTo>
                  <a:cubicBezTo>
                    <a:pt x="10655" y="14378"/>
                    <a:pt x="10292" y="14308"/>
                    <a:pt x="9947" y="14308"/>
                  </a:cubicBezTo>
                  <a:cubicBezTo>
                    <a:pt x="9034" y="14308"/>
                    <a:pt x="8242" y="14801"/>
                    <a:pt x="7415" y="15240"/>
                  </a:cubicBezTo>
                  <a:cubicBezTo>
                    <a:pt x="6965" y="15482"/>
                    <a:pt x="6672" y="15914"/>
                    <a:pt x="6879" y="16467"/>
                  </a:cubicBezTo>
                  <a:cubicBezTo>
                    <a:pt x="7027" y="16886"/>
                    <a:pt x="7334" y="16988"/>
                    <a:pt x="7700" y="16988"/>
                  </a:cubicBezTo>
                  <a:cubicBezTo>
                    <a:pt x="7802" y="16988"/>
                    <a:pt x="7910" y="16980"/>
                    <a:pt x="8020" y="16968"/>
                  </a:cubicBezTo>
                  <a:cubicBezTo>
                    <a:pt x="8305" y="16929"/>
                    <a:pt x="8590" y="16910"/>
                    <a:pt x="8875" y="16910"/>
                  </a:cubicBezTo>
                  <a:cubicBezTo>
                    <a:pt x="8970" y="16910"/>
                    <a:pt x="9065" y="16912"/>
                    <a:pt x="9160" y="16917"/>
                  </a:cubicBezTo>
                  <a:cubicBezTo>
                    <a:pt x="9186" y="16919"/>
                    <a:pt x="9214" y="16920"/>
                    <a:pt x="9242" y="16920"/>
                  </a:cubicBezTo>
                  <a:cubicBezTo>
                    <a:pt x="9458" y="16920"/>
                    <a:pt x="9735" y="16862"/>
                    <a:pt x="9947" y="16862"/>
                  </a:cubicBezTo>
                  <a:cubicBezTo>
                    <a:pt x="10131" y="16862"/>
                    <a:pt x="10266" y="16906"/>
                    <a:pt x="10266" y="17072"/>
                  </a:cubicBezTo>
                  <a:cubicBezTo>
                    <a:pt x="10266" y="17498"/>
                    <a:pt x="9728" y="17637"/>
                    <a:pt x="9291" y="17637"/>
                  </a:cubicBezTo>
                  <a:cubicBezTo>
                    <a:pt x="9214" y="17637"/>
                    <a:pt x="9141" y="17633"/>
                    <a:pt x="9074" y="17625"/>
                  </a:cubicBezTo>
                  <a:cubicBezTo>
                    <a:pt x="8873" y="17604"/>
                    <a:pt x="8677" y="17594"/>
                    <a:pt x="8484" y="17594"/>
                  </a:cubicBezTo>
                  <a:cubicBezTo>
                    <a:pt x="6314" y="17594"/>
                    <a:pt x="4587" y="18859"/>
                    <a:pt x="2714" y="19716"/>
                  </a:cubicBezTo>
                  <a:cubicBezTo>
                    <a:pt x="1193" y="20407"/>
                    <a:pt x="2351" y="21548"/>
                    <a:pt x="2282" y="22429"/>
                  </a:cubicBezTo>
                  <a:cubicBezTo>
                    <a:pt x="2264" y="22814"/>
                    <a:pt x="2455" y="22907"/>
                    <a:pt x="2706" y="22907"/>
                  </a:cubicBezTo>
                  <a:cubicBezTo>
                    <a:pt x="2939" y="22907"/>
                    <a:pt x="3223" y="22827"/>
                    <a:pt x="3440" y="22827"/>
                  </a:cubicBezTo>
                  <a:cubicBezTo>
                    <a:pt x="3665" y="22827"/>
                    <a:pt x="3872" y="22982"/>
                    <a:pt x="4079" y="23069"/>
                  </a:cubicBezTo>
                  <a:cubicBezTo>
                    <a:pt x="3924" y="23242"/>
                    <a:pt x="3751" y="23380"/>
                    <a:pt x="3544" y="23501"/>
                  </a:cubicBezTo>
                  <a:cubicBezTo>
                    <a:pt x="2610" y="23881"/>
                    <a:pt x="1643" y="24192"/>
                    <a:pt x="709" y="24589"/>
                  </a:cubicBezTo>
                  <a:cubicBezTo>
                    <a:pt x="329" y="24745"/>
                    <a:pt x="1" y="25142"/>
                    <a:pt x="226" y="25609"/>
                  </a:cubicBezTo>
                  <a:cubicBezTo>
                    <a:pt x="325" y="25816"/>
                    <a:pt x="462" y="25880"/>
                    <a:pt x="615" y="25880"/>
                  </a:cubicBezTo>
                  <a:cubicBezTo>
                    <a:pt x="807" y="25880"/>
                    <a:pt x="1026" y="25778"/>
                    <a:pt x="1228" y="25730"/>
                  </a:cubicBezTo>
                  <a:cubicBezTo>
                    <a:pt x="2248" y="25454"/>
                    <a:pt x="3354" y="25350"/>
                    <a:pt x="4252" y="24866"/>
                  </a:cubicBezTo>
                  <a:cubicBezTo>
                    <a:pt x="4601" y="24679"/>
                    <a:pt x="4965" y="24620"/>
                    <a:pt x="5336" y="24620"/>
                  </a:cubicBezTo>
                  <a:cubicBezTo>
                    <a:pt x="5952" y="24620"/>
                    <a:pt x="6585" y="24782"/>
                    <a:pt x="7191" y="24782"/>
                  </a:cubicBezTo>
                  <a:cubicBezTo>
                    <a:pt x="7702" y="24782"/>
                    <a:pt x="8195" y="24667"/>
                    <a:pt x="8642" y="24244"/>
                  </a:cubicBezTo>
                  <a:cubicBezTo>
                    <a:pt x="9143" y="23760"/>
                    <a:pt x="9627" y="23276"/>
                    <a:pt x="10128" y="22809"/>
                  </a:cubicBezTo>
                  <a:cubicBezTo>
                    <a:pt x="10518" y="22438"/>
                    <a:pt x="10935" y="22335"/>
                    <a:pt x="11366" y="22335"/>
                  </a:cubicBezTo>
                  <a:cubicBezTo>
                    <a:pt x="11904" y="22335"/>
                    <a:pt x="12465" y="22495"/>
                    <a:pt x="13026" y="22495"/>
                  </a:cubicBezTo>
                  <a:cubicBezTo>
                    <a:pt x="13270" y="22495"/>
                    <a:pt x="13515" y="22465"/>
                    <a:pt x="13757" y="22377"/>
                  </a:cubicBezTo>
                  <a:cubicBezTo>
                    <a:pt x="14876" y="21972"/>
                    <a:pt x="15968" y="21278"/>
                    <a:pt x="17215" y="21278"/>
                  </a:cubicBezTo>
                  <a:cubicBezTo>
                    <a:pt x="17721" y="21278"/>
                    <a:pt x="18252" y="21392"/>
                    <a:pt x="18820" y="21686"/>
                  </a:cubicBezTo>
                  <a:cubicBezTo>
                    <a:pt x="20272" y="22429"/>
                    <a:pt x="22242" y="22343"/>
                    <a:pt x="21966" y="24780"/>
                  </a:cubicBezTo>
                  <a:cubicBezTo>
                    <a:pt x="21914" y="25212"/>
                    <a:pt x="22104" y="25868"/>
                    <a:pt x="22415" y="26127"/>
                  </a:cubicBezTo>
                  <a:cubicBezTo>
                    <a:pt x="23746" y="27251"/>
                    <a:pt x="23659" y="29411"/>
                    <a:pt x="23210" y="29981"/>
                  </a:cubicBezTo>
                  <a:cubicBezTo>
                    <a:pt x="22052" y="31485"/>
                    <a:pt x="22484" y="32573"/>
                    <a:pt x="22985" y="33973"/>
                  </a:cubicBezTo>
                  <a:cubicBezTo>
                    <a:pt x="23124" y="34405"/>
                    <a:pt x="22795" y="35045"/>
                    <a:pt x="22553" y="35529"/>
                  </a:cubicBezTo>
                  <a:cubicBezTo>
                    <a:pt x="21447" y="37844"/>
                    <a:pt x="19356" y="39469"/>
                    <a:pt x="18233" y="41802"/>
                  </a:cubicBezTo>
                  <a:cubicBezTo>
                    <a:pt x="17455" y="43409"/>
                    <a:pt x="17058" y="48783"/>
                    <a:pt x="18354" y="49734"/>
                  </a:cubicBezTo>
                  <a:cubicBezTo>
                    <a:pt x="20220" y="51116"/>
                    <a:pt x="19927" y="52862"/>
                    <a:pt x="20238" y="54659"/>
                  </a:cubicBezTo>
                  <a:cubicBezTo>
                    <a:pt x="20428" y="55748"/>
                    <a:pt x="20410" y="57528"/>
                    <a:pt x="20687" y="57752"/>
                  </a:cubicBezTo>
                  <a:cubicBezTo>
                    <a:pt x="22380" y="59083"/>
                    <a:pt x="22242" y="61364"/>
                    <a:pt x="23625" y="62764"/>
                  </a:cubicBezTo>
                  <a:cubicBezTo>
                    <a:pt x="23915" y="63066"/>
                    <a:pt x="24197" y="63258"/>
                    <a:pt x="24508" y="63258"/>
                  </a:cubicBezTo>
                  <a:cubicBezTo>
                    <a:pt x="24660" y="63258"/>
                    <a:pt x="24820" y="63212"/>
                    <a:pt x="24990" y="63110"/>
                  </a:cubicBezTo>
                  <a:cubicBezTo>
                    <a:pt x="25508" y="62816"/>
                    <a:pt x="25526" y="62246"/>
                    <a:pt x="25197" y="61831"/>
                  </a:cubicBezTo>
                  <a:cubicBezTo>
                    <a:pt x="23607" y="59671"/>
                    <a:pt x="23746" y="56888"/>
                    <a:pt x="22536" y="54590"/>
                  </a:cubicBezTo>
                  <a:cubicBezTo>
                    <a:pt x="22415" y="54348"/>
                    <a:pt x="22605" y="53933"/>
                    <a:pt x="22692" y="53605"/>
                  </a:cubicBezTo>
                  <a:cubicBezTo>
                    <a:pt x="22704" y="53568"/>
                    <a:pt x="22878" y="53539"/>
                    <a:pt x="22981" y="53539"/>
                  </a:cubicBezTo>
                  <a:cubicBezTo>
                    <a:pt x="23021" y="53539"/>
                    <a:pt x="23050" y="53543"/>
                    <a:pt x="23054" y="53553"/>
                  </a:cubicBezTo>
                  <a:cubicBezTo>
                    <a:pt x="23175" y="53812"/>
                    <a:pt x="23366" y="54106"/>
                    <a:pt x="23366" y="54400"/>
                  </a:cubicBezTo>
                  <a:cubicBezTo>
                    <a:pt x="23383" y="56819"/>
                    <a:pt x="24973" y="58617"/>
                    <a:pt x="26027" y="60569"/>
                  </a:cubicBezTo>
                  <a:cubicBezTo>
                    <a:pt x="26977" y="62297"/>
                    <a:pt x="28654" y="63663"/>
                    <a:pt x="27720" y="65978"/>
                  </a:cubicBezTo>
                  <a:cubicBezTo>
                    <a:pt x="27530" y="66445"/>
                    <a:pt x="27928" y="66791"/>
                    <a:pt x="28273" y="67136"/>
                  </a:cubicBezTo>
                  <a:cubicBezTo>
                    <a:pt x="29138" y="68000"/>
                    <a:pt x="30226" y="68536"/>
                    <a:pt x="31246" y="69193"/>
                  </a:cubicBezTo>
                  <a:cubicBezTo>
                    <a:pt x="32910" y="70222"/>
                    <a:pt x="34447" y="71516"/>
                    <a:pt x="36422" y="71516"/>
                  </a:cubicBezTo>
                  <a:cubicBezTo>
                    <a:pt x="36867" y="71516"/>
                    <a:pt x="37334" y="71451"/>
                    <a:pt x="37830" y="71301"/>
                  </a:cubicBezTo>
                  <a:cubicBezTo>
                    <a:pt x="37930" y="71272"/>
                    <a:pt x="38022" y="71258"/>
                    <a:pt x="38107" y="71258"/>
                  </a:cubicBezTo>
                  <a:cubicBezTo>
                    <a:pt x="38527" y="71258"/>
                    <a:pt x="38793" y="71582"/>
                    <a:pt x="39023" y="71941"/>
                  </a:cubicBezTo>
                  <a:cubicBezTo>
                    <a:pt x="39748" y="73098"/>
                    <a:pt x="40768" y="73721"/>
                    <a:pt x="42116" y="74032"/>
                  </a:cubicBezTo>
                  <a:cubicBezTo>
                    <a:pt x="43585" y="74360"/>
                    <a:pt x="45296" y="74775"/>
                    <a:pt x="45745" y="76399"/>
                  </a:cubicBezTo>
                  <a:cubicBezTo>
                    <a:pt x="46194" y="78110"/>
                    <a:pt x="47439" y="79112"/>
                    <a:pt x="48648" y="79907"/>
                  </a:cubicBezTo>
                  <a:cubicBezTo>
                    <a:pt x="49237" y="80296"/>
                    <a:pt x="50039" y="81326"/>
                    <a:pt x="50895" y="81326"/>
                  </a:cubicBezTo>
                  <a:cubicBezTo>
                    <a:pt x="51372" y="81326"/>
                    <a:pt x="51865" y="81007"/>
                    <a:pt x="52347" y="80080"/>
                  </a:cubicBezTo>
                  <a:cubicBezTo>
                    <a:pt x="52462" y="79850"/>
                    <a:pt x="52631" y="79714"/>
                    <a:pt x="52813" y="79714"/>
                  </a:cubicBezTo>
                  <a:cubicBezTo>
                    <a:pt x="53013" y="79714"/>
                    <a:pt x="53228" y="79880"/>
                    <a:pt x="53401" y="80270"/>
                  </a:cubicBezTo>
                  <a:cubicBezTo>
                    <a:pt x="54593" y="83156"/>
                    <a:pt x="53919" y="85697"/>
                    <a:pt x="51621" y="87943"/>
                  </a:cubicBezTo>
                  <a:cubicBezTo>
                    <a:pt x="50498" y="89049"/>
                    <a:pt x="49806" y="90604"/>
                    <a:pt x="50774" y="92194"/>
                  </a:cubicBezTo>
                  <a:cubicBezTo>
                    <a:pt x="51085" y="92730"/>
                    <a:pt x="51068" y="92886"/>
                    <a:pt x="50688" y="93283"/>
                  </a:cubicBezTo>
                  <a:cubicBezTo>
                    <a:pt x="49685" y="94337"/>
                    <a:pt x="49703" y="95875"/>
                    <a:pt x="50567" y="96636"/>
                  </a:cubicBezTo>
                  <a:cubicBezTo>
                    <a:pt x="52208" y="98087"/>
                    <a:pt x="52986" y="99971"/>
                    <a:pt x="53971" y="101803"/>
                  </a:cubicBezTo>
                  <a:cubicBezTo>
                    <a:pt x="55440" y="104516"/>
                    <a:pt x="56771" y="107281"/>
                    <a:pt x="59933" y="108629"/>
                  </a:cubicBezTo>
                  <a:cubicBezTo>
                    <a:pt x="61661" y="109372"/>
                    <a:pt x="62629" y="111014"/>
                    <a:pt x="62664" y="113122"/>
                  </a:cubicBezTo>
                  <a:cubicBezTo>
                    <a:pt x="62716" y="116319"/>
                    <a:pt x="62871" y="119516"/>
                    <a:pt x="63096" y="122713"/>
                  </a:cubicBezTo>
                  <a:cubicBezTo>
                    <a:pt x="63251" y="125115"/>
                    <a:pt x="64426" y="127431"/>
                    <a:pt x="63631" y="129920"/>
                  </a:cubicBezTo>
                  <a:cubicBezTo>
                    <a:pt x="63303" y="130922"/>
                    <a:pt x="63459" y="131907"/>
                    <a:pt x="63839" y="132875"/>
                  </a:cubicBezTo>
                  <a:cubicBezTo>
                    <a:pt x="64323" y="134067"/>
                    <a:pt x="64461" y="135363"/>
                    <a:pt x="64288" y="136642"/>
                  </a:cubicBezTo>
                  <a:cubicBezTo>
                    <a:pt x="64184" y="137593"/>
                    <a:pt x="64582" y="138664"/>
                    <a:pt x="65653" y="139148"/>
                  </a:cubicBezTo>
                  <a:cubicBezTo>
                    <a:pt x="65680" y="139159"/>
                    <a:pt x="65711" y="139163"/>
                    <a:pt x="65743" y="139163"/>
                  </a:cubicBezTo>
                  <a:cubicBezTo>
                    <a:pt x="65886" y="139163"/>
                    <a:pt x="66069" y="139076"/>
                    <a:pt x="66205" y="139076"/>
                  </a:cubicBezTo>
                  <a:cubicBezTo>
                    <a:pt x="66332" y="139076"/>
                    <a:pt x="66419" y="139151"/>
                    <a:pt x="66397" y="139442"/>
                  </a:cubicBezTo>
                  <a:cubicBezTo>
                    <a:pt x="66362" y="139995"/>
                    <a:pt x="67071" y="140565"/>
                    <a:pt x="66293" y="141135"/>
                  </a:cubicBezTo>
                  <a:cubicBezTo>
                    <a:pt x="65895" y="141412"/>
                    <a:pt x="65360" y="142259"/>
                    <a:pt x="65774" y="142414"/>
                  </a:cubicBezTo>
                  <a:cubicBezTo>
                    <a:pt x="66898" y="142846"/>
                    <a:pt x="66500" y="143797"/>
                    <a:pt x="66777" y="144488"/>
                  </a:cubicBezTo>
                  <a:cubicBezTo>
                    <a:pt x="67468" y="146164"/>
                    <a:pt x="68505" y="147668"/>
                    <a:pt x="69801" y="148929"/>
                  </a:cubicBezTo>
                  <a:cubicBezTo>
                    <a:pt x="71823" y="150906"/>
                    <a:pt x="74091" y="152091"/>
                    <a:pt x="76808" y="152091"/>
                  </a:cubicBezTo>
                  <a:cubicBezTo>
                    <a:pt x="77226" y="152091"/>
                    <a:pt x="77656" y="152063"/>
                    <a:pt x="78096" y="152005"/>
                  </a:cubicBezTo>
                  <a:cubicBezTo>
                    <a:pt x="78355" y="151953"/>
                    <a:pt x="78580" y="151781"/>
                    <a:pt x="78718" y="151556"/>
                  </a:cubicBezTo>
                  <a:cubicBezTo>
                    <a:pt x="78874" y="151262"/>
                    <a:pt x="78615" y="151038"/>
                    <a:pt x="78355" y="150882"/>
                  </a:cubicBezTo>
                  <a:cubicBezTo>
                    <a:pt x="77595" y="150415"/>
                    <a:pt x="76835" y="149914"/>
                    <a:pt x="76040" y="149482"/>
                  </a:cubicBezTo>
                  <a:cubicBezTo>
                    <a:pt x="73914" y="148342"/>
                    <a:pt x="73551" y="146648"/>
                    <a:pt x="74899" y="144695"/>
                  </a:cubicBezTo>
                  <a:cubicBezTo>
                    <a:pt x="75608" y="143658"/>
                    <a:pt x="75694" y="142570"/>
                    <a:pt x="74173" y="142017"/>
                  </a:cubicBezTo>
                  <a:cubicBezTo>
                    <a:pt x="73707" y="141861"/>
                    <a:pt x="72929" y="141550"/>
                    <a:pt x="73551" y="140997"/>
                  </a:cubicBezTo>
                  <a:cubicBezTo>
                    <a:pt x="74260" y="140340"/>
                    <a:pt x="74260" y="139597"/>
                    <a:pt x="74415" y="138837"/>
                  </a:cubicBezTo>
                  <a:cubicBezTo>
                    <a:pt x="74605" y="137783"/>
                    <a:pt x="73534" y="136193"/>
                    <a:pt x="75677" y="135985"/>
                  </a:cubicBezTo>
                  <a:cubicBezTo>
                    <a:pt x="75746" y="135985"/>
                    <a:pt x="75850" y="135588"/>
                    <a:pt x="75798" y="135432"/>
                  </a:cubicBezTo>
                  <a:cubicBezTo>
                    <a:pt x="75444" y="134260"/>
                    <a:pt x="75867" y="133923"/>
                    <a:pt x="76900" y="133923"/>
                  </a:cubicBezTo>
                  <a:cubicBezTo>
                    <a:pt x="76978" y="133923"/>
                    <a:pt x="77060" y="133925"/>
                    <a:pt x="77146" y="133929"/>
                  </a:cubicBezTo>
                  <a:cubicBezTo>
                    <a:pt x="77188" y="133931"/>
                    <a:pt x="77231" y="133932"/>
                    <a:pt x="77272" y="133932"/>
                  </a:cubicBezTo>
                  <a:cubicBezTo>
                    <a:pt x="78202" y="133932"/>
                    <a:pt x="78980" y="133388"/>
                    <a:pt x="79427" y="132512"/>
                  </a:cubicBezTo>
                  <a:cubicBezTo>
                    <a:pt x="79859" y="131648"/>
                    <a:pt x="79738" y="130836"/>
                    <a:pt x="79047" y="130110"/>
                  </a:cubicBezTo>
                  <a:cubicBezTo>
                    <a:pt x="78857" y="129902"/>
                    <a:pt x="78822" y="129557"/>
                    <a:pt x="78701" y="129280"/>
                  </a:cubicBezTo>
                  <a:lnTo>
                    <a:pt x="78701" y="129280"/>
                  </a:lnTo>
                  <a:cubicBezTo>
                    <a:pt x="78977" y="129298"/>
                    <a:pt x="79237" y="129332"/>
                    <a:pt x="79513" y="129384"/>
                  </a:cubicBezTo>
                  <a:cubicBezTo>
                    <a:pt x="79669" y="129427"/>
                    <a:pt x="79830" y="129448"/>
                    <a:pt x="79991" y="129448"/>
                  </a:cubicBezTo>
                  <a:cubicBezTo>
                    <a:pt x="80347" y="129448"/>
                    <a:pt x="80702" y="129344"/>
                    <a:pt x="80999" y="129142"/>
                  </a:cubicBezTo>
                  <a:cubicBezTo>
                    <a:pt x="82900" y="128001"/>
                    <a:pt x="83350" y="125841"/>
                    <a:pt x="84473" y="124148"/>
                  </a:cubicBezTo>
                  <a:cubicBezTo>
                    <a:pt x="85216" y="123024"/>
                    <a:pt x="86149" y="121815"/>
                    <a:pt x="85544" y="120225"/>
                  </a:cubicBezTo>
                  <a:cubicBezTo>
                    <a:pt x="85026" y="118808"/>
                    <a:pt x="85959" y="118186"/>
                    <a:pt x="86927" y="117356"/>
                  </a:cubicBezTo>
                  <a:cubicBezTo>
                    <a:pt x="88258" y="116233"/>
                    <a:pt x="90314" y="116371"/>
                    <a:pt x="91230" y="115213"/>
                  </a:cubicBezTo>
                  <a:cubicBezTo>
                    <a:pt x="93096" y="112846"/>
                    <a:pt x="93788" y="109908"/>
                    <a:pt x="93874" y="106866"/>
                  </a:cubicBezTo>
                  <a:cubicBezTo>
                    <a:pt x="93909" y="105743"/>
                    <a:pt x="93563" y="104637"/>
                    <a:pt x="94635" y="103635"/>
                  </a:cubicBezTo>
                  <a:cubicBezTo>
                    <a:pt x="95637" y="102650"/>
                    <a:pt x="96432" y="101492"/>
                    <a:pt x="97002" y="100213"/>
                  </a:cubicBezTo>
                  <a:cubicBezTo>
                    <a:pt x="98350" y="97189"/>
                    <a:pt x="97555" y="95668"/>
                    <a:pt x="93770" y="93404"/>
                  </a:cubicBezTo>
                  <a:cubicBezTo>
                    <a:pt x="92864" y="92866"/>
                    <a:pt x="92012" y="92178"/>
                    <a:pt x="90923" y="92178"/>
                  </a:cubicBezTo>
                  <a:cubicBezTo>
                    <a:pt x="90787" y="92178"/>
                    <a:pt x="90648" y="92189"/>
                    <a:pt x="90504" y="92212"/>
                  </a:cubicBezTo>
                  <a:cubicBezTo>
                    <a:pt x="90375" y="92232"/>
                    <a:pt x="90250" y="92241"/>
                    <a:pt x="90128" y="92241"/>
                  </a:cubicBezTo>
                  <a:cubicBezTo>
                    <a:pt x="89316" y="92241"/>
                    <a:pt x="88640" y="91827"/>
                    <a:pt x="87964" y="91451"/>
                  </a:cubicBezTo>
                  <a:cubicBezTo>
                    <a:pt x="86720" y="90760"/>
                    <a:pt x="85423" y="90190"/>
                    <a:pt x="84076" y="89740"/>
                  </a:cubicBezTo>
                  <a:cubicBezTo>
                    <a:pt x="83419" y="89533"/>
                    <a:pt x="82365" y="89412"/>
                    <a:pt x="82226" y="88306"/>
                  </a:cubicBezTo>
                  <a:cubicBezTo>
                    <a:pt x="81898" y="85511"/>
                    <a:pt x="80349" y="82231"/>
                    <a:pt x="77208" y="82231"/>
                  </a:cubicBezTo>
                  <a:cubicBezTo>
                    <a:pt x="77047" y="82231"/>
                    <a:pt x="76883" y="82240"/>
                    <a:pt x="76714" y="82258"/>
                  </a:cubicBezTo>
                  <a:cubicBezTo>
                    <a:pt x="76610" y="82274"/>
                    <a:pt x="76507" y="82282"/>
                    <a:pt x="76405" y="82282"/>
                  </a:cubicBezTo>
                  <a:cubicBezTo>
                    <a:pt x="75873" y="82282"/>
                    <a:pt x="75365" y="82061"/>
                    <a:pt x="75003" y="81670"/>
                  </a:cubicBezTo>
                  <a:cubicBezTo>
                    <a:pt x="73810" y="80478"/>
                    <a:pt x="72722" y="79147"/>
                    <a:pt x="71356" y="78179"/>
                  </a:cubicBezTo>
                  <a:cubicBezTo>
                    <a:pt x="70652" y="77672"/>
                    <a:pt x="69937" y="76844"/>
                    <a:pt x="68958" y="76844"/>
                  </a:cubicBezTo>
                  <a:cubicBezTo>
                    <a:pt x="68735" y="76844"/>
                    <a:pt x="68499" y="76887"/>
                    <a:pt x="68246" y="76987"/>
                  </a:cubicBezTo>
                  <a:cubicBezTo>
                    <a:pt x="68013" y="77081"/>
                    <a:pt x="67785" y="77113"/>
                    <a:pt x="67562" y="77113"/>
                  </a:cubicBezTo>
                  <a:cubicBezTo>
                    <a:pt x="67089" y="77113"/>
                    <a:pt x="66635" y="76969"/>
                    <a:pt x="66189" y="76969"/>
                  </a:cubicBezTo>
                  <a:cubicBezTo>
                    <a:pt x="64783" y="76969"/>
                    <a:pt x="63941" y="75706"/>
                    <a:pt x="62605" y="75706"/>
                  </a:cubicBezTo>
                  <a:cubicBezTo>
                    <a:pt x="62579" y="75706"/>
                    <a:pt x="62552" y="75707"/>
                    <a:pt x="62525" y="75708"/>
                  </a:cubicBezTo>
                  <a:cubicBezTo>
                    <a:pt x="62280" y="75708"/>
                    <a:pt x="61828" y="76012"/>
                    <a:pt x="61511" y="76012"/>
                  </a:cubicBezTo>
                  <a:cubicBezTo>
                    <a:pt x="61248" y="76012"/>
                    <a:pt x="61077" y="75802"/>
                    <a:pt x="61195" y="75034"/>
                  </a:cubicBezTo>
                  <a:cubicBezTo>
                    <a:pt x="61232" y="74788"/>
                    <a:pt x="60883" y="74612"/>
                    <a:pt x="60617" y="74612"/>
                  </a:cubicBezTo>
                  <a:cubicBezTo>
                    <a:pt x="60509" y="74612"/>
                    <a:pt x="60415" y="74641"/>
                    <a:pt x="60365" y="74706"/>
                  </a:cubicBezTo>
                  <a:cubicBezTo>
                    <a:pt x="59225" y="76088"/>
                    <a:pt x="57099" y="76071"/>
                    <a:pt x="56166" y="77747"/>
                  </a:cubicBezTo>
                  <a:cubicBezTo>
                    <a:pt x="55842" y="78325"/>
                    <a:pt x="55457" y="78771"/>
                    <a:pt x="54917" y="78771"/>
                  </a:cubicBezTo>
                  <a:cubicBezTo>
                    <a:pt x="54649" y="78771"/>
                    <a:pt x="54343" y="78661"/>
                    <a:pt x="53988" y="78404"/>
                  </a:cubicBezTo>
                  <a:cubicBezTo>
                    <a:pt x="53637" y="78125"/>
                    <a:pt x="53206" y="77982"/>
                    <a:pt x="52772" y="77982"/>
                  </a:cubicBezTo>
                  <a:cubicBezTo>
                    <a:pt x="52480" y="77982"/>
                    <a:pt x="52186" y="78047"/>
                    <a:pt x="51915" y="78179"/>
                  </a:cubicBezTo>
                  <a:cubicBezTo>
                    <a:pt x="51373" y="78410"/>
                    <a:pt x="50918" y="78527"/>
                    <a:pt x="50541" y="78527"/>
                  </a:cubicBezTo>
                  <a:cubicBezTo>
                    <a:pt x="49618" y="78527"/>
                    <a:pt x="49166" y="77825"/>
                    <a:pt x="49080" y="76365"/>
                  </a:cubicBezTo>
                  <a:cubicBezTo>
                    <a:pt x="49046" y="75397"/>
                    <a:pt x="49184" y="74446"/>
                    <a:pt x="49478" y="73530"/>
                  </a:cubicBezTo>
                  <a:cubicBezTo>
                    <a:pt x="50012" y="71861"/>
                    <a:pt x="49095" y="70692"/>
                    <a:pt x="47366" y="70692"/>
                  </a:cubicBezTo>
                  <a:cubicBezTo>
                    <a:pt x="47305" y="70692"/>
                    <a:pt x="47243" y="70693"/>
                    <a:pt x="47179" y="70696"/>
                  </a:cubicBezTo>
                  <a:cubicBezTo>
                    <a:pt x="46730" y="70714"/>
                    <a:pt x="46281" y="70765"/>
                    <a:pt x="45814" y="70783"/>
                  </a:cubicBezTo>
                  <a:cubicBezTo>
                    <a:pt x="45755" y="70784"/>
                    <a:pt x="45699" y="70786"/>
                    <a:pt x="45645" y="70786"/>
                  </a:cubicBezTo>
                  <a:cubicBezTo>
                    <a:pt x="45148" y="70786"/>
                    <a:pt x="44886" y="70683"/>
                    <a:pt x="45088" y="69919"/>
                  </a:cubicBezTo>
                  <a:cubicBezTo>
                    <a:pt x="45469" y="68484"/>
                    <a:pt x="46143" y="67240"/>
                    <a:pt x="46886" y="65996"/>
                  </a:cubicBezTo>
                  <a:cubicBezTo>
                    <a:pt x="47214" y="65443"/>
                    <a:pt x="47231" y="64993"/>
                    <a:pt x="46747" y="64613"/>
                  </a:cubicBezTo>
                  <a:cubicBezTo>
                    <a:pt x="46406" y="64334"/>
                    <a:pt x="45929" y="64209"/>
                    <a:pt x="45417" y="64209"/>
                  </a:cubicBezTo>
                  <a:cubicBezTo>
                    <a:pt x="44221" y="64209"/>
                    <a:pt x="42833" y="64889"/>
                    <a:pt x="42531" y="65857"/>
                  </a:cubicBezTo>
                  <a:cubicBezTo>
                    <a:pt x="42161" y="67044"/>
                    <a:pt x="40793" y="67929"/>
                    <a:pt x="39553" y="67929"/>
                  </a:cubicBezTo>
                  <a:cubicBezTo>
                    <a:pt x="39113" y="67929"/>
                    <a:pt x="38689" y="67817"/>
                    <a:pt x="38331" y="67568"/>
                  </a:cubicBezTo>
                  <a:cubicBezTo>
                    <a:pt x="36966" y="66601"/>
                    <a:pt x="35998" y="64872"/>
                    <a:pt x="36517" y="63455"/>
                  </a:cubicBezTo>
                  <a:cubicBezTo>
                    <a:pt x="37571" y="60569"/>
                    <a:pt x="37986" y="56802"/>
                    <a:pt x="41822" y="56093"/>
                  </a:cubicBezTo>
                  <a:cubicBezTo>
                    <a:pt x="44259" y="55627"/>
                    <a:pt x="46696" y="55299"/>
                    <a:pt x="49167" y="55126"/>
                  </a:cubicBezTo>
                  <a:cubicBezTo>
                    <a:pt x="49252" y="55120"/>
                    <a:pt x="49338" y="55117"/>
                    <a:pt x="49425" y="55117"/>
                  </a:cubicBezTo>
                  <a:cubicBezTo>
                    <a:pt x="50819" y="55117"/>
                    <a:pt x="52364" y="55920"/>
                    <a:pt x="51811" y="58133"/>
                  </a:cubicBezTo>
                  <a:cubicBezTo>
                    <a:pt x="51707" y="58582"/>
                    <a:pt x="52087" y="59204"/>
                    <a:pt x="52329" y="59688"/>
                  </a:cubicBezTo>
                  <a:cubicBezTo>
                    <a:pt x="52602" y="60250"/>
                    <a:pt x="52992" y="60846"/>
                    <a:pt x="53666" y="60846"/>
                  </a:cubicBezTo>
                  <a:cubicBezTo>
                    <a:pt x="53675" y="60846"/>
                    <a:pt x="53685" y="60846"/>
                    <a:pt x="53695" y="60846"/>
                  </a:cubicBezTo>
                  <a:cubicBezTo>
                    <a:pt x="54455" y="60811"/>
                    <a:pt x="54628" y="60085"/>
                    <a:pt x="54852" y="59498"/>
                  </a:cubicBezTo>
                  <a:cubicBezTo>
                    <a:pt x="55146" y="58703"/>
                    <a:pt x="55146" y="57822"/>
                    <a:pt x="54887" y="57027"/>
                  </a:cubicBezTo>
                  <a:cubicBezTo>
                    <a:pt x="54127" y="54642"/>
                    <a:pt x="54922" y="53017"/>
                    <a:pt x="57116" y="51894"/>
                  </a:cubicBezTo>
                  <a:cubicBezTo>
                    <a:pt x="58291" y="51307"/>
                    <a:pt x="59328" y="50442"/>
                    <a:pt x="60469" y="49786"/>
                  </a:cubicBezTo>
                  <a:cubicBezTo>
                    <a:pt x="62128" y="48818"/>
                    <a:pt x="61575" y="46641"/>
                    <a:pt x="63096" y="45448"/>
                  </a:cubicBezTo>
                  <a:cubicBezTo>
                    <a:pt x="64720" y="44169"/>
                    <a:pt x="65757" y="42113"/>
                    <a:pt x="68194" y="42061"/>
                  </a:cubicBezTo>
                  <a:cubicBezTo>
                    <a:pt x="68574" y="42044"/>
                    <a:pt x="69006" y="41888"/>
                    <a:pt x="69075" y="41456"/>
                  </a:cubicBezTo>
                  <a:cubicBezTo>
                    <a:pt x="69369" y="39711"/>
                    <a:pt x="70924" y="39417"/>
                    <a:pt x="72151" y="38760"/>
                  </a:cubicBezTo>
                  <a:cubicBezTo>
                    <a:pt x="72321" y="38667"/>
                    <a:pt x="72565" y="38512"/>
                    <a:pt x="72753" y="38512"/>
                  </a:cubicBezTo>
                  <a:cubicBezTo>
                    <a:pt x="72950" y="38512"/>
                    <a:pt x="73086" y="38680"/>
                    <a:pt x="73015" y="39261"/>
                  </a:cubicBezTo>
                  <a:cubicBezTo>
                    <a:pt x="72956" y="39796"/>
                    <a:pt x="73330" y="40078"/>
                    <a:pt x="73743" y="40078"/>
                  </a:cubicBezTo>
                  <a:cubicBezTo>
                    <a:pt x="73931" y="40078"/>
                    <a:pt x="74127" y="40020"/>
                    <a:pt x="74294" y="39901"/>
                  </a:cubicBezTo>
                  <a:cubicBezTo>
                    <a:pt x="75746" y="38898"/>
                    <a:pt x="77457" y="38501"/>
                    <a:pt x="78995" y="37723"/>
                  </a:cubicBezTo>
                  <a:cubicBezTo>
                    <a:pt x="79738" y="37326"/>
                    <a:pt x="80291" y="36773"/>
                    <a:pt x="79790" y="35995"/>
                  </a:cubicBezTo>
                  <a:cubicBezTo>
                    <a:pt x="79597" y="35708"/>
                    <a:pt x="79414" y="35603"/>
                    <a:pt x="79239" y="35603"/>
                  </a:cubicBezTo>
                  <a:cubicBezTo>
                    <a:pt x="78865" y="35603"/>
                    <a:pt x="78524" y="36083"/>
                    <a:pt x="78183" y="36306"/>
                  </a:cubicBezTo>
                  <a:cubicBezTo>
                    <a:pt x="77820" y="36545"/>
                    <a:pt x="77447" y="36741"/>
                    <a:pt x="77083" y="36741"/>
                  </a:cubicBezTo>
                  <a:cubicBezTo>
                    <a:pt x="76789" y="36741"/>
                    <a:pt x="76501" y="36612"/>
                    <a:pt x="76230" y="36272"/>
                  </a:cubicBezTo>
                  <a:cubicBezTo>
                    <a:pt x="75677" y="35563"/>
                    <a:pt x="76126" y="35148"/>
                    <a:pt x="76731" y="34751"/>
                  </a:cubicBezTo>
                  <a:cubicBezTo>
                    <a:pt x="77318" y="34371"/>
                    <a:pt x="77284" y="33818"/>
                    <a:pt x="77025" y="33196"/>
                  </a:cubicBezTo>
                  <a:cubicBezTo>
                    <a:pt x="76921" y="32919"/>
                    <a:pt x="76161" y="33023"/>
                    <a:pt x="76593" y="32643"/>
                  </a:cubicBezTo>
                  <a:cubicBezTo>
                    <a:pt x="76708" y="32536"/>
                    <a:pt x="76805" y="32492"/>
                    <a:pt x="76888" y="32492"/>
                  </a:cubicBezTo>
                  <a:cubicBezTo>
                    <a:pt x="77143" y="32492"/>
                    <a:pt x="77279" y="32892"/>
                    <a:pt x="77474" y="33126"/>
                  </a:cubicBezTo>
                  <a:cubicBezTo>
                    <a:pt x="77830" y="33563"/>
                    <a:pt x="78559" y="33892"/>
                    <a:pt x="79019" y="33892"/>
                  </a:cubicBezTo>
                  <a:cubicBezTo>
                    <a:pt x="79251" y="33892"/>
                    <a:pt x="79415" y="33808"/>
                    <a:pt x="79427" y="33610"/>
                  </a:cubicBezTo>
                  <a:cubicBezTo>
                    <a:pt x="79485" y="32639"/>
                    <a:pt x="79866" y="32465"/>
                    <a:pt x="80317" y="32465"/>
                  </a:cubicBezTo>
                  <a:cubicBezTo>
                    <a:pt x="80569" y="32465"/>
                    <a:pt x="80843" y="32519"/>
                    <a:pt x="81095" y="32519"/>
                  </a:cubicBezTo>
                  <a:cubicBezTo>
                    <a:pt x="81194" y="32519"/>
                    <a:pt x="81290" y="32511"/>
                    <a:pt x="81380" y="32487"/>
                  </a:cubicBezTo>
                  <a:cubicBezTo>
                    <a:pt x="81894" y="32340"/>
                    <a:pt x="82271" y="31830"/>
                    <a:pt x="82830" y="31830"/>
                  </a:cubicBezTo>
                  <a:cubicBezTo>
                    <a:pt x="82928" y="31830"/>
                    <a:pt x="83031" y="31846"/>
                    <a:pt x="83142" y="31882"/>
                  </a:cubicBezTo>
                  <a:cubicBezTo>
                    <a:pt x="82658" y="32470"/>
                    <a:pt x="82192" y="33075"/>
                    <a:pt x="81708" y="33679"/>
                  </a:cubicBezTo>
                  <a:cubicBezTo>
                    <a:pt x="81604" y="33766"/>
                    <a:pt x="81483" y="33835"/>
                    <a:pt x="81362" y="33904"/>
                  </a:cubicBezTo>
                  <a:cubicBezTo>
                    <a:pt x="81034" y="34129"/>
                    <a:pt x="80775" y="34423"/>
                    <a:pt x="80878" y="34872"/>
                  </a:cubicBezTo>
                  <a:cubicBezTo>
                    <a:pt x="80999" y="35304"/>
                    <a:pt x="81380" y="35252"/>
                    <a:pt x="81673" y="35425"/>
                  </a:cubicBezTo>
                  <a:cubicBezTo>
                    <a:pt x="81973" y="35596"/>
                    <a:pt x="82292" y="35648"/>
                    <a:pt x="82615" y="35648"/>
                  </a:cubicBezTo>
                  <a:cubicBezTo>
                    <a:pt x="83130" y="35648"/>
                    <a:pt x="83658" y="35514"/>
                    <a:pt x="84141" y="35514"/>
                  </a:cubicBezTo>
                  <a:cubicBezTo>
                    <a:pt x="84489" y="35514"/>
                    <a:pt x="84814" y="35584"/>
                    <a:pt x="85095" y="35822"/>
                  </a:cubicBezTo>
                  <a:cubicBezTo>
                    <a:pt x="85535" y="36187"/>
                    <a:pt x="85875" y="36332"/>
                    <a:pt x="86134" y="36332"/>
                  </a:cubicBezTo>
                  <a:cubicBezTo>
                    <a:pt x="86710" y="36332"/>
                    <a:pt x="86887" y="35618"/>
                    <a:pt x="86875" y="35010"/>
                  </a:cubicBezTo>
                  <a:cubicBezTo>
                    <a:pt x="86858" y="34215"/>
                    <a:pt x="87601" y="32729"/>
                    <a:pt x="85665" y="32625"/>
                  </a:cubicBezTo>
                  <a:cubicBezTo>
                    <a:pt x="84991" y="32591"/>
                    <a:pt x="85130" y="31986"/>
                    <a:pt x="85596" y="31485"/>
                  </a:cubicBezTo>
                  <a:cubicBezTo>
                    <a:pt x="87186" y="29791"/>
                    <a:pt x="86650" y="27527"/>
                    <a:pt x="84508" y="26767"/>
                  </a:cubicBezTo>
                  <a:cubicBezTo>
                    <a:pt x="84006" y="26594"/>
                    <a:pt x="83557" y="26214"/>
                    <a:pt x="83661" y="25834"/>
                  </a:cubicBezTo>
                  <a:cubicBezTo>
                    <a:pt x="83972" y="24503"/>
                    <a:pt x="83039" y="23432"/>
                    <a:pt x="83090" y="22170"/>
                  </a:cubicBezTo>
                  <a:cubicBezTo>
                    <a:pt x="83108" y="21773"/>
                    <a:pt x="83073" y="21375"/>
                    <a:pt x="82624" y="21220"/>
                  </a:cubicBezTo>
                  <a:cubicBezTo>
                    <a:pt x="82529" y="21188"/>
                    <a:pt x="82437" y="21174"/>
                    <a:pt x="82348" y="21174"/>
                  </a:cubicBezTo>
                  <a:cubicBezTo>
                    <a:pt x="82049" y="21174"/>
                    <a:pt x="81787" y="21339"/>
                    <a:pt x="81587" y="21565"/>
                  </a:cubicBezTo>
                  <a:cubicBezTo>
                    <a:pt x="81086" y="22135"/>
                    <a:pt x="80464" y="22602"/>
                    <a:pt x="79755" y="22913"/>
                  </a:cubicBezTo>
                  <a:cubicBezTo>
                    <a:pt x="79583" y="22995"/>
                    <a:pt x="79411" y="23071"/>
                    <a:pt x="79247" y="23071"/>
                  </a:cubicBezTo>
                  <a:cubicBezTo>
                    <a:pt x="79097" y="23071"/>
                    <a:pt x="78954" y="23008"/>
                    <a:pt x="78822" y="22827"/>
                  </a:cubicBezTo>
                  <a:cubicBezTo>
                    <a:pt x="78563" y="22498"/>
                    <a:pt x="78753" y="22274"/>
                    <a:pt x="78960" y="22015"/>
                  </a:cubicBezTo>
                  <a:cubicBezTo>
                    <a:pt x="79496" y="21254"/>
                    <a:pt x="79254" y="20736"/>
                    <a:pt x="78459" y="20338"/>
                  </a:cubicBezTo>
                  <a:cubicBezTo>
                    <a:pt x="78131" y="20165"/>
                    <a:pt x="77837" y="19941"/>
                    <a:pt x="77578" y="19664"/>
                  </a:cubicBezTo>
                  <a:cubicBezTo>
                    <a:pt x="77168" y="19146"/>
                    <a:pt x="76356" y="18913"/>
                    <a:pt x="75491" y="18913"/>
                  </a:cubicBezTo>
                  <a:cubicBezTo>
                    <a:pt x="74278" y="18913"/>
                    <a:pt x="72961" y="19371"/>
                    <a:pt x="72497" y="20148"/>
                  </a:cubicBezTo>
                  <a:cubicBezTo>
                    <a:pt x="72065" y="20874"/>
                    <a:pt x="71788" y="21824"/>
                    <a:pt x="70803" y="22170"/>
                  </a:cubicBezTo>
                  <a:cubicBezTo>
                    <a:pt x="70354" y="22326"/>
                    <a:pt x="70043" y="22792"/>
                    <a:pt x="70337" y="23276"/>
                  </a:cubicBezTo>
                  <a:cubicBezTo>
                    <a:pt x="71356" y="25004"/>
                    <a:pt x="70043" y="25488"/>
                    <a:pt x="68902" y="26024"/>
                  </a:cubicBezTo>
                  <a:cubicBezTo>
                    <a:pt x="67693" y="26577"/>
                    <a:pt x="66241" y="26801"/>
                    <a:pt x="66345" y="28685"/>
                  </a:cubicBezTo>
                  <a:cubicBezTo>
                    <a:pt x="66379" y="29117"/>
                    <a:pt x="65895" y="29601"/>
                    <a:pt x="65584" y="30016"/>
                  </a:cubicBezTo>
                  <a:cubicBezTo>
                    <a:pt x="65442" y="30197"/>
                    <a:pt x="65232" y="30465"/>
                    <a:pt x="64983" y="30465"/>
                  </a:cubicBezTo>
                  <a:cubicBezTo>
                    <a:pt x="64899" y="30465"/>
                    <a:pt x="64811" y="30435"/>
                    <a:pt x="64720" y="30361"/>
                  </a:cubicBezTo>
                  <a:cubicBezTo>
                    <a:pt x="64409" y="30120"/>
                    <a:pt x="64288" y="29705"/>
                    <a:pt x="64409" y="29342"/>
                  </a:cubicBezTo>
                  <a:cubicBezTo>
                    <a:pt x="64893" y="27596"/>
                    <a:pt x="65083" y="25989"/>
                    <a:pt x="62508" y="25903"/>
                  </a:cubicBezTo>
                  <a:cubicBezTo>
                    <a:pt x="62249" y="25903"/>
                    <a:pt x="61938" y="25644"/>
                    <a:pt x="61748" y="25436"/>
                  </a:cubicBezTo>
                  <a:cubicBezTo>
                    <a:pt x="61084" y="24759"/>
                    <a:pt x="60400" y="24243"/>
                    <a:pt x="59552" y="24243"/>
                  </a:cubicBezTo>
                  <a:cubicBezTo>
                    <a:pt x="59252" y="24243"/>
                    <a:pt x="58932" y="24307"/>
                    <a:pt x="58585" y="24451"/>
                  </a:cubicBezTo>
                  <a:cubicBezTo>
                    <a:pt x="58566" y="24457"/>
                    <a:pt x="58545" y="24459"/>
                    <a:pt x="58523" y="24459"/>
                  </a:cubicBezTo>
                  <a:cubicBezTo>
                    <a:pt x="58409" y="24459"/>
                    <a:pt x="58269" y="24394"/>
                    <a:pt x="58153" y="24365"/>
                  </a:cubicBezTo>
                  <a:cubicBezTo>
                    <a:pt x="58758" y="23501"/>
                    <a:pt x="57687" y="22429"/>
                    <a:pt x="58827" y="21462"/>
                  </a:cubicBezTo>
                  <a:cubicBezTo>
                    <a:pt x="61800" y="18990"/>
                    <a:pt x="65757" y="18558"/>
                    <a:pt x="68781" y="16294"/>
                  </a:cubicBezTo>
                  <a:lnTo>
                    <a:pt x="69455" y="15828"/>
                  </a:lnTo>
                  <a:cubicBezTo>
                    <a:pt x="70337" y="15586"/>
                    <a:pt x="71218" y="15206"/>
                    <a:pt x="72117" y="15119"/>
                  </a:cubicBezTo>
                  <a:cubicBezTo>
                    <a:pt x="74346" y="14912"/>
                    <a:pt x="75331" y="13910"/>
                    <a:pt x="75262" y="11767"/>
                  </a:cubicBezTo>
                  <a:cubicBezTo>
                    <a:pt x="75262" y="11596"/>
                    <a:pt x="75299" y="11543"/>
                    <a:pt x="75353" y="11543"/>
                  </a:cubicBezTo>
                  <a:cubicBezTo>
                    <a:pt x="75441" y="11543"/>
                    <a:pt x="75574" y="11687"/>
                    <a:pt x="75659" y="11698"/>
                  </a:cubicBezTo>
                  <a:cubicBezTo>
                    <a:pt x="76835" y="11749"/>
                    <a:pt x="77733" y="12683"/>
                    <a:pt x="78943" y="12752"/>
                  </a:cubicBezTo>
                  <a:cubicBezTo>
                    <a:pt x="79461" y="12769"/>
                    <a:pt x="79945" y="13391"/>
                    <a:pt x="80412" y="13789"/>
                  </a:cubicBezTo>
                  <a:cubicBezTo>
                    <a:pt x="80395" y="13944"/>
                    <a:pt x="80325" y="14082"/>
                    <a:pt x="80204" y="14203"/>
                  </a:cubicBezTo>
                  <a:cubicBezTo>
                    <a:pt x="79099" y="14649"/>
                    <a:pt x="78211" y="15599"/>
                    <a:pt x="76924" y="15599"/>
                  </a:cubicBezTo>
                  <a:cubicBezTo>
                    <a:pt x="76763" y="15599"/>
                    <a:pt x="76595" y="15584"/>
                    <a:pt x="76420" y="15551"/>
                  </a:cubicBezTo>
                  <a:cubicBezTo>
                    <a:pt x="76325" y="15534"/>
                    <a:pt x="76229" y="15525"/>
                    <a:pt x="76135" y="15525"/>
                  </a:cubicBezTo>
                  <a:cubicBezTo>
                    <a:pt x="75478" y="15525"/>
                    <a:pt x="74895" y="15947"/>
                    <a:pt x="74985" y="16778"/>
                  </a:cubicBezTo>
                  <a:cubicBezTo>
                    <a:pt x="75041" y="17437"/>
                    <a:pt x="75422" y="17620"/>
                    <a:pt x="75866" y="17620"/>
                  </a:cubicBezTo>
                  <a:cubicBezTo>
                    <a:pt x="76109" y="17620"/>
                    <a:pt x="76372" y="17565"/>
                    <a:pt x="76610" y="17504"/>
                  </a:cubicBezTo>
                  <a:cubicBezTo>
                    <a:pt x="76822" y="17451"/>
                    <a:pt x="77015" y="17425"/>
                    <a:pt x="77193" y="17425"/>
                  </a:cubicBezTo>
                  <a:cubicBezTo>
                    <a:pt x="77828" y="17425"/>
                    <a:pt x="78286" y="17750"/>
                    <a:pt x="78839" y="18316"/>
                  </a:cubicBezTo>
                  <a:cubicBezTo>
                    <a:pt x="79617" y="19094"/>
                    <a:pt x="80723" y="19612"/>
                    <a:pt x="81794" y="19993"/>
                  </a:cubicBezTo>
                  <a:cubicBezTo>
                    <a:pt x="81906" y="20034"/>
                    <a:pt x="82005" y="20053"/>
                    <a:pt x="82094" y="20053"/>
                  </a:cubicBezTo>
                  <a:cubicBezTo>
                    <a:pt x="82595" y="20053"/>
                    <a:pt x="82747" y="19445"/>
                    <a:pt x="82762" y="18887"/>
                  </a:cubicBezTo>
                  <a:cubicBezTo>
                    <a:pt x="82805" y="18878"/>
                    <a:pt x="82849" y="18874"/>
                    <a:pt x="82892" y="18874"/>
                  </a:cubicBezTo>
                  <a:cubicBezTo>
                    <a:pt x="82935" y="18874"/>
                    <a:pt x="82978" y="18878"/>
                    <a:pt x="83021" y="18887"/>
                  </a:cubicBezTo>
                  <a:cubicBezTo>
                    <a:pt x="83375" y="18985"/>
                    <a:pt x="83662" y="19030"/>
                    <a:pt x="83892" y="19030"/>
                  </a:cubicBezTo>
                  <a:cubicBezTo>
                    <a:pt x="85038" y="19030"/>
                    <a:pt x="84816" y="17932"/>
                    <a:pt x="84629" y="16882"/>
                  </a:cubicBezTo>
                  <a:cubicBezTo>
                    <a:pt x="84577" y="16588"/>
                    <a:pt x="84404" y="16122"/>
                    <a:pt x="84525" y="16018"/>
                  </a:cubicBezTo>
                  <a:cubicBezTo>
                    <a:pt x="84606" y="15948"/>
                    <a:pt x="84680" y="15920"/>
                    <a:pt x="84749" y="15920"/>
                  </a:cubicBezTo>
                  <a:cubicBezTo>
                    <a:pt x="84985" y="15920"/>
                    <a:pt x="85161" y="16252"/>
                    <a:pt x="85389" y="16346"/>
                  </a:cubicBezTo>
                  <a:cubicBezTo>
                    <a:pt x="85637" y="16436"/>
                    <a:pt x="85876" y="16474"/>
                    <a:pt x="86110" y="16474"/>
                  </a:cubicBezTo>
                  <a:cubicBezTo>
                    <a:pt x="86771" y="16474"/>
                    <a:pt x="87381" y="16174"/>
                    <a:pt x="87981" y="15931"/>
                  </a:cubicBezTo>
                  <a:cubicBezTo>
                    <a:pt x="88344" y="15793"/>
                    <a:pt x="88500" y="15275"/>
                    <a:pt x="88258" y="15033"/>
                  </a:cubicBezTo>
                  <a:cubicBezTo>
                    <a:pt x="87065" y="13754"/>
                    <a:pt x="85976" y="12406"/>
                    <a:pt x="84819" y="11110"/>
                  </a:cubicBezTo>
                  <a:cubicBezTo>
                    <a:pt x="84162" y="10350"/>
                    <a:pt x="83160" y="9779"/>
                    <a:pt x="82537" y="8915"/>
                  </a:cubicBezTo>
                  <a:cubicBezTo>
                    <a:pt x="82209" y="8379"/>
                    <a:pt x="81639" y="8034"/>
                    <a:pt x="81017" y="7999"/>
                  </a:cubicBezTo>
                  <a:cubicBezTo>
                    <a:pt x="80983" y="7995"/>
                    <a:pt x="80950" y="7994"/>
                    <a:pt x="80916" y="7994"/>
                  </a:cubicBezTo>
                  <a:cubicBezTo>
                    <a:pt x="80688" y="7994"/>
                    <a:pt x="80453" y="8074"/>
                    <a:pt x="80228" y="8074"/>
                  </a:cubicBezTo>
                  <a:cubicBezTo>
                    <a:pt x="80056" y="8074"/>
                    <a:pt x="79890" y="8027"/>
                    <a:pt x="79738" y="7861"/>
                  </a:cubicBezTo>
                  <a:cubicBezTo>
                    <a:pt x="80170" y="7757"/>
                    <a:pt x="80602" y="7654"/>
                    <a:pt x="81017" y="7585"/>
                  </a:cubicBezTo>
                  <a:cubicBezTo>
                    <a:pt x="81518" y="7481"/>
                    <a:pt x="82192" y="7567"/>
                    <a:pt x="82226" y="6859"/>
                  </a:cubicBezTo>
                  <a:cubicBezTo>
                    <a:pt x="82278" y="6202"/>
                    <a:pt x="81673" y="6167"/>
                    <a:pt x="81207" y="6046"/>
                  </a:cubicBezTo>
                  <a:cubicBezTo>
                    <a:pt x="81086" y="6012"/>
                    <a:pt x="80948" y="5960"/>
                    <a:pt x="80844" y="5891"/>
                  </a:cubicBezTo>
                  <a:cubicBezTo>
                    <a:pt x="80958" y="5878"/>
                    <a:pt x="81101" y="5837"/>
                    <a:pt x="81223" y="5837"/>
                  </a:cubicBezTo>
                  <a:cubicBezTo>
                    <a:pt x="81267" y="5837"/>
                    <a:pt x="81309" y="5843"/>
                    <a:pt x="81345" y="5856"/>
                  </a:cubicBezTo>
                  <a:cubicBezTo>
                    <a:pt x="81816" y="6065"/>
                    <a:pt x="82272" y="6151"/>
                    <a:pt x="82714" y="6151"/>
                  </a:cubicBezTo>
                  <a:cubicBezTo>
                    <a:pt x="83993" y="6151"/>
                    <a:pt x="85157" y="5437"/>
                    <a:pt x="86236" y="4923"/>
                  </a:cubicBezTo>
                  <a:cubicBezTo>
                    <a:pt x="89182" y="3528"/>
                    <a:pt x="92334" y="3094"/>
                    <a:pt x="95401" y="2235"/>
                  </a:cubicBezTo>
                  <a:lnTo>
                    <a:pt x="95401" y="2235"/>
                  </a:lnTo>
                  <a:cubicBezTo>
                    <a:pt x="93986" y="3267"/>
                    <a:pt x="92263" y="3834"/>
                    <a:pt x="90504" y="3834"/>
                  </a:cubicBezTo>
                  <a:cubicBezTo>
                    <a:pt x="90401" y="3834"/>
                    <a:pt x="90295" y="3831"/>
                    <a:pt x="90191" y="3831"/>
                  </a:cubicBezTo>
                  <a:cubicBezTo>
                    <a:pt x="89827" y="3831"/>
                    <a:pt x="89479" y="3873"/>
                    <a:pt x="89277" y="4249"/>
                  </a:cubicBezTo>
                  <a:cubicBezTo>
                    <a:pt x="89018" y="4802"/>
                    <a:pt x="89467" y="5113"/>
                    <a:pt x="89744" y="5528"/>
                  </a:cubicBezTo>
                  <a:cubicBezTo>
                    <a:pt x="90251" y="6307"/>
                    <a:pt x="90887" y="6586"/>
                    <a:pt x="91608" y="6586"/>
                  </a:cubicBezTo>
                  <a:cubicBezTo>
                    <a:pt x="91943" y="6586"/>
                    <a:pt x="92297" y="6525"/>
                    <a:pt x="92664" y="6427"/>
                  </a:cubicBezTo>
                  <a:cubicBezTo>
                    <a:pt x="93037" y="6322"/>
                    <a:pt x="93404" y="6272"/>
                    <a:pt x="93755" y="6272"/>
                  </a:cubicBezTo>
                  <a:cubicBezTo>
                    <a:pt x="95314" y="6272"/>
                    <a:pt x="96561" y="7243"/>
                    <a:pt x="96518" y="8639"/>
                  </a:cubicBezTo>
                  <a:cubicBezTo>
                    <a:pt x="96501" y="9123"/>
                    <a:pt x="96000" y="9710"/>
                    <a:pt x="96155" y="10073"/>
                  </a:cubicBezTo>
                  <a:cubicBezTo>
                    <a:pt x="96656" y="11300"/>
                    <a:pt x="95758" y="12302"/>
                    <a:pt x="95378" y="13045"/>
                  </a:cubicBezTo>
                  <a:cubicBezTo>
                    <a:pt x="94393" y="15016"/>
                    <a:pt x="93649" y="16709"/>
                    <a:pt x="95412" y="18541"/>
                  </a:cubicBezTo>
                  <a:cubicBezTo>
                    <a:pt x="95602" y="18714"/>
                    <a:pt x="95723" y="18938"/>
                    <a:pt x="95758" y="19180"/>
                  </a:cubicBezTo>
                  <a:cubicBezTo>
                    <a:pt x="95810" y="21358"/>
                    <a:pt x="97901" y="20788"/>
                    <a:pt x="99007" y="21479"/>
                  </a:cubicBezTo>
                  <a:cubicBezTo>
                    <a:pt x="99192" y="21597"/>
                    <a:pt x="99367" y="21648"/>
                    <a:pt x="99531" y="21648"/>
                  </a:cubicBezTo>
                  <a:cubicBezTo>
                    <a:pt x="100207" y="21648"/>
                    <a:pt x="100708" y="20784"/>
                    <a:pt x="101098" y="20200"/>
                  </a:cubicBezTo>
                  <a:cubicBezTo>
                    <a:pt x="102256" y="18472"/>
                    <a:pt x="104088" y="17055"/>
                    <a:pt x="105729" y="16536"/>
                  </a:cubicBezTo>
                  <a:cubicBezTo>
                    <a:pt x="109220" y="15396"/>
                    <a:pt x="112486" y="13547"/>
                    <a:pt x="116254" y="13115"/>
                  </a:cubicBezTo>
                  <a:cubicBezTo>
                    <a:pt x="117965" y="12907"/>
                    <a:pt x="119935" y="12320"/>
                    <a:pt x="120021" y="9883"/>
                  </a:cubicBezTo>
                  <a:cubicBezTo>
                    <a:pt x="120021" y="9693"/>
                    <a:pt x="120349" y="9485"/>
                    <a:pt x="120557" y="9330"/>
                  </a:cubicBezTo>
                  <a:cubicBezTo>
                    <a:pt x="121663" y="8552"/>
                    <a:pt x="123132" y="8034"/>
                    <a:pt x="122631" y="6202"/>
                  </a:cubicBezTo>
                  <a:cubicBezTo>
                    <a:pt x="122594" y="6055"/>
                    <a:pt x="122626" y="6020"/>
                    <a:pt x="122682" y="6020"/>
                  </a:cubicBezTo>
                  <a:cubicBezTo>
                    <a:pt x="122731" y="6020"/>
                    <a:pt x="122799" y="6046"/>
                    <a:pt x="122855" y="6046"/>
                  </a:cubicBezTo>
                  <a:cubicBezTo>
                    <a:pt x="122928" y="6051"/>
                    <a:pt x="122998" y="6053"/>
                    <a:pt x="123064" y="6053"/>
                  </a:cubicBezTo>
                  <a:cubicBezTo>
                    <a:pt x="124269" y="6053"/>
                    <a:pt x="124381" y="5321"/>
                    <a:pt x="123840" y="4387"/>
                  </a:cubicBezTo>
                  <a:cubicBezTo>
                    <a:pt x="123581" y="3921"/>
                    <a:pt x="123875" y="3955"/>
                    <a:pt x="124048" y="3817"/>
                  </a:cubicBezTo>
                  <a:cubicBezTo>
                    <a:pt x="125240" y="2867"/>
                    <a:pt x="126640" y="2728"/>
                    <a:pt x="128092" y="2659"/>
                  </a:cubicBezTo>
                  <a:cubicBezTo>
                    <a:pt x="128575" y="2625"/>
                    <a:pt x="129180" y="2521"/>
                    <a:pt x="129249" y="1934"/>
                  </a:cubicBezTo>
                  <a:cubicBezTo>
                    <a:pt x="129301" y="1363"/>
                    <a:pt x="128714" y="1242"/>
                    <a:pt x="128299" y="1190"/>
                  </a:cubicBezTo>
                  <a:cubicBezTo>
                    <a:pt x="125707" y="948"/>
                    <a:pt x="123132" y="430"/>
                    <a:pt x="120557" y="171"/>
                  </a:cubicBezTo>
                  <a:cubicBezTo>
                    <a:pt x="119360" y="50"/>
                    <a:pt x="118163" y="0"/>
                    <a:pt x="116966" y="0"/>
                  </a:cubicBezTo>
                  <a:close/>
                </a:path>
              </a:pathLst>
            </a:custGeom>
            <a:noFill/>
            <a:ln w="9525" cap="flat" cmpd="sng">
              <a:solidFill>
                <a:srgbClr val="A5B7C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048" name="Google Shape;3048;p104"/>
            <p:cNvSpPr/>
            <p:nvPr/>
          </p:nvSpPr>
          <p:spPr>
            <a:xfrm>
              <a:off x="1581325" y="1051125"/>
              <a:ext cx="283000" cy="91675"/>
            </a:xfrm>
            <a:custGeom>
              <a:avLst/>
              <a:gdLst/>
              <a:ahLst/>
              <a:cxnLst/>
              <a:rect l="l" t="t" r="r" b="b"/>
              <a:pathLst>
                <a:path w="11320" h="3667" extrusionOk="0">
                  <a:moveTo>
                    <a:pt x="6214" y="0"/>
                  </a:moveTo>
                  <a:cubicBezTo>
                    <a:pt x="5926" y="0"/>
                    <a:pt x="5584" y="48"/>
                    <a:pt x="5219" y="71"/>
                  </a:cubicBezTo>
                  <a:cubicBezTo>
                    <a:pt x="5082" y="56"/>
                    <a:pt x="4943" y="49"/>
                    <a:pt x="4804" y="49"/>
                  </a:cubicBezTo>
                  <a:cubicBezTo>
                    <a:pt x="3493" y="49"/>
                    <a:pt x="2115" y="667"/>
                    <a:pt x="709" y="1073"/>
                  </a:cubicBezTo>
                  <a:cubicBezTo>
                    <a:pt x="432" y="1177"/>
                    <a:pt x="208" y="1401"/>
                    <a:pt x="69" y="1678"/>
                  </a:cubicBezTo>
                  <a:cubicBezTo>
                    <a:pt x="0" y="1781"/>
                    <a:pt x="242" y="2213"/>
                    <a:pt x="363" y="2231"/>
                  </a:cubicBezTo>
                  <a:cubicBezTo>
                    <a:pt x="2163" y="2438"/>
                    <a:pt x="3786" y="3667"/>
                    <a:pt x="5640" y="3667"/>
                  </a:cubicBezTo>
                  <a:cubicBezTo>
                    <a:pt x="6100" y="3667"/>
                    <a:pt x="6574" y="3591"/>
                    <a:pt x="7068" y="3406"/>
                  </a:cubicBezTo>
                  <a:cubicBezTo>
                    <a:pt x="7396" y="3281"/>
                    <a:pt x="7767" y="3236"/>
                    <a:pt x="8142" y="3236"/>
                  </a:cubicBezTo>
                  <a:cubicBezTo>
                    <a:pt x="8439" y="3236"/>
                    <a:pt x="8738" y="3264"/>
                    <a:pt x="9021" y="3302"/>
                  </a:cubicBezTo>
                  <a:cubicBezTo>
                    <a:pt x="9277" y="3340"/>
                    <a:pt x="9523" y="3370"/>
                    <a:pt x="9759" y="3370"/>
                  </a:cubicBezTo>
                  <a:cubicBezTo>
                    <a:pt x="10271" y="3370"/>
                    <a:pt x="10728" y="3229"/>
                    <a:pt x="11095" y="2732"/>
                  </a:cubicBezTo>
                  <a:cubicBezTo>
                    <a:pt x="11320" y="2473"/>
                    <a:pt x="11268" y="2075"/>
                    <a:pt x="10991" y="1885"/>
                  </a:cubicBezTo>
                  <a:cubicBezTo>
                    <a:pt x="10479" y="1524"/>
                    <a:pt x="10006" y="1077"/>
                    <a:pt x="9430" y="1077"/>
                  </a:cubicBezTo>
                  <a:cubicBezTo>
                    <a:pt x="9151" y="1077"/>
                    <a:pt x="8847" y="1182"/>
                    <a:pt x="8503" y="1453"/>
                  </a:cubicBezTo>
                  <a:cubicBezTo>
                    <a:pt x="8280" y="1626"/>
                    <a:pt x="7919" y="1737"/>
                    <a:pt x="7612" y="1737"/>
                  </a:cubicBezTo>
                  <a:cubicBezTo>
                    <a:pt x="7277" y="1737"/>
                    <a:pt x="7006" y="1605"/>
                    <a:pt x="7051" y="1280"/>
                  </a:cubicBezTo>
                  <a:cubicBezTo>
                    <a:pt x="7179" y="207"/>
                    <a:pt x="6812" y="0"/>
                    <a:pt x="6214" y="0"/>
                  </a:cubicBezTo>
                  <a:close/>
                </a:path>
              </a:pathLst>
            </a:custGeom>
            <a:noFill/>
            <a:ln w="9525" cap="flat" cmpd="sng">
              <a:solidFill>
                <a:srgbClr val="A5B7C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049" name="Google Shape;3049;p104"/>
            <p:cNvSpPr/>
            <p:nvPr/>
          </p:nvSpPr>
          <p:spPr>
            <a:xfrm>
              <a:off x="3144425" y="1319375"/>
              <a:ext cx="213450" cy="95575"/>
            </a:xfrm>
            <a:custGeom>
              <a:avLst/>
              <a:gdLst/>
              <a:ahLst/>
              <a:cxnLst/>
              <a:rect l="l" t="t" r="r" b="b"/>
              <a:pathLst>
                <a:path w="8538" h="3823" extrusionOk="0">
                  <a:moveTo>
                    <a:pt x="6155" y="1"/>
                  </a:moveTo>
                  <a:cubicBezTo>
                    <a:pt x="6054" y="1"/>
                    <a:pt x="5950" y="7"/>
                    <a:pt x="5842" y="20"/>
                  </a:cubicBezTo>
                  <a:cubicBezTo>
                    <a:pt x="4846" y="139"/>
                    <a:pt x="3874" y="469"/>
                    <a:pt x="2859" y="469"/>
                  </a:cubicBezTo>
                  <a:cubicBezTo>
                    <a:pt x="2396" y="469"/>
                    <a:pt x="1923" y="400"/>
                    <a:pt x="1435" y="211"/>
                  </a:cubicBezTo>
                  <a:cubicBezTo>
                    <a:pt x="1292" y="150"/>
                    <a:pt x="1133" y="113"/>
                    <a:pt x="974" y="113"/>
                  </a:cubicBezTo>
                  <a:cubicBezTo>
                    <a:pt x="501" y="113"/>
                    <a:pt x="35" y="441"/>
                    <a:pt x="35" y="1438"/>
                  </a:cubicBezTo>
                  <a:cubicBezTo>
                    <a:pt x="1" y="3771"/>
                    <a:pt x="1573" y="3580"/>
                    <a:pt x="3025" y="3822"/>
                  </a:cubicBezTo>
                  <a:cubicBezTo>
                    <a:pt x="4338" y="3753"/>
                    <a:pt x="5617" y="3408"/>
                    <a:pt x="6792" y="2837"/>
                  </a:cubicBezTo>
                  <a:cubicBezTo>
                    <a:pt x="7415" y="2526"/>
                    <a:pt x="8538" y="2474"/>
                    <a:pt x="8192" y="1541"/>
                  </a:cubicBezTo>
                  <a:cubicBezTo>
                    <a:pt x="7892" y="720"/>
                    <a:pt x="7218" y="1"/>
                    <a:pt x="6155" y="1"/>
                  </a:cubicBezTo>
                  <a:close/>
                </a:path>
              </a:pathLst>
            </a:custGeom>
            <a:noFill/>
            <a:ln w="9525" cap="flat" cmpd="sng">
              <a:solidFill>
                <a:srgbClr val="A5B7C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050" name="Google Shape;3050;p104"/>
            <p:cNvSpPr/>
            <p:nvPr/>
          </p:nvSpPr>
          <p:spPr>
            <a:xfrm>
              <a:off x="1453000" y="2509000"/>
              <a:ext cx="263575" cy="113100"/>
            </a:xfrm>
            <a:custGeom>
              <a:avLst/>
              <a:gdLst/>
              <a:ahLst/>
              <a:cxnLst/>
              <a:rect l="l" t="t" r="r" b="b"/>
              <a:pathLst>
                <a:path w="10543" h="4524" extrusionOk="0">
                  <a:moveTo>
                    <a:pt x="3451" y="1"/>
                  </a:moveTo>
                  <a:cubicBezTo>
                    <a:pt x="2445" y="1"/>
                    <a:pt x="1486" y="228"/>
                    <a:pt x="761" y="702"/>
                  </a:cubicBezTo>
                  <a:cubicBezTo>
                    <a:pt x="398" y="927"/>
                    <a:pt x="1" y="1186"/>
                    <a:pt x="243" y="1687"/>
                  </a:cubicBezTo>
                  <a:cubicBezTo>
                    <a:pt x="390" y="1972"/>
                    <a:pt x="609" y="2083"/>
                    <a:pt x="855" y="2083"/>
                  </a:cubicBezTo>
                  <a:cubicBezTo>
                    <a:pt x="1012" y="2083"/>
                    <a:pt x="1180" y="2038"/>
                    <a:pt x="1349" y="1964"/>
                  </a:cubicBezTo>
                  <a:cubicBezTo>
                    <a:pt x="1677" y="1828"/>
                    <a:pt x="1990" y="1776"/>
                    <a:pt x="2298" y="1776"/>
                  </a:cubicBezTo>
                  <a:cubicBezTo>
                    <a:pt x="2932" y="1776"/>
                    <a:pt x="3543" y="1997"/>
                    <a:pt x="4217" y="2171"/>
                  </a:cubicBezTo>
                  <a:cubicBezTo>
                    <a:pt x="5708" y="2540"/>
                    <a:pt x="6405" y="4523"/>
                    <a:pt x="7868" y="4523"/>
                  </a:cubicBezTo>
                  <a:cubicBezTo>
                    <a:pt x="8118" y="4523"/>
                    <a:pt x="8391" y="4465"/>
                    <a:pt x="8693" y="4332"/>
                  </a:cubicBezTo>
                  <a:cubicBezTo>
                    <a:pt x="8824" y="4337"/>
                    <a:pt x="8947" y="4340"/>
                    <a:pt x="9062" y="4340"/>
                  </a:cubicBezTo>
                  <a:cubicBezTo>
                    <a:pt x="10032" y="4340"/>
                    <a:pt x="10475" y="4144"/>
                    <a:pt x="10491" y="3727"/>
                  </a:cubicBezTo>
                  <a:cubicBezTo>
                    <a:pt x="10542" y="2897"/>
                    <a:pt x="9817" y="2724"/>
                    <a:pt x="9264" y="2517"/>
                  </a:cubicBezTo>
                  <a:cubicBezTo>
                    <a:pt x="8711" y="2292"/>
                    <a:pt x="8209" y="1964"/>
                    <a:pt x="7777" y="1567"/>
                  </a:cubicBezTo>
                  <a:cubicBezTo>
                    <a:pt x="6685" y="547"/>
                    <a:pt x="5011" y="1"/>
                    <a:pt x="3451" y="1"/>
                  </a:cubicBezTo>
                  <a:close/>
                </a:path>
              </a:pathLst>
            </a:custGeom>
            <a:noFill/>
            <a:ln w="9525" cap="flat" cmpd="sng">
              <a:solidFill>
                <a:srgbClr val="A5B7C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051" name="Google Shape;3051;p104"/>
            <p:cNvSpPr/>
            <p:nvPr/>
          </p:nvSpPr>
          <p:spPr>
            <a:xfrm>
              <a:off x="1880725" y="1020350"/>
              <a:ext cx="162025" cy="112025"/>
            </a:xfrm>
            <a:custGeom>
              <a:avLst/>
              <a:gdLst/>
              <a:ahLst/>
              <a:cxnLst/>
              <a:rect l="l" t="t" r="r" b="b"/>
              <a:pathLst>
                <a:path w="6481" h="4481" extrusionOk="0">
                  <a:moveTo>
                    <a:pt x="4294" y="0"/>
                  </a:moveTo>
                  <a:cubicBezTo>
                    <a:pt x="4062" y="0"/>
                    <a:pt x="3818" y="44"/>
                    <a:pt x="3560" y="144"/>
                  </a:cubicBezTo>
                  <a:cubicBezTo>
                    <a:pt x="3094" y="317"/>
                    <a:pt x="2593" y="541"/>
                    <a:pt x="2886" y="1198"/>
                  </a:cubicBezTo>
                  <a:cubicBezTo>
                    <a:pt x="3042" y="1509"/>
                    <a:pt x="3232" y="1820"/>
                    <a:pt x="3457" y="2114"/>
                  </a:cubicBezTo>
                  <a:cubicBezTo>
                    <a:pt x="3147" y="2260"/>
                    <a:pt x="2851" y="2348"/>
                    <a:pt x="2545" y="2348"/>
                  </a:cubicBezTo>
                  <a:cubicBezTo>
                    <a:pt x="2270" y="2348"/>
                    <a:pt x="1987" y="2277"/>
                    <a:pt x="1677" y="2114"/>
                  </a:cubicBezTo>
                  <a:cubicBezTo>
                    <a:pt x="1531" y="2037"/>
                    <a:pt x="1393" y="2002"/>
                    <a:pt x="1262" y="2002"/>
                  </a:cubicBezTo>
                  <a:cubicBezTo>
                    <a:pt x="867" y="2002"/>
                    <a:pt x="545" y="2320"/>
                    <a:pt x="311" y="2736"/>
                  </a:cubicBezTo>
                  <a:cubicBezTo>
                    <a:pt x="0" y="3289"/>
                    <a:pt x="467" y="3479"/>
                    <a:pt x="813" y="3807"/>
                  </a:cubicBezTo>
                  <a:cubicBezTo>
                    <a:pt x="1327" y="4309"/>
                    <a:pt x="1837" y="4480"/>
                    <a:pt x="2344" y="4480"/>
                  </a:cubicBezTo>
                  <a:cubicBezTo>
                    <a:pt x="3164" y="4480"/>
                    <a:pt x="3976" y="4032"/>
                    <a:pt x="4787" y="3807"/>
                  </a:cubicBezTo>
                  <a:lnTo>
                    <a:pt x="5081" y="3514"/>
                  </a:lnTo>
                  <a:cubicBezTo>
                    <a:pt x="5237" y="2788"/>
                    <a:pt x="5098" y="1924"/>
                    <a:pt x="6204" y="1734"/>
                  </a:cubicBezTo>
                  <a:cubicBezTo>
                    <a:pt x="6464" y="1699"/>
                    <a:pt x="6481" y="1129"/>
                    <a:pt x="6222" y="921"/>
                  </a:cubicBezTo>
                  <a:cubicBezTo>
                    <a:pt x="5644" y="436"/>
                    <a:pt x="5027" y="0"/>
                    <a:pt x="4294" y="0"/>
                  </a:cubicBezTo>
                  <a:close/>
                </a:path>
              </a:pathLst>
            </a:custGeom>
            <a:noFill/>
            <a:ln w="9525" cap="flat" cmpd="sng">
              <a:solidFill>
                <a:srgbClr val="A5B7C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052" name="Google Shape;3052;p104"/>
            <p:cNvSpPr/>
            <p:nvPr/>
          </p:nvSpPr>
          <p:spPr>
            <a:xfrm>
              <a:off x="1688900" y="2603450"/>
              <a:ext cx="165050" cy="73950"/>
            </a:xfrm>
            <a:custGeom>
              <a:avLst/>
              <a:gdLst/>
              <a:ahLst/>
              <a:cxnLst/>
              <a:rect l="l" t="t" r="r" b="b"/>
              <a:pathLst>
                <a:path w="6602" h="2958" extrusionOk="0">
                  <a:moveTo>
                    <a:pt x="2842" y="0"/>
                  </a:moveTo>
                  <a:cubicBezTo>
                    <a:pt x="2588" y="0"/>
                    <a:pt x="2332" y="28"/>
                    <a:pt x="2074" y="87"/>
                  </a:cubicBezTo>
                  <a:cubicBezTo>
                    <a:pt x="1452" y="225"/>
                    <a:pt x="1055" y="1331"/>
                    <a:pt x="225" y="1694"/>
                  </a:cubicBezTo>
                  <a:cubicBezTo>
                    <a:pt x="0" y="1798"/>
                    <a:pt x="277" y="2247"/>
                    <a:pt x="536" y="2454"/>
                  </a:cubicBezTo>
                  <a:cubicBezTo>
                    <a:pt x="957" y="2789"/>
                    <a:pt x="2162" y="2958"/>
                    <a:pt x="3373" y="2958"/>
                  </a:cubicBezTo>
                  <a:cubicBezTo>
                    <a:pt x="4599" y="2958"/>
                    <a:pt x="5830" y="2785"/>
                    <a:pt x="6256" y="2437"/>
                  </a:cubicBezTo>
                  <a:cubicBezTo>
                    <a:pt x="6395" y="2282"/>
                    <a:pt x="6515" y="2109"/>
                    <a:pt x="6602" y="1919"/>
                  </a:cubicBezTo>
                  <a:cubicBezTo>
                    <a:pt x="6481" y="1711"/>
                    <a:pt x="6429" y="1469"/>
                    <a:pt x="6291" y="1366"/>
                  </a:cubicBezTo>
                  <a:cubicBezTo>
                    <a:pt x="5231" y="636"/>
                    <a:pt x="4065" y="0"/>
                    <a:pt x="2842" y="0"/>
                  </a:cubicBezTo>
                  <a:close/>
                </a:path>
              </a:pathLst>
            </a:custGeom>
            <a:noFill/>
            <a:ln w="9525" cap="flat" cmpd="sng">
              <a:solidFill>
                <a:srgbClr val="A5B7C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053" name="Google Shape;3053;p104"/>
            <p:cNvSpPr/>
            <p:nvPr/>
          </p:nvSpPr>
          <p:spPr>
            <a:xfrm>
              <a:off x="1922200" y="1344925"/>
              <a:ext cx="129625" cy="64525"/>
            </a:xfrm>
            <a:custGeom>
              <a:avLst/>
              <a:gdLst/>
              <a:ahLst/>
              <a:cxnLst/>
              <a:rect l="l" t="t" r="r" b="b"/>
              <a:pathLst>
                <a:path w="5185" h="2581" extrusionOk="0">
                  <a:moveTo>
                    <a:pt x="1901" y="1"/>
                  </a:moveTo>
                  <a:lnTo>
                    <a:pt x="1227" y="467"/>
                  </a:lnTo>
                  <a:cubicBezTo>
                    <a:pt x="934" y="1020"/>
                    <a:pt x="0" y="1383"/>
                    <a:pt x="415" y="2144"/>
                  </a:cubicBezTo>
                  <a:cubicBezTo>
                    <a:pt x="602" y="2475"/>
                    <a:pt x="838" y="2581"/>
                    <a:pt x="1096" y="2581"/>
                  </a:cubicBezTo>
                  <a:cubicBezTo>
                    <a:pt x="1482" y="2581"/>
                    <a:pt x="1915" y="2344"/>
                    <a:pt x="2299" y="2282"/>
                  </a:cubicBezTo>
                  <a:cubicBezTo>
                    <a:pt x="2552" y="2236"/>
                    <a:pt x="2806" y="2213"/>
                    <a:pt x="3064" y="2213"/>
                  </a:cubicBezTo>
                  <a:cubicBezTo>
                    <a:pt x="3194" y="2213"/>
                    <a:pt x="3324" y="2219"/>
                    <a:pt x="3457" y="2230"/>
                  </a:cubicBezTo>
                  <a:cubicBezTo>
                    <a:pt x="3730" y="2245"/>
                    <a:pt x="4039" y="2324"/>
                    <a:pt x="4314" y="2324"/>
                  </a:cubicBezTo>
                  <a:cubicBezTo>
                    <a:pt x="4665" y="2324"/>
                    <a:pt x="4959" y="2195"/>
                    <a:pt x="5047" y="1643"/>
                  </a:cubicBezTo>
                  <a:cubicBezTo>
                    <a:pt x="5185" y="744"/>
                    <a:pt x="4563" y="277"/>
                    <a:pt x="3768" y="122"/>
                  </a:cubicBezTo>
                  <a:cubicBezTo>
                    <a:pt x="3146" y="35"/>
                    <a:pt x="2523" y="1"/>
                    <a:pt x="1901" y="1"/>
                  </a:cubicBezTo>
                  <a:close/>
                </a:path>
              </a:pathLst>
            </a:custGeom>
            <a:noFill/>
            <a:ln w="9525" cap="flat" cmpd="sng">
              <a:solidFill>
                <a:srgbClr val="A5B7C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054" name="Google Shape;3054;p104"/>
            <p:cNvSpPr/>
            <p:nvPr/>
          </p:nvSpPr>
          <p:spPr>
            <a:xfrm>
              <a:off x="1787825" y="1030550"/>
              <a:ext cx="94250" cy="44825"/>
            </a:xfrm>
            <a:custGeom>
              <a:avLst/>
              <a:gdLst/>
              <a:ahLst/>
              <a:cxnLst/>
              <a:rect l="l" t="t" r="r" b="b"/>
              <a:pathLst>
                <a:path w="3770" h="1793" extrusionOk="0">
                  <a:moveTo>
                    <a:pt x="2929" y="0"/>
                  </a:moveTo>
                  <a:cubicBezTo>
                    <a:pt x="2800" y="0"/>
                    <a:pt x="2676" y="17"/>
                    <a:pt x="2576" y="47"/>
                  </a:cubicBezTo>
                  <a:cubicBezTo>
                    <a:pt x="2412" y="93"/>
                    <a:pt x="2229" y="105"/>
                    <a:pt x="2039" y="105"/>
                  </a:cubicBezTo>
                  <a:cubicBezTo>
                    <a:pt x="1817" y="105"/>
                    <a:pt x="1584" y="88"/>
                    <a:pt x="1360" y="88"/>
                  </a:cubicBezTo>
                  <a:cubicBezTo>
                    <a:pt x="763" y="88"/>
                    <a:pt x="227" y="208"/>
                    <a:pt x="105" y="1084"/>
                  </a:cubicBezTo>
                  <a:cubicBezTo>
                    <a:pt x="1" y="1792"/>
                    <a:pt x="865" y="1688"/>
                    <a:pt x="1504" y="1740"/>
                  </a:cubicBezTo>
                  <a:cubicBezTo>
                    <a:pt x="2265" y="1568"/>
                    <a:pt x="3405" y="1792"/>
                    <a:pt x="3665" y="652"/>
                  </a:cubicBezTo>
                  <a:cubicBezTo>
                    <a:pt x="3769" y="167"/>
                    <a:pt x="3329" y="0"/>
                    <a:pt x="2929" y="0"/>
                  </a:cubicBezTo>
                  <a:close/>
                </a:path>
              </a:pathLst>
            </a:custGeom>
            <a:noFill/>
            <a:ln w="9525" cap="flat" cmpd="sng">
              <a:solidFill>
                <a:srgbClr val="A5B7C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055" name="Google Shape;3055;p104"/>
            <p:cNvSpPr/>
            <p:nvPr/>
          </p:nvSpPr>
          <p:spPr>
            <a:xfrm>
              <a:off x="1870350" y="2639275"/>
              <a:ext cx="59225" cy="44325"/>
            </a:xfrm>
            <a:custGeom>
              <a:avLst/>
              <a:gdLst/>
              <a:ahLst/>
              <a:cxnLst/>
              <a:rect l="l" t="t" r="r" b="b"/>
              <a:pathLst>
                <a:path w="2369" h="1773" extrusionOk="0">
                  <a:moveTo>
                    <a:pt x="922" y="1"/>
                  </a:moveTo>
                  <a:cubicBezTo>
                    <a:pt x="435" y="1"/>
                    <a:pt x="1" y="156"/>
                    <a:pt x="1" y="762"/>
                  </a:cubicBezTo>
                  <a:cubicBezTo>
                    <a:pt x="1" y="1414"/>
                    <a:pt x="337" y="1773"/>
                    <a:pt x="982" y="1773"/>
                  </a:cubicBezTo>
                  <a:cubicBezTo>
                    <a:pt x="1038" y="1773"/>
                    <a:pt x="1097" y="1770"/>
                    <a:pt x="1158" y="1765"/>
                  </a:cubicBezTo>
                  <a:cubicBezTo>
                    <a:pt x="1711" y="1730"/>
                    <a:pt x="2368" y="1678"/>
                    <a:pt x="2299" y="901"/>
                  </a:cubicBezTo>
                  <a:cubicBezTo>
                    <a:pt x="2264" y="175"/>
                    <a:pt x="1642" y="2"/>
                    <a:pt x="1003" y="2"/>
                  </a:cubicBezTo>
                  <a:cubicBezTo>
                    <a:pt x="976" y="1"/>
                    <a:pt x="949" y="1"/>
                    <a:pt x="922" y="1"/>
                  </a:cubicBezTo>
                  <a:close/>
                </a:path>
              </a:pathLst>
            </a:custGeom>
            <a:noFill/>
            <a:ln w="9525" cap="flat" cmpd="sng">
              <a:solidFill>
                <a:srgbClr val="A5B7C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056" name="Google Shape;3056;p104"/>
            <p:cNvSpPr/>
            <p:nvPr/>
          </p:nvSpPr>
          <p:spPr>
            <a:xfrm>
              <a:off x="2264800" y="4630125"/>
              <a:ext cx="62675" cy="39225"/>
            </a:xfrm>
            <a:custGeom>
              <a:avLst/>
              <a:gdLst/>
              <a:ahLst/>
              <a:cxnLst/>
              <a:rect l="l" t="t" r="r" b="b"/>
              <a:pathLst>
                <a:path w="2507" h="1569" extrusionOk="0">
                  <a:moveTo>
                    <a:pt x="1176" y="52"/>
                  </a:moveTo>
                  <a:cubicBezTo>
                    <a:pt x="675" y="87"/>
                    <a:pt x="1" y="1"/>
                    <a:pt x="1" y="813"/>
                  </a:cubicBezTo>
                  <a:cubicBezTo>
                    <a:pt x="1" y="1241"/>
                    <a:pt x="341" y="1568"/>
                    <a:pt x="742" y="1568"/>
                  </a:cubicBezTo>
                  <a:cubicBezTo>
                    <a:pt x="811" y="1568"/>
                    <a:pt x="881" y="1559"/>
                    <a:pt x="951" y="1539"/>
                  </a:cubicBezTo>
                  <a:cubicBezTo>
                    <a:pt x="1077" y="1515"/>
                    <a:pt x="1221" y="1513"/>
                    <a:pt x="1369" y="1513"/>
                  </a:cubicBezTo>
                  <a:cubicBezTo>
                    <a:pt x="1403" y="1513"/>
                    <a:pt x="1437" y="1513"/>
                    <a:pt x="1471" y="1513"/>
                  </a:cubicBezTo>
                  <a:cubicBezTo>
                    <a:pt x="1947" y="1513"/>
                    <a:pt x="2434" y="1491"/>
                    <a:pt x="2472" y="830"/>
                  </a:cubicBezTo>
                  <a:cubicBezTo>
                    <a:pt x="2506" y="52"/>
                    <a:pt x="1781" y="87"/>
                    <a:pt x="1176" y="52"/>
                  </a:cubicBezTo>
                  <a:close/>
                </a:path>
              </a:pathLst>
            </a:custGeom>
            <a:noFill/>
            <a:ln w="9525" cap="flat" cmpd="sng">
              <a:solidFill>
                <a:srgbClr val="A5B7C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057" name="Google Shape;3057;p104"/>
            <p:cNvSpPr/>
            <p:nvPr/>
          </p:nvSpPr>
          <p:spPr>
            <a:xfrm>
              <a:off x="1604225" y="2645350"/>
              <a:ext cx="56175" cy="38275"/>
            </a:xfrm>
            <a:custGeom>
              <a:avLst/>
              <a:gdLst/>
              <a:ahLst/>
              <a:cxnLst/>
              <a:rect l="l" t="t" r="r" b="b"/>
              <a:pathLst>
                <a:path w="2247" h="1531" extrusionOk="0">
                  <a:moveTo>
                    <a:pt x="1003" y="1"/>
                  </a:moveTo>
                  <a:cubicBezTo>
                    <a:pt x="536" y="35"/>
                    <a:pt x="0" y="1"/>
                    <a:pt x="17" y="554"/>
                  </a:cubicBezTo>
                  <a:cubicBezTo>
                    <a:pt x="17" y="1297"/>
                    <a:pt x="640" y="1452"/>
                    <a:pt x="1262" y="1522"/>
                  </a:cubicBezTo>
                  <a:cubicBezTo>
                    <a:pt x="1319" y="1528"/>
                    <a:pt x="1377" y="1531"/>
                    <a:pt x="1434" y="1531"/>
                  </a:cubicBezTo>
                  <a:cubicBezTo>
                    <a:pt x="1857" y="1531"/>
                    <a:pt x="2247" y="1352"/>
                    <a:pt x="2247" y="865"/>
                  </a:cubicBezTo>
                  <a:cubicBezTo>
                    <a:pt x="2247" y="18"/>
                    <a:pt x="1504" y="139"/>
                    <a:pt x="1003" y="1"/>
                  </a:cubicBezTo>
                  <a:close/>
                </a:path>
              </a:pathLst>
            </a:custGeom>
            <a:noFill/>
            <a:ln w="9525" cap="flat" cmpd="sng">
              <a:solidFill>
                <a:srgbClr val="A5B7C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058" name="Google Shape;3058;p104"/>
            <p:cNvSpPr/>
            <p:nvPr/>
          </p:nvSpPr>
          <p:spPr>
            <a:xfrm>
              <a:off x="7045475" y="3384250"/>
              <a:ext cx="47375" cy="53550"/>
            </a:xfrm>
            <a:custGeom>
              <a:avLst/>
              <a:gdLst/>
              <a:ahLst/>
              <a:cxnLst/>
              <a:rect l="l" t="t" r="r" b="b"/>
              <a:pathLst>
                <a:path w="1895" h="2142" extrusionOk="0">
                  <a:moveTo>
                    <a:pt x="416" y="1"/>
                  </a:moveTo>
                  <a:cubicBezTo>
                    <a:pt x="93" y="1"/>
                    <a:pt x="0" y="338"/>
                    <a:pt x="63" y="618"/>
                  </a:cubicBezTo>
                  <a:cubicBezTo>
                    <a:pt x="201" y="1292"/>
                    <a:pt x="339" y="2035"/>
                    <a:pt x="1203" y="2139"/>
                  </a:cubicBezTo>
                  <a:cubicBezTo>
                    <a:pt x="1224" y="2141"/>
                    <a:pt x="1245" y="2142"/>
                    <a:pt x="1265" y="2142"/>
                  </a:cubicBezTo>
                  <a:cubicBezTo>
                    <a:pt x="1645" y="2142"/>
                    <a:pt x="1895" y="1835"/>
                    <a:pt x="1895" y="1327"/>
                  </a:cubicBezTo>
                  <a:cubicBezTo>
                    <a:pt x="1670" y="705"/>
                    <a:pt x="1273" y="169"/>
                    <a:pt x="529" y="13"/>
                  </a:cubicBezTo>
                  <a:cubicBezTo>
                    <a:pt x="489" y="5"/>
                    <a:pt x="451" y="1"/>
                    <a:pt x="416" y="1"/>
                  </a:cubicBezTo>
                  <a:close/>
                </a:path>
              </a:pathLst>
            </a:custGeom>
            <a:noFill/>
            <a:ln w="9525" cap="flat" cmpd="sng">
              <a:solidFill>
                <a:srgbClr val="A5B7C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059" name="Google Shape;3059;p104"/>
            <p:cNvSpPr/>
            <p:nvPr/>
          </p:nvSpPr>
          <p:spPr>
            <a:xfrm>
              <a:off x="4291500" y="1250400"/>
              <a:ext cx="54900" cy="37900"/>
            </a:xfrm>
            <a:custGeom>
              <a:avLst/>
              <a:gdLst/>
              <a:ahLst/>
              <a:cxnLst/>
              <a:rect l="l" t="t" r="r" b="b"/>
              <a:pathLst>
                <a:path w="2196" h="1516" extrusionOk="0">
                  <a:moveTo>
                    <a:pt x="1013" y="0"/>
                  </a:moveTo>
                  <a:cubicBezTo>
                    <a:pt x="676" y="0"/>
                    <a:pt x="369" y="181"/>
                    <a:pt x="190" y="464"/>
                  </a:cubicBezTo>
                  <a:cubicBezTo>
                    <a:pt x="0" y="706"/>
                    <a:pt x="35" y="1034"/>
                    <a:pt x="259" y="1224"/>
                  </a:cubicBezTo>
                  <a:cubicBezTo>
                    <a:pt x="466" y="1444"/>
                    <a:pt x="678" y="1515"/>
                    <a:pt x="892" y="1515"/>
                  </a:cubicBezTo>
                  <a:cubicBezTo>
                    <a:pt x="1233" y="1515"/>
                    <a:pt x="1579" y="1336"/>
                    <a:pt x="1919" y="1293"/>
                  </a:cubicBezTo>
                  <a:cubicBezTo>
                    <a:pt x="2195" y="567"/>
                    <a:pt x="1901" y="153"/>
                    <a:pt x="1175" y="14"/>
                  </a:cubicBezTo>
                  <a:cubicBezTo>
                    <a:pt x="1121" y="5"/>
                    <a:pt x="1066" y="0"/>
                    <a:pt x="1013" y="0"/>
                  </a:cubicBezTo>
                  <a:close/>
                </a:path>
              </a:pathLst>
            </a:custGeom>
            <a:noFill/>
            <a:ln w="9525" cap="flat" cmpd="sng">
              <a:solidFill>
                <a:srgbClr val="A5B7C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060" name="Google Shape;3060;p104"/>
            <p:cNvSpPr/>
            <p:nvPr/>
          </p:nvSpPr>
          <p:spPr>
            <a:xfrm>
              <a:off x="6323375" y="3314875"/>
              <a:ext cx="50125" cy="37325"/>
            </a:xfrm>
            <a:custGeom>
              <a:avLst/>
              <a:gdLst/>
              <a:ahLst/>
              <a:cxnLst/>
              <a:rect l="l" t="t" r="r" b="b"/>
              <a:pathLst>
                <a:path w="2005" h="1493" extrusionOk="0">
                  <a:moveTo>
                    <a:pt x="754" y="1"/>
                  </a:moveTo>
                  <a:cubicBezTo>
                    <a:pt x="409" y="1"/>
                    <a:pt x="93" y="129"/>
                    <a:pt x="52" y="542"/>
                  </a:cubicBezTo>
                  <a:cubicBezTo>
                    <a:pt x="0" y="1198"/>
                    <a:pt x="536" y="1371"/>
                    <a:pt x="1106" y="1492"/>
                  </a:cubicBezTo>
                  <a:cubicBezTo>
                    <a:pt x="1504" y="1475"/>
                    <a:pt x="1988" y="1440"/>
                    <a:pt x="1988" y="905"/>
                  </a:cubicBezTo>
                  <a:cubicBezTo>
                    <a:pt x="2005" y="317"/>
                    <a:pt x="1504" y="110"/>
                    <a:pt x="1020" y="23"/>
                  </a:cubicBezTo>
                  <a:cubicBezTo>
                    <a:pt x="932" y="9"/>
                    <a:pt x="842" y="1"/>
                    <a:pt x="754" y="1"/>
                  </a:cubicBezTo>
                  <a:close/>
                </a:path>
              </a:pathLst>
            </a:custGeom>
            <a:noFill/>
            <a:ln w="9525" cap="flat" cmpd="sng">
              <a:solidFill>
                <a:srgbClr val="A5B7C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061" name="Google Shape;3061;p104"/>
            <p:cNvSpPr/>
            <p:nvPr/>
          </p:nvSpPr>
          <p:spPr>
            <a:xfrm>
              <a:off x="6680225" y="1890750"/>
              <a:ext cx="46075" cy="42200"/>
            </a:xfrm>
            <a:custGeom>
              <a:avLst/>
              <a:gdLst/>
              <a:ahLst/>
              <a:cxnLst/>
              <a:rect l="l" t="t" r="r" b="b"/>
              <a:pathLst>
                <a:path w="1843" h="1688" extrusionOk="0">
                  <a:moveTo>
                    <a:pt x="1376" y="1"/>
                  </a:moveTo>
                  <a:cubicBezTo>
                    <a:pt x="1345" y="1"/>
                    <a:pt x="1312" y="4"/>
                    <a:pt x="1280" y="11"/>
                  </a:cubicBezTo>
                  <a:cubicBezTo>
                    <a:pt x="675" y="29"/>
                    <a:pt x="156" y="478"/>
                    <a:pt x="70" y="1083"/>
                  </a:cubicBezTo>
                  <a:cubicBezTo>
                    <a:pt x="1" y="1446"/>
                    <a:pt x="208" y="1670"/>
                    <a:pt x="675" y="1688"/>
                  </a:cubicBezTo>
                  <a:cubicBezTo>
                    <a:pt x="1193" y="1480"/>
                    <a:pt x="1643" y="1135"/>
                    <a:pt x="1781" y="513"/>
                  </a:cubicBezTo>
                  <a:cubicBezTo>
                    <a:pt x="1843" y="250"/>
                    <a:pt x="1642" y="1"/>
                    <a:pt x="1376" y="1"/>
                  </a:cubicBezTo>
                  <a:close/>
                </a:path>
              </a:pathLst>
            </a:custGeom>
            <a:noFill/>
            <a:ln w="9525" cap="flat" cmpd="sng">
              <a:solidFill>
                <a:srgbClr val="A5B7C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062" name="Google Shape;3062;p104"/>
            <p:cNvSpPr/>
            <p:nvPr/>
          </p:nvSpPr>
          <p:spPr>
            <a:xfrm>
              <a:off x="3550975" y="1955400"/>
              <a:ext cx="53600" cy="126175"/>
            </a:xfrm>
            <a:custGeom>
              <a:avLst/>
              <a:gdLst/>
              <a:ahLst/>
              <a:cxnLst/>
              <a:rect l="l" t="t" r="r" b="b"/>
              <a:pathLst>
                <a:path w="2144" h="5047" extrusionOk="0">
                  <a:moveTo>
                    <a:pt x="1297" y="0"/>
                  </a:moveTo>
                  <a:cubicBezTo>
                    <a:pt x="778" y="0"/>
                    <a:pt x="260" y="363"/>
                    <a:pt x="364" y="795"/>
                  </a:cubicBezTo>
                  <a:cubicBezTo>
                    <a:pt x="640" y="1850"/>
                    <a:pt x="122" y="2731"/>
                    <a:pt x="1" y="3491"/>
                  </a:cubicBezTo>
                  <a:cubicBezTo>
                    <a:pt x="70" y="4338"/>
                    <a:pt x="1" y="5047"/>
                    <a:pt x="951" y="5047"/>
                  </a:cubicBezTo>
                  <a:cubicBezTo>
                    <a:pt x="1781" y="5047"/>
                    <a:pt x="1971" y="4476"/>
                    <a:pt x="2040" y="3785"/>
                  </a:cubicBezTo>
                  <a:cubicBezTo>
                    <a:pt x="2144" y="2748"/>
                    <a:pt x="1642" y="1746"/>
                    <a:pt x="1936" y="692"/>
                  </a:cubicBezTo>
                  <a:cubicBezTo>
                    <a:pt x="2023" y="381"/>
                    <a:pt x="1712" y="0"/>
                    <a:pt x="1297" y="0"/>
                  </a:cubicBezTo>
                  <a:close/>
                </a:path>
              </a:pathLst>
            </a:custGeom>
            <a:noFill/>
            <a:ln w="9525" cap="flat" cmpd="sng">
              <a:solidFill>
                <a:srgbClr val="A5B7C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063" name="Google Shape;3063;p104"/>
            <p:cNvSpPr/>
            <p:nvPr/>
          </p:nvSpPr>
          <p:spPr>
            <a:xfrm>
              <a:off x="3910000" y="2161475"/>
              <a:ext cx="93775" cy="45400"/>
            </a:xfrm>
            <a:custGeom>
              <a:avLst/>
              <a:gdLst/>
              <a:ahLst/>
              <a:cxnLst/>
              <a:rect l="l" t="t" r="r" b="b"/>
              <a:pathLst>
                <a:path w="3751" h="1816" extrusionOk="0">
                  <a:moveTo>
                    <a:pt x="1383" y="1"/>
                  </a:moveTo>
                  <a:cubicBezTo>
                    <a:pt x="778" y="87"/>
                    <a:pt x="1" y="18"/>
                    <a:pt x="122" y="640"/>
                  </a:cubicBezTo>
                  <a:cubicBezTo>
                    <a:pt x="329" y="1625"/>
                    <a:pt x="1297" y="1815"/>
                    <a:pt x="2195" y="1815"/>
                  </a:cubicBezTo>
                  <a:cubicBezTo>
                    <a:pt x="2835" y="1815"/>
                    <a:pt x="3751" y="1712"/>
                    <a:pt x="3613" y="951"/>
                  </a:cubicBezTo>
                  <a:cubicBezTo>
                    <a:pt x="3466" y="240"/>
                    <a:pt x="2970" y="188"/>
                    <a:pt x="2455" y="188"/>
                  </a:cubicBezTo>
                  <a:cubicBezTo>
                    <a:pt x="2366" y="188"/>
                    <a:pt x="2276" y="189"/>
                    <a:pt x="2187" y="189"/>
                  </a:cubicBezTo>
                  <a:cubicBezTo>
                    <a:pt x="1880" y="189"/>
                    <a:pt x="1588" y="170"/>
                    <a:pt x="1383" y="1"/>
                  </a:cubicBezTo>
                  <a:close/>
                </a:path>
              </a:pathLst>
            </a:custGeom>
            <a:noFill/>
            <a:ln w="9525" cap="flat" cmpd="sng">
              <a:solidFill>
                <a:srgbClr val="A5B7C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064" name="Google Shape;3064;p104"/>
            <p:cNvSpPr/>
            <p:nvPr/>
          </p:nvSpPr>
          <p:spPr>
            <a:xfrm>
              <a:off x="4125600" y="2173875"/>
              <a:ext cx="50575" cy="37600"/>
            </a:xfrm>
            <a:custGeom>
              <a:avLst/>
              <a:gdLst/>
              <a:ahLst/>
              <a:cxnLst/>
              <a:rect l="l" t="t" r="r" b="b"/>
              <a:pathLst>
                <a:path w="2023" h="1504" extrusionOk="0">
                  <a:moveTo>
                    <a:pt x="1294" y="1"/>
                  </a:moveTo>
                  <a:cubicBezTo>
                    <a:pt x="1249" y="1"/>
                    <a:pt x="1204" y="3"/>
                    <a:pt x="1158" y="6"/>
                  </a:cubicBezTo>
                  <a:cubicBezTo>
                    <a:pt x="691" y="144"/>
                    <a:pt x="0" y="109"/>
                    <a:pt x="17" y="904"/>
                  </a:cubicBezTo>
                  <a:cubicBezTo>
                    <a:pt x="17" y="1352"/>
                    <a:pt x="364" y="1503"/>
                    <a:pt x="748" y="1503"/>
                  </a:cubicBezTo>
                  <a:cubicBezTo>
                    <a:pt x="809" y="1503"/>
                    <a:pt x="872" y="1499"/>
                    <a:pt x="933" y="1492"/>
                  </a:cubicBezTo>
                  <a:cubicBezTo>
                    <a:pt x="1486" y="1440"/>
                    <a:pt x="2022" y="1233"/>
                    <a:pt x="2022" y="593"/>
                  </a:cubicBezTo>
                  <a:cubicBezTo>
                    <a:pt x="2022" y="156"/>
                    <a:pt x="1711" y="1"/>
                    <a:pt x="1294" y="1"/>
                  </a:cubicBezTo>
                  <a:close/>
                </a:path>
              </a:pathLst>
            </a:custGeom>
            <a:noFill/>
            <a:ln w="9525" cap="flat" cmpd="sng">
              <a:solidFill>
                <a:srgbClr val="A5B7C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065" name="Google Shape;3065;p104"/>
            <p:cNvSpPr/>
            <p:nvPr/>
          </p:nvSpPr>
          <p:spPr>
            <a:xfrm>
              <a:off x="3415775" y="2038325"/>
              <a:ext cx="44925" cy="38175"/>
            </a:xfrm>
            <a:custGeom>
              <a:avLst/>
              <a:gdLst/>
              <a:ahLst/>
              <a:cxnLst/>
              <a:rect l="l" t="t" r="r" b="b"/>
              <a:pathLst>
                <a:path w="1797" h="1527" extrusionOk="0">
                  <a:moveTo>
                    <a:pt x="812" y="0"/>
                  </a:moveTo>
                  <a:cubicBezTo>
                    <a:pt x="383" y="0"/>
                    <a:pt x="1" y="211"/>
                    <a:pt x="34" y="710"/>
                  </a:cubicBezTo>
                  <a:cubicBezTo>
                    <a:pt x="34" y="1164"/>
                    <a:pt x="400" y="1527"/>
                    <a:pt x="845" y="1527"/>
                  </a:cubicBezTo>
                  <a:cubicBezTo>
                    <a:pt x="874" y="1527"/>
                    <a:pt x="903" y="1525"/>
                    <a:pt x="933" y="1522"/>
                  </a:cubicBezTo>
                  <a:cubicBezTo>
                    <a:pt x="1382" y="1522"/>
                    <a:pt x="1745" y="1315"/>
                    <a:pt x="1797" y="796"/>
                  </a:cubicBezTo>
                  <a:cubicBezTo>
                    <a:pt x="1745" y="226"/>
                    <a:pt x="1330" y="19"/>
                    <a:pt x="864" y="1"/>
                  </a:cubicBezTo>
                  <a:cubicBezTo>
                    <a:pt x="847" y="1"/>
                    <a:pt x="829" y="0"/>
                    <a:pt x="812" y="0"/>
                  </a:cubicBezTo>
                  <a:close/>
                </a:path>
              </a:pathLst>
            </a:custGeom>
            <a:noFill/>
            <a:ln w="9525" cap="flat" cmpd="sng">
              <a:solidFill>
                <a:srgbClr val="A5B7C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3066" name="Google Shape;3066;p104"/>
          <p:cNvGrpSpPr/>
          <p:nvPr/>
        </p:nvGrpSpPr>
        <p:grpSpPr>
          <a:xfrm>
            <a:off x="10285914" y="4259635"/>
            <a:ext cx="138975" cy="427120"/>
            <a:chOff x="7564426" y="3224343"/>
            <a:chExt cx="119985" cy="368801"/>
          </a:xfrm>
        </p:grpSpPr>
        <p:sp>
          <p:nvSpPr>
            <p:cNvPr id="3067" name="Google Shape;3067;p104"/>
            <p:cNvSpPr/>
            <p:nvPr/>
          </p:nvSpPr>
          <p:spPr>
            <a:xfrm>
              <a:off x="7564426" y="3224379"/>
              <a:ext cx="119985" cy="368765"/>
            </a:xfrm>
            <a:custGeom>
              <a:avLst/>
              <a:gdLst/>
              <a:ahLst/>
              <a:cxnLst/>
              <a:rect l="l" t="t" r="r" b="b"/>
              <a:pathLst>
                <a:path w="13196" h="40557" extrusionOk="0">
                  <a:moveTo>
                    <a:pt x="2529" y="1"/>
                  </a:moveTo>
                  <a:lnTo>
                    <a:pt x="2547" y="1348"/>
                  </a:lnTo>
                  <a:lnTo>
                    <a:pt x="10244" y="1459"/>
                  </a:lnTo>
                  <a:lnTo>
                    <a:pt x="10227" y="108"/>
                  </a:lnTo>
                  <a:lnTo>
                    <a:pt x="2529" y="1"/>
                  </a:lnTo>
                  <a:close/>
                  <a:moveTo>
                    <a:pt x="3107" y="1850"/>
                  </a:moveTo>
                  <a:lnTo>
                    <a:pt x="556" y="15262"/>
                  </a:lnTo>
                  <a:lnTo>
                    <a:pt x="12617" y="15439"/>
                  </a:lnTo>
                  <a:lnTo>
                    <a:pt x="9489" y="1872"/>
                  </a:lnTo>
                  <a:lnTo>
                    <a:pt x="3107" y="1850"/>
                  </a:lnTo>
                  <a:close/>
                  <a:moveTo>
                    <a:pt x="1" y="15688"/>
                  </a:moveTo>
                  <a:lnTo>
                    <a:pt x="23" y="17035"/>
                  </a:lnTo>
                  <a:lnTo>
                    <a:pt x="13195" y="17226"/>
                  </a:lnTo>
                  <a:lnTo>
                    <a:pt x="13177" y="15879"/>
                  </a:lnTo>
                  <a:lnTo>
                    <a:pt x="1" y="15688"/>
                  </a:lnTo>
                  <a:close/>
                  <a:moveTo>
                    <a:pt x="4658" y="17528"/>
                  </a:moveTo>
                  <a:lnTo>
                    <a:pt x="4658" y="17528"/>
                  </a:lnTo>
                  <a:cubicBezTo>
                    <a:pt x="4685" y="21359"/>
                    <a:pt x="6027" y="32838"/>
                    <a:pt x="6902" y="40557"/>
                  </a:cubicBezTo>
                  <a:cubicBezTo>
                    <a:pt x="6902" y="40557"/>
                    <a:pt x="8813" y="21274"/>
                    <a:pt x="8560" y="17586"/>
                  </a:cubicBezTo>
                  <a:lnTo>
                    <a:pt x="4658" y="17528"/>
                  </a:lnTo>
                  <a:close/>
                </a:path>
              </a:pathLst>
            </a:custGeom>
            <a:noFill/>
            <a:ln w="9525" cap="flat" cmpd="sng">
              <a:solidFill>
                <a:srgbClr val="BAC8D3"/>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068" name="Google Shape;3068;p104"/>
            <p:cNvSpPr/>
            <p:nvPr/>
          </p:nvSpPr>
          <p:spPr>
            <a:xfrm>
              <a:off x="7564426" y="3224343"/>
              <a:ext cx="119985" cy="368801"/>
            </a:xfrm>
            <a:custGeom>
              <a:avLst/>
              <a:gdLst/>
              <a:ahLst/>
              <a:cxnLst/>
              <a:rect l="l" t="t" r="r" b="b"/>
              <a:pathLst>
                <a:path w="13196" h="40561" extrusionOk="0">
                  <a:moveTo>
                    <a:pt x="2529" y="1"/>
                  </a:moveTo>
                  <a:lnTo>
                    <a:pt x="2529" y="5"/>
                  </a:lnTo>
                  <a:lnTo>
                    <a:pt x="2547" y="1352"/>
                  </a:lnTo>
                  <a:lnTo>
                    <a:pt x="10244" y="1463"/>
                  </a:lnTo>
                  <a:lnTo>
                    <a:pt x="10227" y="112"/>
                  </a:lnTo>
                  <a:lnTo>
                    <a:pt x="2529" y="1"/>
                  </a:lnTo>
                  <a:close/>
                  <a:moveTo>
                    <a:pt x="3107" y="1854"/>
                  </a:moveTo>
                  <a:lnTo>
                    <a:pt x="556" y="15266"/>
                  </a:lnTo>
                  <a:lnTo>
                    <a:pt x="12617" y="15443"/>
                  </a:lnTo>
                  <a:lnTo>
                    <a:pt x="9489" y="1876"/>
                  </a:lnTo>
                  <a:lnTo>
                    <a:pt x="3107" y="1854"/>
                  </a:lnTo>
                  <a:close/>
                  <a:moveTo>
                    <a:pt x="1" y="15692"/>
                  </a:moveTo>
                  <a:lnTo>
                    <a:pt x="23" y="17039"/>
                  </a:lnTo>
                  <a:lnTo>
                    <a:pt x="13195" y="17230"/>
                  </a:lnTo>
                  <a:lnTo>
                    <a:pt x="13177" y="15883"/>
                  </a:lnTo>
                  <a:lnTo>
                    <a:pt x="1" y="15692"/>
                  </a:lnTo>
                  <a:close/>
                  <a:moveTo>
                    <a:pt x="4658" y="17532"/>
                  </a:moveTo>
                  <a:lnTo>
                    <a:pt x="4658" y="17532"/>
                  </a:lnTo>
                  <a:cubicBezTo>
                    <a:pt x="4685" y="21363"/>
                    <a:pt x="6027" y="32842"/>
                    <a:pt x="6902" y="40561"/>
                  </a:cubicBezTo>
                  <a:cubicBezTo>
                    <a:pt x="6902" y="40561"/>
                    <a:pt x="8813" y="21278"/>
                    <a:pt x="8560" y="17590"/>
                  </a:cubicBezTo>
                  <a:lnTo>
                    <a:pt x="4658" y="17532"/>
                  </a:lnTo>
                  <a:close/>
                </a:path>
              </a:pathLst>
            </a:custGeom>
            <a:noFill/>
            <a:ln w="9525" cap="flat" cmpd="sng">
              <a:solidFill>
                <a:srgbClr val="BAC8D3"/>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3069" name="Google Shape;3069;p104"/>
          <p:cNvGrpSpPr/>
          <p:nvPr/>
        </p:nvGrpSpPr>
        <p:grpSpPr>
          <a:xfrm>
            <a:off x="9885231" y="4251769"/>
            <a:ext cx="252652" cy="442843"/>
            <a:chOff x="8370831" y="3202002"/>
            <a:chExt cx="218129" cy="382376"/>
          </a:xfrm>
        </p:grpSpPr>
        <p:sp>
          <p:nvSpPr>
            <p:cNvPr id="3070" name="Google Shape;3070;p104"/>
            <p:cNvSpPr/>
            <p:nvPr/>
          </p:nvSpPr>
          <p:spPr>
            <a:xfrm>
              <a:off x="8370831" y="3202002"/>
              <a:ext cx="218129" cy="382376"/>
            </a:xfrm>
            <a:custGeom>
              <a:avLst/>
              <a:gdLst/>
              <a:ahLst/>
              <a:cxnLst/>
              <a:rect l="l" t="t" r="r" b="b"/>
              <a:pathLst>
                <a:path w="23990" h="42054" extrusionOk="0">
                  <a:moveTo>
                    <a:pt x="11991" y="0"/>
                  </a:moveTo>
                  <a:cubicBezTo>
                    <a:pt x="11992" y="0"/>
                    <a:pt x="11992" y="0"/>
                    <a:pt x="11993" y="0"/>
                  </a:cubicBezTo>
                  <a:lnTo>
                    <a:pt x="11993" y="0"/>
                  </a:lnTo>
                  <a:cubicBezTo>
                    <a:pt x="11994" y="0"/>
                    <a:pt x="11995" y="0"/>
                    <a:pt x="11995" y="0"/>
                  </a:cubicBezTo>
                  <a:close/>
                  <a:moveTo>
                    <a:pt x="11993" y="0"/>
                  </a:moveTo>
                  <a:cubicBezTo>
                    <a:pt x="5373" y="1"/>
                    <a:pt x="1" y="4974"/>
                    <a:pt x="1" y="11110"/>
                  </a:cubicBezTo>
                  <a:cubicBezTo>
                    <a:pt x="1" y="14754"/>
                    <a:pt x="1894" y="17985"/>
                    <a:pt x="4823" y="20011"/>
                  </a:cubicBezTo>
                  <a:lnTo>
                    <a:pt x="12062" y="42054"/>
                  </a:lnTo>
                  <a:lnTo>
                    <a:pt x="18950" y="20154"/>
                  </a:lnTo>
                  <a:cubicBezTo>
                    <a:pt x="21999" y="18136"/>
                    <a:pt x="23990" y="14843"/>
                    <a:pt x="23990" y="11110"/>
                  </a:cubicBezTo>
                  <a:cubicBezTo>
                    <a:pt x="23990" y="4978"/>
                    <a:pt x="18618" y="1"/>
                    <a:pt x="11993" y="0"/>
                  </a:cubicBezTo>
                  <a:close/>
                </a:path>
              </a:pathLst>
            </a:custGeom>
            <a:noFill/>
            <a:ln w="9525" cap="flat" cmpd="sng">
              <a:solidFill>
                <a:srgbClr val="D7DFE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071" name="Google Shape;3071;p104"/>
            <p:cNvSpPr/>
            <p:nvPr/>
          </p:nvSpPr>
          <p:spPr>
            <a:xfrm>
              <a:off x="8397745" y="3226607"/>
              <a:ext cx="164347" cy="152181"/>
            </a:xfrm>
            <a:custGeom>
              <a:avLst/>
              <a:gdLst/>
              <a:ahLst/>
              <a:cxnLst/>
              <a:rect l="l" t="t" r="r" b="b"/>
              <a:pathLst>
                <a:path w="18075" h="16737" extrusionOk="0">
                  <a:moveTo>
                    <a:pt x="9035" y="0"/>
                  </a:moveTo>
                  <a:cubicBezTo>
                    <a:pt x="4045" y="0"/>
                    <a:pt x="1" y="3747"/>
                    <a:pt x="1" y="8368"/>
                  </a:cubicBezTo>
                  <a:cubicBezTo>
                    <a:pt x="1" y="12990"/>
                    <a:pt x="4045" y="16736"/>
                    <a:pt x="9035" y="16736"/>
                  </a:cubicBezTo>
                  <a:cubicBezTo>
                    <a:pt x="14026" y="16736"/>
                    <a:pt x="18075" y="12990"/>
                    <a:pt x="18075" y="8368"/>
                  </a:cubicBezTo>
                  <a:cubicBezTo>
                    <a:pt x="18075" y="3747"/>
                    <a:pt x="14030" y="0"/>
                    <a:pt x="9035" y="0"/>
                  </a:cubicBezTo>
                  <a:close/>
                </a:path>
              </a:pathLst>
            </a:custGeom>
            <a:noFill/>
            <a:ln w="9525" cap="flat" cmpd="sng">
              <a:solidFill>
                <a:srgbClr val="D7DFE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3072" name="Google Shape;3072;p104"/>
          <p:cNvGrpSpPr/>
          <p:nvPr/>
        </p:nvGrpSpPr>
        <p:grpSpPr>
          <a:xfrm>
            <a:off x="10849750" y="4799945"/>
            <a:ext cx="412572" cy="356000"/>
            <a:chOff x="6742064" y="3750480"/>
            <a:chExt cx="399315" cy="344560"/>
          </a:xfrm>
        </p:grpSpPr>
        <p:sp>
          <p:nvSpPr>
            <p:cNvPr id="3073" name="Google Shape;3073;p104"/>
            <p:cNvSpPr/>
            <p:nvPr/>
          </p:nvSpPr>
          <p:spPr>
            <a:xfrm>
              <a:off x="6742064" y="3750480"/>
              <a:ext cx="399315" cy="344560"/>
            </a:xfrm>
            <a:custGeom>
              <a:avLst/>
              <a:gdLst/>
              <a:ahLst/>
              <a:cxnLst/>
              <a:rect l="l" t="t" r="r" b="b"/>
              <a:pathLst>
                <a:path w="43917" h="37895" extrusionOk="0">
                  <a:moveTo>
                    <a:pt x="37846" y="1"/>
                  </a:moveTo>
                  <a:lnTo>
                    <a:pt x="6071" y="1"/>
                  </a:lnTo>
                  <a:cubicBezTo>
                    <a:pt x="2729" y="1"/>
                    <a:pt x="0" y="2734"/>
                    <a:pt x="0" y="6071"/>
                  </a:cubicBezTo>
                  <a:lnTo>
                    <a:pt x="0" y="18212"/>
                  </a:lnTo>
                  <a:cubicBezTo>
                    <a:pt x="0" y="21550"/>
                    <a:pt x="2729" y="24278"/>
                    <a:pt x="6071" y="24278"/>
                  </a:cubicBezTo>
                  <a:lnTo>
                    <a:pt x="18927" y="24278"/>
                  </a:lnTo>
                  <a:cubicBezTo>
                    <a:pt x="19332" y="24278"/>
                    <a:pt x="19754" y="24705"/>
                    <a:pt x="19821" y="25105"/>
                  </a:cubicBezTo>
                  <a:lnTo>
                    <a:pt x="21958" y="37895"/>
                  </a:lnTo>
                  <a:lnTo>
                    <a:pt x="24096" y="25101"/>
                  </a:lnTo>
                  <a:cubicBezTo>
                    <a:pt x="24162" y="24687"/>
                    <a:pt x="24629" y="24278"/>
                    <a:pt x="25051" y="24278"/>
                  </a:cubicBezTo>
                  <a:lnTo>
                    <a:pt x="37846" y="24278"/>
                  </a:lnTo>
                  <a:cubicBezTo>
                    <a:pt x="41183" y="24278"/>
                    <a:pt x="43916" y="21550"/>
                    <a:pt x="43916" y="18212"/>
                  </a:cubicBezTo>
                  <a:lnTo>
                    <a:pt x="43916" y="6071"/>
                  </a:lnTo>
                  <a:cubicBezTo>
                    <a:pt x="43916" y="2734"/>
                    <a:pt x="41183" y="1"/>
                    <a:pt x="37846" y="1"/>
                  </a:cubicBezTo>
                  <a:close/>
                </a:path>
              </a:pathLst>
            </a:custGeom>
            <a:noFill/>
            <a:ln w="9525" cap="flat" cmpd="sng">
              <a:solidFill>
                <a:srgbClr val="D7DFE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074" name="Google Shape;3074;p104"/>
            <p:cNvSpPr/>
            <p:nvPr/>
          </p:nvSpPr>
          <p:spPr>
            <a:xfrm>
              <a:off x="6764168" y="3772584"/>
              <a:ext cx="355108" cy="176549"/>
            </a:xfrm>
            <a:custGeom>
              <a:avLst/>
              <a:gdLst/>
              <a:ahLst/>
              <a:cxnLst/>
              <a:rect l="l" t="t" r="r" b="b"/>
              <a:pathLst>
                <a:path w="39055" h="19417" extrusionOk="0">
                  <a:moveTo>
                    <a:pt x="3755" y="1"/>
                  </a:moveTo>
                  <a:lnTo>
                    <a:pt x="35295" y="1"/>
                  </a:lnTo>
                  <a:cubicBezTo>
                    <a:pt x="37370" y="10"/>
                    <a:pt x="39045" y="1685"/>
                    <a:pt x="39054" y="3756"/>
                  </a:cubicBezTo>
                  <a:lnTo>
                    <a:pt x="39054" y="15666"/>
                  </a:lnTo>
                  <a:cubicBezTo>
                    <a:pt x="39045" y="17737"/>
                    <a:pt x="37370" y="19412"/>
                    <a:pt x="35295" y="19417"/>
                  </a:cubicBezTo>
                  <a:lnTo>
                    <a:pt x="3755" y="19417"/>
                  </a:lnTo>
                  <a:cubicBezTo>
                    <a:pt x="1680" y="19412"/>
                    <a:pt x="5" y="17737"/>
                    <a:pt x="0" y="15666"/>
                  </a:cubicBezTo>
                  <a:lnTo>
                    <a:pt x="0" y="3756"/>
                  </a:lnTo>
                  <a:cubicBezTo>
                    <a:pt x="5" y="1685"/>
                    <a:pt x="1680" y="10"/>
                    <a:pt x="3755" y="1"/>
                  </a:cubicBezTo>
                  <a:close/>
                </a:path>
              </a:pathLst>
            </a:custGeom>
            <a:noFill/>
            <a:ln w="9525" cap="flat" cmpd="sng">
              <a:solidFill>
                <a:srgbClr val="D7DFE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3075" name="Google Shape;3075;p104"/>
          <p:cNvGrpSpPr/>
          <p:nvPr/>
        </p:nvGrpSpPr>
        <p:grpSpPr>
          <a:xfrm>
            <a:off x="10235109" y="5268008"/>
            <a:ext cx="240583" cy="375477"/>
            <a:chOff x="7248525" y="3739696"/>
            <a:chExt cx="230531" cy="359790"/>
          </a:xfrm>
        </p:grpSpPr>
        <p:sp>
          <p:nvSpPr>
            <p:cNvPr id="3076" name="Google Shape;3076;p104"/>
            <p:cNvSpPr/>
            <p:nvPr/>
          </p:nvSpPr>
          <p:spPr>
            <a:xfrm>
              <a:off x="7248525" y="3739696"/>
              <a:ext cx="230531" cy="359790"/>
            </a:xfrm>
            <a:custGeom>
              <a:avLst/>
              <a:gdLst/>
              <a:ahLst/>
              <a:cxnLst/>
              <a:rect l="l" t="t" r="r" b="b"/>
              <a:pathLst>
                <a:path w="25354" h="39570" extrusionOk="0">
                  <a:moveTo>
                    <a:pt x="19434" y="18"/>
                  </a:moveTo>
                  <a:lnTo>
                    <a:pt x="6338" y="5"/>
                  </a:lnTo>
                  <a:cubicBezTo>
                    <a:pt x="2854" y="0"/>
                    <a:pt x="1" y="2858"/>
                    <a:pt x="1" y="6342"/>
                  </a:cubicBezTo>
                  <a:lnTo>
                    <a:pt x="1" y="19016"/>
                  </a:lnTo>
                  <a:cubicBezTo>
                    <a:pt x="1" y="29006"/>
                    <a:pt x="6280" y="22820"/>
                    <a:pt x="12679" y="39570"/>
                  </a:cubicBezTo>
                  <a:cubicBezTo>
                    <a:pt x="19074" y="22820"/>
                    <a:pt x="25354" y="29006"/>
                    <a:pt x="25354" y="19016"/>
                  </a:cubicBezTo>
                  <a:lnTo>
                    <a:pt x="25354" y="6342"/>
                  </a:lnTo>
                  <a:cubicBezTo>
                    <a:pt x="25354" y="2858"/>
                    <a:pt x="22923" y="18"/>
                    <a:pt x="19434" y="18"/>
                  </a:cubicBezTo>
                  <a:close/>
                </a:path>
              </a:pathLst>
            </a:custGeom>
            <a:noFill/>
            <a:ln w="9525" cap="flat" cmpd="sng">
              <a:solidFill>
                <a:srgbClr val="E3E9ED"/>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077" name="Google Shape;3077;p104"/>
            <p:cNvSpPr/>
            <p:nvPr/>
          </p:nvSpPr>
          <p:spPr>
            <a:xfrm>
              <a:off x="7271639" y="3762810"/>
              <a:ext cx="184350" cy="184387"/>
            </a:xfrm>
            <a:custGeom>
              <a:avLst/>
              <a:gdLst/>
              <a:ahLst/>
              <a:cxnLst/>
              <a:rect l="l" t="t" r="r" b="b"/>
              <a:pathLst>
                <a:path w="20275" h="20279" extrusionOk="0">
                  <a:moveTo>
                    <a:pt x="3738" y="0"/>
                  </a:moveTo>
                  <a:lnTo>
                    <a:pt x="16532" y="0"/>
                  </a:lnTo>
                  <a:cubicBezTo>
                    <a:pt x="18594" y="5"/>
                    <a:pt x="20270" y="1680"/>
                    <a:pt x="20274" y="3742"/>
                  </a:cubicBezTo>
                  <a:lnTo>
                    <a:pt x="20274" y="16536"/>
                  </a:lnTo>
                  <a:cubicBezTo>
                    <a:pt x="20270" y="18598"/>
                    <a:pt x="18594" y="20274"/>
                    <a:pt x="16532" y="20278"/>
                  </a:cubicBezTo>
                  <a:lnTo>
                    <a:pt x="3738" y="20278"/>
                  </a:lnTo>
                  <a:cubicBezTo>
                    <a:pt x="1676" y="20274"/>
                    <a:pt x="5" y="18598"/>
                    <a:pt x="1" y="16536"/>
                  </a:cubicBezTo>
                  <a:lnTo>
                    <a:pt x="1" y="3742"/>
                  </a:lnTo>
                  <a:cubicBezTo>
                    <a:pt x="5" y="1680"/>
                    <a:pt x="1676" y="5"/>
                    <a:pt x="3738" y="0"/>
                  </a:cubicBezTo>
                  <a:close/>
                </a:path>
              </a:pathLst>
            </a:custGeom>
            <a:noFill/>
            <a:ln w="9525" cap="flat" cmpd="sng">
              <a:solidFill>
                <a:srgbClr val="E3E9ED"/>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3078" name="Google Shape;3078;p104"/>
          <p:cNvGrpSpPr/>
          <p:nvPr/>
        </p:nvGrpSpPr>
        <p:grpSpPr>
          <a:xfrm>
            <a:off x="10563001" y="4792308"/>
            <a:ext cx="217195" cy="371613"/>
            <a:chOff x="7601242" y="3729267"/>
            <a:chExt cx="222566" cy="380803"/>
          </a:xfrm>
        </p:grpSpPr>
        <p:sp>
          <p:nvSpPr>
            <p:cNvPr id="3079" name="Google Shape;3079;p104"/>
            <p:cNvSpPr/>
            <p:nvPr/>
          </p:nvSpPr>
          <p:spPr>
            <a:xfrm>
              <a:off x="7601242" y="3729267"/>
              <a:ext cx="222566" cy="380803"/>
            </a:xfrm>
            <a:custGeom>
              <a:avLst/>
              <a:gdLst/>
              <a:ahLst/>
              <a:cxnLst/>
              <a:rect l="l" t="t" r="r" b="b"/>
              <a:pathLst>
                <a:path w="24478" h="41881" extrusionOk="0">
                  <a:moveTo>
                    <a:pt x="12239" y="1"/>
                  </a:moveTo>
                  <a:cubicBezTo>
                    <a:pt x="5480" y="1"/>
                    <a:pt x="0" y="5320"/>
                    <a:pt x="0" y="11875"/>
                  </a:cubicBezTo>
                  <a:cubicBezTo>
                    <a:pt x="0" y="17537"/>
                    <a:pt x="4080" y="22270"/>
                    <a:pt x="9537" y="23461"/>
                  </a:cubicBezTo>
                  <a:cubicBezTo>
                    <a:pt x="10235" y="23616"/>
                    <a:pt x="10190" y="24114"/>
                    <a:pt x="10270" y="24825"/>
                  </a:cubicBezTo>
                  <a:lnTo>
                    <a:pt x="12239" y="41881"/>
                  </a:lnTo>
                  <a:lnTo>
                    <a:pt x="14181" y="25065"/>
                  </a:lnTo>
                  <a:cubicBezTo>
                    <a:pt x="14257" y="24385"/>
                    <a:pt x="14230" y="23612"/>
                    <a:pt x="14897" y="23469"/>
                  </a:cubicBezTo>
                  <a:cubicBezTo>
                    <a:pt x="20381" y="22296"/>
                    <a:pt x="24478" y="17550"/>
                    <a:pt x="24478" y="11875"/>
                  </a:cubicBezTo>
                  <a:cubicBezTo>
                    <a:pt x="24478" y="5320"/>
                    <a:pt x="18998" y="1"/>
                    <a:pt x="12239" y="1"/>
                  </a:cubicBezTo>
                  <a:close/>
                </a:path>
              </a:pathLst>
            </a:custGeom>
            <a:noFill/>
            <a:ln w="9525" cap="flat" cmpd="sng">
              <a:solidFill>
                <a:srgbClr val="D7DFE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080" name="Google Shape;3080;p104"/>
            <p:cNvSpPr/>
            <p:nvPr/>
          </p:nvSpPr>
          <p:spPr>
            <a:xfrm>
              <a:off x="7621200" y="3748625"/>
              <a:ext cx="182696" cy="177276"/>
            </a:xfrm>
            <a:custGeom>
              <a:avLst/>
              <a:gdLst/>
              <a:ahLst/>
              <a:cxnLst/>
              <a:rect l="l" t="t" r="r" b="b"/>
              <a:pathLst>
                <a:path w="20093" h="19497" extrusionOk="0">
                  <a:moveTo>
                    <a:pt x="10044" y="19496"/>
                  </a:moveTo>
                  <a:cubicBezTo>
                    <a:pt x="15577" y="19496"/>
                    <a:pt x="20092" y="15119"/>
                    <a:pt x="20092" y="9751"/>
                  </a:cubicBezTo>
                  <a:cubicBezTo>
                    <a:pt x="20092" y="4378"/>
                    <a:pt x="15577" y="0"/>
                    <a:pt x="10044" y="0"/>
                  </a:cubicBezTo>
                  <a:cubicBezTo>
                    <a:pt x="4511" y="0"/>
                    <a:pt x="1" y="4378"/>
                    <a:pt x="1" y="9751"/>
                  </a:cubicBezTo>
                  <a:cubicBezTo>
                    <a:pt x="1" y="15119"/>
                    <a:pt x="4511" y="19496"/>
                    <a:pt x="10044" y="19496"/>
                  </a:cubicBezTo>
                  <a:close/>
                </a:path>
              </a:pathLst>
            </a:custGeom>
            <a:noFill/>
            <a:ln w="9525" cap="flat" cmpd="sng">
              <a:solidFill>
                <a:srgbClr val="D7DFE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sp>
        <p:nvSpPr>
          <p:cNvPr id="3081" name="Google Shape;3081;p104"/>
          <p:cNvSpPr/>
          <p:nvPr/>
        </p:nvSpPr>
        <p:spPr>
          <a:xfrm>
            <a:off x="10517703" y="4275450"/>
            <a:ext cx="307792" cy="395433"/>
          </a:xfrm>
          <a:custGeom>
            <a:avLst/>
            <a:gdLst/>
            <a:ahLst/>
            <a:cxnLst/>
            <a:rect l="l" t="t" r="r" b="b"/>
            <a:pathLst>
              <a:path w="29230" h="37553" extrusionOk="0">
                <a:moveTo>
                  <a:pt x="9655" y="0"/>
                </a:moveTo>
                <a:cubicBezTo>
                  <a:pt x="7693" y="0"/>
                  <a:pt x="5983" y="1692"/>
                  <a:pt x="5974" y="3671"/>
                </a:cubicBezTo>
                <a:cubicBezTo>
                  <a:pt x="5974" y="4182"/>
                  <a:pt x="6085" y="4693"/>
                  <a:pt x="6245" y="5036"/>
                </a:cubicBezTo>
                <a:cubicBezTo>
                  <a:pt x="7169" y="7653"/>
                  <a:pt x="7369" y="9675"/>
                  <a:pt x="6863" y="11515"/>
                </a:cubicBezTo>
                <a:lnTo>
                  <a:pt x="6716" y="11933"/>
                </a:lnTo>
                <a:cubicBezTo>
                  <a:pt x="6089" y="13821"/>
                  <a:pt x="5018" y="16181"/>
                  <a:pt x="1850" y="19345"/>
                </a:cubicBezTo>
                <a:cubicBezTo>
                  <a:pt x="1" y="21194"/>
                  <a:pt x="623" y="24331"/>
                  <a:pt x="3041" y="25340"/>
                </a:cubicBezTo>
                <a:cubicBezTo>
                  <a:pt x="3475" y="25523"/>
                  <a:pt x="3948" y="25620"/>
                  <a:pt x="4422" y="25620"/>
                </a:cubicBezTo>
                <a:cubicBezTo>
                  <a:pt x="4433" y="25620"/>
                  <a:pt x="4443" y="25620"/>
                  <a:pt x="4454" y="25620"/>
                </a:cubicBezTo>
                <a:lnTo>
                  <a:pt x="12866" y="25620"/>
                </a:lnTo>
                <a:lnTo>
                  <a:pt x="14862" y="37552"/>
                </a:lnTo>
                <a:lnTo>
                  <a:pt x="16848" y="25625"/>
                </a:lnTo>
                <a:lnTo>
                  <a:pt x="25243" y="25625"/>
                </a:lnTo>
                <a:cubicBezTo>
                  <a:pt x="25254" y="25625"/>
                  <a:pt x="25264" y="25625"/>
                  <a:pt x="25275" y="25625"/>
                </a:cubicBezTo>
                <a:cubicBezTo>
                  <a:pt x="25753" y="25625"/>
                  <a:pt x="26230" y="25527"/>
                  <a:pt x="26669" y="25345"/>
                </a:cubicBezTo>
                <a:cubicBezTo>
                  <a:pt x="27576" y="24976"/>
                  <a:pt x="28292" y="24256"/>
                  <a:pt x="28660" y="23354"/>
                </a:cubicBezTo>
                <a:cubicBezTo>
                  <a:pt x="29229" y="21980"/>
                  <a:pt x="28914" y="20398"/>
                  <a:pt x="27865" y="19345"/>
                </a:cubicBezTo>
                <a:cubicBezTo>
                  <a:pt x="24701" y="16177"/>
                  <a:pt x="23630" y="13821"/>
                  <a:pt x="22999" y="11933"/>
                </a:cubicBezTo>
                <a:cubicBezTo>
                  <a:pt x="22354" y="9999"/>
                  <a:pt x="22505" y="7880"/>
                  <a:pt x="23443" y="5213"/>
                </a:cubicBezTo>
                <a:cubicBezTo>
                  <a:pt x="23661" y="4733"/>
                  <a:pt x="23772" y="4218"/>
                  <a:pt x="23772" y="3693"/>
                </a:cubicBezTo>
                <a:cubicBezTo>
                  <a:pt x="23759" y="1670"/>
                  <a:pt x="22105" y="27"/>
                  <a:pt x="20100" y="27"/>
                </a:cubicBezTo>
                <a:cubicBezTo>
                  <a:pt x="20098" y="27"/>
                  <a:pt x="20095" y="27"/>
                  <a:pt x="20092" y="27"/>
                </a:cubicBezTo>
                <a:lnTo>
                  <a:pt x="9662" y="0"/>
                </a:lnTo>
                <a:cubicBezTo>
                  <a:pt x="9660" y="0"/>
                  <a:pt x="9657" y="0"/>
                  <a:pt x="9655" y="0"/>
                </a:cubicBezTo>
                <a:close/>
              </a:path>
            </a:pathLst>
          </a:custGeom>
          <a:noFill/>
          <a:ln w="9525" cap="flat" cmpd="sng">
            <a:solidFill>
              <a:srgbClr val="D7DFE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nvGrpSpPr>
          <p:cNvPr id="3082" name="Google Shape;3082;p104"/>
          <p:cNvGrpSpPr/>
          <p:nvPr/>
        </p:nvGrpSpPr>
        <p:grpSpPr>
          <a:xfrm>
            <a:off x="9882529" y="4793828"/>
            <a:ext cx="258057" cy="367987"/>
            <a:chOff x="8304647" y="3738687"/>
            <a:chExt cx="225076" cy="320956"/>
          </a:xfrm>
        </p:grpSpPr>
        <p:sp>
          <p:nvSpPr>
            <p:cNvPr id="3083" name="Google Shape;3083;p104"/>
            <p:cNvSpPr/>
            <p:nvPr/>
          </p:nvSpPr>
          <p:spPr>
            <a:xfrm>
              <a:off x="8341164" y="3738692"/>
              <a:ext cx="2209" cy="309245"/>
            </a:xfrm>
            <a:custGeom>
              <a:avLst/>
              <a:gdLst/>
              <a:ahLst/>
              <a:cxnLst/>
              <a:rect l="l" t="t" r="r" b="b"/>
              <a:pathLst>
                <a:path w="1347" h="34011" extrusionOk="0">
                  <a:moveTo>
                    <a:pt x="0" y="0"/>
                  </a:moveTo>
                  <a:lnTo>
                    <a:pt x="0" y="34010"/>
                  </a:lnTo>
                  <a:lnTo>
                    <a:pt x="1347" y="34010"/>
                  </a:lnTo>
                  <a:lnTo>
                    <a:pt x="1347" y="0"/>
                  </a:lnTo>
                  <a:close/>
                </a:path>
              </a:pathLst>
            </a:custGeom>
            <a:noFill/>
            <a:ln w="9525" cap="flat" cmpd="sng">
              <a:solidFill>
                <a:srgbClr val="869FB1"/>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084" name="Google Shape;3084;p104"/>
            <p:cNvSpPr/>
            <p:nvPr/>
          </p:nvSpPr>
          <p:spPr>
            <a:xfrm>
              <a:off x="8337943" y="3738687"/>
              <a:ext cx="191779" cy="86151"/>
            </a:xfrm>
            <a:custGeom>
              <a:avLst/>
              <a:gdLst/>
              <a:ahLst/>
              <a:cxnLst/>
              <a:rect l="l" t="t" r="r" b="b"/>
              <a:pathLst>
                <a:path w="21092" h="9475" extrusionOk="0">
                  <a:moveTo>
                    <a:pt x="1" y="0"/>
                  </a:moveTo>
                  <a:lnTo>
                    <a:pt x="432" y="9475"/>
                  </a:lnTo>
                  <a:lnTo>
                    <a:pt x="21092" y="9475"/>
                  </a:lnTo>
                  <a:lnTo>
                    <a:pt x="17648" y="4524"/>
                  </a:lnTo>
                  <a:lnTo>
                    <a:pt x="21092" y="0"/>
                  </a:lnTo>
                  <a:close/>
                </a:path>
              </a:pathLst>
            </a:custGeom>
            <a:noFill/>
            <a:ln w="9525" cap="flat" cmpd="sng">
              <a:solidFill>
                <a:srgbClr val="869FB1"/>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085" name="Google Shape;3085;p104"/>
            <p:cNvSpPr/>
            <p:nvPr/>
          </p:nvSpPr>
          <p:spPr>
            <a:xfrm>
              <a:off x="8304647" y="4044004"/>
              <a:ext cx="76341" cy="15639"/>
            </a:xfrm>
            <a:custGeom>
              <a:avLst/>
              <a:gdLst/>
              <a:ahLst/>
              <a:cxnLst/>
              <a:rect l="l" t="t" r="r" b="b"/>
              <a:pathLst>
                <a:path w="8396" h="1720" extrusionOk="0">
                  <a:moveTo>
                    <a:pt x="4200" y="0"/>
                  </a:moveTo>
                  <a:cubicBezTo>
                    <a:pt x="1881" y="0"/>
                    <a:pt x="1" y="382"/>
                    <a:pt x="1" y="862"/>
                  </a:cubicBezTo>
                  <a:cubicBezTo>
                    <a:pt x="1" y="1338"/>
                    <a:pt x="1881" y="1720"/>
                    <a:pt x="4200" y="1720"/>
                  </a:cubicBezTo>
                  <a:cubicBezTo>
                    <a:pt x="6516" y="1720"/>
                    <a:pt x="8395" y="1338"/>
                    <a:pt x="8395" y="862"/>
                  </a:cubicBezTo>
                  <a:cubicBezTo>
                    <a:pt x="8395" y="382"/>
                    <a:pt x="6516" y="0"/>
                    <a:pt x="4200" y="0"/>
                  </a:cubicBezTo>
                  <a:close/>
                </a:path>
              </a:pathLst>
            </a:custGeom>
            <a:noFill/>
            <a:ln w="9525" cap="flat" cmpd="sng">
              <a:solidFill>
                <a:srgbClr val="869FB1"/>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3086" name="Google Shape;3086;p104"/>
          <p:cNvGrpSpPr/>
          <p:nvPr/>
        </p:nvGrpSpPr>
        <p:grpSpPr>
          <a:xfrm>
            <a:off x="10245852" y="4793828"/>
            <a:ext cx="237989" cy="367987"/>
            <a:chOff x="8615101" y="3738687"/>
            <a:chExt cx="207573" cy="320956"/>
          </a:xfrm>
        </p:grpSpPr>
        <p:sp>
          <p:nvSpPr>
            <p:cNvPr id="3087" name="Google Shape;3087;p104"/>
            <p:cNvSpPr/>
            <p:nvPr/>
          </p:nvSpPr>
          <p:spPr>
            <a:xfrm>
              <a:off x="8651571" y="3738692"/>
              <a:ext cx="3896" cy="309245"/>
            </a:xfrm>
            <a:custGeom>
              <a:avLst/>
              <a:gdLst/>
              <a:ahLst/>
              <a:cxnLst/>
              <a:rect l="l" t="t" r="r" b="b"/>
              <a:pathLst>
                <a:path w="1347" h="34011" extrusionOk="0">
                  <a:moveTo>
                    <a:pt x="0" y="0"/>
                  </a:moveTo>
                  <a:lnTo>
                    <a:pt x="0" y="34010"/>
                  </a:lnTo>
                  <a:lnTo>
                    <a:pt x="1347" y="34010"/>
                  </a:lnTo>
                  <a:lnTo>
                    <a:pt x="1347" y="0"/>
                  </a:lnTo>
                  <a:close/>
                </a:path>
              </a:pathLst>
            </a:custGeom>
            <a:noFill/>
            <a:ln w="9525" cap="flat" cmpd="sng">
              <a:solidFill>
                <a:srgbClr val="869FB1"/>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088" name="Google Shape;3088;p104"/>
            <p:cNvSpPr/>
            <p:nvPr/>
          </p:nvSpPr>
          <p:spPr>
            <a:xfrm>
              <a:off x="8615101" y="4044004"/>
              <a:ext cx="76332" cy="15639"/>
            </a:xfrm>
            <a:custGeom>
              <a:avLst/>
              <a:gdLst/>
              <a:ahLst/>
              <a:cxnLst/>
              <a:rect l="l" t="t" r="r" b="b"/>
              <a:pathLst>
                <a:path w="8395" h="1720" extrusionOk="0">
                  <a:moveTo>
                    <a:pt x="4195" y="0"/>
                  </a:moveTo>
                  <a:cubicBezTo>
                    <a:pt x="1875" y="0"/>
                    <a:pt x="0" y="382"/>
                    <a:pt x="0" y="862"/>
                  </a:cubicBezTo>
                  <a:cubicBezTo>
                    <a:pt x="0" y="1338"/>
                    <a:pt x="1875" y="1720"/>
                    <a:pt x="4195" y="1720"/>
                  </a:cubicBezTo>
                  <a:cubicBezTo>
                    <a:pt x="6515" y="1720"/>
                    <a:pt x="8395" y="1338"/>
                    <a:pt x="8395" y="862"/>
                  </a:cubicBezTo>
                  <a:cubicBezTo>
                    <a:pt x="8395" y="382"/>
                    <a:pt x="6515" y="0"/>
                    <a:pt x="4195" y="0"/>
                  </a:cubicBezTo>
                  <a:close/>
                </a:path>
              </a:pathLst>
            </a:custGeom>
            <a:noFill/>
            <a:ln w="9525" cap="flat" cmpd="sng">
              <a:solidFill>
                <a:srgbClr val="869FB1"/>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089" name="Google Shape;3089;p104"/>
            <p:cNvSpPr/>
            <p:nvPr/>
          </p:nvSpPr>
          <p:spPr>
            <a:xfrm>
              <a:off x="8651953" y="3738687"/>
              <a:ext cx="170721" cy="99808"/>
            </a:xfrm>
            <a:custGeom>
              <a:avLst/>
              <a:gdLst/>
              <a:ahLst/>
              <a:cxnLst/>
              <a:rect l="l" t="t" r="r" b="b"/>
              <a:pathLst>
                <a:path w="18776" h="10977" extrusionOk="0">
                  <a:moveTo>
                    <a:pt x="707" y="0"/>
                  </a:moveTo>
                  <a:lnTo>
                    <a:pt x="0" y="10977"/>
                  </a:lnTo>
                  <a:lnTo>
                    <a:pt x="18776" y="4360"/>
                  </a:lnTo>
                  <a:lnTo>
                    <a:pt x="707" y="0"/>
                  </a:lnTo>
                  <a:close/>
                </a:path>
              </a:pathLst>
            </a:custGeom>
            <a:noFill/>
            <a:ln w="9525" cap="flat" cmpd="sng">
              <a:solidFill>
                <a:srgbClr val="869FB1"/>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sp>
        <p:nvSpPr>
          <p:cNvPr id="3090" name="Google Shape;3090;p104"/>
          <p:cNvSpPr/>
          <p:nvPr/>
        </p:nvSpPr>
        <p:spPr>
          <a:xfrm>
            <a:off x="10907772" y="4247006"/>
            <a:ext cx="296529" cy="384925"/>
          </a:xfrm>
          <a:custGeom>
            <a:avLst/>
            <a:gdLst/>
            <a:ahLst/>
            <a:cxnLst/>
            <a:rect l="l" t="t" r="r" b="b"/>
            <a:pathLst>
              <a:path w="2810" h="3648" extrusionOk="0">
                <a:moveTo>
                  <a:pt x="1365" y="241"/>
                </a:moveTo>
                <a:cubicBezTo>
                  <a:pt x="1630" y="241"/>
                  <a:pt x="1899" y="338"/>
                  <a:pt x="2120" y="555"/>
                </a:cubicBezTo>
                <a:cubicBezTo>
                  <a:pt x="2810" y="1245"/>
                  <a:pt x="2329" y="2416"/>
                  <a:pt x="1356" y="2416"/>
                </a:cubicBezTo>
                <a:cubicBezTo>
                  <a:pt x="764" y="2416"/>
                  <a:pt x="272" y="1935"/>
                  <a:pt x="272" y="1344"/>
                </a:cubicBezTo>
                <a:cubicBezTo>
                  <a:pt x="263" y="681"/>
                  <a:pt x="802" y="241"/>
                  <a:pt x="1365" y="241"/>
                </a:cubicBezTo>
                <a:close/>
                <a:moveTo>
                  <a:pt x="1356" y="1"/>
                </a:moveTo>
                <a:cubicBezTo>
                  <a:pt x="604" y="1"/>
                  <a:pt x="0" y="604"/>
                  <a:pt x="0" y="1356"/>
                </a:cubicBezTo>
                <a:cubicBezTo>
                  <a:pt x="0" y="2391"/>
                  <a:pt x="1183" y="3512"/>
                  <a:pt x="1331" y="3648"/>
                </a:cubicBezTo>
                <a:lnTo>
                  <a:pt x="1368" y="3648"/>
                </a:lnTo>
                <a:cubicBezTo>
                  <a:pt x="1528" y="3512"/>
                  <a:pt x="2711" y="2453"/>
                  <a:pt x="2711" y="1356"/>
                </a:cubicBezTo>
                <a:cubicBezTo>
                  <a:pt x="2711" y="604"/>
                  <a:pt x="2095" y="1"/>
                  <a:pt x="1356" y="1"/>
                </a:cubicBezTo>
                <a:close/>
              </a:path>
            </a:pathLst>
          </a:custGeom>
          <a:noFill/>
          <a:ln w="9525" cap="flat" cmpd="sng">
            <a:solidFill>
              <a:srgbClr val="E3E9ED"/>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nvGrpSpPr>
          <p:cNvPr id="3091" name="Google Shape;3091;p104"/>
          <p:cNvGrpSpPr/>
          <p:nvPr/>
        </p:nvGrpSpPr>
        <p:grpSpPr>
          <a:xfrm>
            <a:off x="10546561" y="5330710"/>
            <a:ext cx="250076" cy="250076"/>
            <a:chOff x="8565775" y="671075"/>
            <a:chExt cx="441000" cy="441000"/>
          </a:xfrm>
        </p:grpSpPr>
        <p:sp>
          <p:nvSpPr>
            <p:cNvPr id="3092" name="Google Shape;3092;p104"/>
            <p:cNvSpPr/>
            <p:nvPr/>
          </p:nvSpPr>
          <p:spPr>
            <a:xfrm>
              <a:off x="8565775" y="671075"/>
              <a:ext cx="441000" cy="441000"/>
            </a:xfrm>
            <a:prstGeom prst="ellipse">
              <a:avLst/>
            </a:prstGeom>
            <a:noFill/>
            <a:ln w="19050" cap="flat" cmpd="sng">
              <a:solidFill>
                <a:srgbClr val="BAC8D3"/>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093" name="Google Shape;3093;p104"/>
            <p:cNvSpPr/>
            <p:nvPr/>
          </p:nvSpPr>
          <p:spPr>
            <a:xfrm>
              <a:off x="8706625" y="811925"/>
              <a:ext cx="159300" cy="159300"/>
            </a:xfrm>
            <a:prstGeom prst="ellipse">
              <a:avLst/>
            </a:prstGeom>
            <a:noFill/>
            <a:ln w="19050" cap="flat" cmpd="sng">
              <a:solidFill>
                <a:srgbClr val="BAC8D3"/>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sp>
        <p:nvSpPr>
          <p:cNvPr id="3094" name="Google Shape;3094;p104"/>
          <p:cNvSpPr/>
          <p:nvPr/>
        </p:nvSpPr>
        <p:spPr>
          <a:xfrm>
            <a:off x="10926915" y="5325269"/>
            <a:ext cx="258244" cy="260955"/>
          </a:xfrm>
          <a:custGeom>
            <a:avLst/>
            <a:gdLst/>
            <a:ahLst/>
            <a:cxnLst/>
            <a:rect l="l" t="t" r="r" b="b"/>
            <a:pathLst>
              <a:path w="194168" h="196207" extrusionOk="0">
                <a:moveTo>
                  <a:pt x="11576" y="0"/>
                </a:moveTo>
                <a:cubicBezTo>
                  <a:pt x="8883" y="0"/>
                  <a:pt x="6181" y="987"/>
                  <a:pt x="4103" y="3065"/>
                </a:cubicBezTo>
                <a:cubicBezTo>
                  <a:pt x="1026" y="5799"/>
                  <a:pt x="1" y="10243"/>
                  <a:pt x="1368" y="14004"/>
                </a:cubicBezTo>
                <a:lnTo>
                  <a:pt x="65293" y="189369"/>
                </a:lnTo>
                <a:cubicBezTo>
                  <a:pt x="67002" y="193471"/>
                  <a:pt x="70762" y="196206"/>
                  <a:pt x="74864" y="196206"/>
                </a:cubicBezTo>
                <a:cubicBezTo>
                  <a:pt x="79308" y="196206"/>
                  <a:pt x="83410" y="193813"/>
                  <a:pt x="85120" y="190053"/>
                </a:cubicBezTo>
                <a:lnTo>
                  <a:pt x="114176" y="124077"/>
                </a:lnTo>
                <a:cubicBezTo>
                  <a:pt x="115202" y="121342"/>
                  <a:pt x="117595" y="119291"/>
                  <a:pt x="119988" y="118266"/>
                </a:cubicBezTo>
                <a:lnTo>
                  <a:pt x="187331" y="92286"/>
                </a:lnTo>
                <a:cubicBezTo>
                  <a:pt x="191433" y="90577"/>
                  <a:pt x="193826" y="86816"/>
                  <a:pt x="193826" y="82714"/>
                </a:cubicBezTo>
                <a:cubicBezTo>
                  <a:pt x="194168" y="78270"/>
                  <a:pt x="191433" y="74510"/>
                  <a:pt x="187673" y="72801"/>
                </a:cubicBezTo>
                <a:lnTo>
                  <a:pt x="15384" y="672"/>
                </a:lnTo>
                <a:cubicBezTo>
                  <a:pt x="14163" y="228"/>
                  <a:pt x="12871" y="0"/>
                  <a:pt x="11576" y="0"/>
                </a:cubicBezTo>
                <a:close/>
              </a:path>
            </a:pathLst>
          </a:custGeom>
          <a:noFill/>
          <a:ln w="9525" cap="flat" cmpd="sng">
            <a:solidFill>
              <a:srgbClr val="E3E9ED"/>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095" name="Google Shape;3095;p104"/>
          <p:cNvSpPr/>
          <p:nvPr/>
        </p:nvSpPr>
        <p:spPr>
          <a:xfrm flipH="1">
            <a:off x="9892498" y="5280545"/>
            <a:ext cx="238119" cy="350407"/>
          </a:xfrm>
          <a:custGeom>
            <a:avLst/>
            <a:gdLst/>
            <a:ahLst/>
            <a:cxnLst/>
            <a:rect l="l" t="t" r="r" b="b"/>
            <a:pathLst>
              <a:path w="133027" h="195758" extrusionOk="0">
                <a:moveTo>
                  <a:pt x="65846" y="26249"/>
                </a:moveTo>
                <a:cubicBezTo>
                  <a:pt x="87201" y="26249"/>
                  <a:pt x="104108" y="43156"/>
                  <a:pt x="104108" y="64511"/>
                </a:cubicBezTo>
                <a:cubicBezTo>
                  <a:pt x="104108" y="85422"/>
                  <a:pt x="87201" y="102328"/>
                  <a:pt x="65846" y="102328"/>
                </a:cubicBezTo>
                <a:cubicBezTo>
                  <a:pt x="44936" y="102328"/>
                  <a:pt x="28029" y="85422"/>
                  <a:pt x="28029" y="64511"/>
                </a:cubicBezTo>
                <a:cubicBezTo>
                  <a:pt x="28029" y="43156"/>
                  <a:pt x="44936" y="26249"/>
                  <a:pt x="65846" y="26249"/>
                </a:cubicBezTo>
                <a:close/>
                <a:moveTo>
                  <a:pt x="66291" y="0"/>
                </a:moveTo>
                <a:cubicBezTo>
                  <a:pt x="29809" y="0"/>
                  <a:pt x="0" y="29809"/>
                  <a:pt x="0" y="66291"/>
                </a:cubicBezTo>
                <a:cubicBezTo>
                  <a:pt x="0" y="84977"/>
                  <a:pt x="18241" y="118345"/>
                  <a:pt x="18241" y="118345"/>
                </a:cubicBezTo>
                <a:lnTo>
                  <a:pt x="64066" y="195758"/>
                </a:lnTo>
                <a:lnTo>
                  <a:pt x="111671" y="119234"/>
                </a:lnTo>
                <a:cubicBezTo>
                  <a:pt x="111671" y="119234"/>
                  <a:pt x="133027" y="87201"/>
                  <a:pt x="133027" y="66291"/>
                </a:cubicBezTo>
                <a:cubicBezTo>
                  <a:pt x="133027" y="29809"/>
                  <a:pt x="103218" y="0"/>
                  <a:pt x="66291" y="0"/>
                </a:cubicBezTo>
                <a:close/>
              </a:path>
            </a:pathLst>
          </a:custGeom>
          <a:noFill/>
          <a:ln w="9525" cap="flat" cmpd="sng">
            <a:solidFill>
              <a:srgbClr val="E3E9ED"/>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nvGrpSpPr>
          <p:cNvPr id="3096" name="Google Shape;3096;p104"/>
          <p:cNvGrpSpPr/>
          <p:nvPr/>
        </p:nvGrpSpPr>
        <p:grpSpPr>
          <a:xfrm>
            <a:off x="8085857" y="4094077"/>
            <a:ext cx="783820" cy="690308"/>
            <a:chOff x="6000718" y="3070557"/>
            <a:chExt cx="587865" cy="517731"/>
          </a:xfrm>
        </p:grpSpPr>
        <p:sp>
          <p:nvSpPr>
            <p:cNvPr id="3097" name="Google Shape;3097;p104"/>
            <p:cNvSpPr/>
            <p:nvPr/>
          </p:nvSpPr>
          <p:spPr>
            <a:xfrm>
              <a:off x="6161116" y="3104229"/>
              <a:ext cx="410235" cy="449911"/>
            </a:xfrm>
            <a:custGeom>
              <a:avLst/>
              <a:gdLst/>
              <a:ahLst/>
              <a:cxnLst/>
              <a:rect l="l" t="t" r="r" b="b"/>
              <a:pathLst>
                <a:path w="71098" h="78008" extrusionOk="0">
                  <a:moveTo>
                    <a:pt x="36108" y="3531"/>
                  </a:moveTo>
                  <a:lnTo>
                    <a:pt x="36835" y="4631"/>
                  </a:lnTo>
                  <a:cubicBezTo>
                    <a:pt x="36551" y="4826"/>
                    <a:pt x="36268" y="5039"/>
                    <a:pt x="35948" y="5217"/>
                  </a:cubicBezTo>
                  <a:cubicBezTo>
                    <a:pt x="35043" y="5749"/>
                    <a:pt x="34635" y="6459"/>
                    <a:pt x="35132" y="7488"/>
                  </a:cubicBezTo>
                  <a:cubicBezTo>
                    <a:pt x="35486" y="8208"/>
                    <a:pt x="35984" y="8561"/>
                    <a:pt x="36635" y="8561"/>
                  </a:cubicBezTo>
                  <a:cubicBezTo>
                    <a:pt x="36866" y="8561"/>
                    <a:pt x="37116" y="8517"/>
                    <a:pt x="37385" y="8428"/>
                  </a:cubicBezTo>
                  <a:cubicBezTo>
                    <a:pt x="37776" y="8304"/>
                    <a:pt x="38184" y="8198"/>
                    <a:pt x="38752" y="8056"/>
                  </a:cubicBezTo>
                  <a:lnTo>
                    <a:pt x="38752" y="8056"/>
                  </a:lnTo>
                  <a:cubicBezTo>
                    <a:pt x="38412" y="9075"/>
                    <a:pt x="37909" y="9331"/>
                    <a:pt x="37373" y="9331"/>
                  </a:cubicBezTo>
                  <a:cubicBezTo>
                    <a:pt x="36833" y="9331"/>
                    <a:pt x="36258" y="9072"/>
                    <a:pt x="35779" y="9072"/>
                  </a:cubicBezTo>
                  <a:cubicBezTo>
                    <a:pt x="35690" y="9072"/>
                    <a:pt x="35604" y="9081"/>
                    <a:pt x="35522" y="9102"/>
                  </a:cubicBezTo>
                  <a:lnTo>
                    <a:pt x="33162" y="11977"/>
                  </a:lnTo>
                  <a:lnTo>
                    <a:pt x="28585" y="11037"/>
                  </a:lnTo>
                  <a:lnTo>
                    <a:pt x="31832" y="10238"/>
                  </a:lnTo>
                  <a:cubicBezTo>
                    <a:pt x="32825" y="8162"/>
                    <a:pt x="33127" y="7062"/>
                    <a:pt x="32914" y="6228"/>
                  </a:cubicBezTo>
                  <a:lnTo>
                    <a:pt x="36108" y="3531"/>
                  </a:lnTo>
                  <a:close/>
                  <a:moveTo>
                    <a:pt x="38947" y="36232"/>
                  </a:moveTo>
                  <a:lnTo>
                    <a:pt x="38947" y="36232"/>
                  </a:lnTo>
                  <a:cubicBezTo>
                    <a:pt x="40402" y="36374"/>
                    <a:pt x="40561" y="37705"/>
                    <a:pt x="41253" y="38486"/>
                  </a:cubicBezTo>
                  <a:cubicBezTo>
                    <a:pt x="40278" y="40029"/>
                    <a:pt x="42194" y="41076"/>
                    <a:pt x="41963" y="42673"/>
                  </a:cubicBezTo>
                  <a:cubicBezTo>
                    <a:pt x="41786" y="43862"/>
                    <a:pt x="42833" y="45264"/>
                    <a:pt x="43241" y="46648"/>
                  </a:cubicBezTo>
                  <a:cubicBezTo>
                    <a:pt x="43560" y="47641"/>
                    <a:pt x="43507" y="48741"/>
                    <a:pt x="43046" y="49699"/>
                  </a:cubicBezTo>
                  <a:lnTo>
                    <a:pt x="40473" y="45760"/>
                  </a:lnTo>
                  <a:cubicBezTo>
                    <a:pt x="41449" y="42726"/>
                    <a:pt x="39160" y="39728"/>
                    <a:pt x="38947" y="36232"/>
                  </a:cubicBezTo>
                  <a:close/>
                  <a:moveTo>
                    <a:pt x="36430" y="1"/>
                  </a:moveTo>
                  <a:cubicBezTo>
                    <a:pt x="35873" y="1"/>
                    <a:pt x="35316" y="87"/>
                    <a:pt x="34759" y="284"/>
                  </a:cubicBezTo>
                  <a:cubicBezTo>
                    <a:pt x="33659" y="657"/>
                    <a:pt x="32346" y="870"/>
                    <a:pt x="31885" y="2005"/>
                  </a:cubicBezTo>
                  <a:cubicBezTo>
                    <a:pt x="31264" y="3567"/>
                    <a:pt x="29809" y="3549"/>
                    <a:pt x="28656" y="3992"/>
                  </a:cubicBezTo>
                  <a:cubicBezTo>
                    <a:pt x="26331" y="4826"/>
                    <a:pt x="26012" y="5465"/>
                    <a:pt x="27006" y="7683"/>
                  </a:cubicBezTo>
                  <a:lnTo>
                    <a:pt x="29791" y="7736"/>
                  </a:lnTo>
                  <a:lnTo>
                    <a:pt x="29046" y="10327"/>
                  </a:lnTo>
                  <a:lnTo>
                    <a:pt x="28425" y="7736"/>
                  </a:lnTo>
                  <a:lnTo>
                    <a:pt x="26633" y="11143"/>
                  </a:lnTo>
                  <a:cubicBezTo>
                    <a:pt x="25746" y="11374"/>
                    <a:pt x="24734" y="11391"/>
                    <a:pt x="24113" y="11870"/>
                  </a:cubicBezTo>
                  <a:cubicBezTo>
                    <a:pt x="22960" y="12775"/>
                    <a:pt x="21328" y="12509"/>
                    <a:pt x="20352" y="13680"/>
                  </a:cubicBezTo>
                  <a:lnTo>
                    <a:pt x="19695" y="12900"/>
                  </a:lnTo>
                  <a:lnTo>
                    <a:pt x="18808" y="14106"/>
                  </a:lnTo>
                  <a:cubicBezTo>
                    <a:pt x="18523" y="13971"/>
                    <a:pt x="18518" y="13452"/>
                    <a:pt x="18160" y="13452"/>
                  </a:cubicBezTo>
                  <a:cubicBezTo>
                    <a:pt x="18049" y="13452"/>
                    <a:pt x="17905" y="13501"/>
                    <a:pt x="17708" y="13627"/>
                  </a:cubicBezTo>
                  <a:lnTo>
                    <a:pt x="18560" y="17193"/>
                  </a:lnTo>
                  <a:cubicBezTo>
                    <a:pt x="17972" y="17718"/>
                    <a:pt x="17385" y="18062"/>
                    <a:pt x="16823" y="18062"/>
                  </a:cubicBezTo>
                  <a:cubicBezTo>
                    <a:pt x="16435" y="18062"/>
                    <a:pt x="16059" y="17897"/>
                    <a:pt x="15703" y="17513"/>
                  </a:cubicBezTo>
                  <a:cubicBezTo>
                    <a:pt x="14869" y="16626"/>
                    <a:pt x="13929" y="16750"/>
                    <a:pt x="13112" y="16643"/>
                  </a:cubicBezTo>
                  <a:lnTo>
                    <a:pt x="11196" y="21381"/>
                  </a:lnTo>
                  <a:cubicBezTo>
                    <a:pt x="11922" y="22616"/>
                    <a:pt x="12753" y="22986"/>
                    <a:pt x="13632" y="22986"/>
                  </a:cubicBezTo>
                  <a:cubicBezTo>
                    <a:pt x="14835" y="22986"/>
                    <a:pt x="16130" y="22292"/>
                    <a:pt x="17371" y="22179"/>
                  </a:cubicBezTo>
                  <a:lnTo>
                    <a:pt x="17868" y="20618"/>
                  </a:lnTo>
                  <a:cubicBezTo>
                    <a:pt x="19961" y="20600"/>
                    <a:pt x="19961" y="20600"/>
                    <a:pt x="21594" y="18879"/>
                  </a:cubicBezTo>
                  <a:lnTo>
                    <a:pt x="22587" y="19784"/>
                  </a:lnTo>
                  <a:lnTo>
                    <a:pt x="24646" y="19181"/>
                  </a:lnTo>
                  <a:lnTo>
                    <a:pt x="28762" y="24788"/>
                  </a:lnTo>
                  <a:lnTo>
                    <a:pt x="24930" y="23971"/>
                  </a:lnTo>
                  <a:lnTo>
                    <a:pt x="24930" y="23971"/>
                  </a:lnTo>
                  <a:lnTo>
                    <a:pt x="26544" y="25746"/>
                  </a:lnTo>
                  <a:cubicBezTo>
                    <a:pt x="28177" y="25604"/>
                    <a:pt x="29507" y="24930"/>
                    <a:pt x="30182" y="23209"/>
                  </a:cubicBezTo>
                  <a:cubicBezTo>
                    <a:pt x="29738" y="22747"/>
                    <a:pt x="29365" y="22321"/>
                    <a:pt x="28957" y="21949"/>
                  </a:cubicBezTo>
                  <a:cubicBezTo>
                    <a:pt x="28017" y="21150"/>
                    <a:pt x="27165" y="20352"/>
                    <a:pt x="27502" y="18400"/>
                  </a:cubicBezTo>
                  <a:lnTo>
                    <a:pt x="27502" y="18400"/>
                  </a:lnTo>
                  <a:cubicBezTo>
                    <a:pt x="28336" y="19678"/>
                    <a:pt x="28709" y="20902"/>
                    <a:pt x="29472" y="21239"/>
                  </a:cubicBezTo>
                  <a:cubicBezTo>
                    <a:pt x="30678" y="21771"/>
                    <a:pt x="30785" y="22641"/>
                    <a:pt x="30927" y="23617"/>
                  </a:cubicBezTo>
                  <a:cubicBezTo>
                    <a:pt x="31016" y="24255"/>
                    <a:pt x="30874" y="24965"/>
                    <a:pt x="31087" y="25551"/>
                  </a:cubicBezTo>
                  <a:cubicBezTo>
                    <a:pt x="31282" y="26083"/>
                    <a:pt x="31832" y="26473"/>
                    <a:pt x="32187" y="26952"/>
                  </a:cubicBezTo>
                  <a:cubicBezTo>
                    <a:pt x="32275" y="27077"/>
                    <a:pt x="32329" y="27236"/>
                    <a:pt x="32329" y="27396"/>
                  </a:cubicBezTo>
                  <a:lnTo>
                    <a:pt x="34369" y="26225"/>
                  </a:lnTo>
                  <a:cubicBezTo>
                    <a:pt x="33860" y="25322"/>
                    <a:pt x="33670" y="24632"/>
                    <a:pt x="34867" y="24632"/>
                  </a:cubicBezTo>
                  <a:cubicBezTo>
                    <a:pt x="34964" y="24632"/>
                    <a:pt x="35070" y="24636"/>
                    <a:pt x="35185" y="24646"/>
                  </a:cubicBezTo>
                  <a:cubicBezTo>
                    <a:pt x="35416" y="25462"/>
                    <a:pt x="35718" y="26189"/>
                    <a:pt x="35753" y="26917"/>
                  </a:cubicBezTo>
                  <a:cubicBezTo>
                    <a:pt x="35859" y="28390"/>
                    <a:pt x="37013" y="29011"/>
                    <a:pt x="38024" y="29224"/>
                  </a:cubicBezTo>
                  <a:cubicBezTo>
                    <a:pt x="38126" y="29247"/>
                    <a:pt x="38227" y="29254"/>
                    <a:pt x="38330" y="29254"/>
                  </a:cubicBezTo>
                  <a:cubicBezTo>
                    <a:pt x="38476" y="29254"/>
                    <a:pt x="38623" y="29240"/>
                    <a:pt x="38773" y="29240"/>
                  </a:cubicBezTo>
                  <a:cubicBezTo>
                    <a:pt x="39073" y="29240"/>
                    <a:pt x="39384" y="29296"/>
                    <a:pt x="39710" y="29632"/>
                  </a:cubicBezTo>
                  <a:cubicBezTo>
                    <a:pt x="39812" y="29734"/>
                    <a:pt x="39986" y="29769"/>
                    <a:pt x="40202" y="29769"/>
                  </a:cubicBezTo>
                  <a:cubicBezTo>
                    <a:pt x="40620" y="29769"/>
                    <a:pt x="41193" y="29637"/>
                    <a:pt x="41697" y="29614"/>
                  </a:cubicBezTo>
                  <a:lnTo>
                    <a:pt x="41697" y="29614"/>
                  </a:lnTo>
                  <a:cubicBezTo>
                    <a:pt x="41182" y="31175"/>
                    <a:pt x="41608" y="32825"/>
                    <a:pt x="39657" y="33517"/>
                  </a:cubicBezTo>
                  <a:cubicBezTo>
                    <a:pt x="37368" y="32683"/>
                    <a:pt x="34369" y="33198"/>
                    <a:pt x="32488" y="30608"/>
                  </a:cubicBezTo>
                  <a:cubicBezTo>
                    <a:pt x="32240" y="30253"/>
                    <a:pt x="31388" y="30306"/>
                    <a:pt x="30820" y="30217"/>
                  </a:cubicBezTo>
                  <a:cubicBezTo>
                    <a:pt x="30607" y="30217"/>
                    <a:pt x="30395" y="30270"/>
                    <a:pt x="30182" y="30324"/>
                  </a:cubicBezTo>
                  <a:lnTo>
                    <a:pt x="29507" y="32151"/>
                  </a:lnTo>
                  <a:cubicBezTo>
                    <a:pt x="27875" y="31246"/>
                    <a:pt x="26686" y="29969"/>
                    <a:pt x="25373" y="29259"/>
                  </a:cubicBezTo>
                  <a:cubicBezTo>
                    <a:pt x="23918" y="28496"/>
                    <a:pt x="23794" y="27431"/>
                    <a:pt x="23794" y="26456"/>
                  </a:cubicBezTo>
                  <a:cubicBezTo>
                    <a:pt x="23808" y="24745"/>
                    <a:pt x="23906" y="24354"/>
                    <a:pt x="23055" y="24354"/>
                  </a:cubicBezTo>
                  <a:cubicBezTo>
                    <a:pt x="22802" y="24354"/>
                    <a:pt x="22466" y="24388"/>
                    <a:pt x="22020" y="24433"/>
                  </a:cubicBezTo>
                  <a:cubicBezTo>
                    <a:pt x="21712" y="24458"/>
                    <a:pt x="21377" y="24558"/>
                    <a:pt x="21074" y="24558"/>
                  </a:cubicBezTo>
                  <a:cubicBezTo>
                    <a:pt x="20958" y="24558"/>
                    <a:pt x="20846" y="24543"/>
                    <a:pt x="20742" y="24504"/>
                  </a:cubicBezTo>
                  <a:cubicBezTo>
                    <a:pt x="20157" y="24291"/>
                    <a:pt x="19678" y="23670"/>
                    <a:pt x="19092" y="23546"/>
                  </a:cubicBezTo>
                  <a:cubicBezTo>
                    <a:pt x="19019" y="23530"/>
                    <a:pt x="18944" y="23524"/>
                    <a:pt x="18868" y="23524"/>
                  </a:cubicBezTo>
                  <a:cubicBezTo>
                    <a:pt x="18388" y="23524"/>
                    <a:pt x="17849" y="23788"/>
                    <a:pt x="17363" y="23788"/>
                  </a:cubicBezTo>
                  <a:cubicBezTo>
                    <a:pt x="17305" y="23788"/>
                    <a:pt x="17249" y="23784"/>
                    <a:pt x="17193" y="23776"/>
                  </a:cubicBezTo>
                  <a:cubicBezTo>
                    <a:pt x="17025" y="23751"/>
                    <a:pt x="16855" y="23741"/>
                    <a:pt x="16686" y="23741"/>
                  </a:cubicBezTo>
                  <a:cubicBezTo>
                    <a:pt x="15885" y="23741"/>
                    <a:pt x="15077" y="23971"/>
                    <a:pt x="14280" y="23971"/>
                  </a:cubicBezTo>
                  <a:cubicBezTo>
                    <a:pt x="13809" y="23971"/>
                    <a:pt x="13342" y="23890"/>
                    <a:pt x="12882" y="23634"/>
                  </a:cubicBezTo>
                  <a:cubicBezTo>
                    <a:pt x="12688" y="23891"/>
                    <a:pt x="12389" y="23939"/>
                    <a:pt x="12067" y="23939"/>
                  </a:cubicBezTo>
                  <a:cubicBezTo>
                    <a:pt x="11878" y="23939"/>
                    <a:pt x="11682" y="23923"/>
                    <a:pt x="11494" y="23923"/>
                  </a:cubicBezTo>
                  <a:cubicBezTo>
                    <a:pt x="11005" y="23923"/>
                    <a:pt x="10573" y="24032"/>
                    <a:pt x="10486" y="24823"/>
                  </a:cubicBezTo>
                  <a:cubicBezTo>
                    <a:pt x="8943" y="25125"/>
                    <a:pt x="8925" y="26935"/>
                    <a:pt x="7594" y="27644"/>
                  </a:cubicBezTo>
                  <a:cubicBezTo>
                    <a:pt x="6636" y="28159"/>
                    <a:pt x="5270" y="28461"/>
                    <a:pt x="4720" y="29365"/>
                  </a:cubicBezTo>
                  <a:cubicBezTo>
                    <a:pt x="3992" y="30554"/>
                    <a:pt x="2733" y="30874"/>
                    <a:pt x="1899" y="31779"/>
                  </a:cubicBezTo>
                  <a:cubicBezTo>
                    <a:pt x="1420" y="32311"/>
                    <a:pt x="1100" y="33021"/>
                    <a:pt x="692" y="33695"/>
                  </a:cubicBezTo>
                  <a:lnTo>
                    <a:pt x="2058" y="34529"/>
                  </a:lnTo>
                  <a:lnTo>
                    <a:pt x="0" y="40331"/>
                  </a:lnTo>
                  <a:cubicBezTo>
                    <a:pt x="568" y="41839"/>
                    <a:pt x="1828" y="42460"/>
                    <a:pt x="1579" y="43844"/>
                  </a:cubicBezTo>
                  <a:cubicBezTo>
                    <a:pt x="1526" y="44093"/>
                    <a:pt x="4542" y="47659"/>
                    <a:pt x="4720" y="47677"/>
                  </a:cubicBezTo>
                  <a:cubicBezTo>
                    <a:pt x="6407" y="47823"/>
                    <a:pt x="7973" y="48589"/>
                    <a:pt x="9698" y="48589"/>
                  </a:cubicBezTo>
                  <a:cubicBezTo>
                    <a:pt x="10059" y="48589"/>
                    <a:pt x="10428" y="48555"/>
                    <a:pt x="10806" y="48475"/>
                  </a:cubicBezTo>
                  <a:cubicBezTo>
                    <a:pt x="10987" y="48438"/>
                    <a:pt x="11194" y="48420"/>
                    <a:pt x="11413" y="48420"/>
                  </a:cubicBezTo>
                  <a:cubicBezTo>
                    <a:pt x="12352" y="48420"/>
                    <a:pt x="13516" y="48748"/>
                    <a:pt x="13875" y="49309"/>
                  </a:cubicBezTo>
                  <a:cubicBezTo>
                    <a:pt x="14692" y="50587"/>
                    <a:pt x="15916" y="50622"/>
                    <a:pt x="17140" y="51048"/>
                  </a:cubicBezTo>
                  <a:lnTo>
                    <a:pt x="16076" y="56140"/>
                  </a:lnTo>
                  <a:cubicBezTo>
                    <a:pt x="17477" y="57542"/>
                    <a:pt x="16874" y="59405"/>
                    <a:pt x="17513" y="60896"/>
                  </a:cubicBezTo>
                  <a:cubicBezTo>
                    <a:pt x="17939" y="61907"/>
                    <a:pt x="17566" y="62439"/>
                    <a:pt x="17105" y="63291"/>
                  </a:cubicBezTo>
                  <a:cubicBezTo>
                    <a:pt x="16484" y="64409"/>
                    <a:pt x="14922" y="65544"/>
                    <a:pt x="15526" y="66751"/>
                  </a:cubicBezTo>
                  <a:cubicBezTo>
                    <a:pt x="16359" y="68454"/>
                    <a:pt x="16218" y="70264"/>
                    <a:pt x="16218" y="71879"/>
                  </a:cubicBezTo>
                  <a:cubicBezTo>
                    <a:pt x="16218" y="73795"/>
                    <a:pt x="17726" y="75427"/>
                    <a:pt x="16697" y="77361"/>
                  </a:cubicBezTo>
                  <a:cubicBezTo>
                    <a:pt x="17566" y="77539"/>
                    <a:pt x="18134" y="77610"/>
                    <a:pt x="18684" y="77787"/>
                  </a:cubicBezTo>
                  <a:cubicBezTo>
                    <a:pt x="19160" y="77941"/>
                    <a:pt x="19615" y="78007"/>
                    <a:pt x="20054" y="78007"/>
                  </a:cubicBezTo>
                  <a:cubicBezTo>
                    <a:pt x="21942" y="78007"/>
                    <a:pt x="23543" y="76798"/>
                    <a:pt x="25284" y="76208"/>
                  </a:cubicBezTo>
                  <a:cubicBezTo>
                    <a:pt x="25497" y="74416"/>
                    <a:pt x="27183" y="74310"/>
                    <a:pt x="28336" y="73671"/>
                  </a:cubicBezTo>
                  <a:cubicBezTo>
                    <a:pt x="29472" y="73032"/>
                    <a:pt x="29064" y="71826"/>
                    <a:pt x="29436" y="71240"/>
                  </a:cubicBezTo>
                  <a:cubicBezTo>
                    <a:pt x="30359" y="70814"/>
                    <a:pt x="31051" y="70495"/>
                    <a:pt x="31761" y="70175"/>
                  </a:cubicBezTo>
                  <a:cubicBezTo>
                    <a:pt x="32701" y="69750"/>
                    <a:pt x="34032" y="69998"/>
                    <a:pt x="34351" y="68472"/>
                  </a:cubicBezTo>
                  <a:cubicBezTo>
                    <a:pt x="34564" y="67407"/>
                    <a:pt x="35593" y="66680"/>
                    <a:pt x="35682" y="65456"/>
                  </a:cubicBezTo>
                  <a:cubicBezTo>
                    <a:pt x="35789" y="64196"/>
                    <a:pt x="36179" y="62972"/>
                    <a:pt x="36427" y="61783"/>
                  </a:cubicBezTo>
                  <a:cubicBezTo>
                    <a:pt x="38255" y="60576"/>
                    <a:pt x="39869" y="58979"/>
                    <a:pt x="41786" y="58376"/>
                  </a:cubicBezTo>
                  <a:cubicBezTo>
                    <a:pt x="44997" y="57365"/>
                    <a:pt x="46843" y="55306"/>
                    <a:pt x="48156" y="52432"/>
                  </a:cubicBezTo>
                  <a:cubicBezTo>
                    <a:pt x="47847" y="52304"/>
                    <a:pt x="47534" y="52259"/>
                    <a:pt x="47221" y="52259"/>
                  </a:cubicBezTo>
                  <a:cubicBezTo>
                    <a:pt x="46487" y="52259"/>
                    <a:pt x="45750" y="52505"/>
                    <a:pt x="45050" y="52505"/>
                  </a:cubicBezTo>
                  <a:cubicBezTo>
                    <a:pt x="44519" y="52505"/>
                    <a:pt x="44011" y="52363"/>
                    <a:pt x="43542" y="51864"/>
                  </a:cubicBezTo>
                  <a:cubicBezTo>
                    <a:pt x="44838" y="50108"/>
                    <a:pt x="44909" y="50037"/>
                    <a:pt x="46293" y="49859"/>
                  </a:cubicBezTo>
                  <a:cubicBezTo>
                    <a:pt x="49646" y="49451"/>
                    <a:pt x="52822" y="48599"/>
                    <a:pt x="55395" y="46222"/>
                  </a:cubicBezTo>
                  <a:cubicBezTo>
                    <a:pt x="55484" y="45760"/>
                    <a:pt x="55697" y="45281"/>
                    <a:pt x="55643" y="44838"/>
                  </a:cubicBezTo>
                  <a:cubicBezTo>
                    <a:pt x="55519" y="44022"/>
                    <a:pt x="55359" y="43205"/>
                    <a:pt x="55164" y="42389"/>
                  </a:cubicBezTo>
                  <a:lnTo>
                    <a:pt x="54224" y="42886"/>
                  </a:lnTo>
                  <a:lnTo>
                    <a:pt x="53887" y="41254"/>
                  </a:lnTo>
                  <a:lnTo>
                    <a:pt x="53017" y="42655"/>
                  </a:lnTo>
                  <a:cubicBezTo>
                    <a:pt x="51775" y="40810"/>
                    <a:pt x="49327" y="39763"/>
                    <a:pt x="49735" y="36906"/>
                  </a:cubicBezTo>
                  <a:lnTo>
                    <a:pt x="49735" y="36906"/>
                  </a:lnTo>
                  <a:cubicBezTo>
                    <a:pt x="51738" y="37643"/>
                    <a:pt x="51709" y="40841"/>
                    <a:pt x="54224" y="40841"/>
                  </a:cubicBezTo>
                  <a:cubicBezTo>
                    <a:pt x="54315" y="40841"/>
                    <a:pt x="54410" y="40836"/>
                    <a:pt x="54508" y="40828"/>
                  </a:cubicBezTo>
                  <a:cubicBezTo>
                    <a:pt x="55927" y="42620"/>
                    <a:pt x="57968" y="43134"/>
                    <a:pt x="59831" y="43365"/>
                  </a:cubicBezTo>
                  <a:lnTo>
                    <a:pt x="61091" y="47286"/>
                  </a:lnTo>
                  <a:lnTo>
                    <a:pt x="62244" y="46683"/>
                  </a:lnTo>
                  <a:lnTo>
                    <a:pt x="61215" y="57010"/>
                  </a:lnTo>
                  <a:cubicBezTo>
                    <a:pt x="61641" y="57382"/>
                    <a:pt x="62102" y="57613"/>
                    <a:pt x="62208" y="57950"/>
                  </a:cubicBezTo>
                  <a:cubicBezTo>
                    <a:pt x="62350" y="58411"/>
                    <a:pt x="62226" y="58944"/>
                    <a:pt x="62226" y="59547"/>
                  </a:cubicBezTo>
                  <a:cubicBezTo>
                    <a:pt x="64054" y="58323"/>
                    <a:pt x="61783" y="56531"/>
                    <a:pt x="63397" y="55164"/>
                  </a:cubicBezTo>
                  <a:cubicBezTo>
                    <a:pt x="64338" y="54348"/>
                    <a:pt x="63894" y="52503"/>
                    <a:pt x="65420" y="51421"/>
                  </a:cubicBezTo>
                  <a:cubicBezTo>
                    <a:pt x="66236" y="50835"/>
                    <a:pt x="66627" y="49575"/>
                    <a:pt x="67407" y="48670"/>
                  </a:cubicBezTo>
                  <a:cubicBezTo>
                    <a:pt x="71098" y="31370"/>
                    <a:pt x="63805" y="13556"/>
                    <a:pt x="49451" y="3265"/>
                  </a:cubicBezTo>
                  <a:lnTo>
                    <a:pt x="47836" y="4223"/>
                  </a:lnTo>
                  <a:lnTo>
                    <a:pt x="47286" y="3425"/>
                  </a:lnTo>
                  <a:lnTo>
                    <a:pt x="45068" y="5465"/>
                  </a:lnTo>
                  <a:lnTo>
                    <a:pt x="44802" y="2963"/>
                  </a:lnTo>
                  <a:cubicBezTo>
                    <a:pt x="44483" y="4383"/>
                    <a:pt x="44412" y="5554"/>
                    <a:pt x="43383" y="6193"/>
                  </a:cubicBezTo>
                  <a:lnTo>
                    <a:pt x="41094" y="4844"/>
                  </a:lnTo>
                  <a:lnTo>
                    <a:pt x="41253" y="4702"/>
                  </a:lnTo>
                  <a:lnTo>
                    <a:pt x="43436" y="4525"/>
                  </a:lnTo>
                  <a:cubicBezTo>
                    <a:pt x="43312" y="3975"/>
                    <a:pt x="43329" y="3673"/>
                    <a:pt x="43205" y="3567"/>
                  </a:cubicBezTo>
                  <a:cubicBezTo>
                    <a:pt x="41857" y="2502"/>
                    <a:pt x="40153" y="1934"/>
                    <a:pt x="38929" y="657"/>
                  </a:cubicBezTo>
                  <a:cubicBezTo>
                    <a:pt x="38787" y="497"/>
                    <a:pt x="38592" y="390"/>
                    <a:pt x="38379" y="319"/>
                  </a:cubicBezTo>
                  <a:cubicBezTo>
                    <a:pt x="37729" y="119"/>
                    <a:pt x="37080" y="1"/>
                    <a:pt x="36430" y="1"/>
                  </a:cubicBezTo>
                  <a:close/>
                </a:path>
              </a:pathLst>
            </a:custGeom>
            <a:noFill/>
            <a:ln w="9525" cap="flat" cmpd="sng">
              <a:solidFill>
                <a:srgbClr val="5F81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098" name="Google Shape;3098;p104"/>
            <p:cNvSpPr/>
            <p:nvPr/>
          </p:nvSpPr>
          <p:spPr>
            <a:xfrm>
              <a:off x="6032245" y="3317811"/>
              <a:ext cx="62149" cy="151155"/>
            </a:xfrm>
            <a:custGeom>
              <a:avLst/>
              <a:gdLst/>
              <a:ahLst/>
              <a:cxnLst/>
              <a:rect l="l" t="t" r="r" b="b"/>
              <a:pathLst>
                <a:path w="10771" h="26208" extrusionOk="0">
                  <a:moveTo>
                    <a:pt x="266" y="1"/>
                  </a:moveTo>
                  <a:lnTo>
                    <a:pt x="266" y="1"/>
                  </a:lnTo>
                  <a:cubicBezTo>
                    <a:pt x="0" y="9316"/>
                    <a:pt x="2679" y="18489"/>
                    <a:pt x="7914" y="26208"/>
                  </a:cubicBezTo>
                  <a:lnTo>
                    <a:pt x="9014" y="25995"/>
                  </a:lnTo>
                  <a:cubicBezTo>
                    <a:pt x="9954" y="24078"/>
                    <a:pt x="9617" y="22073"/>
                    <a:pt x="9475" y="20068"/>
                  </a:cubicBezTo>
                  <a:cubicBezTo>
                    <a:pt x="9422" y="19412"/>
                    <a:pt x="9120" y="18347"/>
                    <a:pt x="9386" y="18188"/>
                  </a:cubicBezTo>
                  <a:cubicBezTo>
                    <a:pt x="10753" y="17336"/>
                    <a:pt x="10274" y="15881"/>
                    <a:pt x="10770" y="14834"/>
                  </a:cubicBezTo>
                  <a:cubicBezTo>
                    <a:pt x="9777" y="13415"/>
                    <a:pt x="8890" y="12137"/>
                    <a:pt x="7328" y="11161"/>
                  </a:cubicBezTo>
                  <a:cubicBezTo>
                    <a:pt x="5270" y="9901"/>
                    <a:pt x="3194" y="8216"/>
                    <a:pt x="3247" y="5235"/>
                  </a:cubicBezTo>
                  <a:cubicBezTo>
                    <a:pt x="3265" y="4649"/>
                    <a:pt x="2999" y="3709"/>
                    <a:pt x="2591" y="3514"/>
                  </a:cubicBezTo>
                  <a:cubicBezTo>
                    <a:pt x="1295" y="2893"/>
                    <a:pt x="479" y="1562"/>
                    <a:pt x="408" y="604"/>
                  </a:cubicBezTo>
                  <a:cubicBezTo>
                    <a:pt x="373" y="391"/>
                    <a:pt x="337" y="196"/>
                    <a:pt x="266" y="1"/>
                  </a:cubicBezTo>
                  <a:close/>
                </a:path>
              </a:pathLst>
            </a:custGeom>
            <a:noFill/>
            <a:ln w="9525" cap="flat" cmpd="sng">
              <a:solidFill>
                <a:srgbClr val="5F81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099" name="Google Shape;3099;p104"/>
            <p:cNvSpPr/>
            <p:nvPr/>
          </p:nvSpPr>
          <p:spPr>
            <a:xfrm>
              <a:off x="6189159" y="3073176"/>
              <a:ext cx="117131" cy="35868"/>
            </a:xfrm>
            <a:custGeom>
              <a:avLst/>
              <a:gdLst/>
              <a:ahLst/>
              <a:cxnLst/>
              <a:rect l="l" t="t" r="r" b="b"/>
              <a:pathLst>
                <a:path w="20300" h="6219" extrusionOk="0">
                  <a:moveTo>
                    <a:pt x="17629" y="0"/>
                  </a:moveTo>
                  <a:cubicBezTo>
                    <a:pt x="12187" y="0"/>
                    <a:pt x="6775" y="976"/>
                    <a:pt x="1651" y="2882"/>
                  </a:cubicBezTo>
                  <a:cubicBezTo>
                    <a:pt x="1207" y="3344"/>
                    <a:pt x="764" y="3823"/>
                    <a:pt x="302" y="4266"/>
                  </a:cubicBezTo>
                  <a:cubicBezTo>
                    <a:pt x="1" y="4568"/>
                    <a:pt x="231" y="5402"/>
                    <a:pt x="214" y="6218"/>
                  </a:cubicBezTo>
                  <a:cubicBezTo>
                    <a:pt x="1402" y="5473"/>
                    <a:pt x="2201" y="4834"/>
                    <a:pt x="3141" y="4408"/>
                  </a:cubicBezTo>
                  <a:cubicBezTo>
                    <a:pt x="5525" y="3347"/>
                    <a:pt x="8003" y="2632"/>
                    <a:pt x="10607" y="2632"/>
                  </a:cubicBezTo>
                  <a:cubicBezTo>
                    <a:pt x="11182" y="2632"/>
                    <a:pt x="11763" y="2666"/>
                    <a:pt x="12350" y="2740"/>
                  </a:cubicBezTo>
                  <a:cubicBezTo>
                    <a:pt x="12586" y="2362"/>
                    <a:pt x="12876" y="2257"/>
                    <a:pt x="13186" y="2257"/>
                  </a:cubicBezTo>
                  <a:cubicBezTo>
                    <a:pt x="13571" y="2257"/>
                    <a:pt x="13986" y="2419"/>
                    <a:pt x="14364" y="2419"/>
                  </a:cubicBezTo>
                  <a:cubicBezTo>
                    <a:pt x="14550" y="2419"/>
                    <a:pt x="14727" y="2379"/>
                    <a:pt x="14887" y="2261"/>
                  </a:cubicBezTo>
                  <a:cubicBezTo>
                    <a:pt x="16502" y="1072"/>
                    <a:pt x="18472" y="718"/>
                    <a:pt x="20299" y="79"/>
                  </a:cubicBezTo>
                  <a:cubicBezTo>
                    <a:pt x="19409" y="26"/>
                    <a:pt x="18519" y="0"/>
                    <a:pt x="17629" y="0"/>
                  </a:cubicBezTo>
                  <a:close/>
                </a:path>
              </a:pathLst>
            </a:custGeom>
            <a:noFill/>
            <a:ln w="9525" cap="flat" cmpd="sng">
              <a:solidFill>
                <a:srgbClr val="5F81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100" name="Google Shape;3100;p104"/>
            <p:cNvSpPr/>
            <p:nvPr/>
          </p:nvSpPr>
          <p:spPr>
            <a:xfrm>
              <a:off x="6123036" y="3116815"/>
              <a:ext cx="22734" cy="17095"/>
            </a:xfrm>
            <a:custGeom>
              <a:avLst/>
              <a:gdLst/>
              <a:ahLst/>
              <a:cxnLst/>
              <a:rect l="l" t="t" r="r" b="b"/>
              <a:pathLst>
                <a:path w="3940" h="2964" extrusionOk="0">
                  <a:moveTo>
                    <a:pt x="3940" y="1"/>
                  </a:moveTo>
                  <a:lnTo>
                    <a:pt x="3940" y="1"/>
                  </a:lnTo>
                  <a:cubicBezTo>
                    <a:pt x="2573" y="923"/>
                    <a:pt x="1260" y="1899"/>
                    <a:pt x="1" y="2964"/>
                  </a:cubicBezTo>
                  <a:cubicBezTo>
                    <a:pt x="1651" y="2839"/>
                    <a:pt x="2964" y="2094"/>
                    <a:pt x="3656" y="568"/>
                  </a:cubicBezTo>
                  <a:cubicBezTo>
                    <a:pt x="3744" y="373"/>
                    <a:pt x="3833" y="196"/>
                    <a:pt x="3940" y="1"/>
                  </a:cubicBezTo>
                  <a:close/>
                </a:path>
              </a:pathLst>
            </a:custGeom>
            <a:noFill/>
            <a:ln w="9525" cap="flat" cmpd="sng">
              <a:solidFill>
                <a:srgbClr val="5F81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101" name="Google Shape;3101;p104"/>
            <p:cNvSpPr/>
            <p:nvPr/>
          </p:nvSpPr>
          <p:spPr>
            <a:xfrm>
              <a:off x="6099493" y="3152223"/>
              <a:ext cx="3999" cy="4205"/>
            </a:xfrm>
            <a:custGeom>
              <a:avLst/>
              <a:gdLst/>
              <a:ahLst/>
              <a:cxnLst/>
              <a:rect l="l" t="t" r="r" b="b"/>
              <a:pathLst>
                <a:path w="693" h="729" extrusionOk="0">
                  <a:moveTo>
                    <a:pt x="693" y="1"/>
                  </a:moveTo>
                  <a:cubicBezTo>
                    <a:pt x="462" y="231"/>
                    <a:pt x="231" y="480"/>
                    <a:pt x="1" y="728"/>
                  </a:cubicBezTo>
                  <a:cubicBezTo>
                    <a:pt x="284" y="533"/>
                    <a:pt x="533" y="285"/>
                    <a:pt x="693" y="1"/>
                  </a:cubicBezTo>
                  <a:close/>
                </a:path>
              </a:pathLst>
            </a:custGeom>
            <a:noFill/>
            <a:ln w="9525" cap="flat" cmpd="sng">
              <a:solidFill>
                <a:srgbClr val="5F81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102" name="Google Shape;3102;p104"/>
            <p:cNvSpPr/>
            <p:nvPr/>
          </p:nvSpPr>
          <p:spPr>
            <a:xfrm>
              <a:off x="6350890" y="3500386"/>
              <a:ext cx="45156" cy="42581"/>
            </a:xfrm>
            <a:custGeom>
              <a:avLst/>
              <a:gdLst/>
              <a:ahLst/>
              <a:cxnLst/>
              <a:rect l="l" t="t" r="r" b="b"/>
              <a:pathLst>
                <a:path w="7826" h="7383" extrusionOk="0">
                  <a:moveTo>
                    <a:pt x="7648" y="1"/>
                  </a:moveTo>
                  <a:lnTo>
                    <a:pt x="7648" y="1"/>
                  </a:lnTo>
                  <a:cubicBezTo>
                    <a:pt x="6488" y="417"/>
                    <a:pt x="5728" y="1543"/>
                    <a:pt x="4541" y="1543"/>
                  </a:cubicBezTo>
                  <a:cubicBezTo>
                    <a:pt x="4311" y="1543"/>
                    <a:pt x="4065" y="1501"/>
                    <a:pt x="3797" y="1403"/>
                  </a:cubicBezTo>
                  <a:cubicBezTo>
                    <a:pt x="3766" y="1397"/>
                    <a:pt x="3735" y="1395"/>
                    <a:pt x="3704" y="1395"/>
                  </a:cubicBezTo>
                  <a:cubicBezTo>
                    <a:pt x="3523" y="1395"/>
                    <a:pt x="3348" y="1482"/>
                    <a:pt x="3212" y="1633"/>
                  </a:cubicBezTo>
                  <a:cubicBezTo>
                    <a:pt x="2520" y="3567"/>
                    <a:pt x="142" y="4490"/>
                    <a:pt x="0" y="7045"/>
                  </a:cubicBezTo>
                  <a:lnTo>
                    <a:pt x="1633" y="7382"/>
                  </a:lnTo>
                  <a:cubicBezTo>
                    <a:pt x="2662" y="6353"/>
                    <a:pt x="3655" y="5306"/>
                    <a:pt x="4844" y="4419"/>
                  </a:cubicBezTo>
                  <a:cubicBezTo>
                    <a:pt x="6211" y="3390"/>
                    <a:pt x="7825" y="2219"/>
                    <a:pt x="7648" y="1"/>
                  </a:cubicBezTo>
                  <a:close/>
                </a:path>
              </a:pathLst>
            </a:custGeom>
            <a:noFill/>
            <a:ln w="9525" cap="flat" cmpd="sng">
              <a:solidFill>
                <a:srgbClr val="5F81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103" name="Google Shape;3103;p104"/>
            <p:cNvSpPr/>
            <p:nvPr/>
          </p:nvSpPr>
          <p:spPr>
            <a:xfrm>
              <a:off x="6263064" y="3138409"/>
              <a:ext cx="28469" cy="38688"/>
            </a:xfrm>
            <a:custGeom>
              <a:avLst/>
              <a:gdLst/>
              <a:ahLst/>
              <a:cxnLst/>
              <a:rect l="l" t="t" r="r" b="b"/>
              <a:pathLst>
                <a:path w="4934" h="6708" extrusionOk="0">
                  <a:moveTo>
                    <a:pt x="2094" y="0"/>
                  </a:moveTo>
                  <a:lnTo>
                    <a:pt x="2094" y="0"/>
                  </a:lnTo>
                  <a:cubicBezTo>
                    <a:pt x="0" y="1420"/>
                    <a:pt x="3052" y="2467"/>
                    <a:pt x="1988" y="4454"/>
                  </a:cubicBezTo>
                  <a:lnTo>
                    <a:pt x="817" y="4756"/>
                  </a:lnTo>
                  <a:cubicBezTo>
                    <a:pt x="1243" y="6707"/>
                    <a:pt x="2822" y="6228"/>
                    <a:pt x="3851" y="6619"/>
                  </a:cubicBezTo>
                  <a:lnTo>
                    <a:pt x="4933" y="5430"/>
                  </a:lnTo>
                  <a:cubicBezTo>
                    <a:pt x="4685" y="3993"/>
                    <a:pt x="2768" y="2875"/>
                    <a:pt x="4206" y="1207"/>
                  </a:cubicBezTo>
                  <a:cubicBezTo>
                    <a:pt x="3883" y="979"/>
                    <a:pt x="3846" y="221"/>
                    <a:pt x="3400" y="221"/>
                  </a:cubicBezTo>
                  <a:cubicBezTo>
                    <a:pt x="3257" y="221"/>
                    <a:pt x="3072" y="299"/>
                    <a:pt x="2822" y="497"/>
                  </a:cubicBezTo>
                  <a:cubicBezTo>
                    <a:pt x="2815" y="502"/>
                    <a:pt x="2807" y="505"/>
                    <a:pt x="2796" y="505"/>
                  </a:cubicBezTo>
                  <a:cubicBezTo>
                    <a:pt x="2667" y="505"/>
                    <a:pt x="2259" y="115"/>
                    <a:pt x="2094" y="0"/>
                  </a:cubicBezTo>
                  <a:close/>
                </a:path>
              </a:pathLst>
            </a:custGeom>
            <a:noFill/>
            <a:ln w="9525" cap="flat" cmpd="sng">
              <a:solidFill>
                <a:srgbClr val="5F81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104" name="Google Shape;3104;p104"/>
            <p:cNvSpPr/>
            <p:nvPr/>
          </p:nvSpPr>
          <p:spPr>
            <a:xfrm>
              <a:off x="6251907" y="3097504"/>
              <a:ext cx="26011" cy="13686"/>
            </a:xfrm>
            <a:custGeom>
              <a:avLst/>
              <a:gdLst/>
              <a:ahLst/>
              <a:cxnLst/>
              <a:rect l="l" t="t" r="r" b="b"/>
              <a:pathLst>
                <a:path w="4508" h="2373" extrusionOk="0">
                  <a:moveTo>
                    <a:pt x="1606" y="0"/>
                  </a:moveTo>
                  <a:cubicBezTo>
                    <a:pt x="1091" y="0"/>
                    <a:pt x="558" y="171"/>
                    <a:pt x="0" y="723"/>
                  </a:cubicBezTo>
                  <a:cubicBezTo>
                    <a:pt x="430" y="1555"/>
                    <a:pt x="972" y="2195"/>
                    <a:pt x="1679" y="2195"/>
                  </a:cubicBezTo>
                  <a:cubicBezTo>
                    <a:pt x="1906" y="2195"/>
                    <a:pt x="2151" y="2129"/>
                    <a:pt x="2414" y="1982"/>
                  </a:cubicBezTo>
                  <a:cubicBezTo>
                    <a:pt x="2981" y="1663"/>
                    <a:pt x="4507" y="2373"/>
                    <a:pt x="4064" y="456"/>
                  </a:cubicBezTo>
                  <a:lnTo>
                    <a:pt x="4064" y="456"/>
                  </a:lnTo>
                  <a:cubicBezTo>
                    <a:pt x="4046" y="457"/>
                    <a:pt x="4028" y="457"/>
                    <a:pt x="4010" y="457"/>
                  </a:cubicBezTo>
                  <a:cubicBezTo>
                    <a:pt x="3239" y="457"/>
                    <a:pt x="2447" y="0"/>
                    <a:pt x="1606" y="0"/>
                  </a:cubicBezTo>
                  <a:close/>
                </a:path>
              </a:pathLst>
            </a:custGeom>
            <a:noFill/>
            <a:ln w="9525" cap="flat" cmpd="sng">
              <a:solidFill>
                <a:srgbClr val="5F81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105" name="Google Shape;3105;p104"/>
            <p:cNvSpPr/>
            <p:nvPr/>
          </p:nvSpPr>
          <p:spPr>
            <a:xfrm>
              <a:off x="6251498" y="3152108"/>
              <a:ext cx="21609" cy="17008"/>
            </a:xfrm>
            <a:custGeom>
              <a:avLst/>
              <a:gdLst/>
              <a:ahLst/>
              <a:cxnLst/>
              <a:rect l="l" t="t" r="r" b="b"/>
              <a:pathLst>
                <a:path w="3745" h="2949" extrusionOk="0">
                  <a:moveTo>
                    <a:pt x="1345" y="1"/>
                  </a:moveTo>
                  <a:cubicBezTo>
                    <a:pt x="985" y="1"/>
                    <a:pt x="770" y="142"/>
                    <a:pt x="568" y="429"/>
                  </a:cubicBezTo>
                  <a:cubicBezTo>
                    <a:pt x="213" y="943"/>
                    <a:pt x="249" y="1706"/>
                    <a:pt x="0" y="2948"/>
                  </a:cubicBezTo>
                  <a:lnTo>
                    <a:pt x="3744" y="695"/>
                  </a:lnTo>
                  <a:cubicBezTo>
                    <a:pt x="2515" y="235"/>
                    <a:pt x="1810" y="1"/>
                    <a:pt x="1345" y="1"/>
                  </a:cubicBezTo>
                  <a:close/>
                </a:path>
              </a:pathLst>
            </a:custGeom>
            <a:noFill/>
            <a:ln w="9525" cap="flat" cmpd="sng">
              <a:solidFill>
                <a:srgbClr val="5F81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106" name="Google Shape;3106;p104"/>
            <p:cNvSpPr/>
            <p:nvPr/>
          </p:nvSpPr>
          <p:spPr>
            <a:xfrm>
              <a:off x="6000718" y="3070557"/>
              <a:ext cx="587865" cy="517731"/>
            </a:xfrm>
            <a:custGeom>
              <a:avLst/>
              <a:gdLst/>
              <a:ahLst/>
              <a:cxnLst/>
              <a:rect l="l" t="t" r="r" b="b"/>
              <a:pathLst>
                <a:path w="101883" h="89767" extrusionOk="0">
                  <a:moveTo>
                    <a:pt x="50267" y="444"/>
                  </a:moveTo>
                  <a:cubicBezTo>
                    <a:pt x="55590" y="462"/>
                    <a:pt x="60878" y="1384"/>
                    <a:pt x="65881" y="3177"/>
                  </a:cubicBezTo>
                  <a:cubicBezTo>
                    <a:pt x="89445" y="11622"/>
                    <a:pt x="101883" y="37138"/>
                    <a:pt x="93614" y="60186"/>
                  </a:cubicBezTo>
                  <a:cubicBezTo>
                    <a:pt x="87173" y="78160"/>
                    <a:pt x="70033" y="89321"/>
                    <a:pt x="51598" y="89321"/>
                  </a:cubicBezTo>
                  <a:cubicBezTo>
                    <a:pt x="46275" y="89321"/>
                    <a:pt x="41005" y="88381"/>
                    <a:pt x="36002" y="86588"/>
                  </a:cubicBezTo>
                  <a:cubicBezTo>
                    <a:pt x="12421" y="78143"/>
                    <a:pt x="0" y="52628"/>
                    <a:pt x="8251" y="29597"/>
                  </a:cubicBezTo>
                  <a:cubicBezTo>
                    <a:pt x="14692" y="11605"/>
                    <a:pt x="31850" y="444"/>
                    <a:pt x="50267" y="444"/>
                  </a:cubicBezTo>
                  <a:close/>
                  <a:moveTo>
                    <a:pt x="50267" y="0"/>
                  </a:moveTo>
                  <a:cubicBezTo>
                    <a:pt x="45672" y="0"/>
                    <a:pt x="41094" y="692"/>
                    <a:pt x="36711" y="2041"/>
                  </a:cubicBezTo>
                  <a:cubicBezTo>
                    <a:pt x="32364" y="3372"/>
                    <a:pt x="28265" y="5359"/>
                    <a:pt x="24504" y="7896"/>
                  </a:cubicBezTo>
                  <a:cubicBezTo>
                    <a:pt x="11640" y="16644"/>
                    <a:pt x="4347" y="31531"/>
                    <a:pt x="5341" y="47056"/>
                  </a:cubicBezTo>
                  <a:cubicBezTo>
                    <a:pt x="5714" y="52858"/>
                    <a:pt x="7222" y="58536"/>
                    <a:pt x="9777" y="63753"/>
                  </a:cubicBezTo>
                  <a:cubicBezTo>
                    <a:pt x="12350" y="69022"/>
                    <a:pt x="15898" y="73760"/>
                    <a:pt x="20245" y="77681"/>
                  </a:cubicBezTo>
                  <a:cubicBezTo>
                    <a:pt x="28930" y="85568"/>
                    <a:pt x="40125" y="89766"/>
                    <a:pt x="51538" y="89766"/>
                  </a:cubicBezTo>
                  <a:cubicBezTo>
                    <a:pt x="56096" y="89766"/>
                    <a:pt x="60690" y="89097"/>
                    <a:pt x="65172" y="87724"/>
                  </a:cubicBezTo>
                  <a:cubicBezTo>
                    <a:pt x="69501" y="86376"/>
                    <a:pt x="73618" y="84406"/>
                    <a:pt x="77361" y="81851"/>
                  </a:cubicBezTo>
                  <a:cubicBezTo>
                    <a:pt x="90225" y="73121"/>
                    <a:pt x="97518" y="58234"/>
                    <a:pt x="96524" y="42709"/>
                  </a:cubicBezTo>
                  <a:cubicBezTo>
                    <a:pt x="96152" y="36907"/>
                    <a:pt x="94643" y="31229"/>
                    <a:pt x="92088" y="26012"/>
                  </a:cubicBezTo>
                  <a:cubicBezTo>
                    <a:pt x="89533" y="20743"/>
                    <a:pt x="85985" y="16005"/>
                    <a:pt x="81620" y="12084"/>
                  </a:cubicBezTo>
                  <a:cubicBezTo>
                    <a:pt x="73032" y="4330"/>
                    <a:pt x="61854" y="36"/>
                    <a:pt x="50285" y="0"/>
                  </a:cubicBezTo>
                  <a:close/>
                </a:path>
              </a:pathLst>
            </a:custGeom>
            <a:noFill/>
            <a:ln w="9525" cap="flat" cmpd="sng">
              <a:solidFill>
                <a:srgbClr val="E3E9ED"/>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3107" name="Google Shape;3107;p104"/>
          <p:cNvGrpSpPr/>
          <p:nvPr/>
        </p:nvGrpSpPr>
        <p:grpSpPr>
          <a:xfrm>
            <a:off x="8105597" y="4952290"/>
            <a:ext cx="743553" cy="688516"/>
            <a:chOff x="6015523" y="3714217"/>
            <a:chExt cx="557665" cy="516387"/>
          </a:xfrm>
        </p:grpSpPr>
        <p:grpSp>
          <p:nvGrpSpPr>
            <p:cNvPr id="3108" name="Google Shape;3108;p104"/>
            <p:cNvGrpSpPr/>
            <p:nvPr/>
          </p:nvGrpSpPr>
          <p:grpSpPr>
            <a:xfrm>
              <a:off x="6036094" y="3716980"/>
              <a:ext cx="529822" cy="510480"/>
              <a:chOff x="3148311" y="-545634"/>
              <a:chExt cx="1006118" cy="969572"/>
            </a:xfrm>
          </p:grpSpPr>
          <p:sp>
            <p:nvSpPr>
              <p:cNvPr id="3109" name="Google Shape;3109;p104"/>
              <p:cNvSpPr/>
              <p:nvPr/>
            </p:nvSpPr>
            <p:spPr>
              <a:xfrm>
                <a:off x="3497808" y="-545634"/>
                <a:ext cx="152012" cy="122083"/>
              </a:xfrm>
              <a:custGeom>
                <a:avLst/>
                <a:gdLst/>
                <a:ahLst/>
                <a:cxnLst/>
                <a:rect l="l" t="t" r="r" b="b"/>
                <a:pathLst>
                  <a:path w="13876" h="11144" extrusionOk="0">
                    <a:moveTo>
                      <a:pt x="11055" y="0"/>
                    </a:moveTo>
                    <a:cubicBezTo>
                      <a:pt x="9600" y="71"/>
                      <a:pt x="8127" y="213"/>
                      <a:pt x="6654" y="426"/>
                    </a:cubicBezTo>
                    <a:cubicBezTo>
                      <a:pt x="4401" y="746"/>
                      <a:pt x="2165" y="1225"/>
                      <a:pt x="1" y="1863"/>
                    </a:cubicBezTo>
                    <a:lnTo>
                      <a:pt x="54" y="2307"/>
                    </a:lnTo>
                    <a:lnTo>
                      <a:pt x="2165" y="2396"/>
                    </a:lnTo>
                    <a:lnTo>
                      <a:pt x="1739" y="4117"/>
                    </a:lnTo>
                    <a:lnTo>
                      <a:pt x="3194" y="4401"/>
                    </a:lnTo>
                    <a:lnTo>
                      <a:pt x="1828" y="5146"/>
                    </a:lnTo>
                    <a:cubicBezTo>
                      <a:pt x="2893" y="6015"/>
                      <a:pt x="1207" y="7417"/>
                      <a:pt x="2538" y="8393"/>
                    </a:cubicBezTo>
                    <a:cubicBezTo>
                      <a:pt x="3088" y="8783"/>
                      <a:pt x="3088" y="9937"/>
                      <a:pt x="3301" y="10611"/>
                    </a:cubicBezTo>
                    <a:lnTo>
                      <a:pt x="6335" y="11143"/>
                    </a:lnTo>
                    <a:cubicBezTo>
                      <a:pt x="6583" y="10611"/>
                      <a:pt x="6832" y="10061"/>
                      <a:pt x="7098" y="9493"/>
                    </a:cubicBezTo>
                    <a:cubicBezTo>
                      <a:pt x="7670" y="8245"/>
                      <a:pt x="7649" y="6456"/>
                      <a:pt x="9632" y="6456"/>
                    </a:cubicBezTo>
                    <a:cubicBezTo>
                      <a:pt x="9679" y="6456"/>
                      <a:pt x="9728" y="6457"/>
                      <a:pt x="9777" y="6459"/>
                    </a:cubicBezTo>
                    <a:cubicBezTo>
                      <a:pt x="10380" y="5217"/>
                      <a:pt x="11410" y="4791"/>
                      <a:pt x="12723" y="4685"/>
                    </a:cubicBezTo>
                    <a:cubicBezTo>
                      <a:pt x="13113" y="4649"/>
                      <a:pt x="13450" y="3939"/>
                      <a:pt x="13876" y="3443"/>
                    </a:cubicBezTo>
                    <a:cubicBezTo>
                      <a:pt x="13166" y="2378"/>
                      <a:pt x="12687" y="1012"/>
                      <a:pt x="11729" y="391"/>
                    </a:cubicBezTo>
                    <a:cubicBezTo>
                      <a:pt x="11516" y="249"/>
                      <a:pt x="11285" y="125"/>
                      <a:pt x="11055" y="0"/>
                    </a:cubicBezTo>
                    <a:close/>
                  </a:path>
                </a:pathLst>
              </a:custGeom>
              <a:noFill/>
              <a:ln w="9525" cap="flat" cmpd="sng">
                <a:solidFill>
                  <a:srgbClr val="5F81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110" name="Google Shape;3110;p104"/>
              <p:cNvSpPr/>
              <p:nvPr/>
            </p:nvSpPr>
            <p:spPr>
              <a:xfrm>
                <a:off x="3779659" y="-441254"/>
                <a:ext cx="74264" cy="69794"/>
              </a:xfrm>
              <a:custGeom>
                <a:avLst/>
                <a:gdLst/>
                <a:ahLst/>
                <a:cxnLst/>
                <a:rect l="l" t="t" r="r" b="b"/>
                <a:pathLst>
                  <a:path w="6779" h="6371" extrusionOk="0">
                    <a:moveTo>
                      <a:pt x="870" y="1"/>
                    </a:moveTo>
                    <a:lnTo>
                      <a:pt x="1" y="1154"/>
                    </a:lnTo>
                    <a:lnTo>
                      <a:pt x="1509" y="2698"/>
                    </a:lnTo>
                    <a:lnTo>
                      <a:pt x="2272" y="3283"/>
                    </a:lnTo>
                    <a:cubicBezTo>
                      <a:pt x="3567" y="3922"/>
                      <a:pt x="3301" y="5625"/>
                      <a:pt x="4436" y="6370"/>
                    </a:cubicBezTo>
                    <a:cubicBezTo>
                      <a:pt x="4880" y="5341"/>
                      <a:pt x="5838" y="5554"/>
                      <a:pt x="6654" y="5377"/>
                    </a:cubicBezTo>
                    <a:cubicBezTo>
                      <a:pt x="6778" y="4117"/>
                      <a:pt x="5732" y="3549"/>
                      <a:pt x="4933" y="3265"/>
                    </a:cubicBezTo>
                    <a:cubicBezTo>
                      <a:pt x="3762" y="2875"/>
                      <a:pt x="2928" y="2360"/>
                      <a:pt x="2325" y="1278"/>
                    </a:cubicBezTo>
                    <a:cubicBezTo>
                      <a:pt x="2023" y="746"/>
                      <a:pt x="1367" y="426"/>
                      <a:pt x="870" y="1"/>
                    </a:cubicBezTo>
                    <a:close/>
                  </a:path>
                </a:pathLst>
              </a:custGeom>
              <a:noFill/>
              <a:ln w="9525" cap="flat" cmpd="sng">
                <a:solidFill>
                  <a:srgbClr val="5F81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111" name="Google Shape;3111;p104"/>
              <p:cNvSpPr/>
              <p:nvPr/>
            </p:nvSpPr>
            <p:spPr>
              <a:xfrm>
                <a:off x="3658562" y="-488295"/>
                <a:ext cx="47632" cy="25284"/>
              </a:xfrm>
              <a:custGeom>
                <a:avLst/>
                <a:gdLst/>
                <a:ahLst/>
                <a:cxnLst/>
                <a:rect l="l" t="t" r="r" b="b"/>
                <a:pathLst>
                  <a:path w="4348" h="2308" extrusionOk="0">
                    <a:moveTo>
                      <a:pt x="3957" y="1"/>
                    </a:moveTo>
                    <a:cubicBezTo>
                      <a:pt x="2680" y="355"/>
                      <a:pt x="1296" y="143"/>
                      <a:pt x="0" y="906"/>
                    </a:cubicBezTo>
                    <a:cubicBezTo>
                      <a:pt x="728" y="1651"/>
                      <a:pt x="728" y="1615"/>
                      <a:pt x="1544" y="1757"/>
                    </a:cubicBezTo>
                    <a:cubicBezTo>
                      <a:pt x="2147" y="1917"/>
                      <a:pt x="2733" y="2094"/>
                      <a:pt x="3318" y="2307"/>
                    </a:cubicBezTo>
                    <a:lnTo>
                      <a:pt x="4348" y="639"/>
                    </a:lnTo>
                    <a:lnTo>
                      <a:pt x="3957" y="1"/>
                    </a:lnTo>
                    <a:close/>
                  </a:path>
                </a:pathLst>
              </a:custGeom>
              <a:noFill/>
              <a:ln w="9525" cap="flat" cmpd="sng">
                <a:solidFill>
                  <a:srgbClr val="5F81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112" name="Google Shape;3112;p104"/>
              <p:cNvSpPr/>
              <p:nvPr/>
            </p:nvSpPr>
            <p:spPr>
              <a:xfrm>
                <a:off x="3773239" y="-411709"/>
                <a:ext cx="34223" cy="31496"/>
              </a:xfrm>
              <a:custGeom>
                <a:avLst/>
                <a:gdLst/>
                <a:ahLst/>
                <a:cxnLst/>
                <a:rect l="l" t="t" r="r" b="b"/>
                <a:pathLst>
                  <a:path w="3124" h="2875" extrusionOk="0">
                    <a:moveTo>
                      <a:pt x="2095" y="1"/>
                    </a:moveTo>
                    <a:lnTo>
                      <a:pt x="1" y="1030"/>
                    </a:lnTo>
                    <a:cubicBezTo>
                      <a:pt x="498" y="1455"/>
                      <a:pt x="782" y="1615"/>
                      <a:pt x="941" y="1864"/>
                    </a:cubicBezTo>
                    <a:cubicBezTo>
                      <a:pt x="1119" y="2112"/>
                      <a:pt x="1154" y="2449"/>
                      <a:pt x="1279" y="2875"/>
                    </a:cubicBezTo>
                    <a:lnTo>
                      <a:pt x="3124" y="2467"/>
                    </a:lnTo>
                    <a:lnTo>
                      <a:pt x="2858" y="586"/>
                    </a:lnTo>
                    <a:lnTo>
                      <a:pt x="2095" y="1"/>
                    </a:lnTo>
                    <a:close/>
                  </a:path>
                </a:pathLst>
              </a:custGeom>
              <a:noFill/>
              <a:ln w="9525" cap="flat" cmpd="sng">
                <a:solidFill>
                  <a:srgbClr val="5F81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113" name="Google Shape;3113;p104"/>
              <p:cNvSpPr/>
              <p:nvPr/>
            </p:nvSpPr>
            <p:spPr>
              <a:xfrm>
                <a:off x="3776942" y="-526397"/>
                <a:ext cx="377487" cy="831956"/>
              </a:xfrm>
              <a:custGeom>
                <a:avLst/>
                <a:gdLst/>
                <a:ahLst/>
                <a:cxnLst/>
                <a:rect l="l" t="t" r="r" b="b"/>
                <a:pathLst>
                  <a:path w="34458" h="75943" extrusionOk="0">
                    <a:moveTo>
                      <a:pt x="8836" y="6211"/>
                    </a:moveTo>
                    <a:cubicBezTo>
                      <a:pt x="10061" y="6371"/>
                      <a:pt x="10061" y="6371"/>
                      <a:pt x="12438" y="9352"/>
                    </a:cubicBezTo>
                    <a:lnTo>
                      <a:pt x="10930" y="10416"/>
                    </a:lnTo>
                    <a:cubicBezTo>
                      <a:pt x="10646" y="10044"/>
                      <a:pt x="9244" y="10079"/>
                      <a:pt x="10309" y="8997"/>
                    </a:cubicBezTo>
                    <a:lnTo>
                      <a:pt x="8836" y="6211"/>
                    </a:lnTo>
                    <a:close/>
                    <a:moveTo>
                      <a:pt x="13237" y="17585"/>
                    </a:moveTo>
                    <a:cubicBezTo>
                      <a:pt x="14213" y="18330"/>
                      <a:pt x="14976" y="19235"/>
                      <a:pt x="15951" y="19572"/>
                    </a:cubicBezTo>
                    <a:cubicBezTo>
                      <a:pt x="17034" y="19945"/>
                      <a:pt x="17548" y="20761"/>
                      <a:pt x="18294" y="21506"/>
                    </a:cubicBezTo>
                    <a:lnTo>
                      <a:pt x="16892" y="22216"/>
                    </a:lnTo>
                    <a:lnTo>
                      <a:pt x="19092" y="23440"/>
                    </a:lnTo>
                    <a:lnTo>
                      <a:pt x="18826" y="19359"/>
                    </a:lnTo>
                    <a:lnTo>
                      <a:pt x="18826" y="19359"/>
                    </a:lnTo>
                    <a:cubicBezTo>
                      <a:pt x="19500" y="20264"/>
                      <a:pt x="19890" y="20867"/>
                      <a:pt x="20352" y="21382"/>
                    </a:cubicBezTo>
                    <a:cubicBezTo>
                      <a:pt x="20813" y="21914"/>
                      <a:pt x="21328" y="22340"/>
                      <a:pt x="22091" y="23050"/>
                    </a:cubicBezTo>
                    <a:lnTo>
                      <a:pt x="22587" y="21346"/>
                    </a:lnTo>
                    <a:lnTo>
                      <a:pt x="25267" y="23742"/>
                    </a:lnTo>
                    <a:lnTo>
                      <a:pt x="26402" y="22713"/>
                    </a:lnTo>
                    <a:lnTo>
                      <a:pt x="27999" y="26261"/>
                    </a:lnTo>
                    <a:cubicBezTo>
                      <a:pt x="27384" y="26597"/>
                      <a:pt x="26823" y="26720"/>
                      <a:pt x="26292" y="26720"/>
                    </a:cubicBezTo>
                    <a:cubicBezTo>
                      <a:pt x="24969" y="26720"/>
                      <a:pt x="23833" y="25957"/>
                      <a:pt x="22516" y="25818"/>
                    </a:cubicBezTo>
                    <a:cubicBezTo>
                      <a:pt x="22516" y="26527"/>
                      <a:pt x="22499" y="27131"/>
                      <a:pt x="22499" y="27787"/>
                    </a:cubicBezTo>
                    <a:cubicBezTo>
                      <a:pt x="22392" y="27787"/>
                      <a:pt x="22270" y="27819"/>
                      <a:pt x="22169" y="27819"/>
                    </a:cubicBezTo>
                    <a:cubicBezTo>
                      <a:pt x="22118" y="27819"/>
                      <a:pt x="22073" y="27811"/>
                      <a:pt x="22037" y="27787"/>
                    </a:cubicBezTo>
                    <a:cubicBezTo>
                      <a:pt x="21133" y="27288"/>
                      <a:pt x="20502" y="26308"/>
                      <a:pt x="19338" y="26308"/>
                    </a:cubicBezTo>
                    <a:cubicBezTo>
                      <a:pt x="19178" y="26308"/>
                      <a:pt x="19008" y="26327"/>
                      <a:pt x="18826" y="26368"/>
                    </a:cubicBezTo>
                    <a:cubicBezTo>
                      <a:pt x="18808" y="26372"/>
                      <a:pt x="18788" y="26375"/>
                      <a:pt x="18768" y="26375"/>
                    </a:cubicBezTo>
                    <a:cubicBezTo>
                      <a:pt x="18417" y="26375"/>
                      <a:pt x="17797" y="25667"/>
                      <a:pt x="17495" y="25197"/>
                    </a:cubicBezTo>
                    <a:cubicBezTo>
                      <a:pt x="16998" y="24416"/>
                      <a:pt x="16661" y="23529"/>
                      <a:pt x="16360" y="22925"/>
                    </a:cubicBezTo>
                    <a:cubicBezTo>
                      <a:pt x="16129" y="22764"/>
                      <a:pt x="15928" y="22701"/>
                      <a:pt x="15748" y="22701"/>
                    </a:cubicBezTo>
                    <a:cubicBezTo>
                      <a:pt x="15114" y="22701"/>
                      <a:pt x="14724" y="23479"/>
                      <a:pt x="14110" y="23479"/>
                    </a:cubicBezTo>
                    <a:cubicBezTo>
                      <a:pt x="13959" y="23479"/>
                      <a:pt x="13794" y="23432"/>
                      <a:pt x="13609" y="23316"/>
                    </a:cubicBezTo>
                    <a:cubicBezTo>
                      <a:pt x="13398" y="23182"/>
                      <a:pt x="13213" y="23127"/>
                      <a:pt x="13048" y="23127"/>
                    </a:cubicBezTo>
                    <a:cubicBezTo>
                      <a:pt x="12310" y="23127"/>
                      <a:pt x="11952" y="24236"/>
                      <a:pt x="11285" y="24540"/>
                    </a:cubicBezTo>
                    <a:cubicBezTo>
                      <a:pt x="10309" y="24984"/>
                      <a:pt x="9475" y="24913"/>
                      <a:pt x="8357" y="25126"/>
                    </a:cubicBezTo>
                    <a:cubicBezTo>
                      <a:pt x="8712" y="23440"/>
                      <a:pt x="10007" y="23263"/>
                      <a:pt x="10877" y="22588"/>
                    </a:cubicBezTo>
                    <a:cubicBezTo>
                      <a:pt x="9333" y="21453"/>
                      <a:pt x="11161" y="20583"/>
                      <a:pt x="11107" y="19732"/>
                    </a:cubicBezTo>
                    <a:cubicBezTo>
                      <a:pt x="10966" y="17815"/>
                      <a:pt x="13183" y="19075"/>
                      <a:pt x="13237" y="17585"/>
                    </a:cubicBezTo>
                    <a:close/>
                    <a:moveTo>
                      <a:pt x="444" y="1"/>
                    </a:moveTo>
                    <a:lnTo>
                      <a:pt x="444" y="1"/>
                    </a:lnTo>
                    <a:cubicBezTo>
                      <a:pt x="373" y="746"/>
                      <a:pt x="0" y="1438"/>
                      <a:pt x="1278" y="1758"/>
                    </a:cubicBezTo>
                    <a:cubicBezTo>
                      <a:pt x="2147" y="1953"/>
                      <a:pt x="2662" y="2929"/>
                      <a:pt x="2857" y="3869"/>
                    </a:cubicBezTo>
                    <a:cubicBezTo>
                      <a:pt x="3034" y="4756"/>
                      <a:pt x="3123" y="5643"/>
                      <a:pt x="3247" y="6530"/>
                    </a:cubicBezTo>
                    <a:lnTo>
                      <a:pt x="3549" y="6140"/>
                    </a:lnTo>
                    <a:lnTo>
                      <a:pt x="5412" y="8145"/>
                    </a:lnTo>
                    <a:lnTo>
                      <a:pt x="6654" y="6903"/>
                    </a:lnTo>
                    <a:lnTo>
                      <a:pt x="8393" y="10505"/>
                    </a:lnTo>
                    <a:lnTo>
                      <a:pt x="6654" y="14426"/>
                    </a:lnTo>
                    <a:lnTo>
                      <a:pt x="5944" y="14036"/>
                    </a:lnTo>
                    <a:cubicBezTo>
                      <a:pt x="5678" y="14338"/>
                      <a:pt x="5447" y="14657"/>
                      <a:pt x="5252" y="14976"/>
                    </a:cubicBezTo>
                    <a:cubicBezTo>
                      <a:pt x="5163" y="15154"/>
                      <a:pt x="5217" y="15402"/>
                      <a:pt x="5199" y="15615"/>
                    </a:cubicBezTo>
                    <a:cubicBezTo>
                      <a:pt x="7346" y="16591"/>
                      <a:pt x="7701" y="17017"/>
                      <a:pt x="8162" y="19004"/>
                    </a:cubicBezTo>
                    <a:lnTo>
                      <a:pt x="4471" y="18827"/>
                    </a:lnTo>
                    <a:lnTo>
                      <a:pt x="4471" y="18827"/>
                    </a:lnTo>
                    <a:cubicBezTo>
                      <a:pt x="4755" y="21754"/>
                      <a:pt x="5057" y="22606"/>
                      <a:pt x="6193" y="24114"/>
                    </a:cubicBezTo>
                    <a:lnTo>
                      <a:pt x="7754" y="24061"/>
                    </a:lnTo>
                    <a:lnTo>
                      <a:pt x="7754" y="24061"/>
                    </a:lnTo>
                    <a:cubicBezTo>
                      <a:pt x="8073" y="25480"/>
                      <a:pt x="7914" y="26740"/>
                      <a:pt x="6920" y="27379"/>
                    </a:cubicBezTo>
                    <a:cubicBezTo>
                      <a:pt x="5518" y="28319"/>
                      <a:pt x="7026" y="29703"/>
                      <a:pt x="5962" y="30857"/>
                    </a:cubicBezTo>
                    <a:cubicBezTo>
                      <a:pt x="4241" y="32720"/>
                      <a:pt x="3850" y="35399"/>
                      <a:pt x="2644" y="37812"/>
                    </a:cubicBezTo>
                    <a:lnTo>
                      <a:pt x="4471" y="38380"/>
                    </a:lnTo>
                    <a:cubicBezTo>
                      <a:pt x="4400" y="39161"/>
                      <a:pt x="4436" y="40012"/>
                      <a:pt x="4259" y="40829"/>
                    </a:cubicBezTo>
                    <a:cubicBezTo>
                      <a:pt x="3939" y="42319"/>
                      <a:pt x="4329" y="43579"/>
                      <a:pt x="5252" y="44732"/>
                    </a:cubicBezTo>
                    <a:cubicBezTo>
                      <a:pt x="5838" y="45460"/>
                      <a:pt x="6370" y="46240"/>
                      <a:pt x="7026" y="46932"/>
                    </a:cubicBezTo>
                    <a:cubicBezTo>
                      <a:pt x="7789" y="47731"/>
                      <a:pt x="9209" y="47678"/>
                      <a:pt x="9670" y="48920"/>
                    </a:cubicBezTo>
                    <a:cubicBezTo>
                      <a:pt x="9723" y="49026"/>
                      <a:pt x="9812" y="49097"/>
                      <a:pt x="9919" y="49132"/>
                    </a:cubicBezTo>
                    <a:cubicBezTo>
                      <a:pt x="10191" y="49213"/>
                      <a:pt x="10478" y="49350"/>
                      <a:pt x="10740" y="49350"/>
                    </a:cubicBezTo>
                    <a:cubicBezTo>
                      <a:pt x="10768" y="49350"/>
                      <a:pt x="10796" y="49349"/>
                      <a:pt x="10824" y="49345"/>
                    </a:cubicBezTo>
                    <a:cubicBezTo>
                      <a:pt x="11569" y="49257"/>
                      <a:pt x="12279" y="49257"/>
                      <a:pt x="12917" y="48547"/>
                    </a:cubicBezTo>
                    <a:cubicBezTo>
                      <a:pt x="12958" y="48500"/>
                      <a:pt x="13033" y="48481"/>
                      <a:pt x="13131" y="48481"/>
                    </a:cubicBezTo>
                    <a:cubicBezTo>
                      <a:pt x="13526" y="48481"/>
                      <a:pt x="14291" y="48790"/>
                      <a:pt x="14670" y="48790"/>
                    </a:cubicBezTo>
                    <a:cubicBezTo>
                      <a:pt x="14764" y="48790"/>
                      <a:pt x="14834" y="48771"/>
                      <a:pt x="14869" y="48724"/>
                    </a:cubicBezTo>
                    <a:cubicBezTo>
                      <a:pt x="15721" y="47642"/>
                      <a:pt x="16892" y="47944"/>
                      <a:pt x="17921" y="47695"/>
                    </a:cubicBezTo>
                    <a:cubicBezTo>
                      <a:pt x="17948" y="47687"/>
                      <a:pt x="17976" y="47684"/>
                      <a:pt x="18005" y="47684"/>
                    </a:cubicBezTo>
                    <a:cubicBezTo>
                      <a:pt x="18165" y="47684"/>
                      <a:pt x="18357" y="47795"/>
                      <a:pt x="18613" y="47855"/>
                    </a:cubicBezTo>
                    <a:cubicBezTo>
                      <a:pt x="18550" y="48716"/>
                      <a:pt x="18847" y="48890"/>
                      <a:pt x="19260" y="48890"/>
                    </a:cubicBezTo>
                    <a:cubicBezTo>
                      <a:pt x="19540" y="48890"/>
                      <a:pt x="19874" y="48810"/>
                      <a:pt x="20185" y="48810"/>
                    </a:cubicBezTo>
                    <a:cubicBezTo>
                      <a:pt x="20457" y="48810"/>
                      <a:pt x="20713" y="48871"/>
                      <a:pt x="20902" y="49097"/>
                    </a:cubicBezTo>
                    <a:cubicBezTo>
                      <a:pt x="20831" y="49558"/>
                      <a:pt x="20902" y="50233"/>
                      <a:pt x="20636" y="50765"/>
                    </a:cubicBezTo>
                    <a:cubicBezTo>
                      <a:pt x="20228" y="51546"/>
                      <a:pt x="21150" y="52592"/>
                      <a:pt x="20068" y="53178"/>
                    </a:cubicBezTo>
                    <a:cubicBezTo>
                      <a:pt x="21771" y="55112"/>
                      <a:pt x="20955" y="57649"/>
                      <a:pt x="21594" y="59424"/>
                    </a:cubicBezTo>
                    <a:cubicBezTo>
                      <a:pt x="20742" y="61713"/>
                      <a:pt x="19589" y="63327"/>
                      <a:pt x="19624" y="65776"/>
                    </a:cubicBezTo>
                    <a:cubicBezTo>
                      <a:pt x="19678" y="68597"/>
                      <a:pt x="18453" y="71436"/>
                      <a:pt x="17406" y="74168"/>
                    </a:cubicBezTo>
                    <a:cubicBezTo>
                      <a:pt x="17247" y="74577"/>
                      <a:pt x="17158" y="75002"/>
                      <a:pt x="16910" y="75943"/>
                    </a:cubicBezTo>
                    <a:cubicBezTo>
                      <a:pt x="28177" y="66379"/>
                      <a:pt x="34458" y="51617"/>
                      <a:pt x="32258" y="36144"/>
                    </a:cubicBezTo>
                    <a:cubicBezTo>
                      <a:pt x="29756" y="18472"/>
                      <a:pt x="16874" y="4756"/>
                      <a:pt x="444" y="1"/>
                    </a:cubicBezTo>
                    <a:close/>
                  </a:path>
                </a:pathLst>
              </a:custGeom>
              <a:noFill/>
              <a:ln w="9525" cap="flat" cmpd="sng">
                <a:solidFill>
                  <a:srgbClr val="5F81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114" name="Google Shape;3114;p104"/>
              <p:cNvSpPr/>
              <p:nvPr/>
            </p:nvSpPr>
            <p:spPr>
              <a:xfrm>
                <a:off x="3352414" y="12491"/>
                <a:ext cx="353584" cy="411448"/>
              </a:xfrm>
              <a:custGeom>
                <a:avLst/>
                <a:gdLst/>
                <a:ahLst/>
                <a:cxnLst/>
                <a:rect l="l" t="t" r="r" b="b"/>
                <a:pathLst>
                  <a:path w="32276" h="37558" extrusionOk="0">
                    <a:moveTo>
                      <a:pt x="3376" y="1"/>
                    </a:moveTo>
                    <a:cubicBezTo>
                      <a:pt x="3358" y="1"/>
                      <a:pt x="3345" y="4"/>
                      <a:pt x="3336" y="12"/>
                    </a:cubicBezTo>
                    <a:cubicBezTo>
                      <a:pt x="905" y="2621"/>
                      <a:pt x="905" y="2621"/>
                      <a:pt x="1243" y="6400"/>
                    </a:cubicBezTo>
                    <a:cubicBezTo>
                      <a:pt x="1260" y="6595"/>
                      <a:pt x="1118" y="6790"/>
                      <a:pt x="1065" y="7003"/>
                    </a:cubicBezTo>
                    <a:cubicBezTo>
                      <a:pt x="693" y="8405"/>
                      <a:pt x="338" y="9807"/>
                      <a:pt x="1" y="11155"/>
                    </a:cubicBezTo>
                    <a:lnTo>
                      <a:pt x="1118" y="14012"/>
                    </a:lnTo>
                    <a:cubicBezTo>
                      <a:pt x="2147" y="15148"/>
                      <a:pt x="3106" y="16283"/>
                      <a:pt x="4188" y="17330"/>
                    </a:cubicBezTo>
                    <a:cubicBezTo>
                      <a:pt x="5271" y="18413"/>
                      <a:pt x="5677" y="20424"/>
                      <a:pt x="7592" y="20424"/>
                    </a:cubicBezTo>
                    <a:cubicBezTo>
                      <a:pt x="7779" y="20424"/>
                      <a:pt x="7980" y="20405"/>
                      <a:pt x="8198" y="20364"/>
                    </a:cubicBezTo>
                    <a:cubicBezTo>
                      <a:pt x="9263" y="21234"/>
                      <a:pt x="10735" y="21553"/>
                      <a:pt x="11179" y="23221"/>
                    </a:cubicBezTo>
                    <a:cubicBezTo>
                      <a:pt x="11587" y="24711"/>
                      <a:pt x="12669" y="26024"/>
                      <a:pt x="13024" y="27515"/>
                    </a:cubicBezTo>
                    <a:cubicBezTo>
                      <a:pt x="13361" y="28863"/>
                      <a:pt x="14461" y="29662"/>
                      <a:pt x="14834" y="30780"/>
                    </a:cubicBezTo>
                    <a:cubicBezTo>
                      <a:pt x="15278" y="32128"/>
                      <a:pt x="15970" y="33246"/>
                      <a:pt x="16573" y="34470"/>
                    </a:cubicBezTo>
                    <a:cubicBezTo>
                      <a:pt x="17070" y="35428"/>
                      <a:pt x="18223" y="35038"/>
                      <a:pt x="18525" y="36191"/>
                    </a:cubicBezTo>
                    <a:cubicBezTo>
                      <a:pt x="18631" y="36564"/>
                      <a:pt x="18844" y="36901"/>
                      <a:pt x="19146" y="37185"/>
                    </a:cubicBezTo>
                    <a:cubicBezTo>
                      <a:pt x="20299" y="37345"/>
                      <a:pt x="21470" y="37469"/>
                      <a:pt x="22659" y="37558"/>
                    </a:cubicBezTo>
                    <a:cubicBezTo>
                      <a:pt x="22559" y="37158"/>
                      <a:pt x="22490" y="36790"/>
                      <a:pt x="21808" y="36790"/>
                    </a:cubicBezTo>
                    <a:cubicBezTo>
                      <a:pt x="21763" y="36790"/>
                      <a:pt x="21716" y="36791"/>
                      <a:pt x="21665" y="36795"/>
                    </a:cubicBezTo>
                    <a:cubicBezTo>
                      <a:pt x="21645" y="36796"/>
                      <a:pt x="21626" y="36796"/>
                      <a:pt x="21608" y="36796"/>
                    </a:cubicBezTo>
                    <a:cubicBezTo>
                      <a:pt x="20725" y="36796"/>
                      <a:pt x="22437" y="35547"/>
                      <a:pt x="21115" y="35251"/>
                    </a:cubicBezTo>
                    <a:cubicBezTo>
                      <a:pt x="20388" y="35073"/>
                      <a:pt x="22109" y="33707"/>
                      <a:pt x="20725" y="33246"/>
                    </a:cubicBezTo>
                    <a:lnTo>
                      <a:pt x="20920" y="32980"/>
                    </a:lnTo>
                    <a:lnTo>
                      <a:pt x="22783" y="32394"/>
                    </a:lnTo>
                    <a:lnTo>
                      <a:pt x="21860" y="30017"/>
                    </a:lnTo>
                    <a:lnTo>
                      <a:pt x="23191" y="29839"/>
                    </a:lnTo>
                    <a:cubicBezTo>
                      <a:pt x="23599" y="29041"/>
                      <a:pt x="24007" y="28313"/>
                      <a:pt x="24380" y="27550"/>
                    </a:cubicBezTo>
                    <a:cubicBezTo>
                      <a:pt x="24646" y="26982"/>
                      <a:pt x="25178" y="26308"/>
                      <a:pt x="25036" y="25829"/>
                    </a:cubicBezTo>
                    <a:cubicBezTo>
                      <a:pt x="24451" y="23718"/>
                      <a:pt x="26083" y="22972"/>
                      <a:pt x="27343" y="22529"/>
                    </a:cubicBezTo>
                    <a:cubicBezTo>
                      <a:pt x="28603" y="22068"/>
                      <a:pt x="29082" y="21482"/>
                      <a:pt x="29242" y="20311"/>
                    </a:cubicBezTo>
                    <a:cubicBezTo>
                      <a:pt x="29419" y="19069"/>
                      <a:pt x="29809" y="17862"/>
                      <a:pt x="29898" y="16620"/>
                    </a:cubicBezTo>
                    <a:cubicBezTo>
                      <a:pt x="29987" y="15467"/>
                      <a:pt x="30005" y="14438"/>
                      <a:pt x="31087" y="13675"/>
                    </a:cubicBezTo>
                    <a:cubicBezTo>
                      <a:pt x="31442" y="13444"/>
                      <a:pt x="31531" y="12788"/>
                      <a:pt x="31655" y="12309"/>
                    </a:cubicBezTo>
                    <a:cubicBezTo>
                      <a:pt x="32276" y="10144"/>
                      <a:pt x="31868" y="9612"/>
                      <a:pt x="29490" y="9133"/>
                    </a:cubicBezTo>
                    <a:cubicBezTo>
                      <a:pt x="29100" y="9062"/>
                      <a:pt x="28816" y="8494"/>
                      <a:pt x="28266" y="7926"/>
                    </a:cubicBezTo>
                    <a:lnTo>
                      <a:pt x="24895" y="8778"/>
                    </a:lnTo>
                    <a:cubicBezTo>
                      <a:pt x="24522" y="7678"/>
                      <a:pt x="23315" y="7678"/>
                      <a:pt x="22215" y="7465"/>
                    </a:cubicBezTo>
                    <a:lnTo>
                      <a:pt x="21647" y="8157"/>
                    </a:lnTo>
                    <a:lnTo>
                      <a:pt x="18063" y="3597"/>
                    </a:lnTo>
                    <a:cubicBezTo>
                      <a:pt x="16840" y="3528"/>
                      <a:pt x="15905" y="3374"/>
                      <a:pt x="15067" y="3374"/>
                    </a:cubicBezTo>
                    <a:cubicBezTo>
                      <a:pt x="14823" y="3374"/>
                      <a:pt x="14587" y="3387"/>
                      <a:pt x="14355" y="3419"/>
                    </a:cubicBezTo>
                    <a:cubicBezTo>
                      <a:pt x="14295" y="3427"/>
                      <a:pt x="14238" y="3430"/>
                      <a:pt x="14183" y="3430"/>
                    </a:cubicBezTo>
                    <a:cubicBezTo>
                      <a:pt x="13092" y="3430"/>
                      <a:pt x="13035" y="1981"/>
                      <a:pt x="11835" y="1964"/>
                    </a:cubicBezTo>
                    <a:cubicBezTo>
                      <a:pt x="11108" y="1964"/>
                      <a:pt x="9901" y="1467"/>
                      <a:pt x="9582" y="438"/>
                    </a:cubicBezTo>
                    <a:cubicBezTo>
                      <a:pt x="8677" y="793"/>
                      <a:pt x="7914" y="1361"/>
                      <a:pt x="7133" y="1361"/>
                    </a:cubicBezTo>
                    <a:cubicBezTo>
                      <a:pt x="7119" y="1361"/>
                      <a:pt x="7105" y="1361"/>
                      <a:pt x="7091" y="1361"/>
                    </a:cubicBezTo>
                    <a:cubicBezTo>
                      <a:pt x="6288" y="1361"/>
                      <a:pt x="5470" y="877"/>
                      <a:pt x="4703" y="616"/>
                    </a:cubicBezTo>
                    <a:lnTo>
                      <a:pt x="4170" y="1184"/>
                    </a:lnTo>
                    <a:lnTo>
                      <a:pt x="3585" y="48"/>
                    </a:lnTo>
                    <a:cubicBezTo>
                      <a:pt x="3517" y="34"/>
                      <a:pt x="3429" y="1"/>
                      <a:pt x="3376" y="1"/>
                    </a:cubicBezTo>
                    <a:close/>
                  </a:path>
                </a:pathLst>
              </a:custGeom>
              <a:noFill/>
              <a:ln w="9525" cap="flat" cmpd="sng">
                <a:solidFill>
                  <a:srgbClr val="5F81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115" name="Google Shape;3115;p104"/>
              <p:cNvSpPr/>
              <p:nvPr/>
            </p:nvSpPr>
            <p:spPr>
              <a:xfrm>
                <a:off x="3289631" y="-66747"/>
                <a:ext cx="64547" cy="26511"/>
              </a:xfrm>
              <a:custGeom>
                <a:avLst/>
                <a:gdLst/>
                <a:ahLst/>
                <a:cxnLst/>
                <a:rect l="l" t="t" r="r" b="b"/>
                <a:pathLst>
                  <a:path w="5892" h="2420" extrusionOk="0">
                    <a:moveTo>
                      <a:pt x="2076" y="1"/>
                    </a:moveTo>
                    <a:cubicBezTo>
                      <a:pt x="1454" y="1"/>
                      <a:pt x="791" y="230"/>
                      <a:pt x="0" y="592"/>
                    </a:cubicBezTo>
                    <a:cubicBezTo>
                      <a:pt x="564" y="957"/>
                      <a:pt x="1113" y="1415"/>
                      <a:pt x="1254" y="1415"/>
                    </a:cubicBezTo>
                    <a:cubicBezTo>
                      <a:pt x="1264" y="1415"/>
                      <a:pt x="1272" y="1412"/>
                      <a:pt x="1278" y="1408"/>
                    </a:cubicBezTo>
                    <a:cubicBezTo>
                      <a:pt x="1606" y="1108"/>
                      <a:pt x="1874" y="952"/>
                      <a:pt x="2167" y="952"/>
                    </a:cubicBezTo>
                    <a:cubicBezTo>
                      <a:pt x="2429" y="952"/>
                      <a:pt x="2710" y="1077"/>
                      <a:pt x="3070" y="1337"/>
                    </a:cubicBezTo>
                    <a:cubicBezTo>
                      <a:pt x="3815" y="1869"/>
                      <a:pt x="4773" y="2011"/>
                      <a:pt x="5838" y="2419"/>
                    </a:cubicBezTo>
                    <a:lnTo>
                      <a:pt x="5891" y="1071"/>
                    </a:lnTo>
                    <a:cubicBezTo>
                      <a:pt x="5040" y="893"/>
                      <a:pt x="4170" y="964"/>
                      <a:pt x="3656" y="574"/>
                    </a:cubicBezTo>
                    <a:cubicBezTo>
                      <a:pt x="3121" y="171"/>
                      <a:pt x="2614" y="1"/>
                      <a:pt x="2076" y="1"/>
                    </a:cubicBezTo>
                    <a:close/>
                  </a:path>
                </a:pathLst>
              </a:custGeom>
              <a:noFill/>
              <a:ln w="9525" cap="flat" cmpd="sng">
                <a:solidFill>
                  <a:srgbClr val="5F81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116" name="Google Shape;3116;p104"/>
              <p:cNvSpPr/>
              <p:nvPr/>
            </p:nvSpPr>
            <p:spPr>
              <a:xfrm>
                <a:off x="3368156" y="-47247"/>
                <a:ext cx="67855" cy="22556"/>
              </a:xfrm>
              <a:custGeom>
                <a:avLst/>
                <a:gdLst/>
                <a:ahLst/>
                <a:cxnLst/>
                <a:rect l="l" t="t" r="r" b="b"/>
                <a:pathLst>
                  <a:path w="6194" h="2059" extrusionOk="0">
                    <a:moveTo>
                      <a:pt x="6193" y="0"/>
                    </a:moveTo>
                    <a:lnTo>
                      <a:pt x="6193" y="0"/>
                    </a:lnTo>
                    <a:cubicBezTo>
                      <a:pt x="4801" y="195"/>
                      <a:pt x="3970" y="433"/>
                      <a:pt x="3202" y="433"/>
                    </a:cubicBezTo>
                    <a:cubicBezTo>
                      <a:pt x="3128" y="433"/>
                      <a:pt x="3055" y="431"/>
                      <a:pt x="2982" y="426"/>
                    </a:cubicBezTo>
                    <a:cubicBezTo>
                      <a:pt x="2453" y="395"/>
                      <a:pt x="1944" y="74"/>
                      <a:pt x="1353" y="74"/>
                    </a:cubicBezTo>
                    <a:cubicBezTo>
                      <a:pt x="951" y="74"/>
                      <a:pt x="511" y="222"/>
                      <a:pt x="1" y="710"/>
                    </a:cubicBezTo>
                    <a:lnTo>
                      <a:pt x="1473" y="2059"/>
                    </a:lnTo>
                    <a:cubicBezTo>
                      <a:pt x="2432" y="409"/>
                      <a:pt x="4472" y="1526"/>
                      <a:pt x="6193" y="0"/>
                    </a:cubicBezTo>
                    <a:close/>
                  </a:path>
                </a:pathLst>
              </a:custGeom>
              <a:noFill/>
              <a:ln w="9525" cap="flat" cmpd="sng">
                <a:solidFill>
                  <a:srgbClr val="5F81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117" name="Google Shape;3117;p104"/>
              <p:cNvSpPr/>
              <p:nvPr/>
            </p:nvSpPr>
            <p:spPr>
              <a:xfrm>
                <a:off x="3466707" y="-328516"/>
                <a:ext cx="37532" cy="23334"/>
              </a:xfrm>
              <a:custGeom>
                <a:avLst/>
                <a:gdLst/>
                <a:ahLst/>
                <a:cxnLst/>
                <a:rect l="l" t="t" r="r" b="b"/>
                <a:pathLst>
                  <a:path w="3426" h="2130" extrusionOk="0">
                    <a:moveTo>
                      <a:pt x="1473" y="1"/>
                    </a:moveTo>
                    <a:lnTo>
                      <a:pt x="1" y="1828"/>
                    </a:lnTo>
                    <a:lnTo>
                      <a:pt x="3372" y="2130"/>
                    </a:lnTo>
                    <a:cubicBezTo>
                      <a:pt x="3407" y="1917"/>
                      <a:pt x="3425" y="1704"/>
                      <a:pt x="3425" y="1509"/>
                    </a:cubicBezTo>
                    <a:cubicBezTo>
                      <a:pt x="3390" y="1172"/>
                      <a:pt x="3301" y="870"/>
                      <a:pt x="3248" y="586"/>
                    </a:cubicBezTo>
                    <a:lnTo>
                      <a:pt x="1473" y="1"/>
                    </a:lnTo>
                    <a:close/>
                  </a:path>
                </a:pathLst>
              </a:custGeom>
              <a:noFill/>
              <a:ln w="9525" cap="flat" cmpd="sng">
                <a:solidFill>
                  <a:srgbClr val="5F81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118" name="Google Shape;3118;p104"/>
              <p:cNvSpPr/>
              <p:nvPr/>
            </p:nvSpPr>
            <p:spPr>
              <a:xfrm>
                <a:off x="3148311" y="-512013"/>
                <a:ext cx="344841" cy="575576"/>
              </a:xfrm>
              <a:custGeom>
                <a:avLst/>
                <a:gdLst/>
                <a:ahLst/>
                <a:cxnLst/>
                <a:rect l="l" t="t" r="r" b="b"/>
                <a:pathLst>
                  <a:path w="31478" h="52540" extrusionOk="0">
                    <a:moveTo>
                      <a:pt x="28337" y="1"/>
                    </a:moveTo>
                    <a:cubicBezTo>
                      <a:pt x="13326" y="5785"/>
                      <a:pt x="2556" y="18986"/>
                      <a:pt x="1" y="34405"/>
                    </a:cubicBezTo>
                    <a:cubicBezTo>
                      <a:pt x="516" y="36961"/>
                      <a:pt x="764" y="39569"/>
                      <a:pt x="1154" y="42159"/>
                    </a:cubicBezTo>
                    <a:cubicBezTo>
                      <a:pt x="1172" y="42266"/>
                      <a:pt x="1438" y="42355"/>
                      <a:pt x="1687" y="42496"/>
                    </a:cubicBezTo>
                    <a:cubicBezTo>
                      <a:pt x="1687" y="41574"/>
                      <a:pt x="1704" y="40704"/>
                      <a:pt x="1704" y="39835"/>
                    </a:cubicBezTo>
                    <a:lnTo>
                      <a:pt x="2112" y="39817"/>
                    </a:lnTo>
                    <a:lnTo>
                      <a:pt x="3905" y="45513"/>
                    </a:lnTo>
                    <a:cubicBezTo>
                      <a:pt x="4490" y="45956"/>
                      <a:pt x="5289" y="46595"/>
                      <a:pt x="6122" y="47145"/>
                    </a:cubicBezTo>
                    <a:cubicBezTo>
                      <a:pt x="6548" y="47465"/>
                      <a:pt x="7045" y="47678"/>
                      <a:pt x="7560" y="47784"/>
                    </a:cubicBezTo>
                    <a:cubicBezTo>
                      <a:pt x="9813" y="48068"/>
                      <a:pt x="12492" y="48884"/>
                      <a:pt x="13557" y="50481"/>
                    </a:cubicBezTo>
                    <a:cubicBezTo>
                      <a:pt x="14515" y="51971"/>
                      <a:pt x="15810" y="52202"/>
                      <a:pt x="16751" y="52539"/>
                    </a:cubicBezTo>
                    <a:lnTo>
                      <a:pt x="18827" y="51652"/>
                    </a:lnTo>
                    <a:cubicBezTo>
                      <a:pt x="18720" y="51475"/>
                      <a:pt x="18632" y="51155"/>
                      <a:pt x="18525" y="51138"/>
                    </a:cubicBezTo>
                    <a:cubicBezTo>
                      <a:pt x="15367" y="50960"/>
                      <a:pt x="15367" y="50978"/>
                      <a:pt x="14905" y="48015"/>
                    </a:cubicBezTo>
                    <a:cubicBezTo>
                      <a:pt x="14870" y="47695"/>
                      <a:pt x="14799" y="47376"/>
                      <a:pt x="14675" y="46755"/>
                    </a:cubicBezTo>
                    <a:lnTo>
                      <a:pt x="11818" y="46152"/>
                    </a:lnTo>
                    <a:lnTo>
                      <a:pt x="12031" y="42461"/>
                    </a:lnTo>
                    <a:cubicBezTo>
                      <a:pt x="12009" y="42460"/>
                      <a:pt x="11988" y="42460"/>
                      <a:pt x="11967" y="42460"/>
                    </a:cubicBezTo>
                    <a:cubicBezTo>
                      <a:pt x="9761" y="42460"/>
                      <a:pt x="10756" y="45214"/>
                      <a:pt x="9157" y="45531"/>
                    </a:cubicBezTo>
                    <a:cubicBezTo>
                      <a:pt x="7577" y="44537"/>
                      <a:pt x="7577" y="44537"/>
                      <a:pt x="6832" y="39036"/>
                    </a:cubicBezTo>
                    <a:cubicBezTo>
                      <a:pt x="7471" y="36162"/>
                      <a:pt x="10807" y="37120"/>
                      <a:pt x="11570" y="34867"/>
                    </a:cubicBezTo>
                    <a:lnTo>
                      <a:pt x="13876" y="35683"/>
                    </a:lnTo>
                    <a:cubicBezTo>
                      <a:pt x="13930" y="37014"/>
                      <a:pt x="14213" y="38274"/>
                      <a:pt x="15651" y="39090"/>
                    </a:cubicBezTo>
                    <a:lnTo>
                      <a:pt x="14870" y="33554"/>
                    </a:lnTo>
                    <a:cubicBezTo>
                      <a:pt x="15012" y="33305"/>
                      <a:pt x="15189" y="33092"/>
                      <a:pt x="15367" y="32880"/>
                    </a:cubicBezTo>
                    <a:cubicBezTo>
                      <a:pt x="16733" y="31584"/>
                      <a:pt x="18720" y="30662"/>
                      <a:pt x="18277" y="28231"/>
                    </a:cubicBezTo>
                    <a:cubicBezTo>
                      <a:pt x="19217" y="27148"/>
                      <a:pt x="19501" y="25569"/>
                      <a:pt x="20903" y="24824"/>
                    </a:cubicBezTo>
                    <a:cubicBezTo>
                      <a:pt x="21169" y="24664"/>
                      <a:pt x="21701" y="24540"/>
                      <a:pt x="21701" y="24416"/>
                    </a:cubicBezTo>
                    <a:cubicBezTo>
                      <a:pt x="21701" y="22606"/>
                      <a:pt x="23298" y="22375"/>
                      <a:pt x="24345" y="21453"/>
                    </a:cubicBezTo>
                    <a:cubicBezTo>
                      <a:pt x="24698" y="21969"/>
                      <a:pt x="25002" y="22149"/>
                      <a:pt x="25280" y="22149"/>
                    </a:cubicBezTo>
                    <a:cubicBezTo>
                      <a:pt x="25925" y="22149"/>
                      <a:pt x="26432" y="21185"/>
                      <a:pt x="27082" y="21185"/>
                    </a:cubicBezTo>
                    <a:cubicBezTo>
                      <a:pt x="27098" y="21185"/>
                      <a:pt x="27114" y="21185"/>
                      <a:pt x="27131" y="21187"/>
                    </a:cubicBezTo>
                    <a:cubicBezTo>
                      <a:pt x="27184" y="21187"/>
                      <a:pt x="27237" y="20867"/>
                      <a:pt x="27255" y="20832"/>
                    </a:cubicBezTo>
                    <a:lnTo>
                      <a:pt x="25250" y="19909"/>
                    </a:lnTo>
                    <a:lnTo>
                      <a:pt x="25835" y="18348"/>
                    </a:lnTo>
                    <a:lnTo>
                      <a:pt x="24274" y="17851"/>
                    </a:lnTo>
                    <a:cubicBezTo>
                      <a:pt x="25161" y="17514"/>
                      <a:pt x="26048" y="17727"/>
                      <a:pt x="26829" y="17531"/>
                    </a:cubicBezTo>
                    <a:cubicBezTo>
                      <a:pt x="27610" y="17336"/>
                      <a:pt x="28266" y="16751"/>
                      <a:pt x="28976" y="16325"/>
                    </a:cubicBezTo>
                    <a:cubicBezTo>
                      <a:pt x="29774" y="15846"/>
                      <a:pt x="30573" y="15349"/>
                      <a:pt x="31478" y="14781"/>
                    </a:cubicBezTo>
                    <a:cubicBezTo>
                      <a:pt x="30466" y="12723"/>
                      <a:pt x="27769" y="12049"/>
                      <a:pt x="27698" y="9565"/>
                    </a:cubicBezTo>
                    <a:lnTo>
                      <a:pt x="25143" y="11836"/>
                    </a:lnTo>
                    <a:cubicBezTo>
                      <a:pt x="25764" y="8571"/>
                      <a:pt x="23600" y="8908"/>
                      <a:pt x="22269" y="8465"/>
                    </a:cubicBezTo>
                    <a:cubicBezTo>
                      <a:pt x="21932" y="8855"/>
                      <a:pt x="21559" y="9032"/>
                      <a:pt x="21027" y="9316"/>
                    </a:cubicBezTo>
                    <a:lnTo>
                      <a:pt x="21825" y="10132"/>
                    </a:lnTo>
                    <a:lnTo>
                      <a:pt x="20353" y="11197"/>
                    </a:lnTo>
                    <a:cubicBezTo>
                      <a:pt x="21772" y="12244"/>
                      <a:pt x="20956" y="13628"/>
                      <a:pt x="20690" y="13734"/>
                    </a:cubicBezTo>
                    <a:cubicBezTo>
                      <a:pt x="18756" y="14444"/>
                      <a:pt x="19217" y="16396"/>
                      <a:pt x="18401" y="17620"/>
                    </a:cubicBezTo>
                    <a:lnTo>
                      <a:pt x="17460" y="16910"/>
                    </a:lnTo>
                    <a:cubicBezTo>
                      <a:pt x="17052" y="16502"/>
                      <a:pt x="17886" y="16360"/>
                      <a:pt x="17851" y="16023"/>
                    </a:cubicBezTo>
                    <a:cubicBezTo>
                      <a:pt x="17833" y="15580"/>
                      <a:pt x="17744" y="15136"/>
                      <a:pt x="17673" y="14639"/>
                    </a:cubicBezTo>
                    <a:lnTo>
                      <a:pt x="14781" y="13805"/>
                    </a:lnTo>
                    <a:cubicBezTo>
                      <a:pt x="14391" y="10558"/>
                      <a:pt x="17727" y="10026"/>
                      <a:pt x="19075" y="8056"/>
                    </a:cubicBezTo>
                    <a:cubicBezTo>
                      <a:pt x="19476" y="8451"/>
                      <a:pt x="19895" y="8555"/>
                      <a:pt x="20323" y="8555"/>
                    </a:cubicBezTo>
                    <a:cubicBezTo>
                      <a:pt x="20808" y="8555"/>
                      <a:pt x="21305" y="8420"/>
                      <a:pt x="21802" y="8420"/>
                    </a:cubicBezTo>
                    <a:cubicBezTo>
                      <a:pt x="21952" y="8420"/>
                      <a:pt x="22102" y="8433"/>
                      <a:pt x="22251" y="8465"/>
                    </a:cubicBezTo>
                    <a:cubicBezTo>
                      <a:pt x="22127" y="7702"/>
                      <a:pt x="22056" y="7152"/>
                      <a:pt x="21967" y="6495"/>
                    </a:cubicBezTo>
                    <a:cubicBezTo>
                      <a:pt x="23198" y="6481"/>
                      <a:pt x="23566" y="4540"/>
                      <a:pt x="24952" y="4540"/>
                    </a:cubicBezTo>
                    <a:cubicBezTo>
                      <a:pt x="25264" y="4540"/>
                      <a:pt x="25629" y="4639"/>
                      <a:pt x="26066" y="4880"/>
                    </a:cubicBezTo>
                    <a:cubicBezTo>
                      <a:pt x="25374" y="5963"/>
                      <a:pt x="24274" y="6335"/>
                      <a:pt x="23458" y="7010"/>
                    </a:cubicBezTo>
                    <a:lnTo>
                      <a:pt x="26243" y="8376"/>
                    </a:lnTo>
                    <a:lnTo>
                      <a:pt x="28089" y="7205"/>
                    </a:lnTo>
                    <a:lnTo>
                      <a:pt x="28160" y="5324"/>
                    </a:lnTo>
                    <a:cubicBezTo>
                      <a:pt x="28332" y="5383"/>
                      <a:pt x="28506" y="5414"/>
                      <a:pt x="28690" y="5414"/>
                    </a:cubicBezTo>
                    <a:cubicBezTo>
                      <a:pt x="29226" y="5414"/>
                      <a:pt x="29853" y="5151"/>
                      <a:pt x="30804" y="4543"/>
                    </a:cubicBezTo>
                    <a:lnTo>
                      <a:pt x="29029" y="3621"/>
                    </a:lnTo>
                    <a:lnTo>
                      <a:pt x="29561" y="2733"/>
                    </a:lnTo>
                    <a:lnTo>
                      <a:pt x="28231" y="1722"/>
                    </a:lnTo>
                    <a:cubicBezTo>
                      <a:pt x="28355" y="1190"/>
                      <a:pt x="28692" y="586"/>
                      <a:pt x="28515" y="232"/>
                    </a:cubicBezTo>
                    <a:cubicBezTo>
                      <a:pt x="28479" y="161"/>
                      <a:pt x="28408" y="72"/>
                      <a:pt x="28337" y="1"/>
                    </a:cubicBezTo>
                    <a:close/>
                  </a:path>
                </a:pathLst>
              </a:custGeom>
              <a:noFill/>
              <a:ln w="9525" cap="flat" cmpd="sng">
                <a:solidFill>
                  <a:srgbClr val="5F81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sp>
          <p:nvSpPr>
            <p:cNvPr id="3119" name="Google Shape;3119;p104"/>
            <p:cNvSpPr/>
            <p:nvPr/>
          </p:nvSpPr>
          <p:spPr>
            <a:xfrm>
              <a:off x="6015523" y="3714217"/>
              <a:ext cx="557665" cy="516387"/>
            </a:xfrm>
            <a:custGeom>
              <a:avLst/>
              <a:gdLst/>
              <a:ahLst/>
              <a:cxnLst/>
              <a:rect l="l" t="t" r="r" b="b"/>
              <a:pathLst>
                <a:path w="96649" h="89534" extrusionOk="0">
                  <a:moveTo>
                    <a:pt x="48671" y="444"/>
                  </a:moveTo>
                  <a:cubicBezTo>
                    <a:pt x="70814" y="444"/>
                    <a:pt x="90084" y="16342"/>
                    <a:pt x="93207" y="38415"/>
                  </a:cubicBezTo>
                  <a:cubicBezTo>
                    <a:pt x="96649" y="62635"/>
                    <a:pt x="79314" y="85116"/>
                    <a:pt x="54526" y="88629"/>
                  </a:cubicBezTo>
                  <a:cubicBezTo>
                    <a:pt x="52344" y="88930"/>
                    <a:pt x="50161" y="89090"/>
                    <a:pt x="47961" y="89090"/>
                  </a:cubicBezTo>
                  <a:cubicBezTo>
                    <a:pt x="25817" y="89090"/>
                    <a:pt x="6548" y="73192"/>
                    <a:pt x="3425" y="51119"/>
                  </a:cubicBezTo>
                  <a:cubicBezTo>
                    <a:pt x="1" y="26899"/>
                    <a:pt x="17318" y="4418"/>
                    <a:pt x="42123" y="905"/>
                  </a:cubicBezTo>
                  <a:cubicBezTo>
                    <a:pt x="44288" y="586"/>
                    <a:pt x="46470" y="444"/>
                    <a:pt x="48671" y="444"/>
                  </a:cubicBezTo>
                  <a:close/>
                  <a:moveTo>
                    <a:pt x="48746" y="0"/>
                  </a:moveTo>
                  <a:cubicBezTo>
                    <a:pt x="48721" y="0"/>
                    <a:pt x="48696" y="0"/>
                    <a:pt x="48671" y="0"/>
                  </a:cubicBezTo>
                  <a:cubicBezTo>
                    <a:pt x="46453" y="0"/>
                    <a:pt x="44253" y="160"/>
                    <a:pt x="42052" y="462"/>
                  </a:cubicBezTo>
                  <a:cubicBezTo>
                    <a:pt x="36002" y="1313"/>
                    <a:pt x="30164" y="3336"/>
                    <a:pt x="24895" y="6441"/>
                  </a:cubicBezTo>
                  <a:cubicBezTo>
                    <a:pt x="19838" y="9404"/>
                    <a:pt x="15402" y="13326"/>
                    <a:pt x="11835" y="17974"/>
                  </a:cubicBezTo>
                  <a:cubicBezTo>
                    <a:pt x="8269" y="22570"/>
                    <a:pt x="5643" y="27822"/>
                    <a:pt x="4099" y="33447"/>
                  </a:cubicBezTo>
                  <a:cubicBezTo>
                    <a:pt x="2520" y="39213"/>
                    <a:pt x="2130" y="45246"/>
                    <a:pt x="2981" y="51190"/>
                  </a:cubicBezTo>
                  <a:cubicBezTo>
                    <a:pt x="4507" y="61925"/>
                    <a:pt x="9955" y="71737"/>
                    <a:pt x="18276" y="78728"/>
                  </a:cubicBezTo>
                  <a:cubicBezTo>
                    <a:pt x="26561" y="85703"/>
                    <a:pt x="37054" y="89534"/>
                    <a:pt x="47886" y="89534"/>
                  </a:cubicBezTo>
                  <a:cubicBezTo>
                    <a:pt x="47911" y="89534"/>
                    <a:pt x="47936" y="89534"/>
                    <a:pt x="47961" y="89534"/>
                  </a:cubicBezTo>
                  <a:cubicBezTo>
                    <a:pt x="50179" y="89534"/>
                    <a:pt x="52397" y="89374"/>
                    <a:pt x="54579" y="89072"/>
                  </a:cubicBezTo>
                  <a:cubicBezTo>
                    <a:pt x="60647" y="88221"/>
                    <a:pt x="66467" y="86198"/>
                    <a:pt x="71737" y="83093"/>
                  </a:cubicBezTo>
                  <a:cubicBezTo>
                    <a:pt x="76794" y="80112"/>
                    <a:pt x="81230" y="76208"/>
                    <a:pt x="84796" y="71560"/>
                  </a:cubicBezTo>
                  <a:cubicBezTo>
                    <a:pt x="88363" y="66964"/>
                    <a:pt x="90989" y="61712"/>
                    <a:pt x="92532" y="56105"/>
                  </a:cubicBezTo>
                  <a:cubicBezTo>
                    <a:pt x="94112" y="50321"/>
                    <a:pt x="94502" y="44288"/>
                    <a:pt x="93650" y="38362"/>
                  </a:cubicBezTo>
                  <a:cubicBezTo>
                    <a:pt x="92124" y="27609"/>
                    <a:pt x="86677" y="17797"/>
                    <a:pt x="78355" y="10824"/>
                  </a:cubicBezTo>
                  <a:cubicBezTo>
                    <a:pt x="70071" y="3831"/>
                    <a:pt x="59578" y="0"/>
                    <a:pt x="48746" y="0"/>
                  </a:cubicBezTo>
                  <a:close/>
                </a:path>
              </a:pathLst>
            </a:custGeom>
            <a:noFill/>
            <a:ln w="9525" cap="flat" cmpd="sng">
              <a:solidFill>
                <a:srgbClr val="E3E9ED"/>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3120" name="Google Shape;3120;p104"/>
          <p:cNvGrpSpPr/>
          <p:nvPr/>
        </p:nvGrpSpPr>
        <p:grpSpPr>
          <a:xfrm>
            <a:off x="8943972" y="4098171"/>
            <a:ext cx="768403" cy="682495"/>
            <a:chOff x="6644304" y="3073628"/>
            <a:chExt cx="576302" cy="511871"/>
          </a:xfrm>
        </p:grpSpPr>
        <p:grpSp>
          <p:nvGrpSpPr>
            <p:cNvPr id="3121" name="Google Shape;3121;p104"/>
            <p:cNvGrpSpPr/>
            <p:nvPr/>
          </p:nvGrpSpPr>
          <p:grpSpPr>
            <a:xfrm>
              <a:off x="6712169" y="3073651"/>
              <a:ext cx="481611" cy="506713"/>
              <a:chOff x="1833536" y="-546641"/>
              <a:chExt cx="914567" cy="962419"/>
            </a:xfrm>
          </p:grpSpPr>
          <p:grpSp>
            <p:nvGrpSpPr>
              <p:cNvPr id="3122" name="Google Shape;3122;p104"/>
              <p:cNvGrpSpPr/>
              <p:nvPr/>
            </p:nvGrpSpPr>
            <p:grpSpPr>
              <a:xfrm>
                <a:off x="1833536" y="-524249"/>
                <a:ext cx="914567" cy="940027"/>
                <a:chOff x="1833536" y="-524249"/>
                <a:chExt cx="914567" cy="940027"/>
              </a:xfrm>
            </p:grpSpPr>
            <p:sp>
              <p:nvSpPr>
                <p:cNvPr id="3123" name="Google Shape;3123;p104"/>
                <p:cNvSpPr/>
                <p:nvPr/>
              </p:nvSpPr>
              <p:spPr>
                <a:xfrm>
                  <a:off x="1833536" y="-524249"/>
                  <a:ext cx="453307" cy="599490"/>
                </a:xfrm>
                <a:custGeom>
                  <a:avLst/>
                  <a:gdLst/>
                  <a:ahLst/>
                  <a:cxnLst/>
                  <a:rect l="l" t="t" r="r" b="b"/>
                  <a:pathLst>
                    <a:path w="41379" h="54723" extrusionOk="0">
                      <a:moveTo>
                        <a:pt x="20938" y="3904"/>
                      </a:moveTo>
                      <a:lnTo>
                        <a:pt x="22677" y="6583"/>
                      </a:lnTo>
                      <a:lnTo>
                        <a:pt x="22091" y="7097"/>
                      </a:lnTo>
                      <a:lnTo>
                        <a:pt x="18951" y="4400"/>
                      </a:lnTo>
                      <a:lnTo>
                        <a:pt x="20938" y="3904"/>
                      </a:lnTo>
                      <a:close/>
                      <a:moveTo>
                        <a:pt x="25072" y="0"/>
                      </a:moveTo>
                      <a:lnTo>
                        <a:pt x="25072" y="0"/>
                      </a:lnTo>
                      <a:cubicBezTo>
                        <a:pt x="24433" y="195"/>
                        <a:pt x="23812" y="408"/>
                        <a:pt x="23191" y="621"/>
                      </a:cubicBezTo>
                      <a:lnTo>
                        <a:pt x="23493" y="1047"/>
                      </a:lnTo>
                      <a:lnTo>
                        <a:pt x="21861" y="1136"/>
                      </a:lnTo>
                      <a:cubicBezTo>
                        <a:pt x="20920" y="1491"/>
                        <a:pt x="19980" y="1899"/>
                        <a:pt x="19075" y="2307"/>
                      </a:cubicBezTo>
                      <a:lnTo>
                        <a:pt x="17709" y="4489"/>
                      </a:lnTo>
                      <a:lnTo>
                        <a:pt x="19341" y="6778"/>
                      </a:lnTo>
                      <a:lnTo>
                        <a:pt x="19341" y="6778"/>
                      </a:lnTo>
                      <a:lnTo>
                        <a:pt x="16697" y="6086"/>
                      </a:lnTo>
                      <a:lnTo>
                        <a:pt x="17017" y="4542"/>
                      </a:lnTo>
                      <a:lnTo>
                        <a:pt x="15473" y="4205"/>
                      </a:lnTo>
                      <a:cubicBezTo>
                        <a:pt x="14124" y="4968"/>
                        <a:pt x="12811" y="5820"/>
                        <a:pt x="11552" y="6725"/>
                      </a:cubicBezTo>
                      <a:lnTo>
                        <a:pt x="12581" y="6920"/>
                      </a:lnTo>
                      <a:lnTo>
                        <a:pt x="11836" y="8091"/>
                      </a:lnTo>
                      <a:cubicBezTo>
                        <a:pt x="11392" y="7967"/>
                        <a:pt x="10842" y="7772"/>
                        <a:pt x="10363" y="7612"/>
                      </a:cubicBezTo>
                      <a:cubicBezTo>
                        <a:pt x="6300" y="10753"/>
                        <a:pt x="2804" y="14567"/>
                        <a:pt x="1" y="18897"/>
                      </a:cubicBezTo>
                      <a:cubicBezTo>
                        <a:pt x="356" y="19536"/>
                        <a:pt x="498" y="20299"/>
                        <a:pt x="373" y="21026"/>
                      </a:cubicBezTo>
                      <a:cubicBezTo>
                        <a:pt x="285" y="21895"/>
                        <a:pt x="870" y="22800"/>
                        <a:pt x="977" y="23723"/>
                      </a:cubicBezTo>
                      <a:cubicBezTo>
                        <a:pt x="1101" y="24681"/>
                        <a:pt x="835" y="25710"/>
                        <a:pt x="1048" y="26633"/>
                      </a:cubicBezTo>
                      <a:cubicBezTo>
                        <a:pt x="1580" y="28922"/>
                        <a:pt x="1651" y="28904"/>
                        <a:pt x="1314" y="30696"/>
                      </a:cubicBezTo>
                      <a:cubicBezTo>
                        <a:pt x="1260" y="30998"/>
                        <a:pt x="1243" y="31335"/>
                        <a:pt x="1189" y="31654"/>
                      </a:cubicBezTo>
                      <a:cubicBezTo>
                        <a:pt x="906" y="33943"/>
                        <a:pt x="852" y="36090"/>
                        <a:pt x="2378" y="38184"/>
                      </a:cubicBezTo>
                      <a:cubicBezTo>
                        <a:pt x="3194" y="39302"/>
                        <a:pt x="4490" y="39461"/>
                        <a:pt x="5217" y="40473"/>
                      </a:cubicBezTo>
                      <a:cubicBezTo>
                        <a:pt x="5377" y="41147"/>
                        <a:pt x="5679" y="41821"/>
                        <a:pt x="5679" y="42496"/>
                      </a:cubicBezTo>
                      <a:cubicBezTo>
                        <a:pt x="5679" y="43170"/>
                        <a:pt x="7311" y="43347"/>
                        <a:pt x="6406" y="44146"/>
                      </a:cubicBezTo>
                      <a:lnTo>
                        <a:pt x="8429" y="45122"/>
                      </a:lnTo>
                      <a:lnTo>
                        <a:pt x="8429" y="45122"/>
                      </a:lnTo>
                      <a:lnTo>
                        <a:pt x="8269" y="43170"/>
                      </a:lnTo>
                      <a:lnTo>
                        <a:pt x="8269" y="43170"/>
                      </a:lnTo>
                      <a:cubicBezTo>
                        <a:pt x="8872" y="43613"/>
                        <a:pt x="9298" y="43826"/>
                        <a:pt x="9600" y="44146"/>
                      </a:cubicBezTo>
                      <a:cubicBezTo>
                        <a:pt x="10345" y="44909"/>
                        <a:pt x="10948" y="45849"/>
                        <a:pt x="11765" y="46523"/>
                      </a:cubicBezTo>
                      <a:cubicBezTo>
                        <a:pt x="12652" y="47251"/>
                        <a:pt x="13734" y="47730"/>
                        <a:pt x="13255" y="49167"/>
                      </a:cubicBezTo>
                      <a:cubicBezTo>
                        <a:pt x="15142" y="50239"/>
                        <a:pt x="17068" y="51273"/>
                        <a:pt x="19240" y="51273"/>
                      </a:cubicBezTo>
                      <a:cubicBezTo>
                        <a:pt x="19621" y="51273"/>
                        <a:pt x="20009" y="51241"/>
                        <a:pt x="20406" y="51172"/>
                      </a:cubicBezTo>
                      <a:cubicBezTo>
                        <a:pt x="21066" y="51051"/>
                        <a:pt x="21687" y="50867"/>
                        <a:pt x="22299" y="50867"/>
                      </a:cubicBezTo>
                      <a:cubicBezTo>
                        <a:pt x="22856" y="50867"/>
                        <a:pt x="23406" y="51019"/>
                        <a:pt x="23972" y="51509"/>
                      </a:cubicBezTo>
                      <a:cubicBezTo>
                        <a:pt x="24575" y="52042"/>
                        <a:pt x="25551" y="52219"/>
                        <a:pt x="26403" y="52414"/>
                      </a:cubicBezTo>
                      <a:cubicBezTo>
                        <a:pt x="26412" y="52417"/>
                        <a:pt x="26421" y="52418"/>
                        <a:pt x="26431" y="52418"/>
                      </a:cubicBezTo>
                      <a:cubicBezTo>
                        <a:pt x="26612" y="52418"/>
                        <a:pt x="26911" y="51958"/>
                        <a:pt x="27130" y="51722"/>
                      </a:cubicBezTo>
                      <a:cubicBezTo>
                        <a:pt x="29563" y="53875"/>
                        <a:pt x="30553" y="54722"/>
                        <a:pt x="31970" y="54722"/>
                      </a:cubicBezTo>
                      <a:cubicBezTo>
                        <a:pt x="32888" y="54722"/>
                        <a:pt x="33985" y="54367"/>
                        <a:pt x="35771" y="53780"/>
                      </a:cubicBezTo>
                      <a:cubicBezTo>
                        <a:pt x="35754" y="53674"/>
                        <a:pt x="35736" y="53568"/>
                        <a:pt x="35700" y="53461"/>
                      </a:cubicBezTo>
                      <a:cubicBezTo>
                        <a:pt x="35026" y="53479"/>
                        <a:pt x="34387" y="53550"/>
                        <a:pt x="33731" y="53568"/>
                      </a:cubicBezTo>
                      <a:cubicBezTo>
                        <a:pt x="33590" y="53572"/>
                        <a:pt x="33456" y="53574"/>
                        <a:pt x="33329" y="53574"/>
                      </a:cubicBezTo>
                      <a:cubicBezTo>
                        <a:pt x="31461" y="53574"/>
                        <a:pt x="31079" y="53047"/>
                        <a:pt x="30697" y="50871"/>
                      </a:cubicBezTo>
                      <a:cubicBezTo>
                        <a:pt x="30590" y="50179"/>
                        <a:pt x="30005" y="49575"/>
                        <a:pt x="29650" y="48972"/>
                      </a:cubicBezTo>
                      <a:lnTo>
                        <a:pt x="26030" y="49628"/>
                      </a:lnTo>
                      <a:lnTo>
                        <a:pt x="26030" y="49628"/>
                      </a:lnTo>
                      <a:lnTo>
                        <a:pt x="26385" y="45406"/>
                      </a:lnTo>
                      <a:lnTo>
                        <a:pt x="24167" y="45956"/>
                      </a:lnTo>
                      <a:cubicBezTo>
                        <a:pt x="23812" y="46931"/>
                        <a:pt x="24007" y="48085"/>
                        <a:pt x="22553" y="48564"/>
                      </a:cubicBezTo>
                      <a:cubicBezTo>
                        <a:pt x="22259" y="48659"/>
                        <a:pt x="21992" y="48700"/>
                        <a:pt x="21745" y="48700"/>
                      </a:cubicBezTo>
                      <a:cubicBezTo>
                        <a:pt x="20706" y="48700"/>
                        <a:pt x="20016" y="47976"/>
                        <a:pt x="19199" y="47517"/>
                      </a:cubicBezTo>
                      <a:lnTo>
                        <a:pt x="17851" y="42123"/>
                      </a:lnTo>
                      <a:cubicBezTo>
                        <a:pt x="19459" y="40109"/>
                        <a:pt x="19754" y="39740"/>
                        <a:pt x="21393" y="39740"/>
                      </a:cubicBezTo>
                      <a:cubicBezTo>
                        <a:pt x="21761" y="39740"/>
                        <a:pt x="22197" y="39758"/>
                        <a:pt x="22730" y="39781"/>
                      </a:cubicBezTo>
                      <a:lnTo>
                        <a:pt x="22890" y="38237"/>
                      </a:lnTo>
                      <a:lnTo>
                        <a:pt x="27042" y="38113"/>
                      </a:lnTo>
                      <a:lnTo>
                        <a:pt x="30324" y="41786"/>
                      </a:lnTo>
                      <a:cubicBezTo>
                        <a:pt x="30679" y="39550"/>
                        <a:pt x="29064" y="38290"/>
                        <a:pt x="28532" y="36374"/>
                      </a:cubicBezTo>
                      <a:cubicBezTo>
                        <a:pt x="29366" y="35363"/>
                        <a:pt x="30324" y="34280"/>
                        <a:pt x="31229" y="33163"/>
                      </a:cubicBezTo>
                      <a:cubicBezTo>
                        <a:pt x="32045" y="32133"/>
                        <a:pt x="31974" y="31885"/>
                        <a:pt x="30644" y="30359"/>
                      </a:cubicBezTo>
                      <a:cubicBezTo>
                        <a:pt x="31105" y="29916"/>
                        <a:pt x="31886" y="29490"/>
                        <a:pt x="31957" y="28993"/>
                      </a:cubicBezTo>
                      <a:cubicBezTo>
                        <a:pt x="32152" y="27378"/>
                        <a:pt x="33411" y="26757"/>
                        <a:pt x="34441" y="25906"/>
                      </a:cubicBezTo>
                      <a:lnTo>
                        <a:pt x="34245" y="24273"/>
                      </a:lnTo>
                      <a:lnTo>
                        <a:pt x="36588" y="22996"/>
                      </a:lnTo>
                      <a:lnTo>
                        <a:pt x="37120" y="24096"/>
                      </a:lnTo>
                      <a:lnTo>
                        <a:pt x="40438" y="20849"/>
                      </a:lnTo>
                      <a:lnTo>
                        <a:pt x="40048" y="20387"/>
                      </a:lnTo>
                      <a:lnTo>
                        <a:pt x="38184" y="21700"/>
                      </a:lnTo>
                      <a:lnTo>
                        <a:pt x="36410" y="20547"/>
                      </a:lnTo>
                      <a:cubicBezTo>
                        <a:pt x="37315" y="19429"/>
                        <a:pt x="38309" y="18631"/>
                        <a:pt x="38752" y="17584"/>
                      </a:cubicBezTo>
                      <a:cubicBezTo>
                        <a:pt x="39285" y="16377"/>
                        <a:pt x="40686" y="16271"/>
                        <a:pt x="41378" y="15295"/>
                      </a:cubicBezTo>
                      <a:cubicBezTo>
                        <a:pt x="40314" y="14177"/>
                        <a:pt x="39285" y="13663"/>
                        <a:pt x="37989" y="13521"/>
                      </a:cubicBezTo>
                      <a:cubicBezTo>
                        <a:pt x="37031" y="13467"/>
                        <a:pt x="36162" y="12971"/>
                        <a:pt x="35647" y="12154"/>
                      </a:cubicBezTo>
                      <a:cubicBezTo>
                        <a:pt x="35257" y="11622"/>
                        <a:pt x="34813" y="11161"/>
                        <a:pt x="34281" y="10770"/>
                      </a:cubicBezTo>
                      <a:cubicBezTo>
                        <a:pt x="34068" y="10593"/>
                        <a:pt x="33678" y="10628"/>
                        <a:pt x="33323" y="10557"/>
                      </a:cubicBezTo>
                      <a:lnTo>
                        <a:pt x="32773" y="12509"/>
                      </a:lnTo>
                      <a:cubicBezTo>
                        <a:pt x="31022" y="12013"/>
                        <a:pt x="29978" y="9739"/>
                        <a:pt x="28235" y="9739"/>
                      </a:cubicBezTo>
                      <a:cubicBezTo>
                        <a:pt x="27735" y="9739"/>
                        <a:pt x="27176" y="9927"/>
                        <a:pt x="26527" y="10398"/>
                      </a:cubicBezTo>
                      <a:cubicBezTo>
                        <a:pt x="26793" y="11711"/>
                        <a:pt x="25942" y="13290"/>
                        <a:pt x="27343" y="14479"/>
                      </a:cubicBezTo>
                      <a:cubicBezTo>
                        <a:pt x="27538" y="14638"/>
                        <a:pt x="27609" y="15295"/>
                        <a:pt x="27485" y="15419"/>
                      </a:cubicBezTo>
                      <a:cubicBezTo>
                        <a:pt x="26154" y="16590"/>
                        <a:pt x="27095" y="18169"/>
                        <a:pt x="26935" y="19447"/>
                      </a:cubicBezTo>
                      <a:cubicBezTo>
                        <a:pt x="26757" y="19471"/>
                        <a:pt x="26594" y="19483"/>
                        <a:pt x="26444" y="19483"/>
                      </a:cubicBezTo>
                      <a:cubicBezTo>
                        <a:pt x="24534" y="19483"/>
                        <a:pt x="24803" y="17604"/>
                        <a:pt x="24309" y="16732"/>
                      </a:cubicBezTo>
                      <a:cubicBezTo>
                        <a:pt x="23538" y="16756"/>
                        <a:pt x="22881" y="16829"/>
                        <a:pt x="22272" y="16829"/>
                      </a:cubicBezTo>
                      <a:cubicBezTo>
                        <a:pt x="21985" y="16829"/>
                        <a:pt x="21708" y="16813"/>
                        <a:pt x="21435" y="16768"/>
                      </a:cubicBezTo>
                      <a:cubicBezTo>
                        <a:pt x="20583" y="16626"/>
                        <a:pt x="19767" y="16235"/>
                        <a:pt x="18968" y="15880"/>
                      </a:cubicBezTo>
                      <a:cubicBezTo>
                        <a:pt x="18099" y="15508"/>
                        <a:pt x="17904" y="14745"/>
                        <a:pt x="18117" y="13929"/>
                      </a:cubicBezTo>
                      <a:cubicBezTo>
                        <a:pt x="18489" y="12562"/>
                        <a:pt x="19820" y="11799"/>
                        <a:pt x="20317" y="10433"/>
                      </a:cubicBezTo>
                      <a:cubicBezTo>
                        <a:pt x="20420" y="10159"/>
                        <a:pt x="20643" y="10069"/>
                        <a:pt x="20926" y="10069"/>
                      </a:cubicBezTo>
                      <a:cubicBezTo>
                        <a:pt x="21466" y="10069"/>
                        <a:pt x="22224" y="10398"/>
                        <a:pt x="22783" y="10398"/>
                      </a:cubicBezTo>
                      <a:cubicBezTo>
                        <a:pt x="23422" y="10398"/>
                        <a:pt x="24078" y="10114"/>
                        <a:pt x="25445" y="9777"/>
                      </a:cubicBezTo>
                      <a:lnTo>
                        <a:pt x="22925" y="8836"/>
                      </a:lnTo>
                      <a:cubicBezTo>
                        <a:pt x="23351" y="8002"/>
                        <a:pt x="23759" y="7435"/>
                        <a:pt x="23972" y="6796"/>
                      </a:cubicBezTo>
                      <a:cubicBezTo>
                        <a:pt x="24489" y="5333"/>
                        <a:pt x="24808" y="4715"/>
                        <a:pt x="25467" y="4715"/>
                      </a:cubicBezTo>
                      <a:cubicBezTo>
                        <a:pt x="25870" y="4715"/>
                        <a:pt x="26401" y="4947"/>
                        <a:pt x="27184" y="5359"/>
                      </a:cubicBezTo>
                      <a:cubicBezTo>
                        <a:pt x="27485" y="5518"/>
                        <a:pt x="27787" y="5713"/>
                        <a:pt x="28177" y="5944"/>
                      </a:cubicBezTo>
                      <a:lnTo>
                        <a:pt x="26012" y="8694"/>
                      </a:lnTo>
                      <a:cubicBezTo>
                        <a:pt x="26754" y="8600"/>
                        <a:pt x="27262" y="8535"/>
                        <a:pt x="27696" y="8535"/>
                      </a:cubicBezTo>
                      <a:cubicBezTo>
                        <a:pt x="28642" y="8535"/>
                        <a:pt x="29231" y="8844"/>
                        <a:pt x="31105" y="9830"/>
                      </a:cubicBezTo>
                      <a:lnTo>
                        <a:pt x="32844" y="8304"/>
                      </a:lnTo>
                      <a:lnTo>
                        <a:pt x="31886" y="7346"/>
                      </a:lnTo>
                      <a:lnTo>
                        <a:pt x="32861" y="5341"/>
                      </a:lnTo>
                      <a:lnTo>
                        <a:pt x="25232" y="2005"/>
                      </a:lnTo>
                      <a:lnTo>
                        <a:pt x="21577" y="2733"/>
                      </a:lnTo>
                      <a:lnTo>
                        <a:pt x="21452" y="2218"/>
                      </a:lnTo>
                      <a:lnTo>
                        <a:pt x="24540" y="1437"/>
                      </a:lnTo>
                      <a:lnTo>
                        <a:pt x="25072" y="0"/>
                      </a:lnTo>
                      <a:close/>
                    </a:path>
                  </a:pathLst>
                </a:custGeom>
                <a:noFill/>
                <a:ln w="9525" cap="flat" cmpd="sng">
                  <a:solidFill>
                    <a:srgbClr val="5F81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124" name="Google Shape;3124;p104"/>
                <p:cNvSpPr/>
                <p:nvPr/>
              </p:nvSpPr>
              <p:spPr>
                <a:xfrm>
                  <a:off x="2215098" y="11844"/>
                  <a:ext cx="361756" cy="403933"/>
                </a:xfrm>
                <a:custGeom>
                  <a:avLst/>
                  <a:gdLst/>
                  <a:ahLst/>
                  <a:cxnLst/>
                  <a:rect l="l" t="t" r="r" b="b"/>
                  <a:pathLst>
                    <a:path w="33022" h="36872" extrusionOk="0">
                      <a:moveTo>
                        <a:pt x="11233" y="0"/>
                      </a:moveTo>
                      <a:cubicBezTo>
                        <a:pt x="10639" y="505"/>
                        <a:pt x="10418" y="1084"/>
                        <a:pt x="9687" y="1084"/>
                      </a:cubicBezTo>
                      <a:cubicBezTo>
                        <a:pt x="9544" y="1084"/>
                        <a:pt x="9381" y="1061"/>
                        <a:pt x="9192" y="1012"/>
                      </a:cubicBezTo>
                      <a:cubicBezTo>
                        <a:pt x="8542" y="845"/>
                        <a:pt x="7805" y="576"/>
                        <a:pt x="7089" y="576"/>
                      </a:cubicBezTo>
                      <a:cubicBezTo>
                        <a:pt x="6437" y="576"/>
                        <a:pt x="5804" y="799"/>
                        <a:pt x="5271" y="1526"/>
                      </a:cubicBezTo>
                      <a:lnTo>
                        <a:pt x="4632" y="231"/>
                      </a:lnTo>
                      <a:cubicBezTo>
                        <a:pt x="3940" y="1030"/>
                        <a:pt x="3780" y="2165"/>
                        <a:pt x="2591" y="2325"/>
                      </a:cubicBezTo>
                      <a:cubicBezTo>
                        <a:pt x="1208" y="2502"/>
                        <a:pt x="2538" y="4649"/>
                        <a:pt x="959" y="4844"/>
                      </a:cubicBezTo>
                      <a:lnTo>
                        <a:pt x="2006" y="8961"/>
                      </a:lnTo>
                      <a:lnTo>
                        <a:pt x="1" y="12190"/>
                      </a:lnTo>
                      <a:cubicBezTo>
                        <a:pt x="1190" y="12935"/>
                        <a:pt x="143" y="14302"/>
                        <a:pt x="640" y="15153"/>
                      </a:cubicBezTo>
                      <a:cubicBezTo>
                        <a:pt x="1882" y="15987"/>
                        <a:pt x="3071" y="16697"/>
                        <a:pt x="4135" y="17531"/>
                      </a:cubicBezTo>
                      <a:cubicBezTo>
                        <a:pt x="5058" y="18276"/>
                        <a:pt x="5732" y="19359"/>
                        <a:pt x="6726" y="19980"/>
                      </a:cubicBezTo>
                      <a:cubicBezTo>
                        <a:pt x="7808" y="20654"/>
                        <a:pt x="9121" y="20973"/>
                        <a:pt x="10044" y="21364"/>
                      </a:cubicBezTo>
                      <a:cubicBezTo>
                        <a:pt x="11250" y="25161"/>
                        <a:pt x="11587" y="28638"/>
                        <a:pt x="10878" y="32152"/>
                      </a:cubicBezTo>
                      <a:cubicBezTo>
                        <a:pt x="11091" y="32506"/>
                        <a:pt x="11623" y="32968"/>
                        <a:pt x="11605" y="33394"/>
                      </a:cubicBezTo>
                      <a:cubicBezTo>
                        <a:pt x="11552" y="34405"/>
                        <a:pt x="11605" y="35416"/>
                        <a:pt x="11783" y="36428"/>
                      </a:cubicBezTo>
                      <a:cubicBezTo>
                        <a:pt x="11800" y="36587"/>
                        <a:pt x="11836" y="36729"/>
                        <a:pt x="11871" y="36871"/>
                      </a:cubicBezTo>
                      <a:cubicBezTo>
                        <a:pt x="12634" y="36712"/>
                        <a:pt x="13379" y="36552"/>
                        <a:pt x="14125" y="36357"/>
                      </a:cubicBezTo>
                      <a:lnTo>
                        <a:pt x="14568" y="36233"/>
                      </a:lnTo>
                      <a:cubicBezTo>
                        <a:pt x="15172" y="34139"/>
                        <a:pt x="15828" y="32045"/>
                        <a:pt x="17798" y="30785"/>
                      </a:cubicBezTo>
                      <a:cubicBezTo>
                        <a:pt x="18543" y="30324"/>
                        <a:pt x="18951" y="29845"/>
                        <a:pt x="19235" y="29117"/>
                      </a:cubicBezTo>
                      <a:cubicBezTo>
                        <a:pt x="19377" y="28763"/>
                        <a:pt x="19465" y="28230"/>
                        <a:pt x="19732" y="28124"/>
                      </a:cubicBezTo>
                      <a:cubicBezTo>
                        <a:pt x="22233" y="27059"/>
                        <a:pt x="23334" y="24930"/>
                        <a:pt x="24008" y="22535"/>
                      </a:cubicBezTo>
                      <a:cubicBezTo>
                        <a:pt x="24345" y="21346"/>
                        <a:pt x="25232" y="20423"/>
                        <a:pt x="26403" y="20051"/>
                      </a:cubicBezTo>
                      <a:cubicBezTo>
                        <a:pt x="28550" y="19447"/>
                        <a:pt x="29065" y="17904"/>
                        <a:pt x="29615" y="16147"/>
                      </a:cubicBezTo>
                      <a:cubicBezTo>
                        <a:pt x="30449" y="13503"/>
                        <a:pt x="30999" y="10735"/>
                        <a:pt x="32844" y="8517"/>
                      </a:cubicBezTo>
                      <a:cubicBezTo>
                        <a:pt x="32933" y="8429"/>
                        <a:pt x="32986" y="8340"/>
                        <a:pt x="33021" y="8216"/>
                      </a:cubicBezTo>
                      <a:cubicBezTo>
                        <a:pt x="33021" y="7683"/>
                        <a:pt x="33021" y="7133"/>
                        <a:pt x="33021" y="6424"/>
                      </a:cubicBezTo>
                      <a:cubicBezTo>
                        <a:pt x="32898" y="6449"/>
                        <a:pt x="32778" y="6461"/>
                        <a:pt x="32662" y="6461"/>
                      </a:cubicBezTo>
                      <a:cubicBezTo>
                        <a:pt x="31610" y="6461"/>
                        <a:pt x="30838" y="5512"/>
                        <a:pt x="29835" y="5512"/>
                      </a:cubicBezTo>
                      <a:cubicBezTo>
                        <a:pt x="29647" y="5512"/>
                        <a:pt x="29450" y="5546"/>
                        <a:pt x="29242" y="5625"/>
                      </a:cubicBezTo>
                      <a:cubicBezTo>
                        <a:pt x="28763" y="5810"/>
                        <a:pt x="28295" y="5881"/>
                        <a:pt x="27833" y="5881"/>
                      </a:cubicBezTo>
                      <a:cubicBezTo>
                        <a:pt x="27010" y="5881"/>
                        <a:pt x="26203" y="5659"/>
                        <a:pt x="25374" y="5465"/>
                      </a:cubicBezTo>
                      <a:cubicBezTo>
                        <a:pt x="25322" y="5454"/>
                        <a:pt x="25270" y="5449"/>
                        <a:pt x="25215" y="5449"/>
                      </a:cubicBezTo>
                      <a:cubicBezTo>
                        <a:pt x="24767" y="5449"/>
                        <a:pt x="24231" y="5812"/>
                        <a:pt x="23582" y="6033"/>
                      </a:cubicBezTo>
                      <a:lnTo>
                        <a:pt x="20637" y="2112"/>
                      </a:lnTo>
                      <a:lnTo>
                        <a:pt x="16467" y="2201"/>
                      </a:lnTo>
                      <a:lnTo>
                        <a:pt x="11233" y="0"/>
                      </a:lnTo>
                      <a:close/>
                    </a:path>
                  </a:pathLst>
                </a:custGeom>
                <a:noFill/>
                <a:ln w="9525" cap="flat" cmpd="sng">
                  <a:solidFill>
                    <a:srgbClr val="5F81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125" name="Google Shape;3125;p104"/>
                <p:cNvSpPr/>
                <p:nvPr/>
              </p:nvSpPr>
              <p:spPr>
                <a:xfrm>
                  <a:off x="2637874" y="-333183"/>
                  <a:ext cx="110229" cy="289442"/>
                </a:xfrm>
                <a:custGeom>
                  <a:avLst/>
                  <a:gdLst/>
                  <a:ahLst/>
                  <a:cxnLst/>
                  <a:rect l="l" t="t" r="r" b="b"/>
                  <a:pathLst>
                    <a:path w="10062" h="26421" extrusionOk="0">
                      <a:moveTo>
                        <a:pt x="2520" y="1"/>
                      </a:moveTo>
                      <a:lnTo>
                        <a:pt x="2254" y="19"/>
                      </a:lnTo>
                      <a:cubicBezTo>
                        <a:pt x="2077" y="515"/>
                        <a:pt x="2041" y="1474"/>
                        <a:pt x="1545" y="1864"/>
                      </a:cubicBezTo>
                      <a:cubicBezTo>
                        <a:pt x="107" y="3035"/>
                        <a:pt x="214" y="4401"/>
                        <a:pt x="586" y="5927"/>
                      </a:cubicBezTo>
                      <a:cubicBezTo>
                        <a:pt x="746" y="6566"/>
                        <a:pt x="1012" y="7311"/>
                        <a:pt x="835" y="7897"/>
                      </a:cubicBezTo>
                      <a:cubicBezTo>
                        <a:pt x="1" y="10523"/>
                        <a:pt x="799" y="13202"/>
                        <a:pt x="72" y="15917"/>
                      </a:cubicBezTo>
                      <a:lnTo>
                        <a:pt x="1686" y="15846"/>
                      </a:lnTo>
                      <a:cubicBezTo>
                        <a:pt x="1811" y="17177"/>
                        <a:pt x="2698" y="18241"/>
                        <a:pt x="1970" y="19590"/>
                      </a:cubicBezTo>
                      <a:cubicBezTo>
                        <a:pt x="1740" y="20051"/>
                        <a:pt x="2024" y="21293"/>
                        <a:pt x="2414" y="21506"/>
                      </a:cubicBezTo>
                      <a:cubicBezTo>
                        <a:pt x="4596" y="22642"/>
                        <a:pt x="4632" y="25587"/>
                        <a:pt x="6885" y="26421"/>
                      </a:cubicBezTo>
                      <a:lnTo>
                        <a:pt x="10061" y="24079"/>
                      </a:lnTo>
                      <a:cubicBezTo>
                        <a:pt x="9973" y="15491"/>
                        <a:pt x="7364" y="7098"/>
                        <a:pt x="2520" y="1"/>
                      </a:cubicBezTo>
                      <a:close/>
                    </a:path>
                  </a:pathLst>
                </a:custGeom>
                <a:noFill/>
                <a:ln w="9525" cap="flat" cmpd="sng">
                  <a:solidFill>
                    <a:srgbClr val="5F81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126" name="Google Shape;3126;p104"/>
                <p:cNvSpPr/>
                <p:nvPr/>
              </p:nvSpPr>
              <p:spPr>
                <a:xfrm>
                  <a:off x="2134042" y="-54389"/>
                  <a:ext cx="90203" cy="22195"/>
                </a:xfrm>
                <a:custGeom>
                  <a:avLst/>
                  <a:gdLst/>
                  <a:ahLst/>
                  <a:cxnLst/>
                  <a:rect l="l" t="t" r="r" b="b"/>
                  <a:pathLst>
                    <a:path w="8234" h="2026" extrusionOk="0">
                      <a:moveTo>
                        <a:pt x="3405" y="1"/>
                      </a:moveTo>
                      <a:cubicBezTo>
                        <a:pt x="2255" y="1"/>
                        <a:pt x="1201" y="655"/>
                        <a:pt x="1" y="919"/>
                      </a:cubicBezTo>
                      <a:cubicBezTo>
                        <a:pt x="371" y="1711"/>
                        <a:pt x="675" y="1974"/>
                        <a:pt x="943" y="1974"/>
                      </a:cubicBezTo>
                      <a:cubicBezTo>
                        <a:pt x="1419" y="1974"/>
                        <a:pt x="1781" y="1142"/>
                        <a:pt x="2201" y="972"/>
                      </a:cubicBezTo>
                      <a:cubicBezTo>
                        <a:pt x="2266" y="967"/>
                        <a:pt x="2330" y="964"/>
                        <a:pt x="2394" y="964"/>
                      </a:cubicBezTo>
                      <a:cubicBezTo>
                        <a:pt x="3717" y="964"/>
                        <a:pt x="4976" y="2025"/>
                        <a:pt x="6356" y="2025"/>
                      </a:cubicBezTo>
                      <a:cubicBezTo>
                        <a:pt x="6954" y="2025"/>
                        <a:pt x="7575" y="1826"/>
                        <a:pt x="8234" y="1256"/>
                      </a:cubicBezTo>
                      <a:cubicBezTo>
                        <a:pt x="7932" y="936"/>
                        <a:pt x="7684" y="440"/>
                        <a:pt x="7400" y="422"/>
                      </a:cubicBezTo>
                      <a:cubicBezTo>
                        <a:pt x="7374" y="421"/>
                        <a:pt x="7348" y="420"/>
                        <a:pt x="7322" y="420"/>
                      </a:cubicBezTo>
                      <a:cubicBezTo>
                        <a:pt x="6763" y="420"/>
                        <a:pt x="6090" y="679"/>
                        <a:pt x="5591" y="679"/>
                      </a:cubicBezTo>
                      <a:cubicBezTo>
                        <a:pt x="5418" y="679"/>
                        <a:pt x="5266" y="648"/>
                        <a:pt x="5147" y="564"/>
                      </a:cubicBezTo>
                      <a:cubicBezTo>
                        <a:pt x="4527" y="150"/>
                        <a:pt x="3955" y="1"/>
                        <a:pt x="3405" y="1"/>
                      </a:cubicBezTo>
                      <a:close/>
                    </a:path>
                  </a:pathLst>
                </a:custGeom>
                <a:noFill/>
                <a:ln w="9525" cap="flat" cmpd="sng">
                  <a:solidFill>
                    <a:srgbClr val="5F81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127" name="Google Shape;3127;p104"/>
                <p:cNvSpPr/>
                <p:nvPr/>
              </p:nvSpPr>
              <p:spPr>
                <a:xfrm>
                  <a:off x="2238816" y="-47827"/>
                  <a:ext cx="72325" cy="27026"/>
                </a:xfrm>
                <a:custGeom>
                  <a:avLst/>
                  <a:gdLst/>
                  <a:ahLst/>
                  <a:cxnLst/>
                  <a:rect l="l" t="t" r="r" b="b"/>
                  <a:pathLst>
                    <a:path w="6602" h="2467" extrusionOk="0">
                      <a:moveTo>
                        <a:pt x="6601" y="0"/>
                      </a:moveTo>
                      <a:cubicBezTo>
                        <a:pt x="4188" y="231"/>
                        <a:pt x="2254" y="391"/>
                        <a:pt x="338" y="604"/>
                      </a:cubicBezTo>
                      <a:cubicBezTo>
                        <a:pt x="231" y="621"/>
                        <a:pt x="160" y="976"/>
                        <a:pt x="1" y="1384"/>
                      </a:cubicBezTo>
                      <a:lnTo>
                        <a:pt x="1438" y="2467"/>
                      </a:lnTo>
                      <a:cubicBezTo>
                        <a:pt x="2573" y="621"/>
                        <a:pt x="4862" y="1491"/>
                        <a:pt x="6601" y="0"/>
                      </a:cubicBezTo>
                      <a:close/>
                    </a:path>
                  </a:pathLst>
                </a:custGeom>
                <a:noFill/>
                <a:ln w="9525" cap="flat" cmpd="sng">
                  <a:solidFill>
                    <a:srgbClr val="5F81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sp>
            <p:nvSpPr>
              <p:cNvPr id="3128" name="Google Shape;3128;p104"/>
              <p:cNvSpPr/>
              <p:nvPr/>
            </p:nvSpPr>
            <p:spPr>
              <a:xfrm>
                <a:off x="2128411" y="-546641"/>
                <a:ext cx="194386" cy="108115"/>
              </a:xfrm>
              <a:custGeom>
                <a:avLst/>
                <a:gdLst/>
                <a:ahLst/>
                <a:cxnLst/>
                <a:rect l="l" t="t" r="r" b="b"/>
                <a:pathLst>
                  <a:path w="17744" h="9869" extrusionOk="0">
                    <a:moveTo>
                      <a:pt x="11775" y="1"/>
                    </a:moveTo>
                    <a:cubicBezTo>
                      <a:pt x="7969" y="1"/>
                      <a:pt x="4175" y="474"/>
                      <a:pt x="479" y="1405"/>
                    </a:cubicBezTo>
                    <a:lnTo>
                      <a:pt x="0" y="1530"/>
                    </a:lnTo>
                    <a:cubicBezTo>
                      <a:pt x="266" y="1749"/>
                      <a:pt x="570" y="1886"/>
                      <a:pt x="955" y="1886"/>
                    </a:cubicBezTo>
                    <a:cubicBezTo>
                      <a:pt x="1161" y="1886"/>
                      <a:pt x="1391" y="1847"/>
                      <a:pt x="1651" y="1760"/>
                    </a:cubicBezTo>
                    <a:cubicBezTo>
                      <a:pt x="2029" y="1630"/>
                      <a:pt x="2392" y="1564"/>
                      <a:pt x="2739" y="1564"/>
                    </a:cubicBezTo>
                    <a:cubicBezTo>
                      <a:pt x="3580" y="1564"/>
                      <a:pt x="4337" y="1950"/>
                      <a:pt x="5040" y="2754"/>
                    </a:cubicBezTo>
                    <a:cubicBezTo>
                      <a:pt x="5749" y="3588"/>
                      <a:pt x="7204" y="3428"/>
                      <a:pt x="7967" y="4422"/>
                    </a:cubicBezTo>
                    <a:cubicBezTo>
                      <a:pt x="8017" y="4486"/>
                      <a:pt x="8125" y="4504"/>
                      <a:pt x="8257" y="4504"/>
                    </a:cubicBezTo>
                    <a:cubicBezTo>
                      <a:pt x="8429" y="4504"/>
                      <a:pt x="8642" y="4473"/>
                      <a:pt x="8821" y="4473"/>
                    </a:cubicBezTo>
                    <a:cubicBezTo>
                      <a:pt x="8844" y="4473"/>
                      <a:pt x="8868" y="4474"/>
                      <a:pt x="8890" y="4475"/>
                    </a:cubicBezTo>
                    <a:lnTo>
                      <a:pt x="8233" y="6054"/>
                    </a:lnTo>
                    <a:cubicBezTo>
                      <a:pt x="9475" y="6533"/>
                      <a:pt x="11019" y="6640"/>
                      <a:pt x="11605" y="7420"/>
                    </a:cubicBezTo>
                    <a:cubicBezTo>
                      <a:pt x="13095" y="9479"/>
                      <a:pt x="15065" y="9745"/>
                      <a:pt x="17744" y="9869"/>
                    </a:cubicBezTo>
                    <a:cubicBezTo>
                      <a:pt x="17105" y="8982"/>
                      <a:pt x="16271" y="8325"/>
                      <a:pt x="16342" y="7828"/>
                    </a:cubicBezTo>
                    <a:cubicBezTo>
                      <a:pt x="16502" y="6888"/>
                      <a:pt x="16892" y="6125"/>
                      <a:pt x="15632" y="5717"/>
                    </a:cubicBezTo>
                    <a:lnTo>
                      <a:pt x="16857" y="4706"/>
                    </a:lnTo>
                    <a:lnTo>
                      <a:pt x="16484" y="3215"/>
                    </a:lnTo>
                    <a:cubicBezTo>
                      <a:pt x="16786" y="3073"/>
                      <a:pt x="17123" y="3002"/>
                      <a:pt x="17336" y="2772"/>
                    </a:cubicBezTo>
                    <a:cubicBezTo>
                      <a:pt x="17531" y="2559"/>
                      <a:pt x="17549" y="2222"/>
                      <a:pt x="17744" y="1689"/>
                    </a:cubicBezTo>
                    <a:cubicBezTo>
                      <a:pt x="16928" y="1441"/>
                      <a:pt x="16218" y="1281"/>
                      <a:pt x="15579" y="660"/>
                    </a:cubicBezTo>
                    <a:cubicBezTo>
                      <a:pt x="15384" y="465"/>
                      <a:pt x="15171" y="270"/>
                      <a:pt x="14940" y="110"/>
                    </a:cubicBezTo>
                    <a:cubicBezTo>
                      <a:pt x="13885" y="37"/>
                      <a:pt x="12830" y="1"/>
                      <a:pt x="11775" y="1"/>
                    </a:cubicBezTo>
                    <a:close/>
                  </a:path>
                </a:pathLst>
              </a:custGeom>
              <a:noFill/>
              <a:ln w="9525" cap="flat" cmpd="sng">
                <a:solidFill>
                  <a:srgbClr val="5F81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129" name="Google Shape;3129;p104"/>
              <p:cNvSpPr/>
              <p:nvPr/>
            </p:nvSpPr>
            <p:spPr>
              <a:xfrm>
                <a:off x="2511333" y="-459604"/>
                <a:ext cx="149109" cy="146063"/>
              </a:xfrm>
              <a:custGeom>
                <a:avLst/>
                <a:gdLst/>
                <a:ahLst/>
                <a:cxnLst/>
                <a:rect l="l" t="t" r="r" b="b"/>
                <a:pathLst>
                  <a:path w="13611" h="13333" extrusionOk="0">
                    <a:moveTo>
                      <a:pt x="1947" y="1"/>
                    </a:moveTo>
                    <a:cubicBezTo>
                      <a:pt x="1321" y="1"/>
                      <a:pt x="678" y="263"/>
                      <a:pt x="1" y="842"/>
                    </a:cubicBezTo>
                    <a:lnTo>
                      <a:pt x="1420" y="2634"/>
                    </a:lnTo>
                    <a:lnTo>
                      <a:pt x="5856" y="2829"/>
                    </a:lnTo>
                    <a:lnTo>
                      <a:pt x="5342" y="5224"/>
                    </a:lnTo>
                    <a:lnTo>
                      <a:pt x="8802" y="7105"/>
                    </a:lnTo>
                    <a:lnTo>
                      <a:pt x="7453" y="8702"/>
                    </a:lnTo>
                    <a:lnTo>
                      <a:pt x="9884" y="12925"/>
                    </a:lnTo>
                    <a:lnTo>
                      <a:pt x="12386" y="13333"/>
                    </a:lnTo>
                    <a:cubicBezTo>
                      <a:pt x="11889" y="12109"/>
                      <a:pt x="13610" y="10813"/>
                      <a:pt x="11694" y="9891"/>
                    </a:cubicBezTo>
                    <a:cubicBezTo>
                      <a:pt x="11605" y="9181"/>
                      <a:pt x="11232" y="8436"/>
                      <a:pt x="11179" y="7726"/>
                    </a:cubicBezTo>
                    <a:cubicBezTo>
                      <a:pt x="8713" y="4852"/>
                      <a:pt x="5892" y="2297"/>
                      <a:pt x="2769" y="150"/>
                    </a:cubicBezTo>
                    <a:cubicBezTo>
                      <a:pt x="2497" y="52"/>
                      <a:pt x="2224" y="1"/>
                      <a:pt x="1947" y="1"/>
                    </a:cubicBezTo>
                    <a:close/>
                  </a:path>
                </a:pathLst>
              </a:custGeom>
              <a:noFill/>
              <a:ln w="9525" cap="flat" cmpd="sng">
                <a:solidFill>
                  <a:srgbClr val="5F81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130" name="Google Shape;3130;p104"/>
              <p:cNvSpPr/>
              <p:nvPr/>
            </p:nvSpPr>
            <p:spPr>
              <a:xfrm>
                <a:off x="2278079" y="-341148"/>
                <a:ext cx="40051" cy="28001"/>
              </a:xfrm>
              <a:custGeom>
                <a:avLst/>
                <a:gdLst/>
                <a:ahLst/>
                <a:cxnLst/>
                <a:rect l="l" t="t" r="r" b="b"/>
                <a:pathLst>
                  <a:path w="3656" h="2556" extrusionOk="0">
                    <a:moveTo>
                      <a:pt x="498" y="0"/>
                    </a:moveTo>
                    <a:cubicBezTo>
                      <a:pt x="444" y="426"/>
                      <a:pt x="373" y="852"/>
                      <a:pt x="302" y="1278"/>
                    </a:cubicBezTo>
                    <a:cubicBezTo>
                      <a:pt x="231" y="1686"/>
                      <a:pt x="107" y="2076"/>
                      <a:pt x="1" y="2555"/>
                    </a:cubicBezTo>
                    <a:lnTo>
                      <a:pt x="3656" y="2467"/>
                    </a:lnTo>
                    <a:lnTo>
                      <a:pt x="3319" y="1100"/>
                    </a:lnTo>
                    <a:lnTo>
                      <a:pt x="498" y="0"/>
                    </a:lnTo>
                    <a:close/>
                  </a:path>
                </a:pathLst>
              </a:custGeom>
              <a:noFill/>
              <a:ln w="9525" cap="flat" cmpd="sng">
                <a:solidFill>
                  <a:srgbClr val="5F81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131" name="Google Shape;3131;p104"/>
              <p:cNvSpPr/>
              <p:nvPr/>
            </p:nvSpPr>
            <p:spPr>
              <a:xfrm>
                <a:off x="2357973" y="-515102"/>
                <a:ext cx="46077" cy="20902"/>
              </a:xfrm>
              <a:custGeom>
                <a:avLst/>
                <a:gdLst/>
                <a:ahLst/>
                <a:cxnLst/>
                <a:rect l="l" t="t" r="r" b="b"/>
                <a:pathLst>
                  <a:path w="4206" h="1908" extrusionOk="0">
                    <a:moveTo>
                      <a:pt x="2533" y="1"/>
                    </a:moveTo>
                    <a:cubicBezTo>
                      <a:pt x="1985" y="1"/>
                      <a:pt x="1354" y="226"/>
                      <a:pt x="0" y="709"/>
                    </a:cubicBezTo>
                    <a:cubicBezTo>
                      <a:pt x="1204" y="1500"/>
                      <a:pt x="1825" y="1908"/>
                      <a:pt x="2340" y="1908"/>
                    </a:cubicBezTo>
                    <a:cubicBezTo>
                      <a:pt x="2889" y="1908"/>
                      <a:pt x="3319" y="1447"/>
                      <a:pt x="4206" y="496"/>
                    </a:cubicBezTo>
                    <a:cubicBezTo>
                      <a:pt x="3427" y="173"/>
                      <a:pt x="3012" y="1"/>
                      <a:pt x="2533" y="1"/>
                    </a:cubicBezTo>
                    <a:close/>
                  </a:path>
                </a:pathLst>
              </a:custGeom>
              <a:noFill/>
              <a:ln w="9525" cap="flat" cmpd="sng">
                <a:solidFill>
                  <a:srgbClr val="5F81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sp>
          <p:nvSpPr>
            <p:cNvPr id="3132" name="Google Shape;3132;p104"/>
            <p:cNvSpPr/>
            <p:nvPr/>
          </p:nvSpPr>
          <p:spPr>
            <a:xfrm>
              <a:off x="6644304" y="3073628"/>
              <a:ext cx="576302" cy="511871"/>
            </a:xfrm>
            <a:custGeom>
              <a:avLst/>
              <a:gdLst/>
              <a:ahLst/>
              <a:cxnLst/>
              <a:rect l="l" t="t" r="r" b="b"/>
              <a:pathLst>
                <a:path w="99879" h="88751" extrusionOk="0">
                  <a:moveTo>
                    <a:pt x="50483" y="1"/>
                  </a:moveTo>
                  <a:cubicBezTo>
                    <a:pt x="46751" y="1"/>
                    <a:pt x="42953" y="456"/>
                    <a:pt x="39160" y="1409"/>
                  </a:cubicBezTo>
                  <a:cubicBezTo>
                    <a:pt x="14870" y="7513"/>
                    <a:pt x="1" y="31697"/>
                    <a:pt x="5963" y="55420"/>
                  </a:cubicBezTo>
                  <a:cubicBezTo>
                    <a:pt x="10993" y="75452"/>
                    <a:pt x="29236" y="88750"/>
                    <a:pt x="49406" y="88750"/>
                  </a:cubicBezTo>
                  <a:cubicBezTo>
                    <a:pt x="53141" y="88750"/>
                    <a:pt x="56941" y="88294"/>
                    <a:pt x="60736" y="87341"/>
                  </a:cubicBezTo>
                  <a:cubicBezTo>
                    <a:pt x="85027" y="81237"/>
                    <a:pt x="99878" y="57053"/>
                    <a:pt x="93917" y="33330"/>
                  </a:cubicBezTo>
                  <a:cubicBezTo>
                    <a:pt x="88901" y="13311"/>
                    <a:pt x="70655" y="1"/>
                    <a:pt x="50483" y="1"/>
                  </a:cubicBezTo>
                  <a:close/>
                </a:path>
              </a:pathLst>
            </a:custGeom>
            <a:noFill/>
            <a:ln w="9525" cap="flat" cmpd="sng">
              <a:solidFill>
                <a:srgbClr val="E3E9ED"/>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3133" name="Google Shape;3133;p104"/>
          <p:cNvGrpSpPr/>
          <p:nvPr/>
        </p:nvGrpSpPr>
        <p:grpSpPr>
          <a:xfrm>
            <a:off x="8954300" y="4952191"/>
            <a:ext cx="747515" cy="688663"/>
            <a:chOff x="6652051" y="3714143"/>
            <a:chExt cx="560636" cy="516497"/>
          </a:xfrm>
        </p:grpSpPr>
        <p:grpSp>
          <p:nvGrpSpPr>
            <p:cNvPr id="3134" name="Google Shape;3134;p104"/>
            <p:cNvGrpSpPr/>
            <p:nvPr/>
          </p:nvGrpSpPr>
          <p:grpSpPr>
            <a:xfrm>
              <a:off x="6669657" y="3716715"/>
              <a:ext cx="466768" cy="464314"/>
              <a:chOff x="3139766" y="765669"/>
              <a:chExt cx="886380" cy="881888"/>
            </a:xfrm>
          </p:grpSpPr>
          <p:grpSp>
            <p:nvGrpSpPr>
              <p:cNvPr id="3135" name="Google Shape;3135;p104"/>
              <p:cNvGrpSpPr/>
              <p:nvPr/>
            </p:nvGrpSpPr>
            <p:grpSpPr>
              <a:xfrm>
                <a:off x="3139766" y="765669"/>
                <a:ext cx="886380" cy="881888"/>
                <a:chOff x="3139766" y="765669"/>
                <a:chExt cx="886380" cy="881888"/>
              </a:xfrm>
            </p:grpSpPr>
            <p:sp>
              <p:nvSpPr>
                <p:cNvPr id="3136" name="Google Shape;3136;p104"/>
                <p:cNvSpPr/>
                <p:nvPr/>
              </p:nvSpPr>
              <p:spPr>
                <a:xfrm>
                  <a:off x="3139766" y="765669"/>
                  <a:ext cx="733591" cy="881888"/>
                </a:xfrm>
                <a:custGeom>
                  <a:avLst/>
                  <a:gdLst/>
                  <a:ahLst/>
                  <a:cxnLst/>
                  <a:rect l="l" t="t" r="r" b="b"/>
                  <a:pathLst>
                    <a:path w="66964" h="80501" extrusionOk="0">
                      <a:moveTo>
                        <a:pt x="45863" y="0"/>
                      </a:moveTo>
                      <a:cubicBezTo>
                        <a:pt x="43461" y="0"/>
                        <a:pt x="41054" y="188"/>
                        <a:pt x="38663" y="566"/>
                      </a:cubicBezTo>
                      <a:cubicBezTo>
                        <a:pt x="20352" y="3441"/>
                        <a:pt x="6281" y="16660"/>
                        <a:pt x="1757" y="33161"/>
                      </a:cubicBezTo>
                      <a:lnTo>
                        <a:pt x="4081" y="32487"/>
                      </a:lnTo>
                      <a:lnTo>
                        <a:pt x="4081" y="32487"/>
                      </a:lnTo>
                      <a:cubicBezTo>
                        <a:pt x="4756" y="33871"/>
                        <a:pt x="3939" y="34971"/>
                        <a:pt x="3496" y="36213"/>
                      </a:cubicBezTo>
                      <a:cubicBezTo>
                        <a:pt x="3088" y="37384"/>
                        <a:pt x="2129" y="37207"/>
                        <a:pt x="1384" y="37295"/>
                      </a:cubicBezTo>
                      <a:cubicBezTo>
                        <a:pt x="1207" y="37313"/>
                        <a:pt x="1012" y="37348"/>
                        <a:pt x="816" y="37366"/>
                      </a:cubicBezTo>
                      <a:cubicBezTo>
                        <a:pt x="36" y="41997"/>
                        <a:pt x="0" y="46717"/>
                        <a:pt x="728" y="51348"/>
                      </a:cubicBezTo>
                      <a:cubicBezTo>
                        <a:pt x="2644" y="63591"/>
                        <a:pt x="9528" y="73847"/>
                        <a:pt x="19057" y="80501"/>
                      </a:cubicBezTo>
                      <a:cubicBezTo>
                        <a:pt x="18897" y="80217"/>
                        <a:pt x="18737" y="79950"/>
                        <a:pt x="18560" y="79684"/>
                      </a:cubicBezTo>
                      <a:cubicBezTo>
                        <a:pt x="18099" y="79010"/>
                        <a:pt x="17069" y="77928"/>
                        <a:pt x="17194" y="77768"/>
                      </a:cubicBezTo>
                      <a:cubicBezTo>
                        <a:pt x="18081" y="76703"/>
                        <a:pt x="16094" y="76632"/>
                        <a:pt x="16626" y="75834"/>
                      </a:cubicBezTo>
                      <a:cubicBezTo>
                        <a:pt x="15206" y="74876"/>
                        <a:pt x="14816" y="73652"/>
                        <a:pt x="15277" y="71948"/>
                      </a:cubicBezTo>
                      <a:cubicBezTo>
                        <a:pt x="15455" y="71292"/>
                        <a:pt x="15100" y="70529"/>
                        <a:pt x="14426" y="69854"/>
                      </a:cubicBezTo>
                      <a:cubicBezTo>
                        <a:pt x="13468" y="68896"/>
                        <a:pt x="12811" y="67601"/>
                        <a:pt x="12101" y="66394"/>
                      </a:cubicBezTo>
                      <a:cubicBezTo>
                        <a:pt x="11782" y="65862"/>
                        <a:pt x="11338" y="65152"/>
                        <a:pt x="11463" y="64620"/>
                      </a:cubicBezTo>
                      <a:cubicBezTo>
                        <a:pt x="11871" y="62739"/>
                        <a:pt x="12172" y="60734"/>
                        <a:pt x="13095" y="59102"/>
                      </a:cubicBezTo>
                      <a:cubicBezTo>
                        <a:pt x="14337" y="56919"/>
                        <a:pt x="14284" y="54914"/>
                        <a:pt x="13343" y="51969"/>
                      </a:cubicBezTo>
                      <a:lnTo>
                        <a:pt x="13343" y="51969"/>
                      </a:lnTo>
                      <a:cubicBezTo>
                        <a:pt x="12811" y="53619"/>
                        <a:pt x="11888" y="53229"/>
                        <a:pt x="11090" y="53353"/>
                      </a:cubicBezTo>
                      <a:cubicBezTo>
                        <a:pt x="10814" y="53401"/>
                        <a:pt x="10612" y="53439"/>
                        <a:pt x="10447" y="53439"/>
                      </a:cubicBezTo>
                      <a:cubicBezTo>
                        <a:pt x="9997" y="53439"/>
                        <a:pt x="9823" y="53151"/>
                        <a:pt x="9174" y="51969"/>
                      </a:cubicBezTo>
                      <a:cubicBezTo>
                        <a:pt x="7861" y="50763"/>
                        <a:pt x="6619" y="49485"/>
                        <a:pt x="5447" y="48136"/>
                      </a:cubicBezTo>
                      <a:cubicBezTo>
                        <a:pt x="5270" y="47853"/>
                        <a:pt x="5146" y="47551"/>
                        <a:pt x="5110" y="47214"/>
                      </a:cubicBezTo>
                      <a:cubicBezTo>
                        <a:pt x="4862" y="45759"/>
                        <a:pt x="4649" y="44304"/>
                        <a:pt x="4773" y="42796"/>
                      </a:cubicBezTo>
                      <a:lnTo>
                        <a:pt x="4773" y="42796"/>
                      </a:lnTo>
                      <a:lnTo>
                        <a:pt x="9653" y="51756"/>
                      </a:lnTo>
                      <a:cubicBezTo>
                        <a:pt x="11924" y="50745"/>
                        <a:pt x="13680" y="49201"/>
                        <a:pt x="15650" y="47995"/>
                      </a:cubicBezTo>
                      <a:cubicBezTo>
                        <a:pt x="17034" y="47161"/>
                        <a:pt x="17584" y="45954"/>
                        <a:pt x="18045" y="44606"/>
                      </a:cubicBezTo>
                      <a:cubicBezTo>
                        <a:pt x="18205" y="44109"/>
                        <a:pt x="18329" y="43594"/>
                        <a:pt x="18436" y="43080"/>
                      </a:cubicBezTo>
                      <a:lnTo>
                        <a:pt x="15597" y="40542"/>
                      </a:lnTo>
                      <a:lnTo>
                        <a:pt x="15224" y="41749"/>
                      </a:lnTo>
                      <a:cubicBezTo>
                        <a:pt x="14000" y="41092"/>
                        <a:pt x="12793" y="40507"/>
                        <a:pt x="11640" y="39833"/>
                      </a:cubicBezTo>
                      <a:cubicBezTo>
                        <a:pt x="10593" y="39212"/>
                        <a:pt x="10433" y="38395"/>
                        <a:pt x="11374" y="37082"/>
                      </a:cubicBezTo>
                      <a:lnTo>
                        <a:pt x="11374" y="37082"/>
                      </a:lnTo>
                      <a:cubicBezTo>
                        <a:pt x="12448" y="38789"/>
                        <a:pt x="13681" y="39825"/>
                        <a:pt x="15346" y="39825"/>
                      </a:cubicBezTo>
                      <a:cubicBezTo>
                        <a:pt x="15689" y="39825"/>
                        <a:pt x="16049" y="39781"/>
                        <a:pt x="16431" y="39691"/>
                      </a:cubicBezTo>
                      <a:cubicBezTo>
                        <a:pt x="16437" y="39689"/>
                        <a:pt x="16444" y="39688"/>
                        <a:pt x="16450" y="39688"/>
                      </a:cubicBezTo>
                      <a:cubicBezTo>
                        <a:pt x="16592" y="39688"/>
                        <a:pt x="16795" y="40029"/>
                        <a:pt x="16998" y="40063"/>
                      </a:cubicBezTo>
                      <a:cubicBezTo>
                        <a:pt x="17810" y="40257"/>
                        <a:pt x="18605" y="40492"/>
                        <a:pt x="19428" y="40492"/>
                      </a:cubicBezTo>
                      <a:cubicBezTo>
                        <a:pt x="19811" y="40492"/>
                        <a:pt x="20200" y="40441"/>
                        <a:pt x="20600" y="40312"/>
                      </a:cubicBezTo>
                      <a:cubicBezTo>
                        <a:pt x="21150" y="40152"/>
                        <a:pt x="21718" y="40045"/>
                        <a:pt x="22304" y="40010"/>
                      </a:cubicBezTo>
                      <a:cubicBezTo>
                        <a:pt x="24003" y="41489"/>
                        <a:pt x="25144" y="42940"/>
                        <a:pt x="27015" y="42940"/>
                      </a:cubicBezTo>
                      <a:cubicBezTo>
                        <a:pt x="27253" y="42940"/>
                        <a:pt x="27504" y="42917"/>
                        <a:pt x="27769" y="42867"/>
                      </a:cubicBezTo>
                      <a:cubicBezTo>
                        <a:pt x="27999" y="44251"/>
                        <a:pt x="27875" y="45564"/>
                        <a:pt x="28407" y="46486"/>
                      </a:cubicBezTo>
                      <a:cubicBezTo>
                        <a:pt x="29614" y="48616"/>
                        <a:pt x="31158" y="50532"/>
                        <a:pt x="32701" y="52732"/>
                      </a:cubicBezTo>
                      <a:lnTo>
                        <a:pt x="34600" y="50425"/>
                      </a:lnTo>
                      <a:lnTo>
                        <a:pt x="34103" y="47196"/>
                      </a:lnTo>
                      <a:cubicBezTo>
                        <a:pt x="34972" y="46096"/>
                        <a:pt x="36268" y="45173"/>
                        <a:pt x="36286" y="44251"/>
                      </a:cubicBezTo>
                      <a:cubicBezTo>
                        <a:pt x="36303" y="42707"/>
                        <a:pt x="38503" y="42955"/>
                        <a:pt x="38202" y="41394"/>
                      </a:cubicBezTo>
                      <a:cubicBezTo>
                        <a:pt x="38184" y="41305"/>
                        <a:pt x="39604" y="40986"/>
                        <a:pt x="40313" y="40702"/>
                      </a:cubicBezTo>
                      <a:cubicBezTo>
                        <a:pt x="40650" y="40560"/>
                        <a:pt x="40899" y="40223"/>
                        <a:pt x="41378" y="39797"/>
                      </a:cubicBezTo>
                      <a:lnTo>
                        <a:pt x="44785" y="44978"/>
                      </a:lnTo>
                      <a:lnTo>
                        <a:pt x="46630" y="43914"/>
                      </a:lnTo>
                      <a:cubicBezTo>
                        <a:pt x="47553" y="45102"/>
                        <a:pt x="46754" y="46699"/>
                        <a:pt x="48067" y="47480"/>
                      </a:cubicBezTo>
                      <a:cubicBezTo>
                        <a:pt x="47020" y="50124"/>
                        <a:pt x="48741" y="51508"/>
                        <a:pt x="50445" y="52980"/>
                      </a:cubicBezTo>
                      <a:cubicBezTo>
                        <a:pt x="50764" y="53247"/>
                        <a:pt x="50640" y="54010"/>
                        <a:pt x="50746" y="54684"/>
                      </a:cubicBezTo>
                      <a:cubicBezTo>
                        <a:pt x="49546" y="54279"/>
                        <a:pt x="48739" y="53108"/>
                        <a:pt x="47515" y="53108"/>
                      </a:cubicBezTo>
                      <a:cubicBezTo>
                        <a:pt x="47074" y="53108"/>
                        <a:pt x="46579" y="53260"/>
                        <a:pt x="45991" y="53655"/>
                      </a:cubicBezTo>
                      <a:cubicBezTo>
                        <a:pt x="46130" y="53637"/>
                        <a:pt x="46261" y="53629"/>
                        <a:pt x="46385" y="53629"/>
                      </a:cubicBezTo>
                      <a:cubicBezTo>
                        <a:pt x="47902" y="53629"/>
                        <a:pt x="48314" y="54868"/>
                        <a:pt x="48954" y="55606"/>
                      </a:cubicBezTo>
                      <a:cubicBezTo>
                        <a:pt x="49646" y="56387"/>
                        <a:pt x="51119" y="56937"/>
                        <a:pt x="50782" y="58712"/>
                      </a:cubicBezTo>
                      <a:cubicBezTo>
                        <a:pt x="50925" y="58653"/>
                        <a:pt x="51063" y="58628"/>
                        <a:pt x="51196" y="58628"/>
                      </a:cubicBezTo>
                      <a:cubicBezTo>
                        <a:pt x="52116" y="58628"/>
                        <a:pt x="52822" y="59846"/>
                        <a:pt x="53828" y="59846"/>
                      </a:cubicBezTo>
                      <a:cubicBezTo>
                        <a:pt x="54135" y="59846"/>
                        <a:pt x="54469" y="59733"/>
                        <a:pt x="54845" y="59439"/>
                      </a:cubicBezTo>
                      <a:lnTo>
                        <a:pt x="55431" y="57026"/>
                      </a:lnTo>
                      <a:cubicBezTo>
                        <a:pt x="55147" y="56955"/>
                        <a:pt x="54863" y="56902"/>
                        <a:pt x="54579" y="56849"/>
                      </a:cubicBezTo>
                      <a:cubicBezTo>
                        <a:pt x="53053" y="56760"/>
                        <a:pt x="51385" y="55819"/>
                        <a:pt x="51793" y="55269"/>
                      </a:cubicBezTo>
                      <a:lnTo>
                        <a:pt x="52787" y="54844"/>
                      </a:lnTo>
                      <a:lnTo>
                        <a:pt x="52414" y="52501"/>
                      </a:lnTo>
                      <a:cubicBezTo>
                        <a:pt x="48866" y="49893"/>
                        <a:pt x="48440" y="48917"/>
                        <a:pt x="49770" y="46291"/>
                      </a:cubicBezTo>
                      <a:lnTo>
                        <a:pt x="49770" y="46291"/>
                      </a:lnTo>
                      <a:cubicBezTo>
                        <a:pt x="50462" y="46859"/>
                        <a:pt x="51208" y="47338"/>
                        <a:pt x="51775" y="47977"/>
                      </a:cubicBezTo>
                      <a:cubicBezTo>
                        <a:pt x="52326" y="48562"/>
                        <a:pt x="52698" y="49325"/>
                        <a:pt x="53088" y="49929"/>
                      </a:cubicBezTo>
                      <a:lnTo>
                        <a:pt x="55821" y="46948"/>
                      </a:lnTo>
                      <a:lnTo>
                        <a:pt x="55200" y="42955"/>
                      </a:lnTo>
                      <a:lnTo>
                        <a:pt x="52805" y="41447"/>
                      </a:lnTo>
                      <a:lnTo>
                        <a:pt x="53585" y="38253"/>
                      </a:lnTo>
                      <a:lnTo>
                        <a:pt x="55111" y="39229"/>
                      </a:lnTo>
                      <a:cubicBezTo>
                        <a:pt x="55111" y="40045"/>
                        <a:pt x="55111" y="40542"/>
                        <a:pt x="55111" y="41039"/>
                      </a:cubicBezTo>
                      <a:lnTo>
                        <a:pt x="56300" y="41021"/>
                      </a:lnTo>
                      <a:lnTo>
                        <a:pt x="56034" y="38466"/>
                      </a:lnTo>
                      <a:cubicBezTo>
                        <a:pt x="59778" y="37011"/>
                        <a:pt x="60754" y="35876"/>
                        <a:pt x="62546" y="30925"/>
                      </a:cubicBezTo>
                      <a:lnTo>
                        <a:pt x="59370" y="25407"/>
                      </a:lnTo>
                      <a:lnTo>
                        <a:pt x="60754" y="24609"/>
                      </a:lnTo>
                      <a:cubicBezTo>
                        <a:pt x="60620" y="24079"/>
                        <a:pt x="60336" y="23926"/>
                        <a:pt x="59999" y="23926"/>
                      </a:cubicBezTo>
                      <a:cubicBezTo>
                        <a:pt x="59536" y="23926"/>
                        <a:pt x="58975" y="24215"/>
                        <a:pt x="58567" y="24215"/>
                      </a:cubicBezTo>
                      <a:cubicBezTo>
                        <a:pt x="58326" y="24215"/>
                        <a:pt x="58138" y="24114"/>
                        <a:pt x="58057" y="23792"/>
                      </a:cubicBezTo>
                      <a:lnTo>
                        <a:pt x="59316" y="21344"/>
                      </a:lnTo>
                      <a:lnTo>
                        <a:pt x="60062" y="22692"/>
                      </a:lnTo>
                      <a:lnTo>
                        <a:pt x="61286" y="21858"/>
                      </a:lnTo>
                      <a:lnTo>
                        <a:pt x="63504" y="23775"/>
                      </a:lnTo>
                      <a:lnTo>
                        <a:pt x="64178" y="27040"/>
                      </a:lnTo>
                      <a:cubicBezTo>
                        <a:pt x="64959" y="25993"/>
                        <a:pt x="65598" y="25478"/>
                        <a:pt x="65775" y="24822"/>
                      </a:cubicBezTo>
                      <a:cubicBezTo>
                        <a:pt x="66201" y="23367"/>
                        <a:pt x="64356" y="23225"/>
                        <a:pt x="64089" y="22515"/>
                      </a:cubicBezTo>
                      <a:lnTo>
                        <a:pt x="64444" y="18647"/>
                      </a:lnTo>
                      <a:cubicBezTo>
                        <a:pt x="66520" y="17955"/>
                        <a:pt x="66538" y="17902"/>
                        <a:pt x="66609" y="16305"/>
                      </a:cubicBezTo>
                      <a:cubicBezTo>
                        <a:pt x="66698" y="14229"/>
                        <a:pt x="66840" y="12171"/>
                        <a:pt x="66964" y="10059"/>
                      </a:cubicBezTo>
                      <a:cubicBezTo>
                        <a:pt x="65951" y="8994"/>
                        <a:pt x="64617" y="8884"/>
                        <a:pt x="63235" y="8884"/>
                      </a:cubicBezTo>
                      <a:cubicBezTo>
                        <a:pt x="62876" y="8884"/>
                        <a:pt x="62514" y="8891"/>
                        <a:pt x="62153" y="8891"/>
                      </a:cubicBezTo>
                      <a:cubicBezTo>
                        <a:pt x="62029" y="8891"/>
                        <a:pt x="61906" y="8890"/>
                        <a:pt x="61783" y="8888"/>
                      </a:cubicBezTo>
                      <a:cubicBezTo>
                        <a:pt x="61978" y="8001"/>
                        <a:pt x="62209" y="7362"/>
                        <a:pt x="62262" y="6741"/>
                      </a:cubicBezTo>
                      <a:cubicBezTo>
                        <a:pt x="62297" y="6102"/>
                        <a:pt x="62173" y="5464"/>
                        <a:pt x="62120" y="4701"/>
                      </a:cubicBezTo>
                      <a:lnTo>
                        <a:pt x="65119" y="4239"/>
                      </a:lnTo>
                      <a:cubicBezTo>
                        <a:pt x="59052" y="1427"/>
                        <a:pt x="52479" y="0"/>
                        <a:pt x="45863" y="0"/>
                      </a:cubicBezTo>
                      <a:close/>
                    </a:path>
                  </a:pathLst>
                </a:custGeom>
                <a:noFill/>
                <a:ln w="9525" cap="flat" cmpd="sng">
                  <a:solidFill>
                    <a:srgbClr val="5F81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137" name="Google Shape;3137;p104"/>
                <p:cNvSpPr/>
                <p:nvPr/>
              </p:nvSpPr>
              <p:spPr>
                <a:xfrm>
                  <a:off x="3787623" y="1419737"/>
                  <a:ext cx="223361" cy="194002"/>
                </a:xfrm>
                <a:custGeom>
                  <a:avLst/>
                  <a:gdLst/>
                  <a:ahLst/>
                  <a:cxnLst/>
                  <a:rect l="l" t="t" r="r" b="b"/>
                  <a:pathLst>
                    <a:path w="20389" h="17709" extrusionOk="0">
                      <a:moveTo>
                        <a:pt x="17567" y="0"/>
                      </a:moveTo>
                      <a:lnTo>
                        <a:pt x="17567" y="0"/>
                      </a:lnTo>
                      <a:cubicBezTo>
                        <a:pt x="17070" y="1331"/>
                        <a:pt x="16644" y="2697"/>
                        <a:pt x="16307" y="4081"/>
                      </a:cubicBezTo>
                      <a:cubicBezTo>
                        <a:pt x="16278" y="4199"/>
                        <a:pt x="16114" y="4268"/>
                        <a:pt x="16100" y="4268"/>
                      </a:cubicBezTo>
                      <a:cubicBezTo>
                        <a:pt x="16097" y="4268"/>
                        <a:pt x="16100" y="4265"/>
                        <a:pt x="16112" y="4259"/>
                      </a:cubicBezTo>
                      <a:lnTo>
                        <a:pt x="13912" y="3034"/>
                      </a:lnTo>
                      <a:lnTo>
                        <a:pt x="14391" y="1437"/>
                      </a:lnTo>
                      <a:lnTo>
                        <a:pt x="12617" y="337"/>
                      </a:lnTo>
                      <a:cubicBezTo>
                        <a:pt x="12563" y="2112"/>
                        <a:pt x="10416" y="1970"/>
                        <a:pt x="10523" y="3655"/>
                      </a:cubicBezTo>
                      <a:cubicBezTo>
                        <a:pt x="10523" y="3709"/>
                        <a:pt x="10239" y="3797"/>
                        <a:pt x="10079" y="3815"/>
                      </a:cubicBezTo>
                      <a:cubicBezTo>
                        <a:pt x="8287" y="4028"/>
                        <a:pt x="8553" y="4418"/>
                        <a:pt x="7276" y="5305"/>
                      </a:cubicBezTo>
                      <a:cubicBezTo>
                        <a:pt x="5785" y="6352"/>
                        <a:pt x="5466" y="8730"/>
                        <a:pt x="3017" y="8765"/>
                      </a:cubicBezTo>
                      <a:cubicBezTo>
                        <a:pt x="2166" y="8783"/>
                        <a:pt x="1154" y="9919"/>
                        <a:pt x="569" y="10770"/>
                      </a:cubicBezTo>
                      <a:cubicBezTo>
                        <a:pt x="178" y="11356"/>
                        <a:pt x="1" y="12705"/>
                        <a:pt x="374" y="13095"/>
                      </a:cubicBezTo>
                      <a:cubicBezTo>
                        <a:pt x="1687" y="14443"/>
                        <a:pt x="746" y="15810"/>
                        <a:pt x="569" y="17708"/>
                      </a:cubicBezTo>
                      <a:cubicBezTo>
                        <a:pt x="3337" y="16519"/>
                        <a:pt x="5839" y="15668"/>
                        <a:pt x="8074" y="14213"/>
                      </a:cubicBezTo>
                      <a:lnTo>
                        <a:pt x="10558" y="15934"/>
                      </a:lnTo>
                      <a:lnTo>
                        <a:pt x="9866" y="17336"/>
                      </a:lnTo>
                      <a:cubicBezTo>
                        <a:pt x="11960" y="17300"/>
                        <a:pt x="13592" y="16998"/>
                        <a:pt x="14710" y="15508"/>
                      </a:cubicBezTo>
                      <a:cubicBezTo>
                        <a:pt x="16094" y="13645"/>
                        <a:pt x="17585" y="11835"/>
                        <a:pt x="18773" y="9866"/>
                      </a:cubicBezTo>
                      <a:cubicBezTo>
                        <a:pt x="19590" y="8482"/>
                        <a:pt x="20388" y="6885"/>
                        <a:pt x="18862" y="5305"/>
                      </a:cubicBezTo>
                      <a:cubicBezTo>
                        <a:pt x="18596" y="5039"/>
                        <a:pt x="18330" y="4330"/>
                        <a:pt x="18472" y="4099"/>
                      </a:cubicBezTo>
                      <a:cubicBezTo>
                        <a:pt x="19732" y="2307"/>
                        <a:pt x="17372" y="1491"/>
                        <a:pt x="17567" y="0"/>
                      </a:cubicBezTo>
                      <a:close/>
                    </a:path>
                  </a:pathLst>
                </a:custGeom>
                <a:noFill/>
                <a:ln w="9525" cap="flat" cmpd="sng">
                  <a:solidFill>
                    <a:srgbClr val="5F81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138" name="Google Shape;3138;p104"/>
                <p:cNvSpPr/>
                <p:nvPr/>
              </p:nvSpPr>
              <p:spPr>
                <a:xfrm>
                  <a:off x="3757694" y="1303888"/>
                  <a:ext cx="77956" cy="97007"/>
                </a:xfrm>
                <a:custGeom>
                  <a:avLst/>
                  <a:gdLst/>
                  <a:ahLst/>
                  <a:cxnLst/>
                  <a:rect l="l" t="t" r="r" b="b"/>
                  <a:pathLst>
                    <a:path w="7116" h="8855" extrusionOk="0">
                      <a:moveTo>
                        <a:pt x="5359" y="0"/>
                      </a:moveTo>
                      <a:cubicBezTo>
                        <a:pt x="4649" y="976"/>
                        <a:pt x="3993" y="1774"/>
                        <a:pt x="3460" y="2644"/>
                      </a:cubicBezTo>
                      <a:cubicBezTo>
                        <a:pt x="2910" y="3513"/>
                        <a:pt x="1455" y="3638"/>
                        <a:pt x="1828" y="5181"/>
                      </a:cubicBezTo>
                      <a:cubicBezTo>
                        <a:pt x="1354" y="4803"/>
                        <a:pt x="1037" y="4660"/>
                        <a:pt x="815" y="4660"/>
                      </a:cubicBezTo>
                      <a:cubicBezTo>
                        <a:pt x="256" y="4660"/>
                        <a:pt x="305" y="5571"/>
                        <a:pt x="1" y="5926"/>
                      </a:cubicBezTo>
                      <a:cubicBezTo>
                        <a:pt x="1136" y="7417"/>
                        <a:pt x="1438" y="7577"/>
                        <a:pt x="5412" y="8854"/>
                      </a:cubicBezTo>
                      <a:cubicBezTo>
                        <a:pt x="5590" y="7896"/>
                        <a:pt x="5625" y="7239"/>
                        <a:pt x="5820" y="6636"/>
                      </a:cubicBezTo>
                      <a:cubicBezTo>
                        <a:pt x="6033" y="6015"/>
                        <a:pt x="6335" y="5430"/>
                        <a:pt x="6708" y="4880"/>
                      </a:cubicBezTo>
                      <a:cubicBezTo>
                        <a:pt x="7116" y="4294"/>
                        <a:pt x="5696" y="4170"/>
                        <a:pt x="6459" y="3354"/>
                      </a:cubicBezTo>
                      <a:cubicBezTo>
                        <a:pt x="6849" y="2928"/>
                        <a:pt x="6637" y="1686"/>
                        <a:pt x="6778" y="1384"/>
                      </a:cubicBezTo>
                      <a:cubicBezTo>
                        <a:pt x="6832" y="1224"/>
                        <a:pt x="6867" y="1047"/>
                        <a:pt x="6885" y="870"/>
                      </a:cubicBezTo>
                      <a:lnTo>
                        <a:pt x="5359" y="0"/>
                      </a:lnTo>
                      <a:close/>
                    </a:path>
                  </a:pathLst>
                </a:custGeom>
                <a:noFill/>
                <a:ln w="9525" cap="flat" cmpd="sng">
                  <a:solidFill>
                    <a:srgbClr val="5F81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139" name="Google Shape;3139;p104"/>
                <p:cNvSpPr/>
                <p:nvPr/>
              </p:nvSpPr>
              <p:spPr>
                <a:xfrm>
                  <a:off x="3916892" y="1338867"/>
                  <a:ext cx="109254" cy="68436"/>
                </a:xfrm>
                <a:custGeom>
                  <a:avLst/>
                  <a:gdLst/>
                  <a:ahLst/>
                  <a:cxnLst/>
                  <a:rect l="l" t="t" r="r" b="b"/>
                  <a:pathLst>
                    <a:path w="9973" h="6247" extrusionOk="0">
                      <a:moveTo>
                        <a:pt x="0" y="1"/>
                      </a:moveTo>
                      <a:lnTo>
                        <a:pt x="266" y="1722"/>
                      </a:lnTo>
                      <a:lnTo>
                        <a:pt x="1668" y="1970"/>
                      </a:lnTo>
                      <a:lnTo>
                        <a:pt x="870" y="3177"/>
                      </a:lnTo>
                      <a:cubicBezTo>
                        <a:pt x="1300" y="3058"/>
                        <a:pt x="1704" y="3001"/>
                        <a:pt x="2079" y="3001"/>
                      </a:cubicBezTo>
                      <a:cubicBezTo>
                        <a:pt x="3221" y="3001"/>
                        <a:pt x="4106" y="3533"/>
                        <a:pt x="4720" y="4508"/>
                      </a:cubicBezTo>
                      <a:cubicBezTo>
                        <a:pt x="5319" y="5452"/>
                        <a:pt x="5558" y="5867"/>
                        <a:pt x="5945" y="5867"/>
                      </a:cubicBezTo>
                      <a:cubicBezTo>
                        <a:pt x="6235" y="5867"/>
                        <a:pt x="6607" y="5635"/>
                        <a:pt x="7275" y="5218"/>
                      </a:cubicBezTo>
                      <a:cubicBezTo>
                        <a:pt x="7453" y="5111"/>
                        <a:pt x="7648" y="5058"/>
                        <a:pt x="7861" y="5022"/>
                      </a:cubicBezTo>
                      <a:lnTo>
                        <a:pt x="9564" y="6247"/>
                      </a:lnTo>
                      <a:lnTo>
                        <a:pt x="9972" y="5679"/>
                      </a:lnTo>
                      <a:cubicBezTo>
                        <a:pt x="9582" y="4809"/>
                        <a:pt x="9262" y="3887"/>
                        <a:pt x="8819" y="3035"/>
                      </a:cubicBezTo>
                      <a:cubicBezTo>
                        <a:pt x="8151" y="1821"/>
                        <a:pt x="7070" y="1194"/>
                        <a:pt x="5857" y="1194"/>
                      </a:cubicBezTo>
                      <a:cubicBezTo>
                        <a:pt x="5138" y="1194"/>
                        <a:pt x="4373" y="1415"/>
                        <a:pt x="3620" y="1864"/>
                      </a:cubicBezTo>
                      <a:cubicBezTo>
                        <a:pt x="3336" y="2024"/>
                        <a:pt x="3052" y="2166"/>
                        <a:pt x="2644" y="2396"/>
                      </a:cubicBezTo>
                      <a:lnTo>
                        <a:pt x="1970" y="462"/>
                      </a:lnTo>
                      <a:lnTo>
                        <a:pt x="0" y="1"/>
                      </a:lnTo>
                      <a:close/>
                    </a:path>
                  </a:pathLst>
                </a:custGeom>
                <a:noFill/>
                <a:ln w="9525" cap="flat" cmpd="sng">
                  <a:solidFill>
                    <a:srgbClr val="5F81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140" name="Google Shape;3140;p104"/>
                <p:cNvSpPr/>
                <p:nvPr/>
              </p:nvSpPr>
              <p:spPr>
                <a:xfrm>
                  <a:off x="3865184" y="936118"/>
                  <a:ext cx="73103" cy="134516"/>
                </a:xfrm>
                <a:custGeom>
                  <a:avLst/>
                  <a:gdLst/>
                  <a:ahLst/>
                  <a:cxnLst/>
                  <a:rect l="l" t="t" r="r" b="b"/>
                  <a:pathLst>
                    <a:path w="6673" h="12279" extrusionOk="0">
                      <a:moveTo>
                        <a:pt x="6672" y="1"/>
                      </a:moveTo>
                      <a:lnTo>
                        <a:pt x="6672" y="1"/>
                      </a:lnTo>
                      <a:cubicBezTo>
                        <a:pt x="6223" y="198"/>
                        <a:pt x="5784" y="260"/>
                        <a:pt x="5357" y="260"/>
                      </a:cubicBezTo>
                      <a:cubicBezTo>
                        <a:pt x="4670" y="260"/>
                        <a:pt x="4013" y="100"/>
                        <a:pt x="3390" y="89"/>
                      </a:cubicBezTo>
                      <a:lnTo>
                        <a:pt x="3088" y="2786"/>
                      </a:lnTo>
                      <a:lnTo>
                        <a:pt x="4809" y="5164"/>
                      </a:lnTo>
                      <a:lnTo>
                        <a:pt x="1" y="10771"/>
                      </a:lnTo>
                      <a:lnTo>
                        <a:pt x="1083" y="12279"/>
                      </a:lnTo>
                      <a:lnTo>
                        <a:pt x="6388" y="7772"/>
                      </a:lnTo>
                      <a:cubicBezTo>
                        <a:pt x="4454" y="6495"/>
                        <a:pt x="6175" y="3709"/>
                        <a:pt x="4383" y="2502"/>
                      </a:cubicBezTo>
                      <a:lnTo>
                        <a:pt x="6672" y="1"/>
                      </a:lnTo>
                      <a:close/>
                    </a:path>
                  </a:pathLst>
                </a:custGeom>
                <a:noFill/>
                <a:ln w="9525" cap="flat" cmpd="sng">
                  <a:solidFill>
                    <a:srgbClr val="5F81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141" name="Google Shape;3141;p104"/>
                <p:cNvSpPr/>
                <p:nvPr/>
              </p:nvSpPr>
              <p:spPr>
                <a:xfrm>
                  <a:off x="3738260" y="1420756"/>
                  <a:ext cx="79895" cy="16893"/>
                </a:xfrm>
                <a:custGeom>
                  <a:avLst/>
                  <a:gdLst/>
                  <a:ahLst/>
                  <a:cxnLst/>
                  <a:rect l="l" t="t" r="r" b="b"/>
                  <a:pathLst>
                    <a:path w="7293" h="1542" extrusionOk="0">
                      <a:moveTo>
                        <a:pt x="4286" y="0"/>
                      </a:moveTo>
                      <a:cubicBezTo>
                        <a:pt x="2949" y="0"/>
                        <a:pt x="1596" y="367"/>
                        <a:pt x="0" y="510"/>
                      </a:cubicBezTo>
                      <a:cubicBezTo>
                        <a:pt x="787" y="973"/>
                        <a:pt x="1302" y="1542"/>
                        <a:pt x="1738" y="1542"/>
                      </a:cubicBezTo>
                      <a:cubicBezTo>
                        <a:pt x="1970" y="1542"/>
                        <a:pt x="2179" y="1380"/>
                        <a:pt x="2396" y="954"/>
                      </a:cubicBezTo>
                      <a:cubicBezTo>
                        <a:pt x="2708" y="1325"/>
                        <a:pt x="3056" y="1432"/>
                        <a:pt x="3417" y="1432"/>
                      </a:cubicBezTo>
                      <a:cubicBezTo>
                        <a:pt x="3816" y="1432"/>
                        <a:pt x="4231" y="1302"/>
                        <a:pt x="4631" y="1256"/>
                      </a:cubicBezTo>
                      <a:cubicBezTo>
                        <a:pt x="5394" y="1149"/>
                        <a:pt x="6157" y="1025"/>
                        <a:pt x="7293" y="830"/>
                      </a:cubicBezTo>
                      <a:cubicBezTo>
                        <a:pt x="6240" y="198"/>
                        <a:pt x="5268" y="0"/>
                        <a:pt x="4286" y="0"/>
                      </a:cubicBezTo>
                      <a:close/>
                    </a:path>
                  </a:pathLst>
                </a:custGeom>
                <a:noFill/>
                <a:ln w="9525" cap="flat" cmpd="sng">
                  <a:solidFill>
                    <a:srgbClr val="5F81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142" name="Google Shape;3142;p104"/>
                <p:cNvSpPr/>
                <p:nvPr/>
              </p:nvSpPr>
              <p:spPr>
                <a:xfrm>
                  <a:off x="3833886" y="1361610"/>
                  <a:ext cx="29370" cy="41224"/>
                </a:xfrm>
                <a:custGeom>
                  <a:avLst/>
                  <a:gdLst/>
                  <a:ahLst/>
                  <a:cxnLst/>
                  <a:rect l="l" t="t" r="r" b="b"/>
                  <a:pathLst>
                    <a:path w="2681" h="3763" extrusionOk="0">
                      <a:moveTo>
                        <a:pt x="2662" y="1"/>
                      </a:moveTo>
                      <a:cubicBezTo>
                        <a:pt x="19" y="675"/>
                        <a:pt x="1" y="764"/>
                        <a:pt x="1012" y="3763"/>
                      </a:cubicBezTo>
                      <a:lnTo>
                        <a:pt x="1491" y="2148"/>
                      </a:lnTo>
                      <a:lnTo>
                        <a:pt x="2201" y="3408"/>
                      </a:lnTo>
                      <a:lnTo>
                        <a:pt x="2680" y="3372"/>
                      </a:lnTo>
                      <a:cubicBezTo>
                        <a:pt x="2574" y="2840"/>
                        <a:pt x="2485" y="2308"/>
                        <a:pt x="2450" y="1758"/>
                      </a:cubicBezTo>
                      <a:cubicBezTo>
                        <a:pt x="2485" y="1172"/>
                        <a:pt x="2556" y="586"/>
                        <a:pt x="2662" y="1"/>
                      </a:cubicBezTo>
                      <a:close/>
                    </a:path>
                  </a:pathLst>
                </a:custGeom>
                <a:noFill/>
                <a:ln w="9525" cap="flat" cmpd="sng">
                  <a:solidFill>
                    <a:srgbClr val="5F81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143" name="Google Shape;3143;p104"/>
                <p:cNvSpPr/>
                <p:nvPr/>
              </p:nvSpPr>
              <p:spPr>
                <a:xfrm>
                  <a:off x="3852553" y="1272590"/>
                  <a:ext cx="36162" cy="34421"/>
                </a:xfrm>
                <a:custGeom>
                  <a:avLst/>
                  <a:gdLst/>
                  <a:ahLst/>
                  <a:cxnLst/>
                  <a:rect l="l" t="t" r="r" b="b"/>
                  <a:pathLst>
                    <a:path w="3301" h="3142" extrusionOk="0">
                      <a:moveTo>
                        <a:pt x="3301" y="0"/>
                      </a:moveTo>
                      <a:lnTo>
                        <a:pt x="0" y="1455"/>
                      </a:lnTo>
                      <a:lnTo>
                        <a:pt x="550" y="2520"/>
                      </a:lnTo>
                      <a:lnTo>
                        <a:pt x="1154" y="1793"/>
                      </a:lnTo>
                      <a:lnTo>
                        <a:pt x="2804" y="3141"/>
                      </a:lnTo>
                      <a:lnTo>
                        <a:pt x="3301" y="0"/>
                      </a:lnTo>
                      <a:close/>
                    </a:path>
                  </a:pathLst>
                </a:custGeom>
                <a:noFill/>
                <a:ln w="9525" cap="flat" cmpd="sng">
                  <a:solidFill>
                    <a:srgbClr val="5F81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144" name="Google Shape;3144;p104"/>
                <p:cNvSpPr/>
                <p:nvPr/>
              </p:nvSpPr>
              <p:spPr>
                <a:xfrm>
                  <a:off x="3832330" y="1195806"/>
                  <a:ext cx="18481" cy="46668"/>
                </a:xfrm>
                <a:custGeom>
                  <a:avLst/>
                  <a:gdLst/>
                  <a:ahLst/>
                  <a:cxnLst/>
                  <a:rect l="l" t="t" r="r" b="b"/>
                  <a:pathLst>
                    <a:path w="1687" h="4260" extrusionOk="0">
                      <a:moveTo>
                        <a:pt x="249" y="1"/>
                      </a:moveTo>
                      <a:cubicBezTo>
                        <a:pt x="1" y="2627"/>
                        <a:pt x="1" y="2627"/>
                        <a:pt x="977" y="4259"/>
                      </a:cubicBezTo>
                      <a:cubicBezTo>
                        <a:pt x="1687" y="1261"/>
                        <a:pt x="1687" y="1261"/>
                        <a:pt x="249" y="1"/>
                      </a:cubicBezTo>
                      <a:close/>
                    </a:path>
                  </a:pathLst>
                </a:custGeom>
                <a:noFill/>
                <a:ln w="9525" cap="flat" cmpd="sng">
                  <a:solidFill>
                    <a:srgbClr val="5F81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sp>
            <p:nvSpPr>
              <p:cNvPr id="3145" name="Google Shape;3145;p104"/>
              <p:cNvSpPr/>
              <p:nvPr/>
            </p:nvSpPr>
            <p:spPr>
              <a:xfrm>
                <a:off x="3243368" y="1332656"/>
                <a:ext cx="2147" cy="975"/>
              </a:xfrm>
              <a:custGeom>
                <a:avLst/>
                <a:gdLst/>
                <a:ahLst/>
                <a:cxnLst/>
                <a:rect l="l" t="t" r="r" b="b"/>
                <a:pathLst>
                  <a:path w="196" h="89" extrusionOk="0">
                    <a:moveTo>
                      <a:pt x="196" y="0"/>
                    </a:moveTo>
                    <a:lnTo>
                      <a:pt x="1" y="89"/>
                    </a:lnTo>
                    <a:lnTo>
                      <a:pt x="1" y="89"/>
                    </a:lnTo>
                    <a:lnTo>
                      <a:pt x="196" y="18"/>
                    </a:lnTo>
                    <a:lnTo>
                      <a:pt x="196" y="0"/>
                    </a:lnTo>
                    <a:close/>
                  </a:path>
                </a:pathLst>
              </a:custGeom>
              <a:noFill/>
              <a:ln w="9525" cap="flat" cmpd="sng">
                <a:solidFill>
                  <a:srgbClr val="5F81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146" name="Google Shape;3146;p104"/>
              <p:cNvSpPr/>
              <p:nvPr/>
            </p:nvSpPr>
            <p:spPr>
              <a:xfrm>
                <a:off x="3903089" y="838542"/>
                <a:ext cx="31496" cy="31112"/>
              </a:xfrm>
              <a:custGeom>
                <a:avLst/>
                <a:gdLst/>
                <a:ahLst/>
                <a:cxnLst/>
                <a:rect l="l" t="t" r="r" b="b"/>
                <a:pathLst>
                  <a:path w="2875" h="2840" extrusionOk="0">
                    <a:moveTo>
                      <a:pt x="1" y="0"/>
                    </a:moveTo>
                    <a:lnTo>
                      <a:pt x="1" y="0"/>
                    </a:lnTo>
                    <a:cubicBezTo>
                      <a:pt x="835" y="1029"/>
                      <a:pt x="1739" y="1970"/>
                      <a:pt x="2733" y="2839"/>
                    </a:cubicBezTo>
                    <a:cubicBezTo>
                      <a:pt x="2840" y="2520"/>
                      <a:pt x="2875" y="2201"/>
                      <a:pt x="2822" y="1881"/>
                    </a:cubicBezTo>
                    <a:cubicBezTo>
                      <a:pt x="1899" y="1225"/>
                      <a:pt x="959" y="604"/>
                      <a:pt x="1" y="0"/>
                    </a:cubicBezTo>
                    <a:close/>
                  </a:path>
                </a:pathLst>
              </a:custGeom>
              <a:noFill/>
              <a:ln w="9525" cap="flat" cmpd="sng">
                <a:solidFill>
                  <a:srgbClr val="5F81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147" name="Google Shape;3147;p104"/>
              <p:cNvSpPr/>
              <p:nvPr/>
            </p:nvSpPr>
            <p:spPr>
              <a:xfrm>
                <a:off x="3240256" y="1333620"/>
                <a:ext cx="2925" cy="1380"/>
              </a:xfrm>
              <a:custGeom>
                <a:avLst/>
                <a:gdLst/>
                <a:ahLst/>
                <a:cxnLst/>
                <a:rect l="l" t="t" r="r" b="b"/>
                <a:pathLst>
                  <a:path w="267" h="126" extrusionOk="0">
                    <a:moveTo>
                      <a:pt x="267" y="1"/>
                    </a:moveTo>
                    <a:cubicBezTo>
                      <a:pt x="178" y="36"/>
                      <a:pt x="89" y="72"/>
                      <a:pt x="1" y="125"/>
                    </a:cubicBezTo>
                    <a:cubicBezTo>
                      <a:pt x="107" y="90"/>
                      <a:pt x="178" y="36"/>
                      <a:pt x="267" y="1"/>
                    </a:cubicBezTo>
                    <a:close/>
                  </a:path>
                </a:pathLst>
              </a:custGeom>
              <a:noFill/>
              <a:ln w="9525" cap="flat" cmpd="sng">
                <a:solidFill>
                  <a:srgbClr val="5F81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148" name="Google Shape;3148;p104"/>
              <p:cNvSpPr/>
              <p:nvPr/>
            </p:nvSpPr>
            <p:spPr>
              <a:xfrm>
                <a:off x="3334721" y="1524314"/>
                <a:ext cx="58719" cy="88834"/>
              </a:xfrm>
              <a:custGeom>
                <a:avLst/>
                <a:gdLst/>
                <a:ahLst/>
                <a:cxnLst/>
                <a:rect l="l" t="t" r="r" b="b"/>
                <a:pathLst>
                  <a:path w="5360" h="8109" extrusionOk="0">
                    <a:moveTo>
                      <a:pt x="1828" y="0"/>
                    </a:moveTo>
                    <a:lnTo>
                      <a:pt x="1" y="2946"/>
                    </a:lnTo>
                    <a:cubicBezTo>
                      <a:pt x="444" y="3762"/>
                      <a:pt x="1030" y="4738"/>
                      <a:pt x="1527" y="5785"/>
                    </a:cubicBezTo>
                    <a:cubicBezTo>
                      <a:pt x="2308" y="7328"/>
                      <a:pt x="3479" y="8091"/>
                      <a:pt x="5359" y="8109"/>
                    </a:cubicBezTo>
                    <a:cubicBezTo>
                      <a:pt x="4667" y="6689"/>
                      <a:pt x="3993" y="5625"/>
                      <a:pt x="3798" y="4205"/>
                    </a:cubicBezTo>
                    <a:cubicBezTo>
                      <a:pt x="3621" y="2768"/>
                      <a:pt x="2574" y="1491"/>
                      <a:pt x="1828" y="0"/>
                    </a:cubicBezTo>
                    <a:close/>
                  </a:path>
                </a:pathLst>
              </a:custGeom>
              <a:noFill/>
              <a:ln w="9525" cap="flat" cmpd="sng">
                <a:solidFill>
                  <a:srgbClr val="5F81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sp>
          <p:nvSpPr>
            <p:cNvPr id="3149" name="Google Shape;3149;p104"/>
            <p:cNvSpPr/>
            <p:nvPr/>
          </p:nvSpPr>
          <p:spPr>
            <a:xfrm>
              <a:off x="6652051" y="3714143"/>
              <a:ext cx="560636" cy="516497"/>
            </a:xfrm>
            <a:custGeom>
              <a:avLst/>
              <a:gdLst/>
              <a:ahLst/>
              <a:cxnLst/>
              <a:rect l="l" t="t" r="r" b="b"/>
              <a:pathLst>
                <a:path w="97164" h="89553" extrusionOk="0">
                  <a:moveTo>
                    <a:pt x="48954" y="445"/>
                  </a:moveTo>
                  <a:cubicBezTo>
                    <a:pt x="70832" y="445"/>
                    <a:pt x="89977" y="15970"/>
                    <a:pt x="93384" y="37777"/>
                  </a:cubicBezTo>
                  <a:cubicBezTo>
                    <a:pt x="97163" y="61943"/>
                    <a:pt x="80183" y="84673"/>
                    <a:pt x="55431" y="88541"/>
                  </a:cubicBezTo>
                  <a:cubicBezTo>
                    <a:pt x="53035" y="88913"/>
                    <a:pt x="50622" y="89109"/>
                    <a:pt x="48209" y="89109"/>
                  </a:cubicBezTo>
                  <a:cubicBezTo>
                    <a:pt x="26332" y="89109"/>
                    <a:pt x="7204" y="73583"/>
                    <a:pt x="3780" y="51794"/>
                  </a:cubicBezTo>
                  <a:cubicBezTo>
                    <a:pt x="0" y="27610"/>
                    <a:pt x="16999" y="4880"/>
                    <a:pt x="41733" y="1012"/>
                  </a:cubicBezTo>
                  <a:cubicBezTo>
                    <a:pt x="44128" y="640"/>
                    <a:pt x="46541" y="445"/>
                    <a:pt x="48954" y="445"/>
                  </a:cubicBezTo>
                  <a:close/>
                  <a:moveTo>
                    <a:pt x="48954" y="1"/>
                  </a:moveTo>
                  <a:cubicBezTo>
                    <a:pt x="46524" y="1"/>
                    <a:pt x="44075" y="196"/>
                    <a:pt x="41662" y="569"/>
                  </a:cubicBezTo>
                  <a:cubicBezTo>
                    <a:pt x="35629" y="1509"/>
                    <a:pt x="29827" y="3621"/>
                    <a:pt x="24610" y="6797"/>
                  </a:cubicBezTo>
                  <a:cubicBezTo>
                    <a:pt x="19589" y="9849"/>
                    <a:pt x="15206" y="13823"/>
                    <a:pt x="11711" y="18525"/>
                  </a:cubicBezTo>
                  <a:cubicBezTo>
                    <a:pt x="8216" y="23174"/>
                    <a:pt x="5661" y="28461"/>
                    <a:pt x="4206" y="34086"/>
                  </a:cubicBezTo>
                  <a:cubicBezTo>
                    <a:pt x="1331" y="45247"/>
                    <a:pt x="2946" y="57064"/>
                    <a:pt x="8712" y="67036"/>
                  </a:cubicBezTo>
                  <a:cubicBezTo>
                    <a:pt x="11338" y="71578"/>
                    <a:pt x="14745" y="75623"/>
                    <a:pt x="18791" y="78959"/>
                  </a:cubicBezTo>
                  <a:cubicBezTo>
                    <a:pt x="27059" y="85808"/>
                    <a:pt x="37474" y="89552"/>
                    <a:pt x="48209" y="89552"/>
                  </a:cubicBezTo>
                  <a:cubicBezTo>
                    <a:pt x="50640" y="89552"/>
                    <a:pt x="53089" y="89357"/>
                    <a:pt x="55502" y="88984"/>
                  </a:cubicBezTo>
                  <a:cubicBezTo>
                    <a:pt x="61534" y="88044"/>
                    <a:pt x="67337" y="85932"/>
                    <a:pt x="72571" y="82756"/>
                  </a:cubicBezTo>
                  <a:cubicBezTo>
                    <a:pt x="77575" y="79704"/>
                    <a:pt x="81957" y="75730"/>
                    <a:pt x="85453" y="71028"/>
                  </a:cubicBezTo>
                  <a:cubicBezTo>
                    <a:pt x="88948" y="66379"/>
                    <a:pt x="91503" y="61092"/>
                    <a:pt x="92958" y="55467"/>
                  </a:cubicBezTo>
                  <a:cubicBezTo>
                    <a:pt x="95832" y="44324"/>
                    <a:pt x="94218" y="32489"/>
                    <a:pt x="88451" y="22517"/>
                  </a:cubicBezTo>
                  <a:cubicBezTo>
                    <a:pt x="85825" y="17975"/>
                    <a:pt x="82418" y="13947"/>
                    <a:pt x="78373" y="10594"/>
                  </a:cubicBezTo>
                  <a:cubicBezTo>
                    <a:pt x="70105" y="3745"/>
                    <a:pt x="59689" y="1"/>
                    <a:pt x="48954" y="1"/>
                  </a:cubicBezTo>
                  <a:close/>
                </a:path>
              </a:pathLst>
            </a:custGeom>
            <a:noFill/>
            <a:ln w="9525" cap="flat" cmpd="sng">
              <a:solidFill>
                <a:srgbClr val="E3E9ED"/>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3150" name="Google Shape;3150;p104"/>
          <p:cNvGrpSpPr/>
          <p:nvPr/>
        </p:nvGrpSpPr>
        <p:grpSpPr>
          <a:xfrm>
            <a:off x="968813" y="1590435"/>
            <a:ext cx="3553431" cy="1756187"/>
            <a:chOff x="793334" y="1192826"/>
            <a:chExt cx="2665073" cy="1317140"/>
          </a:xfrm>
        </p:grpSpPr>
        <p:sp>
          <p:nvSpPr>
            <p:cNvPr id="3151" name="Google Shape;3151;p104"/>
            <p:cNvSpPr/>
            <p:nvPr/>
          </p:nvSpPr>
          <p:spPr>
            <a:xfrm>
              <a:off x="2759899" y="2034536"/>
              <a:ext cx="14" cy="14"/>
            </a:xfrm>
            <a:custGeom>
              <a:avLst/>
              <a:gdLst/>
              <a:ahLst/>
              <a:cxnLst/>
              <a:rect l="l" t="t" r="r" b="b"/>
              <a:pathLst>
                <a:path w="1" h="1" extrusionOk="0">
                  <a:moveTo>
                    <a:pt x="1"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152" name="Google Shape;3152;p104"/>
            <p:cNvSpPr/>
            <p:nvPr/>
          </p:nvSpPr>
          <p:spPr>
            <a:xfrm>
              <a:off x="2622291" y="1667631"/>
              <a:ext cx="12573" cy="1765"/>
            </a:xfrm>
            <a:custGeom>
              <a:avLst/>
              <a:gdLst/>
              <a:ahLst/>
              <a:cxnLst/>
              <a:rect l="l" t="t" r="r" b="b"/>
              <a:pathLst>
                <a:path w="926" h="130" extrusionOk="0">
                  <a:moveTo>
                    <a:pt x="925" y="0"/>
                  </a:moveTo>
                  <a:cubicBezTo>
                    <a:pt x="866" y="7"/>
                    <a:pt x="771" y="18"/>
                    <a:pt x="687" y="32"/>
                  </a:cubicBezTo>
                  <a:cubicBezTo>
                    <a:pt x="460" y="67"/>
                    <a:pt x="232" y="91"/>
                    <a:pt x="1" y="102"/>
                  </a:cubicBezTo>
                  <a:lnTo>
                    <a:pt x="60" y="105"/>
                  </a:lnTo>
                  <a:cubicBezTo>
                    <a:pt x="208" y="119"/>
                    <a:pt x="334" y="130"/>
                    <a:pt x="432" y="130"/>
                  </a:cubicBezTo>
                  <a:cubicBezTo>
                    <a:pt x="694" y="130"/>
                    <a:pt x="855" y="53"/>
                    <a:pt x="925"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153" name="Google Shape;3153;p104"/>
            <p:cNvSpPr/>
            <p:nvPr/>
          </p:nvSpPr>
          <p:spPr>
            <a:xfrm>
              <a:off x="2265040" y="1528449"/>
              <a:ext cx="1344" cy="109"/>
            </a:xfrm>
            <a:custGeom>
              <a:avLst/>
              <a:gdLst/>
              <a:ahLst/>
              <a:cxnLst/>
              <a:rect l="l" t="t" r="r" b="b"/>
              <a:pathLst>
                <a:path w="99" h="8" extrusionOk="0">
                  <a:moveTo>
                    <a:pt x="1" y="1"/>
                  </a:moveTo>
                  <a:cubicBezTo>
                    <a:pt x="32" y="4"/>
                    <a:pt x="67" y="8"/>
                    <a:pt x="99" y="8"/>
                  </a:cubicBezTo>
                  <a:cubicBezTo>
                    <a:pt x="67" y="1"/>
                    <a:pt x="32" y="1"/>
                    <a:pt x="1" y="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154" name="Google Shape;3154;p104"/>
            <p:cNvSpPr/>
            <p:nvPr/>
          </p:nvSpPr>
          <p:spPr>
            <a:xfrm>
              <a:off x="2494622" y="1668433"/>
              <a:ext cx="8147" cy="2118"/>
            </a:xfrm>
            <a:custGeom>
              <a:avLst/>
              <a:gdLst/>
              <a:ahLst/>
              <a:cxnLst/>
              <a:rect l="l" t="t" r="r" b="b"/>
              <a:pathLst>
                <a:path w="600" h="156" extrusionOk="0">
                  <a:moveTo>
                    <a:pt x="1" y="1"/>
                  </a:moveTo>
                  <a:cubicBezTo>
                    <a:pt x="115" y="69"/>
                    <a:pt x="416" y="156"/>
                    <a:pt x="554" y="156"/>
                  </a:cubicBezTo>
                  <a:cubicBezTo>
                    <a:pt x="572" y="156"/>
                    <a:pt x="588" y="154"/>
                    <a:pt x="599" y="151"/>
                  </a:cubicBezTo>
                  <a:cubicBezTo>
                    <a:pt x="564" y="120"/>
                    <a:pt x="522" y="95"/>
                    <a:pt x="477" y="85"/>
                  </a:cubicBezTo>
                  <a:cubicBezTo>
                    <a:pt x="323" y="29"/>
                    <a:pt x="162" y="1"/>
                    <a:pt x="1" y="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155" name="Google Shape;3155;p104"/>
            <p:cNvSpPr/>
            <p:nvPr/>
          </p:nvSpPr>
          <p:spPr>
            <a:xfrm>
              <a:off x="2304347" y="1661671"/>
              <a:ext cx="30291" cy="17094"/>
            </a:xfrm>
            <a:custGeom>
              <a:avLst/>
              <a:gdLst/>
              <a:ahLst/>
              <a:cxnLst/>
              <a:rect l="l" t="t" r="r" b="b"/>
              <a:pathLst>
                <a:path w="2231" h="1259" extrusionOk="0">
                  <a:moveTo>
                    <a:pt x="2192" y="1"/>
                  </a:moveTo>
                  <a:cubicBezTo>
                    <a:pt x="2051" y="1"/>
                    <a:pt x="1914" y="18"/>
                    <a:pt x="1776" y="47"/>
                  </a:cubicBezTo>
                  <a:cubicBezTo>
                    <a:pt x="1629" y="71"/>
                    <a:pt x="1485" y="113"/>
                    <a:pt x="1349" y="166"/>
                  </a:cubicBezTo>
                  <a:cubicBezTo>
                    <a:pt x="1107" y="278"/>
                    <a:pt x="894" y="359"/>
                    <a:pt x="627" y="383"/>
                  </a:cubicBezTo>
                  <a:cubicBezTo>
                    <a:pt x="407" y="404"/>
                    <a:pt x="36" y="691"/>
                    <a:pt x="1" y="761"/>
                  </a:cubicBezTo>
                  <a:cubicBezTo>
                    <a:pt x="1" y="810"/>
                    <a:pt x="11" y="968"/>
                    <a:pt x="113" y="1062"/>
                  </a:cubicBezTo>
                  <a:cubicBezTo>
                    <a:pt x="174" y="1112"/>
                    <a:pt x="249" y="1139"/>
                    <a:pt x="327" y="1139"/>
                  </a:cubicBezTo>
                  <a:cubicBezTo>
                    <a:pt x="343" y="1139"/>
                    <a:pt x="359" y="1138"/>
                    <a:pt x="375" y="1136"/>
                  </a:cubicBezTo>
                  <a:cubicBezTo>
                    <a:pt x="437" y="1131"/>
                    <a:pt x="494" y="1129"/>
                    <a:pt x="548" y="1129"/>
                  </a:cubicBezTo>
                  <a:cubicBezTo>
                    <a:pt x="781" y="1129"/>
                    <a:pt x="937" y="1172"/>
                    <a:pt x="988" y="1255"/>
                  </a:cubicBezTo>
                  <a:cubicBezTo>
                    <a:pt x="988" y="1255"/>
                    <a:pt x="988" y="1258"/>
                    <a:pt x="988" y="1258"/>
                  </a:cubicBezTo>
                  <a:cubicBezTo>
                    <a:pt x="1020" y="1206"/>
                    <a:pt x="1100" y="1160"/>
                    <a:pt x="1230" y="1160"/>
                  </a:cubicBezTo>
                  <a:cubicBezTo>
                    <a:pt x="1345" y="1160"/>
                    <a:pt x="1415" y="1143"/>
                    <a:pt x="1447" y="1104"/>
                  </a:cubicBezTo>
                  <a:cubicBezTo>
                    <a:pt x="1454" y="1097"/>
                    <a:pt x="1475" y="1073"/>
                    <a:pt x="1464" y="999"/>
                  </a:cubicBezTo>
                  <a:cubicBezTo>
                    <a:pt x="1436" y="835"/>
                    <a:pt x="1594" y="761"/>
                    <a:pt x="1695" y="712"/>
                  </a:cubicBezTo>
                  <a:cubicBezTo>
                    <a:pt x="1727" y="698"/>
                    <a:pt x="1755" y="684"/>
                    <a:pt x="1783" y="667"/>
                  </a:cubicBezTo>
                  <a:cubicBezTo>
                    <a:pt x="1751" y="628"/>
                    <a:pt x="1716" y="593"/>
                    <a:pt x="1678" y="562"/>
                  </a:cubicBezTo>
                  <a:cubicBezTo>
                    <a:pt x="1601" y="495"/>
                    <a:pt x="1541" y="443"/>
                    <a:pt x="1555" y="376"/>
                  </a:cubicBezTo>
                  <a:cubicBezTo>
                    <a:pt x="1562" y="341"/>
                    <a:pt x="1587" y="313"/>
                    <a:pt x="1618" y="306"/>
                  </a:cubicBezTo>
                  <a:cubicBezTo>
                    <a:pt x="1765" y="253"/>
                    <a:pt x="2122" y="92"/>
                    <a:pt x="2231" y="1"/>
                  </a:cubicBezTo>
                  <a:cubicBezTo>
                    <a:pt x="2218" y="1"/>
                    <a:pt x="2205" y="1"/>
                    <a:pt x="2192" y="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156" name="Google Shape;3156;p104"/>
            <p:cNvSpPr/>
            <p:nvPr/>
          </p:nvSpPr>
          <p:spPr>
            <a:xfrm>
              <a:off x="2596779" y="1667903"/>
              <a:ext cx="20869" cy="13808"/>
            </a:xfrm>
            <a:custGeom>
              <a:avLst/>
              <a:gdLst/>
              <a:ahLst/>
              <a:cxnLst/>
              <a:rect l="l" t="t" r="r" b="b"/>
              <a:pathLst>
                <a:path w="1537" h="1017" extrusionOk="0">
                  <a:moveTo>
                    <a:pt x="1117" y="1"/>
                  </a:moveTo>
                  <a:cubicBezTo>
                    <a:pt x="1103" y="1"/>
                    <a:pt x="1089" y="1"/>
                    <a:pt x="1075" y="1"/>
                  </a:cubicBezTo>
                  <a:cubicBezTo>
                    <a:pt x="693" y="1"/>
                    <a:pt x="291" y="92"/>
                    <a:pt x="144" y="239"/>
                  </a:cubicBezTo>
                  <a:cubicBezTo>
                    <a:pt x="0" y="383"/>
                    <a:pt x="14" y="792"/>
                    <a:pt x="102" y="960"/>
                  </a:cubicBezTo>
                  <a:cubicBezTo>
                    <a:pt x="119" y="999"/>
                    <a:pt x="140" y="1016"/>
                    <a:pt x="151" y="1016"/>
                  </a:cubicBezTo>
                  <a:lnTo>
                    <a:pt x="161" y="1013"/>
                  </a:lnTo>
                  <a:cubicBezTo>
                    <a:pt x="161" y="995"/>
                    <a:pt x="161" y="974"/>
                    <a:pt x="161" y="957"/>
                  </a:cubicBezTo>
                  <a:cubicBezTo>
                    <a:pt x="154" y="831"/>
                    <a:pt x="140" y="624"/>
                    <a:pt x="406" y="341"/>
                  </a:cubicBezTo>
                  <a:cubicBezTo>
                    <a:pt x="620" y="109"/>
                    <a:pt x="981" y="48"/>
                    <a:pt x="1344" y="48"/>
                  </a:cubicBezTo>
                  <a:cubicBezTo>
                    <a:pt x="1409" y="48"/>
                    <a:pt x="1473" y="50"/>
                    <a:pt x="1537" y="54"/>
                  </a:cubicBezTo>
                  <a:cubicBezTo>
                    <a:pt x="1519" y="50"/>
                    <a:pt x="1505" y="47"/>
                    <a:pt x="1488" y="43"/>
                  </a:cubicBezTo>
                  <a:cubicBezTo>
                    <a:pt x="1365" y="15"/>
                    <a:pt x="1242" y="1"/>
                    <a:pt x="1117" y="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157" name="Google Shape;3157;p104"/>
            <p:cNvSpPr/>
            <p:nvPr/>
          </p:nvSpPr>
          <p:spPr>
            <a:xfrm>
              <a:off x="1460410" y="1905428"/>
              <a:ext cx="14" cy="14"/>
            </a:xfrm>
            <a:custGeom>
              <a:avLst/>
              <a:gdLst/>
              <a:ahLst/>
              <a:cxnLst/>
              <a:rect l="l" t="t" r="r" b="b"/>
              <a:pathLst>
                <a:path w="1" h="1" extrusionOk="0">
                  <a:moveTo>
                    <a:pt x="0"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158" name="Google Shape;3158;p104"/>
            <p:cNvSpPr/>
            <p:nvPr/>
          </p:nvSpPr>
          <p:spPr>
            <a:xfrm>
              <a:off x="2393809" y="1664875"/>
              <a:ext cx="58709" cy="92123"/>
            </a:xfrm>
            <a:custGeom>
              <a:avLst/>
              <a:gdLst/>
              <a:ahLst/>
              <a:cxnLst/>
              <a:rect l="l" t="t" r="r" b="b"/>
              <a:pathLst>
                <a:path w="4324" h="6785" extrusionOk="0">
                  <a:moveTo>
                    <a:pt x="2372" y="0"/>
                  </a:moveTo>
                  <a:cubicBezTo>
                    <a:pt x="2056" y="0"/>
                    <a:pt x="1686" y="178"/>
                    <a:pt x="1457" y="378"/>
                  </a:cubicBezTo>
                  <a:lnTo>
                    <a:pt x="1429" y="403"/>
                  </a:lnTo>
                  <a:lnTo>
                    <a:pt x="1432" y="403"/>
                  </a:lnTo>
                  <a:lnTo>
                    <a:pt x="1352" y="455"/>
                  </a:lnTo>
                  <a:lnTo>
                    <a:pt x="1317" y="480"/>
                  </a:lnTo>
                  <a:cubicBezTo>
                    <a:pt x="1208" y="543"/>
                    <a:pt x="1096" y="602"/>
                    <a:pt x="981" y="655"/>
                  </a:cubicBezTo>
                  <a:cubicBezTo>
                    <a:pt x="760" y="760"/>
                    <a:pt x="529" y="868"/>
                    <a:pt x="403" y="1029"/>
                  </a:cubicBezTo>
                  <a:cubicBezTo>
                    <a:pt x="344" y="1099"/>
                    <a:pt x="284" y="1169"/>
                    <a:pt x="221" y="1232"/>
                  </a:cubicBezTo>
                  <a:cubicBezTo>
                    <a:pt x="102" y="1355"/>
                    <a:pt x="0" y="1460"/>
                    <a:pt x="4" y="1558"/>
                  </a:cubicBezTo>
                  <a:cubicBezTo>
                    <a:pt x="7" y="1614"/>
                    <a:pt x="42" y="1670"/>
                    <a:pt x="119" y="1733"/>
                  </a:cubicBezTo>
                  <a:cubicBezTo>
                    <a:pt x="421" y="1992"/>
                    <a:pt x="393" y="2185"/>
                    <a:pt x="368" y="2388"/>
                  </a:cubicBezTo>
                  <a:cubicBezTo>
                    <a:pt x="361" y="2433"/>
                    <a:pt x="354" y="2482"/>
                    <a:pt x="351" y="2531"/>
                  </a:cubicBezTo>
                  <a:cubicBezTo>
                    <a:pt x="344" y="2668"/>
                    <a:pt x="694" y="3109"/>
                    <a:pt x="907" y="3371"/>
                  </a:cubicBezTo>
                  <a:lnTo>
                    <a:pt x="1051" y="3546"/>
                  </a:lnTo>
                  <a:cubicBezTo>
                    <a:pt x="1233" y="3781"/>
                    <a:pt x="1394" y="3977"/>
                    <a:pt x="1457" y="4085"/>
                  </a:cubicBezTo>
                  <a:cubicBezTo>
                    <a:pt x="1632" y="4404"/>
                    <a:pt x="1418" y="4961"/>
                    <a:pt x="1124" y="5325"/>
                  </a:cubicBezTo>
                  <a:cubicBezTo>
                    <a:pt x="1065" y="5402"/>
                    <a:pt x="1033" y="5503"/>
                    <a:pt x="1044" y="5601"/>
                  </a:cubicBezTo>
                  <a:cubicBezTo>
                    <a:pt x="1061" y="5878"/>
                    <a:pt x="1310" y="6186"/>
                    <a:pt x="1639" y="6186"/>
                  </a:cubicBezTo>
                  <a:cubicBezTo>
                    <a:pt x="1922" y="6186"/>
                    <a:pt x="2073" y="6361"/>
                    <a:pt x="2209" y="6519"/>
                  </a:cubicBezTo>
                  <a:cubicBezTo>
                    <a:pt x="2329" y="6662"/>
                    <a:pt x="2435" y="6785"/>
                    <a:pt x="2628" y="6785"/>
                  </a:cubicBezTo>
                  <a:cubicBezTo>
                    <a:pt x="2633" y="6785"/>
                    <a:pt x="2638" y="6785"/>
                    <a:pt x="2644" y="6785"/>
                  </a:cubicBezTo>
                  <a:cubicBezTo>
                    <a:pt x="3158" y="6767"/>
                    <a:pt x="3715" y="6641"/>
                    <a:pt x="3771" y="6557"/>
                  </a:cubicBezTo>
                  <a:cubicBezTo>
                    <a:pt x="3778" y="6543"/>
                    <a:pt x="3785" y="6494"/>
                    <a:pt x="3778" y="6309"/>
                  </a:cubicBezTo>
                  <a:cubicBezTo>
                    <a:pt x="3778" y="6263"/>
                    <a:pt x="3771" y="6217"/>
                    <a:pt x="3771" y="6168"/>
                  </a:cubicBezTo>
                  <a:cubicBezTo>
                    <a:pt x="3757" y="5951"/>
                    <a:pt x="3743" y="5699"/>
                    <a:pt x="3778" y="5556"/>
                  </a:cubicBezTo>
                  <a:cubicBezTo>
                    <a:pt x="3813" y="5412"/>
                    <a:pt x="3781" y="5374"/>
                    <a:pt x="3736" y="5311"/>
                  </a:cubicBezTo>
                  <a:cubicBezTo>
                    <a:pt x="3701" y="5262"/>
                    <a:pt x="3676" y="5206"/>
                    <a:pt x="3662" y="5150"/>
                  </a:cubicBezTo>
                  <a:cubicBezTo>
                    <a:pt x="3654" y="5140"/>
                    <a:pt x="3626" y="5137"/>
                    <a:pt x="3595" y="5137"/>
                  </a:cubicBezTo>
                  <a:cubicBezTo>
                    <a:pt x="3560" y="5137"/>
                    <a:pt x="3520" y="5141"/>
                    <a:pt x="3501" y="5143"/>
                  </a:cubicBezTo>
                  <a:cubicBezTo>
                    <a:pt x="3473" y="5146"/>
                    <a:pt x="3445" y="5150"/>
                    <a:pt x="3421" y="5150"/>
                  </a:cubicBezTo>
                  <a:cubicBezTo>
                    <a:pt x="3376" y="5150"/>
                    <a:pt x="3341" y="5139"/>
                    <a:pt x="3323" y="5101"/>
                  </a:cubicBezTo>
                  <a:cubicBezTo>
                    <a:pt x="3295" y="5038"/>
                    <a:pt x="3347" y="4985"/>
                    <a:pt x="3375" y="4961"/>
                  </a:cubicBezTo>
                  <a:cubicBezTo>
                    <a:pt x="3491" y="4845"/>
                    <a:pt x="3508" y="4768"/>
                    <a:pt x="3501" y="4751"/>
                  </a:cubicBezTo>
                  <a:cubicBezTo>
                    <a:pt x="3498" y="4745"/>
                    <a:pt x="3481" y="4732"/>
                    <a:pt x="3428" y="4732"/>
                  </a:cubicBezTo>
                  <a:cubicBezTo>
                    <a:pt x="3417" y="4732"/>
                    <a:pt x="3406" y="4732"/>
                    <a:pt x="3393" y="4733"/>
                  </a:cubicBezTo>
                  <a:cubicBezTo>
                    <a:pt x="3386" y="4733"/>
                    <a:pt x="3379" y="4733"/>
                    <a:pt x="3373" y="4733"/>
                  </a:cubicBezTo>
                  <a:cubicBezTo>
                    <a:pt x="3288" y="4733"/>
                    <a:pt x="3225" y="4712"/>
                    <a:pt x="3186" y="4663"/>
                  </a:cubicBezTo>
                  <a:cubicBezTo>
                    <a:pt x="3106" y="4562"/>
                    <a:pt x="3155" y="4401"/>
                    <a:pt x="3204" y="4226"/>
                  </a:cubicBezTo>
                  <a:lnTo>
                    <a:pt x="3211" y="4194"/>
                  </a:lnTo>
                  <a:cubicBezTo>
                    <a:pt x="3225" y="4134"/>
                    <a:pt x="3267" y="4078"/>
                    <a:pt x="3323" y="4050"/>
                  </a:cubicBezTo>
                  <a:cubicBezTo>
                    <a:pt x="3351" y="4037"/>
                    <a:pt x="3382" y="4031"/>
                    <a:pt x="3415" y="4031"/>
                  </a:cubicBezTo>
                  <a:cubicBezTo>
                    <a:pt x="3498" y="4031"/>
                    <a:pt x="3593" y="4069"/>
                    <a:pt x="3683" y="4106"/>
                  </a:cubicBezTo>
                  <a:cubicBezTo>
                    <a:pt x="3725" y="4124"/>
                    <a:pt x="3760" y="4138"/>
                    <a:pt x="3799" y="4152"/>
                  </a:cubicBezTo>
                  <a:cubicBezTo>
                    <a:pt x="3817" y="4158"/>
                    <a:pt x="3836" y="4160"/>
                    <a:pt x="3855" y="4160"/>
                  </a:cubicBezTo>
                  <a:cubicBezTo>
                    <a:pt x="3917" y="4160"/>
                    <a:pt x="3981" y="4133"/>
                    <a:pt x="4051" y="4103"/>
                  </a:cubicBezTo>
                  <a:cubicBezTo>
                    <a:pt x="4135" y="4057"/>
                    <a:pt x="4229" y="4033"/>
                    <a:pt x="4324" y="4033"/>
                  </a:cubicBezTo>
                  <a:cubicBezTo>
                    <a:pt x="4296" y="3973"/>
                    <a:pt x="4173" y="3851"/>
                    <a:pt x="4061" y="3840"/>
                  </a:cubicBezTo>
                  <a:cubicBezTo>
                    <a:pt x="3925" y="3830"/>
                    <a:pt x="3897" y="3704"/>
                    <a:pt x="3872" y="3599"/>
                  </a:cubicBezTo>
                  <a:cubicBezTo>
                    <a:pt x="3837" y="3448"/>
                    <a:pt x="3806" y="3354"/>
                    <a:pt x="3641" y="3340"/>
                  </a:cubicBezTo>
                  <a:cubicBezTo>
                    <a:pt x="3628" y="3339"/>
                    <a:pt x="3615" y="3338"/>
                    <a:pt x="3603" y="3338"/>
                  </a:cubicBezTo>
                  <a:cubicBezTo>
                    <a:pt x="3502" y="3338"/>
                    <a:pt x="3464" y="3375"/>
                    <a:pt x="3449" y="3406"/>
                  </a:cubicBezTo>
                  <a:cubicBezTo>
                    <a:pt x="3424" y="3466"/>
                    <a:pt x="3414" y="3532"/>
                    <a:pt x="3414" y="3595"/>
                  </a:cubicBezTo>
                  <a:cubicBezTo>
                    <a:pt x="3414" y="3655"/>
                    <a:pt x="3403" y="3714"/>
                    <a:pt x="3382" y="3770"/>
                  </a:cubicBezTo>
                  <a:cubicBezTo>
                    <a:pt x="3368" y="3805"/>
                    <a:pt x="3333" y="3826"/>
                    <a:pt x="3295" y="3826"/>
                  </a:cubicBezTo>
                  <a:cubicBezTo>
                    <a:pt x="3214" y="3826"/>
                    <a:pt x="3148" y="3714"/>
                    <a:pt x="3106" y="3620"/>
                  </a:cubicBezTo>
                  <a:cubicBezTo>
                    <a:pt x="3025" y="3441"/>
                    <a:pt x="2973" y="3182"/>
                    <a:pt x="3095" y="3039"/>
                  </a:cubicBezTo>
                  <a:cubicBezTo>
                    <a:pt x="3134" y="2990"/>
                    <a:pt x="3151" y="2951"/>
                    <a:pt x="3141" y="2927"/>
                  </a:cubicBezTo>
                  <a:cubicBezTo>
                    <a:pt x="3126" y="2896"/>
                    <a:pt x="3052" y="2869"/>
                    <a:pt x="2942" y="2869"/>
                  </a:cubicBezTo>
                  <a:cubicBezTo>
                    <a:pt x="2925" y="2869"/>
                    <a:pt x="2907" y="2869"/>
                    <a:pt x="2889" y="2871"/>
                  </a:cubicBezTo>
                  <a:cubicBezTo>
                    <a:pt x="2881" y="2871"/>
                    <a:pt x="2873" y="2871"/>
                    <a:pt x="2866" y="2871"/>
                  </a:cubicBezTo>
                  <a:cubicBezTo>
                    <a:pt x="2727" y="2871"/>
                    <a:pt x="2658" y="2779"/>
                    <a:pt x="2609" y="2710"/>
                  </a:cubicBezTo>
                  <a:cubicBezTo>
                    <a:pt x="2564" y="2652"/>
                    <a:pt x="2548" y="2637"/>
                    <a:pt x="2530" y="2637"/>
                  </a:cubicBezTo>
                  <a:cubicBezTo>
                    <a:pt x="2525" y="2637"/>
                    <a:pt x="2520" y="2638"/>
                    <a:pt x="2514" y="2640"/>
                  </a:cubicBezTo>
                  <a:cubicBezTo>
                    <a:pt x="2499" y="2645"/>
                    <a:pt x="2483" y="2648"/>
                    <a:pt x="2467" y="2648"/>
                  </a:cubicBezTo>
                  <a:cubicBezTo>
                    <a:pt x="2435" y="2648"/>
                    <a:pt x="2402" y="2637"/>
                    <a:pt x="2374" y="2619"/>
                  </a:cubicBezTo>
                  <a:cubicBezTo>
                    <a:pt x="2293" y="2559"/>
                    <a:pt x="2251" y="2402"/>
                    <a:pt x="2251" y="2157"/>
                  </a:cubicBezTo>
                  <a:cubicBezTo>
                    <a:pt x="2251" y="2055"/>
                    <a:pt x="2045" y="1866"/>
                    <a:pt x="1898" y="1866"/>
                  </a:cubicBezTo>
                  <a:cubicBezTo>
                    <a:pt x="1895" y="1866"/>
                    <a:pt x="1892" y="1866"/>
                    <a:pt x="1890" y="1866"/>
                  </a:cubicBezTo>
                  <a:cubicBezTo>
                    <a:pt x="1833" y="1866"/>
                    <a:pt x="1781" y="1832"/>
                    <a:pt x="1761" y="1778"/>
                  </a:cubicBezTo>
                  <a:cubicBezTo>
                    <a:pt x="1740" y="1701"/>
                    <a:pt x="1765" y="1621"/>
                    <a:pt x="1828" y="1572"/>
                  </a:cubicBezTo>
                  <a:cubicBezTo>
                    <a:pt x="1877" y="1530"/>
                    <a:pt x="1938" y="1509"/>
                    <a:pt x="2005" y="1509"/>
                  </a:cubicBezTo>
                  <a:cubicBezTo>
                    <a:pt x="2068" y="1509"/>
                    <a:pt x="2137" y="1528"/>
                    <a:pt x="2206" y="1565"/>
                  </a:cubicBezTo>
                  <a:cubicBezTo>
                    <a:pt x="2234" y="1582"/>
                    <a:pt x="2262" y="1596"/>
                    <a:pt x="2297" y="1607"/>
                  </a:cubicBezTo>
                  <a:cubicBezTo>
                    <a:pt x="2276" y="1530"/>
                    <a:pt x="2248" y="1456"/>
                    <a:pt x="2213" y="1383"/>
                  </a:cubicBezTo>
                  <a:lnTo>
                    <a:pt x="2195" y="1344"/>
                  </a:lnTo>
                  <a:cubicBezTo>
                    <a:pt x="2174" y="1299"/>
                    <a:pt x="2181" y="1246"/>
                    <a:pt x="2213" y="1208"/>
                  </a:cubicBezTo>
                  <a:cubicBezTo>
                    <a:pt x="2307" y="1080"/>
                    <a:pt x="2633" y="1003"/>
                    <a:pt x="2850" y="1003"/>
                  </a:cubicBezTo>
                  <a:cubicBezTo>
                    <a:pt x="2884" y="1003"/>
                    <a:pt x="2914" y="1005"/>
                    <a:pt x="2941" y="1008"/>
                  </a:cubicBezTo>
                  <a:cubicBezTo>
                    <a:pt x="3010" y="1018"/>
                    <a:pt x="3076" y="1022"/>
                    <a:pt x="3136" y="1022"/>
                  </a:cubicBezTo>
                  <a:cubicBezTo>
                    <a:pt x="3277" y="1022"/>
                    <a:pt x="3382" y="999"/>
                    <a:pt x="3407" y="970"/>
                  </a:cubicBezTo>
                  <a:cubicBezTo>
                    <a:pt x="3407" y="970"/>
                    <a:pt x="3410" y="966"/>
                    <a:pt x="3407" y="952"/>
                  </a:cubicBezTo>
                  <a:cubicBezTo>
                    <a:pt x="3375" y="875"/>
                    <a:pt x="3386" y="763"/>
                    <a:pt x="3400" y="634"/>
                  </a:cubicBezTo>
                  <a:cubicBezTo>
                    <a:pt x="3414" y="466"/>
                    <a:pt x="3431" y="273"/>
                    <a:pt x="3351" y="158"/>
                  </a:cubicBezTo>
                  <a:cubicBezTo>
                    <a:pt x="3287" y="70"/>
                    <a:pt x="3194" y="55"/>
                    <a:pt x="3048" y="55"/>
                  </a:cubicBezTo>
                  <a:cubicBezTo>
                    <a:pt x="3025" y="55"/>
                    <a:pt x="3001" y="56"/>
                    <a:pt x="2976" y="56"/>
                  </a:cubicBezTo>
                  <a:cubicBezTo>
                    <a:pt x="2944" y="58"/>
                    <a:pt x="2912" y="59"/>
                    <a:pt x="2880" y="59"/>
                  </a:cubicBezTo>
                  <a:cubicBezTo>
                    <a:pt x="2768" y="59"/>
                    <a:pt x="2655" y="46"/>
                    <a:pt x="2546" y="21"/>
                  </a:cubicBezTo>
                  <a:cubicBezTo>
                    <a:pt x="2491" y="7"/>
                    <a:pt x="2432" y="0"/>
                    <a:pt x="2372"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159" name="Google Shape;3159;p104"/>
            <p:cNvSpPr/>
            <p:nvPr/>
          </p:nvSpPr>
          <p:spPr>
            <a:xfrm>
              <a:off x="3030608" y="2063280"/>
              <a:ext cx="2525" cy="733"/>
            </a:xfrm>
            <a:custGeom>
              <a:avLst/>
              <a:gdLst/>
              <a:ahLst/>
              <a:cxnLst/>
              <a:rect l="l" t="t" r="r" b="b"/>
              <a:pathLst>
                <a:path w="186" h="54" extrusionOk="0">
                  <a:moveTo>
                    <a:pt x="116" y="0"/>
                  </a:moveTo>
                  <a:cubicBezTo>
                    <a:pt x="112" y="0"/>
                    <a:pt x="109" y="1"/>
                    <a:pt x="105" y="1"/>
                  </a:cubicBezTo>
                  <a:cubicBezTo>
                    <a:pt x="77" y="5"/>
                    <a:pt x="42" y="12"/>
                    <a:pt x="0" y="15"/>
                  </a:cubicBezTo>
                  <a:cubicBezTo>
                    <a:pt x="25" y="22"/>
                    <a:pt x="49" y="29"/>
                    <a:pt x="74" y="36"/>
                  </a:cubicBezTo>
                  <a:cubicBezTo>
                    <a:pt x="110" y="49"/>
                    <a:pt x="136" y="53"/>
                    <a:pt x="154" y="53"/>
                  </a:cubicBezTo>
                  <a:cubicBezTo>
                    <a:pt x="174" y="53"/>
                    <a:pt x="184" y="48"/>
                    <a:pt x="186" y="47"/>
                  </a:cubicBezTo>
                  <a:cubicBezTo>
                    <a:pt x="186" y="40"/>
                    <a:pt x="186" y="33"/>
                    <a:pt x="179" y="29"/>
                  </a:cubicBezTo>
                  <a:cubicBezTo>
                    <a:pt x="163" y="11"/>
                    <a:pt x="140" y="0"/>
                    <a:pt x="116"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160" name="Google Shape;3160;p104"/>
            <p:cNvSpPr/>
            <p:nvPr/>
          </p:nvSpPr>
          <p:spPr>
            <a:xfrm>
              <a:off x="2090841" y="1529304"/>
              <a:ext cx="1765" cy="2390"/>
            </a:xfrm>
            <a:custGeom>
              <a:avLst/>
              <a:gdLst/>
              <a:ahLst/>
              <a:cxnLst/>
              <a:rect l="l" t="t" r="r" b="b"/>
              <a:pathLst>
                <a:path w="130" h="176" extrusionOk="0">
                  <a:moveTo>
                    <a:pt x="130" y="1"/>
                  </a:moveTo>
                  <a:cubicBezTo>
                    <a:pt x="104" y="14"/>
                    <a:pt x="74" y="21"/>
                    <a:pt x="43" y="21"/>
                  </a:cubicBezTo>
                  <a:cubicBezTo>
                    <a:pt x="32" y="21"/>
                    <a:pt x="21" y="20"/>
                    <a:pt x="11" y="18"/>
                  </a:cubicBezTo>
                  <a:lnTo>
                    <a:pt x="0" y="15"/>
                  </a:lnTo>
                  <a:lnTo>
                    <a:pt x="0" y="15"/>
                  </a:lnTo>
                  <a:cubicBezTo>
                    <a:pt x="11" y="39"/>
                    <a:pt x="18" y="67"/>
                    <a:pt x="14" y="92"/>
                  </a:cubicBezTo>
                  <a:cubicBezTo>
                    <a:pt x="11" y="123"/>
                    <a:pt x="28" y="155"/>
                    <a:pt x="56" y="169"/>
                  </a:cubicBezTo>
                  <a:cubicBezTo>
                    <a:pt x="65" y="173"/>
                    <a:pt x="75" y="176"/>
                    <a:pt x="85" y="176"/>
                  </a:cubicBezTo>
                  <a:cubicBezTo>
                    <a:pt x="92" y="176"/>
                    <a:pt x="98" y="175"/>
                    <a:pt x="105" y="172"/>
                  </a:cubicBezTo>
                  <a:lnTo>
                    <a:pt x="105" y="162"/>
                  </a:lnTo>
                  <a:cubicBezTo>
                    <a:pt x="91" y="106"/>
                    <a:pt x="102" y="50"/>
                    <a:pt x="130" y="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161" name="Google Shape;3161;p104"/>
            <p:cNvSpPr/>
            <p:nvPr/>
          </p:nvSpPr>
          <p:spPr>
            <a:xfrm>
              <a:off x="2245597" y="1718058"/>
              <a:ext cx="14229" cy="4386"/>
            </a:xfrm>
            <a:custGeom>
              <a:avLst/>
              <a:gdLst/>
              <a:ahLst/>
              <a:cxnLst/>
              <a:rect l="l" t="t" r="r" b="b"/>
              <a:pathLst>
                <a:path w="1048" h="323" extrusionOk="0">
                  <a:moveTo>
                    <a:pt x="1048" y="0"/>
                  </a:moveTo>
                  <a:cubicBezTo>
                    <a:pt x="989" y="25"/>
                    <a:pt x="910" y="31"/>
                    <a:pt x="818" y="31"/>
                  </a:cubicBezTo>
                  <a:cubicBezTo>
                    <a:pt x="779" y="31"/>
                    <a:pt x="737" y="29"/>
                    <a:pt x="694" y="28"/>
                  </a:cubicBezTo>
                  <a:lnTo>
                    <a:pt x="578" y="28"/>
                  </a:lnTo>
                  <a:cubicBezTo>
                    <a:pt x="565" y="28"/>
                    <a:pt x="552" y="28"/>
                    <a:pt x="539" y="28"/>
                  </a:cubicBezTo>
                  <a:cubicBezTo>
                    <a:pt x="473" y="28"/>
                    <a:pt x="408" y="35"/>
                    <a:pt x="344" y="53"/>
                  </a:cubicBezTo>
                  <a:cubicBezTo>
                    <a:pt x="274" y="84"/>
                    <a:pt x="211" y="133"/>
                    <a:pt x="162" y="189"/>
                  </a:cubicBezTo>
                  <a:cubicBezTo>
                    <a:pt x="113" y="238"/>
                    <a:pt x="57" y="284"/>
                    <a:pt x="1" y="323"/>
                  </a:cubicBezTo>
                  <a:cubicBezTo>
                    <a:pt x="41" y="319"/>
                    <a:pt x="82" y="318"/>
                    <a:pt x="124" y="318"/>
                  </a:cubicBezTo>
                  <a:cubicBezTo>
                    <a:pt x="166" y="318"/>
                    <a:pt x="209" y="319"/>
                    <a:pt x="253" y="319"/>
                  </a:cubicBezTo>
                  <a:cubicBezTo>
                    <a:pt x="279" y="319"/>
                    <a:pt x="305" y="319"/>
                    <a:pt x="332" y="319"/>
                  </a:cubicBezTo>
                  <a:cubicBezTo>
                    <a:pt x="530" y="319"/>
                    <a:pt x="735" y="316"/>
                    <a:pt x="859" y="270"/>
                  </a:cubicBezTo>
                  <a:cubicBezTo>
                    <a:pt x="1016" y="207"/>
                    <a:pt x="1034" y="105"/>
                    <a:pt x="1048" y="11"/>
                  </a:cubicBezTo>
                  <a:lnTo>
                    <a:pt x="1048"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162" name="Google Shape;3162;p104"/>
            <p:cNvSpPr/>
            <p:nvPr/>
          </p:nvSpPr>
          <p:spPr>
            <a:xfrm>
              <a:off x="2812146" y="1578590"/>
              <a:ext cx="42742" cy="41805"/>
            </a:xfrm>
            <a:custGeom>
              <a:avLst/>
              <a:gdLst/>
              <a:ahLst/>
              <a:cxnLst/>
              <a:rect l="l" t="t" r="r" b="b"/>
              <a:pathLst>
                <a:path w="3148" h="3079" extrusionOk="0">
                  <a:moveTo>
                    <a:pt x="3071" y="1"/>
                  </a:moveTo>
                  <a:lnTo>
                    <a:pt x="3071" y="1"/>
                  </a:lnTo>
                  <a:cubicBezTo>
                    <a:pt x="3001" y="32"/>
                    <a:pt x="2843" y="348"/>
                    <a:pt x="2749" y="537"/>
                  </a:cubicBezTo>
                  <a:cubicBezTo>
                    <a:pt x="2661" y="715"/>
                    <a:pt x="2556" y="918"/>
                    <a:pt x="2451" y="1086"/>
                  </a:cubicBezTo>
                  <a:cubicBezTo>
                    <a:pt x="2237" y="1429"/>
                    <a:pt x="1908" y="1664"/>
                    <a:pt x="1621" y="1870"/>
                  </a:cubicBezTo>
                  <a:cubicBezTo>
                    <a:pt x="1341" y="2070"/>
                    <a:pt x="1100" y="2241"/>
                    <a:pt x="1002" y="2462"/>
                  </a:cubicBezTo>
                  <a:cubicBezTo>
                    <a:pt x="855" y="2791"/>
                    <a:pt x="438" y="2924"/>
                    <a:pt x="161" y="3015"/>
                  </a:cubicBezTo>
                  <a:cubicBezTo>
                    <a:pt x="105" y="3033"/>
                    <a:pt x="42" y="3054"/>
                    <a:pt x="0" y="3071"/>
                  </a:cubicBezTo>
                  <a:cubicBezTo>
                    <a:pt x="27" y="3076"/>
                    <a:pt x="62" y="3078"/>
                    <a:pt x="104" y="3078"/>
                  </a:cubicBezTo>
                  <a:cubicBezTo>
                    <a:pt x="286" y="3078"/>
                    <a:pt x="593" y="3034"/>
                    <a:pt x="823" y="2931"/>
                  </a:cubicBezTo>
                  <a:cubicBezTo>
                    <a:pt x="963" y="2868"/>
                    <a:pt x="1044" y="2791"/>
                    <a:pt x="1044" y="2728"/>
                  </a:cubicBezTo>
                  <a:cubicBezTo>
                    <a:pt x="1044" y="2494"/>
                    <a:pt x="1345" y="2375"/>
                    <a:pt x="1695" y="2231"/>
                  </a:cubicBezTo>
                  <a:cubicBezTo>
                    <a:pt x="1957" y="2126"/>
                    <a:pt x="2251" y="2007"/>
                    <a:pt x="2447" y="1828"/>
                  </a:cubicBezTo>
                  <a:cubicBezTo>
                    <a:pt x="2868" y="1454"/>
                    <a:pt x="3148" y="190"/>
                    <a:pt x="3071" y="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163" name="Google Shape;3163;p104"/>
            <p:cNvSpPr/>
            <p:nvPr/>
          </p:nvSpPr>
          <p:spPr>
            <a:xfrm>
              <a:off x="2563691" y="1451016"/>
              <a:ext cx="3055" cy="2593"/>
            </a:xfrm>
            <a:custGeom>
              <a:avLst/>
              <a:gdLst/>
              <a:ahLst/>
              <a:cxnLst/>
              <a:rect l="l" t="t" r="r" b="b"/>
              <a:pathLst>
                <a:path w="225" h="191" extrusionOk="0">
                  <a:moveTo>
                    <a:pt x="50" y="0"/>
                  </a:moveTo>
                  <a:cubicBezTo>
                    <a:pt x="35" y="0"/>
                    <a:pt x="21" y="10"/>
                    <a:pt x="18" y="25"/>
                  </a:cubicBezTo>
                  <a:cubicBezTo>
                    <a:pt x="0" y="71"/>
                    <a:pt x="7" y="120"/>
                    <a:pt x="42" y="155"/>
                  </a:cubicBezTo>
                  <a:cubicBezTo>
                    <a:pt x="68" y="178"/>
                    <a:pt x="102" y="190"/>
                    <a:pt x="136" y="190"/>
                  </a:cubicBezTo>
                  <a:cubicBezTo>
                    <a:pt x="158" y="190"/>
                    <a:pt x="180" y="185"/>
                    <a:pt x="200" y="176"/>
                  </a:cubicBezTo>
                  <a:lnTo>
                    <a:pt x="224" y="165"/>
                  </a:lnTo>
                  <a:cubicBezTo>
                    <a:pt x="200" y="144"/>
                    <a:pt x="186" y="116"/>
                    <a:pt x="182" y="85"/>
                  </a:cubicBezTo>
                  <a:cubicBezTo>
                    <a:pt x="158" y="39"/>
                    <a:pt x="116" y="8"/>
                    <a:pt x="67" y="1"/>
                  </a:cubicBezTo>
                  <a:lnTo>
                    <a:pt x="56" y="1"/>
                  </a:lnTo>
                  <a:cubicBezTo>
                    <a:pt x="54" y="0"/>
                    <a:pt x="52" y="0"/>
                    <a:pt x="50"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164" name="Google Shape;3164;p104"/>
            <p:cNvSpPr/>
            <p:nvPr/>
          </p:nvSpPr>
          <p:spPr>
            <a:xfrm>
              <a:off x="2480977" y="1673361"/>
              <a:ext cx="16510" cy="18180"/>
            </a:xfrm>
            <a:custGeom>
              <a:avLst/>
              <a:gdLst/>
              <a:ahLst/>
              <a:cxnLst/>
              <a:rect l="l" t="t" r="r" b="b"/>
              <a:pathLst>
                <a:path w="1216" h="1339" extrusionOk="0">
                  <a:moveTo>
                    <a:pt x="797" y="1"/>
                  </a:moveTo>
                  <a:cubicBezTo>
                    <a:pt x="756" y="1"/>
                    <a:pt x="733" y="36"/>
                    <a:pt x="705" y="138"/>
                  </a:cubicBezTo>
                  <a:cubicBezTo>
                    <a:pt x="691" y="194"/>
                    <a:pt x="677" y="243"/>
                    <a:pt x="628" y="261"/>
                  </a:cubicBezTo>
                  <a:cubicBezTo>
                    <a:pt x="620" y="263"/>
                    <a:pt x="611" y="264"/>
                    <a:pt x="603" y="264"/>
                  </a:cubicBezTo>
                  <a:cubicBezTo>
                    <a:pt x="584" y="264"/>
                    <a:pt x="565" y="259"/>
                    <a:pt x="551" y="247"/>
                  </a:cubicBezTo>
                  <a:lnTo>
                    <a:pt x="526" y="229"/>
                  </a:lnTo>
                  <a:cubicBezTo>
                    <a:pt x="475" y="191"/>
                    <a:pt x="381" y="118"/>
                    <a:pt x="296" y="118"/>
                  </a:cubicBezTo>
                  <a:cubicBezTo>
                    <a:pt x="287" y="118"/>
                    <a:pt x="279" y="119"/>
                    <a:pt x="271" y="121"/>
                  </a:cubicBezTo>
                  <a:cubicBezTo>
                    <a:pt x="215" y="131"/>
                    <a:pt x="169" y="166"/>
                    <a:pt x="141" y="215"/>
                  </a:cubicBezTo>
                  <a:cubicBezTo>
                    <a:pt x="127" y="240"/>
                    <a:pt x="113" y="264"/>
                    <a:pt x="102" y="292"/>
                  </a:cubicBezTo>
                  <a:cubicBezTo>
                    <a:pt x="1" y="551"/>
                    <a:pt x="43" y="978"/>
                    <a:pt x="106" y="1048"/>
                  </a:cubicBezTo>
                  <a:cubicBezTo>
                    <a:pt x="134" y="1010"/>
                    <a:pt x="145" y="835"/>
                    <a:pt x="148" y="737"/>
                  </a:cubicBezTo>
                  <a:cubicBezTo>
                    <a:pt x="159" y="502"/>
                    <a:pt x="173" y="257"/>
                    <a:pt x="348" y="257"/>
                  </a:cubicBezTo>
                  <a:cubicBezTo>
                    <a:pt x="411" y="257"/>
                    <a:pt x="474" y="289"/>
                    <a:pt x="509" y="345"/>
                  </a:cubicBezTo>
                  <a:cubicBezTo>
                    <a:pt x="621" y="506"/>
                    <a:pt x="568" y="859"/>
                    <a:pt x="474" y="1122"/>
                  </a:cubicBezTo>
                  <a:cubicBezTo>
                    <a:pt x="449" y="1185"/>
                    <a:pt x="435" y="1269"/>
                    <a:pt x="488" y="1311"/>
                  </a:cubicBezTo>
                  <a:cubicBezTo>
                    <a:pt x="512" y="1329"/>
                    <a:pt x="548" y="1338"/>
                    <a:pt x="595" y="1338"/>
                  </a:cubicBezTo>
                  <a:cubicBezTo>
                    <a:pt x="703" y="1338"/>
                    <a:pt x="863" y="1286"/>
                    <a:pt x="1037" y="1160"/>
                  </a:cubicBezTo>
                  <a:cubicBezTo>
                    <a:pt x="1104" y="1111"/>
                    <a:pt x="1153" y="1041"/>
                    <a:pt x="1174" y="961"/>
                  </a:cubicBezTo>
                  <a:cubicBezTo>
                    <a:pt x="1216" y="786"/>
                    <a:pt x="1142" y="579"/>
                    <a:pt x="1065" y="453"/>
                  </a:cubicBezTo>
                  <a:cubicBezTo>
                    <a:pt x="1006" y="366"/>
                    <a:pt x="957" y="327"/>
                    <a:pt x="943" y="324"/>
                  </a:cubicBezTo>
                  <a:cubicBezTo>
                    <a:pt x="908" y="324"/>
                    <a:pt x="876" y="310"/>
                    <a:pt x="855" y="285"/>
                  </a:cubicBezTo>
                  <a:cubicBezTo>
                    <a:pt x="813" y="240"/>
                    <a:pt x="824" y="173"/>
                    <a:pt x="831" y="110"/>
                  </a:cubicBezTo>
                  <a:cubicBezTo>
                    <a:pt x="838" y="79"/>
                    <a:pt x="845" y="19"/>
                    <a:pt x="831" y="5"/>
                  </a:cubicBezTo>
                  <a:cubicBezTo>
                    <a:pt x="831" y="5"/>
                    <a:pt x="824" y="2"/>
                    <a:pt x="810" y="2"/>
                  </a:cubicBezTo>
                  <a:cubicBezTo>
                    <a:pt x="805" y="1"/>
                    <a:pt x="801" y="1"/>
                    <a:pt x="797" y="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165" name="Google Shape;3165;p104"/>
            <p:cNvSpPr/>
            <p:nvPr/>
          </p:nvSpPr>
          <p:spPr>
            <a:xfrm>
              <a:off x="2278156" y="2042506"/>
              <a:ext cx="20651" cy="18846"/>
            </a:xfrm>
            <a:custGeom>
              <a:avLst/>
              <a:gdLst/>
              <a:ahLst/>
              <a:cxnLst/>
              <a:rect l="l" t="t" r="r" b="b"/>
              <a:pathLst>
                <a:path w="1521" h="1388" extrusionOk="0">
                  <a:moveTo>
                    <a:pt x="786" y="0"/>
                  </a:moveTo>
                  <a:cubicBezTo>
                    <a:pt x="691" y="0"/>
                    <a:pt x="599" y="10"/>
                    <a:pt x="519" y="33"/>
                  </a:cubicBezTo>
                  <a:cubicBezTo>
                    <a:pt x="396" y="71"/>
                    <a:pt x="256" y="281"/>
                    <a:pt x="148" y="586"/>
                  </a:cubicBezTo>
                  <a:cubicBezTo>
                    <a:pt x="4" y="992"/>
                    <a:pt x="1" y="1314"/>
                    <a:pt x="50" y="1346"/>
                  </a:cubicBezTo>
                  <a:cubicBezTo>
                    <a:pt x="53" y="1346"/>
                    <a:pt x="57" y="1342"/>
                    <a:pt x="64" y="1342"/>
                  </a:cubicBezTo>
                  <a:cubicBezTo>
                    <a:pt x="141" y="1310"/>
                    <a:pt x="224" y="1299"/>
                    <a:pt x="308" y="1299"/>
                  </a:cubicBezTo>
                  <a:cubicBezTo>
                    <a:pt x="439" y="1299"/>
                    <a:pt x="573" y="1327"/>
                    <a:pt x="691" y="1353"/>
                  </a:cubicBezTo>
                  <a:cubicBezTo>
                    <a:pt x="775" y="1377"/>
                    <a:pt x="862" y="1388"/>
                    <a:pt x="950" y="1388"/>
                  </a:cubicBezTo>
                  <a:cubicBezTo>
                    <a:pt x="939" y="1370"/>
                    <a:pt x="922" y="1349"/>
                    <a:pt x="911" y="1335"/>
                  </a:cubicBezTo>
                  <a:cubicBezTo>
                    <a:pt x="866" y="1268"/>
                    <a:pt x="817" y="1202"/>
                    <a:pt x="834" y="1132"/>
                  </a:cubicBezTo>
                  <a:cubicBezTo>
                    <a:pt x="845" y="1097"/>
                    <a:pt x="873" y="1065"/>
                    <a:pt x="911" y="1051"/>
                  </a:cubicBezTo>
                  <a:cubicBezTo>
                    <a:pt x="1034" y="992"/>
                    <a:pt x="1125" y="813"/>
                    <a:pt x="1135" y="593"/>
                  </a:cubicBezTo>
                  <a:lnTo>
                    <a:pt x="1139" y="526"/>
                  </a:lnTo>
                  <a:lnTo>
                    <a:pt x="1139" y="502"/>
                  </a:lnTo>
                  <a:lnTo>
                    <a:pt x="1139" y="491"/>
                  </a:lnTo>
                  <a:cubicBezTo>
                    <a:pt x="1163" y="316"/>
                    <a:pt x="1314" y="264"/>
                    <a:pt x="1419" y="229"/>
                  </a:cubicBezTo>
                  <a:cubicBezTo>
                    <a:pt x="1454" y="218"/>
                    <a:pt x="1489" y="204"/>
                    <a:pt x="1520" y="183"/>
                  </a:cubicBezTo>
                  <a:cubicBezTo>
                    <a:pt x="1496" y="159"/>
                    <a:pt x="1401" y="99"/>
                    <a:pt x="1212" y="54"/>
                  </a:cubicBezTo>
                  <a:cubicBezTo>
                    <a:pt x="1090" y="24"/>
                    <a:pt x="935" y="0"/>
                    <a:pt x="786"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166" name="Google Shape;3166;p104"/>
            <p:cNvSpPr/>
            <p:nvPr/>
          </p:nvSpPr>
          <p:spPr>
            <a:xfrm>
              <a:off x="2095159" y="1526222"/>
              <a:ext cx="2009" cy="1344"/>
            </a:xfrm>
            <a:custGeom>
              <a:avLst/>
              <a:gdLst/>
              <a:ahLst/>
              <a:cxnLst/>
              <a:rect l="l" t="t" r="r" b="b"/>
              <a:pathLst>
                <a:path w="148" h="99" extrusionOk="0">
                  <a:moveTo>
                    <a:pt x="123" y="0"/>
                  </a:moveTo>
                  <a:cubicBezTo>
                    <a:pt x="106" y="4"/>
                    <a:pt x="92" y="14"/>
                    <a:pt x="81" y="28"/>
                  </a:cubicBezTo>
                  <a:cubicBezTo>
                    <a:pt x="50" y="53"/>
                    <a:pt x="25" y="77"/>
                    <a:pt x="1" y="98"/>
                  </a:cubicBezTo>
                  <a:cubicBezTo>
                    <a:pt x="43" y="84"/>
                    <a:pt x="88" y="81"/>
                    <a:pt x="134" y="81"/>
                  </a:cubicBezTo>
                  <a:cubicBezTo>
                    <a:pt x="141" y="81"/>
                    <a:pt x="148" y="60"/>
                    <a:pt x="144" y="35"/>
                  </a:cubicBezTo>
                  <a:cubicBezTo>
                    <a:pt x="141" y="21"/>
                    <a:pt x="134" y="7"/>
                    <a:pt x="123"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167" name="Google Shape;3167;p104"/>
            <p:cNvSpPr/>
            <p:nvPr/>
          </p:nvSpPr>
          <p:spPr>
            <a:xfrm>
              <a:off x="2217030" y="1745010"/>
              <a:ext cx="1874" cy="394"/>
            </a:xfrm>
            <a:custGeom>
              <a:avLst/>
              <a:gdLst/>
              <a:ahLst/>
              <a:cxnLst/>
              <a:rect l="l" t="t" r="r" b="b"/>
              <a:pathLst>
                <a:path w="138" h="29" extrusionOk="0">
                  <a:moveTo>
                    <a:pt x="48" y="0"/>
                  </a:moveTo>
                  <a:cubicBezTo>
                    <a:pt x="34" y="0"/>
                    <a:pt x="19" y="3"/>
                    <a:pt x="4" y="7"/>
                  </a:cubicBezTo>
                  <a:lnTo>
                    <a:pt x="1" y="7"/>
                  </a:lnTo>
                  <a:cubicBezTo>
                    <a:pt x="46" y="7"/>
                    <a:pt x="92" y="14"/>
                    <a:pt x="137" y="28"/>
                  </a:cubicBezTo>
                  <a:lnTo>
                    <a:pt x="130" y="25"/>
                  </a:lnTo>
                  <a:cubicBezTo>
                    <a:pt x="105" y="9"/>
                    <a:pt x="77" y="0"/>
                    <a:pt x="48"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168" name="Google Shape;3168;p104"/>
            <p:cNvSpPr/>
            <p:nvPr/>
          </p:nvSpPr>
          <p:spPr>
            <a:xfrm>
              <a:off x="2294517" y="2116096"/>
              <a:ext cx="8377" cy="33360"/>
            </a:xfrm>
            <a:custGeom>
              <a:avLst/>
              <a:gdLst/>
              <a:ahLst/>
              <a:cxnLst/>
              <a:rect l="l" t="t" r="r" b="b"/>
              <a:pathLst>
                <a:path w="617" h="2457" extrusionOk="0">
                  <a:moveTo>
                    <a:pt x="84" y="0"/>
                  </a:moveTo>
                  <a:cubicBezTo>
                    <a:pt x="70" y="0"/>
                    <a:pt x="56" y="7"/>
                    <a:pt x="46" y="14"/>
                  </a:cubicBezTo>
                  <a:cubicBezTo>
                    <a:pt x="11" y="50"/>
                    <a:pt x="0" y="221"/>
                    <a:pt x="193" y="648"/>
                  </a:cubicBezTo>
                  <a:cubicBezTo>
                    <a:pt x="298" y="883"/>
                    <a:pt x="245" y="1058"/>
                    <a:pt x="193" y="1226"/>
                  </a:cubicBezTo>
                  <a:cubicBezTo>
                    <a:pt x="154" y="1348"/>
                    <a:pt x="116" y="1478"/>
                    <a:pt x="137" y="1639"/>
                  </a:cubicBezTo>
                  <a:cubicBezTo>
                    <a:pt x="175" y="1961"/>
                    <a:pt x="448" y="2420"/>
                    <a:pt x="588" y="2455"/>
                  </a:cubicBezTo>
                  <a:cubicBezTo>
                    <a:pt x="591" y="2456"/>
                    <a:pt x="593" y="2457"/>
                    <a:pt x="595" y="2457"/>
                  </a:cubicBezTo>
                  <a:cubicBezTo>
                    <a:pt x="600" y="2457"/>
                    <a:pt x="605" y="2453"/>
                    <a:pt x="609" y="2444"/>
                  </a:cubicBezTo>
                  <a:cubicBezTo>
                    <a:pt x="609" y="2444"/>
                    <a:pt x="616" y="2434"/>
                    <a:pt x="616" y="2395"/>
                  </a:cubicBezTo>
                  <a:cubicBezTo>
                    <a:pt x="609" y="2304"/>
                    <a:pt x="560" y="2157"/>
                    <a:pt x="508" y="1999"/>
                  </a:cubicBezTo>
                  <a:cubicBezTo>
                    <a:pt x="417" y="1719"/>
                    <a:pt x="312" y="1404"/>
                    <a:pt x="385" y="1212"/>
                  </a:cubicBezTo>
                  <a:cubicBezTo>
                    <a:pt x="403" y="1156"/>
                    <a:pt x="410" y="1100"/>
                    <a:pt x="410" y="1044"/>
                  </a:cubicBezTo>
                  <a:cubicBezTo>
                    <a:pt x="417" y="708"/>
                    <a:pt x="266" y="176"/>
                    <a:pt x="123" y="29"/>
                  </a:cubicBezTo>
                  <a:cubicBezTo>
                    <a:pt x="98" y="4"/>
                    <a:pt x="84" y="0"/>
                    <a:pt x="84"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169" name="Google Shape;3169;p104"/>
            <p:cNvSpPr/>
            <p:nvPr/>
          </p:nvSpPr>
          <p:spPr>
            <a:xfrm>
              <a:off x="2250119" y="1665337"/>
              <a:ext cx="104438" cy="51540"/>
            </a:xfrm>
            <a:custGeom>
              <a:avLst/>
              <a:gdLst/>
              <a:ahLst/>
              <a:cxnLst/>
              <a:rect l="l" t="t" r="r" b="b"/>
              <a:pathLst>
                <a:path w="7692" h="3796" extrusionOk="0">
                  <a:moveTo>
                    <a:pt x="2284" y="1"/>
                  </a:moveTo>
                  <a:cubicBezTo>
                    <a:pt x="2193" y="1"/>
                    <a:pt x="2103" y="19"/>
                    <a:pt x="2017" y="54"/>
                  </a:cubicBezTo>
                  <a:cubicBezTo>
                    <a:pt x="1961" y="75"/>
                    <a:pt x="1901" y="92"/>
                    <a:pt x="1838" y="103"/>
                  </a:cubicBezTo>
                  <a:cubicBezTo>
                    <a:pt x="1761" y="120"/>
                    <a:pt x="1716" y="197"/>
                    <a:pt x="1646" y="323"/>
                  </a:cubicBezTo>
                  <a:cubicBezTo>
                    <a:pt x="1586" y="428"/>
                    <a:pt x="1516" y="551"/>
                    <a:pt x="1397" y="642"/>
                  </a:cubicBezTo>
                  <a:cubicBezTo>
                    <a:pt x="1362" y="670"/>
                    <a:pt x="1327" y="694"/>
                    <a:pt x="1299" y="715"/>
                  </a:cubicBezTo>
                  <a:cubicBezTo>
                    <a:pt x="1163" y="813"/>
                    <a:pt x="1152" y="820"/>
                    <a:pt x="1163" y="995"/>
                  </a:cubicBezTo>
                  <a:lnTo>
                    <a:pt x="1177" y="1153"/>
                  </a:lnTo>
                  <a:lnTo>
                    <a:pt x="1166" y="1142"/>
                  </a:lnTo>
                  <a:cubicBezTo>
                    <a:pt x="1142" y="1363"/>
                    <a:pt x="977" y="1377"/>
                    <a:pt x="844" y="1387"/>
                  </a:cubicBezTo>
                  <a:lnTo>
                    <a:pt x="823" y="1387"/>
                  </a:lnTo>
                  <a:cubicBezTo>
                    <a:pt x="701" y="1401"/>
                    <a:pt x="613" y="1618"/>
                    <a:pt x="606" y="1772"/>
                  </a:cubicBezTo>
                  <a:cubicBezTo>
                    <a:pt x="606" y="1811"/>
                    <a:pt x="606" y="1849"/>
                    <a:pt x="610" y="1888"/>
                  </a:cubicBezTo>
                  <a:cubicBezTo>
                    <a:pt x="613" y="1930"/>
                    <a:pt x="617" y="1968"/>
                    <a:pt x="613" y="2010"/>
                  </a:cubicBezTo>
                  <a:lnTo>
                    <a:pt x="620" y="2010"/>
                  </a:lnTo>
                  <a:lnTo>
                    <a:pt x="606" y="2070"/>
                  </a:lnTo>
                  <a:lnTo>
                    <a:pt x="589" y="2140"/>
                  </a:lnTo>
                  <a:lnTo>
                    <a:pt x="578" y="2137"/>
                  </a:lnTo>
                  <a:cubicBezTo>
                    <a:pt x="550" y="2186"/>
                    <a:pt x="501" y="2221"/>
                    <a:pt x="448" y="2235"/>
                  </a:cubicBezTo>
                  <a:cubicBezTo>
                    <a:pt x="371" y="2259"/>
                    <a:pt x="287" y="2385"/>
                    <a:pt x="221" y="2483"/>
                  </a:cubicBezTo>
                  <a:cubicBezTo>
                    <a:pt x="147" y="2595"/>
                    <a:pt x="88" y="2679"/>
                    <a:pt x="14" y="2704"/>
                  </a:cubicBezTo>
                  <a:cubicBezTo>
                    <a:pt x="0" y="2760"/>
                    <a:pt x="70" y="2959"/>
                    <a:pt x="119" y="2991"/>
                  </a:cubicBezTo>
                  <a:cubicBezTo>
                    <a:pt x="165" y="3005"/>
                    <a:pt x="200" y="3036"/>
                    <a:pt x="214" y="3082"/>
                  </a:cubicBezTo>
                  <a:lnTo>
                    <a:pt x="217" y="3078"/>
                  </a:lnTo>
                  <a:lnTo>
                    <a:pt x="238" y="3152"/>
                  </a:lnTo>
                  <a:lnTo>
                    <a:pt x="242" y="3166"/>
                  </a:lnTo>
                  <a:lnTo>
                    <a:pt x="256" y="3208"/>
                  </a:lnTo>
                  <a:cubicBezTo>
                    <a:pt x="277" y="3288"/>
                    <a:pt x="305" y="3372"/>
                    <a:pt x="357" y="3414"/>
                  </a:cubicBezTo>
                  <a:cubicBezTo>
                    <a:pt x="417" y="3456"/>
                    <a:pt x="476" y="3495"/>
                    <a:pt x="543" y="3523"/>
                  </a:cubicBezTo>
                  <a:cubicBezTo>
                    <a:pt x="673" y="3593"/>
                    <a:pt x="778" y="3649"/>
                    <a:pt x="806" y="3726"/>
                  </a:cubicBezTo>
                  <a:cubicBezTo>
                    <a:pt x="827" y="3717"/>
                    <a:pt x="855" y="3713"/>
                    <a:pt x="896" y="3713"/>
                  </a:cubicBezTo>
                  <a:cubicBezTo>
                    <a:pt x="949" y="3713"/>
                    <a:pt x="1025" y="3719"/>
                    <a:pt x="1138" y="3729"/>
                  </a:cubicBezTo>
                  <a:cubicBezTo>
                    <a:pt x="1261" y="3741"/>
                    <a:pt x="1423" y="3755"/>
                    <a:pt x="1575" y="3755"/>
                  </a:cubicBezTo>
                  <a:cubicBezTo>
                    <a:pt x="1747" y="3755"/>
                    <a:pt x="1906" y="3737"/>
                    <a:pt x="1978" y="3673"/>
                  </a:cubicBezTo>
                  <a:cubicBezTo>
                    <a:pt x="2225" y="3458"/>
                    <a:pt x="2787" y="3133"/>
                    <a:pt x="3445" y="3133"/>
                  </a:cubicBezTo>
                  <a:cubicBezTo>
                    <a:pt x="3525" y="3133"/>
                    <a:pt x="3605" y="3138"/>
                    <a:pt x="3687" y="3148"/>
                  </a:cubicBezTo>
                  <a:cubicBezTo>
                    <a:pt x="4170" y="3211"/>
                    <a:pt x="4282" y="3281"/>
                    <a:pt x="4359" y="3330"/>
                  </a:cubicBezTo>
                  <a:cubicBezTo>
                    <a:pt x="4394" y="3353"/>
                    <a:pt x="4431" y="3367"/>
                    <a:pt x="4471" y="3367"/>
                  </a:cubicBezTo>
                  <a:cubicBezTo>
                    <a:pt x="4479" y="3367"/>
                    <a:pt x="4487" y="3367"/>
                    <a:pt x="4495" y="3365"/>
                  </a:cubicBezTo>
                  <a:cubicBezTo>
                    <a:pt x="4639" y="3365"/>
                    <a:pt x="4716" y="3439"/>
                    <a:pt x="4779" y="3498"/>
                  </a:cubicBezTo>
                  <a:cubicBezTo>
                    <a:pt x="4837" y="3553"/>
                    <a:pt x="4874" y="3587"/>
                    <a:pt x="4952" y="3587"/>
                  </a:cubicBezTo>
                  <a:cubicBezTo>
                    <a:pt x="4959" y="3587"/>
                    <a:pt x="4967" y="3586"/>
                    <a:pt x="4975" y="3586"/>
                  </a:cubicBezTo>
                  <a:cubicBezTo>
                    <a:pt x="4986" y="3585"/>
                    <a:pt x="4997" y="3585"/>
                    <a:pt x="5008" y="3585"/>
                  </a:cubicBezTo>
                  <a:cubicBezTo>
                    <a:pt x="5127" y="3585"/>
                    <a:pt x="5214" y="3636"/>
                    <a:pt x="5297" y="3687"/>
                  </a:cubicBezTo>
                  <a:cubicBezTo>
                    <a:pt x="5392" y="3740"/>
                    <a:pt x="5479" y="3796"/>
                    <a:pt x="5626" y="3796"/>
                  </a:cubicBezTo>
                  <a:cubicBezTo>
                    <a:pt x="5749" y="3792"/>
                    <a:pt x="5871" y="3782"/>
                    <a:pt x="5990" y="3768"/>
                  </a:cubicBezTo>
                  <a:cubicBezTo>
                    <a:pt x="6122" y="3754"/>
                    <a:pt x="6248" y="3741"/>
                    <a:pt x="6360" y="3741"/>
                  </a:cubicBezTo>
                  <a:cubicBezTo>
                    <a:pt x="6451" y="3741"/>
                    <a:pt x="6534" y="3750"/>
                    <a:pt x="6603" y="3775"/>
                  </a:cubicBezTo>
                  <a:cubicBezTo>
                    <a:pt x="6623" y="3782"/>
                    <a:pt x="6650" y="3785"/>
                    <a:pt x="6683" y="3785"/>
                  </a:cubicBezTo>
                  <a:cubicBezTo>
                    <a:pt x="6894" y="3785"/>
                    <a:pt x="7337" y="3646"/>
                    <a:pt x="7552" y="3449"/>
                  </a:cubicBezTo>
                  <a:cubicBezTo>
                    <a:pt x="7601" y="3411"/>
                    <a:pt x="7636" y="3358"/>
                    <a:pt x="7657" y="3299"/>
                  </a:cubicBezTo>
                  <a:cubicBezTo>
                    <a:pt x="7692" y="3162"/>
                    <a:pt x="7667" y="3141"/>
                    <a:pt x="7618" y="3092"/>
                  </a:cubicBezTo>
                  <a:cubicBezTo>
                    <a:pt x="7566" y="3043"/>
                    <a:pt x="7482" y="2966"/>
                    <a:pt x="7447" y="2763"/>
                  </a:cubicBezTo>
                  <a:cubicBezTo>
                    <a:pt x="7415" y="2595"/>
                    <a:pt x="7265" y="2546"/>
                    <a:pt x="7020" y="2480"/>
                  </a:cubicBezTo>
                  <a:cubicBezTo>
                    <a:pt x="6897" y="2448"/>
                    <a:pt x="6778" y="2410"/>
                    <a:pt x="6666" y="2354"/>
                  </a:cubicBezTo>
                  <a:lnTo>
                    <a:pt x="6634" y="2336"/>
                  </a:lnTo>
                  <a:lnTo>
                    <a:pt x="6536" y="2280"/>
                  </a:lnTo>
                  <a:lnTo>
                    <a:pt x="6543" y="2273"/>
                  </a:lnTo>
                  <a:cubicBezTo>
                    <a:pt x="6519" y="2256"/>
                    <a:pt x="6498" y="2235"/>
                    <a:pt x="6477" y="2210"/>
                  </a:cubicBezTo>
                  <a:cubicBezTo>
                    <a:pt x="6109" y="1814"/>
                    <a:pt x="5766" y="1566"/>
                    <a:pt x="5490" y="1496"/>
                  </a:cubicBezTo>
                  <a:cubicBezTo>
                    <a:pt x="5318" y="1457"/>
                    <a:pt x="5175" y="1349"/>
                    <a:pt x="5094" y="1198"/>
                  </a:cubicBezTo>
                  <a:cubicBezTo>
                    <a:pt x="5087" y="1181"/>
                    <a:pt x="5073" y="1163"/>
                    <a:pt x="5063" y="1146"/>
                  </a:cubicBezTo>
                  <a:cubicBezTo>
                    <a:pt x="5031" y="1142"/>
                    <a:pt x="5003" y="1125"/>
                    <a:pt x="4986" y="1100"/>
                  </a:cubicBezTo>
                  <a:cubicBezTo>
                    <a:pt x="4982" y="1104"/>
                    <a:pt x="4979" y="1107"/>
                    <a:pt x="4979" y="1111"/>
                  </a:cubicBezTo>
                  <a:cubicBezTo>
                    <a:pt x="4943" y="1165"/>
                    <a:pt x="4869" y="1175"/>
                    <a:pt x="4765" y="1175"/>
                  </a:cubicBezTo>
                  <a:cubicBezTo>
                    <a:pt x="4736" y="1175"/>
                    <a:pt x="4704" y="1175"/>
                    <a:pt x="4671" y="1174"/>
                  </a:cubicBezTo>
                  <a:cubicBezTo>
                    <a:pt x="4633" y="1173"/>
                    <a:pt x="4593" y="1172"/>
                    <a:pt x="4553" y="1172"/>
                  </a:cubicBezTo>
                  <a:cubicBezTo>
                    <a:pt x="4432" y="1172"/>
                    <a:pt x="4308" y="1182"/>
                    <a:pt x="4229" y="1237"/>
                  </a:cubicBezTo>
                  <a:cubicBezTo>
                    <a:pt x="4135" y="1296"/>
                    <a:pt x="4033" y="1342"/>
                    <a:pt x="3921" y="1366"/>
                  </a:cubicBezTo>
                  <a:cubicBezTo>
                    <a:pt x="3844" y="1384"/>
                    <a:pt x="3774" y="1415"/>
                    <a:pt x="3708" y="1457"/>
                  </a:cubicBezTo>
                  <a:cubicBezTo>
                    <a:pt x="3582" y="1545"/>
                    <a:pt x="3435" y="1611"/>
                    <a:pt x="3319" y="1611"/>
                  </a:cubicBezTo>
                  <a:cubicBezTo>
                    <a:pt x="3315" y="1612"/>
                    <a:pt x="3311" y="1612"/>
                    <a:pt x="3307" y="1612"/>
                  </a:cubicBezTo>
                  <a:cubicBezTo>
                    <a:pt x="3256" y="1612"/>
                    <a:pt x="3208" y="1591"/>
                    <a:pt x="3172" y="1552"/>
                  </a:cubicBezTo>
                  <a:cubicBezTo>
                    <a:pt x="3127" y="1492"/>
                    <a:pt x="3148" y="1408"/>
                    <a:pt x="3165" y="1328"/>
                  </a:cubicBezTo>
                  <a:cubicBezTo>
                    <a:pt x="3190" y="1237"/>
                    <a:pt x="3200" y="1170"/>
                    <a:pt x="3165" y="1146"/>
                  </a:cubicBezTo>
                  <a:cubicBezTo>
                    <a:pt x="3085" y="1100"/>
                    <a:pt x="3001" y="1069"/>
                    <a:pt x="2913" y="1041"/>
                  </a:cubicBezTo>
                  <a:cubicBezTo>
                    <a:pt x="2710" y="971"/>
                    <a:pt x="2605" y="932"/>
                    <a:pt x="2588" y="852"/>
                  </a:cubicBezTo>
                  <a:cubicBezTo>
                    <a:pt x="2570" y="764"/>
                    <a:pt x="2675" y="726"/>
                    <a:pt x="2903" y="642"/>
                  </a:cubicBezTo>
                  <a:cubicBezTo>
                    <a:pt x="3029" y="596"/>
                    <a:pt x="3281" y="502"/>
                    <a:pt x="3316" y="446"/>
                  </a:cubicBezTo>
                  <a:cubicBezTo>
                    <a:pt x="3287" y="420"/>
                    <a:pt x="3146" y="417"/>
                    <a:pt x="3028" y="417"/>
                  </a:cubicBezTo>
                  <a:cubicBezTo>
                    <a:pt x="3002" y="417"/>
                    <a:pt x="2977" y="418"/>
                    <a:pt x="2955" y="418"/>
                  </a:cubicBezTo>
                  <a:cubicBezTo>
                    <a:pt x="2912" y="418"/>
                    <a:pt x="2868" y="419"/>
                    <a:pt x="2825" y="419"/>
                  </a:cubicBezTo>
                  <a:cubicBezTo>
                    <a:pt x="2681" y="419"/>
                    <a:pt x="2544" y="410"/>
                    <a:pt x="2458" y="362"/>
                  </a:cubicBezTo>
                  <a:cubicBezTo>
                    <a:pt x="2416" y="344"/>
                    <a:pt x="2384" y="306"/>
                    <a:pt x="2370" y="260"/>
                  </a:cubicBezTo>
                  <a:cubicBezTo>
                    <a:pt x="2356" y="187"/>
                    <a:pt x="2402" y="124"/>
                    <a:pt x="2440" y="71"/>
                  </a:cubicBezTo>
                  <a:cubicBezTo>
                    <a:pt x="2451" y="57"/>
                    <a:pt x="2461" y="43"/>
                    <a:pt x="2472" y="25"/>
                  </a:cubicBezTo>
                  <a:cubicBezTo>
                    <a:pt x="2458" y="22"/>
                    <a:pt x="2440" y="18"/>
                    <a:pt x="2423" y="15"/>
                  </a:cubicBezTo>
                  <a:cubicBezTo>
                    <a:pt x="2377" y="6"/>
                    <a:pt x="2330" y="1"/>
                    <a:pt x="2284" y="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170" name="Google Shape;3170;p104"/>
            <p:cNvSpPr/>
            <p:nvPr/>
          </p:nvSpPr>
          <p:spPr>
            <a:xfrm>
              <a:off x="2259243" y="2070557"/>
              <a:ext cx="13034" cy="35342"/>
            </a:xfrm>
            <a:custGeom>
              <a:avLst/>
              <a:gdLst/>
              <a:ahLst/>
              <a:cxnLst/>
              <a:rect l="l" t="t" r="r" b="b"/>
              <a:pathLst>
                <a:path w="960" h="2603" extrusionOk="0">
                  <a:moveTo>
                    <a:pt x="32" y="1"/>
                  </a:moveTo>
                  <a:lnTo>
                    <a:pt x="32" y="1"/>
                  </a:lnTo>
                  <a:cubicBezTo>
                    <a:pt x="1" y="291"/>
                    <a:pt x="39" y="1061"/>
                    <a:pt x="165" y="1541"/>
                  </a:cubicBezTo>
                  <a:cubicBezTo>
                    <a:pt x="225" y="1769"/>
                    <a:pt x="277" y="1807"/>
                    <a:pt x="288" y="1814"/>
                  </a:cubicBezTo>
                  <a:cubicBezTo>
                    <a:pt x="417" y="1884"/>
                    <a:pt x="526" y="2073"/>
                    <a:pt x="627" y="2252"/>
                  </a:cubicBezTo>
                  <a:cubicBezTo>
                    <a:pt x="655" y="2301"/>
                    <a:pt x="683" y="2350"/>
                    <a:pt x="711" y="2395"/>
                  </a:cubicBezTo>
                  <a:cubicBezTo>
                    <a:pt x="800" y="2536"/>
                    <a:pt x="862" y="2602"/>
                    <a:pt x="912" y="2602"/>
                  </a:cubicBezTo>
                  <a:cubicBezTo>
                    <a:pt x="919" y="2602"/>
                    <a:pt x="925" y="2601"/>
                    <a:pt x="932" y="2598"/>
                  </a:cubicBezTo>
                  <a:cubicBezTo>
                    <a:pt x="949" y="2591"/>
                    <a:pt x="953" y="2584"/>
                    <a:pt x="953" y="2584"/>
                  </a:cubicBezTo>
                  <a:cubicBezTo>
                    <a:pt x="960" y="2560"/>
                    <a:pt x="900" y="2476"/>
                    <a:pt x="872" y="2430"/>
                  </a:cubicBezTo>
                  <a:cubicBezTo>
                    <a:pt x="827" y="2374"/>
                    <a:pt x="792" y="2311"/>
                    <a:pt x="764" y="2245"/>
                  </a:cubicBezTo>
                  <a:cubicBezTo>
                    <a:pt x="746" y="2185"/>
                    <a:pt x="732" y="2126"/>
                    <a:pt x="725" y="2066"/>
                  </a:cubicBezTo>
                  <a:cubicBezTo>
                    <a:pt x="704" y="1905"/>
                    <a:pt x="676" y="1723"/>
                    <a:pt x="491" y="1555"/>
                  </a:cubicBezTo>
                  <a:cubicBezTo>
                    <a:pt x="344" y="1419"/>
                    <a:pt x="249" y="1033"/>
                    <a:pt x="155" y="571"/>
                  </a:cubicBezTo>
                  <a:lnTo>
                    <a:pt x="137" y="477"/>
                  </a:lnTo>
                  <a:lnTo>
                    <a:pt x="127" y="431"/>
                  </a:lnTo>
                  <a:cubicBezTo>
                    <a:pt x="95" y="263"/>
                    <a:pt x="64" y="106"/>
                    <a:pt x="32" y="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171" name="Google Shape;3171;p104"/>
            <p:cNvSpPr/>
            <p:nvPr/>
          </p:nvSpPr>
          <p:spPr>
            <a:xfrm>
              <a:off x="1664562" y="2045086"/>
              <a:ext cx="3435" cy="4711"/>
            </a:xfrm>
            <a:custGeom>
              <a:avLst/>
              <a:gdLst/>
              <a:ahLst/>
              <a:cxnLst/>
              <a:rect l="l" t="t" r="r" b="b"/>
              <a:pathLst>
                <a:path w="253" h="347" extrusionOk="0">
                  <a:moveTo>
                    <a:pt x="253" y="0"/>
                  </a:moveTo>
                  <a:lnTo>
                    <a:pt x="253" y="0"/>
                  </a:lnTo>
                  <a:cubicBezTo>
                    <a:pt x="239" y="4"/>
                    <a:pt x="221" y="4"/>
                    <a:pt x="207" y="4"/>
                  </a:cubicBezTo>
                  <a:lnTo>
                    <a:pt x="200" y="4"/>
                  </a:lnTo>
                  <a:cubicBezTo>
                    <a:pt x="130" y="4"/>
                    <a:pt x="50" y="77"/>
                    <a:pt x="25" y="161"/>
                  </a:cubicBezTo>
                  <a:cubicBezTo>
                    <a:pt x="0" y="228"/>
                    <a:pt x="32" y="301"/>
                    <a:pt x="99" y="329"/>
                  </a:cubicBezTo>
                  <a:cubicBezTo>
                    <a:pt x="109" y="336"/>
                    <a:pt x="120" y="343"/>
                    <a:pt x="134" y="347"/>
                  </a:cubicBezTo>
                  <a:cubicBezTo>
                    <a:pt x="144" y="319"/>
                    <a:pt x="148" y="291"/>
                    <a:pt x="155" y="263"/>
                  </a:cubicBezTo>
                  <a:cubicBezTo>
                    <a:pt x="165" y="168"/>
                    <a:pt x="197" y="77"/>
                    <a:pt x="253"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172" name="Google Shape;3172;p104"/>
            <p:cNvSpPr/>
            <p:nvPr/>
          </p:nvSpPr>
          <p:spPr>
            <a:xfrm>
              <a:off x="1423480" y="1702037"/>
              <a:ext cx="30142" cy="11880"/>
            </a:xfrm>
            <a:custGeom>
              <a:avLst/>
              <a:gdLst/>
              <a:ahLst/>
              <a:cxnLst/>
              <a:rect l="l" t="t" r="r" b="b"/>
              <a:pathLst>
                <a:path w="2220" h="875" extrusionOk="0">
                  <a:moveTo>
                    <a:pt x="2216" y="1"/>
                  </a:moveTo>
                  <a:cubicBezTo>
                    <a:pt x="2178" y="25"/>
                    <a:pt x="2139" y="50"/>
                    <a:pt x="2104" y="78"/>
                  </a:cubicBezTo>
                  <a:cubicBezTo>
                    <a:pt x="2069" y="102"/>
                    <a:pt x="2031" y="134"/>
                    <a:pt x="1982" y="165"/>
                  </a:cubicBezTo>
                  <a:cubicBezTo>
                    <a:pt x="1901" y="222"/>
                    <a:pt x="1831" y="242"/>
                    <a:pt x="1767" y="242"/>
                  </a:cubicBezTo>
                  <a:cubicBezTo>
                    <a:pt x="1692" y="242"/>
                    <a:pt x="1624" y="214"/>
                    <a:pt x="1555" y="186"/>
                  </a:cubicBezTo>
                  <a:cubicBezTo>
                    <a:pt x="1453" y="141"/>
                    <a:pt x="1348" y="113"/>
                    <a:pt x="1236" y="106"/>
                  </a:cubicBezTo>
                  <a:cubicBezTo>
                    <a:pt x="1231" y="105"/>
                    <a:pt x="1225" y="105"/>
                    <a:pt x="1220" y="105"/>
                  </a:cubicBezTo>
                  <a:cubicBezTo>
                    <a:pt x="1054" y="105"/>
                    <a:pt x="849" y="257"/>
                    <a:pt x="686" y="379"/>
                  </a:cubicBezTo>
                  <a:lnTo>
                    <a:pt x="665" y="396"/>
                  </a:lnTo>
                  <a:lnTo>
                    <a:pt x="602" y="442"/>
                  </a:lnTo>
                  <a:lnTo>
                    <a:pt x="560" y="473"/>
                  </a:lnTo>
                  <a:cubicBezTo>
                    <a:pt x="490" y="518"/>
                    <a:pt x="438" y="545"/>
                    <a:pt x="392" y="545"/>
                  </a:cubicBezTo>
                  <a:cubicBezTo>
                    <a:pt x="380" y="545"/>
                    <a:pt x="369" y="543"/>
                    <a:pt x="357" y="540"/>
                  </a:cubicBezTo>
                  <a:cubicBezTo>
                    <a:pt x="326" y="533"/>
                    <a:pt x="298" y="508"/>
                    <a:pt x="287" y="477"/>
                  </a:cubicBezTo>
                  <a:cubicBezTo>
                    <a:pt x="256" y="414"/>
                    <a:pt x="192" y="377"/>
                    <a:pt x="123" y="377"/>
                  </a:cubicBezTo>
                  <a:cubicBezTo>
                    <a:pt x="115" y="377"/>
                    <a:pt x="107" y="378"/>
                    <a:pt x="98" y="379"/>
                  </a:cubicBezTo>
                  <a:cubicBezTo>
                    <a:pt x="11" y="396"/>
                    <a:pt x="0" y="508"/>
                    <a:pt x="0" y="571"/>
                  </a:cubicBezTo>
                  <a:cubicBezTo>
                    <a:pt x="0" y="659"/>
                    <a:pt x="46" y="732"/>
                    <a:pt x="137" y="788"/>
                  </a:cubicBezTo>
                  <a:cubicBezTo>
                    <a:pt x="235" y="846"/>
                    <a:pt x="365" y="874"/>
                    <a:pt x="503" y="874"/>
                  </a:cubicBezTo>
                  <a:cubicBezTo>
                    <a:pt x="668" y="874"/>
                    <a:pt x="845" y="835"/>
                    <a:pt x="994" y="757"/>
                  </a:cubicBezTo>
                  <a:lnTo>
                    <a:pt x="1184" y="659"/>
                  </a:lnTo>
                  <a:cubicBezTo>
                    <a:pt x="1544" y="470"/>
                    <a:pt x="2150" y="158"/>
                    <a:pt x="2220" y="15"/>
                  </a:cubicBezTo>
                  <a:cubicBezTo>
                    <a:pt x="2220" y="11"/>
                    <a:pt x="2220" y="11"/>
                    <a:pt x="2220" y="8"/>
                  </a:cubicBezTo>
                  <a:lnTo>
                    <a:pt x="2216"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173" name="Google Shape;3173;p104"/>
            <p:cNvSpPr/>
            <p:nvPr/>
          </p:nvSpPr>
          <p:spPr>
            <a:xfrm>
              <a:off x="1110233" y="1631597"/>
              <a:ext cx="22498" cy="29097"/>
            </a:xfrm>
            <a:custGeom>
              <a:avLst/>
              <a:gdLst/>
              <a:ahLst/>
              <a:cxnLst/>
              <a:rect l="l" t="t" r="r" b="b"/>
              <a:pathLst>
                <a:path w="1657" h="2143" extrusionOk="0">
                  <a:moveTo>
                    <a:pt x="207" y="0"/>
                  </a:moveTo>
                  <a:lnTo>
                    <a:pt x="204" y="4"/>
                  </a:lnTo>
                  <a:cubicBezTo>
                    <a:pt x="158" y="34"/>
                    <a:pt x="104" y="51"/>
                    <a:pt x="50" y="51"/>
                  </a:cubicBezTo>
                  <a:cubicBezTo>
                    <a:pt x="33" y="51"/>
                    <a:pt x="17" y="49"/>
                    <a:pt x="1" y="46"/>
                  </a:cubicBezTo>
                  <a:lnTo>
                    <a:pt x="1" y="46"/>
                  </a:lnTo>
                  <a:cubicBezTo>
                    <a:pt x="165" y="221"/>
                    <a:pt x="302" y="417"/>
                    <a:pt x="407" y="631"/>
                  </a:cubicBezTo>
                  <a:cubicBezTo>
                    <a:pt x="428" y="680"/>
                    <a:pt x="543" y="708"/>
                    <a:pt x="648" y="732"/>
                  </a:cubicBezTo>
                  <a:cubicBezTo>
                    <a:pt x="785" y="767"/>
                    <a:pt x="935" y="802"/>
                    <a:pt x="1026" y="900"/>
                  </a:cubicBezTo>
                  <a:cubicBezTo>
                    <a:pt x="1086" y="967"/>
                    <a:pt x="1170" y="981"/>
                    <a:pt x="1236" y="991"/>
                  </a:cubicBezTo>
                  <a:cubicBezTo>
                    <a:pt x="1306" y="1005"/>
                    <a:pt x="1362" y="1016"/>
                    <a:pt x="1387" y="1068"/>
                  </a:cubicBezTo>
                  <a:cubicBezTo>
                    <a:pt x="1405" y="1110"/>
                    <a:pt x="1398" y="1156"/>
                    <a:pt x="1373" y="1194"/>
                  </a:cubicBezTo>
                  <a:cubicBezTo>
                    <a:pt x="1345" y="1257"/>
                    <a:pt x="1327" y="1324"/>
                    <a:pt x="1324" y="1394"/>
                  </a:cubicBezTo>
                  <a:cubicBezTo>
                    <a:pt x="1320" y="1436"/>
                    <a:pt x="1327" y="1478"/>
                    <a:pt x="1352" y="1516"/>
                  </a:cubicBezTo>
                  <a:cubicBezTo>
                    <a:pt x="1355" y="1520"/>
                    <a:pt x="1359" y="1523"/>
                    <a:pt x="1366" y="1523"/>
                  </a:cubicBezTo>
                  <a:cubicBezTo>
                    <a:pt x="1457" y="1523"/>
                    <a:pt x="1534" y="1597"/>
                    <a:pt x="1566" y="1712"/>
                  </a:cubicBezTo>
                  <a:cubicBezTo>
                    <a:pt x="1594" y="1824"/>
                    <a:pt x="1559" y="1936"/>
                    <a:pt x="1471" y="1985"/>
                  </a:cubicBezTo>
                  <a:cubicBezTo>
                    <a:pt x="1433" y="2003"/>
                    <a:pt x="1412" y="2045"/>
                    <a:pt x="1422" y="2087"/>
                  </a:cubicBezTo>
                  <a:cubicBezTo>
                    <a:pt x="1429" y="2122"/>
                    <a:pt x="1461" y="2143"/>
                    <a:pt x="1510" y="2143"/>
                  </a:cubicBezTo>
                  <a:cubicBezTo>
                    <a:pt x="1534" y="2139"/>
                    <a:pt x="1562" y="2125"/>
                    <a:pt x="1576" y="2104"/>
                  </a:cubicBezTo>
                  <a:cubicBezTo>
                    <a:pt x="1639" y="2020"/>
                    <a:pt x="1657" y="1824"/>
                    <a:pt x="1615" y="1667"/>
                  </a:cubicBezTo>
                  <a:cubicBezTo>
                    <a:pt x="1594" y="1579"/>
                    <a:pt x="1590" y="1492"/>
                    <a:pt x="1604" y="1404"/>
                  </a:cubicBezTo>
                  <a:cubicBezTo>
                    <a:pt x="1615" y="1296"/>
                    <a:pt x="1622" y="1222"/>
                    <a:pt x="1534" y="1124"/>
                  </a:cubicBezTo>
                  <a:cubicBezTo>
                    <a:pt x="1520" y="1110"/>
                    <a:pt x="1506" y="1093"/>
                    <a:pt x="1492" y="1075"/>
                  </a:cubicBezTo>
                  <a:lnTo>
                    <a:pt x="1475" y="1047"/>
                  </a:lnTo>
                  <a:lnTo>
                    <a:pt x="1408" y="946"/>
                  </a:lnTo>
                  <a:lnTo>
                    <a:pt x="1419" y="946"/>
                  </a:lnTo>
                  <a:cubicBezTo>
                    <a:pt x="1398" y="904"/>
                    <a:pt x="1376" y="862"/>
                    <a:pt x="1359" y="820"/>
                  </a:cubicBezTo>
                  <a:cubicBezTo>
                    <a:pt x="1279" y="644"/>
                    <a:pt x="1228" y="552"/>
                    <a:pt x="1162" y="552"/>
                  </a:cubicBezTo>
                  <a:cubicBezTo>
                    <a:pt x="1154" y="552"/>
                    <a:pt x="1144" y="554"/>
                    <a:pt x="1135" y="557"/>
                  </a:cubicBezTo>
                  <a:cubicBezTo>
                    <a:pt x="1119" y="563"/>
                    <a:pt x="1103" y="566"/>
                    <a:pt x="1088" y="566"/>
                  </a:cubicBezTo>
                  <a:cubicBezTo>
                    <a:pt x="1024" y="566"/>
                    <a:pt x="970" y="520"/>
                    <a:pt x="925" y="480"/>
                  </a:cubicBezTo>
                  <a:cubicBezTo>
                    <a:pt x="881" y="440"/>
                    <a:pt x="841" y="403"/>
                    <a:pt x="795" y="403"/>
                  </a:cubicBezTo>
                  <a:cubicBezTo>
                    <a:pt x="793" y="403"/>
                    <a:pt x="790" y="403"/>
                    <a:pt x="788" y="403"/>
                  </a:cubicBezTo>
                  <a:cubicBezTo>
                    <a:pt x="757" y="406"/>
                    <a:pt x="722" y="413"/>
                    <a:pt x="683" y="420"/>
                  </a:cubicBezTo>
                  <a:cubicBezTo>
                    <a:pt x="626" y="432"/>
                    <a:pt x="564" y="444"/>
                    <a:pt x="507" y="444"/>
                  </a:cubicBezTo>
                  <a:cubicBezTo>
                    <a:pt x="456" y="444"/>
                    <a:pt x="409" y="434"/>
                    <a:pt x="372" y="406"/>
                  </a:cubicBezTo>
                  <a:cubicBezTo>
                    <a:pt x="333" y="378"/>
                    <a:pt x="309" y="336"/>
                    <a:pt x="305" y="287"/>
                  </a:cubicBezTo>
                  <a:cubicBezTo>
                    <a:pt x="284" y="126"/>
                    <a:pt x="235" y="18"/>
                    <a:pt x="207"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174" name="Google Shape;3174;p104"/>
            <p:cNvSpPr/>
            <p:nvPr/>
          </p:nvSpPr>
          <p:spPr>
            <a:xfrm>
              <a:off x="1475522" y="1731935"/>
              <a:ext cx="1059" cy="1914"/>
            </a:xfrm>
            <a:custGeom>
              <a:avLst/>
              <a:gdLst/>
              <a:ahLst/>
              <a:cxnLst/>
              <a:rect l="l" t="t" r="r" b="b"/>
              <a:pathLst>
                <a:path w="78" h="141" extrusionOk="0">
                  <a:moveTo>
                    <a:pt x="78" y="1"/>
                  </a:moveTo>
                  <a:cubicBezTo>
                    <a:pt x="50" y="11"/>
                    <a:pt x="29" y="32"/>
                    <a:pt x="15" y="60"/>
                  </a:cubicBezTo>
                  <a:cubicBezTo>
                    <a:pt x="8" y="85"/>
                    <a:pt x="1" y="113"/>
                    <a:pt x="1" y="141"/>
                  </a:cubicBezTo>
                  <a:cubicBezTo>
                    <a:pt x="25" y="92"/>
                    <a:pt x="50" y="46"/>
                    <a:pt x="78" y="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175" name="Google Shape;3175;p104"/>
            <p:cNvSpPr/>
            <p:nvPr/>
          </p:nvSpPr>
          <p:spPr>
            <a:xfrm>
              <a:off x="1389726" y="1671094"/>
              <a:ext cx="58858" cy="39483"/>
            </a:xfrm>
            <a:custGeom>
              <a:avLst/>
              <a:gdLst/>
              <a:ahLst/>
              <a:cxnLst/>
              <a:rect l="l" t="t" r="r" b="b"/>
              <a:pathLst>
                <a:path w="4335" h="2908" extrusionOk="0">
                  <a:moveTo>
                    <a:pt x="2336" y="0"/>
                  </a:moveTo>
                  <a:cubicBezTo>
                    <a:pt x="2281" y="0"/>
                    <a:pt x="2237" y="5"/>
                    <a:pt x="2206" y="15"/>
                  </a:cubicBezTo>
                  <a:cubicBezTo>
                    <a:pt x="2203" y="18"/>
                    <a:pt x="2196" y="18"/>
                    <a:pt x="2189" y="22"/>
                  </a:cubicBezTo>
                  <a:cubicBezTo>
                    <a:pt x="2182" y="162"/>
                    <a:pt x="1979" y="179"/>
                    <a:pt x="1639" y="211"/>
                  </a:cubicBezTo>
                  <a:cubicBezTo>
                    <a:pt x="1425" y="225"/>
                    <a:pt x="1212" y="253"/>
                    <a:pt x="998" y="298"/>
                  </a:cubicBezTo>
                  <a:cubicBezTo>
                    <a:pt x="606" y="389"/>
                    <a:pt x="225" y="750"/>
                    <a:pt x="172" y="869"/>
                  </a:cubicBezTo>
                  <a:cubicBezTo>
                    <a:pt x="221" y="869"/>
                    <a:pt x="263" y="893"/>
                    <a:pt x="291" y="932"/>
                  </a:cubicBezTo>
                  <a:cubicBezTo>
                    <a:pt x="361" y="1026"/>
                    <a:pt x="305" y="1201"/>
                    <a:pt x="228" y="1446"/>
                  </a:cubicBezTo>
                  <a:cubicBezTo>
                    <a:pt x="179" y="1593"/>
                    <a:pt x="137" y="1744"/>
                    <a:pt x="102" y="1895"/>
                  </a:cubicBezTo>
                  <a:cubicBezTo>
                    <a:pt x="1" y="2416"/>
                    <a:pt x="85" y="2784"/>
                    <a:pt x="221" y="2882"/>
                  </a:cubicBezTo>
                  <a:cubicBezTo>
                    <a:pt x="245" y="2899"/>
                    <a:pt x="271" y="2908"/>
                    <a:pt x="300" y="2908"/>
                  </a:cubicBezTo>
                  <a:cubicBezTo>
                    <a:pt x="336" y="2908"/>
                    <a:pt x="375" y="2895"/>
                    <a:pt x="417" y="2868"/>
                  </a:cubicBezTo>
                  <a:cubicBezTo>
                    <a:pt x="778" y="2651"/>
                    <a:pt x="862" y="2483"/>
                    <a:pt x="774" y="2140"/>
                  </a:cubicBezTo>
                  <a:cubicBezTo>
                    <a:pt x="673" y="1727"/>
                    <a:pt x="806" y="1173"/>
                    <a:pt x="925" y="932"/>
                  </a:cubicBezTo>
                  <a:cubicBezTo>
                    <a:pt x="995" y="792"/>
                    <a:pt x="1117" y="757"/>
                    <a:pt x="1226" y="725"/>
                  </a:cubicBezTo>
                  <a:cubicBezTo>
                    <a:pt x="1345" y="690"/>
                    <a:pt x="1439" y="666"/>
                    <a:pt x="1481" y="529"/>
                  </a:cubicBezTo>
                  <a:cubicBezTo>
                    <a:pt x="1523" y="382"/>
                    <a:pt x="1653" y="277"/>
                    <a:pt x="1804" y="260"/>
                  </a:cubicBezTo>
                  <a:cubicBezTo>
                    <a:pt x="1826" y="257"/>
                    <a:pt x="1848" y="255"/>
                    <a:pt x="1871" y="255"/>
                  </a:cubicBezTo>
                  <a:cubicBezTo>
                    <a:pt x="2085" y="255"/>
                    <a:pt x="2305" y="388"/>
                    <a:pt x="2448" y="610"/>
                  </a:cubicBezTo>
                  <a:cubicBezTo>
                    <a:pt x="2644" y="918"/>
                    <a:pt x="2500" y="1149"/>
                    <a:pt x="2374" y="1359"/>
                  </a:cubicBezTo>
                  <a:cubicBezTo>
                    <a:pt x="2311" y="1460"/>
                    <a:pt x="2255" y="1555"/>
                    <a:pt x="2238" y="1649"/>
                  </a:cubicBezTo>
                  <a:lnTo>
                    <a:pt x="2238" y="1660"/>
                  </a:lnTo>
                  <a:cubicBezTo>
                    <a:pt x="2259" y="1649"/>
                    <a:pt x="2283" y="1632"/>
                    <a:pt x="2301" y="1621"/>
                  </a:cubicBezTo>
                  <a:cubicBezTo>
                    <a:pt x="2397" y="1556"/>
                    <a:pt x="2535" y="1465"/>
                    <a:pt x="2678" y="1465"/>
                  </a:cubicBezTo>
                  <a:cubicBezTo>
                    <a:pt x="2711" y="1465"/>
                    <a:pt x="2744" y="1470"/>
                    <a:pt x="2777" y="1481"/>
                  </a:cubicBezTo>
                  <a:cubicBezTo>
                    <a:pt x="2990" y="1551"/>
                    <a:pt x="2983" y="1804"/>
                    <a:pt x="2976" y="1986"/>
                  </a:cubicBezTo>
                  <a:cubicBezTo>
                    <a:pt x="2976" y="2052"/>
                    <a:pt x="2973" y="2161"/>
                    <a:pt x="2990" y="2182"/>
                  </a:cubicBezTo>
                  <a:cubicBezTo>
                    <a:pt x="3067" y="2168"/>
                    <a:pt x="3298" y="1758"/>
                    <a:pt x="3298" y="1397"/>
                  </a:cubicBezTo>
                  <a:cubicBezTo>
                    <a:pt x="3298" y="1173"/>
                    <a:pt x="3368" y="1103"/>
                    <a:pt x="3421" y="1051"/>
                  </a:cubicBezTo>
                  <a:cubicBezTo>
                    <a:pt x="3459" y="1016"/>
                    <a:pt x="3473" y="998"/>
                    <a:pt x="3463" y="918"/>
                  </a:cubicBezTo>
                  <a:cubicBezTo>
                    <a:pt x="3452" y="872"/>
                    <a:pt x="3470" y="820"/>
                    <a:pt x="3512" y="792"/>
                  </a:cubicBezTo>
                  <a:cubicBezTo>
                    <a:pt x="3530" y="780"/>
                    <a:pt x="3549" y="774"/>
                    <a:pt x="3570" y="774"/>
                  </a:cubicBezTo>
                  <a:cubicBezTo>
                    <a:pt x="3629" y="774"/>
                    <a:pt x="3702" y="815"/>
                    <a:pt x="3803" y="869"/>
                  </a:cubicBezTo>
                  <a:cubicBezTo>
                    <a:pt x="3928" y="938"/>
                    <a:pt x="4078" y="1017"/>
                    <a:pt x="4206" y="1017"/>
                  </a:cubicBezTo>
                  <a:cubicBezTo>
                    <a:pt x="4214" y="1017"/>
                    <a:pt x="4222" y="1016"/>
                    <a:pt x="4230" y="1016"/>
                  </a:cubicBezTo>
                  <a:cubicBezTo>
                    <a:pt x="4307" y="1012"/>
                    <a:pt x="4321" y="991"/>
                    <a:pt x="4321" y="991"/>
                  </a:cubicBezTo>
                  <a:cubicBezTo>
                    <a:pt x="4335" y="960"/>
                    <a:pt x="4251" y="827"/>
                    <a:pt x="4191" y="736"/>
                  </a:cubicBezTo>
                  <a:cubicBezTo>
                    <a:pt x="4111" y="617"/>
                    <a:pt x="4037" y="491"/>
                    <a:pt x="3978" y="354"/>
                  </a:cubicBezTo>
                  <a:cubicBezTo>
                    <a:pt x="3907" y="188"/>
                    <a:pt x="3780" y="153"/>
                    <a:pt x="3590" y="153"/>
                  </a:cubicBezTo>
                  <a:cubicBezTo>
                    <a:pt x="3543" y="153"/>
                    <a:pt x="3493" y="155"/>
                    <a:pt x="3438" y="158"/>
                  </a:cubicBezTo>
                  <a:cubicBezTo>
                    <a:pt x="3379" y="161"/>
                    <a:pt x="3319" y="164"/>
                    <a:pt x="3261" y="164"/>
                  </a:cubicBezTo>
                  <a:cubicBezTo>
                    <a:pt x="3170" y="164"/>
                    <a:pt x="3082" y="156"/>
                    <a:pt x="3001" y="127"/>
                  </a:cubicBezTo>
                  <a:cubicBezTo>
                    <a:pt x="2787" y="49"/>
                    <a:pt x="2511" y="0"/>
                    <a:pt x="2336"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176" name="Google Shape;3176;p104"/>
            <p:cNvSpPr/>
            <p:nvPr/>
          </p:nvSpPr>
          <p:spPr>
            <a:xfrm>
              <a:off x="1309917" y="1312268"/>
              <a:ext cx="14" cy="14"/>
            </a:xfrm>
            <a:custGeom>
              <a:avLst/>
              <a:gdLst/>
              <a:ahLst/>
              <a:cxnLst/>
              <a:rect l="l" t="t" r="r" b="b"/>
              <a:pathLst>
                <a:path w="1" h="1" extrusionOk="0">
                  <a:moveTo>
                    <a:pt x="1"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177" name="Google Shape;3177;p104"/>
            <p:cNvSpPr/>
            <p:nvPr/>
          </p:nvSpPr>
          <p:spPr>
            <a:xfrm>
              <a:off x="1507986" y="1447255"/>
              <a:ext cx="18601" cy="10482"/>
            </a:xfrm>
            <a:custGeom>
              <a:avLst/>
              <a:gdLst/>
              <a:ahLst/>
              <a:cxnLst/>
              <a:rect l="l" t="t" r="r" b="b"/>
              <a:pathLst>
                <a:path w="1370" h="772" extrusionOk="0">
                  <a:moveTo>
                    <a:pt x="716" y="0"/>
                  </a:moveTo>
                  <a:cubicBezTo>
                    <a:pt x="671" y="0"/>
                    <a:pt x="625" y="11"/>
                    <a:pt x="578" y="36"/>
                  </a:cubicBezTo>
                  <a:cubicBezTo>
                    <a:pt x="396" y="127"/>
                    <a:pt x="200" y="183"/>
                    <a:pt x="1" y="197"/>
                  </a:cubicBezTo>
                  <a:cubicBezTo>
                    <a:pt x="214" y="260"/>
                    <a:pt x="410" y="376"/>
                    <a:pt x="568" y="537"/>
                  </a:cubicBezTo>
                  <a:cubicBezTo>
                    <a:pt x="645" y="624"/>
                    <a:pt x="680" y="701"/>
                    <a:pt x="669" y="771"/>
                  </a:cubicBezTo>
                  <a:cubicBezTo>
                    <a:pt x="809" y="771"/>
                    <a:pt x="1268" y="621"/>
                    <a:pt x="1359" y="477"/>
                  </a:cubicBezTo>
                  <a:cubicBezTo>
                    <a:pt x="1370" y="460"/>
                    <a:pt x="1366" y="453"/>
                    <a:pt x="1352" y="439"/>
                  </a:cubicBezTo>
                  <a:cubicBezTo>
                    <a:pt x="1317" y="407"/>
                    <a:pt x="1279" y="372"/>
                    <a:pt x="1237" y="334"/>
                  </a:cubicBezTo>
                  <a:cubicBezTo>
                    <a:pt x="1069" y="169"/>
                    <a:pt x="895" y="0"/>
                    <a:pt x="716"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178" name="Google Shape;3178;p104"/>
            <p:cNvSpPr/>
            <p:nvPr/>
          </p:nvSpPr>
          <p:spPr>
            <a:xfrm>
              <a:off x="1328559" y="1417113"/>
              <a:ext cx="4236" cy="937"/>
            </a:xfrm>
            <a:custGeom>
              <a:avLst/>
              <a:gdLst/>
              <a:ahLst/>
              <a:cxnLst/>
              <a:rect l="l" t="t" r="r" b="b"/>
              <a:pathLst>
                <a:path w="312" h="69" extrusionOk="0">
                  <a:moveTo>
                    <a:pt x="52" y="0"/>
                  </a:moveTo>
                  <a:cubicBezTo>
                    <a:pt x="35" y="0"/>
                    <a:pt x="19" y="4"/>
                    <a:pt x="4" y="12"/>
                  </a:cubicBezTo>
                  <a:cubicBezTo>
                    <a:pt x="4" y="16"/>
                    <a:pt x="0" y="23"/>
                    <a:pt x="4" y="30"/>
                  </a:cubicBezTo>
                  <a:cubicBezTo>
                    <a:pt x="4" y="51"/>
                    <a:pt x="7" y="54"/>
                    <a:pt x="11" y="58"/>
                  </a:cubicBezTo>
                  <a:cubicBezTo>
                    <a:pt x="15" y="61"/>
                    <a:pt x="31" y="68"/>
                    <a:pt x="68" y="68"/>
                  </a:cubicBezTo>
                  <a:cubicBezTo>
                    <a:pt x="113" y="68"/>
                    <a:pt x="188" y="58"/>
                    <a:pt x="312" y="16"/>
                  </a:cubicBezTo>
                  <a:cubicBezTo>
                    <a:pt x="270" y="16"/>
                    <a:pt x="224" y="12"/>
                    <a:pt x="182" y="9"/>
                  </a:cubicBezTo>
                  <a:cubicBezTo>
                    <a:pt x="147" y="5"/>
                    <a:pt x="105" y="2"/>
                    <a:pt x="70" y="2"/>
                  </a:cubicBezTo>
                  <a:cubicBezTo>
                    <a:pt x="64" y="1"/>
                    <a:pt x="58" y="0"/>
                    <a:pt x="52"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179" name="Google Shape;3179;p104"/>
            <p:cNvSpPr/>
            <p:nvPr/>
          </p:nvSpPr>
          <p:spPr>
            <a:xfrm>
              <a:off x="1359407" y="1645812"/>
              <a:ext cx="55247" cy="22335"/>
            </a:xfrm>
            <a:custGeom>
              <a:avLst/>
              <a:gdLst/>
              <a:ahLst/>
              <a:cxnLst/>
              <a:rect l="l" t="t" r="r" b="b"/>
              <a:pathLst>
                <a:path w="4069" h="1645" extrusionOk="0">
                  <a:moveTo>
                    <a:pt x="2059" y="0"/>
                  </a:moveTo>
                  <a:cubicBezTo>
                    <a:pt x="1943" y="0"/>
                    <a:pt x="1814" y="165"/>
                    <a:pt x="1684" y="326"/>
                  </a:cubicBezTo>
                  <a:cubicBezTo>
                    <a:pt x="1617" y="413"/>
                    <a:pt x="1544" y="497"/>
                    <a:pt x="1467" y="578"/>
                  </a:cubicBezTo>
                  <a:lnTo>
                    <a:pt x="1474" y="578"/>
                  </a:lnTo>
                  <a:lnTo>
                    <a:pt x="1386" y="651"/>
                  </a:lnTo>
                  <a:lnTo>
                    <a:pt x="1355" y="676"/>
                  </a:lnTo>
                  <a:cubicBezTo>
                    <a:pt x="1274" y="740"/>
                    <a:pt x="1175" y="778"/>
                    <a:pt x="1071" y="778"/>
                  </a:cubicBezTo>
                  <a:cubicBezTo>
                    <a:pt x="1066" y="778"/>
                    <a:pt x="1062" y="777"/>
                    <a:pt x="1057" y="777"/>
                  </a:cubicBezTo>
                  <a:cubicBezTo>
                    <a:pt x="1048" y="777"/>
                    <a:pt x="1039" y="776"/>
                    <a:pt x="1029" y="776"/>
                  </a:cubicBezTo>
                  <a:cubicBezTo>
                    <a:pt x="700" y="776"/>
                    <a:pt x="106" y="1116"/>
                    <a:pt x="18" y="1316"/>
                  </a:cubicBezTo>
                  <a:cubicBezTo>
                    <a:pt x="0" y="1351"/>
                    <a:pt x="11" y="1362"/>
                    <a:pt x="18" y="1369"/>
                  </a:cubicBezTo>
                  <a:cubicBezTo>
                    <a:pt x="52" y="1404"/>
                    <a:pt x="88" y="1416"/>
                    <a:pt x="132" y="1416"/>
                  </a:cubicBezTo>
                  <a:cubicBezTo>
                    <a:pt x="168" y="1416"/>
                    <a:pt x="209" y="1408"/>
                    <a:pt x="259" y="1397"/>
                  </a:cubicBezTo>
                  <a:cubicBezTo>
                    <a:pt x="314" y="1385"/>
                    <a:pt x="374" y="1373"/>
                    <a:pt x="437" y="1373"/>
                  </a:cubicBezTo>
                  <a:cubicBezTo>
                    <a:pt x="525" y="1373"/>
                    <a:pt x="620" y="1398"/>
                    <a:pt x="718" y="1488"/>
                  </a:cubicBezTo>
                  <a:cubicBezTo>
                    <a:pt x="752" y="1519"/>
                    <a:pt x="795" y="1533"/>
                    <a:pt x="845" y="1533"/>
                  </a:cubicBezTo>
                  <a:cubicBezTo>
                    <a:pt x="1035" y="1533"/>
                    <a:pt x="1320" y="1336"/>
                    <a:pt x="1558" y="1173"/>
                  </a:cubicBezTo>
                  <a:cubicBezTo>
                    <a:pt x="1673" y="1096"/>
                    <a:pt x="1779" y="1022"/>
                    <a:pt x="1877" y="970"/>
                  </a:cubicBezTo>
                  <a:cubicBezTo>
                    <a:pt x="1946" y="932"/>
                    <a:pt x="2002" y="907"/>
                    <a:pt x="2048" y="907"/>
                  </a:cubicBezTo>
                  <a:cubicBezTo>
                    <a:pt x="2070" y="907"/>
                    <a:pt x="2090" y="912"/>
                    <a:pt x="2108" y="924"/>
                  </a:cubicBezTo>
                  <a:cubicBezTo>
                    <a:pt x="2160" y="966"/>
                    <a:pt x="2136" y="1043"/>
                    <a:pt x="2111" y="1120"/>
                  </a:cubicBezTo>
                  <a:cubicBezTo>
                    <a:pt x="2094" y="1162"/>
                    <a:pt x="2083" y="1204"/>
                    <a:pt x="2083" y="1250"/>
                  </a:cubicBezTo>
                  <a:lnTo>
                    <a:pt x="2104" y="1250"/>
                  </a:lnTo>
                  <a:cubicBezTo>
                    <a:pt x="2286" y="1250"/>
                    <a:pt x="2328" y="1337"/>
                    <a:pt x="2367" y="1411"/>
                  </a:cubicBezTo>
                  <a:cubicBezTo>
                    <a:pt x="2402" y="1495"/>
                    <a:pt x="2465" y="1558"/>
                    <a:pt x="2549" y="1597"/>
                  </a:cubicBezTo>
                  <a:cubicBezTo>
                    <a:pt x="2589" y="1617"/>
                    <a:pt x="2633" y="1625"/>
                    <a:pt x="2679" y="1625"/>
                  </a:cubicBezTo>
                  <a:cubicBezTo>
                    <a:pt x="2791" y="1625"/>
                    <a:pt x="2919" y="1574"/>
                    <a:pt x="3053" y="1520"/>
                  </a:cubicBezTo>
                  <a:cubicBezTo>
                    <a:pt x="3207" y="1460"/>
                    <a:pt x="3368" y="1393"/>
                    <a:pt x="3536" y="1393"/>
                  </a:cubicBezTo>
                  <a:cubicBezTo>
                    <a:pt x="3756" y="1393"/>
                    <a:pt x="3851" y="1513"/>
                    <a:pt x="3911" y="1590"/>
                  </a:cubicBezTo>
                  <a:cubicBezTo>
                    <a:pt x="3942" y="1629"/>
                    <a:pt x="3954" y="1645"/>
                    <a:pt x="3969" y="1645"/>
                  </a:cubicBezTo>
                  <a:cubicBezTo>
                    <a:pt x="3979" y="1645"/>
                    <a:pt x="3990" y="1637"/>
                    <a:pt x="4009" y="1625"/>
                  </a:cubicBezTo>
                  <a:cubicBezTo>
                    <a:pt x="4026" y="1614"/>
                    <a:pt x="4044" y="1597"/>
                    <a:pt x="4051" y="1576"/>
                  </a:cubicBezTo>
                  <a:cubicBezTo>
                    <a:pt x="4068" y="1516"/>
                    <a:pt x="4005" y="1414"/>
                    <a:pt x="3939" y="1306"/>
                  </a:cubicBezTo>
                  <a:cubicBezTo>
                    <a:pt x="3855" y="1169"/>
                    <a:pt x="3763" y="1015"/>
                    <a:pt x="3739" y="837"/>
                  </a:cubicBezTo>
                  <a:cubicBezTo>
                    <a:pt x="3721" y="707"/>
                    <a:pt x="3658" y="700"/>
                    <a:pt x="3518" y="700"/>
                  </a:cubicBezTo>
                  <a:cubicBezTo>
                    <a:pt x="3385" y="697"/>
                    <a:pt x="3189" y="690"/>
                    <a:pt x="3158" y="424"/>
                  </a:cubicBezTo>
                  <a:cubicBezTo>
                    <a:pt x="3116" y="88"/>
                    <a:pt x="2419" y="0"/>
                    <a:pt x="2059"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180" name="Google Shape;3180;p104"/>
            <p:cNvSpPr/>
            <p:nvPr/>
          </p:nvSpPr>
          <p:spPr>
            <a:xfrm>
              <a:off x="1451571" y="1689858"/>
              <a:ext cx="24589" cy="7454"/>
            </a:xfrm>
            <a:custGeom>
              <a:avLst/>
              <a:gdLst/>
              <a:ahLst/>
              <a:cxnLst/>
              <a:rect l="l" t="t" r="r" b="b"/>
              <a:pathLst>
                <a:path w="1811" h="549" extrusionOk="0">
                  <a:moveTo>
                    <a:pt x="1702" y="0"/>
                  </a:moveTo>
                  <a:cubicBezTo>
                    <a:pt x="1664" y="0"/>
                    <a:pt x="1610" y="15"/>
                    <a:pt x="1530" y="40"/>
                  </a:cubicBezTo>
                  <a:cubicBezTo>
                    <a:pt x="1425" y="72"/>
                    <a:pt x="1295" y="111"/>
                    <a:pt x="1148" y="111"/>
                  </a:cubicBezTo>
                  <a:cubicBezTo>
                    <a:pt x="1118" y="111"/>
                    <a:pt x="1088" y="110"/>
                    <a:pt x="1057" y="106"/>
                  </a:cubicBezTo>
                  <a:cubicBezTo>
                    <a:pt x="1023" y="102"/>
                    <a:pt x="986" y="100"/>
                    <a:pt x="946" y="100"/>
                  </a:cubicBezTo>
                  <a:cubicBezTo>
                    <a:pt x="618" y="100"/>
                    <a:pt x="137" y="247"/>
                    <a:pt x="25" y="394"/>
                  </a:cubicBezTo>
                  <a:cubicBezTo>
                    <a:pt x="0" y="429"/>
                    <a:pt x="7" y="446"/>
                    <a:pt x="11" y="453"/>
                  </a:cubicBezTo>
                  <a:cubicBezTo>
                    <a:pt x="38" y="524"/>
                    <a:pt x="58" y="549"/>
                    <a:pt x="130" y="549"/>
                  </a:cubicBezTo>
                  <a:cubicBezTo>
                    <a:pt x="161" y="549"/>
                    <a:pt x="201" y="544"/>
                    <a:pt x="256" y="537"/>
                  </a:cubicBezTo>
                  <a:lnTo>
                    <a:pt x="329" y="523"/>
                  </a:lnTo>
                  <a:lnTo>
                    <a:pt x="336" y="523"/>
                  </a:lnTo>
                  <a:lnTo>
                    <a:pt x="385" y="516"/>
                  </a:lnTo>
                  <a:cubicBezTo>
                    <a:pt x="476" y="506"/>
                    <a:pt x="609" y="488"/>
                    <a:pt x="770" y="481"/>
                  </a:cubicBezTo>
                  <a:cubicBezTo>
                    <a:pt x="1271" y="464"/>
                    <a:pt x="1698" y="334"/>
                    <a:pt x="1789" y="176"/>
                  </a:cubicBezTo>
                  <a:cubicBezTo>
                    <a:pt x="1810" y="134"/>
                    <a:pt x="1810" y="85"/>
                    <a:pt x="1782" y="47"/>
                  </a:cubicBezTo>
                  <a:cubicBezTo>
                    <a:pt x="1779" y="40"/>
                    <a:pt x="1775" y="33"/>
                    <a:pt x="1768" y="29"/>
                  </a:cubicBezTo>
                  <a:cubicBezTo>
                    <a:pt x="1753" y="9"/>
                    <a:pt x="1732" y="0"/>
                    <a:pt x="1702"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181" name="Google Shape;3181;p104"/>
            <p:cNvSpPr/>
            <p:nvPr/>
          </p:nvSpPr>
          <p:spPr>
            <a:xfrm>
              <a:off x="1051157" y="1420222"/>
              <a:ext cx="5241" cy="3965"/>
            </a:xfrm>
            <a:custGeom>
              <a:avLst/>
              <a:gdLst/>
              <a:ahLst/>
              <a:cxnLst/>
              <a:rect l="l" t="t" r="r" b="b"/>
              <a:pathLst>
                <a:path w="386" h="292" extrusionOk="0">
                  <a:moveTo>
                    <a:pt x="385" y="0"/>
                  </a:moveTo>
                  <a:cubicBezTo>
                    <a:pt x="312" y="49"/>
                    <a:pt x="252" y="88"/>
                    <a:pt x="203" y="112"/>
                  </a:cubicBezTo>
                  <a:cubicBezTo>
                    <a:pt x="123" y="151"/>
                    <a:pt x="53" y="210"/>
                    <a:pt x="0" y="287"/>
                  </a:cubicBezTo>
                  <a:cubicBezTo>
                    <a:pt x="14" y="291"/>
                    <a:pt x="28" y="291"/>
                    <a:pt x="46" y="291"/>
                  </a:cubicBezTo>
                  <a:cubicBezTo>
                    <a:pt x="57" y="291"/>
                    <a:pt x="68" y="292"/>
                    <a:pt x="79" y="292"/>
                  </a:cubicBezTo>
                  <a:cubicBezTo>
                    <a:pt x="188" y="292"/>
                    <a:pt x="281" y="261"/>
                    <a:pt x="322" y="210"/>
                  </a:cubicBezTo>
                  <a:cubicBezTo>
                    <a:pt x="340" y="189"/>
                    <a:pt x="347" y="158"/>
                    <a:pt x="340" y="130"/>
                  </a:cubicBezTo>
                  <a:cubicBezTo>
                    <a:pt x="333" y="84"/>
                    <a:pt x="350" y="35"/>
                    <a:pt x="385"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182" name="Google Shape;3182;p104"/>
            <p:cNvSpPr/>
            <p:nvPr/>
          </p:nvSpPr>
          <p:spPr>
            <a:xfrm>
              <a:off x="1513458" y="2479960"/>
              <a:ext cx="11663" cy="15465"/>
            </a:xfrm>
            <a:custGeom>
              <a:avLst/>
              <a:gdLst/>
              <a:ahLst/>
              <a:cxnLst/>
              <a:rect l="l" t="t" r="r" b="b"/>
              <a:pathLst>
                <a:path w="859" h="1139" extrusionOk="0">
                  <a:moveTo>
                    <a:pt x="651" y="0"/>
                  </a:moveTo>
                  <a:cubicBezTo>
                    <a:pt x="630" y="4"/>
                    <a:pt x="609" y="7"/>
                    <a:pt x="588" y="14"/>
                  </a:cubicBezTo>
                  <a:cubicBezTo>
                    <a:pt x="224" y="140"/>
                    <a:pt x="98" y="267"/>
                    <a:pt x="147" y="459"/>
                  </a:cubicBezTo>
                  <a:cubicBezTo>
                    <a:pt x="189" y="610"/>
                    <a:pt x="140" y="774"/>
                    <a:pt x="21" y="872"/>
                  </a:cubicBezTo>
                  <a:lnTo>
                    <a:pt x="0" y="890"/>
                  </a:lnTo>
                  <a:cubicBezTo>
                    <a:pt x="28" y="900"/>
                    <a:pt x="53" y="918"/>
                    <a:pt x="70" y="939"/>
                  </a:cubicBezTo>
                  <a:cubicBezTo>
                    <a:pt x="116" y="991"/>
                    <a:pt x="168" y="1040"/>
                    <a:pt x="221" y="1086"/>
                  </a:cubicBezTo>
                  <a:cubicBezTo>
                    <a:pt x="130" y="862"/>
                    <a:pt x="186" y="757"/>
                    <a:pt x="228" y="715"/>
                  </a:cubicBezTo>
                  <a:cubicBezTo>
                    <a:pt x="259" y="683"/>
                    <a:pt x="301" y="666"/>
                    <a:pt x="347" y="666"/>
                  </a:cubicBezTo>
                  <a:cubicBezTo>
                    <a:pt x="371" y="666"/>
                    <a:pt x="399" y="669"/>
                    <a:pt x="424" y="680"/>
                  </a:cubicBezTo>
                  <a:cubicBezTo>
                    <a:pt x="511" y="715"/>
                    <a:pt x="525" y="830"/>
                    <a:pt x="539" y="956"/>
                  </a:cubicBezTo>
                  <a:cubicBezTo>
                    <a:pt x="546" y="1012"/>
                    <a:pt x="560" y="1121"/>
                    <a:pt x="585" y="1138"/>
                  </a:cubicBezTo>
                  <a:cubicBezTo>
                    <a:pt x="592" y="1135"/>
                    <a:pt x="599" y="1135"/>
                    <a:pt x="602" y="1131"/>
                  </a:cubicBezTo>
                  <a:cubicBezTo>
                    <a:pt x="630" y="1117"/>
                    <a:pt x="637" y="1107"/>
                    <a:pt x="641" y="1103"/>
                  </a:cubicBezTo>
                  <a:cubicBezTo>
                    <a:pt x="644" y="1086"/>
                    <a:pt x="616" y="1040"/>
                    <a:pt x="595" y="1012"/>
                  </a:cubicBezTo>
                  <a:cubicBezTo>
                    <a:pt x="557" y="946"/>
                    <a:pt x="504" y="862"/>
                    <a:pt x="546" y="774"/>
                  </a:cubicBezTo>
                  <a:cubicBezTo>
                    <a:pt x="585" y="687"/>
                    <a:pt x="690" y="655"/>
                    <a:pt x="781" y="627"/>
                  </a:cubicBezTo>
                  <a:cubicBezTo>
                    <a:pt x="806" y="620"/>
                    <a:pt x="837" y="610"/>
                    <a:pt x="858" y="599"/>
                  </a:cubicBezTo>
                  <a:cubicBezTo>
                    <a:pt x="846" y="590"/>
                    <a:pt x="833" y="586"/>
                    <a:pt x="817" y="586"/>
                  </a:cubicBezTo>
                  <a:cubicBezTo>
                    <a:pt x="791" y="586"/>
                    <a:pt x="758" y="597"/>
                    <a:pt x="707" y="617"/>
                  </a:cubicBezTo>
                  <a:cubicBezTo>
                    <a:pt x="657" y="635"/>
                    <a:pt x="597" y="656"/>
                    <a:pt x="535" y="656"/>
                  </a:cubicBezTo>
                  <a:cubicBezTo>
                    <a:pt x="478" y="656"/>
                    <a:pt x="419" y="637"/>
                    <a:pt x="364" y="578"/>
                  </a:cubicBezTo>
                  <a:cubicBezTo>
                    <a:pt x="294" y="505"/>
                    <a:pt x="231" y="424"/>
                    <a:pt x="252" y="340"/>
                  </a:cubicBezTo>
                  <a:cubicBezTo>
                    <a:pt x="270" y="253"/>
                    <a:pt x="350" y="207"/>
                    <a:pt x="469" y="158"/>
                  </a:cubicBezTo>
                  <a:cubicBezTo>
                    <a:pt x="546" y="126"/>
                    <a:pt x="609" y="70"/>
                    <a:pt x="651"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183" name="Google Shape;3183;p104"/>
            <p:cNvSpPr/>
            <p:nvPr/>
          </p:nvSpPr>
          <p:spPr>
            <a:xfrm>
              <a:off x="1506995" y="2482186"/>
              <a:ext cx="4956" cy="2743"/>
            </a:xfrm>
            <a:custGeom>
              <a:avLst/>
              <a:gdLst/>
              <a:ahLst/>
              <a:cxnLst/>
              <a:rect l="l" t="t" r="r" b="b"/>
              <a:pathLst>
                <a:path w="365" h="202" extrusionOk="0">
                  <a:moveTo>
                    <a:pt x="323" y="1"/>
                  </a:moveTo>
                  <a:cubicBezTo>
                    <a:pt x="302" y="1"/>
                    <a:pt x="243" y="33"/>
                    <a:pt x="207" y="54"/>
                  </a:cubicBezTo>
                  <a:cubicBezTo>
                    <a:pt x="140" y="96"/>
                    <a:pt x="74" y="127"/>
                    <a:pt x="0" y="152"/>
                  </a:cubicBezTo>
                  <a:cubicBezTo>
                    <a:pt x="11" y="159"/>
                    <a:pt x="21" y="169"/>
                    <a:pt x="32" y="176"/>
                  </a:cubicBezTo>
                  <a:cubicBezTo>
                    <a:pt x="53" y="194"/>
                    <a:pt x="86" y="202"/>
                    <a:pt x="122" y="202"/>
                  </a:cubicBezTo>
                  <a:cubicBezTo>
                    <a:pt x="180" y="202"/>
                    <a:pt x="248" y="181"/>
                    <a:pt x="298" y="145"/>
                  </a:cubicBezTo>
                  <a:cubicBezTo>
                    <a:pt x="350" y="106"/>
                    <a:pt x="364" y="64"/>
                    <a:pt x="343" y="25"/>
                  </a:cubicBezTo>
                  <a:cubicBezTo>
                    <a:pt x="333" y="8"/>
                    <a:pt x="326" y="1"/>
                    <a:pt x="326" y="1"/>
                  </a:cubicBezTo>
                  <a:cubicBezTo>
                    <a:pt x="325" y="1"/>
                    <a:pt x="324" y="1"/>
                    <a:pt x="323" y="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184" name="Google Shape;3184;p104"/>
            <p:cNvSpPr/>
            <p:nvPr/>
          </p:nvSpPr>
          <p:spPr>
            <a:xfrm>
              <a:off x="1039073" y="1557966"/>
              <a:ext cx="1344" cy="4155"/>
            </a:xfrm>
            <a:custGeom>
              <a:avLst/>
              <a:gdLst/>
              <a:ahLst/>
              <a:cxnLst/>
              <a:rect l="l" t="t" r="r" b="b"/>
              <a:pathLst>
                <a:path w="99" h="306" extrusionOk="0">
                  <a:moveTo>
                    <a:pt x="57" y="1"/>
                  </a:moveTo>
                  <a:cubicBezTo>
                    <a:pt x="50" y="1"/>
                    <a:pt x="43" y="4"/>
                    <a:pt x="39" y="11"/>
                  </a:cubicBezTo>
                  <a:cubicBezTo>
                    <a:pt x="4" y="53"/>
                    <a:pt x="1" y="169"/>
                    <a:pt x="64" y="270"/>
                  </a:cubicBezTo>
                  <a:cubicBezTo>
                    <a:pt x="71" y="281"/>
                    <a:pt x="78" y="291"/>
                    <a:pt x="85" y="305"/>
                  </a:cubicBezTo>
                  <a:cubicBezTo>
                    <a:pt x="78" y="253"/>
                    <a:pt x="78" y="200"/>
                    <a:pt x="88" y="148"/>
                  </a:cubicBezTo>
                  <a:cubicBezTo>
                    <a:pt x="99" y="53"/>
                    <a:pt x="99" y="11"/>
                    <a:pt x="74" y="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185" name="Google Shape;3185;p104"/>
            <p:cNvSpPr/>
            <p:nvPr/>
          </p:nvSpPr>
          <p:spPr>
            <a:xfrm>
              <a:off x="1493960" y="2432982"/>
              <a:ext cx="1589" cy="1168"/>
            </a:xfrm>
            <a:custGeom>
              <a:avLst/>
              <a:gdLst/>
              <a:ahLst/>
              <a:cxnLst/>
              <a:rect l="l" t="t" r="r" b="b"/>
              <a:pathLst>
                <a:path w="117" h="86" extrusionOk="0">
                  <a:moveTo>
                    <a:pt x="18" y="0"/>
                  </a:moveTo>
                  <a:cubicBezTo>
                    <a:pt x="12" y="0"/>
                    <a:pt x="7" y="1"/>
                    <a:pt x="1" y="2"/>
                  </a:cubicBezTo>
                  <a:cubicBezTo>
                    <a:pt x="43" y="26"/>
                    <a:pt x="78" y="54"/>
                    <a:pt x="113" y="86"/>
                  </a:cubicBezTo>
                  <a:cubicBezTo>
                    <a:pt x="116" y="75"/>
                    <a:pt x="113" y="61"/>
                    <a:pt x="109" y="51"/>
                  </a:cubicBezTo>
                  <a:cubicBezTo>
                    <a:pt x="102" y="30"/>
                    <a:pt x="88" y="12"/>
                    <a:pt x="67" y="9"/>
                  </a:cubicBezTo>
                  <a:cubicBezTo>
                    <a:pt x="52" y="3"/>
                    <a:pt x="35" y="0"/>
                    <a:pt x="18"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186" name="Google Shape;3186;p104"/>
            <p:cNvSpPr/>
            <p:nvPr/>
          </p:nvSpPr>
          <p:spPr>
            <a:xfrm>
              <a:off x="1496866" y="2484630"/>
              <a:ext cx="7006" cy="4331"/>
            </a:xfrm>
            <a:custGeom>
              <a:avLst/>
              <a:gdLst/>
              <a:ahLst/>
              <a:cxnLst/>
              <a:rect l="l" t="t" r="r" b="b"/>
              <a:pathLst>
                <a:path w="516" h="319" extrusionOk="0">
                  <a:moveTo>
                    <a:pt x="479" y="0"/>
                  </a:moveTo>
                  <a:cubicBezTo>
                    <a:pt x="397" y="0"/>
                    <a:pt x="319" y="41"/>
                    <a:pt x="274" y="108"/>
                  </a:cubicBezTo>
                  <a:cubicBezTo>
                    <a:pt x="231" y="159"/>
                    <a:pt x="182" y="217"/>
                    <a:pt x="89" y="217"/>
                  </a:cubicBezTo>
                  <a:cubicBezTo>
                    <a:pt x="67" y="217"/>
                    <a:pt x="42" y="213"/>
                    <a:pt x="15" y="206"/>
                  </a:cubicBezTo>
                  <a:lnTo>
                    <a:pt x="1" y="203"/>
                  </a:lnTo>
                  <a:lnTo>
                    <a:pt x="1" y="203"/>
                  </a:lnTo>
                  <a:cubicBezTo>
                    <a:pt x="46" y="217"/>
                    <a:pt x="88" y="231"/>
                    <a:pt x="137" y="245"/>
                  </a:cubicBezTo>
                  <a:cubicBezTo>
                    <a:pt x="215" y="275"/>
                    <a:pt x="338" y="318"/>
                    <a:pt x="387" y="318"/>
                  </a:cubicBezTo>
                  <a:cubicBezTo>
                    <a:pt x="389" y="318"/>
                    <a:pt x="391" y="318"/>
                    <a:pt x="393" y="318"/>
                  </a:cubicBezTo>
                  <a:cubicBezTo>
                    <a:pt x="386" y="199"/>
                    <a:pt x="428" y="84"/>
                    <a:pt x="515" y="3"/>
                  </a:cubicBezTo>
                  <a:cubicBezTo>
                    <a:pt x="503" y="1"/>
                    <a:pt x="491" y="0"/>
                    <a:pt x="479"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187" name="Google Shape;3187;p104"/>
            <p:cNvSpPr/>
            <p:nvPr/>
          </p:nvSpPr>
          <p:spPr>
            <a:xfrm>
              <a:off x="1412930" y="1447825"/>
              <a:ext cx="2200" cy="1643"/>
            </a:xfrm>
            <a:custGeom>
              <a:avLst/>
              <a:gdLst/>
              <a:ahLst/>
              <a:cxnLst/>
              <a:rect l="l" t="t" r="r" b="b"/>
              <a:pathLst>
                <a:path w="162" h="121" extrusionOk="0">
                  <a:moveTo>
                    <a:pt x="58" y="1"/>
                  </a:moveTo>
                  <a:cubicBezTo>
                    <a:pt x="56" y="1"/>
                    <a:pt x="54" y="1"/>
                    <a:pt x="53" y="1"/>
                  </a:cubicBezTo>
                  <a:lnTo>
                    <a:pt x="39" y="1"/>
                  </a:lnTo>
                  <a:cubicBezTo>
                    <a:pt x="25" y="1"/>
                    <a:pt x="7" y="12"/>
                    <a:pt x="0" y="26"/>
                  </a:cubicBezTo>
                  <a:cubicBezTo>
                    <a:pt x="0" y="33"/>
                    <a:pt x="14" y="57"/>
                    <a:pt x="77" y="82"/>
                  </a:cubicBezTo>
                  <a:cubicBezTo>
                    <a:pt x="105" y="92"/>
                    <a:pt x="133" y="106"/>
                    <a:pt x="161" y="120"/>
                  </a:cubicBezTo>
                  <a:cubicBezTo>
                    <a:pt x="133" y="96"/>
                    <a:pt x="109" y="61"/>
                    <a:pt x="91" y="26"/>
                  </a:cubicBezTo>
                  <a:cubicBezTo>
                    <a:pt x="85" y="13"/>
                    <a:pt x="73" y="1"/>
                    <a:pt x="58" y="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188" name="Google Shape;3188;p104"/>
            <p:cNvSpPr/>
            <p:nvPr/>
          </p:nvSpPr>
          <p:spPr>
            <a:xfrm>
              <a:off x="1375700" y="1460860"/>
              <a:ext cx="14419" cy="6721"/>
            </a:xfrm>
            <a:custGeom>
              <a:avLst/>
              <a:gdLst/>
              <a:ahLst/>
              <a:cxnLst/>
              <a:rect l="l" t="t" r="r" b="b"/>
              <a:pathLst>
                <a:path w="1062" h="495" extrusionOk="0">
                  <a:moveTo>
                    <a:pt x="88" y="0"/>
                  </a:moveTo>
                  <a:cubicBezTo>
                    <a:pt x="22" y="0"/>
                    <a:pt x="1" y="14"/>
                    <a:pt x="1" y="18"/>
                  </a:cubicBezTo>
                  <a:cubicBezTo>
                    <a:pt x="1" y="21"/>
                    <a:pt x="8" y="88"/>
                    <a:pt x="141" y="186"/>
                  </a:cubicBezTo>
                  <a:cubicBezTo>
                    <a:pt x="367" y="355"/>
                    <a:pt x="585" y="495"/>
                    <a:pt x="936" y="495"/>
                  </a:cubicBezTo>
                  <a:cubicBezTo>
                    <a:pt x="971" y="495"/>
                    <a:pt x="1007" y="493"/>
                    <a:pt x="1044" y="490"/>
                  </a:cubicBezTo>
                  <a:lnTo>
                    <a:pt x="1062" y="490"/>
                  </a:lnTo>
                  <a:cubicBezTo>
                    <a:pt x="925" y="424"/>
                    <a:pt x="792" y="350"/>
                    <a:pt x="663" y="266"/>
                  </a:cubicBezTo>
                  <a:cubicBezTo>
                    <a:pt x="466" y="147"/>
                    <a:pt x="246" y="14"/>
                    <a:pt x="134"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189" name="Google Shape;3189;p104"/>
            <p:cNvSpPr/>
            <p:nvPr/>
          </p:nvSpPr>
          <p:spPr>
            <a:xfrm>
              <a:off x="1518536" y="1659444"/>
              <a:ext cx="3150" cy="2729"/>
            </a:xfrm>
            <a:custGeom>
              <a:avLst/>
              <a:gdLst/>
              <a:ahLst/>
              <a:cxnLst/>
              <a:rect l="l" t="t" r="r" b="b"/>
              <a:pathLst>
                <a:path w="232" h="201" extrusionOk="0">
                  <a:moveTo>
                    <a:pt x="232" y="1"/>
                  </a:moveTo>
                  <a:lnTo>
                    <a:pt x="186" y="36"/>
                  </a:lnTo>
                  <a:cubicBezTo>
                    <a:pt x="130" y="85"/>
                    <a:pt x="57" y="148"/>
                    <a:pt x="1" y="200"/>
                  </a:cubicBezTo>
                  <a:cubicBezTo>
                    <a:pt x="85" y="141"/>
                    <a:pt x="162" y="74"/>
                    <a:pt x="232" y="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190" name="Google Shape;3190;p104"/>
            <p:cNvSpPr/>
            <p:nvPr/>
          </p:nvSpPr>
          <p:spPr>
            <a:xfrm>
              <a:off x="2136230" y="2173135"/>
              <a:ext cx="92123" cy="91879"/>
            </a:xfrm>
            <a:custGeom>
              <a:avLst/>
              <a:gdLst/>
              <a:ahLst/>
              <a:cxnLst/>
              <a:rect l="l" t="t" r="r" b="b"/>
              <a:pathLst>
                <a:path w="6785" h="6767" extrusionOk="0">
                  <a:moveTo>
                    <a:pt x="298" y="1"/>
                  </a:moveTo>
                  <a:cubicBezTo>
                    <a:pt x="242" y="8"/>
                    <a:pt x="189" y="43"/>
                    <a:pt x="168" y="99"/>
                  </a:cubicBezTo>
                  <a:lnTo>
                    <a:pt x="154" y="127"/>
                  </a:lnTo>
                  <a:lnTo>
                    <a:pt x="0" y="169"/>
                  </a:lnTo>
                  <a:cubicBezTo>
                    <a:pt x="11" y="316"/>
                    <a:pt x="133" y="571"/>
                    <a:pt x="294" y="795"/>
                  </a:cubicBezTo>
                  <a:cubicBezTo>
                    <a:pt x="490" y="1054"/>
                    <a:pt x="718" y="1530"/>
                    <a:pt x="841" y="1933"/>
                  </a:cubicBezTo>
                  <a:cubicBezTo>
                    <a:pt x="900" y="2133"/>
                    <a:pt x="1026" y="2350"/>
                    <a:pt x="1145" y="2560"/>
                  </a:cubicBezTo>
                  <a:cubicBezTo>
                    <a:pt x="1254" y="2745"/>
                    <a:pt x="1355" y="2924"/>
                    <a:pt x="1397" y="3071"/>
                  </a:cubicBezTo>
                  <a:cubicBezTo>
                    <a:pt x="1446" y="3235"/>
                    <a:pt x="1429" y="3435"/>
                    <a:pt x="1411" y="3610"/>
                  </a:cubicBezTo>
                  <a:cubicBezTo>
                    <a:pt x="1397" y="3760"/>
                    <a:pt x="1383" y="3907"/>
                    <a:pt x="1418" y="3984"/>
                  </a:cubicBezTo>
                  <a:cubicBezTo>
                    <a:pt x="1516" y="4195"/>
                    <a:pt x="1572" y="4545"/>
                    <a:pt x="1618" y="4860"/>
                  </a:cubicBezTo>
                  <a:cubicBezTo>
                    <a:pt x="1628" y="4919"/>
                    <a:pt x="1635" y="4986"/>
                    <a:pt x="1642" y="5059"/>
                  </a:cubicBezTo>
                  <a:cubicBezTo>
                    <a:pt x="1681" y="5402"/>
                    <a:pt x="1740" y="5924"/>
                    <a:pt x="1971" y="6148"/>
                  </a:cubicBezTo>
                  <a:cubicBezTo>
                    <a:pt x="2097" y="6278"/>
                    <a:pt x="2209" y="6418"/>
                    <a:pt x="2304" y="6568"/>
                  </a:cubicBezTo>
                  <a:cubicBezTo>
                    <a:pt x="2328" y="6572"/>
                    <a:pt x="2353" y="6575"/>
                    <a:pt x="2377" y="6575"/>
                  </a:cubicBezTo>
                  <a:lnTo>
                    <a:pt x="2433" y="6575"/>
                  </a:lnTo>
                  <a:lnTo>
                    <a:pt x="2433" y="6565"/>
                  </a:lnTo>
                  <a:cubicBezTo>
                    <a:pt x="2447" y="6474"/>
                    <a:pt x="2496" y="6397"/>
                    <a:pt x="2570" y="6344"/>
                  </a:cubicBezTo>
                  <a:cubicBezTo>
                    <a:pt x="2573" y="6341"/>
                    <a:pt x="2577" y="6337"/>
                    <a:pt x="2584" y="6334"/>
                  </a:cubicBezTo>
                  <a:cubicBezTo>
                    <a:pt x="2587" y="6330"/>
                    <a:pt x="2598" y="6323"/>
                    <a:pt x="2608" y="6316"/>
                  </a:cubicBezTo>
                  <a:cubicBezTo>
                    <a:pt x="2619" y="6309"/>
                    <a:pt x="2633" y="6306"/>
                    <a:pt x="2647" y="6302"/>
                  </a:cubicBezTo>
                  <a:cubicBezTo>
                    <a:pt x="2657" y="6299"/>
                    <a:pt x="2668" y="6295"/>
                    <a:pt x="2679" y="6295"/>
                  </a:cubicBezTo>
                  <a:lnTo>
                    <a:pt x="2714" y="6295"/>
                  </a:lnTo>
                  <a:cubicBezTo>
                    <a:pt x="2717" y="6293"/>
                    <a:pt x="2721" y="6292"/>
                    <a:pt x="2724" y="6292"/>
                  </a:cubicBezTo>
                  <a:cubicBezTo>
                    <a:pt x="2728" y="6292"/>
                    <a:pt x="2731" y="6293"/>
                    <a:pt x="2735" y="6295"/>
                  </a:cubicBezTo>
                  <a:lnTo>
                    <a:pt x="2742" y="6295"/>
                  </a:lnTo>
                  <a:lnTo>
                    <a:pt x="2763" y="6299"/>
                  </a:lnTo>
                  <a:lnTo>
                    <a:pt x="2770" y="6302"/>
                  </a:lnTo>
                  <a:cubicBezTo>
                    <a:pt x="2777" y="6302"/>
                    <a:pt x="2784" y="6309"/>
                    <a:pt x="2791" y="6313"/>
                  </a:cubicBezTo>
                  <a:cubicBezTo>
                    <a:pt x="2801" y="6316"/>
                    <a:pt x="2808" y="6320"/>
                    <a:pt x="2812" y="6327"/>
                  </a:cubicBezTo>
                  <a:lnTo>
                    <a:pt x="2819" y="6330"/>
                  </a:lnTo>
                  <a:cubicBezTo>
                    <a:pt x="2826" y="6337"/>
                    <a:pt x="2829" y="6341"/>
                    <a:pt x="2836" y="6344"/>
                  </a:cubicBezTo>
                  <a:lnTo>
                    <a:pt x="2840" y="6351"/>
                  </a:lnTo>
                  <a:cubicBezTo>
                    <a:pt x="2847" y="6358"/>
                    <a:pt x="2854" y="6369"/>
                    <a:pt x="2861" y="6376"/>
                  </a:cubicBezTo>
                  <a:cubicBezTo>
                    <a:pt x="2899" y="6435"/>
                    <a:pt x="2927" y="6502"/>
                    <a:pt x="2948" y="6572"/>
                  </a:cubicBezTo>
                  <a:cubicBezTo>
                    <a:pt x="2983" y="6687"/>
                    <a:pt x="3001" y="6736"/>
                    <a:pt x="3099" y="6736"/>
                  </a:cubicBezTo>
                  <a:cubicBezTo>
                    <a:pt x="3169" y="6736"/>
                    <a:pt x="3256" y="6743"/>
                    <a:pt x="3344" y="6750"/>
                  </a:cubicBezTo>
                  <a:cubicBezTo>
                    <a:pt x="3417" y="6756"/>
                    <a:pt x="3527" y="6766"/>
                    <a:pt x="3613" y="6766"/>
                  </a:cubicBezTo>
                  <a:cubicBezTo>
                    <a:pt x="3674" y="6766"/>
                    <a:pt x="3723" y="6761"/>
                    <a:pt x="3739" y="6747"/>
                  </a:cubicBezTo>
                  <a:cubicBezTo>
                    <a:pt x="3781" y="6698"/>
                    <a:pt x="3834" y="6656"/>
                    <a:pt x="3893" y="6624"/>
                  </a:cubicBezTo>
                  <a:cubicBezTo>
                    <a:pt x="3981" y="6568"/>
                    <a:pt x="4082" y="6505"/>
                    <a:pt x="4082" y="6428"/>
                  </a:cubicBezTo>
                  <a:lnTo>
                    <a:pt x="4082" y="2826"/>
                  </a:lnTo>
                  <a:cubicBezTo>
                    <a:pt x="4082" y="2707"/>
                    <a:pt x="4229" y="2700"/>
                    <a:pt x="4369" y="2689"/>
                  </a:cubicBezTo>
                  <a:cubicBezTo>
                    <a:pt x="4474" y="2682"/>
                    <a:pt x="4632" y="2672"/>
                    <a:pt x="4632" y="2616"/>
                  </a:cubicBezTo>
                  <a:lnTo>
                    <a:pt x="4632" y="680"/>
                  </a:lnTo>
                  <a:lnTo>
                    <a:pt x="4695" y="673"/>
                  </a:lnTo>
                  <a:cubicBezTo>
                    <a:pt x="4804" y="666"/>
                    <a:pt x="5112" y="638"/>
                    <a:pt x="5199" y="610"/>
                  </a:cubicBezTo>
                  <a:cubicBezTo>
                    <a:pt x="5227" y="603"/>
                    <a:pt x="5280" y="582"/>
                    <a:pt x="5339" y="557"/>
                  </a:cubicBezTo>
                  <a:cubicBezTo>
                    <a:pt x="5526" y="477"/>
                    <a:pt x="5676" y="419"/>
                    <a:pt x="5779" y="419"/>
                  </a:cubicBezTo>
                  <a:cubicBezTo>
                    <a:pt x="5814" y="419"/>
                    <a:pt x="5844" y="426"/>
                    <a:pt x="5868" y="442"/>
                  </a:cubicBezTo>
                  <a:cubicBezTo>
                    <a:pt x="5913" y="477"/>
                    <a:pt x="5952" y="515"/>
                    <a:pt x="5990" y="561"/>
                  </a:cubicBezTo>
                  <a:cubicBezTo>
                    <a:pt x="6018" y="592"/>
                    <a:pt x="6046" y="624"/>
                    <a:pt x="6081" y="652"/>
                  </a:cubicBezTo>
                  <a:cubicBezTo>
                    <a:pt x="6134" y="589"/>
                    <a:pt x="6312" y="396"/>
                    <a:pt x="6508" y="396"/>
                  </a:cubicBezTo>
                  <a:lnTo>
                    <a:pt x="6568" y="396"/>
                  </a:lnTo>
                  <a:lnTo>
                    <a:pt x="6582" y="393"/>
                  </a:lnTo>
                  <a:lnTo>
                    <a:pt x="6603" y="389"/>
                  </a:lnTo>
                  <a:lnTo>
                    <a:pt x="6620" y="386"/>
                  </a:lnTo>
                  <a:lnTo>
                    <a:pt x="6638" y="386"/>
                  </a:lnTo>
                  <a:lnTo>
                    <a:pt x="6659" y="379"/>
                  </a:lnTo>
                  <a:lnTo>
                    <a:pt x="6676" y="375"/>
                  </a:lnTo>
                  <a:lnTo>
                    <a:pt x="6697" y="372"/>
                  </a:lnTo>
                  <a:lnTo>
                    <a:pt x="6711" y="368"/>
                  </a:lnTo>
                  <a:lnTo>
                    <a:pt x="6743" y="361"/>
                  </a:lnTo>
                  <a:lnTo>
                    <a:pt x="6746" y="361"/>
                  </a:lnTo>
                  <a:lnTo>
                    <a:pt x="6778" y="354"/>
                  </a:lnTo>
                  <a:lnTo>
                    <a:pt x="6785" y="354"/>
                  </a:lnTo>
                  <a:cubicBezTo>
                    <a:pt x="6781" y="347"/>
                    <a:pt x="6778" y="340"/>
                    <a:pt x="6778" y="337"/>
                  </a:cubicBezTo>
                  <a:cubicBezTo>
                    <a:pt x="6774" y="330"/>
                    <a:pt x="6774" y="330"/>
                    <a:pt x="6774" y="326"/>
                  </a:cubicBezTo>
                  <a:cubicBezTo>
                    <a:pt x="6771" y="316"/>
                    <a:pt x="6771" y="305"/>
                    <a:pt x="6767" y="295"/>
                  </a:cubicBezTo>
                  <a:cubicBezTo>
                    <a:pt x="6745" y="288"/>
                    <a:pt x="6700" y="284"/>
                    <a:pt x="6640" y="284"/>
                  </a:cubicBezTo>
                  <a:cubicBezTo>
                    <a:pt x="6579" y="284"/>
                    <a:pt x="6503" y="288"/>
                    <a:pt x="6417" y="295"/>
                  </a:cubicBezTo>
                  <a:lnTo>
                    <a:pt x="6414" y="295"/>
                  </a:lnTo>
                  <a:lnTo>
                    <a:pt x="6372" y="302"/>
                  </a:lnTo>
                  <a:lnTo>
                    <a:pt x="6263" y="312"/>
                  </a:lnTo>
                  <a:lnTo>
                    <a:pt x="6225" y="319"/>
                  </a:lnTo>
                  <a:lnTo>
                    <a:pt x="6211" y="319"/>
                  </a:lnTo>
                  <a:cubicBezTo>
                    <a:pt x="6095" y="333"/>
                    <a:pt x="5969" y="354"/>
                    <a:pt x="5850" y="379"/>
                  </a:cubicBezTo>
                  <a:cubicBezTo>
                    <a:pt x="5777" y="393"/>
                    <a:pt x="5738" y="403"/>
                    <a:pt x="5717" y="410"/>
                  </a:cubicBezTo>
                  <a:lnTo>
                    <a:pt x="5707" y="414"/>
                  </a:lnTo>
                  <a:lnTo>
                    <a:pt x="5679" y="421"/>
                  </a:lnTo>
                  <a:lnTo>
                    <a:pt x="5668" y="424"/>
                  </a:lnTo>
                  <a:lnTo>
                    <a:pt x="5640" y="431"/>
                  </a:lnTo>
                  <a:lnTo>
                    <a:pt x="5630" y="431"/>
                  </a:lnTo>
                  <a:lnTo>
                    <a:pt x="5591" y="442"/>
                  </a:lnTo>
                  <a:lnTo>
                    <a:pt x="5574" y="445"/>
                  </a:lnTo>
                  <a:lnTo>
                    <a:pt x="5539" y="452"/>
                  </a:lnTo>
                  <a:lnTo>
                    <a:pt x="5525" y="456"/>
                  </a:lnTo>
                  <a:lnTo>
                    <a:pt x="5476" y="463"/>
                  </a:lnTo>
                  <a:lnTo>
                    <a:pt x="5458" y="466"/>
                  </a:lnTo>
                  <a:lnTo>
                    <a:pt x="5420" y="473"/>
                  </a:lnTo>
                  <a:lnTo>
                    <a:pt x="5402" y="477"/>
                  </a:lnTo>
                  <a:lnTo>
                    <a:pt x="5346" y="484"/>
                  </a:lnTo>
                  <a:lnTo>
                    <a:pt x="5332" y="484"/>
                  </a:lnTo>
                  <a:lnTo>
                    <a:pt x="5283" y="491"/>
                  </a:lnTo>
                  <a:lnTo>
                    <a:pt x="5266" y="491"/>
                  </a:lnTo>
                  <a:lnTo>
                    <a:pt x="5206" y="494"/>
                  </a:lnTo>
                  <a:lnTo>
                    <a:pt x="5203" y="494"/>
                  </a:lnTo>
                  <a:lnTo>
                    <a:pt x="5147" y="498"/>
                  </a:lnTo>
                  <a:lnTo>
                    <a:pt x="5007" y="498"/>
                  </a:lnTo>
                  <a:cubicBezTo>
                    <a:pt x="4989" y="498"/>
                    <a:pt x="4972" y="498"/>
                    <a:pt x="4954" y="494"/>
                  </a:cubicBezTo>
                  <a:lnTo>
                    <a:pt x="4947" y="494"/>
                  </a:lnTo>
                  <a:cubicBezTo>
                    <a:pt x="4933" y="491"/>
                    <a:pt x="4919" y="491"/>
                    <a:pt x="4905" y="487"/>
                  </a:cubicBezTo>
                  <a:lnTo>
                    <a:pt x="4898" y="487"/>
                  </a:lnTo>
                  <a:cubicBezTo>
                    <a:pt x="4881" y="484"/>
                    <a:pt x="4867" y="480"/>
                    <a:pt x="4853" y="477"/>
                  </a:cubicBezTo>
                  <a:lnTo>
                    <a:pt x="4846" y="473"/>
                  </a:lnTo>
                  <a:cubicBezTo>
                    <a:pt x="4832" y="470"/>
                    <a:pt x="4821" y="466"/>
                    <a:pt x="4811" y="459"/>
                  </a:cubicBezTo>
                  <a:cubicBezTo>
                    <a:pt x="4768" y="439"/>
                    <a:pt x="4635" y="431"/>
                    <a:pt x="4464" y="431"/>
                  </a:cubicBezTo>
                  <a:cubicBezTo>
                    <a:pt x="4218" y="431"/>
                    <a:pt x="3892" y="447"/>
                    <a:pt x="3641" y="466"/>
                  </a:cubicBezTo>
                  <a:lnTo>
                    <a:pt x="3610" y="470"/>
                  </a:lnTo>
                  <a:lnTo>
                    <a:pt x="3417" y="274"/>
                  </a:lnTo>
                  <a:lnTo>
                    <a:pt x="1555" y="274"/>
                  </a:lnTo>
                  <a:cubicBezTo>
                    <a:pt x="1366" y="274"/>
                    <a:pt x="1212" y="249"/>
                    <a:pt x="1026" y="127"/>
                  </a:cubicBezTo>
                  <a:cubicBezTo>
                    <a:pt x="952" y="77"/>
                    <a:pt x="878" y="53"/>
                    <a:pt x="797" y="53"/>
                  </a:cubicBezTo>
                  <a:cubicBezTo>
                    <a:pt x="728" y="53"/>
                    <a:pt x="654" y="70"/>
                    <a:pt x="571" y="106"/>
                  </a:cubicBezTo>
                  <a:cubicBezTo>
                    <a:pt x="529" y="123"/>
                    <a:pt x="495" y="130"/>
                    <a:pt x="466" y="130"/>
                  </a:cubicBezTo>
                  <a:cubicBezTo>
                    <a:pt x="426" y="130"/>
                    <a:pt x="398" y="116"/>
                    <a:pt x="375" y="95"/>
                  </a:cubicBezTo>
                  <a:cubicBezTo>
                    <a:pt x="357" y="78"/>
                    <a:pt x="343" y="57"/>
                    <a:pt x="333" y="36"/>
                  </a:cubicBezTo>
                  <a:cubicBezTo>
                    <a:pt x="319" y="1"/>
                    <a:pt x="315" y="1"/>
                    <a:pt x="298" y="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191" name="Google Shape;3191;p104"/>
            <p:cNvSpPr/>
            <p:nvPr/>
          </p:nvSpPr>
          <p:spPr>
            <a:xfrm>
              <a:off x="2231110" y="2162816"/>
              <a:ext cx="55953" cy="49734"/>
            </a:xfrm>
            <a:custGeom>
              <a:avLst/>
              <a:gdLst/>
              <a:ahLst/>
              <a:cxnLst/>
              <a:rect l="l" t="t" r="r" b="b"/>
              <a:pathLst>
                <a:path w="4121" h="3663" extrusionOk="0">
                  <a:moveTo>
                    <a:pt x="2664" y="1"/>
                  </a:moveTo>
                  <a:lnTo>
                    <a:pt x="2248" y="11"/>
                  </a:lnTo>
                  <a:cubicBezTo>
                    <a:pt x="1999" y="81"/>
                    <a:pt x="1999" y="144"/>
                    <a:pt x="1999" y="221"/>
                  </a:cubicBezTo>
                  <a:cubicBezTo>
                    <a:pt x="1999" y="372"/>
                    <a:pt x="1656" y="610"/>
                    <a:pt x="1449" y="673"/>
                  </a:cubicBezTo>
                  <a:cubicBezTo>
                    <a:pt x="1348" y="704"/>
                    <a:pt x="1222" y="883"/>
                    <a:pt x="1120" y="1023"/>
                  </a:cubicBezTo>
                  <a:cubicBezTo>
                    <a:pt x="1022" y="1163"/>
                    <a:pt x="959" y="1251"/>
                    <a:pt x="893" y="1282"/>
                  </a:cubicBezTo>
                  <a:cubicBezTo>
                    <a:pt x="882" y="1289"/>
                    <a:pt x="868" y="1293"/>
                    <a:pt x="854" y="1296"/>
                  </a:cubicBezTo>
                  <a:lnTo>
                    <a:pt x="847" y="1296"/>
                  </a:lnTo>
                  <a:cubicBezTo>
                    <a:pt x="833" y="1300"/>
                    <a:pt x="816" y="1303"/>
                    <a:pt x="802" y="1303"/>
                  </a:cubicBezTo>
                  <a:lnTo>
                    <a:pt x="739" y="1303"/>
                  </a:lnTo>
                  <a:cubicBezTo>
                    <a:pt x="718" y="1303"/>
                    <a:pt x="697" y="1300"/>
                    <a:pt x="676" y="1296"/>
                  </a:cubicBezTo>
                  <a:lnTo>
                    <a:pt x="662" y="1296"/>
                  </a:lnTo>
                  <a:lnTo>
                    <a:pt x="602" y="1286"/>
                  </a:lnTo>
                  <a:lnTo>
                    <a:pt x="592" y="1286"/>
                  </a:lnTo>
                  <a:lnTo>
                    <a:pt x="518" y="1268"/>
                  </a:lnTo>
                  <a:lnTo>
                    <a:pt x="511" y="1268"/>
                  </a:lnTo>
                  <a:lnTo>
                    <a:pt x="438" y="1251"/>
                  </a:lnTo>
                  <a:lnTo>
                    <a:pt x="420" y="1247"/>
                  </a:lnTo>
                  <a:lnTo>
                    <a:pt x="340" y="1223"/>
                  </a:lnTo>
                  <a:cubicBezTo>
                    <a:pt x="280" y="1205"/>
                    <a:pt x="221" y="1191"/>
                    <a:pt x="161" y="1181"/>
                  </a:cubicBezTo>
                  <a:lnTo>
                    <a:pt x="137" y="1181"/>
                  </a:lnTo>
                  <a:cubicBezTo>
                    <a:pt x="116" y="1181"/>
                    <a:pt x="95" y="1184"/>
                    <a:pt x="77" y="1188"/>
                  </a:cubicBezTo>
                  <a:lnTo>
                    <a:pt x="42" y="1191"/>
                  </a:lnTo>
                  <a:lnTo>
                    <a:pt x="7" y="1198"/>
                  </a:lnTo>
                  <a:lnTo>
                    <a:pt x="0" y="1198"/>
                  </a:lnTo>
                  <a:cubicBezTo>
                    <a:pt x="7" y="1212"/>
                    <a:pt x="18" y="1223"/>
                    <a:pt x="25" y="1233"/>
                  </a:cubicBezTo>
                  <a:lnTo>
                    <a:pt x="32" y="1240"/>
                  </a:lnTo>
                  <a:lnTo>
                    <a:pt x="56" y="1272"/>
                  </a:lnTo>
                  <a:lnTo>
                    <a:pt x="63" y="1279"/>
                  </a:lnTo>
                  <a:lnTo>
                    <a:pt x="88" y="1303"/>
                  </a:lnTo>
                  <a:lnTo>
                    <a:pt x="91" y="1307"/>
                  </a:lnTo>
                  <a:lnTo>
                    <a:pt x="116" y="1331"/>
                  </a:lnTo>
                  <a:lnTo>
                    <a:pt x="123" y="1338"/>
                  </a:lnTo>
                  <a:lnTo>
                    <a:pt x="144" y="1359"/>
                  </a:lnTo>
                  <a:lnTo>
                    <a:pt x="147" y="1363"/>
                  </a:lnTo>
                  <a:lnTo>
                    <a:pt x="168" y="1377"/>
                  </a:lnTo>
                  <a:lnTo>
                    <a:pt x="172" y="1380"/>
                  </a:lnTo>
                  <a:lnTo>
                    <a:pt x="189" y="1394"/>
                  </a:lnTo>
                  <a:lnTo>
                    <a:pt x="193" y="1394"/>
                  </a:lnTo>
                  <a:cubicBezTo>
                    <a:pt x="196" y="1394"/>
                    <a:pt x="200" y="1398"/>
                    <a:pt x="207" y="1398"/>
                  </a:cubicBezTo>
                  <a:cubicBezTo>
                    <a:pt x="287" y="1401"/>
                    <a:pt x="315" y="1503"/>
                    <a:pt x="354" y="1664"/>
                  </a:cubicBezTo>
                  <a:cubicBezTo>
                    <a:pt x="392" y="1807"/>
                    <a:pt x="445" y="2024"/>
                    <a:pt x="529" y="2059"/>
                  </a:cubicBezTo>
                  <a:cubicBezTo>
                    <a:pt x="588" y="2087"/>
                    <a:pt x="1117" y="2318"/>
                    <a:pt x="1117" y="2504"/>
                  </a:cubicBezTo>
                  <a:cubicBezTo>
                    <a:pt x="1117" y="2528"/>
                    <a:pt x="1159" y="2584"/>
                    <a:pt x="1194" y="2626"/>
                  </a:cubicBezTo>
                  <a:cubicBezTo>
                    <a:pt x="1260" y="2707"/>
                    <a:pt x="1334" y="2801"/>
                    <a:pt x="1334" y="2914"/>
                  </a:cubicBezTo>
                  <a:cubicBezTo>
                    <a:pt x="1334" y="2977"/>
                    <a:pt x="1383" y="3061"/>
                    <a:pt x="1453" y="3134"/>
                  </a:cubicBezTo>
                  <a:cubicBezTo>
                    <a:pt x="1505" y="3190"/>
                    <a:pt x="1575" y="3225"/>
                    <a:pt x="1649" y="3232"/>
                  </a:cubicBezTo>
                  <a:cubicBezTo>
                    <a:pt x="1658" y="3232"/>
                    <a:pt x="1667" y="3232"/>
                    <a:pt x="1676" y="3232"/>
                  </a:cubicBezTo>
                  <a:cubicBezTo>
                    <a:pt x="1843" y="3232"/>
                    <a:pt x="1957" y="3264"/>
                    <a:pt x="2027" y="3330"/>
                  </a:cubicBezTo>
                  <a:cubicBezTo>
                    <a:pt x="2031" y="3334"/>
                    <a:pt x="2034" y="3337"/>
                    <a:pt x="2034" y="3341"/>
                  </a:cubicBezTo>
                  <a:cubicBezTo>
                    <a:pt x="2041" y="3348"/>
                    <a:pt x="2048" y="3355"/>
                    <a:pt x="2055" y="3365"/>
                  </a:cubicBezTo>
                  <a:cubicBezTo>
                    <a:pt x="2059" y="3369"/>
                    <a:pt x="2062" y="3372"/>
                    <a:pt x="2066" y="3379"/>
                  </a:cubicBezTo>
                  <a:lnTo>
                    <a:pt x="2087" y="3348"/>
                  </a:lnTo>
                  <a:lnTo>
                    <a:pt x="2101" y="3481"/>
                  </a:lnTo>
                  <a:lnTo>
                    <a:pt x="2104" y="3481"/>
                  </a:lnTo>
                  <a:lnTo>
                    <a:pt x="2104" y="3502"/>
                  </a:lnTo>
                  <a:cubicBezTo>
                    <a:pt x="2145" y="3507"/>
                    <a:pt x="2188" y="3510"/>
                    <a:pt x="2230" y="3510"/>
                  </a:cubicBezTo>
                  <a:cubicBezTo>
                    <a:pt x="2245" y="3510"/>
                    <a:pt x="2261" y="3510"/>
                    <a:pt x="2276" y="3509"/>
                  </a:cubicBezTo>
                  <a:cubicBezTo>
                    <a:pt x="2290" y="3508"/>
                    <a:pt x="2304" y="3508"/>
                    <a:pt x="2318" y="3508"/>
                  </a:cubicBezTo>
                  <a:cubicBezTo>
                    <a:pt x="2388" y="3508"/>
                    <a:pt x="2457" y="3515"/>
                    <a:pt x="2524" y="3530"/>
                  </a:cubicBezTo>
                  <a:lnTo>
                    <a:pt x="2531" y="3533"/>
                  </a:lnTo>
                  <a:cubicBezTo>
                    <a:pt x="2542" y="3537"/>
                    <a:pt x="2552" y="3540"/>
                    <a:pt x="2559" y="3544"/>
                  </a:cubicBezTo>
                  <a:cubicBezTo>
                    <a:pt x="2566" y="3544"/>
                    <a:pt x="2570" y="3547"/>
                    <a:pt x="2573" y="3551"/>
                  </a:cubicBezTo>
                  <a:cubicBezTo>
                    <a:pt x="2577" y="3554"/>
                    <a:pt x="2584" y="3558"/>
                    <a:pt x="2591" y="3565"/>
                  </a:cubicBezTo>
                  <a:cubicBezTo>
                    <a:pt x="2594" y="3568"/>
                    <a:pt x="2598" y="3572"/>
                    <a:pt x="2601" y="3575"/>
                  </a:cubicBezTo>
                  <a:cubicBezTo>
                    <a:pt x="2605" y="3579"/>
                    <a:pt x="2608" y="3582"/>
                    <a:pt x="2612" y="3589"/>
                  </a:cubicBezTo>
                  <a:cubicBezTo>
                    <a:pt x="2643" y="3614"/>
                    <a:pt x="2808" y="3624"/>
                    <a:pt x="2902" y="3631"/>
                  </a:cubicBezTo>
                  <a:cubicBezTo>
                    <a:pt x="2990" y="3635"/>
                    <a:pt x="3081" y="3645"/>
                    <a:pt x="3165" y="3663"/>
                  </a:cubicBezTo>
                  <a:lnTo>
                    <a:pt x="3203" y="3631"/>
                  </a:lnTo>
                  <a:lnTo>
                    <a:pt x="3224" y="3607"/>
                  </a:lnTo>
                  <a:lnTo>
                    <a:pt x="3305" y="3533"/>
                  </a:lnTo>
                  <a:cubicBezTo>
                    <a:pt x="3459" y="3386"/>
                    <a:pt x="3620" y="3236"/>
                    <a:pt x="3683" y="3148"/>
                  </a:cubicBezTo>
                  <a:cubicBezTo>
                    <a:pt x="3749" y="3064"/>
                    <a:pt x="3749" y="2963"/>
                    <a:pt x="3753" y="2861"/>
                  </a:cubicBezTo>
                  <a:cubicBezTo>
                    <a:pt x="3756" y="2763"/>
                    <a:pt x="3760" y="2651"/>
                    <a:pt x="3847" y="2598"/>
                  </a:cubicBezTo>
                  <a:cubicBezTo>
                    <a:pt x="3959" y="2518"/>
                    <a:pt x="4051" y="2413"/>
                    <a:pt x="4121" y="2294"/>
                  </a:cubicBezTo>
                  <a:cubicBezTo>
                    <a:pt x="4065" y="2259"/>
                    <a:pt x="4054" y="2182"/>
                    <a:pt x="4044" y="2112"/>
                  </a:cubicBezTo>
                  <a:cubicBezTo>
                    <a:pt x="4033" y="2031"/>
                    <a:pt x="4019" y="1940"/>
                    <a:pt x="3956" y="1877"/>
                  </a:cubicBezTo>
                  <a:cubicBezTo>
                    <a:pt x="3840" y="1762"/>
                    <a:pt x="3924" y="1660"/>
                    <a:pt x="3984" y="1590"/>
                  </a:cubicBezTo>
                  <a:cubicBezTo>
                    <a:pt x="4040" y="1517"/>
                    <a:pt x="4093" y="1457"/>
                    <a:pt x="4082" y="1352"/>
                  </a:cubicBezTo>
                  <a:cubicBezTo>
                    <a:pt x="4075" y="1216"/>
                    <a:pt x="4075" y="1076"/>
                    <a:pt x="4082" y="936"/>
                  </a:cubicBezTo>
                  <a:cubicBezTo>
                    <a:pt x="4089" y="803"/>
                    <a:pt x="4096" y="599"/>
                    <a:pt x="4079" y="547"/>
                  </a:cubicBezTo>
                  <a:cubicBezTo>
                    <a:pt x="4033" y="533"/>
                    <a:pt x="3988" y="519"/>
                    <a:pt x="3938" y="512"/>
                  </a:cubicBezTo>
                  <a:cubicBezTo>
                    <a:pt x="3798" y="477"/>
                    <a:pt x="3602" y="431"/>
                    <a:pt x="3455" y="337"/>
                  </a:cubicBezTo>
                  <a:cubicBezTo>
                    <a:pt x="3252" y="200"/>
                    <a:pt x="2790" y="176"/>
                    <a:pt x="2783" y="176"/>
                  </a:cubicBezTo>
                  <a:lnTo>
                    <a:pt x="2745" y="176"/>
                  </a:lnTo>
                  <a:lnTo>
                    <a:pt x="2664"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192" name="Google Shape;3192;p104"/>
            <p:cNvSpPr/>
            <p:nvPr/>
          </p:nvSpPr>
          <p:spPr>
            <a:xfrm>
              <a:off x="2193500" y="2179503"/>
              <a:ext cx="64425" cy="69177"/>
            </a:xfrm>
            <a:custGeom>
              <a:avLst/>
              <a:gdLst/>
              <a:ahLst/>
              <a:cxnLst/>
              <a:rect l="l" t="t" r="r" b="b"/>
              <a:pathLst>
                <a:path w="4745" h="5095" extrusionOk="0">
                  <a:moveTo>
                    <a:pt x="2627" y="1"/>
                  </a:moveTo>
                  <a:cubicBezTo>
                    <a:pt x="2518" y="32"/>
                    <a:pt x="2406" y="53"/>
                    <a:pt x="2294" y="60"/>
                  </a:cubicBezTo>
                  <a:cubicBezTo>
                    <a:pt x="2168" y="60"/>
                    <a:pt x="2021" y="197"/>
                    <a:pt x="1958" y="281"/>
                  </a:cubicBezTo>
                  <a:cubicBezTo>
                    <a:pt x="1940" y="305"/>
                    <a:pt x="1909" y="323"/>
                    <a:pt x="1877" y="323"/>
                  </a:cubicBezTo>
                  <a:cubicBezTo>
                    <a:pt x="1807" y="323"/>
                    <a:pt x="1744" y="260"/>
                    <a:pt x="1678" y="183"/>
                  </a:cubicBezTo>
                  <a:cubicBezTo>
                    <a:pt x="1646" y="148"/>
                    <a:pt x="1615" y="113"/>
                    <a:pt x="1580" y="85"/>
                  </a:cubicBezTo>
                  <a:cubicBezTo>
                    <a:pt x="1575" y="83"/>
                    <a:pt x="1569" y="82"/>
                    <a:pt x="1562" y="82"/>
                  </a:cubicBezTo>
                  <a:cubicBezTo>
                    <a:pt x="1484" y="82"/>
                    <a:pt x="1263" y="176"/>
                    <a:pt x="1174" y="211"/>
                  </a:cubicBezTo>
                  <a:cubicBezTo>
                    <a:pt x="1107" y="239"/>
                    <a:pt x="1055" y="263"/>
                    <a:pt x="1020" y="270"/>
                  </a:cubicBezTo>
                  <a:cubicBezTo>
                    <a:pt x="866" y="302"/>
                    <a:pt x="708" y="323"/>
                    <a:pt x="551" y="333"/>
                  </a:cubicBezTo>
                  <a:lnTo>
                    <a:pt x="551" y="2150"/>
                  </a:lnTo>
                  <a:cubicBezTo>
                    <a:pt x="551" y="2329"/>
                    <a:pt x="326" y="2343"/>
                    <a:pt x="162" y="2353"/>
                  </a:cubicBezTo>
                  <a:cubicBezTo>
                    <a:pt x="109" y="2353"/>
                    <a:pt x="53" y="2360"/>
                    <a:pt x="1" y="2374"/>
                  </a:cubicBezTo>
                  <a:lnTo>
                    <a:pt x="1" y="3922"/>
                  </a:lnTo>
                  <a:lnTo>
                    <a:pt x="8" y="3925"/>
                  </a:lnTo>
                  <a:lnTo>
                    <a:pt x="32" y="3936"/>
                  </a:lnTo>
                  <a:lnTo>
                    <a:pt x="60" y="3950"/>
                  </a:lnTo>
                  <a:lnTo>
                    <a:pt x="81" y="3960"/>
                  </a:lnTo>
                  <a:lnTo>
                    <a:pt x="106" y="3974"/>
                  </a:lnTo>
                  <a:lnTo>
                    <a:pt x="127" y="3985"/>
                  </a:lnTo>
                  <a:lnTo>
                    <a:pt x="148" y="3999"/>
                  </a:lnTo>
                  <a:lnTo>
                    <a:pt x="162" y="4009"/>
                  </a:lnTo>
                  <a:lnTo>
                    <a:pt x="183" y="4023"/>
                  </a:lnTo>
                  <a:lnTo>
                    <a:pt x="193" y="4034"/>
                  </a:lnTo>
                  <a:cubicBezTo>
                    <a:pt x="200" y="4037"/>
                    <a:pt x="204" y="4044"/>
                    <a:pt x="211" y="4048"/>
                  </a:cubicBezTo>
                  <a:lnTo>
                    <a:pt x="221" y="4058"/>
                  </a:lnTo>
                  <a:cubicBezTo>
                    <a:pt x="225" y="4065"/>
                    <a:pt x="228" y="4072"/>
                    <a:pt x="232" y="4076"/>
                  </a:cubicBezTo>
                  <a:lnTo>
                    <a:pt x="239" y="4086"/>
                  </a:lnTo>
                  <a:cubicBezTo>
                    <a:pt x="246" y="4097"/>
                    <a:pt x="249" y="4104"/>
                    <a:pt x="253" y="4114"/>
                  </a:cubicBezTo>
                  <a:lnTo>
                    <a:pt x="260" y="4132"/>
                  </a:lnTo>
                  <a:cubicBezTo>
                    <a:pt x="393" y="4464"/>
                    <a:pt x="466" y="4678"/>
                    <a:pt x="431" y="4772"/>
                  </a:cubicBezTo>
                  <a:cubicBezTo>
                    <a:pt x="417" y="4825"/>
                    <a:pt x="375" y="4867"/>
                    <a:pt x="326" y="4881"/>
                  </a:cubicBezTo>
                  <a:cubicBezTo>
                    <a:pt x="323" y="4909"/>
                    <a:pt x="323" y="4933"/>
                    <a:pt x="319" y="4958"/>
                  </a:cubicBezTo>
                  <a:cubicBezTo>
                    <a:pt x="316" y="4989"/>
                    <a:pt x="309" y="5042"/>
                    <a:pt x="319" y="5052"/>
                  </a:cubicBezTo>
                  <a:cubicBezTo>
                    <a:pt x="319" y="5052"/>
                    <a:pt x="330" y="5059"/>
                    <a:pt x="358" y="5059"/>
                  </a:cubicBezTo>
                  <a:cubicBezTo>
                    <a:pt x="414" y="5059"/>
                    <a:pt x="470" y="5066"/>
                    <a:pt x="526" y="5077"/>
                  </a:cubicBezTo>
                  <a:cubicBezTo>
                    <a:pt x="588" y="5085"/>
                    <a:pt x="653" y="5094"/>
                    <a:pt x="711" y="5094"/>
                  </a:cubicBezTo>
                  <a:cubicBezTo>
                    <a:pt x="774" y="5094"/>
                    <a:pt x="828" y="5084"/>
                    <a:pt x="859" y="5049"/>
                  </a:cubicBezTo>
                  <a:cubicBezTo>
                    <a:pt x="894" y="5007"/>
                    <a:pt x="950" y="4954"/>
                    <a:pt x="1016" y="4891"/>
                  </a:cubicBezTo>
                  <a:cubicBezTo>
                    <a:pt x="1135" y="4779"/>
                    <a:pt x="1335" y="4597"/>
                    <a:pt x="1345" y="4517"/>
                  </a:cubicBezTo>
                  <a:cubicBezTo>
                    <a:pt x="1352" y="4426"/>
                    <a:pt x="1394" y="4209"/>
                    <a:pt x="1541" y="4139"/>
                  </a:cubicBezTo>
                  <a:cubicBezTo>
                    <a:pt x="1571" y="4124"/>
                    <a:pt x="1602" y="4117"/>
                    <a:pt x="1635" y="4117"/>
                  </a:cubicBezTo>
                  <a:cubicBezTo>
                    <a:pt x="1692" y="4117"/>
                    <a:pt x="1754" y="4139"/>
                    <a:pt x="1818" y="4181"/>
                  </a:cubicBezTo>
                  <a:lnTo>
                    <a:pt x="1884" y="4226"/>
                  </a:lnTo>
                  <a:cubicBezTo>
                    <a:pt x="2091" y="4359"/>
                    <a:pt x="2122" y="4380"/>
                    <a:pt x="2427" y="4380"/>
                  </a:cubicBezTo>
                  <a:cubicBezTo>
                    <a:pt x="2784" y="4380"/>
                    <a:pt x="2833" y="4363"/>
                    <a:pt x="2882" y="4188"/>
                  </a:cubicBezTo>
                  <a:cubicBezTo>
                    <a:pt x="2896" y="4128"/>
                    <a:pt x="2907" y="4072"/>
                    <a:pt x="2914" y="4013"/>
                  </a:cubicBezTo>
                  <a:cubicBezTo>
                    <a:pt x="2931" y="3880"/>
                    <a:pt x="2949" y="3733"/>
                    <a:pt x="3155" y="3733"/>
                  </a:cubicBezTo>
                  <a:cubicBezTo>
                    <a:pt x="3344" y="3733"/>
                    <a:pt x="3558" y="3554"/>
                    <a:pt x="3558" y="3459"/>
                  </a:cubicBezTo>
                  <a:cubicBezTo>
                    <a:pt x="3558" y="3284"/>
                    <a:pt x="3673" y="3022"/>
                    <a:pt x="3852" y="3022"/>
                  </a:cubicBezTo>
                  <a:cubicBezTo>
                    <a:pt x="3957" y="3022"/>
                    <a:pt x="4198" y="2875"/>
                    <a:pt x="4223" y="2749"/>
                  </a:cubicBezTo>
                  <a:cubicBezTo>
                    <a:pt x="4251" y="2616"/>
                    <a:pt x="4370" y="2588"/>
                    <a:pt x="4461" y="2570"/>
                  </a:cubicBezTo>
                  <a:cubicBezTo>
                    <a:pt x="4503" y="2567"/>
                    <a:pt x="4541" y="2553"/>
                    <a:pt x="4576" y="2528"/>
                  </a:cubicBezTo>
                  <a:lnTo>
                    <a:pt x="4590" y="2511"/>
                  </a:lnTo>
                  <a:lnTo>
                    <a:pt x="4594" y="2504"/>
                  </a:lnTo>
                  <a:lnTo>
                    <a:pt x="4604" y="2490"/>
                  </a:lnTo>
                  <a:lnTo>
                    <a:pt x="4611" y="2479"/>
                  </a:lnTo>
                  <a:lnTo>
                    <a:pt x="4625" y="2465"/>
                  </a:lnTo>
                  <a:lnTo>
                    <a:pt x="4632" y="2451"/>
                  </a:lnTo>
                  <a:lnTo>
                    <a:pt x="4646" y="2434"/>
                  </a:lnTo>
                  <a:lnTo>
                    <a:pt x="4657" y="2420"/>
                  </a:lnTo>
                  <a:lnTo>
                    <a:pt x="4667" y="2402"/>
                  </a:lnTo>
                  <a:lnTo>
                    <a:pt x="4682" y="2381"/>
                  </a:lnTo>
                  <a:lnTo>
                    <a:pt x="4696" y="2364"/>
                  </a:lnTo>
                  <a:lnTo>
                    <a:pt x="4710" y="2343"/>
                  </a:lnTo>
                  <a:lnTo>
                    <a:pt x="4724" y="2322"/>
                  </a:lnTo>
                  <a:lnTo>
                    <a:pt x="4738" y="2301"/>
                  </a:lnTo>
                  <a:lnTo>
                    <a:pt x="4745" y="2290"/>
                  </a:lnTo>
                  <a:cubicBezTo>
                    <a:pt x="4741" y="2283"/>
                    <a:pt x="4741" y="2280"/>
                    <a:pt x="4741" y="2276"/>
                  </a:cubicBezTo>
                  <a:lnTo>
                    <a:pt x="4741" y="2262"/>
                  </a:lnTo>
                  <a:cubicBezTo>
                    <a:pt x="4741" y="2259"/>
                    <a:pt x="4741" y="2255"/>
                    <a:pt x="4738" y="2252"/>
                  </a:cubicBezTo>
                  <a:cubicBezTo>
                    <a:pt x="4734" y="2245"/>
                    <a:pt x="4734" y="2241"/>
                    <a:pt x="4734" y="2238"/>
                  </a:cubicBezTo>
                  <a:cubicBezTo>
                    <a:pt x="4731" y="2234"/>
                    <a:pt x="4731" y="2231"/>
                    <a:pt x="4727" y="2227"/>
                  </a:cubicBezTo>
                  <a:cubicBezTo>
                    <a:pt x="4724" y="2224"/>
                    <a:pt x="4724" y="2220"/>
                    <a:pt x="4720" y="2217"/>
                  </a:cubicBezTo>
                  <a:cubicBezTo>
                    <a:pt x="4720" y="2213"/>
                    <a:pt x="4717" y="2210"/>
                    <a:pt x="4713" y="2206"/>
                  </a:cubicBezTo>
                  <a:cubicBezTo>
                    <a:pt x="4710" y="2203"/>
                    <a:pt x="4710" y="2199"/>
                    <a:pt x="4706" y="2196"/>
                  </a:cubicBezTo>
                  <a:cubicBezTo>
                    <a:pt x="4666" y="2158"/>
                    <a:pt x="4584" y="2135"/>
                    <a:pt x="4471" y="2135"/>
                  </a:cubicBezTo>
                  <a:cubicBezTo>
                    <a:pt x="4457" y="2135"/>
                    <a:pt x="4442" y="2135"/>
                    <a:pt x="4426" y="2136"/>
                  </a:cubicBezTo>
                  <a:cubicBezTo>
                    <a:pt x="4423" y="2136"/>
                    <a:pt x="4420" y="2136"/>
                    <a:pt x="4417" y="2136"/>
                  </a:cubicBezTo>
                  <a:cubicBezTo>
                    <a:pt x="4328" y="2136"/>
                    <a:pt x="4223" y="2084"/>
                    <a:pt x="4132" y="2000"/>
                  </a:cubicBezTo>
                  <a:cubicBezTo>
                    <a:pt x="4041" y="1909"/>
                    <a:pt x="3974" y="1786"/>
                    <a:pt x="3974" y="1688"/>
                  </a:cubicBezTo>
                  <a:cubicBezTo>
                    <a:pt x="3974" y="1618"/>
                    <a:pt x="3918" y="1548"/>
                    <a:pt x="3862" y="1481"/>
                  </a:cubicBezTo>
                  <a:cubicBezTo>
                    <a:pt x="3806" y="1415"/>
                    <a:pt x="3754" y="1352"/>
                    <a:pt x="3754" y="1275"/>
                  </a:cubicBezTo>
                  <a:cubicBezTo>
                    <a:pt x="3743" y="1226"/>
                    <a:pt x="3516" y="1068"/>
                    <a:pt x="3250" y="953"/>
                  </a:cubicBezTo>
                  <a:cubicBezTo>
                    <a:pt x="3106" y="893"/>
                    <a:pt x="3047" y="659"/>
                    <a:pt x="2998" y="470"/>
                  </a:cubicBezTo>
                  <a:lnTo>
                    <a:pt x="2991" y="445"/>
                  </a:lnTo>
                  <a:cubicBezTo>
                    <a:pt x="2980" y="396"/>
                    <a:pt x="2966" y="347"/>
                    <a:pt x="2949" y="298"/>
                  </a:cubicBezTo>
                  <a:cubicBezTo>
                    <a:pt x="2942" y="298"/>
                    <a:pt x="2935" y="295"/>
                    <a:pt x="2928" y="291"/>
                  </a:cubicBezTo>
                  <a:lnTo>
                    <a:pt x="2921" y="288"/>
                  </a:lnTo>
                  <a:lnTo>
                    <a:pt x="2907" y="281"/>
                  </a:lnTo>
                  <a:lnTo>
                    <a:pt x="2896" y="277"/>
                  </a:lnTo>
                  <a:lnTo>
                    <a:pt x="2882" y="267"/>
                  </a:lnTo>
                  <a:lnTo>
                    <a:pt x="2875" y="260"/>
                  </a:lnTo>
                  <a:lnTo>
                    <a:pt x="2861" y="253"/>
                  </a:lnTo>
                  <a:lnTo>
                    <a:pt x="2851" y="246"/>
                  </a:lnTo>
                  <a:lnTo>
                    <a:pt x="2837" y="232"/>
                  </a:lnTo>
                  <a:lnTo>
                    <a:pt x="2826" y="225"/>
                  </a:lnTo>
                  <a:lnTo>
                    <a:pt x="2812" y="214"/>
                  </a:lnTo>
                  <a:lnTo>
                    <a:pt x="2805" y="204"/>
                  </a:lnTo>
                  <a:lnTo>
                    <a:pt x="2788" y="190"/>
                  </a:lnTo>
                  <a:lnTo>
                    <a:pt x="2781" y="183"/>
                  </a:lnTo>
                  <a:lnTo>
                    <a:pt x="2760" y="158"/>
                  </a:lnTo>
                  <a:lnTo>
                    <a:pt x="2749" y="148"/>
                  </a:lnTo>
                  <a:lnTo>
                    <a:pt x="2735" y="134"/>
                  </a:lnTo>
                  <a:lnTo>
                    <a:pt x="2725" y="123"/>
                  </a:lnTo>
                  <a:lnTo>
                    <a:pt x="2714" y="109"/>
                  </a:lnTo>
                  <a:lnTo>
                    <a:pt x="2704" y="99"/>
                  </a:lnTo>
                  <a:lnTo>
                    <a:pt x="2693" y="85"/>
                  </a:lnTo>
                  <a:lnTo>
                    <a:pt x="2686" y="74"/>
                  </a:lnTo>
                  <a:lnTo>
                    <a:pt x="2676" y="60"/>
                  </a:lnTo>
                  <a:lnTo>
                    <a:pt x="2665" y="50"/>
                  </a:lnTo>
                  <a:lnTo>
                    <a:pt x="2655" y="36"/>
                  </a:lnTo>
                  <a:lnTo>
                    <a:pt x="2648" y="25"/>
                  </a:lnTo>
                  <a:lnTo>
                    <a:pt x="2637" y="8"/>
                  </a:lnTo>
                  <a:lnTo>
                    <a:pt x="2634"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193" name="Google Shape;3193;p104"/>
            <p:cNvSpPr/>
            <p:nvPr/>
          </p:nvSpPr>
          <p:spPr>
            <a:xfrm>
              <a:off x="2229155" y="2179503"/>
              <a:ext cx="54" cy="14"/>
            </a:xfrm>
            <a:custGeom>
              <a:avLst/>
              <a:gdLst/>
              <a:ahLst/>
              <a:cxnLst/>
              <a:rect l="l" t="t" r="r" b="b"/>
              <a:pathLst>
                <a:path w="4" h="1" extrusionOk="0">
                  <a:moveTo>
                    <a:pt x="4" y="1"/>
                  </a:moveTo>
                  <a:lnTo>
                    <a:pt x="1" y="1"/>
                  </a:lnTo>
                  <a:lnTo>
                    <a:pt x="4"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194" name="Google Shape;3194;p104"/>
            <p:cNvSpPr/>
            <p:nvPr/>
          </p:nvSpPr>
          <p:spPr>
            <a:xfrm>
              <a:off x="2229209" y="2179503"/>
              <a:ext cx="54" cy="109"/>
            </a:xfrm>
            <a:custGeom>
              <a:avLst/>
              <a:gdLst/>
              <a:ahLst/>
              <a:cxnLst/>
              <a:rect l="l" t="t" r="r" b="b"/>
              <a:pathLst>
                <a:path w="4" h="8" extrusionOk="0">
                  <a:moveTo>
                    <a:pt x="4" y="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195" name="Google Shape;3195;p104"/>
            <p:cNvSpPr/>
            <p:nvPr/>
          </p:nvSpPr>
          <p:spPr>
            <a:xfrm>
              <a:off x="2257776" y="2210066"/>
              <a:ext cx="54" cy="163"/>
            </a:xfrm>
            <a:custGeom>
              <a:avLst/>
              <a:gdLst/>
              <a:ahLst/>
              <a:cxnLst/>
              <a:rect l="l" t="t" r="r" b="b"/>
              <a:pathLst>
                <a:path w="4" h="12" extrusionOk="0">
                  <a:moveTo>
                    <a:pt x="0" y="1"/>
                  </a:moveTo>
                  <a:cubicBezTo>
                    <a:pt x="0" y="4"/>
                    <a:pt x="4" y="8"/>
                    <a:pt x="4" y="11"/>
                  </a:cubicBezTo>
                  <a:cubicBezTo>
                    <a:pt x="4" y="8"/>
                    <a:pt x="4" y="4"/>
                    <a:pt x="0" y="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196" name="Google Shape;3196;p104"/>
            <p:cNvSpPr/>
            <p:nvPr/>
          </p:nvSpPr>
          <p:spPr>
            <a:xfrm>
              <a:off x="2257491" y="2209455"/>
              <a:ext cx="95" cy="149"/>
            </a:xfrm>
            <a:custGeom>
              <a:avLst/>
              <a:gdLst/>
              <a:ahLst/>
              <a:cxnLst/>
              <a:rect l="l" t="t" r="r" b="b"/>
              <a:pathLst>
                <a:path w="7" h="11" extrusionOk="0">
                  <a:moveTo>
                    <a:pt x="7" y="11"/>
                  </a:moveTo>
                  <a:cubicBezTo>
                    <a:pt x="4" y="7"/>
                    <a:pt x="0" y="4"/>
                    <a:pt x="0" y="0"/>
                  </a:cubicBezTo>
                  <a:cubicBezTo>
                    <a:pt x="0" y="4"/>
                    <a:pt x="4" y="7"/>
                    <a:pt x="7" y="1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197" name="Google Shape;3197;p104"/>
            <p:cNvSpPr/>
            <p:nvPr/>
          </p:nvSpPr>
          <p:spPr>
            <a:xfrm>
              <a:off x="2233106" y="2183400"/>
              <a:ext cx="109" cy="68"/>
            </a:xfrm>
            <a:custGeom>
              <a:avLst/>
              <a:gdLst/>
              <a:ahLst/>
              <a:cxnLst/>
              <a:rect l="l" t="t" r="r" b="b"/>
              <a:pathLst>
                <a:path w="8" h="5" extrusionOk="0">
                  <a:moveTo>
                    <a:pt x="7"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198" name="Google Shape;3198;p104"/>
            <p:cNvSpPr/>
            <p:nvPr/>
          </p:nvSpPr>
          <p:spPr>
            <a:xfrm>
              <a:off x="2257871" y="2210406"/>
              <a:ext cx="0" cy="149"/>
            </a:xfrm>
            <a:custGeom>
              <a:avLst/>
              <a:gdLst/>
              <a:ahLst/>
              <a:cxnLst/>
              <a:rect l="l" t="t" r="r" b="b"/>
              <a:pathLst>
                <a:path h="11" extrusionOk="0">
                  <a:moveTo>
                    <a:pt x="0" y="11"/>
                  </a:moveTo>
                  <a:lnTo>
                    <a:pt x="0" y="11"/>
                  </a:lnTo>
                  <a:lnTo>
                    <a:pt x="0" y="4"/>
                  </a:lnTo>
                  <a:cubicBezTo>
                    <a:pt x="0" y="0"/>
                    <a:pt x="0" y="7"/>
                    <a:pt x="0" y="1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199" name="Google Shape;3199;p104"/>
            <p:cNvSpPr/>
            <p:nvPr/>
          </p:nvSpPr>
          <p:spPr>
            <a:xfrm>
              <a:off x="2249589" y="2206645"/>
              <a:ext cx="3965" cy="1874"/>
            </a:xfrm>
            <a:custGeom>
              <a:avLst/>
              <a:gdLst/>
              <a:ahLst/>
              <a:cxnLst/>
              <a:rect l="l" t="t" r="r" b="b"/>
              <a:pathLst>
                <a:path w="292" h="138" extrusionOk="0">
                  <a:moveTo>
                    <a:pt x="1" y="1"/>
                  </a:moveTo>
                  <a:cubicBezTo>
                    <a:pt x="35" y="33"/>
                    <a:pt x="71" y="60"/>
                    <a:pt x="108" y="82"/>
                  </a:cubicBezTo>
                  <a:lnTo>
                    <a:pt x="108" y="82"/>
                  </a:lnTo>
                  <a:cubicBezTo>
                    <a:pt x="72" y="60"/>
                    <a:pt x="36" y="33"/>
                    <a:pt x="1" y="1"/>
                  </a:cubicBezTo>
                  <a:close/>
                  <a:moveTo>
                    <a:pt x="108" y="82"/>
                  </a:moveTo>
                  <a:cubicBezTo>
                    <a:pt x="168" y="117"/>
                    <a:pt x="228" y="137"/>
                    <a:pt x="283" y="137"/>
                  </a:cubicBezTo>
                  <a:cubicBezTo>
                    <a:pt x="286" y="137"/>
                    <a:pt x="289" y="137"/>
                    <a:pt x="291" y="137"/>
                  </a:cubicBezTo>
                  <a:cubicBezTo>
                    <a:pt x="234" y="137"/>
                    <a:pt x="170" y="118"/>
                    <a:pt x="108" y="82"/>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200" name="Google Shape;3200;p104"/>
            <p:cNvSpPr/>
            <p:nvPr/>
          </p:nvSpPr>
          <p:spPr>
            <a:xfrm>
              <a:off x="2257681" y="2209740"/>
              <a:ext cx="54" cy="149"/>
            </a:xfrm>
            <a:custGeom>
              <a:avLst/>
              <a:gdLst/>
              <a:ahLst/>
              <a:cxnLst/>
              <a:rect l="l" t="t" r="r" b="b"/>
              <a:pathLst>
                <a:path w="4" h="11" extrusionOk="0">
                  <a:moveTo>
                    <a:pt x="4" y="11"/>
                  </a:moveTo>
                  <a:cubicBezTo>
                    <a:pt x="4" y="7"/>
                    <a:pt x="0" y="4"/>
                    <a:pt x="0" y="0"/>
                  </a:cubicBezTo>
                  <a:cubicBezTo>
                    <a:pt x="0" y="4"/>
                    <a:pt x="4" y="7"/>
                    <a:pt x="4" y="1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201" name="Google Shape;3201;p104"/>
            <p:cNvSpPr/>
            <p:nvPr/>
          </p:nvSpPr>
          <p:spPr>
            <a:xfrm>
              <a:off x="2229915" y="2180508"/>
              <a:ext cx="163" cy="149"/>
            </a:xfrm>
            <a:custGeom>
              <a:avLst/>
              <a:gdLst/>
              <a:ahLst/>
              <a:cxnLst/>
              <a:rect l="l" t="t" r="r" b="b"/>
              <a:pathLst>
                <a:path w="12" h="11" extrusionOk="0">
                  <a:moveTo>
                    <a:pt x="11" y="11"/>
                  </a:moveTo>
                  <a:lnTo>
                    <a:pt x="1"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202" name="Google Shape;3202;p104"/>
            <p:cNvSpPr/>
            <p:nvPr/>
          </p:nvSpPr>
          <p:spPr>
            <a:xfrm>
              <a:off x="2230200" y="2180834"/>
              <a:ext cx="163" cy="163"/>
            </a:xfrm>
            <a:custGeom>
              <a:avLst/>
              <a:gdLst/>
              <a:ahLst/>
              <a:cxnLst/>
              <a:rect l="l" t="t" r="r" b="b"/>
              <a:pathLst>
                <a:path w="12" h="12" extrusionOk="0">
                  <a:moveTo>
                    <a:pt x="11" y="1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203" name="Google Shape;3203;p104"/>
            <p:cNvSpPr/>
            <p:nvPr/>
          </p:nvSpPr>
          <p:spPr>
            <a:xfrm>
              <a:off x="2229399" y="2179843"/>
              <a:ext cx="149" cy="149"/>
            </a:xfrm>
            <a:custGeom>
              <a:avLst/>
              <a:gdLst/>
              <a:ahLst/>
              <a:cxnLst/>
              <a:rect l="l" t="t" r="r" b="b"/>
              <a:pathLst>
                <a:path w="11" h="11" extrusionOk="0">
                  <a:moveTo>
                    <a:pt x="11" y="11"/>
                  </a:moveTo>
                  <a:lnTo>
                    <a:pt x="0"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204" name="Google Shape;3204;p104"/>
            <p:cNvSpPr/>
            <p:nvPr/>
          </p:nvSpPr>
          <p:spPr>
            <a:xfrm>
              <a:off x="2229684" y="2180169"/>
              <a:ext cx="109" cy="163"/>
            </a:xfrm>
            <a:custGeom>
              <a:avLst/>
              <a:gdLst/>
              <a:ahLst/>
              <a:cxnLst/>
              <a:rect l="l" t="t" r="r" b="b"/>
              <a:pathLst>
                <a:path w="8" h="12" extrusionOk="0">
                  <a:moveTo>
                    <a:pt x="7" y="1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205" name="Google Shape;3205;p104"/>
            <p:cNvSpPr/>
            <p:nvPr/>
          </p:nvSpPr>
          <p:spPr>
            <a:xfrm>
              <a:off x="2230485" y="2181173"/>
              <a:ext cx="163" cy="204"/>
            </a:xfrm>
            <a:custGeom>
              <a:avLst/>
              <a:gdLst/>
              <a:ahLst/>
              <a:cxnLst/>
              <a:rect l="l" t="t" r="r" b="b"/>
              <a:pathLst>
                <a:path w="12" h="15" extrusionOk="0">
                  <a:moveTo>
                    <a:pt x="11" y="1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206" name="Google Shape;3206;p104"/>
            <p:cNvSpPr/>
            <p:nvPr/>
          </p:nvSpPr>
          <p:spPr>
            <a:xfrm>
              <a:off x="2232156" y="2182830"/>
              <a:ext cx="149" cy="109"/>
            </a:xfrm>
            <a:custGeom>
              <a:avLst/>
              <a:gdLst/>
              <a:ahLst/>
              <a:cxnLst/>
              <a:rect l="l" t="t" r="r" b="b"/>
              <a:pathLst>
                <a:path w="11" h="8" extrusionOk="0">
                  <a:moveTo>
                    <a:pt x="11" y="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207" name="Google Shape;3207;p104"/>
            <p:cNvSpPr/>
            <p:nvPr/>
          </p:nvSpPr>
          <p:spPr>
            <a:xfrm>
              <a:off x="2231870" y="2182545"/>
              <a:ext cx="109" cy="163"/>
            </a:xfrm>
            <a:custGeom>
              <a:avLst/>
              <a:gdLst/>
              <a:ahLst/>
              <a:cxnLst/>
              <a:rect l="l" t="t" r="r" b="b"/>
              <a:pathLst>
                <a:path w="8" h="12" extrusionOk="0">
                  <a:moveTo>
                    <a:pt x="7" y="1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208" name="Google Shape;3208;p104"/>
            <p:cNvSpPr/>
            <p:nvPr/>
          </p:nvSpPr>
          <p:spPr>
            <a:xfrm>
              <a:off x="2232821" y="2183264"/>
              <a:ext cx="109" cy="54"/>
            </a:xfrm>
            <a:custGeom>
              <a:avLst/>
              <a:gdLst/>
              <a:ahLst/>
              <a:cxnLst/>
              <a:rect l="l" t="t" r="r" b="b"/>
              <a:pathLst>
                <a:path w="8" h="4" extrusionOk="0">
                  <a:moveTo>
                    <a:pt x="7"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209" name="Google Shape;3209;p104"/>
            <p:cNvSpPr/>
            <p:nvPr/>
          </p:nvSpPr>
          <p:spPr>
            <a:xfrm>
              <a:off x="2231205" y="2181974"/>
              <a:ext cx="149" cy="109"/>
            </a:xfrm>
            <a:custGeom>
              <a:avLst/>
              <a:gdLst/>
              <a:ahLst/>
              <a:cxnLst/>
              <a:rect l="l" t="t" r="r" b="b"/>
              <a:pathLst>
                <a:path w="11" h="8" extrusionOk="0">
                  <a:moveTo>
                    <a:pt x="11" y="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210" name="Google Shape;3210;p104"/>
            <p:cNvSpPr/>
            <p:nvPr/>
          </p:nvSpPr>
          <p:spPr>
            <a:xfrm>
              <a:off x="2231531" y="2182259"/>
              <a:ext cx="163" cy="163"/>
            </a:xfrm>
            <a:custGeom>
              <a:avLst/>
              <a:gdLst/>
              <a:ahLst/>
              <a:cxnLst/>
              <a:rect l="l" t="t" r="r" b="b"/>
              <a:pathLst>
                <a:path w="12" h="12" extrusionOk="0">
                  <a:moveTo>
                    <a:pt x="11" y="1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211" name="Google Shape;3211;p104"/>
            <p:cNvSpPr/>
            <p:nvPr/>
          </p:nvSpPr>
          <p:spPr>
            <a:xfrm>
              <a:off x="2230771" y="2181553"/>
              <a:ext cx="163" cy="109"/>
            </a:xfrm>
            <a:custGeom>
              <a:avLst/>
              <a:gdLst/>
              <a:ahLst/>
              <a:cxnLst/>
              <a:rect l="l" t="t" r="r" b="b"/>
              <a:pathLst>
                <a:path w="12" h="8" extrusionOk="0">
                  <a:moveTo>
                    <a:pt x="11" y="7"/>
                  </a:moveTo>
                  <a:lnTo>
                    <a:pt x="1"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212" name="Google Shape;3212;p104"/>
            <p:cNvSpPr/>
            <p:nvPr/>
          </p:nvSpPr>
          <p:spPr>
            <a:xfrm>
              <a:off x="2232481" y="2183074"/>
              <a:ext cx="163" cy="54"/>
            </a:xfrm>
            <a:custGeom>
              <a:avLst/>
              <a:gdLst/>
              <a:ahLst/>
              <a:cxnLst/>
              <a:rect l="l" t="t" r="r" b="b"/>
              <a:pathLst>
                <a:path w="12" h="4" extrusionOk="0">
                  <a:moveTo>
                    <a:pt x="11" y="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213" name="Google Shape;3213;p104"/>
            <p:cNvSpPr/>
            <p:nvPr/>
          </p:nvSpPr>
          <p:spPr>
            <a:xfrm>
              <a:off x="2271462" y="2241294"/>
              <a:ext cx="8133" cy="10523"/>
            </a:xfrm>
            <a:custGeom>
              <a:avLst/>
              <a:gdLst/>
              <a:ahLst/>
              <a:cxnLst/>
              <a:rect l="l" t="t" r="r" b="b"/>
              <a:pathLst>
                <a:path w="599" h="775" extrusionOk="0">
                  <a:moveTo>
                    <a:pt x="308" y="1"/>
                  </a:moveTo>
                  <a:cubicBezTo>
                    <a:pt x="301" y="1"/>
                    <a:pt x="298" y="1"/>
                    <a:pt x="291" y="4"/>
                  </a:cubicBezTo>
                  <a:cubicBezTo>
                    <a:pt x="249" y="25"/>
                    <a:pt x="210" y="53"/>
                    <a:pt x="179" y="88"/>
                  </a:cubicBezTo>
                  <a:cubicBezTo>
                    <a:pt x="98" y="169"/>
                    <a:pt x="11" y="288"/>
                    <a:pt x="0" y="333"/>
                  </a:cubicBezTo>
                  <a:cubicBezTo>
                    <a:pt x="11" y="410"/>
                    <a:pt x="172" y="764"/>
                    <a:pt x="277" y="771"/>
                  </a:cubicBezTo>
                  <a:cubicBezTo>
                    <a:pt x="309" y="773"/>
                    <a:pt x="337" y="774"/>
                    <a:pt x="361" y="774"/>
                  </a:cubicBezTo>
                  <a:cubicBezTo>
                    <a:pt x="493" y="774"/>
                    <a:pt x="508" y="743"/>
                    <a:pt x="511" y="708"/>
                  </a:cubicBezTo>
                  <a:cubicBezTo>
                    <a:pt x="515" y="694"/>
                    <a:pt x="518" y="680"/>
                    <a:pt x="522" y="666"/>
                  </a:cubicBezTo>
                  <a:lnTo>
                    <a:pt x="522" y="662"/>
                  </a:lnTo>
                  <a:cubicBezTo>
                    <a:pt x="525" y="648"/>
                    <a:pt x="529" y="634"/>
                    <a:pt x="536" y="624"/>
                  </a:cubicBezTo>
                  <a:lnTo>
                    <a:pt x="539" y="617"/>
                  </a:lnTo>
                  <a:cubicBezTo>
                    <a:pt x="546" y="603"/>
                    <a:pt x="553" y="592"/>
                    <a:pt x="564" y="582"/>
                  </a:cubicBezTo>
                  <a:lnTo>
                    <a:pt x="567" y="578"/>
                  </a:lnTo>
                  <a:cubicBezTo>
                    <a:pt x="578" y="564"/>
                    <a:pt x="585" y="554"/>
                    <a:pt x="599" y="543"/>
                  </a:cubicBezTo>
                  <a:lnTo>
                    <a:pt x="599" y="540"/>
                  </a:lnTo>
                  <a:cubicBezTo>
                    <a:pt x="588" y="424"/>
                    <a:pt x="567" y="256"/>
                    <a:pt x="557" y="134"/>
                  </a:cubicBezTo>
                  <a:lnTo>
                    <a:pt x="543" y="123"/>
                  </a:lnTo>
                  <a:cubicBezTo>
                    <a:pt x="469" y="71"/>
                    <a:pt x="364" y="1"/>
                    <a:pt x="308" y="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214" name="Google Shape;3214;p104"/>
            <p:cNvSpPr/>
            <p:nvPr/>
          </p:nvSpPr>
          <p:spPr>
            <a:xfrm>
              <a:off x="2244837" y="2263697"/>
              <a:ext cx="14704" cy="14922"/>
            </a:xfrm>
            <a:custGeom>
              <a:avLst/>
              <a:gdLst/>
              <a:ahLst/>
              <a:cxnLst/>
              <a:rect l="l" t="t" r="r" b="b"/>
              <a:pathLst>
                <a:path w="1083" h="1099" extrusionOk="0">
                  <a:moveTo>
                    <a:pt x="710" y="0"/>
                  </a:moveTo>
                  <a:cubicBezTo>
                    <a:pt x="702" y="0"/>
                    <a:pt x="694" y="1"/>
                    <a:pt x="687" y="3"/>
                  </a:cubicBezTo>
                  <a:cubicBezTo>
                    <a:pt x="676" y="7"/>
                    <a:pt x="666" y="7"/>
                    <a:pt x="655" y="10"/>
                  </a:cubicBezTo>
                  <a:cubicBezTo>
                    <a:pt x="515" y="45"/>
                    <a:pt x="333" y="168"/>
                    <a:pt x="302" y="231"/>
                  </a:cubicBezTo>
                  <a:cubicBezTo>
                    <a:pt x="211" y="385"/>
                    <a:pt x="109" y="539"/>
                    <a:pt x="1" y="686"/>
                  </a:cubicBezTo>
                  <a:lnTo>
                    <a:pt x="281" y="1078"/>
                  </a:lnTo>
                  <a:lnTo>
                    <a:pt x="428" y="1099"/>
                  </a:lnTo>
                  <a:cubicBezTo>
                    <a:pt x="452" y="1043"/>
                    <a:pt x="498" y="941"/>
                    <a:pt x="540" y="850"/>
                  </a:cubicBezTo>
                  <a:cubicBezTo>
                    <a:pt x="577" y="777"/>
                    <a:pt x="650" y="762"/>
                    <a:pt x="722" y="762"/>
                  </a:cubicBezTo>
                  <a:cubicBezTo>
                    <a:pt x="752" y="762"/>
                    <a:pt x="782" y="764"/>
                    <a:pt x="809" y="766"/>
                  </a:cubicBezTo>
                  <a:cubicBezTo>
                    <a:pt x="830" y="766"/>
                    <a:pt x="855" y="773"/>
                    <a:pt x="872" y="773"/>
                  </a:cubicBezTo>
                  <a:lnTo>
                    <a:pt x="890" y="773"/>
                  </a:lnTo>
                  <a:cubicBezTo>
                    <a:pt x="901" y="700"/>
                    <a:pt x="932" y="633"/>
                    <a:pt x="981" y="577"/>
                  </a:cubicBezTo>
                  <a:lnTo>
                    <a:pt x="999" y="549"/>
                  </a:lnTo>
                  <a:cubicBezTo>
                    <a:pt x="1041" y="497"/>
                    <a:pt x="1083" y="437"/>
                    <a:pt x="1083" y="395"/>
                  </a:cubicBezTo>
                  <a:cubicBezTo>
                    <a:pt x="1083" y="353"/>
                    <a:pt x="981" y="259"/>
                    <a:pt x="915" y="199"/>
                  </a:cubicBezTo>
                  <a:cubicBezTo>
                    <a:pt x="886" y="175"/>
                    <a:pt x="858" y="150"/>
                    <a:pt x="830" y="126"/>
                  </a:cubicBezTo>
                  <a:lnTo>
                    <a:pt x="827" y="122"/>
                  </a:lnTo>
                  <a:lnTo>
                    <a:pt x="806" y="101"/>
                  </a:lnTo>
                  <a:lnTo>
                    <a:pt x="795" y="87"/>
                  </a:lnTo>
                  <a:lnTo>
                    <a:pt x="785" y="77"/>
                  </a:lnTo>
                  <a:lnTo>
                    <a:pt x="774" y="63"/>
                  </a:lnTo>
                  <a:lnTo>
                    <a:pt x="764" y="52"/>
                  </a:lnTo>
                  <a:lnTo>
                    <a:pt x="757" y="38"/>
                  </a:lnTo>
                  <a:lnTo>
                    <a:pt x="746" y="28"/>
                  </a:lnTo>
                  <a:cubicBezTo>
                    <a:pt x="746" y="24"/>
                    <a:pt x="743" y="21"/>
                    <a:pt x="739" y="17"/>
                  </a:cubicBezTo>
                  <a:cubicBezTo>
                    <a:pt x="739" y="10"/>
                    <a:pt x="736" y="7"/>
                    <a:pt x="732" y="3"/>
                  </a:cubicBezTo>
                  <a:cubicBezTo>
                    <a:pt x="725" y="1"/>
                    <a:pt x="718" y="0"/>
                    <a:pt x="710"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215" name="Google Shape;3215;p104"/>
            <p:cNvSpPr/>
            <p:nvPr/>
          </p:nvSpPr>
          <p:spPr>
            <a:xfrm>
              <a:off x="2168694" y="2212021"/>
              <a:ext cx="116509" cy="102252"/>
            </a:xfrm>
            <a:custGeom>
              <a:avLst/>
              <a:gdLst/>
              <a:ahLst/>
              <a:cxnLst/>
              <a:rect l="l" t="t" r="r" b="b"/>
              <a:pathLst>
                <a:path w="8581" h="7531" extrusionOk="0">
                  <a:moveTo>
                    <a:pt x="6332" y="3675"/>
                  </a:moveTo>
                  <a:cubicBezTo>
                    <a:pt x="6382" y="3675"/>
                    <a:pt x="6431" y="3705"/>
                    <a:pt x="6456" y="3750"/>
                  </a:cubicBezTo>
                  <a:cubicBezTo>
                    <a:pt x="6466" y="3767"/>
                    <a:pt x="6477" y="3785"/>
                    <a:pt x="6491" y="3802"/>
                  </a:cubicBezTo>
                  <a:cubicBezTo>
                    <a:pt x="6530" y="3837"/>
                    <a:pt x="6568" y="3876"/>
                    <a:pt x="6607" y="3911"/>
                  </a:cubicBezTo>
                  <a:cubicBezTo>
                    <a:pt x="6715" y="4005"/>
                    <a:pt x="6817" y="4096"/>
                    <a:pt x="6817" y="4201"/>
                  </a:cubicBezTo>
                  <a:cubicBezTo>
                    <a:pt x="6820" y="4285"/>
                    <a:pt x="6764" y="4359"/>
                    <a:pt x="6708" y="4432"/>
                  </a:cubicBezTo>
                  <a:lnTo>
                    <a:pt x="6712" y="4432"/>
                  </a:lnTo>
                  <a:cubicBezTo>
                    <a:pt x="6670" y="4488"/>
                    <a:pt x="6628" y="4544"/>
                    <a:pt x="6628" y="4586"/>
                  </a:cubicBezTo>
                  <a:cubicBezTo>
                    <a:pt x="6628" y="4621"/>
                    <a:pt x="6614" y="4653"/>
                    <a:pt x="6589" y="4674"/>
                  </a:cubicBezTo>
                  <a:cubicBezTo>
                    <a:pt x="6562" y="4701"/>
                    <a:pt x="6528" y="4708"/>
                    <a:pt x="6489" y="4708"/>
                  </a:cubicBezTo>
                  <a:cubicBezTo>
                    <a:pt x="6462" y="4708"/>
                    <a:pt x="6433" y="4705"/>
                    <a:pt x="6403" y="4702"/>
                  </a:cubicBezTo>
                  <a:cubicBezTo>
                    <a:pt x="6377" y="4700"/>
                    <a:pt x="6346" y="4697"/>
                    <a:pt x="6319" y="4697"/>
                  </a:cubicBezTo>
                  <a:cubicBezTo>
                    <a:pt x="6292" y="4697"/>
                    <a:pt x="6270" y="4700"/>
                    <a:pt x="6263" y="4712"/>
                  </a:cubicBezTo>
                  <a:cubicBezTo>
                    <a:pt x="6221" y="4807"/>
                    <a:pt x="6172" y="4915"/>
                    <a:pt x="6148" y="4968"/>
                  </a:cubicBezTo>
                  <a:lnTo>
                    <a:pt x="6148" y="4975"/>
                  </a:lnTo>
                  <a:lnTo>
                    <a:pt x="6137" y="4999"/>
                  </a:lnTo>
                  <a:lnTo>
                    <a:pt x="6116" y="5048"/>
                  </a:lnTo>
                  <a:lnTo>
                    <a:pt x="5812" y="5003"/>
                  </a:lnTo>
                  <a:lnTo>
                    <a:pt x="5444" y="4492"/>
                  </a:lnTo>
                  <a:lnTo>
                    <a:pt x="5472" y="4453"/>
                  </a:lnTo>
                  <a:cubicBezTo>
                    <a:pt x="5472" y="4450"/>
                    <a:pt x="5728" y="4100"/>
                    <a:pt x="5787" y="3977"/>
                  </a:cubicBezTo>
                  <a:cubicBezTo>
                    <a:pt x="5850" y="3855"/>
                    <a:pt x="6155" y="3676"/>
                    <a:pt x="6316" y="3676"/>
                  </a:cubicBezTo>
                  <a:cubicBezTo>
                    <a:pt x="6321" y="3675"/>
                    <a:pt x="6326" y="3675"/>
                    <a:pt x="6332" y="3675"/>
                  </a:cubicBezTo>
                  <a:close/>
                  <a:moveTo>
                    <a:pt x="6670" y="0"/>
                  </a:moveTo>
                  <a:lnTo>
                    <a:pt x="6663" y="11"/>
                  </a:lnTo>
                  <a:lnTo>
                    <a:pt x="6652" y="21"/>
                  </a:lnTo>
                  <a:lnTo>
                    <a:pt x="6638" y="46"/>
                  </a:lnTo>
                  <a:lnTo>
                    <a:pt x="6628" y="56"/>
                  </a:lnTo>
                  <a:lnTo>
                    <a:pt x="6607" y="91"/>
                  </a:lnTo>
                  <a:lnTo>
                    <a:pt x="6603" y="95"/>
                  </a:lnTo>
                  <a:lnTo>
                    <a:pt x="6582" y="123"/>
                  </a:lnTo>
                  <a:lnTo>
                    <a:pt x="6575" y="133"/>
                  </a:lnTo>
                  <a:lnTo>
                    <a:pt x="6561" y="154"/>
                  </a:lnTo>
                  <a:lnTo>
                    <a:pt x="6554" y="165"/>
                  </a:lnTo>
                  <a:lnTo>
                    <a:pt x="6540" y="182"/>
                  </a:lnTo>
                  <a:lnTo>
                    <a:pt x="6533" y="189"/>
                  </a:lnTo>
                  <a:lnTo>
                    <a:pt x="6516" y="210"/>
                  </a:lnTo>
                  <a:cubicBezTo>
                    <a:pt x="6466" y="270"/>
                    <a:pt x="6393" y="284"/>
                    <a:pt x="6326" y="298"/>
                  </a:cubicBezTo>
                  <a:cubicBezTo>
                    <a:pt x="6232" y="319"/>
                    <a:pt x="6200" y="333"/>
                    <a:pt x="6190" y="375"/>
                  </a:cubicBezTo>
                  <a:cubicBezTo>
                    <a:pt x="6151" y="571"/>
                    <a:pt x="5850" y="753"/>
                    <a:pt x="5689" y="753"/>
                  </a:cubicBezTo>
                  <a:cubicBezTo>
                    <a:pt x="5619" y="753"/>
                    <a:pt x="5528" y="924"/>
                    <a:pt x="5528" y="1057"/>
                  </a:cubicBezTo>
                  <a:cubicBezTo>
                    <a:pt x="5528" y="1243"/>
                    <a:pt x="5238" y="1464"/>
                    <a:pt x="4993" y="1464"/>
                  </a:cubicBezTo>
                  <a:cubicBezTo>
                    <a:pt x="4909" y="1464"/>
                    <a:pt x="4902" y="1485"/>
                    <a:pt x="4881" y="1628"/>
                  </a:cubicBezTo>
                  <a:cubicBezTo>
                    <a:pt x="4877" y="1691"/>
                    <a:pt x="4863" y="1758"/>
                    <a:pt x="4846" y="1821"/>
                  </a:cubicBezTo>
                  <a:cubicBezTo>
                    <a:pt x="4765" y="2101"/>
                    <a:pt x="4611" y="2111"/>
                    <a:pt x="4264" y="2111"/>
                  </a:cubicBezTo>
                  <a:cubicBezTo>
                    <a:pt x="3932" y="2111"/>
                    <a:pt x="3879" y="2083"/>
                    <a:pt x="3648" y="1933"/>
                  </a:cubicBezTo>
                  <a:lnTo>
                    <a:pt x="3582" y="1891"/>
                  </a:lnTo>
                  <a:cubicBezTo>
                    <a:pt x="3541" y="1862"/>
                    <a:pt x="3504" y="1848"/>
                    <a:pt x="3473" y="1848"/>
                  </a:cubicBezTo>
                  <a:cubicBezTo>
                    <a:pt x="3459" y="1848"/>
                    <a:pt x="3447" y="1850"/>
                    <a:pt x="3435" y="1856"/>
                  </a:cubicBezTo>
                  <a:cubicBezTo>
                    <a:pt x="3368" y="1887"/>
                    <a:pt x="3326" y="2017"/>
                    <a:pt x="3312" y="2132"/>
                  </a:cubicBezTo>
                  <a:cubicBezTo>
                    <a:pt x="3298" y="2248"/>
                    <a:pt x="3151" y="2395"/>
                    <a:pt x="2945" y="2587"/>
                  </a:cubicBezTo>
                  <a:cubicBezTo>
                    <a:pt x="2885" y="2643"/>
                    <a:pt x="2826" y="2699"/>
                    <a:pt x="2794" y="2734"/>
                  </a:cubicBezTo>
                  <a:cubicBezTo>
                    <a:pt x="2787" y="2741"/>
                    <a:pt x="2780" y="2748"/>
                    <a:pt x="2773" y="2755"/>
                  </a:cubicBezTo>
                  <a:lnTo>
                    <a:pt x="2763" y="2762"/>
                  </a:lnTo>
                  <a:cubicBezTo>
                    <a:pt x="2759" y="2766"/>
                    <a:pt x="2752" y="2773"/>
                    <a:pt x="2749" y="2776"/>
                  </a:cubicBezTo>
                  <a:lnTo>
                    <a:pt x="2738" y="2780"/>
                  </a:lnTo>
                  <a:lnTo>
                    <a:pt x="2721" y="2790"/>
                  </a:lnTo>
                  <a:lnTo>
                    <a:pt x="2710" y="2797"/>
                  </a:lnTo>
                  <a:lnTo>
                    <a:pt x="2689" y="2804"/>
                  </a:lnTo>
                  <a:lnTo>
                    <a:pt x="2682" y="2808"/>
                  </a:lnTo>
                  <a:lnTo>
                    <a:pt x="2658" y="2811"/>
                  </a:lnTo>
                  <a:lnTo>
                    <a:pt x="2651" y="2811"/>
                  </a:lnTo>
                  <a:cubicBezTo>
                    <a:pt x="2630" y="2818"/>
                    <a:pt x="2609" y="2822"/>
                    <a:pt x="2588" y="2822"/>
                  </a:cubicBezTo>
                  <a:lnTo>
                    <a:pt x="2546" y="2822"/>
                  </a:lnTo>
                  <a:cubicBezTo>
                    <a:pt x="2514" y="2822"/>
                    <a:pt x="2483" y="2818"/>
                    <a:pt x="2451" y="2815"/>
                  </a:cubicBezTo>
                  <a:lnTo>
                    <a:pt x="2444" y="2815"/>
                  </a:lnTo>
                  <a:lnTo>
                    <a:pt x="2399" y="2811"/>
                  </a:lnTo>
                  <a:lnTo>
                    <a:pt x="2392" y="2811"/>
                  </a:lnTo>
                  <a:lnTo>
                    <a:pt x="2346" y="2804"/>
                  </a:lnTo>
                  <a:cubicBezTo>
                    <a:pt x="2297" y="2794"/>
                    <a:pt x="2248" y="2790"/>
                    <a:pt x="2199" y="2787"/>
                  </a:cubicBezTo>
                  <a:cubicBezTo>
                    <a:pt x="2195" y="2787"/>
                    <a:pt x="2190" y="2787"/>
                    <a:pt x="2186" y="2787"/>
                  </a:cubicBezTo>
                  <a:cubicBezTo>
                    <a:pt x="2138" y="2787"/>
                    <a:pt x="2091" y="2770"/>
                    <a:pt x="2059" y="2738"/>
                  </a:cubicBezTo>
                  <a:cubicBezTo>
                    <a:pt x="2010" y="2682"/>
                    <a:pt x="2020" y="2605"/>
                    <a:pt x="2027" y="2542"/>
                  </a:cubicBezTo>
                  <a:cubicBezTo>
                    <a:pt x="2031" y="2521"/>
                    <a:pt x="2034" y="2500"/>
                    <a:pt x="2034" y="2479"/>
                  </a:cubicBezTo>
                  <a:cubicBezTo>
                    <a:pt x="2027" y="2419"/>
                    <a:pt x="2069" y="2367"/>
                    <a:pt x="2125" y="2353"/>
                  </a:cubicBezTo>
                  <a:cubicBezTo>
                    <a:pt x="2146" y="2346"/>
                    <a:pt x="2146" y="2346"/>
                    <a:pt x="2150" y="2332"/>
                  </a:cubicBezTo>
                  <a:cubicBezTo>
                    <a:pt x="2167" y="2283"/>
                    <a:pt x="2108" y="2097"/>
                    <a:pt x="1982" y="1779"/>
                  </a:cubicBezTo>
                  <a:lnTo>
                    <a:pt x="1975" y="1761"/>
                  </a:lnTo>
                  <a:lnTo>
                    <a:pt x="1971" y="1758"/>
                  </a:lnTo>
                  <a:lnTo>
                    <a:pt x="1968" y="1751"/>
                  </a:lnTo>
                  <a:lnTo>
                    <a:pt x="1961" y="1744"/>
                  </a:lnTo>
                  <a:lnTo>
                    <a:pt x="1950" y="1733"/>
                  </a:lnTo>
                  <a:lnTo>
                    <a:pt x="1947" y="1730"/>
                  </a:lnTo>
                  <a:lnTo>
                    <a:pt x="1933" y="1719"/>
                  </a:lnTo>
                  <a:lnTo>
                    <a:pt x="1929" y="1719"/>
                  </a:lnTo>
                  <a:lnTo>
                    <a:pt x="1912" y="1705"/>
                  </a:lnTo>
                  <a:lnTo>
                    <a:pt x="1908" y="1702"/>
                  </a:lnTo>
                  <a:lnTo>
                    <a:pt x="1884" y="1688"/>
                  </a:lnTo>
                  <a:lnTo>
                    <a:pt x="1877" y="1684"/>
                  </a:lnTo>
                  <a:lnTo>
                    <a:pt x="1849" y="1670"/>
                  </a:lnTo>
                  <a:lnTo>
                    <a:pt x="1845" y="1670"/>
                  </a:lnTo>
                  <a:lnTo>
                    <a:pt x="1845" y="3571"/>
                  </a:lnTo>
                  <a:cubicBezTo>
                    <a:pt x="1845" y="3722"/>
                    <a:pt x="1705" y="3809"/>
                    <a:pt x="1593" y="3879"/>
                  </a:cubicBezTo>
                  <a:cubicBezTo>
                    <a:pt x="1551" y="3900"/>
                    <a:pt x="1513" y="3928"/>
                    <a:pt x="1481" y="3963"/>
                  </a:cubicBezTo>
                  <a:cubicBezTo>
                    <a:pt x="1474" y="3970"/>
                    <a:pt x="1471" y="3974"/>
                    <a:pt x="1464" y="3981"/>
                  </a:cubicBezTo>
                  <a:lnTo>
                    <a:pt x="1460" y="3984"/>
                  </a:lnTo>
                  <a:cubicBezTo>
                    <a:pt x="1453" y="3988"/>
                    <a:pt x="1450" y="3995"/>
                    <a:pt x="1446" y="3998"/>
                  </a:cubicBezTo>
                  <a:lnTo>
                    <a:pt x="1439" y="4002"/>
                  </a:lnTo>
                  <a:lnTo>
                    <a:pt x="1422" y="4009"/>
                  </a:lnTo>
                  <a:lnTo>
                    <a:pt x="1415" y="4012"/>
                  </a:lnTo>
                  <a:cubicBezTo>
                    <a:pt x="1397" y="4019"/>
                    <a:pt x="1376" y="4026"/>
                    <a:pt x="1359" y="4030"/>
                  </a:cubicBezTo>
                  <a:lnTo>
                    <a:pt x="1352" y="4030"/>
                  </a:lnTo>
                  <a:lnTo>
                    <a:pt x="1324" y="4033"/>
                  </a:lnTo>
                  <a:lnTo>
                    <a:pt x="1170" y="4033"/>
                  </a:lnTo>
                  <a:cubicBezTo>
                    <a:pt x="1131" y="4033"/>
                    <a:pt x="1093" y="4030"/>
                    <a:pt x="1047" y="4026"/>
                  </a:cubicBezTo>
                  <a:lnTo>
                    <a:pt x="1033" y="4026"/>
                  </a:lnTo>
                  <a:lnTo>
                    <a:pt x="967" y="4019"/>
                  </a:lnTo>
                  <a:cubicBezTo>
                    <a:pt x="879" y="4012"/>
                    <a:pt x="795" y="4005"/>
                    <a:pt x="729" y="4005"/>
                  </a:cubicBezTo>
                  <a:cubicBezTo>
                    <a:pt x="533" y="4005"/>
                    <a:pt x="487" y="3862"/>
                    <a:pt x="452" y="3750"/>
                  </a:cubicBezTo>
                  <a:cubicBezTo>
                    <a:pt x="431" y="3690"/>
                    <a:pt x="400" y="3638"/>
                    <a:pt x="365" y="3592"/>
                  </a:cubicBezTo>
                  <a:cubicBezTo>
                    <a:pt x="348" y="3568"/>
                    <a:pt x="332" y="3560"/>
                    <a:pt x="318" y="3560"/>
                  </a:cubicBezTo>
                  <a:cubicBezTo>
                    <a:pt x="311" y="3560"/>
                    <a:pt x="304" y="3562"/>
                    <a:pt x="298" y="3564"/>
                  </a:cubicBezTo>
                  <a:cubicBezTo>
                    <a:pt x="235" y="3592"/>
                    <a:pt x="189" y="3648"/>
                    <a:pt x="175" y="3715"/>
                  </a:cubicBezTo>
                  <a:cubicBezTo>
                    <a:pt x="175" y="3725"/>
                    <a:pt x="175" y="3736"/>
                    <a:pt x="172" y="3746"/>
                  </a:cubicBezTo>
                  <a:cubicBezTo>
                    <a:pt x="165" y="3771"/>
                    <a:pt x="154" y="3792"/>
                    <a:pt x="137" y="3809"/>
                  </a:cubicBezTo>
                  <a:cubicBezTo>
                    <a:pt x="130" y="3816"/>
                    <a:pt x="119" y="3823"/>
                    <a:pt x="112" y="3827"/>
                  </a:cubicBezTo>
                  <a:lnTo>
                    <a:pt x="102" y="3830"/>
                  </a:lnTo>
                  <a:cubicBezTo>
                    <a:pt x="95" y="3834"/>
                    <a:pt x="88" y="3837"/>
                    <a:pt x="81" y="3837"/>
                  </a:cubicBezTo>
                  <a:lnTo>
                    <a:pt x="70" y="3841"/>
                  </a:lnTo>
                  <a:cubicBezTo>
                    <a:pt x="63" y="3844"/>
                    <a:pt x="53" y="3844"/>
                    <a:pt x="46" y="3844"/>
                  </a:cubicBezTo>
                  <a:lnTo>
                    <a:pt x="0" y="3844"/>
                  </a:lnTo>
                  <a:cubicBezTo>
                    <a:pt x="147" y="4089"/>
                    <a:pt x="263" y="4352"/>
                    <a:pt x="351" y="4625"/>
                  </a:cubicBezTo>
                  <a:cubicBezTo>
                    <a:pt x="424" y="4863"/>
                    <a:pt x="557" y="5097"/>
                    <a:pt x="676" y="5304"/>
                  </a:cubicBezTo>
                  <a:cubicBezTo>
                    <a:pt x="753" y="5430"/>
                    <a:pt x="823" y="5567"/>
                    <a:pt x="876" y="5707"/>
                  </a:cubicBezTo>
                  <a:lnTo>
                    <a:pt x="893" y="5756"/>
                  </a:lnTo>
                  <a:cubicBezTo>
                    <a:pt x="956" y="5952"/>
                    <a:pt x="1012" y="6123"/>
                    <a:pt x="949" y="6225"/>
                  </a:cubicBezTo>
                  <a:cubicBezTo>
                    <a:pt x="921" y="6267"/>
                    <a:pt x="876" y="6295"/>
                    <a:pt x="823" y="6302"/>
                  </a:cubicBezTo>
                  <a:cubicBezTo>
                    <a:pt x="788" y="6305"/>
                    <a:pt x="767" y="6316"/>
                    <a:pt x="760" y="6333"/>
                  </a:cubicBezTo>
                  <a:cubicBezTo>
                    <a:pt x="753" y="6347"/>
                    <a:pt x="736" y="6424"/>
                    <a:pt x="879" y="6645"/>
                  </a:cubicBezTo>
                  <a:cubicBezTo>
                    <a:pt x="949" y="6753"/>
                    <a:pt x="988" y="6879"/>
                    <a:pt x="988" y="7009"/>
                  </a:cubicBezTo>
                  <a:cubicBezTo>
                    <a:pt x="988" y="7079"/>
                    <a:pt x="988" y="7079"/>
                    <a:pt x="1016" y="7086"/>
                  </a:cubicBezTo>
                  <a:cubicBezTo>
                    <a:pt x="1082" y="7096"/>
                    <a:pt x="1142" y="7135"/>
                    <a:pt x="1180" y="7191"/>
                  </a:cubicBezTo>
                  <a:cubicBezTo>
                    <a:pt x="1198" y="7215"/>
                    <a:pt x="1201" y="7219"/>
                    <a:pt x="1233" y="7222"/>
                  </a:cubicBezTo>
                  <a:cubicBezTo>
                    <a:pt x="1376" y="7229"/>
                    <a:pt x="1474" y="7359"/>
                    <a:pt x="1562" y="7471"/>
                  </a:cubicBezTo>
                  <a:lnTo>
                    <a:pt x="1569" y="7481"/>
                  </a:lnTo>
                  <a:cubicBezTo>
                    <a:pt x="1594" y="7514"/>
                    <a:pt x="1635" y="7531"/>
                    <a:pt x="1676" y="7531"/>
                  </a:cubicBezTo>
                  <a:cubicBezTo>
                    <a:pt x="1680" y="7531"/>
                    <a:pt x="1684" y="7531"/>
                    <a:pt x="1688" y="7531"/>
                  </a:cubicBezTo>
                  <a:cubicBezTo>
                    <a:pt x="1740" y="7531"/>
                    <a:pt x="1789" y="7503"/>
                    <a:pt x="1817" y="7460"/>
                  </a:cubicBezTo>
                  <a:cubicBezTo>
                    <a:pt x="1908" y="7327"/>
                    <a:pt x="2143" y="7261"/>
                    <a:pt x="2518" y="7261"/>
                  </a:cubicBezTo>
                  <a:cubicBezTo>
                    <a:pt x="2658" y="7261"/>
                    <a:pt x="2693" y="7233"/>
                    <a:pt x="2756" y="7187"/>
                  </a:cubicBezTo>
                  <a:cubicBezTo>
                    <a:pt x="2826" y="7128"/>
                    <a:pt x="2910" y="7086"/>
                    <a:pt x="3001" y="7061"/>
                  </a:cubicBezTo>
                  <a:cubicBezTo>
                    <a:pt x="3153" y="7017"/>
                    <a:pt x="3317" y="6995"/>
                    <a:pt x="3474" y="6995"/>
                  </a:cubicBezTo>
                  <a:cubicBezTo>
                    <a:pt x="3624" y="6995"/>
                    <a:pt x="3766" y="7015"/>
                    <a:pt x="3883" y="7054"/>
                  </a:cubicBezTo>
                  <a:cubicBezTo>
                    <a:pt x="3941" y="7077"/>
                    <a:pt x="4002" y="7088"/>
                    <a:pt x="4062" y="7088"/>
                  </a:cubicBezTo>
                  <a:cubicBezTo>
                    <a:pt x="4163" y="7088"/>
                    <a:pt x="4265" y="7057"/>
                    <a:pt x="4352" y="6998"/>
                  </a:cubicBezTo>
                  <a:cubicBezTo>
                    <a:pt x="4385" y="6977"/>
                    <a:pt x="4421" y="6969"/>
                    <a:pt x="4458" y="6969"/>
                  </a:cubicBezTo>
                  <a:cubicBezTo>
                    <a:pt x="4498" y="6969"/>
                    <a:pt x="4539" y="6979"/>
                    <a:pt x="4576" y="6988"/>
                  </a:cubicBezTo>
                  <a:cubicBezTo>
                    <a:pt x="4604" y="6995"/>
                    <a:pt x="4632" y="6998"/>
                    <a:pt x="4664" y="6998"/>
                  </a:cubicBezTo>
                  <a:cubicBezTo>
                    <a:pt x="4664" y="6991"/>
                    <a:pt x="4667" y="6981"/>
                    <a:pt x="4667" y="6974"/>
                  </a:cubicBezTo>
                  <a:cubicBezTo>
                    <a:pt x="4685" y="6781"/>
                    <a:pt x="4859" y="6759"/>
                    <a:pt x="5026" y="6759"/>
                  </a:cubicBezTo>
                  <a:cubicBezTo>
                    <a:pt x="5053" y="6759"/>
                    <a:pt x="5079" y="6760"/>
                    <a:pt x="5105" y="6760"/>
                  </a:cubicBezTo>
                  <a:lnTo>
                    <a:pt x="5185" y="6760"/>
                  </a:lnTo>
                  <a:cubicBezTo>
                    <a:pt x="5371" y="6760"/>
                    <a:pt x="5864" y="6442"/>
                    <a:pt x="6263" y="6064"/>
                  </a:cubicBezTo>
                  <a:cubicBezTo>
                    <a:pt x="6673" y="5682"/>
                    <a:pt x="7338" y="4852"/>
                    <a:pt x="7555" y="4488"/>
                  </a:cubicBezTo>
                  <a:cubicBezTo>
                    <a:pt x="7772" y="4121"/>
                    <a:pt x="8108" y="3820"/>
                    <a:pt x="8308" y="3638"/>
                  </a:cubicBezTo>
                  <a:lnTo>
                    <a:pt x="8353" y="3599"/>
                  </a:lnTo>
                  <a:cubicBezTo>
                    <a:pt x="8441" y="3515"/>
                    <a:pt x="8528" y="3224"/>
                    <a:pt x="8581" y="2811"/>
                  </a:cubicBezTo>
                  <a:lnTo>
                    <a:pt x="8581" y="2811"/>
                  </a:lnTo>
                  <a:cubicBezTo>
                    <a:pt x="8472" y="2818"/>
                    <a:pt x="8364" y="2825"/>
                    <a:pt x="8255" y="2843"/>
                  </a:cubicBezTo>
                  <a:lnTo>
                    <a:pt x="8220" y="2846"/>
                  </a:lnTo>
                  <a:lnTo>
                    <a:pt x="8217" y="2853"/>
                  </a:lnTo>
                  <a:cubicBezTo>
                    <a:pt x="8217" y="2860"/>
                    <a:pt x="8213" y="2867"/>
                    <a:pt x="8213" y="2874"/>
                  </a:cubicBezTo>
                  <a:cubicBezTo>
                    <a:pt x="8213" y="2885"/>
                    <a:pt x="8210" y="2895"/>
                    <a:pt x="8206" y="2909"/>
                  </a:cubicBezTo>
                  <a:cubicBezTo>
                    <a:pt x="8206" y="2909"/>
                    <a:pt x="8206" y="2913"/>
                    <a:pt x="8206" y="2916"/>
                  </a:cubicBezTo>
                  <a:cubicBezTo>
                    <a:pt x="8203" y="2923"/>
                    <a:pt x="8199" y="2930"/>
                    <a:pt x="8199" y="2937"/>
                  </a:cubicBezTo>
                  <a:lnTo>
                    <a:pt x="8192" y="2948"/>
                  </a:lnTo>
                  <a:cubicBezTo>
                    <a:pt x="8189" y="2951"/>
                    <a:pt x="8185" y="2958"/>
                    <a:pt x="8182" y="2965"/>
                  </a:cubicBezTo>
                  <a:lnTo>
                    <a:pt x="8178" y="2969"/>
                  </a:lnTo>
                  <a:cubicBezTo>
                    <a:pt x="8175" y="2976"/>
                    <a:pt x="8168" y="2983"/>
                    <a:pt x="8164" y="2990"/>
                  </a:cubicBezTo>
                  <a:lnTo>
                    <a:pt x="8157" y="2993"/>
                  </a:lnTo>
                  <a:cubicBezTo>
                    <a:pt x="8154" y="3000"/>
                    <a:pt x="8147" y="3004"/>
                    <a:pt x="8143" y="3007"/>
                  </a:cubicBezTo>
                  <a:lnTo>
                    <a:pt x="8136" y="3014"/>
                  </a:lnTo>
                  <a:lnTo>
                    <a:pt x="8119" y="3021"/>
                  </a:lnTo>
                  <a:lnTo>
                    <a:pt x="8115" y="3025"/>
                  </a:lnTo>
                  <a:cubicBezTo>
                    <a:pt x="8105" y="3032"/>
                    <a:pt x="8098" y="3035"/>
                    <a:pt x="8091" y="3039"/>
                  </a:cubicBezTo>
                  <a:cubicBezTo>
                    <a:pt x="8080" y="3039"/>
                    <a:pt x="8073" y="3042"/>
                    <a:pt x="8063" y="3046"/>
                  </a:cubicBezTo>
                  <a:lnTo>
                    <a:pt x="8056" y="3046"/>
                  </a:lnTo>
                  <a:lnTo>
                    <a:pt x="8035" y="3049"/>
                  </a:lnTo>
                  <a:lnTo>
                    <a:pt x="8028" y="3049"/>
                  </a:lnTo>
                  <a:lnTo>
                    <a:pt x="8007" y="3053"/>
                  </a:lnTo>
                  <a:lnTo>
                    <a:pt x="8000" y="3053"/>
                  </a:lnTo>
                  <a:lnTo>
                    <a:pt x="7972" y="3056"/>
                  </a:lnTo>
                  <a:lnTo>
                    <a:pt x="7874" y="3056"/>
                  </a:lnTo>
                  <a:lnTo>
                    <a:pt x="7835" y="3053"/>
                  </a:lnTo>
                  <a:cubicBezTo>
                    <a:pt x="7611" y="3039"/>
                    <a:pt x="7436" y="2566"/>
                    <a:pt x="7436" y="2482"/>
                  </a:cubicBezTo>
                  <a:cubicBezTo>
                    <a:pt x="7436" y="2374"/>
                    <a:pt x="7702" y="2020"/>
                    <a:pt x="7874" y="2020"/>
                  </a:cubicBezTo>
                  <a:cubicBezTo>
                    <a:pt x="7888" y="2020"/>
                    <a:pt x="7898" y="2024"/>
                    <a:pt x="7909" y="2024"/>
                  </a:cubicBezTo>
                  <a:lnTo>
                    <a:pt x="7919" y="2027"/>
                  </a:lnTo>
                  <a:lnTo>
                    <a:pt x="7944" y="2034"/>
                  </a:lnTo>
                  <a:lnTo>
                    <a:pt x="7958" y="2038"/>
                  </a:lnTo>
                  <a:lnTo>
                    <a:pt x="7982" y="2048"/>
                  </a:lnTo>
                  <a:lnTo>
                    <a:pt x="7993" y="2052"/>
                  </a:lnTo>
                  <a:cubicBezTo>
                    <a:pt x="8003" y="2055"/>
                    <a:pt x="8017" y="2062"/>
                    <a:pt x="8028" y="2069"/>
                  </a:cubicBezTo>
                  <a:lnTo>
                    <a:pt x="8031" y="2069"/>
                  </a:lnTo>
                  <a:lnTo>
                    <a:pt x="8066" y="2087"/>
                  </a:lnTo>
                  <a:lnTo>
                    <a:pt x="8077" y="2094"/>
                  </a:lnTo>
                  <a:lnTo>
                    <a:pt x="8105" y="2111"/>
                  </a:lnTo>
                  <a:lnTo>
                    <a:pt x="8112" y="2115"/>
                  </a:lnTo>
                  <a:lnTo>
                    <a:pt x="8122" y="2122"/>
                  </a:lnTo>
                  <a:lnTo>
                    <a:pt x="8122" y="2115"/>
                  </a:lnTo>
                  <a:lnTo>
                    <a:pt x="8122" y="2104"/>
                  </a:lnTo>
                  <a:lnTo>
                    <a:pt x="8122" y="2097"/>
                  </a:lnTo>
                  <a:lnTo>
                    <a:pt x="8122" y="2076"/>
                  </a:lnTo>
                  <a:cubicBezTo>
                    <a:pt x="8136" y="1971"/>
                    <a:pt x="8147" y="1807"/>
                    <a:pt x="8150" y="1646"/>
                  </a:cubicBezTo>
                  <a:lnTo>
                    <a:pt x="8150" y="1611"/>
                  </a:lnTo>
                  <a:lnTo>
                    <a:pt x="8150" y="1607"/>
                  </a:lnTo>
                  <a:lnTo>
                    <a:pt x="8150" y="1576"/>
                  </a:lnTo>
                  <a:lnTo>
                    <a:pt x="8150" y="1569"/>
                  </a:lnTo>
                  <a:lnTo>
                    <a:pt x="8150" y="1537"/>
                  </a:lnTo>
                  <a:lnTo>
                    <a:pt x="8150" y="1534"/>
                  </a:lnTo>
                  <a:lnTo>
                    <a:pt x="8150" y="1506"/>
                  </a:lnTo>
                  <a:lnTo>
                    <a:pt x="8150" y="1495"/>
                  </a:lnTo>
                  <a:lnTo>
                    <a:pt x="8150" y="1471"/>
                  </a:lnTo>
                  <a:lnTo>
                    <a:pt x="8150" y="1460"/>
                  </a:lnTo>
                  <a:lnTo>
                    <a:pt x="8150" y="1439"/>
                  </a:lnTo>
                  <a:lnTo>
                    <a:pt x="8150" y="1429"/>
                  </a:lnTo>
                  <a:lnTo>
                    <a:pt x="8150" y="1408"/>
                  </a:lnTo>
                  <a:lnTo>
                    <a:pt x="8150" y="1394"/>
                  </a:lnTo>
                  <a:lnTo>
                    <a:pt x="8150" y="1376"/>
                  </a:lnTo>
                  <a:lnTo>
                    <a:pt x="8150" y="1366"/>
                  </a:lnTo>
                  <a:lnTo>
                    <a:pt x="8150" y="1348"/>
                  </a:lnTo>
                  <a:lnTo>
                    <a:pt x="8150" y="1338"/>
                  </a:lnTo>
                  <a:lnTo>
                    <a:pt x="8150" y="1324"/>
                  </a:lnTo>
                  <a:lnTo>
                    <a:pt x="8150" y="1310"/>
                  </a:lnTo>
                  <a:lnTo>
                    <a:pt x="8150" y="1299"/>
                  </a:lnTo>
                  <a:cubicBezTo>
                    <a:pt x="8150" y="1296"/>
                    <a:pt x="8150" y="1292"/>
                    <a:pt x="8147" y="1289"/>
                  </a:cubicBezTo>
                  <a:lnTo>
                    <a:pt x="8147" y="1275"/>
                  </a:lnTo>
                  <a:lnTo>
                    <a:pt x="8147" y="1268"/>
                  </a:lnTo>
                  <a:lnTo>
                    <a:pt x="8143" y="1257"/>
                  </a:lnTo>
                  <a:lnTo>
                    <a:pt x="8140" y="1246"/>
                  </a:lnTo>
                  <a:lnTo>
                    <a:pt x="8136" y="1239"/>
                  </a:lnTo>
                  <a:lnTo>
                    <a:pt x="8133" y="1232"/>
                  </a:lnTo>
                  <a:lnTo>
                    <a:pt x="8133" y="1225"/>
                  </a:lnTo>
                  <a:cubicBezTo>
                    <a:pt x="8129" y="1222"/>
                    <a:pt x="8129" y="1222"/>
                    <a:pt x="8126" y="1218"/>
                  </a:cubicBezTo>
                  <a:lnTo>
                    <a:pt x="8126" y="1215"/>
                  </a:lnTo>
                  <a:cubicBezTo>
                    <a:pt x="8122" y="1211"/>
                    <a:pt x="8119" y="1208"/>
                    <a:pt x="8119" y="1208"/>
                  </a:cubicBezTo>
                  <a:cubicBezTo>
                    <a:pt x="8003" y="1141"/>
                    <a:pt x="7919" y="823"/>
                    <a:pt x="7821" y="417"/>
                  </a:cubicBezTo>
                  <a:cubicBezTo>
                    <a:pt x="7811" y="378"/>
                    <a:pt x="7804" y="340"/>
                    <a:pt x="7793" y="301"/>
                  </a:cubicBezTo>
                  <a:lnTo>
                    <a:pt x="7793" y="298"/>
                  </a:lnTo>
                  <a:lnTo>
                    <a:pt x="7786" y="266"/>
                  </a:lnTo>
                  <a:lnTo>
                    <a:pt x="7783" y="259"/>
                  </a:lnTo>
                  <a:lnTo>
                    <a:pt x="7779" y="238"/>
                  </a:lnTo>
                  <a:lnTo>
                    <a:pt x="7776" y="224"/>
                  </a:lnTo>
                  <a:lnTo>
                    <a:pt x="7769" y="210"/>
                  </a:lnTo>
                  <a:lnTo>
                    <a:pt x="7765" y="196"/>
                  </a:lnTo>
                  <a:lnTo>
                    <a:pt x="7762" y="186"/>
                  </a:lnTo>
                  <a:lnTo>
                    <a:pt x="7758" y="179"/>
                  </a:lnTo>
                  <a:lnTo>
                    <a:pt x="7758" y="172"/>
                  </a:lnTo>
                  <a:cubicBezTo>
                    <a:pt x="7723" y="151"/>
                    <a:pt x="7604" y="144"/>
                    <a:pt x="7506" y="137"/>
                  </a:cubicBezTo>
                  <a:cubicBezTo>
                    <a:pt x="7296" y="123"/>
                    <a:pt x="7163" y="109"/>
                    <a:pt x="7114" y="35"/>
                  </a:cubicBezTo>
                  <a:cubicBezTo>
                    <a:pt x="7093" y="18"/>
                    <a:pt x="6960" y="18"/>
                    <a:pt x="6887" y="18"/>
                  </a:cubicBezTo>
                  <a:cubicBezTo>
                    <a:pt x="6874" y="18"/>
                    <a:pt x="6861" y="19"/>
                    <a:pt x="6849" y="19"/>
                  </a:cubicBezTo>
                  <a:cubicBezTo>
                    <a:pt x="6788" y="19"/>
                    <a:pt x="6728" y="12"/>
                    <a:pt x="6670"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216" name="Google Shape;3216;p104"/>
            <p:cNvSpPr/>
            <p:nvPr/>
          </p:nvSpPr>
          <p:spPr>
            <a:xfrm>
              <a:off x="2185707" y="2266820"/>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217" name="Google Shape;3217;p104"/>
            <p:cNvSpPr/>
            <p:nvPr/>
          </p:nvSpPr>
          <p:spPr>
            <a:xfrm>
              <a:off x="2169780" y="2264023"/>
              <a:ext cx="299" cy="109"/>
            </a:xfrm>
            <a:custGeom>
              <a:avLst/>
              <a:gdLst/>
              <a:ahLst/>
              <a:cxnLst/>
              <a:rect l="l" t="t" r="r" b="b"/>
              <a:pathLst>
                <a:path w="22" h="8" extrusionOk="0">
                  <a:moveTo>
                    <a:pt x="1" y="7"/>
                  </a:moveTo>
                  <a:cubicBezTo>
                    <a:pt x="8" y="7"/>
                    <a:pt x="15" y="4"/>
                    <a:pt x="22" y="0"/>
                  </a:cubicBezTo>
                  <a:cubicBezTo>
                    <a:pt x="15" y="4"/>
                    <a:pt x="8" y="7"/>
                    <a:pt x="1" y="7"/>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218" name="Google Shape;3218;p104"/>
            <p:cNvSpPr/>
            <p:nvPr/>
          </p:nvSpPr>
          <p:spPr>
            <a:xfrm>
              <a:off x="2182435" y="2266725"/>
              <a:ext cx="149" cy="14"/>
            </a:xfrm>
            <a:custGeom>
              <a:avLst/>
              <a:gdLst/>
              <a:ahLst/>
              <a:cxnLst/>
              <a:rect l="l" t="t" r="r" b="b"/>
              <a:pathLst>
                <a:path w="11" h="1" extrusionOk="0">
                  <a:moveTo>
                    <a:pt x="0" y="1"/>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219" name="Google Shape;3219;p104"/>
            <p:cNvSpPr/>
            <p:nvPr/>
          </p:nvSpPr>
          <p:spPr>
            <a:xfrm>
              <a:off x="2184336" y="2266820"/>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220" name="Google Shape;3220;p104"/>
            <p:cNvSpPr/>
            <p:nvPr/>
          </p:nvSpPr>
          <p:spPr>
            <a:xfrm>
              <a:off x="2186236" y="2266779"/>
              <a:ext cx="149" cy="14"/>
            </a:xfrm>
            <a:custGeom>
              <a:avLst/>
              <a:gdLst/>
              <a:ahLst/>
              <a:cxnLst/>
              <a:rect l="l" t="t" r="r" b="b"/>
              <a:pathLst>
                <a:path w="11" h="1" extrusionOk="0">
                  <a:moveTo>
                    <a:pt x="0" y="0"/>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221" name="Google Shape;3221;p104"/>
            <p:cNvSpPr/>
            <p:nvPr/>
          </p:nvSpPr>
          <p:spPr>
            <a:xfrm>
              <a:off x="2169265" y="2264159"/>
              <a:ext cx="394" cy="68"/>
            </a:xfrm>
            <a:custGeom>
              <a:avLst/>
              <a:gdLst/>
              <a:ahLst/>
              <a:cxnLst/>
              <a:rect l="l" t="t" r="r" b="b"/>
              <a:pathLst>
                <a:path w="29" h="5" extrusionOk="0">
                  <a:moveTo>
                    <a:pt x="0" y="4"/>
                  </a:moveTo>
                  <a:cubicBezTo>
                    <a:pt x="11" y="4"/>
                    <a:pt x="18" y="1"/>
                    <a:pt x="28" y="1"/>
                  </a:cubicBezTo>
                  <a:cubicBezTo>
                    <a:pt x="18" y="1"/>
                    <a:pt x="11" y="4"/>
                    <a:pt x="0" y="4"/>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222" name="Google Shape;3222;p104"/>
            <p:cNvSpPr/>
            <p:nvPr/>
          </p:nvSpPr>
          <p:spPr>
            <a:xfrm>
              <a:off x="2168640" y="2264213"/>
              <a:ext cx="543" cy="41"/>
            </a:xfrm>
            <a:custGeom>
              <a:avLst/>
              <a:gdLst/>
              <a:ahLst/>
              <a:cxnLst/>
              <a:rect l="l" t="t" r="r" b="b"/>
              <a:pathLst>
                <a:path w="40" h="3" extrusionOk="0">
                  <a:moveTo>
                    <a:pt x="1" y="0"/>
                  </a:moveTo>
                  <a:cubicBezTo>
                    <a:pt x="10" y="2"/>
                    <a:pt x="17" y="3"/>
                    <a:pt x="23" y="3"/>
                  </a:cubicBezTo>
                  <a:cubicBezTo>
                    <a:pt x="29" y="3"/>
                    <a:pt x="34" y="2"/>
                    <a:pt x="39"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223" name="Google Shape;3223;p104"/>
            <p:cNvSpPr/>
            <p:nvPr/>
          </p:nvSpPr>
          <p:spPr>
            <a:xfrm>
              <a:off x="2170161" y="2262883"/>
              <a:ext cx="869" cy="1100"/>
            </a:xfrm>
            <a:custGeom>
              <a:avLst/>
              <a:gdLst/>
              <a:ahLst/>
              <a:cxnLst/>
              <a:rect l="l" t="t" r="r" b="b"/>
              <a:pathLst>
                <a:path w="64" h="81" extrusionOk="0">
                  <a:moveTo>
                    <a:pt x="64" y="0"/>
                  </a:moveTo>
                  <a:cubicBezTo>
                    <a:pt x="57" y="25"/>
                    <a:pt x="46" y="46"/>
                    <a:pt x="29" y="63"/>
                  </a:cubicBezTo>
                  <a:cubicBezTo>
                    <a:pt x="18" y="70"/>
                    <a:pt x="11" y="77"/>
                    <a:pt x="1" y="81"/>
                  </a:cubicBezTo>
                  <a:cubicBezTo>
                    <a:pt x="11" y="77"/>
                    <a:pt x="18" y="70"/>
                    <a:pt x="29" y="63"/>
                  </a:cubicBezTo>
                  <a:cubicBezTo>
                    <a:pt x="46" y="46"/>
                    <a:pt x="57" y="25"/>
                    <a:pt x="64"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224" name="Google Shape;3224;p104"/>
            <p:cNvSpPr/>
            <p:nvPr/>
          </p:nvSpPr>
          <p:spPr>
            <a:xfrm>
              <a:off x="2188178" y="2266019"/>
              <a:ext cx="109" cy="109"/>
            </a:xfrm>
            <a:custGeom>
              <a:avLst/>
              <a:gdLst/>
              <a:ahLst/>
              <a:cxnLst/>
              <a:rect l="l" t="t" r="r" b="b"/>
              <a:pathLst>
                <a:path w="8" h="8" extrusionOk="0">
                  <a:moveTo>
                    <a:pt x="8"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225" name="Google Shape;3225;p104"/>
            <p:cNvSpPr/>
            <p:nvPr/>
          </p:nvSpPr>
          <p:spPr>
            <a:xfrm>
              <a:off x="2187893" y="2266250"/>
              <a:ext cx="109" cy="68"/>
            </a:xfrm>
            <a:custGeom>
              <a:avLst/>
              <a:gdLst/>
              <a:ahLst/>
              <a:cxnLst/>
              <a:rect l="l" t="t" r="r" b="b"/>
              <a:pathLst>
                <a:path w="8" h="5" extrusionOk="0">
                  <a:moveTo>
                    <a:pt x="1" y="4"/>
                  </a:moveTo>
                  <a:lnTo>
                    <a:pt x="8"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226" name="Google Shape;3226;p104"/>
            <p:cNvSpPr/>
            <p:nvPr/>
          </p:nvSpPr>
          <p:spPr>
            <a:xfrm>
              <a:off x="2187608" y="2266440"/>
              <a:ext cx="109" cy="68"/>
            </a:xfrm>
            <a:custGeom>
              <a:avLst/>
              <a:gdLst/>
              <a:ahLst/>
              <a:cxnLst/>
              <a:rect l="l" t="t" r="r" b="b"/>
              <a:pathLst>
                <a:path w="8" h="5" extrusionOk="0">
                  <a:moveTo>
                    <a:pt x="1" y="4"/>
                  </a:moveTo>
                  <a:lnTo>
                    <a:pt x="8"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227" name="Google Shape;3227;p104"/>
            <p:cNvSpPr/>
            <p:nvPr/>
          </p:nvSpPr>
          <p:spPr>
            <a:xfrm>
              <a:off x="2186712" y="2266725"/>
              <a:ext cx="109" cy="14"/>
            </a:xfrm>
            <a:custGeom>
              <a:avLst/>
              <a:gdLst/>
              <a:ahLst/>
              <a:cxnLst/>
              <a:rect l="l" t="t" r="r" b="b"/>
              <a:pathLst>
                <a:path w="8" h="1" extrusionOk="0">
                  <a:moveTo>
                    <a:pt x="0" y="1"/>
                  </a:moveTo>
                  <a:lnTo>
                    <a:pt x="7"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228" name="Google Shape;3228;p104"/>
            <p:cNvSpPr/>
            <p:nvPr/>
          </p:nvSpPr>
          <p:spPr>
            <a:xfrm>
              <a:off x="2259012" y="2212062"/>
              <a:ext cx="14840" cy="2349"/>
            </a:xfrm>
            <a:custGeom>
              <a:avLst/>
              <a:gdLst/>
              <a:ahLst/>
              <a:cxnLst/>
              <a:rect l="l" t="t" r="r" b="b"/>
              <a:pathLst>
                <a:path w="1093" h="173" extrusionOk="0">
                  <a:moveTo>
                    <a:pt x="221" y="15"/>
                  </a:moveTo>
                  <a:cubicBezTo>
                    <a:pt x="221" y="15"/>
                    <a:pt x="221" y="15"/>
                    <a:pt x="221" y="15"/>
                  </a:cubicBezTo>
                  <a:lnTo>
                    <a:pt x="221" y="15"/>
                  </a:lnTo>
                  <a:cubicBezTo>
                    <a:pt x="221" y="15"/>
                    <a:pt x="221" y="15"/>
                    <a:pt x="221" y="15"/>
                  </a:cubicBezTo>
                  <a:lnTo>
                    <a:pt x="221" y="15"/>
                  </a:lnTo>
                  <a:cubicBezTo>
                    <a:pt x="221" y="15"/>
                    <a:pt x="221" y="15"/>
                    <a:pt x="221" y="15"/>
                  </a:cubicBezTo>
                  <a:close/>
                  <a:moveTo>
                    <a:pt x="0" y="1"/>
                  </a:moveTo>
                  <a:cubicBezTo>
                    <a:pt x="51" y="11"/>
                    <a:pt x="105" y="17"/>
                    <a:pt x="158" y="17"/>
                  </a:cubicBezTo>
                  <a:cubicBezTo>
                    <a:pt x="159" y="17"/>
                    <a:pt x="159" y="17"/>
                    <a:pt x="159" y="17"/>
                  </a:cubicBezTo>
                  <a:lnTo>
                    <a:pt x="159" y="17"/>
                  </a:lnTo>
                  <a:cubicBezTo>
                    <a:pt x="160" y="17"/>
                    <a:pt x="160" y="17"/>
                    <a:pt x="161" y="17"/>
                  </a:cubicBezTo>
                  <a:cubicBezTo>
                    <a:pt x="181" y="17"/>
                    <a:pt x="201" y="17"/>
                    <a:pt x="221" y="15"/>
                  </a:cubicBezTo>
                  <a:lnTo>
                    <a:pt x="221" y="15"/>
                  </a:lnTo>
                  <a:cubicBezTo>
                    <a:pt x="219" y="15"/>
                    <a:pt x="218" y="15"/>
                    <a:pt x="217" y="15"/>
                  </a:cubicBezTo>
                  <a:cubicBezTo>
                    <a:pt x="198" y="17"/>
                    <a:pt x="179" y="17"/>
                    <a:pt x="159" y="17"/>
                  </a:cubicBezTo>
                  <a:lnTo>
                    <a:pt x="159" y="17"/>
                  </a:lnTo>
                  <a:cubicBezTo>
                    <a:pt x="105" y="17"/>
                    <a:pt x="51" y="11"/>
                    <a:pt x="0" y="1"/>
                  </a:cubicBezTo>
                  <a:close/>
                  <a:moveTo>
                    <a:pt x="221" y="15"/>
                  </a:moveTo>
                  <a:cubicBezTo>
                    <a:pt x="290" y="15"/>
                    <a:pt x="417" y="18"/>
                    <a:pt x="446" y="34"/>
                  </a:cubicBezTo>
                  <a:lnTo>
                    <a:pt x="446" y="34"/>
                  </a:lnTo>
                  <a:cubicBezTo>
                    <a:pt x="446" y="34"/>
                    <a:pt x="445" y="33"/>
                    <a:pt x="445" y="32"/>
                  </a:cubicBezTo>
                  <a:cubicBezTo>
                    <a:pt x="424" y="15"/>
                    <a:pt x="296" y="15"/>
                    <a:pt x="221" y="15"/>
                  </a:cubicBezTo>
                  <a:close/>
                  <a:moveTo>
                    <a:pt x="446" y="34"/>
                  </a:moveTo>
                  <a:lnTo>
                    <a:pt x="446" y="34"/>
                  </a:lnTo>
                  <a:cubicBezTo>
                    <a:pt x="451" y="41"/>
                    <a:pt x="456" y="47"/>
                    <a:pt x="461" y="53"/>
                  </a:cubicBezTo>
                  <a:lnTo>
                    <a:pt x="461" y="53"/>
                  </a:lnTo>
                  <a:cubicBezTo>
                    <a:pt x="456" y="48"/>
                    <a:pt x="452" y="42"/>
                    <a:pt x="448" y="36"/>
                  </a:cubicBezTo>
                  <a:cubicBezTo>
                    <a:pt x="448" y="35"/>
                    <a:pt x="447" y="35"/>
                    <a:pt x="446" y="34"/>
                  </a:cubicBezTo>
                  <a:close/>
                  <a:moveTo>
                    <a:pt x="461" y="53"/>
                  </a:moveTo>
                  <a:cubicBezTo>
                    <a:pt x="515" y="110"/>
                    <a:pt x="637" y="124"/>
                    <a:pt x="823" y="136"/>
                  </a:cubicBezTo>
                  <a:lnTo>
                    <a:pt x="823" y="136"/>
                  </a:lnTo>
                  <a:cubicBezTo>
                    <a:pt x="641" y="121"/>
                    <a:pt x="519" y="110"/>
                    <a:pt x="461" y="53"/>
                  </a:cubicBezTo>
                  <a:close/>
                  <a:moveTo>
                    <a:pt x="823" y="136"/>
                  </a:moveTo>
                  <a:cubicBezTo>
                    <a:pt x="828" y="136"/>
                    <a:pt x="832" y="137"/>
                    <a:pt x="837" y="137"/>
                  </a:cubicBezTo>
                  <a:cubicBezTo>
                    <a:pt x="869" y="140"/>
                    <a:pt x="904" y="142"/>
                    <a:pt x="937" y="145"/>
                  </a:cubicBezTo>
                  <a:lnTo>
                    <a:pt x="937" y="145"/>
                  </a:lnTo>
                  <a:cubicBezTo>
                    <a:pt x="904" y="141"/>
                    <a:pt x="872" y="139"/>
                    <a:pt x="840" y="137"/>
                  </a:cubicBezTo>
                  <a:cubicBezTo>
                    <a:pt x="834" y="137"/>
                    <a:pt x="829" y="136"/>
                    <a:pt x="823" y="136"/>
                  </a:cubicBezTo>
                  <a:close/>
                  <a:moveTo>
                    <a:pt x="937" y="145"/>
                  </a:moveTo>
                  <a:cubicBezTo>
                    <a:pt x="986" y="150"/>
                    <a:pt x="1036" y="158"/>
                    <a:pt x="1084" y="169"/>
                  </a:cubicBezTo>
                  <a:lnTo>
                    <a:pt x="1084" y="169"/>
                  </a:lnTo>
                  <a:cubicBezTo>
                    <a:pt x="1055" y="157"/>
                    <a:pt x="998" y="150"/>
                    <a:pt x="937" y="145"/>
                  </a:cubicBezTo>
                  <a:close/>
                  <a:moveTo>
                    <a:pt x="1084" y="169"/>
                  </a:moveTo>
                  <a:cubicBezTo>
                    <a:pt x="1086" y="169"/>
                    <a:pt x="1087" y="170"/>
                    <a:pt x="1088" y="170"/>
                  </a:cubicBezTo>
                  <a:lnTo>
                    <a:pt x="1088" y="170"/>
                  </a:lnTo>
                  <a:lnTo>
                    <a:pt x="1085" y="169"/>
                  </a:lnTo>
                  <a:cubicBezTo>
                    <a:pt x="1085" y="169"/>
                    <a:pt x="1085" y="169"/>
                    <a:pt x="1084" y="169"/>
                  </a:cubicBezTo>
                  <a:close/>
                  <a:moveTo>
                    <a:pt x="1088" y="170"/>
                  </a:moveTo>
                  <a:lnTo>
                    <a:pt x="1092" y="172"/>
                  </a:lnTo>
                  <a:cubicBezTo>
                    <a:pt x="1091" y="172"/>
                    <a:pt x="1090" y="171"/>
                    <a:pt x="1088" y="17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229" name="Google Shape;3229;p104"/>
            <p:cNvSpPr/>
            <p:nvPr/>
          </p:nvSpPr>
          <p:spPr>
            <a:xfrm>
              <a:off x="2201728" y="2250323"/>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230" name="Google Shape;3230;p104"/>
            <p:cNvSpPr/>
            <p:nvPr/>
          </p:nvSpPr>
          <p:spPr>
            <a:xfrm>
              <a:off x="2193881" y="2234886"/>
              <a:ext cx="109" cy="54"/>
            </a:xfrm>
            <a:custGeom>
              <a:avLst/>
              <a:gdLst/>
              <a:ahLst/>
              <a:cxnLst/>
              <a:rect l="l" t="t" r="r" b="b"/>
              <a:pathLst>
                <a:path w="8" h="4" extrusionOk="0">
                  <a:moveTo>
                    <a:pt x="8" y="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231" name="Google Shape;3231;p104"/>
            <p:cNvSpPr/>
            <p:nvPr/>
          </p:nvSpPr>
          <p:spPr>
            <a:xfrm>
              <a:off x="2203113" y="2250419"/>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232" name="Google Shape;3232;p104"/>
            <p:cNvSpPr/>
            <p:nvPr/>
          </p:nvSpPr>
          <p:spPr>
            <a:xfrm>
              <a:off x="2195021" y="2235687"/>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233" name="Google Shape;3233;p104"/>
            <p:cNvSpPr/>
            <p:nvPr/>
          </p:nvSpPr>
          <p:spPr>
            <a:xfrm>
              <a:off x="2195211" y="2235931"/>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234" name="Google Shape;3234;p104"/>
            <p:cNvSpPr/>
            <p:nvPr/>
          </p:nvSpPr>
          <p:spPr>
            <a:xfrm>
              <a:off x="2200927" y="2250228"/>
              <a:ext cx="95" cy="14"/>
            </a:xfrm>
            <a:custGeom>
              <a:avLst/>
              <a:gdLst/>
              <a:ahLst/>
              <a:cxnLst/>
              <a:rect l="l" t="t" r="r" b="b"/>
              <a:pathLst>
                <a:path w="7" h="1" extrusionOk="0">
                  <a:moveTo>
                    <a:pt x="7"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235" name="Google Shape;3235;p104"/>
            <p:cNvSpPr/>
            <p:nvPr/>
          </p:nvSpPr>
          <p:spPr>
            <a:xfrm>
              <a:off x="2194600" y="2235361"/>
              <a:ext cx="54" cy="14"/>
            </a:xfrm>
            <a:custGeom>
              <a:avLst/>
              <a:gdLst/>
              <a:ahLst/>
              <a:cxnLst/>
              <a:rect l="l" t="t" r="r" b="b"/>
              <a:pathLst>
                <a:path w="4" h="1" extrusionOk="0">
                  <a:moveTo>
                    <a:pt x="4"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236" name="Google Shape;3236;p104"/>
            <p:cNvSpPr/>
            <p:nvPr/>
          </p:nvSpPr>
          <p:spPr>
            <a:xfrm>
              <a:off x="2194315" y="2235117"/>
              <a:ext cx="54" cy="68"/>
            </a:xfrm>
            <a:custGeom>
              <a:avLst/>
              <a:gdLst/>
              <a:ahLst/>
              <a:cxnLst/>
              <a:rect l="l" t="t" r="r" b="b"/>
              <a:pathLst>
                <a:path w="4" h="5" extrusionOk="0">
                  <a:moveTo>
                    <a:pt x="4"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237" name="Google Shape;3237;p104"/>
            <p:cNvSpPr/>
            <p:nvPr/>
          </p:nvSpPr>
          <p:spPr>
            <a:xfrm>
              <a:off x="2203588" y="2250419"/>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238" name="Google Shape;3238;p104"/>
            <p:cNvSpPr/>
            <p:nvPr/>
          </p:nvSpPr>
          <p:spPr>
            <a:xfrm>
              <a:off x="2195116" y="2235836"/>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239" name="Google Shape;3239;p104"/>
            <p:cNvSpPr/>
            <p:nvPr/>
          </p:nvSpPr>
          <p:spPr>
            <a:xfrm>
              <a:off x="2194831" y="2235497"/>
              <a:ext cx="68" cy="68"/>
            </a:xfrm>
            <a:custGeom>
              <a:avLst/>
              <a:gdLst/>
              <a:ahLst/>
              <a:cxnLst/>
              <a:rect l="l" t="t" r="r" b="b"/>
              <a:pathLst>
                <a:path w="5" h="5" extrusionOk="0">
                  <a:moveTo>
                    <a:pt x="4" y="4"/>
                  </a:moveTo>
                  <a:lnTo>
                    <a:pt x="1"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240" name="Google Shape;3240;p104"/>
            <p:cNvSpPr/>
            <p:nvPr/>
          </p:nvSpPr>
          <p:spPr>
            <a:xfrm>
              <a:off x="2206005" y="2249468"/>
              <a:ext cx="109" cy="109"/>
            </a:xfrm>
            <a:custGeom>
              <a:avLst/>
              <a:gdLst/>
              <a:ahLst/>
              <a:cxnLst/>
              <a:rect l="l" t="t" r="r" b="b"/>
              <a:pathLst>
                <a:path w="8" h="8" extrusionOk="0">
                  <a:moveTo>
                    <a:pt x="8" y="1"/>
                  </a:moveTo>
                  <a:lnTo>
                    <a:pt x="1" y="8"/>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241" name="Google Shape;3241;p104"/>
            <p:cNvSpPr/>
            <p:nvPr/>
          </p:nvSpPr>
          <p:spPr>
            <a:xfrm>
              <a:off x="2205625" y="2249753"/>
              <a:ext cx="163" cy="109"/>
            </a:xfrm>
            <a:custGeom>
              <a:avLst/>
              <a:gdLst/>
              <a:ahLst/>
              <a:cxnLst/>
              <a:rect l="l" t="t" r="r" b="b"/>
              <a:pathLst>
                <a:path w="12" h="8" extrusionOk="0">
                  <a:moveTo>
                    <a:pt x="11" y="1"/>
                  </a:moveTo>
                  <a:lnTo>
                    <a:pt x="1" y="8"/>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242" name="Google Shape;3242;p104"/>
            <p:cNvSpPr/>
            <p:nvPr/>
          </p:nvSpPr>
          <p:spPr>
            <a:xfrm>
              <a:off x="2258102" y="2213298"/>
              <a:ext cx="68" cy="68"/>
            </a:xfrm>
            <a:custGeom>
              <a:avLst/>
              <a:gdLst/>
              <a:ahLst/>
              <a:cxnLst/>
              <a:rect l="l" t="t" r="r" b="b"/>
              <a:pathLst>
                <a:path w="5" h="5" extrusionOk="0">
                  <a:moveTo>
                    <a:pt x="4" y="1"/>
                  </a:moveTo>
                  <a:lnTo>
                    <a:pt x="1" y="4"/>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243" name="Google Shape;3243;p104"/>
            <p:cNvSpPr/>
            <p:nvPr/>
          </p:nvSpPr>
          <p:spPr>
            <a:xfrm>
              <a:off x="2257722" y="2213732"/>
              <a:ext cx="109" cy="149"/>
            </a:xfrm>
            <a:custGeom>
              <a:avLst/>
              <a:gdLst/>
              <a:ahLst/>
              <a:cxnLst/>
              <a:rect l="l" t="t" r="r" b="b"/>
              <a:pathLst>
                <a:path w="8" h="11" extrusionOk="0">
                  <a:moveTo>
                    <a:pt x="8" y="0"/>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244" name="Google Shape;3244;p104"/>
            <p:cNvSpPr/>
            <p:nvPr/>
          </p:nvSpPr>
          <p:spPr>
            <a:xfrm>
              <a:off x="2257152" y="2214533"/>
              <a:ext cx="54" cy="109"/>
            </a:xfrm>
            <a:custGeom>
              <a:avLst/>
              <a:gdLst/>
              <a:ahLst/>
              <a:cxnLst/>
              <a:rect l="l" t="t" r="r" b="b"/>
              <a:pathLst>
                <a:path w="4" h="8" extrusionOk="0">
                  <a:moveTo>
                    <a:pt x="4" y="1"/>
                  </a:moveTo>
                  <a:lnTo>
                    <a:pt x="1" y="8"/>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245" name="Google Shape;3245;p104"/>
            <p:cNvSpPr/>
            <p:nvPr/>
          </p:nvSpPr>
          <p:spPr>
            <a:xfrm>
              <a:off x="2257437" y="2214153"/>
              <a:ext cx="109" cy="163"/>
            </a:xfrm>
            <a:custGeom>
              <a:avLst/>
              <a:gdLst/>
              <a:ahLst/>
              <a:cxnLst/>
              <a:rect l="l" t="t" r="r" b="b"/>
              <a:pathLst>
                <a:path w="8" h="12" extrusionOk="0">
                  <a:moveTo>
                    <a:pt x="8" y="1"/>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246" name="Google Shape;3246;p104"/>
            <p:cNvSpPr/>
            <p:nvPr/>
          </p:nvSpPr>
          <p:spPr>
            <a:xfrm>
              <a:off x="2258482" y="2212687"/>
              <a:ext cx="109" cy="149"/>
            </a:xfrm>
            <a:custGeom>
              <a:avLst/>
              <a:gdLst/>
              <a:ahLst/>
              <a:cxnLst/>
              <a:rect l="l" t="t" r="r" b="b"/>
              <a:pathLst>
                <a:path w="8" h="11" extrusionOk="0">
                  <a:moveTo>
                    <a:pt x="8" y="0"/>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247" name="Google Shape;3247;p104"/>
            <p:cNvSpPr/>
            <p:nvPr/>
          </p:nvSpPr>
          <p:spPr>
            <a:xfrm>
              <a:off x="2204865" y="2250133"/>
              <a:ext cx="163" cy="68"/>
            </a:xfrm>
            <a:custGeom>
              <a:avLst/>
              <a:gdLst/>
              <a:ahLst/>
              <a:cxnLst/>
              <a:rect l="l" t="t" r="r" b="b"/>
              <a:pathLst>
                <a:path w="12" h="5" extrusionOk="0">
                  <a:moveTo>
                    <a:pt x="11" y="1"/>
                  </a:moveTo>
                  <a:lnTo>
                    <a:pt x="1" y="4"/>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248" name="Google Shape;3248;p104"/>
            <p:cNvSpPr/>
            <p:nvPr/>
          </p:nvSpPr>
          <p:spPr>
            <a:xfrm>
              <a:off x="2258822" y="2212211"/>
              <a:ext cx="109" cy="149"/>
            </a:xfrm>
            <a:custGeom>
              <a:avLst/>
              <a:gdLst/>
              <a:ahLst/>
              <a:cxnLst/>
              <a:rect l="l" t="t" r="r" b="b"/>
              <a:pathLst>
                <a:path w="8" h="11" extrusionOk="0">
                  <a:moveTo>
                    <a:pt x="7" y="0"/>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249" name="Google Shape;3249;p104"/>
            <p:cNvSpPr/>
            <p:nvPr/>
          </p:nvSpPr>
          <p:spPr>
            <a:xfrm>
              <a:off x="2193460" y="2234696"/>
              <a:ext cx="14" cy="14"/>
            </a:xfrm>
            <a:custGeom>
              <a:avLst/>
              <a:gdLst/>
              <a:ahLst/>
              <a:cxnLst/>
              <a:rect l="l" t="t" r="r" b="b"/>
              <a:pathLst>
                <a:path w="1" h="1" extrusionOk="0">
                  <a:moveTo>
                    <a:pt x="0" y="0"/>
                  </a:moveTo>
                  <a:lnTo>
                    <a:pt x="0" y="0"/>
                  </a:lnTo>
                  <a:lnTo>
                    <a:pt x="0"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250" name="Google Shape;3250;p104"/>
            <p:cNvSpPr/>
            <p:nvPr/>
          </p:nvSpPr>
          <p:spPr>
            <a:xfrm>
              <a:off x="2205245" y="2249943"/>
              <a:ext cx="163" cy="109"/>
            </a:xfrm>
            <a:custGeom>
              <a:avLst/>
              <a:gdLst/>
              <a:ahLst/>
              <a:cxnLst/>
              <a:rect l="l" t="t" r="r" b="b"/>
              <a:pathLst>
                <a:path w="12" h="8" extrusionOk="0">
                  <a:moveTo>
                    <a:pt x="11" y="1"/>
                  </a:moveTo>
                  <a:lnTo>
                    <a:pt x="1" y="8"/>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251" name="Google Shape;3251;p104"/>
            <p:cNvSpPr/>
            <p:nvPr/>
          </p:nvSpPr>
          <p:spPr>
            <a:xfrm>
              <a:off x="2204485" y="2250283"/>
              <a:ext cx="109" cy="14"/>
            </a:xfrm>
            <a:custGeom>
              <a:avLst/>
              <a:gdLst/>
              <a:ahLst/>
              <a:cxnLst/>
              <a:rect l="l" t="t" r="r" b="b"/>
              <a:pathLst>
                <a:path w="8" h="1" extrusionOk="0">
                  <a:moveTo>
                    <a:pt x="8"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252" name="Google Shape;3252;p104"/>
            <p:cNvSpPr/>
            <p:nvPr/>
          </p:nvSpPr>
          <p:spPr>
            <a:xfrm>
              <a:off x="2278916" y="2252890"/>
              <a:ext cx="258" cy="163"/>
            </a:xfrm>
            <a:custGeom>
              <a:avLst/>
              <a:gdLst/>
              <a:ahLst/>
              <a:cxnLst/>
              <a:rect l="l" t="t" r="r" b="b"/>
              <a:pathLst>
                <a:path w="19" h="12" extrusionOk="0">
                  <a:moveTo>
                    <a:pt x="1" y="11"/>
                  </a:moveTo>
                  <a:lnTo>
                    <a:pt x="18"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253" name="Google Shape;3253;p104"/>
            <p:cNvSpPr/>
            <p:nvPr/>
          </p:nvSpPr>
          <p:spPr>
            <a:xfrm>
              <a:off x="2279256" y="2252659"/>
              <a:ext cx="204" cy="204"/>
            </a:xfrm>
            <a:custGeom>
              <a:avLst/>
              <a:gdLst/>
              <a:ahLst/>
              <a:cxnLst/>
              <a:rect l="l" t="t" r="r" b="b"/>
              <a:pathLst>
                <a:path w="15" h="15" extrusionOk="0">
                  <a:moveTo>
                    <a:pt x="0" y="14"/>
                  </a:moveTo>
                  <a:cubicBezTo>
                    <a:pt x="4" y="11"/>
                    <a:pt x="11" y="7"/>
                    <a:pt x="14" y="0"/>
                  </a:cubicBezTo>
                  <a:cubicBezTo>
                    <a:pt x="11" y="7"/>
                    <a:pt x="4" y="11"/>
                    <a:pt x="0" y="14"/>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254" name="Google Shape;3254;p104"/>
            <p:cNvSpPr/>
            <p:nvPr/>
          </p:nvSpPr>
          <p:spPr>
            <a:xfrm>
              <a:off x="2279772" y="2251994"/>
              <a:ext cx="163" cy="299"/>
            </a:xfrm>
            <a:custGeom>
              <a:avLst/>
              <a:gdLst/>
              <a:ahLst/>
              <a:cxnLst/>
              <a:rect l="l" t="t" r="r" b="b"/>
              <a:pathLst>
                <a:path w="12" h="22" extrusionOk="0">
                  <a:moveTo>
                    <a:pt x="1" y="21"/>
                  </a:moveTo>
                  <a:cubicBezTo>
                    <a:pt x="4" y="14"/>
                    <a:pt x="8" y="7"/>
                    <a:pt x="11" y="0"/>
                  </a:cubicBezTo>
                  <a:cubicBezTo>
                    <a:pt x="8" y="7"/>
                    <a:pt x="4" y="14"/>
                    <a:pt x="1" y="2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255" name="Google Shape;3255;p104"/>
            <p:cNvSpPr/>
            <p:nvPr/>
          </p:nvSpPr>
          <p:spPr>
            <a:xfrm>
              <a:off x="2279541" y="2252319"/>
              <a:ext cx="244" cy="299"/>
            </a:xfrm>
            <a:custGeom>
              <a:avLst/>
              <a:gdLst/>
              <a:ahLst/>
              <a:cxnLst/>
              <a:rect l="l" t="t" r="r" b="b"/>
              <a:pathLst>
                <a:path w="18" h="22" extrusionOk="0">
                  <a:moveTo>
                    <a:pt x="18" y="1"/>
                  </a:moveTo>
                  <a:cubicBezTo>
                    <a:pt x="11" y="8"/>
                    <a:pt x="4" y="15"/>
                    <a:pt x="0" y="22"/>
                  </a:cubicBezTo>
                  <a:cubicBezTo>
                    <a:pt x="4" y="15"/>
                    <a:pt x="11" y="8"/>
                    <a:pt x="18" y="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256" name="Google Shape;3256;p104"/>
            <p:cNvSpPr/>
            <p:nvPr/>
          </p:nvSpPr>
          <p:spPr>
            <a:xfrm>
              <a:off x="2276445" y="2253609"/>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257" name="Google Shape;3257;p104"/>
            <p:cNvSpPr/>
            <p:nvPr/>
          </p:nvSpPr>
          <p:spPr>
            <a:xfrm>
              <a:off x="2280301" y="2250704"/>
              <a:ext cx="14" cy="14"/>
            </a:xfrm>
            <a:custGeom>
              <a:avLst/>
              <a:gdLst/>
              <a:ahLst/>
              <a:cxnLst/>
              <a:rect l="l" t="t" r="r" b="b"/>
              <a:pathLst>
                <a:path w="1" h="1" extrusionOk="0">
                  <a:moveTo>
                    <a:pt x="0" y="1"/>
                  </a:moveTo>
                  <a:lnTo>
                    <a:pt x="0" y="1"/>
                  </a:lnTo>
                  <a:lnTo>
                    <a:pt x="0"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258" name="Google Shape;3258;p104"/>
            <p:cNvSpPr/>
            <p:nvPr/>
          </p:nvSpPr>
          <p:spPr>
            <a:xfrm>
              <a:off x="2280111" y="2251043"/>
              <a:ext cx="109" cy="434"/>
            </a:xfrm>
            <a:custGeom>
              <a:avLst/>
              <a:gdLst/>
              <a:ahLst/>
              <a:cxnLst/>
              <a:rect l="l" t="t" r="r" b="b"/>
              <a:pathLst>
                <a:path w="8" h="32" extrusionOk="0">
                  <a:moveTo>
                    <a:pt x="0" y="32"/>
                  </a:moveTo>
                  <a:cubicBezTo>
                    <a:pt x="4" y="21"/>
                    <a:pt x="7" y="11"/>
                    <a:pt x="7" y="0"/>
                  </a:cubicBezTo>
                  <a:cubicBezTo>
                    <a:pt x="7" y="11"/>
                    <a:pt x="4" y="21"/>
                    <a:pt x="0" y="32"/>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259" name="Google Shape;3259;p104"/>
            <p:cNvSpPr/>
            <p:nvPr/>
          </p:nvSpPr>
          <p:spPr>
            <a:xfrm>
              <a:off x="2279962" y="2251613"/>
              <a:ext cx="109" cy="299"/>
            </a:xfrm>
            <a:custGeom>
              <a:avLst/>
              <a:gdLst/>
              <a:ahLst/>
              <a:cxnLst/>
              <a:rect l="l" t="t" r="r" b="b"/>
              <a:pathLst>
                <a:path w="8" h="22" extrusionOk="0">
                  <a:moveTo>
                    <a:pt x="1" y="21"/>
                  </a:moveTo>
                  <a:cubicBezTo>
                    <a:pt x="4" y="14"/>
                    <a:pt x="4" y="7"/>
                    <a:pt x="8" y="0"/>
                  </a:cubicBezTo>
                  <a:cubicBezTo>
                    <a:pt x="4" y="7"/>
                    <a:pt x="4" y="14"/>
                    <a:pt x="1" y="2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260" name="Google Shape;3260;p104"/>
            <p:cNvSpPr/>
            <p:nvPr/>
          </p:nvSpPr>
          <p:spPr>
            <a:xfrm>
              <a:off x="2278536" y="2253134"/>
              <a:ext cx="353" cy="149"/>
            </a:xfrm>
            <a:custGeom>
              <a:avLst/>
              <a:gdLst/>
              <a:ahLst/>
              <a:cxnLst/>
              <a:rect l="l" t="t" r="r" b="b"/>
              <a:pathLst>
                <a:path w="26" h="11" extrusionOk="0">
                  <a:moveTo>
                    <a:pt x="1" y="11"/>
                  </a:moveTo>
                  <a:cubicBezTo>
                    <a:pt x="8" y="7"/>
                    <a:pt x="15" y="4"/>
                    <a:pt x="25" y="0"/>
                  </a:cubicBezTo>
                  <a:cubicBezTo>
                    <a:pt x="15" y="4"/>
                    <a:pt x="8" y="7"/>
                    <a:pt x="1" y="1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261" name="Google Shape;3261;p104"/>
            <p:cNvSpPr/>
            <p:nvPr/>
          </p:nvSpPr>
          <p:spPr>
            <a:xfrm>
              <a:off x="2276119" y="2239584"/>
              <a:ext cx="149" cy="14"/>
            </a:xfrm>
            <a:custGeom>
              <a:avLst/>
              <a:gdLst/>
              <a:ahLst/>
              <a:cxnLst/>
              <a:rect l="l" t="t" r="r" b="b"/>
              <a:pathLst>
                <a:path w="11" h="1" extrusionOk="0">
                  <a:moveTo>
                    <a:pt x="11"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262" name="Google Shape;3262;p104"/>
            <p:cNvSpPr/>
            <p:nvPr/>
          </p:nvSpPr>
          <p:spPr>
            <a:xfrm>
              <a:off x="2277111" y="2239869"/>
              <a:ext cx="109" cy="68"/>
            </a:xfrm>
            <a:custGeom>
              <a:avLst/>
              <a:gdLst/>
              <a:ahLst/>
              <a:cxnLst/>
              <a:rect l="l" t="t" r="r" b="b"/>
              <a:pathLst>
                <a:path w="8" h="5" extrusionOk="0">
                  <a:moveTo>
                    <a:pt x="8" y="4"/>
                  </a:moveTo>
                  <a:lnTo>
                    <a:pt x="1"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263" name="Google Shape;3263;p104"/>
            <p:cNvSpPr/>
            <p:nvPr/>
          </p:nvSpPr>
          <p:spPr>
            <a:xfrm>
              <a:off x="2276595" y="2239679"/>
              <a:ext cx="149" cy="68"/>
            </a:xfrm>
            <a:custGeom>
              <a:avLst/>
              <a:gdLst/>
              <a:ahLst/>
              <a:cxnLst/>
              <a:rect l="l" t="t" r="r" b="b"/>
              <a:pathLst>
                <a:path w="11" h="5" extrusionOk="0">
                  <a:moveTo>
                    <a:pt x="11"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264" name="Google Shape;3264;p104"/>
            <p:cNvSpPr/>
            <p:nvPr/>
          </p:nvSpPr>
          <p:spPr>
            <a:xfrm>
              <a:off x="2277735" y="2240154"/>
              <a:ext cx="54" cy="14"/>
            </a:xfrm>
            <a:custGeom>
              <a:avLst/>
              <a:gdLst/>
              <a:ahLst/>
              <a:cxnLst/>
              <a:rect l="l" t="t" r="r" b="b"/>
              <a:pathLst>
                <a:path w="4" h="1" extrusionOk="0">
                  <a:moveTo>
                    <a:pt x="4"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265" name="Google Shape;3265;p104"/>
            <p:cNvSpPr/>
            <p:nvPr/>
          </p:nvSpPr>
          <p:spPr>
            <a:xfrm>
              <a:off x="2278210" y="2240439"/>
              <a:ext cx="149" cy="109"/>
            </a:xfrm>
            <a:custGeom>
              <a:avLst/>
              <a:gdLst/>
              <a:ahLst/>
              <a:cxnLst/>
              <a:rect l="l" t="t" r="r" b="b"/>
              <a:pathLst>
                <a:path w="11" h="8" extrusionOk="0">
                  <a:moveTo>
                    <a:pt x="11" y="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266" name="Google Shape;3266;p104"/>
            <p:cNvSpPr/>
            <p:nvPr/>
          </p:nvSpPr>
          <p:spPr>
            <a:xfrm>
              <a:off x="2278726" y="2240779"/>
              <a:ext cx="163" cy="54"/>
            </a:xfrm>
            <a:custGeom>
              <a:avLst/>
              <a:gdLst/>
              <a:ahLst/>
              <a:cxnLst/>
              <a:rect l="l" t="t" r="r" b="b"/>
              <a:pathLst>
                <a:path w="12" h="4" extrusionOk="0">
                  <a:moveTo>
                    <a:pt x="11" y="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267" name="Google Shape;3267;p104"/>
            <p:cNvSpPr/>
            <p:nvPr/>
          </p:nvSpPr>
          <p:spPr>
            <a:xfrm>
              <a:off x="2278210" y="2253270"/>
              <a:ext cx="339" cy="109"/>
            </a:xfrm>
            <a:custGeom>
              <a:avLst/>
              <a:gdLst/>
              <a:ahLst/>
              <a:cxnLst/>
              <a:rect l="l" t="t" r="r" b="b"/>
              <a:pathLst>
                <a:path w="25" h="8" extrusionOk="0">
                  <a:moveTo>
                    <a:pt x="25" y="1"/>
                  </a:moveTo>
                  <a:cubicBezTo>
                    <a:pt x="14" y="4"/>
                    <a:pt x="7" y="4"/>
                    <a:pt x="0" y="8"/>
                  </a:cubicBezTo>
                  <a:cubicBezTo>
                    <a:pt x="7" y="4"/>
                    <a:pt x="18" y="4"/>
                    <a:pt x="25" y="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268" name="Google Shape;3268;p104"/>
            <p:cNvSpPr/>
            <p:nvPr/>
          </p:nvSpPr>
          <p:spPr>
            <a:xfrm>
              <a:off x="2277396" y="2253460"/>
              <a:ext cx="299" cy="68"/>
            </a:xfrm>
            <a:custGeom>
              <a:avLst/>
              <a:gdLst/>
              <a:ahLst/>
              <a:cxnLst/>
              <a:rect l="l" t="t" r="r" b="b"/>
              <a:pathLst>
                <a:path w="22" h="5" extrusionOk="0">
                  <a:moveTo>
                    <a:pt x="1" y="4"/>
                  </a:moveTo>
                  <a:lnTo>
                    <a:pt x="22"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269" name="Google Shape;3269;p104"/>
            <p:cNvSpPr/>
            <p:nvPr/>
          </p:nvSpPr>
          <p:spPr>
            <a:xfrm>
              <a:off x="2276921" y="2253514"/>
              <a:ext cx="394" cy="54"/>
            </a:xfrm>
            <a:custGeom>
              <a:avLst/>
              <a:gdLst/>
              <a:ahLst/>
              <a:cxnLst/>
              <a:rect l="l" t="t" r="r" b="b"/>
              <a:pathLst>
                <a:path w="29" h="4" extrusionOk="0">
                  <a:moveTo>
                    <a:pt x="1" y="4"/>
                  </a:moveTo>
                  <a:lnTo>
                    <a:pt x="29"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270" name="Google Shape;3270;p104"/>
            <p:cNvSpPr/>
            <p:nvPr/>
          </p:nvSpPr>
          <p:spPr>
            <a:xfrm>
              <a:off x="2277776" y="2253419"/>
              <a:ext cx="299" cy="54"/>
            </a:xfrm>
            <a:custGeom>
              <a:avLst/>
              <a:gdLst/>
              <a:ahLst/>
              <a:cxnLst/>
              <a:rect l="l" t="t" r="r" b="b"/>
              <a:pathLst>
                <a:path w="22" h="4" extrusionOk="0">
                  <a:moveTo>
                    <a:pt x="1" y="4"/>
                  </a:moveTo>
                  <a:lnTo>
                    <a:pt x="22"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271" name="Google Shape;3271;p104"/>
            <p:cNvSpPr/>
            <p:nvPr/>
          </p:nvSpPr>
          <p:spPr>
            <a:xfrm>
              <a:off x="2276595" y="2253609"/>
              <a:ext cx="299" cy="14"/>
            </a:xfrm>
            <a:custGeom>
              <a:avLst/>
              <a:gdLst/>
              <a:ahLst/>
              <a:cxnLst/>
              <a:rect l="l" t="t" r="r" b="b"/>
              <a:pathLst>
                <a:path w="22" h="1" extrusionOk="0">
                  <a:moveTo>
                    <a:pt x="0" y="0"/>
                  </a:moveTo>
                  <a:lnTo>
                    <a:pt x="21"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272" name="Google Shape;3272;p104"/>
            <p:cNvSpPr/>
            <p:nvPr/>
          </p:nvSpPr>
          <p:spPr>
            <a:xfrm>
              <a:off x="2275644" y="2253555"/>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273" name="Google Shape;3273;p104"/>
            <p:cNvSpPr/>
            <p:nvPr/>
          </p:nvSpPr>
          <p:spPr>
            <a:xfrm>
              <a:off x="2252019" y="2279556"/>
              <a:ext cx="149" cy="353"/>
            </a:xfrm>
            <a:custGeom>
              <a:avLst/>
              <a:gdLst/>
              <a:ahLst/>
              <a:cxnLst/>
              <a:rect l="l" t="t" r="r" b="b"/>
              <a:pathLst>
                <a:path w="11" h="26" extrusionOk="0">
                  <a:moveTo>
                    <a:pt x="11" y="1"/>
                  </a:moveTo>
                  <a:lnTo>
                    <a:pt x="0" y="25"/>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274" name="Google Shape;3274;p104"/>
            <p:cNvSpPr/>
            <p:nvPr/>
          </p:nvSpPr>
          <p:spPr>
            <a:xfrm>
              <a:off x="2252155" y="2275999"/>
              <a:ext cx="1589" cy="3476"/>
            </a:xfrm>
            <a:custGeom>
              <a:avLst/>
              <a:gdLst/>
              <a:ahLst/>
              <a:cxnLst/>
              <a:rect l="l" t="t" r="r" b="b"/>
              <a:pathLst>
                <a:path w="117" h="256" extrusionOk="0">
                  <a:moveTo>
                    <a:pt x="116" y="0"/>
                  </a:moveTo>
                  <a:lnTo>
                    <a:pt x="116" y="0"/>
                  </a:lnTo>
                  <a:cubicBezTo>
                    <a:pt x="71" y="95"/>
                    <a:pt x="25" y="203"/>
                    <a:pt x="1" y="256"/>
                  </a:cubicBezTo>
                  <a:cubicBezTo>
                    <a:pt x="25" y="203"/>
                    <a:pt x="74" y="95"/>
                    <a:pt x="116"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275" name="Google Shape;3275;p104"/>
            <p:cNvSpPr/>
            <p:nvPr/>
          </p:nvSpPr>
          <p:spPr>
            <a:xfrm>
              <a:off x="2256867" y="2263589"/>
              <a:ext cx="1589" cy="1494"/>
            </a:xfrm>
            <a:custGeom>
              <a:avLst/>
              <a:gdLst/>
              <a:ahLst/>
              <a:cxnLst/>
              <a:rect l="l" t="t" r="r" b="b"/>
              <a:pathLst>
                <a:path w="117" h="110" extrusionOk="0">
                  <a:moveTo>
                    <a:pt x="116" y="109"/>
                  </a:moveTo>
                  <a:cubicBezTo>
                    <a:pt x="74" y="74"/>
                    <a:pt x="36" y="39"/>
                    <a:pt x="0" y="1"/>
                  </a:cubicBezTo>
                  <a:cubicBezTo>
                    <a:pt x="36" y="39"/>
                    <a:pt x="74" y="74"/>
                    <a:pt x="116" y="109"/>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276" name="Google Shape;3276;p104"/>
            <p:cNvSpPr/>
            <p:nvPr/>
          </p:nvSpPr>
          <p:spPr>
            <a:xfrm>
              <a:off x="2136461" y="2088588"/>
              <a:ext cx="84819" cy="89883"/>
            </a:xfrm>
            <a:custGeom>
              <a:avLst/>
              <a:gdLst/>
              <a:ahLst/>
              <a:cxnLst/>
              <a:rect l="l" t="t" r="r" b="b"/>
              <a:pathLst>
                <a:path w="6247" h="6620" extrusionOk="0">
                  <a:moveTo>
                    <a:pt x="1218" y="0"/>
                  </a:moveTo>
                  <a:cubicBezTo>
                    <a:pt x="955" y="0"/>
                    <a:pt x="738" y="3"/>
                    <a:pt x="663" y="10"/>
                  </a:cubicBezTo>
                  <a:lnTo>
                    <a:pt x="638" y="10"/>
                  </a:lnTo>
                  <a:lnTo>
                    <a:pt x="628" y="14"/>
                  </a:lnTo>
                  <a:lnTo>
                    <a:pt x="624" y="14"/>
                  </a:lnTo>
                  <a:lnTo>
                    <a:pt x="607" y="21"/>
                  </a:lnTo>
                  <a:lnTo>
                    <a:pt x="603" y="21"/>
                  </a:lnTo>
                  <a:lnTo>
                    <a:pt x="582" y="31"/>
                  </a:lnTo>
                  <a:lnTo>
                    <a:pt x="579" y="35"/>
                  </a:lnTo>
                  <a:lnTo>
                    <a:pt x="550" y="49"/>
                  </a:lnTo>
                  <a:lnTo>
                    <a:pt x="543" y="52"/>
                  </a:lnTo>
                  <a:lnTo>
                    <a:pt x="512" y="70"/>
                  </a:lnTo>
                  <a:lnTo>
                    <a:pt x="505" y="73"/>
                  </a:lnTo>
                  <a:lnTo>
                    <a:pt x="463" y="101"/>
                  </a:lnTo>
                  <a:lnTo>
                    <a:pt x="459" y="105"/>
                  </a:lnTo>
                  <a:lnTo>
                    <a:pt x="414" y="133"/>
                  </a:lnTo>
                  <a:lnTo>
                    <a:pt x="407" y="136"/>
                  </a:lnTo>
                  <a:cubicBezTo>
                    <a:pt x="505" y="469"/>
                    <a:pt x="747" y="969"/>
                    <a:pt x="841" y="1165"/>
                  </a:cubicBezTo>
                  <a:lnTo>
                    <a:pt x="869" y="1225"/>
                  </a:lnTo>
                  <a:cubicBezTo>
                    <a:pt x="922" y="1330"/>
                    <a:pt x="887" y="1428"/>
                    <a:pt x="852" y="1529"/>
                  </a:cubicBezTo>
                  <a:cubicBezTo>
                    <a:pt x="813" y="1624"/>
                    <a:pt x="792" y="1725"/>
                    <a:pt x="789" y="1827"/>
                  </a:cubicBezTo>
                  <a:cubicBezTo>
                    <a:pt x="789" y="1960"/>
                    <a:pt x="869" y="2167"/>
                    <a:pt x="946" y="2363"/>
                  </a:cubicBezTo>
                  <a:cubicBezTo>
                    <a:pt x="1027" y="2573"/>
                    <a:pt x="1111" y="2790"/>
                    <a:pt x="1128" y="2968"/>
                  </a:cubicBezTo>
                  <a:cubicBezTo>
                    <a:pt x="1160" y="3311"/>
                    <a:pt x="967" y="3532"/>
                    <a:pt x="782" y="3745"/>
                  </a:cubicBezTo>
                  <a:lnTo>
                    <a:pt x="726" y="3812"/>
                  </a:lnTo>
                  <a:cubicBezTo>
                    <a:pt x="533" y="4032"/>
                    <a:pt x="344" y="4533"/>
                    <a:pt x="344" y="4817"/>
                  </a:cubicBezTo>
                  <a:cubicBezTo>
                    <a:pt x="344" y="5020"/>
                    <a:pt x="239" y="5212"/>
                    <a:pt x="155" y="5363"/>
                  </a:cubicBezTo>
                  <a:cubicBezTo>
                    <a:pt x="109" y="5450"/>
                    <a:pt x="57" y="5541"/>
                    <a:pt x="60" y="5580"/>
                  </a:cubicBezTo>
                  <a:cubicBezTo>
                    <a:pt x="67" y="5713"/>
                    <a:pt x="32" y="6056"/>
                    <a:pt x="1" y="6252"/>
                  </a:cubicBezTo>
                  <a:lnTo>
                    <a:pt x="46" y="6242"/>
                  </a:lnTo>
                  <a:cubicBezTo>
                    <a:pt x="95" y="6154"/>
                    <a:pt x="186" y="6098"/>
                    <a:pt x="284" y="6094"/>
                  </a:cubicBezTo>
                  <a:cubicBezTo>
                    <a:pt x="354" y="6094"/>
                    <a:pt x="414" y="6136"/>
                    <a:pt x="438" y="6199"/>
                  </a:cubicBezTo>
                  <a:cubicBezTo>
                    <a:pt x="442" y="6210"/>
                    <a:pt x="445" y="6217"/>
                    <a:pt x="452" y="6224"/>
                  </a:cubicBezTo>
                  <a:cubicBezTo>
                    <a:pt x="470" y="6221"/>
                    <a:pt x="487" y="6217"/>
                    <a:pt x="505" y="6210"/>
                  </a:cubicBezTo>
                  <a:cubicBezTo>
                    <a:pt x="604" y="6167"/>
                    <a:pt x="696" y="6146"/>
                    <a:pt x="784" y="6146"/>
                  </a:cubicBezTo>
                  <a:cubicBezTo>
                    <a:pt x="890" y="6146"/>
                    <a:pt x="990" y="6178"/>
                    <a:pt x="1086" y="6242"/>
                  </a:cubicBezTo>
                  <a:cubicBezTo>
                    <a:pt x="1244" y="6347"/>
                    <a:pt x="1373" y="6368"/>
                    <a:pt x="1541" y="6368"/>
                  </a:cubicBezTo>
                  <a:lnTo>
                    <a:pt x="3456" y="6368"/>
                  </a:lnTo>
                  <a:lnTo>
                    <a:pt x="3645" y="6557"/>
                  </a:lnTo>
                  <a:lnTo>
                    <a:pt x="4573" y="6557"/>
                  </a:lnTo>
                  <a:lnTo>
                    <a:pt x="4622" y="6560"/>
                  </a:lnTo>
                  <a:lnTo>
                    <a:pt x="4629" y="6560"/>
                  </a:lnTo>
                  <a:lnTo>
                    <a:pt x="4678" y="6564"/>
                  </a:lnTo>
                  <a:lnTo>
                    <a:pt x="4692" y="6564"/>
                  </a:lnTo>
                  <a:lnTo>
                    <a:pt x="4734" y="6567"/>
                  </a:lnTo>
                  <a:lnTo>
                    <a:pt x="4745" y="6567"/>
                  </a:lnTo>
                  <a:lnTo>
                    <a:pt x="4780" y="6574"/>
                  </a:lnTo>
                  <a:lnTo>
                    <a:pt x="4787" y="6574"/>
                  </a:lnTo>
                  <a:cubicBezTo>
                    <a:pt x="4797" y="6578"/>
                    <a:pt x="4811" y="6578"/>
                    <a:pt x="4818" y="6581"/>
                  </a:cubicBezTo>
                  <a:lnTo>
                    <a:pt x="4825" y="6581"/>
                  </a:lnTo>
                  <a:cubicBezTo>
                    <a:pt x="4836" y="6585"/>
                    <a:pt x="4843" y="6588"/>
                    <a:pt x="4853" y="6592"/>
                  </a:cubicBezTo>
                  <a:cubicBezTo>
                    <a:pt x="4892" y="6611"/>
                    <a:pt x="4963" y="6619"/>
                    <a:pt x="5046" y="6619"/>
                  </a:cubicBezTo>
                  <a:cubicBezTo>
                    <a:pt x="5246" y="6619"/>
                    <a:pt x="5522" y="6574"/>
                    <a:pt x="5648" y="6532"/>
                  </a:cubicBezTo>
                  <a:cubicBezTo>
                    <a:pt x="5662" y="6529"/>
                    <a:pt x="5683" y="6522"/>
                    <a:pt x="5707" y="6518"/>
                  </a:cubicBezTo>
                  <a:lnTo>
                    <a:pt x="5130" y="5709"/>
                  </a:lnTo>
                  <a:lnTo>
                    <a:pt x="5130" y="5688"/>
                  </a:lnTo>
                  <a:lnTo>
                    <a:pt x="5186" y="3801"/>
                  </a:lnTo>
                  <a:lnTo>
                    <a:pt x="6036" y="3829"/>
                  </a:lnTo>
                  <a:lnTo>
                    <a:pt x="6138" y="3728"/>
                  </a:lnTo>
                  <a:lnTo>
                    <a:pt x="6246" y="2716"/>
                  </a:lnTo>
                  <a:lnTo>
                    <a:pt x="6218" y="2716"/>
                  </a:lnTo>
                  <a:cubicBezTo>
                    <a:pt x="6211" y="2720"/>
                    <a:pt x="6201" y="2723"/>
                    <a:pt x="6194" y="2727"/>
                  </a:cubicBezTo>
                  <a:cubicBezTo>
                    <a:pt x="6088" y="2772"/>
                    <a:pt x="5992" y="2783"/>
                    <a:pt x="5897" y="2783"/>
                  </a:cubicBezTo>
                  <a:cubicBezTo>
                    <a:pt x="5859" y="2783"/>
                    <a:pt x="5822" y="2781"/>
                    <a:pt x="5784" y="2779"/>
                  </a:cubicBezTo>
                  <a:lnTo>
                    <a:pt x="5683" y="2779"/>
                  </a:lnTo>
                  <a:cubicBezTo>
                    <a:pt x="5630" y="2783"/>
                    <a:pt x="5581" y="2811"/>
                    <a:pt x="5546" y="2853"/>
                  </a:cubicBezTo>
                  <a:cubicBezTo>
                    <a:pt x="5517" y="2885"/>
                    <a:pt x="5475" y="2928"/>
                    <a:pt x="5412" y="2928"/>
                  </a:cubicBezTo>
                  <a:cubicBezTo>
                    <a:pt x="5400" y="2928"/>
                    <a:pt x="5388" y="2926"/>
                    <a:pt x="5375" y="2923"/>
                  </a:cubicBezTo>
                  <a:cubicBezTo>
                    <a:pt x="5228" y="2888"/>
                    <a:pt x="5280" y="2636"/>
                    <a:pt x="5319" y="2454"/>
                  </a:cubicBezTo>
                  <a:cubicBezTo>
                    <a:pt x="5322" y="2436"/>
                    <a:pt x="5326" y="2422"/>
                    <a:pt x="5329" y="2412"/>
                  </a:cubicBezTo>
                  <a:cubicBezTo>
                    <a:pt x="5343" y="2331"/>
                    <a:pt x="5207" y="2135"/>
                    <a:pt x="5084" y="2037"/>
                  </a:cubicBezTo>
                  <a:cubicBezTo>
                    <a:pt x="4990" y="1963"/>
                    <a:pt x="5025" y="1788"/>
                    <a:pt x="5095" y="1512"/>
                  </a:cubicBezTo>
                  <a:cubicBezTo>
                    <a:pt x="5119" y="1424"/>
                    <a:pt x="5151" y="1288"/>
                    <a:pt x="5147" y="1249"/>
                  </a:cubicBezTo>
                  <a:cubicBezTo>
                    <a:pt x="5060" y="1151"/>
                    <a:pt x="5039" y="938"/>
                    <a:pt x="5035" y="801"/>
                  </a:cubicBezTo>
                  <a:lnTo>
                    <a:pt x="5035" y="773"/>
                  </a:lnTo>
                  <a:cubicBezTo>
                    <a:pt x="5035" y="763"/>
                    <a:pt x="5035" y="752"/>
                    <a:pt x="5032" y="742"/>
                  </a:cubicBezTo>
                  <a:cubicBezTo>
                    <a:pt x="5004" y="742"/>
                    <a:pt x="4972" y="742"/>
                    <a:pt x="4941" y="749"/>
                  </a:cubicBezTo>
                  <a:cubicBezTo>
                    <a:pt x="4874" y="759"/>
                    <a:pt x="4808" y="766"/>
                    <a:pt x="4738" y="766"/>
                  </a:cubicBezTo>
                  <a:cubicBezTo>
                    <a:pt x="4534" y="766"/>
                    <a:pt x="4454" y="689"/>
                    <a:pt x="4426" y="637"/>
                  </a:cubicBezTo>
                  <a:cubicBezTo>
                    <a:pt x="4371" y="624"/>
                    <a:pt x="4287" y="611"/>
                    <a:pt x="4209" y="611"/>
                  </a:cubicBezTo>
                  <a:cubicBezTo>
                    <a:pt x="4154" y="611"/>
                    <a:pt x="4102" y="618"/>
                    <a:pt x="4065" y="637"/>
                  </a:cubicBezTo>
                  <a:cubicBezTo>
                    <a:pt x="4016" y="661"/>
                    <a:pt x="3985" y="798"/>
                    <a:pt x="3967" y="892"/>
                  </a:cubicBezTo>
                  <a:cubicBezTo>
                    <a:pt x="3943" y="1001"/>
                    <a:pt x="3929" y="1081"/>
                    <a:pt x="3873" y="1116"/>
                  </a:cubicBezTo>
                  <a:cubicBezTo>
                    <a:pt x="3858" y="1124"/>
                    <a:pt x="3841" y="1130"/>
                    <a:pt x="3822" y="1130"/>
                  </a:cubicBezTo>
                  <a:cubicBezTo>
                    <a:pt x="3815" y="1130"/>
                    <a:pt x="3807" y="1129"/>
                    <a:pt x="3799" y="1127"/>
                  </a:cubicBezTo>
                  <a:cubicBezTo>
                    <a:pt x="3787" y="1124"/>
                    <a:pt x="3770" y="1122"/>
                    <a:pt x="3748" y="1122"/>
                  </a:cubicBezTo>
                  <a:cubicBezTo>
                    <a:pt x="3640" y="1122"/>
                    <a:pt x="3422" y="1157"/>
                    <a:pt x="3204" y="1221"/>
                  </a:cubicBezTo>
                  <a:cubicBezTo>
                    <a:pt x="3151" y="1237"/>
                    <a:pt x="3104" y="1245"/>
                    <a:pt x="3061" y="1245"/>
                  </a:cubicBezTo>
                  <a:cubicBezTo>
                    <a:pt x="2850" y="1245"/>
                    <a:pt x="2755" y="1065"/>
                    <a:pt x="2665" y="847"/>
                  </a:cubicBezTo>
                  <a:cubicBezTo>
                    <a:pt x="2637" y="766"/>
                    <a:pt x="2584" y="696"/>
                    <a:pt x="2521" y="647"/>
                  </a:cubicBezTo>
                  <a:cubicBezTo>
                    <a:pt x="2451" y="588"/>
                    <a:pt x="2409" y="539"/>
                    <a:pt x="2441" y="392"/>
                  </a:cubicBezTo>
                  <a:cubicBezTo>
                    <a:pt x="2476" y="248"/>
                    <a:pt x="2402" y="80"/>
                    <a:pt x="2371" y="10"/>
                  </a:cubicBezTo>
                  <a:lnTo>
                    <a:pt x="2364" y="10"/>
                  </a:lnTo>
                  <a:cubicBezTo>
                    <a:pt x="2091" y="6"/>
                    <a:pt x="1606" y="0"/>
                    <a:pt x="1218"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277" name="Google Shape;3277;p104"/>
            <p:cNvSpPr/>
            <p:nvPr/>
          </p:nvSpPr>
          <p:spPr>
            <a:xfrm>
              <a:off x="2193595" y="2177277"/>
              <a:ext cx="353" cy="14"/>
            </a:xfrm>
            <a:custGeom>
              <a:avLst/>
              <a:gdLst/>
              <a:ahLst/>
              <a:cxnLst/>
              <a:rect l="l" t="t" r="r" b="b"/>
              <a:pathLst>
                <a:path w="26" h="1" extrusionOk="0">
                  <a:moveTo>
                    <a:pt x="25"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278" name="Google Shape;3278;p104"/>
            <p:cNvSpPr/>
            <p:nvPr/>
          </p:nvSpPr>
          <p:spPr>
            <a:xfrm>
              <a:off x="2185897" y="2177697"/>
              <a:ext cx="394" cy="14"/>
            </a:xfrm>
            <a:custGeom>
              <a:avLst/>
              <a:gdLst/>
              <a:ahLst/>
              <a:cxnLst/>
              <a:rect l="l" t="t" r="r" b="b"/>
              <a:pathLst>
                <a:path w="29" h="1" extrusionOk="0">
                  <a:moveTo>
                    <a:pt x="29"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279" name="Google Shape;3279;p104"/>
            <p:cNvSpPr/>
            <p:nvPr/>
          </p:nvSpPr>
          <p:spPr>
            <a:xfrm>
              <a:off x="2200113" y="2177372"/>
              <a:ext cx="625" cy="109"/>
            </a:xfrm>
            <a:custGeom>
              <a:avLst/>
              <a:gdLst/>
              <a:ahLst/>
              <a:cxnLst/>
              <a:rect l="l" t="t" r="r" b="b"/>
              <a:pathLst>
                <a:path w="46" h="8" extrusionOk="0">
                  <a:moveTo>
                    <a:pt x="46" y="7"/>
                  </a:moveTo>
                  <a:lnTo>
                    <a:pt x="0"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280" name="Google Shape;3280;p104"/>
            <p:cNvSpPr/>
            <p:nvPr/>
          </p:nvSpPr>
          <p:spPr>
            <a:xfrm>
              <a:off x="2192889" y="2177317"/>
              <a:ext cx="394" cy="14"/>
            </a:xfrm>
            <a:custGeom>
              <a:avLst/>
              <a:gdLst/>
              <a:ahLst/>
              <a:cxnLst/>
              <a:rect l="l" t="t" r="r" b="b"/>
              <a:pathLst>
                <a:path w="29" h="1" extrusionOk="0">
                  <a:moveTo>
                    <a:pt x="28"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281" name="Google Shape;3281;p104"/>
            <p:cNvSpPr/>
            <p:nvPr/>
          </p:nvSpPr>
          <p:spPr>
            <a:xfrm>
              <a:off x="2197492" y="2177277"/>
              <a:ext cx="774" cy="14"/>
            </a:xfrm>
            <a:custGeom>
              <a:avLst/>
              <a:gdLst/>
              <a:ahLst/>
              <a:cxnLst/>
              <a:rect l="l" t="t" r="r" b="b"/>
              <a:pathLst>
                <a:path w="57" h="1" extrusionOk="0">
                  <a:moveTo>
                    <a:pt x="57"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282" name="Google Shape;3282;p104"/>
            <p:cNvSpPr/>
            <p:nvPr/>
          </p:nvSpPr>
          <p:spPr>
            <a:xfrm>
              <a:off x="2198497" y="2177277"/>
              <a:ext cx="679" cy="54"/>
            </a:xfrm>
            <a:custGeom>
              <a:avLst/>
              <a:gdLst/>
              <a:ahLst/>
              <a:cxnLst/>
              <a:rect l="l" t="t" r="r" b="b"/>
              <a:pathLst>
                <a:path w="50" h="4" extrusionOk="0">
                  <a:moveTo>
                    <a:pt x="49"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283" name="Google Shape;3283;p104"/>
            <p:cNvSpPr/>
            <p:nvPr/>
          </p:nvSpPr>
          <p:spPr>
            <a:xfrm>
              <a:off x="2197261" y="2177222"/>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284" name="Google Shape;3284;p104"/>
            <p:cNvSpPr/>
            <p:nvPr/>
          </p:nvSpPr>
          <p:spPr>
            <a:xfrm>
              <a:off x="2195401" y="2177277"/>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285" name="Google Shape;3285;p104"/>
            <p:cNvSpPr/>
            <p:nvPr/>
          </p:nvSpPr>
          <p:spPr>
            <a:xfrm>
              <a:off x="2136421" y="2173421"/>
              <a:ext cx="679" cy="149"/>
            </a:xfrm>
            <a:custGeom>
              <a:avLst/>
              <a:gdLst/>
              <a:ahLst/>
              <a:cxnLst/>
              <a:rect l="l" t="t" r="r" b="b"/>
              <a:pathLst>
                <a:path w="50" h="11" extrusionOk="0">
                  <a:moveTo>
                    <a:pt x="0" y="11"/>
                  </a:moveTo>
                  <a:lnTo>
                    <a:pt x="49"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286" name="Google Shape;3286;p104"/>
            <p:cNvSpPr/>
            <p:nvPr/>
          </p:nvSpPr>
          <p:spPr>
            <a:xfrm>
              <a:off x="2199257" y="2177317"/>
              <a:ext cx="679" cy="68"/>
            </a:xfrm>
            <a:custGeom>
              <a:avLst/>
              <a:gdLst/>
              <a:ahLst/>
              <a:cxnLst/>
              <a:rect l="l" t="t" r="r" b="b"/>
              <a:pathLst>
                <a:path w="50" h="5" extrusionOk="0">
                  <a:moveTo>
                    <a:pt x="49"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287" name="Google Shape;3287;p104"/>
            <p:cNvSpPr/>
            <p:nvPr/>
          </p:nvSpPr>
          <p:spPr>
            <a:xfrm>
              <a:off x="2187852" y="2177562"/>
              <a:ext cx="394" cy="14"/>
            </a:xfrm>
            <a:custGeom>
              <a:avLst/>
              <a:gdLst/>
              <a:ahLst/>
              <a:cxnLst/>
              <a:rect l="l" t="t" r="r" b="b"/>
              <a:pathLst>
                <a:path w="29" h="1" extrusionOk="0">
                  <a:moveTo>
                    <a:pt x="28"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288" name="Google Shape;3288;p104"/>
            <p:cNvSpPr/>
            <p:nvPr/>
          </p:nvSpPr>
          <p:spPr>
            <a:xfrm>
              <a:off x="2187323" y="2177602"/>
              <a:ext cx="299" cy="14"/>
            </a:xfrm>
            <a:custGeom>
              <a:avLst/>
              <a:gdLst/>
              <a:ahLst/>
              <a:cxnLst/>
              <a:rect l="l" t="t" r="r" b="b"/>
              <a:pathLst>
                <a:path w="22" h="1" extrusionOk="0">
                  <a:moveTo>
                    <a:pt x="22"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289" name="Google Shape;3289;p104"/>
            <p:cNvSpPr/>
            <p:nvPr/>
          </p:nvSpPr>
          <p:spPr>
            <a:xfrm>
              <a:off x="2186847" y="2177602"/>
              <a:ext cx="258" cy="14"/>
            </a:xfrm>
            <a:custGeom>
              <a:avLst/>
              <a:gdLst/>
              <a:ahLst/>
              <a:cxnLst/>
              <a:rect l="l" t="t" r="r" b="b"/>
              <a:pathLst>
                <a:path w="19" h="1" extrusionOk="0">
                  <a:moveTo>
                    <a:pt x="18"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290" name="Google Shape;3290;p104"/>
            <p:cNvSpPr/>
            <p:nvPr/>
          </p:nvSpPr>
          <p:spPr>
            <a:xfrm>
              <a:off x="2200832" y="2177467"/>
              <a:ext cx="475" cy="109"/>
            </a:xfrm>
            <a:custGeom>
              <a:avLst/>
              <a:gdLst/>
              <a:ahLst/>
              <a:cxnLst/>
              <a:rect l="l" t="t" r="r" b="b"/>
              <a:pathLst>
                <a:path w="35" h="8" extrusionOk="0">
                  <a:moveTo>
                    <a:pt x="35" y="7"/>
                  </a:moveTo>
                  <a:lnTo>
                    <a:pt x="0"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291" name="Google Shape;3291;p104"/>
            <p:cNvSpPr/>
            <p:nvPr/>
          </p:nvSpPr>
          <p:spPr>
            <a:xfrm>
              <a:off x="2186372" y="2177657"/>
              <a:ext cx="353" cy="14"/>
            </a:xfrm>
            <a:custGeom>
              <a:avLst/>
              <a:gdLst/>
              <a:ahLst/>
              <a:cxnLst/>
              <a:rect l="l" t="t" r="r" b="b"/>
              <a:pathLst>
                <a:path w="26" h="1" extrusionOk="0">
                  <a:moveTo>
                    <a:pt x="25"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292" name="Google Shape;3292;p104"/>
            <p:cNvSpPr/>
            <p:nvPr/>
          </p:nvSpPr>
          <p:spPr>
            <a:xfrm>
              <a:off x="2192075" y="2177317"/>
              <a:ext cx="489" cy="14"/>
            </a:xfrm>
            <a:custGeom>
              <a:avLst/>
              <a:gdLst/>
              <a:ahLst/>
              <a:cxnLst/>
              <a:rect l="l" t="t" r="r" b="b"/>
              <a:pathLst>
                <a:path w="36" h="1" extrusionOk="0">
                  <a:moveTo>
                    <a:pt x="36"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293" name="Google Shape;3293;p104"/>
            <p:cNvSpPr/>
            <p:nvPr/>
          </p:nvSpPr>
          <p:spPr>
            <a:xfrm>
              <a:off x="2191219" y="2177372"/>
              <a:ext cx="394" cy="14"/>
            </a:xfrm>
            <a:custGeom>
              <a:avLst/>
              <a:gdLst/>
              <a:ahLst/>
              <a:cxnLst/>
              <a:rect l="l" t="t" r="r" b="b"/>
              <a:pathLst>
                <a:path w="29" h="1" extrusionOk="0">
                  <a:moveTo>
                    <a:pt x="29"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294" name="Google Shape;3294;p104"/>
            <p:cNvSpPr/>
            <p:nvPr/>
          </p:nvSpPr>
          <p:spPr>
            <a:xfrm>
              <a:off x="2190513" y="2177412"/>
              <a:ext cx="394" cy="14"/>
            </a:xfrm>
            <a:custGeom>
              <a:avLst/>
              <a:gdLst/>
              <a:ahLst/>
              <a:cxnLst/>
              <a:rect l="l" t="t" r="r" b="b"/>
              <a:pathLst>
                <a:path w="29" h="1" extrusionOk="0">
                  <a:moveTo>
                    <a:pt x="28"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295" name="Google Shape;3295;p104"/>
            <p:cNvSpPr/>
            <p:nvPr/>
          </p:nvSpPr>
          <p:spPr>
            <a:xfrm>
              <a:off x="2189223" y="2177467"/>
              <a:ext cx="353" cy="14"/>
            </a:xfrm>
            <a:custGeom>
              <a:avLst/>
              <a:gdLst/>
              <a:ahLst/>
              <a:cxnLst/>
              <a:rect l="l" t="t" r="r" b="b"/>
              <a:pathLst>
                <a:path w="26" h="1" extrusionOk="0">
                  <a:moveTo>
                    <a:pt x="25"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296" name="Google Shape;3296;p104"/>
            <p:cNvSpPr/>
            <p:nvPr/>
          </p:nvSpPr>
          <p:spPr>
            <a:xfrm>
              <a:off x="2188558" y="2177507"/>
              <a:ext cx="394" cy="14"/>
            </a:xfrm>
            <a:custGeom>
              <a:avLst/>
              <a:gdLst/>
              <a:ahLst/>
              <a:cxnLst/>
              <a:rect l="l" t="t" r="r" b="b"/>
              <a:pathLst>
                <a:path w="29" h="1" extrusionOk="0">
                  <a:moveTo>
                    <a:pt x="29"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297" name="Google Shape;3297;p104"/>
            <p:cNvSpPr/>
            <p:nvPr/>
          </p:nvSpPr>
          <p:spPr>
            <a:xfrm>
              <a:off x="2189889" y="2177412"/>
              <a:ext cx="394" cy="14"/>
            </a:xfrm>
            <a:custGeom>
              <a:avLst/>
              <a:gdLst/>
              <a:ahLst/>
              <a:cxnLst/>
              <a:rect l="l" t="t" r="r" b="b"/>
              <a:pathLst>
                <a:path w="29" h="1" extrusionOk="0">
                  <a:moveTo>
                    <a:pt x="29"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298" name="Google Shape;3298;p104"/>
            <p:cNvSpPr/>
            <p:nvPr/>
          </p:nvSpPr>
          <p:spPr>
            <a:xfrm>
              <a:off x="2194695" y="2177277"/>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299" name="Google Shape;3299;p104"/>
            <p:cNvSpPr/>
            <p:nvPr/>
          </p:nvSpPr>
          <p:spPr>
            <a:xfrm>
              <a:off x="2195971" y="2177222"/>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300" name="Google Shape;3300;p104"/>
            <p:cNvSpPr/>
            <p:nvPr/>
          </p:nvSpPr>
          <p:spPr>
            <a:xfrm>
              <a:off x="2201973" y="2177697"/>
              <a:ext cx="339" cy="163"/>
            </a:xfrm>
            <a:custGeom>
              <a:avLst/>
              <a:gdLst/>
              <a:ahLst/>
              <a:cxnLst/>
              <a:rect l="l" t="t" r="r" b="b"/>
              <a:pathLst>
                <a:path w="25" h="12" extrusionOk="0">
                  <a:moveTo>
                    <a:pt x="25" y="11"/>
                  </a:moveTo>
                  <a:cubicBezTo>
                    <a:pt x="18" y="8"/>
                    <a:pt x="7" y="4"/>
                    <a:pt x="0" y="1"/>
                  </a:cubicBezTo>
                  <a:cubicBezTo>
                    <a:pt x="7" y="4"/>
                    <a:pt x="18" y="8"/>
                    <a:pt x="25" y="1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301" name="Google Shape;3301;p104"/>
            <p:cNvSpPr/>
            <p:nvPr/>
          </p:nvSpPr>
          <p:spPr>
            <a:xfrm>
              <a:off x="2201402" y="2177562"/>
              <a:ext cx="489" cy="109"/>
            </a:xfrm>
            <a:custGeom>
              <a:avLst/>
              <a:gdLst/>
              <a:ahLst/>
              <a:cxnLst/>
              <a:rect l="l" t="t" r="r" b="b"/>
              <a:pathLst>
                <a:path w="36" h="8" extrusionOk="0">
                  <a:moveTo>
                    <a:pt x="35" y="7"/>
                  </a:moveTo>
                  <a:cubicBezTo>
                    <a:pt x="25" y="7"/>
                    <a:pt x="14" y="4"/>
                    <a:pt x="0" y="0"/>
                  </a:cubicBezTo>
                  <a:cubicBezTo>
                    <a:pt x="14" y="4"/>
                    <a:pt x="25" y="7"/>
                    <a:pt x="35" y="7"/>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302" name="Google Shape;3302;p104"/>
            <p:cNvSpPr/>
            <p:nvPr/>
          </p:nvSpPr>
          <p:spPr>
            <a:xfrm>
              <a:off x="2207865" y="2106307"/>
              <a:ext cx="83624" cy="72463"/>
            </a:xfrm>
            <a:custGeom>
              <a:avLst/>
              <a:gdLst/>
              <a:ahLst/>
              <a:cxnLst/>
              <a:rect l="l" t="t" r="r" b="b"/>
              <a:pathLst>
                <a:path w="6159" h="5337" extrusionOk="0">
                  <a:moveTo>
                    <a:pt x="4380" y="0"/>
                  </a:moveTo>
                  <a:cubicBezTo>
                    <a:pt x="4366" y="7"/>
                    <a:pt x="4352" y="14"/>
                    <a:pt x="4334" y="21"/>
                  </a:cubicBezTo>
                  <a:lnTo>
                    <a:pt x="4327" y="25"/>
                  </a:lnTo>
                  <a:cubicBezTo>
                    <a:pt x="4310" y="32"/>
                    <a:pt x="4296" y="39"/>
                    <a:pt x="4278" y="42"/>
                  </a:cubicBezTo>
                  <a:lnTo>
                    <a:pt x="4264" y="46"/>
                  </a:lnTo>
                  <a:cubicBezTo>
                    <a:pt x="4247" y="53"/>
                    <a:pt x="4229" y="56"/>
                    <a:pt x="4208" y="60"/>
                  </a:cubicBezTo>
                  <a:lnTo>
                    <a:pt x="4194" y="60"/>
                  </a:lnTo>
                  <a:cubicBezTo>
                    <a:pt x="4177" y="63"/>
                    <a:pt x="4156" y="67"/>
                    <a:pt x="4135" y="70"/>
                  </a:cubicBezTo>
                  <a:lnTo>
                    <a:pt x="4121" y="70"/>
                  </a:lnTo>
                  <a:lnTo>
                    <a:pt x="4065" y="74"/>
                  </a:lnTo>
                  <a:lnTo>
                    <a:pt x="4044" y="74"/>
                  </a:lnTo>
                  <a:lnTo>
                    <a:pt x="3981" y="77"/>
                  </a:lnTo>
                  <a:lnTo>
                    <a:pt x="3722" y="77"/>
                  </a:lnTo>
                  <a:cubicBezTo>
                    <a:pt x="3718" y="76"/>
                    <a:pt x="3715" y="76"/>
                    <a:pt x="3712" y="76"/>
                  </a:cubicBezTo>
                  <a:cubicBezTo>
                    <a:pt x="3705" y="76"/>
                    <a:pt x="3698" y="78"/>
                    <a:pt x="3694" y="81"/>
                  </a:cubicBezTo>
                  <a:cubicBezTo>
                    <a:pt x="3687" y="112"/>
                    <a:pt x="3683" y="147"/>
                    <a:pt x="3687" y="179"/>
                  </a:cubicBezTo>
                  <a:cubicBezTo>
                    <a:pt x="3694" y="259"/>
                    <a:pt x="3697" y="361"/>
                    <a:pt x="3616" y="427"/>
                  </a:cubicBezTo>
                  <a:cubicBezTo>
                    <a:pt x="3546" y="480"/>
                    <a:pt x="3515" y="550"/>
                    <a:pt x="3518" y="585"/>
                  </a:cubicBezTo>
                  <a:cubicBezTo>
                    <a:pt x="3518" y="595"/>
                    <a:pt x="3522" y="602"/>
                    <a:pt x="3532" y="606"/>
                  </a:cubicBezTo>
                  <a:cubicBezTo>
                    <a:pt x="3634" y="658"/>
                    <a:pt x="3613" y="830"/>
                    <a:pt x="3574" y="1037"/>
                  </a:cubicBezTo>
                  <a:lnTo>
                    <a:pt x="3567" y="1079"/>
                  </a:lnTo>
                  <a:cubicBezTo>
                    <a:pt x="3557" y="1142"/>
                    <a:pt x="3546" y="1208"/>
                    <a:pt x="3543" y="1271"/>
                  </a:cubicBezTo>
                  <a:cubicBezTo>
                    <a:pt x="3543" y="1348"/>
                    <a:pt x="3504" y="1450"/>
                    <a:pt x="3466" y="1548"/>
                  </a:cubicBezTo>
                  <a:cubicBezTo>
                    <a:pt x="3438" y="1611"/>
                    <a:pt x="3417" y="1670"/>
                    <a:pt x="3406" y="1737"/>
                  </a:cubicBezTo>
                  <a:cubicBezTo>
                    <a:pt x="3445" y="1782"/>
                    <a:pt x="3480" y="1831"/>
                    <a:pt x="3508" y="1887"/>
                  </a:cubicBezTo>
                  <a:cubicBezTo>
                    <a:pt x="3571" y="1989"/>
                    <a:pt x="3655" y="2132"/>
                    <a:pt x="3739" y="2153"/>
                  </a:cubicBezTo>
                  <a:cubicBezTo>
                    <a:pt x="3755" y="2158"/>
                    <a:pt x="3770" y="2160"/>
                    <a:pt x="3784" y="2160"/>
                  </a:cubicBezTo>
                  <a:cubicBezTo>
                    <a:pt x="3848" y="2160"/>
                    <a:pt x="3901" y="2121"/>
                    <a:pt x="3953" y="2087"/>
                  </a:cubicBezTo>
                  <a:cubicBezTo>
                    <a:pt x="3988" y="2055"/>
                    <a:pt x="4033" y="2038"/>
                    <a:pt x="4082" y="2031"/>
                  </a:cubicBezTo>
                  <a:cubicBezTo>
                    <a:pt x="4222" y="2031"/>
                    <a:pt x="4222" y="2248"/>
                    <a:pt x="4222" y="2486"/>
                  </a:cubicBezTo>
                  <a:cubicBezTo>
                    <a:pt x="4226" y="2598"/>
                    <a:pt x="4180" y="2706"/>
                    <a:pt x="4096" y="2780"/>
                  </a:cubicBezTo>
                  <a:lnTo>
                    <a:pt x="4089" y="2783"/>
                  </a:lnTo>
                  <a:lnTo>
                    <a:pt x="4082" y="2787"/>
                  </a:lnTo>
                  <a:lnTo>
                    <a:pt x="4072" y="2790"/>
                  </a:lnTo>
                  <a:lnTo>
                    <a:pt x="4065" y="2790"/>
                  </a:lnTo>
                  <a:lnTo>
                    <a:pt x="4054" y="2797"/>
                  </a:lnTo>
                  <a:lnTo>
                    <a:pt x="4044" y="2797"/>
                  </a:lnTo>
                  <a:lnTo>
                    <a:pt x="4030" y="2804"/>
                  </a:lnTo>
                  <a:lnTo>
                    <a:pt x="4019" y="2804"/>
                  </a:lnTo>
                  <a:lnTo>
                    <a:pt x="3995" y="2811"/>
                  </a:lnTo>
                  <a:lnTo>
                    <a:pt x="3984" y="2811"/>
                  </a:lnTo>
                  <a:lnTo>
                    <a:pt x="3960" y="2818"/>
                  </a:lnTo>
                  <a:lnTo>
                    <a:pt x="3946" y="2822"/>
                  </a:lnTo>
                  <a:lnTo>
                    <a:pt x="3921" y="2826"/>
                  </a:lnTo>
                  <a:lnTo>
                    <a:pt x="3907" y="2826"/>
                  </a:lnTo>
                  <a:lnTo>
                    <a:pt x="3883" y="2829"/>
                  </a:lnTo>
                  <a:lnTo>
                    <a:pt x="3788" y="2829"/>
                  </a:lnTo>
                  <a:lnTo>
                    <a:pt x="3764" y="2826"/>
                  </a:lnTo>
                  <a:lnTo>
                    <a:pt x="3753" y="2826"/>
                  </a:lnTo>
                  <a:cubicBezTo>
                    <a:pt x="3743" y="2826"/>
                    <a:pt x="3732" y="2822"/>
                    <a:pt x="3722" y="2818"/>
                  </a:cubicBezTo>
                  <a:cubicBezTo>
                    <a:pt x="3711" y="2815"/>
                    <a:pt x="3701" y="2811"/>
                    <a:pt x="3694" y="2808"/>
                  </a:cubicBezTo>
                  <a:lnTo>
                    <a:pt x="3683" y="2804"/>
                  </a:lnTo>
                  <a:lnTo>
                    <a:pt x="3662" y="2794"/>
                  </a:lnTo>
                  <a:lnTo>
                    <a:pt x="3655" y="2790"/>
                  </a:lnTo>
                  <a:cubicBezTo>
                    <a:pt x="3645" y="2787"/>
                    <a:pt x="3638" y="2780"/>
                    <a:pt x="3631" y="2773"/>
                  </a:cubicBezTo>
                  <a:cubicBezTo>
                    <a:pt x="3490" y="2661"/>
                    <a:pt x="3392" y="2388"/>
                    <a:pt x="3385" y="2269"/>
                  </a:cubicBezTo>
                  <a:cubicBezTo>
                    <a:pt x="3368" y="2255"/>
                    <a:pt x="3298" y="2230"/>
                    <a:pt x="3039" y="2230"/>
                  </a:cubicBezTo>
                  <a:cubicBezTo>
                    <a:pt x="2923" y="2230"/>
                    <a:pt x="2808" y="2111"/>
                    <a:pt x="2689" y="1880"/>
                  </a:cubicBezTo>
                  <a:cubicBezTo>
                    <a:pt x="2657" y="1891"/>
                    <a:pt x="2633" y="1915"/>
                    <a:pt x="2619" y="1947"/>
                  </a:cubicBezTo>
                  <a:cubicBezTo>
                    <a:pt x="2619" y="2087"/>
                    <a:pt x="2451" y="2087"/>
                    <a:pt x="2314" y="2087"/>
                  </a:cubicBezTo>
                  <a:cubicBezTo>
                    <a:pt x="2244" y="2087"/>
                    <a:pt x="2164" y="2045"/>
                    <a:pt x="2076" y="2003"/>
                  </a:cubicBezTo>
                  <a:cubicBezTo>
                    <a:pt x="2025" y="1977"/>
                    <a:pt x="1928" y="1931"/>
                    <a:pt x="1892" y="1931"/>
                  </a:cubicBezTo>
                  <a:cubicBezTo>
                    <a:pt x="1889" y="1931"/>
                    <a:pt x="1886" y="1932"/>
                    <a:pt x="1884" y="1933"/>
                  </a:cubicBezTo>
                  <a:cubicBezTo>
                    <a:pt x="1863" y="1942"/>
                    <a:pt x="1842" y="1947"/>
                    <a:pt x="1822" y="1947"/>
                  </a:cubicBezTo>
                  <a:cubicBezTo>
                    <a:pt x="1790" y="1947"/>
                    <a:pt x="1759" y="1935"/>
                    <a:pt x="1733" y="1912"/>
                  </a:cubicBezTo>
                  <a:cubicBezTo>
                    <a:pt x="1653" y="1838"/>
                    <a:pt x="1611" y="1733"/>
                    <a:pt x="1614" y="1625"/>
                  </a:cubicBezTo>
                  <a:lnTo>
                    <a:pt x="1614" y="1625"/>
                  </a:lnTo>
                  <a:cubicBezTo>
                    <a:pt x="1530" y="1632"/>
                    <a:pt x="1449" y="1656"/>
                    <a:pt x="1372" y="1691"/>
                  </a:cubicBezTo>
                  <a:cubicBezTo>
                    <a:pt x="1353" y="1701"/>
                    <a:pt x="1331" y="1706"/>
                    <a:pt x="1309" y="1706"/>
                  </a:cubicBezTo>
                  <a:cubicBezTo>
                    <a:pt x="1291" y="1706"/>
                    <a:pt x="1273" y="1703"/>
                    <a:pt x="1257" y="1695"/>
                  </a:cubicBezTo>
                  <a:cubicBezTo>
                    <a:pt x="1183" y="1663"/>
                    <a:pt x="1148" y="1572"/>
                    <a:pt x="1138" y="1537"/>
                  </a:cubicBezTo>
                  <a:lnTo>
                    <a:pt x="1131" y="1530"/>
                  </a:lnTo>
                  <a:lnTo>
                    <a:pt x="1131" y="1527"/>
                  </a:lnTo>
                  <a:lnTo>
                    <a:pt x="1127" y="1520"/>
                  </a:lnTo>
                  <a:lnTo>
                    <a:pt x="1124" y="1513"/>
                  </a:lnTo>
                  <a:lnTo>
                    <a:pt x="1117" y="1506"/>
                  </a:lnTo>
                  <a:lnTo>
                    <a:pt x="1113" y="1499"/>
                  </a:lnTo>
                  <a:lnTo>
                    <a:pt x="1110" y="1495"/>
                  </a:lnTo>
                  <a:lnTo>
                    <a:pt x="1005" y="2486"/>
                  </a:lnTo>
                  <a:lnTo>
                    <a:pt x="830" y="2661"/>
                  </a:lnTo>
                  <a:lnTo>
                    <a:pt x="53" y="2636"/>
                  </a:lnTo>
                  <a:lnTo>
                    <a:pt x="0" y="4366"/>
                  </a:lnTo>
                  <a:lnTo>
                    <a:pt x="588" y="5168"/>
                  </a:lnTo>
                  <a:cubicBezTo>
                    <a:pt x="634" y="5157"/>
                    <a:pt x="714" y="5140"/>
                    <a:pt x="809" y="5126"/>
                  </a:cubicBezTo>
                  <a:cubicBezTo>
                    <a:pt x="990" y="5099"/>
                    <a:pt x="1194" y="5075"/>
                    <a:pt x="1349" y="5075"/>
                  </a:cubicBezTo>
                  <a:cubicBezTo>
                    <a:pt x="1437" y="5075"/>
                    <a:pt x="1509" y="5082"/>
                    <a:pt x="1555" y="5101"/>
                  </a:cubicBezTo>
                  <a:lnTo>
                    <a:pt x="1569" y="5105"/>
                  </a:lnTo>
                  <a:lnTo>
                    <a:pt x="1576" y="5108"/>
                  </a:lnTo>
                  <a:lnTo>
                    <a:pt x="1583" y="5112"/>
                  </a:lnTo>
                  <a:lnTo>
                    <a:pt x="1586" y="5115"/>
                  </a:lnTo>
                  <a:cubicBezTo>
                    <a:pt x="1590" y="5115"/>
                    <a:pt x="1593" y="5119"/>
                    <a:pt x="1593" y="5122"/>
                  </a:cubicBezTo>
                  <a:lnTo>
                    <a:pt x="1600" y="5129"/>
                  </a:lnTo>
                  <a:cubicBezTo>
                    <a:pt x="1604" y="5133"/>
                    <a:pt x="1607" y="5136"/>
                    <a:pt x="1607" y="5140"/>
                  </a:cubicBezTo>
                  <a:cubicBezTo>
                    <a:pt x="1611" y="5143"/>
                    <a:pt x="1611" y="5143"/>
                    <a:pt x="1614" y="5147"/>
                  </a:cubicBezTo>
                  <a:cubicBezTo>
                    <a:pt x="1614" y="5150"/>
                    <a:pt x="1618" y="5154"/>
                    <a:pt x="1618" y="5157"/>
                  </a:cubicBezTo>
                  <a:cubicBezTo>
                    <a:pt x="1618" y="5161"/>
                    <a:pt x="1621" y="5164"/>
                    <a:pt x="1621" y="5168"/>
                  </a:cubicBezTo>
                  <a:cubicBezTo>
                    <a:pt x="1621" y="5175"/>
                    <a:pt x="1625" y="5182"/>
                    <a:pt x="1625" y="5189"/>
                  </a:cubicBezTo>
                  <a:lnTo>
                    <a:pt x="1625" y="5192"/>
                  </a:lnTo>
                  <a:lnTo>
                    <a:pt x="1625" y="5203"/>
                  </a:lnTo>
                  <a:cubicBezTo>
                    <a:pt x="1625" y="5206"/>
                    <a:pt x="1625" y="5213"/>
                    <a:pt x="1628" y="5217"/>
                  </a:cubicBezTo>
                  <a:lnTo>
                    <a:pt x="1628" y="5220"/>
                  </a:lnTo>
                  <a:lnTo>
                    <a:pt x="1632" y="5234"/>
                  </a:lnTo>
                  <a:lnTo>
                    <a:pt x="1632" y="5238"/>
                  </a:lnTo>
                  <a:lnTo>
                    <a:pt x="1691" y="5224"/>
                  </a:lnTo>
                  <a:lnTo>
                    <a:pt x="1705" y="5224"/>
                  </a:lnTo>
                  <a:lnTo>
                    <a:pt x="1747" y="5213"/>
                  </a:lnTo>
                  <a:lnTo>
                    <a:pt x="1754" y="5213"/>
                  </a:lnTo>
                  <a:cubicBezTo>
                    <a:pt x="1772" y="5210"/>
                    <a:pt x="1786" y="5210"/>
                    <a:pt x="1800" y="5206"/>
                  </a:cubicBezTo>
                  <a:lnTo>
                    <a:pt x="1880" y="5206"/>
                  </a:lnTo>
                  <a:cubicBezTo>
                    <a:pt x="1947" y="5220"/>
                    <a:pt x="2013" y="5234"/>
                    <a:pt x="2076" y="5255"/>
                  </a:cubicBezTo>
                  <a:cubicBezTo>
                    <a:pt x="2189" y="5284"/>
                    <a:pt x="2382" y="5337"/>
                    <a:pt x="2486" y="5337"/>
                  </a:cubicBezTo>
                  <a:cubicBezTo>
                    <a:pt x="2508" y="5337"/>
                    <a:pt x="2526" y="5334"/>
                    <a:pt x="2538" y="5329"/>
                  </a:cubicBezTo>
                  <a:cubicBezTo>
                    <a:pt x="2577" y="5308"/>
                    <a:pt x="2650" y="5203"/>
                    <a:pt x="2717" y="5108"/>
                  </a:cubicBezTo>
                  <a:cubicBezTo>
                    <a:pt x="2836" y="4940"/>
                    <a:pt x="2972" y="4751"/>
                    <a:pt x="3116" y="4709"/>
                  </a:cubicBezTo>
                  <a:cubicBezTo>
                    <a:pt x="3315" y="4646"/>
                    <a:pt x="3560" y="4439"/>
                    <a:pt x="3571" y="4383"/>
                  </a:cubicBezTo>
                  <a:cubicBezTo>
                    <a:pt x="3571" y="4250"/>
                    <a:pt x="3595" y="4131"/>
                    <a:pt x="3925" y="4044"/>
                  </a:cubicBezTo>
                  <a:lnTo>
                    <a:pt x="3939" y="4044"/>
                  </a:lnTo>
                  <a:lnTo>
                    <a:pt x="4310" y="4033"/>
                  </a:lnTo>
                  <a:lnTo>
                    <a:pt x="4359" y="4033"/>
                  </a:lnTo>
                  <a:lnTo>
                    <a:pt x="4250" y="3652"/>
                  </a:lnTo>
                  <a:lnTo>
                    <a:pt x="4310" y="3631"/>
                  </a:lnTo>
                  <a:lnTo>
                    <a:pt x="4373" y="3606"/>
                  </a:lnTo>
                  <a:cubicBezTo>
                    <a:pt x="5052" y="3354"/>
                    <a:pt x="5416" y="3221"/>
                    <a:pt x="5612" y="3151"/>
                  </a:cubicBezTo>
                  <a:cubicBezTo>
                    <a:pt x="5668" y="3134"/>
                    <a:pt x="5714" y="3116"/>
                    <a:pt x="5752" y="3106"/>
                  </a:cubicBezTo>
                  <a:lnTo>
                    <a:pt x="5738" y="3081"/>
                  </a:lnTo>
                  <a:cubicBezTo>
                    <a:pt x="5692" y="2990"/>
                    <a:pt x="5664" y="2938"/>
                    <a:pt x="5678" y="2892"/>
                  </a:cubicBezTo>
                  <a:cubicBezTo>
                    <a:pt x="5685" y="2875"/>
                    <a:pt x="5696" y="2861"/>
                    <a:pt x="5710" y="2850"/>
                  </a:cubicBezTo>
                  <a:cubicBezTo>
                    <a:pt x="5738" y="2794"/>
                    <a:pt x="5770" y="2507"/>
                    <a:pt x="5770" y="2370"/>
                  </a:cubicBezTo>
                  <a:cubicBezTo>
                    <a:pt x="5770" y="2255"/>
                    <a:pt x="5899" y="2244"/>
                    <a:pt x="5976" y="2234"/>
                  </a:cubicBezTo>
                  <a:lnTo>
                    <a:pt x="5983" y="2234"/>
                  </a:lnTo>
                  <a:cubicBezTo>
                    <a:pt x="5871" y="2031"/>
                    <a:pt x="5920" y="1436"/>
                    <a:pt x="5969" y="1310"/>
                  </a:cubicBezTo>
                  <a:cubicBezTo>
                    <a:pt x="5987" y="1254"/>
                    <a:pt x="6039" y="1212"/>
                    <a:pt x="6099" y="1205"/>
                  </a:cubicBezTo>
                  <a:cubicBezTo>
                    <a:pt x="6107" y="1203"/>
                    <a:pt x="6116" y="1202"/>
                    <a:pt x="6125" y="1202"/>
                  </a:cubicBezTo>
                  <a:cubicBezTo>
                    <a:pt x="6134" y="1202"/>
                    <a:pt x="6142" y="1203"/>
                    <a:pt x="6151" y="1205"/>
                  </a:cubicBezTo>
                  <a:lnTo>
                    <a:pt x="6158" y="1205"/>
                  </a:lnTo>
                  <a:cubicBezTo>
                    <a:pt x="6141" y="1131"/>
                    <a:pt x="6116" y="1058"/>
                    <a:pt x="6085" y="988"/>
                  </a:cubicBezTo>
                  <a:lnTo>
                    <a:pt x="6081" y="981"/>
                  </a:lnTo>
                  <a:lnTo>
                    <a:pt x="6074" y="967"/>
                  </a:lnTo>
                  <a:lnTo>
                    <a:pt x="6064" y="935"/>
                  </a:lnTo>
                  <a:cubicBezTo>
                    <a:pt x="6046" y="897"/>
                    <a:pt x="6029" y="862"/>
                    <a:pt x="6011" y="827"/>
                  </a:cubicBezTo>
                  <a:lnTo>
                    <a:pt x="6008" y="816"/>
                  </a:lnTo>
                  <a:lnTo>
                    <a:pt x="6001" y="809"/>
                  </a:lnTo>
                  <a:cubicBezTo>
                    <a:pt x="5987" y="778"/>
                    <a:pt x="5969" y="750"/>
                    <a:pt x="5955" y="725"/>
                  </a:cubicBezTo>
                  <a:cubicBezTo>
                    <a:pt x="5945" y="707"/>
                    <a:pt x="5934" y="693"/>
                    <a:pt x="5927" y="679"/>
                  </a:cubicBezTo>
                  <a:lnTo>
                    <a:pt x="5924" y="676"/>
                  </a:lnTo>
                  <a:cubicBezTo>
                    <a:pt x="5878" y="620"/>
                    <a:pt x="5479" y="452"/>
                    <a:pt x="5304" y="403"/>
                  </a:cubicBezTo>
                  <a:cubicBezTo>
                    <a:pt x="5290" y="399"/>
                    <a:pt x="5276" y="396"/>
                    <a:pt x="5265" y="392"/>
                  </a:cubicBezTo>
                  <a:cubicBezTo>
                    <a:pt x="5181" y="371"/>
                    <a:pt x="5104" y="336"/>
                    <a:pt x="5031" y="294"/>
                  </a:cubicBezTo>
                  <a:cubicBezTo>
                    <a:pt x="4940" y="252"/>
                    <a:pt x="4835" y="196"/>
                    <a:pt x="4772" y="196"/>
                  </a:cubicBezTo>
                  <a:lnTo>
                    <a:pt x="4709" y="196"/>
                  </a:lnTo>
                  <a:lnTo>
                    <a:pt x="4702" y="193"/>
                  </a:lnTo>
                  <a:lnTo>
                    <a:pt x="4691" y="189"/>
                  </a:lnTo>
                  <a:lnTo>
                    <a:pt x="4681" y="186"/>
                  </a:lnTo>
                  <a:lnTo>
                    <a:pt x="4670" y="179"/>
                  </a:lnTo>
                  <a:lnTo>
                    <a:pt x="4660" y="175"/>
                  </a:lnTo>
                  <a:lnTo>
                    <a:pt x="4649" y="168"/>
                  </a:lnTo>
                  <a:lnTo>
                    <a:pt x="4635" y="165"/>
                  </a:lnTo>
                  <a:lnTo>
                    <a:pt x="4621" y="158"/>
                  </a:lnTo>
                  <a:lnTo>
                    <a:pt x="4611" y="151"/>
                  </a:lnTo>
                  <a:lnTo>
                    <a:pt x="4593" y="140"/>
                  </a:lnTo>
                  <a:lnTo>
                    <a:pt x="4579" y="133"/>
                  </a:lnTo>
                  <a:lnTo>
                    <a:pt x="4565" y="123"/>
                  </a:lnTo>
                  <a:lnTo>
                    <a:pt x="4548" y="112"/>
                  </a:lnTo>
                  <a:lnTo>
                    <a:pt x="4530" y="102"/>
                  </a:lnTo>
                  <a:lnTo>
                    <a:pt x="4513" y="91"/>
                  </a:lnTo>
                  <a:lnTo>
                    <a:pt x="4492" y="77"/>
                  </a:lnTo>
                  <a:lnTo>
                    <a:pt x="4474" y="67"/>
                  </a:lnTo>
                  <a:lnTo>
                    <a:pt x="4453" y="49"/>
                  </a:lnTo>
                  <a:lnTo>
                    <a:pt x="4432" y="35"/>
                  </a:lnTo>
                  <a:lnTo>
                    <a:pt x="4408" y="18"/>
                  </a:lnTo>
                  <a:lnTo>
                    <a:pt x="4383" y="4"/>
                  </a:lnTo>
                  <a:lnTo>
                    <a:pt x="4380"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303" name="Google Shape;3303;p104"/>
            <p:cNvSpPr/>
            <p:nvPr/>
          </p:nvSpPr>
          <p:spPr>
            <a:xfrm>
              <a:off x="2229915" y="2176991"/>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304" name="Google Shape;3304;p104"/>
            <p:cNvSpPr/>
            <p:nvPr/>
          </p:nvSpPr>
          <p:spPr>
            <a:xfrm>
              <a:off x="2229250" y="2175661"/>
              <a:ext cx="109" cy="109"/>
            </a:xfrm>
            <a:custGeom>
              <a:avLst/>
              <a:gdLst/>
              <a:ahLst/>
              <a:cxnLst/>
              <a:rect l="l" t="t" r="r" b="b"/>
              <a:pathLst>
                <a:path w="8" h="8" extrusionOk="0">
                  <a:moveTo>
                    <a:pt x="1" y="0"/>
                  </a:moveTo>
                  <a:lnTo>
                    <a:pt x="8" y="7"/>
                  </a:lnTo>
                  <a:lnTo>
                    <a:pt x="8" y="7"/>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305" name="Google Shape;3305;p104"/>
            <p:cNvSpPr/>
            <p:nvPr/>
          </p:nvSpPr>
          <p:spPr>
            <a:xfrm>
              <a:off x="2230065" y="2177412"/>
              <a:ext cx="14" cy="68"/>
            </a:xfrm>
            <a:custGeom>
              <a:avLst/>
              <a:gdLst/>
              <a:ahLst/>
              <a:cxnLst/>
              <a:rect l="l" t="t" r="r" b="b"/>
              <a:pathLst>
                <a:path w="1" h="5" extrusionOk="0">
                  <a:moveTo>
                    <a:pt x="0" y="1"/>
                  </a:moveTo>
                  <a:lnTo>
                    <a:pt x="0" y="4"/>
                  </a:lnTo>
                  <a:lnTo>
                    <a:pt x="0" y="4"/>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306" name="Google Shape;3306;p104"/>
            <p:cNvSpPr/>
            <p:nvPr/>
          </p:nvSpPr>
          <p:spPr>
            <a:xfrm>
              <a:off x="2229494" y="2175892"/>
              <a:ext cx="95" cy="109"/>
            </a:xfrm>
            <a:custGeom>
              <a:avLst/>
              <a:gdLst/>
              <a:ahLst/>
              <a:cxnLst/>
              <a:rect l="l" t="t" r="r" b="b"/>
              <a:pathLst>
                <a:path w="7" h="8" extrusionOk="0">
                  <a:moveTo>
                    <a:pt x="0" y="1"/>
                  </a:moveTo>
                  <a:lnTo>
                    <a:pt x="7" y="8"/>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307" name="Google Shape;3307;p104"/>
            <p:cNvSpPr/>
            <p:nvPr/>
          </p:nvSpPr>
          <p:spPr>
            <a:xfrm>
              <a:off x="2228965" y="2175566"/>
              <a:ext cx="244" cy="54"/>
            </a:xfrm>
            <a:custGeom>
              <a:avLst/>
              <a:gdLst/>
              <a:ahLst/>
              <a:cxnLst/>
              <a:rect l="l" t="t" r="r" b="b"/>
              <a:pathLst>
                <a:path w="18" h="4" extrusionOk="0">
                  <a:moveTo>
                    <a:pt x="18" y="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308" name="Google Shape;3308;p104"/>
            <p:cNvSpPr/>
            <p:nvPr/>
          </p:nvSpPr>
          <p:spPr>
            <a:xfrm>
              <a:off x="2230010" y="2177181"/>
              <a:ext cx="14" cy="54"/>
            </a:xfrm>
            <a:custGeom>
              <a:avLst/>
              <a:gdLst/>
              <a:ahLst/>
              <a:cxnLst/>
              <a:rect l="l" t="t" r="r" b="b"/>
              <a:pathLst>
                <a:path w="1" h="4" extrusionOk="0">
                  <a:moveTo>
                    <a:pt x="1" y="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309" name="Google Shape;3309;p104"/>
            <p:cNvSpPr/>
            <p:nvPr/>
          </p:nvSpPr>
          <p:spPr>
            <a:xfrm>
              <a:off x="2229915" y="2176896"/>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310" name="Google Shape;3310;p104"/>
            <p:cNvSpPr/>
            <p:nvPr/>
          </p:nvSpPr>
          <p:spPr>
            <a:xfrm>
              <a:off x="2229793" y="2176353"/>
              <a:ext cx="95" cy="177"/>
            </a:xfrm>
            <a:custGeom>
              <a:avLst/>
              <a:gdLst/>
              <a:ahLst/>
              <a:cxnLst/>
              <a:rect l="l" t="t" r="r" b="b"/>
              <a:pathLst>
                <a:path w="7" h="13" extrusionOk="0">
                  <a:moveTo>
                    <a:pt x="2" y="1"/>
                  </a:moveTo>
                  <a:cubicBezTo>
                    <a:pt x="1" y="1"/>
                    <a:pt x="6" y="9"/>
                    <a:pt x="6" y="12"/>
                  </a:cubicBezTo>
                  <a:cubicBezTo>
                    <a:pt x="6" y="9"/>
                    <a:pt x="6" y="5"/>
                    <a:pt x="3" y="2"/>
                  </a:cubicBezTo>
                  <a:cubicBezTo>
                    <a:pt x="2" y="1"/>
                    <a:pt x="2" y="1"/>
                    <a:pt x="2" y="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311" name="Google Shape;3311;p104"/>
            <p:cNvSpPr/>
            <p:nvPr/>
          </p:nvSpPr>
          <p:spPr>
            <a:xfrm>
              <a:off x="2229684" y="2176082"/>
              <a:ext cx="109" cy="163"/>
            </a:xfrm>
            <a:custGeom>
              <a:avLst/>
              <a:gdLst/>
              <a:ahLst/>
              <a:cxnLst/>
              <a:rect l="l" t="t" r="r" b="b"/>
              <a:pathLst>
                <a:path w="8" h="12" extrusionOk="0">
                  <a:moveTo>
                    <a:pt x="7" y="11"/>
                  </a:moveTo>
                  <a:cubicBezTo>
                    <a:pt x="4" y="8"/>
                    <a:pt x="4" y="4"/>
                    <a:pt x="0" y="1"/>
                  </a:cubicBezTo>
                  <a:cubicBezTo>
                    <a:pt x="4" y="4"/>
                    <a:pt x="4" y="8"/>
                    <a:pt x="7" y="1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312" name="Google Shape;3312;p104"/>
            <p:cNvSpPr/>
            <p:nvPr/>
          </p:nvSpPr>
          <p:spPr>
            <a:xfrm>
              <a:off x="2218836" y="2175172"/>
              <a:ext cx="10142" cy="733"/>
            </a:xfrm>
            <a:custGeom>
              <a:avLst/>
              <a:gdLst/>
              <a:ahLst/>
              <a:cxnLst/>
              <a:rect l="l" t="t" r="r" b="b"/>
              <a:pathLst>
                <a:path w="747" h="54" extrusionOk="0">
                  <a:moveTo>
                    <a:pt x="536" y="0"/>
                  </a:moveTo>
                  <a:cubicBezTo>
                    <a:pt x="381" y="0"/>
                    <a:pt x="180" y="25"/>
                    <a:pt x="1" y="54"/>
                  </a:cubicBezTo>
                  <a:cubicBezTo>
                    <a:pt x="165" y="28"/>
                    <a:pt x="375" y="2"/>
                    <a:pt x="539" y="2"/>
                  </a:cubicBezTo>
                  <a:cubicBezTo>
                    <a:pt x="626" y="2"/>
                    <a:pt x="700" y="10"/>
                    <a:pt x="747" y="29"/>
                  </a:cubicBezTo>
                  <a:cubicBezTo>
                    <a:pt x="700" y="8"/>
                    <a:pt x="626" y="0"/>
                    <a:pt x="536"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313" name="Google Shape;3313;p104"/>
            <p:cNvSpPr/>
            <p:nvPr/>
          </p:nvSpPr>
          <p:spPr>
            <a:xfrm>
              <a:off x="2261483" y="2161065"/>
              <a:ext cx="5051" cy="149"/>
            </a:xfrm>
            <a:custGeom>
              <a:avLst/>
              <a:gdLst/>
              <a:ahLst/>
              <a:cxnLst/>
              <a:rect l="l" t="t" r="r" b="b"/>
              <a:pathLst>
                <a:path w="372" h="11" extrusionOk="0">
                  <a:moveTo>
                    <a:pt x="0" y="11"/>
                  </a:moveTo>
                  <a:lnTo>
                    <a:pt x="371" y="0"/>
                  </a:lnTo>
                  <a:lnTo>
                    <a:pt x="371"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314" name="Google Shape;3314;p104"/>
            <p:cNvSpPr/>
            <p:nvPr/>
          </p:nvSpPr>
          <p:spPr>
            <a:xfrm>
              <a:off x="2231816" y="2177032"/>
              <a:ext cx="584" cy="109"/>
            </a:xfrm>
            <a:custGeom>
              <a:avLst/>
              <a:gdLst/>
              <a:ahLst/>
              <a:cxnLst/>
              <a:rect l="l" t="t" r="r" b="b"/>
              <a:pathLst>
                <a:path w="43" h="8" extrusionOk="0">
                  <a:moveTo>
                    <a:pt x="1" y="8"/>
                  </a:moveTo>
                  <a:cubicBezTo>
                    <a:pt x="15" y="4"/>
                    <a:pt x="32" y="4"/>
                    <a:pt x="43" y="1"/>
                  </a:cubicBezTo>
                  <a:cubicBezTo>
                    <a:pt x="32" y="4"/>
                    <a:pt x="15" y="4"/>
                    <a:pt x="1" y="8"/>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315" name="Google Shape;3315;p104"/>
            <p:cNvSpPr/>
            <p:nvPr/>
          </p:nvSpPr>
          <p:spPr>
            <a:xfrm>
              <a:off x="2231056" y="2177127"/>
              <a:ext cx="638" cy="109"/>
            </a:xfrm>
            <a:custGeom>
              <a:avLst/>
              <a:gdLst/>
              <a:ahLst/>
              <a:cxnLst/>
              <a:rect l="l" t="t" r="r" b="b"/>
              <a:pathLst>
                <a:path w="47" h="8" extrusionOk="0">
                  <a:moveTo>
                    <a:pt x="1" y="8"/>
                  </a:moveTo>
                  <a:lnTo>
                    <a:pt x="46"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316" name="Google Shape;3316;p104"/>
            <p:cNvSpPr/>
            <p:nvPr/>
          </p:nvSpPr>
          <p:spPr>
            <a:xfrm>
              <a:off x="2230105" y="2177277"/>
              <a:ext cx="774" cy="204"/>
            </a:xfrm>
            <a:custGeom>
              <a:avLst/>
              <a:gdLst/>
              <a:ahLst/>
              <a:cxnLst/>
              <a:rect l="l" t="t" r="r" b="b"/>
              <a:pathLst>
                <a:path w="57" h="15" extrusionOk="0">
                  <a:moveTo>
                    <a:pt x="57" y="0"/>
                  </a:moveTo>
                  <a:lnTo>
                    <a:pt x="1" y="14"/>
                  </a:lnTo>
                  <a:lnTo>
                    <a:pt x="1" y="14"/>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317" name="Google Shape;3317;p104"/>
            <p:cNvSpPr/>
            <p:nvPr/>
          </p:nvSpPr>
          <p:spPr>
            <a:xfrm>
              <a:off x="2232536" y="2177032"/>
              <a:ext cx="489" cy="14"/>
            </a:xfrm>
            <a:custGeom>
              <a:avLst/>
              <a:gdLst/>
              <a:ahLst/>
              <a:cxnLst/>
              <a:rect l="l" t="t" r="r" b="b"/>
              <a:pathLst>
                <a:path w="36" h="1" extrusionOk="0">
                  <a:moveTo>
                    <a:pt x="0" y="1"/>
                  </a:moveTo>
                  <a:lnTo>
                    <a:pt x="35"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318" name="Google Shape;3318;p104"/>
            <p:cNvSpPr/>
            <p:nvPr/>
          </p:nvSpPr>
          <p:spPr>
            <a:xfrm>
              <a:off x="2233106" y="2176991"/>
              <a:ext cx="434" cy="14"/>
            </a:xfrm>
            <a:custGeom>
              <a:avLst/>
              <a:gdLst/>
              <a:ahLst/>
              <a:cxnLst/>
              <a:rect l="l" t="t" r="r" b="b"/>
              <a:pathLst>
                <a:path w="32" h="1" extrusionOk="0">
                  <a:moveTo>
                    <a:pt x="0" y="0"/>
                  </a:moveTo>
                  <a:cubicBezTo>
                    <a:pt x="11" y="0"/>
                    <a:pt x="21" y="0"/>
                    <a:pt x="32" y="0"/>
                  </a:cubicBezTo>
                  <a:cubicBezTo>
                    <a:pt x="21" y="0"/>
                    <a:pt x="11" y="0"/>
                    <a:pt x="0"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319" name="Google Shape;3319;p104"/>
            <p:cNvSpPr/>
            <p:nvPr/>
          </p:nvSpPr>
          <p:spPr>
            <a:xfrm>
              <a:off x="2258672" y="2052499"/>
              <a:ext cx="12464" cy="10170"/>
            </a:xfrm>
            <a:custGeom>
              <a:avLst/>
              <a:gdLst/>
              <a:ahLst/>
              <a:cxnLst/>
              <a:rect l="l" t="t" r="r" b="b"/>
              <a:pathLst>
                <a:path w="918" h="749" extrusionOk="0">
                  <a:moveTo>
                    <a:pt x="757" y="0"/>
                  </a:moveTo>
                  <a:lnTo>
                    <a:pt x="760" y="14"/>
                  </a:lnTo>
                  <a:lnTo>
                    <a:pt x="718" y="28"/>
                  </a:lnTo>
                  <a:lnTo>
                    <a:pt x="715" y="28"/>
                  </a:lnTo>
                  <a:cubicBezTo>
                    <a:pt x="634" y="53"/>
                    <a:pt x="589" y="70"/>
                    <a:pt x="561" y="81"/>
                  </a:cubicBezTo>
                  <a:lnTo>
                    <a:pt x="550" y="81"/>
                  </a:lnTo>
                  <a:lnTo>
                    <a:pt x="533" y="88"/>
                  </a:lnTo>
                  <a:lnTo>
                    <a:pt x="526" y="95"/>
                  </a:lnTo>
                  <a:lnTo>
                    <a:pt x="501" y="105"/>
                  </a:lnTo>
                  <a:lnTo>
                    <a:pt x="491" y="109"/>
                  </a:lnTo>
                  <a:lnTo>
                    <a:pt x="473" y="119"/>
                  </a:lnTo>
                  <a:lnTo>
                    <a:pt x="466" y="123"/>
                  </a:lnTo>
                  <a:lnTo>
                    <a:pt x="449" y="130"/>
                  </a:lnTo>
                  <a:lnTo>
                    <a:pt x="438" y="130"/>
                  </a:lnTo>
                  <a:lnTo>
                    <a:pt x="421" y="137"/>
                  </a:lnTo>
                  <a:lnTo>
                    <a:pt x="410" y="140"/>
                  </a:lnTo>
                  <a:lnTo>
                    <a:pt x="386" y="144"/>
                  </a:lnTo>
                  <a:lnTo>
                    <a:pt x="382" y="144"/>
                  </a:lnTo>
                  <a:cubicBezTo>
                    <a:pt x="372" y="144"/>
                    <a:pt x="361" y="147"/>
                    <a:pt x="347" y="147"/>
                  </a:cubicBezTo>
                  <a:lnTo>
                    <a:pt x="256" y="147"/>
                  </a:lnTo>
                  <a:cubicBezTo>
                    <a:pt x="249" y="151"/>
                    <a:pt x="242" y="158"/>
                    <a:pt x="235" y="165"/>
                  </a:cubicBezTo>
                  <a:lnTo>
                    <a:pt x="232" y="168"/>
                  </a:lnTo>
                  <a:lnTo>
                    <a:pt x="214" y="179"/>
                  </a:lnTo>
                  <a:lnTo>
                    <a:pt x="207" y="182"/>
                  </a:lnTo>
                  <a:cubicBezTo>
                    <a:pt x="200" y="186"/>
                    <a:pt x="193" y="189"/>
                    <a:pt x="186" y="193"/>
                  </a:cubicBezTo>
                  <a:cubicBezTo>
                    <a:pt x="130" y="210"/>
                    <a:pt x="113" y="371"/>
                    <a:pt x="120" y="476"/>
                  </a:cubicBezTo>
                  <a:lnTo>
                    <a:pt x="127" y="539"/>
                  </a:lnTo>
                  <a:lnTo>
                    <a:pt x="60" y="546"/>
                  </a:lnTo>
                  <a:cubicBezTo>
                    <a:pt x="43" y="550"/>
                    <a:pt x="1" y="564"/>
                    <a:pt x="1" y="638"/>
                  </a:cubicBezTo>
                  <a:lnTo>
                    <a:pt x="1" y="648"/>
                  </a:lnTo>
                  <a:lnTo>
                    <a:pt x="1" y="652"/>
                  </a:lnTo>
                  <a:lnTo>
                    <a:pt x="1" y="659"/>
                  </a:lnTo>
                  <a:lnTo>
                    <a:pt x="1" y="662"/>
                  </a:lnTo>
                  <a:lnTo>
                    <a:pt x="1" y="669"/>
                  </a:lnTo>
                  <a:lnTo>
                    <a:pt x="1" y="676"/>
                  </a:lnTo>
                  <a:cubicBezTo>
                    <a:pt x="1" y="676"/>
                    <a:pt x="1" y="680"/>
                    <a:pt x="1" y="683"/>
                  </a:cubicBezTo>
                  <a:lnTo>
                    <a:pt x="4" y="687"/>
                  </a:lnTo>
                  <a:cubicBezTo>
                    <a:pt x="4" y="690"/>
                    <a:pt x="8" y="694"/>
                    <a:pt x="8" y="697"/>
                  </a:cubicBezTo>
                  <a:lnTo>
                    <a:pt x="15" y="701"/>
                  </a:lnTo>
                  <a:lnTo>
                    <a:pt x="22" y="711"/>
                  </a:lnTo>
                  <a:lnTo>
                    <a:pt x="29" y="715"/>
                  </a:lnTo>
                  <a:lnTo>
                    <a:pt x="36" y="722"/>
                  </a:lnTo>
                  <a:lnTo>
                    <a:pt x="46" y="729"/>
                  </a:lnTo>
                  <a:lnTo>
                    <a:pt x="53" y="732"/>
                  </a:lnTo>
                  <a:lnTo>
                    <a:pt x="148" y="732"/>
                  </a:lnTo>
                  <a:lnTo>
                    <a:pt x="172" y="736"/>
                  </a:lnTo>
                  <a:lnTo>
                    <a:pt x="190" y="736"/>
                  </a:lnTo>
                  <a:lnTo>
                    <a:pt x="228" y="739"/>
                  </a:lnTo>
                  <a:cubicBezTo>
                    <a:pt x="259" y="745"/>
                    <a:pt x="287" y="749"/>
                    <a:pt x="311" y="749"/>
                  </a:cubicBezTo>
                  <a:cubicBezTo>
                    <a:pt x="354" y="749"/>
                    <a:pt x="385" y="739"/>
                    <a:pt x="403" y="722"/>
                  </a:cubicBezTo>
                  <a:cubicBezTo>
                    <a:pt x="424" y="701"/>
                    <a:pt x="435" y="673"/>
                    <a:pt x="431" y="645"/>
                  </a:cubicBezTo>
                  <a:lnTo>
                    <a:pt x="424" y="568"/>
                  </a:lnTo>
                  <a:lnTo>
                    <a:pt x="498" y="571"/>
                  </a:lnTo>
                  <a:lnTo>
                    <a:pt x="501" y="571"/>
                  </a:lnTo>
                  <a:cubicBezTo>
                    <a:pt x="531" y="572"/>
                    <a:pt x="560" y="573"/>
                    <a:pt x="590" y="573"/>
                  </a:cubicBezTo>
                  <a:cubicBezTo>
                    <a:pt x="641" y="573"/>
                    <a:pt x="693" y="571"/>
                    <a:pt x="746" y="564"/>
                  </a:cubicBezTo>
                  <a:cubicBezTo>
                    <a:pt x="890" y="546"/>
                    <a:pt x="907" y="511"/>
                    <a:pt x="907" y="511"/>
                  </a:cubicBezTo>
                  <a:cubicBezTo>
                    <a:pt x="918" y="445"/>
                    <a:pt x="890" y="347"/>
                    <a:pt x="862" y="273"/>
                  </a:cubicBezTo>
                  <a:cubicBezTo>
                    <a:pt x="848" y="238"/>
                    <a:pt x="837" y="207"/>
                    <a:pt x="827" y="189"/>
                  </a:cubicBezTo>
                  <a:lnTo>
                    <a:pt x="823" y="186"/>
                  </a:lnTo>
                  <a:lnTo>
                    <a:pt x="757"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320" name="Google Shape;3320;p104"/>
            <p:cNvSpPr/>
            <p:nvPr/>
          </p:nvSpPr>
          <p:spPr>
            <a:xfrm>
              <a:off x="2348080" y="1953764"/>
              <a:ext cx="75016" cy="100080"/>
            </a:xfrm>
            <a:custGeom>
              <a:avLst/>
              <a:gdLst/>
              <a:ahLst/>
              <a:cxnLst/>
              <a:rect l="l" t="t" r="r" b="b"/>
              <a:pathLst>
                <a:path w="5525" h="7371" extrusionOk="0">
                  <a:moveTo>
                    <a:pt x="5401" y="0"/>
                  </a:moveTo>
                  <a:cubicBezTo>
                    <a:pt x="5350" y="0"/>
                    <a:pt x="5302" y="31"/>
                    <a:pt x="5283" y="82"/>
                  </a:cubicBezTo>
                  <a:cubicBezTo>
                    <a:pt x="5171" y="327"/>
                    <a:pt x="4391" y="442"/>
                    <a:pt x="3999" y="449"/>
                  </a:cubicBezTo>
                  <a:cubicBezTo>
                    <a:pt x="3589" y="456"/>
                    <a:pt x="3319" y="491"/>
                    <a:pt x="3165" y="635"/>
                  </a:cubicBezTo>
                  <a:cubicBezTo>
                    <a:pt x="3096" y="702"/>
                    <a:pt x="2999" y="718"/>
                    <a:pt x="2895" y="718"/>
                  </a:cubicBezTo>
                  <a:cubicBezTo>
                    <a:pt x="2851" y="718"/>
                    <a:pt x="2807" y="715"/>
                    <a:pt x="2763" y="712"/>
                  </a:cubicBezTo>
                  <a:cubicBezTo>
                    <a:pt x="2723" y="710"/>
                    <a:pt x="2683" y="707"/>
                    <a:pt x="2644" y="707"/>
                  </a:cubicBezTo>
                  <a:cubicBezTo>
                    <a:pt x="2564" y="707"/>
                    <a:pt x="2494" y="717"/>
                    <a:pt x="2458" y="757"/>
                  </a:cubicBezTo>
                  <a:cubicBezTo>
                    <a:pt x="2369" y="862"/>
                    <a:pt x="2156" y="955"/>
                    <a:pt x="1935" y="955"/>
                  </a:cubicBezTo>
                  <a:cubicBezTo>
                    <a:pt x="1904" y="955"/>
                    <a:pt x="1873" y="954"/>
                    <a:pt x="1842" y="950"/>
                  </a:cubicBezTo>
                  <a:cubicBezTo>
                    <a:pt x="1671" y="932"/>
                    <a:pt x="1516" y="827"/>
                    <a:pt x="1443" y="670"/>
                  </a:cubicBezTo>
                  <a:cubicBezTo>
                    <a:pt x="1397" y="568"/>
                    <a:pt x="1324" y="481"/>
                    <a:pt x="1233" y="414"/>
                  </a:cubicBezTo>
                  <a:lnTo>
                    <a:pt x="1219" y="432"/>
                  </a:lnTo>
                  <a:lnTo>
                    <a:pt x="1205" y="446"/>
                  </a:lnTo>
                  <a:cubicBezTo>
                    <a:pt x="1149" y="505"/>
                    <a:pt x="1096" y="572"/>
                    <a:pt x="1051" y="638"/>
                  </a:cubicBezTo>
                  <a:lnTo>
                    <a:pt x="1054" y="645"/>
                  </a:lnTo>
                  <a:cubicBezTo>
                    <a:pt x="988" y="740"/>
                    <a:pt x="981" y="778"/>
                    <a:pt x="977" y="785"/>
                  </a:cubicBezTo>
                  <a:cubicBezTo>
                    <a:pt x="1051" y="939"/>
                    <a:pt x="1142" y="1083"/>
                    <a:pt x="1247" y="1212"/>
                  </a:cubicBezTo>
                  <a:lnTo>
                    <a:pt x="1257" y="1223"/>
                  </a:lnTo>
                  <a:cubicBezTo>
                    <a:pt x="1264" y="1233"/>
                    <a:pt x="1275" y="1240"/>
                    <a:pt x="1285" y="1247"/>
                  </a:cubicBezTo>
                  <a:cubicBezTo>
                    <a:pt x="1334" y="1275"/>
                    <a:pt x="1376" y="1310"/>
                    <a:pt x="1411" y="1356"/>
                  </a:cubicBezTo>
                  <a:lnTo>
                    <a:pt x="1460" y="1408"/>
                  </a:lnTo>
                  <a:cubicBezTo>
                    <a:pt x="1513" y="1468"/>
                    <a:pt x="1593" y="1559"/>
                    <a:pt x="1636" y="1569"/>
                  </a:cubicBezTo>
                  <a:cubicBezTo>
                    <a:pt x="1751" y="1594"/>
                    <a:pt x="2367" y="1804"/>
                    <a:pt x="2749" y="1958"/>
                  </a:cubicBezTo>
                  <a:cubicBezTo>
                    <a:pt x="3155" y="2126"/>
                    <a:pt x="3396" y="2126"/>
                    <a:pt x="3473" y="2126"/>
                  </a:cubicBezTo>
                  <a:cubicBezTo>
                    <a:pt x="3554" y="2126"/>
                    <a:pt x="3729" y="2137"/>
                    <a:pt x="3764" y="2231"/>
                  </a:cubicBezTo>
                  <a:cubicBezTo>
                    <a:pt x="3771" y="2259"/>
                    <a:pt x="3778" y="2312"/>
                    <a:pt x="3708" y="2364"/>
                  </a:cubicBezTo>
                  <a:cubicBezTo>
                    <a:pt x="3610" y="2441"/>
                    <a:pt x="2444" y="3617"/>
                    <a:pt x="2262" y="3814"/>
                  </a:cubicBezTo>
                  <a:cubicBezTo>
                    <a:pt x="2152" y="3932"/>
                    <a:pt x="2061" y="3953"/>
                    <a:pt x="1931" y="3953"/>
                  </a:cubicBezTo>
                  <a:cubicBezTo>
                    <a:pt x="1896" y="3953"/>
                    <a:pt x="1859" y="3952"/>
                    <a:pt x="1818" y="3950"/>
                  </a:cubicBezTo>
                  <a:cubicBezTo>
                    <a:pt x="1758" y="3947"/>
                    <a:pt x="1692" y="3943"/>
                    <a:pt x="1608" y="3943"/>
                  </a:cubicBezTo>
                  <a:cubicBezTo>
                    <a:pt x="1404" y="3943"/>
                    <a:pt x="1229" y="4090"/>
                    <a:pt x="1100" y="4199"/>
                  </a:cubicBezTo>
                  <a:cubicBezTo>
                    <a:pt x="1015" y="4271"/>
                    <a:pt x="954" y="4318"/>
                    <a:pt x="895" y="4318"/>
                  </a:cubicBezTo>
                  <a:cubicBezTo>
                    <a:pt x="891" y="4318"/>
                    <a:pt x="887" y="4318"/>
                    <a:pt x="883" y="4318"/>
                  </a:cubicBezTo>
                  <a:cubicBezTo>
                    <a:pt x="767" y="4325"/>
                    <a:pt x="655" y="4342"/>
                    <a:pt x="543" y="4370"/>
                  </a:cubicBezTo>
                  <a:lnTo>
                    <a:pt x="536" y="4370"/>
                  </a:lnTo>
                  <a:lnTo>
                    <a:pt x="512" y="4374"/>
                  </a:lnTo>
                  <a:lnTo>
                    <a:pt x="494" y="4377"/>
                  </a:lnTo>
                  <a:lnTo>
                    <a:pt x="487" y="4377"/>
                  </a:lnTo>
                  <a:lnTo>
                    <a:pt x="239" y="4738"/>
                  </a:lnTo>
                  <a:lnTo>
                    <a:pt x="1" y="5112"/>
                  </a:lnTo>
                  <a:lnTo>
                    <a:pt x="29" y="7034"/>
                  </a:lnTo>
                  <a:lnTo>
                    <a:pt x="239" y="7370"/>
                  </a:lnTo>
                  <a:cubicBezTo>
                    <a:pt x="400" y="7174"/>
                    <a:pt x="669" y="6901"/>
                    <a:pt x="953" y="6611"/>
                  </a:cubicBezTo>
                  <a:cubicBezTo>
                    <a:pt x="1107" y="6457"/>
                    <a:pt x="1261" y="6299"/>
                    <a:pt x="1401" y="6152"/>
                  </a:cubicBezTo>
                  <a:cubicBezTo>
                    <a:pt x="1863" y="5669"/>
                    <a:pt x="2105" y="5546"/>
                    <a:pt x="2360" y="5417"/>
                  </a:cubicBezTo>
                  <a:lnTo>
                    <a:pt x="2374" y="5413"/>
                  </a:lnTo>
                  <a:cubicBezTo>
                    <a:pt x="2626" y="5284"/>
                    <a:pt x="3277" y="4643"/>
                    <a:pt x="3708" y="4097"/>
                  </a:cubicBezTo>
                  <a:cubicBezTo>
                    <a:pt x="3967" y="3768"/>
                    <a:pt x="4289" y="3358"/>
                    <a:pt x="4328" y="3117"/>
                  </a:cubicBezTo>
                  <a:cubicBezTo>
                    <a:pt x="4370" y="2833"/>
                    <a:pt x="4650" y="2473"/>
                    <a:pt x="4832" y="2235"/>
                  </a:cubicBezTo>
                  <a:cubicBezTo>
                    <a:pt x="5028" y="1986"/>
                    <a:pt x="5336" y="1363"/>
                    <a:pt x="5329" y="1195"/>
                  </a:cubicBezTo>
                  <a:cubicBezTo>
                    <a:pt x="5325" y="1093"/>
                    <a:pt x="5364" y="943"/>
                    <a:pt x="5406" y="771"/>
                  </a:cubicBezTo>
                  <a:cubicBezTo>
                    <a:pt x="5458" y="596"/>
                    <a:pt x="5493" y="418"/>
                    <a:pt x="5514" y="236"/>
                  </a:cubicBezTo>
                  <a:cubicBezTo>
                    <a:pt x="5525" y="85"/>
                    <a:pt x="5469" y="15"/>
                    <a:pt x="5416" y="1"/>
                  </a:cubicBezTo>
                  <a:cubicBezTo>
                    <a:pt x="5411" y="0"/>
                    <a:pt x="5406" y="0"/>
                    <a:pt x="5401"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321" name="Google Shape;3321;p104"/>
            <p:cNvSpPr/>
            <p:nvPr/>
          </p:nvSpPr>
          <p:spPr>
            <a:xfrm>
              <a:off x="1953274" y="1764276"/>
              <a:ext cx="85620" cy="66543"/>
            </a:xfrm>
            <a:custGeom>
              <a:avLst/>
              <a:gdLst/>
              <a:ahLst/>
              <a:cxnLst/>
              <a:rect l="l" t="t" r="r" b="b"/>
              <a:pathLst>
                <a:path w="6306" h="4901" extrusionOk="0">
                  <a:moveTo>
                    <a:pt x="3903" y="0"/>
                  </a:moveTo>
                  <a:cubicBezTo>
                    <a:pt x="3873" y="0"/>
                    <a:pt x="3846" y="8"/>
                    <a:pt x="3820" y="20"/>
                  </a:cubicBezTo>
                  <a:cubicBezTo>
                    <a:pt x="3750" y="55"/>
                    <a:pt x="3596" y="398"/>
                    <a:pt x="3491" y="626"/>
                  </a:cubicBezTo>
                  <a:cubicBezTo>
                    <a:pt x="3400" y="825"/>
                    <a:pt x="3316" y="1014"/>
                    <a:pt x="3246" y="1116"/>
                  </a:cubicBezTo>
                  <a:cubicBezTo>
                    <a:pt x="3071" y="1372"/>
                    <a:pt x="2595" y="1540"/>
                    <a:pt x="2360" y="1540"/>
                  </a:cubicBezTo>
                  <a:cubicBezTo>
                    <a:pt x="2273" y="1540"/>
                    <a:pt x="2227" y="1620"/>
                    <a:pt x="2161" y="1750"/>
                  </a:cubicBezTo>
                  <a:cubicBezTo>
                    <a:pt x="2122" y="1841"/>
                    <a:pt x="2063" y="1925"/>
                    <a:pt x="1986" y="1995"/>
                  </a:cubicBezTo>
                  <a:cubicBezTo>
                    <a:pt x="1923" y="2047"/>
                    <a:pt x="1898" y="2121"/>
                    <a:pt x="1870" y="2201"/>
                  </a:cubicBezTo>
                  <a:cubicBezTo>
                    <a:pt x="1839" y="2303"/>
                    <a:pt x="1800" y="2415"/>
                    <a:pt x="1678" y="2513"/>
                  </a:cubicBezTo>
                  <a:cubicBezTo>
                    <a:pt x="1520" y="2639"/>
                    <a:pt x="1590" y="3087"/>
                    <a:pt x="1695" y="3262"/>
                  </a:cubicBezTo>
                  <a:cubicBezTo>
                    <a:pt x="1723" y="3315"/>
                    <a:pt x="1727" y="3378"/>
                    <a:pt x="1709" y="3437"/>
                  </a:cubicBezTo>
                  <a:cubicBezTo>
                    <a:pt x="1643" y="3686"/>
                    <a:pt x="1271" y="4106"/>
                    <a:pt x="1026" y="4249"/>
                  </a:cubicBezTo>
                  <a:cubicBezTo>
                    <a:pt x="935" y="4305"/>
                    <a:pt x="858" y="4375"/>
                    <a:pt x="788" y="4456"/>
                  </a:cubicBezTo>
                  <a:cubicBezTo>
                    <a:pt x="655" y="4592"/>
                    <a:pt x="501" y="4750"/>
                    <a:pt x="200" y="4799"/>
                  </a:cubicBezTo>
                  <a:cubicBezTo>
                    <a:pt x="134" y="4813"/>
                    <a:pt x="64" y="4834"/>
                    <a:pt x="1" y="4862"/>
                  </a:cubicBezTo>
                  <a:lnTo>
                    <a:pt x="1937" y="4862"/>
                  </a:lnTo>
                  <a:lnTo>
                    <a:pt x="1972" y="4865"/>
                  </a:lnTo>
                  <a:lnTo>
                    <a:pt x="1986" y="4865"/>
                  </a:lnTo>
                  <a:lnTo>
                    <a:pt x="2017" y="4869"/>
                  </a:lnTo>
                  <a:lnTo>
                    <a:pt x="2024" y="4869"/>
                  </a:lnTo>
                  <a:lnTo>
                    <a:pt x="2056" y="4876"/>
                  </a:lnTo>
                  <a:lnTo>
                    <a:pt x="2063" y="4876"/>
                  </a:lnTo>
                  <a:lnTo>
                    <a:pt x="2087" y="4879"/>
                  </a:lnTo>
                  <a:lnTo>
                    <a:pt x="2098" y="4879"/>
                  </a:lnTo>
                  <a:lnTo>
                    <a:pt x="2115" y="4886"/>
                  </a:lnTo>
                  <a:lnTo>
                    <a:pt x="2126" y="4890"/>
                  </a:lnTo>
                  <a:lnTo>
                    <a:pt x="2143" y="4897"/>
                  </a:lnTo>
                  <a:lnTo>
                    <a:pt x="2150" y="4900"/>
                  </a:lnTo>
                  <a:cubicBezTo>
                    <a:pt x="2147" y="4823"/>
                    <a:pt x="2147" y="4753"/>
                    <a:pt x="2143" y="4694"/>
                  </a:cubicBezTo>
                  <a:cubicBezTo>
                    <a:pt x="2140" y="4473"/>
                    <a:pt x="2140" y="4403"/>
                    <a:pt x="2143" y="4379"/>
                  </a:cubicBezTo>
                  <a:cubicBezTo>
                    <a:pt x="2168" y="4281"/>
                    <a:pt x="2721" y="3955"/>
                    <a:pt x="3050" y="3766"/>
                  </a:cubicBezTo>
                  <a:cubicBezTo>
                    <a:pt x="3104" y="3742"/>
                    <a:pt x="3163" y="3728"/>
                    <a:pt x="3221" y="3728"/>
                  </a:cubicBezTo>
                  <a:cubicBezTo>
                    <a:pt x="3238" y="3728"/>
                    <a:pt x="3254" y="3729"/>
                    <a:pt x="3270" y="3731"/>
                  </a:cubicBezTo>
                  <a:cubicBezTo>
                    <a:pt x="3305" y="3731"/>
                    <a:pt x="3340" y="3731"/>
                    <a:pt x="3372" y="3724"/>
                  </a:cubicBezTo>
                  <a:lnTo>
                    <a:pt x="3372" y="3717"/>
                  </a:lnTo>
                  <a:cubicBezTo>
                    <a:pt x="3372" y="3556"/>
                    <a:pt x="3561" y="3556"/>
                    <a:pt x="3715" y="3556"/>
                  </a:cubicBezTo>
                  <a:cubicBezTo>
                    <a:pt x="3778" y="3556"/>
                    <a:pt x="3845" y="3553"/>
                    <a:pt x="3908" y="3542"/>
                  </a:cubicBezTo>
                  <a:cubicBezTo>
                    <a:pt x="4051" y="3514"/>
                    <a:pt x="4139" y="3420"/>
                    <a:pt x="4139" y="3287"/>
                  </a:cubicBezTo>
                  <a:cubicBezTo>
                    <a:pt x="4139" y="3097"/>
                    <a:pt x="4349" y="3090"/>
                    <a:pt x="4499" y="3087"/>
                  </a:cubicBezTo>
                  <a:cubicBezTo>
                    <a:pt x="4538" y="3087"/>
                    <a:pt x="4576" y="3083"/>
                    <a:pt x="4608" y="3080"/>
                  </a:cubicBezTo>
                  <a:cubicBezTo>
                    <a:pt x="4653" y="3076"/>
                    <a:pt x="4692" y="3048"/>
                    <a:pt x="4713" y="3010"/>
                  </a:cubicBezTo>
                  <a:cubicBezTo>
                    <a:pt x="4744" y="2954"/>
                    <a:pt x="4800" y="2922"/>
                    <a:pt x="4863" y="2919"/>
                  </a:cubicBezTo>
                  <a:cubicBezTo>
                    <a:pt x="4870" y="2880"/>
                    <a:pt x="4870" y="2845"/>
                    <a:pt x="4867" y="2807"/>
                  </a:cubicBezTo>
                  <a:cubicBezTo>
                    <a:pt x="4867" y="2751"/>
                    <a:pt x="4867" y="2695"/>
                    <a:pt x="4870" y="2639"/>
                  </a:cubicBezTo>
                  <a:cubicBezTo>
                    <a:pt x="4887" y="2490"/>
                    <a:pt x="4897" y="2435"/>
                    <a:pt x="5024" y="2435"/>
                  </a:cubicBezTo>
                  <a:cubicBezTo>
                    <a:pt x="5032" y="2435"/>
                    <a:pt x="5040" y="2435"/>
                    <a:pt x="5049" y="2436"/>
                  </a:cubicBezTo>
                  <a:lnTo>
                    <a:pt x="5115" y="2436"/>
                  </a:lnTo>
                  <a:cubicBezTo>
                    <a:pt x="5248" y="2436"/>
                    <a:pt x="5371" y="2362"/>
                    <a:pt x="5371" y="2303"/>
                  </a:cubicBezTo>
                  <a:cubicBezTo>
                    <a:pt x="5371" y="2278"/>
                    <a:pt x="5381" y="2254"/>
                    <a:pt x="5399" y="2236"/>
                  </a:cubicBezTo>
                  <a:cubicBezTo>
                    <a:pt x="5444" y="2196"/>
                    <a:pt x="5543" y="2180"/>
                    <a:pt x="5709" y="2180"/>
                  </a:cubicBezTo>
                  <a:cubicBezTo>
                    <a:pt x="5816" y="2180"/>
                    <a:pt x="5951" y="2187"/>
                    <a:pt x="6117" y="2198"/>
                  </a:cubicBezTo>
                  <a:cubicBezTo>
                    <a:pt x="6166" y="2198"/>
                    <a:pt x="6208" y="2201"/>
                    <a:pt x="6229" y="2201"/>
                  </a:cubicBezTo>
                  <a:lnTo>
                    <a:pt x="6239" y="2201"/>
                  </a:lnTo>
                  <a:cubicBezTo>
                    <a:pt x="6242" y="2202"/>
                    <a:pt x="6244" y="2202"/>
                    <a:pt x="6246" y="2202"/>
                  </a:cubicBezTo>
                  <a:cubicBezTo>
                    <a:pt x="6258" y="2202"/>
                    <a:pt x="6269" y="2195"/>
                    <a:pt x="6278" y="2184"/>
                  </a:cubicBezTo>
                  <a:cubicBezTo>
                    <a:pt x="6299" y="2149"/>
                    <a:pt x="6306" y="2107"/>
                    <a:pt x="6299" y="2068"/>
                  </a:cubicBezTo>
                  <a:cubicBezTo>
                    <a:pt x="6274" y="1942"/>
                    <a:pt x="6187" y="1753"/>
                    <a:pt x="6138" y="1746"/>
                  </a:cubicBezTo>
                  <a:cubicBezTo>
                    <a:pt x="6001" y="1722"/>
                    <a:pt x="6019" y="1554"/>
                    <a:pt x="6036" y="1375"/>
                  </a:cubicBezTo>
                  <a:cubicBezTo>
                    <a:pt x="6040" y="1309"/>
                    <a:pt x="6047" y="1242"/>
                    <a:pt x="6047" y="1183"/>
                  </a:cubicBezTo>
                  <a:cubicBezTo>
                    <a:pt x="6047" y="944"/>
                    <a:pt x="6005" y="783"/>
                    <a:pt x="5900" y="650"/>
                  </a:cubicBezTo>
                  <a:cubicBezTo>
                    <a:pt x="5896" y="643"/>
                    <a:pt x="5889" y="636"/>
                    <a:pt x="5886" y="629"/>
                  </a:cubicBezTo>
                  <a:lnTo>
                    <a:pt x="5882" y="622"/>
                  </a:lnTo>
                  <a:cubicBezTo>
                    <a:pt x="5875" y="615"/>
                    <a:pt x="5872" y="605"/>
                    <a:pt x="5865" y="598"/>
                  </a:cubicBezTo>
                  <a:lnTo>
                    <a:pt x="5861" y="591"/>
                  </a:lnTo>
                  <a:cubicBezTo>
                    <a:pt x="5854" y="580"/>
                    <a:pt x="5851" y="566"/>
                    <a:pt x="5844" y="556"/>
                  </a:cubicBezTo>
                  <a:lnTo>
                    <a:pt x="5844" y="552"/>
                  </a:lnTo>
                  <a:cubicBezTo>
                    <a:pt x="5837" y="538"/>
                    <a:pt x="5830" y="524"/>
                    <a:pt x="5823" y="510"/>
                  </a:cubicBezTo>
                  <a:lnTo>
                    <a:pt x="5823" y="507"/>
                  </a:lnTo>
                  <a:cubicBezTo>
                    <a:pt x="5717" y="493"/>
                    <a:pt x="5619" y="468"/>
                    <a:pt x="5521" y="430"/>
                  </a:cubicBezTo>
                  <a:cubicBezTo>
                    <a:pt x="5427" y="395"/>
                    <a:pt x="5329" y="370"/>
                    <a:pt x="5227" y="360"/>
                  </a:cubicBezTo>
                  <a:cubicBezTo>
                    <a:pt x="5143" y="360"/>
                    <a:pt x="5059" y="367"/>
                    <a:pt x="4975" y="377"/>
                  </a:cubicBezTo>
                  <a:cubicBezTo>
                    <a:pt x="4881" y="388"/>
                    <a:pt x="4783" y="398"/>
                    <a:pt x="4687" y="398"/>
                  </a:cubicBezTo>
                  <a:cubicBezTo>
                    <a:pt x="4520" y="398"/>
                    <a:pt x="4362" y="366"/>
                    <a:pt x="4251" y="241"/>
                  </a:cubicBezTo>
                  <a:cubicBezTo>
                    <a:pt x="4089" y="58"/>
                    <a:pt x="3985" y="0"/>
                    <a:pt x="3903"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322" name="Google Shape;3322;p104"/>
            <p:cNvSpPr/>
            <p:nvPr/>
          </p:nvSpPr>
          <p:spPr>
            <a:xfrm>
              <a:off x="2104473" y="1751839"/>
              <a:ext cx="29151" cy="57216"/>
            </a:xfrm>
            <a:custGeom>
              <a:avLst/>
              <a:gdLst/>
              <a:ahLst/>
              <a:cxnLst/>
              <a:rect l="l" t="t" r="r" b="b"/>
              <a:pathLst>
                <a:path w="2147" h="4214" extrusionOk="0">
                  <a:moveTo>
                    <a:pt x="1204" y="1"/>
                  </a:moveTo>
                  <a:cubicBezTo>
                    <a:pt x="1073" y="1"/>
                    <a:pt x="933" y="35"/>
                    <a:pt x="855" y="107"/>
                  </a:cubicBezTo>
                  <a:cubicBezTo>
                    <a:pt x="778" y="173"/>
                    <a:pt x="676" y="208"/>
                    <a:pt x="575" y="208"/>
                  </a:cubicBezTo>
                  <a:lnTo>
                    <a:pt x="571" y="229"/>
                  </a:lnTo>
                  <a:lnTo>
                    <a:pt x="564" y="278"/>
                  </a:lnTo>
                  <a:lnTo>
                    <a:pt x="557" y="324"/>
                  </a:lnTo>
                  <a:cubicBezTo>
                    <a:pt x="557" y="338"/>
                    <a:pt x="554" y="352"/>
                    <a:pt x="554" y="366"/>
                  </a:cubicBezTo>
                  <a:cubicBezTo>
                    <a:pt x="550" y="380"/>
                    <a:pt x="550" y="394"/>
                    <a:pt x="550" y="404"/>
                  </a:cubicBezTo>
                  <a:cubicBezTo>
                    <a:pt x="547" y="418"/>
                    <a:pt x="547" y="432"/>
                    <a:pt x="543" y="446"/>
                  </a:cubicBezTo>
                  <a:cubicBezTo>
                    <a:pt x="543" y="460"/>
                    <a:pt x="543" y="471"/>
                    <a:pt x="540" y="485"/>
                  </a:cubicBezTo>
                  <a:cubicBezTo>
                    <a:pt x="540" y="495"/>
                    <a:pt x="540" y="509"/>
                    <a:pt x="536" y="520"/>
                  </a:cubicBezTo>
                  <a:cubicBezTo>
                    <a:pt x="536" y="534"/>
                    <a:pt x="536" y="544"/>
                    <a:pt x="536" y="555"/>
                  </a:cubicBezTo>
                  <a:cubicBezTo>
                    <a:pt x="533" y="565"/>
                    <a:pt x="536" y="576"/>
                    <a:pt x="533" y="586"/>
                  </a:cubicBezTo>
                  <a:cubicBezTo>
                    <a:pt x="529" y="600"/>
                    <a:pt x="533" y="607"/>
                    <a:pt x="533" y="618"/>
                  </a:cubicBezTo>
                  <a:lnTo>
                    <a:pt x="533" y="649"/>
                  </a:lnTo>
                  <a:lnTo>
                    <a:pt x="533" y="674"/>
                  </a:lnTo>
                  <a:lnTo>
                    <a:pt x="533" y="702"/>
                  </a:lnTo>
                  <a:lnTo>
                    <a:pt x="533" y="726"/>
                  </a:lnTo>
                  <a:lnTo>
                    <a:pt x="533" y="751"/>
                  </a:lnTo>
                  <a:lnTo>
                    <a:pt x="533" y="768"/>
                  </a:lnTo>
                  <a:lnTo>
                    <a:pt x="533" y="793"/>
                  </a:lnTo>
                  <a:lnTo>
                    <a:pt x="533" y="810"/>
                  </a:lnTo>
                  <a:lnTo>
                    <a:pt x="533" y="828"/>
                  </a:lnTo>
                  <a:lnTo>
                    <a:pt x="533" y="845"/>
                  </a:lnTo>
                  <a:lnTo>
                    <a:pt x="533" y="863"/>
                  </a:lnTo>
                  <a:cubicBezTo>
                    <a:pt x="533" y="866"/>
                    <a:pt x="533" y="870"/>
                    <a:pt x="536" y="877"/>
                  </a:cubicBezTo>
                  <a:cubicBezTo>
                    <a:pt x="536" y="880"/>
                    <a:pt x="536" y="884"/>
                    <a:pt x="536" y="887"/>
                  </a:cubicBezTo>
                  <a:cubicBezTo>
                    <a:pt x="540" y="894"/>
                    <a:pt x="536" y="898"/>
                    <a:pt x="540" y="901"/>
                  </a:cubicBezTo>
                  <a:cubicBezTo>
                    <a:pt x="543" y="905"/>
                    <a:pt x="540" y="908"/>
                    <a:pt x="543" y="912"/>
                  </a:cubicBezTo>
                  <a:cubicBezTo>
                    <a:pt x="547" y="915"/>
                    <a:pt x="547" y="919"/>
                    <a:pt x="547" y="922"/>
                  </a:cubicBezTo>
                  <a:lnTo>
                    <a:pt x="550" y="933"/>
                  </a:lnTo>
                  <a:cubicBezTo>
                    <a:pt x="550" y="936"/>
                    <a:pt x="550" y="936"/>
                    <a:pt x="554" y="940"/>
                  </a:cubicBezTo>
                  <a:lnTo>
                    <a:pt x="557" y="947"/>
                  </a:lnTo>
                  <a:cubicBezTo>
                    <a:pt x="557" y="950"/>
                    <a:pt x="561" y="954"/>
                    <a:pt x="564" y="957"/>
                  </a:cubicBezTo>
                  <a:cubicBezTo>
                    <a:pt x="624" y="1062"/>
                    <a:pt x="641" y="1188"/>
                    <a:pt x="603" y="1304"/>
                  </a:cubicBezTo>
                  <a:cubicBezTo>
                    <a:pt x="564" y="1454"/>
                    <a:pt x="470" y="1587"/>
                    <a:pt x="375" y="1636"/>
                  </a:cubicBezTo>
                  <a:cubicBezTo>
                    <a:pt x="333" y="1657"/>
                    <a:pt x="284" y="1727"/>
                    <a:pt x="242" y="1790"/>
                  </a:cubicBezTo>
                  <a:cubicBezTo>
                    <a:pt x="172" y="1888"/>
                    <a:pt x="106" y="1987"/>
                    <a:pt x="8" y="1997"/>
                  </a:cubicBezTo>
                  <a:cubicBezTo>
                    <a:pt x="1" y="2057"/>
                    <a:pt x="11" y="2116"/>
                    <a:pt x="36" y="2172"/>
                  </a:cubicBezTo>
                  <a:cubicBezTo>
                    <a:pt x="81" y="2312"/>
                    <a:pt x="162" y="2421"/>
                    <a:pt x="242" y="2456"/>
                  </a:cubicBezTo>
                  <a:cubicBezTo>
                    <a:pt x="505" y="2568"/>
                    <a:pt x="508" y="2767"/>
                    <a:pt x="508" y="2869"/>
                  </a:cubicBezTo>
                  <a:cubicBezTo>
                    <a:pt x="522" y="2893"/>
                    <a:pt x="610" y="2942"/>
                    <a:pt x="666" y="2974"/>
                  </a:cubicBezTo>
                  <a:cubicBezTo>
                    <a:pt x="764" y="3026"/>
                    <a:pt x="862" y="3082"/>
                    <a:pt x="918" y="3156"/>
                  </a:cubicBezTo>
                  <a:cubicBezTo>
                    <a:pt x="1030" y="3303"/>
                    <a:pt x="1188" y="3936"/>
                    <a:pt x="1188" y="4164"/>
                  </a:cubicBezTo>
                  <a:cubicBezTo>
                    <a:pt x="1188" y="4175"/>
                    <a:pt x="1188" y="4182"/>
                    <a:pt x="1188" y="4192"/>
                  </a:cubicBezTo>
                  <a:lnTo>
                    <a:pt x="1188" y="4199"/>
                  </a:lnTo>
                  <a:cubicBezTo>
                    <a:pt x="1188" y="4203"/>
                    <a:pt x="1188" y="4206"/>
                    <a:pt x="1191" y="4213"/>
                  </a:cubicBezTo>
                  <a:cubicBezTo>
                    <a:pt x="1230" y="4192"/>
                    <a:pt x="1265" y="4168"/>
                    <a:pt x="1300" y="4143"/>
                  </a:cubicBezTo>
                  <a:lnTo>
                    <a:pt x="1317" y="4126"/>
                  </a:lnTo>
                  <a:lnTo>
                    <a:pt x="1321" y="4122"/>
                  </a:lnTo>
                  <a:cubicBezTo>
                    <a:pt x="1324" y="4115"/>
                    <a:pt x="1328" y="4112"/>
                    <a:pt x="1335" y="4105"/>
                  </a:cubicBezTo>
                  <a:lnTo>
                    <a:pt x="1338" y="4101"/>
                  </a:lnTo>
                  <a:cubicBezTo>
                    <a:pt x="1342" y="4094"/>
                    <a:pt x="1349" y="4087"/>
                    <a:pt x="1352" y="4080"/>
                  </a:cubicBezTo>
                  <a:cubicBezTo>
                    <a:pt x="1426" y="3940"/>
                    <a:pt x="1461" y="3740"/>
                    <a:pt x="1447" y="3702"/>
                  </a:cubicBezTo>
                  <a:cubicBezTo>
                    <a:pt x="1398" y="3593"/>
                    <a:pt x="1422" y="3464"/>
                    <a:pt x="1510" y="3383"/>
                  </a:cubicBezTo>
                  <a:cubicBezTo>
                    <a:pt x="1534" y="3362"/>
                    <a:pt x="1583" y="3313"/>
                    <a:pt x="1636" y="3257"/>
                  </a:cubicBezTo>
                  <a:cubicBezTo>
                    <a:pt x="1821" y="3072"/>
                    <a:pt x="1905" y="2991"/>
                    <a:pt x="1951" y="2974"/>
                  </a:cubicBezTo>
                  <a:cubicBezTo>
                    <a:pt x="1972" y="2967"/>
                    <a:pt x="2000" y="2960"/>
                    <a:pt x="2024" y="2960"/>
                  </a:cubicBezTo>
                  <a:cubicBezTo>
                    <a:pt x="2122" y="2946"/>
                    <a:pt x="2147" y="2935"/>
                    <a:pt x="2143" y="2869"/>
                  </a:cubicBezTo>
                  <a:lnTo>
                    <a:pt x="2143" y="2844"/>
                  </a:lnTo>
                  <a:lnTo>
                    <a:pt x="2143" y="2834"/>
                  </a:lnTo>
                  <a:lnTo>
                    <a:pt x="2143" y="2816"/>
                  </a:lnTo>
                  <a:lnTo>
                    <a:pt x="2143" y="2806"/>
                  </a:lnTo>
                  <a:lnTo>
                    <a:pt x="2143" y="2785"/>
                  </a:lnTo>
                  <a:lnTo>
                    <a:pt x="2143" y="2774"/>
                  </a:lnTo>
                  <a:lnTo>
                    <a:pt x="2143" y="2753"/>
                  </a:lnTo>
                  <a:lnTo>
                    <a:pt x="2143" y="2739"/>
                  </a:lnTo>
                  <a:lnTo>
                    <a:pt x="2143" y="2715"/>
                  </a:lnTo>
                  <a:lnTo>
                    <a:pt x="2143" y="2701"/>
                  </a:lnTo>
                  <a:lnTo>
                    <a:pt x="2143" y="2676"/>
                  </a:lnTo>
                  <a:lnTo>
                    <a:pt x="2143" y="2659"/>
                  </a:lnTo>
                  <a:lnTo>
                    <a:pt x="2147" y="2631"/>
                  </a:lnTo>
                  <a:lnTo>
                    <a:pt x="2147" y="2617"/>
                  </a:lnTo>
                  <a:lnTo>
                    <a:pt x="2147" y="2613"/>
                  </a:lnTo>
                  <a:cubicBezTo>
                    <a:pt x="2038" y="2536"/>
                    <a:pt x="1940" y="2431"/>
                    <a:pt x="1940" y="2347"/>
                  </a:cubicBezTo>
                  <a:cubicBezTo>
                    <a:pt x="1933" y="2298"/>
                    <a:pt x="1909" y="2253"/>
                    <a:pt x="1870" y="2218"/>
                  </a:cubicBezTo>
                  <a:cubicBezTo>
                    <a:pt x="1860" y="2207"/>
                    <a:pt x="1849" y="2200"/>
                    <a:pt x="1835" y="2200"/>
                  </a:cubicBezTo>
                  <a:cubicBezTo>
                    <a:pt x="1832" y="2200"/>
                    <a:pt x="1832" y="2200"/>
                    <a:pt x="1828" y="2204"/>
                  </a:cubicBezTo>
                  <a:cubicBezTo>
                    <a:pt x="1794" y="2246"/>
                    <a:pt x="1735" y="2268"/>
                    <a:pt x="1664" y="2268"/>
                  </a:cubicBezTo>
                  <a:cubicBezTo>
                    <a:pt x="1634" y="2268"/>
                    <a:pt x="1602" y="2264"/>
                    <a:pt x="1569" y="2256"/>
                  </a:cubicBezTo>
                  <a:cubicBezTo>
                    <a:pt x="1457" y="2228"/>
                    <a:pt x="1317" y="2141"/>
                    <a:pt x="1286" y="1987"/>
                  </a:cubicBezTo>
                  <a:cubicBezTo>
                    <a:pt x="1251" y="1811"/>
                    <a:pt x="1384" y="1745"/>
                    <a:pt x="1510" y="1682"/>
                  </a:cubicBezTo>
                  <a:cubicBezTo>
                    <a:pt x="1590" y="1643"/>
                    <a:pt x="1667" y="1598"/>
                    <a:pt x="1737" y="1545"/>
                  </a:cubicBezTo>
                  <a:cubicBezTo>
                    <a:pt x="1839" y="1461"/>
                    <a:pt x="1898" y="1335"/>
                    <a:pt x="1898" y="1206"/>
                  </a:cubicBezTo>
                  <a:cubicBezTo>
                    <a:pt x="1898" y="1090"/>
                    <a:pt x="1846" y="982"/>
                    <a:pt x="1755" y="912"/>
                  </a:cubicBezTo>
                  <a:cubicBezTo>
                    <a:pt x="1660" y="835"/>
                    <a:pt x="1611" y="765"/>
                    <a:pt x="1608" y="688"/>
                  </a:cubicBezTo>
                  <a:cubicBezTo>
                    <a:pt x="1604" y="579"/>
                    <a:pt x="1685" y="495"/>
                    <a:pt x="1783" y="401"/>
                  </a:cubicBezTo>
                  <a:cubicBezTo>
                    <a:pt x="1804" y="380"/>
                    <a:pt x="1828" y="359"/>
                    <a:pt x="1846" y="338"/>
                  </a:cubicBezTo>
                  <a:cubicBezTo>
                    <a:pt x="1909" y="275"/>
                    <a:pt x="1909" y="236"/>
                    <a:pt x="1902" y="229"/>
                  </a:cubicBezTo>
                  <a:cubicBezTo>
                    <a:pt x="1900" y="226"/>
                    <a:pt x="1896" y="224"/>
                    <a:pt x="1891" y="224"/>
                  </a:cubicBezTo>
                  <a:cubicBezTo>
                    <a:pt x="1884" y="224"/>
                    <a:pt x="1875" y="228"/>
                    <a:pt x="1867" y="236"/>
                  </a:cubicBezTo>
                  <a:cubicBezTo>
                    <a:pt x="1820" y="286"/>
                    <a:pt x="1757" y="312"/>
                    <a:pt x="1692" y="312"/>
                  </a:cubicBezTo>
                  <a:cubicBezTo>
                    <a:pt x="1670" y="312"/>
                    <a:pt x="1647" y="309"/>
                    <a:pt x="1625" y="303"/>
                  </a:cubicBezTo>
                  <a:cubicBezTo>
                    <a:pt x="1576" y="285"/>
                    <a:pt x="1513" y="236"/>
                    <a:pt x="1499" y="107"/>
                  </a:cubicBezTo>
                  <a:cubicBezTo>
                    <a:pt x="1496" y="79"/>
                    <a:pt x="1461" y="51"/>
                    <a:pt x="1405" y="33"/>
                  </a:cubicBezTo>
                  <a:cubicBezTo>
                    <a:pt x="1349" y="12"/>
                    <a:pt x="1278" y="1"/>
                    <a:pt x="1204" y="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323" name="Google Shape;3323;p104"/>
            <p:cNvSpPr/>
            <p:nvPr/>
          </p:nvSpPr>
          <p:spPr>
            <a:xfrm>
              <a:off x="1983932" y="1753020"/>
              <a:ext cx="152883" cy="146433"/>
            </a:xfrm>
            <a:custGeom>
              <a:avLst/>
              <a:gdLst/>
              <a:ahLst/>
              <a:cxnLst/>
              <a:rect l="l" t="t" r="r" b="b"/>
              <a:pathLst>
                <a:path w="11260" h="10785" extrusionOk="0">
                  <a:moveTo>
                    <a:pt x="8820" y="1"/>
                  </a:moveTo>
                  <a:cubicBezTo>
                    <a:pt x="8760" y="1"/>
                    <a:pt x="8662" y="17"/>
                    <a:pt x="8581" y="30"/>
                  </a:cubicBezTo>
                  <a:cubicBezTo>
                    <a:pt x="8497" y="48"/>
                    <a:pt x="8410" y="58"/>
                    <a:pt x="8326" y="65"/>
                  </a:cubicBezTo>
                  <a:cubicBezTo>
                    <a:pt x="8242" y="79"/>
                    <a:pt x="8158" y="107"/>
                    <a:pt x="8081" y="142"/>
                  </a:cubicBezTo>
                  <a:cubicBezTo>
                    <a:pt x="7944" y="195"/>
                    <a:pt x="7797" y="254"/>
                    <a:pt x="7677" y="254"/>
                  </a:cubicBezTo>
                  <a:cubicBezTo>
                    <a:pt x="7615" y="254"/>
                    <a:pt x="7560" y="239"/>
                    <a:pt x="7517" y="198"/>
                  </a:cubicBezTo>
                  <a:cubicBezTo>
                    <a:pt x="7493" y="180"/>
                    <a:pt x="7423" y="173"/>
                    <a:pt x="7323" y="173"/>
                  </a:cubicBezTo>
                  <a:cubicBezTo>
                    <a:pt x="7030" y="173"/>
                    <a:pt x="6487" y="236"/>
                    <a:pt x="6155" y="275"/>
                  </a:cubicBezTo>
                  <a:cubicBezTo>
                    <a:pt x="5882" y="307"/>
                    <a:pt x="5648" y="335"/>
                    <a:pt x="5511" y="338"/>
                  </a:cubicBezTo>
                  <a:cubicBezTo>
                    <a:pt x="5301" y="349"/>
                    <a:pt x="5157" y="471"/>
                    <a:pt x="5021" y="594"/>
                  </a:cubicBezTo>
                  <a:cubicBezTo>
                    <a:pt x="4905" y="695"/>
                    <a:pt x="4797" y="793"/>
                    <a:pt x="4660" y="793"/>
                  </a:cubicBezTo>
                  <a:cubicBezTo>
                    <a:pt x="4433" y="793"/>
                    <a:pt x="4055" y="989"/>
                    <a:pt x="3852" y="1213"/>
                  </a:cubicBezTo>
                  <a:cubicBezTo>
                    <a:pt x="3810" y="1262"/>
                    <a:pt x="3754" y="1297"/>
                    <a:pt x="3694" y="1315"/>
                  </a:cubicBezTo>
                  <a:lnTo>
                    <a:pt x="3701" y="1329"/>
                  </a:lnTo>
                  <a:lnTo>
                    <a:pt x="3705" y="1336"/>
                  </a:lnTo>
                  <a:cubicBezTo>
                    <a:pt x="3712" y="1346"/>
                    <a:pt x="3715" y="1357"/>
                    <a:pt x="3722" y="1364"/>
                  </a:cubicBezTo>
                  <a:lnTo>
                    <a:pt x="3722" y="1371"/>
                  </a:lnTo>
                  <a:cubicBezTo>
                    <a:pt x="3729" y="1378"/>
                    <a:pt x="3733" y="1385"/>
                    <a:pt x="3740" y="1392"/>
                  </a:cubicBezTo>
                  <a:cubicBezTo>
                    <a:pt x="3859" y="1542"/>
                    <a:pt x="3915" y="1738"/>
                    <a:pt x="3915" y="2001"/>
                  </a:cubicBezTo>
                  <a:cubicBezTo>
                    <a:pt x="3915" y="2068"/>
                    <a:pt x="3908" y="2138"/>
                    <a:pt x="3901" y="2208"/>
                  </a:cubicBezTo>
                  <a:cubicBezTo>
                    <a:pt x="3894" y="2281"/>
                    <a:pt x="3883" y="2407"/>
                    <a:pt x="3901" y="2439"/>
                  </a:cubicBezTo>
                  <a:cubicBezTo>
                    <a:pt x="4079" y="2474"/>
                    <a:pt x="4163" y="2859"/>
                    <a:pt x="4163" y="2862"/>
                  </a:cubicBezTo>
                  <a:cubicBezTo>
                    <a:pt x="4181" y="2943"/>
                    <a:pt x="4163" y="3023"/>
                    <a:pt x="4114" y="3090"/>
                  </a:cubicBezTo>
                  <a:cubicBezTo>
                    <a:pt x="4079" y="3132"/>
                    <a:pt x="4030" y="3156"/>
                    <a:pt x="3974" y="3156"/>
                  </a:cubicBezTo>
                  <a:cubicBezTo>
                    <a:pt x="3950" y="3156"/>
                    <a:pt x="3908" y="3153"/>
                    <a:pt x="3845" y="3149"/>
                  </a:cubicBezTo>
                  <a:cubicBezTo>
                    <a:pt x="3763" y="3143"/>
                    <a:pt x="3586" y="3131"/>
                    <a:pt x="3441" y="3131"/>
                  </a:cubicBezTo>
                  <a:cubicBezTo>
                    <a:pt x="3350" y="3131"/>
                    <a:pt x="3271" y="3136"/>
                    <a:pt x="3235" y="3149"/>
                  </a:cubicBezTo>
                  <a:cubicBezTo>
                    <a:pt x="3214" y="3293"/>
                    <a:pt x="3025" y="3387"/>
                    <a:pt x="2850" y="3387"/>
                  </a:cubicBezTo>
                  <a:lnTo>
                    <a:pt x="2749" y="3387"/>
                  </a:lnTo>
                  <a:cubicBezTo>
                    <a:pt x="2745" y="3401"/>
                    <a:pt x="2742" y="3426"/>
                    <a:pt x="2738" y="3450"/>
                  </a:cubicBezTo>
                  <a:lnTo>
                    <a:pt x="2738" y="3471"/>
                  </a:lnTo>
                  <a:cubicBezTo>
                    <a:pt x="2731" y="3524"/>
                    <a:pt x="2731" y="3573"/>
                    <a:pt x="2735" y="3622"/>
                  </a:cubicBezTo>
                  <a:cubicBezTo>
                    <a:pt x="2738" y="3713"/>
                    <a:pt x="2738" y="3786"/>
                    <a:pt x="2689" y="3832"/>
                  </a:cubicBezTo>
                  <a:cubicBezTo>
                    <a:pt x="2665" y="3856"/>
                    <a:pt x="2633" y="3870"/>
                    <a:pt x="2598" y="3870"/>
                  </a:cubicBezTo>
                  <a:cubicBezTo>
                    <a:pt x="2584" y="3870"/>
                    <a:pt x="2577" y="3874"/>
                    <a:pt x="2553" y="3909"/>
                  </a:cubicBezTo>
                  <a:cubicBezTo>
                    <a:pt x="2511" y="3976"/>
                    <a:pt x="2437" y="4021"/>
                    <a:pt x="2357" y="4028"/>
                  </a:cubicBezTo>
                  <a:cubicBezTo>
                    <a:pt x="2322" y="4035"/>
                    <a:pt x="2280" y="4035"/>
                    <a:pt x="2238" y="4035"/>
                  </a:cubicBezTo>
                  <a:cubicBezTo>
                    <a:pt x="2080" y="4042"/>
                    <a:pt x="2007" y="4053"/>
                    <a:pt x="2007" y="4109"/>
                  </a:cubicBezTo>
                  <a:cubicBezTo>
                    <a:pt x="2007" y="4301"/>
                    <a:pt x="1874" y="4452"/>
                    <a:pt x="1667" y="4494"/>
                  </a:cubicBezTo>
                  <a:cubicBezTo>
                    <a:pt x="1612" y="4502"/>
                    <a:pt x="1559" y="4505"/>
                    <a:pt x="1505" y="4505"/>
                  </a:cubicBezTo>
                  <a:cubicBezTo>
                    <a:pt x="1487" y="4505"/>
                    <a:pt x="1468" y="4505"/>
                    <a:pt x="1450" y="4504"/>
                  </a:cubicBezTo>
                  <a:cubicBezTo>
                    <a:pt x="1383" y="4504"/>
                    <a:pt x="1254" y="4504"/>
                    <a:pt x="1236" y="4529"/>
                  </a:cubicBezTo>
                  <a:cubicBezTo>
                    <a:pt x="1236" y="4532"/>
                    <a:pt x="1236" y="4532"/>
                    <a:pt x="1236" y="4536"/>
                  </a:cubicBezTo>
                  <a:cubicBezTo>
                    <a:pt x="1240" y="4571"/>
                    <a:pt x="1226" y="4609"/>
                    <a:pt x="1198" y="4634"/>
                  </a:cubicBezTo>
                  <a:cubicBezTo>
                    <a:pt x="1162" y="4672"/>
                    <a:pt x="1107" y="4680"/>
                    <a:pt x="1049" y="4680"/>
                  </a:cubicBezTo>
                  <a:cubicBezTo>
                    <a:pt x="1033" y="4680"/>
                    <a:pt x="1017" y="4680"/>
                    <a:pt x="1002" y="4679"/>
                  </a:cubicBezTo>
                  <a:lnTo>
                    <a:pt x="960" y="4679"/>
                  </a:lnTo>
                  <a:cubicBezTo>
                    <a:pt x="953" y="4679"/>
                    <a:pt x="947" y="4678"/>
                    <a:pt x="940" y="4678"/>
                  </a:cubicBezTo>
                  <a:cubicBezTo>
                    <a:pt x="908" y="4678"/>
                    <a:pt x="877" y="4685"/>
                    <a:pt x="848" y="4697"/>
                  </a:cubicBezTo>
                  <a:cubicBezTo>
                    <a:pt x="575" y="4854"/>
                    <a:pt x="74" y="5159"/>
                    <a:pt x="4" y="5236"/>
                  </a:cubicBezTo>
                  <a:cubicBezTo>
                    <a:pt x="1" y="5285"/>
                    <a:pt x="8" y="5509"/>
                    <a:pt x="11" y="5726"/>
                  </a:cubicBezTo>
                  <a:cubicBezTo>
                    <a:pt x="11" y="5796"/>
                    <a:pt x="18" y="5866"/>
                    <a:pt x="18" y="5936"/>
                  </a:cubicBezTo>
                  <a:lnTo>
                    <a:pt x="29" y="5950"/>
                  </a:lnTo>
                  <a:lnTo>
                    <a:pt x="39" y="5960"/>
                  </a:lnTo>
                  <a:lnTo>
                    <a:pt x="43" y="5964"/>
                  </a:lnTo>
                  <a:lnTo>
                    <a:pt x="53" y="5974"/>
                  </a:lnTo>
                  <a:cubicBezTo>
                    <a:pt x="60" y="5981"/>
                    <a:pt x="64" y="5985"/>
                    <a:pt x="71" y="5988"/>
                  </a:cubicBezTo>
                  <a:lnTo>
                    <a:pt x="78" y="5992"/>
                  </a:lnTo>
                  <a:cubicBezTo>
                    <a:pt x="85" y="5999"/>
                    <a:pt x="92" y="6002"/>
                    <a:pt x="102" y="6009"/>
                  </a:cubicBezTo>
                  <a:cubicBezTo>
                    <a:pt x="141" y="6031"/>
                    <a:pt x="270" y="6115"/>
                    <a:pt x="456" y="6234"/>
                  </a:cubicBezTo>
                  <a:lnTo>
                    <a:pt x="494" y="6262"/>
                  </a:lnTo>
                  <a:cubicBezTo>
                    <a:pt x="865" y="6500"/>
                    <a:pt x="1454" y="6888"/>
                    <a:pt x="2094" y="7312"/>
                  </a:cubicBezTo>
                  <a:lnTo>
                    <a:pt x="2220" y="7392"/>
                  </a:lnTo>
                  <a:lnTo>
                    <a:pt x="2584" y="7634"/>
                  </a:lnTo>
                  <a:lnTo>
                    <a:pt x="2679" y="7697"/>
                  </a:lnTo>
                  <a:lnTo>
                    <a:pt x="2689" y="7704"/>
                  </a:lnTo>
                  <a:cubicBezTo>
                    <a:pt x="3834" y="8464"/>
                    <a:pt x="5241" y="9405"/>
                    <a:pt x="5409" y="9545"/>
                  </a:cubicBezTo>
                  <a:lnTo>
                    <a:pt x="5420" y="9552"/>
                  </a:lnTo>
                  <a:cubicBezTo>
                    <a:pt x="5528" y="9671"/>
                    <a:pt x="5623" y="9804"/>
                    <a:pt x="5704" y="9944"/>
                  </a:cubicBezTo>
                  <a:cubicBezTo>
                    <a:pt x="5728" y="9983"/>
                    <a:pt x="5749" y="10014"/>
                    <a:pt x="5760" y="10035"/>
                  </a:cubicBezTo>
                  <a:cubicBezTo>
                    <a:pt x="5973" y="10067"/>
                    <a:pt x="6176" y="10133"/>
                    <a:pt x="6365" y="10232"/>
                  </a:cubicBezTo>
                  <a:cubicBezTo>
                    <a:pt x="6407" y="10256"/>
                    <a:pt x="6442" y="10288"/>
                    <a:pt x="6477" y="10319"/>
                  </a:cubicBezTo>
                  <a:cubicBezTo>
                    <a:pt x="6600" y="10452"/>
                    <a:pt x="6645" y="10641"/>
                    <a:pt x="6659" y="10757"/>
                  </a:cubicBezTo>
                  <a:cubicBezTo>
                    <a:pt x="6659" y="10767"/>
                    <a:pt x="6663" y="10778"/>
                    <a:pt x="6663" y="10785"/>
                  </a:cubicBezTo>
                  <a:cubicBezTo>
                    <a:pt x="6747" y="10767"/>
                    <a:pt x="6887" y="10736"/>
                    <a:pt x="7009" y="10711"/>
                  </a:cubicBezTo>
                  <a:lnTo>
                    <a:pt x="7044" y="10704"/>
                  </a:lnTo>
                  <a:lnTo>
                    <a:pt x="7058" y="10704"/>
                  </a:lnTo>
                  <a:lnTo>
                    <a:pt x="7079" y="10701"/>
                  </a:lnTo>
                  <a:lnTo>
                    <a:pt x="7132" y="10687"/>
                  </a:lnTo>
                  <a:cubicBezTo>
                    <a:pt x="7205" y="10673"/>
                    <a:pt x="7335" y="10634"/>
                    <a:pt x="7475" y="10589"/>
                  </a:cubicBezTo>
                  <a:cubicBezTo>
                    <a:pt x="7639" y="10536"/>
                    <a:pt x="7811" y="10477"/>
                    <a:pt x="7902" y="10445"/>
                  </a:cubicBezTo>
                  <a:lnTo>
                    <a:pt x="7955" y="10428"/>
                  </a:lnTo>
                  <a:lnTo>
                    <a:pt x="8952" y="9622"/>
                  </a:lnTo>
                  <a:lnTo>
                    <a:pt x="11259" y="8184"/>
                  </a:lnTo>
                  <a:lnTo>
                    <a:pt x="11249" y="8138"/>
                  </a:lnTo>
                  <a:lnTo>
                    <a:pt x="11245" y="8128"/>
                  </a:lnTo>
                  <a:lnTo>
                    <a:pt x="11238" y="8110"/>
                  </a:lnTo>
                  <a:lnTo>
                    <a:pt x="11235" y="8096"/>
                  </a:lnTo>
                  <a:lnTo>
                    <a:pt x="11228" y="8078"/>
                  </a:lnTo>
                  <a:lnTo>
                    <a:pt x="11224" y="8061"/>
                  </a:lnTo>
                  <a:lnTo>
                    <a:pt x="11217" y="8047"/>
                  </a:lnTo>
                  <a:lnTo>
                    <a:pt x="11210" y="8029"/>
                  </a:lnTo>
                  <a:lnTo>
                    <a:pt x="11203" y="8012"/>
                  </a:lnTo>
                  <a:lnTo>
                    <a:pt x="11196" y="7994"/>
                  </a:lnTo>
                  <a:lnTo>
                    <a:pt x="11193" y="7980"/>
                  </a:lnTo>
                  <a:lnTo>
                    <a:pt x="11182" y="7959"/>
                  </a:lnTo>
                  <a:lnTo>
                    <a:pt x="11179" y="7949"/>
                  </a:lnTo>
                  <a:cubicBezTo>
                    <a:pt x="11172" y="7938"/>
                    <a:pt x="11168" y="7928"/>
                    <a:pt x="11165" y="7921"/>
                  </a:cubicBezTo>
                  <a:lnTo>
                    <a:pt x="11158" y="7910"/>
                  </a:lnTo>
                  <a:lnTo>
                    <a:pt x="11147" y="7893"/>
                  </a:lnTo>
                  <a:lnTo>
                    <a:pt x="11144" y="7882"/>
                  </a:lnTo>
                  <a:lnTo>
                    <a:pt x="11133" y="7868"/>
                  </a:lnTo>
                  <a:lnTo>
                    <a:pt x="11126" y="7858"/>
                  </a:lnTo>
                  <a:lnTo>
                    <a:pt x="11119" y="7847"/>
                  </a:lnTo>
                  <a:lnTo>
                    <a:pt x="11112" y="7840"/>
                  </a:lnTo>
                  <a:lnTo>
                    <a:pt x="11102" y="7830"/>
                  </a:lnTo>
                  <a:lnTo>
                    <a:pt x="11095" y="7826"/>
                  </a:lnTo>
                  <a:cubicBezTo>
                    <a:pt x="11091" y="7823"/>
                    <a:pt x="11088" y="7819"/>
                    <a:pt x="11084" y="7819"/>
                  </a:cubicBezTo>
                  <a:lnTo>
                    <a:pt x="11077" y="7816"/>
                  </a:lnTo>
                  <a:cubicBezTo>
                    <a:pt x="11074" y="7816"/>
                    <a:pt x="11067" y="7812"/>
                    <a:pt x="11060" y="7812"/>
                  </a:cubicBezTo>
                  <a:cubicBezTo>
                    <a:pt x="10986" y="7809"/>
                    <a:pt x="10913" y="7788"/>
                    <a:pt x="10846" y="7749"/>
                  </a:cubicBezTo>
                  <a:cubicBezTo>
                    <a:pt x="10787" y="7714"/>
                    <a:pt x="10724" y="7697"/>
                    <a:pt x="10657" y="7693"/>
                  </a:cubicBezTo>
                  <a:cubicBezTo>
                    <a:pt x="10458" y="7693"/>
                    <a:pt x="10234" y="7588"/>
                    <a:pt x="10209" y="7413"/>
                  </a:cubicBezTo>
                  <a:cubicBezTo>
                    <a:pt x="10202" y="7364"/>
                    <a:pt x="10202" y="7315"/>
                    <a:pt x="10209" y="7266"/>
                  </a:cubicBezTo>
                  <a:cubicBezTo>
                    <a:pt x="10227" y="7179"/>
                    <a:pt x="10209" y="7088"/>
                    <a:pt x="10157" y="7018"/>
                  </a:cubicBezTo>
                  <a:cubicBezTo>
                    <a:pt x="10115" y="6955"/>
                    <a:pt x="10069" y="6899"/>
                    <a:pt x="10020" y="6843"/>
                  </a:cubicBezTo>
                  <a:cubicBezTo>
                    <a:pt x="9954" y="6769"/>
                    <a:pt x="9905" y="6710"/>
                    <a:pt x="9905" y="6640"/>
                  </a:cubicBezTo>
                  <a:cubicBezTo>
                    <a:pt x="9905" y="6559"/>
                    <a:pt x="9989" y="6475"/>
                    <a:pt x="10129" y="6353"/>
                  </a:cubicBezTo>
                  <a:lnTo>
                    <a:pt x="10143" y="6339"/>
                  </a:lnTo>
                  <a:cubicBezTo>
                    <a:pt x="10136" y="6325"/>
                    <a:pt x="10125" y="6307"/>
                    <a:pt x="10118" y="6293"/>
                  </a:cubicBezTo>
                  <a:cubicBezTo>
                    <a:pt x="10087" y="6241"/>
                    <a:pt x="10066" y="6181"/>
                    <a:pt x="10062" y="6118"/>
                  </a:cubicBezTo>
                  <a:cubicBezTo>
                    <a:pt x="10059" y="6090"/>
                    <a:pt x="10055" y="6062"/>
                    <a:pt x="10048" y="6034"/>
                  </a:cubicBezTo>
                  <a:cubicBezTo>
                    <a:pt x="10027" y="5946"/>
                    <a:pt x="9999" y="5827"/>
                    <a:pt x="10076" y="5736"/>
                  </a:cubicBezTo>
                  <a:cubicBezTo>
                    <a:pt x="10143" y="5656"/>
                    <a:pt x="10185" y="5586"/>
                    <a:pt x="10108" y="5435"/>
                  </a:cubicBezTo>
                  <a:cubicBezTo>
                    <a:pt x="10055" y="5327"/>
                    <a:pt x="10087" y="5225"/>
                    <a:pt x="10115" y="5134"/>
                  </a:cubicBezTo>
                  <a:cubicBezTo>
                    <a:pt x="10143" y="5043"/>
                    <a:pt x="10167" y="4959"/>
                    <a:pt x="10125" y="4858"/>
                  </a:cubicBezTo>
                  <a:cubicBezTo>
                    <a:pt x="10080" y="4767"/>
                    <a:pt x="10034" y="4679"/>
                    <a:pt x="9978" y="4595"/>
                  </a:cubicBezTo>
                  <a:cubicBezTo>
                    <a:pt x="9905" y="4473"/>
                    <a:pt x="9856" y="4389"/>
                    <a:pt x="9866" y="4319"/>
                  </a:cubicBezTo>
                  <a:cubicBezTo>
                    <a:pt x="9870" y="4312"/>
                    <a:pt x="9873" y="4305"/>
                    <a:pt x="9873" y="4298"/>
                  </a:cubicBezTo>
                  <a:lnTo>
                    <a:pt x="9877" y="4291"/>
                  </a:lnTo>
                  <a:cubicBezTo>
                    <a:pt x="9880" y="4287"/>
                    <a:pt x="9884" y="4280"/>
                    <a:pt x="9887" y="4277"/>
                  </a:cubicBezTo>
                  <a:lnTo>
                    <a:pt x="9887" y="4273"/>
                  </a:lnTo>
                  <a:cubicBezTo>
                    <a:pt x="9894" y="4266"/>
                    <a:pt x="9898" y="4259"/>
                    <a:pt x="9901" y="4252"/>
                  </a:cubicBezTo>
                  <a:lnTo>
                    <a:pt x="9908" y="4249"/>
                  </a:lnTo>
                  <a:lnTo>
                    <a:pt x="9919" y="4235"/>
                  </a:lnTo>
                  <a:lnTo>
                    <a:pt x="9929" y="4228"/>
                  </a:lnTo>
                  <a:lnTo>
                    <a:pt x="9940" y="4217"/>
                  </a:lnTo>
                  <a:lnTo>
                    <a:pt x="9964" y="4200"/>
                  </a:lnTo>
                  <a:lnTo>
                    <a:pt x="9968" y="4196"/>
                  </a:lnTo>
                  <a:cubicBezTo>
                    <a:pt x="9961" y="4189"/>
                    <a:pt x="9957" y="4179"/>
                    <a:pt x="9957" y="4172"/>
                  </a:cubicBezTo>
                  <a:cubicBezTo>
                    <a:pt x="9950" y="4158"/>
                    <a:pt x="9947" y="4140"/>
                    <a:pt x="9947" y="4126"/>
                  </a:cubicBezTo>
                  <a:lnTo>
                    <a:pt x="9947" y="4116"/>
                  </a:lnTo>
                  <a:cubicBezTo>
                    <a:pt x="9943" y="4102"/>
                    <a:pt x="9943" y="4088"/>
                    <a:pt x="9943" y="4074"/>
                  </a:cubicBezTo>
                  <a:cubicBezTo>
                    <a:pt x="9943" y="3856"/>
                    <a:pt x="9782" y="3258"/>
                    <a:pt x="9698" y="3142"/>
                  </a:cubicBezTo>
                  <a:cubicBezTo>
                    <a:pt x="9659" y="3090"/>
                    <a:pt x="9568" y="3041"/>
                    <a:pt x="9488" y="2995"/>
                  </a:cubicBezTo>
                  <a:cubicBezTo>
                    <a:pt x="9362" y="2925"/>
                    <a:pt x="9264" y="2869"/>
                    <a:pt x="9264" y="2775"/>
                  </a:cubicBezTo>
                  <a:cubicBezTo>
                    <a:pt x="9264" y="2684"/>
                    <a:pt x="9264" y="2561"/>
                    <a:pt x="9075" y="2481"/>
                  </a:cubicBezTo>
                  <a:cubicBezTo>
                    <a:pt x="8868" y="2393"/>
                    <a:pt x="8732" y="2040"/>
                    <a:pt x="8763" y="1875"/>
                  </a:cubicBezTo>
                  <a:cubicBezTo>
                    <a:pt x="8767" y="1868"/>
                    <a:pt x="8767" y="1857"/>
                    <a:pt x="8770" y="1850"/>
                  </a:cubicBezTo>
                  <a:cubicBezTo>
                    <a:pt x="8784" y="1805"/>
                    <a:pt x="8826" y="1773"/>
                    <a:pt x="8875" y="1773"/>
                  </a:cubicBezTo>
                  <a:cubicBezTo>
                    <a:pt x="8914" y="1773"/>
                    <a:pt x="8973" y="1686"/>
                    <a:pt x="9019" y="1623"/>
                  </a:cubicBezTo>
                  <a:cubicBezTo>
                    <a:pt x="9071" y="1542"/>
                    <a:pt x="9131" y="1462"/>
                    <a:pt x="9201" y="1423"/>
                  </a:cubicBezTo>
                  <a:cubicBezTo>
                    <a:pt x="9253" y="1399"/>
                    <a:pt x="9327" y="1297"/>
                    <a:pt x="9362" y="1178"/>
                  </a:cubicBezTo>
                  <a:cubicBezTo>
                    <a:pt x="9376" y="1122"/>
                    <a:pt x="9390" y="1017"/>
                    <a:pt x="9337" y="937"/>
                  </a:cubicBezTo>
                  <a:cubicBezTo>
                    <a:pt x="9337" y="933"/>
                    <a:pt x="9334" y="930"/>
                    <a:pt x="9334" y="926"/>
                  </a:cubicBezTo>
                  <a:cubicBezTo>
                    <a:pt x="9330" y="923"/>
                    <a:pt x="9327" y="919"/>
                    <a:pt x="9327" y="912"/>
                  </a:cubicBezTo>
                  <a:cubicBezTo>
                    <a:pt x="9323" y="909"/>
                    <a:pt x="9323" y="905"/>
                    <a:pt x="9320" y="902"/>
                  </a:cubicBezTo>
                  <a:cubicBezTo>
                    <a:pt x="9320" y="898"/>
                    <a:pt x="9316" y="891"/>
                    <a:pt x="9313" y="888"/>
                  </a:cubicBezTo>
                  <a:cubicBezTo>
                    <a:pt x="9313" y="881"/>
                    <a:pt x="9309" y="877"/>
                    <a:pt x="9309" y="870"/>
                  </a:cubicBezTo>
                  <a:cubicBezTo>
                    <a:pt x="9306" y="867"/>
                    <a:pt x="9306" y="860"/>
                    <a:pt x="9302" y="856"/>
                  </a:cubicBezTo>
                  <a:cubicBezTo>
                    <a:pt x="9302" y="849"/>
                    <a:pt x="9302" y="846"/>
                    <a:pt x="9299" y="839"/>
                  </a:cubicBezTo>
                  <a:cubicBezTo>
                    <a:pt x="9299" y="835"/>
                    <a:pt x="9295" y="828"/>
                    <a:pt x="9295" y="821"/>
                  </a:cubicBezTo>
                  <a:cubicBezTo>
                    <a:pt x="9295" y="814"/>
                    <a:pt x="9292" y="807"/>
                    <a:pt x="9292" y="804"/>
                  </a:cubicBezTo>
                  <a:cubicBezTo>
                    <a:pt x="9292" y="797"/>
                    <a:pt x="9288" y="790"/>
                    <a:pt x="9288" y="783"/>
                  </a:cubicBezTo>
                  <a:cubicBezTo>
                    <a:pt x="9288" y="776"/>
                    <a:pt x="9288" y="769"/>
                    <a:pt x="9285" y="762"/>
                  </a:cubicBezTo>
                  <a:cubicBezTo>
                    <a:pt x="9285" y="755"/>
                    <a:pt x="9285" y="748"/>
                    <a:pt x="9285" y="737"/>
                  </a:cubicBezTo>
                  <a:cubicBezTo>
                    <a:pt x="9281" y="730"/>
                    <a:pt x="9285" y="723"/>
                    <a:pt x="9285" y="716"/>
                  </a:cubicBezTo>
                  <a:lnTo>
                    <a:pt x="9285" y="692"/>
                  </a:lnTo>
                  <a:lnTo>
                    <a:pt x="9285" y="667"/>
                  </a:lnTo>
                  <a:lnTo>
                    <a:pt x="9285" y="639"/>
                  </a:lnTo>
                  <a:lnTo>
                    <a:pt x="9285" y="615"/>
                  </a:lnTo>
                  <a:lnTo>
                    <a:pt x="9285" y="587"/>
                  </a:lnTo>
                  <a:lnTo>
                    <a:pt x="9285" y="555"/>
                  </a:lnTo>
                  <a:lnTo>
                    <a:pt x="9285" y="524"/>
                  </a:lnTo>
                  <a:lnTo>
                    <a:pt x="9285" y="496"/>
                  </a:lnTo>
                  <a:lnTo>
                    <a:pt x="9285" y="461"/>
                  </a:lnTo>
                  <a:cubicBezTo>
                    <a:pt x="9285" y="450"/>
                    <a:pt x="9285" y="440"/>
                    <a:pt x="9285" y="429"/>
                  </a:cubicBezTo>
                  <a:cubicBezTo>
                    <a:pt x="9288" y="415"/>
                    <a:pt x="9285" y="405"/>
                    <a:pt x="9288" y="391"/>
                  </a:cubicBezTo>
                  <a:cubicBezTo>
                    <a:pt x="9292" y="380"/>
                    <a:pt x="9288" y="370"/>
                    <a:pt x="9292" y="356"/>
                  </a:cubicBezTo>
                  <a:cubicBezTo>
                    <a:pt x="9295" y="345"/>
                    <a:pt x="9295" y="331"/>
                    <a:pt x="9295" y="321"/>
                  </a:cubicBezTo>
                  <a:cubicBezTo>
                    <a:pt x="9295" y="307"/>
                    <a:pt x="9299" y="293"/>
                    <a:pt x="9299" y="282"/>
                  </a:cubicBezTo>
                  <a:cubicBezTo>
                    <a:pt x="9302" y="268"/>
                    <a:pt x="9302" y="254"/>
                    <a:pt x="9306" y="240"/>
                  </a:cubicBezTo>
                  <a:cubicBezTo>
                    <a:pt x="9306" y="226"/>
                    <a:pt x="9306" y="216"/>
                    <a:pt x="9309" y="202"/>
                  </a:cubicBezTo>
                  <a:cubicBezTo>
                    <a:pt x="9309" y="188"/>
                    <a:pt x="9313" y="174"/>
                    <a:pt x="9316" y="156"/>
                  </a:cubicBezTo>
                  <a:cubicBezTo>
                    <a:pt x="9316" y="142"/>
                    <a:pt x="9320" y="128"/>
                    <a:pt x="9320" y="114"/>
                  </a:cubicBezTo>
                  <a:lnTo>
                    <a:pt x="9320" y="104"/>
                  </a:lnTo>
                  <a:cubicBezTo>
                    <a:pt x="9162" y="90"/>
                    <a:pt x="9008" y="55"/>
                    <a:pt x="8861" y="6"/>
                  </a:cubicBezTo>
                  <a:cubicBezTo>
                    <a:pt x="8852" y="2"/>
                    <a:pt x="8837" y="1"/>
                    <a:pt x="8820" y="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324" name="Google Shape;3324;p104"/>
            <p:cNvSpPr/>
            <p:nvPr/>
          </p:nvSpPr>
          <p:spPr>
            <a:xfrm>
              <a:off x="2000849" y="1814649"/>
              <a:ext cx="14" cy="109"/>
            </a:xfrm>
            <a:custGeom>
              <a:avLst/>
              <a:gdLst/>
              <a:ahLst/>
              <a:cxnLst/>
              <a:rect l="l" t="t" r="r" b="b"/>
              <a:pathLst>
                <a:path w="1" h="8" extrusionOk="0">
                  <a:moveTo>
                    <a:pt x="1" y="7"/>
                  </a:moveTo>
                  <a:cubicBezTo>
                    <a:pt x="1" y="4"/>
                    <a:pt x="1" y="4"/>
                    <a:pt x="1" y="0"/>
                  </a:cubicBezTo>
                  <a:cubicBezTo>
                    <a:pt x="1" y="4"/>
                    <a:pt x="1" y="4"/>
                    <a:pt x="1" y="7"/>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325" name="Google Shape;3325;p104"/>
            <p:cNvSpPr/>
            <p:nvPr/>
          </p:nvSpPr>
          <p:spPr>
            <a:xfrm>
              <a:off x="2021202" y="1799102"/>
              <a:ext cx="149" cy="869"/>
            </a:xfrm>
            <a:custGeom>
              <a:avLst/>
              <a:gdLst/>
              <a:ahLst/>
              <a:cxnLst/>
              <a:rect l="l" t="t" r="r" b="b"/>
              <a:pathLst>
                <a:path w="11" h="64" extrusionOk="0">
                  <a:moveTo>
                    <a:pt x="11" y="0"/>
                  </a:moveTo>
                  <a:cubicBezTo>
                    <a:pt x="7" y="14"/>
                    <a:pt x="4" y="39"/>
                    <a:pt x="0" y="63"/>
                  </a:cubicBezTo>
                  <a:cubicBezTo>
                    <a:pt x="4" y="39"/>
                    <a:pt x="7" y="14"/>
                    <a:pt x="11"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326" name="Google Shape;3326;p104"/>
            <p:cNvSpPr/>
            <p:nvPr/>
          </p:nvSpPr>
          <p:spPr>
            <a:xfrm>
              <a:off x="2034372" y="1771296"/>
              <a:ext cx="244" cy="434"/>
            </a:xfrm>
            <a:custGeom>
              <a:avLst/>
              <a:gdLst/>
              <a:ahLst/>
              <a:cxnLst/>
              <a:rect l="l" t="t" r="r" b="b"/>
              <a:pathLst>
                <a:path w="18" h="32" extrusionOk="0">
                  <a:moveTo>
                    <a:pt x="18" y="32"/>
                  </a:moveTo>
                  <a:cubicBezTo>
                    <a:pt x="11" y="21"/>
                    <a:pt x="4" y="11"/>
                    <a:pt x="0" y="0"/>
                  </a:cubicBezTo>
                  <a:cubicBezTo>
                    <a:pt x="4" y="11"/>
                    <a:pt x="11" y="21"/>
                    <a:pt x="18" y="32"/>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327" name="Google Shape;3327;p104"/>
            <p:cNvSpPr/>
            <p:nvPr/>
          </p:nvSpPr>
          <p:spPr>
            <a:xfrm>
              <a:off x="1995581" y="1816645"/>
              <a:ext cx="1534" cy="299"/>
            </a:xfrm>
            <a:custGeom>
              <a:avLst/>
              <a:gdLst/>
              <a:ahLst/>
              <a:cxnLst/>
              <a:rect l="l" t="t" r="r" b="b"/>
              <a:pathLst>
                <a:path w="113" h="22" extrusionOk="0">
                  <a:moveTo>
                    <a:pt x="0" y="21"/>
                  </a:moveTo>
                  <a:cubicBezTo>
                    <a:pt x="35" y="7"/>
                    <a:pt x="74" y="0"/>
                    <a:pt x="112" y="4"/>
                  </a:cubicBezTo>
                  <a:cubicBezTo>
                    <a:pt x="74" y="0"/>
                    <a:pt x="35" y="7"/>
                    <a:pt x="0" y="2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328" name="Google Shape;3328;p104"/>
            <p:cNvSpPr/>
            <p:nvPr/>
          </p:nvSpPr>
          <p:spPr>
            <a:xfrm>
              <a:off x="2034603" y="1771771"/>
              <a:ext cx="204" cy="299"/>
            </a:xfrm>
            <a:custGeom>
              <a:avLst/>
              <a:gdLst/>
              <a:ahLst/>
              <a:cxnLst/>
              <a:rect l="l" t="t" r="r" b="b"/>
              <a:pathLst>
                <a:path w="15" h="22" extrusionOk="0">
                  <a:moveTo>
                    <a:pt x="1" y="0"/>
                  </a:moveTo>
                  <a:cubicBezTo>
                    <a:pt x="4" y="7"/>
                    <a:pt x="11" y="18"/>
                    <a:pt x="15" y="21"/>
                  </a:cubicBezTo>
                  <a:cubicBezTo>
                    <a:pt x="11" y="18"/>
                    <a:pt x="8" y="11"/>
                    <a:pt x="1"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329" name="Google Shape;3329;p104"/>
            <p:cNvSpPr/>
            <p:nvPr/>
          </p:nvSpPr>
          <p:spPr>
            <a:xfrm>
              <a:off x="2034182" y="1771051"/>
              <a:ext cx="109" cy="163"/>
            </a:xfrm>
            <a:custGeom>
              <a:avLst/>
              <a:gdLst/>
              <a:ahLst/>
              <a:cxnLst/>
              <a:rect l="l" t="t" r="r" b="b"/>
              <a:pathLst>
                <a:path w="8" h="12" extrusionOk="0">
                  <a:moveTo>
                    <a:pt x="0" y="1"/>
                  </a:moveTo>
                  <a:lnTo>
                    <a:pt x="7" y="1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330" name="Google Shape;3330;p104"/>
            <p:cNvSpPr/>
            <p:nvPr/>
          </p:nvSpPr>
          <p:spPr>
            <a:xfrm>
              <a:off x="1997672" y="1816115"/>
              <a:ext cx="2675" cy="611"/>
            </a:xfrm>
            <a:custGeom>
              <a:avLst/>
              <a:gdLst/>
              <a:ahLst/>
              <a:cxnLst/>
              <a:rect l="l" t="t" r="r" b="b"/>
              <a:pathLst>
                <a:path w="197" h="45" extrusionOk="0">
                  <a:moveTo>
                    <a:pt x="196" y="1"/>
                  </a:moveTo>
                  <a:cubicBezTo>
                    <a:pt x="154" y="40"/>
                    <a:pt x="93" y="43"/>
                    <a:pt x="30" y="43"/>
                  </a:cubicBezTo>
                  <a:cubicBezTo>
                    <a:pt x="20" y="43"/>
                    <a:pt x="10" y="43"/>
                    <a:pt x="0" y="43"/>
                  </a:cubicBezTo>
                  <a:cubicBezTo>
                    <a:pt x="16" y="43"/>
                    <a:pt x="32" y="44"/>
                    <a:pt x="48" y="44"/>
                  </a:cubicBezTo>
                  <a:cubicBezTo>
                    <a:pt x="105" y="44"/>
                    <a:pt x="158" y="36"/>
                    <a:pt x="196" y="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331" name="Google Shape;3331;p104"/>
            <p:cNvSpPr/>
            <p:nvPr/>
          </p:nvSpPr>
          <p:spPr>
            <a:xfrm>
              <a:off x="2027950" y="1795491"/>
              <a:ext cx="8282" cy="434"/>
            </a:xfrm>
            <a:custGeom>
              <a:avLst/>
              <a:gdLst/>
              <a:ahLst/>
              <a:cxnLst/>
              <a:rect l="l" t="t" r="r" b="b"/>
              <a:pathLst>
                <a:path w="610" h="32" extrusionOk="0">
                  <a:moveTo>
                    <a:pt x="610" y="32"/>
                  </a:moveTo>
                  <a:cubicBezTo>
                    <a:pt x="477" y="25"/>
                    <a:pt x="91" y="0"/>
                    <a:pt x="0" y="32"/>
                  </a:cubicBezTo>
                  <a:cubicBezTo>
                    <a:pt x="91" y="0"/>
                    <a:pt x="477" y="25"/>
                    <a:pt x="610" y="32"/>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332" name="Google Shape;3332;p104"/>
            <p:cNvSpPr/>
            <p:nvPr/>
          </p:nvSpPr>
          <p:spPr>
            <a:xfrm>
              <a:off x="2110135" y="1764018"/>
              <a:ext cx="54" cy="258"/>
            </a:xfrm>
            <a:custGeom>
              <a:avLst/>
              <a:gdLst/>
              <a:ahLst/>
              <a:cxnLst/>
              <a:rect l="l" t="t" r="r" b="b"/>
              <a:pathLst>
                <a:path w="4" h="19" extrusionOk="0">
                  <a:moveTo>
                    <a:pt x="0" y="1"/>
                  </a:moveTo>
                  <a:cubicBezTo>
                    <a:pt x="0" y="8"/>
                    <a:pt x="0" y="11"/>
                    <a:pt x="4" y="18"/>
                  </a:cubicBezTo>
                  <a:cubicBezTo>
                    <a:pt x="4" y="11"/>
                    <a:pt x="4" y="8"/>
                    <a:pt x="0" y="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333" name="Google Shape;3333;p104"/>
            <p:cNvSpPr/>
            <p:nvPr/>
          </p:nvSpPr>
          <p:spPr>
            <a:xfrm>
              <a:off x="2110270" y="1764493"/>
              <a:ext cx="68" cy="258"/>
            </a:xfrm>
            <a:custGeom>
              <a:avLst/>
              <a:gdLst/>
              <a:ahLst/>
              <a:cxnLst/>
              <a:rect l="l" t="t" r="r" b="b"/>
              <a:pathLst>
                <a:path w="5" h="19" extrusionOk="0">
                  <a:moveTo>
                    <a:pt x="1" y="1"/>
                  </a:moveTo>
                  <a:cubicBezTo>
                    <a:pt x="1" y="8"/>
                    <a:pt x="1" y="11"/>
                    <a:pt x="4" y="18"/>
                  </a:cubicBezTo>
                  <a:cubicBezTo>
                    <a:pt x="1" y="11"/>
                    <a:pt x="1" y="8"/>
                    <a:pt x="1" y="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334" name="Google Shape;3334;p104"/>
            <p:cNvSpPr/>
            <p:nvPr/>
          </p:nvSpPr>
          <p:spPr>
            <a:xfrm>
              <a:off x="2110080" y="1763448"/>
              <a:ext cx="68" cy="299"/>
            </a:xfrm>
            <a:custGeom>
              <a:avLst/>
              <a:gdLst/>
              <a:ahLst/>
              <a:cxnLst/>
              <a:rect l="l" t="t" r="r" b="b"/>
              <a:pathLst>
                <a:path w="5" h="22" extrusionOk="0">
                  <a:moveTo>
                    <a:pt x="1" y="1"/>
                  </a:moveTo>
                  <a:cubicBezTo>
                    <a:pt x="1" y="8"/>
                    <a:pt x="1" y="15"/>
                    <a:pt x="4" y="22"/>
                  </a:cubicBezTo>
                  <a:cubicBezTo>
                    <a:pt x="1" y="15"/>
                    <a:pt x="1" y="8"/>
                    <a:pt x="1" y="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335" name="Google Shape;3335;p104"/>
            <p:cNvSpPr/>
            <p:nvPr/>
          </p:nvSpPr>
          <p:spPr>
            <a:xfrm>
              <a:off x="2110039" y="1759836"/>
              <a:ext cx="14" cy="448"/>
            </a:xfrm>
            <a:custGeom>
              <a:avLst/>
              <a:gdLst/>
              <a:ahLst/>
              <a:cxnLst/>
              <a:rect l="l" t="t" r="r" b="b"/>
              <a:pathLst>
                <a:path w="1" h="33" extrusionOk="0">
                  <a:moveTo>
                    <a:pt x="0" y="1"/>
                  </a:moveTo>
                  <a:lnTo>
                    <a:pt x="0" y="32"/>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336" name="Google Shape;3336;p104"/>
            <p:cNvSpPr/>
            <p:nvPr/>
          </p:nvSpPr>
          <p:spPr>
            <a:xfrm>
              <a:off x="2110039" y="1762878"/>
              <a:ext cx="14" cy="299"/>
            </a:xfrm>
            <a:custGeom>
              <a:avLst/>
              <a:gdLst/>
              <a:ahLst/>
              <a:cxnLst/>
              <a:rect l="l" t="t" r="r" b="b"/>
              <a:pathLst>
                <a:path w="1" h="22" extrusionOk="0">
                  <a:moveTo>
                    <a:pt x="0" y="1"/>
                  </a:moveTo>
                  <a:lnTo>
                    <a:pt x="0" y="22"/>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337" name="Google Shape;3337;p104"/>
            <p:cNvSpPr/>
            <p:nvPr/>
          </p:nvSpPr>
          <p:spPr>
            <a:xfrm>
              <a:off x="2119218" y="1809706"/>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338" name="Google Shape;3338;p104"/>
            <p:cNvSpPr/>
            <p:nvPr/>
          </p:nvSpPr>
          <p:spPr>
            <a:xfrm>
              <a:off x="2110555" y="1765349"/>
              <a:ext cx="68" cy="204"/>
            </a:xfrm>
            <a:custGeom>
              <a:avLst/>
              <a:gdLst/>
              <a:ahLst/>
              <a:cxnLst/>
              <a:rect l="l" t="t" r="r" b="b"/>
              <a:pathLst>
                <a:path w="5" h="15" extrusionOk="0">
                  <a:moveTo>
                    <a:pt x="1" y="1"/>
                  </a:moveTo>
                  <a:lnTo>
                    <a:pt x="1" y="1"/>
                  </a:lnTo>
                  <a:cubicBezTo>
                    <a:pt x="1" y="4"/>
                    <a:pt x="4" y="11"/>
                    <a:pt x="4" y="15"/>
                  </a:cubicBezTo>
                  <a:cubicBezTo>
                    <a:pt x="4" y="8"/>
                    <a:pt x="1" y="4"/>
                    <a:pt x="1" y="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339" name="Google Shape;3339;p104"/>
            <p:cNvSpPr/>
            <p:nvPr/>
          </p:nvSpPr>
          <p:spPr>
            <a:xfrm>
              <a:off x="2119028" y="1808987"/>
              <a:ext cx="14" cy="163"/>
            </a:xfrm>
            <a:custGeom>
              <a:avLst/>
              <a:gdLst/>
              <a:ahLst/>
              <a:cxnLst/>
              <a:rect l="l" t="t" r="r" b="b"/>
              <a:pathLst>
                <a:path w="1" h="12" extrusionOk="0">
                  <a:moveTo>
                    <a:pt x="0" y="1"/>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340" name="Google Shape;3340;p104"/>
            <p:cNvSpPr/>
            <p:nvPr/>
          </p:nvSpPr>
          <p:spPr>
            <a:xfrm>
              <a:off x="2110365" y="1764969"/>
              <a:ext cx="109" cy="204"/>
            </a:xfrm>
            <a:custGeom>
              <a:avLst/>
              <a:gdLst/>
              <a:ahLst/>
              <a:cxnLst/>
              <a:rect l="l" t="t" r="r" b="b"/>
              <a:pathLst>
                <a:path w="8" h="15" extrusionOk="0">
                  <a:moveTo>
                    <a:pt x="1" y="1"/>
                  </a:moveTo>
                  <a:lnTo>
                    <a:pt x="1" y="1"/>
                  </a:lnTo>
                  <a:cubicBezTo>
                    <a:pt x="1" y="4"/>
                    <a:pt x="4" y="11"/>
                    <a:pt x="8" y="15"/>
                  </a:cubicBezTo>
                  <a:cubicBezTo>
                    <a:pt x="4" y="11"/>
                    <a:pt x="4" y="4"/>
                    <a:pt x="1" y="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341" name="Google Shape;3341;p104"/>
            <p:cNvSpPr/>
            <p:nvPr/>
          </p:nvSpPr>
          <p:spPr>
            <a:xfrm>
              <a:off x="2110080" y="1758981"/>
              <a:ext cx="14" cy="448"/>
            </a:xfrm>
            <a:custGeom>
              <a:avLst/>
              <a:gdLst/>
              <a:ahLst/>
              <a:cxnLst/>
              <a:rect l="l" t="t" r="r" b="b"/>
              <a:pathLst>
                <a:path w="1" h="33" extrusionOk="0">
                  <a:moveTo>
                    <a:pt x="1" y="1"/>
                  </a:moveTo>
                  <a:cubicBezTo>
                    <a:pt x="1" y="11"/>
                    <a:pt x="1" y="22"/>
                    <a:pt x="1" y="32"/>
                  </a:cubicBezTo>
                  <a:cubicBezTo>
                    <a:pt x="1" y="22"/>
                    <a:pt x="1" y="11"/>
                    <a:pt x="1" y="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342" name="Google Shape;3342;p104"/>
            <p:cNvSpPr/>
            <p:nvPr/>
          </p:nvSpPr>
          <p:spPr>
            <a:xfrm>
              <a:off x="2109985" y="1762212"/>
              <a:ext cx="14" cy="299"/>
            </a:xfrm>
            <a:custGeom>
              <a:avLst/>
              <a:gdLst/>
              <a:ahLst/>
              <a:cxnLst/>
              <a:rect l="l" t="t" r="r" b="b"/>
              <a:pathLst>
                <a:path w="1" h="22" extrusionOk="0">
                  <a:moveTo>
                    <a:pt x="1" y="1"/>
                  </a:moveTo>
                  <a:lnTo>
                    <a:pt x="1" y="22"/>
                  </a:lnTo>
                  <a:cubicBezTo>
                    <a:pt x="1" y="15"/>
                    <a:pt x="1" y="8"/>
                    <a:pt x="1" y="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343" name="Google Shape;3343;p104"/>
            <p:cNvSpPr/>
            <p:nvPr/>
          </p:nvSpPr>
          <p:spPr>
            <a:xfrm>
              <a:off x="2109985" y="1760692"/>
              <a:ext cx="14" cy="394"/>
            </a:xfrm>
            <a:custGeom>
              <a:avLst/>
              <a:gdLst/>
              <a:ahLst/>
              <a:cxnLst/>
              <a:rect l="l" t="t" r="r" b="b"/>
              <a:pathLst>
                <a:path w="1" h="29" extrusionOk="0">
                  <a:moveTo>
                    <a:pt x="1" y="1"/>
                  </a:moveTo>
                  <a:lnTo>
                    <a:pt x="1" y="29"/>
                  </a:lnTo>
                  <a:cubicBezTo>
                    <a:pt x="1" y="22"/>
                    <a:pt x="1" y="11"/>
                    <a:pt x="1" y="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344" name="Google Shape;3344;p104"/>
            <p:cNvSpPr/>
            <p:nvPr/>
          </p:nvSpPr>
          <p:spPr>
            <a:xfrm>
              <a:off x="2109985" y="1761452"/>
              <a:ext cx="14" cy="394"/>
            </a:xfrm>
            <a:custGeom>
              <a:avLst/>
              <a:gdLst/>
              <a:ahLst/>
              <a:cxnLst/>
              <a:rect l="l" t="t" r="r" b="b"/>
              <a:pathLst>
                <a:path w="1" h="29" extrusionOk="0">
                  <a:moveTo>
                    <a:pt x="1" y="29"/>
                  </a:moveTo>
                  <a:lnTo>
                    <a:pt x="1"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345" name="Google Shape;3345;p104"/>
            <p:cNvSpPr/>
            <p:nvPr/>
          </p:nvSpPr>
          <p:spPr>
            <a:xfrm>
              <a:off x="2110705" y="1765688"/>
              <a:ext cx="109" cy="149"/>
            </a:xfrm>
            <a:custGeom>
              <a:avLst/>
              <a:gdLst/>
              <a:ahLst/>
              <a:cxnLst/>
              <a:rect l="l" t="t" r="r" b="b"/>
              <a:pathLst>
                <a:path w="8" h="11" extrusionOk="0">
                  <a:moveTo>
                    <a:pt x="0" y="0"/>
                  </a:moveTo>
                  <a:cubicBezTo>
                    <a:pt x="0" y="4"/>
                    <a:pt x="4" y="7"/>
                    <a:pt x="7" y="11"/>
                  </a:cubicBezTo>
                  <a:lnTo>
                    <a:pt x="0"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346" name="Google Shape;3346;p104"/>
            <p:cNvSpPr/>
            <p:nvPr/>
          </p:nvSpPr>
          <p:spPr>
            <a:xfrm>
              <a:off x="2110135" y="1757990"/>
              <a:ext cx="54" cy="489"/>
            </a:xfrm>
            <a:custGeom>
              <a:avLst/>
              <a:gdLst/>
              <a:ahLst/>
              <a:cxnLst/>
              <a:rect l="l" t="t" r="r" b="b"/>
              <a:pathLst>
                <a:path w="4" h="36" extrusionOk="0">
                  <a:moveTo>
                    <a:pt x="4" y="0"/>
                  </a:moveTo>
                  <a:cubicBezTo>
                    <a:pt x="4" y="14"/>
                    <a:pt x="0" y="25"/>
                    <a:pt x="0" y="35"/>
                  </a:cubicBezTo>
                  <a:cubicBezTo>
                    <a:pt x="0" y="25"/>
                    <a:pt x="4" y="14"/>
                    <a:pt x="4"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347" name="Google Shape;3347;p104"/>
            <p:cNvSpPr/>
            <p:nvPr/>
          </p:nvSpPr>
          <p:spPr>
            <a:xfrm>
              <a:off x="2110230" y="1756985"/>
              <a:ext cx="54" cy="489"/>
            </a:xfrm>
            <a:custGeom>
              <a:avLst/>
              <a:gdLst/>
              <a:ahLst/>
              <a:cxnLst/>
              <a:rect l="l" t="t" r="r" b="b"/>
              <a:pathLst>
                <a:path w="4" h="36" extrusionOk="0">
                  <a:moveTo>
                    <a:pt x="4" y="1"/>
                  </a:moveTo>
                  <a:cubicBezTo>
                    <a:pt x="4" y="11"/>
                    <a:pt x="0" y="25"/>
                    <a:pt x="0" y="36"/>
                  </a:cubicBezTo>
                  <a:cubicBezTo>
                    <a:pt x="0" y="25"/>
                    <a:pt x="4" y="11"/>
                    <a:pt x="4" y="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348" name="Google Shape;3348;p104"/>
            <p:cNvSpPr/>
            <p:nvPr/>
          </p:nvSpPr>
          <p:spPr>
            <a:xfrm>
              <a:off x="2110365" y="1755899"/>
              <a:ext cx="68" cy="530"/>
            </a:xfrm>
            <a:custGeom>
              <a:avLst/>
              <a:gdLst/>
              <a:ahLst/>
              <a:cxnLst/>
              <a:rect l="l" t="t" r="r" b="b"/>
              <a:pathLst>
                <a:path w="5" h="39" extrusionOk="0">
                  <a:moveTo>
                    <a:pt x="4" y="0"/>
                  </a:moveTo>
                  <a:cubicBezTo>
                    <a:pt x="4" y="14"/>
                    <a:pt x="1" y="25"/>
                    <a:pt x="1" y="39"/>
                  </a:cubicBezTo>
                  <a:cubicBezTo>
                    <a:pt x="1" y="25"/>
                    <a:pt x="4" y="14"/>
                    <a:pt x="4"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349" name="Google Shape;3349;p104"/>
            <p:cNvSpPr/>
            <p:nvPr/>
          </p:nvSpPr>
          <p:spPr>
            <a:xfrm>
              <a:off x="2110515" y="1754704"/>
              <a:ext cx="54" cy="638"/>
            </a:xfrm>
            <a:custGeom>
              <a:avLst/>
              <a:gdLst/>
              <a:ahLst/>
              <a:cxnLst/>
              <a:rect l="l" t="t" r="r" b="b"/>
              <a:pathLst>
                <a:path w="4" h="47" extrusionOk="0">
                  <a:moveTo>
                    <a:pt x="4" y="1"/>
                  </a:moveTo>
                  <a:lnTo>
                    <a:pt x="4" y="1"/>
                  </a:lnTo>
                  <a:cubicBezTo>
                    <a:pt x="4" y="15"/>
                    <a:pt x="0" y="32"/>
                    <a:pt x="0" y="46"/>
                  </a:cubicBezTo>
                  <a:cubicBezTo>
                    <a:pt x="0" y="32"/>
                    <a:pt x="4" y="18"/>
                    <a:pt x="4" y="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350" name="Google Shape;3350;p104"/>
            <p:cNvSpPr/>
            <p:nvPr/>
          </p:nvSpPr>
          <p:spPr>
            <a:xfrm>
              <a:off x="2119734" y="1788268"/>
              <a:ext cx="110385" cy="105294"/>
            </a:xfrm>
            <a:custGeom>
              <a:avLst/>
              <a:gdLst/>
              <a:ahLst/>
              <a:cxnLst/>
              <a:rect l="l" t="t" r="r" b="b"/>
              <a:pathLst>
                <a:path w="8130" h="7755" extrusionOk="0">
                  <a:moveTo>
                    <a:pt x="1152" y="0"/>
                  </a:moveTo>
                  <a:lnTo>
                    <a:pt x="1152" y="4"/>
                  </a:lnTo>
                  <a:cubicBezTo>
                    <a:pt x="1152" y="21"/>
                    <a:pt x="1152" y="35"/>
                    <a:pt x="1152" y="49"/>
                  </a:cubicBezTo>
                  <a:lnTo>
                    <a:pt x="1152" y="56"/>
                  </a:lnTo>
                  <a:cubicBezTo>
                    <a:pt x="1152" y="70"/>
                    <a:pt x="1152" y="84"/>
                    <a:pt x="1149" y="98"/>
                  </a:cubicBezTo>
                  <a:lnTo>
                    <a:pt x="1149" y="102"/>
                  </a:lnTo>
                  <a:lnTo>
                    <a:pt x="1149" y="137"/>
                  </a:lnTo>
                  <a:lnTo>
                    <a:pt x="1149" y="144"/>
                  </a:lnTo>
                  <a:lnTo>
                    <a:pt x="1149" y="175"/>
                  </a:lnTo>
                  <a:cubicBezTo>
                    <a:pt x="1156" y="371"/>
                    <a:pt x="988" y="392"/>
                    <a:pt x="914" y="399"/>
                  </a:cubicBezTo>
                  <a:lnTo>
                    <a:pt x="893" y="403"/>
                  </a:lnTo>
                  <a:lnTo>
                    <a:pt x="876" y="403"/>
                  </a:lnTo>
                  <a:cubicBezTo>
                    <a:pt x="799" y="466"/>
                    <a:pt x="729" y="536"/>
                    <a:pt x="659" y="606"/>
                  </a:cubicBezTo>
                  <a:lnTo>
                    <a:pt x="648" y="616"/>
                  </a:lnTo>
                  <a:lnTo>
                    <a:pt x="638" y="630"/>
                  </a:lnTo>
                  <a:lnTo>
                    <a:pt x="606" y="662"/>
                  </a:lnTo>
                  <a:cubicBezTo>
                    <a:pt x="547" y="718"/>
                    <a:pt x="498" y="767"/>
                    <a:pt x="473" y="788"/>
                  </a:cubicBezTo>
                  <a:cubicBezTo>
                    <a:pt x="431" y="833"/>
                    <a:pt x="417" y="896"/>
                    <a:pt x="442" y="952"/>
                  </a:cubicBezTo>
                  <a:cubicBezTo>
                    <a:pt x="494" y="1057"/>
                    <a:pt x="403" y="1334"/>
                    <a:pt x="344" y="1450"/>
                  </a:cubicBezTo>
                  <a:cubicBezTo>
                    <a:pt x="295" y="1527"/>
                    <a:pt x="232" y="1593"/>
                    <a:pt x="155" y="1642"/>
                  </a:cubicBezTo>
                  <a:lnTo>
                    <a:pt x="148" y="1646"/>
                  </a:lnTo>
                  <a:lnTo>
                    <a:pt x="113" y="1667"/>
                  </a:lnTo>
                  <a:lnTo>
                    <a:pt x="88" y="1684"/>
                  </a:lnTo>
                  <a:cubicBezTo>
                    <a:pt x="57" y="1705"/>
                    <a:pt x="29" y="1730"/>
                    <a:pt x="1" y="1754"/>
                  </a:cubicBezTo>
                  <a:cubicBezTo>
                    <a:pt x="1" y="1758"/>
                    <a:pt x="1" y="1761"/>
                    <a:pt x="1" y="1765"/>
                  </a:cubicBezTo>
                  <a:lnTo>
                    <a:pt x="1" y="1768"/>
                  </a:lnTo>
                  <a:cubicBezTo>
                    <a:pt x="1" y="1772"/>
                    <a:pt x="4" y="1775"/>
                    <a:pt x="4" y="1779"/>
                  </a:cubicBezTo>
                  <a:lnTo>
                    <a:pt x="8" y="1786"/>
                  </a:lnTo>
                  <a:lnTo>
                    <a:pt x="11" y="1796"/>
                  </a:lnTo>
                  <a:lnTo>
                    <a:pt x="18" y="1810"/>
                  </a:lnTo>
                  <a:lnTo>
                    <a:pt x="22" y="1817"/>
                  </a:lnTo>
                  <a:cubicBezTo>
                    <a:pt x="43" y="1852"/>
                    <a:pt x="67" y="1898"/>
                    <a:pt x="92" y="1936"/>
                  </a:cubicBezTo>
                  <a:cubicBezTo>
                    <a:pt x="148" y="2027"/>
                    <a:pt x="200" y="2118"/>
                    <a:pt x="242" y="2216"/>
                  </a:cubicBezTo>
                  <a:cubicBezTo>
                    <a:pt x="309" y="2360"/>
                    <a:pt x="270" y="2486"/>
                    <a:pt x="239" y="2584"/>
                  </a:cubicBezTo>
                  <a:cubicBezTo>
                    <a:pt x="214" y="2671"/>
                    <a:pt x="197" y="2727"/>
                    <a:pt x="225" y="2787"/>
                  </a:cubicBezTo>
                  <a:cubicBezTo>
                    <a:pt x="333" y="2997"/>
                    <a:pt x="267" y="3123"/>
                    <a:pt x="179" y="3228"/>
                  </a:cubicBezTo>
                  <a:cubicBezTo>
                    <a:pt x="144" y="3273"/>
                    <a:pt x="158" y="3343"/>
                    <a:pt x="176" y="3417"/>
                  </a:cubicBezTo>
                  <a:cubicBezTo>
                    <a:pt x="186" y="3452"/>
                    <a:pt x="190" y="3491"/>
                    <a:pt x="193" y="3526"/>
                  </a:cubicBezTo>
                  <a:cubicBezTo>
                    <a:pt x="200" y="3568"/>
                    <a:pt x="214" y="3606"/>
                    <a:pt x="235" y="3641"/>
                  </a:cubicBezTo>
                  <a:cubicBezTo>
                    <a:pt x="270" y="3708"/>
                    <a:pt x="305" y="3774"/>
                    <a:pt x="253" y="3823"/>
                  </a:cubicBezTo>
                  <a:cubicBezTo>
                    <a:pt x="249" y="3830"/>
                    <a:pt x="232" y="3844"/>
                    <a:pt x="214" y="3858"/>
                  </a:cubicBezTo>
                  <a:cubicBezTo>
                    <a:pt x="172" y="3897"/>
                    <a:pt x="137" y="3928"/>
                    <a:pt x="113" y="3953"/>
                  </a:cubicBezTo>
                  <a:cubicBezTo>
                    <a:pt x="57" y="4009"/>
                    <a:pt x="39" y="4037"/>
                    <a:pt x="36" y="4051"/>
                  </a:cubicBezTo>
                  <a:cubicBezTo>
                    <a:pt x="46" y="4079"/>
                    <a:pt x="67" y="4107"/>
                    <a:pt x="88" y="4131"/>
                  </a:cubicBezTo>
                  <a:lnTo>
                    <a:pt x="120" y="4166"/>
                  </a:lnTo>
                  <a:cubicBezTo>
                    <a:pt x="172" y="4226"/>
                    <a:pt x="221" y="4289"/>
                    <a:pt x="267" y="4355"/>
                  </a:cubicBezTo>
                  <a:cubicBezTo>
                    <a:pt x="337" y="4450"/>
                    <a:pt x="361" y="4572"/>
                    <a:pt x="340" y="4688"/>
                  </a:cubicBezTo>
                  <a:cubicBezTo>
                    <a:pt x="337" y="4726"/>
                    <a:pt x="333" y="4765"/>
                    <a:pt x="337" y="4803"/>
                  </a:cubicBezTo>
                  <a:cubicBezTo>
                    <a:pt x="351" y="4901"/>
                    <a:pt x="519" y="4971"/>
                    <a:pt x="655" y="4971"/>
                  </a:cubicBezTo>
                  <a:cubicBezTo>
                    <a:pt x="743" y="4975"/>
                    <a:pt x="827" y="4999"/>
                    <a:pt x="900" y="5041"/>
                  </a:cubicBezTo>
                  <a:cubicBezTo>
                    <a:pt x="949" y="5069"/>
                    <a:pt x="1005" y="5087"/>
                    <a:pt x="1061" y="5090"/>
                  </a:cubicBezTo>
                  <a:cubicBezTo>
                    <a:pt x="1072" y="5090"/>
                    <a:pt x="1082" y="5090"/>
                    <a:pt x="1093" y="5094"/>
                  </a:cubicBezTo>
                  <a:lnTo>
                    <a:pt x="1103" y="5097"/>
                  </a:lnTo>
                  <a:cubicBezTo>
                    <a:pt x="1110" y="5097"/>
                    <a:pt x="1114" y="5101"/>
                    <a:pt x="1121" y="5101"/>
                  </a:cubicBezTo>
                  <a:lnTo>
                    <a:pt x="1131" y="5108"/>
                  </a:lnTo>
                  <a:cubicBezTo>
                    <a:pt x="1138" y="5111"/>
                    <a:pt x="1145" y="5111"/>
                    <a:pt x="1149" y="5115"/>
                  </a:cubicBezTo>
                  <a:lnTo>
                    <a:pt x="1159" y="5122"/>
                  </a:lnTo>
                  <a:lnTo>
                    <a:pt x="1177" y="5132"/>
                  </a:lnTo>
                  <a:lnTo>
                    <a:pt x="1187" y="5143"/>
                  </a:lnTo>
                  <a:lnTo>
                    <a:pt x="1201" y="5157"/>
                  </a:lnTo>
                  <a:lnTo>
                    <a:pt x="1212" y="5167"/>
                  </a:lnTo>
                  <a:lnTo>
                    <a:pt x="1222" y="5181"/>
                  </a:lnTo>
                  <a:lnTo>
                    <a:pt x="1233" y="5195"/>
                  </a:lnTo>
                  <a:lnTo>
                    <a:pt x="1247" y="5209"/>
                  </a:lnTo>
                  <a:lnTo>
                    <a:pt x="1254" y="5227"/>
                  </a:lnTo>
                  <a:lnTo>
                    <a:pt x="1264" y="5244"/>
                  </a:lnTo>
                  <a:lnTo>
                    <a:pt x="1275" y="5258"/>
                  </a:lnTo>
                  <a:lnTo>
                    <a:pt x="1285" y="5279"/>
                  </a:lnTo>
                  <a:lnTo>
                    <a:pt x="1292" y="5297"/>
                  </a:lnTo>
                  <a:lnTo>
                    <a:pt x="1303" y="5318"/>
                  </a:lnTo>
                  <a:lnTo>
                    <a:pt x="1310" y="5335"/>
                  </a:lnTo>
                  <a:lnTo>
                    <a:pt x="1320" y="5360"/>
                  </a:lnTo>
                  <a:lnTo>
                    <a:pt x="1327" y="5377"/>
                  </a:lnTo>
                  <a:lnTo>
                    <a:pt x="1338" y="5402"/>
                  </a:lnTo>
                  <a:lnTo>
                    <a:pt x="1341" y="5419"/>
                  </a:lnTo>
                  <a:lnTo>
                    <a:pt x="1352" y="5451"/>
                  </a:lnTo>
                  <a:lnTo>
                    <a:pt x="1359" y="5465"/>
                  </a:lnTo>
                  <a:lnTo>
                    <a:pt x="1369" y="5504"/>
                  </a:lnTo>
                  <a:lnTo>
                    <a:pt x="1373" y="5511"/>
                  </a:lnTo>
                  <a:lnTo>
                    <a:pt x="1387" y="5560"/>
                  </a:lnTo>
                  <a:cubicBezTo>
                    <a:pt x="1425" y="5560"/>
                    <a:pt x="1485" y="5563"/>
                    <a:pt x="1555" y="5567"/>
                  </a:cubicBezTo>
                  <a:lnTo>
                    <a:pt x="1562" y="5567"/>
                  </a:lnTo>
                  <a:lnTo>
                    <a:pt x="1600" y="5570"/>
                  </a:lnTo>
                  <a:lnTo>
                    <a:pt x="1625" y="5574"/>
                  </a:lnTo>
                  <a:lnTo>
                    <a:pt x="1646" y="5574"/>
                  </a:lnTo>
                  <a:cubicBezTo>
                    <a:pt x="1733" y="5584"/>
                    <a:pt x="1821" y="5598"/>
                    <a:pt x="1909" y="5619"/>
                  </a:cubicBezTo>
                  <a:lnTo>
                    <a:pt x="1916" y="5619"/>
                  </a:lnTo>
                  <a:lnTo>
                    <a:pt x="1965" y="5630"/>
                  </a:lnTo>
                  <a:lnTo>
                    <a:pt x="1979" y="5637"/>
                  </a:lnTo>
                  <a:lnTo>
                    <a:pt x="2003" y="5644"/>
                  </a:lnTo>
                  <a:lnTo>
                    <a:pt x="2035" y="5654"/>
                  </a:lnTo>
                  <a:lnTo>
                    <a:pt x="2056" y="5661"/>
                  </a:lnTo>
                  <a:lnTo>
                    <a:pt x="2084" y="5672"/>
                  </a:lnTo>
                  <a:lnTo>
                    <a:pt x="2094" y="5675"/>
                  </a:lnTo>
                  <a:cubicBezTo>
                    <a:pt x="2108" y="5682"/>
                    <a:pt x="2119" y="5689"/>
                    <a:pt x="2133" y="5693"/>
                  </a:cubicBezTo>
                  <a:lnTo>
                    <a:pt x="2140" y="5700"/>
                  </a:lnTo>
                  <a:cubicBezTo>
                    <a:pt x="2154" y="5707"/>
                    <a:pt x="2164" y="5710"/>
                    <a:pt x="2175" y="5721"/>
                  </a:cubicBezTo>
                  <a:cubicBezTo>
                    <a:pt x="2196" y="5731"/>
                    <a:pt x="2213" y="5745"/>
                    <a:pt x="2231" y="5759"/>
                  </a:cubicBezTo>
                  <a:cubicBezTo>
                    <a:pt x="2336" y="5836"/>
                    <a:pt x="2427" y="5931"/>
                    <a:pt x="2504" y="6032"/>
                  </a:cubicBezTo>
                  <a:lnTo>
                    <a:pt x="3407" y="5546"/>
                  </a:lnTo>
                  <a:lnTo>
                    <a:pt x="7517" y="7755"/>
                  </a:lnTo>
                  <a:lnTo>
                    <a:pt x="7517" y="7509"/>
                  </a:lnTo>
                  <a:lnTo>
                    <a:pt x="8021" y="7509"/>
                  </a:lnTo>
                  <a:lnTo>
                    <a:pt x="8021" y="2213"/>
                  </a:lnTo>
                  <a:cubicBezTo>
                    <a:pt x="8017" y="2097"/>
                    <a:pt x="8003" y="1978"/>
                    <a:pt x="7979" y="1863"/>
                  </a:cubicBezTo>
                  <a:cubicBezTo>
                    <a:pt x="7940" y="1677"/>
                    <a:pt x="7909" y="1513"/>
                    <a:pt x="8035" y="1362"/>
                  </a:cubicBezTo>
                  <a:cubicBezTo>
                    <a:pt x="8098" y="1285"/>
                    <a:pt x="8088" y="1239"/>
                    <a:pt x="8070" y="1145"/>
                  </a:cubicBezTo>
                  <a:cubicBezTo>
                    <a:pt x="8031" y="998"/>
                    <a:pt x="8039" y="844"/>
                    <a:pt x="8091" y="707"/>
                  </a:cubicBezTo>
                  <a:lnTo>
                    <a:pt x="8105" y="672"/>
                  </a:lnTo>
                  <a:lnTo>
                    <a:pt x="8130" y="602"/>
                  </a:lnTo>
                  <a:cubicBezTo>
                    <a:pt x="8130" y="599"/>
                    <a:pt x="8126" y="595"/>
                    <a:pt x="8126" y="592"/>
                  </a:cubicBezTo>
                  <a:cubicBezTo>
                    <a:pt x="8105" y="536"/>
                    <a:pt x="7923" y="511"/>
                    <a:pt x="7671" y="476"/>
                  </a:cubicBezTo>
                  <a:cubicBezTo>
                    <a:pt x="7601" y="466"/>
                    <a:pt x="7527" y="455"/>
                    <a:pt x="7443" y="441"/>
                  </a:cubicBezTo>
                  <a:cubicBezTo>
                    <a:pt x="7191" y="403"/>
                    <a:pt x="7100" y="298"/>
                    <a:pt x="7020" y="203"/>
                  </a:cubicBezTo>
                  <a:cubicBezTo>
                    <a:pt x="6939" y="112"/>
                    <a:pt x="6869" y="28"/>
                    <a:pt x="6614" y="14"/>
                  </a:cubicBezTo>
                  <a:cubicBezTo>
                    <a:pt x="6596" y="13"/>
                    <a:pt x="6579" y="13"/>
                    <a:pt x="6561" y="13"/>
                  </a:cubicBezTo>
                  <a:cubicBezTo>
                    <a:pt x="6217" y="13"/>
                    <a:pt x="5801" y="203"/>
                    <a:pt x="5584" y="399"/>
                  </a:cubicBezTo>
                  <a:cubicBezTo>
                    <a:pt x="5476" y="501"/>
                    <a:pt x="5465" y="557"/>
                    <a:pt x="5465" y="574"/>
                  </a:cubicBezTo>
                  <a:cubicBezTo>
                    <a:pt x="5469" y="658"/>
                    <a:pt x="5490" y="735"/>
                    <a:pt x="5525" y="812"/>
                  </a:cubicBezTo>
                  <a:cubicBezTo>
                    <a:pt x="5588" y="970"/>
                    <a:pt x="5658" y="1148"/>
                    <a:pt x="5525" y="1323"/>
                  </a:cubicBezTo>
                  <a:cubicBezTo>
                    <a:pt x="5427" y="1446"/>
                    <a:pt x="5287" y="1523"/>
                    <a:pt x="5129" y="1534"/>
                  </a:cubicBezTo>
                  <a:cubicBezTo>
                    <a:pt x="5113" y="1535"/>
                    <a:pt x="5096" y="1535"/>
                    <a:pt x="5079" y="1535"/>
                  </a:cubicBezTo>
                  <a:cubicBezTo>
                    <a:pt x="4897" y="1535"/>
                    <a:pt x="4721" y="1466"/>
                    <a:pt x="4587" y="1341"/>
                  </a:cubicBezTo>
                  <a:cubicBezTo>
                    <a:pt x="4303" y="1085"/>
                    <a:pt x="3901" y="994"/>
                    <a:pt x="3620" y="994"/>
                  </a:cubicBezTo>
                  <a:cubicBezTo>
                    <a:pt x="3410" y="994"/>
                    <a:pt x="3214" y="914"/>
                    <a:pt x="3102" y="784"/>
                  </a:cubicBezTo>
                  <a:cubicBezTo>
                    <a:pt x="3036" y="714"/>
                    <a:pt x="3004" y="623"/>
                    <a:pt x="3015" y="532"/>
                  </a:cubicBezTo>
                  <a:cubicBezTo>
                    <a:pt x="3025" y="431"/>
                    <a:pt x="3015" y="350"/>
                    <a:pt x="2710" y="287"/>
                  </a:cubicBezTo>
                  <a:cubicBezTo>
                    <a:pt x="2619" y="266"/>
                    <a:pt x="2528" y="235"/>
                    <a:pt x="2444" y="196"/>
                  </a:cubicBezTo>
                  <a:cubicBezTo>
                    <a:pt x="2294" y="134"/>
                    <a:pt x="2142" y="71"/>
                    <a:pt x="1934" y="71"/>
                  </a:cubicBezTo>
                  <a:cubicBezTo>
                    <a:pt x="1875" y="71"/>
                    <a:pt x="1810" y="76"/>
                    <a:pt x="1740" y="88"/>
                  </a:cubicBezTo>
                  <a:cubicBezTo>
                    <a:pt x="1688" y="96"/>
                    <a:pt x="1635" y="100"/>
                    <a:pt x="1582" y="100"/>
                  </a:cubicBezTo>
                  <a:cubicBezTo>
                    <a:pt x="1434" y="100"/>
                    <a:pt x="1287" y="67"/>
                    <a:pt x="1152"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351" name="Google Shape;3351;p104"/>
            <p:cNvSpPr/>
            <p:nvPr/>
          </p:nvSpPr>
          <p:spPr>
            <a:xfrm>
              <a:off x="2135375" y="1790168"/>
              <a:ext cx="14" cy="109"/>
            </a:xfrm>
            <a:custGeom>
              <a:avLst/>
              <a:gdLst/>
              <a:ahLst/>
              <a:cxnLst/>
              <a:rect l="l" t="t" r="r" b="b"/>
              <a:pathLst>
                <a:path w="1" h="8" extrusionOk="0">
                  <a:moveTo>
                    <a:pt x="0" y="7"/>
                  </a:moveTo>
                  <a:lnTo>
                    <a:pt x="0"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352" name="Google Shape;3352;p104"/>
            <p:cNvSpPr/>
            <p:nvPr/>
          </p:nvSpPr>
          <p:spPr>
            <a:xfrm>
              <a:off x="2127962" y="1796916"/>
              <a:ext cx="434" cy="434"/>
            </a:xfrm>
            <a:custGeom>
              <a:avLst/>
              <a:gdLst/>
              <a:ahLst/>
              <a:cxnLst/>
              <a:rect l="l" t="t" r="r" b="b"/>
              <a:pathLst>
                <a:path w="32" h="32" extrusionOk="0">
                  <a:moveTo>
                    <a:pt x="0" y="32"/>
                  </a:moveTo>
                  <a:lnTo>
                    <a:pt x="32"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353" name="Google Shape;3353;p104"/>
            <p:cNvSpPr/>
            <p:nvPr/>
          </p:nvSpPr>
          <p:spPr>
            <a:xfrm>
              <a:off x="2128573" y="1796577"/>
              <a:ext cx="109" cy="163"/>
            </a:xfrm>
            <a:custGeom>
              <a:avLst/>
              <a:gdLst/>
              <a:ahLst/>
              <a:cxnLst/>
              <a:rect l="l" t="t" r="r" b="b"/>
              <a:pathLst>
                <a:path w="8" h="12" extrusionOk="0">
                  <a:moveTo>
                    <a:pt x="1" y="11"/>
                  </a:moveTo>
                  <a:lnTo>
                    <a:pt x="8"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354" name="Google Shape;3354;p104"/>
            <p:cNvSpPr/>
            <p:nvPr/>
          </p:nvSpPr>
          <p:spPr>
            <a:xfrm>
              <a:off x="2135416" y="1789028"/>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355" name="Google Shape;3355;p104"/>
            <p:cNvSpPr/>
            <p:nvPr/>
          </p:nvSpPr>
          <p:spPr>
            <a:xfrm>
              <a:off x="2131668" y="1793821"/>
              <a:ext cx="54" cy="14"/>
            </a:xfrm>
            <a:custGeom>
              <a:avLst/>
              <a:gdLst/>
              <a:ahLst/>
              <a:cxnLst/>
              <a:rect l="l" t="t" r="r" b="b"/>
              <a:pathLst>
                <a:path w="4" h="1" extrusionOk="0">
                  <a:moveTo>
                    <a:pt x="0" y="1"/>
                  </a:moveTo>
                  <a:lnTo>
                    <a:pt x="0" y="1"/>
                  </a:lnTo>
                  <a:lnTo>
                    <a:pt x="4"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356" name="Google Shape;3356;p104"/>
            <p:cNvSpPr/>
            <p:nvPr/>
          </p:nvSpPr>
          <p:spPr>
            <a:xfrm>
              <a:off x="2131899" y="1793726"/>
              <a:ext cx="299" cy="68"/>
            </a:xfrm>
            <a:custGeom>
              <a:avLst/>
              <a:gdLst/>
              <a:ahLst/>
              <a:cxnLst/>
              <a:rect l="l" t="t" r="r" b="b"/>
              <a:pathLst>
                <a:path w="22" h="5" extrusionOk="0">
                  <a:moveTo>
                    <a:pt x="1" y="4"/>
                  </a:moveTo>
                  <a:lnTo>
                    <a:pt x="22"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357" name="Google Shape;3357;p104"/>
            <p:cNvSpPr/>
            <p:nvPr/>
          </p:nvSpPr>
          <p:spPr>
            <a:xfrm>
              <a:off x="2131763" y="1793821"/>
              <a:ext cx="109" cy="14"/>
            </a:xfrm>
            <a:custGeom>
              <a:avLst/>
              <a:gdLst/>
              <a:ahLst/>
              <a:cxnLst/>
              <a:rect l="l" t="t" r="r" b="b"/>
              <a:pathLst>
                <a:path w="8" h="1" extrusionOk="0">
                  <a:moveTo>
                    <a:pt x="0" y="1"/>
                  </a:moveTo>
                  <a:lnTo>
                    <a:pt x="7"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358" name="Google Shape;3358;p104"/>
            <p:cNvSpPr/>
            <p:nvPr/>
          </p:nvSpPr>
          <p:spPr>
            <a:xfrm>
              <a:off x="2121825" y="1808036"/>
              <a:ext cx="2580" cy="2485"/>
            </a:xfrm>
            <a:custGeom>
              <a:avLst/>
              <a:gdLst/>
              <a:ahLst/>
              <a:cxnLst/>
              <a:rect l="l" t="t" r="r" b="b"/>
              <a:pathLst>
                <a:path w="190" h="183" extrusionOk="0">
                  <a:moveTo>
                    <a:pt x="190" y="1"/>
                  </a:moveTo>
                  <a:cubicBezTo>
                    <a:pt x="141" y="74"/>
                    <a:pt x="78" y="137"/>
                    <a:pt x="1" y="183"/>
                  </a:cubicBezTo>
                  <a:lnTo>
                    <a:pt x="1" y="183"/>
                  </a:lnTo>
                  <a:cubicBezTo>
                    <a:pt x="78" y="137"/>
                    <a:pt x="141" y="74"/>
                    <a:pt x="190" y="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359" name="Google Shape;3359;p104"/>
            <p:cNvSpPr/>
            <p:nvPr/>
          </p:nvSpPr>
          <p:spPr>
            <a:xfrm>
              <a:off x="2120929" y="1810847"/>
              <a:ext cx="448" cy="299"/>
            </a:xfrm>
            <a:custGeom>
              <a:avLst/>
              <a:gdLst/>
              <a:ahLst/>
              <a:cxnLst/>
              <a:rect l="l" t="t" r="r" b="b"/>
              <a:pathLst>
                <a:path w="33" h="22" extrusionOk="0">
                  <a:moveTo>
                    <a:pt x="33" y="0"/>
                  </a:moveTo>
                  <a:lnTo>
                    <a:pt x="28" y="4"/>
                  </a:lnTo>
                  <a:lnTo>
                    <a:pt x="0" y="21"/>
                  </a:lnTo>
                  <a:lnTo>
                    <a:pt x="7" y="18"/>
                  </a:lnTo>
                  <a:lnTo>
                    <a:pt x="33"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360" name="Google Shape;3360;p104"/>
            <p:cNvSpPr/>
            <p:nvPr/>
          </p:nvSpPr>
          <p:spPr>
            <a:xfrm>
              <a:off x="2135375" y="1789639"/>
              <a:ext cx="14" cy="68"/>
            </a:xfrm>
            <a:custGeom>
              <a:avLst/>
              <a:gdLst/>
              <a:ahLst/>
              <a:cxnLst/>
              <a:rect l="l" t="t" r="r" b="b"/>
              <a:pathLst>
                <a:path w="1" h="5" extrusionOk="0">
                  <a:moveTo>
                    <a:pt x="0"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361" name="Google Shape;3361;p104"/>
            <p:cNvSpPr/>
            <p:nvPr/>
          </p:nvSpPr>
          <p:spPr>
            <a:xfrm>
              <a:off x="2135470" y="1788308"/>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362" name="Google Shape;3362;p104"/>
            <p:cNvSpPr/>
            <p:nvPr/>
          </p:nvSpPr>
          <p:spPr>
            <a:xfrm>
              <a:off x="2120114" y="1812884"/>
              <a:ext cx="964" cy="1684"/>
            </a:xfrm>
            <a:custGeom>
              <a:avLst/>
              <a:gdLst/>
              <a:ahLst/>
              <a:cxnLst/>
              <a:rect l="l" t="t" r="r" b="b"/>
              <a:pathLst>
                <a:path w="71" h="124" extrusionOk="0">
                  <a:moveTo>
                    <a:pt x="1" y="1"/>
                  </a:moveTo>
                  <a:cubicBezTo>
                    <a:pt x="18" y="39"/>
                    <a:pt x="46" y="85"/>
                    <a:pt x="71" y="123"/>
                  </a:cubicBezTo>
                  <a:cubicBezTo>
                    <a:pt x="46" y="85"/>
                    <a:pt x="18" y="39"/>
                    <a:pt x="1" y="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363" name="Google Shape;3363;p104"/>
            <p:cNvSpPr/>
            <p:nvPr/>
          </p:nvSpPr>
          <p:spPr>
            <a:xfrm>
              <a:off x="2137222" y="1859943"/>
              <a:ext cx="163" cy="244"/>
            </a:xfrm>
            <a:custGeom>
              <a:avLst/>
              <a:gdLst/>
              <a:ahLst/>
              <a:cxnLst/>
              <a:rect l="l" t="t" r="r" b="b"/>
              <a:pathLst>
                <a:path w="12" h="18" extrusionOk="0">
                  <a:moveTo>
                    <a:pt x="1" y="0"/>
                  </a:moveTo>
                  <a:lnTo>
                    <a:pt x="11" y="18"/>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364" name="Google Shape;3364;p104"/>
            <p:cNvSpPr/>
            <p:nvPr/>
          </p:nvSpPr>
          <p:spPr>
            <a:xfrm>
              <a:off x="2134615" y="1857418"/>
              <a:ext cx="149" cy="68"/>
            </a:xfrm>
            <a:custGeom>
              <a:avLst/>
              <a:gdLst/>
              <a:ahLst/>
              <a:cxnLst/>
              <a:rect l="l" t="t" r="r" b="b"/>
              <a:pathLst>
                <a:path w="11" h="5" extrusionOk="0">
                  <a:moveTo>
                    <a:pt x="0" y="1"/>
                  </a:moveTo>
                  <a:lnTo>
                    <a:pt x="11" y="4"/>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365" name="Google Shape;3365;p104"/>
            <p:cNvSpPr/>
            <p:nvPr/>
          </p:nvSpPr>
          <p:spPr>
            <a:xfrm>
              <a:off x="2136706" y="1859034"/>
              <a:ext cx="149" cy="204"/>
            </a:xfrm>
            <a:custGeom>
              <a:avLst/>
              <a:gdLst/>
              <a:ahLst/>
              <a:cxnLst/>
              <a:rect l="l" t="t" r="r" b="b"/>
              <a:pathLst>
                <a:path w="11" h="15" extrusionOk="0">
                  <a:moveTo>
                    <a:pt x="0" y="1"/>
                  </a:moveTo>
                  <a:lnTo>
                    <a:pt x="11" y="15"/>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366" name="Google Shape;3366;p104"/>
            <p:cNvSpPr/>
            <p:nvPr/>
          </p:nvSpPr>
          <p:spPr>
            <a:xfrm>
              <a:off x="2137466" y="1860459"/>
              <a:ext cx="149" cy="258"/>
            </a:xfrm>
            <a:custGeom>
              <a:avLst/>
              <a:gdLst/>
              <a:ahLst/>
              <a:cxnLst/>
              <a:rect l="l" t="t" r="r" b="b"/>
              <a:pathLst>
                <a:path w="11" h="19" extrusionOk="0">
                  <a:moveTo>
                    <a:pt x="0" y="1"/>
                  </a:moveTo>
                  <a:lnTo>
                    <a:pt x="11" y="18"/>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367" name="Google Shape;3367;p104"/>
            <p:cNvSpPr/>
            <p:nvPr/>
          </p:nvSpPr>
          <p:spPr>
            <a:xfrm>
              <a:off x="2119788" y="1811132"/>
              <a:ext cx="1195" cy="964"/>
            </a:xfrm>
            <a:custGeom>
              <a:avLst/>
              <a:gdLst/>
              <a:ahLst/>
              <a:cxnLst/>
              <a:rect l="l" t="t" r="r" b="b"/>
              <a:pathLst>
                <a:path w="88" h="71" extrusionOk="0">
                  <a:moveTo>
                    <a:pt x="88" y="0"/>
                  </a:moveTo>
                  <a:lnTo>
                    <a:pt x="88" y="0"/>
                  </a:lnTo>
                  <a:cubicBezTo>
                    <a:pt x="81" y="4"/>
                    <a:pt x="75" y="9"/>
                    <a:pt x="69" y="13"/>
                  </a:cubicBezTo>
                  <a:lnTo>
                    <a:pt x="69" y="13"/>
                  </a:lnTo>
                  <a:cubicBezTo>
                    <a:pt x="70" y="12"/>
                    <a:pt x="72" y="11"/>
                    <a:pt x="74" y="11"/>
                  </a:cubicBezTo>
                  <a:lnTo>
                    <a:pt x="88" y="0"/>
                  </a:lnTo>
                  <a:close/>
                  <a:moveTo>
                    <a:pt x="69" y="13"/>
                  </a:moveTo>
                  <a:lnTo>
                    <a:pt x="69" y="13"/>
                  </a:lnTo>
                  <a:cubicBezTo>
                    <a:pt x="43" y="27"/>
                    <a:pt x="20" y="47"/>
                    <a:pt x="0" y="70"/>
                  </a:cubicBezTo>
                  <a:cubicBezTo>
                    <a:pt x="20" y="51"/>
                    <a:pt x="44" y="31"/>
                    <a:pt x="69" y="13"/>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368" name="Google Shape;3368;p104"/>
            <p:cNvSpPr/>
            <p:nvPr/>
          </p:nvSpPr>
          <p:spPr>
            <a:xfrm>
              <a:off x="2137697" y="1861029"/>
              <a:ext cx="109" cy="258"/>
            </a:xfrm>
            <a:custGeom>
              <a:avLst/>
              <a:gdLst/>
              <a:ahLst/>
              <a:cxnLst/>
              <a:rect l="l" t="t" r="r" b="b"/>
              <a:pathLst>
                <a:path w="8" h="19" extrusionOk="0">
                  <a:moveTo>
                    <a:pt x="1" y="1"/>
                  </a:moveTo>
                  <a:lnTo>
                    <a:pt x="8" y="18"/>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369" name="Google Shape;3369;p104"/>
            <p:cNvSpPr/>
            <p:nvPr/>
          </p:nvSpPr>
          <p:spPr>
            <a:xfrm>
              <a:off x="2135036" y="1857567"/>
              <a:ext cx="163" cy="54"/>
            </a:xfrm>
            <a:custGeom>
              <a:avLst/>
              <a:gdLst/>
              <a:ahLst/>
              <a:cxnLst/>
              <a:rect l="l" t="t" r="r" b="b"/>
              <a:pathLst>
                <a:path w="12" h="4" extrusionOk="0">
                  <a:moveTo>
                    <a:pt x="1" y="0"/>
                  </a:moveTo>
                  <a:lnTo>
                    <a:pt x="11" y="4"/>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370" name="Google Shape;3370;p104"/>
            <p:cNvSpPr/>
            <p:nvPr/>
          </p:nvSpPr>
          <p:spPr>
            <a:xfrm>
              <a:off x="2137982" y="1861654"/>
              <a:ext cx="68" cy="204"/>
            </a:xfrm>
            <a:custGeom>
              <a:avLst/>
              <a:gdLst/>
              <a:ahLst/>
              <a:cxnLst/>
              <a:rect l="l" t="t" r="r" b="b"/>
              <a:pathLst>
                <a:path w="5" h="15" extrusionOk="0">
                  <a:moveTo>
                    <a:pt x="1" y="0"/>
                  </a:moveTo>
                  <a:lnTo>
                    <a:pt x="4" y="14"/>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371" name="Google Shape;3371;p104"/>
            <p:cNvSpPr/>
            <p:nvPr/>
          </p:nvSpPr>
          <p:spPr>
            <a:xfrm>
              <a:off x="2138172" y="1862265"/>
              <a:ext cx="68" cy="204"/>
            </a:xfrm>
            <a:custGeom>
              <a:avLst/>
              <a:gdLst/>
              <a:ahLst/>
              <a:cxnLst/>
              <a:rect l="l" t="t" r="r" b="b"/>
              <a:pathLst>
                <a:path w="5" h="15" extrusionOk="0">
                  <a:moveTo>
                    <a:pt x="1" y="1"/>
                  </a:moveTo>
                  <a:lnTo>
                    <a:pt x="4" y="15"/>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372" name="Google Shape;3372;p104"/>
            <p:cNvSpPr/>
            <p:nvPr/>
          </p:nvSpPr>
          <p:spPr>
            <a:xfrm>
              <a:off x="2136081" y="1858273"/>
              <a:ext cx="163" cy="163"/>
            </a:xfrm>
            <a:custGeom>
              <a:avLst/>
              <a:gdLst/>
              <a:ahLst/>
              <a:cxnLst/>
              <a:rect l="l" t="t" r="r" b="b"/>
              <a:pathLst>
                <a:path w="12" h="12" extrusionOk="0">
                  <a:moveTo>
                    <a:pt x="1" y="1"/>
                  </a:moveTo>
                  <a:lnTo>
                    <a:pt x="11" y="1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373" name="Google Shape;3373;p104"/>
            <p:cNvSpPr/>
            <p:nvPr/>
          </p:nvSpPr>
          <p:spPr>
            <a:xfrm>
              <a:off x="2136421" y="1858613"/>
              <a:ext cx="149" cy="204"/>
            </a:xfrm>
            <a:custGeom>
              <a:avLst/>
              <a:gdLst/>
              <a:ahLst/>
              <a:cxnLst/>
              <a:rect l="l" t="t" r="r" b="b"/>
              <a:pathLst>
                <a:path w="11" h="15" extrusionOk="0">
                  <a:moveTo>
                    <a:pt x="0" y="0"/>
                  </a:moveTo>
                  <a:lnTo>
                    <a:pt x="11" y="14"/>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374" name="Google Shape;3374;p104"/>
            <p:cNvSpPr/>
            <p:nvPr/>
          </p:nvSpPr>
          <p:spPr>
            <a:xfrm>
              <a:off x="2135755" y="1857947"/>
              <a:ext cx="149" cy="149"/>
            </a:xfrm>
            <a:custGeom>
              <a:avLst/>
              <a:gdLst/>
              <a:ahLst/>
              <a:cxnLst/>
              <a:rect l="l" t="t" r="r" b="b"/>
              <a:pathLst>
                <a:path w="11" h="11" extrusionOk="0">
                  <a:moveTo>
                    <a:pt x="0" y="0"/>
                  </a:moveTo>
                  <a:lnTo>
                    <a:pt x="11" y="1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375" name="Google Shape;3375;p104"/>
            <p:cNvSpPr/>
            <p:nvPr/>
          </p:nvSpPr>
          <p:spPr>
            <a:xfrm>
              <a:off x="2119883" y="1812408"/>
              <a:ext cx="54" cy="109"/>
            </a:xfrm>
            <a:custGeom>
              <a:avLst/>
              <a:gdLst/>
              <a:ahLst/>
              <a:cxnLst/>
              <a:rect l="l" t="t" r="r" b="b"/>
              <a:pathLst>
                <a:path w="4" h="8" extrusionOk="0">
                  <a:moveTo>
                    <a:pt x="0" y="1"/>
                  </a:moveTo>
                  <a:lnTo>
                    <a:pt x="4" y="8"/>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376" name="Google Shape;3376;p104"/>
            <p:cNvSpPr/>
            <p:nvPr/>
          </p:nvSpPr>
          <p:spPr>
            <a:xfrm>
              <a:off x="2119788" y="1812218"/>
              <a:ext cx="14" cy="109"/>
            </a:xfrm>
            <a:custGeom>
              <a:avLst/>
              <a:gdLst/>
              <a:ahLst/>
              <a:cxnLst/>
              <a:rect l="l" t="t" r="r" b="b"/>
              <a:pathLst>
                <a:path w="1" h="8" extrusionOk="0">
                  <a:moveTo>
                    <a:pt x="0" y="1"/>
                  </a:moveTo>
                  <a:lnTo>
                    <a:pt x="0" y="4"/>
                  </a:lnTo>
                  <a:cubicBezTo>
                    <a:pt x="0" y="8"/>
                    <a:pt x="0" y="1"/>
                    <a:pt x="0" y="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377" name="Google Shape;3377;p104"/>
            <p:cNvSpPr/>
            <p:nvPr/>
          </p:nvSpPr>
          <p:spPr>
            <a:xfrm>
              <a:off x="2135416" y="1857703"/>
              <a:ext cx="163" cy="163"/>
            </a:xfrm>
            <a:custGeom>
              <a:avLst/>
              <a:gdLst/>
              <a:ahLst/>
              <a:cxnLst/>
              <a:rect l="l" t="t" r="r" b="b"/>
              <a:pathLst>
                <a:path w="12" h="12" extrusionOk="0">
                  <a:moveTo>
                    <a:pt x="1" y="1"/>
                  </a:moveTo>
                  <a:lnTo>
                    <a:pt x="11" y="1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378" name="Google Shape;3378;p104"/>
            <p:cNvSpPr/>
            <p:nvPr/>
          </p:nvSpPr>
          <p:spPr>
            <a:xfrm>
              <a:off x="2119978" y="1812653"/>
              <a:ext cx="109" cy="204"/>
            </a:xfrm>
            <a:custGeom>
              <a:avLst/>
              <a:gdLst/>
              <a:ahLst/>
              <a:cxnLst/>
              <a:rect l="l" t="t" r="r" b="b"/>
              <a:pathLst>
                <a:path w="8" h="15" extrusionOk="0">
                  <a:moveTo>
                    <a:pt x="0" y="0"/>
                  </a:moveTo>
                  <a:lnTo>
                    <a:pt x="7" y="14"/>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379" name="Google Shape;3379;p104"/>
            <p:cNvSpPr/>
            <p:nvPr/>
          </p:nvSpPr>
          <p:spPr>
            <a:xfrm>
              <a:off x="2136991" y="1859468"/>
              <a:ext cx="109" cy="204"/>
            </a:xfrm>
            <a:custGeom>
              <a:avLst/>
              <a:gdLst/>
              <a:ahLst/>
              <a:cxnLst/>
              <a:rect l="l" t="t" r="r" b="b"/>
              <a:pathLst>
                <a:path w="8" h="15" extrusionOk="0">
                  <a:moveTo>
                    <a:pt x="0" y="0"/>
                  </a:moveTo>
                  <a:lnTo>
                    <a:pt x="7" y="14"/>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380" name="Google Shape;3380;p104"/>
            <p:cNvSpPr/>
            <p:nvPr/>
          </p:nvSpPr>
          <p:spPr>
            <a:xfrm>
              <a:off x="2122449" y="1836183"/>
              <a:ext cx="584" cy="1534"/>
            </a:xfrm>
            <a:custGeom>
              <a:avLst/>
              <a:gdLst/>
              <a:ahLst/>
              <a:cxnLst/>
              <a:rect l="l" t="t" r="r" b="b"/>
              <a:pathLst>
                <a:path w="43" h="113" extrusionOk="0">
                  <a:moveTo>
                    <a:pt x="0" y="0"/>
                  </a:moveTo>
                  <a:cubicBezTo>
                    <a:pt x="7" y="39"/>
                    <a:pt x="21" y="77"/>
                    <a:pt x="42" y="112"/>
                  </a:cubicBezTo>
                  <a:cubicBezTo>
                    <a:pt x="21" y="77"/>
                    <a:pt x="7" y="39"/>
                    <a:pt x="0"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381" name="Google Shape;3381;p104"/>
            <p:cNvSpPr/>
            <p:nvPr/>
          </p:nvSpPr>
          <p:spPr>
            <a:xfrm>
              <a:off x="2121730" y="1810562"/>
              <a:ext cx="109" cy="54"/>
            </a:xfrm>
            <a:custGeom>
              <a:avLst/>
              <a:gdLst/>
              <a:ahLst/>
              <a:cxnLst/>
              <a:rect l="l" t="t" r="r" b="b"/>
              <a:pathLst>
                <a:path w="8" h="4" extrusionOk="0">
                  <a:moveTo>
                    <a:pt x="8" y="0"/>
                  </a:moveTo>
                  <a:lnTo>
                    <a:pt x="1" y="4"/>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382" name="Google Shape;3382;p104"/>
            <p:cNvSpPr/>
            <p:nvPr/>
          </p:nvSpPr>
          <p:spPr>
            <a:xfrm>
              <a:off x="2138362" y="1862985"/>
              <a:ext cx="68" cy="109"/>
            </a:xfrm>
            <a:custGeom>
              <a:avLst/>
              <a:gdLst/>
              <a:ahLst/>
              <a:cxnLst/>
              <a:rect l="l" t="t" r="r" b="b"/>
              <a:pathLst>
                <a:path w="5" h="8" extrusionOk="0">
                  <a:moveTo>
                    <a:pt x="1" y="1"/>
                  </a:moveTo>
                  <a:lnTo>
                    <a:pt x="4" y="8"/>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383" name="Google Shape;3383;p104"/>
            <p:cNvSpPr/>
            <p:nvPr/>
          </p:nvSpPr>
          <p:spPr>
            <a:xfrm>
              <a:off x="2120779" y="1810562"/>
              <a:ext cx="1059" cy="720"/>
            </a:xfrm>
            <a:custGeom>
              <a:avLst/>
              <a:gdLst/>
              <a:ahLst/>
              <a:cxnLst/>
              <a:rect l="l" t="t" r="r" b="b"/>
              <a:pathLst>
                <a:path w="78" h="53" extrusionOk="0">
                  <a:moveTo>
                    <a:pt x="78" y="0"/>
                  </a:moveTo>
                  <a:lnTo>
                    <a:pt x="39" y="25"/>
                  </a:lnTo>
                  <a:lnTo>
                    <a:pt x="18" y="40"/>
                  </a:lnTo>
                  <a:lnTo>
                    <a:pt x="18" y="40"/>
                  </a:lnTo>
                  <a:lnTo>
                    <a:pt x="22" y="39"/>
                  </a:lnTo>
                  <a:lnTo>
                    <a:pt x="74" y="4"/>
                  </a:lnTo>
                  <a:lnTo>
                    <a:pt x="78" y="0"/>
                  </a:lnTo>
                  <a:close/>
                  <a:moveTo>
                    <a:pt x="18" y="40"/>
                  </a:moveTo>
                  <a:lnTo>
                    <a:pt x="11" y="42"/>
                  </a:lnTo>
                  <a:lnTo>
                    <a:pt x="1" y="53"/>
                  </a:lnTo>
                  <a:lnTo>
                    <a:pt x="18" y="40"/>
                  </a:lnTo>
                  <a:close/>
                  <a:moveTo>
                    <a:pt x="1" y="53"/>
                  </a:moveTo>
                  <a:lnTo>
                    <a:pt x="1" y="53"/>
                  </a:lnTo>
                  <a:lnTo>
                    <a:pt x="1" y="53"/>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384" name="Google Shape;3384;p104"/>
            <p:cNvSpPr/>
            <p:nvPr/>
          </p:nvSpPr>
          <p:spPr>
            <a:xfrm>
              <a:off x="1925087" y="1940173"/>
              <a:ext cx="16741" cy="4195"/>
            </a:xfrm>
            <a:custGeom>
              <a:avLst/>
              <a:gdLst/>
              <a:ahLst/>
              <a:cxnLst/>
              <a:rect l="l" t="t" r="r" b="b"/>
              <a:pathLst>
                <a:path w="1233" h="309" extrusionOk="0">
                  <a:moveTo>
                    <a:pt x="774" y="1"/>
                  </a:moveTo>
                  <a:cubicBezTo>
                    <a:pt x="755" y="1"/>
                    <a:pt x="734" y="6"/>
                    <a:pt x="708" y="18"/>
                  </a:cubicBezTo>
                  <a:cubicBezTo>
                    <a:pt x="680" y="32"/>
                    <a:pt x="655" y="43"/>
                    <a:pt x="631" y="53"/>
                  </a:cubicBezTo>
                  <a:lnTo>
                    <a:pt x="620" y="57"/>
                  </a:lnTo>
                  <a:cubicBezTo>
                    <a:pt x="599" y="67"/>
                    <a:pt x="575" y="78"/>
                    <a:pt x="550" y="85"/>
                  </a:cubicBezTo>
                  <a:lnTo>
                    <a:pt x="540" y="88"/>
                  </a:lnTo>
                  <a:cubicBezTo>
                    <a:pt x="515" y="99"/>
                    <a:pt x="494" y="106"/>
                    <a:pt x="470" y="109"/>
                  </a:cubicBezTo>
                  <a:lnTo>
                    <a:pt x="459" y="113"/>
                  </a:lnTo>
                  <a:cubicBezTo>
                    <a:pt x="438" y="120"/>
                    <a:pt x="414" y="127"/>
                    <a:pt x="393" y="130"/>
                  </a:cubicBezTo>
                  <a:lnTo>
                    <a:pt x="382" y="130"/>
                  </a:lnTo>
                  <a:cubicBezTo>
                    <a:pt x="358" y="134"/>
                    <a:pt x="337" y="137"/>
                    <a:pt x="312" y="141"/>
                  </a:cubicBezTo>
                  <a:lnTo>
                    <a:pt x="302" y="141"/>
                  </a:lnTo>
                  <a:cubicBezTo>
                    <a:pt x="277" y="144"/>
                    <a:pt x="253" y="144"/>
                    <a:pt x="228" y="144"/>
                  </a:cubicBezTo>
                  <a:lnTo>
                    <a:pt x="221" y="144"/>
                  </a:lnTo>
                  <a:cubicBezTo>
                    <a:pt x="205" y="145"/>
                    <a:pt x="188" y="146"/>
                    <a:pt x="171" y="146"/>
                  </a:cubicBezTo>
                  <a:cubicBezTo>
                    <a:pt x="131" y="146"/>
                    <a:pt x="89" y="143"/>
                    <a:pt x="50" y="141"/>
                  </a:cubicBezTo>
                  <a:lnTo>
                    <a:pt x="46" y="141"/>
                  </a:lnTo>
                  <a:cubicBezTo>
                    <a:pt x="39" y="172"/>
                    <a:pt x="29" y="211"/>
                    <a:pt x="18" y="246"/>
                  </a:cubicBezTo>
                  <a:cubicBezTo>
                    <a:pt x="11" y="267"/>
                    <a:pt x="8" y="291"/>
                    <a:pt x="1" y="309"/>
                  </a:cubicBezTo>
                  <a:lnTo>
                    <a:pt x="11" y="309"/>
                  </a:lnTo>
                  <a:lnTo>
                    <a:pt x="29" y="305"/>
                  </a:lnTo>
                  <a:lnTo>
                    <a:pt x="43" y="302"/>
                  </a:lnTo>
                  <a:lnTo>
                    <a:pt x="71" y="302"/>
                  </a:lnTo>
                  <a:cubicBezTo>
                    <a:pt x="99" y="302"/>
                    <a:pt x="130" y="298"/>
                    <a:pt x="165" y="295"/>
                  </a:cubicBezTo>
                  <a:lnTo>
                    <a:pt x="235" y="284"/>
                  </a:lnTo>
                  <a:cubicBezTo>
                    <a:pt x="403" y="256"/>
                    <a:pt x="589" y="204"/>
                    <a:pt x="655" y="144"/>
                  </a:cubicBezTo>
                  <a:cubicBezTo>
                    <a:pt x="691" y="112"/>
                    <a:pt x="729" y="100"/>
                    <a:pt x="769" y="100"/>
                  </a:cubicBezTo>
                  <a:cubicBezTo>
                    <a:pt x="815" y="100"/>
                    <a:pt x="864" y="117"/>
                    <a:pt x="911" y="137"/>
                  </a:cubicBezTo>
                  <a:cubicBezTo>
                    <a:pt x="939" y="151"/>
                    <a:pt x="967" y="165"/>
                    <a:pt x="995" y="183"/>
                  </a:cubicBezTo>
                  <a:cubicBezTo>
                    <a:pt x="1047" y="214"/>
                    <a:pt x="1107" y="239"/>
                    <a:pt x="1170" y="253"/>
                  </a:cubicBezTo>
                  <a:cubicBezTo>
                    <a:pt x="1180" y="255"/>
                    <a:pt x="1191" y="256"/>
                    <a:pt x="1201" y="256"/>
                  </a:cubicBezTo>
                  <a:cubicBezTo>
                    <a:pt x="1212" y="256"/>
                    <a:pt x="1222" y="255"/>
                    <a:pt x="1233" y="253"/>
                  </a:cubicBezTo>
                  <a:lnTo>
                    <a:pt x="1198" y="249"/>
                  </a:lnTo>
                  <a:cubicBezTo>
                    <a:pt x="1051" y="239"/>
                    <a:pt x="967" y="155"/>
                    <a:pt x="900" y="85"/>
                  </a:cubicBezTo>
                  <a:cubicBezTo>
                    <a:pt x="847" y="29"/>
                    <a:pt x="816" y="1"/>
                    <a:pt x="774" y="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385" name="Google Shape;3385;p104"/>
            <p:cNvSpPr/>
            <p:nvPr/>
          </p:nvSpPr>
          <p:spPr>
            <a:xfrm>
              <a:off x="1920484" y="1919467"/>
              <a:ext cx="41887" cy="31391"/>
            </a:xfrm>
            <a:custGeom>
              <a:avLst/>
              <a:gdLst/>
              <a:ahLst/>
              <a:cxnLst/>
              <a:rect l="l" t="t" r="r" b="b"/>
              <a:pathLst>
                <a:path w="3085" h="2312" extrusionOk="0">
                  <a:moveTo>
                    <a:pt x="1346" y="1"/>
                  </a:moveTo>
                  <a:cubicBezTo>
                    <a:pt x="1245" y="1"/>
                    <a:pt x="1124" y="41"/>
                    <a:pt x="1078" y="59"/>
                  </a:cubicBezTo>
                  <a:lnTo>
                    <a:pt x="1071" y="63"/>
                  </a:lnTo>
                  <a:lnTo>
                    <a:pt x="1061" y="63"/>
                  </a:lnTo>
                  <a:cubicBezTo>
                    <a:pt x="1057" y="63"/>
                    <a:pt x="1036" y="66"/>
                    <a:pt x="998" y="70"/>
                  </a:cubicBezTo>
                  <a:cubicBezTo>
                    <a:pt x="933" y="77"/>
                    <a:pt x="867" y="81"/>
                    <a:pt x="801" y="81"/>
                  </a:cubicBezTo>
                  <a:cubicBezTo>
                    <a:pt x="715" y="81"/>
                    <a:pt x="628" y="74"/>
                    <a:pt x="543" y="63"/>
                  </a:cubicBezTo>
                  <a:cubicBezTo>
                    <a:pt x="534" y="61"/>
                    <a:pt x="526" y="60"/>
                    <a:pt x="519" y="60"/>
                  </a:cubicBezTo>
                  <a:cubicBezTo>
                    <a:pt x="486" y="60"/>
                    <a:pt x="469" y="82"/>
                    <a:pt x="434" y="154"/>
                  </a:cubicBezTo>
                  <a:lnTo>
                    <a:pt x="420" y="182"/>
                  </a:lnTo>
                  <a:lnTo>
                    <a:pt x="417" y="189"/>
                  </a:lnTo>
                  <a:lnTo>
                    <a:pt x="410" y="206"/>
                  </a:lnTo>
                  <a:lnTo>
                    <a:pt x="403" y="217"/>
                  </a:lnTo>
                  <a:lnTo>
                    <a:pt x="392" y="231"/>
                  </a:lnTo>
                  <a:lnTo>
                    <a:pt x="385" y="241"/>
                  </a:lnTo>
                  <a:lnTo>
                    <a:pt x="375" y="255"/>
                  </a:lnTo>
                  <a:lnTo>
                    <a:pt x="368" y="266"/>
                  </a:lnTo>
                  <a:lnTo>
                    <a:pt x="354" y="280"/>
                  </a:lnTo>
                  <a:lnTo>
                    <a:pt x="343" y="290"/>
                  </a:lnTo>
                  <a:lnTo>
                    <a:pt x="329" y="301"/>
                  </a:lnTo>
                  <a:lnTo>
                    <a:pt x="319" y="308"/>
                  </a:lnTo>
                  <a:lnTo>
                    <a:pt x="305" y="315"/>
                  </a:lnTo>
                  <a:lnTo>
                    <a:pt x="291" y="322"/>
                  </a:lnTo>
                  <a:lnTo>
                    <a:pt x="280" y="325"/>
                  </a:lnTo>
                  <a:cubicBezTo>
                    <a:pt x="259" y="476"/>
                    <a:pt x="228" y="630"/>
                    <a:pt x="147" y="749"/>
                  </a:cubicBezTo>
                  <a:cubicBezTo>
                    <a:pt x="0" y="973"/>
                    <a:pt x="221" y="1330"/>
                    <a:pt x="340" y="1442"/>
                  </a:cubicBezTo>
                  <a:cubicBezTo>
                    <a:pt x="368" y="1466"/>
                    <a:pt x="382" y="1498"/>
                    <a:pt x="389" y="1533"/>
                  </a:cubicBezTo>
                  <a:lnTo>
                    <a:pt x="392" y="1533"/>
                  </a:lnTo>
                  <a:cubicBezTo>
                    <a:pt x="424" y="1533"/>
                    <a:pt x="448" y="1536"/>
                    <a:pt x="476" y="1536"/>
                  </a:cubicBezTo>
                  <a:lnTo>
                    <a:pt x="557" y="1536"/>
                  </a:lnTo>
                  <a:cubicBezTo>
                    <a:pt x="581" y="1536"/>
                    <a:pt x="602" y="1533"/>
                    <a:pt x="623" y="1533"/>
                  </a:cubicBezTo>
                  <a:lnTo>
                    <a:pt x="630" y="1533"/>
                  </a:lnTo>
                  <a:cubicBezTo>
                    <a:pt x="655" y="1529"/>
                    <a:pt x="676" y="1526"/>
                    <a:pt x="697" y="1522"/>
                  </a:cubicBezTo>
                  <a:lnTo>
                    <a:pt x="704" y="1522"/>
                  </a:lnTo>
                  <a:cubicBezTo>
                    <a:pt x="725" y="1519"/>
                    <a:pt x="749" y="1512"/>
                    <a:pt x="767" y="1508"/>
                  </a:cubicBezTo>
                  <a:lnTo>
                    <a:pt x="774" y="1508"/>
                  </a:lnTo>
                  <a:cubicBezTo>
                    <a:pt x="795" y="1501"/>
                    <a:pt x="819" y="1494"/>
                    <a:pt x="840" y="1487"/>
                  </a:cubicBezTo>
                  <a:lnTo>
                    <a:pt x="847" y="1484"/>
                  </a:lnTo>
                  <a:cubicBezTo>
                    <a:pt x="868" y="1477"/>
                    <a:pt x="889" y="1470"/>
                    <a:pt x="914" y="1459"/>
                  </a:cubicBezTo>
                  <a:lnTo>
                    <a:pt x="917" y="1456"/>
                  </a:lnTo>
                  <a:cubicBezTo>
                    <a:pt x="942" y="1445"/>
                    <a:pt x="966" y="1435"/>
                    <a:pt x="991" y="1424"/>
                  </a:cubicBezTo>
                  <a:cubicBezTo>
                    <a:pt x="1037" y="1401"/>
                    <a:pt x="1078" y="1392"/>
                    <a:pt x="1115" y="1392"/>
                  </a:cubicBezTo>
                  <a:cubicBezTo>
                    <a:pt x="1212" y="1392"/>
                    <a:pt x="1278" y="1459"/>
                    <a:pt x="1334" y="1515"/>
                  </a:cubicBezTo>
                  <a:cubicBezTo>
                    <a:pt x="1393" y="1578"/>
                    <a:pt x="1449" y="1634"/>
                    <a:pt x="1547" y="1641"/>
                  </a:cubicBezTo>
                  <a:cubicBezTo>
                    <a:pt x="1831" y="1662"/>
                    <a:pt x="1862" y="1687"/>
                    <a:pt x="1873" y="1694"/>
                  </a:cubicBezTo>
                  <a:lnTo>
                    <a:pt x="1957" y="1750"/>
                  </a:lnTo>
                  <a:lnTo>
                    <a:pt x="1873" y="1802"/>
                  </a:lnTo>
                  <a:cubicBezTo>
                    <a:pt x="1867" y="1809"/>
                    <a:pt x="1711" y="1907"/>
                    <a:pt x="1543" y="1907"/>
                  </a:cubicBezTo>
                  <a:cubicBezTo>
                    <a:pt x="1526" y="1907"/>
                    <a:pt x="1509" y="1906"/>
                    <a:pt x="1491" y="1904"/>
                  </a:cubicBezTo>
                  <a:cubicBezTo>
                    <a:pt x="1414" y="1890"/>
                    <a:pt x="1341" y="1862"/>
                    <a:pt x="1274" y="1816"/>
                  </a:cubicBezTo>
                  <a:cubicBezTo>
                    <a:pt x="1204" y="1780"/>
                    <a:pt x="1152" y="1753"/>
                    <a:pt x="1116" y="1753"/>
                  </a:cubicBezTo>
                  <a:cubicBezTo>
                    <a:pt x="1104" y="1753"/>
                    <a:pt x="1093" y="1757"/>
                    <a:pt x="1085" y="1764"/>
                  </a:cubicBezTo>
                  <a:cubicBezTo>
                    <a:pt x="987" y="1855"/>
                    <a:pt x="756" y="1911"/>
                    <a:pt x="581" y="1939"/>
                  </a:cubicBezTo>
                  <a:lnTo>
                    <a:pt x="525" y="1946"/>
                  </a:lnTo>
                  <a:cubicBezTo>
                    <a:pt x="501" y="1949"/>
                    <a:pt x="476" y="1953"/>
                    <a:pt x="452" y="1953"/>
                  </a:cubicBezTo>
                  <a:lnTo>
                    <a:pt x="420" y="1956"/>
                  </a:lnTo>
                  <a:lnTo>
                    <a:pt x="371" y="1956"/>
                  </a:lnTo>
                  <a:lnTo>
                    <a:pt x="357" y="1960"/>
                  </a:lnTo>
                  <a:lnTo>
                    <a:pt x="340" y="1963"/>
                  </a:lnTo>
                  <a:lnTo>
                    <a:pt x="329" y="1967"/>
                  </a:lnTo>
                  <a:lnTo>
                    <a:pt x="319" y="1967"/>
                  </a:lnTo>
                  <a:cubicBezTo>
                    <a:pt x="312" y="2026"/>
                    <a:pt x="333" y="2083"/>
                    <a:pt x="368" y="2128"/>
                  </a:cubicBezTo>
                  <a:lnTo>
                    <a:pt x="399" y="2163"/>
                  </a:lnTo>
                  <a:lnTo>
                    <a:pt x="403" y="2163"/>
                  </a:lnTo>
                  <a:cubicBezTo>
                    <a:pt x="424" y="2160"/>
                    <a:pt x="441" y="2156"/>
                    <a:pt x="455" y="2156"/>
                  </a:cubicBezTo>
                  <a:cubicBezTo>
                    <a:pt x="469" y="2153"/>
                    <a:pt x="487" y="2153"/>
                    <a:pt x="501" y="2153"/>
                  </a:cubicBezTo>
                  <a:cubicBezTo>
                    <a:pt x="515" y="2153"/>
                    <a:pt x="525" y="2153"/>
                    <a:pt x="539" y="2156"/>
                  </a:cubicBezTo>
                  <a:lnTo>
                    <a:pt x="543" y="2156"/>
                  </a:lnTo>
                  <a:cubicBezTo>
                    <a:pt x="553" y="2156"/>
                    <a:pt x="564" y="2160"/>
                    <a:pt x="571" y="2163"/>
                  </a:cubicBezTo>
                  <a:lnTo>
                    <a:pt x="578" y="2163"/>
                  </a:lnTo>
                  <a:cubicBezTo>
                    <a:pt x="585" y="2167"/>
                    <a:pt x="592" y="2170"/>
                    <a:pt x="599" y="2174"/>
                  </a:cubicBezTo>
                  <a:lnTo>
                    <a:pt x="602" y="2177"/>
                  </a:lnTo>
                  <a:cubicBezTo>
                    <a:pt x="613" y="2181"/>
                    <a:pt x="616" y="2188"/>
                    <a:pt x="623" y="2191"/>
                  </a:cubicBezTo>
                  <a:lnTo>
                    <a:pt x="627" y="2195"/>
                  </a:lnTo>
                  <a:cubicBezTo>
                    <a:pt x="634" y="2202"/>
                    <a:pt x="637" y="2209"/>
                    <a:pt x="644" y="2216"/>
                  </a:cubicBezTo>
                  <a:cubicBezTo>
                    <a:pt x="648" y="2223"/>
                    <a:pt x="655" y="2230"/>
                    <a:pt x="658" y="2240"/>
                  </a:cubicBezTo>
                  <a:lnTo>
                    <a:pt x="662" y="2244"/>
                  </a:lnTo>
                  <a:cubicBezTo>
                    <a:pt x="704" y="2240"/>
                    <a:pt x="746" y="2226"/>
                    <a:pt x="784" y="2205"/>
                  </a:cubicBezTo>
                  <a:cubicBezTo>
                    <a:pt x="830" y="2184"/>
                    <a:pt x="875" y="2160"/>
                    <a:pt x="921" y="2132"/>
                  </a:cubicBezTo>
                  <a:lnTo>
                    <a:pt x="935" y="2121"/>
                  </a:lnTo>
                  <a:lnTo>
                    <a:pt x="949" y="2121"/>
                  </a:lnTo>
                  <a:cubicBezTo>
                    <a:pt x="956" y="2121"/>
                    <a:pt x="1635" y="2072"/>
                    <a:pt x="1747" y="2062"/>
                  </a:cubicBezTo>
                  <a:lnTo>
                    <a:pt x="1785" y="2062"/>
                  </a:lnTo>
                  <a:lnTo>
                    <a:pt x="1799" y="2065"/>
                  </a:lnTo>
                  <a:cubicBezTo>
                    <a:pt x="1810" y="2065"/>
                    <a:pt x="1817" y="2065"/>
                    <a:pt x="1824" y="2069"/>
                  </a:cubicBezTo>
                  <a:lnTo>
                    <a:pt x="1824" y="2040"/>
                  </a:lnTo>
                  <a:lnTo>
                    <a:pt x="1908" y="2054"/>
                  </a:lnTo>
                  <a:cubicBezTo>
                    <a:pt x="2087" y="2090"/>
                    <a:pt x="2300" y="2153"/>
                    <a:pt x="2342" y="2251"/>
                  </a:cubicBezTo>
                  <a:cubicBezTo>
                    <a:pt x="2383" y="2280"/>
                    <a:pt x="2549" y="2312"/>
                    <a:pt x="2729" y="2312"/>
                  </a:cubicBezTo>
                  <a:cubicBezTo>
                    <a:pt x="2845" y="2312"/>
                    <a:pt x="2966" y="2299"/>
                    <a:pt x="3063" y="2265"/>
                  </a:cubicBezTo>
                  <a:lnTo>
                    <a:pt x="3081" y="2258"/>
                  </a:lnTo>
                  <a:cubicBezTo>
                    <a:pt x="3081" y="2209"/>
                    <a:pt x="3081" y="2170"/>
                    <a:pt x="3081" y="2135"/>
                  </a:cubicBezTo>
                  <a:lnTo>
                    <a:pt x="3081" y="2132"/>
                  </a:lnTo>
                  <a:lnTo>
                    <a:pt x="3081" y="2114"/>
                  </a:lnTo>
                  <a:cubicBezTo>
                    <a:pt x="3084" y="2069"/>
                    <a:pt x="3081" y="2019"/>
                    <a:pt x="3077" y="1970"/>
                  </a:cubicBezTo>
                  <a:cubicBezTo>
                    <a:pt x="3067" y="1921"/>
                    <a:pt x="2937" y="1785"/>
                    <a:pt x="2853" y="1701"/>
                  </a:cubicBezTo>
                  <a:lnTo>
                    <a:pt x="2804" y="1652"/>
                  </a:lnTo>
                  <a:cubicBezTo>
                    <a:pt x="2703" y="1550"/>
                    <a:pt x="2699" y="1351"/>
                    <a:pt x="2703" y="1281"/>
                  </a:cubicBezTo>
                  <a:lnTo>
                    <a:pt x="2608" y="1141"/>
                  </a:lnTo>
                  <a:lnTo>
                    <a:pt x="2605" y="1130"/>
                  </a:lnTo>
                  <a:cubicBezTo>
                    <a:pt x="2591" y="1092"/>
                    <a:pt x="2577" y="1053"/>
                    <a:pt x="2559" y="1015"/>
                  </a:cubicBezTo>
                  <a:cubicBezTo>
                    <a:pt x="2531" y="955"/>
                    <a:pt x="2493" y="903"/>
                    <a:pt x="2447" y="857"/>
                  </a:cubicBezTo>
                  <a:cubicBezTo>
                    <a:pt x="2437" y="850"/>
                    <a:pt x="2430" y="840"/>
                    <a:pt x="2419" y="833"/>
                  </a:cubicBezTo>
                  <a:lnTo>
                    <a:pt x="2416" y="829"/>
                  </a:lnTo>
                  <a:cubicBezTo>
                    <a:pt x="2405" y="822"/>
                    <a:pt x="2395" y="819"/>
                    <a:pt x="2384" y="812"/>
                  </a:cubicBezTo>
                  <a:lnTo>
                    <a:pt x="2377" y="808"/>
                  </a:lnTo>
                  <a:cubicBezTo>
                    <a:pt x="2367" y="801"/>
                    <a:pt x="2353" y="798"/>
                    <a:pt x="2342" y="794"/>
                  </a:cubicBezTo>
                  <a:cubicBezTo>
                    <a:pt x="2328" y="787"/>
                    <a:pt x="2314" y="784"/>
                    <a:pt x="2300" y="777"/>
                  </a:cubicBezTo>
                  <a:cubicBezTo>
                    <a:pt x="2164" y="710"/>
                    <a:pt x="2059" y="553"/>
                    <a:pt x="1996" y="427"/>
                  </a:cubicBezTo>
                  <a:cubicBezTo>
                    <a:pt x="1989" y="409"/>
                    <a:pt x="1978" y="395"/>
                    <a:pt x="1971" y="381"/>
                  </a:cubicBezTo>
                  <a:cubicBezTo>
                    <a:pt x="1957" y="346"/>
                    <a:pt x="1943" y="318"/>
                    <a:pt x="1936" y="297"/>
                  </a:cubicBezTo>
                  <a:lnTo>
                    <a:pt x="1754" y="297"/>
                  </a:lnTo>
                  <a:lnTo>
                    <a:pt x="1733" y="273"/>
                  </a:lnTo>
                  <a:cubicBezTo>
                    <a:pt x="1659" y="182"/>
                    <a:pt x="1572" y="101"/>
                    <a:pt x="1474" y="35"/>
                  </a:cubicBezTo>
                  <a:lnTo>
                    <a:pt x="1446" y="21"/>
                  </a:lnTo>
                  <a:cubicBezTo>
                    <a:pt x="1418" y="6"/>
                    <a:pt x="1384" y="1"/>
                    <a:pt x="1346" y="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386" name="Google Shape;3386;p104"/>
            <p:cNvSpPr/>
            <p:nvPr/>
          </p:nvSpPr>
          <p:spPr>
            <a:xfrm>
              <a:off x="1924802" y="1946215"/>
              <a:ext cx="163" cy="54"/>
            </a:xfrm>
            <a:custGeom>
              <a:avLst/>
              <a:gdLst/>
              <a:ahLst/>
              <a:cxnLst/>
              <a:rect l="l" t="t" r="r" b="b"/>
              <a:pathLst>
                <a:path w="12" h="4" extrusionOk="0">
                  <a:moveTo>
                    <a:pt x="1" y="4"/>
                  </a:moveTo>
                  <a:lnTo>
                    <a:pt x="1" y="4"/>
                  </a:lnTo>
                  <a:lnTo>
                    <a:pt x="11"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387" name="Google Shape;3387;p104"/>
            <p:cNvSpPr/>
            <p:nvPr/>
          </p:nvSpPr>
          <p:spPr>
            <a:xfrm>
              <a:off x="1925752" y="1946065"/>
              <a:ext cx="68" cy="14"/>
            </a:xfrm>
            <a:custGeom>
              <a:avLst/>
              <a:gdLst/>
              <a:ahLst/>
              <a:cxnLst/>
              <a:rect l="l" t="t" r="r" b="b"/>
              <a:pathLst>
                <a:path w="5" h="1" extrusionOk="0">
                  <a:moveTo>
                    <a:pt x="1" y="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388" name="Google Shape;3388;p104"/>
            <p:cNvSpPr/>
            <p:nvPr/>
          </p:nvSpPr>
          <p:spPr>
            <a:xfrm>
              <a:off x="1928943" y="1940268"/>
              <a:ext cx="109" cy="14"/>
            </a:xfrm>
            <a:custGeom>
              <a:avLst/>
              <a:gdLst/>
              <a:ahLst/>
              <a:cxnLst/>
              <a:rect l="l" t="t" r="r" b="b"/>
              <a:pathLst>
                <a:path w="8" h="1" extrusionOk="0">
                  <a:moveTo>
                    <a:pt x="7"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389" name="Google Shape;3389;p104"/>
            <p:cNvSpPr/>
            <p:nvPr/>
          </p:nvSpPr>
          <p:spPr>
            <a:xfrm>
              <a:off x="1925752" y="1940268"/>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390" name="Google Shape;3390;p104"/>
            <p:cNvSpPr/>
            <p:nvPr/>
          </p:nvSpPr>
          <p:spPr>
            <a:xfrm>
              <a:off x="1932880" y="1939181"/>
              <a:ext cx="68" cy="54"/>
            </a:xfrm>
            <a:custGeom>
              <a:avLst/>
              <a:gdLst/>
              <a:ahLst/>
              <a:cxnLst/>
              <a:rect l="l" t="t" r="r" b="b"/>
              <a:pathLst>
                <a:path w="5" h="4" extrusionOk="0">
                  <a:moveTo>
                    <a:pt x="4" y="0"/>
                  </a:moveTo>
                  <a:lnTo>
                    <a:pt x="1" y="4"/>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391" name="Google Shape;3391;p104"/>
            <p:cNvSpPr/>
            <p:nvPr/>
          </p:nvSpPr>
          <p:spPr>
            <a:xfrm>
              <a:off x="1931835" y="1939562"/>
              <a:ext cx="109" cy="54"/>
            </a:xfrm>
            <a:custGeom>
              <a:avLst/>
              <a:gdLst/>
              <a:ahLst/>
              <a:cxnLst/>
              <a:rect l="l" t="t" r="r" b="b"/>
              <a:pathLst>
                <a:path w="8" h="4" extrusionOk="0">
                  <a:moveTo>
                    <a:pt x="8" y="0"/>
                  </a:moveTo>
                  <a:lnTo>
                    <a:pt x="1" y="4"/>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392" name="Google Shape;3392;p104"/>
            <p:cNvSpPr/>
            <p:nvPr/>
          </p:nvSpPr>
          <p:spPr>
            <a:xfrm>
              <a:off x="1925901" y="1946025"/>
              <a:ext cx="109" cy="14"/>
            </a:xfrm>
            <a:custGeom>
              <a:avLst/>
              <a:gdLst/>
              <a:ahLst/>
              <a:cxnLst/>
              <a:rect l="l" t="t" r="r" b="b"/>
              <a:pathLst>
                <a:path w="8" h="1" extrusionOk="0">
                  <a:moveTo>
                    <a:pt x="0" y="0"/>
                  </a:moveTo>
                  <a:lnTo>
                    <a:pt x="7"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393" name="Google Shape;3393;p104"/>
            <p:cNvSpPr/>
            <p:nvPr/>
          </p:nvSpPr>
          <p:spPr>
            <a:xfrm>
              <a:off x="1925521" y="1946120"/>
              <a:ext cx="109" cy="14"/>
            </a:xfrm>
            <a:custGeom>
              <a:avLst/>
              <a:gdLst/>
              <a:ahLst/>
              <a:cxnLst/>
              <a:rect l="l" t="t" r="r" b="b"/>
              <a:pathLst>
                <a:path w="8" h="1" extrusionOk="0">
                  <a:moveTo>
                    <a:pt x="0" y="0"/>
                  </a:moveTo>
                  <a:lnTo>
                    <a:pt x="7"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394" name="Google Shape;3394;p104"/>
            <p:cNvSpPr/>
            <p:nvPr/>
          </p:nvSpPr>
          <p:spPr>
            <a:xfrm>
              <a:off x="1926947" y="1940322"/>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395" name="Google Shape;3395;p104"/>
            <p:cNvSpPr/>
            <p:nvPr/>
          </p:nvSpPr>
          <p:spPr>
            <a:xfrm>
              <a:off x="1925087" y="1946160"/>
              <a:ext cx="258" cy="68"/>
            </a:xfrm>
            <a:custGeom>
              <a:avLst/>
              <a:gdLst/>
              <a:ahLst/>
              <a:cxnLst/>
              <a:rect l="l" t="t" r="r" b="b"/>
              <a:pathLst>
                <a:path w="19" h="5" extrusionOk="0">
                  <a:moveTo>
                    <a:pt x="1" y="4"/>
                  </a:moveTo>
                  <a:lnTo>
                    <a:pt x="18"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396" name="Google Shape;3396;p104"/>
            <p:cNvSpPr/>
            <p:nvPr/>
          </p:nvSpPr>
          <p:spPr>
            <a:xfrm>
              <a:off x="1928033" y="1940322"/>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397" name="Google Shape;3397;p104"/>
            <p:cNvSpPr/>
            <p:nvPr/>
          </p:nvSpPr>
          <p:spPr>
            <a:xfrm>
              <a:off x="1926037" y="1946025"/>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398" name="Google Shape;3398;p104"/>
            <p:cNvSpPr/>
            <p:nvPr/>
          </p:nvSpPr>
          <p:spPr>
            <a:xfrm>
              <a:off x="1929893" y="1940132"/>
              <a:ext cx="149" cy="14"/>
            </a:xfrm>
            <a:custGeom>
              <a:avLst/>
              <a:gdLst/>
              <a:ahLst/>
              <a:cxnLst/>
              <a:rect l="l" t="t" r="r" b="b"/>
              <a:pathLst>
                <a:path w="11" h="1" extrusionOk="0">
                  <a:moveTo>
                    <a:pt x="11"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399" name="Google Shape;3399;p104"/>
            <p:cNvSpPr/>
            <p:nvPr/>
          </p:nvSpPr>
          <p:spPr>
            <a:xfrm>
              <a:off x="1930884" y="1939888"/>
              <a:ext cx="109" cy="14"/>
            </a:xfrm>
            <a:custGeom>
              <a:avLst/>
              <a:gdLst/>
              <a:ahLst/>
              <a:cxnLst/>
              <a:rect l="l" t="t" r="r" b="b"/>
              <a:pathLst>
                <a:path w="8" h="1" extrusionOk="0">
                  <a:moveTo>
                    <a:pt x="8"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400" name="Google Shape;3400;p104"/>
            <p:cNvSpPr/>
            <p:nvPr/>
          </p:nvSpPr>
          <p:spPr>
            <a:xfrm>
              <a:off x="1926132" y="1945970"/>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401" name="Google Shape;3401;p104"/>
            <p:cNvSpPr/>
            <p:nvPr/>
          </p:nvSpPr>
          <p:spPr>
            <a:xfrm>
              <a:off x="1928318" y="1943404"/>
              <a:ext cx="6911" cy="2349"/>
            </a:xfrm>
            <a:custGeom>
              <a:avLst/>
              <a:gdLst/>
              <a:ahLst/>
              <a:cxnLst/>
              <a:rect l="l" t="t" r="r" b="b"/>
              <a:pathLst>
                <a:path w="509" h="173" extrusionOk="0">
                  <a:moveTo>
                    <a:pt x="508" y="1"/>
                  </a:moveTo>
                  <a:cubicBezTo>
                    <a:pt x="423" y="74"/>
                    <a:pt x="250" y="126"/>
                    <a:pt x="90" y="157"/>
                  </a:cubicBezTo>
                  <a:lnTo>
                    <a:pt x="90" y="157"/>
                  </a:lnTo>
                  <a:cubicBezTo>
                    <a:pt x="248" y="126"/>
                    <a:pt x="423" y="77"/>
                    <a:pt x="508" y="1"/>
                  </a:cubicBezTo>
                  <a:close/>
                  <a:moveTo>
                    <a:pt x="90" y="157"/>
                  </a:moveTo>
                  <a:cubicBezTo>
                    <a:pt x="60" y="163"/>
                    <a:pt x="29" y="168"/>
                    <a:pt x="1" y="172"/>
                  </a:cubicBezTo>
                  <a:cubicBezTo>
                    <a:pt x="30" y="168"/>
                    <a:pt x="60" y="163"/>
                    <a:pt x="90" y="157"/>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402" name="Google Shape;3402;p104"/>
            <p:cNvSpPr/>
            <p:nvPr/>
          </p:nvSpPr>
          <p:spPr>
            <a:xfrm>
              <a:off x="1926607" y="1945834"/>
              <a:ext cx="1018" cy="149"/>
            </a:xfrm>
            <a:custGeom>
              <a:avLst/>
              <a:gdLst/>
              <a:ahLst/>
              <a:cxnLst/>
              <a:rect l="l" t="t" r="r" b="b"/>
              <a:pathLst>
                <a:path w="75" h="11" extrusionOk="0">
                  <a:moveTo>
                    <a:pt x="74" y="0"/>
                  </a:moveTo>
                  <a:lnTo>
                    <a:pt x="74" y="0"/>
                  </a:lnTo>
                  <a:cubicBezTo>
                    <a:pt x="46" y="4"/>
                    <a:pt x="22" y="7"/>
                    <a:pt x="1" y="11"/>
                  </a:cubicBezTo>
                  <a:cubicBezTo>
                    <a:pt x="22" y="11"/>
                    <a:pt x="46" y="4"/>
                    <a:pt x="74"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403" name="Google Shape;3403;p104"/>
            <p:cNvSpPr/>
            <p:nvPr/>
          </p:nvSpPr>
          <p:spPr>
            <a:xfrm>
              <a:off x="1927273" y="1949405"/>
              <a:ext cx="17936" cy="10224"/>
            </a:xfrm>
            <a:custGeom>
              <a:avLst/>
              <a:gdLst/>
              <a:ahLst/>
              <a:cxnLst/>
              <a:rect l="l" t="t" r="r" b="b"/>
              <a:pathLst>
                <a:path w="1321" h="753" extrusionOk="0">
                  <a:moveTo>
                    <a:pt x="1264" y="0"/>
                  </a:moveTo>
                  <a:cubicBezTo>
                    <a:pt x="1159" y="7"/>
                    <a:pt x="589" y="53"/>
                    <a:pt x="480" y="60"/>
                  </a:cubicBezTo>
                  <a:cubicBezTo>
                    <a:pt x="424" y="93"/>
                    <a:pt x="269" y="183"/>
                    <a:pt x="161" y="183"/>
                  </a:cubicBezTo>
                  <a:cubicBezTo>
                    <a:pt x="155" y="183"/>
                    <a:pt x="150" y="183"/>
                    <a:pt x="144" y="182"/>
                  </a:cubicBezTo>
                  <a:cubicBezTo>
                    <a:pt x="137" y="182"/>
                    <a:pt x="130" y="182"/>
                    <a:pt x="123" y="179"/>
                  </a:cubicBezTo>
                  <a:cubicBezTo>
                    <a:pt x="92" y="168"/>
                    <a:pt x="67" y="147"/>
                    <a:pt x="50" y="119"/>
                  </a:cubicBezTo>
                  <a:lnTo>
                    <a:pt x="46" y="109"/>
                  </a:lnTo>
                  <a:lnTo>
                    <a:pt x="46" y="105"/>
                  </a:lnTo>
                  <a:lnTo>
                    <a:pt x="46" y="102"/>
                  </a:lnTo>
                  <a:lnTo>
                    <a:pt x="43" y="98"/>
                  </a:lnTo>
                  <a:cubicBezTo>
                    <a:pt x="39" y="98"/>
                    <a:pt x="36" y="95"/>
                    <a:pt x="32" y="95"/>
                  </a:cubicBezTo>
                  <a:cubicBezTo>
                    <a:pt x="25" y="92"/>
                    <a:pt x="17" y="90"/>
                    <a:pt x="10" y="90"/>
                  </a:cubicBezTo>
                  <a:cubicBezTo>
                    <a:pt x="7" y="90"/>
                    <a:pt x="4" y="90"/>
                    <a:pt x="1" y="91"/>
                  </a:cubicBezTo>
                  <a:cubicBezTo>
                    <a:pt x="85" y="203"/>
                    <a:pt x="130" y="259"/>
                    <a:pt x="340" y="319"/>
                  </a:cubicBezTo>
                  <a:cubicBezTo>
                    <a:pt x="550" y="378"/>
                    <a:pt x="543" y="480"/>
                    <a:pt x="522" y="581"/>
                  </a:cubicBezTo>
                  <a:cubicBezTo>
                    <a:pt x="512" y="648"/>
                    <a:pt x="505" y="686"/>
                    <a:pt x="589" y="742"/>
                  </a:cubicBezTo>
                  <a:lnTo>
                    <a:pt x="610" y="753"/>
                  </a:lnTo>
                  <a:lnTo>
                    <a:pt x="624" y="742"/>
                  </a:lnTo>
                  <a:lnTo>
                    <a:pt x="634" y="735"/>
                  </a:lnTo>
                  <a:cubicBezTo>
                    <a:pt x="648" y="725"/>
                    <a:pt x="662" y="714"/>
                    <a:pt x="680" y="700"/>
                  </a:cubicBezTo>
                  <a:lnTo>
                    <a:pt x="732" y="662"/>
                  </a:lnTo>
                  <a:cubicBezTo>
                    <a:pt x="893" y="537"/>
                    <a:pt x="1010" y="450"/>
                    <a:pt x="1100" y="450"/>
                  </a:cubicBezTo>
                  <a:cubicBezTo>
                    <a:pt x="1116" y="450"/>
                    <a:pt x="1131" y="453"/>
                    <a:pt x="1145" y="459"/>
                  </a:cubicBezTo>
                  <a:cubicBezTo>
                    <a:pt x="1155" y="461"/>
                    <a:pt x="1164" y="463"/>
                    <a:pt x="1173" y="463"/>
                  </a:cubicBezTo>
                  <a:cubicBezTo>
                    <a:pt x="1200" y="463"/>
                    <a:pt x="1225" y="452"/>
                    <a:pt x="1243" y="434"/>
                  </a:cubicBezTo>
                  <a:cubicBezTo>
                    <a:pt x="1240" y="424"/>
                    <a:pt x="1233" y="413"/>
                    <a:pt x="1226" y="403"/>
                  </a:cubicBezTo>
                  <a:cubicBezTo>
                    <a:pt x="1191" y="347"/>
                    <a:pt x="1145" y="273"/>
                    <a:pt x="1166" y="203"/>
                  </a:cubicBezTo>
                  <a:cubicBezTo>
                    <a:pt x="1184" y="161"/>
                    <a:pt x="1215" y="130"/>
                    <a:pt x="1254" y="119"/>
                  </a:cubicBezTo>
                  <a:cubicBezTo>
                    <a:pt x="1296" y="95"/>
                    <a:pt x="1320" y="53"/>
                    <a:pt x="1320" y="7"/>
                  </a:cubicBezTo>
                  <a:lnTo>
                    <a:pt x="1317" y="7"/>
                  </a:lnTo>
                  <a:lnTo>
                    <a:pt x="1303" y="4"/>
                  </a:lnTo>
                  <a:lnTo>
                    <a:pt x="1299" y="4"/>
                  </a:lnTo>
                  <a:lnTo>
                    <a:pt x="1282"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404" name="Google Shape;3404;p104"/>
            <p:cNvSpPr/>
            <p:nvPr/>
          </p:nvSpPr>
          <p:spPr>
            <a:xfrm>
              <a:off x="1944856" y="1949405"/>
              <a:ext cx="68" cy="14"/>
            </a:xfrm>
            <a:custGeom>
              <a:avLst/>
              <a:gdLst/>
              <a:ahLst/>
              <a:cxnLst/>
              <a:rect l="l" t="t" r="r" b="b"/>
              <a:pathLst>
                <a:path w="5" h="1" extrusionOk="0">
                  <a:moveTo>
                    <a:pt x="1" y="0"/>
                  </a:moveTo>
                  <a:lnTo>
                    <a:pt x="4"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405" name="Google Shape;3405;p104"/>
            <p:cNvSpPr/>
            <p:nvPr/>
          </p:nvSpPr>
          <p:spPr>
            <a:xfrm>
              <a:off x="1945141" y="1949500"/>
              <a:ext cx="68" cy="14"/>
            </a:xfrm>
            <a:custGeom>
              <a:avLst/>
              <a:gdLst/>
              <a:ahLst/>
              <a:cxnLst/>
              <a:rect l="l" t="t" r="r" b="b"/>
              <a:pathLst>
                <a:path w="5" h="1" extrusionOk="0">
                  <a:moveTo>
                    <a:pt x="4"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406" name="Google Shape;3406;p104"/>
            <p:cNvSpPr/>
            <p:nvPr/>
          </p:nvSpPr>
          <p:spPr>
            <a:xfrm>
              <a:off x="1927938" y="1950967"/>
              <a:ext cx="1018" cy="828"/>
            </a:xfrm>
            <a:custGeom>
              <a:avLst/>
              <a:gdLst/>
              <a:ahLst/>
              <a:cxnLst/>
              <a:rect l="l" t="t" r="r" b="b"/>
              <a:pathLst>
                <a:path w="75" h="61" extrusionOk="0">
                  <a:moveTo>
                    <a:pt x="74" y="60"/>
                  </a:moveTo>
                  <a:cubicBezTo>
                    <a:pt x="43" y="50"/>
                    <a:pt x="15" y="29"/>
                    <a:pt x="1" y="1"/>
                  </a:cubicBezTo>
                  <a:cubicBezTo>
                    <a:pt x="15" y="29"/>
                    <a:pt x="43" y="50"/>
                    <a:pt x="74" y="6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407" name="Google Shape;3407;p104"/>
            <p:cNvSpPr/>
            <p:nvPr/>
          </p:nvSpPr>
          <p:spPr>
            <a:xfrm>
              <a:off x="1927612" y="1950587"/>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408" name="Google Shape;3408;p104"/>
            <p:cNvSpPr/>
            <p:nvPr/>
          </p:nvSpPr>
          <p:spPr>
            <a:xfrm>
              <a:off x="1927843" y="1950777"/>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409" name="Google Shape;3409;p104"/>
            <p:cNvSpPr/>
            <p:nvPr/>
          </p:nvSpPr>
          <p:spPr>
            <a:xfrm>
              <a:off x="1944666" y="1949351"/>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410" name="Google Shape;3410;p104"/>
            <p:cNvSpPr/>
            <p:nvPr/>
          </p:nvSpPr>
          <p:spPr>
            <a:xfrm>
              <a:off x="1927802" y="1950736"/>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411" name="Google Shape;3411;p104"/>
            <p:cNvSpPr/>
            <p:nvPr/>
          </p:nvSpPr>
          <p:spPr>
            <a:xfrm>
              <a:off x="1927748" y="1950682"/>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412" name="Google Shape;3412;p104"/>
            <p:cNvSpPr/>
            <p:nvPr/>
          </p:nvSpPr>
          <p:spPr>
            <a:xfrm>
              <a:off x="1927137" y="1950546"/>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413" name="Google Shape;3413;p104"/>
            <p:cNvSpPr/>
            <p:nvPr/>
          </p:nvSpPr>
          <p:spPr>
            <a:xfrm>
              <a:off x="1944475" y="1949310"/>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414" name="Google Shape;3414;p104"/>
            <p:cNvSpPr/>
            <p:nvPr/>
          </p:nvSpPr>
          <p:spPr>
            <a:xfrm>
              <a:off x="2156244" y="1961014"/>
              <a:ext cx="88987" cy="61547"/>
            </a:xfrm>
            <a:custGeom>
              <a:avLst/>
              <a:gdLst/>
              <a:ahLst/>
              <a:cxnLst/>
              <a:rect l="l" t="t" r="r" b="b"/>
              <a:pathLst>
                <a:path w="6554" h="4533" extrusionOk="0">
                  <a:moveTo>
                    <a:pt x="4106" y="0"/>
                  </a:moveTo>
                  <a:cubicBezTo>
                    <a:pt x="4103" y="0"/>
                    <a:pt x="4100" y="1"/>
                    <a:pt x="4096" y="3"/>
                  </a:cubicBezTo>
                  <a:cubicBezTo>
                    <a:pt x="4009" y="6"/>
                    <a:pt x="3862" y="90"/>
                    <a:pt x="3774" y="178"/>
                  </a:cubicBezTo>
                  <a:cubicBezTo>
                    <a:pt x="3743" y="206"/>
                    <a:pt x="3722" y="244"/>
                    <a:pt x="3722" y="286"/>
                  </a:cubicBezTo>
                  <a:cubicBezTo>
                    <a:pt x="3722" y="342"/>
                    <a:pt x="3701" y="395"/>
                    <a:pt x="3662" y="437"/>
                  </a:cubicBezTo>
                  <a:cubicBezTo>
                    <a:pt x="3645" y="454"/>
                    <a:pt x="3617" y="479"/>
                    <a:pt x="3582" y="510"/>
                  </a:cubicBezTo>
                  <a:cubicBezTo>
                    <a:pt x="3421" y="657"/>
                    <a:pt x="3270" y="811"/>
                    <a:pt x="3133" y="979"/>
                  </a:cubicBezTo>
                  <a:cubicBezTo>
                    <a:pt x="3011" y="1135"/>
                    <a:pt x="2798" y="1141"/>
                    <a:pt x="2612" y="1141"/>
                  </a:cubicBezTo>
                  <a:cubicBezTo>
                    <a:pt x="2597" y="1141"/>
                    <a:pt x="2581" y="1141"/>
                    <a:pt x="2566" y="1141"/>
                  </a:cubicBezTo>
                  <a:cubicBezTo>
                    <a:pt x="2540" y="1139"/>
                    <a:pt x="2513" y="1138"/>
                    <a:pt x="2486" y="1138"/>
                  </a:cubicBezTo>
                  <a:cubicBezTo>
                    <a:pt x="2459" y="1138"/>
                    <a:pt x="2432" y="1139"/>
                    <a:pt x="2405" y="1141"/>
                  </a:cubicBezTo>
                  <a:cubicBezTo>
                    <a:pt x="2381" y="1144"/>
                    <a:pt x="2356" y="1148"/>
                    <a:pt x="2335" y="1158"/>
                  </a:cubicBezTo>
                  <a:cubicBezTo>
                    <a:pt x="2311" y="1172"/>
                    <a:pt x="2311" y="1172"/>
                    <a:pt x="2335" y="1232"/>
                  </a:cubicBezTo>
                  <a:cubicBezTo>
                    <a:pt x="2360" y="1281"/>
                    <a:pt x="2398" y="1375"/>
                    <a:pt x="2314" y="1442"/>
                  </a:cubicBezTo>
                  <a:cubicBezTo>
                    <a:pt x="2234" y="1512"/>
                    <a:pt x="2031" y="1606"/>
                    <a:pt x="1898" y="1669"/>
                  </a:cubicBezTo>
                  <a:lnTo>
                    <a:pt x="1817" y="1708"/>
                  </a:lnTo>
                  <a:cubicBezTo>
                    <a:pt x="1754" y="1732"/>
                    <a:pt x="1684" y="1750"/>
                    <a:pt x="1618" y="1753"/>
                  </a:cubicBezTo>
                  <a:cubicBezTo>
                    <a:pt x="1485" y="1771"/>
                    <a:pt x="1299" y="1795"/>
                    <a:pt x="1243" y="1869"/>
                  </a:cubicBezTo>
                  <a:cubicBezTo>
                    <a:pt x="1204" y="1918"/>
                    <a:pt x="1162" y="1934"/>
                    <a:pt x="1122" y="1934"/>
                  </a:cubicBezTo>
                  <a:cubicBezTo>
                    <a:pt x="1066" y="1934"/>
                    <a:pt x="1013" y="1901"/>
                    <a:pt x="980" y="1883"/>
                  </a:cubicBezTo>
                  <a:cubicBezTo>
                    <a:pt x="941" y="1858"/>
                    <a:pt x="922" y="1848"/>
                    <a:pt x="910" y="1848"/>
                  </a:cubicBezTo>
                  <a:cubicBezTo>
                    <a:pt x="899" y="1848"/>
                    <a:pt x="894" y="1856"/>
                    <a:pt x="886" y="1869"/>
                  </a:cubicBezTo>
                  <a:cubicBezTo>
                    <a:pt x="830" y="1960"/>
                    <a:pt x="742" y="2023"/>
                    <a:pt x="641" y="2047"/>
                  </a:cubicBezTo>
                  <a:cubicBezTo>
                    <a:pt x="627" y="2047"/>
                    <a:pt x="616" y="2051"/>
                    <a:pt x="602" y="2051"/>
                  </a:cubicBezTo>
                  <a:lnTo>
                    <a:pt x="592" y="2051"/>
                  </a:lnTo>
                  <a:cubicBezTo>
                    <a:pt x="581" y="2047"/>
                    <a:pt x="571" y="2047"/>
                    <a:pt x="560" y="2047"/>
                  </a:cubicBezTo>
                  <a:lnTo>
                    <a:pt x="550" y="2044"/>
                  </a:lnTo>
                  <a:cubicBezTo>
                    <a:pt x="543" y="2040"/>
                    <a:pt x="532" y="2037"/>
                    <a:pt x="525" y="2033"/>
                  </a:cubicBezTo>
                  <a:lnTo>
                    <a:pt x="515" y="2030"/>
                  </a:lnTo>
                  <a:cubicBezTo>
                    <a:pt x="504" y="2026"/>
                    <a:pt x="494" y="2019"/>
                    <a:pt x="487" y="2012"/>
                  </a:cubicBezTo>
                  <a:cubicBezTo>
                    <a:pt x="480" y="2009"/>
                    <a:pt x="473" y="2005"/>
                    <a:pt x="469" y="1998"/>
                  </a:cubicBezTo>
                  <a:lnTo>
                    <a:pt x="466" y="2005"/>
                  </a:lnTo>
                  <a:lnTo>
                    <a:pt x="452" y="2016"/>
                  </a:lnTo>
                  <a:lnTo>
                    <a:pt x="431" y="2037"/>
                  </a:lnTo>
                  <a:lnTo>
                    <a:pt x="417" y="2047"/>
                  </a:lnTo>
                  <a:lnTo>
                    <a:pt x="396" y="2068"/>
                  </a:lnTo>
                  <a:lnTo>
                    <a:pt x="385" y="2082"/>
                  </a:lnTo>
                  <a:lnTo>
                    <a:pt x="364" y="2103"/>
                  </a:lnTo>
                  <a:lnTo>
                    <a:pt x="354" y="2117"/>
                  </a:lnTo>
                  <a:lnTo>
                    <a:pt x="336" y="2138"/>
                  </a:lnTo>
                  <a:lnTo>
                    <a:pt x="326" y="2152"/>
                  </a:lnTo>
                  <a:cubicBezTo>
                    <a:pt x="319" y="2159"/>
                    <a:pt x="312" y="2166"/>
                    <a:pt x="308" y="2173"/>
                  </a:cubicBezTo>
                  <a:lnTo>
                    <a:pt x="298" y="2187"/>
                  </a:lnTo>
                  <a:cubicBezTo>
                    <a:pt x="294" y="2198"/>
                    <a:pt x="291" y="2205"/>
                    <a:pt x="284" y="2215"/>
                  </a:cubicBezTo>
                  <a:lnTo>
                    <a:pt x="280" y="2226"/>
                  </a:lnTo>
                  <a:cubicBezTo>
                    <a:pt x="273" y="2236"/>
                    <a:pt x="266" y="2250"/>
                    <a:pt x="263" y="2264"/>
                  </a:cubicBezTo>
                  <a:cubicBezTo>
                    <a:pt x="228" y="2369"/>
                    <a:pt x="179" y="2467"/>
                    <a:pt x="119" y="2562"/>
                  </a:cubicBezTo>
                  <a:lnTo>
                    <a:pt x="95" y="2597"/>
                  </a:lnTo>
                  <a:cubicBezTo>
                    <a:pt x="53" y="2670"/>
                    <a:pt x="0" y="2754"/>
                    <a:pt x="0" y="2789"/>
                  </a:cubicBezTo>
                  <a:cubicBezTo>
                    <a:pt x="4" y="2838"/>
                    <a:pt x="11" y="2887"/>
                    <a:pt x="28" y="2936"/>
                  </a:cubicBezTo>
                  <a:cubicBezTo>
                    <a:pt x="56" y="3034"/>
                    <a:pt x="70" y="3136"/>
                    <a:pt x="74" y="3238"/>
                  </a:cubicBezTo>
                  <a:cubicBezTo>
                    <a:pt x="74" y="3413"/>
                    <a:pt x="116" y="3500"/>
                    <a:pt x="217" y="3637"/>
                  </a:cubicBezTo>
                  <a:cubicBezTo>
                    <a:pt x="291" y="3738"/>
                    <a:pt x="326" y="3864"/>
                    <a:pt x="315" y="3990"/>
                  </a:cubicBezTo>
                  <a:cubicBezTo>
                    <a:pt x="347" y="4043"/>
                    <a:pt x="382" y="4095"/>
                    <a:pt x="424" y="4144"/>
                  </a:cubicBezTo>
                  <a:cubicBezTo>
                    <a:pt x="469" y="4197"/>
                    <a:pt x="522" y="4249"/>
                    <a:pt x="581" y="4295"/>
                  </a:cubicBezTo>
                  <a:cubicBezTo>
                    <a:pt x="697" y="4393"/>
                    <a:pt x="767" y="4456"/>
                    <a:pt x="784" y="4519"/>
                  </a:cubicBezTo>
                  <a:lnTo>
                    <a:pt x="784" y="4522"/>
                  </a:lnTo>
                  <a:lnTo>
                    <a:pt x="788" y="4526"/>
                  </a:lnTo>
                  <a:lnTo>
                    <a:pt x="788" y="4529"/>
                  </a:lnTo>
                  <a:lnTo>
                    <a:pt x="791" y="4533"/>
                  </a:lnTo>
                  <a:cubicBezTo>
                    <a:pt x="900" y="4396"/>
                    <a:pt x="882" y="4204"/>
                    <a:pt x="879" y="4183"/>
                  </a:cubicBezTo>
                  <a:lnTo>
                    <a:pt x="879" y="4179"/>
                  </a:lnTo>
                  <a:lnTo>
                    <a:pt x="872" y="4120"/>
                  </a:lnTo>
                  <a:lnTo>
                    <a:pt x="1233" y="4039"/>
                  </a:lnTo>
                  <a:lnTo>
                    <a:pt x="1478" y="3969"/>
                  </a:lnTo>
                  <a:lnTo>
                    <a:pt x="1891" y="4025"/>
                  </a:lnTo>
                  <a:lnTo>
                    <a:pt x="1891" y="3710"/>
                  </a:lnTo>
                  <a:lnTo>
                    <a:pt x="1905" y="3693"/>
                  </a:lnTo>
                  <a:cubicBezTo>
                    <a:pt x="1940" y="3644"/>
                    <a:pt x="2269" y="3227"/>
                    <a:pt x="2528" y="3227"/>
                  </a:cubicBezTo>
                  <a:cubicBezTo>
                    <a:pt x="2759" y="3227"/>
                    <a:pt x="2951" y="3462"/>
                    <a:pt x="3007" y="3539"/>
                  </a:cubicBezTo>
                  <a:lnTo>
                    <a:pt x="3963" y="3724"/>
                  </a:lnTo>
                  <a:cubicBezTo>
                    <a:pt x="3991" y="3619"/>
                    <a:pt x="4051" y="3434"/>
                    <a:pt x="4145" y="3374"/>
                  </a:cubicBezTo>
                  <a:cubicBezTo>
                    <a:pt x="4180" y="3351"/>
                    <a:pt x="4219" y="3342"/>
                    <a:pt x="4260" y="3342"/>
                  </a:cubicBezTo>
                  <a:cubicBezTo>
                    <a:pt x="4305" y="3342"/>
                    <a:pt x="4351" y="3353"/>
                    <a:pt x="4397" y="3364"/>
                  </a:cubicBezTo>
                  <a:cubicBezTo>
                    <a:pt x="4442" y="3372"/>
                    <a:pt x="4489" y="3381"/>
                    <a:pt x="4529" y="3381"/>
                  </a:cubicBezTo>
                  <a:cubicBezTo>
                    <a:pt x="4552" y="3381"/>
                    <a:pt x="4573" y="3378"/>
                    <a:pt x="4590" y="3371"/>
                  </a:cubicBezTo>
                  <a:cubicBezTo>
                    <a:pt x="4733" y="3297"/>
                    <a:pt x="4940" y="3196"/>
                    <a:pt x="5195" y="3196"/>
                  </a:cubicBezTo>
                  <a:cubicBezTo>
                    <a:pt x="5265" y="3196"/>
                    <a:pt x="5335" y="3206"/>
                    <a:pt x="5402" y="3224"/>
                  </a:cubicBezTo>
                  <a:cubicBezTo>
                    <a:pt x="5441" y="3232"/>
                    <a:pt x="5469" y="3239"/>
                    <a:pt x="5490" y="3239"/>
                  </a:cubicBezTo>
                  <a:cubicBezTo>
                    <a:pt x="5527" y="3239"/>
                    <a:pt x="5545" y="3220"/>
                    <a:pt x="5574" y="3164"/>
                  </a:cubicBezTo>
                  <a:cubicBezTo>
                    <a:pt x="5598" y="3115"/>
                    <a:pt x="5640" y="3080"/>
                    <a:pt x="5693" y="3066"/>
                  </a:cubicBezTo>
                  <a:cubicBezTo>
                    <a:pt x="5721" y="3057"/>
                    <a:pt x="5750" y="3051"/>
                    <a:pt x="5781" y="3051"/>
                  </a:cubicBezTo>
                  <a:cubicBezTo>
                    <a:pt x="5788" y="3051"/>
                    <a:pt x="5794" y="3051"/>
                    <a:pt x="5801" y="3052"/>
                  </a:cubicBezTo>
                  <a:cubicBezTo>
                    <a:pt x="5973" y="3059"/>
                    <a:pt x="6179" y="3157"/>
                    <a:pt x="6249" y="3192"/>
                  </a:cubicBezTo>
                  <a:lnTo>
                    <a:pt x="6554" y="3139"/>
                  </a:lnTo>
                  <a:lnTo>
                    <a:pt x="6466" y="2898"/>
                  </a:lnTo>
                  <a:cubicBezTo>
                    <a:pt x="6396" y="2866"/>
                    <a:pt x="6333" y="2835"/>
                    <a:pt x="6270" y="2793"/>
                  </a:cubicBezTo>
                  <a:lnTo>
                    <a:pt x="6263" y="2789"/>
                  </a:lnTo>
                  <a:lnTo>
                    <a:pt x="6260" y="2786"/>
                  </a:lnTo>
                  <a:cubicBezTo>
                    <a:pt x="6239" y="2775"/>
                    <a:pt x="6221" y="2761"/>
                    <a:pt x="6204" y="2751"/>
                  </a:cubicBezTo>
                  <a:cubicBezTo>
                    <a:pt x="6148" y="2716"/>
                    <a:pt x="6106" y="2663"/>
                    <a:pt x="6081" y="2600"/>
                  </a:cubicBezTo>
                  <a:cubicBezTo>
                    <a:pt x="6081" y="2593"/>
                    <a:pt x="6078" y="2586"/>
                    <a:pt x="6078" y="2579"/>
                  </a:cubicBezTo>
                  <a:cubicBezTo>
                    <a:pt x="6078" y="2492"/>
                    <a:pt x="6078" y="2418"/>
                    <a:pt x="5931" y="2285"/>
                  </a:cubicBezTo>
                  <a:lnTo>
                    <a:pt x="5903" y="2261"/>
                  </a:lnTo>
                  <a:cubicBezTo>
                    <a:pt x="5843" y="2212"/>
                    <a:pt x="5780" y="2166"/>
                    <a:pt x="5717" y="2124"/>
                  </a:cubicBezTo>
                  <a:cubicBezTo>
                    <a:pt x="5619" y="2058"/>
                    <a:pt x="5542" y="2005"/>
                    <a:pt x="5542" y="1904"/>
                  </a:cubicBezTo>
                  <a:cubicBezTo>
                    <a:pt x="5542" y="1862"/>
                    <a:pt x="5525" y="1837"/>
                    <a:pt x="5444" y="1750"/>
                  </a:cubicBezTo>
                  <a:cubicBezTo>
                    <a:pt x="5409" y="1715"/>
                    <a:pt x="5371" y="1669"/>
                    <a:pt x="5321" y="1610"/>
                  </a:cubicBezTo>
                  <a:cubicBezTo>
                    <a:pt x="5174" y="1435"/>
                    <a:pt x="4936" y="1431"/>
                    <a:pt x="4933" y="1431"/>
                  </a:cubicBezTo>
                  <a:lnTo>
                    <a:pt x="4887" y="1431"/>
                  </a:lnTo>
                  <a:lnTo>
                    <a:pt x="4817" y="1256"/>
                  </a:lnTo>
                  <a:lnTo>
                    <a:pt x="4604" y="1225"/>
                  </a:lnTo>
                  <a:lnTo>
                    <a:pt x="4590" y="1218"/>
                  </a:lnTo>
                  <a:cubicBezTo>
                    <a:pt x="4544" y="1183"/>
                    <a:pt x="4516" y="1130"/>
                    <a:pt x="4520" y="1074"/>
                  </a:cubicBezTo>
                  <a:cubicBezTo>
                    <a:pt x="4523" y="1007"/>
                    <a:pt x="4572" y="951"/>
                    <a:pt x="4667" y="906"/>
                  </a:cubicBezTo>
                  <a:cubicBezTo>
                    <a:pt x="4688" y="895"/>
                    <a:pt x="4705" y="878"/>
                    <a:pt x="4712" y="857"/>
                  </a:cubicBezTo>
                  <a:cubicBezTo>
                    <a:pt x="4737" y="790"/>
                    <a:pt x="4677" y="678"/>
                    <a:pt x="4639" y="601"/>
                  </a:cubicBezTo>
                  <a:cubicBezTo>
                    <a:pt x="4625" y="573"/>
                    <a:pt x="4611" y="542"/>
                    <a:pt x="4600" y="510"/>
                  </a:cubicBezTo>
                  <a:cubicBezTo>
                    <a:pt x="4597" y="507"/>
                    <a:pt x="4597" y="503"/>
                    <a:pt x="4593" y="500"/>
                  </a:cubicBezTo>
                  <a:lnTo>
                    <a:pt x="4590" y="493"/>
                  </a:lnTo>
                  <a:lnTo>
                    <a:pt x="4586" y="486"/>
                  </a:lnTo>
                  <a:lnTo>
                    <a:pt x="4579" y="475"/>
                  </a:lnTo>
                  <a:lnTo>
                    <a:pt x="4576" y="468"/>
                  </a:lnTo>
                  <a:lnTo>
                    <a:pt x="4565" y="451"/>
                  </a:lnTo>
                  <a:lnTo>
                    <a:pt x="4562" y="444"/>
                  </a:lnTo>
                  <a:lnTo>
                    <a:pt x="4551" y="430"/>
                  </a:lnTo>
                  <a:lnTo>
                    <a:pt x="4541" y="416"/>
                  </a:lnTo>
                  <a:lnTo>
                    <a:pt x="4534" y="405"/>
                  </a:lnTo>
                  <a:lnTo>
                    <a:pt x="4516" y="381"/>
                  </a:lnTo>
                  <a:cubicBezTo>
                    <a:pt x="4446" y="286"/>
                    <a:pt x="4345" y="157"/>
                    <a:pt x="4243" y="38"/>
                  </a:cubicBezTo>
                  <a:lnTo>
                    <a:pt x="4226" y="38"/>
                  </a:lnTo>
                  <a:lnTo>
                    <a:pt x="4208" y="34"/>
                  </a:lnTo>
                  <a:lnTo>
                    <a:pt x="4198" y="31"/>
                  </a:lnTo>
                  <a:lnTo>
                    <a:pt x="4177" y="24"/>
                  </a:lnTo>
                  <a:lnTo>
                    <a:pt x="4170" y="20"/>
                  </a:lnTo>
                  <a:cubicBezTo>
                    <a:pt x="4163" y="17"/>
                    <a:pt x="4156" y="13"/>
                    <a:pt x="4145" y="10"/>
                  </a:cubicBezTo>
                  <a:cubicBezTo>
                    <a:pt x="4142" y="10"/>
                    <a:pt x="4138" y="6"/>
                    <a:pt x="4131" y="3"/>
                  </a:cubicBezTo>
                  <a:lnTo>
                    <a:pt x="4114" y="3"/>
                  </a:lnTo>
                  <a:cubicBezTo>
                    <a:pt x="4112" y="1"/>
                    <a:pt x="4109" y="0"/>
                    <a:pt x="4106"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415" name="Google Shape;3415;p104"/>
            <p:cNvSpPr/>
            <p:nvPr/>
          </p:nvSpPr>
          <p:spPr>
            <a:xfrm>
              <a:off x="2069728" y="1940363"/>
              <a:ext cx="85810" cy="69734"/>
            </a:xfrm>
            <a:custGeom>
              <a:avLst/>
              <a:gdLst/>
              <a:ahLst/>
              <a:cxnLst/>
              <a:rect l="l" t="t" r="r" b="b"/>
              <a:pathLst>
                <a:path w="6320" h="5136" extrusionOk="0">
                  <a:moveTo>
                    <a:pt x="1573" y="0"/>
                  </a:moveTo>
                  <a:cubicBezTo>
                    <a:pt x="1560" y="0"/>
                    <a:pt x="1539" y="14"/>
                    <a:pt x="1496" y="53"/>
                  </a:cubicBezTo>
                  <a:cubicBezTo>
                    <a:pt x="1452" y="94"/>
                    <a:pt x="1400" y="143"/>
                    <a:pt x="1334" y="143"/>
                  </a:cubicBezTo>
                  <a:cubicBezTo>
                    <a:pt x="1326" y="143"/>
                    <a:pt x="1318" y="142"/>
                    <a:pt x="1310" y="141"/>
                  </a:cubicBezTo>
                  <a:lnTo>
                    <a:pt x="1250" y="134"/>
                  </a:lnTo>
                  <a:cubicBezTo>
                    <a:pt x="1186" y="123"/>
                    <a:pt x="1068" y="103"/>
                    <a:pt x="976" y="103"/>
                  </a:cubicBezTo>
                  <a:cubicBezTo>
                    <a:pt x="924" y="103"/>
                    <a:pt x="880" y="109"/>
                    <a:pt x="858" y="127"/>
                  </a:cubicBezTo>
                  <a:cubicBezTo>
                    <a:pt x="820" y="158"/>
                    <a:pt x="802" y="284"/>
                    <a:pt x="792" y="365"/>
                  </a:cubicBezTo>
                  <a:cubicBezTo>
                    <a:pt x="778" y="470"/>
                    <a:pt x="767" y="526"/>
                    <a:pt x="736" y="561"/>
                  </a:cubicBezTo>
                  <a:cubicBezTo>
                    <a:pt x="659" y="638"/>
                    <a:pt x="512" y="831"/>
                    <a:pt x="512" y="901"/>
                  </a:cubicBezTo>
                  <a:cubicBezTo>
                    <a:pt x="512" y="915"/>
                    <a:pt x="508" y="929"/>
                    <a:pt x="508" y="939"/>
                  </a:cubicBezTo>
                  <a:lnTo>
                    <a:pt x="508" y="943"/>
                  </a:lnTo>
                  <a:cubicBezTo>
                    <a:pt x="501" y="978"/>
                    <a:pt x="487" y="1013"/>
                    <a:pt x="463" y="1041"/>
                  </a:cubicBezTo>
                  <a:lnTo>
                    <a:pt x="480" y="1139"/>
                  </a:lnTo>
                  <a:lnTo>
                    <a:pt x="487" y="1184"/>
                  </a:lnTo>
                  <a:lnTo>
                    <a:pt x="487" y="1195"/>
                  </a:lnTo>
                  <a:lnTo>
                    <a:pt x="491" y="1230"/>
                  </a:lnTo>
                  <a:lnTo>
                    <a:pt x="494" y="1244"/>
                  </a:lnTo>
                  <a:lnTo>
                    <a:pt x="498" y="1272"/>
                  </a:lnTo>
                  <a:lnTo>
                    <a:pt x="501" y="1289"/>
                  </a:lnTo>
                  <a:lnTo>
                    <a:pt x="505" y="1310"/>
                  </a:lnTo>
                  <a:lnTo>
                    <a:pt x="508" y="1328"/>
                  </a:lnTo>
                  <a:lnTo>
                    <a:pt x="508" y="1342"/>
                  </a:lnTo>
                  <a:cubicBezTo>
                    <a:pt x="508" y="1352"/>
                    <a:pt x="508" y="1363"/>
                    <a:pt x="512" y="1370"/>
                  </a:cubicBezTo>
                  <a:cubicBezTo>
                    <a:pt x="529" y="1527"/>
                    <a:pt x="575" y="2056"/>
                    <a:pt x="431" y="2199"/>
                  </a:cubicBezTo>
                  <a:cubicBezTo>
                    <a:pt x="351" y="2290"/>
                    <a:pt x="288" y="2388"/>
                    <a:pt x="239" y="2497"/>
                  </a:cubicBezTo>
                  <a:lnTo>
                    <a:pt x="235" y="2500"/>
                  </a:lnTo>
                  <a:lnTo>
                    <a:pt x="232" y="2514"/>
                  </a:lnTo>
                  <a:lnTo>
                    <a:pt x="214" y="2525"/>
                  </a:lnTo>
                  <a:cubicBezTo>
                    <a:pt x="106" y="2613"/>
                    <a:pt x="32" y="2739"/>
                    <a:pt x="11" y="2879"/>
                  </a:cubicBezTo>
                  <a:cubicBezTo>
                    <a:pt x="4" y="2935"/>
                    <a:pt x="1" y="2994"/>
                    <a:pt x="1" y="3050"/>
                  </a:cubicBezTo>
                  <a:cubicBezTo>
                    <a:pt x="1" y="3131"/>
                    <a:pt x="4" y="3215"/>
                    <a:pt x="11" y="3295"/>
                  </a:cubicBezTo>
                  <a:cubicBezTo>
                    <a:pt x="18" y="3365"/>
                    <a:pt x="25" y="3435"/>
                    <a:pt x="25" y="3512"/>
                  </a:cubicBezTo>
                  <a:cubicBezTo>
                    <a:pt x="25" y="3589"/>
                    <a:pt x="57" y="3645"/>
                    <a:pt x="99" y="3722"/>
                  </a:cubicBezTo>
                  <a:lnTo>
                    <a:pt x="120" y="3768"/>
                  </a:lnTo>
                  <a:lnTo>
                    <a:pt x="130" y="3782"/>
                  </a:lnTo>
                  <a:lnTo>
                    <a:pt x="144" y="3813"/>
                  </a:lnTo>
                  <a:lnTo>
                    <a:pt x="151" y="3834"/>
                  </a:lnTo>
                  <a:cubicBezTo>
                    <a:pt x="158" y="3845"/>
                    <a:pt x="162" y="3852"/>
                    <a:pt x="165" y="3862"/>
                  </a:cubicBezTo>
                  <a:cubicBezTo>
                    <a:pt x="169" y="3873"/>
                    <a:pt x="172" y="3880"/>
                    <a:pt x="176" y="3887"/>
                  </a:cubicBezTo>
                  <a:cubicBezTo>
                    <a:pt x="176" y="3894"/>
                    <a:pt x="179" y="3901"/>
                    <a:pt x="183" y="3908"/>
                  </a:cubicBezTo>
                  <a:lnTo>
                    <a:pt x="186" y="3915"/>
                  </a:lnTo>
                  <a:cubicBezTo>
                    <a:pt x="239" y="3985"/>
                    <a:pt x="508" y="4023"/>
                    <a:pt x="704" y="4055"/>
                  </a:cubicBezTo>
                  <a:cubicBezTo>
                    <a:pt x="799" y="4069"/>
                    <a:pt x="890" y="4083"/>
                    <a:pt x="963" y="4097"/>
                  </a:cubicBezTo>
                  <a:cubicBezTo>
                    <a:pt x="1254" y="4163"/>
                    <a:pt x="1545" y="4552"/>
                    <a:pt x="1534" y="4724"/>
                  </a:cubicBezTo>
                  <a:cubicBezTo>
                    <a:pt x="1527" y="4829"/>
                    <a:pt x="1681" y="5074"/>
                    <a:pt x="1790" y="5130"/>
                  </a:cubicBezTo>
                  <a:cubicBezTo>
                    <a:pt x="1798" y="5134"/>
                    <a:pt x="1809" y="5136"/>
                    <a:pt x="1822" y="5136"/>
                  </a:cubicBezTo>
                  <a:cubicBezTo>
                    <a:pt x="1884" y="5136"/>
                    <a:pt x="1992" y="5096"/>
                    <a:pt x="2070" y="5070"/>
                  </a:cubicBezTo>
                  <a:cubicBezTo>
                    <a:pt x="2147" y="5035"/>
                    <a:pt x="2231" y="5011"/>
                    <a:pt x="2315" y="5004"/>
                  </a:cubicBezTo>
                  <a:lnTo>
                    <a:pt x="2350" y="5004"/>
                  </a:lnTo>
                  <a:cubicBezTo>
                    <a:pt x="2850" y="5004"/>
                    <a:pt x="2973" y="4962"/>
                    <a:pt x="2997" y="4937"/>
                  </a:cubicBezTo>
                  <a:cubicBezTo>
                    <a:pt x="3025" y="4916"/>
                    <a:pt x="3057" y="4902"/>
                    <a:pt x="3088" y="4902"/>
                  </a:cubicBezTo>
                  <a:cubicBezTo>
                    <a:pt x="3095" y="4885"/>
                    <a:pt x="3102" y="4867"/>
                    <a:pt x="3109" y="4850"/>
                  </a:cubicBezTo>
                  <a:lnTo>
                    <a:pt x="3113" y="4832"/>
                  </a:lnTo>
                  <a:lnTo>
                    <a:pt x="3123" y="4797"/>
                  </a:lnTo>
                  <a:lnTo>
                    <a:pt x="3130" y="4780"/>
                  </a:lnTo>
                  <a:lnTo>
                    <a:pt x="3141" y="4748"/>
                  </a:lnTo>
                  <a:lnTo>
                    <a:pt x="3144" y="4727"/>
                  </a:lnTo>
                  <a:lnTo>
                    <a:pt x="3155" y="4699"/>
                  </a:lnTo>
                  <a:lnTo>
                    <a:pt x="3158" y="4678"/>
                  </a:lnTo>
                  <a:lnTo>
                    <a:pt x="3165" y="4653"/>
                  </a:lnTo>
                  <a:lnTo>
                    <a:pt x="3172" y="4636"/>
                  </a:lnTo>
                  <a:lnTo>
                    <a:pt x="3176" y="4611"/>
                  </a:lnTo>
                  <a:lnTo>
                    <a:pt x="3183" y="4590"/>
                  </a:lnTo>
                  <a:lnTo>
                    <a:pt x="3186" y="4569"/>
                  </a:lnTo>
                  <a:lnTo>
                    <a:pt x="3190" y="4552"/>
                  </a:lnTo>
                  <a:lnTo>
                    <a:pt x="3197" y="4531"/>
                  </a:lnTo>
                  <a:lnTo>
                    <a:pt x="3200" y="4517"/>
                  </a:lnTo>
                  <a:lnTo>
                    <a:pt x="3204" y="4496"/>
                  </a:lnTo>
                  <a:lnTo>
                    <a:pt x="3207" y="4485"/>
                  </a:lnTo>
                  <a:lnTo>
                    <a:pt x="3211" y="4468"/>
                  </a:lnTo>
                  <a:lnTo>
                    <a:pt x="3211" y="4457"/>
                  </a:lnTo>
                  <a:lnTo>
                    <a:pt x="3214" y="4440"/>
                  </a:lnTo>
                  <a:lnTo>
                    <a:pt x="3214" y="4433"/>
                  </a:lnTo>
                  <a:lnTo>
                    <a:pt x="3218" y="4419"/>
                  </a:lnTo>
                  <a:lnTo>
                    <a:pt x="3218" y="4415"/>
                  </a:lnTo>
                  <a:lnTo>
                    <a:pt x="3218" y="4401"/>
                  </a:lnTo>
                  <a:lnTo>
                    <a:pt x="3218" y="4391"/>
                  </a:lnTo>
                  <a:lnTo>
                    <a:pt x="3221" y="4370"/>
                  </a:lnTo>
                  <a:lnTo>
                    <a:pt x="3235" y="4352"/>
                  </a:lnTo>
                  <a:cubicBezTo>
                    <a:pt x="3617" y="3960"/>
                    <a:pt x="3838" y="3754"/>
                    <a:pt x="3894" y="3740"/>
                  </a:cubicBezTo>
                  <a:cubicBezTo>
                    <a:pt x="3922" y="3733"/>
                    <a:pt x="3953" y="3733"/>
                    <a:pt x="3985" y="3733"/>
                  </a:cubicBezTo>
                  <a:lnTo>
                    <a:pt x="3995" y="3733"/>
                  </a:lnTo>
                  <a:cubicBezTo>
                    <a:pt x="4013" y="3735"/>
                    <a:pt x="4030" y="3736"/>
                    <a:pt x="4047" y="3736"/>
                  </a:cubicBezTo>
                  <a:cubicBezTo>
                    <a:pt x="4081" y="3736"/>
                    <a:pt x="4114" y="3732"/>
                    <a:pt x="4149" y="3722"/>
                  </a:cubicBezTo>
                  <a:cubicBezTo>
                    <a:pt x="4163" y="3719"/>
                    <a:pt x="4181" y="3708"/>
                    <a:pt x="4195" y="3701"/>
                  </a:cubicBezTo>
                  <a:cubicBezTo>
                    <a:pt x="4227" y="3680"/>
                    <a:pt x="4265" y="3669"/>
                    <a:pt x="4304" y="3669"/>
                  </a:cubicBezTo>
                  <a:cubicBezTo>
                    <a:pt x="4335" y="3669"/>
                    <a:pt x="4366" y="3677"/>
                    <a:pt x="4394" y="3691"/>
                  </a:cubicBezTo>
                  <a:cubicBezTo>
                    <a:pt x="4520" y="3743"/>
                    <a:pt x="4618" y="3845"/>
                    <a:pt x="4671" y="3971"/>
                  </a:cubicBezTo>
                  <a:cubicBezTo>
                    <a:pt x="4695" y="3932"/>
                    <a:pt x="4723" y="3880"/>
                    <a:pt x="4744" y="3841"/>
                  </a:cubicBezTo>
                  <a:cubicBezTo>
                    <a:pt x="4758" y="3810"/>
                    <a:pt x="4772" y="3782"/>
                    <a:pt x="4786" y="3754"/>
                  </a:cubicBezTo>
                  <a:lnTo>
                    <a:pt x="4835" y="3663"/>
                  </a:lnTo>
                  <a:cubicBezTo>
                    <a:pt x="4930" y="3491"/>
                    <a:pt x="5182" y="3036"/>
                    <a:pt x="5182" y="2942"/>
                  </a:cubicBezTo>
                  <a:cubicBezTo>
                    <a:pt x="5182" y="2840"/>
                    <a:pt x="5276" y="2763"/>
                    <a:pt x="5357" y="2693"/>
                  </a:cubicBezTo>
                  <a:cubicBezTo>
                    <a:pt x="5388" y="2672"/>
                    <a:pt x="5416" y="2644"/>
                    <a:pt x="5441" y="2616"/>
                  </a:cubicBezTo>
                  <a:lnTo>
                    <a:pt x="5441" y="2584"/>
                  </a:lnTo>
                  <a:cubicBezTo>
                    <a:pt x="5437" y="2476"/>
                    <a:pt x="5434" y="2311"/>
                    <a:pt x="5546" y="2266"/>
                  </a:cubicBezTo>
                  <a:cubicBezTo>
                    <a:pt x="5588" y="2245"/>
                    <a:pt x="5651" y="2052"/>
                    <a:pt x="5634" y="1986"/>
                  </a:cubicBezTo>
                  <a:cubicBezTo>
                    <a:pt x="5609" y="1853"/>
                    <a:pt x="5966" y="1338"/>
                    <a:pt x="5970" y="1335"/>
                  </a:cubicBezTo>
                  <a:cubicBezTo>
                    <a:pt x="6005" y="1289"/>
                    <a:pt x="6064" y="1275"/>
                    <a:pt x="6131" y="1261"/>
                  </a:cubicBezTo>
                  <a:cubicBezTo>
                    <a:pt x="6218" y="1244"/>
                    <a:pt x="6278" y="1230"/>
                    <a:pt x="6281" y="1188"/>
                  </a:cubicBezTo>
                  <a:cubicBezTo>
                    <a:pt x="6285" y="1160"/>
                    <a:pt x="6288" y="1132"/>
                    <a:pt x="6292" y="1100"/>
                  </a:cubicBezTo>
                  <a:cubicBezTo>
                    <a:pt x="6302" y="1037"/>
                    <a:pt x="6320" y="925"/>
                    <a:pt x="6292" y="918"/>
                  </a:cubicBezTo>
                  <a:cubicBezTo>
                    <a:pt x="6183" y="883"/>
                    <a:pt x="6022" y="750"/>
                    <a:pt x="6022" y="631"/>
                  </a:cubicBezTo>
                  <a:lnTo>
                    <a:pt x="6022" y="607"/>
                  </a:lnTo>
                  <a:lnTo>
                    <a:pt x="6022" y="600"/>
                  </a:lnTo>
                  <a:lnTo>
                    <a:pt x="6022" y="579"/>
                  </a:lnTo>
                  <a:lnTo>
                    <a:pt x="6022" y="568"/>
                  </a:lnTo>
                  <a:lnTo>
                    <a:pt x="6022" y="547"/>
                  </a:lnTo>
                  <a:lnTo>
                    <a:pt x="6022" y="533"/>
                  </a:lnTo>
                  <a:lnTo>
                    <a:pt x="6022" y="508"/>
                  </a:lnTo>
                  <a:lnTo>
                    <a:pt x="6022" y="494"/>
                  </a:lnTo>
                  <a:cubicBezTo>
                    <a:pt x="6022" y="480"/>
                    <a:pt x="6026" y="470"/>
                    <a:pt x="6026" y="456"/>
                  </a:cubicBezTo>
                  <a:lnTo>
                    <a:pt x="6026" y="449"/>
                  </a:lnTo>
                  <a:cubicBezTo>
                    <a:pt x="6029" y="438"/>
                    <a:pt x="6029" y="424"/>
                    <a:pt x="6033" y="414"/>
                  </a:cubicBezTo>
                  <a:lnTo>
                    <a:pt x="6033" y="400"/>
                  </a:lnTo>
                  <a:cubicBezTo>
                    <a:pt x="6033" y="393"/>
                    <a:pt x="6033" y="386"/>
                    <a:pt x="6036" y="382"/>
                  </a:cubicBezTo>
                  <a:cubicBezTo>
                    <a:pt x="5987" y="344"/>
                    <a:pt x="5949" y="295"/>
                    <a:pt x="5931" y="235"/>
                  </a:cubicBezTo>
                  <a:cubicBezTo>
                    <a:pt x="5917" y="207"/>
                    <a:pt x="5900" y="183"/>
                    <a:pt x="5879" y="158"/>
                  </a:cubicBezTo>
                  <a:cubicBezTo>
                    <a:pt x="5872" y="148"/>
                    <a:pt x="5865" y="141"/>
                    <a:pt x="5854" y="134"/>
                  </a:cubicBezTo>
                  <a:cubicBezTo>
                    <a:pt x="5847" y="123"/>
                    <a:pt x="5833" y="106"/>
                    <a:pt x="5826" y="95"/>
                  </a:cubicBezTo>
                  <a:cubicBezTo>
                    <a:pt x="5816" y="81"/>
                    <a:pt x="5805" y="71"/>
                    <a:pt x="5788" y="60"/>
                  </a:cubicBezTo>
                  <a:cubicBezTo>
                    <a:pt x="5782" y="59"/>
                    <a:pt x="5776" y="58"/>
                    <a:pt x="5770" y="58"/>
                  </a:cubicBezTo>
                  <a:cubicBezTo>
                    <a:pt x="5763" y="58"/>
                    <a:pt x="5756" y="59"/>
                    <a:pt x="5749" y="60"/>
                  </a:cubicBezTo>
                  <a:cubicBezTo>
                    <a:pt x="5732" y="71"/>
                    <a:pt x="5718" y="81"/>
                    <a:pt x="5704" y="95"/>
                  </a:cubicBezTo>
                  <a:cubicBezTo>
                    <a:pt x="5690" y="106"/>
                    <a:pt x="5679" y="120"/>
                    <a:pt x="5665" y="137"/>
                  </a:cubicBezTo>
                  <a:cubicBezTo>
                    <a:pt x="5651" y="155"/>
                    <a:pt x="5641" y="165"/>
                    <a:pt x="5630" y="179"/>
                  </a:cubicBezTo>
                  <a:lnTo>
                    <a:pt x="5613" y="200"/>
                  </a:lnTo>
                  <a:cubicBezTo>
                    <a:pt x="5536" y="291"/>
                    <a:pt x="5458" y="386"/>
                    <a:pt x="5364" y="417"/>
                  </a:cubicBezTo>
                  <a:cubicBezTo>
                    <a:pt x="5332" y="429"/>
                    <a:pt x="5298" y="433"/>
                    <a:pt x="5263" y="433"/>
                  </a:cubicBezTo>
                  <a:cubicBezTo>
                    <a:pt x="5123" y="433"/>
                    <a:pt x="4971" y="357"/>
                    <a:pt x="4881" y="309"/>
                  </a:cubicBezTo>
                  <a:lnTo>
                    <a:pt x="4863" y="302"/>
                  </a:lnTo>
                  <a:cubicBezTo>
                    <a:pt x="4839" y="289"/>
                    <a:pt x="4764" y="285"/>
                    <a:pt x="4679" y="285"/>
                  </a:cubicBezTo>
                  <a:cubicBezTo>
                    <a:pt x="4628" y="285"/>
                    <a:pt x="4573" y="287"/>
                    <a:pt x="4524" y="288"/>
                  </a:cubicBezTo>
                  <a:lnTo>
                    <a:pt x="4468" y="288"/>
                  </a:lnTo>
                  <a:cubicBezTo>
                    <a:pt x="4412" y="288"/>
                    <a:pt x="4356" y="291"/>
                    <a:pt x="4310" y="295"/>
                  </a:cubicBezTo>
                  <a:cubicBezTo>
                    <a:pt x="4268" y="295"/>
                    <a:pt x="4230" y="295"/>
                    <a:pt x="4191" y="291"/>
                  </a:cubicBezTo>
                  <a:cubicBezTo>
                    <a:pt x="4188" y="291"/>
                    <a:pt x="4185" y="291"/>
                    <a:pt x="4183" y="291"/>
                  </a:cubicBezTo>
                  <a:cubicBezTo>
                    <a:pt x="4117" y="291"/>
                    <a:pt x="4034" y="364"/>
                    <a:pt x="3960" y="431"/>
                  </a:cubicBezTo>
                  <a:cubicBezTo>
                    <a:pt x="3922" y="473"/>
                    <a:pt x="3873" y="508"/>
                    <a:pt x="3824" y="540"/>
                  </a:cubicBezTo>
                  <a:cubicBezTo>
                    <a:pt x="3792" y="558"/>
                    <a:pt x="3761" y="568"/>
                    <a:pt x="3726" y="575"/>
                  </a:cubicBezTo>
                  <a:cubicBezTo>
                    <a:pt x="3670" y="582"/>
                    <a:pt x="3614" y="586"/>
                    <a:pt x="3558" y="586"/>
                  </a:cubicBezTo>
                  <a:cubicBezTo>
                    <a:pt x="3450" y="586"/>
                    <a:pt x="3343" y="572"/>
                    <a:pt x="3239" y="547"/>
                  </a:cubicBezTo>
                  <a:cubicBezTo>
                    <a:pt x="3193" y="526"/>
                    <a:pt x="3148" y="505"/>
                    <a:pt x="3106" y="473"/>
                  </a:cubicBezTo>
                  <a:lnTo>
                    <a:pt x="3053" y="442"/>
                  </a:lnTo>
                  <a:cubicBezTo>
                    <a:pt x="2987" y="396"/>
                    <a:pt x="2875" y="323"/>
                    <a:pt x="2840" y="323"/>
                  </a:cubicBezTo>
                  <a:cubicBezTo>
                    <a:pt x="2689" y="326"/>
                    <a:pt x="2546" y="368"/>
                    <a:pt x="2420" y="442"/>
                  </a:cubicBezTo>
                  <a:cubicBezTo>
                    <a:pt x="2390" y="462"/>
                    <a:pt x="2357" y="473"/>
                    <a:pt x="2323" y="473"/>
                  </a:cubicBezTo>
                  <a:cubicBezTo>
                    <a:pt x="2309" y="473"/>
                    <a:pt x="2294" y="471"/>
                    <a:pt x="2280" y="466"/>
                  </a:cubicBezTo>
                  <a:cubicBezTo>
                    <a:pt x="2192" y="442"/>
                    <a:pt x="2143" y="347"/>
                    <a:pt x="2098" y="256"/>
                  </a:cubicBezTo>
                  <a:cubicBezTo>
                    <a:pt x="2080" y="214"/>
                    <a:pt x="2056" y="176"/>
                    <a:pt x="2028" y="137"/>
                  </a:cubicBezTo>
                  <a:cubicBezTo>
                    <a:pt x="2000" y="102"/>
                    <a:pt x="1937" y="99"/>
                    <a:pt x="1867" y="95"/>
                  </a:cubicBezTo>
                  <a:cubicBezTo>
                    <a:pt x="1779" y="88"/>
                    <a:pt x="1681" y="85"/>
                    <a:pt x="1597" y="15"/>
                  </a:cubicBezTo>
                  <a:cubicBezTo>
                    <a:pt x="1589" y="6"/>
                    <a:pt x="1582" y="0"/>
                    <a:pt x="1573"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416" name="Google Shape;3416;p104"/>
            <p:cNvSpPr/>
            <p:nvPr/>
          </p:nvSpPr>
          <p:spPr>
            <a:xfrm>
              <a:off x="2055186" y="1951225"/>
              <a:ext cx="19973" cy="43584"/>
            </a:xfrm>
            <a:custGeom>
              <a:avLst/>
              <a:gdLst/>
              <a:ahLst/>
              <a:cxnLst/>
              <a:rect l="l" t="t" r="r" b="b"/>
              <a:pathLst>
                <a:path w="1471" h="3210" extrusionOk="0">
                  <a:moveTo>
                    <a:pt x="1062" y="0"/>
                  </a:moveTo>
                  <a:cubicBezTo>
                    <a:pt x="1045" y="0"/>
                    <a:pt x="1029" y="6"/>
                    <a:pt x="1016" y="17"/>
                  </a:cubicBezTo>
                  <a:cubicBezTo>
                    <a:pt x="1009" y="20"/>
                    <a:pt x="1005" y="24"/>
                    <a:pt x="1005" y="31"/>
                  </a:cubicBezTo>
                  <a:cubicBezTo>
                    <a:pt x="1002" y="34"/>
                    <a:pt x="998" y="38"/>
                    <a:pt x="995" y="41"/>
                  </a:cubicBezTo>
                  <a:lnTo>
                    <a:pt x="995" y="48"/>
                  </a:lnTo>
                  <a:cubicBezTo>
                    <a:pt x="995" y="52"/>
                    <a:pt x="991" y="55"/>
                    <a:pt x="988" y="59"/>
                  </a:cubicBezTo>
                  <a:lnTo>
                    <a:pt x="984" y="66"/>
                  </a:lnTo>
                  <a:cubicBezTo>
                    <a:pt x="984" y="73"/>
                    <a:pt x="984" y="76"/>
                    <a:pt x="981" y="83"/>
                  </a:cubicBezTo>
                  <a:lnTo>
                    <a:pt x="981" y="87"/>
                  </a:lnTo>
                  <a:cubicBezTo>
                    <a:pt x="974" y="118"/>
                    <a:pt x="974" y="150"/>
                    <a:pt x="981" y="181"/>
                  </a:cubicBezTo>
                  <a:lnTo>
                    <a:pt x="1030" y="388"/>
                  </a:lnTo>
                  <a:lnTo>
                    <a:pt x="967" y="328"/>
                  </a:lnTo>
                  <a:lnTo>
                    <a:pt x="963" y="335"/>
                  </a:lnTo>
                  <a:lnTo>
                    <a:pt x="956" y="339"/>
                  </a:lnTo>
                  <a:lnTo>
                    <a:pt x="953" y="346"/>
                  </a:lnTo>
                  <a:lnTo>
                    <a:pt x="946" y="353"/>
                  </a:lnTo>
                  <a:lnTo>
                    <a:pt x="942" y="356"/>
                  </a:lnTo>
                  <a:lnTo>
                    <a:pt x="939" y="360"/>
                  </a:lnTo>
                  <a:lnTo>
                    <a:pt x="932" y="367"/>
                  </a:lnTo>
                  <a:lnTo>
                    <a:pt x="925" y="370"/>
                  </a:lnTo>
                  <a:lnTo>
                    <a:pt x="921" y="374"/>
                  </a:lnTo>
                  <a:lnTo>
                    <a:pt x="914" y="377"/>
                  </a:lnTo>
                  <a:lnTo>
                    <a:pt x="907" y="384"/>
                  </a:lnTo>
                  <a:lnTo>
                    <a:pt x="904" y="384"/>
                  </a:lnTo>
                  <a:lnTo>
                    <a:pt x="897" y="391"/>
                  </a:lnTo>
                  <a:lnTo>
                    <a:pt x="886" y="398"/>
                  </a:lnTo>
                  <a:cubicBezTo>
                    <a:pt x="865" y="409"/>
                    <a:pt x="844" y="426"/>
                    <a:pt x="827" y="444"/>
                  </a:cubicBezTo>
                  <a:cubicBezTo>
                    <a:pt x="736" y="559"/>
                    <a:pt x="389" y="566"/>
                    <a:pt x="322" y="566"/>
                  </a:cubicBezTo>
                  <a:cubicBezTo>
                    <a:pt x="294" y="566"/>
                    <a:pt x="235" y="622"/>
                    <a:pt x="196" y="657"/>
                  </a:cubicBezTo>
                  <a:cubicBezTo>
                    <a:pt x="151" y="706"/>
                    <a:pt x="98" y="745"/>
                    <a:pt x="35" y="773"/>
                  </a:cubicBezTo>
                  <a:cubicBezTo>
                    <a:pt x="25" y="776"/>
                    <a:pt x="11" y="780"/>
                    <a:pt x="0" y="780"/>
                  </a:cubicBezTo>
                  <a:lnTo>
                    <a:pt x="0" y="801"/>
                  </a:lnTo>
                  <a:lnTo>
                    <a:pt x="0" y="825"/>
                  </a:lnTo>
                  <a:cubicBezTo>
                    <a:pt x="0" y="832"/>
                    <a:pt x="0" y="843"/>
                    <a:pt x="4" y="850"/>
                  </a:cubicBezTo>
                  <a:cubicBezTo>
                    <a:pt x="4" y="857"/>
                    <a:pt x="4" y="864"/>
                    <a:pt x="4" y="867"/>
                  </a:cubicBezTo>
                  <a:cubicBezTo>
                    <a:pt x="4" y="881"/>
                    <a:pt x="4" y="895"/>
                    <a:pt x="7" y="906"/>
                  </a:cubicBezTo>
                  <a:cubicBezTo>
                    <a:pt x="7" y="909"/>
                    <a:pt x="7" y="916"/>
                    <a:pt x="11" y="920"/>
                  </a:cubicBezTo>
                  <a:cubicBezTo>
                    <a:pt x="14" y="923"/>
                    <a:pt x="11" y="934"/>
                    <a:pt x="14" y="937"/>
                  </a:cubicBezTo>
                  <a:cubicBezTo>
                    <a:pt x="14" y="944"/>
                    <a:pt x="14" y="948"/>
                    <a:pt x="18" y="951"/>
                  </a:cubicBezTo>
                  <a:cubicBezTo>
                    <a:pt x="21" y="955"/>
                    <a:pt x="18" y="962"/>
                    <a:pt x="21" y="969"/>
                  </a:cubicBezTo>
                  <a:lnTo>
                    <a:pt x="25" y="979"/>
                  </a:lnTo>
                  <a:cubicBezTo>
                    <a:pt x="25" y="983"/>
                    <a:pt x="28" y="990"/>
                    <a:pt x="28" y="993"/>
                  </a:cubicBezTo>
                  <a:lnTo>
                    <a:pt x="32" y="1004"/>
                  </a:lnTo>
                  <a:lnTo>
                    <a:pt x="39" y="1014"/>
                  </a:lnTo>
                  <a:lnTo>
                    <a:pt x="42" y="1025"/>
                  </a:lnTo>
                  <a:lnTo>
                    <a:pt x="49" y="1032"/>
                  </a:lnTo>
                  <a:lnTo>
                    <a:pt x="53" y="1042"/>
                  </a:lnTo>
                  <a:lnTo>
                    <a:pt x="60" y="1049"/>
                  </a:lnTo>
                  <a:lnTo>
                    <a:pt x="67" y="1056"/>
                  </a:lnTo>
                  <a:lnTo>
                    <a:pt x="74" y="1063"/>
                  </a:lnTo>
                  <a:lnTo>
                    <a:pt x="81" y="1070"/>
                  </a:lnTo>
                  <a:lnTo>
                    <a:pt x="88" y="1077"/>
                  </a:lnTo>
                  <a:lnTo>
                    <a:pt x="95" y="1081"/>
                  </a:lnTo>
                  <a:lnTo>
                    <a:pt x="105" y="1088"/>
                  </a:lnTo>
                  <a:lnTo>
                    <a:pt x="112" y="1091"/>
                  </a:lnTo>
                  <a:lnTo>
                    <a:pt x="123" y="1098"/>
                  </a:lnTo>
                  <a:lnTo>
                    <a:pt x="130" y="1105"/>
                  </a:lnTo>
                  <a:lnTo>
                    <a:pt x="144" y="1112"/>
                  </a:lnTo>
                  <a:lnTo>
                    <a:pt x="151" y="1116"/>
                  </a:lnTo>
                  <a:lnTo>
                    <a:pt x="172" y="1126"/>
                  </a:lnTo>
                  <a:cubicBezTo>
                    <a:pt x="196" y="1140"/>
                    <a:pt x="224" y="1154"/>
                    <a:pt x="256" y="1172"/>
                  </a:cubicBezTo>
                  <a:cubicBezTo>
                    <a:pt x="435" y="1273"/>
                    <a:pt x="403" y="1420"/>
                    <a:pt x="382" y="1504"/>
                  </a:cubicBezTo>
                  <a:cubicBezTo>
                    <a:pt x="372" y="1557"/>
                    <a:pt x="365" y="1581"/>
                    <a:pt x="379" y="1592"/>
                  </a:cubicBezTo>
                  <a:cubicBezTo>
                    <a:pt x="442" y="1658"/>
                    <a:pt x="459" y="1760"/>
                    <a:pt x="466" y="1886"/>
                  </a:cubicBezTo>
                  <a:cubicBezTo>
                    <a:pt x="466" y="1932"/>
                    <a:pt x="470" y="1974"/>
                    <a:pt x="470" y="2023"/>
                  </a:cubicBezTo>
                  <a:cubicBezTo>
                    <a:pt x="470" y="2100"/>
                    <a:pt x="473" y="2187"/>
                    <a:pt x="480" y="2275"/>
                  </a:cubicBezTo>
                  <a:lnTo>
                    <a:pt x="480" y="2303"/>
                  </a:lnTo>
                  <a:lnTo>
                    <a:pt x="480" y="2320"/>
                  </a:lnTo>
                  <a:lnTo>
                    <a:pt x="480" y="2338"/>
                  </a:lnTo>
                  <a:lnTo>
                    <a:pt x="480" y="2359"/>
                  </a:lnTo>
                  <a:lnTo>
                    <a:pt x="480" y="2373"/>
                  </a:lnTo>
                  <a:lnTo>
                    <a:pt x="480" y="2404"/>
                  </a:lnTo>
                  <a:lnTo>
                    <a:pt x="480" y="2415"/>
                  </a:lnTo>
                  <a:lnTo>
                    <a:pt x="480" y="2450"/>
                  </a:lnTo>
                  <a:lnTo>
                    <a:pt x="480" y="2457"/>
                  </a:lnTo>
                  <a:lnTo>
                    <a:pt x="484" y="2502"/>
                  </a:lnTo>
                  <a:lnTo>
                    <a:pt x="484" y="2506"/>
                  </a:lnTo>
                  <a:cubicBezTo>
                    <a:pt x="487" y="2621"/>
                    <a:pt x="494" y="2772"/>
                    <a:pt x="501" y="2954"/>
                  </a:cubicBezTo>
                  <a:lnTo>
                    <a:pt x="501" y="2968"/>
                  </a:lnTo>
                  <a:cubicBezTo>
                    <a:pt x="501" y="2985"/>
                    <a:pt x="501" y="3006"/>
                    <a:pt x="505" y="3024"/>
                  </a:cubicBezTo>
                  <a:lnTo>
                    <a:pt x="505" y="3076"/>
                  </a:lnTo>
                  <a:lnTo>
                    <a:pt x="505" y="3104"/>
                  </a:lnTo>
                  <a:cubicBezTo>
                    <a:pt x="505" y="3139"/>
                    <a:pt x="508" y="3174"/>
                    <a:pt x="508" y="3209"/>
                  </a:cubicBezTo>
                  <a:cubicBezTo>
                    <a:pt x="610" y="3195"/>
                    <a:pt x="711" y="3188"/>
                    <a:pt x="813" y="3188"/>
                  </a:cubicBezTo>
                  <a:cubicBezTo>
                    <a:pt x="869" y="3188"/>
                    <a:pt x="921" y="3150"/>
                    <a:pt x="974" y="3111"/>
                  </a:cubicBezTo>
                  <a:cubicBezTo>
                    <a:pt x="1005" y="3087"/>
                    <a:pt x="1040" y="3066"/>
                    <a:pt x="1079" y="3052"/>
                  </a:cubicBezTo>
                  <a:lnTo>
                    <a:pt x="1075" y="3041"/>
                  </a:lnTo>
                  <a:cubicBezTo>
                    <a:pt x="1065" y="3020"/>
                    <a:pt x="1054" y="2999"/>
                    <a:pt x="1040" y="2978"/>
                  </a:cubicBezTo>
                  <a:cubicBezTo>
                    <a:pt x="998" y="2891"/>
                    <a:pt x="953" y="2807"/>
                    <a:pt x="953" y="2705"/>
                  </a:cubicBezTo>
                  <a:cubicBezTo>
                    <a:pt x="953" y="2635"/>
                    <a:pt x="949" y="2569"/>
                    <a:pt x="942" y="2499"/>
                  </a:cubicBezTo>
                  <a:cubicBezTo>
                    <a:pt x="925" y="2352"/>
                    <a:pt x="925" y="2201"/>
                    <a:pt x="942" y="2054"/>
                  </a:cubicBezTo>
                  <a:cubicBezTo>
                    <a:pt x="960" y="1907"/>
                    <a:pt x="1026" y="1774"/>
                    <a:pt x="1131" y="1669"/>
                  </a:cubicBezTo>
                  <a:cubicBezTo>
                    <a:pt x="1142" y="1658"/>
                    <a:pt x="1152" y="1648"/>
                    <a:pt x="1159" y="1641"/>
                  </a:cubicBezTo>
                  <a:cubicBezTo>
                    <a:pt x="1170" y="1630"/>
                    <a:pt x="1177" y="1623"/>
                    <a:pt x="1184" y="1620"/>
                  </a:cubicBezTo>
                  <a:cubicBezTo>
                    <a:pt x="1236" y="1501"/>
                    <a:pt x="1310" y="1396"/>
                    <a:pt x="1397" y="1301"/>
                  </a:cubicBezTo>
                  <a:cubicBezTo>
                    <a:pt x="1467" y="1231"/>
                    <a:pt x="1471" y="878"/>
                    <a:pt x="1439" y="577"/>
                  </a:cubicBezTo>
                  <a:cubicBezTo>
                    <a:pt x="1439" y="570"/>
                    <a:pt x="1439" y="563"/>
                    <a:pt x="1439" y="556"/>
                  </a:cubicBezTo>
                  <a:lnTo>
                    <a:pt x="1439" y="552"/>
                  </a:lnTo>
                  <a:lnTo>
                    <a:pt x="1436" y="528"/>
                  </a:lnTo>
                  <a:lnTo>
                    <a:pt x="1436" y="524"/>
                  </a:lnTo>
                  <a:cubicBezTo>
                    <a:pt x="1432" y="503"/>
                    <a:pt x="1429" y="479"/>
                    <a:pt x="1425" y="454"/>
                  </a:cubicBezTo>
                  <a:cubicBezTo>
                    <a:pt x="1422" y="426"/>
                    <a:pt x="1415" y="398"/>
                    <a:pt x="1411" y="370"/>
                  </a:cubicBezTo>
                  <a:lnTo>
                    <a:pt x="1408" y="332"/>
                  </a:lnTo>
                  <a:lnTo>
                    <a:pt x="1404" y="314"/>
                  </a:lnTo>
                  <a:lnTo>
                    <a:pt x="1404" y="304"/>
                  </a:lnTo>
                  <a:lnTo>
                    <a:pt x="1401" y="286"/>
                  </a:lnTo>
                  <a:cubicBezTo>
                    <a:pt x="1369" y="286"/>
                    <a:pt x="1338" y="286"/>
                    <a:pt x="1306" y="279"/>
                  </a:cubicBezTo>
                  <a:cubicBezTo>
                    <a:pt x="1289" y="272"/>
                    <a:pt x="1275" y="269"/>
                    <a:pt x="1261" y="262"/>
                  </a:cubicBezTo>
                  <a:cubicBezTo>
                    <a:pt x="1194" y="234"/>
                    <a:pt x="1149" y="171"/>
                    <a:pt x="1142" y="101"/>
                  </a:cubicBezTo>
                  <a:cubicBezTo>
                    <a:pt x="1142" y="90"/>
                    <a:pt x="1142" y="83"/>
                    <a:pt x="1142" y="80"/>
                  </a:cubicBezTo>
                  <a:cubicBezTo>
                    <a:pt x="1135" y="31"/>
                    <a:pt x="1135" y="17"/>
                    <a:pt x="1093" y="6"/>
                  </a:cubicBezTo>
                  <a:cubicBezTo>
                    <a:pt x="1082" y="2"/>
                    <a:pt x="1072" y="0"/>
                    <a:pt x="1062"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417" name="Google Shape;3417;p104"/>
            <p:cNvSpPr/>
            <p:nvPr/>
          </p:nvSpPr>
          <p:spPr>
            <a:xfrm>
              <a:off x="2074819" y="1958475"/>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418" name="Google Shape;3418;p104"/>
            <p:cNvSpPr/>
            <p:nvPr/>
          </p:nvSpPr>
          <p:spPr>
            <a:xfrm>
              <a:off x="2069972" y="1992704"/>
              <a:ext cx="109" cy="109"/>
            </a:xfrm>
            <a:custGeom>
              <a:avLst/>
              <a:gdLst/>
              <a:ahLst/>
              <a:cxnLst/>
              <a:rect l="l" t="t" r="r" b="b"/>
              <a:pathLst>
                <a:path w="8" h="8" extrusionOk="0">
                  <a:moveTo>
                    <a:pt x="7" y="7"/>
                  </a:moveTo>
                  <a:lnTo>
                    <a:pt x="0"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419" name="Google Shape;3419;p104"/>
            <p:cNvSpPr/>
            <p:nvPr/>
          </p:nvSpPr>
          <p:spPr>
            <a:xfrm>
              <a:off x="2074860" y="1958855"/>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420" name="Google Shape;3420;p104"/>
            <p:cNvSpPr/>
            <p:nvPr/>
          </p:nvSpPr>
          <p:spPr>
            <a:xfrm>
              <a:off x="2074670" y="1957525"/>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421" name="Google Shape;3421;p104"/>
            <p:cNvSpPr/>
            <p:nvPr/>
          </p:nvSpPr>
          <p:spPr>
            <a:xfrm>
              <a:off x="2074385" y="1955678"/>
              <a:ext cx="68" cy="204"/>
            </a:xfrm>
            <a:custGeom>
              <a:avLst/>
              <a:gdLst/>
              <a:ahLst/>
              <a:cxnLst/>
              <a:rect l="l" t="t" r="r" b="b"/>
              <a:pathLst>
                <a:path w="5" h="15" extrusionOk="0">
                  <a:moveTo>
                    <a:pt x="1" y="0"/>
                  </a:moveTo>
                  <a:lnTo>
                    <a:pt x="4" y="14"/>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422" name="Google Shape;3422;p104"/>
            <p:cNvSpPr/>
            <p:nvPr/>
          </p:nvSpPr>
          <p:spPr>
            <a:xfrm>
              <a:off x="2074480" y="1956384"/>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423" name="Google Shape;3423;p104"/>
            <p:cNvSpPr/>
            <p:nvPr/>
          </p:nvSpPr>
          <p:spPr>
            <a:xfrm>
              <a:off x="2074344" y="1955244"/>
              <a:ext cx="54" cy="258"/>
            </a:xfrm>
            <a:custGeom>
              <a:avLst/>
              <a:gdLst/>
              <a:ahLst/>
              <a:cxnLst/>
              <a:rect l="l" t="t" r="r" b="b"/>
              <a:pathLst>
                <a:path w="4" h="19" extrusionOk="0">
                  <a:moveTo>
                    <a:pt x="4" y="18"/>
                  </a:moveTo>
                  <a:lnTo>
                    <a:pt x="0" y="1"/>
                  </a:lnTo>
                  <a:lnTo>
                    <a:pt x="0"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424" name="Google Shape;3424;p104"/>
            <p:cNvSpPr/>
            <p:nvPr/>
          </p:nvSpPr>
          <p:spPr>
            <a:xfrm>
              <a:off x="2048669" y="1961041"/>
              <a:ext cx="11704" cy="36279"/>
            </a:xfrm>
            <a:custGeom>
              <a:avLst/>
              <a:gdLst/>
              <a:ahLst/>
              <a:cxnLst/>
              <a:rect l="l" t="t" r="r" b="b"/>
              <a:pathLst>
                <a:path w="862" h="2672" extrusionOk="0">
                  <a:moveTo>
                    <a:pt x="1" y="1"/>
                  </a:moveTo>
                  <a:lnTo>
                    <a:pt x="1" y="11"/>
                  </a:lnTo>
                  <a:lnTo>
                    <a:pt x="4" y="25"/>
                  </a:lnTo>
                  <a:lnTo>
                    <a:pt x="8" y="46"/>
                  </a:lnTo>
                  <a:lnTo>
                    <a:pt x="8" y="57"/>
                  </a:lnTo>
                  <a:lnTo>
                    <a:pt x="11" y="81"/>
                  </a:lnTo>
                  <a:lnTo>
                    <a:pt x="11" y="88"/>
                  </a:lnTo>
                  <a:lnTo>
                    <a:pt x="18" y="109"/>
                  </a:lnTo>
                  <a:lnTo>
                    <a:pt x="18" y="113"/>
                  </a:lnTo>
                  <a:cubicBezTo>
                    <a:pt x="25" y="141"/>
                    <a:pt x="29" y="158"/>
                    <a:pt x="36" y="176"/>
                  </a:cubicBezTo>
                  <a:lnTo>
                    <a:pt x="39" y="190"/>
                  </a:lnTo>
                  <a:lnTo>
                    <a:pt x="39" y="193"/>
                  </a:lnTo>
                  <a:lnTo>
                    <a:pt x="43" y="204"/>
                  </a:lnTo>
                  <a:lnTo>
                    <a:pt x="43" y="207"/>
                  </a:lnTo>
                  <a:lnTo>
                    <a:pt x="46" y="214"/>
                  </a:lnTo>
                  <a:lnTo>
                    <a:pt x="46" y="218"/>
                  </a:lnTo>
                  <a:lnTo>
                    <a:pt x="50" y="221"/>
                  </a:lnTo>
                  <a:lnTo>
                    <a:pt x="53" y="228"/>
                  </a:lnTo>
                  <a:lnTo>
                    <a:pt x="53" y="232"/>
                  </a:lnTo>
                  <a:lnTo>
                    <a:pt x="57" y="239"/>
                  </a:lnTo>
                  <a:cubicBezTo>
                    <a:pt x="134" y="284"/>
                    <a:pt x="186" y="358"/>
                    <a:pt x="207" y="442"/>
                  </a:cubicBezTo>
                  <a:cubicBezTo>
                    <a:pt x="221" y="501"/>
                    <a:pt x="225" y="564"/>
                    <a:pt x="221" y="624"/>
                  </a:cubicBezTo>
                  <a:cubicBezTo>
                    <a:pt x="221" y="652"/>
                    <a:pt x="218" y="683"/>
                    <a:pt x="214" y="722"/>
                  </a:cubicBezTo>
                  <a:lnTo>
                    <a:pt x="211" y="757"/>
                  </a:lnTo>
                  <a:cubicBezTo>
                    <a:pt x="200" y="858"/>
                    <a:pt x="193" y="984"/>
                    <a:pt x="193" y="1104"/>
                  </a:cubicBezTo>
                  <a:cubicBezTo>
                    <a:pt x="190" y="1191"/>
                    <a:pt x="204" y="1279"/>
                    <a:pt x="228" y="1359"/>
                  </a:cubicBezTo>
                  <a:cubicBezTo>
                    <a:pt x="316" y="1590"/>
                    <a:pt x="368" y="1835"/>
                    <a:pt x="379" y="2080"/>
                  </a:cubicBezTo>
                  <a:lnTo>
                    <a:pt x="379" y="2136"/>
                  </a:lnTo>
                  <a:cubicBezTo>
                    <a:pt x="379" y="2157"/>
                    <a:pt x="379" y="2178"/>
                    <a:pt x="382" y="2199"/>
                  </a:cubicBezTo>
                  <a:cubicBezTo>
                    <a:pt x="382" y="2206"/>
                    <a:pt x="386" y="2217"/>
                    <a:pt x="386" y="2224"/>
                  </a:cubicBezTo>
                  <a:cubicBezTo>
                    <a:pt x="389" y="2238"/>
                    <a:pt x="389" y="2252"/>
                    <a:pt x="393" y="2266"/>
                  </a:cubicBezTo>
                  <a:cubicBezTo>
                    <a:pt x="396" y="2280"/>
                    <a:pt x="396" y="2287"/>
                    <a:pt x="400" y="2294"/>
                  </a:cubicBezTo>
                  <a:cubicBezTo>
                    <a:pt x="403" y="2304"/>
                    <a:pt x="407" y="2325"/>
                    <a:pt x="410" y="2339"/>
                  </a:cubicBezTo>
                  <a:cubicBezTo>
                    <a:pt x="417" y="2353"/>
                    <a:pt x="417" y="2360"/>
                    <a:pt x="421" y="2371"/>
                  </a:cubicBezTo>
                  <a:cubicBezTo>
                    <a:pt x="424" y="2381"/>
                    <a:pt x="431" y="2399"/>
                    <a:pt x="435" y="2413"/>
                  </a:cubicBezTo>
                  <a:lnTo>
                    <a:pt x="445" y="2444"/>
                  </a:lnTo>
                  <a:cubicBezTo>
                    <a:pt x="452" y="2458"/>
                    <a:pt x="456" y="2476"/>
                    <a:pt x="463" y="2490"/>
                  </a:cubicBezTo>
                  <a:lnTo>
                    <a:pt x="473" y="2518"/>
                  </a:lnTo>
                  <a:cubicBezTo>
                    <a:pt x="480" y="2535"/>
                    <a:pt x="487" y="2549"/>
                    <a:pt x="494" y="2567"/>
                  </a:cubicBezTo>
                  <a:lnTo>
                    <a:pt x="505" y="2595"/>
                  </a:lnTo>
                  <a:cubicBezTo>
                    <a:pt x="512" y="2609"/>
                    <a:pt x="519" y="2626"/>
                    <a:pt x="526" y="2644"/>
                  </a:cubicBezTo>
                  <a:lnTo>
                    <a:pt x="536" y="2665"/>
                  </a:lnTo>
                  <a:lnTo>
                    <a:pt x="540" y="2672"/>
                  </a:lnTo>
                  <a:cubicBezTo>
                    <a:pt x="554" y="2661"/>
                    <a:pt x="568" y="2651"/>
                    <a:pt x="582" y="2640"/>
                  </a:cubicBezTo>
                  <a:cubicBezTo>
                    <a:pt x="662" y="2577"/>
                    <a:pt x="760" y="2535"/>
                    <a:pt x="862" y="2518"/>
                  </a:cubicBezTo>
                  <a:lnTo>
                    <a:pt x="862" y="2483"/>
                  </a:lnTo>
                  <a:lnTo>
                    <a:pt x="862" y="2469"/>
                  </a:lnTo>
                  <a:lnTo>
                    <a:pt x="859" y="2399"/>
                  </a:lnTo>
                  <a:lnTo>
                    <a:pt x="859" y="2367"/>
                  </a:lnTo>
                  <a:lnTo>
                    <a:pt x="859" y="2311"/>
                  </a:lnTo>
                  <a:lnTo>
                    <a:pt x="859" y="2280"/>
                  </a:lnTo>
                  <a:lnTo>
                    <a:pt x="859" y="2234"/>
                  </a:lnTo>
                  <a:lnTo>
                    <a:pt x="859" y="2199"/>
                  </a:lnTo>
                  <a:lnTo>
                    <a:pt x="859" y="2154"/>
                  </a:lnTo>
                  <a:lnTo>
                    <a:pt x="859" y="2119"/>
                  </a:lnTo>
                  <a:lnTo>
                    <a:pt x="859" y="2080"/>
                  </a:lnTo>
                  <a:lnTo>
                    <a:pt x="859" y="2045"/>
                  </a:lnTo>
                  <a:lnTo>
                    <a:pt x="859" y="2010"/>
                  </a:lnTo>
                  <a:lnTo>
                    <a:pt x="859" y="1982"/>
                  </a:lnTo>
                  <a:lnTo>
                    <a:pt x="859" y="1940"/>
                  </a:lnTo>
                  <a:lnTo>
                    <a:pt x="859" y="1919"/>
                  </a:lnTo>
                  <a:lnTo>
                    <a:pt x="859" y="1874"/>
                  </a:lnTo>
                  <a:lnTo>
                    <a:pt x="859" y="1860"/>
                  </a:lnTo>
                  <a:lnTo>
                    <a:pt x="859" y="1814"/>
                  </a:lnTo>
                  <a:lnTo>
                    <a:pt x="859" y="1800"/>
                  </a:lnTo>
                  <a:lnTo>
                    <a:pt x="859" y="1762"/>
                  </a:lnTo>
                  <a:lnTo>
                    <a:pt x="859" y="1751"/>
                  </a:lnTo>
                  <a:lnTo>
                    <a:pt x="859" y="1713"/>
                  </a:lnTo>
                  <a:lnTo>
                    <a:pt x="859" y="1706"/>
                  </a:lnTo>
                  <a:lnTo>
                    <a:pt x="859" y="1671"/>
                  </a:lnTo>
                  <a:lnTo>
                    <a:pt x="859" y="1664"/>
                  </a:lnTo>
                  <a:lnTo>
                    <a:pt x="859" y="1632"/>
                  </a:lnTo>
                  <a:lnTo>
                    <a:pt x="859" y="1625"/>
                  </a:lnTo>
                  <a:lnTo>
                    <a:pt x="859" y="1594"/>
                  </a:lnTo>
                  <a:lnTo>
                    <a:pt x="859" y="1562"/>
                  </a:lnTo>
                  <a:cubicBezTo>
                    <a:pt x="852" y="1471"/>
                    <a:pt x="848" y="1380"/>
                    <a:pt x="848" y="1300"/>
                  </a:cubicBezTo>
                  <a:cubicBezTo>
                    <a:pt x="845" y="1146"/>
                    <a:pt x="841" y="1009"/>
                    <a:pt x="792" y="960"/>
                  </a:cubicBezTo>
                  <a:cubicBezTo>
                    <a:pt x="764" y="932"/>
                    <a:pt x="750" y="893"/>
                    <a:pt x="750" y="855"/>
                  </a:cubicBezTo>
                  <a:cubicBezTo>
                    <a:pt x="750" y="820"/>
                    <a:pt x="753" y="785"/>
                    <a:pt x="764" y="750"/>
                  </a:cubicBezTo>
                  <a:cubicBezTo>
                    <a:pt x="781" y="666"/>
                    <a:pt x="795" y="613"/>
                    <a:pt x="697" y="557"/>
                  </a:cubicBezTo>
                  <a:cubicBezTo>
                    <a:pt x="669" y="543"/>
                    <a:pt x="645" y="529"/>
                    <a:pt x="620" y="515"/>
                  </a:cubicBezTo>
                  <a:lnTo>
                    <a:pt x="592" y="498"/>
                  </a:lnTo>
                  <a:lnTo>
                    <a:pt x="578" y="491"/>
                  </a:lnTo>
                  <a:lnTo>
                    <a:pt x="564" y="484"/>
                  </a:lnTo>
                  <a:lnTo>
                    <a:pt x="550" y="477"/>
                  </a:lnTo>
                  <a:lnTo>
                    <a:pt x="536" y="466"/>
                  </a:lnTo>
                  <a:lnTo>
                    <a:pt x="526" y="459"/>
                  </a:lnTo>
                  <a:lnTo>
                    <a:pt x="512" y="449"/>
                  </a:lnTo>
                  <a:lnTo>
                    <a:pt x="505" y="442"/>
                  </a:lnTo>
                  <a:lnTo>
                    <a:pt x="491" y="431"/>
                  </a:lnTo>
                  <a:lnTo>
                    <a:pt x="484" y="421"/>
                  </a:lnTo>
                  <a:lnTo>
                    <a:pt x="473" y="410"/>
                  </a:lnTo>
                  <a:lnTo>
                    <a:pt x="463" y="400"/>
                  </a:lnTo>
                  <a:lnTo>
                    <a:pt x="456" y="389"/>
                  </a:lnTo>
                  <a:lnTo>
                    <a:pt x="449" y="379"/>
                  </a:lnTo>
                  <a:lnTo>
                    <a:pt x="438" y="365"/>
                  </a:lnTo>
                  <a:lnTo>
                    <a:pt x="435" y="351"/>
                  </a:lnTo>
                  <a:lnTo>
                    <a:pt x="428" y="337"/>
                  </a:lnTo>
                  <a:lnTo>
                    <a:pt x="421" y="323"/>
                  </a:lnTo>
                  <a:lnTo>
                    <a:pt x="414" y="305"/>
                  </a:lnTo>
                  <a:lnTo>
                    <a:pt x="410" y="288"/>
                  </a:lnTo>
                  <a:cubicBezTo>
                    <a:pt x="410" y="284"/>
                    <a:pt x="407" y="277"/>
                    <a:pt x="403" y="270"/>
                  </a:cubicBezTo>
                  <a:cubicBezTo>
                    <a:pt x="403" y="263"/>
                    <a:pt x="400" y="256"/>
                    <a:pt x="400" y="253"/>
                  </a:cubicBezTo>
                  <a:cubicBezTo>
                    <a:pt x="400" y="246"/>
                    <a:pt x="396" y="239"/>
                    <a:pt x="396" y="232"/>
                  </a:cubicBezTo>
                  <a:cubicBezTo>
                    <a:pt x="393" y="221"/>
                    <a:pt x="393" y="218"/>
                    <a:pt x="389" y="211"/>
                  </a:cubicBezTo>
                  <a:cubicBezTo>
                    <a:pt x="389" y="204"/>
                    <a:pt x="389" y="193"/>
                    <a:pt x="386" y="186"/>
                  </a:cubicBezTo>
                  <a:cubicBezTo>
                    <a:pt x="386" y="176"/>
                    <a:pt x="386" y="172"/>
                    <a:pt x="382" y="165"/>
                  </a:cubicBezTo>
                  <a:cubicBezTo>
                    <a:pt x="382" y="155"/>
                    <a:pt x="382" y="144"/>
                    <a:pt x="379" y="134"/>
                  </a:cubicBezTo>
                  <a:cubicBezTo>
                    <a:pt x="379" y="123"/>
                    <a:pt x="379" y="120"/>
                    <a:pt x="379" y="113"/>
                  </a:cubicBezTo>
                  <a:cubicBezTo>
                    <a:pt x="375" y="102"/>
                    <a:pt x="379" y="88"/>
                    <a:pt x="375" y="78"/>
                  </a:cubicBezTo>
                  <a:cubicBezTo>
                    <a:pt x="372" y="67"/>
                    <a:pt x="375" y="60"/>
                    <a:pt x="375" y="53"/>
                  </a:cubicBezTo>
                  <a:lnTo>
                    <a:pt x="375" y="50"/>
                  </a:lnTo>
                  <a:cubicBezTo>
                    <a:pt x="364" y="50"/>
                    <a:pt x="354" y="50"/>
                    <a:pt x="343" y="50"/>
                  </a:cubicBezTo>
                  <a:cubicBezTo>
                    <a:pt x="276" y="50"/>
                    <a:pt x="224" y="41"/>
                    <a:pt x="176" y="29"/>
                  </a:cubicBezTo>
                  <a:cubicBezTo>
                    <a:pt x="144" y="22"/>
                    <a:pt x="109" y="18"/>
                    <a:pt x="78" y="11"/>
                  </a:cubicBezTo>
                  <a:lnTo>
                    <a:pt x="71" y="11"/>
                  </a:lnTo>
                  <a:lnTo>
                    <a:pt x="36" y="4"/>
                  </a:lnTo>
                  <a:lnTo>
                    <a:pt x="18"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425" name="Google Shape;3425;p104"/>
            <p:cNvSpPr/>
            <p:nvPr/>
          </p:nvSpPr>
          <p:spPr>
            <a:xfrm>
              <a:off x="2054141" y="1965983"/>
              <a:ext cx="109" cy="204"/>
            </a:xfrm>
            <a:custGeom>
              <a:avLst/>
              <a:gdLst/>
              <a:ahLst/>
              <a:cxnLst/>
              <a:rect l="l" t="t" r="r" b="b"/>
              <a:pathLst>
                <a:path w="8" h="15" extrusionOk="0">
                  <a:moveTo>
                    <a:pt x="0" y="1"/>
                  </a:moveTo>
                  <a:lnTo>
                    <a:pt x="7" y="15"/>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426" name="Google Shape;3426;p104"/>
            <p:cNvSpPr/>
            <p:nvPr/>
          </p:nvSpPr>
          <p:spPr>
            <a:xfrm>
              <a:off x="2054331" y="1966323"/>
              <a:ext cx="109" cy="204"/>
            </a:xfrm>
            <a:custGeom>
              <a:avLst/>
              <a:gdLst/>
              <a:ahLst/>
              <a:cxnLst/>
              <a:rect l="l" t="t" r="r" b="b"/>
              <a:pathLst>
                <a:path w="8" h="15" extrusionOk="0">
                  <a:moveTo>
                    <a:pt x="0" y="0"/>
                  </a:moveTo>
                  <a:lnTo>
                    <a:pt x="7" y="14"/>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427" name="Google Shape;3427;p104"/>
            <p:cNvSpPr/>
            <p:nvPr/>
          </p:nvSpPr>
          <p:spPr>
            <a:xfrm>
              <a:off x="2053476" y="1963417"/>
              <a:ext cx="54" cy="299"/>
            </a:xfrm>
            <a:custGeom>
              <a:avLst/>
              <a:gdLst/>
              <a:ahLst/>
              <a:cxnLst/>
              <a:rect l="l" t="t" r="r" b="b"/>
              <a:pathLst>
                <a:path w="4" h="22" extrusionOk="0">
                  <a:moveTo>
                    <a:pt x="0" y="1"/>
                  </a:moveTo>
                  <a:cubicBezTo>
                    <a:pt x="0" y="8"/>
                    <a:pt x="0" y="15"/>
                    <a:pt x="4" y="22"/>
                  </a:cubicBezTo>
                  <a:cubicBezTo>
                    <a:pt x="0" y="15"/>
                    <a:pt x="0" y="8"/>
                    <a:pt x="0" y="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428" name="Google Shape;3428;p104"/>
            <p:cNvSpPr/>
            <p:nvPr/>
          </p:nvSpPr>
          <p:spPr>
            <a:xfrm>
              <a:off x="2053326" y="1961897"/>
              <a:ext cx="14" cy="394"/>
            </a:xfrm>
            <a:custGeom>
              <a:avLst/>
              <a:gdLst/>
              <a:ahLst/>
              <a:cxnLst/>
              <a:rect l="l" t="t" r="r" b="b"/>
              <a:pathLst>
                <a:path w="1" h="29" extrusionOk="0">
                  <a:moveTo>
                    <a:pt x="1" y="1"/>
                  </a:moveTo>
                  <a:lnTo>
                    <a:pt x="1" y="29"/>
                  </a:lnTo>
                  <a:cubicBezTo>
                    <a:pt x="1" y="22"/>
                    <a:pt x="1" y="11"/>
                    <a:pt x="1" y="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429" name="Google Shape;3429;p104"/>
            <p:cNvSpPr/>
            <p:nvPr/>
          </p:nvSpPr>
          <p:spPr>
            <a:xfrm>
              <a:off x="2060414" y="1992514"/>
              <a:ext cx="14" cy="774"/>
            </a:xfrm>
            <a:custGeom>
              <a:avLst/>
              <a:gdLst/>
              <a:ahLst/>
              <a:cxnLst/>
              <a:rect l="l" t="t" r="r" b="b"/>
              <a:pathLst>
                <a:path w="1" h="57" extrusionOk="0">
                  <a:moveTo>
                    <a:pt x="1" y="0"/>
                  </a:moveTo>
                  <a:lnTo>
                    <a:pt x="1" y="56"/>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430" name="Google Shape;3430;p104"/>
            <p:cNvSpPr/>
            <p:nvPr/>
          </p:nvSpPr>
          <p:spPr>
            <a:xfrm>
              <a:off x="2053666" y="1964653"/>
              <a:ext cx="54" cy="258"/>
            </a:xfrm>
            <a:custGeom>
              <a:avLst/>
              <a:gdLst/>
              <a:ahLst/>
              <a:cxnLst/>
              <a:rect l="l" t="t" r="r" b="b"/>
              <a:pathLst>
                <a:path w="4" h="19" extrusionOk="0">
                  <a:moveTo>
                    <a:pt x="0" y="1"/>
                  </a:moveTo>
                  <a:lnTo>
                    <a:pt x="0" y="1"/>
                  </a:lnTo>
                  <a:cubicBezTo>
                    <a:pt x="0" y="4"/>
                    <a:pt x="4" y="11"/>
                    <a:pt x="4" y="18"/>
                  </a:cubicBezTo>
                  <a:cubicBezTo>
                    <a:pt x="4" y="11"/>
                    <a:pt x="4" y="4"/>
                    <a:pt x="0" y="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431" name="Google Shape;3431;p104"/>
            <p:cNvSpPr/>
            <p:nvPr/>
          </p:nvSpPr>
          <p:spPr>
            <a:xfrm>
              <a:off x="2053571" y="1964083"/>
              <a:ext cx="54" cy="258"/>
            </a:xfrm>
            <a:custGeom>
              <a:avLst/>
              <a:gdLst/>
              <a:ahLst/>
              <a:cxnLst/>
              <a:rect l="l" t="t" r="r" b="b"/>
              <a:pathLst>
                <a:path w="4" h="19" extrusionOk="0">
                  <a:moveTo>
                    <a:pt x="0" y="1"/>
                  </a:moveTo>
                  <a:lnTo>
                    <a:pt x="0" y="1"/>
                  </a:lnTo>
                  <a:cubicBezTo>
                    <a:pt x="0" y="8"/>
                    <a:pt x="4" y="11"/>
                    <a:pt x="4" y="18"/>
                  </a:cubicBezTo>
                  <a:cubicBezTo>
                    <a:pt x="4" y="11"/>
                    <a:pt x="4" y="8"/>
                    <a:pt x="0" y="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432" name="Google Shape;3432;p104"/>
            <p:cNvSpPr/>
            <p:nvPr/>
          </p:nvSpPr>
          <p:spPr>
            <a:xfrm>
              <a:off x="2053381" y="1962711"/>
              <a:ext cx="54" cy="339"/>
            </a:xfrm>
            <a:custGeom>
              <a:avLst/>
              <a:gdLst/>
              <a:ahLst/>
              <a:cxnLst/>
              <a:rect l="l" t="t" r="r" b="b"/>
              <a:pathLst>
                <a:path w="4" h="25" extrusionOk="0">
                  <a:moveTo>
                    <a:pt x="0" y="0"/>
                  </a:moveTo>
                  <a:cubicBezTo>
                    <a:pt x="0" y="11"/>
                    <a:pt x="0" y="18"/>
                    <a:pt x="4" y="25"/>
                  </a:cubicBezTo>
                  <a:cubicBezTo>
                    <a:pt x="0" y="18"/>
                    <a:pt x="0" y="11"/>
                    <a:pt x="0"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433" name="Google Shape;3433;p104"/>
            <p:cNvSpPr/>
            <p:nvPr/>
          </p:nvSpPr>
          <p:spPr>
            <a:xfrm>
              <a:off x="2060319" y="1990369"/>
              <a:ext cx="14" cy="638"/>
            </a:xfrm>
            <a:custGeom>
              <a:avLst/>
              <a:gdLst/>
              <a:ahLst/>
              <a:cxnLst/>
              <a:rect l="l" t="t" r="r" b="b"/>
              <a:pathLst>
                <a:path w="1" h="47" extrusionOk="0">
                  <a:moveTo>
                    <a:pt x="1" y="1"/>
                  </a:moveTo>
                  <a:lnTo>
                    <a:pt x="1" y="46"/>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434" name="Google Shape;3434;p104"/>
            <p:cNvSpPr/>
            <p:nvPr/>
          </p:nvSpPr>
          <p:spPr>
            <a:xfrm>
              <a:off x="2060319" y="1989378"/>
              <a:ext cx="14" cy="584"/>
            </a:xfrm>
            <a:custGeom>
              <a:avLst/>
              <a:gdLst/>
              <a:ahLst/>
              <a:cxnLst/>
              <a:rect l="l" t="t" r="r" b="b"/>
              <a:pathLst>
                <a:path w="1" h="43" extrusionOk="0">
                  <a:moveTo>
                    <a:pt x="1" y="0"/>
                  </a:moveTo>
                  <a:lnTo>
                    <a:pt x="1" y="42"/>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435" name="Google Shape;3435;p104"/>
            <p:cNvSpPr/>
            <p:nvPr/>
          </p:nvSpPr>
          <p:spPr>
            <a:xfrm>
              <a:off x="2058459" y="1972786"/>
              <a:ext cx="584" cy="1439"/>
            </a:xfrm>
            <a:custGeom>
              <a:avLst/>
              <a:gdLst/>
              <a:ahLst/>
              <a:cxnLst/>
              <a:rect l="l" t="t" r="r" b="b"/>
              <a:pathLst>
                <a:path w="43" h="106" extrusionOk="0">
                  <a:moveTo>
                    <a:pt x="43" y="105"/>
                  </a:moveTo>
                  <a:cubicBezTo>
                    <a:pt x="15" y="77"/>
                    <a:pt x="1" y="42"/>
                    <a:pt x="1" y="0"/>
                  </a:cubicBezTo>
                  <a:cubicBezTo>
                    <a:pt x="1" y="42"/>
                    <a:pt x="15" y="77"/>
                    <a:pt x="43" y="105"/>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436" name="Google Shape;3436;p104"/>
            <p:cNvSpPr/>
            <p:nvPr/>
          </p:nvSpPr>
          <p:spPr>
            <a:xfrm>
              <a:off x="2054806" y="1966934"/>
              <a:ext cx="149" cy="163"/>
            </a:xfrm>
            <a:custGeom>
              <a:avLst/>
              <a:gdLst/>
              <a:ahLst/>
              <a:cxnLst/>
              <a:rect l="l" t="t" r="r" b="b"/>
              <a:pathLst>
                <a:path w="11" h="12" extrusionOk="0">
                  <a:moveTo>
                    <a:pt x="11" y="1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437" name="Google Shape;3437;p104"/>
            <p:cNvSpPr/>
            <p:nvPr/>
          </p:nvSpPr>
          <p:spPr>
            <a:xfrm>
              <a:off x="2053951" y="1965603"/>
              <a:ext cx="109" cy="204"/>
            </a:xfrm>
            <a:custGeom>
              <a:avLst/>
              <a:gdLst/>
              <a:ahLst/>
              <a:cxnLst/>
              <a:rect l="l" t="t" r="r" b="b"/>
              <a:pathLst>
                <a:path w="8" h="15" extrusionOk="0">
                  <a:moveTo>
                    <a:pt x="0" y="1"/>
                  </a:moveTo>
                  <a:lnTo>
                    <a:pt x="7" y="15"/>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438" name="Google Shape;3438;p104"/>
            <p:cNvSpPr/>
            <p:nvPr/>
          </p:nvSpPr>
          <p:spPr>
            <a:xfrm>
              <a:off x="2060373" y="1991414"/>
              <a:ext cx="0" cy="679"/>
            </a:xfrm>
            <a:custGeom>
              <a:avLst/>
              <a:gdLst/>
              <a:ahLst/>
              <a:cxnLst/>
              <a:rect l="l" t="t" r="r" b="b"/>
              <a:pathLst>
                <a:path h="50" extrusionOk="0">
                  <a:moveTo>
                    <a:pt x="0" y="1"/>
                  </a:moveTo>
                  <a:lnTo>
                    <a:pt x="0" y="5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439" name="Google Shape;3439;p104"/>
            <p:cNvSpPr/>
            <p:nvPr/>
          </p:nvSpPr>
          <p:spPr>
            <a:xfrm>
              <a:off x="2053801" y="1965128"/>
              <a:ext cx="109" cy="258"/>
            </a:xfrm>
            <a:custGeom>
              <a:avLst/>
              <a:gdLst/>
              <a:ahLst/>
              <a:cxnLst/>
              <a:rect l="l" t="t" r="r" b="b"/>
              <a:pathLst>
                <a:path w="8" h="19" extrusionOk="0">
                  <a:moveTo>
                    <a:pt x="1" y="1"/>
                  </a:moveTo>
                  <a:lnTo>
                    <a:pt x="8" y="18"/>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440" name="Google Shape;3440;p104"/>
            <p:cNvSpPr/>
            <p:nvPr/>
          </p:nvSpPr>
          <p:spPr>
            <a:xfrm>
              <a:off x="2060224" y="1987477"/>
              <a:ext cx="14" cy="584"/>
            </a:xfrm>
            <a:custGeom>
              <a:avLst/>
              <a:gdLst/>
              <a:ahLst/>
              <a:cxnLst/>
              <a:rect l="l" t="t" r="r" b="b"/>
              <a:pathLst>
                <a:path w="1" h="43" extrusionOk="0">
                  <a:moveTo>
                    <a:pt x="1" y="0"/>
                  </a:moveTo>
                  <a:lnTo>
                    <a:pt x="1" y="42"/>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441" name="Google Shape;3441;p104"/>
            <p:cNvSpPr/>
            <p:nvPr/>
          </p:nvSpPr>
          <p:spPr>
            <a:xfrm>
              <a:off x="2060034" y="1983865"/>
              <a:ext cx="14" cy="489"/>
            </a:xfrm>
            <a:custGeom>
              <a:avLst/>
              <a:gdLst/>
              <a:ahLst/>
              <a:cxnLst/>
              <a:rect l="l" t="t" r="r" b="b"/>
              <a:pathLst>
                <a:path w="1" h="36" extrusionOk="0">
                  <a:moveTo>
                    <a:pt x="1" y="0"/>
                  </a:moveTo>
                  <a:lnTo>
                    <a:pt x="1" y="35"/>
                  </a:lnTo>
                  <a:cubicBezTo>
                    <a:pt x="1" y="21"/>
                    <a:pt x="1" y="11"/>
                    <a:pt x="1"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442" name="Google Shape;3442;p104"/>
            <p:cNvSpPr/>
            <p:nvPr/>
          </p:nvSpPr>
          <p:spPr>
            <a:xfrm>
              <a:off x="2059939" y="1982820"/>
              <a:ext cx="14" cy="434"/>
            </a:xfrm>
            <a:custGeom>
              <a:avLst/>
              <a:gdLst/>
              <a:ahLst/>
              <a:cxnLst/>
              <a:rect l="l" t="t" r="r" b="b"/>
              <a:pathLst>
                <a:path w="1" h="32" extrusionOk="0">
                  <a:moveTo>
                    <a:pt x="1" y="0"/>
                  </a:moveTo>
                  <a:lnTo>
                    <a:pt x="1" y="32"/>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443" name="Google Shape;3443;p104"/>
            <p:cNvSpPr/>
            <p:nvPr/>
          </p:nvSpPr>
          <p:spPr>
            <a:xfrm>
              <a:off x="2060088" y="1984435"/>
              <a:ext cx="0" cy="530"/>
            </a:xfrm>
            <a:custGeom>
              <a:avLst/>
              <a:gdLst/>
              <a:ahLst/>
              <a:cxnLst/>
              <a:rect l="l" t="t" r="r" b="b"/>
              <a:pathLst>
                <a:path h="39" extrusionOk="0">
                  <a:moveTo>
                    <a:pt x="0" y="0"/>
                  </a:moveTo>
                  <a:lnTo>
                    <a:pt x="0" y="39"/>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444" name="Google Shape;3444;p104"/>
            <p:cNvSpPr/>
            <p:nvPr/>
          </p:nvSpPr>
          <p:spPr>
            <a:xfrm>
              <a:off x="2059993" y="1983295"/>
              <a:ext cx="54" cy="434"/>
            </a:xfrm>
            <a:custGeom>
              <a:avLst/>
              <a:gdLst/>
              <a:ahLst/>
              <a:cxnLst/>
              <a:rect l="l" t="t" r="r" b="b"/>
              <a:pathLst>
                <a:path w="4" h="32" extrusionOk="0">
                  <a:moveTo>
                    <a:pt x="0" y="0"/>
                  </a:moveTo>
                  <a:lnTo>
                    <a:pt x="0" y="32"/>
                  </a:lnTo>
                  <a:cubicBezTo>
                    <a:pt x="4" y="21"/>
                    <a:pt x="0" y="11"/>
                    <a:pt x="0"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445" name="Google Shape;3445;p104"/>
            <p:cNvSpPr/>
            <p:nvPr/>
          </p:nvSpPr>
          <p:spPr>
            <a:xfrm>
              <a:off x="2060468" y="1993695"/>
              <a:ext cx="54" cy="923"/>
            </a:xfrm>
            <a:custGeom>
              <a:avLst/>
              <a:gdLst/>
              <a:ahLst/>
              <a:cxnLst/>
              <a:rect l="l" t="t" r="r" b="b"/>
              <a:pathLst>
                <a:path w="4" h="68" extrusionOk="0">
                  <a:moveTo>
                    <a:pt x="0" y="1"/>
                  </a:moveTo>
                  <a:lnTo>
                    <a:pt x="4" y="67"/>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446" name="Google Shape;3446;p104"/>
            <p:cNvSpPr/>
            <p:nvPr/>
          </p:nvSpPr>
          <p:spPr>
            <a:xfrm>
              <a:off x="2060183" y="1986621"/>
              <a:ext cx="0" cy="584"/>
            </a:xfrm>
            <a:custGeom>
              <a:avLst/>
              <a:gdLst/>
              <a:ahLst/>
              <a:cxnLst/>
              <a:rect l="l" t="t" r="r" b="b"/>
              <a:pathLst>
                <a:path h="43" extrusionOk="0">
                  <a:moveTo>
                    <a:pt x="0" y="0"/>
                  </a:moveTo>
                  <a:lnTo>
                    <a:pt x="0" y="42"/>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447" name="Google Shape;3447;p104"/>
            <p:cNvSpPr/>
            <p:nvPr/>
          </p:nvSpPr>
          <p:spPr>
            <a:xfrm>
              <a:off x="2060129" y="1985807"/>
              <a:ext cx="14" cy="638"/>
            </a:xfrm>
            <a:custGeom>
              <a:avLst/>
              <a:gdLst/>
              <a:ahLst/>
              <a:cxnLst/>
              <a:rect l="l" t="t" r="r" b="b"/>
              <a:pathLst>
                <a:path w="1" h="47" extrusionOk="0">
                  <a:moveTo>
                    <a:pt x="1" y="1"/>
                  </a:moveTo>
                  <a:lnTo>
                    <a:pt x="1" y="46"/>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448" name="Google Shape;3448;p104"/>
            <p:cNvSpPr/>
            <p:nvPr/>
          </p:nvSpPr>
          <p:spPr>
            <a:xfrm>
              <a:off x="2060088" y="1985101"/>
              <a:ext cx="0" cy="530"/>
            </a:xfrm>
            <a:custGeom>
              <a:avLst/>
              <a:gdLst/>
              <a:ahLst/>
              <a:cxnLst/>
              <a:rect l="l" t="t" r="r" b="b"/>
              <a:pathLst>
                <a:path h="39" extrusionOk="0">
                  <a:moveTo>
                    <a:pt x="0" y="0"/>
                  </a:moveTo>
                  <a:lnTo>
                    <a:pt x="0" y="39"/>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449" name="Google Shape;3449;p104"/>
            <p:cNvSpPr/>
            <p:nvPr/>
          </p:nvSpPr>
          <p:spPr>
            <a:xfrm>
              <a:off x="2054562" y="1966649"/>
              <a:ext cx="109" cy="163"/>
            </a:xfrm>
            <a:custGeom>
              <a:avLst/>
              <a:gdLst/>
              <a:ahLst/>
              <a:cxnLst/>
              <a:rect l="l" t="t" r="r" b="b"/>
              <a:pathLst>
                <a:path w="8" h="12" extrusionOk="0">
                  <a:moveTo>
                    <a:pt x="1" y="1"/>
                  </a:moveTo>
                  <a:lnTo>
                    <a:pt x="8" y="1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450" name="Google Shape;3450;p104"/>
            <p:cNvSpPr/>
            <p:nvPr/>
          </p:nvSpPr>
          <p:spPr>
            <a:xfrm>
              <a:off x="2060509" y="1994795"/>
              <a:ext cx="14" cy="530"/>
            </a:xfrm>
            <a:custGeom>
              <a:avLst/>
              <a:gdLst/>
              <a:ahLst/>
              <a:cxnLst/>
              <a:rect l="l" t="t" r="r" b="b"/>
              <a:pathLst>
                <a:path w="1" h="39" extrusionOk="0">
                  <a:moveTo>
                    <a:pt x="1" y="39"/>
                  </a:moveTo>
                  <a:lnTo>
                    <a:pt x="1"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451" name="Google Shape;3451;p104"/>
            <p:cNvSpPr/>
            <p:nvPr/>
          </p:nvSpPr>
          <p:spPr>
            <a:xfrm>
              <a:off x="2055091" y="1967178"/>
              <a:ext cx="149" cy="149"/>
            </a:xfrm>
            <a:custGeom>
              <a:avLst/>
              <a:gdLst/>
              <a:ahLst/>
              <a:cxnLst/>
              <a:rect l="l" t="t" r="r" b="b"/>
              <a:pathLst>
                <a:path w="11" h="11" extrusionOk="0">
                  <a:moveTo>
                    <a:pt x="0" y="0"/>
                  </a:moveTo>
                  <a:lnTo>
                    <a:pt x="11" y="1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452" name="Google Shape;3452;p104"/>
            <p:cNvSpPr/>
            <p:nvPr/>
          </p:nvSpPr>
          <p:spPr>
            <a:xfrm>
              <a:off x="2055376" y="1967463"/>
              <a:ext cx="149" cy="109"/>
            </a:xfrm>
            <a:custGeom>
              <a:avLst/>
              <a:gdLst/>
              <a:ahLst/>
              <a:cxnLst/>
              <a:rect l="l" t="t" r="r" b="b"/>
              <a:pathLst>
                <a:path w="11" h="8" extrusionOk="0">
                  <a:moveTo>
                    <a:pt x="0" y="0"/>
                  </a:moveTo>
                  <a:lnTo>
                    <a:pt x="11" y="7"/>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453" name="Google Shape;3453;p104"/>
            <p:cNvSpPr/>
            <p:nvPr/>
          </p:nvSpPr>
          <p:spPr>
            <a:xfrm>
              <a:off x="2059939" y="1982385"/>
              <a:ext cx="14" cy="448"/>
            </a:xfrm>
            <a:custGeom>
              <a:avLst/>
              <a:gdLst/>
              <a:ahLst/>
              <a:cxnLst/>
              <a:rect l="l" t="t" r="r" b="b"/>
              <a:pathLst>
                <a:path w="1" h="33" extrusionOk="0">
                  <a:moveTo>
                    <a:pt x="1" y="1"/>
                  </a:moveTo>
                  <a:lnTo>
                    <a:pt x="1" y="32"/>
                  </a:lnTo>
                  <a:cubicBezTo>
                    <a:pt x="1" y="22"/>
                    <a:pt x="1" y="11"/>
                    <a:pt x="1" y="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454" name="Google Shape;3454;p104"/>
            <p:cNvSpPr/>
            <p:nvPr/>
          </p:nvSpPr>
          <p:spPr>
            <a:xfrm>
              <a:off x="2060278" y="1988427"/>
              <a:ext cx="0" cy="530"/>
            </a:xfrm>
            <a:custGeom>
              <a:avLst/>
              <a:gdLst/>
              <a:ahLst/>
              <a:cxnLst/>
              <a:rect l="l" t="t" r="r" b="b"/>
              <a:pathLst>
                <a:path h="39" extrusionOk="0">
                  <a:moveTo>
                    <a:pt x="0" y="0"/>
                  </a:moveTo>
                  <a:lnTo>
                    <a:pt x="0" y="39"/>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455" name="Google Shape;3455;p104"/>
            <p:cNvSpPr/>
            <p:nvPr/>
          </p:nvSpPr>
          <p:spPr>
            <a:xfrm>
              <a:off x="2056137" y="1967884"/>
              <a:ext cx="149" cy="109"/>
            </a:xfrm>
            <a:custGeom>
              <a:avLst/>
              <a:gdLst/>
              <a:ahLst/>
              <a:cxnLst/>
              <a:rect l="l" t="t" r="r" b="b"/>
              <a:pathLst>
                <a:path w="11" h="8" extrusionOk="0">
                  <a:moveTo>
                    <a:pt x="0" y="1"/>
                  </a:moveTo>
                  <a:lnTo>
                    <a:pt x="11" y="8"/>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456" name="Google Shape;3456;p104"/>
            <p:cNvSpPr/>
            <p:nvPr/>
          </p:nvSpPr>
          <p:spPr>
            <a:xfrm>
              <a:off x="2055757" y="1967654"/>
              <a:ext cx="149" cy="109"/>
            </a:xfrm>
            <a:custGeom>
              <a:avLst/>
              <a:gdLst/>
              <a:ahLst/>
              <a:cxnLst/>
              <a:rect l="l" t="t" r="r" b="b"/>
              <a:pathLst>
                <a:path w="11" h="8" extrusionOk="0">
                  <a:moveTo>
                    <a:pt x="0" y="0"/>
                  </a:moveTo>
                  <a:lnTo>
                    <a:pt x="11" y="7"/>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457" name="Google Shape;3457;p104"/>
            <p:cNvSpPr/>
            <p:nvPr/>
          </p:nvSpPr>
          <p:spPr>
            <a:xfrm>
              <a:off x="2153623" y="1945930"/>
              <a:ext cx="3720" cy="6381"/>
            </a:xfrm>
            <a:custGeom>
              <a:avLst/>
              <a:gdLst/>
              <a:ahLst/>
              <a:cxnLst/>
              <a:rect l="l" t="t" r="r" b="b"/>
              <a:pathLst>
                <a:path w="274" h="470" extrusionOk="0">
                  <a:moveTo>
                    <a:pt x="15" y="0"/>
                  </a:moveTo>
                  <a:lnTo>
                    <a:pt x="11" y="14"/>
                  </a:lnTo>
                  <a:lnTo>
                    <a:pt x="8" y="28"/>
                  </a:lnTo>
                  <a:cubicBezTo>
                    <a:pt x="8" y="35"/>
                    <a:pt x="8" y="46"/>
                    <a:pt x="4" y="53"/>
                  </a:cubicBezTo>
                  <a:lnTo>
                    <a:pt x="4" y="63"/>
                  </a:lnTo>
                  <a:cubicBezTo>
                    <a:pt x="4" y="77"/>
                    <a:pt x="4" y="88"/>
                    <a:pt x="1" y="98"/>
                  </a:cubicBezTo>
                  <a:lnTo>
                    <a:pt x="1" y="109"/>
                  </a:lnTo>
                  <a:lnTo>
                    <a:pt x="1" y="134"/>
                  </a:lnTo>
                  <a:lnTo>
                    <a:pt x="1" y="144"/>
                  </a:lnTo>
                  <a:lnTo>
                    <a:pt x="1" y="165"/>
                  </a:lnTo>
                  <a:lnTo>
                    <a:pt x="1" y="176"/>
                  </a:lnTo>
                  <a:lnTo>
                    <a:pt x="1" y="193"/>
                  </a:lnTo>
                  <a:lnTo>
                    <a:pt x="1" y="200"/>
                  </a:lnTo>
                  <a:lnTo>
                    <a:pt x="1" y="221"/>
                  </a:lnTo>
                  <a:cubicBezTo>
                    <a:pt x="1" y="260"/>
                    <a:pt x="92" y="354"/>
                    <a:pt x="183" y="386"/>
                  </a:cubicBezTo>
                  <a:cubicBezTo>
                    <a:pt x="193" y="389"/>
                    <a:pt x="204" y="393"/>
                    <a:pt x="211" y="400"/>
                  </a:cubicBezTo>
                  <a:lnTo>
                    <a:pt x="218" y="403"/>
                  </a:lnTo>
                  <a:cubicBezTo>
                    <a:pt x="225" y="407"/>
                    <a:pt x="232" y="414"/>
                    <a:pt x="239" y="421"/>
                  </a:cubicBezTo>
                  <a:cubicBezTo>
                    <a:pt x="246" y="424"/>
                    <a:pt x="249" y="435"/>
                    <a:pt x="256" y="442"/>
                  </a:cubicBezTo>
                  <a:lnTo>
                    <a:pt x="260" y="445"/>
                  </a:lnTo>
                  <a:cubicBezTo>
                    <a:pt x="261" y="448"/>
                    <a:pt x="263" y="452"/>
                    <a:pt x="265" y="456"/>
                  </a:cubicBezTo>
                  <a:lnTo>
                    <a:pt x="265" y="456"/>
                  </a:lnTo>
                  <a:cubicBezTo>
                    <a:pt x="263" y="450"/>
                    <a:pt x="263" y="444"/>
                    <a:pt x="263" y="438"/>
                  </a:cubicBezTo>
                  <a:cubicBezTo>
                    <a:pt x="274" y="365"/>
                    <a:pt x="197" y="176"/>
                    <a:pt x="99" y="67"/>
                  </a:cubicBezTo>
                  <a:cubicBezTo>
                    <a:pt x="92" y="60"/>
                    <a:pt x="85" y="53"/>
                    <a:pt x="78" y="46"/>
                  </a:cubicBezTo>
                  <a:lnTo>
                    <a:pt x="71" y="39"/>
                  </a:lnTo>
                  <a:cubicBezTo>
                    <a:pt x="64" y="35"/>
                    <a:pt x="57" y="28"/>
                    <a:pt x="53" y="25"/>
                  </a:cubicBezTo>
                  <a:cubicBezTo>
                    <a:pt x="46" y="18"/>
                    <a:pt x="39" y="14"/>
                    <a:pt x="36" y="11"/>
                  </a:cubicBezTo>
                  <a:lnTo>
                    <a:pt x="29" y="7"/>
                  </a:lnTo>
                  <a:cubicBezTo>
                    <a:pt x="25" y="4"/>
                    <a:pt x="18" y="4"/>
                    <a:pt x="15" y="0"/>
                  </a:cubicBezTo>
                  <a:close/>
                  <a:moveTo>
                    <a:pt x="265" y="456"/>
                  </a:moveTo>
                  <a:cubicBezTo>
                    <a:pt x="266" y="461"/>
                    <a:pt x="267" y="465"/>
                    <a:pt x="270" y="470"/>
                  </a:cubicBezTo>
                  <a:cubicBezTo>
                    <a:pt x="268" y="466"/>
                    <a:pt x="266" y="461"/>
                    <a:pt x="265" y="456"/>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458" name="Google Shape;3458;p104"/>
            <p:cNvSpPr/>
            <p:nvPr/>
          </p:nvSpPr>
          <p:spPr>
            <a:xfrm>
              <a:off x="2113366" y="1953723"/>
              <a:ext cx="52776" cy="75260"/>
            </a:xfrm>
            <a:custGeom>
              <a:avLst/>
              <a:gdLst/>
              <a:ahLst/>
              <a:cxnLst/>
              <a:rect l="l" t="t" r="r" b="b"/>
              <a:pathLst>
                <a:path w="3887" h="5543" extrusionOk="0">
                  <a:moveTo>
                    <a:pt x="3239" y="1"/>
                  </a:moveTo>
                  <a:cubicBezTo>
                    <a:pt x="3239" y="22"/>
                    <a:pt x="3235" y="46"/>
                    <a:pt x="3235" y="64"/>
                  </a:cubicBezTo>
                  <a:lnTo>
                    <a:pt x="3235" y="67"/>
                  </a:lnTo>
                  <a:cubicBezTo>
                    <a:pt x="3232" y="88"/>
                    <a:pt x="3228" y="109"/>
                    <a:pt x="3225" y="130"/>
                  </a:cubicBezTo>
                  <a:cubicBezTo>
                    <a:pt x="3221" y="158"/>
                    <a:pt x="3218" y="183"/>
                    <a:pt x="3214" y="211"/>
                  </a:cubicBezTo>
                  <a:cubicBezTo>
                    <a:pt x="3200" y="347"/>
                    <a:pt x="3057" y="379"/>
                    <a:pt x="2962" y="400"/>
                  </a:cubicBezTo>
                  <a:cubicBezTo>
                    <a:pt x="2931" y="403"/>
                    <a:pt x="2903" y="410"/>
                    <a:pt x="2875" y="424"/>
                  </a:cubicBezTo>
                  <a:cubicBezTo>
                    <a:pt x="2812" y="508"/>
                    <a:pt x="2574" y="893"/>
                    <a:pt x="2567" y="970"/>
                  </a:cubicBezTo>
                  <a:cubicBezTo>
                    <a:pt x="2584" y="1068"/>
                    <a:pt x="2521" y="1348"/>
                    <a:pt x="2399" y="1397"/>
                  </a:cubicBezTo>
                  <a:cubicBezTo>
                    <a:pt x="2388" y="1401"/>
                    <a:pt x="2371" y="1425"/>
                    <a:pt x="2374" y="1590"/>
                  </a:cubicBezTo>
                  <a:lnTo>
                    <a:pt x="2374" y="1629"/>
                  </a:lnTo>
                  <a:cubicBezTo>
                    <a:pt x="2374" y="1695"/>
                    <a:pt x="2315" y="1744"/>
                    <a:pt x="2241" y="1804"/>
                  </a:cubicBezTo>
                  <a:cubicBezTo>
                    <a:pt x="2188" y="1846"/>
                    <a:pt x="2115" y="1909"/>
                    <a:pt x="2115" y="1951"/>
                  </a:cubicBezTo>
                  <a:cubicBezTo>
                    <a:pt x="2115" y="2059"/>
                    <a:pt x="1975" y="2329"/>
                    <a:pt x="1751" y="2731"/>
                  </a:cubicBezTo>
                  <a:lnTo>
                    <a:pt x="1702" y="2819"/>
                  </a:lnTo>
                  <a:cubicBezTo>
                    <a:pt x="1688" y="2847"/>
                    <a:pt x="1670" y="2875"/>
                    <a:pt x="1656" y="2903"/>
                  </a:cubicBezTo>
                  <a:cubicBezTo>
                    <a:pt x="1578" y="3057"/>
                    <a:pt x="1527" y="3153"/>
                    <a:pt x="1454" y="3153"/>
                  </a:cubicBezTo>
                  <a:cubicBezTo>
                    <a:pt x="1449" y="3153"/>
                    <a:pt x="1444" y="3152"/>
                    <a:pt x="1439" y="3151"/>
                  </a:cubicBezTo>
                  <a:cubicBezTo>
                    <a:pt x="1394" y="3144"/>
                    <a:pt x="1366" y="3109"/>
                    <a:pt x="1352" y="3046"/>
                  </a:cubicBezTo>
                  <a:cubicBezTo>
                    <a:pt x="1334" y="2962"/>
                    <a:pt x="1236" y="2854"/>
                    <a:pt x="1142" y="2815"/>
                  </a:cubicBezTo>
                  <a:cubicBezTo>
                    <a:pt x="1129" y="2808"/>
                    <a:pt x="1114" y="2804"/>
                    <a:pt x="1100" y="2804"/>
                  </a:cubicBezTo>
                  <a:cubicBezTo>
                    <a:pt x="1088" y="2804"/>
                    <a:pt x="1076" y="2807"/>
                    <a:pt x="1065" y="2812"/>
                  </a:cubicBezTo>
                  <a:cubicBezTo>
                    <a:pt x="1006" y="2851"/>
                    <a:pt x="936" y="2872"/>
                    <a:pt x="864" y="2872"/>
                  </a:cubicBezTo>
                  <a:cubicBezTo>
                    <a:pt x="859" y="2872"/>
                    <a:pt x="853" y="2872"/>
                    <a:pt x="848" y="2871"/>
                  </a:cubicBezTo>
                  <a:lnTo>
                    <a:pt x="785" y="2871"/>
                  </a:lnTo>
                  <a:cubicBezTo>
                    <a:pt x="774" y="2870"/>
                    <a:pt x="764" y="2869"/>
                    <a:pt x="753" y="2869"/>
                  </a:cubicBezTo>
                  <a:cubicBezTo>
                    <a:pt x="743" y="2869"/>
                    <a:pt x="732" y="2870"/>
                    <a:pt x="722" y="2871"/>
                  </a:cubicBezTo>
                  <a:cubicBezTo>
                    <a:pt x="666" y="2906"/>
                    <a:pt x="386" y="3179"/>
                    <a:pt x="137" y="3438"/>
                  </a:cubicBezTo>
                  <a:lnTo>
                    <a:pt x="137" y="3452"/>
                  </a:lnTo>
                  <a:lnTo>
                    <a:pt x="137" y="3459"/>
                  </a:lnTo>
                  <a:lnTo>
                    <a:pt x="137" y="3470"/>
                  </a:lnTo>
                  <a:lnTo>
                    <a:pt x="137" y="3477"/>
                  </a:lnTo>
                  <a:lnTo>
                    <a:pt x="133" y="3491"/>
                  </a:lnTo>
                  <a:lnTo>
                    <a:pt x="133" y="3501"/>
                  </a:lnTo>
                  <a:lnTo>
                    <a:pt x="130" y="3515"/>
                  </a:lnTo>
                  <a:lnTo>
                    <a:pt x="126" y="3529"/>
                  </a:lnTo>
                  <a:lnTo>
                    <a:pt x="123" y="3543"/>
                  </a:lnTo>
                  <a:lnTo>
                    <a:pt x="119" y="3557"/>
                  </a:lnTo>
                  <a:lnTo>
                    <a:pt x="116" y="3575"/>
                  </a:lnTo>
                  <a:lnTo>
                    <a:pt x="112" y="3589"/>
                  </a:lnTo>
                  <a:lnTo>
                    <a:pt x="109" y="3606"/>
                  </a:lnTo>
                  <a:lnTo>
                    <a:pt x="105" y="3624"/>
                  </a:lnTo>
                  <a:lnTo>
                    <a:pt x="98" y="3645"/>
                  </a:lnTo>
                  <a:lnTo>
                    <a:pt x="95" y="3659"/>
                  </a:lnTo>
                  <a:lnTo>
                    <a:pt x="91" y="3680"/>
                  </a:lnTo>
                  <a:lnTo>
                    <a:pt x="84" y="3701"/>
                  </a:lnTo>
                  <a:lnTo>
                    <a:pt x="81" y="3722"/>
                  </a:lnTo>
                  <a:lnTo>
                    <a:pt x="74" y="3740"/>
                  </a:lnTo>
                  <a:lnTo>
                    <a:pt x="67" y="3764"/>
                  </a:lnTo>
                  <a:lnTo>
                    <a:pt x="63" y="3782"/>
                  </a:lnTo>
                  <a:lnTo>
                    <a:pt x="53" y="3810"/>
                  </a:lnTo>
                  <a:lnTo>
                    <a:pt x="49" y="3827"/>
                  </a:lnTo>
                  <a:lnTo>
                    <a:pt x="39" y="3855"/>
                  </a:lnTo>
                  <a:lnTo>
                    <a:pt x="35" y="3873"/>
                  </a:lnTo>
                  <a:lnTo>
                    <a:pt x="25" y="3904"/>
                  </a:lnTo>
                  <a:lnTo>
                    <a:pt x="18" y="3918"/>
                  </a:lnTo>
                  <a:lnTo>
                    <a:pt x="7" y="3953"/>
                  </a:lnTo>
                  <a:lnTo>
                    <a:pt x="0" y="3967"/>
                  </a:lnTo>
                  <a:lnTo>
                    <a:pt x="0" y="3971"/>
                  </a:lnTo>
                  <a:cubicBezTo>
                    <a:pt x="53" y="4030"/>
                    <a:pt x="102" y="4093"/>
                    <a:pt x="140" y="4160"/>
                  </a:cubicBezTo>
                  <a:cubicBezTo>
                    <a:pt x="161" y="4191"/>
                    <a:pt x="182" y="4226"/>
                    <a:pt x="207" y="4258"/>
                  </a:cubicBezTo>
                  <a:cubicBezTo>
                    <a:pt x="240" y="4305"/>
                    <a:pt x="285" y="4319"/>
                    <a:pt x="346" y="4319"/>
                  </a:cubicBezTo>
                  <a:cubicBezTo>
                    <a:pt x="371" y="4319"/>
                    <a:pt x="398" y="4317"/>
                    <a:pt x="428" y="4314"/>
                  </a:cubicBezTo>
                  <a:cubicBezTo>
                    <a:pt x="449" y="4309"/>
                    <a:pt x="470" y="4306"/>
                    <a:pt x="491" y="4306"/>
                  </a:cubicBezTo>
                  <a:cubicBezTo>
                    <a:pt x="529" y="4306"/>
                    <a:pt x="566" y="4314"/>
                    <a:pt x="603" y="4328"/>
                  </a:cubicBezTo>
                  <a:cubicBezTo>
                    <a:pt x="729" y="4394"/>
                    <a:pt x="827" y="4814"/>
                    <a:pt x="788" y="4940"/>
                  </a:cubicBezTo>
                  <a:cubicBezTo>
                    <a:pt x="781" y="4965"/>
                    <a:pt x="767" y="4996"/>
                    <a:pt x="753" y="5031"/>
                  </a:cubicBezTo>
                  <a:cubicBezTo>
                    <a:pt x="722" y="5115"/>
                    <a:pt x="666" y="5255"/>
                    <a:pt x="673" y="5339"/>
                  </a:cubicBezTo>
                  <a:lnTo>
                    <a:pt x="1373" y="5339"/>
                  </a:lnTo>
                  <a:lnTo>
                    <a:pt x="1597" y="5273"/>
                  </a:lnTo>
                  <a:lnTo>
                    <a:pt x="1607" y="5276"/>
                  </a:lnTo>
                  <a:lnTo>
                    <a:pt x="1625" y="5276"/>
                  </a:lnTo>
                  <a:cubicBezTo>
                    <a:pt x="1677" y="5280"/>
                    <a:pt x="2069" y="5301"/>
                    <a:pt x="2427" y="5311"/>
                  </a:cubicBezTo>
                  <a:cubicBezTo>
                    <a:pt x="2610" y="5317"/>
                    <a:pt x="2740" y="5319"/>
                    <a:pt x="2833" y="5319"/>
                  </a:cubicBezTo>
                  <a:cubicBezTo>
                    <a:pt x="2959" y="5319"/>
                    <a:pt x="3015" y="5315"/>
                    <a:pt x="3039" y="5311"/>
                  </a:cubicBezTo>
                  <a:lnTo>
                    <a:pt x="3050" y="5311"/>
                  </a:lnTo>
                  <a:cubicBezTo>
                    <a:pt x="3060" y="5311"/>
                    <a:pt x="3074" y="5308"/>
                    <a:pt x="3085" y="5308"/>
                  </a:cubicBezTo>
                  <a:lnTo>
                    <a:pt x="3120" y="5308"/>
                  </a:lnTo>
                  <a:lnTo>
                    <a:pt x="3151" y="5311"/>
                  </a:lnTo>
                  <a:lnTo>
                    <a:pt x="3158" y="5311"/>
                  </a:lnTo>
                  <a:cubicBezTo>
                    <a:pt x="3225" y="5325"/>
                    <a:pt x="3288" y="5343"/>
                    <a:pt x="3351" y="5364"/>
                  </a:cubicBezTo>
                  <a:lnTo>
                    <a:pt x="3403" y="5381"/>
                  </a:lnTo>
                  <a:lnTo>
                    <a:pt x="3407" y="5381"/>
                  </a:lnTo>
                  <a:lnTo>
                    <a:pt x="3452" y="5399"/>
                  </a:lnTo>
                  <a:lnTo>
                    <a:pt x="3459" y="5402"/>
                  </a:lnTo>
                  <a:lnTo>
                    <a:pt x="3505" y="5420"/>
                  </a:lnTo>
                  <a:lnTo>
                    <a:pt x="3512" y="5423"/>
                  </a:lnTo>
                  <a:lnTo>
                    <a:pt x="3557" y="5441"/>
                  </a:lnTo>
                  <a:lnTo>
                    <a:pt x="3564" y="5444"/>
                  </a:lnTo>
                  <a:lnTo>
                    <a:pt x="3606" y="5462"/>
                  </a:lnTo>
                  <a:lnTo>
                    <a:pt x="3617" y="5465"/>
                  </a:lnTo>
                  <a:lnTo>
                    <a:pt x="3652" y="5483"/>
                  </a:lnTo>
                  <a:lnTo>
                    <a:pt x="3662" y="5486"/>
                  </a:lnTo>
                  <a:lnTo>
                    <a:pt x="3697" y="5504"/>
                  </a:lnTo>
                  <a:lnTo>
                    <a:pt x="3708" y="5507"/>
                  </a:lnTo>
                  <a:lnTo>
                    <a:pt x="3743" y="5525"/>
                  </a:lnTo>
                  <a:lnTo>
                    <a:pt x="3746" y="5525"/>
                  </a:lnTo>
                  <a:lnTo>
                    <a:pt x="3785" y="5542"/>
                  </a:lnTo>
                  <a:cubicBezTo>
                    <a:pt x="3802" y="5416"/>
                    <a:pt x="3837" y="5290"/>
                    <a:pt x="3886" y="5175"/>
                  </a:cubicBezTo>
                  <a:lnTo>
                    <a:pt x="3883" y="5171"/>
                  </a:lnTo>
                  <a:cubicBezTo>
                    <a:pt x="3876" y="5168"/>
                    <a:pt x="3869" y="5161"/>
                    <a:pt x="3865" y="5157"/>
                  </a:cubicBezTo>
                  <a:lnTo>
                    <a:pt x="3858" y="5150"/>
                  </a:lnTo>
                  <a:cubicBezTo>
                    <a:pt x="3855" y="5147"/>
                    <a:pt x="3848" y="5140"/>
                    <a:pt x="3841" y="5133"/>
                  </a:cubicBezTo>
                  <a:lnTo>
                    <a:pt x="3837" y="5126"/>
                  </a:lnTo>
                  <a:cubicBezTo>
                    <a:pt x="3834" y="5122"/>
                    <a:pt x="3830" y="5115"/>
                    <a:pt x="3827" y="5108"/>
                  </a:cubicBezTo>
                  <a:lnTo>
                    <a:pt x="3823" y="5101"/>
                  </a:lnTo>
                  <a:cubicBezTo>
                    <a:pt x="3820" y="5094"/>
                    <a:pt x="3816" y="5087"/>
                    <a:pt x="3816" y="5080"/>
                  </a:cubicBezTo>
                  <a:cubicBezTo>
                    <a:pt x="3806" y="5049"/>
                    <a:pt x="3708" y="4965"/>
                    <a:pt x="3652" y="4916"/>
                  </a:cubicBezTo>
                  <a:cubicBezTo>
                    <a:pt x="3589" y="4867"/>
                    <a:pt x="3529" y="4811"/>
                    <a:pt x="3477" y="4748"/>
                  </a:cubicBezTo>
                  <a:cubicBezTo>
                    <a:pt x="3428" y="4688"/>
                    <a:pt x="3386" y="4625"/>
                    <a:pt x="3347" y="4555"/>
                  </a:cubicBezTo>
                  <a:lnTo>
                    <a:pt x="3340" y="4538"/>
                  </a:lnTo>
                  <a:lnTo>
                    <a:pt x="3340" y="4520"/>
                  </a:lnTo>
                  <a:cubicBezTo>
                    <a:pt x="3351" y="4419"/>
                    <a:pt x="3326" y="4321"/>
                    <a:pt x="3270" y="4240"/>
                  </a:cubicBezTo>
                  <a:cubicBezTo>
                    <a:pt x="3155" y="4086"/>
                    <a:pt x="3099" y="3974"/>
                    <a:pt x="3099" y="3764"/>
                  </a:cubicBezTo>
                  <a:cubicBezTo>
                    <a:pt x="3095" y="3669"/>
                    <a:pt x="3081" y="3578"/>
                    <a:pt x="3057" y="3491"/>
                  </a:cubicBezTo>
                  <a:cubicBezTo>
                    <a:pt x="3039" y="3435"/>
                    <a:pt x="3029" y="3375"/>
                    <a:pt x="3025" y="3316"/>
                  </a:cubicBezTo>
                  <a:cubicBezTo>
                    <a:pt x="3025" y="3242"/>
                    <a:pt x="3074" y="3158"/>
                    <a:pt x="3141" y="3053"/>
                  </a:cubicBezTo>
                  <a:cubicBezTo>
                    <a:pt x="3204" y="2959"/>
                    <a:pt x="3256" y="2854"/>
                    <a:pt x="3295" y="2749"/>
                  </a:cubicBezTo>
                  <a:cubicBezTo>
                    <a:pt x="3298" y="2731"/>
                    <a:pt x="3305" y="2714"/>
                    <a:pt x="3312" y="2696"/>
                  </a:cubicBezTo>
                  <a:cubicBezTo>
                    <a:pt x="3316" y="2693"/>
                    <a:pt x="3319" y="2686"/>
                    <a:pt x="3323" y="2682"/>
                  </a:cubicBezTo>
                  <a:cubicBezTo>
                    <a:pt x="3326" y="2675"/>
                    <a:pt x="3333" y="2661"/>
                    <a:pt x="3340" y="2651"/>
                  </a:cubicBezTo>
                  <a:cubicBezTo>
                    <a:pt x="3347" y="2640"/>
                    <a:pt x="3347" y="2637"/>
                    <a:pt x="3351" y="2630"/>
                  </a:cubicBezTo>
                  <a:cubicBezTo>
                    <a:pt x="3354" y="2626"/>
                    <a:pt x="3361" y="2612"/>
                    <a:pt x="3368" y="2605"/>
                  </a:cubicBezTo>
                  <a:lnTo>
                    <a:pt x="3386" y="2584"/>
                  </a:lnTo>
                  <a:cubicBezTo>
                    <a:pt x="3389" y="2577"/>
                    <a:pt x="3396" y="2570"/>
                    <a:pt x="3403" y="2563"/>
                  </a:cubicBezTo>
                  <a:lnTo>
                    <a:pt x="3421" y="2542"/>
                  </a:lnTo>
                  <a:lnTo>
                    <a:pt x="3438" y="2521"/>
                  </a:lnTo>
                  <a:lnTo>
                    <a:pt x="3456" y="2504"/>
                  </a:lnTo>
                  <a:lnTo>
                    <a:pt x="3477" y="2483"/>
                  </a:lnTo>
                  <a:lnTo>
                    <a:pt x="3498" y="2465"/>
                  </a:lnTo>
                  <a:lnTo>
                    <a:pt x="3519" y="2444"/>
                  </a:lnTo>
                  <a:lnTo>
                    <a:pt x="3536" y="2427"/>
                  </a:lnTo>
                  <a:lnTo>
                    <a:pt x="3550" y="2416"/>
                  </a:lnTo>
                  <a:cubicBezTo>
                    <a:pt x="3491" y="2297"/>
                    <a:pt x="3442" y="2175"/>
                    <a:pt x="3407" y="2052"/>
                  </a:cubicBezTo>
                  <a:cubicBezTo>
                    <a:pt x="3403" y="2035"/>
                    <a:pt x="3396" y="2021"/>
                    <a:pt x="3389" y="2007"/>
                  </a:cubicBezTo>
                  <a:cubicBezTo>
                    <a:pt x="3389" y="2003"/>
                    <a:pt x="3386" y="1996"/>
                    <a:pt x="3382" y="1993"/>
                  </a:cubicBezTo>
                  <a:cubicBezTo>
                    <a:pt x="3382" y="1989"/>
                    <a:pt x="3375" y="1975"/>
                    <a:pt x="3368" y="1968"/>
                  </a:cubicBezTo>
                  <a:cubicBezTo>
                    <a:pt x="3340" y="1923"/>
                    <a:pt x="3302" y="1881"/>
                    <a:pt x="3260" y="1846"/>
                  </a:cubicBezTo>
                  <a:cubicBezTo>
                    <a:pt x="3242" y="1832"/>
                    <a:pt x="3225" y="1818"/>
                    <a:pt x="3204" y="1800"/>
                  </a:cubicBezTo>
                  <a:lnTo>
                    <a:pt x="3162" y="1769"/>
                  </a:lnTo>
                  <a:cubicBezTo>
                    <a:pt x="3102" y="1723"/>
                    <a:pt x="3039" y="1674"/>
                    <a:pt x="2973" y="1611"/>
                  </a:cubicBezTo>
                  <a:cubicBezTo>
                    <a:pt x="2777" y="1432"/>
                    <a:pt x="2801" y="1296"/>
                    <a:pt x="2815" y="1215"/>
                  </a:cubicBezTo>
                  <a:cubicBezTo>
                    <a:pt x="2819" y="1201"/>
                    <a:pt x="2822" y="1187"/>
                    <a:pt x="2822" y="1177"/>
                  </a:cubicBezTo>
                  <a:cubicBezTo>
                    <a:pt x="2822" y="1145"/>
                    <a:pt x="2836" y="1117"/>
                    <a:pt x="2857" y="1100"/>
                  </a:cubicBezTo>
                  <a:cubicBezTo>
                    <a:pt x="2909" y="1050"/>
                    <a:pt x="3035" y="1036"/>
                    <a:pt x="3169" y="1036"/>
                  </a:cubicBezTo>
                  <a:cubicBezTo>
                    <a:pt x="3234" y="1036"/>
                    <a:pt x="3301" y="1039"/>
                    <a:pt x="3361" y="1044"/>
                  </a:cubicBezTo>
                  <a:cubicBezTo>
                    <a:pt x="3386" y="1047"/>
                    <a:pt x="3409" y="1049"/>
                    <a:pt x="3433" y="1049"/>
                  </a:cubicBezTo>
                  <a:cubicBezTo>
                    <a:pt x="3456" y="1049"/>
                    <a:pt x="3479" y="1047"/>
                    <a:pt x="3501" y="1044"/>
                  </a:cubicBezTo>
                  <a:cubicBezTo>
                    <a:pt x="3396" y="914"/>
                    <a:pt x="3277" y="575"/>
                    <a:pt x="3291" y="347"/>
                  </a:cubicBezTo>
                  <a:cubicBezTo>
                    <a:pt x="3298" y="249"/>
                    <a:pt x="3284" y="155"/>
                    <a:pt x="3253" y="64"/>
                  </a:cubicBezTo>
                  <a:cubicBezTo>
                    <a:pt x="3249" y="43"/>
                    <a:pt x="3246" y="25"/>
                    <a:pt x="3239" y="8"/>
                  </a:cubicBezTo>
                  <a:lnTo>
                    <a:pt x="3239"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459" name="Google Shape;3459;p104"/>
            <p:cNvSpPr/>
            <p:nvPr/>
          </p:nvSpPr>
          <p:spPr>
            <a:xfrm>
              <a:off x="2165368" y="2023172"/>
              <a:ext cx="149" cy="244"/>
            </a:xfrm>
            <a:custGeom>
              <a:avLst/>
              <a:gdLst/>
              <a:ahLst/>
              <a:cxnLst/>
              <a:rect l="l" t="t" r="r" b="b"/>
              <a:pathLst>
                <a:path w="11" h="18" extrusionOk="0">
                  <a:moveTo>
                    <a:pt x="11" y="18"/>
                  </a:moveTo>
                  <a:cubicBezTo>
                    <a:pt x="7" y="11"/>
                    <a:pt x="4" y="7"/>
                    <a:pt x="0" y="0"/>
                  </a:cubicBezTo>
                  <a:cubicBezTo>
                    <a:pt x="4" y="7"/>
                    <a:pt x="7" y="11"/>
                    <a:pt x="11" y="18"/>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460" name="Google Shape;3460;p104"/>
            <p:cNvSpPr/>
            <p:nvPr/>
          </p:nvSpPr>
          <p:spPr>
            <a:xfrm>
              <a:off x="2165178" y="2022792"/>
              <a:ext cx="149" cy="339"/>
            </a:xfrm>
            <a:custGeom>
              <a:avLst/>
              <a:gdLst/>
              <a:ahLst/>
              <a:cxnLst/>
              <a:rect l="l" t="t" r="r" b="b"/>
              <a:pathLst>
                <a:path w="11" h="25" extrusionOk="0">
                  <a:moveTo>
                    <a:pt x="11" y="25"/>
                  </a:moveTo>
                  <a:cubicBezTo>
                    <a:pt x="4" y="14"/>
                    <a:pt x="4" y="7"/>
                    <a:pt x="0" y="0"/>
                  </a:cubicBezTo>
                  <a:cubicBezTo>
                    <a:pt x="4" y="7"/>
                    <a:pt x="4" y="14"/>
                    <a:pt x="11" y="25"/>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461" name="Google Shape;3461;p104"/>
            <p:cNvSpPr/>
            <p:nvPr/>
          </p:nvSpPr>
          <p:spPr>
            <a:xfrm>
              <a:off x="2159136" y="1988902"/>
              <a:ext cx="204" cy="299"/>
            </a:xfrm>
            <a:custGeom>
              <a:avLst/>
              <a:gdLst/>
              <a:ahLst/>
              <a:cxnLst/>
              <a:rect l="l" t="t" r="r" b="b"/>
              <a:pathLst>
                <a:path w="15" h="22" extrusionOk="0">
                  <a:moveTo>
                    <a:pt x="1" y="21"/>
                  </a:moveTo>
                  <a:lnTo>
                    <a:pt x="15"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462" name="Google Shape;3462;p104"/>
            <p:cNvSpPr/>
            <p:nvPr/>
          </p:nvSpPr>
          <p:spPr>
            <a:xfrm>
              <a:off x="2158715" y="1989568"/>
              <a:ext cx="204" cy="244"/>
            </a:xfrm>
            <a:custGeom>
              <a:avLst/>
              <a:gdLst/>
              <a:ahLst/>
              <a:cxnLst/>
              <a:rect l="l" t="t" r="r" b="b"/>
              <a:pathLst>
                <a:path w="15" h="18" extrusionOk="0">
                  <a:moveTo>
                    <a:pt x="0" y="18"/>
                  </a:moveTo>
                  <a:cubicBezTo>
                    <a:pt x="4" y="11"/>
                    <a:pt x="11" y="4"/>
                    <a:pt x="14" y="0"/>
                  </a:cubicBezTo>
                  <a:cubicBezTo>
                    <a:pt x="11" y="4"/>
                    <a:pt x="4" y="11"/>
                    <a:pt x="0" y="18"/>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463" name="Google Shape;3463;p104"/>
            <p:cNvSpPr/>
            <p:nvPr/>
          </p:nvSpPr>
          <p:spPr>
            <a:xfrm>
              <a:off x="2158375" y="1990179"/>
              <a:ext cx="109" cy="258"/>
            </a:xfrm>
            <a:custGeom>
              <a:avLst/>
              <a:gdLst/>
              <a:ahLst/>
              <a:cxnLst/>
              <a:rect l="l" t="t" r="r" b="b"/>
              <a:pathLst>
                <a:path w="8" h="19" extrusionOk="0">
                  <a:moveTo>
                    <a:pt x="1" y="18"/>
                  </a:moveTo>
                  <a:cubicBezTo>
                    <a:pt x="4" y="15"/>
                    <a:pt x="8" y="8"/>
                    <a:pt x="8" y="1"/>
                  </a:cubicBezTo>
                  <a:cubicBezTo>
                    <a:pt x="8" y="8"/>
                    <a:pt x="4" y="15"/>
                    <a:pt x="1" y="18"/>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464" name="Google Shape;3464;p104"/>
            <p:cNvSpPr/>
            <p:nvPr/>
          </p:nvSpPr>
          <p:spPr>
            <a:xfrm>
              <a:off x="2159611" y="1988332"/>
              <a:ext cx="204" cy="299"/>
            </a:xfrm>
            <a:custGeom>
              <a:avLst/>
              <a:gdLst/>
              <a:ahLst/>
              <a:cxnLst/>
              <a:rect l="l" t="t" r="r" b="b"/>
              <a:pathLst>
                <a:path w="15" h="22" extrusionOk="0">
                  <a:moveTo>
                    <a:pt x="1" y="21"/>
                  </a:moveTo>
                  <a:lnTo>
                    <a:pt x="15"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465" name="Google Shape;3465;p104"/>
            <p:cNvSpPr/>
            <p:nvPr/>
          </p:nvSpPr>
          <p:spPr>
            <a:xfrm>
              <a:off x="2161132" y="1986757"/>
              <a:ext cx="258" cy="258"/>
            </a:xfrm>
            <a:custGeom>
              <a:avLst/>
              <a:gdLst/>
              <a:ahLst/>
              <a:cxnLst/>
              <a:rect l="l" t="t" r="r" b="b"/>
              <a:pathLst>
                <a:path w="19" h="19" extrusionOk="0">
                  <a:moveTo>
                    <a:pt x="1" y="18"/>
                  </a:moveTo>
                  <a:lnTo>
                    <a:pt x="18"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466" name="Google Shape;3466;p104"/>
            <p:cNvSpPr/>
            <p:nvPr/>
          </p:nvSpPr>
          <p:spPr>
            <a:xfrm>
              <a:off x="2160086" y="1987803"/>
              <a:ext cx="258" cy="258"/>
            </a:xfrm>
            <a:custGeom>
              <a:avLst/>
              <a:gdLst/>
              <a:ahLst/>
              <a:cxnLst/>
              <a:rect l="l" t="t" r="r" b="b"/>
              <a:pathLst>
                <a:path w="19" h="19" extrusionOk="0">
                  <a:moveTo>
                    <a:pt x="1" y="18"/>
                  </a:moveTo>
                  <a:lnTo>
                    <a:pt x="18"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467" name="Google Shape;3467;p104"/>
            <p:cNvSpPr/>
            <p:nvPr/>
          </p:nvSpPr>
          <p:spPr>
            <a:xfrm>
              <a:off x="2165884" y="2023837"/>
              <a:ext cx="258" cy="204"/>
            </a:xfrm>
            <a:custGeom>
              <a:avLst/>
              <a:gdLst/>
              <a:ahLst/>
              <a:cxnLst/>
              <a:rect l="l" t="t" r="r" b="b"/>
              <a:pathLst>
                <a:path w="19" h="15" extrusionOk="0">
                  <a:moveTo>
                    <a:pt x="18" y="14"/>
                  </a:moveTo>
                  <a:cubicBezTo>
                    <a:pt x="11" y="11"/>
                    <a:pt x="4" y="4"/>
                    <a:pt x="1" y="0"/>
                  </a:cubicBezTo>
                  <a:cubicBezTo>
                    <a:pt x="4" y="4"/>
                    <a:pt x="11" y="11"/>
                    <a:pt x="18" y="14"/>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468" name="Google Shape;3468;p104"/>
            <p:cNvSpPr/>
            <p:nvPr/>
          </p:nvSpPr>
          <p:spPr>
            <a:xfrm>
              <a:off x="2160616" y="1987287"/>
              <a:ext cx="244" cy="244"/>
            </a:xfrm>
            <a:custGeom>
              <a:avLst/>
              <a:gdLst/>
              <a:ahLst/>
              <a:cxnLst/>
              <a:rect l="l" t="t" r="r" b="b"/>
              <a:pathLst>
                <a:path w="18" h="18" extrusionOk="0">
                  <a:moveTo>
                    <a:pt x="0" y="18"/>
                  </a:moveTo>
                  <a:lnTo>
                    <a:pt x="18"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469" name="Google Shape;3469;p104"/>
            <p:cNvSpPr/>
            <p:nvPr/>
          </p:nvSpPr>
          <p:spPr>
            <a:xfrm>
              <a:off x="2165558" y="2023457"/>
              <a:ext cx="244" cy="299"/>
            </a:xfrm>
            <a:custGeom>
              <a:avLst/>
              <a:gdLst/>
              <a:ahLst/>
              <a:cxnLst/>
              <a:rect l="l" t="t" r="r" b="b"/>
              <a:pathLst>
                <a:path w="18" h="22" extrusionOk="0">
                  <a:moveTo>
                    <a:pt x="18" y="21"/>
                  </a:moveTo>
                  <a:cubicBezTo>
                    <a:pt x="11" y="14"/>
                    <a:pt x="4" y="7"/>
                    <a:pt x="0" y="0"/>
                  </a:cubicBezTo>
                  <a:cubicBezTo>
                    <a:pt x="4" y="7"/>
                    <a:pt x="11" y="14"/>
                    <a:pt x="18" y="2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470" name="Google Shape;3470;p104"/>
            <p:cNvSpPr/>
            <p:nvPr/>
          </p:nvSpPr>
          <p:spPr>
            <a:xfrm>
              <a:off x="2157289" y="1953832"/>
              <a:ext cx="54" cy="855"/>
            </a:xfrm>
            <a:custGeom>
              <a:avLst/>
              <a:gdLst/>
              <a:ahLst/>
              <a:cxnLst/>
              <a:rect l="l" t="t" r="r" b="b"/>
              <a:pathLst>
                <a:path w="4" h="63" extrusionOk="0">
                  <a:moveTo>
                    <a:pt x="4" y="1"/>
                  </a:moveTo>
                  <a:cubicBezTo>
                    <a:pt x="4" y="18"/>
                    <a:pt x="4" y="42"/>
                    <a:pt x="0" y="63"/>
                  </a:cubicBezTo>
                  <a:cubicBezTo>
                    <a:pt x="4" y="42"/>
                    <a:pt x="4" y="21"/>
                    <a:pt x="4" y="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471" name="Google Shape;3471;p104"/>
            <p:cNvSpPr/>
            <p:nvPr/>
          </p:nvSpPr>
          <p:spPr>
            <a:xfrm>
              <a:off x="2157140" y="1954728"/>
              <a:ext cx="163" cy="869"/>
            </a:xfrm>
            <a:custGeom>
              <a:avLst/>
              <a:gdLst/>
              <a:ahLst/>
              <a:cxnLst/>
              <a:rect l="l" t="t" r="r" b="b"/>
              <a:pathLst>
                <a:path w="12" h="64" extrusionOk="0">
                  <a:moveTo>
                    <a:pt x="1" y="63"/>
                  </a:moveTo>
                  <a:cubicBezTo>
                    <a:pt x="4" y="42"/>
                    <a:pt x="8" y="21"/>
                    <a:pt x="11" y="0"/>
                  </a:cubicBezTo>
                  <a:cubicBezTo>
                    <a:pt x="8" y="21"/>
                    <a:pt x="4" y="42"/>
                    <a:pt x="1" y="63"/>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472" name="Google Shape;3472;p104"/>
            <p:cNvSpPr/>
            <p:nvPr/>
          </p:nvSpPr>
          <p:spPr>
            <a:xfrm>
              <a:off x="2157004" y="1951971"/>
              <a:ext cx="149" cy="339"/>
            </a:xfrm>
            <a:custGeom>
              <a:avLst/>
              <a:gdLst/>
              <a:ahLst/>
              <a:cxnLst/>
              <a:rect l="l" t="t" r="r" b="b"/>
              <a:pathLst>
                <a:path w="11" h="25" extrusionOk="0">
                  <a:moveTo>
                    <a:pt x="11" y="25"/>
                  </a:moveTo>
                  <a:cubicBezTo>
                    <a:pt x="7" y="14"/>
                    <a:pt x="4" y="7"/>
                    <a:pt x="0" y="0"/>
                  </a:cubicBezTo>
                  <a:cubicBezTo>
                    <a:pt x="4" y="7"/>
                    <a:pt x="7" y="14"/>
                    <a:pt x="11" y="25"/>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473" name="Google Shape;3473;p104"/>
            <p:cNvSpPr/>
            <p:nvPr/>
          </p:nvSpPr>
          <p:spPr>
            <a:xfrm>
              <a:off x="2115213" y="2000688"/>
              <a:ext cx="14" cy="109"/>
            </a:xfrm>
            <a:custGeom>
              <a:avLst/>
              <a:gdLst/>
              <a:ahLst/>
              <a:cxnLst/>
              <a:rect l="l" t="t" r="r" b="b"/>
              <a:pathLst>
                <a:path w="1" h="8" extrusionOk="0">
                  <a:moveTo>
                    <a:pt x="1" y="7"/>
                  </a:moveTo>
                  <a:lnTo>
                    <a:pt x="1"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474" name="Google Shape;3474;p104"/>
            <p:cNvSpPr/>
            <p:nvPr/>
          </p:nvSpPr>
          <p:spPr>
            <a:xfrm>
              <a:off x="2124011" y="1992826"/>
              <a:ext cx="923" cy="27"/>
            </a:xfrm>
            <a:custGeom>
              <a:avLst/>
              <a:gdLst/>
              <a:ahLst/>
              <a:cxnLst/>
              <a:rect l="l" t="t" r="r" b="b"/>
              <a:pathLst>
                <a:path w="68" h="2" extrusionOk="0">
                  <a:moveTo>
                    <a:pt x="23" y="0"/>
                  </a:moveTo>
                  <a:cubicBezTo>
                    <a:pt x="15" y="0"/>
                    <a:pt x="8" y="1"/>
                    <a:pt x="1" y="2"/>
                  </a:cubicBezTo>
                  <a:lnTo>
                    <a:pt x="67" y="2"/>
                  </a:lnTo>
                  <a:cubicBezTo>
                    <a:pt x="53" y="2"/>
                    <a:pt x="38" y="0"/>
                    <a:pt x="23"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475" name="Google Shape;3475;p104"/>
            <p:cNvSpPr/>
            <p:nvPr/>
          </p:nvSpPr>
          <p:spPr>
            <a:xfrm>
              <a:off x="2153528" y="1947885"/>
              <a:ext cx="14" cy="244"/>
            </a:xfrm>
            <a:custGeom>
              <a:avLst/>
              <a:gdLst/>
              <a:ahLst/>
              <a:cxnLst/>
              <a:rect l="l" t="t" r="r" b="b"/>
              <a:pathLst>
                <a:path w="1" h="18" extrusionOk="0">
                  <a:moveTo>
                    <a:pt x="1" y="18"/>
                  </a:moveTo>
                  <a:lnTo>
                    <a:pt x="1" y="0"/>
                  </a:lnTo>
                  <a:cubicBezTo>
                    <a:pt x="1" y="7"/>
                    <a:pt x="1" y="14"/>
                    <a:pt x="1" y="18"/>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476" name="Google Shape;3476;p104"/>
            <p:cNvSpPr/>
            <p:nvPr/>
          </p:nvSpPr>
          <p:spPr>
            <a:xfrm>
              <a:off x="2153528" y="1947409"/>
              <a:ext cx="68" cy="339"/>
            </a:xfrm>
            <a:custGeom>
              <a:avLst/>
              <a:gdLst/>
              <a:ahLst/>
              <a:cxnLst/>
              <a:rect l="l" t="t" r="r" b="b"/>
              <a:pathLst>
                <a:path w="5" h="25" extrusionOk="0">
                  <a:moveTo>
                    <a:pt x="1" y="0"/>
                  </a:moveTo>
                  <a:lnTo>
                    <a:pt x="1" y="25"/>
                  </a:lnTo>
                  <a:cubicBezTo>
                    <a:pt x="1" y="18"/>
                    <a:pt x="4" y="7"/>
                    <a:pt x="1"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477" name="Google Shape;3477;p104"/>
            <p:cNvSpPr/>
            <p:nvPr/>
          </p:nvSpPr>
          <p:spPr>
            <a:xfrm>
              <a:off x="2153487" y="1948306"/>
              <a:ext cx="14" cy="258"/>
            </a:xfrm>
            <a:custGeom>
              <a:avLst/>
              <a:gdLst/>
              <a:ahLst/>
              <a:cxnLst/>
              <a:rect l="l" t="t" r="r" b="b"/>
              <a:pathLst>
                <a:path w="1" h="19" extrusionOk="0">
                  <a:moveTo>
                    <a:pt x="0" y="18"/>
                  </a:moveTo>
                  <a:lnTo>
                    <a:pt x="0" y="1"/>
                  </a:lnTo>
                  <a:cubicBezTo>
                    <a:pt x="0" y="4"/>
                    <a:pt x="0" y="11"/>
                    <a:pt x="0" y="18"/>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478" name="Google Shape;3478;p104"/>
            <p:cNvSpPr/>
            <p:nvPr/>
          </p:nvSpPr>
          <p:spPr>
            <a:xfrm>
              <a:off x="2153678" y="1946255"/>
              <a:ext cx="54" cy="394"/>
            </a:xfrm>
            <a:custGeom>
              <a:avLst/>
              <a:gdLst/>
              <a:ahLst/>
              <a:cxnLst/>
              <a:rect l="l" t="t" r="r" b="b"/>
              <a:pathLst>
                <a:path w="4" h="29" extrusionOk="0">
                  <a:moveTo>
                    <a:pt x="0" y="29"/>
                  </a:moveTo>
                  <a:cubicBezTo>
                    <a:pt x="0" y="18"/>
                    <a:pt x="0" y="11"/>
                    <a:pt x="4" y="1"/>
                  </a:cubicBezTo>
                  <a:cubicBezTo>
                    <a:pt x="0" y="11"/>
                    <a:pt x="0" y="18"/>
                    <a:pt x="0" y="29"/>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479" name="Google Shape;3479;p104"/>
            <p:cNvSpPr/>
            <p:nvPr/>
          </p:nvSpPr>
          <p:spPr>
            <a:xfrm>
              <a:off x="2153583" y="1946785"/>
              <a:ext cx="54" cy="489"/>
            </a:xfrm>
            <a:custGeom>
              <a:avLst/>
              <a:gdLst/>
              <a:ahLst/>
              <a:cxnLst/>
              <a:rect l="l" t="t" r="r" b="b"/>
              <a:pathLst>
                <a:path w="4" h="36" extrusionOk="0">
                  <a:moveTo>
                    <a:pt x="4" y="0"/>
                  </a:moveTo>
                  <a:cubicBezTo>
                    <a:pt x="0" y="11"/>
                    <a:pt x="0" y="25"/>
                    <a:pt x="0" y="35"/>
                  </a:cubicBezTo>
                  <a:cubicBezTo>
                    <a:pt x="0" y="25"/>
                    <a:pt x="4" y="14"/>
                    <a:pt x="4"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480" name="Google Shape;3480;p104"/>
            <p:cNvSpPr/>
            <p:nvPr/>
          </p:nvSpPr>
          <p:spPr>
            <a:xfrm>
              <a:off x="2153718" y="1945875"/>
              <a:ext cx="68" cy="204"/>
            </a:xfrm>
            <a:custGeom>
              <a:avLst/>
              <a:gdLst/>
              <a:ahLst/>
              <a:cxnLst/>
              <a:rect l="l" t="t" r="r" b="b"/>
              <a:pathLst>
                <a:path w="5" h="15" extrusionOk="0">
                  <a:moveTo>
                    <a:pt x="4" y="1"/>
                  </a:moveTo>
                  <a:lnTo>
                    <a:pt x="1" y="15"/>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481" name="Google Shape;3481;p104"/>
            <p:cNvSpPr/>
            <p:nvPr/>
          </p:nvSpPr>
          <p:spPr>
            <a:xfrm>
              <a:off x="2155959" y="1951116"/>
              <a:ext cx="394" cy="204"/>
            </a:xfrm>
            <a:custGeom>
              <a:avLst/>
              <a:gdLst/>
              <a:ahLst/>
              <a:cxnLst/>
              <a:rect l="l" t="t" r="r" b="b"/>
              <a:pathLst>
                <a:path w="29" h="15" extrusionOk="0">
                  <a:moveTo>
                    <a:pt x="28" y="14"/>
                  </a:moveTo>
                  <a:cubicBezTo>
                    <a:pt x="21" y="11"/>
                    <a:pt x="11" y="4"/>
                    <a:pt x="0" y="0"/>
                  </a:cubicBezTo>
                  <a:cubicBezTo>
                    <a:pt x="11" y="4"/>
                    <a:pt x="21" y="11"/>
                    <a:pt x="28" y="14"/>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482" name="Google Shape;3482;p104"/>
            <p:cNvSpPr/>
            <p:nvPr/>
          </p:nvSpPr>
          <p:spPr>
            <a:xfrm>
              <a:off x="2156760" y="1951591"/>
              <a:ext cx="204" cy="339"/>
            </a:xfrm>
            <a:custGeom>
              <a:avLst/>
              <a:gdLst/>
              <a:ahLst/>
              <a:cxnLst/>
              <a:rect l="l" t="t" r="r" b="b"/>
              <a:pathLst>
                <a:path w="15" h="25" extrusionOk="0">
                  <a:moveTo>
                    <a:pt x="1" y="0"/>
                  </a:moveTo>
                  <a:cubicBezTo>
                    <a:pt x="4" y="7"/>
                    <a:pt x="11" y="14"/>
                    <a:pt x="15" y="25"/>
                  </a:cubicBezTo>
                  <a:cubicBezTo>
                    <a:pt x="11" y="14"/>
                    <a:pt x="4" y="7"/>
                    <a:pt x="1"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483" name="Google Shape;3483;p104"/>
            <p:cNvSpPr/>
            <p:nvPr/>
          </p:nvSpPr>
          <p:spPr>
            <a:xfrm>
              <a:off x="2115172" y="2000918"/>
              <a:ext cx="14" cy="109"/>
            </a:xfrm>
            <a:custGeom>
              <a:avLst/>
              <a:gdLst/>
              <a:ahLst/>
              <a:cxnLst/>
              <a:rect l="l" t="t" r="r" b="b"/>
              <a:pathLst>
                <a:path w="1" h="8" extrusionOk="0">
                  <a:moveTo>
                    <a:pt x="0" y="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484" name="Google Shape;3484;p104"/>
            <p:cNvSpPr/>
            <p:nvPr/>
          </p:nvSpPr>
          <p:spPr>
            <a:xfrm>
              <a:off x="2153487" y="1948645"/>
              <a:ext cx="14" cy="299"/>
            </a:xfrm>
            <a:custGeom>
              <a:avLst/>
              <a:gdLst/>
              <a:ahLst/>
              <a:cxnLst/>
              <a:rect l="l" t="t" r="r" b="b"/>
              <a:pathLst>
                <a:path w="1" h="22" extrusionOk="0">
                  <a:moveTo>
                    <a:pt x="0" y="21"/>
                  </a:moveTo>
                  <a:lnTo>
                    <a:pt x="0"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485" name="Google Shape;3485;p104"/>
            <p:cNvSpPr/>
            <p:nvPr/>
          </p:nvSpPr>
          <p:spPr>
            <a:xfrm>
              <a:off x="2156434" y="1951347"/>
              <a:ext cx="299" cy="258"/>
            </a:xfrm>
            <a:custGeom>
              <a:avLst/>
              <a:gdLst/>
              <a:ahLst/>
              <a:cxnLst/>
              <a:rect l="l" t="t" r="r" b="b"/>
              <a:pathLst>
                <a:path w="22" h="19" extrusionOk="0">
                  <a:moveTo>
                    <a:pt x="21" y="18"/>
                  </a:moveTo>
                  <a:cubicBezTo>
                    <a:pt x="14" y="11"/>
                    <a:pt x="7" y="8"/>
                    <a:pt x="0" y="1"/>
                  </a:cubicBezTo>
                  <a:cubicBezTo>
                    <a:pt x="7" y="8"/>
                    <a:pt x="14" y="11"/>
                    <a:pt x="21" y="18"/>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486" name="Google Shape;3486;p104"/>
            <p:cNvSpPr/>
            <p:nvPr/>
          </p:nvSpPr>
          <p:spPr>
            <a:xfrm>
              <a:off x="2113597" y="2006825"/>
              <a:ext cx="109" cy="204"/>
            </a:xfrm>
            <a:custGeom>
              <a:avLst/>
              <a:gdLst/>
              <a:ahLst/>
              <a:cxnLst/>
              <a:rect l="l" t="t" r="r" b="b"/>
              <a:pathLst>
                <a:path w="8" h="15" extrusionOk="0">
                  <a:moveTo>
                    <a:pt x="1" y="14"/>
                  </a:moveTo>
                  <a:lnTo>
                    <a:pt x="8"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487" name="Google Shape;3487;p104"/>
            <p:cNvSpPr/>
            <p:nvPr/>
          </p:nvSpPr>
          <p:spPr>
            <a:xfrm>
              <a:off x="2114506" y="2003824"/>
              <a:ext cx="54" cy="244"/>
            </a:xfrm>
            <a:custGeom>
              <a:avLst/>
              <a:gdLst/>
              <a:ahLst/>
              <a:cxnLst/>
              <a:rect l="l" t="t" r="r" b="b"/>
              <a:pathLst>
                <a:path w="4" h="18" extrusionOk="0">
                  <a:moveTo>
                    <a:pt x="0" y="18"/>
                  </a:moveTo>
                  <a:lnTo>
                    <a:pt x="4"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488" name="Google Shape;3488;p104"/>
            <p:cNvSpPr/>
            <p:nvPr/>
          </p:nvSpPr>
          <p:spPr>
            <a:xfrm>
              <a:off x="2115117" y="2001204"/>
              <a:ext cx="14" cy="163"/>
            </a:xfrm>
            <a:custGeom>
              <a:avLst/>
              <a:gdLst/>
              <a:ahLst/>
              <a:cxnLst/>
              <a:rect l="l" t="t" r="r" b="b"/>
              <a:pathLst>
                <a:path w="1" h="12" extrusionOk="0">
                  <a:moveTo>
                    <a:pt x="1" y="1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489" name="Google Shape;3489;p104"/>
            <p:cNvSpPr/>
            <p:nvPr/>
          </p:nvSpPr>
          <p:spPr>
            <a:xfrm>
              <a:off x="2113977" y="2005535"/>
              <a:ext cx="109" cy="258"/>
            </a:xfrm>
            <a:custGeom>
              <a:avLst/>
              <a:gdLst/>
              <a:ahLst/>
              <a:cxnLst/>
              <a:rect l="l" t="t" r="r" b="b"/>
              <a:pathLst>
                <a:path w="8" h="19" extrusionOk="0">
                  <a:moveTo>
                    <a:pt x="1" y="18"/>
                  </a:moveTo>
                  <a:lnTo>
                    <a:pt x="8"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490" name="Google Shape;3490;p104"/>
            <p:cNvSpPr/>
            <p:nvPr/>
          </p:nvSpPr>
          <p:spPr>
            <a:xfrm>
              <a:off x="2114602" y="2003254"/>
              <a:ext cx="109" cy="244"/>
            </a:xfrm>
            <a:custGeom>
              <a:avLst/>
              <a:gdLst/>
              <a:ahLst/>
              <a:cxnLst/>
              <a:rect l="l" t="t" r="r" b="b"/>
              <a:pathLst>
                <a:path w="8" h="18" extrusionOk="0">
                  <a:moveTo>
                    <a:pt x="0" y="18"/>
                  </a:moveTo>
                  <a:lnTo>
                    <a:pt x="7"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491" name="Google Shape;3491;p104"/>
            <p:cNvSpPr/>
            <p:nvPr/>
          </p:nvSpPr>
          <p:spPr>
            <a:xfrm>
              <a:off x="2114221" y="2004924"/>
              <a:ext cx="54" cy="299"/>
            </a:xfrm>
            <a:custGeom>
              <a:avLst/>
              <a:gdLst/>
              <a:ahLst/>
              <a:cxnLst/>
              <a:rect l="l" t="t" r="r" b="b"/>
              <a:pathLst>
                <a:path w="4" h="22" extrusionOk="0">
                  <a:moveTo>
                    <a:pt x="0" y="21"/>
                  </a:moveTo>
                  <a:lnTo>
                    <a:pt x="4"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492" name="Google Shape;3492;p104"/>
            <p:cNvSpPr/>
            <p:nvPr/>
          </p:nvSpPr>
          <p:spPr>
            <a:xfrm>
              <a:off x="2113787" y="2006159"/>
              <a:ext cx="109" cy="244"/>
            </a:xfrm>
            <a:custGeom>
              <a:avLst/>
              <a:gdLst/>
              <a:ahLst/>
              <a:cxnLst/>
              <a:rect l="l" t="t" r="r" b="b"/>
              <a:pathLst>
                <a:path w="8" h="18" extrusionOk="0">
                  <a:moveTo>
                    <a:pt x="1" y="18"/>
                  </a:moveTo>
                  <a:lnTo>
                    <a:pt x="8"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493" name="Google Shape;3493;p104"/>
            <p:cNvSpPr/>
            <p:nvPr/>
          </p:nvSpPr>
          <p:spPr>
            <a:xfrm>
              <a:off x="2114316" y="2004353"/>
              <a:ext cx="109" cy="244"/>
            </a:xfrm>
            <a:custGeom>
              <a:avLst/>
              <a:gdLst/>
              <a:ahLst/>
              <a:cxnLst/>
              <a:rect l="l" t="t" r="r" b="b"/>
              <a:pathLst>
                <a:path w="8" h="18" extrusionOk="0">
                  <a:moveTo>
                    <a:pt x="0" y="18"/>
                  </a:moveTo>
                  <a:lnTo>
                    <a:pt x="7"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494" name="Google Shape;3494;p104"/>
            <p:cNvSpPr/>
            <p:nvPr/>
          </p:nvSpPr>
          <p:spPr>
            <a:xfrm>
              <a:off x="2114982" y="2001923"/>
              <a:ext cx="14" cy="204"/>
            </a:xfrm>
            <a:custGeom>
              <a:avLst/>
              <a:gdLst/>
              <a:ahLst/>
              <a:cxnLst/>
              <a:rect l="l" t="t" r="r" b="b"/>
              <a:pathLst>
                <a:path w="1" h="15" extrusionOk="0">
                  <a:moveTo>
                    <a:pt x="0" y="1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495" name="Google Shape;3495;p104"/>
            <p:cNvSpPr/>
            <p:nvPr/>
          </p:nvSpPr>
          <p:spPr>
            <a:xfrm>
              <a:off x="2114737" y="2002779"/>
              <a:ext cx="68" cy="244"/>
            </a:xfrm>
            <a:custGeom>
              <a:avLst/>
              <a:gdLst/>
              <a:ahLst/>
              <a:cxnLst/>
              <a:rect l="l" t="t" r="r" b="b"/>
              <a:pathLst>
                <a:path w="5" h="18" extrusionOk="0">
                  <a:moveTo>
                    <a:pt x="1" y="18"/>
                  </a:moveTo>
                  <a:lnTo>
                    <a:pt x="4"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496" name="Google Shape;3496;p104"/>
            <p:cNvSpPr/>
            <p:nvPr/>
          </p:nvSpPr>
          <p:spPr>
            <a:xfrm>
              <a:off x="2114832" y="2002344"/>
              <a:ext cx="68" cy="204"/>
            </a:xfrm>
            <a:custGeom>
              <a:avLst/>
              <a:gdLst/>
              <a:ahLst/>
              <a:cxnLst/>
              <a:rect l="l" t="t" r="r" b="b"/>
              <a:pathLst>
                <a:path w="5" h="15" extrusionOk="0">
                  <a:moveTo>
                    <a:pt x="1" y="15"/>
                  </a:moveTo>
                  <a:lnTo>
                    <a:pt x="4"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497" name="Google Shape;3497;p104"/>
            <p:cNvSpPr/>
            <p:nvPr/>
          </p:nvSpPr>
          <p:spPr>
            <a:xfrm>
              <a:off x="2113366" y="2007490"/>
              <a:ext cx="54" cy="204"/>
            </a:xfrm>
            <a:custGeom>
              <a:avLst/>
              <a:gdLst/>
              <a:ahLst/>
              <a:cxnLst/>
              <a:rect l="l" t="t" r="r" b="b"/>
              <a:pathLst>
                <a:path w="4" h="15" extrusionOk="0">
                  <a:moveTo>
                    <a:pt x="0" y="14"/>
                  </a:moveTo>
                  <a:lnTo>
                    <a:pt x="4"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498" name="Google Shape;3498;p104"/>
            <p:cNvSpPr/>
            <p:nvPr/>
          </p:nvSpPr>
          <p:spPr>
            <a:xfrm>
              <a:off x="2115022" y="2001543"/>
              <a:ext cx="68" cy="204"/>
            </a:xfrm>
            <a:custGeom>
              <a:avLst/>
              <a:gdLst/>
              <a:ahLst/>
              <a:cxnLst/>
              <a:rect l="l" t="t" r="r" b="b"/>
              <a:pathLst>
                <a:path w="5" h="15" extrusionOk="0">
                  <a:moveTo>
                    <a:pt x="1" y="14"/>
                  </a:moveTo>
                  <a:lnTo>
                    <a:pt x="4"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499" name="Google Shape;3499;p104"/>
            <p:cNvSpPr/>
            <p:nvPr/>
          </p:nvSpPr>
          <p:spPr>
            <a:xfrm>
              <a:off x="1985928" y="1964599"/>
              <a:ext cx="43217" cy="44466"/>
            </a:xfrm>
            <a:custGeom>
              <a:avLst/>
              <a:gdLst/>
              <a:ahLst/>
              <a:cxnLst/>
              <a:rect l="l" t="t" r="r" b="b"/>
              <a:pathLst>
                <a:path w="3183" h="3275" extrusionOk="0">
                  <a:moveTo>
                    <a:pt x="1105" y="0"/>
                  </a:moveTo>
                  <a:cubicBezTo>
                    <a:pt x="1094" y="0"/>
                    <a:pt x="1082" y="3"/>
                    <a:pt x="1072" y="8"/>
                  </a:cubicBezTo>
                  <a:cubicBezTo>
                    <a:pt x="1037" y="15"/>
                    <a:pt x="1005" y="40"/>
                    <a:pt x="991" y="75"/>
                  </a:cubicBezTo>
                  <a:cubicBezTo>
                    <a:pt x="960" y="190"/>
                    <a:pt x="834" y="285"/>
                    <a:pt x="732" y="302"/>
                  </a:cubicBezTo>
                  <a:cubicBezTo>
                    <a:pt x="722" y="302"/>
                    <a:pt x="711" y="306"/>
                    <a:pt x="701" y="306"/>
                  </a:cubicBezTo>
                  <a:lnTo>
                    <a:pt x="690" y="306"/>
                  </a:lnTo>
                  <a:cubicBezTo>
                    <a:pt x="680" y="306"/>
                    <a:pt x="669" y="302"/>
                    <a:pt x="655" y="302"/>
                  </a:cubicBezTo>
                  <a:lnTo>
                    <a:pt x="652" y="302"/>
                  </a:lnTo>
                  <a:cubicBezTo>
                    <a:pt x="645" y="299"/>
                    <a:pt x="634" y="295"/>
                    <a:pt x="624" y="292"/>
                  </a:cubicBezTo>
                  <a:lnTo>
                    <a:pt x="617" y="288"/>
                  </a:lnTo>
                  <a:cubicBezTo>
                    <a:pt x="610" y="281"/>
                    <a:pt x="599" y="278"/>
                    <a:pt x="592" y="271"/>
                  </a:cubicBezTo>
                  <a:lnTo>
                    <a:pt x="589" y="264"/>
                  </a:lnTo>
                  <a:cubicBezTo>
                    <a:pt x="578" y="257"/>
                    <a:pt x="571" y="250"/>
                    <a:pt x="564" y="239"/>
                  </a:cubicBezTo>
                  <a:cubicBezTo>
                    <a:pt x="520" y="172"/>
                    <a:pt x="457" y="124"/>
                    <a:pt x="430" y="124"/>
                  </a:cubicBezTo>
                  <a:cubicBezTo>
                    <a:pt x="429" y="124"/>
                    <a:pt x="429" y="124"/>
                    <a:pt x="428" y="124"/>
                  </a:cubicBezTo>
                  <a:cubicBezTo>
                    <a:pt x="417" y="124"/>
                    <a:pt x="407" y="145"/>
                    <a:pt x="407" y="148"/>
                  </a:cubicBezTo>
                  <a:cubicBezTo>
                    <a:pt x="400" y="159"/>
                    <a:pt x="396" y="169"/>
                    <a:pt x="389" y="180"/>
                  </a:cubicBezTo>
                  <a:lnTo>
                    <a:pt x="386" y="187"/>
                  </a:lnTo>
                  <a:cubicBezTo>
                    <a:pt x="382" y="194"/>
                    <a:pt x="375" y="197"/>
                    <a:pt x="372" y="204"/>
                  </a:cubicBezTo>
                  <a:lnTo>
                    <a:pt x="365" y="211"/>
                  </a:lnTo>
                  <a:lnTo>
                    <a:pt x="354" y="222"/>
                  </a:lnTo>
                  <a:lnTo>
                    <a:pt x="347" y="229"/>
                  </a:lnTo>
                  <a:lnTo>
                    <a:pt x="333" y="239"/>
                  </a:lnTo>
                  <a:lnTo>
                    <a:pt x="323" y="246"/>
                  </a:lnTo>
                  <a:lnTo>
                    <a:pt x="316" y="253"/>
                  </a:lnTo>
                  <a:lnTo>
                    <a:pt x="302" y="257"/>
                  </a:lnTo>
                  <a:lnTo>
                    <a:pt x="298" y="257"/>
                  </a:lnTo>
                  <a:cubicBezTo>
                    <a:pt x="288" y="260"/>
                    <a:pt x="274" y="264"/>
                    <a:pt x="260" y="267"/>
                  </a:cubicBezTo>
                  <a:lnTo>
                    <a:pt x="242" y="267"/>
                  </a:lnTo>
                  <a:cubicBezTo>
                    <a:pt x="232" y="267"/>
                    <a:pt x="218" y="264"/>
                    <a:pt x="207" y="260"/>
                  </a:cubicBezTo>
                  <a:lnTo>
                    <a:pt x="204" y="274"/>
                  </a:lnTo>
                  <a:lnTo>
                    <a:pt x="200" y="285"/>
                  </a:lnTo>
                  <a:lnTo>
                    <a:pt x="200" y="295"/>
                  </a:lnTo>
                  <a:lnTo>
                    <a:pt x="197" y="313"/>
                  </a:lnTo>
                  <a:lnTo>
                    <a:pt x="197" y="320"/>
                  </a:lnTo>
                  <a:lnTo>
                    <a:pt x="193" y="337"/>
                  </a:lnTo>
                  <a:lnTo>
                    <a:pt x="193" y="344"/>
                  </a:lnTo>
                  <a:cubicBezTo>
                    <a:pt x="193" y="355"/>
                    <a:pt x="193" y="362"/>
                    <a:pt x="190" y="372"/>
                  </a:cubicBezTo>
                  <a:cubicBezTo>
                    <a:pt x="190" y="379"/>
                    <a:pt x="186" y="390"/>
                    <a:pt x="186" y="397"/>
                  </a:cubicBezTo>
                  <a:lnTo>
                    <a:pt x="186" y="404"/>
                  </a:lnTo>
                  <a:lnTo>
                    <a:pt x="186" y="421"/>
                  </a:lnTo>
                  <a:lnTo>
                    <a:pt x="186" y="428"/>
                  </a:lnTo>
                  <a:lnTo>
                    <a:pt x="186" y="446"/>
                  </a:lnTo>
                  <a:lnTo>
                    <a:pt x="186" y="453"/>
                  </a:lnTo>
                  <a:lnTo>
                    <a:pt x="186" y="470"/>
                  </a:lnTo>
                  <a:lnTo>
                    <a:pt x="186" y="474"/>
                  </a:lnTo>
                  <a:lnTo>
                    <a:pt x="186" y="495"/>
                  </a:lnTo>
                  <a:lnTo>
                    <a:pt x="186" y="498"/>
                  </a:lnTo>
                  <a:lnTo>
                    <a:pt x="186" y="509"/>
                  </a:lnTo>
                  <a:lnTo>
                    <a:pt x="186" y="516"/>
                  </a:lnTo>
                  <a:lnTo>
                    <a:pt x="186" y="523"/>
                  </a:lnTo>
                  <a:lnTo>
                    <a:pt x="186" y="530"/>
                  </a:lnTo>
                  <a:cubicBezTo>
                    <a:pt x="186" y="530"/>
                    <a:pt x="190" y="533"/>
                    <a:pt x="190" y="537"/>
                  </a:cubicBezTo>
                  <a:cubicBezTo>
                    <a:pt x="193" y="540"/>
                    <a:pt x="193" y="544"/>
                    <a:pt x="197" y="544"/>
                  </a:cubicBezTo>
                  <a:cubicBezTo>
                    <a:pt x="312" y="610"/>
                    <a:pt x="368" y="747"/>
                    <a:pt x="326" y="873"/>
                  </a:cubicBezTo>
                  <a:cubicBezTo>
                    <a:pt x="340" y="901"/>
                    <a:pt x="354" y="929"/>
                    <a:pt x="372" y="954"/>
                  </a:cubicBezTo>
                  <a:cubicBezTo>
                    <a:pt x="424" y="1041"/>
                    <a:pt x="494" y="1157"/>
                    <a:pt x="407" y="1244"/>
                  </a:cubicBezTo>
                  <a:cubicBezTo>
                    <a:pt x="374" y="1277"/>
                    <a:pt x="338" y="1288"/>
                    <a:pt x="305" y="1288"/>
                  </a:cubicBezTo>
                  <a:cubicBezTo>
                    <a:pt x="268" y="1288"/>
                    <a:pt x="233" y="1274"/>
                    <a:pt x="207" y="1265"/>
                  </a:cubicBezTo>
                  <a:cubicBezTo>
                    <a:pt x="197" y="1262"/>
                    <a:pt x="183" y="1255"/>
                    <a:pt x="169" y="1251"/>
                  </a:cubicBezTo>
                  <a:cubicBezTo>
                    <a:pt x="169" y="1255"/>
                    <a:pt x="165" y="1258"/>
                    <a:pt x="165" y="1262"/>
                  </a:cubicBezTo>
                  <a:cubicBezTo>
                    <a:pt x="151" y="1290"/>
                    <a:pt x="165" y="1318"/>
                    <a:pt x="193" y="1374"/>
                  </a:cubicBezTo>
                  <a:cubicBezTo>
                    <a:pt x="221" y="1433"/>
                    <a:pt x="270" y="1517"/>
                    <a:pt x="207" y="1601"/>
                  </a:cubicBezTo>
                  <a:cubicBezTo>
                    <a:pt x="186" y="1629"/>
                    <a:pt x="162" y="1654"/>
                    <a:pt x="134" y="1678"/>
                  </a:cubicBezTo>
                  <a:cubicBezTo>
                    <a:pt x="109" y="1696"/>
                    <a:pt x="88" y="1720"/>
                    <a:pt x="71" y="1752"/>
                  </a:cubicBezTo>
                  <a:cubicBezTo>
                    <a:pt x="64" y="1776"/>
                    <a:pt x="57" y="1804"/>
                    <a:pt x="60" y="1829"/>
                  </a:cubicBezTo>
                  <a:lnTo>
                    <a:pt x="60" y="1853"/>
                  </a:lnTo>
                  <a:cubicBezTo>
                    <a:pt x="85" y="2042"/>
                    <a:pt x="74" y="2165"/>
                    <a:pt x="25" y="2249"/>
                  </a:cubicBezTo>
                  <a:cubicBezTo>
                    <a:pt x="18" y="2259"/>
                    <a:pt x="8" y="2270"/>
                    <a:pt x="1" y="2280"/>
                  </a:cubicBezTo>
                  <a:lnTo>
                    <a:pt x="15" y="2287"/>
                  </a:lnTo>
                  <a:cubicBezTo>
                    <a:pt x="50" y="2305"/>
                    <a:pt x="99" y="2333"/>
                    <a:pt x="151" y="2364"/>
                  </a:cubicBezTo>
                  <a:cubicBezTo>
                    <a:pt x="183" y="2385"/>
                    <a:pt x="214" y="2403"/>
                    <a:pt x="249" y="2424"/>
                  </a:cubicBezTo>
                  <a:cubicBezTo>
                    <a:pt x="421" y="2525"/>
                    <a:pt x="631" y="2648"/>
                    <a:pt x="606" y="2840"/>
                  </a:cubicBezTo>
                  <a:cubicBezTo>
                    <a:pt x="596" y="2914"/>
                    <a:pt x="575" y="2984"/>
                    <a:pt x="543" y="3047"/>
                  </a:cubicBezTo>
                  <a:lnTo>
                    <a:pt x="533" y="3072"/>
                  </a:lnTo>
                  <a:lnTo>
                    <a:pt x="529" y="3082"/>
                  </a:lnTo>
                  <a:lnTo>
                    <a:pt x="522" y="3096"/>
                  </a:lnTo>
                  <a:lnTo>
                    <a:pt x="519" y="3107"/>
                  </a:lnTo>
                  <a:lnTo>
                    <a:pt x="512" y="3124"/>
                  </a:lnTo>
                  <a:lnTo>
                    <a:pt x="505" y="3138"/>
                  </a:lnTo>
                  <a:lnTo>
                    <a:pt x="498" y="3159"/>
                  </a:lnTo>
                  <a:lnTo>
                    <a:pt x="494" y="3170"/>
                  </a:lnTo>
                  <a:cubicBezTo>
                    <a:pt x="491" y="3180"/>
                    <a:pt x="487" y="3191"/>
                    <a:pt x="484" y="3205"/>
                  </a:cubicBezTo>
                  <a:lnTo>
                    <a:pt x="480" y="3219"/>
                  </a:lnTo>
                  <a:lnTo>
                    <a:pt x="470" y="3243"/>
                  </a:lnTo>
                  <a:lnTo>
                    <a:pt x="466" y="3261"/>
                  </a:lnTo>
                  <a:lnTo>
                    <a:pt x="463" y="3275"/>
                  </a:lnTo>
                  <a:cubicBezTo>
                    <a:pt x="627" y="3261"/>
                    <a:pt x="851" y="3198"/>
                    <a:pt x="1103" y="3131"/>
                  </a:cubicBezTo>
                  <a:cubicBezTo>
                    <a:pt x="1366" y="3061"/>
                    <a:pt x="1660" y="2981"/>
                    <a:pt x="1982" y="2925"/>
                  </a:cubicBezTo>
                  <a:cubicBezTo>
                    <a:pt x="2116" y="2901"/>
                    <a:pt x="2251" y="2890"/>
                    <a:pt x="2386" y="2890"/>
                  </a:cubicBezTo>
                  <a:cubicBezTo>
                    <a:pt x="2594" y="2890"/>
                    <a:pt x="2803" y="2917"/>
                    <a:pt x="3004" y="2970"/>
                  </a:cubicBezTo>
                  <a:lnTo>
                    <a:pt x="3008" y="2949"/>
                  </a:lnTo>
                  <a:lnTo>
                    <a:pt x="3011" y="2939"/>
                  </a:lnTo>
                  <a:cubicBezTo>
                    <a:pt x="3011" y="2928"/>
                    <a:pt x="3015" y="2914"/>
                    <a:pt x="3015" y="2907"/>
                  </a:cubicBezTo>
                  <a:lnTo>
                    <a:pt x="3015" y="2900"/>
                  </a:lnTo>
                  <a:lnTo>
                    <a:pt x="3015" y="2879"/>
                  </a:lnTo>
                  <a:lnTo>
                    <a:pt x="3015" y="2872"/>
                  </a:lnTo>
                  <a:lnTo>
                    <a:pt x="3015" y="2858"/>
                  </a:lnTo>
                  <a:lnTo>
                    <a:pt x="3015" y="2851"/>
                  </a:lnTo>
                  <a:lnTo>
                    <a:pt x="3015" y="2840"/>
                  </a:lnTo>
                  <a:lnTo>
                    <a:pt x="3015" y="2837"/>
                  </a:lnTo>
                  <a:cubicBezTo>
                    <a:pt x="3015" y="2833"/>
                    <a:pt x="3015" y="2833"/>
                    <a:pt x="3015" y="2830"/>
                  </a:cubicBezTo>
                  <a:lnTo>
                    <a:pt x="3015" y="2826"/>
                  </a:lnTo>
                  <a:cubicBezTo>
                    <a:pt x="3015" y="2826"/>
                    <a:pt x="3015" y="2823"/>
                    <a:pt x="3015" y="2823"/>
                  </a:cubicBezTo>
                  <a:cubicBezTo>
                    <a:pt x="2994" y="2795"/>
                    <a:pt x="2976" y="2763"/>
                    <a:pt x="2962" y="2735"/>
                  </a:cubicBezTo>
                  <a:lnTo>
                    <a:pt x="2941" y="2697"/>
                  </a:lnTo>
                  <a:cubicBezTo>
                    <a:pt x="2885" y="2574"/>
                    <a:pt x="2836" y="2452"/>
                    <a:pt x="2798" y="2322"/>
                  </a:cubicBezTo>
                  <a:cubicBezTo>
                    <a:pt x="2791" y="2301"/>
                    <a:pt x="2784" y="2280"/>
                    <a:pt x="2780" y="2259"/>
                  </a:cubicBezTo>
                  <a:cubicBezTo>
                    <a:pt x="2777" y="2238"/>
                    <a:pt x="2773" y="2217"/>
                    <a:pt x="2770" y="2196"/>
                  </a:cubicBezTo>
                  <a:cubicBezTo>
                    <a:pt x="2770" y="2186"/>
                    <a:pt x="2770" y="2179"/>
                    <a:pt x="2770" y="2168"/>
                  </a:cubicBezTo>
                  <a:cubicBezTo>
                    <a:pt x="2791" y="2095"/>
                    <a:pt x="2819" y="2025"/>
                    <a:pt x="2857" y="1962"/>
                  </a:cubicBezTo>
                  <a:cubicBezTo>
                    <a:pt x="2910" y="1860"/>
                    <a:pt x="2983" y="1717"/>
                    <a:pt x="2976" y="1650"/>
                  </a:cubicBezTo>
                  <a:cubicBezTo>
                    <a:pt x="2969" y="1542"/>
                    <a:pt x="3043" y="1461"/>
                    <a:pt x="3102" y="1398"/>
                  </a:cubicBezTo>
                  <a:cubicBezTo>
                    <a:pt x="3141" y="1353"/>
                    <a:pt x="3183" y="1311"/>
                    <a:pt x="3183" y="1279"/>
                  </a:cubicBezTo>
                  <a:lnTo>
                    <a:pt x="3183" y="1258"/>
                  </a:lnTo>
                  <a:lnTo>
                    <a:pt x="3183" y="1248"/>
                  </a:lnTo>
                  <a:lnTo>
                    <a:pt x="3183" y="1230"/>
                  </a:lnTo>
                  <a:lnTo>
                    <a:pt x="3183" y="1216"/>
                  </a:lnTo>
                  <a:lnTo>
                    <a:pt x="3183" y="1195"/>
                  </a:lnTo>
                  <a:lnTo>
                    <a:pt x="3183" y="1178"/>
                  </a:lnTo>
                  <a:lnTo>
                    <a:pt x="3179" y="1153"/>
                  </a:lnTo>
                  <a:lnTo>
                    <a:pt x="3179" y="1132"/>
                  </a:lnTo>
                  <a:cubicBezTo>
                    <a:pt x="3179" y="1125"/>
                    <a:pt x="3179" y="1118"/>
                    <a:pt x="3176" y="1108"/>
                  </a:cubicBezTo>
                  <a:lnTo>
                    <a:pt x="3172" y="1087"/>
                  </a:lnTo>
                  <a:lnTo>
                    <a:pt x="3169" y="1059"/>
                  </a:lnTo>
                  <a:lnTo>
                    <a:pt x="3162" y="1034"/>
                  </a:lnTo>
                  <a:lnTo>
                    <a:pt x="3158" y="1006"/>
                  </a:lnTo>
                  <a:lnTo>
                    <a:pt x="3155" y="978"/>
                  </a:lnTo>
                  <a:lnTo>
                    <a:pt x="3148" y="947"/>
                  </a:lnTo>
                  <a:lnTo>
                    <a:pt x="3141" y="922"/>
                  </a:lnTo>
                  <a:lnTo>
                    <a:pt x="3137" y="891"/>
                  </a:lnTo>
                  <a:lnTo>
                    <a:pt x="3130" y="863"/>
                  </a:lnTo>
                  <a:lnTo>
                    <a:pt x="3123" y="828"/>
                  </a:lnTo>
                  <a:lnTo>
                    <a:pt x="3116" y="799"/>
                  </a:lnTo>
                  <a:lnTo>
                    <a:pt x="3109" y="768"/>
                  </a:lnTo>
                  <a:lnTo>
                    <a:pt x="3102" y="740"/>
                  </a:lnTo>
                  <a:lnTo>
                    <a:pt x="3092" y="705"/>
                  </a:lnTo>
                  <a:lnTo>
                    <a:pt x="3085" y="677"/>
                  </a:lnTo>
                  <a:lnTo>
                    <a:pt x="3074" y="645"/>
                  </a:lnTo>
                  <a:lnTo>
                    <a:pt x="3067" y="617"/>
                  </a:lnTo>
                  <a:lnTo>
                    <a:pt x="3057" y="586"/>
                  </a:lnTo>
                  <a:lnTo>
                    <a:pt x="3046" y="558"/>
                  </a:lnTo>
                  <a:lnTo>
                    <a:pt x="3036" y="526"/>
                  </a:lnTo>
                  <a:lnTo>
                    <a:pt x="3025" y="502"/>
                  </a:lnTo>
                  <a:lnTo>
                    <a:pt x="3022" y="491"/>
                  </a:lnTo>
                  <a:cubicBezTo>
                    <a:pt x="3004" y="491"/>
                    <a:pt x="2990" y="488"/>
                    <a:pt x="2976" y="484"/>
                  </a:cubicBezTo>
                  <a:lnTo>
                    <a:pt x="2969" y="481"/>
                  </a:lnTo>
                  <a:cubicBezTo>
                    <a:pt x="2966" y="477"/>
                    <a:pt x="2959" y="474"/>
                    <a:pt x="2952" y="470"/>
                  </a:cubicBezTo>
                  <a:lnTo>
                    <a:pt x="2938" y="460"/>
                  </a:lnTo>
                  <a:lnTo>
                    <a:pt x="2927" y="453"/>
                  </a:lnTo>
                  <a:cubicBezTo>
                    <a:pt x="2917" y="446"/>
                    <a:pt x="2910" y="439"/>
                    <a:pt x="2903" y="432"/>
                  </a:cubicBezTo>
                  <a:lnTo>
                    <a:pt x="2899" y="428"/>
                  </a:lnTo>
                  <a:cubicBezTo>
                    <a:pt x="2855" y="400"/>
                    <a:pt x="2803" y="386"/>
                    <a:pt x="2749" y="386"/>
                  </a:cubicBezTo>
                  <a:cubicBezTo>
                    <a:pt x="2743" y="386"/>
                    <a:pt x="2737" y="386"/>
                    <a:pt x="2731" y="386"/>
                  </a:cubicBezTo>
                  <a:lnTo>
                    <a:pt x="2696" y="386"/>
                  </a:lnTo>
                  <a:cubicBezTo>
                    <a:pt x="2546" y="390"/>
                    <a:pt x="2409" y="439"/>
                    <a:pt x="2346" y="505"/>
                  </a:cubicBezTo>
                  <a:cubicBezTo>
                    <a:pt x="2339" y="516"/>
                    <a:pt x="2329" y="526"/>
                    <a:pt x="2318" y="533"/>
                  </a:cubicBezTo>
                  <a:lnTo>
                    <a:pt x="2315" y="537"/>
                  </a:lnTo>
                  <a:cubicBezTo>
                    <a:pt x="2304" y="544"/>
                    <a:pt x="2294" y="551"/>
                    <a:pt x="2280" y="554"/>
                  </a:cubicBezTo>
                  <a:lnTo>
                    <a:pt x="2276" y="554"/>
                  </a:lnTo>
                  <a:cubicBezTo>
                    <a:pt x="2266" y="561"/>
                    <a:pt x="2252" y="565"/>
                    <a:pt x="2241" y="568"/>
                  </a:cubicBezTo>
                  <a:lnTo>
                    <a:pt x="2238" y="568"/>
                  </a:lnTo>
                  <a:cubicBezTo>
                    <a:pt x="2224" y="568"/>
                    <a:pt x="2210" y="572"/>
                    <a:pt x="2196" y="572"/>
                  </a:cubicBezTo>
                  <a:lnTo>
                    <a:pt x="2175" y="572"/>
                  </a:lnTo>
                  <a:cubicBezTo>
                    <a:pt x="1989" y="554"/>
                    <a:pt x="1793" y="327"/>
                    <a:pt x="1758" y="267"/>
                  </a:cubicBezTo>
                  <a:cubicBezTo>
                    <a:pt x="1755" y="260"/>
                    <a:pt x="1751" y="257"/>
                    <a:pt x="1744" y="250"/>
                  </a:cubicBezTo>
                  <a:cubicBezTo>
                    <a:pt x="1692" y="187"/>
                    <a:pt x="1622" y="141"/>
                    <a:pt x="1541" y="124"/>
                  </a:cubicBezTo>
                  <a:cubicBezTo>
                    <a:pt x="1531" y="122"/>
                    <a:pt x="1522" y="121"/>
                    <a:pt x="1512" y="121"/>
                  </a:cubicBezTo>
                  <a:cubicBezTo>
                    <a:pt x="1484" y="121"/>
                    <a:pt x="1456" y="129"/>
                    <a:pt x="1433" y="145"/>
                  </a:cubicBezTo>
                  <a:cubicBezTo>
                    <a:pt x="1373" y="187"/>
                    <a:pt x="1307" y="225"/>
                    <a:pt x="1250" y="225"/>
                  </a:cubicBezTo>
                  <a:cubicBezTo>
                    <a:pt x="1229" y="225"/>
                    <a:pt x="1208" y="218"/>
                    <a:pt x="1194" y="208"/>
                  </a:cubicBezTo>
                  <a:cubicBezTo>
                    <a:pt x="1121" y="166"/>
                    <a:pt x="1131" y="57"/>
                    <a:pt x="1135" y="19"/>
                  </a:cubicBezTo>
                  <a:cubicBezTo>
                    <a:pt x="1138" y="15"/>
                    <a:pt x="1138" y="12"/>
                    <a:pt x="1135" y="8"/>
                  </a:cubicBezTo>
                  <a:cubicBezTo>
                    <a:pt x="1126" y="3"/>
                    <a:pt x="1116" y="0"/>
                    <a:pt x="1105"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500" name="Google Shape;3500;p104"/>
            <p:cNvSpPr/>
            <p:nvPr/>
          </p:nvSpPr>
          <p:spPr>
            <a:xfrm>
              <a:off x="2025044" y="1961747"/>
              <a:ext cx="29585" cy="45417"/>
            </a:xfrm>
            <a:custGeom>
              <a:avLst/>
              <a:gdLst/>
              <a:ahLst/>
              <a:cxnLst/>
              <a:rect l="l" t="t" r="r" b="b"/>
              <a:pathLst>
                <a:path w="2179" h="3345" extrusionOk="0">
                  <a:moveTo>
                    <a:pt x="563" y="0"/>
                  </a:moveTo>
                  <a:cubicBezTo>
                    <a:pt x="454" y="0"/>
                    <a:pt x="343" y="8"/>
                    <a:pt x="235" y="22"/>
                  </a:cubicBezTo>
                  <a:cubicBezTo>
                    <a:pt x="225" y="26"/>
                    <a:pt x="214" y="29"/>
                    <a:pt x="200" y="33"/>
                  </a:cubicBezTo>
                  <a:cubicBezTo>
                    <a:pt x="190" y="78"/>
                    <a:pt x="239" y="232"/>
                    <a:pt x="260" y="306"/>
                  </a:cubicBezTo>
                  <a:cubicBezTo>
                    <a:pt x="298" y="425"/>
                    <a:pt x="319" y="498"/>
                    <a:pt x="312" y="551"/>
                  </a:cubicBezTo>
                  <a:cubicBezTo>
                    <a:pt x="309" y="561"/>
                    <a:pt x="305" y="575"/>
                    <a:pt x="302" y="586"/>
                  </a:cubicBezTo>
                  <a:lnTo>
                    <a:pt x="302" y="593"/>
                  </a:lnTo>
                  <a:cubicBezTo>
                    <a:pt x="298" y="600"/>
                    <a:pt x="295" y="610"/>
                    <a:pt x="291" y="617"/>
                  </a:cubicBezTo>
                  <a:lnTo>
                    <a:pt x="291" y="621"/>
                  </a:lnTo>
                  <a:cubicBezTo>
                    <a:pt x="284" y="642"/>
                    <a:pt x="270" y="656"/>
                    <a:pt x="256" y="670"/>
                  </a:cubicBezTo>
                  <a:lnTo>
                    <a:pt x="260" y="684"/>
                  </a:lnTo>
                  <a:cubicBezTo>
                    <a:pt x="267" y="698"/>
                    <a:pt x="274" y="715"/>
                    <a:pt x="277" y="733"/>
                  </a:cubicBezTo>
                  <a:lnTo>
                    <a:pt x="284" y="754"/>
                  </a:lnTo>
                  <a:cubicBezTo>
                    <a:pt x="291" y="768"/>
                    <a:pt x="295" y="782"/>
                    <a:pt x="298" y="792"/>
                  </a:cubicBezTo>
                  <a:lnTo>
                    <a:pt x="305" y="820"/>
                  </a:lnTo>
                  <a:cubicBezTo>
                    <a:pt x="312" y="831"/>
                    <a:pt x="316" y="845"/>
                    <a:pt x="319" y="859"/>
                  </a:cubicBezTo>
                  <a:lnTo>
                    <a:pt x="326" y="883"/>
                  </a:lnTo>
                  <a:cubicBezTo>
                    <a:pt x="330" y="897"/>
                    <a:pt x="333" y="911"/>
                    <a:pt x="337" y="922"/>
                  </a:cubicBezTo>
                  <a:lnTo>
                    <a:pt x="344" y="950"/>
                  </a:lnTo>
                  <a:cubicBezTo>
                    <a:pt x="347" y="960"/>
                    <a:pt x="347" y="974"/>
                    <a:pt x="351" y="988"/>
                  </a:cubicBezTo>
                  <a:lnTo>
                    <a:pt x="358" y="1013"/>
                  </a:lnTo>
                  <a:lnTo>
                    <a:pt x="365" y="1052"/>
                  </a:lnTo>
                  <a:lnTo>
                    <a:pt x="372" y="1076"/>
                  </a:lnTo>
                  <a:lnTo>
                    <a:pt x="379" y="1115"/>
                  </a:lnTo>
                  <a:lnTo>
                    <a:pt x="386" y="1139"/>
                  </a:lnTo>
                  <a:lnTo>
                    <a:pt x="389" y="1174"/>
                  </a:lnTo>
                  <a:lnTo>
                    <a:pt x="396" y="1199"/>
                  </a:lnTo>
                  <a:lnTo>
                    <a:pt x="400" y="1230"/>
                  </a:lnTo>
                  <a:lnTo>
                    <a:pt x="403" y="1255"/>
                  </a:lnTo>
                  <a:lnTo>
                    <a:pt x="407" y="1286"/>
                  </a:lnTo>
                  <a:lnTo>
                    <a:pt x="410" y="1307"/>
                  </a:lnTo>
                  <a:cubicBezTo>
                    <a:pt x="410" y="1318"/>
                    <a:pt x="414" y="1328"/>
                    <a:pt x="414" y="1335"/>
                  </a:cubicBezTo>
                  <a:lnTo>
                    <a:pt x="417" y="1356"/>
                  </a:lnTo>
                  <a:cubicBezTo>
                    <a:pt x="417" y="1363"/>
                    <a:pt x="417" y="1374"/>
                    <a:pt x="421" y="1381"/>
                  </a:cubicBezTo>
                  <a:cubicBezTo>
                    <a:pt x="424" y="1388"/>
                    <a:pt x="421" y="1391"/>
                    <a:pt x="421" y="1398"/>
                  </a:cubicBezTo>
                  <a:lnTo>
                    <a:pt x="421" y="1419"/>
                  </a:lnTo>
                  <a:lnTo>
                    <a:pt x="421" y="1433"/>
                  </a:lnTo>
                  <a:lnTo>
                    <a:pt x="421" y="1454"/>
                  </a:lnTo>
                  <a:lnTo>
                    <a:pt x="421" y="1465"/>
                  </a:lnTo>
                  <a:lnTo>
                    <a:pt x="421" y="1489"/>
                  </a:lnTo>
                  <a:cubicBezTo>
                    <a:pt x="421" y="1570"/>
                    <a:pt x="361" y="1633"/>
                    <a:pt x="305" y="1692"/>
                  </a:cubicBezTo>
                  <a:cubicBezTo>
                    <a:pt x="256" y="1748"/>
                    <a:pt x="211" y="1797"/>
                    <a:pt x="214" y="1846"/>
                  </a:cubicBezTo>
                  <a:cubicBezTo>
                    <a:pt x="221" y="1951"/>
                    <a:pt x="148" y="2098"/>
                    <a:pt x="81" y="2228"/>
                  </a:cubicBezTo>
                  <a:cubicBezTo>
                    <a:pt x="53" y="2280"/>
                    <a:pt x="29" y="2336"/>
                    <a:pt x="8" y="2392"/>
                  </a:cubicBezTo>
                  <a:cubicBezTo>
                    <a:pt x="1" y="2462"/>
                    <a:pt x="155" y="2854"/>
                    <a:pt x="228" y="2952"/>
                  </a:cubicBezTo>
                  <a:cubicBezTo>
                    <a:pt x="232" y="2959"/>
                    <a:pt x="239" y="2966"/>
                    <a:pt x="242" y="2973"/>
                  </a:cubicBezTo>
                  <a:cubicBezTo>
                    <a:pt x="242" y="2977"/>
                    <a:pt x="242" y="2980"/>
                    <a:pt x="246" y="2984"/>
                  </a:cubicBezTo>
                  <a:cubicBezTo>
                    <a:pt x="246" y="2987"/>
                    <a:pt x="249" y="2994"/>
                    <a:pt x="253" y="3001"/>
                  </a:cubicBezTo>
                  <a:cubicBezTo>
                    <a:pt x="253" y="3005"/>
                    <a:pt x="253" y="3008"/>
                    <a:pt x="253" y="3012"/>
                  </a:cubicBezTo>
                  <a:cubicBezTo>
                    <a:pt x="256" y="3015"/>
                    <a:pt x="256" y="3026"/>
                    <a:pt x="256" y="3033"/>
                  </a:cubicBezTo>
                  <a:cubicBezTo>
                    <a:pt x="260" y="3040"/>
                    <a:pt x="256" y="3040"/>
                    <a:pt x="256" y="3047"/>
                  </a:cubicBezTo>
                  <a:lnTo>
                    <a:pt x="256" y="3068"/>
                  </a:lnTo>
                  <a:lnTo>
                    <a:pt x="256" y="3082"/>
                  </a:lnTo>
                  <a:lnTo>
                    <a:pt x="256" y="3107"/>
                  </a:lnTo>
                  <a:lnTo>
                    <a:pt x="256" y="3124"/>
                  </a:lnTo>
                  <a:cubicBezTo>
                    <a:pt x="256" y="3128"/>
                    <a:pt x="256" y="3145"/>
                    <a:pt x="253" y="3159"/>
                  </a:cubicBezTo>
                  <a:lnTo>
                    <a:pt x="253" y="3166"/>
                  </a:lnTo>
                  <a:cubicBezTo>
                    <a:pt x="249" y="3184"/>
                    <a:pt x="249" y="3198"/>
                    <a:pt x="246" y="3215"/>
                  </a:cubicBezTo>
                  <a:cubicBezTo>
                    <a:pt x="365" y="3254"/>
                    <a:pt x="456" y="3292"/>
                    <a:pt x="519" y="3317"/>
                  </a:cubicBezTo>
                  <a:cubicBezTo>
                    <a:pt x="551" y="3331"/>
                    <a:pt x="582" y="3341"/>
                    <a:pt x="593" y="3345"/>
                  </a:cubicBezTo>
                  <a:cubicBezTo>
                    <a:pt x="680" y="3345"/>
                    <a:pt x="1219" y="3114"/>
                    <a:pt x="1608" y="2921"/>
                  </a:cubicBezTo>
                  <a:cubicBezTo>
                    <a:pt x="1720" y="2865"/>
                    <a:pt x="1839" y="2819"/>
                    <a:pt x="1951" y="2774"/>
                  </a:cubicBezTo>
                  <a:cubicBezTo>
                    <a:pt x="2035" y="2742"/>
                    <a:pt x="2112" y="2714"/>
                    <a:pt x="2178" y="2683"/>
                  </a:cubicBezTo>
                  <a:lnTo>
                    <a:pt x="2178" y="2676"/>
                  </a:lnTo>
                  <a:lnTo>
                    <a:pt x="2168" y="2658"/>
                  </a:lnTo>
                  <a:lnTo>
                    <a:pt x="2164" y="2644"/>
                  </a:lnTo>
                  <a:lnTo>
                    <a:pt x="2154" y="2627"/>
                  </a:lnTo>
                  <a:lnTo>
                    <a:pt x="2147" y="2609"/>
                  </a:lnTo>
                  <a:lnTo>
                    <a:pt x="2136" y="2585"/>
                  </a:lnTo>
                  <a:lnTo>
                    <a:pt x="2126" y="2557"/>
                  </a:lnTo>
                  <a:lnTo>
                    <a:pt x="2119" y="2543"/>
                  </a:lnTo>
                  <a:lnTo>
                    <a:pt x="2108" y="2518"/>
                  </a:lnTo>
                  <a:lnTo>
                    <a:pt x="2101" y="2501"/>
                  </a:lnTo>
                  <a:lnTo>
                    <a:pt x="2091" y="2476"/>
                  </a:lnTo>
                  <a:lnTo>
                    <a:pt x="2084" y="2455"/>
                  </a:lnTo>
                  <a:lnTo>
                    <a:pt x="2077" y="2431"/>
                  </a:lnTo>
                  <a:lnTo>
                    <a:pt x="2070" y="2413"/>
                  </a:lnTo>
                  <a:lnTo>
                    <a:pt x="2059" y="2382"/>
                  </a:lnTo>
                  <a:lnTo>
                    <a:pt x="2056" y="2368"/>
                  </a:lnTo>
                  <a:cubicBezTo>
                    <a:pt x="2049" y="2354"/>
                    <a:pt x="2045" y="2340"/>
                    <a:pt x="2042" y="2326"/>
                  </a:cubicBezTo>
                  <a:lnTo>
                    <a:pt x="2038" y="2312"/>
                  </a:lnTo>
                  <a:cubicBezTo>
                    <a:pt x="2035" y="2301"/>
                    <a:pt x="2031" y="2291"/>
                    <a:pt x="2031" y="2277"/>
                  </a:cubicBezTo>
                  <a:lnTo>
                    <a:pt x="2024" y="2263"/>
                  </a:lnTo>
                  <a:cubicBezTo>
                    <a:pt x="2024" y="2252"/>
                    <a:pt x="2021" y="2242"/>
                    <a:pt x="2021" y="2231"/>
                  </a:cubicBezTo>
                  <a:lnTo>
                    <a:pt x="2017" y="2214"/>
                  </a:lnTo>
                  <a:cubicBezTo>
                    <a:pt x="2017" y="2207"/>
                    <a:pt x="2014" y="2196"/>
                    <a:pt x="2010" y="2186"/>
                  </a:cubicBezTo>
                  <a:cubicBezTo>
                    <a:pt x="2010" y="2179"/>
                    <a:pt x="2010" y="2175"/>
                    <a:pt x="2007" y="2168"/>
                  </a:cubicBezTo>
                  <a:cubicBezTo>
                    <a:pt x="2007" y="2165"/>
                    <a:pt x="2007" y="2151"/>
                    <a:pt x="2007" y="2140"/>
                  </a:cubicBezTo>
                  <a:cubicBezTo>
                    <a:pt x="2003" y="2130"/>
                    <a:pt x="2007" y="2130"/>
                    <a:pt x="2007" y="2126"/>
                  </a:cubicBezTo>
                  <a:lnTo>
                    <a:pt x="2007" y="2081"/>
                  </a:lnTo>
                  <a:cubicBezTo>
                    <a:pt x="2003" y="1832"/>
                    <a:pt x="1954" y="1587"/>
                    <a:pt x="1863" y="1353"/>
                  </a:cubicBezTo>
                  <a:cubicBezTo>
                    <a:pt x="1832" y="1248"/>
                    <a:pt x="1814" y="1132"/>
                    <a:pt x="1821" y="1020"/>
                  </a:cubicBezTo>
                  <a:cubicBezTo>
                    <a:pt x="1821" y="957"/>
                    <a:pt x="1825" y="894"/>
                    <a:pt x="1828" y="831"/>
                  </a:cubicBezTo>
                  <a:cubicBezTo>
                    <a:pt x="1832" y="768"/>
                    <a:pt x="1835" y="708"/>
                    <a:pt x="1839" y="656"/>
                  </a:cubicBezTo>
                  <a:cubicBezTo>
                    <a:pt x="1842" y="621"/>
                    <a:pt x="1846" y="589"/>
                    <a:pt x="1849" y="561"/>
                  </a:cubicBezTo>
                  <a:cubicBezTo>
                    <a:pt x="1856" y="425"/>
                    <a:pt x="1825" y="337"/>
                    <a:pt x="1748" y="295"/>
                  </a:cubicBezTo>
                  <a:lnTo>
                    <a:pt x="1741" y="292"/>
                  </a:lnTo>
                  <a:lnTo>
                    <a:pt x="1737" y="292"/>
                  </a:lnTo>
                  <a:lnTo>
                    <a:pt x="1734" y="288"/>
                  </a:lnTo>
                  <a:lnTo>
                    <a:pt x="1730" y="285"/>
                  </a:lnTo>
                  <a:lnTo>
                    <a:pt x="1727" y="281"/>
                  </a:lnTo>
                  <a:lnTo>
                    <a:pt x="1723" y="278"/>
                  </a:lnTo>
                  <a:lnTo>
                    <a:pt x="1716" y="271"/>
                  </a:lnTo>
                  <a:lnTo>
                    <a:pt x="1716" y="267"/>
                  </a:lnTo>
                  <a:lnTo>
                    <a:pt x="1709" y="260"/>
                  </a:lnTo>
                  <a:lnTo>
                    <a:pt x="1702" y="246"/>
                  </a:lnTo>
                  <a:lnTo>
                    <a:pt x="1702" y="243"/>
                  </a:lnTo>
                  <a:lnTo>
                    <a:pt x="1695" y="232"/>
                  </a:lnTo>
                  <a:lnTo>
                    <a:pt x="1692" y="229"/>
                  </a:lnTo>
                  <a:lnTo>
                    <a:pt x="1688" y="215"/>
                  </a:lnTo>
                  <a:lnTo>
                    <a:pt x="1685" y="208"/>
                  </a:lnTo>
                  <a:lnTo>
                    <a:pt x="1678" y="194"/>
                  </a:lnTo>
                  <a:lnTo>
                    <a:pt x="1674" y="187"/>
                  </a:lnTo>
                  <a:lnTo>
                    <a:pt x="1667" y="166"/>
                  </a:lnTo>
                  <a:lnTo>
                    <a:pt x="1667" y="162"/>
                  </a:lnTo>
                  <a:cubicBezTo>
                    <a:pt x="1667" y="152"/>
                    <a:pt x="1664" y="141"/>
                    <a:pt x="1660" y="131"/>
                  </a:cubicBezTo>
                  <a:lnTo>
                    <a:pt x="1660" y="127"/>
                  </a:lnTo>
                  <a:cubicBezTo>
                    <a:pt x="1657" y="117"/>
                    <a:pt x="1657" y="110"/>
                    <a:pt x="1653" y="99"/>
                  </a:cubicBezTo>
                  <a:lnTo>
                    <a:pt x="1650" y="89"/>
                  </a:lnTo>
                  <a:lnTo>
                    <a:pt x="1643" y="61"/>
                  </a:lnTo>
                  <a:lnTo>
                    <a:pt x="1639" y="47"/>
                  </a:lnTo>
                  <a:lnTo>
                    <a:pt x="1639" y="36"/>
                  </a:lnTo>
                  <a:cubicBezTo>
                    <a:pt x="1625" y="57"/>
                    <a:pt x="1608" y="75"/>
                    <a:pt x="1587" y="89"/>
                  </a:cubicBezTo>
                  <a:cubicBezTo>
                    <a:pt x="1583" y="92"/>
                    <a:pt x="1580" y="96"/>
                    <a:pt x="1573" y="99"/>
                  </a:cubicBezTo>
                  <a:cubicBezTo>
                    <a:pt x="1569" y="99"/>
                    <a:pt x="1566" y="103"/>
                    <a:pt x="1562" y="103"/>
                  </a:cubicBezTo>
                  <a:cubicBezTo>
                    <a:pt x="1556" y="104"/>
                    <a:pt x="1549" y="105"/>
                    <a:pt x="1543" y="105"/>
                  </a:cubicBezTo>
                  <a:cubicBezTo>
                    <a:pt x="1519" y="105"/>
                    <a:pt x="1498" y="95"/>
                    <a:pt x="1482" y="78"/>
                  </a:cubicBezTo>
                  <a:cubicBezTo>
                    <a:pt x="1482" y="75"/>
                    <a:pt x="1478" y="71"/>
                    <a:pt x="1475" y="68"/>
                  </a:cubicBezTo>
                  <a:cubicBezTo>
                    <a:pt x="1440" y="54"/>
                    <a:pt x="1405" y="47"/>
                    <a:pt x="1370" y="43"/>
                  </a:cubicBezTo>
                  <a:cubicBezTo>
                    <a:pt x="1125" y="15"/>
                    <a:pt x="876" y="1"/>
                    <a:pt x="628" y="1"/>
                  </a:cubicBezTo>
                  <a:cubicBezTo>
                    <a:pt x="606" y="1"/>
                    <a:pt x="584" y="0"/>
                    <a:pt x="563"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501" name="Google Shape;3501;p104"/>
            <p:cNvSpPr/>
            <p:nvPr/>
          </p:nvSpPr>
          <p:spPr>
            <a:xfrm>
              <a:off x="2053761" y="1996316"/>
              <a:ext cx="109" cy="244"/>
            </a:xfrm>
            <a:custGeom>
              <a:avLst/>
              <a:gdLst/>
              <a:ahLst/>
              <a:cxnLst/>
              <a:rect l="l" t="t" r="r" b="b"/>
              <a:pathLst>
                <a:path w="8" h="18" extrusionOk="0">
                  <a:moveTo>
                    <a:pt x="0" y="0"/>
                  </a:moveTo>
                  <a:lnTo>
                    <a:pt x="7" y="18"/>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502" name="Google Shape;3502;p104"/>
            <p:cNvSpPr/>
            <p:nvPr/>
          </p:nvSpPr>
          <p:spPr>
            <a:xfrm>
              <a:off x="2053516" y="1995786"/>
              <a:ext cx="109" cy="258"/>
            </a:xfrm>
            <a:custGeom>
              <a:avLst/>
              <a:gdLst/>
              <a:ahLst/>
              <a:cxnLst/>
              <a:rect l="l" t="t" r="r" b="b"/>
              <a:pathLst>
                <a:path w="8" h="19" extrusionOk="0">
                  <a:moveTo>
                    <a:pt x="1" y="1"/>
                  </a:moveTo>
                  <a:lnTo>
                    <a:pt x="8" y="18"/>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503" name="Google Shape;3503;p104"/>
            <p:cNvSpPr/>
            <p:nvPr/>
          </p:nvSpPr>
          <p:spPr>
            <a:xfrm>
              <a:off x="2052905" y="1993980"/>
              <a:ext cx="54" cy="204"/>
            </a:xfrm>
            <a:custGeom>
              <a:avLst/>
              <a:gdLst/>
              <a:ahLst/>
              <a:cxnLst/>
              <a:rect l="l" t="t" r="r" b="b"/>
              <a:pathLst>
                <a:path w="4" h="15" extrusionOk="0">
                  <a:moveTo>
                    <a:pt x="0" y="1"/>
                  </a:moveTo>
                  <a:lnTo>
                    <a:pt x="4" y="15"/>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504" name="Google Shape;3504;p104"/>
            <p:cNvSpPr/>
            <p:nvPr/>
          </p:nvSpPr>
          <p:spPr>
            <a:xfrm>
              <a:off x="2053326" y="1995175"/>
              <a:ext cx="68" cy="244"/>
            </a:xfrm>
            <a:custGeom>
              <a:avLst/>
              <a:gdLst/>
              <a:ahLst/>
              <a:cxnLst/>
              <a:rect l="l" t="t" r="r" b="b"/>
              <a:pathLst>
                <a:path w="5" h="18" extrusionOk="0">
                  <a:moveTo>
                    <a:pt x="1" y="0"/>
                  </a:moveTo>
                  <a:lnTo>
                    <a:pt x="4" y="18"/>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505" name="Google Shape;3505;p104"/>
            <p:cNvSpPr/>
            <p:nvPr/>
          </p:nvSpPr>
          <p:spPr>
            <a:xfrm>
              <a:off x="2053095" y="1994605"/>
              <a:ext cx="109" cy="244"/>
            </a:xfrm>
            <a:custGeom>
              <a:avLst/>
              <a:gdLst/>
              <a:ahLst/>
              <a:cxnLst/>
              <a:rect l="l" t="t" r="r" b="b"/>
              <a:pathLst>
                <a:path w="8" h="18" extrusionOk="0">
                  <a:moveTo>
                    <a:pt x="0" y="0"/>
                  </a:moveTo>
                  <a:lnTo>
                    <a:pt x="7" y="18"/>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506" name="Google Shape;3506;p104"/>
            <p:cNvSpPr/>
            <p:nvPr/>
          </p:nvSpPr>
          <p:spPr>
            <a:xfrm>
              <a:off x="2054277" y="1997497"/>
              <a:ext cx="109" cy="258"/>
            </a:xfrm>
            <a:custGeom>
              <a:avLst/>
              <a:gdLst/>
              <a:ahLst/>
              <a:cxnLst/>
              <a:rect l="l" t="t" r="r" b="b"/>
              <a:pathLst>
                <a:path w="8" h="19" extrusionOk="0">
                  <a:moveTo>
                    <a:pt x="1" y="1"/>
                  </a:moveTo>
                  <a:lnTo>
                    <a:pt x="8" y="18"/>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507" name="Google Shape;3507;p104"/>
            <p:cNvSpPr/>
            <p:nvPr/>
          </p:nvSpPr>
          <p:spPr>
            <a:xfrm>
              <a:off x="2053992" y="1996927"/>
              <a:ext cx="163" cy="299"/>
            </a:xfrm>
            <a:custGeom>
              <a:avLst/>
              <a:gdLst/>
              <a:ahLst/>
              <a:cxnLst/>
              <a:rect l="l" t="t" r="r" b="b"/>
              <a:pathLst>
                <a:path w="12" h="22" extrusionOk="0">
                  <a:moveTo>
                    <a:pt x="1" y="1"/>
                  </a:moveTo>
                  <a:lnTo>
                    <a:pt x="11" y="22"/>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508" name="Google Shape;3508;p104"/>
            <p:cNvSpPr/>
            <p:nvPr/>
          </p:nvSpPr>
          <p:spPr>
            <a:xfrm>
              <a:off x="2054467" y="1997931"/>
              <a:ext cx="109" cy="204"/>
            </a:xfrm>
            <a:custGeom>
              <a:avLst/>
              <a:gdLst/>
              <a:ahLst/>
              <a:cxnLst/>
              <a:rect l="l" t="t" r="r" b="b"/>
              <a:pathLst>
                <a:path w="8" h="15" extrusionOk="0">
                  <a:moveTo>
                    <a:pt x="1" y="0"/>
                  </a:moveTo>
                  <a:lnTo>
                    <a:pt x="8" y="14"/>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509" name="Google Shape;3509;p104"/>
            <p:cNvSpPr/>
            <p:nvPr/>
          </p:nvSpPr>
          <p:spPr>
            <a:xfrm>
              <a:off x="2048004" y="1965087"/>
              <a:ext cx="14" cy="54"/>
            </a:xfrm>
            <a:custGeom>
              <a:avLst/>
              <a:gdLst/>
              <a:ahLst/>
              <a:cxnLst/>
              <a:rect l="l" t="t" r="r" b="b"/>
              <a:pathLst>
                <a:path w="1" h="4" extrusionOk="0">
                  <a:moveTo>
                    <a:pt x="1" y="0"/>
                  </a:moveTo>
                  <a:lnTo>
                    <a:pt x="1" y="4"/>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510" name="Google Shape;3510;p104"/>
            <p:cNvSpPr/>
            <p:nvPr/>
          </p:nvSpPr>
          <p:spPr>
            <a:xfrm>
              <a:off x="2047909" y="1964897"/>
              <a:ext cx="14" cy="54"/>
            </a:xfrm>
            <a:custGeom>
              <a:avLst/>
              <a:gdLst/>
              <a:ahLst/>
              <a:cxnLst/>
              <a:rect l="l" t="t" r="r" b="b"/>
              <a:pathLst>
                <a:path w="1" h="4" extrusionOk="0">
                  <a:moveTo>
                    <a:pt x="1" y="0"/>
                  </a:moveTo>
                  <a:lnTo>
                    <a:pt x="1" y="4"/>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511" name="Google Shape;3511;p104"/>
            <p:cNvSpPr/>
            <p:nvPr/>
          </p:nvSpPr>
          <p:spPr>
            <a:xfrm>
              <a:off x="2048343" y="1965563"/>
              <a:ext cx="54" cy="54"/>
            </a:xfrm>
            <a:custGeom>
              <a:avLst/>
              <a:gdLst/>
              <a:ahLst/>
              <a:cxnLst/>
              <a:rect l="l" t="t" r="r" b="b"/>
              <a:pathLst>
                <a:path w="4" h="4" extrusionOk="0">
                  <a:moveTo>
                    <a:pt x="4"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512" name="Google Shape;3512;p104"/>
            <p:cNvSpPr/>
            <p:nvPr/>
          </p:nvSpPr>
          <p:spPr>
            <a:xfrm>
              <a:off x="2049620" y="1975691"/>
              <a:ext cx="679" cy="4521"/>
            </a:xfrm>
            <a:custGeom>
              <a:avLst/>
              <a:gdLst/>
              <a:ahLst/>
              <a:cxnLst/>
              <a:rect l="l" t="t" r="r" b="b"/>
              <a:pathLst>
                <a:path w="50" h="333" extrusionOk="0">
                  <a:moveTo>
                    <a:pt x="50" y="333"/>
                  </a:moveTo>
                  <a:lnTo>
                    <a:pt x="50" y="333"/>
                  </a:lnTo>
                  <a:cubicBezTo>
                    <a:pt x="15" y="224"/>
                    <a:pt x="1" y="112"/>
                    <a:pt x="4" y="0"/>
                  </a:cubicBezTo>
                  <a:cubicBezTo>
                    <a:pt x="1" y="112"/>
                    <a:pt x="15" y="224"/>
                    <a:pt x="50" y="333"/>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513" name="Google Shape;3513;p104"/>
            <p:cNvSpPr/>
            <p:nvPr/>
          </p:nvSpPr>
          <p:spPr>
            <a:xfrm>
              <a:off x="2052376" y="1991849"/>
              <a:ext cx="68" cy="244"/>
            </a:xfrm>
            <a:custGeom>
              <a:avLst/>
              <a:gdLst/>
              <a:ahLst/>
              <a:cxnLst/>
              <a:rect l="l" t="t" r="r" b="b"/>
              <a:pathLst>
                <a:path w="5" h="18" extrusionOk="0">
                  <a:moveTo>
                    <a:pt x="1" y="0"/>
                  </a:moveTo>
                  <a:lnTo>
                    <a:pt x="4" y="18"/>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514" name="Google Shape;3514;p104"/>
            <p:cNvSpPr/>
            <p:nvPr/>
          </p:nvSpPr>
          <p:spPr>
            <a:xfrm>
              <a:off x="2047393" y="1963472"/>
              <a:ext cx="14" cy="109"/>
            </a:xfrm>
            <a:custGeom>
              <a:avLst/>
              <a:gdLst/>
              <a:ahLst/>
              <a:cxnLst/>
              <a:rect l="l" t="t" r="r" b="b"/>
              <a:pathLst>
                <a:path w="1" h="8" extrusionOk="0">
                  <a:moveTo>
                    <a:pt x="0"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515" name="Google Shape;3515;p104"/>
            <p:cNvSpPr/>
            <p:nvPr/>
          </p:nvSpPr>
          <p:spPr>
            <a:xfrm>
              <a:off x="2047773" y="1964612"/>
              <a:ext cx="54" cy="109"/>
            </a:xfrm>
            <a:custGeom>
              <a:avLst/>
              <a:gdLst/>
              <a:ahLst/>
              <a:cxnLst/>
              <a:rect l="l" t="t" r="r" b="b"/>
              <a:pathLst>
                <a:path w="4" h="8" extrusionOk="0">
                  <a:moveTo>
                    <a:pt x="0" y="0"/>
                  </a:moveTo>
                  <a:lnTo>
                    <a:pt x="4" y="7"/>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516" name="Google Shape;3516;p104"/>
            <p:cNvSpPr/>
            <p:nvPr/>
          </p:nvSpPr>
          <p:spPr>
            <a:xfrm>
              <a:off x="2047529" y="1963947"/>
              <a:ext cx="14" cy="109"/>
            </a:xfrm>
            <a:custGeom>
              <a:avLst/>
              <a:gdLst/>
              <a:ahLst/>
              <a:cxnLst/>
              <a:rect l="l" t="t" r="r" b="b"/>
              <a:pathLst>
                <a:path w="1" h="8" extrusionOk="0">
                  <a:moveTo>
                    <a:pt x="1"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517" name="Google Shape;3517;p104"/>
            <p:cNvSpPr/>
            <p:nvPr/>
          </p:nvSpPr>
          <p:spPr>
            <a:xfrm>
              <a:off x="2047678" y="1964273"/>
              <a:ext cx="14" cy="109"/>
            </a:xfrm>
            <a:custGeom>
              <a:avLst/>
              <a:gdLst/>
              <a:ahLst/>
              <a:cxnLst/>
              <a:rect l="l" t="t" r="r" b="b"/>
              <a:pathLst>
                <a:path w="1" h="8" extrusionOk="0">
                  <a:moveTo>
                    <a:pt x="0" y="1"/>
                  </a:moveTo>
                  <a:lnTo>
                    <a:pt x="0" y="8"/>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518" name="Google Shape;3518;p104"/>
            <p:cNvSpPr/>
            <p:nvPr/>
          </p:nvSpPr>
          <p:spPr>
            <a:xfrm>
              <a:off x="2052281" y="1991224"/>
              <a:ext cx="68" cy="258"/>
            </a:xfrm>
            <a:custGeom>
              <a:avLst/>
              <a:gdLst/>
              <a:ahLst/>
              <a:cxnLst/>
              <a:rect l="l" t="t" r="r" b="b"/>
              <a:pathLst>
                <a:path w="5" h="19" extrusionOk="0">
                  <a:moveTo>
                    <a:pt x="1" y="1"/>
                  </a:moveTo>
                  <a:cubicBezTo>
                    <a:pt x="1" y="8"/>
                    <a:pt x="1" y="15"/>
                    <a:pt x="4" y="18"/>
                  </a:cubicBezTo>
                  <a:cubicBezTo>
                    <a:pt x="1" y="15"/>
                    <a:pt x="1" y="8"/>
                    <a:pt x="1" y="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519" name="Google Shape;3519;p104"/>
            <p:cNvSpPr/>
            <p:nvPr/>
          </p:nvSpPr>
          <p:spPr>
            <a:xfrm>
              <a:off x="2048153" y="1965318"/>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520" name="Google Shape;3520;p104"/>
            <p:cNvSpPr/>
            <p:nvPr/>
          </p:nvSpPr>
          <p:spPr>
            <a:xfrm>
              <a:off x="2048438" y="1965658"/>
              <a:ext cx="54" cy="54"/>
            </a:xfrm>
            <a:custGeom>
              <a:avLst/>
              <a:gdLst/>
              <a:ahLst/>
              <a:cxnLst/>
              <a:rect l="l" t="t" r="r" b="b"/>
              <a:pathLst>
                <a:path w="4" h="4" extrusionOk="0">
                  <a:moveTo>
                    <a:pt x="0" y="0"/>
                  </a:moveTo>
                  <a:lnTo>
                    <a:pt x="4" y="4"/>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521" name="Google Shape;3521;p104"/>
            <p:cNvSpPr/>
            <p:nvPr/>
          </p:nvSpPr>
          <p:spPr>
            <a:xfrm>
              <a:off x="2047298" y="1962942"/>
              <a:ext cx="14" cy="163"/>
            </a:xfrm>
            <a:custGeom>
              <a:avLst/>
              <a:gdLst/>
              <a:ahLst/>
              <a:cxnLst/>
              <a:rect l="l" t="t" r="r" b="b"/>
              <a:pathLst>
                <a:path w="1" h="12" extrusionOk="0">
                  <a:moveTo>
                    <a:pt x="0" y="1"/>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522" name="Google Shape;3522;p104"/>
            <p:cNvSpPr/>
            <p:nvPr/>
          </p:nvSpPr>
          <p:spPr>
            <a:xfrm>
              <a:off x="2052661" y="1993179"/>
              <a:ext cx="68" cy="204"/>
            </a:xfrm>
            <a:custGeom>
              <a:avLst/>
              <a:gdLst/>
              <a:ahLst/>
              <a:cxnLst/>
              <a:rect l="l" t="t" r="r" b="b"/>
              <a:pathLst>
                <a:path w="5" h="15" extrusionOk="0">
                  <a:moveTo>
                    <a:pt x="1" y="0"/>
                  </a:moveTo>
                  <a:lnTo>
                    <a:pt x="4" y="14"/>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523" name="Google Shape;3523;p104"/>
            <p:cNvSpPr/>
            <p:nvPr/>
          </p:nvSpPr>
          <p:spPr>
            <a:xfrm>
              <a:off x="2048574" y="1965753"/>
              <a:ext cx="14" cy="14"/>
            </a:xfrm>
            <a:custGeom>
              <a:avLst/>
              <a:gdLst/>
              <a:ahLst/>
              <a:cxnLst/>
              <a:rect l="l" t="t" r="r" b="b"/>
              <a:pathLst>
                <a:path w="1" h="1" extrusionOk="0">
                  <a:moveTo>
                    <a:pt x="1"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524" name="Google Shape;3524;p104"/>
            <p:cNvSpPr/>
            <p:nvPr/>
          </p:nvSpPr>
          <p:spPr>
            <a:xfrm>
              <a:off x="2052525" y="1992514"/>
              <a:ext cx="54" cy="204"/>
            </a:xfrm>
            <a:custGeom>
              <a:avLst/>
              <a:gdLst/>
              <a:ahLst/>
              <a:cxnLst/>
              <a:rect l="l" t="t" r="r" b="b"/>
              <a:pathLst>
                <a:path w="4" h="15" extrusionOk="0">
                  <a:moveTo>
                    <a:pt x="0" y="0"/>
                  </a:moveTo>
                  <a:lnTo>
                    <a:pt x="4" y="14"/>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525" name="Google Shape;3525;p104"/>
            <p:cNvSpPr/>
            <p:nvPr/>
          </p:nvSpPr>
          <p:spPr>
            <a:xfrm>
              <a:off x="2047149" y="1962426"/>
              <a:ext cx="68" cy="204"/>
            </a:xfrm>
            <a:custGeom>
              <a:avLst/>
              <a:gdLst/>
              <a:ahLst/>
              <a:cxnLst/>
              <a:rect l="l" t="t" r="r" b="b"/>
              <a:pathLst>
                <a:path w="5" h="15" extrusionOk="0">
                  <a:moveTo>
                    <a:pt x="1" y="0"/>
                  </a:moveTo>
                  <a:lnTo>
                    <a:pt x="4" y="14"/>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526" name="Google Shape;3526;p104"/>
            <p:cNvSpPr/>
            <p:nvPr/>
          </p:nvSpPr>
          <p:spPr>
            <a:xfrm>
              <a:off x="2052186" y="1990654"/>
              <a:ext cx="68" cy="204"/>
            </a:xfrm>
            <a:custGeom>
              <a:avLst/>
              <a:gdLst/>
              <a:ahLst/>
              <a:cxnLst/>
              <a:rect l="l" t="t" r="r" b="b"/>
              <a:pathLst>
                <a:path w="5" h="15" extrusionOk="0">
                  <a:moveTo>
                    <a:pt x="1" y="1"/>
                  </a:moveTo>
                  <a:lnTo>
                    <a:pt x="1" y="15"/>
                  </a:lnTo>
                  <a:cubicBezTo>
                    <a:pt x="4" y="8"/>
                    <a:pt x="1" y="4"/>
                    <a:pt x="1" y="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527" name="Google Shape;3527;p104"/>
            <p:cNvSpPr/>
            <p:nvPr/>
          </p:nvSpPr>
          <p:spPr>
            <a:xfrm>
              <a:off x="2048248" y="1965468"/>
              <a:ext cx="54" cy="54"/>
            </a:xfrm>
            <a:custGeom>
              <a:avLst/>
              <a:gdLst/>
              <a:ahLst/>
              <a:cxnLst/>
              <a:rect l="l" t="t" r="r" b="b"/>
              <a:pathLst>
                <a:path w="4" h="4" extrusionOk="0">
                  <a:moveTo>
                    <a:pt x="0" y="0"/>
                  </a:moveTo>
                  <a:lnTo>
                    <a:pt x="4" y="4"/>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528" name="Google Shape;3528;p104"/>
            <p:cNvSpPr/>
            <p:nvPr/>
          </p:nvSpPr>
          <p:spPr>
            <a:xfrm>
              <a:off x="2030082" y="1976927"/>
              <a:ext cx="68" cy="339"/>
            </a:xfrm>
            <a:custGeom>
              <a:avLst/>
              <a:gdLst/>
              <a:ahLst/>
              <a:cxnLst/>
              <a:rect l="l" t="t" r="r" b="b"/>
              <a:pathLst>
                <a:path w="5" h="25" extrusionOk="0">
                  <a:moveTo>
                    <a:pt x="4" y="25"/>
                  </a:moveTo>
                  <a:lnTo>
                    <a:pt x="1"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529" name="Google Shape;3529;p104"/>
            <p:cNvSpPr/>
            <p:nvPr/>
          </p:nvSpPr>
          <p:spPr>
            <a:xfrm>
              <a:off x="2028520" y="2004014"/>
              <a:ext cx="14" cy="204"/>
            </a:xfrm>
            <a:custGeom>
              <a:avLst/>
              <a:gdLst/>
              <a:ahLst/>
              <a:cxnLst/>
              <a:rect l="l" t="t" r="r" b="b"/>
              <a:pathLst>
                <a:path w="1" h="15" extrusionOk="0">
                  <a:moveTo>
                    <a:pt x="0" y="15"/>
                  </a:moveTo>
                  <a:lnTo>
                    <a:pt x="0" y="1"/>
                  </a:lnTo>
                  <a:cubicBezTo>
                    <a:pt x="0" y="8"/>
                    <a:pt x="0" y="11"/>
                    <a:pt x="0" y="15"/>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530" name="Google Shape;3530;p104"/>
            <p:cNvSpPr/>
            <p:nvPr/>
          </p:nvSpPr>
          <p:spPr>
            <a:xfrm>
              <a:off x="2029756" y="1975203"/>
              <a:ext cx="109" cy="394"/>
            </a:xfrm>
            <a:custGeom>
              <a:avLst/>
              <a:gdLst/>
              <a:ahLst/>
              <a:cxnLst/>
              <a:rect l="l" t="t" r="r" b="b"/>
              <a:pathLst>
                <a:path w="8" h="29" extrusionOk="0">
                  <a:moveTo>
                    <a:pt x="7" y="29"/>
                  </a:moveTo>
                  <a:lnTo>
                    <a:pt x="0"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531" name="Google Shape;3531;p104"/>
            <p:cNvSpPr/>
            <p:nvPr/>
          </p:nvSpPr>
          <p:spPr>
            <a:xfrm>
              <a:off x="2028520" y="2002969"/>
              <a:ext cx="14" cy="204"/>
            </a:xfrm>
            <a:custGeom>
              <a:avLst/>
              <a:gdLst/>
              <a:ahLst/>
              <a:cxnLst/>
              <a:rect l="l" t="t" r="r" b="b"/>
              <a:pathLst>
                <a:path w="1" h="15" extrusionOk="0">
                  <a:moveTo>
                    <a:pt x="0" y="14"/>
                  </a:moveTo>
                  <a:lnTo>
                    <a:pt x="0" y="0"/>
                  </a:lnTo>
                  <a:cubicBezTo>
                    <a:pt x="0" y="4"/>
                    <a:pt x="0" y="11"/>
                    <a:pt x="0" y="14"/>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532" name="Google Shape;3532;p104"/>
            <p:cNvSpPr/>
            <p:nvPr/>
          </p:nvSpPr>
          <p:spPr>
            <a:xfrm>
              <a:off x="2028561" y="2003444"/>
              <a:ext cx="14" cy="204"/>
            </a:xfrm>
            <a:custGeom>
              <a:avLst/>
              <a:gdLst/>
              <a:ahLst/>
              <a:cxnLst/>
              <a:rect l="l" t="t" r="r" b="b"/>
              <a:pathLst>
                <a:path w="1" h="15" extrusionOk="0">
                  <a:moveTo>
                    <a:pt x="1" y="0"/>
                  </a:moveTo>
                  <a:lnTo>
                    <a:pt x="1" y="14"/>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533" name="Google Shape;3533;p104"/>
            <p:cNvSpPr/>
            <p:nvPr/>
          </p:nvSpPr>
          <p:spPr>
            <a:xfrm>
              <a:off x="2028262" y="2002195"/>
              <a:ext cx="81" cy="122"/>
            </a:xfrm>
            <a:custGeom>
              <a:avLst/>
              <a:gdLst/>
              <a:ahLst/>
              <a:cxnLst/>
              <a:rect l="l" t="t" r="r" b="b"/>
              <a:pathLst>
                <a:path w="6" h="9" extrusionOk="0">
                  <a:moveTo>
                    <a:pt x="1" y="1"/>
                  </a:moveTo>
                  <a:cubicBezTo>
                    <a:pt x="1" y="1"/>
                    <a:pt x="5" y="6"/>
                    <a:pt x="5" y="8"/>
                  </a:cubicBezTo>
                  <a:cubicBezTo>
                    <a:pt x="5" y="5"/>
                    <a:pt x="5" y="1"/>
                    <a:pt x="2" y="1"/>
                  </a:cubicBezTo>
                  <a:cubicBezTo>
                    <a:pt x="1" y="1"/>
                    <a:pt x="1" y="1"/>
                    <a:pt x="1" y="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534" name="Google Shape;3534;p104"/>
            <p:cNvSpPr/>
            <p:nvPr/>
          </p:nvSpPr>
          <p:spPr>
            <a:xfrm>
              <a:off x="2028425" y="2002534"/>
              <a:ext cx="54" cy="204"/>
            </a:xfrm>
            <a:custGeom>
              <a:avLst/>
              <a:gdLst/>
              <a:ahLst/>
              <a:cxnLst/>
              <a:rect l="l" t="t" r="r" b="b"/>
              <a:pathLst>
                <a:path w="4" h="15" extrusionOk="0">
                  <a:moveTo>
                    <a:pt x="0" y="1"/>
                  </a:moveTo>
                  <a:cubicBezTo>
                    <a:pt x="0" y="4"/>
                    <a:pt x="4" y="11"/>
                    <a:pt x="4" y="15"/>
                  </a:cubicBezTo>
                  <a:cubicBezTo>
                    <a:pt x="4" y="11"/>
                    <a:pt x="4" y="8"/>
                    <a:pt x="0" y="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535" name="Google Shape;3535;p104"/>
            <p:cNvSpPr/>
            <p:nvPr/>
          </p:nvSpPr>
          <p:spPr>
            <a:xfrm>
              <a:off x="2030231" y="1977728"/>
              <a:ext cx="54" cy="353"/>
            </a:xfrm>
            <a:custGeom>
              <a:avLst/>
              <a:gdLst/>
              <a:ahLst/>
              <a:cxnLst/>
              <a:rect l="l" t="t" r="r" b="b"/>
              <a:pathLst>
                <a:path w="4" h="26" extrusionOk="0">
                  <a:moveTo>
                    <a:pt x="4" y="25"/>
                  </a:moveTo>
                  <a:lnTo>
                    <a:pt x="0"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536" name="Google Shape;3536;p104"/>
            <p:cNvSpPr/>
            <p:nvPr/>
          </p:nvSpPr>
          <p:spPr>
            <a:xfrm>
              <a:off x="2030747" y="1981530"/>
              <a:ext cx="14" cy="163"/>
            </a:xfrm>
            <a:custGeom>
              <a:avLst/>
              <a:gdLst/>
              <a:ahLst/>
              <a:cxnLst/>
              <a:rect l="l" t="t" r="r" b="b"/>
              <a:pathLst>
                <a:path w="1" h="12" extrusionOk="0">
                  <a:moveTo>
                    <a:pt x="1" y="1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537" name="Google Shape;3537;p104"/>
            <p:cNvSpPr/>
            <p:nvPr/>
          </p:nvSpPr>
          <p:spPr>
            <a:xfrm>
              <a:off x="2030652" y="1980539"/>
              <a:ext cx="14" cy="244"/>
            </a:xfrm>
            <a:custGeom>
              <a:avLst/>
              <a:gdLst/>
              <a:ahLst/>
              <a:cxnLst/>
              <a:rect l="l" t="t" r="r" b="b"/>
              <a:pathLst>
                <a:path w="1" h="18" extrusionOk="0">
                  <a:moveTo>
                    <a:pt x="1" y="18"/>
                  </a:moveTo>
                  <a:lnTo>
                    <a:pt x="1" y="0"/>
                  </a:lnTo>
                  <a:cubicBezTo>
                    <a:pt x="1" y="7"/>
                    <a:pt x="1" y="14"/>
                    <a:pt x="1" y="18"/>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538" name="Google Shape;3538;p104"/>
            <p:cNvSpPr/>
            <p:nvPr/>
          </p:nvSpPr>
          <p:spPr>
            <a:xfrm>
              <a:off x="2030557" y="1979914"/>
              <a:ext cx="68" cy="299"/>
            </a:xfrm>
            <a:custGeom>
              <a:avLst/>
              <a:gdLst/>
              <a:ahLst/>
              <a:cxnLst/>
              <a:rect l="l" t="t" r="r" b="b"/>
              <a:pathLst>
                <a:path w="5" h="22" extrusionOk="0">
                  <a:moveTo>
                    <a:pt x="4" y="22"/>
                  </a:moveTo>
                  <a:lnTo>
                    <a:pt x="1"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539" name="Google Shape;3539;p104"/>
            <p:cNvSpPr/>
            <p:nvPr/>
          </p:nvSpPr>
          <p:spPr>
            <a:xfrm>
              <a:off x="2029281" y="1973397"/>
              <a:ext cx="109" cy="394"/>
            </a:xfrm>
            <a:custGeom>
              <a:avLst/>
              <a:gdLst/>
              <a:ahLst/>
              <a:cxnLst/>
              <a:rect l="l" t="t" r="r" b="b"/>
              <a:pathLst>
                <a:path w="8" h="29" extrusionOk="0">
                  <a:moveTo>
                    <a:pt x="7" y="29"/>
                  </a:moveTo>
                  <a:lnTo>
                    <a:pt x="0"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540" name="Google Shape;3540;p104"/>
            <p:cNvSpPr/>
            <p:nvPr/>
          </p:nvSpPr>
          <p:spPr>
            <a:xfrm>
              <a:off x="2030367" y="1978488"/>
              <a:ext cx="68" cy="353"/>
            </a:xfrm>
            <a:custGeom>
              <a:avLst/>
              <a:gdLst/>
              <a:ahLst/>
              <a:cxnLst/>
              <a:rect l="l" t="t" r="r" b="b"/>
              <a:pathLst>
                <a:path w="5" h="26" extrusionOk="0">
                  <a:moveTo>
                    <a:pt x="4" y="25"/>
                  </a:moveTo>
                  <a:lnTo>
                    <a:pt x="1"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541" name="Google Shape;3541;p104"/>
            <p:cNvSpPr/>
            <p:nvPr/>
          </p:nvSpPr>
          <p:spPr>
            <a:xfrm>
              <a:off x="2029511" y="1974306"/>
              <a:ext cx="109" cy="394"/>
            </a:xfrm>
            <a:custGeom>
              <a:avLst/>
              <a:gdLst/>
              <a:ahLst/>
              <a:cxnLst/>
              <a:rect l="l" t="t" r="r" b="b"/>
              <a:pathLst>
                <a:path w="8" h="29" extrusionOk="0">
                  <a:moveTo>
                    <a:pt x="8" y="28"/>
                  </a:moveTo>
                  <a:lnTo>
                    <a:pt x="1"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542" name="Google Shape;3542;p104"/>
            <p:cNvSpPr/>
            <p:nvPr/>
          </p:nvSpPr>
          <p:spPr>
            <a:xfrm>
              <a:off x="2030706" y="1981109"/>
              <a:ext cx="14" cy="204"/>
            </a:xfrm>
            <a:custGeom>
              <a:avLst/>
              <a:gdLst/>
              <a:ahLst/>
              <a:cxnLst/>
              <a:rect l="l" t="t" r="r" b="b"/>
              <a:pathLst>
                <a:path w="1" h="15" extrusionOk="0">
                  <a:moveTo>
                    <a:pt x="0" y="14"/>
                  </a:moveTo>
                  <a:lnTo>
                    <a:pt x="0" y="0"/>
                  </a:lnTo>
                  <a:cubicBezTo>
                    <a:pt x="0" y="4"/>
                    <a:pt x="0" y="7"/>
                    <a:pt x="0" y="14"/>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543" name="Google Shape;3543;p104"/>
            <p:cNvSpPr/>
            <p:nvPr/>
          </p:nvSpPr>
          <p:spPr>
            <a:xfrm>
              <a:off x="2030462" y="1979249"/>
              <a:ext cx="68" cy="299"/>
            </a:xfrm>
            <a:custGeom>
              <a:avLst/>
              <a:gdLst/>
              <a:ahLst/>
              <a:cxnLst/>
              <a:rect l="l" t="t" r="r" b="b"/>
              <a:pathLst>
                <a:path w="5" h="22" extrusionOk="0">
                  <a:moveTo>
                    <a:pt x="4" y="22"/>
                  </a:moveTo>
                  <a:lnTo>
                    <a:pt x="1"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544" name="Google Shape;3544;p104"/>
            <p:cNvSpPr/>
            <p:nvPr/>
          </p:nvSpPr>
          <p:spPr>
            <a:xfrm>
              <a:off x="2028425" y="2004666"/>
              <a:ext cx="54" cy="177"/>
            </a:xfrm>
            <a:custGeom>
              <a:avLst/>
              <a:gdLst/>
              <a:ahLst/>
              <a:cxnLst/>
              <a:rect l="l" t="t" r="r" b="b"/>
              <a:pathLst>
                <a:path w="4" h="13" extrusionOk="0">
                  <a:moveTo>
                    <a:pt x="1" y="1"/>
                  </a:moveTo>
                  <a:cubicBezTo>
                    <a:pt x="1" y="1"/>
                    <a:pt x="0" y="1"/>
                    <a:pt x="0" y="2"/>
                  </a:cubicBezTo>
                  <a:lnTo>
                    <a:pt x="0" y="12"/>
                  </a:lnTo>
                  <a:cubicBezTo>
                    <a:pt x="3" y="9"/>
                    <a:pt x="1" y="1"/>
                    <a:pt x="1" y="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545" name="Google Shape;3545;p104"/>
            <p:cNvSpPr/>
            <p:nvPr/>
          </p:nvSpPr>
          <p:spPr>
            <a:xfrm>
              <a:off x="2028995" y="1972541"/>
              <a:ext cx="109" cy="394"/>
            </a:xfrm>
            <a:custGeom>
              <a:avLst/>
              <a:gdLst/>
              <a:ahLst/>
              <a:cxnLst/>
              <a:rect l="l" t="t" r="r" b="b"/>
              <a:pathLst>
                <a:path w="8" h="29" extrusionOk="0">
                  <a:moveTo>
                    <a:pt x="7" y="29"/>
                  </a:moveTo>
                  <a:lnTo>
                    <a:pt x="0"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546" name="Google Shape;3546;p104"/>
            <p:cNvSpPr/>
            <p:nvPr/>
          </p:nvSpPr>
          <p:spPr>
            <a:xfrm>
              <a:off x="2029892" y="1976072"/>
              <a:ext cx="109" cy="339"/>
            </a:xfrm>
            <a:custGeom>
              <a:avLst/>
              <a:gdLst/>
              <a:ahLst/>
              <a:cxnLst/>
              <a:rect l="l" t="t" r="r" b="b"/>
              <a:pathLst>
                <a:path w="8" h="25" extrusionOk="0">
                  <a:moveTo>
                    <a:pt x="8" y="25"/>
                  </a:moveTo>
                  <a:lnTo>
                    <a:pt x="1"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547" name="Google Shape;3547;p104"/>
            <p:cNvSpPr/>
            <p:nvPr/>
          </p:nvSpPr>
          <p:spPr>
            <a:xfrm>
              <a:off x="2028425" y="1970885"/>
              <a:ext cx="54" cy="204"/>
            </a:xfrm>
            <a:custGeom>
              <a:avLst/>
              <a:gdLst/>
              <a:ahLst/>
              <a:cxnLst/>
              <a:rect l="l" t="t" r="r" b="b"/>
              <a:pathLst>
                <a:path w="4" h="15" extrusionOk="0">
                  <a:moveTo>
                    <a:pt x="4" y="1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548" name="Google Shape;3548;p104"/>
            <p:cNvSpPr/>
            <p:nvPr/>
          </p:nvSpPr>
          <p:spPr>
            <a:xfrm>
              <a:off x="2025044" y="1994320"/>
              <a:ext cx="3055" cy="7563"/>
            </a:xfrm>
            <a:custGeom>
              <a:avLst/>
              <a:gdLst/>
              <a:ahLst/>
              <a:cxnLst/>
              <a:rect l="l" t="t" r="r" b="b"/>
              <a:pathLst>
                <a:path w="225" h="557" extrusionOk="0">
                  <a:moveTo>
                    <a:pt x="225" y="557"/>
                  </a:moveTo>
                  <a:cubicBezTo>
                    <a:pt x="151" y="459"/>
                    <a:pt x="1" y="67"/>
                    <a:pt x="8" y="0"/>
                  </a:cubicBezTo>
                  <a:cubicBezTo>
                    <a:pt x="1" y="67"/>
                    <a:pt x="151" y="459"/>
                    <a:pt x="225" y="557"/>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549" name="Google Shape;3549;p104"/>
            <p:cNvSpPr/>
            <p:nvPr/>
          </p:nvSpPr>
          <p:spPr>
            <a:xfrm>
              <a:off x="2028710" y="1971686"/>
              <a:ext cx="109" cy="353"/>
            </a:xfrm>
            <a:custGeom>
              <a:avLst/>
              <a:gdLst/>
              <a:ahLst/>
              <a:cxnLst/>
              <a:rect l="l" t="t" r="r" b="b"/>
              <a:pathLst>
                <a:path w="8" h="26" extrusionOk="0">
                  <a:moveTo>
                    <a:pt x="7" y="25"/>
                  </a:moveTo>
                  <a:lnTo>
                    <a:pt x="0"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550" name="Google Shape;3550;p104"/>
            <p:cNvSpPr/>
            <p:nvPr/>
          </p:nvSpPr>
          <p:spPr>
            <a:xfrm>
              <a:off x="1936777" y="1949351"/>
              <a:ext cx="53305" cy="39619"/>
            </a:xfrm>
            <a:custGeom>
              <a:avLst/>
              <a:gdLst/>
              <a:ahLst/>
              <a:cxnLst/>
              <a:rect l="l" t="t" r="r" b="b"/>
              <a:pathLst>
                <a:path w="3926" h="2918" extrusionOk="0">
                  <a:moveTo>
                    <a:pt x="750" y="1"/>
                  </a:moveTo>
                  <a:lnTo>
                    <a:pt x="747" y="71"/>
                  </a:lnTo>
                  <a:lnTo>
                    <a:pt x="736" y="67"/>
                  </a:lnTo>
                  <a:cubicBezTo>
                    <a:pt x="736" y="71"/>
                    <a:pt x="732" y="78"/>
                    <a:pt x="732" y="81"/>
                  </a:cubicBezTo>
                  <a:cubicBezTo>
                    <a:pt x="729" y="88"/>
                    <a:pt x="725" y="95"/>
                    <a:pt x="722" y="102"/>
                  </a:cubicBezTo>
                  <a:cubicBezTo>
                    <a:pt x="722" y="109"/>
                    <a:pt x="718" y="116"/>
                    <a:pt x="715" y="120"/>
                  </a:cubicBezTo>
                  <a:cubicBezTo>
                    <a:pt x="711" y="127"/>
                    <a:pt x="708" y="130"/>
                    <a:pt x="704" y="137"/>
                  </a:cubicBezTo>
                  <a:cubicBezTo>
                    <a:pt x="701" y="144"/>
                    <a:pt x="697" y="148"/>
                    <a:pt x="694" y="155"/>
                  </a:cubicBezTo>
                  <a:cubicBezTo>
                    <a:pt x="690" y="158"/>
                    <a:pt x="687" y="165"/>
                    <a:pt x="683" y="169"/>
                  </a:cubicBezTo>
                  <a:cubicBezTo>
                    <a:pt x="680" y="172"/>
                    <a:pt x="676" y="179"/>
                    <a:pt x="669" y="183"/>
                  </a:cubicBezTo>
                  <a:cubicBezTo>
                    <a:pt x="666" y="190"/>
                    <a:pt x="662" y="193"/>
                    <a:pt x="659" y="197"/>
                  </a:cubicBezTo>
                  <a:cubicBezTo>
                    <a:pt x="652" y="200"/>
                    <a:pt x="645" y="207"/>
                    <a:pt x="638" y="211"/>
                  </a:cubicBezTo>
                  <a:lnTo>
                    <a:pt x="627" y="218"/>
                  </a:lnTo>
                  <a:cubicBezTo>
                    <a:pt x="617" y="225"/>
                    <a:pt x="603" y="232"/>
                    <a:pt x="592" y="235"/>
                  </a:cubicBezTo>
                  <a:lnTo>
                    <a:pt x="582" y="239"/>
                  </a:lnTo>
                  <a:cubicBezTo>
                    <a:pt x="592" y="270"/>
                    <a:pt x="610" y="298"/>
                    <a:pt x="627" y="326"/>
                  </a:cubicBezTo>
                  <a:cubicBezTo>
                    <a:pt x="652" y="354"/>
                    <a:pt x="666" y="393"/>
                    <a:pt x="669" y="428"/>
                  </a:cubicBezTo>
                  <a:cubicBezTo>
                    <a:pt x="666" y="480"/>
                    <a:pt x="638" y="522"/>
                    <a:pt x="592" y="547"/>
                  </a:cubicBezTo>
                  <a:cubicBezTo>
                    <a:pt x="554" y="574"/>
                    <a:pt x="509" y="588"/>
                    <a:pt x="463" y="588"/>
                  </a:cubicBezTo>
                  <a:cubicBezTo>
                    <a:pt x="438" y="588"/>
                    <a:pt x="413" y="583"/>
                    <a:pt x="389" y="575"/>
                  </a:cubicBezTo>
                  <a:cubicBezTo>
                    <a:pt x="337" y="575"/>
                    <a:pt x="179" y="697"/>
                    <a:pt x="102" y="757"/>
                  </a:cubicBezTo>
                  <a:cubicBezTo>
                    <a:pt x="71" y="785"/>
                    <a:pt x="39" y="809"/>
                    <a:pt x="11" y="827"/>
                  </a:cubicBezTo>
                  <a:lnTo>
                    <a:pt x="1" y="834"/>
                  </a:lnTo>
                  <a:cubicBezTo>
                    <a:pt x="53" y="890"/>
                    <a:pt x="99" y="956"/>
                    <a:pt x="137" y="1026"/>
                  </a:cubicBezTo>
                  <a:cubicBezTo>
                    <a:pt x="183" y="1121"/>
                    <a:pt x="249" y="1201"/>
                    <a:pt x="333" y="1264"/>
                  </a:cubicBezTo>
                  <a:cubicBezTo>
                    <a:pt x="540" y="1415"/>
                    <a:pt x="771" y="1600"/>
                    <a:pt x="932" y="1884"/>
                  </a:cubicBezTo>
                  <a:lnTo>
                    <a:pt x="957" y="1863"/>
                  </a:lnTo>
                  <a:lnTo>
                    <a:pt x="974" y="1845"/>
                  </a:lnTo>
                  <a:lnTo>
                    <a:pt x="1009" y="1814"/>
                  </a:lnTo>
                  <a:lnTo>
                    <a:pt x="1027" y="1800"/>
                  </a:lnTo>
                  <a:lnTo>
                    <a:pt x="1051" y="1775"/>
                  </a:lnTo>
                  <a:lnTo>
                    <a:pt x="1069" y="1761"/>
                  </a:lnTo>
                  <a:lnTo>
                    <a:pt x="1083" y="1744"/>
                  </a:lnTo>
                  <a:lnTo>
                    <a:pt x="1097" y="1730"/>
                  </a:lnTo>
                  <a:lnTo>
                    <a:pt x="1111" y="1716"/>
                  </a:lnTo>
                  <a:lnTo>
                    <a:pt x="1125" y="1702"/>
                  </a:lnTo>
                  <a:lnTo>
                    <a:pt x="1135" y="1691"/>
                  </a:lnTo>
                  <a:lnTo>
                    <a:pt x="1146" y="1681"/>
                  </a:lnTo>
                  <a:lnTo>
                    <a:pt x="1156" y="1670"/>
                  </a:lnTo>
                  <a:lnTo>
                    <a:pt x="1163" y="1660"/>
                  </a:lnTo>
                  <a:lnTo>
                    <a:pt x="1174" y="1649"/>
                  </a:lnTo>
                  <a:lnTo>
                    <a:pt x="1181" y="1639"/>
                  </a:lnTo>
                  <a:lnTo>
                    <a:pt x="1184" y="1632"/>
                  </a:lnTo>
                  <a:lnTo>
                    <a:pt x="1191" y="1625"/>
                  </a:lnTo>
                  <a:lnTo>
                    <a:pt x="1195" y="1618"/>
                  </a:lnTo>
                  <a:lnTo>
                    <a:pt x="1202" y="1611"/>
                  </a:lnTo>
                  <a:lnTo>
                    <a:pt x="1205" y="1607"/>
                  </a:lnTo>
                  <a:lnTo>
                    <a:pt x="1209" y="1600"/>
                  </a:lnTo>
                  <a:lnTo>
                    <a:pt x="1209" y="1597"/>
                  </a:lnTo>
                  <a:lnTo>
                    <a:pt x="1212" y="1590"/>
                  </a:lnTo>
                  <a:lnTo>
                    <a:pt x="1212" y="1583"/>
                  </a:lnTo>
                  <a:cubicBezTo>
                    <a:pt x="1216" y="1579"/>
                    <a:pt x="1216" y="1576"/>
                    <a:pt x="1216" y="1572"/>
                  </a:cubicBezTo>
                  <a:cubicBezTo>
                    <a:pt x="1216" y="1527"/>
                    <a:pt x="1237" y="1481"/>
                    <a:pt x="1275" y="1453"/>
                  </a:cubicBezTo>
                  <a:cubicBezTo>
                    <a:pt x="1303" y="1432"/>
                    <a:pt x="1335" y="1424"/>
                    <a:pt x="1368" y="1424"/>
                  </a:cubicBezTo>
                  <a:cubicBezTo>
                    <a:pt x="1406" y="1424"/>
                    <a:pt x="1446" y="1434"/>
                    <a:pt x="1489" y="1443"/>
                  </a:cubicBezTo>
                  <a:lnTo>
                    <a:pt x="1548" y="1453"/>
                  </a:lnTo>
                  <a:cubicBezTo>
                    <a:pt x="1557" y="1455"/>
                    <a:pt x="1567" y="1456"/>
                    <a:pt x="1577" y="1456"/>
                  </a:cubicBezTo>
                  <a:cubicBezTo>
                    <a:pt x="1628" y="1456"/>
                    <a:pt x="1690" y="1435"/>
                    <a:pt x="1751" y="1415"/>
                  </a:cubicBezTo>
                  <a:cubicBezTo>
                    <a:pt x="1814" y="1390"/>
                    <a:pt x="1881" y="1373"/>
                    <a:pt x="1947" y="1369"/>
                  </a:cubicBezTo>
                  <a:cubicBezTo>
                    <a:pt x="2119" y="1369"/>
                    <a:pt x="2448" y="1838"/>
                    <a:pt x="2448" y="1982"/>
                  </a:cubicBezTo>
                  <a:lnTo>
                    <a:pt x="2448" y="2021"/>
                  </a:lnTo>
                  <a:lnTo>
                    <a:pt x="2448" y="2035"/>
                  </a:lnTo>
                  <a:lnTo>
                    <a:pt x="2448" y="2059"/>
                  </a:lnTo>
                  <a:lnTo>
                    <a:pt x="2448" y="2077"/>
                  </a:lnTo>
                  <a:lnTo>
                    <a:pt x="2448" y="2094"/>
                  </a:lnTo>
                  <a:cubicBezTo>
                    <a:pt x="2448" y="2101"/>
                    <a:pt x="2448" y="2108"/>
                    <a:pt x="2451" y="2115"/>
                  </a:cubicBezTo>
                  <a:cubicBezTo>
                    <a:pt x="2455" y="2122"/>
                    <a:pt x="2451" y="2126"/>
                    <a:pt x="2455" y="2133"/>
                  </a:cubicBezTo>
                  <a:cubicBezTo>
                    <a:pt x="2458" y="2140"/>
                    <a:pt x="2458" y="2147"/>
                    <a:pt x="2458" y="2154"/>
                  </a:cubicBezTo>
                  <a:cubicBezTo>
                    <a:pt x="2462" y="2161"/>
                    <a:pt x="2458" y="2164"/>
                    <a:pt x="2462" y="2168"/>
                  </a:cubicBezTo>
                  <a:cubicBezTo>
                    <a:pt x="2465" y="2175"/>
                    <a:pt x="2465" y="2182"/>
                    <a:pt x="2469" y="2189"/>
                  </a:cubicBezTo>
                  <a:cubicBezTo>
                    <a:pt x="2472" y="2196"/>
                    <a:pt x="2472" y="2199"/>
                    <a:pt x="2472" y="2206"/>
                  </a:cubicBezTo>
                  <a:cubicBezTo>
                    <a:pt x="2476" y="2210"/>
                    <a:pt x="2479" y="2220"/>
                    <a:pt x="2483" y="2224"/>
                  </a:cubicBezTo>
                  <a:cubicBezTo>
                    <a:pt x="2486" y="2231"/>
                    <a:pt x="2486" y="2234"/>
                    <a:pt x="2486" y="2241"/>
                  </a:cubicBezTo>
                  <a:cubicBezTo>
                    <a:pt x="2490" y="2245"/>
                    <a:pt x="2493" y="2252"/>
                    <a:pt x="2497" y="2259"/>
                  </a:cubicBezTo>
                  <a:cubicBezTo>
                    <a:pt x="2500" y="2266"/>
                    <a:pt x="2504" y="2269"/>
                    <a:pt x="2507" y="2273"/>
                  </a:cubicBezTo>
                  <a:lnTo>
                    <a:pt x="2577" y="2259"/>
                  </a:lnTo>
                  <a:lnTo>
                    <a:pt x="2584" y="2259"/>
                  </a:lnTo>
                  <a:cubicBezTo>
                    <a:pt x="2640" y="2248"/>
                    <a:pt x="2696" y="2238"/>
                    <a:pt x="2742" y="2231"/>
                  </a:cubicBezTo>
                  <a:lnTo>
                    <a:pt x="2745" y="2231"/>
                  </a:lnTo>
                  <a:lnTo>
                    <a:pt x="2784" y="2224"/>
                  </a:lnTo>
                  <a:lnTo>
                    <a:pt x="2791" y="2224"/>
                  </a:lnTo>
                  <a:lnTo>
                    <a:pt x="2823" y="2220"/>
                  </a:lnTo>
                  <a:lnTo>
                    <a:pt x="2830" y="2220"/>
                  </a:lnTo>
                  <a:lnTo>
                    <a:pt x="2854" y="2217"/>
                  </a:lnTo>
                  <a:lnTo>
                    <a:pt x="2879" y="2217"/>
                  </a:lnTo>
                  <a:cubicBezTo>
                    <a:pt x="2910" y="2217"/>
                    <a:pt x="2942" y="2234"/>
                    <a:pt x="2963" y="2259"/>
                  </a:cubicBezTo>
                  <a:cubicBezTo>
                    <a:pt x="3033" y="2343"/>
                    <a:pt x="3120" y="2584"/>
                    <a:pt x="3099" y="2756"/>
                  </a:cubicBezTo>
                  <a:cubicBezTo>
                    <a:pt x="3089" y="2822"/>
                    <a:pt x="3127" y="2885"/>
                    <a:pt x="3187" y="2913"/>
                  </a:cubicBezTo>
                  <a:cubicBezTo>
                    <a:pt x="3196" y="2917"/>
                    <a:pt x="3204" y="2918"/>
                    <a:pt x="3210" y="2918"/>
                  </a:cubicBezTo>
                  <a:cubicBezTo>
                    <a:pt x="3231" y="2918"/>
                    <a:pt x="3240" y="2905"/>
                    <a:pt x="3243" y="2899"/>
                  </a:cubicBezTo>
                  <a:cubicBezTo>
                    <a:pt x="3342" y="2758"/>
                    <a:pt x="3406" y="2670"/>
                    <a:pt x="3479" y="2670"/>
                  </a:cubicBezTo>
                  <a:cubicBezTo>
                    <a:pt x="3485" y="2670"/>
                    <a:pt x="3492" y="2670"/>
                    <a:pt x="3498" y="2672"/>
                  </a:cubicBezTo>
                  <a:cubicBezTo>
                    <a:pt x="3540" y="2679"/>
                    <a:pt x="3568" y="2710"/>
                    <a:pt x="3575" y="2752"/>
                  </a:cubicBezTo>
                  <a:lnTo>
                    <a:pt x="3579" y="2756"/>
                  </a:lnTo>
                  <a:lnTo>
                    <a:pt x="3582" y="2756"/>
                  </a:lnTo>
                  <a:lnTo>
                    <a:pt x="3589" y="2759"/>
                  </a:lnTo>
                  <a:cubicBezTo>
                    <a:pt x="3607" y="2738"/>
                    <a:pt x="3628" y="2717"/>
                    <a:pt x="3649" y="2700"/>
                  </a:cubicBezTo>
                  <a:cubicBezTo>
                    <a:pt x="3670" y="2682"/>
                    <a:pt x="3691" y="2665"/>
                    <a:pt x="3708" y="2644"/>
                  </a:cubicBezTo>
                  <a:cubicBezTo>
                    <a:pt x="3715" y="2630"/>
                    <a:pt x="3708" y="2609"/>
                    <a:pt x="3680" y="2556"/>
                  </a:cubicBezTo>
                  <a:cubicBezTo>
                    <a:pt x="3649" y="2497"/>
                    <a:pt x="3607" y="2416"/>
                    <a:pt x="3652" y="2325"/>
                  </a:cubicBezTo>
                  <a:cubicBezTo>
                    <a:pt x="3685" y="2261"/>
                    <a:pt x="3731" y="2245"/>
                    <a:pt x="3772" y="2245"/>
                  </a:cubicBezTo>
                  <a:cubicBezTo>
                    <a:pt x="3807" y="2245"/>
                    <a:pt x="3838" y="2256"/>
                    <a:pt x="3859" y="2262"/>
                  </a:cubicBezTo>
                  <a:cubicBezTo>
                    <a:pt x="3887" y="2273"/>
                    <a:pt x="3900" y="2277"/>
                    <a:pt x="3908" y="2277"/>
                  </a:cubicBezTo>
                  <a:cubicBezTo>
                    <a:pt x="3913" y="2277"/>
                    <a:pt x="3916" y="2275"/>
                    <a:pt x="3918" y="2273"/>
                  </a:cubicBezTo>
                  <a:cubicBezTo>
                    <a:pt x="3925" y="2262"/>
                    <a:pt x="3880" y="2171"/>
                    <a:pt x="3862" y="2143"/>
                  </a:cubicBezTo>
                  <a:cubicBezTo>
                    <a:pt x="3824" y="2077"/>
                    <a:pt x="3785" y="2017"/>
                    <a:pt x="3806" y="1958"/>
                  </a:cubicBezTo>
                  <a:cubicBezTo>
                    <a:pt x="3827" y="1891"/>
                    <a:pt x="3799" y="1817"/>
                    <a:pt x="3740" y="1782"/>
                  </a:cubicBezTo>
                  <a:cubicBezTo>
                    <a:pt x="3733" y="1779"/>
                    <a:pt x="3726" y="1772"/>
                    <a:pt x="3719" y="1768"/>
                  </a:cubicBezTo>
                  <a:lnTo>
                    <a:pt x="3712" y="1761"/>
                  </a:lnTo>
                  <a:cubicBezTo>
                    <a:pt x="3708" y="1758"/>
                    <a:pt x="3701" y="1754"/>
                    <a:pt x="3698" y="1751"/>
                  </a:cubicBezTo>
                  <a:cubicBezTo>
                    <a:pt x="3698" y="1747"/>
                    <a:pt x="3694" y="1744"/>
                    <a:pt x="3694" y="1740"/>
                  </a:cubicBezTo>
                  <a:cubicBezTo>
                    <a:pt x="3691" y="1737"/>
                    <a:pt x="3687" y="1733"/>
                    <a:pt x="3684" y="1730"/>
                  </a:cubicBezTo>
                  <a:cubicBezTo>
                    <a:pt x="3684" y="1726"/>
                    <a:pt x="3680" y="1723"/>
                    <a:pt x="3680" y="1719"/>
                  </a:cubicBezTo>
                  <a:cubicBezTo>
                    <a:pt x="3677" y="1716"/>
                    <a:pt x="3677" y="1709"/>
                    <a:pt x="3673" y="1705"/>
                  </a:cubicBezTo>
                  <a:cubicBezTo>
                    <a:pt x="3670" y="1702"/>
                    <a:pt x="3670" y="1698"/>
                    <a:pt x="3670" y="1695"/>
                  </a:cubicBezTo>
                  <a:cubicBezTo>
                    <a:pt x="3666" y="1691"/>
                    <a:pt x="3666" y="1684"/>
                    <a:pt x="3666" y="1681"/>
                  </a:cubicBezTo>
                  <a:cubicBezTo>
                    <a:pt x="3663" y="1674"/>
                    <a:pt x="3666" y="1670"/>
                    <a:pt x="3663" y="1667"/>
                  </a:cubicBezTo>
                  <a:cubicBezTo>
                    <a:pt x="3659" y="1663"/>
                    <a:pt x="3663" y="1656"/>
                    <a:pt x="3659" y="1653"/>
                  </a:cubicBezTo>
                  <a:cubicBezTo>
                    <a:pt x="3656" y="1646"/>
                    <a:pt x="3659" y="1642"/>
                    <a:pt x="3659" y="1639"/>
                  </a:cubicBezTo>
                  <a:lnTo>
                    <a:pt x="3659" y="1621"/>
                  </a:lnTo>
                  <a:lnTo>
                    <a:pt x="3659" y="1607"/>
                  </a:lnTo>
                  <a:lnTo>
                    <a:pt x="3659" y="1590"/>
                  </a:lnTo>
                  <a:lnTo>
                    <a:pt x="3659" y="1576"/>
                  </a:lnTo>
                  <a:lnTo>
                    <a:pt x="3659" y="1558"/>
                  </a:lnTo>
                  <a:lnTo>
                    <a:pt x="3659" y="1541"/>
                  </a:lnTo>
                  <a:lnTo>
                    <a:pt x="3659" y="1523"/>
                  </a:lnTo>
                  <a:lnTo>
                    <a:pt x="3659" y="1506"/>
                  </a:lnTo>
                  <a:cubicBezTo>
                    <a:pt x="3659" y="1502"/>
                    <a:pt x="3659" y="1495"/>
                    <a:pt x="3663" y="1488"/>
                  </a:cubicBezTo>
                  <a:lnTo>
                    <a:pt x="3663" y="1471"/>
                  </a:lnTo>
                  <a:lnTo>
                    <a:pt x="3666" y="1453"/>
                  </a:lnTo>
                  <a:lnTo>
                    <a:pt x="3670" y="1432"/>
                  </a:lnTo>
                  <a:lnTo>
                    <a:pt x="3673" y="1415"/>
                  </a:lnTo>
                  <a:lnTo>
                    <a:pt x="3677" y="1397"/>
                  </a:lnTo>
                  <a:lnTo>
                    <a:pt x="3680" y="1376"/>
                  </a:lnTo>
                  <a:lnTo>
                    <a:pt x="3684" y="1359"/>
                  </a:lnTo>
                  <a:lnTo>
                    <a:pt x="3691" y="1338"/>
                  </a:lnTo>
                  <a:lnTo>
                    <a:pt x="3694" y="1320"/>
                  </a:lnTo>
                  <a:lnTo>
                    <a:pt x="3694" y="1313"/>
                  </a:lnTo>
                  <a:cubicBezTo>
                    <a:pt x="3673" y="1292"/>
                    <a:pt x="3656" y="1271"/>
                    <a:pt x="3638" y="1250"/>
                  </a:cubicBezTo>
                  <a:cubicBezTo>
                    <a:pt x="3610" y="1194"/>
                    <a:pt x="3593" y="1131"/>
                    <a:pt x="3589" y="1068"/>
                  </a:cubicBezTo>
                  <a:cubicBezTo>
                    <a:pt x="3586" y="1037"/>
                    <a:pt x="3579" y="1002"/>
                    <a:pt x="3565" y="970"/>
                  </a:cubicBezTo>
                  <a:cubicBezTo>
                    <a:pt x="3562" y="970"/>
                    <a:pt x="3560" y="970"/>
                    <a:pt x="3558" y="970"/>
                  </a:cubicBezTo>
                  <a:cubicBezTo>
                    <a:pt x="3490" y="970"/>
                    <a:pt x="3431" y="922"/>
                    <a:pt x="3421" y="851"/>
                  </a:cubicBezTo>
                  <a:cubicBezTo>
                    <a:pt x="3421" y="844"/>
                    <a:pt x="3421" y="837"/>
                    <a:pt x="3421" y="830"/>
                  </a:cubicBezTo>
                  <a:cubicBezTo>
                    <a:pt x="3421" y="774"/>
                    <a:pt x="3446" y="718"/>
                    <a:pt x="3488" y="683"/>
                  </a:cubicBezTo>
                  <a:lnTo>
                    <a:pt x="3470" y="666"/>
                  </a:lnTo>
                  <a:cubicBezTo>
                    <a:pt x="3397" y="613"/>
                    <a:pt x="3306" y="543"/>
                    <a:pt x="3306" y="452"/>
                  </a:cubicBezTo>
                  <a:cubicBezTo>
                    <a:pt x="3306" y="372"/>
                    <a:pt x="3201" y="169"/>
                    <a:pt x="3152" y="120"/>
                  </a:cubicBezTo>
                  <a:cubicBezTo>
                    <a:pt x="3110" y="151"/>
                    <a:pt x="3071" y="183"/>
                    <a:pt x="3033" y="221"/>
                  </a:cubicBezTo>
                  <a:cubicBezTo>
                    <a:pt x="2921" y="326"/>
                    <a:pt x="2844" y="389"/>
                    <a:pt x="2773" y="389"/>
                  </a:cubicBezTo>
                  <a:cubicBezTo>
                    <a:pt x="2721" y="382"/>
                    <a:pt x="2668" y="365"/>
                    <a:pt x="2623" y="340"/>
                  </a:cubicBezTo>
                  <a:cubicBezTo>
                    <a:pt x="2581" y="319"/>
                    <a:pt x="2523" y="293"/>
                    <a:pt x="2492" y="293"/>
                  </a:cubicBezTo>
                  <a:cubicBezTo>
                    <a:pt x="2487" y="293"/>
                    <a:pt x="2483" y="293"/>
                    <a:pt x="2479" y="295"/>
                  </a:cubicBezTo>
                  <a:cubicBezTo>
                    <a:pt x="2472" y="298"/>
                    <a:pt x="2465" y="309"/>
                    <a:pt x="2462" y="316"/>
                  </a:cubicBezTo>
                  <a:cubicBezTo>
                    <a:pt x="2448" y="354"/>
                    <a:pt x="2420" y="386"/>
                    <a:pt x="2381" y="403"/>
                  </a:cubicBezTo>
                  <a:cubicBezTo>
                    <a:pt x="2363" y="410"/>
                    <a:pt x="2345" y="413"/>
                    <a:pt x="2326" y="413"/>
                  </a:cubicBezTo>
                  <a:cubicBezTo>
                    <a:pt x="2293" y="413"/>
                    <a:pt x="2260" y="403"/>
                    <a:pt x="2231" y="386"/>
                  </a:cubicBezTo>
                  <a:cubicBezTo>
                    <a:pt x="2196" y="371"/>
                    <a:pt x="2178" y="365"/>
                    <a:pt x="2167" y="365"/>
                  </a:cubicBezTo>
                  <a:cubicBezTo>
                    <a:pt x="2156" y="365"/>
                    <a:pt x="2152" y="370"/>
                    <a:pt x="2147" y="379"/>
                  </a:cubicBezTo>
                  <a:cubicBezTo>
                    <a:pt x="2125" y="416"/>
                    <a:pt x="2081" y="439"/>
                    <a:pt x="2038" y="439"/>
                  </a:cubicBezTo>
                  <a:cubicBezTo>
                    <a:pt x="2032" y="439"/>
                    <a:pt x="2026" y="439"/>
                    <a:pt x="2021" y="438"/>
                  </a:cubicBezTo>
                  <a:cubicBezTo>
                    <a:pt x="1926" y="417"/>
                    <a:pt x="1884" y="270"/>
                    <a:pt x="1870" y="211"/>
                  </a:cubicBezTo>
                  <a:lnTo>
                    <a:pt x="1870" y="200"/>
                  </a:lnTo>
                  <a:lnTo>
                    <a:pt x="1870" y="197"/>
                  </a:lnTo>
                  <a:lnTo>
                    <a:pt x="1863" y="197"/>
                  </a:lnTo>
                  <a:lnTo>
                    <a:pt x="1835" y="204"/>
                  </a:lnTo>
                  <a:lnTo>
                    <a:pt x="1814" y="211"/>
                  </a:lnTo>
                  <a:lnTo>
                    <a:pt x="1776" y="218"/>
                  </a:lnTo>
                  <a:lnTo>
                    <a:pt x="1744" y="221"/>
                  </a:lnTo>
                  <a:lnTo>
                    <a:pt x="1716" y="228"/>
                  </a:lnTo>
                  <a:lnTo>
                    <a:pt x="1688" y="228"/>
                  </a:lnTo>
                  <a:lnTo>
                    <a:pt x="1664" y="232"/>
                  </a:lnTo>
                  <a:lnTo>
                    <a:pt x="1636" y="235"/>
                  </a:lnTo>
                  <a:lnTo>
                    <a:pt x="1447" y="235"/>
                  </a:lnTo>
                  <a:lnTo>
                    <a:pt x="1398" y="232"/>
                  </a:lnTo>
                  <a:lnTo>
                    <a:pt x="1384" y="232"/>
                  </a:lnTo>
                  <a:cubicBezTo>
                    <a:pt x="1342" y="228"/>
                    <a:pt x="1303" y="225"/>
                    <a:pt x="1268" y="218"/>
                  </a:cubicBezTo>
                  <a:lnTo>
                    <a:pt x="1254" y="218"/>
                  </a:lnTo>
                  <a:lnTo>
                    <a:pt x="1216" y="211"/>
                  </a:lnTo>
                  <a:lnTo>
                    <a:pt x="1202" y="207"/>
                  </a:lnTo>
                  <a:lnTo>
                    <a:pt x="1170" y="200"/>
                  </a:lnTo>
                  <a:lnTo>
                    <a:pt x="1156" y="197"/>
                  </a:lnTo>
                  <a:lnTo>
                    <a:pt x="1128" y="186"/>
                  </a:lnTo>
                  <a:lnTo>
                    <a:pt x="1118" y="183"/>
                  </a:lnTo>
                  <a:cubicBezTo>
                    <a:pt x="1107" y="179"/>
                    <a:pt x="1097" y="172"/>
                    <a:pt x="1086" y="169"/>
                  </a:cubicBezTo>
                  <a:cubicBezTo>
                    <a:pt x="1055" y="155"/>
                    <a:pt x="1030" y="130"/>
                    <a:pt x="1016" y="99"/>
                  </a:cubicBezTo>
                  <a:cubicBezTo>
                    <a:pt x="1013" y="95"/>
                    <a:pt x="1009" y="92"/>
                    <a:pt x="1002" y="88"/>
                  </a:cubicBezTo>
                  <a:cubicBezTo>
                    <a:pt x="925" y="46"/>
                    <a:pt x="838" y="18"/>
                    <a:pt x="750" y="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551" name="Google Shape;3551;p104"/>
            <p:cNvSpPr/>
            <p:nvPr/>
          </p:nvSpPr>
          <p:spPr>
            <a:xfrm>
              <a:off x="1956464" y="1952582"/>
              <a:ext cx="244" cy="14"/>
            </a:xfrm>
            <a:custGeom>
              <a:avLst/>
              <a:gdLst/>
              <a:ahLst/>
              <a:cxnLst/>
              <a:rect l="l" t="t" r="r" b="b"/>
              <a:pathLst>
                <a:path w="18" h="1" extrusionOk="0">
                  <a:moveTo>
                    <a:pt x="18"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552" name="Google Shape;3552;p104"/>
            <p:cNvSpPr/>
            <p:nvPr/>
          </p:nvSpPr>
          <p:spPr>
            <a:xfrm>
              <a:off x="1957510" y="1952582"/>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553" name="Google Shape;3553;p104"/>
            <p:cNvSpPr/>
            <p:nvPr/>
          </p:nvSpPr>
          <p:spPr>
            <a:xfrm>
              <a:off x="1953898" y="1952352"/>
              <a:ext cx="149" cy="14"/>
            </a:xfrm>
            <a:custGeom>
              <a:avLst/>
              <a:gdLst/>
              <a:ahLst/>
              <a:cxnLst/>
              <a:rect l="l" t="t" r="r" b="b"/>
              <a:pathLst>
                <a:path w="11" h="1" extrusionOk="0">
                  <a:moveTo>
                    <a:pt x="11"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554" name="Google Shape;3554;p104"/>
            <p:cNvSpPr/>
            <p:nvPr/>
          </p:nvSpPr>
          <p:spPr>
            <a:xfrm>
              <a:off x="1953138" y="1952162"/>
              <a:ext cx="244" cy="54"/>
            </a:xfrm>
            <a:custGeom>
              <a:avLst/>
              <a:gdLst/>
              <a:ahLst/>
              <a:cxnLst/>
              <a:rect l="l" t="t" r="r" b="b"/>
              <a:pathLst>
                <a:path w="18" h="4" extrusionOk="0">
                  <a:moveTo>
                    <a:pt x="18"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555" name="Google Shape;3555;p104"/>
            <p:cNvSpPr/>
            <p:nvPr/>
          </p:nvSpPr>
          <p:spPr>
            <a:xfrm>
              <a:off x="1951997" y="1951822"/>
              <a:ext cx="149" cy="68"/>
            </a:xfrm>
            <a:custGeom>
              <a:avLst/>
              <a:gdLst/>
              <a:ahLst/>
              <a:cxnLst/>
              <a:rect l="l" t="t" r="r" b="b"/>
              <a:pathLst>
                <a:path w="11" h="5" extrusionOk="0">
                  <a:moveTo>
                    <a:pt x="11"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556" name="Google Shape;3556;p104"/>
            <p:cNvSpPr/>
            <p:nvPr/>
          </p:nvSpPr>
          <p:spPr>
            <a:xfrm>
              <a:off x="1952513" y="1952012"/>
              <a:ext cx="204" cy="68"/>
            </a:xfrm>
            <a:custGeom>
              <a:avLst/>
              <a:gdLst/>
              <a:ahLst/>
              <a:cxnLst/>
              <a:rect l="l" t="t" r="r" b="b"/>
              <a:pathLst>
                <a:path w="15" h="5" extrusionOk="0">
                  <a:moveTo>
                    <a:pt x="15" y="4"/>
                  </a:moveTo>
                  <a:lnTo>
                    <a:pt x="1"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557" name="Google Shape;3557;p104"/>
            <p:cNvSpPr/>
            <p:nvPr/>
          </p:nvSpPr>
          <p:spPr>
            <a:xfrm>
              <a:off x="1955650" y="1952542"/>
              <a:ext cx="204" cy="14"/>
            </a:xfrm>
            <a:custGeom>
              <a:avLst/>
              <a:gdLst/>
              <a:ahLst/>
              <a:cxnLst/>
              <a:rect l="l" t="t" r="r" b="b"/>
              <a:pathLst>
                <a:path w="15" h="1" extrusionOk="0">
                  <a:moveTo>
                    <a:pt x="15"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558" name="Google Shape;3558;p104"/>
            <p:cNvSpPr/>
            <p:nvPr/>
          </p:nvSpPr>
          <p:spPr>
            <a:xfrm>
              <a:off x="1958026" y="1952582"/>
              <a:ext cx="353" cy="14"/>
            </a:xfrm>
            <a:custGeom>
              <a:avLst/>
              <a:gdLst/>
              <a:ahLst/>
              <a:cxnLst/>
              <a:rect l="l" t="t" r="r" b="b"/>
              <a:pathLst>
                <a:path w="26" h="1" extrusionOk="0">
                  <a:moveTo>
                    <a:pt x="25"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559" name="Google Shape;3559;p104"/>
            <p:cNvSpPr/>
            <p:nvPr/>
          </p:nvSpPr>
          <p:spPr>
            <a:xfrm>
              <a:off x="1958745" y="1952542"/>
              <a:ext cx="339" cy="14"/>
            </a:xfrm>
            <a:custGeom>
              <a:avLst/>
              <a:gdLst/>
              <a:ahLst/>
              <a:cxnLst/>
              <a:rect l="l" t="t" r="r" b="b"/>
              <a:pathLst>
                <a:path w="25" h="1" extrusionOk="0">
                  <a:moveTo>
                    <a:pt x="25"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560" name="Google Shape;3560;p104"/>
            <p:cNvSpPr/>
            <p:nvPr/>
          </p:nvSpPr>
          <p:spPr>
            <a:xfrm>
              <a:off x="1960972" y="1952202"/>
              <a:ext cx="543" cy="109"/>
            </a:xfrm>
            <a:custGeom>
              <a:avLst/>
              <a:gdLst/>
              <a:ahLst/>
              <a:cxnLst/>
              <a:rect l="l" t="t" r="r" b="b"/>
              <a:pathLst>
                <a:path w="40" h="8" extrusionOk="0">
                  <a:moveTo>
                    <a:pt x="39" y="1"/>
                  </a:moveTo>
                  <a:lnTo>
                    <a:pt x="1" y="8"/>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561" name="Google Shape;3561;p104"/>
            <p:cNvSpPr/>
            <p:nvPr/>
          </p:nvSpPr>
          <p:spPr>
            <a:xfrm>
              <a:off x="1959451" y="1952487"/>
              <a:ext cx="353" cy="68"/>
            </a:xfrm>
            <a:custGeom>
              <a:avLst/>
              <a:gdLst/>
              <a:ahLst/>
              <a:cxnLst/>
              <a:rect l="l" t="t" r="r" b="b"/>
              <a:pathLst>
                <a:path w="26" h="5" extrusionOk="0">
                  <a:moveTo>
                    <a:pt x="25" y="1"/>
                  </a:moveTo>
                  <a:lnTo>
                    <a:pt x="1" y="4"/>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562" name="Google Shape;3562;p104"/>
            <p:cNvSpPr/>
            <p:nvPr/>
          </p:nvSpPr>
          <p:spPr>
            <a:xfrm>
              <a:off x="1960171" y="1952392"/>
              <a:ext cx="394" cy="68"/>
            </a:xfrm>
            <a:custGeom>
              <a:avLst/>
              <a:gdLst/>
              <a:ahLst/>
              <a:cxnLst/>
              <a:rect l="l" t="t" r="r" b="b"/>
              <a:pathLst>
                <a:path w="29" h="5" extrusionOk="0">
                  <a:moveTo>
                    <a:pt x="28"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563" name="Google Shape;3563;p104"/>
            <p:cNvSpPr/>
            <p:nvPr/>
          </p:nvSpPr>
          <p:spPr>
            <a:xfrm>
              <a:off x="1961732" y="1952067"/>
              <a:ext cx="448" cy="109"/>
            </a:xfrm>
            <a:custGeom>
              <a:avLst/>
              <a:gdLst/>
              <a:ahLst/>
              <a:cxnLst/>
              <a:rect l="l" t="t" r="r" b="b"/>
              <a:pathLst>
                <a:path w="33" h="8" extrusionOk="0">
                  <a:moveTo>
                    <a:pt x="32"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564" name="Google Shape;3564;p104"/>
            <p:cNvSpPr/>
            <p:nvPr/>
          </p:nvSpPr>
          <p:spPr>
            <a:xfrm>
              <a:off x="1946865" y="1949351"/>
              <a:ext cx="190" cy="964"/>
            </a:xfrm>
            <a:custGeom>
              <a:avLst/>
              <a:gdLst/>
              <a:ahLst/>
              <a:cxnLst/>
              <a:rect l="l" t="t" r="r" b="b"/>
              <a:pathLst>
                <a:path w="14" h="71" extrusionOk="0">
                  <a:moveTo>
                    <a:pt x="14" y="1"/>
                  </a:moveTo>
                  <a:lnTo>
                    <a:pt x="14" y="3"/>
                  </a:lnTo>
                  <a:lnTo>
                    <a:pt x="14" y="3"/>
                  </a:lnTo>
                  <a:cubicBezTo>
                    <a:pt x="14" y="2"/>
                    <a:pt x="14" y="1"/>
                    <a:pt x="14" y="1"/>
                  </a:cubicBezTo>
                  <a:close/>
                  <a:moveTo>
                    <a:pt x="14" y="3"/>
                  </a:moveTo>
                  <a:lnTo>
                    <a:pt x="14" y="3"/>
                  </a:lnTo>
                  <a:cubicBezTo>
                    <a:pt x="13" y="8"/>
                    <a:pt x="11" y="12"/>
                    <a:pt x="11" y="18"/>
                  </a:cubicBezTo>
                  <a:lnTo>
                    <a:pt x="11" y="25"/>
                  </a:lnTo>
                  <a:cubicBezTo>
                    <a:pt x="7" y="39"/>
                    <a:pt x="4" y="53"/>
                    <a:pt x="0" y="64"/>
                  </a:cubicBezTo>
                  <a:lnTo>
                    <a:pt x="11" y="71"/>
                  </a:lnTo>
                  <a:lnTo>
                    <a:pt x="14" y="3"/>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565" name="Google Shape;3565;p104"/>
            <p:cNvSpPr/>
            <p:nvPr/>
          </p:nvSpPr>
          <p:spPr>
            <a:xfrm>
              <a:off x="1946756" y="1950261"/>
              <a:ext cx="109" cy="204"/>
            </a:xfrm>
            <a:custGeom>
              <a:avLst/>
              <a:gdLst/>
              <a:ahLst/>
              <a:cxnLst/>
              <a:rect l="l" t="t" r="r" b="b"/>
              <a:pathLst>
                <a:path w="8" h="15" extrusionOk="0">
                  <a:moveTo>
                    <a:pt x="8" y="0"/>
                  </a:moveTo>
                  <a:lnTo>
                    <a:pt x="8" y="0"/>
                  </a:lnTo>
                  <a:cubicBezTo>
                    <a:pt x="5" y="4"/>
                    <a:pt x="1" y="11"/>
                    <a:pt x="1" y="14"/>
                  </a:cubicBezTo>
                  <a:cubicBezTo>
                    <a:pt x="5" y="11"/>
                    <a:pt x="8" y="4"/>
                    <a:pt x="8"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566" name="Google Shape;3566;p104"/>
            <p:cNvSpPr/>
            <p:nvPr/>
          </p:nvSpPr>
          <p:spPr>
            <a:xfrm>
              <a:off x="1946281" y="1951211"/>
              <a:ext cx="163" cy="244"/>
            </a:xfrm>
            <a:custGeom>
              <a:avLst/>
              <a:gdLst/>
              <a:ahLst/>
              <a:cxnLst/>
              <a:rect l="l" t="t" r="r" b="b"/>
              <a:pathLst>
                <a:path w="12" h="18" extrusionOk="0">
                  <a:moveTo>
                    <a:pt x="1" y="18"/>
                  </a:moveTo>
                  <a:cubicBezTo>
                    <a:pt x="4" y="11"/>
                    <a:pt x="8" y="7"/>
                    <a:pt x="11" y="0"/>
                  </a:cubicBezTo>
                  <a:cubicBezTo>
                    <a:pt x="8" y="7"/>
                    <a:pt x="4" y="11"/>
                    <a:pt x="1" y="18"/>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567" name="Google Shape;3567;p104"/>
            <p:cNvSpPr/>
            <p:nvPr/>
          </p:nvSpPr>
          <p:spPr>
            <a:xfrm>
              <a:off x="1936831" y="1960661"/>
              <a:ext cx="54" cy="14"/>
            </a:xfrm>
            <a:custGeom>
              <a:avLst/>
              <a:gdLst/>
              <a:ahLst/>
              <a:cxnLst/>
              <a:rect l="l" t="t" r="r" b="b"/>
              <a:pathLst>
                <a:path w="4" h="1" extrusionOk="0">
                  <a:moveTo>
                    <a:pt x="0" y="1"/>
                  </a:moveTo>
                  <a:lnTo>
                    <a:pt x="0" y="1"/>
                  </a:lnTo>
                  <a:lnTo>
                    <a:pt x="0" y="1"/>
                  </a:lnTo>
                  <a:lnTo>
                    <a:pt x="4"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568" name="Google Shape;3568;p104"/>
            <p:cNvSpPr/>
            <p:nvPr/>
          </p:nvSpPr>
          <p:spPr>
            <a:xfrm>
              <a:off x="1945521" y="1952012"/>
              <a:ext cx="258" cy="204"/>
            </a:xfrm>
            <a:custGeom>
              <a:avLst/>
              <a:gdLst/>
              <a:ahLst/>
              <a:cxnLst/>
              <a:rect l="l" t="t" r="r" b="b"/>
              <a:pathLst>
                <a:path w="19" h="15" extrusionOk="0">
                  <a:moveTo>
                    <a:pt x="1" y="15"/>
                  </a:moveTo>
                  <a:cubicBezTo>
                    <a:pt x="8" y="8"/>
                    <a:pt x="11" y="4"/>
                    <a:pt x="18" y="1"/>
                  </a:cubicBezTo>
                  <a:cubicBezTo>
                    <a:pt x="11" y="4"/>
                    <a:pt x="8" y="8"/>
                    <a:pt x="1" y="15"/>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569" name="Google Shape;3569;p104"/>
            <p:cNvSpPr/>
            <p:nvPr/>
          </p:nvSpPr>
          <p:spPr>
            <a:xfrm>
              <a:off x="1944856" y="1952297"/>
              <a:ext cx="489" cy="258"/>
            </a:xfrm>
            <a:custGeom>
              <a:avLst/>
              <a:gdLst/>
              <a:ahLst/>
              <a:cxnLst/>
              <a:rect l="l" t="t" r="r" b="b"/>
              <a:pathLst>
                <a:path w="36" h="19" extrusionOk="0">
                  <a:moveTo>
                    <a:pt x="1" y="18"/>
                  </a:moveTo>
                  <a:cubicBezTo>
                    <a:pt x="15" y="15"/>
                    <a:pt x="25" y="8"/>
                    <a:pt x="36" y="1"/>
                  </a:cubicBezTo>
                  <a:cubicBezTo>
                    <a:pt x="25" y="8"/>
                    <a:pt x="15" y="15"/>
                    <a:pt x="1" y="18"/>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570" name="Google Shape;3570;p104"/>
            <p:cNvSpPr/>
            <p:nvPr/>
          </p:nvSpPr>
          <p:spPr>
            <a:xfrm>
              <a:off x="1936967" y="1959616"/>
              <a:ext cx="1249" cy="964"/>
            </a:xfrm>
            <a:custGeom>
              <a:avLst/>
              <a:gdLst/>
              <a:ahLst/>
              <a:cxnLst/>
              <a:rect l="l" t="t" r="r" b="b"/>
              <a:pathLst>
                <a:path w="92" h="71" extrusionOk="0">
                  <a:moveTo>
                    <a:pt x="92" y="1"/>
                  </a:moveTo>
                  <a:cubicBezTo>
                    <a:pt x="60" y="25"/>
                    <a:pt x="29" y="50"/>
                    <a:pt x="1" y="71"/>
                  </a:cubicBezTo>
                  <a:cubicBezTo>
                    <a:pt x="29" y="50"/>
                    <a:pt x="60" y="29"/>
                    <a:pt x="92" y="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571" name="Google Shape;3571;p104"/>
            <p:cNvSpPr/>
            <p:nvPr/>
          </p:nvSpPr>
          <p:spPr>
            <a:xfrm>
              <a:off x="1945955" y="1951632"/>
              <a:ext cx="204" cy="204"/>
            </a:xfrm>
            <a:custGeom>
              <a:avLst/>
              <a:gdLst/>
              <a:ahLst/>
              <a:cxnLst/>
              <a:rect l="l" t="t" r="r" b="b"/>
              <a:pathLst>
                <a:path w="15" h="15" extrusionOk="0">
                  <a:moveTo>
                    <a:pt x="14" y="1"/>
                  </a:moveTo>
                  <a:cubicBezTo>
                    <a:pt x="7" y="4"/>
                    <a:pt x="4" y="11"/>
                    <a:pt x="0" y="15"/>
                  </a:cubicBezTo>
                  <a:cubicBezTo>
                    <a:pt x="4" y="11"/>
                    <a:pt x="11" y="4"/>
                    <a:pt x="14" y="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572" name="Google Shape;3572;p104"/>
            <p:cNvSpPr/>
            <p:nvPr/>
          </p:nvSpPr>
          <p:spPr>
            <a:xfrm>
              <a:off x="1946526" y="1950736"/>
              <a:ext cx="149" cy="244"/>
            </a:xfrm>
            <a:custGeom>
              <a:avLst/>
              <a:gdLst/>
              <a:ahLst/>
              <a:cxnLst/>
              <a:rect l="l" t="t" r="r" b="b"/>
              <a:pathLst>
                <a:path w="11" h="18" extrusionOk="0">
                  <a:moveTo>
                    <a:pt x="11" y="0"/>
                  </a:moveTo>
                  <a:lnTo>
                    <a:pt x="11" y="0"/>
                  </a:lnTo>
                  <a:cubicBezTo>
                    <a:pt x="7" y="7"/>
                    <a:pt x="4" y="11"/>
                    <a:pt x="0" y="18"/>
                  </a:cubicBezTo>
                  <a:cubicBezTo>
                    <a:pt x="4" y="11"/>
                    <a:pt x="11" y="7"/>
                    <a:pt x="11"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573" name="Google Shape;3573;p104"/>
            <p:cNvSpPr/>
            <p:nvPr/>
          </p:nvSpPr>
          <p:spPr>
            <a:xfrm>
              <a:off x="1946865" y="1950206"/>
              <a:ext cx="0" cy="68"/>
            </a:xfrm>
            <a:custGeom>
              <a:avLst/>
              <a:gdLst/>
              <a:ahLst/>
              <a:cxnLst/>
              <a:rect l="l" t="t" r="r" b="b"/>
              <a:pathLst>
                <a:path h="5" extrusionOk="0">
                  <a:moveTo>
                    <a:pt x="0" y="1"/>
                  </a:moveTo>
                  <a:lnTo>
                    <a:pt x="0" y="4"/>
                  </a:lnTo>
                  <a:lnTo>
                    <a:pt x="0" y="4"/>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574" name="Google Shape;3574;p104"/>
            <p:cNvSpPr/>
            <p:nvPr/>
          </p:nvSpPr>
          <p:spPr>
            <a:xfrm>
              <a:off x="1946960" y="1949595"/>
              <a:ext cx="0" cy="109"/>
            </a:xfrm>
            <a:custGeom>
              <a:avLst/>
              <a:gdLst/>
              <a:ahLst/>
              <a:cxnLst/>
              <a:rect l="l" t="t" r="r" b="b"/>
              <a:pathLst>
                <a:path h="8" extrusionOk="0">
                  <a:moveTo>
                    <a:pt x="0" y="7"/>
                  </a:moveTo>
                  <a:lnTo>
                    <a:pt x="0"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575" name="Google Shape;3575;p104"/>
            <p:cNvSpPr/>
            <p:nvPr/>
          </p:nvSpPr>
          <p:spPr>
            <a:xfrm>
              <a:off x="1987217" y="1973261"/>
              <a:ext cx="109" cy="109"/>
            </a:xfrm>
            <a:custGeom>
              <a:avLst/>
              <a:gdLst/>
              <a:ahLst/>
              <a:cxnLst/>
              <a:rect l="l" t="t" r="r" b="b"/>
              <a:pathLst>
                <a:path w="8" h="8" extrusionOk="0">
                  <a:moveTo>
                    <a:pt x="7" y="7"/>
                  </a:moveTo>
                  <a:lnTo>
                    <a:pt x="0"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576" name="Google Shape;3576;p104"/>
            <p:cNvSpPr/>
            <p:nvPr/>
          </p:nvSpPr>
          <p:spPr>
            <a:xfrm>
              <a:off x="1986498" y="1969839"/>
              <a:ext cx="68" cy="204"/>
            </a:xfrm>
            <a:custGeom>
              <a:avLst/>
              <a:gdLst/>
              <a:ahLst/>
              <a:cxnLst/>
              <a:rect l="l" t="t" r="r" b="b"/>
              <a:pathLst>
                <a:path w="5" h="15" extrusionOk="0">
                  <a:moveTo>
                    <a:pt x="1" y="0"/>
                  </a:moveTo>
                  <a:lnTo>
                    <a:pt x="1" y="14"/>
                  </a:lnTo>
                  <a:cubicBezTo>
                    <a:pt x="4" y="11"/>
                    <a:pt x="4" y="4"/>
                    <a:pt x="1"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577" name="Google Shape;3577;p104"/>
            <p:cNvSpPr/>
            <p:nvPr/>
          </p:nvSpPr>
          <p:spPr>
            <a:xfrm>
              <a:off x="1986783" y="1972677"/>
              <a:ext cx="109" cy="163"/>
            </a:xfrm>
            <a:custGeom>
              <a:avLst/>
              <a:gdLst/>
              <a:ahLst/>
              <a:cxnLst/>
              <a:rect l="l" t="t" r="r" b="b"/>
              <a:pathLst>
                <a:path w="8" h="12" extrusionOk="0">
                  <a:moveTo>
                    <a:pt x="1" y="1"/>
                  </a:moveTo>
                  <a:cubicBezTo>
                    <a:pt x="1" y="1"/>
                    <a:pt x="1" y="1"/>
                    <a:pt x="1" y="1"/>
                  </a:cubicBezTo>
                  <a:cubicBezTo>
                    <a:pt x="1" y="2"/>
                    <a:pt x="2" y="3"/>
                    <a:pt x="2" y="3"/>
                  </a:cubicBezTo>
                  <a:lnTo>
                    <a:pt x="2" y="3"/>
                  </a:lnTo>
                  <a:cubicBezTo>
                    <a:pt x="2" y="2"/>
                    <a:pt x="1" y="1"/>
                    <a:pt x="1" y="1"/>
                  </a:cubicBezTo>
                  <a:close/>
                  <a:moveTo>
                    <a:pt x="2" y="3"/>
                  </a:moveTo>
                  <a:lnTo>
                    <a:pt x="2" y="3"/>
                  </a:lnTo>
                  <a:cubicBezTo>
                    <a:pt x="4" y="6"/>
                    <a:pt x="6" y="10"/>
                    <a:pt x="8" y="12"/>
                  </a:cubicBezTo>
                  <a:cubicBezTo>
                    <a:pt x="8" y="9"/>
                    <a:pt x="5" y="6"/>
                    <a:pt x="2" y="3"/>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578" name="Google Shape;3578;p104"/>
            <p:cNvSpPr/>
            <p:nvPr/>
          </p:nvSpPr>
          <p:spPr>
            <a:xfrm>
              <a:off x="1986457" y="1970315"/>
              <a:ext cx="54" cy="204"/>
            </a:xfrm>
            <a:custGeom>
              <a:avLst/>
              <a:gdLst/>
              <a:ahLst/>
              <a:cxnLst/>
              <a:rect l="l" t="t" r="r" b="b"/>
              <a:pathLst>
                <a:path w="4" h="15" extrusionOk="0">
                  <a:moveTo>
                    <a:pt x="0" y="0"/>
                  </a:moveTo>
                  <a:lnTo>
                    <a:pt x="0" y="14"/>
                  </a:lnTo>
                  <a:cubicBezTo>
                    <a:pt x="4" y="11"/>
                    <a:pt x="4" y="4"/>
                    <a:pt x="0"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579" name="Google Shape;3579;p104"/>
            <p:cNvSpPr/>
            <p:nvPr/>
          </p:nvSpPr>
          <p:spPr>
            <a:xfrm>
              <a:off x="1985547" y="1985236"/>
              <a:ext cx="1629" cy="1629"/>
            </a:xfrm>
            <a:custGeom>
              <a:avLst/>
              <a:gdLst/>
              <a:ahLst/>
              <a:cxnLst/>
              <a:rect l="l" t="t" r="r" b="b"/>
              <a:pathLst>
                <a:path w="120" h="120" extrusionOk="0">
                  <a:moveTo>
                    <a:pt x="64" y="60"/>
                  </a:moveTo>
                  <a:cubicBezTo>
                    <a:pt x="85" y="43"/>
                    <a:pt x="102" y="22"/>
                    <a:pt x="120" y="1"/>
                  </a:cubicBezTo>
                  <a:cubicBezTo>
                    <a:pt x="102" y="22"/>
                    <a:pt x="85" y="43"/>
                    <a:pt x="64" y="60"/>
                  </a:cubicBezTo>
                  <a:cubicBezTo>
                    <a:pt x="39" y="78"/>
                    <a:pt x="18" y="99"/>
                    <a:pt x="1" y="120"/>
                  </a:cubicBezTo>
                  <a:lnTo>
                    <a:pt x="1" y="120"/>
                  </a:lnTo>
                  <a:cubicBezTo>
                    <a:pt x="18" y="99"/>
                    <a:pt x="39" y="78"/>
                    <a:pt x="64" y="6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580" name="Google Shape;3580;p104"/>
            <p:cNvSpPr/>
            <p:nvPr/>
          </p:nvSpPr>
          <p:spPr>
            <a:xfrm>
              <a:off x="1986878" y="1967789"/>
              <a:ext cx="68" cy="258"/>
            </a:xfrm>
            <a:custGeom>
              <a:avLst/>
              <a:gdLst/>
              <a:ahLst/>
              <a:cxnLst/>
              <a:rect l="l" t="t" r="r" b="b"/>
              <a:pathLst>
                <a:path w="5" h="19" extrusionOk="0">
                  <a:moveTo>
                    <a:pt x="1" y="18"/>
                  </a:moveTo>
                  <a:lnTo>
                    <a:pt x="4"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581" name="Google Shape;3581;p104"/>
            <p:cNvSpPr/>
            <p:nvPr/>
          </p:nvSpPr>
          <p:spPr>
            <a:xfrm>
              <a:off x="1986742" y="1968319"/>
              <a:ext cx="54" cy="244"/>
            </a:xfrm>
            <a:custGeom>
              <a:avLst/>
              <a:gdLst/>
              <a:ahLst/>
              <a:cxnLst/>
              <a:rect l="l" t="t" r="r" b="b"/>
              <a:pathLst>
                <a:path w="4" h="18" extrusionOk="0">
                  <a:moveTo>
                    <a:pt x="0" y="18"/>
                  </a:moveTo>
                  <a:lnTo>
                    <a:pt x="4"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582" name="Google Shape;3582;p104"/>
            <p:cNvSpPr/>
            <p:nvPr/>
          </p:nvSpPr>
          <p:spPr>
            <a:xfrm>
              <a:off x="1986457" y="1971211"/>
              <a:ext cx="14" cy="204"/>
            </a:xfrm>
            <a:custGeom>
              <a:avLst/>
              <a:gdLst/>
              <a:ahLst/>
              <a:cxnLst/>
              <a:rect l="l" t="t" r="r" b="b"/>
              <a:pathLst>
                <a:path w="1" h="15" extrusionOk="0">
                  <a:moveTo>
                    <a:pt x="0" y="15"/>
                  </a:moveTo>
                  <a:lnTo>
                    <a:pt x="0"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583" name="Google Shape;3583;p104"/>
            <p:cNvSpPr/>
            <p:nvPr/>
          </p:nvSpPr>
          <p:spPr>
            <a:xfrm>
              <a:off x="1986688" y="1968835"/>
              <a:ext cx="14" cy="258"/>
            </a:xfrm>
            <a:custGeom>
              <a:avLst/>
              <a:gdLst/>
              <a:ahLst/>
              <a:cxnLst/>
              <a:rect l="l" t="t" r="r" b="b"/>
              <a:pathLst>
                <a:path w="1" h="19" extrusionOk="0">
                  <a:moveTo>
                    <a:pt x="1" y="18"/>
                  </a:moveTo>
                  <a:lnTo>
                    <a:pt x="1"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584" name="Google Shape;3584;p104"/>
            <p:cNvSpPr/>
            <p:nvPr/>
          </p:nvSpPr>
          <p:spPr>
            <a:xfrm>
              <a:off x="1986457" y="1970736"/>
              <a:ext cx="14" cy="258"/>
            </a:xfrm>
            <a:custGeom>
              <a:avLst/>
              <a:gdLst/>
              <a:ahLst/>
              <a:cxnLst/>
              <a:rect l="l" t="t" r="r" b="b"/>
              <a:pathLst>
                <a:path w="1" h="19" extrusionOk="0">
                  <a:moveTo>
                    <a:pt x="0" y="1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585" name="Google Shape;3585;p104"/>
            <p:cNvSpPr/>
            <p:nvPr/>
          </p:nvSpPr>
          <p:spPr>
            <a:xfrm>
              <a:off x="1986973" y="1967273"/>
              <a:ext cx="68" cy="244"/>
            </a:xfrm>
            <a:custGeom>
              <a:avLst/>
              <a:gdLst/>
              <a:ahLst/>
              <a:cxnLst/>
              <a:rect l="l" t="t" r="r" b="b"/>
              <a:pathLst>
                <a:path w="5" h="18" extrusionOk="0">
                  <a:moveTo>
                    <a:pt x="1" y="18"/>
                  </a:moveTo>
                  <a:lnTo>
                    <a:pt x="4"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586" name="Google Shape;3586;p104"/>
            <p:cNvSpPr/>
            <p:nvPr/>
          </p:nvSpPr>
          <p:spPr>
            <a:xfrm>
              <a:off x="1986959" y="1973017"/>
              <a:ext cx="122" cy="109"/>
            </a:xfrm>
            <a:custGeom>
              <a:avLst/>
              <a:gdLst/>
              <a:ahLst/>
              <a:cxnLst/>
              <a:rect l="l" t="t" r="r" b="b"/>
              <a:pathLst>
                <a:path w="9" h="8" extrusionOk="0">
                  <a:moveTo>
                    <a:pt x="1" y="0"/>
                  </a:moveTo>
                  <a:lnTo>
                    <a:pt x="1" y="0"/>
                  </a:lnTo>
                  <a:cubicBezTo>
                    <a:pt x="1" y="0"/>
                    <a:pt x="1" y="0"/>
                    <a:pt x="2" y="1"/>
                  </a:cubicBezTo>
                  <a:cubicBezTo>
                    <a:pt x="2" y="1"/>
                    <a:pt x="4" y="2"/>
                    <a:pt x="7" y="4"/>
                  </a:cubicBezTo>
                  <a:lnTo>
                    <a:pt x="7" y="4"/>
                  </a:lnTo>
                  <a:cubicBezTo>
                    <a:pt x="4" y="2"/>
                    <a:pt x="2" y="0"/>
                    <a:pt x="1" y="0"/>
                  </a:cubicBezTo>
                  <a:close/>
                  <a:moveTo>
                    <a:pt x="7" y="4"/>
                  </a:moveTo>
                  <a:lnTo>
                    <a:pt x="7" y="4"/>
                  </a:lnTo>
                  <a:cubicBezTo>
                    <a:pt x="8" y="6"/>
                    <a:pt x="9" y="7"/>
                    <a:pt x="9" y="8"/>
                  </a:cubicBezTo>
                  <a:cubicBezTo>
                    <a:pt x="9" y="7"/>
                    <a:pt x="8" y="5"/>
                    <a:pt x="7" y="4"/>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587" name="Google Shape;3587;p104"/>
            <p:cNvSpPr/>
            <p:nvPr/>
          </p:nvSpPr>
          <p:spPr>
            <a:xfrm>
              <a:off x="1986498" y="1971591"/>
              <a:ext cx="14" cy="204"/>
            </a:xfrm>
            <a:custGeom>
              <a:avLst/>
              <a:gdLst/>
              <a:ahLst/>
              <a:cxnLst/>
              <a:rect l="l" t="t" r="r" b="b"/>
              <a:pathLst>
                <a:path w="1" h="15" extrusionOk="0">
                  <a:moveTo>
                    <a:pt x="1" y="15"/>
                  </a:moveTo>
                  <a:lnTo>
                    <a:pt x="1" y="1"/>
                  </a:lnTo>
                  <a:cubicBezTo>
                    <a:pt x="1" y="8"/>
                    <a:pt x="1" y="11"/>
                    <a:pt x="1" y="15"/>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588" name="Google Shape;3588;p104"/>
            <p:cNvSpPr/>
            <p:nvPr/>
          </p:nvSpPr>
          <p:spPr>
            <a:xfrm>
              <a:off x="1986647" y="1972351"/>
              <a:ext cx="54" cy="163"/>
            </a:xfrm>
            <a:custGeom>
              <a:avLst/>
              <a:gdLst/>
              <a:ahLst/>
              <a:cxnLst/>
              <a:rect l="l" t="t" r="r" b="b"/>
              <a:pathLst>
                <a:path w="4" h="12" extrusionOk="0">
                  <a:moveTo>
                    <a:pt x="4" y="11"/>
                  </a:moveTo>
                  <a:cubicBezTo>
                    <a:pt x="4" y="8"/>
                    <a:pt x="4" y="4"/>
                    <a:pt x="0" y="1"/>
                  </a:cubicBezTo>
                  <a:cubicBezTo>
                    <a:pt x="4" y="4"/>
                    <a:pt x="4" y="8"/>
                    <a:pt x="4" y="1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589" name="Google Shape;3589;p104"/>
            <p:cNvSpPr/>
            <p:nvPr/>
          </p:nvSpPr>
          <p:spPr>
            <a:xfrm>
              <a:off x="1986552" y="1971971"/>
              <a:ext cx="54" cy="204"/>
            </a:xfrm>
            <a:custGeom>
              <a:avLst/>
              <a:gdLst/>
              <a:ahLst/>
              <a:cxnLst/>
              <a:rect l="l" t="t" r="r" b="b"/>
              <a:pathLst>
                <a:path w="4" h="15" extrusionOk="0">
                  <a:moveTo>
                    <a:pt x="0" y="1"/>
                  </a:moveTo>
                  <a:lnTo>
                    <a:pt x="0" y="1"/>
                  </a:lnTo>
                  <a:cubicBezTo>
                    <a:pt x="0" y="8"/>
                    <a:pt x="4" y="11"/>
                    <a:pt x="4" y="15"/>
                  </a:cubicBezTo>
                  <a:cubicBezTo>
                    <a:pt x="4" y="11"/>
                    <a:pt x="4" y="8"/>
                    <a:pt x="0" y="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590" name="Google Shape;3590;p104"/>
            <p:cNvSpPr/>
            <p:nvPr/>
          </p:nvSpPr>
          <p:spPr>
            <a:xfrm>
              <a:off x="1986593" y="1969310"/>
              <a:ext cx="68" cy="258"/>
            </a:xfrm>
            <a:custGeom>
              <a:avLst/>
              <a:gdLst/>
              <a:ahLst/>
              <a:cxnLst/>
              <a:rect l="l" t="t" r="r" b="b"/>
              <a:pathLst>
                <a:path w="5" h="19" extrusionOk="0">
                  <a:moveTo>
                    <a:pt x="1" y="18"/>
                  </a:moveTo>
                  <a:lnTo>
                    <a:pt x="4"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591" name="Google Shape;3591;p104"/>
            <p:cNvSpPr/>
            <p:nvPr/>
          </p:nvSpPr>
          <p:spPr>
            <a:xfrm>
              <a:off x="1963443" y="1981204"/>
              <a:ext cx="29110" cy="27820"/>
            </a:xfrm>
            <a:custGeom>
              <a:avLst/>
              <a:gdLst/>
              <a:ahLst/>
              <a:cxnLst/>
              <a:rect l="l" t="t" r="r" b="b"/>
              <a:pathLst>
                <a:path w="2144" h="2049" extrusionOk="0">
                  <a:moveTo>
                    <a:pt x="869" y="0"/>
                  </a:moveTo>
                  <a:lnTo>
                    <a:pt x="848" y="4"/>
                  </a:lnTo>
                  <a:lnTo>
                    <a:pt x="837" y="4"/>
                  </a:lnTo>
                  <a:lnTo>
                    <a:pt x="813" y="7"/>
                  </a:lnTo>
                  <a:lnTo>
                    <a:pt x="799" y="11"/>
                  </a:lnTo>
                  <a:lnTo>
                    <a:pt x="771" y="14"/>
                  </a:lnTo>
                  <a:lnTo>
                    <a:pt x="753" y="18"/>
                  </a:lnTo>
                  <a:lnTo>
                    <a:pt x="722" y="25"/>
                  </a:lnTo>
                  <a:lnTo>
                    <a:pt x="704" y="28"/>
                  </a:lnTo>
                  <a:lnTo>
                    <a:pt x="673" y="35"/>
                  </a:lnTo>
                  <a:lnTo>
                    <a:pt x="652" y="39"/>
                  </a:lnTo>
                  <a:lnTo>
                    <a:pt x="613" y="46"/>
                  </a:lnTo>
                  <a:lnTo>
                    <a:pt x="592" y="49"/>
                  </a:lnTo>
                  <a:lnTo>
                    <a:pt x="589" y="49"/>
                  </a:lnTo>
                  <a:lnTo>
                    <a:pt x="589" y="63"/>
                  </a:lnTo>
                  <a:lnTo>
                    <a:pt x="589" y="81"/>
                  </a:lnTo>
                  <a:cubicBezTo>
                    <a:pt x="589" y="84"/>
                    <a:pt x="589" y="95"/>
                    <a:pt x="585" y="102"/>
                  </a:cubicBezTo>
                  <a:cubicBezTo>
                    <a:pt x="585" y="109"/>
                    <a:pt x="585" y="112"/>
                    <a:pt x="585" y="116"/>
                  </a:cubicBezTo>
                  <a:cubicBezTo>
                    <a:pt x="582" y="123"/>
                    <a:pt x="582" y="133"/>
                    <a:pt x="578" y="140"/>
                  </a:cubicBezTo>
                  <a:lnTo>
                    <a:pt x="575" y="151"/>
                  </a:lnTo>
                  <a:cubicBezTo>
                    <a:pt x="571" y="168"/>
                    <a:pt x="564" y="189"/>
                    <a:pt x="557" y="207"/>
                  </a:cubicBezTo>
                  <a:cubicBezTo>
                    <a:pt x="550" y="224"/>
                    <a:pt x="540" y="256"/>
                    <a:pt x="536" y="277"/>
                  </a:cubicBezTo>
                  <a:cubicBezTo>
                    <a:pt x="536" y="280"/>
                    <a:pt x="533" y="284"/>
                    <a:pt x="533" y="291"/>
                  </a:cubicBezTo>
                  <a:cubicBezTo>
                    <a:pt x="529" y="301"/>
                    <a:pt x="526" y="312"/>
                    <a:pt x="519" y="326"/>
                  </a:cubicBezTo>
                  <a:cubicBezTo>
                    <a:pt x="484" y="396"/>
                    <a:pt x="396" y="466"/>
                    <a:pt x="270" y="553"/>
                  </a:cubicBezTo>
                  <a:lnTo>
                    <a:pt x="207" y="595"/>
                  </a:lnTo>
                  <a:cubicBezTo>
                    <a:pt x="155" y="630"/>
                    <a:pt x="106" y="662"/>
                    <a:pt x="74" y="690"/>
                  </a:cubicBezTo>
                  <a:lnTo>
                    <a:pt x="71" y="693"/>
                  </a:lnTo>
                  <a:lnTo>
                    <a:pt x="67" y="697"/>
                  </a:lnTo>
                  <a:lnTo>
                    <a:pt x="64" y="700"/>
                  </a:lnTo>
                  <a:lnTo>
                    <a:pt x="60" y="707"/>
                  </a:lnTo>
                  <a:lnTo>
                    <a:pt x="53" y="711"/>
                  </a:lnTo>
                  <a:lnTo>
                    <a:pt x="46" y="721"/>
                  </a:lnTo>
                  <a:lnTo>
                    <a:pt x="43" y="728"/>
                  </a:lnTo>
                  <a:lnTo>
                    <a:pt x="32" y="742"/>
                  </a:lnTo>
                  <a:lnTo>
                    <a:pt x="29" y="746"/>
                  </a:lnTo>
                  <a:lnTo>
                    <a:pt x="15" y="774"/>
                  </a:lnTo>
                  <a:lnTo>
                    <a:pt x="8" y="781"/>
                  </a:lnTo>
                  <a:lnTo>
                    <a:pt x="1" y="798"/>
                  </a:lnTo>
                  <a:cubicBezTo>
                    <a:pt x="218" y="935"/>
                    <a:pt x="459" y="1092"/>
                    <a:pt x="662" y="1243"/>
                  </a:cubicBezTo>
                  <a:cubicBezTo>
                    <a:pt x="1076" y="1554"/>
                    <a:pt x="1660" y="1936"/>
                    <a:pt x="1923" y="2034"/>
                  </a:cubicBezTo>
                  <a:cubicBezTo>
                    <a:pt x="1940" y="2041"/>
                    <a:pt x="1961" y="2045"/>
                    <a:pt x="1982" y="2048"/>
                  </a:cubicBezTo>
                  <a:lnTo>
                    <a:pt x="1982" y="2045"/>
                  </a:lnTo>
                  <a:lnTo>
                    <a:pt x="1986" y="2027"/>
                  </a:lnTo>
                  <a:cubicBezTo>
                    <a:pt x="1989" y="2017"/>
                    <a:pt x="1993" y="2006"/>
                    <a:pt x="1996" y="1996"/>
                  </a:cubicBezTo>
                  <a:lnTo>
                    <a:pt x="2000" y="1975"/>
                  </a:lnTo>
                  <a:lnTo>
                    <a:pt x="2010" y="1950"/>
                  </a:lnTo>
                  <a:lnTo>
                    <a:pt x="2014" y="1933"/>
                  </a:lnTo>
                  <a:lnTo>
                    <a:pt x="2021" y="1908"/>
                  </a:lnTo>
                  <a:lnTo>
                    <a:pt x="2028" y="1891"/>
                  </a:lnTo>
                  <a:lnTo>
                    <a:pt x="2035" y="1870"/>
                  </a:lnTo>
                  <a:lnTo>
                    <a:pt x="2042" y="1856"/>
                  </a:lnTo>
                  <a:lnTo>
                    <a:pt x="2049" y="1838"/>
                  </a:lnTo>
                  <a:lnTo>
                    <a:pt x="2052" y="1824"/>
                  </a:lnTo>
                  <a:lnTo>
                    <a:pt x="2063" y="1807"/>
                  </a:lnTo>
                  <a:lnTo>
                    <a:pt x="2066" y="1796"/>
                  </a:lnTo>
                  <a:lnTo>
                    <a:pt x="2077" y="1772"/>
                  </a:lnTo>
                  <a:cubicBezTo>
                    <a:pt x="2101" y="1716"/>
                    <a:pt x="2122" y="1659"/>
                    <a:pt x="2129" y="1600"/>
                  </a:cubicBezTo>
                  <a:cubicBezTo>
                    <a:pt x="2143" y="1491"/>
                    <a:pt x="1972" y="1393"/>
                    <a:pt x="1835" y="1313"/>
                  </a:cubicBezTo>
                  <a:cubicBezTo>
                    <a:pt x="1800" y="1292"/>
                    <a:pt x="1765" y="1271"/>
                    <a:pt x="1734" y="1250"/>
                  </a:cubicBezTo>
                  <a:cubicBezTo>
                    <a:pt x="1699" y="1225"/>
                    <a:pt x="1664" y="1208"/>
                    <a:pt x="1636" y="1194"/>
                  </a:cubicBezTo>
                  <a:lnTo>
                    <a:pt x="1608" y="1176"/>
                  </a:lnTo>
                  <a:cubicBezTo>
                    <a:pt x="1548" y="1145"/>
                    <a:pt x="1503" y="1124"/>
                    <a:pt x="1496" y="1071"/>
                  </a:cubicBezTo>
                  <a:cubicBezTo>
                    <a:pt x="1496" y="1033"/>
                    <a:pt x="1513" y="994"/>
                    <a:pt x="1545" y="973"/>
                  </a:cubicBezTo>
                  <a:cubicBezTo>
                    <a:pt x="1594" y="935"/>
                    <a:pt x="1608" y="823"/>
                    <a:pt x="1583" y="644"/>
                  </a:cubicBezTo>
                  <a:cubicBezTo>
                    <a:pt x="1580" y="609"/>
                    <a:pt x="1580" y="571"/>
                    <a:pt x="1583" y="536"/>
                  </a:cubicBezTo>
                  <a:lnTo>
                    <a:pt x="1559" y="529"/>
                  </a:lnTo>
                  <a:lnTo>
                    <a:pt x="1552" y="522"/>
                  </a:lnTo>
                  <a:lnTo>
                    <a:pt x="1538" y="515"/>
                  </a:lnTo>
                  <a:lnTo>
                    <a:pt x="1531" y="508"/>
                  </a:lnTo>
                  <a:lnTo>
                    <a:pt x="1520" y="497"/>
                  </a:lnTo>
                  <a:lnTo>
                    <a:pt x="1513" y="490"/>
                  </a:lnTo>
                  <a:cubicBezTo>
                    <a:pt x="1510" y="487"/>
                    <a:pt x="1503" y="480"/>
                    <a:pt x="1499" y="473"/>
                  </a:cubicBezTo>
                  <a:cubicBezTo>
                    <a:pt x="1461" y="522"/>
                    <a:pt x="1422" y="571"/>
                    <a:pt x="1387" y="623"/>
                  </a:cubicBezTo>
                  <a:lnTo>
                    <a:pt x="1384" y="627"/>
                  </a:lnTo>
                  <a:cubicBezTo>
                    <a:pt x="1377" y="634"/>
                    <a:pt x="1370" y="644"/>
                    <a:pt x="1359" y="655"/>
                  </a:cubicBezTo>
                  <a:lnTo>
                    <a:pt x="1352" y="662"/>
                  </a:lnTo>
                  <a:cubicBezTo>
                    <a:pt x="1345" y="665"/>
                    <a:pt x="1338" y="672"/>
                    <a:pt x="1328" y="676"/>
                  </a:cubicBezTo>
                  <a:lnTo>
                    <a:pt x="1321" y="683"/>
                  </a:lnTo>
                  <a:cubicBezTo>
                    <a:pt x="1310" y="686"/>
                    <a:pt x="1300" y="690"/>
                    <a:pt x="1289" y="693"/>
                  </a:cubicBezTo>
                  <a:lnTo>
                    <a:pt x="1279" y="693"/>
                  </a:lnTo>
                  <a:cubicBezTo>
                    <a:pt x="1272" y="693"/>
                    <a:pt x="1261" y="697"/>
                    <a:pt x="1254" y="697"/>
                  </a:cubicBezTo>
                  <a:lnTo>
                    <a:pt x="1205" y="697"/>
                  </a:lnTo>
                  <a:cubicBezTo>
                    <a:pt x="1195" y="693"/>
                    <a:pt x="1184" y="690"/>
                    <a:pt x="1174" y="686"/>
                  </a:cubicBezTo>
                  <a:cubicBezTo>
                    <a:pt x="1058" y="637"/>
                    <a:pt x="988" y="515"/>
                    <a:pt x="1002" y="389"/>
                  </a:cubicBezTo>
                  <a:cubicBezTo>
                    <a:pt x="1009" y="252"/>
                    <a:pt x="974" y="116"/>
                    <a:pt x="901"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592" name="Google Shape;3592;p104"/>
            <p:cNvSpPr/>
            <p:nvPr/>
          </p:nvSpPr>
          <p:spPr>
            <a:xfrm>
              <a:off x="1984787" y="1988522"/>
              <a:ext cx="68" cy="1534"/>
            </a:xfrm>
            <a:custGeom>
              <a:avLst/>
              <a:gdLst/>
              <a:ahLst/>
              <a:cxnLst/>
              <a:rect l="l" t="t" r="r" b="b"/>
              <a:pathLst>
                <a:path w="5" h="113" extrusionOk="0">
                  <a:moveTo>
                    <a:pt x="4" y="112"/>
                  </a:moveTo>
                  <a:cubicBezTo>
                    <a:pt x="1" y="74"/>
                    <a:pt x="1" y="35"/>
                    <a:pt x="4" y="0"/>
                  </a:cubicBezTo>
                  <a:lnTo>
                    <a:pt x="4" y="0"/>
                  </a:lnTo>
                  <a:cubicBezTo>
                    <a:pt x="1" y="35"/>
                    <a:pt x="1" y="74"/>
                    <a:pt x="4" y="112"/>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593" name="Google Shape;3593;p104"/>
            <p:cNvSpPr/>
            <p:nvPr/>
          </p:nvSpPr>
          <p:spPr>
            <a:xfrm>
              <a:off x="1991345" y="2005630"/>
              <a:ext cx="68" cy="163"/>
            </a:xfrm>
            <a:custGeom>
              <a:avLst/>
              <a:gdLst/>
              <a:ahLst/>
              <a:cxnLst/>
              <a:rect l="l" t="t" r="r" b="b"/>
              <a:pathLst>
                <a:path w="5" h="12" extrusionOk="0">
                  <a:moveTo>
                    <a:pt x="4" y="1"/>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594" name="Google Shape;3594;p104"/>
            <p:cNvSpPr/>
            <p:nvPr/>
          </p:nvSpPr>
          <p:spPr>
            <a:xfrm>
              <a:off x="1990259" y="2008766"/>
              <a:ext cx="54" cy="299"/>
            </a:xfrm>
            <a:custGeom>
              <a:avLst/>
              <a:gdLst/>
              <a:ahLst/>
              <a:cxnLst/>
              <a:rect l="l" t="t" r="r" b="b"/>
              <a:pathLst>
                <a:path w="4" h="22" extrusionOk="0">
                  <a:moveTo>
                    <a:pt x="4" y="1"/>
                  </a:moveTo>
                  <a:lnTo>
                    <a:pt x="0" y="22"/>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595" name="Google Shape;3595;p104"/>
            <p:cNvSpPr/>
            <p:nvPr/>
          </p:nvSpPr>
          <p:spPr>
            <a:xfrm>
              <a:off x="1990639" y="2007490"/>
              <a:ext cx="54" cy="244"/>
            </a:xfrm>
            <a:custGeom>
              <a:avLst/>
              <a:gdLst/>
              <a:ahLst/>
              <a:cxnLst/>
              <a:rect l="l" t="t" r="r" b="b"/>
              <a:pathLst>
                <a:path w="4" h="18" extrusionOk="0">
                  <a:moveTo>
                    <a:pt x="4" y="0"/>
                  </a:moveTo>
                  <a:lnTo>
                    <a:pt x="0" y="18"/>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596" name="Google Shape;3596;p104"/>
            <p:cNvSpPr/>
            <p:nvPr/>
          </p:nvSpPr>
          <p:spPr>
            <a:xfrm>
              <a:off x="1991155" y="2006064"/>
              <a:ext cx="68" cy="149"/>
            </a:xfrm>
            <a:custGeom>
              <a:avLst/>
              <a:gdLst/>
              <a:ahLst/>
              <a:cxnLst/>
              <a:rect l="l" t="t" r="r" b="b"/>
              <a:pathLst>
                <a:path w="5" h="11" extrusionOk="0">
                  <a:moveTo>
                    <a:pt x="4" y="0"/>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597" name="Google Shape;3597;p104"/>
            <p:cNvSpPr/>
            <p:nvPr/>
          </p:nvSpPr>
          <p:spPr>
            <a:xfrm>
              <a:off x="1990449" y="2008101"/>
              <a:ext cx="54" cy="258"/>
            </a:xfrm>
            <a:custGeom>
              <a:avLst/>
              <a:gdLst/>
              <a:ahLst/>
              <a:cxnLst/>
              <a:rect l="l" t="t" r="r" b="b"/>
              <a:pathLst>
                <a:path w="4" h="19" extrusionOk="0">
                  <a:moveTo>
                    <a:pt x="4" y="1"/>
                  </a:moveTo>
                  <a:lnTo>
                    <a:pt x="0" y="18"/>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598" name="Google Shape;3598;p104"/>
            <p:cNvSpPr/>
            <p:nvPr/>
          </p:nvSpPr>
          <p:spPr>
            <a:xfrm>
              <a:off x="1990965" y="2006485"/>
              <a:ext cx="109" cy="204"/>
            </a:xfrm>
            <a:custGeom>
              <a:avLst/>
              <a:gdLst/>
              <a:ahLst/>
              <a:cxnLst/>
              <a:rect l="l" t="t" r="r" b="b"/>
              <a:pathLst>
                <a:path w="8" h="15" extrusionOk="0">
                  <a:moveTo>
                    <a:pt x="8" y="1"/>
                  </a:moveTo>
                  <a:lnTo>
                    <a:pt x="1" y="15"/>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599" name="Google Shape;3599;p104"/>
            <p:cNvSpPr/>
            <p:nvPr/>
          </p:nvSpPr>
          <p:spPr>
            <a:xfrm>
              <a:off x="1990775" y="2006960"/>
              <a:ext cx="109" cy="204"/>
            </a:xfrm>
            <a:custGeom>
              <a:avLst/>
              <a:gdLst/>
              <a:ahLst/>
              <a:cxnLst/>
              <a:rect l="l" t="t" r="r" b="b"/>
              <a:pathLst>
                <a:path w="8" h="15" extrusionOk="0">
                  <a:moveTo>
                    <a:pt x="8" y="1"/>
                  </a:moveTo>
                  <a:lnTo>
                    <a:pt x="1" y="15"/>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600" name="Google Shape;3600;p104"/>
            <p:cNvSpPr/>
            <p:nvPr/>
          </p:nvSpPr>
          <p:spPr>
            <a:xfrm>
              <a:off x="1985547" y="1997456"/>
              <a:ext cx="1344" cy="774"/>
            </a:xfrm>
            <a:custGeom>
              <a:avLst/>
              <a:gdLst/>
              <a:ahLst/>
              <a:cxnLst/>
              <a:rect l="l" t="t" r="r" b="b"/>
              <a:pathLst>
                <a:path w="99" h="57" extrusionOk="0">
                  <a:moveTo>
                    <a:pt x="99" y="56"/>
                  </a:moveTo>
                  <a:cubicBezTo>
                    <a:pt x="64" y="32"/>
                    <a:pt x="29" y="14"/>
                    <a:pt x="1" y="0"/>
                  </a:cubicBezTo>
                  <a:cubicBezTo>
                    <a:pt x="29" y="14"/>
                    <a:pt x="64" y="32"/>
                    <a:pt x="99" y="56"/>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601" name="Google Shape;3601;p104"/>
            <p:cNvSpPr/>
            <p:nvPr/>
          </p:nvSpPr>
          <p:spPr>
            <a:xfrm>
              <a:off x="1980795" y="1990654"/>
              <a:ext cx="163" cy="14"/>
            </a:xfrm>
            <a:custGeom>
              <a:avLst/>
              <a:gdLst/>
              <a:ahLst/>
              <a:cxnLst/>
              <a:rect l="l" t="t" r="r" b="b"/>
              <a:pathLst>
                <a:path w="12" h="1" extrusionOk="0">
                  <a:moveTo>
                    <a:pt x="1" y="1"/>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602" name="Google Shape;3602;p104"/>
            <p:cNvSpPr/>
            <p:nvPr/>
          </p:nvSpPr>
          <p:spPr>
            <a:xfrm>
              <a:off x="1979845" y="1990654"/>
              <a:ext cx="163" cy="14"/>
            </a:xfrm>
            <a:custGeom>
              <a:avLst/>
              <a:gdLst/>
              <a:ahLst/>
              <a:cxnLst/>
              <a:rect l="l" t="t" r="r" b="b"/>
              <a:pathLst>
                <a:path w="12" h="1" extrusionOk="0">
                  <a:moveTo>
                    <a:pt x="1" y="1"/>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603" name="Google Shape;3603;p104"/>
            <p:cNvSpPr/>
            <p:nvPr/>
          </p:nvSpPr>
          <p:spPr>
            <a:xfrm>
              <a:off x="1971481" y="1981910"/>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604" name="Google Shape;3604;p104"/>
            <p:cNvSpPr/>
            <p:nvPr/>
          </p:nvSpPr>
          <p:spPr>
            <a:xfrm>
              <a:off x="1983796" y="1987612"/>
              <a:ext cx="204" cy="299"/>
            </a:xfrm>
            <a:custGeom>
              <a:avLst/>
              <a:gdLst/>
              <a:ahLst/>
              <a:cxnLst/>
              <a:rect l="l" t="t" r="r" b="b"/>
              <a:pathLst>
                <a:path w="15" h="22" extrusionOk="0">
                  <a:moveTo>
                    <a:pt x="14" y="22"/>
                  </a:moveTo>
                  <a:cubicBezTo>
                    <a:pt x="11" y="15"/>
                    <a:pt x="4" y="8"/>
                    <a:pt x="0" y="1"/>
                  </a:cubicBezTo>
                  <a:cubicBezTo>
                    <a:pt x="4" y="8"/>
                    <a:pt x="11" y="15"/>
                    <a:pt x="14" y="22"/>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605" name="Google Shape;3605;p104"/>
            <p:cNvSpPr/>
            <p:nvPr/>
          </p:nvSpPr>
          <p:spPr>
            <a:xfrm>
              <a:off x="1981800" y="1990084"/>
              <a:ext cx="109" cy="109"/>
            </a:xfrm>
            <a:custGeom>
              <a:avLst/>
              <a:gdLst/>
              <a:ahLst/>
              <a:cxnLst/>
              <a:rect l="l" t="t" r="r" b="b"/>
              <a:pathLst>
                <a:path w="8" h="8" extrusionOk="0">
                  <a:moveTo>
                    <a:pt x="7" y="1"/>
                  </a:moveTo>
                  <a:lnTo>
                    <a:pt x="0" y="8"/>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606" name="Google Shape;3606;p104"/>
            <p:cNvSpPr/>
            <p:nvPr/>
          </p:nvSpPr>
          <p:spPr>
            <a:xfrm>
              <a:off x="1974468" y="1981299"/>
              <a:ext cx="353" cy="54"/>
            </a:xfrm>
            <a:custGeom>
              <a:avLst/>
              <a:gdLst/>
              <a:ahLst/>
              <a:cxnLst/>
              <a:rect l="l" t="t" r="r" b="b"/>
              <a:pathLst>
                <a:path w="26" h="4" extrusionOk="0">
                  <a:moveTo>
                    <a:pt x="1" y="4"/>
                  </a:moveTo>
                  <a:lnTo>
                    <a:pt x="25"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607" name="Google Shape;3607;p104"/>
            <p:cNvSpPr/>
            <p:nvPr/>
          </p:nvSpPr>
          <p:spPr>
            <a:xfrm>
              <a:off x="1972567" y="1981584"/>
              <a:ext cx="448" cy="109"/>
            </a:xfrm>
            <a:custGeom>
              <a:avLst/>
              <a:gdLst/>
              <a:ahLst/>
              <a:cxnLst/>
              <a:rect l="l" t="t" r="r" b="b"/>
              <a:pathLst>
                <a:path w="33" h="8" extrusionOk="0">
                  <a:moveTo>
                    <a:pt x="1" y="7"/>
                  </a:moveTo>
                  <a:lnTo>
                    <a:pt x="32"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608" name="Google Shape;3608;p104"/>
            <p:cNvSpPr/>
            <p:nvPr/>
          </p:nvSpPr>
          <p:spPr>
            <a:xfrm>
              <a:off x="1984597" y="1988373"/>
              <a:ext cx="258" cy="163"/>
            </a:xfrm>
            <a:custGeom>
              <a:avLst/>
              <a:gdLst/>
              <a:ahLst/>
              <a:cxnLst/>
              <a:rect l="l" t="t" r="r" b="b"/>
              <a:pathLst>
                <a:path w="19" h="12" extrusionOk="0">
                  <a:moveTo>
                    <a:pt x="1" y="1"/>
                  </a:moveTo>
                  <a:lnTo>
                    <a:pt x="18" y="1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609" name="Google Shape;3609;p104"/>
            <p:cNvSpPr/>
            <p:nvPr/>
          </p:nvSpPr>
          <p:spPr>
            <a:xfrm>
              <a:off x="1980374" y="1990708"/>
              <a:ext cx="109" cy="14"/>
            </a:xfrm>
            <a:custGeom>
              <a:avLst/>
              <a:gdLst/>
              <a:ahLst/>
              <a:cxnLst/>
              <a:rect l="l" t="t" r="r" b="b"/>
              <a:pathLst>
                <a:path w="8" h="1" extrusionOk="0">
                  <a:moveTo>
                    <a:pt x="7"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610" name="Google Shape;3610;p104"/>
            <p:cNvSpPr/>
            <p:nvPr/>
          </p:nvSpPr>
          <p:spPr>
            <a:xfrm>
              <a:off x="1984081" y="1987952"/>
              <a:ext cx="149" cy="149"/>
            </a:xfrm>
            <a:custGeom>
              <a:avLst/>
              <a:gdLst/>
              <a:ahLst/>
              <a:cxnLst/>
              <a:rect l="l" t="t" r="r" b="b"/>
              <a:pathLst>
                <a:path w="11" h="11" extrusionOk="0">
                  <a:moveTo>
                    <a:pt x="0" y="0"/>
                  </a:moveTo>
                  <a:lnTo>
                    <a:pt x="11" y="1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611" name="Google Shape;3611;p104"/>
            <p:cNvSpPr/>
            <p:nvPr/>
          </p:nvSpPr>
          <p:spPr>
            <a:xfrm>
              <a:off x="1984312" y="1988183"/>
              <a:ext cx="204" cy="109"/>
            </a:xfrm>
            <a:custGeom>
              <a:avLst/>
              <a:gdLst/>
              <a:ahLst/>
              <a:cxnLst/>
              <a:rect l="l" t="t" r="r" b="b"/>
              <a:pathLst>
                <a:path w="15" h="8" extrusionOk="0">
                  <a:moveTo>
                    <a:pt x="1" y="1"/>
                  </a:moveTo>
                  <a:lnTo>
                    <a:pt x="15" y="8"/>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612" name="Google Shape;3612;p104"/>
            <p:cNvSpPr/>
            <p:nvPr/>
          </p:nvSpPr>
          <p:spPr>
            <a:xfrm>
              <a:off x="1981366" y="1990369"/>
              <a:ext cx="163" cy="109"/>
            </a:xfrm>
            <a:custGeom>
              <a:avLst/>
              <a:gdLst/>
              <a:ahLst/>
              <a:cxnLst/>
              <a:rect l="l" t="t" r="r" b="b"/>
              <a:pathLst>
                <a:path w="12" h="8" extrusionOk="0">
                  <a:moveTo>
                    <a:pt x="1" y="8"/>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613" name="Google Shape;3613;p104"/>
            <p:cNvSpPr/>
            <p:nvPr/>
          </p:nvSpPr>
          <p:spPr>
            <a:xfrm>
              <a:off x="1973898" y="1981340"/>
              <a:ext cx="394" cy="109"/>
            </a:xfrm>
            <a:custGeom>
              <a:avLst/>
              <a:gdLst/>
              <a:ahLst/>
              <a:cxnLst/>
              <a:rect l="l" t="t" r="r" b="b"/>
              <a:pathLst>
                <a:path w="29" h="8" extrusionOk="0">
                  <a:moveTo>
                    <a:pt x="1" y="8"/>
                  </a:moveTo>
                  <a:lnTo>
                    <a:pt x="29"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614" name="Google Shape;3614;p104"/>
            <p:cNvSpPr/>
            <p:nvPr/>
          </p:nvSpPr>
          <p:spPr>
            <a:xfrm>
              <a:off x="1973233" y="1981435"/>
              <a:ext cx="448" cy="109"/>
            </a:xfrm>
            <a:custGeom>
              <a:avLst/>
              <a:gdLst/>
              <a:ahLst/>
              <a:cxnLst/>
              <a:rect l="l" t="t" r="r" b="b"/>
              <a:pathLst>
                <a:path w="33" h="8" extrusionOk="0">
                  <a:moveTo>
                    <a:pt x="1" y="8"/>
                  </a:moveTo>
                  <a:lnTo>
                    <a:pt x="32"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615" name="Google Shape;3615;p104"/>
            <p:cNvSpPr/>
            <p:nvPr/>
          </p:nvSpPr>
          <p:spPr>
            <a:xfrm>
              <a:off x="1971766" y="1981720"/>
              <a:ext cx="530" cy="109"/>
            </a:xfrm>
            <a:custGeom>
              <a:avLst/>
              <a:gdLst/>
              <a:ahLst/>
              <a:cxnLst/>
              <a:rect l="l" t="t" r="r" b="b"/>
              <a:pathLst>
                <a:path w="39" h="8" extrusionOk="0">
                  <a:moveTo>
                    <a:pt x="0" y="8"/>
                  </a:moveTo>
                  <a:lnTo>
                    <a:pt x="39"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616" name="Google Shape;3616;p104"/>
            <p:cNvSpPr/>
            <p:nvPr/>
          </p:nvSpPr>
          <p:spPr>
            <a:xfrm>
              <a:off x="1975378" y="1981150"/>
              <a:ext cx="299" cy="68"/>
            </a:xfrm>
            <a:custGeom>
              <a:avLst/>
              <a:gdLst/>
              <a:ahLst/>
              <a:cxnLst/>
              <a:rect l="l" t="t" r="r" b="b"/>
              <a:pathLst>
                <a:path w="22" h="5" extrusionOk="0">
                  <a:moveTo>
                    <a:pt x="1" y="4"/>
                  </a:moveTo>
                  <a:lnTo>
                    <a:pt x="22"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617" name="Google Shape;3617;p104"/>
            <p:cNvSpPr/>
            <p:nvPr/>
          </p:nvSpPr>
          <p:spPr>
            <a:xfrm>
              <a:off x="1974943" y="1981204"/>
              <a:ext cx="299" cy="54"/>
            </a:xfrm>
            <a:custGeom>
              <a:avLst/>
              <a:gdLst/>
              <a:ahLst/>
              <a:cxnLst/>
              <a:rect l="l" t="t" r="r" b="b"/>
              <a:pathLst>
                <a:path w="22" h="4" extrusionOk="0">
                  <a:moveTo>
                    <a:pt x="1" y="4"/>
                  </a:moveTo>
                  <a:lnTo>
                    <a:pt x="22"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618" name="Google Shape;3618;p104"/>
            <p:cNvSpPr/>
            <p:nvPr/>
          </p:nvSpPr>
          <p:spPr>
            <a:xfrm>
              <a:off x="1950327" y="1969744"/>
              <a:ext cx="19362" cy="21398"/>
            </a:xfrm>
            <a:custGeom>
              <a:avLst/>
              <a:gdLst/>
              <a:ahLst/>
              <a:cxnLst/>
              <a:rect l="l" t="t" r="r" b="b"/>
              <a:pathLst>
                <a:path w="1426" h="1576" extrusionOk="0">
                  <a:moveTo>
                    <a:pt x="960" y="0"/>
                  </a:moveTo>
                  <a:cubicBezTo>
                    <a:pt x="907" y="4"/>
                    <a:pt x="855" y="18"/>
                    <a:pt x="806" y="39"/>
                  </a:cubicBezTo>
                  <a:cubicBezTo>
                    <a:pt x="740" y="61"/>
                    <a:pt x="667" y="87"/>
                    <a:pt x="595" y="87"/>
                  </a:cubicBezTo>
                  <a:cubicBezTo>
                    <a:pt x="575" y="87"/>
                    <a:pt x="556" y="85"/>
                    <a:pt x="536" y="81"/>
                  </a:cubicBezTo>
                  <a:cubicBezTo>
                    <a:pt x="515" y="77"/>
                    <a:pt x="491" y="74"/>
                    <a:pt x="473" y="70"/>
                  </a:cubicBezTo>
                  <a:cubicBezTo>
                    <a:pt x="444" y="62"/>
                    <a:pt x="413" y="55"/>
                    <a:pt x="384" y="55"/>
                  </a:cubicBezTo>
                  <a:cubicBezTo>
                    <a:pt x="377" y="55"/>
                    <a:pt x="371" y="56"/>
                    <a:pt x="365" y="56"/>
                  </a:cubicBezTo>
                  <a:cubicBezTo>
                    <a:pt x="361" y="63"/>
                    <a:pt x="358" y="74"/>
                    <a:pt x="358" y="84"/>
                  </a:cubicBezTo>
                  <a:cubicBezTo>
                    <a:pt x="358" y="91"/>
                    <a:pt x="358" y="95"/>
                    <a:pt x="354" y="102"/>
                  </a:cubicBezTo>
                  <a:lnTo>
                    <a:pt x="354" y="105"/>
                  </a:lnTo>
                  <a:cubicBezTo>
                    <a:pt x="354" y="112"/>
                    <a:pt x="354" y="116"/>
                    <a:pt x="351" y="119"/>
                  </a:cubicBezTo>
                  <a:lnTo>
                    <a:pt x="347" y="126"/>
                  </a:lnTo>
                  <a:lnTo>
                    <a:pt x="344" y="137"/>
                  </a:lnTo>
                  <a:lnTo>
                    <a:pt x="340" y="147"/>
                  </a:lnTo>
                  <a:lnTo>
                    <a:pt x="333" y="158"/>
                  </a:lnTo>
                  <a:lnTo>
                    <a:pt x="326" y="168"/>
                  </a:lnTo>
                  <a:lnTo>
                    <a:pt x="323" y="179"/>
                  </a:lnTo>
                  <a:lnTo>
                    <a:pt x="312" y="189"/>
                  </a:lnTo>
                  <a:lnTo>
                    <a:pt x="305" y="200"/>
                  </a:lnTo>
                  <a:lnTo>
                    <a:pt x="295" y="214"/>
                  </a:lnTo>
                  <a:lnTo>
                    <a:pt x="288" y="224"/>
                  </a:lnTo>
                  <a:lnTo>
                    <a:pt x="277" y="238"/>
                  </a:lnTo>
                  <a:lnTo>
                    <a:pt x="267" y="252"/>
                  </a:lnTo>
                  <a:lnTo>
                    <a:pt x="253" y="263"/>
                  </a:lnTo>
                  <a:lnTo>
                    <a:pt x="242" y="277"/>
                  </a:lnTo>
                  <a:lnTo>
                    <a:pt x="228" y="291"/>
                  </a:lnTo>
                  <a:lnTo>
                    <a:pt x="214" y="308"/>
                  </a:lnTo>
                  <a:lnTo>
                    <a:pt x="200" y="322"/>
                  </a:lnTo>
                  <a:lnTo>
                    <a:pt x="183" y="340"/>
                  </a:lnTo>
                  <a:lnTo>
                    <a:pt x="169" y="354"/>
                  </a:lnTo>
                  <a:lnTo>
                    <a:pt x="148" y="371"/>
                  </a:lnTo>
                  <a:lnTo>
                    <a:pt x="134" y="385"/>
                  </a:lnTo>
                  <a:lnTo>
                    <a:pt x="109" y="406"/>
                  </a:lnTo>
                  <a:lnTo>
                    <a:pt x="95" y="420"/>
                  </a:lnTo>
                  <a:lnTo>
                    <a:pt x="67" y="445"/>
                  </a:lnTo>
                  <a:lnTo>
                    <a:pt x="53" y="459"/>
                  </a:lnTo>
                  <a:lnTo>
                    <a:pt x="22" y="487"/>
                  </a:lnTo>
                  <a:lnTo>
                    <a:pt x="8" y="498"/>
                  </a:lnTo>
                  <a:lnTo>
                    <a:pt x="1" y="505"/>
                  </a:lnTo>
                  <a:cubicBezTo>
                    <a:pt x="25" y="557"/>
                    <a:pt x="43" y="613"/>
                    <a:pt x="60" y="669"/>
                  </a:cubicBezTo>
                  <a:cubicBezTo>
                    <a:pt x="179" y="1082"/>
                    <a:pt x="288" y="1170"/>
                    <a:pt x="459" y="1313"/>
                  </a:cubicBezTo>
                  <a:lnTo>
                    <a:pt x="477" y="1324"/>
                  </a:lnTo>
                  <a:cubicBezTo>
                    <a:pt x="596" y="1415"/>
                    <a:pt x="722" y="1499"/>
                    <a:pt x="848" y="1576"/>
                  </a:cubicBezTo>
                  <a:lnTo>
                    <a:pt x="848" y="1572"/>
                  </a:lnTo>
                  <a:cubicBezTo>
                    <a:pt x="858" y="1558"/>
                    <a:pt x="865" y="1544"/>
                    <a:pt x="876" y="1530"/>
                  </a:cubicBezTo>
                  <a:lnTo>
                    <a:pt x="879" y="1523"/>
                  </a:lnTo>
                  <a:cubicBezTo>
                    <a:pt x="886" y="1513"/>
                    <a:pt x="893" y="1499"/>
                    <a:pt x="900" y="1492"/>
                  </a:cubicBezTo>
                  <a:lnTo>
                    <a:pt x="904" y="1485"/>
                  </a:lnTo>
                  <a:cubicBezTo>
                    <a:pt x="914" y="1474"/>
                    <a:pt x="921" y="1467"/>
                    <a:pt x="928" y="1457"/>
                  </a:cubicBezTo>
                  <a:lnTo>
                    <a:pt x="932" y="1453"/>
                  </a:lnTo>
                  <a:cubicBezTo>
                    <a:pt x="939" y="1446"/>
                    <a:pt x="946" y="1439"/>
                    <a:pt x="953" y="1432"/>
                  </a:cubicBezTo>
                  <a:cubicBezTo>
                    <a:pt x="991" y="1404"/>
                    <a:pt x="1040" y="1369"/>
                    <a:pt x="1096" y="1334"/>
                  </a:cubicBezTo>
                  <a:cubicBezTo>
                    <a:pt x="1187" y="1271"/>
                    <a:pt x="1355" y="1159"/>
                    <a:pt x="1366" y="1107"/>
                  </a:cubicBezTo>
                  <a:cubicBezTo>
                    <a:pt x="1376" y="1072"/>
                    <a:pt x="1383" y="1040"/>
                    <a:pt x="1397" y="1009"/>
                  </a:cubicBezTo>
                  <a:cubicBezTo>
                    <a:pt x="1408" y="977"/>
                    <a:pt x="1418" y="946"/>
                    <a:pt x="1425" y="911"/>
                  </a:cubicBezTo>
                  <a:lnTo>
                    <a:pt x="1425" y="904"/>
                  </a:lnTo>
                  <a:lnTo>
                    <a:pt x="1425" y="893"/>
                  </a:lnTo>
                  <a:lnTo>
                    <a:pt x="1425" y="883"/>
                  </a:lnTo>
                  <a:lnTo>
                    <a:pt x="1425" y="876"/>
                  </a:lnTo>
                  <a:cubicBezTo>
                    <a:pt x="1422" y="872"/>
                    <a:pt x="1422" y="869"/>
                    <a:pt x="1422" y="865"/>
                  </a:cubicBezTo>
                  <a:lnTo>
                    <a:pt x="1422" y="858"/>
                  </a:lnTo>
                  <a:cubicBezTo>
                    <a:pt x="1418" y="855"/>
                    <a:pt x="1415" y="848"/>
                    <a:pt x="1411" y="841"/>
                  </a:cubicBezTo>
                  <a:cubicBezTo>
                    <a:pt x="1355" y="746"/>
                    <a:pt x="1327" y="638"/>
                    <a:pt x="1331" y="526"/>
                  </a:cubicBezTo>
                  <a:lnTo>
                    <a:pt x="1331" y="480"/>
                  </a:lnTo>
                  <a:cubicBezTo>
                    <a:pt x="1331" y="385"/>
                    <a:pt x="1044" y="11"/>
                    <a:pt x="960"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619" name="Google Shape;3619;p104"/>
            <p:cNvSpPr/>
            <p:nvPr/>
          </p:nvSpPr>
          <p:spPr>
            <a:xfrm>
              <a:off x="1953749" y="1973166"/>
              <a:ext cx="163" cy="204"/>
            </a:xfrm>
            <a:custGeom>
              <a:avLst/>
              <a:gdLst/>
              <a:ahLst/>
              <a:cxnLst/>
              <a:rect l="l" t="t" r="r" b="b"/>
              <a:pathLst>
                <a:path w="12" h="15" extrusionOk="0">
                  <a:moveTo>
                    <a:pt x="1" y="14"/>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620" name="Google Shape;3620;p104"/>
            <p:cNvSpPr/>
            <p:nvPr/>
          </p:nvSpPr>
          <p:spPr>
            <a:xfrm>
              <a:off x="1954754" y="1971876"/>
              <a:ext cx="54" cy="163"/>
            </a:xfrm>
            <a:custGeom>
              <a:avLst/>
              <a:gdLst/>
              <a:ahLst/>
              <a:cxnLst/>
              <a:rect l="l" t="t" r="r" b="b"/>
              <a:pathLst>
                <a:path w="4" h="12" extrusionOk="0">
                  <a:moveTo>
                    <a:pt x="0" y="1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621" name="Google Shape;3621;p104"/>
            <p:cNvSpPr/>
            <p:nvPr/>
          </p:nvSpPr>
          <p:spPr>
            <a:xfrm>
              <a:off x="1951563" y="1975257"/>
              <a:ext cx="258" cy="204"/>
            </a:xfrm>
            <a:custGeom>
              <a:avLst/>
              <a:gdLst/>
              <a:ahLst/>
              <a:cxnLst/>
              <a:rect l="l" t="t" r="r" b="b"/>
              <a:pathLst>
                <a:path w="19" h="15" extrusionOk="0">
                  <a:moveTo>
                    <a:pt x="1" y="14"/>
                  </a:moveTo>
                  <a:lnTo>
                    <a:pt x="18"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622" name="Google Shape;3622;p104"/>
            <p:cNvSpPr/>
            <p:nvPr/>
          </p:nvSpPr>
          <p:spPr>
            <a:xfrm>
              <a:off x="1954564" y="1972161"/>
              <a:ext cx="109" cy="163"/>
            </a:xfrm>
            <a:custGeom>
              <a:avLst/>
              <a:gdLst/>
              <a:ahLst/>
              <a:cxnLst/>
              <a:rect l="l" t="t" r="r" b="b"/>
              <a:pathLst>
                <a:path w="8" h="12" extrusionOk="0">
                  <a:moveTo>
                    <a:pt x="0" y="11"/>
                  </a:moveTo>
                  <a:lnTo>
                    <a:pt x="7"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623" name="Google Shape;3623;p104"/>
            <p:cNvSpPr/>
            <p:nvPr/>
          </p:nvSpPr>
          <p:spPr>
            <a:xfrm>
              <a:off x="1950382" y="1976357"/>
              <a:ext cx="204" cy="149"/>
            </a:xfrm>
            <a:custGeom>
              <a:avLst/>
              <a:gdLst/>
              <a:ahLst/>
              <a:cxnLst/>
              <a:rect l="l" t="t" r="r" b="b"/>
              <a:pathLst>
                <a:path w="15" h="11" extrusionOk="0">
                  <a:moveTo>
                    <a:pt x="0" y="11"/>
                  </a:moveTo>
                  <a:lnTo>
                    <a:pt x="14"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624" name="Google Shape;3624;p104"/>
            <p:cNvSpPr/>
            <p:nvPr/>
          </p:nvSpPr>
          <p:spPr>
            <a:xfrm>
              <a:off x="1954319" y="1972501"/>
              <a:ext cx="109" cy="149"/>
            </a:xfrm>
            <a:custGeom>
              <a:avLst/>
              <a:gdLst/>
              <a:ahLst/>
              <a:cxnLst/>
              <a:rect l="l" t="t" r="r" b="b"/>
              <a:pathLst>
                <a:path w="8" h="11" extrusionOk="0">
                  <a:moveTo>
                    <a:pt x="1" y="11"/>
                  </a:moveTo>
                  <a:lnTo>
                    <a:pt x="8"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625" name="Google Shape;3625;p104"/>
            <p:cNvSpPr/>
            <p:nvPr/>
          </p:nvSpPr>
          <p:spPr>
            <a:xfrm>
              <a:off x="1955039" y="1971360"/>
              <a:ext cx="54" cy="109"/>
            </a:xfrm>
            <a:custGeom>
              <a:avLst/>
              <a:gdLst/>
              <a:ahLst/>
              <a:cxnLst/>
              <a:rect l="l" t="t" r="r" b="b"/>
              <a:pathLst>
                <a:path w="4" h="8" extrusionOk="0">
                  <a:moveTo>
                    <a:pt x="0" y="7"/>
                  </a:moveTo>
                  <a:lnTo>
                    <a:pt x="4"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626" name="Google Shape;3626;p104"/>
            <p:cNvSpPr/>
            <p:nvPr/>
          </p:nvSpPr>
          <p:spPr>
            <a:xfrm>
              <a:off x="1954889" y="1971591"/>
              <a:ext cx="68" cy="163"/>
            </a:xfrm>
            <a:custGeom>
              <a:avLst/>
              <a:gdLst/>
              <a:ahLst/>
              <a:cxnLst/>
              <a:rect l="l" t="t" r="r" b="b"/>
              <a:pathLst>
                <a:path w="5" h="12" extrusionOk="0">
                  <a:moveTo>
                    <a:pt x="1" y="1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627" name="Google Shape;3627;p104"/>
            <p:cNvSpPr/>
            <p:nvPr/>
          </p:nvSpPr>
          <p:spPr>
            <a:xfrm>
              <a:off x="1955134" y="1971116"/>
              <a:ext cx="14" cy="68"/>
            </a:xfrm>
            <a:custGeom>
              <a:avLst/>
              <a:gdLst/>
              <a:ahLst/>
              <a:cxnLst/>
              <a:rect l="l" t="t" r="r" b="b"/>
              <a:pathLst>
                <a:path w="1" h="5" extrusionOk="0">
                  <a:moveTo>
                    <a:pt x="0"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628" name="Google Shape;3628;p104"/>
            <p:cNvSpPr/>
            <p:nvPr/>
          </p:nvSpPr>
          <p:spPr>
            <a:xfrm>
              <a:off x="1952608" y="1974347"/>
              <a:ext cx="204" cy="204"/>
            </a:xfrm>
            <a:custGeom>
              <a:avLst/>
              <a:gdLst/>
              <a:ahLst/>
              <a:cxnLst/>
              <a:rect l="l" t="t" r="r" b="b"/>
              <a:pathLst>
                <a:path w="15" h="15" extrusionOk="0">
                  <a:moveTo>
                    <a:pt x="1" y="15"/>
                  </a:moveTo>
                  <a:lnTo>
                    <a:pt x="15"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629" name="Google Shape;3629;p104"/>
            <p:cNvSpPr/>
            <p:nvPr/>
          </p:nvSpPr>
          <p:spPr>
            <a:xfrm>
              <a:off x="1952092" y="1974782"/>
              <a:ext cx="244" cy="204"/>
            </a:xfrm>
            <a:custGeom>
              <a:avLst/>
              <a:gdLst/>
              <a:ahLst/>
              <a:cxnLst/>
              <a:rect l="l" t="t" r="r" b="b"/>
              <a:pathLst>
                <a:path w="18" h="15" extrusionOk="0">
                  <a:moveTo>
                    <a:pt x="0" y="14"/>
                  </a:moveTo>
                  <a:lnTo>
                    <a:pt x="18"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630" name="Google Shape;3630;p104"/>
            <p:cNvSpPr/>
            <p:nvPr/>
          </p:nvSpPr>
          <p:spPr>
            <a:xfrm>
              <a:off x="1950993" y="1975786"/>
              <a:ext cx="204" cy="190"/>
            </a:xfrm>
            <a:custGeom>
              <a:avLst/>
              <a:gdLst/>
              <a:ahLst/>
              <a:cxnLst/>
              <a:rect l="l" t="t" r="r" b="b"/>
              <a:pathLst>
                <a:path w="15" h="14" extrusionOk="0">
                  <a:moveTo>
                    <a:pt x="1" y="14"/>
                  </a:moveTo>
                  <a:lnTo>
                    <a:pt x="15"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631" name="Google Shape;3631;p104"/>
            <p:cNvSpPr/>
            <p:nvPr/>
          </p:nvSpPr>
          <p:spPr>
            <a:xfrm>
              <a:off x="1969526" y="1981204"/>
              <a:ext cx="109" cy="299"/>
            </a:xfrm>
            <a:custGeom>
              <a:avLst/>
              <a:gdLst/>
              <a:ahLst/>
              <a:cxnLst/>
              <a:rect l="l" t="t" r="r" b="b"/>
              <a:pathLst>
                <a:path w="8" h="22" extrusionOk="0">
                  <a:moveTo>
                    <a:pt x="1" y="0"/>
                  </a:moveTo>
                  <a:cubicBezTo>
                    <a:pt x="1" y="2"/>
                    <a:pt x="2" y="6"/>
                    <a:pt x="4" y="9"/>
                  </a:cubicBezTo>
                  <a:lnTo>
                    <a:pt x="4" y="9"/>
                  </a:lnTo>
                  <a:cubicBezTo>
                    <a:pt x="3" y="6"/>
                    <a:pt x="2" y="3"/>
                    <a:pt x="1" y="0"/>
                  </a:cubicBezTo>
                  <a:close/>
                  <a:moveTo>
                    <a:pt x="4" y="9"/>
                  </a:moveTo>
                  <a:cubicBezTo>
                    <a:pt x="5" y="13"/>
                    <a:pt x="6" y="17"/>
                    <a:pt x="8" y="21"/>
                  </a:cubicBezTo>
                  <a:lnTo>
                    <a:pt x="8" y="14"/>
                  </a:lnTo>
                  <a:cubicBezTo>
                    <a:pt x="6" y="13"/>
                    <a:pt x="5" y="11"/>
                    <a:pt x="4" y="9"/>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632" name="Google Shape;3632;p104"/>
            <p:cNvSpPr/>
            <p:nvPr/>
          </p:nvSpPr>
          <p:spPr>
            <a:xfrm>
              <a:off x="1954034" y="1972827"/>
              <a:ext cx="163" cy="163"/>
            </a:xfrm>
            <a:custGeom>
              <a:avLst/>
              <a:gdLst/>
              <a:ahLst/>
              <a:cxnLst/>
              <a:rect l="l" t="t" r="r" b="b"/>
              <a:pathLst>
                <a:path w="12" h="12" extrusionOk="0">
                  <a:moveTo>
                    <a:pt x="1" y="11"/>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633" name="Google Shape;3633;p104"/>
            <p:cNvSpPr/>
            <p:nvPr/>
          </p:nvSpPr>
          <p:spPr>
            <a:xfrm>
              <a:off x="1953369" y="1973546"/>
              <a:ext cx="204" cy="204"/>
            </a:xfrm>
            <a:custGeom>
              <a:avLst/>
              <a:gdLst/>
              <a:ahLst/>
              <a:cxnLst/>
              <a:rect l="l" t="t" r="r" b="b"/>
              <a:pathLst>
                <a:path w="15" h="15" extrusionOk="0">
                  <a:moveTo>
                    <a:pt x="1" y="14"/>
                  </a:moveTo>
                  <a:lnTo>
                    <a:pt x="15"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634" name="Google Shape;3634;p104"/>
            <p:cNvSpPr/>
            <p:nvPr/>
          </p:nvSpPr>
          <p:spPr>
            <a:xfrm>
              <a:off x="1952989" y="1973926"/>
              <a:ext cx="204" cy="204"/>
            </a:xfrm>
            <a:custGeom>
              <a:avLst/>
              <a:gdLst/>
              <a:ahLst/>
              <a:cxnLst/>
              <a:rect l="l" t="t" r="r" b="b"/>
              <a:pathLst>
                <a:path w="15" h="15" extrusionOk="0">
                  <a:moveTo>
                    <a:pt x="15" y="0"/>
                  </a:moveTo>
                  <a:lnTo>
                    <a:pt x="1" y="14"/>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635" name="Google Shape;3635;p104"/>
            <p:cNvSpPr/>
            <p:nvPr/>
          </p:nvSpPr>
          <p:spPr>
            <a:xfrm>
              <a:off x="1962968" y="1989228"/>
              <a:ext cx="299" cy="258"/>
            </a:xfrm>
            <a:custGeom>
              <a:avLst/>
              <a:gdLst/>
              <a:ahLst/>
              <a:cxnLst/>
              <a:rect l="l" t="t" r="r" b="b"/>
              <a:pathLst>
                <a:path w="22" h="19" extrusionOk="0">
                  <a:moveTo>
                    <a:pt x="1" y="18"/>
                  </a:moveTo>
                  <a:cubicBezTo>
                    <a:pt x="8" y="11"/>
                    <a:pt x="15" y="4"/>
                    <a:pt x="22" y="1"/>
                  </a:cubicBezTo>
                  <a:cubicBezTo>
                    <a:pt x="15" y="4"/>
                    <a:pt x="8" y="11"/>
                    <a:pt x="1" y="18"/>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636" name="Google Shape;3636;p104"/>
            <p:cNvSpPr/>
            <p:nvPr/>
          </p:nvSpPr>
          <p:spPr>
            <a:xfrm>
              <a:off x="1961828" y="1990518"/>
              <a:ext cx="394" cy="625"/>
            </a:xfrm>
            <a:custGeom>
              <a:avLst/>
              <a:gdLst/>
              <a:ahLst/>
              <a:cxnLst/>
              <a:rect l="l" t="t" r="r" b="b"/>
              <a:pathLst>
                <a:path w="29" h="46" extrusionOk="0">
                  <a:moveTo>
                    <a:pt x="29" y="0"/>
                  </a:moveTo>
                  <a:cubicBezTo>
                    <a:pt x="18" y="14"/>
                    <a:pt x="11" y="28"/>
                    <a:pt x="1" y="46"/>
                  </a:cubicBezTo>
                  <a:cubicBezTo>
                    <a:pt x="11" y="28"/>
                    <a:pt x="22" y="14"/>
                    <a:pt x="29"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637" name="Google Shape;3637;p104"/>
            <p:cNvSpPr/>
            <p:nvPr/>
          </p:nvSpPr>
          <p:spPr>
            <a:xfrm>
              <a:off x="1962262" y="1989988"/>
              <a:ext cx="339" cy="448"/>
            </a:xfrm>
            <a:custGeom>
              <a:avLst/>
              <a:gdLst/>
              <a:ahLst/>
              <a:cxnLst/>
              <a:rect l="l" t="t" r="r" b="b"/>
              <a:pathLst>
                <a:path w="25" h="33" extrusionOk="0">
                  <a:moveTo>
                    <a:pt x="25" y="1"/>
                  </a:moveTo>
                  <a:cubicBezTo>
                    <a:pt x="14" y="11"/>
                    <a:pt x="7" y="22"/>
                    <a:pt x="0" y="32"/>
                  </a:cubicBezTo>
                  <a:cubicBezTo>
                    <a:pt x="7" y="22"/>
                    <a:pt x="14" y="11"/>
                    <a:pt x="25" y="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638" name="Google Shape;3638;p104"/>
            <p:cNvSpPr/>
            <p:nvPr/>
          </p:nvSpPr>
          <p:spPr>
            <a:xfrm>
              <a:off x="1969675" y="1981720"/>
              <a:ext cx="14" cy="163"/>
            </a:xfrm>
            <a:custGeom>
              <a:avLst/>
              <a:gdLst/>
              <a:ahLst/>
              <a:cxnLst/>
              <a:rect l="l" t="t" r="r" b="b"/>
              <a:pathLst>
                <a:path w="1" h="12" extrusionOk="0">
                  <a:moveTo>
                    <a:pt x="0" y="1"/>
                  </a:moveTo>
                  <a:lnTo>
                    <a:pt x="0" y="11"/>
                  </a:lnTo>
                  <a:cubicBezTo>
                    <a:pt x="0" y="8"/>
                    <a:pt x="0" y="4"/>
                    <a:pt x="0" y="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639" name="Google Shape;3639;p104"/>
            <p:cNvSpPr/>
            <p:nvPr/>
          </p:nvSpPr>
          <p:spPr>
            <a:xfrm>
              <a:off x="1969621" y="1981530"/>
              <a:ext cx="68" cy="163"/>
            </a:xfrm>
            <a:custGeom>
              <a:avLst/>
              <a:gdLst/>
              <a:ahLst/>
              <a:cxnLst/>
              <a:rect l="l" t="t" r="r" b="b"/>
              <a:pathLst>
                <a:path w="5" h="12" extrusionOk="0">
                  <a:moveTo>
                    <a:pt x="1" y="1"/>
                  </a:moveTo>
                  <a:cubicBezTo>
                    <a:pt x="1" y="4"/>
                    <a:pt x="4" y="8"/>
                    <a:pt x="4" y="11"/>
                  </a:cubicBezTo>
                  <a:cubicBezTo>
                    <a:pt x="4" y="8"/>
                    <a:pt x="1" y="4"/>
                    <a:pt x="1" y="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640" name="Google Shape;3640;p104"/>
            <p:cNvSpPr/>
            <p:nvPr/>
          </p:nvSpPr>
          <p:spPr>
            <a:xfrm>
              <a:off x="1969675" y="1982005"/>
              <a:ext cx="14" cy="163"/>
            </a:xfrm>
            <a:custGeom>
              <a:avLst/>
              <a:gdLst/>
              <a:ahLst/>
              <a:cxnLst/>
              <a:rect l="l" t="t" r="r" b="b"/>
              <a:pathLst>
                <a:path w="1" h="12" extrusionOk="0">
                  <a:moveTo>
                    <a:pt x="0" y="1"/>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641" name="Google Shape;3641;p104"/>
            <p:cNvSpPr/>
            <p:nvPr/>
          </p:nvSpPr>
          <p:spPr>
            <a:xfrm>
              <a:off x="1962588" y="1989568"/>
              <a:ext cx="353" cy="394"/>
            </a:xfrm>
            <a:custGeom>
              <a:avLst/>
              <a:gdLst/>
              <a:ahLst/>
              <a:cxnLst/>
              <a:rect l="l" t="t" r="r" b="b"/>
              <a:pathLst>
                <a:path w="26" h="29" extrusionOk="0">
                  <a:moveTo>
                    <a:pt x="25" y="0"/>
                  </a:moveTo>
                  <a:lnTo>
                    <a:pt x="25" y="0"/>
                  </a:lnTo>
                  <a:cubicBezTo>
                    <a:pt x="18" y="7"/>
                    <a:pt x="8" y="18"/>
                    <a:pt x="1" y="28"/>
                  </a:cubicBezTo>
                  <a:cubicBezTo>
                    <a:pt x="11" y="18"/>
                    <a:pt x="18" y="7"/>
                    <a:pt x="25"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642" name="Google Shape;3642;p104"/>
            <p:cNvSpPr/>
            <p:nvPr/>
          </p:nvSpPr>
          <p:spPr>
            <a:xfrm>
              <a:off x="1969580" y="1981394"/>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643" name="Google Shape;3643;p104"/>
            <p:cNvSpPr/>
            <p:nvPr/>
          </p:nvSpPr>
          <p:spPr>
            <a:xfrm>
              <a:off x="1922385" y="1832082"/>
              <a:ext cx="60230" cy="48838"/>
            </a:xfrm>
            <a:custGeom>
              <a:avLst/>
              <a:gdLst/>
              <a:ahLst/>
              <a:cxnLst/>
              <a:rect l="l" t="t" r="r" b="b"/>
              <a:pathLst>
                <a:path w="4436" h="3597" extrusionOk="0">
                  <a:moveTo>
                    <a:pt x="2101" y="1"/>
                  </a:moveTo>
                  <a:cubicBezTo>
                    <a:pt x="1968" y="134"/>
                    <a:pt x="1894" y="309"/>
                    <a:pt x="1838" y="460"/>
                  </a:cubicBezTo>
                  <a:cubicBezTo>
                    <a:pt x="1792" y="579"/>
                    <a:pt x="1666" y="705"/>
                    <a:pt x="1523" y="852"/>
                  </a:cubicBezTo>
                  <a:cubicBezTo>
                    <a:pt x="1337" y="1041"/>
                    <a:pt x="1127" y="1254"/>
                    <a:pt x="1113" y="1447"/>
                  </a:cubicBezTo>
                  <a:cubicBezTo>
                    <a:pt x="1099" y="1664"/>
                    <a:pt x="921" y="1923"/>
                    <a:pt x="697" y="2255"/>
                  </a:cubicBezTo>
                  <a:cubicBezTo>
                    <a:pt x="490" y="2550"/>
                    <a:pt x="305" y="2854"/>
                    <a:pt x="144" y="3176"/>
                  </a:cubicBezTo>
                  <a:cubicBezTo>
                    <a:pt x="77" y="3309"/>
                    <a:pt x="28" y="3449"/>
                    <a:pt x="0" y="3596"/>
                  </a:cubicBezTo>
                  <a:lnTo>
                    <a:pt x="2017" y="3596"/>
                  </a:lnTo>
                  <a:lnTo>
                    <a:pt x="2017" y="2805"/>
                  </a:lnTo>
                  <a:cubicBezTo>
                    <a:pt x="2017" y="2704"/>
                    <a:pt x="2157" y="2630"/>
                    <a:pt x="2339" y="2543"/>
                  </a:cubicBezTo>
                  <a:lnTo>
                    <a:pt x="2374" y="2525"/>
                  </a:lnTo>
                  <a:cubicBezTo>
                    <a:pt x="2458" y="2483"/>
                    <a:pt x="2570" y="2424"/>
                    <a:pt x="2587" y="2396"/>
                  </a:cubicBezTo>
                  <a:lnTo>
                    <a:pt x="2587" y="866"/>
                  </a:lnTo>
                  <a:lnTo>
                    <a:pt x="2654" y="866"/>
                  </a:lnTo>
                  <a:cubicBezTo>
                    <a:pt x="3053" y="876"/>
                    <a:pt x="3609" y="883"/>
                    <a:pt x="4002" y="883"/>
                  </a:cubicBezTo>
                  <a:cubicBezTo>
                    <a:pt x="4191" y="883"/>
                    <a:pt x="4338" y="883"/>
                    <a:pt x="4415" y="876"/>
                  </a:cubicBezTo>
                  <a:lnTo>
                    <a:pt x="4436" y="876"/>
                  </a:lnTo>
                  <a:lnTo>
                    <a:pt x="4436" y="859"/>
                  </a:lnTo>
                  <a:lnTo>
                    <a:pt x="4436" y="848"/>
                  </a:lnTo>
                  <a:lnTo>
                    <a:pt x="4436" y="838"/>
                  </a:lnTo>
                  <a:lnTo>
                    <a:pt x="4436" y="824"/>
                  </a:lnTo>
                  <a:lnTo>
                    <a:pt x="4436" y="813"/>
                  </a:lnTo>
                  <a:lnTo>
                    <a:pt x="4436" y="792"/>
                  </a:lnTo>
                  <a:lnTo>
                    <a:pt x="4436" y="785"/>
                  </a:lnTo>
                  <a:lnTo>
                    <a:pt x="4436" y="764"/>
                  </a:lnTo>
                  <a:lnTo>
                    <a:pt x="4436" y="750"/>
                  </a:lnTo>
                  <a:lnTo>
                    <a:pt x="4436" y="729"/>
                  </a:lnTo>
                  <a:lnTo>
                    <a:pt x="4436" y="715"/>
                  </a:lnTo>
                  <a:lnTo>
                    <a:pt x="4436" y="694"/>
                  </a:lnTo>
                  <a:lnTo>
                    <a:pt x="4436" y="677"/>
                  </a:lnTo>
                  <a:lnTo>
                    <a:pt x="4436" y="656"/>
                  </a:lnTo>
                  <a:lnTo>
                    <a:pt x="4436" y="631"/>
                  </a:lnTo>
                  <a:lnTo>
                    <a:pt x="4436" y="610"/>
                  </a:lnTo>
                  <a:lnTo>
                    <a:pt x="4436" y="586"/>
                  </a:lnTo>
                  <a:lnTo>
                    <a:pt x="4436" y="568"/>
                  </a:lnTo>
                  <a:lnTo>
                    <a:pt x="4436" y="533"/>
                  </a:lnTo>
                  <a:lnTo>
                    <a:pt x="4436" y="519"/>
                  </a:lnTo>
                  <a:lnTo>
                    <a:pt x="4436" y="477"/>
                  </a:lnTo>
                  <a:lnTo>
                    <a:pt x="4436" y="463"/>
                  </a:lnTo>
                  <a:lnTo>
                    <a:pt x="4436" y="418"/>
                  </a:lnTo>
                  <a:lnTo>
                    <a:pt x="4436" y="411"/>
                  </a:lnTo>
                  <a:cubicBezTo>
                    <a:pt x="4436" y="337"/>
                    <a:pt x="4432" y="253"/>
                    <a:pt x="4432" y="162"/>
                  </a:cubicBezTo>
                  <a:lnTo>
                    <a:pt x="4429" y="158"/>
                  </a:lnTo>
                  <a:lnTo>
                    <a:pt x="4425" y="148"/>
                  </a:lnTo>
                  <a:lnTo>
                    <a:pt x="4418" y="134"/>
                  </a:lnTo>
                  <a:lnTo>
                    <a:pt x="4418" y="127"/>
                  </a:lnTo>
                  <a:lnTo>
                    <a:pt x="4411" y="113"/>
                  </a:lnTo>
                  <a:lnTo>
                    <a:pt x="4411" y="106"/>
                  </a:lnTo>
                  <a:lnTo>
                    <a:pt x="4408" y="88"/>
                  </a:lnTo>
                  <a:cubicBezTo>
                    <a:pt x="4394" y="36"/>
                    <a:pt x="4383" y="1"/>
                    <a:pt x="4107" y="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644" name="Google Shape;3644;p104"/>
            <p:cNvSpPr/>
            <p:nvPr/>
          </p:nvSpPr>
          <p:spPr>
            <a:xfrm>
              <a:off x="1982370" y="1833793"/>
              <a:ext cx="14" cy="163"/>
            </a:xfrm>
            <a:custGeom>
              <a:avLst/>
              <a:gdLst/>
              <a:ahLst/>
              <a:cxnLst/>
              <a:rect l="l" t="t" r="r" b="b"/>
              <a:pathLst>
                <a:path w="1" h="12" extrusionOk="0">
                  <a:moveTo>
                    <a:pt x="0" y="1"/>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645" name="Google Shape;3645;p104"/>
            <p:cNvSpPr/>
            <p:nvPr/>
          </p:nvSpPr>
          <p:spPr>
            <a:xfrm>
              <a:off x="1982275" y="1833508"/>
              <a:ext cx="14" cy="109"/>
            </a:xfrm>
            <a:custGeom>
              <a:avLst/>
              <a:gdLst/>
              <a:ahLst/>
              <a:cxnLst/>
              <a:rect l="l" t="t" r="r" b="b"/>
              <a:pathLst>
                <a:path w="1" h="8" extrusionOk="0">
                  <a:moveTo>
                    <a:pt x="0" y="1"/>
                  </a:moveTo>
                  <a:lnTo>
                    <a:pt x="0" y="8"/>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646" name="Google Shape;3646;p104"/>
            <p:cNvSpPr/>
            <p:nvPr/>
          </p:nvSpPr>
          <p:spPr>
            <a:xfrm>
              <a:off x="1982465" y="1834078"/>
              <a:ext cx="54" cy="163"/>
            </a:xfrm>
            <a:custGeom>
              <a:avLst/>
              <a:gdLst/>
              <a:ahLst/>
              <a:cxnLst/>
              <a:rect l="l" t="t" r="r" b="b"/>
              <a:pathLst>
                <a:path w="4" h="12" extrusionOk="0">
                  <a:moveTo>
                    <a:pt x="0" y="1"/>
                  </a:moveTo>
                  <a:lnTo>
                    <a:pt x="4" y="1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647" name="Google Shape;3647;p104"/>
            <p:cNvSpPr/>
            <p:nvPr/>
          </p:nvSpPr>
          <p:spPr>
            <a:xfrm>
              <a:off x="1922575" y="1836318"/>
              <a:ext cx="85525" cy="95653"/>
            </a:xfrm>
            <a:custGeom>
              <a:avLst/>
              <a:gdLst/>
              <a:ahLst/>
              <a:cxnLst/>
              <a:rect l="l" t="t" r="r" b="b"/>
              <a:pathLst>
                <a:path w="6299" h="7045" extrusionOk="0">
                  <a:moveTo>
                    <a:pt x="4548" y="1"/>
                  </a:moveTo>
                  <a:lnTo>
                    <a:pt x="4551" y="99"/>
                  </a:lnTo>
                  <a:cubicBezTo>
                    <a:pt x="4551" y="176"/>
                    <a:pt x="4551" y="242"/>
                    <a:pt x="4555" y="298"/>
                  </a:cubicBezTo>
                  <a:lnTo>
                    <a:pt x="4555" y="305"/>
                  </a:lnTo>
                  <a:lnTo>
                    <a:pt x="4555" y="337"/>
                  </a:lnTo>
                  <a:lnTo>
                    <a:pt x="4555" y="347"/>
                  </a:lnTo>
                  <a:lnTo>
                    <a:pt x="4555" y="372"/>
                  </a:lnTo>
                  <a:lnTo>
                    <a:pt x="4555" y="386"/>
                  </a:lnTo>
                  <a:lnTo>
                    <a:pt x="4555" y="403"/>
                  </a:lnTo>
                  <a:lnTo>
                    <a:pt x="4555" y="421"/>
                  </a:lnTo>
                  <a:lnTo>
                    <a:pt x="4555" y="435"/>
                  </a:lnTo>
                  <a:lnTo>
                    <a:pt x="4555" y="452"/>
                  </a:lnTo>
                  <a:lnTo>
                    <a:pt x="4555" y="466"/>
                  </a:lnTo>
                  <a:lnTo>
                    <a:pt x="4555" y="480"/>
                  </a:lnTo>
                  <a:lnTo>
                    <a:pt x="4555" y="494"/>
                  </a:lnTo>
                  <a:lnTo>
                    <a:pt x="4555" y="508"/>
                  </a:lnTo>
                  <a:lnTo>
                    <a:pt x="4555" y="519"/>
                  </a:lnTo>
                  <a:lnTo>
                    <a:pt x="4555" y="533"/>
                  </a:lnTo>
                  <a:lnTo>
                    <a:pt x="4555" y="540"/>
                  </a:lnTo>
                  <a:lnTo>
                    <a:pt x="4555" y="554"/>
                  </a:lnTo>
                  <a:lnTo>
                    <a:pt x="4555" y="561"/>
                  </a:lnTo>
                  <a:lnTo>
                    <a:pt x="4555" y="575"/>
                  </a:lnTo>
                  <a:lnTo>
                    <a:pt x="4555" y="578"/>
                  </a:lnTo>
                  <a:cubicBezTo>
                    <a:pt x="4555" y="589"/>
                    <a:pt x="4551" y="599"/>
                    <a:pt x="4551" y="610"/>
                  </a:cubicBezTo>
                  <a:lnTo>
                    <a:pt x="4551" y="620"/>
                  </a:lnTo>
                  <a:lnTo>
                    <a:pt x="4551" y="624"/>
                  </a:lnTo>
                  <a:lnTo>
                    <a:pt x="4551" y="634"/>
                  </a:lnTo>
                  <a:lnTo>
                    <a:pt x="4551" y="641"/>
                  </a:lnTo>
                  <a:lnTo>
                    <a:pt x="4551" y="645"/>
                  </a:lnTo>
                  <a:lnTo>
                    <a:pt x="4551" y="652"/>
                  </a:lnTo>
                  <a:lnTo>
                    <a:pt x="4551" y="659"/>
                  </a:lnTo>
                  <a:lnTo>
                    <a:pt x="4551" y="666"/>
                  </a:lnTo>
                  <a:lnTo>
                    <a:pt x="4551" y="669"/>
                  </a:lnTo>
                  <a:lnTo>
                    <a:pt x="4551" y="673"/>
                  </a:lnTo>
                  <a:lnTo>
                    <a:pt x="4544" y="673"/>
                  </a:lnTo>
                  <a:lnTo>
                    <a:pt x="4541" y="676"/>
                  </a:lnTo>
                  <a:lnTo>
                    <a:pt x="4537" y="676"/>
                  </a:lnTo>
                  <a:cubicBezTo>
                    <a:pt x="4523" y="686"/>
                    <a:pt x="4495" y="705"/>
                    <a:pt x="3919" y="705"/>
                  </a:cubicBezTo>
                  <a:cubicBezTo>
                    <a:pt x="3655" y="705"/>
                    <a:pt x="3276" y="701"/>
                    <a:pt x="2731" y="690"/>
                  </a:cubicBezTo>
                  <a:lnTo>
                    <a:pt x="2731" y="2084"/>
                  </a:lnTo>
                  <a:cubicBezTo>
                    <a:pt x="2731" y="2189"/>
                    <a:pt x="2591" y="2259"/>
                    <a:pt x="2409" y="2346"/>
                  </a:cubicBezTo>
                  <a:cubicBezTo>
                    <a:pt x="2321" y="2392"/>
                    <a:pt x="2181" y="2462"/>
                    <a:pt x="2160" y="2500"/>
                  </a:cubicBezTo>
                  <a:lnTo>
                    <a:pt x="2160" y="3417"/>
                  </a:lnTo>
                  <a:lnTo>
                    <a:pt x="0" y="3417"/>
                  </a:lnTo>
                  <a:cubicBezTo>
                    <a:pt x="0" y="3634"/>
                    <a:pt x="109" y="3739"/>
                    <a:pt x="214" y="3844"/>
                  </a:cubicBezTo>
                  <a:cubicBezTo>
                    <a:pt x="242" y="3872"/>
                    <a:pt x="270" y="3897"/>
                    <a:pt x="294" y="3925"/>
                  </a:cubicBezTo>
                  <a:cubicBezTo>
                    <a:pt x="389" y="4037"/>
                    <a:pt x="368" y="4177"/>
                    <a:pt x="347" y="4314"/>
                  </a:cubicBezTo>
                  <a:cubicBezTo>
                    <a:pt x="322" y="4475"/>
                    <a:pt x="298" y="4643"/>
                    <a:pt x="420" y="4811"/>
                  </a:cubicBezTo>
                  <a:cubicBezTo>
                    <a:pt x="609" y="5073"/>
                    <a:pt x="550" y="5472"/>
                    <a:pt x="245" y="5962"/>
                  </a:cubicBezTo>
                  <a:cubicBezTo>
                    <a:pt x="203" y="6025"/>
                    <a:pt x="189" y="6138"/>
                    <a:pt x="175" y="6260"/>
                  </a:cubicBezTo>
                  <a:lnTo>
                    <a:pt x="179" y="6253"/>
                  </a:lnTo>
                  <a:lnTo>
                    <a:pt x="193" y="6225"/>
                  </a:lnTo>
                  <a:cubicBezTo>
                    <a:pt x="227" y="6157"/>
                    <a:pt x="275" y="6055"/>
                    <a:pt x="395" y="6055"/>
                  </a:cubicBezTo>
                  <a:cubicBezTo>
                    <a:pt x="410" y="6055"/>
                    <a:pt x="427" y="6057"/>
                    <a:pt x="445" y="6060"/>
                  </a:cubicBezTo>
                  <a:cubicBezTo>
                    <a:pt x="487" y="6067"/>
                    <a:pt x="529" y="6074"/>
                    <a:pt x="571" y="6074"/>
                  </a:cubicBezTo>
                  <a:cubicBezTo>
                    <a:pt x="598" y="6075"/>
                    <a:pt x="625" y="6076"/>
                    <a:pt x="652" y="6076"/>
                  </a:cubicBezTo>
                  <a:cubicBezTo>
                    <a:pt x="741" y="6076"/>
                    <a:pt x="828" y="6071"/>
                    <a:pt x="914" y="6060"/>
                  </a:cubicBezTo>
                  <a:cubicBezTo>
                    <a:pt x="956" y="6046"/>
                    <a:pt x="1091" y="5995"/>
                    <a:pt x="1223" y="5995"/>
                  </a:cubicBezTo>
                  <a:cubicBezTo>
                    <a:pt x="1279" y="5995"/>
                    <a:pt x="1335" y="6004"/>
                    <a:pt x="1383" y="6029"/>
                  </a:cubicBezTo>
                  <a:cubicBezTo>
                    <a:pt x="1516" y="6095"/>
                    <a:pt x="1645" y="6232"/>
                    <a:pt x="1691" y="6292"/>
                  </a:cubicBezTo>
                  <a:lnTo>
                    <a:pt x="1901" y="6292"/>
                  </a:lnTo>
                  <a:lnTo>
                    <a:pt x="1915" y="6334"/>
                  </a:lnTo>
                  <a:cubicBezTo>
                    <a:pt x="1957" y="6442"/>
                    <a:pt x="2094" y="6740"/>
                    <a:pt x="2258" y="6796"/>
                  </a:cubicBezTo>
                  <a:cubicBezTo>
                    <a:pt x="2272" y="6799"/>
                    <a:pt x="2286" y="6803"/>
                    <a:pt x="2300" y="6810"/>
                  </a:cubicBezTo>
                  <a:cubicBezTo>
                    <a:pt x="2391" y="6866"/>
                    <a:pt x="2461" y="6946"/>
                    <a:pt x="2503" y="7044"/>
                  </a:cubicBezTo>
                  <a:lnTo>
                    <a:pt x="2542" y="7044"/>
                  </a:lnTo>
                  <a:lnTo>
                    <a:pt x="2556" y="7041"/>
                  </a:lnTo>
                  <a:lnTo>
                    <a:pt x="2559" y="7041"/>
                  </a:lnTo>
                  <a:lnTo>
                    <a:pt x="2577" y="7037"/>
                  </a:lnTo>
                  <a:lnTo>
                    <a:pt x="2594" y="7034"/>
                  </a:lnTo>
                  <a:lnTo>
                    <a:pt x="2598" y="7034"/>
                  </a:lnTo>
                  <a:lnTo>
                    <a:pt x="2612" y="7027"/>
                  </a:lnTo>
                  <a:lnTo>
                    <a:pt x="2619" y="7027"/>
                  </a:lnTo>
                  <a:lnTo>
                    <a:pt x="2629" y="7023"/>
                  </a:lnTo>
                  <a:lnTo>
                    <a:pt x="2633" y="7020"/>
                  </a:lnTo>
                  <a:lnTo>
                    <a:pt x="2643" y="7013"/>
                  </a:lnTo>
                  <a:lnTo>
                    <a:pt x="2650" y="7013"/>
                  </a:lnTo>
                  <a:cubicBezTo>
                    <a:pt x="2654" y="7009"/>
                    <a:pt x="2657" y="7006"/>
                    <a:pt x="2661" y="7002"/>
                  </a:cubicBezTo>
                  <a:lnTo>
                    <a:pt x="2664" y="7002"/>
                  </a:lnTo>
                  <a:lnTo>
                    <a:pt x="2671" y="6995"/>
                  </a:lnTo>
                  <a:lnTo>
                    <a:pt x="2675" y="6988"/>
                  </a:lnTo>
                  <a:lnTo>
                    <a:pt x="2682" y="6981"/>
                  </a:lnTo>
                  <a:lnTo>
                    <a:pt x="2682" y="6978"/>
                  </a:lnTo>
                  <a:cubicBezTo>
                    <a:pt x="2685" y="6974"/>
                    <a:pt x="2685" y="6971"/>
                    <a:pt x="2685" y="6967"/>
                  </a:cubicBezTo>
                  <a:lnTo>
                    <a:pt x="2685" y="6964"/>
                  </a:lnTo>
                  <a:cubicBezTo>
                    <a:pt x="2689" y="6957"/>
                    <a:pt x="2689" y="6953"/>
                    <a:pt x="2685" y="6946"/>
                  </a:cubicBezTo>
                  <a:cubicBezTo>
                    <a:pt x="2685" y="6897"/>
                    <a:pt x="2696" y="6729"/>
                    <a:pt x="2815" y="6673"/>
                  </a:cubicBezTo>
                  <a:cubicBezTo>
                    <a:pt x="2837" y="6664"/>
                    <a:pt x="2860" y="6659"/>
                    <a:pt x="2884" y="6659"/>
                  </a:cubicBezTo>
                  <a:cubicBezTo>
                    <a:pt x="2952" y="6659"/>
                    <a:pt x="3030" y="6697"/>
                    <a:pt x="3116" y="6775"/>
                  </a:cubicBezTo>
                  <a:cubicBezTo>
                    <a:pt x="3204" y="6854"/>
                    <a:pt x="3237" y="6859"/>
                    <a:pt x="3246" y="6859"/>
                  </a:cubicBezTo>
                  <a:cubicBezTo>
                    <a:pt x="3247" y="6859"/>
                    <a:pt x="3248" y="6859"/>
                    <a:pt x="3249" y="6859"/>
                  </a:cubicBezTo>
                  <a:cubicBezTo>
                    <a:pt x="3263" y="6841"/>
                    <a:pt x="3273" y="6824"/>
                    <a:pt x="3280" y="6803"/>
                  </a:cubicBezTo>
                  <a:cubicBezTo>
                    <a:pt x="3287" y="6782"/>
                    <a:pt x="3298" y="6757"/>
                    <a:pt x="3312" y="6740"/>
                  </a:cubicBezTo>
                  <a:cubicBezTo>
                    <a:pt x="3341" y="6696"/>
                    <a:pt x="3384" y="6681"/>
                    <a:pt x="3433" y="6681"/>
                  </a:cubicBezTo>
                  <a:cubicBezTo>
                    <a:pt x="3477" y="6681"/>
                    <a:pt x="3526" y="6693"/>
                    <a:pt x="3574" y="6705"/>
                  </a:cubicBezTo>
                  <a:cubicBezTo>
                    <a:pt x="3627" y="6722"/>
                    <a:pt x="3679" y="6729"/>
                    <a:pt x="3735" y="6733"/>
                  </a:cubicBezTo>
                  <a:cubicBezTo>
                    <a:pt x="3865" y="6733"/>
                    <a:pt x="4047" y="6642"/>
                    <a:pt x="4047" y="6642"/>
                  </a:cubicBezTo>
                  <a:lnTo>
                    <a:pt x="4061" y="6635"/>
                  </a:lnTo>
                  <a:lnTo>
                    <a:pt x="4079" y="6635"/>
                  </a:lnTo>
                  <a:cubicBezTo>
                    <a:pt x="4388" y="6639"/>
                    <a:pt x="4778" y="6642"/>
                    <a:pt x="5138" y="6642"/>
                  </a:cubicBezTo>
                  <a:cubicBezTo>
                    <a:pt x="5653" y="6642"/>
                    <a:pt x="6108" y="6636"/>
                    <a:pt x="6183" y="6617"/>
                  </a:cubicBezTo>
                  <a:cubicBezTo>
                    <a:pt x="6211" y="6586"/>
                    <a:pt x="6228" y="6414"/>
                    <a:pt x="6221" y="6243"/>
                  </a:cubicBezTo>
                  <a:lnTo>
                    <a:pt x="6221" y="6239"/>
                  </a:lnTo>
                  <a:lnTo>
                    <a:pt x="6050" y="6067"/>
                  </a:lnTo>
                  <a:lnTo>
                    <a:pt x="6050" y="6046"/>
                  </a:lnTo>
                  <a:lnTo>
                    <a:pt x="5524" y="1142"/>
                  </a:lnTo>
                  <a:lnTo>
                    <a:pt x="6298" y="1142"/>
                  </a:lnTo>
                  <a:cubicBezTo>
                    <a:pt x="5430" y="568"/>
                    <a:pt x="4709" y="95"/>
                    <a:pt x="4569" y="11"/>
                  </a:cubicBezTo>
                  <a:lnTo>
                    <a:pt x="4555" y="4"/>
                  </a:lnTo>
                  <a:lnTo>
                    <a:pt x="4548"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648" name="Google Shape;3648;p104"/>
            <p:cNvSpPr/>
            <p:nvPr/>
          </p:nvSpPr>
          <p:spPr>
            <a:xfrm>
              <a:off x="1984366" y="1836088"/>
              <a:ext cx="54" cy="1385"/>
            </a:xfrm>
            <a:custGeom>
              <a:avLst/>
              <a:gdLst/>
              <a:ahLst/>
              <a:cxnLst/>
              <a:rect l="l" t="t" r="r" b="b"/>
              <a:pathLst>
                <a:path w="4" h="102" extrusionOk="0">
                  <a:moveTo>
                    <a:pt x="0" y="0"/>
                  </a:moveTo>
                  <a:cubicBezTo>
                    <a:pt x="0" y="18"/>
                    <a:pt x="1" y="37"/>
                    <a:pt x="2" y="55"/>
                  </a:cubicBezTo>
                  <a:lnTo>
                    <a:pt x="2" y="55"/>
                  </a:lnTo>
                  <a:lnTo>
                    <a:pt x="0" y="0"/>
                  </a:lnTo>
                  <a:close/>
                  <a:moveTo>
                    <a:pt x="2" y="55"/>
                  </a:moveTo>
                  <a:lnTo>
                    <a:pt x="4" y="102"/>
                  </a:lnTo>
                  <a:cubicBezTo>
                    <a:pt x="4" y="87"/>
                    <a:pt x="3" y="71"/>
                    <a:pt x="2" y="55"/>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649" name="Google Shape;3649;p104"/>
            <p:cNvSpPr/>
            <p:nvPr/>
          </p:nvSpPr>
          <p:spPr>
            <a:xfrm>
              <a:off x="1984692" y="1836278"/>
              <a:ext cx="23503" cy="15410"/>
            </a:xfrm>
            <a:custGeom>
              <a:avLst/>
              <a:gdLst/>
              <a:ahLst/>
              <a:cxnLst/>
              <a:rect l="l" t="t" r="r" b="b"/>
              <a:pathLst>
                <a:path w="1731" h="1135" extrusionOk="0">
                  <a:moveTo>
                    <a:pt x="1" y="0"/>
                  </a:moveTo>
                  <a:lnTo>
                    <a:pt x="1" y="0"/>
                  </a:lnTo>
                  <a:cubicBezTo>
                    <a:pt x="141" y="88"/>
                    <a:pt x="862" y="560"/>
                    <a:pt x="1730" y="1134"/>
                  </a:cubicBezTo>
                  <a:cubicBezTo>
                    <a:pt x="809" y="525"/>
                    <a:pt x="137" y="84"/>
                    <a:pt x="1"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650" name="Google Shape;3650;p104"/>
            <p:cNvSpPr/>
            <p:nvPr/>
          </p:nvSpPr>
          <p:spPr>
            <a:xfrm>
              <a:off x="1984502" y="1836183"/>
              <a:ext cx="163" cy="109"/>
            </a:xfrm>
            <a:custGeom>
              <a:avLst/>
              <a:gdLst/>
              <a:ahLst/>
              <a:cxnLst/>
              <a:rect l="l" t="t" r="r" b="b"/>
              <a:pathLst>
                <a:path w="12" h="8" extrusionOk="0">
                  <a:moveTo>
                    <a:pt x="11" y="7"/>
                  </a:moveTo>
                  <a:lnTo>
                    <a:pt x="1"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651" name="Google Shape;3651;p104"/>
            <p:cNvSpPr/>
            <p:nvPr/>
          </p:nvSpPr>
          <p:spPr>
            <a:xfrm>
              <a:off x="1924517" y="1921218"/>
              <a:ext cx="68" cy="54"/>
            </a:xfrm>
            <a:custGeom>
              <a:avLst/>
              <a:gdLst/>
              <a:ahLst/>
              <a:cxnLst/>
              <a:rect l="l" t="t" r="r" b="b"/>
              <a:pathLst>
                <a:path w="5" h="4" extrusionOk="0">
                  <a:moveTo>
                    <a:pt x="1" y="4"/>
                  </a:moveTo>
                  <a:lnTo>
                    <a:pt x="4" y="0"/>
                  </a:lnTo>
                  <a:lnTo>
                    <a:pt x="1" y="4"/>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652" name="Google Shape;3652;p104"/>
            <p:cNvSpPr/>
            <p:nvPr/>
          </p:nvSpPr>
          <p:spPr>
            <a:xfrm>
              <a:off x="1953369" y="1928727"/>
              <a:ext cx="3204" cy="3245"/>
            </a:xfrm>
            <a:custGeom>
              <a:avLst/>
              <a:gdLst/>
              <a:ahLst/>
              <a:cxnLst/>
              <a:rect l="l" t="t" r="r" b="b"/>
              <a:pathLst>
                <a:path w="236" h="239" extrusionOk="0">
                  <a:moveTo>
                    <a:pt x="1" y="0"/>
                  </a:moveTo>
                  <a:cubicBezTo>
                    <a:pt x="102" y="53"/>
                    <a:pt x="183" y="137"/>
                    <a:pt x="235" y="238"/>
                  </a:cubicBezTo>
                  <a:lnTo>
                    <a:pt x="235" y="238"/>
                  </a:lnTo>
                  <a:cubicBezTo>
                    <a:pt x="183" y="137"/>
                    <a:pt x="102" y="53"/>
                    <a:pt x="1"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653" name="Google Shape;3653;p104"/>
            <p:cNvSpPr/>
            <p:nvPr/>
          </p:nvSpPr>
          <p:spPr>
            <a:xfrm>
              <a:off x="1929893" y="1918544"/>
              <a:ext cx="4671" cy="258"/>
            </a:xfrm>
            <a:custGeom>
              <a:avLst/>
              <a:gdLst/>
              <a:ahLst/>
              <a:cxnLst/>
              <a:rect l="l" t="t" r="r" b="b"/>
              <a:pathLst>
                <a:path w="344" h="19" extrusionOk="0">
                  <a:moveTo>
                    <a:pt x="0" y="15"/>
                  </a:moveTo>
                  <a:cubicBezTo>
                    <a:pt x="116" y="18"/>
                    <a:pt x="231" y="15"/>
                    <a:pt x="343" y="1"/>
                  </a:cubicBezTo>
                  <a:cubicBezTo>
                    <a:pt x="231" y="15"/>
                    <a:pt x="116" y="18"/>
                    <a:pt x="0" y="15"/>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654" name="Google Shape;3654;p104"/>
            <p:cNvSpPr/>
            <p:nvPr/>
          </p:nvSpPr>
          <p:spPr>
            <a:xfrm>
              <a:off x="1983796" y="1845442"/>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655" name="Google Shape;3655;p104"/>
            <p:cNvSpPr/>
            <p:nvPr/>
          </p:nvSpPr>
          <p:spPr>
            <a:xfrm>
              <a:off x="1983986" y="1845307"/>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656" name="Google Shape;3656;p104"/>
            <p:cNvSpPr/>
            <p:nvPr/>
          </p:nvSpPr>
          <p:spPr>
            <a:xfrm>
              <a:off x="1984081" y="1845157"/>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657" name="Google Shape;3657;p104"/>
            <p:cNvSpPr/>
            <p:nvPr/>
          </p:nvSpPr>
          <p:spPr>
            <a:xfrm>
              <a:off x="1983891" y="1845442"/>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658" name="Google Shape;3658;p104"/>
            <p:cNvSpPr/>
            <p:nvPr/>
          </p:nvSpPr>
          <p:spPr>
            <a:xfrm>
              <a:off x="1984122" y="1845062"/>
              <a:ext cx="14" cy="14"/>
            </a:xfrm>
            <a:custGeom>
              <a:avLst/>
              <a:gdLst/>
              <a:ahLst/>
              <a:cxnLst/>
              <a:rect l="l" t="t" r="r" b="b"/>
              <a:pathLst>
                <a:path w="1" h="1" extrusionOk="0">
                  <a:moveTo>
                    <a:pt x="1"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659" name="Google Shape;3659;p104"/>
            <p:cNvSpPr/>
            <p:nvPr/>
          </p:nvSpPr>
          <p:spPr>
            <a:xfrm>
              <a:off x="1984366" y="1843447"/>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660" name="Google Shape;3660;p104"/>
            <p:cNvSpPr/>
            <p:nvPr/>
          </p:nvSpPr>
          <p:spPr>
            <a:xfrm>
              <a:off x="1983932" y="1845402"/>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661" name="Google Shape;3661;p104"/>
            <p:cNvSpPr/>
            <p:nvPr/>
          </p:nvSpPr>
          <p:spPr>
            <a:xfrm>
              <a:off x="1984027" y="1845252"/>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662" name="Google Shape;3662;p104"/>
            <p:cNvSpPr/>
            <p:nvPr/>
          </p:nvSpPr>
          <p:spPr>
            <a:xfrm>
              <a:off x="1984407" y="1840269"/>
              <a:ext cx="14" cy="394"/>
            </a:xfrm>
            <a:custGeom>
              <a:avLst/>
              <a:gdLst/>
              <a:ahLst/>
              <a:cxnLst/>
              <a:rect l="l" t="t" r="r" b="b"/>
              <a:pathLst>
                <a:path w="1" h="29" extrusionOk="0">
                  <a:moveTo>
                    <a:pt x="1" y="28"/>
                  </a:moveTo>
                  <a:lnTo>
                    <a:pt x="1"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663" name="Google Shape;3663;p104"/>
            <p:cNvSpPr/>
            <p:nvPr/>
          </p:nvSpPr>
          <p:spPr>
            <a:xfrm>
              <a:off x="1984407" y="1841790"/>
              <a:ext cx="14" cy="244"/>
            </a:xfrm>
            <a:custGeom>
              <a:avLst/>
              <a:gdLst/>
              <a:ahLst/>
              <a:cxnLst/>
              <a:rect l="l" t="t" r="r" b="b"/>
              <a:pathLst>
                <a:path w="1" h="18" extrusionOk="0">
                  <a:moveTo>
                    <a:pt x="1" y="18"/>
                  </a:moveTo>
                  <a:lnTo>
                    <a:pt x="1"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664" name="Google Shape;3664;p104"/>
            <p:cNvSpPr/>
            <p:nvPr/>
          </p:nvSpPr>
          <p:spPr>
            <a:xfrm>
              <a:off x="1984217" y="1844736"/>
              <a:ext cx="14" cy="14"/>
            </a:xfrm>
            <a:custGeom>
              <a:avLst/>
              <a:gdLst/>
              <a:ahLst/>
              <a:cxnLst/>
              <a:rect l="l" t="t" r="r" b="b"/>
              <a:pathLst>
                <a:path w="1" h="1" extrusionOk="0">
                  <a:moveTo>
                    <a:pt x="1"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665" name="Google Shape;3665;p104"/>
            <p:cNvSpPr/>
            <p:nvPr/>
          </p:nvSpPr>
          <p:spPr>
            <a:xfrm>
              <a:off x="1984271" y="1844587"/>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666" name="Google Shape;3666;p104"/>
            <p:cNvSpPr/>
            <p:nvPr/>
          </p:nvSpPr>
          <p:spPr>
            <a:xfrm>
              <a:off x="1984366" y="1843732"/>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667" name="Google Shape;3667;p104"/>
            <p:cNvSpPr/>
            <p:nvPr/>
          </p:nvSpPr>
          <p:spPr>
            <a:xfrm>
              <a:off x="1984366" y="1843976"/>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668" name="Google Shape;3668;p104"/>
            <p:cNvSpPr/>
            <p:nvPr/>
          </p:nvSpPr>
          <p:spPr>
            <a:xfrm>
              <a:off x="1984407" y="1842781"/>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669" name="Google Shape;3669;p104"/>
            <p:cNvSpPr/>
            <p:nvPr/>
          </p:nvSpPr>
          <p:spPr>
            <a:xfrm>
              <a:off x="1984312" y="1844397"/>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670" name="Google Shape;3670;p104"/>
            <p:cNvSpPr/>
            <p:nvPr/>
          </p:nvSpPr>
          <p:spPr>
            <a:xfrm>
              <a:off x="1984176" y="1844967"/>
              <a:ext cx="14" cy="68"/>
            </a:xfrm>
            <a:custGeom>
              <a:avLst/>
              <a:gdLst/>
              <a:ahLst/>
              <a:cxnLst/>
              <a:rect l="l" t="t" r="r" b="b"/>
              <a:pathLst>
                <a:path w="1" h="5" extrusionOk="0">
                  <a:moveTo>
                    <a:pt x="0"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671" name="Google Shape;3671;p104"/>
            <p:cNvSpPr/>
            <p:nvPr/>
          </p:nvSpPr>
          <p:spPr>
            <a:xfrm>
              <a:off x="1983986" y="1845307"/>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672" name="Google Shape;3672;p104"/>
            <p:cNvSpPr/>
            <p:nvPr/>
          </p:nvSpPr>
          <p:spPr>
            <a:xfrm>
              <a:off x="1984176" y="1844831"/>
              <a:ext cx="14" cy="54"/>
            </a:xfrm>
            <a:custGeom>
              <a:avLst/>
              <a:gdLst/>
              <a:ahLst/>
              <a:cxnLst/>
              <a:rect l="l" t="t" r="r" b="b"/>
              <a:pathLst>
                <a:path w="1" h="4" extrusionOk="0">
                  <a:moveTo>
                    <a:pt x="0"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673" name="Google Shape;3673;p104"/>
            <p:cNvSpPr/>
            <p:nvPr/>
          </p:nvSpPr>
          <p:spPr>
            <a:xfrm>
              <a:off x="1984407" y="1842971"/>
              <a:ext cx="14" cy="163"/>
            </a:xfrm>
            <a:custGeom>
              <a:avLst/>
              <a:gdLst/>
              <a:ahLst/>
              <a:cxnLst/>
              <a:rect l="l" t="t" r="r" b="b"/>
              <a:pathLst>
                <a:path w="1" h="12" extrusionOk="0">
                  <a:moveTo>
                    <a:pt x="1" y="1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674" name="Google Shape;3674;p104"/>
            <p:cNvSpPr/>
            <p:nvPr/>
          </p:nvSpPr>
          <p:spPr>
            <a:xfrm>
              <a:off x="1984407" y="1840785"/>
              <a:ext cx="14" cy="353"/>
            </a:xfrm>
            <a:custGeom>
              <a:avLst/>
              <a:gdLst/>
              <a:ahLst/>
              <a:cxnLst/>
              <a:rect l="l" t="t" r="r" b="b"/>
              <a:pathLst>
                <a:path w="1" h="26" extrusionOk="0">
                  <a:moveTo>
                    <a:pt x="1" y="1"/>
                  </a:moveTo>
                  <a:lnTo>
                    <a:pt x="1" y="25"/>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675" name="Google Shape;3675;p104"/>
            <p:cNvSpPr/>
            <p:nvPr/>
          </p:nvSpPr>
          <p:spPr>
            <a:xfrm>
              <a:off x="1984407" y="1837459"/>
              <a:ext cx="68" cy="2729"/>
            </a:xfrm>
            <a:custGeom>
              <a:avLst/>
              <a:gdLst/>
              <a:ahLst/>
              <a:cxnLst/>
              <a:rect l="l" t="t" r="r" b="b"/>
              <a:pathLst>
                <a:path w="5" h="201" extrusionOk="0">
                  <a:moveTo>
                    <a:pt x="1" y="1"/>
                  </a:moveTo>
                  <a:cubicBezTo>
                    <a:pt x="1" y="78"/>
                    <a:pt x="1" y="144"/>
                    <a:pt x="4" y="200"/>
                  </a:cubicBezTo>
                  <a:cubicBezTo>
                    <a:pt x="4" y="144"/>
                    <a:pt x="4" y="78"/>
                    <a:pt x="1" y="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676" name="Google Shape;3676;p104"/>
            <p:cNvSpPr/>
            <p:nvPr/>
          </p:nvSpPr>
          <p:spPr>
            <a:xfrm>
              <a:off x="1984407" y="1841315"/>
              <a:ext cx="14" cy="299"/>
            </a:xfrm>
            <a:custGeom>
              <a:avLst/>
              <a:gdLst/>
              <a:ahLst/>
              <a:cxnLst/>
              <a:rect l="l" t="t" r="r" b="b"/>
              <a:pathLst>
                <a:path w="1" h="22" extrusionOk="0">
                  <a:moveTo>
                    <a:pt x="1" y="21"/>
                  </a:moveTo>
                  <a:lnTo>
                    <a:pt x="1"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677" name="Google Shape;3677;p104"/>
            <p:cNvSpPr/>
            <p:nvPr/>
          </p:nvSpPr>
          <p:spPr>
            <a:xfrm>
              <a:off x="1984407" y="1842211"/>
              <a:ext cx="14" cy="258"/>
            </a:xfrm>
            <a:custGeom>
              <a:avLst/>
              <a:gdLst/>
              <a:ahLst/>
              <a:cxnLst/>
              <a:rect l="l" t="t" r="r" b="b"/>
              <a:pathLst>
                <a:path w="1" h="19" extrusionOk="0">
                  <a:moveTo>
                    <a:pt x="1" y="18"/>
                  </a:moveTo>
                  <a:lnTo>
                    <a:pt x="1"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678" name="Google Shape;3678;p104"/>
            <p:cNvSpPr/>
            <p:nvPr/>
          </p:nvSpPr>
          <p:spPr>
            <a:xfrm>
              <a:off x="1984366" y="1836128"/>
              <a:ext cx="14" cy="1344"/>
            </a:xfrm>
            <a:custGeom>
              <a:avLst/>
              <a:gdLst/>
              <a:ahLst/>
              <a:cxnLst/>
              <a:rect l="l" t="t" r="r" b="b"/>
              <a:pathLst>
                <a:path w="1" h="99" extrusionOk="0">
                  <a:moveTo>
                    <a:pt x="0" y="1"/>
                  </a:moveTo>
                  <a:lnTo>
                    <a:pt x="0" y="1"/>
                  </a:lnTo>
                  <a:lnTo>
                    <a:pt x="0" y="99"/>
                  </a:lnTo>
                  <a:lnTo>
                    <a:pt x="0" y="99"/>
                  </a:lnTo>
                  <a:cubicBezTo>
                    <a:pt x="0" y="67"/>
                    <a:pt x="0" y="36"/>
                    <a:pt x="0" y="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679" name="Google Shape;3679;p104"/>
            <p:cNvSpPr/>
            <p:nvPr/>
          </p:nvSpPr>
          <p:spPr>
            <a:xfrm>
              <a:off x="1957170" y="1853426"/>
              <a:ext cx="121505" cy="113481"/>
            </a:xfrm>
            <a:custGeom>
              <a:avLst/>
              <a:gdLst/>
              <a:ahLst/>
              <a:cxnLst/>
              <a:rect l="l" t="t" r="r" b="b"/>
              <a:pathLst>
                <a:path w="8949" h="8358" extrusionOk="0">
                  <a:moveTo>
                    <a:pt x="3109" y="1"/>
                  </a:moveTo>
                  <a:lnTo>
                    <a:pt x="3614" y="4737"/>
                  </a:lnTo>
                  <a:lnTo>
                    <a:pt x="3789" y="4913"/>
                  </a:lnTo>
                  <a:lnTo>
                    <a:pt x="3789" y="4937"/>
                  </a:lnTo>
                  <a:cubicBezTo>
                    <a:pt x="3799" y="5109"/>
                    <a:pt x="3799" y="5406"/>
                    <a:pt x="3680" y="5466"/>
                  </a:cubicBezTo>
                  <a:cubicBezTo>
                    <a:pt x="3618" y="5495"/>
                    <a:pt x="3071" y="5503"/>
                    <a:pt x="2511" y="5503"/>
                  </a:cubicBezTo>
                  <a:cubicBezTo>
                    <a:pt x="2147" y="5503"/>
                    <a:pt x="1777" y="5500"/>
                    <a:pt x="1531" y="5497"/>
                  </a:cubicBezTo>
                  <a:cubicBezTo>
                    <a:pt x="1482" y="5522"/>
                    <a:pt x="1313" y="5595"/>
                    <a:pt x="1173" y="5595"/>
                  </a:cubicBezTo>
                  <a:cubicBezTo>
                    <a:pt x="1107" y="5592"/>
                    <a:pt x="1044" y="5581"/>
                    <a:pt x="981" y="5564"/>
                  </a:cubicBezTo>
                  <a:lnTo>
                    <a:pt x="963" y="5560"/>
                  </a:lnTo>
                  <a:cubicBezTo>
                    <a:pt x="950" y="5535"/>
                    <a:pt x="927" y="5524"/>
                    <a:pt x="904" y="5524"/>
                  </a:cubicBezTo>
                  <a:cubicBezTo>
                    <a:pt x="873" y="5524"/>
                    <a:pt x="843" y="5545"/>
                    <a:pt x="841" y="5581"/>
                  </a:cubicBezTo>
                  <a:cubicBezTo>
                    <a:pt x="820" y="5630"/>
                    <a:pt x="792" y="5700"/>
                    <a:pt x="718" y="5718"/>
                  </a:cubicBezTo>
                  <a:cubicBezTo>
                    <a:pt x="709" y="5720"/>
                    <a:pt x="699" y="5721"/>
                    <a:pt x="688" y="5721"/>
                  </a:cubicBezTo>
                  <a:cubicBezTo>
                    <a:pt x="626" y="5721"/>
                    <a:pt x="557" y="5683"/>
                    <a:pt x="466" y="5602"/>
                  </a:cubicBezTo>
                  <a:cubicBezTo>
                    <a:pt x="400" y="5541"/>
                    <a:pt x="350" y="5519"/>
                    <a:pt x="323" y="5519"/>
                  </a:cubicBezTo>
                  <a:cubicBezTo>
                    <a:pt x="317" y="5519"/>
                    <a:pt x="312" y="5520"/>
                    <a:pt x="309" y="5522"/>
                  </a:cubicBezTo>
                  <a:cubicBezTo>
                    <a:pt x="277" y="5536"/>
                    <a:pt x="256" y="5602"/>
                    <a:pt x="256" y="5676"/>
                  </a:cubicBezTo>
                  <a:cubicBezTo>
                    <a:pt x="256" y="5690"/>
                    <a:pt x="256" y="5704"/>
                    <a:pt x="253" y="5718"/>
                  </a:cubicBezTo>
                  <a:lnTo>
                    <a:pt x="253" y="5725"/>
                  </a:lnTo>
                  <a:cubicBezTo>
                    <a:pt x="249" y="5735"/>
                    <a:pt x="246" y="5746"/>
                    <a:pt x="242" y="5760"/>
                  </a:cubicBezTo>
                  <a:lnTo>
                    <a:pt x="239" y="5763"/>
                  </a:lnTo>
                  <a:cubicBezTo>
                    <a:pt x="232" y="5777"/>
                    <a:pt x="228" y="5788"/>
                    <a:pt x="218" y="5798"/>
                  </a:cubicBezTo>
                  <a:cubicBezTo>
                    <a:pt x="211" y="5809"/>
                    <a:pt x="204" y="5819"/>
                    <a:pt x="193" y="5826"/>
                  </a:cubicBezTo>
                  <a:lnTo>
                    <a:pt x="190" y="5830"/>
                  </a:lnTo>
                  <a:cubicBezTo>
                    <a:pt x="179" y="5840"/>
                    <a:pt x="169" y="5847"/>
                    <a:pt x="158" y="5854"/>
                  </a:cubicBezTo>
                  <a:lnTo>
                    <a:pt x="151" y="5858"/>
                  </a:lnTo>
                  <a:cubicBezTo>
                    <a:pt x="137" y="5868"/>
                    <a:pt x="123" y="5875"/>
                    <a:pt x="109" y="5879"/>
                  </a:cubicBezTo>
                  <a:lnTo>
                    <a:pt x="106" y="5879"/>
                  </a:lnTo>
                  <a:cubicBezTo>
                    <a:pt x="92" y="5886"/>
                    <a:pt x="74" y="5889"/>
                    <a:pt x="60" y="5896"/>
                  </a:cubicBezTo>
                  <a:lnTo>
                    <a:pt x="57" y="5896"/>
                  </a:lnTo>
                  <a:cubicBezTo>
                    <a:pt x="43" y="5900"/>
                    <a:pt x="25" y="5903"/>
                    <a:pt x="4" y="5907"/>
                  </a:cubicBezTo>
                  <a:lnTo>
                    <a:pt x="1" y="5907"/>
                  </a:lnTo>
                  <a:cubicBezTo>
                    <a:pt x="18" y="5928"/>
                    <a:pt x="25" y="5942"/>
                    <a:pt x="25" y="5949"/>
                  </a:cubicBezTo>
                  <a:lnTo>
                    <a:pt x="134" y="6110"/>
                  </a:lnTo>
                  <a:lnTo>
                    <a:pt x="134" y="6131"/>
                  </a:lnTo>
                  <a:cubicBezTo>
                    <a:pt x="127" y="6215"/>
                    <a:pt x="141" y="6365"/>
                    <a:pt x="197" y="6421"/>
                  </a:cubicBezTo>
                  <a:cubicBezTo>
                    <a:pt x="379" y="6603"/>
                    <a:pt x="487" y="6726"/>
                    <a:pt x="505" y="6810"/>
                  </a:cubicBezTo>
                  <a:cubicBezTo>
                    <a:pt x="505" y="6813"/>
                    <a:pt x="505" y="6820"/>
                    <a:pt x="508" y="6827"/>
                  </a:cubicBezTo>
                  <a:cubicBezTo>
                    <a:pt x="512" y="6866"/>
                    <a:pt x="512" y="6901"/>
                    <a:pt x="512" y="6940"/>
                  </a:cubicBezTo>
                  <a:lnTo>
                    <a:pt x="512" y="7073"/>
                  </a:lnTo>
                  <a:lnTo>
                    <a:pt x="508" y="7160"/>
                  </a:lnTo>
                  <a:lnTo>
                    <a:pt x="508" y="7181"/>
                  </a:lnTo>
                  <a:lnTo>
                    <a:pt x="508" y="7216"/>
                  </a:lnTo>
                  <a:lnTo>
                    <a:pt x="508" y="7255"/>
                  </a:lnTo>
                  <a:cubicBezTo>
                    <a:pt x="515" y="7276"/>
                    <a:pt x="522" y="7297"/>
                    <a:pt x="529" y="7314"/>
                  </a:cubicBezTo>
                  <a:lnTo>
                    <a:pt x="529" y="7318"/>
                  </a:lnTo>
                  <a:cubicBezTo>
                    <a:pt x="536" y="7335"/>
                    <a:pt x="543" y="7349"/>
                    <a:pt x="554" y="7367"/>
                  </a:cubicBezTo>
                  <a:cubicBezTo>
                    <a:pt x="591" y="7316"/>
                    <a:pt x="634" y="7300"/>
                    <a:pt x="676" y="7300"/>
                  </a:cubicBezTo>
                  <a:cubicBezTo>
                    <a:pt x="720" y="7300"/>
                    <a:pt x="763" y="7319"/>
                    <a:pt x="792" y="7332"/>
                  </a:cubicBezTo>
                  <a:cubicBezTo>
                    <a:pt x="809" y="7342"/>
                    <a:pt x="823" y="7346"/>
                    <a:pt x="844" y="7349"/>
                  </a:cubicBezTo>
                  <a:cubicBezTo>
                    <a:pt x="844" y="7349"/>
                    <a:pt x="848" y="7346"/>
                    <a:pt x="851" y="7335"/>
                  </a:cubicBezTo>
                  <a:cubicBezTo>
                    <a:pt x="865" y="7290"/>
                    <a:pt x="897" y="7255"/>
                    <a:pt x="939" y="7237"/>
                  </a:cubicBezTo>
                  <a:cubicBezTo>
                    <a:pt x="957" y="7231"/>
                    <a:pt x="976" y="7228"/>
                    <a:pt x="996" y="7228"/>
                  </a:cubicBezTo>
                  <a:cubicBezTo>
                    <a:pt x="1060" y="7228"/>
                    <a:pt x="1128" y="7259"/>
                    <a:pt x="1187" y="7286"/>
                  </a:cubicBezTo>
                  <a:cubicBezTo>
                    <a:pt x="1219" y="7304"/>
                    <a:pt x="1250" y="7318"/>
                    <a:pt x="1282" y="7325"/>
                  </a:cubicBezTo>
                  <a:cubicBezTo>
                    <a:pt x="1313" y="7321"/>
                    <a:pt x="1405" y="7237"/>
                    <a:pt x="1454" y="7192"/>
                  </a:cubicBezTo>
                  <a:cubicBezTo>
                    <a:pt x="1544" y="7108"/>
                    <a:pt x="1606" y="7049"/>
                    <a:pt x="1666" y="7049"/>
                  </a:cubicBezTo>
                  <a:cubicBezTo>
                    <a:pt x="1673" y="7049"/>
                    <a:pt x="1681" y="7050"/>
                    <a:pt x="1688" y="7052"/>
                  </a:cubicBezTo>
                  <a:cubicBezTo>
                    <a:pt x="1797" y="7080"/>
                    <a:pt x="1947" y="7395"/>
                    <a:pt x="1947" y="7521"/>
                  </a:cubicBezTo>
                  <a:cubicBezTo>
                    <a:pt x="1947" y="7545"/>
                    <a:pt x="2028" y="7608"/>
                    <a:pt x="2059" y="7629"/>
                  </a:cubicBezTo>
                  <a:cubicBezTo>
                    <a:pt x="2122" y="7678"/>
                    <a:pt x="2171" y="7717"/>
                    <a:pt x="2161" y="7773"/>
                  </a:cubicBezTo>
                  <a:cubicBezTo>
                    <a:pt x="2154" y="7808"/>
                    <a:pt x="2129" y="7832"/>
                    <a:pt x="2098" y="7839"/>
                  </a:cubicBezTo>
                  <a:cubicBezTo>
                    <a:pt x="2080" y="7846"/>
                    <a:pt x="2066" y="7864"/>
                    <a:pt x="2063" y="7881"/>
                  </a:cubicBezTo>
                  <a:cubicBezTo>
                    <a:pt x="2059" y="7888"/>
                    <a:pt x="2059" y="7899"/>
                    <a:pt x="2063" y="7906"/>
                  </a:cubicBezTo>
                  <a:lnTo>
                    <a:pt x="2073" y="7906"/>
                  </a:lnTo>
                  <a:cubicBezTo>
                    <a:pt x="2199" y="7906"/>
                    <a:pt x="2217" y="8032"/>
                    <a:pt x="2227" y="8116"/>
                  </a:cubicBezTo>
                  <a:cubicBezTo>
                    <a:pt x="2231" y="8161"/>
                    <a:pt x="2241" y="8203"/>
                    <a:pt x="2259" y="8242"/>
                  </a:cubicBezTo>
                  <a:cubicBezTo>
                    <a:pt x="2273" y="8266"/>
                    <a:pt x="2294" y="8284"/>
                    <a:pt x="2315" y="8301"/>
                  </a:cubicBezTo>
                  <a:cubicBezTo>
                    <a:pt x="2332" y="8315"/>
                    <a:pt x="2350" y="8322"/>
                    <a:pt x="2367" y="8322"/>
                  </a:cubicBezTo>
                  <a:lnTo>
                    <a:pt x="2374" y="8319"/>
                  </a:lnTo>
                  <a:lnTo>
                    <a:pt x="2378" y="8319"/>
                  </a:lnTo>
                  <a:cubicBezTo>
                    <a:pt x="2381" y="8315"/>
                    <a:pt x="2385" y="8312"/>
                    <a:pt x="2388" y="8308"/>
                  </a:cubicBezTo>
                  <a:lnTo>
                    <a:pt x="2392" y="8301"/>
                  </a:lnTo>
                  <a:lnTo>
                    <a:pt x="2395" y="8298"/>
                  </a:lnTo>
                  <a:cubicBezTo>
                    <a:pt x="2399" y="8294"/>
                    <a:pt x="2399" y="8287"/>
                    <a:pt x="2402" y="8284"/>
                  </a:cubicBezTo>
                  <a:cubicBezTo>
                    <a:pt x="2420" y="8238"/>
                    <a:pt x="2458" y="8203"/>
                    <a:pt x="2504" y="8186"/>
                  </a:cubicBezTo>
                  <a:cubicBezTo>
                    <a:pt x="2514" y="8182"/>
                    <a:pt x="2521" y="8182"/>
                    <a:pt x="2532" y="8179"/>
                  </a:cubicBezTo>
                  <a:lnTo>
                    <a:pt x="2574" y="8179"/>
                  </a:lnTo>
                  <a:cubicBezTo>
                    <a:pt x="2581" y="8182"/>
                    <a:pt x="2588" y="8182"/>
                    <a:pt x="2595" y="8186"/>
                  </a:cubicBezTo>
                  <a:lnTo>
                    <a:pt x="2612" y="8189"/>
                  </a:lnTo>
                  <a:cubicBezTo>
                    <a:pt x="2619" y="8193"/>
                    <a:pt x="2626" y="8196"/>
                    <a:pt x="2633" y="8200"/>
                  </a:cubicBezTo>
                  <a:lnTo>
                    <a:pt x="2647" y="8207"/>
                  </a:lnTo>
                  <a:cubicBezTo>
                    <a:pt x="2654" y="8214"/>
                    <a:pt x="2661" y="8217"/>
                    <a:pt x="2668" y="8221"/>
                  </a:cubicBezTo>
                  <a:lnTo>
                    <a:pt x="2682" y="8231"/>
                  </a:lnTo>
                  <a:cubicBezTo>
                    <a:pt x="2689" y="8235"/>
                    <a:pt x="2696" y="8242"/>
                    <a:pt x="2703" y="8249"/>
                  </a:cubicBezTo>
                  <a:lnTo>
                    <a:pt x="2714" y="8259"/>
                  </a:lnTo>
                  <a:cubicBezTo>
                    <a:pt x="2721" y="8266"/>
                    <a:pt x="2728" y="8270"/>
                    <a:pt x="2731" y="8277"/>
                  </a:cubicBezTo>
                  <a:lnTo>
                    <a:pt x="2742" y="8287"/>
                  </a:lnTo>
                  <a:cubicBezTo>
                    <a:pt x="2749" y="8294"/>
                    <a:pt x="2756" y="8301"/>
                    <a:pt x="2763" y="8308"/>
                  </a:cubicBezTo>
                  <a:lnTo>
                    <a:pt x="2770" y="8319"/>
                  </a:lnTo>
                  <a:cubicBezTo>
                    <a:pt x="2777" y="8329"/>
                    <a:pt x="2787" y="8340"/>
                    <a:pt x="2794" y="8350"/>
                  </a:cubicBezTo>
                  <a:cubicBezTo>
                    <a:pt x="2799" y="8357"/>
                    <a:pt x="2807" y="8358"/>
                    <a:pt x="2815" y="8358"/>
                  </a:cubicBezTo>
                  <a:cubicBezTo>
                    <a:pt x="2820" y="8358"/>
                    <a:pt x="2825" y="8357"/>
                    <a:pt x="2829" y="8357"/>
                  </a:cubicBezTo>
                  <a:cubicBezTo>
                    <a:pt x="2899" y="8343"/>
                    <a:pt x="2955" y="8294"/>
                    <a:pt x="2983" y="8224"/>
                  </a:cubicBezTo>
                  <a:cubicBezTo>
                    <a:pt x="3009" y="8121"/>
                    <a:pt x="3130" y="8054"/>
                    <a:pt x="3233" y="8054"/>
                  </a:cubicBezTo>
                  <a:cubicBezTo>
                    <a:pt x="3244" y="8054"/>
                    <a:pt x="3256" y="8054"/>
                    <a:pt x="3267" y="8056"/>
                  </a:cubicBezTo>
                  <a:cubicBezTo>
                    <a:pt x="3344" y="8067"/>
                    <a:pt x="3400" y="8140"/>
                    <a:pt x="3386" y="8217"/>
                  </a:cubicBezTo>
                  <a:cubicBezTo>
                    <a:pt x="3382" y="8235"/>
                    <a:pt x="3382" y="8256"/>
                    <a:pt x="3386" y="8273"/>
                  </a:cubicBezTo>
                  <a:cubicBezTo>
                    <a:pt x="3418" y="8259"/>
                    <a:pt x="3449" y="8242"/>
                    <a:pt x="3477" y="8221"/>
                  </a:cubicBezTo>
                  <a:cubicBezTo>
                    <a:pt x="3488" y="8214"/>
                    <a:pt x="3498" y="8207"/>
                    <a:pt x="3509" y="8200"/>
                  </a:cubicBezTo>
                  <a:lnTo>
                    <a:pt x="3516" y="8200"/>
                  </a:lnTo>
                  <a:cubicBezTo>
                    <a:pt x="3547" y="8186"/>
                    <a:pt x="3586" y="8175"/>
                    <a:pt x="3624" y="8175"/>
                  </a:cubicBezTo>
                  <a:lnTo>
                    <a:pt x="3624" y="8172"/>
                  </a:lnTo>
                  <a:lnTo>
                    <a:pt x="3642" y="8116"/>
                  </a:lnTo>
                  <a:lnTo>
                    <a:pt x="3645" y="8109"/>
                  </a:lnTo>
                  <a:lnTo>
                    <a:pt x="3663" y="8053"/>
                  </a:lnTo>
                  <a:lnTo>
                    <a:pt x="3680" y="7997"/>
                  </a:lnTo>
                  <a:lnTo>
                    <a:pt x="3701" y="7948"/>
                  </a:lnTo>
                  <a:lnTo>
                    <a:pt x="3701" y="7941"/>
                  </a:lnTo>
                  <a:lnTo>
                    <a:pt x="3715" y="7899"/>
                  </a:lnTo>
                  <a:lnTo>
                    <a:pt x="3715" y="7895"/>
                  </a:lnTo>
                  <a:lnTo>
                    <a:pt x="3733" y="7857"/>
                  </a:lnTo>
                  <a:lnTo>
                    <a:pt x="3733" y="7853"/>
                  </a:lnTo>
                  <a:lnTo>
                    <a:pt x="3743" y="7822"/>
                  </a:lnTo>
                  <a:lnTo>
                    <a:pt x="3743" y="7818"/>
                  </a:lnTo>
                  <a:cubicBezTo>
                    <a:pt x="3750" y="7811"/>
                    <a:pt x="3754" y="7801"/>
                    <a:pt x="3757" y="7794"/>
                  </a:cubicBezTo>
                  <a:cubicBezTo>
                    <a:pt x="3768" y="7773"/>
                    <a:pt x="3740" y="7692"/>
                    <a:pt x="3726" y="7650"/>
                  </a:cubicBezTo>
                  <a:cubicBezTo>
                    <a:pt x="3698" y="7563"/>
                    <a:pt x="3659" y="7447"/>
                    <a:pt x="3757" y="7409"/>
                  </a:cubicBezTo>
                  <a:cubicBezTo>
                    <a:pt x="3796" y="7395"/>
                    <a:pt x="3834" y="7391"/>
                    <a:pt x="3876" y="7391"/>
                  </a:cubicBezTo>
                  <a:cubicBezTo>
                    <a:pt x="4009" y="7384"/>
                    <a:pt x="4114" y="7370"/>
                    <a:pt x="4156" y="7251"/>
                  </a:cubicBezTo>
                  <a:cubicBezTo>
                    <a:pt x="4198" y="7129"/>
                    <a:pt x="4258" y="7017"/>
                    <a:pt x="4331" y="6911"/>
                  </a:cubicBezTo>
                  <a:cubicBezTo>
                    <a:pt x="4342" y="6782"/>
                    <a:pt x="4373" y="6530"/>
                    <a:pt x="4485" y="6474"/>
                  </a:cubicBezTo>
                  <a:cubicBezTo>
                    <a:pt x="4505" y="6463"/>
                    <a:pt x="4526" y="6458"/>
                    <a:pt x="4546" y="6458"/>
                  </a:cubicBezTo>
                  <a:cubicBezTo>
                    <a:pt x="4567" y="6458"/>
                    <a:pt x="4587" y="6463"/>
                    <a:pt x="4604" y="6474"/>
                  </a:cubicBezTo>
                  <a:lnTo>
                    <a:pt x="4657" y="6505"/>
                  </a:lnTo>
                  <a:cubicBezTo>
                    <a:pt x="4702" y="6531"/>
                    <a:pt x="4794" y="6584"/>
                    <a:pt x="4831" y="6584"/>
                  </a:cubicBezTo>
                  <a:cubicBezTo>
                    <a:pt x="4834" y="6584"/>
                    <a:pt x="4837" y="6583"/>
                    <a:pt x="4839" y="6582"/>
                  </a:cubicBezTo>
                  <a:cubicBezTo>
                    <a:pt x="4846" y="6572"/>
                    <a:pt x="4846" y="6558"/>
                    <a:pt x="4849" y="6540"/>
                  </a:cubicBezTo>
                  <a:cubicBezTo>
                    <a:pt x="4849" y="6449"/>
                    <a:pt x="4916" y="6365"/>
                    <a:pt x="5007" y="6348"/>
                  </a:cubicBezTo>
                  <a:cubicBezTo>
                    <a:pt x="5056" y="6330"/>
                    <a:pt x="5077" y="6323"/>
                    <a:pt x="5091" y="6271"/>
                  </a:cubicBezTo>
                  <a:cubicBezTo>
                    <a:pt x="5105" y="6201"/>
                    <a:pt x="5147" y="6138"/>
                    <a:pt x="5206" y="6096"/>
                  </a:cubicBezTo>
                  <a:cubicBezTo>
                    <a:pt x="5237" y="6079"/>
                    <a:pt x="5269" y="6073"/>
                    <a:pt x="5302" y="6073"/>
                  </a:cubicBezTo>
                  <a:cubicBezTo>
                    <a:pt x="5345" y="6073"/>
                    <a:pt x="5390" y="6084"/>
                    <a:pt x="5434" y="6096"/>
                  </a:cubicBezTo>
                  <a:cubicBezTo>
                    <a:pt x="5449" y="6102"/>
                    <a:pt x="5464" y="6104"/>
                    <a:pt x="5479" y="6104"/>
                  </a:cubicBezTo>
                  <a:cubicBezTo>
                    <a:pt x="5500" y="6104"/>
                    <a:pt x="5521" y="6099"/>
                    <a:pt x="5539" y="6089"/>
                  </a:cubicBezTo>
                  <a:cubicBezTo>
                    <a:pt x="5553" y="6078"/>
                    <a:pt x="5560" y="6061"/>
                    <a:pt x="5560" y="6047"/>
                  </a:cubicBezTo>
                  <a:cubicBezTo>
                    <a:pt x="5560" y="5945"/>
                    <a:pt x="5662" y="5924"/>
                    <a:pt x="5763" y="5903"/>
                  </a:cubicBezTo>
                  <a:cubicBezTo>
                    <a:pt x="5868" y="5889"/>
                    <a:pt x="5966" y="5851"/>
                    <a:pt x="6057" y="5798"/>
                  </a:cubicBezTo>
                  <a:cubicBezTo>
                    <a:pt x="6096" y="5770"/>
                    <a:pt x="6127" y="5746"/>
                    <a:pt x="6162" y="5721"/>
                  </a:cubicBezTo>
                  <a:cubicBezTo>
                    <a:pt x="6267" y="5645"/>
                    <a:pt x="6358" y="5580"/>
                    <a:pt x="6438" y="5580"/>
                  </a:cubicBezTo>
                  <a:cubicBezTo>
                    <a:pt x="6476" y="5580"/>
                    <a:pt x="6511" y="5593"/>
                    <a:pt x="6544" y="5627"/>
                  </a:cubicBezTo>
                  <a:cubicBezTo>
                    <a:pt x="6547" y="5627"/>
                    <a:pt x="6551" y="5630"/>
                    <a:pt x="6554" y="5630"/>
                  </a:cubicBezTo>
                  <a:cubicBezTo>
                    <a:pt x="6607" y="5648"/>
                    <a:pt x="6663" y="5658"/>
                    <a:pt x="6719" y="5662"/>
                  </a:cubicBezTo>
                  <a:lnTo>
                    <a:pt x="6838" y="5662"/>
                  </a:lnTo>
                  <a:cubicBezTo>
                    <a:pt x="6862" y="5662"/>
                    <a:pt x="6886" y="5663"/>
                    <a:pt x="6911" y="5663"/>
                  </a:cubicBezTo>
                  <a:cubicBezTo>
                    <a:pt x="6994" y="5663"/>
                    <a:pt x="7076" y="5658"/>
                    <a:pt x="7160" y="5644"/>
                  </a:cubicBezTo>
                  <a:lnTo>
                    <a:pt x="7167" y="5641"/>
                  </a:lnTo>
                  <a:cubicBezTo>
                    <a:pt x="7188" y="5630"/>
                    <a:pt x="7209" y="5620"/>
                    <a:pt x="7230" y="5606"/>
                  </a:cubicBezTo>
                  <a:cubicBezTo>
                    <a:pt x="7312" y="5557"/>
                    <a:pt x="7430" y="5488"/>
                    <a:pt x="7571" y="5488"/>
                  </a:cubicBezTo>
                  <a:cubicBezTo>
                    <a:pt x="7593" y="5488"/>
                    <a:pt x="7616" y="5490"/>
                    <a:pt x="7640" y="5494"/>
                  </a:cubicBezTo>
                  <a:cubicBezTo>
                    <a:pt x="7660" y="5497"/>
                    <a:pt x="7685" y="5499"/>
                    <a:pt x="7713" y="5499"/>
                  </a:cubicBezTo>
                  <a:cubicBezTo>
                    <a:pt x="7827" y="5499"/>
                    <a:pt x="7991" y="5473"/>
                    <a:pt x="8137" y="5448"/>
                  </a:cubicBezTo>
                  <a:cubicBezTo>
                    <a:pt x="8252" y="5427"/>
                    <a:pt x="8368" y="5417"/>
                    <a:pt x="8487" y="5410"/>
                  </a:cubicBezTo>
                  <a:cubicBezTo>
                    <a:pt x="8606" y="5410"/>
                    <a:pt x="8669" y="5322"/>
                    <a:pt x="8728" y="5249"/>
                  </a:cubicBezTo>
                  <a:cubicBezTo>
                    <a:pt x="8742" y="5228"/>
                    <a:pt x="8760" y="5207"/>
                    <a:pt x="8777" y="5186"/>
                  </a:cubicBezTo>
                  <a:cubicBezTo>
                    <a:pt x="8809" y="5130"/>
                    <a:pt x="8833" y="5074"/>
                    <a:pt x="8851" y="5011"/>
                  </a:cubicBezTo>
                  <a:cubicBezTo>
                    <a:pt x="8886" y="4902"/>
                    <a:pt x="8910" y="4828"/>
                    <a:pt x="8949" y="4786"/>
                  </a:cubicBezTo>
                  <a:lnTo>
                    <a:pt x="8949" y="4779"/>
                  </a:lnTo>
                  <a:lnTo>
                    <a:pt x="8949" y="4776"/>
                  </a:lnTo>
                  <a:lnTo>
                    <a:pt x="8949" y="4769"/>
                  </a:lnTo>
                  <a:lnTo>
                    <a:pt x="8949" y="4765"/>
                  </a:lnTo>
                  <a:lnTo>
                    <a:pt x="8949" y="4758"/>
                  </a:lnTo>
                  <a:lnTo>
                    <a:pt x="8949" y="4751"/>
                  </a:lnTo>
                  <a:lnTo>
                    <a:pt x="8949" y="4744"/>
                  </a:lnTo>
                  <a:lnTo>
                    <a:pt x="8949" y="4737"/>
                  </a:lnTo>
                  <a:lnTo>
                    <a:pt x="8949" y="4727"/>
                  </a:lnTo>
                  <a:lnTo>
                    <a:pt x="8949" y="4720"/>
                  </a:lnTo>
                  <a:lnTo>
                    <a:pt x="8949" y="4709"/>
                  </a:lnTo>
                  <a:lnTo>
                    <a:pt x="8949" y="4695"/>
                  </a:lnTo>
                  <a:lnTo>
                    <a:pt x="8949" y="4688"/>
                  </a:lnTo>
                  <a:lnTo>
                    <a:pt x="8949" y="4671"/>
                  </a:lnTo>
                  <a:lnTo>
                    <a:pt x="8949" y="4664"/>
                  </a:lnTo>
                  <a:lnTo>
                    <a:pt x="8949" y="4646"/>
                  </a:lnTo>
                  <a:lnTo>
                    <a:pt x="8949" y="4639"/>
                  </a:lnTo>
                  <a:lnTo>
                    <a:pt x="8949" y="4622"/>
                  </a:lnTo>
                  <a:lnTo>
                    <a:pt x="8949" y="4611"/>
                  </a:lnTo>
                  <a:lnTo>
                    <a:pt x="8949" y="4590"/>
                  </a:lnTo>
                  <a:lnTo>
                    <a:pt x="8949" y="4580"/>
                  </a:lnTo>
                  <a:lnTo>
                    <a:pt x="8949" y="4562"/>
                  </a:lnTo>
                  <a:lnTo>
                    <a:pt x="8949" y="4548"/>
                  </a:lnTo>
                  <a:lnTo>
                    <a:pt x="8949" y="4527"/>
                  </a:lnTo>
                  <a:lnTo>
                    <a:pt x="8949" y="4412"/>
                  </a:lnTo>
                  <a:lnTo>
                    <a:pt x="8949" y="4398"/>
                  </a:lnTo>
                  <a:lnTo>
                    <a:pt x="8949" y="4370"/>
                  </a:lnTo>
                  <a:lnTo>
                    <a:pt x="8949" y="4328"/>
                  </a:lnTo>
                  <a:lnTo>
                    <a:pt x="8949" y="4307"/>
                  </a:lnTo>
                  <a:lnTo>
                    <a:pt x="8949" y="4279"/>
                  </a:lnTo>
                  <a:lnTo>
                    <a:pt x="8949" y="4258"/>
                  </a:lnTo>
                  <a:lnTo>
                    <a:pt x="8949" y="4230"/>
                  </a:lnTo>
                  <a:lnTo>
                    <a:pt x="8949" y="4205"/>
                  </a:lnTo>
                  <a:lnTo>
                    <a:pt x="8949" y="4174"/>
                  </a:lnTo>
                  <a:lnTo>
                    <a:pt x="8949" y="4153"/>
                  </a:lnTo>
                  <a:lnTo>
                    <a:pt x="8949" y="4118"/>
                  </a:lnTo>
                  <a:lnTo>
                    <a:pt x="8949" y="4093"/>
                  </a:lnTo>
                  <a:lnTo>
                    <a:pt x="8949" y="4062"/>
                  </a:lnTo>
                  <a:lnTo>
                    <a:pt x="8949" y="4034"/>
                  </a:lnTo>
                  <a:lnTo>
                    <a:pt x="8949" y="4002"/>
                  </a:lnTo>
                  <a:lnTo>
                    <a:pt x="8949" y="3939"/>
                  </a:lnTo>
                  <a:lnTo>
                    <a:pt x="8949" y="3908"/>
                  </a:lnTo>
                  <a:lnTo>
                    <a:pt x="8949" y="3876"/>
                  </a:lnTo>
                  <a:lnTo>
                    <a:pt x="8949" y="3838"/>
                  </a:lnTo>
                  <a:lnTo>
                    <a:pt x="8949" y="3810"/>
                  </a:lnTo>
                  <a:lnTo>
                    <a:pt x="8949" y="3768"/>
                  </a:lnTo>
                  <a:lnTo>
                    <a:pt x="8949" y="3736"/>
                  </a:lnTo>
                  <a:lnTo>
                    <a:pt x="8949" y="3694"/>
                  </a:lnTo>
                  <a:lnTo>
                    <a:pt x="8949" y="3663"/>
                  </a:lnTo>
                  <a:lnTo>
                    <a:pt x="8949" y="3617"/>
                  </a:lnTo>
                  <a:lnTo>
                    <a:pt x="8949" y="3589"/>
                  </a:lnTo>
                  <a:lnTo>
                    <a:pt x="8949" y="3540"/>
                  </a:lnTo>
                  <a:lnTo>
                    <a:pt x="8949" y="3509"/>
                  </a:lnTo>
                  <a:lnTo>
                    <a:pt x="8949" y="3460"/>
                  </a:lnTo>
                  <a:lnTo>
                    <a:pt x="8931" y="3463"/>
                  </a:lnTo>
                  <a:cubicBezTo>
                    <a:pt x="8756" y="3498"/>
                    <a:pt x="8567" y="3540"/>
                    <a:pt x="8564" y="3544"/>
                  </a:cubicBezTo>
                  <a:lnTo>
                    <a:pt x="8522" y="3551"/>
                  </a:lnTo>
                  <a:lnTo>
                    <a:pt x="8483" y="3561"/>
                  </a:lnTo>
                  <a:lnTo>
                    <a:pt x="8483" y="3477"/>
                  </a:lnTo>
                  <a:lnTo>
                    <a:pt x="8483" y="3474"/>
                  </a:lnTo>
                  <a:lnTo>
                    <a:pt x="8483" y="3463"/>
                  </a:lnTo>
                  <a:lnTo>
                    <a:pt x="8483" y="3460"/>
                  </a:lnTo>
                  <a:lnTo>
                    <a:pt x="8483" y="3449"/>
                  </a:lnTo>
                  <a:lnTo>
                    <a:pt x="8483" y="3439"/>
                  </a:lnTo>
                  <a:lnTo>
                    <a:pt x="8483" y="3428"/>
                  </a:lnTo>
                  <a:lnTo>
                    <a:pt x="8483" y="3414"/>
                  </a:lnTo>
                  <a:lnTo>
                    <a:pt x="8483" y="3400"/>
                  </a:lnTo>
                  <a:lnTo>
                    <a:pt x="8483" y="3383"/>
                  </a:lnTo>
                  <a:lnTo>
                    <a:pt x="8483" y="3369"/>
                  </a:lnTo>
                  <a:cubicBezTo>
                    <a:pt x="8483" y="3365"/>
                    <a:pt x="8483" y="3355"/>
                    <a:pt x="8480" y="3348"/>
                  </a:cubicBezTo>
                  <a:cubicBezTo>
                    <a:pt x="8476" y="3337"/>
                    <a:pt x="8480" y="3337"/>
                    <a:pt x="8476" y="3334"/>
                  </a:cubicBezTo>
                  <a:cubicBezTo>
                    <a:pt x="8476" y="3330"/>
                    <a:pt x="8473" y="3316"/>
                    <a:pt x="8473" y="3309"/>
                  </a:cubicBezTo>
                  <a:lnTo>
                    <a:pt x="8469" y="3295"/>
                  </a:lnTo>
                  <a:cubicBezTo>
                    <a:pt x="8469" y="3285"/>
                    <a:pt x="8466" y="3278"/>
                    <a:pt x="8462" y="3267"/>
                  </a:cubicBezTo>
                  <a:lnTo>
                    <a:pt x="8459" y="3253"/>
                  </a:lnTo>
                  <a:cubicBezTo>
                    <a:pt x="8455" y="3243"/>
                    <a:pt x="8452" y="3232"/>
                    <a:pt x="8448" y="3225"/>
                  </a:cubicBezTo>
                  <a:lnTo>
                    <a:pt x="8445" y="3211"/>
                  </a:lnTo>
                  <a:cubicBezTo>
                    <a:pt x="8441" y="3201"/>
                    <a:pt x="8438" y="3190"/>
                    <a:pt x="8434" y="3180"/>
                  </a:cubicBezTo>
                  <a:lnTo>
                    <a:pt x="8427" y="3169"/>
                  </a:lnTo>
                  <a:cubicBezTo>
                    <a:pt x="8424" y="3159"/>
                    <a:pt x="8420" y="3148"/>
                    <a:pt x="8413" y="3138"/>
                  </a:cubicBezTo>
                  <a:cubicBezTo>
                    <a:pt x="8410" y="3127"/>
                    <a:pt x="8410" y="3127"/>
                    <a:pt x="8406" y="3120"/>
                  </a:cubicBezTo>
                  <a:cubicBezTo>
                    <a:pt x="8403" y="3117"/>
                    <a:pt x="8396" y="3103"/>
                    <a:pt x="8392" y="3096"/>
                  </a:cubicBezTo>
                  <a:cubicBezTo>
                    <a:pt x="8385" y="3085"/>
                    <a:pt x="8385" y="3082"/>
                    <a:pt x="8382" y="3078"/>
                  </a:cubicBezTo>
                  <a:cubicBezTo>
                    <a:pt x="8375" y="3071"/>
                    <a:pt x="8371" y="3064"/>
                    <a:pt x="8364" y="3054"/>
                  </a:cubicBezTo>
                  <a:cubicBezTo>
                    <a:pt x="8361" y="3047"/>
                    <a:pt x="8354" y="3043"/>
                    <a:pt x="8350" y="3036"/>
                  </a:cubicBezTo>
                  <a:cubicBezTo>
                    <a:pt x="8343" y="3033"/>
                    <a:pt x="8340" y="3026"/>
                    <a:pt x="8333" y="3019"/>
                  </a:cubicBezTo>
                  <a:cubicBezTo>
                    <a:pt x="8329" y="3012"/>
                    <a:pt x="8322" y="3005"/>
                    <a:pt x="8315" y="3001"/>
                  </a:cubicBezTo>
                  <a:cubicBezTo>
                    <a:pt x="8308" y="2994"/>
                    <a:pt x="8305" y="2991"/>
                    <a:pt x="8298" y="2987"/>
                  </a:cubicBezTo>
                  <a:cubicBezTo>
                    <a:pt x="8284" y="2977"/>
                    <a:pt x="8270" y="2966"/>
                    <a:pt x="8256" y="2959"/>
                  </a:cubicBezTo>
                  <a:cubicBezTo>
                    <a:pt x="8004" y="2812"/>
                    <a:pt x="7671" y="2774"/>
                    <a:pt x="7668" y="2774"/>
                  </a:cubicBezTo>
                  <a:lnTo>
                    <a:pt x="7664" y="2774"/>
                  </a:lnTo>
                  <a:lnTo>
                    <a:pt x="7633" y="2770"/>
                  </a:lnTo>
                  <a:lnTo>
                    <a:pt x="7619" y="2742"/>
                  </a:lnTo>
                  <a:cubicBezTo>
                    <a:pt x="7619" y="2738"/>
                    <a:pt x="7426" y="2399"/>
                    <a:pt x="7282" y="2255"/>
                  </a:cubicBezTo>
                  <a:lnTo>
                    <a:pt x="7272" y="2245"/>
                  </a:lnTo>
                  <a:lnTo>
                    <a:pt x="7261" y="2238"/>
                  </a:lnTo>
                  <a:lnTo>
                    <a:pt x="7251" y="2231"/>
                  </a:lnTo>
                  <a:lnTo>
                    <a:pt x="7233" y="2217"/>
                  </a:lnTo>
                  <a:cubicBezTo>
                    <a:pt x="6915" y="1982"/>
                    <a:pt x="5294" y="901"/>
                    <a:pt x="3936" y="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680" name="Google Shape;3680;p104"/>
            <p:cNvSpPr/>
            <p:nvPr/>
          </p:nvSpPr>
          <p:spPr>
            <a:xfrm>
              <a:off x="2072674" y="1899590"/>
              <a:ext cx="14" cy="204"/>
            </a:xfrm>
            <a:custGeom>
              <a:avLst/>
              <a:gdLst/>
              <a:ahLst/>
              <a:cxnLst/>
              <a:rect l="l" t="t" r="r" b="b"/>
              <a:pathLst>
                <a:path w="1" h="15" extrusionOk="0">
                  <a:moveTo>
                    <a:pt x="1" y="14"/>
                  </a:moveTo>
                  <a:lnTo>
                    <a:pt x="1" y="0"/>
                  </a:lnTo>
                  <a:cubicBezTo>
                    <a:pt x="1" y="4"/>
                    <a:pt x="1" y="11"/>
                    <a:pt x="1" y="14"/>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681" name="Google Shape;3681;p104"/>
            <p:cNvSpPr/>
            <p:nvPr/>
          </p:nvSpPr>
          <p:spPr>
            <a:xfrm>
              <a:off x="2072729" y="1900635"/>
              <a:ext cx="14" cy="1154"/>
            </a:xfrm>
            <a:custGeom>
              <a:avLst/>
              <a:gdLst/>
              <a:ahLst/>
              <a:cxnLst/>
              <a:rect l="l" t="t" r="r" b="b"/>
              <a:pathLst>
                <a:path w="1" h="85" extrusionOk="0">
                  <a:moveTo>
                    <a:pt x="0" y="0"/>
                  </a:moveTo>
                  <a:lnTo>
                    <a:pt x="0" y="84"/>
                  </a:lnTo>
                  <a:lnTo>
                    <a:pt x="0" y="84"/>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682" name="Google Shape;3682;p104"/>
            <p:cNvSpPr/>
            <p:nvPr/>
          </p:nvSpPr>
          <p:spPr>
            <a:xfrm>
              <a:off x="2055607" y="1883514"/>
              <a:ext cx="299" cy="204"/>
            </a:xfrm>
            <a:custGeom>
              <a:avLst/>
              <a:gdLst/>
              <a:ahLst/>
              <a:cxnLst/>
              <a:rect l="l" t="t" r="r" b="b"/>
              <a:pathLst>
                <a:path w="22" h="15" extrusionOk="0">
                  <a:moveTo>
                    <a:pt x="22" y="15"/>
                  </a:moveTo>
                  <a:lnTo>
                    <a:pt x="1"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683" name="Google Shape;3683;p104"/>
            <p:cNvSpPr/>
            <p:nvPr/>
          </p:nvSpPr>
          <p:spPr>
            <a:xfrm>
              <a:off x="2070298" y="1894172"/>
              <a:ext cx="299" cy="244"/>
            </a:xfrm>
            <a:custGeom>
              <a:avLst/>
              <a:gdLst/>
              <a:ahLst/>
              <a:cxnLst/>
              <a:rect l="l" t="t" r="r" b="b"/>
              <a:pathLst>
                <a:path w="22" h="18" extrusionOk="0">
                  <a:moveTo>
                    <a:pt x="1" y="0"/>
                  </a:moveTo>
                  <a:cubicBezTo>
                    <a:pt x="8" y="7"/>
                    <a:pt x="15" y="11"/>
                    <a:pt x="22" y="18"/>
                  </a:cubicBezTo>
                  <a:cubicBezTo>
                    <a:pt x="15" y="11"/>
                    <a:pt x="8" y="7"/>
                    <a:pt x="1"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684" name="Google Shape;3684;p104"/>
            <p:cNvSpPr/>
            <p:nvPr/>
          </p:nvSpPr>
          <p:spPr>
            <a:xfrm>
              <a:off x="2072104" y="1897023"/>
              <a:ext cx="68" cy="204"/>
            </a:xfrm>
            <a:custGeom>
              <a:avLst/>
              <a:gdLst/>
              <a:ahLst/>
              <a:cxnLst/>
              <a:rect l="l" t="t" r="r" b="b"/>
              <a:pathLst>
                <a:path w="5" h="15" extrusionOk="0">
                  <a:moveTo>
                    <a:pt x="1" y="0"/>
                  </a:moveTo>
                  <a:lnTo>
                    <a:pt x="1" y="0"/>
                  </a:lnTo>
                  <a:cubicBezTo>
                    <a:pt x="1" y="1"/>
                    <a:pt x="1" y="2"/>
                    <a:pt x="2" y="4"/>
                  </a:cubicBezTo>
                  <a:lnTo>
                    <a:pt x="2" y="4"/>
                  </a:lnTo>
                  <a:lnTo>
                    <a:pt x="1" y="0"/>
                  </a:lnTo>
                  <a:close/>
                  <a:moveTo>
                    <a:pt x="2" y="4"/>
                  </a:moveTo>
                  <a:lnTo>
                    <a:pt x="4" y="14"/>
                  </a:lnTo>
                  <a:cubicBezTo>
                    <a:pt x="4" y="9"/>
                    <a:pt x="3" y="6"/>
                    <a:pt x="2" y="4"/>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685" name="Google Shape;3685;p104"/>
            <p:cNvSpPr/>
            <p:nvPr/>
          </p:nvSpPr>
          <p:spPr>
            <a:xfrm>
              <a:off x="2056042" y="1883799"/>
              <a:ext cx="109" cy="109"/>
            </a:xfrm>
            <a:custGeom>
              <a:avLst/>
              <a:gdLst/>
              <a:ahLst/>
              <a:cxnLst/>
              <a:rect l="l" t="t" r="r" b="b"/>
              <a:pathLst>
                <a:path w="8" h="8" extrusionOk="0">
                  <a:moveTo>
                    <a:pt x="7" y="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686" name="Google Shape;3686;p104"/>
            <p:cNvSpPr/>
            <p:nvPr/>
          </p:nvSpPr>
          <p:spPr>
            <a:xfrm>
              <a:off x="2072443" y="1898164"/>
              <a:ext cx="54" cy="204"/>
            </a:xfrm>
            <a:custGeom>
              <a:avLst/>
              <a:gdLst/>
              <a:ahLst/>
              <a:cxnLst/>
              <a:rect l="l" t="t" r="r" b="b"/>
              <a:pathLst>
                <a:path w="4" h="15" extrusionOk="0">
                  <a:moveTo>
                    <a:pt x="4" y="1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687" name="Google Shape;3687;p104"/>
            <p:cNvSpPr/>
            <p:nvPr/>
          </p:nvSpPr>
          <p:spPr>
            <a:xfrm>
              <a:off x="2072633" y="1899155"/>
              <a:ext cx="14" cy="204"/>
            </a:xfrm>
            <a:custGeom>
              <a:avLst/>
              <a:gdLst/>
              <a:ahLst/>
              <a:cxnLst/>
              <a:rect l="l" t="t" r="r" b="b"/>
              <a:pathLst>
                <a:path w="1" h="15" extrusionOk="0">
                  <a:moveTo>
                    <a:pt x="0" y="15"/>
                  </a:moveTo>
                  <a:lnTo>
                    <a:pt x="0" y="1"/>
                  </a:lnTo>
                  <a:cubicBezTo>
                    <a:pt x="0" y="4"/>
                    <a:pt x="0" y="11"/>
                    <a:pt x="0" y="15"/>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688" name="Google Shape;3688;p104"/>
            <p:cNvSpPr/>
            <p:nvPr/>
          </p:nvSpPr>
          <p:spPr>
            <a:xfrm>
              <a:off x="2071588" y="1895829"/>
              <a:ext cx="109" cy="204"/>
            </a:xfrm>
            <a:custGeom>
              <a:avLst/>
              <a:gdLst/>
              <a:ahLst/>
              <a:cxnLst/>
              <a:rect l="l" t="t" r="r" b="b"/>
              <a:pathLst>
                <a:path w="8" h="15" extrusionOk="0">
                  <a:moveTo>
                    <a:pt x="0" y="1"/>
                  </a:moveTo>
                  <a:lnTo>
                    <a:pt x="0" y="1"/>
                  </a:lnTo>
                  <a:cubicBezTo>
                    <a:pt x="0" y="3"/>
                    <a:pt x="2" y="6"/>
                    <a:pt x="4" y="9"/>
                  </a:cubicBezTo>
                  <a:lnTo>
                    <a:pt x="4" y="9"/>
                  </a:lnTo>
                  <a:cubicBezTo>
                    <a:pt x="3" y="6"/>
                    <a:pt x="2" y="3"/>
                    <a:pt x="0" y="1"/>
                  </a:cubicBezTo>
                  <a:close/>
                  <a:moveTo>
                    <a:pt x="4" y="9"/>
                  </a:moveTo>
                  <a:cubicBezTo>
                    <a:pt x="5" y="11"/>
                    <a:pt x="6" y="13"/>
                    <a:pt x="7" y="15"/>
                  </a:cubicBezTo>
                  <a:cubicBezTo>
                    <a:pt x="6" y="13"/>
                    <a:pt x="5" y="11"/>
                    <a:pt x="4" y="9"/>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689" name="Google Shape;3689;p104"/>
            <p:cNvSpPr/>
            <p:nvPr/>
          </p:nvSpPr>
          <p:spPr>
            <a:xfrm>
              <a:off x="2071208" y="1895218"/>
              <a:ext cx="204" cy="244"/>
            </a:xfrm>
            <a:custGeom>
              <a:avLst/>
              <a:gdLst/>
              <a:ahLst/>
              <a:cxnLst/>
              <a:rect l="l" t="t" r="r" b="b"/>
              <a:pathLst>
                <a:path w="15" h="18" extrusionOk="0">
                  <a:moveTo>
                    <a:pt x="14" y="18"/>
                  </a:moveTo>
                  <a:cubicBezTo>
                    <a:pt x="11" y="11"/>
                    <a:pt x="4" y="7"/>
                    <a:pt x="0" y="0"/>
                  </a:cubicBezTo>
                  <a:cubicBezTo>
                    <a:pt x="4" y="7"/>
                    <a:pt x="11" y="11"/>
                    <a:pt x="14" y="18"/>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690" name="Google Shape;3690;p104"/>
            <p:cNvSpPr/>
            <p:nvPr/>
          </p:nvSpPr>
          <p:spPr>
            <a:xfrm>
              <a:off x="2072253" y="1897594"/>
              <a:ext cx="109" cy="204"/>
            </a:xfrm>
            <a:custGeom>
              <a:avLst/>
              <a:gdLst/>
              <a:ahLst/>
              <a:cxnLst/>
              <a:rect l="l" t="t" r="r" b="b"/>
              <a:pathLst>
                <a:path w="8" h="15" extrusionOk="0">
                  <a:moveTo>
                    <a:pt x="7" y="1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691" name="Google Shape;3691;p104"/>
            <p:cNvSpPr/>
            <p:nvPr/>
          </p:nvSpPr>
          <p:spPr>
            <a:xfrm>
              <a:off x="2060848" y="1890642"/>
              <a:ext cx="679" cy="448"/>
            </a:xfrm>
            <a:custGeom>
              <a:avLst/>
              <a:gdLst/>
              <a:ahLst/>
              <a:cxnLst/>
              <a:rect l="l" t="t" r="r" b="b"/>
              <a:pathLst>
                <a:path w="50" h="33" extrusionOk="0">
                  <a:moveTo>
                    <a:pt x="0" y="1"/>
                  </a:moveTo>
                  <a:lnTo>
                    <a:pt x="18" y="29"/>
                  </a:lnTo>
                  <a:lnTo>
                    <a:pt x="49" y="33"/>
                  </a:lnTo>
                  <a:lnTo>
                    <a:pt x="18" y="29"/>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692" name="Google Shape;3692;p104"/>
            <p:cNvSpPr/>
            <p:nvPr/>
          </p:nvSpPr>
          <p:spPr>
            <a:xfrm>
              <a:off x="2072729" y="1899915"/>
              <a:ext cx="14" cy="204"/>
            </a:xfrm>
            <a:custGeom>
              <a:avLst/>
              <a:gdLst/>
              <a:ahLst/>
              <a:cxnLst/>
              <a:rect l="l" t="t" r="r" b="b"/>
              <a:pathLst>
                <a:path w="1" h="15" extrusionOk="0">
                  <a:moveTo>
                    <a:pt x="0" y="15"/>
                  </a:moveTo>
                  <a:lnTo>
                    <a:pt x="0" y="1"/>
                  </a:lnTo>
                  <a:cubicBezTo>
                    <a:pt x="0" y="8"/>
                    <a:pt x="0" y="11"/>
                    <a:pt x="0" y="15"/>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693" name="Google Shape;3693;p104"/>
            <p:cNvSpPr/>
            <p:nvPr/>
          </p:nvSpPr>
          <p:spPr>
            <a:xfrm>
              <a:off x="2073815" y="1900445"/>
              <a:ext cx="5010" cy="1100"/>
            </a:xfrm>
            <a:custGeom>
              <a:avLst/>
              <a:gdLst/>
              <a:ahLst/>
              <a:cxnLst/>
              <a:rect l="l" t="t" r="r" b="b"/>
              <a:pathLst>
                <a:path w="369" h="81" extrusionOk="0">
                  <a:moveTo>
                    <a:pt x="368" y="0"/>
                  </a:moveTo>
                  <a:cubicBezTo>
                    <a:pt x="193" y="35"/>
                    <a:pt x="4" y="81"/>
                    <a:pt x="1" y="81"/>
                  </a:cubicBezTo>
                  <a:cubicBezTo>
                    <a:pt x="4" y="81"/>
                    <a:pt x="193" y="39"/>
                    <a:pt x="368"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694" name="Google Shape;3694;p104"/>
            <p:cNvSpPr/>
            <p:nvPr/>
          </p:nvSpPr>
          <p:spPr>
            <a:xfrm>
              <a:off x="2010883" y="1853426"/>
              <a:ext cx="44738" cy="30101"/>
            </a:xfrm>
            <a:custGeom>
              <a:avLst/>
              <a:gdLst/>
              <a:ahLst/>
              <a:cxnLst/>
              <a:rect l="l" t="t" r="r" b="b"/>
              <a:pathLst>
                <a:path w="3295" h="2217" extrusionOk="0">
                  <a:moveTo>
                    <a:pt x="1" y="1"/>
                  </a:moveTo>
                  <a:cubicBezTo>
                    <a:pt x="754" y="501"/>
                    <a:pt x="1590" y="1057"/>
                    <a:pt x="2239" y="1493"/>
                  </a:cubicBezTo>
                  <a:lnTo>
                    <a:pt x="2239" y="1493"/>
                  </a:lnTo>
                  <a:cubicBezTo>
                    <a:pt x="1613" y="1072"/>
                    <a:pt x="800" y="530"/>
                    <a:pt x="1" y="1"/>
                  </a:cubicBezTo>
                  <a:close/>
                  <a:moveTo>
                    <a:pt x="2239" y="1493"/>
                  </a:moveTo>
                  <a:lnTo>
                    <a:pt x="2239" y="1493"/>
                  </a:lnTo>
                  <a:cubicBezTo>
                    <a:pt x="2764" y="1847"/>
                    <a:pt x="3156" y="2115"/>
                    <a:pt x="3295" y="2217"/>
                  </a:cubicBezTo>
                  <a:cubicBezTo>
                    <a:pt x="3155" y="2113"/>
                    <a:pt x="2757" y="1841"/>
                    <a:pt x="2239" y="1493"/>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695" name="Google Shape;3695;p104"/>
            <p:cNvSpPr/>
            <p:nvPr/>
          </p:nvSpPr>
          <p:spPr>
            <a:xfrm>
              <a:off x="2069538" y="1893602"/>
              <a:ext cx="584" cy="394"/>
            </a:xfrm>
            <a:custGeom>
              <a:avLst/>
              <a:gdLst/>
              <a:ahLst/>
              <a:cxnLst/>
              <a:rect l="l" t="t" r="r" b="b"/>
              <a:pathLst>
                <a:path w="43" h="29" extrusionOk="0">
                  <a:moveTo>
                    <a:pt x="43" y="28"/>
                  </a:moveTo>
                  <a:cubicBezTo>
                    <a:pt x="29" y="18"/>
                    <a:pt x="15" y="7"/>
                    <a:pt x="1" y="0"/>
                  </a:cubicBezTo>
                  <a:cubicBezTo>
                    <a:pt x="15" y="7"/>
                    <a:pt x="29" y="18"/>
                    <a:pt x="43" y="28"/>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696" name="Google Shape;3696;p104"/>
            <p:cNvSpPr/>
            <p:nvPr/>
          </p:nvSpPr>
          <p:spPr>
            <a:xfrm>
              <a:off x="2070828" y="1894647"/>
              <a:ext cx="204" cy="299"/>
            </a:xfrm>
            <a:custGeom>
              <a:avLst/>
              <a:gdLst/>
              <a:ahLst/>
              <a:cxnLst/>
              <a:rect l="l" t="t" r="r" b="b"/>
              <a:pathLst>
                <a:path w="15" h="22" extrusionOk="0">
                  <a:moveTo>
                    <a:pt x="0" y="0"/>
                  </a:moveTo>
                  <a:cubicBezTo>
                    <a:pt x="4" y="11"/>
                    <a:pt x="7" y="14"/>
                    <a:pt x="14" y="21"/>
                  </a:cubicBezTo>
                  <a:cubicBezTo>
                    <a:pt x="7" y="14"/>
                    <a:pt x="4" y="7"/>
                    <a:pt x="0"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697" name="Google Shape;3697;p104"/>
            <p:cNvSpPr/>
            <p:nvPr/>
          </p:nvSpPr>
          <p:spPr>
            <a:xfrm>
              <a:off x="2072729" y="1900255"/>
              <a:ext cx="14" cy="149"/>
            </a:xfrm>
            <a:custGeom>
              <a:avLst/>
              <a:gdLst/>
              <a:ahLst/>
              <a:cxnLst/>
              <a:rect l="l" t="t" r="r" b="b"/>
              <a:pathLst>
                <a:path w="1" h="11" extrusionOk="0">
                  <a:moveTo>
                    <a:pt x="0" y="11"/>
                  </a:moveTo>
                  <a:lnTo>
                    <a:pt x="0" y="0"/>
                  </a:lnTo>
                  <a:cubicBezTo>
                    <a:pt x="0" y="4"/>
                    <a:pt x="0" y="7"/>
                    <a:pt x="0" y="1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698" name="Google Shape;3698;p104"/>
            <p:cNvSpPr/>
            <p:nvPr/>
          </p:nvSpPr>
          <p:spPr>
            <a:xfrm>
              <a:off x="2072729" y="1900486"/>
              <a:ext cx="14" cy="109"/>
            </a:xfrm>
            <a:custGeom>
              <a:avLst/>
              <a:gdLst/>
              <a:ahLst/>
              <a:cxnLst/>
              <a:rect l="l" t="t" r="r" b="b"/>
              <a:pathLst>
                <a:path w="1" h="8" extrusionOk="0">
                  <a:moveTo>
                    <a:pt x="0" y="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699" name="Google Shape;3699;p104"/>
            <p:cNvSpPr/>
            <p:nvPr/>
          </p:nvSpPr>
          <p:spPr>
            <a:xfrm>
              <a:off x="2079042" y="1900391"/>
              <a:ext cx="68" cy="14"/>
            </a:xfrm>
            <a:custGeom>
              <a:avLst/>
              <a:gdLst/>
              <a:ahLst/>
              <a:cxnLst/>
              <a:rect l="l" t="t" r="r" b="b"/>
              <a:pathLst>
                <a:path w="5" h="1" extrusionOk="0">
                  <a:moveTo>
                    <a:pt x="1" y="1"/>
                  </a:moveTo>
                  <a:lnTo>
                    <a:pt x="4" y="1"/>
                  </a:lnTo>
                  <a:lnTo>
                    <a:pt x="4"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700" name="Google Shape;3700;p104"/>
            <p:cNvSpPr/>
            <p:nvPr/>
          </p:nvSpPr>
          <p:spPr>
            <a:xfrm>
              <a:off x="2072538" y="1898680"/>
              <a:ext cx="54" cy="204"/>
            </a:xfrm>
            <a:custGeom>
              <a:avLst/>
              <a:gdLst/>
              <a:ahLst/>
              <a:cxnLst/>
              <a:rect l="l" t="t" r="r" b="b"/>
              <a:pathLst>
                <a:path w="4" h="15" extrusionOk="0">
                  <a:moveTo>
                    <a:pt x="0" y="1"/>
                  </a:moveTo>
                  <a:cubicBezTo>
                    <a:pt x="0" y="4"/>
                    <a:pt x="0" y="11"/>
                    <a:pt x="4" y="15"/>
                  </a:cubicBezTo>
                  <a:cubicBezTo>
                    <a:pt x="4" y="11"/>
                    <a:pt x="4" y="4"/>
                    <a:pt x="0" y="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701" name="Google Shape;3701;p104"/>
            <p:cNvSpPr/>
            <p:nvPr/>
          </p:nvSpPr>
          <p:spPr>
            <a:xfrm>
              <a:off x="2071873" y="1896453"/>
              <a:ext cx="109" cy="149"/>
            </a:xfrm>
            <a:custGeom>
              <a:avLst/>
              <a:gdLst/>
              <a:ahLst/>
              <a:cxnLst/>
              <a:rect l="l" t="t" r="r" b="b"/>
              <a:pathLst>
                <a:path w="8" h="11" extrusionOk="0">
                  <a:moveTo>
                    <a:pt x="7" y="11"/>
                  </a:moveTo>
                  <a:lnTo>
                    <a:pt x="0"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702" name="Google Shape;3702;p104"/>
            <p:cNvSpPr/>
            <p:nvPr/>
          </p:nvSpPr>
          <p:spPr>
            <a:xfrm>
              <a:off x="1964013" y="1946120"/>
              <a:ext cx="109" cy="1534"/>
            </a:xfrm>
            <a:custGeom>
              <a:avLst/>
              <a:gdLst/>
              <a:ahLst/>
              <a:cxnLst/>
              <a:rect l="l" t="t" r="r" b="b"/>
              <a:pathLst>
                <a:path w="8" h="113" extrusionOk="0">
                  <a:moveTo>
                    <a:pt x="1" y="0"/>
                  </a:moveTo>
                  <a:cubicBezTo>
                    <a:pt x="4" y="35"/>
                    <a:pt x="8" y="74"/>
                    <a:pt x="8" y="113"/>
                  </a:cubicBezTo>
                  <a:cubicBezTo>
                    <a:pt x="8" y="70"/>
                    <a:pt x="4" y="28"/>
                    <a:pt x="1"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703" name="Google Shape;3703;p104"/>
            <p:cNvSpPr/>
            <p:nvPr/>
          </p:nvSpPr>
          <p:spPr>
            <a:xfrm>
              <a:off x="1964013" y="1950872"/>
              <a:ext cx="14" cy="543"/>
            </a:xfrm>
            <a:custGeom>
              <a:avLst/>
              <a:gdLst/>
              <a:ahLst/>
              <a:cxnLst/>
              <a:rect l="l" t="t" r="r" b="b"/>
              <a:pathLst>
                <a:path w="1" h="40" extrusionOk="0">
                  <a:moveTo>
                    <a:pt x="1" y="39"/>
                  </a:moveTo>
                  <a:lnTo>
                    <a:pt x="1"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704" name="Google Shape;3704;p104"/>
            <p:cNvSpPr/>
            <p:nvPr/>
          </p:nvSpPr>
          <p:spPr>
            <a:xfrm>
              <a:off x="1957361" y="1933683"/>
              <a:ext cx="1629" cy="2702"/>
            </a:xfrm>
            <a:custGeom>
              <a:avLst/>
              <a:gdLst/>
              <a:ahLst/>
              <a:cxnLst/>
              <a:rect l="l" t="t" r="r" b="b"/>
              <a:pathLst>
                <a:path w="120" h="199" extrusionOk="0">
                  <a:moveTo>
                    <a:pt x="1" y="0"/>
                  </a:moveTo>
                  <a:cubicBezTo>
                    <a:pt x="4" y="17"/>
                    <a:pt x="11" y="31"/>
                    <a:pt x="11" y="38"/>
                  </a:cubicBezTo>
                  <a:lnTo>
                    <a:pt x="120" y="199"/>
                  </a:lnTo>
                  <a:lnTo>
                    <a:pt x="15" y="38"/>
                  </a:lnTo>
                  <a:cubicBezTo>
                    <a:pt x="11" y="31"/>
                    <a:pt x="4" y="17"/>
                    <a:pt x="1"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705" name="Google Shape;3705;p104"/>
            <p:cNvSpPr/>
            <p:nvPr/>
          </p:nvSpPr>
          <p:spPr>
            <a:xfrm>
              <a:off x="1992866" y="1964748"/>
              <a:ext cx="204" cy="163"/>
            </a:xfrm>
            <a:custGeom>
              <a:avLst/>
              <a:gdLst/>
              <a:ahLst/>
              <a:cxnLst/>
              <a:rect l="l" t="t" r="r" b="b"/>
              <a:pathLst>
                <a:path w="15" h="12" extrusionOk="0">
                  <a:moveTo>
                    <a:pt x="15" y="1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706" name="Google Shape;3706;p104"/>
            <p:cNvSpPr/>
            <p:nvPr/>
          </p:nvSpPr>
          <p:spPr>
            <a:xfrm>
              <a:off x="1994631" y="1966269"/>
              <a:ext cx="109" cy="163"/>
            </a:xfrm>
            <a:custGeom>
              <a:avLst/>
              <a:gdLst/>
              <a:ahLst/>
              <a:cxnLst/>
              <a:rect l="l" t="t" r="r" b="b"/>
              <a:pathLst>
                <a:path w="8" h="12" extrusionOk="0">
                  <a:moveTo>
                    <a:pt x="7" y="1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707" name="Google Shape;3707;p104"/>
            <p:cNvSpPr/>
            <p:nvPr/>
          </p:nvSpPr>
          <p:spPr>
            <a:xfrm>
              <a:off x="2004325" y="1964843"/>
              <a:ext cx="448" cy="258"/>
            </a:xfrm>
            <a:custGeom>
              <a:avLst/>
              <a:gdLst/>
              <a:ahLst/>
              <a:cxnLst/>
              <a:rect l="l" t="t" r="r" b="b"/>
              <a:pathLst>
                <a:path w="33" h="19" extrusionOk="0">
                  <a:moveTo>
                    <a:pt x="32" y="1"/>
                  </a:moveTo>
                  <a:cubicBezTo>
                    <a:pt x="22" y="4"/>
                    <a:pt x="11" y="11"/>
                    <a:pt x="1" y="18"/>
                  </a:cubicBezTo>
                  <a:cubicBezTo>
                    <a:pt x="11" y="11"/>
                    <a:pt x="22" y="4"/>
                    <a:pt x="32" y="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708" name="Google Shape;3708;p104"/>
            <p:cNvSpPr/>
            <p:nvPr/>
          </p:nvSpPr>
          <p:spPr>
            <a:xfrm>
              <a:off x="1988589" y="1966133"/>
              <a:ext cx="733" cy="299"/>
            </a:xfrm>
            <a:custGeom>
              <a:avLst/>
              <a:gdLst/>
              <a:ahLst/>
              <a:cxnLst/>
              <a:rect l="l" t="t" r="r" b="b"/>
              <a:pathLst>
                <a:path w="54" h="22" extrusionOk="0">
                  <a:moveTo>
                    <a:pt x="1" y="0"/>
                  </a:moveTo>
                  <a:lnTo>
                    <a:pt x="11" y="11"/>
                  </a:lnTo>
                  <a:cubicBezTo>
                    <a:pt x="22" y="18"/>
                    <a:pt x="36" y="21"/>
                    <a:pt x="50" y="21"/>
                  </a:cubicBezTo>
                  <a:lnTo>
                    <a:pt x="53" y="21"/>
                  </a:lnTo>
                  <a:cubicBezTo>
                    <a:pt x="32" y="21"/>
                    <a:pt x="15" y="14"/>
                    <a:pt x="1"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709" name="Google Shape;3709;p104"/>
            <p:cNvSpPr/>
            <p:nvPr/>
          </p:nvSpPr>
          <p:spPr>
            <a:xfrm>
              <a:off x="1989634" y="1964558"/>
              <a:ext cx="1494" cy="1534"/>
            </a:xfrm>
            <a:custGeom>
              <a:avLst/>
              <a:gdLst/>
              <a:ahLst/>
              <a:cxnLst/>
              <a:rect l="l" t="t" r="r" b="b"/>
              <a:pathLst>
                <a:path w="110" h="113" extrusionOk="0">
                  <a:moveTo>
                    <a:pt x="8" y="99"/>
                  </a:moveTo>
                  <a:cubicBezTo>
                    <a:pt x="8" y="102"/>
                    <a:pt x="4" y="106"/>
                    <a:pt x="1" y="113"/>
                  </a:cubicBezTo>
                  <a:cubicBezTo>
                    <a:pt x="4" y="106"/>
                    <a:pt x="8" y="102"/>
                    <a:pt x="8" y="99"/>
                  </a:cubicBezTo>
                  <a:cubicBezTo>
                    <a:pt x="25" y="53"/>
                    <a:pt x="64" y="15"/>
                    <a:pt x="109" y="1"/>
                  </a:cubicBezTo>
                  <a:cubicBezTo>
                    <a:pt x="64" y="15"/>
                    <a:pt x="25" y="53"/>
                    <a:pt x="8" y="99"/>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710" name="Google Shape;3710;p104"/>
            <p:cNvSpPr/>
            <p:nvPr/>
          </p:nvSpPr>
          <p:spPr>
            <a:xfrm>
              <a:off x="1992390" y="1964612"/>
              <a:ext cx="204" cy="54"/>
            </a:xfrm>
            <a:custGeom>
              <a:avLst/>
              <a:gdLst/>
              <a:ahLst/>
              <a:cxnLst/>
              <a:rect l="l" t="t" r="r" b="b"/>
              <a:pathLst>
                <a:path w="15" h="4" extrusionOk="0">
                  <a:moveTo>
                    <a:pt x="15" y="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711" name="Google Shape;3711;p104"/>
            <p:cNvSpPr/>
            <p:nvPr/>
          </p:nvSpPr>
          <p:spPr>
            <a:xfrm>
              <a:off x="1989539" y="1966133"/>
              <a:ext cx="68" cy="109"/>
            </a:xfrm>
            <a:custGeom>
              <a:avLst/>
              <a:gdLst/>
              <a:ahLst/>
              <a:cxnLst/>
              <a:rect l="l" t="t" r="r" b="b"/>
              <a:pathLst>
                <a:path w="5" h="8" extrusionOk="0">
                  <a:moveTo>
                    <a:pt x="4"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712" name="Google Shape;3712;p104"/>
            <p:cNvSpPr/>
            <p:nvPr/>
          </p:nvSpPr>
          <p:spPr>
            <a:xfrm>
              <a:off x="1994196" y="1965848"/>
              <a:ext cx="163" cy="149"/>
            </a:xfrm>
            <a:custGeom>
              <a:avLst/>
              <a:gdLst/>
              <a:ahLst/>
              <a:cxnLst/>
              <a:rect l="l" t="t" r="r" b="b"/>
              <a:pathLst>
                <a:path w="12" h="11" extrusionOk="0">
                  <a:moveTo>
                    <a:pt x="11" y="11"/>
                  </a:moveTo>
                  <a:lnTo>
                    <a:pt x="1"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713" name="Google Shape;3713;p104"/>
            <p:cNvSpPr/>
            <p:nvPr/>
          </p:nvSpPr>
          <p:spPr>
            <a:xfrm>
              <a:off x="1993816" y="1965468"/>
              <a:ext cx="163" cy="149"/>
            </a:xfrm>
            <a:custGeom>
              <a:avLst/>
              <a:gdLst/>
              <a:ahLst/>
              <a:cxnLst/>
              <a:rect l="l" t="t" r="r" b="b"/>
              <a:pathLst>
                <a:path w="12" h="11" extrusionOk="0">
                  <a:moveTo>
                    <a:pt x="1" y="0"/>
                  </a:moveTo>
                  <a:lnTo>
                    <a:pt x="11" y="1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714" name="Google Shape;3714;p104"/>
            <p:cNvSpPr/>
            <p:nvPr/>
          </p:nvSpPr>
          <p:spPr>
            <a:xfrm>
              <a:off x="1991875" y="1964517"/>
              <a:ext cx="244" cy="14"/>
            </a:xfrm>
            <a:custGeom>
              <a:avLst/>
              <a:gdLst/>
              <a:ahLst/>
              <a:cxnLst/>
              <a:rect l="l" t="t" r="r" b="b"/>
              <a:pathLst>
                <a:path w="18" h="1" extrusionOk="0">
                  <a:moveTo>
                    <a:pt x="18"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715" name="Google Shape;3715;p104"/>
            <p:cNvSpPr/>
            <p:nvPr/>
          </p:nvSpPr>
          <p:spPr>
            <a:xfrm>
              <a:off x="1989349" y="1966364"/>
              <a:ext cx="109" cy="14"/>
            </a:xfrm>
            <a:custGeom>
              <a:avLst/>
              <a:gdLst/>
              <a:ahLst/>
              <a:cxnLst/>
              <a:rect l="l" t="t" r="r" b="b"/>
              <a:pathLst>
                <a:path w="8" h="1" extrusionOk="0">
                  <a:moveTo>
                    <a:pt x="8"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716" name="Google Shape;3716;p104"/>
            <p:cNvSpPr/>
            <p:nvPr/>
          </p:nvSpPr>
          <p:spPr>
            <a:xfrm>
              <a:off x="2003035" y="1965087"/>
              <a:ext cx="1303" cy="720"/>
            </a:xfrm>
            <a:custGeom>
              <a:avLst/>
              <a:gdLst/>
              <a:ahLst/>
              <a:cxnLst/>
              <a:rect l="l" t="t" r="r" b="b"/>
              <a:pathLst>
                <a:path w="96" h="53" extrusionOk="0">
                  <a:moveTo>
                    <a:pt x="96" y="0"/>
                  </a:moveTo>
                  <a:cubicBezTo>
                    <a:pt x="68" y="21"/>
                    <a:pt x="36" y="39"/>
                    <a:pt x="1" y="53"/>
                  </a:cubicBezTo>
                  <a:cubicBezTo>
                    <a:pt x="36" y="39"/>
                    <a:pt x="68" y="21"/>
                    <a:pt x="96"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717" name="Google Shape;3717;p104"/>
            <p:cNvSpPr/>
            <p:nvPr/>
          </p:nvSpPr>
          <p:spPr>
            <a:xfrm>
              <a:off x="2004800" y="1964463"/>
              <a:ext cx="1494" cy="353"/>
            </a:xfrm>
            <a:custGeom>
              <a:avLst/>
              <a:gdLst/>
              <a:ahLst/>
              <a:cxnLst/>
              <a:rect l="l" t="t" r="r" b="b"/>
              <a:pathLst>
                <a:path w="110" h="26" extrusionOk="0">
                  <a:moveTo>
                    <a:pt x="109" y="1"/>
                  </a:moveTo>
                  <a:lnTo>
                    <a:pt x="109" y="1"/>
                  </a:lnTo>
                  <a:cubicBezTo>
                    <a:pt x="71" y="1"/>
                    <a:pt x="36" y="8"/>
                    <a:pt x="1" y="25"/>
                  </a:cubicBezTo>
                  <a:cubicBezTo>
                    <a:pt x="36" y="8"/>
                    <a:pt x="71" y="1"/>
                    <a:pt x="109" y="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718" name="Google Shape;3718;p104"/>
            <p:cNvSpPr/>
            <p:nvPr/>
          </p:nvSpPr>
          <p:spPr>
            <a:xfrm>
              <a:off x="1993341" y="1965087"/>
              <a:ext cx="204" cy="149"/>
            </a:xfrm>
            <a:custGeom>
              <a:avLst/>
              <a:gdLst/>
              <a:ahLst/>
              <a:cxnLst/>
              <a:rect l="l" t="t" r="r" b="b"/>
              <a:pathLst>
                <a:path w="15" h="11" extrusionOk="0">
                  <a:moveTo>
                    <a:pt x="15" y="11"/>
                  </a:moveTo>
                  <a:lnTo>
                    <a:pt x="1"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719" name="Google Shape;3719;p104"/>
            <p:cNvSpPr/>
            <p:nvPr/>
          </p:nvSpPr>
          <p:spPr>
            <a:xfrm>
              <a:off x="1964068" y="1949446"/>
              <a:ext cx="54" cy="1208"/>
            </a:xfrm>
            <a:custGeom>
              <a:avLst/>
              <a:gdLst/>
              <a:ahLst/>
              <a:cxnLst/>
              <a:rect l="l" t="t" r="r" b="b"/>
              <a:pathLst>
                <a:path w="4" h="89" extrusionOk="0">
                  <a:moveTo>
                    <a:pt x="4" y="1"/>
                  </a:moveTo>
                  <a:lnTo>
                    <a:pt x="0" y="88"/>
                  </a:lnTo>
                  <a:cubicBezTo>
                    <a:pt x="4" y="60"/>
                    <a:pt x="4" y="32"/>
                    <a:pt x="4" y="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720" name="Google Shape;3720;p104"/>
            <p:cNvSpPr/>
            <p:nvPr/>
          </p:nvSpPr>
          <p:spPr>
            <a:xfrm>
              <a:off x="1987788" y="1965318"/>
              <a:ext cx="815" cy="828"/>
            </a:xfrm>
            <a:custGeom>
              <a:avLst/>
              <a:gdLst/>
              <a:ahLst/>
              <a:cxnLst/>
              <a:rect l="l" t="t" r="r" b="b"/>
              <a:pathLst>
                <a:path w="60" h="61" extrusionOk="0">
                  <a:moveTo>
                    <a:pt x="0" y="1"/>
                  </a:moveTo>
                  <a:lnTo>
                    <a:pt x="0" y="1"/>
                  </a:lnTo>
                  <a:cubicBezTo>
                    <a:pt x="14" y="18"/>
                    <a:pt x="28" y="36"/>
                    <a:pt x="46" y="50"/>
                  </a:cubicBezTo>
                  <a:lnTo>
                    <a:pt x="52" y="55"/>
                  </a:lnTo>
                  <a:lnTo>
                    <a:pt x="52" y="55"/>
                  </a:lnTo>
                  <a:cubicBezTo>
                    <a:pt x="32" y="38"/>
                    <a:pt x="16" y="20"/>
                    <a:pt x="0" y="1"/>
                  </a:cubicBezTo>
                  <a:close/>
                  <a:moveTo>
                    <a:pt x="52" y="55"/>
                  </a:moveTo>
                  <a:lnTo>
                    <a:pt x="52" y="55"/>
                  </a:lnTo>
                  <a:cubicBezTo>
                    <a:pt x="55" y="57"/>
                    <a:pt x="57" y="59"/>
                    <a:pt x="60" y="60"/>
                  </a:cubicBezTo>
                  <a:lnTo>
                    <a:pt x="52" y="55"/>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721" name="Google Shape;3721;p104"/>
            <p:cNvSpPr/>
            <p:nvPr/>
          </p:nvSpPr>
          <p:spPr>
            <a:xfrm>
              <a:off x="1964013" y="1951876"/>
              <a:ext cx="299" cy="869"/>
            </a:xfrm>
            <a:custGeom>
              <a:avLst/>
              <a:gdLst/>
              <a:ahLst/>
              <a:cxnLst/>
              <a:rect l="l" t="t" r="r" b="b"/>
              <a:pathLst>
                <a:path w="22" h="64" extrusionOk="0">
                  <a:moveTo>
                    <a:pt x="1" y="0"/>
                  </a:moveTo>
                  <a:cubicBezTo>
                    <a:pt x="4" y="21"/>
                    <a:pt x="11" y="42"/>
                    <a:pt x="22" y="63"/>
                  </a:cubicBezTo>
                  <a:cubicBezTo>
                    <a:pt x="11" y="42"/>
                    <a:pt x="4" y="21"/>
                    <a:pt x="1"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722" name="Google Shape;3722;p104"/>
            <p:cNvSpPr/>
            <p:nvPr/>
          </p:nvSpPr>
          <p:spPr>
            <a:xfrm>
              <a:off x="1964299" y="1952732"/>
              <a:ext cx="353" cy="679"/>
            </a:xfrm>
            <a:custGeom>
              <a:avLst/>
              <a:gdLst/>
              <a:ahLst/>
              <a:cxnLst/>
              <a:rect l="l" t="t" r="r" b="b"/>
              <a:pathLst>
                <a:path w="26" h="50" extrusionOk="0">
                  <a:moveTo>
                    <a:pt x="25" y="49"/>
                  </a:moveTo>
                  <a:cubicBezTo>
                    <a:pt x="15" y="35"/>
                    <a:pt x="8" y="18"/>
                    <a:pt x="1" y="0"/>
                  </a:cubicBezTo>
                  <a:cubicBezTo>
                    <a:pt x="8" y="18"/>
                    <a:pt x="15" y="35"/>
                    <a:pt x="25" y="49"/>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723" name="Google Shape;3723;p104"/>
            <p:cNvSpPr/>
            <p:nvPr/>
          </p:nvSpPr>
          <p:spPr>
            <a:xfrm>
              <a:off x="1988358" y="1965983"/>
              <a:ext cx="394" cy="299"/>
            </a:xfrm>
            <a:custGeom>
              <a:avLst/>
              <a:gdLst/>
              <a:ahLst/>
              <a:cxnLst/>
              <a:rect l="l" t="t" r="r" b="b"/>
              <a:pathLst>
                <a:path w="29" h="22" extrusionOk="0">
                  <a:moveTo>
                    <a:pt x="0" y="1"/>
                  </a:moveTo>
                  <a:lnTo>
                    <a:pt x="0" y="1"/>
                  </a:lnTo>
                  <a:cubicBezTo>
                    <a:pt x="11" y="8"/>
                    <a:pt x="18" y="15"/>
                    <a:pt x="28" y="22"/>
                  </a:cubicBezTo>
                  <a:lnTo>
                    <a:pt x="18" y="11"/>
                  </a:lnTo>
                  <a:lnTo>
                    <a:pt x="0"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724" name="Google Shape;3724;p104"/>
            <p:cNvSpPr/>
            <p:nvPr/>
          </p:nvSpPr>
          <p:spPr>
            <a:xfrm>
              <a:off x="1957415" y="1933479"/>
              <a:ext cx="720" cy="149"/>
            </a:xfrm>
            <a:custGeom>
              <a:avLst/>
              <a:gdLst/>
              <a:ahLst/>
              <a:cxnLst/>
              <a:rect l="l" t="t" r="r" b="b"/>
              <a:pathLst>
                <a:path w="53" h="11" extrusionOk="0">
                  <a:moveTo>
                    <a:pt x="53" y="0"/>
                  </a:moveTo>
                  <a:lnTo>
                    <a:pt x="53" y="0"/>
                  </a:lnTo>
                  <a:cubicBezTo>
                    <a:pt x="35" y="4"/>
                    <a:pt x="18" y="7"/>
                    <a:pt x="0" y="11"/>
                  </a:cubicBezTo>
                  <a:cubicBezTo>
                    <a:pt x="18" y="11"/>
                    <a:pt x="35" y="4"/>
                    <a:pt x="53"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725" name="Google Shape;3725;p104"/>
            <p:cNvSpPr/>
            <p:nvPr/>
          </p:nvSpPr>
          <p:spPr>
            <a:xfrm>
              <a:off x="1959506" y="1932569"/>
              <a:ext cx="434" cy="353"/>
            </a:xfrm>
            <a:custGeom>
              <a:avLst/>
              <a:gdLst/>
              <a:ahLst/>
              <a:cxnLst/>
              <a:rect l="l" t="t" r="r" b="b"/>
              <a:pathLst>
                <a:path w="32" h="26" extrusionOk="0">
                  <a:moveTo>
                    <a:pt x="0" y="25"/>
                  </a:moveTo>
                  <a:cubicBezTo>
                    <a:pt x="11" y="18"/>
                    <a:pt x="21" y="11"/>
                    <a:pt x="32" y="1"/>
                  </a:cubicBezTo>
                  <a:cubicBezTo>
                    <a:pt x="21" y="11"/>
                    <a:pt x="11" y="18"/>
                    <a:pt x="0" y="25"/>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726" name="Google Shape;3726;p104"/>
            <p:cNvSpPr/>
            <p:nvPr/>
          </p:nvSpPr>
          <p:spPr>
            <a:xfrm>
              <a:off x="1958175" y="1933289"/>
              <a:ext cx="584" cy="204"/>
            </a:xfrm>
            <a:custGeom>
              <a:avLst/>
              <a:gdLst/>
              <a:ahLst/>
              <a:cxnLst/>
              <a:rect l="l" t="t" r="r" b="b"/>
              <a:pathLst>
                <a:path w="43" h="15" extrusionOk="0">
                  <a:moveTo>
                    <a:pt x="0" y="14"/>
                  </a:moveTo>
                  <a:cubicBezTo>
                    <a:pt x="14" y="11"/>
                    <a:pt x="28" y="4"/>
                    <a:pt x="42" y="0"/>
                  </a:cubicBezTo>
                  <a:cubicBezTo>
                    <a:pt x="28" y="4"/>
                    <a:pt x="14" y="11"/>
                    <a:pt x="0" y="14"/>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727" name="Google Shape;3727;p104"/>
            <p:cNvSpPr/>
            <p:nvPr/>
          </p:nvSpPr>
          <p:spPr>
            <a:xfrm>
              <a:off x="1958881" y="1932949"/>
              <a:ext cx="543" cy="299"/>
            </a:xfrm>
            <a:custGeom>
              <a:avLst/>
              <a:gdLst/>
              <a:ahLst/>
              <a:cxnLst/>
              <a:rect l="l" t="t" r="r" b="b"/>
              <a:pathLst>
                <a:path w="40" h="22" extrusionOk="0">
                  <a:moveTo>
                    <a:pt x="1" y="22"/>
                  </a:moveTo>
                  <a:cubicBezTo>
                    <a:pt x="11" y="15"/>
                    <a:pt x="25" y="8"/>
                    <a:pt x="39" y="1"/>
                  </a:cubicBezTo>
                  <a:cubicBezTo>
                    <a:pt x="25" y="8"/>
                    <a:pt x="11" y="15"/>
                    <a:pt x="1" y="22"/>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728" name="Google Shape;3728;p104"/>
            <p:cNvSpPr/>
            <p:nvPr/>
          </p:nvSpPr>
          <p:spPr>
            <a:xfrm>
              <a:off x="1959981" y="1932148"/>
              <a:ext cx="339" cy="394"/>
            </a:xfrm>
            <a:custGeom>
              <a:avLst/>
              <a:gdLst/>
              <a:ahLst/>
              <a:cxnLst/>
              <a:rect l="l" t="t" r="r" b="b"/>
              <a:pathLst>
                <a:path w="25" h="29" extrusionOk="0">
                  <a:moveTo>
                    <a:pt x="25" y="0"/>
                  </a:moveTo>
                  <a:cubicBezTo>
                    <a:pt x="18" y="11"/>
                    <a:pt x="7" y="21"/>
                    <a:pt x="0" y="28"/>
                  </a:cubicBezTo>
                  <a:cubicBezTo>
                    <a:pt x="7" y="21"/>
                    <a:pt x="18" y="11"/>
                    <a:pt x="25"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729" name="Google Shape;3729;p104"/>
            <p:cNvSpPr/>
            <p:nvPr/>
          </p:nvSpPr>
          <p:spPr>
            <a:xfrm>
              <a:off x="1960646" y="1931103"/>
              <a:ext cx="204" cy="530"/>
            </a:xfrm>
            <a:custGeom>
              <a:avLst/>
              <a:gdLst/>
              <a:ahLst/>
              <a:cxnLst/>
              <a:rect l="l" t="t" r="r" b="b"/>
              <a:pathLst>
                <a:path w="15" h="39" extrusionOk="0">
                  <a:moveTo>
                    <a:pt x="0" y="39"/>
                  </a:moveTo>
                  <a:cubicBezTo>
                    <a:pt x="7" y="25"/>
                    <a:pt x="11" y="14"/>
                    <a:pt x="14" y="0"/>
                  </a:cubicBezTo>
                  <a:cubicBezTo>
                    <a:pt x="11" y="14"/>
                    <a:pt x="7" y="25"/>
                    <a:pt x="0" y="39"/>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730" name="Google Shape;3730;p104"/>
            <p:cNvSpPr/>
            <p:nvPr/>
          </p:nvSpPr>
          <p:spPr>
            <a:xfrm>
              <a:off x="1969051" y="1928673"/>
              <a:ext cx="1398" cy="204"/>
            </a:xfrm>
            <a:custGeom>
              <a:avLst/>
              <a:gdLst/>
              <a:ahLst/>
              <a:cxnLst/>
              <a:rect l="l" t="t" r="r" b="b"/>
              <a:pathLst>
                <a:path w="103" h="15" extrusionOk="0">
                  <a:moveTo>
                    <a:pt x="102" y="15"/>
                  </a:moveTo>
                  <a:cubicBezTo>
                    <a:pt x="71" y="4"/>
                    <a:pt x="36" y="1"/>
                    <a:pt x="1" y="1"/>
                  </a:cubicBezTo>
                  <a:cubicBezTo>
                    <a:pt x="36" y="1"/>
                    <a:pt x="71" y="4"/>
                    <a:pt x="102" y="15"/>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731" name="Google Shape;3731;p104"/>
            <p:cNvSpPr/>
            <p:nvPr/>
          </p:nvSpPr>
          <p:spPr>
            <a:xfrm>
              <a:off x="1960836" y="1930438"/>
              <a:ext cx="54" cy="584"/>
            </a:xfrm>
            <a:custGeom>
              <a:avLst/>
              <a:gdLst/>
              <a:ahLst/>
              <a:cxnLst/>
              <a:rect l="l" t="t" r="r" b="b"/>
              <a:pathLst>
                <a:path w="4" h="43" extrusionOk="0">
                  <a:moveTo>
                    <a:pt x="0" y="42"/>
                  </a:moveTo>
                  <a:cubicBezTo>
                    <a:pt x="4" y="28"/>
                    <a:pt x="4" y="14"/>
                    <a:pt x="4" y="0"/>
                  </a:cubicBezTo>
                  <a:cubicBezTo>
                    <a:pt x="4" y="14"/>
                    <a:pt x="4" y="28"/>
                    <a:pt x="0" y="42"/>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732" name="Google Shape;3732;p104"/>
            <p:cNvSpPr/>
            <p:nvPr/>
          </p:nvSpPr>
          <p:spPr>
            <a:xfrm>
              <a:off x="1960361" y="1931673"/>
              <a:ext cx="299" cy="434"/>
            </a:xfrm>
            <a:custGeom>
              <a:avLst/>
              <a:gdLst/>
              <a:ahLst/>
              <a:cxnLst/>
              <a:rect l="l" t="t" r="r" b="b"/>
              <a:pathLst>
                <a:path w="22" h="32" extrusionOk="0">
                  <a:moveTo>
                    <a:pt x="0" y="32"/>
                  </a:moveTo>
                  <a:cubicBezTo>
                    <a:pt x="7" y="21"/>
                    <a:pt x="14" y="11"/>
                    <a:pt x="21" y="0"/>
                  </a:cubicBezTo>
                  <a:cubicBezTo>
                    <a:pt x="14" y="11"/>
                    <a:pt x="7" y="21"/>
                    <a:pt x="0" y="32"/>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733" name="Google Shape;3733;p104"/>
            <p:cNvSpPr/>
            <p:nvPr/>
          </p:nvSpPr>
          <p:spPr>
            <a:xfrm>
              <a:off x="2008222" y="1930981"/>
              <a:ext cx="58533" cy="39592"/>
            </a:xfrm>
            <a:custGeom>
              <a:avLst/>
              <a:gdLst/>
              <a:ahLst/>
              <a:cxnLst/>
              <a:rect l="l" t="t" r="r" b="b"/>
              <a:pathLst>
                <a:path w="4311" h="2916" extrusionOk="0">
                  <a:moveTo>
                    <a:pt x="2680" y="0"/>
                  </a:moveTo>
                  <a:cubicBezTo>
                    <a:pt x="2668" y="0"/>
                    <a:pt x="2654" y="7"/>
                    <a:pt x="2637" y="16"/>
                  </a:cubicBezTo>
                  <a:cubicBezTo>
                    <a:pt x="2584" y="48"/>
                    <a:pt x="2532" y="83"/>
                    <a:pt x="2486" y="118"/>
                  </a:cubicBezTo>
                  <a:cubicBezTo>
                    <a:pt x="2451" y="142"/>
                    <a:pt x="2416" y="170"/>
                    <a:pt x="2378" y="195"/>
                  </a:cubicBezTo>
                  <a:cubicBezTo>
                    <a:pt x="2273" y="261"/>
                    <a:pt x="2157" y="303"/>
                    <a:pt x="2035" y="321"/>
                  </a:cubicBezTo>
                  <a:cubicBezTo>
                    <a:pt x="2003" y="328"/>
                    <a:pt x="1968" y="335"/>
                    <a:pt x="1937" y="345"/>
                  </a:cubicBezTo>
                  <a:cubicBezTo>
                    <a:pt x="1937" y="401"/>
                    <a:pt x="1909" y="450"/>
                    <a:pt x="1867" y="482"/>
                  </a:cubicBezTo>
                  <a:cubicBezTo>
                    <a:pt x="1825" y="511"/>
                    <a:pt x="1777" y="525"/>
                    <a:pt x="1728" y="525"/>
                  </a:cubicBezTo>
                  <a:cubicBezTo>
                    <a:pt x="1700" y="525"/>
                    <a:pt x="1671" y="520"/>
                    <a:pt x="1642" y="510"/>
                  </a:cubicBezTo>
                  <a:cubicBezTo>
                    <a:pt x="1625" y="506"/>
                    <a:pt x="1607" y="503"/>
                    <a:pt x="1590" y="499"/>
                  </a:cubicBezTo>
                  <a:cubicBezTo>
                    <a:pt x="1579" y="496"/>
                    <a:pt x="1568" y="494"/>
                    <a:pt x="1556" y="494"/>
                  </a:cubicBezTo>
                  <a:cubicBezTo>
                    <a:pt x="1544" y="494"/>
                    <a:pt x="1532" y="496"/>
                    <a:pt x="1520" y="499"/>
                  </a:cubicBezTo>
                  <a:cubicBezTo>
                    <a:pt x="1492" y="527"/>
                    <a:pt x="1474" y="559"/>
                    <a:pt x="1467" y="594"/>
                  </a:cubicBezTo>
                  <a:cubicBezTo>
                    <a:pt x="1446" y="678"/>
                    <a:pt x="1383" y="741"/>
                    <a:pt x="1299" y="762"/>
                  </a:cubicBezTo>
                  <a:cubicBezTo>
                    <a:pt x="1247" y="779"/>
                    <a:pt x="1233" y="783"/>
                    <a:pt x="1226" y="842"/>
                  </a:cubicBezTo>
                  <a:cubicBezTo>
                    <a:pt x="1229" y="902"/>
                    <a:pt x="1198" y="958"/>
                    <a:pt x="1149" y="989"/>
                  </a:cubicBezTo>
                  <a:cubicBezTo>
                    <a:pt x="1129" y="999"/>
                    <a:pt x="1108" y="1003"/>
                    <a:pt x="1086" y="1003"/>
                  </a:cubicBezTo>
                  <a:cubicBezTo>
                    <a:pt x="1011" y="1003"/>
                    <a:pt x="925" y="954"/>
                    <a:pt x="841" y="905"/>
                  </a:cubicBezTo>
                  <a:lnTo>
                    <a:pt x="792" y="881"/>
                  </a:lnTo>
                  <a:cubicBezTo>
                    <a:pt x="760" y="912"/>
                    <a:pt x="722" y="1073"/>
                    <a:pt x="711" y="1231"/>
                  </a:cubicBezTo>
                  <a:lnTo>
                    <a:pt x="711" y="1252"/>
                  </a:lnTo>
                  <a:lnTo>
                    <a:pt x="697" y="1270"/>
                  </a:lnTo>
                  <a:cubicBezTo>
                    <a:pt x="624" y="1364"/>
                    <a:pt x="568" y="1473"/>
                    <a:pt x="529" y="1588"/>
                  </a:cubicBezTo>
                  <a:cubicBezTo>
                    <a:pt x="456" y="1795"/>
                    <a:pt x="253" y="1805"/>
                    <a:pt x="130" y="1812"/>
                  </a:cubicBezTo>
                  <a:cubicBezTo>
                    <a:pt x="113" y="1812"/>
                    <a:pt x="92" y="1812"/>
                    <a:pt x="74" y="1816"/>
                  </a:cubicBezTo>
                  <a:cubicBezTo>
                    <a:pt x="81" y="1844"/>
                    <a:pt x="92" y="1872"/>
                    <a:pt x="99" y="1900"/>
                  </a:cubicBezTo>
                  <a:cubicBezTo>
                    <a:pt x="127" y="1980"/>
                    <a:pt x="158" y="2075"/>
                    <a:pt x="123" y="2145"/>
                  </a:cubicBezTo>
                  <a:cubicBezTo>
                    <a:pt x="120" y="2152"/>
                    <a:pt x="116" y="2159"/>
                    <a:pt x="113" y="2166"/>
                  </a:cubicBezTo>
                  <a:lnTo>
                    <a:pt x="113" y="2169"/>
                  </a:lnTo>
                  <a:lnTo>
                    <a:pt x="102" y="2197"/>
                  </a:lnTo>
                  <a:lnTo>
                    <a:pt x="99" y="2204"/>
                  </a:lnTo>
                  <a:lnTo>
                    <a:pt x="88" y="2236"/>
                  </a:lnTo>
                  <a:lnTo>
                    <a:pt x="85" y="2239"/>
                  </a:lnTo>
                  <a:lnTo>
                    <a:pt x="71" y="2278"/>
                  </a:lnTo>
                  <a:lnTo>
                    <a:pt x="53" y="2323"/>
                  </a:lnTo>
                  <a:lnTo>
                    <a:pt x="53" y="2327"/>
                  </a:lnTo>
                  <a:lnTo>
                    <a:pt x="39" y="2376"/>
                  </a:lnTo>
                  <a:lnTo>
                    <a:pt x="36" y="2383"/>
                  </a:lnTo>
                  <a:lnTo>
                    <a:pt x="18" y="2428"/>
                  </a:lnTo>
                  <a:lnTo>
                    <a:pt x="15" y="2439"/>
                  </a:lnTo>
                  <a:lnTo>
                    <a:pt x="1" y="2488"/>
                  </a:lnTo>
                  <a:cubicBezTo>
                    <a:pt x="74" y="2519"/>
                    <a:pt x="137" y="2568"/>
                    <a:pt x="193" y="2628"/>
                  </a:cubicBezTo>
                  <a:cubicBezTo>
                    <a:pt x="200" y="2635"/>
                    <a:pt x="204" y="2642"/>
                    <a:pt x="211" y="2652"/>
                  </a:cubicBezTo>
                  <a:cubicBezTo>
                    <a:pt x="214" y="2659"/>
                    <a:pt x="221" y="2663"/>
                    <a:pt x="225" y="2670"/>
                  </a:cubicBezTo>
                  <a:lnTo>
                    <a:pt x="228" y="2673"/>
                  </a:lnTo>
                  <a:cubicBezTo>
                    <a:pt x="253" y="2708"/>
                    <a:pt x="281" y="2743"/>
                    <a:pt x="309" y="2771"/>
                  </a:cubicBezTo>
                  <a:cubicBezTo>
                    <a:pt x="351" y="2813"/>
                    <a:pt x="400" y="2848"/>
                    <a:pt x="449" y="2880"/>
                  </a:cubicBezTo>
                  <a:cubicBezTo>
                    <a:pt x="463" y="2890"/>
                    <a:pt x="480" y="2897"/>
                    <a:pt x="498" y="2904"/>
                  </a:cubicBezTo>
                  <a:cubicBezTo>
                    <a:pt x="512" y="2908"/>
                    <a:pt x="526" y="2911"/>
                    <a:pt x="540" y="2915"/>
                  </a:cubicBezTo>
                  <a:cubicBezTo>
                    <a:pt x="543" y="2915"/>
                    <a:pt x="546" y="2916"/>
                    <a:pt x="549" y="2916"/>
                  </a:cubicBezTo>
                  <a:cubicBezTo>
                    <a:pt x="570" y="2916"/>
                    <a:pt x="591" y="2906"/>
                    <a:pt x="606" y="2890"/>
                  </a:cubicBezTo>
                  <a:cubicBezTo>
                    <a:pt x="708" y="2778"/>
                    <a:pt x="900" y="2733"/>
                    <a:pt x="1047" y="2729"/>
                  </a:cubicBezTo>
                  <a:lnTo>
                    <a:pt x="1075" y="2729"/>
                  </a:lnTo>
                  <a:cubicBezTo>
                    <a:pt x="1149" y="2729"/>
                    <a:pt x="1278" y="2740"/>
                    <a:pt x="1345" y="2806"/>
                  </a:cubicBezTo>
                  <a:cubicBezTo>
                    <a:pt x="1359" y="2824"/>
                    <a:pt x="1376" y="2834"/>
                    <a:pt x="1397" y="2841"/>
                  </a:cubicBezTo>
                  <a:cubicBezTo>
                    <a:pt x="1404" y="2827"/>
                    <a:pt x="1411" y="2813"/>
                    <a:pt x="1415" y="2796"/>
                  </a:cubicBezTo>
                  <a:cubicBezTo>
                    <a:pt x="1408" y="2743"/>
                    <a:pt x="1394" y="2687"/>
                    <a:pt x="1376" y="2638"/>
                  </a:cubicBezTo>
                  <a:lnTo>
                    <a:pt x="1369" y="2614"/>
                  </a:lnTo>
                  <a:cubicBezTo>
                    <a:pt x="1310" y="2425"/>
                    <a:pt x="1275" y="2299"/>
                    <a:pt x="1327" y="2222"/>
                  </a:cubicBezTo>
                  <a:lnTo>
                    <a:pt x="1331" y="2218"/>
                  </a:lnTo>
                  <a:cubicBezTo>
                    <a:pt x="1350" y="2190"/>
                    <a:pt x="1402" y="2139"/>
                    <a:pt x="1843" y="2139"/>
                  </a:cubicBezTo>
                  <a:cubicBezTo>
                    <a:pt x="1894" y="2139"/>
                    <a:pt x="1949" y="2140"/>
                    <a:pt x="2010" y="2141"/>
                  </a:cubicBezTo>
                  <a:cubicBezTo>
                    <a:pt x="2224" y="2141"/>
                    <a:pt x="2437" y="2155"/>
                    <a:pt x="2651" y="2190"/>
                  </a:cubicBezTo>
                  <a:lnTo>
                    <a:pt x="2654" y="2190"/>
                  </a:lnTo>
                  <a:lnTo>
                    <a:pt x="2682" y="2194"/>
                  </a:lnTo>
                  <a:lnTo>
                    <a:pt x="2689" y="2194"/>
                  </a:lnTo>
                  <a:lnTo>
                    <a:pt x="2710" y="2201"/>
                  </a:lnTo>
                  <a:lnTo>
                    <a:pt x="2717" y="2201"/>
                  </a:lnTo>
                  <a:lnTo>
                    <a:pt x="2735" y="2204"/>
                  </a:lnTo>
                  <a:lnTo>
                    <a:pt x="2745" y="2208"/>
                  </a:lnTo>
                  <a:lnTo>
                    <a:pt x="2756" y="2215"/>
                  </a:lnTo>
                  <a:cubicBezTo>
                    <a:pt x="2773" y="2176"/>
                    <a:pt x="2798" y="2145"/>
                    <a:pt x="2829" y="2117"/>
                  </a:cubicBezTo>
                  <a:lnTo>
                    <a:pt x="2829" y="2113"/>
                  </a:lnTo>
                  <a:lnTo>
                    <a:pt x="2850" y="2103"/>
                  </a:lnTo>
                  <a:cubicBezTo>
                    <a:pt x="2864" y="2092"/>
                    <a:pt x="2878" y="2085"/>
                    <a:pt x="2896" y="2082"/>
                  </a:cubicBezTo>
                  <a:lnTo>
                    <a:pt x="2948" y="2057"/>
                  </a:lnTo>
                  <a:lnTo>
                    <a:pt x="2952" y="2075"/>
                  </a:lnTo>
                  <a:lnTo>
                    <a:pt x="2983" y="2075"/>
                  </a:lnTo>
                  <a:cubicBezTo>
                    <a:pt x="3043" y="2082"/>
                    <a:pt x="3109" y="2096"/>
                    <a:pt x="3176" y="2110"/>
                  </a:cubicBezTo>
                  <a:cubicBezTo>
                    <a:pt x="3246" y="2124"/>
                    <a:pt x="3312" y="2134"/>
                    <a:pt x="3382" y="2141"/>
                  </a:cubicBezTo>
                  <a:cubicBezTo>
                    <a:pt x="3391" y="2143"/>
                    <a:pt x="3399" y="2144"/>
                    <a:pt x="3407" y="2144"/>
                  </a:cubicBezTo>
                  <a:cubicBezTo>
                    <a:pt x="3415" y="2144"/>
                    <a:pt x="3423" y="2143"/>
                    <a:pt x="3431" y="2141"/>
                  </a:cubicBezTo>
                  <a:lnTo>
                    <a:pt x="3442" y="2141"/>
                  </a:lnTo>
                  <a:cubicBezTo>
                    <a:pt x="3480" y="2124"/>
                    <a:pt x="3512" y="2099"/>
                    <a:pt x="3540" y="2071"/>
                  </a:cubicBezTo>
                  <a:lnTo>
                    <a:pt x="3554" y="2057"/>
                  </a:lnTo>
                  <a:cubicBezTo>
                    <a:pt x="3624" y="1994"/>
                    <a:pt x="3690" y="1928"/>
                    <a:pt x="3771" y="1928"/>
                  </a:cubicBezTo>
                  <a:cubicBezTo>
                    <a:pt x="3950" y="1928"/>
                    <a:pt x="4142" y="1896"/>
                    <a:pt x="4174" y="1858"/>
                  </a:cubicBezTo>
                  <a:cubicBezTo>
                    <a:pt x="4198" y="1826"/>
                    <a:pt x="4226" y="1802"/>
                    <a:pt x="4261" y="1781"/>
                  </a:cubicBezTo>
                  <a:lnTo>
                    <a:pt x="4275" y="1770"/>
                  </a:lnTo>
                  <a:lnTo>
                    <a:pt x="4279" y="1767"/>
                  </a:lnTo>
                  <a:lnTo>
                    <a:pt x="4289" y="1763"/>
                  </a:lnTo>
                  <a:lnTo>
                    <a:pt x="4293" y="1760"/>
                  </a:lnTo>
                  <a:lnTo>
                    <a:pt x="4296" y="1753"/>
                  </a:lnTo>
                  <a:lnTo>
                    <a:pt x="4300" y="1753"/>
                  </a:lnTo>
                  <a:lnTo>
                    <a:pt x="4303" y="1746"/>
                  </a:lnTo>
                  <a:lnTo>
                    <a:pt x="4303" y="1742"/>
                  </a:lnTo>
                  <a:lnTo>
                    <a:pt x="4303" y="1739"/>
                  </a:lnTo>
                  <a:lnTo>
                    <a:pt x="4303" y="1735"/>
                  </a:lnTo>
                  <a:cubicBezTo>
                    <a:pt x="4303" y="1735"/>
                    <a:pt x="4303" y="1732"/>
                    <a:pt x="4303" y="1732"/>
                  </a:cubicBezTo>
                  <a:lnTo>
                    <a:pt x="4303" y="1728"/>
                  </a:lnTo>
                  <a:cubicBezTo>
                    <a:pt x="4303" y="1725"/>
                    <a:pt x="4303" y="1721"/>
                    <a:pt x="4303" y="1721"/>
                  </a:cubicBezTo>
                  <a:lnTo>
                    <a:pt x="4310" y="1718"/>
                  </a:lnTo>
                  <a:lnTo>
                    <a:pt x="4296" y="1711"/>
                  </a:lnTo>
                  <a:lnTo>
                    <a:pt x="4282" y="1700"/>
                  </a:lnTo>
                  <a:lnTo>
                    <a:pt x="4272" y="1693"/>
                  </a:lnTo>
                  <a:lnTo>
                    <a:pt x="4258" y="1686"/>
                  </a:lnTo>
                  <a:lnTo>
                    <a:pt x="4247" y="1679"/>
                  </a:lnTo>
                  <a:lnTo>
                    <a:pt x="4230" y="1672"/>
                  </a:lnTo>
                  <a:lnTo>
                    <a:pt x="4223" y="1669"/>
                  </a:lnTo>
                  <a:lnTo>
                    <a:pt x="4209" y="1665"/>
                  </a:lnTo>
                  <a:lnTo>
                    <a:pt x="4198" y="1662"/>
                  </a:lnTo>
                  <a:lnTo>
                    <a:pt x="4184" y="1658"/>
                  </a:lnTo>
                  <a:lnTo>
                    <a:pt x="4181" y="1658"/>
                  </a:lnTo>
                  <a:lnTo>
                    <a:pt x="4167" y="1655"/>
                  </a:lnTo>
                  <a:lnTo>
                    <a:pt x="4153" y="1655"/>
                  </a:lnTo>
                  <a:cubicBezTo>
                    <a:pt x="4132" y="1655"/>
                    <a:pt x="4111" y="1648"/>
                    <a:pt x="4097" y="1634"/>
                  </a:cubicBezTo>
                  <a:cubicBezTo>
                    <a:pt x="4062" y="1595"/>
                    <a:pt x="4058" y="1529"/>
                    <a:pt x="4062" y="1413"/>
                  </a:cubicBezTo>
                  <a:lnTo>
                    <a:pt x="4062" y="1354"/>
                  </a:lnTo>
                  <a:lnTo>
                    <a:pt x="4044" y="1361"/>
                  </a:lnTo>
                  <a:cubicBezTo>
                    <a:pt x="4000" y="1375"/>
                    <a:pt x="3942" y="1393"/>
                    <a:pt x="3886" y="1393"/>
                  </a:cubicBezTo>
                  <a:cubicBezTo>
                    <a:pt x="3862" y="1393"/>
                    <a:pt x="3839" y="1390"/>
                    <a:pt x="3817" y="1382"/>
                  </a:cubicBezTo>
                  <a:cubicBezTo>
                    <a:pt x="3757" y="1354"/>
                    <a:pt x="3708" y="1312"/>
                    <a:pt x="3676" y="1256"/>
                  </a:cubicBezTo>
                  <a:cubicBezTo>
                    <a:pt x="3662" y="1235"/>
                    <a:pt x="3631" y="1192"/>
                    <a:pt x="3620" y="1192"/>
                  </a:cubicBezTo>
                  <a:cubicBezTo>
                    <a:pt x="3456" y="1192"/>
                    <a:pt x="3456" y="996"/>
                    <a:pt x="3456" y="919"/>
                  </a:cubicBezTo>
                  <a:cubicBezTo>
                    <a:pt x="3456" y="846"/>
                    <a:pt x="3323" y="751"/>
                    <a:pt x="3249" y="699"/>
                  </a:cubicBezTo>
                  <a:lnTo>
                    <a:pt x="3228" y="681"/>
                  </a:lnTo>
                  <a:cubicBezTo>
                    <a:pt x="3162" y="632"/>
                    <a:pt x="3127" y="541"/>
                    <a:pt x="3095" y="464"/>
                  </a:cubicBezTo>
                  <a:cubicBezTo>
                    <a:pt x="3085" y="429"/>
                    <a:pt x="3071" y="398"/>
                    <a:pt x="3050" y="370"/>
                  </a:cubicBezTo>
                  <a:lnTo>
                    <a:pt x="3043" y="363"/>
                  </a:lnTo>
                  <a:lnTo>
                    <a:pt x="3039" y="363"/>
                  </a:lnTo>
                  <a:lnTo>
                    <a:pt x="3036" y="359"/>
                  </a:lnTo>
                  <a:lnTo>
                    <a:pt x="3032" y="356"/>
                  </a:lnTo>
                  <a:lnTo>
                    <a:pt x="3029" y="349"/>
                  </a:lnTo>
                  <a:lnTo>
                    <a:pt x="3025" y="345"/>
                  </a:lnTo>
                  <a:lnTo>
                    <a:pt x="3022" y="342"/>
                  </a:lnTo>
                  <a:lnTo>
                    <a:pt x="3018" y="335"/>
                  </a:lnTo>
                  <a:lnTo>
                    <a:pt x="3015" y="331"/>
                  </a:lnTo>
                  <a:lnTo>
                    <a:pt x="3011" y="324"/>
                  </a:lnTo>
                  <a:lnTo>
                    <a:pt x="3011" y="317"/>
                  </a:lnTo>
                  <a:lnTo>
                    <a:pt x="3011" y="310"/>
                  </a:lnTo>
                  <a:lnTo>
                    <a:pt x="3011" y="303"/>
                  </a:lnTo>
                  <a:lnTo>
                    <a:pt x="3011" y="296"/>
                  </a:lnTo>
                  <a:lnTo>
                    <a:pt x="3011" y="286"/>
                  </a:lnTo>
                  <a:lnTo>
                    <a:pt x="3011" y="279"/>
                  </a:lnTo>
                  <a:lnTo>
                    <a:pt x="3011" y="265"/>
                  </a:lnTo>
                  <a:lnTo>
                    <a:pt x="3011" y="247"/>
                  </a:lnTo>
                  <a:lnTo>
                    <a:pt x="3011" y="233"/>
                  </a:lnTo>
                  <a:lnTo>
                    <a:pt x="3011" y="223"/>
                  </a:lnTo>
                  <a:lnTo>
                    <a:pt x="3011" y="209"/>
                  </a:lnTo>
                  <a:lnTo>
                    <a:pt x="3011" y="195"/>
                  </a:lnTo>
                  <a:lnTo>
                    <a:pt x="3011" y="181"/>
                  </a:lnTo>
                  <a:lnTo>
                    <a:pt x="3011" y="163"/>
                  </a:lnTo>
                  <a:lnTo>
                    <a:pt x="3011" y="146"/>
                  </a:lnTo>
                  <a:lnTo>
                    <a:pt x="3011" y="128"/>
                  </a:lnTo>
                  <a:lnTo>
                    <a:pt x="3011" y="111"/>
                  </a:lnTo>
                  <a:lnTo>
                    <a:pt x="3011" y="93"/>
                  </a:lnTo>
                  <a:lnTo>
                    <a:pt x="3011" y="86"/>
                  </a:lnTo>
                  <a:cubicBezTo>
                    <a:pt x="2763" y="72"/>
                    <a:pt x="2714" y="27"/>
                    <a:pt x="2700" y="9"/>
                  </a:cubicBezTo>
                  <a:cubicBezTo>
                    <a:pt x="2693" y="3"/>
                    <a:pt x="2687" y="0"/>
                    <a:pt x="2680"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734" name="Google Shape;3734;p104"/>
            <p:cNvSpPr/>
            <p:nvPr/>
          </p:nvSpPr>
          <p:spPr>
            <a:xfrm>
              <a:off x="2054236" y="1960186"/>
              <a:ext cx="679" cy="14"/>
            </a:xfrm>
            <a:custGeom>
              <a:avLst/>
              <a:gdLst/>
              <a:ahLst/>
              <a:cxnLst/>
              <a:rect l="l" t="t" r="r" b="b"/>
              <a:pathLst>
                <a:path w="50" h="1" extrusionOk="0">
                  <a:moveTo>
                    <a:pt x="0" y="1"/>
                  </a:moveTo>
                  <a:lnTo>
                    <a:pt x="21" y="1"/>
                  </a:lnTo>
                  <a:cubicBezTo>
                    <a:pt x="32" y="1"/>
                    <a:pt x="39" y="1"/>
                    <a:pt x="49" y="1"/>
                  </a:cubicBezTo>
                  <a:cubicBezTo>
                    <a:pt x="32" y="1"/>
                    <a:pt x="14" y="1"/>
                    <a:pt x="0" y="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735" name="Google Shape;3735;p104"/>
            <p:cNvSpPr/>
            <p:nvPr/>
          </p:nvSpPr>
          <p:spPr>
            <a:xfrm>
              <a:off x="2066782" y="1954388"/>
              <a:ext cx="68" cy="109"/>
            </a:xfrm>
            <a:custGeom>
              <a:avLst/>
              <a:gdLst/>
              <a:ahLst/>
              <a:cxnLst/>
              <a:rect l="l" t="t" r="r" b="b"/>
              <a:pathLst>
                <a:path w="5" h="8" extrusionOk="0">
                  <a:moveTo>
                    <a:pt x="1" y="1"/>
                  </a:moveTo>
                  <a:cubicBezTo>
                    <a:pt x="4" y="1"/>
                    <a:pt x="4" y="4"/>
                    <a:pt x="1" y="8"/>
                  </a:cubicBezTo>
                  <a:cubicBezTo>
                    <a:pt x="4" y="4"/>
                    <a:pt x="4" y="1"/>
                    <a:pt x="1" y="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736" name="Google Shape;3736;p104"/>
            <p:cNvSpPr/>
            <p:nvPr/>
          </p:nvSpPr>
          <p:spPr>
            <a:xfrm>
              <a:off x="2066782" y="1954673"/>
              <a:ext cx="14" cy="68"/>
            </a:xfrm>
            <a:custGeom>
              <a:avLst/>
              <a:gdLst/>
              <a:ahLst/>
              <a:cxnLst/>
              <a:rect l="l" t="t" r="r" b="b"/>
              <a:pathLst>
                <a:path w="1" h="5" extrusionOk="0">
                  <a:moveTo>
                    <a:pt x="1" y="1"/>
                  </a:moveTo>
                  <a:lnTo>
                    <a:pt x="1" y="4"/>
                  </a:lnTo>
                  <a:cubicBezTo>
                    <a:pt x="1" y="1"/>
                    <a:pt x="1" y="1"/>
                    <a:pt x="1" y="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737" name="Google Shape;3737;p104"/>
            <p:cNvSpPr/>
            <p:nvPr/>
          </p:nvSpPr>
          <p:spPr>
            <a:xfrm>
              <a:off x="2066836" y="1954538"/>
              <a:ext cx="14" cy="109"/>
            </a:xfrm>
            <a:custGeom>
              <a:avLst/>
              <a:gdLst/>
              <a:ahLst/>
              <a:cxnLst/>
              <a:rect l="l" t="t" r="r" b="b"/>
              <a:pathLst>
                <a:path w="1" h="8" extrusionOk="0">
                  <a:moveTo>
                    <a:pt x="0" y="0"/>
                  </a:moveTo>
                  <a:cubicBezTo>
                    <a:pt x="0" y="4"/>
                    <a:pt x="0" y="4"/>
                    <a:pt x="0" y="7"/>
                  </a:cubicBezTo>
                  <a:cubicBezTo>
                    <a:pt x="0" y="4"/>
                    <a:pt x="0" y="4"/>
                    <a:pt x="0"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738" name="Google Shape;3738;p104"/>
            <p:cNvSpPr/>
            <p:nvPr/>
          </p:nvSpPr>
          <p:spPr>
            <a:xfrm>
              <a:off x="2066591" y="1954864"/>
              <a:ext cx="109" cy="68"/>
            </a:xfrm>
            <a:custGeom>
              <a:avLst/>
              <a:gdLst/>
              <a:ahLst/>
              <a:cxnLst/>
              <a:rect l="l" t="t" r="r" b="b"/>
              <a:pathLst>
                <a:path w="8" h="5" extrusionOk="0">
                  <a:moveTo>
                    <a:pt x="8" y="1"/>
                  </a:moveTo>
                  <a:lnTo>
                    <a:pt x="1" y="4"/>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739" name="Google Shape;3739;p104"/>
            <p:cNvSpPr/>
            <p:nvPr/>
          </p:nvSpPr>
          <p:spPr>
            <a:xfrm>
              <a:off x="2066401" y="1954959"/>
              <a:ext cx="163" cy="109"/>
            </a:xfrm>
            <a:custGeom>
              <a:avLst/>
              <a:gdLst/>
              <a:ahLst/>
              <a:cxnLst/>
              <a:rect l="l" t="t" r="r" b="b"/>
              <a:pathLst>
                <a:path w="12" h="8" extrusionOk="0">
                  <a:moveTo>
                    <a:pt x="11" y="1"/>
                  </a:moveTo>
                  <a:lnTo>
                    <a:pt x="1" y="8"/>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740" name="Google Shape;3740;p104"/>
            <p:cNvSpPr/>
            <p:nvPr/>
          </p:nvSpPr>
          <p:spPr>
            <a:xfrm>
              <a:off x="2066687" y="1954768"/>
              <a:ext cx="68" cy="68"/>
            </a:xfrm>
            <a:custGeom>
              <a:avLst/>
              <a:gdLst/>
              <a:ahLst/>
              <a:cxnLst/>
              <a:rect l="l" t="t" r="r" b="b"/>
              <a:pathLst>
                <a:path w="5" h="5" extrusionOk="0">
                  <a:moveTo>
                    <a:pt x="4" y="1"/>
                  </a:moveTo>
                  <a:lnTo>
                    <a:pt x="1" y="4"/>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741" name="Google Shape;3741;p104"/>
            <p:cNvSpPr/>
            <p:nvPr/>
          </p:nvSpPr>
          <p:spPr>
            <a:xfrm>
              <a:off x="2055037" y="1960145"/>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742" name="Google Shape;3742;p104"/>
            <p:cNvSpPr/>
            <p:nvPr/>
          </p:nvSpPr>
          <p:spPr>
            <a:xfrm>
              <a:off x="2066171" y="1955108"/>
              <a:ext cx="204" cy="149"/>
            </a:xfrm>
            <a:custGeom>
              <a:avLst/>
              <a:gdLst/>
              <a:ahLst/>
              <a:cxnLst/>
              <a:rect l="l" t="t" r="r" b="b"/>
              <a:pathLst>
                <a:path w="15" h="11" extrusionOk="0">
                  <a:moveTo>
                    <a:pt x="14" y="0"/>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743" name="Google Shape;3743;p104"/>
            <p:cNvSpPr/>
            <p:nvPr/>
          </p:nvSpPr>
          <p:spPr>
            <a:xfrm>
              <a:off x="2051439" y="1959711"/>
              <a:ext cx="2811" cy="489"/>
            </a:xfrm>
            <a:custGeom>
              <a:avLst/>
              <a:gdLst/>
              <a:ahLst/>
              <a:cxnLst/>
              <a:rect l="l" t="t" r="r" b="b"/>
              <a:pathLst>
                <a:path w="207" h="36" extrusionOk="0">
                  <a:moveTo>
                    <a:pt x="0" y="1"/>
                  </a:moveTo>
                  <a:lnTo>
                    <a:pt x="0" y="1"/>
                  </a:lnTo>
                  <a:cubicBezTo>
                    <a:pt x="59" y="13"/>
                    <a:pt x="115" y="26"/>
                    <a:pt x="164" y="31"/>
                  </a:cubicBezTo>
                  <a:lnTo>
                    <a:pt x="164" y="31"/>
                  </a:lnTo>
                  <a:cubicBezTo>
                    <a:pt x="108" y="23"/>
                    <a:pt x="53" y="12"/>
                    <a:pt x="0" y="1"/>
                  </a:cubicBezTo>
                  <a:close/>
                  <a:moveTo>
                    <a:pt x="164" y="31"/>
                  </a:moveTo>
                  <a:cubicBezTo>
                    <a:pt x="178" y="33"/>
                    <a:pt x="192" y="34"/>
                    <a:pt x="206" y="36"/>
                  </a:cubicBezTo>
                  <a:lnTo>
                    <a:pt x="206" y="32"/>
                  </a:lnTo>
                  <a:lnTo>
                    <a:pt x="182" y="32"/>
                  </a:lnTo>
                  <a:cubicBezTo>
                    <a:pt x="176" y="32"/>
                    <a:pt x="170" y="31"/>
                    <a:pt x="164" y="3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744" name="Google Shape;3744;p104"/>
            <p:cNvSpPr/>
            <p:nvPr/>
          </p:nvSpPr>
          <p:spPr>
            <a:xfrm>
              <a:off x="2046633" y="1959575"/>
              <a:ext cx="339" cy="244"/>
            </a:xfrm>
            <a:custGeom>
              <a:avLst/>
              <a:gdLst/>
              <a:ahLst/>
              <a:cxnLst/>
              <a:rect l="l" t="t" r="r" b="b"/>
              <a:pathLst>
                <a:path w="25" h="18" extrusionOk="0">
                  <a:moveTo>
                    <a:pt x="25" y="0"/>
                  </a:moveTo>
                  <a:lnTo>
                    <a:pt x="0" y="11"/>
                  </a:lnTo>
                  <a:lnTo>
                    <a:pt x="0" y="18"/>
                  </a:lnTo>
                  <a:cubicBezTo>
                    <a:pt x="7" y="11"/>
                    <a:pt x="14" y="7"/>
                    <a:pt x="25"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745" name="Google Shape;3745;p104"/>
            <p:cNvSpPr/>
            <p:nvPr/>
          </p:nvSpPr>
          <p:spPr>
            <a:xfrm>
              <a:off x="2048343" y="1959195"/>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746" name="Google Shape;3746;p104"/>
            <p:cNvSpPr/>
            <p:nvPr/>
          </p:nvSpPr>
          <p:spPr>
            <a:xfrm>
              <a:off x="2053856" y="1960186"/>
              <a:ext cx="625" cy="14"/>
            </a:xfrm>
            <a:custGeom>
              <a:avLst/>
              <a:gdLst/>
              <a:ahLst/>
              <a:cxnLst/>
              <a:rect l="l" t="t" r="r" b="b"/>
              <a:pathLst>
                <a:path w="46" h="1" extrusionOk="0">
                  <a:moveTo>
                    <a:pt x="25" y="1"/>
                  </a:moveTo>
                  <a:lnTo>
                    <a:pt x="0" y="1"/>
                  </a:lnTo>
                  <a:cubicBezTo>
                    <a:pt x="14" y="1"/>
                    <a:pt x="32" y="1"/>
                    <a:pt x="46" y="1"/>
                  </a:cubicBezTo>
                  <a:lnTo>
                    <a:pt x="25"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747" name="Google Shape;3747;p104"/>
            <p:cNvSpPr/>
            <p:nvPr/>
          </p:nvSpPr>
          <p:spPr>
            <a:xfrm>
              <a:off x="2011263" y="1967273"/>
              <a:ext cx="1208" cy="1385"/>
            </a:xfrm>
            <a:custGeom>
              <a:avLst/>
              <a:gdLst/>
              <a:ahLst/>
              <a:cxnLst/>
              <a:rect l="l" t="t" r="r" b="b"/>
              <a:pathLst>
                <a:path w="89" h="102" extrusionOk="0">
                  <a:moveTo>
                    <a:pt x="88" y="102"/>
                  </a:moveTo>
                  <a:cubicBezTo>
                    <a:pt x="57" y="74"/>
                    <a:pt x="29" y="39"/>
                    <a:pt x="4" y="4"/>
                  </a:cubicBezTo>
                  <a:lnTo>
                    <a:pt x="1" y="0"/>
                  </a:lnTo>
                  <a:lnTo>
                    <a:pt x="4" y="4"/>
                  </a:lnTo>
                  <a:cubicBezTo>
                    <a:pt x="29" y="39"/>
                    <a:pt x="57" y="74"/>
                    <a:pt x="88" y="102"/>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748" name="Google Shape;3748;p104"/>
            <p:cNvSpPr/>
            <p:nvPr/>
          </p:nvSpPr>
          <p:spPr>
            <a:xfrm>
              <a:off x="2008086" y="1964748"/>
              <a:ext cx="2770" cy="1914"/>
            </a:xfrm>
            <a:custGeom>
              <a:avLst/>
              <a:gdLst/>
              <a:ahLst/>
              <a:cxnLst/>
              <a:rect l="l" t="t" r="r" b="b"/>
              <a:pathLst>
                <a:path w="204" h="141" extrusionOk="0">
                  <a:moveTo>
                    <a:pt x="203" y="141"/>
                  </a:moveTo>
                  <a:cubicBezTo>
                    <a:pt x="147" y="78"/>
                    <a:pt x="77" y="29"/>
                    <a:pt x="0" y="1"/>
                  </a:cubicBezTo>
                  <a:lnTo>
                    <a:pt x="0" y="1"/>
                  </a:lnTo>
                  <a:cubicBezTo>
                    <a:pt x="77" y="29"/>
                    <a:pt x="147" y="78"/>
                    <a:pt x="203" y="14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749" name="Google Shape;3749;p104"/>
            <p:cNvSpPr/>
            <p:nvPr/>
          </p:nvSpPr>
          <p:spPr>
            <a:xfrm>
              <a:off x="2022818" y="1968074"/>
              <a:ext cx="3720" cy="1059"/>
            </a:xfrm>
            <a:custGeom>
              <a:avLst/>
              <a:gdLst/>
              <a:ahLst/>
              <a:cxnLst/>
              <a:rect l="l" t="t" r="r" b="b"/>
              <a:pathLst>
                <a:path w="274" h="78" extrusionOk="0">
                  <a:moveTo>
                    <a:pt x="0" y="1"/>
                  </a:moveTo>
                  <a:cubicBezTo>
                    <a:pt x="77" y="1"/>
                    <a:pt x="207" y="11"/>
                    <a:pt x="273" y="78"/>
                  </a:cubicBezTo>
                  <a:cubicBezTo>
                    <a:pt x="207" y="11"/>
                    <a:pt x="81" y="1"/>
                    <a:pt x="0" y="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750" name="Google Shape;3750;p104"/>
            <p:cNvSpPr/>
            <p:nvPr/>
          </p:nvSpPr>
          <p:spPr>
            <a:xfrm>
              <a:off x="2026524" y="1969120"/>
              <a:ext cx="679" cy="489"/>
            </a:xfrm>
            <a:custGeom>
              <a:avLst/>
              <a:gdLst/>
              <a:ahLst/>
              <a:cxnLst/>
              <a:rect l="l" t="t" r="r" b="b"/>
              <a:pathLst>
                <a:path w="50" h="36" extrusionOk="0">
                  <a:moveTo>
                    <a:pt x="0" y="1"/>
                  </a:moveTo>
                  <a:cubicBezTo>
                    <a:pt x="14" y="18"/>
                    <a:pt x="32" y="29"/>
                    <a:pt x="49" y="36"/>
                  </a:cubicBezTo>
                  <a:cubicBezTo>
                    <a:pt x="32" y="29"/>
                    <a:pt x="14" y="15"/>
                    <a:pt x="0" y="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751" name="Google Shape;3751;p104"/>
            <p:cNvSpPr/>
            <p:nvPr/>
          </p:nvSpPr>
          <p:spPr>
            <a:xfrm>
              <a:off x="2010842" y="1966703"/>
              <a:ext cx="244" cy="299"/>
            </a:xfrm>
            <a:custGeom>
              <a:avLst/>
              <a:gdLst/>
              <a:ahLst/>
              <a:cxnLst/>
              <a:rect l="l" t="t" r="r" b="b"/>
              <a:pathLst>
                <a:path w="18" h="22" extrusionOk="0">
                  <a:moveTo>
                    <a:pt x="0" y="0"/>
                  </a:moveTo>
                  <a:lnTo>
                    <a:pt x="0" y="0"/>
                  </a:lnTo>
                  <a:cubicBezTo>
                    <a:pt x="7" y="7"/>
                    <a:pt x="11" y="14"/>
                    <a:pt x="18" y="21"/>
                  </a:cubicBezTo>
                  <a:cubicBezTo>
                    <a:pt x="14" y="14"/>
                    <a:pt x="7" y="7"/>
                    <a:pt x="0"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752" name="Google Shape;3752;p104"/>
            <p:cNvSpPr/>
            <p:nvPr/>
          </p:nvSpPr>
          <p:spPr>
            <a:xfrm>
              <a:off x="2045397" y="1961001"/>
              <a:ext cx="149" cy="54"/>
            </a:xfrm>
            <a:custGeom>
              <a:avLst/>
              <a:gdLst/>
              <a:ahLst/>
              <a:cxnLst/>
              <a:rect l="l" t="t" r="r" b="b"/>
              <a:pathLst>
                <a:path w="11" h="4" extrusionOk="0">
                  <a:moveTo>
                    <a:pt x="11"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753" name="Google Shape;3753;p104"/>
            <p:cNvSpPr/>
            <p:nvPr/>
          </p:nvSpPr>
          <p:spPr>
            <a:xfrm>
              <a:off x="2045058" y="1960905"/>
              <a:ext cx="109" cy="14"/>
            </a:xfrm>
            <a:custGeom>
              <a:avLst/>
              <a:gdLst/>
              <a:ahLst/>
              <a:cxnLst/>
              <a:rect l="l" t="t" r="r" b="b"/>
              <a:pathLst>
                <a:path w="8" h="1" extrusionOk="0">
                  <a:moveTo>
                    <a:pt x="8"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754" name="Google Shape;3754;p104"/>
            <p:cNvSpPr/>
            <p:nvPr/>
          </p:nvSpPr>
          <p:spPr>
            <a:xfrm>
              <a:off x="2044677" y="1960810"/>
              <a:ext cx="68" cy="14"/>
            </a:xfrm>
            <a:custGeom>
              <a:avLst/>
              <a:gdLst/>
              <a:ahLst/>
              <a:cxnLst/>
              <a:rect l="l" t="t" r="r" b="b"/>
              <a:pathLst>
                <a:path w="5" h="1" extrusionOk="0">
                  <a:moveTo>
                    <a:pt x="4"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755" name="Google Shape;3755;p104"/>
            <p:cNvSpPr/>
            <p:nvPr/>
          </p:nvSpPr>
          <p:spPr>
            <a:xfrm>
              <a:off x="2027190" y="1968984"/>
              <a:ext cx="244" cy="625"/>
            </a:xfrm>
            <a:custGeom>
              <a:avLst/>
              <a:gdLst/>
              <a:ahLst/>
              <a:cxnLst/>
              <a:rect l="l" t="t" r="r" b="b"/>
              <a:pathLst>
                <a:path w="18" h="46" extrusionOk="0">
                  <a:moveTo>
                    <a:pt x="18" y="0"/>
                  </a:moveTo>
                  <a:cubicBezTo>
                    <a:pt x="18" y="8"/>
                    <a:pt x="16" y="16"/>
                    <a:pt x="13" y="25"/>
                  </a:cubicBezTo>
                  <a:lnTo>
                    <a:pt x="13" y="25"/>
                  </a:lnTo>
                  <a:cubicBezTo>
                    <a:pt x="16" y="17"/>
                    <a:pt x="18" y="9"/>
                    <a:pt x="18" y="0"/>
                  </a:cubicBezTo>
                  <a:close/>
                  <a:moveTo>
                    <a:pt x="13" y="25"/>
                  </a:moveTo>
                  <a:cubicBezTo>
                    <a:pt x="10" y="32"/>
                    <a:pt x="6" y="39"/>
                    <a:pt x="0" y="46"/>
                  </a:cubicBezTo>
                  <a:lnTo>
                    <a:pt x="4" y="46"/>
                  </a:lnTo>
                  <a:cubicBezTo>
                    <a:pt x="7" y="39"/>
                    <a:pt x="11" y="32"/>
                    <a:pt x="13" y="25"/>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756" name="Google Shape;3756;p104"/>
            <p:cNvSpPr/>
            <p:nvPr/>
          </p:nvSpPr>
          <p:spPr>
            <a:xfrm>
              <a:off x="2026280" y="1960023"/>
              <a:ext cx="9287" cy="1086"/>
            </a:xfrm>
            <a:custGeom>
              <a:avLst/>
              <a:gdLst/>
              <a:ahLst/>
              <a:cxnLst/>
              <a:rect l="l" t="t" r="r" b="b"/>
              <a:pathLst>
                <a:path w="684" h="80" extrusionOk="0">
                  <a:moveTo>
                    <a:pt x="517" y="0"/>
                  </a:moveTo>
                  <a:cubicBezTo>
                    <a:pt x="517" y="0"/>
                    <a:pt x="517" y="0"/>
                    <a:pt x="516" y="0"/>
                  </a:cubicBezTo>
                  <a:lnTo>
                    <a:pt x="516" y="0"/>
                  </a:lnTo>
                  <a:cubicBezTo>
                    <a:pt x="567" y="0"/>
                    <a:pt x="622" y="1"/>
                    <a:pt x="684" y="2"/>
                  </a:cubicBezTo>
                  <a:cubicBezTo>
                    <a:pt x="623" y="1"/>
                    <a:pt x="567" y="0"/>
                    <a:pt x="517" y="0"/>
                  </a:cubicBezTo>
                  <a:close/>
                  <a:moveTo>
                    <a:pt x="516" y="0"/>
                  </a:moveTo>
                  <a:cubicBezTo>
                    <a:pt x="73" y="0"/>
                    <a:pt x="23" y="51"/>
                    <a:pt x="1" y="79"/>
                  </a:cubicBezTo>
                  <a:cubicBezTo>
                    <a:pt x="23" y="51"/>
                    <a:pt x="76" y="0"/>
                    <a:pt x="516" y="0"/>
                  </a:cubicBezTo>
                  <a:lnTo>
                    <a:pt x="516" y="0"/>
                  </a:lnTo>
                  <a:cubicBezTo>
                    <a:pt x="516" y="0"/>
                    <a:pt x="516" y="0"/>
                    <a:pt x="516"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757" name="Google Shape;3757;p104"/>
            <p:cNvSpPr/>
            <p:nvPr/>
          </p:nvSpPr>
          <p:spPr>
            <a:xfrm>
              <a:off x="2047583" y="1958950"/>
              <a:ext cx="774" cy="353"/>
            </a:xfrm>
            <a:custGeom>
              <a:avLst/>
              <a:gdLst/>
              <a:ahLst/>
              <a:cxnLst/>
              <a:rect l="l" t="t" r="r" b="b"/>
              <a:pathLst>
                <a:path w="57" h="26" extrusionOk="0">
                  <a:moveTo>
                    <a:pt x="56" y="1"/>
                  </a:moveTo>
                  <a:lnTo>
                    <a:pt x="0" y="25"/>
                  </a:lnTo>
                  <a:cubicBezTo>
                    <a:pt x="14" y="22"/>
                    <a:pt x="28" y="22"/>
                    <a:pt x="39" y="18"/>
                  </a:cubicBezTo>
                  <a:lnTo>
                    <a:pt x="56" y="18"/>
                  </a:lnTo>
                  <a:lnTo>
                    <a:pt x="56"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758" name="Google Shape;3758;p104"/>
            <p:cNvSpPr/>
            <p:nvPr/>
          </p:nvSpPr>
          <p:spPr>
            <a:xfrm>
              <a:off x="2044257" y="1960715"/>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759" name="Google Shape;3759;p104"/>
            <p:cNvSpPr/>
            <p:nvPr/>
          </p:nvSpPr>
          <p:spPr>
            <a:xfrm>
              <a:off x="2048153" y="1959195"/>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760" name="Google Shape;3760;p104"/>
            <p:cNvSpPr/>
            <p:nvPr/>
          </p:nvSpPr>
          <p:spPr>
            <a:xfrm>
              <a:off x="2027190" y="1969595"/>
              <a:ext cx="14" cy="14"/>
            </a:xfrm>
            <a:custGeom>
              <a:avLst/>
              <a:gdLst/>
              <a:ahLst/>
              <a:cxnLst/>
              <a:rect l="l" t="t" r="r" b="b"/>
              <a:pathLst>
                <a:path w="1" h="1" extrusionOk="0">
                  <a:moveTo>
                    <a:pt x="0"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761" name="Google Shape;3761;p104"/>
            <p:cNvSpPr/>
            <p:nvPr/>
          </p:nvSpPr>
          <p:spPr>
            <a:xfrm>
              <a:off x="2043971" y="1930954"/>
              <a:ext cx="869" cy="258"/>
            </a:xfrm>
            <a:custGeom>
              <a:avLst/>
              <a:gdLst/>
              <a:ahLst/>
              <a:cxnLst/>
              <a:rect l="l" t="t" r="r" b="b"/>
              <a:pathLst>
                <a:path w="64" h="19" extrusionOk="0">
                  <a:moveTo>
                    <a:pt x="0" y="18"/>
                  </a:moveTo>
                  <a:cubicBezTo>
                    <a:pt x="32" y="4"/>
                    <a:pt x="53" y="1"/>
                    <a:pt x="63" y="11"/>
                  </a:cubicBezTo>
                  <a:lnTo>
                    <a:pt x="63" y="11"/>
                  </a:lnTo>
                  <a:cubicBezTo>
                    <a:pt x="53" y="1"/>
                    <a:pt x="32" y="4"/>
                    <a:pt x="0" y="18"/>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762" name="Google Shape;3762;p104"/>
            <p:cNvSpPr/>
            <p:nvPr/>
          </p:nvSpPr>
          <p:spPr>
            <a:xfrm>
              <a:off x="2009036" y="1961897"/>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763" name="Google Shape;3763;p104"/>
            <p:cNvSpPr/>
            <p:nvPr/>
          </p:nvSpPr>
          <p:spPr>
            <a:xfrm>
              <a:off x="2008276" y="1963947"/>
              <a:ext cx="54" cy="109"/>
            </a:xfrm>
            <a:custGeom>
              <a:avLst/>
              <a:gdLst/>
              <a:ahLst/>
              <a:cxnLst/>
              <a:rect l="l" t="t" r="r" b="b"/>
              <a:pathLst>
                <a:path w="4" h="8" extrusionOk="0">
                  <a:moveTo>
                    <a:pt x="4"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764" name="Google Shape;3764;p104"/>
            <p:cNvSpPr/>
            <p:nvPr/>
          </p:nvSpPr>
          <p:spPr>
            <a:xfrm>
              <a:off x="2008561" y="1963187"/>
              <a:ext cx="54" cy="109"/>
            </a:xfrm>
            <a:custGeom>
              <a:avLst/>
              <a:gdLst/>
              <a:ahLst/>
              <a:cxnLst/>
              <a:rect l="l" t="t" r="r" b="b"/>
              <a:pathLst>
                <a:path w="4" h="8" extrusionOk="0">
                  <a:moveTo>
                    <a:pt x="4"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765" name="Google Shape;3765;p104"/>
            <p:cNvSpPr/>
            <p:nvPr/>
          </p:nvSpPr>
          <p:spPr>
            <a:xfrm>
              <a:off x="2028805" y="1937607"/>
              <a:ext cx="964" cy="163"/>
            </a:xfrm>
            <a:custGeom>
              <a:avLst/>
              <a:gdLst/>
              <a:ahLst/>
              <a:cxnLst/>
              <a:rect l="l" t="t" r="r" b="b"/>
              <a:pathLst>
                <a:path w="71" h="12" extrusionOk="0">
                  <a:moveTo>
                    <a:pt x="0" y="11"/>
                  </a:moveTo>
                  <a:cubicBezTo>
                    <a:pt x="21" y="1"/>
                    <a:pt x="46" y="1"/>
                    <a:pt x="70" y="8"/>
                  </a:cubicBezTo>
                  <a:cubicBezTo>
                    <a:pt x="46" y="1"/>
                    <a:pt x="21" y="1"/>
                    <a:pt x="0" y="1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766" name="Google Shape;3766;p104"/>
            <p:cNvSpPr/>
            <p:nvPr/>
          </p:nvSpPr>
          <p:spPr>
            <a:xfrm>
              <a:off x="2008846" y="1962521"/>
              <a:ext cx="14" cy="54"/>
            </a:xfrm>
            <a:custGeom>
              <a:avLst/>
              <a:gdLst/>
              <a:ahLst/>
              <a:cxnLst/>
              <a:rect l="l" t="t" r="r" b="b"/>
              <a:pathLst>
                <a:path w="1" h="4" extrusionOk="0">
                  <a:moveTo>
                    <a:pt x="0" y="0"/>
                  </a:moveTo>
                  <a:lnTo>
                    <a:pt x="0" y="4"/>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767" name="Google Shape;3767;p104"/>
            <p:cNvSpPr/>
            <p:nvPr/>
          </p:nvSpPr>
          <p:spPr>
            <a:xfrm>
              <a:off x="2009647" y="1960335"/>
              <a:ext cx="14" cy="54"/>
            </a:xfrm>
            <a:custGeom>
              <a:avLst/>
              <a:gdLst/>
              <a:ahLst/>
              <a:cxnLst/>
              <a:rect l="l" t="t" r="r" b="b"/>
              <a:pathLst>
                <a:path w="1" h="4" extrusionOk="0">
                  <a:moveTo>
                    <a:pt x="1" y="0"/>
                  </a:moveTo>
                  <a:lnTo>
                    <a:pt x="1" y="4"/>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768" name="Google Shape;3768;p104"/>
            <p:cNvSpPr/>
            <p:nvPr/>
          </p:nvSpPr>
          <p:spPr>
            <a:xfrm>
              <a:off x="2029796" y="1937702"/>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769" name="Google Shape;3769;p104"/>
            <p:cNvSpPr/>
            <p:nvPr/>
          </p:nvSpPr>
          <p:spPr>
            <a:xfrm>
              <a:off x="2009267" y="1961286"/>
              <a:ext cx="14" cy="54"/>
            </a:xfrm>
            <a:custGeom>
              <a:avLst/>
              <a:gdLst/>
              <a:ahLst/>
              <a:cxnLst/>
              <a:rect l="l" t="t" r="r" b="b"/>
              <a:pathLst>
                <a:path w="1" h="4" extrusionOk="0">
                  <a:moveTo>
                    <a:pt x="1" y="0"/>
                  </a:moveTo>
                  <a:lnTo>
                    <a:pt x="1" y="4"/>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770" name="Google Shape;3770;p104"/>
            <p:cNvSpPr/>
            <p:nvPr/>
          </p:nvSpPr>
          <p:spPr>
            <a:xfrm>
              <a:off x="2009457" y="1960756"/>
              <a:ext cx="68" cy="109"/>
            </a:xfrm>
            <a:custGeom>
              <a:avLst/>
              <a:gdLst/>
              <a:ahLst/>
              <a:cxnLst/>
              <a:rect l="l" t="t" r="r" b="b"/>
              <a:pathLst>
                <a:path w="5" h="8" extrusionOk="0">
                  <a:moveTo>
                    <a:pt x="4" y="1"/>
                  </a:moveTo>
                  <a:lnTo>
                    <a:pt x="1" y="8"/>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771" name="Google Shape;3771;p104"/>
            <p:cNvSpPr/>
            <p:nvPr/>
          </p:nvSpPr>
          <p:spPr>
            <a:xfrm>
              <a:off x="2008086" y="1964748"/>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772" name="Google Shape;3772;p104"/>
            <p:cNvSpPr/>
            <p:nvPr/>
          </p:nvSpPr>
          <p:spPr>
            <a:xfrm>
              <a:off x="2008086" y="1964748"/>
              <a:ext cx="14" cy="14"/>
            </a:xfrm>
            <a:custGeom>
              <a:avLst/>
              <a:gdLst/>
              <a:ahLst/>
              <a:cxnLst/>
              <a:rect l="l" t="t" r="r" b="b"/>
              <a:pathLst>
                <a:path w="1" h="1" extrusionOk="0">
                  <a:moveTo>
                    <a:pt x="0"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773" name="Google Shape;3773;p104"/>
            <p:cNvSpPr/>
            <p:nvPr/>
          </p:nvSpPr>
          <p:spPr>
            <a:xfrm>
              <a:off x="2051520" y="1865551"/>
              <a:ext cx="112191" cy="87765"/>
            </a:xfrm>
            <a:custGeom>
              <a:avLst/>
              <a:gdLst/>
              <a:ahLst/>
              <a:cxnLst/>
              <a:rect l="l" t="t" r="r" b="b"/>
              <a:pathLst>
                <a:path w="8263" h="6464" extrusionOk="0">
                  <a:moveTo>
                    <a:pt x="6379" y="1"/>
                  </a:moveTo>
                  <a:lnTo>
                    <a:pt x="4055" y="1450"/>
                  </a:lnTo>
                  <a:lnTo>
                    <a:pt x="3047" y="2262"/>
                  </a:lnTo>
                  <a:lnTo>
                    <a:pt x="3036" y="2266"/>
                  </a:lnTo>
                  <a:cubicBezTo>
                    <a:pt x="3008" y="2276"/>
                    <a:pt x="2374" y="2500"/>
                    <a:pt x="2182" y="2539"/>
                  </a:cubicBezTo>
                  <a:lnTo>
                    <a:pt x="2161" y="2542"/>
                  </a:lnTo>
                  <a:lnTo>
                    <a:pt x="2161" y="2588"/>
                  </a:lnTo>
                  <a:lnTo>
                    <a:pt x="2161" y="2637"/>
                  </a:lnTo>
                  <a:lnTo>
                    <a:pt x="2161" y="2717"/>
                  </a:lnTo>
                  <a:lnTo>
                    <a:pt x="2161" y="2759"/>
                  </a:lnTo>
                  <a:lnTo>
                    <a:pt x="2161" y="2836"/>
                  </a:lnTo>
                  <a:lnTo>
                    <a:pt x="2161" y="2875"/>
                  </a:lnTo>
                  <a:lnTo>
                    <a:pt x="2161" y="2945"/>
                  </a:lnTo>
                  <a:lnTo>
                    <a:pt x="2161" y="2980"/>
                  </a:lnTo>
                  <a:lnTo>
                    <a:pt x="2161" y="3046"/>
                  </a:lnTo>
                  <a:lnTo>
                    <a:pt x="2161" y="3081"/>
                  </a:lnTo>
                  <a:lnTo>
                    <a:pt x="2161" y="3141"/>
                  </a:lnTo>
                  <a:lnTo>
                    <a:pt x="2161" y="3172"/>
                  </a:lnTo>
                  <a:lnTo>
                    <a:pt x="2161" y="3228"/>
                  </a:lnTo>
                  <a:lnTo>
                    <a:pt x="2161" y="3260"/>
                  </a:lnTo>
                  <a:lnTo>
                    <a:pt x="2161" y="3312"/>
                  </a:lnTo>
                  <a:lnTo>
                    <a:pt x="2161" y="3340"/>
                  </a:lnTo>
                  <a:lnTo>
                    <a:pt x="2161" y="3386"/>
                  </a:lnTo>
                  <a:lnTo>
                    <a:pt x="2161" y="3414"/>
                  </a:lnTo>
                  <a:lnTo>
                    <a:pt x="2161" y="3456"/>
                  </a:lnTo>
                  <a:lnTo>
                    <a:pt x="2161" y="3480"/>
                  </a:lnTo>
                  <a:lnTo>
                    <a:pt x="2161" y="3519"/>
                  </a:lnTo>
                  <a:lnTo>
                    <a:pt x="2161" y="3543"/>
                  </a:lnTo>
                  <a:lnTo>
                    <a:pt x="2161" y="3578"/>
                  </a:lnTo>
                  <a:lnTo>
                    <a:pt x="2161" y="3599"/>
                  </a:lnTo>
                  <a:lnTo>
                    <a:pt x="2161" y="3631"/>
                  </a:lnTo>
                  <a:lnTo>
                    <a:pt x="2161" y="3652"/>
                  </a:lnTo>
                  <a:lnTo>
                    <a:pt x="2161" y="3680"/>
                  </a:lnTo>
                  <a:lnTo>
                    <a:pt x="2161" y="3697"/>
                  </a:lnTo>
                  <a:lnTo>
                    <a:pt x="2161" y="3722"/>
                  </a:lnTo>
                  <a:lnTo>
                    <a:pt x="2161" y="3739"/>
                  </a:lnTo>
                  <a:lnTo>
                    <a:pt x="2161" y="3764"/>
                  </a:lnTo>
                  <a:lnTo>
                    <a:pt x="2161" y="3778"/>
                  </a:lnTo>
                  <a:lnTo>
                    <a:pt x="2161" y="3799"/>
                  </a:lnTo>
                  <a:lnTo>
                    <a:pt x="2161" y="3809"/>
                  </a:lnTo>
                  <a:lnTo>
                    <a:pt x="2161" y="3830"/>
                  </a:lnTo>
                  <a:lnTo>
                    <a:pt x="2161" y="3841"/>
                  </a:lnTo>
                  <a:lnTo>
                    <a:pt x="2161" y="3855"/>
                  </a:lnTo>
                  <a:lnTo>
                    <a:pt x="2161" y="3865"/>
                  </a:lnTo>
                  <a:lnTo>
                    <a:pt x="2161" y="3879"/>
                  </a:lnTo>
                  <a:lnTo>
                    <a:pt x="2161" y="3890"/>
                  </a:lnTo>
                  <a:lnTo>
                    <a:pt x="2161" y="3900"/>
                  </a:lnTo>
                  <a:lnTo>
                    <a:pt x="2161" y="3911"/>
                  </a:lnTo>
                  <a:lnTo>
                    <a:pt x="2161" y="3918"/>
                  </a:lnTo>
                  <a:lnTo>
                    <a:pt x="2161" y="3925"/>
                  </a:lnTo>
                  <a:lnTo>
                    <a:pt x="2161" y="3935"/>
                  </a:lnTo>
                  <a:lnTo>
                    <a:pt x="2161" y="3942"/>
                  </a:lnTo>
                  <a:lnTo>
                    <a:pt x="2161" y="3946"/>
                  </a:lnTo>
                  <a:lnTo>
                    <a:pt x="2161" y="3953"/>
                  </a:lnTo>
                  <a:lnTo>
                    <a:pt x="2161" y="3957"/>
                  </a:lnTo>
                  <a:lnTo>
                    <a:pt x="2161" y="3964"/>
                  </a:lnTo>
                  <a:lnTo>
                    <a:pt x="2161" y="3967"/>
                  </a:lnTo>
                  <a:lnTo>
                    <a:pt x="2161" y="3971"/>
                  </a:lnTo>
                  <a:lnTo>
                    <a:pt x="2161" y="3974"/>
                  </a:lnTo>
                  <a:lnTo>
                    <a:pt x="2161" y="3978"/>
                  </a:lnTo>
                  <a:lnTo>
                    <a:pt x="2161" y="3981"/>
                  </a:lnTo>
                  <a:lnTo>
                    <a:pt x="2161" y="3985"/>
                  </a:lnTo>
                  <a:lnTo>
                    <a:pt x="2157" y="3992"/>
                  </a:lnTo>
                  <a:cubicBezTo>
                    <a:pt x="2126" y="4044"/>
                    <a:pt x="2105" y="4100"/>
                    <a:pt x="2087" y="4160"/>
                  </a:cubicBezTo>
                  <a:cubicBezTo>
                    <a:pt x="2056" y="4261"/>
                    <a:pt x="2028" y="4345"/>
                    <a:pt x="1986" y="4387"/>
                  </a:cubicBezTo>
                  <a:cubicBezTo>
                    <a:pt x="1972" y="4405"/>
                    <a:pt x="1958" y="4419"/>
                    <a:pt x="1944" y="4436"/>
                  </a:cubicBezTo>
                  <a:cubicBezTo>
                    <a:pt x="1884" y="4517"/>
                    <a:pt x="1783" y="4650"/>
                    <a:pt x="1597" y="4650"/>
                  </a:cubicBezTo>
                  <a:cubicBezTo>
                    <a:pt x="1489" y="4657"/>
                    <a:pt x="1380" y="4667"/>
                    <a:pt x="1272" y="4688"/>
                  </a:cubicBezTo>
                  <a:cubicBezTo>
                    <a:pt x="1128" y="4713"/>
                    <a:pt x="985" y="4730"/>
                    <a:pt x="841" y="4737"/>
                  </a:cubicBezTo>
                  <a:cubicBezTo>
                    <a:pt x="803" y="4737"/>
                    <a:pt x="768" y="4737"/>
                    <a:pt x="733" y="4730"/>
                  </a:cubicBezTo>
                  <a:cubicBezTo>
                    <a:pt x="717" y="4728"/>
                    <a:pt x="701" y="4726"/>
                    <a:pt x="686" y="4726"/>
                  </a:cubicBezTo>
                  <a:cubicBezTo>
                    <a:pt x="579" y="4726"/>
                    <a:pt x="484" y="4785"/>
                    <a:pt x="410" y="4828"/>
                  </a:cubicBezTo>
                  <a:cubicBezTo>
                    <a:pt x="386" y="4842"/>
                    <a:pt x="358" y="4860"/>
                    <a:pt x="330" y="4870"/>
                  </a:cubicBezTo>
                  <a:lnTo>
                    <a:pt x="312" y="4877"/>
                  </a:lnTo>
                  <a:cubicBezTo>
                    <a:pt x="249" y="4891"/>
                    <a:pt x="186" y="4898"/>
                    <a:pt x="127" y="4898"/>
                  </a:cubicBezTo>
                  <a:cubicBezTo>
                    <a:pt x="88" y="4898"/>
                    <a:pt x="46" y="4902"/>
                    <a:pt x="8" y="4902"/>
                  </a:cubicBezTo>
                  <a:lnTo>
                    <a:pt x="8" y="4905"/>
                  </a:lnTo>
                  <a:cubicBezTo>
                    <a:pt x="8" y="4916"/>
                    <a:pt x="4" y="4930"/>
                    <a:pt x="4" y="4940"/>
                  </a:cubicBezTo>
                  <a:lnTo>
                    <a:pt x="4" y="4947"/>
                  </a:lnTo>
                  <a:cubicBezTo>
                    <a:pt x="4" y="4958"/>
                    <a:pt x="4" y="4968"/>
                    <a:pt x="1" y="4975"/>
                  </a:cubicBezTo>
                  <a:lnTo>
                    <a:pt x="1" y="4982"/>
                  </a:lnTo>
                  <a:lnTo>
                    <a:pt x="1" y="5007"/>
                  </a:lnTo>
                  <a:lnTo>
                    <a:pt x="1" y="5010"/>
                  </a:lnTo>
                  <a:lnTo>
                    <a:pt x="1" y="5031"/>
                  </a:lnTo>
                  <a:lnTo>
                    <a:pt x="1" y="5049"/>
                  </a:lnTo>
                  <a:lnTo>
                    <a:pt x="1" y="5052"/>
                  </a:lnTo>
                  <a:lnTo>
                    <a:pt x="1" y="5063"/>
                  </a:lnTo>
                  <a:lnTo>
                    <a:pt x="1" y="5066"/>
                  </a:lnTo>
                  <a:lnTo>
                    <a:pt x="1" y="5073"/>
                  </a:lnTo>
                  <a:lnTo>
                    <a:pt x="1" y="5080"/>
                  </a:lnTo>
                  <a:cubicBezTo>
                    <a:pt x="39" y="5122"/>
                    <a:pt x="67" y="5171"/>
                    <a:pt x="85" y="5227"/>
                  </a:cubicBezTo>
                  <a:cubicBezTo>
                    <a:pt x="109" y="5287"/>
                    <a:pt x="137" y="5360"/>
                    <a:pt x="176" y="5388"/>
                  </a:cubicBezTo>
                  <a:lnTo>
                    <a:pt x="197" y="5406"/>
                  </a:lnTo>
                  <a:cubicBezTo>
                    <a:pt x="305" y="5486"/>
                    <a:pt x="456" y="5598"/>
                    <a:pt x="456" y="5735"/>
                  </a:cubicBezTo>
                  <a:cubicBezTo>
                    <a:pt x="456" y="5798"/>
                    <a:pt x="459" y="5875"/>
                    <a:pt x="487" y="5875"/>
                  </a:cubicBezTo>
                  <a:cubicBezTo>
                    <a:pt x="564" y="5875"/>
                    <a:pt x="610" y="5938"/>
                    <a:pt x="649" y="5990"/>
                  </a:cubicBezTo>
                  <a:cubicBezTo>
                    <a:pt x="670" y="6025"/>
                    <a:pt x="694" y="6054"/>
                    <a:pt x="729" y="6071"/>
                  </a:cubicBezTo>
                  <a:cubicBezTo>
                    <a:pt x="736" y="6074"/>
                    <a:pt x="745" y="6076"/>
                    <a:pt x="755" y="6076"/>
                  </a:cubicBezTo>
                  <a:cubicBezTo>
                    <a:pt x="790" y="6076"/>
                    <a:pt x="837" y="6060"/>
                    <a:pt x="869" y="6047"/>
                  </a:cubicBezTo>
                  <a:cubicBezTo>
                    <a:pt x="900" y="6036"/>
                    <a:pt x="934" y="6025"/>
                    <a:pt x="965" y="6025"/>
                  </a:cubicBezTo>
                  <a:cubicBezTo>
                    <a:pt x="993" y="6025"/>
                    <a:pt x="1019" y="6034"/>
                    <a:pt x="1037" y="6061"/>
                  </a:cubicBezTo>
                  <a:cubicBezTo>
                    <a:pt x="1058" y="6092"/>
                    <a:pt x="1058" y="6138"/>
                    <a:pt x="1058" y="6225"/>
                  </a:cubicBezTo>
                  <a:cubicBezTo>
                    <a:pt x="1058" y="6260"/>
                    <a:pt x="1058" y="6309"/>
                    <a:pt x="1062" y="6341"/>
                  </a:cubicBezTo>
                  <a:lnTo>
                    <a:pt x="1086" y="6344"/>
                  </a:lnTo>
                  <a:lnTo>
                    <a:pt x="1093" y="6344"/>
                  </a:lnTo>
                  <a:lnTo>
                    <a:pt x="1111" y="6351"/>
                  </a:lnTo>
                  <a:lnTo>
                    <a:pt x="1121" y="6355"/>
                  </a:lnTo>
                  <a:lnTo>
                    <a:pt x="1142" y="6362"/>
                  </a:lnTo>
                  <a:lnTo>
                    <a:pt x="1153" y="6365"/>
                  </a:lnTo>
                  <a:lnTo>
                    <a:pt x="1170" y="6372"/>
                  </a:lnTo>
                  <a:lnTo>
                    <a:pt x="1174" y="6372"/>
                  </a:lnTo>
                  <a:lnTo>
                    <a:pt x="1174" y="6365"/>
                  </a:lnTo>
                  <a:cubicBezTo>
                    <a:pt x="1174" y="6362"/>
                    <a:pt x="1177" y="6351"/>
                    <a:pt x="1177" y="6344"/>
                  </a:cubicBezTo>
                  <a:cubicBezTo>
                    <a:pt x="1181" y="6341"/>
                    <a:pt x="1184" y="6330"/>
                    <a:pt x="1184" y="6323"/>
                  </a:cubicBezTo>
                  <a:cubicBezTo>
                    <a:pt x="1188" y="6316"/>
                    <a:pt x="1188" y="6313"/>
                    <a:pt x="1191" y="6309"/>
                  </a:cubicBezTo>
                  <a:cubicBezTo>
                    <a:pt x="1191" y="6306"/>
                    <a:pt x="1198" y="6292"/>
                    <a:pt x="1202" y="6285"/>
                  </a:cubicBezTo>
                  <a:cubicBezTo>
                    <a:pt x="1205" y="6278"/>
                    <a:pt x="1209" y="6274"/>
                    <a:pt x="1209" y="6271"/>
                  </a:cubicBezTo>
                  <a:cubicBezTo>
                    <a:pt x="1212" y="6264"/>
                    <a:pt x="1216" y="6257"/>
                    <a:pt x="1223" y="6253"/>
                  </a:cubicBezTo>
                  <a:cubicBezTo>
                    <a:pt x="1230" y="6243"/>
                    <a:pt x="1237" y="6232"/>
                    <a:pt x="1247" y="6225"/>
                  </a:cubicBezTo>
                  <a:cubicBezTo>
                    <a:pt x="1254" y="6218"/>
                    <a:pt x="1261" y="6211"/>
                    <a:pt x="1272" y="6204"/>
                  </a:cubicBezTo>
                  <a:lnTo>
                    <a:pt x="1279" y="6201"/>
                  </a:lnTo>
                  <a:cubicBezTo>
                    <a:pt x="1286" y="6194"/>
                    <a:pt x="1293" y="6190"/>
                    <a:pt x="1303" y="6187"/>
                  </a:cubicBezTo>
                  <a:lnTo>
                    <a:pt x="1307" y="6187"/>
                  </a:lnTo>
                  <a:cubicBezTo>
                    <a:pt x="1317" y="6180"/>
                    <a:pt x="1328" y="6180"/>
                    <a:pt x="1342" y="6176"/>
                  </a:cubicBezTo>
                  <a:lnTo>
                    <a:pt x="1345" y="6176"/>
                  </a:lnTo>
                  <a:cubicBezTo>
                    <a:pt x="1356" y="6176"/>
                    <a:pt x="1363" y="6173"/>
                    <a:pt x="1373" y="6173"/>
                  </a:cubicBezTo>
                  <a:lnTo>
                    <a:pt x="1415" y="6173"/>
                  </a:lnTo>
                  <a:cubicBezTo>
                    <a:pt x="1426" y="6176"/>
                    <a:pt x="1440" y="6176"/>
                    <a:pt x="1450" y="6180"/>
                  </a:cubicBezTo>
                  <a:cubicBezTo>
                    <a:pt x="1513" y="6194"/>
                    <a:pt x="1562" y="6243"/>
                    <a:pt x="1580" y="6306"/>
                  </a:cubicBezTo>
                  <a:cubicBezTo>
                    <a:pt x="1587" y="6323"/>
                    <a:pt x="1590" y="6344"/>
                    <a:pt x="1590" y="6365"/>
                  </a:cubicBezTo>
                  <a:cubicBezTo>
                    <a:pt x="1597" y="6414"/>
                    <a:pt x="1601" y="6428"/>
                    <a:pt x="1636" y="6442"/>
                  </a:cubicBezTo>
                  <a:cubicBezTo>
                    <a:pt x="1646" y="6449"/>
                    <a:pt x="1657" y="6453"/>
                    <a:pt x="1671" y="6456"/>
                  </a:cubicBezTo>
                  <a:cubicBezTo>
                    <a:pt x="1683" y="6461"/>
                    <a:pt x="1696" y="6464"/>
                    <a:pt x="1709" y="6464"/>
                  </a:cubicBezTo>
                  <a:cubicBezTo>
                    <a:pt x="1722" y="6464"/>
                    <a:pt x="1736" y="6461"/>
                    <a:pt x="1748" y="6456"/>
                  </a:cubicBezTo>
                  <a:cubicBezTo>
                    <a:pt x="1762" y="6449"/>
                    <a:pt x="1769" y="6435"/>
                    <a:pt x="1769" y="6421"/>
                  </a:cubicBezTo>
                  <a:cubicBezTo>
                    <a:pt x="1769" y="6418"/>
                    <a:pt x="1769" y="6411"/>
                    <a:pt x="1769" y="6404"/>
                  </a:cubicBezTo>
                  <a:cubicBezTo>
                    <a:pt x="1769" y="6253"/>
                    <a:pt x="2000" y="6004"/>
                    <a:pt x="2028" y="5973"/>
                  </a:cubicBezTo>
                  <a:cubicBezTo>
                    <a:pt x="2038" y="5934"/>
                    <a:pt x="2045" y="5892"/>
                    <a:pt x="2049" y="5850"/>
                  </a:cubicBezTo>
                  <a:cubicBezTo>
                    <a:pt x="2066" y="5731"/>
                    <a:pt x="2087" y="5595"/>
                    <a:pt x="2164" y="5532"/>
                  </a:cubicBezTo>
                  <a:cubicBezTo>
                    <a:pt x="2213" y="5490"/>
                    <a:pt x="2288" y="5475"/>
                    <a:pt x="2374" y="5475"/>
                  </a:cubicBezTo>
                  <a:cubicBezTo>
                    <a:pt x="2461" y="5475"/>
                    <a:pt x="2560" y="5490"/>
                    <a:pt x="2658" y="5507"/>
                  </a:cubicBezTo>
                  <a:lnTo>
                    <a:pt x="2718" y="5514"/>
                  </a:lnTo>
                  <a:cubicBezTo>
                    <a:pt x="2718" y="5515"/>
                    <a:pt x="2719" y="5515"/>
                    <a:pt x="2720" y="5515"/>
                  </a:cubicBezTo>
                  <a:cubicBezTo>
                    <a:pt x="2735" y="5515"/>
                    <a:pt x="2768" y="5485"/>
                    <a:pt x="2795" y="5462"/>
                  </a:cubicBezTo>
                  <a:cubicBezTo>
                    <a:pt x="2832" y="5427"/>
                    <a:pt x="2890" y="5372"/>
                    <a:pt x="2962" y="5372"/>
                  </a:cubicBezTo>
                  <a:cubicBezTo>
                    <a:pt x="2996" y="5372"/>
                    <a:pt x="3034" y="5385"/>
                    <a:pt x="3075" y="5420"/>
                  </a:cubicBezTo>
                  <a:cubicBezTo>
                    <a:pt x="3120" y="5458"/>
                    <a:pt x="3190" y="5462"/>
                    <a:pt x="3264" y="5465"/>
                  </a:cubicBezTo>
                  <a:lnTo>
                    <a:pt x="3295" y="5465"/>
                  </a:lnTo>
                  <a:cubicBezTo>
                    <a:pt x="3320" y="5469"/>
                    <a:pt x="3341" y="5469"/>
                    <a:pt x="3365" y="5472"/>
                  </a:cubicBezTo>
                  <a:cubicBezTo>
                    <a:pt x="3425" y="5479"/>
                    <a:pt x="3477" y="5507"/>
                    <a:pt x="3516" y="5553"/>
                  </a:cubicBezTo>
                  <a:cubicBezTo>
                    <a:pt x="3544" y="5584"/>
                    <a:pt x="3565" y="5619"/>
                    <a:pt x="3586" y="5658"/>
                  </a:cubicBezTo>
                  <a:lnTo>
                    <a:pt x="3603" y="5696"/>
                  </a:lnTo>
                  <a:cubicBezTo>
                    <a:pt x="3631" y="5752"/>
                    <a:pt x="3673" y="5829"/>
                    <a:pt x="3705" y="5840"/>
                  </a:cubicBezTo>
                  <a:cubicBezTo>
                    <a:pt x="3719" y="5840"/>
                    <a:pt x="3729" y="5836"/>
                    <a:pt x="3740" y="5829"/>
                  </a:cubicBezTo>
                  <a:cubicBezTo>
                    <a:pt x="3890" y="5742"/>
                    <a:pt x="4055" y="5696"/>
                    <a:pt x="4226" y="5689"/>
                  </a:cubicBezTo>
                  <a:cubicBezTo>
                    <a:pt x="4296" y="5689"/>
                    <a:pt x="4387" y="5745"/>
                    <a:pt x="4513" y="5829"/>
                  </a:cubicBezTo>
                  <a:cubicBezTo>
                    <a:pt x="4562" y="5864"/>
                    <a:pt x="4615" y="5896"/>
                    <a:pt x="4667" y="5920"/>
                  </a:cubicBezTo>
                  <a:cubicBezTo>
                    <a:pt x="4724" y="5939"/>
                    <a:pt x="4845" y="5953"/>
                    <a:pt x="4955" y="5953"/>
                  </a:cubicBezTo>
                  <a:cubicBezTo>
                    <a:pt x="5037" y="5953"/>
                    <a:pt x="5113" y="5945"/>
                    <a:pt x="5151" y="5924"/>
                  </a:cubicBezTo>
                  <a:cubicBezTo>
                    <a:pt x="5189" y="5899"/>
                    <a:pt x="5228" y="5868"/>
                    <a:pt x="5263" y="5833"/>
                  </a:cubicBezTo>
                  <a:cubicBezTo>
                    <a:pt x="5351" y="5751"/>
                    <a:pt x="5452" y="5657"/>
                    <a:pt x="5568" y="5657"/>
                  </a:cubicBezTo>
                  <a:cubicBezTo>
                    <a:pt x="5576" y="5657"/>
                    <a:pt x="5584" y="5657"/>
                    <a:pt x="5592" y="5658"/>
                  </a:cubicBezTo>
                  <a:cubicBezTo>
                    <a:pt x="5635" y="5660"/>
                    <a:pt x="5680" y="5661"/>
                    <a:pt x="5724" y="5661"/>
                  </a:cubicBezTo>
                  <a:cubicBezTo>
                    <a:pt x="5768" y="5661"/>
                    <a:pt x="5812" y="5660"/>
                    <a:pt x="5854" y="5658"/>
                  </a:cubicBezTo>
                  <a:cubicBezTo>
                    <a:pt x="5941" y="5655"/>
                    <a:pt x="6015" y="5653"/>
                    <a:pt x="6078" y="5653"/>
                  </a:cubicBezTo>
                  <a:cubicBezTo>
                    <a:pt x="6191" y="5653"/>
                    <a:pt x="6268" y="5660"/>
                    <a:pt x="6313" y="5682"/>
                  </a:cubicBezTo>
                  <a:lnTo>
                    <a:pt x="6334" y="5693"/>
                  </a:lnTo>
                  <a:cubicBezTo>
                    <a:pt x="6407" y="5728"/>
                    <a:pt x="6546" y="5800"/>
                    <a:pt x="6656" y="5800"/>
                  </a:cubicBezTo>
                  <a:cubicBezTo>
                    <a:pt x="6677" y="5800"/>
                    <a:pt x="6697" y="5797"/>
                    <a:pt x="6715" y="5791"/>
                  </a:cubicBezTo>
                  <a:cubicBezTo>
                    <a:pt x="6775" y="5773"/>
                    <a:pt x="6842" y="5689"/>
                    <a:pt x="6901" y="5616"/>
                  </a:cubicBezTo>
                  <a:cubicBezTo>
                    <a:pt x="6971" y="5528"/>
                    <a:pt x="7034" y="5455"/>
                    <a:pt x="7108" y="5434"/>
                  </a:cubicBezTo>
                  <a:cubicBezTo>
                    <a:pt x="7118" y="5430"/>
                    <a:pt x="7129" y="5430"/>
                    <a:pt x="7139" y="5427"/>
                  </a:cubicBezTo>
                  <a:lnTo>
                    <a:pt x="7139" y="5427"/>
                  </a:lnTo>
                  <a:lnTo>
                    <a:pt x="7087" y="5434"/>
                  </a:lnTo>
                  <a:lnTo>
                    <a:pt x="7087" y="5392"/>
                  </a:lnTo>
                  <a:lnTo>
                    <a:pt x="7087" y="5378"/>
                  </a:lnTo>
                  <a:lnTo>
                    <a:pt x="7087" y="5332"/>
                  </a:lnTo>
                  <a:cubicBezTo>
                    <a:pt x="7087" y="5168"/>
                    <a:pt x="7108" y="5115"/>
                    <a:pt x="7139" y="5052"/>
                  </a:cubicBezTo>
                  <a:cubicBezTo>
                    <a:pt x="7171" y="4989"/>
                    <a:pt x="7192" y="4923"/>
                    <a:pt x="7202" y="4853"/>
                  </a:cubicBezTo>
                  <a:cubicBezTo>
                    <a:pt x="7251" y="4541"/>
                    <a:pt x="7972" y="3820"/>
                    <a:pt x="8088" y="3718"/>
                  </a:cubicBezTo>
                  <a:cubicBezTo>
                    <a:pt x="8112" y="3648"/>
                    <a:pt x="8137" y="3267"/>
                    <a:pt x="8137" y="2406"/>
                  </a:cubicBezTo>
                  <a:cubicBezTo>
                    <a:pt x="8144" y="2199"/>
                    <a:pt x="8179" y="1996"/>
                    <a:pt x="8238" y="1800"/>
                  </a:cubicBezTo>
                  <a:cubicBezTo>
                    <a:pt x="8263" y="1744"/>
                    <a:pt x="8252" y="1674"/>
                    <a:pt x="8207" y="1625"/>
                  </a:cubicBezTo>
                  <a:cubicBezTo>
                    <a:pt x="8154" y="1562"/>
                    <a:pt x="8130" y="1478"/>
                    <a:pt x="8137" y="1390"/>
                  </a:cubicBezTo>
                  <a:cubicBezTo>
                    <a:pt x="8144" y="1296"/>
                    <a:pt x="8081" y="1205"/>
                    <a:pt x="8018" y="1121"/>
                  </a:cubicBezTo>
                  <a:cubicBezTo>
                    <a:pt x="7962" y="1044"/>
                    <a:pt x="7913" y="974"/>
                    <a:pt x="7913" y="897"/>
                  </a:cubicBezTo>
                  <a:lnTo>
                    <a:pt x="7913" y="876"/>
                  </a:lnTo>
                  <a:lnTo>
                    <a:pt x="7913" y="872"/>
                  </a:lnTo>
                  <a:lnTo>
                    <a:pt x="7913" y="855"/>
                  </a:lnTo>
                  <a:lnTo>
                    <a:pt x="7913" y="844"/>
                  </a:lnTo>
                  <a:lnTo>
                    <a:pt x="7913" y="823"/>
                  </a:lnTo>
                  <a:lnTo>
                    <a:pt x="7913" y="813"/>
                  </a:lnTo>
                  <a:lnTo>
                    <a:pt x="7913" y="785"/>
                  </a:lnTo>
                  <a:lnTo>
                    <a:pt x="7913" y="778"/>
                  </a:lnTo>
                  <a:cubicBezTo>
                    <a:pt x="7906" y="648"/>
                    <a:pt x="7895" y="452"/>
                    <a:pt x="7888" y="302"/>
                  </a:cubicBezTo>
                  <a:lnTo>
                    <a:pt x="7570" y="473"/>
                  </a:lnTo>
                  <a:lnTo>
                    <a:pt x="7489" y="519"/>
                  </a:lnTo>
                  <a:lnTo>
                    <a:pt x="7458" y="463"/>
                  </a:lnTo>
                  <a:cubicBezTo>
                    <a:pt x="7374" y="333"/>
                    <a:pt x="7262" y="225"/>
                    <a:pt x="7132" y="137"/>
                  </a:cubicBezTo>
                  <a:cubicBezTo>
                    <a:pt x="7122" y="130"/>
                    <a:pt x="7111" y="127"/>
                    <a:pt x="7101" y="120"/>
                  </a:cubicBezTo>
                  <a:lnTo>
                    <a:pt x="7083" y="113"/>
                  </a:lnTo>
                  <a:lnTo>
                    <a:pt x="7062" y="102"/>
                  </a:lnTo>
                  <a:lnTo>
                    <a:pt x="7041" y="95"/>
                  </a:lnTo>
                  <a:lnTo>
                    <a:pt x="7024" y="88"/>
                  </a:lnTo>
                  <a:lnTo>
                    <a:pt x="6999" y="78"/>
                  </a:lnTo>
                  <a:lnTo>
                    <a:pt x="6978" y="71"/>
                  </a:lnTo>
                  <a:lnTo>
                    <a:pt x="6954" y="64"/>
                  </a:lnTo>
                  <a:lnTo>
                    <a:pt x="6929" y="60"/>
                  </a:lnTo>
                  <a:lnTo>
                    <a:pt x="6905" y="53"/>
                  </a:lnTo>
                  <a:lnTo>
                    <a:pt x="6877" y="46"/>
                  </a:lnTo>
                  <a:lnTo>
                    <a:pt x="6856" y="43"/>
                  </a:lnTo>
                  <a:lnTo>
                    <a:pt x="6820" y="36"/>
                  </a:lnTo>
                  <a:lnTo>
                    <a:pt x="6803" y="32"/>
                  </a:lnTo>
                  <a:lnTo>
                    <a:pt x="6764" y="25"/>
                  </a:lnTo>
                  <a:lnTo>
                    <a:pt x="6754" y="25"/>
                  </a:lnTo>
                  <a:lnTo>
                    <a:pt x="6708" y="22"/>
                  </a:lnTo>
                  <a:lnTo>
                    <a:pt x="6698" y="22"/>
                  </a:lnTo>
                  <a:lnTo>
                    <a:pt x="6656" y="15"/>
                  </a:lnTo>
                  <a:lnTo>
                    <a:pt x="6642" y="15"/>
                  </a:lnTo>
                  <a:lnTo>
                    <a:pt x="6610" y="11"/>
                  </a:lnTo>
                  <a:lnTo>
                    <a:pt x="6565" y="11"/>
                  </a:lnTo>
                  <a:cubicBezTo>
                    <a:pt x="6502" y="4"/>
                    <a:pt x="6439" y="4"/>
                    <a:pt x="6379" y="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774" name="Google Shape;3774;p104"/>
            <p:cNvSpPr/>
            <p:nvPr/>
          </p:nvSpPr>
          <p:spPr>
            <a:xfrm>
              <a:off x="2080902" y="1899970"/>
              <a:ext cx="244" cy="54"/>
            </a:xfrm>
            <a:custGeom>
              <a:avLst/>
              <a:gdLst/>
              <a:ahLst/>
              <a:cxnLst/>
              <a:rect l="l" t="t" r="r" b="b"/>
              <a:pathLst>
                <a:path w="18" h="4" extrusionOk="0">
                  <a:moveTo>
                    <a:pt x="18" y="0"/>
                  </a:moveTo>
                  <a:lnTo>
                    <a:pt x="0" y="4"/>
                  </a:lnTo>
                  <a:lnTo>
                    <a:pt x="4" y="4"/>
                  </a:lnTo>
                  <a:lnTo>
                    <a:pt x="18"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775" name="Google Shape;3775;p104"/>
            <p:cNvSpPr/>
            <p:nvPr/>
          </p:nvSpPr>
          <p:spPr>
            <a:xfrm>
              <a:off x="2147120" y="1866841"/>
              <a:ext cx="299" cy="109"/>
            </a:xfrm>
            <a:custGeom>
              <a:avLst/>
              <a:gdLst/>
              <a:ahLst/>
              <a:cxnLst/>
              <a:rect l="l" t="t" r="r" b="b"/>
              <a:pathLst>
                <a:path w="22" h="8" extrusionOk="0">
                  <a:moveTo>
                    <a:pt x="0" y="0"/>
                  </a:moveTo>
                  <a:lnTo>
                    <a:pt x="21" y="7"/>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776" name="Google Shape;3776;p104"/>
            <p:cNvSpPr/>
            <p:nvPr/>
          </p:nvSpPr>
          <p:spPr>
            <a:xfrm>
              <a:off x="2138131" y="1865510"/>
              <a:ext cx="2525" cy="149"/>
            </a:xfrm>
            <a:custGeom>
              <a:avLst/>
              <a:gdLst/>
              <a:ahLst/>
              <a:cxnLst/>
              <a:rect l="l" t="t" r="r" b="b"/>
              <a:pathLst>
                <a:path w="186" h="11" extrusionOk="0">
                  <a:moveTo>
                    <a:pt x="0" y="0"/>
                  </a:moveTo>
                  <a:cubicBezTo>
                    <a:pt x="46" y="0"/>
                    <a:pt x="112" y="4"/>
                    <a:pt x="186" y="11"/>
                  </a:cubicBezTo>
                  <a:cubicBezTo>
                    <a:pt x="119" y="4"/>
                    <a:pt x="56" y="0"/>
                    <a:pt x="0"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777" name="Google Shape;3777;p104"/>
            <p:cNvSpPr/>
            <p:nvPr/>
          </p:nvSpPr>
          <p:spPr>
            <a:xfrm>
              <a:off x="2140888" y="1865646"/>
              <a:ext cx="339" cy="68"/>
            </a:xfrm>
            <a:custGeom>
              <a:avLst/>
              <a:gdLst/>
              <a:ahLst/>
              <a:cxnLst/>
              <a:rect l="l" t="t" r="r" b="b"/>
              <a:pathLst>
                <a:path w="25" h="5" extrusionOk="0">
                  <a:moveTo>
                    <a:pt x="0" y="1"/>
                  </a:moveTo>
                  <a:lnTo>
                    <a:pt x="25" y="4"/>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778" name="Google Shape;3778;p104"/>
            <p:cNvSpPr/>
            <p:nvPr/>
          </p:nvSpPr>
          <p:spPr>
            <a:xfrm>
              <a:off x="2145219" y="1866311"/>
              <a:ext cx="339" cy="68"/>
            </a:xfrm>
            <a:custGeom>
              <a:avLst/>
              <a:gdLst/>
              <a:ahLst/>
              <a:cxnLst/>
              <a:rect l="l" t="t" r="r" b="b"/>
              <a:pathLst>
                <a:path w="25" h="5" extrusionOk="0">
                  <a:moveTo>
                    <a:pt x="0" y="1"/>
                  </a:moveTo>
                  <a:lnTo>
                    <a:pt x="25" y="4"/>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779" name="Google Shape;3779;p104"/>
            <p:cNvSpPr/>
            <p:nvPr/>
          </p:nvSpPr>
          <p:spPr>
            <a:xfrm>
              <a:off x="2147690" y="1867071"/>
              <a:ext cx="204" cy="163"/>
            </a:xfrm>
            <a:custGeom>
              <a:avLst/>
              <a:gdLst/>
              <a:ahLst/>
              <a:cxnLst/>
              <a:rect l="l" t="t" r="r" b="b"/>
              <a:pathLst>
                <a:path w="15" h="12" extrusionOk="0">
                  <a:moveTo>
                    <a:pt x="0" y="1"/>
                  </a:moveTo>
                  <a:lnTo>
                    <a:pt x="14" y="1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780" name="Google Shape;3780;p104"/>
            <p:cNvSpPr/>
            <p:nvPr/>
          </p:nvSpPr>
          <p:spPr>
            <a:xfrm>
              <a:off x="2144554" y="1866175"/>
              <a:ext cx="285" cy="54"/>
            </a:xfrm>
            <a:custGeom>
              <a:avLst/>
              <a:gdLst/>
              <a:ahLst/>
              <a:cxnLst/>
              <a:rect l="l" t="t" r="r" b="b"/>
              <a:pathLst>
                <a:path w="21" h="4" extrusionOk="0">
                  <a:moveTo>
                    <a:pt x="0" y="0"/>
                  </a:moveTo>
                  <a:lnTo>
                    <a:pt x="21" y="4"/>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781" name="Google Shape;3781;p104"/>
            <p:cNvSpPr/>
            <p:nvPr/>
          </p:nvSpPr>
          <p:spPr>
            <a:xfrm>
              <a:off x="2146495" y="1866650"/>
              <a:ext cx="353" cy="109"/>
            </a:xfrm>
            <a:custGeom>
              <a:avLst/>
              <a:gdLst/>
              <a:ahLst/>
              <a:cxnLst/>
              <a:rect l="l" t="t" r="r" b="b"/>
              <a:pathLst>
                <a:path w="26" h="8" extrusionOk="0">
                  <a:moveTo>
                    <a:pt x="1" y="0"/>
                  </a:moveTo>
                  <a:lnTo>
                    <a:pt x="25" y="7"/>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782" name="Google Shape;3782;p104"/>
            <p:cNvSpPr/>
            <p:nvPr/>
          </p:nvSpPr>
          <p:spPr>
            <a:xfrm>
              <a:off x="2145884" y="1866460"/>
              <a:ext cx="339" cy="109"/>
            </a:xfrm>
            <a:custGeom>
              <a:avLst/>
              <a:gdLst/>
              <a:ahLst/>
              <a:cxnLst/>
              <a:rect l="l" t="t" r="r" b="b"/>
              <a:pathLst>
                <a:path w="25" h="8" extrusionOk="0">
                  <a:moveTo>
                    <a:pt x="0" y="0"/>
                  </a:moveTo>
                  <a:lnTo>
                    <a:pt x="25" y="7"/>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783" name="Google Shape;3783;p104"/>
            <p:cNvSpPr/>
            <p:nvPr/>
          </p:nvSpPr>
          <p:spPr>
            <a:xfrm>
              <a:off x="2153202" y="1872014"/>
              <a:ext cx="1059" cy="584"/>
            </a:xfrm>
            <a:custGeom>
              <a:avLst/>
              <a:gdLst/>
              <a:ahLst/>
              <a:cxnLst/>
              <a:rect l="l" t="t" r="r" b="b"/>
              <a:pathLst>
                <a:path w="78" h="43" extrusionOk="0">
                  <a:moveTo>
                    <a:pt x="77" y="1"/>
                  </a:moveTo>
                  <a:lnTo>
                    <a:pt x="0" y="43"/>
                  </a:lnTo>
                  <a:lnTo>
                    <a:pt x="0" y="43"/>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784" name="Google Shape;3784;p104"/>
            <p:cNvSpPr/>
            <p:nvPr/>
          </p:nvSpPr>
          <p:spPr>
            <a:xfrm>
              <a:off x="2143875" y="1866026"/>
              <a:ext cx="204" cy="68"/>
            </a:xfrm>
            <a:custGeom>
              <a:avLst/>
              <a:gdLst/>
              <a:ahLst/>
              <a:cxnLst/>
              <a:rect l="l" t="t" r="r" b="b"/>
              <a:pathLst>
                <a:path w="15" h="5" extrusionOk="0">
                  <a:moveTo>
                    <a:pt x="1" y="1"/>
                  </a:moveTo>
                  <a:lnTo>
                    <a:pt x="15" y="4"/>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785" name="Google Shape;3785;p104"/>
            <p:cNvSpPr/>
            <p:nvPr/>
          </p:nvSpPr>
          <p:spPr>
            <a:xfrm>
              <a:off x="2143169" y="1865931"/>
              <a:ext cx="149" cy="14"/>
            </a:xfrm>
            <a:custGeom>
              <a:avLst/>
              <a:gdLst/>
              <a:ahLst/>
              <a:cxnLst/>
              <a:rect l="l" t="t" r="r" b="b"/>
              <a:pathLst>
                <a:path w="11" h="1" extrusionOk="0">
                  <a:moveTo>
                    <a:pt x="0" y="1"/>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786" name="Google Shape;3786;p104"/>
            <p:cNvSpPr/>
            <p:nvPr/>
          </p:nvSpPr>
          <p:spPr>
            <a:xfrm>
              <a:off x="2141648" y="1865741"/>
              <a:ext cx="204" cy="14"/>
            </a:xfrm>
            <a:custGeom>
              <a:avLst/>
              <a:gdLst/>
              <a:ahLst/>
              <a:cxnLst/>
              <a:rect l="l" t="t" r="r" b="b"/>
              <a:pathLst>
                <a:path w="15" h="1" extrusionOk="0">
                  <a:moveTo>
                    <a:pt x="0" y="1"/>
                  </a:moveTo>
                  <a:lnTo>
                    <a:pt x="14"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787" name="Google Shape;3787;p104"/>
            <p:cNvSpPr/>
            <p:nvPr/>
          </p:nvSpPr>
          <p:spPr>
            <a:xfrm>
              <a:off x="2142449" y="1865836"/>
              <a:ext cx="109" cy="14"/>
            </a:xfrm>
            <a:custGeom>
              <a:avLst/>
              <a:gdLst/>
              <a:ahLst/>
              <a:cxnLst/>
              <a:rect l="l" t="t" r="r" b="b"/>
              <a:pathLst>
                <a:path w="8" h="1" extrusionOk="0">
                  <a:moveTo>
                    <a:pt x="1" y="1"/>
                  </a:moveTo>
                  <a:lnTo>
                    <a:pt x="8"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788" name="Google Shape;3788;p104"/>
            <p:cNvSpPr/>
            <p:nvPr/>
          </p:nvSpPr>
          <p:spPr>
            <a:xfrm>
              <a:off x="2122300" y="1942359"/>
              <a:ext cx="4481" cy="2539"/>
            </a:xfrm>
            <a:custGeom>
              <a:avLst/>
              <a:gdLst/>
              <a:ahLst/>
              <a:cxnLst/>
              <a:rect l="l" t="t" r="r" b="b"/>
              <a:pathLst>
                <a:path w="330" h="187" extrusionOk="0">
                  <a:moveTo>
                    <a:pt x="1" y="186"/>
                  </a:moveTo>
                  <a:cubicBezTo>
                    <a:pt x="95" y="99"/>
                    <a:pt x="204" y="1"/>
                    <a:pt x="330" y="11"/>
                  </a:cubicBezTo>
                  <a:cubicBezTo>
                    <a:pt x="204" y="1"/>
                    <a:pt x="95" y="99"/>
                    <a:pt x="1" y="186"/>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789" name="Google Shape;3789;p104"/>
            <p:cNvSpPr/>
            <p:nvPr/>
          </p:nvSpPr>
          <p:spPr>
            <a:xfrm>
              <a:off x="2074860" y="1952637"/>
              <a:ext cx="14" cy="244"/>
            </a:xfrm>
            <a:custGeom>
              <a:avLst/>
              <a:gdLst/>
              <a:ahLst/>
              <a:cxnLst/>
              <a:rect l="l" t="t" r="r" b="b"/>
              <a:pathLst>
                <a:path w="1" h="18" extrusionOk="0">
                  <a:moveTo>
                    <a:pt x="1" y="0"/>
                  </a:moveTo>
                  <a:cubicBezTo>
                    <a:pt x="1" y="7"/>
                    <a:pt x="1" y="11"/>
                    <a:pt x="1" y="18"/>
                  </a:cubicBezTo>
                  <a:cubicBezTo>
                    <a:pt x="1" y="11"/>
                    <a:pt x="1" y="7"/>
                    <a:pt x="1"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790" name="Google Shape;3790;p104"/>
            <p:cNvSpPr/>
            <p:nvPr/>
          </p:nvSpPr>
          <p:spPr>
            <a:xfrm>
              <a:off x="2074575" y="1952868"/>
              <a:ext cx="299" cy="489"/>
            </a:xfrm>
            <a:custGeom>
              <a:avLst/>
              <a:gdLst/>
              <a:ahLst/>
              <a:cxnLst/>
              <a:rect l="l" t="t" r="r" b="b"/>
              <a:pathLst>
                <a:path w="22" h="36" extrusionOk="0">
                  <a:moveTo>
                    <a:pt x="22" y="1"/>
                  </a:moveTo>
                  <a:lnTo>
                    <a:pt x="22" y="1"/>
                  </a:lnTo>
                  <a:cubicBezTo>
                    <a:pt x="20" y="5"/>
                    <a:pt x="19" y="9"/>
                    <a:pt x="17" y="13"/>
                  </a:cubicBezTo>
                  <a:lnTo>
                    <a:pt x="17" y="13"/>
                  </a:lnTo>
                  <a:cubicBezTo>
                    <a:pt x="19" y="9"/>
                    <a:pt x="21" y="5"/>
                    <a:pt x="22" y="1"/>
                  </a:cubicBezTo>
                  <a:close/>
                  <a:moveTo>
                    <a:pt x="17" y="13"/>
                  </a:moveTo>
                  <a:cubicBezTo>
                    <a:pt x="14" y="23"/>
                    <a:pt x="8" y="31"/>
                    <a:pt x="1" y="36"/>
                  </a:cubicBezTo>
                  <a:lnTo>
                    <a:pt x="11" y="32"/>
                  </a:lnTo>
                  <a:cubicBezTo>
                    <a:pt x="13" y="26"/>
                    <a:pt x="15" y="20"/>
                    <a:pt x="17" y="13"/>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791" name="Google Shape;3791;p104"/>
            <p:cNvSpPr/>
            <p:nvPr/>
          </p:nvSpPr>
          <p:spPr>
            <a:xfrm>
              <a:off x="2066741" y="1951822"/>
              <a:ext cx="54" cy="258"/>
            </a:xfrm>
            <a:custGeom>
              <a:avLst/>
              <a:gdLst/>
              <a:ahLst/>
              <a:cxnLst/>
              <a:rect l="l" t="t" r="r" b="b"/>
              <a:pathLst>
                <a:path w="4" h="19" extrusionOk="0">
                  <a:moveTo>
                    <a:pt x="4" y="1"/>
                  </a:moveTo>
                  <a:cubicBezTo>
                    <a:pt x="4" y="4"/>
                    <a:pt x="0" y="11"/>
                    <a:pt x="0" y="18"/>
                  </a:cubicBezTo>
                  <a:cubicBezTo>
                    <a:pt x="0" y="15"/>
                    <a:pt x="4" y="8"/>
                    <a:pt x="4" y="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792" name="Google Shape;3792;p104"/>
            <p:cNvSpPr/>
            <p:nvPr/>
          </p:nvSpPr>
          <p:spPr>
            <a:xfrm>
              <a:off x="2067732" y="1949881"/>
              <a:ext cx="394" cy="299"/>
            </a:xfrm>
            <a:custGeom>
              <a:avLst/>
              <a:gdLst/>
              <a:ahLst/>
              <a:cxnLst/>
              <a:rect l="l" t="t" r="r" b="b"/>
              <a:pathLst>
                <a:path w="29" h="22" extrusionOk="0">
                  <a:moveTo>
                    <a:pt x="29" y="0"/>
                  </a:moveTo>
                  <a:cubicBezTo>
                    <a:pt x="18" y="7"/>
                    <a:pt x="11" y="11"/>
                    <a:pt x="1" y="21"/>
                  </a:cubicBezTo>
                  <a:cubicBezTo>
                    <a:pt x="11" y="11"/>
                    <a:pt x="18" y="7"/>
                    <a:pt x="29"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793" name="Google Shape;3793;p104"/>
            <p:cNvSpPr/>
            <p:nvPr/>
          </p:nvSpPr>
          <p:spPr>
            <a:xfrm>
              <a:off x="2067121" y="1950777"/>
              <a:ext cx="109" cy="258"/>
            </a:xfrm>
            <a:custGeom>
              <a:avLst/>
              <a:gdLst/>
              <a:ahLst/>
              <a:cxnLst/>
              <a:rect l="l" t="t" r="r" b="b"/>
              <a:pathLst>
                <a:path w="8" h="19" extrusionOk="0">
                  <a:moveTo>
                    <a:pt x="7" y="1"/>
                  </a:moveTo>
                  <a:cubicBezTo>
                    <a:pt x="4" y="8"/>
                    <a:pt x="0" y="11"/>
                    <a:pt x="0" y="18"/>
                  </a:cubicBezTo>
                  <a:cubicBezTo>
                    <a:pt x="4" y="11"/>
                    <a:pt x="7" y="8"/>
                    <a:pt x="7" y="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794" name="Google Shape;3794;p104"/>
            <p:cNvSpPr/>
            <p:nvPr/>
          </p:nvSpPr>
          <p:spPr>
            <a:xfrm>
              <a:off x="2066877" y="1951347"/>
              <a:ext cx="109" cy="163"/>
            </a:xfrm>
            <a:custGeom>
              <a:avLst/>
              <a:gdLst/>
              <a:ahLst/>
              <a:cxnLst/>
              <a:rect l="l" t="t" r="r" b="b"/>
              <a:pathLst>
                <a:path w="8" h="12" extrusionOk="0">
                  <a:moveTo>
                    <a:pt x="8" y="1"/>
                  </a:moveTo>
                  <a:lnTo>
                    <a:pt x="1" y="11"/>
                  </a:lnTo>
                  <a:cubicBezTo>
                    <a:pt x="4" y="8"/>
                    <a:pt x="8" y="4"/>
                    <a:pt x="8" y="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795" name="Google Shape;3795;p104"/>
            <p:cNvSpPr/>
            <p:nvPr/>
          </p:nvSpPr>
          <p:spPr>
            <a:xfrm>
              <a:off x="2073530" y="1953343"/>
              <a:ext cx="1059" cy="122"/>
            </a:xfrm>
            <a:custGeom>
              <a:avLst/>
              <a:gdLst/>
              <a:ahLst/>
              <a:cxnLst/>
              <a:rect l="l" t="t" r="r" b="b"/>
              <a:pathLst>
                <a:path w="78" h="9" extrusionOk="0">
                  <a:moveTo>
                    <a:pt x="1" y="1"/>
                  </a:moveTo>
                  <a:cubicBezTo>
                    <a:pt x="13" y="6"/>
                    <a:pt x="25" y="8"/>
                    <a:pt x="38" y="8"/>
                  </a:cubicBezTo>
                  <a:lnTo>
                    <a:pt x="38" y="8"/>
                  </a:lnTo>
                  <a:cubicBezTo>
                    <a:pt x="26" y="7"/>
                    <a:pt x="13" y="5"/>
                    <a:pt x="1" y="1"/>
                  </a:cubicBezTo>
                  <a:close/>
                  <a:moveTo>
                    <a:pt x="78" y="1"/>
                  </a:moveTo>
                  <a:lnTo>
                    <a:pt x="78" y="1"/>
                  </a:lnTo>
                  <a:cubicBezTo>
                    <a:pt x="66" y="6"/>
                    <a:pt x="52" y="8"/>
                    <a:pt x="39" y="8"/>
                  </a:cubicBezTo>
                  <a:cubicBezTo>
                    <a:pt x="39" y="8"/>
                    <a:pt x="39" y="8"/>
                    <a:pt x="38" y="8"/>
                  </a:cubicBezTo>
                  <a:lnTo>
                    <a:pt x="38" y="8"/>
                  </a:lnTo>
                  <a:cubicBezTo>
                    <a:pt x="42" y="9"/>
                    <a:pt x="46" y="9"/>
                    <a:pt x="50" y="9"/>
                  </a:cubicBezTo>
                  <a:cubicBezTo>
                    <a:pt x="56" y="9"/>
                    <a:pt x="62" y="9"/>
                    <a:pt x="67" y="8"/>
                  </a:cubicBezTo>
                  <a:lnTo>
                    <a:pt x="78"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796" name="Google Shape;3796;p104"/>
            <p:cNvSpPr/>
            <p:nvPr/>
          </p:nvSpPr>
          <p:spPr>
            <a:xfrm>
              <a:off x="2067352" y="1950166"/>
              <a:ext cx="394" cy="394"/>
            </a:xfrm>
            <a:custGeom>
              <a:avLst/>
              <a:gdLst/>
              <a:ahLst/>
              <a:cxnLst/>
              <a:rect l="l" t="t" r="r" b="b"/>
              <a:pathLst>
                <a:path w="29" h="29" extrusionOk="0">
                  <a:moveTo>
                    <a:pt x="1" y="28"/>
                  </a:moveTo>
                  <a:cubicBezTo>
                    <a:pt x="11" y="18"/>
                    <a:pt x="18" y="7"/>
                    <a:pt x="29" y="0"/>
                  </a:cubicBezTo>
                  <a:lnTo>
                    <a:pt x="29" y="0"/>
                  </a:lnTo>
                  <a:cubicBezTo>
                    <a:pt x="18" y="7"/>
                    <a:pt x="11" y="18"/>
                    <a:pt x="1" y="28"/>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797" name="Google Shape;3797;p104"/>
            <p:cNvSpPr/>
            <p:nvPr/>
          </p:nvSpPr>
          <p:spPr>
            <a:xfrm>
              <a:off x="2073054" y="1953153"/>
              <a:ext cx="489" cy="204"/>
            </a:xfrm>
            <a:custGeom>
              <a:avLst/>
              <a:gdLst/>
              <a:ahLst/>
              <a:cxnLst/>
              <a:rect l="l" t="t" r="r" b="b"/>
              <a:pathLst>
                <a:path w="36" h="15" extrusionOk="0">
                  <a:moveTo>
                    <a:pt x="36" y="15"/>
                  </a:moveTo>
                  <a:cubicBezTo>
                    <a:pt x="22" y="8"/>
                    <a:pt x="11" y="4"/>
                    <a:pt x="1" y="1"/>
                  </a:cubicBezTo>
                  <a:cubicBezTo>
                    <a:pt x="11" y="4"/>
                    <a:pt x="22" y="8"/>
                    <a:pt x="36" y="15"/>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798" name="Google Shape;3798;p104"/>
            <p:cNvSpPr/>
            <p:nvPr/>
          </p:nvSpPr>
          <p:spPr>
            <a:xfrm>
              <a:off x="2069633" y="1949446"/>
              <a:ext cx="353" cy="14"/>
            </a:xfrm>
            <a:custGeom>
              <a:avLst/>
              <a:gdLst/>
              <a:ahLst/>
              <a:cxnLst/>
              <a:rect l="l" t="t" r="r" b="b"/>
              <a:pathLst>
                <a:path w="26" h="1" extrusionOk="0">
                  <a:moveTo>
                    <a:pt x="1" y="1"/>
                  </a:moveTo>
                  <a:lnTo>
                    <a:pt x="25"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799" name="Google Shape;3799;p104"/>
            <p:cNvSpPr/>
            <p:nvPr/>
          </p:nvSpPr>
          <p:spPr>
            <a:xfrm>
              <a:off x="2069117" y="1949446"/>
              <a:ext cx="394" cy="14"/>
            </a:xfrm>
            <a:custGeom>
              <a:avLst/>
              <a:gdLst/>
              <a:ahLst/>
              <a:cxnLst/>
              <a:rect l="l" t="t" r="r" b="b"/>
              <a:pathLst>
                <a:path w="29" h="1" extrusionOk="0">
                  <a:moveTo>
                    <a:pt x="28" y="1"/>
                  </a:moveTo>
                  <a:cubicBezTo>
                    <a:pt x="18" y="1"/>
                    <a:pt x="11" y="1"/>
                    <a:pt x="0" y="1"/>
                  </a:cubicBezTo>
                  <a:cubicBezTo>
                    <a:pt x="11" y="1"/>
                    <a:pt x="18" y="1"/>
                    <a:pt x="28" y="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800" name="Google Shape;3800;p104"/>
            <p:cNvSpPr/>
            <p:nvPr/>
          </p:nvSpPr>
          <p:spPr>
            <a:xfrm>
              <a:off x="2070067" y="1949500"/>
              <a:ext cx="2240" cy="1765"/>
            </a:xfrm>
            <a:custGeom>
              <a:avLst/>
              <a:gdLst/>
              <a:ahLst/>
              <a:cxnLst/>
              <a:rect l="l" t="t" r="r" b="b"/>
              <a:pathLst>
                <a:path w="165" h="130" extrusionOk="0">
                  <a:moveTo>
                    <a:pt x="35" y="7"/>
                  </a:moveTo>
                  <a:cubicBezTo>
                    <a:pt x="25" y="4"/>
                    <a:pt x="11" y="0"/>
                    <a:pt x="0" y="0"/>
                  </a:cubicBezTo>
                  <a:cubicBezTo>
                    <a:pt x="11" y="0"/>
                    <a:pt x="25" y="4"/>
                    <a:pt x="35" y="7"/>
                  </a:cubicBezTo>
                  <a:cubicBezTo>
                    <a:pt x="98" y="21"/>
                    <a:pt x="147" y="67"/>
                    <a:pt x="165" y="130"/>
                  </a:cubicBezTo>
                  <a:cubicBezTo>
                    <a:pt x="147" y="67"/>
                    <a:pt x="98" y="21"/>
                    <a:pt x="35" y="7"/>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801" name="Google Shape;3801;p104"/>
            <p:cNvSpPr/>
            <p:nvPr/>
          </p:nvSpPr>
          <p:spPr>
            <a:xfrm>
              <a:off x="2068207" y="1949636"/>
              <a:ext cx="353" cy="204"/>
            </a:xfrm>
            <a:custGeom>
              <a:avLst/>
              <a:gdLst/>
              <a:ahLst/>
              <a:cxnLst/>
              <a:rect l="l" t="t" r="r" b="b"/>
              <a:pathLst>
                <a:path w="26" h="15" extrusionOk="0">
                  <a:moveTo>
                    <a:pt x="25" y="1"/>
                  </a:moveTo>
                  <a:cubicBezTo>
                    <a:pt x="15" y="4"/>
                    <a:pt x="8" y="8"/>
                    <a:pt x="1" y="15"/>
                  </a:cubicBezTo>
                  <a:cubicBezTo>
                    <a:pt x="8" y="8"/>
                    <a:pt x="15" y="4"/>
                    <a:pt x="25" y="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802" name="Google Shape;3802;p104"/>
            <p:cNvSpPr/>
            <p:nvPr/>
          </p:nvSpPr>
          <p:spPr>
            <a:xfrm>
              <a:off x="2068587" y="1949500"/>
              <a:ext cx="489" cy="149"/>
            </a:xfrm>
            <a:custGeom>
              <a:avLst/>
              <a:gdLst/>
              <a:ahLst/>
              <a:cxnLst/>
              <a:rect l="l" t="t" r="r" b="b"/>
              <a:pathLst>
                <a:path w="36" h="11" extrusionOk="0">
                  <a:moveTo>
                    <a:pt x="36" y="0"/>
                  </a:moveTo>
                  <a:cubicBezTo>
                    <a:pt x="22" y="0"/>
                    <a:pt x="11" y="4"/>
                    <a:pt x="1" y="11"/>
                  </a:cubicBezTo>
                  <a:cubicBezTo>
                    <a:pt x="11" y="4"/>
                    <a:pt x="22" y="0"/>
                    <a:pt x="36"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803" name="Google Shape;3803;p104"/>
            <p:cNvSpPr/>
            <p:nvPr/>
          </p:nvSpPr>
          <p:spPr>
            <a:xfrm>
              <a:off x="2074439" y="1953302"/>
              <a:ext cx="299" cy="149"/>
            </a:xfrm>
            <a:custGeom>
              <a:avLst/>
              <a:gdLst/>
              <a:ahLst/>
              <a:cxnLst/>
              <a:rect l="l" t="t" r="r" b="b"/>
              <a:pathLst>
                <a:path w="22" h="11" extrusionOk="0">
                  <a:moveTo>
                    <a:pt x="21" y="0"/>
                  </a:moveTo>
                  <a:cubicBezTo>
                    <a:pt x="20" y="0"/>
                    <a:pt x="20" y="0"/>
                    <a:pt x="19" y="1"/>
                  </a:cubicBezTo>
                  <a:lnTo>
                    <a:pt x="19" y="1"/>
                  </a:lnTo>
                  <a:lnTo>
                    <a:pt x="21" y="0"/>
                  </a:lnTo>
                  <a:close/>
                  <a:moveTo>
                    <a:pt x="19" y="1"/>
                  </a:moveTo>
                  <a:lnTo>
                    <a:pt x="11" y="4"/>
                  </a:lnTo>
                  <a:lnTo>
                    <a:pt x="0" y="11"/>
                  </a:lnTo>
                  <a:cubicBezTo>
                    <a:pt x="7" y="11"/>
                    <a:pt x="11" y="7"/>
                    <a:pt x="14" y="7"/>
                  </a:cubicBezTo>
                  <a:cubicBezTo>
                    <a:pt x="17" y="5"/>
                    <a:pt x="17" y="2"/>
                    <a:pt x="19" y="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804" name="Google Shape;3804;p104"/>
            <p:cNvSpPr/>
            <p:nvPr/>
          </p:nvSpPr>
          <p:spPr>
            <a:xfrm>
              <a:off x="2080902" y="1902386"/>
              <a:ext cx="54" cy="584"/>
            </a:xfrm>
            <a:custGeom>
              <a:avLst/>
              <a:gdLst/>
              <a:ahLst/>
              <a:cxnLst/>
              <a:rect l="l" t="t" r="r" b="b"/>
              <a:pathLst>
                <a:path w="4" h="43" extrusionOk="0">
                  <a:moveTo>
                    <a:pt x="0" y="1"/>
                  </a:moveTo>
                  <a:lnTo>
                    <a:pt x="0" y="43"/>
                  </a:lnTo>
                  <a:cubicBezTo>
                    <a:pt x="4" y="29"/>
                    <a:pt x="4" y="15"/>
                    <a:pt x="0" y="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805" name="Google Shape;3805;p104"/>
            <p:cNvSpPr/>
            <p:nvPr/>
          </p:nvSpPr>
          <p:spPr>
            <a:xfrm>
              <a:off x="2080848" y="1900635"/>
              <a:ext cx="68" cy="679"/>
            </a:xfrm>
            <a:custGeom>
              <a:avLst/>
              <a:gdLst/>
              <a:ahLst/>
              <a:cxnLst/>
              <a:rect l="l" t="t" r="r" b="b"/>
              <a:pathLst>
                <a:path w="5" h="50" extrusionOk="0">
                  <a:moveTo>
                    <a:pt x="1" y="0"/>
                  </a:moveTo>
                  <a:lnTo>
                    <a:pt x="1" y="49"/>
                  </a:lnTo>
                  <a:cubicBezTo>
                    <a:pt x="4" y="35"/>
                    <a:pt x="4" y="18"/>
                    <a:pt x="1"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806" name="Google Shape;3806;p104"/>
            <p:cNvSpPr/>
            <p:nvPr/>
          </p:nvSpPr>
          <p:spPr>
            <a:xfrm>
              <a:off x="2080943" y="1903961"/>
              <a:ext cx="14" cy="530"/>
            </a:xfrm>
            <a:custGeom>
              <a:avLst/>
              <a:gdLst/>
              <a:ahLst/>
              <a:cxnLst/>
              <a:rect l="l" t="t" r="r" b="b"/>
              <a:pathLst>
                <a:path w="1" h="39" extrusionOk="0">
                  <a:moveTo>
                    <a:pt x="1" y="0"/>
                  </a:moveTo>
                  <a:lnTo>
                    <a:pt x="1" y="39"/>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807" name="Google Shape;3807;p104"/>
            <p:cNvSpPr/>
            <p:nvPr/>
          </p:nvSpPr>
          <p:spPr>
            <a:xfrm>
              <a:off x="2080753" y="1916032"/>
              <a:ext cx="68" cy="244"/>
            </a:xfrm>
            <a:custGeom>
              <a:avLst/>
              <a:gdLst/>
              <a:ahLst/>
              <a:cxnLst/>
              <a:rect l="l" t="t" r="r" b="b"/>
              <a:pathLst>
                <a:path w="5" h="18" extrusionOk="0">
                  <a:moveTo>
                    <a:pt x="4" y="0"/>
                  </a:moveTo>
                  <a:cubicBezTo>
                    <a:pt x="1" y="7"/>
                    <a:pt x="1" y="11"/>
                    <a:pt x="4" y="18"/>
                  </a:cubicBezTo>
                  <a:lnTo>
                    <a:pt x="4"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808" name="Google Shape;3808;p104"/>
            <p:cNvSpPr/>
            <p:nvPr/>
          </p:nvSpPr>
          <p:spPr>
            <a:xfrm>
              <a:off x="2080848" y="1914077"/>
              <a:ext cx="14" cy="258"/>
            </a:xfrm>
            <a:custGeom>
              <a:avLst/>
              <a:gdLst/>
              <a:ahLst/>
              <a:cxnLst/>
              <a:rect l="l" t="t" r="r" b="b"/>
              <a:pathLst>
                <a:path w="1" h="19" extrusionOk="0">
                  <a:moveTo>
                    <a:pt x="1" y="1"/>
                  </a:moveTo>
                  <a:lnTo>
                    <a:pt x="1" y="18"/>
                  </a:lnTo>
                  <a:cubicBezTo>
                    <a:pt x="1" y="15"/>
                    <a:pt x="1" y="8"/>
                    <a:pt x="1" y="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809" name="Google Shape;3809;p104"/>
            <p:cNvSpPr/>
            <p:nvPr/>
          </p:nvSpPr>
          <p:spPr>
            <a:xfrm>
              <a:off x="2080563" y="1918449"/>
              <a:ext cx="14" cy="109"/>
            </a:xfrm>
            <a:custGeom>
              <a:avLst/>
              <a:gdLst/>
              <a:ahLst/>
              <a:cxnLst/>
              <a:rect l="l" t="t" r="r" b="b"/>
              <a:pathLst>
                <a:path w="1" h="8" extrusionOk="0">
                  <a:moveTo>
                    <a:pt x="1" y="1"/>
                  </a:moveTo>
                  <a:lnTo>
                    <a:pt x="1" y="8"/>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810" name="Google Shape;3810;p104"/>
            <p:cNvSpPr/>
            <p:nvPr/>
          </p:nvSpPr>
          <p:spPr>
            <a:xfrm>
              <a:off x="2080617" y="1918164"/>
              <a:ext cx="14" cy="163"/>
            </a:xfrm>
            <a:custGeom>
              <a:avLst/>
              <a:gdLst/>
              <a:ahLst/>
              <a:cxnLst/>
              <a:rect l="l" t="t" r="r" b="b"/>
              <a:pathLst>
                <a:path w="1" h="12" extrusionOk="0">
                  <a:moveTo>
                    <a:pt x="0" y="1"/>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811" name="Google Shape;3811;p104"/>
            <p:cNvSpPr/>
            <p:nvPr/>
          </p:nvSpPr>
          <p:spPr>
            <a:xfrm>
              <a:off x="2080902" y="1913276"/>
              <a:ext cx="14" cy="299"/>
            </a:xfrm>
            <a:custGeom>
              <a:avLst/>
              <a:gdLst/>
              <a:ahLst/>
              <a:cxnLst/>
              <a:rect l="l" t="t" r="r" b="b"/>
              <a:pathLst>
                <a:path w="1" h="22" extrusionOk="0">
                  <a:moveTo>
                    <a:pt x="0" y="0"/>
                  </a:moveTo>
                  <a:lnTo>
                    <a:pt x="0" y="2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812" name="Google Shape;3812;p104"/>
            <p:cNvSpPr/>
            <p:nvPr/>
          </p:nvSpPr>
          <p:spPr>
            <a:xfrm>
              <a:off x="2080658" y="1917838"/>
              <a:ext cx="14" cy="149"/>
            </a:xfrm>
            <a:custGeom>
              <a:avLst/>
              <a:gdLst/>
              <a:ahLst/>
              <a:cxnLst/>
              <a:rect l="l" t="t" r="r" b="b"/>
              <a:pathLst>
                <a:path w="1" h="11" extrusionOk="0">
                  <a:moveTo>
                    <a:pt x="1" y="0"/>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813" name="Google Shape;3813;p104"/>
            <p:cNvSpPr/>
            <p:nvPr/>
          </p:nvSpPr>
          <p:spPr>
            <a:xfrm>
              <a:off x="2080522" y="1918693"/>
              <a:ext cx="14" cy="109"/>
            </a:xfrm>
            <a:custGeom>
              <a:avLst/>
              <a:gdLst/>
              <a:ahLst/>
              <a:cxnLst/>
              <a:rect l="l" t="t" r="r" b="b"/>
              <a:pathLst>
                <a:path w="1" h="8" extrusionOk="0">
                  <a:moveTo>
                    <a:pt x="0"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814" name="Google Shape;3814;p104"/>
            <p:cNvSpPr/>
            <p:nvPr/>
          </p:nvSpPr>
          <p:spPr>
            <a:xfrm>
              <a:off x="2080373" y="1919209"/>
              <a:ext cx="14" cy="109"/>
            </a:xfrm>
            <a:custGeom>
              <a:avLst/>
              <a:gdLst/>
              <a:ahLst/>
              <a:cxnLst/>
              <a:rect l="l" t="t" r="r" b="b"/>
              <a:pathLst>
                <a:path w="1" h="8" extrusionOk="0">
                  <a:moveTo>
                    <a:pt x="1" y="1"/>
                  </a:moveTo>
                  <a:lnTo>
                    <a:pt x="1" y="8"/>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815" name="Google Shape;3815;p104"/>
            <p:cNvSpPr/>
            <p:nvPr/>
          </p:nvSpPr>
          <p:spPr>
            <a:xfrm>
              <a:off x="2080468" y="1918924"/>
              <a:ext cx="14" cy="109"/>
            </a:xfrm>
            <a:custGeom>
              <a:avLst/>
              <a:gdLst/>
              <a:ahLst/>
              <a:cxnLst/>
              <a:rect l="l" t="t" r="r" b="b"/>
              <a:pathLst>
                <a:path w="1" h="8" extrusionOk="0">
                  <a:moveTo>
                    <a:pt x="1" y="1"/>
                  </a:moveTo>
                  <a:lnTo>
                    <a:pt x="1" y="8"/>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816" name="Google Shape;3816;p104"/>
            <p:cNvSpPr/>
            <p:nvPr/>
          </p:nvSpPr>
          <p:spPr>
            <a:xfrm>
              <a:off x="2080427" y="1919073"/>
              <a:ext cx="14" cy="109"/>
            </a:xfrm>
            <a:custGeom>
              <a:avLst/>
              <a:gdLst/>
              <a:ahLst/>
              <a:cxnLst/>
              <a:rect l="l" t="t" r="r" b="b"/>
              <a:pathLst>
                <a:path w="1" h="8" extrusionOk="0">
                  <a:moveTo>
                    <a:pt x="0"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817" name="Google Shape;3817;p104"/>
            <p:cNvSpPr/>
            <p:nvPr/>
          </p:nvSpPr>
          <p:spPr>
            <a:xfrm>
              <a:off x="2080943" y="1910424"/>
              <a:ext cx="14" cy="394"/>
            </a:xfrm>
            <a:custGeom>
              <a:avLst/>
              <a:gdLst/>
              <a:ahLst/>
              <a:cxnLst/>
              <a:rect l="l" t="t" r="r" b="b"/>
              <a:pathLst>
                <a:path w="1" h="29" extrusionOk="0">
                  <a:moveTo>
                    <a:pt x="1" y="0"/>
                  </a:moveTo>
                  <a:lnTo>
                    <a:pt x="1" y="28"/>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818" name="Google Shape;3818;p104"/>
            <p:cNvSpPr/>
            <p:nvPr/>
          </p:nvSpPr>
          <p:spPr>
            <a:xfrm>
              <a:off x="2080943" y="1911470"/>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819" name="Google Shape;3819;p104"/>
            <p:cNvSpPr/>
            <p:nvPr/>
          </p:nvSpPr>
          <p:spPr>
            <a:xfrm>
              <a:off x="2080902" y="1912420"/>
              <a:ext cx="54" cy="339"/>
            </a:xfrm>
            <a:custGeom>
              <a:avLst/>
              <a:gdLst/>
              <a:ahLst/>
              <a:cxnLst/>
              <a:rect l="l" t="t" r="r" b="b"/>
              <a:pathLst>
                <a:path w="4" h="25" extrusionOk="0">
                  <a:moveTo>
                    <a:pt x="4" y="0"/>
                  </a:moveTo>
                  <a:cubicBezTo>
                    <a:pt x="4" y="7"/>
                    <a:pt x="0" y="14"/>
                    <a:pt x="4" y="25"/>
                  </a:cubicBezTo>
                  <a:lnTo>
                    <a:pt x="4"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820" name="Google Shape;3820;p104"/>
            <p:cNvSpPr/>
            <p:nvPr/>
          </p:nvSpPr>
          <p:spPr>
            <a:xfrm>
              <a:off x="2080848" y="1914796"/>
              <a:ext cx="14" cy="244"/>
            </a:xfrm>
            <a:custGeom>
              <a:avLst/>
              <a:gdLst/>
              <a:ahLst/>
              <a:cxnLst/>
              <a:rect l="l" t="t" r="r" b="b"/>
              <a:pathLst>
                <a:path w="1" h="18" extrusionOk="0">
                  <a:moveTo>
                    <a:pt x="1" y="0"/>
                  </a:moveTo>
                  <a:lnTo>
                    <a:pt x="1" y="18"/>
                  </a:lnTo>
                  <a:cubicBezTo>
                    <a:pt x="1" y="14"/>
                    <a:pt x="1" y="7"/>
                    <a:pt x="1"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821" name="Google Shape;3821;p104"/>
            <p:cNvSpPr/>
            <p:nvPr/>
          </p:nvSpPr>
          <p:spPr>
            <a:xfrm>
              <a:off x="2080753" y="1916548"/>
              <a:ext cx="14" cy="258"/>
            </a:xfrm>
            <a:custGeom>
              <a:avLst/>
              <a:gdLst/>
              <a:ahLst/>
              <a:cxnLst/>
              <a:rect l="l" t="t" r="r" b="b"/>
              <a:pathLst>
                <a:path w="1" h="19" extrusionOk="0">
                  <a:moveTo>
                    <a:pt x="1" y="1"/>
                  </a:moveTo>
                  <a:lnTo>
                    <a:pt x="1" y="18"/>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822" name="Google Shape;3822;p104"/>
            <p:cNvSpPr/>
            <p:nvPr/>
          </p:nvSpPr>
          <p:spPr>
            <a:xfrm>
              <a:off x="2080712" y="1917077"/>
              <a:ext cx="14" cy="149"/>
            </a:xfrm>
            <a:custGeom>
              <a:avLst/>
              <a:gdLst/>
              <a:ahLst/>
              <a:cxnLst/>
              <a:rect l="l" t="t" r="r" b="b"/>
              <a:pathLst>
                <a:path w="1" h="11" extrusionOk="0">
                  <a:moveTo>
                    <a:pt x="0" y="0"/>
                  </a:moveTo>
                  <a:lnTo>
                    <a:pt x="0" y="11"/>
                  </a:lnTo>
                  <a:cubicBezTo>
                    <a:pt x="0" y="7"/>
                    <a:pt x="0" y="4"/>
                    <a:pt x="0"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823" name="Google Shape;3823;p104"/>
            <p:cNvSpPr/>
            <p:nvPr/>
          </p:nvSpPr>
          <p:spPr>
            <a:xfrm>
              <a:off x="2080807" y="1915462"/>
              <a:ext cx="14" cy="244"/>
            </a:xfrm>
            <a:custGeom>
              <a:avLst/>
              <a:gdLst/>
              <a:ahLst/>
              <a:cxnLst/>
              <a:rect l="l" t="t" r="r" b="b"/>
              <a:pathLst>
                <a:path w="1" h="18" extrusionOk="0">
                  <a:moveTo>
                    <a:pt x="0" y="0"/>
                  </a:moveTo>
                  <a:lnTo>
                    <a:pt x="0" y="18"/>
                  </a:lnTo>
                  <a:cubicBezTo>
                    <a:pt x="0" y="11"/>
                    <a:pt x="0" y="4"/>
                    <a:pt x="0"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824" name="Google Shape;3824;p104"/>
            <p:cNvSpPr/>
            <p:nvPr/>
          </p:nvSpPr>
          <p:spPr>
            <a:xfrm>
              <a:off x="2080658" y="1917457"/>
              <a:ext cx="14" cy="204"/>
            </a:xfrm>
            <a:custGeom>
              <a:avLst/>
              <a:gdLst/>
              <a:ahLst/>
              <a:cxnLst/>
              <a:rect l="l" t="t" r="r" b="b"/>
              <a:pathLst>
                <a:path w="1" h="15" extrusionOk="0">
                  <a:moveTo>
                    <a:pt x="1" y="0"/>
                  </a:moveTo>
                  <a:lnTo>
                    <a:pt x="1" y="14"/>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825" name="Google Shape;3825;p104"/>
            <p:cNvSpPr/>
            <p:nvPr/>
          </p:nvSpPr>
          <p:spPr>
            <a:xfrm>
              <a:off x="2050855" y="1932094"/>
              <a:ext cx="1629" cy="68"/>
            </a:xfrm>
            <a:custGeom>
              <a:avLst/>
              <a:gdLst/>
              <a:ahLst/>
              <a:cxnLst/>
              <a:rect l="l" t="t" r="r" b="b"/>
              <a:pathLst>
                <a:path w="120" h="5" extrusionOk="0">
                  <a:moveTo>
                    <a:pt x="120" y="1"/>
                  </a:moveTo>
                  <a:cubicBezTo>
                    <a:pt x="78" y="1"/>
                    <a:pt x="39" y="4"/>
                    <a:pt x="1" y="4"/>
                  </a:cubicBezTo>
                  <a:cubicBezTo>
                    <a:pt x="39" y="4"/>
                    <a:pt x="81" y="4"/>
                    <a:pt x="120" y="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826" name="Google Shape;3826;p104"/>
            <p:cNvSpPr/>
            <p:nvPr/>
          </p:nvSpPr>
          <p:spPr>
            <a:xfrm>
              <a:off x="2080943" y="1905482"/>
              <a:ext cx="14" cy="434"/>
            </a:xfrm>
            <a:custGeom>
              <a:avLst/>
              <a:gdLst/>
              <a:ahLst/>
              <a:cxnLst/>
              <a:rect l="l" t="t" r="r" b="b"/>
              <a:pathLst>
                <a:path w="1" h="32" extrusionOk="0">
                  <a:moveTo>
                    <a:pt x="1" y="0"/>
                  </a:moveTo>
                  <a:lnTo>
                    <a:pt x="1" y="32"/>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827" name="Google Shape;3827;p104"/>
            <p:cNvSpPr/>
            <p:nvPr/>
          </p:nvSpPr>
          <p:spPr>
            <a:xfrm>
              <a:off x="2080943" y="1906813"/>
              <a:ext cx="14" cy="489"/>
            </a:xfrm>
            <a:custGeom>
              <a:avLst/>
              <a:gdLst/>
              <a:ahLst/>
              <a:cxnLst/>
              <a:rect l="l" t="t" r="r" b="b"/>
              <a:pathLst>
                <a:path w="1" h="36" extrusionOk="0">
                  <a:moveTo>
                    <a:pt x="1" y="0"/>
                  </a:moveTo>
                  <a:lnTo>
                    <a:pt x="1" y="35"/>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828" name="Google Shape;3828;p104"/>
            <p:cNvSpPr/>
            <p:nvPr/>
          </p:nvSpPr>
          <p:spPr>
            <a:xfrm>
              <a:off x="2054996" y="1931714"/>
              <a:ext cx="244" cy="109"/>
            </a:xfrm>
            <a:custGeom>
              <a:avLst/>
              <a:gdLst/>
              <a:ahLst/>
              <a:cxnLst/>
              <a:rect l="l" t="t" r="r" b="b"/>
              <a:pathLst>
                <a:path w="18" h="8" extrusionOk="0">
                  <a:moveTo>
                    <a:pt x="18" y="1"/>
                  </a:moveTo>
                  <a:lnTo>
                    <a:pt x="0" y="8"/>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829" name="Google Shape;3829;p104"/>
            <p:cNvSpPr/>
            <p:nvPr/>
          </p:nvSpPr>
          <p:spPr>
            <a:xfrm>
              <a:off x="2080943" y="1909325"/>
              <a:ext cx="14" cy="394"/>
            </a:xfrm>
            <a:custGeom>
              <a:avLst/>
              <a:gdLst/>
              <a:ahLst/>
              <a:cxnLst/>
              <a:rect l="l" t="t" r="r" b="b"/>
              <a:pathLst>
                <a:path w="1" h="29" extrusionOk="0">
                  <a:moveTo>
                    <a:pt x="1" y="1"/>
                  </a:moveTo>
                  <a:lnTo>
                    <a:pt x="1" y="29"/>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830" name="Google Shape;3830;p104"/>
            <p:cNvSpPr/>
            <p:nvPr/>
          </p:nvSpPr>
          <p:spPr>
            <a:xfrm>
              <a:off x="2080943" y="1908089"/>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831" name="Google Shape;3831;p104"/>
            <p:cNvSpPr/>
            <p:nvPr/>
          </p:nvSpPr>
          <p:spPr>
            <a:xfrm>
              <a:off x="2062124" y="1929243"/>
              <a:ext cx="5906" cy="638"/>
            </a:xfrm>
            <a:custGeom>
              <a:avLst/>
              <a:gdLst/>
              <a:ahLst/>
              <a:cxnLst/>
              <a:rect l="l" t="t" r="r" b="b"/>
              <a:pathLst>
                <a:path w="435" h="47" extrusionOk="0">
                  <a:moveTo>
                    <a:pt x="435" y="1"/>
                  </a:moveTo>
                  <a:cubicBezTo>
                    <a:pt x="291" y="25"/>
                    <a:pt x="148" y="39"/>
                    <a:pt x="1" y="46"/>
                  </a:cubicBezTo>
                  <a:cubicBezTo>
                    <a:pt x="148" y="39"/>
                    <a:pt x="291" y="25"/>
                    <a:pt x="435" y="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832" name="Google Shape;3832;p104"/>
            <p:cNvSpPr/>
            <p:nvPr/>
          </p:nvSpPr>
          <p:spPr>
            <a:xfrm>
              <a:off x="2080237" y="1919548"/>
              <a:ext cx="14" cy="54"/>
            </a:xfrm>
            <a:custGeom>
              <a:avLst/>
              <a:gdLst/>
              <a:ahLst/>
              <a:cxnLst/>
              <a:rect l="l" t="t" r="r" b="b"/>
              <a:pathLst>
                <a:path w="1" h="4" extrusionOk="0">
                  <a:moveTo>
                    <a:pt x="0"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833" name="Google Shape;3833;p104"/>
            <p:cNvSpPr/>
            <p:nvPr/>
          </p:nvSpPr>
          <p:spPr>
            <a:xfrm>
              <a:off x="2080332" y="1919358"/>
              <a:ext cx="14" cy="54"/>
            </a:xfrm>
            <a:custGeom>
              <a:avLst/>
              <a:gdLst/>
              <a:ahLst/>
              <a:cxnLst/>
              <a:rect l="l" t="t" r="r" b="b"/>
              <a:pathLst>
                <a:path w="1" h="4" extrusionOk="0">
                  <a:moveTo>
                    <a:pt x="0"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834" name="Google Shape;3834;p104"/>
            <p:cNvSpPr/>
            <p:nvPr/>
          </p:nvSpPr>
          <p:spPr>
            <a:xfrm>
              <a:off x="2080278" y="1919453"/>
              <a:ext cx="14" cy="54"/>
            </a:xfrm>
            <a:custGeom>
              <a:avLst/>
              <a:gdLst/>
              <a:ahLst/>
              <a:cxnLst/>
              <a:rect l="l" t="t" r="r" b="b"/>
              <a:pathLst>
                <a:path w="1" h="4" extrusionOk="0">
                  <a:moveTo>
                    <a:pt x="1" y="1"/>
                  </a:moveTo>
                  <a:lnTo>
                    <a:pt x="1" y="4"/>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835" name="Google Shape;3835;p104"/>
            <p:cNvSpPr/>
            <p:nvPr/>
          </p:nvSpPr>
          <p:spPr>
            <a:xfrm>
              <a:off x="2080183" y="1919603"/>
              <a:ext cx="14" cy="54"/>
            </a:xfrm>
            <a:custGeom>
              <a:avLst/>
              <a:gdLst/>
              <a:ahLst/>
              <a:cxnLst/>
              <a:rect l="l" t="t" r="r" b="b"/>
              <a:pathLst>
                <a:path w="1" h="4" extrusionOk="0">
                  <a:moveTo>
                    <a:pt x="1" y="0"/>
                  </a:moveTo>
                  <a:lnTo>
                    <a:pt x="1" y="4"/>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836" name="Google Shape;3836;p104"/>
            <p:cNvSpPr/>
            <p:nvPr/>
          </p:nvSpPr>
          <p:spPr>
            <a:xfrm>
              <a:off x="2080142" y="1919643"/>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837" name="Google Shape;3837;p104"/>
            <p:cNvSpPr/>
            <p:nvPr/>
          </p:nvSpPr>
          <p:spPr>
            <a:xfrm>
              <a:off x="2079992" y="1919739"/>
              <a:ext cx="109" cy="54"/>
            </a:xfrm>
            <a:custGeom>
              <a:avLst/>
              <a:gdLst/>
              <a:ahLst/>
              <a:cxnLst/>
              <a:rect l="l" t="t" r="r" b="b"/>
              <a:pathLst>
                <a:path w="8" h="4" extrusionOk="0">
                  <a:moveTo>
                    <a:pt x="8" y="1"/>
                  </a:moveTo>
                  <a:lnTo>
                    <a:pt x="1" y="4"/>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838" name="Google Shape;3838;p104"/>
            <p:cNvSpPr/>
            <p:nvPr/>
          </p:nvSpPr>
          <p:spPr>
            <a:xfrm>
              <a:off x="2060658" y="1947735"/>
              <a:ext cx="1914" cy="407"/>
            </a:xfrm>
            <a:custGeom>
              <a:avLst/>
              <a:gdLst/>
              <a:ahLst/>
              <a:cxnLst/>
              <a:rect l="l" t="t" r="r" b="b"/>
              <a:pathLst>
                <a:path w="141" h="30" extrusionOk="0">
                  <a:moveTo>
                    <a:pt x="140" y="1"/>
                  </a:moveTo>
                  <a:cubicBezTo>
                    <a:pt x="130" y="4"/>
                    <a:pt x="118" y="8"/>
                    <a:pt x="106" y="11"/>
                  </a:cubicBezTo>
                  <a:lnTo>
                    <a:pt x="106" y="11"/>
                  </a:lnTo>
                  <a:cubicBezTo>
                    <a:pt x="118" y="8"/>
                    <a:pt x="130" y="4"/>
                    <a:pt x="140" y="1"/>
                  </a:cubicBezTo>
                  <a:close/>
                  <a:moveTo>
                    <a:pt x="106" y="11"/>
                  </a:moveTo>
                  <a:cubicBezTo>
                    <a:pt x="77" y="20"/>
                    <a:pt x="45" y="28"/>
                    <a:pt x="21" y="28"/>
                  </a:cubicBezTo>
                  <a:cubicBezTo>
                    <a:pt x="13" y="28"/>
                    <a:pt x="6" y="27"/>
                    <a:pt x="0" y="25"/>
                  </a:cubicBezTo>
                  <a:lnTo>
                    <a:pt x="0" y="25"/>
                  </a:lnTo>
                  <a:cubicBezTo>
                    <a:pt x="7" y="28"/>
                    <a:pt x="15" y="29"/>
                    <a:pt x="24" y="29"/>
                  </a:cubicBezTo>
                  <a:cubicBezTo>
                    <a:pt x="47" y="29"/>
                    <a:pt x="78" y="20"/>
                    <a:pt x="106" y="1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839" name="Google Shape;3839;p104"/>
            <p:cNvSpPr/>
            <p:nvPr/>
          </p:nvSpPr>
          <p:spPr>
            <a:xfrm>
              <a:off x="2050855" y="1932148"/>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840" name="Google Shape;3840;p104"/>
            <p:cNvSpPr/>
            <p:nvPr/>
          </p:nvSpPr>
          <p:spPr>
            <a:xfrm>
              <a:off x="2050719" y="1933900"/>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841" name="Google Shape;3841;p104"/>
            <p:cNvSpPr/>
            <p:nvPr/>
          </p:nvSpPr>
          <p:spPr>
            <a:xfrm>
              <a:off x="2066401" y="1952067"/>
              <a:ext cx="299" cy="149"/>
            </a:xfrm>
            <a:custGeom>
              <a:avLst/>
              <a:gdLst/>
              <a:ahLst/>
              <a:cxnLst/>
              <a:rect l="l" t="t" r="r" b="b"/>
              <a:pathLst>
                <a:path w="22" h="11" extrusionOk="0">
                  <a:moveTo>
                    <a:pt x="22" y="11"/>
                  </a:moveTo>
                  <a:lnTo>
                    <a:pt x="1"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842" name="Google Shape;3842;p104"/>
            <p:cNvSpPr/>
            <p:nvPr/>
          </p:nvSpPr>
          <p:spPr>
            <a:xfrm>
              <a:off x="2050760" y="1932759"/>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843" name="Google Shape;3843;p104"/>
            <p:cNvSpPr/>
            <p:nvPr/>
          </p:nvSpPr>
          <p:spPr>
            <a:xfrm>
              <a:off x="2065981" y="1951917"/>
              <a:ext cx="299" cy="109"/>
            </a:xfrm>
            <a:custGeom>
              <a:avLst/>
              <a:gdLst/>
              <a:ahLst/>
              <a:cxnLst/>
              <a:rect l="l" t="t" r="r" b="b"/>
              <a:pathLst>
                <a:path w="22" h="8" extrusionOk="0">
                  <a:moveTo>
                    <a:pt x="21" y="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844" name="Google Shape;3844;p104"/>
            <p:cNvSpPr/>
            <p:nvPr/>
          </p:nvSpPr>
          <p:spPr>
            <a:xfrm>
              <a:off x="2050719" y="1934185"/>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845" name="Google Shape;3845;p104"/>
            <p:cNvSpPr/>
            <p:nvPr/>
          </p:nvSpPr>
          <p:spPr>
            <a:xfrm>
              <a:off x="2050719" y="1934375"/>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846" name="Google Shape;3846;p104"/>
            <p:cNvSpPr/>
            <p:nvPr/>
          </p:nvSpPr>
          <p:spPr>
            <a:xfrm>
              <a:off x="2050719" y="1934524"/>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847" name="Google Shape;3847;p104"/>
            <p:cNvSpPr/>
            <p:nvPr/>
          </p:nvSpPr>
          <p:spPr>
            <a:xfrm>
              <a:off x="2065166" y="1951686"/>
              <a:ext cx="353" cy="109"/>
            </a:xfrm>
            <a:custGeom>
              <a:avLst/>
              <a:gdLst/>
              <a:ahLst/>
              <a:cxnLst/>
              <a:rect l="l" t="t" r="r" b="b"/>
              <a:pathLst>
                <a:path w="26" h="8" extrusionOk="0">
                  <a:moveTo>
                    <a:pt x="25" y="7"/>
                  </a:moveTo>
                  <a:lnTo>
                    <a:pt x="1"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848" name="Google Shape;3848;p104"/>
            <p:cNvSpPr/>
            <p:nvPr/>
          </p:nvSpPr>
          <p:spPr>
            <a:xfrm>
              <a:off x="2050719" y="1933615"/>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849" name="Google Shape;3849;p104"/>
            <p:cNvSpPr/>
            <p:nvPr/>
          </p:nvSpPr>
          <p:spPr>
            <a:xfrm>
              <a:off x="2065600" y="1951822"/>
              <a:ext cx="299" cy="68"/>
            </a:xfrm>
            <a:custGeom>
              <a:avLst/>
              <a:gdLst/>
              <a:ahLst/>
              <a:cxnLst/>
              <a:rect l="l" t="t" r="r" b="b"/>
              <a:pathLst>
                <a:path w="22" h="5" extrusionOk="0">
                  <a:moveTo>
                    <a:pt x="21"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850" name="Google Shape;3850;p104"/>
            <p:cNvSpPr/>
            <p:nvPr/>
          </p:nvSpPr>
          <p:spPr>
            <a:xfrm>
              <a:off x="2050719" y="1933235"/>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851" name="Google Shape;3851;p104"/>
            <p:cNvSpPr/>
            <p:nvPr/>
          </p:nvSpPr>
          <p:spPr>
            <a:xfrm>
              <a:off x="2149346" y="1865605"/>
              <a:ext cx="72640" cy="121356"/>
            </a:xfrm>
            <a:custGeom>
              <a:avLst/>
              <a:gdLst/>
              <a:ahLst/>
              <a:cxnLst/>
              <a:rect l="l" t="t" r="r" b="b"/>
              <a:pathLst>
                <a:path w="5350" h="8938" extrusionOk="0">
                  <a:moveTo>
                    <a:pt x="1229" y="0"/>
                  </a:moveTo>
                  <a:lnTo>
                    <a:pt x="806" y="228"/>
                  </a:lnTo>
                  <a:cubicBezTo>
                    <a:pt x="816" y="382"/>
                    <a:pt x="823" y="529"/>
                    <a:pt x="827" y="648"/>
                  </a:cubicBezTo>
                  <a:lnTo>
                    <a:pt x="827" y="690"/>
                  </a:lnTo>
                  <a:lnTo>
                    <a:pt x="827" y="697"/>
                  </a:lnTo>
                  <a:lnTo>
                    <a:pt x="827" y="728"/>
                  </a:lnTo>
                  <a:lnTo>
                    <a:pt x="827" y="739"/>
                  </a:lnTo>
                  <a:lnTo>
                    <a:pt x="827" y="767"/>
                  </a:lnTo>
                  <a:lnTo>
                    <a:pt x="827" y="777"/>
                  </a:lnTo>
                  <a:lnTo>
                    <a:pt x="827" y="798"/>
                  </a:lnTo>
                  <a:lnTo>
                    <a:pt x="827" y="812"/>
                  </a:lnTo>
                  <a:lnTo>
                    <a:pt x="827" y="830"/>
                  </a:lnTo>
                  <a:lnTo>
                    <a:pt x="827" y="844"/>
                  </a:lnTo>
                  <a:lnTo>
                    <a:pt x="827" y="854"/>
                  </a:lnTo>
                  <a:lnTo>
                    <a:pt x="827" y="868"/>
                  </a:lnTo>
                  <a:lnTo>
                    <a:pt x="827" y="875"/>
                  </a:lnTo>
                  <a:lnTo>
                    <a:pt x="827" y="893"/>
                  </a:lnTo>
                  <a:cubicBezTo>
                    <a:pt x="827" y="928"/>
                    <a:pt x="869" y="984"/>
                    <a:pt x="911" y="1040"/>
                  </a:cubicBezTo>
                  <a:cubicBezTo>
                    <a:pt x="977" y="1134"/>
                    <a:pt x="1065" y="1257"/>
                    <a:pt x="1054" y="1400"/>
                  </a:cubicBezTo>
                  <a:cubicBezTo>
                    <a:pt x="1047" y="1453"/>
                    <a:pt x="1065" y="1509"/>
                    <a:pt x="1100" y="1547"/>
                  </a:cubicBezTo>
                  <a:cubicBezTo>
                    <a:pt x="1166" y="1628"/>
                    <a:pt x="1184" y="1736"/>
                    <a:pt x="1149" y="1831"/>
                  </a:cubicBezTo>
                  <a:cubicBezTo>
                    <a:pt x="1093" y="2017"/>
                    <a:pt x="1061" y="2206"/>
                    <a:pt x="1054" y="2398"/>
                  </a:cubicBezTo>
                  <a:cubicBezTo>
                    <a:pt x="1054" y="3739"/>
                    <a:pt x="998" y="3781"/>
                    <a:pt x="963" y="3809"/>
                  </a:cubicBezTo>
                  <a:cubicBezTo>
                    <a:pt x="883" y="3868"/>
                    <a:pt x="158" y="4611"/>
                    <a:pt x="116" y="4866"/>
                  </a:cubicBezTo>
                  <a:cubicBezTo>
                    <a:pt x="113" y="4884"/>
                    <a:pt x="109" y="4901"/>
                    <a:pt x="106" y="4915"/>
                  </a:cubicBezTo>
                  <a:cubicBezTo>
                    <a:pt x="95" y="4982"/>
                    <a:pt x="74" y="5045"/>
                    <a:pt x="43" y="5104"/>
                  </a:cubicBezTo>
                  <a:cubicBezTo>
                    <a:pt x="25" y="5136"/>
                    <a:pt x="15" y="5167"/>
                    <a:pt x="8" y="5202"/>
                  </a:cubicBezTo>
                  <a:cubicBezTo>
                    <a:pt x="4" y="5244"/>
                    <a:pt x="1" y="5283"/>
                    <a:pt x="4" y="5321"/>
                  </a:cubicBezTo>
                  <a:lnTo>
                    <a:pt x="4" y="5384"/>
                  </a:lnTo>
                  <a:lnTo>
                    <a:pt x="4" y="5395"/>
                  </a:lnTo>
                  <a:lnTo>
                    <a:pt x="4" y="5458"/>
                  </a:lnTo>
                  <a:cubicBezTo>
                    <a:pt x="22" y="5475"/>
                    <a:pt x="39" y="5493"/>
                    <a:pt x="53" y="5514"/>
                  </a:cubicBezTo>
                  <a:cubicBezTo>
                    <a:pt x="67" y="5531"/>
                    <a:pt x="81" y="5552"/>
                    <a:pt x="99" y="5566"/>
                  </a:cubicBezTo>
                  <a:cubicBezTo>
                    <a:pt x="127" y="5598"/>
                    <a:pt x="151" y="5636"/>
                    <a:pt x="172" y="5675"/>
                  </a:cubicBezTo>
                  <a:cubicBezTo>
                    <a:pt x="204" y="5734"/>
                    <a:pt x="221" y="5766"/>
                    <a:pt x="274" y="5773"/>
                  </a:cubicBezTo>
                  <a:lnTo>
                    <a:pt x="295" y="5773"/>
                  </a:lnTo>
                  <a:cubicBezTo>
                    <a:pt x="309" y="5776"/>
                    <a:pt x="326" y="5776"/>
                    <a:pt x="344" y="5780"/>
                  </a:cubicBezTo>
                  <a:cubicBezTo>
                    <a:pt x="403" y="5801"/>
                    <a:pt x="456" y="5839"/>
                    <a:pt x="498" y="5888"/>
                  </a:cubicBezTo>
                  <a:cubicBezTo>
                    <a:pt x="617" y="6025"/>
                    <a:pt x="711" y="6246"/>
                    <a:pt x="697" y="6365"/>
                  </a:cubicBezTo>
                  <a:cubicBezTo>
                    <a:pt x="694" y="6417"/>
                    <a:pt x="704" y="6466"/>
                    <a:pt x="722" y="6515"/>
                  </a:cubicBezTo>
                  <a:cubicBezTo>
                    <a:pt x="757" y="6624"/>
                    <a:pt x="771" y="6736"/>
                    <a:pt x="764" y="6848"/>
                  </a:cubicBezTo>
                  <a:cubicBezTo>
                    <a:pt x="750" y="7096"/>
                    <a:pt x="907" y="7432"/>
                    <a:pt x="960" y="7467"/>
                  </a:cubicBezTo>
                  <a:cubicBezTo>
                    <a:pt x="1005" y="7485"/>
                    <a:pt x="1026" y="7534"/>
                    <a:pt x="1012" y="7579"/>
                  </a:cubicBezTo>
                  <a:cubicBezTo>
                    <a:pt x="1012" y="7586"/>
                    <a:pt x="1009" y="7593"/>
                    <a:pt x="1005" y="7597"/>
                  </a:cubicBezTo>
                  <a:cubicBezTo>
                    <a:pt x="970" y="7660"/>
                    <a:pt x="862" y="7670"/>
                    <a:pt x="774" y="7670"/>
                  </a:cubicBezTo>
                  <a:cubicBezTo>
                    <a:pt x="743" y="7670"/>
                    <a:pt x="715" y="7670"/>
                    <a:pt x="694" y="7667"/>
                  </a:cubicBezTo>
                  <a:cubicBezTo>
                    <a:pt x="624" y="7661"/>
                    <a:pt x="562" y="7659"/>
                    <a:pt x="509" y="7659"/>
                  </a:cubicBezTo>
                  <a:cubicBezTo>
                    <a:pt x="395" y="7659"/>
                    <a:pt x="321" y="7670"/>
                    <a:pt x="295" y="7684"/>
                  </a:cubicBezTo>
                  <a:cubicBezTo>
                    <a:pt x="295" y="7698"/>
                    <a:pt x="291" y="7716"/>
                    <a:pt x="288" y="7730"/>
                  </a:cubicBezTo>
                  <a:cubicBezTo>
                    <a:pt x="277" y="7800"/>
                    <a:pt x="263" y="7877"/>
                    <a:pt x="403" y="8006"/>
                  </a:cubicBezTo>
                  <a:cubicBezTo>
                    <a:pt x="466" y="8066"/>
                    <a:pt x="526" y="8112"/>
                    <a:pt x="582" y="8154"/>
                  </a:cubicBezTo>
                  <a:cubicBezTo>
                    <a:pt x="715" y="8255"/>
                    <a:pt x="823" y="8339"/>
                    <a:pt x="876" y="8504"/>
                  </a:cubicBezTo>
                  <a:cubicBezTo>
                    <a:pt x="911" y="8637"/>
                    <a:pt x="963" y="8763"/>
                    <a:pt x="1030" y="8885"/>
                  </a:cubicBezTo>
                  <a:lnTo>
                    <a:pt x="1040" y="8889"/>
                  </a:lnTo>
                  <a:cubicBezTo>
                    <a:pt x="1047" y="8899"/>
                    <a:pt x="1054" y="8913"/>
                    <a:pt x="1065" y="8924"/>
                  </a:cubicBezTo>
                  <a:lnTo>
                    <a:pt x="1072" y="8927"/>
                  </a:lnTo>
                  <a:cubicBezTo>
                    <a:pt x="1079" y="8934"/>
                    <a:pt x="1089" y="8938"/>
                    <a:pt x="1100" y="8938"/>
                  </a:cubicBezTo>
                  <a:lnTo>
                    <a:pt x="1124" y="8938"/>
                  </a:lnTo>
                  <a:cubicBezTo>
                    <a:pt x="1194" y="8917"/>
                    <a:pt x="1250" y="8875"/>
                    <a:pt x="1285" y="8812"/>
                  </a:cubicBezTo>
                  <a:cubicBezTo>
                    <a:pt x="1326" y="8755"/>
                    <a:pt x="1370" y="8737"/>
                    <a:pt x="1413" y="8737"/>
                  </a:cubicBezTo>
                  <a:cubicBezTo>
                    <a:pt x="1470" y="8737"/>
                    <a:pt x="1523" y="8771"/>
                    <a:pt x="1555" y="8791"/>
                  </a:cubicBezTo>
                  <a:cubicBezTo>
                    <a:pt x="1594" y="8816"/>
                    <a:pt x="1612" y="8825"/>
                    <a:pt x="1623" y="8825"/>
                  </a:cubicBezTo>
                  <a:cubicBezTo>
                    <a:pt x="1632" y="8825"/>
                    <a:pt x="1636" y="8819"/>
                    <a:pt x="1642" y="8812"/>
                  </a:cubicBezTo>
                  <a:cubicBezTo>
                    <a:pt x="1734" y="8693"/>
                    <a:pt x="1940" y="8665"/>
                    <a:pt x="2105" y="8644"/>
                  </a:cubicBezTo>
                  <a:cubicBezTo>
                    <a:pt x="2161" y="8640"/>
                    <a:pt x="2213" y="8630"/>
                    <a:pt x="2266" y="8616"/>
                  </a:cubicBezTo>
                  <a:lnTo>
                    <a:pt x="2350" y="8574"/>
                  </a:lnTo>
                  <a:cubicBezTo>
                    <a:pt x="2469" y="8518"/>
                    <a:pt x="2668" y="8423"/>
                    <a:pt x="2738" y="8364"/>
                  </a:cubicBezTo>
                  <a:cubicBezTo>
                    <a:pt x="2738" y="8364"/>
                    <a:pt x="2738" y="8360"/>
                    <a:pt x="2742" y="8360"/>
                  </a:cubicBezTo>
                  <a:cubicBezTo>
                    <a:pt x="2735" y="8343"/>
                    <a:pt x="2731" y="8322"/>
                    <a:pt x="2721" y="8308"/>
                  </a:cubicBezTo>
                  <a:cubicBezTo>
                    <a:pt x="2700" y="8252"/>
                    <a:pt x="2647" y="8136"/>
                    <a:pt x="2780" y="8066"/>
                  </a:cubicBezTo>
                  <a:cubicBezTo>
                    <a:pt x="2834" y="8036"/>
                    <a:pt x="2909" y="8030"/>
                    <a:pt x="2994" y="8030"/>
                  </a:cubicBezTo>
                  <a:cubicBezTo>
                    <a:pt x="3020" y="8030"/>
                    <a:pt x="3047" y="8030"/>
                    <a:pt x="3074" y="8031"/>
                  </a:cubicBezTo>
                  <a:cubicBezTo>
                    <a:pt x="3100" y="8032"/>
                    <a:pt x="3127" y="8032"/>
                    <a:pt x="3153" y="8032"/>
                  </a:cubicBezTo>
                  <a:cubicBezTo>
                    <a:pt x="3305" y="8032"/>
                    <a:pt x="3459" y="8017"/>
                    <a:pt x="3536" y="7919"/>
                  </a:cubicBezTo>
                  <a:cubicBezTo>
                    <a:pt x="3680" y="7747"/>
                    <a:pt x="3834" y="7586"/>
                    <a:pt x="3999" y="7436"/>
                  </a:cubicBezTo>
                  <a:cubicBezTo>
                    <a:pt x="4030" y="7408"/>
                    <a:pt x="4058" y="7383"/>
                    <a:pt x="4076" y="7366"/>
                  </a:cubicBezTo>
                  <a:cubicBezTo>
                    <a:pt x="4093" y="7348"/>
                    <a:pt x="4100" y="7324"/>
                    <a:pt x="4100" y="7299"/>
                  </a:cubicBezTo>
                  <a:cubicBezTo>
                    <a:pt x="4100" y="7226"/>
                    <a:pt x="4132" y="7156"/>
                    <a:pt x="4188" y="7107"/>
                  </a:cubicBezTo>
                  <a:cubicBezTo>
                    <a:pt x="4261" y="7030"/>
                    <a:pt x="4426" y="6911"/>
                    <a:pt x="4573" y="6893"/>
                  </a:cubicBezTo>
                  <a:lnTo>
                    <a:pt x="4646" y="6893"/>
                  </a:lnTo>
                  <a:cubicBezTo>
                    <a:pt x="4653" y="6893"/>
                    <a:pt x="4660" y="6897"/>
                    <a:pt x="4667" y="6900"/>
                  </a:cubicBezTo>
                  <a:lnTo>
                    <a:pt x="4681" y="6904"/>
                  </a:lnTo>
                  <a:cubicBezTo>
                    <a:pt x="4688" y="6904"/>
                    <a:pt x="4692" y="6907"/>
                    <a:pt x="4699" y="6911"/>
                  </a:cubicBezTo>
                  <a:cubicBezTo>
                    <a:pt x="4706" y="6911"/>
                    <a:pt x="4706" y="6911"/>
                    <a:pt x="4713" y="6914"/>
                  </a:cubicBezTo>
                  <a:lnTo>
                    <a:pt x="4751" y="6771"/>
                  </a:lnTo>
                  <a:cubicBezTo>
                    <a:pt x="4664" y="6715"/>
                    <a:pt x="4496" y="6585"/>
                    <a:pt x="4496" y="6403"/>
                  </a:cubicBezTo>
                  <a:cubicBezTo>
                    <a:pt x="4496" y="6351"/>
                    <a:pt x="4499" y="6305"/>
                    <a:pt x="4503" y="6256"/>
                  </a:cubicBezTo>
                  <a:cubicBezTo>
                    <a:pt x="4506" y="6186"/>
                    <a:pt x="4513" y="6095"/>
                    <a:pt x="4492" y="6071"/>
                  </a:cubicBezTo>
                  <a:cubicBezTo>
                    <a:pt x="4482" y="6064"/>
                    <a:pt x="4471" y="6064"/>
                    <a:pt x="4457" y="6064"/>
                  </a:cubicBezTo>
                  <a:cubicBezTo>
                    <a:pt x="4452" y="6064"/>
                    <a:pt x="4447" y="6064"/>
                    <a:pt x="4441" y="6064"/>
                  </a:cubicBezTo>
                  <a:cubicBezTo>
                    <a:pt x="4363" y="6064"/>
                    <a:pt x="4290" y="6017"/>
                    <a:pt x="4258" y="5944"/>
                  </a:cubicBezTo>
                  <a:cubicBezTo>
                    <a:pt x="4219" y="5853"/>
                    <a:pt x="4254" y="5738"/>
                    <a:pt x="4345" y="5647"/>
                  </a:cubicBezTo>
                  <a:cubicBezTo>
                    <a:pt x="4373" y="5619"/>
                    <a:pt x="4352" y="5559"/>
                    <a:pt x="4314" y="5479"/>
                  </a:cubicBezTo>
                  <a:cubicBezTo>
                    <a:pt x="4286" y="5409"/>
                    <a:pt x="4251" y="5339"/>
                    <a:pt x="4289" y="5279"/>
                  </a:cubicBezTo>
                  <a:cubicBezTo>
                    <a:pt x="4322" y="5244"/>
                    <a:pt x="4366" y="5223"/>
                    <a:pt x="4414" y="5223"/>
                  </a:cubicBezTo>
                  <a:cubicBezTo>
                    <a:pt x="4418" y="5223"/>
                    <a:pt x="4422" y="5223"/>
                    <a:pt x="4426" y="5223"/>
                  </a:cubicBezTo>
                  <a:cubicBezTo>
                    <a:pt x="4478" y="5223"/>
                    <a:pt x="4492" y="5206"/>
                    <a:pt x="4506" y="5069"/>
                  </a:cubicBezTo>
                  <a:cubicBezTo>
                    <a:pt x="4513" y="4975"/>
                    <a:pt x="4524" y="4845"/>
                    <a:pt x="4646" y="4821"/>
                  </a:cubicBezTo>
                  <a:cubicBezTo>
                    <a:pt x="4758" y="4796"/>
                    <a:pt x="4797" y="4723"/>
                    <a:pt x="4797" y="4548"/>
                  </a:cubicBezTo>
                  <a:cubicBezTo>
                    <a:pt x="4797" y="4345"/>
                    <a:pt x="5126" y="4240"/>
                    <a:pt x="5283" y="4191"/>
                  </a:cubicBezTo>
                  <a:lnTo>
                    <a:pt x="5308" y="4184"/>
                  </a:lnTo>
                  <a:cubicBezTo>
                    <a:pt x="5336" y="4135"/>
                    <a:pt x="5350" y="3903"/>
                    <a:pt x="5336" y="3672"/>
                  </a:cubicBezTo>
                  <a:lnTo>
                    <a:pt x="5336" y="2209"/>
                  </a:lnTo>
                  <a:lnTo>
                    <a:pt x="1229"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852" name="Google Shape;3852;p104"/>
            <p:cNvSpPr/>
            <p:nvPr/>
          </p:nvSpPr>
          <p:spPr>
            <a:xfrm>
              <a:off x="2163888" y="1986811"/>
              <a:ext cx="394" cy="149"/>
            </a:xfrm>
            <a:custGeom>
              <a:avLst/>
              <a:gdLst/>
              <a:ahLst/>
              <a:cxnLst/>
              <a:rect l="l" t="t" r="r" b="b"/>
              <a:pathLst>
                <a:path w="29" h="11" extrusionOk="0">
                  <a:moveTo>
                    <a:pt x="29" y="11"/>
                  </a:moveTo>
                  <a:cubicBezTo>
                    <a:pt x="18" y="11"/>
                    <a:pt x="8" y="7"/>
                    <a:pt x="1" y="0"/>
                  </a:cubicBezTo>
                  <a:lnTo>
                    <a:pt x="1" y="0"/>
                  </a:lnTo>
                  <a:cubicBezTo>
                    <a:pt x="8" y="7"/>
                    <a:pt x="18" y="11"/>
                    <a:pt x="29" y="1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853" name="Google Shape;3853;p104"/>
            <p:cNvSpPr/>
            <p:nvPr/>
          </p:nvSpPr>
          <p:spPr>
            <a:xfrm>
              <a:off x="2163467" y="1986282"/>
              <a:ext cx="339" cy="489"/>
            </a:xfrm>
            <a:custGeom>
              <a:avLst/>
              <a:gdLst/>
              <a:ahLst/>
              <a:cxnLst/>
              <a:rect l="l" t="t" r="r" b="b"/>
              <a:pathLst>
                <a:path w="25" h="36" extrusionOk="0">
                  <a:moveTo>
                    <a:pt x="0" y="1"/>
                  </a:moveTo>
                  <a:cubicBezTo>
                    <a:pt x="4" y="9"/>
                    <a:pt x="8" y="16"/>
                    <a:pt x="13" y="22"/>
                  </a:cubicBezTo>
                  <a:lnTo>
                    <a:pt x="13" y="22"/>
                  </a:lnTo>
                  <a:cubicBezTo>
                    <a:pt x="12" y="21"/>
                    <a:pt x="11" y="20"/>
                    <a:pt x="11" y="18"/>
                  </a:cubicBezTo>
                  <a:lnTo>
                    <a:pt x="0" y="1"/>
                  </a:lnTo>
                  <a:close/>
                  <a:moveTo>
                    <a:pt x="13" y="22"/>
                  </a:moveTo>
                  <a:lnTo>
                    <a:pt x="13" y="22"/>
                  </a:lnTo>
                  <a:cubicBezTo>
                    <a:pt x="17" y="28"/>
                    <a:pt x="22" y="33"/>
                    <a:pt x="25" y="36"/>
                  </a:cubicBezTo>
                  <a:cubicBezTo>
                    <a:pt x="20" y="31"/>
                    <a:pt x="17" y="27"/>
                    <a:pt x="13" y="22"/>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854" name="Google Shape;3854;p104"/>
            <p:cNvSpPr/>
            <p:nvPr/>
          </p:nvSpPr>
          <p:spPr>
            <a:xfrm>
              <a:off x="2212943" y="1959331"/>
              <a:ext cx="258" cy="109"/>
            </a:xfrm>
            <a:custGeom>
              <a:avLst/>
              <a:gdLst/>
              <a:ahLst/>
              <a:cxnLst/>
              <a:rect l="l" t="t" r="r" b="b"/>
              <a:pathLst>
                <a:path w="19" h="8" extrusionOk="0">
                  <a:moveTo>
                    <a:pt x="1" y="1"/>
                  </a:moveTo>
                  <a:cubicBezTo>
                    <a:pt x="4" y="4"/>
                    <a:pt x="11" y="4"/>
                    <a:pt x="18" y="8"/>
                  </a:cubicBezTo>
                  <a:cubicBezTo>
                    <a:pt x="11" y="4"/>
                    <a:pt x="4" y="1"/>
                    <a:pt x="1" y="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855" name="Google Shape;3855;p104"/>
            <p:cNvSpPr/>
            <p:nvPr/>
          </p:nvSpPr>
          <p:spPr>
            <a:xfrm>
              <a:off x="2212468" y="1959235"/>
              <a:ext cx="299" cy="68"/>
            </a:xfrm>
            <a:custGeom>
              <a:avLst/>
              <a:gdLst/>
              <a:ahLst/>
              <a:cxnLst/>
              <a:rect l="l" t="t" r="r" b="b"/>
              <a:pathLst>
                <a:path w="22" h="5" extrusionOk="0">
                  <a:moveTo>
                    <a:pt x="1" y="1"/>
                  </a:moveTo>
                  <a:cubicBezTo>
                    <a:pt x="8" y="1"/>
                    <a:pt x="15" y="4"/>
                    <a:pt x="22" y="4"/>
                  </a:cubicBezTo>
                  <a:cubicBezTo>
                    <a:pt x="15" y="1"/>
                    <a:pt x="8" y="1"/>
                    <a:pt x="1" y="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856" name="Google Shape;3856;p104"/>
            <p:cNvSpPr/>
            <p:nvPr/>
          </p:nvSpPr>
          <p:spPr>
            <a:xfrm>
              <a:off x="2206195" y="1959235"/>
              <a:ext cx="5295" cy="2865"/>
            </a:xfrm>
            <a:custGeom>
              <a:avLst/>
              <a:gdLst/>
              <a:ahLst/>
              <a:cxnLst/>
              <a:rect l="l" t="t" r="r" b="b"/>
              <a:pathLst>
                <a:path w="390" h="211" extrusionOk="0">
                  <a:moveTo>
                    <a:pt x="1" y="211"/>
                  </a:moveTo>
                  <a:cubicBezTo>
                    <a:pt x="78" y="137"/>
                    <a:pt x="242" y="18"/>
                    <a:pt x="389" y="1"/>
                  </a:cubicBezTo>
                  <a:cubicBezTo>
                    <a:pt x="242" y="18"/>
                    <a:pt x="78" y="137"/>
                    <a:pt x="1" y="21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857" name="Google Shape;3857;p104"/>
            <p:cNvSpPr/>
            <p:nvPr/>
          </p:nvSpPr>
          <p:spPr>
            <a:xfrm>
              <a:off x="2211993" y="1959195"/>
              <a:ext cx="353" cy="14"/>
            </a:xfrm>
            <a:custGeom>
              <a:avLst/>
              <a:gdLst/>
              <a:ahLst/>
              <a:cxnLst/>
              <a:rect l="l" t="t" r="r" b="b"/>
              <a:pathLst>
                <a:path w="26" h="1" extrusionOk="0">
                  <a:moveTo>
                    <a:pt x="1" y="0"/>
                  </a:moveTo>
                  <a:cubicBezTo>
                    <a:pt x="8" y="0"/>
                    <a:pt x="15" y="0"/>
                    <a:pt x="25" y="0"/>
                  </a:cubicBezTo>
                  <a:cubicBezTo>
                    <a:pt x="15" y="0"/>
                    <a:pt x="8" y="0"/>
                    <a:pt x="1"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858" name="Google Shape;3858;p104"/>
            <p:cNvSpPr/>
            <p:nvPr/>
          </p:nvSpPr>
          <p:spPr>
            <a:xfrm>
              <a:off x="2211477" y="1959195"/>
              <a:ext cx="434" cy="54"/>
            </a:xfrm>
            <a:custGeom>
              <a:avLst/>
              <a:gdLst/>
              <a:ahLst/>
              <a:cxnLst/>
              <a:rect l="l" t="t" r="r" b="b"/>
              <a:pathLst>
                <a:path w="32" h="4" extrusionOk="0">
                  <a:moveTo>
                    <a:pt x="0" y="4"/>
                  </a:moveTo>
                  <a:cubicBezTo>
                    <a:pt x="11" y="0"/>
                    <a:pt x="21" y="0"/>
                    <a:pt x="32" y="4"/>
                  </a:cubicBezTo>
                  <a:cubicBezTo>
                    <a:pt x="21" y="0"/>
                    <a:pt x="11" y="0"/>
                    <a:pt x="0" y="4"/>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859" name="Google Shape;3859;p104"/>
            <p:cNvSpPr/>
            <p:nvPr/>
          </p:nvSpPr>
          <p:spPr>
            <a:xfrm>
              <a:off x="2154153" y="1944164"/>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860" name="Google Shape;3860;p104"/>
            <p:cNvSpPr/>
            <p:nvPr/>
          </p:nvSpPr>
          <p:spPr>
            <a:xfrm>
              <a:off x="2149536" y="1939752"/>
              <a:ext cx="1303" cy="1480"/>
            </a:xfrm>
            <a:custGeom>
              <a:avLst/>
              <a:gdLst/>
              <a:ahLst/>
              <a:cxnLst/>
              <a:rect l="l" t="t" r="r" b="b"/>
              <a:pathLst>
                <a:path w="96" h="109" extrusionOk="0">
                  <a:moveTo>
                    <a:pt x="1" y="0"/>
                  </a:moveTo>
                  <a:lnTo>
                    <a:pt x="1" y="4"/>
                  </a:lnTo>
                  <a:cubicBezTo>
                    <a:pt x="18" y="21"/>
                    <a:pt x="36" y="39"/>
                    <a:pt x="50" y="60"/>
                  </a:cubicBezTo>
                  <a:cubicBezTo>
                    <a:pt x="64" y="77"/>
                    <a:pt x="78" y="95"/>
                    <a:pt x="95" y="109"/>
                  </a:cubicBezTo>
                  <a:cubicBezTo>
                    <a:pt x="78" y="95"/>
                    <a:pt x="64" y="74"/>
                    <a:pt x="50" y="56"/>
                  </a:cubicBezTo>
                  <a:cubicBezTo>
                    <a:pt x="36" y="35"/>
                    <a:pt x="18" y="18"/>
                    <a:pt x="1"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861" name="Google Shape;3861;p104"/>
            <p:cNvSpPr/>
            <p:nvPr/>
          </p:nvSpPr>
          <p:spPr>
            <a:xfrm>
              <a:off x="2150826" y="1941218"/>
              <a:ext cx="2675" cy="2824"/>
            </a:xfrm>
            <a:custGeom>
              <a:avLst/>
              <a:gdLst/>
              <a:ahLst/>
              <a:cxnLst/>
              <a:rect l="l" t="t" r="r" b="b"/>
              <a:pathLst>
                <a:path w="197" h="208" extrusionOk="0">
                  <a:moveTo>
                    <a:pt x="0" y="1"/>
                  </a:moveTo>
                  <a:cubicBezTo>
                    <a:pt x="28" y="36"/>
                    <a:pt x="53" y="71"/>
                    <a:pt x="74" y="109"/>
                  </a:cubicBezTo>
                  <a:cubicBezTo>
                    <a:pt x="53" y="71"/>
                    <a:pt x="28" y="32"/>
                    <a:pt x="0" y="1"/>
                  </a:cubicBezTo>
                  <a:close/>
                  <a:moveTo>
                    <a:pt x="74" y="109"/>
                  </a:moveTo>
                  <a:cubicBezTo>
                    <a:pt x="76" y="114"/>
                    <a:pt x="78" y="118"/>
                    <a:pt x="80" y="121"/>
                  </a:cubicBezTo>
                  <a:lnTo>
                    <a:pt x="80" y="121"/>
                  </a:lnTo>
                  <a:cubicBezTo>
                    <a:pt x="78" y="118"/>
                    <a:pt x="76" y="114"/>
                    <a:pt x="74" y="109"/>
                  </a:cubicBezTo>
                  <a:close/>
                  <a:moveTo>
                    <a:pt x="80" y="121"/>
                  </a:moveTo>
                  <a:lnTo>
                    <a:pt x="80" y="121"/>
                  </a:lnTo>
                  <a:cubicBezTo>
                    <a:pt x="105" y="167"/>
                    <a:pt x="122" y="194"/>
                    <a:pt x="158" y="204"/>
                  </a:cubicBezTo>
                  <a:lnTo>
                    <a:pt x="186" y="207"/>
                  </a:lnTo>
                  <a:lnTo>
                    <a:pt x="196" y="207"/>
                  </a:lnTo>
                  <a:lnTo>
                    <a:pt x="175" y="204"/>
                  </a:lnTo>
                  <a:cubicBezTo>
                    <a:pt x="130" y="201"/>
                    <a:pt x="108" y="173"/>
                    <a:pt x="80" y="12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862" name="Google Shape;3862;p104"/>
            <p:cNvSpPr/>
            <p:nvPr/>
          </p:nvSpPr>
          <p:spPr>
            <a:xfrm>
              <a:off x="2158905" y="1969785"/>
              <a:ext cx="1100" cy="68"/>
            </a:xfrm>
            <a:custGeom>
              <a:avLst/>
              <a:gdLst/>
              <a:ahLst/>
              <a:cxnLst/>
              <a:rect l="l" t="t" r="r" b="b"/>
              <a:pathLst>
                <a:path w="81" h="5" extrusionOk="0">
                  <a:moveTo>
                    <a:pt x="0" y="1"/>
                  </a:moveTo>
                  <a:cubicBezTo>
                    <a:pt x="21" y="4"/>
                    <a:pt x="49" y="4"/>
                    <a:pt x="81" y="4"/>
                  </a:cubicBezTo>
                  <a:cubicBezTo>
                    <a:pt x="49" y="4"/>
                    <a:pt x="21" y="1"/>
                    <a:pt x="0" y="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863" name="Google Shape;3863;p104"/>
            <p:cNvSpPr/>
            <p:nvPr/>
          </p:nvSpPr>
          <p:spPr>
            <a:xfrm>
              <a:off x="2161376" y="1981150"/>
              <a:ext cx="2105" cy="5146"/>
            </a:xfrm>
            <a:custGeom>
              <a:avLst/>
              <a:gdLst/>
              <a:ahLst/>
              <a:cxnLst/>
              <a:rect l="l" t="t" r="r" b="b"/>
              <a:pathLst>
                <a:path w="155" h="379" extrusionOk="0">
                  <a:moveTo>
                    <a:pt x="0" y="1"/>
                  </a:moveTo>
                  <a:cubicBezTo>
                    <a:pt x="15" y="54"/>
                    <a:pt x="32" y="108"/>
                    <a:pt x="53" y="161"/>
                  </a:cubicBezTo>
                  <a:lnTo>
                    <a:pt x="53" y="161"/>
                  </a:lnTo>
                  <a:cubicBezTo>
                    <a:pt x="33" y="108"/>
                    <a:pt x="16" y="54"/>
                    <a:pt x="0" y="1"/>
                  </a:cubicBezTo>
                  <a:close/>
                  <a:moveTo>
                    <a:pt x="53" y="161"/>
                  </a:moveTo>
                  <a:lnTo>
                    <a:pt x="53" y="161"/>
                  </a:lnTo>
                  <a:cubicBezTo>
                    <a:pt x="78" y="229"/>
                    <a:pt x="107" y="296"/>
                    <a:pt x="140" y="361"/>
                  </a:cubicBezTo>
                  <a:lnTo>
                    <a:pt x="154" y="379"/>
                  </a:lnTo>
                  <a:cubicBezTo>
                    <a:pt x="115" y="309"/>
                    <a:pt x="81" y="236"/>
                    <a:pt x="53" y="16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864" name="Google Shape;3864;p104"/>
            <p:cNvSpPr/>
            <p:nvPr/>
          </p:nvSpPr>
          <p:spPr>
            <a:xfrm>
              <a:off x="2163277" y="1985997"/>
              <a:ext cx="339" cy="543"/>
            </a:xfrm>
            <a:custGeom>
              <a:avLst/>
              <a:gdLst/>
              <a:ahLst/>
              <a:cxnLst/>
              <a:rect l="l" t="t" r="r" b="b"/>
              <a:pathLst>
                <a:path w="25" h="40" extrusionOk="0">
                  <a:moveTo>
                    <a:pt x="0" y="1"/>
                  </a:moveTo>
                  <a:cubicBezTo>
                    <a:pt x="5" y="10"/>
                    <a:pt x="12" y="18"/>
                    <a:pt x="17" y="27"/>
                  </a:cubicBezTo>
                  <a:lnTo>
                    <a:pt x="17" y="27"/>
                  </a:lnTo>
                  <a:lnTo>
                    <a:pt x="14" y="22"/>
                  </a:lnTo>
                  <a:lnTo>
                    <a:pt x="0" y="1"/>
                  </a:lnTo>
                  <a:close/>
                  <a:moveTo>
                    <a:pt x="17" y="27"/>
                  </a:moveTo>
                  <a:lnTo>
                    <a:pt x="25" y="39"/>
                  </a:lnTo>
                  <a:cubicBezTo>
                    <a:pt x="23" y="35"/>
                    <a:pt x="20" y="31"/>
                    <a:pt x="17" y="27"/>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865" name="Google Shape;3865;p104"/>
            <p:cNvSpPr/>
            <p:nvPr/>
          </p:nvSpPr>
          <p:spPr>
            <a:xfrm>
              <a:off x="2152917" y="1943974"/>
              <a:ext cx="584" cy="109"/>
            </a:xfrm>
            <a:custGeom>
              <a:avLst/>
              <a:gdLst/>
              <a:ahLst/>
              <a:cxnLst/>
              <a:rect l="l" t="t" r="r" b="b"/>
              <a:pathLst>
                <a:path w="43" h="8" extrusionOk="0">
                  <a:moveTo>
                    <a:pt x="0" y="1"/>
                  </a:moveTo>
                  <a:lnTo>
                    <a:pt x="0" y="1"/>
                  </a:lnTo>
                  <a:cubicBezTo>
                    <a:pt x="8" y="3"/>
                    <a:pt x="16" y="5"/>
                    <a:pt x="24" y="6"/>
                  </a:cubicBezTo>
                  <a:lnTo>
                    <a:pt x="24" y="6"/>
                  </a:lnTo>
                  <a:lnTo>
                    <a:pt x="0" y="1"/>
                  </a:lnTo>
                  <a:close/>
                  <a:moveTo>
                    <a:pt x="24" y="6"/>
                  </a:moveTo>
                  <a:lnTo>
                    <a:pt x="32" y="8"/>
                  </a:lnTo>
                  <a:lnTo>
                    <a:pt x="42" y="8"/>
                  </a:lnTo>
                  <a:cubicBezTo>
                    <a:pt x="36" y="8"/>
                    <a:pt x="30" y="7"/>
                    <a:pt x="24" y="6"/>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866" name="Google Shape;3866;p104"/>
            <p:cNvSpPr/>
            <p:nvPr/>
          </p:nvSpPr>
          <p:spPr>
            <a:xfrm>
              <a:off x="2160711" y="1877105"/>
              <a:ext cx="14" cy="149"/>
            </a:xfrm>
            <a:custGeom>
              <a:avLst/>
              <a:gdLst/>
              <a:ahLst/>
              <a:cxnLst/>
              <a:rect l="l" t="t" r="r" b="b"/>
              <a:pathLst>
                <a:path w="1" h="11" extrusionOk="0">
                  <a:moveTo>
                    <a:pt x="0" y="0"/>
                  </a:moveTo>
                  <a:lnTo>
                    <a:pt x="0" y="11"/>
                  </a:lnTo>
                  <a:cubicBezTo>
                    <a:pt x="0" y="7"/>
                    <a:pt x="0" y="4"/>
                    <a:pt x="0"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867" name="Google Shape;3867;p104"/>
            <p:cNvSpPr/>
            <p:nvPr/>
          </p:nvSpPr>
          <p:spPr>
            <a:xfrm>
              <a:off x="2160656" y="1875680"/>
              <a:ext cx="14" cy="394"/>
            </a:xfrm>
            <a:custGeom>
              <a:avLst/>
              <a:gdLst/>
              <a:ahLst/>
              <a:cxnLst/>
              <a:rect l="l" t="t" r="r" b="b"/>
              <a:pathLst>
                <a:path w="1" h="29" extrusionOk="0">
                  <a:moveTo>
                    <a:pt x="1" y="0"/>
                  </a:moveTo>
                  <a:lnTo>
                    <a:pt x="1" y="28"/>
                  </a:lnTo>
                  <a:cubicBezTo>
                    <a:pt x="1" y="18"/>
                    <a:pt x="1" y="7"/>
                    <a:pt x="1"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868" name="Google Shape;3868;p104"/>
            <p:cNvSpPr/>
            <p:nvPr/>
          </p:nvSpPr>
          <p:spPr>
            <a:xfrm>
              <a:off x="2160751" y="1877431"/>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869" name="Google Shape;3869;p104"/>
            <p:cNvSpPr/>
            <p:nvPr/>
          </p:nvSpPr>
          <p:spPr>
            <a:xfrm>
              <a:off x="2160656" y="1875055"/>
              <a:ext cx="14" cy="489"/>
            </a:xfrm>
            <a:custGeom>
              <a:avLst/>
              <a:gdLst/>
              <a:ahLst/>
              <a:cxnLst/>
              <a:rect l="l" t="t" r="r" b="b"/>
              <a:pathLst>
                <a:path w="1" h="36" extrusionOk="0">
                  <a:moveTo>
                    <a:pt x="1" y="1"/>
                  </a:moveTo>
                  <a:lnTo>
                    <a:pt x="1" y="36"/>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870" name="Google Shape;3870;p104"/>
            <p:cNvSpPr/>
            <p:nvPr/>
          </p:nvSpPr>
          <p:spPr>
            <a:xfrm>
              <a:off x="2160711" y="1876671"/>
              <a:ext cx="14" cy="258"/>
            </a:xfrm>
            <a:custGeom>
              <a:avLst/>
              <a:gdLst/>
              <a:ahLst/>
              <a:cxnLst/>
              <a:rect l="l" t="t" r="r" b="b"/>
              <a:pathLst>
                <a:path w="1" h="19" extrusionOk="0">
                  <a:moveTo>
                    <a:pt x="0" y="1"/>
                  </a:moveTo>
                  <a:lnTo>
                    <a:pt x="0" y="18"/>
                  </a:lnTo>
                  <a:cubicBezTo>
                    <a:pt x="0" y="11"/>
                    <a:pt x="0" y="8"/>
                    <a:pt x="0" y="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871" name="Google Shape;3871;p104"/>
            <p:cNvSpPr/>
            <p:nvPr/>
          </p:nvSpPr>
          <p:spPr>
            <a:xfrm>
              <a:off x="2149536" y="1937946"/>
              <a:ext cx="14" cy="815"/>
            </a:xfrm>
            <a:custGeom>
              <a:avLst/>
              <a:gdLst/>
              <a:ahLst/>
              <a:cxnLst/>
              <a:rect l="l" t="t" r="r" b="b"/>
              <a:pathLst>
                <a:path w="1" h="60" extrusionOk="0">
                  <a:moveTo>
                    <a:pt x="1" y="0"/>
                  </a:moveTo>
                  <a:lnTo>
                    <a:pt x="1" y="60"/>
                  </a:lnTo>
                  <a:cubicBezTo>
                    <a:pt x="1" y="39"/>
                    <a:pt x="1" y="18"/>
                    <a:pt x="1"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872" name="Google Shape;3872;p104"/>
            <p:cNvSpPr/>
            <p:nvPr/>
          </p:nvSpPr>
          <p:spPr>
            <a:xfrm>
              <a:off x="2149536" y="1938896"/>
              <a:ext cx="14" cy="869"/>
            </a:xfrm>
            <a:custGeom>
              <a:avLst/>
              <a:gdLst/>
              <a:ahLst/>
              <a:cxnLst/>
              <a:rect l="l" t="t" r="r" b="b"/>
              <a:pathLst>
                <a:path w="1" h="64" extrusionOk="0">
                  <a:moveTo>
                    <a:pt x="1" y="63"/>
                  </a:moveTo>
                  <a:lnTo>
                    <a:pt x="1"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873" name="Google Shape;3873;p104"/>
            <p:cNvSpPr/>
            <p:nvPr/>
          </p:nvSpPr>
          <p:spPr>
            <a:xfrm>
              <a:off x="2160616" y="1874444"/>
              <a:ext cx="14" cy="584"/>
            </a:xfrm>
            <a:custGeom>
              <a:avLst/>
              <a:gdLst/>
              <a:ahLst/>
              <a:cxnLst/>
              <a:rect l="l" t="t" r="r" b="b"/>
              <a:pathLst>
                <a:path w="1" h="43" extrusionOk="0">
                  <a:moveTo>
                    <a:pt x="0" y="0"/>
                  </a:moveTo>
                  <a:lnTo>
                    <a:pt x="0" y="42"/>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874" name="Google Shape;3874;p104"/>
            <p:cNvSpPr/>
            <p:nvPr/>
          </p:nvSpPr>
          <p:spPr>
            <a:xfrm>
              <a:off x="2160711" y="1876195"/>
              <a:ext cx="14" cy="299"/>
            </a:xfrm>
            <a:custGeom>
              <a:avLst/>
              <a:gdLst/>
              <a:ahLst/>
              <a:cxnLst/>
              <a:rect l="l" t="t" r="r" b="b"/>
              <a:pathLst>
                <a:path w="1" h="22" extrusionOk="0">
                  <a:moveTo>
                    <a:pt x="0" y="1"/>
                  </a:moveTo>
                  <a:lnTo>
                    <a:pt x="0" y="22"/>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875" name="Google Shape;3875;p104"/>
            <p:cNvSpPr/>
            <p:nvPr/>
          </p:nvSpPr>
          <p:spPr>
            <a:xfrm>
              <a:off x="2160331" y="1868741"/>
              <a:ext cx="299" cy="5716"/>
            </a:xfrm>
            <a:custGeom>
              <a:avLst/>
              <a:gdLst/>
              <a:ahLst/>
              <a:cxnLst/>
              <a:rect l="l" t="t" r="r" b="b"/>
              <a:pathLst>
                <a:path w="22" h="421" extrusionOk="0">
                  <a:moveTo>
                    <a:pt x="0" y="1"/>
                  </a:moveTo>
                  <a:cubicBezTo>
                    <a:pt x="7" y="154"/>
                    <a:pt x="14" y="301"/>
                    <a:pt x="21" y="420"/>
                  </a:cubicBezTo>
                  <a:cubicBezTo>
                    <a:pt x="18" y="301"/>
                    <a:pt x="7" y="154"/>
                    <a:pt x="0" y="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876" name="Google Shape;3876;p104"/>
            <p:cNvSpPr/>
            <p:nvPr/>
          </p:nvSpPr>
          <p:spPr>
            <a:xfrm>
              <a:off x="2149631" y="1932379"/>
              <a:ext cx="1344" cy="3910"/>
            </a:xfrm>
            <a:custGeom>
              <a:avLst/>
              <a:gdLst/>
              <a:ahLst/>
              <a:cxnLst/>
              <a:rect l="l" t="t" r="r" b="b"/>
              <a:pathLst>
                <a:path w="99" h="288" extrusionOk="0">
                  <a:moveTo>
                    <a:pt x="1" y="288"/>
                  </a:moveTo>
                  <a:cubicBezTo>
                    <a:pt x="4" y="253"/>
                    <a:pt x="15" y="221"/>
                    <a:pt x="32" y="190"/>
                  </a:cubicBezTo>
                  <a:cubicBezTo>
                    <a:pt x="64" y="130"/>
                    <a:pt x="85" y="67"/>
                    <a:pt x="99" y="1"/>
                  </a:cubicBezTo>
                  <a:cubicBezTo>
                    <a:pt x="85" y="67"/>
                    <a:pt x="64" y="130"/>
                    <a:pt x="32" y="190"/>
                  </a:cubicBezTo>
                  <a:cubicBezTo>
                    <a:pt x="15" y="221"/>
                    <a:pt x="4" y="253"/>
                    <a:pt x="1" y="288"/>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877" name="Google Shape;3877;p104"/>
            <p:cNvSpPr/>
            <p:nvPr/>
          </p:nvSpPr>
          <p:spPr>
            <a:xfrm>
              <a:off x="2149536" y="1939752"/>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878" name="Google Shape;3878;p104"/>
            <p:cNvSpPr/>
            <p:nvPr/>
          </p:nvSpPr>
          <p:spPr>
            <a:xfrm>
              <a:off x="2229209" y="1797813"/>
              <a:ext cx="78193" cy="78641"/>
            </a:xfrm>
            <a:custGeom>
              <a:avLst/>
              <a:gdLst/>
              <a:ahLst/>
              <a:cxnLst/>
              <a:rect l="l" t="t" r="r" b="b"/>
              <a:pathLst>
                <a:path w="5759" h="5792" extrusionOk="0">
                  <a:moveTo>
                    <a:pt x="179" y="1"/>
                  </a:moveTo>
                  <a:lnTo>
                    <a:pt x="172" y="18"/>
                  </a:lnTo>
                  <a:lnTo>
                    <a:pt x="161" y="50"/>
                  </a:lnTo>
                  <a:cubicBezTo>
                    <a:pt x="112" y="169"/>
                    <a:pt x="109" y="295"/>
                    <a:pt x="140" y="417"/>
                  </a:cubicBezTo>
                  <a:cubicBezTo>
                    <a:pt x="165" y="515"/>
                    <a:pt x="186" y="620"/>
                    <a:pt x="81" y="747"/>
                  </a:cubicBezTo>
                  <a:cubicBezTo>
                    <a:pt x="0" y="845"/>
                    <a:pt x="14" y="946"/>
                    <a:pt x="53" y="1139"/>
                  </a:cubicBezTo>
                  <a:cubicBezTo>
                    <a:pt x="77" y="1261"/>
                    <a:pt x="91" y="1387"/>
                    <a:pt x="95" y="1513"/>
                  </a:cubicBezTo>
                  <a:lnTo>
                    <a:pt x="95" y="5662"/>
                  </a:lnTo>
                  <a:lnTo>
                    <a:pt x="3347" y="5662"/>
                  </a:lnTo>
                  <a:lnTo>
                    <a:pt x="3522" y="5543"/>
                  </a:lnTo>
                  <a:cubicBezTo>
                    <a:pt x="3551" y="5524"/>
                    <a:pt x="3581" y="5516"/>
                    <a:pt x="3612" y="5516"/>
                  </a:cubicBezTo>
                  <a:cubicBezTo>
                    <a:pt x="3707" y="5516"/>
                    <a:pt x="3801" y="5590"/>
                    <a:pt x="3844" y="5630"/>
                  </a:cubicBezTo>
                  <a:lnTo>
                    <a:pt x="4562" y="5630"/>
                  </a:lnTo>
                  <a:lnTo>
                    <a:pt x="4579" y="5655"/>
                  </a:lnTo>
                  <a:cubicBezTo>
                    <a:pt x="4579" y="5655"/>
                    <a:pt x="4695" y="5791"/>
                    <a:pt x="4821" y="5791"/>
                  </a:cubicBezTo>
                  <a:cubicBezTo>
                    <a:pt x="4842" y="5791"/>
                    <a:pt x="4849" y="5788"/>
                    <a:pt x="4877" y="5725"/>
                  </a:cubicBezTo>
                  <a:cubicBezTo>
                    <a:pt x="4901" y="5662"/>
                    <a:pt x="4943" y="5564"/>
                    <a:pt x="5080" y="5539"/>
                  </a:cubicBezTo>
                  <a:cubicBezTo>
                    <a:pt x="5101" y="5536"/>
                    <a:pt x="5122" y="5532"/>
                    <a:pt x="5143" y="5532"/>
                  </a:cubicBezTo>
                  <a:cubicBezTo>
                    <a:pt x="5230" y="5532"/>
                    <a:pt x="5265" y="5473"/>
                    <a:pt x="5307" y="5347"/>
                  </a:cubicBezTo>
                  <a:cubicBezTo>
                    <a:pt x="5342" y="5259"/>
                    <a:pt x="5381" y="5144"/>
                    <a:pt x="5500" y="5144"/>
                  </a:cubicBezTo>
                  <a:lnTo>
                    <a:pt x="5556" y="5144"/>
                  </a:lnTo>
                  <a:cubicBezTo>
                    <a:pt x="5563" y="5144"/>
                    <a:pt x="5569" y="5144"/>
                    <a:pt x="5575" y="5144"/>
                  </a:cubicBezTo>
                  <a:cubicBezTo>
                    <a:pt x="5617" y="5144"/>
                    <a:pt x="5627" y="5127"/>
                    <a:pt x="5713" y="5011"/>
                  </a:cubicBezTo>
                  <a:lnTo>
                    <a:pt x="5738" y="4976"/>
                  </a:lnTo>
                  <a:cubicBezTo>
                    <a:pt x="5731" y="4902"/>
                    <a:pt x="5731" y="4832"/>
                    <a:pt x="5741" y="4762"/>
                  </a:cubicBezTo>
                  <a:cubicBezTo>
                    <a:pt x="5759" y="4646"/>
                    <a:pt x="5731" y="4608"/>
                    <a:pt x="5668" y="4524"/>
                  </a:cubicBezTo>
                  <a:cubicBezTo>
                    <a:pt x="5591" y="4422"/>
                    <a:pt x="5531" y="4310"/>
                    <a:pt x="5493" y="4184"/>
                  </a:cubicBezTo>
                  <a:cubicBezTo>
                    <a:pt x="5440" y="4009"/>
                    <a:pt x="5300" y="3785"/>
                    <a:pt x="5174" y="3589"/>
                  </a:cubicBezTo>
                  <a:cubicBezTo>
                    <a:pt x="5038" y="3369"/>
                    <a:pt x="4919" y="3176"/>
                    <a:pt x="4908" y="3054"/>
                  </a:cubicBezTo>
                  <a:cubicBezTo>
                    <a:pt x="4905" y="2977"/>
                    <a:pt x="4852" y="2907"/>
                    <a:pt x="4796" y="2833"/>
                  </a:cubicBezTo>
                  <a:cubicBezTo>
                    <a:pt x="4726" y="2739"/>
                    <a:pt x="4646" y="2633"/>
                    <a:pt x="4649" y="2490"/>
                  </a:cubicBezTo>
                  <a:cubicBezTo>
                    <a:pt x="4656" y="2367"/>
                    <a:pt x="4614" y="2322"/>
                    <a:pt x="4513" y="2203"/>
                  </a:cubicBezTo>
                  <a:cubicBezTo>
                    <a:pt x="4432" y="2112"/>
                    <a:pt x="4359" y="2021"/>
                    <a:pt x="4292" y="1923"/>
                  </a:cubicBezTo>
                  <a:cubicBezTo>
                    <a:pt x="4061" y="1597"/>
                    <a:pt x="3966" y="1034"/>
                    <a:pt x="4015" y="887"/>
                  </a:cubicBezTo>
                  <a:cubicBezTo>
                    <a:pt x="4022" y="855"/>
                    <a:pt x="4043" y="831"/>
                    <a:pt x="4075" y="820"/>
                  </a:cubicBezTo>
                  <a:cubicBezTo>
                    <a:pt x="4084" y="817"/>
                    <a:pt x="4093" y="816"/>
                    <a:pt x="4102" y="816"/>
                  </a:cubicBezTo>
                  <a:cubicBezTo>
                    <a:pt x="4191" y="816"/>
                    <a:pt x="4266" y="964"/>
                    <a:pt x="4453" y="1412"/>
                  </a:cubicBezTo>
                  <a:cubicBezTo>
                    <a:pt x="4481" y="1471"/>
                    <a:pt x="4502" y="1524"/>
                    <a:pt x="4520" y="1559"/>
                  </a:cubicBezTo>
                  <a:cubicBezTo>
                    <a:pt x="4670" y="1895"/>
                    <a:pt x="4898" y="2241"/>
                    <a:pt x="5010" y="2241"/>
                  </a:cubicBezTo>
                  <a:cubicBezTo>
                    <a:pt x="5052" y="2241"/>
                    <a:pt x="5118" y="2077"/>
                    <a:pt x="5192" y="1751"/>
                  </a:cubicBezTo>
                  <a:cubicBezTo>
                    <a:pt x="5237" y="1559"/>
                    <a:pt x="5255" y="1496"/>
                    <a:pt x="5300" y="1471"/>
                  </a:cubicBezTo>
                  <a:lnTo>
                    <a:pt x="5314" y="1387"/>
                  </a:lnTo>
                  <a:lnTo>
                    <a:pt x="5314" y="1384"/>
                  </a:lnTo>
                  <a:lnTo>
                    <a:pt x="5349" y="1279"/>
                  </a:lnTo>
                  <a:lnTo>
                    <a:pt x="5367" y="1230"/>
                  </a:lnTo>
                  <a:lnTo>
                    <a:pt x="5384" y="1188"/>
                  </a:lnTo>
                  <a:lnTo>
                    <a:pt x="5045" y="354"/>
                  </a:lnTo>
                  <a:cubicBezTo>
                    <a:pt x="5018" y="381"/>
                    <a:pt x="4986" y="390"/>
                    <a:pt x="4948" y="390"/>
                  </a:cubicBezTo>
                  <a:cubicBezTo>
                    <a:pt x="4905" y="390"/>
                    <a:pt x="4854" y="378"/>
                    <a:pt x="4796" y="365"/>
                  </a:cubicBezTo>
                  <a:cubicBezTo>
                    <a:pt x="4722" y="346"/>
                    <a:pt x="4636" y="327"/>
                    <a:pt x="4550" y="327"/>
                  </a:cubicBezTo>
                  <a:cubicBezTo>
                    <a:pt x="4510" y="327"/>
                    <a:pt x="4471" y="331"/>
                    <a:pt x="4432" y="340"/>
                  </a:cubicBezTo>
                  <a:cubicBezTo>
                    <a:pt x="4370" y="357"/>
                    <a:pt x="4310" y="364"/>
                    <a:pt x="4253" y="364"/>
                  </a:cubicBezTo>
                  <a:cubicBezTo>
                    <a:pt x="4049" y="364"/>
                    <a:pt x="3873" y="275"/>
                    <a:pt x="3700" y="190"/>
                  </a:cubicBezTo>
                  <a:cubicBezTo>
                    <a:pt x="3648" y="164"/>
                    <a:pt x="3567" y="152"/>
                    <a:pt x="3471" y="152"/>
                  </a:cubicBezTo>
                  <a:cubicBezTo>
                    <a:pt x="3160" y="152"/>
                    <a:pt x="2702" y="269"/>
                    <a:pt x="2643" y="354"/>
                  </a:cubicBezTo>
                  <a:cubicBezTo>
                    <a:pt x="2571" y="462"/>
                    <a:pt x="2440" y="505"/>
                    <a:pt x="2296" y="505"/>
                  </a:cubicBezTo>
                  <a:cubicBezTo>
                    <a:pt x="2182" y="505"/>
                    <a:pt x="2060" y="478"/>
                    <a:pt x="1950" y="435"/>
                  </a:cubicBezTo>
                  <a:lnTo>
                    <a:pt x="1873" y="403"/>
                  </a:lnTo>
                  <a:cubicBezTo>
                    <a:pt x="1642" y="309"/>
                    <a:pt x="1355" y="190"/>
                    <a:pt x="966" y="155"/>
                  </a:cubicBezTo>
                  <a:cubicBezTo>
                    <a:pt x="494" y="113"/>
                    <a:pt x="280" y="53"/>
                    <a:pt x="179" y="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879" name="Google Shape;3879;p104"/>
            <p:cNvSpPr/>
            <p:nvPr/>
          </p:nvSpPr>
          <p:spPr>
            <a:xfrm>
              <a:off x="2231531" y="1797813"/>
              <a:ext cx="109" cy="258"/>
            </a:xfrm>
            <a:custGeom>
              <a:avLst/>
              <a:gdLst/>
              <a:ahLst/>
              <a:cxnLst/>
              <a:rect l="l" t="t" r="r" b="b"/>
              <a:pathLst>
                <a:path w="8" h="19" extrusionOk="0">
                  <a:moveTo>
                    <a:pt x="8" y="1"/>
                  </a:moveTo>
                  <a:lnTo>
                    <a:pt x="1" y="18"/>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880" name="Google Shape;3880;p104"/>
            <p:cNvSpPr/>
            <p:nvPr/>
          </p:nvSpPr>
          <p:spPr>
            <a:xfrm>
              <a:off x="2115742" y="2027164"/>
              <a:ext cx="39035" cy="44263"/>
            </a:xfrm>
            <a:custGeom>
              <a:avLst/>
              <a:gdLst/>
              <a:ahLst/>
              <a:cxnLst/>
              <a:rect l="l" t="t" r="r" b="b"/>
              <a:pathLst>
                <a:path w="2875" h="3260" extrusionOk="0">
                  <a:moveTo>
                    <a:pt x="1446" y="0"/>
                  </a:moveTo>
                  <a:lnTo>
                    <a:pt x="1404" y="11"/>
                  </a:lnTo>
                  <a:lnTo>
                    <a:pt x="1404" y="25"/>
                  </a:lnTo>
                  <a:lnTo>
                    <a:pt x="1404" y="56"/>
                  </a:lnTo>
                  <a:lnTo>
                    <a:pt x="1404" y="95"/>
                  </a:lnTo>
                  <a:lnTo>
                    <a:pt x="1404" y="123"/>
                  </a:lnTo>
                  <a:lnTo>
                    <a:pt x="1404" y="161"/>
                  </a:lnTo>
                  <a:lnTo>
                    <a:pt x="1404" y="189"/>
                  </a:lnTo>
                  <a:lnTo>
                    <a:pt x="1404" y="228"/>
                  </a:lnTo>
                  <a:lnTo>
                    <a:pt x="1404" y="252"/>
                  </a:lnTo>
                  <a:lnTo>
                    <a:pt x="1404" y="287"/>
                  </a:lnTo>
                  <a:lnTo>
                    <a:pt x="1404" y="312"/>
                  </a:lnTo>
                  <a:lnTo>
                    <a:pt x="1404" y="347"/>
                  </a:lnTo>
                  <a:lnTo>
                    <a:pt x="1404" y="368"/>
                  </a:lnTo>
                  <a:lnTo>
                    <a:pt x="1404" y="403"/>
                  </a:lnTo>
                  <a:lnTo>
                    <a:pt x="1404" y="424"/>
                  </a:lnTo>
                  <a:lnTo>
                    <a:pt x="1404" y="452"/>
                  </a:lnTo>
                  <a:lnTo>
                    <a:pt x="1404" y="470"/>
                  </a:lnTo>
                  <a:lnTo>
                    <a:pt x="1404" y="498"/>
                  </a:lnTo>
                  <a:lnTo>
                    <a:pt x="1404" y="515"/>
                  </a:lnTo>
                  <a:lnTo>
                    <a:pt x="1404" y="540"/>
                  </a:lnTo>
                  <a:lnTo>
                    <a:pt x="1404" y="554"/>
                  </a:lnTo>
                  <a:lnTo>
                    <a:pt x="1404" y="578"/>
                  </a:lnTo>
                  <a:lnTo>
                    <a:pt x="1404" y="589"/>
                  </a:lnTo>
                  <a:lnTo>
                    <a:pt x="1404" y="610"/>
                  </a:lnTo>
                  <a:lnTo>
                    <a:pt x="1404" y="620"/>
                  </a:lnTo>
                  <a:lnTo>
                    <a:pt x="1404" y="638"/>
                  </a:lnTo>
                  <a:lnTo>
                    <a:pt x="1404" y="645"/>
                  </a:lnTo>
                  <a:lnTo>
                    <a:pt x="1404" y="655"/>
                  </a:lnTo>
                  <a:lnTo>
                    <a:pt x="1404" y="662"/>
                  </a:lnTo>
                  <a:lnTo>
                    <a:pt x="1404" y="669"/>
                  </a:lnTo>
                  <a:lnTo>
                    <a:pt x="1404" y="673"/>
                  </a:lnTo>
                  <a:lnTo>
                    <a:pt x="1404" y="680"/>
                  </a:lnTo>
                  <a:lnTo>
                    <a:pt x="1397" y="732"/>
                  </a:lnTo>
                  <a:lnTo>
                    <a:pt x="1345" y="736"/>
                  </a:lnTo>
                  <a:cubicBezTo>
                    <a:pt x="1320" y="736"/>
                    <a:pt x="732" y="771"/>
                    <a:pt x="596" y="771"/>
                  </a:cubicBezTo>
                  <a:lnTo>
                    <a:pt x="561" y="771"/>
                  </a:lnTo>
                  <a:cubicBezTo>
                    <a:pt x="543" y="771"/>
                    <a:pt x="512" y="774"/>
                    <a:pt x="470" y="781"/>
                  </a:cubicBezTo>
                  <a:lnTo>
                    <a:pt x="445" y="785"/>
                  </a:lnTo>
                  <a:lnTo>
                    <a:pt x="424" y="788"/>
                  </a:lnTo>
                  <a:lnTo>
                    <a:pt x="421" y="788"/>
                  </a:lnTo>
                  <a:lnTo>
                    <a:pt x="400" y="792"/>
                  </a:lnTo>
                  <a:lnTo>
                    <a:pt x="389" y="792"/>
                  </a:lnTo>
                  <a:cubicBezTo>
                    <a:pt x="365" y="823"/>
                    <a:pt x="340" y="851"/>
                    <a:pt x="316" y="879"/>
                  </a:cubicBezTo>
                  <a:cubicBezTo>
                    <a:pt x="337" y="900"/>
                    <a:pt x="361" y="921"/>
                    <a:pt x="386" y="939"/>
                  </a:cubicBezTo>
                  <a:cubicBezTo>
                    <a:pt x="445" y="988"/>
                    <a:pt x="505" y="1033"/>
                    <a:pt x="529" y="1096"/>
                  </a:cubicBezTo>
                  <a:cubicBezTo>
                    <a:pt x="540" y="1124"/>
                    <a:pt x="540" y="1152"/>
                    <a:pt x="526" y="1180"/>
                  </a:cubicBezTo>
                  <a:cubicBezTo>
                    <a:pt x="498" y="1233"/>
                    <a:pt x="435" y="1254"/>
                    <a:pt x="365" y="1271"/>
                  </a:cubicBezTo>
                  <a:cubicBezTo>
                    <a:pt x="309" y="1289"/>
                    <a:pt x="232" y="1313"/>
                    <a:pt x="235" y="1345"/>
                  </a:cubicBezTo>
                  <a:cubicBezTo>
                    <a:pt x="242" y="1481"/>
                    <a:pt x="162" y="1614"/>
                    <a:pt x="0" y="1737"/>
                  </a:cubicBezTo>
                  <a:cubicBezTo>
                    <a:pt x="11" y="1782"/>
                    <a:pt x="92" y="1880"/>
                    <a:pt x="137" y="1936"/>
                  </a:cubicBezTo>
                  <a:cubicBezTo>
                    <a:pt x="225" y="2041"/>
                    <a:pt x="277" y="2111"/>
                    <a:pt x="281" y="2174"/>
                  </a:cubicBezTo>
                  <a:cubicBezTo>
                    <a:pt x="288" y="2255"/>
                    <a:pt x="361" y="2342"/>
                    <a:pt x="659" y="2633"/>
                  </a:cubicBezTo>
                  <a:cubicBezTo>
                    <a:pt x="753" y="2721"/>
                    <a:pt x="834" y="2826"/>
                    <a:pt x="890" y="2945"/>
                  </a:cubicBezTo>
                  <a:cubicBezTo>
                    <a:pt x="949" y="3067"/>
                    <a:pt x="1037" y="3172"/>
                    <a:pt x="1142" y="3260"/>
                  </a:cubicBezTo>
                  <a:lnTo>
                    <a:pt x="1156" y="3246"/>
                  </a:lnTo>
                  <a:lnTo>
                    <a:pt x="1166" y="3235"/>
                  </a:lnTo>
                  <a:cubicBezTo>
                    <a:pt x="1177" y="3225"/>
                    <a:pt x="1184" y="3218"/>
                    <a:pt x="1194" y="3211"/>
                  </a:cubicBezTo>
                  <a:lnTo>
                    <a:pt x="1201" y="3204"/>
                  </a:lnTo>
                  <a:cubicBezTo>
                    <a:pt x="1212" y="3197"/>
                    <a:pt x="1222" y="3186"/>
                    <a:pt x="1236" y="3179"/>
                  </a:cubicBezTo>
                  <a:lnTo>
                    <a:pt x="1247" y="3176"/>
                  </a:lnTo>
                  <a:cubicBezTo>
                    <a:pt x="1254" y="3169"/>
                    <a:pt x="1264" y="3165"/>
                    <a:pt x="1275" y="3162"/>
                  </a:cubicBezTo>
                  <a:lnTo>
                    <a:pt x="1289" y="3155"/>
                  </a:lnTo>
                  <a:lnTo>
                    <a:pt x="1313" y="3144"/>
                  </a:lnTo>
                  <a:lnTo>
                    <a:pt x="1327" y="3141"/>
                  </a:lnTo>
                  <a:cubicBezTo>
                    <a:pt x="1338" y="3141"/>
                    <a:pt x="1348" y="3137"/>
                    <a:pt x="1359" y="3137"/>
                  </a:cubicBezTo>
                  <a:lnTo>
                    <a:pt x="1373" y="3137"/>
                  </a:lnTo>
                  <a:cubicBezTo>
                    <a:pt x="1387" y="3134"/>
                    <a:pt x="1401" y="3134"/>
                    <a:pt x="1415" y="3134"/>
                  </a:cubicBezTo>
                  <a:cubicBezTo>
                    <a:pt x="1502" y="3134"/>
                    <a:pt x="1516" y="3113"/>
                    <a:pt x="1520" y="3113"/>
                  </a:cubicBezTo>
                  <a:cubicBezTo>
                    <a:pt x="1537" y="3081"/>
                    <a:pt x="1492" y="2966"/>
                    <a:pt x="1457" y="2871"/>
                  </a:cubicBezTo>
                  <a:cubicBezTo>
                    <a:pt x="1443" y="2843"/>
                    <a:pt x="1432" y="2812"/>
                    <a:pt x="1422" y="2784"/>
                  </a:cubicBezTo>
                  <a:cubicBezTo>
                    <a:pt x="1383" y="2686"/>
                    <a:pt x="1387" y="2609"/>
                    <a:pt x="1425" y="2549"/>
                  </a:cubicBezTo>
                  <a:cubicBezTo>
                    <a:pt x="1484" y="2470"/>
                    <a:pt x="1602" y="2457"/>
                    <a:pt x="1711" y="2457"/>
                  </a:cubicBezTo>
                  <a:cubicBezTo>
                    <a:pt x="1732" y="2457"/>
                    <a:pt x="1752" y="2457"/>
                    <a:pt x="1772" y="2458"/>
                  </a:cubicBezTo>
                  <a:lnTo>
                    <a:pt x="1821" y="2458"/>
                  </a:lnTo>
                  <a:cubicBezTo>
                    <a:pt x="1852" y="2458"/>
                    <a:pt x="1863" y="2434"/>
                    <a:pt x="1891" y="2342"/>
                  </a:cubicBezTo>
                  <a:cubicBezTo>
                    <a:pt x="1912" y="2265"/>
                    <a:pt x="1943" y="2153"/>
                    <a:pt x="2059" y="2153"/>
                  </a:cubicBezTo>
                  <a:cubicBezTo>
                    <a:pt x="2164" y="2153"/>
                    <a:pt x="2217" y="2265"/>
                    <a:pt x="2266" y="2363"/>
                  </a:cubicBezTo>
                  <a:cubicBezTo>
                    <a:pt x="2283" y="2405"/>
                    <a:pt x="2325" y="2490"/>
                    <a:pt x="2346" y="2493"/>
                  </a:cubicBezTo>
                  <a:cubicBezTo>
                    <a:pt x="2365" y="2489"/>
                    <a:pt x="2385" y="2488"/>
                    <a:pt x="2404" y="2488"/>
                  </a:cubicBezTo>
                  <a:cubicBezTo>
                    <a:pt x="2460" y="2488"/>
                    <a:pt x="2518" y="2502"/>
                    <a:pt x="2570" y="2528"/>
                  </a:cubicBezTo>
                  <a:cubicBezTo>
                    <a:pt x="2614" y="2550"/>
                    <a:pt x="2661" y="2563"/>
                    <a:pt x="2711" y="2563"/>
                  </a:cubicBezTo>
                  <a:cubicBezTo>
                    <a:pt x="2726" y="2563"/>
                    <a:pt x="2741" y="2562"/>
                    <a:pt x="2756" y="2560"/>
                  </a:cubicBezTo>
                  <a:cubicBezTo>
                    <a:pt x="2871" y="2539"/>
                    <a:pt x="2871" y="2188"/>
                    <a:pt x="2871" y="1982"/>
                  </a:cubicBezTo>
                  <a:lnTo>
                    <a:pt x="2871" y="1866"/>
                  </a:lnTo>
                  <a:cubicBezTo>
                    <a:pt x="2875" y="1646"/>
                    <a:pt x="2871" y="1527"/>
                    <a:pt x="2766" y="1464"/>
                  </a:cubicBezTo>
                  <a:cubicBezTo>
                    <a:pt x="2647" y="1394"/>
                    <a:pt x="2525" y="1250"/>
                    <a:pt x="2532" y="1107"/>
                  </a:cubicBezTo>
                  <a:cubicBezTo>
                    <a:pt x="2535" y="1019"/>
                    <a:pt x="2588" y="942"/>
                    <a:pt x="2668" y="911"/>
                  </a:cubicBezTo>
                  <a:cubicBezTo>
                    <a:pt x="2749" y="869"/>
                    <a:pt x="2801" y="809"/>
                    <a:pt x="2808" y="743"/>
                  </a:cubicBezTo>
                  <a:cubicBezTo>
                    <a:pt x="2812" y="680"/>
                    <a:pt x="2780" y="617"/>
                    <a:pt x="2724" y="582"/>
                  </a:cubicBezTo>
                  <a:cubicBezTo>
                    <a:pt x="2702" y="563"/>
                    <a:pt x="2672" y="556"/>
                    <a:pt x="2637" y="556"/>
                  </a:cubicBezTo>
                  <a:cubicBezTo>
                    <a:pt x="2571" y="556"/>
                    <a:pt x="2489" y="581"/>
                    <a:pt x="2423" y="599"/>
                  </a:cubicBezTo>
                  <a:cubicBezTo>
                    <a:pt x="2363" y="618"/>
                    <a:pt x="2312" y="634"/>
                    <a:pt x="2269" y="634"/>
                  </a:cubicBezTo>
                  <a:cubicBezTo>
                    <a:pt x="2242" y="634"/>
                    <a:pt x="2219" y="628"/>
                    <a:pt x="2199" y="613"/>
                  </a:cubicBezTo>
                  <a:cubicBezTo>
                    <a:pt x="2171" y="592"/>
                    <a:pt x="2157" y="561"/>
                    <a:pt x="2161" y="529"/>
                  </a:cubicBezTo>
                  <a:lnTo>
                    <a:pt x="2161" y="512"/>
                  </a:lnTo>
                  <a:lnTo>
                    <a:pt x="2161" y="505"/>
                  </a:lnTo>
                  <a:lnTo>
                    <a:pt x="2161" y="491"/>
                  </a:lnTo>
                  <a:lnTo>
                    <a:pt x="2161" y="484"/>
                  </a:lnTo>
                  <a:lnTo>
                    <a:pt x="2161" y="470"/>
                  </a:lnTo>
                  <a:lnTo>
                    <a:pt x="2161" y="459"/>
                  </a:lnTo>
                  <a:lnTo>
                    <a:pt x="2161" y="442"/>
                  </a:lnTo>
                  <a:lnTo>
                    <a:pt x="2161" y="431"/>
                  </a:lnTo>
                  <a:lnTo>
                    <a:pt x="2161" y="410"/>
                  </a:lnTo>
                  <a:lnTo>
                    <a:pt x="2161" y="400"/>
                  </a:lnTo>
                  <a:lnTo>
                    <a:pt x="2161" y="375"/>
                  </a:lnTo>
                  <a:lnTo>
                    <a:pt x="2161" y="365"/>
                  </a:lnTo>
                  <a:lnTo>
                    <a:pt x="2161" y="340"/>
                  </a:lnTo>
                  <a:lnTo>
                    <a:pt x="2161" y="333"/>
                  </a:lnTo>
                  <a:cubicBezTo>
                    <a:pt x="2168" y="280"/>
                    <a:pt x="2171" y="228"/>
                    <a:pt x="2178" y="172"/>
                  </a:cubicBezTo>
                  <a:lnTo>
                    <a:pt x="2178" y="165"/>
                  </a:lnTo>
                  <a:lnTo>
                    <a:pt x="2185" y="130"/>
                  </a:lnTo>
                  <a:lnTo>
                    <a:pt x="2185" y="123"/>
                  </a:lnTo>
                  <a:lnTo>
                    <a:pt x="2189" y="88"/>
                  </a:lnTo>
                  <a:lnTo>
                    <a:pt x="2189" y="77"/>
                  </a:lnTo>
                  <a:lnTo>
                    <a:pt x="2192" y="46"/>
                  </a:lnTo>
                  <a:lnTo>
                    <a:pt x="2192" y="35"/>
                  </a:lnTo>
                  <a:lnTo>
                    <a:pt x="2192" y="28"/>
                  </a:lnTo>
                  <a:cubicBezTo>
                    <a:pt x="1856" y="21"/>
                    <a:pt x="1534" y="4"/>
                    <a:pt x="1446"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881" name="Google Shape;3881;p104"/>
            <p:cNvSpPr/>
            <p:nvPr/>
          </p:nvSpPr>
          <p:spPr>
            <a:xfrm>
              <a:off x="2135375" y="2027164"/>
              <a:ext cx="9952" cy="434"/>
            </a:xfrm>
            <a:custGeom>
              <a:avLst/>
              <a:gdLst/>
              <a:ahLst/>
              <a:cxnLst/>
              <a:rect l="l" t="t" r="r" b="b"/>
              <a:pathLst>
                <a:path w="733" h="32" extrusionOk="0">
                  <a:moveTo>
                    <a:pt x="0" y="0"/>
                  </a:moveTo>
                  <a:cubicBezTo>
                    <a:pt x="63" y="4"/>
                    <a:pt x="399" y="21"/>
                    <a:pt x="732" y="32"/>
                  </a:cubicBezTo>
                  <a:cubicBezTo>
                    <a:pt x="410" y="21"/>
                    <a:pt x="88" y="4"/>
                    <a:pt x="0"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882" name="Google Shape;3882;p104"/>
            <p:cNvSpPr/>
            <p:nvPr/>
          </p:nvSpPr>
          <p:spPr>
            <a:xfrm>
              <a:off x="2119218" y="2027924"/>
              <a:ext cx="13605" cy="8147"/>
            </a:xfrm>
            <a:custGeom>
              <a:avLst/>
              <a:gdLst/>
              <a:ahLst/>
              <a:cxnLst/>
              <a:rect l="l" t="t" r="r" b="b"/>
              <a:pathLst>
                <a:path w="1002" h="600" extrusionOk="0">
                  <a:moveTo>
                    <a:pt x="1001" y="0"/>
                  </a:moveTo>
                  <a:lnTo>
                    <a:pt x="945" y="18"/>
                  </a:lnTo>
                  <a:lnTo>
                    <a:pt x="945" y="18"/>
                  </a:lnTo>
                  <a:lnTo>
                    <a:pt x="956" y="11"/>
                  </a:lnTo>
                  <a:lnTo>
                    <a:pt x="287" y="11"/>
                  </a:lnTo>
                  <a:cubicBezTo>
                    <a:pt x="305" y="70"/>
                    <a:pt x="301" y="133"/>
                    <a:pt x="284" y="189"/>
                  </a:cubicBezTo>
                  <a:cubicBezTo>
                    <a:pt x="252" y="280"/>
                    <a:pt x="175" y="351"/>
                    <a:pt x="84" y="379"/>
                  </a:cubicBezTo>
                  <a:cubicBezTo>
                    <a:pt x="18" y="403"/>
                    <a:pt x="0" y="438"/>
                    <a:pt x="4" y="452"/>
                  </a:cubicBezTo>
                  <a:cubicBezTo>
                    <a:pt x="4" y="466"/>
                    <a:pt x="21" y="470"/>
                    <a:pt x="42" y="470"/>
                  </a:cubicBezTo>
                  <a:cubicBezTo>
                    <a:pt x="88" y="470"/>
                    <a:pt x="130" y="494"/>
                    <a:pt x="151" y="533"/>
                  </a:cubicBezTo>
                  <a:cubicBezTo>
                    <a:pt x="161" y="554"/>
                    <a:pt x="165" y="575"/>
                    <a:pt x="161" y="599"/>
                  </a:cubicBezTo>
                  <a:lnTo>
                    <a:pt x="168" y="599"/>
                  </a:lnTo>
                  <a:lnTo>
                    <a:pt x="196" y="592"/>
                  </a:lnTo>
                  <a:lnTo>
                    <a:pt x="200" y="592"/>
                  </a:lnTo>
                  <a:lnTo>
                    <a:pt x="224" y="589"/>
                  </a:lnTo>
                  <a:lnTo>
                    <a:pt x="312" y="589"/>
                  </a:lnTo>
                  <a:cubicBezTo>
                    <a:pt x="417" y="589"/>
                    <a:pt x="844" y="564"/>
                    <a:pt x="994" y="557"/>
                  </a:cubicBezTo>
                  <a:lnTo>
                    <a:pt x="998" y="536"/>
                  </a:lnTo>
                  <a:lnTo>
                    <a:pt x="1001" y="515"/>
                  </a:lnTo>
                  <a:lnTo>
                    <a:pt x="1001" y="512"/>
                  </a:lnTo>
                  <a:lnTo>
                    <a:pt x="1001" y="487"/>
                  </a:lnTo>
                  <a:lnTo>
                    <a:pt x="1001" y="480"/>
                  </a:lnTo>
                  <a:lnTo>
                    <a:pt x="1001" y="459"/>
                  </a:lnTo>
                  <a:lnTo>
                    <a:pt x="1001" y="452"/>
                  </a:lnTo>
                  <a:lnTo>
                    <a:pt x="1001" y="428"/>
                  </a:lnTo>
                  <a:lnTo>
                    <a:pt x="1001" y="417"/>
                  </a:lnTo>
                  <a:lnTo>
                    <a:pt x="1001" y="396"/>
                  </a:lnTo>
                  <a:lnTo>
                    <a:pt x="1001" y="382"/>
                  </a:lnTo>
                  <a:lnTo>
                    <a:pt x="1001" y="358"/>
                  </a:lnTo>
                  <a:lnTo>
                    <a:pt x="1001" y="344"/>
                  </a:lnTo>
                  <a:lnTo>
                    <a:pt x="1001" y="319"/>
                  </a:lnTo>
                  <a:lnTo>
                    <a:pt x="1001" y="305"/>
                  </a:lnTo>
                  <a:lnTo>
                    <a:pt x="1001" y="280"/>
                  </a:lnTo>
                  <a:lnTo>
                    <a:pt x="1001" y="263"/>
                  </a:lnTo>
                  <a:lnTo>
                    <a:pt x="1001" y="224"/>
                  </a:lnTo>
                  <a:lnTo>
                    <a:pt x="1001" y="203"/>
                  </a:lnTo>
                  <a:lnTo>
                    <a:pt x="1001" y="179"/>
                  </a:lnTo>
                  <a:lnTo>
                    <a:pt x="1001" y="154"/>
                  </a:lnTo>
                  <a:lnTo>
                    <a:pt x="1001" y="133"/>
                  </a:lnTo>
                  <a:lnTo>
                    <a:pt x="1001" y="109"/>
                  </a:lnTo>
                  <a:lnTo>
                    <a:pt x="1001" y="88"/>
                  </a:lnTo>
                  <a:lnTo>
                    <a:pt x="1001" y="60"/>
                  </a:lnTo>
                  <a:lnTo>
                    <a:pt x="1001" y="39"/>
                  </a:lnTo>
                  <a:lnTo>
                    <a:pt x="1001" y="11"/>
                  </a:lnTo>
                  <a:lnTo>
                    <a:pt x="1001"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883" name="Google Shape;3883;p104"/>
            <p:cNvSpPr/>
            <p:nvPr/>
          </p:nvSpPr>
          <p:spPr>
            <a:xfrm>
              <a:off x="2132184" y="2028019"/>
              <a:ext cx="163" cy="54"/>
            </a:xfrm>
            <a:custGeom>
              <a:avLst/>
              <a:gdLst/>
              <a:ahLst/>
              <a:cxnLst/>
              <a:rect l="l" t="t" r="r" b="b"/>
              <a:pathLst>
                <a:path w="12" h="4" extrusionOk="0">
                  <a:moveTo>
                    <a:pt x="11" y="0"/>
                  </a:moveTo>
                  <a:lnTo>
                    <a:pt x="1" y="4"/>
                  </a:lnTo>
                  <a:lnTo>
                    <a:pt x="1" y="4"/>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884" name="Google Shape;3884;p104"/>
            <p:cNvSpPr/>
            <p:nvPr/>
          </p:nvSpPr>
          <p:spPr>
            <a:xfrm>
              <a:off x="2133040" y="2031576"/>
              <a:ext cx="14" cy="394"/>
            </a:xfrm>
            <a:custGeom>
              <a:avLst/>
              <a:gdLst/>
              <a:ahLst/>
              <a:cxnLst/>
              <a:rect l="l" t="t" r="r" b="b"/>
              <a:pathLst>
                <a:path w="1" h="29" extrusionOk="0">
                  <a:moveTo>
                    <a:pt x="1" y="1"/>
                  </a:moveTo>
                  <a:lnTo>
                    <a:pt x="1" y="29"/>
                  </a:lnTo>
                  <a:cubicBezTo>
                    <a:pt x="1" y="18"/>
                    <a:pt x="1" y="11"/>
                    <a:pt x="1" y="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885" name="Google Shape;3885;p104"/>
            <p:cNvSpPr/>
            <p:nvPr/>
          </p:nvSpPr>
          <p:spPr>
            <a:xfrm>
              <a:off x="2133040" y="2027870"/>
              <a:ext cx="14" cy="163"/>
            </a:xfrm>
            <a:custGeom>
              <a:avLst/>
              <a:gdLst/>
              <a:ahLst/>
              <a:cxnLst/>
              <a:rect l="l" t="t" r="r" b="b"/>
              <a:pathLst>
                <a:path w="1" h="12" extrusionOk="0">
                  <a:moveTo>
                    <a:pt x="1" y="1"/>
                  </a:moveTo>
                  <a:lnTo>
                    <a:pt x="1" y="1"/>
                  </a:lnTo>
                  <a:lnTo>
                    <a:pt x="1" y="1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886" name="Google Shape;3886;p104"/>
            <p:cNvSpPr/>
            <p:nvPr/>
          </p:nvSpPr>
          <p:spPr>
            <a:xfrm>
              <a:off x="2133094" y="2030246"/>
              <a:ext cx="14" cy="299"/>
            </a:xfrm>
            <a:custGeom>
              <a:avLst/>
              <a:gdLst/>
              <a:ahLst/>
              <a:cxnLst/>
              <a:rect l="l" t="t" r="r" b="b"/>
              <a:pathLst>
                <a:path w="1" h="22" extrusionOk="0">
                  <a:moveTo>
                    <a:pt x="0" y="1"/>
                  </a:moveTo>
                  <a:lnTo>
                    <a:pt x="0" y="22"/>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887" name="Google Shape;3887;p104"/>
            <p:cNvSpPr/>
            <p:nvPr/>
          </p:nvSpPr>
          <p:spPr>
            <a:xfrm>
              <a:off x="2133094" y="2028345"/>
              <a:ext cx="14" cy="299"/>
            </a:xfrm>
            <a:custGeom>
              <a:avLst/>
              <a:gdLst/>
              <a:ahLst/>
              <a:cxnLst/>
              <a:rect l="l" t="t" r="r" b="b"/>
              <a:pathLst>
                <a:path w="1" h="22" extrusionOk="0">
                  <a:moveTo>
                    <a:pt x="0" y="1"/>
                  </a:moveTo>
                  <a:lnTo>
                    <a:pt x="0" y="22"/>
                  </a:lnTo>
                  <a:cubicBezTo>
                    <a:pt x="0" y="15"/>
                    <a:pt x="0" y="8"/>
                    <a:pt x="0" y="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888" name="Google Shape;3888;p104"/>
            <p:cNvSpPr/>
            <p:nvPr/>
          </p:nvSpPr>
          <p:spPr>
            <a:xfrm>
              <a:off x="2133094" y="2029010"/>
              <a:ext cx="14" cy="258"/>
            </a:xfrm>
            <a:custGeom>
              <a:avLst/>
              <a:gdLst/>
              <a:ahLst/>
              <a:cxnLst/>
              <a:rect l="l" t="t" r="r" b="b"/>
              <a:pathLst>
                <a:path w="1" h="19" extrusionOk="0">
                  <a:moveTo>
                    <a:pt x="0" y="1"/>
                  </a:moveTo>
                  <a:lnTo>
                    <a:pt x="0" y="18"/>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889" name="Google Shape;3889;p104"/>
            <p:cNvSpPr/>
            <p:nvPr/>
          </p:nvSpPr>
          <p:spPr>
            <a:xfrm>
              <a:off x="2133094" y="2030816"/>
              <a:ext cx="14" cy="584"/>
            </a:xfrm>
            <a:custGeom>
              <a:avLst/>
              <a:gdLst/>
              <a:ahLst/>
              <a:cxnLst/>
              <a:rect l="l" t="t" r="r" b="b"/>
              <a:pathLst>
                <a:path w="1" h="43" extrusionOk="0">
                  <a:moveTo>
                    <a:pt x="0" y="1"/>
                  </a:moveTo>
                  <a:lnTo>
                    <a:pt x="0" y="43"/>
                  </a:lnTo>
                  <a:cubicBezTo>
                    <a:pt x="0" y="29"/>
                    <a:pt x="0" y="15"/>
                    <a:pt x="0" y="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890" name="Google Shape;3890;p104"/>
            <p:cNvSpPr/>
            <p:nvPr/>
          </p:nvSpPr>
          <p:spPr>
            <a:xfrm>
              <a:off x="2133094" y="2029635"/>
              <a:ext cx="14" cy="299"/>
            </a:xfrm>
            <a:custGeom>
              <a:avLst/>
              <a:gdLst/>
              <a:ahLst/>
              <a:cxnLst/>
              <a:rect l="l" t="t" r="r" b="b"/>
              <a:pathLst>
                <a:path w="1" h="22" extrusionOk="0">
                  <a:moveTo>
                    <a:pt x="0" y="0"/>
                  </a:moveTo>
                  <a:lnTo>
                    <a:pt x="0" y="21"/>
                  </a:lnTo>
                  <a:cubicBezTo>
                    <a:pt x="0" y="14"/>
                    <a:pt x="0" y="7"/>
                    <a:pt x="0"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891" name="Google Shape;3891;p104"/>
            <p:cNvSpPr/>
            <p:nvPr/>
          </p:nvSpPr>
          <p:spPr>
            <a:xfrm>
              <a:off x="2133040" y="2032160"/>
              <a:ext cx="14" cy="339"/>
            </a:xfrm>
            <a:custGeom>
              <a:avLst/>
              <a:gdLst/>
              <a:ahLst/>
              <a:cxnLst/>
              <a:rect l="l" t="t" r="r" b="b"/>
              <a:pathLst>
                <a:path w="1" h="25" extrusionOk="0">
                  <a:moveTo>
                    <a:pt x="1" y="0"/>
                  </a:moveTo>
                  <a:lnTo>
                    <a:pt x="1" y="25"/>
                  </a:lnTo>
                  <a:cubicBezTo>
                    <a:pt x="1" y="18"/>
                    <a:pt x="1" y="7"/>
                    <a:pt x="1"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892" name="Google Shape;3892;p104"/>
            <p:cNvSpPr/>
            <p:nvPr/>
          </p:nvSpPr>
          <p:spPr>
            <a:xfrm>
              <a:off x="2132809" y="2034767"/>
              <a:ext cx="54" cy="353"/>
            </a:xfrm>
            <a:custGeom>
              <a:avLst/>
              <a:gdLst/>
              <a:ahLst/>
              <a:cxnLst/>
              <a:rect l="l" t="t" r="r" b="b"/>
              <a:pathLst>
                <a:path w="4" h="26" extrusionOk="0">
                  <a:moveTo>
                    <a:pt x="4" y="1"/>
                  </a:moveTo>
                  <a:lnTo>
                    <a:pt x="0" y="25"/>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893" name="Google Shape;3893;p104"/>
            <p:cNvSpPr/>
            <p:nvPr/>
          </p:nvSpPr>
          <p:spPr>
            <a:xfrm>
              <a:off x="2132809" y="2035107"/>
              <a:ext cx="14" cy="299"/>
            </a:xfrm>
            <a:custGeom>
              <a:avLst/>
              <a:gdLst/>
              <a:ahLst/>
              <a:cxnLst/>
              <a:rect l="l" t="t" r="r" b="b"/>
              <a:pathLst>
                <a:path w="1" h="22" extrusionOk="0">
                  <a:moveTo>
                    <a:pt x="0" y="0"/>
                  </a:moveTo>
                  <a:lnTo>
                    <a:pt x="0" y="2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894" name="Google Shape;3894;p104"/>
            <p:cNvSpPr/>
            <p:nvPr/>
          </p:nvSpPr>
          <p:spPr>
            <a:xfrm>
              <a:off x="2122680" y="2035867"/>
              <a:ext cx="204" cy="14"/>
            </a:xfrm>
            <a:custGeom>
              <a:avLst/>
              <a:gdLst/>
              <a:ahLst/>
              <a:cxnLst/>
              <a:rect l="l" t="t" r="r" b="b"/>
              <a:pathLst>
                <a:path w="15" h="1" extrusionOk="0">
                  <a:moveTo>
                    <a:pt x="15"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895" name="Google Shape;3895;p104"/>
            <p:cNvSpPr/>
            <p:nvPr/>
          </p:nvSpPr>
          <p:spPr>
            <a:xfrm>
              <a:off x="2132904" y="2034441"/>
              <a:ext cx="14" cy="299"/>
            </a:xfrm>
            <a:custGeom>
              <a:avLst/>
              <a:gdLst/>
              <a:ahLst/>
              <a:cxnLst/>
              <a:rect l="l" t="t" r="r" b="b"/>
              <a:pathLst>
                <a:path w="1" h="22" extrusionOk="0">
                  <a:moveTo>
                    <a:pt x="0" y="0"/>
                  </a:moveTo>
                  <a:lnTo>
                    <a:pt x="0" y="2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896" name="Google Shape;3896;p104"/>
            <p:cNvSpPr/>
            <p:nvPr/>
          </p:nvSpPr>
          <p:spPr>
            <a:xfrm>
              <a:off x="2132904" y="2034061"/>
              <a:ext cx="14" cy="299"/>
            </a:xfrm>
            <a:custGeom>
              <a:avLst/>
              <a:gdLst/>
              <a:ahLst/>
              <a:cxnLst/>
              <a:rect l="l" t="t" r="r" b="b"/>
              <a:pathLst>
                <a:path w="1" h="22" extrusionOk="0">
                  <a:moveTo>
                    <a:pt x="0" y="0"/>
                  </a:moveTo>
                  <a:lnTo>
                    <a:pt x="0" y="2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897" name="Google Shape;3897;p104"/>
            <p:cNvSpPr/>
            <p:nvPr/>
          </p:nvSpPr>
          <p:spPr>
            <a:xfrm>
              <a:off x="2123400" y="2035813"/>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898" name="Google Shape;3898;p104"/>
            <p:cNvSpPr/>
            <p:nvPr/>
          </p:nvSpPr>
          <p:spPr>
            <a:xfrm>
              <a:off x="2123495" y="2035813"/>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899" name="Google Shape;3899;p104"/>
            <p:cNvSpPr/>
            <p:nvPr/>
          </p:nvSpPr>
          <p:spPr>
            <a:xfrm>
              <a:off x="2122925" y="2035813"/>
              <a:ext cx="204" cy="14"/>
            </a:xfrm>
            <a:custGeom>
              <a:avLst/>
              <a:gdLst/>
              <a:ahLst/>
              <a:cxnLst/>
              <a:rect l="l" t="t" r="r" b="b"/>
              <a:pathLst>
                <a:path w="15" h="1" extrusionOk="0">
                  <a:moveTo>
                    <a:pt x="14"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900" name="Google Shape;3900;p104"/>
            <p:cNvSpPr/>
            <p:nvPr/>
          </p:nvSpPr>
          <p:spPr>
            <a:xfrm>
              <a:off x="2123115" y="2035813"/>
              <a:ext cx="149" cy="14"/>
            </a:xfrm>
            <a:custGeom>
              <a:avLst/>
              <a:gdLst/>
              <a:ahLst/>
              <a:cxnLst/>
              <a:rect l="l" t="t" r="r" b="b"/>
              <a:pathLst>
                <a:path w="11" h="1" extrusionOk="0">
                  <a:moveTo>
                    <a:pt x="11"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901" name="Google Shape;3901;p104"/>
            <p:cNvSpPr/>
            <p:nvPr/>
          </p:nvSpPr>
          <p:spPr>
            <a:xfrm>
              <a:off x="2132999" y="2032676"/>
              <a:ext cx="14" cy="353"/>
            </a:xfrm>
            <a:custGeom>
              <a:avLst/>
              <a:gdLst/>
              <a:ahLst/>
              <a:cxnLst/>
              <a:rect l="l" t="t" r="r" b="b"/>
              <a:pathLst>
                <a:path w="1" h="26" extrusionOk="0">
                  <a:moveTo>
                    <a:pt x="0" y="1"/>
                  </a:moveTo>
                  <a:lnTo>
                    <a:pt x="0" y="25"/>
                  </a:lnTo>
                  <a:cubicBezTo>
                    <a:pt x="0" y="18"/>
                    <a:pt x="0" y="8"/>
                    <a:pt x="0" y="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902" name="Google Shape;3902;p104"/>
            <p:cNvSpPr/>
            <p:nvPr/>
          </p:nvSpPr>
          <p:spPr>
            <a:xfrm>
              <a:off x="2121974" y="2035908"/>
              <a:ext cx="299" cy="68"/>
            </a:xfrm>
            <a:custGeom>
              <a:avLst/>
              <a:gdLst/>
              <a:ahLst/>
              <a:cxnLst/>
              <a:rect l="l" t="t" r="r" b="b"/>
              <a:pathLst>
                <a:path w="22" h="5" extrusionOk="0">
                  <a:moveTo>
                    <a:pt x="21"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903" name="Google Shape;3903;p104"/>
            <p:cNvSpPr/>
            <p:nvPr/>
          </p:nvSpPr>
          <p:spPr>
            <a:xfrm>
              <a:off x="2132945" y="2033627"/>
              <a:ext cx="14" cy="299"/>
            </a:xfrm>
            <a:custGeom>
              <a:avLst/>
              <a:gdLst/>
              <a:ahLst/>
              <a:cxnLst/>
              <a:rect l="l" t="t" r="r" b="b"/>
              <a:pathLst>
                <a:path w="1" h="22" extrusionOk="0">
                  <a:moveTo>
                    <a:pt x="1" y="1"/>
                  </a:moveTo>
                  <a:lnTo>
                    <a:pt x="1" y="22"/>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904" name="Google Shape;3904;p104"/>
            <p:cNvSpPr/>
            <p:nvPr/>
          </p:nvSpPr>
          <p:spPr>
            <a:xfrm>
              <a:off x="2121499" y="2035962"/>
              <a:ext cx="394" cy="54"/>
            </a:xfrm>
            <a:custGeom>
              <a:avLst/>
              <a:gdLst/>
              <a:ahLst/>
              <a:cxnLst/>
              <a:rect l="l" t="t" r="r" b="b"/>
              <a:pathLst>
                <a:path w="29" h="4" extrusionOk="0">
                  <a:moveTo>
                    <a:pt x="28" y="0"/>
                  </a:moveTo>
                  <a:lnTo>
                    <a:pt x="0" y="4"/>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905" name="Google Shape;3905;p104"/>
            <p:cNvSpPr/>
            <p:nvPr/>
          </p:nvSpPr>
          <p:spPr>
            <a:xfrm>
              <a:off x="2132945" y="2033151"/>
              <a:ext cx="68" cy="353"/>
            </a:xfrm>
            <a:custGeom>
              <a:avLst/>
              <a:gdLst/>
              <a:ahLst/>
              <a:cxnLst/>
              <a:rect l="l" t="t" r="r" b="b"/>
              <a:pathLst>
                <a:path w="5" h="26" extrusionOk="0">
                  <a:moveTo>
                    <a:pt x="4" y="1"/>
                  </a:moveTo>
                  <a:cubicBezTo>
                    <a:pt x="4" y="8"/>
                    <a:pt x="1" y="18"/>
                    <a:pt x="4" y="25"/>
                  </a:cubicBezTo>
                  <a:lnTo>
                    <a:pt x="4"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906" name="Google Shape;3906;p104"/>
            <p:cNvSpPr/>
            <p:nvPr/>
          </p:nvSpPr>
          <p:spPr>
            <a:xfrm>
              <a:off x="2122354" y="2035867"/>
              <a:ext cx="299" cy="54"/>
            </a:xfrm>
            <a:custGeom>
              <a:avLst/>
              <a:gdLst/>
              <a:ahLst/>
              <a:cxnLst/>
              <a:rect l="l" t="t" r="r" b="b"/>
              <a:pathLst>
                <a:path w="22" h="4" extrusionOk="0">
                  <a:moveTo>
                    <a:pt x="21" y="0"/>
                  </a:moveTo>
                  <a:lnTo>
                    <a:pt x="0" y="4"/>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907" name="Google Shape;3907;p104"/>
            <p:cNvSpPr/>
            <p:nvPr/>
          </p:nvSpPr>
          <p:spPr>
            <a:xfrm>
              <a:off x="2132279" y="2016560"/>
              <a:ext cx="49884" cy="63380"/>
            </a:xfrm>
            <a:custGeom>
              <a:avLst/>
              <a:gdLst/>
              <a:ahLst/>
              <a:cxnLst/>
              <a:rect l="l" t="t" r="r" b="b"/>
              <a:pathLst>
                <a:path w="3674" h="4668" extrusionOk="0">
                  <a:moveTo>
                    <a:pt x="3260" y="1"/>
                  </a:moveTo>
                  <a:lnTo>
                    <a:pt x="3036" y="71"/>
                  </a:lnTo>
                  <a:lnTo>
                    <a:pt x="2784" y="127"/>
                  </a:lnTo>
                  <a:cubicBezTo>
                    <a:pt x="2791" y="267"/>
                    <a:pt x="2749" y="407"/>
                    <a:pt x="2665" y="519"/>
                  </a:cubicBezTo>
                  <a:cubicBezTo>
                    <a:pt x="2658" y="533"/>
                    <a:pt x="2651" y="543"/>
                    <a:pt x="2644" y="554"/>
                  </a:cubicBezTo>
                  <a:lnTo>
                    <a:pt x="2637" y="564"/>
                  </a:lnTo>
                  <a:cubicBezTo>
                    <a:pt x="2546" y="722"/>
                    <a:pt x="2514" y="981"/>
                    <a:pt x="2511" y="1019"/>
                  </a:cubicBezTo>
                  <a:lnTo>
                    <a:pt x="2511" y="1026"/>
                  </a:lnTo>
                  <a:lnTo>
                    <a:pt x="2504" y="1121"/>
                  </a:lnTo>
                  <a:lnTo>
                    <a:pt x="2416" y="1075"/>
                  </a:lnTo>
                  <a:cubicBezTo>
                    <a:pt x="2186" y="963"/>
                    <a:pt x="1828" y="811"/>
                    <a:pt x="1702" y="811"/>
                  </a:cubicBezTo>
                  <a:cubicBezTo>
                    <a:pt x="1694" y="811"/>
                    <a:pt x="1687" y="812"/>
                    <a:pt x="1681" y="813"/>
                  </a:cubicBezTo>
                  <a:cubicBezTo>
                    <a:pt x="1665" y="818"/>
                    <a:pt x="1628" y="826"/>
                    <a:pt x="1454" y="826"/>
                  </a:cubicBezTo>
                  <a:cubicBezTo>
                    <a:pt x="1401" y="826"/>
                    <a:pt x="1335" y="825"/>
                    <a:pt x="1254" y="823"/>
                  </a:cubicBezTo>
                  <a:lnTo>
                    <a:pt x="1219" y="823"/>
                  </a:lnTo>
                  <a:lnTo>
                    <a:pt x="1090" y="820"/>
                  </a:lnTo>
                  <a:cubicBezTo>
                    <a:pt x="1086" y="858"/>
                    <a:pt x="1079" y="897"/>
                    <a:pt x="1076" y="935"/>
                  </a:cubicBezTo>
                  <a:lnTo>
                    <a:pt x="1076" y="946"/>
                  </a:lnTo>
                  <a:lnTo>
                    <a:pt x="1069" y="1012"/>
                  </a:lnTo>
                  <a:lnTo>
                    <a:pt x="1069" y="1023"/>
                  </a:lnTo>
                  <a:lnTo>
                    <a:pt x="1062" y="1079"/>
                  </a:lnTo>
                  <a:lnTo>
                    <a:pt x="1062" y="1093"/>
                  </a:lnTo>
                  <a:lnTo>
                    <a:pt x="1058" y="1142"/>
                  </a:lnTo>
                  <a:lnTo>
                    <a:pt x="1058" y="1156"/>
                  </a:lnTo>
                  <a:cubicBezTo>
                    <a:pt x="1058" y="1170"/>
                    <a:pt x="1055" y="1184"/>
                    <a:pt x="1055" y="1195"/>
                  </a:cubicBezTo>
                  <a:lnTo>
                    <a:pt x="1055" y="1209"/>
                  </a:lnTo>
                  <a:cubicBezTo>
                    <a:pt x="1055" y="1219"/>
                    <a:pt x="1055" y="1233"/>
                    <a:pt x="1051" y="1244"/>
                  </a:cubicBezTo>
                  <a:lnTo>
                    <a:pt x="1051" y="1251"/>
                  </a:lnTo>
                  <a:cubicBezTo>
                    <a:pt x="1051" y="1265"/>
                    <a:pt x="1051" y="1275"/>
                    <a:pt x="1048" y="1286"/>
                  </a:cubicBezTo>
                  <a:cubicBezTo>
                    <a:pt x="1076" y="1282"/>
                    <a:pt x="1114" y="1268"/>
                    <a:pt x="1142" y="1261"/>
                  </a:cubicBezTo>
                  <a:cubicBezTo>
                    <a:pt x="1218" y="1239"/>
                    <a:pt x="1309" y="1211"/>
                    <a:pt x="1395" y="1211"/>
                  </a:cubicBezTo>
                  <a:cubicBezTo>
                    <a:pt x="1457" y="1211"/>
                    <a:pt x="1516" y="1225"/>
                    <a:pt x="1566" y="1265"/>
                  </a:cubicBezTo>
                  <a:cubicBezTo>
                    <a:pt x="1653" y="1328"/>
                    <a:pt x="1702" y="1433"/>
                    <a:pt x="1695" y="1545"/>
                  </a:cubicBezTo>
                  <a:cubicBezTo>
                    <a:pt x="1685" y="1653"/>
                    <a:pt x="1608" y="1751"/>
                    <a:pt x="1485" y="1814"/>
                  </a:cubicBezTo>
                  <a:cubicBezTo>
                    <a:pt x="1429" y="1842"/>
                    <a:pt x="1419" y="1877"/>
                    <a:pt x="1419" y="1902"/>
                  </a:cubicBezTo>
                  <a:cubicBezTo>
                    <a:pt x="1415" y="1975"/>
                    <a:pt x="1492" y="2080"/>
                    <a:pt x="1590" y="2140"/>
                  </a:cubicBezTo>
                  <a:cubicBezTo>
                    <a:pt x="1765" y="2245"/>
                    <a:pt x="1762" y="2437"/>
                    <a:pt x="1758" y="2658"/>
                  </a:cubicBezTo>
                  <a:lnTo>
                    <a:pt x="1758" y="2770"/>
                  </a:lnTo>
                  <a:cubicBezTo>
                    <a:pt x="1758" y="3081"/>
                    <a:pt x="1758" y="3432"/>
                    <a:pt x="1538" y="3477"/>
                  </a:cubicBezTo>
                  <a:cubicBezTo>
                    <a:pt x="1515" y="3481"/>
                    <a:pt x="1493" y="3482"/>
                    <a:pt x="1471" y="3482"/>
                  </a:cubicBezTo>
                  <a:cubicBezTo>
                    <a:pt x="1405" y="3482"/>
                    <a:pt x="1339" y="3467"/>
                    <a:pt x="1279" y="3439"/>
                  </a:cubicBezTo>
                  <a:cubicBezTo>
                    <a:pt x="1242" y="3419"/>
                    <a:pt x="1204" y="3408"/>
                    <a:pt x="1165" y="3408"/>
                  </a:cubicBezTo>
                  <a:cubicBezTo>
                    <a:pt x="1155" y="3408"/>
                    <a:pt x="1145" y="3409"/>
                    <a:pt x="1135" y="3411"/>
                  </a:cubicBezTo>
                  <a:cubicBezTo>
                    <a:pt x="1123" y="3413"/>
                    <a:pt x="1112" y="3415"/>
                    <a:pt x="1101" y="3415"/>
                  </a:cubicBezTo>
                  <a:cubicBezTo>
                    <a:pt x="1001" y="3415"/>
                    <a:pt x="948" y="3303"/>
                    <a:pt x="904" y="3211"/>
                  </a:cubicBezTo>
                  <a:cubicBezTo>
                    <a:pt x="883" y="3162"/>
                    <a:pt x="858" y="3116"/>
                    <a:pt x="823" y="3078"/>
                  </a:cubicBezTo>
                  <a:cubicBezTo>
                    <a:pt x="820" y="3074"/>
                    <a:pt x="816" y="3074"/>
                    <a:pt x="813" y="3074"/>
                  </a:cubicBezTo>
                  <a:cubicBezTo>
                    <a:pt x="799" y="3081"/>
                    <a:pt x="781" y="3137"/>
                    <a:pt x="774" y="3165"/>
                  </a:cubicBezTo>
                  <a:cubicBezTo>
                    <a:pt x="753" y="3250"/>
                    <a:pt x="718" y="3379"/>
                    <a:pt x="578" y="3379"/>
                  </a:cubicBezTo>
                  <a:lnTo>
                    <a:pt x="526" y="3379"/>
                  </a:lnTo>
                  <a:cubicBezTo>
                    <a:pt x="514" y="3379"/>
                    <a:pt x="501" y="3379"/>
                    <a:pt x="488" y="3379"/>
                  </a:cubicBezTo>
                  <a:cubicBezTo>
                    <a:pt x="409" y="3379"/>
                    <a:pt x="315" y="3382"/>
                    <a:pt x="291" y="3418"/>
                  </a:cubicBezTo>
                  <a:cubicBezTo>
                    <a:pt x="277" y="3435"/>
                    <a:pt x="281" y="3474"/>
                    <a:pt x="302" y="3526"/>
                  </a:cubicBezTo>
                  <a:cubicBezTo>
                    <a:pt x="312" y="3558"/>
                    <a:pt x="323" y="3586"/>
                    <a:pt x="333" y="3614"/>
                  </a:cubicBezTo>
                  <a:cubicBezTo>
                    <a:pt x="396" y="3775"/>
                    <a:pt x="442" y="3890"/>
                    <a:pt x="382" y="3978"/>
                  </a:cubicBezTo>
                  <a:cubicBezTo>
                    <a:pt x="337" y="4048"/>
                    <a:pt x="239" y="4055"/>
                    <a:pt x="172" y="4055"/>
                  </a:cubicBezTo>
                  <a:lnTo>
                    <a:pt x="134" y="4055"/>
                  </a:lnTo>
                  <a:lnTo>
                    <a:pt x="116" y="4058"/>
                  </a:lnTo>
                  <a:lnTo>
                    <a:pt x="109" y="4062"/>
                  </a:lnTo>
                  <a:lnTo>
                    <a:pt x="88" y="4069"/>
                  </a:lnTo>
                  <a:lnTo>
                    <a:pt x="81" y="4072"/>
                  </a:lnTo>
                  <a:cubicBezTo>
                    <a:pt x="74" y="4076"/>
                    <a:pt x="67" y="4079"/>
                    <a:pt x="57" y="4083"/>
                  </a:cubicBezTo>
                  <a:cubicBezTo>
                    <a:pt x="50" y="4086"/>
                    <a:pt x="43" y="4093"/>
                    <a:pt x="36" y="4097"/>
                  </a:cubicBezTo>
                  <a:lnTo>
                    <a:pt x="29" y="4104"/>
                  </a:lnTo>
                  <a:lnTo>
                    <a:pt x="15" y="4118"/>
                  </a:lnTo>
                  <a:lnTo>
                    <a:pt x="8" y="4125"/>
                  </a:lnTo>
                  <a:lnTo>
                    <a:pt x="1" y="4128"/>
                  </a:lnTo>
                  <a:lnTo>
                    <a:pt x="8" y="4135"/>
                  </a:lnTo>
                  <a:cubicBezTo>
                    <a:pt x="197" y="4279"/>
                    <a:pt x="351" y="4461"/>
                    <a:pt x="463" y="4667"/>
                  </a:cubicBezTo>
                  <a:lnTo>
                    <a:pt x="473" y="4660"/>
                  </a:lnTo>
                  <a:lnTo>
                    <a:pt x="505" y="4639"/>
                  </a:lnTo>
                  <a:lnTo>
                    <a:pt x="543" y="4615"/>
                  </a:lnTo>
                  <a:lnTo>
                    <a:pt x="575" y="4594"/>
                  </a:lnTo>
                  <a:lnTo>
                    <a:pt x="610" y="4573"/>
                  </a:lnTo>
                  <a:lnTo>
                    <a:pt x="638" y="4555"/>
                  </a:lnTo>
                  <a:lnTo>
                    <a:pt x="666" y="4538"/>
                  </a:lnTo>
                  <a:lnTo>
                    <a:pt x="694" y="4524"/>
                  </a:lnTo>
                  <a:lnTo>
                    <a:pt x="718" y="4510"/>
                  </a:lnTo>
                  <a:lnTo>
                    <a:pt x="743" y="4496"/>
                  </a:lnTo>
                  <a:lnTo>
                    <a:pt x="764" y="4485"/>
                  </a:lnTo>
                  <a:lnTo>
                    <a:pt x="785" y="4475"/>
                  </a:lnTo>
                  <a:lnTo>
                    <a:pt x="802" y="4464"/>
                  </a:lnTo>
                  <a:lnTo>
                    <a:pt x="820" y="4457"/>
                  </a:lnTo>
                  <a:lnTo>
                    <a:pt x="837" y="4450"/>
                  </a:lnTo>
                  <a:lnTo>
                    <a:pt x="851" y="4443"/>
                  </a:lnTo>
                  <a:lnTo>
                    <a:pt x="865" y="4440"/>
                  </a:lnTo>
                  <a:lnTo>
                    <a:pt x="880" y="4436"/>
                  </a:lnTo>
                  <a:lnTo>
                    <a:pt x="890" y="4433"/>
                  </a:lnTo>
                  <a:lnTo>
                    <a:pt x="901" y="4429"/>
                  </a:lnTo>
                  <a:lnTo>
                    <a:pt x="911" y="4426"/>
                  </a:lnTo>
                  <a:lnTo>
                    <a:pt x="971" y="4426"/>
                  </a:lnTo>
                  <a:cubicBezTo>
                    <a:pt x="1006" y="4440"/>
                    <a:pt x="1037" y="4461"/>
                    <a:pt x="1065" y="4485"/>
                  </a:cubicBezTo>
                  <a:cubicBezTo>
                    <a:pt x="1100" y="4511"/>
                    <a:pt x="1127" y="4531"/>
                    <a:pt x="1161" y="4531"/>
                  </a:cubicBezTo>
                  <a:cubicBezTo>
                    <a:pt x="1191" y="4531"/>
                    <a:pt x="1227" y="4515"/>
                    <a:pt x="1279" y="4471"/>
                  </a:cubicBezTo>
                  <a:cubicBezTo>
                    <a:pt x="1377" y="4390"/>
                    <a:pt x="1491" y="4345"/>
                    <a:pt x="1592" y="4345"/>
                  </a:cubicBezTo>
                  <a:cubicBezTo>
                    <a:pt x="1634" y="4345"/>
                    <a:pt x="1674" y="4353"/>
                    <a:pt x="1709" y="4370"/>
                  </a:cubicBezTo>
                  <a:cubicBezTo>
                    <a:pt x="1779" y="4405"/>
                    <a:pt x="1828" y="4478"/>
                    <a:pt x="1825" y="4555"/>
                  </a:cubicBezTo>
                  <a:lnTo>
                    <a:pt x="1825" y="4587"/>
                  </a:lnTo>
                  <a:cubicBezTo>
                    <a:pt x="1870" y="4555"/>
                    <a:pt x="1909" y="4517"/>
                    <a:pt x="1947" y="4475"/>
                  </a:cubicBezTo>
                  <a:cubicBezTo>
                    <a:pt x="2010" y="4415"/>
                    <a:pt x="2091" y="4380"/>
                    <a:pt x="2178" y="4373"/>
                  </a:cubicBezTo>
                  <a:cubicBezTo>
                    <a:pt x="2248" y="4366"/>
                    <a:pt x="2266" y="4363"/>
                    <a:pt x="2266" y="4219"/>
                  </a:cubicBezTo>
                  <a:cubicBezTo>
                    <a:pt x="2266" y="4037"/>
                    <a:pt x="2322" y="3988"/>
                    <a:pt x="2413" y="3964"/>
                  </a:cubicBezTo>
                  <a:cubicBezTo>
                    <a:pt x="2444" y="3957"/>
                    <a:pt x="2469" y="3953"/>
                    <a:pt x="2469" y="3813"/>
                  </a:cubicBezTo>
                  <a:cubicBezTo>
                    <a:pt x="2469" y="3589"/>
                    <a:pt x="2479" y="3365"/>
                    <a:pt x="2490" y="3186"/>
                  </a:cubicBezTo>
                  <a:lnTo>
                    <a:pt x="2493" y="3141"/>
                  </a:lnTo>
                  <a:cubicBezTo>
                    <a:pt x="2497" y="3043"/>
                    <a:pt x="2500" y="2955"/>
                    <a:pt x="2500" y="2899"/>
                  </a:cubicBezTo>
                  <a:cubicBezTo>
                    <a:pt x="2500" y="2794"/>
                    <a:pt x="2605" y="2710"/>
                    <a:pt x="2721" y="2616"/>
                  </a:cubicBezTo>
                  <a:cubicBezTo>
                    <a:pt x="2836" y="2521"/>
                    <a:pt x="2973" y="2409"/>
                    <a:pt x="2973" y="2290"/>
                  </a:cubicBezTo>
                  <a:cubicBezTo>
                    <a:pt x="2973" y="2147"/>
                    <a:pt x="3068" y="1954"/>
                    <a:pt x="3166" y="1748"/>
                  </a:cubicBezTo>
                  <a:cubicBezTo>
                    <a:pt x="3271" y="1531"/>
                    <a:pt x="3379" y="1303"/>
                    <a:pt x="3379" y="1142"/>
                  </a:cubicBezTo>
                  <a:cubicBezTo>
                    <a:pt x="3379" y="848"/>
                    <a:pt x="3456" y="736"/>
                    <a:pt x="3537" y="620"/>
                  </a:cubicBezTo>
                  <a:cubicBezTo>
                    <a:pt x="3554" y="592"/>
                    <a:pt x="3575" y="564"/>
                    <a:pt x="3593" y="533"/>
                  </a:cubicBezTo>
                  <a:cubicBezTo>
                    <a:pt x="3600" y="519"/>
                    <a:pt x="3607" y="505"/>
                    <a:pt x="3614" y="494"/>
                  </a:cubicBezTo>
                  <a:lnTo>
                    <a:pt x="3614" y="491"/>
                  </a:lnTo>
                  <a:cubicBezTo>
                    <a:pt x="3617" y="477"/>
                    <a:pt x="3624" y="463"/>
                    <a:pt x="3631" y="445"/>
                  </a:cubicBezTo>
                  <a:lnTo>
                    <a:pt x="3631" y="438"/>
                  </a:lnTo>
                  <a:cubicBezTo>
                    <a:pt x="3638" y="424"/>
                    <a:pt x="3642" y="407"/>
                    <a:pt x="3645" y="393"/>
                  </a:cubicBezTo>
                  <a:lnTo>
                    <a:pt x="3649" y="382"/>
                  </a:lnTo>
                  <a:cubicBezTo>
                    <a:pt x="3652" y="365"/>
                    <a:pt x="3659" y="347"/>
                    <a:pt x="3659" y="330"/>
                  </a:cubicBezTo>
                  <a:lnTo>
                    <a:pt x="3659" y="323"/>
                  </a:lnTo>
                  <a:cubicBezTo>
                    <a:pt x="3663" y="302"/>
                    <a:pt x="3666" y="284"/>
                    <a:pt x="3670" y="267"/>
                  </a:cubicBezTo>
                  <a:lnTo>
                    <a:pt x="3670" y="260"/>
                  </a:lnTo>
                  <a:cubicBezTo>
                    <a:pt x="3670" y="239"/>
                    <a:pt x="3673" y="218"/>
                    <a:pt x="3673" y="197"/>
                  </a:cubicBezTo>
                  <a:lnTo>
                    <a:pt x="3673" y="134"/>
                  </a:lnTo>
                  <a:lnTo>
                    <a:pt x="3673" y="127"/>
                  </a:lnTo>
                  <a:cubicBezTo>
                    <a:pt x="3673" y="106"/>
                    <a:pt x="3673" y="88"/>
                    <a:pt x="3670" y="67"/>
                  </a:cubicBezTo>
                  <a:lnTo>
                    <a:pt x="3670" y="60"/>
                  </a:lnTo>
                  <a:lnTo>
                    <a:pt x="3260"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908" name="Google Shape;3908;p104"/>
            <p:cNvSpPr/>
            <p:nvPr/>
          </p:nvSpPr>
          <p:spPr>
            <a:xfrm>
              <a:off x="2168070" y="2023593"/>
              <a:ext cx="394" cy="638"/>
            </a:xfrm>
            <a:custGeom>
              <a:avLst/>
              <a:gdLst/>
              <a:ahLst/>
              <a:cxnLst/>
              <a:rect l="l" t="t" r="r" b="b"/>
              <a:pathLst>
                <a:path w="29" h="47" extrusionOk="0">
                  <a:moveTo>
                    <a:pt x="29" y="1"/>
                  </a:moveTo>
                  <a:lnTo>
                    <a:pt x="29" y="1"/>
                  </a:lnTo>
                  <a:cubicBezTo>
                    <a:pt x="27" y="6"/>
                    <a:pt x="24" y="10"/>
                    <a:pt x="22" y="14"/>
                  </a:cubicBezTo>
                  <a:lnTo>
                    <a:pt x="22" y="14"/>
                  </a:lnTo>
                  <a:cubicBezTo>
                    <a:pt x="24" y="10"/>
                    <a:pt x="27" y="6"/>
                    <a:pt x="29" y="1"/>
                  </a:cubicBezTo>
                  <a:close/>
                  <a:moveTo>
                    <a:pt x="22" y="14"/>
                  </a:moveTo>
                  <a:lnTo>
                    <a:pt x="22" y="14"/>
                  </a:lnTo>
                  <a:cubicBezTo>
                    <a:pt x="21" y="16"/>
                    <a:pt x="20" y="17"/>
                    <a:pt x="18" y="18"/>
                  </a:cubicBezTo>
                  <a:lnTo>
                    <a:pt x="1" y="46"/>
                  </a:lnTo>
                  <a:lnTo>
                    <a:pt x="8" y="36"/>
                  </a:lnTo>
                  <a:cubicBezTo>
                    <a:pt x="13" y="29"/>
                    <a:pt x="17" y="22"/>
                    <a:pt x="22" y="14"/>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909" name="Google Shape;3909;p104"/>
            <p:cNvSpPr/>
            <p:nvPr/>
          </p:nvSpPr>
          <p:spPr>
            <a:xfrm>
              <a:off x="2166359" y="2024217"/>
              <a:ext cx="1724" cy="6191"/>
            </a:xfrm>
            <a:custGeom>
              <a:avLst/>
              <a:gdLst/>
              <a:ahLst/>
              <a:cxnLst/>
              <a:rect l="l" t="t" r="r" b="b"/>
              <a:pathLst>
                <a:path w="127" h="456" extrusionOk="0">
                  <a:moveTo>
                    <a:pt x="127" y="0"/>
                  </a:moveTo>
                  <a:cubicBezTo>
                    <a:pt x="92" y="59"/>
                    <a:pt x="67" y="133"/>
                    <a:pt x="48" y="205"/>
                  </a:cubicBezTo>
                  <a:lnTo>
                    <a:pt x="48" y="205"/>
                  </a:lnTo>
                  <a:cubicBezTo>
                    <a:pt x="66" y="142"/>
                    <a:pt x="89" y="81"/>
                    <a:pt x="116" y="21"/>
                  </a:cubicBezTo>
                  <a:lnTo>
                    <a:pt x="127" y="0"/>
                  </a:lnTo>
                  <a:close/>
                  <a:moveTo>
                    <a:pt x="48" y="205"/>
                  </a:moveTo>
                  <a:cubicBezTo>
                    <a:pt x="25" y="286"/>
                    <a:pt x="9" y="370"/>
                    <a:pt x="1" y="455"/>
                  </a:cubicBezTo>
                  <a:cubicBezTo>
                    <a:pt x="5" y="432"/>
                    <a:pt x="18" y="322"/>
                    <a:pt x="48" y="205"/>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910" name="Google Shape;3910;p104"/>
            <p:cNvSpPr/>
            <p:nvPr/>
          </p:nvSpPr>
          <p:spPr>
            <a:xfrm>
              <a:off x="2147065" y="2027639"/>
              <a:ext cx="1779" cy="54"/>
            </a:xfrm>
            <a:custGeom>
              <a:avLst/>
              <a:gdLst/>
              <a:ahLst/>
              <a:cxnLst/>
              <a:rect l="l" t="t" r="r" b="b"/>
              <a:pathLst>
                <a:path w="131" h="4" extrusionOk="0">
                  <a:moveTo>
                    <a:pt x="1" y="0"/>
                  </a:moveTo>
                  <a:lnTo>
                    <a:pt x="130" y="4"/>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911" name="Google Shape;3911;p104"/>
            <p:cNvSpPr/>
            <p:nvPr/>
          </p:nvSpPr>
          <p:spPr>
            <a:xfrm>
              <a:off x="2149306" y="2027734"/>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912" name="Google Shape;3912;p104"/>
            <p:cNvSpPr/>
            <p:nvPr/>
          </p:nvSpPr>
          <p:spPr>
            <a:xfrm>
              <a:off x="2167934" y="2023837"/>
              <a:ext cx="394" cy="679"/>
            </a:xfrm>
            <a:custGeom>
              <a:avLst/>
              <a:gdLst/>
              <a:ahLst/>
              <a:cxnLst/>
              <a:rect l="l" t="t" r="r" b="b"/>
              <a:pathLst>
                <a:path w="29" h="50" extrusionOk="0">
                  <a:moveTo>
                    <a:pt x="28" y="0"/>
                  </a:moveTo>
                  <a:lnTo>
                    <a:pt x="18" y="17"/>
                  </a:lnTo>
                  <a:lnTo>
                    <a:pt x="18" y="17"/>
                  </a:lnTo>
                  <a:cubicBezTo>
                    <a:pt x="21" y="12"/>
                    <a:pt x="25" y="6"/>
                    <a:pt x="28" y="0"/>
                  </a:cubicBezTo>
                  <a:close/>
                  <a:moveTo>
                    <a:pt x="18" y="17"/>
                  </a:moveTo>
                  <a:cubicBezTo>
                    <a:pt x="16" y="20"/>
                    <a:pt x="15" y="22"/>
                    <a:pt x="13" y="25"/>
                  </a:cubicBezTo>
                  <a:lnTo>
                    <a:pt x="13" y="25"/>
                  </a:lnTo>
                  <a:lnTo>
                    <a:pt x="18" y="17"/>
                  </a:lnTo>
                  <a:close/>
                  <a:moveTo>
                    <a:pt x="13" y="25"/>
                  </a:moveTo>
                  <a:lnTo>
                    <a:pt x="11" y="28"/>
                  </a:lnTo>
                  <a:lnTo>
                    <a:pt x="10" y="29"/>
                  </a:lnTo>
                  <a:lnTo>
                    <a:pt x="10" y="29"/>
                  </a:lnTo>
                  <a:cubicBezTo>
                    <a:pt x="11" y="28"/>
                    <a:pt x="12" y="26"/>
                    <a:pt x="13" y="25"/>
                  </a:cubicBezTo>
                  <a:close/>
                  <a:moveTo>
                    <a:pt x="10" y="29"/>
                  </a:moveTo>
                  <a:cubicBezTo>
                    <a:pt x="7" y="36"/>
                    <a:pt x="3" y="42"/>
                    <a:pt x="0" y="49"/>
                  </a:cubicBezTo>
                  <a:lnTo>
                    <a:pt x="10" y="29"/>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913" name="Google Shape;3913;p104"/>
            <p:cNvSpPr/>
            <p:nvPr/>
          </p:nvSpPr>
          <p:spPr>
            <a:xfrm>
              <a:off x="2132184" y="2072553"/>
              <a:ext cx="68" cy="68"/>
            </a:xfrm>
            <a:custGeom>
              <a:avLst/>
              <a:gdLst/>
              <a:ahLst/>
              <a:cxnLst/>
              <a:rect l="l" t="t" r="r" b="b"/>
              <a:pathLst>
                <a:path w="5" h="5" extrusionOk="0">
                  <a:moveTo>
                    <a:pt x="1" y="4"/>
                  </a:moveTo>
                  <a:lnTo>
                    <a:pt x="1" y="4"/>
                  </a:lnTo>
                  <a:lnTo>
                    <a:pt x="4"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914" name="Google Shape;3914;p104"/>
            <p:cNvSpPr/>
            <p:nvPr/>
          </p:nvSpPr>
          <p:spPr>
            <a:xfrm>
              <a:off x="2146400" y="2033532"/>
              <a:ext cx="68" cy="489"/>
            </a:xfrm>
            <a:custGeom>
              <a:avLst/>
              <a:gdLst/>
              <a:ahLst/>
              <a:cxnLst/>
              <a:rect l="l" t="t" r="r" b="b"/>
              <a:pathLst>
                <a:path w="5" h="36" extrusionOk="0">
                  <a:moveTo>
                    <a:pt x="4" y="1"/>
                  </a:moveTo>
                  <a:lnTo>
                    <a:pt x="4" y="1"/>
                  </a:lnTo>
                  <a:cubicBezTo>
                    <a:pt x="1" y="15"/>
                    <a:pt x="1" y="25"/>
                    <a:pt x="1" y="36"/>
                  </a:cubicBezTo>
                  <a:cubicBezTo>
                    <a:pt x="4" y="25"/>
                    <a:pt x="4" y="15"/>
                    <a:pt x="4" y="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915" name="Google Shape;3915;p104"/>
            <p:cNvSpPr/>
            <p:nvPr/>
          </p:nvSpPr>
          <p:spPr>
            <a:xfrm>
              <a:off x="2132660" y="2071983"/>
              <a:ext cx="299" cy="204"/>
            </a:xfrm>
            <a:custGeom>
              <a:avLst/>
              <a:gdLst/>
              <a:ahLst/>
              <a:cxnLst/>
              <a:rect l="l" t="t" r="r" b="b"/>
              <a:pathLst>
                <a:path w="22" h="15" extrusionOk="0">
                  <a:moveTo>
                    <a:pt x="1" y="15"/>
                  </a:moveTo>
                  <a:cubicBezTo>
                    <a:pt x="8" y="11"/>
                    <a:pt x="15" y="4"/>
                    <a:pt x="22" y="1"/>
                  </a:cubicBezTo>
                  <a:cubicBezTo>
                    <a:pt x="15" y="4"/>
                    <a:pt x="8" y="11"/>
                    <a:pt x="1" y="15"/>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916" name="Google Shape;3916;p104"/>
            <p:cNvSpPr/>
            <p:nvPr/>
          </p:nvSpPr>
          <p:spPr>
            <a:xfrm>
              <a:off x="2133759" y="2071603"/>
              <a:ext cx="244" cy="68"/>
            </a:xfrm>
            <a:custGeom>
              <a:avLst/>
              <a:gdLst/>
              <a:ahLst/>
              <a:cxnLst/>
              <a:rect l="l" t="t" r="r" b="b"/>
              <a:pathLst>
                <a:path w="18" h="5" extrusionOk="0">
                  <a:moveTo>
                    <a:pt x="0" y="4"/>
                  </a:moveTo>
                  <a:lnTo>
                    <a:pt x="18"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917" name="Google Shape;3917;p104"/>
            <p:cNvSpPr/>
            <p:nvPr/>
          </p:nvSpPr>
          <p:spPr>
            <a:xfrm>
              <a:off x="2132334" y="2072268"/>
              <a:ext cx="244" cy="204"/>
            </a:xfrm>
            <a:custGeom>
              <a:avLst/>
              <a:gdLst/>
              <a:ahLst/>
              <a:cxnLst/>
              <a:rect l="l" t="t" r="r" b="b"/>
              <a:pathLst>
                <a:path w="18" h="15" extrusionOk="0">
                  <a:moveTo>
                    <a:pt x="0" y="15"/>
                  </a:moveTo>
                  <a:lnTo>
                    <a:pt x="18"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918" name="Google Shape;3918;p104"/>
            <p:cNvSpPr/>
            <p:nvPr/>
          </p:nvSpPr>
          <p:spPr>
            <a:xfrm>
              <a:off x="2133379" y="2071657"/>
              <a:ext cx="244" cy="109"/>
            </a:xfrm>
            <a:custGeom>
              <a:avLst/>
              <a:gdLst/>
              <a:ahLst/>
              <a:cxnLst/>
              <a:rect l="l" t="t" r="r" b="b"/>
              <a:pathLst>
                <a:path w="18" h="8" extrusionOk="0">
                  <a:moveTo>
                    <a:pt x="0" y="7"/>
                  </a:moveTo>
                  <a:lnTo>
                    <a:pt x="18"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919" name="Google Shape;3919;p104"/>
            <p:cNvSpPr/>
            <p:nvPr/>
          </p:nvSpPr>
          <p:spPr>
            <a:xfrm>
              <a:off x="2134140" y="2071562"/>
              <a:ext cx="394" cy="14"/>
            </a:xfrm>
            <a:custGeom>
              <a:avLst/>
              <a:gdLst/>
              <a:ahLst/>
              <a:cxnLst/>
              <a:rect l="l" t="t" r="r" b="b"/>
              <a:pathLst>
                <a:path w="29" h="1" extrusionOk="0">
                  <a:moveTo>
                    <a:pt x="0" y="0"/>
                  </a:moveTo>
                  <a:cubicBezTo>
                    <a:pt x="7" y="0"/>
                    <a:pt x="18" y="0"/>
                    <a:pt x="28" y="0"/>
                  </a:cubicBezTo>
                  <a:cubicBezTo>
                    <a:pt x="18" y="0"/>
                    <a:pt x="7" y="0"/>
                    <a:pt x="0"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920" name="Google Shape;3920;p104"/>
            <p:cNvSpPr/>
            <p:nvPr/>
          </p:nvSpPr>
          <p:spPr>
            <a:xfrm>
              <a:off x="2143359" y="2058297"/>
              <a:ext cx="1100" cy="1819"/>
            </a:xfrm>
            <a:custGeom>
              <a:avLst/>
              <a:gdLst/>
              <a:ahLst/>
              <a:cxnLst/>
              <a:rect l="l" t="t" r="r" b="b"/>
              <a:pathLst>
                <a:path w="81" h="134" extrusionOk="0">
                  <a:moveTo>
                    <a:pt x="81" y="134"/>
                  </a:moveTo>
                  <a:cubicBezTo>
                    <a:pt x="60" y="84"/>
                    <a:pt x="32" y="39"/>
                    <a:pt x="0" y="0"/>
                  </a:cubicBezTo>
                  <a:cubicBezTo>
                    <a:pt x="32" y="39"/>
                    <a:pt x="60" y="84"/>
                    <a:pt x="81" y="134"/>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921" name="Google Shape;3921;p104"/>
            <p:cNvSpPr/>
            <p:nvPr/>
          </p:nvSpPr>
          <p:spPr>
            <a:xfrm>
              <a:off x="2146685" y="2030436"/>
              <a:ext cx="109" cy="774"/>
            </a:xfrm>
            <a:custGeom>
              <a:avLst/>
              <a:gdLst/>
              <a:ahLst/>
              <a:cxnLst/>
              <a:rect l="l" t="t" r="r" b="b"/>
              <a:pathLst>
                <a:path w="8" h="57" extrusionOk="0">
                  <a:moveTo>
                    <a:pt x="8" y="1"/>
                  </a:moveTo>
                  <a:cubicBezTo>
                    <a:pt x="4" y="18"/>
                    <a:pt x="1" y="39"/>
                    <a:pt x="1" y="57"/>
                  </a:cubicBezTo>
                  <a:lnTo>
                    <a:pt x="8"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922" name="Google Shape;3922;p104"/>
            <p:cNvSpPr/>
            <p:nvPr/>
          </p:nvSpPr>
          <p:spPr>
            <a:xfrm>
              <a:off x="2146780" y="2029350"/>
              <a:ext cx="109" cy="910"/>
            </a:xfrm>
            <a:custGeom>
              <a:avLst/>
              <a:gdLst/>
              <a:ahLst/>
              <a:cxnLst/>
              <a:rect l="l" t="t" r="r" b="b"/>
              <a:pathLst>
                <a:path w="8" h="67" extrusionOk="0">
                  <a:moveTo>
                    <a:pt x="1" y="67"/>
                  </a:moveTo>
                  <a:lnTo>
                    <a:pt x="8"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923" name="Google Shape;3923;p104"/>
            <p:cNvSpPr/>
            <p:nvPr/>
          </p:nvSpPr>
          <p:spPr>
            <a:xfrm>
              <a:off x="2132945" y="2071793"/>
              <a:ext cx="353" cy="204"/>
            </a:xfrm>
            <a:custGeom>
              <a:avLst/>
              <a:gdLst/>
              <a:ahLst/>
              <a:cxnLst/>
              <a:rect l="l" t="t" r="r" b="b"/>
              <a:pathLst>
                <a:path w="26" h="15" extrusionOk="0">
                  <a:moveTo>
                    <a:pt x="1" y="15"/>
                  </a:moveTo>
                  <a:cubicBezTo>
                    <a:pt x="8" y="8"/>
                    <a:pt x="18" y="4"/>
                    <a:pt x="25" y="1"/>
                  </a:cubicBezTo>
                  <a:cubicBezTo>
                    <a:pt x="18" y="4"/>
                    <a:pt x="8" y="8"/>
                    <a:pt x="1" y="15"/>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924" name="Google Shape;3924;p104"/>
            <p:cNvSpPr/>
            <p:nvPr/>
          </p:nvSpPr>
          <p:spPr>
            <a:xfrm>
              <a:off x="2146590" y="2031386"/>
              <a:ext cx="68" cy="638"/>
            </a:xfrm>
            <a:custGeom>
              <a:avLst/>
              <a:gdLst/>
              <a:ahLst/>
              <a:cxnLst/>
              <a:rect l="l" t="t" r="r" b="b"/>
              <a:pathLst>
                <a:path w="5" h="47" extrusionOk="0">
                  <a:moveTo>
                    <a:pt x="1" y="47"/>
                  </a:moveTo>
                  <a:lnTo>
                    <a:pt x="4"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925" name="Google Shape;3925;p104"/>
            <p:cNvSpPr/>
            <p:nvPr/>
          </p:nvSpPr>
          <p:spPr>
            <a:xfrm>
              <a:off x="2146930" y="2027639"/>
              <a:ext cx="149" cy="1575"/>
            </a:xfrm>
            <a:custGeom>
              <a:avLst/>
              <a:gdLst/>
              <a:ahLst/>
              <a:cxnLst/>
              <a:rect l="l" t="t" r="r" b="b"/>
              <a:pathLst>
                <a:path w="11" h="116" extrusionOk="0">
                  <a:moveTo>
                    <a:pt x="11" y="0"/>
                  </a:moveTo>
                  <a:cubicBezTo>
                    <a:pt x="7" y="42"/>
                    <a:pt x="4" y="81"/>
                    <a:pt x="0" y="116"/>
                  </a:cubicBezTo>
                  <a:cubicBezTo>
                    <a:pt x="4" y="81"/>
                    <a:pt x="7" y="42"/>
                    <a:pt x="11"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926" name="Google Shape;3926;p104"/>
            <p:cNvSpPr/>
            <p:nvPr/>
          </p:nvSpPr>
          <p:spPr>
            <a:xfrm>
              <a:off x="2146549" y="2032201"/>
              <a:ext cx="54" cy="584"/>
            </a:xfrm>
            <a:custGeom>
              <a:avLst/>
              <a:gdLst/>
              <a:ahLst/>
              <a:cxnLst/>
              <a:rect l="l" t="t" r="r" b="b"/>
              <a:pathLst>
                <a:path w="4" h="43" extrusionOk="0">
                  <a:moveTo>
                    <a:pt x="4" y="1"/>
                  </a:moveTo>
                  <a:cubicBezTo>
                    <a:pt x="0" y="18"/>
                    <a:pt x="0" y="29"/>
                    <a:pt x="0" y="43"/>
                  </a:cubicBezTo>
                  <a:cubicBezTo>
                    <a:pt x="0" y="32"/>
                    <a:pt x="0" y="18"/>
                    <a:pt x="4" y="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927" name="Google Shape;3927;p104"/>
            <p:cNvSpPr/>
            <p:nvPr/>
          </p:nvSpPr>
          <p:spPr>
            <a:xfrm>
              <a:off x="2136135" y="2062329"/>
              <a:ext cx="3150" cy="543"/>
            </a:xfrm>
            <a:custGeom>
              <a:avLst/>
              <a:gdLst/>
              <a:ahLst/>
              <a:cxnLst/>
              <a:rect l="l" t="t" r="r" b="b"/>
              <a:pathLst>
                <a:path w="232" h="40" extrusionOk="0">
                  <a:moveTo>
                    <a:pt x="195" y="1"/>
                  </a:moveTo>
                  <a:cubicBezTo>
                    <a:pt x="118" y="1"/>
                    <a:pt x="24" y="4"/>
                    <a:pt x="0" y="40"/>
                  </a:cubicBezTo>
                  <a:cubicBezTo>
                    <a:pt x="28" y="1"/>
                    <a:pt x="151" y="1"/>
                    <a:pt x="231" y="1"/>
                  </a:cubicBezTo>
                  <a:cubicBezTo>
                    <a:pt x="220" y="1"/>
                    <a:pt x="208" y="1"/>
                    <a:pt x="195" y="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928" name="Google Shape;3928;p104"/>
            <p:cNvSpPr/>
            <p:nvPr/>
          </p:nvSpPr>
          <p:spPr>
            <a:xfrm>
              <a:off x="2146454" y="2032921"/>
              <a:ext cx="54" cy="489"/>
            </a:xfrm>
            <a:custGeom>
              <a:avLst/>
              <a:gdLst/>
              <a:ahLst/>
              <a:cxnLst/>
              <a:rect l="l" t="t" r="r" b="b"/>
              <a:pathLst>
                <a:path w="4" h="36" extrusionOk="0">
                  <a:moveTo>
                    <a:pt x="4" y="0"/>
                  </a:moveTo>
                  <a:lnTo>
                    <a:pt x="4" y="0"/>
                  </a:lnTo>
                  <a:cubicBezTo>
                    <a:pt x="0" y="14"/>
                    <a:pt x="0" y="25"/>
                    <a:pt x="0" y="35"/>
                  </a:cubicBezTo>
                  <a:cubicBezTo>
                    <a:pt x="4" y="25"/>
                    <a:pt x="4" y="14"/>
                    <a:pt x="4"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929" name="Google Shape;3929;p104"/>
            <p:cNvSpPr/>
            <p:nvPr/>
          </p:nvSpPr>
          <p:spPr>
            <a:xfrm>
              <a:off x="2208721" y="1867452"/>
              <a:ext cx="119645" cy="148131"/>
            </a:xfrm>
            <a:custGeom>
              <a:avLst/>
              <a:gdLst/>
              <a:ahLst/>
              <a:cxnLst/>
              <a:rect l="l" t="t" r="r" b="b"/>
              <a:pathLst>
                <a:path w="8812" h="10910" extrusionOk="0">
                  <a:moveTo>
                    <a:pt x="7299" y="1"/>
                  </a:moveTo>
                  <a:lnTo>
                    <a:pt x="7271" y="36"/>
                  </a:lnTo>
                  <a:lnTo>
                    <a:pt x="7268" y="43"/>
                  </a:lnTo>
                  <a:cubicBezTo>
                    <a:pt x="7261" y="53"/>
                    <a:pt x="7254" y="60"/>
                    <a:pt x="7247" y="71"/>
                  </a:cubicBezTo>
                  <a:lnTo>
                    <a:pt x="7240" y="74"/>
                  </a:lnTo>
                  <a:cubicBezTo>
                    <a:pt x="7233" y="81"/>
                    <a:pt x="7226" y="88"/>
                    <a:pt x="7219" y="95"/>
                  </a:cubicBezTo>
                  <a:cubicBezTo>
                    <a:pt x="7212" y="102"/>
                    <a:pt x="7205" y="106"/>
                    <a:pt x="7198" y="113"/>
                  </a:cubicBezTo>
                  <a:cubicBezTo>
                    <a:pt x="7187" y="116"/>
                    <a:pt x="7180" y="120"/>
                    <a:pt x="7173" y="123"/>
                  </a:cubicBezTo>
                  <a:lnTo>
                    <a:pt x="7170" y="123"/>
                  </a:lnTo>
                  <a:cubicBezTo>
                    <a:pt x="7163" y="123"/>
                    <a:pt x="7152" y="127"/>
                    <a:pt x="7145" y="127"/>
                  </a:cubicBezTo>
                  <a:lnTo>
                    <a:pt x="7138" y="127"/>
                  </a:lnTo>
                  <a:cubicBezTo>
                    <a:pt x="7131" y="130"/>
                    <a:pt x="7121" y="130"/>
                    <a:pt x="7110" y="130"/>
                  </a:cubicBezTo>
                  <a:lnTo>
                    <a:pt x="7019" y="130"/>
                  </a:lnTo>
                  <a:cubicBezTo>
                    <a:pt x="6995" y="130"/>
                    <a:pt x="6974" y="179"/>
                    <a:pt x="6949" y="246"/>
                  </a:cubicBezTo>
                  <a:cubicBezTo>
                    <a:pt x="6911" y="354"/>
                    <a:pt x="6855" y="519"/>
                    <a:pt x="6662" y="519"/>
                  </a:cubicBezTo>
                  <a:cubicBezTo>
                    <a:pt x="6561" y="519"/>
                    <a:pt x="6543" y="561"/>
                    <a:pt x="6515" y="631"/>
                  </a:cubicBezTo>
                  <a:cubicBezTo>
                    <a:pt x="6491" y="690"/>
                    <a:pt x="6456" y="778"/>
                    <a:pt x="6340" y="778"/>
                  </a:cubicBezTo>
                  <a:cubicBezTo>
                    <a:pt x="6190" y="778"/>
                    <a:pt x="6067" y="666"/>
                    <a:pt x="6018" y="617"/>
                  </a:cubicBezTo>
                  <a:lnTo>
                    <a:pt x="5311" y="617"/>
                  </a:lnTo>
                  <a:lnTo>
                    <a:pt x="5290" y="596"/>
                  </a:lnTo>
                  <a:cubicBezTo>
                    <a:pt x="5248" y="554"/>
                    <a:pt x="5172" y="504"/>
                    <a:pt x="5132" y="504"/>
                  </a:cubicBezTo>
                  <a:cubicBezTo>
                    <a:pt x="5125" y="504"/>
                    <a:pt x="5119" y="505"/>
                    <a:pt x="5115" y="508"/>
                  </a:cubicBezTo>
                  <a:lnTo>
                    <a:pt x="4905" y="648"/>
                  </a:lnTo>
                  <a:lnTo>
                    <a:pt x="1614" y="648"/>
                  </a:lnTo>
                  <a:lnTo>
                    <a:pt x="1614" y="1800"/>
                  </a:lnTo>
                  <a:lnTo>
                    <a:pt x="1099" y="1814"/>
                  </a:lnTo>
                  <a:lnTo>
                    <a:pt x="1099" y="3536"/>
                  </a:lnTo>
                  <a:cubicBezTo>
                    <a:pt x="1120" y="3922"/>
                    <a:pt x="1085" y="4139"/>
                    <a:pt x="984" y="4170"/>
                  </a:cubicBezTo>
                  <a:lnTo>
                    <a:pt x="952" y="4181"/>
                  </a:lnTo>
                  <a:cubicBezTo>
                    <a:pt x="627" y="4286"/>
                    <a:pt x="557" y="4366"/>
                    <a:pt x="557" y="4412"/>
                  </a:cubicBezTo>
                  <a:cubicBezTo>
                    <a:pt x="557" y="4576"/>
                    <a:pt x="529" y="4769"/>
                    <a:pt x="301" y="4814"/>
                  </a:cubicBezTo>
                  <a:cubicBezTo>
                    <a:pt x="277" y="4818"/>
                    <a:pt x="270" y="4856"/>
                    <a:pt x="266" y="4944"/>
                  </a:cubicBezTo>
                  <a:cubicBezTo>
                    <a:pt x="256" y="5049"/>
                    <a:pt x="242" y="5220"/>
                    <a:pt x="53" y="5220"/>
                  </a:cubicBezTo>
                  <a:lnTo>
                    <a:pt x="35" y="5220"/>
                  </a:lnTo>
                  <a:cubicBezTo>
                    <a:pt x="42" y="5245"/>
                    <a:pt x="53" y="5269"/>
                    <a:pt x="63" y="5290"/>
                  </a:cubicBezTo>
                  <a:cubicBezTo>
                    <a:pt x="102" y="5378"/>
                    <a:pt x="161" y="5511"/>
                    <a:pt x="63" y="5605"/>
                  </a:cubicBezTo>
                  <a:cubicBezTo>
                    <a:pt x="28" y="5637"/>
                    <a:pt x="4" y="5682"/>
                    <a:pt x="0" y="5728"/>
                  </a:cubicBezTo>
                  <a:cubicBezTo>
                    <a:pt x="0" y="5735"/>
                    <a:pt x="0" y="5742"/>
                    <a:pt x="0" y="5745"/>
                  </a:cubicBezTo>
                  <a:cubicBezTo>
                    <a:pt x="0" y="5749"/>
                    <a:pt x="0" y="5756"/>
                    <a:pt x="4" y="5759"/>
                  </a:cubicBezTo>
                  <a:cubicBezTo>
                    <a:pt x="19" y="5785"/>
                    <a:pt x="46" y="5799"/>
                    <a:pt x="75" y="5799"/>
                  </a:cubicBezTo>
                  <a:cubicBezTo>
                    <a:pt x="78" y="5799"/>
                    <a:pt x="81" y="5798"/>
                    <a:pt x="84" y="5798"/>
                  </a:cubicBezTo>
                  <a:cubicBezTo>
                    <a:pt x="88" y="5798"/>
                    <a:pt x="92" y="5798"/>
                    <a:pt x="96" y="5798"/>
                  </a:cubicBezTo>
                  <a:cubicBezTo>
                    <a:pt x="141" y="5798"/>
                    <a:pt x="185" y="5815"/>
                    <a:pt x="214" y="5847"/>
                  </a:cubicBezTo>
                  <a:cubicBezTo>
                    <a:pt x="277" y="5914"/>
                    <a:pt x="266" y="6015"/>
                    <a:pt x="259" y="6134"/>
                  </a:cubicBezTo>
                  <a:cubicBezTo>
                    <a:pt x="256" y="6176"/>
                    <a:pt x="252" y="6222"/>
                    <a:pt x="252" y="6267"/>
                  </a:cubicBezTo>
                  <a:cubicBezTo>
                    <a:pt x="252" y="6278"/>
                    <a:pt x="252" y="6285"/>
                    <a:pt x="256" y="6295"/>
                  </a:cubicBezTo>
                  <a:cubicBezTo>
                    <a:pt x="256" y="6299"/>
                    <a:pt x="256" y="6302"/>
                    <a:pt x="256" y="6309"/>
                  </a:cubicBezTo>
                  <a:cubicBezTo>
                    <a:pt x="259" y="6313"/>
                    <a:pt x="256" y="6316"/>
                    <a:pt x="259" y="6320"/>
                  </a:cubicBezTo>
                  <a:cubicBezTo>
                    <a:pt x="263" y="6323"/>
                    <a:pt x="263" y="6330"/>
                    <a:pt x="266" y="6337"/>
                  </a:cubicBezTo>
                  <a:lnTo>
                    <a:pt x="270" y="6344"/>
                  </a:lnTo>
                  <a:cubicBezTo>
                    <a:pt x="273" y="6348"/>
                    <a:pt x="277" y="6355"/>
                    <a:pt x="280" y="6362"/>
                  </a:cubicBezTo>
                  <a:cubicBezTo>
                    <a:pt x="298" y="6393"/>
                    <a:pt x="322" y="6425"/>
                    <a:pt x="350" y="6449"/>
                  </a:cubicBezTo>
                  <a:cubicBezTo>
                    <a:pt x="392" y="6484"/>
                    <a:pt x="434" y="6516"/>
                    <a:pt x="483" y="6544"/>
                  </a:cubicBezTo>
                  <a:lnTo>
                    <a:pt x="487" y="6544"/>
                  </a:lnTo>
                  <a:lnTo>
                    <a:pt x="536" y="6568"/>
                  </a:lnTo>
                  <a:lnTo>
                    <a:pt x="476" y="6768"/>
                  </a:lnTo>
                  <a:lnTo>
                    <a:pt x="462" y="6820"/>
                  </a:lnTo>
                  <a:lnTo>
                    <a:pt x="469" y="6827"/>
                  </a:lnTo>
                  <a:cubicBezTo>
                    <a:pt x="581" y="6964"/>
                    <a:pt x="826" y="7261"/>
                    <a:pt x="858" y="7356"/>
                  </a:cubicBezTo>
                  <a:cubicBezTo>
                    <a:pt x="861" y="7366"/>
                    <a:pt x="865" y="7380"/>
                    <a:pt x="872" y="7391"/>
                  </a:cubicBezTo>
                  <a:lnTo>
                    <a:pt x="889" y="7429"/>
                  </a:lnTo>
                  <a:cubicBezTo>
                    <a:pt x="942" y="7527"/>
                    <a:pt x="1008" y="7667"/>
                    <a:pt x="970" y="7783"/>
                  </a:cubicBezTo>
                  <a:cubicBezTo>
                    <a:pt x="952" y="7839"/>
                    <a:pt x="910" y="7884"/>
                    <a:pt x="858" y="7909"/>
                  </a:cubicBezTo>
                  <a:cubicBezTo>
                    <a:pt x="798" y="7937"/>
                    <a:pt x="784" y="7961"/>
                    <a:pt x="781" y="7972"/>
                  </a:cubicBezTo>
                  <a:cubicBezTo>
                    <a:pt x="781" y="7979"/>
                    <a:pt x="784" y="7983"/>
                    <a:pt x="791" y="7990"/>
                  </a:cubicBezTo>
                  <a:lnTo>
                    <a:pt x="1043" y="8025"/>
                  </a:lnTo>
                  <a:lnTo>
                    <a:pt x="1110" y="8193"/>
                  </a:lnTo>
                  <a:cubicBezTo>
                    <a:pt x="1253" y="8203"/>
                    <a:pt x="1386" y="8263"/>
                    <a:pt x="1495" y="8354"/>
                  </a:cubicBezTo>
                  <a:cubicBezTo>
                    <a:pt x="1516" y="8375"/>
                    <a:pt x="1534" y="8392"/>
                    <a:pt x="1555" y="8413"/>
                  </a:cubicBezTo>
                  <a:cubicBezTo>
                    <a:pt x="1600" y="8473"/>
                    <a:pt x="1642" y="8515"/>
                    <a:pt x="1670" y="8550"/>
                  </a:cubicBezTo>
                  <a:cubicBezTo>
                    <a:pt x="1758" y="8644"/>
                    <a:pt x="1803" y="8697"/>
                    <a:pt x="1803" y="8795"/>
                  </a:cubicBezTo>
                  <a:cubicBezTo>
                    <a:pt x="1803" y="8823"/>
                    <a:pt x="1842" y="8847"/>
                    <a:pt x="1922" y="8903"/>
                  </a:cubicBezTo>
                  <a:cubicBezTo>
                    <a:pt x="1989" y="8949"/>
                    <a:pt x="2055" y="8994"/>
                    <a:pt x="2118" y="9047"/>
                  </a:cubicBezTo>
                  <a:cubicBezTo>
                    <a:pt x="2342" y="9232"/>
                    <a:pt x="2342" y="9355"/>
                    <a:pt x="2342" y="9463"/>
                  </a:cubicBezTo>
                  <a:cubicBezTo>
                    <a:pt x="2360" y="9505"/>
                    <a:pt x="2514" y="9603"/>
                    <a:pt x="2675" y="9677"/>
                  </a:cubicBezTo>
                  <a:lnTo>
                    <a:pt x="2685" y="9684"/>
                  </a:lnTo>
                  <a:lnTo>
                    <a:pt x="2699" y="9687"/>
                  </a:lnTo>
                  <a:lnTo>
                    <a:pt x="2713" y="9729"/>
                  </a:lnTo>
                  <a:lnTo>
                    <a:pt x="2825" y="10006"/>
                  </a:lnTo>
                  <a:lnTo>
                    <a:pt x="2829" y="10009"/>
                  </a:lnTo>
                  <a:lnTo>
                    <a:pt x="2846" y="10020"/>
                  </a:lnTo>
                  <a:lnTo>
                    <a:pt x="2853" y="10023"/>
                  </a:lnTo>
                  <a:lnTo>
                    <a:pt x="2871" y="10037"/>
                  </a:lnTo>
                  <a:lnTo>
                    <a:pt x="2878" y="10041"/>
                  </a:lnTo>
                  <a:lnTo>
                    <a:pt x="2892" y="10055"/>
                  </a:lnTo>
                  <a:lnTo>
                    <a:pt x="2902" y="10062"/>
                  </a:lnTo>
                  <a:lnTo>
                    <a:pt x="2916" y="10076"/>
                  </a:lnTo>
                  <a:lnTo>
                    <a:pt x="2923" y="10083"/>
                  </a:lnTo>
                  <a:lnTo>
                    <a:pt x="2934" y="10101"/>
                  </a:lnTo>
                  <a:lnTo>
                    <a:pt x="2944" y="10111"/>
                  </a:lnTo>
                  <a:cubicBezTo>
                    <a:pt x="2948" y="10115"/>
                    <a:pt x="2951" y="10122"/>
                    <a:pt x="2955" y="10129"/>
                  </a:cubicBezTo>
                  <a:lnTo>
                    <a:pt x="2962" y="10139"/>
                  </a:lnTo>
                  <a:cubicBezTo>
                    <a:pt x="2965" y="10150"/>
                    <a:pt x="2972" y="10160"/>
                    <a:pt x="2976" y="10171"/>
                  </a:cubicBezTo>
                  <a:cubicBezTo>
                    <a:pt x="2979" y="10178"/>
                    <a:pt x="2983" y="10188"/>
                    <a:pt x="2986" y="10199"/>
                  </a:cubicBezTo>
                  <a:cubicBezTo>
                    <a:pt x="3035" y="10286"/>
                    <a:pt x="3105" y="10360"/>
                    <a:pt x="3193" y="10416"/>
                  </a:cubicBezTo>
                  <a:cubicBezTo>
                    <a:pt x="3198" y="10418"/>
                    <a:pt x="3270" y="10465"/>
                    <a:pt x="3345" y="10465"/>
                  </a:cubicBezTo>
                  <a:cubicBezTo>
                    <a:pt x="3381" y="10465"/>
                    <a:pt x="3418" y="10454"/>
                    <a:pt x="3448" y="10423"/>
                  </a:cubicBezTo>
                  <a:cubicBezTo>
                    <a:pt x="3490" y="10377"/>
                    <a:pt x="3553" y="10353"/>
                    <a:pt x="3613" y="10353"/>
                  </a:cubicBezTo>
                  <a:cubicBezTo>
                    <a:pt x="3669" y="10353"/>
                    <a:pt x="3722" y="10367"/>
                    <a:pt x="3767" y="10395"/>
                  </a:cubicBezTo>
                  <a:cubicBezTo>
                    <a:pt x="3778" y="10402"/>
                    <a:pt x="3792" y="10412"/>
                    <a:pt x="3802" y="10419"/>
                  </a:cubicBezTo>
                  <a:cubicBezTo>
                    <a:pt x="3850" y="10390"/>
                    <a:pt x="3928" y="10350"/>
                    <a:pt x="4004" y="10350"/>
                  </a:cubicBezTo>
                  <a:cubicBezTo>
                    <a:pt x="4040" y="10350"/>
                    <a:pt x="4075" y="10359"/>
                    <a:pt x="4107" y="10381"/>
                  </a:cubicBezTo>
                  <a:lnTo>
                    <a:pt x="4124" y="10391"/>
                  </a:lnTo>
                  <a:lnTo>
                    <a:pt x="4131" y="10398"/>
                  </a:lnTo>
                  <a:lnTo>
                    <a:pt x="4142" y="10405"/>
                  </a:lnTo>
                  <a:lnTo>
                    <a:pt x="4156" y="10416"/>
                  </a:lnTo>
                  <a:lnTo>
                    <a:pt x="4170" y="10426"/>
                  </a:lnTo>
                  <a:lnTo>
                    <a:pt x="4184" y="10440"/>
                  </a:lnTo>
                  <a:lnTo>
                    <a:pt x="4198" y="10447"/>
                  </a:lnTo>
                  <a:lnTo>
                    <a:pt x="4219" y="10465"/>
                  </a:lnTo>
                  <a:lnTo>
                    <a:pt x="4229" y="10475"/>
                  </a:lnTo>
                  <a:lnTo>
                    <a:pt x="4254" y="10493"/>
                  </a:lnTo>
                  <a:lnTo>
                    <a:pt x="4268" y="10503"/>
                  </a:lnTo>
                  <a:lnTo>
                    <a:pt x="4289" y="10524"/>
                  </a:lnTo>
                  <a:lnTo>
                    <a:pt x="4306" y="10535"/>
                  </a:lnTo>
                  <a:lnTo>
                    <a:pt x="4327" y="10556"/>
                  </a:lnTo>
                  <a:lnTo>
                    <a:pt x="4348" y="10570"/>
                  </a:lnTo>
                  <a:lnTo>
                    <a:pt x="4369" y="10591"/>
                  </a:lnTo>
                  <a:lnTo>
                    <a:pt x="4394" y="10608"/>
                  </a:lnTo>
                  <a:lnTo>
                    <a:pt x="4415" y="10626"/>
                  </a:lnTo>
                  <a:lnTo>
                    <a:pt x="4439" y="10647"/>
                  </a:lnTo>
                  <a:lnTo>
                    <a:pt x="4460" y="10664"/>
                  </a:lnTo>
                  <a:lnTo>
                    <a:pt x="4488" y="10689"/>
                  </a:lnTo>
                  <a:lnTo>
                    <a:pt x="4506" y="10706"/>
                  </a:lnTo>
                  <a:lnTo>
                    <a:pt x="4537" y="10731"/>
                  </a:lnTo>
                  <a:lnTo>
                    <a:pt x="4555" y="10748"/>
                  </a:lnTo>
                  <a:lnTo>
                    <a:pt x="4586" y="10776"/>
                  </a:lnTo>
                  <a:lnTo>
                    <a:pt x="4604" y="10790"/>
                  </a:lnTo>
                  <a:lnTo>
                    <a:pt x="4635" y="10818"/>
                  </a:lnTo>
                  <a:lnTo>
                    <a:pt x="4653" y="10836"/>
                  </a:lnTo>
                  <a:lnTo>
                    <a:pt x="4688" y="10864"/>
                  </a:lnTo>
                  <a:lnTo>
                    <a:pt x="4702" y="10878"/>
                  </a:lnTo>
                  <a:lnTo>
                    <a:pt x="4716" y="10892"/>
                  </a:lnTo>
                  <a:cubicBezTo>
                    <a:pt x="4761" y="10874"/>
                    <a:pt x="4831" y="10850"/>
                    <a:pt x="4905" y="10829"/>
                  </a:cubicBezTo>
                  <a:lnTo>
                    <a:pt x="4954" y="10815"/>
                  </a:lnTo>
                  <a:lnTo>
                    <a:pt x="4964" y="10811"/>
                  </a:lnTo>
                  <a:lnTo>
                    <a:pt x="5010" y="10801"/>
                  </a:lnTo>
                  <a:lnTo>
                    <a:pt x="5013" y="10801"/>
                  </a:lnTo>
                  <a:lnTo>
                    <a:pt x="5059" y="10790"/>
                  </a:lnTo>
                  <a:lnTo>
                    <a:pt x="5066" y="10790"/>
                  </a:lnTo>
                  <a:cubicBezTo>
                    <a:pt x="5080" y="10787"/>
                    <a:pt x="5090" y="10787"/>
                    <a:pt x="5104" y="10787"/>
                  </a:cubicBezTo>
                  <a:lnTo>
                    <a:pt x="5167" y="10787"/>
                  </a:lnTo>
                  <a:lnTo>
                    <a:pt x="5188" y="10794"/>
                  </a:lnTo>
                  <a:lnTo>
                    <a:pt x="5195" y="10794"/>
                  </a:lnTo>
                  <a:lnTo>
                    <a:pt x="5220" y="10804"/>
                  </a:lnTo>
                  <a:lnTo>
                    <a:pt x="5223" y="10804"/>
                  </a:lnTo>
                  <a:lnTo>
                    <a:pt x="5251" y="10815"/>
                  </a:lnTo>
                  <a:lnTo>
                    <a:pt x="5279" y="10832"/>
                  </a:lnTo>
                  <a:lnTo>
                    <a:pt x="5304" y="10846"/>
                  </a:lnTo>
                  <a:lnTo>
                    <a:pt x="5311" y="10846"/>
                  </a:lnTo>
                  <a:lnTo>
                    <a:pt x="5318" y="10853"/>
                  </a:lnTo>
                  <a:lnTo>
                    <a:pt x="5335" y="10864"/>
                  </a:lnTo>
                  <a:cubicBezTo>
                    <a:pt x="5360" y="10881"/>
                    <a:pt x="5384" y="10895"/>
                    <a:pt x="5409" y="10909"/>
                  </a:cubicBezTo>
                  <a:cubicBezTo>
                    <a:pt x="5479" y="10834"/>
                    <a:pt x="5660" y="10752"/>
                    <a:pt x="5791" y="10752"/>
                  </a:cubicBezTo>
                  <a:cubicBezTo>
                    <a:pt x="5824" y="10752"/>
                    <a:pt x="5854" y="10757"/>
                    <a:pt x="5878" y="10769"/>
                  </a:cubicBezTo>
                  <a:cubicBezTo>
                    <a:pt x="5920" y="10791"/>
                    <a:pt x="5985" y="10801"/>
                    <a:pt x="6038" y="10801"/>
                  </a:cubicBezTo>
                  <a:cubicBezTo>
                    <a:pt x="6078" y="10801"/>
                    <a:pt x="6112" y="10796"/>
                    <a:pt x="6127" y="10787"/>
                  </a:cubicBezTo>
                  <a:cubicBezTo>
                    <a:pt x="6137" y="10724"/>
                    <a:pt x="6204" y="10675"/>
                    <a:pt x="6270" y="10622"/>
                  </a:cubicBezTo>
                  <a:cubicBezTo>
                    <a:pt x="6291" y="10608"/>
                    <a:pt x="6312" y="10594"/>
                    <a:pt x="6333" y="10577"/>
                  </a:cubicBezTo>
                  <a:cubicBezTo>
                    <a:pt x="6351" y="10563"/>
                    <a:pt x="6365" y="10549"/>
                    <a:pt x="6379" y="10528"/>
                  </a:cubicBezTo>
                  <a:cubicBezTo>
                    <a:pt x="6379" y="10528"/>
                    <a:pt x="6379" y="10524"/>
                    <a:pt x="6379" y="10524"/>
                  </a:cubicBezTo>
                  <a:cubicBezTo>
                    <a:pt x="6414" y="10381"/>
                    <a:pt x="6746" y="10206"/>
                    <a:pt x="6869" y="10181"/>
                  </a:cubicBezTo>
                  <a:cubicBezTo>
                    <a:pt x="6933" y="10168"/>
                    <a:pt x="6989" y="10162"/>
                    <a:pt x="7039" y="10162"/>
                  </a:cubicBezTo>
                  <a:cubicBezTo>
                    <a:pt x="7141" y="10162"/>
                    <a:pt x="7213" y="10189"/>
                    <a:pt x="7257" y="10241"/>
                  </a:cubicBezTo>
                  <a:cubicBezTo>
                    <a:pt x="7261" y="10248"/>
                    <a:pt x="7268" y="10251"/>
                    <a:pt x="7271" y="10255"/>
                  </a:cubicBezTo>
                  <a:cubicBezTo>
                    <a:pt x="7278" y="10258"/>
                    <a:pt x="7285" y="10262"/>
                    <a:pt x="7292" y="10265"/>
                  </a:cubicBezTo>
                  <a:lnTo>
                    <a:pt x="7292" y="10251"/>
                  </a:lnTo>
                  <a:lnTo>
                    <a:pt x="7299" y="10209"/>
                  </a:lnTo>
                  <a:lnTo>
                    <a:pt x="7306" y="10185"/>
                  </a:lnTo>
                  <a:lnTo>
                    <a:pt x="7313" y="10129"/>
                  </a:lnTo>
                  <a:cubicBezTo>
                    <a:pt x="7327" y="10073"/>
                    <a:pt x="7334" y="10009"/>
                    <a:pt x="7338" y="9950"/>
                  </a:cubicBezTo>
                  <a:cubicBezTo>
                    <a:pt x="7166" y="9939"/>
                    <a:pt x="6890" y="9785"/>
                    <a:pt x="6785" y="9502"/>
                  </a:cubicBezTo>
                  <a:cubicBezTo>
                    <a:pt x="6732" y="9362"/>
                    <a:pt x="6613" y="9246"/>
                    <a:pt x="6512" y="9148"/>
                  </a:cubicBezTo>
                  <a:lnTo>
                    <a:pt x="6480" y="9113"/>
                  </a:lnTo>
                  <a:cubicBezTo>
                    <a:pt x="6449" y="9082"/>
                    <a:pt x="6417" y="9050"/>
                    <a:pt x="6393" y="9022"/>
                  </a:cubicBezTo>
                  <a:lnTo>
                    <a:pt x="6393" y="9019"/>
                  </a:lnTo>
                  <a:lnTo>
                    <a:pt x="6372" y="8994"/>
                  </a:lnTo>
                  <a:lnTo>
                    <a:pt x="6368" y="8987"/>
                  </a:lnTo>
                  <a:cubicBezTo>
                    <a:pt x="6361" y="8980"/>
                    <a:pt x="6354" y="8970"/>
                    <a:pt x="6347" y="8963"/>
                  </a:cubicBezTo>
                  <a:lnTo>
                    <a:pt x="6347" y="8956"/>
                  </a:lnTo>
                  <a:cubicBezTo>
                    <a:pt x="6333" y="8938"/>
                    <a:pt x="6319" y="8917"/>
                    <a:pt x="6312" y="8893"/>
                  </a:cubicBezTo>
                  <a:cubicBezTo>
                    <a:pt x="6295" y="8847"/>
                    <a:pt x="6225" y="8819"/>
                    <a:pt x="6148" y="8798"/>
                  </a:cubicBezTo>
                  <a:lnTo>
                    <a:pt x="6081" y="8781"/>
                  </a:lnTo>
                  <a:cubicBezTo>
                    <a:pt x="5969" y="8749"/>
                    <a:pt x="5850" y="8718"/>
                    <a:pt x="5808" y="8627"/>
                  </a:cubicBezTo>
                  <a:cubicBezTo>
                    <a:pt x="5752" y="8518"/>
                    <a:pt x="5808" y="8452"/>
                    <a:pt x="5847" y="8410"/>
                  </a:cubicBezTo>
                  <a:cubicBezTo>
                    <a:pt x="5882" y="8382"/>
                    <a:pt x="5899" y="8340"/>
                    <a:pt x="5903" y="8294"/>
                  </a:cubicBezTo>
                  <a:cubicBezTo>
                    <a:pt x="5899" y="8256"/>
                    <a:pt x="5917" y="8217"/>
                    <a:pt x="5945" y="8189"/>
                  </a:cubicBezTo>
                  <a:cubicBezTo>
                    <a:pt x="5966" y="8172"/>
                    <a:pt x="5990" y="8158"/>
                    <a:pt x="6015" y="8147"/>
                  </a:cubicBezTo>
                  <a:cubicBezTo>
                    <a:pt x="6064" y="8132"/>
                    <a:pt x="6114" y="8125"/>
                    <a:pt x="6165" y="8125"/>
                  </a:cubicBezTo>
                  <a:cubicBezTo>
                    <a:pt x="6176" y="8125"/>
                    <a:pt x="6186" y="8125"/>
                    <a:pt x="6197" y="8126"/>
                  </a:cubicBezTo>
                  <a:cubicBezTo>
                    <a:pt x="6228" y="8126"/>
                    <a:pt x="6260" y="8130"/>
                    <a:pt x="6291" y="8133"/>
                  </a:cubicBezTo>
                  <a:lnTo>
                    <a:pt x="6358" y="8133"/>
                  </a:lnTo>
                  <a:cubicBezTo>
                    <a:pt x="6389" y="7954"/>
                    <a:pt x="6407" y="7769"/>
                    <a:pt x="6407" y="7583"/>
                  </a:cubicBezTo>
                  <a:cubicBezTo>
                    <a:pt x="6407" y="7471"/>
                    <a:pt x="6473" y="7366"/>
                    <a:pt x="6529" y="7279"/>
                  </a:cubicBezTo>
                  <a:cubicBezTo>
                    <a:pt x="6564" y="7223"/>
                    <a:pt x="6613" y="7142"/>
                    <a:pt x="6596" y="7125"/>
                  </a:cubicBezTo>
                  <a:cubicBezTo>
                    <a:pt x="6564" y="7097"/>
                    <a:pt x="6547" y="7055"/>
                    <a:pt x="6554" y="7013"/>
                  </a:cubicBezTo>
                  <a:cubicBezTo>
                    <a:pt x="6564" y="6943"/>
                    <a:pt x="6634" y="6904"/>
                    <a:pt x="6715" y="6866"/>
                  </a:cubicBezTo>
                  <a:cubicBezTo>
                    <a:pt x="6760" y="6841"/>
                    <a:pt x="6802" y="6817"/>
                    <a:pt x="6841" y="6789"/>
                  </a:cubicBezTo>
                  <a:cubicBezTo>
                    <a:pt x="6886" y="6757"/>
                    <a:pt x="6893" y="6670"/>
                    <a:pt x="6900" y="6579"/>
                  </a:cubicBezTo>
                  <a:cubicBezTo>
                    <a:pt x="6907" y="6467"/>
                    <a:pt x="6918" y="6341"/>
                    <a:pt x="7002" y="6257"/>
                  </a:cubicBezTo>
                  <a:cubicBezTo>
                    <a:pt x="7058" y="6194"/>
                    <a:pt x="7103" y="6131"/>
                    <a:pt x="7145" y="6061"/>
                  </a:cubicBezTo>
                  <a:cubicBezTo>
                    <a:pt x="7226" y="5938"/>
                    <a:pt x="7292" y="5829"/>
                    <a:pt x="7387" y="5829"/>
                  </a:cubicBezTo>
                  <a:cubicBezTo>
                    <a:pt x="7450" y="5829"/>
                    <a:pt x="7558" y="5728"/>
                    <a:pt x="7558" y="5626"/>
                  </a:cubicBezTo>
                  <a:cubicBezTo>
                    <a:pt x="7558" y="5556"/>
                    <a:pt x="7597" y="5476"/>
                    <a:pt x="7646" y="5381"/>
                  </a:cubicBezTo>
                  <a:lnTo>
                    <a:pt x="7670" y="5332"/>
                  </a:lnTo>
                  <a:lnTo>
                    <a:pt x="7677" y="5318"/>
                  </a:lnTo>
                  <a:lnTo>
                    <a:pt x="7691" y="5287"/>
                  </a:lnTo>
                  <a:lnTo>
                    <a:pt x="7702" y="5266"/>
                  </a:lnTo>
                  <a:cubicBezTo>
                    <a:pt x="7705" y="5255"/>
                    <a:pt x="7709" y="5245"/>
                    <a:pt x="7713" y="5238"/>
                  </a:cubicBezTo>
                  <a:cubicBezTo>
                    <a:pt x="7720" y="5227"/>
                    <a:pt x="7720" y="5220"/>
                    <a:pt x="7723" y="5217"/>
                  </a:cubicBezTo>
                  <a:cubicBezTo>
                    <a:pt x="7727" y="5210"/>
                    <a:pt x="7730" y="5196"/>
                    <a:pt x="7734" y="5189"/>
                  </a:cubicBezTo>
                  <a:cubicBezTo>
                    <a:pt x="7737" y="5178"/>
                    <a:pt x="7737" y="5171"/>
                    <a:pt x="7741" y="5164"/>
                  </a:cubicBezTo>
                  <a:cubicBezTo>
                    <a:pt x="7741" y="5157"/>
                    <a:pt x="7748" y="5147"/>
                    <a:pt x="7748" y="5140"/>
                  </a:cubicBezTo>
                  <a:cubicBezTo>
                    <a:pt x="7751" y="5129"/>
                    <a:pt x="7751" y="5122"/>
                    <a:pt x="7755" y="5115"/>
                  </a:cubicBezTo>
                  <a:cubicBezTo>
                    <a:pt x="7755" y="5108"/>
                    <a:pt x="7758" y="5098"/>
                    <a:pt x="7758" y="5091"/>
                  </a:cubicBezTo>
                  <a:cubicBezTo>
                    <a:pt x="7762" y="5080"/>
                    <a:pt x="7758" y="5077"/>
                    <a:pt x="7762" y="5070"/>
                  </a:cubicBezTo>
                  <a:cubicBezTo>
                    <a:pt x="7765" y="5059"/>
                    <a:pt x="7762" y="5052"/>
                    <a:pt x="7765" y="5042"/>
                  </a:cubicBezTo>
                  <a:cubicBezTo>
                    <a:pt x="7765" y="5035"/>
                    <a:pt x="7765" y="5028"/>
                    <a:pt x="7765" y="5021"/>
                  </a:cubicBezTo>
                  <a:lnTo>
                    <a:pt x="7765" y="4996"/>
                  </a:lnTo>
                  <a:lnTo>
                    <a:pt x="7765" y="4986"/>
                  </a:lnTo>
                  <a:cubicBezTo>
                    <a:pt x="7762" y="4958"/>
                    <a:pt x="7755" y="4930"/>
                    <a:pt x="7751" y="4898"/>
                  </a:cubicBezTo>
                  <a:lnTo>
                    <a:pt x="7744" y="4863"/>
                  </a:lnTo>
                  <a:cubicBezTo>
                    <a:pt x="7716" y="4748"/>
                    <a:pt x="7705" y="4632"/>
                    <a:pt x="7702" y="4517"/>
                  </a:cubicBezTo>
                  <a:lnTo>
                    <a:pt x="7702" y="4499"/>
                  </a:lnTo>
                  <a:lnTo>
                    <a:pt x="7702" y="4475"/>
                  </a:lnTo>
                  <a:cubicBezTo>
                    <a:pt x="7702" y="4468"/>
                    <a:pt x="7705" y="4447"/>
                    <a:pt x="7709" y="4433"/>
                  </a:cubicBezTo>
                  <a:cubicBezTo>
                    <a:pt x="7720" y="4349"/>
                    <a:pt x="7755" y="4268"/>
                    <a:pt x="7807" y="4202"/>
                  </a:cubicBezTo>
                  <a:lnTo>
                    <a:pt x="7811" y="4195"/>
                  </a:lnTo>
                  <a:cubicBezTo>
                    <a:pt x="7891" y="4107"/>
                    <a:pt x="7954" y="4002"/>
                    <a:pt x="7993" y="3890"/>
                  </a:cubicBezTo>
                  <a:cubicBezTo>
                    <a:pt x="8003" y="3848"/>
                    <a:pt x="8007" y="3806"/>
                    <a:pt x="8007" y="3767"/>
                  </a:cubicBezTo>
                  <a:cubicBezTo>
                    <a:pt x="8007" y="3746"/>
                    <a:pt x="8003" y="3729"/>
                    <a:pt x="8000" y="3711"/>
                  </a:cubicBezTo>
                  <a:cubicBezTo>
                    <a:pt x="7968" y="3550"/>
                    <a:pt x="8105" y="3477"/>
                    <a:pt x="8206" y="3421"/>
                  </a:cubicBezTo>
                  <a:cubicBezTo>
                    <a:pt x="8248" y="3403"/>
                    <a:pt x="8287" y="3379"/>
                    <a:pt x="8322" y="3347"/>
                  </a:cubicBezTo>
                  <a:cubicBezTo>
                    <a:pt x="8329" y="3344"/>
                    <a:pt x="8332" y="3337"/>
                    <a:pt x="8339" y="3333"/>
                  </a:cubicBezTo>
                  <a:lnTo>
                    <a:pt x="8343" y="3330"/>
                  </a:lnTo>
                  <a:lnTo>
                    <a:pt x="8350" y="3326"/>
                  </a:lnTo>
                  <a:lnTo>
                    <a:pt x="8367" y="3312"/>
                  </a:lnTo>
                  <a:lnTo>
                    <a:pt x="8395" y="3291"/>
                  </a:lnTo>
                  <a:lnTo>
                    <a:pt x="8427" y="3270"/>
                  </a:lnTo>
                  <a:lnTo>
                    <a:pt x="8469" y="3242"/>
                  </a:lnTo>
                  <a:lnTo>
                    <a:pt x="8483" y="3232"/>
                  </a:lnTo>
                  <a:lnTo>
                    <a:pt x="8514" y="3211"/>
                  </a:lnTo>
                  <a:lnTo>
                    <a:pt x="8532" y="3197"/>
                  </a:lnTo>
                  <a:lnTo>
                    <a:pt x="8567" y="3172"/>
                  </a:lnTo>
                  <a:lnTo>
                    <a:pt x="8584" y="3155"/>
                  </a:lnTo>
                  <a:lnTo>
                    <a:pt x="8616" y="3130"/>
                  </a:lnTo>
                  <a:lnTo>
                    <a:pt x="8637" y="3109"/>
                  </a:lnTo>
                  <a:lnTo>
                    <a:pt x="8668" y="3081"/>
                  </a:lnTo>
                  <a:lnTo>
                    <a:pt x="8693" y="3057"/>
                  </a:lnTo>
                  <a:cubicBezTo>
                    <a:pt x="8703" y="3046"/>
                    <a:pt x="8710" y="3036"/>
                    <a:pt x="8721" y="3025"/>
                  </a:cubicBezTo>
                  <a:lnTo>
                    <a:pt x="8745" y="2997"/>
                  </a:lnTo>
                  <a:cubicBezTo>
                    <a:pt x="8756" y="2987"/>
                    <a:pt x="8763" y="2973"/>
                    <a:pt x="8773" y="2962"/>
                  </a:cubicBezTo>
                  <a:lnTo>
                    <a:pt x="8798" y="2931"/>
                  </a:lnTo>
                  <a:lnTo>
                    <a:pt x="8812" y="2910"/>
                  </a:lnTo>
                  <a:cubicBezTo>
                    <a:pt x="8703" y="2784"/>
                    <a:pt x="8591" y="2682"/>
                    <a:pt x="8525" y="2654"/>
                  </a:cubicBezTo>
                  <a:cubicBezTo>
                    <a:pt x="8308" y="2553"/>
                    <a:pt x="8164" y="2192"/>
                    <a:pt x="8164" y="1737"/>
                  </a:cubicBezTo>
                  <a:cubicBezTo>
                    <a:pt x="8161" y="1488"/>
                    <a:pt x="8129" y="1240"/>
                    <a:pt x="8073" y="998"/>
                  </a:cubicBezTo>
                  <a:cubicBezTo>
                    <a:pt x="8059" y="932"/>
                    <a:pt x="8049" y="879"/>
                    <a:pt x="8042" y="837"/>
                  </a:cubicBezTo>
                  <a:cubicBezTo>
                    <a:pt x="8028" y="725"/>
                    <a:pt x="7832" y="449"/>
                    <a:pt x="7600" y="323"/>
                  </a:cubicBezTo>
                  <a:cubicBezTo>
                    <a:pt x="7464" y="253"/>
                    <a:pt x="7359" y="137"/>
                    <a:pt x="7299" y="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930" name="Google Shape;3930;p104"/>
            <p:cNvSpPr/>
            <p:nvPr/>
          </p:nvSpPr>
          <p:spPr>
            <a:xfrm>
              <a:off x="2215129" y="1960186"/>
              <a:ext cx="5295" cy="7196"/>
            </a:xfrm>
            <a:custGeom>
              <a:avLst/>
              <a:gdLst/>
              <a:ahLst/>
              <a:cxnLst/>
              <a:rect l="l" t="t" r="r" b="b"/>
              <a:pathLst>
                <a:path w="390" h="530" extrusionOk="0">
                  <a:moveTo>
                    <a:pt x="1" y="1"/>
                  </a:moveTo>
                  <a:lnTo>
                    <a:pt x="1" y="1"/>
                  </a:lnTo>
                  <a:cubicBezTo>
                    <a:pt x="22" y="27"/>
                    <a:pt x="49" y="59"/>
                    <a:pt x="77" y="94"/>
                  </a:cubicBezTo>
                  <a:lnTo>
                    <a:pt x="77" y="94"/>
                  </a:lnTo>
                  <a:lnTo>
                    <a:pt x="74" y="88"/>
                  </a:lnTo>
                  <a:lnTo>
                    <a:pt x="1" y="1"/>
                  </a:lnTo>
                  <a:close/>
                  <a:moveTo>
                    <a:pt x="77" y="94"/>
                  </a:moveTo>
                  <a:lnTo>
                    <a:pt x="81" y="102"/>
                  </a:lnTo>
                  <a:cubicBezTo>
                    <a:pt x="200" y="246"/>
                    <a:pt x="361" y="452"/>
                    <a:pt x="389" y="529"/>
                  </a:cubicBezTo>
                  <a:cubicBezTo>
                    <a:pt x="364" y="453"/>
                    <a:pt x="199" y="244"/>
                    <a:pt x="77" y="94"/>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931" name="Google Shape;3931;p104"/>
            <p:cNvSpPr/>
            <p:nvPr/>
          </p:nvSpPr>
          <p:spPr>
            <a:xfrm>
              <a:off x="2245217" y="1998977"/>
              <a:ext cx="394" cy="625"/>
            </a:xfrm>
            <a:custGeom>
              <a:avLst/>
              <a:gdLst/>
              <a:ahLst/>
              <a:cxnLst/>
              <a:rect l="l" t="t" r="r" b="b"/>
              <a:pathLst>
                <a:path w="29" h="46" extrusionOk="0">
                  <a:moveTo>
                    <a:pt x="29" y="46"/>
                  </a:moveTo>
                  <a:lnTo>
                    <a:pt x="15" y="4"/>
                  </a:lnTo>
                  <a:lnTo>
                    <a:pt x="1" y="0"/>
                  </a:lnTo>
                  <a:lnTo>
                    <a:pt x="15" y="4"/>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932" name="Google Shape;3932;p104"/>
            <p:cNvSpPr/>
            <p:nvPr/>
          </p:nvSpPr>
          <p:spPr>
            <a:xfrm>
              <a:off x="2212183" y="1952922"/>
              <a:ext cx="68" cy="149"/>
            </a:xfrm>
            <a:custGeom>
              <a:avLst/>
              <a:gdLst/>
              <a:ahLst/>
              <a:cxnLst/>
              <a:rect l="l" t="t" r="r" b="b"/>
              <a:pathLst>
                <a:path w="5" h="11" extrusionOk="0">
                  <a:moveTo>
                    <a:pt x="1" y="0"/>
                  </a:moveTo>
                  <a:cubicBezTo>
                    <a:pt x="1" y="4"/>
                    <a:pt x="1" y="7"/>
                    <a:pt x="4" y="11"/>
                  </a:cubicBezTo>
                  <a:cubicBezTo>
                    <a:pt x="4" y="7"/>
                    <a:pt x="4" y="4"/>
                    <a:pt x="1"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933" name="Google Shape;3933;p104"/>
            <p:cNvSpPr/>
            <p:nvPr/>
          </p:nvSpPr>
          <p:spPr>
            <a:xfrm>
              <a:off x="2214994" y="1959385"/>
              <a:ext cx="244" cy="720"/>
            </a:xfrm>
            <a:custGeom>
              <a:avLst/>
              <a:gdLst/>
              <a:ahLst/>
              <a:cxnLst/>
              <a:rect l="l" t="t" r="r" b="b"/>
              <a:pathLst>
                <a:path w="18" h="53" extrusionOk="0">
                  <a:moveTo>
                    <a:pt x="0" y="53"/>
                  </a:moveTo>
                  <a:lnTo>
                    <a:pt x="18"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934" name="Google Shape;3934;p104"/>
            <p:cNvSpPr/>
            <p:nvPr/>
          </p:nvSpPr>
          <p:spPr>
            <a:xfrm>
              <a:off x="2208761" y="1945210"/>
              <a:ext cx="14" cy="258"/>
            </a:xfrm>
            <a:custGeom>
              <a:avLst/>
              <a:gdLst/>
              <a:ahLst/>
              <a:cxnLst/>
              <a:rect l="l" t="t" r="r" b="b"/>
              <a:pathLst>
                <a:path w="1" h="19" extrusionOk="0">
                  <a:moveTo>
                    <a:pt x="1" y="18"/>
                  </a:moveTo>
                  <a:cubicBezTo>
                    <a:pt x="1" y="11"/>
                    <a:pt x="1" y="8"/>
                    <a:pt x="1" y="1"/>
                  </a:cubicBezTo>
                  <a:cubicBezTo>
                    <a:pt x="1" y="8"/>
                    <a:pt x="1" y="11"/>
                    <a:pt x="1" y="18"/>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935" name="Google Shape;3935;p104"/>
            <p:cNvSpPr/>
            <p:nvPr/>
          </p:nvSpPr>
          <p:spPr>
            <a:xfrm>
              <a:off x="2212563" y="1953872"/>
              <a:ext cx="964" cy="1195"/>
            </a:xfrm>
            <a:custGeom>
              <a:avLst/>
              <a:gdLst/>
              <a:ahLst/>
              <a:cxnLst/>
              <a:rect l="l" t="t" r="r" b="b"/>
              <a:pathLst>
                <a:path w="71" h="88" extrusionOk="0">
                  <a:moveTo>
                    <a:pt x="71" y="88"/>
                  </a:moveTo>
                  <a:cubicBezTo>
                    <a:pt x="43" y="60"/>
                    <a:pt x="18" y="32"/>
                    <a:pt x="1" y="0"/>
                  </a:cubicBezTo>
                  <a:cubicBezTo>
                    <a:pt x="18" y="32"/>
                    <a:pt x="43" y="60"/>
                    <a:pt x="71" y="88"/>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936" name="Google Shape;3936;p104"/>
            <p:cNvSpPr/>
            <p:nvPr/>
          </p:nvSpPr>
          <p:spPr>
            <a:xfrm>
              <a:off x="2215279" y="1956343"/>
              <a:ext cx="54" cy="14"/>
            </a:xfrm>
            <a:custGeom>
              <a:avLst/>
              <a:gdLst/>
              <a:ahLst/>
              <a:cxnLst/>
              <a:rect l="l" t="t" r="r" b="b"/>
              <a:pathLst>
                <a:path w="4" h="1" extrusionOk="0">
                  <a:moveTo>
                    <a:pt x="4" y="0"/>
                  </a:moveTo>
                  <a:lnTo>
                    <a:pt x="4" y="0"/>
                  </a:lnTo>
                  <a:lnTo>
                    <a:pt x="0"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937" name="Google Shape;3937;p104"/>
            <p:cNvSpPr/>
            <p:nvPr/>
          </p:nvSpPr>
          <p:spPr>
            <a:xfrm>
              <a:off x="2212427" y="1953533"/>
              <a:ext cx="109" cy="299"/>
            </a:xfrm>
            <a:custGeom>
              <a:avLst/>
              <a:gdLst/>
              <a:ahLst/>
              <a:cxnLst/>
              <a:rect l="l" t="t" r="r" b="b"/>
              <a:pathLst>
                <a:path w="8" h="22" extrusionOk="0">
                  <a:moveTo>
                    <a:pt x="0" y="1"/>
                  </a:moveTo>
                  <a:cubicBezTo>
                    <a:pt x="4" y="8"/>
                    <a:pt x="4" y="15"/>
                    <a:pt x="7" y="22"/>
                  </a:cubicBezTo>
                  <a:cubicBezTo>
                    <a:pt x="4" y="15"/>
                    <a:pt x="4" y="8"/>
                    <a:pt x="0" y="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938" name="Google Shape;3938;p104"/>
            <p:cNvSpPr/>
            <p:nvPr/>
          </p:nvSpPr>
          <p:spPr>
            <a:xfrm>
              <a:off x="2212278" y="1953248"/>
              <a:ext cx="109" cy="258"/>
            </a:xfrm>
            <a:custGeom>
              <a:avLst/>
              <a:gdLst/>
              <a:ahLst/>
              <a:cxnLst/>
              <a:rect l="l" t="t" r="r" b="b"/>
              <a:pathLst>
                <a:path w="8" h="19" extrusionOk="0">
                  <a:moveTo>
                    <a:pt x="1" y="1"/>
                  </a:moveTo>
                  <a:cubicBezTo>
                    <a:pt x="1" y="4"/>
                    <a:pt x="4" y="11"/>
                    <a:pt x="8" y="18"/>
                  </a:cubicBezTo>
                  <a:cubicBezTo>
                    <a:pt x="4" y="11"/>
                    <a:pt x="4" y="4"/>
                    <a:pt x="1" y="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939" name="Google Shape;3939;p104"/>
            <p:cNvSpPr/>
            <p:nvPr/>
          </p:nvSpPr>
          <p:spPr>
            <a:xfrm>
              <a:off x="2216080" y="1961421"/>
              <a:ext cx="163" cy="163"/>
            </a:xfrm>
            <a:custGeom>
              <a:avLst/>
              <a:gdLst/>
              <a:ahLst/>
              <a:cxnLst/>
              <a:rect l="l" t="t" r="r" b="b"/>
              <a:pathLst>
                <a:path w="12" h="12" extrusionOk="0">
                  <a:moveTo>
                    <a:pt x="11" y="1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940" name="Google Shape;3940;p104"/>
            <p:cNvSpPr/>
            <p:nvPr/>
          </p:nvSpPr>
          <p:spPr>
            <a:xfrm>
              <a:off x="2307348" y="1867601"/>
              <a:ext cx="394" cy="489"/>
            </a:xfrm>
            <a:custGeom>
              <a:avLst/>
              <a:gdLst/>
              <a:ahLst/>
              <a:cxnLst/>
              <a:rect l="l" t="t" r="r" b="b"/>
              <a:pathLst>
                <a:path w="29" h="36" extrusionOk="0">
                  <a:moveTo>
                    <a:pt x="0" y="35"/>
                  </a:moveTo>
                  <a:lnTo>
                    <a:pt x="28"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941" name="Google Shape;3941;p104"/>
            <p:cNvSpPr/>
            <p:nvPr/>
          </p:nvSpPr>
          <p:spPr>
            <a:xfrm>
              <a:off x="2305583" y="1869312"/>
              <a:ext cx="353" cy="109"/>
            </a:xfrm>
            <a:custGeom>
              <a:avLst/>
              <a:gdLst/>
              <a:ahLst/>
              <a:cxnLst/>
              <a:rect l="l" t="t" r="r" b="b"/>
              <a:pathLst>
                <a:path w="26" h="8" extrusionOk="0">
                  <a:moveTo>
                    <a:pt x="1" y="7"/>
                  </a:moveTo>
                  <a:cubicBezTo>
                    <a:pt x="11" y="4"/>
                    <a:pt x="18" y="4"/>
                    <a:pt x="25" y="0"/>
                  </a:cubicBezTo>
                  <a:cubicBezTo>
                    <a:pt x="18" y="4"/>
                    <a:pt x="11" y="4"/>
                    <a:pt x="1" y="7"/>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942" name="Google Shape;3942;p104"/>
            <p:cNvSpPr/>
            <p:nvPr/>
          </p:nvSpPr>
          <p:spPr>
            <a:xfrm>
              <a:off x="2306302" y="1868932"/>
              <a:ext cx="299" cy="204"/>
            </a:xfrm>
            <a:custGeom>
              <a:avLst/>
              <a:gdLst/>
              <a:ahLst/>
              <a:cxnLst/>
              <a:rect l="l" t="t" r="r" b="b"/>
              <a:pathLst>
                <a:path w="22" h="15" extrusionOk="0">
                  <a:moveTo>
                    <a:pt x="0" y="14"/>
                  </a:moveTo>
                  <a:cubicBezTo>
                    <a:pt x="7" y="11"/>
                    <a:pt x="14" y="4"/>
                    <a:pt x="21" y="0"/>
                  </a:cubicBezTo>
                  <a:cubicBezTo>
                    <a:pt x="14" y="4"/>
                    <a:pt x="7" y="11"/>
                    <a:pt x="0" y="14"/>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943" name="Google Shape;3943;p104"/>
            <p:cNvSpPr/>
            <p:nvPr/>
          </p:nvSpPr>
          <p:spPr>
            <a:xfrm>
              <a:off x="2305963" y="1869162"/>
              <a:ext cx="353" cy="163"/>
            </a:xfrm>
            <a:custGeom>
              <a:avLst/>
              <a:gdLst/>
              <a:ahLst/>
              <a:cxnLst/>
              <a:rect l="l" t="t" r="r" b="b"/>
              <a:pathLst>
                <a:path w="26" h="12" extrusionOk="0">
                  <a:moveTo>
                    <a:pt x="1" y="11"/>
                  </a:moveTo>
                  <a:cubicBezTo>
                    <a:pt x="11" y="8"/>
                    <a:pt x="18" y="4"/>
                    <a:pt x="25" y="1"/>
                  </a:cubicBezTo>
                  <a:cubicBezTo>
                    <a:pt x="18" y="4"/>
                    <a:pt x="11" y="8"/>
                    <a:pt x="1" y="1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944" name="Google Shape;3944;p104"/>
            <p:cNvSpPr/>
            <p:nvPr/>
          </p:nvSpPr>
          <p:spPr>
            <a:xfrm>
              <a:off x="2306628" y="1868646"/>
              <a:ext cx="299" cy="299"/>
            </a:xfrm>
            <a:custGeom>
              <a:avLst/>
              <a:gdLst/>
              <a:ahLst/>
              <a:cxnLst/>
              <a:rect l="l" t="t" r="r" b="b"/>
              <a:pathLst>
                <a:path w="22" h="22" extrusionOk="0">
                  <a:moveTo>
                    <a:pt x="22" y="0"/>
                  </a:moveTo>
                  <a:cubicBezTo>
                    <a:pt x="15" y="7"/>
                    <a:pt x="8" y="14"/>
                    <a:pt x="1" y="21"/>
                  </a:cubicBezTo>
                  <a:cubicBezTo>
                    <a:pt x="8" y="14"/>
                    <a:pt x="15" y="7"/>
                    <a:pt x="22"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945" name="Google Shape;3945;p104"/>
            <p:cNvSpPr/>
            <p:nvPr/>
          </p:nvSpPr>
          <p:spPr>
            <a:xfrm>
              <a:off x="2306968" y="1868171"/>
              <a:ext cx="339" cy="394"/>
            </a:xfrm>
            <a:custGeom>
              <a:avLst/>
              <a:gdLst/>
              <a:ahLst/>
              <a:cxnLst/>
              <a:rect l="l" t="t" r="r" b="b"/>
              <a:pathLst>
                <a:path w="25" h="29" extrusionOk="0">
                  <a:moveTo>
                    <a:pt x="25" y="0"/>
                  </a:moveTo>
                  <a:lnTo>
                    <a:pt x="25" y="0"/>
                  </a:lnTo>
                  <a:cubicBezTo>
                    <a:pt x="18" y="11"/>
                    <a:pt x="7" y="18"/>
                    <a:pt x="0" y="28"/>
                  </a:cubicBezTo>
                  <a:cubicBezTo>
                    <a:pt x="11" y="21"/>
                    <a:pt x="18" y="11"/>
                    <a:pt x="25"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946" name="Google Shape;3946;p104"/>
            <p:cNvSpPr/>
            <p:nvPr/>
          </p:nvSpPr>
          <p:spPr>
            <a:xfrm>
              <a:off x="2305162" y="1869407"/>
              <a:ext cx="394" cy="54"/>
            </a:xfrm>
            <a:custGeom>
              <a:avLst/>
              <a:gdLst/>
              <a:ahLst/>
              <a:cxnLst/>
              <a:rect l="l" t="t" r="r" b="b"/>
              <a:pathLst>
                <a:path w="29" h="4" extrusionOk="0">
                  <a:moveTo>
                    <a:pt x="0" y="4"/>
                  </a:moveTo>
                  <a:cubicBezTo>
                    <a:pt x="7" y="4"/>
                    <a:pt x="18" y="0"/>
                    <a:pt x="28" y="0"/>
                  </a:cubicBezTo>
                  <a:cubicBezTo>
                    <a:pt x="18" y="0"/>
                    <a:pt x="7" y="4"/>
                    <a:pt x="0" y="4"/>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947" name="Google Shape;3947;p104"/>
            <p:cNvSpPr/>
            <p:nvPr/>
          </p:nvSpPr>
          <p:spPr>
            <a:xfrm>
              <a:off x="2305067" y="1869447"/>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948" name="Google Shape;3948;p104"/>
            <p:cNvSpPr/>
            <p:nvPr/>
          </p:nvSpPr>
          <p:spPr>
            <a:xfrm>
              <a:off x="2353593" y="1948930"/>
              <a:ext cx="11799" cy="11704"/>
            </a:xfrm>
            <a:custGeom>
              <a:avLst/>
              <a:gdLst/>
              <a:ahLst/>
              <a:cxnLst/>
              <a:rect l="l" t="t" r="r" b="b"/>
              <a:pathLst>
                <a:path w="869" h="862" extrusionOk="0">
                  <a:moveTo>
                    <a:pt x="711" y="0"/>
                  </a:moveTo>
                  <a:lnTo>
                    <a:pt x="669" y="25"/>
                  </a:lnTo>
                  <a:lnTo>
                    <a:pt x="662" y="28"/>
                  </a:lnTo>
                  <a:lnTo>
                    <a:pt x="652" y="35"/>
                  </a:lnTo>
                  <a:lnTo>
                    <a:pt x="648" y="39"/>
                  </a:lnTo>
                  <a:lnTo>
                    <a:pt x="641" y="46"/>
                  </a:lnTo>
                  <a:lnTo>
                    <a:pt x="638" y="49"/>
                  </a:lnTo>
                  <a:lnTo>
                    <a:pt x="631" y="53"/>
                  </a:lnTo>
                  <a:lnTo>
                    <a:pt x="627" y="53"/>
                  </a:lnTo>
                  <a:lnTo>
                    <a:pt x="624" y="56"/>
                  </a:lnTo>
                  <a:cubicBezTo>
                    <a:pt x="617" y="63"/>
                    <a:pt x="610" y="70"/>
                    <a:pt x="603" y="77"/>
                  </a:cubicBezTo>
                  <a:lnTo>
                    <a:pt x="599" y="81"/>
                  </a:lnTo>
                  <a:cubicBezTo>
                    <a:pt x="592" y="88"/>
                    <a:pt x="585" y="95"/>
                    <a:pt x="575" y="98"/>
                  </a:cubicBezTo>
                  <a:lnTo>
                    <a:pt x="571" y="98"/>
                  </a:lnTo>
                  <a:cubicBezTo>
                    <a:pt x="561" y="102"/>
                    <a:pt x="554" y="105"/>
                    <a:pt x="547" y="105"/>
                  </a:cubicBezTo>
                  <a:lnTo>
                    <a:pt x="543" y="105"/>
                  </a:lnTo>
                  <a:cubicBezTo>
                    <a:pt x="533" y="109"/>
                    <a:pt x="522" y="112"/>
                    <a:pt x="512" y="112"/>
                  </a:cubicBezTo>
                  <a:lnTo>
                    <a:pt x="477" y="112"/>
                  </a:lnTo>
                  <a:cubicBezTo>
                    <a:pt x="459" y="112"/>
                    <a:pt x="442" y="112"/>
                    <a:pt x="421" y="109"/>
                  </a:cubicBezTo>
                  <a:lnTo>
                    <a:pt x="407" y="109"/>
                  </a:lnTo>
                  <a:lnTo>
                    <a:pt x="354" y="102"/>
                  </a:lnTo>
                  <a:lnTo>
                    <a:pt x="347" y="102"/>
                  </a:lnTo>
                  <a:cubicBezTo>
                    <a:pt x="326" y="147"/>
                    <a:pt x="302" y="189"/>
                    <a:pt x="270" y="235"/>
                  </a:cubicBezTo>
                  <a:cubicBezTo>
                    <a:pt x="249" y="266"/>
                    <a:pt x="225" y="298"/>
                    <a:pt x="207" y="329"/>
                  </a:cubicBezTo>
                  <a:lnTo>
                    <a:pt x="200" y="333"/>
                  </a:lnTo>
                  <a:cubicBezTo>
                    <a:pt x="179" y="364"/>
                    <a:pt x="158" y="392"/>
                    <a:pt x="137" y="420"/>
                  </a:cubicBezTo>
                  <a:lnTo>
                    <a:pt x="130" y="431"/>
                  </a:lnTo>
                  <a:cubicBezTo>
                    <a:pt x="120" y="445"/>
                    <a:pt x="109" y="455"/>
                    <a:pt x="99" y="469"/>
                  </a:cubicBezTo>
                  <a:cubicBezTo>
                    <a:pt x="1" y="578"/>
                    <a:pt x="64" y="805"/>
                    <a:pt x="88" y="854"/>
                  </a:cubicBezTo>
                  <a:cubicBezTo>
                    <a:pt x="94" y="859"/>
                    <a:pt x="110" y="862"/>
                    <a:pt x="133" y="862"/>
                  </a:cubicBezTo>
                  <a:cubicBezTo>
                    <a:pt x="177" y="862"/>
                    <a:pt x="246" y="850"/>
                    <a:pt x="302" y="812"/>
                  </a:cubicBezTo>
                  <a:cubicBezTo>
                    <a:pt x="309" y="805"/>
                    <a:pt x="316" y="802"/>
                    <a:pt x="323" y="798"/>
                  </a:cubicBezTo>
                  <a:lnTo>
                    <a:pt x="330" y="795"/>
                  </a:lnTo>
                  <a:lnTo>
                    <a:pt x="344" y="788"/>
                  </a:lnTo>
                  <a:lnTo>
                    <a:pt x="354" y="784"/>
                  </a:lnTo>
                  <a:lnTo>
                    <a:pt x="365" y="781"/>
                  </a:lnTo>
                  <a:lnTo>
                    <a:pt x="375" y="781"/>
                  </a:lnTo>
                  <a:lnTo>
                    <a:pt x="389" y="777"/>
                  </a:lnTo>
                  <a:lnTo>
                    <a:pt x="438" y="777"/>
                  </a:lnTo>
                  <a:lnTo>
                    <a:pt x="452" y="781"/>
                  </a:lnTo>
                  <a:lnTo>
                    <a:pt x="459" y="781"/>
                  </a:lnTo>
                  <a:lnTo>
                    <a:pt x="473" y="788"/>
                  </a:lnTo>
                  <a:lnTo>
                    <a:pt x="480" y="788"/>
                  </a:lnTo>
                  <a:lnTo>
                    <a:pt x="494" y="795"/>
                  </a:lnTo>
                  <a:lnTo>
                    <a:pt x="498" y="798"/>
                  </a:lnTo>
                  <a:cubicBezTo>
                    <a:pt x="512" y="805"/>
                    <a:pt x="522" y="812"/>
                    <a:pt x="536" y="819"/>
                  </a:cubicBezTo>
                  <a:lnTo>
                    <a:pt x="540" y="823"/>
                  </a:lnTo>
                  <a:lnTo>
                    <a:pt x="554" y="833"/>
                  </a:lnTo>
                  <a:lnTo>
                    <a:pt x="561" y="837"/>
                  </a:lnTo>
                  <a:lnTo>
                    <a:pt x="575" y="851"/>
                  </a:lnTo>
                  <a:lnTo>
                    <a:pt x="582" y="854"/>
                  </a:lnTo>
                  <a:cubicBezTo>
                    <a:pt x="627" y="802"/>
                    <a:pt x="669" y="749"/>
                    <a:pt x="711" y="704"/>
                  </a:cubicBezTo>
                  <a:cubicBezTo>
                    <a:pt x="669" y="686"/>
                    <a:pt x="631" y="676"/>
                    <a:pt x="596" y="662"/>
                  </a:cubicBezTo>
                  <a:cubicBezTo>
                    <a:pt x="554" y="651"/>
                    <a:pt x="515" y="634"/>
                    <a:pt x="480" y="606"/>
                  </a:cubicBezTo>
                  <a:cubicBezTo>
                    <a:pt x="452" y="578"/>
                    <a:pt x="445" y="539"/>
                    <a:pt x="456" y="504"/>
                  </a:cubicBezTo>
                  <a:cubicBezTo>
                    <a:pt x="487" y="399"/>
                    <a:pt x="687" y="273"/>
                    <a:pt x="827" y="242"/>
                  </a:cubicBezTo>
                  <a:cubicBezTo>
                    <a:pt x="858" y="235"/>
                    <a:pt x="858" y="224"/>
                    <a:pt x="862" y="221"/>
                  </a:cubicBezTo>
                  <a:cubicBezTo>
                    <a:pt x="869" y="193"/>
                    <a:pt x="834" y="109"/>
                    <a:pt x="750" y="32"/>
                  </a:cubicBezTo>
                  <a:lnTo>
                    <a:pt x="711"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949" name="Google Shape;3949;p104"/>
            <p:cNvSpPr/>
            <p:nvPr/>
          </p:nvSpPr>
          <p:spPr>
            <a:xfrm>
              <a:off x="2361481" y="1958570"/>
              <a:ext cx="1779" cy="2064"/>
            </a:xfrm>
            <a:custGeom>
              <a:avLst/>
              <a:gdLst/>
              <a:ahLst/>
              <a:cxnLst/>
              <a:rect l="l" t="t" r="r" b="b"/>
              <a:pathLst>
                <a:path w="131" h="152" extrusionOk="0">
                  <a:moveTo>
                    <a:pt x="130" y="1"/>
                  </a:moveTo>
                  <a:lnTo>
                    <a:pt x="130" y="1"/>
                  </a:lnTo>
                  <a:cubicBezTo>
                    <a:pt x="88" y="43"/>
                    <a:pt x="43" y="95"/>
                    <a:pt x="1" y="151"/>
                  </a:cubicBezTo>
                  <a:lnTo>
                    <a:pt x="4" y="151"/>
                  </a:lnTo>
                  <a:cubicBezTo>
                    <a:pt x="39" y="102"/>
                    <a:pt x="85" y="50"/>
                    <a:pt x="130" y="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950" name="Google Shape;3950;p104"/>
            <p:cNvSpPr/>
            <p:nvPr/>
          </p:nvSpPr>
          <p:spPr>
            <a:xfrm>
              <a:off x="2314910" y="1908374"/>
              <a:ext cx="47019" cy="40325"/>
            </a:xfrm>
            <a:custGeom>
              <a:avLst/>
              <a:gdLst/>
              <a:ahLst/>
              <a:cxnLst/>
              <a:rect l="l" t="t" r="r" b="b"/>
              <a:pathLst>
                <a:path w="3463" h="2970" extrusionOk="0">
                  <a:moveTo>
                    <a:pt x="1068" y="1"/>
                  </a:moveTo>
                  <a:lnTo>
                    <a:pt x="1068" y="4"/>
                  </a:lnTo>
                  <a:cubicBezTo>
                    <a:pt x="1054" y="25"/>
                    <a:pt x="1036" y="43"/>
                    <a:pt x="1022" y="64"/>
                  </a:cubicBezTo>
                  <a:lnTo>
                    <a:pt x="1012" y="71"/>
                  </a:lnTo>
                  <a:cubicBezTo>
                    <a:pt x="998" y="92"/>
                    <a:pt x="984" y="106"/>
                    <a:pt x="966" y="123"/>
                  </a:cubicBezTo>
                  <a:lnTo>
                    <a:pt x="959" y="130"/>
                  </a:lnTo>
                  <a:cubicBezTo>
                    <a:pt x="942" y="148"/>
                    <a:pt x="928" y="165"/>
                    <a:pt x="910" y="179"/>
                  </a:cubicBezTo>
                  <a:lnTo>
                    <a:pt x="907" y="183"/>
                  </a:lnTo>
                  <a:cubicBezTo>
                    <a:pt x="889" y="197"/>
                    <a:pt x="875" y="214"/>
                    <a:pt x="858" y="228"/>
                  </a:cubicBezTo>
                  <a:cubicBezTo>
                    <a:pt x="840" y="239"/>
                    <a:pt x="826" y="253"/>
                    <a:pt x="809" y="263"/>
                  </a:cubicBezTo>
                  <a:lnTo>
                    <a:pt x="802" y="270"/>
                  </a:lnTo>
                  <a:lnTo>
                    <a:pt x="760" y="302"/>
                  </a:lnTo>
                  <a:lnTo>
                    <a:pt x="753" y="305"/>
                  </a:lnTo>
                  <a:lnTo>
                    <a:pt x="714" y="333"/>
                  </a:lnTo>
                  <a:lnTo>
                    <a:pt x="707" y="337"/>
                  </a:lnTo>
                  <a:lnTo>
                    <a:pt x="672" y="361"/>
                  </a:lnTo>
                  <a:cubicBezTo>
                    <a:pt x="644" y="379"/>
                    <a:pt x="616" y="400"/>
                    <a:pt x="588" y="421"/>
                  </a:cubicBezTo>
                  <a:cubicBezTo>
                    <a:pt x="546" y="463"/>
                    <a:pt x="494" y="494"/>
                    <a:pt x="441" y="519"/>
                  </a:cubicBezTo>
                  <a:cubicBezTo>
                    <a:pt x="329" y="582"/>
                    <a:pt x="291" y="610"/>
                    <a:pt x="301" y="666"/>
                  </a:cubicBezTo>
                  <a:cubicBezTo>
                    <a:pt x="340" y="855"/>
                    <a:pt x="273" y="1037"/>
                    <a:pt x="84" y="1261"/>
                  </a:cubicBezTo>
                  <a:cubicBezTo>
                    <a:pt x="56" y="1296"/>
                    <a:pt x="32" y="1338"/>
                    <a:pt x="21" y="1380"/>
                  </a:cubicBezTo>
                  <a:lnTo>
                    <a:pt x="21" y="1387"/>
                  </a:lnTo>
                  <a:cubicBezTo>
                    <a:pt x="18" y="1394"/>
                    <a:pt x="18" y="1405"/>
                    <a:pt x="14" y="1415"/>
                  </a:cubicBezTo>
                  <a:cubicBezTo>
                    <a:pt x="11" y="1426"/>
                    <a:pt x="14" y="1429"/>
                    <a:pt x="11" y="1433"/>
                  </a:cubicBezTo>
                  <a:cubicBezTo>
                    <a:pt x="7" y="1440"/>
                    <a:pt x="11" y="1443"/>
                    <a:pt x="11" y="1447"/>
                  </a:cubicBezTo>
                  <a:cubicBezTo>
                    <a:pt x="0" y="1573"/>
                    <a:pt x="14" y="1699"/>
                    <a:pt x="42" y="1818"/>
                  </a:cubicBezTo>
                  <a:lnTo>
                    <a:pt x="42" y="1828"/>
                  </a:lnTo>
                  <a:cubicBezTo>
                    <a:pt x="46" y="1849"/>
                    <a:pt x="49" y="1870"/>
                    <a:pt x="53" y="1891"/>
                  </a:cubicBezTo>
                  <a:lnTo>
                    <a:pt x="60" y="1891"/>
                  </a:lnTo>
                  <a:lnTo>
                    <a:pt x="88" y="1905"/>
                  </a:lnTo>
                  <a:lnTo>
                    <a:pt x="431" y="1905"/>
                  </a:lnTo>
                  <a:lnTo>
                    <a:pt x="441" y="1909"/>
                  </a:lnTo>
                  <a:lnTo>
                    <a:pt x="448" y="1912"/>
                  </a:lnTo>
                  <a:lnTo>
                    <a:pt x="455" y="1912"/>
                  </a:lnTo>
                  <a:lnTo>
                    <a:pt x="462" y="1916"/>
                  </a:lnTo>
                  <a:lnTo>
                    <a:pt x="469" y="1919"/>
                  </a:lnTo>
                  <a:lnTo>
                    <a:pt x="476" y="1923"/>
                  </a:lnTo>
                  <a:lnTo>
                    <a:pt x="483" y="1926"/>
                  </a:lnTo>
                  <a:lnTo>
                    <a:pt x="487" y="1926"/>
                  </a:lnTo>
                  <a:lnTo>
                    <a:pt x="494" y="1930"/>
                  </a:lnTo>
                  <a:lnTo>
                    <a:pt x="497" y="1930"/>
                  </a:lnTo>
                  <a:lnTo>
                    <a:pt x="504" y="1937"/>
                  </a:lnTo>
                  <a:lnTo>
                    <a:pt x="511" y="1944"/>
                  </a:lnTo>
                  <a:cubicBezTo>
                    <a:pt x="532" y="1895"/>
                    <a:pt x="550" y="1846"/>
                    <a:pt x="564" y="1797"/>
                  </a:cubicBezTo>
                  <a:cubicBezTo>
                    <a:pt x="595" y="1702"/>
                    <a:pt x="641" y="1643"/>
                    <a:pt x="704" y="1625"/>
                  </a:cubicBezTo>
                  <a:cubicBezTo>
                    <a:pt x="718" y="1620"/>
                    <a:pt x="734" y="1618"/>
                    <a:pt x="750" y="1618"/>
                  </a:cubicBezTo>
                  <a:cubicBezTo>
                    <a:pt x="803" y="1618"/>
                    <a:pt x="862" y="1644"/>
                    <a:pt x="924" y="1695"/>
                  </a:cubicBezTo>
                  <a:cubicBezTo>
                    <a:pt x="949" y="1716"/>
                    <a:pt x="970" y="1737"/>
                    <a:pt x="991" y="1758"/>
                  </a:cubicBezTo>
                  <a:cubicBezTo>
                    <a:pt x="1044" y="1812"/>
                    <a:pt x="1079" y="1843"/>
                    <a:pt x="1125" y="1843"/>
                  </a:cubicBezTo>
                  <a:cubicBezTo>
                    <a:pt x="1145" y="1843"/>
                    <a:pt x="1167" y="1837"/>
                    <a:pt x="1194" y="1825"/>
                  </a:cubicBezTo>
                  <a:cubicBezTo>
                    <a:pt x="1270" y="1786"/>
                    <a:pt x="1320" y="1770"/>
                    <a:pt x="1360" y="1770"/>
                  </a:cubicBezTo>
                  <a:cubicBezTo>
                    <a:pt x="1393" y="1770"/>
                    <a:pt x="1419" y="1781"/>
                    <a:pt x="1449" y="1800"/>
                  </a:cubicBezTo>
                  <a:cubicBezTo>
                    <a:pt x="1463" y="1811"/>
                    <a:pt x="1474" y="1818"/>
                    <a:pt x="1488" y="1821"/>
                  </a:cubicBezTo>
                  <a:cubicBezTo>
                    <a:pt x="1516" y="1826"/>
                    <a:pt x="1544" y="1830"/>
                    <a:pt x="1572" y="1830"/>
                  </a:cubicBezTo>
                  <a:cubicBezTo>
                    <a:pt x="1583" y="1830"/>
                    <a:pt x="1593" y="1829"/>
                    <a:pt x="1603" y="1828"/>
                  </a:cubicBezTo>
                  <a:cubicBezTo>
                    <a:pt x="1656" y="1828"/>
                    <a:pt x="1712" y="1825"/>
                    <a:pt x="1757" y="1821"/>
                  </a:cubicBezTo>
                  <a:cubicBezTo>
                    <a:pt x="1812" y="1817"/>
                    <a:pt x="1866" y="1814"/>
                    <a:pt x="1919" y="1814"/>
                  </a:cubicBezTo>
                  <a:cubicBezTo>
                    <a:pt x="1952" y="1814"/>
                    <a:pt x="1984" y="1815"/>
                    <a:pt x="2017" y="1818"/>
                  </a:cubicBezTo>
                  <a:cubicBezTo>
                    <a:pt x="2024" y="1818"/>
                    <a:pt x="2027" y="1821"/>
                    <a:pt x="2031" y="1821"/>
                  </a:cubicBezTo>
                  <a:lnTo>
                    <a:pt x="2038" y="1825"/>
                  </a:lnTo>
                  <a:lnTo>
                    <a:pt x="2048" y="1828"/>
                  </a:lnTo>
                  <a:lnTo>
                    <a:pt x="2059" y="1835"/>
                  </a:lnTo>
                  <a:lnTo>
                    <a:pt x="2066" y="1839"/>
                  </a:lnTo>
                  <a:lnTo>
                    <a:pt x="2080" y="1849"/>
                  </a:lnTo>
                  <a:lnTo>
                    <a:pt x="2087" y="1856"/>
                  </a:lnTo>
                  <a:lnTo>
                    <a:pt x="2104" y="1867"/>
                  </a:lnTo>
                  <a:lnTo>
                    <a:pt x="2111" y="1874"/>
                  </a:lnTo>
                  <a:lnTo>
                    <a:pt x="2132" y="1888"/>
                  </a:lnTo>
                  <a:lnTo>
                    <a:pt x="2139" y="1895"/>
                  </a:lnTo>
                  <a:lnTo>
                    <a:pt x="2160" y="1909"/>
                  </a:lnTo>
                  <a:lnTo>
                    <a:pt x="2171" y="1919"/>
                  </a:lnTo>
                  <a:lnTo>
                    <a:pt x="2192" y="1937"/>
                  </a:lnTo>
                  <a:lnTo>
                    <a:pt x="2202" y="1944"/>
                  </a:lnTo>
                  <a:lnTo>
                    <a:pt x="2223" y="1965"/>
                  </a:lnTo>
                  <a:lnTo>
                    <a:pt x="2234" y="1975"/>
                  </a:lnTo>
                  <a:lnTo>
                    <a:pt x="2255" y="1993"/>
                  </a:lnTo>
                  <a:lnTo>
                    <a:pt x="2269" y="2007"/>
                  </a:lnTo>
                  <a:lnTo>
                    <a:pt x="2293" y="2028"/>
                  </a:lnTo>
                  <a:lnTo>
                    <a:pt x="2307" y="2042"/>
                  </a:lnTo>
                  <a:lnTo>
                    <a:pt x="2332" y="2059"/>
                  </a:lnTo>
                  <a:lnTo>
                    <a:pt x="2346" y="2077"/>
                  </a:lnTo>
                  <a:lnTo>
                    <a:pt x="2367" y="2094"/>
                  </a:lnTo>
                  <a:lnTo>
                    <a:pt x="2388" y="2115"/>
                  </a:lnTo>
                  <a:lnTo>
                    <a:pt x="2405" y="2133"/>
                  </a:lnTo>
                  <a:lnTo>
                    <a:pt x="2430" y="2154"/>
                  </a:lnTo>
                  <a:lnTo>
                    <a:pt x="2440" y="2168"/>
                  </a:lnTo>
                  <a:lnTo>
                    <a:pt x="2472" y="2196"/>
                  </a:lnTo>
                  <a:lnTo>
                    <a:pt x="2479" y="2206"/>
                  </a:lnTo>
                  <a:lnTo>
                    <a:pt x="2514" y="2238"/>
                  </a:lnTo>
                  <a:lnTo>
                    <a:pt x="2524" y="2248"/>
                  </a:lnTo>
                  <a:cubicBezTo>
                    <a:pt x="2755" y="2476"/>
                    <a:pt x="3018" y="2752"/>
                    <a:pt x="3214" y="2959"/>
                  </a:cubicBezTo>
                  <a:lnTo>
                    <a:pt x="3217" y="2959"/>
                  </a:lnTo>
                  <a:cubicBezTo>
                    <a:pt x="3253" y="2965"/>
                    <a:pt x="3292" y="2970"/>
                    <a:pt x="3322" y="2970"/>
                  </a:cubicBezTo>
                  <a:cubicBezTo>
                    <a:pt x="3346" y="2970"/>
                    <a:pt x="3363" y="2967"/>
                    <a:pt x="3368" y="2959"/>
                  </a:cubicBezTo>
                  <a:lnTo>
                    <a:pt x="3375" y="2952"/>
                  </a:lnTo>
                  <a:lnTo>
                    <a:pt x="3378" y="2949"/>
                  </a:lnTo>
                  <a:lnTo>
                    <a:pt x="3382" y="2945"/>
                  </a:lnTo>
                  <a:lnTo>
                    <a:pt x="3385" y="2942"/>
                  </a:lnTo>
                  <a:lnTo>
                    <a:pt x="3396" y="2931"/>
                  </a:lnTo>
                  <a:lnTo>
                    <a:pt x="3410" y="2921"/>
                  </a:lnTo>
                  <a:lnTo>
                    <a:pt x="3417" y="2917"/>
                  </a:lnTo>
                  <a:lnTo>
                    <a:pt x="3427" y="2907"/>
                  </a:lnTo>
                  <a:lnTo>
                    <a:pt x="3438" y="2903"/>
                  </a:lnTo>
                  <a:lnTo>
                    <a:pt x="3452" y="2893"/>
                  </a:lnTo>
                  <a:lnTo>
                    <a:pt x="3462" y="2886"/>
                  </a:lnTo>
                  <a:cubicBezTo>
                    <a:pt x="3273" y="2696"/>
                    <a:pt x="3098" y="2493"/>
                    <a:pt x="2937" y="2283"/>
                  </a:cubicBezTo>
                  <a:cubicBezTo>
                    <a:pt x="2643" y="1912"/>
                    <a:pt x="2297" y="1713"/>
                    <a:pt x="2122" y="1713"/>
                  </a:cubicBezTo>
                  <a:cubicBezTo>
                    <a:pt x="1975" y="1713"/>
                    <a:pt x="1897" y="1573"/>
                    <a:pt x="1845" y="1475"/>
                  </a:cubicBezTo>
                  <a:cubicBezTo>
                    <a:pt x="1824" y="1436"/>
                    <a:pt x="1785" y="1366"/>
                    <a:pt x="1768" y="1363"/>
                  </a:cubicBezTo>
                  <a:cubicBezTo>
                    <a:pt x="1593" y="1342"/>
                    <a:pt x="1313" y="817"/>
                    <a:pt x="1306" y="498"/>
                  </a:cubicBezTo>
                  <a:cubicBezTo>
                    <a:pt x="1302" y="379"/>
                    <a:pt x="1211" y="193"/>
                    <a:pt x="1068" y="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951" name="Google Shape;3951;p104"/>
            <p:cNvSpPr/>
            <p:nvPr/>
          </p:nvSpPr>
          <p:spPr>
            <a:xfrm>
              <a:off x="2327266" y="1910329"/>
              <a:ext cx="625" cy="679"/>
            </a:xfrm>
            <a:custGeom>
              <a:avLst/>
              <a:gdLst/>
              <a:ahLst/>
              <a:cxnLst/>
              <a:rect l="l" t="t" r="r" b="b"/>
              <a:pathLst>
                <a:path w="46" h="50" extrusionOk="0">
                  <a:moveTo>
                    <a:pt x="46" y="0"/>
                  </a:moveTo>
                  <a:cubicBezTo>
                    <a:pt x="32" y="18"/>
                    <a:pt x="14" y="32"/>
                    <a:pt x="0" y="49"/>
                  </a:cubicBezTo>
                  <a:cubicBezTo>
                    <a:pt x="14" y="35"/>
                    <a:pt x="32" y="18"/>
                    <a:pt x="46"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952" name="Google Shape;3952;p104"/>
            <p:cNvSpPr/>
            <p:nvPr/>
          </p:nvSpPr>
          <p:spPr>
            <a:xfrm>
              <a:off x="2324034" y="1913126"/>
              <a:ext cx="489" cy="353"/>
            </a:xfrm>
            <a:custGeom>
              <a:avLst/>
              <a:gdLst/>
              <a:ahLst/>
              <a:cxnLst/>
              <a:rect l="l" t="t" r="r" b="b"/>
              <a:pathLst>
                <a:path w="36" h="26" extrusionOk="0">
                  <a:moveTo>
                    <a:pt x="0" y="25"/>
                  </a:moveTo>
                  <a:lnTo>
                    <a:pt x="35"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953" name="Google Shape;3953;p104"/>
            <p:cNvSpPr/>
            <p:nvPr/>
          </p:nvSpPr>
          <p:spPr>
            <a:xfrm>
              <a:off x="2325881" y="1911660"/>
              <a:ext cx="638" cy="489"/>
            </a:xfrm>
            <a:custGeom>
              <a:avLst/>
              <a:gdLst/>
              <a:ahLst/>
              <a:cxnLst/>
              <a:rect l="l" t="t" r="r" b="b"/>
              <a:pathLst>
                <a:path w="47" h="36" extrusionOk="0">
                  <a:moveTo>
                    <a:pt x="1" y="35"/>
                  </a:moveTo>
                  <a:cubicBezTo>
                    <a:pt x="15" y="25"/>
                    <a:pt x="32" y="11"/>
                    <a:pt x="46" y="0"/>
                  </a:cubicBezTo>
                  <a:cubicBezTo>
                    <a:pt x="32" y="11"/>
                    <a:pt x="15" y="25"/>
                    <a:pt x="1" y="35"/>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954" name="Google Shape;3954;p104"/>
            <p:cNvSpPr/>
            <p:nvPr/>
          </p:nvSpPr>
          <p:spPr>
            <a:xfrm>
              <a:off x="2324605" y="1912705"/>
              <a:ext cx="530" cy="394"/>
            </a:xfrm>
            <a:custGeom>
              <a:avLst/>
              <a:gdLst/>
              <a:ahLst/>
              <a:cxnLst/>
              <a:rect l="l" t="t" r="r" b="b"/>
              <a:pathLst>
                <a:path w="39" h="29" extrusionOk="0">
                  <a:moveTo>
                    <a:pt x="0" y="28"/>
                  </a:moveTo>
                  <a:lnTo>
                    <a:pt x="39"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955" name="Google Shape;3955;p104"/>
            <p:cNvSpPr/>
            <p:nvPr/>
          </p:nvSpPr>
          <p:spPr>
            <a:xfrm>
              <a:off x="2325216" y="1912230"/>
              <a:ext cx="584" cy="434"/>
            </a:xfrm>
            <a:custGeom>
              <a:avLst/>
              <a:gdLst/>
              <a:ahLst/>
              <a:cxnLst/>
              <a:rect l="l" t="t" r="r" b="b"/>
              <a:pathLst>
                <a:path w="43" h="32" extrusionOk="0">
                  <a:moveTo>
                    <a:pt x="1" y="32"/>
                  </a:moveTo>
                  <a:lnTo>
                    <a:pt x="43"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956" name="Google Shape;3956;p104"/>
            <p:cNvSpPr/>
            <p:nvPr/>
          </p:nvSpPr>
          <p:spPr>
            <a:xfrm>
              <a:off x="2328026" y="1909515"/>
              <a:ext cx="625" cy="733"/>
            </a:xfrm>
            <a:custGeom>
              <a:avLst/>
              <a:gdLst/>
              <a:ahLst/>
              <a:cxnLst/>
              <a:rect l="l" t="t" r="r" b="b"/>
              <a:pathLst>
                <a:path w="46" h="54" extrusionOk="0">
                  <a:moveTo>
                    <a:pt x="0" y="53"/>
                  </a:moveTo>
                  <a:cubicBezTo>
                    <a:pt x="14" y="36"/>
                    <a:pt x="32" y="18"/>
                    <a:pt x="46" y="1"/>
                  </a:cubicBezTo>
                  <a:cubicBezTo>
                    <a:pt x="32" y="18"/>
                    <a:pt x="14" y="36"/>
                    <a:pt x="0" y="53"/>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957" name="Google Shape;3957;p104"/>
            <p:cNvSpPr/>
            <p:nvPr/>
          </p:nvSpPr>
          <p:spPr>
            <a:xfrm>
              <a:off x="2326546" y="1911035"/>
              <a:ext cx="679" cy="584"/>
            </a:xfrm>
            <a:custGeom>
              <a:avLst/>
              <a:gdLst/>
              <a:ahLst/>
              <a:cxnLst/>
              <a:rect l="l" t="t" r="r" b="b"/>
              <a:pathLst>
                <a:path w="50" h="43" extrusionOk="0">
                  <a:moveTo>
                    <a:pt x="1" y="43"/>
                  </a:moveTo>
                  <a:cubicBezTo>
                    <a:pt x="15" y="29"/>
                    <a:pt x="32" y="15"/>
                    <a:pt x="50" y="1"/>
                  </a:cubicBezTo>
                  <a:cubicBezTo>
                    <a:pt x="32" y="15"/>
                    <a:pt x="15" y="29"/>
                    <a:pt x="1" y="43"/>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958" name="Google Shape;3958;p104"/>
            <p:cNvSpPr/>
            <p:nvPr/>
          </p:nvSpPr>
          <p:spPr>
            <a:xfrm>
              <a:off x="2328732" y="1908619"/>
              <a:ext cx="679" cy="774"/>
            </a:xfrm>
            <a:custGeom>
              <a:avLst/>
              <a:gdLst/>
              <a:ahLst/>
              <a:cxnLst/>
              <a:rect l="l" t="t" r="r" b="b"/>
              <a:pathLst>
                <a:path w="50" h="57" extrusionOk="0">
                  <a:moveTo>
                    <a:pt x="50" y="0"/>
                  </a:moveTo>
                  <a:cubicBezTo>
                    <a:pt x="32" y="18"/>
                    <a:pt x="18" y="39"/>
                    <a:pt x="1" y="56"/>
                  </a:cubicBezTo>
                  <a:cubicBezTo>
                    <a:pt x="18" y="39"/>
                    <a:pt x="32" y="21"/>
                    <a:pt x="50"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959" name="Google Shape;3959;p104"/>
            <p:cNvSpPr/>
            <p:nvPr/>
          </p:nvSpPr>
          <p:spPr>
            <a:xfrm>
              <a:off x="2315196" y="1925726"/>
              <a:ext cx="869" cy="1629"/>
            </a:xfrm>
            <a:custGeom>
              <a:avLst/>
              <a:gdLst/>
              <a:ahLst/>
              <a:cxnLst/>
              <a:rect l="l" t="t" r="r" b="b"/>
              <a:pathLst>
                <a:path w="64" h="120" extrusionOk="0">
                  <a:moveTo>
                    <a:pt x="0" y="120"/>
                  </a:moveTo>
                  <a:cubicBezTo>
                    <a:pt x="14" y="74"/>
                    <a:pt x="35" y="32"/>
                    <a:pt x="63" y="1"/>
                  </a:cubicBezTo>
                  <a:cubicBezTo>
                    <a:pt x="35" y="32"/>
                    <a:pt x="14" y="74"/>
                    <a:pt x="0" y="12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960" name="Google Shape;3960;p104"/>
            <p:cNvSpPr/>
            <p:nvPr/>
          </p:nvSpPr>
          <p:spPr>
            <a:xfrm>
              <a:off x="2315481" y="1933384"/>
              <a:ext cx="204" cy="869"/>
            </a:xfrm>
            <a:custGeom>
              <a:avLst/>
              <a:gdLst/>
              <a:ahLst/>
              <a:cxnLst/>
              <a:rect l="l" t="t" r="r" b="b"/>
              <a:pathLst>
                <a:path w="15" h="64" extrusionOk="0">
                  <a:moveTo>
                    <a:pt x="0" y="0"/>
                  </a:moveTo>
                  <a:cubicBezTo>
                    <a:pt x="7" y="21"/>
                    <a:pt x="11" y="46"/>
                    <a:pt x="14" y="63"/>
                  </a:cubicBezTo>
                  <a:cubicBezTo>
                    <a:pt x="11" y="42"/>
                    <a:pt x="7" y="18"/>
                    <a:pt x="0"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961" name="Google Shape;3961;p104"/>
            <p:cNvSpPr/>
            <p:nvPr/>
          </p:nvSpPr>
          <p:spPr>
            <a:xfrm>
              <a:off x="2315046" y="1928062"/>
              <a:ext cx="14" cy="204"/>
            </a:xfrm>
            <a:custGeom>
              <a:avLst/>
              <a:gdLst/>
              <a:ahLst/>
              <a:cxnLst/>
              <a:rect l="l" t="t" r="r" b="b"/>
              <a:pathLst>
                <a:path w="1" h="15" extrusionOk="0">
                  <a:moveTo>
                    <a:pt x="1" y="14"/>
                  </a:moveTo>
                  <a:cubicBezTo>
                    <a:pt x="1" y="7"/>
                    <a:pt x="1" y="4"/>
                    <a:pt x="1" y="0"/>
                  </a:cubicBezTo>
                  <a:cubicBezTo>
                    <a:pt x="1" y="4"/>
                    <a:pt x="1" y="7"/>
                    <a:pt x="1" y="14"/>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962" name="Google Shape;3962;p104"/>
            <p:cNvSpPr/>
            <p:nvPr/>
          </p:nvSpPr>
          <p:spPr>
            <a:xfrm>
              <a:off x="2315100" y="1927396"/>
              <a:ext cx="109" cy="394"/>
            </a:xfrm>
            <a:custGeom>
              <a:avLst/>
              <a:gdLst/>
              <a:ahLst/>
              <a:cxnLst/>
              <a:rect l="l" t="t" r="r" b="b"/>
              <a:pathLst>
                <a:path w="8" h="29" extrusionOk="0">
                  <a:moveTo>
                    <a:pt x="7" y="0"/>
                  </a:moveTo>
                  <a:lnTo>
                    <a:pt x="7" y="0"/>
                  </a:lnTo>
                  <a:cubicBezTo>
                    <a:pt x="4" y="7"/>
                    <a:pt x="0" y="18"/>
                    <a:pt x="0" y="28"/>
                  </a:cubicBezTo>
                  <a:cubicBezTo>
                    <a:pt x="4" y="18"/>
                    <a:pt x="4" y="7"/>
                    <a:pt x="7"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963" name="Google Shape;3963;p104"/>
            <p:cNvSpPr/>
            <p:nvPr/>
          </p:nvSpPr>
          <p:spPr>
            <a:xfrm>
              <a:off x="2361250" y="1948170"/>
              <a:ext cx="54" cy="54"/>
            </a:xfrm>
            <a:custGeom>
              <a:avLst/>
              <a:gdLst/>
              <a:ahLst/>
              <a:cxnLst/>
              <a:rect l="l" t="t" r="r" b="b"/>
              <a:pathLst>
                <a:path w="4" h="4" extrusionOk="0">
                  <a:moveTo>
                    <a:pt x="4" y="0"/>
                  </a:moveTo>
                  <a:lnTo>
                    <a:pt x="0" y="4"/>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964" name="Google Shape;3964;p104"/>
            <p:cNvSpPr/>
            <p:nvPr/>
          </p:nvSpPr>
          <p:spPr>
            <a:xfrm>
              <a:off x="2361861" y="1947735"/>
              <a:ext cx="109" cy="109"/>
            </a:xfrm>
            <a:custGeom>
              <a:avLst/>
              <a:gdLst/>
              <a:ahLst/>
              <a:cxnLst/>
              <a:rect l="l" t="t" r="r" b="b"/>
              <a:pathLst>
                <a:path w="8" h="8" extrusionOk="0">
                  <a:moveTo>
                    <a:pt x="8" y="1"/>
                  </a:moveTo>
                  <a:lnTo>
                    <a:pt x="8" y="1"/>
                  </a:lnTo>
                  <a:lnTo>
                    <a:pt x="1" y="8"/>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965" name="Google Shape;3965;p104"/>
            <p:cNvSpPr/>
            <p:nvPr/>
          </p:nvSpPr>
          <p:spPr>
            <a:xfrm>
              <a:off x="2360870" y="1948496"/>
              <a:ext cx="14" cy="68"/>
            </a:xfrm>
            <a:custGeom>
              <a:avLst/>
              <a:gdLst/>
              <a:ahLst/>
              <a:cxnLst/>
              <a:rect l="l" t="t" r="r" b="b"/>
              <a:pathLst>
                <a:path w="1" h="5" extrusionOk="0">
                  <a:moveTo>
                    <a:pt x="0"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966" name="Google Shape;3966;p104"/>
            <p:cNvSpPr/>
            <p:nvPr/>
          </p:nvSpPr>
          <p:spPr>
            <a:xfrm>
              <a:off x="2361481" y="1947980"/>
              <a:ext cx="109" cy="54"/>
            </a:xfrm>
            <a:custGeom>
              <a:avLst/>
              <a:gdLst/>
              <a:ahLst/>
              <a:cxnLst/>
              <a:rect l="l" t="t" r="r" b="b"/>
              <a:pathLst>
                <a:path w="8" h="4" extrusionOk="0">
                  <a:moveTo>
                    <a:pt x="8" y="0"/>
                  </a:moveTo>
                  <a:lnTo>
                    <a:pt x="1" y="4"/>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967" name="Google Shape;3967;p104"/>
            <p:cNvSpPr/>
            <p:nvPr/>
          </p:nvSpPr>
          <p:spPr>
            <a:xfrm>
              <a:off x="2361060" y="1948360"/>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968" name="Google Shape;3968;p104"/>
            <p:cNvSpPr/>
            <p:nvPr/>
          </p:nvSpPr>
          <p:spPr>
            <a:xfrm>
              <a:off x="2360721" y="1948645"/>
              <a:ext cx="68" cy="14"/>
            </a:xfrm>
            <a:custGeom>
              <a:avLst/>
              <a:gdLst/>
              <a:ahLst/>
              <a:cxnLst/>
              <a:rect l="l" t="t" r="r" b="b"/>
              <a:pathLst>
                <a:path w="5" h="1" extrusionOk="0">
                  <a:moveTo>
                    <a:pt x="4"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969" name="Google Shape;3969;p104"/>
            <p:cNvSpPr/>
            <p:nvPr/>
          </p:nvSpPr>
          <p:spPr>
            <a:xfrm>
              <a:off x="2289045" y="1932474"/>
              <a:ext cx="108104" cy="83909"/>
            </a:xfrm>
            <a:custGeom>
              <a:avLst/>
              <a:gdLst/>
              <a:ahLst/>
              <a:cxnLst/>
              <a:rect l="l" t="t" r="r" b="b"/>
              <a:pathLst>
                <a:path w="7962" h="6180" extrusionOk="0">
                  <a:moveTo>
                    <a:pt x="2651" y="1"/>
                  </a:moveTo>
                  <a:cubicBezTo>
                    <a:pt x="2637" y="4"/>
                    <a:pt x="2623" y="22"/>
                    <a:pt x="2612" y="50"/>
                  </a:cubicBezTo>
                  <a:cubicBezTo>
                    <a:pt x="2609" y="60"/>
                    <a:pt x="2605" y="71"/>
                    <a:pt x="2602" y="81"/>
                  </a:cubicBezTo>
                  <a:cubicBezTo>
                    <a:pt x="2556" y="225"/>
                    <a:pt x="2528" y="312"/>
                    <a:pt x="2451" y="330"/>
                  </a:cubicBezTo>
                  <a:cubicBezTo>
                    <a:pt x="2443" y="332"/>
                    <a:pt x="2434" y="333"/>
                    <a:pt x="2425" y="333"/>
                  </a:cubicBezTo>
                  <a:cubicBezTo>
                    <a:pt x="2386" y="333"/>
                    <a:pt x="2348" y="313"/>
                    <a:pt x="2322" y="284"/>
                  </a:cubicBezTo>
                  <a:lnTo>
                    <a:pt x="2119" y="284"/>
                  </a:lnTo>
                  <a:cubicBezTo>
                    <a:pt x="2080" y="284"/>
                    <a:pt x="2035" y="284"/>
                    <a:pt x="1982" y="288"/>
                  </a:cubicBezTo>
                  <a:lnTo>
                    <a:pt x="1982" y="291"/>
                  </a:lnTo>
                  <a:cubicBezTo>
                    <a:pt x="1982" y="309"/>
                    <a:pt x="1982" y="323"/>
                    <a:pt x="1979" y="337"/>
                  </a:cubicBezTo>
                  <a:lnTo>
                    <a:pt x="1979" y="340"/>
                  </a:lnTo>
                  <a:cubicBezTo>
                    <a:pt x="1979" y="358"/>
                    <a:pt x="1975" y="372"/>
                    <a:pt x="1972" y="389"/>
                  </a:cubicBezTo>
                  <a:lnTo>
                    <a:pt x="1972" y="396"/>
                  </a:lnTo>
                  <a:cubicBezTo>
                    <a:pt x="1968" y="410"/>
                    <a:pt x="1965" y="428"/>
                    <a:pt x="1958" y="442"/>
                  </a:cubicBezTo>
                  <a:lnTo>
                    <a:pt x="1954" y="449"/>
                  </a:lnTo>
                  <a:cubicBezTo>
                    <a:pt x="1951" y="466"/>
                    <a:pt x="1947" y="480"/>
                    <a:pt x="1940" y="494"/>
                  </a:cubicBezTo>
                  <a:lnTo>
                    <a:pt x="1940" y="498"/>
                  </a:lnTo>
                  <a:cubicBezTo>
                    <a:pt x="1937" y="512"/>
                    <a:pt x="1930" y="526"/>
                    <a:pt x="1923" y="540"/>
                  </a:cubicBezTo>
                  <a:lnTo>
                    <a:pt x="1919" y="547"/>
                  </a:lnTo>
                  <a:cubicBezTo>
                    <a:pt x="1916" y="561"/>
                    <a:pt x="1909" y="575"/>
                    <a:pt x="1902" y="589"/>
                  </a:cubicBezTo>
                  <a:lnTo>
                    <a:pt x="1898" y="599"/>
                  </a:lnTo>
                  <a:lnTo>
                    <a:pt x="1881" y="638"/>
                  </a:lnTo>
                  <a:lnTo>
                    <a:pt x="1874" y="648"/>
                  </a:lnTo>
                  <a:lnTo>
                    <a:pt x="1856" y="683"/>
                  </a:lnTo>
                  <a:cubicBezTo>
                    <a:pt x="1818" y="757"/>
                    <a:pt x="1782" y="834"/>
                    <a:pt x="1782" y="872"/>
                  </a:cubicBezTo>
                  <a:cubicBezTo>
                    <a:pt x="1782" y="1033"/>
                    <a:pt x="1625" y="1209"/>
                    <a:pt x="1478" y="1209"/>
                  </a:cubicBezTo>
                  <a:cubicBezTo>
                    <a:pt x="1450" y="1216"/>
                    <a:pt x="1387" y="1317"/>
                    <a:pt x="1348" y="1377"/>
                  </a:cubicBezTo>
                  <a:lnTo>
                    <a:pt x="1310" y="1433"/>
                  </a:lnTo>
                  <a:cubicBezTo>
                    <a:pt x="1275" y="1492"/>
                    <a:pt x="1233" y="1545"/>
                    <a:pt x="1187" y="1594"/>
                  </a:cubicBezTo>
                  <a:cubicBezTo>
                    <a:pt x="1142" y="1639"/>
                    <a:pt x="1131" y="1716"/>
                    <a:pt x="1124" y="1800"/>
                  </a:cubicBezTo>
                  <a:cubicBezTo>
                    <a:pt x="1124" y="1811"/>
                    <a:pt x="1124" y="1825"/>
                    <a:pt x="1121" y="1835"/>
                  </a:cubicBezTo>
                  <a:cubicBezTo>
                    <a:pt x="1110" y="1951"/>
                    <a:pt x="1103" y="2073"/>
                    <a:pt x="1012" y="2140"/>
                  </a:cubicBezTo>
                  <a:cubicBezTo>
                    <a:pt x="963" y="2175"/>
                    <a:pt x="918" y="2203"/>
                    <a:pt x="865" y="2227"/>
                  </a:cubicBezTo>
                  <a:cubicBezTo>
                    <a:pt x="834" y="2241"/>
                    <a:pt x="806" y="2259"/>
                    <a:pt x="778" y="2276"/>
                  </a:cubicBezTo>
                  <a:lnTo>
                    <a:pt x="781" y="2280"/>
                  </a:lnTo>
                  <a:cubicBezTo>
                    <a:pt x="806" y="2304"/>
                    <a:pt x="823" y="2336"/>
                    <a:pt x="823" y="2371"/>
                  </a:cubicBezTo>
                  <a:cubicBezTo>
                    <a:pt x="827" y="2444"/>
                    <a:pt x="781" y="2521"/>
                    <a:pt x="732" y="2595"/>
                  </a:cubicBezTo>
                  <a:cubicBezTo>
                    <a:pt x="694" y="2651"/>
                    <a:pt x="662" y="2710"/>
                    <a:pt x="641" y="2773"/>
                  </a:cubicBezTo>
                  <a:cubicBezTo>
                    <a:pt x="634" y="2794"/>
                    <a:pt x="631" y="2812"/>
                    <a:pt x="631" y="2833"/>
                  </a:cubicBezTo>
                  <a:cubicBezTo>
                    <a:pt x="631" y="2840"/>
                    <a:pt x="620" y="3411"/>
                    <a:pt x="543" y="3491"/>
                  </a:cubicBezTo>
                  <a:cubicBezTo>
                    <a:pt x="523" y="3511"/>
                    <a:pt x="498" y="3517"/>
                    <a:pt x="460" y="3517"/>
                  </a:cubicBezTo>
                  <a:cubicBezTo>
                    <a:pt x="437" y="3517"/>
                    <a:pt x="409" y="3515"/>
                    <a:pt x="375" y="3512"/>
                  </a:cubicBezTo>
                  <a:cubicBezTo>
                    <a:pt x="348" y="3511"/>
                    <a:pt x="311" y="3509"/>
                    <a:pt x="272" y="3509"/>
                  </a:cubicBezTo>
                  <a:cubicBezTo>
                    <a:pt x="211" y="3509"/>
                    <a:pt x="148" y="3514"/>
                    <a:pt x="127" y="3533"/>
                  </a:cubicBezTo>
                  <a:cubicBezTo>
                    <a:pt x="127" y="3533"/>
                    <a:pt x="123" y="3537"/>
                    <a:pt x="123" y="3544"/>
                  </a:cubicBezTo>
                  <a:cubicBezTo>
                    <a:pt x="123" y="3621"/>
                    <a:pt x="92" y="3694"/>
                    <a:pt x="36" y="3747"/>
                  </a:cubicBezTo>
                  <a:cubicBezTo>
                    <a:pt x="1" y="3785"/>
                    <a:pt x="1" y="3789"/>
                    <a:pt x="15" y="3820"/>
                  </a:cubicBezTo>
                  <a:cubicBezTo>
                    <a:pt x="32" y="3852"/>
                    <a:pt x="130" y="3883"/>
                    <a:pt x="207" y="3904"/>
                  </a:cubicBezTo>
                  <a:cubicBezTo>
                    <a:pt x="333" y="3936"/>
                    <a:pt x="477" y="3974"/>
                    <a:pt x="526" y="4097"/>
                  </a:cubicBezTo>
                  <a:cubicBezTo>
                    <a:pt x="561" y="4163"/>
                    <a:pt x="610" y="4223"/>
                    <a:pt x="669" y="4275"/>
                  </a:cubicBezTo>
                  <a:lnTo>
                    <a:pt x="697" y="4303"/>
                  </a:lnTo>
                  <a:cubicBezTo>
                    <a:pt x="809" y="4415"/>
                    <a:pt x="935" y="4541"/>
                    <a:pt x="998" y="4706"/>
                  </a:cubicBezTo>
                  <a:cubicBezTo>
                    <a:pt x="1089" y="4947"/>
                    <a:pt x="1331" y="5070"/>
                    <a:pt x="1443" y="5070"/>
                  </a:cubicBezTo>
                  <a:cubicBezTo>
                    <a:pt x="1446" y="5069"/>
                    <a:pt x="1449" y="5069"/>
                    <a:pt x="1452" y="5069"/>
                  </a:cubicBezTo>
                  <a:cubicBezTo>
                    <a:pt x="1460" y="5069"/>
                    <a:pt x="1467" y="5071"/>
                    <a:pt x="1474" y="5073"/>
                  </a:cubicBezTo>
                  <a:cubicBezTo>
                    <a:pt x="1499" y="5077"/>
                    <a:pt x="1516" y="5087"/>
                    <a:pt x="1534" y="5108"/>
                  </a:cubicBezTo>
                  <a:cubicBezTo>
                    <a:pt x="1572" y="5154"/>
                    <a:pt x="1565" y="5227"/>
                    <a:pt x="1544" y="5347"/>
                  </a:cubicBezTo>
                  <a:cubicBezTo>
                    <a:pt x="1544" y="5364"/>
                    <a:pt x="1541" y="5385"/>
                    <a:pt x="1537" y="5403"/>
                  </a:cubicBezTo>
                  <a:cubicBezTo>
                    <a:pt x="1530" y="5424"/>
                    <a:pt x="1527" y="5448"/>
                    <a:pt x="1523" y="5473"/>
                  </a:cubicBezTo>
                  <a:lnTo>
                    <a:pt x="1520" y="5490"/>
                  </a:lnTo>
                  <a:cubicBezTo>
                    <a:pt x="1516" y="5515"/>
                    <a:pt x="1513" y="5543"/>
                    <a:pt x="1509" y="5571"/>
                  </a:cubicBezTo>
                  <a:lnTo>
                    <a:pt x="1516" y="5574"/>
                  </a:lnTo>
                  <a:cubicBezTo>
                    <a:pt x="1521" y="5567"/>
                    <a:pt x="1527" y="5565"/>
                    <a:pt x="1534" y="5565"/>
                  </a:cubicBezTo>
                  <a:cubicBezTo>
                    <a:pt x="1546" y="5565"/>
                    <a:pt x="1561" y="5571"/>
                    <a:pt x="1576" y="5578"/>
                  </a:cubicBezTo>
                  <a:lnTo>
                    <a:pt x="1590" y="5581"/>
                  </a:lnTo>
                  <a:lnTo>
                    <a:pt x="1604" y="5588"/>
                  </a:lnTo>
                  <a:cubicBezTo>
                    <a:pt x="1614" y="5595"/>
                    <a:pt x="1625" y="5599"/>
                    <a:pt x="1635" y="5606"/>
                  </a:cubicBezTo>
                  <a:cubicBezTo>
                    <a:pt x="1639" y="5606"/>
                    <a:pt x="1642" y="5606"/>
                    <a:pt x="1646" y="5609"/>
                  </a:cubicBezTo>
                  <a:cubicBezTo>
                    <a:pt x="1688" y="5616"/>
                    <a:pt x="1730" y="5620"/>
                    <a:pt x="1775" y="5623"/>
                  </a:cubicBezTo>
                  <a:lnTo>
                    <a:pt x="1800" y="5623"/>
                  </a:lnTo>
                  <a:cubicBezTo>
                    <a:pt x="1947" y="5630"/>
                    <a:pt x="2112" y="5637"/>
                    <a:pt x="2203" y="5721"/>
                  </a:cubicBezTo>
                  <a:cubicBezTo>
                    <a:pt x="2332" y="5833"/>
                    <a:pt x="2700" y="6068"/>
                    <a:pt x="2791" y="6068"/>
                  </a:cubicBezTo>
                  <a:cubicBezTo>
                    <a:pt x="2896" y="6068"/>
                    <a:pt x="3323" y="6120"/>
                    <a:pt x="3442" y="6180"/>
                  </a:cubicBezTo>
                  <a:cubicBezTo>
                    <a:pt x="3470" y="6155"/>
                    <a:pt x="3494" y="6131"/>
                    <a:pt x="3515" y="6103"/>
                  </a:cubicBezTo>
                  <a:cubicBezTo>
                    <a:pt x="3582" y="6022"/>
                    <a:pt x="3662" y="5949"/>
                    <a:pt x="3753" y="5893"/>
                  </a:cubicBezTo>
                  <a:cubicBezTo>
                    <a:pt x="3876" y="5821"/>
                    <a:pt x="4046" y="5752"/>
                    <a:pt x="4169" y="5752"/>
                  </a:cubicBezTo>
                  <a:cubicBezTo>
                    <a:pt x="4197" y="5752"/>
                    <a:pt x="4222" y="5755"/>
                    <a:pt x="4244" y="5763"/>
                  </a:cubicBezTo>
                  <a:cubicBezTo>
                    <a:pt x="4275" y="5774"/>
                    <a:pt x="4303" y="5798"/>
                    <a:pt x="4317" y="5830"/>
                  </a:cubicBezTo>
                  <a:cubicBezTo>
                    <a:pt x="4338" y="5865"/>
                    <a:pt x="4370" y="5893"/>
                    <a:pt x="4405" y="5907"/>
                  </a:cubicBezTo>
                  <a:cubicBezTo>
                    <a:pt x="4419" y="5912"/>
                    <a:pt x="4434" y="5915"/>
                    <a:pt x="4448" y="5915"/>
                  </a:cubicBezTo>
                  <a:cubicBezTo>
                    <a:pt x="4463" y="5915"/>
                    <a:pt x="4478" y="5912"/>
                    <a:pt x="4492" y="5907"/>
                  </a:cubicBezTo>
                  <a:cubicBezTo>
                    <a:pt x="4580" y="5872"/>
                    <a:pt x="4667" y="5847"/>
                    <a:pt x="4755" y="5830"/>
                  </a:cubicBezTo>
                  <a:lnTo>
                    <a:pt x="4776" y="5823"/>
                  </a:lnTo>
                  <a:lnTo>
                    <a:pt x="4793" y="5823"/>
                  </a:lnTo>
                  <a:lnTo>
                    <a:pt x="4944" y="5791"/>
                  </a:lnTo>
                  <a:lnTo>
                    <a:pt x="4944" y="5795"/>
                  </a:lnTo>
                  <a:cubicBezTo>
                    <a:pt x="5035" y="5774"/>
                    <a:pt x="5129" y="5760"/>
                    <a:pt x="5224" y="5756"/>
                  </a:cubicBezTo>
                  <a:lnTo>
                    <a:pt x="5245" y="5756"/>
                  </a:lnTo>
                  <a:cubicBezTo>
                    <a:pt x="5287" y="5732"/>
                    <a:pt x="5329" y="5700"/>
                    <a:pt x="5367" y="5665"/>
                  </a:cubicBezTo>
                  <a:cubicBezTo>
                    <a:pt x="5500" y="5553"/>
                    <a:pt x="5707" y="5378"/>
                    <a:pt x="5956" y="5378"/>
                  </a:cubicBezTo>
                  <a:cubicBezTo>
                    <a:pt x="6043" y="5378"/>
                    <a:pt x="6113" y="5382"/>
                    <a:pt x="6173" y="5385"/>
                  </a:cubicBezTo>
                  <a:cubicBezTo>
                    <a:pt x="6220" y="5388"/>
                    <a:pt x="6259" y="5390"/>
                    <a:pt x="6293" y="5390"/>
                  </a:cubicBezTo>
                  <a:cubicBezTo>
                    <a:pt x="6391" y="5390"/>
                    <a:pt x="6443" y="5371"/>
                    <a:pt x="6516" y="5291"/>
                  </a:cubicBezTo>
                  <a:cubicBezTo>
                    <a:pt x="6645" y="5147"/>
                    <a:pt x="7779" y="4002"/>
                    <a:pt x="7961" y="3841"/>
                  </a:cubicBezTo>
                  <a:cubicBezTo>
                    <a:pt x="7916" y="3831"/>
                    <a:pt x="7870" y="3824"/>
                    <a:pt x="7825" y="3824"/>
                  </a:cubicBezTo>
                  <a:cubicBezTo>
                    <a:pt x="7737" y="3824"/>
                    <a:pt x="7478" y="3824"/>
                    <a:pt x="7048" y="3649"/>
                  </a:cubicBezTo>
                  <a:cubicBezTo>
                    <a:pt x="6649" y="3488"/>
                    <a:pt x="6054" y="3288"/>
                    <a:pt x="5956" y="3267"/>
                  </a:cubicBezTo>
                  <a:cubicBezTo>
                    <a:pt x="5871" y="3246"/>
                    <a:pt x="5794" y="3158"/>
                    <a:pt x="5710" y="3064"/>
                  </a:cubicBezTo>
                  <a:cubicBezTo>
                    <a:pt x="5668" y="3015"/>
                    <a:pt x="5623" y="2969"/>
                    <a:pt x="5574" y="2931"/>
                  </a:cubicBezTo>
                  <a:cubicBezTo>
                    <a:pt x="5490" y="2889"/>
                    <a:pt x="5374" y="2714"/>
                    <a:pt x="5297" y="2577"/>
                  </a:cubicBezTo>
                  <a:cubicBezTo>
                    <a:pt x="5248" y="2493"/>
                    <a:pt x="5213" y="2423"/>
                    <a:pt x="5203" y="2402"/>
                  </a:cubicBezTo>
                  <a:cubicBezTo>
                    <a:pt x="5199" y="2395"/>
                    <a:pt x="5199" y="2385"/>
                    <a:pt x="5196" y="2378"/>
                  </a:cubicBezTo>
                  <a:cubicBezTo>
                    <a:pt x="5192" y="2332"/>
                    <a:pt x="5206" y="2287"/>
                    <a:pt x="5227" y="2245"/>
                  </a:cubicBezTo>
                  <a:lnTo>
                    <a:pt x="5238" y="2231"/>
                  </a:lnTo>
                  <a:lnTo>
                    <a:pt x="5241" y="2220"/>
                  </a:lnTo>
                  <a:cubicBezTo>
                    <a:pt x="5248" y="2210"/>
                    <a:pt x="5255" y="2199"/>
                    <a:pt x="5262" y="2185"/>
                  </a:cubicBezTo>
                  <a:lnTo>
                    <a:pt x="5234" y="2164"/>
                  </a:lnTo>
                  <a:lnTo>
                    <a:pt x="5231" y="2161"/>
                  </a:lnTo>
                  <a:cubicBezTo>
                    <a:pt x="5224" y="2154"/>
                    <a:pt x="5213" y="2150"/>
                    <a:pt x="5210" y="2147"/>
                  </a:cubicBezTo>
                  <a:lnTo>
                    <a:pt x="5206" y="2147"/>
                  </a:lnTo>
                  <a:cubicBezTo>
                    <a:pt x="5199" y="2143"/>
                    <a:pt x="5192" y="2140"/>
                    <a:pt x="5189" y="2136"/>
                  </a:cubicBezTo>
                  <a:cubicBezTo>
                    <a:pt x="5178" y="2133"/>
                    <a:pt x="5171" y="2129"/>
                    <a:pt x="5161" y="2129"/>
                  </a:cubicBezTo>
                  <a:cubicBezTo>
                    <a:pt x="5157" y="2129"/>
                    <a:pt x="5154" y="2129"/>
                    <a:pt x="5150" y="2133"/>
                  </a:cubicBezTo>
                  <a:lnTo>
                    <a:pt x="5140" y="2136"/>
                  </a:lnTo>
                  <a:lnTo>
                    <a:pt x="5133" y="2143"/>
                  </a:lnTo>
                  <a:cubicBezTo>
                    <a:pt x="5062" y="2189"/>
                    <a:pt x="4982" y="2212"/>
                    <a:pt x="4899" y="2212"/>
                  </a:cubicBezTo>
                  <a:cubicBezTo>
                    <a:pt x="4874" y="2212"/>
                    <a:pt x="4849" y="2210"/>
                    <a:pt x="4825" y="2206"/>
                  </a:cubicBezTo>
                  <a:cubicBezTo>
                    <a:pt x="4783" y="2196"/>
                    <a:pt x="4751" y="2171"/>
                    <a:pt x="4730" y="2136"/>
                  </a:cubicBezTo>
                  <a:cubicBezTo>
                    <a:pt x="4685" y="2049"/>
                    <a:pt x="4615" y="1765"/>
                    <a:pt x="4758" y="1601"/>
                  </a:cubicBezTo>
                  <a:cubicBezTo>
                    <a:pt x="4765" y="1590"/>
                    <a:pt x="4776" y="1580"/>
                    <a:pt x="4786" y="1566"/>
                  </a:cubicBezTo>
                  <a:lnTo>
                    <a:pt x="4793" y="1559"/>
                  </a:lnTo>
                  <a:lnTo>
                    <a:pt x="4821" y="1520"/>
                  </a:lnTo>
                  <a:lnTo>
                    <a:pt x="4828" y="1510"/>
                  </a:lnTo>
                  <a:lnTo>
                    <a:pt x="4853" y="1478"/>
                  </a:lnTo>
                  <a:lnTo>
                    <a:pt x="4860" y="1468"/>
                  </a:lnTo>
                  <a:lnTo>
                    <a:pt x="4884" y="1429"/>
                  </a:lnTo>
                  <a:lnTo>
                    <a:pt x="4895" y="1415"/>
                  </a:lnTo>
                  <a:lnTo>
                    <a:pt x="4919" y="1380"/>
                  </a:lnTo>
                  <a:lnTo>
                    <a:pt x="4926" y="1370"/>
                  </a:lnTo>
                  <a:lnTo>
                    <a:pt x="4947" y="1338"/>
                  </a:lnTo>
                  <a:lnTo>
                    <a:pt x="4951" y="1331"/>
                  </a:lnTo>
                  <a:lnTo>
                    <a:pt x="4975" y="1296"/>
                  </a:lnTo>
                  <a:lnTo>
                    <a:pt x="4996" y="1261"/>
                  </a:lnTo>
                  <a:lnTo>
                    <a:pt x="4870" y="1132"/>
                  </a:lnTo>
                  <a:lnTo>
                    <a:pt x="4863" y="1121"/>
                  </a:lnTo>
                  <a:cubicBezTo>
                    <a:pt x="4429" y="666"/>
                    <a:pt x="3988" y="232"/>
                    <a:pt x="3904" y="193"/>
                  </a:cubicBezTo>
                  <a:lnTo>
                    <a:pt x="3862" y="193"/>
                  </a:lnTo>
                  <a:cubicBezTo>
                    <a:pt x="3813" y="193"/>
                    <a:pt x="3743" y="197"/>
                    <a:pt x="3676" y="204"/>
                  </a:cubicBezTo>
                  <a:cubicBezTo>
                    <a:pt x="3603" y="208"/>
                    <a:pt x="3541" y="212"/>
                    <a:pt x="3490" y="212"/>
                  </a:cubicBezTo>
                  <a:cubicBezTo>
                    <a:pt x="3427" y="212"/>
                    <a:pt x="3380" y="207"/>
                    <a:pt x="3347" y="193"/>
                  </a:cubicBezTo>
                  <a:cubicBezTo>
                    <a:pt x="3330" y="186"/>
                    <a:pt x="3309" y="176"/>
                    <a:pt x="3291" y="162"/>
                  </a:cubicBezTo>
                  <a:cubicBezTo>
                    <a:pt x="3282" y="156"/>
                    <a:pt x="3275" y="152"/>
                    <a:pt x="3265" y="152"/>
                  </a:cubicBezTo>
                  <a:cubicBezTo>
                    <a:pt x="3248" y="152"/>
                    <a:pt x="3223" y="162"/>
                    <a:pt x="3165" y="190"/>
                  </a:cubicBezTo>
                  <a:cubicBezTo>
                    <a:pt x="3116" y="214"/>
                    <a:pt x="3073" y="224"/>
                    <a:pt x="3034" y="224"/>
                  </a:cubicBezTo>
                  <a:cubicBezTo>
                    <a:pt x="2932" y="224"/>
                    <a:pt x="2862" y="155"/>
                    <a:pt x="2808" y="99"/>
                  </a:cubicBezTo>
                  <a:cubicBezTo>
                    <a:pt x="2787" y="81"/>
                    <a:pt x="2770" y="64"/>
                    <a:pt x="2752" y="46"/>
                  </a:cubicBezTo>
                  <a:lnTo>
                    <a:pt x="2731" y="29"/>
                  </a:lnTo>
                  <a:cubicBezTo>
                    <a:pt x="2710" y="15"/>
                    <a:pt x="2686" y="4"/>
                    <a:pt x="2661" y="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970" name="Google Shape;3970;p104"/>
            <p:cNvSpPr/>
            <p:nvPr/>
          </p:nvSpPr>
          <p:spPr>
            <a:xfrm>
              <a:off x="2360015" y="1962711"/>
              <a:ext cx="149" cy="204"/>
            </a:xfrm>
            <a:custGeom>
              <a:avLst/>
              <a:gdLst/>
              <a:ahLst/>
              <a:cxnLst/>
              <a:rect l="l" t="t" r="r" b="b"/>
              <a:pathLst>
                <a:path w="11" h="15" extrusionOk="0">
                  <a:moveTo>
                    <a:pt x="11" y="0"/>
                  </a:moveTo>
                  <a:lnTo>
                    <a:pt x="0" y="14"/>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971" name="Google Shape;3971;p104"/>
            <p:cNvSpPr/>
            <p:nvPr/>
          </p:nvSpPr>
          <p:spPr>
            <a:xfrm>
              <a:off x="2360965" y="1967409"/>
              <a:ext cx="3761" cy="4861"/>
            </a:xfrm>
            <a:custGeom>
              <a:avLst/>
              <a:gdLst/>
              <a:ahLst/>
              <a:cxnLst/>
              <a:rect l="l" t="t" r="r" b="b"/>
              <a:pathLst>
                <a:path w="277" h="358" extrusionOk="0">
                  <a:moveTo>
                    <a:pt x="0" y="1"/>
                  </a:moveTo>
                  <a:cubicBezTo>
                    <a:pt x="81" y="141"/>
                    <a:pt x="193" y="316"/>
                    <a:pt x="277" y="358"/>
                  </a:cubicBezTo>
                  <a:cubicBezTo>
                    <a:pt x="193" y="312"/>
                    <a:pt x="81" y="137"/>
                    <a:pt x="0" y="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972" name="Google Shape;3972;p104"/>
            <p:cNvSpPr/>
            <p:nvPr/>
          </p:nvSpPr>
          <p:spPr>
            <a:xfrm>
              <a:off x="2359580" y="1964707"/>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973" name="Google Shape;3973;p104"/>
            <p:cNvSpPr/>
            <p:nvPr/>
          </p:nvSpPr>
          <p:spPr>
            <a:xfrm>
              <a:off x="2360205" y="1962087"/>
              <a:ext cx="299" cy="489"/>
            </a:xfrm>
            <a:custGeom>
              <a:avLst/>
              <a:gdLst/>
              <a:ahLst/>
              <a:cxnLst/>
              <a:rect l="l" t="t" r="r" b="b"/>
              <a:pathLst>
                <a:path w="22" h="36" extrusionOk="0">
                  <a:moveTo>
                    <a:pt x="0" y="36"/>
                  </a:moveTo>
                  <a:cubicBezTo>
                    <a:pt x="7" y="25"/>
                    <a:pt x="14" y="11"/>
                    <a:pt x="21" y="1"/>
                  </a:cubicBezTo>
                  <a:lnTo>
                    <a:pt x="21" y="1"/>
                  </a:lnTo>
                  <a:cubicBezTo>
                    <a:pt x="14" y="11"/>
                    <a:pt x="7" y="25"/>
                    <a:pt x="0" y="36"/>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974" name="Google Shape;3974;p104"/>
            <p:cNvSpPr/>
            <p:nvPr/>
          </p:nvSpPr>
          <p:spPr>
            <a:xfrm>
              <a:off x="2354027" y="2011522"/>
              <a:ext cx="149" cy="14"/>
            </a:xfrm>
            <a:custGeom>
              <a:avLst/>
              <a:gdLst/>
              <a:ahLst/>
              <a:cxnLst/>
              <a:rect l="l" t="t" r="r" b="b"/>
              <a:pathLst>
                <a:path w="11" h="1" extrusionOk="0">
                  <a:moveTo>
                    <a:pt x="0" y="1"/>
                  </a:moveTo>
                  <a:lnTo>
                    <a:pt x="7" y="1"/>
                  </a:lnTo>
                  <a:lnTo>
                    <a:pt x="11"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975" name="Google Shape;3975;p104"/>
            <p:cNvSpPr/>
            <p:nvPr/>
          </p:nvSpPr>
          <p:spPr>
            <a:xfrm>
              <a:off x="2353647" y="2011577"/>
              <a:ext cx="299" cy="54"/>
            </a:xfrm>
            <a:custGeom>
              <a:avLst/>
              <a:gdLst/>
              <a:ahLst/>
              <a:cxnLst/>
              <a:rect l="l" t="t" r="r" b="b"/>
              <a:pathLst>
                <a:path w="22" h="4" extrusionOk="0">
                  <a:moveTo>
                    <a:pt x="0" y="4"/>
                  </a:moveTo>
                  <a:lnTo>
                    <a:pt x="21"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976" name="Google Shape;3976;p104"/>
            <p:cNvSpPr/>
            <p:nvPr/>
          </p:nvSpPr>
          <p:spPr>
            <a:xfrm>
              <a:off x="2356159" y="2010572"/>
              <a:ext cx="3815" cy="543"/>
            </a:xfrm>
            <a:custGeom>
              <a:avLst/>
              <a:gdLst/>
              <a:ahLst/>
              <a:cxnLst/>
              <a:rect l="l" t="t" r="r" b="b"/>
              <a:pathLst>
                <a:path w="281" h="40" extrusionOk="0">
                  <a:moveTo>
                    <a:pt x="1" y="39"/>
                  </a:moveTo>
                  <a:lnTo>
                    <a:pt x="1" y="39"/>
                  </a:lnTo>
                  <a:cubicBezTo>
                    <a:pt x="92" y="18"/>
                    <a:pt x="186" y="8"/>
                    <a:pt x="281" y="1"/>
                  </a:cubicBezTo>
                  <a:cubicBezTo>
                    <a:pt x="186" y="8"/>
                    <a:pt x="92" y="18"/>
                    <a:pt x="1" y="39"/>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977" name="Google Shape;3977;p104"/>
            <p:cNvSpPr/>
            <p:nvPr/>
          </p:nvSpPr>
          <p:spPr>
            <a:xfrm>
              <a:off x="2314720" y="1939562"/>
              <a:ext cx="244" cy="584"/>
            </a:xfrm>
            <a:custGeom>
              <a:avLst/>
              <a:gdLst/>
              <a:ahLst/>
              <a:cxnLst/>
              <a:rect l="l" t="t" r="r" b="b"/>
              <a:pathLst>
                <a:path w="18" h="43" extrusionOk="0">
                  <a:moveTo>
                    <a:pt x="0" y="42"/>
                  </a:moveTo>
                  <a:cubicBezTo>
                    <a:pt x="4" y="28"/>
                    <a:pt x="11" y="14"/>
                    <a:pt x="18" y="0"/>
                  </a:cubicBezTo>
                  <a:cubicBezTo>
                    <a:pt x="11" y="14"/>
                    <a:pt x="4" y="28"/>
                    <a:pt x="0" y="42"/>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978" name="Google Shape;3978;p104"/>
            <p:cNvSpPr/>
            <p:nvPr/>
          </p:nvSpPr>
          <p:spPr>
            <a:xfrm>
              <a:off x="2314381" y="1940268"/>
              <a:ext cx="258" cy="543"/>
            </a:xfrm>
            <a:custGeom>
              <a:avLst/>
              <a:gdLst/>
              <a:ahLst/>
              <a:cxnLst/>
              <a:rect l="l" t="t" r="r" b="b"/>
              <a:pathLst>
                <a:path w="19" h="40" extrusionOk="0">
                  <a:moveTo>
                    <a:pt x="1" y="39"/>
                  </a:moveTo>
                  <a:lnTo>
                    <a:pt x="18"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979" name="Google Shape;3979;p104"/>
            <p:cNvSpPr/>
            <p:nvPr/>
          </p:nvSpPr>
          <p:spPr>
            <a:xfrm>
              <a:off x="2315005" y="1938896"/>
              <a:ext cx="244" cy="584"/>
            </a:xfrm>
            <a:custGeom>
              <a:avLst/>
              <a:gdLst/>
              <a:ahLst/>
              <a:cxnLst/>
              <a:rect l="l" t="t" r="r" b="b"/>
              <a:pathLst>
                <a:path w="18" h="43" extrusionOk="0">
                  <a:moveTo>
                    <a:pt x="0" y="42"/>
                  </a:moveTo>
                  <a:cubicBezTo>
                    <a:pt x="4" y="28"/>
                    <a:pt x="11" y="14"/>
                    <a:pt x="18" y="0"/>
                  </a:cubicBezTo>
                  <a:cubicBezTo>
                    <a:pt x="11" y="14"/>
                    <a:pt x="4" y="28"/>
                    <a:pt x="0" y="42"/>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980" name="Google Shape;3980;p104"/>
            <p:cNvSpPr/>
            <p:nvPr/>
          </p:nvSpPr>
          <p:spPr>
            <a:xfrm>
              <a:off x="2315236" y="1938231"/>
              <a:ext cx="204" cy="625"/>
            </a:xfrm>
            <a:custGeom>
              <a:avLst/>
              <a:gdLst/>
              <a:ahLst/>
              <a:cxnLst/>
              <a:rect l="l" t="t" r="r" b="b"/>
              <a:pathLst>
                <a:path w="15" h="46" extrusionOk="0">
                  <a:moveTo>
                    <a:pt x="1" y="46"/>
                  </a:moveTo>
                  <a:cubicBezTo>
                    <a:pt x="8" y="28"/>
                    <a:pt x="11" y="14"/>
                    <a:pt x="15" y="0"/>
                  </a:cubicBezTo>
                  <a:cubicBezTo>
                    <a:pt x="11" y="14"/>
                    <a:pt x="8" y="28"/>
                    <a:pt x="1" y="46"/>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981" name="Google Shape;3981;p104"/>
            <p:cNvSpPr/>
            <p:nvPr/>
          </p:nvSpPr>
          <p:spPr>
            <a:xfrm>
              <a:off x="2314055" y="1940933"/>
              <a:ext cx="244" cy="489"/>
            </a:xfrm>
            <a:custGeom>
              <a:avLst/>
              <a:gdLst/>
              <a:ahLst/>
              <a:cxnLst/>
              <a:rect l="l" t="t" r="r" b="b"/>
              <a:pathLst>
                <a:path w="18" h="36" extrusionOk="0">
                  <a:moveTo>
                    <a:pt x="0" y="36"/>
                  </a:moveTo>
                  <a:lnTo>
                    <a:pt x="18"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982" name="Google Shape;3982;p104"/>
            <p:cNvSpPr/>
            <p:nvPr/>
          </p:nvSpPr>
          <p:spPr>
            <a:xfrm>
              <a:off x="2315481" y="1937511"/>
              <a:ext cx="204" cy="584"/>
            </a:xfrm>
            <a:custGeom>
              <a:avLst/>
              <a:gdLst/>
              <a:ahLst/>
              <a:cxnLst/>
              <a:rect l="l" t="t" r="r" b="b"/>
              <a:pathLst>
                <a:path w="15" h="43" extrusionOk="0">
                  <a:moveTo>
                    <a:pt x="0" y="43"/>
                  </a:moveTo>
                  <a:cubicBezTo>
                    <a:pt x="4" y="29"/>
                    <a:pt x="11" y="15"/>
                    <a:pt x="14" y="1"/>
                  </a:cubicBezTo>
                  <a:cubicBezTo>
                    <a:pt x="11" y="15"/>
                    <a:pt x="4" y="29"/>
                    <a:pt x="0" y="43"/>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983" name="Google Shape;3983;p104"/>
            <p:cNvSpPr/>
            <p:nvPr/>
          </p:nvSpPr>
          <p:spPr>
            <a:xfrm>
              <a:off x="2296038" y="1987707"/>
              <a:ext cx="1955" cy="2444"/>
            </a:xfrm>
            <a:custGeom>
              <a:avLst/>
              <a:gdLst/>
              <a:ahLst/>
              <a:cxnLst/>
              <a:rect l="l" t="t" r="r" b="b"/>
              <a:pathLst>
                <a:path w="144" h="180" extrusionOk="0">
                  <a:moveTo>
                    <a:pt x="0" y="1"/>
                  </a:moveTo>
                  <a:cubicBezTo>
                    <a:pt x="35" y="67"/>
                    <a:pt x="84" y="130"/>
                    <a:pt x="144" y="179"/>
                  </a:cubicBezTo>
                  <a:cubicBezTo>
                    <a:pt x="84" y="130"/>
                    <a:pt x="35" y="67"/>
                    <a:pt x="0" y="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984" name="Google Shape;3984;p104"/>
            <p:cNvSpPr/>
            <p:nvPr/>
          </p:nvSpPr>
          <p:spPr>
            <a:xfrm>
              <a:off x="2315807" y="1936086"/>
              <a:ext cx="68" cy="584"/>
            </a:xfrm>
            <a:custGeom>
              <a:avLst/>
              <a:gdLst/>
              <a:ahLst/>
              <a:cxnLst/>
              <a:rect l="l" t="t" r="r" b="b"/>
              <a:pathLst>
                <a:path w="5" h="43" extrusionOk="0">
                  <a:moveTo>
                    <a:pt x="1" y="43"/>
                  </a:moveTo>
                  <a:cubicBezTo>
                    <a:pt x="1" y="29"/>
                    <a:pt x="4" y="15"/>
                    <a:pt x="4" y="1"/>
                  </a:cubicBezTo>
                  <a:cubicBezTo>
                    <a:pt x="4" y="15"/>
                    <a:pt x="1" y="29"/>
                    <a:pt x="1" y="43"/>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985" name="Google Shape;3985;p104"/>
            <p:cNvSpPr/>
            <p:nvPr/>
          </p:nvSpPr>
          <p:spPr>
            <a:xfrm>
              <a:off x="2315671" y="1936751"/>
              <a:ext cx="149" cy="638"/>
            </a:xfrm>
            <a:custGeom>
              <a:avLst/>
              <a:gdLst/>
              <a:ahLst/>
              <a:cxnLst/>
              <a:rect l="l" t="t" r="r" b="b"/>
              <a:pathLst>
                <a:path w="11" h="47" extrusionOk="0">
                  <a:moveTo>
                    <a:pt x="0" y="46"/>
                  </a:moveTo>
                  <a:cubicBezTo>
                    <a:pt x="4" y="32"/>
                    <a:pt x="7" y="15"/>
                    <a:pt x="11" y="1"/>
                  </a:cubicBezTo>
                  <a:cubicBezTo>
                    <a:pt x="7" y="15"/>
                    <a:pt x="4" y="32"/>
                    <a:pt x="0" y="46"/>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986" name="Google Shape;3986;p104"/>
            <p:cNvSpPr/>
            <p:nvPr/>
          </p:nvSpPr>
          <p:spPr>
            <a:xfrm>
              <a:off x="2309534" y="2006390"/>
              <a:ext cx="54" cy="258"/>
            </a:xfrm>
            <a:custGeom>
              <a:avLst/>
              <a:gdLst/>
              <a:ahLst/>
              <a:cxnLst/>
              <a:rect l="l" t="t" r="r" b="b"/>
              <a:pathLst>
                <a:path w="4" h="19" extrusionOk="0">
                  <a:moveTo>
                    <a:pt x="0" y="18"/>
                  </a:moveTo>
                  <a:lnTo>
                    <a:pt x="4"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987" name="Google Shape;3987;p104"/>
            <p:cNvSpPr/>
            <p:nvPr/>
          </p:nvSpPr>
          <p:spPr>
            <a:xfrm>
              <a:off x="2308909" y="2000973"/>
              <a:ext cx="1344" cy="3775"/>
            </a:xfrm>
            <a:custGeom>
              <a:avLst/>
              <a:gdLst/>
              <a:ahLst/>
              <a:cxnLst/>
              <a:rect l="l" t="t" r="r" b="b"/>
              <a:pathLst>
                <a:path w="99" h="278" extrusionOk="0">
                  <a:moveTo>
                    <a:pt x="57" y="35"/>
                  </a:moveTo>
                  <a:cubicBezTo>
                    <a:pt x="43" y="18"/>
                    <a:pt x="22" y="4"/>
                    <a:pt x="1" y="0"/>
                  </a:cubicBezTo>
                  <a:cubicBezTo>
                    <a:pt x="22" y="4"/>
                    <a:pt x="43" y="18"/>
                    <a:pt x="57" y="35"/>
                  </a:cubicBezTo>
                  <a:cubicBezTo>
                    <a:pt x="99" y="84"/>
                    <a:pt x="92" y="154"/>
                    <a:pt x="71" y="277"/>
                  </a:cubicBezTo>
                  <a:cubicBezTo>
                    <a:pt x="92" y="154"/>
                    <a:pt x="99" y="84"/>
                    <a:pt x="57" y="35"/>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988" name="Google Shape;3988;p104"/>
            <p:cNvSpPr/>
            <p:nvPr/>
          </p:nvSpPr>
          <p:spPr>
            <a:xfrm>
              <a:off x="2309344" y="2007775"/>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989" name="Google Shape;3989;p104"/>
            <p:cNvSpPr/>
            <p:nvPr/>
          </p:nvSpPr>
          <p:spPr>
            <a:xfrm>
              <a:off x="2300029" y="1964042"/>
              <a:ext cx="14" cy="299"/>
            </a:xfrm>
            <a:custGeom>
              <a:avLst/>
              <a:gdLst/>
              <a:ahLst/>
              <a:cxnLst/>
              <a:rect l="l" t="t" r="r" b="b"/>
              <a:pathLst>
                <a:path w="1" h="22" extrusionOk="0">
                  <a:moveTo>
                    <a:pt x="0" y="0"/>
                  </a:moveTo>
                  <a:cubicBezTo>
                    <a:pt x="0" y="7"/>
                    <a:pt x="0" y="14"/>
                    <a:pt x="0" y="21"/>
                  </a:cubicBezTo>
                  <a:cubicBezTo>
                    <a:pt x="0" y="14"/>
                    <a:pt x="0" y="7"/>
                    <a:pt x="0"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990" name="Google Shape;3990;p104"/>
            <p:cNvSpPr/>
            <p:nvPr/>
          </p:nvSpPr>
          <p:spPr>
            <a:xfrm>
              <a:off x="2359064" y="1961326"/>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991" name="Google Shape;3991;p104"/>
            <p:cNvSpPr/>
            <p:nvPr/>
          </p:nvSpPr>
          <p:spPr>
            <a:xfrm>
              <a:off x="2354407" y="1952868"/>
              <a:ext cx="149" cy="204"/>
            </a:xfrm>
            <a:custGeom>
              <a:avLst/>
              <a:gdLst/>
              <a:ahLst/>
              <a:cxnLst/>
              <a:rect l="l" t="t" r="r" b="b"/>
              <a:pathLst>
                <a:path w="11" h="15" extrusionOk="0">
                  <a:moveTo>
                    <a:pt x="11" y="1"/>
                  </a:moveTo>
                  <a:lnTo>
                    <a:pt x="0" y="15"/>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992" name="Google Shape;3992;p104"/>
            <p:cNvSpPr/>
            <p:nvPr/>
          </p:nvSpPr>
          <p:spPr>
            <a:xfrm>
              <a:off x="2355779" y="1950967"/>
              <a:ext cx="109" cy="163"/>
            </a:xfrm>
            <a:custGeom>
              <a:avLst/>
              <a:gdLst/>
              <a:ahLst/>
              <a:cxnLst/>
              <a:rect l="l" t="t" r="r" b="b"/>
              <a:pathLst>
                <a:path w="8" h="12" extrusionOk="0">
                  <a:moveTo>
                    <a:pt x="8" y="1"/>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993" name="Google Shape;3993;p104"/>
            <p:cNvSpPr/>
            <p:nvPr/>
          </p:nvSpPr>
          <p:spPr>
            <a:xfrm>
              <a:off x="2353932" y="1953533"/>
              <a:ext cx="109" cy="163"/>
            </a:xfrm>
            <a:custGeom>
              <a:avLst/>
              <a:gdLst/>
              <a:ahLst/>
              <a:cxnLst/>
              <a:rect l="l" t="t" r="r" b="b"/>
              <a:pathLst>
                <a:path w="8" h="12" extrusionOk="0">
                  <a:moveTo>
                    <a:pt x="7" y="1"/>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994" name="Google Shape;3994;p104"/>
            <p:cNvSpPr/>
            <p:nvPr/>
          </p:nvSpPr>
          <p:spPr>
            <a:xfrm>
              <a:off x="2358915" y="1961326"/>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995" name="Google Shape;3995;p104"/>
            <p:cNvSpPr/>
            <p:nvPr/>
          </p:nvSpPr>
          <p:spPr>
            <a:xfrm>
              <a:off x="2354828" y="1952297"/>
              <a:ext cx="163" cy="204"/>
            </a:xfrm>
            <a:custGeom>
              <a:avLst/>
              <a:gdLst/>
              <a:ahLst/>
              <a:cxnLst/>
              <a:rect l="l" t="t" r="r" b="b"/>
              <a:pathLst>
                <a:path w="12" h="15" extrusionOk="0">
                  <a:moveTo>
                    <a:pt x="11" y="1"/>
                  </a:moveTo>
                  <a:lnTo>
                    <a:pt x="1" y="15"/>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996" name="Google Shape;3996;p104"/>
            <p:cNvSpPr/>
            <p:nvPr/>
          </p:nvSpPr>
          <p:spPr>
            <a:xfrm>
              <a:off x="2358779" y="1961381"/>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997" name="Google Shape;3997;p104"/>
            <p:cNvSpPr/>
            <p:nvPr/>
          </p:nvSpPr>
          <p:spPr>
            <a:xfrm>
              <a:off x="2359445" y="1961381"/>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998" name="Google Shape;3998;p104"/>
            <p:cNvSpPr/>
            <p:nvPr/>
          </p:nvSpPr>
          <p:spPr>
            <a:xfrm>
              <a:off x="2356118" y="1950451"/>
              <a:ext cx="109" cy="109"/>
            </a:xfrm>
            <a:custGeom>
              <a:avLst/>
              <a:gdLst/>
              <a:ahLst/>
              <a:cxnLst/>
              <a:rect l="l" t="t" r="r" b="b"/>
              <a:pathLst>
                <a:path w="8" h="8" extrusionOk="0">
                  <a:moveTo>
                    <a:pt x="7"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999" name="Google Shape;3999;p104"/>
            <p:cNvSpPr/>
            <p:nvPr/>
          </p:nvSpPr>
          <p:spPr>
            <a:xfrm>
              <a:off x="2360056" y="1961761"/>
              <a:ext cx="68" cy="14"/>
            </a:xfrm>
            <a:custGeom>
              <a:avLst/>
              <a:gdLst/>
              <a:ahLst/>
              <a:cxnLst/>
              <a:rect l="l" t="t" r="r" b="b"/>
              <a:pathLst>
                <a:path w="5" h="1" extrusionOk="0">
                  <a:moveTo>
                    <a:pt x="1" y="0"/>
                  </a:moveTo>
                  <a:lnTo>
                    <a:pt x="4"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000" name="Google Shape;4000;p104"/>
            <p:cNvSpPr/>
            <p:nvPr/>
          </p:nvSpPr>
          <p:spPr>
            <a:xfrm>
              <a:off x="2359730" y="1961516"/>
              <a:ext cx="54" cy="14"/>
            </a:xfrm>
            <a:custGeom>
              <a:avLst/>
              <a:gdLst/>
              <a:ahLst/>
              <a:cxnLst/>
              <a:rect l="l" t="t" r="r" b="b"/>
              <a:pathLst>
                <a:path w="4" h="1" extrusionOk="0">
                  <a:moveTo>
                    <a:pt x="0" y="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001" name="Google Shape;4001;p104"/>
            <p:cNvSpPr/>
            <p:nvPr/>
          </p:nvSpPr>
          <p:spPr>
            <a:xfrm>
              <a:off x="2355263" y="1951591"/>
              <a:ext cx="204" cy="244"/>
            </a:xfrm>
            <a:custGeom>
              <a:avLst/>
              <a:gdLst/>
              <a:ahLst/>
              <a:cxnLst/>
              <a:rect l="l" t="t" r="r" b="b"/>
              <a:pathLst>
                <a:path w="15" h="18" extrusionOk="0">
                  <a:moveTo>
                    <a:pt x="14" y="0"/>
                  </a:moveTo>
                  <a:lnTo>
                    <a:pt x="0" y="18"/>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002" name="Google Shape;4002;p104"/>
            <p:cNvSpPr/>
            <p:nvPr/>
          </p:nvSpPr>
          <p:spPr>
            <a:xfrm>
              <a:off x="2356539" y="1949921"/>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003" name="Google Shape;4003;p104"/>
            <p:cNvSpPr/>
            <p:nvPr/>
          </p:nvSpPr>
          <p:spPr>
            <a:xfrm>
              <a:off x="2360490" y="1962087"/>
              <a:ext cx="14" cy="14"/>
            </a:xfrm>
            <a:custGeom>
              <a:avLst/>
              <a:gdLst/>
              <a:ahLst/>
              <a:cxnLst/>
              <a:rect l="l" t="t" r="r" b="b"/>
              <a:pathLst>
                <a:path w="1" h="1" extrusionOk="0">
                  <a:moveTo>
                    <a:pt x="0"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004" name="Google Shape;4004;p104"/>
            <p:cNvSpPr/>
            <p:nvPr/>
          </p:nvSpPr>
          <p:spPr>
            <a:xfrm>
              <a:off x="2319703" y="1935991"/>
              <a:ext cx="163" cy="14"/>
            </a:xfrm>
            <a:custGeom>
              <a:avLst/>
              <a:gdLst/>
              <a:ahLst/>
              <a:cxnLst/>
              <a:rect l="l" t="t" r="r" b="b"/>
              <a:pathLst>
                <a:path w="12" h="1" extrusionOk="0">
                  <a:moveTo>
                    <a:pt x="1" y="1"/>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005" name="Google Shape;4005;p104"/>
            <p:cNvSpPr/>
            <p:nvPr/>
          </p:nvSpPr>
          <p:spPr>
            <a:xfrm>
              <a:off x="2355113" y="1947735"/>
              <a:ext cx="1724" cy="1779"/>
            </a:xfrm>
            <a:custGeom>
              <a:avLst/>
              <a:gdLst/>
              <a:ahLst/>
              <a:cxnLst/>
              <a:rect l="l" t="t" r="r" b="b"/>
              <a:pathLst>
                <a:path w="127" h="131" extrusionOk="0">
                  <a:moveTo>
                    <a:pt x="127" y="130"/>
                  </a:moveTo>
                  <a:lnTo>
                    <a:pt x="1"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006" name="Google Shape;4006;p104"/>
            <p:cNvSpPr/>
            <p:nvPr/>
          </p:nvSpPr>
          <p:spPr>
            <a:xfrm>
              <a:off x="2320464" y="1936140"/>
              <a:ext cx="68" cy="14"/>
            </a:xfrm>
            <a:custGeom>
              <a:avLst/>
              <a:gdLst/>
              <a:ahLst/>
              <a:cxnLst/>
              <a:rect l="l" t="t" r="r" b="b"/>
              <a:pathLst>
                <a:path w="5" h="1" extrusionOk="0">
                  <a:moveTo>
                    <a:pt x="1" y="0"/>
                  </a:moveTo>
                  <a:lnTo>
                    <a:pt x="4"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007" name="Google Shape;4007;p104"/>
            <p:cNvSpPr/>
            <p:nvPr/>
          </p:nvSpPr>
          <p:spPr>
            <a:xfrm>
              <a:off x="2320423" y="1936140"/>
              <a:ext cx="54" cy="14"/>
            </a:xfrm>
            <a:custGeom>
              <a:avLst/>
              <a:gdLst/>
              <a:ahLst/>
              <a:cxnLst/>
              <a:rect l="l" t="t" r="r" b="b"/>
              <a:pathLst>
                <a:path w="4" h="1" extrusionOk="0">
                  <a:moveTo>
                    <a:pt x="0" y="0"/>
                  </a:moveTo>
                  <a:lnTo>
                    <a:pt x="4"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008" name="Google Shape;4008;p104"/>
            <p:cNvSpPr/>
            <p:nvPr/>
          </p:nvSpPr>
          <p:spPr>
            <a:xfrm>
              <a:off x="2320233" y="1936086"/>
              <a:ext cx="109" cy="14"/>
            </a:xfrm>
            <a:custGeom>
              <a:avLst/>
              <a:gdLst/>
              <a:ahLst/>
              <a:cxnLst/>
              <a:rect l="l" t="t" r="r" b="b"/>
              <a:pathLst>
                <a:path w="8" h="1" extrusionOk="0">
                  <a:moveTo>
                    <a:pt x="0" y="1"/>
                  </a:moveTo>
                  <a:lnTo>
                    <a:pt x="7"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009" name="Google Shape;4009;p104"/>
            <p:cNvSpPr/>
            <p:nvPr/>
          </p:nvSpPr>
          <p:spPr>
            <a:xfrm>
              <a:off x="2315861" y="1935950"/>
              <a:ext cx="1860" cy="54"/>
            </a:xfrm>
            <a:custGeom>
              <a:avLst/>
              <a:gdLst/>
              <a:ahLst/>
              <a:cxnLst/>
              <a:rect l="l" t="t" r="r" b="b"/>
              <a:pathLst>
                <a:path w="137" h="4" extrusionOk="0">
                  <a:moveTo>
                    <a:pt x="0" y="4"/>
                  </a:moveTo>
                  <a:lnTo>
                    <a:pt x="0" y="4"/>
                  </a:lnTo>
                  <a:cubicBezTo>
                    <a:pt x="53" y="0"/>
                    <a:pt x="98" y="0"/>
                    <a:pt x="137" y="0"/>
                  </a:cubicBezTo>
                  <a:cubicBezTo>
                    <a:pt x="98" y="0"/>
                    <a:pt x="53" y="0"/>
                    <a:pt x="0" y="4"/>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010" name="Google Shape;4010;p104"/>
            <p:cNvSpPr/>
            <p:nvPr/>
          </p:nvSpPr>
          <p:spPr>
            <a:xfrm>
              <a:off x="2319893" y="1936045"/>
              <a:ext cx="163" cy="14"/>
            </a:xfrm>
            <a:custGeom>
              <a:avLst/>
              <a:gdLst/>
              <a:ahLst/>
              <a:cxnLst/>
              <a:rect l="l" t="t" r="r" b="b"/>
              <a:pathLst>
                <a:path w="12" h="1" extrusionOk="0">
                  <a:moveTo>
                    <a:pt x="1" y="0"/>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011" name="Google Shape;4011;p104"/>
            <p:cNvSpPr/>
            <p:nvPr/>
          </p:nvSpPr>
          <p:spPr>
            <a:xfrm>
              <a:off x="2320369" y="1936086"/>
              <a:ext cx="68" cy="14"/>
            </a:xfrm>
            <a:custGeom>
              <a:avLst/>
              <a:gdLst/>
              <a:ahLst/>
              <a:cxnLst/>
              <a:rect l="l" t="t" r="r" b="b"/>
              <a:pathLst>
                <a:path w="5" h="1" extrusionOk="0">
                  <a:moveTo>
                    <a:pt x="1" y="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012" name="Google Shape;4012;p104"/>
            <p:cNvSpPr/>
            <p:nvPr/>
          </p:nvSpPr>
          <p:spPr>
            <a:xfrm>
              <a:off x="2320083" y="1936045"/>
              <a:ext cx="109" cy="14"/>
            </a:xfrm>
            <a:custGeom>
              <a:avLst/>
              <a:gdLst/>
              <a:ahLst/>
              <a:cxnLst/>
              <a:rect l="l" t="t" r="r" b="b"/>
              <a:pathLst>
                <a:path w="8" h="1" extrusionOk="0">
                  <a:moveTo>
                    <a:pt x="1" y="0"/>
                  </a:moveTo>
                  <a:lnTo>
                    <a:pt x="8"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013" name="Google Shape;4013;p104"/>
            <p:cNvSpPr/>
            <p:nvPr/>
          </p:nvSpPr>
          <p:spPr>
            <a:xfrm>
              <a:off x="2341998" y="1935000"/>
              <a:ext cx="12994" cy="12600"/>
            </a:xfrm>
            <a:custGeom>
              <a:avLst/>
              <a:gdLst/>
              <a:ahLst/>
              <a:cxnLst/>
              <a:rect l="l" t="t" r="r" b="b"/>
              <a:pathLst>
                <a:path w="957" h="928" extrusionOk="0">
                  <a:moveTo>
                    <a:pt x="1" y="0"/>
                  </a:moveTo>
                  <a:lnTo>
                    <a:pt x="1" y="0"/>
                  </a:lnTo>
                  <a:cubicBezTo>
                    <a:pt x="41" y="20"/>
                    <a:pt x="172" y="138"/>
                    <a:pt x="347" y="308"/>
                  </a:cubicBezTo>
                  <a:lnTo>
                    <a:pt x="347" y="308"/>
                  </a:lnTo>
                  <a:cubicBezTo>
                    <a:pt x="173" y="138"/>
                    <a:pt x="43" y="20"/>
                    <a:pt x="1" y="0"/>
                  </a:cubicBezTo>
                  <a:close/>
                  <a:moveTo>
                    <a:pt x="347" y="308"/>
                  </a:moveTo>
                  <a:lnTo>
                    <a:pt x="347" y="308"/>
                  </a:lnTo>
                  <a:cubicBezTo>
                    <a:pt x="521" y="478"/>
                    <a:pt x="739" y="700"/>
                    <a:pt x="956" y="928"/>
                  </a:cubicBezTo>
                  <a:cubicBezTo>
                    <a:pt x="741" y="700"/>
                    <a:pt x="522" y="478"/>
                    <a:pt x="347" y="308"/>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014" name="Google Shape;4014;p104"/>
            <p:cNvSpPr/>
            <p:nvPr/>
          </p:nvSpPr>
          <p:spPr>
            <a:xfrm>
              <a:off x="2325121" y="1932284"/>
              <a:ext cx="923" cy="448"/>
            </a:xfrm>
            <a:custGeom>
              <a:avLst/>
              <a:gdLst/>
              <a:ahLst/>
              <a:cxnLst/>
              <a:rect l="l" t="t" r="r" b="b"/>
              <a:pathLst>
                <a:path w="68" h="33" extrusionOk="0">
                  <a:moveTo>
                    <a:pt x="1" y="1"/>
                  </a:moveTo>
                  <a:cubicBezTo>
                    <a:pt x="25" y="4"/>
                    <a:pt x="50" y="15"/>
                    <a:pt x="67" y="32"/>
                  </a:cubicBezTo>
                  <a:cubicBezTo>
                    <a:pt x="50" y="15"/>
                    <a:pt x="25" y="4"/>
                    <a:pt x="1" y="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015" name="Google Shape;4015;p104"/>
            <p:cNvSpPr/>
            <p:nvPr/>
          </p:nvSpPr>
          <p:spPr>
            <a:xfrm>
              <a:off x="2318753" y="1935950"/>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016" name="Google Shape;4016;p104"/>
            <p:cNvSpPr/>
            <p:nvPr/>
          </p:nvSpPr>
          <p:spPr>
            <a:xfrm>
              <a:off x="2319133" y="1935950"/>
              <a:ext cx="204" cy="14"/>
            </a:xfrm>
            <a:custGeom>
              <a:avLst/>
              <a:gdLst/>
              <a:ahLst/>
              <a:cxnLst/>
              <a:rect l="l" t="t" r="r" b="b"/>
              <a:pathLst>
                <a:path w="15" h="1" extrusionOk="0">
                  <a:moveTo>
                    <a:pt x="1" y="0"/>
                  </a:moveTo>
                  <a:lnTo>
                    <a:pt x="15"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017" name="Google Shape;4017;p104"/>
            <p:cNvSpPr/>
            <p:nvPr/>
          </p:nvSpPr>
          <p:spPr>
            <a:xfrm>
              <a:off x="2318332" y="1935950"/>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018" name="Google Shape;4018;p104"/>
            <p:cNvSpPr/>
            <p:nvPr/>
          </p:nvSpPr>
          <p:spPr>
            <a:xfrm>
              <a:off x="2317762" y="1935950"/>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019" name="Google Shape;4019;p104"/>
            <p:cNvSpPr/>
            <p:nvPr/>
          </p:nvSpPr>
          <p:spPr>
            <a:xfrm>
              <a:off x="2338902" y="1934945"/>
              <a:ext cx="2539" cy="109"/>
            </a:xfrm>
            <a:custGeom>
              <a:avLst/>
              <a:gdLst/>
              <a:ahLst/>
              <a:cxnLst/>
              <a:rect l="l" t="t" r="r" b="b"/>
              <a:pathLst>
                <a:path w="187" h="8" extrusionOk="0">
                  <a:moveTo>
                    <a:pt x="1" y="8"/>
                  </a:moveTo>
                  <a:cubicBezTo>
                    <a:pt x="67" y="4"/>
                    <a:pt x="134" y="1"/>
                    <a:pt x="186" y="1"/>
                  </a:cubicBezTo>
                  <a:cubicBezTo>
                    <a:pt x="134" y="1"/>
                    <a:pt x="67" y="4"/>
                    <a:pt x="1" y="8"/>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020" name="Google Shape;4020;p104"/>
            <p:cNvSpPr/>
            <p:nvPr/>
          </p:nvSpPr>
          <p:spPr>
            <a:xfrm>
              <a:off x="2319418" y="1935991"/>
              <a:ext cx="204" cy="14"/>
            </a:xfrm>
            <a:custGeom>
              <a:avLst/>
              <a:gdLst/>
              <a:ahLst/>
              <a:cxnLst/>
              <a:rect l="l" t="t" r="r" b="b"/>
              <a:pathLst>
                <a:path w="15" h="1" extrusionOk="0">
                  <a:moveTo>
                    <a:pt x="1" y="1"/>
                  </a:moveTo>
                  <a:lnTo>
                    <a:pt x="15"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021" name="Google Shape;4021;p104"/>
            <p:cNvSpPr/>
            <p:nvPr/>
          </p:nvSpPr>
          <p:spPr>
            <a:xfrm>
              <a:off x="2306153" y="1772952"/>
              <a:ext cx="8296" cy="11568"/>
            </a:xfrm>
            <a:custGeom>
              <a:avLst/>
              <a:gdLst/>
              <a:ahLst/>
              <a:cxnLst/>
              <a:rect l="l" t="t" r="r" b="b"/>
              <a:pathLst>
                <a:path w="611" h="852" extrusionOk="0">
                  <a:moveTo>
                    <a:pt x="386" y="1"/>
                  </a:moveTo>
                  <a:lnTo>
                    <a:pt x="386" y="8"/>
                  </a:lnTo>
                  <a:cubicBezTo>
                    <a:pt x="386" y="123"/>
                    <a:pt x="284" y="295"/>
                    <a:pt x="169" y="495"/>
                  </a:cubicBezTo>
                  <a:cubicBezTo>
                    <a:pt x="109" y="593"/>
                    <a:pt x="50" y="694"/>
                    <a:pt x="1" y="792"/>
                  </a:cubicBezTo>
                  <a:lnTo>
                    <a:pt x="144" y="852"/>
                  </a:lnTo>
                  <a:lnTo>
                    <a:pt x="155" y="834"/>
                  </a:lnTo>
                  <a:lnTo>
                    <a:pt x="169" y="813"/>
                  </a:lnTo>
                  <a:lnTo>
                    <a:pt x="186" y="782"/>
                  </a:lnTo>
                  <a:lnTo>
                    <a:pt x="204" y="754"/>
                  </a:lnTo>
                  <a:lnTo>
                    <a:pt x="221" y="722"/>
                  </a:lnTo>
                  <a:lnTo>
                    <a:pt x="235" y="705"/>
                  </a:lnTo>
                  <a:lnTo>
                    <a:pt x="253" y="680"/>
                  </a:lnTo>
                  <a:lnTo>
                    <a:pt x="263" y="663"/>
                  </a:lnTo>
                  <a:lnTo>
                    <a:pt x="281" y="638"/>
                  </a:lnTo>
                  <a:lnTo>
                    <a:pt x="295" y="617"/>
                  </a:lnTo>
                  <a:lnTo>
                    <a:pt x="309" y="596"/>
                  </a:lnTo>
                  <a:lnTo>
                    <a:pt x="323" y="579"/>
                  </a:lnTo>
                  <a:lnTo>
                    <a:pt x="340" y="554"/>
                  </a:lnTo>
                  <a:lnTo>
                    <a:pt x="351" y="537"/>
                  </a:lnTo>
                  <a:lnTo>
                    <a:pt x="368" y="516"/>
                  </a:lnTo>
                  <a:lnTo>
                    <a:pt x="382" y="498"/>
                  </a:lnTo>
                  <a:lnTo>
                    <a:pt x="396" y="477"/>
                  </a:lnTo>
                  <a:lnTo>
                    <a:pt x="410" y="463"/>
                  </a:lnTo>
                  <a:lnTo>
                    <a:pt x="424" y="446"/>
                  </a:lnTo>
                  <a:lnTo>
                    <a:pt x="435" y="432"/>
                  </a:lnTo>
                  <a:lnTo>
                    <a:pt x="449" y="414"/>
                  </a:lnTo>
                  <a:lnTo>
                    <a:pt x="463" y="400"/>
                  </a:lnTo>
                  <a:lnTo>
                    <a:pt x="477" y="382"/>
                  </a:lnTo>
                  <a:lnTo>
                    <a:pt x="484" y="372"/>
                  </a:lnTo>
                  <a:lnTo>
                    <a:pt x="498" y="358"/>
                  </a:lnTo>
                  <a:lnTo>
                    <a:pt x="508" y="347"/>
                  </a:lnTo>
                  <a:lnTo>
                    <a:pt x="522" y="333"/>
                  </a:lnTo>
                  <a:lnTo>
                    <a:pt x="526" y="326"/>
                  </a:lnTo>
                  <a:lnTo>
                    <a:pt x="547" y="309"/>
                  </a:lnTo>
                  <a:cubicBezTo>
                    <a:pt x="596" y="253"/>
                    <a:pt x="610" y="176"/>
                    <a:pt x="586" y="106"/>
                  </a:cubicBezTo>
                  <a:cubicBezTo>
                    <a:pt x="582" y="95"/>
                    <a:pt x="575" y="85"/>
                    <a:pt x="568" y="74"/>
                  </a:cubicBezTo>
                  <a:lnTo>
                    <a:pt x="561" y="67"/>
                  </a:lnTo>
                  <a:cubicBezTo>
                    <a:pt x="558" y="60"/>
                    <a:pt x="551" y="57"/>
                    <a:pt x="547" y="50"/>
                  </a:cubicBezTo>
                  <a:lnTo>
                    <a:pt x="537" y="43"/>
                  </a:lnTo>
                  <a:cubicBezTo>
                    <a:pt x="533" y="39"/>
                    <a:pt x="526" y="36"/>
                    <a:pt x="519" y="32"/>
                  </a:cubicBezTo>
                  <a:lnTo>
                    <a:pt x="508" y="25"/>
                  </a:lnTo>
                  <a:cubicBezTo>
                    <a:pt x="501" y="22"/>
                    <a:pt x="494" y="22"/>
                    <a:pt x="484" y="18"/>
                  </a:cubicBezTo>
                  <a:lnTo>
                    <a:pt x="477" y="15"/>
                  </a:lnTo>
                  <a:cubicBezTo>
                    <a:pt x="466" y="11"/>
                    <a:pt x="456" y="8"/>
                    <a:pt x="445" y="8"/>
                  </a:cubicBezTo>
                  <a:lnTo>
                    <a:pt x="428" y="4"/>
                  </a:lnTo>
                  <a:lnTo>
                    <a:pt x="410"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022" name="Google Shape;4022;p104"/>
            <p:cNvSpPr/>
            <p:nvPr/>
          </p:nvSpPr>
          <p:spPr>
            <a:xfrm>
              <a:off x="2309669" y="1752192"/>
              <a:ext cx="47929" cy="38750"/>
            </a:xfrm>
            <a:custGeom>
              <a:avLst/>
              <a:gdLst/>
              <a:ahLst/>
              <a:cxnLst/>
              <a:rect l="l" t="t" r="r" b="b"/>
              <a:pathLst>
                <a:path w="3530" h="2854" extrusionOk="0">
                  <a:moveTo>
                    <a:pt x="3460" y="0"/>
                  </a:moveTo>
                  <a:cubicBezTo>
                    <a:pt x="3297" y="55"/>
                    <a:pt x="3126" y="84"/>
                    <a:pt x="2953" y="84"/>
                  </a:cubicBezTo>
                  <a:cubicBezTo>
                    <a:pt x="2918" y="84"/>
                    <a:pt x="2882" y="83"/>
                    <a:pt x="2847" y="81"/>
                  </a:cubicBezTo>
                  <a:cubicBezTo>
                    <a:pt x="2837" y="80"/>
                    <a:pt x="2828" y="80"/>
                    <a:pt x="2818" y="80"/>
                  </a:cubicBezTo>
                  <a:cubicBezTo>
                    <a:pt x="2692" y="80"/>
                    <a:pt x="2613" y="123"/>
                    <a:pt x="2522" y="175"/>
                  </a:cubicBezTo>
                  <a:cubicBezTo>
                    <a:pt x="2403" y="256"/>
                    <a:pt x="2262" y="298"/>
                    <a:pt x="2119" y="298"/>
                  </a:cubicBezTo>
                  <a:cubicBezTo>
                    <a:pt x="2014" y="298"/>
                    <a:pt x="1912" y="305"/>
                    <a:pt x="1811" y="319"/>
                  </a:cubicBezTo>
                  <a:cubicBezTo>
                    <a:pt x="1747" y="325"/>
                    <a:pt x="1691" y="331"/>
                    <a:pt x="1641" y="331"/>
                  </a:cubicBezTo>
                  <a:cubicBezTo>
                    <a:pt x="1556" y="331"/>
                    <a:pt x="1490" y="314"/>
                    <a:pt x="1440" y="252"/>
                  </a:cubicBezTo>
                  <a:cubicBezTo>
                    <a:pt x="1419" y="224"/>
                    <a:pt x="1412" y="221"/>
                    <a:pt x="1408" y="221"/>
                  </a:cubicBezTo>
                  <a:cubicBezTo>
                    <a:pt x="1380" y="231"/>
                    <a:pt x="1349" y="245"/>
                    <a:pt x="1321" y="263"/>
                  </a:cubicBezTo>
                  <a:cubicBezTo>
                    <a:pt x="1286" y="280"/>
                    <a:pt x="1233" y="305"/>
                    <a:pt x="1174" y="336"/>
                  </a:cubicBezTo>
                  <a:cubicBezTo>
                    <a:pt x="1146" y="350"/>
                    <a:pt x="1114" y="361"/>
                    <a:pt x="1086" y="371"/>
                  </a:cubicBezTo>
                  <a:cubicBezTo>
                    <a:pt x="1013" y="399"/>
                    <a:pt x="932" y="413"/>
                    <a:pt x="855" y="413"/>
                  </a:cubicBezTo>
                  <a:cubicBezTo>
                    <a:pt x="810" y="413"/>
                    <a:pt x="764" y="406"/>
                    <a:pt x="722" y="392"/>
                  </a:cubicBezTo>
                  <a:cubicBezTo>
                    <a:pt x="680" y="378"/>
                    <a:pt x="642" y="354"/>
                    <a:pt x="610" y="326"/>
                  </a:cubicBezTo>
                  <a:lnTo>
                    <a:pt x="600" y="319"/>
                  </a:lnTo>
                  <a:cubicBezTo>
                    <a:pt x="589" y="315"/>
                    <a:pt x="582" y="312"/>
                    <a:pt x="572" y="312"/>
                  </a:cubicBezTo>
                  <a:cubicBezTo>
                    <a:pt x="570" y="310"/>
                    <a:pt x="568" y="309"/>
                    <a:pt x="567" y="309"/>
                  </a:cubicBezTo>
                  <a:cubicBezTo>
                    <a:pt x="565" y="309"/>
                    <a:pt x="565" y="310"/>
                    <a:pt x="565" y="312"/>
                  </a:cubicBezTo>
                  <a:cubicBezTo>
                    <a:pt x="526" y="336"/>
                    <a:pt x="505" y="375"/>
                    <a:pt x="498" y="417"/>
                  </a:cubicBezTo>
                  <a:cubicBezTo>
                    <a:pt x="495" y="431"/>
                    <a:pt x="495" y="445"/>
                    <a:pt x="491" y="462"/>
                  </a:cubicBezTo>
                  <a:cubicBezTo>
                    <a:pt x="491" y="469"/>
                    <a:pt x="491" y="476"/>
                    <a:pt x="491" y="483"/>
                  </a:cubicBezTo>
                  <a:lnTo>
                    <a:pt x="491" y="494"/>
                  </a:lnTo>
                  <a:lnTo>
                    <a:pt x="491" y="508"/>
                  </a:lnTo>
                  <a:lnTo>
                    <a:pt x="491" y="518"/>
                  </a:lnTo>
                  <a:cubicBezTo>
                    <a:pt x="491" y="525"/>
                    <a:pt x="491" y="529"/>
                    <a:pt x="488" y="536"/>
                  </a:cubicBezTo>
                  <a:cubicBezTo>
                    <a:pt x="484" y="539"/>
                    <a:pt x="488" y="543"/>
                    <a:pt x="484" y="546"/>
                  </a:cubicBezTo>
                  <a:cubicBezTo>
                    <a:pt x="484" y="550"/>
                    <a:pt x="484" y="557"/>
                    <a:pt x="481" y="560"/>
                  </a:cubicBezTo>
                  <a:lnTo>
                    <a:pt x="477" y="574"/>
                  </a:lnTo>
                  <a:cubicBezTo>
                    <a:pt x="477" y="578"/>
                    <a:pt x="477" y="585"/>
                    <a:pt x="474" y="588"/>
                  </a:cubicBezTo>
                  <a:lnTo>
                    <a:pt x="470" y="602"/>
                  </a:lnTo>
                  <a:cubicBezTo>
                    <a:pt x="470" y="609"/>
                    <a:pt x="467" y="613"/>
                    <a:pt x="463" y="620"/>
                  </a:cubicBezTo>
                  <a:lnTo>
                    <a:pt x="460" y="630"/>
                  </a:lnTo>
                  <a:lnTo>
                    <a:pt x="453" y="648"/>
                  </a:lnTo>
                  <a:lnTo>
                    <a:pt x="446" y="662"/>
                  </a:lnTo>
                  <a:lnTo>
                    <a:pt x="435" y="676"/>
                  </a:lnTo>
                  <a:lnTo>
                    <a:pt x="428" y="690"/>
                  </a:lnTo>
                  <a:lnTo>
                    <a:pt x="418" y="704"/>
                  </a:lnTo>
                  <a:lnTo>
                    <a:pt x="407" y="714"/>
                  </a:lnTo>
                  <a:lnTo>
                    <a:pt x="393" y="732"/>
                  </a:lnTo>
                  <a:lnTo>
                    <a:pt x="379" y="742"/>
                  </a:lnTo>
                  <a:lnTo>
                    <a:pt x="365" y="756"/>
                  </a:lnTo>
                  <a:lnTo>
                    <a:pt x="351" y="767"/>
                  </a:lnTo>
                  <a:lnTo>
                    <a:pt x="334" y="777"/>
                  </a:lnTo>
                  <a:lnTo>
                    <a:pt x="316" y="788"/>
                  </a:lnTo>
                  <a:lnTo>
                    <a:pt x="295" y="798"/>
                  </a:lnTo>
                  <a:lnTo>
                    <a:pt x="274" y="809"/>
                  </a:lnTo>
                  <a:lnTo>
                    <a:pt x="249" y="816"/>
                  </a:lnTo>
                  <a:lnTo>
                    <a:pt x="228" y="826"/>
                  </a:lnTo>
                  <a:lnTo>
                    <a:pt x="200" y="833"/>
                  </a:lnTo>
                  <a:lnTo>
                    <a:pt x="176" y="837"/>
                  </a:lnTo>
                  <a:lnTo>
                    <a:pt x="169" y="837"/>
                  </a:lnTo>
                  <a:lnTo>
                    <a:pt x="169" y="840"/>
                  </a:lnTo>
                  <a:cubicBezTo>
                    <a:pt x="151" y="914"/>
                    <a:pt x="134" y="980"/>
                    <a:pt x="162" y="1015"/>
                  </a:cubicBezTo>
                  <a:cubicBezTo>
                    <a:pt x="242" y="1113"/>
                    <a:pt x="204" y="1222"/>
                    <a:pt x="172" y="1323"/>
                  </a:cubicBezTo>
                  <a:cubicBezTo>
                    <a:pt x="165" y="1348"/>
                    <a:pt x="155" y="1372"/>
                    <a:pt x="148" y="1397"/>
                  </a:cubicBezTo>
                  <a:lnTo>
                    <a:pt x="176" y="1400"/>
                  </a:lnTo>
                  <a:lnTo>
                    <a:pt x="186" y="1400"/>
                  </a:lnTo>
                  <a:lnTo>
                    <a:pt x="211" y="1404"/>
                  </a:lnTo>
                  <a:lnTo>
                    <a:pt x="221" y="1404"/>
                  </a:lnTo>
                  <a:lnTo>
                    <a:pt x="242" y="1411"/>
                  </a:lnTo>
                  <a:lnTo>
                    <a:pt x="253" y="1411"/>
                  </a:lnTo>
                  <a:lnTo>
                    <a:pt x="274" y="1418"/>
                  </a:lnTo>
                  <a:lnTo>
                    <a:pt x="281" y="1421"/>
                  </a:lnTo>
                  <a:lnTo>
                    <a:pt x="299" y="1428"/>
                  </a:lnTo>
                  <a:lnTo>
                    <a:pt x="306" y="1432"/>
                  </a:lnTo>
                  <a:lnTo>
                    <a:pt x="323" y="1439"/>
                  </a:lnTo>
                  <a:lnTo>
                    <a:pt x="327" y="1439"/>
                  </a:lnTo>
                  <a:cubicBezTo>
                    <a:pt x="341" y="1446"/>
                    <a:pt x="351" y="1453"/>
                    <a:pt x="362" y="1460"/>
                  </a:cubicBezTo>
                  <a:lnTo>
                    <a:pt x="365" y="1463"/>
                  </a:lnTo>
                  <a:lnTo>
                    <a:pt x="372" y="1474"/>
                  </a:lnTo>
                  <a:lnTo>
                    <a:pt x="383" y="1481"/>
                  </a:lnTo>
                  <a:lnTo>
                    <a:pt x="390" y="1488"/>
                  </a:lnTo>
                  <a:lnTo>
                    <a:pt x="397" y="1495"/>
                  </a:lnTo>
                  <a:lnTo>
                    <a:pt x="404" y="1502"/>
                  </a:lnTo>
                  <a:lnTo>
                    <a:pt x="411" y="1512"/>
                  </a:lnTo>
                  <a:lnTo>
                    <a:pt x="418" y="1519"/>
                  </a:lnTo>
                  <a:lnTo>
                    <a:pt x="425" y="1526"/>
                  </a:lnTo>
                  <a:lnTo>
                    <a:pt x="428" y="1533"/>
                  </a:lnTo>
                  <a:lnTo>
                    <a:pt x="432" y="1544"/>
                  </a:lnTo>
                  <a:lnTo>
                    <a:pt x="435" y="1547"/>
                  </a:lnTo>
                  <a:lnTo>
                    <a:pt x="442" y="1558"/>
                  </a:lnTo>
                  <a:lnTo>
                    <a:pt x="446" y="1565"/>
                  </a:lnTo>
                  <a:lnTo>
                    <a:pt x="449" y="1575"/>
                  </a:lnTo>
                  <a:cubicBezTo>
                    <a:pt x="495" y="1698"/>
                    <a:pt x="467" y="1838"/>
                    <a:pt x="376" y="1929"/>
                  </a:cubicBezTo>
                  <a:lnTo>
                    <a:pt x="358" y="1943"/>
                  </a:lnTo>
                  <a:lnTo>
                    <a:pt x="355" y="1950"/>
                  </a:lnTo>
                  <a:lnTo>
                    <a:pt x="344" y="1961"/>
                  </a:lnTo>
                  <a:lnTo>
                    <a:pt x="337" y="1968"/>
                  </a:lnTo>
                  <a:lnTo>
                    <a:pt x="323" y="1982"/>
                  </a:lnTo>
                  <a:lnTo>
                    <a:pt x="316" y="1992"/>
                  </a:lnTo>
                  <a:lnTo>
                    <a:pt x="302" y="2006"/>
                  </a:lnTo>
                  <a:lnTo>
                    <a:pt x="295" y="2017"/>
                  </a:lnTo>
                  <a:lnTo>
                    <a:pt x="278" y="2034"/>
                  </a:lnTo>
                  <a:lnTo>
                    <a:pt x="270" y="2045"/>
                  </a:lnTo>
                  <a:lnTo>
                    <a:pt x="253" y="2066"/>
                  </a:lnTo>
                  <a:lnTo>
                    <a:pt x="246" y="2076"/>
                  </a:lnTo>
                  <a:lnTo>
                    <a:pt x="228" y="2097"/>
                  </a:lnTo>
                  <a:lnTo>
                    <a:pt x="218" y="2111"/>
                  </a:lnTo>
                  <a:lnTo>
                    <a:pt x="200" y="2132"/>
                  </a:lnTo>
                  <a:lnTo>
                    <a:pt x="190" y="2146"/>
                  </a:lnTo>
                  <a:lnTo>
                    <a:pt x="172" y="2171"/>
                  </a:lnTo>
                  <a:lnTo>
                    <a:pt x="162" y="2185"/>
                  </a:lnTo>
                  <a:lnTo>
                    <a:pt x="144" y="2213"/>
                  </a:lnTo>
                  <a:lnTo>
                    <a:pt x="134" y="2227"/>
                  </a:lnTo>
                  <a:lnTo>
                    <a:pt x="116" y="2255"/>
                  </a:lnTo>
                  <a:lnTo>
                    <a:pt x="106" y="2265"/>
                  </a:lnTo>
                  <a:lnTo>
                    <a:pt x="81" y="2304"/>
                  </a:lnTo>
                  <a:lnTo>
                    <a:pt x="78" y="2307"/>
                  </a:lnTo>
                  <a:lnTo>
                    <a:pt x="50" y="2353"/>
                  </a:lnTo>
                  <a:lnTo>
                    <a:pt x="25" y="2395"/>
                  </a:lnTo>
                  <a:lnTo>
                    <a:pt x="18" y="2409"/>
                  </a:lnTo>
                  <a:lnTo>
                    <a:pt x="1" y="2437"/>
                  </a:lnTo>
                  <a:lnTo>
                    <a:pt x="43" y="2619"/>
                  </a:lnTo>
                  <a:lnTo>
                    <a:pt x="474" y="2853"/>
                  </a:lnTo>
                  <a:cubicBezTo>
                    <a:pt x="572" y="2787"/>
                    <a:pt x="848" y="2605"/>
                    <a:pt x="988" y="2584"/>
                  </a:cubicBezTo>
                  <a:lnTo>
                    <a:pt x="995" y="2584"/>
                  </a:lnTo>
                  <a:cubicBezTo>
                    <a:pt x="1030" y="2573"/>
                    <a:pt x="1163" y="2521"/>
                    <a:pt x="1667" y="2262"/>
                  </a:cubicBezTo>
                  <a:lnTo>
                    <a:pt x="1727" y="2234"/>
                  </a:lnTo>
                  <a:cubicBezTo>
                    <a:pt x="2196" y="1989"/>
                    <a:pt x="2732" y="1701"/>
                    <a:pt x="2830" y="1652"/>
                  </a:cubicBezTo>
                  <a:cubicBezTo>
                    <a:pt x="2896" y="1544"/>
                    <a:pt x="2949" y="1425"/>
                    <a:pt x="2942" y="1393"/>
                  </a:cubicBezTo>
                  <a:cubicBezTo>
                    <a:pt x="2924" y="1327"/>
                    <a:pt x="2886" y="1043"/>
                    <a:pt x="2998" y="903"/>
                  </a:cubicBezTo>
                  <a:cubicBezTo>
                    <a:pt x="3015" y="882"/>
                    <a:pt x="3001" y="837"/>
                    <a:pt x="2973" y="767"/>
                  </a:cubicBezTo>
                  <a:cubicBezTo>
                    <a:pt x="2942" y="683"/>
                    <a:pt x="2903" y="578"/>
                    <a:pt x="2945" y="469"/>
                  </a:cubicBezTo>
                  <a:cubicBezTo>
                    <a:pt x="3012" y="287"/>
                    <a:pt x="3264" y="193"/>
                    <a:pt x="3320" y="172"/>
                  </a:cubicBezTo>
                  <a:lnTo>
                    <a:pt x="3530" y="21"/>
                  </a:lnTo>
                  <a:lnTo>
                    <a:pt x="3460"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023" name="Google Shape;4023;p104"/>
            <p:cNvSpPr/>
            <p:nvPr/>
          </p:nvSpPr>
          <p:spPr>
            <a:xfrm>
              <a:off x="2314625" y="1772192"/>
              <a:ext cx="109" cy="109"/>
            </a:xfrm>
            <a:custGeom>
              <a:avLst/>
              <a:gdLst/>
              <a:ahLst/>
              <a:cxnLst/>
              <a:rect l="l" t="t" r="r" b="b"/>
              <a:pathLst>
                <a:path w="8" h="8" extrusionOk="0">
                  <a:moveTo>
                    <a:pt x="7" y="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024" name="Google Shape;4024;p104"/>
            <p:cNvSpPr/>
            <p:nvPr/>
          </p:nvSpPr>
          <p:spPr>
            <a:xfrm>
              <a:off x="2313770" y="1779334"/>
              <a:ext cx="190" cy="204"/>
            </a:xfrm>
            <a:custGeom>
              <a:avLst/>
              <a:gdLst/>
              <a:ahLst/>
              <a:cxnLst/>
              <a:rect l="l" t="t" r="r" b="b"/>
              <a:pathLst>
                <a:path w="14" h="15" extrusionOk="0">
                  <a:moveTo>
                    <a:pt x="0" y="14"/>
                  </a:moveTo>
                  <a:lnTo>
                    <a:pt x="14"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025" name="Google Shape;4025;p104"/>
            <p:cNvSpPr/>
            <p:nvPr/>
          </p:nvSpPr>
          <p:spPr>
            <a:xfrm>
              <a:off x="2315671" y="1773427"/>
              <a:ext cx="14" cy="109"/>
            </a:xfrm>
            <a:custGeom>
              <a:avLst/>
              <a:gdLst/>
              <a:ahLst/>
              <a:cxnLst/>
              <a:rect l="l" t="t" r="r" b="b"/>
              <a:pathLst>
                <a:path w="1" h="8" extrusionOk="0">
                  <a:moveTo>
                    <a:pt x="0" y="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026" name="Google Shape;4026;p104"/>
            <p:cNvSpPr/>
            <p:nvPr/>
          </p:nvSpPr>
          <p:spPr>
            <a:xfrm>
              <a:off x="2315521" y="1773237"/>
              <a:ext cx="68" cy="68"/>
            </a:xfrm>
            <a:custGeom>
              <a:avLst/>
              <a:gdLst/>
              <a:ahLst/>
              <a:cxnLst/>
              <a:rect l="l" t="t" r="r" b="b"/>
              <a:pathLst>
                <a:path w="5" h="5" extrusionOk="0">
                  <a:moveTo>
                    <a:pt x="4" y="4"/>
                  </a:moveTo>
                  <a:lnTo>
                    <a:pt x="1"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027" name="Google Shape;4027;p104"/>
            <p:cNvSpPr/>
            <p:nvPr/>
          </p:nvSpPr>
          <p:spPr>
            <a:xfrm>
              <a:off x="2313485" y="1771527"/>
              <a:ext cx="244" cy="163"/>
            </a:xfrm>
            <a:custGeom>
              <a:avLst/>
              <a:gdLst/>
              <a:ahLst/>
              <a:cxnLst/>
              <a:rect l="l" t="t" r="r" b="b"/>
              <a:pathLst>
                <a:path w="18" h="12" extrusionOk="0">
                  <a:moveTo>
                    <a:pt x="18" y="1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028" name="Google Shape;4028;p104"/>
            <p:cNvSpPr/>
            <p:nvPr/>
          </p:nvSpPr>
          <p:spPr>
            <a:xfrm>
              <a:off x="2314055" y="1779048"/>
              <a:ext cx="149" cy="149"/>
            </a:xfrm>
            <a:custGeom>
              <a:avLst/>
              <a:gdLst/>
              <a:ahLst/>
              <a:cxnLst/>
              <a:rect l="l" t="t" r="r" b="b"/>
              <a:pathLst>
                <a:path w="11" h="11" extrusionOk="0">
                  <a:moveTo>
                    <a:pt x="0" y="11"/>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029" name="Google Shape;4029;p104"/>
            <p:cNvSpPr/>
            <p:nvPr/>
          </p:nvSpPr>
          <p:spPr>
            <a:xfrm>
              <a:off x="2314530" y="1778519"/>
              <a:ext cx="204" cy="149"/>
            </a:xfrm>
            <a:custGeom>
              <a:avLst/>
              <a:gdLst/>
              <a:ahLst/>
              <a:cxnLst/>
              <a:rect l="l" t="t" r="r" b="b"/>
              <a:pathLst>
                <a:path w="15" h="11" extrusionOk="0">
                  <a:moveTo>
                    <a:pt x="0" y="11"/>
                  </a:moveTo>
                  <a:lnTo>
                    <a:pt x="14"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030" name="Google Shape;4030;p104"/>
            <p:cNvSpPr/>
            <p:nvPr/>
          </p:nvSpPr>
          <p:spPr>
            <a:xfrm>
              <a:off x="2313811" y="1771676"/>
              <a:ext cx="244" cy="149"/>
            </a:xfrm>
            <a:custGeom>
              <a:avLst/>
              <a:gdLst/>
              <a:ahLst/>
              <a:cxnLst/>
              <a:rect l="l" t="t" r="r" b="b"/>
              <a:pathLst>
                <a:path w="18" h="11" extrusionOk="0">
                  <a:moveTo>
                    <a:pt x="18" y="11"/>
                  </a:moveTo>
                  <a:lnTo>
                    <a:pt x="1"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031" name="Google Shape;4031;p104"/>
            <p:cNvSpPr/>
            <p:nvPr/>
          </p:nvSpPr>
          <p:spPr>
            <a:xfrm>
              <a:off x="2314096" y="1771866"/>
              <a:ext cx="448" cy="299"/>
            </a:xfrm>
            <a:custGeom>
              <a:avLst/>
              <a:gdLst/>
              <a:ahLst/>
              <a:cxnLst/>
              <a:rect l="l" t="t" r="r" b="b"/>
              <a:pathLst>
                <a:path w="33" h="22" extrusionOk="0">
                  <a:moveTo>
                    <a:pt x="32" y="21"/>
                  </a:moveTo>
                  <a:cubicBezTo>
                    <a:pt x="22" y="11"/>
                    <a:pt x="11" y="4"/>
                    <a:pt x="1" y="0"/>
                  </a:cubicBezTo>
                  <a:cubicBezTo>
                    <a:pt x="11" y="4"/>
                    <a:pt x="22" y="11"/>
                    <a:pt x="32" y="2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032" name="Google Shape;4032;p104"/>
            <p:cNvSpPr/>
            <p:nvPr/>
          </p:nvSpPr>
          <p:spPr>
            <a:xfrm>
              <a:off x="2315386" y="1773006"/>
              <a:ext cx="54" cy="109"/>
            </a:xfrm>
            <a:custGeom>
              <a:avLst/>
              <a:gdLst/>
              <a:ahLst/>
              <a:cxnLst/>
              <a:rect l="l" t="t" r="r" b="b"/>
              <a:pathLst>
                <a:path w="4" h="8" extrusionOk="0">
                  <a:moveTo>
                    <a:pt x="4" y="7"/>
                  </a:moveTo>
                  <a:lnTo>
                    <a:pt x="0"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033" name="Google Shape;4033;p104"/>
            <p:cNvSpPr/>
            <p:nvPr/>
          </p:nvSpPr>
          <p:spPr>
            <a:xfrm>
              <a:off x="2315236" y="1772816"/>
              <a:ext cx="109" cy="109"/>
            </a:xfrm>
            <a:custGeom>
              <a:avLst/>
              <a:gdLst/>
              <a:ahLst/>
              <a:cxnLst/>
              <a:rect l="l" t="t" r="r" b="b"/>
              <a:pathLst>
                <a:path w="8" h="8" extrusionOk="0">
                  <a:moveTo>
                    <a:pt x="8" y="7"/>
                  </a:moveTo>
                  <a:lnTo>
                    <a:pt x="1"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034" name="Google Shape;4034;p104"/>
            <p:cNvSpPr/>
            <p:nvPr/>
          </p:nvSpPr>
          <p:spPr>
            <a:xfrm>
              <a:off x="2315046" y="1772572"/>
              <a:ext cx="109" cy="109"/>
            </a:xfrm>
            <a:custGeom>
              <a:avLst/>
              <a:gdLst/>
              <a:ahLst/>
              <a:cxnLst/>
              <a:rect l="l" t="t" r="r" b="b"/>
              <a:pathLst>
                <a:path w="8" h="8" extrusionOk="0">
                  <a:moveTo>
                    <a:pt x="8" y="8"/>
                  </a:moveTo>
                  <a:lnTo>
                    <a:pt x="1"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035" name="Google Shape;4035;p104"/>
            <p:cNvSpPr/>
            <p:nvPr/>
          </p:nvSpPr>
          <p:spPr>
            <a:xfrm>
              <a:off x="2314286" y="1778709"/>
              <a:ext cx="204" cy="204"/>
            </a:xfrm>
            <a:custGeom>
              <a:avLst/>
              <a:gdLst/>
              <a:ahLst/>
              <a:cxnLst/>
              <a:rect l="l" t="t" r="r" b="b"/>
              <a:pathLst>
                <a:path w="15" h="15" extrusionOk="0">
                  <a:moveTo>
                    <a:pt x="1" y="15"/>
                  </a:moveTo>
                  <a:lnTo>
                    <a:pt x="15"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036" name="Google Shape;4036;p104"/>
            <p:cNvSpPr/>
            <p:nvPr/>
          </p:nvSpPr>
          <p:spPr>
            <a:xfrm>
              <a:off x="2310769" y="1783081"/>
              <a:ext cx="339" cy="543"/>
            </a:xfrm>
            <a:custGeom>
              <a:avLst/>
              <a:gdLst/>
              <a:ahLst/>
              <a:cxnLst/>
              <a:rect l="l" t="t" r="r" b="b"/>
              <a:pathLst>
                <a:path w="25" h="40" extrusionOk="0">
                  <a:moveTo>
                    <a:pt x="0" y="39"/>
                  </a:moveTo>
                  <a:lnTo>
                    <a:pt x="25"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037" name="Google Shape;4037;p104"/>
            <p:cNvSpPr/>
            <p:nvPr/>
          </p:nvSpPr>
          <p:spPr>
            <a:xfrm>
              <a:off x="2310335" y="1783651"/>
              <a:ext cx="394" cy="638"/>
            </a:xfrm>
            <a:custGeom>
              <a:avLst/>
              <a:gdLst/>
              <a:ahLst/>
              <a:cxnLst/>
              <a:rect l="l" t="t" r="r" b="b"/>
              <a:pathLst>
                <a:path w="29" h="47" extrusionOk="0">
                  <a:moveTo>
                    <a:pt x="1" y="46"/>
                  </a:moveTo>
                  <a:lnTo>
                    <a:pt x="29"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038" name="Google Shape;4038;p104"/>
            <p:cNvSpPr/>
            <p:nvPr/>
          </p:nvSpPr>
          <p:spPr>
            <a:xfrm>
              <a:off x="2309669" y="1784982"/>
              <a:ext cx="258" cy="394"/>
            </a:xfrm>
            <a:custGeom>
              <a:avLst/>
              <a:gdLst/>
              <a:ahLst/>
              <a:cxnLst/>
              <a:rect l="l" t="t" r="r" b="b"/>
              <a:pathLst>
                <a:path w="19" h="29" extrusionOk="0">
                  <a:moveTo>
                    <a:pt x="1" y="29"/>
                  </a:moveTo>
                  <a:lnTo>
                    <a:pt x="1" y="29"/>
                  </a:lnTo>
                  <a:lnTo>
                    <a:pt x="18"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039" name="Google Shape;4039;p104"/>
            <p:cNvSpPr/>
            <p:nvPr/>
          </p:nvSpPr>
          <p:spPr>
            <a:xfrm>
              <a:off x="2313430" y="1779659"/>
              <a:ext cx="204" cy="258"/>
            </a:xfrm>
            <a:custGeom>
              <a:avLst/>
              <a:gdLst/>
              <a:ahLst/>
              <a:cxnLst/>
              <a:rect l="l" t="t" r="r" b="b"/>
              <a:pathLst>
                <a:path w="15" h="19" extrusionOk="0">
                  <a:moveTo>
                    <a:pt x="1" y="18"/>
                  </a:moveTo>
                  <a:lnTo>
                    <a:pt x="15"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040" name="Google Shape;4040;p104"/>
            <p:cNvSpPr/>
            <p:nvPr/>
          </p:nvSpPr>
          <p:spPr>
            <a:xfrm>
              <a:off x="2311190" y="1782511"/>
              <a:ext cx="299" cy="394"/>
            </a:xfrm>
            <a:custGeom>
              <a:avLst/>
              <a:gdLst/>
              <a:ahLst/>
              <a:cxnLst/>
              <a:rect l="l" t="t" r="r" b="b"/>
              <a:pathLst>
                <a:path w="22" h="29" extrusionOk="0">
                  <a:moveTo>
                    <a:pt x="1" y="29"/>
                  </a:moveTo>
                  <a:lnTo>
                    <a:pt x="22"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041" name="Google Shape;4041;p104"/>
            <p:cNvSpPr/>
            <p:nvPr/>
          </p:nvSpPr>
          <p:spPr>
            <a:xfrm>
              <a:off x="2314856" y="1772382"/>
              <a:ext cx="109" cy="109"/>
            </a:xfrm>
            <a:custGeom>
              <a:avLst/>
              <a:gdLst/>
              <a:ahLst/>
              <a:cxnLst/>
              <a:rect l="l" t="t" r="r" b="b"/>
              <a:pathLst>
                <a:path w="8" h="8" extrusionOk="0">
                  <a:moveTo>
                    <a:pt x="1" y="1"/>
                  </a:moveTo>
                  <a:lnTo>
                    <a:pt x="8" y="8"/>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042" name="Google Shape;4042;p104"/>
            <p:cNvSpPr/>
            <p:nvPr/>
          </p:nvSpPr>
          <p:spPr>
            <a:xfrm>
              <a:off x="2313091" y="1780094"/>
              <a:ext cx="258" cy="244"/>
            </a:xfrm>
            <a:custGeom>
              <a:avLst/>
              <a:gdLst/>
              <a:ahLst/>
              <a:cxnLst/>
              <a:rect l="l" t="t" r="r" b="b"/>
              <a:pathLst>
                <a:path w="19" h="18" extrusionOk="0">
                  <a:moveTo>
                    <a:pt x="1" y="18"/>
                  </a:moveTo>
                  <a:lnTo>
                    <a:pt x="18"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043" name="Google Shape;4043;p104"/>
            <p:cNvSpPr/>
            <p:nvPr/>
          </p:nvSpPr>
          <p:spPr>
            <a:xfrm>
              <a:off x="2312765" y="1780515"/>
              <a:ext cx="244" cy="299"/>
            </a:xfrm>
            <a:custGeom>
              <a:avLst/>
              <a:gdLst/>
              <a:ahLst/>
              <a:cxnLst/>
              <a:rect l="l" t="t" r="r" b="b"/>
              <a:pathLst>
                <a:path w="18" h="22" extrusionOk="0">
                  <a:moveTo>
                    <a:pt x="0" y="22"/>
                  </a:moveTo>
                  <a:lnTo>
                    <a:pt x="18"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044" name="Google Shape;4044;p104"/>
            <p:cNvSpPr/>
            <p:nvPr/>
          </p:nvSpPr>
          <p:spPr>
            <a:xfrm>
              <a:off x="2312385" y="1780990"/>
              <a:ext cx="244" cy="299"/>
            </a:xfrm>
            <a:custGeom>
              <a:avLst/>
              <a:gdLst/>
              <a:ahLst/>
              <a:cxnLst/>
              <a:rect l="l" t="t" r="r" b="b"/>
              <a:pathLst>
                <a:path w="18" h="22" extrusionOk="0">
                  <a:moveTo>
                    <a:pt x="0" y="22"/>
                  </a:moveTo>
                  <a:lnTo>
                    <a:pt x="18"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045" name="Google Shape;4045;p104"/>
            <p:cNvSpPr/>
            <p:nvPr/>
          </p:nvSpPr>
          <p:spPr>
            <a:xfrm>
              <a:off x="2312005" y="1781465"/>
              <a:ext cx="244" cy="353"/>
            </a:xfrm>
            <a:custGeom>
              <a:avLst/>
              <a:gdLst/>
              <a:ahLst/>
              <a:cxnLst/>
              <a:rect l="l" t="t" r="r" b="b"/>
              <a:pathLst>
                <a:path w="18" h="26" extrusionOk="0">
                  <a:moveTo>
                    <a:pt x="0" y="25"/>
                  </a:moveTo>
                  <a:lnTo>
                    <a:pt x="18"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046" name="Google Shape;4046;p104"/>
            <p:cNvSpPr/>
            <p:nvPr/>
          </p:nvSpPr>
          <p:spPr>
            <a:xfrm>
              <a:off x="2311625" y="1781995"/>
              <a:ext cx="244" cy="339"/>
            </a:xfrm>
            <a:custGeom>
              <a:avLst/>
              <a:gdLst/>
              <a:ahLst/>
              <a:cxnLst/>
              <a:rect l="l" t="t" r="r" b="b"/>
              <a:pathLst>
                <a:path w="18" h="25" extrusionOk="0">
                  <a:moveTo>
                    <a:pt x="0" y="25"/>
                  </a:moveTo>
                  <a:lnTo>
                    <a:pt x="18"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047" name="Google Shape;4047;p104"/>
            <p:cNvSpPr/>
            <p:nvPr/>
          </p:nvSpPr>
          <p:spPr>
            <a:xfrm>
              <a:off x="2309955" y="1784276"/>
              <a:ext cx="394" cy="584"/>
            </a:xfrm>
            <a:custGeom>
              <a:avLst/>
              <a:gdLst/>
              <a:ahLst/>
              <a:cxnLst/>
              <a:rect l="l" t="t" r="r" b="b"/>
              <a:pathLst>
                <a:path w="29" h="43" extrusionOk="0">
                  <a:moveTo>
                    <a:pt x="1" y="42"/>
                  </a:moveTo>
                  <a:lnTo>
                    <a:pt x="29"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048" name="Google Shape;4048;p104"/>
            <p:cNvSpPr/>
            <p:nvPr/>
          </p:nvSpPr>
          <p:spPr>
            <a:xfrm>
              <a:off x="2312141" y="1771241"/>
              <a:ext cx="394" cy="68"/>
            </a:xfrm>
            <a:custGeom>
              <a:avLst/>
              <a:gdLst/>
              <a:ahLst/>
              <a:cxnLst/>
              <a:rect l="l" t="t" r="r" b="b"/>
              <a:pathLst>
                <a:path w="29" h="5" extrusionOk="0">
                  <a:moveTo>
                    <a:pt x="29" y="4"/>
                  </a:moveTo>
                  <a:lnTo>
                    <a:pt x="1"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049" name="Google Shape;4049;p104"/>
            <p:cNvSpPr/>
            <p:nvPr/>
          </p:nvSpPr>
          <p:spPr>
            <a:xfrm>
              <a:off x="2312616" y="1771296"/>
              <a:ext cx="353" cy="109"/>
            </a:xfrm>
            <a:custGeom>
              <a:avLst/>
              <a:gdLst/>
              <a:ahLst/>
              <a:cxnLst/>
              <a:rect l="l" t="t" r="r" b="b"/>
              <a:pathLst>
                <a:path w="26" h="8" extrusionOk="0">
                  <a:moveTo>
                    <a:pt x="25" y="7"/>
                  </a:moveTo>
                  <a:lnTo>
                    <a:pt x="1"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050" name="Google Shape;4050;p104"/>
            <p:cNvSpPr/>
            <p:nvPr/>
          </p:nvSpPr>
          <p:spPr>
            <a:xfrm>
              <a:off x="2311665" y="1771146"/>
              <a:ext cx="394" cy="68"/>
            </a:xfrm>
            <a:custGeom>
              <a:avLst/>
              <a:gdLst/>
              <a:ahLst/>
              <a:cxnLst/>
              <a:rect l="l" t="t" r="r" b="b"/>
              <a:pathLst>
                <a:path w="29" h="5" extrusionOk="0">
                  <a:moveTo>
                    <a:pt x="29" y="4"/>
                  </a:moveTo>
                  <a:lnTo>
                    <a:pt x="1"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051" name="Google Shape;4051;p104"/>
            <p:cNvSpPr/>
            <p:nvPr/>
          </p:nvSpPr>
          <p:spPr>
            <a:xfrm>
              <a:off x="2313050" y="1771431"/>
              <a:ext cx="299" cy="109"/>
            </a:xfrm>
            <a:custGeom>
              <a:avLst/>
              <a:gdLst/>
              <a:ahLst/>
              <a:cxnLst/>
              <a:rect l="l" t="t" r="r" b="b"/>
              <a:pathLst>
                <a:path w="22" h="8" extrusionOk="0">
                  <a:moveTo>
                    <a:pt x="21" y="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052" name="Google Shape;4052;p104"/>
            <p:cNvSpPr/>
            <p:nvPr/>
          </p:nvSpPr>
          <p:spPr>
            <a:xfrm>
              <a:off x="2978891" y="1743340"/>
              <a:ext cx="24684" cy="32355"/>
            </a:xfrm>
            <a:custGeom>
              <a:avLst/>
              <a:gdLst/>
              <a:ahLst/>
              <a:cxnLst/>
              <a:rect l="l" t="t" r="r" b="b"/>
              <a:pathLst>
                <a:path w="1818" h="2383" extrusionOk="0">
                  <a:moveTo>
                    <a:pt x="1135" y="1"/>
                  </a:moveTo>
                  <a:lnTo>
                    <a:pt x="1114" y="15"/>
                  </a:lnTo>
                  <a:lnTo>
                    <a:pt x="1103" y="22"/>
                  </a:lnTo>
                  <a:cubicBezTo>
                    <a:pt x="1089" y="29"/>
                    <a:pt x="1079" y="32"/>
                    <a:pt x="1065" y="39"/>
                  </a:cubicBezTo>
                  <a:lnTo>
                    <a:pt x="1058" y="43"/>
                  </a:lnTo>
                  <a:lnTo>
                    <a:pt x="1030" y="57"/>
                  </a:lnTo>
                  <a:lnTo>
                    <a:pt x="1016" y="60"/>
                  </a:lnTo>
                  <a:lnTo>
                    <a:pt x="991" y="67"/>
                  </a:lnTo>
                  <a:lnTo>
                    <a:pt x="977" y="71"/>
                  </a:lnTo>
                  <a:lnTo>
                    <a:pt x="953" y="78"/>
                  </a:lnTo>
                  <a:lnTo>
                    <a:pt x="935" y="81"/>
                  </a:lnTo>
                  <a:lnTo>
                    <a:pt x="911" y="85"/>
                  </a:lnTo>
                  <a:lnTo>
                    <a:pt x="851" y="85"/>
                  </a:lnTo>
                  <a:cubicBezTo>
                    <a:pt x="536" y="85"/>
                    <a:pt x="434" y="141"/>
                    <a:pt x="403" y="172"/>
                  </a:cubicBezTo>
                  <a:cubicBezTo>
                    <a:pt x="354" y="211"/>
                    <a:pt x="305" y="249"/>
                    <a:pt x="256" y="284"/>
                  </a:cubicBezTo>
                  <a:lnTo>
                    <a:pt x="196" y="330"/>
                  </a:lnTo>
                  <a:lnTo>
                    <a:pt x="182" y="340"/>
                  </a:lnTo>
                  <a:cubicBezTo>
                    <a:pt x="161" y="354"/>
                    <a:pt x="137" y="372"/>
                    <a:pt x="116" y="386"/>
                  </a:cubicBezTo>
                  <a:cubicBezTo>
                    <a:pt x="130" y="414"/>
                    <a:pt x="137" y="445"/>
                    <a:pt x="144" y="473"/>
                  </a:cubicBezTo>
                  <a:cubicBezTo>
                    <a:pt x="168" y="561"/>
                    <a:pt x="182" y="593"/>
                    <a:pt x="210" y="593"/>
                  </a:cubicBezTo>
                  <a:cubicBezTo>
                    <a:pt x="364" y="603"/>
                    <a:pt x="445" y="782"/>
                    <a:pt x="347" y="904"/>
                  </a:cubicBezTo>
                  <a:cubicBezTo>
                    <a:pt x="313" y="943"/>
                    <a:pt x="264" y="965"/>
                    <a:pt x="212" y="965"/>
                  </a:cubicBezTo>
                  <a:cubicBezTo>
                    <a:pt x="194" y="965"/>
                    <a:pt x="176" y="962"/>
                    <a:pt x="158" y="957"/>
                  </a:cubicBezTo>
                  <a:cubicBezTo>
                    <a:pt x="152" y="955"/>
                    <a:pt x="146" y="955"/>
                    <a:pt x="142" y="955"/>
                  </a:cubicBezTo>
                  <a:cubicBezTo>
                    <a:pt x="122" y="955"/>
                    <a:pt x="115" y="964"/>
                    <a:pt x="112" y="967"/>
                  </a:cubicBezTo>
                  <a:cubicBezTo>
                    <a:pt x="77" y="1020"/>
                    <a:pt x="91" y="1188"/>
                    <a:pt x="203" y="1359"/>
                  </a:cubicBezTo>
                  <a:cubicBezTo>
                    <a:pt x="315" y="1531"/>
                    <a:pt x="193" y="1716"/>
                    <a:pt x="102" y="1846"/>
                  </a:cubicBezTo>
                  <a:cubicBezTo>
                    <a:pt x="60" y="1905"/>
                    <a:pt x="0" y="1993"/>
                    <a:pt x="18" y="2010"/>
                  </a:cubicBezTo>
                  <a:cubicBezTo>
                    <a:pt x="116" y="2108"/>
                    <a:pt x="109" y="2220"/>
                    <a:pt x="102" y="2301"/>
                  </a:cubicBezTo>
                  <a:cubicBezTo>
                    <a:pt x="98" y="2325"/>
                    <a:pt x="98" y="2350"/>
                    <a:pt x="102" y="2378"/>
                  </a:cubicBezTo>
                  <a:cubicBezTo>
                    <a:pt x="113" y="2381"/>
                    <a:pt x="130" y="2383"/>
                    <a:pt x="151" y="2383"/>
                  </a:cubicBezTo>
                  <a:cubicBezTo>
                    <a:pt x="325" y="2383"/>
                    <a:pt x="810" y="2278"/>
                    <a:pt x="1047" y="2035"/>
                  </a:cubicBezTo>
                  <a:cubicBezTo>
                    <a:pt x="1256" y="1821"/>
                    <a:pt x="1372" y="1762"/>
                    <a:pt x="1482" y="1762"/>
                  </a:cubicBezTo>
                  <a:cubicBezTo>
                    <a:pt x="1528" y="1762"/>
                    <a:pt x="1574" y="1773"/>
                    <a:pt x="1625" y="1786"/>
                  </a:cubicBezTo>
                  <a:lnTo>
                    <a:pt x="1646" y="1793"/>
                  </a:lnTo>
                  <a:cubicBezTo>
                    <a:pt x="1657" y="1796"/>
                    <a:pt x="1669" y="1798"/>
                    <a:pt x="1680" y="1798"/>
                  </a:cubicBezTo>
                  <a:cubicBezTo>
                    <a:pt x="1724" y="1798"/>
                    <a:pt x="1765" y="1776"/>
                    <a:pt x="1793" y="1737"/>
                  </a:cubicBezTo>
                  <a:cubicBezTo>
                    <a:pt x="1814" y="1716"/>
                    <a:pt x="1817" y="1681"/>
                    <a:pt x="1800" y="1657"/>
                  </a:cubicBezTo>
                  <a:cubicBezTo>
                    <a:pt x="1709" y="1520"/>
                    <a:pt x="1618" y="1198"/>
                    <a:pt x="1642" y="827"/>
                  </a:cubicBezTo>
                  <a:cubicBezTo>
                    <a:pt x="1653" y="673"/>
                    <a:pt x="1464" y="368"/>
                    <a:pt x="1135" y="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053" name="Google Shape;4053;p104"/>
            <p:cNvSpPr/>
            <p:nvPr/>
          </p:nvSpPr>
          <p:spPr>
            <a:xfrm>
              <a:off x="2700253" y="1844234"/>
              <a:ext cx="29287" cy="39198"/>
            </a:xfrm>
            <a:custGeom>
              <a:avLst/>
              <a:gdLst/>
              <a:ahLst/>
              <a:cxnLst/>
              <a:rect l="l" t="t" r="r" b="b"/>
              <a:pathLst>
                <a:path w="2157" h="2887" extrusionOk="0">
                  <a:moveTo>
                    <a:pt x="121" y="0"/>
                  </a:moveTo>
                  <a:cubicBezTo>
                    <a:pt x="98" y="0"/>
                    <a:pt x="76" y="25"/>
                    <a:pt x="28" y="90"/>
                  </a:cubicBezTo>
                  <a:cubicBezTo>
                    <a:pt x="18" y="104"/>
                    <a:pt x="0" y="132"/>
                    <a:pt x="4" y="149"/>
                  </a:cubicBezTo>
                  <a:cubicBezTo>
                    <a:pt x="14" y="188"/>
                    <a:pt x="105" y="233"/>
                    <a:pt x="175" y="261"/>
                  </a:cubicBezTo>
                  <a:cubicBezTo>
                    <a:pt x="291" y="314"/>
                    <a:pt x="445" y="387"/>
                    <a:pt x="399" y="531"/>
                  </a:cubicBezTo>
                  <a:cubicBezTo>
                    <a:pt x="350" y="674"/>
                    <a:pt x="249" y="688"/>
                    <a:pt x="182" y="702"/>
                  </a:cubicBezTo>
                  <a:cubicBezTo>
                    <a:pt x="116" y="713"/>
                    <a:pt x="112" y="720"/>
                    <a:pt x="105" y="751"/>
                  </a:cubicBezTo>
                  <a:cubicBezTo>
                    <a:pt x="81" y="881"/>
                    <a:pt x="130" y="1252"/>
                    <a:pt x="214" y="1487"/>
                  </a:cubicBezTo>
                  <a:cubicBezTo>
                    <a:pt x="221" y="1501"/>
                    <a:pt x="228" y="1518"/>
                    <a:pt x="235" y="1529"/>
                  </a:cubicBezTo>
                  <a:lnTo>
                    <a:pt x="242" y="1550"/>
                  </a:lnTo>
                  <a:lnTo>
                    <a:pt x="249" y="1564"/>
                  </a:lnTo>
                  <a:lnTo>
                    <a:pt x="256" y="1585"/>
                  </a:lnTo>
                  <a:lnTo>
                    <a:pt x="263" y="1606"/>
                  </a:lnTo>
                  <a:lnTo>
                    <a:pt x="270" y="1630"/>
                  </a:lnTo>
                  <a:lnTo>
                    <a:pt x="277" y="1651"/>
                  </a:lnTo>
                  <a:lnTo>
                    <a:pt x="287" y="1676"/>
                  </a:lnTo>
                  <a:lnTo>
                    <a:pt x="294" y="1704"/>
                  </a:lnTo>
                  <a:lnTo>
                    <a:pt x="301" y="1728"/>
                  </a:lnTo>
                  <a:lnTo>
                    <a:pt x="308" y="1760"/>
                  </a:lnTo>
                  <a:lnTo>
                    <a:pt x="319" y="1788"/>
                  </a:lnTo>
                  <a:lnTo>
                    <a:pt x="326" y="1816"/>
                  </a:lnTo>
                  <a:lnTo>
                    <a:pt x="333" y="1847"/>
                  </a:lnTo>
                  <a:lnTo>
                    <a:pt x="340" y="1879"/>
                  </a:lnTo>
                  <a:lnTo>
                    <a:pt x="347" y="1910"/>
                  </a:lnTo>
                  <a:lnTo>
                    <a:pt x="354" y="1945"/>
                  </a:lnTo>
                  <a:lnTo>
                    <a:pt x="361" y="1977"/>
                  </a:lnTo>
                  <a:lnTo>
                    <a:pt x="368" y="2012"/>
                  </a:lnTo>
                  <a:lnTo>
                    <a:pt x="375" y="2043"/>
                  </a:lnTo>
                  <a:lnTo>
                    <a:pt x="382" y="2082"/>
                  </a:lnTo>
                  <a:cubicBezTo>
                    <a:pt x="385" y="2092"/>
                    <a:pt x="385" y="2103"/>
                    <a:pt x="389" y="2113"/>
                  </a:cubicBezTo>
                  <a:cubicBezTo>
                    <a:pt x="389" y="2127"/>
                    <a:pt x="392" y="2141"/>
                    <a:pt x="392" y="2152"/>
                  </a:cubicBezTo>
                  <a:cubicBezTo>
                    <a:pt x="396" y="2166"/>
                    <a:pt x="396" y="2176"/>
                    <a:pt x="399" y="2187"/>
                  </a:cubicBezTo>
                  <a:cubicBezTo>
                    <a:pt x="399" y="2197"/>
                    <a:pt x="403" y="2215"/>
                    <a:pt x="406" y="2225"/>
                  </a:cubicBezTo>
                  <a:cubicBezTo>
                    <a:pt x="406" y="2239"/>
                    <a:pt x="410" y="2250"/>
                    <a:pt x="410" y="2260"/>
                  </a:cubicBezTo>
                  <a:cubicBezTo>
                    <a:pt x="410" y="2271"/>
                    <a:pt x="413" y="2288"/>
                    <a:pt x="413" y="2306"/>
                  </a:cubicBezTo>
                  <a:lnTo>
                    <a:pt x="417" y="2341"/>
                  </a:lnTo>
                  <a:cubicBezTo>
                    <a:pt x="417" y="2362"/>
                    <a:pt x="424" y="2383"/>
                    <a:pt x="424" y="2404"/>
                  </a:cubicBezTo>
                  <a:lnTo>
                    <a:pt x="424" y="2435"/>
                  </a:lnTo>
                  <a:cubicBezTo>
                    <a:pt x="424" y="2446"/>
                    <a:pt x="424" y="2460"/>
                    <a:pt x="427" y="2470"/>
                  </a:cubicBezTo>
                  <a:cubicBezTo>
                    <a:pt x="452" y="2463"/>
                    <a:pt x="480" y="2453"/>
                    <a:pt x="501" y="2442"/>
                  </a:cubicBezTo>
                  <a:cubicBezTo>
                    <a:pt x="574" y="2411"/>
                    <a:pt x="652" y="2393"/>
                    <a:pt x="729" y="2390"/>
                  </a:cubicBezTo>
                  <a:cubicBezTo>
                    <a:pt x="1086" y="2390"/>
                    <a:pt x="1096" y="2278"/>
                    <a:pt x="1100" y="2239"/>
                  </a:cubicBezTo>
                  <a:cubicBezTo>
                    <a:pt x="1114" y="2113"/>
                    <a:pt x="1187" y="2001"/>
                    <a:pt x="1299" y="1938"/>
                  </a:cubicBezTo>
                  <a:cubicBezTo>
                    <a:pt x="1341" y="1914"/>
                    <a:pt x="1390" y="1900"/>
                    <a:pt x="1439" y="1900"/>
                  </a:cubicBezTo>
                  <a:cubicBezTo>
                    <a:pt x="1471" y="1900"/>
                    <a:pt x="1499" y="1907"/>
                    <a:pt x="1527" y="1921"/>
                  </a:cubicBezTo>
                  <a:cubicBezTo>
                    <a:pt x="1677" y="1994"/>
                    <a:pt x="1845" y="2488"/>
                    <a:pt x="1856" y="2719"/>
                  </a:cubicBezTo>
                  <a:cubicBezTo>
                    <a:pt x="1859" y="2778"/>
                    <a:pt x="1873" y="2834"/>
                    <a:pt x="1898" y="2887"/>
                  </a:cubicBezTo>
                  <a:lnTo>
                    <a:pt x="1901" y="2883"/>
                  </a:lnTo>
                  <a:lnTo>
                    <a:pt x="1929" y="2862"/>
                  </a:lnTo>
                  <a:lnTo>
                    <a:pt x="1933" y="2859"/>
                  </a:lnTo>
                  <a:lnTo>
                    <a:pt x="1961" y="2838"/>
                  </a:lnTo>
                  <a:lnTo>
                    <a:pt x="1971" y="2827"/>
                  </a:lnTo>
                  <a:lnTo>
                    <a:pt x="1985" y="2817"/>
                  </a:lnTo>
                  <a:lnTo>
                    <a:pt x="1996" y="2810"/>
                  </a:lnTo>
                  <a:lnTo>
                    <a:pt x="2003" y="2806"/>
                  </a:lnTo>
                  <a:lnTo>
                    <a:pt x="2013" y="2799"/>
                  </a:lnTo>
                  <a:cubicBezTo>
                    <a:pt x="2041" y="2677"/>
                    <a:pt x="2090" y="2565"/>
                    <a:pt x="2157" y="2460"/>
                  </a:cubicBezTo>
                  <a:lnTo>
                    <a:pt x="2150" y="2425"/>
                  </a:lnTo>
                  <a:cubicBezTo>
                    <a:pt x="2150" y="2411"/>
                    <a:pt x="2146" y="2390"/>
                    <a:pt x="2143" y="2365"/>
                  </a:cubicBezTo>
                  <a:lnTo>
                    <a:pt x="2132" y="2313"/>
                  </a:lnTo>
                  <a:lnTo>
                    <a:pt x="2125" y="2257"/>
                  </a:lnTo>
                  <a:lnTo>
                    <a:pt x="2115" y="2194"/>
                  </a:lnTo>
                  <a:lnTo>
                    <a:pt x="2108" y="2148"/>
                  </a:lnTo>
                  <a:lnTo>
                    <a:pt x="2090" y="2047"/>
                  </a:lnTo>
                  <a:cubicBezTo>
                    <a:pt x="2059" y="1844"/>
                    <a:pt x="2024" y="1620"/>
                    <a:pt x="1992" y="1522"/>
                  </a:cubicBezTo>
                  <a:cubicBezTo>
                    <a:pt x="1971" y="1553"/>
                    <a:pt x="1943" y="1602"/>
                    <a:pt x="1922" y="1637"/>
                  </a:cubicBezTo>
                  <a:cubicBezTo>
                    <a:pt x="1845" y="1770"/>
                    <a:pt x="1758" y="1924"/>
                    <a:pt x="1634" y="1924"/>
                  </a:cubicBezTo>
                  <a:cubicBezTo>
                    <a:pt x="1624" y="1924"/>
                    <a:pt x="1614" y="1923"/>
                    <a:pt x="1604" y="1921"/>
                  </a:cubicBezTo>
                  <a:cubicBezTo>
                    <a:pt x="1453" y="1889"/>
                    <a:pt x="1418" y="1651"/>
                    <a:pt x="1436" y="1497"/>
                  </a:cubicBezTo>
                  <a:cubicBezTo>
                    <a:pt x="1453" y="1311"/>
                    <a:pt x="1534" y="1199"/>
                    <a:pt x="1649" y="1199"/>
                  </a:cubicBezTo>
                  <a:cubicBezTo>
                    <a:pt x="1789" y="1199"/>
                    <a:pt x="2010" y="821"/>
                    <a:pt x="2010" y="709"/>
                  </a:cubicBezTo>
                  <a:cubicBezTo>
                    <a:pt x="2010" y="643"/>
                    <a:pt x="1821" y="643"/>
                    <a:pt x="1681" y="643"/>
                  </a:cubicBezTo>
                  <a:cubicBezTo>
                    <a:pt x="1488" y="643"/>
                    <a:pt x="1068" y="674"/>
                    <a:pt x="1065" y="674"/>
                  </a:cubicBezTo>
                  <a:lnTo>
                    <a:pt x="1051" y="674"/>
                  </a:lnTo>
                  <a:lnTo>
                    <a:pt x="1037" y="671"/>
                  </a:lnTo>
                  <a:cubicBezTo>
                    <a:pt x="1005" y="657"/>
                    <a:pt x="729" y="548"/>
                    <a:pt x="729" y="345"/>
                  </a:cubicBezTo>
                  <a:cubicBezTo>
                    <a:pt x="729" y="195"/>
                    <a:pt x="631" y="118"/>
                    <a:pt x="434" y="118"/>
                  </a:cubicBezTo>
                  <a:cubicBezTo>
                    <a:pt x="343" y="114"/>
                    <a:pt x="252" y="86"/>
                    <a:pt x="179" y="30"/>
                  </a:cubicBezTo>
                  <a:cubicBezTo>
                    <a:pt x="153" y="12"/>
                    <a:pt x="137" y="0"/>
                    <a:pt x="121"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054" name="Google Shape;4054;p104"/>
            <p:cNvSpPr/>
            <p:nvPr/>
          </p:nvSpPr>
          <p:spPr>
            <a:xfrm>
              <a:off x="2556128" y="1768064"/>
              <a:ext cx="203975" cy="215624"/>
            </a:xfrm>
            <a:custGeom>
              <a:avLst/>
              <a:gdLst/>
              <a:ahLst/>
              <a:cxnLst/>
              <a:rect l="l" t="t" r="r" b="b"/>
              <a:pathLst>
                <a:path w="15023" h="15881" extrusionOk="0">
                  <a:moveTo>
                    <a:pt x="5109" y="0"/>
                  </a:moveTo>
                  <a:lnTo>
                    <a:pt x="4958" y="14"/>
                  </a:lnTo>
                  <a:cubicBezTo>
                    <a:pt x="4951" y="35"/>
                    <a:pt x="4940" y="60"/>
                    <a:pt x="4933" y="81"/>
                  </a:cubicBezTo>
                  <a:lnTo>
                    <a:pt x="4923" y="105"/>
                  </a:lnTo>
                  <a:cubicBezTo>
                    <a:pt x="4891" y="175"/>
                    <a:pt x="4860" y="238"/>
                    <a:pt x="4818" y="301"/>
                  </a:cubicBezTo>
                  <a:cubicBezTo>
                    <a:pt x="4769" y="378"/>
                    <a:pt x="4741" y="396"/>
                    <a:pt x="4727" y="403"/>
                  </a:cubicBezTo>
                  <a:cubicBezTo>
                    <a:pt x="4674" y="424"/>
                    <a:pt x="4622" y="441"/>
                    <a:pt x="4569" y="459"/>
                  </a:cubicBezTo>
                  <a:cubicBezTo>
                    <a:pt x="4450" y="497"/>
                    <a:pt x="4286" y="546"/>
                    <a:pt x="4195" y="613"/>
                  </a:cubicBezTo>
                  <a:cubicBezTo>
                    <a:pt x="4163" y="634"/>
                    <a:pt x="4128" y="644"/>
                    <a:pt x="4093" y="648"/>
                  </a:cubicBezTo>
                  <a:lnTo>
                    <a:pt x="4065" y="648"/>
                  </a:lnTo>
                  <a:cubicBezTo>
                    <a:pt x="4061" y="648"/>
                    <a:pt x="4057" y="648"/>
                    <a:pt x="4053" y="648"/>
                  </a:cubicBezTo>
                  <a:cubicBezTo>
                    <a:pt x="3947" y="648"/>
                    <a:pt x="3815" y="604"/>
                    <a:pt x="3677" y="557"/>
                  </a:cubicBezTo>
                  <a:cubicBezTo>
                    <a:pt x="3600" y="532"/>
                    <a:pt x="3519" y="504"/>
                    <a:pt x="3449" y="487"/>
                  </a:cubicBezTo>
                  <a:cubicBezTo>
                    <a:pt x="3411" y="480"/>
                    <a:pt x="3376" y="473"/>
                    <a:pt x="3337" y="473"/>
                  </a:cubicBezTo>
                  <a:cubicBezTo>
                    <a:pt x="3204" y="473"/>
                    <a:pt x="3106" y="564"/>
                    <a:pt x="3089" y="627"/>
                  </a:cubicBezTo>
                  <a:cubicBezTo>
                    <a:pt x="3089" y="634"/>
                    <a:pt x="3082" y="648"/>
                    <a:pt x="3089" y="651"/>
                  </a:cubicBezTo>
                  <a:cubicBezTo>
                    <a:pt x="3215" y="728"/>
                    <a:pt x="3215" y="1068"/>
                    <a:pt x="3208" y="1222"/>
                  </a:cubicBezTo>
                  <a:cubicBezTo>
                    <a:pt x="3258" y="1445"/>
                    <a:pt x="3368" y="1682"/>
                    <a:pt x="3442" y="1682"/>
                  </a:cubicBezTo>
                  <a:cubicBezTo>
                    <a:pt x="3444" y="1682"/>
                    <a:pt x="3447" y="1681"/>
                    <a:pt x="3449" y="1681"/>
                  </a:cubicBezTo>
                  <a:cubicBezTo>
                    <a:pt x="3468" y="1677"/>
                    <a:pt x="3488" y="1675"/>
                    <a:pt x="3507" y="1675"/>
                  </a:cubicBezTo>
                  <a:cubicBezTo>
                    <a:pt x="3658" y="1675"/>
                    <a:pt x="3820" y="1786"/>
                    <a:pt x="3845" y="1891"/>
                  </a:cubicBezTo>
                  <a:cubicBezTo>
                    <a:pt x="3862" y="1964"/>
                    <a:pt x="3813" y="2038"/>
                    <a:pt x="3736" y="2045"/>
                  </a:cubicBezTo>
                  <a:cubicBezTo>
                    <a:pt x="3596" y="2083"/>
                    <a:pt x="3526" y="2255"/>
                    <a:pt x="3505" y="2402"/>
                  </a:cubicBezTo>
                  <a:cubicBezTo>
                    <a:pt x="3502" y="2447"/>
                    <a:pt x="3498" y="2493"/>
                    <a:pt x="3498" y="2538"/>
                  </a:cubicBezTo>
                  <a:cubicBezTo>
                    <a:pt x="3495" y="2682"/>
                    <a:pt x="3491" y="2843"/>
                    <a:pt x="3344" y="2868"/>
                  </a:cubicBezTo>
                  <a:cubicBezTo>
                    <a:pt x="3225" y="2889"/>
                    <a:pt x="3141" y="2917"/>
                    <a:pt x="3141" y="3106"/>
                  </a:cubicBezTo>
                  <a:cubicBezTo>
                    <a:pt x="3141" y="3309"/>
                    <a:pt x="2977" y="3347"/>
                    <a:pt x="2882" y="3372"/>
                  </a:cubicBezTo>
                  <a:cubicBezTo>
                    <a:pt x="2854" y="3379"/>
                    <a:pt x="2829" y="3386"/>
                    <a:pt x="2808" y="3396"/>
                  </a:cubicBezTo>
                  <a:cubicBezTo>
                    <a:pt x="2794" y="3421"/>
                    <a:pt x="2770" y="3508"/>
                    <a:pt x="2742" y="3592"/>
                  </a:cubicBezTo>
                  <a:cubicBezTo>
                    <a:pt x="2675" y="3802"/>
                    <a:pt x="2630" y="3946"/>
                    <a:pt x="2581" y="3995"/>
                  </a:cubicBezTo>
                  <a:cubicBezTo>
                    <a:pt x="2549" y="4026"/>
                    <a:pt x="2493" y="4044"/>
                    <a:pt x="2416" y="4068"/>
                  </a:cubicBezTo>
                  <a:cubicBezTo>
                    <a:pt x="2308" y="4103"/>
                    <a:pt x="2157" y="4149"/>
                    <a:pt x="2147" y="4236"/>
                  </a:cubicBezTo>
                  <a:cubicBezTo>
                    <a:pt x="2122" y="4401"/>
                    <a:pt x="2038" y="4551"/>
                    <a:pt x="1912" y="4660"/>
                  </a:cubicBezTo>
                  <a:cubicBezTo>
                    <a:pt x="1877" y="4689"/>
                    <a:pt x="1835" y="4704"/>
                    <a:pt x="1791" y="4704"/>
                  </a:cubicBezTo>
                  <a:cubicBezTo>
                    <a:pt x="1783" y="4704"/>
                    <a:pt x="1774" y="4703"/>
                    <a:pt x="1765" y="4702"/>
                  </a:cubicBezTo>
                  <a:cubicBezTo>
                    <a:pt x="1744" y="4698"/>
                    <a:pt x="1720" y="4691"/>
                    <a:pt x="1695" y="4684"/>
                  </a:cubicBezTo>
                  <a:cubicBezTo>
                    <a:pt x="1630" y="4667"/>
                    <a:pt x="1581" y="4656"/>
                    <a:pt x="1544" y="4656"/>
                  </a:cubicBezTo>
                  <a:cubicBezTo>
                    <a:pt x="1507" y="4656"/>
                    <a:pt x="1483" y="4667"/>
                    <a:pt x="1471" y="4691"/>
                  </a:cubicBezTo>
                  <a:cubicBezTo>
                    <a:pt x="1442" y="4747"/>
                    <a:pt x="1396" y="4766"/>
                    <a:pt x="1345" y="4766"/>
                  </a:cubicBezTo>
                  <a:cubicBezTo>
                    <a:pt x="1279" y="4766"/>
                    <a:pt x="1205" y="4735"/>
                    <a:pt x="1146" y="4709"/>
                  </a:cubicBezTo>
                  <a:cubicBezTo>
                    <a:pt x="1114" y="4695"/>
                    <a:pt x="1076" y="4681"/>
                    <a:pt x="1041" y="4670"/>
                  </a:cubicBezTo>
                  <a:lnTo>
                    <a:pt x="995" y="4712"/>
                  </a:lnTo>
                  <a:cubicBezTo>
                    <a:pt x="911" y="4786"/>
                    <a:pt x="655" y="5017"/>
                    <a:pt x="655" y="5136"/>
                  </a:cubicBezTo>
                  <a:cubicBezTo>
                    <a:pt x="655" y="5175"/>
                    <a:pt x="708" y="5203"/>
                    <a:pt x="785" y="5245"/>
                  </a:cubicBezTo>
                  <a:cubicBezTo>
                    <a:pt x="883" y="5297"/>
                    <a:pt x="1020" y="5371"/>
                    <a:pt x="1002" y="5532"/>
                  </a:cubicBezTo>
                  <a:cubicBezTo>
                    <a:pt x="985" y="5721"/>
                    <a:pt x="1128" y="5945"/>
                    <a:pt x="1223" y="6039"/>
                  </a:cubicBezTo>
                  <a:cubicBezTo>
                    <a:pt x="1317" y="6134"/>
                    <a:pt x="1548" y="6431"/>
                    <a:pt x="1426" y="6617"/>
                  </a:cubicBezTo>
                  <a:cubicBezTo>
                    <a:pt x="1343" y="6740"/>
                    <a:pt x="1231" y="6776"/>
                    <a:pt x="1120" y="6776"/>
                  </a:cubicBezTo>
                  <a:cubicBezTo>
                    <a:pt x="1060" y="6776"/>
                    <a:pt x="1001" y="6766"/>
                    <a:pt x="946" y="6753"/>
                  </a:cubicBezTo>
                  <a:cubicBezTo>
                    <a:pt x="926" y="6748"/>
                    <a:pt x="906" y="6745"/>
                    <a:pt x="886" y="6745"/>
                  </a:cubicBezTo>
                  <a:cubicBezTo>
                    <a:pt x="856" y="6745"/>
                    <a:pt x="826" y="6751"/>
                    <a:pt x="799" y="6764"/>
                  </a:cubicBezTo>
                  <a:cubicBezTo>
                    <a:pt x="755" y="6779"/>
                    <a:pt x="704" y="6796"/>
                    <a:pt x="620" y="6796"/>
                  </a:cubicBezTo>
                  <a:cubicBezTo>
                    <a:pt x="570" y="6796"/>
                    <a:pt x="508" y="6790"/>
                    <a:pt x="428" y="6774"/>
                  </a:cubicBezTo>
                  <a:cubicBezTo>
                    <a:pt x="396" y="6769"/>
                    <a:pt x="367" y="6766"/>
                    <a:pt x="342" y="6766"/>
                  </a:cubicBezTo>
                  <a:cubicBezTo>
                    <a:pt x="200" y="6766"/>
                    <a:pt x="150" y="6851"/>
                    <a:pt x="85" y="6963"/>
                  </a:cubicBezTo>
                  <a:lnTo>
                    <a:pt x="67" y="6995"/>
                  </a:lnTo>
                  <a:lnTo>
                    <a:pt x="60" y="7006"/>
                  </a:lnTo>
                  <a:lnTo>
                    <a:pt x="46" y="7030"/>
                  </a:lnTo>
                  <a:lnTo>
                    <a:pt x="36" y="7041"/>
                  </a:lnTo>
                  <a:lnTo>
                    <a:pt x="22" y="7062"/>
                  </a:lnTo>
                  <a:lnTo>
                    <a:pt x="11" y="7076"/>
                  </a:lnTo>
                  <a:lnTo>
                    <a:pt x="1" y="7090"/>
                  </a:lnTo>
                  <a:cubicBezTo>
                    <a:pt x="43" y="7135"/>
                    <a:pt x="81" y="7181"/>
                    <a:pt x="116" y="7226"/>
                  </a:cubicBezTo>
                  <a:cubicBezTo>
                    <a:pt x="197" y="7331"/>
                    <a:pt x="281" y="7440"/>
                    <a:pt x="435" y="7499"/>
                  </a:cubicBezTo>
                  <a:cubicBezTo>
                    <a:pt x="480" y="7516"/>
                    <a:pt x="523" y="7523"/>
                    <a:pt x="566" y="7523"/>
                  </a:cubicBezTo>
                  <a:cubicBezTo>
                    <a:pt x="654" y="7523"/>
                    <a:pt x="735" y="7495"/>
                    <a:pt x="806" y="7471"/>
                  </a:cubicBezTo>
                  <a:cubicBezTo>
                    <a:pt x="860" y="7454"/>
                    <a:pt x="908" y="7438"/>
                    <a:pt x="951" y="7438"/>
                  </a:cubicBezTo>
                  <a:cubicBezTo>
                    <a:pt x="978" y="7438"/>
                    <a:pt x="1004" y="7444"/>
                    <a:pt x="1027" y="7461"/>
                  </a:cubicBezTo>
                  <a:cubicBezTo>
                    <a:pt x="1062" y="7496"/>
                    <a:pt x="1083" y="7541"/>
                    <a:pt x="1079" y="7594"/>
                  </a:cubicBezTo>
                  <a:cubicBezTo>
                    <a:pt x="1079" y="7804"/>
                    <a:pt x="750" y="7839"/>
                    <a:pt x="487" y="7867"/>
                  </a:cubicBezTo>
                  <a:cubicBezTo>
                    <a:pt x="435" y="7874"/>
                    <a:pt x="379" y="7877"/>
                    <a:pt x="337" y="7884"/>
                  </a:cubicBezTo>
                  <a:cubicBezTo>
                    <a:pt x="461" y="8082"/>
                    <a:pt x="1046" y="8735"/>
                    <a:pt x="1366" y="8735"/>
                  </a:cubicBezTo>
                  <a:cubicBezTo>
                    <a:pt x="1379" y="8735"/>
                    <a:pt x="1392" y="8734"/>
                    <a:pt x="1405" y="8731"/>
                  </a:cubicBezTo>
                  <a:cubicBezTo>
                    <a:pt x="1608" y="8686"/>
                    <a:pt x="1786" y="8567"/>
                    <a:pt x="1902" y="8395"/>
                  </a:cubicBezTo>
                  <a:cubicBezTo>
                    <a:pt x="1926" y="8360"/>
                    <a:pt x="1944" y="8322"/>
                    <a:pt x="1951" y="8283"/>
                  </a:cubicBezTo>
                  <a:cubicBezTo>
                    <a:pt x="1881" y="8238"/>
                    <a:pt x="1870" y="8143"/>
                    <a:pt x="1923" y="8042"/>
                  </a:cubicBezTo>
                  <a:cubicBezTo>
                    <a:pt x="1965" y="7954"/>
                    <a:pt x="2052" y="7877"/>
                    <a:pt x="2133" y="7877"/>
                  </a:cubicBezTo>
                  <a:cubicBezTo>
                    <a:pt x="2154" y="7877"/>
                    <a:pt x="2171" y="7881"/>
                    <a:pt x="2189" y="7888"/>
                  </a:cubicBezTo>
                  <a:cubicBezTo>
                    <a:pt x="2276" y="7930"/>
                    <a:pt x="2280" y="8052"/>
                    <a:pt x="2287" y="8199"/>
                  </a:cubicBezTo>
                  <a:cubicBezTo>
                    <a:pt x="2294" y="8290"/>
                    <a:pt x="2301" y="8430"/>
                    <a:pt x="2339" y="8462"/>
                  </a:cubicBezTo>
                  <a:cubicBezTo>
                    <a:pt x="2500" y="8595"/>
                    <a:pt x="2437" y="8819"/>
                    <a:pt x="2360" y="9036"/>
                  </a:cubicBezTo>
                  <a:cubicBezTo>
                    <a:pt x="2311" y="9173"/>
                    <a:pt x="2364" y="9414"/>
                    <a:pt x="2413" y="9628"/>
                  </a:cubicBezTo>
                  <a:cubicBezTo>
                    <a:pt x="2437" y="9726"/>
                    <a:pt x="2455" y="9827"/>
                    <a:pt x="2469" y="9932"/>
                  </a:cubicBezTo>
                  <a:cubicBezTo>
                    <a:pt x="2490" y="10076"/>
                    <a:pt x="2525" y="10216"/>
                    <a:pt x="2574" y="10352"/>
                  </a:cubicBezTo>
                  <a:cubicBezTo>
                    <a:pt x="2637" y="10534"/>
                    <a:pt x="2686" y="10723"/>
                    <a:pt x="2717" y="10912"/>
                  </a:cubicBezTo>
                  <a:cubicBezTo>
                    <a:pt x="2773" y="11284"/>
                    <a:pt x="3008" y="11956"/>
                    <a:pt x="3222" y="12358"/>
                  </a:cubicBezTo>
                  <a:cubicBezTo>
                    <a:pt x="3334" y="12572"/>
                    <a:pt x="3435" y="12887"/>
                    <a:pt x="3523" y="13167"/>
                  </a:cubicBezTo>
                  <a:cubicBezTo>
                    <a:pt x="3607" y="13430"/>
                    <a:pt x="3684" y="13678"/>
                    <a:pt x="3750" y="13762"/>
                  </a:cubicBezTo>
                  <a:cubicBezTo>
                    <a:pt x="3887" y="13948"/>
                    <a:pt x="4279" y="14560"/>
                    <a:pt x="4279" y="14952"/>
                  </a:cubicBezTo>
                  <a:cubicBezTo>
                    <a:pt x="4279" y="15285"/>
                    <a:pt x="4660" y="15779"/>
                    <a:pt x="4786" y="15870"/>
                  </a:cubicBezTo>
                  <a:cubicBezTo>
                    <a:pt x="4802" y="15877"/>
                    <a:pt x="4821" y="15880"/>
                    <a:pt x="4839" y="15880"/>
                  </a:cubicBezTo>
                  <a:cubicBezTo>
                    <a:pt x="4857" y="15880"/>
                    <a:pt x="4876" y="15877"/>
                    <a:pt x="4891" y="15870"/>
                  </a:cubicBezTo>
                  <a:cubicBezTo>
                    <a:pt x="5032" y="15814"/>
                    <a:pt x="5140" y="15702"/>
                    <a:pt x="5196" y="15565"/>
                  </a:cubicBezTo>
                  <a:cubicBezTo>
                    <a:pt x="5238" y="15429"/>
                    <a:pt x="5375" y="15341"/>
                    <a:pt x="5494" y="15260"/>
                  </a:cubicBezTo>
                  <a:cubicBezTo>
                    <a:pt x="5592" y="15197"/>
                    <a:pt x="5693" y="15134"/>
                    <a:pt x="5700" y="15068"/>
                  </a:cubicBezTo>
                  <a:cubicBezTo>
                    <a:pt x="5725" y="14875"/>
                    <a:pt x="5767" y="14672"/>
                    <a:pt x="5963" y="14637"/>
                  </a:cubicBezTo>
                  <a:cubicBezTo>
                    <a:pt x="6047" y="14623"/>
                    <a:pt x="6054" y="14539"/>
                    <a:pt x="6054" y="14315"/>
                  </a:cubicBezTo>
                  <a:cubicBezTo>
                    <a:pt x="6054" y="14091"/>
                    <a:pt x="6075" y="13780"/>
                    <a:pt x="6229" y="13580"/>
                  </a:cubicBezTo>
                  <a:cubicBezTo>
                    <a:pt x="6358" y="13416"/>
                    <a:pt x="6383" y="12939"/>
                    <a:pt x="6302" y="12757"/>
                  </a:cubicBezTo>
                  <a:cubicBezTo>
                    <a:pt x="6204" y="12533"/>
                    <a:pt x="6260" y="12229"/>
                    <a:pt x="6341" y="12019"/>
                  </a:cubicBezTo>
                  <a:cubicBezTo>
                    <a:pt x="6365" y="11952"/>
                    <a:pt x="6383" y="11889"/>
                    <a:pt x="6393" y="11819"/>
                  </a:cubicBezTo>
                  <a:cubicBezTo>
                    <a:pt x="6418" y="11690"/>
                    <a:pt x="6449" y="11539"/>
                    <a:pt x="6596" y="11525"/>
                  </a:cubicBezTo>
                  <a:cubicBezTo>
                    <a:pt x="6726" y="11511"/>
                    <a:pt x="6939" y="11389"/>
                    <a:pt x="7094" y="11179"/>
                  </a:cubicBezTo>
                  <a:cubicBezTo>
                    <a:pt x="7213" y="11017"/>
                    <a:pt x="7486" y="10828"/>
                    <a:pt x="7706" y="10671"/>
                  </a:cubicBezTo>
                  <a:cubicBezTo>
                    <a:pt x="7801" y="10604"/>
                    <a:pt x="7885" y="10548"/>
                    <a:pt x="7937" y="10503"/>
                  </a:cubicBezTo>
                  <a:cubicBezTo>
                    <a:pt x="8158" y="10324"/>
                    <a:pt x="8658" y="9876"/>
                    <a:pt x="8805" y="9631"/>
                  </a:cubicBezTo>
                  <a:cubicBezTo>
                    <a:pt x="8907" y="9463"/>
                    <a:pt x="9103" y="9365"/>
                    <a:pt x="9292" y="9271"/>
                  </a:cubicBezTo>
                  <a:cubicBezTo>
                    <a:pt x="9432" y="9201"/>
                    <a:pt x="9562" y="9134"/>
                    <a:pt x="9646" y="9046"/>
                  </a:cubicBezTo>
                  <a:cubicBezTo>
                    <a:pt x="9779" y="8910"/>
                    <a:pt x="9782" y="8826"/>
                    <a:pt x="9782" y="8703"/>
                  </a:cubicBezTo>
                  <a:cubicBezTo>
                    <a:pt x="9782" y="8640"/>
                    <a:pt x="9789" y="8577"/>
                    <a:pt x="9800" y="8514"/>
                  </a:cubicBezTo>
                  <a:cubicBezTo>
                    <a:pt x="9856" y="8196"/>
                    <a:pt x="10682" y="8129"/>
                    <a:pt x="10843" y="8129"/>
                  </a:cubicBezTo>
                  <a:cubicBezTo>
                    <a:pt x="10864" y="8129"/>
                    <a:pt x="10888" y="8126"/>
                    <a:pt x="10909" y="8126"/>
                  </a:cubicBezTo>
                  <a:lnTo>
                    <a:pt x="10909" y="8119"/>
                  </a:lnTo>
                  <a:lnTo>
                    <a:pt x="10909" y="8091"/>
                  </a:lnTo>
                  <a:cubicBezTo>
                    <a:pt x="10909" y="8080"/>
                    <a:pt x="10909" y="8063"/>
                    <a:pt x="10909" y="8052"/>
                  </a:cubicBezTo>
                  <a:cubicBezTo>
                    <a:pt x="10906" y="8038"/>
                    <a:pt x="10909" y="8031"/>
                    <a:pt x="10906" y="8021"/>
                  </a:cubicBezTo>
                  <a:cubicBezTo>
                    <a:pt x="10902" y="8010"/>
                    <a:pt x="10906" y="7996"/>
                    <a:pt x="10902" y="7982"/>
                  </a:cubicBezTo>
                  <a:cubicBezTo>
                    <a:pt x="10899" y="7972"/>
                    <a:pt x="10899" y="7961"/>
                    <a:pt x="10899" y="7951"/>
                  </a:cubicBezTo>
                  <a:cubicBezTo>
                    <a:pt x="10899" y="7940"/>
                    <a:pt x="10895" y="7926"/>
                    <a:pt x="10895" y="7916"/>
                  </a:cubicBezTo>
                  <a:cubicBezTo>
                    <a:pt x="10895" y="7902"/>
                    <a:pt x="10892" y="7891"/>
                    <a:pt x="10892" y="7881"/>
                  </a:cubicBezTo>
                  <a:cubicBezTo>
                    <a:pt x="10888" y="7870"/>
                    <a:pt x="10888" y="7856"/>
                    <a:pt x="10885" y="7846"/>
                  </a:cubicBezTo>
                  <a:lnTo>
                    <a:pt x="10881" y="7811"/>
                  </a:lnTo>
                  <a:cubicBezTo>
                    <a:pt x="10878" y="7800"/>
                    <a:pt x="10878" y="7790"/>
                    <a:pt x="10874" y="7779"/>
                  </a:cubicBezTo>
                  <a:lnTo>
                    <a:pt x="10871" y="7744"/>
                  </a:lnTo>
                  <a:lnTo>
                    <a:pt x="10864" y="7709"/>
                  </a:lnTo>
                  <a:lnTo>
                    <a:pt x="10857" y="7678"/>
                  </a:lnTo>
                  <a:lnTo>
                    <a:pt x="10850" y="7646"/>
                  </a:lnTo>
                  <a:lnTo>
                    <a:pt x="10843" y="7611"/>
                  </a:lnTo>
                  <a:lnTo>
                    <a:pt x="10839" y="7580"/>
                  </a:lnTo>
                  <a:lnTo>
                    <a:pt x="10829" y="7548"/>
                  </a:lnTo>
                  <a:lnTo>
                    <a:pt x="10822" y="7520"/>
                  </a:lnTo>
                  <a:lnTo>
                    <a:pt x="10815" y="7489"/>
                  </a:lnTo>
                  <a:lnTo>
                    <a:pt x="10808" y="7461"/>
                  </a:lnTo>
                  <a:lnTo>
                    <a:pt x="10801" y="7429"/>
                  </a:lnTo>
                  <a:lnTo>
                    <a:pt x="10794" y="7405"/>
                  </a:lnTo>
                  <a:lnTo>
                    <a:pt x="10787" y="7377"/>
                  </a:lnTo>
                  <a:lnTo>
                    <a:pt x="10776" y="7352"/>
                  </a:lnTo>
                  <a:lnTo>
                    <a:pt x="10769" y="7328"/>
                  </a:lnTo>
                  <a:lnTo>
                    <a:pt x="10762" y="7303"/>
                  </a:lnTo>
                  <a:lnTo>
                    <a:pt x="10755" y="7282"/>
                  </a:lnTo>
                  <a:lnTo>
                    <a:pt x="10745" y="7258"/>
                  </a:lnTo>
                  <a:lnTo>
                    <a:pt x="10741" y="7240"/>
                  </a:lnTo>
                  <a:cubicBezTo>
                    <a:pt x="10734" y="7230"/>
                    <a:pt x="10731" y="7216"/>
                    <a:pt x="10727" y="7205"/>
                  </a:cubicBezTo>
                  <a:cubicBezTo>
                    <a:pt x="10636" y="6970"/>
                    <a:pt x="10587" y="6722"/>
                    <a:pt x="10580" y="6473"/>
                  </a:cubicBezTo>
                  <a:cubicBezTo>
                    <a:pt x="10580" y="6431"/>
                    <a:pt x="10584" y="6389"/>
                    <a:pt x="10591" y="6347"/>
                  </a:cubicBezTo>
                  <a:cubicBezTo>
                    <a:pt x="10615" y="6225"/>
                    <a:pt x="10710" y="6207"/>
                    <a:pt x="10769" y="6197"/>
                  </a:cubicBezTo>
                  <a:cubicBezTo>
                    <a:pt x="10832" y="6183"/>
                    <a:pt x="10867" y="6176"/>
                    <a:pt x="10888" y="6109"/>
                  </a:cubicBezTo>
                  <a:cubicBezTo>
                    <a:pt x="10899" y="6078"/>
                    <a:pt x="10804" y="6036"/>
                    <a:pt x="10734" y="6004"/>
                  </a:cubicBezTo>
                  <a:cubicBezTo>
                    <a:pt x="10706" y="5994"/>
                    <a:pt x="10682" y="5980"/>
                    <a:pt x="10654" y="5966"/>
                  </a:cubicBezTo>
                  <a:cubicBezTo>
                    <a:pt x="10577" y="5927"/>
                    <a:pt x="10510" y="5878"/>
                    <a:pt x="10489" y="5805"/>
                  </a:cubicBezTo>
                  <a:cubicBezTo>
                    <a:pt x="10486" y="5791"/>
                    <a:pt x="10486" y="5777"/>
                    <a:pt x="10486" y="5763"/>
                  </a:cubicBezTo>
                  <a:cubicBezTo>
                    <a:pt x="10486" y="5731"/>
                    <a:pt x="10493" y="5700"/>
                    <a:pt x="10510" y="5675"/>
                  </a:cubicBezTo>
                  <a:cubicBezTo>
                    <a:pt x="10517" y="5658"/>
                    <a:pt x="10528" y="5644"/>
                    <a:pt x="10538" y="5630"/>
                  </a:cubicBezTo>
                  <a:cubicBezTo>
                    <a:pt x="10614" y="5527"/>
                    <a:pt x="10675" y="5487"/>
                    <a:pt x="10735" y="5487"/>
                  </a:cubicBezTo>
                  <a:cubicBezTo>
                    <a:pt x="10777" y="5487"/>
                    <a:pt x="10820" y="5507"/>
                    <a:pt x="10867" y="5539"/>
                  </a:cubicBezTo>
                  <a:cubicBezTo>
                    <a:pt x="10920" y="5581"/>
                    <a:pt x="10983" y="5605"/>
                    <a:pt x="11049" y="5605"/>
                  </a:cubicBezTo>
                  <a:cubicBezTo>
                    <a:pt x="11316" y="5605"/>
                    <a:pt x="11473" y="5738"/>
                    <a:pt x="11473" y="5966"/>
                  </a:cubicBezTo>
                  <a:cubicBezTo>
                    <a:pt x="11473" y="6057"/>
                    <a:pt x="11617" y="6134"/>
                    <a:pt x="11683" y="6162"/>
                  </a:cubicBezTo>
                  <a:cubicBezTo>
                    <a:pt x="11760" y="6155"/>
                    <a:pt x="12117" y="6130"/>
                    <a:pt x="12296" y="6130"/>
                  </a:cubicBezTo>
                  <a:cubicBezTo>
                    <a:pt x="12509" y="6130"/>
                    <a:pt x="12754" y="6130"/>
                    <a:pt x="12754" y="6326"/>
                  </a:cubicBezTo>
                  <a:cubicBezTo>
                    <a:pt x="12754" y="6484"/>
                    <a:pt x="12502" y="6949"/>
                    <a:pt x="12261" y="6949"/>
                  </a:cubicBezTo>
                  <a:cubicBezTo>
                    <a:pt x="12222" y="6949"/>
                    <a:pt x="12187" y="7023"/>
                    <a:pt x="12177" y="7125"/>
                  </a:cubicBezTo>
                  <a:cubicBezTo>
                    <a:pt x="12163" y="7282"/>
                    <a:pt x="12212" y="7401"/>
                    <a:pt x="12243" y="7408"/>
                  </a:cubicBezTo>
                  <a:cubicBezTo>
                    <a:pt x="12244" y="7408"/>
                    <a:pt x="12245" y="7408"/>
                    <a:pt x="12246" y="7408"/>
                  </a:cubicBezTo>
                  <a:cubicBezTo>
                    <a:pt x="12293" y="7408"/>
                    <a:pt x="12377" y="7266"/>
                    <a:pt x="12422" y="7188"/>
                  </a:cubicBezTo>
                  <a:cubicBezTo>
                    <a:pt x="12492" y="7069"/>
                    <a:pt x="12541" y="6981"/>
                    <a:pt x="12621" y="6981"/>
                  </a:cubicBezTo>
                  <a:cubicBezTo>
                    <a:pt x="12709" y="6981"/>
                    <a:pt x="12740" y="7079"/>
                    <a:pt x="12803" y="7464"/>
                  </a:cubicBezTo>
                  <a:cubicBezTo>
                    <a:pt x="12814" y="7517"/>
                    <a:pt x="12824" y="7580"/>
                    <a:pt x="12835" y="7646"/>
                  </a:cubicBezTo>
                  <a:lnTo>
                    <a:pt x="12849" y="7737"/>
                  </a:lnTo>
                  <a:lnTo>
                    <a:pt x="12852" y="7769"/>
                  </a:lnTo>
                  <a:lnTo>
                    <a:pt x="12863" y="7839"/>
                  </a:lnTo>
                  <a:lnTo>
                    <a:pt x="12870" y="7877"/>
                  </a:lnTo>
                  <a:lnTo>
                    <a:pt x="12884" y="7947"/>
                  </a:lnTo>
                  <a:lnTo>
                    <a:pt x="12887" y="7982"/>
                  </a:lnTo>
                  <a:lnTo>
                    <a:pt x="12887" y="7989"/>
                  </a:lnTo>
                  <a:cubicBezTo>
                    <a:pt x="12898" y="7986"/>
                    <a:pt x="12905" y="7986"/>
                    <a:pt x="12915" y="7986"/>
                  </a:cubicBezTo>
                  <a:cubicBezTo>
                    <a:pt x="12940" y="7947"/>
                    <a:pt x="12950" y="7821"/>
                    <a:pt x="12954" y="7744"/>
                  </a:cubicBezTo>
                  <a:cubicBezTo>
                    <a:pt x="12964" y="7618"/>
                    <a:pt x="12975" y="7496"/>
                    <a:pt x="13020" y="7426"/>
                  </a:cubicBezTo>
                  <a:cubicBezTo>
                    <a:pt x="13055" y="7373"/>
                    <a:pt x="13066" y="7230"/>
                    <a:pt x="13073" y="7121"/>
                  </a:cubicBezTo>
                  <a:cubicBezTo>
                    <a:pt x="13083" y="6963"/>
                    <a:pt x="13090" y="6855"/>
                    <a:pt x="13185" y="6855"/>
                  </a:cubicBezTo>
                  <a:cubicBezTo>
                    <a:pt x="13227" y="6858"/>
                    <a:pt x="13269" y="6869"/>
                    <a:pt x="13311" y="6879"/>
                  </a:cubicBezTo>
                  <a:cubicBezTo>
                    <a:pt x="13388" y="6900"/>
                    <a:pt x="13469" y="6914"/>
                    <a:pt x="13549" y="6921"/>
                  </a:cubicBezTo>
                  <a:cubicBezTo>
                    <a:pt x="13549" y="6862"/>
                    <a:pt x="13584" y="6788"/>
                    <a:pt x="13637" y="6673"/>
                  </a:cubicBezTo>
                  <a:cubicBezTo>
                    <a:pt x="13693" y="6540"/>
                    <a:pt x="13766" y="6379"/>
                    <a:pt x="13745" y="6288"/>
                  </a:cubicBezTo>
                  <a:cubicBezTo>
                    <a:pt x="13721" y="6165"/>
                    <a:pt x="13770" y="6036"/>
                    <a:pt x="13815" y="5910"/>
                  </a:cubicBezTo>
                  <a:cubicBezTo>
                    <a:pt x="13861" y="5812"/>
                    <a:pt x="13889" y="5710"/>
                    <a:pt x="13896" y="5605"/>
                  </a:cubicBezTo>
                  <a:cubicBezTo>
                    <a:pt x="13896" y="5392"/>
                    <a:pt x="14039" y="5294"/>
                    <a:pt x="14169" y="5206"/>
                  </a:cubicBezTo>
                  <a:cubicBezTo>
                    <a:pt x="14211" y="5182"/>
                    <a:pt x="14249" y="5150"/>
                    <a:pt x="14284" y="5119"/>
                  </a:cubicBezTo>
                  <a:cubicBezTo>
                    <a:pt x="14355" y="5060"/>
                    <a:pt x="14582" y="4877"/>
                    <a:pt x="14726" y="4877"/>
                  </a:cubicBezTo>
                  <a:cubicBezTo>
                    <a:pt x="14738" y="4877"/>
                    <a:pt x="14750" y="4878"/>
                    <a:pt x="14760" y="4880"/>
                  </a:cubicBezTo>
                  <a:cubicBezTo>
                    <a:pt x="14799" y="4887"/>
                    <a:pt x="14830" y="4916"/>
                    <a:pt x="14844" y="4951"/>
                  </a:cubicBezTo>
                  <a:cubicBezTo>
                    <a:pt x="14855" y="4982"/>
                    <a:pt x="14928" y="5017"/>
                    <a:pt x="14974" y="5024"/>
                  </a:cubicBezTo>
                  <a:lnTo>
                    <a:pt x="14967" y="5010"/>
                  </a:lnTo>
                  <a:cubicBezTo>
                    <a:pt x="14872" y="4870"/>
                    <a:pt x="14834" y="4747"/>
                    <a:pt x="14858" y="4660"/>
                  </a:cubicBezTo>
                  <a:cubicBezTo>
                    <a:pt x="14869" y="4614"/>
                    <a:pt x="14900" y="4572"/>
                    <a:pt x="14946" y="4551"/>
                  </a:cubicBezTo>
                  <a:cubicBezTo>
                    <a:pt x="14949" y="4548"/>
                    <a:pt x="14953" y="4544"/>
                    <a:pt x="14956" y="4544"/>
                  </a:cubicBezTo>
                  <a:lnTo>
                    <a:pt x="14960" y="4537"/>
                  </a:lnTo>
                  <a:lnTo>
                    <a:pt x="14967" y="4530"/>
                  </a:lnTo>
                  <a:lnTo>
                    <a:pt x="14974" y="4523"/>
                  </a:lnTo>
                  <a:lnTo>
                    <a:pt x="14977" y="4516"/>
                  </a:lnTo>
                  <a:lnTo>
                    <a:pt x="14984" y="4506"/>
                  </a:lnTo>
                  <a:lnTo>
                    <a:pt x="14988" y="4495"/>
                  </a:lnTo>
                  <a:lnTo>
                    <a:pt x="14991" y="4485"/>
                  </a:lnTo>
                  <a:lnTo>
                    <a:pt x="14998" y="4474"/>
                  </a:lnTo>
                  <a:lnTo>
                    <a:pt x="15002" y="4460"/>
                  </a:lnTo>
                  <a:lnTo>
                    <a:pt x="15005" y="4450"/>
                  </a:lnTo>
                  <a:lnTo>
                    <a:pt x="15012" y="4439"/>
                  </a:lnTo>
                  <a:lnTo>
                    <a:pt x="15016" y="4425"/>
                  </a:lnTo>
                  <a:lnTo>
                    <a:pt x="15019" y="4415"/>
                  </a:lnTo>
                  <a:lnTo>
                    <a:pt x="15023" y="4401"/>
                  </a:lnTo>
                  <a:lnTo>
                    <a:pt x="14981" y="4390"/>
                  </a:lnTo>
                  <a:lnTo>
                    <a:pt x="14967" y="4383"/>
                  </a:lnTo>
                  <a:lnTo>
                    <a:pt x="14960" y="4383"/>
                  </a:lnTo>
                  <a:lnTo>
                    <a:pt x="14949" y="4380"/>
                  </a:lnTo>
                  <a:lnTo>
                    <a:pt x="14911" y="4369"/>
                  </a:lnTo>
                  <a:lnTo>
                    <a:pt x="14918" y="4366"/>
                  </a:lnTo>
                  <a:cubicBezTo>
                    <a:pt x="14862" y="4348"/>
                    <a:pt x="14813" y="4320"/>
                    <a:pt x="14771" y="4278"/>
                  </a:cubicBezTo>
                  <a:lnTo>
                    <a:pt x="14760" y="4268"/>
                  </a:lnTo>
                  <a:lnTo>
                    <a:pt x="14753" y="4257"/>
                  </a:lnTo>
                  <a:lnTo>
                    <a:pt x="14743" y="4247"/>
                  </a:lnTo>
                  <a:lnTo>
                    <a:pt x="14736" y="4236"/>
                  </a:lnTo>
                  <a:lnTo>
                    <a:pt x="14732" y="4226"/>
                  </a:lnTo>
                  <a:cubicBezTo>
                    <a:pt x="14725" y="4219"/>
                    <a:pt x="14722" y="4208"/>
                    <a:pt x="14722" y="4201"/>
                  </a:cubicBezTo>
                  <a:cubicBezTo>
                    <a:pt x="14704" y="4159"/>
                    <a:pt x="14680" y="4121"/>
                    <a:pt x="14652" y="4086"/>
                  </a:cubicBezTo>
                  <a:lnTo>
                    <a:pt x="14620" y="4047"/>
                  </a:lnTo>
                  <a:cubicBezTo>
                    <a:pt x="14561" y="3970"/>
                    <a:pt x="14501" y="3897"/>
                    <a:pt x="14501" y="3816"/>
                  </a:cubicBezTo>
                  <a:cubicBezTo>
                    <a:pt x="14435" y="3830"/>
                    <a:pt x="14375" y="3862"/>
                    <a:pt x="14330" y="3907"/>
                  </a:cubicBezTo>
                  <a:cubicBezTo>
                    <a:pt x="14290" y="3940"/>
                    <a:pt x="14246" y="3952"/>
                    <a:pt x="14199" y="3952"/>
                  </a:cubicBezTo>
                  <a:cubicBezTo>
                    <a:pt x="14147" y="3952"/>
                    <a:pt x="14093" y="3938"/>
                    <a:pt x="14039" y="3925"/>
                  </a:cubicBezTo>
                  <a:cubicBezTo>
                    <a:pt x="13977" y="3908"/>
                    <a:pt x="13913" y="3892"/>
                    <a:pt x="13846" y="3892"/>
                  </a:cubicBezTo>
                  <a:cubicBezTo>
                    <a:pt x="13790" y="3892"/>
                    <a:pt x="13731" y="3903"/>
                    <a:pt x="13668" y="3935"/>
                  </a:cubicBezTo>
                  <a:cubicBezTo>
                    <a:pt x="13574" y="3988"/>
                    <a:pt x="13486" y="4054"/>
                    <a:pt x="13406" y="4128"/>
                  </a:cubicBezTo>
                  <a:cubicBezTo>
                    <a:pt x="13334" y="4190"/>
                    <a:pt x="13271" y="4246"/>
                    <a:pt x="13187" y="4246"/>
                  </a:cubicBezTo>
                  <a:cubicBezTo>
                    <a:pt x="13176" y="4246"/>
                    <a:pt x="13165" y="4245"/>
                    <a:pt x="13153" y="4243"/>
                  </a:cubicBezTo>
                  <a:cubicBezTo>
                    <a:pt x="13147" y="4243"/>
                    <a:pt x="13143" y="4242"/>
                    <a:pt x="13138" y="4242"/>
                  </a:cubicBezTo>
                  <a:cubicBezTo>
                    <a:pt x="13121" y="4242"/>
                    <a:pt x="13116" y="4252"/>
                    <a:pt x="13090" y="4303"/>
                  </a:cubicBezTo>
                  <a:cubicBezTo>
                    <a:pt x="13066" y="4355"/>
                    <a:pt x="13034" y="4401"/>
                    <a:pt x="12996" y="4443"/>
                  </a:cubicBezTo>
                  <a:cubicBezTo>
                    <a:pt x="12964" y="4474"/>
                    <a:pt x="12933" y="4506"/>
                    <a:pt x="12908" y="4541"/>
                  </a:cubicBezTo>
                  <a:cubicBezTo>
                    <a:pt x="12828" y="4628"/>
                    <a:pt x="12765" y="4698"/>
                    <a:pt x="12691" y="4698"/>
                  </a:cubicBezTo>
                  <a:lnTo>
                    <a:pt x="12681" y="4698"/>
                  </a:lnTo>
                  <a:cubicBezTo>
                    <a:pt x="12656" y="4705"/>
                    <a:pt x="12632" y="4716"/>
                    <a:pt x="12607" y="4723"/>
                  </a:cubicBezTo>
                  <a:lnTo>
                    <a:pt x="12600" y="4723"/>
                  </a:lnTo>
                  <a:lnTo>
                    <a:pt x="12572" y="4737"/>
                  </a:lnTo>
                  <a:lnTo>
                    <a:pt x="12569" y="4737"/>
                  </a:lnTo>
                  <a:lnTo>
                    <a:pt x="12527" y="4754"/>
                  </a:lnTo>
                  <a:lnTo>
                    <a:pt x="12495" y="4768"/>
                  </a:lnTo>
                  <a:cubicBezTo>
                    <a:pt x="12516" y="4824"/>
                    <a:pt x="12534" y="4880"/>
                    <a:pt x="12548" y="4940"/>
                  </a:cubicBezTo>
                  <a:cubicBezTo>
                    <a:pt x="12572" y="5042"/>
                    <a:pt x="12579" y="5161"/>
                    <a:pt x="12534" y="5245"/>
                  </a:cubicBezTo>
                  <a:cubicBezTo>
                    <a:pt x="12527" y="5252"/>
                    <a:pt x="12523" y="5259"/>
                    <a:pt x="12520" y="5266"/>
                  </a:cubicBezTo>
                  <a:cubicBezTo>
                    <a:pt x="12473" y="5330"/>
                    <a:pt x="12407" y="5346"/>
                    <a:pt x="12338" y="5346"/>
                  </a:cubicBezTo>
                  <a:cubicBezTo>
                    <a:pt x="12297" y="5346"/>
                    <a:pt x="12255" y="5341"/>
                    <a:pt x="12215" y="5336"/>
                  </a:cubicBezTo>
                  <a:cubicBezTo>
                    <a:pt x="12174" y="5329"/>
                    <a:pt x="12133" y="5326"/>
                    <a:pt x="12091" y="5326"/>
                  </a:cubicBezTo>
                  <a:cubicBezTo>
                    <a:pt x="12045" y="5326"/>
                    <a:pt x="11999" y="5330"/>
                    <a:pt x="11953" y="5339"/>
                  </a:cubicBezTo>
                  <a:cubicBezTo>
                    <a:pt x="11935" y="5346"/>
                    <a:pt x="11921" y="5350"/>
                    <a:pt x="11904" y="5350"/>
                  </a:cubicBezTo>
                  <a:lnTo>
                    <a:pt x="11893" y="5350"/>
                  </a:lnTo>
                  <a:cubicBezTo>
                    <a:pt x="11879" y="5353"/>
                    <a:pt x="11865" y="5353"/>
                    <a:pt x="11851" y="5357"/>
                  </a:cubicBezTo>
                  <a:lnTo>
                    <a:pt x="11813" y="5357"/>
                  </a:lnTo>
                  <a:cubicBezTo>
                    <a:pt x="11778" y="5357"/>
                    <a:pt x="11743" y="5353"/>
                    <a:pt x="11711" y="5343"/>
                  </a:cubicBezTo>
                  <a:lnTo>
                    <a:pt x="11697" y="5343"/>
                  </a:lnTo>
                  <a:lnTo>
                    <a:pt x="11662" y="5332"/>
                  </a:lnTo>
                  <a:lnTo>
                    <a:pt x="11652" y="5329"/>
                  </a:lnTo>
                  <a:lnTo>
                    <a:pt x="11613" y="5318"/>
                  </a:lnTo>
                  <a:cubicBezTo>
                    <a:pt x="11568" y="5300"/>
                    <a:pt x="11523" y="5291"/>
                    <a:pt x="11478" y="5291"/>
                  </a:cubicBezTo>
                  <a:cubicBezTo>
                    <a:pt x="11463" y="5291"/>
                    <a:pt x="11449" y="5292"/>
                    <a:pt x="11435" y="5294"/>
                  </a:cubicBezTo>
                  <a:cubicBezTo>
                    <a:pt x="11406" y="5301"/>
                    <a:pt x="11379" y="5304"/>
                    <a:pt x="11354" y="5304"/>
                  </a:cubicBezTo>
                  <a:cubicBezTo>
                    <a:pt x="11266" y="5304"/>
                    <a:pt x="11195" y="5267"/>
                    <a:pt x="11140" y="5238"/>
                  </a:cubicBezTo>
                  <a:cubicBezTo>
                    <a:pt x="11119" y="5224"/>
                    <a:pt x="11091" y="5213"/>
                    <a:pt x="11067" y="5210"/>
                  </a:cubicBezTo>
                  <a:cubicBezTo>
                    <a:pt x="11056" y="5210"/>
                    <a:pt x="11049" y="5213"/>
                    <a:pt x="11039" y="5213"/>
                  </a:cubicBezTo>
                  <a:lnTo>
                    <a:pt x="11014" y="5213"/>
                  </a:lnTo>
                  <a:cubicBezTo>
                    <a:pt x="11007" y="5210"/>
                    <a:pt x="11004" y="5210"/>
                    <a:pt x="10997" y="5206"/>
                  </a:cubicBezTo>
                  <a:lnTo>
                    <a:pt x="10983" y="5203"/>
                  </a:lnTo>
                  <a:lnTo>
                    <a:pt x="10972" y="5196"/>
                  </a:lnTo>
                  <a:lnTo>
                    <a:pt x="10958" y="5189"/>
                  </a:lnTo>
                  <a:lnTo>
                    <a:pt x="10944" y="5178"/>
                  </a:lnTo>
                  <a:cubicBezTo>
                    <a:pt x="10937" y="5175"/>
                    <a:pt x="10930" y="5168"/>
                    <a:pt x="10923" y="5161"/>
                  </a:cubicBezTo>
                  <a:cubicBezTo>
                    <a:pt x="10916" y="5154"/>
                    <a:pt x="10909" y="5147"/>
                    <a:pt x="10906" y="5140"/>
                  </a:cubicBezTo>
                  <a:lnTo>
                    <a:pt x="10895" y="5154"/>
                  </a:lnTo>
                  <a:lnTo>
                    <a:pt x="10857" y="5066"/>
                  </a:lnTo>
                  <a:cubicBezTo>
                    <a:pt x="10850" y="5052"/>
                    <a:pt x="10843" y="5042"/>
                    <a:pt x="10839" y="5028"/>
                  </a:cubicBezTo>
                  <a:lnTo>
                    <a:pt x="10832" y="5014"/>
                  </a:lnTo>
                  <a:cubicBezTo>
                    <a:pt x="10818" y="4982"/>
                    <a:pt x="10811" y="4947"/>
                    <a:pt x="10808" y="4908"/>
                  </a:cubicBezTo>
                  <a:lnTo>
                    <a:pt x="10808" y="4901"/>
                  </a:lnTo>
                  <a:cubicBezTo>
                    <a:pt x="10808" y="4891"/>
                    <a:pt x="10808" y="4880"/>
                    <a:pt x="10804" y="4870"/>
                  </a:cubicBezTo>
                  <a:cubicBezTo>
                    <a:pt x="10804" y="4856"/>
                    <a:pt x="10804" y="4842"/>
                    <a:pt x="10804" y="4828"/>
                  </a:cubicBezTo>
                  <a:lnTo>
                    <a:pt x="10804" y="4814"/>
                  </a:lnTo>
                  <a:cubicBezTo>
                    <a:pt x="10804" y="4800"/>
                    <a:pt x="10808" y="4782"/>
                    <a:pt x="10811" y="4768"/>
                  </a:cubicBezTo>
                  <a:cubicBezTo>
                    <a:pt x="10829" y="4691"/>
                    <a:pt x="10811" y="4614"/>
                    <a:pt x="10773" y="4548"/>
                  </a:cubicBezTo>
                  <a:cubicBezTo>
                    <a:pt x="10769" y="4544"/>
                    <a:pt x="10766" y="4541"/>
                    <a:pt x="10759" y="4534"/>
                  </a:cubicBezTo>
                  <a:lnTo>
                    <a:pt x="10759" y="4541"/>
                  </a:lnTo>
                  <a:cubicBezTo>
                    <a:pt x="10724" y="4590"/>
                    <a:pt x="10675" y="4628"/>
                    <a:pt x="10619" y="4653"/>
                  </a:cubicBezTo>
                  <a:cubicBezTo>
                    <a:pt x="10601" y="4660"/>
                    <a:pt x="10587" y="4670"/>
                    <a:pt x="10573" y="4684"/>
                  </a:cubicBezTo>
                  <a:cubicBezTo>
                    <a:pt x="10566" y="4691"/>
                    <a:pt x="10552" y="4705"/>
                    <a:pt x="10552" y="4761"/>
                  </a:cubicBezTo>
                  <a:cubicBezTo>
                    <a:pt x="10556" y="4824"/>
                    <a:pt x="10563" y="4884"/>
                    <a:pt x="10573" y="4944"/>
                  </a:cubicBezTo>
                  <a:cubicBezTo>
                    <a:pt x="10598" y="5091"/>
                    <a:pt x="10626" y="5259"/>
                    <a:pt x="10510" y="5371"/>
                  </a:cubicBezTo>
                  <a:cubicBezTo>
                    <a:pt x="10507" y="5378"/>
                    <a:pt x="10500" y="5381"/>
                    <a:pt x="10493" y="5388"/>
                  </a:cubicBezTo>
                  <a:lnTo>
                    <a:pt x="10486" y="5392"/>
                  </a:lnTo>
                  <a:lnTo>
                    <a:pt x="10468" y="5402"/>
                  </a:lnTo>
                  <a:lnTo>
                    <a:pt x="10461" y="5409"/>
                  </a:lnTo>
                  <a:lnTo>
                    <a:pt x="10440" y="5420"/>
                  </a:lnTo>
                  <a:lnTo>
                    <a:pt x="10433" y="5423"/>
                  </a:lnTo>
                  <a:lnTo>
                    <a:pt x="10402" y="5437"/>
                  </a:lnTo>
                  <a:lnTo>
                    <a:pt x="10398" y="5437"/>
                  </a:lnTo>
                  <a:lnTo>
                    <a:pt x="10367" y="5448"/>
                  </a:lnTo>
                  <a:lnTo>
                    <a:pt x="10353" y="5451"/>
                  </a:lnTo>
                  <a:lnTo>
                    <a:pt x="10328" y="5462"/>
                  </a:lnTo>
                  <a:lnTo>
                    <a:pt x="10314" y="5465"/>
                  </a:lnTo>
                  <a:lnTo>
                    <a:pt x="10286" y="5472"/>
                  </a:lnTo>
                  <a:lnTo>
                    <a:pt x="10276" y="5476"/>
                  </a:lnTo>
                  <a:lnTo>
                    <a:pt x="10230" y="5486"/>
                  </a:lnTo>
                  <a:lnTo>
                    <a:pt x="10223" y="5486"/>
                  </a:lnTo>
                  <a:lnTo>
                    <a:pt x="10185" y="5493"/>
                  </a:lnTo>
                  <a:lnTo>
                    <a:pt x="10171" y="5497"/>
                  </a:lnTo>
                  <a:lnTo>
                    <a:pt x="10139" y="5500"/>
                  </a:lnTo>
                  <a:lnTo>
                    <a:pt x="10125" y="5504"/>
                  </a:lnTo>
                  <a:lnTo>
                    <a:pt x="10090" y="5511"/>
                  </a:lnTo>
                  <a:lnTo>
                    <a:pt x="10076" y="5511"/>
                  </a:lnTo>
                  <a:lnTo>
                    <a:pt x="10031" y="5514"/>
                  </a:lnTo>
                  <a:lnTo>
                    <a:pt x="10020" y="5514"/>
                  </a:lnTo>
                  <a:lnTo>
                    <a:pt x="9982" y="5518"/>
                  </a:lnTo>
                  <a:lnTo>
                    <a:pt x="9705" y="5518"/>
                  </a:lnTo>
                  <a:lnTo>
                    <a:pt x="9663" y="5511"/>
                  </a:lnTo>
                  <a:lnTo>
                    <a:pt x="9653" y="5511"/>
                  </a:lnTo>
                  <a:lnTo>
                    <a:pt x="9611" y="5507"/>
                  </a:lnTo>
                  <a:lnTo>
                    <a:pt x="9607" y="5507"/>
                  </a:lnTo>
                  <a:lnTo>
                    <a:pt x="9569" y="5497"/>
                  </a:lnTo>
                  <a:lnTo>
                    <a:pt x="9562" y="5497"/>
                  </a:lnTo>
                  <a:cubicBezTo>
                    <a:pt x="9548" y="5493"/>
                    <a:pt x="9537" y="5490"/>
                    <a:pt x="9527" y="5486"/>
                  </a:cubicBezTo>
                  <a:cubicBezTo>
                    <a:pt x="9516" y="5483"/>
                    <a:pt x="9509" y="5479"/>
                    <a:pt x="9499" y="5472"/>
                  </a:cubicBezTo>
                  <a:lnTo>
                    <a:pt x="9495" y="5469"/>
                  </a:lnTo>
                  <a:cubicBezTo>
                    <a:pt x="9485" y="5465"/>
                    <a:pt x="9478" y="5462"/>
                    <a:pt x="9471" y="5455"/>
                  </a:cubicBezTo>
                  <a:cubicBezTo>
                    <a:pt x="9422" y="5413"/>
                    <a:pt x="9268" y="5371"/>
                    <a:pt x="9138" y="5339"/>
                  </a:cubicBezTo>
                  <a:cubicBezTo>
                    <a:pt x="8886" y="5269"/>
                    <a:pt x="8756" y="5231"/>
                    <a:pt x="8735" y="5136"/>
                  </a:cubicBezTo>
                  <a:cubicBezTo>
                    <a:pt x="8718" y="5042"/>
                    <a:pt x="8564" y="4887"/>
                    <a:pt x="8497" y="4887"/>
                  </a:cubicBezTo>
                  <a:cubicBezTo>
                    <a:pt x="8441" y="4894"/>
                    <a:pt x="8385" y="4908"/>
                    <a:pt x="8329" y="4926"/>
                  </a:cubicBezTo>
                  <a:cubicBezTo>
                    <a:pt x="8212" y="4961"/>
                    <a:pt x="8117" y="4987"/>
                    <a:pt x="8045" y="4987"/>
                  </a:cubicBezTo>
                  <a:cubicBezTo>
                    <a:pt x="8003" y="4987"/>
                    <a:pt x="7968" y="4978"/>
                    <a:pt x="7941" y="4958"/>
                  </a:cubicBezTo>
                  <a:lnTo>
                    <a:pt x="7913" y="4940"/>
                  </a:lnTo>
                  <a:cubicBezTo>
                    <a:pt x="7825" y="4870"/>
                    <a:pt x="7636" y="4730"/>
                    <a:pt x="7517" y="4712"/>
                  </a:cubicBezTo>
                  <a:cubicBezTo>
                    <a:pt x="7475" y="4705"/>
                    <a:pt x="7433" y="4695"/>
                    <a:pt x="7391" y="4681"/>
                  </a:cubicBezTo>
                  <a:cubicBezTo>
                    <a:pt x="7251" y="4639"/>
                    <a:pt x="7083" y="4551"/>
                    <a:pt x="7055" y="4453"/>
                  </a:cubicBezTo>
                  <a:cubicBezTo>
                    <a:pt x="7034" y="4439"/>
                    <a:pt x="7013" y="4425"/>
                    <a:pt x="6988" y="4418"/>
                  </a:cubicBezTo>
                  <a:cubicBezTo>
                    <a:pt x="6960" y="4408"/>
                    <a:pt x="6932" y="4397"/>
                    <a:pt x="6904" y="4387"/>
                  </a:cubicBezTo>
                  <a:lnTo>
                    <a:pt x="6880" y="4380"/>
                  </a:lnTo>
                  <a:cubicBezTo>
                    <a:pt x="6771" y="4345"/>
                    <a:pt x="6673" y="4313"/>
                    <a:pt x="6631" y="4254"/>
                  </a:cubicBezTo>
                  <a:cubicBezTo>
                    <a:pt x="6600" y="4226"/>
                    <a:pt x="6561" y="4205"/>
                    <a:pt x="6523" y="4187"/>
                  </a:cubicBezTo>
                  <a:cubicBezTo>
                    <a:pt x="6439" y="4152"/>
                    <a:pt x="6337" y="4103"/>
                    <a:pt x="6337" y="3998"/>
                  </a:cubicBezTo>
                  <a:cubicBezTo>
                    <a:pt x="6344" y="3928"/>
                    <a:pt x="6358" y="3862"/>
                    <a:pt x="6383" y="3795"/>
                  </a:cubicBezTo>
                  <a:cubicBezTo>
                    <a:pt x="6404" y="3729"/>
                    <a:pt x="6421" y="3659"/>
                    <a:pt x="6425" y="3589"/>
                  </a:cubicBezTo>
                  <a:cubicBezTo>
                    <a:pt x="6425" y="3578"/>
                    <a:pt x="6425" y="3564"/>
                    <a:pt x="6428" y="3554"/>
                  </a:cubicBezTo>
                  <a:lnTo>
                    <a:pt x="6428" y="3547"/>
                  </a:lnTo>
                  <a:cubicBezTo>
                    <a:pt x="6449" y="3466"/>
                    <a:pt x="6526" y="3396"/>
                    <a:pt x="6593" y="3333"/>
                  </a:cubicBezTo>
                  <a:cubicBezTo>
                    <a:pt x="6628" y="3309"/>
                    <a:pt x="6656" y="3277"/>
                    <a:pt x="6680" y="3246"/>
                  </a:cubicBezTo>
                  <a:cubicBezTo>
                    <a:pt x="6670" y="3218"/>
                    <a:pt x="6596" y="3148"/>
                    <a:pt x="6512" y="3088"/>
                  </a:cubicBezTo>
                  <a:lnTo>
                    <a:pt x="6477" y="3064"/>
                  </a:lnTo>
                  <a:lnTo>
                    <a:pt x="6460" y="3057"/>
                  </a:lnTo>
                  <a:lnTo>
                    <a:pt x="6453" y="3043"/>
                  </a:lnTo>
                  <a:cubicBezTo>
                    <a:pt x="6411" y="2966"/>
                    <a:pt x="6355" y="2896"/>
                    <a:pt x="6288" y="2840"/>
                  </a:cubicBezTo>
                  <a:cubicBezTo>
                    <a:pt x="6260" y="2811"/>
                    <a:pt x="6225" y="2797"/>
                    <a:pt x="6187" y="2794"/>
                  </a:cubicBezTo>
                  <a:cubicBezTo>
                    <a:pt x="6064" y="2794"/>
                    <a:pt x="5970" y="2692"/>
                    <a:pt x="5889" y="2605"/>
                  </a:cubicBezTo>
                  <a:cubicBezTo>
                    <a:pt x="5830" y="2542"/>
                    <a:pt x="5770" y="2479"/>
                    <a:pt x="5725" y="2472"/>
                  </a:cubicBezTo>
                  <a:cubicBezTo>
                    <a:pt x="5588" y="2454"/>
                    <a:pt x="5560" y="2304"/>
                    <a:pt x="5536" y="2181"/>
                  </a:cubicBezTo>
                  <a:cubicBezTo>
                    <a:pt x="5529" y="2122"/>
                    <a:pt x="5515" y="2066"/>
                    <a:pt x="5487" y="2017"/>
                  </a:cubicBezTo>
                  <a:cubicBezTo>
                    <a:pt x="5413" y="1922"/>
                    <a:pt x="5417" y="1754"/>
                    <a:pt x="5497" y="1674"/>
                  </a:cubicBezTo>
                  <a:cubicBezTo>
                    <a:pt x="5519" y="1652"/>
                    <a:pt x="5551" y="1636"/>
                    <a:pt x="5590" y="1636"/>
                  </a:cubicBezTo>
                  <a:cubicBezTo>
                    <a:pt x="5627" y="1636"/>
                    <a:pt x="5668" y="1650"/>
                    <a:pt x="5711" y="1688"/>
                  </a:cubicBezTo>
                  <a:cubicBezTo>
                    <a:pt x="5725" y="1702"/>
                    <a:pt x="5742" y="1709"/>
                    <a:pt x="5760" y="1716"/>
                  </a:cubicBezTo>
                  <a:cubicBezTo>
                    <a:pt x="5777" y="1721"/>
                    <a:pt x="5795" y="1724"/>
                    <a:pt x="5813" y="1724"/>
                  </a:cubicBezTo>
                  <a:cubicBezTo>
                    <a:pt x="5849" y="1724"/>
                    <a:pt x="5887" y="1712"/>
                    <a:pt x="5917" y="1691"/>
                  </a:cubicBezTo>
                  <a:cubicBezTo>
                    <a:pt x="5945" y="1670"/>
                    <a:pt x="5956" y="1639"/>
                    <a:pt x="5949" y="1607"/>
                  </a:cubicBezTo>
                  <a:cubicBezTo>
                    <a:pt x="5945" y="1597"/>
                    <a:pt x="5942" y="1586"/>
                    <a:pt x="5935" y="1576"/>
                  </a:cubicBezTo>
                  <a:cubicBezTo>
                    <a:pt x="5889" y="1499"/>
                    <a:pt x="5837" y="1425"/>
                    <a:pt x="5781" y="1355"/>
                  </a:cubicBezTo>
                  <a:cubicBezTo>
                    <a:pt x="5693" y="1243"/>
                    <a:pt x="5623" y="1156"/>
                    <a:pt x="5623" y="1072"/>
                  </a:cubicBezTo>
                  <a:cubicBezTo>
                    <a:pt x="5623" y="1061"/>
                    <a:pt x="5623" y="1051"/>
                    <a:pt x="5623" y="1040"/>
                  </a:cubicBezTo>
                  <a:cubicBezTo>
                    <a:pt x="5627" y="1012"/>
                    <a:pt x="5634" y="977"/>
                    <a:pt x="5644" y="935"/>
                  </a:cubicBezTo>
                  <a:cubicBezTo>
                    <a:pt x="5648" y="914"/>
                    <a:pt x="5651" y="890"/>
                    <a:pt x="5658" y="865"/>
                  </a:cubicBezTo>
                  <a:cubicBezTo>
                    <a:pt x="5669" y="809"/>
                    <a:pt x="5672" y="753"/>
                    <a:pt x="5672" y="697"/>
                  </a:cubicBezTo>
                  <a:lnTo>
                    <a:pt x="5672" y="690"/>
                  </a:lnTo>
                  <a:cubicBezTo>
                    <a:pt x="5672" y="683"/>
                    <a:pt x="5669" y="676"/>
                    <a:pt x="5669" y="665"/>
                  </a:cubicBezTo>
                  <a:cubicBezTo>
                    <a:pt x="5665" y="658"/>
                    <a:pt x="5665" y="651"/>
                    <a:pt x="5662" y="644"/>
                  </a:cubicBezTo>
                  <a:lnTo>
                    <a:pt x="5658" y="641"/>
                  </a:lnTo>
                  <a:cubicBezTo>
                    <a:pt x="5655" y="637"/>
                    <a:pt x="5655" y="634"/>
                    <a:pt x="5651" y="627"/>
                  </a:cubicBezTo>
                  <a:lnTo>
                    <a:pt x="5648" y="623"/>
                  </a:lnTo>
                  <a:cubicBezTo>
                    <a:pt x="5644" y="620"/>
                    <a:pt x="5637" y="616"/>
                    <a:pt x="5634" y="613"/>
                  </a:cubicBezTo>
                  <a:cubicBezTo>
                    <a:pt x="5567" y="578"/>
                    <a:pt x="5508" y="532"/>
                    <a:pt x="5455" y="483"/>
                  </a:cubicBezTo>
                  <a:cubicBezTo>
                    <a:pt x="5403" y="434"/>
                    <a:pt x="5361" y="382"/>
                    <a:pt x="5329" y="322"/>
                  </a:cubicBezTo>
                  <a:cubicBezTo>
                    <a:pt x="5308" y="287"/>
                    <a:pt x="5291" y="249"/>
                    <a:pt x="5280" y="210"/>
                  </a:cubicBezTo>
                  <a:cubicBezTo>
                    <a:pt x="5277" y="200"/>
                    <a:pt x="5273" y="186"/>
                    <a:pt x="5266" y="179"/>
                  </a:cubicBezTo>
                  <a:cubicBezTo>
                    <a:pt x="5266" y="172"/>
                    <a:pt x="5259" y="165"/>
                    <a:pt x="5259" y="158"/>
                  </a:cubicBezTo>
                  <a:cubicBezTo>
                    <a:pt x="5256" y="154"/>
                    <a:pt x="5252" y="151"/>
                    <a:pt x="5249" y="144"/>
                  </a:cubicBezTo>
                  <a:cubicBezTo>
                    <a:pt x="5249" y="140"/>
                    <a:pt x="5238" y="130"/>
                    <a:pt x="5231" y="119"/>
                  </a:cubicBezTo>
                  <a:lnTo>
                    <a:pt x="5228" y="112"/>
                  </a:lnTo>
                  <a:cubicBezTo>
                    <a:pt x="5221" y="102"/>
                    <a:pt x="5210" y="91"/>
                    <a:pt x="5203" y="81"/>
                  </a:cubicBezTo>
                  <a:cubicBezTo>
                    <a:pt x="5175" y="53"/>
                    <a:pt x="5144" y="25"/>
                    <a:pt x="5109"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055" name="Google Shape;4055;p104"/>
            <p:cNvSpPr/>
            <p:nvPr/>
          </p:nvSpPr>
          <p:spPr>
            <a:xfrm>
              <a:off x="2702915" y="1869217"/>
              <a:ext cx="109" cy="394"/>
            </a:xfrm>
            <a:custGeom>
              <a:avLst/>
              <a:gdLst/>
              <a:ahLst/>
              <a:cxnLst/>
              <a:rect l="l" t="t" r="r" b="b"/>
              <a:pathLst>
                <a:path w="8" h="29" extrusionOk="0">
                  <a:moveTo>
                    <a:pt x="0" y="0"/>
                  </a:moveTo>
                  <a:lnTo>
                    <a:pt x="7" y="28"/>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056" name="Google Shape;4056;p104"/>
            <p:cNvSpPr/>
            <p:nvPr/>
          </p:nvSpPr>
          <p:spPr>
            <a:xfrm>
              <a:off x="2730382" y="1871783"/>
              <a:ext cx="204" cy="1290"/>
            </a:xfrm>
            <a:custGeom>
              <a:avLst/>
              <a:gdLst/>
              <a:ahLst/>
              <a:cxnLst/>
              <a:rect l="l" t="t" r="r" b="b"/>
              <a:pathLst>
                <a:path w="15" h="95" extrusionOk="0">
                  <a:moveTo>
                    <a:pt x="15" y="95"/>
                  </a:moveTo>
                  <a:lnTo>
                    <a:pt x="1"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057" name="Google Shape;4057;p104"/>
            <p:cNvSpPr/>
            <p:nvPr/>
          </p:nvSpPr>
          <p:spPr>
            <a:xfrm>
              <a:off x="2703105" y="1870018"/>
              <a:ext cx="109" cy="448"/>
            </a:xfrm>
            <a:custGeom>
              <a:avLst/>
              <a:gdLst/>
              <a:ahLst/>
              <a:cxnLst/>
              <a:rect l="l" t="t" r="r" b="b"/>
              <a:pathLst>
                <a:path w="8" h="33" extrusionOk="0">
                  <a:moveTo>
                    <a:pt x="0" y="1"/>
                  </a:moveTo>
                  <a:lnTo>
                    <a:pt x="7" y="32"/>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058" name="Google Shape;4058;p104"/>
            <p:cNvSpPr/>
            <p:nvPr/>
          </p:nvSpPr>
          <p:spPr>
            <a:xfrm>
              <a:off x="2702480" y="1867737"/>
              <a:ext cx="109" cy="394"/>
            </a:xfrm>
            <a:custGeom>
              <a:avLst/>
              <a:gdLst/>
              <a:ahLst/>
              <a:cxnLst/>
              <a:rect l="l" t="t" r="r" b="b"/>
              <a:pathLst>
                <a:path w="8" h="29" extrusionOk="0">
                  <a:moveTo>
                    <a:pt x="1" y="1"/>
                  </a:moveTo>
                  <a:lnTo>
                    <a:pt x="8" y="29"/>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059" name="Google Shape;4059;p104"/>
            <p:cNvSpPr/>
            <p:nvPr/>
          </p:nvSpPr>
          <p:spPr>
            <a:xfrm>
              <a:off x="2701774" y="1865795"/>
              <a:ext cx="204" cy="489"/>
            </a:xfrm>
            <a:custGeom>
              <a:avLst/>
              <a:gdLst/>
              <a:ahLst/>
              <a:cxnLst/>
              <a:rect l="l" t="t" r="r" b="b"/>
              <a:pathLst>
                <a:path w="15" h="36" extrusionOk="0">
                  <a:moveTo>
                    <a:pt x="0" y="0"/>
                  </a:moveTo>
                  <a:cubicBezTo>
                    <a:pt x="4" y="11"/>
                    <a:pt x="11" y="21"/>
                    <a:pt x="14" y="35"/>
                  </a:cubicBezTo>
                  <a:cubicBezTo>
                    <a:pt x="11" y="21"/>
                    <a:pt x="7" y="11"/>
                    <a:pt x="0"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060" name="Google Shape;4060;p104"/>
            <p:cNvSpPr/>
            <p:nvPr/>
          </p:nvSpPr>
          <p:spPr>
            <a:xfrm>
              <a:off x="2730667" y="1873439"/>
              <a:ext cx="163" cy="964"/>
            </a:xfrm>
            <a:custGeom>
              <a:avLst/>
              <a:gdLst/>
              <a:ahLst/>
              <a:cxnLst/>
              <a:rect l="l" t="t" r="r" b="b"/>
              <a:pathLst>
                <a:path w="12" h="71" extrusionOk="0">
                  <a:moveTo>
                    <a:pt x="11" y="7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061" name="Google Shape;4061;p104"/>
            <p:cNvSpPr/>
            <p:nvPr/>
          </p:nvSpPr>
          <p:spPr>
            <a:xfrm>
              <a:off x="2730911" y="1874919"/>
              <a:ext cx="149" cy="1005"/>
            </a:xfrm>
            <a:custGeom>
              <a:avLst/>
              <a:gdLst/>
              <a:ahLst/>
              <a:cxnLst/>
              <a:rect l="l" t="t" r="r" b="b"/>
              <a:pathLst>
                <a:path w="11" h="74" extrusionOk="0">
                  <a:moveTo>
                    <a:pt x="11" y="7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062" name="Google Shape;4062;p104"/>
            <p:cNvSpPr/>
            <p:nvPr/>
          </p:nvSpPr>
          <p:spPr>
            <a:xfrm>
              <a:off x="2702290" y="1867071"/>
              <a:ext cx="109" cy="353"/>
            </a:xfrm>
            <a:custGeom>
              <a:avLst/>
              <a:gdLst/>
              <a:ahLst/>
              <a:cxnLst/>
              <a:rect l="l" t="t" r="r" b="b"/>
              <a:pathLst>
                <a:path w="8" h="26" extrusionOk="0">
                  <a:moveTo>
                    <a:pt x="1" y="1"/>
                  </a:moveTo>
                  <a:lnTo>
                    <a:pt x="8" y="25"/>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063" name="Google Shape;4063;p104"/>
            <p:cNvSpPr/>
            <p:nvPr/>
          </p:nvSpPr>
          <p:spPr>
            <a:xfrm>
              <a:off x="2703675" y="1872638"/>
              <a:ext cx="54" cy="434"/>
            </a:xfrm>
            <a:custGeom>
              <a:avLst/>
              <a:gdLst/>
              <a:ahLst/>
              <a:cxnLst/>
              <a:rect l="l" t="t" r="r" b="b"/>
              <a:pathLst>
                <a:path w="4" h="32" extrusionOk="0">
                  <a:moveTo>
                    <a:pt x="0" y="0"/>
                  </a:moveTo>
                  <a:lnTo>
                    <a:pt x="4" y="32"/>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064" name="Google Shape;4064;p104"/>
            <p:cNvSpPr/>
            <p:nvPr/>
          </p:nvSpPr>
          <p:spPr>
            <a:xfrm>
              <a:off x="2703485" y="1871728"/>
              <a:ext cx="109" cy="448"/>
            </a:xfrm>
            <a:custGeom>
              <a:avLst/>
              <a:gdLst/>
              <a:ahLst/>
              <a:cxnLst/>
              <a:rect l="l" t="t" r="r" b="b"/>
              <a:pathLst>
                <a:path w="8" h="33" extrusionOk="0">
                  <a:moveTo>
                    <a:pt x="0" y="1"/>
                  </a:moveTo>
                  <a:lnTo>
                    <a:pt x="7" y="32"/>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065" name="Google Shape;4065;p104"/>
            <p:cNvSpPr/>
            <p:nvPr/>
          </p:nvSpPr>
          <p:spPr>
            <a:xfrm>
              <a:off x="2702670" y="1868497"/>
              <a:ext cx="163" cy="353"/>
            </a:xfrm>
            <a:custGeom>
              <a:avLst/>
              <a:gdLst/>
              <a:ahLst/>
              <a:cxnLst/>
              <a:rect l="l" t="t" r="r" b="b"/>
              <a:pathLst>
                <a:path w="12" h="26" extrusionOk="0">
                  <a:moveTo>
                    <a:pt x="1" y="1"/>
                  </a:moveTo>
                  <a:lnTo>
                    <a:pt x="11" y="25"/>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066" name="Google Shape;4066;p104"/>
            <p:cNvSpPr/>
            <p:nvPr/>
          </p:nvSpPr>
          <p:spPr>
            <a:xfrm>
              <a:off x="2731142" y="1876345"/>
              <a:ext cx="14" cy="109"/>
            </a:xfrm>
            <a:custGeom>
              <a:avLst/>
              <a:gdLst/>
              <a:ahLst/>
              <a:cxnLst/>
              <a:rect l="l" t="t" r="r" b="b"/>
              <a:pathLst>
                <a:path w="1" h="8" extrusionOk="0">
                  <a:moveTo>
                    <a:pt x="1" y="7"/>
                  </a:moveTo>
                  <a:lnTo>
                    <a:pt x="1" y="7"/>
                  </a:lnTo>
                  <a:lnTo>
                    <a:pt x="1"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067" name="Google Shape;4067;p104"/>
            <p:cNvSpPr/>
            <p:nvPr/>
          </p:nvSpPr>
          <p:spPr>
            <a:xfrm>
              <a:off x="2699819" y="1855802"/>
              <a:ext cx="1969" cy="10007"/>
            </a:xfrm>
            <a:custGeom>
              <a:avLst/>
              <a:gdLst/>
              <a:ahLst/>
              <a:cxnLst/>
              <a:rect l="l" t="t" r="r" b="b"/>
              <a:pathLst>
                <a:path w="145" h="737" extrusionOk="0">
                  <a:moveTo>
                    <a:pt x="144" y="736"/>
                  </a:moveTo>
                  <a:cubicBezTo>
                    <a:pt x="57" y="501"/>
                    <a:pt x="8" y="253"/>
                    <a:pt x="1" y="1"/>
                  </a:cubicBezTo>
                  <a:cubicBezTo>
                    <a:pt x="8" y="253"/>
                    <a:pt x="57" y="501"/>
                    <a:pt x="144" y="736"/>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068" name="Google Shape;4068;p104"/>
            <p:cNvSpPr/>
            <p:nvPr/>
          </p:nvSpPr>
          <p:spPr>
            <a:xfrm>
              <a:off x="2704191" y="1876345"/>
              <a:ext cx="68" cy="530"/>
            </a:xfrm>
            <a:custGeom>
              <a:avLst/>
              <a:gdLst/>
              <a:ahLst/>
              <a:cxnLst/>
              <a:rect l="l" t="t" r="r" b="b"/>
              <a:pathLst>
                <a:path w="5" h="39" extrusionOk="0">
                  <a:moveTo>
                    <a:pt x="1" y="0"/>
                  </a:moveTo>
                  <a:cubicBezTo>
                    <a:pt x="1" y="11"/>
                    <a:pt x="1" y="25"/>
                    <a:pt x="4" y="39"/>
                  </a:cubicBezTo>
                  <a:cubicBezTo>
                    <a:pt x="4" y="25"/>
                    <a:pt x="1" y="14"/>
                    <a:pt x="1"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069" name="Google Shape;4069;p104"/>
            <p:cNvSpPr/>
            <p:nvPr/>
          </p:nvSpPr>
          <p:spPr>
            <a:xfrm>
              <a:off x="2698543" y="1845022"/>
              <a:ext cx="299" cy="1195"/>
            </a:xfrm>
            <a:custGeom>
              <a:avLst/>
              <a:gdLst/>
              <a:ahLst/>
              <a:cxnLst/>
              <a:rect l="l" t="t" r="r" b="b"/>
              <a:pathLst>
                <a:path w="22" h="88" extrusionOk="0">
                  <a:moveTo>
                    <a:pt x="0" y="88"/>
                  </a:moveTo>
                  <a:cubicBezTo>
                    <a:pt x="0" y="56"/>
                    <a:pt x="7" y="28"/>
                    <a:pt x="21" y="0"/>
                  </a:cubicBezTo>
                  <a:cubicBezTo>
                    <a:pt x="7" y="28"/>
                    <a:pt x="0" y="56"/>
                    <a:pt x="0" y="88"/>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070" name="Google Shape;4070;p104"/>
            <p:cNvSpPr/>
            <p:nvPr/>
          </p:nvSpPr>
          <p:spPr>
            <a:xfrm>
              <a:off x="2703295" y="1870873"/>
              <a:ext cx="109" cy="448"/>
            </a:xfrm>
            <a:custGeom>
              <a:avLst/>
              <a:gdLst/>
              <a:ahLst/>
              <a:cxnLst/>
              <a:rect l="l" t="t" r="r" b="b"/>
              <a:pathLst>
                <a:path w="8" h="33" extrusionOk="0">
                  <a:moveTo>
                    <a:pt x="0" y="1"/>
                  </a:moveTo>
                  <a:lnTo>
                    <a:pt x="7" y="32"/>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071" name="Google Shape;4071;p104"/>
            <p:cNvSpPr/>
            <p:nvPr/>
          </p:nvSpPr>
          <p:spPr>
            <a:xfrm>
              <a:off x="2703960" y="1874485"/>
              <a:ext cx="54" cy="489"/>
            </a:xfrm>
            <a:custGeom>
              <a:avLst/>
              <a:gdLst/>
              <a:ahLst/>
              <a:cxnLst/>
              <a:rect l="l" t="t" r="r" b="b"/>
              <a:pathLst>
                <a:path w="4" h="36" extrusionOk="0">
                  <a:moveTo>
                    <a:pt x="0" y="1"/>
                  </a:moveTo>
                  <a:cubicBezTo>
                    <a:pt x="0" y="11"/>
                    <a:pt x="4" y="22"/>
                    <a:pt x="4" y="36"/>
                  </a:cubicBezTo>
                  <a:cubicBezTo>
                    <a:pt x="4" y="22"/>
                    <a:pt x="0" y="11"/>
                    <a:pt x="0" y="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072" name="Google Shape;4072;p104"/>
            <p:cNvSpPr/>
            <p:nvPr/>
          </p:nvSpPr>
          <p:spPr>
            <a:xfrm>
              <a:off x="2704245" y="1877241"/>
              <a:ext cx="54" cy="543"/>
            </a:xfrm>
            <a:custGeom>
              <a:avLst/>
              <a:gdLst/>
              <a:ahLst/>
              <a:cxnLst/>
              <a:rect l="l" t="t" r="r" b="b"/>
              <a:pathLst>
                <a:path w="4" h="40" extrusionOk="0">
                  <a:moveTo>
                    <a:pt x="0" y="1"/>
                  </a:moveTo>
                  <a:cubicBezTo>
                    <a:pt x="0" y="15"/>
                    <a:pt x="0" y="29"/>
                    <a:pt x="4" y="39"/>
                  </a:cubicBezTo>
                  <a:cubicBezTo>
                    <a:pt x="4" y="29"/>
                    <a:pt x="4" y="15"/>
                    <a:pt x="0" y="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073" name="Google Shape;4073;p104"/>
            <p:cNvSpPr/>
            <p:nvPr/>
          </p:nvSpPr>
          <p:spPr>
            <a:xfrm>
              <a:off x="2704055" y="1875394"/>
              <a:ext cx="109" cy="489"/>
            </a:xfrm>
            <a:custGeom>
              <a:avLst/>
              <a:gdLst/>
              <a:ahLst/>
              <a:cxnLst/>
              <a:rect l="l" t="t" r="r" b="b"/>
              <a:pathLst>
                <a:path w="8" h="36" extrusionOk="0">
                  <a:moveTo>
                    <a:pt x="0" y="0"/>
                  </a:moveTo>
                  <a:cubicBezTo>
                    <a:pt x="0" y="12"/>
                    <a:pt x="3" y="21"/>
                    <a:pt x="5" y="29"/>
                  </a:cubicBezTo>
                  <a:lnTo>
                    <a:pt x="5" y="29"/>
                  </a:lnTo>
                  <a:cubicBezTo>
                    <a:pt x="4" y="22"/>
                    <a:pt x="3" y="11"/>
                    <a:pt x="0" y="0"/>
                  </a:cubicBezTo>
                  <a:close/>
                  <a:moveTo>
                    <a:pt x="5" y="29"/>
                  </a:moveTo>
                  <a:lnTo>
                    <a:pt x="5" y="29"/>
                  </a:lnTo>
                  <a:cubicBezTo>
                    <a:pt x="6" y="31"/>
                    <a:pt x="7" y="34"/>
                    <a:pt x="7" y="35"/>
                  </a:cubicBezTo>
                  <a:cubicBezTo>
                    <a:pt x="7" y="33"/>
                    <a:pt x="6" y="31"/>
                    <a:pt x="5" y="29"/>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074" name="Google Shape;4074;p104"/>
            <p:cNvSpPr/>
            <p:nvPr/>
          </p:nvSpPr>
          <p:spPr>
            <a:xfrm>
              <a:off x="2704286" y="1878151"/>
              <a:ext cx="14" cy="109"/>
            </a:xfrm>
            <a:custGeom>
              <a:avLst/>
              <a:gdLst/>
              <a:ahLst/>
              <a:cxnLst/>
              <a:rect l="l" t="t" r="r" b="b"/>
              <a:pathLst>
                <a:path w="1" h="8" extrusionOk="0">
                  <a:moveTo>
                    <a:pt x="1" y="7"/>
                  </a:moveTo>
                  <a:lnTo>
                    <a:pt x="1"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075" name="Google Shape;4075;p104"/>
            <p:cNvSpPr/>
            <p:nvPr/>
          </p:nvSpPr>
          <p:spPr>
            <a:xfrm>
              <a:off x="2703811" y="1873534"/>
              <a:ext cx="68" cy="489"/>
            </a:xfrm>
            <a:custGeom>
              <a:avLst/>
              <a:gdLst/>
              <a:ahLst/>
              <a:cxnLst/>
              <a:rect l="l" t="t" r="r" b="b"/>
              <a:pathLst>
                <a:path w="5" h="36" extrusionOk="0">
                  <a:moveTo>
                    <a:pt x="1" y="1"/>
                  </a:moveTo>
                  <a:cubicBezTo>
                    <a:pt x="1" y="11"/>
                    <a:pt x="4" y="25"/>
                    <a:pt x="4" y="36"/>
                  </a:cubicBezTo>
                  <a:cubicBezTo>
                    <a:pt x="4" y="25"/>
                    <a:pt x="1" y="11"/>
                    <a:pt x="1" y="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076" name="Google Shape;4076;p104"/>
            <p:cNvSpPr/>
            <p:nvPr/>
          </p:nvSpPr>
          <p:spPr>
            <a:xfrm>
              <a:off x="2702059" y="1866460"/>
              <a:ext cx="149" cy="339"/>
            </a:xfrm>
            <a:custGeom>
              <a:avLst/>
              <a:gdLst/>
              <a:ahLst/>
              <a:cxnLst/>
              <a:rect l="l" t="t" r="r" b="b"/>
              <a:pathLst>
                <a:path w="11" h="25" extrusionOk="0">
                  <a:moveTo>
                    <a:pt x="0" y="0"/>
                  </a:moveTo>
                  <a:lnTo>
                    <a:pt x="11" y="25"/>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077" name="Google Shape;4077;p104"/>
            <p:cNvSpPr/>
            <p:nvPr/>
          </p:nvSpPr>
          <p:spPr>
            <a:xfrm>
              <a:off x="2698923" y="1616037"/>
              <a:ext cx="231211" cy="97731"/>
            </a:xfrm>
            <a:custGeom>
              <a:avLst/>
              <a:gdLst/>
              <a:ahLst/>
              <a:cxnLst/>
              <a:rect l="l" t="t" r="r" b="b"/>
              <a:pathLst>
                <a:path w="17029" h="7198" extrusionOk="0">
                  <a:moveTo>
                    <a:pt x="5595" y="0"/>
                  </a:moveTo>
                  <a:cubicBezTo>
                    <a:pt x="5581" y="0"/>
                    <a:pt x="5570" y="11"/>
                    <a:pt x="5539" y="72"/>
                  </a:cubicBezTo>
                  <a:cubicBezTo>
                    <a:pt x="5521" y="103"/>
                    <a:pt x="5500" y="135"/>
                    <a:pt x="5476" y="166"/>
                  </a:cubicBezTo>
                  <a:cubicBezTo>
                    <a:pt x="5434" y="198"/>
                    <a:pt x="5388" y="226"/>
                    <a:pt x="5339" y="240"/>
                  </a:cubicBezTo>
                  <a:cubicBezTo>
                    <a:pt x="5280" y="264"/>
                    <a:pt x="5210" y="292"/>
                    <a:pt x="5199" y="331"/>
                  </a:cubicBezTo>
                  <a:cubicBezTo>
                    <a:pt x="5178" y="404"/>
                    <a:pt x="5112" y="446"/>
                    <a:pt x="5056" y="485"/>
                  </a:cubicBezTo>
                  <a:cubicBezTo>
                    <a:pt x="4989" y="527"/>
                    <a:pt x="4968" y="548"/>
                    <a:pt x="4975" y="572"/>
                  </a:cubicBezTo>
                  <a:cubicBezTo>
                    <a:pt x="5024" y="768"/>
                    <a:pt x="5101" y="950"/>
                    <a:pt x="5147" y="989"/>
                  </a:cubicBezTo>
                  <a:cubicBezTo>
                    <a:pt x="5269" y="1087"/>
                    <a:pt x="5199" y="1325"/>
                    <a:pt x="5143" y="1402"/>
                  </a:cubicBezTo>
                  <a:cubicBezTo>
                    <a:pt x="5112" y="1444"/>
                    <a:pt x="5045" y="1465"/>
                    <a:pt x="4937" y="1503"/>
                  </a:cubicBezTo>
                  <a:cubicBezTo>
                    <a:pt x="4849" y="1531"/>
                    <a:pt x="4719" y="1577"/>
                    <a:pt x="4691" y="1623"/>
                  </a:cubicBezTo>
                  <a:cubicBezTo>
                    <a:pt x="4674" y="1658"/>
                    <a:pt x="4639" y="1686"/>
                    <a:pt x="4600" y="1696"/>
                  </a:cubicBezTo>
                  <a:cubicBezTo>
                    <a:pt x="4589" y="1699"/>
                    <a:pt x="4577" y="1700"/>
                    <a:pt x="4565" y="1700"/>
                  </a:cubicBezTo>
                  <a:cubicBezTo>
                    <a:pt x="4482" y="1700"/>
                    <a:pt x="4389" y="1641"/>
                    <a:pt x="4285" y="1577"/>
                  </a:cubicBezTo>
                  <a:cubicBezTo>
                    <a:pt x="4261" y="1563"/>
                    <a:pt x="4240" y="1545"/>
                    <a:pt x="4215" y="1531"/>
                  </a:cubicBezTo>
                  <a:cubicBezTo>
                    <a:pt x="4205" y="1528"/>
                    <a:pt x="4194" y="1524"/>
                    <a:pt x="4187" y="1517"/>
                  </a:cubicBezTo>
                  <a:cubicBezTo>
                    <a:pt x="4151" y="1502"/>
                    <a:pt x="4112" y="1492"/>
                    <a:pt x="4070" y="1492"/>
                  </a:cubicBezTo>
                  <a:cubicBezTo>
                    <a:pt x="4063" y="1492"/>
                    <a:pt x="4057" y="1493"/>
                    <a:pt x="4051" y="1493"/>
                  </a:cubicBezTo>
                  <a:cubicBezTo>
                    <a:pt x="3991" y="1496"/>
                    <a:pt x="3935" y="1510"/>
                    <a:pt x="3883" y="1542"/>
                  </a:cubicBezTo>
                  <a:cubicBezTo>
                    <a:pt x="3872" y="1545"/>
                    <a:pt x="3862" y="1552"/>
                    <a:pt x="3851" y="1559"/>
                  </a:cubicBezTo>
                  <a:lnTo>
                    <a:pt x="3844" y="1566"/>
                  </a:lnTo>
                  <a:cubicBezTo>
                    <a:pt x="3824" y="1580"/>
                    <a:pt x="3800" y="1587"/>
                    <a:pt x="3774" y="1587"/>
                  </a:cubicBezTo>
                  <a:cubicBezTo>
                    <a:pt x="3688" y="1587"/>
                    <a:pt x="3576" y="1522"/>
                    <a:pt x="3466" y="1458"/>
                  </a:cubicBezTo>
                  <a:cubicBezTo>
                    <a:pt x="3428" y="1433"/>
                    <a:pt x="3386" y="1412"/>
                    <a:pt x="3344" y="1395"/>
                  </a:cubicBezTo>
                  <a:cubicBezTo>
                    <a:pt x="3267" y="1381"/>
                    <a:pt x="3239" y="1290"/>
                    <a:pt x="3211" y="1192"/>
                  </a:cubicBezTo>
                  <a:cubicBezTo>
                    <a:pt x="3200" y="1157"/>
                    <a:pt x="3186" y="1125"/>
                    <a:pt x="3172" y="1090"/>
                  </a:cubicBezTo>
                  <a:lnTo>
                    <a:pt x="3162" y="1090"/>
                  </a:lnTo>
                  <a:cubicBezTo>
                    <a:pt x="3001" y="1090"/>
                    <a:pt x="2479" y="978"/>
                    <a:pt x="2402" y="961"/>
                  </a:cubicBezTo>
                  <a:cubicBezTo>
                    <a:pt x="2369" y="951"/>
                    <a:pt x="2329" y="947"/>
                    <a:pt x="2289" y="947"/>
                  </a:cubicBezTo>
                  <a:cubicBezTo>
                    <a:pt x="2200" y="947"/>
                    <a:pt x="2108" y="967"/>
                    <a:pt x="2094" y="989"/>
                  </a:cubicBezTo>
                  <a:cubicBezTo>
                    <a:pt x="2066" y="1055"/>
                    <a:pt x="1975" y="1076"/>
                    <a:pt x="1873" y="1097"/>
                  </a:cubicBezTo>
                  <a:cubicBezTo>
                    <a:pt x="1828" y="1108"/>
                    <a:pt x="1730" y="1129"/>
                    <a:pt x="1716" y="1153"/>
                  </a:cubicBezTo>
                  <a:cubicBezTo>
                    <a:pt x="1681" y="1223"/>
                    <a:pt x="1597" y="1265"/>
                    <a:pt x="1509" y="1311"/>
                  </a:cubicBezTo>
                  <a:cubicBezTo>
                    <a:pt x="1450" y="1332"/>
                    <a:pt x="1401" y="1367"/>
                    <a:pt x="1355" y="1409"/>
                  </a:cubicBezTo>
                  <a:cubicBezTo>
                    <a:pt x="1306" y="1465"/>
                    <a:pt x="1229" y="1489"/>
                    <a:pt x="1145" y="1517"/>
                  </a:cubicBezTo>
                  <a:cubicBezTo>
                    <a:pt x="1061" y="1545"/>
                    <a:pt x="970" y="1577"/>
                    <a:pt x="942" y="1633"/>
                  </a:cubicBezTo>
                  <a:cubicBezTo>
                    <a:pt x="876" y="1787"/>
                    <a:pt x="606" y="1864"/>
                    <a:pt x="392" y="1896"/>
                  </a:cubicBezTo>
                  <a:cubicBezTo>
                    <a:pt x="294" y="1910"/>
                    <a:pt x="200" y="1934"/>
                    <a:pt x="109" y="1973"/>
                  </a:cubicBezTo>
                  <a:lnTo>
                    <a:pt x="105" y="1976"/>
                  </a:lnTo>
                  <a:lnTo>
                    <a:pt x="98" y="1976"/>
                  </a:lnTo>
                  <a:lnTo>
                    <a:pt x="95" y="1980"/>
                  </a:lnTo>
                  <a:lnTo>
                    <a:pt x="91" y="1980"/>
                  </a:lnTo>
                  <a:lnTo>
                    <a:pt x="84" y="1983"/>
                  </a:lnTo>
                  <a:lnTo>
                    <a:pt x="77" y="1987"/>
                  </a:lnTo>
                  <a:lnTo>
                    <a:pt x="74" y="1990"/>
                  </a:lnTo>
                  <a:cubicBezTo>
                    <a:pt x="74" y="1997"/>
                    <a:pt x="70" y="2004"/>
                    <a:pt x="70" y="2008"/>
                  </a:cubicBezTo>
                  <a:cubicBezTo>
                    <a:pt x="67" y="2015"/>
                    <a:pt x="63" y="2022"/>
                    <a:pt x="60" y="2025"/>
                  </a:cubicBezTo>
                  <a:cubicBezTo>
                    <a:pt x="56" y="2029"/>
                    <a:pt x="53" y="2032"/>
                    <a:pt x="49" y="2036"/>
                  </a:cubicBezTo>
                  <a:lnTo>
                    <a:pt x="46" y="2039"/>
                  </a:lnTo>
                  <a:lnTo>
                    <a:pt x="39" y="2046"/>
                  </a:lnTo>
                  <a:lnTo>
                    <a:pt x="32" y="2050"/>
                  </a:lnTo>
                  <a:cubicBezTo>
                    <a:pt x="21" y="2060"/>
                    <a:pt x="11" y="2064"/>
                    <a:pt x="0" y="2067"/>
                  </a:cubicBezTo>
                  <a:lnTo>
                    <a:pt x="4" y="2085"/>
                  </a:lnTo>
                  <a:cubicBezTo>
                    <a:pt x="4" y="2092"/>
                    <a:pt x="7" y="2102"/>
                    <a:pt x="7" y="2109"/>
                  </a:cubicBezTo>
                  <a:cubicBezTo>
                    <a:pt x="11" y="2116"/>
                    <a:pt x="11" y="2120"/>
                    <a:pt x="11" y="2127"/>
                  </a:cubicBezTo>
                  <a:cubicBezTo>
                    <a:pt x="14" y="2134"/>
                    <a:pt x="14" y="2141"/>
                    <a:pt x="18" y="2148"/>
                  </a:cubicBezTo>
                  <a:lnTo>
                    <a:pt x="21" y="2165"/>
                  </a:lnTo>
                  <a:cubicBezTo>
                    <a:pt x="21" y="2172"/>
                    <a:pt x="25" y="2176"/>
                    <a:pt x="28" y="2183"/>
                  </a:cubicBezTo>
                  <a:lnTo>
                    <a:pt x="32" y="2197"/>
                  </a:lnTo>
                  <a:lnTo>
                    <a:pt x="39" y="2214"/>
                  </a:lnTo>
                  <a:lnTo>
                    <a:pt x="46" y="2228"/>
                  </a:lnTo>
                  <a:lnTo>
                    <a:pt x="49" y="2242"/>
                  </a:lnTo>
                  <a:lnTo>
                    <a:pt x="56" y="2256"/>
                  </a:lnTo>
                  <a:lnTo>
                    <a:pt x="63" y="2270"/>
                  </a:lnTo>
                  <a:lnTo>
                    <a:pt x="70" y="2281"/>
                  </a:lnTo>
                  <a:lnTo>
                    <a:pt x="77" y="2291"/>
                  </a:lnTo>
                  <a:lnTo>
                    <a:pt x="84" y="2302"/>
                  </a:lnTo>
                  <a:lnTo>
                    <a:pt x="91" y="2312"/>
                  </a:lnTo>
                  <a:lnTo>
                    <a:pt x="98" y="2323"/>
                  </a:lnTo>
                  <a:lnTo>
                    <a:pt x="109" y="2330"/>
                  </a:lnTo>
                  <a:lnTo>
                    <a:pt x="116" y="2340"/>
                  </a:lnTo>
                  <a:lnTo>
                    <a:pt x="123" y="2347"/>
                  </a:lnTo>
                  <a:lnTo>
                    <a:pt x="133" y="2358"/>
                  </a:lnTo>
                  <a:lnTo>
                    <a:pt x="140" y="2365"/>
                  </a:lnTo>
                  <a:lnTo>
                    <a:pt x="151" y="2372"/>
                  </a:lnTo>
                  <a:lnTo>
                    <a:pt x="158" y="2379"/>
                  </a:lnTo>
                  <a:lnTo>
                    <a:pt x="168" y="2386"/>
                  </a:lnTo>
                  <a:lnTo>
                    <a:pt x="175" y="2393"/>
                  </a:lnTo>
                  <a:lnTo>
                    <a:pt x="193" y="2403"/>
                  </a:lnTo>
                  <a:lnTo>
                    <a:pt x="196" y="2407"/>
                  </a:lnTo>
                  <a:lnTo>
                    <a:pt x="214" y="2417"/>
                  </a:lnTo>
                  <a:lnTo>
                    <a:pt x="235" y="2431"/>
                  </a:lnTo>
                  <a:cubicBezTo>
                    <a:pt x="256" y="2445"/>
                    <a:pt x="284" y="2463"/>
                    <a:pt x="308" y="2480"/>
                  </a:cubicBezTo>
                  <a:cubicBezTo>
                    <a:pt x="326" y="2494"/>
                    <a:pt x="347" y="2508"/>
                    <a:pt x="364" y="2526"/>
                  </a:cubicBezTo>
                  <a:cubicBezTo>
                    <a:pt x="504" y="2645"/>
                    <a:pt x="623" y="2739"/>
                    <a:pt x="760" y="2771"/>
                  </a:cubicBezTo>
                  <a:cubicBezTo>
                    <a:pt x="778" y="2774"/>
                    <a:pt x="799" y="2774"/>
                    <a:pt x="820" y="2778"/>
                  </a:cubicBezTo>
                  <a:cubicBezTo>
                    <a:pt x="1016" y="2792"/>
                    <a:pt x="1320" y="3012"/>
                    <a:pt x="1348" y="3215"/>
                  </a:cubicBezTo>
                  <a:cubicBezTo>
                    <a:pt x="1352" y="3222"/>
                    <a:pt x="1352" y="3233"/>
                    <a:pt x="1355" y="3240"/>
                  </a:cubicBezTo>
                  <a:cubicBezTo>
                    <a:pt x="1387" y="3362"/>
                    <a:pt x="1523" y="3513"/>
                    <a:pt x="1618" y="3586"/>
                  </a:cubicBezTo>
                  <a:cubicBezTo>
                    <a:pt x="1628" y="3597"/>
                    <a:pt x="1639" y="3607"/>
                    <a:pt x="1646" y="3618"/>
                  </a:cubicBezTo>
                  <a:cubicBezTo>
                    <a:pt x="1670" y="3653"/>
                    <a:pt x="1681" y="3699"/>
                    <a:pt x="1681" y="3741"/>
                  </a:cubicBezTo>
                  <a:cubicBezTo>
                    <a:pt x="1674" y="3814"/>
                    <a:pt x="1663" y="3884"/>
                    <a:pt x="1646" y="3954"/>
                  </a:cubicBezTo>
                  <a:cubicBezTo>
                    <a:pt x="1625" y="4031"/>
                    <a:pt x="1614" y="4108"/>
                    <a:pt x="1607" y="4189"/>
                  </a:cubicBezTo>
                  <a:cubicBezTo>
                    <a:pt x="1604" y="4276"/>
                    <a:pt x="1569" y="4360"/>
                    <a:pt x="1506" y="4427"/>
                  </a:cubicBezTo>
                  <a:cubicBezTo>
                    <a:pt x="1453" y="4493"/>
                    <a:pt x="1429" y="4525"/>
                    <a:pt x="1474" y="4602"/>
                  </a:cubicBezTo>
                  <a:cubicBezTo>
                    <a:pt x="1572" y="4756"/>
                    <a:pt x="2349" y="4871"/>
                    <a:pt x="2650" y="4871"/>
                  </a:cubicBezTo>
                  <a:cubicBezTo>
                    <a:pt x="2843" y="4871"/>
                    <a:pt x="2952" y="4990"/>
                    <a:pt x="3025" y="5067"/>
                  </a:cubicBezTo>
                  <a:cubicBezTo>
                    <a:pt x="3039" y="5088"/>
                    <a:pt x="3057" y="5102"/>
                    <a:pt x="3074" y="5120"/>
                  </a:cubicBezTo>
                  <a:cubicBezTo>
                    <a:pt x="3148" y="5134"/>
                    <a:pt x="3214" y="5176"/>
                    <a:pt x="3256" y="5235"/>
                  </a:cubicBezTo>
                  <a:lnTo>
                    <a:pt x="3277" y="5256"/>
                  </a:lnTo>
                  <a:cubicBezTo>
                    <a:pt x="3319" y="5309"/>
                    <a:pt x="3358" y="5351"/>
                    <a:pt x="3428" y="5365"/>
                  </a:cubicBezTo>
                  <a:cubicBezTo>
                    <a:pt x="3501" y="5379"/>
                    <a:pt x="3571" y="5407"/>
                    <a:pt x="3638" y="5449"/>
                  </a:cubicBezTo>
                  <a:cubicBezTo>
                    <a:pt x="3767" y="5533"/>
                    <a:pt x="3855" y="5673"/>
                    <a:pt x="3900" y="5876"/>
                  </a:cubicBezTo>
                  <a:cubicBezTo>
                    <a:pt x="3925" y="5985"/>
                    <a:pt x="3970" y="6086"/>
                    <a:pt x="4040" y="6174"/>
                  </a:cubicBezTo>
                  <a:cubicBezTo>
                    <a:pt x="4061" y="6198"/>
                    <a:pt x="4079" y="6223"/>
                    <a:pt x="4096" y="6244"/>
                  </a:cubicBezTo>
                  <a:cubicBezTo>
                    <a:pt x="4152" y="6300"/>
                    <a:pt x="4191" y="6366"/>
                    <a:pt x="4215" y="6436"/>
                  </a:cubicBezTo>
                  <a:cubicBezTo>
                    <a:pt x="4221" y="6456"/>
                    <a:pt x="4289" y="6461"/>
                    <a:pt x="4363" y="6461"/>
                  </a:cubicBezTo>
                  <a:cubicBezTo>
                    <a:pt x="4418" y="6461"/>
                    <a:pt x="4476" y="6459"/>
                    <a:pt x="4516" y="6457"/>
                  </a:cubicBezTo>
                  <a:cubicBezTo>
                    <a:pt x="4574" y="6452"/>
                    <a:pt x="4633" y="6449"/>
                    <a:pt x="4691" y="6449"/>
                  </a:cubicBezTo>
                  <a:cubicBezTo>
                    <a:pt x="4750" y="6449"/>
                    <a:pt x="4809" y="6452"/>
                    <a:pt x="4867" y="6457"/>
                  </a:cubicBezTo>
                  <a:cubicBezTo>
                    <a:pt x="5003" y="6475"/>
                    <a:pt x="5273" y="6475"/>
                    <a:pt x="5535" y="6475"/>
                  </a:cubicBezTo>
                  <a:cubicBezTo>
                    <a:pt x="5805" y="6475"/>
                    <a:pt x="6060" y="6475"/>
                    <a:pt x="6172" y="6492"/>
                  </a:cubicBezTo>
                  <a:cubicBezTo>
                    <a:pt x="6221" y="6499"/>
                    <a:pt x="6291" y="6506"/>
                    <a:pt x="6372" y="6510"/>
                  </a:cubicBezTo>
                  <a:lnTo>
                    <a:pt x="6466" y="6517"/>
                  </a:lnTo>
                  <a:cubicBezTo>
                    <a:pt x="6701" y="6534"/>
                    <a:pt x="6988" y="6566"/>
                    <a:pt x="7188" y="6716"/>
                  </a:cubicBezTo>
                  <a:cubicBezTo>
                    <a:pt x="7266" y="6780"/>
                    <a:pt x="7364" y="6815"/>
                    <a:pt x="7465" y="6815"/>
                  </a:cubicBezTo>
                  <a:cubicBezTo>
                    <a:pt x="7486" y="6815"/>
                    <a:pt x="7506" y="6814"/>
                    <a:pt x="7527" y="6811"/>
                  </a:cubicBezTo>
                  <a:cubicBezTo>
                    <a:pt x="7549" y="6807"/>
                    <a:pt x="7571" y="6806"/>
                    <a:pt x="7593" y="6806"/>
                  </a:cubicBezTo>
                  <a:cubicBezTo>
                    <a:pt x="7658" y="6806"/>
                    <a:pt x="7721" y="6821"/>
                    <a:pt x="7779" y="6853"/>
                  </a:cubicBezTo>
                  <a:cubicBezTo>
                    <a:pt x="7923" y="6939"/>
                    <a:pt x="8028" y="6994"/>
                    <a:pt x="8187" y="6994"/>
                  </a:cubicBezTo>
                  <a:cubicBezTo>
                    <a:pt x="8222" y="6994"/>
                    <a:pt x="8260" y="6992"/>
                    <a:pt x="8301" y="6986"/>
                  </a:cubicBezTo>
                  <a:cubicBezTo>
                    <a:pt x="8322" y="6982"/>
                    <a:pt x="8343" y="6979"/>
                    <a:pt x="8360" y="6979"/>
                  </a:cubicBezTo>
                  <a:cubicBezTo>
                    <a:pt x="8374" y="6979"/>
                    <a:pt x="8388" y="6982"/>
                    <a:pt x="8402" y="6982"/>
                  </a:cubicBezTo>
                  <a:lnTo>
                    <a:pt x="8413" y="6982"/>
                  </a:lnTo>
                  <a:cubicBezTo>
                    <a:pt x="8423" y="6986"/>
                    <a:pt x="8434" y="6986"/>
                    <a:pt x="8444" y="6989"/>
                  </a:cubicBezTo>
                  <a:lnTo>
                    <a:pt x="8455" y="6993"/>
                  </a:lnTo>
                  <a:cubicBezTo>
                    <a:pt x="8465" y="6996"/>
                    <a:pt x="8476" y="7000"/>
                    <a:pt x="8483" y="7003"/>
                  </a:cubicBezTo>
                  <a:lnTo>
                    <a:pt x="8493" y="7007"/>
                  </a:lnTo>
                  <a:cubicBezTo>
                    <a:pt x="8500" y="7010"/>
                    <a:pt x="8507" y="7017"/>
                    <a:pt x="8518" y="7021"/>
                  </a:cubicBezTo>
                  <a:lnTo>
                    <a:pt x="8525" y="7024"/>
                  </a:lnTo>
                  <a:lnTo>
                    <a:pt x="8546" y="7038"/>
                  </a:lnTo>
                  <a:lnTo>
                    <a:pt x="8549" y="7045"/>
                  </a:lnTo>
                  <a:lnTo>
                    <a:pt x="8570" y="7063"/>
                  </a:lnTo>
                  <a:lnTo>
                    <a:pt x="8577" y="7066"/>
                  </a:lnTo>
                  <a:lnTo>
                    <a:pt x="8598" y="7087"/>
                  </a:lnTo>
                  <a:lnTo>
                    <a:pt x="8602" y="7091"/>
                  </a:lnTo>
                  <a:lnTo>
                    <a:pt x="8619" y="7108"/>
                  </a:lnTo>
                  <a:cubicBezTo>
                    <a:pt x="8651" y="7150"/>
                    <a:pt x="8693" y="7182"/>
                    <a:pt x="8742" y="7196"/>
                  </a:cubicBezTo>
                  <a:cubicBezTo>
                    <a:pt x="8748" y="7197"/>
                    <a:pt x="8754" y="7198"/>
                    <a:pt x="8761" y="7198"/>
                  </a:cubicBezTo>
                  <a:cubicBezTo>
                    <a:pt x="8843" y="7198"/>
                    <a:pt x="8985" y="7104"/>
                    <a:pt x="9134" y="7007"/>
                  </a:cubicBezTo>
                  <a:cubicBezTo>
                    <a:pt x="9299" y="6895"/>
                    <a:pt x="9474" y="6797"/>
                    <a:pt x="9656" y="6709"/>
                  </a:cubicBezTo>
                  <a:cubicBezTo>
                    <a:pt x="9705" y="6685"/>
                    <a:pt x="9757" y="6664"/>
                    <a:pt x="9810" y="6650"/>
                  </a:cubicBezTo>
                  <a:cubicBezTo>
                    <a:pt x="9944" y="6610"/>
                    <a:pt x="10082" y="6589"/>
                    <a:pt x="10222" y="6589"/>
                  </a:cubicBezTo>
                  <a:cubicBezTo>
                    <a:pt x="10242" y="6589"/>
                    <a:pt x="10262" y="6589"/>
                    <a:pt x="10282" y="6590"/>
                  </a:cubicBezTo>
                  <a:cubicBezTo>
                    <a:pt x="10377" y="6590"/>
                    <a:pt x="10471" y="6597"/>
                    <a:pt x="10566" y="6611"/>
                  </a:cubicBezTo>
                  <a:cubicBezTo>
                    <a:pt x="10653" y="6622"/>
                    <a:pt x="10737" y="6636"/>
                    <a:pt x="10804" y="6646"/>
                  </a:cubicBezTo>
                  <a:lnTo>
                    <a:pt x="10856" y="6657"/>
                  </a:lnTo>
                  <a:lnTo>
                    <a:pt x="10923" y="6667"/>
                  </a:lnTo>
                  <a:cubicBezTo>
                    <a:pt x="10945" y="6670"/>
                    <a:pt x="10968" y="6672"/>
                    <a:pt x="10994" y="6672"/>
                  </a:cubicBezTo>
                  <a:cubicBezTo>
                    <a:pt x="11224" y="6672"/>
                    <a:pt x="11605" y="6545"/>
                    <a:pt x="11851" y="6265"/>
                  </a:cubicBezTo>
                  <a:cubicBezTo>
                    <a:pt x="11970" y="6142"/>
                    <a:pt x="12113" y="6048"/>
                    <a:pt x="12271" y="5985"/>
                  </a:cubicBezTo>
                  <a:cubicBezTo>
                    <a:pt x="12418" y="5922"/>
                    <a:pt x="12491" y="5883"/>
                    <a:pt x="12505" y="5771"/>
                  </a:cubicBezTo>
                  <a:cubicBezTo>
                    <a:pt x="12519" y="5662"/>
                    <a:pt x="12470" y="5589"/>
                    <a:pt x="12418" y="5508"/>
                  </a:cubicBezTo>
                  <a:cubicBezTo>
                    <a:pt x="12351" y="5403"/>
                    <a:pt x="12278" y="5284"/>
                    <a:pt x="12372" y="5116"/>
                  </a:cubicBezTo>
                  <a:cubicBezTo>
                    <a:pt x="12463" y="4954"/>
                    <a:pt x="12605" y="4889"/>
                    <a:pt x="12747" y="4889"/>
                  </a:cubicBezTo>
                  <a:cubicBezTo>
                    <a:pt x="12829" y="4889"/>
                    <a:pt x="12912" y="4911"/>
                    <a:pt x="12985" y="4948"/>
                  </a:cubicBezTo>
                  <a:cubicBezTo>
                    <a:pt x="13098" y="5000"/>
                    <a:pt x="13218" y="5026"/>
                    <a:pt x="13337" y="5026"/>
                  </a:cubicBezTo>
                  <a:cubicBezTo>
                    <a:pt x="13500" y="5026"/>
                    <a:pt x="13661" y="4978"/>
                    <a:pt x="13801" y="4885"/>
                  </a:cubicBezTo>
                  <a:cubicBezTo>
                    <a:pt x="14105" y="4672"/>
                    <a:pt x="14266" y="4658"/>
                    <a:pt x="14490" y="4640"/>
                  </a:cubicBezTo>
                  <a:cubicBezTo>
                    <a:pt x="14536" y="4637"/>
                    <a:pt x="14585" y="4633"/>
                    <a:pt x="14641" y="4626"/>
                  </a:cubicBezTo>
                  <a:cubicBezTo>
                    <a:pt x="14816" y="4605"/>
                    <a:pt x="14858" y="4535"/>
                    <a:pt x="14928" y="4413"/>
                  </a:cubicBezTo>
                  <a:cubicBezTo>
                    <a:pt x="14973" y="4332"/>
                    <a:pt x="15029" y="4255"/>
                    <a:pt x="15096" y="4185"/>
                  </a:cubicBezTo>
                  <a:cubicBezTo>
                    <a:pt x="15282" y="3993"/>
                    <a:pt x="15541" y="3884"/>
                    <a:pt x="15810" y="3884"/>
                  </a:cubicBezTo>
                  <a:cubicBezTo>
                    <a:pt x="15905" y="3877"/>
                    <a:pt x="15996" y="3853"/>
                    <a:pt x="16080" y="3814"/>
                  </a:cubicBezTo>
                  <a:cubicBezTo>
                    <a:pt x="16194" y="3773"/>
                    <a:pt x="16309" y="3729"/>
                    <a:pt x="16420" y="3729"/>
                  </a:cubicBezTo>
                  <a:cubicBezTo>
                    <a:pt x="16459" y="3729"/>
                    <a:pt x="16497" y="3735"/>
                    <a:pt x="16535" y="3748"/>
                  </a:cubicBezTo>
                  <a:cubicBezTo>
                    <a:pt x="16633" y="3780"/>
                    <a:pt x="16747" y="3802"/>
                    <a:pt x="16841" y="3802"/>
                  </a:cubicBezTo>
                  <a:cubicBezTo>
                    <a:pt x="16897" y="3802"/>
                    <a:pt x="16946" y="3794"/>
                    <a:pt x="16979" y="3776"/>
                  </a:cubicBezTo>
                  <a:cubicBezTo>
                    <a:pt x="16997" y="3765"/>
                    <a:pt x="17011" y="3748"/>
                    <a:pt x="17014" y="3727"/>
                  </a:cubicBezTo>
                  <a:cubicBezTo>
                    <a:pt x="17028" y="3653"/>
                    <a:pt x="16769" y="3436"/>
                    <a:pt x="16629" y="3317"/>
                  </a:cubicBezTo>
                  <a:cubicBezTo>
                    <a:pt x="16517" y="3233"/>
                    <a:pt x="16416" y="3142"/>
                    <a:pt x="16325" y="3040"/>
                  </a:cubicBezTo>
                  <a:cubicBezTo>
                    <a:pt x="16304" y="3019"/>
                    <a:pt x="16283" y="2998"/>
                    <a:pt x="16258" y="2984"/>
                  </a:cubicBezTo>
                  <a:lnTo>
                    <a:pt x="16248" y="2977"/>
                  </a:lnTo>
                  <a:lnTo>
                    <a:pt x="16241" y="2974"/>
                  </a:lnTo>
                  <a:cubicBezTo>
                    <a:pt x="16234" y="2970"/>
                    <a:pt x="16227" y="2967"/>
                    <a:pt x="16220" y="2963"/>
                  </a:cubicBezTo>
                  <a:cubicBezTo>
                    <a:pt x="16213" y="2960"/>
                    <a:pt x="16202" y="2956"/>
                    <a:pt x="16192" y="2956"/>
                  </a:cubicBezTo>
                  <a:cubicBezTo>
                    <a:pt x="16185" y="2953"/>
                    <a:pt x="16174" y="2949"/>
                    <a:pt x="16164" y="2949"/>
                  </a:cubicBezTo>
                  <a:cubicBezTo>
                    <a:pt x="16153" y="2948"/>
                    <a:pt x="16143" y="2947"/>
                    <a:pt x="16132" y="2947"/>
                  </a:cubicBezTo>
                  <a:cubicBezTo>
                    <a:pt x="16122" y="2947"/>
                    <a:pt x="16111" y="2948"/>
                    <a:pt x="16101" y="2949"/>
                  </a:cubicBezTo>
                  <a:cubicBezTo>
                    <a:pt x="16017" y="2963"/>
                    <a:pt x="15947" y="3016"/>
                    <a:pt x="15908" y="3093"/>
                  </a:cubicBezTo>
                  <a:cubicBezTo>
                    <a:pt x="15894" y="3135"/>
                    <a:pt x="15863" y="3170"/>
                    <a:pt x="15821" y="3187"/>
                  </a:cubicBezTo>
                  <a:cubicBezTo>
                    <a:pt x="15805" y="3194"/>
                    <a:pt x="15789" y="3197"/>
                    <a:pt x="15773" y="3197"/>
                  </a:cubicBezTo>
                  <a:cubicBezTo>
                    <a:pt x="15727" y="3197"/>
                    <a:pt x="15679" y="3175"/>
                    <a:pt x="15625" y="3149"/>
                  </a:cubicBezTo>
                  <a:cubicBezTo>
                    <a:pt x="15534" y="3096"/>
                    <a:pt x="15429" y="3068"/>
                    <a:pt x="15320" y="3065"/>
                  </a:cubicBezTo>
                  <a:cubicBezTo>
                    <a:pt x="15236" y="3065"/>
                    <a:pt x="15155" y="3079"/>
                    <a:pt x="15078" y="3103"/>
                  </a:cubicBezTo>
                  <a:cubicBezTo>
                    <a:pt x="15027" y="3120"/>
                    <a:pt x="14982" y="3132"/>
                    <a:pt x="14939" y="3132"/>
                  </a:cubicBezTo>
                  <a:cubicBezTo>
                    <a:pt x="14869" y="3132"/>
                    <a:pt x="14801" y="3101"/>
                    <a:pt x="14711" y="3009"/>
                  </a:cubicBezTo>
                  <a:cubicBezTo>
                    <a:pt x="14627" y="2928"/>
                    <a:pt x="14599" y="2848"/>
                    <a:pt x="14616" y="2774"/>
                  </a:cubicBezTo>
                  <a:cubicBezTo>
                    <a:pt x="14641" y="2708"/>
                    <a:pt x="14697" y="2655"/>
                    <a:pt x="14767" y="2631"/>
                  </a:cubicBezTo>
                  <a:lnTo>
                    <a:pt x="14798" y="2379"/>
                  </a:lnTo>
                  <a:lnTo>
                    <a:pt x="15204" y="1563"/>
                  </a:lnTo>
                  <a:cubicBezTo>
                    <a:pt x="15138" y="1544"/>
                    <a:pt x="15068" y="1535"/>
                    <a:pt x="15012" y="1535"/>
                  </a:cubicBezTo>
                  <a:cubicBezTo>
                    <a:pt x="14976" y="1535"/>
                    <a:pt x="14945" y="1539"/>
                    <a:pt x="14924" y="1545"/>
                  </a:cubicBezTo>
                  <a:cubicBezTo>
                    <a:pt x="14914" y="1552"/>
                    <a:pt x="14903" y="1552"/>
                    <a:pt x="14893" y="1556"/>
                  </a:cubicBezTo>
                  <a:cubicBezTo>
                    <a:pt x="14845" y="1568"/>
                    <a:pt x="14797" y="1573"/>
                    <a:pt x="14750" y="1573"/>
                  </a:cubicBezTo>
                  <a:cubicBezTo>
                    <a:pt x="14729" y="1573"/>
                    <a:pt x="14707" y="1572"/>
                    <a:pt x="14686" y="1570"/>
                  </a:cubicBezTo>
                  <a:cubicBezTo>
                    <a:pt x="14613" y="1566"/>
                    <a:pt x="14539" y="1549"/>
                    <a:pt x="14473" y="1517"/>
                  </a:cubicBezTo>
                  <a:cubicBezTo>
                    <a:pt x="14438" y="1500"/>
                    <a:pt x="14406" y="1475"/>
                    <a:pt x="14385" y="1440"/>
                  </a:cubicBezTo>
                  <a:cubicBezTo>
                    <a:pt x="14382" y="1433"/>
                    <a:pt x="14375" y="1423"/>
                    <a:pt x="14371" y="1409"/>
                  </a:cubicBezTo>
                  <a:cubicBezTo>
                    <a:pt x="14342" y="1376"/>
                    <a:pt x="14212" y="1356"/>
                    <a:pt x="14081" y="1356"/>
                  </a:cubicBezTo>
                  <a:cubicBezTo>
                    <a:pt x="13962" y="1356"/>
                    <a:pt x="13842" y="1372"/>
                    <a:pt x="13794" y="1409"/>
                  </a:cubicBezTo>
                  <a:cubicBezTo>
                    <a:pt x="13734" y="1451"/>
                    <a:pt x="13668" y="1489"/>
                    <a:pt x="13598" y="1517"/>
                  </a:cubicBezTo>
                  <a:cubicBezTo>
                    <a:pt x="13524" y="1556"/>
                    <a:pt x="13388" y="1623"/>
                    <a:pt x="13384" y="1658"/>
                  </a:cubicBezTo>
                  <a:cubicBezTo>
                    <a:pt x="13374" y="1710"/>
                    <a:pt x="13339" y="1756"/>
                    <a:pt x="13286" y="1770"/>
                  </a:cubicBezTo>
                  <a:cubicBezTo>
                    <a:pt x="13227" y="1794"/>
                    <a:pt x="13167" y="1808"/>
                    <a:pt x="13107" y="1815"/>
                  </a:cubicBezTo>
                  <a:cubicBezTo>
                    <a:pt x="13041" y="1819"/>
                    <a:pt x="12978" y="1836"/>
                    <a:pt x="12918" y="1864"/>
                  </a:cubicBezTo>
                  <a:cubicBezTo>
                    <a:pt x="12855" y="1910"/>
                    <a:pt x="12712" y="1938"/>
                    <a:pt x="12498" y="1973"/>
                  </a:cubicBezTo>
                  <a:cubicBezTo>
                    <a:pt x="12407" y="1983"/>
                    <a:pt x="12313" y="2001"/>
                    <a:pt x="12225" y="2029"/>
                  </a:cubicBezTo>
                  <a:cubicBezTo>
                    <a:pt x="12208" y="2050"/>
                    <a:pt x="12183" y="2067"/>
                    <a:pt x="12155" y="2074"/>
                  </a:cubicBezTo>
                  <a:cubicBezTo>
                    <a:pt x="12095" y="2095"/>
                    <a:pt x="11951" y="2111"/>
                    <a:pt x="11803" y="2111"/>
                  </a:cubicBezTo>
                  <a:cubicBezTo>
                    <a:pt x="11635" y="2111"/>
                    <a:pt x="11462" y="2091"/>
                    <a:pt x="11399" y="2039"/>
                  </a:cubicBezTo>
                  <a:cubicBezTo>
                    <a:pt x="11371" y="2018"/>
                    <a:pt x="11231" y="2015"/>
                    <a:pt x="11137" y="2011"/>
                  </a:cubicBezTo>
                  <a:cubicBezTo>
                    <a:pt x="10933" y="2004"/>
                    <a:pt x="10744" y="1997"/>
                    <a:pt x="10688" y="1889"/>
                  </a:cubicBezTo>
                  <a:cubicBezTo>
                    <a:pt x="10653" y="1840"/>
                    <a:pt x="10608" y="1798"/>
                    <a:pt x="10555" y="1766"/>
                  </a:cubicBezTo>
                  <a:cubicBezTo>
                    <a:pt x="10475" y="1710"/>
                    <a:pt x="10394" y="1651"/>
                    <a:pt x="10391" y="1559"/>
                  </a:cubicBezTo>
                  <a:cubicBezTo>
                    <a:pt x="10338" y="1535"/>
                    <a:pt x="10282" y="1514"/>
                    <a:pt x="10226" y="1503"/>
                  </a:cubicBezTo>
                  <a:lnTo>
                    <a:pt x="10209" y="1500"/>
                  </a:lnTo>
                  <a:cubicBezTo>
                    <a:pt x="10086" y="1468"/>
                    <a:pt x="9981" y="1444"/>
                    <a:pt x="9946" y="1370"/>
                  </a:cubicBezTo>
                  <a:cubicBezTo>
                    <a:pt x="9928" y="1334"/>
                    <a:pt x="9737" y="1283"/>
                    <a:pt x="9648" y="1283"/>
                  </a:cubicBezTo>
                  <a:cubicBezTo>
                    <a:pt x="9635" y="1283"/>
                    <a:pt x="9625" y="1284"/>
                    <a:pt x="9617" y="1286"/>
                  </a:cubicBezTo>
                  <a:lnTo>
                    <a:pt x="9610" y="1290"/>
                  </a:lnTo>
                  <a:cubicBezTo>
                    <a:pt x="9597" y="1296"/>
                    <a:pt x="9581" y="1299"/>
                    <a:pt x="9561" y="1299"/>
                  </a:cubicBezTo>
                  <a:cubicBezTo>
                    <a:pt x="9507" y="1299"/>
                    <a:pt x="9423" y="1278"/>
                    <a:pt x="9278" y="1237"/>
                  </a:cubicBezTo>
                  <a:lnTo>
                    <a:pt x="9236" y="1223"/>
                  </a:lnTo>
                  <a:cubicBezTo>
                    <a:pt x="9190" y="1209"/>
                    <a:pt x="9148" y="1199"/>
                    <a:pt x="9117" y="1188"/>
                  </a:cubicBezTo>
                  <a:cubicBezTo>
                    <a:pt x="9099" y="1185"/>
                    <a:pt x="9085" y="1181"/>
                    <a:pt x="9075" y="1181"/>
                  </a:cubicBezTo>
                  <a:lnTo>
                    <a:pt x="9068" y="1181"/>
                  </a:lnTo>
                  <a:cubicBezTo>
                    <a:pt x="8976" y="1185"/>
                    <a:pt x="8885" y="1195"/>
                    <a:pt x="8798" y="1216"/>
                  </a:cubicBezTo>
                  <a:cubicBezTo>
                    <a:pt x="8731" y="1227"/>
                    <a:pt x="8668" y="1237"/>
                    <a:pt x="8623" y="1244"/>
                  </a:cubicBezTo>
                  <a:lnTo>
                    <a:pt x="8581" y="1244"/>
                  </a:lnTo>
                  <a:cubicBezTo>
                    <a:pt x="8553" y="1244"/>
                    <a:pt x="8479" y="1293"/>
                    <a:pt x="8423" y="1328"/>
                  </a:cubicBezTo>
                  <a:cubicBezTo>
                    <a:pt x="8350" y="1377"/>
                    <a:pt x="8273" y="1430"/>
                    <a:pt x="8203" y="1440"/>
                  </a:cubicBezTo>
                  <a:cubicBezTo>
                    <a:pt x="8198" y="1441"/>
                    <a:pt x="8193" y="1441"/>
                    <a:pt x="8188" y="1441"/>
                  </a:cubicBezTo>
                  <a:cubicBezTo>
                    <a:pt x="8118" y="1441"/>
                    <a:pt x="8020" y="1399"/>
                    <a:pt x="7916" y="1353"/>
                  </a:cubicBezTo>
                  <a:lnTo>
                    <a:pt x="7870" y="1332"/>
                  </a:lnTo>
                  <a:lnTo>
                    <a:pt x="7853" y="1325"/>
                  </a:lnTo>
                  <a:lnTo>
                    <a:pt x="7842" y="1321"/>
                  </a:lnTo>
                  <a:lnTo>
                    <a:pt x="7821" y="1311"/>
                  </a:lnTo>
                  <a:lnTo>
                    <a:pt x="7818" y="1311"/>
                  </a:lnTo>
                  <a:lnTo>
                    <a:pt x="7800" y="1307"/>
                  </a:lnTo>
                  <a:lnTo>
                    <a:pt x="7793" y="1304"/>
                  </a:lnTo>
                  <a:lnTo>
                    <a:pt x="7783" y="1300"/>
                  </a:lnTo>
                  <a:lnTo>
                    <a:pt x="7772" y="1297"/>
                  </a:lnTo>
                  <a:lnTo>
                    <a:pt x="7765" y="1297"/>
                  </a:lnTo>
                  <a:lnTo>
                    <a:pt x="7755" y="1293"/>
                  </a:lnTo>
                  <a:lnTo>
                    <a:pt x="7741" y="1293"/>
                  </a:lnTo>
                  <a:cubicBezTo>
                    <a:pt x="7729" y="1300"/>
                    <a:pt x="7713" y="1308"/>
                    <a:pt x="7689" y="1308"/>
                  </a:cubicBezTo>
                  <a:cubicBezTo>
                    <a:pt x="7663" y="1308"/>
                    <a:pt x="7628" y="1298"/>
                    <a:pt x="7580" y="1269"/>
                  </a:cubicBezTo>
                  <a:cubicBezTo>
                    <a:pt x="7475" y="1206"/>
                    <a:pt x="7366" y="1073"/>
                    <a:pt x="7317" y="1017"/>
                  </a:cubicBezTo>
                  <a:cubicBezTo>
                    <a:pt x="7258" y="947"/>
                    <a:pt x="7261" y="835"/>
                    <a:pt x="7265" y="723"/>
                  </a:cubicBezTo>
                  <a:cubicBezTo>
                    <a:pt x="7265" y="656"/>
                    <a:pt x="7268" y="572"/>
                    <a:pt x="7251" y="544"/>
                  </a:cubicBezTo>
                  <a:cubicBezTo>
                    <a:pt x="7230" y="513"/>
                    <a:pt x="7076" y="481"/>
                    <a:pt x="6992" y="467"/>
                  </a:cubicBezTo>
                  <a:lnTo>
                    <a:pt x="6953" y="460"/>
                  </a:lnTo>
                  <a:cubicBezTo>
                    <a:pt x="6879" y="453"/>
                    <a:pt x="6806" y="432"/>
                    <a:pt x="6736" y="401"/>
                  </a:cubicBezTo>
                  <a:cubicBezTo>
                    <a:pt x="6673" y="362"/>
                    <a:pt x="6470" y="250"/>
                    <a:pt x="6365" y="250"/>
                  </a:cubicBezTo>
                  <a:cubicBezTo>
                    <a:pt x="6277" y="250"/>
                    <a:pt x="6053" y="222"/>
                    <a:pt x="5980" y="149"/>
                  </a:cubicBezTo>
                  <a:cubicBezTo>
                    <a:pt x="5952" y="121"/>
                    <a:pt x="5770" y="51"/>
                    <a:pt x="5605" y="2"/>
                  </a:cubicBezTo>
                  <a:cubicBezTo>
                    <a:pt x="5601" y="1"/>
                    <a:pt x="5598" y="0"/>
                    <a:pt x="5595"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078" name="Google Shape;4078;p104"/>
            <p:cNvSpPr/>
            <p:nvPr/>
          </p:nvSpPr>
          <p:spPr>
            <a:xfrm>
              <a:off x="2305162" y="1791540"/>
              <a:ext cx="1914" cy="7047"/>
            </a:xfrm>
            <a:custGeom>
              <a:avLst/>
              <a:gdLst/>
              <a:ahLst/>
              <a:cxnLst/>
              <a:rect l="l" t="t" r="r" b="b"/>
              <a:pathLst>
                <a:path w="141" h="519" extrusionOk="0">
                  <a:moveTo>
                    <a:pt x="77" y="1"/>
                  </a:moveTo>
                  <a:cubicBezTo>
                    <a:pt x="39" y="39"/>
                    <a:pt x="0" y="263"/>
                    <a:pt x="0" y="333"/>
                  </a:cubicBezTo>
                  <a:cubicBezTo>
                    <a:pt x="0" y="337"/>
                    <a:pt x="0" y="340"/>
                    <a:pt x="0" y="340"/>
                  </a:cubicBezTo>
                  <a:lnTo>
                    <a:pt x="0" y="344"/>
                  </a:lnTo>
                  <a:lnTo>
                    <a:pt x="4" y="354"/>
                  </a:lnTo>
                  <a:lnTo>
                    <a:pt x="7" y="372"/>
                  </a:lnTo>
                  <a:lnTo>
                    <a:pt x="7" y="375"/>
                  </a:lnTo>
                  <a:lnTo>
                    <a:pt x="14" y="393"/>
                  </a:lnTo>
                  <a:lnTo>
                    <a:pt x="14" y="396"/>
                  </a:lnTo>
                  <a:cubicBezTo>
                    <a:pt x="18" y="403"/>
                    <a:pt x="21" y="410"/>
                    <a:pt x="25" y="421"/>
                  </a:cubicBezTo>
                  <a:lnTo>
                    <a:pt x="28" y="424"/>
                  </a:lnTo>
                  <a:lnTo>
                    <a:pt x="39" y="445"/>
                  </a:lnTo>
                  <a:lnTo>
                    <a:pt x="42" y="452"/>
                  </a:lnTo>
                  <a:cubicBezTo>
                    <a:pt x="49" y="463"/>
                    <a:pt x="53" y="473"/>
                    <a:pt x="60" y="484"/>
                  </a:cubicBezTo>
                  <a:lnTo>
                    <a:pt x="63" y="487"/>
                  </a:lnTo>
                  <a:lnTo>
                    <a:pt x="81" y="512"/>
                  </a:lnTo>
                  <a:lnTo>
                    <a:pt x="84" y="519"/>
                  </a:lnTo>
                  <a:lnTo>
                    <a:pt x="84" y="515"/>
                  </a:lnTo>
                  <a:cubicBezTo>
                    <a:pt x="88" y="480"/>
                    <a:pt x="88" y="445"/>
                    <a:pt x="91" y="410"/>
                  </a:cubicBezTo>
                  <a:cubicBezTo>
                    <a:pt x="95" y="375"/>
                    <a:pt x="95" y="344"/>
                    <a:pt x="98" y="312"/>
                  </a:cubicBezTo>
                  <a:lnTo>
                    <a:pt x="98" y="309"/>
                  </a:lnTo>
                  <a:cubicBezTo>
                    <a:pt x="102" y="214"/>
                    <a:pt x="112" y="120"/>
                    <a:pt x="126" y="29"/>
                  </a:cubicBezTo>
                  <a:lnTo>
                    <a:pt x="126" y="25"/>
                  </a:lnTo>
                  <a:cubicBezTo>
                    <a:pt x="133" y="22"/>
                    <a:pt x="137" y="11"/>
                    <a:pt x="140" y="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079" name="Google Shape;4079;p104"/>
            <p:cNvSpPr/>
            <p:nvPr/>
          </p:nvSpPr>
          <p:spPr>
            <a:xfrm>
              <a:off x="2298930" y="1785457"/>
              <a:ext cx="8853" cy="26449"/>
            </a:xfrm>
            <a:custGeom>
              <a:avLst/>
              <a:gdLst/>
              <a:ahLst/>
              <a:cxnLst/>
              <a:rect l="l" t="t" r="r" b="b"/>
              <a:pathLst>
                <a:path w="652" h="1948" extrusionOk="0">
                  <a:moveTo>
                    <a:pt x="480" y="1"/>
                  </a:moveTo>
                  <a:cubicBezTo>
                    <a:pt x="456" y="60"/>
                    <a:pt x="435" y="120"/>
                    <a:pt x="424" y="183"/>
                  </a:cubicBezTo>
                  <a:cubicBezTo>
                    <a:pt x="379" y="473"/>
                    <a:pt x="130" y="942"/>
                    <a:pt x="1" y="1152"/>
                  </a:cubicBezTo>
                  <a:lnTo>
                    <a:pt x="326" y="1947"/>
                  </a:lnTo>
                  <a:cubicBezTo>
                    <a:pt x="330" y="1916"/>
                    <a:pt x="337" y="1881"/>
                    <a:pt x="344" y="1846"/>
                  </a:cubicBezTo>
                  <a:lnTo>
                    <a:pt x="340" y="1828"/>
                  </a:lnTo>
                  <a:cubicBezTo>
                    <a:pt x="344" y="1811"/>
                    <a:pt x="347" y="1793"/>
                    <a:pt x="351" y="1779"/>
                  </a:cubicBezTo>
                  <a:lnTo>
                    <a:pt x="351" y="1769"/>
                  </a:lnTo>
                  <a:cubicBezTo>
                    <a:pt x="358" y="1730"/>
                    <a:pt x="365" y="1692"/>
                    <a:pt x="375" y="1657"/>
                  </a:cubicBezTo>
                  <a:lnTo>
                    <a:pt x="379" y="1643"/>
                  </a:lnTo>
                  <a:cubicBezTo>
                    <a:pt x="379" y="1629"/>
                    <a:pt x="382" y="1615"/>
                    <a:pt x="386" y="1604"/>
                  </a:cubicBezTo>
                  <a:lnTo>
                    <a:pt x="389" y="1590"/>
                  </a:lnTo>
                  <a:cubicBezTo>
                    <a:pt x="393" y="1576"/>
                    <a:pt x="396" y="1559"/>
                    <a:pt x="400" y="1544"/>
                  </a:cubicBezTo>
                  <a:lnTo>
                    <a:pt x="403" y="1534"/>
                  </a:lnTo>
                  <a:cubicBezTo>
                    <a:pt x="407" y="1523"/>
                    <a:pt x="410" y="1509"/>
                    <a:pt x="414" y="1499"/>
                  </a:cubicBezTo>
                  <a:lnTo>
                    <a:pt x="417" y="1488"/>
                  </a:lnTo>
                  <a:cubicBezTo>
                    <a:pt x="421" y="1478"/>
                    <a:pt x="424" y="1467"/>
                    <a:pt x="428" y="1457"/>
                  </a:cubicBezTo>
                  <a:lnTo>
                    <a:pt x="428" y="1450"/>
                  </a:lnTo>
                  <a:cubicBezTo>
                    <a:pt x="435" y="1436"/>
                    <a:pt x="438" y="1425"/>
                    <a:pt x="442" y="1415"/>
                  </a:cubicBezTo>
                  <a:lnTo>
                    <a:pt x="445" y="1408"/>
                  </a:lnTo>
                  <a:cubicBezTo>
                    <a:pt x="449" y="1401"/>
                    <a:pt x="452" y="1394"/>
                    <a:pt x="456" y="1387"/>
                  </a:cubicBezTo>
                  <a:lnTo>
                    <a:pt x="459" y="1380"/>
                  </a:lnTo>
                  <a:cubicBezTo>
                    <a:pt x="463" y="1373"/>
                    <a:pt x="466" y="1366"/>
                    <a:pt x="473" y="1359"/>
                  </a:cubicBezTo>
                  <a:cubicBezTo>
                    <a:pt x="473" y="1355"/>
                    <a:pt x="477" y="1352"/>
                    <a:pt x="480" y="1348"/>
                  </a:cubicBezTo>
                  <a:cubicBezTo>
                    <a:pt x="505" y="1285"/>
                    <a:pt x="519" y="1219"/>
                    <a:pt x="526" y="1152"/>
                  </a:cubicBezTo>
                  <a:cubicBezTo>
                    <a:pt x="512" y="1135"/>
                    <a:pt x="494" y="1117"/>
                    <a:pt x="480" y="1100"/>
                  </a:cubicBezTo>
                  <a:lnTo>
                    <a:pt x="477" y="1093"/>
                  </a:lnTo>
                  <a:cubicBezTo>
                    <a:pt x="463" y="1075"/>
                    <a:pt x="452" y="1061"/>
                    <a:pt x="442" y="1044"/>
                  </a:cubicBezTo>
                  <a:lnTo>
                    <a:pt x="435" y="1037"/>
                  </a:lnTo>
                  <a:cubicBezTo>
                    <a:pt x="424" y="1019"/>
                    <a:pt x="414" y="1005"/>
                    <a:pt x="407" y="988"/>
                  </a:cubicBezTo>
                  <a:lnTo>
                    <a:pt x="400" y="981"/>
                  </a:lnTo>
                  <a:cubicBezTo>
                    <a:pt x="393" y="967"/>
                    <a:pt x="382" y="949"/>
                    <a:pt x="375" y="939"/>
                  </a:cubicBezTo>
                  <a:lnTo>
                    <a:pt x="375" y="932"/>
                  </a:lnTo>
                  <a:cubicBezTo>
                    <a:pt x="368" y="918"/>
                    <a:pt x="361" y="904"/>
                    <a:pt x="354" y="886"/>
                  </a:cubicBezTo>
                  <a:lnTo>
                    <a:pt x="354" y="883"/>
                  </a:lnTo>
                  <a:cubicBezTo>
                    <a:pt x="351" y="869"/>
                    <a:pt x="347" y="858"/>
                    <a:pt x="344" y="844"/>
                  </a:cubicBezTo>
                  <a:lnTo>
                    <a:pt x="344" y="841"/>
                  </a:lnTo>
                  <a:cubicBezTo>
                    <a:pt x="340" y="830"/>
                    <a:pt x="337" y="820"/>
                    <a:pt x="333" y="809"/>
                  </a:cubicBezTo>
                  <a:cubicBezTo>
                    <a:pt x="333" y="802"/>
                    <a:pt x="333" y="795"/>
                    <a:pt x="333" y="785"/>
                  </a:cubicBezTo>
                  <a:cubicBezTo>
                    <a:pt x="333" y="781"/>
                    <a:pt x="347" y="386"/>
                    <a:pt x="487" y="330"/>
                  </a:cubicBezTo>
                  <a:lnTo>
                    <a:pt x="529" y="330"/>
                  </a:lnTo>
                  <a:cubicBezTo>
                    <a:pt x="554" y="326"/>
                    <a:pt x="578" y="326"/>
                    <a:pt x="599" y="326"/>
                  </a:cubicBezTo>
                  <a:lnTo>
                    <a:pt x="620" y="326"/>
                  </a:lnTo>
                  <a:cubicBezTo>
                    <a:pt x="624" y="309"/>
                    <a:pt x="627" y="291"/>
                    <a:pt x="627" y="270"/>
                  </a:cubicBezTo>
                  <a:cubicBezTo>
                    <a:pt x="634" y="214"/>
                    <a:pt x="645" y="148"/>
                    <a:pt x="652" y="74"/>
                  </a:cubicBezTo>
                  <a:lnTo>
                    <a:pt x="480"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080" name="Google Shape;4080;p104"/>
            <p:cNvSpPr/>
            <p:nvPr/>
          </p:nvSpPr>
          <p:spPr>
            <a:xfrm>
              <a:off x="2298889" y="1800908"/>
              <a:ext cx="4426" cy="10848"/>
            </a:xfrm>
            <a:custGeom>
              <a:avLst/>
              <a:gdLst/>
              <a:ahLst/>
              <a:cxnLst/>
              <a:rect l="l" t="t" r="r" b="b"/>
              <a:pathLst>
                <a:path w="326" h="799" extrusionOk="0">
                  <a:moveTo>
                    <a:pt x="0" y="0"/>
                  </a:moveTo>
                  <a:lnTo>
                    <a:pt x="326" y="799"/>
                  </a:lnTo>
                  <a:lnTo>
                    <a:pt x="326" y="799"/>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081" name="Google Shape;4081;p104"/>
            <p:cNvSpPr/>
            <p:nvPr/>
          </p:nvSpPr>
          <p:spPr>
            <a:xfrm>
              <a:off x="2303397" y="1796441"/>
              <a:ext cx="163" cy="434"/>
            </a:xfrm>
            <a:custGeom>
              <a:avLst/>
              <a:gdLst/>
              <a:ahLst/>
              <a:cxnLst/>
              <a:rect l="l" t="t" r="r" b="b"/>
              <a:pathLst>
                <a:path w="12" h="32" extrusionOk="0">
                  <a:moveTo>
                    <a:pt x="11" y="32"/>
                  </a:moveTo>
                  <a:cubicBezTo>
                    <a:pt x="8" y="21"/>
                    <a:pt x="4" y="11"/>
                    <a:pt x="1" y="0"/>
                  </a:cubicBezTo>
                  <a:cubicBezTo>
                    <a:pt x="4" y="11"/>
                    <a:pt x="8" y="21"/>
                    <a:pt x="11" y="32"/>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082" name="Google Shape;4082;p104"/>
            <p:cNvSpPr/>
            <p:nvPr/>
          </p:nvSpPr>
          <p:spPr>
            <a:xfrm>
              <a:off x="2307063" y="1789734"/>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083" name="Google Shape;4083;p104"/>
            <p:cNvSpPr/>
            <p:nvPr/>
          </p:nvSpPr>
          <p:spPr>
            <a:xfrm>
              <a:off x="2305542" y="1789924"/>
              <a:ext cx="54" cy="14"/>
            </a:xfrm>
            <a:custGeom>
              <a:avLst/>
              <a:gdLst/>
              <a:ahLst/>
              <a:cxnLst/>
              <a:rect l="l" t="t" r="r" b="b"/>
              <a:pathLst>
                <a:path w="4" h="1" extrusionOk="0">
                  <a:moveTo>
                    <a:pt x="0" y="1"/>
                  </a:moveTo>
                  <a:lnTo>
                    <a:pt x="0" y="1"/>
                  </a:lnTo>
                  <a:lnTo>
                    <a:pt x="4"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084" name="Google Shape;4084;p104"/>
            <p:cNvSpPr/>
            <p:nvPr/>
          </p:nvSpPr>
          <p:spPr>
            <a:xfrm>
              <a:off x="2305827" y="1789829"/>
              <a:ext cx="54" cy="14"/>
            </a:xfrm>
            <a:custGeom>
              <a:avLst/>
              <a:gdLst/>
              <a:ahLst/>
              <a:cxnLst/>
              <a:rect l="l" t="t" r="r" b="b"/>
              <a:pathLst>
                <a:path w="4" h="1" extrusionOk="0">
                  <a:moveTo>
                    <a:pt x="0" y="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085" name="Google Shape;4085;p104"/>
            <p:cNvSpPr/>
            <p:nvPr/>
          </p:nvSpPr>
          <p:spPr>
            <a:xfrm>
              <a:off x="2304021" y="1798193"/>
              <a:ext cx="339" cy="584"/>
            </a:xfrm>
            <a:custGeom>
              <a:avLst/>
              <a:gdLst/>
              <a:ahLst/>
              <a:cxnLst/>
              <a:rect l="l" t="t" r="r" b="b"/>
              <a:pathLst>
                <a:path w="25" h="43" extrusionOk="0">
                  <a:moveTo>
                    <a:pt x="25" y="43"/>
                  </a:moveTo>
                  <a:cubicBezTo>
                    <a:pt x="18" y="29"/>
                    <a:pt x="7" y="11"/>
                    <a:pt x="0" y="1"/>
                  </a:cubicBezTo>
                  <a:cubicBezTo>
                    <a:pt x="7" y="11"/>
                    <a:pt x="18" y="29"/>
                    <a:pt x="25" y="43"/>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086" name="Google Shape;4086;p104"/>
            <p:cNvSpPr/>
            <p:nvPr/>
          </p:nvSpPr>
          <p:spPr>
            <a:xfrm>
              <a:off x="2303546" y="1796916"/>
              <a:ext cx="204" cy="530"/>
            </a:xfrm>
            <a:custGeom>
              <a:avLst/>
              <a:gdLst/>
              <a:ahLst/>
              <a:cxnLst/>
              <a:rect l="l" t="t" r="r" b="b"/>
              <a:pathLst>
                <a:path w="15" h="39" extrusionOk="0">
                  <a:moveTo>
                    <a:pt x="0" y="0"/>
                  </a:moveTo>
                  <a:cubicBezTo>
                    <a:pt x="4" y="14"/>
                    <a:pt x="7" y="25"/>
                    <a:pt x="14" y="39"/>
                  </a:cubicBezTo>
                  <a:cubicBezTo>
                    <a:pt x="11" y="25"/>
                    <a:pt x="4" y="14"/>
                    <a:pt x="0"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087" name="Google Shape;4087;p104"/>
            <p:cNvSpPr/>
            <p:nvPr/>
          </p:nvSpPr>
          <p:spPr>
            <a:xfrm>
              <a:off x="2304877" y="1799618"/>
              <a:ext cx="530" cy="679"/>
            </a:xfrm>
            <a:custGeom>
              <a:avLst/>
              <a:gdLst/>
              <a:ahLst/>
              <a:cxnLst/>
              <a:rect l="l" t="t" r="r" b="b"/>
              <a:pathLst>
                <a:path w="39" h="50" extrusionOk="0">
                  <a:moveTo>
                    <a:pt x="0" y="1"/>
                  </a:moveTo>
                  <a:lnTo>
                    <a:pt x="0" y="1"/>
                  </a:lnTo>
                  <a:cubicBezTo>
                    <a:pt x="11" y="18"/>
                    <a:pt x="25" y="36"/>
                    <a:pt x="39" y="50"/>
                  </a:cubicBezTo>
                  <a:cubicBezTo>
                    <a:pt x="25" y="32"/>
                    <a:pt x="14" y="15"/>
                    <a:pt x="0" y="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088" name="Google Shape;4088;p104"/>
            <p:cNvSpPr/>
            <p:nvPr/>
          </p:nvSpPr>
          <p:spPr>
            <a:xfrm>
              <a:off x="2305447" y="1800379"/>
              <a:ext cx="625" cy="733"/>
            </a:xfrm>
            <a:custGeom>
              <a:avLst/>
              <a:gdLst/>
              <a:ahLst/>
              <a:cxnLst/>
              <a:rect l="l" t="t" r="r" b="b"/>
              <a:pathLst>
                <a:path w="46" h="54" extrusionOk="0">
                  <a:moveTo>
                    <a:pt x="0" y="1"/>
                  </a:moveTo>
                  <a:cubicBezTo>
                    <a:pt x="14" y="18"/>
                    <a:pt x="28" y="39"/>
                    <a:pt x="46" y="53"/>
                  </a:cubicBezTo>
                  <a:cubicBezTo>
                    <a:pt x="28" y="36"/>
                    <a:pt x="14" y="18"/>
                    <a:pt x="0" y="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089" name="Google Shape;4089;p104"/>
            <p:cNvSpPr/>
            <p:nvPr/>
          </p:nvSpPr>
          <p:spPr>
            <a:xfrm>
              <a:off x="2304401" y="1798858"/>
              <a:ext cx="434" cy="679"/>
            </a:xfrm>
            <a:custGeom>
              <a:avLst/>
              <a:gdLst/>
              <a:ahLst/>
              <a:cxnLst/>
              <a:rect l="l" t="t" r="r" b="b"/>
              <a:pathLst>
                <a:path w="32" h="50" extrusionOk="0">
                  <a:moveTo>
                    <a:pt x="32" y="50"/>
                  </a:moveTo>
                  <a:cubicBezTo>
                    <a:pt x="21" y="32"/>
                    <a:pt x="11" y="18"/>
                    <a:pt x="0" y="1"/>
                  </a:cubicBezTo>
                  <a:cubicBezTo>
                    <a:pt x="11" y="18"/>
                    <a:pt x="21" y="32"/>
                    <a:pt x="32" y="5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090" name="Google Shape;4090;p104"/>
            <p:cNvSpPr/>
            <p:nvPr/>
          </p:nvSpPr>
          <p:spPr>
            <a:xfrm>
              <a:off x="2305637" y="1789883"/>
              <a:ext cx="109" cy="14"/>
            </a:xfrm>
            <a:custGeom>
              <a:avLst/>
              <a:gdLst/>
              <a:ahLst/>
              <a:cxnLst/>
              <a:rect l="l" t="t" r="r" b="b"/>
              <a:pathLst>
                <a:path w="8" h="1" extrusionOk="0">
                  <a:moveTo>
                    <a:pt x="0" y="0"/>
                  </a:moveTo>
                  <a:lnTo>
                    <a:pt x="7"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091" name="Google Shape;4091;p104"/>
            <p:cNvSpPr/>
            <p:nvPr/>
          </p:nvSpPr>
          <p:spPr>
            <a:xfrm>
              <a:off x="2306017" y="1789788"/>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092" name="Google Shape;4092;p104"/>
            <p:cNvSpPr/>
            <p:nvPr/>
          </p:nvSpPr>
          <p:spPr>
            <a:xfrm>
              <a:off x="2303397" y="1796102"/>
              <a:ext cx="14" cy="353"/>
            </a:xfrm>
            <a:custGeom>
              <a:avLst/>
              <a:gdLst/>
              <a:ahLst/>
              <a:cxnLst/>
              <a:rect l="l" t="t" r="r" b="b"/>
              <a:pathLst>
                <a:path w="1" h="26" extrusionOk="0">
                  <a:moveTo>
                    <a:pt x="1" y="25"/>
                  </a:moveTo>
                  <a:cubicBezTo>
                    <a:pt x="1" y="18"/>
                    <a:pt x="1" y="8"/>
                    <a:pt x="1" y="1"/>
                  </a:cubicBezTo>
                  <a:cubicBezTo>
                    <a:pt x="1" y="8"/>
                    <a:pt x="1" y="18"/>
                    <a:pt x="1" y="25"/>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093" name="Google Shape;4093;p104"/>
            <p:cNvSpPr/>
            <p:nvPr/>
          </p:nvSpPr>
          <p:spPr>
            <a:xfrm>
              <a:off x="2303736" y="1797487"/>
              <a:ext cx="299" cy="584"/>
            </a:xfrm>
            <a:custGeom>
              <a:avLst/>
              <a:gdLst/>
              <a:ahLst/>
              <a:cxnLst/>
              <a:rect l="l" t="t" r="r" b="b"/>
              <a:pathLst>
                <a:path w="22" h="43" extrusionOk="0">
                  <a:moveTo>
                    <a:pt x="21" y="42"/>
                  </a:moveTo>
                  <a:cubicBezTo>
                    <a:pt x="14" y="28"/>
                    <a:pt x="7" y="14"/>
                    <a:pt x="0" y="0"/>
                  </a:cubicBezTo>
                  <a:cubicBezTo>
                    <a:pt x="7" y="14"/>
                    <a:pt x="14" y="28"/>
                    <a:pt x="21" y="42"/>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094" name="Google Shape;4094;p104"/>
            <p:cNvSpPr/>
            <p:nvPr/>
          </p:nvSpPr>
          <p:spPr>
            <a:xfrm>
              <a:off x="2304917" y="1785036"/>
              <a:ext cx="29300" cy="32097"/>
            </a:xfrm>
            <a:custGeom>
              <a:avLst/>
              <a:gdLst/>
              <a:ahLst/>
              <a:cxnLst/>
              <a:rect l="l" t="t" r="r" b="b"/>
              <a:pathLst>
                <a:path w="2158" h="2364" extrusionOk="0">
                  <a:moveTo>
                    <a:pt x="2003" y="0"/>
                  </a:moveTo>
                  <a:cubicBezTo>
                    <a:pt x="1926" y="42"/>
                    <a:pt x="1853" y="77"/>
                    <a:pt x="1783" y="112"/>
                  </a:cubicBezTo>
                  <a:cubicBezTo>
                    <a:pt x="1433" y="287"/>
                    <a:pt x="1387" y="291"/>
                    <a:pt x="1366" y="294"/>
                  </a:cubicBezTo>
                  <a:cubicBezTo>
                    <a:pt x="1289" y="308"/>
                    <a:pt x="1111" y="410"/>
                    <a:pt x="974" y="501"/>
                  </a:cubicBezTo>
                  <a:lnTo>
                    <a:pt x="932" y="525"/>
                  </a:lnTo>
                  <a:lnTo>
                    <a:pt x="876" y="564"/>
                  </a:lnTo>
                  <a:lnTo>
                    <a:pt x="845" y="588"/>
                  </a:lnTo>
                  <a:lnTo>
                    <a:pt x="323" y="315"/>
                  </a:lnTo>
                  <a:lnTo>
                    <a:pt x="319" y="357"/>
                  </a:lnTo>
                  <a:lnTo>
                    <a:pt x="316" y="382"/>
                  </a:lnTo>
                  <a:cubicBezTo>
                    <a:pt x="309" y="417"/>
                    <a:pt x="305" y="445"/>
                    <a:pt x="302" y="469"/>
                  </a:cubicBezTo>
                  <a:lnTo>
                    <a:pt x="298" y="487"/>
                  </a:lnTo>
                  <a:cubicBezTo>
                    <a:pt x="298" y="497"/>
                    <a:pt x="295" y="508"/>
                    <a:pt x="291" y="518"/>
                  </a:cubicBezTo>
                  <a:lnTo>
                    <a:pt x="291" y="522"/>
                  </a:lnTo>
                  <a:lnTo>
                    <a:pt x="288" y="536"/>
                  </a:lnTo>
                  <a:lnTo>
                    <a:pt x="288" y="539"/>
                  </a:lnTo>
                  <a:cubicBezTo>
                    <a:pt x="277" y="627"/>
                    <a:pt x="267" y="714"/>
                    <a:pt x="263" y="798"/>
                  </a:cubicBezTo>
                  <a:lnTo>
                    <a:pt x="263" y="819"/>
                  </a:lnTo>
                  <a:lnTo>
                    <a:pt x="260" y="868"/>
                  </a:lnTo>
                  <a:cubicBezTo>
                    <a:pt x="260" y="882"/>
                    <a:pt x="260" y="896"/>
                    <a:pt x="256" y="910"/>
                  </a:cubicBezTo>
                  <a:lnTo>
                    <a:pt x="256" y="942"/>
                  </a:lnTo>
                  <a:cubicBezTo>
                    <a:pt x="256" y="966"/>
                    <a:pt x="253" y="987"/>
                    <a:pt x="249" y="1012"/>
                  </a:cubicBezTo>
                  <a:cubicBezTo>
                    <a:pt x="249" y="1026"/>
                    <a:pt x="246" y="1040"/>
                    <a:pt x="246" y="1057"/>
                  </a:cubicBezTo>
                  <a:cubicBezTo>
                    <a:pt x="246" y="1071"/>
                    <a:pt x="242" y="1085"/>
                    <a:pt x="242" y="1099"/>
                  </a:cubicBezTo>
                  <a:cubicBezTo>
                    <a:pt x="239" y="1113"/>
                    <a:pt x="239" y="1131"/>
                    <a:pt x="235" y="1145"/>
                  </a:cubicBezTo>
                  <a:lnTo>
                    <a:pt x="232" y="1176"/>
                  </a:lnTo>
                  <a:lnTo>
                    <a:pt x="214" y="1306"/>
                  </a:lnTo>
                  <a:lnTo>
                    <a:pt x="211" y="1302"/>
                  </a:lnTo>
                  <a:lnTo>
                    <a:pt x="211" y="1309"/>
                  </a:lnTo>
                  <a:lnTo>
                    <a:pt x="207" y="1330"/>
                  </a:lnTo>
                  <a:lnTo>
                    <a:pt x="204" y="1348"/>
                  </a:lnTo>
                  <a:cubicBezTo>
                    <a:pt x="204" y="1355"/>
                    <a:pt x="200" y="1362"/>
                    <a:pt x="197" y="1369"/>
                  </a:cubicBezTo>
                  <a:lnTo>
                    <a:pt x="193" y="1376"/>
                  </a:lnTo>
                  <a:cubicBezTo>
                    <a:pt x="193" y="1386"/>
                    <a:pt x="190" y="1393"/>
                    <a:pt x="186" y="1400"/>
                  </a:cubicBezTo>
                  <a:lnTo>
                    <a:pt x="186" y="1404"/>
                  </a:lnTo>
                  <a:cubicBezTo>
                    <a:pt x="183" y="1411"/>
                    <a:pt x="183" y="1418"/>
                    <a:pt x="179" y="1428"/>
                  </a:cubicBezTo>
                  <a:cubicBezTo>
                    <a:pt x="172" y="1442"/>
                    <a:pt x="165" y="1456"/>
                    <a:pt x="155" y="1470"/>
                  </a:cubicBezTo>
                  <a:cubicBezTo>
                    <a:pt x="151" y="1474"/>
                    <a:pt x="151" y="1477"/>
                    <a:pt x="148" y="1481"/>
                  </a:cubicBezTo>
                  <a:cubicBezTo>
                    <a:pt x="148" y="1484"/>
                    <a:pt x="144" y="1491"/>
                    <a:pt x="141" y="1495"/>
                  </a:cubicBezTo>
                  <a:lnTo>
                    <a:pt x="141" y="1502"/>
                  </a:lnTo>
                  <a:lnTo>
                    <a:pt x="134" y="1516"/>
                  </a:lnTo>
                  <a:lnTo>
                    <a:pt x="134" y="1523"/>
                  </a:lnTo>
                  <a:lnTo>
                    <a:pt x="127" y="1544"/>
                  </a:lnTo>
                  <a:lnTo>
                    <a:pt x="127" y="1551"/>
                  </a:lnTo>
                  <a:lnTo>
                    <a:pt x="120" y="1572"/>
                  </a:lnTo>
                  <a:lnTo>
                    <a:pt x="116" y="1582"/>
                  </a:lnTo>
                  <a:lnTo>
                    <a:pt x="109" y="1607"/>
                  </a:lnTo>
                  <a:lnTo>
                    <a:pt x="106" y="1621"/>
                  </a:lnTo>
                  <a:lnTo>
                    <a:pt x="99" y="1646"/>
                  </a:lnTo>
                  <a:lnTo>
                    <a:pt x="95" y="1663"/>
                  </a:lnTo>
                  <a:lnTo>
                    <a:pt x="88" y="1691"/>
                  </a:lnTo>
                  <a:lnTo>
                    <a:pt x="85" y="1709"/>
                  </a:lnTo>
                  <a:lnTo>
                    <a:pt x="78" y="1740"/>
                  </a:lnTo>
                  <a:lnTo>
                    <a:pt x="74" y="1761"/>
                  </a:lnTo>
                  <a:lnTo>
                    <a:pt x="67" y="1793"/>
                  </a:lnTo>
                  <a:lnTo>
                    <a:pt x="64" y="1817"/>
                  </a:lnTo>
                  <a:lnTo>
                    <a:pt x="57" y="1852"/>
                  </a:lnTo>
                  <a:lnTo>
                    <a:pt x="53" y="1877"/>
                  </a:lnTo>
                  <a:lnTo>
                    <a:pt x="46" y="1915"/>
                  </a:lnTo>
                  <a:lnTo>
                    <a:pt x="43" y="1940"/>
                  </a:lnTo>
                  <a:lnTo>
                    <a:pt x="36" y="1982"/>
                  </a:lnTo>
                  <a:lnTo>
                    <a:pt x="29" y="2013"/>
                  </a:lnTo>
                  <a:lnTo>
                    <a:pt x="22" y="2055"/>
                  </a:lnTo>
                  <a:lnTo>
                    <a:pt x="18" y="2087"/>
                  </a:lnTo>
                  <a:lnTo>
                    <a:pt x="11" y="2132"/>
                  </a:lnTo>
                  <a:lnTo>
                    <a:pt x="4" y="2167"/>
                  </a:lnTo>
                  <a:lnTo>
                    <a:pt x="1" y="2188"/>
                  </a:lnTo>
                  <a:lnTo>
                    <a:pt x="50" y="2213"/>
                  </a:lnTo>
                  <a:lnTo>
                    <a:pt x="57" y="2216"/>
                  </a:lnTo>
                  <a:lnTo>
                    <a:pt x="88" y="2234"/>
                  </a:lnTo>
                  <a:lnTo>
                    <a:pt x="120" y="2248"/>
                  </a:lnTo>
                  <a:lnTo>
                    <a:pt x="123" y="2251"/>
                  </a:lnTo>
                  <a:cubicBezTo>
                    <a:pt x="204" y="2293"/>
                    <a:pt x="284" y="2328"/>
                    <a:pt x="368" y="2356"/>
                  </a:cubicBezTo>
                  <a:lnTo>
                    <a:pt x="375" y="2356"/>
                  </a:lnTo>
                  <a:lnTo>
                    <a:pt x="386" y="2360"/>
                  </a:lnTo>
                  <a:lnTo>
                    <a:pt x="393" y="2360"/>
                  </a:lnTo>
                  <a:lnTo>
                    <a:pt x="407" y="2363"/>
                  </a:lnTo>
                  <a:lnTo>
                    <a:pt x="438" y="2363"/>
                  </a:lnTo>
                  <a:cubicBezTo>
                    <a:pt x="515" y="2360"/>
                    <a:pt x="592" y="2332"/>
                    <a:pt x="652" y="2283"/>
                  </a:cubicBezTo>
                  <a:cubicBezTo>
                    <a:pt x="663" y="2276"/>
                    <a:pt x="677" y="2265"/>
                    <a:pt x="687" y="2255"/>
                  </a:cubicBezTo>
                  <a:cubicBezTo>
                    <a:pt x="754" y="2195"/>
                    <a:pt x="785" y="2136"/>
                    <a:pt x="785" y="2104"/>
                  </a:cubicBezTo>
                  <a:cubicBezTo>
                    <a:pt x="785" y="1887"/>
                    <a:pt x="1083" y="1887"/>
                    <a:pt x="1195" y="1887"/>
                  </a:cubicBezTo>
                  <a:cubicBezTo>
                    <a:pt x="1261" y="1887"/>
                    <a:pt x="1293" y="1845"/>
                    <a:pt x="1345" y="1775"/>
                  </a:cubicBezTo>
                  <a:cubicBezTo>
                    <a:pt x="1377" y="1723"/>
                    <a:pt x="1422" y="1677"/>
                    <a:pt x="1475" y="1642"/>
                  </a:cubicBezTo>
                  <a:cubicBezTo>
                    <a:pt x="1450" y="1558"/>
                    <a:pt x="1195" y="1316"/>
                    <a:pt x="1086" y="1281"/>
                  </a:cubicBezTo>
                  <a:cubicBezTo>
                    <a:pt x="1034" y="1264"/>
                    <a:pt x="999" y="1211"/>
                    <a:pt x="1009" y="1155"/>
                  </a:cubicBezTo>
                  <a:cubicBezTo>
                    <a:pt x="1027" y="1026"/>
                    <a:pt x="1279" y="826"/>
                    <a:pt x="1646" y="805"/>
                  </a:cubicBezTo>
                  <a:cubicBezTo>
                    <a:pt x="1870" y="795"/>
                    <a:pt x="1930" y="749"/>
                    <a:pt x="1982" y="707"/>
                  </a:cubicBezTo>
                  <a:lnTo>
                    <a:pt x="2000" y="697"/>
                  </a:lnTo>
                  <a:lnTo>
                    <a:pt x="2007" y="693"/>
                  </a:lnTo>
                  <a:lnTo>
                    <a:pt x="2017" y="683"/>
                  </a:lnTo>
                  <a:lnTo>
                    <a:pt x="2028" y="679"/>
                  </a:lnTo>
                  <a:lnTo>
                    <a:pt x="2038" y="672"/>
                  </a:lnTo>
                  <a:lnTo>
                    <a:pt x="2049" y="665"/>
                  </a:lnTo>
                  <a:lnTo>
                    <a:pt x="2063" y="658"/>
                  </a:lnTo>
                  <a:lnTo>
                    <a:pt x="2070" y="655"/>
                  </a:lnTo>
                  <a:lnTo>
                    <a:pt x="2087" y="648"/>
                  </a:lnTo>
                  <a:lnTo>
                    <a:pt x="2098" y="648"/>
                  </a:lnTo>
                  <a:cubicBezTo>
                    <a:pt x="2105" y="644"/>
                    <a:pt x="2115" y="641"/>
                    <a:pt x="2126" y="641"/>
                  </a:cubicBezTo>
                  <a:lnTo>
                    <a:pt x="2133" y="641"/>
                  </a:lnTo>
                  <a:lnTo>
                    <a:pt x="2157" y="637"/>
                  </a:lnTo>
                  <a:lnTo>
                    <a:pt x="2133" y="620"/>
                  </a:lnTo>
                  <a:lnTo>
                    <a:pt x="2129" y="606"/>
                  </a:lnTo>
                  <a:lnTo>
                    <a:pt x="2119" y="564"/>
                  </a:lnTo>
                  <a:lnTo>
                    <a:pt x="2115" y="536"/>
                  </a:lnTo>
                  <a:lnTo>
                    <a:pt x="2108" y="511"/>
                  </a:lnTo>
                  <a:lnTo>
                    <a:pt x="2098" y="466"/>
                  </a:lnTo>
                  <a:lnTo>
                    <a:pt x="2094" y="448"/>
                  </a:lnTo>
                  <a:lnTo>
                    <a:pt x="2080" y="396"/>
                  </a:lnTo>
                  <a:lnTo>
                    <a:pt x="2080" y="389"/>
                  </a:lnTo>
                  <a:lnTo>
                    <a:pt x="2070" y="340"/>
                  </a:lnTo>
                  <a:lnTo>
                    <a:pt x="2070" y="333"/>
                  </a:lnTo>
                  <a:lnTo>
                    <a:pt x="2056" y="284"/>
                  </a:lnTo>
                  <a:lnTo>
                    <a:pt x="2056" y="277"/>
                  </a:lnTo>
                  <a:lnTo>
                    <a:pt x="2045" y="235"/>
                  </a:lnTo>
                  <a:lnTo>
                    <a:pt x="2045" y="228"/>
                  </a:lnTo>
                  <a:cubicBezTo>
                    <a:pt x="2042" y="214"/>
                    <a:pt x="2038" y="200"/>
                    <a:pt x="2035" y="189"/>
                  </a:cubicBezTo>
                  <a:cubicBezTo>
                    <a:pt x="2031" y="175"/>
                    <a:pt x="2028" y="165"/>
                    <a:pt x="2024" y="154"/>
                  </a:cubicBezTo>
                  <a:lnTo>
                    <a:pt x="2024" y="144"/>
                  </a:lnTo>
                  <a:cubicBezTo>
                    <a:pt x="2021" y="133"/>
                    <a:pt x="2017" y="123"/>
                    <a:pt x="2017" y="109"/>
                  </a:cubicBezTo>
                  <a:lnTo>
                    <a:pt x="2017" y="105"/>
                  </a:lnTo>
                  <a:cubicBezTo>
                    <a:pt x="2014" y="91"/>
                    <a:pt x="2010" y="77"/>
                    <a:pt x="2010" y="60"/>
                  </a:cubicBezTo>
                  <a:lnTo>
                    <a:pt x="2010" y="49"/>
                  </a:lnTo>
                  <a:cubicBezTo>
                    <a:pt x="2007" y="39"/>
                    <a:pt x="2003" y="21"/>
                    <a:pt x="2003" y="7"/>
                  </a:cubicBezTo>
                  <a:lnTo>
                    <a:pt x="2003"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095" name="Google Shape;4095;p104"/>
            <p:cNvSpPr/>
            <p:nvPr/>
          </p:nvSpPr>
          <p:spPr>
            <a:xfrm>
              <a:off x="2328977" y="1785036"/>
              <a:ext cx="3001" cy="1534"/>
            </a:xfrm>
            <a:custGeom>
              <a:avLst/>
              <a:gdLst/>
              <a:ahLst/>
              <a:cxnLst/>
              <a:rect l="l" t="t" r="r" b="b"/>
              <a:pathLst>
                <a:path w="221" h="113" extrusionOk="0">
                  <a:moveTo>
                    <a:pt x="221" y="0"/>
                  </a:moveTo>
                  <a:cubicBezTo>
                    <a:pt x="211" y="5"/>
                    <a:pt x="202" y="11"/>
                    <a:pt x="192" y="16"/>
                  </a:cubicBezTo>
                  <a:lnTo>
                    <a:pt x="192" y="16"/>
                  </a:lnTo>
                  <a:cubicBezTo>
                    <a:pt x="202" y="10"/>
                    <a:pt x="211" y="5"/>
                    <a:pt x="221" y="0"/>
                  </a:cubicBezTo>
                  <a:close/>
                  <a:moveTo>
                    <a:pt x="192" y="16"/>
                  </a:moveTo>
                  <a:lnTo>
                    <a:pt x="192" y="16"/>
                  </a:lnTo>
                  <a:cubicBezTo>
                    <a:pt x="126" y="51"/>
                    <a:pt x="62" y="81"/>
                    <a:pt x="0" y="112"/>
                  </a:cubicBezTo>
                  <a:cubicBezTo>
                    <a:pt x="59" y="84"/>
                    <a:pt x="121" y="54"/>
                    <a:pt x="192" y="16"/>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096" name="Google Shape;4096;p104"/>
            <p:cNvSpPr/>
            <p:nvPr/>
          </p:nvSpPr>
          <p:spPr>
            <a:xfrm>
              <a:off x="2317422" y="1791784"/>
              <a:ext cx="584" cy="394"/>
            </a:xfrm>
            <a:custGeom>
              <a:avLst/>
              <a:gdLst/>
              <a:ahLst/>
              <a:cxnLst/>
              <a:rect l="l" t="t" r="r" b="b"/>
              <a:pathLst>
                <a:path w="43" h="29" extrusionOk="0">
                  <a:moveTo>
                    <a:pt x="1" y="28"/>
                  </a:moveTo>
                  <a:lnTo>
                    <a:pt x="43"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097" name="Google Shape;4097;p104"/>
            <p:cNvSpPr/>
            <p:nvPr/>
          </p:nvSpPr>
          <p:spPr>
            <a:xfrm>
              <a:off x="2308773" y="1792069"/>
              <a:ext cx="14" cy="54"/>
            </a:xfrm>
            <a:custGeom>
              <a:avLst/>
              <a:gdLst/>
              <a:ahLst/>
              <a:cxnLst/>
              <a:rect l="l" t="t" r="r" b="b"/>
              <a:pathLst>
                <a:path w="1" h="4" extrusionOk="0">
                  <a:moveTo>
                    <a:pt x="0" y="0"/>
                  </a:moveTo>
                  <a:lnTo>
                    <a:pt x="0" y="4"/>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098" name="Google Shape;4098;p104"/>
            <p:cNvSpPr/>
            <p:nvPr/>
          </p:nvSpPr>
          <p:spPr>
            <a:xfrm>
              <a:off x="2308013" y="1799293"/>
              <a:ext cx="54" cy="625"/>
            </a:xfrm>
            <a:custGeom>
              <a:avLst/>
              <a:gdLst/>
              <a:ahLst/>
              <a:cxnLst/>
              <a:rect l="l" t="t" r="r" b="b"/>
              <a:pathLst>
                <a:path w="4" h="46" extrusionOk="0">
                  <a:moveTo>
                    <a:pt x="4" y="0"/>
                  </a:moveTo>
                  <a:cubicBezTo>
                    <a:pt x="4" y="18"/>
                    <a:pt x="4" y="32"/>
                    <a:pt x="0" y="46"/>
                  </a:cubicBezTo>
                  <a:cubicBezTo>
                    <a:pt x="4" y="32"/>
                    <a:pt x="4" y="18"/>
                    <a:pt x="4"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099" name="Google Shape;4099;p104"/>
            <p:cNvSpPr/>
            <p:nvPr/>
          </p:nvSpPr>
          <p:spPr>
            <a:xfrm>
              <a:off x="2309058" y="1789829"/>
              <a:ext cx="54" cy="394"/>
            </a:xfrm>
            <a:custGeom>
              <a:avLst/>
              <a:gdLst/>
              <a:ahLst/>
              <a:cxnLst/>
              <a:rect l="l" t="t" r="r" b="b"/>
              <a:pathLst>
                <a:path w="4" h="29" extrusionOk="0">
                  <a:moveTo>
                    <a:pt x="4" y="1"/>
                  </a:moveTo>
                  <a:lnTo>
                    <a:pt x="4" y="1"/>
                  </a:lnTo>
                  <a:lnTo>
                    <a:pt x="0" y="29"/>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100" name="Google Shape;4100;p104"/>
            <p:cNvSpPr/>
            <p:nvPr/>
          </p:nvSpPr>
          <p:spPr>
            <a:xfrm>
              <a:off x="2308339" y="1792300"/>
              <a:ext cx="353" cy="3815"/>
            </a:xfrm>
            <a:custGeom>
              <a:avLst/>
              <a:gdLst/>
              <a:ahLst/>
              <a:cxnLst/>
              <a:rect l="l" t="t" r="r" b="b"/>
              <a:pathLst>
                <a:path w="26" h="281" extrusionOk="0">
                  <a:moveTo>
                    <a:pt x="1" y="263"/>
                  </a:moveTo>
                  <a:lnTo>
                    <a:pt x="1" y="281"/>
                  </a:lnTo>
                  <a:lnTo>
                    <a:pt x="1" y="263"/>
                  </a:lnTo>
                  <a:cubicBezTo>
                    <a:pt x="4" y="176"/>
                    <a:pt x="15" y="88"/>
                    <a:pt x="25" y="4"/>
                  </a:cubicBezTo>
                  <a:lnTo>
                    <a:pt x="25" y="1"/>
                  </a:lnTo>
                  <a:lnTo>
                    <a:pt x="25" y="4"/>
                  </a:lnTo>
                  <a:cubicBezTo>
                    <a:pt x="15" y="88"/>
                    <a:pt x="4" y="176"/>
                    <a:pt x="1" y="263"/>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101" name="Google Shape;4101;p104"/>
            <p:cNvSpPr/>
            <p:nvPr/>
          </p:nvSpPr>
          <p:spPr>
            <a:xfrm>
              <a:off x="2307633" y="1800949"/>
              <a:ext cx="299" cy="1819"/>
            </a:xfrm>
            <a:custGeom>
              <a:avLst/>
              <a:gdLst/>
              <a:ahLst/>
              <a:cxnLst/>
              <a:rect l="l" t="t" r="r" b="b"/>
              <a:pathLst>
                <a:path w="22" h="134" extrusionOk="0">
                  <a:moveTo>
                    <a:pt x="21" y="1"/>
                  </a:moveTo>
                  <a:lnTo>
                    <a:pt x="19" y="20"/>
                  </a:lnTo>
                  <a:lnTo>
                    <a:pt x="19" y="20"/>
                  </a:lnTo>
                  <a:cubicBezTo>
                    <a:pt x="21" y="13"/>
                    <a:pt x="21" y="7"/>
                    <a:pt x="21" y="1"/>
                  </a:cubicBezTo>
                  <a:close/>
                  <a:moveTo>
                    <a:pt x="19" y="20"/>
                  </a:moveTo>
                  <a:lnTo>
                    <a:pt x="19" y="20"/>
                  </a:lnTo>
                  <a:cubicBezTo>
                    <a:pt x="19" y="20"/>
                    <a:pt x="18" y="21"/>
                    <a:pt x="18" y="22"/>
                  </a:cubicBezTo>
                  <a:cubicBezTo>
                    <a:pt x="14" y="29"/>
                    <a:pt x="14" y="39"/>
                    <a:pt x="14" y="50"/>
                  </a:cubicBezTo>
                  <a:lnTo>
                    <a:pt x="11" y="67"/>
                  </a:lnTo>
                  <a:cubicBezTo>
                    <a:pt x="11" y="78"/>
                    <a:pt x="7" y="88"/>
                    <a:pt x="4" y="99"/>
                  </a:cubicBezTo>
                  <a:lnTo>
                    <a:pt x="0" y="116"/>
                  </a:lnTo>
                  <a:lnTo>
                    <a:pt x="0" y="130"/>
                  </a:lnTo>
                  <a:lnTo>
                    <a:pt x="4" y="134"/>
                  </a:lnTo>
                  <a:lnTo>
                    <a:pt x="19" y="2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102" name="Google Shape;4102;p104"/>
            <p:cNvSpPr/>
            <p:nvPr/>
          </p:nvSpPr>
          <p:spPr>
            <a:xfrm>
              <a:off x="2308244" y="1796767"/>
              <a:ext cx="68" cy="638"/>
            </a:xfrm>
            <a:custGeom>
              <a:avLst/>
              <a:gdLst/>
              <a:ahLst/>
              <a:cxnLst/>
              <a:rect l="l" t="t" r="r" b="b"/>
              <a:pathLst>
                <a:path w="5" h="47" extrusionOk="0">
                  <a:moveTo>
                    <a:pt x="4" y="1"/>
                  </a:moveTo>
                  <a:lnTo>
                    <a:pt x="3" y="20"/>
                  </a:lnTo>
                  <a:lnTo>
                    <a:pt x="3" y="20"/>
                  </a:lnTo>
                  <a:cubicBezTo>
                    <a:pt x="4" y="13"/>
                    <a:pt x="4" y="7"/>
                    <a:pt x="4" y="1"/>
                  </a:cubicBezTo>
                  <a:close/>
                  <a:moveTo>
                    <a:pt x="3" y="20"/>
                  </a:moveTo>
                  <a:cubicBezTo>
                    <a:pt x="2" y="28"/>
                    <a:pt x="1" y="37"/>
                    <a:pt x="1" y="46"/>
                  </a:cubicBezTo>
                  <a:lnTo>
                    <a:pt x="3" y="2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103" name="Google Shape;4103;p104"/>
            <p:cNvSpPr/>
            <p:nvPr/>
          </p:nvSpPr>
          <p:spPr>
            <a:xfrm>
              <a:off x="2308108" y="1797772"/>
              <a:ext cx="109" cy="1005"/>
            </a:xfrm>
            <a:custGeom>
              <a:avLst/>
              <a:gdLst/>
              <a:ahLst/>
              <a:cxnLst/>
              <a:rect l="l" t="t" r="r" b="b"/>
              <a:pathLst>
                <a:path w="8" h="74" extrusionOk="0">
                  <a:moveTo>
                    <a:pt x="7" y="0"/>
                  </a:moveTo>
                  <a:cubicBezTo>
                    <a:pt x="7" y="25"/>
                    <a:pt x="4" y="49"/>
                    <a:pt x="0" y="74"/>
                  </a:cubicBezTo>
                  <a:cubicBezTo>
                    <a:pt x="4" y="49"/>
                    <a:pt x="7" y="25"/>
                    <a:pt x="7"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104" name="Google Shape;4104;p104"/>
            <p:cNvSpPr/>
            <p:nvPr/>
          </p:nvSpPr>
          <p:spPr>
            <a:xfrm>
              <a:off x="2306397" y="1805701"/>
              <a:ext cx="54" cy="258"/>
            </a:xfrm>
            <a:custGeom>
              <a:avLst/>
              <a:gdLst/>
              <a:ahLst/>
              <a:cxnLst/>
              <a:rect l="l" t="t" r="r" b="b"/>
              <a:pathLst>
                <a:path w="4" h="19" extrusionOk="0">
                  <a:moveTo>
                    <a:pt x="0" y="18"/>
                  </a:moveTo>
                  <a:lnTo>
                    <a:pt x="4"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105" name="Google Shape;4105;p104"/>
            <p:cNvSpPr/>
            <p:nvPr/>
          </p:nvSpPr>
          <p:spPr>
            <a:xfrm>
              <a:off x="2307918" y="1800528"/>
              <a:ext cx="54" cy="434"/>
            </a:xfrm>
            <a:custGeom>
              <a:avLst/>
              <a:gdLst/>
              <a:ahLst/>
              <a:cxnLst/>
              <a:rect l="l" t="t" r="r" b="b"/>
              <a:pathLst>
                <a:path w="4" h="32" extrusionOk="0">
                  <a:moveTo>
                    <a:pt x="4" y="0"/>
                  </a:moveTo>
                  <a:lnTo>
                    <a:pt x="0" y="18"/>
                  </a:lnTo>
                  <a:lnTo>
                    <a:pt x="0" y="32"/>
                  </a:lnTo>
                  <a:lnTo>
                    <a:pt x="4"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106" name="Google Shape;4106;p104"/>
            <p:cNvSpPr/>
            <p:nvPr/>
          </p:nvSpPr>
          <p:spPr>
            <a:xfrm>
              <a:off x="2307388" y="1803284"/>
              <a:ext cx="109" cy="299"/>
            </a:xfrm>
            <a:custGeom>
              <a:avLst/>
              <a:gdLst/>
              <a:ahLst/>
              <a:cxnLst/>
              <a:rect l="l" t="t" r="r" b="b"/>
              <a:pathLst>
                <a:path w="8" h="22" extrusionOk="0">
                  <a:moveTo>
                    <a:pt x="8" y="0"/>
                  </a:moveTo>
                  <a:lnTo>
                    <a:pt x="8" y="0"/>
                  </a:lnTo>
                  <a:cubicBezTo>
                    <a:pt x="4" y="7"/>
                    <a:pt x="1" y="14"/>
                    <a:pt x="1" y="21"/>
                  </a:cubicBezTo>
                  <a:cubicBezTo>
                    <a:pt x="4" y="14"/>
                    <a:pt x="4" y="7"/>
                    <a:pt x="8"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107" name="Google Shape;4107;p104"/>
            <p:cNvSpPr/>
            <p:nvPr/>
          </p:nvSpPr>
          <p:spPr>
            <a:xfrm>
              <a:off x="2306587" y="1805131"/>
              <a:ext cx="109" cy="204"/>
            </a:xfrm>
            <a:custGeom>
              <a:avLst/>
              <a:gdLst/>
              <a:ahLst/>
              <a:cxnLst/>
              <a:rect l="l" t="t" r="r" b="b"/>
              <a:pathLst>
                <a:path w="8" h="15" extrusionOk="0">
                  <a:moveTo>
                    <a:pt x="0" y="15"/>
                  </a:moveTo>
                  <a:cubicBezTo>
                    <a:pt x="4" y="8"/>
                    <a:pt x="7" y="4"/>
                    <a:pt x="7" y="1"/>
                  </a:cubicBezTo>
                  <a:cubicBezTo>
                    <a:pt x="7" y="4"/>
                    <a:pt x="4" y="8"/>
                    <a:pt x="0" y="15"/>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108" name="Google Shape;4108;p104"/>
            <p:cNvSpPr/>
            <p:nvPr/>
          </p:nvSpPr>
          <p:spPr>
            <a:xfrm>
              <a:off x="2308868" y="1791404"/>
              <a:ext cx="14" cy="244"/>
            </a:xfrm>
            <a:custGeom>
              <a:avLst/>
              <a:gdLst/>
              <a:ahLst/>
              <a:cxnLst/>
              <a:rect l="l" t="t" r="r" b="b"/>
              <a:pathLst>
                <a:path w="1" h="18" extrusionOk="0">
                  <a:moveTo>
                    <a:pt x="0" y="18"/>
                  </a:moveTo>
                  <a:lnTo>
                    <a:pt x="0"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109" name="Google Shape;4109;p104"/>
            <p:cNvSpPr/>
            <p:nvPr/>
          </p:nvSpPr>
          <p:spPr>
            <a:xfrm>
              <a:off x="2307538" y="1802809"/>
              <a:ext cx="54" cy="299"/>
            </a:xfrm>
            <a:custGeom>
              <a:avLst/>
              <a:gdLst/>
              <a:ahLst/>
              <a:cxnLst/>
              <a:rect l="l" t="t" r="r" b="b"/>
              <a:pathLst>
                <a:path w="4" h="22" extrusionOk="0">
                  <a:moveTo>
                    <a:pt x="0" y="21"/>
                  </a:moveTo>
                  <a:lnTo>
                    <a:pt x="4"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110" name="Google Shape;4110;p104"/>
            <p:cNvSpPr/>
            <p:nvPr/>
          </p:nvSpPr>
          <p:spPr>
            <a:xfrm>
              <a:off x="2307253" y="1803705"/>
              <a:ext cx="109" cy="353"/>
            </a:xfrm>
            <a:custGeom>
              <a:avLst/>
              <a:gdLst/>
              <a:ahLst/>
              <a:cxnLst/>
              <a:rect l="l" t="t" r="r" b="b"/>
              <a:pathLst>
                <a:path w="8" h="26" extrusionOk="0">
                  <a:moveTo>
                    <a:pt x="7" y="1"/>
                  </a:moveTo>
                  <a:cubicBezTo>
                    <a:pt x="4" y="8"/>
                    <a:pt x="4" y="15"/>
                    <a:pt x="0" y="25"/>
                  </a:cubicBezTo>
                  <a:cubicBezTo>
                    <a:pt x="4" y="18"/>
                    <a:pt x="7" y="8"/>
                    <a:pt x="7" y="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111" name="Google Shape;4111;p104"/>
            <p:cNvSpPr/>
            <p:nvPr/>
          </p:nvSpPr>
          <p:spPr>
            <a:xfrm>
              <a:off x="2307103" y="1804045"/>
              <a:ext cx="163" cy="339"/>
            </a:xfrm>
            <a:custGeom>
              <a:avLst/>
              <a:gdLst/>
              <a:ahLst/>
              <a:cxnLst/>
              <a:rect l="l" t="t" r="r" b="b"/>
              <a:pathLst>
                <a:path w="12" h="25" extrusionOk="0">
                  <a:moveTo>
                    <a:pt x="1" y="25"/>
                  </a:moveTo>
                  <a:cubicBezTo>
                    <a:pt x="4" y="18"/>
                    <a:pt x="8" y="11"/>
                    <a:pt x="11" y="0"/>
                  </a:cubicBezTo>
                  <a:cubicBezTo>
                    <a:pt x="8" y="11"/>
                    <a:pt x="4" y="18"/>
                    <a:pt x="1" y="25"/>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112" name="Google Shape;4112;p104"/>
            <p:cNvSpPr/>
            <p:nvPr/>
          </p:nvSpPr>
          <p:spPr>
            <a:xfrm>
              <a:off x="2306248" y="1806041"/>
              <a:ext cx="109" cy="299"/>
            </a:xfrm>
            <a:custGeom>
              <a:avLst/>
              <a:gdLst/>
              <a:ahLst/>
              <a:cxnLst/>
              <a:rect l="l" t="t" r="r" b="b"/>
              <a:pathLst>
                <a:path w="8" h="22" extrusionOk="0">
                  <a:moveTo>
                    <a:pt x="1" y="21"/>
                  </a:moveTo>
                  <a:lnTo>
                    <a:pt x="8"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113" name="Google Shape;4113;p104"/>
            <p:cNvSpPr/>
            <p:nvPr/>
          </p:nvSpPr>
          <p:spPr>
            <a:xfrm>
              <a:off x="2306492" y="1805375"/>
              <a:ext cx="109" cy="244"/>
            </a:xfrm>
            <a:custGeom>
              <a:avLst/>
              <a:gdLst/>
              <a:ahLst/>
              <a:cxnLst/>
              <a:rect l="l" t="t" r="r" b="b"/>
              <a:pathLst>
                <a:path w="8" h="18" extrusionOk="0">
                  <a:moveTo>
                    <a:pt x="0" y="18"/>
                  </a:moveTo>
                  <a:lnTo>
                    <a:pt x="7"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114" name="Google Shape;4114;p104"/>
            <p:cNvSpPr/>
            <p:nvPr/>
          </p:nvSpPr>
          <p:spPr>
            <a:xfrm>
              <a:off x="2305393" y="1809652"/>
              <a:ext cx="109" cy="489"/>
            </a:xfrm>
            <a:custGeom>
              <a:avLst/>
              <a:gdLst/>
              <a:ahLst/>
              <a:cxnLst/>
              <a:rect l="l" t="t" r="r" b="b"/>
              <a:pathLst>
                <a:path w="8" h="36" extrusionOk="0">
                  <a:moveTo>
                    <a:pt x="1" y="36"/>
                  </a:moveTo>
                  <a:lnTo>
                    <a:pt x="8"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115" name="Google Shape;4115;p104"/>
            <p:cNvSpPr/>
            <p:nvPr/>
          </p:nvSpPr>
          <p:spPr>
            <a:xfrm>
              <a:off x="2304687" y="1814404"/>
              <a:ext cx="14" cy="299"/>
            </a:xfrm>
            <a:custGeom>
              <a:avLst/>
              <a:gdLst/>
              <a:ahLst/>
              <a:cxnLst/>
              <a:rect l="l" t="t" r="r" b="b"/>
              <a:pathLst>
                <a:path w="1" h="22" extrusionOk="0">
                  <a:moveTo>
                    <a:pt x="0" y="22"/>
                  </a:moveTo>
                  <a:lnTo>
                    <a:pt x="0" y="22"/>
                  </a:lnTo>
                  <a:lnTo>
                    <a:pt x="0"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116" name="Google Shape;4116;p104"/>
            <p:cNvSpPr/>
            <p:nvPr/>
          </p:nvSpPr>
          <p:spPr>
            <a:xfrm>
              <a:off x="2304917" y="1812313"/>
              <a:ext cx="109" cy="584"/>
            </a:xfrm>
            <a:custGeom>
              <a:avLst/>
              <a:gdLst/>
              <a:ahLst/>
              <a:cxnLst/>
              <a:rect l="l" t="t" r="r" b="b"/>
              <a:pathLst>
                <a:path w="8" h="43" extrusionOk="0">
                  <a:moveTo>
                    <a:pt x="1" y="43"/>
                  </a:moveTo>
                  <a:lnTo>
                    <a:pt x="8"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117" name="Google Shape;4117;p104"/>
            <p:cNvSpPr/>
            <p:nvPr/>
          </p:nvSpPr>
          <p:spPr>
            <a:xfrm>
              <a:off x="2305868" y="1807561"/>
              <a:ext cx="109" cy="394"/>
            </a:xfrm>
            <a:custGeom>
              <a:avLst/>
              <a:gdLst/>
              <a:ahLst/>
              <a:cxnLst/>
              <a:rect l="l" t="t" r="r" b="b"/>
              <a:pathLst>
                <a:path w="8" h="29" extrusionOk="0">
                  <a:moveTo>
                    <a:pt x="1" y="29"/>
                  </a:moveTo>
                  <a:lnTo>
                    <a:pt x="8"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118" name="Google Shape;4118;p104"/>
            <p:cNvSpPr/>
            <p:nvPr/>
          </p:nvSpPr>
          <p:spPr>
            <a:xfrm>
              <a:off x="2305732" y="1808186"/>
              <a:ext cx="109" cy="434"/>
            </a:xfrm>
            <a:custGeom>
              <a:avLst/>
              <a:gdLst/>
              <a:ahLst/>
              <a:cxnLst/>
              <a:rect l="l" t="t" r="r" b="b"/>
              <a:pathLst>
                <a:path w="8" h="32" extrusionOk="0">
                  <a:moveTo>
                    <a:pt x="0" y="32"/>
                  </a:moveTo>
                  <a:lnTo>
                    <a:pt x="7"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119" name="Google Shape;4119;p104"/>
            <p:cNvSpPr/>
            <p:nvPr/>
          </p:nvSpPr>
          <p:spPr>
            <a:xfrm>
              <a:off x="2305107" y="1811363"/>
              <a:ext cx="109" cy="584"/>
            </a:xfrm>
            <a:custGeom>
              <a:avLst/>
              <a:gdLst/>
              <a:ahLst/>
              <a:cxnLst/>
              <a:rect l="l" t="t" r="r" b="b"/>
              <a:pathLst>
                <a:path w="8" h="43" extrusionOk="0">
                  <a:moveTo>
                    <a:pt x="1" y="43"/>
                  </a:moveTo>
                  <a:lnTo>
                    <a:pt x="8"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120" name="Google Shape;4120;p104"/>
            <p:cNvSpPr/>
            <p:nvPr/>
          </p:nvSpPr>
          <p:spPr>
            <a:xfrm>
              <a:off x="2304782" y="1813359"/>
              <a:ext cx="109" cy="638"/>
            </a:xfrm>
            <a:custGeom>
              <a:avLst/>
              <a:gdLst/>
              <a:ahLst/>
              <a:cxnLst/>
              <a:rect l="l" t="t" r="r" b="b"/>
              <a:pathLst>
                <a:path w="8" h="47" extrusionOk="0">
                  <a:moveTo>
                    <a:pt x="0" y="46"/>
                  </a:moveTo>
                  <a:lnTo>
                    <a:pt x="7"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121" name="Google Shape;4121;p104"/>
            <p:cNvSpPr/>
            <p:nvPr/>
          </p:nvSpPr>
          <p:spPr>
            <a:xfrm>
              <a:off x="2305257" y="1810467"/>
              <a:ext cx="109" cy="530"/>
            </a:xfrm>
            <a:custGeom>
              <a:avLst/>
              <a:gdLst/>
              <a:ahLst/>
              <a:cxnLst/>
              <a:rect l="l" t="t" r="r" b="b"/>
              <a:pathLst>
                <a:path w="8" h="39" extrusionOk="0">
                  <a:moveTo>
                    <a:pt x="0" y="39"/>
                  </a:moveTo>
                  <a:lnTo>
                    <a:pt x="7"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122" name="Google Shape;4122;p104"/>
            <p:cNvSpPr/>
            <p:nvPr/>
          </p:nvSpPr>
          <p:spPr>
            <a:xfrm>
              <a:off x="2305542" y="1808892"/>
              <a:ext cx="109" cy="489"/>
            </a:xfrm>
            <a:custGeom>
              <a:avLst/>
              <a:gdLst/>
              <a:ahLst/>
              <a:cxnLst/>
              <a:rect l="l" t="t" r="r" b="b"/>
              <a:pathLst>
                <a:path w="8" h="36" extrusionOk="0">
                  <a:moveTo>
                    <a:pt x="0" y="36"/>
                  </a:moveTo>
                  <a:lnTo>
                    <a:pt x="7"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123" name="Google Shape;4123;p104"/>
            <p:cNvSpPr/>
            <p:nvPr/>
          </p:nvSpPr>
          <p:spPr>
            <a:xfrm>
              <a:off x="2306112" y="1806516"/>
              <a:ext cx="109" cy="339"/>
            </a:xfrm>
            <a:custGeom>
              <a:avLst/>
              <a:gdLst/>
              <a:ahLst/>
              <a:cxnLst/>
              <a:rect l="l" t="t" r="r" b="b"/>
              <a:pathLst>
                <a:path w="8" h="25" extrusionOk="0">
                  <a:moveTo>
                    <a:pt x="0" y="25"/>
                  </a:moveTo>
                  <a:lnTo>
                    <a:pt x="7"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124" name="Google Shape;4124;p104"/>
            <p:cNvSpPr/>
            <p:nvPr/>
          </p:nvSpPr>
          <p:spPr>
            <a:xfrm>
              <a:off x="2306017" y="1806991"/>
              <a:ext cx="54" cy="394"/>
            </a:xfrm>
            <a:custGeom>
              <a:avLst/>
              <a:gdLst/>
              <a:ahLst/>
              <a:cxnLst/>
              <a:rect l="l" t="t" r="r" b="b"/>
              <a:pathLst>
                <a:path w="4" h="29" extrusionOk="0">
                  <a:moveTo>
                    <a:pt x="0" y="29"/>
                  </a:moveTo>
                  <a:lnTo>
                    <a:pt x="4"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125" name="Google Shape;4125;p104"/>
            <p:cNvSpPr/>
            <p:nvPr/>
          </p:nvSpPr>
          <p:spPr>
            <a:xfrm>
              <a:off x="2306682" y="1804370"/>
              <a:ext cx="434" cy="774"/>
            </a:xfrm>
            <a:custGeom>
              <a:avLst/>
              <a:gdLst/>
              <a:ahLst/>
              <a:cxnLst/>
              <a:rect l="l" t="t" r="r" b="b"/>
              <a:pathLst>
                <a:path w="32" h="57" extrusionOk="0">
                  <a:moveTo>
                    <a:pt x="32" y="1"/>
                  </a:moveTo>
                  <a:cubicBezTo>
                    <a:pt x="25" y="18"/>
                    <a:pt x="18" y="32"/>
                    <a:pt x="7" y="46"/>
                  </a:cubicBezTo>
                  <a:cubicBezTo>
                    <a:pt x="7" y="50"/>
                    <a:pt x="4" y="53"/>
                    <a:pt x="0" y="57"/>
                  </a:cubicBezTo>
                  <a:cubicBezTo>
                    <a:pt x="4" y="53"/>
                    <a:pt x="7" y="50"/>
                    <a:pt x="7" y="46"/>
                  </a:cubicBezTo>
                  <a:cubicBezTo>
                    <a:pt x="18" y="32"/>
                    <a:pt x="25" y="18"/>
                    <a:pt x="32" y="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126" name="Google Shape;4126;p104"/>
            <p:cNvSpPr/>
            <p:nvPr/>
          </p:nvSpPr>
          <p:spPr>
            <a:xfrm>
              <a:off x="2307633" y="1802280"/>
              <a:ext cx="54" cy="258"/>
            </a:xfrm>
            <a:custGeom>
              <a:avLst/>
              <a:gdLst/>
              <a:ahLst/>
              <a:cxnLst/>
              <a:rect l="l" t="t" r="r" b="b"/>
              <a:pathLst>
                <a:path w="4" h="19" extrusionOk="0">
                  <a:moveTo>
                    <a:pt x="0" y="18"/>
                  </a:moveTo>
                  <a:lnTo>
                    <a:pt x="4"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127" name="Google Shape;4127;p104"/>
            <p:cNvSpPr/>
            <p:nvPr/>
          </p:nvSpPr>
          <p:spPr>
            <a:xfrm>
              <a:off x="2307769" y="1801614"/>
              <a:ext cx="68" cy="258"/>
            </a:xfrm>
            <a:custGeom>
              <a:avLst/>
              <a:gdLst/>
              <a:ahLst/>
              <a:cxnLst/>
              <a:rect l="l" t="t" r="r" b="b"/>
              <a:pathLst>
                <a:path w="5" h="19" extrusionOk="0">
                  <a:moveTo>
                    <a:pt x="1" y="18"/>
                  </a:moveTo>
                  <a:lnTo>
                    <a:pt x="4"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128" name="Google Shape;4128;p104"/>
            <p:cNvSpPr/>
            <p:nvPr/>
          </p:nvSpPr>
          <p:spPr>
            <a:xfrm>
              <a:off x="2307823" y="1800759"/>
              <a:ext cx="109" cy="448"/>
            </a:xfrm>
            <a:custGeom>
              <a:avLst/>
              <a:gdLst/>
              <a:ahLst/>
              <a:cxnLst/>
              <a:rect l="l" t="t" r="r" b="b"/>
              <a:pathLst>
                <a:path w="8" h="33" extrusionOk="0">
                  <a:moveTo>
                    <a:pt x="7" y="1"/>
                  </a:moveTo>
                  <a:lnTo>
                    <a:pt x="4" y="15"/>
                  </a:lnTo>
                  <a:cubicBezTo>
                    <a:pt x="0" y="22"/>
                    <a:pt x="0" y="25"/>
                    <a:pt x="0" y="32"/>
                  </a:cubicBezTo>
                  <a:cubicBezTo>
                    <a:pt x="4" y="22"/>
                    <a:pt x="7" y="11"/>
                    <a:pt x="7" y="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129" name="Google Shape;4129;p104"/>
            <p:cNvSpPr/>
            <p:nvPr/>
          </p:nvSpPr>
          <p:spPr>
            <a:xfrm>
              <a:off x="2564356" y="1700353"/>
              <a:ext cx="79157" cy="32179"/>
            </a:xfrm>
            <a:custGeom>
              <a:avLst/>
              <a:gdLst/>
              <a:ahLst/>
              <a:cxnLst/>
              <a:rect l="l" t="t" r="r" b="b"/>
              <a:pathLst>
                <a:path w="5830" h="2370" extrusionOk="0">
                  <a:moveTo>
                    <a:pt x="2643" y="1"/>
                  </a:moveTo>
                  <a:cubicBezTo>
                    <a:pt x="2561" y="1"/>
                    <a:pt x="2452" y="20"/>
                    <a:pt x="2371" y="65"/>
                  </a:cubicBezTo>
                  <a:cubicBezTo>
                    <a:pt x="2318" y="90"/>
                    <a:pt x="2283" y="135"/>
                    <a:pt x="2276" y="191"/>
                  </a:cubicBezTo>
                  <a:cubicBezTo>
                    <a:pt x="2265" y="293"/>
                    <a:pt x="2230" y="366"/>
                    <a:pt x="2160" y="405"/>
                  </a:cubicBezTo>
                  <a:cubicBezTo>
                    <a:pt x="2127" y="424"/>
                    <a:pt x="2088" y="434"/>
                    <a:pt x="2041" y="434"/>
                  </a:cubicBezTo>
                  <a:cubicBezTo>
                    <a:pt x="1953" y="434"/>
                    <a:pt x="1840" y="398"/>
                    <a:pt x="1695" y="324"/>
                  </a:cubicBezTo>
                  <a:cubicBezTo>
                    <a:pt x="1557" y="256"/>
                    <a:pt x="1390" y="224"/>
                    <a:pt x="1258" y="224"/>
                  </a:cubicBezTo>
                  <a:cubicBezTo>
                    <a:pt x="1180" y="224"/>
                    <a:pt x="1114" y="235"/>
                    <a:pt x="1075" y="258"/>
                  </a:cubicBezTo>
                  <a:cubicBezTo>
                    <a:pt x="1058" y="268"/>
                    <a:pt x="1047" y="279"/>
                    <a:pt x="1044" y="289"/>
                  </a:cubicBezTo>
                  <a:cubicBezTo>
                    <a:pt x="1023" y="492"/>
                    <a:pt x="781" y="664"/>
                    <a:pt x="669" y="713"/>
                  </a:cubicBezTo>
                  <a:lnTo>
                    <a:pt x="669" y="716"/>
                  </a:lnTo>
                  <a:lnTo>
                    <a:pt x="666" y="720"/>
                  </a:lnTo>
                  <a:lnTo>
                    <a:pt x="662" y="727"/>
                  </a:lnTo>
                  <a:lnTo>
                    <a:pt x="662" y="730"/>
                  </a:lnTo>
                  <a:lnTo>
                    <a:pt x="659" y="734"/>
                  </a:lnTo>
                  <a:lnTo>
                    <a:pt x="659" y="737"/>
                  </a:lnTo>
                  <a:lnTo>
                    <a:pt x="652" y="744"/>
                  </a:lnTo>
                  <a:lnTo>
                    <a:pt x="652" y="748"/>
                  </a:lnTo>
                  <a:lnTo>
                    <a:pt x="645" y="758"/>
                  </a:lnTo>
                  <a:lnTo>
                    <a:pt x="645" y="762"/>
                  </a:lnTo>
                  <a:lnTo>
                    <a:pt x="638" y="772"/>
                  </a:lnTo>
                  <a:lnTo>
                    <a:pt x="634" y="776"/>
                  </a:lnTo>
                  <a:lnTo>
                    <a:pt x="627" y="793"/>
                  </a:lnTo>
                  <a:lnTo>
                    <a:pt x="617" y="814"/>
                  </a:lnTo>
                  <a:lnTo>
                    <a:pt x="613" y="825"/>
                  </a:lnTo>
                  <a:lnTo>
                    <a:pt x="606" y="839"/>
                  </a:lnTo>
                  <a:lnTo>
                    <a:pt x="599" y="849"/>
                  </a:lnTo>
                  <a:lnTo>
                    <a:pt x="592" y="863"/>
                  </a:lnTo>
                  <a:lnTo>
                    <a:pt x="585" y="877"/>
                  </a:lnTo>
                  <a:lnTo>
                    <a:pt x="582" y="895"/>
                  </a:lnTo>
                  <a:lnTo>
                    <a:pt x="575" y="912"/>
                  </a:lnTo>
                  <a:lnTo>
                    <a:pt x="571" y="919"/>
                  </a:lnTo>
                  <a:cubicBezTo>
                    <a:pt x="627" y="958"/>
                    <a:pt x="676" y="1007"/>
                    <a:pt x="715" y="1059"/>
                  </a:cubicBezTo>
                  <a:lnTo>
                    <a:pt x="739" y="1091"/>
                  </a:lnTo>
                  <a:cubicBezTo>
                    <a:pt x="777" y="1134"/>
                    <a:pt x="843" y="1152"/>
                    <a:pt x="904" y="1152"/>
                  </a:cubicBezTo>
                  <a:cubicBezTo>
                    <a:pt x="924" y="1152"/>
                    <a:pt x="942" y="1150"/>
                    <a:pt x="960" y="1147"/>
                  </a:cubicBezTo>
                  <a:cubicBezTo>
                    <a:pt x="998" y="1143"/>
                    <a:pt x="1037" y="1122"/>
                    <a:pt x="1058" y="1087"/>
                  </a:cubicBezTo>
                  <a:cubicBezTo>
                    <a:pt x="1068" y="1052"/>
                    <a:pt x="1100" y="1024"/>
                    <a:pt x="1135" y="1014"/>
                  </a:cubicBezTo>
                  <a:cubicBezTo>
                    <a:pt x="1148" y="1010"/>
                    <a:pt x="1162" y="1008"/>
                    <a:pt x="1178" y="1008"/>
                  </a:cubicBezTo>
                  <a:cubicBezTo>
                    <a:pt x="1373" y="1008"/>
                    <a:pt x="1757" y="1273"/>
                    <a:pt x="1915" y="1402"/>
                  </a:cubicBezTo>
                  <a:cubicBezTo>
                    <a:pt x="1936" y="1420"/>
                    <a:pt x="1954" y="1437"/>
                    <a:pt x="1968" y="1451"/>
                  </a:cubicBezTo>
                  <a:cubicBezTo>
                    <a:pt x="1992" y="1472"/>
                    <a:pt x="2013" y="1500"/>
                    <a:pt x="2024" y="1532"/>
                  </a:cubicBezTo>
                  <a:cubicBezTo>
                    <a:pt x="2027" y="1546"/>
                    <a:pt x="2027" y="1563"/>
                    <a:pt x="2024" y="1577"/>
                  </a:cubicBezTo>
                  <a:cubicBezTo>
                    <a:pt x="2010" y="1641"/>
                    <a:pt x="1947" y="1651"/>
                    <a:pt x="1887" y="1662"/>
                  </a:cubicBezTo>
                  <a:cubicBezTo>
                    <a:pt x="1817" y="1676"/>
                    <a:pt x="1730" y="1693"/>
                    <a:pt x="1695" y="1763"/>
                  </a:cubicBezTo>
                  <a:cubicBezTo>
                    <a:pt x="1641" y="1871"/>
                    <a:pt x="1549" y="1899"/>
                    <a:pt x="1456" y="1899"/>
                  </a:cubicBezTo>
                  <a:cubicBezTo>
                    <a:pt x="1398" y="1899"/>
                    <a:pt x="1341" y="1888"/>
                    <a:pt x="1292" y="1879"/>
                  </a:cubicBezTo>
                  <a:cubicBezTo>
                    <a:pt x="1261" y="1871"/>
                    <a:pt x="1227" y="1867"/>
                    <a:pt x="1195" y="1867"/>
                  </a:cubicBezTo>
                  <a:cubicBezTo>
                    <a:pt x="1184" y="1867"/>
                    <a:pt x="1173" y="1867"/>
                    <a:pt x="1163" y="1868"/>
                  </a:cubicBezTo>
                  <a:cubicBezTo>
                    <a:pt x="1159" y="1872"/>
                    <a:pt x="1152" y="1875"/>
                    <a:pt x="1149" y="1879"/>
                  </a:cubicBezTo>
                  <a:cubicBezTo>
                    <a:pt x="1128" y="1893"/>
                    <a:pt x="1103" y="1907"/>
                    <a:pt x="1079" y="1914"/>
                  </a:cubicBezTo>
                  <a:lnTo>
                    <a:pt x="1058" y="1921"/>
                  </a:lnTo>
                  <a:lnTo>
                    <a:pt x="1040" y="1928"/>
                  </a:lnTo>
                  <a:lnTo>
                    <a:pt x="1037" y="1928"/>
                  </a:lnTo>
                  <a:cubicBezTo>
                    <a:pt x="869" y="1970"/>
                    <a:pt x="697" y="1991"/>
                    <a:pt x="526" y="1994"/>
                  </a:cubicBezTo>
                  <a:lnTo>
                    <a:pt x="494" y="1994"/>
                  </a:lnTo>
                  <a:lnTo>
                    <a:pt x="372" y="1998"/>
                  </a:lnTo>
                  <a:lnTo>
                    <a:pt x="372" y="1994"/>
                  </a:lnTo>
                  <a:lnTo>
                    <a:pt x="351" y="1994"/>
                  </a:lnTo>
                  <a:cubicBezTo>
                    <a:pt x="337" y="1994"/>
                    <a:pt x="323" y="1994"/>
                    <a:pt x="312" y="1991"/>
                  </a:cubicBezTo>
                  <a:cubicBezTo>
                    <a:pt x="309" y="1990"/>
                    <a:pt x="305" y="1990"/>
                    <a:pt x="301" y="1990"/>
                  </a:cubicBezTo>
                  <a:cubicBezTo>
                    <a:pt x="247" y="1990"/>
                    <a:pt x="153" y="2038"/>
                    <a:pt x="81" y="2113"/>
                  </a:cubicBezTo>
                  <a:cubicBezTo>
                    <a:pt x="46" y="2141"/>
                    <a:pt x="21" y="2180"/>
                    <a:pt x="0" y="2218"/>
                  </a:cubicBezTo>
                  <a:cubicBezTo>
                    <a:pt x="20" y="2219"/>
                    <a:pt x="40" y="2220"/>
                    <a:pt x="59" y="2220"/>
                  </a:cubicBezTo>
                  <a:cubicBezTo>
                    <a:pt x="112" y="2220"/>
                    <a:pt x="164" y="2216"/>
                    <a:pt x="218" y="2211"/>
                  </a:cubicBezTo>
                  <a:cubicBezTo>
                    <a:pt x="296" y="2204"/>
                    <a:pt x="379" y="2197"/>
                    <a:pt x="459" y="2197"/>
                  </a:cubicBezTo>
                  <a:cubicBezTo>
                    <a:pt x="571" y="2197"/>
                    <a:pt x="674" y="2211"/>
                    <a:pt x="746" y="2260"/>
                  </a:cubicBezTo>
                  <a:cubicBezTo>
                    <a:pt x="775" y="2278"/>
                    <a:pt x="804" y="2286"/>
                    <a:pt x="835" y="2286"/>
                  </a:cubicBezTo>
                  <a:cubicBezTo>
                    <a:pt x="876" y="2286"/>
                    <a:pt x="920" y="2273"/>
                    <a:pt x="974" y="2253"/>
                  </a:cubicBezTo>
                  <a:cubicBezTo>
                    <a:pt x="1017" y="2239"/>
                    <a:pt x="1068" y="2222"/>
                    <a:pt x="1118" y="2222"/>
                  </a:cubicBezTo>
                  <a:cubicBezTo>
                    <a:pt x="1169" y="2222"/>
                    <a:pt x="1220" y="2240"/>
                    <a:pt x="1261" y="2299"/>
                  </a:cubicBezTo>
                  <a:cubicBezTo>
                    <a:pt x="1292" y="2343"/>
                    <a:pt x="1345" y="2354"/>
                    <a:pt x="1417" y="2354"/>
                  </a:cubicBezTo>
                  <a:cubicBezTo>
                    <a:pt x="1442" y="2354"/>
                    <a:pt x="1469" y="2353"/>
                    <a:pt x="1499" y="2351"/>
                  </a:cubicBezTo>
                  <a:lnTo>
                    <a:pt x="1544" y="2348"/>
                  </a:lnTo>
                  <a:lnTo>
                    <a:pt x="1600" y="2348"/>
                  </a:lnTo>
                  <a:cubicBezTo>
                    <a:pt x="1614" y="2348"/>
                    <a:pt x="1625" y="2348"/>
                    <a:pt x="1639" y="2351"/>
                  </a:cubicBezTo>
                  <a:lnTo>
                    <a:pt x="1646" y="2351"/>
                  </a:lnTo>
                  <a:cubicBezTo>
                    <a:pt x="1660" y="2355"/>
                    <a:pt x="1670" y="2358"/>
                    <a:pt x="1684" y="2362"/>
                  </a:cubicBezTo>
                  <a:cubicBezTo>
                    <a:pt x="1697" y="2367"/>
                    <a:pt x="1727" y="2369"/>
                    <a:pt x="1768" y="2369"/>
                  </a:cubicBezTo>
                  <a:cubicBezTo>
                    <a:pt x="1840" y="2369"/>
                    <a:pt x="1946" y="2362"/>
                    <a:pt x="2059" y="2351"/>
                  </a:cubicBezTo>
                  <a:cubicBezTo>
                    <a:pt x="2146" y="2341"/>
                    <a:pt x="2244" y="2330"/>
                    <a:pt x="2336" y="2316"/>
                  </a:cubicBezTo>
                  <a:lnTo>
                    <a:pt x="2339" y="2313"/>
                  </a:lnTo>
                  <a:lnTo>
                    <a:pt x="2346" y="2299"/>
                  </a:lnTo>
                  <a:cubicBezTo>
                    <a:pt x="2350" y="2295"/>
                    <a:pt x="2353" y="2288"/>
                    <a:pt x="2357" y="2281"/>
                  </a:cubicBezTo>
                  <a:lnTo>
                    <a:pt x="2364" y="2271"/>
                  </a:lnTo>
                  <a:cubicBezTo>
                    <a:pt x="2367" y="2264"/>
                    <a:pt x="2367" y="2257"/>
                    <a:pt x="2371" y="2253"/>
                  </a:cubicBezTo>
                  <a:lnTo>
                    <a:pt x="2374" y="2239"/>
                  </a:lnTo>
                  <a:cubicBezTo>
                    <a:pt x="2374" y="2232"/>
                    <a:pt x="2378" y="2229"/>
                    <a:pt x="2381" y="2222"/>
                  </a:cubicBezTo>
                  <a:lnTo>
                    <a:pt x="2385" y="2208"/>
                  </a:lnTo>
                  <a:cubicBezTo>
                    <a:pt x="2385" y="2204"/>
                    <a:pt x="2385" y="2197"/>
                    <a:pt x="2388" y="2194"/>
                  </a:cubicBezTo>
                  <a:cubicBezTo>
                    <a:pt x="2388" y="2187"/>
                    <a:pt x="2388" y="2183"/>
                    <a:pt x="2388" y="2180"/>
                  </a:cubicBezTo>
                  <a:cubicBezTo>
                    <a:pt x="2392" y="2176"/>
                    <a:pt x="2388" y="2169"/>
                    <a:pt x="2392" y="2162"/>
                  </a:cubicBezTo>
                  <a:cubicBezTo>
                    <a:pt x="2395" y="2159"/>
                    <a:pt x="2392" y="2155"/>
                    <a:pt x="2392" y="2152"/>
                  </a:cubicBezTo>
                  <a:lnTo>
                    <a:pt x="2392" y="2138"/>
                  </a:lnTo>
                  <a:lnTo>
                    <a:pt x="2392" y="2131"/>
                  </a:lnTo>
                  <a:lnTo>
                    <a:pt x="2392" y="2110"/>
                  </a:lnTo>
                  <a:cubicBezTo>
                    <a:pt x="2388" y="2068"/>
                    <a:pt x="2399" y="2029"/>
                    <a:pt x="2423" y="1994"/>
                  </a:cubicBezTo>
                  <a:cubicBezTo>
                    <a:pt x="2465" y="1935"/>
                    <a:pt x="2539" y="1924"/>
                    <a:pt x="2598" y="1917"/>
                  </a:cubicBezTo>
                  <a:cubicBezTo>
                    <a:pt x="2626" y="1914"/>
                    <a:pt x="2658" y="1907"/>
                    <a:pt x="2686" y="1900"/>
                  </a:cubicBezTo>
                  <a:cubicBezTo>
                    <a:pt x="2735" y="1879"/>
                    <a:pt x="2777" y="1847"/>
                    <a:pt x="2812" y="1809"/>
                  </a:cubicBezTo>
                  <a:cubicBezTo>
                    <a:pt x="2871" y="1756"/>
                    <a:pt x="2931" y="1704"/>
                    <a:pt x="3008" y="1704"/>
                  </a:cubicBezTo>
                  <a:cubicBezTo>
                    <a:pt x="3046" y="1693"/>
                    <a:pt x="3085" y="1679"/>
                    <a:pt x="3116" y="1655"/>
                  </a:cubicBezTo>
                  <a:cubicBezTo>
                    <a:pt x="3173" y="1622"/>
                    <a:pt x="3235" y="1588"/>
                    <a:pt x="3299" y="1588"/>
                  </a:cubicBezTo>
                  <a:cubicBezTo>
                    <a:pt x="3319" y="1588"/>
                    <a:pt x="3338" y="1591"/>
                    <a:pt x="3358" y="1599"/>
                  </a:cubicBezTo>
                  <a:cubicBezTo>
                    <a:pt x="3396" y="1616"/>
                    <a:pt x="3435" y="1637"/>
                    <a:pt x="3466" y="1665"/>
                  </a:cubicBezTo>
                  <a:lnTo>
                    <a:pt x="3501" y="1690"/>
                  </a:lnTo>
                  <a:cubicBezTo>
                    <a:pt x="3543" y="1718"/>
                    <a:pt x="3571" y="1733"/>
                    <a:pt x="3595" y="1733"/>
                  </a:cubicBezTo>
                  <a:cubicBezTo>
                    <a:pt x="3609" y="1733"/>
                    <a:pt x="3621" y="1728"/>
                    <a:pt x="3634" y="1718"/>
                  </a:cubicBezTo>
                  <a:cubicBezTo>
                    <a:pt x="3673" y="1686"/>
                    <a:pt x="3718" y="1662"/>
                    <a:pt x="3771" y="1648"/>
                  </a:cubicBezTo>
                  <a:cubicBezTo>
                    <a:pt x="3816" y="1634"/>
                    <a:pt x="3858" y="1620"/>
                    <a:pt x="3953" y="1507"/>
                  </a:cubicBezTo>
                  <a:cubicBezTo>
                    <a:pt x="4075" y="1360"/>
                    <a:pt x="4177" y="1322"/>
                    <a:pt x="4289" y="1322"/>
                  </a:cubicBezTo>
                  <a:cubicBezTo>
                    <a:pt x="4327" y="1322"/>
                    <a:pt x="4366" y="1322"/>
                    <a:pt x="4408" y="1329"/>
                  </a:cubicBezTo>
                  <a:lnTo>
                    <a:pt x="4450" y="1332"/>
                  </a:lnTo>
                  <a:lnTo>
                    <a:pt x="4457" y="1332"/>
                  </a:lnTo>
                  <a:lnTo>
                    <a:pt x="4506" y="1339"/>
                  </a:lnTo>
                  <a:cubicBezTo>
                    <a:pt x="4530" y="1342"/>
                    <a:pt x="4552" y="1344"/>
                    <a:pt x="4573" y="1344"/>
                  </a:cubicBezTo>
                  <a:cubicBezTo>
                    <a:pt x="4681" y="1344"/>
                    <a:pt x="4751" y="1307"/>
                    <a:pt x="4804" y="1248"/>
                  </a:cubicBezTo>
                  <a:cubicBezTo>
                    <a:pt x="4832" y="1213"/>
                    <a:pt x="4860" y="1175"/>
                    <a:pt x="4877" y="1133"/>
                  </a:cubicBezTo>
                  <a:cubicBezTo>
                    <a:pt x="4933" y="1021"/>
                    <a:pt x="5052" y="979"/>
                    <a:pt x="5157" y="940"/>
                  </a:cubicBezTo>
                  <a:cubicBezTo>
                    <a:pt x="5217" y="926"/>
                    <a:pt x="5273" y="898"/>
                    <a:pt x="5322" y="867"/>
                  </a:cubicBezTo>
                  <a:cubicBezTo>
                    <a:pt x="5451" y="772"/>
                    <a:pt x="5682" y="674"/>
                    <a:pt x="5794" y="629"/>
                  </a:cubicBezTo>
                  <a:lnTo>
                    <a:pt x="5822" y="618"/>
                  </a:lnTo>
                  <a:cubicBezTo>
                    <a:pt x="5822" y="618"/>
                    <a:pt x="5822" y="615"/>
                    <a:pt x="5826" y="611"/>
                  </a:cubicBezTo>
                  <a:cubicBezTo>
                    <a:pt x="5826" y="608"/>
                    <a:pt x="5829" y="601"/>
                    <a:pt x="5829" y="590"/>
                  </a:cubicBezTo>
                  <a:lnTo>
                    <a:pt x="5829" y="590"/>
                  </a:lnTo>
                  <a:lnTo>
                    <a:pt x="5819" y="597"/>
                  </a:lnTo>
                  <a:lnTo>
                    <a:pt x="5815" y="597"/>
                  </a:lnTo>
                  <a:lnTo>
                    <a:pt x="5798" y="587"/>
                  </a:lnTo>
                  <a:lnTo>
                    <a:pt x="5787" y="583"/>
                  </a:lnTo>
                  <a:lnTo>
                    <a:pt x="5777" y="576"/>
                  </a:lnTo>
                  <a:lnTo>
                    <a:pt x="5763" y="573"/>
                  </a:lnTo>
                  <a:lnTo>
                    <a:pt x="5756" y="569"/>
                  </a:lnTo>
                  <a:lnTo>
                    <a:pt x="5742" y="566"/>
                  </a:lnTo>
                  <a:lnTo>
                    <a:pt x="5651" y="566"/>
                  </a:lnTo>
                  <a:cubicBezTo>
                    <a:pt x="5642" y="567"/>
                    <a:pt x="5634" y="567"/>
                    <a:pt x="5625" y="567"/>
                  </a:cubicBezTo>
                  <a:cubicBezTo>
                    <a:pt x="5567" y="567"/>
                    <a:pt x="5511" y="547"/>
                    <a:pt x="5462" y="513"/>
                  </a:cubicBezTo>
                  <a:cubicBezTo>
                    <a:pt x="5430" y="492"/>
                    <a:pt x="5402" y="468"/>
                    <a:pt x="5378" y="440"/>
                  </a:cubicBezTo>
                  <a:cubicBezTo>
                    <a:pt x="5297" y="342"/>
                    <a:pt x="5248" y="321"/>
                    <a:pt x="5192" y="321"/>
                  </a:cubicBezTo>
                  <a:cubicBezTo>
                    <a:pt x="5171" y="321"/>
                    <a:pt x="5150" y="324"/>
                    <a:pt x="5129" y="324"/>
                  </a:cubicBezTo>
                  <a:cubicBezTo>
                    <a:pt x="5098" y="330"/>
                    <a:pt x="5067" y="333"/>
                    <a:pt x="5036" y="333"/>
                  </a:cubicBezTo>
                  <a:cubicBezTo>
                    <a:pt x="4988" y="333"/>
                    <a:pt x="4941" y="326"/>
                    <a:pt x="4895" y="314"/>
                  </a:cubicBezTo>
                  <a:lnTo>
                    <a:pt x="4870" y="307"/>
                  </a:lnTo>
                  <a:cubicBezTo>
                    <a:pt x="4669" y="262"/>
                    <a:pt x="4148" y="205"/>
                    <a:pt x="3810" y="205"/>
                  </a:cubicBezTo>
                  <a:cubicBezTo>
                    <a:pt x="3801" y="205"/>
                    <a:pt x="3791" y="205"/>
                    <a:pt x="3781" y="205"/>
                  </a:cubicBezTo>
                  <a:cubicBezTo>
                    <a:pt x="3764" y="204"/>
                    <a:pt x="3746" y="203"/>
                    <a:pt x="3728" y="203"/>
                  </a:cubicBezTo>
                  <a:cubicBezTo>
                    <a:pt x="3661" y="203"/>
                    <a:pt x="3593" y="213"/>
                    <a:pt x="3529" y="230"/>
                  </a:cubicBezTo>
                  <a:cubicBezTo>
                    <a:pt x="3492" y="245"/>
                    <a:pt x="3451" y="252"/>
                    <a:pt x="3406" y="252"/>
                  </a:cubicBezTo>
                  <a:cubicBezTo>
                    <a:pt x="3234" y="252"/>
                    <a:pt x="3010" y="151"/>
                    <a:pt x="2791" y="37"/>
                  </a:cubicBezTo>
                  <a:lnTo>
                    <a:pt x="2745" y="16"/>
                  </a:lnTo>
                  <a:cubicBezTo>
                    <a:pt x="2724" y="6"/>
                    <a:pt x="2687" y="1"/>
                    <a:pt x="2643" y="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130" name="Google Shape;4130;p104"/>
            <p:cNvSpPr/>
            <p:nvPr/>
          </p:nvSpPr>
          <p:spPr>
            <a:xfrm>
              <a:off x="2342432" y="1695723"/>
              <a:ext cx="47874" cy="20841"/>
            </a:xfrm>
            <a:custGeom>
              <a:avLst/>
              <a:gdLst/>
              <a:ahLst/>
              <a:cxnLst/>
              <a:rect l="l" t="t" r="r" b="b"/>
              <a:pathLst>
                <a:path w="3526" h="1535" extrusionOk="0">
                  <a:moveTo>
                    <a:pt x="118" y="1"/>
                  </a:moveTo>
                  <a:cubicBezTo>
                    <a:pt x="101" y="1"/>
                    <a:pt x="85" y="1"/>
                    <a:pt x="70" y="4"/>
                  </a:cubicBezTo>
                  <a:lnTo>
                    <a:pt x="60" y="4"/>
                  </a:lnTo>
                  <a:lnTo>
                    <a:pt x="49" y="7"/>
                  </a:lnTo>
                  <a:lnTo>
                    <a:pt x="46" y="7"/>
                  </a:lnTo>
                  <a:lnTo>
                    <a:pt x="32" y="11"/>
                  </a:lnTo>
                  <a:lnTo>
                    <a:pt x="25" y="14"/>
                  </a:lnTo>
                  <a:lnTo>
                    <a:pt x="7" y="25"/>
                  </a:lnTo>
                  <a:lnTo>
                    <a:pt x="0" y="28"/>
                  </a:lnTo>
                  <a:cubicBezTo>
                    <a:pt x="81" y="56"/>
                    <a:pt x="161" y="84"/>
                    <a:pt x="245" y="105"/>
                  </a:cubicBezTo>
                  <a:cubicBezTo>
                    <a:pt x="476" y="168"/>
                    <a:pt x="718" y="235"/>
                    <a:pt x="767" y="490"/>
                  </a:cubicBezTo>
                  <a:cubicBezTo>
                    <a:pt x="795" y="651"/>
                    <a:pt x="851" y="700"/>
                    <a:pt x="896" y="746"/>
                  </a:cubicBezTo>
                  <a:cubicBezTo>
                    <a:pt x="973" y="819"/>
                    <a:pt x="1022" y="882"/>
                    <a:pt x="973" y="1082"/>
                  </a:cubicBezTo>
                  <a:cubicBezTo>
                    <a:pt x="963" y="1124"/>
                    <a:pt x="945" y="1162"/>
                    <a:pt x="921" y="1197"/>
                  </a:cubicBezTo>
                  <a:lnTo>
                    <a:pt x="935" y="1197"/>
                  </a:lnTo>
                  <a:cubicBezTo>
                    <a:pt x="973" y="1200"/>
                    <a:pt x="1012" y="1201"/>
                    <a:pt x="1050" y="1201"/>
                  </a:cubicBezTo>
                  <a:cubicBezTo>
                    <a:pt x="1127" y="1201"/>
                    <a:pt x="1203" y="1196"/>
                    <a:pt x="1278" y="1187"/>
                  </a:cubicBezTo>
                  <a:lnTo>
                    <a:pt x="1295" y="1187"/>
                  </a:lnTo>
                  <a:lnTo>
                    <a:pt x="1306" y="1183"/>
                  </a:lnTo>
                  <a:lnTo>
                    <a:pt x="1316" y="1183"/>
                  </a:lnTo>
                  <a:lnTo>
                    <a:pt x="1327" y="1180"/>
                  </a:lnTo>
                  <a:lnTo>
                    <a:pt x="1341" y="1176"/>
                  </a:lnTo>
                  <a:cubicBezTo>
                    <a:pt x="1375" y="1163"/>
                    <a:pt x="1406" y="1156"/>
                    <a:pt x="1434" y="1156"/>
                  </a:cubicBezTo>
                  <a:cubicBezTo>
                    <a:pt x="1558" y="1156"/>
                    <a:pt x="1635" y="1273"/>
                    <a:pt x="1712" y="1390"/>
                  </a:cubicBezTo>
                  <a:cubicBezTo>
                    <a:pt x="1736" y="1428"/>
                    <a:pt x="1764" y="1467"/>
                    <a:pt x="1792" y="1509"/>
                  </a:cubicBezTo>
                  <a:lnTo>
                    <a:pt x="1796" y="1512"/>
                  </a:lnTo>
                  <a:lnTo>
                    <a:pt x="1817" y="1516"/>
                  </a:lnTo>
                  <a:cubicBezTo>
                    <a:pt x="1848" y="1512"/>
                    <a:pt x="1880" y="1505"/>
                    <a:pt x="1911" y="1498"/>
                  </a:cubicBezTo>
                  <a:lnTo>
                    <a:pt x="1929" y="1495"/>
                  </a:lnTo>
                  <a:lnTo>
                    <a:pt x="2013" y="1474"/>
                  </a:lnTo>
                  <a:cubicBezTo>
                    <a:pt x="2115" y="1449"/>
                    <a:pt x="2220" y="1428"/>
                    <a:pt x="2325" y="1414"/>
                  </a:cubicBezTo>
                  <a:cubicBezTo>
                    <a:pt x="2339" y="1414"/>
                    <a:pt x="2353" y="1411"/>
                    <a:pt x="2370" y="1411"/>
                  </a:cubicBezTo>
                  <a:lnTo>
                    <a:pt x="2489" y="1411"/>
                  </a:lnTo>
                  <a:lnTo>
                    <a:pt x="2542" y="1414"/>
                  </a:lnTo>
                  <a:lnTo>
                    <a:pt x="2549" y="1414"/>
                  </a:lnTo>
                  <a:lnTo>
                    <a:pt x="2608" y="1421"/>
                  </a:lnTo>
                  <a:lnTo>
                    <a:pt x="2622" y="1421"/>
                  </a:lnTo>
                  <a:lnTo>
                    <a:pt x="2671" y="1428"/>
                  </a:lnTo>
                  <a:lnTo>
                    <a:pt x="2692" y="1432"/>
                  </a:lnTo>
                  <a:lnTo>
                    <a:pt x="2717" y="1435"/>
                  </a:lnTo>
                  <a:cubicBezTo>
                    <a:pt x="2717" y="1425"/>
                    <a:pt x="2717" y="1418"/>
                    <a:pt x="2720" y="1407"/>
                  </a:cubicBezTo>
                  <a:cubicBezTo>
                    <a:pt x="2720" y="1400"/>
                    <a:pt x="2724" y="1397"/>
                    <a:pt x="2724" y="1390"/>
                  </a:cubicBezTo>
                  <a:cubicBezTo>
                    <a:pt x="2727" y="1386"/>
                    <a:pt x="2727" y="1379"/>
                    <a:pt x="2731" y="1376"/>
                  </a:cubicBezTo>
                  <a:cubicBezTo>
                    <a:pt x="2748" y="1337"/>
                    <a:pt x="2783" y="1313"/>
                    <a:pt x="2825" y="1309"/>
                  </a:cubicBezTo>
                  <a:cubicBezTo>
                    <a:pt x="2830" y="1308"/>
                    <a:pt x="2835" y="1307"/>
                    <a:pt x="2839" y="1307"/>
                  </a:cubicBezTo>
                  <a:cubicBezTo>
                    <a:pt x="2844" y="1307"/>
                    <a:pt x="2848" y="1308"/>
                    <a:pt x="2853" y="1309"/>
                  </a:cubicBezTo>
                  <a:lnTo>
                    <a:pt x="2860" y="1309"/>
                  </a:lnTo>
                  <a:cubicBezTo>
                    <a:pt x="2874" y="1309"/>
                    <a:pt x="2888" y="1309"/>
                    <a:pt x="2902" y="1313"/>
                  </a:cubicBezTo>
                  <a:cubicBezTo>
                    <a:pt x="2920" y="1316"/>
                    <a:pt x="2934" y="1320"/>
                    <a:pt x="2951" y="1323"/>
                  </a:cubicBezTo>
                  <a:cubicBezTo>
                    <a:pt x="2965" y="1330"/>
                    <a:pt x="2983" y="1337"/>
                    <a:pt x="3000" y="1344"/>
                  </a:cubicBezTo>
                  <a:lnTo>
                    <a:pt x="3004" y="1344"/>
                  </a:lnTo>
                  <a:cubicBezTo>
                    <a:pt x="3018" y="1348"/>
                    <a:pt x="3032" y="1358"/>
                    <a:pt x="3046" y="1365"/>
                  </a:cubicBezTo>
                  <a:lnTo>
                    <a:pt x="3049" y="1369"/>
                  </a:lnTo>
                  <a:cubicBezTo>
                    <a:pt x="3067" y="1376"/>
                    <a:pt x="3081" y="1383"/>
                    <a:pt x="3095" y="1390"/>
                  </a:cubicBezTo>
                  <a:lnTo>
                    <a:pt x="3098" y="1393"/>
                  </a:lnTo>
                  <a:cubicBezTo>
                    <a:pt x="3112" y="1404"/>
                    <a:pt x="3126" y="1411"/>
                    <a:pt x="3137" y="1418"/>
                  </a:cubicBezTo>
                  <a:lnTo>
                    <a:pt x="3144" y="1421"/>
                  </a:lnTo>
                  <a:cubicBezTo>
                    <a:pt x="3154" y="1432"/>
                    <a:pt x="3165" y="1439"/>
                    <a:pt x="3175" y="1446"/>
                  </a:cubicBezTo>
                  <a:lnTo>
                    <a:pt x="3179" y="1449"/>
                  </a:lnTo>
                  <a:cubicBezTo>
                    <a:pt x="3189" y="1456"/>
                    <a:pt x="3196" y="1463"/>
                    <a:pt x="3203" y="1474"/>
                  </a:cubicBezTo>
                  <a:cubicBezTo>
                    <a:pt x="3262" y="1513"/>
                    <a:pt x="3329" y="1534"/>
                    <a:pt x="3400" y="1534"/>
                  </a:cubicBezTo>
                  <a:cubicBezTo>
                    <a:pt x="3406" y="1534"/>
                    <a:pt x="3411" y="1534"/>
                    <a:pt x="3417" y="1533"/>
                  </a:cubicBezTo>
                  <a:cubicBezTo>
                    <a:pt x="3422" y="1534"/>
                    <a:pt x="3427" y="1534"/>
                    <a:pt x="3432" y="1534"/>
                  </a:cubicBezTo>
                  <a:cubicBezTo>
                    <a:pt x="3465" y="1534"/>
                    <a:pt x="3498" y="1524"/>
                    <a:pt x="3525" y="1509"/>
                  </a:cubicBezTo>
                  <a:cubicBezTo>
                    <a:pt x="3504" y="1488"/>
                    <a:pt x="3480" y="1467"/>
                    <a:pt x="3452" y="1449"/>
                  </a:cubicBezTo>
                  <a:cubicBezTo>
                    <a:pt x="3410" y="1418"/>
                    <a:pt x="3375" y="1383"/>
                    <a:pt x="3343" y="1344"/>
                  </a:cubicBezTo>
                  <a:cubicBezTo>
                    <a:pt x="3340" y="1337"/>
                    <a:pt x="3336" y="1327"/>
                    <a:pt x="3333" y="1320"/>
                  </a:cubicBezTo>
                  <a:lnTo>
                    <a:pt x="3333" y="1316"/>
                  </a:lnTo>
                  <a:cubicBezTo>
                    <a:pt x="3333" y="1309"/>
                    <a:pt x="3329" y="1302"/>
                    <a:pt x="3329" y="1292"/>
                  </a:cubicBezTo>
                  <a:cubicBezTo>
                    <a:pt x="3329" y="1281"/>
                    <a:pt x="3329" y="1274"/>
                    <a:pt x="3329" y="1267"/>
                  </a:cubicBezTo>
                  <a:lnTo>
                    <a:pt x="3329" y="1264"/>
                  </a:lnTo>
                  <a:cubicBezTo>
                    <a:pt x="3333" y="1257"/>
                    <a:pt x="3333" y="1246"/>
                    <a:pt x="3336" y="1239"/>
                  </a:cubicBezTo>
                  <a:lnTo>
                    <a:pt x="3336" y="1236"/>
                  </a:lnTo>
                  <a:cubicBezTo>
                    <a:pt x="3340" y="1229"/>
                    <a:pt x="3343" y="1222"/>
                    <a:pt x="3347" y="1211"/>
                  </a:cubicBezTo>
                  <a:lnTo>
                    <a:pt x="3347" y="1208"/>
                  </a:lnTo>
                  <a:cubicBezTo>
                    <a:pt x="3350" y="1201"/>
                    <a:pt x="3357" y="1194"/>
                    <a:pt x="3361" y="1183"/>
                  </a:cubicBezTo>
                  <a:lnTo>
                    <a:pt x="3364" y="1180"/>
                  </a:lnTo>
                  <a:cubicBezTo>
                    <a:pt x="3368" y="1169"/>
                    <a:pt x="3375" y="1162"/>
                    <a:pt x="3382" y="1155"/>
                  </a:cubicBezTo>
                  <a:lnTo>
                    <a:pt x="3399" y="1131"/>
                  </a:lnTo>
                  <a:lnTo>
                    <a:pt x="3399" y="1127"/>
                  </a:lnTo>
                  <a:lnTo>
                    <a:pt x="3336" y="1089"/>
                  </a:lnTo>
                  <a:cubicBezTo>
                    <a:pt x="3291" y="1057"/>
                    <a:pt x="3242" y="1029"/>
                    <a:pt x="3189" y="1005"/>
                  </a:cubicBezTo>
                  <a:lnTo>
                    <a:pt x="3179" y="1001"/>
                  </a:lnTo>
                  <a:cubicBezTo>
                    <a:pt x="3175" y="1001"/>
                    <a:pt x="3168" y="1005"/>
                    <a:pt x="3165" y="1005"/>
                  </a:cubicBezTo>
                  <a:cubicBezTo>
                    <a:pt x="3147" y="1005"/>
                    <a:pt x="3133" y="1001"/>
                    <a:pt x="3116" y="994"/>
                  </a:cubicBezTo>
                  <a:cubicBezTo>
                    <a:pt x="3074" y="966"/>
                    <a:pt x="3053" y="907"/>
                    <a:pt x="3035" y="826"/>
                  </a:cubicBezTo>
                  <a:lnTo>
                    <a:pt x="3028" y="805"/>
                  </a:lnTo>
                  <a:cubicBezTo>
                    <a:pt x="3021" y="760"/>
                    <a:pt x="3007" y="718"/>
                    <a:pt x="2990" y="672"/>
                  </a:cubicBezTo>
                  <a:cubicBezTo>
                    <a:pt x="2990" y="669"/>
                    <a:pt x="2986" y="665"/>
                    <a:pt x="2986" y="662"/>
                  </a:cubicBezTo>
                  <a:cubicBezTo>
                    <a:pt x="2937" y="662"/>
                    <a:pt x="2895" y="644"/>
                    <a:pt x="2860" y="613"/>
                  </a:cubicBezTo>
                  <a:cubicBezTo>
                    <a:pt x="2846" y="599"/>
                    <a:pt x="2825" y="588"/>
                    <a:pt x="2801" y="588"/>
                  </a:cubicBezTo>
                  <a:lnTo>
                    <a:pt x="2664" y="588"/>
                  </a:lnTo>
                  <a:cubicBezTo>
                    <a:pt x="2622" y="588"/>
                    <a:pt x="2584" y="592"/>
                    <a:pt x="2552" y="595"/>
                  </a:cubicBezTo>
                  <a:cubicBezTo>
                    <a:pt x="2521" y="599"/>
                    <a:pt x="2489" y="599"/>
                    <a:pt x="2465" y="602"/>
                  </a:cubicBezTo>
                  <a:cubicBezTo>
                    <a:pt x="2335" y="616"/>
                    <a:pt x="2297" y="637"/>
                    <a:pt x="2286" y="648"/>
                  </a:cubicBezTo>
                  <a:cubicBezTo>
                    <a:pt x="2276" y="655"/>
                    <a:pt x="2265" y="658"/>
                    <a:pt x="2255" y="665"/>
                  </a:cubicBezTo>
                  <a:cubicBezTo>
                    <a:pt x="2239" y="671"/>
                    <a:pt x="2223" y="674"/>
                    <a:pt x="2208" y="674"/>
                  </a:cubicBezTo>
                  <a:cubicBezTo>
                    <a:pt x="2139" y="674"/>
                    <a:pt x="2075" y="617"/>
                    <a:pt x="2024" y="571"/>
                  </a:cubicBezTo>
                  <a:cubicBezTo>
                    <a:pt x="1985" y="536"/>
                    <a:pt x="1936" y="490"/>
                    <a:pt x="1904" y="490"/>
                  </a:cubicBezTo>
                  <a:cubicBezTo>
                    <a:pt x="1743" y="490"/>
                    <a:pt x="1582" y="333"/>
                    <a:pt x="1516" y="249"/>
                  </a:cubicBezTo>
                  <a:cubicBezTo>
                    <a:pt x="1500" y="239"/>
                    <a:pt x="1456" y="236"/>
                    <a:pt x="1403" y="236"/>
                  </a:cubicBezTo>
                  <a:cubicBezTo>
                    <a:pt x="1343" y="236"/>
                    <a:pt x="1271" y="240"/>
                    <a:pt x="1215" y="242"/>
                  </a:cubicBezTo>
                  <a:cubicBezTo>
                    <a:pt x="1138" y="245"/>
                    <a:pt x="1061" y="250"/>
                    <a:pt x="988" y="250"/>
                  </a:cubicBezTo>
                  <a:cubicBezTo>
                    <a:pt x="861" y="250"/>
                    <a:pt x="748" y="237"/>
                    <a:pt x="679" y="186"/>
                  </a:cubicBezTo>
                  <a:cubicBezTo>
                    <a:pt x="537" y="84"/>
                    <a:pt x="278" y="1"/>
                    <a:pt x="118" y="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131" name="Google Shape;4131;p104"/>
            <p:cNvSpPr/>
            <p:nvPr/>
          </p:nvSpPr>
          <p:spPr>
            <a:xfrm>
              <a:off x="2240180" y="1709559"/>
              <a:ext cx="19076" cy="11745"/>
            </a:xfrm>
            <a:custGeom>
              <a:avLst/>
              <a:gdLst/>
              <a:ahLst/>
              <a:cxnLst/>
              <a:rect l="l" t="t" r="r" b="b"/>
              <a:pathLst>
                <a:path w="1405" h="865" extrusionOk="0">
                  <a:moveTo>
                    <a:pt x="452" y="1"/>
                  </a:moveTo>
                  <a:cubicBezTo>
                    <a:pt x="394" y="1"/>
                    <a:pt x="335" y="5"/>
                    <a:pt x="284" y="10"/>
                  </a:cubicBezTo>
                  <a:lnTo>
                    <a:pt x="246" y="10"/>
                  </a:lnTo>
                  <a:cubicBezTo>
                    <a:pt x="221" y="14"/>
                    <a:pt x="197" y="17"/>
                    <a:pt x="179" y="24"/>
                  </a:cubicBezTo>
                  <a:cubicBezTo>
                    <a:pt x="179" y="28"/>
                    <a:pt x="179" y="31"/>
                    <a:pt x="183" y="35"/>
                  </a:cubicBezTo>
                  <a:cubicBezTo>
                    <a:pt x="183" y="45"/>
                    <a:pt x="186" y="56"/>
                    <a:pt x="190" y="70"/>
                  </a:cubicBezTo>
                  <a:lnTo>
                    <a:pt x="204" y="112"/>
                  </a:lnTo>
                  <a:lnTo>
                    <a:pt x="221" y="175"/>
                  </a:lnTo>
                  <a:cubicBezTo>
                    <a:pt x="221" y="185"/>
                    <a:pt x="225" y="192"/>
                    <a:pt x="225" y="199"/>
                  </a:cubicBezTo>
                  <a:cubicBezTo>
                    <a:pt x="228" y="210"/>
                    <a:pt x="232" y="220"/>
                    <a:pt x="232" y="231"/>
                  </a:cubicBezTo>
                  <a:cubicBezTo>
                    <a:pt x="235" y="241"/>
                    <a:pt x="235" y="245"/>
                    <a:pt x="235" y="252"/>
                  </a:cubicBezTo>
                  <a:cubicBezTo>
                    <a:pt x="239" y="259"/>
                    <a:pt x="242" y="273"/>
                    <a:pt x="242" y="283"/>
                  </a:cubicBezTo>
                  <a:cubicBezTo>
                    <a:pt x="246" y="301"/>
                    <a:pt x="246" y="315"/>
                    <a:pt x="246" y="332"/>
                  </a:cubicBezTo>
                  <a:cubicBezTo>
                    <a:pt x="246" y="437"/>
                    <a:pt x="179" y="497"/>
                    <a:pt x="134" y="539"/>
                  </a:cubicBezTo>
                  <a:cubicBezTo>
                    <a:pt x="116" y="553"/>
                    <a:pt x="88" y="577"/>
                    <a:pt x="88" y="588"/>
                  </a:cubicBezTo>
                  <a:cubicBezTo>
                    <a:pt x="88" y="595"/>
                    <a:pt x="88" y="605"/>
                    <a:pt x="88" y="616"/>
                  </a:cubicBezTo>
                  <a:lnTo>
                    <a:pt x="88" y="623"/>
                  </a:lnTo>
                  <a:cubicBezTo>
                    <a:pt x="88" y="630"/>
                    <a:pt x="85" y="637"/>
                    <a:pt x="85" y="640"/>
                  </a:cubicBezTo>
                  <a:cubicBezTo>
                    <a:pt x="85" y="644"/>
                    <a:pt x="81" y="647"/>
                    <a:pt x="81" y="651"/>
                  </a:cubicBezTo>
                  <a:cubicBezTo>
                    <a:pt x="81" y="654"/>
                    <a:pt x="78" y="661"/>
                    <a:pt x="74" y="665"/>
                  </a:cubicBezTo>
                  <a:lnTo>
                    <a:pt x="71" y="675"/>
                  </a:lnTo>
                  <a:lnTo>
                    <a:pt x="64" y="689"/>
                  </a:lnTo>
                  <a:lnTo>
                    <a:pt x="57" y="696"/>
                  </a:lnTo>
                  <a:lnTo>
                    <a:pt x="46" y="710"/>
                  </a:lnTo>
                  <a:lnTo>
                    <a:pt x="39" y="721"/>
                  </a:lnTo>
                  <a:lnTo>
                    <a:pt x="29" y="731"/>
                  </a:lnTo>
                  <a:lnTo>
                    <a:pt x="22" y="742"/>
                  </a:lnTo>
                  <a:lnTo>
                    <a:pt x="11" y="752"/>
                  </a:lnTo>
                  <a:lnTo>
                    <a:pt x="1" y="766"/>
                  </a:lnTo>
                  <a:cubicBezTo>
                    <a:pt x="78" y="819"/>
                    <a:pt x="148" y="864"/>
                    <a:pt x="218" y="864"/>
                  </a:cubicBezTo>
                  <a:cubicBezTo>
                    <a:pt x="323" y="864"/>
                    <a:pt x="393" y="798"/>
                    <a:pt x="477" y="717"/>
                  </a:cubicBezTo>
                  <a:cubicBezTo>
                    <a:pt x="536" y="651"/>
                    <a:pt x="613" y="595"/>
                    <a:pt x="701" y="556"/>
                  </a:cubicBezTo>
                  <a:cubicBezTo>
                    <a:pt x="773" y="529"/>
                    <a:pt x="870" y="523"/>
                    <a:pt x="972" y="523"/>
                  </a:cubicBezTo>
                  <a:cubicBezTo>
                    <a:pt x="1013" y="523"/>
                    <a:pt x="1055" y="524"/>
                    <a:pt x="1096" y="525"/>
                  </a:cubicBezTo>
                  <a:cubicBezTo>
                    <a:pt x="1133" y="526"/>
                    <a:pt x="1173" y="527"/>
                    <a:pt x="1213" y="527"/>
                  </a:cubicBezTo>
                  <a:cubicBezTo>
                    <a:pt x="1293" y="527"/>
                    <a:pt x="1370" y="523"/>
                    <a:pt x="1405" y="504"/>
                  </a:cubicBezTo>
                  <a:cubicBezTo>
                    <a:pt x="1345" y="458"/>
                    <a:pt x="1279" y="420"/>
                    <a:pt x="1212" y="388"/>
                  </a:cubicBezTo>
                  <a:cubicBezTo>
                    <a:pt x="1138" y="353"/>
                    <a:pt x="1072" y="311"/>
                    <a:pt x="1005" y="266"/>
                  </a:cubicBezTo>
                  <a:cubicBezTo>
                    <a:pt x="939" y="199"/>
                    <a:pt x="890" y="119"/>
                    <a:pt x="872" y="28"/>
                  </a:cubicBezTo>
                  <a:lnTo>
                    <a:pt x="862" y="31"/>
                  </a:lnTo>
                  <a:lnTo>
                    <a:pt x="848" y="35"/>
                  </a:lnTo>
                  <a:lnTo>
                    <a:pt x="823" y="42"/>
                  </a:lnTo>
                  <a:lnTo>
                    <a:pt x="809" y="45"/>
                  </a:lnTo>
                  <a:cubicBezTo>
                    <a:pt x="799" y="49"/>
                    <a:pt x="792" y="49"/>
                    <a:pt x="781" y="52"/>
                  </a:cubicBezTo>
                  <a:lnTo>
                    <a:pt x="736" y="52"/>
                  </a:lnTo>
                  <a:lnTo>
                    <a:pt x="715" y="49"/>
                  </a:lnTo>
                  <a:lnTo>
                    <a:pt x="708" y="49"/>
                  </a:lnTo>
                  <a:lnTo>
                    <a:pt x="690" y="45"/>
                  </a:lnTo>
                  <a:lnTo>
                    <a:pt x="683" y="42"/>
                  </a:lnTo>
                  <a:cubicBezTo>
                    <a:pt x="676" y="38"/>
                    <a:pt x="669" y="35"/>
                    <a:pt x="662" y="31"/>
                  </a:cubicBezTo>
                  <a:cubicBezTo>
                    <a:pt x="615" y="9"/>
                    <a:pt x="535" y="1"/>
                    <a:pt x="452" y="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132" name="Google Shape;4132;p104"/>
            <p:cNvSpPr/>
            <p:nvPr/>
          </p:nvSpPr>
          <p:spPr>
            <a:xfrm>
              <a:off x="2239949" y="1709871"/>
              <a:ext cx="136291" cy="51934"/>
            </a:xfrm>
            <a:custGeom>
              <a:avLst/>
              <a:gdLst/>
              <a:ahLst/>
              <a:cxnLst/>
              <a:rect l="l" t="t" r="r" b="b"/>
              <a:pathLst>
                <a:path w="10038" h="3825" extrusionOk="0">
                  <a:moveTo>
                    <a:pt x="4202" y="1"/>
                  </a:moveTo>
                  <a:cubicBezTo>
                    <a:pt x="3585" y="1"/>
                    <a:pt x="3059" y="306"/>
                    <a:pt x="2825" y="509"/>
                  </a:cubicBezTo>
                  <a:cubicBezTo>
                    <a:pt x="2724" y="598"/>
                    <a:pt x="2540" y="623"/>
                    <a:pt x="2341" y="623"/>
                  </a:cubicBezTo>
                  <a:cubicBezTo>
                    <a:pt x="2188" y="623"/>
                    <a:pt x="2027" y="609"/>
                    <a:pt x="1887" y="596"/>
                  </a:cubicBezTo>
                  <a:cubicBezTo>
                    <a:pt x="1815" y="588"/>
                    <a:pt x="1743" y="582"/>
                    <a:pt x="1669" y="582"/>
                  </a:cubicBezTo>
                  <a:cubicBezTo>
                    <a:pt x="1653" y="582"/>
                    <a:pt x="1637" y="582"/>
                    <a:pt x="1621" y="582"/>
                  </a:cubicBezTo>
                  <a:cubicBezTo>
                    <a:pt x="1614" y="603"/>
                    <a:pt x="1611" y="624"/>
                    <a:pt x="1607" y="645"/>
                  </a:cubicBezTo>
                  <a:cubicBezTo>
                    <a:pt x="1590" y="747"/>
                    <a:pt x="1565" y="919"/>
                    <a:pt x="1334" y="1006"/>
                  </a:cubicBezTo>
                  <a:cubicBezTo>
                    <a:pt x="1189" y="1063"/>
                    <a:pt x="973" y="1066"/>
                    <a:pt x="755" y="1066"/>
                  </a:cubicBezTo>
                  <a:cubicBezTo>
                    <a:pt x="731" y="1066"/>
                    <a:pt x="707" y="1066"/>
                    <a:pt x="683" y="1066"/>
                  </a:cubicBezTo>
                  <a:cubicBezTo>
                    <a:pt x="653" y="1066"/>
                    <a:pt x="622" y="1065"/>
                    <a:pt x="592" y="1065"/>
                  </a:cubicBezTo>
                  <a:cubicBezTo>
                    <a:pt x="426" y="1065"/>
                    <a:pt x="266" y="1068"/>
                    <a:pt x="189" y="1101"/>
                  </a:cubicBezTo>
                  <a:cubicBezTo>
                    <a:pt x="63" y="1160"/>
                    <a:pt x="0" y="1307"/>
                    <a:pt x="14" y="1363"/>
                  </a:cubicBezTo>
                  <a:cubicBezTo>
                    <a:pt x="18" y="1374"/>
                    <a:pt x="18" y="1381"/>
                    <a:pt x="46" y="1381"/>
                  </a:cubicBezTo>
                  <a:cubicBezTo>
                    <a:pt x="64" y="1379"/>
                    <a:pt x="82" y="1378"/>
                    <a:pt x="100" y="1378"/>
                  </a:cubicBezTo>
                  <a:cubicBezTo>
                    <a:pt x="211" y="1378"/>
                    <a:pt x="300" y="1416"/>
                    <a:pt x="340" y="1482"/>
                  </a:cubicBezTo>
                  <a:cubicBezTo>
                    <a:pt x="368" y="1531"/>
                    <a:pt x="364" y="1587"/>
                    <a:pt x="333" y="1633"/>
                  </a:cubicBezTo>
                  <a:cubicBezTo>
                    <a:pt x="340" y="1671"/>
                    <a:pt x="350" y="1706"/>
                    <a:pt x="368" y="1741"/>
                  </a:cubicBezTo>
                  <a:cubicBezTo>
                    <a:pt x="410" y="1836"/>
                    <a:pt x="462" y="1965"/>
                    <a:pt x="368" y="2049"/>
                  </a:cubicBezTo>
                  <a:cubicBezTo>
                    <a:pt x="329" y="2088"/>
                    <a:pt x="305" y="2144"/>
                    <a:pt x="308" y="2200"/>
                  </a:cubicBezTo>
                  <a:cubicBezTo>
                    <a:pt x="312" y="2249"/>
                    <a:pt x="336" y="2298"/>
                    <a:pt x="378" y="2329"/>
                  </a:cubicBezTo>
                  <a:cubicBezTo>
                    <a:pt x="476" y="2403"/>
                    <a:pt x="529" y="2522"/>
                    <a:pt x="508" y="2613"/>
                  </a:cubicBezTo>
                  <a:cubicBezTo>
                    <a:pt x="494" y="2662"/>
                    <a:pt x="462" y="2700"/>
                    <a:pt x="420" y="2725"/>
                  </a:cubicBezTo>
                  <a:cubicBezTo>
                    <a:pt x="441" y="2739"/>
                    <a:pt x="466" y="2756"/>
                    <a:pt x="487" y="2767"/>
                  </a:cubicBezTo>
                  <a:cubicBezTo>
                    <a:pt x="599" y="2840"/>
                    <a:pt x="665" y="2886"/>
                    <a:pt x="679" y="2942"/>
                  </a:cubicBezTo>
                  <a:cubicBezTo>
                    <a:pt x="718" y="2966"/>
                    <a:pt x="760" y="2984"/>
                    <a:pt x="805" y="2998"/>
                  </a:cubicBezTo>
                  <a:cubicBezTo>
                    <a:pt x="917" y="3040"/>
                    <a:pt x="1036" y="3082"/>
                    <a:pt x="1036" y="3180"/>
                  </a:cubicBezTo>
                  <a:cubicBezTo>
                    <a:pt x="1036" y="3198"/>
                    <a:pt x="1043" y="3201"/>
                    <a:pt x="1047" y="3205"/>
                  </a:cubicBezTo>
                  <a:cubicBezTo>
                    <a:pt x="1056" y="3212"/>
                    <a:pt x="1075" y="3217"/>
                    <a:pt x="1105" y="3217"/>
                  </a:cubicBezTo>
                  <a:cubicBezTo>
                    <a:pt x="1135" y="3217"/>
                    <a:pt x="1176" y="3212"/>
                    <a:pt x="1229" y="3198"/>
                  </a:cubicBezTo>
                  <a:cubicBezTo>
                    <a:pt x="1252" y="3191"/>
                    <a:pt x="1273" y="3188"/>
                    <a:pt x="1293" y="3188"/>
                  </a:cubicBezTo>
                  <a:cubicBezTo>
                    <a:pt x="1430" y="3188"/>
                    <a:pt x="1508" y="3334"/>
                    <a:pt x="1572" y="3457"/>
                  </a:cubicBezTo>
                  <a:cubicBezTo>
                    <a:pt x="1597" y="3495"/>
                    <a:pt x="1618" y="3537"/>
                    <a:pt x="1639" y="3572"/>
                  </a:cubicBezTo>
                  <a:cubicBezTo>
                    <a:pt x="1659" y="3602"/>
                    <a:pt x="1728" y="3621"/>
                    <a:pt x="1818" y="3621"/>
                  </a:cubicBezTo>
                  <a:cubicBezTo>
                    <a:pt x="1887" y="3621"/>
                    <a:pt x="1967" y="3610"/>
                    <a:pt x="2048" y="3586"/>
                  </a:cubicBezTo>
                  <a:cubicBezTo>
                    <a:pt x="2167" y="3551"/>
                    <a:pt x="2223" y="3502"/>
                    <a:pt x="2223" y="3481"/>
                  </a:cubicBezTo>
                  <a:cubicBezTo>
                    <a:pt x="2220" y="3411"/>
                    <a:pt x="2248" y="3341"/>
                    <a:pt x="2297" y="3296"/>
                  </a:cubicBezTo>
                  <a:cubicBezTo>
                    <a:pt x="2364" y="3234"/>
                    <a:pt x="2468" y="3206"/>
                    <a:pt x="2615" y="3206"/>
                  </a:cubicBezTo>
                  <a:cubicBezTo>
                    <a:pt x="2652" y="3206"/>
                    <a:pt x="2692" y="3208"/>
                    <a:pt x="2734" y="3212"/>
                  </a:cubicBezTo>
                  <a:cubicBezTo>
                    <a:pt x="2930" y="3229"/>
                    <a:pt x="3144" y="3394"/>
                    <a:pt x="3315" y="3527"/>
                  </a:cubicBezTo>
                  <a:cubicBezTo>
                    <a:pt x="3372" y="3572"/>
                    <a:pt x="3431" y="3618"/>
                    <a:pt x="3498" y="3653"/>
                  </a:cubicBezTo>
                  <a:cubicBezTo>
                    <a:pt x="3509" y="3657"/>
                    <a:pt x="3523" y="3659"/>
                    <a:pt x="3539" y="3659"/>
                  </a:cubicBezTo>
                  <a:cubicBezTo>
                    <a:pt x="3599" y="3659"/>
                    <a:pt x="3687" y="3633"/>
                    <a:pt x="3767" y="3611"/>
                  </a:cubicBezTo>
                  <a:cubicBezTo>
                    <a:pt x="3855" y="3579"/>
                    <a:pt x="3946" y="3558"/>
                    <a:pt x="4040" y="3551"/>
                  </a:cubicBezTo>
                  <a:cubicBezTo>
                    <a:pt x="4135" y="3551"/>
                    <a:pt x="4285" y="3425"/>
                    <a:pt x="4387" y="3338"/>
                  </a:cubicBezTo>
                  <a:cubicBezTo>
                    <a:pt x="4429" y="3303"/>
                    <a:pt x="4471" y="3268"/>
                    <a:pt x="4520" y="3236"/>
                  </a:cubicBezTo>
                  <a:cubicBezTo>
                    <a:pt x="4541" y="3225"/>
                    <a:pt x="4562" y="3220"/>
                    <a:pt x="4583" y="3220"/>
                  </a:cubicBezTo>
                  <a:cubicBezTo>
                    <a:pt x="4640" y="3220"/>
                    <a:pt x="4697" y="3254"/>
                    <a:pt x="4751" y="3285"/>
                  </a:cubicBezTo>
                  <a:cubicBezTo>
                    <a:pt x="4814" y="3324"/>
                    <a:pt x="4863" y="3350"/>
                    <a:pt x="4904" y="3350"/>
                  </a:cubicBezTo>
                  <a:cubicBezTo>
                    <a:pt x="4918" y="3350"/>
                    <a:pt x="4931" y="3347"/>
                    <a:pt x="4943" y="3341"/>
                  </a:cubicBezTo>
                  <a:cubicBezTo>
                    <a:pt x="5073" y="3271"/>
                    <a:pt x="5206" y="3201"/>
                    <a:pt x="5318" y="3201"/>
                  </a:cubicBezTo>
                  <a:cubicBezTo>
                    <a:pt x="5356" y="3201"/>
                    <a:pt x="5391" y="3212"/>
                    <a:pt x="5427" y="3229"/>
                  </a:cubicBezTo>
                  <a:cubicBezTo>
                    <a:pt x="5451" y="3243"/>
                    <a:pt x="5469" y="3268"/>
                    <a:pt x="5476" y="3296"/>
                  </a:cubicBezTo>
                  <a:cubicBezTo>
                    <a:pt x="5486" y="3355"/>
                    <a:pt x="5444" y="3418"/>
                    <a:pt x="5388" y="3495"/>
                  </a:cubicBezTo>
                  <a:cubicBezTo>
                    <a:pt x="5349" y="3551"/>
                    <a:pt x="5279" y="3653"/>
                    <a:pt x="5300" y="3684"/>
                  </a:cubicBezTo>
                  <a:cubicBezTo>
                    <a:pt x="5328" y="3726"/>
                    <a:pt x="5342" y="3775"/>
                    <a:pt x="5339" y="3824"/>
                  </a:cubicBezTo>
                  <a:lnTo>
                    <a:pt x="5353" y="3817"/>
                  </a:lnTo>
                  <a:lnTo>
                    <a:pt x="5363" y="3814"/>
                  </a:lnTo>
                  <a:cubicBezTo>
                    <a:pt x="5370" y="3810"/>
                    <a:pt x="5381" y="3807"/>
                    <a:pt x="5388" y="3803"/>
                  </a:cubicBezTo>
                  <a:cubicBezTo>
                    <a:pt x="5395" y="3800"/>
                    <a:pt x="5402" y="3793"/>
                    <a:pt x="5413" y="3789"/>
                  </a:cubicBezTo>
                  <a:lnTo>
                    <a:pt x="5416" y="3786"/>
                  </a:lnTo>
                  <a:lnTo>
                    <a:pt x="5430" y="3775"/>
                  </a:lnTo>
                  <a:lnTo>
                    <a:pt x="5437" y="3768"/>
                  </a:lnTo>
                  <a:lnTo>
                    <a:pt x="5448" y="3758"/>
                  </a:lnTo>
                  <a:lnTo>
                    <a:pt x="5455" y="3754"/>
                  </a:lnTo>
                  <a:lnTo>
                    <a:pt x="5462" y="3744"/>
                  </a:lnTo>
                  <a:lnTo>
                    <a:pt x="5465" y="3737"/>
                  </a:lnTo>
                  <a:lnTo>
                    <a:pt x="5472" y="3723"/>
                  </a:lnTo>
                  <a:lnTo>
                    <a:pt x="5476" y="3719"/>
                  </a:lnTo>
                  <a:cubicBezTo>
                    <a:pt x="5483" y="3705"/>
                    <a:pt x="5490" y="3695"/>
                    <a:pt x="5493" y="3681"/>
                  </a:cubicBezTo>
                  <a:lnTo>
                    <a:pt x="5493" y="3674"/>
                  </a:lnTo>
                  <a:cubicBezTo>
                    <a:pt x="5493" y="3670"/>
                    <a:pt x="5497" y="3667"/>
                    <a:pt x="5497" y="3660"/>
                  </a:cubicBezTo>
                  <a:lnTo>
                    <a:pt x="5497" y="3653"/>
                  </a:lnTo>
                  <a:lnTo>
                    <a:pt x="5500" y="3642"/>
                  </a:lnTo>
                  <a:lnTo>
                    <a:pt x="5500" y="3632"/>
                  </a:lnTo>
                  <a:lnTo>
                    <a:pt x="5500" y="3621"/>
                  </a:lnTo>
                  <a:lnTo>
                    <a:pt x="5500" y="3614"/>
                  </a:lnTo>
                  <a:lnTo>
                    <a:pt x="5500" y="3600"/>
                  </a:lnTo>
                  <a:lnTo>
                    <a:pt x="5500" y="3593"/>
                  </a:lnTo>
                  <a:lnTo>
                    <a:pt x="5500" y="3572"/>
                  </a:lnTo>
                  <a:cubicBezTo>
                    <a:pt x="5500" y="3551"/>
                    <a:pt x="5504" y="3534"/>
                    <a:pt x="5507" y="3516"/>
                  </a:cubicBezTo>
                  <a:cubicBezTo>
                    <a:pt x="5521" y="3439"/>
                    <a:pt x="5570" y="3345"/>
                    <a:pt x="5654" y="3313"/>
                  </a:cubicBezTo>
                  <a:cubicBezTo>
                    <a:pt x="5672" y="3307"/>
                    <a:pt x="5692" y="3303"/>
                    <a:pt x="5711" y="3303"/>
                  </a:cubicBezTo>
                  <a:cubicBezTo>
                    <a:pt x="5755" y="3303"/>
                    <a:pt x="5798" y="3319"/>
                    <a:pt x="5829" y="3348"/>
                  </a:cubicBezTo>
                  <a:cubicBezTo>
                    <a:pt x="5865" y="3378"/>
                    <a:pt x="5916" y="3407"/>
                    <a:pt x="6000" y="3407"/>
                  </a:cubicBezTo>
                  <a:cubicBezTo>
                    <a:pt x="6065" y="3407"/>
                    <a:pt x="6149" y="3390"/>
                    <a:pt x="6260" y="3341"/>
                  </a:cubicBezTo>
                  <a:cubicBezTo>
                    <a:pt x="6316" y="3313"/>
                    <a:pt x="6361" y="3289"/>
                    <a:pt x="6400" y="3268"/>
                  </a:cubicBezTo>
                  <a:cubicBezTo>
                    <a:pt x="6456" y="3239"/>
                    <a:pt x="6504" y="3213"/>
                    <a:pt x="6551" y="3213"/>
                  </a:cubicBezTo>
                  <a:cubicBezTo>
                    <a:pt x="6594" y="3213"/>
                    <a:pt x="6636" y="3235"/>
                    <a:pt x="6683" y="3296"/>
                  </a:cubicBezTo>
                  <a:cubicBezTo>
                    <a:pt x="6701" y="3317"/>
                    <a:pt x="6732" y="3324"/>
                    <a:pt x="6781" y="3324"/>
                  </a:cubicBezTo>
                  <a:cubicBezTo>
                    <a:pt x="6820" y="3324"/>
                    <a:pt x="6871" y="3319"/>
                    <a:pt x="6935" y="3313"/>
                  </a:cubicBezTo>
                  <a:cubicBezTo>
                    <a:pt x="7040" y="3299"/>
                    <a:pt x="7149" y="3292"/>
                    <a:pt x="7257" y="3292"/>
                  </a:cubicBezTo>
                  <a:cubicBezTo>
                    <a:pt x="7376" y="3289"/>
                    <a:pt x="7496" y="3254"/>
                    <a:pt x="7597" y="3187"/>
                  </a:cubicBezTo>
                  <a:cubicBezTo>
                    <a:pt x="7694" y="3129"/>
                    <a:pt x="7794" y="3074"/>
                    <a:pt x="7954" y="3074"/>
                  </a:cubicBezTo>
                  <a:cubicBezTo>
                    <a:pt x="7968" y="3074"/>
                    <a:pt x="7982" y="3074"/>
                    <a:pt x="7996" y="3075"/>
                  </a:cubicBezTo>
                  <a:cubicBezTo>
                    <a:pt x="8023" y="3076"/>
                    <a:pt x="8049" y="3077"/>
                    <a:pt x="8076" y="3077"/>
                  </a:cubicBezTo>
                  <a:cubicBezTo>
                    <a:pt x="8242" y="3077"/>
                    <a:pt x="8410" y="3049"/>
                    <a:pt x="8567" y="2995"/>
                  </a:cubicBezTo>
                  <a:lnTo>
                    <a:pt x="8570" y="2995"/>
                  </a:lnTo>
                  <a:lnTo>
                    <a:pt x="8591" y="2988"/>
                  </a:lnTo>
                  <a:lnTo>
                    <a:pt x="8668" y="3009"/>
                  </a:lnTo>
                  <a:lnTo>
                    <a:pt x="8780" y="3044"/>
                  </a:lnTo>
                  <a:lnTo>
                    <a:pt x="8780" y="3030"/>
                  </a:lnTo>
                  <a:cubicBezTo>
                    <a:pt x="8791" y="3019"/>
                    <a:pt x="8798" y="3009"/>
                    <a:pt x="8805" y="2998"/>
                  </a:cubicBezTo>
                  <a:cubicBezTo>
                    <a:pt x="8854" y="2914"/>
                    <a:pt x="8938" y="2861"/>
                    <a:pt x="9036" y="2858"/>
                  </a:cubicBezTo>
                  <a:cubicBezTo>
                    <a:pt x="9057" y="2855"/>
                    <a:pt x="9078" y="2854"/>
                    <a:pt x="9099" y="2854"/>
                  </a:cubicBezTo>
                  <a:cubicBezTo>
                    <a:pt x="9195" y="2854"/>
                    <a:pt x="9292" y="2880"/>
                    <a:pt x="9375" y="2931"/>
                  </a:cubicBezTo>
                  <a:cubicBezTo>
                    <a:pt x="9423" y="2954"/>
                    <a:pt x="9450" y="2966"/>
                    <a:pt x="9473" y="2966"/>
                  </a:cubicBezTo>
                  <a:cubicBezTo>
                    <a:pt x="9482" y="2966"/>
                    <a:pt x="9490" y="2964"/>
                    <a:pt x="9498" y="2959"/>
                  </a:cubicBezTo>
                  <a:cubicBezTo>
                    <a:pt x="9517" y="2950"/>
                    <a:pt x="9537" y="2946"/>
                    <a:pt x="9558" y="2946"/>
                  </a:cubicBezTo>
                  <a:cubicBezTo>
                    <a:pt x="9630" y="2946"/>
                    <a:pt x="9715" y="2995"/>
                    <a:pt x="9810" y="3047"/>
                  </a:cubicBezTo>
                  <a:cubicBezTo>
                    <a:pt x="9866" y="3078"/>
                    <a:pt x="9973" y="3141"/>
                    <a:pt x="10017" y="3141"/>
                  </a:cubicBezTo>
                  <a:cubicBezTo>
                    <a:pt x="10023" y="3141"/>
                    <a:pt x="10027" y="3140"/>
                    <a:pt x="10030" y="3138"/>
                  </a:cubicBezTo>
                  <a:lnTo>
                    <a:pt x="10034" y="3135"/>
                  </a:lnTo>
                  <a:lnTo>
                    <a:pt x="10034" y="3131"/>
                  </a:lnTo>
                  <a:lnTo>
                    <a:pt x="10034" y="3124"/>
                  </a:lnTo>
                  <a:lnTo>
                    <a:pt x="10034" y="3121"/>
                  </a:lnTo>
                  <a:cubicBezTo>
                    <a:pt x="10037" y="3114"/>
                    <a:pt x="10037" y="3110"/>
                    <a:pt x="10037" y="3103"/>
                  </a:cubicBezTo>
                  <a:lnTo>
                    <a:pt x="10037" y="3096"/>
                  </a:lnTo>
                  <a:lnTo>
                    <a:pt x="10037" y="3089"/>
                  </a:lnTo>
                  <a:lnTo>
                    <a:pt x="10037" y="3082"/>
                  </a:lnTo>
                  <a:cubicBezTo>
                    <a:pt x="10037" y="3079"/>
                    <a:pt x="10037" y="3075"/>
                    <a:pt x="10034" y="3072"/>
                  </a:cubicBezTo>
                  <a:lnTo>
                    <a:pt x="10034" y="3065"/>
                  </a:lnTo>
                  <a:cubicBezTo>
                    <a:pt x="10034" y="3058"/>
                    <a:pt x="10030" y="3051"/>
                    <a:pt x="10027" y="3044"/>
                  </a:cubicBezTo>
                  <a:cubicBezTo>
                    <a:pt x="9995" y="2966"/>
                    <a:pt x="9953" y="2893"/>
                    <a:pt x="9904" y="2823"/>
                  </a:cubicBezTo>
                  <a:lnTo>
                    <a:pt x="9890" y="2802"/>
                  </a:lnTo>
                  <a:lnTo>
                    <a:pt x="9883" y="2795"/>
                  </a:lnTo>
                  <a:lnTo>
                    <a:pt x="9873" y="2781"/>
                  </a:lnTo>
                  <a:lnTo>
                    <a:pt x="9866" y="2774"/>
                  </a:lnTo>
                  <a:lnTo>
                    <a:pt x="9859" y="2763"/>
                  </a:lnTo>
                  <a:lnTo>
                    <a:pt x="9852" y="2760"/>
                  </a:lnTo>
                  <a:lnTo>
                    <a:pt x="9845" y="2753"/>
                  </a:lnTo>
                  <a:lnTo>
                    <a:pt x="9838" y="2749"/>
                  </a:lnTo>
                  <a:lnTo>
                    <a:pt x="9831" y="2742"/>
                  </a:lnTo>
                  <a:lnTo>
                    <a:pt x="9827" y="2742"/>
                  </a:lnTo>
                  <a:cubicBezTo>
                    <a:pt x="9729" y="2714"/>
                    <a:pt x="9747" y="2564"/>
                    <a:pt x="9775" y="2357"/>
                  </a:cubicBezTo>
                  <a:cubicBezTo>
                    <a:pt x="9785" y="2277"/>
                    <a:pt x="9799" y="2154"/>
                    <a:pt x="9792" y="2126"/>
                  </a:cubicBezTo>
                  <a:cubicBezTo>
                    <a:pt x="9771" y="2091"/>
                    <a:pt x="9649" y="1766"/>
                    <a:pt x="9729" y="1636"/>
                  </a:cubicBezTo>
                  <a:cubicBezTo>
                    <a:pt x="9733" y="1629"/>
                    <a:pt x="9740" y="1622"/>
                    <a:pt x="9743" y="1615"/>
                  </a:cubicBezTo>
                  <a:lnTo>
                    <a:pt x="9750" y="1612"/>
                  </a:lnTo>
                  <a:cubicBezTo>
                    <a:pt x="9754" y="1605"/>
                    <a:pt x="9761" y="1601"/>
                    <a:pt x="9764" y="1598"/>
                  </a:cubicBezTo>
                  <a:lnTo>
                    <a:pt x="9771" y="1594"/>
                  </a:lnTo>
                  <a:cubicBezTo>
                    <a:pt x="9778" y="1591"/>
                    <a:pt x="9785" y="1587"/>
                    <a:pt x="9789" y="1587"/>
                  </a:cubicBezTo>
                  <a:lnTo>
                    <a:pt x="9799" y="1587"/>
                  </a:lnTo>
                  <a:cubicBezTo>
                    <a:pt x="9806" y="1584"/>
                    <a:pt x="9810" y="1584"/>
                    <a:pt x="9817" y="1584"/>
                  </a:cubicBezTo>
                  <a:cubicBezTo>
                    <a:pt x="9817" y="1563"/>
                    <a:pt x="9820" y="1545"/>
                    <a:pt x="9820" y="1524"/>
                  </a:cubicBezTo>
                  <a:cubicBezTo>
                    <a:pt x="9820" y="1461"/>
                    <a:pt x="9820" y="1381"/>
                    <a:pt x="9880" y="1332"/>
                  </a:cubicBezTo>
                  <a:cubicBezTo>
                    <a:pt x="9880" y="1332"/>
                    <a:pt x="9883" y="1328"/>
                    <a:pt x="9887" y="1328"/>
                  </a:cubicBezTo>
                  <a:lnTo>
                    <a:pt x="9876" y="1300"/>
                  </a:lnTo>
                  <a:lnTo>
                    <a:pt x="9876" y="1297"/>
                  </a:lnTo>
                  <a:lnTo>
                    <a:pt x="9866" y="1276"/>
                  </a:lnTo>
                  <a:lnTo>
                    <a:pt x="9859" y="1258"/>
                  </a:lnTo>
                  <a:lnTo>
                    <a:pt x="9859" y="1255"/>
                  </a:lnTo>
                  <a:lnTo>
                    <a:pt x="9852" y="1244"/>
                  </a:lnTo>
                  <a:lnTo>
                    <a:pt x="9852" y="1241"/>
                  </a:lnTo>
                  <a:lnTo>
                    <a:pt x="9848" y="1234"/>
                  </a:lnTo>
                  <a:lnTo>
                    <a:pt x="9845" y="1227"/>
                  </a:lnTo>
                  <a:lnTo>
                    <a:pt x="9841" y="1223"/>
                  </a:lnTo>
                  <a:cubicBezTo>
                    <a:pt x="9821" y="1218"/>
                    <a:pt x="9800" y="1215"/>
                    <a:pt x="9780" y="1215"/>
                  </a:cubicBezTo>
                  <a:cubicBezTo>
                    <a:pt x="9772" y="1215"/>
                    <a:pt x="9765" y="1215"/>
                    <a:pt x="9757" y="1216"/>
                  </a:cubicBezTo>
                  <a:cubicBezTo>
                    <a:pt x="9753" y="1216"/>
                    <a:pt x="9750" y="1216"/>
                    <a:pt x="9746" y="1216"/>
                  </a:cubicBezTo>
                  <a:cubicBezTo>
                    <a:pt x="9640" y="1216"/>
                    <a:pt x="9478" y="1213"/>
                    <a:pt x="9400" y="1020"/>
                  </a:cubicBezTo>
                  <a:cubicBezTo>
                    <a:pt x="9368" y="940"/>
                    <a:pt x="9347" y="855"/>
                    <a:pt x="9344" y="771"/>
                  </a:cubicBezTo>
                  <a:cubicBezTo>
                    <a:pt x="9340" y="712"/>
                    <a:pt x="9323" y="649"/>
                    <a:pt x="9288" y="600"/>
                  </a:cubicBezTo>
                  <a:lnTo>
                    <a:pt x="9288" y="596"/>
                  </a:lnTo>
                  <a:lnTo>
                    <a:pt x="9263" y="561"/>
                  </a:lnTo>
                  <a:cubicBezTo>
                    <a:pt x="9232" y="519"/>
                    <a:pt x="9204" y="474"/>
                    <a:pt x="9176" y="439"/>
                  </a:cubicBezTo>
                  <a:cubicBezTo>
                    <a:pt x="9095" y="315"/>
                    <a:pt x="9056" y="265"/>
                    <a:pt x="9005" y="265"/>
                  </a:cubicBezTo>
                  <a:cubicBezTo>
                    <a:pt x="8990" y="265"/>
                    <a:pt x="8974" y="270"/>
                    <a:pt x="8955" y="278"/>
                  </a:cubicBezTo>
                  <a:lnTo>
                    <a:pt x="8952" y="278"/>
                  </a:lnTo>
                  <a:lnTo>
                    <a:pt x="8934" y="285"/>
                  </a:lnTo>
                  <a:lnTo>
                    <a:pt x="8924" y="288"/>
                  </a:lnTo>
                  <a:lnTo>
                    <a:pt x="8906" y="292"/>
                  </a:lnTo>
                  <a:lnTo>
                    <a:pt x="8896" y="295"/>
                  </a:lnTo>
                  <a:lnTo>
                    <a:pt x="8878" y="299"/>
                  </a:lnTo>
                  <a:lnTo>
                    <a:pt x="8864" y="299"/>
                  </a:lnTo>
                  <a:lnTo>
                    <a:pt x="8847" y="302"/>
                  </a:lnTo>
                  <a:lnTo>
                    <a:pt x="8378" y="302"/>
                  </a:lnTo>
                  <a:cubicBezTo>
                    <a:pt x="8139" y="505"/>
                    <a:pt x="7691" y="651"/>
                    <a:pt x="7440" y="651"/>
                  </a:cubicBezTo>
                  <a:cubicBezTo>
                    <a:pt x="7392" y="651"/>
                    <a:pt x="7351" y="646"/>
                    <a:pt x="7320" y="635"/>
                  </a:cubicBezTo>
                  <a:cubicBezTo>
                    <a:pt x="7266" y="615"/>
                    <a:pt x="7195" y="608"/>
                    <a:pt x="7115" y="608"/>
                  </a:cubicBezTo>
                  <a:cubicBezTo>
                    <a:pt x="7009" y="608"/>
                    <a:pt x="6887" y="621"/>
                    <a:pt x="6767" y="635"/>
                  </a:cubicBezTo>
                  <a:cubicBezTo>
                    <a:pt x="6641" y="649"/>
                    <a:pt x="6515" y="659"/>
                    <a:pt x="6389" y="663"/>
                  </a:cubicBezTo>
                  <a:cubicBezTo>
                    <a:pt x="6246" y="659"/>
                    <a:pt x="6109" y="614"/>
                    <a:pt x="5994" y="533"/>
                  </a:cubicBezTo>
                  <a:cubicBezTo>
                    <a:pt x="5916" y="488"/>
                    <a:pt x="5854" y="452"/>
                    <a:pt x="5771" y="452"/>
                  </a:cubicBezTo>
                  <a:cubicBezTo>
                    <a:pt x="5763" y="452"/>
                    <a:pt x="5756" y="452"/>
                    <a:pt x="5749" y="453"/>
                  </a:cubicBezTo>
                  <a:cubicBezTo>
                    <a:pt x="5742" y="453"/>
                    <a:pt x="5735" y="453"/>
                    <a:pt x="5728" y="453"/>
                  </a:cubicBezTo>
                  <a:cubicBezTo>
                    <a:pt x="5588" y="453"/>
                    <a:pt x="5515" y="384"/>
                    <a:pt x="5451" y="327"/>
                  </a:cubicBezTo>
                  <a:cubicBezTo>
                    <a:pt x="5395" y="274"/>
                    <a:pt x="5349" y="232"/>
                    <a:pt x="5258" y="232"/>
                  </a:cubicBezTo>
                  <a:cubicBezTo>
                    <a:pt x="5249" y="233"/>
                    <a:pt x="5240" y="234"/>
                    <a:pt x="5231" y="234"/>
                  </a:cubicBezTo>
                  <a:cubicBezTo>
                    <a:pt x="5167" y="234"/>
                    <a:pt x="5107" y="213"/>
                    <a:pt x="5055" y="176"/>
                  </a:cubicBezTo>
                  <a:cubicBezTo>
                    <a:pt x="4985" y="134"/>
                    <a:pt x="4884" y="71"/>
                    <a:pt x="4432" y="15"/>
                  </a:cubicBezTo>
                  <a:cubicBezTo>
                    <a:pt x="4354" y="5"/>
                    <a:pt x="4277" y="1"/>
                    <a:pt x="4202" y="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133" name="Google Shape;4133;p104"/>
            <p:cNvSpPr/>
            <p:nvPr/>
          </p:nvSpPr>
          <p:spPr>
            <a:xfrm>
              <a:off x="2314381" y="1759456"/>
              <a:ext cx="68" cy="204"/>
            </a:xfrm>
            <a:custGeom>
              <a:avLst/>
              <a:gdLst/>
              <a:ahLst/>
              <a:cxnLst/>
              <a:rect l="l" t="t" r="r" b="b"/>
              <a:pathLst>
                <a:path w="5" h="15" extrusionOk="0">
                  <a:moveTo>
                    <a:pt x="4" y="1"/>
                  </a:moveTo>
                  <a:cubicBezTo>
                    <a:pt x="4" y="4"/>
                    <a:pt x="1" y="8"/>
                    <a:pt x="1" y="15"/>
                  </a:cubicBezTo>
                  <a:cubicBezTo>
                    <a:pt x="1" y="8"/>
                    <a:pt x="4" y="4"/>
                    <a:pt x="4" y="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134" name="Google Shape;4134;p104"/>
            <p:cNvSpPr/>
            <p:nvPr/>
          </p:nvSpPr>
          <p:spPr>
            <a:xfrm>
              <a:off x="2314530" y="1758886"/>
              <a:ext cx="14" cy="204"/>
            </a:xfrm>
            <a:custGeom>
              <a:avLst/>
              <a:gdLst/>
              <a:ahLst/>
              <a:cxnLst/>
              <a:rect l="l" t="t" r="r" b="b"/>
              <a:pathLst>
                <a:path w="1" h="15" extrusionOk="0">
                  <a:moveTo>
                    <a:pt x="0" y="1"/>
                  </a:moveTo>
                  <a:lnTo>
                    <a:pt x="0" y="15"/>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135" name="Google Shape;4135;p104"/>
            <p:cNvSpPr/>
            <p:nvPr/>
          </p:nvSpPr>
          <p:spPr>
            <a:xfrm>
              <a:off x="2314625" y="1758275"/>
              <a:ext cx="14" cy="244"/>
            </a:xfrm>
            <a:custGeom>
              <a:avLst/>
              <a:gdLst/>
              <a:ahLst/>
              <a:cxnLst/>
              <a:rect l="l" t="t" r="r" b="b"/>
              <a:pathLst>
                <a:path w="1" h="18" extrusionOk="0">
                  <a:moveTo>
                    <a:pt x="0" y="0"/>
                  </a:moveTo>
                  <a:lnTo>
                    <a:pt x="0" y="18"/>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136" name="Google Shape;4136;p104"/>
            <p:cNvSpPr/>
            <p:nvPr/>
          </p:nvSpPr>
          <p:spPr>
            <a:xfrm>
              <a:off x="2314571" y="1758601"/>
              <a:ext cx="14" cy="204"/>
            </a:xfrm>
            <a:custGeom>
              <a:avLst/>
              <a:gdLst/>
              <a:ahLst/>
              <a:cxnLst/>
              <a:rect l="l" t="t" r="r" b="b"/>
              <a:pathLst>
                <a:path w="1" h="15" extrusionOk="0">
                  <a:moveTo>
                    <a:pt x="1" y="1"/>
                  </a:moveTo>
                  <a:lnTo>
                    <a:pt x="1" y="15"/>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137" name="Google Shape;4137;p104"/>
            <p:cNvSpPr/>
            <p:nvPr/>
          </p:nvSpPr>
          <p:spPr>
            <a:xfrm>
              <a:off x="2314435" y="1759171"/>
              <a:ext cx="54" cy="204"/>
            </a:xfrm>
            <a:custGeom>
              <a:avLst/>
              <a:gdLst/>
              <a:ahLst/>
              <a:cxnLst/>
              <a:rect l="l" t="t" r="r" b="b"/>
              <a:pathLst>
                <a:path w="4" h="15" extrusionOk="0">
                  <a:moveTo>
                    <a:pt x="4" y="1"/>
                  </a:moveTo>
                  <a:lnTo>
                    <a:pt x="0" y="15"/>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138" name="Google Shape;4138;p104"/>
            <p:cNvSpPr/>
            <p:nvPr/>
          </p:nvSpPr>
          <p:spPr>
            <a:xfrm>
              <a:off x="2314150" y="1759701"/>
              <a:ext cx="204" cy="530"/>
            </a:xfrm>
            <a:custGeom>
              <a:avLst/>
              <a:gdLst/>
              <a:ahLst/>
              <a:cxnLst/>
              <a:rect l="l" t="t" r="r" b="b"/>
              <a:pathLst>
                <a:path w="15" h="39" extrusionOk="0">
                  <a:moveTo>
                    <a:pt x="14" y="0"/>
                  </a:moveTo>
                  <a:cubicBezTo>
                    <a:pt x="11" y="14"/>
                    <a:pt x="7" y="28"/>
                    <a:pt x="0" y="39"/>
                  </a:cubicBezTo>
                  <a:cubicBezTo>
                    <a:pt x="7" y="28"/>
                    <a:pt x="11" y="14"/>
                    <a:pt x="14"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139" name="Google Shape;4139;p104"/>
            <p:cNvSpPr/>
            <p:nvPr/>
          </p:nvSpPr>
          <p:spPr>
            <a:xfrm>
              <a:off x="2312575" y="1761411"/>
              <a:ext cx="394" cy="149"/>
            </a:xfrm>
            <a:custGeom>
              <a:avLst/>
              <a:gdLst/>
              <a:ahLst/>
              <a:cxnLst/>
              <a:rect l="l" t="t" r="r" b="b"/>
              <a:pathLst>
                <a:path w="29" h="11" extrusionOk="0">
                  <a:moveTo>
                    <a:pt x="28" y="0"/>
                  </a:moveTo>
                  <a:cubicBezTo>
                    <a:pt x="18" y="4"/>
                    <a:pt x="11" y="7"/>
                    <a:pt x="0" y="11"/>
                  </a:cubicBezTo>
                  <a:cubicBezTo>
                    <a:pt x="11" y="7"/>
                    <a:pt x="18" y="4"/>
                    <a:pt x="28"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140" name="Google Shape;4140;p104"/>
            <p:cNvSpPr/>
            <p:nvPr/>
          </p:nvSpPr>
          <p:spPr>
            <a:xfrm>
              <a:off x="2313811" y="1760556"/>
              <a:ext cx="149" cy="149"/>
            </a:xfrm>
            <a:custGeom>
              <a:avLst/>
              <a:gdLst/>
              <a:ahLst/>
              <a:cxnLst/>
              <a:rect l="l" t="t" r="r" b="b"/>
              <a:pathLst>
                <a:path w="11" h="11" extrusionOk="0">
                  <a:moveTo>
                    <a:pt x="11" y="0"/>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141" name="Google Shape;4141;p104"/>
            <p:cNvSpPr/>
            <p:nvPr/>
          </p:nvSpPr>
          <p:spPr>
            <a:xfrm>
              <a:off x="2313580" y="1760787"/>
              <a:ext cx="149" cy="163"/>
            </a:xfrm>
            <a:custGeom>
              <a:avLst/>
              <a:gdLst/>
              <a:ahLst/>
              <a:cxnLst/>
              <a:rect l="l" t="t" r="r" b="b"/>
              <a:pathLst>
                <a:path w="11" h="12" extrusionOk="0">
                  <a:moveTo>
                    <a:pt x="11" y="1"/>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142" name="Google Shape;4142;p104"/>
            <p:cNvSpPr/>
            <p:nvPr/>
          </p:nvSpPr>
          <p:spPr>
            <a:xfrm>
              <a:off x="2338427" y="1752993"/>
              <a:ext cx="4630" cy="1439"/>
            </a:xfrm>
            <a:custGeom>
              <a:avLst/>
              <a:gdLst/>
              <a:ahLst/>
              <a:cxnLst/>
              <a:rect l="l" t="t" r="r" b="b"/>
              <a:pathLst>
                <a:path w="341" h="106" extrusionOk="0">
                  <a:moveTo>
                    <a:pt x="341" y="1"/>
                  </a:moveTo>
                  <a:cubicBezTo>
                    <a:pt x="243" y="67"/>
                    <a:pt x="123" y="106"/>
                    <a:pt x="1" y="106"/>
                  </a:cubicBezTo>
                  <a:cubicBezTo>
                    <a:pt x="123" y="106"/>
                    <a:pt x="243" y="67"/>
                    <a:pt x="341" y="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143" name="Google Shape;4143;p104"/>
            <p:cNvSpPr/>
            <p:nvPr/>
          </p:nvSpPr>
          <p:spPr>
            <a:xfrm>
              <a:off x="2312236" y="1761601"/>
              <a:ext cx="258" cy="109"/>
            </a:xfrm>
            <a:custGeom>
              <a:avLst/>
              <a:gdLst/>
              <a:ahLst/>
              <a:cxnLst/>
              <a:rect l="l" t="t" r="r" b="b"/>
              <a:pathLst>
                <a:path w="19" h="8" extrusionOk="0">
                  <a:moveTo>
                    <a:pt x="1" y="7"/>
                  </a:moveTo>
                  <a:lnTo>
                    <a:pt x="18"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144" name="Google Shape;4144;p104"/>
            <p:cNvSpPr/>
            <p:nvPr/>
          </p:nvSpPr>
          <p:spPr>
            <a:xfrm>
              <a:off x="2314001" y="1760312"/>
              <a:ext cx="109" cy="163"/>
            </a:xfrm>
            <a:custGeom>
              <a:avLst/>
              <a:gdLst/>
              <a:ahLst/>
              <a:cxnLst/>
              <a:rect l="l" t="t" r="r" b="b"/>
              <a:pathLst>
                <a:path w="8" h="12" extrusionOk="0">
                  <a:moveTo>
                    <a:pt x="8" y="1"/>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145" name="Google Shape;4145;p104"/>
            <p:cNvSpPr/>
            <p:nvPr/>
          </p:nvSpPr>
          <p:spPr>
            <a:xfrm>
              <a:off x="2312955" y="1761221"/>
              <a:ext cx="299" cy="149"/>
            </a:xfrm>
            <a:custGeom>
              <a:avLst/>
              <a:gdLst/>
              <a:ahLst/>
              <a:cxnLst/>
              <a:rect l="l" t="t" r="r" b="b"/>
              <a:pathLst>
                <a:path w="22" h="11" extrusionOk="0">
                  <a:moveTo>
                    <a:pt x="21" y="0"/>
                  </a:moveTo>
                  <a:cubicBezTo>
                    <a:pt x="14" y="4"/>
                    <a:pt x="7" y="7"/>
                    <a:pt x="0" y="11"/>
                  </a:cubicBezTo>
                  <a:cubicBezTo>
                    <a:pt x="7" y="7"/>
                    <a:pt x="14" y="4"/>
                    <a:pt x="21"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146" name="Google Shape;4146;p104"/>
            <p:cNvSpPr/>
            <p:nvPr/>
          </p:nvSpPr>
          <p:spPr>
            <a:xfrm>
              <a:off x="2356254" y="1750291"/>
              <a:ext cx="1344" cy="285"/>
            </a:xfrm>
            <a:custGeom>
              <a:avLst/>
              <a:gdLst/>
              <a:ahLst/>
              <a:cxnLst/>
              <a:rect l="l" t="t" r="r" b="b"/>
              <a:pathLst>
                <a:path w="99" h="21" extrusionOk="0">
                  <a:moveTo>
                    <a:pt x="4" y="7"/>
                  </a:moveTo>
                  <a:lnTo>
                    <a:pt x="1" y="7"/>
                  </a:lnTo>
                  <a:lnTo>
                    <a:pt x="4" y="7"/>
                  </a:lnTo>
                  <a:lnTo>
                    <a:pt x="25" y="0"/>
                  </a:lnTo>
                  <a:lnTo>
                    <a:pt x="99" y="21"/>
                  </a:lnTo>
                  <a:lnTo>
                    <a:pt x="25"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147" name="Google Shape;4147;p104"/>
            <p:cNvSpPr/>
            <p:nvPr/>
          </p:nvSpPr>
          <p:spPr>
            <a:xfrm>
              <a:off x="2314720" y="1754758"/>
              <a:ext cx="2009" cy="2770"/>
            </a:xfrm>
            <a:custGeom>
              <a:avLst/>
              <a:gdLst/>
              <a:ahLst/>
              <a:cxnLst/>
              <a:rect l="l" t="t" r="r" b="b"/>
              <a:pathLst>
                <a:path w="148" h="204" extrusionOk="0">
                  <a:moveTo>
                    <a:pt x="147" y="0"/>
                  </a:moveTo>
                  <a:cubicBezTo>
                    <a:pt x="63" y="28"/>
                    <a:pt x="14" y="123"/>
                    <a:pt x="0" y="203"/>
                  </a:cubicBezTo>
                  <a:cubicBezTo>
                    <a:pt x="14" y="126"/>
                    <a:pt x="63" y="32"/>
                    <a:pt x="147"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148" name="Google Shape;4148;p104"/>
            <p:cNvSpPr/>
            <p:nvPr/>
          </p:nvSpPr>
          <p:spPr>
            <a:xfrm>
              <a:off x="2313335" y="1761031"/>
              <a:ext cx="204" cy="109"/>
            </a:xfrm>
            <a:custGeom>
              <a:avLst/>
              <a:gdLst/>
              <a:ahLst/>
              <a:cxnLst/>
              <a:rect l="l" t="t" r="r" b="b"/>
              <a:pathLst>
                <a:path w="15" h="8" extrusionOk="0">
                  <a:moveTo>
                    <a:pt x="15"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149" name="Google Shape;4149;p104"/>
            <p:cNvSpPr/>
            <p:nvPr/>
          </p:nvSpPr>
          <p:spPr>
            <a:xfrm>
              <a:off x="2360911" y="1713591"/>
              <a:ext cx="163" cy="14"/>
            </a:xfrm>
            <a:custGeom>
              <a:avLst/>
              <a:gdLst/>
              <a:ahLst/>
              <a:cxnLst/>
              <a:rect l="l" t="t" r="r" b="b"/>
              <a:pathLst>
                <a:path w="12" h="1" extrusionOk="0">
                  <a:moveTo>
                    <a:pt x="1" y="0"/>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150" name="Google Shape;4150;p104"/>
            <p:cNvSpPr/>
            <p:nvPr/>
          </p:nvSpPr>
          <p:spPr>
            <a:xfrm>
              <a:off x="2360531" y="1713686"/>
              <a:ext cx="163" cy="14"/>
            </a:xfrm>
            <a:custGeom>
              <a:avLst/>
              <a:gdLst/>
              <a:ahLst/>
              <a:cxnLst/>
              <a:rect l="l" t="t" r="r" b="b"/>
              <a:pathLst>
                <a:path w="12" h="1" extrusionOk="0">
                  <a:moveTo>
                    <a:pt x="1" y="0"/>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151" name="Google Shape;4151;p104"/>
            <p:cNvSpPr/>
            <p:nvPr/>
          </p:nvSpPr>
          <p:spPr>
            <a:xfrm>
              <a:off x="2361291" y="1713442"/>
              <a:ext cx="68" cy="14"/>
            </a:xfrm>
            <a:custGeom>
              <a:avLst/>
              <a:gdLst/>
              <a:ahLst/>
              <a:cxnLst/>
              <a:rect l="l" t="t" r="r" b="b"/>
              <a:pathLst>
                <a:path w="5" h="1" extrusionOk="0">
                  <a:moveTo>
                    <a:pt x="4"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152" name="Google Shape;4152;p104"/>
            <p:cNvSpPr/>
            <p:nvPr/>
          </p:nvSpPr>
          <p:spPr>
            <a:xfrm>
              <a:off x="2364332" y="1715628"/>
              <a:ext cx="1208" cy="1724"/>
            </a:xfrm>
            <a:custGeom>
              <a:avLst/>
              <a:gdLst/>
              <a:ahLst/>
              <a:cxnLst/>
              <a:rect l="l" t="t" r="r" b="b"/>
              <a:pathLst>
                <a:path w="89" h="127" extrusionOk="0">
                  <a:moveTo>
                    <a:pt x="1" y="1"/>
                  </a:moveTo>
                  <a:cubicBezTo>
                    <a:pt x="25" y="39"/>
                    <a:pt x="53" y="81"/>
                    <a:pt x="88" y="127"/>
                  </a:cubicBezTo>
                  <a:cubicBezTo>
                    <a:pt x="57" y="81"/>
                    <a:pt x="29" y="39"/>
                    <a:pt x="1" y="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153" name="Google Shape;4153;p104"/>
            <p:cNvSpPr/>
            <p:nvPr/>
          </p:nvSpPr>
          <p:spPr>
            <a:xfrm>
              <a:off x="2358725" y="1713917"/>
              <a:ext cx="204" cy="14"/>
            </a:xfrm>
            <a:custGeom>
              <a:avLst/>
              <a:gdLst/>
              <a:ahLst/>
              <a:cxnLst/>
              <a:rect l="l" t="t" r="r" b="b"/>
              <a:pathLst>
                <a:path w="15" h="1" extrusionOk="0">
                  <a:moveTo>
                    <a:pt x="1" y="1"/>
                  </a:moveTo>
                  <a:lnTo>
                    <a:pt x="15"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154" name="Google Shape;4154;p104"/>
            <p:cNvSpPr/>
            <p:nvPr/>
          </p:nvSpPr>
          <p:spPr>
            <a:xfrm>
              <a:off x="2354163" y="1713822"/>
              <a:ext cx="258" cy="14"/>
            </a:xfrm>
            <a:custGeom>
              <a:avLst/>
              <a:gdLst/>
              <a:ahLst/>
              <a:cxnLst/>
              <a:rect l="l" t="t" r="r" b="b"/>
              <a:pathLst>
                <a:path w="19" h="1" extrusionOk="0">
                  <a:moveTo>
                    <a:pt x="1" y="1"/>
                  </a:moveTo>
                  <a:lnTo>
                    <a:pt x="18"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155" name="Google Shape;4155;p104"/>
            <p:cNvSpPr/>
            <p:nvPr/>
          </p:nvSpPr>
          <p:spPr>
            <a:xfrm>
              <a:off x="2353552" y="1713781"/>
              <a:ext cx="394" cy="14"/>
            </a:xfrm>
            <a:custGeom>
              <a:avLst/>
              <a:gdLst/>
              <a:ahLst/>
              <a:cxnLst/>
              <a:rect l="l" t="t" r="r" b="b"/>
              <a:pathLst>
                <a:path w="29" h="1" extrusionOk="0">
                  <a:moveTo>
                    <a:pt x="0" y="0"/>
                  </a:moveTo>
                  <a:lnTo>
                    <a:pt x="28"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156" name="Google Shape;4156;p104"/>
            <p:cNvSpPr/>
            <p:nvPr/>
          </p:nvSpPr>
          <p:spPr>
            <a:xfrm>
              <a:off x="2359200" y="1713876"/>
              <a:ext cx="258" cy="14"/>
            </a:xfrm>
            <a:custGeom>
              <a:avLst/>
              <a:gdLst/>
              <a:ahLst/>
              <a:cxnLst/>
              <a:rect l="l" t="t" r="r" b="b"/>
              <a:pathLst>
                <a:path w="19" h="1" extrusionOk="0">
                  <a:moveTo>
                    <a:pt x="1" y="0"/>
                  </a:moveTo>
                  <a:lnTo>
                    <a:pt x="18"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157" name="Google Shape;4157;p104"/>
            <p:cNvSpPr/>
            <p:nvPr/>
          </p:nvSpPr>
          <p:spPr>
            <a:xfrm>
              <a:off x="2365812" y="1717814"/>
              <a:ext cx="14" cy="14"/>
            </a:xfrm>
            <a:custGeom>
              <a:avLst/>
              <a:gdLst/>
              <a:ahLst/>
              <a:cxnLst/>
              <a:rect l="l" t="t" r="r" b="b"/>
              <a:pathLst>
                <a:path w="1" h="1" extrusionOk="0">
                  <a:moveTo>
                    <a:pt x="0" y="1"/>
                  </a:moveTo>
                  <a:lnTo>
                    <a:pt x="0" y="1"/>
                  </a:lnTo>
                  <a:lnTo>
                    <a:pt x="0"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158" name="Google Shape;4158;p104"/>
            <p:cNvSpPr/>
            <p:nvPr/>
          </p:nvSpPr>
          <p:spPr>
            <a:xfrm>
              <a:off x="2354788" y="1713876"/>
              <a:ext cx="204" cy="14"/>
            </a:xfrm>
            <a:custGeom>
              <a:avLst/>
              <a:gdLst/>
              <a:ahLst/>
              <a:cxnLst/>
              <a:rect l="l" t="t" r="r" b="b"/>
              <a:pathLst>
                <a:path w="15" h="1" extrusionOk="0">
                  <a:moveTo>
                    <a:pt x="0" y="0"/>
                  </a:moveTo>
                  <a:lnTo>
                    <a:pt x="14"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159" name="Google Shape;4159;p104"/>
            <p:cNvSpPr/>
            <p:nvPr/>
          </p:nvSpPr>
          <p:spPr>
            <a:xfrm>
              <a:off x="2355358" y="1713917"/>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160" name="Google Shape;4160;p104"/>
            <p:cNvSpPr/>
            <p:nvPr/>
          </p:nvSpPr>
          <p:spPr>
            <a:xfrm>
              <a:off x="2357680" y="1713972"/>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161" name="Google Shape;4161;p104"/>
            <p:cNvSpPr/>
            <p:nvPr/>
          </p:nvSpPr>
          <p:spPr>
            <a:xfrm>
              <a:off x="2359675" y="1713822"/>
              <a:ext cx="204" cy="14"/>
            </a:xfrm>
            <a:custGeom>
              <a:avLst/>
              <a:gdLst/>
              <a:ahLst/>
              <a:cxnLst/>
              <a:rect l="l" t="t" r="r" b="b"/>
              <a:pathLst>
                <a:path w="15" h="1" extrusionOk="0">
                  <a:moveTo>
                    <a:pt x="1" y="1"/>
                  </a:moveTo>
                  <a:lnTo>
                    <a:pt x="15"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162" name="Google Shape;4162;p104"/>
            <p:cNvSpPr/>
            <p:nvPr/>
          </p:nvSpPr>
          <p:spPr>
            <a:xfrm>
              <a:off x="2358209" y="1713917"/>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163" name="Google Shape;4163;p104"/>
            <p:cNvSpPr/>
            <p:nvPr/>
          </p:nvSpPr>
          <p:spPr>
            <a:xfrm>
              <a:off x="2356539" y="1713917"/>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164" name="Google Shape;4164;p104"/>
            <p:cNvSpPr/>
            <p:nvPr/>
          </p:nvSpPr>
          <p:spPr>
            <a:xfrm>
              <a:off x="2360110" y="1713781"/>
              <a:ext cx="204" cy="14"/>
            </a:xfrm>
            <a:custGeom>
              <a:avLst/>
              <a:gdLst/>
              <a:ahLst/>
              <a:cxnLst/>
              <a:rect l="l" t="t" r="r" b="b"/>
              <a:pathLst>
                <a:path w="15" h="1" extrusionOk="0">
                  <a:moveTo>
                    <a:pt x="0" y="0"/>
                  </a:moveTo>
                  <a:lnTo>
                    <a:pt x="14"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165" name="Google Shape;4165;p104"/>
            <p:cNvSpPr/>
            <p:nvPr/>
          </p:nvSpPr>
          <p:spPr>
            <a:xfrm>
              <a:off x="2357299" y="1713972"/>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166" name="Google Shape;4166;p104"/>
            <p:cNvSpPr/>
            <p:nvPr/>
          </p:nvSpPr>
          <p:spPr>
            <a:xfrm>
              <a:off x="2355969" y="1713917"/>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167" name="Google Shape;4167;p104"/>
            <p:cNvSpPr/>
            <p:nvPr/>
          </p:nvSpPr>
          <p:spPr>
            <a:xfrm>
              <a:off x="2628523" y="1764588"/>
              <a:ext cx="15085" cy="14419"/>
            </a:xfrm>
            <a:custGeom>
              <a:avLst/>
              <a:gdLst/>
              <a:ahLst/>
              <a:cxnLst/>
              <a:rect l="l" t="t" r="r" b="b"/>
              <a:pathLst>
                <a:path w="1111" h="1062" extrusionOk="0">
                  <a:moveTo>
                    <a:pt x="540" y="1"/>
                  </a:moveTo>
                  <a:cubicBezTo>
                    <a:pt x="470" y="1"/>
                    <a:pt x="403" y="15"/>
                    <a:pt x="340" y="43"/>
                  </a:cubicBezTo>
                  <a:lnTo>
                    <a:pt x="298" y="60"/>
                  </a:lnTo>
                  <a:lnTo>
                    <a:pt x="256" y="78"/>
                  </a:lnTo>
                  <a:lnTo>
                    <a:pt x="253" y="78"/>
                  </a:lnTo>
                  <a:lnTo>
                    <a:pt x="214" y="99"/>
                  </a:lnTo>
                  <a:lnTo>
                    <a:pt x="211" y="102"/>
                  </a:lnTo>
                  <a:lnTo>
                    <a:pt x="176" y="123"/>
                  </a:lnTo>
                  <a:lnTo>
                    <a:pt x="169" y="127"/>
                  </a:lnTo>
                  <a:lnTo>
                    <a:pt x="137" y="148"/>
                  </a:lnTo>
                  <a:lnTo>
                    <a:pt x="134" y="151"/>
                  </a:lnTo>
                  <a:lnTo>
                    <a:pt x="102" y="172"/>
                  </a:lnTo>
                  <a:lnTo>
                    <a:pt x="95" y="176"/>
                  </a:lnTo>
                  <a:cubicBezTo>
                    <a:pt x="78" y="193"/>
                    <a:pt x="57" y="211"/>
                    <a:pt x="39" y="228"/>
                  </a:cubicBezTo>
                  <a:lnTo>
                    <a:pt x="36" y="235"/>
                  </a:lnTo>
                  <a:cubicBezTo>
                    <a:pt x="29" y="242"/>
                    <a:pt x="22" y="249"/>
                    <a:pt x="15" y="256"/>
                  </a:cubicBezTo>
                  <a:lnTo>
                    <a:pt x="11" y="263"/>
                  </a:lnTo>
                  <a:cubicBezTo>
                    <a:pt x="8" y="267"/>
                    <a:pt x="4" y="274"/>
                    <a:pt x="1" y="277"/>
                  </a:cubicBezTo>
                  <a:cubicBezTo>
                    <a:pt x="8" y="288"/>
                    <a:pt x="15" y="298"/>
                    <a:pt x="22" y="312"/>
                  </a:cubicBezTo>
                  <a:lnTo>
                    <a:pt x="29" y="319"/>
                  </a:lnTo>
                  <a:cubicBezTo>
                    <a:pt x="32" y="326"/>
                    <a:pt x="39" y="337"/>
                    <a:pt x="43" y="344"/>
                  </a:cubicBezTo>
                  <a:lnTo>
                    <a:pt x="50" y="354"/>
                  </a:lnTo>
                  <a:cubicBezTo>
                    <a:pt x="53" y="361"/>
                    <a:pt x="57" y="372"/>
                    <a:pt x="60" y="382"/>
                  </a:cubicBezTo>
                  <a:lnTo>
                    <a:pt x="64" y="389"/>
                  </a:lnTo>
                  <a:cubicBezTo>
                    <a:pt x="67" y="400"/>
                    <a:pt x="74" y="410"/>
                    <a:pt x="74" y="421"/>
                  </a:cubicBezTo>
                  <a:cubicBezTo>
                    <a:pt x="120" y="547"/>
                    <a:pt x="204" y="648"/>
                    <a:pt x="316" y="715"/>
                  </a:cubicBezTo>
                  <a:cubicBezTo>
                    <a:pt x="333" y="729"/>
                    <a:pt x="351" y="739"/>
                    <a:pt x="368" y="750"/>
                  </a:cubicBezTo>
                  <a:cubicBezTo>
                    <a:pt x="379" y="753"/>
                    <a:pt x="386" y="760"/>
                    <a:pt x="393" y="764"/>
                  </a:cubicBezTo>
                  <a:lnTo>
                    <a:pt x="400" y="774"/>
                  </a:lnTo>
                  <a:lnTo>
                    <a:pt x="410" y="781"/>
                  </a:lnTo>
                  <a:cubicBezTo>
                    <a:pt x="456" y="834"/>
                    <a:pt x="480" y="904"/>
                    <a:pt x="477" y="974"/>
                  </a:cubicBezTo>
                  <a:lnTo>
                    <a:pt x="477" y="981"/>
                  </a:lnTo>
                  <a:lnTo>
                    <a:pt x="477" y="995"/>
                  </a:lnTo>
                  <a:cubicBezTo>
                    <a:pt x="477" y="1012"/>
                    <a:pt x="477" y="1034"/>
                    <a:pt x="470" y="1051"/>
                  </a:cubicBezTo>
                  <a:lnTo>
                    <a:pt x="470" y="1058"/>
                  </a:lnTo>
                  <a:lnTo>
                    <a:pt x="470" y="1062"/>
                  </a:lnTo>
                  <a:lnTo>
                    <a:pt x="480" y="1062"/>
                  </a:lnTo>
                  <a:lnTo>
                    <a:pt x="508" y="1058"/>
                  </a:lnTo>
                  <a:lnTo>
                    <a:pt x="515" y="1058"/>
                  </a:lnTo>
                  <a:lnTo>
                    <a:pt x="550" y="1055"/>
                  </a:lnTo>
                  <a:lnTo>
                    <a:pt x="554" y="1055"/>
                  </a:lnTo>
                  <a:lnTo>
                    <a:pt x="582" y="1051"/>
                  </a:lnTo>
                  <a:lnTo>
                    <a:pt x="585" y="1051"/>
                  </a:lnTo>
                  <a:lnTo>
                    <a:pt x="613" y="1048"/>
                  </a:lnTo>
                  <a:cubicBezTo>
                    <a:pt x="736" y="1020"/>
                    <a:pt x="1065" y="564"/>
                    <a:pt x="1110" y="435"/>
                  </a:cubicBezTo>
                  <a:cubicBezTo>
                    <a:pt x="1110" y="435"/>
                    <a:pt x="1110" y="403"/>
                    <a:pt x="1047" y="330"/>
                  </a:cubicBezTo>
                  <a:cubicBezTo>
                    <a:pt x="1030" y="312"/>
                    <a:pt x="1012" y="291"/>
                    <a:pt x="991" y="274"/>
                  </a:cubicBezTo>
                  <a:lnTo>
                    <a:pt x="977" y="260"/>
                  </a:lnTo>
                  <a:lnTo>
                    <a:pt x="960" y="246"/>
                  </a:lnTo>
                  <a:lnTo>
                    <a:pt x="953" y="235"/>
                  </a:lnTo>
                  <a:lnTo>
                    <a:pt x="928" y="214"/>
                  </a:lnTo>
                  <a:cubicBezTo>
                    <a:pt x="795" y="102"/>
                    <a:pt x="627" y="8"/>
                    <a:pt x="540" y="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168" name="Google Shape;4168;p104"/>
            <p:cNvSpPr/>
            <p:nvPr/>
          </p:nvSpPr>
          <p:spPr>
            <a:xfrm>
              <a:off x="2634090" y="1775192"/>
              <a:ext cx="964" cy="2620"/>
            </a:xfrm>
            <a:custGeom>
              <a:avLst/>
              <a:gdLst/>
              <a:ahLst/>
              <a:cxnLst/>
              <a:rect l="l" t="t" r="r" b="b"/>
              <a:pathLst>
                <a:path w="71" h="193" extrusionOk="0">
                  <a:moveTo>
                    <a:pt x="0" y="0"/>
                  </a:moveTo>
                  <a:cubicBezTo>
                    <a:pt x="46" y="53"/>
                    <a:pt x="70" y="123"/>
                    <a:pt x="67" y="193"/>
                  </a:cubicBezTo>
                  <a:cubicBezTo>
                    <a:pt x="70" y="123"/>
                    <a:pt x="46" y="53"/>
                    <a:pt x="0"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169" name="Google Shape;4169;p104"/>
            <p:cNvSpPr/>
            <p:nvPr/>
          </p:nvSpPr>
          <p:spPr>
            <a:xfrm>
              <a:off x="2633846" y="1775002"/>
              <a:ext cx="163" cy="109"/>
            </a:xfrm>
            <a:custGeom>
              <a:avLst/>
              <a:gdLst/>
              <a:ahLst/>
              <a:cxnLst/>
              <a:rect l="l" t="t" r="r" b="b"/>
              <a:pathLst>
                <a:path w="12" h="8" extrusionOk="0">
                  <a:moveTo>
                    <a:pt x="11" y="7"/>
                  </a:moveTo>
                  <a:lnTo>
                    <a:pt x="1"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170" name="Google Shape;4170;p104"/>
            <p:cNvSpPr/>
            <p:nvPr/>
          </p:nvSpPr>
          <p:spPr>
            <a:xfrm>
              <a:off x="2628483" y="1768349"/>
              <a:ext cx="339" cy="489"/>
            </a:xfrm>
            <a:custGeom>
              <a:avLst/>
              <a:gdLst/>
              <a:ahLst/>
              <a:cxnLst/>
              <a:rect l="l" t="t" r="r" b="b"/>
              <a:pathLst>
                <a:path w="25" h="36" extrusionOk="0">
                  <a:moveTo>
                    <a:pt x="0" y="0"/>
                  </a:moveTo>
                  <a:cubicBezTo>
                    <a:pt x="11" y="11"/>
                    <a:pt x="18" y="21"/>
                    <a:pt x="25" y="35"/>
                  </a:cubicBezTo>
                  <a:cubicBezTo>
                    <a:pt x="21" y="21"/>
                    <a:pt x="11" y="11"/>
                    <a:pt x="0"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171" name="Google Shape;4171;p104"/>
            <p:cNvSpPr/>
            <p:nvPr/>
          </p:nvSpPr>
          <p:spPr>
            <a:xfrm>
              <a:off x="2634891" y="1778858"/>
              <a:ext cx="14" cy="95"/>
            </a:xfrm>
            <a:custGeom>
              <a:avLst/>
              <a:gdLst/>
              <a:ahLst/>
              <a:cxnLst/>
              <a:rect l="l" t="t" r="r" b="b"/>
              <a:pathLst>
                <a:path w="1" h="7" extrusionOk="0">
                  <a:moveTo>
                    <a:pt x="1" y="7"/>
                  </a:moveTo>
                  <a:lnTo>
                    <a:pt x="1"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172" name="Google Shape;4172;p104"/>
            <p:cNvSpPr/>
            <p:nvPr/>
          </p:nvSpPr>
          <p:spPr>
            <a:xfrm>
              <a:off x="2629148" y="1769341"/>
              <a:ext cx="204" cy="394"/>
            </a:xfrm>
            <a:custGeom>
              <a:avLst/>
              <a:gdLst/>
              <a:ahLst/>
              <a:cxnLst/>
              <a:rect l="l" t="t" r="r" b="b"/>
              <a:pathLst>
                <a:path w="15" h="29" extrusionOk="0">
                  <a:moveTo>
                    <a:pt x="0" y="1"/>
                  </a:moveTo>
                  <a:lnTo>
                    <a:pt x="0" y="1"/>
                  </a:lnTo>
                  <a:cubicBezTo>
                    <a:pt x="7" y="11"/>
                    <a:pt x="11" y="22"/>
                    <a:pt x="14" y="29"/>
                  </a:cubicBezTo>
                  <a:cubicBezTo>
                    <a:pt x="11" y="18"/>
                    <a:pt x="7" y="11"/>
                    <a:pt x="0" y="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173" name="Google Shape;4173;p104"/>
            <p:cNvSpPr/>
            <p:nvPr/>
          </p:nvSpPr>
          <p:spPr>
            <a:xfrm>
              <a:off x="2634986" y="1777894"/>
              <a:ext cx="14" cy="204"/>
            </a:xfrm>
            <a:custGeom>
              <a:avLst/>
              <a:gdLst/>
              <a:ahLst/>
              <a:cxnLst/>
              <a:rect l="l" t="t" r="r" b="b"/>
              <a:pathLst>
                <a:path w="1" h="15" extrusionOk="0">
                  <a:moveTo>
                    <a:pt x="1" y="1"/>
                  </a:moveTo>
                  <a:lnTo>
                    <a:pt x="1" y="15"/>
                  </a:lnTo>
                  <a:cubicBezTo>
                    <a:pt x="1" y="8"/>
                    <a:pt x="1" y="4"/>
                    <a:pt x="1" y="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174" name="Google Shape;4174;p104"/>
            <p:cNvSpPr/>
            <p:nvPr/>
          </p:nvSpPr>
          <p:spPr>
            <a:xfrm>
              <a:off x="2628904" y="1768865"/>
              <a:ext cx="204" cy="394"/>
            </a:xfrm>
            <a:custGeom>
              <a:avLst/>
              <a:gdLst/>
              <a:ahLst/>
              <a:cxnLst/>
              <a:rect l="l" t="t" r="r" b="b"/>
              <a:pathLst>
                <a:path w="15" h="29" extrusionOk="0">
                  <a:moveTo>
                    <a:pt x="15" y="29"/>
                  </a:moveTo>
                  <a:cubicBezTo>
                    <a:pt x="11" y="18"/>
                    <a:pt x="4" y="11"/>
                    <a:pt x="1" y="1"/>
                  </a:cubicBezTo>
                  <a:cubicBezTo>
                    <a:pt x="4" y="11"/>
                    <a:pt x="11" y="18"/>
                    <a:pt x="15" y="29"/>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175" name="Google Shape;4175;p104"/>
            <p:cNvSpPr/>
            <p:nvPr/>
          </p:nvSpPr>
          <p:spPr>
            <a:xfrm>
              <a:off x="2629379" y="1769816"/>
              <a:ext cx="204" cy="489"/>
            </a:xfrm>
            <a:custGeom>
              <a:avLst/>
              <a:gdLst/>
              <a:ahLst/>
              <a:cxnLst/>
              <a:rect l="l" t="t" r="r" b="b"/>
              <a:pathLst>
                <a:path w="15" h="36" extrusionOk="0">
                  <a:moveTo>
                    <a:pt x="15" y="36"/>
                  </a:moveTo>
                  <a:cubicBezTo>
                    <a:pt x="11" y="25"/>
                    <a:pt x="4" y="15"/>
                    <a:pt x="1" y="1"/>
                  </a:cubicBezTo>
                  <a:cubicBezTo>
                    <a:pt x="4" y="15"/>
                    <a:pt x="11" y="25"/>
                    <a:pt x="15" y="36"/>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176" name="Google Shape;4176;p104"/>
            <p:cNvSpPr/>
            <p:nvPr/>
          </p:nvSpPr>
          <p:spPr>
            <a:xfrm>
              <a:off x="2964159" y="1702797"/>
              <a:ext cx="47345" cy="45539"/>
            </a:xfrm>
            <a:custGeom>
              <a:avLst/>
              <a:gdLst/>
              <a:ahLst/>
              <a:cxnLst/>
              <a:rect l="l" t="t" r="r" b="b"/>
              <a:pathLst>
                <a:path w="3487" h="3354" extrusionOk="0">
                  <a:moveTo>
                    <a:pt x="3046" y="1"/>
                  </a:moveTo>
                  <a:cubicBezTo>
                    <a:pt x="3007" y="1"/>
                    <a:pt x="2976" y="88"/>
                    <a:pt x="2951" y="169"/>
                  </a:cubicBezTo>
                  <a:cubicBezTo>
                    <a:pt x="2913" y="284"/>
                    <a:pt x="2867" y="424"/>
                    <a:pt x="2731" y="424"/>
                  </a:cubicBezTo>
                  <a:cubicBezTo>
                    <a:pt x="2689" y="424"/>
                    <a:pt x="2671" y="449"/>
                    <a:pt x="2626" y="512"/>
                  </a:cubicBezTo>
                  <a:cubicBezTo>
                    <a:pt x="2580" y="585"/>
                    <a:pt x="2514" y="683"/>
                    <a:pt x="2353" y="708"/>
                  </a:cubicBezTo>
                  <a:lnTo>
                    <a:pt x="2318" y="711"/>
                  </a:lnTo>
                  <a:cubicBezTo>
                    <a:pt x="2262" y="718"/>
                    <a:pt x="2206" y="729"/>
                    <a:pt x="2153" y="743"/>
                  </a:cubicBezTo>
                  <a:cubicBezTo>
                    <a:pt x="2153" y="746"/>
                    <a:pt x="2153" y="750"/>
                    <a:pt x="2157" y="753"/>
                  </a:cubicBezTo>
                  <a:cubicBezTo>
                    <a:pt x="2164" y="778"/>
                    <a:pt x="2178" y="799"/>
                    <a:pt x="2188" y="820"/>
                  </a:cubicBezTo>
                  <a:cubicBezTo>
                    <a:pt x="2213" y="851"/>
                    <a:pt x="2223" y="890"/>
                    <a:pt x="2223" y="932"/>
                  </a:cubicBezTo>
                  <a:cubicBezTo>
                    <a:pt x="2223" y="949"/>
                    <a:pt x="2216" y="963"/>
                    <a:pt x="2209" y="977"/>
                  </a:cubicBezTo>
                  <a:cubicBezTo>
                    <a:pt x="2178" y="1027"/>
                    <a:pt x="2121" y="1040"/>
                    <a:pt x="2046" y="1040"/>
                  </a:cubicBezTo>
                  <a:cubicBezTo>
                    <a:pt x="2009" y="1040"/>
                    <a:pt x="1969" y="1037"/>
                    <a:pt x="1926" y="1033"/>
                  </a:cubicBezTo>
                  <a:cubicBezTo>
                    <a:pt x="1880" y="1030"/>
                    <a:pt x="1827" y="1026"/>
                    <a:pt x="1782" y="1026"/>
                  </a:cubicBezTo>
                  <a:cubicBezTo>
                    <a:pt x="1687" y="1026"/>
                    <a:pt x="1593" y="995"/>
                    <a:pt x="1523" y="928"/>
                  </a:cubicBezTo>
                  <a:cubicBezTo>
                    <a:pt x="1498" y="904"/>
                    <a:pt x="1463" y="886"/>
                    <a:pt x="1428" y="886"/>
                  </a:cubicBezTo>
                  <a:cubicBezTo>
                    <a:pt x="1362" y="886"/>
                    <a:pt x="1281" y="1016"/>
                    <a:pt x="1215" y="1117"/>
                  </a:cubicBezTo>
                  <a:cubicBezTo>
                    <a:pt x="1187" y="1159"/>
                    <a:pt x="1159" y="1208"/>
                    <a:pt x="1127" y="1247"/>
                  </a:cubicBezTo>
                  <a:cubicBezTo>
                    <a:pt x="1040" y="1366"/>
                    <a:pt x="658" y="1555"/>
                    <a:pt x="242" y="1755"/>
                  </a:cubicBezTo>
                  <a:cubicBezTo>
                    <a:pt x="175" y="1786"/>
                    <a:pt x="123" y="1814"/>
                    <a:pt x="84" y="1832"/>
                  </a:cubicBezTo>
                  <a:lnTo>
                    <a:pt x="77" y="1835"/>
                  </a:lnTo>
                  <a:lnTo>
                    <a:pt x="70" y="1839"/>
                  </a:lnTo>
                  <a:lnTo>
                    <a:pt x="63" y="1846"/>
                  </a:lnTo>
                  <a:lnTo>
                    <a:pt x="56" y="1856"/>
                  </a:lnTo>
                  <a:lnTo>
                    <a:pt x="53" y="1860"/>
                  </a:lnTo>
                  <a:lnTo>
                    <a:pt x="42" y="1874"/>
                  </a:lnTo>
                  <a:lnTo>
                    <a:pt x="42" y="1877"/>
                  </a:lnTo>
                  <a:lnTo>
                    <a:pt x="32" y="1895"/>
                  </a:lnTo>
                  <a:lnTo>
                    <a:pt x="28" y="1898"/>
                  </a:lnTo>
                  <a:lnTo>
                    <a:pt x="18" y="1919"/>
                  </a:lnTo>
                  <a:lnTo>
                    <a:pt x="14" y="1926"/>
                  </a:lnTo>
                  <a:cubicBezTo>
                    <a:pt x="11" y="1937"/>
                    <a:pt x="4" y="1944"/>
                    <a:pt x="0" y="1954"/>
                  </a:cubicBezTo>
                  <a:cubicBezTo>
                    <a:pt x="242" y="1986"/>
                    <a:pt x="469" y="2129"/>
                    <a:pt x="574" y="2262"/>
                  </a:cubicBezTo>
                  <a:cubicBezTo>
                    <a:pt x="728" y="2455"/>
                    <a:pt x="529" y="2651"/>
                    <a:pt x="371" y="2805"/>
                  </a:cubicBezTo>
                  <a:cubicBezTo>
                    <a:pt x="326" y="2850"/>
                    <a:pt x="284" y="2892"/>
                    <a:pt x="249" y="2934"/>
                  </a:cubicBezTo>
                  <a:cubicBezTo>
                    <a:pt x="203" y="2994"/>
                    <a:pt x="207" y="2997"/>
                    <a:pt x="263" y="3050"/>
                  </a:cubicBezTo>
                  <a:cubicBezTo>
                    <a:pt x="319" y="3088"/>
                    <a:pt x="354" y="3155"/>
                    <a:pt x="361" y="3225"/>
                  </a:cubicBezTo>
                  <a:cubicBezTo>
                    <a:pt x="368" y="3284"/>
                    <a:pt x="410" y="3333"/>
                    <a:pt x="469" y="3351"/>
                  </a:cubicBezTo>
                  <a:cubicBezTo>
                    <a:pt x="474" y="3353"/>
                    <a:pt x="478" y="3354"/>
                    <a:pt x="483" y="3354"/>
                  </a:cubicBezTo>
                  <a:cubicBezTo>
                    <a:pt x="497" y="3354"/>
                    <a:pt x="509" y="3346"/>
                    <a:pt x="515" y="3333"/>
                  </a:cubicBezTo>
                  <a:cubicBezTo>
                    <a:pt x="570" y="3231"/>
                    <a:pt x="653" y="3209"/>
                    <a:pt x="749" y="3209"/>
                  </a:cubicBezTo>
                  <a:cubicBezTo>
                    <a:pt x="782" y="3209"/>
                    <a:pt x="816" y="3212"/>
                    <a:pt x="851" y="3214"/>
                  </a:cubicBezTo>
                  <a:cubicBezTo>
                    <a:pt x="893" y="3214"/>
                    <a:pt x="938" y="3218"/>
                    <a:pt x="991" y="3218"/>
                  </a:cubicBezTo>
                  <a:cubicBezTo>
                    <a:pt x="995" y="3218"/>
                    <a:pt x="1000" y="3217"/>
                    <a:pt x="1004" y="3217"/>
                  </a:cubicBezTo>
                  <a:cubicBezTo>
                    <a:pt x="1051" y="3217"/>
                    <a:pt x="1096" y="3235"/>
                    <a:pt x="1131" y="3267"/>
                  </a:cubicBezTo>
                  <a:lnTo>
                    <a:pt x="1134" y="3267"/>
                  </a:lnTo>
                  <a:lnTo>
                    <a:pt x="1194" y="3221"/>
                  </a:lnTo>
                  <a:lnTo>
                    <a:pt x="1208" y="3214"/>
                  </a:lnTo>
                  <a:lnTo>
                    <a:pt x="1264" y="3172"/>
                  </a:lnTo>
                  <a:lnTo>
                    <a:pt x="1337" y="3120"/>
                  </a:lnTo>
                  <a:cubicBezTo>
                    <a:pt x="1358" y="3106"/>
                    <a:pt x="1379" y="3088"/>
                    <a:pt x="1397" y="3071"/>
                  </a:cubicBezTo>
                  <a:cubicBezTo>
                    <a:pt x="1404" y="3064"/>
                    <a:pt x="1411" y="3057"/>
                    <a:pt x="1421" y="3053"/>
                  </a:cubicBezTo>
                  <a:cubicBezTo>
                    <a:pt x="1488" y="3001"/>
                    <a:pt x="1596" y="2966"/>
                    <a:pt x="1750" y="2952"/>
                  </a:cubicBezTo>
                  <a:lnTo>
                    <a:pt x="1796" y="2948"/>
                  </a:lnTo>
                  <a:lnTo>
                    <a:pt x="1940" y="2948"/>
                  </a:lnTo>
                  <a:cubicBezTo>
                    <a:pt x="1957" y="2945"/>
                    <a:pt x="1971" y="2945"/>
                    <a:pt x="1989" y="2945"/>
                  </a:cubicBezTo>
                  <a:lnTo>
                    <a:pt x="1999" y="2945"/>
                  </a:lnTo>
                  <a:cubicBezTo>
                    <a:pt x="2013" y="2941"/>
                    <a:pt x="2027" y="2938"/>
                    <a:pt x="2041" y="2934"/>
                  </a:cubicBezTo>
                  <a:lnTo>
                    <a:pt x="2045" y="2934"/>
                  </a:lnTo>
                  <a:cubicBezTo>
                    <a:pt x="2059" y="2931"/>
                    <a:pt x="2069" y="2927"/>
                    <a:pt x="2083" y="2924"/>
                  </a:cubicBezTo>
                  <a:lnTo>
                    <a:pt x="2090" y="2917"/>
                  </a:lnTo>
                  <a:cubicBezTo>
                    <a:pt x="2104" y="2913"/>
                    <a:pt x="2118" y="2906"/>
                    <a:pt x="2132" y="2896"/>
                  </a:cubicBezTo>
                  <a:cubicBezTo>
                    <a:pt x="1947" y="2700"/>
                    <a:pt x="1775" y="2546"/>
                    <a:pt x="1712" y="2507"/>
                  </a:cubicBezTo>
                  <a:cubicBezTo>
                    <a:pt x="1617" y="2448"/>
                    <a:pt x="1568" y="2336"/>
                    <a:pt x="1589" y="2227"/>
                  </a:cubicBezTo>
                  <a:cubicBezTo>
                    <a:pt x="1614" y="2073"/>
                    <a:pt x="1729" y="1944"/>
                    <a:pt x="1883" y="1902"/>
                  </a:cubicBezTo>
                  <a:cubicBezTo>
                    <a:pt x="2027" y="1867"/>
                    <a:pt x="2353" y="1643"/>
                    <a:pt x="2566" y="1496"/>
                  </a:cubicBezTo>
                  <a:cubicBezTo>
                    <a:pt x="2675" y="1422"/>
                    <a:pt x="2766" y="1359"/>
                    <a:pt x="2822" y="1327"/>
                  </a:cubicBezTo>
                  <a:cubicBezTo>
                    <a:pt x="2874" y="1296"/>
                    <a:pt x="2888" y="1208"/>
                    <a:pt x="2899" y="1075"/>
                  </a:cubicBezTo>
                  <a:cubicBezTo>
                    <a:pt x="2909" y="953"/>
                    <a:pt x="2920" y="816"/>
                    <a:pt x="2990" y="690"/>
                  </a:cubicBezTo>
                  <a:cubicBezTo>
                    <a:pt x="3060" y="561"/>
                    <a:pt x="3280" y="354"/>
                    <a:pt x="3487" y="183"/>
                  </a:cubicBezTo>
                  <a:lnTo>
                    <a:pt x="3483" y="183"/>
                  </a:lnTo>
                  <a:cubicBezTo>
                    <a:pt x="3469" y="186"/>
                    <a:pt x="3455" y="186"/>
                    <a:pt x="3441" y="186"/>
                  </a:cubicBezTo>
                  <a:lnTo>
                    <a:pt x="3434" y="186"/>
                  </a:lnTo>
                  <a:cubicBezTo>
                    <a:pt x="3427" y="188"/>
                    <a:pt x="3421" y="189"/>
                    <a:pt x="3415" y="189"/>
                  </a:cubicBezTo>
                  <a:cubicBezTo>
                    <a:pt x="3409" y="189"/>
                    <a:pt x="3403" y="188"/>
                    <a:pt x="3396" y="186"/>
                  </a:cubicBezTo>
                  <a:lnTo>
                    <a:pt x="3392" y="186"/>
                  </a:lnTo>
                  <a:cubicBezTo>
                    <a:pt x="3382" y="186"/>
                    <a:pt x="3371" y="183"/>
                    <a:pt x="3361" y="179"/>
                  </a:cubicBezTo>
                  <a:lnTo>
                    <a:pt x="3354" y="179"/>
                  </a:lnTo>
                  <a:cubicBezTo>
                    <a:pt x="3343" y="176"/>
                    <a:pt x="3333" y="172"/>
                    <a:pt x="3322" y="165"/>
                  </a:cubicBezTo>
                  <a:lnTo>
                    <a:pt x="3315" y="165"/>
                  </a:lnTo>
                  <a:cubicBezTo>
                    <a:pt x="3305" y="158"/>
                    <a:pt x="3298" y="155"/>
                    <a:pt x="3287" y="148"/>
                  </a:cubicBezTo>
                  <a:lnTo>
                    <a:pt x="3280" y="144"/>
                  </a:lnTo>
                  <a:cubicBezTo>
                    <a:pt x="3273" y="141"/>
                    <a:pt x="3263" y="134"/>
                    <a:pt x="3256" y="127"/>
                  </a:cubicBezTo>
                  <a:lnTo>
                    <a:pt x="3249" y="123"/>
                  </a:lnTo>
                  <a:lnTo>
                    <a:pt x="3224" y="106"/>
                  </a:lnTo>
                  <a:lnTo>
                    <a:pt x="3221" y="102"/>
                  </a:lnTo>
                  <a:lnTo>
                    <a:pt x="3196" y="81"/>
                  </a:lnTo>
                  <a:cubicBezTo>
                    <a:pt x="3144" y="36"/>
                    <a:pt x="3102" y="1"/>
                    <a:pt x="3046" y="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177" name="Google Shape;4177;p104"/>
            <p:cNvSpPr/>
            <p:nvPr/>
          </p:nvSpPr>
          <p:spPr>
            <a:xfrm>
              <a:off x="2991817" y="1742539"/>
              <a:ext cx="68" cy="14"/>
            </a:xfrm>
            <a:custGeom>
              <a:avLst/>
              <a:gdLst/>
              <a:ahLst/>
              <a:cxnLst/>
              <a:rect l="l" t="t" r="r" b="b"/>
              <a:pathLst>
                <a:path w="5" h="1" extrusionOk="0">
                  <a:moveTo>
                    <a:pt x="4"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178" name="Google Shape;4178;p104"/>
            <p:cNvSpPr/>
            <p:nvPr/>
          </p:nvSpPr>
          <p:spPr>
            <a:xfrm>
              <a:off x="2987920" y="1742769"/>
              <a:ext cx="625" cy="68"/>
            </a:xfrm>
            <a:custGeom>
              <a:avLst/>
              <a:gdLst/>
              <a:ahLst/>
              <a:cxnLst/>
              <a:rect l="l" t="t" r="r" b="b"/>
              <a:pathLst>
                <a:path w="46" h="5" extrusionOk="0">
                  <a:moveTo>
                    <a:pt x="46"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179" name="Google Shape;4179;p104"/>
            <p:cNvSpPr/>
            <p:nvPr/>
          </p:nvSpPr>
          <p:spPr>
            <a:xfrm>
              <a:off x="2992387" y="1742294"/>
              <a:ext cx="163" cy="68"/>
            </a:xfrm>
            <a:custGeom>
              <a:avLst/>
              <a:gdLst/>
              <a:ahLst/>
              <a:cxnLst/>
              <a:rect l="l" t="t" r="r" b="b"/>
              <a:pathLst>
                <a:path w="12" h="5" extrusionOk="0">
                  <a:moveTo>
                    <a:pt x="11" y="1"/>
                  </a:moveTo>
                  <a:lnTo>
                    <a:pt x="1" y="4"/>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180" name="Google Shape;4180;p104"/>
            <p:cNvSpPr/>
            <p:nvPr/>
          </p:nvSpPr>
          <p:spPr>
            <a:xfrm>
              <a:off x="2980547" y="1745770"/>
              <a:ext cx="774" cy="584"/>
            </a:xfrm>
            <a:custGeom>
              <a:avLst/>
              <a:gdLst/>
              <a:ahLst/>
              <a:cxnLst/>
              <a:rect l="l" t="t" r="r" b="b"/>
              <a:pathLst>
                <a:path w="57" h="43" extrusionOk="0">
                  <a:moveTo>
                    <a:pt x="57" y="0"/>
                  </a:moveTo>
                  <a:lnTo>
                    <a:pt x="1" y="42"/>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181" name="Google Shape;4181;p104"/>
            <p:cNvSpPr/>
            <p:nvPr/>
          </p:nvSpPr>
          <p:spPr>
            <a:xfrm>
              <a:off x="2979556" y="1746476"/>
              <a:ext cx="815" cy="584"/>
            </a:xfrm>
            <a:custGeom>
              <a:avLst/>
              <a:gdLst/>
              <a:ahLst/>
              <a:cxnLst/>
              <a:rect l="l" t="t" r="r" b="b"/>
              <a:pathLst>
                <a:path w="60" h="43" extrusionOk="0">
                  <a:moveTo>
                    <a:pt x="60" y="1"/>
                  </a:moveTo>
                  <a:lnTo>
                    <a:pt x="0" y="43"/>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182" name="Google Shape;4182;p104"/>
            <p:cNvSpPr/>
            <p:nvPr/>
          </p:nvSpPr>
          <p:spPr>
            <a:xfrm>
              <a:off x="2982312" y="1744100"/>
              <a:ext cx="1154" cy="964"/>
            </a:xfrm>
            <a:custGeom>
              <a:avLst/>
              <a:gdLst/>
              <a:ahLst/>
              <a:cxnLst/>
              <a:rect l="l" t="t" r="r" b="b"/>
              <a:pathLst>
                <a:path w="85" h="71" extrusionOk="0">
                  <a:moveTo>
                    <a:pt x="0" y="71"/>
                  </a:moveTo>
                  <a:cubicBezTo>
                    <a:pt x="21" y="53"/>
                    <a:pt x="42" y="39"/>
                    <a:pt x="60" y="22"/>
                  </a:cubicBezTo>
                  <a:cubicBezTo>
                    <a:pt x="67" y="15"/>
                    <a:pt x="74" y="8"/>
                    <a:pt x="84" y="1"/>
                  </a:cubicBezTo>
                  <a:cubicBezTo>
                    <a:pt x="74" y="8"/>
                    <a:pt x="67" y="15"/>
                    <a:pt x="60" y="22"/>
                  </a:cubicBezTo>
                  <a:cubicBezTo>
                    <a:pt x="42" y="39"/>
                    <a:pt x="21" y="53"/>
                    <a:pt x="0" y="7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183" name="Google Shape;4183;p104"/>
            <p:cNvSpPr/>
            <p:nvPr/>
          </p:nvSpPr>
          <p:spPr>
            <a:xfrm>
              <a:off x="2989101" y="1742674"/>
              <a:ext cx="1398" cy="14"/>
            </a:xfrm>
            <a:custGeom>
              <a:avLst/>
              <a:gdLst/>
              <a:ahLst/>
              <a:cxnLst/>
              <a:rect l="l" t="t" r="r" b="b"/>
              <a:pathLst>
                <a:path w="103" h="1" extrusionOk="0">
                  <a:moveTo>
                    <a:pt x="103"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184" name="Google Shape;4184;p104"/>
            <p:cNvSpPr/>
            <p:nvPr/>
          </p:nvSpPr>
          <p:spPr>
            <a:xfrm>
              <a:off x="2993052" y="1741968"/>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185" name="Google Shape;4185;p104"/>
            <p:cNvSpPr/>
            <p:nvPr/>
          </p:nvSpPr>
          <p:spPr>
            <a:xfrm>
              <a:off x="2991111" y="1742674"/>
              <a:ext cx="149" cy="14"/>
            </a:xfrm>
            <a:custGeom>
              <a:avLst/>
              <a:gdLst/>
              <a:ahLst/>
              <a:cxnLst/>
              <a:rect l="l" t="t" r="r" b="b"/>
              <a:pathLst>
                <a:path w="11" h="1" extrusionOk="0">
                  <a:moveTo>
                    <a:pt x="11"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186" name="Google Shape;4186;p104"/>
            <p:cNvSpPr/>
            <p:nvPr/>
          </p:nvSpPr>
          <p:spPr>
            <a:xfrm>
              <a:off x="2643975" y="1811444"/>
              <a:ext cx="54487" cy="30006"/>
            </a:xfrm>
            <a:custGeom>
              <a:avLst/>
              <a:gdLst/>
              <a:ahLst/>
              <a:cxnLst/>
              <a:rect l="l" t="t" r="r" b="b"/>
              <a:pathLst>
                <a:path w="4013" h="2210" extrusionOk="0">
                  <a:moveTo>
                    <a:pt x="708" y="0"/>
                  </a:moveTo>
                  <a:cubicBezTo>
                    <a:pt x="694" y="0"/>
                    <a:pt x="679" y="4"/>
                    <a:pt x="666" y="12"/>
                  </a:cubicBezTo>
                  <a:cubicBezTo>
                    <a:pt x="631" y="124"/>
                    <a:pt x="497" y="138"/>
                    <a:pt x="315" y="156"/>
                  </a:cubicBezTo>
                  <a:lnTo>
                    <a:pt x="305" y="156"/>
                  </a:lnTo>
                  <a:cubicBezTo>
                    <a:pt x="277" y="187"/>
                    <a:pt x="245" y="215"/>
                    <a:pt x="214" y="243"/>
                  </a:cubicBezTo>
                  <a:cubicBezTo>
                    <a:pt x="158" y="292"/>
                    <a:pt x="84" y="359"/>
                    <a:pt x="84" y="401"/>
                  </a:cubicBezTo>
                  <a:cubicBezTo>
                    <a:pt x="81" y="485"/>
                    <a:pt x="63" y="565"/>
                    <a:pt x="35" y="642"/>
                  </a:cubicBezTo>
                  <a:cubicBezTo>
                    <a:pt x="18" y="698"/>
                    <a:pt x="4" y="754"/>
                    <a:pt x="0" y="810"/>
                  </a:cubicBezTo>
                  <a:cubicBezTo>
                    <a:pt x="0" y="831"/>
                    <a:pt x="67" y="863"/>
                    <a:pt x="109" y="880"/>
                  </a:cubicBezTo>
                  <a:cubicBezTo>
                    <a:pt x="168" y="905"/>
                    <a:pt x="224" y="940"/>
                    <a:pt x="266" y="989"/>
                  </a:cubicBezTo>
                  <a:cubicBezTo>
                    <a:pt x="284" y="1013"/>
                    <a:pt x="389" y="1048"/>
                    <a:pt x="452" y="1069"/>
                  </a:cubicBezTo>
                  <a:lnTo>
                    <a:pt x="501" y="1083"/>
                  </a:lnTo>
                  <a:cubicBezTo>
                    <a:pt x="610" y="1122"/>
                    <a:pt x="694" y="1157"/>
                    <a:pt x="711" y="1227"/>
                  </a:cubicBezTo>
                  <a:cubicBezTo>
                    <a:pt x="725" y="1272"/>
                    <a:pt x="914" y="1374"/>
                    <a:pt x="1065" y="1395"/>
                  </a:cubicBezTo>
                  <a:cubicBezTo>
                    <a:pt x="1075" y="1395"/>
                    <a:pt x="1086" y="1398"/>
                    <a:pt x="1096" y="1398"/>
                  </a:cubicBezTo>
                  <a:cubicBezTo>
                    <a:pt x="1243" y="1433"/>
                    <a:pt x="1425" y="1570"/>
                    <a:pt x="1523" y="1647"/>
                  </a:cubicBezTo>
                  <a:lnTo>
                    <a:pt x="1548" y="1664"/>
                  </a:lnTo>
                  <a:cubicBezTo>
                    <a:pt x="1554" y="1668"/>
                    <a:pt x="1563" y="1670"/>
                    <a:pt x="1575" y="1670"/>
                  </a:cubicBezTo>
                  <a:cubicBezTo>
                    <a:pt x="1635" y="1670"/>
                    <a:pt x="1757" y="1632"/>
                    <a:pt x="1821" y="1612"/>
                  </a:cubicBezTo>
                  <a:cubicBezTo>
                    <a:pt x="1887" y="1591"/>
                    <a:pt x="1957" y="1573"/>
                    <a:pt x="2027" y="1566"/>
                  </a:cubicBezTo>
                  <a:cubicBezTo>
                    <a:pt x="2174" y="1566"/>
                    <a:pt x="2363" y="1787"/>
                    <a:pt x="2395" y="1917"/>
                  </a:cubicBezTo>
                  <a:cubicBezTo>
                    <a:pt x="2426" y="1948"/>
                    <a:pt x="2598" y="1997"/>
                    <a:pt x="2703" y="2025"/>
                  </a:cubicBezTo>
                  <a:cubicBezTo>
                    <a:pt x="2864" y="2067"/>
                    <a:pt x="3015" y="2109"/>
                    <a:pt x="3085" y="2169"/>
                  </a:cubicBezTo>
                  <a:cubicBezTo>
                    <a:pt x="3117" y="2197"/>
                    <a:pt x="3208" y="2209"/>
                    <a:pt x="3319" y="2209"/>
                  </a:cubicBezTo>
                  <a:cubicBezTo>
                    <a:pt x="3552" y="2209"/>
                    <a:pt x="3875" y="2156"/>
                    <a:pt x="3946" y="2085"/>
                  </a:cubicBezTo>
                  <a:cubicBezTo>
                    <a:pt x="4012" y="2018"/>
                    <a:pt x="3991" y="1899"/>
                    <a:pt x="3970" y="1770"/>
                  </a:cubicBezTo>
                  <a:cubicBezTo>
                    <a:pt x="3960" y="1703"/>
                    <a:pt x="3949" y="1636"/>
                    <a:pt x="3949" y="1570"/>
                  </a:cubicBezTo>
                  <a:lnTo>
                    <a:pt x="3949" y="1538"/>
                  </a:lnTo>
                  <a:lnTo>
                    <a:pt x="3949" y="1531"/>
                  </a:lnTo>
                  <a:cubicBezTo>
                    <a:pt x="3949" y="1531"/>
                    <a:pt x="3949" y="1517"/>
                    <a:pt x="3953" y="1510"/>
                  </a:cubicBezTo>
                  <a:lnTo>
                    <a:pt x="3925" y="1510"/>
                  </a:lnTo>
                  <a:cubicBezTo>
                    <a:pt x="3771" y="1510"/>
                    <a:pt x="3620" y="1486"/>
                    <a:pt x="3473" y="1430"/>
                  </a:cubicBezTo>
                  <a:cubicBezTo>
                    <a:pt x="3393" y="1395"/>
                    <a:pt x="3302" y="1377"/>
                    <a:pt x="3211" y="1377"/>
                  </a:cubicBezTo>
                  <a:cubicBezTo>
                    <a:pt x="3204" y="1378"/>
                    <a:pt x="3198" y="1378"/>
                    <a:pt x="3191" y="1378"/>
                  </a:cubicBezTo>
                  <a:cubicBezTo>
                    <a:pt x="2946" y="1378"/>
                    <a:pt x="2363" y="1141"/>
                    <a:pt x="2111" y="940"/>
                  </a:cubicBezTo>
                  <a:cubicBezTo>
                    <a:pt x="2003" y="852"/>
                    <a:pt x="1817" y="719"/>
                    <a:pt x="1618" y="586"/>
                  </a:cubicBezTo>
                  <a:lnTo>
                    <a:pt x="1569" y="551"/>
                  </a:lnTo>
                  <a:cubicBezTo>
                    <a:pt x="1327" y="383"/>
                    <a:pt x="1086" y="215"/>
                    <a:pt x="991" y="121"/>
                  </a:cubicBezTo>
                  <a:cubicBezTo>
                    <a:pt x="921" y="47"/>
                    <a:pt x="823" y="5"/>
                    <a:pt x="722" y="2"/>
                  </a:cubicBezTo>
                  <a:cubicBezTo>
                    <a:pt x="717" y="1"/>
                    <a:pt x="713" y="0"/>
                    <a:pt x="708"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187" name="Google Shape;4187;p104"/>
            <p:cNvSpPr/>
            <p:nvPr/>
          </p:nvSpPr>
          <p:spPr>
            <a:xfrm>
              <a:off x="2645115" y="1813508"/>
              <a:ext cx="3001" cy="3381"/>
            </a:xfrm>
            <a:custGeom>
              <a:avLst/>
              <a:gdLst/>
              <a:ahLst/>
              <a:cxnLst/>
              <a:rect l="l" t="t" r="r" b="b"/>
              <a:pathLst>
                <a:path w="221" h="249" extrusionOk="0">
                  <a:moveTo>
                    <a:pt x="130" y="91"/>
                  </a:moveTo>
                  <a:cubicBezTo>
                    <a:pt x="74" y="140"/>
                    <a:pt x="0" y="207"/>
                    <a:pt x="0" y="249"/>
                  </a:cubicBezTo>
                  <a:cubicBezTo>
                    <a:pt x="0" y="207"/>
                    <a:pt x="74" y="140"/>
                    <a:pt x="130" y="91"/>
                  </a:cubicBezTo>
                  <a:cubicBezTo>
                    <a:pt x="161" y="63"/>
                    <a:pt x="193" y="32"/>
                    <a:pt x="221" y="0"/>
                  </a:cubicBezTo>
                  <a:lnTo>
                    <a:pt x="221" y="0"/>
                  </a:lnTo>
                  <a:cubicBezTo>
                    <a:pt x="193" y="32"/>
                    <a:pt x="161" y="63"/>
                    <a:pt x="130" y="9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188" name="Google Shape;4188;p104"/>
            <p:cNvSpPr/>
            <p:nvPr/>
          </p:nvSpPr>
          <p:spPr>
            <a:xfrm>
              <a:off x="2697592" y="1832327"/>
              <a:ext cx="14" cy="394"/>
            </a:xfrm>
            <a:custGeom>
              <a:avLst/>
              <a:gdLst/>
              <a:ahLst/>
              <a:cxnLst/>
              <a:rect l="l" t="t" r="r" b="b"/>
              <a:pathLst>
                <a:path w="1" h="29" extrusionOk="0">
                  <a:moveTo>
                    <a:pt x="0" y="0"/>
                  </a:moveTo>
                  <a:lnTo>
                    <a:pt x="0" y="28"/>
                  </a:lnTo>
                  <a:cubicBezTo>
                    <a:pt x="0" y="18"/>
                    <a:pt x="0" y="7"/>
                    <a:pt x="0"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189" name="Google Shape;4189;p104"/>
            <p:cNvSpPr/>
            <p:nvPr/>
          </p:nvSpPr>
          <p:spPr>
            <a:xfrm>
              <a:off x="2650763" y="1826149"/>
              <a:ext cx="2878" cy="1955"/>
            </a:xfrm>
            <a:custGeom>
              <a:avLst/>
              <a:gdLst/>
              <a:ahLst/>
              <a:cxnLst/>
              <a:rect l="l" t="t" r="r" b="b"/>
              <a:pathLst>
                <a:path w="212" h="144" extrusionOk="0">
                  <a:moveTo>
                    <a:pt x="1" y="0"/>
                  </a:moveTo>
                  <a:cubicBezTo>
                    <a:pt x="110" y="39"/>
                    <a:pt x="194" y="74"/>
                    <a:pt x="211" y="144"/>
                  </a:cubicBezTo>
                  <a:cubicBezTo>
                    <a:pt x="194" y="74"/>
                    <a:pt x="110" y="39"/>
                    <a:pt x="1"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190" name="Google Shape;4190;p104"/>
            <p:cNvSpPr/>
            <p:nvPr/>
          </p:nvSpPr>
          <p:spPr>
            <a:xfrm>
              <a:off x="2697633" y="1831892"/>
              <a:ext cx="68" cy="353"/>
            </a:xfrm>
            <a:custGeom>
              <a:avLst/>
              <a:gdLst/>
              <a:ahLst/>
              <a:cxnLst/>
              <a:rect l="l" t="t" r="r" b="b"/>
              <a:pathLst>
                <a:path w="5" h="26" extrusionOk="0">
                  <a:moveTo>
                    <a:pt x="4" y="1"/>
                  </a:moveTo>
                  <a:cubicBezTo>
                    <a:pt x="4" y="8"/>
                    <a:pt x="1" y="15"/>
                    <a:pt x="1" y="25"/>
                  </a:cubicBezTo>
                  <a:cubicBezTo>
                    <a:pt x="4" y="15"/>
                    <a:pt x="4" y="8"/>
                    <a:pt x="4" y="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191" name="Google Shape;4191;p104"/>
            <p:cNvSpPr/>
            <p:nvPr/>
          </p:nvSpPr>
          <p:spPr>
            <a:xfrm>
              <a:off x="2658856" y="1830426"/>
              <a:ext cx="5811" cy="3381"/>
            </a:xfrm>
            <a:custGeom>
              <a:avLst/>
              <a:gdLst/>
              <a:ahLst/>
              <a:cxnLst/>
              <a:rect l="l" t="t" r="r" b="b"/>
              <a:pathLst>
                <a:path w="428" h="249" extrusionOk="0">
                  <a:moveTo>
                    <a:pt x="427" y="249"/>
                  </a:moveTo>
                  <a:cubicBezTo>
                    <a:pt x="326" y="172"/>
                    <a:pt x="147" y="35"/>
                    <a:pt x="0" y="0"/>
                  </a:cubicBezTo>
                  <a:cubicBezTo>
                    <a:pt x="147" y="35"/>
                    <a:pt x="326" y="172"/>
                    <a:pt x="427" y="249"/>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192" name="Google Shape;4192;p104"/>
            <p:cNvSpPr/>
            <p:nvPr/>
          </p:nvSpPr>
          <p:spPr>
            <a:xfrm>
              <a:off x="2726960" y="1826773"/>
              <a:ext cx="59904" cy="135897"/>
            </a:xfrm>
            <a:custGeom>
              <a:avLst/>
              <a:gdLst/>
              <a:ahLst/>
              <a:cxnLst/>
              <a:rect l="l" t="t" r="r" b="b"/>
              <a:pathLst>
                <a:path w="4412" h="10009" extrusionOk="0">
                  <a:moveTo>
                    <a:pt x="2729" y="1"/>
                  </a:moveTo>
                  <a:cubicBezTo>
                    <a:pt x="2699" y="1"/>
                    <a:pt x="2668" y="9"/>
                    <a:pt x="2640" y="24"/>
                  </a:cubicBezTo>
                  <a:lnTo>
                    <a:pt x="2626" y="35"/>
                  </a:lnTo>
                  <a:lnTo>
                    <a:pt x="2623" y="38"/>
                  </a:lnTo>
                  <a:lnTo>
                    <a:pt x="2605" y="49"/>
                  </a:lnTo>
                  <a:lnTo>
                    <a:pt x="2602" y="49"/>
                  </a:lnTo>
                  <a:lnTo>
                    <a:pt x="2581" y="59"/>
                  </a:lnTo>
                  <a:lnTo>
                    <a:pt x="2577" y="73"/>
                  </a:lnTo>
                  <a:lnTo>
                    <a:pt x="2577" y="77"/>
                  </a:lnTo>
                  <a:lnTo>
                    <a:pt x="2574" y="91"/>
                  </a:lnTo>
                  <a:lnTo>
                    <a:pt x="2574" y="98"/>
                  </a:lnTo>
                  <a:lnTo>
                    <a:pt x="2570" y="112"/>
                  </a:lnTo>
                  <a:lnTo>
                    <a:pt x="2570" y="119"/>
                  </a:lnTo>
                  <a:lnTo>
                    <a:pt x="2567" y="133"/>
                  </a:lnTo>
                  <a:lnTo>
                    <a:pt x="2563" y="140"/>
                  </a:lnTo>
                  <a:lnTo>
                    <a:pt x="2560" y="154"/>
                  </a:lnTo>
                  <a:lnTo>
                    <a:pt x="2556" y="161"/>
                  </a:lnTo>
                  <a:lnTo>
                    <a:pt x="2549" y="178"/>
                  </a:lnTo>
                  <a:lnTo>
                    <a:pt x="2546" y="185"/>
                  </a:lnTo>
                  <a:cubicBezTo>
                    <a:pt x="2542" y="192"/>
                    <a:pt x="2539" y="199"/>
                    <a:pt x="2539" y="206"/>
                  </a:cubicBezTo>
                  <a:lnTo>
                    <a:pt x="2539" y="210"/>
                  </a:lnTo>
                  <a:lnTo>
                    <a:pt x="2528" y="231"/>
                  </a:lnTo>
                  <a:lnTo>
                    <a:pt x="2525" y="238"/>
                  </a:lnTo>
                  <a:lnTo>
                    <a:pt x="2514" y="252"/>
                  </a:lnTo>
                  <a:lnTo>
                    <a:pt x="2511" y="259"/>
                  </a:lnTo>
                  <a:lnTo>
                    <a:pt x="2500" y="273"/>
                  </a:lnTo>
                  <a:lnTo>
                    <a:pt x="2497" y="280"/>
                  </a:lnTo>
                  <a:lnTo>
                    <a:pt x="2486" y="290"/>
                  </a:lnTo>
                  <a:lnTo>
                    <a:pt x="2479" y="297"/>
                  </a:lnTo>
                  <a:lnTo>
                    <a:pt x="2472" y="308"/>
                  </a:lnTo>
                  <a:lnTo>
                    <a:pt x="2465" y="315"/>
                  </a:lnTo>
                  <a:lnTo>
                    <a:pt x="2451" y="325"/>
                  </a:lnTo>
                  <a:lnTo>
                    <a:pt x="2448" y="329"/>
                  </a:lnTo>
                  <a:cubicBezTo>
                    <a:pt x="2441" y="332"/>
                    <a:pt x="2434" y="336"/>
                    <a:pt x="2430" y="339"/>
                  </a:cubicBezTo>
                  <a:cubicBezTo>
                    <a:pt x="2416" y="346"/>
                    <a:pt x="2409" y="357"/>
                    <a:pt x="2406" y="367"/>
                  </a:cubicBezTo>
                  <a:cubicBezTo>
                    <a:pt x="2402" y="385"/>
                    <a:pt x="2395" y="458"/>
                    <a:pt x="2497" y="613"/>
                  </a:cubicBezTo>
                  <a:cubicBezTo>
                    <a:pt x="2521" y="644"/>
                    <a:pt x="2535" y="683"/>
                    <a:pt x="2539" y="721"/>
                  </a:cubicBezTo>
                  <a:cubicBezTo>
                    <a:pt x="2539" y="742"/>
                    <a:pt x="2535" y="760"/>
                    <a:pt x="2525" y="777"/>
                  </a:cubicBezTo>
                  <a:cubicBezTo>
                    <a:pt x="2502" y="812"/>
                    <a:pt x="2464" y="832"/>
                    <a:pt x="2424" y="832"/>
                  </a:cubicBezTo>
                  <a:cubicBezTo>
                    <a:pt x="2416" y="832"/>
                    <a:pt x="2407" y="831"/>
                    <a:pt x="2399" y="830"/>
                  </a:cubicBezTo>
                  <a:cubicBezTo>
                    <a:pt x="2318" y="823"/>
                    <a:pt x="2189" y="770"/>
                    <a:pt x="2147" y="679"/>
                  </a:cubicBezTo>
                  <a:lnTo>
                    <a:pt x="2126" y="679"/>
                  </a:lnTo>
                  <a:lnTo>
                    <a:pt x="2112" y="686"/>
                  </a:lnTo>
                  <a:lnTo>
                    <a:pt x="2094" y="690"/>
                  </a:lnTo>
                  <a:cubicBezTo>
                    <a:pt x="1986" y="742"/>
                    <a:pt x="1884" y="809"/>
                    <a:pt x="1797" y="889"/>
                  </a:cubicBezTo>
                  <a:cubicBezTo>
                    <a:pt x="1755" y="924"/>
                    <a:pt x="1709" y="956"/>
                    <a:pt x="1664" y="984"/>
                  </a:cubicBezTo>
                  <a:cubicBezTo>
                    <a:pt x="1534" y="1075"/>
                    <a:pt x="1450" y="1134"/>
                    <a:pt x="1450" y="1271"/>
                  </a:cubicBezTo>
                  <a:cubicBezTo>
                    <a:pt x="1443" y="1393"/>
                    <a:pt x="1412" y="1512"/>
                    <a:pt x="1363" y="1621"/>
                  </a:cubicBezTo>
                  <a:cubicBezTo>
                    <a:pt x="1317" y="1733"/>
                    <a:pt x="1279" y="1841"/>
                    <a:pt x="1296" y="1925"/>
                  </a:cubicBezTo>
                  <a:cubicBezTo>
                    <a:pt x="1328" y="2055"/>
                    <a:pt x="1247" y="2233"/>
                    <a:pt x="1177" y="2391"/>
                  </a:cubicBezTo>
                  <a:cubicBezTo>
                    <a:pt x="1146" y="2464"/>
                    <a:pt x="1100" y="2566"/>
                    <a:pt x="1104" y="2594"/>
                  </a:cubicBezTo>
                  <a:cubicBezTo>
                    <a:pt x="1111" y="2629"/>
                    <a:pt x="1100" y="2661"/>
                    <a:pt x="1079" y="2682"/>
                  </a:cubicBezTo>
                  <a:cubicBezTo>
                    <a:pt x="1054" y="2707"/>
                    <a:pt x="1017" y="2717"/>
                    <a:pt x="969" y="2717"/>
                  </a:cubicBezTo>
                  <a:cubicBezTo>
                    <a:pt x="902" y="2717"/>
                    <a:pt x="814" y="2697"/>
                    <a:pt x="705" y="2671"/>
                  </a:cubicBezTo>
                  <a:lnTo>
                    <a:pt x="641" y="2657"/>
                  </a:lnTo>
                  <a:cubicBezTo>
                    <a:pt x="634" y="2692"/>
                    <a:pt x="631" y="2752"/>
                    <a:pt x="627" y="2797"/>
                  </a:cubicBezTo>
                  <a:cubicBezTo>
                    <a:pt x="617" y="2927"/>
                    <a:pt x="610" y="3081"/>
                    <a:pt x="554" y="3161"/>
                  </a:cubicBezTo>
                  <a:cubicBezTo>
                    <a:pt x="526" y="3207"/>
                    <a:pt x="515" y="3326"/>
                    <a:pt x="508" y="3420"/>
                  </a:cubicBezTo>
                  <a:cubicBezTo>
                    <a:pt x="508" y="3452"/>
                    <a:pt x="505" y="3487"/>
                    <a:pt x="501" y="3518"/>
                  </a:cubicBezTo>
                  <a:lnTo>
                    <a:pt x="501" y="3522"/>
                  </a:lnTo>
                  <a:cubicBezTo>
                    <a:pt x="491" y="3616"/>
                    <a:pt x="473" y="3700"/>
                    <a:pt x="431" y="3742"/>
                  </a:cubicBezTo>
                  <a:lnTo>
                    <a:pt x="431" y="3746"/>
                  </a:lnTo>
                  <a:cubicBezTo>
                    <a:pt x="428" y="3749"/>
                    <a:pt x="421" y="3753"/>
                    <a:pt x="417" y="3756"/>
                  </a:cubicBezTo>
                  <a:lnTo>
                    <a:pt x="414" y="3756"/>
                  </a:lnTo>
                  <a:cubicBezTo>
                    <a:pt x="410" y="3760"/>
                    <a:pt x="403" y="3760"/>
                    <a:pt x="400" y="3763"/>
                  </a:cubicBezTo>
                  <a:lnTo>
                    <a:pt x="396" y="3763"/>
                  </a:lnTo>
                  <a:cubicBezTo>
                    <a:pt x="393" y="3763"/>
                    <a:pt x="386" y="3767"/>
                    <a:pt x="382" y="3767"/>
                  </a:cubicBezTo>
                  <a:lnTo>
                    <a:pt x="351" y="3767"/>
                  </a:lnTo>
                  <a:cubicBezTo>
                    <a:pt x="340" y="3774"/>
                    <a:pt x="330" y="3784"/>
                    <a:pt x="323" y="3795"/>
                  </a:cubicBezTo>
                  <a:cubicBezTo>
                    <a:pt x="260" y="3872"/>
                    <a:pt x="204" y="4040"/>
                    <a:pt x="183" y="4113"/>
                  </a:cubicBezTo>
                  <a:lnTo>
                    <a:pt x="179" y="4127"/>
                  </a:lnTo>
                  <a:lnTo>
                    <a:pt x="172" y="4152"/>
                  </a:lnTo>
                  <a:lnTo>
                    <a:pt x="151" y="4166"/>
                  </a:lnTo>
                  <a:lnTo>
                    <a:pt x="148" y="4169"/>
                  </a:lnTo>
                  <a:lnTo>
                    <a:pt x="144" y="4169"/>
                  </a:lnTo>
                  <a:lnTo>
                    <a:pt x="137" y="4176"/>
                  </a:lnTo>
                  <a:lnTo>
                    <a:pt x="130" y="4180"/>
                  </a:lnTo>
                  <a:lnTo>
                    <a:pt x="120" y="4190"/>
                  </a:lnTo>
                  <a:lnTo>
                    <a:pt x="109" y="4197"/>
                  </a:lnTo>
                  <a:lnTo>
                    <a:pt x="99" y="4208"/>
                  </a:lnTo>
                  <a:lnTo>
                    <a:pt x="88" y="4215"/>
                  </a:lnTo>
                  <a:lnTo>
                    <a:pt x="71" y="4229"/>
                  </a:lnTo>
                  <a:lnTo>
                    <a:pt x="60" y="4236"/>
                  </a:lnTo>
                  <a:lnTo>
                    <a:pt x="39" y="4253"/>
                  </a:lnTo>
                  <a:lnTo>
                    <a:pt x="29" y="4260"/>
                  </a:lnTo>
                  <a:lnTo>
                    <a:pt x="1" y="4285"/>
                  </a:lnTo>
                  <a:cubicBezTo>
                    <a:pt x="95" y="4460"/>
                    <a:pt x="263" y="4670"/>
                    <a:pt x="459" y="4754"/>
                  </a:cubicBezTo>
                  <a:cubicBezTo>
                    <a:pt x="708" y="4856"/>
                    <a:pt x="932" y="5241"/>
                    <a:pt x="1121" y="5902"/>
                  </a:cubicBezTo>
                  <a:cubicBezTo>
                    <a:pt x="1223" y="6266"/>
                    <a:pt x="1149" y="6634"/>
                    <a:pt x="1034" y="6834"/>
                  </a:cubicBezTo>
                  <a:cubicBezTo>
                    <a:pt x="999" y="6893"/>
                    <a:pt x="1002" y="6914"/>
                    <a:pt x="1002" y="6921"/>
                  </a:cubicBezTo>
                  <a:cubicBezTo>
                    <a:pt x="1009" y="6942"/>
                    <a:pt x="1069" y="6967"/>
                    <a:pt x="1125" y="6991"/>
                  </a:cubicBezTo>
                  <a:cubicBezTo>
                    <a:pt x="1156" y="7005"/>
                    <a:pt x="1195" y="7023"/>
                    <a:pt x="1233" y="7044"/>
                  </a:cubicBezTo>
                  <a:cubicBezTo>
                    <a:pt x="1321" y="7090"/>
                    <a:pt x="1399" y="7113"/>
                    <a:pt x="1468" y="7113"/>
                  </a:cubicBezTo>
                  <a:cubicBezTo>
                    <a:pt x="1556" y="7113"/>
                    <a:pt x="1628" y="7075"/>
                    <a:pt x="1681" y="6998"/>
                  </a:cubicBezTo>
                  <a:cubicBezTo>
                    <a:pt x="1744" y="6918"/>
                    <a:pt x="1814" y="6844"/>
                    <a:pt x="1895" y="6781"/>
                  </a:cubicBezTo>
                  <a:cubicBezTo>
                    <a:pt x="2007" y="6679"/>
                    <a:pt x="2112" y="6588"/>
                    <a:pt x="2133" y="6473"/>
                  </a:cubicBezTo>
                  <a:cubicBezTo>
                    <a:pt x="2136" y="6445"/>
                    <a:pt x="2154" y="6361"/>
                    <a:pt x="2220" y="6347"/>
                  </a:cubicBezTo>
                  <a:lnTo>
                    <a:pt x="2241" y="6347"/>
                  </a:lnTo>
                  <a:cubicBezTo>
                    <a:pt x="2308" y="6347"/>
                    <a:pt x="2360" y="6427"/>
                    <a:pt x="2427" y="6522"/>
                  </a:cubicBezTo>
                  <a:cubicBezTo>
                    <a:pt x="2455" y="6571"/>
                    <a:pt x="2490" y="6616"/>
                    <a:pt x="2525" y="6658"/>
                  </a:cubicBezTo>
                  <a:cubicBezTo>
                    <a:pt x="2651" y="6784"/>
                    <a:pt x="2738" y="7019"/>
                    <a:pt x="2763" y="7306"/>
                  </a:cubicBezTo>
                  <a:cubicBezTo>
                    <a:pt x="2766" y="7338"/>
                    <a:pt x="2770" y="7373"/>
                    <a:pt x="2770" y="7411"/>
                  </a:cubicBezTo>
                  <a:cubicBezTo>
                    <a:pt x="2795" y="7712"/>
                    <a:pt x="2837" y="8265"/>
                    <a:pt x="3026" y="8444"/>
                  </a:cubicBezTo>
                  <a:cubicBezTo>
                    <a:pt x="3288" y="8689"/>
                    <a:pt x="3323" y="9197"/>
                    <a:pt x="3253" y="9379"/>
                  </a:cubicBezTo>
                  <a:cubicBezTo>
                    <a:pt x="3225" y="9445"/>
                    <a:pt x="3257" y="9557"/>
                    <a:pt x="3288" y="9666"/>
                  </a:cubicBezTo>
                  <a:cubicBezTo>
                    <a:pt x="3320" y="9781"/>
                    <a:pt x="3351" y="9904"/>
                    <a:pt x="3330" y="10009"/>
                  </a:cubicBezTo>
                  <a:lnTo>
                    <a:pt x="3341" y="9995"/>
                  </a:lnTo>
                  <a:lnTo>
                    <a:pt x="3344" y="9988"/>
                  </a:lnTo>
                  <a:cubicBezTo>
                    <a:pt x="3351" y="9974"/>
                    <a:pt x="3358" y="9963"/>
                    <a:pt x="3365" y="9949"/>
                  </a:cubicBezTo>
                  <a:lnTo>
                    <a:pt x="3372" y="9942"/>
                  </a:lnTo>
                  <a:lnTo>
                    <a:pt x="3390" y="9907"/>
                  </a:lnTo>
                  <a:lnTo>
                    <a:pt x="3397" y="9893"/>
                  </a:lnTo>
                  <a:cubicBezTo>
                    <a:pt x="3404" y="9879"/>
                    <a:pt x="3411" y="9865"/>
                    <a:pt x="3418" y="9851"/>
                  </a:cubicBezTo>
                  <a:lnTo>
                    <a:pt x="3418" y="9844"/>
                  </a:lnTo>
                  <a:cubicBezTo>
                    <a:pt x="3428" y="9827"/>
                    <a:pt x="3435" y="9809"/>
                    <a:pt x="3442" y="9792"/>
                  </a:cubicBezTo>
                  <a:lnTo>
                    <a:pt x="3449" y="9774"/>
                  </a:lnTo>
                  <a:lnTo>
                    <a:pt x="3467" y="9732"/>
                  </a:lnTo>
                  <a:lnTo>
                    <a:pt x="3474" y="9715"/>
                  </a:lnTo>
                  <a:cubicBezTo>
                    <a:pt x="3484" y="9694"/>
                    <a:pt x="3491" y="9673"/>
                    <a:pt x="3498" y="9652"/>
                  </a:cubicBezTo>
                  <a:lnTo>
                    <a:pt x="3505" y="9641"/>
                  </a:lnTo>
                  <a:cubicBezTo>
                    <a:pt x="3512" y="9624"/>
                    <a:pt x="3519" y="9606"/>
                    <a:pt x="3526" y="9585"/>
                  </a:cubicBezTo>
                  <a:lnTo>
                    <a:pt x="3533" y="9564"/>
                  </a:lnTo>
                  <a:lnTo>
                    <a:pt x="3551" y="9508"/>
                  </a:lnTo>
                  <a:lnTo>
                    <a:pt x="3558" y="9494"/>
                  </a:lnTo>
                  <a:cubicBezTo>
                    <a:pt x="3565" y="9470"/>
                    <a:pt x="3572" y="9445"/>
                    <a:pt x="3582" y="9421"/>
                  </a:cubicBezTo>
                  <a:lnTo>
                    <a:pt x="3586" y="9403"/>
                  </a:lnTo>
                  <a:cubicBezTo>
                    <a:pt x="3593" y="9382"/>
                    <a:pt x="3600" y="9365"/>
                    <a:pt x="3607" y="9344"/>
                  </a:cubicBezTo>
                  <a:lnTo>
                    <a:pt x="3614" y="9319"/>
                  </a:lnTo>
                  <a:cubicBezTo>
                    <a:pt x="3621" y="9295"/>
                    <a:pt x="3628" y="9267"/>
                    <a:pt x="3635" y="9242"/>
                  </a:cubicBezTo>
                  <a:cubicBezTo>
                    <a:pt x="3631" y="9172"/>
                    <a:pt x="3603" y="9109"/>
                    <a:pt x="3558" y="9060"/>
                  </a:cubicBezTo>
                  <a:cubicBezTo>
                    <a:pt x="3498" y="9001"/>
                    <a:pt x="3467" y="8924"/>
                    <a:pt x="3463" y="8839"/>
                  </a:cubicBezTo>
                  <a:cubicBezTo>
                    <a:pt x="3463" y="8671"/>
                    <a:pt x="3463" y="8391"/>
                    <a:pt x="3267" y="8220"/>
                  </a:cubicBezTo>
                  <a:cubicBezTo>
                    <a:pt x="3099" y="8066"/>
                    <a:pt x="2994" y="7870"/>
                    <a:pt x="2998" y="7716"/>
                  </a:cubicBezTo>
                  <a:cubicBezTo>
                    <a:pt x="2994" y="7646"/>
                    <a:pt x="3026" y="7579"/>
                    <a:pt x="3075" y="7537"/>
                  </a:cubicBezTo>
                  <a:cubicBezTo>
                    <a:pt x="3127" y="7492"/>
                    <a:pt x="3120" y="7376"/>
                    <a:pt x="3120" y="7303"/>
                  </a:cubicBezTo>
                  <a:cubicBezTo>
                    <a:pt x="3120" y="7226"/>
                    <a:pt x="3113" y="7177"/>
                    <a:pt x="3155" y="7145"/>
                  </a:cubicBezTo>
                  <a:cubicBezTo>
                    <a:pt x="3169" y="7135"/>
                    <a:pt x="3187" y="7131"/>
                    <a:pt x="3208" y="7131"/>
                  </a:cubicBezTo>
                  <a:cubicBezTo>
                    <a:pt x="3222" y="7107"/>
                    <a:pt x="3232" y="7075"/>
                    <a:pt x="3229" y="7047"/>
                  </a:cubicBezTo>
                  <a:cubicBezTo>
                    <a:pt x="3229" y="7026"/>
                    <a:pt x="3218" y="7005"/>
                    <a:pt x="3197" y="6998"/>
                  </a:cubicBezTo>
                  <a:cubicBezTo>
                    <a:pt x="3187" y="6991"/>
                    <a:pt x="3173" y="6984"/>
                    <a:pt x="3162" y="6974"/>
                  </a:cubicBezTo>
                  <a:cubicBezTo>
                    <a:pt x="3092" y="6914"/>
                    <a:pt x="3099" y="6813"/>
                    <a:pt x="3099" y="6735"/>
                  </a:cubicBezTo>
                  <a:cubicBezTo>
                    <a:pt x="3103" y="6700"/>
                    <a:pt x="3103" y="6665"/>
                    <a:pt x="3096" y="6630"/>
                  </a:cubicBezTo>
                  <a:cubicBezTo>
                    <a:pt x="2973" y="6585"/>
                    <a:pt x="2644" y="6221"/>
                    <a:pt x="2644" y="6074"/>
                  </a:cubicBezTo>
                  <a:cubicBezTo>
                    <a:pt x="2644" y="5983"/>
                    <a:pt x="2700" y="5580"/>
                    <a:pt x="2745" y="5241"/>
                  </a:cubicBezTo>
                  <a:lnTo>
                    <a:pt x="2752" y="5202"/>
                  </a:lnTo>
                  <a:cubicBezTo>
                    <a:pt x="2777" y="5020"/>
                    <a:pt x="2994" y="4975"/>
                    <a:pt x="3120" y="4975"/>
                  </a:cubicBezTo>
                  <a:lnTo>
                    <a:pt x="3145" y="4975"/>
                  </a:lnTo>
                  <a:cubicBezTo>
                    <a:pt x="3149" y="4975"/>
                    <a:pt x="3155" y="4975"/>
                    <a:pt x="3160" y="4975"/>
                  </a:cubicBezTo>
                  <a:cubicBezTo>
                    <a:pt x="3243" y="4975"/>
                    <a:pt x="3418" y="4972"/>
                    <a:pt x="3474" y="4877"/>
                  </a:cubicBezTo>
                  <a:cubicBezTo>
                    <a:pt x="3533" y="4772"/>
                    <a:pt x="3670" y="4726"/>
                    <a:pt x="3792" y="4684"/>
                  </a:cubicBezTo>
                  <a:cubicBezTo>
                    <a:pt x="3855" y="4663"/>
                    <a:pt x="3953" y="4628"/>
                    <a:pt x="3964" y="4603"/>
                  </a:cubicBezTo>
                  <a:cubicBezTo>
                    <a:pt x="3967" y="4596"/>
                    <a:pt x="3971" y="4586"/>
                    <a:pt x="3978" y="4579"/>
                  </a:cubicBezTo>
                  <a:lnTo>
                    <a:pt x="3985" y="4568"/>
                  </a:lnTo>
                  <a:lnTo>
                    <a:pt x="3992" y="4561"/>
                  </a:lnTo>
                  <a:lnTo>
                    <a:pt x="4002" y="4548"/>
                  </a:lnTo>
                  <a:lnTo>
                    <a:pt x="4062" y="4519"/>
                  </a:lnTo>
                  <a:lnTo>
                    <a:pt x="4090" y="4502"/>
                  </a:lnTo>
                  <a:lnTo>
                    <a:pt x="4114" y="4491"/>
                  </a:lnTo>
                  <a:lnTo>
                    <a:pt x="4125" y="4484"/>
                  </a:lnTo>
                  <a:cubicBezTo>
                    <a:pt x="4181" y="4460"/>
                    <a:pt x="4219" y="4442"/>
                    <a:pt x="4226" y="4421"/>
                  </a:cubicBezTo>
                  <a:cubicBezTo>
                    <a:pt x="4226" y="4418"/>
                    <a:pt x="4226" y="4414"/>
                    <a:pt x="4226" y="4411"/>
                  </a:cubicBezTo>
                  <a:cubicBezTo>
                    <a:pt x="4226" y="4400"/>
                    <a:pt x="4226" y="4386"/>
                    <a:pt x="4230" y="4376"/>
                  </a:cubicBezTo>
                  <a:cubicBezTo>
                    <a:pt x="4230" y="4372"/>
                    <a:pt x="4230" y="4369"/>
                    <a:pt x="4233" y="4365"/>
                  </a:cubicBezTo>
                  <a:cubicBezTo>
                    <a:pt x="4237" y="4362"/>
                    <a:pt x="4237" y="4348"/>
                    <a:pt x="4240" y="4337"/>
                  </a:cubicBezTo>
                  <a:lnTo>
                    <a:pt x="4247" y="4323"/>
                  </a:lnTo>
                  <a:cubicBezTo>
                    <a:pt x="4251" y="4313"/>
                    <a:pt x="4254" y="4302"/>
                    <a:pt x="4261" y="4292"/>
                  </a:cubicBezTo>
                  <a:lnTo>
                    <a:pt x="4265" y="4281"/>
                  </a:lnTo>
                  <a:cubicBezTo>
                    <a:pt x="4272" y="4267"/>
                    <a:pt x="4279" y="4253"/>
                    <a:pt x="4286" y="4239"/>
                  </a:cubicBezTo>
                  <a:lnTo>
                    <a:pt x="4293" y="4229"/>
                  </a:lnTo>
                  <a:cubicBezTo>
                    <a:pt x="4300" y="4215"/>
                    <a:pt x="4307" y="4204"/>
                    <a:pt x="4314" y="4194"/>
                  </a:cubicBezTo>
                  <a:lnTo>
                    <a:pt x="4321" y="4180"/>
                  </a:lnTo>
                  <a:lnTo>
                    <a:pt x="4342" y="4148"/>
                  </a:lnTo>
                  <a:lnTo>
                    <a:pt x="4352" y="4134"/>
                  </a:lnTo>
                  <a:lnTo>
                    <a:pt x="4380" y="4096"/>
                  </a:lnTo>
                  <a:lnTo>
                    <a:pt x="4408" y="4054"/>
                  </a:lnTo>
                  <a:lnTo>
                    <a:pt x="4412" y="4050"/>
                  </a:lnTo>
                  <a:lnTo>
                    <a:pt x="4408" y="4050"/>
                  </a:lnTo>
                  <a:lnTo>
                    <a:pt x="4359" y="4071"/>
                  </a:lnTo>
                  <a:cubicBezTo>
                    <a:pt x="4290" y="4098"/>
                    <a:pt x="4232" y="4108"/>
                    <a:pt x="4183" y="4108"/>
                  </a:cubicBezTo>
                  <a:cubicBezTo>
                    <a:pt x="4099" y="4108"/>
                    <a:pt x="4045" y="4078"/>
                    <a:pt x="4016" y="4054"/>
                  </a:cubicBezTo>
                  <a:cubicBezTo>
                    <a:pt x="3946" y="3998"/>
                    <a:pt x="3915" y="3907"/>
                    <a:pt x="3932" y="3819"/>
                  </a:cubicBezTo>
                  <a:cubicBezTo>
                    <a:pt x="3936" y="3795"/>
                    <a:pt x="3929" y="3788"/>
                    <a:pt x="3925" y="3784"/>
                  </a:cubicBezTo>
                  <a:cubicBezTo>
                    <a:pt x="3897" y="3749"/>
                    <a:pt x="3764" y="3749"/>
                    <a:pt x="3694" y="3749"/>
                  </a:cubicBezTo>
                  <a:cubicBezTo>
                    <a:pt x="3691" y="3750"/>
                    <a:pt x="3688" y="3750"/>
                    <a:pt x="3684" y="3750"/>
                  </a:cubicBezTo>
                  <a:cubicBezTo>
                    <a:pt x="3643" y="3750"/>
                    <a:pt x="3608" y="3729"/>
                    <a:pt x="3582" y="3697"/>
                  </a:cubicBezTo>
                  <a:cubicBezTo>
                    <a:pt x="3523" y="3613"/>
                    <a:pt x="3572" y="3473"/>
                    <a:pt x="3617" y="3333"/>
                  </a:cubicBezTo>
                  <a:lnTo>
                    <a:pt x="3631" y="3298"/>
                  </a:lnTo>
                  <a:cubicBezTo>
                    <a:pt x="3638" y="3280"/>
                    <a:pt x="3642" y="3263"/>
                    <a:pt x="3638" y="3245"/>
                  </a:cubicBezTo>
                  <a:cubicBezTo>
                    <a:pt x="3642" y="3231"/>
                    <a:pt x="3635" y="3214"/>
                    <a:pt x="3628" y="3200"/>
                  </a:cubicBezTo>
                  <a:cubicBezTo>
                    <a:pt x="3589" y="3161"/>
                    <a:pt x="3537" y="3140"/>
                    <a:pt x="3481" y="3140"/>
                  </a:cubicBezTo>
                  <a:cubicBezTo>
                    <a:pt x="3407" y="3133"/>
                    <a:pt x="3337" y="3081"/>
                    <a:pt x="3292" y="2986"/>
                  </a:cubicBezTo>
                  <a:cubicBezTo>
                    <a:pt x="3236" y="2878"/>
                    <a:pt x="3208" y="2706"/>
                    <a:pt x="3250" y="2611"/>
                  </a:cubicBezTo>
                  <a:cubicBezTo>
                    <a:pt x="3213" y="2586"/>
                    <a:pt x="3102" y="2560"/>
                    <a:pt x="2999" y="2560"/>
                  </a:cubicBezTo>
                  <a:cubicBezTo>
                    <a:pt x="2943" y="2560"/>
                    <a:pt x="2890" y="2567"/>
                    <a:pt x="2851" y="2587"/>
                  </a:cubicBezTo>
                  <a:cubicBezTo>
                    <a:pt x="2834" y="2596"/>
                    <a:pt x="2799" y="2613"/>
                    <a:pt x="2762" y="2613"/>
                  </a:cubicBezTo>
                  <a:cubicBezTo>
                    <a:pt x="2744" y="2613"/>
                    <a:pt x="2724" y="2609"/>
                    <a:pt x="2707" y="2597"/>
                  </a:cubicBezTo>
                  <a:cubicBezTo>
                    <a:pt x="2651" y="2559"/>
                    <a:pt x="2658" y="2485"/>
                    <a:pt x="2665" y="2419"/>
                  </a:cubicBezTo>
                  <a:cubicBezTo>
                    <a:pt x="2672" y="2373"/>
                    <a:pt x="2672" y="2328"/>
                    <a:pt x="2661" y="2286"/>
                  </a:cubicBezTo>
                  <a:cubicBezTo>
                    <a:pt x="2591" y="2111"/>
                    <a:pt x="2921" y="1656"/>
                    <a:pt x="3127" y="1453"/>
                  </a:cubicBezTo>
                  <a:cubicBezTo>
                    <a:pt x="3162" y="1414"/>
                    <a:pt x="3194" y="1372"/>
                    <a:pt x="3215" y="1327"/>
                  </a:cubicBezTo>
                  <a:cubicBezTo>
                    <a:pt x="3274" y="1197"/>
                    <a:pt x="3264" y="1047"/>
                    <a:pt x="3250" y="889"/>
                  </a:cubicBezTo>
                  <a:cubicBezTo>
                    <a:pt x="3246" y="826"/>
                    <a:pt x="3239" y="763"/>
                    <a:pt x="3239" y="700"/>
                  </a:cubicBezTo>
                  <a:cubicBezTo>
                    <a:pt x="3239" y="497"/>
                    <a:pt x="3190" y="497"/>
                    <a:pt x="3089" y="497"/>
                  </a:cubicBezTo>
                  <a:cubicBezTo>
                    <a:pt x="2900" y="497"/>
                    <a:pt x="2900" y="238"/>
                    <a:pt x="2900" y="129"/>
                  </a:cubicBezTo>
                  <a:cubicBezTo>
                    <a:pt x="2893" y="80"/>
                    <a:pt x="2861" y="42"/>
                    <a:pt x="2816" y="24"/>
                  </a:cubicBezTo>
                  <a:cubicBezTo>
                    <a:pt x="2789" y="9"/>
                    <a:pt x="2759" y="1"/>
                    <a:pt x="2729" y="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193" name="Google Shape;4193;p104"/>
            <p:cNvSpPr/>
            <p:nvPr/>
          </p:nvSpPr>
          <p:spPr>
            <a:xfrm>
              <a:off x="2728671" y="1883663"/>
              <a:ext cx="109" cy="109"/>
            </a:xfrm>
            <a:custGeom>
              <a:avLst/>
              <a:gdLst/>
              <a:ahLst/>
              <a:cxnLst/>
              <a:rect l="l" t="t" r="r" b="b"/>
              <a:pathLst>
                <a:path w="8" h="8" extrusionOk="0">
                  <a:moveTo>
                    <a:pt x="1" y="7"/>
                  </a:moveTo>
                  <a:lnTo>
                    <a:pt x="8"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194" name="Google Shape;4194;p104"/>
            <p:cNvSpPr/>
            <p:nvPr/>
          </p:nvSpPr>
          <p:spPr>
            <a:xfrm>
              <a:off x="2729241" y="1883039"/>
              <a:ext cx="14" cy="68"/>
            </a:xfrm>
            <a:custGeom>
              <a:avLst/>
              <a:gdLst/>
              <a:ahLst/>
              <a:cxnLst/>
              <a:rect l="l" t="t" r="r" b="b"/>
              <a:pathLst>
                <a:path w="1" h="5" extrusionOk="0">
                  <a:moveTo>
                    <a:pt x="1" y="1"/>
                  </a:moveTo>
                  <a:lnTo>
                    <a:pt x="1" y="4"/>
                  </a:lnTo>
                  <a:lnTo>
                    <a:pt x="1" y="4"/>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195" name="Google Shape;4195;p104"/>
            <p:cNvSpPr/>
            <p:nvPr/>
          </p:nvSpPr>
          <p:spPr>
            <a:xfrm>
              <a:off x="2728155" y="1883989"/>
              <a:ext cx="149" cy="163"/>
            </a:xfrm>
            <a:custGeom>
              <a:avLst/>
              <a:gdLst/>
              <a:ahLst/>
              <a:cxnLst/>
              <a:rect l="l" t="t" r="r" b="b"/>
              <a:pathLst>
                <a:path w="11" h="12" extrusionOk="0">
                  <a:moveTo>
                    <a:pt x="0" y="11"/>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196" name="Google Shape;4196;p104"/>
            <p:cNvSpPr/>
            <p:nvPr/>
          </p:nvSpPr>
          <p:spPr>
            <a:xfrm>
              <a:off x="2728820" y="1883568"/>
              <a:ext cx="54" cy="54"/>
            </a:xfrm>
            <a:custGeom>
              <a:avLst/>
              <a:gdLst/>
              <a:ahLst/>
              <a:cxnLst/>
              <a:rect l="l" t="t" r="r" b="b"/>
              <a:pathLst>
                <a:path w="4" h="4" extrusionOk="0">
                  <a:moveTo>
                    <a:pt x="0" y="4"/>
                  </a:moveTo>
                  <a:lnTo>
                    <a:pt x="4"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197" name="Google Shape;4197;p104"/>
            <p:cNvSpPr/>
            <p:nvPr/>
          </p:nvSpPr>
          <p:spPr>
            <a:xfrm>
              <a:off x="2728440" y="1883799"/>
              <a:ext cx="149" cy="109"/>
            </a:xfrm>
            <a:custGeom>
              <a:avLst/>
              <a:gdLst/>
              <a:ahLst/>
              <a:cxnLst/>
              <a:rect l="l" t="t" r="r" b="b"/>
              <a:pathLst>
                <a:path w="11" h="8" extrusionOk="0">
                  <a:moveTo>
                    <a:pt x="0" y="8"/>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198" name="Google Shape;4198;p104"/>
            <p:cNvSpPr/>
            <p:nvPr/>
          </p:nvSpPr>
          <p:spPr>
            <a:xfrm>
              <a:off x="2727341" y="1884518"/>
              <a:ext cx="299" cy="244"/>
            </a:xfrm>
            <a:custGeom>
              <a:avLst/>
              <a:gdLst/>
              <a:ahLst/>
              <a:cxnLst/>
              <a:rect l="l" t="t" r="r" b="b"/>
              <a:pathLst>
                <a:path w="22" h="18" extrusionOk="0">
                  <a:moveTo>
                    <a:pt x="1" y="18"/>
                  </a:moveTo>
                  <a:lnTo>
                    <a:pt x="22"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199" name="Google Shape;4199;p104"/>
            <p:cNvSpPr/>
            <p:nvPr/>
          </p:nvSpPr>
          <p:spPr>
            <a:xfrm>
              <a:off x="2727775" y="1884233"/>
              <a:ext cx="204" cy="204"/>
            </a:xfrm>
            <a:custGeom>
              <a:avLst/>
              <a:gdLst/>
              <a:ahLst/>
              <a:cxnLst/>
              <a:rect l="l" t="t" r="r" b="b"/>
              <a:pathLst>
                <a:path w="15" h="15" extrusionOk="0">
                  <a:moveTo>
                    <a:pt x="0" y="14"/>
                  </a:moveTo>
                  <a:lnTo>
                    <a:pt x="14"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200" name="Google Shape;4200;p104"/>
            <p:cNvSpPr/>
            <p:nvPr/>
          </p:nvSpPr>
          <p:spPr>
            <a:xfrm>
              <a:off x="2726825" y="1884844"/>
              <a:ext cx="394" cy="394"/>
            </a:xfrm>
            <a:custGeom>
              <a:avLst/>
              <a:gdLst/>
              <a:ahLst/>
              <a:cxnLst/>
              <a:rect l="l" t="t" r="r" b="b"/>
              <a:pathLst>
                <a:path w="29" h="29" extrusionOk="0">
                  <a:moveTo>
                    <a:pt x="0" y="29"/>
                  </a:moveTo>
                  <a:lnTo>
                    <a:pt x="0" y="29"/>
                  </a:lnTo>
                  <a:lnTo>
                    <a:pt x="28"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201" name="Google Shape;4201;p104"/>
            <p:cNvSpPr/>
            <p:nvPr/>
          </p:nvSpPr>
          <p:spPr>
            <a:xfrm>
              <a:off x="2729296" y="1878531"/>
              <a:ext cx="1914" cy="4331"/>
            </a:xfrm>
            <a:custGeom>
              <a:avLst/>
              <a:gdLst/>
              <a:ahLst/>
              <a:cxnLst/>
              <a:rect l="l" t="t" r="r" b="b"/>
              <a:pathLst>
                <a:path w="141" h="319" extrusionOk="0">
                  <a:moveTo>
                    <a:pt x="140" y="0"/>
                  </a:moveTo>
                  <a:cubicBezTo>
                    <a:pt x="116" y="30"/>
                    <a:pt x="92" y="74"/>
                    <a:pt x="72" y="121"/>
                  </a:cubicBezTo>
                  <a:lnTo>
                    <a:pt x="72" y="121"/>
                  </a:lnTo>
                  <a:cubicBezTo>
                    <a:pt x="87" y="88"/>
                    <a:pt x="104" y="56"/>
                    <a:pt x="123" y="25"/>
                  </a:cubicBezTo>
                  <a:lnTo>
                    <a:pt x="140" y="0"/>
                  </a:lnTo>
                  <a:close/>
                  <a:moveTo>
                    <a:pt x="72" y="121"/>
                  </a:moveTo>
                  <a:lnTo>
                    <a:pt x="72" y="121"/>
                  </a:lnTo>
                  <a:cubicBezTo>
                    <a:pt x="42" y="185"/>
                    <a:pt x="19" y="252"/>
                    <a:pt x="0" y="319"/>
                  </a:cubicBezTo>
                  <a:cubicBezTo>
                    <a:pt x="13" y="274"/>
                    <a:pt x="39" y="194"/>
                    <a:pt x="72" y="12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202" name="Google Shape;4202;p104"/>
            <p:cNvSpPr/>
            <p:nvPr/>
          </p:nvSpPr>
          <p:spPr>
            <a:xfrm>
              <a:off x="2733668" y="1874675"/>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203" name="Google Shape;4203;p104"/>
            <p:cNvSpPr/>
            <p:nvPr/>
          </p:nvSpPr>
          <p:spPr>
            <a:xfrm>
              <a:off x="2760334" y="1831037"/>
              <a:ext cx="109" cy="68"/>
            </a:xfrm>
            <a:custGeom>
              <a:avLst/>
              <a:gdLst/>
              <a:ahLst/>
              <a:cxnLst/>
              <a:rect l="l" t="t" r="r" b="b"/>
              <a:pathLst>
                <a:path w="8" h="5" extrusionOk="0">
                  <a:moveTo>
                    <a:pt x="7"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204" name="Google Shape;4204;p104"/>
            <p:cNvSpPr/>
            <p:nvPr/>
          </p:nvSpPr>
          <p:spPr>
            <a:xfrm>
              <a:off x="2760565" y="1830806"/>
              <a:ext cx="109" cy="109"/>
            </a:xfrm>
            <a:custGeom>
              <a:avLst/>
              <a:gdLst/>
              <a:ahLst/>
              <a:cxnLst/>
              <a:rect l="l" t="t" r="r" b="b"/>
              <a:pathLst>
                <a:path w="8" h="8" extrusionOk="0">
                  <a:moveTo>
                    <a:pt x="8"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205" name="Google Shape;4205;p104"/>
            <p:cNvSpPr/>
            <p:nvPr/>
          </p:nvSpPr>
          <p:spPr>
            <a:xfrm>
              <a:off x="2760945" y="1830236"/>
              <a:ext cx="109" cy="109"/>
            </a:xfrm>
            <a:custGeom>
              <a:avLst/>
              <a:gdLst/>
              <a:ahLst/>
              <a:cxnLst/>
              <a:rect l="l" t="t" r="r" b="b"/>
              <a:pathLst>
                <a:path w="8" h="8" extrusionOk="0">
                  <a:moveTo>
                    <a:pt x="8"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206" name="Google Shape;4206;p104"/>
            <p:cNvSpPr/>
            <p:nvPr/>
          </p:nvSpPr>
          <p:spPr>
            <a:xfrm>
              <a:off x="2760089" y="1831227"/>
              <a:ext cx="109" cy="109"/>
            </a:xfrm>
            <a:custGeom>
              <a:avLst/>
              <a:gdLst/>
              <a:ahLst/>
              <a:cxnLst/>
              <a:rect l="l" t="t" r="r" b="b"/>
              <a:pathLst>
                <a:path w="8" h="8" extrusionOk="0">
                  <a:moveTo>
                    <a:pt x="8" y="1"/>
                  </a:moveTo>
                  <a:lnTo>
                    <a:pt x="1" y="8"/>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207" name="Google Shape;4207;p104"/>
            <p:cNvSpPr/>
            <p:nvPr/>
          </p:nvSpPr>
          <p:spPr>
            <a:xfrm>
              <a:off x="2760755" y="1830521"/>
              <a:ext cx="109" cy="109"/>
            </a:xfrm>
            <a:custGeom>
              <a:avLst/>
              <a:gdLst/>
              <a:ahLst/>
              <a:cxnLst/>
              <a:rect l="l" t="t" r="r" b="b"/>
              <a:pathLst>
                <a:path w="8" h="8" extrusionOk="0">
                  <a:moveTo>
                    <a:pt x="8"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208" name="Google Shape;4208;p104"/>
            <p:cNvSpPr/>
            <p:nvPr/>
          </p:nvSpPr>
          <p:spPr>
            <a:xfrm>
              <a:off x="2761135" y="1829951"/>
              <a:ext cx="68" cy="109"/>
            </a:xfrm>
            <a:custGeom>
              <a:avLst/>
              <a:gdLst/>
              <a:ahLst/>
              <a:cxnLst/>
              <a:rect l="l" t="t" r="r" b="b"/>
              <a:pathLst>
                <a:path w="5" h="8" extrusionOk="0">
                  <a:moveTo>
                    <a:pt x="4"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209" name="Google Shape;4209;p104"/>
            <p:cNvSpPr/>
            <p:nvPr/>
          </p:nvSpPr>
          <p:spPr>
            <a:xfrm>
              <a:off x="2755297" y="1836278"/>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210" name="Google Shape;4210;p104"/>
            <p:cNvSpPr/>
            <p:nvPr/>
          </p:nvSpPr>
          <p:spPr>
            <a:xfrm>
              <a:off x="2734374" y="1864885"/>
              <a:ext cx="1059" cy="5010"/>
            </a:xfrm>
            <a:custGeom>
              <a:avLst/>
              <a:gdLst/>
              <a:ahLst/>
              <a:cxnLst/>
              <a:rect l="l" t="t" r="r" b="b"/>
              <a:pathLst>
                <a:path w="78" h="369" extrusionOk="0">
                  <a:moveTo>
                    <a:pt x="78" y="1"/>
                  </a:moveTo>
                  <a:cubicBezTo>
                    <a:pt x="67" y="134"/>
                    <a:pt x="57" y="284"/>
                    <a:pt x="1" y="368"/>
                  </a:cubicBezTo>
                  <a:cubicBezTo>
                    <a:pt x="57" y="284"/>
                    <a:pt x="67" y="134"/>
                    <a:pt x="78" y="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211" name="Google Shape;4211;p104"/>
            <p:cNvSpPr/>
            <p:nvPr/>
          </p:nvSpPr>
          <p:spPr>
            <a:xfrm>
              <a:off x="2731903" y="1878151"/>
              <a:ext cx="109" cy="14"/>
            </a:xfrm>
            <a:custGeom>
              <a:avLst/>
              <a:gdLst/>
              <a:ahLst/>
              <a:cxnLst/>
              <a:rect l="l" t="t" r="r" b="b"/>
              <a:pathLst>
                <a:path w="8" h="1" extrusionOk="0">
                  <a:moveTo>
                    <a:pt x="8"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212" name="Google Shape;4212;p104"/>
            <p:cNvSpPr/>
            <p:nvPr/>
          </p:nvSpPr>
          <p:spPr>
            <a:xfrm>
              <a:off x="2761135" y="1836658"/>
              <a:ext cx="204" cy="720"/>
            </a:xfrm>
            <a:custGeom>
              <a:avLst/>
              <a:gdLst/>
              <a:ahLst/>
              <a:cxnLst/>
              <a:rect l="l" t="t" r="r" b="b"/>
              <a:pathLst>
                <a:path w="15" h="53" extrusionOk="0">
                  <a:moveTo>
                    <a:pt x="15" y="0"/>
                  </a:moveTo>
                  <a:cubicBezTo>
                    <a:pt x="15" y="18"/>
                    <a:pt x="11" y="39"/>
                    <a:pt x="1" y="53"/>
                  </a:cubicBezTo>
                  <a:cubicBezTo>
                    <a:pt x="11" y="39"/>
                    <a:pt x="15" y="18"/>
                    <a:pt x="15"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213" name="Google Shape;4213;p104"/>
            <p:cNvSpPr/>
            <p:nvPr/>
          </p:nvSpPr>
          <p:spPr>
            <a:xfrm>
              <a:off x="2755527" y="1836128"/>
              <a:ext cx="204" cy="68"/>
            </a:xfrm>
            <a:custGeom>
              <a:avLst/>
              <a:gdLst/>
              <a:ahLst/>
              <a:cxnLst/>
              <a:rect l="l" t="t" r="r" b="b"/>
              <a:pathLst>
                <a:path w="15" h="5" extrusionOk="0">
                  <a:moveTo>
                    <a:pt x="15" y="1"/>
                  </a:moveTo>
                  <a:lnTo>
                    <a:pt x="1" y="4"/>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214" name="Google Shape;4214;p104"/>
            <p:cNvSpPr/>
            <p:nvPr/>
          </p:nvSpPr>
          <p:spPr>
            <a:xfrm>
              <a:off x="2761990" y="1827805"/>
              <a:ext cx="14" cy="109"/>
            </a:xfrm>
            <a:custGeom>
              <a:avLst/>
              <a:gdLst/>
              <a:ahLst/>
              <a:cxnLst/>
              <a:rect l="l" t="t" r="r" b="b"/>
              <a:pathLst>
                <a:path w="1" h="8" extrusionOk="0">
                  <a:moveTo>
                    <a:pt x="1" y="1"/>
                  </a:moveTo>
                  <a:lnTo>
                    <a:pt x="1" y="8"/>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215" name="Google Shape;4215;p104"/>
            <p:cNvSpPr/>
            <p:nvPr/>
          </p:nvSpPr>
          <p:spPr>
            <a:xfrm>
              <a:off x="2762045" y="1827615"/>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216" name="Google Shape;4216;p104"/>
            <p:cNvSpPr/>
            <p:nvPr/>
          </p:nvSpPr>
          <p:spPr>
            <a:xfrm>
              <a:off x="2732717" y="1877716"/>
              <a:ext cx="14" cy="68"/>
            </a:xfrm>
            <a:custGeom>
              <a:avLst/>
              <a:gdLst/>
              <a:ahLst/>
              <a:cxnLst/>
              <a:rect l="l" t="t" r="r" b="b"/>
              <a:pathLst>
                <a:path w="1" h="5" extrusionOk="0">
                  <a:moveTo>
                    <a:pt x="0"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217" name="Google Shape;4217;p104"/>
            <p:cNvSpPr/>
            <p:nvPr/>
          </p:nvSpPr>
          <p:spPr>
            <a:xfrm>
              <a:off x="2761895" y="1828050"/>
              <a:ext cx="14" cy="109"/>
            </a:xfrm>
            <a:custGeom>
              <a:avLst/>
              <a:gdLst/>
              <a:ahLst/>
              <a:cxnLst/>
              <a:rect l="l" t="t" r="r" b="b"/>
              <a:pathLst>
                <a:path w="1" h="8" extrusionOk="0">
                  <a:moveTo>
                    <a:pt x="1"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218" name="Google Shape;4218;p104"/>
            <p:cNvSpPr/>
            <p:nvPr/>
          </p:nvSpPr>
          <p:spPr>
            <a:xfrm>
              <a:off x="2761325" y="1829665"/>
              <a:ext cx="14" cy="14"/>
            </a:xfrm>
            <a:custGeom>
              <a:avLst/>
              <a:gdLst/>
              <a:ahLst/>
              <a:cxnLst/>
              <a:rect l="l" t="t" r="r" b="b"/>
              <a:pathLst>
                <a:path w="1" h="1" extrusionOk="0">
                  <a:moveTo>
                    <a:pt x="1"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219" name="Google Shape;4219;p104"/>
            <p:cNvSpPr/>
            <p:nvPr/>
          </p:nvSpPr>
          <p:spPr>
            <a:xfrm>
              <a:off x="2732188" y="1878056"/>
              <a:ext cx="68" cy="14"/>
            </a:xfrm>
            <a:custGeom>
              <a:avLst/>
              <a:gdLst/>
              <a:ahLst/>
              <a:cxnLst/>
              <a:rect l="l" t="t" r="r" b="b"/>
              <a:pathLst>
                <a:path w="5" h="1" extrusionOk="0">
                  <a:moveTo>
                    <a:pt x="4"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220" name="Google Shape;4220;p104"/>
            <p:cNvSpPr/>
            <p:nvPr/>
          </p:nvSpPr>
          <p:spPr>
            <a:xfrm>
              <a:off x="2761855" y="1828335"/>
              <a:ext cx="14" cy="109"/>
            </a:xfrm>
            <a:custGeom>
              <a:avLst/>
              <a:gdLst/>
              <a:ahLst/>
              <a:cxnLst/>
              <a:rect l="l" t="t" r="r" b="b"/>
              <a:pathLst>
                <a:path w="1" h="8" extrusionOk="0">
                  <a:moveTo>
                    <a:pt x="0"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221" name="Google Shape;4221;p104"/>
            <p:cNvSpPr/>
            <p:nvPr/>
          </p:nvSpPr>
          <p:spPr>
            <a:xfrm>
              <a:off x="2761474" y="1829231"/>
              <a:ext cx="54" cy="109"/>
            </a:xfrm>
            <a:custGeom>
              <a:avLst/>
              <a:gdLst/>
              <a:ahLst/>
              <a:cxnLst/>
              <a:rect l="l" t="t" r="r" b="b"/>
              <a:pathLst>
                <a:path w="4" h="8" extrusionOk="0">
                  <a:moveTo>
                    <a:pt x="4" y="1"/>
                  </a:moveTo>
                  <a:lnTo>
                    <a:pt x="0" y="8"/>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222" name="Google Shape;4222;p104"/>
            <p:cNvSpPr/>
            <p:nvPr/>
          </p:nvSpPr>
          <p:spPr>
            <a:xfrm>
              <a:off x="2761610" y="1828905"/>
              <a:ext cx="68" cy="109"/>
            </a:xfrm>
            <a:custGeom>
              <a:avLst/>
              <a:gdLst/>
              <a:ahLst/>
              <a:cxnLst/>
              <a:rect l="l" t="t" r="r" b="b"/>
              <a:pathLst>
                <a:path w="5" h="8" extrusionOk="0">
                  <a:moveTo>
                    <a:pt x="4"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223" name="Google Shape;4223;p104"/>
            <p:cNvSpPr/>
            <p:nvPr/>
          </p:nvSpPr>
          <p:spPr>
            <a:xfrm>
              <a:off x="2761705" y="1828620"/>
              <a:ext cx="68" cy="109"/>
            </a:xfrm>
            <a:custGeom>
              <a:avLst/>
              <a:gdLst/>
              <a:ahLst/>
              <a:cxnLst/>
              <a:rect l="l" t="t" r="r" b="b"/>
              <a:pathLst>
                <a:path w="5" h="8" extrusionOk="0">
                  <a:moveTo>
                    <a:pt x="4"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224" name="Google Shape;4224;p104"/>
            <p:cNvSpPr/>
            <p:nvPr/>
          </p:nvSpPr>
          <p:spPr>
            <a:xfrm>
              <a:off x="2732473" y="1877906"/>
              <a:ext cx="68" cy="14"/>
            </a:xfrm>
            <a:custGeom>
              <a:avLst/>
              <a:gdLst/>
              <a:ahLst/>
              <a:cxnLst/>
              <a:rect l="l" t="t" r="r" b="b"/>
              <a:pathLst>
                <a:path w="5" h="1" extrusionOk="0">
                  <a:moveTo>
                    <a:pt x="4"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225" name="Google Shape;4225;p104"/>
            <p:cNvSpPr/>
            <p:nvPr/>
          </p:nvSpPr>
          <p:spPr>
            <a:xfrm>
              <a:off x="2731197" y="1878151"/>
              <a:ext cx="434" cy="394"/>
            </a:xfrm>
            <a:custGeom>
              <a:avLst/>
              <a:gdLst/>
              <a:ahLst/>
              <a:cxnLst/>
              <a:rect l="l" t="t" r="r" b="b"/>
              <a:pathLst>
                <a:path w="32" h="29" extrusionOk="0">
                  <a:moveTo>
                    <a:pt x="32" y="0"/>
                  </a:moveTo>
                  <a:cubicBezTo>
                    <a:pt x="25" y="4"/>
                    <a:pt x="21" y="4"/>
                    <a:pt x="21" y="7"/>
                  </a:cubicBezTo>
                  <a:lnTo>
                    <a:pt x="0" y="28"/>
                  </a:lnTo>
                  <a:cubicBezTo>
                    <a:pt x="11" y="18"/>
                    <a:pt x="18" y="11"/>
                    <a:pt x="32"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226" name="Google Shape;4226;p104"/>
            <p:cNvSpPr/>
            <p:nvPr/>
          </p:nvSpPr>
          <p:spPr>
            <a:xfrm>
              <a:off x="2755867" y="1836088"/>
              <a:ext cx="204" cy="14"/>
            </a:xfrm>
            <a:custGeom>
              <a:avLst/>
              <a:gdLst/>
              <a:ahLst/>
              <a:cxnLst/>
              <a:rect l="l" t="t" r="r" b="b"/>
              <a:pathLst>
                <a:path w="15" h="1" extrusionOk="0">
                  <a:moveTo>
                    <a:pt x="0" y="0"/>
                  </a:moveTo>
                  <a:cubicBezTo>
                    <a:pt x="4" y="0"/>
                    <a:pt x="7" y="0"/>
                    <a:pt x="14" y="0"/>
                  </a:cubicBezTo>
                  <a:lnTo>
                    <a:pt x="14" y="0"/>
                  </a:lnTo>
                  <a:cubicBezTo>
                    <a:pt x="7" y="0"/>
                    <a:pt x="4" y="0"/>
                    <a:pt x="0"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227" name="Google Shape;4227;p104"/>
            <p:cNvSpPr/>
            <p:nvPr/>
          </p:nvSpPr>
          <p:spPr>
            <a:xfrm>
              <a:off x="2730911" y="1878246"/>
              <a:ext cx="584" cy="625"/>
            </a:xfrm>
            <a:custGeom>
              <a:avLst/>
              <a:gdLst/>
              <a:ahLst/>
              <a:cxnLst/>
              <a:rect l="l" t="t" r="r" b="b"/>
              <a:pathLst>
                <a:path w="43" h="46" extrusionOk="0">
                  <a:moveTo>
                    <a:pt x="42" y="0"/>
                  </a:moveTo>
                  <a:lnTo>
                    <a:pt x="42" y="0"/>
                  </a:lnTo>
                  <a:cubicBezTo>
                    <a:pt x="25" y="14"/>
                    <a:pt x="11" y="28"/>
                    <a:pt x="0" y="46"/>
                  </a:cubicBezTo>
                  <a:lnTo>
                    <a:pt x="21" y="25"/>
                  </a:lnTo>
                  <a:lnTo>
                    <a:pt x="21" y="21"/>
                  </a:lnTo>
                  <a:lnTo>
                    <a:pt x="42"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228" name="Google Shape;4228;p104"/>
            <p:cNvSpPr/>
            <p:nvPr/>
          </p:nvSpPr>
          <p:spPr>
            <a:xfrm>
              <a:off x="2705196" y="1828905"/>
              <a:ext cx="20163" cy="10197"/>
            </a:xfrm>
            <a:custGeom>
              <a:avLst/>
              <a:gdLst/>
              <a:ahLst/>
              <a:cxnLst/>
              <a:rect l="l" t="t" r="r" b="b"/>
              <a:pathLst>
                <a:path w="1485" h="751" extrusionOk="0">
                  <a:moveTo>
                    <a:pt x="564" y="0"/>
                  </a:moveTo>
                  <a:cubicBezTo>
                    <a:pt x="530" y="0"/>
                    <a:pt x="503" y="12"/>
                    <a:pt x="477" y="32"/>
                  </a:cubicBezTo>
                  <a:cubicBezTo>
                    <a:pt x="438" y="60"/>
                    <a:pt x="400" y="81"/>
                    <a:pt x="358" y="98"/>
                  </a:cubicBezTo>
                  <a:cubicBezTo>
                    <a:pt x="242" y="137"/>
                    <a:pt x="151" y="228"/>
                    <a:pt x="109" y="343"/>
                  </a:cubicBezTo>
                  <a:cubicBezTo>
                    <a:pt x="102" y="364"/>
                    <a:pt x="91" y="385"/>
                    <a:pt x="81" y="406"/>
                  </a:cubicBezTo>
                  <a:lnTo>
                    <a:pt x="74" y="424"/>
                  </a:lnTo>
                  <a:cubicBezTo>
                    <a:pt x="67" y="438"/>
                    <a:pt x="60" y="452"/>
                    <a:pt x="53" y="466"/>
                  </a:cubicBezTo>
                  <a:lnTo>
                    <a:pt x="42" y="487"/>
                  </a:lnTo>
                  <a:cubicBezTo>
                    <a:pt x="35" y="498"/>
                    <a:pt x="28" y="512"/>
                    <a:pt x="21" y="522"/>
                  </a:cubicBezTo>
                  <a:lnTo>
                    <a:pt x="7" y="543"/>
                  </a:lnTo>
                  <a:lnTo>
                    <a:pt x="0" y="554"/>
                  </a:lnTo>
                  <a:cubicBezTo>
                    <a:pt x="14" y="575"/>
                    <a:pt x="32" y="592"/>
                    <a:pt x="56" y="606"/>
                  </a:cubicBezTo>
                  <a:lnTo>
                    <a:pt x="63" y="606"/>
                  </a:lnTo>
                  <a:cubicBezTo>
                    <a:pt x="68" y="606"/>
                    <a:pt x="73" y="606"/>
                    <a:pt x="78" y="606"/>
                  </a:cubicBezTo>
                  <a:cubicBezTo>
                    <a:pt x="128" y="606"/>
                    <a:pt x="176" y="623"/>
                    <a:pt x="221" y="652"/>
                  </a:cubicBezTo>
                  <a:cubicBezTo>
                    <a:pt x="267" y="676"/>
                    <a:pt x="313" y="700"/>
                    <a:pt x="367" y="700"/>
                  </a:cubicBezTo>
                  <a:cubicBezTo>
                    <a:pt x="383" y="700"/>
                    <a:pt x="400" y="698"/>
                    <a:pt x="417" y="694"/>
                  </a:cubicBezTo>
                  <a:cubicBezTo>
                    <a:pt x="431" y="690"/>
                    <a:pt x="445" y="687"/>
                    <a:pt x="456" y="687"/>
                  </a:cubicBezTo>
                  <a:lnTo>
                    <a:pt x="505" y="687"/>
                  </a:lnTo>
                  <a:cubicBezTo>
                    <a:pt x="515" y="687"/>
                    <a:pt x="529" y="687"/>
                    <a:pt x="540" y="690"/>
                  </a:cubicBezTo>
                  <a:lnTo>
                    <a:pt x="547" y="690"/>
                  </a:lnTo>
                  <a:cubicBezTo>
                    <a:pt x="561" y="690"/>
                    <a:pt x="571" y="694"/>
                    <a:pt x="585" y="697"/>
                  </a:cubicBezTo>
                  <a:lnTo>
                    <a:pt x="589" y="697"/>
                  </a:lnTo>
                  <a:lnTo>
                    <a:pt x="624" y="704"/>
                  </a:lnTo>
                  <a:lnTo>
                    <a:pt x="631" y="708"/>
                  </a:lnTo>
                  <a:lnTo>
                    <a:pt x="669" y="718"/>
                  </a:lnTo>
                  <a:cubicBezTo>
                    <a:pt x="722" y="740"/>
                    <a:pt x="778" y="751"/>
                    <a:pt x="835" y="751"/>
                  </a:cubicBezTo>
                  <a:cubicBezTo>
                    <a:pt x="869" y="751"/>
                    <a:pt x="902" y="747"/>
                    <a:pt x="935" y="739"/>
                  </a:cubicBezTo>
                  <a:cubicBezTo>
                    <a:pt x="992" y="725"/>
                    <a:pt x="1051" y="718"/>
                    <a:pt x="1109" y="718"/>
                  </a:cubicBezTo>
                  <a:cubicBezTo>
                    <a:pt x="1156" y="718"/>
                    <a:pt x="1202" y="723"/>
                    <a:pt x="1247" y="732"/>
                  </a:cubicBezTo>
                  <a:cubicBezTo>
                    <a:pt x="1293" y="737"/>
                    <a:pt x="1327" y="740"/>
                    <a:pt x="1354" y="740"/>
                  </a:cubicBezTo>
                  <a:cubicBezTo>
                    <a:pt x="1399" y="740"/>
                    <a:pt x="1420" y="731"/>
                    <a:pt x="1436" y="704"/>
                  </a:cubicBezTo>
                  <a:cubicBezTo>
                    <a:pt x="1485" y="617"/>
                    <a:pt x="1422" y="403"/>
                    <a:pt x="1366" y="291"/>
                  </a:cubicBezTo>
                  <a:lnTo>
                    <a:pt x="1359" y="270"/>
                  </a:lnTo>
                  <a:lnTo>
                    <a:pt x="1341" y="231"/>
                  </a:lnTo>
                  <a:lnTo>
                    <a:pt x="1369" y="217"/>
                  </a:lnTo>
                  <a:lnTo>
                    <a:pt x="1394" y="203"/>
                  </a:lnTo>
                  <a:lnTo>
                    <a:pt x="1390" y="203"/>
                  </a:lnTo>
                  <a:cubicBezTo>
                    <a:pt x="1380" y="193"/>
                    <a:pt x="1366" y="182"/>
                    <a:pt x="1352" y="175"/>
                  </a:cubicBezTo>
                  <a:lnTo>
                    <a:pt x="1348" y="172"/>
                  </a:lnTo>
                  <a:cubicBezTo>
                    <a:pt x="1334" y="165"/>
                    <a:pt x="1324" y="161"/>
                    <a:pt x="1313" y="154"/>
                  </a:cubicBezTo>
                  <a:lnTo>
                    <a:pt x="1310" y="154"/>
                  </a:lnTo>
                  <a:cubicBezTo>
                    <a:pt x="1299" y="151"/>
                    <a:pt x="1289" y="144"/>
                    <a:pt x="1275" y="140"/>
                  </a:cubicBezTo>
                  <a:lnTo>
                    <a:pt x="1271" y="140"/>
                  </a:lnTo>
                  <a:cubicBezTo>
                    <a:pt x="1261" y="140"/>
                    <a:pt x="1250" y="137"/>
                    <a:pt x="1240" y="133"/>
                  </a:cubicBezTo>
                  <a:lnTo>
                    <a:pt x="1173" y="133"/>
                  </a:lnTo>
                  <a:lnTo>
                    <a:pt x="1145" y="137"/>
                  </a:lnTo>
                  <a:lnTo>
                    <a:pt x="1142" y="137"/>
                  </a:lnTo>
                  <a:lnTo>
                    <a:pt x="1114" y="144"/>
                  </a:lnTo>
                  <a:cubicBezTo>
                    <a:pt x="1086" y="151"/>
                    <a:pt x="1058" y="154"/>
                    <a:pt x="1030" y="154"/>
                  </a:cubicBezTo>
                  <a:cubicBezTo>
                    <a:pt x="970" y="154"/>
                    <a:pt x="910" y="139"/>
                    <a:pt x="855" y="112"/>
                  </a:cubicBezTo>
                  <a:cubicBezTo>
                    <a:pt x="708" y="34"/>
                    <a:pt x="624" y="0"/>
                    <a:pt x="564"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229" name="Google Shape;4229;p104"/>
            <p:cNvSpPr/>
            <p:nvPr/>
          </p:nvSpPr>
          <p:spPr>
            <a:xfrm>
              <a:off x="2713179" y="1838314"/>
              <a:ext cx="489" cy="163"/>
            </a:xfrm>
            <a:custGeom>
              <a:avLst/>
              <a:gdLst/>
              <a:ahLst/>
              <a:cxnLst/>
              <a:rect l="l" t="t" r="r" b="b"/>
              <a:pathLst>
                <a:path w="36" h="12" extrusionOk="0">
                  <a:moveTo>
                    <a:pt x="36" y="1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230" name="Google Shape;4230;p104"/>
            <p:cNvSpPr/>
            <p:nvPr/>
          </p:nvSpPr>
          <p:spPr>
            <a:xfrm>
              <a:off x="2712039" y="1838178"/>
              <a:ext cx="489" cy="54"/>
            </a:xfrm>
            <a:custGeom>
              <a:avLst/>
              <a:gdLst/>
              <a:ahLst/>
              <a:cxnLst/>
              <a:rect l="l" t="t" r="r" b="b"/>
              <a:pathLst>
                <a:path w="36" h="4" extrusionOk="0">
                  <a:moveTo>
                    <a:pt x="1" y="0"/>
                  </a:moveTo>
                  <a:cubicBezTo>
                    <a:pt x="11" y="0"/>
                    <a:pt x="25" y="4"/>
                    <a:pt x="36" y="4"/>
                  </a:cubicBezTo>
                  <a:cubicBezTo>
                    <a:pt x="25" y="0"/>
                    <a:pt x="11" y="0"/>
                    <a:pt x="1"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231" name="Google Shape;4231;p104"/>
            <p:cNvSpPr/>
            <p:nvPr/>
          </p:nvSpPr>
          <p:spPr>
            <a:xfrm>
              <a:off x="2713804" y="1838504"/>
              <a:ext cx="489" cy="163"/>
            </a:xfrm>
            <a:custGeom>
              <a:avLst/>
              <a:gdLst/>
              <a:ahLst/>
              <a:cxnLst/>
              <a:rect l="l" t="t" r="r" b="b"/>
              <a:pathLst>
                <a:path w="36" h="12" extrusionOk="0">
                  <a:moveTo>
                    <a:pt x="35" y="1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232" name="Google Shape;4232;p104"/>
            <p:cNvSpPr/>
            <p:nvPr/>
          </p:nvSpPr>
          <p:spPr>
            <a:xfrm>
              <a:off x="2711523" y="1838178"/>
              <a:ext cx="394" cy="14"/>
            </a:xfrm>
            <a:custGeom>
              <a:avLst/>
              <a:gdLst/>
              <a:ahLst/>
              <a:cxnLst/>
              <a:rect l="l" t="t" r="r" b="b"/>
              <a:pathLst>
                <a:path w="29" h="1" extrusionOk="0">
                  <a:moveTo>
                    <a:pt x="0" y="0"/>
                  </a:moveTo>
                  <a:lnTo>
                    <a:pt x="28" y="0"/>
                  </a:lnTo>
                  <a:cubicBezTo>
                    <a:pt x="18" y="0"/>
                    <a:pt x="11" y="0"/>
                    <a:pt x="0"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233" name="Google Shape;4233;p104"/>
            <p:cNvSpPr/>
            <p:nvPr/>
          </p:nvSpPr>
          <p:spPr>
            <a:xfrm>
              <a:off x="2723403" y="1831851"/>
              <a:ext cx="394" cy="679"/>
            </a:xfrm>
            <a:custGeom>
              <a:avLst/>
              <a:gdLst/>
              <a:ahLst/>
              <a:cxnLst/>
              <a:rect l="l" t="t" r="r" b="b"/>
              <a:pathLst>
                <a:path w="29" h="50" extrusionOk="0">
                  <a:moveTo>
                    <a:pt x="18" y="49"/>
                  </a:moveTo>
                  <a:lnTo>
                    <a:pt x="0" y="11"/>
                  </a:lnTo>
                  <a:lnTo>
                    <a:pt x="28" y="0"/>
                  </a:lnTo>
                  <a:lnTo>
                    <a:pt x="0" y="1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234" name="Google Shape;4234;p104"/>
            <p:cNvSpPr/>
            <p:nvPr/>
          </p:nvSpPr>
          <p:spPr>
            <a:xfrm>
              <a:off x="2706051" y="1837079"/>
              <a:ext cx="2105" cy="638"/>
            </a:xfrm>
            <a:custGeom>
              <a:avLst/>
              <a:gdLst/>
              <a:ahLst/>
              <a:cxnLst/>
              <a:rect l="l" t="t" r="r" b="b"/>
              <a:pathLst>
                <a:path w="155" h="47" extrusionOk="0">
                  <a:moveTo>
                    <a:pt x="0" y="1"/>
                  </a:moveTo>
                  <a:cubicBezTo>
                    <a:pt x="56" y="1"/>
                    <a:pt x="109" y="15"/>
                    <a:pt x="154" y="46"/>
                  </a:cubicBezTo>
                  <a:cubicBezTo>
                    <a:pt x="109" y="15"/>
                    <a:pt x="56" y="1"/>
                    <a:pt x="0" y="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235" name="Google Shape;4235;p104"/>
            <p:cNvSpPr/>
            <p:nvPr/>
          </p:nvSpPr>
          <p:spPr>
            <a:xfrm>
              <a:off x="2710857" y="1838219"/>
              <a:ext cx="530" cy="109"/>
            </a:xfrm>
            <a:custGeom>
              <a:avLst/>
              <a:gdLst/>
              <a:ahLst/>
              <a:cxnLst/>
              <a:rect l="l" t="t" r="r" b="b"/>
              <a:pathLst>
                <a:path w="39" h="8" extrusionOk="0">
                  <a:moveTo>
                    <a:pt x="39" y="1"/>
                  </a:moveTo>
                  <a:cubicBezTo>
                    <a:pt x="28" y="1"/>
                    <a:pt x="14" y="4"/>
                    <a:pt x="0" y="8"/>
                  </a:cubicBezTo>
                  <a:cubicBezTo>
                    <a:pt x="14" y="4"/>
                    <a:pt x="28" y="1"/>
                    <a:pt x="39" y="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236" name="Google Shape;4236;p104"/>
            <p:cNvSpPr/>
            <p:nvPr/>
          </p:nvSpPr>
          <p:spPr>
            <a:xfrm>
              <a:off x="2712568" y="1838219"/>
              <a:ext cx="584" cy="109"/>
            </a:xfrm>
            <a:custGeom>
              <a:avLst/>
              <a:gdLst/>
              <a:ahLst/>
              <a:cxnLst/>
              <a:rect l="l" t="t" r="r" b="b"/>
              <a:pathLst>
                <a:path w="43" h="8" extrusionOk="0">
                  <a:moveTo>
                    <a:pt x="42" y="8"/>
                  </a:moveTo>
                  <a:cubicBezTo>
                    <a:pt x="28" y="4"/>
                    <a:pt x="14" y="1"/>
                    <a:pt x="0" y="1"/>
                  </a:cubicBezTo>
                  <a:cubicBezTo>
                    <a:pt x="14" y="1"/>
                    <a:pt x="28" y="4"/>
                    <a:pt x="42" y="8"/>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237" name="Google Shape;4237;p104"/>
            <p:cNvSpPr/>
            <p:nvPr/>
          </p:nvSpPr>
          <p:spPr>
            <a:xfrm>
              <a:off x="2798745" y="1868022"/>
              <a:ext cx="52056" cy="110847"/>
            </a:xfrm>
            <a:custGeom>
              <a:avLst/>
              <a:gdLst/>
              <a:ahLst/>
              <a:cxnLst/>
              <a:rect l="l" t="t" r="r" b="b"/>
              <a:pathLst>
                <a:path w="3834" h="8164" extrusionOk="0">
                  <a:moveTo>
                    <a:pt x="1702" y="1"/>
                  </a:moveTo>
                  <a:cubicBezTo>
                    <a:pt x="1653" y="1"/>
                    <a:pt x="1488" y="106"/>
                    <a:pt x="1400" y="214"/>
                  </a:cubicBezTo>
                  <a:cubicBezTo>
                    <a:pt x="1390" y="232"/>
                    <a:pt x="1376" y="246"/>
                    <a:pt x="1369" y="263"/>
                  </a:cubicBezTo>
                  <a:cubicBezTo>
                    <a:pt x="1327" y="337"/>
                    <a:pt x="1278" y="356"/>
                    <a:pt x="1231" y="356"/>
                  </a:cubicBezTo>
                  <a:cubicBezTo>
                    <a:pt x="1200" y="356"/>
                    <a:pt x="1170" y="347"/>
                    <a:pt x="1145" y="340"/>
                  </a:cubicBezTo>
                  <a:cubicBezTo>
                    <a:pt x="1122" y="331"/>
                    <a:pt x="1098" y="327"/>
                    <a:pt x="1073" y="327"/>
                  </a:cubicBezTo>
                  <a:cubicBezTo>
                    <a:pt x="1040" y="327"/>
                    <a:pt x="1007" y="335"/>
                    <a:pt x="977" y="351"/>
                  </a:cubicBezTo>
                  <a:cubicBezTo>
                    <a:pt x="929" y="377"/>
                    <a:pt x="881" y="387"/>
                    <a:pt x="836" y="387"/>
                  </a:cubicBezTo>
                  <a:cubicBezTo>
                    <a:pt x="764" y="387"/>
                    <a:pt x="697" y="362"/>
                    <a:pt x="641" y="340"/>
                  </a:cubicBezTo>
                  <a:cubicBezTo>
                    <a:pt x="587" y="320"/>
                    <a:pt x="560" y="312"/>
                    <a:pt x="546" y="312"/>
                  </a:cubicBezTo>
                  <a:cubicBezTo>
                    <a:pt x="534" y="312"/>
                    <a:pt x="530" y="318"/>
                    <a:pt x="525" y="326"/>
                  </a:cubicBezTo>
                  <a:cubicBezTo>
                    <a:pt x="489" y="393"/>
                    <a:pt x="435" y="413"/>
                    <a:pt x="382" y="413"/>
                  </a:cubicBezTo>
                  <a:cubicBezTo>
                    <a:pt x="353" y="413"/>
                    <a:pt x="324" y="407"/>
                    <a:pt x="298" y="400"/>
                  </a:cubicBezTo>
                  <a:lnTo>
                    <a:pt x="270" y="393"/>
                  </a:lnTo>
                  <a:lnTo>
                    <a:pt x="245" y="386"/>
                  </a:lnTo>
                  <a:cubicBezTo>
                    <a:pt x="199" y="370"/>
                    <a:pt x="169" y="362"/>
                    <a:pt x="147" y="362"/>
                  </a:cubicBezTo>
                  <a:cubicBezTo>
                    <a:pt x="130" y="362"/>
                    <a:pt x="118" y="368"/>
                    <a:pt x="109" y="379"/>
                  </a:cubicBezTo>
                  <a:cubicBezTo>
                    <a:pt x="95" y="396"/>
                    <a:pt x="84" y="410"/>
                    <a:pt x="70" y="424"/>
                  </a:cubicBezTo>
                  <a:lnTo>
                    <a:pt x="53" y="438"/>
                  </a:lnTo>
                  <a:cubicBezTo>
                    <a:pt x="42" y="445"/>
                    <a:pt x="32" y="456"/>
                    <a:pt x="21" y="463"/>
                  </a:cubicBezTo>
                  <a:lnTo>
                    <a:pt x="11" y="470"/>
                  </a:lnTo>
                  <a:lnTo>
                    <a:pt x="0" y="473"/>
                  </a:lnTo>
                  <a:lnTo>
                    <a:pt x="18" y="491"/>
                  </a:lnTo>
                  <a:lnTo>
                    <a:pt x="35" y="512"/>
                  </a:lnTo>
                  <a:lnTo>
                    <a:pt x="49" y="529"/>
                  </a:lnTo>
                  <a:lnTo>
                    <a:pt x="67" y="550"/>
                  </a:lnTo>
                  <a:lnTo>
                    <a:pt x="77" y="564"/>
                  </a:lnTo>
                  <a:lnTo>
                    <a:pt x="95" y="585"/>
                  </a:lnTo>
                  <a:lnTo>
                    <a:pt x="105" y="599"/>
                  </a:lnTo>
                  <a:cubicBezTo>
                    <a:pt x="109" y="606"/>
                    <a:pt x="112" y="613"/>
                    <a:pt x="119" y="620"/>
                  </a:cubicBezTo>
                  <a:lnTo>
                    <a:pt x="126" y="634"/>
                  </a:lnTo>
                  <a:cubicBezTo>
                    <a:pt x="130" y="641"/>
                    <a:pt x="133" y="648"/>
                    <a:pt x="137" y="655"/>
                  </a:cubicBezTo>
                  <a:cubicBezTo>
                    <a:pt x="140" y="662"/>
                    <a:pt x="140" y="666"/>
                    <a:pt x="144" y="673"/>
                  </a:cubicBezTo>
                  <a:cubicBezTo>
                    <a:pt x="147" y="680"/>
                    <a:pt x="147" y="687"/>
                    <a:pt x="151" y="694"/>
                  </a:cubicBezTo>
                  <a:cubicBezTo>
                    <a:pt x="151" y="697"/>
                    <a:pt x="154" y="701"/>
                    <a:pt x="154" y="708"/>
                  </a:cubicBezTo>
                  <a:cubicBezTo>
                    <a:pt x="154" y="718"/>
                    <a:pt x="158" y="729"/>
                    <a:pt x="158" y="739"/>
                  </a:cubicBezTo>
                  <a:cubicBezTo>
                    <a:pt x="158" y="778"/>
                    <a:pt x="210" y="827"/>
                    <a:pt x="263" y="876"/>
                  </a:cubicBezTo>
                  <a:cubicBezTo>
                    <a:pt x="343" y="953"/>
                    <a:pt x="434" y="1037"/>
                    <a:pt x="434" y="1156"/>
                  </a:cubicBezTo>
                  <a:cubicBezTo>
                    <a:pt x="434" y="1201"/>
                    <a:pt x="487" y="1257"/>
                    <a:pt x="567" y="1299"/>
                  </a:cubicBezTo>
                  <a:cubicBezTo>
                    <a:pt x="634" y="1337"/>
                    <a:pt x="703" y="1353"/>
                    <a:pt x="746" y="1353"/>
                  </a:cubicBezTo>
                  <a:cubicBezTo>
                    <a:pt x="764" y="1353"/>
                    <a:pt x="777" y="1350"/>
                    <a:pt x="784" y="1345"/>
                  </a:cubicBezTo>
                  <a:cubicBezTo>
                    <a:pt x="848" y="1301"/>
                    <a:pt x="938" y="1267"/>
                    <a:pt x="1024" y="1267"/>
                  </a:cubicBezTo>
                  <a:cubicBezTo>
                    <a:pt x="1061" y="1267"/>
                    <a:pt x="1098" y="1274"/>
                    <a:pt x="1131" y="1289"/>
                  </a:cubicBezTo>
                  <a:cubicBezTo>
                    <a:pt x="1183" y="1313"/>
                    <a:pt x="1250" y="1366"/>
                    <a:pt x="1267" y="1492"/>
                  </a:cubicBezTo>
                  <a:cubicBezTo>
                    <a:pt x="1278" y="1569"/>
                    <a:pt x="1309" y="1642"/>
                    <a:pt x="1358" y="1702"/>
                  </a:cubicBezTo>
                  <a:cubicBezTo>
                    <a:pt x="1411" y="1762"/>
                    <a:pt x="1442" y="1839"/>
                    <a:pt x="1442" y="1919"/>
                  </a:cubicBezTo>
                  <a:cubicBezTo>
                    <a:pt x="1442" y="2063"/>
                    <a:pt x="1302" y="2087"/>
                    <a:pt x="1201" y="2105"/>
                  </a:cubicBezTo>
                  <a:cubicBezTo>
                    <a:pt x="1099" y="2122"/>
                    <a:pt x="1040" y="2136"/>
                    <a:pt x="1019" y="2185"/>
                  </a:cubicBezTo>
                  <a:cubicBezTo>
                    <a:pt x="1019" y="2189"/>
                    <a:pt x="1019" y="2192"/>
                    <a:pt x="1019" y="2196"/>
                  </a:cubicBezTo>
                  <a:cubicBezTo>
                    <a:pt x="1033" y="2245"/>
                    <a:pt x="1239" y="2364"/>
                    <a:pt x="1313" y="2406"/>
                  </a:cubicBezTo>
                  <a:cubicBezTo>
                    <a:pt x="1488" y="2507"/>
                    <a:pt x="1614" y="2581"/>
                    <a:pt x="1614" y="2679"/>
                  </a:cubicBezTo>
                  <a:cubicBezTo>
                    <a:pt x="1614" y="2738"/>
                    <a:pt x="1677" y="2822"/>
                    <a:pt x="1740" y="2903"/>
                  </a:cubicBezTo>
                  <a:cubicBezTo>
                    <a:pt x="1800" y="2976"/>
                    <a:pt x="1849" y="3057"/>
                    <a:pt x="1887" y="3141"/>
                  </a:cubicBezTo>
                  <a:cubicBezTo>
                    <a:pt x="1915" y="3207"/>
                    <a:pt x="1999" y="3295"/>
                    <a:pt x="2076" y="3379"/>
                  </a:cubicBezTo>
                  <a:cubicBezTo>
                    <a:pt x="2185" y="3491"/>
                    <a:pt x="2297" y="3606"/>
                    <a:pt x="2339" y="3732"/>
                  </a:cubicBezTo>
                  <a:cubicBezTo>
                    <a:pt x="2384" y="3859"/>
                    <a:pt x="2510" y="3936"/>
                    <a:pt x="2622" y="4013"/>
                  </a:cubicBezTo>
                  <a:cubicBezTo>
                    <a:pt x="2678" y="4044"/>
                    <a:pt x="2727" y="4083"/>
                    <a:pt x="2776" y="4125"/>
                  </a:cubicBezTo>
                  <a:cubicBezTo>
                    <a:pt x="2906" y="4254"/>
                    <a:pt x="2930" y="4534"/>
                    <a:pt x="2895" y="4737"/>
                  </a:cubicBezTo>
                  <a:cubicBezTo>
                    <a:pt x="2885" y="4804"/>
                    <a:pt x="2881" y="4874"/>
                    <a:pt x="2881" y="4944"/>
                  </a:cubicBezTo>
                  <a:cubicBezTo>
                    <a:pt x="2881" y="5003"/>
                    <a:pt x="2885" y="5063"/>
                    <a:pt x="2892" y="5122"/>
                  </a:cubicBezTo>
                  <a:lnTo>
                    <a:pt x="2892" y="5129"/>
                  </a:lnTo>
                  <a:cubicBezTo>
                    <a:pt x="2892" y="5140"/>
                    <a:pt x="2895" y="5150"/>
                    <a:pt x="2899" y="5161"/>
                  </a:cubicBezTo>
                  <a:cubicBezTo>
                    <a:pt x="2902" y="5196"/>
                    <a:pt x="2909" y="5227"/>
                    <a:pt x="2920" y="5262"/>
                  </a:cubicBezTo>
                  <a:cubicBezTo>
                    <a:pt x="2934" y="5318"/>
                    <a:pt x="2951" y="5374"/>
                    <a:pt x="2972" y="5430"/>
                  </a:cubicBezTo>
                  <a:lnTo>
                    <a:pt x="2972" y="5434"/>
                  </a:lnTo>
                  <a:cubicBezTo>
                    <a:pt x="2979" y="5448"/>
                    <a:pt x="2986" y="5462"/>
                    <a:pt x="2993" y="5476"/>
                  </a:cubicBezTo>
                  <a:lnTo>
                    <a:pt x="3000" y="5490"/>
                  </a:lnTo>
                  <a:cubicBezTo>
                    <a:pt x="3007" y="5500"/>
                    <a:pt x="3014" y="5514"/>
                    <a:pt x="3021" y="5525"/>
                  </a:cubicBezTo>
                  <a:lnTo>
                    <a:pt x="3028" y="5539"/>
                  </a:lnTo>
                  <a:cubicBezTo>
                    <a:pt x="3039" y="5556"/>
                    <a:pt x="3046" y="5570"/>
                    <a:pt x="3056" y="5588"/>
                  </a:cubicBezTo>
                  <a:cubicBezTo>
                    <a:pt x="3070" y="5602"/>
                    <a:pt x="3077" y="5619"/>
                    <a:pt x="3088" y="5637"/>
                  </a:cubicBezTo>
                  <a:cubicBezTo>
                    <a:pt x="3179" y="5819"/>
                    <a:pt x="3081" y="5956"/>
                    <a:pt x="2962" y="6057"/>
                  </a:cubicBezTo>
                  <a:lnTo>
                    <a:pt x="2948" y="6071"/>
                  </a:lnTo>
                  <a:cubicBezTo>
                    <a:pt x="2930" y="6082"/>
                    <a:pt x="2913" y="6096"/>
                    <a:pt x="2899" y="6110"/>
                  </a:cubicBezTo>
                  <a:cubicBezTo>
                    <a:pt x="2881" y="6120"/>
                    <a:pt x="2853" y="6141"/>
                    <a:pt x="2832" y="6155"/>
                  </a:cubicBezTo>
                  <a:cubicBezTo>
                    <a:pt x="2776" y="6190"/>
                    <a:pt x="2720" y="6236"/>
                    <a:pt x="2675" y="6285"/>
                  </a:cubicBezTo>
                  <a:cubicBezTo>
                    <a:pt x="2643" y="6327"/>
                    <a:pt x="2619" y="6372"/>
                    <a:pt x="2601" y="6418"/>
                  </a:cubicBezTo>
                  <a:cubicBezTo>
                    <a:pt x="2547" y="6545"/>
                    <a:pt x="2487" y="6645"/>
                    <a:pt x="2310" y="6645"/>
                  </a:cubicBezTo>
                  <a:cubicBezTo>
                    <a:pt x="2258" y="6645"/>
                    <a:pt x="2196" y="6636"/>
                    <a:pt x="2122" y="6617"/>
                  </a:cubicBezTo>
                  <a:cubicBezTo>
                    <a:pt x="2090" y="6610"/>
                    <a:pt x="2062" y="6607"/>
                    <a:pt x="2034" y="6603"/>
                  </a:cubicBezTo>
                  <a:lnTo>
                    <a:pt x="2034" y="6603"/>
                  </a:lnTo>
                  <a:cubicBezTo>
                    <a:pt x="2052" y="6656"/>
                    <a:pt x="2076" y="6705"/>
                    <a:pt x="2108" y="6754"/>
                  </a:cubicBezTo>
                  <a:cubicBezTo>
                    <a:pt x="2174" y="6873"/>
                    <a:pt x="2237" y="6985"/>
                    <a:pt x="2195" y="7069"/>
                  </a:cubicBezTo>
                  <a:cubicBezTo>
                    <a:pt x="2167" y="7126"/>
                    <a:pt x="2109" y="7145"/>
                    <a:pt x="2037" y="7145"/>
                  </a:cubicBezTo>
                  <a:cubicBezTo>
                    <a:pt x="1959" y="7145"/>
                    <a:pt x="1863" y="7122"/>
                    <a:pt x="1768" y="7100"/>
                  </a:cubicBezTo>
                  <a:cubicBezTo>
                    <a:pt x="1705" y="7083"/>
                    <a:pt x="1642" y="7072"/>
                    <a:pt x="1575" y="7065"/>
                  </a:cubicBezTo>
                  <a:cubicBezTo>
                    <a:pt x="1575" y="7069"/>
                    <a:pt x="1575" y="7072"/>
                    <a:pt x="1572" y="7076"/>
                  </a:cubicBezTo>
                  <a:lnTo>
                    <a:pt x="1572" y="7079"/>
                  </a:lnTo>
                  <a:lnTo>
                    <a:pt x="1572" y="7090"/>
                  </a:lnTo>
                  <a:lnTo>
                    <a:pt x="1568" y="7093"/>
                  </a:lnTo>
                  <a:lnTo>
                    <a:pt x="1565" y="7100"/>
                  </a:lnTo>
                  <a:lnTo>
                    <a:pt x="1561" y="7107"/>
                  </a:lnTo>
                  <a:lnTo>
                    <a:pt x="1558" y="7114"/>
                  </a:lnTo>
                  <a:lnTo>
                    <a:pt x="1554" y="7121"/>
                  </a:lnTo>
                  <a:lnTo>
                    <a:pt x="1547" y="7128"/>
                  </a:lnTo>
                  <a:lnTo>
                    <a:pt x="1544" y="7135"/>
                  </a:lnTo>
                  <a:lnTo>
                    <a:pt x="1537" y="7146"/>
                  </a:lnTo>
                  <a:lnTo>
                    <a:pt x="1530" y="7153"/>
                  </a:lnTo>
                  <a:lnTo>
                    <a:pt x="1523" y="7160"/>
                  </a:lnTo>
                  <a:lnTo>
                    <a:pt x="1516" y="7170"/>
                  </a:lnTo>
                  <a:lnTo>
                    <a:pt x="1505" y="7177"/>
                  </a:lnTo>
                  <a:lnTo>
                    <a:pt x="1495" y="7184"/>
                  </a:lnTo>
                  <a:lnTo>
                    <a:pt x="1481" y="7198"/>
                  </a:lnTo>
                  <a:lnTo>
                    <a:pt x="1467" y="7209"/>
                  </a:lnTo>
                  <a:lnTo>
                    <a:pt x="1449" y="7223"/>
                  </a:lnTo>
                  <a:lnTo>
                    <a:pt x="1439" y="7230"/>
                  </a:lnTo>
                  <a:lnTo>
                    <a:pt x="1421" y="7240"/>
                  </a:lnTo>
                  <a:lnTo>
                    <a:pt x="1407" y="7251"/>
                  </a:lnTo>
                  <a:lnTo>
                    <a:pt x="1390" y="7261"/>
                  </a:lnTo>
                  <a:lnTo>
                    <a:pt x="1372" y="7272"/>
                  </a:lnTo>
                  <a:lnTo>
                    <a:pt x="1355" y="7282"/>
                  </a:lnTo>
                  <a:lnTo>
                    <a:pt x="1337" y="7293"/>
                  </a:lnTo>
                  <a:lnTo>
                    <a:pt x="1316" y="7307"/>
                  </a:lnTo>
                  <a:lnTo>
                    <a:pt x="1295" y="7317"/>
                  </a:lnTo>
                  <a:lnTo>
                    <a:pt x="1288" y="7321"/>
                  </a:lnTo>
                  <a:cubicBezTo>
                    <a:pt x="1327" y="7352"/>
                    <a:pt x="1365" y="7377"/>
                    <a:pt x="1407" y="7401"/>
                  </a:cubicBezTo>
                  <a:lnTo>
                    <a:pt x="1456" y="7429"/>
                  </a:lnTo>
                  <a:cubicBezTo>
                    <a:pt x="1488" y="7450"/>
                    <a:pt x="1509" y="7478"/>
                    <a:pt x="1516" y="7513"/>
                  </a:cubicBezTo>
                  <a:cubicBezTo>
                    <a:pt x="1530" y="7576"/>
                    <a:pt x="1491" y="7632"/>
                    <a:pt x="1442" y="7695"/>
                  </a:cubicBezTo>
                  <a:cubicBezTo>
                    <a:pt x="1390" y="7769"/>
                    <a:pt x="1330" y="7853"/>
                    <a:pt x="1334" y="7962"/>
                  </a:cubicBezTo>
                  <a:cubicBezTo>
                    <a:pt x="1337" y="8081"/>
                    <a:pt x="1386" y="8147"/>
                    <a:pt x="1435" y="8161"/>
                  </a:cubicBezTo>
                  <a:cubicBezTo>
                    <a:pt x="1440" y="8163"/>
                    <a:pt x="1445" y="8164"/>
                    <a:pt x="1450" y="8164"/>
                  </a:cubicBezTo>
                  <a:cubicBezTo>
                    <a:pt x="1463" y="8164"/>
                    <a:pt x="1478" y="8157"/>
                    <a:pt x="1488" y="8144"/>
                  </a:cubicBezTo>
                  <a:cubicBezTo>
                    <a:pt x="1565" y="8032"/>
                    <a:pt x="1873" y="7786"/>
                    <a:pt x="2013" y="7741"/>
                  </a:cubicBezTo>
                  <a:cubicBezTo>
                    <a:pt x="2024" y="7737"/>
                    <a:pt x="2027" y="7734"/>
                    <a:pt x="2031" y="7681"/>
                  </a:cubicBezTo>
                  <a:cubicBezTo>
                    <a:pt x="2024" y="7636"/>
                    <a:pt x="2038" y="7590"/>
                    <a:pt x="2069" y="7555"/>
                  </a:cubicBezTo>
                  <a:cubicBezTo>
                    <a:pt x="2092" y="7538"/>
                    <a:pt x="2120" y="7526"/>
                    <a:pt x="2149" y="7526"/>
                  </a:cubicBezTo>
                  <a:cubicBezTo>
                    <a:pt x="2155" y="7526"/>
                    <a:pt x="2161" y="7526"/>
                    <a:pt x="2167" y="7527"/>
                  </a:cubicBezTo>
                  <a:cubicBezTo>
                    <a:pt x="2185" y="7527"/>
                    <a:pt x="2192" y="7524"/>
                    <a:pt x="2209" y="7422"/>
                  </a:cubicBezTo>
                  <a:cubicBezTo>
                    <a:pt x="2213" y="7370"/>
                    <a:pt x="2230" y="7317"/>
                    <a:pt x="2251" y="7268"/>
                  </a:cubicBezTo>
                  <a:cubicBezTo>
                    <a:pt x="2299" y="7183"/>
                    <a:pt x="2364" y="7164"/>
                    <a:pt x="2441" y="7164"/>
                  </a:cubicBezTo>
                  <a:cubicBezTo>
                    <a:pt x="2472" y="7164"/>
                    <a:pt x="2504" y="7167"/>
                    <a:pt x="2538" y="7170"/>
                  </a:cubicBezTo>
                  <a:cubicBezTo>
                    <a:pt x="2573" y="7174"/>
                    <a:pt x="2608" y="7177"/>
                    <a:pt x="2654" y="7177"/>
                  </a:cubicBezTo>
                  <a:lnTo>
                    <a:pt x="2661" y="7177"/>
                  </a:lnTo>
                  <a:cubicBezTo>
                    <a:pt x="2822" y="7177"/>
                    <a:pt x="3070" y="7020"/>
                    <a:pt x="3308" y="6866"/>
                  </a:cubicBezTo>
                  <a:lnTo>
                    <a:pt x="3357" y="6834"/>
                  </a:lnTo>
                  <a:cubicBezTo>
                    <a:pt x="3616" y="6666"/>
                    <a:pt x="3655" y="6642"/>
                    <a:pt x="3757" y="6148"/>
                  </a:cubicBezTo>
                  <a:cubicBezTo>
                    <a:pt x="3834" y="5787"/>
                    <a:pt x="3732" y="5364"/>
                    <a:pt x="3669" y="5112"/>
                  </a:cubicBezTo>
                  <a:cubicBezTo>
                    <a:pt x="3648" y="5038"/>
                    <a:pt x="3634" y="4965"/>
                    <a:pt x="3627" y="4891"/>
                  </a:cubicBezTo>
                  <a:cubicBezTo>
                    <a:pt x="3620" y="4751"/>
                    <a:pt x="3284" y="4135"/>
                    <a:pt x="3175" y="4097"/>
                  </a:cubicBezTo>
                  <a:cubicBezTo>
                    <a:pt x="3067" y="4097"/>
                    <a:pt x="2846" y="3922"/>
                    <a:pt x="2346" y="3431"/>
                  </a:cubicBezTo>
                  <a:cubicBezTo>
                    <a:pt x="2304" y="3386"/>
                    <a:pt x="2269" y="3354"/>
                    <a:pt x="2251" y="3337"/>
                  </a:cubicBezTo>
                  <a:cubicBezTo>
                    <a:pt x="2195" y="3281"/>
                    <a:pt x="2157" y="3211"/>
                    <a:pt x="2136" y="3134"/>
                  </a:cubicBezTo>
                  <a:cubicBezTo>
                    <a:pt x="2115" y="3050"/>
                    <a:pt x="2073" y="2976"/>
                    <a:pt x="2010" y="2917"/>
                  </a:cubicBezTo>
                  <a:cubicBezTo>
                    <a:pt x="1807" y="2749"/>
                    <a:pt x="1814" y="2332"/>
                    <a:pt x="1849" y="2115"/>
                  </a:cubicBezTo>
                  <a:cubicBezTo>
                    <a:pt x="1877" y="1954"/>
                    <a:pt x="2003" y="1863"/>
                    <a:pt x="2104" y="1790"/>
                  </a:cubicBezTo>
                  <a:cubicBezTo>
                    <a:pt x="2178" y="1737"/>
                    <a:pt x="2237" y="1695"/>
                    <a:pt x="2237" y="1649"/>
                  </a:cubicBezTo>
                  <a:cubicBezTo>
                    <a:pt x="2230" y="1509"/>
                    <a:pt x="2255" y="1408"/>
                    <a:pt x="2314" y="1341"/>
                  </a:cubicBezTo>
                  <a:cubicBezTo>
                    <a:pt x="2367" y="1289"/>
                    <a:pt x="2437" y="1257"/>
                    <a:pt x="2507" y="1257"/>
                  </a:cubicBezTo>
                  <a:cubicBezTo>
                    <a:pt x="2654" y="1250"/>
                    <a:pt x="2808" y="1128"/>
                    <a:pt x="2885" y="1005"/>
                  </a:cubicBezTo>
                  <a:lnTo>
                    <a:pt x="2892" y="995"/>
                  </a:lnTo>
                  <a:lnTo>
                    <a:pt x="2878" y="988"/>
                  </a:lnTo>
                  <a:lnTo>
                    <a:pt x="2874" y="981"/>
                  </a:lnTo>
                  <a:lnTo>
                    <a:pt x="2857" y="981"/>
                  </a:lnTo>
                  <a:cubicBezTo>
                    <a:pt x="2727" y="956"/>
                    <a:pt x="2426" y="767"/>
                    <a:pt x="2314" y="613"/>
                  </a:cubicBezTo>
                  <a:lnTo>
                    <a:pt x="2304" y="596"/>
                  </a:lnTo>
                  <a:lnTo>
                    <a:pt x="2304" y="592"/>
                  </a:lnTo>
                  <a:lnTo>
                    <a:pt x="2297" y="578"/>
                  </a:lnTo>
                  <a:lnTo>
                    <a:pt x="2293" y="571"/>
                  </a:lnTo>
                  <a:lnTo>
                    <a:pt x="2286" y="561"/>
                  </a:lnTo>
                  <a:cubicBezTo>
                    <a:pt x="2286" y="557"/>
                    <a:pt x="2286" y="554"/>
                    <a:pt x="2286" y="550"/>
                  </a:cubicBezTo>
                  <a:cubicBezTo>
                    <a:pt x="2283" y="550"/>
                    <a:pt x="2283" y="547"/>
                    <a:pt x="2283" y="543"/>
                  </a:cubicBezTo>
                  <a:cubicBezTo>
                    <a:pt x="2279" y="540"/>
                    <a:pt x="2283" y="536"/>
                    <a:pt x="2283" y="533"/>
                  </a:cubicBezTo>
                  <a:lnTo>
                    <a:pt x="2283" y="526"/>
                  </a:lnTo>
                  <a:cubicBezTo>
                    <a:pt x="2283" y="522"/>
                    <a:pt x="2283" y="515"/>
                    <a:pt x="2283" y="512"/>
                  </a:cubicBezTo>
                  <a:cubicBezTo>
                    <a:pt x="2286" y="470"/>
                    <a:pt x="2293" y="431"/>
                    <a:pt x="2311" y="393"/>
                  </a:cubicBezTo>
                  <a:cubicBezTo>
                    <a:pt x="2325" y="358"/>
                    <a:pt x="2342" y="316"/>
                    <a:pt x="2332" y="302"/>
                  </a:cubicBezTo>
                  <a:cubicBezTo>
                    <a:pt x="2332" y="295"/>
                    <a:pt x="2307" y="267"/>
                    <a:pt x="2188" y="253"/>
                  </a:cubicBezTo>
                  <a:cubicBezTo>
                    <a:pt x="1873" y="214"/>
                    <a:pt x="1782" y="102"/>
                    <a:pt x="1723" y="29"/>
                  </a:cubicBezTo>
                  <a:cubicBezTo>
                    <a:pt x="1716" y="18"/>
                    <a:pt x="1709" y="11"/>
                    <a:pt x="1702" y="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238" name="Google Shape;4238;p104"/>
            <p:cNvSpPr/>
            <p:nvPr/>
          </p:nvSpPr>
          <p:spPr>
            <a:xfrm>
              <a:off x="2799356" y="1936670"/>
              <a:ext cx="40800" cy="29477"/>
            </a:xfrm>
            <a:custGeom>
              <a:avLst/>
              <a:gdLst/>
              <a:ahLst/>
              <a:cxnLst/>
              <a:rect l="l" t="t" r="r" b="b"/>
              <a:pathLst>
                <a:path w="3005" h="2171" extrusionOk="0">
                  <a:moveTo>
                    <a:pt x="2207" y="1"/>
                  </a:moveTo>
                  <a:cubicBezTo>
                    <a:pt x="2164" y="1"/>
                    <a:pt x="2125" y="8"/>
                    <a:pt x="2101" y="24"/>
                  </a:cubicBezTo>
                  <a:cubicBezTo>
                    <a:pt x="2080" y="38"/>
                    <a:pt x="2070" y="59"/>
                    <a:pt x="2073" y="84"/>
                  </a:cubicBezTo>
                  <a:cubicBezTo>
                    <a:pt x="2077" y="182"/>
                    <a:pt x="2028" y="273"/>
                    <a:pt x="1940" y="322"/>
                  </a:cubicBezTo>
                  <a:cubicBezTo>
                    <a:pt x="1930" y="325"/>
                    <a:pt x="1919" y="329"/>
                    <a:pt x="1905" y="332"/>
                  </a:cubicBezTo>
                  <a:lnTo>
                    <a:pt x="1898" y="332"/>
                  </a:lnTo>
                  <a:cubicBezTo>
                    <a:pt x="1891" y="336"/>
                    <a:pt x="1884" y="336"/>
                    <a:pt x="1877" y="336"/>
                  </a:cubicBezTo>
                  <a:lnTo>
                    <a:pt x="1867" y="336"/>
                  </a:lnTo>
                  <a:cubicBezTo>
                    <a:pt x="1860" y="336"/>
                    <a:pt x="1849" y="332"/>
                    <a:pt x="1839" y="329"/>
                  </a:cubicBezTo>
                  <a:cubicBezTo>
                    <a:pt x="1828" y="325"/>
                    <a:pt x="1818" y="322"/>
                    <a:pt x="1811" y="315"/>
                  </a:cubicBezTo>
                  <a:cubicBezTo>
                    <a:pt x="1800" y="304"/>
                    <a:pt x="1790" y="290"/>
                    <a:pt x="1783" y="273"/>
                  </a:cubicBezTo>
                  <a:lnTo>
                    <a:pt x="1783" y="269"/>
                  </a:lnTo>
                  <a:cubicBezTo>
                    <a:pt x="1783" y="262"/>
                    <a:pt x="1779" y="255"/>
                    <a:pt x="1779" y="248"/>
                  </a:cubicBezTo>
                  <a:lnTo>
                    <a:pt x="1779" y="245"/>
                  </a:lnTo>
                  <a:cubicBezTo>
                    <a:pt x="1779" y="238"/>
                    <a:pt x="1779" y="227"/>
                    <a:pt x="1779" y="220"/>
                  </a:cubicBezTo>
                  <a:cubicBezTo>
                    <a:pt x="1762" y="213"/>
                    <a:pt x="1741" y="206"/>
                    <a:pt x="1720" y="199"/>
                  </a:cubicBezTo>
                  <a:cubicBezTo>
                    <a:pt x="1688" y="185"/>
                    <a:pt x="1657" y="175"/>
                    <a:pt x="1625" y="157"/>
                  </a:cubicBezTo>
                  <a:lnTo>
                    <a:pt x="1622" y="161"/>
                  </a:lnTo>
                  <a:lnTo>
                    <a:pt x="1593" y="140"/>
                  </a:lnTo>
                  <a:cubicBezTo>
                    <a:pt x="1579" y="133"/>
                    <a:pt x="1569" y="126"/>
                    <a:pt x="1555" y="115"/>
                  </a:cubicBezTo>
                  <a:lnTo>
                    <a:pt x="1513" y="87"/>
                  </a:lnTo>
                  <a:lnTo>
                    <a:pt x="1516" y="84"/>
                  </a:lnTo>
                  <a:cubicBezTo>
                    <a:pt x="1509" y="77"/>
                    <a:pt x="1502" y="66"/>
                    <a:pt x="1495" y="59"/>
                  </a:cubicBezTo>
                  <a:cubicBezTo>
                    <a:pt x="1476" y="36"/>
                    <a:pt x="1433" y="28"/>
                    <a:pt x="1380" y="28"/>
                  </a:cubicBezTo>
                  <a:cubicBezTo>
                    <a:pt x="1315" y="28"/>
                    <a:pt x="1235" y="39"/>
                    <a:pt x="1166" y="49"/>
                  </a:cubicBezTo>
                  <a:cubicBezTo>
                    <a:pt x="1107" y="59"/>
                    <a:pt x="1047" y="66"/>
                    <a:pt x="988" y="70"/>
                  </a:cubicBezTo>
                  <a:cubicBezTo>
                    <a:pt x="965" y="73"/>
                    <a:pt x="943" y="75"/>
                    <a:pt x="920" y="75"/>
                  </a:cubicBezTo>
                  <a:cubicBezTo>
                    <a:pt x="871" y="75"/>
                    <a:pt x="823" y="68"/>
                    <a:pt x="778" y="56"/>
                  </a:cubicBezTo>
                  <a:cubicBezTo>
                    <a:pt x="755" y="48"/>
                    <a:pt x="729" y="45"/>
                    <a:pt x="702" y="45"/>
                  </a:cubicBezTo>
                  <a:cubicBezTo>
                    <a:pt x="529" y="45"/>
                    <a:pt x="277" y="191"/>
                    <a:pt x="102" y="406"/>
                  </a:cubicBezTo>
                  <a:cubicBezTo>
                    <a:pt x="1" y="528"/>
                    <a:pt x="22" y="556"/>
                    <a:pt x="64" y="626"/>
                  </a:cubicBezTo>
                  <a:cubicBezTo>
                    <a:pt x="113" y="693"/>
                    <a:pt x="137" y="773"/>
                    <a:pt x="141" y="854"/>
                  </a:cubicBezTo>
                  <a:cubicBezTo>
                    <a:pt x="137" y="921"/>
                    <a:pt x="155" y="984"/>
                    <a:pt x="186" y="1040"/>
                  </a:cubicBezTo>
                  <a:lnTo>
                    <a:pt x="197" y="1061"/>
                  </a:lnTo>
                  <a:lnTo>
                    <a:pt x="200" y="1071"/>
                  </a:lnTo>
                  <a:lnTo>
                    <a:pt x="207" y="1085"/>
                  </a:lnTo>
                  <a:lnTo>
                    <a:pt x="211" y="1096"/>
                  </a:lnTo>
                  <a:cubicBezTo>
                    <a:pt x="211" y="1099"/>
                    <a:pt x="218" y="1106"/>
                    <a:pt x="218" y="1110"/>
                  </a:cubicBezTo>
                  <a:cubicBezTo>
                    <a:pt x="221" y="1117"/>
                    <a:pt x="218" y="1120"/>
                    <a:pt x="221" y="1124"/>
                  </a:cubicBezTo>
                  <a:cubicBezTo>
                    <a:pt x="225" y="1127"/>
                    <a:pt x="225" y="1134"/>
                    <a:pt x="225" y="1138"/>
                  </a:cubicBezTo>
                  <a:cubicBezTo>
                    <a:pt x="228" y="1145"/>
                    <a:pt x="225" y="1148"/>
                    <a:pt x="225" y="1152"/>
                  </a:cubicBezTo>
                  <a:lnTo>
                    <a:pt x="225" y="1169"/>
                  </a:lnTo>
                  <a:lnTo>
                    <a:pt x="225" y="1183"/>
                  </a:lnTo>
                  <a:lnTo>
                    <a:pt x="225" y="1204"/>
                  </a:lnTo>
                  <a:lnTo>
                    <a:pt x="225" y="1218"/>
                  </a:lnTo>
                  <a:cubicBezTo>
                    <a:pt x="225" y="1222"/>
                    <a:pt x="221" y="1232"/>
                    <a:pt x="221" y="1243"/>
                  </a:cubicBezTo>
                  <a:cubicBezTo>
                    <a:pt x="218" y="1250"/>
                    <a:pt x="221" y="1253"/>
                    <a:pt x="218" y="1257"/>
                  </a:cubicBezTo>
                  <a:lnTo>
                    <a:pt x="218" y="1260"/>
                  </a:lnTo>
                  <a:cubicBezTo>
                    <a:pt x="354" y="1355"/>
                    <a:pt x="351" y="1526"/>
                    <a:pt x="347" y="1656"/>
                  </a:cubicBezTo>
                  <a:cubicBezTo>
                    <a:pt x="347" y="1694"/>
                    <a:pt x="347" y="1736"/>
                    <a:pt x="351" y="1775"/>
                  </a:cubicBezTo>
                  <a:cubicBezTo>
                    <a:pt x="354" y="1796"/>
                    <a:pt x="361" y="1799"/>
                    <a:pt x="361" y="1803"/>
                  </a:cubicBezTo>
                  <a:cubicBezTo>
                    <a:pt x="370" y="1808"/>
                    <a:pt x="383" y="1810"/>
                    <a:pt x="399" y="1810"/>
                  </a:cubicBezTo>
                  <a:cubicBezTo>
                    <a:pt x="436" y="1810"/>
                    <a:pt x="486" y="1800"/>
                    <a:pt x="522" y="1792"/>
                  </a:cubicBezTo>
                  <a:cubicBezTo>
                    <a:pt x="554" y="1785"/>
                    <a:pt x="589" y="1782"/>
                    <a:pt x="620" y="1778"/>
                  </a:cubicBezTo>
                  <a:cubicBezTo>
                    <a:pt x="626" y="1777"/>
                    <a:pt x="632" y="1776"/>
                    <a:pt x="638" y="1776"/>
                  </a:cubicBezTo>
                  <a:cubicBezTo>
                    <a:pt x="667" y="1776"/>
                    <a:pt x="694" y="1790"/>
                    <a:pt x="711" y="1810"/>
                  </a:cubicBezTo>
                  <a:cubicBezTo>
                    <a:pt x="743" y="1855"/>
                    <a:pt x="725" y="1904"/>
                    <a:pt x="711" y="1953"/>
                  </a:cubicBezTo>
                  <a:cubicBezTo>
                    <a:pt x="690" y="2013"/>
                    <a:pt x="676" y="2062"/>
                    <a:pt x="701" y="2090"/>
                  </a:cubicBezTo>
                  <a:cubicBezTo>
                    <a:pt x="711" y="2100"/>
                    <a:pt x="727" y="2104"/>
                    <a:pt x="746" y="2104"/>
                  </a:cubicBezTo>
                  <a:cubicBezTo>
                    <a:pt x="780" y="2104"/>
                    <a:pt x="825" y="2092"/>
                    <a:pt x="865" y="2083"/>
                  </a:cubicBezTo>
                  <a:cubicBezTo>
                    <a:pt x="911" y="2069"/>
                    <a:pt x="956" y="2062"/>
                    <a:pt x="1005" y="2058"/>
                  </a:cubicBezTo>
                  <a:cubicBezTo>
                    <a:pt x="1008" y="2058"/>
                    <a:pt x="1011" y="2058"/>
                    <a:pt x="1014" y="2058"/>
                  </a:cubicBezTo>
                  <a:cubicBezTo>
                    <a:pt x="1073" y="2058"/>
                    <a:pt x="1126" y="2092"/>
                    <a:pt x="1149" y="2146"/>
                  </a:cubicBezTo>
                  <a:cubicBezTo>
                    <a:pt x="1152" y="2156"/>
                    <a:pt x="1156" y="2163"/>
                    <a:pt x="1159" y="2170"/>
                  </a:cubicBezTo>
                  <a:lnTo>
                    <a:pt x="1170" y="2167"/>
                  </a:lnTo>
                  <a:lnTo>
                    <a:pt x="1201" y="2149"/>
                  </a:lnTo>
                  <a:lnTo>
                    <a:pt x="1219" y="2139"/>
                  </a:lnTo>
                  <a:lnTo>
                    <a:pt x="1240" y="2128"/>
                  </a:lnTo>
                  <a:lnTo>
                    <a:pt x="1254" y="2118"/>
                  </a:lnTo>
                  <a:lnTo>
                    <a:pt x="1271" y="2107"/>
                  </a:lnTo>
                  <a:lnTo>
                    <a:pt x="1285" y="2100"/>
                  </a:lnTo>
                  <a:lnTo>
                    <a:pt x="1299" y="2090"/>
                  </a:lnTo>
                  <a:lnTo>
                    <a:pt x="1310" y="2083"/>
                  </a:lnTo>
                  <a:lnTo>
                    <a:pt x="1324" y="2076"/>
                  </a:lnTo>
                  <a:lnTo>
                    <a:pt x="1334" y="2069"/>
                  </a:lnTo>
                  <a:lnTo>
                    <a:pt x="1345" y="2058"/>
                  </a:lnTo>
                  <a:lnTo>
                    <a:pt x="1352" y="2051"/>
                  </a:lnTo>
                  <a:lnTo>
                    <a:pt x="1362" y="2044"/>
                  </a:lnTo>
                  <a:lnTo>
                    <a:pt x="1369" y="2041"/>
                  </a:lnTo>
                  <a:lnTo>
                    <a:pt x="1376" y="2034"/>
                  </a:lnTo>
                  <a:lnTo>
                    <a:pt x="1380" y="2030"/>
                  </a:lnTo>
                  <a:lnTo>
                    <a:pt x="1387" y="2023"/>
                  </a:lnTo>
                  <a:lnTo>
                    <a:pt x="1390" y="2020"/>
                  </a:lnTo>
                  <a:lnTo>
                    <a:pt x="1397" y="2013"/>
                  </a:lnTo>
                  <a:lnTo>
                    <a:pt x="1401" y="2006"/>
                  </a:lnTo>
                  <a:lnTo>
                    <a:pt x="1404" y="2002"/>
                  </a:lnTo>
                  <a:lnTo>
                    <a:pt x="1404" y="1999"/>
                  </a:lnTo>
                  <a:lnTo>
                    <a:pt x="1404" y="1995"/>
                  </a:lnTo>
                  <a:cubicBezTo>
                    <a:pt x="1404" y="1967"/>
                    <a:pt x="1418" y="1939"/>
                    <a:pt x="1439" y="1922"/>
                  </a:cubicBezTo>
                  <a:cubicBezTo>
                    <a:pt x="1464" y="1903"/>
                    <a:pt x="1496" y="1895"/>
                    <a:pt x="1536" y="1895"/>
                  </a:cubicBezTo>
                  <a:cubicBezTo>
                    <a:pt x="1591" y="1895"/>
                    <a:pt x="1663" y="1910"/>
                    <a:pt x="1758" y="1932"/>
                  </a:cubicBezTo>
                  <a:cubicBezTo>
                    <a:pt x="1821" y="1946"/>
                    <a:pt x="1936" y="1975"/>
                    <a:pt x="1998" y="1975"/>
                  </a:cubicBezTo>
                  <a:cubicBezTo>
                    <a:pt x="2015" y="1975"/>
                    <a:pt x="2028" y="1973"/>
                    <a:pt x="2035" y="1967"/>
                  </a:cubicBezTo>
                  <a:cubicBezTo>
                    <a:pt x="2042" y="1939"/>
                    <a:pt x="1982" y="1834"/>
                    <a:pt x="1947" y="1778"/>
                  </a:cubicBezTo>
                  <a:cubicBezTo>
                    <a:pt x="1881" y="1656"/>
                    <a:pt x="1821" y="1554"/>
                    <a:pt x="1877" y="1481"/>
                  </a:cubicBezTo>
                  <a:cubicBezTo>
                    <a:pt x="1904" y="1445"/>
                    <a:pt x="1946" y="1433"/>
                    <a:pt x="1992" y="1433"/>
                  </a:cubicBezTo>
                  <a:cubicBezTo>
                    <a:pt x="2030" y="1433"/>
                    <a:pt x="2071" y="1441"/>
                    <a:pt x="2108" y="1449"/>
                  </a:cubicBezTo>
                  <a:cubicBezTo>
                    <a:pt x="2175" y="1466"/>
                    <a:pt x="2226" y="1474"/>
                    <a:pt x="2265" y="1474"/>
                  </a:cubicBezTo>
                  <a:cubicBezTo>
                    <a:pt x="2372" y="1474"/>
                    <a:pt x="2395" y="1416"/>
                    <a:pt x="2434" y="1327"/>
                  </a:cubicBezTo>
                  <a:cubicBezTo>
                    <a:pt x="2458" y="1267"/>
                    <a:pt x="2486" y="1211"/>
                    <a:pt x="2525" y="1162"/>
                  </a:cubicBezTo>
                  <a:cubicBezTo>
                    <a:pt x="2581" y="1103"/>
                    <a:pt x="2644" y="1050"/>
                    <a:pt x="2710" y="1005"/>
                  </a:cubicBezTo>
                  <a:cubicBezTo>
                    <a:pt x="2917" y="854"/>
                    <a:pt x="3004" y="770"/>
                    <a:pt x="2903" y="616"/>
                  </a:cubicBezTo>
                  <a:cubicBezTo>
                    <a:pt x="2885" y="591"/>
                    <a:pt x="2871" y="563"/>
                    <a:pt x="2857" y="539"/>
                  </a:cubicBezTo>
                  <a:cubicBezTo>
                    <a:pt x="2770" y="378"/>
                    <a:pt x="2717" y="196"/>
                    <a:pt x="2707" y="14"/>
                  </a:cubicBezTo>
                  <a:lnTo>
                    <a:pt x="2703" y="14"/>
                  </a:lnTo>
                  <a:cubicBezTo>
                    <a:pt x="2686" y="14"/>
                    <a:pt x="2672" y="17"/>
                    <a:pt x="2658" y="24"/>
                  </a:cubicBezTo>
                  <a:cubicBezTo>
                    <a:pt x="2644" y="28"/>
                    <a:pt x="2630" y="31"/>
                    <a:pt x="2616" y="35"/>
                  </a:cubicBezTo>
                  <a:lnTo>
                    <a:pt x="2605" y="38"/>
                  </a:lnTo>
                  <a:cubicBezTo>
                    <a:pt x="2591" y="42"/>
                    <a:pt x="2577" y="45"/>
                    <a:pt x="2563" y="45"/>
                  </a:cubicBezTo>
                  <a:lnTo>
                    <a:pt x="2556" y="45"/>
                  </a:lnTo>
                  <a:cubicBezTo>
                    <a:pt x="2546" y="45"/>
                    <a:pt x="2532" y="49"/>
                    <a:pt x="2521" y="49"/>
                  </a:cubicBezTo>
                  <a:lnTo>
                    <a:pt x="2465" y="49"/>
                  </a:lnTo>
                  <a:cubicBezTo>
                    <a:pt x="2455" y="49"/>
                    <a:pt x="2444" y="49"/>
                    <a:pt x="2434" y="45"/>
                  </a:cubicBezTo>
                  <a:lnTo>
                    <a:pt x="2427" y="45"/>
                  </a:lnTo>
                  <a:cubicBezTo>
                    <a:pt x="2416" y="45"/>
                    <a:pt x="2406" y="42"/>
                    <a:pt x="2395" y="38"/>
                  </a:cubicBezTo>
                  <a:lnTo>
                    <a:pt x="2388" y="38"/>
                  </a:lnTo>
                  <a:cubicBezTo>
                    <a:pt x="2378" y="35"/>
                    <a:pt x="2367" y="31"/>
                    <a:pt x="2357" y="28"/>
                  </a:cubicBezTo>
                  <a:cubicBezTo>
                    <a:pt x="2313" y="11"/>
                    <a:pt x="2258" y="1"/>
                    <a:pt x="2207" y="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239" name="Google Shape;4239;p104"/>
            <p:cNvSpPr/>
            <p:nvPr/>
          </p:nvSpPr>
          <p:spPr>
            <a:xfrm>
              <a:off x="2816708" y="1965033"/>
              <a:ext cx="204" cy="163"/>
            </a:xfrm>
            <a:custGeom>
              <a:avLst/>
              <a:gdLst/>
              <a:ahLst/>
              <a:cxnLst/>
              <a:rect l="l" t="t" r="r" b="b"/>
              <a:pathLst>
                <a:path w="15" h="12" extrusionOk="0">
                  <a:moveTo>
                    <a:pt x="14" y="1"/>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240" name="Google Shape;4240;p104"/>
            <p:cNvSpPr/>
            <p:nvPr/>
          </p:nvSpPr>
          <p:spPr>
            <a:xfrm>
              <a:off x="2815798" y="1965563"/>
              <a:ext cx="299" cy="149"/>
            </a:xfrm>
            <a:custGeom>
              <a:avLst/>
              <a:gdLst/>
              <a:ahLst/>
              <a:cxnLst/>
              <a:rect l="l" t="t" r="r" b="b"/>
              <a:pathLst>
                <a:path w="22" h="11" extrusionOk="0">
                  <a:moveTo>
                    <a:pt x="22" y="0"/>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241" name="Google Shape;4241;p104"/>
            <p:cNvSpPr/>
            <p:nvPr/>
          </p:nvSpPr>
          <p:spPr>
            <a:xfrm>
              <a:off x="2817033" y="1964802"/>
              <a:ext cx="204" cy="149"/>
            </a:xfrm>
            <a:custGeom>
              <a:avLst/>
              <a:gdLst/>
              <a:ahLst/>
              <a:cxnLst/>
              <a:rect l="l" t="t" r="r" b="b"/>
              <a:pathLst>
                <a:path w="15" h="11" extrusionOk="0">
                  <a:moveTo>
                    <a:pt x="15" y="0"/>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242" name="Google Shape;4242;p104"/>
            <p:cNvSpPr/>
            <p:nvPr/>
          </p:nvSpPr>
          <p:spPr>
            <a:xfrm>
              <a:off x="2815133" y="1965848"/>
              <a:ext cx="448" cy="204"/>
            </a:xfrm>
            <a:custGeom>
              <a:avLst/>
              <a:gdLst/>
              <a:ahLst/>
              <a:cxnLst/>
              <a:rect l="l" t="t" r="r" b="b"/>
              <a:pathLst>
                <a:path w="33" h="15" extrusionOk="0">
                  <a:moveTo>
                    <a:pt x="32" y="0"/>
                  </a:moveTo>
                  <a:lnTo>
                    <a:pt x="1" y="14"/>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243" name="Google Shape;4243;p104"/>
            <p:cNvSpPr/>
            <p:nvPr/>
          </p:nvSpPr>
          <p:spPr>
            <a:xfrm>
              <a:off x="2816273" y="1965277"/>
              <a:ext cx="258" cy="149"/>
            </a:xfrm>
            <a:custGeom>
              <a:avLst/>
              <a:gdLst/>
              <a:ahLst/>
              <a:cxnLst/>
              <a:rect l="l" t="t" r="r" b="b"/>
              <a:pathLst>
                <a:path w="19" h="11" extrusionOk="0">
                  <a:moveTo>
                    <a:pt x="18" y="0"/>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244" name="Google Shape;4244;p104"/>
            <p:cNvSpPr/>
            <p:nvPr/>
          </p:nvSpPr>
          <p:spPr>
            <a:xfrm>
              <a:off x="2818364" y="1963702"/>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245" name="Google Shape;4245;p104"/>
            <p:cNvSpPr/>
            <p:nvPr/>
          </p:nvSpPr>
          <p:spPr>
            <a:xfrm>
              <a:off x="2838147" y="1943839"/>
              <a:ext cx="625" cy="1059"/>
            </a:xfrm>
            <a:custGeom>
              <a:avLst/>
              <a:gdLst/>
              <a:ahLst/>
              <a:cxnLst/>
              <a:rect l="l" t="t" r="r" b="b"/>
              <a:pathLst>
                <a:path w="46" h="78" extrusionOk="0">
                  <a:moveTo>
                    <a:pt x="0" y="0"/>
                  </a:moveTo>
                  <a:cubicBezTo>
                    <a:pt x="14" y="28"/>
                    <a:pt x="28" y="53"/>
                    <a:pt x="46" y="77"/>
                  </a:cubicBezTo>
                  <a:cubicBezTo>
                    <a:pt x="28" y="53"/>
                    <a:pt x="14" y="28"/>
                    <a:pt x="0"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246" name="Google Shape;4246;p104"/>
            <p:cNvSpPr/>
            <p:nvPr/>
          </p:nvSpPr>
          <p:spPr>
            <a:xfrm>
              <a:off x="2818364" y="1963702"/>
              <a:ext cx="14" cy="68"/>
            </a:xfrm>
            <a:custGeom>
              <a:avLst/>
              <a:gdLst/>
              <a:ahLst/>
              <a:cxnLst/>
              <a:rect l="l" t="t" r="r" b="b"/>
              <a:pathLst>
                <a:path w="1" h="5" extrusionOk="0">
                  <a:moveTo>
                    <a:pt x="1" y="1"/>
                  </a:moveTo>
                  <a:lnTo>
                    <a:pt x="1" y="4"/>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247" name="Google Shape;4247;p104"/>
            <p:cNvSpPr/>
            <p:nvPr/>
          </p:nvSpPr>
          <p:spPr>
            <a:xfrm>
              <a:off x="2818364" y="1963702"/>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248" name="Google Shape;4248;p104"/>
            <p:cNvSpPr/>
            <p:nvPr/>
          </p:nvSpPr>
          <p:spPr>
            <a:xfrm>
              <a:off x="2836096" y="1936710"/>
              <a:ext cx="2064" cy="7142"/>
            </a:xfrm>
            <a:custGeom>
              <a:avLst/>
              <a:gdLst/>
              <a:ahLst/>
              <a:cxnLst/>
              <a:rect l="l" t="t" r="r" b="b"/>
              <a:pathLst>
                <a:path w="152" h="526" extrusionOk="0">
                  <a:moveTo>
                    <a:pt x="1" y="0"/>
                  </a:moveTo>
                  <a:lnTo>
                    <a:pt x="1" y="0"/>
                  </a:lnTo>
                  <a:cubicBezTo>
                    <a:pt x="11" y="186"/>
                    <a:pt x="64" y="364"/>
                    <a:pt x="151" y="525"/>
                  </a:cubicBezTo>
                  <a:cubicBezTo>
                    <a:pt x="64" y="364"/>
                    <a:pt x="11" y="186"/>
                    <a:pt x="1"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249" name="Google Shape;4249;p104"/>
            <p:cNvSpPr/>
            <p:nvPr/>
          </p:nvSpPr>
          <p:spPr>
            <a:xfrm>
              <a:off x="2817373" y="1964612"/>
              <a:ext cx="149" cy="109"/>
            </a:xfrm>
            <a:custGeom>
              <a:avLst/>
              <a:gdLst/>
              <a:ahLst/>
              <a:cxnLst/>
              <a:rect l="l" t="t" r="r" b="b"/>
              <a:pathLst>
                <a:path w="11" h="8" extrusionOk="0">
                  <a:moveTo>
                    <a:pt x="11"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250" name="Google Shape;4250;p104"/>
            <p:cNvSpPr/>
            <p:nvPr/>
          </p:nvSpPr>
          <p:spPr>
            <a:xfrm>
              <a:off x="2818364" y="1962616"/>
              <a:ext cx="543" cy="1005"/>
            </a:xfrm>
            <a:custGeom>
              <a:avLst/>
              <a:gdLst/>
              <a:ahLst/>
              <a:cxnLst/>
              <a:rect l="l" t="t" r="r" b="b"/>
              <a:pathLst>
                <a:path w="40" h="74" extrusionOk="0">
                  <a:moveTo>
                    <a:pt x="1" y="74"/>
                  </a:moveTo>
                  <a:cubicBezTo>
                    <a:pt x="4" y="46"/>
                    <a:pt x="15" y="18"/>
                    <a:pt x="39" y="0"/>
                  </a:cubicBezTo>
                  <a:cubicBezTo>
                    <a:pt x="15" y="18"/>
                    <a:pt x="4" y="46"/>
                    <a:pt x="1" y="74"/>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251" name="Google Shape;4251;p104"/>
            <p:cNvSpPr/>
            <p:nvPr/>
          </p:nvSpPr>
          <p:spPr>
            <a:xfrm>
              <a:off x="2818133" y="1963947"/>
              <a:ext cx="109" cy="109"/>
            </a:xfrm>
            <a:custGeom>
              <a:avLst/>
              <a:gdLst/>
              <a:ahLst/>
              <a:cxnLst/>
              <a:rect l="l" t="t" r="r" b="b"/>
              <a:pathLst>
                <a:path w="8" h="8" extrusionOk="0">
                  <a:moveTo>
                    <a:pt x="7"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252" name="Google Shape;4252;p104"/>
            <p:cNvSpPr/>
            <p:nvPr/>
          </p:nvSpPr>
          <p:spPr>
            <a:xfrm>
              <a:off x="2817848" y="1964273"/>
              <a:ext cx="109" cy="109"/>
            </a:xfrm>
            <a:custGeom>
              <a:avLst/>
              <a:gdLst/>
              <a:ahLst/>
              <a:cxnLst/>
              <a:rect l="l" t="t" r="r" b="b"/>
              <a:pathLst>
                <a:path w="8" h="8" extrusionOk="0">
                  <a:moveTo>
                    <a:pt x="7" y="1"/>
                  </a:moveTo>
                  <a:lnTo>
                    <a:pt x="0" y="8"/>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253" name="Google Shape;4253;p104"/>
            <p:cNvSpPr/>
            <p:nvPr/>
          </p:nvSpPr>
          <p:spPr>
            <a:xfrm>
              <a:off x="2817604" y="1964422"/>
              <a:ext cx="163" cy="109"/>
            </a:xfrm>
            <a:custGeom>
              <a:avLst/>
              <a:gdLst/>
              <a:ahLst/>
              <a:cxnLst/>
              <a:rect l="l" t="t" r="r" b="b"/>
              <a:pathLst>
                <a:path w="12" h="8" extrusionOk="0">
                  <a:moveTo>
                    <a:pt x="11"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254" name="Google Shape;4254;p104"/>
            <p:cNvSpPr/>
            <p:nvPr/>
          </p:nvSpPr>
          <p:spPr>
            <a:xfrm>
              <a:off x="2817984" y="1964083"/>
              <a:ext cx="109" cy="109"/>
            </a:xfrm>
            <a:custGeom>
              <a:avLst/>
              <a:gdLst/>
              <a:ahLst/>
              <a:cxnLst/>
              <a:rect l="l" t="t" r="r" b="b"/>
              <a:pathLst>
                <a:path w="8" h="8" extrusionOk="0">
                  <a:moveTo>
                    <a:pt x="8" y="1"/>
                  </a:moveTo>
                  <a:lnTo>
                    <a:pt x="1" y="8"/>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255" name="Google Shape;4255;p104"/>
            <p:cNvSpPr/>
            <p:nvPr/>
          </p:nvSpPr>
          <p:spPr>
            <a:xfrm>
              <a:off x="2818228" y="1963852"/>
              <a:ext cx="54" cy="109"/>
            </a:xfrm>
            <a:custGeom>
              <a:avLst/>
              <a:gdLst/>
              <a:ahLst/>
              <a:cxnLst/>
              <a:rect l="l" t="t" r="r" b="b"/>
              <a:pathLst>
                <a:path w="4" h="8" extrusionOk="0">
                  <a:moveTo>
                    <a:pt x="4"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256" name="Google Shape;4256;p104"/>
            <p:cNvSpPr/>
            <p:nvPr/>
          </p:nvSpPr>
          <p:spPr>
            <a:xfrm>
              <a:off x="2818323" y="1963757"/>
              <a:ext cx="14" cy="109"/>
            </a:xfrm>
            <a:custGeom>
              <a:avLst/>
              <a:gdLst/>
              <a:ahLst/>
              <a:cxnLst/>
              <a:rect l="l" t="t" r="r" b="b"/>
              <a:pathLst>
                <a:path w="1" h="8" extrusionOk="0">
                  <a:moveTo>
                    <a:pt x="0"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257" name="Google Shape;4257;p104"/>
            <p:cNvSpPr/>
            <p:nvPr/>
          </p:nvSpPr>
          <p:spPr>
            <a:xfrm>
              <a:off x="2784244" y="1875299"/>
              <a:ext cx="52436" cy="63936"/>
            </a:xfrm>
            <a:custGeom>
              <a:avLst/>
              <a:gdLst/>
              <a:ahLst/>
              <a:cxnLst/>
              <a:rect l="l" t="t" r="r" b="b"/>
              <a:pathLst>
                <a:path w="3862" h="4709" extrusionOk="0">
                  <a:moveTo>
                    <a:pt x="732" y="0"/>
                  </a:moveTo>
                  <a:cubicBezTo>
                    <a:pt x="708" y="46"/>
                    <a:pt x="690" y="140"/>
                    <a:pt x="708" y="165"/>
                  </a:cubicBezTo>
                  <a:cubicBezTo>
                    <a:pt x="771" y="231"/>
                    <a:pt x="844" y="518"/>
                    <a:pt x="774" y="644"/>
                  </a:cubicBezTo>
                  <a:cubicBezTo>
                    <a:pt x="753" y="683"/>
                    <a:pt x="711" y="711"/>
                    <a:pt x="669" y="711"/>
                  </a:cubicBezTo>
                  <a:lnTo>
                    <a:pt x="638" y="711"/>
                  </a:lnTo>
                  <a:lnTo>
                    <a:pt x="620" y="707"/>
                  </a:lnTo>
                  <a:cubicBezTo>
                    <a:pt x="501" y="679"/>
                    <a:pt x="448" y="585"/>
                    <a:pt x="410" y="515"/>
                  </a:cubicBezTo>
                  <a:cubicBezTo>
                    <a:pt x="399" y="497"/>
                    <a:pt x="389" y="480"/>
                    <a:pt x="375" y="462"/>
                  </a:cubicBezTo>
                  <a:lnTo>
                    <a:pt x="371" y="469"/>
                  </a:lnTo>
                  <a:lnTo>
                    <a:pt x="357" y="487"/>
                  </a:lnTo>
                  <a:lnTo>
                    <a:pt x="347" y="497"/>
                  </a:lnTo>
                  <a:lnTo>
                    <a:pt x="336" y="515"/>
                  </a:lnTo>
                  <a:lnTo>
                    <a:pt x="326" y="525"/>
                  </a:lnTo>
                  <a:lnTo>
                    <a:pt x="315" y="543"/>
                  </a:lnTo>
                  <a:lnTo>
                    <a:pt x="305" y="553"/>
                  </a:lnTo>
                  <a:lnTo>
                    <a:pt x="291" y="571"/>
                  </a:lnTo>
                  <a:lnTo>
                    <a:pt x="284" y="581"/>
                  </a:lnTo>
                  <a:lnTo>
                    <a:pt x="270" y="599"/>
                  </a:lnTo>
                  <a:lnTo>
                    <a:pt x="263" y="609"/>
                  </a:lnTo>
                  <a:lnTo>
                    <a:pt x="252" y="627"/>
                  </a:lnTo>
                  <a:lnTo>
                    <a:pt x="242" y="637"/>
                  </a:lnTo>
                  <a:lnTo>
                    <a:pt x="231" y="655"/>
                  </a:lnTo>
                  <a:lnTo>
                    <a:pt x="224" y="665"/>
                  </a:lnTo>
                  <a:lnTo>
                    <a:pt x="214" y="679"/>
                  </a:lnTo>
                  <a:lnTo>
                    <a:pt x="207" y="693"/>
                  </a:lnTo>
                  <a:lnTo>
                    <a:pt x="200" y="704"/>
                  </a:lnTo>
                  <a:lnTo>
                    <a:pt x="193" y="718"/>
                  </a:lnTo>
                  <a:lnTo>
                    <a:pt x="186" y="728"/>
                  </a:lnTo>
                  <a:lnTo>
                    <a:pt x="179" y="742"/>
                  </a:lnTo>
                  <a:lnTo>
                    <a:pt x="172" y="753"/>
                  </a:lnTo>
                  <a:lnTo>
                    <a:pt x="165" y="763"/>
                  </a:lnTo>
                  <a:lnTo>
                    <a:pt x="161" y="774"/>
                  </a:lnTo>
                  <a:lnTo>
                    <a:pt x="154" y="784"/>
                  </a:lnTo>
                  <a:lnTo>
                    <a:pt x="151" y="795"/>
                  </a:lnTo>
                  <a:lnTo>
                    <a:pt x="147" y="805"/>
                  </a:lnTo>
                  <a:lnTo>
                    <a:pt x="144" y="812"/>
                  </a:lnTo>
                  <a:cubicBezTo>
                    <a:pt x="144" y="816"/>
                    <a:pt x="144" y="819"/>
                    <a:pt x="144" y="823"/>
                  </a:cubicBezTo>
                  <a:lnTo>
                    <a:pt x="144" y="826"/>
                  </a:lnTo>
                  <a:cubicBezTo>
                    <a:pt x="144" y="830"/>
                    <a:pt x="144" y="833"/>
                    <a:pt x="144" y="840"/>
                  </a:cubicBezTo>
                  <a:cubicBezTo>
                    <a:pt x="144" y="851"/>
                    <a:pt x="140" y="865"/>
                    <a:pt x="137" y="875"/>
                  </a:cubicBezTo>
                  <a:cubicBezTo>
                    <a:pt x="137" y="879"/>
                    <a:pt x="137" y="882"/>
                    <a:pt x="133" y="886"/>
                  </a:cubicBezTo>
                  <a:cubicBezTo>
                    <a:pt x="133" y="893"/>
                    <a:pt x="130" y="900"/>
                    <a:pt x="126" y="907"/>
                  </a:cubicBezTo>
                  <a:lnTo>
                    <a:pt x="119" y="921"/>
                  </a:lnTo>
                  <a:cubicBezTo>
                    <a:pt x="116" y="924"/>
                    <a:pt x="112" y="931"/>
                    <a:pt x="109" y="938"/>
                  </a:cubicBezTo>
                  <a:lnTo>
                    <a:pt x="102" y="945"/>
                  </a:lnTo>
                  <a:cubicBezTo>
                    <a:pt x="95" y="952"/>
                    <a:pt x="91" y="956"/>
                    <a:pt x="84" y="963"/>
                  </a:cubicBezTo>
                  <a:lnTo>
                    <a:pt x="77" y="970"/>
                  </a:lnTo>
                  <a:cubicBezTo>
                    <a:pt x="56" y="987"/>
                    <a:pt x="28" y="1005"/>
                    <a:pt x="0" y="1015"/>
                  </a:cubicBezTo>
                  <a:lnTo>
                    <a:pt x="7" y="1019"/>
                  </a:lnTo>
                  <a:lnTo>
                    <a:pt x="11" y="1026"/>
                  </a:lnTo>
                  <a:lnTo>
                    <a:pt x="18" y="1033"/>
                  </a:lnTo>
                  <a:lnTo>
                    <a:pt x="25" y="1040"/>
                  </a:lnTo>
                  <a:lnTo>
                    <a:pt x="32" y="1047"/>
                  </a:lnTo>
                  <a:lnTo>
                    <a:pt x="35" y="1054"/>
                  </a:lnTo>
                  <a:lnTo>
                    <a:pt x="39" y="1057"/>
                  </a:lnTo>
                  <a:lnTo>
                    <a:pt x="49" y="1068"/>
                  </a:lnTo>
                  <a:cubicBezTo>
                    <a:pt x="81" y="1117"/>
                    <a:pt x="77" y="1184"/>
                    <a:pt x="74" y="1257"/>
                  </a:cubicBezTo>
                  <a:cubicBezTo>
                    <a:pt x="63" y="1338"/>
                    <a:pt x="74" y="1422"/>
                    <a:pt x="98" y="1499"/>
                  </a:cubicBezTo>
                  <a:cubicBezTo>
                    <a:pt x="105" y="1509"/>
                    <a:pt x="108" y="1516"/>
                    <a:pt x="128" y="1516"/>
                  </a:cubicBezTo>
                  <a:cubicBezTo>
                    <a:pt x="140" y="1516"/>
                    <a:pt x="160" y="1513"/>
                    <a:pt x="193" y="1506"/>
                  </a:cubicBezTo>
                  <a:cubicBezTo>
                    <a:pt x="220" y="1501"/>
                    <a:pt x="253" y="1495"/>
                    <a:pt x="287" y="1495"/>
                  </a:cubicBezTo>
                  <a:cubicBezTo>
                    <a:pt x="360" y="1495"/>
                    <a:pt x="438" y="1522"/>
                    <a:pt x="476" y="1646"/>
                  </a:cubicBezTo>
                  <a:cubicBezTo>
                    <a:pt x="522" y="1803"/>
                    <a:pt x="494" y="1915"/>
                    <a:pt x="466" y="2024"/>
                  </a:cubicBezTo>
                  <a:cubicBezTo>
                    <a:pt x="445" y="2097"/>
                    <a:pt x="434" y="2171"/>
                    <a:pt x="431" y="2248"/>
                  </a:cubicBezTo>
                  <a:cubicBezTo>
                    <a:pt x="434" y="2342"/>
                    <a:pt x="399" y="2433"/>
                    <a:pt x="333" y="2503"/>
                  </a:cubicBezTo>
                  <a:cubicBezTo>
                    <a:pt x="294" y="2552"/>
                    <a:pt x="273" y="2577"/>
                    <a:pt x="291" y="2654"/>
                  </a:cubicBezTo>
                  <a:cubicBezTo>
                    <a:pt x="291" y="2664"/>
                    <a:pt x="294" y="2675"/>
                    <a:pt x="301" y="2682"/>
                  </a:cubicBezTo>
                  <a:cubicBezTo>
                    <a:pt x="303" y="2683"/>
                    <a:pt x="306" y="2683"/>
                    <a:pt x="308" y="2683"/>
                  </a:cubicBezTo>
                  <a:cubicBezTo>
                    <a:pt x="356" y="2683"/>
                    <a:pt x="505" y="2567"/>
                    <a:pt x="578" y="2507"/>
                  </a:cubicBezTo>
                  <a:cubicBezTo>
                    <a:pt x="609" y="2479"/>
                    <a:pt x="645" y="2451"/>
                    <a:pt x="676" y="2430"/>
                  </a:cubicBezTo>
                  <a:cubicBezTo>
                    <a:pt x="795" y="2340"/>
                    <a:pt x="892" y="2315"/>
                    <a:pt x="960" y="2315"/>
                  </a:cubicBezTo>
                  <a:cubicBezTo>
                    <a:pt x="974" y="2315"/>
                    <a:pt x="987" y="2316"/>
                    <a:pt x="998" y="2318"/>
                  </a:cubicBezTo>
                  <a:cubicBezTo>
                    <a:pt x="1065" y="2328"/>
                    <a:pt x="1124" y="2363"/>
                    <a:pt x="1166" y="2419"/>
                  </a:cubicBezTo>
                  <a:cubicBezTo>
                    <a:pt x="1182" y="2430"/>
                    <a:pt x="1203" y="2436"/>
                    <a:pt x="1222" y="2436"/>
                  </a:cubicBezTo>
                  <a:cubicBezTo>
                    <a:pt x="1230" y="2436"/>
                    <a:pt x="1237" y="2435"/>
                    <a:pt x="1243" y="2433"/>
                  </a:cubicBezTo>
                  <a:cubicBezTo>
                    <a:pt x="1313" y="2423"/>
                    <a:pt x="1383" y="2381"/>
                    <a:pt x="1401" y="2339"/>
                  </a:cubicBezTo>
                  <a:cubicBezTo>
                    <a:pt x="1443" y="2237"/>
                    <a:pt x="1583" y="2206"/>
                    <a:pt x="1642" y="2195"/>
                  </a:cubicBezTo>
                  <a:cubicBezTo>
                    <a:pt x="1670" y="2191"/>
                    <a:pt x="1701" y="2189"/>
                    <a:pt x="1732" y="2189"/>
                  </a:cubicBezTo>
                  <a:cubicBezTo>
                    <a:pt x="1839" y="2189"/>
                    <a:pt x="1957" y="2216"/>
                    <a:pt x="2027" y="2297"/>
                  </a:cubicBezTo>
                  <a:lnTo>
                    <a:pt x="2083" y="2367"/>
                  </a:lnTo>
                  <a:cubicBezTo>
                    <a:pt x="2178" y="2486"/>
                    <a:pt x="2279" y="2608"/>
                    <a:pt x="2405" y="2682"/>
                  </a:cubicBezTo>
                  <a:cubicBezTo>
                    <a:pt x="2531" y="2752"/>
                    <a:pt x="2493" y="2927"/>
                    <a:pt x="2458" y="3098"/>
                  </a:cubicBezTo>
                  <a:cubicBezTo>
                    <a:pt x="2444" y="3172"/>
                    <a:pt x="2419" y="3305"/>
                    <a:pt x="2437" y="3330"/>
                  </a:cubicBezTo>
                  <a:cubicBezTo>
                    <a:pt x="2626" y="3382"/>
                    <a:pt x="2885" y="3662"/>
                    <a:pt x="2857" y="3981"/>
                  </a:cubicBezTo>
                  <a:cubicBezTo>
                    <a:pt x="2854" y="4051"/>
                    <a:pt x="2861" y="4121"/>
                    <a:pt x="2871" y="4187"/>
                  </a:cubicBezTo>
                  <a:cubicBezTo>
                    <a:pt x="2871" y="4201"/>
                    <a:pt x="2875" y="4215"/>
                    <a:pt x="2878" y="4229"/>
                  </a:cubicBezTo>
                  <a:lnTo>
                    <a:pt x="2878" y="4236"/>
                  </a:lnTo>
                  <a:cubicBezTo>
                    <a:pt x="2878" y="4250"/>
                    <a:pt x="2882" y="4264"/>
                    <a:pt x="2882" y="4278"/>
                  </a:cubicBezTo>
                  <a:lnTo>
                    <a:pt x="2882" y="4285"/>
                  </a:lnTo>
                  <a:cubicBezTo>
                    <a:pt x="2882" y="4299"/>
                    <a:pt x="2885" y="4313"/>
                    <a:pt x="2885" y="4327"/>
                  </a:cubicBezTo>
                  <a:lnTo>
                    <a:pt x="2885" y="4334"/>
                  </a:lnTo>
                  <a:lnTo>
                    <a:pt x="2885" y="4376"/>
                  </a:lnTo>
                  <a:lnTo>
                    <a:pt x="2885" y="4380"/>
                  </a:lnTo>
                  <a:cubicBezTo>
                    <a:pt x="2885" y="4394"/>
                    <a:pt x="2882" y="4408"/>
                    <a:pt x="2882" y="4425"/>
                  </a:cubicBezTo>
                  <a:lnTo>
                    <a:pt x="2882" y="4432"/>
                  </a:lnTo>
                  <a:cubicBezTo>
                    <a:pt x="2878" y="4446"/>
                    <a:pt x="2875" y="4460"/>
                    <a:pt x="2871" y="4474"/>
                  </a:cubicBezTo>
                  <a:lnTo>
                    <a:pt x="2868" y="4485"/>
                  </a:lnTo>
                  <a:cubicBezTo>
                    <a:pt x="2864" y="4499"/>
                    <a:pt x="2857" y="4513"/>
                    <a:pt x="2850" y="4527"/>
                  </a:cubicBezTo>
                  <a:lnTo>
                    <a:pt x="2850" y="4530"/>
                  </a:lnTo>
                  <a:cubicBezTo>
                    <a:pt x="2843" y="4544"/>
                    <a:pt x="2836" y="4558"/>
                    <a:pt x="2826" y="4576"/>
                  </a:cubicBezTo>
                  <a:lnTo>
                    <a:pt x="2826" y="4579"/>
                  </a:lnTo>
                  <a:cubicBezTo>
                    <a:pt x="2843" y="4586"/>
                    <a:pt x="2861" y="4593"/>
                    <a:pt x="2882" y="4600"/>
                  </a:cubicBezTo>
                  <a:cubicBezTo>
                    <a:pt x="2924" y="4614"/>
                    <a:pt x="2962" y="4635"/>
                    <a:pt x="2997" y="4667"/>
                  </a:cubicBezTo>
                  <a:cubicBezTo>
                    <a:pt x="3011" y="4677"/>
                    <a:pt x="3018" y="4695"/>
                    <a:pt x="3025" y="4709"/>
                  </a:cubicBezTo>
                  <a:lnTo>
                    <a:pt x="3029" y="4702"/>
                  </a:lnTo>
                  <a:cubicBezTo>
                    <a:pt x="3043" y="4684"/>
                    <a:pt x="3050" y="4663"/>
                    <a:pt x="3053" y="4646"/>
                  </a:cubicBezTo>
                  <a:cubicBezTo>
                    <a:pt x="3057" y="4632"/>
                    <a:pt x="3057" y="4621"/>
                    <a:pt x="3057" y="4611"/>
                  </a:cubicBezTo>
                  <a:cubicBezTo>
                    <a:pt x="3053" y="4544"/>
                    <a:pt x="3088" y="4478"/>
                    <a:pt x="3144" y="4443"/>
                  </a:cubicBezTo>
                  <a:cubicBezTo>
                    <a:pt x="3194" y="4409"/>
                    <a:pt x="3259" y="4397"/>
                    <a:pt x="3323" y="4397"/>
                  </a:cubicBezTo>
                  <a:cubicBezTo>
                    <a:pt x="3399" y="4397"/>
                    <a:pt x="3473" y="4413"/>
                    <a:pt x="3522" y="4432"/>
                  </a:cubicBezTo>
                  <a:cubicBezTo>
                    <a:pt x="3529" y="4436"/>
                    <a:pt x="3540" y="4439"/>
                    <a:pt x="3547" y="4443"/>
                  </a:cubicBezTo>
                  <a:lnTo>
                    <a:pt x="3557" y="4443"/>
                  </a:lnTo>
                  <a:cubicBezTo>
                    <a:pt x="3564" y="4443"/>
                    <a:pt x="3571" y="4443"/>
                    <a:pt x="3582" y="4446"/>
                  </a:cubicBezTo>
                  <a:lnTo>
                    <a:pt x="3655" y="4446"/>
                  </a:lnTo>
                  <a:lnTo>
                    <a:pt x="3673" y="4443"/>
                  </a:lnTo>
                  <a:lnTo>
                    <a:pt x="3701" y="4436"/>
                  </a:lnTo>
                  <a:lnTo>
                    <a:pt x="3718" y="4432"/>
                  </a:lnTo>
                  <a:lnTo>
                    <a:pt x="3743" y="4425"/>
                  </a:lnTo>
                  <a:lnTo>
                    <a:pt x="3764" y="4415"/>
                  </a:lnTo>
                  <a:lnTo>
                    <a:pt x="3788" y="4404"/>
                  </a:lnTo>
                  <a:lnTo>
                    <a:pt x="3809" y="4390"/>
                  </a:lnTo>
                  <a:lnTo>
                    <a:pt x="3820" y="4383"/>
                  </a:lnTo>
                  <a:cubicBezTo>
                    <a:pt x="3820" y="4334"/>
                    <a:pt x="3823" y="4282"/>
                    <a:pt x="3830" y="4233"/>
                  </a:cubicBezTo>
                  <a:lnTo>
                    <a:pt x="3830" y="4226"/>
                  </a:lnTo>
                  <a:cubicBezTo>
                    <a:pt x="3830" y="4212"/>
                    <a:pt x="3834" y="4198"/>
                    <a:pt x="3837" y="4187"/>
                  </a:cubicBezTo>
                  <a:cubicBezTo>
                    <a:pt x="3862" y="4047"/>
                    <a:pt x="3851" y="3904"/>
                    <a:pt x="3802" y="3774"/>
                  </a:cubicBezTo>
                  <a:cubicBezTo>
                    <a:pt x="3792" y="3743"/>
                    <a:pt x="3774" y="3715"/>
                    <a:pt x="3750" y="3690"/>
                  </a:cubicBezTo>
                  <a:cubicBezTo>
                    <a:pt x="3711" y="3652"/>
                    <a:pt x="3666" y="3620"/>
                    <a:pt x="3620" y="3596"/>
                  </a:cubicBezTo>
                  <a:cubicBezTo>
                    <a:pt x="3494" y="3512"/>
                    <a:pt x="3337" y="3410"/>
                    <a:pt x="3284" y="3249"/>
                  </a:cubicBezTo>
                  <a:cubicBezTo>
                    <a:pt x="3249" y="3151"/>
                    <a:pt x="3148" y="3046"/>
                    <a:pt x="3050" y="2941"/>
                  </a:cubicBezTo>
                  <a:cubicBezTo>
                    <a:pt x="2952" y="2839"/>
                    <a:pt x="2871" y="2752"/>
                    <a:pt x="2833" y="2661"/>
                  </a:cubicBezTo>
                  <a:cubicBezTo>
                    <a:pt x="2798" y="2587"/>
                    <a:pt x="2752" y="2517"/>
                    <a:pt x="2699" y="2454"/>
                  </a:cubicBezTo>
                  <a:cubicBezTo>
                    <a:pt x="2626" y="2353"/>
                    <a:pt x="2552" y="2255"/>
                    <a:pt x="2549" y="2157"/>
                  </a:cubicBezTo>
                  <a:cubicBezTo>
                    <a:pt x="2535" y="2118"/>
                    <a:pt x="2395" y="2038"/>
                    <a:pt x="2314" y="1992"/>
                  </a:cubicBezTo>
                  <a:cubicBezTo>
                    <a:pt x="2115" y="1877"/>
                    <a:pt x="1908" y="1758"/>
                    <a:pt x="1968" y="1607"/>
                  </a:cubicBezTo>
                  <a:cubicBezTo>
                    <a:pt x="2013" y="1488"/>
                    <a:pt x="2143" y="1467"/>
                    <a:pt x="2244" y="1450"/>
                  </a:cubicBezTo>
                  <a:cubicBezTo>
                    <a:pt x="2346" y="1429"/>
                    <a:pt x="2377" y="1418"/>
                    <a:pt x="2377" y="1390"/>
                  </a:cubicBezTo>
                  <a:cubicBezTo>
                    <a:pt x="2377" y="1338"/>
                    <a:pt x="2356" y="1289"/>
                    <a:pt x="2321" y="1254"/>
                  </a:cubicBezTo>
                  <a:cubicBezTo>
                    <a:pt x="2255" y="1177"/>
                    <a:pt x="2216" y="1082"/>
                    <a:pt x="2206" y="984"/>
                  </a:cubicBezTo>
                  <a:cubicBezTo>
                    <a:pt x="2192" y="903"/>
                    <a:pt x="2157" y="886"/>
                    <a:pt x="2143" y="882"/>
                  </a:cubicBezTo>
                  <a:cubicBezTo>
                    <a:pt x="2127" y="875"/>
                    <a:pt x="2108" y="871"/>
                    <a:pt x="2088" y="871"/>
                  </a:cubicBezTo>
                  <a:cubicBezTo>
                    <a:pt x="2035" y="871"/>
                    <a:pt x="1971" y="894"/>
                    <a:pt x="1926" y="924"/>
                  </a:cubicBezTo>
                  <a:cubicBezTo>
                    <a:pt x="1894" y="946"/>
                    <a:pt x="1854" y="955"/>
                    <a:pt x="1810" y="955"/>
                  </a:cubicBezTo>
                  <a:cubicBezTo>
                    <a:pt x="1733" y="955"/>
                    <a:pt x="1644" y="926"/>
                    <a:pt x="1572" y="886"/>
                  </a:cubicBezTo>
                  <a:cubicBezTo>
                    <a:pt x="1446" y="819"/>
                    <a:pt x="1373" y="725"/>
                    <a:pt x="1373" y="627"/>
                  </a:cubicBezTo>
                  <a:cubicBezTo>
                    <a:pt x="1373" y="564"/>
                    <a:pt x="1306" y="504"/>
                    <a:pt x="1240" y="445"/>
                  </a:cubicBezTo>
                  <a:cubicBezTo>
                    <a:pt x="1170" y="375"/>
                    <a:pt x="1093" y="305"/>
                    <a:pt x="1093" y="210"/>
                  </a:cubicBezTo>
                  <a:cubicBezTo>
                    <a:pt x="1093" y="168"/>
                    <a:pt x="1012" y="77"/>
                    <a:pt x="946" y="4"/>
                  </a:cubicBezTo>
                  <a:lnTo>
                    <a:pt x="921" y="11"/>
                  </a:lnTo>
                  <a:lnTo>
                    <a:pt x="918" y="7"/>
                  </a:lnTo>
                  <a:cubicBezTo>
                    <a:pt x="904" y="11"/>
                    <a:pt x="890" y="14"/>
                    <a:pt x="876" y="14"/>
                  </a:cubicBezTo>
                  <a:lnTo>
                    <a:pt x="872" y="14"/>
                  </a:lnTo>
                  <a:cubicBezTo>
                    <a:pt x="858" y="18"/>
                    <a:pt x="848" y="18"/>
                    <a:pt x="837" y="21"/>
                  </a:cubicBezTo>
                  <a:lnTo>
                    <a:pt x="830" y="21"/>
                  </a:lnTo>
                  <a:cubicBezTo>
                    <a:pt x="813" y="21"/>
                    <a:pt x="792" y="18"/>
                    <a:pt x="774" y="14"/>
                  </a:cubicBezTo>
                  <a:lnTo>
                    <a:pt x="771" y="14"/>
                  </a:lnTo>
                  <a:cubicBezTo>
                    <a:pt x="764" y="14"/>
                    <a:pt x="757" y="11"/>
                    <a:pt x="750" y="11"/>
                  </a:cubicBezTo>
                  <a:lnTo>
                    <a:pt x="736" y="4"/>
                  </a:lnTo>
                  <a:lnTo>
                    <a:pt x="732"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258" name="Google Shape;4258;p104"/>
            <p:cNvSpPr/>
            <p:nvPr/>
          </p:nvSpPr>
          <p:spPr>
            <a:xfrm>
              <a:off x="2786525" y="1885469"/>
              <a:ext cx="54" cy="204"/>
            </a:xfrm>
            <a:custGeom>
              <a:avLst/>
              <a:gdLst/>
              <a:ahLst/>
              <a:cxnLst/>
              <a:rect l="l" t="t" r="r" b="b"/>
              <a:pathLst>
                <a:path w="4" h="15" extrusionOk="0">
                  <a:moveTo>
                    <a:pt x="4" y="0"/>
                  </a:moveTo>
                  <a:lnTo>
                    <a:pt x="0" y="14"/>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259" name="Google Shape;4259;p104"/>
            <p:cNvSpPr/>
            <p:nvPr/>
          </p:nvSpPr>
          <p:spPr>
            <a:xfrm>
              <a:off x="2788086" y="1882998"/>
              <a:ext cx="163" cy="204"/>
            </a:xfrm>
            <a:custGeom>
              <a:avLst/>
              <a:gdLst/>
              <a:ahLst/>
              <a:cxnLst/>
              <a:rect l="l" t="t" r="r" b="b"/>
              <a:pathLst>
                <a:path w="12" h="15" extrusionOk="0">
                  <a:moveTo>
                    <a:pt x="11" y="0"/>
                  </a:moveTo>
                  <a:lnTo>
                    <a:pt x="1" y="14"/>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260" name="Google Shape;4260;p104"/>
            <p:cNvSpPr/>
            <p:nvPr/>
          </p:nvSpPr>
          <p:spPr>
            <a:xfrm>
              <a:off x="2785615" y="1887981"/>
              <a:ext cx="109" cy="163"/>
            </a:xfrm>
            <a:custGeom>
              <a:avLst/>
              <a:gdLst/>
              <a:ahLst/>
              <a:cxnLst/>
              <a:rect l="l" t="t" r="r" b="b"/>
              <a:pathLst>
                <a:path w="8" h="12" extrusionOk="0">
                  <a:moveTo>
                    <a:pt x="8" y="1"/>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261" name="Google Shape;4261;p104"/>
            <p:cNvSpPr/>
            <p:nvPr/>
          </p:nvSpPr>
          <p:spPr>
            <a:xfrm>
              <a:off x="2788996" y="1881857"/>
              <a:ext cx="109" cy="149"/>
            </a:xfrm>
            <a:custGeom>
              <a:avLst/>
              <a:gdLst/>
              <a:ahLst/>
              <a:cxnLst/>
              <a:rect l="l" t="t" r="r" b="b"/>
              <a:pathLst>
                <a:path w="8" h="11" extrusionOk="0">
                  <a:moveTo>
                    <a:pt x="7" y="0"/>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262" name="Google Shape;4262;p104"/>
            <p:cNvSpPr/>
            <p:nvPr/>
          </p:nvSpPr>
          <p:spPr>
            <a:xfrm>
              <a:off x="2788371" y="1882618"/>
              <a:ext cx="163" cy="149"/>
            </a:xfrm>
            <a:custGeom>
              <a:avLst/>
              <a:gdLst/>
              <a:ahLst/>
              <a:cxnLst/>
              <a:rect l="l" t="t" r="r" b="b"/>
              <a:pathLst>
                <a:path w="12" h="11" extrusionOk="0">
                  <a:moveTo>
                    <a:pt x="11" y="0"/>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263" name="Google Shape;4263;p104"/>
            <p:cNvSpPr/>
            <p:nvPr/>
          </p:nvSpPr>
          <p:spPr>
            <a:xfrm>
              <a:off x="2786185" y="1886514"/>
              <a:ext cx="14" cy="149"/>
            </a:xfrm>
            <a:custGeom>
              <a:avLst/>
              <a:gdLst/>
              <a:ahLst/>
              <a:cxnLst/>
              <a:rect l="l" t="t" r="r" b="b"/>
              <a:pathLst>
                <a:path w="1" h="11" extrusionOk="0">
                  <a:moveTo>
                    <a:pt x="1" y="0"/>
                  </a:moveTo>
                  <a:cubicBezTo>
                    <a:pt x="1" y="4"/>
                    <a:pt x="1" y="7"/>
                    <a:pt x="1" y="11"/>
                  </a:cubicBezTo>
                  <a:cubicBezTo>
                    <a:pt x="1" y="7"/>
                    <a:pt x="1" y="4"/>
                    <a:pt x="1"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264" name="Google Shape;4264;p104"/>
            <p:cNvSpPr/>
            <p:nvPr/>
          </p:nvSpPr>
          <p:spPr>
            <a:xfrm>
              <a:off x="2786376" y="1885795"/>
              <a:ext cx="68" cy="163"/>
            </a:xfrm>
            <a:custGeom>
              <a:avLst/>
              <a:gdLst/>
              <a:ahLst/>
              <a:cxnLst/>
              <a:rect l="l" t="t" r="r" b="b"/>
              <a:pathLst>
                <a:path w="5" h="12" extrusionOk="0">
                  <a:moveTo>
                    <a:pt x="4" y="1"/>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265" name="Google Shape;4265;p104"/>
            <p:cNvSpPr/>
            <p:nvPr/>
          </p:nvSpPr>
          <p:spPr>
            <a:xfrm>
              <a:off x="2786280" y="1886039"/>
              <a:ext cx="68" cy="149"/>
            </a:xfrm>
            <a:custGeom>
              <a:avLst/>
              <a:gdLst/>
              <a:ahLst/>
              <a:cxnLst/>
              <a:rect l="l" t="t" r="r" b="b"/>
              <a:pathLst>
                <a:path w="5" h="11" extrusionOk="0">
                  <a:moveTo>
                    <a:pt x="4" y="0"/>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266" name="Google Shape;4266;p104"/>
            <p:cNvSpPr/>
            <p:nvPr/>
          </p:nvSpPr>
          <p:spPr>
            <a:xfrm>
              <a:off x="2787801" y="1883378"/>
              <a:ext cx="163" cy="204"/>
            </a:xfrm>
            <a:custGeom>
              <a:avLst/>
              <a:gdLst/>
              <a:ahLst/>
              <a:cxnLst/>
              <a:rect l="l" t="t" r="r" b="b"/>
              <a:pathLst>
                <a:path w="12" h="15" extrusionOk="0">
                  <a:moveTo>
                    <a:pt x="11" y="0"/>
                  </a:moveTo>
                  <a:lnTo>
                    <a:pt x="1" y="14"/>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267" name="Google Shape;4267;p104"/>
            <p:cNvSpPr/>
            <p:nvPr/>
          </p:nvSpPr>
          <p:spPr>
            <a:xfrm>
              <a:off x="2788657" y="1882237"/>
              <a:ext cx="163" cy="149"/>
            </a:xfrm>
            <a:custGeom>
              <a:avLst/>
              <a:gdLst/>
              <a:ahLst/>
              <a:cxnLst/>
              <a:rect l="l" t="t" r="r" b="b"/>
              <a:pathLst>
                <a:path w="12" h="11" extrusionOk="0">
                  <a:moveTo>
                    <a:pt x="11" y="0"/>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268" name="Google Shape;4268;p104"/>
            <p:cNvSpPr/>
            <p:nvPr/>
          </p:nvSpPr>
          <p:spPr>
            <a:xfrm>
              <a:off x="2786185" y="1886270"/>
              <a:ext cx="68" cy="163"/>
            </a:xfrm>
            <a:custGeom>
              <a:avLst/>
              <a:gdLst/>
              <a:ahLst/>
              <a:cxnLst/>
              <a:rect l="l" t="t" r="r" b="b"/>
              <a:pathLst>
                <a:path w="5" h="12" extrusionOk="0">
                  <a:moveTo>
                    <a:pt x="4" y="1"/>
                  </a:moveTo>
                  <a:cubicBezTo>
                    <a:pt x="1" y="4"/>
                    <a:pt x="1" y="8"/>
                    <a:pt x="1" y="11"/>
                  </a:cubicBezTo>
                  <a:cubicBezTo>
                    <a:pt x="4" y="8"/>
                    <a:pt x="4" y="4"/>
                    <a:pt x="4" y="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269" name="Google Shape;4269;p104"/>
            <p:cNvSpPr/>
            <p:nvPr/>
          </p:nvSpPr>
          <p:spPr>
            <a:xfrm>
              <a:off x="2785289" y="1888320"/>
              <a:ext cx="109" cy="109"/>
            </a:xfrm>
            <a:custGeom>
              <a:avLst/>
              <a:gdLst/>
              <a:ahLst/>
              <a:cxnLst/>
              <a:rect l="l" t="t" r="r" b="b"/>
              <a:pathLst>
                <a:path w="8" h="8" extrusionOk="0">
                  <a:moveTo>
                    <a:pt x="7"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270" name="Google Shape;4270;p104"/>
            <p:cNvSpPr/>
            <p:nvPr/>
          </p:nvSpPr>
          <p:spPr>
            <a:xfrm>
              <a:off x="2786050" y="1887180"/>
              <a:ext cx="54" cy="149"/>
            </a:xfrm>
            <a:custGeom>
              <a:avLst/>
              <a:gdLst/>
              <a:ahLst/>
              <a:cxnLst/>
              <a:rect l="l" t="t" r="r" b="b"/>
              <a:pathLst>
                <a:path w="4" h="11" extrusionOk="0">
                  <a:moveTo>
                    <a:pt x="4" y="0"/>
                  </a:moveTo>
                  <a:cubicBezTo>
                    <a:pt x="4" y="4"/>
                    <a:pt x="0" y="7"/>
                    <a:pt x="0" y="11"/>
                  </a:cubicBezTo>
                  <a:cubicBezTo>
                    <a:pt x="0" y="7"/>
                    <a:pt x="4" y="4"/>
                    <a:pt x="4"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271" name="Google Shape;4271;p104"/>
            <p:cNvSpPr/>
            <p:nvPr/>
          </p:nvSpPr>
          <p:spPr>
            <a:xfrm>
              <a:off x="2785860" y="1887601"/>
              <a:ext cx="109" cy="163"/>
            </a:xfrm>
            <a:custGeom>
              <a:avLst/>
              <a:gdLst/>
              <a:ahLst/>
              <a:cxnLst/>
              <a:rect l="l" t="t" r="r" b="b"/>
              <a:pathLst>
                <a:path w="8" h="12" extrusionOk="0">
                  <a:moveTo>
                    <a:pt x="7" y="1"/>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272" name="Google Shape;4272;p104"/>
            <p:cNvSpPr/>
            <p:nvPr/>
          </p:nvSpPr>
          <p:spPr>
            <a:xfrm>
              <a:off x="2787570" y="1883758"/>
              <a:ext cx="109" cy="204"/>
            </a:xfrm>
            <a:custGeom>
              <a:avLst/>
              <a:gdLst/>
              <a:ahLst/>
              <a:cxnLst/>
              <a:rect l="l" t="t" r="r" b="b"/>
              <a:pathLst>
                <a:path w="8" h="15" extrusionOk="0">
                  <a:moveTo>
                    <a:pt x="7" y="0"/>
                  </a:moveTo>
                  <a:lnTo>
                    <a:pt x="0" y="14"/>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273" name="Google Shape;4273;p104"/>
            <p:cNvSpPr/>
            <p:nvPr/>
          </p:nvSpPr>
          <p:spPr>
            <a:xfrm>
              <a:off x="2789281" y="1881572"/>
              <a:ext cx="54" cy="109"/>
            </a:xfrm>
            <a:custGeom>
              <a:avLst/>
              <a:gdLst/>
              <a:ahLst/>
              <a:cxnLst/>
              <a:rect l="l" t="t" r="r" b="b"/>
              <a:pathLst>
                <a:path w="4" h="8" extrusionOk="0">
                  <a:moveTo>
                    <a:pt x="0" y="7"/>
                  </a:moveTo>
                  <a:lnTo>
                    <a:pt x="4" y="0"/>
                  </a:lnTo>
                  <a:lnTo>
                    <a:pt x="4"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274" name="Google Shape;4274;p104"/>
            <p:cNvSpPr/>
            <p:nvPr/>
          </p:nvSpPr>
          <p:spPr>
            <a:xfrm>
              <a:off x="2787285" y="1884138"/>
              <a:ext cx="149" cy="149"/>
            </a:xfrm>
            <a:custGeom>
              <a:avLst/>
              <a:gdLst/>
              <a:ahLst/>
              <a:cxnLst/>
              <a:rect l="l" t="t" r="r" b="b"/>
              <a:pathLst>
                <a:path w="11" h="11" extrusionOk="0">
                  <a:moveTo>
                    <a:pt x="11" y="0"/>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275" name="Google Shape;4275;p104"/>
            <p:cNvSpPr/>
            <p:nvPr/>
          </p:nvSpPr>
          <p:spPr>
            <a:xfrm>
              <a:off x="2787041" y="1884464"/>
              <a:ext cx="163" cy="204"/>
            </a:xfrm>
            <a:custGeom>
              <a:avLst/>
              <a:gdLst/>
              <a:ahLst/>
              <a:cxnLst/>
              <a:rect l="l" t="t" r="r" b="b"/>
              <a:pathLst>
                <a:path w="12" h="15" extrusionOk="0">
                  <a:moveTo>
                    <a:pt x="11" y="1"/>
                  </a:moveTo>
                  <a:lnTo>
                    <a:pt x="1" y="15"/>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276" name="Google Shape;4276;p104"/>
            <p:cNvSpPr/>
            <p:nvPr/>
          </p:nvSpPr>
          <p:spPr>
            <a:xfrm>
              <a:off x="2786851" y="1884844"/>
              <a:ext cx="109" cy="163"/>
            </a:xfrm>
            <a:custGeom>
              <a:avLst/>
              <a:gdLst/>
              <a:ahLst/>
              <a:cxnLst/>
              <a:rect l="l" t="t" r="r" b="b"/>
              <a:pathLst>
                <a:path w="8" h="12" extrusionOk="0">
                  <a:moveTo>
                    <a:pt x="8" y="1"/>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277" name="Google Shape;4277;p104"/>
            <p:cNvSpPr/>
            <p:nvPr/>
          </p:nvSpPr>
          <p:spPr>
            <a:xfrm>
              <a:off x="2786715" y="1885184"/>
              <a:ext cx="109" cy="149"/>
            </a:xfrm>
            <a:custGeom>
              <a:avLst/>
              <a:gdLst/>
              <a:ahLst/>
              <a:cxnLst/>
              <a:rect l="l" t="t" r="r" b="b"/>
              <a:pathLst>
                <a:path w="8" h="11" extrusionOk="0">
                  <a:moveTo>
                    <a:pt x="7" y="0"/>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278" name="Google Shape;4278;p104"/>
            <p:cNvSpPr/>
            <p:nvPr/>
          </p:nvSpPr>
          <p:spPr>
            <a:xfrm>
              <a:off x="2836191" y="1932053"/>
              <a:ext cx="109" cy="530"/>
            </a:xfrm>
            <a:custGeom>
              <a:avLst/>
              <a:gdLst/>
              <a:ahLst/>
              <a:cxnLst/>
              <a:rect l="l" t="t" r="r" b="b"/>
              <a:pathLst>
                <a:path w="8" h="39" extrusionOk="0">
                  <a:moveTo>
                    <a:pt x="8" y="0"/>
                  </a:moveTo>
                  <a:cubicBezTo>
                    <a:pt x="4" y="11"/>
                    <a:pt x="1" y="25"/>
                    <a:pt x="1" y="39"/>
                  </a:cubicBezTo>
                  <a:cubicBezTo>
                    <a:pt x="1" y="25"/>
                    <a:pt x="8" y="11"/>
                    <a:pt x="8"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279" name="Google Shape;4279;p104"/>
            <p:cNvSpPr/>
            <p:nvPr/>
          </p:nvSpPr>
          <p:spPr>
            <a:xfrm>
              <a:off x="2836056" y="1932664"/>
              <a:ext cx="149" cy="2064"/>
            </a:xfrm>
            <a:custGeom>
              <a:avLst/>
              <a:gdLst/>
              <a:ahLst/>
              <a:cxnLst/>
              <a:rect l="l" t="t" r="r" b="b"/>
              <a:pathLst>
                <a:path w="11" h="152" extrusionOk="0">
                  <a:moveTo>
                    <a:pt x="11" y="1"/>
                  </a:moveTo>
                  <a:cubicBezTo>
                    <a:pt x="4" y="46"/>
                    <a:pt x="0" y="99"/>
                    <a:pt x="0" y="151"/>
                  </a:cubicBezTo>
                  <a:cubicBezTo>
                    <a:pt x="0" y="102"/>
                    <a:pt x="4" y="50"/>
                    <a:pt x="11" y="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280" name="Google Shape;4280;p104"/>
            <p:cNvSpPr/>
            <p:nvPr/>
          </p:nvSpPr>
          <p:spPr>
            <a:xfrm>
              <a:off x="2797075" y="1875245"/>
              <a:ext cx="14" cy="14"/>
            </a:xfrm>
            <a:custGeom>
              <a:avLst/>
              <a:gdLst/>
              <a:ahLst/>
              <a:cxnLst/>
              <a:rect l="l" t="t" r="r" b="b"/>
              <a:pathLst>
                <a:path w="1" h="1" extrusionOk="0">
                  <a:moveTo>
                    <a:pt x="1" y="1"/>
                  </a:moveTo>
                  <a:lnTo>
                    <a:pt x="1" y="1"/>
                  </a:lnTo>
                  <a:lnTo>
                    <a:pt x="1"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281" name="Google Shape;4281;p104"/>
            <p:cNvSpPr/>
            <p:nvPr/>
          </p:nvSpPr>
          <p:spPr>
            <a:xfrm>
              <a:off x="2825316" y="1938231"/>
              <a:ext cx="339" cy="815"/>
            </a:xfrm>
            <a:custGeom>
              <a:avLst/>
              <a:gdLst/>
              <a:ahLst/>
              <a:cxnLst/>
              <a:rect l="l" t="t" r="r" b="b"/>
              <a:pathLst>
                <a:path w="25" h="60" extrusionOk="0">
                  <a:moveTo>
                    <a:pt x="25" y="0"/>
                  </a:moveTo>
                  <a:cubicBezTo>
                    <a:pt x="21" y="21"/>
                    <a:pt x="14" y="42"/>
                    <a:pt x="0" y="60"/>
                  </a:cubicBezTo>
                  <a:cubicBezTo>
                    <a:pt x="14" y="42"/>
                    <a:pt x="21" y="21"/>
                    <a:pt x="25"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282" name="Google Shape;4282;p104"/>
            <p:cNvSpPr/>
            <p:nvPr/>
          </p:nvSpPr>
          <p:spPr>
            <a:xfrm>
              <a:off x="2832009" y="1935380"/>
              <a:ext cx="353" cy="149"/>
            </a:xfrm>
            <a:custGeom>
              <a:avLst/>
              <a:gdLst/>
              <a:ahLst/>
              <a:cxnLst/>
              <a:rect l="l" t="t" r="r" b="b"/>
              <a:pathLst>
                <a:path w="26" h="11" extrusionOk="0">
                  <a:moveTo>
                    <a:pt x="25" y="11"/>
                  </a:moveTo>
                  <a:cubicBezTo>
                    <a:pt x="15" y="7"/>
                    <a:pt x="8" y="4"/>
                    <a:pt x="1" y="0"/>
                  </a:cubicBezTo>
                  <a:cubicBezTo>
                    <a:pt x="8" y="4"/>
                    <a:pt x="15" y="7"/>
                    <a:pt x="25" y="1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283" name="Google Shape;4283;p104"/>
            <p:cNvSpPr/>
            <p:nvPr/>
          </p:nvSpPr>
          <p:spPr>
            <a:xfrm>
              <a:off x="2832960" y="1935570"/>
              <a:ext cx="353" cy="14"/>
            </a:xfrm>
            <a:custGeom>
              <a:avLst/>
              <a:gdLst/>
              <a:ahLst/>
              <a:cxnLst/>
              <a:rect l="l" t="t" r="r" b="b"/>
              <a:pathLst>
                <a:path w="26" h="1" extrusionOk="0">
                  <a:moveTo>
                    <a:pt x="25"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284" name="Google Shape;4284;p104"/>
            <p:cNvSpPr/>
            <p:nvPr/>
          </p:nvSpPr>
          <p:spPr>
            <a:xfrm>
              <a:off x="2824881" y="1938516"/>
              <a:ext cx="394" cy="625"/>
            </a:xfrm>
            <a:custGeom>
              <a:avLst/>
              <a:gdLst/>
              <a:ahLst/>
              <a:cxnLst/>
              <a:rect l="l" t="t" r="r" b="b"/>
              <a:pathLst>
                <a:path w="29" h="46" extrusionOk="0">
                  <a:moveTo>
                    <a:pt x="1" y="0"/>
                  </a:moveTo>
                  <a:cubicBezTo>
                    <a:pt x="15" y="14"/>
                    <a:pt x="22" y="28"/>
                    <a:pt x="29" y="46"/>
                  </a:cubicBezTo>
                  <a:lnTo>
                    <a:pt x="29" y="46"/>
                  </a:lnTo>
                  <a:cubicBezTo>
                    <a:pt x="22" y="28"/>
                    <a:pt x="15" y="14"/>
                    <a:pt x="1"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285" name="Google Shape;4285;p104"/>
            <p:cNvSpPr/>
            <p:nvPr/>
          </p:nvSpPr>
          <p:spPr>
            <a:xfrm>
              <a:off x="2835865" y="1934714"/>
              <a:ext cx="149" cy="109"/>
            </a:xfrm>
            <a:custGeom>
              <a:avLst/>
              <a:gdLst/>
              <a:ahLst/>
              <a:cxnLst/>
              <a:rect l="l" t="t" r="r" b="b"/>
              <a:pathLst>
                <a:path w="11" h="8" extrusionOk="0">
                  <a:moveTo>
                    <a:pt x="0" y="7"/>
                  </a:moveTo>
                  <a:lnTo>
                    <a:pt x="11" y="0"/>
                  </a:lnTo>
                  <a:lnTo>
                    <a:pt x="11"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286" name="Google Shape;4286;p104"/>
            <p:cNvSpPr/>
            <p:nvPr/>
          </p:nvSpPr>
          <p:spPr>
            <a:xfrm>
              <a:off x="2833489" y="1935570"/>
              <a:ext cx="339" cy="14"/>
            </a:xfrm>
            <a:custGeom>
              <a:avLst/>
              <a:gdLst/>
              <a:ahLst/>
              <a:cxnLst/>
              <a:rect l="l" t="t" r="r" b="b"/>
              <a:pathLst>
                <a:path w="25" h="1" extrusionOk="0">
                  <a:moveTo>
                    <a:pt x="25"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287" name="Google Shape;4287;p104"/>
            <p:cNvSpPr/>
            <p:nvPr/>
          </p:nvSpPr>
          <p:spPr>
            <a:xfrm>
              <a:off x="2832444" y="1935516"/>
              <a:ext cx="339" cy="68"/>
            </a:xfrm>
            <a:custGeom>
              <a:avLst/>
              <a:gdLst/>
              <a:ahLst/>
              <a:cxnLst/>
              <a:rect l="l" t="t" r="r" b="b"/>
              <a:pathLst>
                <a:path w="25" h="5" extrusionOk="0">
                  <a:moveTo>
                    <a:pt x="0" y="1"/>
                  </a:moveTo>
                  <a:cubicBezTo>
                    <a:pt x="7" y="1"/>
                    <a:pt x="18" y="4"/>
                    <a:pt x="25" y="4"/>
                  </a:cubicBezTo>
                  <a:cubicBezTo>
                    <a:pt x="18" y="4"/>
                    <a:pt x="11" y="1"/>
                    <a:pt x="0" y="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288" name="Google Shape;4288;p104"/>
            <p:cNvSpPr/>
            <p:nvPr/>
          </p:nvSpPr>
          <p:spPr>
            <a:xfrm>
              <a:off x="2834671" y="1935230"/>
              <a:ext cx="353" cy="163"/>
            </a:xfrm>
            <a:custGeom>
              <a:avLst/>
              <a:gdLst/>
              <a:ahLst/>
              <a:cxnLst/>
              <a:rect l="l" t="t" r="r" b="b"/>
              <a:pathLst>
                <a:path w="26" h="12" extrusionOk="0">
                  <a:moveTo>
                    <a:pt x="25" y="1"/>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289" name="Google Shape;4289;p104"/>
            <p:cNvSpPr/>
            <p:nvPr/>
          </p:nvSpPr>
          <p:spPr>
            <a:xfrm>
              <a:off x="2834060" y="1935421"/>
              <a:ext cx="339" cy="109"/>
            </a:xfrm>
            <a:custGeom>
              <a:avLst/>
              <a:gdLst/>
              <a:ahLst/>
              <a:cxnLst/>
              <a:rect l="l" t="t" r="r" b="b"/>
              <a:pathLst>
                <a:path w="25" h="8" extrusionOk="0">
                  <a:moveTo>
                    <a:pt x="25" y="1"/>
                  </a:moveTo>
                  <a:lnTo>
                    <a:pt x="0" y="8"/>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290" name="Google Shape;4290;p104"/>
            <p:cNvSpPr/>
            <p:nvPr/>
          </p:nvSpPr>
          <p:spPr>
            <a:xfrm>
              <a:off x="2835241" y="1934945"/>
              <a:ext cx="353" cy="204"/>
            </a:xfrm>
            <a:custGeom>
              <a:avLst/>
              <a:gdLst/>
              <a:ahLst/>
              <a:cxnLst/>
              <a:rect l="l" t="t" r="r" b="b"/>
              <a:pathLst>
                <a:path w="26" h="15" extrusionOk="0">
                  <a:moveTo>
                    <a:pt x="25" y="1"/>
                  </a:moveTo>
                  <a:lnTo>
                    <a:pt x="1" y="15"/>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291" name="Google Shape;4291;p104"/>
            <p:cNvSpPr/>
            <p:nvPr/>
          </p:nvSpPr>
          <p:spPr>
            <a:xfrm>
              <a:off x="2836056" y="1934714"/>
              <a:ext cx="14" cy="14"/>
            </a:xfrm>
            <a:custGeom>
              <a:avLst/>
              <a:gdLst/>
              <a:ahLst/>
              <a:cxnLst/>
              <a:rect l="l" t="t" r="r" b="b"/>
              <a:pathLst>
                <a:path w="1" h="1" extrusionOk="0">
                  <a:moveTo>
                    <a:pt x="0"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292" name="Google Shape;4292;p104"/>
            <p:cNvSpPr/>
            <p:nvPr/>
          </p:nvSpPr>
          <p:spPr>
            <a:xfrm>
              <a:off x="2764461" y="1889977"/>
              <a:ext cx="57148" cy="110439"/>
            </a:xfrm>
            <a:custGeom>
              <a:avLst/>
              <a:gdLst/>
              <a:ahLst/>
              <a:cxnLst/>
              <a:rect l="l" t="t" r="r" b="b"/>
              <a:pathLst>
                <a:path w="4209" h="8134" extrusionOk="0">
                  <a:moveTo>
                    <a:pt x="1335" y="1"/>
                  </a:moveTo>
                  <a:cubicBezTo>
                    <a:pt x="1324" y="8"/>
                    <a:pt x="1317" y="15"/>
                    <a:pt x="1314" y="25"/>
                  </a:cubicBezTo>
                  <a:cubicBezTo>
                    <a:pt x="1286" y="92"/>
                    <a:pt x="1205" y="127"/>
                    <a:pt x="1107" y="162"/>
                  </a:cubicBezTo>
                  <a:lnTo>
                    <a:pt x="1062" y="180"/>
                  </a:lnTo>
                  <a:cubicBezTo>
                    <a:pt x="967" y="211"/>
                    <a:pt x="845" y="253"/>
                    <a:pt x="813" y="313"/>
                  </a:cubicBezTo>
                  <a:cubicBezTo>
                    <a:pt x="723" y="471"/>
                    <a:pt x="500" y="477"/>
                    <a:pt x="390" y="477"/>
                  </a:cubicBezTo>
                  <a:cubicBezTo>
                    <a:pt x="381" y="477"/>
                    <a:pt x="372" y="477"/>
                    <a:pt x="365" y="477"/>
                  </a:cubicBezTo>
                  <a:lnTo>
                    <a:pt x="344" y="477"/>
                  </a:lnTo>
                  <a:cubicBezTo>
                    <a:pt x="341" y="477"/>
                    <a:pt x="124" y="481"/>
                    <a:pt x="106" y="593"/>
                  </a:cubicBezTo>
                  <a:lnTo>
                    <a:pt x="103" y="631"/>
                  </a:lnTo>
                  <a:cubicBezTo>
                    <a:pt x="78" y="810"/>
                    <a:pt x="1" y="1352"/>
                    <a:pt x="1" y="1447"/>
                  </a:cubicBezTo>
                  <a:cubicBezTo>
                    <a:pt x="4" y="1524"/>
                    <a:pt x="278" y="1846"/>
                    <a:pt x="369" y="1881"/>
                  </a:cubicBezTo>
                  <a:cubicBezTo>
                    <a:pt x="463" y="1919"/>
                    <a:pt x="460" y="2024"/>
                    <a:pt x="456" y="2112"/>
                  </a:cubicBezTo>
                  <a:cubicBezTo>
                    <a:pt x="453" y="2186"/>
                    <a:pt x="453" y="2238"/>
                    <a:pt x="481" y="2252"/>
                  </a:cubicBezTo>
                  <a:cubicBezTo>
                    <a:pt x="589" y="2305"/>
                    <a:pt x="607" y="2434"/>
                    <a:pt x="565" y="2532"/>
                  </a:cubicBezTo>
                  <a:cubicBezTo>
                    <a:pt x="551" y="2574"/>
                    <a:pt x="516" y="2613"/>
                    <a:pt x="474" y="2630"/>
                  </a:cubicBezTo>
                  <a:lnTo>
                    <a:pt x="474" y="2665"/>
                  </a:lnTo>
                  <a:cubicBezTo>
                    <a:pt x="481" y="2770"/>
                    <a:pt x="488" y="2924"/>
                    <a:pt x="386" y="3008"/>
                  </a:cubicBezTo>
                  <a:cubicBezTo>
                    <a:pt x="365" y="3029"/>
                    <a:pt x="351" y="3061"/>
                    <a:pt x="355" y="3089"/>
                  </a:cubicBezTo>
                  <a:cubicBezTo>
                    <a:pt x="355" y="3204"/>
                    <a:pt x="446" y="3369"/>
                    <a:pt x="582" y="3491"/>
                  </a:cubicBezTo>
                  <a:cubicBezTo>
                    <a:pt x="820" y="3705"/>
                    <a:pt x="820" y="4034"/>
                    <a:pt x="820" y="4212"/>
                  </a:cubicBezTo>
                  <a:cubicBezTo>
                    <a:pt x="824" y="4265"/>
                    <a:pt x="848" y="4314"/>
                    <a:pt x="887" y="4349"/>
                  </a:cubicBezTo>
                  <a:cubicBezTo>
                    <a:pt x="953" y="4423"/>
                    <a:pt x="992" y="4521"/>
                    <a:pt x="992" y="4622"/>
                  </a:cubicBezTo>
                  <a:lnTo>
                    <a:pt x="992" y="4629"/>
                  </a:lnTo>
                  <a:lnTo>
                    <a:pt x="992" y="4636"/>
                  </a:lnTo>
                  <a:lnTo>
                    <a:pt x="985" y="4664"/>
                  </a:lnTo>
                  <a:lnTo>
                    <a:pt x="985" y="4671"/>
                  </a:lnTo>
                  <a:lnTo>
                    <a:pt x="978" y="4696"/>
                  </a:lnTo>
                  <a:lnTo>
                    <a:pt x="974" y="4706"/>
                  </a:lnTo>
                  <a:lnTo>
                    <a:pt x="967" y="4724"/>
                  </a:lnTo>
                  <a:lnTo>
                    <a:pt x="964" y="4741"/>
                  </a:lnTo>
                  <a:lnTo>
                    <a:pt x="960" y="4759"/>
                  </a:lnTo>
                  <a:lnTo>
                    <a:pt x="953" y="4773"/>
                  </a:lnTo>
                  <a:lnTo>
                    <a:pt x="950" y="4790"/>
                  </a:lnTo>
                  <a:lnTo>
                    <a:pt x="943" y="4808"/>
                  </a:lnTo>
                  <a:lnTo>
                    <a:pt x="939" y="4825"/>
                  </a:lnTo>
                  <a:lnTo>
                    <a:pt x="932" y="4843"/>
                  </a:lnTo>
                  <a:lnTo>
                    <a:pt x="929" y="4864"/>
                  </a:lnTo>
                  <a:lnTo>
                    <a:pt x="922" y="4881"/>
                  </a:lnTo>
                  <a:lnTo>
                    <a:pt x="915" y="4899"/>
                  </a:lnTo>
                  <a:lnTo>
                    <a:pt x="908" y="4916"/>
                  </a:lnTo>
                  <a:lnTo>
                    <a:pt x="901" y="4937"/>
                  </a:lnTo>
                  <a:lnTo>
                    <a:pt x="897" y="4955"/>
                  </a:lnTo>
                  <a:lnTo>
                    <a:pt x="890" y="4976"/>
                  </a:lnTo>
                  <a:lnTo>
                    <a:pt x="883" y="4993"/>
                  </a:lnTo>
                  <a:lnTo>
                    <a:pt x="876" y="5014"/>
                  </a:lnTo>
                  <a:lnTo>
                    <a:pt x="869" y="5032"/>
                  </a:lnTo>
                  <a:lnTo>
                    <a:pt x="862" y="5049"/>
                  </a:lnTo>
                  <a:lnTo>
                    <a:pt x="855" y="5070"/>
                  </a:lnTo>
                  <a:lnTo>
                    <a:pt x="848" y="5091"/>
                  </a:lnTo>
                  <a:lnTo>
                    <a:pt x="838" y="5109"/>
                  </a:lnTo>
                  <a:lnTo>
                    <a:pt x="831" y="5130"/>
                  </a:lnTo>
                  <a:lnTo>
                    <a:pt x="824" y="5147"/>
                  </a:lnTo>
                  <a:lnTo>
                    <a:pt x="813" y="5172"/>
                  </a:lnTo>
                  <a:lnTo>
                    <a:pt x="803" y="5200"/>
                  </a:lnTo>
                  <a:lnTo>
                    <a:pt x="792" y="5221"/>
                  </a:lnTo>
                  <a:lnTo>
                    <a:pt x="785" y="5238"/>
                  </a:lnTo>
                  <a:lnTo>
                    <a:pt x="775" y="5256"/>
                  </a:lnTo>
                  <a:lnTo>
                    <a:pt x="768" y="5273"/>
                  </a:lnTo>
                  <a:lnTo>
                    <a:pt x="757" y="5291"/>
                  </a:lnTo>
                  <a:lnTo>
                    <a:pt x="750" y="5308"/>
                  </a:lnTo>
                  <a:lnTo>
                    <a:pt x="740" y="5326"/>
                  </a:lnTo>
                  <a:lnTo>
                    <a:pt x="733" y="5340"/>
                  </a:lnTo>
                  <a:lnTo>
                    <a:pt x="722" y="5357"/>
                  </a:lnTo>
                  <a:lnTo>
                    <a:pt x="715" y="5371"/>
                  </a:lnTo>
                  <a:lnTo>
                    <a:pt x="705" y="5389"/>
                  </a:lnTo>
                  <a:lnTo>
                    <a:pt x="694" y="5403"/>
                  </a:lnTo>
                  <a:lnTo>
                    <a:pt x="687" y="5420"/>
                  </a:lnTo>
                  <a:lnTo>
                    <a:pt x="677" y="5431"/>
                  </a:lnTo>
                  <a:lnTo>
                    <a:pt x="666" y="5445"/>
                  </a:lnTo>
                  <a:lnTo>
                    <a:pt x="656" y="5459"/>
                  </a:lnTo>
                  <a:lnTo>
                    <a:pt x="649" y="5473"/>
                  </a:lnTo>
                  <a:lnTo>
                    <a:pt x="638" y="5483"/>
                  </a:lnTo>
                  <a:lnTo>
                    <a:pt x="628" y="5497"/>
                  </a:lnTo>
                  <a:lnTo>
                    <a:pt x="617" y="5508"/>
                  </a:lnTo>
                  <a:lnTo>
                    <a:pt x="607" y="5518"/>
                  </a:lnTo>
                  <a:lnTo>
                    <a:pt x="600" y="5529"/>
                  </a:lnTo>
                  <a:lnTo>
                    <a:pt x="586" y="5536"/>
                  </a:lnTo>
                  <a:lnTo>
                    <a:pt x="579" y="5546"/>
                  </a:lnTo>
                  <a:lnTo>
                    <a:pt x="565" y="5553"/>
                  </a:lnTo>
                  <a:lnTo>
                    <a:pt x="558" y="5560"/>
                  </a:lnTo>
                  <a:lnTo>
                    <a:pt x="544" y="5571"/>
                  </a:lnTo>
                  <a:lnTo>
                    <a:pt x="537" y="5571"/>
                  </a:lnTo>
                  <a:cubicBezTo>
                    <a:pt x="530" y="5574"/>
                    <a:pt x="523" y="5578"/>
                    <a:pt x="516" y="5581"/>
                  </a:cubicBezTo>
                  <a:cubicBezTo>
                    <a:pt x="505" y="5644"/>
                    <a:pt x="491" y="5718"/>
                    <a:pt x="481" y="5795"/>
                  </a:cubicBezTo>
                  <a:cubicBezTo>
                    <a:pt x="442" y="5998"/>
                    <a:pt x="407" y="6204"/>
                    <a:pt x="372" y="6345"/>
                  </a:cubicBezTo>
                  <a:cubicBezTo>
                    <a:pt x="341" y="6460"/>
                    <a:pt x="285" y="6681"/>
                    <a:pt x="323" y="6737"/>
                  </a:cubicBezTo>
                  <a:cubicBezTo>
                    <a:pt x="327" y="6740"/>
                    <a:pt x="330" y="6747"/>
                    <a:pt x="348" y="6747"/>
                  </a:cubicBezTo>
                  <a:cubicBezTo>
                    <a:pt x="491" y="6765"/>
                    <a:pt x="719" y="6982"/>
                    <a:pt x="1111" y="7475"/>
                  </a:cubicBezTo>
                  <a:cubicBezTo>
                    <a:pt x="1170" y="7552"/>
                    <a:pt x="1223" y="7633"/>
                    <a:pt x="1265" y="7720"/>
                  </a:cubicBezTo>
                  <a:lnTo>
                    <a:pt x="1398" y="7720"/>
                  </a:lnTo>
                  <a:lnTo>
                    <a:pt x="1447" y="7724"/>
                  </a:lnTo>
                  <a:lnTo>
                    <a:pt x="1475" y="7727"/>
                  </a:lnTo>
                  <a:cubicBezTo>
                    <a:pt x="1503" y="7731"/>
                    <a:pt x="1527" y="7734"/>
                    <a:pt x="1552" y="7741"/>
                  </a:cubicBezTo>
                  <a:cubicBezTo>
                    <a:pt x="1737" y="7769"/>
                    <a:pt x="1874" y="7930"/>
                    <a:pt x="1874" y="8116"/>
                  </a:cubicBezTo>
                  <a:cubicBezTo>
                    <a:pt x="1898" y="8129"/>
                    <a:pt x="1958" y="8134"/>
                    <a:pt x="2024" y="8134"/>
                  </a:cubicBezTo>
                  <a:cubicBezTo>
                    <a:pt x="2085" y="8134"/>
                    <a:pt x="2151" y="8130"/>
                    <a:pt x="2200" y="8123"/>
                  </a:cubicBezTo>
                  <a:lnTo>
                    <a:pt x="2200" y="8116"/>
                  </a:lnTo>
                  <a:lnTo>
                    <a:pt x="2203" y="8102"/>
                  </a:lnTo>
                  <a:lnTo>
                    <a:pt x="2203" y="8098"/>
                  </a:lnTo>
                  <a:cubicBezTo>
                    <a:pt x="2203" y="8091"/>
                    <a:pt x="2207" y="8088"/>
                    <a:pt x="2207" y="8081"/>
                  </a:cubicBezTo>
                  <a:lnTo>
                    <a:pt x="2207" y="8077"/>
                  </a:lnTo>
                  <a:cubicBezTo>
                    <a:pt x="2207" y="8070"/>
                    <a:pt x="2210" y="8067"/>
                    <a:pt x="2214" y="8060"/>
                  </a:cubicBezTo>
                  <a:lnTo>
                    <a:pt x="2214" y="8056"/>
                  </a:lnTo>
                  <a:cubicBezTo>
                    <a:pt x="2214" y="8049"/>
                    <a:pt x="2217" y="8042"/>
                    <a:pt x="2221" y="8035"/>
                  </a:cubicBezTo>
                  <a:lnTo>
                    <a:pt x="2221" y="8032"/>
                  </a:lnTo>
                  <a:cubicBezTo>
                    <a:pt x="2224" y="8025"/>
                    <a:pt x="2228" y="8018"/>
                    <a:pt x="2231" y="8011"/>
                  </a:cubicBezTo>
                  <a:lnTo>
                    <a:pt x="2231" y="8007"/>
                  </a:lnTo>
                  <a:cubicBezTo>
                    <a:pt x="2235" y="8000"/>
                    <a:pt x="2242" y="7993"/>
                    <a:pt x="2245" y="7986"/>
                  </a:cubicBezTo>
                  <a:lnTo>
                    <a:pt x="2249" y="7983"/>
                  </a:lnTo>
                  <a:cubicBezTo>
                    <a:pt x="2256" y="7976"/>
                    <a:pt x="2263" y="7969"/>
                    <a:pt x="2270" y="7962"/>
                  </a:cubicBezTo>
                  <a:cubicBezTo>
                    <a:pt x="2277" y="7955"/>
                    <a:pt x="2284" y="7948"/>
                    <a:pt x="2294" y="7944"/>
                  </a:cubicBezTo>
                  <a:lnTo>
                    <a:pt x="2294" y="7941"/>
                  </a:lnTo>
                  <a:cubicBezTo>
                    <a:pt x="2172" y="7808"/>
                    <a:pt x="1944" y="7678"/>
                    <a:pt x="1765" y="7661"/>
                  </a:cubicBezTo>
                  <a:cubicBezTo>
                    <a:pt x="1653" y="7647"/>
                    <a:pt x="1555" y="7591"/>
                    <a:pt x="1489" y="7500"/>
                  </a:cubicBezTo>
                  <a:cubicBezTo>
                    <a:pt x="1370" y="7346"/>
                    <a:pt x="1314" y="7157"/>
                    <a:pt x="1324" y="6964"/>
                  </a:cubicBezTo>
                  <a:cubicBezTo>
                    <a:pt x="1335" y="6887"/>
                    <a:pt x="1282" y="6807"/>
                    <a:pt x="1230" y="6723"/>
                  </a:cubicBezTo>
                  <a:cubicBezTo>
                    <a:pt x="1177" y="6639"/>
                    <a:pt x="1121" y="6558"/>
                    <a:pt x="1121" y="6460"/>
                  </a:cubicBezTo>
                  <a:cubicBezTo>
                    <a:pt x="1121" y="6394"/>
                    <a:pt x="1086" y="6373"/>
                    <a:pt x="946" y="6320"/>
                  </a:cubicBezTo>
                  <a:cubicBezTo>
                    <a:pt x="904" y="6302"/>
                    <a:pt x="859" y="6285"/>
                    <a:pt x="810" y="6260"/>
                  </a:cubicBezTo>
                  <a:cubicBezTo>
                    <a:pt x="631" y="6173"/>
                    <a:pt x="708" y="5872"/>
                    <a:pt x="782" y="5578"/>
                  </a:cubicBezTo>
                  <a:cubicBezTo>
                    <a:pt x="806" y="5494"/>
                    <a:pt x="824" y="5410"/>
                    <a:pt x="838" y="5322"/>
                  </a:cubicBezTo>
                  <a:cubicBezTo>
                    <a:pt x="848" y="5224"/>
                    <a:pt x="908" y="5077"/>
                    <a:pt x="978" y="4906"/>
                  </a:cubicBezTo>
                  <a:cubicBezTo>
                    <a:pt x="1072" y="4671"/>
                    <a:pt x="1202" y="4349"/>
                    <a:pt x="1146" y="4244"/>
                  </a:cubicBezTo>
                  <a:cubicBezTo>
                    <a:pt x="1107" y="4177"/>
                    <a:pt x="1114" y="4097"/>
                    <a:pt x="1160" y="4037"/>
                  </a:cubicBezTo>
                  <a:cubicBezTo>
                    <a:pt x="1222" y="3951"/>
                    <a:pt x="1355" y="3895"/>
                    <a:pt x="1477" y="3895"/>
                  </a:cubicBezTo>
                  <a:cubicBezTo>
                    <a:pt x="1499" y="3895"/>
                    <a:pt x="1521" y="3897"/>
                    <a:pt x="1541" y="3901"/>
                  </a:cubicBezTo>
                  <a:cubicBezTo>
                    <a:pt x="1629" y="3911"/>
                    <a:pt x="1702" y="3974"/>
                    <a:pt x="1727" y="4058"/>
                  </a:cubicBezTo>
                  <a:lnTo>
                    <a:pt x="1730" y="4072"/>
                  </a:lnTo>
                  <a:cubicBezTo>
                    <a:pt x="1785" y="4276"/>
                    <a:pt x="1804" y="4344"/>
                    <a:pt x="2007" y="4344"/>
                  </a:cubicBezTo>
                  <a:cubicBezTo>
                    <a:pt x="2028" y="4344"/>
                    <a:pt x="2049" y="4343"/>
                    <a:pt x="2073" y="4342"/>
                  </a:cubicBezTo>
                  <a:cubicBezTo>
                    <a:pt x="2084" y="4342"/>
                    <a:pt x="2094" y="4341"/>
                    <a:pt x="2105" y="4341"/>
                  </a:cubicBezTo>
                  <a:cubicBezTo>
                    <a:pt x="2297" y="4341"/>
                    <a:pt x="2389" y="4434"/>
                    <a:pt x="2469" y="4514"/>
                  </a:cubicBezTo>
                  <a:cubicBezTo>
                    <a:pt x="2518" y="4570"/>
                    <a:pt x="2581" y="4615"/>
                    <a:pt x="2655" y="4643"/>
                  </a:cubicBezTo>
                  <a:cubicBezTo>
                    <a:pt x="2655" y="4636"/>
                    <a:pt x="2655" y="4629"/>
                    <a:pt x="2655" y="4619"/>
                  </a:cubicBezTo>
                  <a:lnTo>
                    <a:pt x="2655" y="4615"/>
                  </a:lnTo>
                  <a:cubicBezTo>
                    <a:pt x="2651" y="4608"/>
                    <a:pt x="2651" y="4601"/>
                    <a:pt x="2648" y="4594"/>
                  </a:cubicBezTo>
                  <a:cubicBezTo>
                    <a:pt x="2648" y="4587"/>
                    <a:pt x="2644" y="4577"/>
                    <a:pt x="2641" y="4570"/>
                  </a:cubicBezTo>
                  <a:lnTo>
                    <a:pt x="2637" y="4566"/>
                  </a:lnTo>
                  <a:lnTo>
                    <a:pt x="2627" y="4542"/>
                  </a:lnTo>
                  <a:cubicBezTo>
                    <a:pt x="2585" y="4465"/>
                    <a:pt x="2564" y="4381"/>
                    <a:pt x="2564" y="4297"/>
                  </a:cubicBezTo>
                  <a:cubicBezTo>
                    <a:pt x="2564" y="4237"/>
                    <a:pt x="2543" y="4184"/>
                    <a:pt x="2508" y="4139"/>
                  </a:cubicBezTo>
                  <a:cubicBezTo>
                    <a:pt x="2445" y="4037"/>
                    <a:pt x="2410" y="3946"/>
                    <a:pt x="2557" y="3764"/>
                  </a:cubicBezTo>
                  <a:cubicBezTo>
                    <a:pt x="2732" y="3550"/>
                    <a:pt x="3017" y="3353"/>
                    <a:pt x="3253" y="3353"/>
                  </a:cubicBezTo>
                  <a:cubicBezTo>
                    <a:pt x="3295" y="3353"/>
                    <a:pt x="3335" y="3359"/>
                    <a:pt x="3372" y="3372"/>
                  </a:cubicBezTo>
                  <a:cubicBezTo>
                    <a:pt x="3401" y="3381"/>
                    <a:pt x="3435" y="3384"/>
                    <a:pt x="3473" y="3384"/>
                  </a:cubicBezTo>
                  <a:cubicBezTo>
                    <a:pt x="3542" y="3384"/>
                    <a:pt x="3622" y="3373"/>
                    <a:pt x="3701" y="3362"/>
                  </a:cubicBezTo>
                  <a:cubicBezTo>
                    <a:pt x="3784" y="3349"/>
                    <a:pt x="3864" y="3338"/>
                    <a:pt x="3936" y="3338"/>
                  </a:cubicBezTo>
                  <a:cubicBezTo>
                    <a:pt x="4025" y="3338"/>
                    <a:pt x="4101" y="3356"/>
                    <a:pt x="4149" y="3414"/>
                  </a:cubicBezTo>
                  <a:lnTo>
                    <a:pt x="4156" y="3421"/>
                  </a:lnTo>
                  <a:lnTo>
                    <a:pt x="4171" y="3418"/>
                  </a:lnTo>
                  <a:cubicBezTo>
                    <a:pt x="4174" y="3407"/>
                    <a:pt x="4181" y="3397"/>
                    <a:pt x="4188" y="3386"/>
                  </a:cubicBezTo>
                  <a:cubicBezTo>
                    <a:pt x="4192" y="3376"/>
                    <a:pt x="4195" y="3365"/>
                    <a:pt x="4199" y="3355"/>
                  </a:cubicBezTo>
                  <a:lnTo>
                    <a:pt x="4199" y="3348"/>
                  </a:lnTo>
                  <a:cubicBezTo>
                    <a:pt x="4202" y="3341"/>
                    <a:pt x="4202" y="3330"/>
                    <a:pt x="4206" y="3320"/>
                  </a:cubicBezTo>
                  <a:lnTo>
                    <a:pt x="4206" y="3313"/>
                  </a:lnTo>
                  <a:cubicBezTo>
                    <a:pt x="4206" y="3302"/>
                    <a:pt x="4209" y="3292"/>
                    <a:pt x="4209" y="3281"/>
                  </a:cubicBezTo>
                  <a:lnTo>
                    <a:pt x="4209" y="3278"/>
                  </a:lnTo>
                  <a:lnTo>
                    <a:pt x="4209" y="3246"/>
                  </a:lnTo>
                  <a:lnTo>
                    <a:pt x="4209" y="3243"/>
                  </a:lnTo>
                  <a:cubicBezTo>
                    <a:pt x="4209" y="3232"/>
                    <a:pt x="4209" y="3222"/>
                    <a:pt x="4206" y="3211"/>
                  </a:cubicBezTo>
                  <a:lnTo>
                    <a:pt x="4206" y="3204"/>
                  </a:lnTo>
                  <a:cubicBezTo>
                    <a:pt x="4206" y="3194"/>
                    <a:pt x="4202" y="3180"/>
                    <a:pt x="4202" y="3169"/>
                  </a:cubicBezTo>
                  <a:lnTo>
                    <a:pt x="4202" y="3162"/>
                  </a:lnTo>
                  <a:lnTo>
                    <a:pt x="4199" y="3127"/>
                  </a:lnTo>
                  <a:cubicBezTo>
                    <a:pt x="4185" y="3047"/>
                    <a:pt x="4178" y="2966"/>
                    <a:pt x="4185" y="2889"/>
                  </a:cubicBezTo>
                  <a:cubicBezTo>
                    <a:pt x="4206" y="2634"/>
                    <a:pt x="3985" y="2410"/>
                    <a:pt x="3855" y="2375"/>
                  </a:cubicBezTo>
                  <a:cubicBezTo>
                    <a:pt x="3719" y="2333"/>
                    <a:pt x="3754" y="2154"/>
                    <a:pt x="3785" y="1993"/>
                  </a:cubicBezTo>
                  <a:lnTo>
                    <a:pt x="3789" y="1975"/>
                  </a:lnTo>
                  <a:cubicBezTo>
                    <a:pt x="3803" y="1912"/>
                    <a:pt x="3810" y="1849"/>
                    <a:pt x="3817" y="1786"/>
                  </a:cubicBezTo>
                  <a:cubicBezTo>
                    <a:pt x="3817" y="1751"/>
                    <a:pt x="3810" y="1723"/>
                    <a:pt x="3796" y="1713"/>
                  </a:cubicBezTo>
                  <a:cubicBezTo>
                    <a:pt x="3645" y="1629"/>
                    <a:pt x="3540" y="1496"/>
                    <a:pt x="3435" y="1370"/>
                  </a:cubicBezTo>
                  <a:lnTo>
                    <a:pt x="3379" y="1300"/>
                  </a:lnTo>
                  <a:cubicBezTo>
                    <a:pt x="3346" y="1261"/>
                    <a:pt x="3273" y="1238"/>
                    <a:pt x="3189" y="1238"/>
                  </a:cubicBezTo>
                  <a:cubicBezTo>
                    <a:pt x="3165" y="1238"/>
                    <a:pt x="3141" y="1240"/>
                    <a:pt x="3117" y="1244"/>
                  </a:cubicBezTo>
                  <a:cubicBezTo>
                    <a:pt x="3033" y="1258"/>
                    <a:pt x="2987" y="1289"/>
                    <a:pt x="2977" y="1307"/>
                  </a:cubicBezTo>
                  <a:cubicBezTo>
                    <a:pt x="2938" y="1408"/>
                    <a:pt x="2816" y="1468"/>
                    <a:pt x="2714" y="1482"/>
                  </a:cubicBezTo>
                  <a:cubicBezTo>
                    <a:pt x="2699" y="1485"/>
                    <a:pt x="2685" y="1487"/>
                    <a:pt x="2670" y="1487"/>
                  </a:cubicBezTo>
                  <a:cubicBezTo>
                    <a:pt x="2611" y="1487"/>
                    <a:pt x="2554" y="1460"/>
                    <a:pt x="2515" y="1415"/>
                  </a:cubicBezTo>
                  <a:cubicBezTo>
                    <a:pt x="2494" y="1387"/>
                    <a:pt x="2466" y="1370"/>
                    <a:pt x="2434" y="1366"/>
                  </a:cubicBezTo>
                  <a:cubicBezTo>
                    <a:pt x="2427" y="1365"/>
                    <a:pt x="2419" y="1365"/>
                    <a:pt x="2410" y="1365"/>
                  </a:cubicBezTo>
                  <a:cubicBezTo>
                    <a:pt x="2364" y="1365"/>
                    <a:pt x="2298" y="1383"/>
                    <a:pt x="2207" y="1450"/>
                  </a:cubicBezTo>
                  <a:cubicBezTo>
                    <a:pt x="2179" y="1475"/>
                    <a:pt x="2144" y="1499"/>
                    <a:pt x="2112" y="1527"/>
                  </a:cubicBezTo>
                  <a:cubicBezTo>
                    <a:pt x="1982" y="1630"/>
                    <a:pt x="1859" y="1731"/>
                    <a:pt x="1756" y="1731"/>
                  </a:cubicBezTo>
                  <a:cubicBezTo>
                    <a:pt x="1740" y="1731"/>
                    <a:pt x="1724" y="1729"/>
                    <a:pt x="1709" y="1723"/>
                  </a:cubicBezTo>
                  <a:cubicBezTo>
                    <a:pt x="1657" y="1702"/>
                    <a:pt x="1622" y="1657"/>
                    <a:pt x="1615" y="1601"/>
                  </a:cubicBezTo>
                  <a:cubicBezTo>
                    <a:pt x="1590" y="1506"/>
                    <a:pt x="1615" y="1405"/>
                    <a:pt x="1685" y="1338"/>
                  </a:cubicBezTo>
                  <a:cubicBezTo>
                    <a:pt x="1730" y="1293"/>
                    <a:pt x="1755" y="1230"/>
                    <a:pt x="1755" y="1167"/>
                  </a:cubicBezTo>
                  <a:cubicBezTo>
                    <a:pt x="1755" y="1079"/>
                    <a:pt x="1769" y="992"/>
                    <a:pt x="1793" y="908"/>
                  </a:cubicBezTo>
                  <a:cubicBezTo>
                    <a:pt x="1818" y="806"/>
                    <a:pt x="1839" y="722"/>
                    <a:pt x="1804" y="603"/>
                  </a:cubicBezTo>
                  <a:cubicBezTo>
                    <a:pt x="1790" y="559"/>
                    <a:pt x="1778" y="544"/>
                    <a:pt x="1744" y="544"/>
                  </a:cubicBezTo>
                  <a:cubicBezTo>
                    <a:pt x="1726" y="544"/>
                    <a:pt x="1703" y="548"/>
                    <a:pt x="1671" y="554"/>
                  </a:cubicBezTo>
                  <a:cubicBezTo>
                    <a:pt x="1645" y="559"/>
                    <a:pt x="1613" y="566"/>
                    <a:pt x="1580" y="566"/>
                  </a:cubicBezTo>
                  <a:cubicBezTo>
                    <a:pt x="1522" y="566"/>
                    <a:pt x="1463" y="546"/>
                    <a:pt x="1429" y="467"/>
                  </a:cubicBezTo>
                  <a:cubicBezTo>
                    <a:pt x="1394" y="372"/>
                    <a:pt x="1384" y="271"/>
                    <a:pt x="1394" y="169"/>
                  </a:cubicBezTo>
                  <a:cubicBezTo>
                    <a:pt x="1398" y="134"/>
                    <a:pt x="1398" y="96"/>
                    <a:pt x="1391" y="57"/>
                  </a:cubicBezTo>
                  <a:lnTo>
                    <a:pt x="1387" y="57"/>
                  </a:lnTo>
                  <a:lnTo>
                    <a:pt x="1384" y="50"/>
                  </a:lnTo>
                  <a:lnTo>
                    <a:pt x="1380" y="46"/>
                  </a:lnTo>
                  <a:lnTo>
                    <a:pt x="1373" y="39"/>
                  </a:lnTo>
                  <a:lnTo>
                    <a:pt x="1359" y="25"/>
                  </a:lnTo>
                  <a:lnTo>
                    <a:pt x="1356" y="22"/>
                  </a:lnTo>
                  <a:lnTo>
                    <a:pt x="1345" y="15"/>
                  </a:lnTo>
                  <a:lnTo>
                    <a:pt x="1335" y="4"/>
                  </a:lnTo>
                  <a:lnTo>
                    <a:pt x="1335"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293" name="Google Shape;4293;p104"/>
            <p:cNvSpPr/>
            <p:nvPr/>
          </p:nvSpPr>
          <p:spPr>
            <a:xfrm>
              <a:off x="2774359" y="1962182"/>
              <a:ext cx="149" cy="258"/>
            </a:xfrm>
            <a:custGeom>
              <a:avLst/>
              <a:gdLst/>
              <a:ahLst/>
              <a:cxnLst/>
              <a:rect l="l" t="t" r="r" b="b"/>
              <a:pathLst>
                <a:path w="11" h="19" extrusionOk="0">
                  <a:moveTo>
                    <a:pt x="0" y="18"/>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294" name="Google Shape;4294;p104"/>
            <p:cNvSpPr/>
            <p:nvPr/>
          </p:nvSpPr>
          <p:spPr>
            <a:xfrm>
              <a:off x="2774115" y="1962657"/>
              <a:ext cx="109" cy="204"/>
            </a:xfrm>
            <a:custGeom>
              <a:avLst/>
              <a:gdLst/>
              <a:ahLst/>
              <a:cxnLst/>
              <a:rect l="l" t="t" r="r" b="b"/>
              <a:pathLst>
                <a:path w="8" h="15" extrusionOk="0">
                  <a:moveTo>
                    <a:pt x="1" y="15"/>
                  </a:moveTo>
                  <a:lnTo>
                    <a:pt x="8"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295" name="Google Shape;4295;p104"/>
            <p:cNvSpPr/>
            <p:nvPr/>
          </p:nvSpPr>
          <p:spPr>
            <a:xfrm>
              <a:off x="2774590" y="1961761"/>
              <a:ext cx="163" cy="204"/>
            </a:xfrm>
            <a:custGeom>
              <a:avLst/>
              <a:gdLst/>
              <a:ahLst/>
              <a:cxnLst/>
              <a:rect l="l" t="t" r="r" b="b"/>
              <a:pathLst>
                <a:path w="12" h="15" extrusionOk="0">
                  <a:moveTo>
                    <a:pt x="1" y="14"/>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296" name="Google Shape;4296;p104"/>
            <p:cNvSpPr/>
            <p:nvPr/>
          </p:nvSpPr>
          <p:spPr>
            <a:xfrm>
              <a:off x="2775595" y="1959521"/>
              <a:ext cx="109" cy="258"/>
            </a:xfrm>
            <a:custGeom>
              <a:avLst/>
              <a:gdLst/>
              <a:ahLst/>
              <a:cxnLst/>
              <a:rect l="l" t="t" r="r" b="b"/>
              <a:pathLst>
                <a:path w="8" h="19" extrusionOk="0">
                  <a:moveTo>
                    <a:pt x="0" y="18"/>
                  </a:moveTo>
                  <a:lnTo>
                    <a:pt x="7"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297" name="Google Shape;4297;p104"/>
            <p:cNvSpPr/>
            <p:nvPr/>
          </p:nvSpPr>
          <p:spPr>
            <a:xfrm>
              <a:off x="2775310" y="1960145"/>
              <a:ext cx="149" cy="394"/>
            </a:xfrm>
            <a:custGeom>
              <a:avLst/>
              <a:gdLst/>
              <a:ahLst/>
              <a:cxnLst/>
              <a:rect l="l" t="t" r="r" b="b"/>
              <a:pathLst>
                <a:path w="11" h="29" extrusionOk="0">
                  <a:moveTo>
                    <a:pt x="0" y="28"/>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298" name="Google Shape;4298;p104"/>
            <p:cNvSpPr/>
            <p:nvPr/>
          </p:nvSpPr>
          <p:spPr>
            <a:xfrm>
              <a:off x="2775065" y="1960756"/>
              <a:ext cx="109" cy="258"/>
            </a:xfrm>
            <a:custGeom>
              <a:avLst/>
              <a:gdLst/>
              <a:ahLst/>
              <a:cxnLst/>
              <a:rect l="l" t="t" r="r" b="b"/>
              <a:pathLst>
                <a:path w="8" h="19" extrusionOk="0">
                  <a:moveTo>
                    <a:pt x="1" y="18"/>
                  </a:moveTo>
                  <a:lnTo>
                    <a:pt x="8"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299" name="Google Shape;4299;p104"/>
            <p:cNvSpPr/>
            <p:nvPr/>
          </p:nvSpPr>
          <p:spPr>
            <a:xfrm>
              <a:off x="2774835" y="1961286"/>
              <a:ext cx="149" cy="244"/>
            </a:xfrm>
            <a:custGeom>
              <a:avLst/>
              <a:gdLst/>
              <a:ahLst/>
              <a:cxnLst/>
              <a:rect l="l" t="t" r="r" b="b"/>
              <a:pathLst>
                <a:path w="11" h="18" extrusionOk="0">
                  <a:moveTo>
                    <a:pt x="0" y="18"/>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300" name="Google Shape;4300;p104"/>
            <p:cNvSpPr/>
            <p:nvPr/>
          </p:nvSpPr>
          <p:spPr>
            <a:xfrm>
              <a:off x="2773884" y="1963091"/>
              <a:ext cx="109" cy="204"/>
            </a:xfrm>
            <a:custGeom>
              <a:avLst/>
              <a:gdLst/>
              <a:ahLst/>
              <a:cxnLst/>
              <a:rect l="l" t="t" r="r" b="b"/>
              <a:pathLst>
                <a:path w="8" h="15" extrusionOk="0">
                  <a:moveTo>
                    <a:pt x="0" y="14"/>
                  </a:moveTo>
                  <a:lnTo>
                    <a:pt x="7"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301" name="Google Shape;4301;p104"/>
            <p:cNvSpPr/>
            <p:nvPr/>
          </p:nvSpPr>
          <p:spPr>
            <a:xfrm>
              <a:off x="2772268" y="1965087"/>
              <a:ext cx="149" cy="109"/>
            </a:xfrm>
            <a:custGeom>
              <a:avLst/>
              <a:gdLst/>
              <a:ahLst/>
              <a:cxnLst/>
              <a:rect l="l" t="t" r="r" b="b"/>
              <a:pathLst>
                <a:path w="11" h="8" extrusionOk="0">
                  <a:moveTo>
                    <a:pt x="0" y="7"/>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302" name="Google Shape;4302;p104"/>
            <p:cNvSpPr/>
            <p:nvPr/>
          </p:nvSpPr>
          <p:spPr>
            <a:xfrm>
              <a:off x="2772839" y="1964517"/>
              <a:ext cx="109" cy="149"/>
            </a:xfrm>
            <a:custGeom>
              <a:avLst/>
              <a:gdLst/>
              <a:ahLst/>
              <a:cxnLst/>
              <a:rect l="l" t="t" r="r" b="b"/>
              <a:pathLst>
                <a:path w="8" h="11" extrusionOk="0">
                  <a:moveTo>
                    <a:pt x="0" y="11"/>
                  </a:moveTo>
                  <a:lnTo>
                    <a:pt x="7"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303" name="Google Shape;4303;p104"/>
            <p:cNvSpPr/>
            <p:nvPr/>
          </p:nvSpPr>
          <p:spPr>
            <a:xfrm>
              <a:off x="2771983" y="1965318"/>
              <a:ext cx="149" cy="68"/>
            </a:xfrm>
            <a:custGeom>
              <a:avLst/>
              <a:gdLst/>
              <a:ahLst/>
              <a:cxnLst/>
              <a:rect l="l" t="t" r="r" b="b"/>
              <a:pathLst>
                <a:path w="11" h="5" extrusionOk="0">
                  <a:moveTo>
                    <a:pt x="0" y="4"/>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304" name="Google Shape;4304;p104"/>
            <p:cNvSpPr/>
            <p:nvPr/>
          </p:nvSpPr>
          <p:spPr>
            <a:xfrm>
              <a:off x="2773599" y="1963512"/>
              <a:ext cx="149" cy="204"/>
            </a:xfrm>
            <a:custGeom>
              <a:avLst/>
              <a:gdLst/>
              <a:ahLst/>
              <a:cxnLst/>
              <a:rect l="l" t="t" r="r" b="b"/>
              <a:pathLst>
                <a:path w="11" h="15" extrusionOk="0">
                  <a:moveTo>
                    <a:pt x="0" y="15"/>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305" name="Google Shape;4305;p104"/>
            <p:cNvSpPr/>
            <p:nvPr/>
          </p:nvSpPr>
          <p:spPr>
            <a:xfrm>
              <a:off x="2773070" y="1964178"/>
              <a:ext cx="163" cy="204"/>
            </a:xfrm>
            <a:custGeom>
              <a:avLst/>
              <a:gdLst/>
              <a:ahLst/>
              <a:cxnLst/>
              <a:rect l="l" t="t" r="r" b="b"/>
              <a:pathLst>
                <a:path w="12" h="15" extrusionOk="0">
                  <a:moveTo>
                    <a:pt x="1" y="15"/>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306" name="Google Shape;4306;p104"/>
            <p:cNvSpPr/>
            <p:nvPr/>
          </p:nvSpPr>
          <p:spPr>
            <a:xfrm>
              <a:off x="2773355" y="1963852"/>
              <a:ext cx="109" cy="204"/>
            </a:xfrm>
            <a:custGeom>
              <a:avLst/>
              <a:gdLst/>
              <a:ahLst/>
              <a:cxnLst/>
              <a:rect l="l" t="t" r="r" b="b"/>
              <a:pathLst>
                <a:path w="8" h="15" extrusionOk="0">
                  <a:moveTo>
                    <a:pt x="1" y="14"/>
                  </a:moveTo>
                  <a:lnTo>
                    <a:pt x="8"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307" name="Google Shape;4307;p104"/>
            <p:cNvSpPr/>
            <p:nvPr/>
          </p:nvSpPr>
          <p:spPr>
            <a:xfrm>
              <a:off x="2776776" y="1956384"/>
              <a:ext cx="68" cy="299"/>
            </a:xfrm>
            <a:custGeom>
              <a:avLst/>
              <a:gdLst/>
              <a:ahLst/>
              <a:cxnLst/>
              <a:rect l="l" t="t" r="r" b="b"/>
              <a:pathLst>
                <a:path w="5" h="22" extrusionOk="0">
                  <a:moveTo>
                    <a:pt x="1" y="22"/>
                  </a:moveTo>
                  <a:lnTo>
                    <a:pt x="4"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308" name="Google Shape;4308;p104"/>
            <p:cNvSpPr/>
            <p:nvPr/>
          </p:nvSpPr>
          <p:spPr>
            <a:xfrm>
              <a:off x="2777496" y="1954062"/>
              <a:ext cx="109" cy="204"/>
            </a:xfrm>
            <a:custGeom>
              <a:avLst/>
              <a:gdLst/>
              <a:ahLst/>
              <a:cxnLst/>
              <a:rect l="l" t="t" r="r" b="b"/>
              <a:pathLst>
                <a:path w="8" h="15" extrusionOk="0">
                  <a:moveTo>
                    <a:pt x="0" y="14"/>
                  </a:moveTo>
                  <a:lnTo>
                    <a:pt x="7"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309" name="Google Shape;4309;p104"/>
            <p:cNvSpPr/>
            <p:nvPr/>
          </p:nvSpPr>
          <p:spPr>
            <a:xfrm>
              <a:off x="2777632" y="1953628"/>
              <a:ext cx="68" cy="204"/>
            </a:xfrm>
            <a:custGeom>
              <a:avLst/>
              <a:gdLst/>
              <a:ahLst/>
              <a:cxnLst/>
              <a:rect l="l" t="t" r="r" b="b"/>
              <a:pathLst>
                <a:path w="5" h="15" extrusionOk="0">
                  <a:moveTo>
                    <a:pt x="1" y="15"/>
                  </a:moveTo>
                  <a:lnTo>
                    <a:pt x="4"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310" name="Google Shape;4310;p104"/>
            <p:cNvSpPr/>
            <p:nvPr/>
          </p:nvSpPr>
          <p:spPr>
            <a:xfrm>
              <a:off x="2776926" y="1955909"/>
              <a:ext cx="109" cy="258"/>
            </a:xfrm>
            <a:custGeom>
              <a:avLst/>
              <a:gdLst/>
              <a:ahLst/>
              <a:cxnLst/>
              <a:rect l="l" t="t" r="r" b="b"/>
              <a:pathLst>
                <a:path w="8" h="19" extrusionOk="0">
                  <a:moveTo>
                    <a:pt x="0" y="18"/>
                  </a:moveTo>
                  <a:lnTo>
                    <a:pt x="7"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311" name="Google Shape;4311;p104"/>
            <p:cNvSpPr/>
            <p:nvPr/>
          </p:nvSpPr>
          <p:spPr>
            <a:xfrm>
              <a:off x="2777251" y="1954959"/>
              <a:ext cx="68" cy="204"/>
            </a:xfrm>
            <a:custGeom>
              <a:avLst/>
              <a:gdLst/>
              <a:ahLst/>
              <a:cxnLst/>
              <a:rect l="l" t="t" r="r" b="b"/>
              <a:pathLst>
                <a:path w="5" h="15" extrusionOk="0">
                  <a:moveTo>
                    <a:pt x="1" y="15"/>
                  </a:moveTo>
                  <a:lnTo>
                    <a:pt x="4"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312" name="Google Shape;4312;p104"/>
            <p:cNvSpPr/>
            <p:nvPr/>
          </p:nvSpPr>
          <p:spPr>
            <a:xfrm>
              <a:off x="2777781" y="1953248"/>
              <a:ext cx="14" cy="109"/>
            </a:xfrm>
            <a:custGeom>
              <a:avLst/>
              <a:gdLst/>
              <a:ahLst/>
              <a:cxnLst/>
              <a:rect l="l" t="t" r="r" b="b"/>
              <a:pathLst>
                <a:path w="1" h="8" extrusionOk="0">
                  <a:moveTo>
                    <a:pt x="0" y="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313" name="Google Shape;4313;p104"/>
            <p:cNvSpPr/>
            <p:nvPr/>
          </p:nvSpPr>
          <p:spPr>
            <a:xfrm>
              <a:off x="2777061" y="1955434"/>
              <a:ext cx="109" cy="258"/>
            </a:xfrm>
            <a:custGeom>
              <a:avLst/>
              <a:gdLst/>
              <a:ahLst/>
              <a:cxnLst/>
              <a:rect l="l" t="t" r="r" b="b"/>
              <a:pathLst>
                <a:path w="8" h="19" extrusionOk="0">
                  <a:moveTo>
                    <a:pt x="1" y="18"/>
                  </a:moveTo>
                  <a:lnTo>
                    <a:pt x="8"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314" name="Google Shape;4314;p104"/>
            <p:cNvSpPr/>
            <p:nvPr/>
          </p:nvSpPr>
          <p:spPr>
            <a:xfrm>
              <a:off x="2776586" y="1956914"/>
              <a:ext cx="109" cy="244"/>
            </a:xfrm>
            <a:custGeom>
              <a:avLst/>
              <a:gdLst/>
              <a:ahLst/>
              <a:cxnLst/>
              <a:rect l="l" t="t" r="r" b="b"/>
              <a:pathLst>
                <a:path w="8" h="18" extrusionOk="0">
                  <a:moveTo>
                    <a:pt x="1" y="18"/>
                  </a:moveTo>
                  <a:lnTo>
                    <a:pt x="8"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315" name="Google Shape;4315;p104"/>
            <p:cNvSpPr/>
            <p:nvPr/>
          </p:nvSpPr>
          <p:spPr>
            <a:xfrm>
              <a:off x="2776206" y="1957959"/>
              <a:ext cx="109" cy="244"/>
            </a:xfrm>
            <a:custGeom>
              <a:avLst/>
              <a:gdLst/>
              <a:ahLst/>
              <a:cxnLst/>
              <a:rect l="l" t="t" r="r" b="b"/>
              <a:pathLst>
                <a:path w="8" h="18" extrusionOk="0">
                  <a:moveTo>
                    <a:pt x="1" y="18"/>
                  </a:moveTo>
                  <a:lnTo>
                    <a:pt x="8"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316" name="Google Shape;4316;p104"/>
            <p:cNvSpPr/>
            <p:nvPr/>
          </p:nvSpPr>
          <p:spPr>
            <a:xfrm>
              <a:off x="2776016" y="1958475"/>
              <a:ext cx="109" cy="258"/>
            </a:xfrm>
            <a:custGeom>
              <a:avLst/>
              <a:gdLst/>
              <a:ahLst/>
              <a:cxnLst/>
              <a:rect l="l" t="t" r="r" b="b"/>
              <a:pathLst>
                <a:path w="8" h="19" extrusionOk="0">
                  <a:moveTo>
                    <a:pt x="1" y="18"/>
                  </a:moveTo>
                  <a:lnTo>
                    <a:pt x="8"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317" name="Google Shape;4317;p104"/>
            <p:cNvSpPr/>
            <p:nvPr/>
          </p:nvSpPr>
          <p:spPr>
            <a:xfrm>
              <a:off x="2776396" y="1957430"/>
              <a:ext cx="109" cy="258"/>
            </a:xfrm>
            <a:custGeom>
              <a:avLst/>
              <a:gdLst/>
              <a:ahLst/>
              <a:cxnLst/>
              <a:rect l="l" t="t" r="r" b="b"/>
              <a:pathLst>
                <a:path w="8" h="19" extrusionOk="0">
                  <a:moveTo>
                    <a:pt x="1" y="18"/>
                  </a:moveTo>
                  <a:lnTo>
                    <a:pt x="8"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318" name="Google Shape;4318;p104"/>
            <p:cNvSpPr/>
            <p:nvPr/>
          </p:nvSpPr>
          <p:spPr>
            <a:xfrm>
              <a:off x="2777401" y="1954483"/>
              <a:ext cx="54" cy="258"/>
            </a:xfrm>
            <a:custGeom>
              <a:avLst/>
              <a:gdLst/>
              <a:ahLst/>
              <a:cxnLst/>
              <a:rect l="l" t="t" r="r" b="b"/>
              <a:pathLst>
                <a:path w="4" h="19" extrusionOk="0">
                  <a:moveTo>
                    <a:pt x="0" y="18"/>
                  </a:moveTo>
                  <a:lnTo>
                    <a:pt x="4"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319" name="Google Shape;4319;p104"/>
            <p:cNvSpPr/>
            <p:nvPr/>
          </p:nvSpPr>
          <p:spPr>
            <a:xfrm>
              <a:off x="2772554" y="1964802"/>
              <a:ext cx="149" cy="149"/>
            </a:xfrm>
            <a:custGeom>
              <a:avLst/>
              <a:gdLst/>
              <a:ahLst/>
              <a:cxnLst/>
              <a:rect l="l" t="t" r="r" b="b"/>
              <a:pathLst>
                <a:path w="11" h="11" extrusionOk="0">
                  <a:moveTo>
                    <a:pt x="11" y="0"/>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320" name="Google Shape;4320;p104"/>
            <p:cNvSpPr/>
            <p:nvPr/>
          </p:nvSpPr>
          <p:spPr>
            <a:xfrm>
              <a:off x="2775826" y="1959005"/>
              <a:ext cx="109" cy="244"/>
            </a:xfrm>
            <a:custGeom>
              <a:avLst/>
              <a:gdLst/>
              <a:ahLst/>
              <a:cxnLst/>
              <a:rect l="l" t="t" r="r" b="b"/>
              <a:pathLst>
                <a:path w="8" h="18" extrusionOk="0">
                  <a:moveTo>
                    <a:pt x="1" y="18"/>
                  </a:moveTo>
                  <a:lnTo>
                    <a:pt x="8"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321" name="Google Shape;4321;p104"/>
            <p:cNvSpPr/>
            <p:nvPr/>
          </p:nvSpPr>
          <p:spPr>
            <a:xfrm>
              <a:off x="2771698" y="1965508"/>
              <a:ext cx="109" cy="68"/>
            </a:xfrm>
            <a:custGeom>
              <a:avLst/>
              <a:gdLst/>
              <a:ahLst/>
              <a:cxnLst/>
              <a:rect l="l" t="t" r="r" b="b"/>
              <a:pathLst>
                <a:path w="8" h="5" extrusionOk="0">
                  <a:moveTo>
                    <a:pt x="0" y="4"/>
                  </a:moveTo>
                  <a:lnTo>
                    <a:pt x="7"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322" name="Google Shape;4322;p104"/>
            <p:cNvSpPr/>
            <p:nvPr/>
          </p:nvSpPr>
          <p:spPr>
            <a:xfrm>
              <a:off x="2800401" y="1951917"/>
              <a:ext cx="68" cy="68"/>
            </a:xfrm>
            <a:custGeom>
              <a:avLst/>
              <a:gdLst/>
              <a:ahLst/>
              <a:cxnLst/>
              <a:rect l="l" t="t" r="r" b="b"/>
              <a:pathLst>
                <a:path w="5" h="5" extrusionOk="0">
                  <a:moveTo>
                    <a:pt x="1" y="1"/>
                  </a:moveTo>
                  <a:lnTo>
                    <a:pt x="4" y="4"/>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323" name="Google Shape;4323;p104"/>
            <p:cNvSpPr/>
            <p:nvPr/>
          </p:nvSpPr>
          <p:spPr>
            <a:xfrm>
              <a:off x="2800591" y="1952582"/>
              <a:ext cx="14" cy="109"/>
            </a:xfrm>
            <a:custGeom>
              <a:avLst/>
              <a:gdLst/>
              <a:ahLst/>
              <a:cxnLst/>
              <a:rect l="l" t="t" r="r" b="b"/>
              <a:pathLst>
                <a:path w="1" h="8" extrusionOk="0">
                  <a:moveTo>
                    <a:pt x="1" y="1"/>
                  </a:moveTo>
                  <a:lnTo>
                    <a:pt x="1" y="8"/>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324" name="Google Shape;4324;p104"/>
            <p:cNvSpPr/>
            <p:nvPr/>
          </p:nvSpPr>
          <p:spPr>
            <a:xfrm>
              <a:off x="2800591" y="1953017"/>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325" name="Google Shape;4325;p104"/>
            <p:cNvSpPr/>
            <p:nvPr/>
          </p:nvSpPr>
          <p:spPr>
            <a:xfrm>
              <a:off x="2820930" y="1936276"/>
              <a:ext cx="109" cy="109"/>
            </a:xfrm>
            <a:custGeom>
              <a:avLst/>
              <a:gdLst/>
              <a:ahLst/>
              <a:cxnLst/>
              <a:rect l="l" t="t" r="r" b="b"/>
              <a:pathLst>
                <a:path w="8" h="8" extrusionOk="0">
                  <a:moveTo>
                    <a:pt x="1" y="1"/>
                  </a:moveTo>
                  <a:lnTo>
                    <a:pt x="8" y="8"/>
                  </a:lnTo>
                  <a:lnTo>
                    <a:pt x="8" y="8"/>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326" name="Google Shape;4326;p104"/>
            <p:cNvSpPr/>
            <p:nvPr/>
          </p:nvSpPr>
          <p:spPr>
            <a:xfrm>
              <a:off x="2800550" y="1952297"/>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327" name="Google Shape;4327;p104"/>
            <p:cNvSpPr/>
            <p:nvPr/>
          </p:nvSpPr>
          <p:spPr>
            <a:xfrm>
              <a:off x="2783293" y="1890642"/>
              <a:ext cx="54" cy="68"/>
            </a:xfrm>
            <a:custGeom>
              <a:avLst/>
              <a:gdLst/>
              <a:ahLst/>
              <a:cxnLst/>
              <a:rect l="l" t="t" r="r" b="b"/>
              <a:pathLst>
                <a:path w="4" h="5" extrusionOk="0">
                  <a:moveTo>
                    <a:pt x="4"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328" name="Google Shape;4328;p104"/>
            <p:cNvSpPr/>
            <p:nvPr/>
          </p:nvSpPr>
          <p:spPr>
            <a:xfrm>
              <a:off x="2821609" y="1933425"/>
              <a:ext cx="0" cy="109"/>
            </a:xfrm>
            <a:custGeom>
              <a:avLst/>
              <a:gdLst/>
              <a:ahLst/>
              <a:cxnLst/>
              <a:rect l="l" t="t" r="r" b="b"/>
              <a:pathLst>
                <a:path h="8" extrusionOk="0">
                  <a:moveTo>
                    <a:pt x="0" y="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329" name="Google Shape;4329;p104"/>
            <p:cNvSpPr/>
            <p:nvPr/>
          </p:nvSpPr>
          <p:spPr>
            <a:xfrm>
              <a:off x="2821555" y="1932854"/>
              <a:ext cx="14" cy="163"/>
            </a:xfrm>
            <a:custGeom>
              <a:avLst/>
              <a:gdLst/>
              <a:ahLst/>
              <a:cxnLst/>
              <a:rect l="l" t="t" r="r" b="b"/>
              <a:pathLst>
                <a:path w="1" h="12" extrusionOk="0">
                  <a:moveTo>
                    <a:pt x="1" y="1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330" name="Google Shape;4330;p104"/>
            <p:cNvSpPr/>
            <p:nvPr/>
          </p:nvSpPr>
          <p:spPr>
            <a:xfrm>
              <a:off x="2787380" y="1905767"/>
              <a:ext cx="964" cy="2390"/>
            </a:xfrm>
            <a:custGeom>
              <a:avLst/>
              <a:gdLst/>
              <a:ahLst/>
              <a:cxnLst/>
              <a:rect l="l" t="t" r="r" b="b"/>
              <a:pathLst>
                <a:path w="71" h="176" extrusionOk="0">
                  <a:moveTo>
                    <a:pt x="0" y="175"/>
                  </a:moveTo>
                  <a:cubicBezTo>
                    <a:pt x="46" y="130"/>
                    <a:pt x="70" y="67"/>
                    <a:pt x="70" y="0"/>
                  </a:cubicBezTo>
                  <a:cubicBezTo>
                    <a:pt x="70" y="67"/>
                    <a:pt x="46" y="130"/>
                    <a:pt x="0" y="175"/>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331" name="Google Shape;4331;p104"/>
            <p:cNvSpPr/>
            <p:nvPr/>
          </p:nvSpPr>
          <p:spPr>
            <a:xfrm>
              <a:off x="2782913" y="1890262"/>
              <a:ext cx="204" cy="163"/>
            </a:xfrm>
            <a:custGeom>
              <a:avLst/>
              <a:gdLst/>
              <a:ahLst/>
              <a:cxnLst/>
              <a:rect l="l" t="t" r="r" b="b"/>
              <a:pathLst>
                <a:path w="15" h="12" extrusionOk="0">
                  <a:moveTo>
                    <a:pt x="0" y="1"/>
                  </a:moveTo>
                  <a:lnTo>
                    <a:pt x="14" y="1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332" name="Google Shape;4332;p104"/>
            <p:cNvSpPr/>
            <p:nvPr/>
          </p:nvSpPr>
          <p:spPr>
            <a:xfrm>
              <a:off x="2783198" y="1890547"/>
              <a:ext cx="109" cy="109"/>
            </a:xfrm>
            <a:custGeom>
              <a:avLst/>
              <a:gdLst/>
              <a:ahLst/>
              <a:cxnLst/>
              <a:rect l="l" t="t" r="r" b="b"/>
              <a:pathLst>
                <a:path w="8" h="8" extrusionOk="0">
                  <a:moveTo>
                    <a:pt x="7" y="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333" name="Google Shape;4333;p104"/>
            <p:cNvSpPr/>
            <p:nvPr/>
          </p:nvSpPr>
          <p:spPr>
            <a:xfrm>
              <a:off x="2815988" y="1913221"/>
              <a:ext cx="299" cy="1018"/>
            </a:xfrm>
            <a:custGeom>
              <a:avLst/>
              <a:gdLst/>
              <a:ahLst/>
              <a:cxnLst/>
              <a:rect l="l" t="t" r="r" b="b"/>
              <a:pathLst>
                <a:path w="22" h="75" extrusionOk="0">
                  <a:moveTo>
                    <a:pt x="1" y="1"/>
                  </a:moveTo>
                  <a:cubicBezTo>
                    <a:pt x="18" y="8"/>
                    <a:pt x="22" y="36"/>
                    <a:pt x="22" y="74"/>
                  </a:cubicBezTo>
                  <a:cubicBezTo>
                    <a:pt x="22" y="36"/>
                    <a:pt x="18" y="8"/>
                    <a:pt x="1" y="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334" name="Google Shape;4334;p104"/>
            <p:cNvSpPr/>
            <p:nvPr/>
          </p:nvSpPr>
          <p:spPr>
            <a:xfrm>
              <a:off x="2821650" y="1933995"/>
              <a:ext cx="14" cy="68"/>
            </a:xfrm>
            <a:custGeom>
              <a:avLst/>
              <a:gdLst/>
              <a:ahLst/>
              <a:cxnLst/>
              <a:rect l="l" t="t" r="r" b="b"/>
              <a:pathLst>
                <a:path w="1" h="5" extrusionOk="0">
                  <a:moveTo>
                    <a:pt x="1" y="1"/>
                  </a:moveTo>
                  <a:lnTo>
                    <a:pt x="1" y="4"/>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335" name="Google Shape;4335;p104"/>
            <p:cNvSpPr/>
            <p:nvPr/>
          </p:nvSpPr>
          <p:spPr>
            <a:xfrm>
              <a:off x="2782574" y="1889936"/>
              <a:ext cx="14" cy="14"/>
            </a:xfrm>
            <a:custGeom>
              <a:avLst/>
              <a:gdLst/>
              <a:ahLst/>
              <a:cxnLst/>
              <a:rect l="l" t="t" r="r" b="b"/>
              <a:pathLst>
                <a:path w="1" h="1" extrusionOk="0">
                  <a:moveTo>
                    <a:pt x="1"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336" name="Google Shape;4336;p104"/>
            <p:cNvSpPr/>
            <p:nvPr/>
          </p:nvSpPr>
          <p:spPr>
            <a:xfrm>
              <a:off x="2782723" y="1890072"/>
              <a:ext cx="149" cy="109"/>
            </a:xfrm>
            <a:custGeom>
              <a:avLst/>
              <a:gdLst/>
              <a:ahLst/>
              <a:cxnLst/>
              <a:rect l="l" t="t" r="r" b="b"/>
              <a:pathLst>
                <a:path w="11" h="8" extrusionOk="0">
                  <a:moveTo>
                    <a:pt x="11" y="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337" name="Google Shape;4337;p104"/>
            <p:cNvSpPr/>
            <p:nvPr/>
          </p:nvSpPr>
          <p:spPr>
            <a:xfrm>
              <a:off x="2783103" y="1890411"/>
              <a:ext cx="149" cy="149"/>
            </a:xfrm>
            <a:custGeom>
              <a:avLst/>
              <a:gdLst/>
              <a:ahLst/>
              <a:cxnLst/>
              <a:rect l="l" t="t" r="r" b="b"/>
              <a:pathLst>
                <a:path w="11" h="11" extrusionOk="0">
                  <a:moveTo>
                    <a:pt x="11" y="11"/>
                  </a:moveTo>
                  <a:lnTo>
                    <a:pt x="0"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338" name="Google Shape;4338;p104"/>
            <p:cNvSpPr/>
            <p:nvPr/>
          </p:nvSpPr>
          <p:spPr>
            <a:xfrm>
              <a:off x="2783334" y="1890696"/>
              <a:ext cx="68" cy="54"/>
            </a:xfrm>
            <a:custGeom>
              <a:avLst/>
              <a:gdLst/>
              <a:ahLst/>
              <a:cxnLst/>
              <a:rect l="l" t="t" r="r" b="b"/>
              <a:pathLst>
                <a:path w="5" h="4" extrusionOk="0">
                  <a:moveTo>
                    <a:pt x="4" y="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339" name="Google Shape;4339;p104"/>
            <p:cNvSpPr/>
            <p:nvPr/>
          </p:nvSpPr>
          <p:spPr>
            <a:xfrm>
              <a:off x="2821324" y="1935950"/>
              <a:ext cx="0" cy="14"/>
            </a:xfrm>
            <a:custGeom>
              <a:avLst/>
              <a:gdLst/>
              <a:ahLst/>
              <a:cxnLst/>
              <a:rect l="l" t="t" r="r" b="b"/>
              <a:pathLst>
                <a:path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340" name="Google Shape;4340;p104"/>
            <p:cNvSpPr/>
            <p:nvPr/>
          </p:nvSpPr>
          <p:spPr>
            <a:xfrm>
              <a:off x="2821609" y="1934945"/>
              <a:ext cx="0" cy="68"/>
            </a:xfrm>
            <a:custGeom>
              <a:avLst/>
              <a:gdLst/>
              <a:ahLst/>
              <a:cxnLst/>
              <a:rect l="l" t="t" r="r" b="b"/>
              <a:pathLst>
                <a:path h="5" extrusionOk="0">
                  <a:moveTo>
                    <a:pt x="0"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341" name="Google Shape;4341;p104"/>
            <p:cNvSpPr/>
            <p:nvPr/>
          </p:nvSpPr>
          <p:spPr>
            <a:xfrm>
              <a:off x="2821650" y="1934429"/>
              <a:ext cx="14" cy="109"/>
            </a:xfrm>
            <a:custGeom>
              <a:avLst/>
              <a:gdLst/>
              <a:ahLst/>
              <a:cxnLst/>
              <a:rect l="l" t="t" r="r" b="b"/>
              <a:pathLst>
                <a:path w="1" h="8" extrusionOk="0">
                  <a:moveTo>
                    <a:pt x="1" y="7"/>
                  </a:moveTo>
                  <a:lnTo>
                    <a:pt x="1" y="4"/>
                  </a:lnTo>
                  <a:cubicBezTo>
                    <a:pt x="1" y="0"/>
                    <a:pt x="1" y="7"/>
                    <a:pt x="1" y="7"/>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342" name="Google Shape;4342;p104"/>
            <p:cNvSpPr/>
            <p:nvPr/>
          </p:nvSpPr>
          <p:spPr>
            <a:xfrm>
              <a:off x="2821039" y="1936330"/>
              <a:ext cx="0" cy="54"/>
            </a:xfrm>
            <a:custGeom>
              <a:avLst/>
              <a:gdLst/>
              <a:ahLst/>
              <a:cxnLst/>
              <a:rect l="l" t="t" r="r" b="b"/>
              <a:pathLst>
                <a:path h="4" extrusionOk="0">
                  <a:moveTo>
                    <a:pt x="0" y="4"/>
                  </a:moveTo>
                  <a:lnTo>
                    <a:pt x="0" y="4"/>
                  </a:lnTo>
                  <a:lnTo>
                    <a:pt x="0"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343" name="Google Shape;4343;p104"/>
            <p:cNvSpPr/>
            <p:nvPr/>
          </p:nvSpPr>
          <p:spPr>
            <a:xfrm>
              <a:off x="2821460" y="1935421"/>
              <a:ext cx="14" cy="68"/>
            </a:xfrm>
            <a:custGeom>
              <a:avLst/>
              <a:gdLst/>
              <a:ahLst/>
              <a:cxnLst/>
              <a:rect l="l" t="t" r="r" b="b"/>
              <a:pathLst>
                <a:path w="1" h="5" extrusionOk="0">
                  <a:moveTo>
                    <a:pt x="1" y="4"/>
                  </a:moveTo>
                  <a:lnTo>
                    <a:pt x="1"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344" name="Google Shape;4344;p104"/>
            <p:cNvSpPr/>
            <p:nvPr/>
          </p:nvSpPr>
          <p:spPr>
            <a:xfrm>
              <a:off x="2154289" y="1586085"/>
              <a:ext cx="69123" cy="54935"/>
            </a:xfrm>
            <a:custGeom>
              <a:avLst/>
              <a:gdLst/>
              <a:ahLst/>
              <a:cxnLst/>
              <a:rect l="l" t="t" r="r" b="b"/>
              <a:pathLst>
                <a:path w="5091" h="4046" extrusionOk="0">
                  <a:moveTo>
                    <a:pt x="2111" y="1"/>
                  </a:moveTo>
                  <a:cubicBezTo>
                    <a:pt x="1912" y="1"/>
                    <a:pt x="1254" y="150"/>
                    <a:pt x="1054" y="352"/>
                  </a:cubicBezTo>
                  <a:cubicBezTo>
                    <a:pt x="897" y="510"/>
                    <a:pt x="645" y="541"/>
                    <a:pt x="442" y="569"/>
                  </a:cubicBezTo>
                  <a:cubicBezTo>
                    <a:pt x="361" y="580"/>
                    <a:pt x="249" y="594"/>
                    <a:pt x="221" y="611"/>
                  </a:cubicBezTo>
                  <a:cubicBezTo>
                    <a:pt x="214" y="681"/>
                    <a:pt x="172" y="741"/>
                    <a:pt x="113" y="772"/>
                  </a:cubicBezTo>
                  <a:cubicBezTo>
                    <a:pt x="102" y="779"/>
                    <a:pt x="88" y="786"/>
                    <a:pt x="74" y="790"/>
                  </a:cubicBezTo>
                  <a:lnTo>
                    <a:pt x="78" y="804"/>
                  </a:lnTo>
                  <a:lnTo>
                    <a:pt x="81" y="814"/>
                  </a:lnTo>
                  <a:cubicBezTo>
                    <a:pt x="81" y="821"/>
                    <a:pt x="85" y="828"/>
                    <a:pt x="85" y="835"/>
                  </a:cubicBezTo>
                  <a:lnTo>
                    <a:pt x="88" y="849"/>
                  </a:lnTo>
                  <a:cubicBezTo>
                    <a:pt x="88" y="860"/>
                    <a:pt x="92" y="867"/>
                    <a:pt x="92" y="877"/>
                  </a:cubicBezTo>
                  <a:lnTo>
                    <a:pt x="95" y="895"/>
                  </a:lnTo>
                  <a:cubicBezTo>
                    <a:pt x="95" y="902"/>
                    <a:pt x="95" y="909"/>
                    <a:pt x="99" y="916"/>
                  </a:cubicBezTo>
                  <a:cubicBezTo>
                    <a:pt x="99" y="926"/>
                    <a:pt x="99" y="930"/>
                    <a:pt x="99" y="933"/>
                  </a:cubicBezTo>
                  <a:cubicBezTo>
                    <a:pt x="99" y="940"/>
                    <a:pt x="99" y="951"/>
                    <a:pt x="102" y="958"/>
                  </a:cubicBezTo>
                  <a:cubicBezTo>
                    <a:pt x="102" y="965"/>
                    <a:pt x="102" y="972"/>
                    <a:pt x="102" y="979"/>
                  </a:cubicBezTo>
                  <a:lnTo>
                    <a:pt x="102" y="1000"/>
                  </a:lnTo>
                  <a:lnTo>
                    <a:pt x="102" y="1021"/>
                  </a:lnTo>
                  <a:lnTo>
                    <a:pt x="102" y="1045"/>
                  </a:lnTo>
                  <a:lnTo>
                    <a:pt x="102" y="1066"/>
                  </a:lnTo>
                  <a:lnTo>
                    <a:pt x="102" y="1091"/>
                  </a:lnTo>
                  <a:lnTo>
                    <a:pt x="102" y="1112"/>
                  </a:lnTo>
                  <a:lnTo>
                    <a:pt x="102" y="1136"/>
                  </a:lnTo>
                  <a:lnTo>
                    <a:pt x="102" y="1157"/>
                  </a:lnTo>
                  <a:lnTo>
                    <a:pt x="102" y="1182"/>
                  </a:lnTo>
                  <a:lnTo>
                    <a:pt x="102" y="1203"/>
                  </a:lnTo>
                  <a:cubicBezTo>
                    <a:pt x="102" y="1206"/>
                    <a:pt x="102" y="1217"/>
                    <a:pt x="99" y="1224"/>
                  </a:cubicBezTo>
                  <a:cubicBezTo>
                    <a:pt x="95" y="1234"/>
                    <a:pt x="99" y="1238"/>
                    <a:pt x="95" y="1245"/>
                  </a:cubicBezTo>
                  <a:cubicBezTo>
                    <a:pt x="92" y="1252"/>
                    <a:pt x="92" y="1259"/>
                    <a:pt x="88" y="1269"/>
                  </a:cubicBezTo>
                  <a:cubicBezTo>
                    <a:pt x="88" y="1276"/>
                    <a:pt x="88" y="1280"/>
                    <a:pt x="85" y="1287"/>
                  </a:cubicBezTo>
                  <a:cubicBezTo>
                    <a:pt x="85" y="1294"/>
                    <a:pt x="81" y="1301"/>
                    <a:pt x="78" y="1308"/>
                  </a:cubicBezTo>
                  <a:cubicBezTo>
                    <a:pt x="78" y="1318"/>
                    <a:pt x="78" y="1318"/>
                    <a:pt x="74" y="1325"/>
                  </a:cubicBezTo>
                  <a:cubicBezTo>
                    <a:pt x="74" y="1329"/>
                    <a:pt x="67" y="1339"/>
                    <a:pt x="64" y="1350"/>
                  </a:cubicBezTo>
                  <a:cubicBezTo>
                    <a:pt x="64" y="1357"/>
                    <a:pt x="64" y="1357"/>
                    <a:pt x="60" y="1360"/>
                  </a:cubicBezTo>
                  <a:cubicBezTo>
                    <a:pt x="57" y="1371"/>
                    <a:pt x="50" y="1381"/>
                    <a:pt x="43" y="1392"/>
                  </a:cubicBezTo>
                  <a:cubicBezTo>
                    <a:pt x="1" y="1458"/>
                    <a:pt x="4" y="1479"/>
                    <a:pt x="4" y="1479"/>
                  </a:cubicBezTo>
                  <a:cubicBezTo>
                    <a:pt x="8" y="1479"/>
                    <a:pt x="18" y="1497"/>
                    <a:pt x="57" y="1518"/>
                  </a:cubicBezTo>
                  <a:cubicBezTo>
                    <a:pt x="172" y="1584"/>
                    <a:pt x="211" y="1735"/>
                    <a:pt x="211" y="1844"/>
                  </a:cubicBezTo>
                  <a:cubicBezTo>
                    <a:pt x="211" y="1865"/>
                    <a:pt x="218" y="1886"/>
                    <a:pt x="228" y="1903"/>
                  </a:cubicBezTo>
                  <a:cubicBezTo>
                    <a:pt x="263" y="1973"/>
                    <a:pt x="284" y="2050"/>
                    <a:pt x="284" y="2131"/>
                  </a:cubicBezTo>
                  <a:cubicBezTo>
                    <a:pt x="298" y="2362"/>
                    <a:pt x="354" y="2474"/>
                    <a:pt x="403" y="2530"/>
                  </a:cubicBezTo>
                  <a:cubicBezTo>
                    <a:pt x="407" y="2537"/>
                    <a:pt x="414" y="2544"/>
                    <a:pt x="421" y="2554"/>
                  </a:cubicBezTo>
                  <a:lnTo>
                    <a:pt x="424" y="2561"/>
                  </a:lnTo>
                  <a:cubicBezTo>
                    <a:pt x="428" y="2565"/>
                    <a:pt x="431" y="2572"/>
                    <a:pt x="435" y="2579"/>
                  </a:cubicBezTo>
                  <a:lnTo>
                    <a:pt x="438" y="2589"/>
                  </a:lnTo>
                  <a:cubicBezTo>
                    <a:pt x="442" y="2596"/>
                    <a:pt x="442" y="2600"/>
                    <a:pt x="445" y="2607"/>
                  </a:cubicBezTo>
                  <a:cubicBezTo>
                    <a:pt x="445" y="2610"/>
                    <a:pt x="445" y="2614"/>
                    <a:pt x="449" y="2621"/>
                  </a:cubicBezTo>
                  <a:cubicBezTo>
                    <a:pt x="449" y="2624"/>
                    <a:pt x="449" y="2628"/>
                    <a:pt x="452" y="2635"/>
                  </a:cubicBezTo>
                  <a:cubicBezTo>
                    <a:pt x="456" y="2656"/>
                    <a:pt x="459" y="2677"/>
                    <a:pt x="459" y="2698"/>
                  </a:cubicBezTo>
                  <a:lnTo>
                    <a:pt x="459" y="2705"/>
                  </a:lnTo>
                  <a:lnTo>
                    <a:pt x="459" y="2726"/>
                  </a:lnTo>
                  <a:cubicBezTo>
                    <a:pt x="459" y="2733"/>
                    <a:pt x="459" y="2740"/>
                    <a:pt x="456" y="2747"/>
                  </a:cubicBezTo>
                  <a:cubicBezTo>
                    <a:pt x="452" y="2754"/>
                    <a:pt x="456" y="2750"/>
                    <a:pt x="456" y="2754"/>
                  </a:cubicBezTo>
                  <a:cubicBezTo>
                    <a:pt x="456" y="2757"/>
                    <a:pt x="456" y="2760"/>
                    <a:pt x="455" y="2762"/>
                  </a:cubicBezTo>
                  <a:lnTo>
                    <a:pt x="455" y="2762"/>
                  </a:lnTo>
                  <a:cubicBezTo>
                    <a:pt x="454" y="2762"/>
                    <a:pt x="453" y="2761"/>
                    <a:pt x="452" y="2761"/>
                  </a:cubicBezTo>
                  <a:lnTo>
                    <a:pt x="449" y="2792"/>
                  </a:lnTo>
                  <a:cubicBezTo>
                    <a:pt x="452" y="2781"/>
                    <a:pt x="454" y="2773"/>
                    <a:pt x="455" y="2762"/>
                  </a:cubicBezTo>
                  <a:lnTo>
                    <a:pt x="455" y="2762"/>
                  </a:lnTo>
                  <a:cubicBezTo>
                    <a:pt x="479" y="2776"/>
                    <a:pt x="499" y="2789"/>
                    <a:pt x="519" y="2803"/>
                  </a:cubicBezTo>
                  <a:lnTo>
                    <a:pt x="529" y="2810"/>
                  </a:lnTo>
                  <a:cubicBezTo>
                    <a:pt x="547" y="2824"/>
                    <a:pt x="568" y="2834"/>
                    <a:pt x="589" y="2845"/>
                  </a:cubicBezTo>
                  <a:lnTo>
                    <a:pt x="599" y="2852"/>
                  </a:lnTo>
                  <a:cubicBezTo>
                    <a:pt x="617" y="2862"/>
                    <a:pt x="634" y="2873"/>
                    <a:pt x="652" y="2880"/>
                  </a:cubicBezTo>
                  <a:lnTo>
                    <a:pt x="659" y="2883"/>
                  </a:lnTo>
                  <a:cubicBezTo>
                    <a:pt x="680" y="2890"/>
                    <a:pt x="697" y="2901"/>
                    <a:pt x="711" y="2904"/>
                  </a:cubicBezTo>
                  <a:cubicBezTo>
                    <a:pt x="977" y="2999"/>
                    <a:pt x="1093" y="3086"/>
                    <a:pt x="1114" y="3209"/>
                  </a:cubicBezTo>
                  <a:cubicBezTo>
                    <a:pt x="1138" y="3254"/>
                    <a:pt x="1180" y="3293"/>
                    <a:pt x="1229" y="3314"/>
                  </a:cubicBezTo>
                  <a:cubicBezTo>
                    <a:pt x="1257" y="3328"/>
                    <a:pt x="1275" y="3328"/>
                    <a:pt x="1278" y="3328"/>
                  </a:cubicBezTo>
                  <a:cubicBezTo>
                    <a:pt x="1278" y="3324"/>
                    <a:pt x="1278" y="3321"/>
                    <a:pt x="1278" y="3321"/>
                  </a:cubicBezTo>
                  <a:cubicBezTo>
                    <a:pt x="1320" y="3228"/>
                    <a:pt x="1394" y="3206"/>
                    <a:pt x="1465" y="3206"/>
                  </a:cubicBezTo>
                  <a:cubicBezTo>
                    <a:pt x="1500" y="3206"/>
                    <a:pt x="1535" y="3211"/>
                    <a:pt x="1566" y="3216"/>
                  </a:cubicBezTo>
                  <a:cubicBezTo>
                    <a:pt x="1594" y="3223"/>
                    <a:pt x="1622" y="3226"/>
                    <a:pt x="1646" y="3226"/>
                  </a:cubicBezTo>
                  <a:cubicBezTo>
                    <a:pt x="1800" y="3226"/>
                    <a:pt x="1835" y="3380"/>
                    <a:pt x="1849" y="3454"/>
                  </a:cubicBezTo>
                  <a:lnTo>
                    <a:pt x="1849" y="3461"/>
                  </a:lnTo>
                  <a:cubicBezTo>
                    <a:pt x="1891" y="3471"/>
                    <a:pt x="1933" y="3478"/>
                    <a:pt x="1975" y="3478"/>
                  </a:cubicBezTo>
                  <a:cubicBezTo>
                    <a:pt x="2045" y="3478"/>
                    <a:pt x="2119" y="3492"/>
                    <a:pt x="2185" y="3524"/>
                  </a:cubicBezTo>
                  <a:cubicBezTo>
                    <a:pt x="2241" y="3566"/>
                    <a:pt x="2283" y="3622"/>
                    <a:pt x="2311" y="3685"/>
                  </a:cubicBezTo>
                  <a:cubicBezTo>
                    <a:pt x="2332" y="3723"/>
                    <a:pt x="2357" y="3762"/>
                    <a:pt x="2381" y="3797"/>
                  </a:cubicBezTo>
                  <a:cubicBezTo>
                    <a:pt x="2392" y="3808"/>
                    <a:pt x="2399" y="3818"/>
                    <a:pt x="2409" y="3829"/>
                  </a:cubicBezTo>
                  <a:cubicBezTo>
                    <a:pt x="2416" y="3836"/>
                    <a:pt x="2427" y="3839"/>
                    <a:pt x="2434" y="3846"/>
                  </a:cubicBezTo>
                  <a:cubicBezTo>
                    <a:pt x="2446" y="3853"/>
                    <a:pt x="2458" y="3857"/>
                    <a:pt x="2471" y="3857"/>
                  </a:cubicBezTo>
                  <a:cubicBezTo>
                    <a:pt x="2495" y="3857"/>
                    <a:pt x="2523" y="3845"/>
                    <a:pt x="2563" y="3825"/>
                  </a:cubicBezTo>
                  <a:cubicBezTo>
                    <a:pt x="2603" y="3807"/>
                    <a:pt x="2643" y="3790"/>
                    <a:pt x="2686" y="3790"/>
                  </a:cubicBezTo>
                  <a:cubicBezTo>
                    <a:pt x="2710" y="3790"/>
                    <a:pt x="2736" y="3796"/>
                    <a:pt x="2763" y="3811"/>
                  </a:cubicBezTo>
                  <a:cubicBezTo>
                    <a:pt x="2820" y="3846"/>
                    <a:pt x="2945" y="3877"/>
                    <a:pt x="3055" y="3877"/>
                  </a:cubicBezTo>
                  <a:cubicBezTo>
                    <a:pt x="3100" y="3877"/>
                    <a:pt x="3142" y="3872"/>
                    <a:pt x="3176" y="3860"/>
                  </a:cubicBezTo>
                  <a:cubicBezTo>
                    <a:pt x="3210" y="3846"/>
                    <a:pt x="3246" y="3840"/>
                    <a:pt x="3282" y="3840"/>
                  </a:cubicBezTo>
                  <a:cubicBezTo>
                    <a:pt x="3310" y="3840"/>
                    <a:pt x="3338" y="3843"/>
                    <a:pt x="3365" y="3850"/>
                  </a:cubicBezTo>
                  <a:cubicBezTo>
                    <a:pt x="3386" y="3857"/>
                    <a:pt x="3403" y="3860"/>
                    <a:pt x="3425" y="3867"/>
                  </a:cubicBezTo>
                  <a:cubicBezTo>
                    <a:pt x="3473" y="3882"/>
                    <a:pt x="3525" y="3892"/>
                    <a:pt x="3574" y="3892"/>
                  </a:cubicBezTo>
                  <a:cubicBezTo>
                    <a:pt x="3582" y="3892"/>
                    <a:pt x="3589" y="3892"/>
                    <a:pt x="3596" y="3892"/>
                  </a:cubicBezTo>
                  <a:lnTo>
                    <a:pt x="3607" y="3892"/>
                  </a:lnTo>
                  <a:cubicBezTo>
                    <a:pt x="3627" y="3890"/>
                    <a:pt x="3648" y="3889"/>
                    <a:pt x="3669" y="3889"/>
                  </a:cubicBezTo>
                  <a:cubicBezTo>
                    <a:pt x="3850" y="3889"/>
                    <a:pt x="4059" y="3952"/>
                    <a:pt x="4125" y="4018"/>
                  </a:cubicBezTo>
                  <a:lnTo>
                    <a:pt x="4181" y="4018"/>
                  </a:lnTo>
                  <a:lnTo>
                    <a:pt x="4195" y="4021"/>
                  </a:lnTo>
                  <a:lnTo>
                    <a:pt x="4202" y="4021"/>
                  </a:lnTo>
                  <a:lnTo>
                    <a:pt x="4216" y="4025"/>
                  </a:lnTo>
                  <a:lnTo>
                    <a:pt x="4237" y="4025"/>
                  </a:lnTo>
                  <a:lnTo>
                    <a:pt x="4247" y="4028"/>
                  </a:lnTo>
                  <a:lnTo>
                    <a:pt x="4261" y="4032"/>
                  </a:lnTo>
                  <a:lnTo>
                    <a:pt x="4275" y="4035"/>
                  </a:lnTo>
                  <a:lnTo>
                    <a:pt x="4286" y="4035"/>
                  </a:lnTo>
                  <a:lnTo>
                    <a:pt x="4303" y="4039"/>
                  </a:lnTo>
                  <a:lnTo>
                    <a:pt x="4317" y="4042"/>
                  </a:lnTo>
                  <a:lnTo>
                    <a:pt x="4335" y="4046"/>
                  </a:lnTo>
                  <a:lnTo>
                    <a:pt x="4342" y="4046"/>
                  </a:lnTo>
                  <a:cubicBezTo>
                    <a:pt x="4335" y="3997"/>
                    <a:pt x="4331" y="3948"/>
                    <a:pt x="4321" y="3899"/>
                  </a:cubicBezTo>
                  <a:cubicBezTo>
                    <a:pt x="4314" y="3857"/>
                    <a:pt x="4307" y="3815"/>
                    <a:pt x="4307" y="3772"/>
                  </a:cubicBezTo>
                  <a:lnTo>
                    <a:pt x="4307" y="3765"/>
                  </a:lnTo>
                  <a:lnTo>
                    <a:pt x="4307" y="3758"/>
                  </a:lnTo>
                  <a:lnTo>
                    <a:pt x="4307" y="3755"/>
                  </a:lnTo>
                  <a:lnTo>
                    <a:pt x="4307" y="3748"/>
                  </a:lnTo>
                  <a:cubicBezTo>
                    <a:pt x="4307" y="3744"/>
                    <a:pt x="4307" y="3741"/>
                    <a:pt x="4307" y="3737"/>
                  </a:cubicBezTo>
                  <a:cubicBezTo>
                    <a:pt x="4317" y="3699"/>
                    <a:pt x="4366" y="3646"/>
                    <a:pt x="4517" y="3499"/>
                  </a:cubicBezTo>
                  <a:lnTo>
                    <a:pt x="4650" y="3370"/>
                  </a:lnTo>
                  <a:cubicBezTo>
                    <a:pt x="4730" y="3296"/>
                    <a:pt x="4804" y="3226"/>
                    <a:pt x="4825" y="3195"/>
                  </a:cubicBezTo>
                  <a:cubicBezTo>
                    <a:pt x="4870" y="3163"/>
                    <a:pt x="4916" y="3142"/>
                    <a:pt x="4968" y="3132"/>
                  </a:cubicBezTo>
                  <a:cubicBezTo>
                    <a:pt x="5014" y="3114"/>
                    <a:pt x="5049" y="3083"/>
                    <a:pt x="5077" y="3044"/>
                  </a:cubicBezTo>
                  <a:cubicBezTo>
                    <a:pt x="5091" y="3013"/>
                    <a:pt x="5049" y="2859"/>
                    <a:pt x="4860" y="2579"/>
                  </a:cubicBezTo>
                  <a:cubicBezTo>
                    <a:pt x="4856" y="2572"/>
                    <a:pt x="4853" y="2565"/>
                    <a:pt x="4849" y="2558"/>
                  </a:cubicBezTo>
                  <a:cubicBezTo>
                    <a:pt x="4832" y="2519"/>
                    <a:pt x="4821" y="2477"/>
                    <a:pt x="4814" y="2439"/>
                  </a:cubicBezTo>
                  <a:cubicBezTo>
                    <a:pt x="4814" y="2432"/>
                    <a:pt x="4814" y="2425"/>
                    <a:pt x="4811" y="2421"/>
                  </a:cubicBezTo>
                  <a:lnTo>
                    <a:pt x="4807" y="2369"/>
                  </a:lnTo>
                  <a:lnTo>
                    <a:pt x="4807" y="2355"/>
                  </a:lnTo>
                  <a:lnTo>
                    <a:pt x="4800" y="2288"/>
                  </a:lnTo>
                  <a:cubicBezTo>
                    <a:pt x="4797" y="2225"/>
                    <a:pt x="4800" y="2159"/>
                    <a:pt x="4807" y="2096"/>
                  </a:cubicBezTo>
                  <a:lnTo>
                    <a:pt x="4807" y="2089"/>
                  </a:lnTo>
                  <a:cubicBezTo>
                    <a:pt x="4807" y="2082"/>
                    <a:pt x="4811" y="2075"/>
                    <a:pt x="4811" y="2068"/>
                  </a:cubicBezTo>
                  <a:cubicBezTo>
                    <a:pt x="4811" y="2061"/>
                    <a:pt x="4814" y="2047"/>
                    <a:pt x="4818" y="2040"/>
                  </a:cubicBezTo>
                  <a:cubicBezTo>
                    <a:pt x="4825" y="2015"/>
                    <a:pt x="4797" y="1987"/>
                    <a:pt x="4758" y="1952"/>
                  </a:cubicBezTo>
                  <a:lnTo>
                    <a:pt x="4737" y="1938"/>
                  </a:lnTo>
                  <a:cubicBezTo>
                    <a:pt x="4695" y="1896"/>
                    <a:pt x="4646" y="1858"/>
                    <a:pt x="4636" y="1805"/>
                  </a:cubicBezTo>
                  <a:cubicBezTo>
                    <a:pt x="4636" y="1798"/>
                    <a:pt x="4632" y="1788"/>
                    <a:pt x="4632" y="1781"/>
                  </a:cubicBezTo>
                  <a:cubicBezTo>
                    <a:pt x="4632" y="1644"/>
                    <a:pt x="4895" y="1483"/>
                    <a:pt x="4986" y="1441"/>
                  </a:cubicBezTo>
                  <a:cubicBezTo>
                    <a:pt x="4989" y="1441"/>
                    <a:pt x="5003" y="1423"/>
                    <a:pt x="5010" y="1378"/>
                  </a:cubicBezTo>
                  <a:cubicBezTo>
                    <a:pt x="5028" y="1269"/>
                    <a:pt x="4989" y="1115"/>
                    <a:pt x="4947" y="1077"/>
                  </a:cubicBezTo>
                  <a:cubicBezTo>
                    <a:pt x="4818" y="965"/>
                    <a:pt x="4779" y="776"/>
                    <a:pt x="4842" y="594"/>
                  </a:cubicBezTo>
                  <a:cubicBezTo>
                    <a:pt x="4846" y="590"/>
                    <a:pt x="4846" y="583"/>
                    <a:pt x="4842" y="580"/>
                  </a:cubicBezTo>
                  <a:cubicBezTo>
                    <a:pt x="4842" y="573"/>
                    <a:pt x="4839" y="566"/>
                    <a:pt x="4839" y="562"/>
                  </a:cubicBezTo>
                  <a:cubicBezTo>
                    <a:pt x="4835" y="559"/>
                    <a:pt x="4832" y="555"/>
                    <a:pt x="4828" y="552"/>
                  </a:cubicBezTo>
                  <a:lnTo>
                    <a:pt x="4821" y="541"/>
                  </a:lnTo>
                  <a:lnTo>
                    <a:pt x="4818" y="538"/>
                  </a:lnTo>
                  <a:lnTo>
                    <a:pt x="4804" y="524"/>
                  </a:lnTo>
                  <a:lnTo>
                    <a:pt x="4793" y="517"/>
                  </a:lnTo>
                  <a:lnTo>
                    <a:pt x="4786" y="510"/>
                  </a:lnTo>
                  <a:cubicBezTo>
                    <a:pt x="4702" y="454"/>
                    <a:pt x="4611" y="412"/>
                    <a:pt x="4513" y="387"/>
                  </a:cubicBezTo>
                  <a:lnTo>
                    <a:pt x="4510" y="387"/>
                  </a:lnTo>
                  <a:lnTo>
                    <a:pt x="4496" y="384"/>
                  </a:lnTo>
                  <a:lnTo>
                    <a:pt x="4454" y="384"/>
                  </a:lnTo>
                  <a:cubicBezTo>
                    <a:pt x="4443" y="380"/>
                    <a:pt x="4436" y="377"/>
                    <a:pt x="4429" y="370"/>
                  </a:cubicBezTo>
                  <a:lnTo>
                    <a:pt x="4391" y="370"/>
                  </a:lnTo>
                  <a:cubicBezTo>
                    <a:pt x="4302" y="380"/>
                    <a:pt x="4192" y="384"/>
                    <a:pt x="4075" y="384"/>
                  </a:cubicBezTo>
                  <a:cubicBezTo>
                    <a:pt x="3792" y="384"/>
                    <a:pt x="3460" y="359"/>
                    <a:pt x="3242" y="335"/>
                  </a:cubicBezTo>
                  <a:lnTo>
                    <a:pt x="3235" y="335"/>
                  </a:lnTo>
                  <a:lnTo>
                    <a:pt x="3207" y="331"/>
                  </a:lnTo>
                  <a:lnTo>
                    <a:pt x="3200" y="331"/>
                  </a:lnTo>
                  <a:lnTo>
                    <a:pt x="3158" y="324"/>
                  </a:lnTo>
                  <a:lnTo>
                    <a:pt x="3106" y="324"/>
                  </a:lnTo>
                  <a:lnTo>
                    <a:pt x="3092" y="321"/>
                  </a:lnTo>
                  <a:lnTo>
                    <a:pt x="3081" y="321"/>
                  </a:lnTo>
                  <a:lnTo>
                    <a:pt x="3060" y="317"/>
                  </a:lnTo>
                  <a:lnTo>
                    <a:pt x="3057" y="317"/>
                  </a:lnTo>
                  <a:lnTo>
                    <a:pt x="3043" y="314"/>
                  </a:lnTo>
                  <a:lnTo>
                    <a:pt x="3039" y="314"/>
                  </a:lnTo>
                  <a:lnTo>
                    <a:pt x="3029" y="310"/>
                  </a:lnTo>
                  <a:lnTo>
                    <a:pt x="3025" y="310"/>
                  </a:lnTo>
                  <a:lnTo>
                    <a:pt x="3015" y="307"/>
                  </a:lnTo>
                  <a:lnTo>
                    <a:pt x="2994" y="300"/>
                  </a:lnTo>
                  <a:lnTo>
                    <a:pt x="2987" y="300"/>
                  </a:lnTo>
                  <a:lnTo>
                    <a:pt x="2966" y="289"/>
                  </a:lnTo>
                  <a:lnTo>
                    <a:pt x="2959" y="289"/>
                  </a:lnTo>
                  <a:lnTo>
                    <a:pt x="2931" y="279"/>
                  </a:lnTo>
                  <a:lnTo>
                    <a:pt x="2927" y="279"/>
                  </a:lnTo>
                  <a:lnTo>
                    <a:pt x="2896" y="268"/>
                  </a:lnTo>
                  <a:lnTo>
                    <a:pt x="2892" y="268"/>
                  </a:lnTo>
                  <a:lnTo>
                    <a:pt x="2787" y="230"/>
                  </a:lnTo>
                  <a:cubicBezTo>
                    <a:pt x="2706" y="321"/>
                    <a:pt x="2595" y="373"/>
                    <a:pt x="2474" y="373"/>
                  </a:cubicBezTo>
                  <a:cubicBezTo>
                    <a:pt x="2470" y="373"/>
                    <a:pt x="2466" y="373"/>
                    <a:pt x="2462" y="373"/>
                  </a:cubicBezTo>
                  <a:cubicBezTo>
                    <a:pt x="2196" y="373"/>
                    <a:pt x="2154" y="121"/>
                    <a:pt x="2140" y="2"/>
                  </a:cubicBezTo>
                  <a:cubicBezTo>
                    <a:pt x="2132" y="1"/>
                    <a:pt x="2122" y="1"/>
                    <a:pt x="2111" y="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345" name="Google Shape;4345;p104"/>
            <p:cNvSpPr/>
            <p:nvPr/>
          </p:nvSpPr>
          <p:spPr>
            <a:xfrm>
              <a:off x="2164512" y="1680435"/>
              <a:ext cx="24820" cy="22661"/>
            </a:xfrm>
            <a:custGeom>
              <a:avLst/>
              <a:gdLst/>
              <a:ahLst/>
              <a:cxnLst/>
              <a:rect l="l" t="t" r="r" b="b"/>
              <a:pathLst>
                <a:path w="1828" h="1669" extrusionOk="0">
                  <a:moveTo>
                    <a:pt x="496" y="1"/>
                  </a:moveTo>
                  <a:cubicBezTo>
                    <a:pt x="473" y="1"/>
                    <a:pt x="441" y="17"/>
                    <a:pt x="396" y="44"/>
                  </a:cubicBezTo>
                  <a:cubicBezTo>
                    <a:pt x="355" y="69"/>
                    <a:pt x="299" y="102"/>
                    <a:pt x="238" y="102"/>
                  </a:cubicBezTo>
                  <a:cubicBezTo>
                    <a:pt x="206" y="102"/>
                    <a:pt x="173" y="93"/>
                    <a:pt x="140" y="69"/>
                  </a:cubicBezTo>
                  <a:cubicBezTo>
                    <a:pt x="126" y="58"/>
                    <a:pt x="111" y="53"/>
                    <a:pt x="95" y="53"/>
                  </a:cubicBezTo>
                  <a:cubicBezTo>
                    <a:pt x="79" y="53"/>
                    <a:pt x="63" y="58"/>
                    <a:pt x="49" y="69"/>
                  </a:cubicBezTo>
                  <a:cubicBezTo>
                    <a:pt x="18" y="83"/>
                    <a:pt x="0" y="114"/>
                    <a:pt x="4" y="149"/>
                  </a:cubicBezTo>
                  <a:cubicBezTo>
                    <a:pt x="11" y="177"/>
                    <a:pt x="53" y="216"/>
                    <a:pt x="91" y="254"/>
                  </a:cubicBezTo>
                  <a:cubicBezTo>
                    <a:pt x="165" y="321"/>
                    <a:pt x="259" y="401"/>
                    <a:pt x="259" y="534"/>
                  </a:cubicBezTo>
                  <a:cubicBezTo>
                    <a:pt x="259" y="608"/>
                    <a:pt x="410" y="741"/>
                    <a:pt x="508" y="828"/>
                  </a:cubicBezTo>
                  <a:cubicBezTo>
                    <a:pt x="627" y="933"/>
                    <a:pt x="708" y="1004"/>
                    <a:pt x="704" y="1077"/>
                  </a:cubicBezTo>
                  <a:cubicBezTo>
                    <a:pt x="743" y="1123"/>
                    <a:pt x="785" y="1165"/>
                    <a:pt x="830" y="1203"/>
                  </a:cubicBezTo>
                  <a:lnTo>
                    <a:pt x="897" y="1270"/>
                  </a:lnTo>
                  <a:lnTo>
                    <a:pt x="904" y="1273"/>
                  </a:lnTo>
                  <a:cubicBezTo>
                    <a:pt x="928" y="1298"/>
                    <a:pt x="953" y="1322"/>
                    <a:pt x="977" y="1347"/>
                  </a:cubicBezTo>
                  <a:lnTo>
                    <a:pt x="981" y="1354"/>
                  </a:lnTo>
                  <a:cubicBezTo>
                    <a:pt x="1005" y="1378"/>
                    <a:pt x="1030" y="1403"/>
                    <a:pt x="1054" y="1431"/>
                  </a:cubicBezTo>
                  <a:lnTo>
                    <a:pt x="1061" y="1438"/>
                  </a:lnTo>
                  <a:cubicBezTo>
                    <a:pt x="1082" y="1466"/>
                    <a:pt x="1103" y="1494"/>
                    <a:pt x="1124" y="1522"/>
                  </a:cubicBezTo>
                  <a:lnTo>
                    <a:pt x="1131" y="1532"/>
                  </a:lnTo>
                  <a:cubicBezTo>
                    <a:pt x="1194" y="1571"/>
                    <a:pt x="1257" y="1620"/>
                    <a:pt x="1320" y="1669"/>
                  </a:cubicBezTo>
                  <a:lnTo>
                    <a:pt x="1320" y="1665"/>
                  </a:lnTo>
                  <a:lnTo>
                    <a:pt x="1320" y="1655"/>
                  </a:lnTo>
                  <a:lnTo>
                    <a:pt x="1320" y="1648"/>
                  </a:lnTo>
                  <a:lnTo>
                    <a:pt x="1320" y="1641"/>
                  </a:lnTo>
                  <a:lnTo>
                    <a:pt x="1320" y="1637"/>
                  </a:lnTo>
                  <a:lnTo>
                    <a:pt x="1320" y="1634"/>
                  </a:lnTo>
                  <a:lnTo>
                    <a:pt x="1320" y="1630"/>
                  </a:lnTo>
                  <a:cubicBezTo>
                    <a:pt x="1320" y="1620"/>
                    <a:pt x="1324" y="1606"/>
                    <a:pt x="1327" y="1595"/>
                  </a:cubicBezTo>
                  <a:lnTo>
                    <a:pt x="1327" y="1588"/>
                  </a:lnTo>
                  <a:cubicBezTo>
                    <a:pt x="1327" y="1581"/>
                    <a:pt x="1327" y="1574"/>
                    <a:pt x="1331" y="1567"/>
                  </a:cubicBezTo>
                  <a:cubicBezTo>
                    <a:pt x="1331" y="1564"/>
                    <a:pt x="1331" y="1560"/>
                    <a:pt x="1331" y="1557"/>
                  </a:cubicBezTo>
                  <a:cubicBezTo>
                    <a:pt x="1334" y="1553"/>
                    <a:pt x="1334" y="1543"/>
                    <a:pt x="1338" y="1536"/>
                  </a:cubicBezTo>
                  <a:lnTo>
                    <a:pt x="1341" y="1525"/>
                  </a:lnTo>
                  <a:cubicBezTo>
                    <a:pt x="1345" y="1515"/>
                    <a:pt x="1348" y="1508"/>
                    <a:pt x="1352" y="1497"/>
                  </a:cubicBezTo>
                  <a:lnTo>
                    <a:pt x="1355" y="1490"/>
                  </a:lnTo>
                  <a:cubicBezTo>
                    <a:pt x="1359" y="1480"/>
                    <a:pt x="1362" y="1469"/>
                    <a:pt x="1369" y="1459"/>
                  </a:cubicBezTo>
                  <a:lnTo>
                    <a:pt x="1369" y="1455"/>
                  </a:lnTo>
                  <a:cubicBezTo>
                    <a:pt x="1411" y="1368"/>
                    <a:pt x="1460" y="1287"/>
                    <a:pt x="1516" y="1210"/>
                  </a:cubicBezTo>
                  <a:lnTo>
                    <a:pt x="1551" y="1168"/>
                  </a:lnTo>
                  <a:lnTo>
                    <a:pt x="1593" y="1105"/>
                  </a:lnTo>
                  <a:lnTo>
                    <a:pt x="1607" y="1091"/>
                  </a:lnTo>
                  <a:cubicBezTo>
                    <a:pt x="1632" y="1060"/>
                    <a:pt x="1656" y="1032"/>
                    <a:pt x="1684" y="1004"/>
                  </a:cubicBezTo>
                  <a:lnTo>
                    <a:pt x="1691" y="997"/>
                  </a:lnTo>
                  <a:lnTo>
                    <a:pt x="1705" y="986"/>
                  </a:lnTo>
                  <a:lnTo>
                    <a:pt x="1716" y="975"/>
                  </a:lnTo>
                  <a:lnTo>
                    <a:pt x="1723" y="968"/>
                  </a:lnTo>
                  <a:lnTo>
                    <a:pt x="1730" y="965"/>
                  </a:lnTo>
                  <a:lnTo>
                    <a:pt x="1744" y="954"/>
                  </a:lnTo>
                  <a:lnTo>
                    <a:pt x="1747" y="954"/>
                  </a:lnTo>
                  <a:cubicBezTo>
                    <a:pt x="1758" y="947"/>
                    <a:pt x="1765" y="944"/>
                    <a:pt x="1775" y="940"/>
                  </a:cubicBezTo>
                  <a:cubicBezTo>
                    <a:pt x="1775" y="937"/>
                    <a:pt x="1779" y="933"/>
                    <a:pt x="1779" y="930"/>
                  </a:cubicBezTo>
                  <a:lnTo>
                    <a:pt x="1779" y="923"/>
                  </a:lnTo>
                  <a:cubicBezTo>
                    <a:pt x="1810" y="821"/>
                    <a:pt x="1828" y="517"/>
                    <a:pt x="1807" y="310"/>
                  </a:cubicBezTo>
                  <a:lnTo>
                    <a:pt x="1796" y="303"/>
                  </a:lnTo>
                  <a:lnTo>
                    <a:pt x="1779" y="293"/>
                  </a:lnTo>
                  <a:lnTo>
                    <a:pt x="1758" y="275"/>
                  </a:lnTo>
                  <a:lnTo>
                    <a:pt x="1740" y="265"/>
                  </a:lnTo>
                  <a:lnTo>
                    <a:pt x="1716" y="251"/>
                  </a:lnTo>
                  <a:lnTo>
                    <a:pt x="1698" y="240"/>
                  </a:lnTo>
                  <a:lnTo>
                    <a:pt x="1677" y="230"/>
                  </a:lnTo>
                  <a:lnTo>
                    <a:pt x="1660" y="219"/>
                  </a:lnTo>
                  <a:lnTo>
                    <a:pt x="1639" y="209"/>
                  </a:lnTo>
                  <a:lnTo>
                    <a:pt x="1625" y="198"/>
                  </a:lnTo>
                  <a:lnTo>
                    <a:pt x="1604" y="188"/>
                  </a:lnTo>
                  <a:lnTo>
                    <a:pt x="1590" y="181"/>
                  </a:lnTo>
                  <a:lnTo>
                    <a:pt x="1569" y="174"/>
                  </a:lnTo>
                  <a:lnTo>
                    <a:pt x="1555" y="167"/>
                  </a:lnTo>
                  <a:lnTo>
                    <a:pt x="1537" y="156"/>
                  </a:lnTo>
                  <a:lnTo>
                    <a:pt x="1523" y="149"/>
                  </a:lnTo>
                  <a:lnTo>
                    <a:pt x="1506" y="142"/>
                  </a:lnTo>
                  <a:lnTo>
                    <a:pt x="1495" y="139"/>
                  </a:lnTo>
                  <a:lnTo>
                    <a:pt x="1481" y="132"/>
                  </a:lnTo>
                  <a:lnTo>
                    <a:pt x="1467" y="125"/>
                  </a:lnTo>
                  <a:lnTo>
                    <a:pt x="1453" y="121"/>
                  </a:lnTo>
                  <a:lnTo>
                    <a:pt x="1443" y="114"/>
                  </a:lnTo>
                  <a:lnTo>
                    <a:pt x="1432" y="111"/>
                  </a:lnTo>
                  <a:lnTo>
                    <a:pt x="1422" y="107"/>
                  </a:lnTo>
                  <a:lnTo>
                    <a:pt x="1411" y="104"/>
                  </a:lnTo>
                  <a:lnTo>
                    <a:pt x="1404" y="100"/>
                  </a:lnTo>
                  <a:lnTo>
                    <a:pt x="1394" y="97"/>
                  </a:lnTo>
                  <a:lnTo>
                    <a:pt x="1387" y="97"/>
                  </a:lnTo>
                  <a:lnTo>
                    <a:pt x="1380" y="93"/>
                  </a:lnTo>
                  <a:lnTo>
                    <a:pt x="1376" y="93"/>
                  </a:lnTo>
                  <a:lnTo>
                    <a:pt x="1366" y="90"/>
                  </a:lnTo>
                  <a:cubicBezTo>
                    <a:pt x="1226" y="86"/>
                    <a:pt x="631" y="51"/>
                    <a:pt x="508" y="2"/>
                  </a:cubicBezTo>
                  <a:cubicBezTo>
                    <a:pt x="504" y="1"/>
                    <a:pt x="501" y="1"/>
                    <a:pt x="496" y="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346" name="Google Shape;4346;p104"/>
            <p:cNvSpPr/>
            <p:nvPr/>
          </p:nvSpPr>
          <p:spPr>
            <a:xfrm>
              <a:off x="2151397" y="1668202"/>
              <a:ext cx="37270" cy="31337"/>
            </a:xfrm>
            <a:custGeom>
              <a:avLst/>
              <a:gdLst/>
              <a:ahLst/>
              <a:cxnLst/>
              <a:rect l="l" t="t" r="r" b="b"/>
              <a:pathLst>
                <a:path w="2745" h="2308" extrusionOk="0">
                  <a:moveTo>
                    <a:pt x="2740" y="1018"/>
                  </a:moveTo>
                  <a:cubicBezTo>
                    <a:pt x="2741" y="1019"/>
                    <a:pt x="2743" y="1021"/>
                    <a:pt x="2745" y="1022"/>
                  </a:cubicBezTo>
                  <a:lnTo>
                    <a:pt x="2741" y="1019"/>
                  </a:lnTo>
                  <a:lnTo>
                    <a:pt x="2740" y="1018"/>
                  </a:lnTo>
                  <a:close/>
                  <a:moveTo>
                    <a:pt x="1309" y="0"/>
                  </a:moveTo>
                  <a:lnTo>
                    <a:pt x="1264" y="39"/>
                  </a:lnTo>
                  <a:lnTo>
                    <a:pt x="1257" y="46"/>
                  </a:lnTo>
                  <a:lnTo>
                    <a:pt x="1222" y="74"/>
                  </a:lnTo>
                  <a:cubicBezTo>
                    <a:pt x="1166" y="119"/>
                    <a:pt x="1106" y="154"/>
                    <a:pt x="1043" y="186"/>
                  </a:cubicBezTo>
                  <a:lnTo>
                    <a:pt x="1036" y="189"/>
                  </a:lnTo>
                  <a:lnTo>
                    <a:pt x="1019" y="196"/>
                  </a:lnTo>
                  <a:cubicBezTo>
                    <a:pt x="1012" y="196"/>
                    <a:pt x="1001" y="200"/>
                    <a:pt x="994" y="200"/>
                  </a:cubicBezTo>
                  <a:cubicBezTo>
                    <a:pt x="987" y="228"/>
                    <a:pt x="980" y="256"/>
                    <a:pt x="977" y="284"/>
                  </a:cubicBezTo>
                  <a:cubicBezTo>
                    <a:pt x="970" y="354"/>
                    <a:pt x="952" y="469"/>
                    <a:pt x="847" y="469"/>
                  </a:cubicBezTo>
                  <a:cubicBezTo>
                    <a:pt x="812" y="469"/>
                    <a:pt x="749" y="564"/>
                    <a:pt x="714" y="669"/>
                  </a:cubicBezTo>
                  <a:cubicBezTo>
                    <a:pt x="697" y="720"/>
                    <a:pt x="657" y="735"/>
                    <a:pt x="609" y="735"/>
                  </a:cubicBezTo>
                  <a:cubicBezTo>
                    <a:pt x="568" y="735"/>
                    <a:pt x="522" y="724"/>
                    <a:pt x="480" y="714"/>
                  </a:cubicBezTo>
                  <a:cubicBezTo>
                    <a:pt x="442" y="703"/>
                    <a:pt x="402" y="696"/>
                    <a:pt x="361" y="696"/>
                  </a:cubicBezTo>
                  <a:cubicBezTo>
                    <a:pt x="353" y="696"/>
                    <a:pt x="345" y="696"/>
                    <a:pt x="336" y="697"/>
                  </a:cubicBezTo>
                  <a:lnTo>
                    <a:pt x="312" y="704"/>
                  </a:lnTo>
                  <a:lnTo>
                    <a:pt x="301" y="707"/>
                  </a:lnTo>
                  <a:lnTo>
                    <a:pt x="284" y="711"/>
                  </a:lnTo>
                  <a:lnTo>
                    <a:pt x="270" y="714"/>
                  </a:lnTo>
                  <a:lnTo>
                    <a:pt x="245" y="721"/>
                  </a:lnTo>
                  <a:lnTo>
                    <a:pt x="228" y="725"/>
                  </a:lnTo>
                  <a:lnTo>
                    <a:pt x="203" y="728"/>
                  </a:lnTo>
                  <a:lnTo>
                    <a:pt x="182" y="732"/>
                  </a:lnTo>
                  <a:lnTo>
                    <a:pt x="154" y="739"/>
                  </a:lnTo>
                  <a:lnTo>
                    <a:pt x="130" y="742"/>
                  </a:lnTo>
                  <a:lnTo>
                    <a:pt x="98" y="749"/>
                  </a:lnTo>
                  <a:lnTo>
                    <a:pt x="70" y="753"/>
                  </a:lnTo>
                  <a:lnTo>
                    <a:pt x="28" y="760"/>
                  </a:lnTo>
                  <a:lnTo>
                    <a:pt x="7" y="763"/>
                  </a:lnTo>
                  <a:lnTo>
                    <a:pt x="0" y="763"/>
                  </a:lnTo>
                  <a:cubicBezTo>
                    <a:pt x="0" y="802"/>
                    <a:pt x="11" y="840"/>
                    <a:pt x="25" y="875"/>
                  </a:cubicBezTo>
                  <a:lnTo>
                    <a:pt x="91" y="875"/>
                  </a:lnTo>
                  <a:cubicBezTo>
                    <a:pt x="252" y="875"/>
                    <a:pt x="504" y="889"/>
                    <a:pt x="511" y="1117"/>
                  </a:cubicBezTo>
                  <a:cubicBezTo>
                    <a:pt x="518" y="1267"/>
                    <a:pt x="802" y="1642"/>
                    <a:pt x="980" y="1845"/>
                  </a:cubicBezTo>
                  <a:cubicBezTo>
                    <a:pt x="1033" y="1901"/>
                    <a:pt x="1124" y="1926"/>
                    <a:pt x="1204" y="1950"/>
                  </a:cubicBezTo>
                  <a:cubicBezTo>
                    <a:pt x="1309" y="1978"/>
                    <a:pt x="1421" y="2010"/>
                    <a:pt x="1432" y="2115"/>
                  </a:cubicBezTo>
                  <a:cubicBezTo>
                    <a:pt x="1442" y="2185"/>
                    <a:pt x="1604" y="2290"/>
                    <a:pt x="1842" y="2307"/>
                  </a:cubicBezTo>
                  <a:lnTo>
                    <a:pt x="1845" y="2307"/>
                  </a:lnTo>
                  <a:lnTo>
                    <a:pt x="1842" y="2304"/>
                  </a:lnTo>
                  <a:cubicBezTo>
                    <a:pt x="1824" y="2283"/>
                    <a:pt x="1803" y="2265"/>
                    <a:pt x="1786" y="2248"/>
                  </a:cubicBezTo>
                  <a:lnTo>
                    <a:pt x="1775" y="2237"/>
                  </a:lnTo>
                  <a:lnTo>
                    <a:pt x="1723" y="2188"/>
                  </a:lnTo>
                  <a:cubicBezTo>
                    <a:pt x="1618" y="2087"/>
                    <a:pt x="1555" y="2031"/>
                    <a:pt x="1558" y="1968"/>
                  </a:cubicBezTo>
                  <a:cubicBezTo>
                    <a:pt x="1512" y="1912"/>
                    <a:pt x="1460" y="1862"/>
                    <a:pt x="1404" y="1817"/>
                  </a:cubicBezTo>
                  <a:cubicBezTo>
                    <a:pt x="1260" y="1691"/>
                    <a:pt x="1110" y="1558"/>
                    <a:pt x="1110" y="1425"/>
                  </a:cubicBezTo>
                  <a:cubicBezTo>
                    <a:pt x="1110" y="1351"/>
                    <a:pt x="1050" y="1299"/>
                    <a:pt x="987" y="1239"/>
                  </a:cubicBezTo>
                  <a:cubicBezTo>
                    <a:pt x="931" y="1190"/>
                    <a:pt x="872" y="1138"/>
                    <a:pt x="858" y="1064"/>
                  </a:cubicBezTo>
                  <a:cubicBezTo>
                    <a:pt x="837" y="921"/>
                    <a:pt x="951" y="811"/>
                    <a:pt x="1076" y="811"/>
                  </a:cubicBezTo>
                  <a:cubicBezTo>
                    <a:pt x="1119" y="811"/>
                    <a:pt x="1164" y="824"/>
                    <a:pt x="1204" y="854"/>
                  </a:cubicBezTo>
                  <a:cubicBezTo>
                    <a:pt x="1211" y="861"/>
                    <a:pt x="1219" y="863"/>
                    <a:pt x="1227" y="863"/>
                  </a:cubicBezTo>
                  <a:cubicBezTo>
                    <a:pt x="1231" y="863"/>
                    <a:pt x="1236" y="863"/>
                    <a:pt x="1239" y="861"/>
                  </a:cubicBezTo>
                  <a:cubicBezTo>
                    <a:pt x="1264" y="851"/>
                    <a:pt x="1288" y="837"/>
                    <a:pt x="1313" y="823"/>
                  </a:cubicBezTo>
                  <a:cubicBezTo>
                    <a:pt x="1360" y="794"/>
                    <a:pt x="1415" y="761"/>
                    <a:pt x="1476" y="761"/>
                  </a:cubicBezTo>
                  <a:cubicBezTo>
                    <a:pt x="1497" y="761"/>
                    <a:pt x="1518" y="765"/>
                    <a:pt x="1540" y="774"/>
                  </a:cubicBezTo>
                  <a:cubicBezTo>
                    <a:pt x="1625" y="809"/>
                    <a:pt x="2087" y="840"/>
                    <a:pt x="2363" y="854"/>
                  </a:cubicBezTo>
                  <a:lnTo>
                    <a:pt x="2377" y="858"/>
                  </a:lnTo>
                  <a:lnTo>
                    <a:pt x="2391" y="858"/>
                  </a:lnTo>
                  <a:lnTo>
                    <a:pt x="2402" y="861"/>
                  </a:lnTo>
                  <a:lnTo>
                    <a:pt x="2419" y="868"/>
                  </a:lnTo>
                  <a:lnTo>
                    <a:pt x="2468" y="886"/>
                  </a:lnTo>
                  <a:lnTo>
                    <a:pt x="2472" y="886"/>
                  </a:lnTo>
                  <a:lnTo>
                    <a:pt x="2493" y="896"/>
                  </a:lnTo>
                  <a:lnTo>
                    <a:pt x="2503" y="900"/>
                  </a:lnTo>
                  <a:lnTo>
                    <a:pt x="2528" y="910"/>
                  </a:lnTo>
                  <a:lnTo>
                    <a:pt x="2535" y="914"/>
                  </a:lnTo>
                  <a:lnTo>
                    <a:pt x="2566" y="928"/>
                  </a:lnTo>
                  <a:lnTo>
                    <a:pt x="2605" y="945"/>
                  </a:lnTo>
                  <a:lnTo>
                    <a:pt x="2612" y="949"/>
                  </a:lnTo>
                  <a:lnTo>
                    <a:pt x="2643" y="966"/>
                  </a:lnTo>
                  <a:lnTo>
                    <a:pt x="2657" y="973"/>
                  </a:lnTo>
                  <a:lnTo>
                    <a:pt x="2685" y="987"/>
                  </a:lnTo>
                  <a:lnTo>
                    <a:pt x="2699" y="994"/>
                  </a:lnTo>
                  <a:lnTo>
                    <a:pt x="2727" y="1012"/>
                  </a:lnTo>
                  <a:lnTo>
                    <a:pt x="2740" y="1018"/>
                  </a:lnTo>
                  <a:lnTo>
                    <a:pt x="2740" y="1018"/>
                  </a:lnTo>
                  <a:cubicBezTo>
                    <a:pt x="2733" y="1011"/>
                    <a:pt x="2731" y="1002"/>
                    <a:pt x="2731" y="991"/>
                  </a:cubicBezTo>
                  <a:lnTo>
                    <a:pt x="2731" y="980"/>
                  </a:lnTo>
                  <a:cubicBezTo>
                    <a:pt x="2727" y="970"/>
                    <a:pt x="2727" y="959"/>
                    <a:pt x="2727" y="949"/>
                  </a:cubicBezTo>
                  <a:lnTo>
                    <a:pt x="2727" y="938"/>
                  </a:lnTo>
                  <a:cubicBezTo>
                    <a:pt x="2727" y="924"/>
                    <a:pt x="2724" y="914"/>
                    <a:pt x="2720" y="903"/>
                  </a:cubicBezTo>
                  <a:cubicBezTo>
                    <a:pt x="2706" y="798"/>
                    <a:pt x="2699" y="753"/>
                    <a:pt x="2626" y="725"/>
                  </a:cubicBezTo>
                  <a:cubicBezTo>
                    <a:pt x="2612" y="721"/>
                    <a:pt x="2601" y="714"/>
                    <a:pt x="2591" y="707"/>
                  </a:cubicBezTo>
                  <a:lnTo>
                    <a:pt x="2580" y="700"/>
                  </a:lnTo>
                  <a:cubicBezTo>
                    <a:pt x="2573" y="693"/>
                    <a:pt x="2566" y="690"/>
                    <a:pt x="2563" y="683"/>
                  </a:cubicBezTo>
                  <a:cubicBezTo>
                    <a:pt x="2559" y="679"/>
                    <a:pt x="2552" y="676"/>
                    <a:pt x="2549" y="672"/>
                  </a:cubicBezTo>
                  <a:cubicBezTo>
                    <a:pt x="2545" y="665"/>
                    <a:pt x="2538" y="658"/>
                    <a:pt x="2535" y="651"/>
                  </a:cubicBezTo>
                  <a:lnTo>
                    <a:pt x="2524" y="634"/>
                  </a:lnTo>
                  <a:cubicBezTo>
                    <a:pt x="2517" y="627"/>
                    <a:pt x="2514" y="620"/>
                    <a:pt x="2510" y="609"/>
                  </a:cubicBezTo>
                  <a:cubicBezTo>
                    <a:pt x="2507" y="602"/>
                    <a:pt x="2503" y="599"/>
                    <a:pt x="2500" y="592"/>
                  </a:cubicBezTo>
                  <a:cubicBezTo>
                    <a:pt x="2496" y="585"/>
                    <a:pt x="2493" y="571"/>
                    <a:pt x="2489" y="560"/>
                  </a:cubicBezTo>
                  <a:cubicBezTo>
                    <a:pt x="2486" y="550"/>
                    <a:pt x="2482" y="550"/>
                    <a:pt x="2482" y="539"/>
                  </a:cubicBezTo>
                  <a:cubicBezTo>
                    <a:pt x="2479" y="532"/>
                    <a:pt x="2472" y="515"/>
                    <a:pt x="2468" y="504"/>
                  </a:cubicBezTo>
                  <a:cubicBezTo>
                    <a:pt x="2465" y="490"/>
                    <a:pt x="2465" y="490"/>
                    <a:pt x="2465" y="483"/>
                  </a:cubicBezTo>
                  <a:cubicBezTo>
                    <a:pt x="2461" y="466"/>
                    <a:pt x="2454" y="445"/>
                    <a:pt x="2451" y="427"/>
                  </a:cubicBezTo>
                  <a:lnTo>
                    <a:pt x="2451" y="417"/>
                  </a:lnTo>
                  <a:cubicBezTo>
                    <a:pt x="2402" y="431"/>
                    <a:pt x="2363" y="445"/>
                    <a:pt x="2335" y="448"/>
                  </a:cubicBezTo>
                  <a:lnTo>
                    <a:pt x="2332" y="448"/>
                  </a:lnTo>
                  <a:lnTo>
                    <a:pt x="2300" y="455"/>
                  </a:lnTo>
                  <a:lnTo>
                    <a:pt x="2290" y="455"/>
                  </a:lnTo>
                  <a:lnTo>
                    <a:pt x="2262" y="459"/>
                  </a:lnTo>
                  <a:lnTo>
                    <a:pt x="2097" y="459"/>
                  </a:lnTo>
                  <a:cubicBezTo>
                    <a:pt x="2080" y="459"/>
                    <a:pt x="2062" y="459"/>
                    <a:pt x="2045" y="455"/>
                  </a:cubicBezTo>
                  <a:lnTo>
                    <a:pt x="2031" y="455"/>
                  </a:lnTo>
                  <a:cubicBezTo>
                    <a:pt x="2013" y="452"/>
                    <a:pt x="1996" y="448"/>
                    <a:pt x="1978" y="445"/>
                  </a:cubicBezTo>
                  <a:lnTo>
                    <a:pt x="1971" y="445"/>
                  </a:lnTo>
                  <a:cubicBezTo>
                    <a:pt x="1954" y="441"/>
                    <a:pt x="1936" y="438"/>
                    <a:pt x="1915" y="431"/>
                  </a:cubicBezTo>
                  <a:lnTo>
                    <a:pt x="1901" y="427"/>
                  </a:lnTo>
                  <a:cubicBezTo>
                    <a:pt x="1887" y="420"/>
                    <a:pt x="1873" y="417"/>
                    <a:pt x="1859" y="410"/>
                  </a:cubicBezTo>
                  <a:lnTo>
                    <a:pt x="1845" y="406"/>
                  </a:lnTo>
                  <a:cubicBezTo>
                    <a:pt x="1828" y="396"/>
                    <a:pt x="1814" y="389"/>
                    <a:pt x="1796" y="378"/>
                  </a:cubicBezTo>
                  <a:lnTo>
                    <a:pt x="1789" y="371"/>
                  </a:lnTo>
                  <a:cubicBezTo>
                    <a:pt x="1775" y="364"/>
                    <a:pt x="1765" y="357"/>
                    <a:pt x="1751" y="347"/>
                  </a:cubicBezTo>
                  <a:lnTo>
                    <a:pt x="1740" y="336"/>
                  </a:lnTo>
                  <a:cubicBezTo>
                    <a:pt x="1726" y="326"/>
                    <a:pt x="1716" y="312"/>
                    <a:pt x="1705" y="298"/>
                  </a:cubicBezTo>
                  <a:cubicBezTo>
                    <a:pt x="1698" y="287"/>
                    <a:pt x="1691" y="280"/>
                    <a:pt x="1684" y="273"/>
                  </a:cubicBezTo>
                  <a:lnTo>
                    <a:pt x="1684" y="270"/>
                  </a:lnTo>
                  <a:cubicBezTo>
                    <a:pt x="1674" y="259"/>
                    <a:pt x="1663" y="252"/>
                    <a:pt x="1653" y="242"/>
                  </a:cubicBezTo>
                  <a:lnTo>
                    <a:pt x="1649" y="238"/>
                  </a:lnTo>
                  <a:cubicBezTo>
                    <a:pt x="1639" y="228"/>
                    <a:pt x="1628" y="221"/>
                    <a:pt x="1614" y="210"/>
                  </a:cubicBezTo>
                  <a:lnTo>
                    <a:pt x="1611" y="203"/>
                  </a:lnTo>
                  <a:lnTo>
                    <a:pt x="1569" y="172"/>
                  </a:lnTo>
                  <a:lnTo>
                    <a:pt x="1562" y="165"/>
                  </a:lnTo>
                  <a:lnTo>
                    <a:pt x="1512" y="133"/>
                  </a:lnTo>
                  <a:lnTo>
                    <a:pt x="1505" y="126"/>
                  </a:lnTo>
                  <a:lnTo>
                    <a:pt x="1453" y="91"/>
                  </a:lnTo>
                  <a:lnTo>
                    <a:pt x="1446" y="84"/>
                  </a:lnTo>
                  <a:lnTo>
                    <a:pt x="1383" y="46"/>
                  </a:lnTo>
                  <a:lnTo>
                    <a:pt x="1313"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347" name="Google Shape;4347;p104"/>
            <p:cNvSpPr/>
            <p:nvPr/>
          </p:nvSpPr>
          <p:spPr>
            <a:xfrm>
              <a:off x="2186141" y="1680883"/>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348" name="Google Shape;4348;p104"/>
            <p:cNvSpPr/>
            <p:nvPr/>
          </p:nvSpPr>
          <p:spPr>
            <a:xfrm>
              <a:off x="2187187" y="1681358"/>
              <a:ext cx="204" cy="109"/>
            </a:xfrm>
            <a:custGeom>
              <a:avLst/>
              <a:gdLst/>
              <a:ahLst/>
              <a:cxnLst/>
              <a:rect l="l" t="t" r="r" b="b"/>
              <a:pathLst>
                <a:path w="15" h="8" extrusionOk="0">
                  <a:moveTo>
                    <a:pt x="14" y="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349" name="Google Shape;4349;p104"/>
            <p:cNvSpPr/>
            <p:nvPr/>
          </p:nvSpPr>
          <p:spPr>
            <a:xfrm>
              <a:off x="2188327" y="1682024"/>
              <a:ext cx="204" cy="109"/>
            </a:xfrm>
            <a:custGeom>
              <a:avLst/>
              <a:gdLst/>
              <a:ahLst/>
              <a:cxnLst/>
              <a:rect l="l" t="t" r="r" b="b"/>
              <a:pathLst>
                <a:path w="15" h="8" extrusionOk="0">
                  <a:moveTo>
                    <a:pt x="14" y="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350" name="Google Shape;4350;p104"/>
            <p:cNvSpPr/>
            <p:nvPr/>
          </p:nvSpPr>
          <p:spPr>
            <a:xfrm>
              <a:off x="2185571" y="1680652"/>
              <a:ext cx="149" cy="54"/>
            </a:xfrm>
            <a:custGeom>
              <a:avLst/>
              <a:gdLst/>
              <a:ahLst/>
              <a:cxnLst/>
              <a:rect l="l" t="t" r="r" b="b"/>
              <a:pathLst>
                <a:path w="11" h="4" extrusionOk="0">
                  <a:moveTo>
                    <a:pt x="11"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351" name="Google Shape;4351;p104"/>
            <p:cNvSpPr/>
            <p:nvPr/>
          </p:nvSpPr>
          <p:spPr>
            <a:xfrm>
              <a:off x="2186657" y="1681128"/>
              <a:ext cx="109" cy="54"/>
            </a:xfrm>
            <a:custGeom>
              <a:avLst/>
              <a:gdLst/>
              <a:ahLst/>
              <a:cxnLst/>
              <a:rect l="l" t="t" r="r" b="b"/>
              <a:pathLst>
                <a:path w="8" h="4" extrusionOk="0">
                  <a:moveTo>
                    <a:pt x="8" y="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352" name="Google Shape;4352;p104"/>
            <p:cNvSpPr/>
            <p:nvPr/>
          </p:nvSpPr>
          <p:spPr>
            <a:xfrm>
              <a:off x="2184756" y="1680313"/>
              <a:ext cx="109" cy="14"/>
            </a:xfrm>
            <a:custGeom>
              <a:avLst/>
              <a:gdLst/>
              <a:ahLst/>
              <a:cxnLst/>
              <a:rect l="l" t="t" r="r" b="b"/>
              <a:pathLst>
                <a:path w="8" h="1" extrusionOk="0">
                  <a:moveTo>
                    <a:pt x="8"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353" name="Google Shape;4353;p104"/>
            <p:cNvSpPr/>
            <p:nvPr/>
          </p:nvSpPr>
          <p:spPr>
            <a:xfrm>
              <a:off x="2185137" y="1680462"/>
              <a:ext cx="163" cy="54"/>
            </a:xfrm>
            <a:custGeom>
              <a:avLst/>
              <a:gdLst/>
              <a:ahLst/>
              <a:cxnLst/>
              <a:rect l="l" t="t" r="r" b="b"/>
              <a:pathLst>
                <a:path w="12" h="4" extrusionOk="0">
                  <a:moveTo>
                    <a:pt x="11" y="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354" name="Google Shape;4354;p104"/>
            <p:cNvSpPr/>
            <p:nvPr/>
          </p:nvSpPr>
          <p:spPr>
            <a:xfrm>
              <a:off x="2183616" y="1679892"/>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355" name="Google Shape;4355;p104"/>
            <p:cNvSpPr/>
            <p:nvPr/>
          </p:nvSpPr>
          <p:spPr>
            <a:xfrm>
              <a:off x="2175347" y="1698615"/>
              <a:ext cx="163" cy="163"/>
            </a:xfrm>
            <a:custGeom>
              <a:avLst/>
              <a:gdLst/>
              <a:ahLst/>
              <a:cxnLst/>
              <a:rect l="l" t="t" r="r" b="b"/>
              <a:pathLst>
                <a:path w="12" h="12" extrusionOk="0">
                  <a:moveTo>
                    <a:pt x="1" y="1"/>
                  </a:moveTo>
                  <a:lnTo>
                    <a:pt x="11" y="1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356" name="Google Shape;4356;p104"/>
            <p:cNvSpPr/>
            <p:nvPr/>
          </p:nvSpPr>
          <p:spPr>
            <a:xfrm>
              <a:off x="2176257" y="1699525"/>
              <a:ext cx="54" cy="54"/>
            </a:xfrm>
            <a:custGeom>
              <a:avLst/>
              <a:gdLst/>
              <a:ahLst/>
              <a:cxnLst/>
              <a:rect l="l" t="t" r="r" b="b"/>
              <a:pathLst>
                <a:path w="4" h="4" extrusionOk="0">
                  <a:moveTo>
                    <a:pt x="4" y="4"/>
                  </a:moveTo>
                  <a:lnTo>
                    <a:pt x="0" y="0"/>
                  </a:lnTo>
                  <a:lnTo>
                    <a:pt x="4" y="4"/>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357" name="Google Shape;4357;p104"/>
            <p:cNvSpPr/>
            <p:nvPr/>
          </p:nvSpPr>
          <p:spPr>
            <a:xfrm>
              <a:off x="2187703" y="1681698"/>
              <a:ext cx="258" cy="109"/>
            </a:xfrm>
            <a:custGeom>
              <a:avLst/>
              <a:gdLst/>
              <a:ahLst/>
              <a:cxnLst/>
              <a:rect l="l" t="t" r="r" b="b"/>
              <a:pathLst>
                <a:path w="19" h="8" extrusionOk="0">
                  <a:moveTo>
                    <a:pt x="18" y="7"/>
                  </a:moveTo>
                  <a:lnTo>
                    <a:pt x="1"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358" name="Google Shape;4358;p104"/>
            <p:cNvSpPr/>
            <p:nvPr/>
          </p:nvSpPr>
          <p:spPr>
            <a:xfrm>
              <a:off x="2167595" y="1679838"/>
              <a:ext cx="489" cy="163"/>
            </a:xfrm>
            <a:custGeom>
              <a:avLst/>
              <a:gdLst/>
              <a:ahLst/>
              <a:cxnLst/>
              <a:rect l="l" t="t" r="r" b="b"/>
              <a:pathLst>
                <a:path w="36" h="12" extrusionOk="0">
                  <a:moveTo>
                    <a:pt x="1" y="1"/>
                  </a:moveTo>
                  <a:cubicBezTo>
                    <a:pt x="11" y="8"/>
                    <a:pt x="25" y="11"/>
                    <a:pt x="36" y="4"/>
                  </a:cubicBezTo>
                  <a:cubicBezTo>
                    <a:pt x="25" y="11"/>
                    <a:pt x="11" y="8"/>
                    <a:pt x="1" y="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359" name="Google Shape;4359;p104"/>
            <p:cNvSpPr/>
            <p:nvPr/>
          </p:nvSpPr>
          <p:spPr>
            <a:xfrm>
              <a:off x="2183711" y="1679933"/>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360" name="Google Shape;4360;p104"/>
            <p:cNvSpPr/>
            <p:nvPr/>
          </p:nvSpPr>
          <p:spPr>
            <a:xfrm>
              <a:off x="2184145" y="1680082"/>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361" name="Google Shape;4361;p104"/>
            <p:cNvSpPr/>
            <p:nvPr/>
          </p:nvSpPr>
          <p:spPr>
            <a:xfrm>
              <a:off x="2183860" y="1679987"/>
              <a:ext cx="54" cy="14"/>
            </a:xfrm>
            <a:custGeom>
              <a:avLst/>
              <a:gdLst/>
              <a:ahLst/>
              <a:cxnLst/>
              <a:rect l="l" t="t" r="r" b="b"/>
              <a:pathLst>
                <a:path w="4" h="1" extrusionOk="0">
                  <a:moveTo>
                    <a:pt x="4"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362" name="Google Shape;4362;p104"/>
            <p:cNvSpPr/>
            <p:nvPr/>
          </p:nvSpPr>
          <p:spPr>
            <a:xfrm>
              <a:off x="2189794" y="1704318"/>
              <a:ext cx="11324" cy="24833"/>
            </a:xfrm>
            <a:custGeom>
              <a:avLst/>
              <a:gdLst/>
              <a:ahLst/>
              <a:cxnLst/>
              <a:rect l="l" t="t" r="r" b="b"/>
              <a:pathLst>
                <a:path w="834" h="1829" extrusionOk="0">
                  <a:moveTo>
                    <a:pt x="186" y="1"/>
                  </a:moveTo>
                  <a:cubicBezTo>
                    <a:pt x="141" y="11"/>
                    <a:pt x="50" y="123"/>
                    <a:pt x="4" y="267"/>
                  </a:cubicBezTo>
                  <a:lnTo>
                    <a:pt x="4" y="274"/>
                  </a:lnTo>
                  <a:cubicBezTo>
                    <a:pt x="4" y="277"/>
                    <a:pt x="1" y="284"/>
                    <a:pt x="1" y="288"/>
                  </a:cubicBezTo>
                  <a:cubicBezTo>
                    <a:pt x="123" y="358"/>
                    <a:pt x="200" y="421"/>
                    <a:pt x="211" y="508"/>
                  </a:cubicBezTo>
                  <a:cubicBezTo>
                    <a:pt x="221" y="571"/>
                    <a:pt x="193" y="638"/>
                    <a:pt x="120" y="708"/>
                  </a:cubicBezTo>
                  <a:cubicBezTo>
                    <a:pt x="50" y="781"/>
                    <a:pt x="1" y="970"/>
                    <a:pt x="11" y="1156"/>
                  </a:cubicBezTo>
                  <a:cubicBezTo>
                    <a:pt x="18" y="1282"/>
                    <a:pt x="50" y="1380"/>
                    <a:pt x="99" y="1419"/>
                  </a:cubicBezTo>
                  <a:cubicBezTo>
                    <a:pt x="176" y="1492"/>
                    <a:pt x="242" y="1580"/>
                    <a:pt x="288" y="1674"/>
                  </a:cubicBezTo>
                  <a:cubicBezTo>
                    <a:pt x="316" y="1727"/>
                    <a:pt x="351" y="1779"/>
                    <a:pt x="389" y="1828"/>
                  </a:cubicBezTo>
                  <a:lnTo>
                    <a:pt x="389" y="1818"/>
                  </a:lnTo>
                  <a:lnTo>
                    <a:pt x="396" y="1797"/>
                  </a:lnTo>
                  <a:lnTo>
                    <a:pt x="407" y="1772"/>
                  </a:lnTo>
                  <a:lnTo>
                    <a:pt x="414" y="1751"/>
                  </a:lnTo>
                  <a:cubicBezTo>
                    <a:pt x="417" y="1744"/>
                    <a:pt x="421" y="1734"/>
                    <a:pt x="424" y="1727"/>
                  </a:cubicBezTo>
                  <a:lnTo>
                    <a:pt x="431" y="1709"/>
                  </a:lnTo>
                  <a:cubicBezTo>
                    <a:pt x="435" y="1702"/>
                    <a:pt x="438" y="1695"/>
                    <a:pt x="442" y="1688"/>
                  </a:cubicBezTo>
                  <a:cubicBezTo>
                    <a:pt x="445" y="1681"/>
                    <a:pt x="449" y="1674"/>
                    <a:pt x="452" y="1671"/>
                  </a:cubicBezTo>
                  <a:cubicBezTo>
                    <a:pt x="456" y="1664"/>
                    <a:pt x="459" y="1657"/>
                    <a:pt x="463" y="1650"/>
                  </a:cubicBezTo>
                  <a:cubicBezTo>
                    <a:pt x="470" y="1643"/>
                    <a:pt x="470" y="1643"/>
                    <a:pt x="473" y="1636"/>
                  </a:cubicBezTo>
                  <a:cubicBezTo>
                    <a:pt x="477" y="1632"/>
                    <a:pt x="484" y="1625"/>
                    <a:pt x="491" y="1622"/>
                  </a:cubicBezTo>
                  <a:cubicBezTo>
                    <a:pt x="494" y="1618"/>
                    <a:pt x="494" y="1615"/>
                    <a:pt x="501" y="1611"/>
                  </a:cubicBezTo>
                  <a:cubicBezTo>
                    <a:pt x="505" y="1604"/>
                    <a:pt x="512" y="1601"/>
                    <a:pt x="519" y="1597"/>
                  </a:cubicBezTo>
                  <a:cubicBezTo>
                    <a:pt x="522" y="1597"/>
                    <a:pt x="526" y="1590"/>
                    <a:pt x="529" y="1590"/>
                  </a:cubicBezTo>
                  <a:cubicBezTo>
                    <a:pt x="540" y="1583"/>
                    <a:pt x="554" y="1580"/>
                    <a:pt x="564" y="1576"/>
                  </a:cubicBezTo>
                  <a:lnTo>
                    <a:pt x="571" y="1576"/>
                  </a:lnTo>
                  <a:cubicBezTo>
                    <a:pt x="589" y="1573"/>
                    <a:pt x="589" y="1569"/>
                    <a:pt x="592" y="1548"/>
                  </a:cubicBezTo>
                  <a:lnTo>
                    <a:pt x="596" y="1538"/>
                  </a:lnTo>
                  <a:cubicBezTo>
                    <a:pt x="603" y="1482"/>
                    <a:pt x="627" y="1429"/>
                    <a:pt x="666" y="1391"/>
                  </a:cubicBezTo>
                  <a:cubicBezTo>
                    <a:pt x="673" y="1384"/>
                    <a:pt x="680" y="1373"/>
                    <a:pt x="690" y="1363"/>
                  </a:cubicBezTo>
                  <a:lnTo>
                    <a:pt x="694" y="1359"/>
                  </a:lnTo>
                  <a:cubicBezTo>
                    <a:pt x="701" y="1352"/>
                    <a:pt x="708" y="1342"/>
                    <a:pt x="715" y="1331"/>
                  </a:cubicBezTo>
                  <a:lnTo>
                    <a:pt x="722" y="1324"/>
                  </a:lnTo>
                  <a:lnTo>
                    <a:pt x="743" y="1296"/>
                  </a:lnTo>
                  <a:lnTo>
                    <a:pt x="746" y="1289"/>
                  </a:lnTo>
                  <a:lnTo>
                    <a:pt x="767" y="1257"/>
                  </a:lnTo>
                  <a:lnTo>
                    <a:pt x="771" y="1250"/>
                  </a:lnTo>
                  <a:lnTo>
                    <a:pt x="788" y="1222"/>
                  </a:lnTo>
                  <a:lnTo>
                    <a:pt x="792" y="1215"/>
                  </a:lnTo>
                  <a:lnTo>
                    <a:pt x="806" y="1187"/>
                  </a:lnTo>
                  <a:lnTo>
                    <a:pt x="810" y="1180"/>
                  </a:lnTo>
                  <a:lnTo>
                    <a:pt x="824" y="1156"/>
                  </a:lnTo>
                  <a:lnTo>
                    <a:pt x="824" y="1149"/>
                  </a:lnTo>
                  <a:cubicBezTo>
                    <a:pt x="827" y="1142"/>
                    <a:pt x="831" y="1135"/>
                    <a:pt x="834" y="1128"/>
                  </a:cubicBezTo>
                  <a:lnTo>
                    <a:pt x="827" y="1121"/>
                  </a:lnTo>
                  <a:lnTo>
                    <a:pt x="806" y="1103"/>
                  </a:lnTo>
                  <a:lnTo>
                    <a:pt x="774" y="1075"/>
                  </a:lnTo>
                  <a:lnTo>
                    <a:pt x="750" y="1058"/>
                  </a:lnTo>
                  <a:lnTo>
                    <a:pt x="722" y="1033"/>
                  </a:lnTo>
                  <a:lnTo>
                    <a:pt x="701" y="1016"/>
                  </a:lnTo>
                  <a:lnTo>
                    <a:pt x="676" y="991"/>
                  </a:lnTo>
                  <a:lnTo>
                    <a:pt x="655" y="974"/>
                  </a:lnTo>
                  <a:cubicBezTo>
                    <a:pt x="648" y="963"/>
                    <a:pt x="641" y="956"/>
                    <a:pt x="634" y="949"/>
                  </a:cubicBezTo>
                  <a:lnTo>
                    <a:pt x="617" y="928"/>
                  </a:lnTo>
                  <a:cubicBezTo>
                    <a:pt x="610" y="921"/>
                    <a:pt x="603" y="911"/>
                    <a:pt x="599" y="900"/>
                  </a:cubicBezTo>
                  <a:cubicBezTo>
                    <a:pt x="592" y="893"/>
                    <a:pt x="589" y="890"/>
                    <a:pt x="585" y="883"/>
                  </a:cubicBezTo>
                  <a:cubicBezTo>
                    <a:pt x="582" y="876"/>
                    <a:pt x="571" y="862"/>
                    <a:pt x="568" y="851"/>
                  </a:cubicBezTo>
                  <a:cubicBezTo>
                    <a:pt x="561" y="841"/>
                    <a:pt x="561" y="841"/>
                    <a:pt x="557" y="834"/>
                  </a:cubicBezTo>
                  <a:cubicBezTo>
                    <a:pt x="550" y="816"/>
                    <a:pt x="543" y="799"/>
                    <a:pt x="540" y="781"/>
                  </a:cubicBezTo>
                  <a:cubicBezTo>
                    <a:pt x="536" y="764"/>
                    <a:pt x="533" y="746"/>
                    <a:pt x="529" y="729"/>
                  </a:cubicBezTo>
                  <a:lnTo>
                    <a:pt x="529" y="725"/>
                  </a:lnTo>
                  <a:cubicBezTo>
                    <a:pt x="526" y="708"/>
                    <a:pt x="526" y="687"/>
                    <a:pt x="526" y="669"/>
                  </a:cubicBezTo>
                  <a:lnTo>
                    <a:pt x="526" y="659"/>
                  </a:lnTo>
                  <a:lnTo>
                    <a:pt x="526" y="599"/>
                  </a:lnTo>
                  <a:lnTo>
                    <a:pt x="526" y="589"/>
                  </a:lnTo>
                  <a:cubicBezTo>
                    <a:pt x="526" y="568"/>
                    <a:pt x="526" y="547"/>
                    <a:pt x="529" y="526"/>
                  </a:cubicBezTo>
                  <a:lnTo>
                    <a:pt x="529" y="515"/>
                  </a:lnTo>
                  <a:cubicBezTo>
                    <a:pt x="529" y="491"/>
                    <a:pt x="533" y="470"/>
                    <a:pt x="536" y="449"/>
                  </a:cubicBezTo>
                  <a:lnTo>
                    <a:pt x="536" y="438"/>
                  </a:lnTo>
                  <a:cubicBezTo>
                    <a:pt x="540" y="417"/>
                    <a:pt x="543" y="393"/>
                    <a:pt x="550" y="368"/>
                  </a:cubicBezTo>
                  <a:cubicBezTo>
                    <a:pt x="554" y="347"/>
                    <a:pt x="557" y="323"/>
                    <a:pt x="564" y="298"/>
                  </a:cubicBezTo>
                  <a:lnTo>
                    <a:pt x="564" y="295"/>
                  </a:lnTo>
                  <a:cubicBezTo>
                    <a:pt x="568" y="274"/>
                    <a:pt x="575" y="253"/>
                    <a:pt x="582" y="232"/>
                  </a:cubicBezTo>
                  <a:lnTo>
                    <a:pt x="582" y="225"/>
                  </a:lnTo>
                  <a:cubicBezTo>
                    <a:pt x="536" y="197"/>
                    <a:pt x="498" y="169"/>
                    <a:pt x="463" y="144"/>
                  </a:cubicBezTo>
                  <a:lnTo>
                    <a:pt x="456" y="141"/>
                  </a:lnTo>
                  <a:lnTo>
                    <a:pt x="438" y="130"/>
                  </a:lnTo>
                  <a:cubicBezTo>
                    <a:pt x="407" y="109"/>
                    <a:pt x="375" y="92"/>
                    <a:pt x="351" y="74"/>
                  </a:cubicBezTo>
                  <a:lnTo>
                    <a:pt x="347" y="71"/>
                  </a:lnTo>
                  <a:lnTo>
                    <a:pt x="326" y="60"/>
                  </a:lnTo>
                  <a:cubicBezTo>
                    <a:pt x="284" y="36"/>
                    <a:pt x="239" y="15"/>
                    <a:pt x="193" y="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363" name="Google Shape;4363;p104"/>
            <p:cNvSpPr/>
            <p:nvPr/>
          </p:nvSpPr>
          <p:spPr>
            <a:xfrm>
              <a:off x="2121119" y="1644237"/>
              <a:ext cx="52626" cy="23163"/>
            </a:xfrm>
            <a:custGeom>
              <a:avLst/>
              <a:gdLst/>
              <a:ahLst/>
              <a:cxnLst/>
              <a:rect l="l" t="t" r="r" b="b"/>
              <a:pathLst>
                <a:path w="3876" h="1706" extrusionOk="0">
                  <a:moveTo>
                    <a:pt x="2871" y="1"/>
                  </a:moveTo>
                  <a:cubicBezTo>
                    <a:pt x="2850" y="78"/>
                    <a:pt x="2822" y="151"/>
                    <a:pt x="2787" y="221"/>
                  </a:cubicBezTo>
                  <a:cubicBezTo>
                    <a:pt x="2780" y="228"/>
                    <a:pt x="2776" y="235"/>
                    <a:pt x="2769" y="242"/>
                  </a:cubicBezTo>
                  <a:lnTo>
                    <a:pt x="2762" y="246"/>
                  </a:lnTo>
                  <a:cubicBezTo>
                    <a:pt x="2759" y="253"/>
                    <a:pt x="2752" y="256"/>
                    <a:pt x="2748" y="260"/>
                  </a:cubicBezTo>
                  <a:lnTo>
                    <a:pt x="2738" y="267"/>
                  </a:lnTo>
                  <a:lnTo>
                    <a:pt x="2724" y="274"/>
                  </a:lnTo>
                  <a:lnTo>
                    <a:pt x="2710" y="281"/>
                  </a:lnTo>
                  <a:lnTo>
                    <a:pt x="2692" y="288"/>
                  </a:lnTo>
                  <a:lnTo>
                    <a:pt x="2678" y="291"/>
                  </a:lnTo>
                  <a:lnTo>
                    <a:pt x="2661" y="295"/>
                  </a:lnTo>
                  <a:lnTo>
                    <a:pt x="2643" y="298"/>
                  </a:lnTo>
                  <a:lnTo>
                    <a:pt x="2626" y="302"/>
                  </a:lnTo>
                  <a:lnTo>
                    <a:pt x="2608" y="305"/>
                  </a:lnTo>
                  <a:lnTo>
                    <a:pt x="2591" y="309"/>
                  </a:lnTo>
                  <a:lnTo>
                    <a:pt x="2412" y="309"/>
                  </a:lnTo>
                  <a:lnTo>
                    <a:pt x="2391" y="305"/>
                  </a:lnTo>
                  <a:lnTo>
                    <a:pt x="2374" y="305"/>
                  </a:lnTo>
                  <a:lnTo>
                    <a:pt x="2339" y="302"/>
                  </a:lnTo>
                  <a:lnTo>
                    <a:pt x="2332" y="302"/>
                  </a:lnTo>
                  <a:lnTo>
                    <a:pt x="2304" y="298"/>
                  </a:lnTo>
                  <a:lnTo>
                    <a:pt x="2290" y="295"/>
                  </a:lnTo>
                  <a:lnTo>
                    <a:pt x="2272" y="291"/>
                  </a:lnTo>
                  <a:cubicBezTo>
                    <a:pt x="2237" y="316"/>
                    <a:pt x="2199" y="337"/>
                    <a:pt x="2160" y="354"/>
                  </a:cubicBezTo>
                  <a:cubicBezTo>
                    <a:pt x="2115" y="375"/>
                    <a:pt x="2034" y="414"/>
                    <a:pt x="2020" y="438"/>
                  </a:cubicBezTo>
                  <a:lnTo>
                    <a:pt x="2020" y="442"/>
                  </a:lnTo>
                  <a:cubicBezTo>
                    <a:pt x="2017" y="449"/>
                    <a:pt x="2013" y="456"/>
                    <a:pt x="2010" y="463"/>
                  </a:cubicBezTo>
                  <a:cubicBezTo>
                    <a:pt x="1985" y="501"/>
                    <a:pt x="1950" y="533"/>
                    <a:pt x="1905" y="547"/>
                  </a:cubicBezTo>
                  <a:lnTo>
                    <a:pt x="1887" y="554"/>
                  </a:lnTo>
                  <a:cubicBezTo>
                    <a:pt x="1807" y="589"/>
                    <a:pt x="1765" y="606"/>
                    <a:pt x="1803" y="743"/>
                  </a:cubicBezTo>
                  <a:cubicBezTo>
                    <a:pt x="1817" y="785"/>
                    <a:pt x="1856" y="925"/>
                    <a:pt x="1779" y="995"/>
                  </a:cubicBezTo>
                  <a:cubicBezTo>
                    <a:pt x="1750" y="1020"/>
                    <a:pt x="1715" y="1029"/>
                    <a:pt x="1679" y="1029"/>
                  </a:cubicBezTo>
                  <a:cubicBezTo>
                    <a:pt x="1614" y="1029"/>
                    <a:pt x="1544" y="999"/>
                    <a:pt x="1498" y="981"/>
                  </a:cubicBezTo>
                  <a:cubicBezTo>
                    <a:pt x="1495" y="977"/>
                    <a:pt x="1488" y="977"/>
                    <a:pt x="1484" y="974"/>
                  </a:cubicBezTo>
                  <a:cubicBezTo>
                    <a:pt x="1471" y="971"/>
                    <a:pt x="1453" y="970"/>
                    <a:pt x="1430" y="970"/>
                  </a:cubicBezTo>
                  <a:cubicBezTo>
                    <a:pt x="1307" y="970"/>
                    <a:pt x="1074" y="1010"/>
                    <a:pt x="1008" y="1072"/>
                  </a:cubicBezTo>
                  <a:cubicBezTo>
                    <a:pt x="948" y="1134"/>
                    <a:pt x="874" y="1158"/>
                    <a:pt x="803" y="1158"/>
                  </a:cubicBezTo>
                  <a:cubicBezTo>
                    <a:pt x="734" y="1158"/>
                    <a:pt x="668" y="1136"/>
                    <a:pt x="616" y="1107"/>
                  </a:cubicBezTo>
                  <a:cubicBezTo>
                    <a:pt x="588" y="1091"/>
                    <a:pt x="540" y="1076"/>
                    <a:pt x="492" y="1076"/>
                  </a:cubicBezTo>
                  <a:cubicBezTo>
                    <a:pt x="447" y="1076"/>
                    <a:pt x="402" y="1090"/>
                    <a:pt x="378" y="1131"/>
                  </a:cubicBezTo>
                  <a:cubicBezTo>
                    <a:pt x="357" y="1166"/>
                    <a:pt x="326" y="1191"/>
                    <a:pt x="291" y="1198"/>
                  </a:cubicBezTo>
                  <a:cubicBezTo>
                    <a:pt x="280" y="1201"/>
                    <a:pt x="273" y="1201"/>
                    <a:pt x="263" y="1201"/>
                  </a:cubicBezTo>
                  <a:lnTo>
                    <a:pt x="238" y="1201"/>
                  </a:lnTo>
                  <a:lnTo>
                    <a:pt x="221" y="1198"/>
                  </a:lnTo>
                  <a:lnTo>
                    <a:pt x="214" y="1194"/>
                  </a:lnTo>
                  <a:lnTo>
                    <a:pt x="200" y="1191"/>
                  </a:lnTo>
                  <a:lnTo>
                    <a:pt x="189" y="1184"/>
                  </a:lnTo>
                  <a:lnTo>
                    <a:pt x="179" y="1180"/>
                  </a:lnTo>
                  <a:lnTo>
                    <a:pt x="172" y="1173"/>
                  </a:lnTo>
                  <a:lnTo>
                    <a:pt x="158" y="1166"/>
                  </a:lnTo>
                  <a:lnTo>
                    <a:pt x="151" y="1163"/>
                  </a:lnTo>
                  <a:lnTo>
                    <a:pt x="137" y="1152"/>
                  </a:lnTo>
                  <a:lnTo>
                    <a:pt x="130" y="1149"/>
                  </a:lnTo>
                  <a:lnTo>
                    <a:pt x="112" y="1135"/>
                  </a:lnTo>
                  <a:cubicBezTo>
                    <a:pt x="84" y="1110"/>
                    <a:pt x="53" y="1093"/>
                    <a:pt x="18" y="1082"/>
                  </a:cubicBezTo>
                  <a:lnTo>
                    <a:pt x="14" y="1082"/>
                  </a:lnTo>
                  <a:cubicBezTo>
                    <a:pt x="14" y="1082"/>
                    <a:pt x="11" y="1089"/>
                    <a:pt x="7" y="1100"/>
                  </a:cubicBezTo>
                  <a:cubicBezTo>
                    <a:pt x="0" y="1152"/>
                    <a:pt x="0" y="1208"/>
                    <a:pt x="7" y="1264"/>
                  </a:cubicBezTo>
                  <a:cubicBezTo>
                    <a:pt x="7" y="1278"/>
                    <a:pt x="11" y="1292"/>
                    <a:pt x="11" y="1299"/>
                  </a:cubicBezTo>
                  <a:cubicBezTo>
                    <a:pt x="14" y="1306"/>
                    <a:pt x="18" y="1310"/>
                    <a:pt x="21" y="1313"/>
                  </a:cubicBezTo>
                  <a:cubicBezTo>
                    <a:pt x="49" y="1345"/>
                    <a:pt x="88" y="1373"/>
                    <a:pt x="130" y="1387"/>
                  </a:cubicBezTo>
                  <a:cubicBezTo>
                    <a:pt x="140" y="1394"/>
                    <a:pt x="154" y="1397"/>
                    <a:pt x="168" y="1397"/>
                  </a:cubicBezTo>
                  <a:cubicBezTo>
                    <a:pt x="172" y="1399"/>
                    <a:pt x="175" y="1400"/>
                    <a:pt x="179" y="1400"/>
                  </a:cubicBezTo>
                  <a:cubicBezTo>
                    <a:pt x="182" y="1400"/>
                    <a:pt x="186" y="1399"/>
                    <a:pt x="189" y="1397"/>
                  </a:cubicBezTo>
                  <a:lnTo>
                    <a:pt x="200" y="1397"/>
                  </a:lnTo>
                  <a:cubicBezTo>
                    <a:pt x="210" y="1394"/>
                    <a:pt x="224" y="1387"/>
                    <a:pt x="235" y="1387"/>
                  </a:cubicBezTo>
                  <a:lnTo>
                    <a:pt x="256" y="1380"/>
                  </a:lnTo>
                  <a:lnTo>
                    <a:pt x="273" y="1376"/>
                  </a:lnTo>
                  <a:lnTo>
                    <a:pt x="354" y="1376"/>
                  </a:lnTo>
                  <a:cubicBezTo>
                    <a:pt x="399" y="1383"/>
                    <a:pt x="445" y="1397"/>
                    <a:pt x="487" y="1415"/>
                  </a:cubicBezTo>
                  <a:lnTo>
                    <a:pt x="504" y="1425"/>
                  </a:lnTo>
                  <a:cubicBezTo>
                    <a:pt x="518" y="1429"/>
                    <a:pt x="536" y="1439"/>
                    <a:pt x="550" y="1446"/>
                  </a:cubicBezTo>
                  <a:lnTo>
                    <a:pt x="609" y="1478"/>
                  </a:lnTo>
                  <a:cubicBezTo>
                    <a:pt x="623" y="1481"/>
                    <a:pt x="641" y="1481"/>
                    <a:pt x="655" y="1481"/>
                  </a:cubicBezTo>
                  <a:cubicBezTo>
                    <a:pt x="732" y="1464"/>
                    <a:pt x="802" y="1425"/>
                    <a:pt x="858" y="1373"/>
                  </a:cubicBezTo>
                  <a:cubicBezTo>
                    <a:pt x="910" y="1320"/>
                    <a:pt x="1075" y="1292"/>
                    <a:pt x="1341" y="1292"/>
                  </a:cubicBezTo>
                  <a:cubicBezTo>
                    <a:pt x="1407" y="1292"/>
                    <a:pt x="1425" y="1359"/>
                    <a:pt x="1446" y="1429"/>
                  </a:cubicBezTo>
                  <a:cubicBezTo>
                    <a:pt x="1453" y="1467"/>
                    <a:pt x="1467" y="1502"/>
                    <a:pt x="1484" y="1534"/>
                  </a:cubicBezTo>
                  <a:cubicBezTo>
                    <a:pt x="1491" y="1537"/>
                    <a:pt x="1544" y="1558"/>
                    <a:pt x="1730" y="1579"/>
                  </a:cubicBezTo>
                  <a:lnTo>
                    <a:pt x="1733" y="1579"/>
                  </a:lnTo>
                  <a:cubicBezTo>
                    <a:pt x="1768" y="1583"/>
                    <a:pt x="1803" y="1587"/>
                    <a:pt x="1838" y="1590"/>
                  </a:cubicBezTo>
                  <a:lnTo>
                    <a:pt x="1842" y="1590"/>
                  </a:lnTo>
                  <a:lnTo>
                    <a:pt x="1950" y="1597"/>
                  </a:lnTo>
                  <a:cubicBezTo>
                    <a:pt x="2034" y="1601"/>
                    <a:pt x="2122" y="1615"/>
                    <a:pt x="2206" y="1636"/>
                  </a:cubicBezTo>
                  <a:lnTo>
                    <a:pt x="2342" y="1664"/>
                  </a:lnTo>
                  <a:cubicBezTo>
                    <a:pt x="2412" y="1685"/>
                    <a:pt x="2482" y="1695"/>
                    <a:pt x="2552" y="1706"/>
                  </a:cubicBezTo>
                  <a:cubicBezTo>
                    <a:pt x="2591" y="1695"/>
                    <a:pt x="2629" y="1678"/>
                    <a:pt x="2664" y="1653"/>
                  </a:cubicBezTo>
                  <a:cubicBezTo>
                    <a:pt x="2752" y="1604"/>
                    <a:pt x="2878" y="1534"/>
                    <a:pt x="3025" y="1534"/>
                  </a:cubicBezTo>
                  <a:cubicBezTo>
                    <a:pt x="3123" y="1530"/>
                    <a:pt x="3217" y="1499"/>
                    <a:pt x="3301" y="1446"/>
                  </a:cubicBezTo>
                  <a:lnTo>
                    <a:pt x="3322" y="1432"/>
                  </a:lnTo>
                  <a:lnTo>
                    <a:pt x="3326" y="1432"/>
                  </a:lnTo>
                  <a:lnTo>
                    <a:pt x="3350" y="1422"/>
                  </a:lnTo>
                  <a:cubicBezTo>
                    <a:pt x="3357" y="1404"/>
                    <a:pt x="3361" y="1397"/>
                    <a:pt x="3364" y="1390"/>
                  </a:cubicBezTo>
                  <a:lnTo>
                    <a:pt x="3368" y="1383"/>
                  </a:lnTo>
                  <a:cubicBezTo>
                    <a:pt x="3371" y="1376"/>
                    <a:pt x="3375" y="1369"/>
                    <a:pt x="3375" y="1366"/>
                  </a:cubicBezTo>
                  <a:lnTo>
                    <a:pt x="3382" y="1355"/>
                  </a:lnTo>
                  <a:cubicBezTo>
                    <a:pt x="3385" y="1348"/>
                    <a:pt x="3389" y="1341"/>
                    <a:pt x="3396" y="1334"/>
                  </a:cubicBezTo>
                  <a:cubicBezTo>
                    <a:pt x="3403" y="1327"/>
                    <a:pt x="3410" y="1317"/>
                    <a:pt x="3417" y="1313"/>
                  </a:cubicBezTo>
                  <a:lnTo>
                    <a:pt x="3424" y="1306"/>
                  </a:lnTo>
                  <a:cubicBezTo>
                    <a:pt x="3427" y="1303"/>
                    <a:pt x="3434" y="1299"/>
                    <a:pt x="3441" y="1296"/>
                  </a:cubicBezTo>
                  <a:lnTo>
                    <a:pt x="3448" y="1289"/>
                  </a:lnTo>
                  <a:cubicBezTo>
                    <a:pt x="3459" y="1285"/>
                    <a:pt x="3469" y="1282"/>
                    <a:pt x="3480" y="1278"/>
                  </a:cubicBezTo>
                  <a:cubicBezTo>
                    <a:pt x="3483" y="1261"/>
                    <a:pt x="3483" y="1247"/>
                    <a:pt x="3483" y="1229"/>
                  </a:cubicBezTo>
                  <a:cubicBezTo>
                    <a:pt x="3483" y="1170"/>
                    <a:pt x="3501" y="1110"/>
                    <a:pt x="3536" y="1061"/>
                  </a:cubicBezTo>
                  <a:cubicBezTo>
                    <a:pt x="3543" y="1051"/>
                    <a:pt x="3539" y="1012"/>
                    <a:pt x="3536" y="988"/>
                  </a:cubicBezTo>
                  <a:cubicBezTo>
                    <a:pt x="3522" y="939"/>
                    <a:pt x="3529" y="890"/>
                    <a:pt x="3557" y="851"/>
                  </a:cubicBezTo>
                  <a:cubicBezTo>
                    <a:pt x="3579" y="832"/>
                    <a:pt x="3606" y="821"/>
                    <a:pt x="3634" y="821"/>
                  </a:cubicBezTo>
                  <a:cubicBezTo>
                    <a:pt x="3641" y="821"/>
                    <a:pt x="3648" y="822"/>
                    <a:pt x="3655" y="823"/>
                  </a:cubicBezTo>
                  <a:cubicBezTo>
                    <a:pt x="3680" y="827"/>
                    <a:pt x="3709" y="830"/>
                    <a:pt x="3736" y="830"/>
                  </a:cubicBezTo>
                  <a:cubicBezTo>
                    <a:pt x="3766" y="830"/>
                    <a:pt x="3793" y="826"/>
                    <a:pt x="3806" y="813"/>
                  </a:cubicBezTo>
                  <a:cubicBezTo>
                    <a:pt x="3820" y="795"/>
                    <a:pt x="3827" y="771"/>
                    <a:pt x="3823" y="750"/>
                  </a:cubicBezTo>
                  <a:cubicBezTo>
                    <a:pt x="3823" y="736"/>
                    <a:pt x="3823" y="725"/>
                    <a:pt x="3827" y="715"/>
                  </a:cubicBezTo>
                  <a:lnTo>
                    <a:pt x="3827" y="704"/>
                  </a:lnTo>
                  <a:cubicBezTo>
                    <a:pt x="3827" y="694"/>
                    <a:pt x="3830" y="683"/>
                    <a:pt x="3834" y="673"/>
                  </a:cubicBezTo>
                  <a:lnTo>
                    <a:pt x="3834" y="669"/>
                  </a:lnTo>
                  <a:cubicBezTo>
                    <a:pt x="3841" y="659"/>
                    <a:pt x="3844" y="648"/>
                    <a:pt x="3848" y="638"/>
                  </a:cubicBezTo>
                  <a:lnTo>
                    <a:pt x="3855" y="631"/>
                  </a:lnTo>
                  <a:cubicBezTo>
                    <a:pt x="3858" y="620"/>
                    <a:pt x="3865" y="610"/>
                    <a:pt x="3876" y="599"/>
                  </a:cubicBezTo>
                  <a:cubicBezTo>
                    <a:pt x="3841" y="543"/>
                    <a:pt x="3809" y="484"/>
                    <a:pt x="3781" y="424"/>
                  </a:cubicBezTo>
                  <a:lnTo>
                    <a:pt x="3777" y="431"/>
                  </a:lnTo>
                  <a:lnTo>
                    <a:pt x="3721" y="281"/>
                  </a:lnTo>
                  <a:lnTo>
                    <a:pt x="3711" y="256"/>
                  </a:lnTo>
                  <a:lnTo>
                    <a:pt x="3700" y="232"/>
                  </a:lnTo>
                  <a:cubicBezTo>
                    <a:pt x="3655" y="242"/>
                    <a:pt x="3606" y="249"/>
                    <a:pt x="3557" y="249"/>
                  </a:cubicBezTo>
                  <a:cubicBezTo>
                    <a:pt x="3551" y="250"/>
                    <a:pt x="3545" y="250"/>
                    <a:pt x="3538" y="250"/>
                  </a:cubicBezTo>
                  <a:cubicBezTo>
                    <a:pt x="3485" y="250"/>
                    <a:pt x="3429" y="237"/>
                    <a:pt x="3382" y="218"/>
                  </a:cubicBezTo>
                  <a:cubicBezTo>
                    <a:pt x="3340" y="197"/>
                    <a:pt x="3305" y="172"/>
                    <a:pt x="3277" y="137"/>
                  </a:cubicBezTo>
                  <a:cubicBezTo>
                    <a:pt x="3193" y="46"/>
                    <a:pt x="3011" y="11"/>
                    <a:pt x="2892" y="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364" name="Google Shape;4364;p104"/>
            <p:cNvSpPr/>
            <p:nvPr/>
          </p:nvSpPr>
          <p:spPr>
            <a:xfrm>
              <a:off x="2168545" y="1647618"/>
              <a:ext cx="45838" cy="25064"/>
            </a:xfrm>
            <a:custGeom>
              <a:avLst/>
              <a:gdLst/>
              <a:ahLst/>
              <a:cxnLst/>
              <a:rect l="l" t="t" r="r" b="b"/>
              <a:pathLst>
                <a:path w="3376" h="1846" extrusionOk="0">
                  <a:moveTo>
                    <a:pt x="2364" y="0"/>
                  </a:moveTo>
                  <a:cubicBezTo>
                    <a:pt x="2308" y="39"/>
                    <a:pt x="2255" y="77"/>
                    <a:pt x="2203" y="119"/>
                  </a:cubicBezTo>
                  <a:cubicBezTo>
                    <a:pt x="2042" y="245"/>
                    <a:pt x="1937" y="326"/>
                    <a:pt x="1863" y="326"/>
                  </a:cubicBezTo>
                  <a:cubicBezTo>
                    <a:pt x="1706" y="326"/>
                    <a:pt x="1384" y="385"/>
                    <a:pt x="1349" y="441"/>
                  </a:cubicBezTo>
                  <a:cubicBezTo>
                    <a:pt x="1349" y="476"/>
                    <a:pt x="1331" y="525"/>
                    <a:pt x="1254" y="560"/>
                  </a:cubicBezTo>
                  <a:cubicBezTo>
                    <a:pt x="1244" y="564"/>
                    <a:pt x="1233" y="567"/>
                    <a:pt x="1223" y="571"/>
                  </a:cubicBezTo>
                  <a:lnTo>
                    <a:pt x="1212" y="574"/>
                  </a:lnTo>
                  <a:lnTo>
                    <a:pt x="1188" y="581"/>
                  </a:lnTo>
                  <a:lnTo>
                    <a:pt x="1174" y="585"/>
                  </a:lnTo>
                  <a:lnTo>
                    <a:pt x="1146" y="592"/>
                  </a:lnTo>
                  <a:lnTo>
                    <a:pt x="1132" y="592"/>
                  </a:lnTo>
                  <a:lnTo>
                    <a:pt x="1093" y="599"/>
                  </a:lnTo>
                  <a:lnTo>
                    <a:pt x="1086" y="599"/>
                  </a:lnTo>
                  <a:lnTo>
                    <a:pt x="1041" y="602"/>
                  </a:lnTo>
                  <a:lnTo>
                    <a:pt x="887" y="602"/>
                  </a:lnTo>
                  <a:lnTo>
                    <a:pt x="841" y="599"/>
                  </a:lnTo>
                  <a:lnTo>
                    <a:pt x="824" y="599"/>
                  </a:lnTo>
                  <a:cubicBezTo>
                    <a:pt x="803" y="595"/>
                    <a:pt x="782" y="595"/>
                    <a:pt x="761" y="592"/>
                  </a:cubicBezTo>
                  <a:lnTo>
                    <a:pt x="750" y="588"/>
                  </a:lnTo>
                  <a:cubicBezTo>
                    <a:pt x="736" y="585"/>
                    <a:pt x="719" y="585"/>
                    <a:pt x="705" y="581"/>
                  </a:cubicBezTo>
                  <a:lnTo>
                    <a:pt x="684" y="574"/>
                  </a:lnTo>
                  <a:lnTo>
                    <a:pt x="649" y="564"/>
                  </a:lnTo>
                  <a:lnTo>
                    <a:pt x="628" y="557"/>
                  </a:lnTo>
                  <a:lnTo>
                    <a:pt x="596" y="546"/>
                  </a:lnTo>
                  <a:lnTo>
                    <a:pt x="579" y="539"/>
                  </a:lnTo>
                  <a:cubicBezTo>
                    <a:pt x="568" y="532"/>
                    <a:pt x="561" y="529"/>
                    <a:pt x="551" y="522"/>
                  </a:cubicBezTo>
                  <a:lnTo>
                    <a:pt x="537" y="515"/>
                  </a:lnTo>
                  <a:cubicBezTo>
                    <a:pt x="523" y="508"/>
                    <a:pt x="512" y="497"/>
                    <a:pt x="502" y="490"/>
                  </a:cubicBezTo>
                  <a:cubicBezTo>
                    <a:pt x="491" y="480"/>
                    <a:pt x="481" y="469"/>
                    <a:pt x="470" y="459"/>
                  </a:cubicBezTo>
                  <a:cubicBezTo>
                    <a:pt x="470" y="462"/>
                    <a:pt x="470" y="466"/>
                    <a:pt x="467" y="469"/>
                  </a:cubicBezTo>
                  <a:cubicBezTo>
                    <a:pt x="467" y="473"/>
                    <a:pt x="467" y="473"/>
                    <a:pt x="467" y="476"/>
                  </a:cubicBezTo>
                  <a:cubicBezTo>
                    <a:pt x="463" y="483"/>
                    <a:pt x="463" y="490"/>
                    <a:pt x="463" y="497"/>
                  </a:cubicBezTo>
                  <a:cubicBezTo>
                    <a:pt x="467" y="560"/>
                    <a:pt x="442" y="620"/>
                    <a:pt x="400" y="662"/>
                  </a:cubicBezTo>
                  <a:cubicBezTo>
                    <a:pt x="358" y="699"/>
                    <a:pt x="305" y="710"/>
                    <a:pt x="251" y="710"/>
                  </a:cubicBezTo>
                  <a:cubicBezTo>
                    <a:pt x="223" y="710"/>
                    <a:pt x="196" y="707"/>
                    <a:pt x="169" y="704"/>
                  </a:cubicBezTo>
                  <a:lnTo>
                    <a:pt x="169" y="718"/>
                  </a:lnTo>
                  <a:cubicBezTo>
                    <a:pt x="176" y="763"/>
                    <a:pt x="190" y="837"/>
                    <a:pt x="141" y="896"/>
                  </a:cubicBezTo>
                  <a:cubicBezTo>
                    <a:pt x="127" y="924"/>
                    <a:pt x="120" y="956"/>
                    <a:pt x="123" y="984"/>
                  </a:cubicBezTo>
                  <a:cubicBezTo>
                    <a:pt x="120" y="1040"/>
                    <a:pt x="113" y="1145"/>
                    <a:pt x="11" y="1159"/>
                  </a:cubicBezTo>
                  <a:lnTo>
                    <a:pt x="8" y="1166"/>
                  </a:lnTo>
                  <a:lnTo>
                    <a:pt x="4" y="1176"/>
                  </a:lnTo>
                  <a:lnTo>
                    <a:pt x="4" y="1180"/>
                  </a:lnTo>
                  <a:lnTo>
                    <a:pt x="1" y="1187"/>
                  </a:lnTo>
                  <a:lnTo>
                    <a:pt x="1" y="1194"/>
                  </a:lnTo>
                  <a:lnTo>
                    <a:pt x="1" y="1197"/>
                  </a:lnTo>
                  <a:cubicBezTo>
                    <a:pt x="43" y="1250"/>
                    <a:pt x="78" y="1309"/>
                    <a:pt x="106" y="1373"/>
                  </a:cubicBezTo>
                  <a:lnTo>
                    <a:pt x="116" y="1390"/>
                  </a:lnTo>
                  <a:lnTo>
                    <a:pt x="123" y="1401"/>
                  </a:lnTo>
                  <a:lnTo>
                    <a:pt x="134" y="1408"/>
                  </a:lnTo>
                  <a:lnTo>
                    <a:pt x="137" y="1411"/>
                  </a:lnTo>
                  <a:lnTo>
                    <a:pt x="165" y="1429"/>
                  </a:lnTo>
                  <a:lnTo>
                    <a:pt x="169" y="1429"/>
                  </a:lnTo>
                  <a:lnTo>
                    <a:pt x="197" y="1446"/>
                  </a:lnTo>
                  <a:lnTo>
                    <a:pt x="200" y="1450"/>
                  </a:lnTo>
                  <a:lnTo>
                    <a:pt x="232" y="1471"/>
                  </a:lnTo>
                  <a:cubicBezTo>
                    <a:pt x="267" y="1492"/>
                    <a:pt x="302" y="1513"/>
                    <a:pt x="334" y="1537"/>
                  </a:cubicBezTo>
                  <a:lnTo>
                    <a:pt x="341" y="1541"/>
                  </a:lnTo>
                  <a:lnTo>
                    <a:pt x="365" y="1562"/>
                  </a:lnTo>
                  <a:lnTo>
                    <a:pt x="376" y="1569"/>
                  </a:lnTo>
                  <a:lnTo>
                    <a:pt x="397" y="1586"/>
                  </a:lnTo>
                  <a:lnTo>
                    <a:pt x="407" y="1593"/>
                  </a:lnTo>
                  <a:lnTo>
                    <a:pt x="428" y="1607"/>
                  </a:lnTo>
                  <a:lnTo>
                    <a:pt x="439" y="1614"/>
                  </a:lnTo>
                  <a:lnTo>
                    <a:pt x="456" y="1632"/>
                  </a:lnTo>
                  <a:lnTo>
                    <a:pt x="467" y="1639"/>
                  </a:lnTo>
                  <a:lnTo>
                    <a:pt x="481" y="1653"/>
                  </a:lnTo>
                  <a:lnTo>
                    <a:pt x="491" y="1663"/>
                  </a:lnTo>
                  <a:lnTo>
                    <a:pt x="505" y="1677"/>
                  </a:lnTo>
                  <a:lnTo>
                    <a:pt x="516" y="1684"/>
                  </a:lnTo>
                  <a:lnTo>
                    <a:pt x="530" y="1702"/>
                  </a:lnTo>
                  <a:lnTo>
                    <a:pt x="533" y="1709"/>
                  </a:lnTo>
                  <a:cubicBezTo>
                    <a:pt x="540" y="1716"/>
                    <a:pt x="547" y="1723"/>
                    <a:pt x="551" y="1730"/>
                  </a:cubicBezTo>
                  <a:cubicBezTo>
                    <a:pt x="612" y="1809"/>
                    <a:pt x="771" y="1845"/>
                    <a:pt x="908" y="1845"/>
                  </a:cubicBezTo>
                  <a:cubicBezTo>
                    <a:pt x="959" y="1845"/>
                    <a:pt x="1006" y="1840"/>
                    <a:pt x="1044" y="1831"/>
                  </a:cubicBezTo>
                  <a:cubicBezTo>
                    <a:pt x="1076" y="1821"/>
                    <a:pt x="1139" y="1803"/>
                    <a:pt x="1230" y="1775"/>
                  </a:cubicBezTo>
                  <a:cubicBezTo>
                    <a:pt x="1450" y="1716"/>
                    <a:pt x="1783" y="1607"/>
                    <a:pt x="1786" y="1607"/>
                  </a:cubicBezTo>
                  <a:lnTo>
                    <a:pt x="1804" y="1600"/>
                  </a:lnTo>
                  <a:lnTo>
                    <a:pt x="1811" y="1600"/>
                  </a:lnTo>
                  <a:lnTo>
                    <a:pt x="1832" y="1607"/>
                  </a:lnTo>
                  <a:cubicBezTo>
                    <a:pt x="1905" y="1635"/>
                    <a:pt x="1979" y="1656"/>
                    <a:pt x="2056" y="1677"/>
                  </a:cubicBezTo>
                  <a:lnTo>
                    <a:pt x="2080" y="1681"/>
                  </a:lnTo>
                  <a:lnTo>
                    <a:pt x="2105" y="1681"/>
                  </a:lnTo>
                  <a:lnTo>
                    <a:pt x="2175" y="1691"/>
                  </a:lnTo>
                  <a:cubicBezTo>
                    <a:pt x="2196" y="1677"/>
                    <a:pt x="2220" y="1663"/>
                    <a:pt x="2245" y="1649"/>
                  </a:cubicBezTo>
                  <a:cubicBezTo>
                    <a:pt x="2329" y="1607"/>
                    <a:pt x="2406" y="1551"/>
                    <a:pt x="2473" y="1485"/>
                  </a:cubicBezTo>
                  <a:cubicBezTo>
                    <a:pt x="2536" y="1422"/>
                    <a:pt x="2620" y="1281"/>
                    <a:pt x="2693" y="1138"/>
                  </a:cubicBezTo>
                  <a:lnTo>
                    <a:pt x="2725" y="1082"/>
                  </a:lnTo>
                  <a:lnTo>
                    <a:pt x="2763" y="1008"/>
                  </a:lnTo>
                  <a:lnTo>
                    <a:pt x="2784" y="973"/>
                  </a:lnTo>
                  <a:cubicBezTo>
                    <a:pt x="2896" y="756"/>
                    <a:pt x="2938" y="679"/>
                    <a:pt x="2980" y="651"/>
                  </a:cubicBezTo>
                  <a:cubicBezTo>
                    <a:pt x="3008" y="634"/>
                    <a:pt x="3050" y="609"/>
                    <a:pt x="3099" y="578"/>
                  </a:cubicBezTo>
                  <a:cubicBezTo>
                    <a:pt x="3180" y="529"/>
                    <a:pt x="3281" y="469"/>
                    <a:pt x="3341" y="424"/>
                  </a:cubicBezTo>
                  <a:cubicBezTo>
                    <a:pt x="3348" y="420"/>
                    <a:pt x="3351" y="413"/>
                    <a:pt x="3358" y="410"/>
                  </a:cubicBezTo>
                  <a:lnTo>
                    <a:pt x="3362" y="406"/>
                  </a:lnTo>
                  <a:lnTo>
                    <a:pt x="3369" y="399"/>
                  </a:lnTo>
                  <a:cubicBezTo>
                    <a:pt x="3372" y="396"/>
                    <a:pt x="3372" y="392"/>
                    <a:pt x="3376" y="385"/>
                  </a:cubicBezTo>
                  <a:cubicBezTo>
                    <a:pt x="3365" y="375"/>
                    <a:pt x="3355" y="368"/>
                    <a:pt x="3341" y="364"/>
                  </a:cubicBezTo>
                  <a:lnTo>
                    <a:pt x="3327" y="357"/>
                  </a:lnTo>
                  <a:cubicBezTo>
                    <a:pt x="3316" y="354"/>
                    <a:pt x="3306" y="347"/>
                    <a:pt x="3295" y="343"/>
                  </a:cubicBezTo>
                  <a:lnTo>
                    <a:pt x="3288" y="340"/>
                  </a:lnTo>
                  <a:cubicBezTo>
                    <a:pt x="3253" y="326"/>
                    <a:pt x="3218" y="301"/>
                    <a:pt x="3187" y="277"/>
                  </a:cubicBezTo>
                  <a:lnTo>
                    <a:pt x="3176" y="273"/>
                  </a:lnTo>
                  <a:lnTo>
                    <a:pt x="3141" y="266"/>
                  </a:lnTo>
                  <a:lnTo>
                    <a:pt x="3124" y="263"/>
                  </a:lnTo>
                  <a:lnTo>
                    <a:pt x="3096" y="252"/>
                  </a:lnTo>
                  <a:lnTo>
                    <a:pt x="3078" y="249"/>
                  </a:lnTo>
                  <a:lnTo>
                    <a:pt x="3054" y="242"/>
                  </a:lnTo>
                  <a:lnTo>
                    <a:pt x="3036" y="238"/>
                  </a:lnTo>
                  <a:lnTo>
                    <a:pt x="3015" y="231"/>
                  </a:lnTo>
                  <a:lnTo>
                    <a:pt x="3001" y="224"/>
                  </a:lnTo>
                  <a:lnTo>
                    <a:pt x="2984" y="221"/>
                  </a:lnTo>
                  <a:lnTo>
                    <a:pt x="2970" y="214"/>
                  </a:lnTo>
                  <a:lnTo>
                    <a:pt x="2956" y="210"/>
                  </a:lnTo>
                  <a:lnTo>
                    <a:pt x="2942" y="203"/>
                  </a:lnTo>
                  <a:lnTo>
                    <a:pt x="2931" y="200"/>
                  </a:lnTo>
                  <a:lnTo>
                    <a:pt x="2917" y="193"/>
                  </a:lnTo>
                  <a:lnTo>
                    <a:pt x="2907" y="189"/>
                  </a:lnTo>
                  <a:lnTo>
                    <a:pt x="2896" y="186"/>
                  </a:lnTo>
                  <a:lnTo>
                    <a:pt x="2889" y="182"/>
                  </a:lnTo>
                  <a:lnTo>
                    <a:pt x="2879" y="175"/>
                  </a:lnTo>
                  <a:lnTo>
                    <a:pt x="2875" y="175"/>
                  </a:lnTo>
                  <a:lnTo>
                    <a:pt x="2865" y="168"/>
                  </a:lnTo>
                  <a:lnTo>
                    <a:pt x="2861" y="168"/>
                  </a:lnTo>
                  <a:lnTo>
                    <a:pt x="2854" y="161"/>
                  </a:lnTo>
                  <a:lnTo>
                    <a:pt x="2847" y="158"/>
                  </a:lnTo>
                  <a:cubicBezTo>
                    <a:pt x="2840" y="154"/>
                    <a:pt x="2833" y="147"/>
                    <a:pt x="2830" y="144"/>
                  </a:cubicBezTo>
                  <a:cubicBezTo>
                    <a:pt x="2774" y="88"/>
                    <a:pt x="2539" y="39"/>
                    <a:pt x="2438" y="18"/>
                  </a:cubicBezTo>
                  <a:cubicBezTo>
                    <a:pt x="2403" y="11"/>
                    <a:pt x="2382" y="4"/>
                    <a:pt x="2364"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365" name="Google Shape;4365;p104"/>
            <p:cNvSpPr/>
            <p:nvPr/>
          </p:nvSpPr>
          <p:spPr>
            <a:xfrm>
              <a:off x="2170215" y="1666817"/>
              <a:ext cx="54" cy="68"/>
            </a:xfrm>
            <a:custGeom>
              <a:avLst/>
              <a:gdLst/>
              <a:ahLst/>
              <a:cxnLst/>
              <a:rect l="l" t="t" r="r" b="b"/>
              <a:pathLst>
                <a:path w="4" h="5" extrusionOk="0">
                  <a:moveTo>
                    <a:pt x="4"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366" name="Google Shape;4366;p104"/>
            <p:cNvSpPr/>
            <p:nvPr/>
          </p:nvSpPr>
          <p:spPr>
            <a:xfrm>
              <a:off x="2170636" y="1667061"/>
              <a:ext cx="68" cy="54"/>
            </a:xfrm>
            <a:custGeom>
              <a:avLst/>
              <a:gdLst/>
              <a:ahLst/>
              <a:cxnLst/>
              <a:rect l="l" t="t" r="r" b="b"/>
              <a:pathLst>
                <a:path w="5" h="4" extrusionOk="0">
                  <a:moveTo>
                    <a:pt x="4" y="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367" name="Google Shape;4367;p104"/>
            <p:cNvSpPr/>
            <p:nvPr/>
          </p:nvSpPr>
          <p:spPr>
            <a:xfrm>
              <a:off x="2175252" y="1670524"/>
              <a:ext cx="163" cy="109"/>
            </a:xfrm>
            <a:custGeom>
              <a:avLst/>
              <a:gdLst/>
              <a:ahLst/>
              <a:cxnLst/>
              <a:rect l="l" t="t" r="r" b="b"/>
              <a:pathLst>
                <a:path w="12" h="8" extrusionOk="0">
                  <a:moveTo>
                    <a:pt x="1" y="1"/>
                  </a:moveTo>
                  <a:lnTo>
                    <a:pt x="11" y="8"/>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368" name="Google Shape;4368;p104"/>
            <p:cNvSpPr/>
            <p:nvPr/>
          </p:nvSpPr>
          <p:spPr>
            <a:xfrm>
              <a:off x="2182571" y="1671854"/>
              <a:ext cx="2539" cy="733"/>
            </a:xfrm>
            <a:custGeom>
              <a:avLst/>
              <a:gdLst/>
              <a:ahLst/>
              <a:cxnLst/>
              <a:rect l="l" t="t" r="r" b="b"/>
              <a:pathLst>
                <a:path w="187" h="54" extrusionOk="0">
                  <a:moveTo>
                    <a:pt x="186" y="1"/>
                  </a:moveTo>
                  <a:cubicBezTo>
                    <a:pt x="95" y="29"/>
                    <a:pt x="32" y="43"/>
                    <a:pt x="1" y="53"/>
                  </a:cubicBezTo>
                  <a:cubicBezTo>
                    <a:pt x="29" y="46"/>
                    <a:pt x="78" y="36"/>
                    <a:pt x="134" y="18"/>
                  </a:cubicBezTo>
                  <a:lnTo>
                    <a:pt x="186"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369" name="Google Shape;4369;p104"/>
            <p:cNvSpPr/>
            <p:nvPr/>
          </p:nvSpPr>
          <p:spPr>
            <a:xfrm>
              <a:off x="2175592" y="1670809"/>
              <a:ext cx="109" cy="109"/>
            </a:xfrm>
            <a:custGeom>
              <a:avLst/>
              <a:gdLst/>
              <a:ahLst/>
              <a:cxnLst/>
              <a:rect l="l" t="t" r="r" b="b"/>
              <a:pathLst>
                <a:path w="8" h="8" extrusionOk="0">
                  <a:moveTo>
                    <a:pt x="7" y="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370" name="Google Shape;4370;p104"/>
            <p:cNvSpPr/>
            <p:nvPr/>
          </p:nvSpPr>
          <p:spPr>
            <a:xfrm>
              <a:off x="2174587" y="1669858"/>
              <a:ext cx="163" cy="163"/>
            </a:xfrm>
            <a:custGeom>
              <a:avLst/>
              <a:gdLst/>
              <a:ahLst/>
              <a:cxnLst/>
              <a:rect l="l" t="t" r="r" b="b"/>
              <a:pathLst>
                <a:path w="12" h="12" extrusionOk="0">
                  <a:moveTo>
                    <a:pt x="11" y="1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371" name="Google Shape;4371;p104"/>
            <p:cNvSpPr/>
            <p:nvPr/>
          </p:nvSpPr>
          <p:spPr>
            <a:xfrm>
              <a:off x="2174207" y="1669573"/>
              <a:ext cx="109" cy="109"/>
            </a:xfrm>
            <a:custGeom>
              <a:avLst/>
              <a:gdLst/>
              <a:ahLst/>
              <a:cxnLst/>
              <a:rect l="l" t="t" r="r" b="b"/>
              <a:pathLst>
                <a:path w="8" h="8" extrusionOk="0">
                  <a:moveTo>
                    <a:pt x="8" y="8"/>
                  </a:moveTo>
                  <a:lnTo>
                    <a:pt x="1"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372" name="Google Shape;4372;p104"/>
            <p:cNvSpPr/>
            <p:nvPr/>
          </p:nvSpPr>
          <p:spPr>
            <a:xfrm>
              <a:off x="2171070" y="1667346"/>
              <a:ext cx="54" cy="54"/>
            </a:xfrm>
            <a:custGeom>
              <a:avLst/>
              <a:gdLst/>
              <a:ahLst/>
              <a:cxnLst/>
              <a:rect l="l" t="t" r="r" b="b"/>
              <a:pathLst>
                <a:path w="4" h="4" extrusionOk="0">
                  <a:moveTo>
                    <a:pt x="4"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373" name="Google Shape;4373;p104"/>
            <p:cNvSpPr/>
            <p:nvPr/>
          </p:nvSpPr>
          <p:spPr>
            <a:xfrm>
              <a:off x="2173786" y="1669247"/>
              <a:ext cx="149" cy="109"/>
            </a:xfrm>
            <a:custGeom>
              <a:avLst/>
              <a:gdLst/>
              <a:ahLst/>
              <a:cxnLst/>
              <a:rect l="l" t="t" r="r" b="b"/>
              <a:pathLst>
                <a:path w="11" h="8" extrusionOk="0">
                  <a:moveTo>
                    <a:pt x="11" y="7"/>
                  </a:moveTo>
                  <a:lnTo>
                    <a:pt x="0"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374" name="Google Shape;4374;p104"/>
            <p:cNvSpPr/>
            <p:nvPr/>
          </p:nvSpPr>
          <p:spPr>
            <a:xfrm>
              <a:off x="2174926" y="1670198"/>
              <a:ext cx="149" cy="109"/>
            </a:xfrm>
            <a:custGeom>
              <a:avLst/>
              <a:gdLst/>
              <a:ahLst/>
              <a:cxnLst/>
              <a:rect l="l" t="t" r="r" b="b"/>
              <a:pathLst>
                <a:path w="11" h="8" extrusionOk="0">
                  <a:moveTo>
                    <a:pt x="11" y="7"/>
                  </a:moveTo>
                  <a:lnTo>
                    <a:pt x="0"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375" name="Google Shape;4375;p104"/>
            <p:cNvSpPr/>
            <p:nvPr/>
          </p:nvSpPr>
          <p:spPr>
            <a:xfrm>
              <a:off x="2171546" y="1667672"/>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376" name="Google Shape;4376;p104"/>
            <p:cNvSpPr/>
            <p:nvPr/>
          </p:nvSpPr>
          <p:spPr>
            <a:xfrm>
              <a:off x="2172971" y="1668623"/>
              <a:ext cx="54" cy="68"/>
            </a:xfrm>
            <a:custGeom>
              <a:avLst/>
              <a:gdLst/>
              <a:ahLst/>
              <a:cxnLst/>
              <a:rect l="l" t="t" r="r" b="b"/>
              <a:pathLst>
                <a:path w="4" h="5" extrusionOk="0">
                  <a:moveTo>
                    <a:pt x="4" y="4"/>
                  </a:moveTo>
                  <a:lnTo>
                    <a:pt x="1"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377" name="Google Shape;4377;p104"/>
            <p:cNvSpPr/>
            <p:nvPr/>
          </p:nvSpPr>
          <p:spPr>
            <a:xfrm>
              <a:off x="2173351" y="1668908"/>
              <a:ext cx="163" cy="109"/>
            </a:xfrm>
            <a:custGeom>
              <a:avLst/>
              <a:gdLst/>
              <a:ahLst/>
              <a:cxnLst/>
              <a:rect l="l" t="t" r="r" b="b"/>
              <a:pathLst>
                <a:path w="12" h="8" extrusionOk="0">
                  <a:moveTo>
                    <a:pt x="11" y="8"/>
                  </a:moveTo>
                  <a:lnTo>
                    <a:pt x="1"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378" name="Google Shape;4378;p104"/>
            <p:cNvSpPr/>
            <p:nvPr/>
          </p:nvSpPr>
          <p:spPr>
            <a:xfrm>
              <a:off x="2174831" y="1654081"/>
              <a:ext cx="54" cy="299"/>
            </a:xfrm>
            <a:custGeom>
              <a:avLst/>
              <a:gdLst/>
              <a:ahLst/>
              <a:cxnLst/>
              <a:rect l="l" t="t" r="r" b="b"/>
              <a:pathLst>
                <a:path w="4" h="22" extrusionOk="0">
                  <a:moveTo>
                    <a:pt x="4" y="0"/>
                  </a:moveTo>
                  <a:cubicBezTo>
                    <a:pt x="0" y="7"/>
                    <a:pt x="0" y="14"/>
                    <a:pt x="0" y="21"/>
                  </a:cubicBezTo>
                  <a:cubicBezTo>
                    <a:pt x="0" y="14"/>
                    <a:pt x="0" y="7"/>
                    <a:pt x="4"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379" name="Google Shape;4379;p104"/>
            <p:cNvSpPr/>
            <p:nvPr/>
          </p:nvSpPr>
          <p:spPr>
            <a:xfrm>
              <a:off x="2168599" y="1663436"/>
              <a:ext cx="54" cy="68"/>
            </a:xfrm>
            <a:custGeom>
              <a:avLst/>
              <a:gdLst/>
              <a:ahLst/>
              <a:cxnLst/>
              <a:rect l="l" t="t" r="r" b="b"/>
              <a:pathLst>
                <a:path w="4" h="5" extrusionOk="0">
                  <a:moveTo>
                    <a:pt x="4"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380" name="Google Shape;4380;p104"/>
            <p:cNvSpPr/>
            <p:nvPr/>
          </p:nvSpPr>
          <p:spPr>
            <a:xfrm>
              <a:off x="2168409" y="1663871"/>
              <a:ext cx="14" cy="54"/>
            </a:xfrm>
            <a:custGeom>
              <a:avLst/>
              <a:gdLst/>
              <a:ahLst/>
              <a:cxnLst/>
              <a:rect l="l" t="t" r="r" b="b"/>
              <a:pathLst>
                <a:path w="1" h="4" extrusionOk="0">
                  <a:moveTo>
                    <a:pt x="0"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381" name="Google Shape;4381;p104"/>
            <p:cNvSpPr/>
            <p:nvPr/>
          </p:nvSpPr>
          <p:spPr>
            <a:xfrm>
              <a:off x="2168450" y="1663680"/>
              <a:ext cx="68" cy="149"/>
            </a:xfrm>
            <a:custGeom>
              <a:avLst/>
              <a:gdLst/>
              <a:ahLst/>
              <a:cxnLst/>
              <a:rect l="l" t="t" r="r" b="b"/>
              <a:pathLst>
                <a:path w="5" h="11" extrusionOk="0">
                  <a:moveTo>
                    <a:pt x="4" y="0"/>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382" name="Google Shape;4382;p104"/>
            <p:cNvSpPr/>
            <p:nvPr/>
          </p:nvSpPr>
          <p:spPr>
            <a:xfrm>
              <a:off x="2168735" y="1663341"/>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383" name="Google Shape;4383;p104"/>
            <p:cNvSpPr/>
            <p:nvPr/>
          </p:nvSpPr>
          <p:spPr>
            <a:xfrm>
              <a:off x="2168694" y="1663341"/>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384" name="Google Shape;4384;p104"/>
            <p:cNvSpPr/>
            <p:nvPr/>
          </p:nvSpPr>
          <p:spPr>
            <a:xfrm>
              <a:off x="2168640" y="1663395"/>
              <a:ext cx="14" cy="14"/>
            </a:xfrm>
            <a:custGeom>
              <a:avLst/>
              <a:gdLst/>
              <a:ahLst/>
              <a:cxnLst/>
              <a:rect l="l" t="t" r="r" b="b"/>
              <a:pathLst>
                <a:path w="1" h="1" extrusionOk="0">
                  <a:moveTo>
                    <a:pt x="1"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385" name="Google Shape;4385;p104"/>
            <p:cNvSpPr/>
            <p:nvPr/>
          </p:nvSpPr>
          <p:spPr>
            <a:xfrm>
              <a:off x="2168504" y="1663531"/>
              <a:ext cx="54" cy="109"/>
            </a:xfrm>
            <a:custGeom>
              <a:avLst/>
              <a:gdLst/>
              <a:ahLst/>
              <a:cxnLst/>
              <a:rect l="l" t="t" r="r" b="b"/>
              <a:pathLst>
                <a:path w="4" h="8" extrusionOk="0">
                  <a:moveTo>
                    <a:pt x="4" y="1"/>
                  </a:moveTo>
                  <a:lnTo>
                    <a:pt x="0" y="8"/>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386" name="Google Shape;4386;p104"/>
            <p:cNvSpPr/>
            <p:nvPr/>
          </p:nvSpPr>
          <p:spPr>
            <a:xfrm>
              <a:off x="2174872" y="1653891"/>
              <a:ext cx="68" cy="109"/>
            </a:xfrm>
            <a:custGeom>
              <a:avLst/>
              <a:gdLst/>
              <a:ahLst/>
              <a:cxnLst/>
              <a:rect l="l" t="t" r="r" b="b"/>
              <a:pathLst>
                <a:path w="5" h="8" extrusionOk="0">
                  <a:moveTo>
                    <a:pt x="4" y="0"/>
                  </a:moveTo>
                  <a:lnTo>
                    <a:pt x="4" y="0"/>
                  </a:lnTo>
                  <a:cubicBezTo>
                    <a:pt x="4" y="0"/>
                    <a:pt x="1" y="4"/>
                    <a:pt x="1" y="7"/>
                  </a:cubicBezTo>
                  <a:cubicBezTo>
                    <a:pt x="4" y="4"/>
                    <a:pt x="4" y="0"/>
                    <a:pt x="4"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387" name="Google Shape;4387;p104"/>
            <p:cNvSpPr/>
            <p:nvPr/>
          </p:nvSpPr>
          <p:spPr>
            <a:xfrm>
              <a:off x="2141078" y="1625270"/>
              <a:ext cx="43597" cy="21317"/>
            </a:xfrm>
            <a:custGeom>
              <a:avLst/>
              <a:gdLst/>
              <a:ahLst/>
              <a:cxnLst/>
              <a:rect l="l" t="t" r="r" b="b"/>
              <a:pathLst>
                <a:path w="3211" h="1570" extrusionOk="0">
                  <a:moveTo>
                    <a:pt x="1369" y="1"/>
                  </a:moveTo>
                  <a:cubicBezTo>
                    <a:pt x="1366" y="4"/>
                    <a:pt x="1366" y="8"/>
                    <a:pt x="1359" y="11"/>
                  </a:cubicBezTo>
                  <a:cubicBezTo>
                    <a:pt x="1359" y="15"/>
                    <a:pt x="1355" y="18"/>
                    <a:pt x="1352" y="22"/>
                  </a:cubicBezTo>
                  <a:cubicBezTo>
                    <a:pt x="1348" y="25"/>
                    <a:pt x="1345" y="29"/>
                    <a:pt x="1338" y="29"/>
                  </a:cubicBezTo>
                  <a:cubicBezTo>
                    <a:pt x="1334" y="32"/>
                    <a:pt x="1331" y="36"/>
                    <a:pt x="1327" y="36"/>
                  </a:cubicBezTo>
                  <a:cubicBezTo>
                    <a:pt x="1324" y="39"/>
                    <a:pt x="1320" y="39"/>
                    <a:pt x="1313" y="39"/>
                  </a:cubicBezTo>
                  <a:cubicBezTo>
                    <a:pt x="1310" y="43"/>
                    <a:pt x="1306" y="43"/>
                    <a:pt x="1303" y="46"/>
                  </a:cubicBezTo>
                  <a:lnTo>
                    <a:pt x="1247" y="46"/>
                  </a:lnTo>
                  <a:lnTo>
                    <a:pt x="1229" y="43"/>
                  </a:lnTo>
                  <a:lnTo>
                    <a:pt x="1219" y="43"/>
                  </a:lnTo>
                  <a:lnTo>
                    <a:pt x="1198" y="36"/>
                  </a:lnTo>
                  <a:lnTo>
                    <a:pt x="1194" y="36"/>
                  </a:lnTo>
                  <a:lnTo>
                    <a:pt x="1170" y="32"/>
                  </a:lnTo>
                  <a:cubicBezTo>
                    <a:pt x="1149" y="24"/>
                    <a:pt x="1112" y="15"/>
                    <a:pt x="1090" y="15"/>
                  </a:cubicBezTo>
                  <a:cubicBezTo>
                    <a:pt x="1083" y="15"/>
                    <a:pt x="1078" y="16"/>
                    <a:pt x="1075" y="18"/>
                  </a:cubicBezTo>
                  <a:cubicBezTo>
                    <a:pt x="1030" y="64"/>
                    <a:pt x="960" y="85"/>
                    <a:pt x="876" y="109"/>
                  </a:cubicBezTo>
                  <a:cubicBezTo>
                    <a:pt x="792" y="137"/>
                    <a:pt x="687" y="169"/>
                    <a:pt x="624" y="228"/>
                  </a:cubicBezTo>
                  <a:cubicBezTo>
                    <a:pt x="484" y="354"/>
                    <a:pt x="207" y="417"/>
                    <a:pt x="42" y="456"/>
                  </a:cubicBezTo>
                  <a:lnTo>
                    <a:pt x="25" y="459"/>
                  </a:lnTo>
                  <a:cubicBezTo>
                    <a:pt x="14" y="463"/>
                    <a:pt x="7" y="466"/>
                    <a:pt x="0" y="470"/>
                  </a:cubicBezTo>
                  <a:cubicBezTo>
                    <a:pt x="14" y="512"/>
                    <a:pt x="35" y="554"/>
                    <a:pt x="63" y="589"/>
                  </a:cubicBezTo>
                  <a:cubicBezTo>
                    <a:pt x="77" y="613"/>
                    <a:pt x="91" y="634"/>
                    <a:pt x="102" y="655"/>
                  </a:cubicBezTo>
                  <a:cubicBezTo>
                    <a:pt x="130" y="715"/>
                    <a:pt x="151" y="778"/>
                    <a:pt x="161" y="844"/>
                  </a:cubicBezTo>
                  <a:cubicBezTo>
                    <a:pt x="182" y="943"/>
                    <a:pt x="210" y="1058"/>
                    <a:pt x="267" y="1097"/>
                  </a:cubicBezTo>
                  <a:cubicBezTo>
                    <a:pt x="288" y="1114"/>
                    <a:pt x="326" y="1135"/>
                    <a:pt x="368" y="1163"/>
                  </a:cubicBezTo>
                  <a:cubicBezTo>
                    <a:pt x="652" y="1356"/>
                    <a:pt x="816" y="1471"/>
                    <a:pt x="855" y="1541"/>
                  </a:cubicBezTo>
                  <a:cubicBezTo>
                    <a:pt x="858" y="1545"/>
                    <a:pt x="858" y="1552"/>
                    <a:pt x="862" y="1555"/>
                  </a:cubicBezTo>
                  <a:cubicBezTo>
                    <a:pt x="862" y="1559"/>
                    <a:pt x="862" y="1562"/>
                    <a:pt x="865" y="1562"/>
                  </a:cubicBezTo>
                  <a:lnTo>
                    <a:pt x="869" y="1559"/>
                  </a:lnTo>
                  <a:lnTo>
                    <a:pt x="876" y="1559"/>
                  </a:lnTo>
                  <a:lnTo>
                    <a:pt x="900" y="1562"/>
                  </a:lnTo>
                  <a:lnTo>
                    <a:pt x="907" y="1562"/>
                  </a:lnTo>
                  <a:lnTo>
                    <a:pt x="932" y="1566"/>
                  </a:lnTo>
                  <a:lnTo>
                    <a:pt x="939" y="1566"/>
                  </a:lnTo>
                  <a:lnTo>
                    <a:pt x="963" y="1569"/>
                  </a:lnTo>
                  <a:lnTo>
                    <a:pt x="1142" y="1569"/>
                  </a:lnTo>
                  <a:lnTo>
                    <a:pt x="1152" y="1566"/>
                  </a:lnTo>
                  <a:lnTo>
                    <a:pt x="1177" y="1566"/>
                  </a:lnTo>
                  <a:lnTo>
                    <a:pt x="1187" y="1562"/>
                  </a:lnTo>
                  <a:lnTo>
                    <a:pt x="1191" y="1562"/>
                  </a:lnTo>
                  <a:lnTo>
                    <a:pt x="1198" y="1559"/>
                  </a:lnTo>
                  <a:lnTo>
                    <a:pt x="1201" y="1559"/>
                  </a:lnTo>
                  <a:cubicBezTo>
                    <a:pt x="1205" y="1555"/>
                    <a:pt x="1208" y="1555"/>
                    <a:pt x="1212" y="1552"/>
                  </a:cubicBezTo>
                  <a:cubicBezTo>
                    <a:pt x="1247" y="1478"/>
                    <a:pt x="1275" y="1401"/>
                    <a:pt x="1292" y="1321"/>
                  </a:cubicBezTo>
                  <a:lnTo>
                    <a:pt x="1303" y="1268"/>
                  </a:lnTo>
                  <a:lnTo>
                    <a:pt x="1376" y="1268"/>
                  </a:lnTo>
                  <a:cubicBezTo>
                    <a:pt x="1390" y="1268"/>
                    <a:pt x="1411" y="1268"/>
                    <a:pt x="1436" y="1272"/>
                  </a:cubicBezTo>
                  <a:cubicBezTo>
                    <a:pt x="1460" y="1275"/>
                    <a:pt x="1495" y="1279"/>
                    <a:pt x="1534" y="1282"/>
                  </a:cubicBezTo>
                  <a:lnTo>
                    <a:pt x="1551" y="1286"/>
                  </a:lnTo>
                  <a:cubicBezTo>
                    <a:pt x="1607" y="1296"/>
                    <a:pt x="1660" y="1310"/>
                    <a:pt x="1712" y="1331"/>
                  </a:cubicBezTo>
                  <a:lnTo>
                    <a:pt x="1723" y="1335"/>
                  </a:lnTo>
                  <a:cubicBezTo>
                    <a:pt x="1737" y="1338"/>
                    <a:pt x="1747" y="1342"/>
                    <a:pt x="1758" y="1349"/>
                  </a:cubicBezTo>
                  <a:lnTo>
                    <a:pt x="1765" y="1352"/>
                  </a:lnTo>
                  <a:cubicBezTo>
                    <a:pt x="1793" y="1363"/>
                    <a:pt x="1817" y="1377"/>
                    <a:pt x="1842" y="1394"/>
                  </a:cubicBezTo>
                  <a:cubicBezTo>
                    <a:pt x="1849" y="1401"/>
                    <a:pt x="1856" y="1408"/>
                    <a:pt x="1863" y="1412"/>
                  </a:cubicBezTo>
                  <a:cubicBezTo>
                    <a:pt x="1870" y="1419"/>
                    <a:pt x="1873" y="1419"/>
                    <a:pt x="1877" y="1422"/>
                  </a:cubicBezTo>
                  <a:cubicBezTo>
                    <a:pt x="1887" y="1433"/>
                    <a:pt x="1898" y="1443"/>
                    <a:pt x="1908" y="1454"/>
                  </a:cubicBezTo>
                  <a:lnTo>
                    <a:pt x="1908" y="1457"/>
                  </a:lnTo>
                  <a:cubicBezTo>
                    <a:pt x="1957" y="1500"/>
                    <a:pt x="2017" y="1524"/>
                    <a:pt x="2079" y="1524"/>
                  </a:cubicBezTo>
                  <a:cubicBezTo>
                    <a:pt x="2093" y="1524"/>
                    <a:pt x="2108" y="1523"/>
                    <a:pt x="2122" y="1520"/>
                  </a:cubicBezTo>
                  <a:cubicBezTo>
                    <a:pt x="2167" y="1517"/>
                    <a:pt x="2213" y="1506"/>
                    <a:pt x="2255" y="1492"/>
                  </a:cubicBezTo>
                  <a:lnTo>
                    <a:pt x="2318" y="1468"/>
                  </a:lnTo>
                  <a:lnTo>
                    <a:pt x="2332" y="1506"/>
                  </a:lnTo>
                  <a:lnTo>
                    <a:pt x="2339" y="1499"/>
                  </a:lnTo>
                  <a:cubicBezTo>
                    <a:pt x="2343" y="1492"/>
                    <a:pt x="2350" y="1485"/>
                    <a:pt x="2357" y="1478"/>
                  </a:cubicBezTo>
                  <a:lnTo>
                    <a:pt x="2367" y="1468"/>
                  </a:lnTo>
                  <a:cubicBezTo>
                    <a:pt x="2374" y="1461"/>
                    <a:pt x="2381" y="1457"/>
                    <a:pt x="2385" y="1454"/>
                  </a:cubicBezTo>
                  <a:lnTo>
                    <a:pt x="2399" y="1447"/>
                  </a:lnTo>
                  <a:cubicBezTo>
                    <a:pt x="2406" y="1440"/>
                    <a:pt x="2413" y="1436"/>
                    <a:pt x="2420" y="1433"/>
                  </a:cubicBezTo>
                  <a:lnTo>
                    <a:pt x="2427" y="1429"/>
                  </a:lnTo>
                  <a:cubicBezTo>
                    <a:pt x="2437" y="1426"/>
                    <a:pt x="2448" y="1422"/>
                    <a:pt x="2458" y="1422"/>
                  </a:cubicBezTo>
                  <a:lnTo>
                    <a:pt x="2479" y="1419"/>
                  </a:lnTo>
                  <a:cubicBezTo>
                    <a:pt x="2626" y="1398"/>
                    <a:pt x="2808" y="1377"/>
                    <a:pt x="2938" y="1188"/>
                  </a:cubicBezTo>
                  <a:cubicBezTo>
                    <a:pt x="2948" y="1174"/>
                    <a:pt x="2959" y="1160"/>
                    <a:pt x="2969" y="1146"/>
                  </a:cubicBezTo>
                  <a:lnTo>
                    <a:pt x="2980" y="1132"/>
                  </a:lnTo>
                  <a:cubicBezTo>
                    <a:pt x="2990" y="1121"/>
                    <a:pt x="2997" y="1114"/>
                    <a:pt x="3008" y="1104"/>
                  </a:cubicBezTo>
                  <a:lnTo>
                    <a:pt x="3022" y="1090"/>
                  </a:lnTo>
                  <a:lnTo>
                    <a:pt x="3046" y="1065"/>
                  </a:lnTo>
                  <a:lnTo>
                    <a:pt x="3060" y="1055"/>
                  </a:lnTo>
                  <a:lnTo>
                    <a:pt x="3092" y="1027"/>
                  </a:lnTo>
                  <a:lnTo>
                    <a:pt x="3102" y="1020"/>
                  </a:lnTo>
                  <a:cubicBezTo>
                    <a:pt x="3116" y="1009"/>
                    <a:pt x="3130" y="999"/>
                    <a:pt x="3144" y="988"/>
                  </a:cubicBezTo>
                  <a:lnTo>
                    <a:pt x="3155" y="981"/>
                  </a:lnTo>
                  <a:lnTo>
                    <a:pt x="3186" y="960"/>
                  </a:lnTo>
                  <a:lnTo>
                    <a:pt x="3200" y="950"/>
                  </a:lnTo>
                  <a:lnTo>
                    <a:pt x="3211" y="943"/>
                  </a:lnTo>
                  <a:cubicBezTo>
                    <a:pt x="3197" y="918"/>
                    <a:pt x="3183" y="893"/>
                    <a:pt x="3172" y="872"/>
                  </a:cubicBezTo>
                  <a:cubicBezTo>
                    <a:pt x="3155" y="834"/>
                    <a:pt x="3130" y="799"/>
                    <a:pt x="3102" y="767"/>
                  </a:cubicBezTo>
                  <a:lnTo>
                    <a:pt x="3095" y="760"/>
                  </a:lnTo>
                  <a:lnTo>
                    <a:pt x="3092" y="757"/>
                  </a:lnTo>
                  <a:cubicBezTo>
                    <a:pt x="3043" y="739"/>
                    <a:pt x="2990" y="732"/>
                    <a:pt x="2938" y="732"/>
                  </a:cubicBezTo>
                  <a:cubicBezTo>
                    <a:pt x="2826" y="722"/>
                    <a:pt x="2721" y="711"/>
                    <a:pt x="2700" y="627"/>
                  </a:cubicBezTo>
                  <a:lnTo>
                    <a:pt x="2696" y="606"/>
                  </a:lnTo>
                  <a:cubicBezTo>
                    <a:pt x="2672" y="508"/>
                    <a:pt x="2654" y="477"/>
                    <a:pt x="2619" y="477"/>
                  </a:cubicBezTo>
                  <a:cubicBezTo>
                    <a:pt x="2588" y="477"/>
                    <a:pt x="2553" y="473"/>
                    <a:pt x="2518" y="466"/>
                  </a:cubicBezTo>
                  <a:cubicBezTo>
                    <a:pt x="2483" y="462"/>
                    <a:pt x="2457" y="459"/>
                    <a:pt x="2438" y="459"/>
                  </a:cubicBezTo>
                  <a:cubicBezTo>
                    <a:pt x="2400" y="459"/>
                    <a:pt x="2386" y="469"/>
                    <a:pt x="2374" y="494"/>
                  </a:cubicBezTo>
                  <a:cubicBezTo>
                    <a:pt x="2352" y="547"/>
                    <a:pt x="2304" y="580"/>
                    <a:pt x="2249" y="580"/>
                  </a:cubicBezTo>
                  <a:cubicBezTo>
                    <a:pt x="2242" y="580"/>
                    <a:pt x="2234" y="580"/>
                    <a:pt x="2227" y="578"/>
                  </a:cubicBezTo>
                  <a:cubicBezTo>
                    <a:pt x="2118" y="568"/>
                    <a:pt x="1978" y="449"/>
                    <a:pt x="1961" y="354"/>
                  </a:cubicBezTo>
                  <a:cubicBezTo>
                    <a:pt x="1950" y="305"/>
                    <a:pt x="1905" y="242"/>
                    <a:pt x="1642" y="148"/>
                  </a:cubicBezTo>
                  <a:cubicBezTo>
                    <a:pt x="1625" y="144"/>
                    <a:pt x="1604" y="134"/>
                    <a:pt x="1586" y="127"/>
                  </a:cubicBezTo>
                  <a:lnTo>
                    <a:pt x="1576" y="123"/>
                  </a:lnTo>
                  <a:cubicBezTo>
                    <a:pt x="1558" y="113"/>
                    <a:pt x="1537" y="106"/>
                    <a:pt x="1520" y="95"/>
                  </a:cubicBezTo>
                  <a:lnTo>
                    <a:pt x="1506" y="88"/>
                  </a:lnTo>
                  <a:cubicBezTo>
                    <a:pt x="1488" y="78"/>
                    <a:pt x="1467" y="64"/>
                    <a:pt x="1446" y="53"/>
                  </a:cubicBezTo>
                  <a:lnTo>
                    <a:pt x="1443" y="50"/>
                  </a:lnTo>
                  <a:cubicBezTo>
                    <a:pt x="1422" y="36"/>
                    <a:pt x="1401" y="22"/>
                    <a:pt x="1380" y="4"/>
                  </a:cubicBezTo>
                  <a:lnTo>
                    <a:pt x="1369"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388" name="Google Shape;4388;p104"/>
            <p:cNvSpPr/>
            <p:nvPr/>
          </p:nvSpPr>
          <p:spPr>
            <a:xfrm>
              <a:off x="2183195" y="1635589"/>
              <a:ext cx="1534" cy="2390"/>
            </a:xfrm>
            <a:custGeom>
              <a:avLst/>
              <a:gdLst/>
              <a:ahLst/>
              <a:cxnLst/>
              <a:rect l="l" t="t" r="r" b="b"/>
              <a:pathLst>
                <a:path w="113" h="176" extrusionOk="0">
                  <a:moveTo>
                    <a:pt x="112" y="176"/>
                  </a:moveTo>
                  <a:lnTo>
                    <a:pt x="112" y="176"/>
                  </a:lnTo>
                  <a:cubicBezTo>
                    <a:pt x="95" y="151"/>
                    <a:pt x="84" y="126"/>
                    <a:pt x="70" y="105"/>
                  </a:cubicBezTo>
                  <a:cubicBezTo>
                    <a:pt x="53" y="67"/>
                    <a:pt x="28" y="32"/>
                    <a:pt x="0" y="0"/>
                  </a:cubicBezTo>
                  <a:cubicBezTo>
                    <a:pt x="28" y="32"/>
                    <a:pt x="53" y="67"/>
                    <a:pt x="70" y="105"/>
                  </a:cubicBezTo>
                  <a:cubicBezTo>
                    <a:pt x="84" y="126"/>
                    <a:pt x="95" y="151"/>
                    <a:pt x="112" y="176"/>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389" name="Google Shape;4389;p104"/>
            <p:cNvSpPr/>
            <p:nvPr/>
          </p:nvSpPr>
          <p:spPr>
            <a:xfrm>
              <a:off x="2161756" y="1626465"/>
              <a:ext cx="774" cy="394"/>
            </a:xfrm>
            <a:custGeom>
              <a:avLst/>
              <a:gdLst/>
              <a:ahLst/>
              <a:cxnLst/>
              <a:rect l="l" t="t" r="r" b="b"/>
              <a:pathLst>
                <a:path w="57" h="29" extrusionOk="0">
                  <a:moveTo>
                    <a:pt x="0" y="0"/>
                  </a:moveTo>
                  <a:cubicBezTo>
                    <a:pt x="18" y="11"/>
                    <a:pt x="35" y="18"/>
                    <a:pt x="56" y="28"/>
                  </a:cubicBezTo>
                  <a:cubicBezTo>
                    <a:pt x="35" y="18"/>
                    <a:pt x="18" y="11"/>
                    <a:pt x="0"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390" name="Google Shape;4390;p104"/>
            <p:cNvSpPr/>
            <p:nvPr/>
          </p:nvSpPr>
          <p:spPr>
            <a:xfrm>
              <a:off x="2162612" y="1626885"/>
              <a:ext cx="720" cy="299"/>
            </a:xfrm>
            <a:custGeom>
              <a:avLst/>
              <a:gdLst/>
              <a:ahLst/>
              <a:cxnLst/>
              <a:rect l="l" t="t" r="r" b="b"/>
              <a:pathLst>
                <a:path w="53" h="22" extrusionOk="0">
                  <a:moveTo>
                    <a:pt x="0" y="1"/>
                  </a:moveTo>
                  <a:lnTo>
                    <a:pt x="0" y="1"/>
                  </a:lnTo>
                  <a:cubicBezTo>
                    <a:pt x="18" y="11"/>
                    <a:pt x="39" y="18"/>
                    <a:pt x="53" y="22"/>
                  </a:cubicBezTo>
                  <a:cubicBezTo>
                    <a:pt x="39" y="18"/>
                    <a:pt x="18" y="8"/>
                    <a:pt x="0" y="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391" name="Google Shape;4391;p104"/>
            <p:cNvSpPr/>
            <p:nvPr/>
          </p:nvSpPr>
          <p:spPr>
            <a:xfrm>
              <a:off x="2183046" y="1635439"/>
              <a:ext cx="68" cy="68"/>
            </a:xfrm>
            <a:custGeom>
              <a:avLst/>
              <a:gdLst/>
              <a:ahLst/>
              <a:cxnLst/>
              <a:rect l="l" t="t" r="r" b="b"/>
              <a:pathLst>
                <a:path w="5" h="5" extrusionOk="0">
                  <a:moveTo>
                    <a:pt x="1" y="1"/>
                  </a:moveTo>
                  <a:lnTo>
                    <a:pt x="1" y="1"/>
                  </a:lnTo>
                  <a:lnTo>
                    <a:pt x="4" y="4"/>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392" name="Google Shape;4392;p104"/>
            <p:cNvSpPr/>
            <p:nvPr/>
          </p:nvSpPr>
          <p:spPr>
            <a:xfrm>
              <a:off x="2160711" y="1625894"/>
              <a:ext cx="815" cy="489"/>
            </a:xfrm>
            <a:custGeom>
              <a:avLst/>
              <a:gdLst/>
              <a:ahLst/>
              <a:cxnLst/>
              <a:rect l="l" t="t" r="r" b="b"/>
              <a:pathLst>
                <a:path w="60" h="36" extrusionOk="0">
                  <a:moveTo>
                    <a:pt x="0" y="0"/>
                  </a:moveTo>
                  <a:cubicBezTo>
                    <a:pt x="21" y="11"/>
                    <a:pt x="42" y="25"/>
                    <a:pt x="60" y="35"/>
                  </a:cubicBezTo>
                  <a:cubicBezTo>
                    <a:pt x="42" y="25"/>
                    <a:pt x="21" y="11"/>
                    <a:pt x="0"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393" name="Google Shape;4393;p104"/>
            <p:cNvSpPr/>
            <p:nvPr/>
          </p:nvSpPr>
          <p:spPr>
            <a:xfrm>
              <a:off x="2159801" y="1625270"/>
              <a:ext cx="869" cy="584"/>
            </a:xfrm>
            <a:custGeom>
              <a:avLst/>
              <a:gdLst/>
              <a:ahLst/>
              <a:cxnLst/>
              <a:rect l="l" t="t" r="r" b="b"/>
              <a:pathLst>
                <a:path w="64" h="43" extrusionOk="0">
                  <a:moveTo>
                    <a:pt x="1" y="1"/>
                  </a:moveTo>
                  <a:cubicBezTo>
                    <a:pt x="22" y="15"/>
                    <a:pt x="43" y="29"/>
                    <a:pt x="64" y="43"/>
                  </a:cubicBezTo>
                  <a:cubicBezTo>
                    <a:pt x="43" y="29"/>
                    <a:pt x="22" y="15"/>
                    <a:pt x="1" y="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394" name="Google Shape;4394;p104"/>
            <p:cNvSpPr/>
            <p:nvPr/>
          </p:nvSpPr>
          <p:spPr>
            <a:xfrm>
              <a:off x="2166359" y="1644333"/>
              <a:ext cx="204" cy="163"/>
            </a:xfrm>
            <a:custGeom>
              <a:avLst/>
              <a:gdLst/>
              <a:ahLst/>
              <a:cxnLst/>
              <a:rect l="l" t="t" r="r" b="b"/>
              <a:pathLst>
                <a:path w="15" h="12" extrusionOk="0">
                  <a:moveTo>
                    <a:pt x="1" y="1"/>
                  </a:moveTo>
                  <a:cubicBezTo>
                    <a:pt x="8" y="4"/>
                    <a:pt x="11" y="8"/>
                    <a:pt x="15" y="11"/>
                  </a:cubicBezTo>
                  <a:cubicBezTo>
                    <a:pt x="11" y="8"/>
                    <a:pt x="8" y="4"/>
                    <a:pt x="1" y="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395" name="Google Shape;4395;p104"/>
            <p:cNvSpPr/>
            <p:nvPr/>
          </p:nvSpPr>
          <p:spPr>
            <a:xfrm>
              <a:off x="2156855" y="1646478"/>
              <a:ext cx="163" cy="54"/>
            </a:xfrm>
            <a:custGeom>
              <a:avLst/>
              <a:gdLst/>
              <a:ahLst/>
              <a:cxnLst/>
              <a:rect l="l" t="t" r="r" b="b"/>
              <a:pathLst>
                <a:path w="12" h="4" extrusionOk="0">
                  <a:moveTo>
                    <a:pt x="1" y="4"/>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396" name="Google Shape;4396;p104"/>
            <p:cNvSpPr/>
            <p:nvPr/>
          </p:nvSpPr>
          <p:spPr>
            <a:xfrm>
              <a:off x="2157045" y="1646423"/>
              <a:ext cx="163" cy="68"/>
            </a:xfrm>
            <a:custGeom>
              <a:avLst/>
              <a:gdLst/>
              <a:ahLst/>
              <a:cxnLst/>
              <a:rect l="l" t="t" r="r" b="b"/>
              <a:pathLst>
                <a:path w="12" h="5" extrusionOk="0">
                  <a:moveTo>
                    <a:pt x="1" y="4"/>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397" name="Google Shape;4397;p104"/>
            <p:cNvSpPr/>
            <p:nvPr/>
          </p:nvSpPr>
          <p:spPr>
            <a:xfrm>
              <a:off x="2156570" y="1646518"/>
              <a:ext cx="204" cy="68"/>
            </a:xfrm>
            <a:custGeom>
              <a:avLst/>
              <a:gdLst/>
              <a:ahLst/>
              <a:cxnLst/>
              <a:rect l="l" t="t" r="r" b="b"/>
              <a:pathLst>
                <a:path w="15" h="5" extrusionOk="0">
                  <a:moveTo>
                    <a:pt x="1" y="4"/>
                  </a:moveTo>
                  <a:lnTo>
                    <a:pt x="15"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398" name="Google Shape;4398;p104"/>
            <p:cNvSpPr/>
            <p:nvPr/>
          </p:nvSpPr>
          <p:spPr>
            <a:xfrm>
              <a:off x="2157384" y="1646233"/>
              <a:ext cx="149" cy="109"/>
            </a:xfrm>
            <a:custGeom>
              <a:avLst/>
              <a:gdLst/>
              <a:ahLst/>
              <a:cxnLst/>
              <a:rect l="l" t="t" r="r" b="b"/>
              <a:pathLst>
                <a:path w="11" h="8" extrusionOk="0">
                  <a:moveTo>
                    <a:pt x="0" y="8"/>
                  </a:moveTo>
                  <a:cubicBezTo>
                    <a:pt x="4" y="4"/>
                    <a:pt x="7" y="4"/>
                    <a:pt x="11" y="1"/>
                  </a:cubicBezTo>
                  <a:cubicBezTo>
                    <a:pt x="7" y="4"/>
                    <a:pt x="4" y="4"/>
                    <a:pt x="0" y="8"/>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399" name="Google Shape;4399;p104"/>
            <p:cNvSpPr/>
            <p:nvPr/>
          </p:nvSpPr>
          <p:spPr>
            <a:xfrm>
              <a:off x="2165028" y="1643531"/>
              <a:ext cx="1059" cy="584"/>
            </a:xfrm>
            <a:custGeom>
              <a:avLst/>
              <a:gdLst/>
              <a:ahLst/>
              <a:cxnLst/>
              <a:rect l="l" t="t" r="r" b="b"/>
              <a:pathLst>
                <a:path w="78" h="43" extrusionOk="0">
                  <a:moveTo>
                    <a:pt x="1" y="0"/>
                  </a:moveTo>
                  <a:cubicBezTo>
                    <a:pt x="29" y="11"/>
                    <a:pt x="53" y="25"/>
                    <a:pt x="78" y="42"/>
                  </a:cubicBezTo>
                  <a:cubicBezTo>
                    <a:pt x="53" y="25"/>
                    <a:pt x="29" y="11"/>
                    <a:pt x="1"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400" name="Google Shape;4400;p104"/>
            <p:cNvSpPr/>
            <p:nvPr/>
          </p:nvSpPr>
          <p:spPr>
            <a:xfrm>
              <a:off x="2157235" y="1646383"/>
              <a:ext cx="163" cy="54"/>
            </a:xfrm>
            <a:custGeom>
              <a:avLst/>
              <a:gdLst/>
              <a:ahLst/>
              <a:cxnLst/>
              <a:rect l="l" t="t" r="r" b="b"/>
              <a:pathLst>
                <a:path w="12" h="4" extrusionOk="0">
                  <a:moveTo>
                    <a:pt x="1" y="4"/>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401" name="Google Shape;4401;p104"/>
            <p:cNvSpPr/>
            <p:nvPr/>
          </p:nvSpPr>
          <p:spPr>
            <a:xfrm>
              <a:off x="2160561" y="1642432"/>
              <a:ext cx="1303" cy="204"/>
            </a:xfrm>
            <a:custGeom>
              <a:avLst/>
              <a:gdLst/>
              <a:ahLst/>
              <a:cxnLst/>
              <a:rect l="l" t="t" r="r" b="b"/>
              <a:pathLst>
                <a:path w="96" h="15" extrusionOk="0">
                  <a:moveTo>
                    <a:pt x="1" y="1"/>
                  </a:moveTo>
                  <a:cubicBezTo>
                    <a:pt x="25" y="4"/>
                    <a:pt x="60" y="8"/>
                    <a:pt x="95" y="15"/>
                  </a:cubicBezTo>
                  <a:cubicBezTo>
                    <a:pt x="60" y="8"/>
                    <a:pt x="29" y="4"/>
                    <a:pt x="1" y="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402" name="Google Shape;4402;p104"/>
            <p:cNvSpPr/>
            <p:nvPr/>
          </p:nvSpPr>
          <p:spPr>
            <a:xfrm>
              <a:off x="2164458" y="1643287"/>
              <a:ext cx="489" cy="204"/>
            </a:xfrm>
            <a:custGeom>
              <a:avLst/>
              <a:gdLst/>
              <a:ahLst/>
              <a:cxnLst/>
              <a:rect l="l" t="t" r="r" b="b"/>
              <a:pathLst>
                <a:path w="36" h="15" extrusionOk="0">
                  <a:moveTo>
                    <a:pt x="1" y="1"/>
                  </a:moveTo>
                  <a:cubicBezTo>
                    <a:pt x="15" y="4"/>
                    <a:pt x="25" y="8"/>
                    <a:pt x="36" y="15"/>
                  </a:cubicBezTo>
                  <a:cubicBezTo>
                    <a:pt x="25" y="8"/>
                    <a:pt x="15" y="4"/>
                    <a:pt x="1" y="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403" name="Google Shape;4403;p104"/>
            <p:cNvSpPr/>
            <p:nvPr/>
          </p:nvSpPr>
          <p:spPr>
            <a:xfrm>
              <a:off x="2162136" y="1642676"/>
              <a:ext cx="2200" cy="584"/>
            </a:xfrm>
            <a:custGeom>
              <a:avLst/>
              <a:gdLst/>
              <a:ahLst/>
              <a:cxnLst/>
              <a:rect l="l" t="t" r="r" b="b"/>
              <a:pathLst>
                <a:path w="162" h="43" extrusionOk="0">
                  <a:moveTo>
                    <a:pt x="0" y="0"/>
                  </a:moveTo>
                  <a:cubicBezTo>
                    <a:pt x="56" y="7"/>
                    <a:pt x="109" y="21"/>
                    <a:pt x="161" y="42"/>
                  </a:cubicBezTo>
                  <a:cubicBezTo>
                    <a:pt x="109" y="21"/>
                    <a:pt x="56" y="7"/>
                    <a:pt x="0"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404" name="Google Shape;4404;p104"/>
            <p:cNvSpPr/>
            <p:nvPr/>
          </p:nvSpPr>
          <p:spPr>
            <a:xfrm>
              <a:off x="2156244" y="1646614"/>
              <a:ext cx="244" cy="14"/>
            </a:xfrm>
            <a:custGeom>
              <a:avLst/>
              <a:gdLst/>
              <a:ahLst/>
              <a:cxnLst/>
              <a:rect l="l" t="t" r="r" b="b"/>
              <a:pathLst>
                <a:path w="18" h="1" extrusionOk="0">
                  <a:moveTo>
                    <a:pt x="0" y="1"/>
                  </a:moveTo>
                  <a:lnTo>
                    <a:pt x="18"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405" name="Google Shape;4405;p104"/>
            <p:cNvSpPr/>
            <p:nvPr/>
          </p:nvSpPr>
          <p:spPr>
            <a:xfrm>
              <a:off x="2154628" y="1646614"/>
              <a:ext cx="1195" cy="54"/>
            </a:xfrm>
            <a:custGeom>
              <a:avLst/>
              <a:gdLst/>
              <a:ahLst/>
              <a:cxnLst/>
              <a:rect l="l" t="t" r="r" b="b"/>
              <a:pathLst>
                <a:path w="88" h="4" extrusionOk="0">
                  <a:moveTo>
                    <a:pt x="0" y="1"/>
                  </a:moveTo>
                  <a:cubicBezTo>
                    <a:pt x="16" y="2"/>
                    <a:pt x="32" y="3"/>
                    <a:pt x="47" y="3"/>
                  </a:cubicBezTo>
                  <a:cubicBezTo>
                    <a:pt x="61" y="3"/>
                    <a:pt x="75" y="2"/>
                    <a:pt x="88" y="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406" name="Google Shape;4406;p104"/>
            <p:cNvSpPr/>
            <p:nvPr/>
          </p:nvSpPr>
          <p:spPr>
            <a:xfrm>
              <a:off x="2166984" y="1644903"/>
              <a:ext cx="2906" cy="1113"/>
            </a:xfrm>
            <a:custGeom>
              <a:avLst/>
              <a:gdLst/>
              <a:ahLst/>
              <a:cxnLst/>
              <a:rect l="l" t="t" r="r" b="b"/>
              <a:pathLst>
                <a:path w="214" h="82" extrusionOk="0">
                  <a:moveTo>
                    <a:pt x="214" y="67"/>
                  </a:moveTo>
                  <a:cubicBezTo>
                    <a:pt x="137" y="81"/>
                    <a:pt x="60" y="57"/>
                    <a:pt x="4" y="1"/>
                  </a:cubicBezTo>
                  <a:lnTo>
                    <a:pt x="0" y="1"/>
                  </a:lnTo>
                  <a:lnTo>
                    <a:pt x="4" y="1"/>
                  </a:lnTo>
                  <a:cubicBezTo>
                    <a:pt x="60" y="57"/>
                    <a:pt x="137" y="81"/>
                    <a:pt x="214" y="67"/>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407" name="Google Shape;4407;p104"/>
            <p:cNvSpPr/>
            <p:nvPr/>
          </p:nvSpPr>
          <p:spPr>
            <a:xfrm>
              <a:off x="2154248" y="1646614"/>
              <a:ext cx="394" cy="14"/>
            </a:xfrm>
            <a:custGeom>
              <a:avLst/>
              <a:gdLst/>
              <a:ahLst/>
              <a:cxnLst/>
              <a:rect l="l" t="t" r="r" b="b"/>
              <a:pathLst>
                <a:path w="29" h="1" extrusionOk="0">
                  <a:moveTo>
                    <a:pt x="0" y="1"/>
                  </a:moveTo>
                  <a:lnTo>
                    <a:pt x="28"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408" name="Google Shape;4408;p104"/>
            <p:cNvSpPr/>
            <p:nvPr/>
          </p:nvSpPr>
          <p:spPr>
            <a:xfrm>
              <a:off x="2153813" y="1646573"/>
              <a:ext cx="353" cy="54"/>
            </a:xfrm>
            <a:custGeom>
              <a:avLst/>
              <a:gdLst/>
              <a:ahLst/>
              <a:cxnLst/>
              <a:rect l="l" t="t" r="r" b="b"/>
              <a:pathLst>
                <a:path w="26" h="4" extrusionOk="0">
                  <a:moveTo>
                    <a:pt x="1" y="0"/>
                  </a:moveTo>
                  <a:lnTo>
                    <a:pt x="25" y="4"/>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409" name="Google Shape;4409;p104"/>
            <p:cNvSpPr/>
            <p:nvPr/>
          </p:nvSpPr>
          <p:spPr>
            <a:xfrm>
              <a:off x="2153433" y="1646518"/>
              <a:ext cx="299" cy="68"/>
            </a:xfrm>
            <a:custGeom>
              <a:avLst/>
              <a:gdLst/>
              <a:ahLst/>
              <a:cxnLst/>
              <a:rect l="l" t="t" r="r" b="b"/>
              <a:pathLst>
                <a:path w="22" h="5" extrusionOk="0">
                  <a:moveTo>
                    <a:pt x="1" y="1"/>
                  </a:moveTo>
                  <a:lnTo>
                    <a:pt x="22" y="4"/>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410" name="Google Shape;4410;p104"/>
            <p:cNvSpPr/>
            <p:nvPr/>
          </p:nvSpPr>
          <p:spPr>
            <a:xfrm>
              <a:off x="2171641" y="1645052"/>
              <a:ext cx="1100" cy="530"/>
            </a:xfrm>
            <a:custGeom>
              <a:avLst/>
              <a:gdLst/>
              <a:ahLst/>
              <a:cxnLst/>
              <a:rect l="l" t="t" r="r" b="b"/>
              <a:pathLst>
                <a:path w="81" h="39" extrusionOk="0">
                  <a:moveTo>
                    <a:pt x="81" y="39"/>
                  </a:moveTo>
                  <a:lnTo>
                    <a:pt x="81" y="39"/>
                  </a:lnTo>
                  <a:lnTo>
                    <a:pt x="67" y="0"/>
                  </a:lnTo>
                  <a:lnTo>
                    <a:pt x="0" y="25"/>
                  </a:lnTo>
                  <a:lnTo>
                    <a:pt x="67"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411" name="Google Shape;4411;p104"/>
            <p:cNvSpPr/>
            <p:nvPr/>
          </p:nvSpPr>
          <p:spPr>
            <a:xfrm>
              <a:off x="2152958" y="1646478"/>
              <a:ext cx="353" cy="54"/>
            </a:xfrm>
            <a:custGeom>
              <a:avLst/>
              <a:gdLst/>
              <a:ahLst/>
              <a:cxnLst/>
              <a:rect l="l" t="t" r="r" b="b"/>
              <a:pathLst>
                <a:path w="26" h="4" extrusionOk="0">
                  <a:moveTo>
                    <a:pt x="1" y="0"/>
                  </a:moveTo>
                  <a:lnTo>
                    <a:pt x="25" y="4"/>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412" name="Google Shape;4412;p104"/>
            <p:cNvSpPr/>
            <p:nvPr/>
          </p:nvSpPr>
          <p:spPr>
            <a:xfrm>
              <a:off x="2155864" y="1646614"/>
              <a:ext cx="299" cy="14"/>
            </a:xfrm>
            <a:custGeom>
              <a:avLst/>
              <a:gdLst/>
              <a:ahLst/>
              <a:cxnLst/>
              <a:rect l="l" t="t" r="r" b="b"/>
              <a:pathLst>
                <a:path w="22" h="1" extrusionOk="0">
                  <a:moveTo>
                    <a:pt x="0" y="1"/>
                  </a:moveTo>
                  <a:lnTo>
                    <a:pt x="21"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413" name="Google Shape;4413;p104"/>
            <p:cNvSpPr/>
            <p:nvPr/>
          </p:nvSpPr>
          <p:spPr>
            <a:xfrm>
              <a:off x="2152768" y="1646423"/>
              <a:ext cx="109" cy="14"/>
            </a:xfrm>
            <a:custGeom>
              <a:avLst/>
              <a:gdLst/>
              <a:ahLst/>
              <a:cxnLst/>
              <a:rect l="l" t="t" r="r" b="b"/>
              <a:pathLst>
                <a:path w="8" h="1" extrusionOk="0">
                  <a:moveTo>
                    <a:pt x="1" y="1"/>
                  </a:moveTo>
                  <a:lnTo>
                    <a:pt x="1" y="1"/>
                  </a:lnTo>
                  <a:lnTo>
                    <a:pt x="8"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414" name="Google Shape;4414;p104"/>
            <p:cNvSpPr/>
            <p:nvPr/>
          </p:nvSpPr>
          <p:spPr>
            <a:xfrm>
              <a:off x="2173637" y="1639417"/>
              <a:ext cx="38709" cy="14569"/>
            </a:xfrm>
            <a:custGeom>
              <a:avLst/>
              <a:gdLst/>
              <a:ahLst/>
              <a:cxnLst/>
              <a:rect l="l" t="t" r="r" b="b"/>
              <a:pathLst>
                <a:path w="2851" h="1073" extrusionOk="0">
                  <a:moveTo>
                    <a:pt x="1262" y="0"/>
                  </a:moveTo>
                  <a:cubicBezTo>
                    <a:pt x="1246" y="0"/>
                    <a:pt x="1220" y="12"/>
                    <a:pt x="1194" y="27"/>
                  </a:cubicBezTo>
                  <a:cubicBezTo>
                    <a:pt x="1154" y="44"/>
                    <a:pt x="1104" y="68"/>
                    <a:pt x="1047" y="68"/>
                  </a:cubicBezTo>
                  <a:cubicBezTo>
                    <a:pt x="1015" y="68"/>
                    <a:pt x="981" y="61"/>
                    <a:pt x="946" y="41"/>
                  </a:cubicBezTo>
                  <a:cubicBezTo>
                    <a:pt x="935" y="34"/>
                    <a:pt x="928" y="27"/>
                    <a:pt x="918" y="23"/>
                  </a:cubicBezTo>
                  <a:cubicBezTo>
                    <a:pt x="911" y="16"/>
                    <a:pt x="900" y="9"/>
                    <a:pt x="893" y="2"/>
                  </a:cubicBezTo>
                  <a:lnTo>
                    <a:pt x="876" y="9"/>
                  </a:lnTo>
                  <a:lnTo>
                    <a:pt x="865" y="16"/>
                  </a:lnTo>
                  <a:lnTo>
                    <a:pt x="830" y="41"/>
                  </a:lnTo>
                  <a:lnTo>
                    <a:pt x="816" y="48"/>
                  </a:lnTo>
                  <a:lnTo>
                    <a:pt x="792" y="69"/>
                  </a:lnTo>
                  <a:lnTo>
                    <a:pt x="778" y="79"/>
                  </a:lnTo>
                  <a:lnTo>
                    <a:pt x="753" y="97"/>
                  </a:lnTo>
                  <a:lnTo>
                    <a:pt x="743" y="111"/>
                  </a:lnTo>
                  <a:lnTo>
                    <a:pt x="718" y="128"/>
                  </a:lnTo>
                  <a:lnTo>
                    <a:pt x="708" y="142"/>
                  </a:lnTo>
                  <a:cubicBezTo>
                    <a:pt x="701" y="149"/>
                    <a:pt x="694" y="156"/>
                    <a:pt x="687" y="163"/>
                  </a:cubicBezTo>
                  <a:lnTo>
                    <a:pt x="676" y="177"/>
                  </a:lnTo>
                  <a:cubicBezTo>
                    <a:pt x="666" y="188"/>
                    <a:pt x="655" y="202"/>
                    <a:pt x="648" y="212"/>
                  </a:cubicBezTo>
                  <a:cubicBezTo>
                    <a:pt x="484" y="443"/>
                    <a:pt x="253" y="475"/>
                    <a:pt x="99" y="499"/>
                  </a:cubicBezTo>
                  <a:lnTo>
                    <a:pt x="78" y="499"/>
                  </a:lnTo>
                  <a:lnTo>
                    <a:pt x="74" y="503"/>
                  </a:lnTo>
                  <a:lnTo>
                    <a:pt x="67" y="506"/>
                  </a:lnTo>
                  <a:lnTo>
                    <a:pt x="57" y="517"/>
                  </a:lnTo>
                  <a:cubicBezTo>
                    <a:pt x="53" y="520"/>
                    <a:pt x="50" y="524"/>
                    <a:pt x="46" y="527"/>
                  </a:cubicBezTo>
                  <a:cubicBezTo>
                    <a:pt x="43" y="534"/>
                    <a:pt x="36" y="538"/>
                    <a:pt x="32" y="545"/>
                  </a:cubicBezTo>
                  <a:lnTo>
                    <a:pt x="32" y="548"/>
                  </a:lnTo>
                  <a:cubicBezTo>
                    <a:pt x="29" y="555"/>
                    <a:pt x="22" y="562"/>
                    <a:pt x="18" y="573"/>
                  </a:cubicBezTo>
                  <a:cubicBezTo>
                    <a:pt x="11" y="583"/>
                    <a:pt x="4" y="594"/>
                    <a:pt x="1" y="604"/>
                  </a:cubicBezTo>
                  <a:cubicBezTo>
                    <a:pt x="39" y="713"/>
                    <a:pt x="92" y="814"/>
                    <a:pt x="158" y="912"/>
                  </a:cubicBezTo>
                  <a:cubicBezTo>
                    <a:pt x="169" y="930"/>
                    <a:pt x="186" y="951"/>
                    <a:pt x="200" y="968"/>
                  </a:cubicBezTo>
                  <a:cubicBezTo>
                    <a:pt x="207" y="975"/>
                    <a:pt x="214" y="982"/>
                    <a:pt x="221" y="986"/>
                  </a:cubicBezTo>
                  <a:cubicBezTo>
                    <a:pt x="267" y="1028"/>
                    <a:pt x="375" y="1059"/>
                    <a:pt x="498" y="1070"/>
                  </a:cubicBezTo>
                  <a:cubicBezTo>
                    <a:pt x="526" y="1072"/>
                    <a:pt x="555" y="1072"/>
                    <a:pt x="583" y="1072"/>
                  </a:cubicBezTo>
                  <a:cubicBezTo>
                    <a:pt x="612" y="1072"/>
                    <a:pt x="641" y="1072"/>
                    <a:pt x="669" y="1070"/>
                  </a:cubicBezTo>
                  <a:cubicBezTo>
                    <a:pt x="785" y="1059"/>
                    <a:pt x="837" y="1038"/>
                    <a:pt x="851" y="1024"/>
                  </a:cubicBezTo>
                  <a:cubicBezTo>
                    <a:pt x="869" y="811"/>
                    <a:pt x="1488" y="790"/>
                    <a:pt x="1495" y="790"/>
                  </a:cubicBezTo>
                  <a:cubicBezTo>
                    <a:pt x="1537" y="786"/>
                    <a:pt x="1677" y="674"/>
                    <a:pt x="1754" y="615"/>
                  </a:cubicBezTo>
                  <a:cubicBezTo>
                    <a:pt x="1888" y="508"/>
                    <a:pt x="1949" y="464"/>
                    <a:pt x="1996" y="464"/>
                  </a:cubicBezTo>
                  <a:cubicBezTo>
                    <a:pt x="2005" y="464"/>
                    <a:pt x="2013" y="465"/>
                    <a:pt x="2021" y="468"/>
                  </a:cubicBezTo>
                  <a:cubicBezTo>
                    <a:pt x="2031" y="471"/>
                    <a:pt x="2066" y="478"/>
                    <a:pt x="2094" y="485"/>
                  </a:cubicBezTo>
                  <a:cubicBezTo>
                    <a:pt x="2283" y="527"/>
                    <a:pt x="2476" y="573"/>
                    <a:pt x="2553" y="646"/>
                  </a:cubicBezTo>
                  <a:lnTo>
                    <a:pt x="2556" y="650"/>
                  </a:lnTo>
                  <a:lnTo>
                    <a:pt x="2563" y="657"/>
                  </a:lnTo>
                  <a:lnTo>
                    <a:pt x="2574" y="660"/>
                  </a:lnTo>
                  <a:lnTo>
                    <a:pt x="2577" y="660"/>
                  </a:lnTo>
                  <a:lnTo>
                    <a:pt x="2591" y="667"/>
                  </a:lnTo>
                  <a:lnTo>
                    <a:pt x="2609" y="674"/>
                  </a:lnTo>
                  <a:lnTo>
                    <a:pt x="2616" y="678"/>
                  </a:lnTo>
                  <a:lnTo>
                    <a:pt x="2637" y="685"/>
                  </a:lnTo>
                  <a:lnTo>
                    <a:pt x="2644" y="688"/>
                  </a:lnTo>
                  <a:lnTo>
                    <a:pt x="2675" y="699"/>
                  </a:lnTo>
                  <a:lnTo>
                    <a:pt x="2679" y="699"/>
                  </a:lnTo>
                  <a:lnTo>
                    <a:pt x="2679" y="695"/>
                  </a:lnTo>
                  <a:cubicBezTo>
                    <a:pt x="2675" y="685"/>
                    <a:pt x="2672" y="674"/>
                    <a:pt x="2668" y="664"/>
                  </a:cubicBezTo>
                  <a:lnTo>
                    <a:pt x="2668" y="653"/>
                  </a:lnTo>
                  <a:cubicBezTo>
                    <a:pt x="2665" y="643"/>
                    <a:pt x="2665" y="632"/>
                    <a:pt x="2665" y="618"/>
                  </a:cubicBezTo>
                  <a:cubicBezTo>
                    <a:pt x="2665" y="611"/>
                    <a:pt x="2665" y="604"/>
                    <a:pt x="2665" y="597"/>
                  </a:cubicBezTo>
                  <a:lnTo>
                    <a:pt x="2665" y="590"/>
                  </a:lnTo>
                  <a:cubicBezTo>
                    <a:pt x="2665" y="587"/>
                    <a:pt x="2668" y="580"/>
                    <a:pt x="2668" y="573"/>
                  </a:cubicBezTo>
                  <a:lnTo>
                    <a:pt x="2668" y="562"/>
                  </a:lnTo>
                  <a:cubicBezTo>
                    <a:pt x="2672" y="555"/>
                    <a:pt x="2675" y="548"/>
                    <a:pt x="2679" y="538"/>
                  </a:cubicBezTo>
                  <a:cubicBezTo>
                    <a:pt x="2682" y="531"/>
                    <a:pt x="2686" y="520"/>
                    <a:pt x="2689" y="510"/>
                  </a:cubicBezTo>
                  <a:lnTo>
                    <a:pt x="2693" y="503"/>
                  </a:lnTo>
                  <a:lnTo>
                    <a:pt x="2703" y="478"/>
                  </a:lnTo>
                  <a:lnTo>
                    <a:pt x="2707" y="471"/>
                  </a:lnTo>
                  <a:lnTo>
                    <a:pt x="2724" y="443"/>
                  </a:lnTo>
                  <a:lnTo>
                    <a:pt x="2724" y="440"/>
                  </a:lnTo>
                  <a:lnTo>
                    <a:pt x="2742" y="412"/>
                  </a:lnTo>
                  <a:lnTo>
                    <a:pt x="2745" y="401"/>
                  </a:lnTo>
                  <a:lnTo>
                    <a:pt x="2759" y="380"/>
                  </a:lnTo>
                  <a:lnTo>
                    <a:pt x="2766" y="370"/>
                  </a:lnTo>
                  <a:lnTo>
                    <a:pt x="2784" y="345"/>
                  </a:lnTo>
                  <a:lnTo>
                    <a:pt x="2784" y="342"/>
                  </a:lnTo>
                  <a:lnTo>
                    <a:pt x="2805" y="314"/>
                  </a:lnTo>
                  <a:lnTo>
                    <a:pt x="2808" y="303"/>
                  </a:lnTo>
                  <a:lnTo>
                    <a:pt x="2826" y="286"/>
                  </a:lnTo>
                  <a:lnTo>
                    <a:pt x="2829" y="275"/>
                  </a:lnTo>
                  <a:lnTo>
                    <a:pt x="2847" y="258"/>
                  </a:lnTo>
                  <a:lnTo>
                    <a:pt x="2850" y="251"/>
                  </a:lnTo>
                  <a:lnTo>
                    <a:pt x="2833" y="247"/>
                  </a:lnTo>
                  <a:lnTo>
                    <a:pt x="2826" y="247"/>
                  </a:lnTo>
                  <a:lnTo>
                    <a:pt x="2798" y="244"/>
                  </a:lnTo>
                  <a:lnTo>
                    <a:pt x="2791" y="244"/>
                  </a:lnTo>
                  <a:lnTo>
                    <a:pt x="2735" y="230"/>
                  </a:lnTo>
                  <a:lnTo>
                    <a:pt x="2728" y="230"/>
                  </a:lnTo>
                  <a:lnTo>
                    <a:pt x="2714" y="226"/>
                  </a:lnTo>
                  <a:lnTo>
                    <a:pt x="2707" y="226"/>
                  </a:lnTo>
                  <a:lnTo>
                    <a:pt x="2693" y="223"/>
                  </a:lnTo>
                  <a:lnTo>
                    <a:pt x="2686" y="219"/>
                  </a:lnTo>
                  <a:lnTo>
                    <a:pt x="2675" y="216"/>
                  </a:lnTo>
                  <a:lnTo>
                    <a:pt x="2672" y="216"/>
                  </a:lnTo>
                  <a:lnTo>
                    <a:pt x="2661" y="212"/>
                  </a:lnTo>
                  <a:lnTo>
                    <a:pt x="2658" y="212"/>
                  </a:lnTo>
                  <a:lnTo>
                    <a:pt x="2647" y="205"/>
                  </a:lnTo>
                  <a:lnTo>
                    <a:pt x="2640" y="205"/>
                  </a:lnTo>
                  <a:lnTo>
                    <a:pt x="2637" y="202"/>
                  </a:lnTo>
                  <a:lnTo>
                    <a:pt x="2623" y="202"/>
                  </a:lnTo>
                  <a:lnTo>
                    <a:pt x="2619" y="198"/>
                  </a:lnTo>
                  <a:lnTo>
                    <a:pt x="2616" y="198"/>
                  </a:lnTo>
                  <a:lnTo>
                    <a:pt x="2612" y="195"/>
                  </a:lnTo>
                  <a:lnTo>
                    <a:pt x="2609" y="191"/>
                  </a:lnTo>
                  <a:cubicBezTo>
                    <a:pt x="2577" y="160"/>
                    <a:pt x="2407" y="101"/>
                    <a:pt x="2249" y="101"/>
                  </a:cubicBezTo>
                  <a:cubicBezTo>
                    <a:pt x="2230" y="101"/>
                    <a:pt x="2211" y="102"/>
                    <a:pt x="2192" y="104"/>
                  </a:cubicBezTo>
                  <a:lnTo>
                    <a:pt x="2182" y="104"/>
                  </a:lnTo>
                  <a:cubicBezTo>
                    <a:pt x="2172" y="104"/>
                    <a:pt x="2163" y="104"/>
                    <a:pt x="2154" y="104"/>
                  </a:cubicBezTo>
                  <a:cubicBezTo>
                    <a:pt x="2089" y="104"/>
                    <a:pt x="2022" y="93"/>
                    <a:pt x="1961" y="72"/>
                  </a:cubicBezTo>
                  <a:cubicBezTo>
                    <a:pt x="1921" y="61"/>
                    <a:pt x="1887" y="51"/>
                    <a:pt x="1854" y="51"/>
                  </a:cubicBezTo>
                  <a:cubicBezTo>
                    <a:pt x="1835" y="51"/>
                    <a:pt x="1816" y="54"/>
                    <a:pt x="1796" y="62"/>
                  </a:cubicBezTo>
                  <a:cubicBezTo>
                    <a:pt x="1746" y="81"/>
                    <a:pt x="1686" y="89"/>
                    <a:pt x="1626" y="89"/>
                  </a:cubicBezTo>
                  <a:cubicBezTo>
                    <a:pt x="1489" y="89"/>
                    <a:pt x="1344" y="48"/>
                    <a:pt x="1271" y="2"/>
                  </a:cubicBezTo>
                  <a:cubicBezTo>
                    <a:pt x="1269" y="1"/>
                    <a:pt x="1266" y="0"/>
                    <a:pt x="1262"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415" name="Google Shape;4415;p104"/>
            <p:cNvSpPr/>
            <p:nvPr/>
          </p:nvSpPr>
          <p:spPr>
            <a:xfrm>
              <a:off x="2211667" y="1642866"/>
              <a:ext cx="54" cy="14"/>
            </a:xfrm>
            <a:custGeom>
              <a:avLst/>
              <a:gdLst/>
              <a:ahLst/>
              <a:cxnLst/>
              <a:rect l="l" t="t" r="r" b="b"/>
              <a:pathLst>
                <a:path w="4" h="1" extrusionOk="0">
                  <a:moveTo>
                    <a:pt x="0" y="0"/>
                  </a:moveTo>
                  <a:lnTo>
                    <a:pt x="4"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416" name="Google Shape;4416;p104"/>
            <p:cNvSpPr/>
            <p:nvPr/>
          </p:nvSpPr>
          <p:spPr>
            <a:xfrm>
              <a:off x="2209332" y="1642147"/>
              <a:ext cx="68" cy="14"/>
            </a:xfrm>
            <a:custGeom>
              <a:avLst/>
              <a:gdLst/>
              <a:ahLst/>
              <a:cxnLst/>
              <a:rect l="l" t="t" r="r" b="b"/>
              <a:pathLst>
                <a:path w="5" h="1" extrusionOk="0">
                  <a:moveTo>
                    <a:pt x="1" y="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417" name="Google Shape;4417;p104"/>
            <p:cNvSpPr/>
            <p:nvPr/>
          </p:nvSpPr>
          <p:spPr>
            <a:xfrm>
              <a:off x="2200343" y="1640341"/>
              <a:ext cx="3014" cy="489"/>
            </a:xfrm>
            <a:custGeom>
              <a:avLst/>
              <a:gdLst/>
              <a:ahLst/>
              <a:cxnLst/>
              <a:rect l="l" t="t" r="r" b="b"/>
              <a:pathLst>
                <a:path w="222" h="36" extrusionOk="0">
                  <a:moveTo>
                    <a:pt x="222" y="32"/>
                  </a:moveTo>
                  <a:cubicBezTo>
                    <a:pt x="145" y="36"/>
                    <a:pt x="71" y="25"/>
                    <a:pt x="1" y="1"/>
                  </a:cubicBezTo>
                  <a:cubicBezTo>
                    <a:pt x="71" y="25"/>
                    <a:pt x="145" y="36"/>
                    <a:pt x="222" y="32"/>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418" name="Google Shape;4418;p104"/>
            <p:cNvSpPr/>
            <p:nvPr/>
          </p:nvSpPr>
          <p:spPr>
            <a:xfrm>
              <a:off x="2212088" y="1642961"/>
              <a:ext cx="109" cy="14"/>
            </a:xfrm>
            <a:custGeom>
              <a:avLst/>
              <a:gdLst/>
              <a:ahLst/>
              <a:cxnLst/>
              <a:rect l="l" t="t" r="r" b="b"/>
              <a:pathLst>
                <a:path w="8" h="1" extrusionOk="0">
                  <a:moveTo>
                    <a:pt x="1" y="0"/>
                  </a:moveTo>
                  <a:lnTo>
                    <a:pt x="8"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419" name="Google Shape;4419;p104"/>
            <p:cNvSpPr/>
            <p:nvPr/>
          </p:nvSpPr>
          <p:spPr>
            <a:xfrm>
              <a:off x="2209807" y="1642337"/>
              <a:ext cx="68" cy="14"/>
            </a:xfrm>
            <a:custGeom>
              <a:avLst/>
              <a:gdLst/>
              <a:ahLst/>
              <a:cxnLst/>
              <a:rect l="l" t="t" r="r" b="b"/>
              <a:pathLst>
                <a:path w="5" h="1" extrusionOk="0">
                  <a:moveTo>
                    <a:pt x="1" y="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420" name="Google Shape;4420;p104"/>
            <p:cNvSpPr/>
            <p:nvPr/>
          </p:nvSpPr>
          <p:spPr>
            <a:xfrm>
              <a:off x="2209481" y="1642201"/>
              <a:ext cx="54" cy="14"/>
            </a:xfrm>
            <a:custGeom>
              <a:avLst/>
              <a:gdLst/>
              <a:ahLst/>
              <a:cxnLst/>
              <a:rect l="l" t="t" r="r" b="b"/>
              <a:pathLst>
                <a:path w="4" h="1" extrusionOk="0">
                  <a:moveTo>
                    <a:pt x="0" y="0"/>
                  </a:moveTo>
                  <a:lnTo>
                    <a:pt x="4"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421" name="Google Shape;4421;p104"/>
            <p:cNvSpPr/>
            <p:nvPr/>
          </p:nvSpPr>
          <p:spPr>
            <a:xfrm>
              <a:off x="2209576" y="1642242"/>
              <a:ext cx="54" cy="14"/>
            </a:xfrm>
            <a:custGeom>
              <a:avLst/>
              <a:gdLst/>
              <a:ahLst/>
              <a:cxnLst/>
              <a:rect l="l" t="t" r="r" b="b"/>
              <a:pathLst>
                <a:path w="4" h="1" extrusionOk="0">
                  <a:moveTo>
                    <a:pt x="0" y="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422" name="Google Shape;4422;p104"/>
            <p:cNvSpPr/>
            <p:nvPr/>
          </p:nvSpPr>
          <p:spPr>
            <a:xfrm>
              <a:off x="2209291" y="1642051"/>
              <a:ext cx="14" cy="14"/>
            </a:xfrm>
            <a:custGeom>
              <a:avLst/>
              <a:gdLst/>
              <a:ahLst/>
              <a:cxnLst/>
              <a:rect l="l" t="t" r="r" b="b"/>
              <a:pathLst>
                <a:path w="1" h="1" extrusionOk="0">
                  <a:moveTo>
                    <a:pt x="0"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423" name="Google Shape;4423;p104"/>
            <p:cNvSpPr/>
            <p:nvPr/>
          </p:nvSpPr>
          <p:spPr>
            <a:xfrm>
              <a:off x="2209956" y="1642432"/>
              <a:ext cx="109" cy="68"/>
            </a:xfrm>
            <a:custGeom>
              <a:avLst/>
              <a:gdLst/>
              <a:ahLst/>
              <a:cxnLst/>
              <a:rect l="l" t="t" r="r" b="b"/>
              <a:pathLst>
                <a:path w="8" h="5" extrusionOk="0">
                  <a:moveTo>
                    <a:pt x="0" y="1"/>
                  </a:moveTo>
                  <a:lnTo>
                    <a:pt x="7" y="4"/>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424" name="Google Shape;4424;p104"/>
            <p:cNvSpPr/>
            <p:nvPr/>
          </p:nvSpPr>
          <p:spPr>
            <a:xfrm>
              <a:off x="2185802" y="1639390"/>
              <a:ext cx="353" cy="258"/>
            </a:xfrm>
            <a:custGeom>
              <a:avLst/>
              <a:gdLst/>
              <a:ahLst/>
              <a:cxnLst/>
              <a:rect l="l" t="t" r="r" b="b"/>
              <a:pathLst>
                <a:path w="26" h="19" extrusionOk="0">
                  <a:moveTo>
                    <a:pt x="25" y="18"/>
                  </a:moveTo>
                  <a:cubicBezTo>
                    <a:pt x="18" y="11"/>
                    <a:pt x="8" y="8"/>
                    <a:pt x="1" y="1"/>
                  </a:cubicBezTo>
                  <a:lnTo>
                    <a:pt x="1" y="1"/>
                  </a:lnTo>
                  <a:cubicBezTo>
                    <a:pt x="8" y="8"/>
                    <a:pt x="18" y="11"/>
                    <a:pt x="25" y="18"/>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425" name="Google Shape;4425;p104"/>
            <p:cNvSpPr/>
            <p:nvPr/>
          </p:nvSpPr>
          <p:spPr>
            <a:xfrm>
              <a:off x="2209196" y="1642011"/>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426" name="Google Shape;4426;p104"/>
            <p:cNvSpPr/>
            <p:nvPr/>
          </p:nvSpPr>
          <p:spPr>
            <a:xfrm>
              <a:off x="2210187" y="1642486"/>
              <a:ext cx="109" cy="54"/>
            </a:xfrm>
            <a:custGeom>
              <a:avLst/>
              <a:gdLst/>
              <a:ahLst/>
              <a:cxnLst/>
              <a:rect l="l" t="t" r="r" b="b"/>
              <a:pathLst>
                <a:path w="8" h="4" extrusionOk="0">
                  <a:moveTo>
                    <a:pt x="1" y="0"/>
                  </a:moveTo>
                  <a:lnTo>
                    <a:pt x="8" y="4"/>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427" name="Google Shape;4427;p104"/>
            <p:cNvSpPr/>
            <p:nvPr/>
          </p:nvSpPr>
          <p:spPr>
            <a:xfrm>
              <a:off x="2210472" y="1642581"/>
              <a:ext cx="109" cy="54"/>
            </a:xfrm>
            <a:custGeom>
              <a:avLst/>
              <a:gdLst/>
              <a:ahLst/>
              <a:cxnLst/>
              <a:rect l="l" t="t" r="r" b="b"/>
              <a:pathLst>
                <a:path w="8" h="4" extrusionOk="0">
                  <a:moveTo>
                    <a:pt x="1" y="0"/>
                  </a:moveTo>
                  <a:lnTo>
                    <a:pt x="8" y="4"/>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428" name="Google Shape;4428;p104"/>
            <p:cNvSpPr/>
            <p:nvPr/>
          </p:nvSpPr>
          <p:spPr>
            <a:xfrm>
              <a:off x="2198062" y="1640056"/>
              <a:ext cx="2295" cy="299"/>
            </a:xfrm>
            <a:custGeom>
              <a:avLst/>
              <a:gdLst/>
              <a:ahLst/>
              <a:cxnLst/>
              <a:rect l="l" t="t" r="r" b="b"/>
              <a:pathLst>
                <a:path w="169" h="22" extrusionOk="0">
                  <a:moveTo>
                    <a:pt x="58" y="1"/>
                  </a:moveTo>
                  <a:cubicBezTo>
                    <a:pt x="40" y="1"/>
                    <a:pt x="21" y="4"/>
                    <a:pt x="1" y="11"/>
                  </a:cubicBezTo>
                  <a:cubicBezTo>
                    <a:pt x="22" y="4"/>
                    <a:pt x="41" y="1"/>
                    <a:pt x="60" y="1"/>
                  </a:cubicBezTo>
                  <a:lnTo>
                    <a:pt x="60" y="1"/>
                  </a:lnTo>
                  <a:cubicBezTo>
                    <a:pt x="93" y="1"/>
                    <a:pt x="127" y="10"/>
                    <a:pt x="169" y="22"/>
                  </a:cubicBezTo>
                  <a:cubicBezTo>
                    <a:pt x="129" y="10"/>
                    <a:pt x="95" y="1"/>
                    <a:pt x="61" y="1"/>
                  </a:cubicBezTo>
                  <a:cubicBezTo>
                    <a:pt x="60" y="1"/>
                    <a:pt x="60" y="1"/>
                    <a:pt x="60" y="1"/>
                  </a:cubicBezTo>
                  <a:lnTo>
                    <a:pt x="60" y="1"/>
                  </a:lnTo>
                  <a:cubicBezTo>
                    <a:pt x="59" y="1"/>
                    <a:pt x="59" y="1"/>
                    <a:pt x="58" y="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429" name="Google Shape;4429;p104"/>
            <p:cNvSpPr/>
            <p:nvPr/>
          </p:nvSpPr>
          <p:spPr>
            <a:xfrm>
              <a:off x="2210757" y="1642676"/>
              <a:ext cx="109" cy="14"/>
            </a:xfrm>
            <a:custGeom>
              <a:avLst/>
              <a:gdLst/>
              <a:ahLst/>
              <a:cxnLst/>
              <a:rect l="l" t="t" r="r" b="b"/>
              <a:pathLst>
                <a:path w="8" h="1" extrusionOk="0">
                  <a:moveTo>
                    <a:pt x="1" y="0"/>
                  </a:moveTo>
                  <a:lnTo>
                    <a:pt x="8"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430" name="Google Shape;4430;p104"/>
            <p:cNvSpPr/>
            <p:nvPr/>
          </p:nvSpPr>
          <p:spPr>
            <a:xfrm>
              <a:off x="2173501" y="1647713"/>
              <a:ext cx="2145" cy="4195"/>
            </a:xfrm>
            <a:custGeom>
              <a:avLst/>
              <a:gdLst/>
              <a:ahLst/>
              <a:cxnLst/>
              <a:rect l="l" t="t" r="r" b="b"/>
              <a:pathLst>
                <a:path w="158" h="309" extrusionOk="0">
                  <a:moveTo>
                    <a:pt x="0" y="0"/>
                  </a:moveTo>
                  <a:lnTo>
                    <a:pt x="0" y="0"/>
                  </a:lnTo>
                  <a:cubicBezTo>
                    <a:pt x="9" y="24"/>
                    <a:pt x="19" y="48"/>
                    <a:pt x="29" y="71"/>
                  </a:cubicBezTo>
                  <a:lnTo>
                    <a:pt x="29" y="71"/>
                  </a:lnTo>
                  <a:cubicBezTo>
                    <a:pt x="19" y="48"/>
                    <a:pt x="9" y="24"/>
                    <a:pt x="0" y="0"/>
                  </a:cubicBezTo>
                  <a:close/>
                  <a:moveTo>
                    <a:pt x="29" y="71"/>
                  </a:moveTo>
                  <a:cubicBezTo>
                    <a:pt x="61" y="144"/>
                    <a:pt x="97" y="214"/>
                    <a:pt x="137" y="280"/>
                  </a:cubicBezTo>
                  <a:lnTo>
                    <a:pt x="158" y="308"/>
                  </a:lnTo>
                  <a:cubicBezTo>
                    <a:pt x="108" y="232"/>
                    <a:pt x="66" y="153"/>
                    <a:pt x="29" y="7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431" name="Google Shape;4431;p104"/>
            <p:cNvSpPr/>
            <p:nvPr/>
          </p:nvSpPr>
          <p:spPr>
            <a:xfrm>
              <a:off x="2208286" y="1648379"/>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432" name="Google Shape;4432;p104"/>
            <p:cNvSpPr/>
            <p:nvPr/>
          </p:nvSpPr>
          <p:spPr>
            <a:xfrm>
              <a:off x="2208191" y="1648324"/>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433" name="Google Shape;4433;p104"/>
            <p:cNvSpPr/>
            <p:nvPr/>
          </p:nvSpPr>
          <p:spPr>
            <a:xfrm>
              <a:off x="2209956" y="1649085"/>
              <a:ext cx="54" cy="14"/>
            </a:xfrm>
            <a:custGeom>
              <a:avLst/>
              <a:gdLst/>
              <a:ahLst/>
              <a:cxnLst/>
              <a:rect l="l" t="t" r="r" b="b"/>
              <a:pathLst>
                <a:path w="4" h="1" extrusionOk="0">
                  <a:moveTo>
                    <a:pt x="4"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434" name="Google Shape;4434;p104"/>
            <p:cNvSpPr/>
            <p:nvPr/>
          </p:nvSpPr>
          <p:spPr>
            <a:xfrm>
              <a:off x="2209427" y="1648895"/>
              <a:ext cx="109" cy="68"/>
            </a:xfrm>
            <a:custGeom>
              <a:avLst/>
              <a:gdLst/>
              <a:ahLst/>
              <a:cxnLst/>
              <a:rect l="l" t="t" r="r" b="b"/>
              <a:pathLst>
                <a:path w="8" h="5" extrusionOk="0">
                  <a:moveTo>
                    <a:pt x="1" y="1"/>
                  </a:moveTo>
                  <a:lnTo>
                    <a:pt x="8" y="4"/>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435" name="Google Shape;4435;p104"/>
            <p:cNvSpPr/>
            <p:nvPr/>
          </p:nvSpPr>
          <p:spPr>
            <a:xfrm>
              <a:off x="2208381" y="1648474"/>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436" name="Google Shape;4436;p104"/>
            <p:cNvSpPr/>
            <p:nvPr/>
          </p:nvSpPr>
          <p:spPr>
            <a:xfrm>
              <a:off x="2175632" y="1651895"/>
              <a:ext cx="638" cy="774"/>
            </a:xfrm>
            <a:custGeom>
              <a:avLst/>
              <a:gdLst/>
              <a:ahLst/>
              <a:cxnLst/>
              <a:rect l="l" t="t" r="r" b="b"/>
              <a:pathLst>
                <a:path w="47" h="57" extrusionOk="0">
                  <a:moveTo>
                    <a:pt x="1" y="0"/>
                  </a:moveTo>
                  <a:cubicBezTo>
                    <a:pt x="6" y="8"/>
                    <a:pt x="11" y="16"/>
                    <a:pt x="17" y="23"/>
                  </a:cubicBezTo>
                  <a:lnTo>
                    <a:pt x="17" y="23"/>
                  </a:lnTo>
                  <a:lnTo>
                    <a:pt x="1" y="0"/>
                  </a:lnTo>
                  <a:close/>
                  <a:moveTo>
                    <a:pt x="17" y="23"/>
                  </a:moveTo>
                  <a:lnTo>
                    <a:pt x="18" y="25"/>
                  </a:lnTo>
                  <a:cubicBezTo>
                    <a:pt x="18" y="25"/>
                    <a:pt x="18" y="25"/>
                    <a:pt x="19" y="25"/>
                  </a:cubicBezTo>
                  <a:lnTo>
                    <a:pt x="19" y="25"/>
                  </a:lnTo>
                  <a:cubicBezTo>
                    <a:pt x="18" y="25"/>
                    <a:pt x="17" y="24"/>
                    <a:pt x="17" y="23"/>
                  </a:cubicBezTo>
                  <a:close/>
                  <a:moveTo>
                    <a:pt x="19" y="25"/>
                  </a:moveTo>
                  <a:lnTo>
                    <a:pt x="19" y="25"/>
                  </a:lnTo>
                  <a:cubicBezTo>
                    <a:pt x="27" y="36"/>
                    <a:pt x="36" y="46"/>
                    <a:pt x="46" y="56"/>
                  </a:cubicBezTo>
                  <a:cubicBezTo>
                    <a:pt x="36" y="46"/>
                    <a:pt x="29" y="36"/>
                    <a:pt x="19" y="25"/>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437" name="Google Shape;4437;p104"/>
            <p:cNvSpPr/>
            <p:nvPr/>
          </p:nvSpPr>
          <p:spPr>
            <a:xfrm>
              <a:off x="2208531" y="1648514"/>
              <a:ext cx="54" cy="14"/>
            </a:xfrm>
            <a:custGeom>
              <a:avLst/>
              <a:gdLst/>
              <a:ahLst/>
              <a:cxnLst/>
              <a:rect l="l" t="t" r="r" b="b"/>
              <a:pathLst>
                <a:path w="4" h="1" extrusionOk="0">
                  <a:moveTo>
                    <a:pt x="0" y="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438" name="Google Shape;4438;p104"/>
            <p:cNvSpPr/>
            <p:nvPr/>
          </p:nvSpPr>
          <p:spPr>
            <a:xfrm>
              <a:off x="2208816" y="1648664"/>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439" name="Google Shape;4439;p104"/>
            <p:cNvSpPr/>
            <p:nvPr/>
          </p:nvSpPr>
          <p:spPr>
            <a:xfrm>
              <a:off x="2209047" y="1648800"/>
              <a:ext cx="109" cy="14"/>
            </a:xfrm>
            <a:custGeom>
              <a:avLst/>
              <a:gdLst/>
              <a:ahLst/>
              <a:cxnLst/>
              <a:rect l="l" t="t" r="r" b="b"/>
              <a:pathLst>
                <a:path w="8" h="1" extrusionOk="0">
                  <a:moveTo>
                    <a:pt x="1" y="1"/>
                  </a:moveTo>
                  <a:lnTo>
                    <a:pt x="8"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440" name="Google Shape;4440;p104"/>
            <p:cNvSpPr/>
            <p:nvPr/>
          </p:nvSpPr>
          <p:spPr>
            <a:xfrm>
              <a:off x="2175402" y="1651515"/>
              <a:ext cx="530" cy="720"/>
            </a:xfrm>
            <a:custGeom>
              <a:avLst/>
              <a:gdLst/>
              <a:ahLst/>
              <a:cxnLst/>
              <a:rect l="l" t="t" r="r" b="b"/>
              <a:pathLst>
                <a:path w="39" h="53" extrusionOk="0">
                  <a:moveTo>
                    <a:pt x="0" y="0"/>
                  </a:moveTo>
                  <a:lnTo>
                    <a:pt x="0" y="0"/>
                  </a:lnTo>
                  <a:cubicBezTo>
                    <a:pt x="14" y="21"/>
                    <a:pt x="25" y="35"/>
                    <a:pt x="39" y="53"/>
                  </a:cubicBezTo>
                  <a:lnTo>
                    <a:pt x="21" y="28"/>
                  </a:lnTo>
                  <a:lnTo>
                    <a:pt x="0"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441" name="Google Shape;4441;p104"/>
            <p:cNvSpPr/>
            <p:nvPr/>
          </p:nvSpPr>
          <p:spPr>
            <a:xfrm>
              <a:off x="2174492" y="1646328"/>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442" name="Google Shape;4442;p104"/>
            <p:cNvSpPr/>
            <p:nvPr/>
          </p:nvSpPr>
          <p:spPr>
            <a:xfrm>
              <a:off x="2174356" y="1646478"/>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443" name="Google Shape;4443;p104"/>
            <p:cNvSpPr/>
            <p:nvPr/>
          </p:nvSpPr>
          <p:spPr>
            <a:xfrm>
              <a:off x="2174166" y="1646668"/>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444" name="Google Shape;4444;p104"/>
            <p:cNvSpPr/>
            <p:nvPr/>
          </p:nvSpPr>
          <p:spPr>
            <a:xfrm>
              <a:off x="2174587" y="1646233"/>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445" name="Google Shape;4445;p104"/>
            <p:cNvSpPr/>
            <p:nvPr/>
          </p:nvSpPr>
          <p:spPr>
            <a:xfrm>
              <a:off x="2173732" y="1647279"/>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446" name="Google Shape;4446;p104"/>
            <p:cNvSpPr/>
            <p:nvPr/>
          </p:nvSpPr>
          <p:spPr>
            <a:xfrm>
              <a:off x="2173976" y="1646899"/>
              <a:ext cx="14" cy="68"/>
            </a:xfrm>
            <a:custGeom>
              <a:avLst/>
              <a:gdLst/>
              <a:ahLst/>
              <a:cxnLst/>
              <a:rect l="l" t="t" r="r" b="b"/>
              <a:pathLst>
                <a:path w="1" h="5" extrusionOk="0">
                  <a:moveTo>
                    <a:pt x="0"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447" name="Google Shape;4447;p104"/>
            <p:cNvSpPr/>
            <p:nvPr/>
          </p:nvSpPr>
          <p:spPr>
            <a:xfrm>
              <a:off x="2182910" y="1641345"/>
              <a:ext cx="339" cy="339"/>
            </a:xfrm>
            <a:custGeom>
              <a:avLst/>
              <a:gdLst/>
              <a:ahLst/>
              <a:cxnLst/>
              <a:rect l="l" t="t" r="r" b="b"/>
              <a:pathLst>
                <a:path w="25" h="25" extrusionOk="0">
                  <a:moveTo>
                    <a:pt x="25" y="0"/>
                  </a:moveTo>
                  <a:cubicBezTo>
                    <a:pt x="14" y="7"/>
                    <a:pt x="7" y="14"/>
                    <a:pt x="0" y="25"/>
                  </a:cubicBezTo>
                  <a:cubicBezTo>
                    <a:pt x="7" y="14"/>
                    <a:pt x="18" y="7"/>
                    <a:pt x="25"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448" name="Google Shape;4448;p104"/>
            <p:cNvSpPr/>
            <p:nvPr/>
          </p:nvSpPr>
          <p:spPr>
            <a:xfrm>
              <a:off x="2174682" y="1646233"/>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449" name="Google Shape;4449;p104"/>
            <p:cNvSpPr/>
            <p:nvPr/>
          </p:nvSpPr>
          <p:spPr>
            <a:xfrm>
              <a:off x="2185517" y="1639390"/>
              <a:ext cx="299" cy="163"/>
            </a:xfrm>
            <a:custGeom>
              <a:avLst/>
              <a:gdLst/>
              <a:ahLst/>
              <a:cxnLst/>
              <a:rect l="l" t="t" r="r" b="b"/>
              <a:pathLst>
                <a:path w="22" h="12" extrusionOk="0">
                  <a:moveTo>
                    <a:pt x="22" y="1"/>
                  </a:moveTo>
                  <a:lnTo>
                    <a:pt x="1" y="11"/>
                  </a:lnTo>
                  <a:lnTo>
                    <a:pt x="22"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450" name="Google Shape;4450;p104"/>
            <p:cNvSpPr/>
            <p:nvPr/>
          </p:nvSpPr>
          <p:spPr>
            <a:xfrm>
              <a:off x="2184906" y="1639635"/>
              <a:ext cx="489" cy="339"/>
            </a:xfrm>
            <a:custGeom>
              <a:avLst/>
              <a:gdLst/>
              <a:ahLst/>
              <a:cxnLst/>
              <a:rect l="l" t="t" r="r" b="b"/>
              <a:pathLst>
                <a:path w="36" h="25" extrusionOk="0">
                  <a:moveTo>
                    <a:pt x="0" y="25"/>
                  </a:moveTo>
                  <a:lnTo>
                    <a:pt x="35"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451" name="Google Shape;4451;p104"/>
            <p:cNvSpPr/>
            <p:nvPr/>
          </p:nvSpPr>
          <p:spPr>
            <a:xfrm>
              <a:off x="2173501" y="1647713"/>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452" name="Google Shape;4452;p104"/>
            <p:cNvSpPr/>
            <p:nvPr/>
          </p:nvSpPr>
          <p:spPr>
            <a:xfrm>
              <a:off x="2184376" y="1640056"/>
              <a:ext cx="353" cy="299"/>
            </a:xfrm>
            <a:custGeom>
              <a:avLst/>
              <a:gdLst/>
              <a:ahLst/>
              <a:cxnLst/>
              <a:rect l="l" t="t" r="r" b="b"/>
              <a:pathLst>
                <a:path w="26" h="22" extrusionOk="0">
                  <a:moveTo>
                    <a:pt x="1" y="22"/>
                  </a:moveTo>
                  <a:lnTo>
                    <a:pt x="25"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453" name="Google Shape;4453;p104"/>
            <p:cNvSpPr/>
            <p:nvPr/>
          </p:nvSpPr>
          <p:spPr>
            <a:xfrm>
              <a:off x="2182380" y="1641821"/>
              <a:ext cx="394" cy="489"/>
            </a:xfrm>
            <a:custGeom>
              <a:avLst/>
              <a:gdLst/>
              <a:ahLst/>
              <a:cxnLst/>
              <a:rect l="l" t="t" r="r" b="b"/>
              <a:pathLst>
                <a:path w="29" h="36" extrusionOk="0">
                  <a:moveTo>
                    <a:pt x="1" y="35"/>
                  </a:moveTo>
                  <a:cubicBezTo>
                    <a:pt x="11" y="25"/>
                    <a:pt x="22" y="11"/>
                    <a:pt x="29" y="0"/>
                  </a:cubicBezTo>
                  <a:cubicBezTo>
                    <a:pt x="22" y="11"/>
                    <a:pt x="11" y="25"/>
                    <a:pt x="1" y="35"/>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454" name="Google Shape;4454;p104"/>
            <p:cNvSpPr/>
            <p:nvPr/>
          </p:nvSpPr>
          <p:spPr>
            <a:xfrm>
              <a:off x="2183860" y="1640490"/>
              <a:ext cx="339" cy="244"/>
            </a:xfrm>
            <a:custGeom>
              <a:avLst/>
              <a:gdLst/>
              <a:ahLst/>
              <a:cxnLst/>
              <a:rect l="l" t="t" r="r" b="b"/>
              <a:pathLst>
                <a:path w="25" h="18" extrusionOk="0">
                  <a:moveTo>
                    <a:pt x="0" y="18"/>
                  </a:moveTo>
                  <a:lnTo>
                    <a:pt x="25"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455" name="Google Shape;4455;p104"/>
            <p:cNvSpPr/>
            <p:nvPr/>
          </p:nvSpPr>
          <p:spPr>
            <a:xfrm>
              <a:off x="2183385" y="1640911"/>
              <a:ext cx="339" cy="258"/>
            </a:xfrm>
            <a:custGeom>
              <a:avLst/>
              <a:gdLst/>
              <a:ahLst/>
              <a:cxnLst/>
              <a:rect l="l" t="t" r="r" b="b"/>
              <a:pathLst>
                <a:path w="25" h="19" extrusionOk="0">
                  <a:moveTo>
                    <a:pt x="0" y="18"/>
                  </a:moveTo>
                  <a:lnTo>
                    <a:pt x="25"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456" name="Google Shape;4456;p104"/>
            <p:cNvSpPr/>
            <p:nvPr/>
          </p:nvSpPr>
          <p:spPr>
            <a:xfrm>
              <a:off x="2173501" y="1647754"/>
              <a:ext cx="14" cy="14"/>
            </a:xfrm>
            <a:custGeom>
              <a:avLst/>
              <a:gdLst/>
              <a:ahLst/>
              <a:cxnLst/>
              <a:rect l="l" t="t" r="r" b="b"/>
              <a:pathLst>
                <a:path w="1" h="1" extrusionOk="0">
                  <a:moveTo>
                    <a:pt x="0"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457" name="Google Shape;4457;p104"/>
            <p:cNvSpPr/>
            <p:nvPr/>
          </p:nvSpPr>
          <p:spPr>
            <a:xfrm>
              <a:off x="1977808" y="1708880"/>
              <a:ext cx="22865" cy="43584"/>
            </a:xfrm>
            <a:custGeom>
              <a:avLst/>
              <a:gdLst/>
              <a:ahLst/>
              <a:cxnLst/>
              <a:rect l="l" t="t" r="r" b="b"/>
              <a:pathLst>
                <a:path w="1684" h="3210" extrusionOk="0">
                  <a:moveTo>
                    <a:pt x="623" y="1"/>
                  </a:moveTo>
                  <a:cubicBezTo>
                    <a:pt x="592" y="11"/>
                    <a:pt x="567" y="32"/>
                    <a:pt x="550" y="60"/>
                  </a:cubicBezTo>
                  <a:cubicBezTo>
                    <a:pt x="543" y="67"/>
                    <a:pt x="536" y="74"/>
                    <a:pt x="525" y="81"/>
                  </a:cubicBezTo>
                  <a:lnTo>
                    <a:pt x="522" y="85"/>
                  </a:lnTo>
                  <a:cubicBezTo>
                    <a:pt x="511" y="92"/>
                    <a:pt x="504" y="99"/>
                    <a:pt x="494" y="106"/>
                  </a:cubicBezTo>
                  <a:lnTo>
                    <a:pt x="490" y="106"/>
                  </a:lnTo>
                  <a:cubicBezTo>
                    <a:pt x="480" y="113"/>
                    <a:pt x="469" y="116"/>
                    <a:pt x="459" y="120"/>
                  </a:cubicBezTo>
                  <a:lnTo>
                    <a:pt x="452" y="123"/>
                  </a:lnTo>
                  <a:cubicBezTo>
                    <a:pt x="441" y="127"/>
                    <a:pt x="427" y="130"/>
                    <a:pt x="417" y="134"/>
                  </a:cubicBezTo>
                  <a:lnTo>
                    <a:pt x="413" y="134"/>
                  </a:lnTo>
                  <a:cubicBezTo>
                    <a:pt x="403" y="246"/>
                    <a:pt x="392" y="368"/>
                    <a:pt x="420" y="414"/>
                  </a:cubicBezTo>
                  <a:cubicBezTo>
                    <a:pt x="553" y="624"/>
                    <a:pt x="294" y="1552"/>
                    <a:pt x="77" y="1800"/>
                  </a:cubicBezTo>
                  <a:cubicBezTo>
                    <a:pt x="25" y="1860"/>
                    <a:pt x="0" y="1909"/>
                    <a:pt x="4" y="1944"/>
                  </a:cubicBezTo>
                  <a:cubicBezTo>
                    <a:pt x="11" y="1993"/>
                    <a:pt x="84" y="2045"/>
                    <a:pt x="168" y="2105"/>
                  </a:cubicBezTo>
                  <a:cubicBezTo>
                    <a:pt x="203" y="2129"/>
                    <a:pt x="238" y="2154"/>
                    <a:pt x="277" y="2185"/>
                  </a:cubicBezTo>
                  <a:cubicBezTo>
                    <a:pt x="476" y="2339"/>
                    <a:pt x="424" y="2749"/>
                    <a:pt x="389" y="3022"/>
                  </a:cubicBezTo>
                  <a:cubicBezTo>
                    <a:pt x="382" y="3085"/>
                    <a:pt x="375" y="3138"/>
                    <a:pt x="375" y="3166"/>
                  </a:cubicBezTo>
                  <a:cubicBezTo>
                    <a:pt x="375" y="3183"/>
                    <a:pt x="378" y="3187"/>
                    <a:pt x="382" y="3190"/>
                  </a:cubicBezTo>
                  <a:cubicBezTo>
                    <a:pt x="397" y="3206"/>
                    <a:pt x="447" y="3210"/>
                    <a:pt x="505" y="3210"/>
                  </a:cubicBezTo>
                  <a:cubicBezTo>
                    <a:pt x="536" y="3210"/>
                    <a:pt x="570" y="3209"/>
                    <a:pt x="602" y="3208"/>
                  </a:cubicBezTo>
                  <a:cubicBezTo>
                    <a:pt x="644" y="3208"/>
                    <a:pt x="686" y="3204"/>
                    <a:pt x="728" y="3204"/>
                  </a:cubicBezTo>
                  <a:cubicBezTo>
                    <a:pt x="816" y="3201"/>
                    <a:pt x="900" y="3187"/>
                    <a:pt x="984" y="3162"/>
                  </a:cubicBezTo>
                  <a:lnTo>
                    <a:pt x="1061" y="3141"/>
                  </a:lnTo>
                  <a:lnTo>
                    <a:pt x="1061" y="3138"/>
                  </a:lnTo>
                  <a:cubicBezTo>
                    <a:pt x="1054" y="3127"/>
                    <a:pt x="1050" y="3117"/>
                    <a:pt x="1047" y="3106"/>
                  </a:cubicBezTo>
                  <a:lnTo>
                    <a:pt x="1043" y="3103"/>
                  </a:lnTo>
                  <a:cubicBezTo>
                    <a:pt x="1040" y="3092"/>
                    <a:pt x="1036" y="3082"/>
                    <a:pt x="1033" y="3071"/>
                  </a:cubicBezTo>
                  <a:lnTo>
                    <a:pt x="1029" y="3064"/>
                  </a:lnTo>
                  <a:cubicBezTo>
                    <a:pt x="1029" y="3057"/>
                    <a:pt x="1026" y="3050"/>
                    <a:pt x="1026" y="3043"/>
                  </a:cubicBezTo>
                  <a:lnTo>
                    <a:pt x="1026" y="3032"/>
                  </a:lnTo>
                  <a:cubicBezTo>
                    <a:pt x="1022" y="3025"/>
                    <a:pt x="1022" y="3015"/>
                    <a:pt x="1022" y="3008"/>
                  </a:cubicBezTo>
                  <a:cubicBezTo>
                    <a:pt x="1022" y="2896"/>
                    <a:pt x="1022" y="2658"/>
                    <a:pt x="1292" y="2609"/>
                  </a:cubicBezTo>
                  <a:cubicBezTo>
                    <a:pt x="1299" y="2609"/>
                    <a:pt x="1306" y="2605"/>
                    <a:pt x="1313" y="2605"/>
                  </a:cubicBezTo>
                  <a:cubicBezTo>
                    <a:pt x="1278" y="2563"/>
                    <a:pt x="1239" y="2525"/>
                    <a:pt x="1194" y="2490"/>
                  </a:cubicBezTo>
                  <a:cubicBezTo>
                    <a:pt x="1173" y="2472"/>
                    <a:pt x="1152" y="2458"/>
                    <a:pt x="1141" y="2444"/>
                  </a:cubicBezTo>
                  <a:cubicBezTo>
                    <a:pt x="1082" y="2388"/>
                    <a:pt x="1096" y="2276"/>
                    <a:pt x="1127" y="2203"/>
                  </a:cubicBezTo>
                  <a:cubicBezTo>
                    <a:pt x="1152" y="2126"/>
                    <a:pt x="1211" y="2066"/>
                    <a:pt x="1288" y="2042"/>
                  </a:cubicBezTo>
                  <a:cubicBezTo>
                    <a:pt x="1236" y="1975"/>
                    <a:pt x="1180" y="1912"/>
                    <a:pt x="1120" y="1853"/>
                  </a:cubicBezTo>
                  <a:cubicBezTo>
                    <a:pt x="1043" y="1779"/>
                    <a:pt x="1019" y="1706"/>
                    <a:pt x="1047" y="1643"/>
                  </a:cubicBezTo>
                  <a:cubicBezTo>
                    <a:pt x="1089" y="1541"/>
                    <a:pt x="1236" y="1527"/>
                    <a:pt x="1295" y="1527"/>
                  </a:cubicBezTo>
                  <a:cubicBezTo>
                    <a:pt x="1295" y="1510"/>
                    <a:pt x="1292" y="1489"/>
                    <a:pt x="1288" y="1471"/>
                  </a:cubicBezTo>
                  <a:lnTo>
                    <a:pt x="1288" y="1457"/>
                  </a:lnTo>
                  <a:cubicBezTo>
                    <a:pt x="1281" y="1373"/>
                    <a:pt x="1271" y="1261"/>
                    <a:pt x="1358" y="1170"/>
                  </a:cubicBezTo>
                  <a:cubicBezTo>
                    <a:pt x="1418" y="1111"/>
                    <a:pt x="1386" y="1006"/>
                    <a:pt x="1341" y="876"/>
                  </a:cubicBezTo>
                  <a:cubicBezTo>
                    <a:pt x="1320" y="823"/>
                    <a:pt x="1302" y="764"/>
                    <a:pt x="1299" y="708"/>
                  </a:cubicBezTo>
                  <a:cubicBezTo>
                    <a:pt x="1299" y="599"/>
                    <a:pt x="1390" y="543"/>
                    <a:pt x="1484" y="484"/>
                  </a:cubicBezTo>
                  <a:cubicBezTo>
                    <a:pt x="1551" y="445"/>
                    <a:pt x="1614" y="400"/>
                    <a:pt x="1673" y="344"/>
                  </a:cubicBezTo>
                  <a:lnTo>
                    <a:pt x="1684" y="330"/>
                  </a:lnTo>
                  <a:lnTo>
                    <a:pt x="1663" y="323"/>
                  </a:lnTo>
                  <a:cubicBezTo>
                    <a:pt x="1607" y="305"/>
                    <a:pt x="1516" y="274"/>
                    <a:pt x="1516" y="176"/>
                  </a:cubicBezTo>
                  <a:cubicBezTo>
                    <a:pt x="1516" y="169"/>
                    <a:pt x="1516" y="155"/>
                    <a:pt x="1488" y="141"/>
                  </a:cubicBezTo>
                  <a:cubicBezTo>
                    <a:pt x="1462" y="130"/>
                    <a:pt x="1435" y="125"/>
                    <a:pt x="1409" y="125"/>
                  </a:cubicBezTo>
                  <a:cubicBezTo>
                    <a:pt x="1364" y="125"/>
                    <a:pt x="1320" y="140"/>
                    <a:pt x="1285" y="169"/>
                  </a:cubicBezTo>
                  <a:cubicBezTo>
                    <a:pt x="1232" y="207"/>
                    <a:pt x="1192" y="226"/>
                    <a:pt x="1156" y="226"/>
                  </a:cubicBezTo>
                  <a:cubicBezTo>
                    <a:pt x="1130" y="226"/>
                    <a:pt x="1105" y="216"/>
                    <a:pt x="1078" y="197"/>
                  </a:cubicBezTo>
                  <a:cubicBezTo>
                    <a:pt x="1067" y="188"/>
                    <a:pt x="1053" y="182"/>
                    <a:pt x="1039" y="182"/>
                  </a:cubicBezTo>
                  <a:cubicBezTo>
                    <a:pt x="1035" y="182"/>
                    <a:pt x="1032" y="182"/>
                    <a:pt x="1029" y="183"/>
                  </a:cubicBezTo>
                  <a:lnTo>
                    <a:pt x="956" y="183"/>
                  </a:lnTo>
                  <a:cubicBezTo>
                    <a:pt x="923" y="185"/>
                    <a:pt x="888" y="187"/>
                    <a:pt x="854" y="187"/>
                  </a:cubicBezTo>
                  <a:cubicBezTo>
                    <a:pt x="783" y="187"/>
                    <a:pt x="714" y="178"/>
                    <a:pt x="669" y="137"/>
                  </a:cubicBezTo>
                  <a:cubicBezTo>
                    <a:pt x="644" y="109"/>
                    <a:pt x="627" y="74"/>
                    <a:pt x="630" y="36"/>
                  </a:cubicBezTo>
                  <a:cubicBezTo>
                    <a:pt x="630" y="25"/>
                    <a:pt x="627" y="11"/>
                    <a:pt x="623" y="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458" name="Google Shape;4458;p104"/>
            <p:cNvSpPr/>
            <p:nvPr/>
          </p:nvSpPr>
          <p:spPr>
            <a:xfrm>
              <a:off x="2073964" y="1600939"/>
              <a:ext cx="27440" cy="23163"/>
            </a:xfrm>
            <a:custGeom>
              <a:avLst/>
              <a:gdLst/>
              <a:ahLst/>
              <a:cxnLst/>
              <a:rect l="l" t="t" r="r" b="b"/>
              <a:pathLst>
                <a:path w="2021" h="1706" extrusionOk="0">
                  <a:moveTo>
                    <a:pt x="1736" y="0"/>
                  </a:moveTo>
                  <a:cubicBezTo>
                    <a:pt x="1645" y="0"/>
                    <a:pt x="1529" y="23"/>
                    <a:pt x="1397" y="49"/>
                  </a:cubicBezTo>
                  <a:lnTo>
                    <a:pt x="1373" y="56"/>
                  </a:lnTo>
                  <a:cubicBezTo>
                    <a:pt x="1282" y="70"/>
                    <a:pt x="1205" y="130"/>
                    <a:pt x="1173" y="217"/>
                  </a:cubicBezTo>
                  <a:cubicBezTo>
                    <a:pt x="1156" y="252"/>
                    <a:pt x="1159" y="294"/>
                    <a:pt x="1184" y="326"/>
                  </a:cubicBezTo>
                  <a:cubicBezTo>
                    <a:pt x="1215" y="357"/>
                    <a:pt x="1226" y="410"/>
                    <a:pt x="1205" y="452"/>
                  </a:cubicBezTo>
                  <a:cubicBezTo>
                    <a:pt x="1172" y="508"/>
                    <a:pt x="1088" y="532"/>
                    <a:pt x="1010" y="532"/>
                  </a:cubicBezTo>
                  <a:cubicBezTo>
                    <a:pt x="995" y="532"/>
                    <a:pt x="981" y="531"/>
                    <a:pt x="966" y="529"/>
                  </a:cubicBezTo>
                  <a:cubicBezTo>
                    <a:pt x="879" y="515"/>
                    <a:pt x="823" y="469"/>
                    <a:pt x="812" y="399"/>
                  </a:cubicBezTo>
                  <a:cubicBezTo>
                    <a:pt x="812" y="399"/>
                    <a:pt x="812" y="396"/>
                    <a:pt x="812" y="392"/>
                  </a:cubicBezTo>
                  <a:cubicBezTo>
                    <a:pt x="807" y="392"/>
                    <a:pt x="802" y="391"/>
                    <a:pt x="797" y="391"/>
                  </a:cubicBezTo>
                  <a:cubicBezTo>
                    <a:pt x="783" y="391"/>
                    <a:pt x="770" y="395"/>
                    <a:pt x="756" y="403"/>
                  </a:cubicBezTo>
                  <a:cubicBezTo>
                    <a:pt x="714" y="424"/>
                    <a:pt x="690" y="466"/>
                    <a:pt x="693" y="511"/>
                  </a:cubicBezTo>
                  <a:cubicBezTo>
                    <a:pt x="704" y="624"/>
                    <a:pt x="623" y="697"/>
                    <a:pt x="557" y="764"/>
                  </a:cubicBezTo>
                  <a:cubicBezTo>
                    <a:pt x="480" y="834"/>
                    <a:pt x="434" y="883"/>
                    <a:pt x="441" y="956"/>
                  </a:cubicBezTo>
                  <a:cubicBezTo>
                    <a:pt x="455" y="1138"/>
                    <a:pt x="308" y="1324"/>
                    <a:pt x="0" y="1509"/>
                  </a:cubicBezTo>
                  <a:lnTo>
                    <a:pt x="7" y="1509"/>
                  </a:lnTo>
                  <a:lnTo>
                    <a:pt x="18" y="1516"/>
                  </a:lnTo>
                  <a:lnTo>
                    <a:pt x="49" y="1516"/>
                  </a:lnTo>
                  <a:cubicBezTo>
                    <a:pt x="189" y="1516"/>
                    <a:pt x="441" y="1446"/>
                    <a:pt x="522" y="1362"/>
                  </a:cubicBezTo>
                  <a:cubicBezTo>
                    <a:pt x="532" y="1355"/>
                    <a:pt x="543" y="1345"/>
                    <a:pt x="557" y="1334"/>
                  </a:cubicBezTo>
                  <a:lnTo>
                    <a:pt x="564" y="1331"/>
                  </a:lnTo>
                  <a:cubicBezTo>
                    <a:pt x="578" y="1324"/>
                    <a:pt x="592" y="1317"/>
                    <a:pt x="602" y="1310"/>
                  </a:cubicBezTo>
                  <a:lnTo>
                    <a:pt x="609" y="1310"/>
                  </a:lnTo>
                  <a:cubicBezTo>
                    <a:pt x="623" y="1303"/>
                    <a:pt x="634" y="1299"/>
                    <a:pt x="648" y="1296"/>
                  </a:cubicBezTo>
                  <a:lnTo>
                    <a:pt x="658" y="1296"/>
                  </a:lnTo>
                  <a:cubicBezTo>
                    <a:pt x="672" y="1296"/>
                    <a:pt x="686" y="1292"/>
                    <a:pt x="700" y="1292"/>
                  </a:cubicBezTo>
                  <a:lnTo>
                    <a:pt x="732" y="1292"/>
                  </a:lnTo>
                  <a:cubicBezTo>
                    <a:pt x="742" y="1292"/>
                    <a:pt x="753" y="1296"/>
                    <a:pt x="763" y="1299"/>
                  </a:cubicBezTo>
                  <a:cubicBezTo>
                    <a:pt x="847" y="1313"/>
                    <a:pt x="924" y="1355"/>
                    <a:pt x="984" y="1415"/>
                  </a:cubicBezTo>
                  <a:cubicBezTo>
                    <a:pt x="1026" y="1453"/>
                    <a:pt x="1075" y="1485"/>
                    <a:pt x="1128" y="1509"/>
                  </a:cubicBezTo>
                  <a:cubicBezTo>
                    <a:pt x="1219" y="1555"/>
                    <a:pt x="1306" y="1614"/>
                    <a:pt x="1380" y="1684"/>
                  </a:cubicBezTo>
                  <a:lnTo>
                    <a:pt x="1397" y="1705"/>
                  </a:lnTo>
                  <a:cubicBezTo>
                    <a:pt x="1401" y="1670"/>
                    <a:pt x="1404" y="1635"/>
                    <a:pt x="1408" y="1597"/>
                  </a:cubicBezTo>
                  <a:lnTo>
                    <a:pt x="1418" y="1593"/>
                  </a:lnTo>
                  <a:cubicBezTo>
                    <a:pt x="1418" y="1583"/>
                    <a:pt x="1422" y="1572"/>
                    <a:pt x="1422" y="1562"/>
                  </a:cubicBezTo>
                  <a:lnTo>
                    <a:pt x="1422" y="1548"/>
                  </a:lnTo>
                  <a:cubicBezTo>
                    <a:pt x="1422" y="1541"/>
                    <a:pt x="1425" y="1530"/>
                    <a:pt x="1425" y="1523"/>
                  </a:cubicBezTo>
                  <a:lnTo>
                    <a:pt x="1429" y="1506"/>
                  </a:lnTo>
                  <a:cubicBezTo>
                    <a:pt x="1429" y="1499"/>
                    <a:pt x="1432" y="1488"/>
                    <a:pt x="1436" y="1481"/>
                  </a:cubicBezTo>
                  <a:cubicBezTo>
                    <a:pt x="1436" y="1474"/>
                    <a:pt x="1436" y="1471"/>
                    <a:pt x="1439" y="1467"/>
                  </a:cubicBezTo>
                  <a:cubicBezTo>
                    <a:pt x="1443" y="1460"/>
                    <a:pt x="1443" y="1450"/>
                    <a:pt x="1446" y="1439"/>
                  </a:cubicBezTo>
                  <a:cubicBezTo>
                    <a:pt x="1446" y="1432"/>
                    <a:pt x="1446" y="1432"/>
                    <a:pt x="1450" y="1429"/>
                  </a:cubicBezTo>
                  <a:cubicBezTo>
                    <a:pt x="1453" y="1415"/>
                    <a:pt x="1457" y="1404"/>
                    <a:pt x="1460" y="1394"/>
                  </a:cubicBezTo>
                  <a:cubicBezTo>
                    <a:pt x="1471" y="1362"/>
                    <a:pt x="1474" y="1331"/>
                    <a:pt x="1467" y="1299"/>
                  </a:cubicBezTo>
                  <a:cubicBezTo>
                    <a:pt x="1467" y="1289"/>
                    <a:pt x="1464" y="1278"/>
                    <a:pt x="1460" y="1268"/>
                  </a:cubicBezTo>
                  <a:cubicBezTo>
                    <a:pt x="1453" y="1215"/>
                    <a:pt x="1446" y="1166"/>
                    <a:pt x="1478" y="1128"/>
                  </a:cubicBezTo>
                  <a:cubicBezTo>
                    <a:pt x="1499" y="1107"/>
                    <a:pt x="1527" y="1096"/>
                    <a:pt x="1555" y="1096"/>
                  </a:cubicBezTo>
                  <a:cubicBezTo>
                    <a:pt x="1712" y="1096"/>
                    <a:pt x="1796" y="1068"/>
                    <a:pt x="1796" y="1016"/>
                  </a:cubicBezTo>
                  <a:cubicBezTo>
                    <a:pt x="1796" y="897"/>
                    <a:pt x="1838" y="862"/>
                    <a:pt x="1884" y="834"/>
                  </a:cubicBezTo>
                  <a:cubicBezTo>
                    <a:pt x="1898" y="830"/>
                    <a:pt x="1908" y="820"/>
                    <a:pt x="1915" y="806"/>
                  </a:cubicBezTo>
                  <a:cubicBezTo>
                    <a:pt x="1915" y="771"/>
                    <a:pt x="1824" y="676"/>
                    <a:pt x="1796" y="645"/>
                  </a:cubicBezTo>
                  <a:cubicBezTo>
                    <a:pt x="1775" y="627"/>
                    <a:pt x="1758" y="606"/>
                    <a:pt x="1740" y="585"/>
                  </a:cubicBezTo>
                  <a:cubicBezTo>
                    <a:pt x="1726" y="564"/>
                    <a:pt x="1723" y="539"/>
                    <a:pt x="1726" y="518"/>
                  </a:cubicBezTo>
                  <a:cubicBezTo>
                    <a:pt x="1737" y="473"/>
                    <a:pt x="1772" y="455"/>
                    <a:pt x="1814" y="431"/>
                  </a:cubicBezTo>
                  <a:cubicBezTo>
                    <a:pt x="1870" y="399"/>
                    <a:pt x="1919" y="361"/>
                    <a:pt x="1964" y="315"/>
                  </a:cubicBezTo>
                  <a:cubicBezTo>
                    <a:pt x="1971" y="308"/>
                    <a:pt x="1978" y="298"/>
                    <a:pt x="1989" y="287"/>
                  </a:cubicBezTo>
                  <a:lnTo>
                    <a:pt x="1996" y="277"/>
                  </a:lnTo>
                  <a:cubicBezTo>
                    <a:pt x="2003" y="270"/>
                    <a:pt x="2006" y="263"/>
                    <a:pt x="2013" y="256"/>
                  </a:cubicBezTo>
                  <a:lnTo>
                    <a:pt x="2017" y="249"/>
                  </a:lnTo>
                  <a:lnTo>
                    <a:pt x="2017" y="245"/>
                  </a:lnTo>
                  <a:cubicBezTo>
                    <a:pt x="2017" y="242"/>
                    <a:pt x="2017" y="238"/>
                    <a:pt x="2020" y="238"/>
                  </a:cubicBezTo>
                  <a:lnTo>
                    <a:pt x="2020" y="231"/>
                  </a:lnTo>
                  <a:cubicBezTo>
                    <a:pt x="2020" y="228"/>
                    <a:pt x="2020" y="228"/>
                    <a:pt x="2020" y="224"/>
                  </a:cubicBezTo>
                  <a:lnTo>
                    <a:pt x="2020" y="217"/>
                  </a:lnTo>
                  <a:lnTo>
                    <a:pt x="2020" y="200"/>
                  </a:lnTo>
                  <a:lnTo>
                    <a:pt x="2020" y="196"/>
                  </a:lnTo>
                  <a:lnTo>
                    <a:pt x="2020" y="172"/>
                  </a:lnTo>
                  <a:lnTo>
                    <a:pt x="2020" y="168"/>
                  </a:lnTo>
                  <a:lnTo>
                    <a:pt x="2020" y="144"/>
                  </a:lnTo>
                  <a:lnTo>
                    <a:pt x="2020" y="137"/>
                  </a:lnTo>
                  <a:cubicBezTo>
                    <a:pt x="2020" y="126"/>
                    <a:pt x="2020" y="112"/>
                    <a:pt x="2017" y="102"/>
                  </a:cubicBezTo>
                  <a:lnTo>
                    <a:pt x="2017" y="95"/>
                  </a:lnTo>
                  <a:cubicBezTo>
                    <a:pt x="2017" y="81"/>
                    <a:pt x="2013" y="67"/>
                    <a:pt x="2010" y="53"/>
                  </a:cubicBezTo>
                  <a:cubicBezTo>
                    <a:pt x="1996" y="58"/>
                    <a:pt x="1981" y="60"/>
                    <a:pt x="1965" y="60"/>
                  </a:cubicBezTo>
                  <a:cubicBezTo>
                    <a:pt x="1934" y="60"/>
                    <a:pt x="1902" y="51"/>
                    <a:pt x="1877" y="32"/>
                  </a:cubicBezTo>
                  <a:cubicBezTo>
                    <a:pt x="1841" y="9"/>
                    <a:pt x="1793" y="0"/>
                    <a:pt x="1736"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459" name="Google Shape;4459;p104"/>
            <p:cNvSpPr/>
            <p:nvPr/>
          </p:nvSpPr>
          <p:spPr>
            <a:xfrm>
              <a:off x="2092647" y="1634489"/>
              <a:ext cx="2865" cy="4114"/>
            </a:xfrm>
            <a:custGeom>
              <a:avLst/>
              <a:gdLst/>
              <a:ahLst/>
              <a:cxnLst/>
              <a:rect l="l" t="t" r="r" b="b"/>
              <a:pathLst>
                <a:path w="211" h="303" extrusionOk="0">
                  <a:moveTo>
                    <a:pt x="84" y="1"/>
                  </a:moveTo>
                  <a:lnTo>
                    <a:pt x="81" y="4"/>
                  </a:lnTo>
                  <a:cubicBezTo>
                    <a:pt x="70" y="15"/>
                    <a:pt x="63" y="25"/>
                    <a:pt x="56" y="36"/>
                  </a:cubicBezTo>
                  <a:lnTo>
                    <a:pt x="53" y="46"/>
                  </a:lnTo>
                  <a:cubicBezTo>
                    <a:pt x="46" y="60"/>
                    <a:pt x="39" y="74"/>
                    <a:pt x="32" y="88"/>
                  </a:cubicBezTo>
                  <a:lnTo>
                    <a:pt x="28" y="95"/>
                  </a:lnTo>
                  <a:cubicBezTo>
                    <a:pt x="25" y="109"/>
                    <a:pt x="21" y="123"/>
                    <a:pt x="14" y="137"/>
                  </a:cubicBezTo>
                  <a:lnTo>
                    <a:pt x="14" y="148"/>
                  </a:lnTo>
                  <a:cubicBezTo>
                    <a:pt x="11" y="165"/>
                    <a:pt x="7" y="183"/>
                    <a:pt x="4" y="200"/>
                  </a:cubicBezTo>
                  <a:lnTo>
                    <a:pt x="4" y="211"/>
                  </a:lnTo>
                  <a:cubicBezTo>
                    <a:pt x="0" y="229"/>
                    <a:pt x="0" y="246"/>
                    <a:pt x="0" y="264"/>
                  </a:cubicBezTo>
                  <a:lnTo>
                    <a:pt x="0" y="278"/>
                  </a:lnTo>
                  <a:lnTo>
                    <a:pt x="0" y="281"/>
                  </a:lnTo>
                  <a:cubicBezTo>
                    <a:pt x="70" y="285"/>
                    <a:pt x="140" y="292"/>
                    <a:pt x="210" y="302"/>
                  </a:cubicBezTo>
                  <a:lnTo>
                    <a:pt x="210" y="299"/>
                  </a:lnTo>
                  <a:cubicBezTo>
                    <a:pt x="207" y="281"/>
                    <a:pt x="203" y="267"/>
                    <a:pt x="200" y="250"/>
                  </a:cubicBezTo>
                  <a:lnTo>
                    <a:pt x="200" y="246"/>
                  </a:lnTo>
                  <a:cubicBezTo>
                    <a:pt x="196" y="232"/>
                    <a:pt x="193" y="218"/>
                    <a:pt x="189" y="204"/>
                  </a:cubicBezTo>
                  <a:lnTo>
                    <a:pt x="189" y="200"/>
                  </a:lnTo>
                  <a:cubicBezTo>
                    <a:pt x="186" y="186"/>
                    <a:pt x="182" y="176"/>
                    <a:pt x="175" y="162"/>
                  </a:cubicBezTo>
                  <a:lnTo>
                    <a:pt x="172" y="155"/>
                  </a:lnTo>
                  <a:cubicBezTo>
                    <a:pt x="168" y="144"/>
                    <a:pt x="165" y="134"/>
                    <a:pt x="158" y="123"/>
                  </a:cubicBezTo>
                  <a:lnTo>
                    <a:pt x="158" y="120"/>
                  </a:lnTo>
                  <a:cubicBezTo>
                    <a:pt x="151" y="109"/>
                    <a:pt x="147" y="102"/>
                    <a:pt x="144" y="95"/>
                  </a:cubicBezTo>
                  <a:lnTo>
                    <a:pt x="144" y="92"/>
                  </a:lnTo>
                  <a:cubicBezTo>
                    <a:pt x="140" y="81"/>
                    <a:pt x="133" y="74"/>
                    <a:pt x="130" y="67"/>
                  </a:cubicBezTo>
                  <a:lnTo>
                    <a:pt x="126" y="60"/>
                  </a:lnTo>
                  <a:lnTo>
                    <a:pt x="112" y="39"/>
                  </a:lnTo>
                  <a:lnTo>
                    <a:pt x="109" y="36"/>
                  </a:lnTo>
                  <a:lnTo>
                    <a:pt x="95" y="18"/>
                  </a:lnTo>
                  <a:lnTo>
                    <a:pt x="84"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460" name="Google Shape;4460;p104"/>
            <p:cNvSpPr/>
            <p:nvPr/>
          </p:nvSpPr>
          <p:spPr>
            <a:xfrm>
              <a:off x="2068873" y="1620273"/>
              <a:ext cx="26014" cy="18194"/>
            </a:xfrm>
            <a:custGeom>
              <a:avLst/>
              <a:gdLst/>
              <a:ahLst/>
              <a:cxnLst/>
              <a:rect l="l" t="t" r="r" b="b"/>
              <a:pathLst>
                <a:path w="1916" h="1340" extrusionOk="0">
                  <a:moveTo>
                    <a:pt x="1092" y="1"/>
                  </a:moveTo>
                  <a:cubicBezTo>
                    <a:pt x="1059" y="1"/>
                    <a:pt x="1025" y="13"/>
                    <a:pt x="998" y="36"/>
                  </a:cubicBezTo>
                  <a:cubicBezTo>
                    <a:pt x="890" y="148"/>
                    <a:pt x="624" y="218"/>
                    <a:pt x="463" y="229"/>
                  </a:cubicBezTo>
                  <a:lnTo>
                    <a:pt x="400" y="229"/>
                  </a:lnTo>
                  <a:lnTo>
                    <a:pt x="389" y="225"/>
                  </a:lnTo>
                  <a:lnTo>
                    <a:pt x="382" y="222"/>
                  </a:lnTo>
                  <a:lnTo>
                    <a:pt x="368" y="218"/>
                  </a:lnTo>
                  <a:lnTo>
                    <a:pt x="358" y="215"/>
                  </a:lnTo>
                  <a:lnTo>
                    <a:pt x="344" y="211"/>
                  </a:lnTo>
                  <a:lnTo>
                    <a:pt x="326" y="204"/>
                  </a:lnTo>
                  <a:lnTo>
                    <a:pt x="309" y="201"/>
                  </a:lnTo>
                  <a:lnTo>
                    <a:pt x="291" y="194"/>
                  </a:lnTo>
                  <a:lnTo>
                    <a:pt x="270" y="183"/>
                  </a:lnTo>
                  <a:lnTo>
                    <a:pt x="253" y="176"/>
                  </a:lnTo>
                  <a:lnTo>
                    <a:pt x="242" y="169"/>
                  </a:lnTo>
                  <a:cubicBezTo>
                    <a:pt x="165" y="215"/>
                    <a:pt x="85" y="253"/>
                    <a:pt x="1" y="285"/>
                  </a:cubicBezTo>
                  <a:lnTo>
                    <a:pt x="1" y="288"/>
                  </a:lnTo>
                  <a:cubicBezTo>
                    <a:pt x="4" y="299"/>
                    <a:pt x="8" y="306"/>
                    <a:pt x="8" y="316"/>
                  </a:cubicBezTo>
                  <a:cubicBezTo>
                    <a:pt x="25" y="376"/>
                    <a:pt x="57" y="432"/>
                    <a:pt x="99" y="474"/>
                  </a:cubicBezTo>
                  <a:cubicBezTo>
                    <a:pt x="113" y="460"/>
                    <a:pt x="134" y="449"/>
                    <a:pt x="155" y="446"/>
                  </a:cubicBezTo>
                  <a:cubicBezTo>
                    <a:pt x="159" y="445"/>
                    <a:pt x="163" y="445"/>
                    <a:pt x="167" y="445"/>
                  </a:cubicBezTo>
                  <a:cubicBezTo>
                    <a:pt x="228" y="445"/>
                    <a:pt x="281" y="495"/>
                    <a:pt x="340" y="554"/>
                  </a:cubicBezTo>
                  <a:cubicBezTo>
                    <a:pt x="375" y="589"/>
                    <a:pt x="410" y="617"/>
                    <a:pt x="449" y="645"/>
                  </a:cubicBezTo>
                  <a:cubicBezTo>
                    <a:pt x="477" y="659"/>
                    <a:pt x="515" y="677"/>
                    <a:pt x="557" y="698"/>
                  </a:cubicBezTo>
                  <a:cubicBezTo>
                    <a:pt x="690" y="757"/>
                    <a:pt x="806" y="810"/>
                    <a:pt x="820" y="897"/>
                  </a:cubicBezTo>
                  <a:cubicBezTo>
                    <a:pt x="834" y="992"/>
                    <a:pt x="862" y="1027"/>
                    <a:pt x="872" y="1034"/>
                  </a:cubicBezTo>
                  <a:cubicBezTo>
                    <a:pt x="876" y="1034"/>
                    <a:pt x="883" y="1034"/>
                    <a:pt x="886" y="1030"/>
                  </a:cubicBezTo>
                  <a:cubicBezTo>
                    <a:pt x="928" y="1009"/>
                    <a:pt x="967" y="981"/>
                    <a:pt x="1002" y="950"/>
                  </a:cubicBezTo>
                  <a:cubicBezTo>
                    <a:pt x="1054" y="906"/>
                    <a:pt x="1096" y="872"/>
                    <a:pt x="1139" y="872"/>
                  </a:cubicBezTo>
                  <a:cubicBezTo>
                    <a:pt x="1150" y="872"/>
                    <a:pt x="1162" y="875"/>
                    <a:pt x="1173" y="880"/>
                  </a:cubicBezTo>
                  <a:cubicBezTo>
                    <a:pt x="1205" y="897"/>
                    <a:pt x="1226" y="932"/>
                    <a:pt x="1222" y="967"/>
                  </a:cubicBezTo>
                  <a:cubicBezTo>
                    <a:pt x="1222" y="1037"/>
                    <a:pt x="1240" y="1125"/>
                    <a:pt x="1275" y="1153"/>
                  </a:cubicBezTo>
                  <a:cubicBezTo>
                    <a:pt x="1280" y="1158"/>
                    <a:pt x="1287" y="1161"/>
                    <a:pt x="1293" y="1161"/>
                  </a:cubicBezTo>
                  <a:cubicBezTo>
                    <a:pt x="1295" y="1161"/>
                    <a:pt x="1298" y="1161"/>
                    <a:pt x="1299" y="1160"/>
                  </a:cubicBezTo>
                  <a:cubicBezTo>
                    <a:pt x="1310" y="1156"/>
                    <a:pt x="1320" y="1156"/>
                    <a:pt x="1331" y="1156"/>
                  </a:cubicBezTo>
                  <a:lnTo>
                    <a:pt x="1345" y="1156"/>
                  </a:lnTo>
                  <a:cubicBezTo>
                    <a:pt x="1352" y="1156"/>
                    <a:pt x="1359" y="1156"/>
                    <a:pt x="1366" y="1160"/>
                  </a:cubicBezTo>
                  <a:lnTo>
                    <a:pt x="1376" y="1163"/>
                  </a:lnTo>
                  <a:cubicBezTo>
                    <a:pt x="1383" y="1163"/>
                    <a:pt x="1387" y="1167"/>
                    <a:pt x="1394" y="1170"/>
                  </a:cubicBezTo>
                  <a:lnTo>
                    <a:pt x="1405" y="1174"/>
                  </a:lnTo>
                  <a:cubicBezTo>
                    <a:pt x="1408" y="1177"/>
                    <a:pt x="1415" y="1181"/>
                    <a:pt x="1422" y="1184"/>
                  </a:cubicBezTo>
                  <a:lnTo>
                    <a:pt x="1429" y="1191"/>
                  </a:lnTo>
                  <a:lnTo>
                    <a:pt x="1443" y="1202"/>
                  </a:lnTo>
                  <a:lnTo>
                    <a:pt x="1450" y="1209"/>
                  </a:lnTo>
                  <a:lnTo>
                    <a:pt x="1464" y="1223"/>
                  </a:lnTo>
                  <a:lnTo>
                    <a:pt x="1471" y="1230"/>
                  </a:lnTo>
                  <a:lnTo>
                    <a:pt x="1485" y="1247"/>
                  </a:lnTo>
                  <a:lnTo>
                    <a:pt x="1489" y="1254"/>
                  </a:lnTo>
                  <a:lnTo>
                    <a:pt x="1506" y="1272"/>
                  </a:lnTo>
                  <a:cubicBezTo>
                    <a:pt x="1534" y="1313"/>
                    <a:pt x="1557" y="1340"/>
                    <a:pt x="1574" y="1340"/>
                  </a:cubicBezTo>
                  <a:cubicBezTo>
                    <a:pt x="1576" y="1340"/>
                    <a:pt x="1578" y="1339"/>
                    <a:pt x="1580" y="1339"/>
                  </a:cubicBezTo>
                  <a:cubicBezTo>
                    <a:pt x="1590" y="1339"/>
                    <a:pt x="1601" y="1335"/>
                    <a:pt x="1611" y="1335"/>
                  </a:cubicBezTo>
                  <a:lnTo>
                    <a:pt x="1611" y="1293"/>
                  </a:lnTo>
                  <a:cubicBezTo>
                    <a:pt x="1611" y="1290"/>
                    <a:pt x="1611" y="1290"/>
                    <a:pt x="1611" y="1286"/>
                  </a:cubicBezTo>
                  <a:cubicBezTo>
                    <a:pt x="1611" y="1268"/>
                    <a:pt x="1615" y="1254"/>
                    <a:pt x="1618" y="1240"/>
                  </a:cubicBezTo>
                  <a:cubicBezTo>
                    <a:pt x="1618" y="1233"/>
                    <a:pt x="1618" y="1230"/>
                    <a:pt x="1618" y="1223"/>
                  </a:cubicBezTo>
                  <a:cubicBezTo>
                    <a:pt x="1622" y="1219"/>
                    <a:pt x="1622" y="1205"/>
                    <a:pt x="1625" y="1195"/>
                  </a:cubicBezTo>
                  <a:cubicBezTo>
                    <a:pt x="1625" y="1184"/>
                    <a:pt x="1625" y="1184"/>
                    <a:pt x="1629" y="1177"/>
                  </a:cubicBezTo>
                  <a:cubicBezTo>
                    <a:pt x="1629" y="1174"/>
                    <a:pt x="1632" y="1163"/>
                    <a:pt x="1632" y="1153"/>
                  </a:cubicBezTo>
                  <a:lnTo>
                    <a:pt x="1636" y="1139"/>
                  </a:lnTo>
                  <a:cubicBezTo>
                    <a:pt x="1636" y="1132"/>
                    <a:pt x="1643" y="1121"/>
                    <a:pt x="1643" y="1114"/>
                  </a:cubicBezTo>
                  <a:lnTo>
                    <a:pt x="1650" y="1100"/>
                  </a:lnTo>
                  <a:cubicBezTo>
                    <a:pt x="1653" y="1093"/>
                    <a:pt x="1653" y="1086"/>
                    <a:pt x="1657" y="1079"/>
                  </a:cubicBezTo>
                  <a:lnTo>
                    <a:pt x="1664" y="1069"/>
                  </a:lnTo>
                  <a:cubicBezTo>
                    <a:pt x="1667" y="1062"/>
                    <a:pt x="1671" y="1055"/>
                    <a:pt x="1671" y="1048"/>
                  </a:cubicBezTo>
                  <a:lnTo>
                    <a:pt x="1678" y="1037"/>
                  </a:lnTo>
                  <a:cubicBezTo>
                    <a:pt x="1681" y="1030"/>
                    <a:pt x="1685" y="1023"/>
                    <a:pt x="1688" y="1016"/>
                  </a:cubicBezTo>
                  <a:lnTo>
                    <a:pt x="1692" y="1009"/>
                  </a:lnTo>
                  <a:cubicBezTo>
                    <a:pt x="1699" y="999"/>
                    <a:pt x="1706" y="992"/>
                    <a:pt x="1713" y="985"/>
                  </a:cubicBezTo>
                  <a:lnTo>
                    <a:pt x="1713" y="981"/>
                  </a:lnTo>
                  <a:cubicBezTo>
                    <a:pt x="1720" y="974"/>
                    <a:pt x="1723" y="967"/>
                    <a:pt x="1730" y="960"/>
                  </a:cubicBezTo>
                  <a:lnTo>
                    <a:pt x="1737" y="953"/>
                  </a:lnTo>
                  <a:lnTo>
                    <a:pt x="1748" y="939"/>
                  </a:lnTo>
                  <a:lnTo>
                    <a:pt x="1755" y="932"/>
                  </a:lnTo>
                  <a:lnTo>
                    <a:pt x="1769" y="922"/>
                  </a:lnTo>
                  <a:lnTo>
                    <a:pt x="1776" y="915"/>
                  </a:lnTo>
                  <a:lnTo>
                    <a:pt x="1790" y="904"/>
                  </a:lnTo>
                  <a:lnTo>
                    <a:pt x="1797" y="901"/>
                  </a:lnTo>
                  <a:lnTo>
                    <a:pt x="1811" y="890"/>
                  </a:lnTo>
                  <a:lnTo>
                    <a:pt x="1818" y="887"/>
                  </a:lnTo>
                  <a:lnTo>
                    <a:pt x="1821" y="883"/>
                  </a:lnTo>
                  <a:cubicBezTo>
                    <a:pt x="1825" y="880"/>
                    <a:pt x="1828" y="876"/>
                    <a:pt x="1832" y="873"/>
                  </a:cubicBezTo>
                  <a:lnTo>
                    <a:pt x="1839" y="859"/>
                  </a:lnTo>
                  <a:lnTo>
                    <a:pt x="1849" y="848"/>
                  </a:lnTo>
                  <a:lnTo>
                    <a:pt x="1860" y="834"/>
                  </a:lnTo>
                  <a:lnTo>
                    <a:pt x="1867" y="827"/>
                  </a:lnTo>
                  <a:cubicBezTo>
                    <a:pt x="1888" y="810"/>
                    <a:pt x="1905" y="785"/>
                    <a:pt x="1916" y="761"/>
                  </a:cubicBezTo>
                  <a:cubicBezTo>
                    <a:pt x="1902" y="722"/>
                    <a:pt x="1881" y="684"/>
                    <a:pt x="1856" y="652"/>
                  </a:cubicBezTo>
                  <a:lnTo>
                    <a:pt x="1839" y="624"/>
                  </a:lnTo>
                  <a:lnTo>
                    <a:pt x="1835" y="617"/>
                  </a:lnTo>
                  <a:lnTo>
                    <a:pt x="1821" y="596"/>
                  </a:lnTo>
                  <a:lnTo>
                    <a:pt x="1818" y="586"/>
                  </a:lnTo>
                  <a:lnTo>
                    <a:pt x="1807" y="568"/>
                  </a:lnTo>
                  <a:lnTo>
                    <a:pt x="1800" y="558"/>
                  </a:lnTo>
                  <a:lnTo>
                    <a:pt x="1793" y="540"/>
                  </a:lnTo>
                  <a:lnTo>
                    <a:pt x="1786" y="530"/>
                  </a:lnTo>
                  <a:lnTo>
                    <a:pt x="1779" y="516"/>
                  </a:lnTo>
                  <a:lnTo>
                    <a:pt x="1776" y="502"/>
                  </a:lnTo>
                  <a:cubicBezTo>
                    <a:pt x="1776" y="498"/>
                    <a:pt x="1772" y="491"/>
                    <a:pt x="1772" y="488"/>
                  </a:cubicBezTo>
                  <a:cubicBezTo>
                    <a:pt x="1772" y="481"/>
                    <a:pt x="1772" y="477"/>
                    <a:pt x="1769" y="474"/>
                  </a:cubicBezTo>
                  <a:cubicBezTo>
                    <a:pt x="1769" y="470"/>
                    <a:pt x="1769" y="463"/>
                    <a:pt x="1769" y="460"/>
                  </a:cubicBezTo>
                  <a:lnTo>
                    <a:pt x="1769" y="449"/>
                  </a:lnTo>
                  <a:lnTo>
                    <a:pt x="1769" y="446"/>
                  </a:lnTo>
                  <a:lnTo>
                    <a:pt x="1769" y="442"/>
                  </a:lnTo>
                  <a:cubicBezTo>
                    <a:pt x="1751" y="428"/>
                    <a:pt x="1737" y="418"/>
                    <a:pt x="1723" y="404"/>
                  </a:cubicBezTo>
                  <a:lnTo>
                    <a:pt x="1713" y="397"/>
                  </a:lnTo>
                  <a:cubicBezTo>
                    <a:pt x="1699" y="383"/>
                    <a:pt x="1685" y="372"/>
                    <a:pt x="1674" y="358"/>
                  </a:cubicBezTo>
                  <a:cubicBezTo>
                    <a:pt x="1608" y="295"/>
                    <a:pt x="1534" y="243"/>
                    <a:pt x="1450" y="204"/>
                  </a:cubicBezTo>
                  <a:cubicBezTo>
                    <a:pt x="1387" y="173"/>
                    <a:pt x="1327" y="134"/>
                    <a:pt x="1275" y="85"/>
                  </a:cubicBezTo>
                  <a:cubicBezTo>
                    <a:pt x="1236" y="47"/>
                    <a:pt x="1184" y="19"/>
                    <a:pt x="1124" y="5"/>
                  </a:cubicBezTo>
                  <a:cubicBezTo>
                    <a:pt x="1114" y="2"/>
                    <a:pt x="1103" y="1"/>
                    <a:pt x="1092" y="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461" name="Google Shape;4461;p104"/>
            <p:cNvSpPr/>
            <p:nvPr/>
          </p:nvSpPr>
          <p:spPr>
            <a:xfrm>
              <a:off x="2073244" y="1623043"/>
              <a:ext cx="258" cy="54"/>
            </a:xfrm>
            <a:custGeom>
              <a:avLst/>
              <a:gdLst/>
              <a:ahLst/>
              <a:cxnLst/>
              <a:rect l="l" t="t" r="r" b="b"/>
              <a:pathLst>
                <a:path w="19" h="4" extrusionOk="0">
                  <a:moveTo>
                    <a:pt x="1" y="0"/>
                  </a:moveTo>
                  <a:lnTo>
                    <a:pt x="18" y="4"/>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462" name="Google Shape;4462;p104"/>
            <p:cNvSpPr/>
            <p:nvPr/>
          </p:nvSpPr>
          <p:spPr>
            <a:xfrm>
              <a:off x="2091547" y="1625134"/>
              <a:ext cx="543" cy="530"/>
            </a:xfrm>
            <a:custGeom>
              <a:avLst/>
              <a:gdLst/>
              <a:ahLst/>
              <a:cxnLst/>
              <a:rect l="l" t="t" r="r" b="b"/>
              <a:pathLst>
                <a:path w="40" h="39" extrusionOk="0">
                  <a:moveTo>
                    <a:pt x="1" y="0"/>
                  </a:moveTo>
                  <a:cubicBezTo>
                    <a:pt x="11" y="14"/>
                    <a:pt x="25" y="25"/>
                    <a:pt x="39" y="39"/>
                  </a:cubicBezTo>
                  <a:cubicBezTo>
                    <a:pt x="25" y="25"/>
                    <a:pt x="11" y="14"/>
                    <a:pt x="1"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463" name="Google Shape;4463;p104"/>
            <p:cNvSpPr/>
            <p:nvPr/>
          </p:nvSpPr>
          <p:spPr>
            <a:xfrm>
              <a:off x="2074480" y="1623369"/>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464" name="Google Shape;4464;p104"/>
            <p:cNvSpPr/>
            <p:nvPr/>
          </p:nvSpPr>
          <p:spPr>
            <a:xfrm>
              <a:off x="2072769" y="1622853"/>
              <a:ext cx="258" cy="109"/>
            </a:xfrm>
            <a:custGeom>
              <a:avLst/>
              <a:gdLst/>
              <a:ahLst/>
              <a:cxnLst/>
              <a:rect l="l" t="t" r="r" b="b"/>
              <a:pathLst>
                <a:path w="19" h="8" extrusionOk="0">
                  <a:moveTo>
                    <a:pt x="1" y="0"/>
                  </a:moveTo>
                  <a:lnTo>
                    <a:pt x="18" y="7"/>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465" name="Google Shape;4465;p104"/>
            <p:cNvSpPr/>
            <p:nvPr/>
          </p:nvSpPr>
          <p:spPr>
            <a:xfrm>
              <a:off x="2072253" y="1622609"/>
              <a:ext cx="299" cy="109"/>
            </a:xfrm>
            <a:custGeom>
              <a:avLst/>
              <a:gdLst/>
              <a:ahLst/>
              <a:cxnLst/>
              <a:rect l="l" t="t" r="r" b="b"/>
              <a:pathLst>
                <a:path w="22" h="8" extrusionOk="0">
                  <a:moveTo>
                    <a:pt x="0" y="1"/>
                  </a:moveTo>
                  <a:lnTo>
                    <a:pt x="21" y="8"/>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466" name="Google Shape;4466;p104"/>
            <p:cNvSpPr/>
            <p:nvPr/>
          </p:nvSpPr>
          <p:spPr>
            <a:xfrm>
              <a:off x="2074005" y="1623274"/>
              <a:ext cx="109" cy="14"/>
            </a:xfrm>
            <a:custGeom>
              <a:avLst/>
              <a:gdLst/>
              <a:ahLst/>
              <a:cxnLst/>
              <a:rect l="l" t="t" r="r" b="b"/>
              <a:pathLst>
                <a:path w="8" h="1" extrusionOk="0">
                  <a:moveTo>
                    <a:pt x="1" y="1"/>
                  </a:moveTo>
                  <a:lnTo>
                    <a:pt x="8"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467" name="Google Shape;4467;p104"/>
            <p:cNvSpPr/>
            <p:nvPr/>
          </p:nvSpPr>
          <p:spPr>
            <a:xfrm>
              <a:off x="2073679" y="1623179"/>
              <a:ext cx="149" cy="68"/>
            </a:xfrm>
            <a:custGeom>
              <a:avLst/>
              <a:gdLst/>
              <a:ahLst/>
              <a:cxnLst/>
              <a:rect l="l" t="t" r="r" b="b"/>
              <a:pathLst>
                <a:path w="11" h="5" extrusionOk="0">
                  <a:moveTo>
                    <a:pt x="0" y="1"/>
                  </a:moveTo>
                  <a:lnTo>
                    <a:pt x="11" y="4"/>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468" name="Google Shape;4468;p104"/>
            <p:cNvSpPr/>
            <p:nvPr/>
          </p:nvSpPr>
          <p:spPr>
            <a:xfrm>
              <a:off x="2074249" y="1623328"/>
              <a:ext cx="109" cy="14"/>
            </a:xfrm>
            <a:custGeom>
              <a:avLst/>
              <a:gdLst/>
              <a:ahLst/>
              <a:cxnLst/>
              <a:rect l="l" t="t" r="r" b="b"/>
              <a:pathLst>
                <a:path w="8" h="1" extrusionOk="0">
                  <a:moveTo>
                    <a:pt x="0" y="0"/>
                  </a:moveTo>
                  <a:lnTo>
                    <a:pt x="7"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469" name="Google Shape;4469;p104"/>
            <p:cNvSpPr/>
            <p:nvPr/>
          </p:nvSpPr>
          <p:spPr>
            <a:xfrm>
              <a:off x="2092212" y="1625745"/>
              <a:ext cx="638" cy="543"/>
            </a:xfrm>
            <a:custGeom>
              <a:avLst/>
              <a:gdLst/>
              <a:ahLst/>
              <a:cxnLst/>
              <a:rect l="l" t="t" r="r" b="b"/>
              <a:pathLst>
                <a:path w="47" h="40" extrusionOk="0">
                  <a:moveTo>
                    <a:pt x="1" y="1"/>
                  </a:moveTo>
                  <a:cubicBezTo>
                    <a:pt x="15" y="15"/>
                    <a:pt x="29" y="25"/>
                    <a:pt x="46" y="39"/>
                  </a:cubicBezTo>
                  <a:cubicBezTo>
                    <a:pt x="29" y="25"/>
                    <a:pt x="15" y="15"/>
                    <a:pt x="1" y="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470" name="Google Shape;4470;p104"/>
            <p:cNvSpPr/>
            <p:nvPr/>
          </p:nvSpPr>
          <p:spPr>
            <a:xfrm>
              <a:off x="2091031" y="1635724"/>
              <a:ext cx="54" cy="204"/>
            </a:xfrm>
            <a:custGeom>
              <a:avLst/>
              <a:gdLst/>
              <a:ahLst/>
              <a:cxnLst/>
              <a:rect l="l" t="t" r="r" b="b"/>
              <a:pathLst>
                <a:path w="4" h="15" extrusionOk="0">
                  <a:moveTo>
                    <a:pt x="4" y="1"/>
                  </a:moveTo>
                  <a:lnTo>
                    <a:pt x="0" y="15"/>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471" name="Google Shape;4471;p104"/>
            <p:cNvSpPr/>
            <p:nvPr/>
          </p:nvSpPr>
          <p:spPr>
            <a:xfrm>
              <a:off x="2091167" y="1635208"/>
              <a:ext cx="109" cy="204"/>
            </a:xfrm>
            <a:custGeom>
              <a:avLst/>
              <a:gdLst/>
              <a:ahLst/>
              <a:cxnLst/>
              <a:rect l="l" t="t" r="r" b="b"/>
              <a:pathLst>
                <a:path w="8" h="15" extrusionOk="0">
                  <a:moveTo>
                    <a:pt x="8" y="0"/>
                  </a:moveTo>
                  <a:lnTo>
                    <a:pt x="1" y="14"/>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472" name="Google Shape;4472;p104"/>
            <p:cNvSpPr/>
            <p:nvPr/>
          </p:nvSpPr>
          <p:spPr>
            <a:xfrm>
              <a:off x="2091547" y="1634353"/>
              <a:ext cx="109" cy="149"/>
            </a:xfrm>
            <a:custGeom>
              <a:avLst/>
              <a:gdLst/>
              <a:ahLst/>
              <a:cxnLst/>
              <a:rect l="l" t="t" r="r" b="b"/>
              <a:pathLst>
                <a:path w="8" h="11" extrusionOk="0">
                  <a:moveTo>
                    <a:pt x="8" y="0"/>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473" name="Google Shape;4473;p104"/>
            <p:cNvSpPr/>
            <p:nvPr/>
          </p:nvSpPr>
          <p:spPr>
            <a:xfrm>
              <a:off x="2092362" y="1633213"/>
              <a:ext cx="109" cy="109"/>
            </a:xfrm>
            <a:custGeom>
              <a:avLst/>
              <a:gdLst/>
              <a:ahLst/>
              <a:cxnLst/>
              <a:rect l="l" t="t" r="r" b="b"/>
              <a:pathLst>
                <a:path w="8" h="8" extrusionOk="0">
                  <a:moveTo>
                    <a:pt x="7"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474" name="Google Shape;4474;p104"/>
            <p:cNvSpPr/>
            <p:nvPr/>
          </p:nvSpPr>
          <p:spPr>
            <a:xfrm>
              <a:off x="2092117" y="1633593"/>
              <a:ext cx="14" cy="14"/>
            </a:xfrm>
            <a:custGeom>
              <a:avLst/>
              <a:gdLst/>
              <a:ahLst/>
              <a:cxnLst/>
              <a:rect l="l" t="t" r="r" b="b"/>
              <a:pathLst>
                <a:path w="1" h="1" extrusionOk="0">
                  <a:moveTo>
                    <a:pt x="1"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475" name="Google Shape;4475;p104"/>
            <p:cNvSpPr/>
            <p:nvPr/>
          </p:nvSpPr>
          <p:spPr>
            <a:xfrm>
              <a:off x="2092647" y="1632927"/>
              <a:ext cx="109" cy="109"/>
            </a:xfrm>
            <a:custGeom>
              <a:avLst/>
              <a:gdLst/>
              <a:ahLst/>
              <a:cxnLst/>
              <a:rect l="l" t="t" r="r" b="b"/>
              <a:pathLst>
                <a:path w="8" h="8" extrusionOk="0">
                  <a:moveTo>
                    <a:pt x="0" y="7"/>
                  </a:moveTo>
                  <a:lnTo>
                    <a:pt x="7"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476" name="Google Shape;4476;p104"/>
            <p:cNvSpPr/>
            <p:nvPr/>
          </p:nvSpPr>
          <p:spPr>
            <a:xfrm>
              <a:off x="2091832" y="1633973"/>
              <a:ext cx="68" cy="109"/>
            </a:xfrm>
            <a:custGeom>
              <a:avLst/>
              <a:gdLst/>
              <a:ahLst/>
              <a:cxnLst/>
              <a:rect l="l" t="t" r="r" b="b"/>
              <a:pathLst>
                <a:path w="5" h="8" extrusionOk="0">
                  <a:moveTo>
                    <a:pt x="4"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477" name="Google Shape;4477;p104"/>
            <p:cNvSpPr/>
            <p:nvPr/>
          </p:nvSpPr>
          <p:spPr>
            <a:xfrm>
              <a:off x="2090746" y="1637734"/>
              <a:ext cx="14" cy="95"/>
            </a:xfrm>
            <a:custGeom>
              <a:avLst/>
              <a:gdLst/>
              <a:ahLst/>
              <a:cxnLst/>
              <a:rect l="l" t="t" r="r" b="b"/>
              <a:pathLst>
                <a:path w="1" h="7" extrusionOk="0">
                  <a:moveTo>
                    <a:pt x="0"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478" name="Google Shape;4478;p104"/>
            <p:cNvSpPr/>
            <p:nvPr/>
          </p:nvSpPr>
          <p:spPr>
            <a:xfrm>
              <a:off x="2093448" y="1632262"/>
              <a:ext cx="109" cy="109"/>
            </a:xfrm>
            <a:custGeom>
              <a:avLst/>
              <a:gdLst/>
              <a:ahLst/>
              <a:cxnLst/>
              <a:rect l="l" t="t" r="r" b="b"/>
              <a:pathLst>
                <a:path w="8" h="8" extrusionOk="0">
                  <a:moveTo>
                    <a:pt x="8"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479" name="Google Shape;4479;p104"/>
            <p:cNvSpPr/>
            <p:nvPr/>
          </p:nvSpPr>
          <p:spPr>
            <a:xfrm>
              <a:off x="2090936" y="1636254"/>
              <a:ext cx="54" cy="244"/>
            </a:xfrm>
            <a:custGeom>
              <a:avLst/>
              <a:gdLst/>
              <a:ahLst/>
              <a:cxnLst/>
              <a:rect l="l" t="t" r="r" b="b"/>
              <a:pathLst>
                <a:path w="4" h="18" extrusionOk="0">
                  <a:moveTo>
                    <a:pt x="4" y="0"/>
                  </a:moveTo>
                  <a:lnTo>
                    <a:pt x="4" y="0"/>
                  </a:lnTo>
                  <a:cubicBezTo>
                    <a:pt x="0" y="7"/>
                    <a:pt x="0" y="11"/>
                    <a:pt x="0" y="18"/>
                  </a:cubicBezTo>
                  <a:cubicBezTo>
                    <a:pt x="0" y="11"/>
                    <a:pt x="4" y="7"/>
                    <a:pt x="4"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480" name="Google Shape;4480;p104"/>
            <p:cNvSpPr/>
            <p:nvPr/>
          </p:nvSpPr>
          <p:spPr>
            <a:xfrm>
              <a:off x="2090841" y="1636919"/>
              <a:ext cx="14" cy="204"/>
            </a:xfrm>
            <a:custGeom>
              <a:avLst/>
              <a:gdLst/>
              <a:ahLst/>
              <a:cxnLst/>
              <a:rect l="l" t="t" r="r" b="b"/>
              <a:pathLst>
                <a:path w="1" h="15" extrusionOk="0">
                  <a:moveTo>
                    <a:pt x="0" y="0"/>
                  </a:moveTo>
                  <a:cubicBezTo>
                    <a:pt x="0" y="4"/>
                    <a:pt x="0" y="7"/>
                    <a:pt x="0" y="14"/>
                  </a:cubicBezTo>
                  <a:cubicBezTo>
                    <a:pt x="0" y="7"/>
                    <a:pt x="0" y="4"/>
                    <a:pt x="0"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481" name="Google Shape;4481;p104"/>
            <p:cNvSpPr/>
            <p:nvPr/>
          </p:nvSpPr>
          <p:spPr>
            <a:xfrm>
              <a:off x="2091357" y="1634774"/>
              <a:ext cx="109" cy="163"/>
            </a:xfrm>
            <a:custGeom>
              <a:avLst/>
              <a:gdLst/>
              <a:ahLst/>
              <a:cxnLst/>
              <a:rect l="l" t="t" r="r" b="b"/>
              <a:pathLst>
                <a:path w="8" h="12" extrusionOk="0">
                  <a:moveTo>
                    <a:pt x="8" y="1"/>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482" name="Google Shape;4482;p104"/>
            <p:cNvSpPr/>
            <p:nvPr/>
          </p:nvSpPr>
          <p:spPr>
            <a:xfrm>
              <a:off x="2093163" y="1632452"/>
              <a:ext cx="109" cy="109"/>
            </a:xfrm>
            <a:custGeom>
              <a:avLst/>
              <a:gdLst/>
              <a:ahLst/>
              <a:cxnLst/>
              <a:rect l="l" t="t" r="r" b="b"/>
              <a:pathLst>
                <a:path w="8" h="8" extrusionOk="0">
                  <a:moveTo>
                    <a:pt x="8"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483" name="Google Shape;4483;p104"/>
            <p:cNvSpPr/>
            <p:nvPr/>
          </p:nvSpPr>
          <p:spPr>
            <a:xfrm>
              <a:off x="2092878" y="1632683"/>
              <a:ext cx="163" cy="109"/>
            </a:xfrm>
            <a:custGeom>
              <a:avLst/>
              <a:gdLst/>
              <a:ahLst/>
              <a:cxnLst/>
              <a:rect l="l" t="t" r="r" b="b"/>
              <a:pathLst>
                <a:path w="12" h="8" extrusionOk="0">
                  <a:moveTo>
                    <a:pt x="11" y="1"/>
                  </a:moveTo>
                  <a:lnTo>
                    <a:pt x="1" y="8"/>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484" name="Google Shape;4484;p104"/>
            <p:cNvSpPr/>
            <p:nvPr/>
          </p:nvSpPr>
          <p:spPr>
            <a:xfrm>
              <a:off x="2199162" y="1650755"/>
              <a:ext cx="65131" cy="41439"/>
            </a:xfrm>
            <a:custGeom>
              <a:avLst/>
              <a:gdLst/>
              <a:ahLst/>
              <a:cxnLst/>
              <a:rect l="l" t="t" r="r" b="b"/>
              <a:pathLst>
                <a:path w="4797" h="3052" extrusionOk="0">
                  <a:moveTo>
                    <a:pt x="3319" y="0"/>
                  </a:moveTo>
                  <a:cubicBezTo>
                    <a:pt x="3260" y="18"/>
                    <a:pt x="3200" y="42"/>
                    <a:pt x="3148" y="77"/>
                  </a:cubicBezTo>
                  <a:cubicBezTo>
                    <a:pt x="3144" y="77"/>
                    <a:pt x="3144" y="81"/>
                    <a:pt x="3141" y="81"/>
                  </a:cubicBezTo>
                  <a:cubicBezTo>
                    <a:pt x="3134" y="95"/>
                    <a:pt x="3123" y="109"/>
                    <a:pt x="3109" y="119"/>
                  </a:cubicBezTo>
                  <a:cubicBezTo>
                    <a:pt x="3050" y="179"/>
                    <a:pt x="2980" y="224"/>
                    <a:pt x="2899" y="249"/>
                  </a:cubicBezTo>
                  <a:cubicBezTo>
                    <a:pt x="2882" y="256"/>
                    <a:pt x="2864" y="259"/>
                    <a:pt x="2847" y="263"/>
                  </a:cubicBezTo>
                  <a:cubicBezTo>
                    <a:pt x="2826" y="270"/>
                    <a:pt x="2801" y="273"/>
                    <a:pt x="2777" y="273"/>
                  </a:cubicBezTo>
                  <a:cubicBezTo>
                    <a:pt x="2749" y="273"/>
                    <a:pt x="2721" y="270"/>
                    <a:pt x="2689" y="266"/>
                  </a:cubicBezTo>
                  <a:cubicBezTo>
                    <a:pt x="2663" y="262"/>
                    <a:pt x="2641" y="259"/>
                    <a:pt x="2622" y="259"/>
                  </a:cubicBezTo>
                  <a:cubicBezTo>
                    <a:pt x="2593" y="259"/>
                    <a:pt x="2572" y="266"/>
                    <a:pt x="2553" y="287"/>
                  </a:cubicBezTo>
                  <a:cubicBezTo>
                    <a:pt x="2489" y="350"/>
                    <a:pt x="2403" y="393"/>
                    <a:pt x="2327" y="393"/>
                  </a:cubicBezTo>
                  <a:cubicBezTo>
                    <a:pt x="2285" y="393"/>
                    <a:pt x="2246" y="380"/>
                    <a:pt x="2217" y="350"/>
                  </a:cubicBezTo>
                  <a:cubicBezTo>
                    <a:pt x="2185" y="322"/>
                    <a:pt x="2048" y="273"/>
                    <a:pt x="1940" y="273"/>
                  </a:cubicBezTo>
                  <a:cubicBezTo>
                    <a:pt x="1828" y="263"/>
                    <a:pt x="1719" y="245"/>
                    <a:pt x="1611" y="217"/>
                  </a:cubicBezTo>
                  <a:cubicBezTo>
                    <a:pt x="1537" y="200"/>
                    <a:pt x="1464" y="186"/>
                    <a:pt x="1390" y="175"/>
                  </a:cubicBezTo>
                  <a:lnTo>
                    <a:pt x="1327" y="175"/>
                  </a:lnTo>
                  <a:lnTo>
                    <a:pt x="1296" y="179"/>
                  </a:lnTo>
                  <a:lnTo>
                    <a:pt x="1285" y="179"/>
                  </a:lnTo>
                  <a:lnTo>
                    <a:pt x="1254" y="182"/>
                  </a:lnTo>
                  <a:lnTo>
                    <a:pt x="1250" y="182"/>
                  </a:lnTo>
                  <a:cubicBezTo>
                    <a:pt x="1243" y="200"/>
                    <a:pt x="1236" y="217"/>
                    <a:pt x="1226" y="235"/>
                  </a:cubicBezTo>
                  <a:lnTo>
                    <a:pt x="1219" y="242"/>
                  </a:lnTo>
                  <a:lnTo>
                    <a:pt x="1212" y="252"/>
                  </a:lnTo>
                  <a:cubicBezTo>
                    <a:pt x="1208" y="259"/>
                    <a:pt x="1201" y="266"/>
                    <a:pt x="1198" y="270"/>
                  </a:cubicBezTo>
                  <a:lnTo>
                    <a:pt x="1191" y="277"/>
                  </a:lnTo>
                  <a:cubicBezTo>
                    <a:pt x="1184" y="284"/>
                    <a:pt x="1173" y="291"/>
                    <a:pt x="1166" y="294"/>
                  </a:cubicBezTo>
                  <a:lnTo>
                    <a:pt x="1142" y="315"/>
                  </a:lnTo>
                  <a:lnTo>
                    <a:pt x="1093" y="347"/>
                  </a:lnTo>
                  <a:cubicBezTo>
                    <a:pt x="1047" y="375"/>
                    <a:pt x="998" y="406"/>
                    <a:pt x="949" y="438"/>
                  </a:cubicBezTo>
                  <a:lnTo>
                    <a:pt x="914" y="455"/>
                  </a:lnTo>
                  <a:cubicBezTo>
                    <a:pt x="869" y="487"/>
                    <a:pt x="827" y="511"/>
                    <a:pt x="802" y="529"/>
                  </a:cubicBezTo>
                  <a:cubicBezTo>
                    <a:pt x="743" y="616"/>
                    <a:pt x="690" y="707"/>
                    <a:pt x="648" y="798"/>
                  </a:cubicBezTo>
                  <a:cubicBezTo>
                    <a:pt x="540" y="1005"/>
                    <a:pt x="417" y="1240"/>
                    <a:pt x="312" y="1345"/>
                  </a:cubicBezTo>
                  <a:cubicBezTo>
                    <a:pt x="235" y="1418"/>
                    <a:pt x="151" y="1481"/>
                    <a:pt x="56" y="1530"/>
                  </a:cubicBezTo>
                  <a:cubicBezTo>
                    <a:pt x="32" y="1544"/>
                    <a:pt x="11" y="1555"/>
                    <a:pt x="0" y="1565"/>
                  </a:cubicBezTo>
                  <a:lnTo>
                    <a:pt x="7" y="1576"/>
                  </a:lnTo>
                  <a:lnTo>
                    <a:pt x="11" y="1583"/>
                  </a:lnTo>
                  <a:lnTo>
                    <a:pt x="21" y="1597"/>
                  </a:lnTo>
                  <a:lnTo>
                    <a:pt x="25" y="1604"/>
                  </a:lnTo>
                  <a:lnTo>
                    <a:pt x="39" y="1618"/>
                  </a:lnTo>
                  <a:lnTo>
                    <a:pt x="42" y="1625"/>
                  </a:lnTo>
                  <a:lnTo>
                    <a:pt x="60" y="1642"/>
                  </a:lnTo>
                  <a:cubicBezTo>
                    <a:pt x="123" y="1716"/>
                    <a:pt x="186" y="1793"/>
                    <a:pt x="186" y="1866"/>
                  </a:cubicBezTo>
                  <a:cubicBezTo>
                    <a:pt x="186" y="1954"/>
                    <a:pt x="225" y="1996"/>
                    <a:pt x="302" y="1996"/>
                  </a:cubicBezTo>
                  <a:cubicBezTo>
                    <a:pt x="337" y="1996"/>
                    <a:pt x="368" y="2010"/>
                    <a:pt x="389" y="2034"/>
                  </a:cubicBezTo>
                  <a:cubicBezTo>
                    <a:pt x="438" y="2087"/>
                    <a:pt x="428" y="2174"/>
                    <a:pt x="417" y="2255"/>
                  </a:cubicBezTo>
                  <a:cubicBezTo>
                    <a:pt x="414" y="2286"/>
                    <a:pt x="410" y="2314"/>
                    <a:pt x="410" y="2342"/>
                  </a:cubicBezTo>
                  <a:cubicBezTo>
                    <a:pt x="435" y="2346"/>
                    <a:pt x="470" y="2353"/>
                    <a:pt x="505" y="2356"/>
                  </a:cubicBezTo>
                  <a:cubicBezTo>
                    <a:pt x="813" y="2402"/>
                    <a:pt x="1044" y="2444"/>
                    <a:pt x="1044" y="2584"/>
                  </a:cubicBezTo>
                  <a:cubicBezTo>
                    <a:pt x="1047" y="2619"/>
                    <a:pt x="1054" y="2650"/>
                    <a:pt x="1065" y="2682"/>
                  </a:cubicBezTo>
                  <a:cubicBezTo>
                    <a:pt x="1075" y="2713"/>
                    <a:pt x="1082" y="2745"/>
                    <a:pt x="1086" y="2776"/>
                  </a:cubicBezTo>
                  <a:lnTo>
                    <a:pt x="1093" y="2780"/>
                  </a:lnTo>
                  <a:lnTo>
                    <a:pt x="1103" y="2787"/>
                  </a:lnTo>
                  <a:lnTo>
                    <a:pt x="1124" y="2797"/>
                  </a:lnTo>
                  <a:lnTo>
                    <a:pt x="1131" y="2804"/>
                  </a:lnTo>
                  <a:cubicBezTo>
                    <a:pt x="1142" y="2808"/>
                    <a:pt x="1152" y="2815"/>
                    <a:pt x="1159" y="2822"/>
                  </a:cubicBezTo>
                  <a:lnTo>
                    <a:pt x="1163" y="2822"/>
                  </a:lnTo>
                  <a:cubicBezTo>
                    <a:pt x="1170" y="2829"/>
                    <a:pt x="1180" y="2836"/>
                    <a:pt x="1187" y="2843"/>
                  </a:cubicBezTo>
                  <a:lnTo>
                    <a:pt x="1198" y="2850"/>
                  </a:lnTo>
                  <a:lnTo>
                    <a:pt x="1215" y="2864"/>
                  </a:lnTo>
                  <a:lnTo>
                    <a:pt x="1222" y="2871"/>
                  </a:lnTo>
                  <a:lnTo>
                    <a:pt x="1240" y="2888"/>
                  </a:lnTo>
                  <a:lnTo>
                    <a:pt x="1247" y="2895"/>
                  </a:lnTo>
                  <a:lnTo>
                    <a:pt x="1268" y="2916"/>
                  </a:lnTo>
                  <a:cubicBezTo>
                    <a:pt x="1285" y="2934"/>
                    <a:pt x="1303" y="2951"/>
                    <a:pt x="1320" y="2965"/>
                  </a:cubicBezTo>
                  <a:cubicBezTo>
                    <a:pt x="1326" y="2965"/>
                    <a:pt x="1332" y="2965"/>
                    <a:pt x="1339" y="2965"/>
                  </a:cubicBezTo>
                  <a:cubicBezTo>
                    <a:pt x="1387" y="2965"/>
                    <a:pt x="1466" y="2976"/>
                    <a:pt x="1607" y="2997"/>
                  </a:cubicBezTo>
                  <a:cubicBezTo>
                    <a:pt x="1702" y="3018"/>
                    <a:pt x="1796" y="3028"/>
                    <a:pt x="1891" y="3032"/>
                  </a:cubicBezTo>
                  <a:lnTo>
                    <a:pt x="1915" y="3028"/>
                  </a:lnTo>
                  <a:lnTo>
                    <a:pt x="2038" y="3028"/>
                  </a:lnTo>
                  <a:cubicBezTo>
                    <a:pt x="2139" y="3028"/>
                    <a:pt x="2266" y="3035"/>
                    <a:pt x="2364" y="3042"/>
                  </a:cubicBezTo>
                  <a:lnTo>
                    <a:pt x="2402" y="3042"/>
                  </a:lnTo>
                  <a:lnTo>
                    <a:pt x="2437" y="3046"/>
                  </a:lnTo>
                  <a:lnTo>
                    <a:pt x="2441" y="3046"/>
                  </a:lnTo>
                  <a:lnTo>
                    <a:pt x="2465" y="3049"/>
                  </a:lnTo>
                  <a:lnTo>
                    <a:pt x="2493" y="3049"/>
                  </a:lnTo>
                  <a:cubicBezTo>
                    <a:pt x="2503" y="3051"/>
                    <a:pt x="2514" y="3052"/>
                    <a:pt x="2525" y="3052"/>
                  </a:cubicBezTo>
                  <a:cubicBezTo>
                    <a:pt x="2621" y="3052"/>
                    <a:pt x="2734" y="2997"/>
                    <a:pt x="2826" y="2909"/>
                  </a:cubicBezTo>
                  <a:cubicBezTo>
                    <a:pt x="2935" y="2797"/>
                    <a:pt x="3227" y="2771"/>
                    <a:pt x="3404" y="2771"/>
                  </a:cubicBezTo>
                  <a:cubicBezTo>
                    <a:pt x="3458" y="2771"/>
                    <a:pt x="3502" y="2773"/>
                    <a:pt x="3526" y="2776"/>
                  </a:cubicBezTo>
                  <a:lnTo>
                    <a:pt x="3529" y="2776"/>
                  </a:lnTo>
                  <a:cubicBezTo>
                    <a:pt x="3729" y="2801"/>
                    <a:pt x="3925" y="2832"/>
                    <a:pt x="3998" y="2920"/>
                  </a:cubicBezTo>
                  <a:cubicBezTo>
                    <a:pt x="4002" y="2923"/>
                    <a:pt x="4005" y="2930"/>
                    <a:pt x="4012" y="2937"/>
                  </a:cubicBezTo>
                  <a:cubicBezTo>
                    <a:pt x="4012" y="2941"/>
                    <a:pt x="4016" y="2941"/>
                    <a:pt x="4019" y="2944"/>
                  </a:cubicBezTo>
                  <a:lnTo>
                    <a:pt x="4023" y="2948"/>
                  </a:lnTo>
                  <a:lnTo>
                    <a:pt x="4033" y="2951"/>
                  </a:lnTo>
                  <a:lnTo>
                    <a:pt x="4040" y="2958"/>
                  </a:lnTo>
                  <a:lnTo>
                    <a:pt x="4054" y="2965"/>
                  </a:lnTo>
                  <a:lnTo>
                    <a:pt x="4065" y="2969"/>
                  </a:lnTo>
                  <a:lnTo>
                    <a:pt x="4086" y="2979"/>
                  </a:lnTo>
                  <a:lnTo>
                    <a:pt x="4096" y="2983"/>
                  </a:lnTo>
                  <a:lnTo>
                    <a:pt x="4124" y="2997"/>
                  </a:lnTo>
                  <a:lnTo>
                    <a:pt x="4135" y="3000"/>
                  </a:lnTo>
                  <a:lnTo>
                    <a:pt x="4180" y="3021"/>
                  </a:lnTo>
                  <a:lnTo>
                    <a:pt x="4187" y="3021"/>
                  </a:lnTo>
                  <a:lnTo>
                    <a:pt x="4229" y="3039"/>
                  </a:lnTo>
                  <a:cubicBezTo>
                    <a:pt x="4229" y="3018"/>
                    <a:pt x="4229" y="2993"/>
                    <a:pt x="4226" y="2972"/>
                  </a:cubicBezTo>
                  <a:cubicBezTo>
                    <a:pt x="4219" y="2927"/>
                    <a:pt x="4219" y="2885"/>
                    <a:pt x="4222" y="2839"/>
                  </a:cubicBezTo>
                  <a:cubicBezTo>
                    <a:pt x="4229" y="2647"/>
                    <a:pt x="4342" y="2353"/>
                    <a:pt x="4555" y="2332"/>
                  </a:cubicBezTo>
                  <a:lnTo>
                    <a:pt x="4576" y="2332"/>
                  </a:lnTo>
                  <a:cubicBezTo>
                    <a:pt x="4737" y="2318"/>
                    <a:pt x="4797" y="2314"/>
                    <a:pt x="4779" y="2108"/>
                  </a:cubicBezTo>
                  <a:lnTo>
                    <a:pt x="4769" y="2101"/>
                  </a:lnTo>
                  <a:lnTo>
                    <a:pt x="4758" y="2090"/>
                  </a:lnTo>
                  <a:lnTo>
                    <a:pt x="4741" y="2076"/>
                  </a:lnTo>
                  <a:lnTo>
                    <a:pt x="4730" y="2066"/>
                  </a:lnTo>
                  <a:lnTo>
                    <a:pt x="4716" y="2055"/>
                  </a:lnTo>
                  <a:lnTo>
                    <a:pt x="4706" y="2048"/>
                  </a:lnTo>
                  <a:lnTo>
                    <a:pt x="4695" y="2038"/>
                  </a:lnTo>
                  <a:lnTo>
                    <a:pt x="4688" y="2034"/>
                  </a:lnTo>
                  <a:lnTo>
                    <a:pt x="4678" y="2027"/>
                  </a:lnTo>
                  <a:lnTo>
                    <a:pt x="4671" y="2024"/>
                  </a:lnTo>
                  <a:lnTo>
                    <a:pt x="4664" y="2017"/>
                  </a:lnTo>
                  <a:lnTo>
                    <a:pt x="4660" y="2013"/>
                  </a:lnTo>
                  <a:lnTo>
                    <a:pt x="4653" y="2010"/>
                  </a:lnTo>
                  <a:lnTo>
                    <a:pt x="4646" y="2006"/>
                  </a:lnTo>
                  <a:cubicBezTo>
                    <a:pt x="4601" y="2024"/>
                    <a:pt x="4559" y="2045"/>
                    <a:pt x="4520" y="2066"/>
                  </a:cubicBezTo>
                  <a:cubicBezTo>
                    <a:pt x="4438" y="2112"/>
                    <a:pt x="4387" y="2136"/>
                    <a:pt x="4346" y="2136"/>
                  </a:cubicBezTo>
                  <a:cubicBezTo>
                    <a:pt x="4343" y="2136"/>
                    <a:pt x="4341" y="2136"/>
                    <a:pt x="4338" y="2136"/>
                  </a:cubicBezTo>
                  <a:lnTo>
                    <a:pt x="4335" y="2136"/>
                  </a:lnTo>
                  <a:cubicBezTo>
                    <a:pt x="4321" y="2136"/>
                    <a:pt x="4307" y="2132"/>
                    <a:pt x="4289" y="2129"/>
                  </a:cubicBezTo>
                  <a:cubicBezTo>
                    <a:pt x="4226" y="2118"/>
                    <a:pt x="4170" y="2097"/>
                    <a:pt x="4117" y="2062"/>
                  </a:cubicBezTo>
                  <a:lnTo>
                    <a:pt x="4110" y="2059"/>
                  </a:lnTo>
                  <a:cubicBezTo>
                    <a:pt x="4100" y="2052"/>
                    <a:pt x="4093" y="2045"/>
                    <a:pt x="4086" y="2034"/>
                  </a:cubicBezTo>
                  <a:cubicBezTo>
                    <a:pt x="4075" y="2027"/>
                    <a:pt x="4072" y="2017"/>
                    <a:pt x="4065" y="2006"/>
                  </a:cubicBezTo>
                  <a:cubicBezTo>
                    <a:pt x="4061" y="1999"/>
                    <a:pt x="4061" y="1989"/>
                    <a:pt x="4061" y="1982"/>
                  </a:cubicBezTo>
                  <a:lnTo>
                    <a:pt x="4061" y="1975"/>
                  </a:lnTo>
                  <a:cubicBezTo>
                    <a:pt x="4058" y="1968"/>
                    <a:pt x="4058" y="1961"/>
                    <a:pt x="4061" y="1957"/>
                  </a:cubicBezTo>
                  <a:lnTo>
                    <a:pt x="4061" y="1950"/>
                  </a:lnTo>
                  <a:cubicBezTo>
                    <a:pt x="4061" y="1947"/>
                    <a:pt x="4061" y="1940"/>
                    <a:pt x="4065" y="1933"/>
                  </a:cubicBezTo>
                  <a:cubicBezTo>
                    <a:pt x="4054" y="1919"/>
                    <a:pt x="4047" y="1901"/>
                    <a:pt x="4040" y="1887"/>
                  </a:cubicBezTo>
                  <a:cubicBezTo>
                    <a:pt x="4037" y="1884"/>
                    <a:pt x="4033" y="1880"/>
                    <a:pt x="4033" y="1873"/>
                  </a:cubicBezTo>
                  <a:cubicBezTo>
                    <a:pt x="4026" y="1863"/>
                    <a:pt x="4019" y="1852"/>
                    <a:pt x="4012" y="1838"/>
                  </a:cubicBezTo>
                  <a:cubicBezTo>
                    <a:pt x="4005" y="1824"/>
                    <a:pt x="4009" y="1824"/>
                    <a:pt x="4005" y="1817"/>
                  </a:cubicBezTo>
                  <a:cubicBezTo>
                    <a:pt x="4002" y="1814"/>
                    <a:pt x="3995" y="1796"/>
                    <a:pt x="3991" y="1786"/>
                  </a:cubicBezTo>
                  <a:cubicBezTo>
                    <a:pt x="3988" y="1772"/>
                    <a:pt x="3984" y="1772"/>
                    <a:pt x="3984" y="1761"/>
                  </a:cubicBezTo>
                  <a:cubicBezTo>
                    <a:pt x="3981" y="1754"/>
                    <a:pt x="3977" y="1740"/>
                    <a:pt x="3974" y="1730"/>
                  </a:cubicBezTo>
                  <a:cubicBezTo>
                    <a:pt x="3970" y="1716"/>
                    <a:pt x="3970" y="1712"/>
                    <a:pt x="3967" y="1705"/>
                  </a:cubicBezTo>
                  <a:cubicBezTo>
                    <a:pt x="3963" y="1698"/>
                    <a:pt x="3960" y="1684"/>
                    <a:pt x="3960" y="1670"/>
                  </a:cubicBezTo>
                  <a:cubicBezTo>
                    <a:pt x="3956" y="1660"/>
                    <a:pt x="3956" y="1656"/>
                    <a:pt x="3953" y="1649"/>
                  </a:cubicBezTo>
                  <a:cubicBezTo>
                    <a:pt x="3953" y="1642"/>
                    <a:pt x="3949" y="1625"/>
                    <a:pt x="3949" y="1614"/>
                  </a:cubicBezTo>
                  <a:cubicBezTo>
                    <a:pt x="3946" y="1600"/>
                    <a:pt x="3949" y="1600"/>
                    <a:pt x="3946" y="1597"/>
                  </a:cubicBezTo>
                  <a:cubicBezTo>
                    <a:pt x="3946" y="1579"/>
                    <a:pt x="3942" y="1562"/>
                    <a:pt x="3942" y="1544"/>
                  </a:cubicBezTo>
                  <a:cubicBezTo>
                    <a:pt x="3939" y="1467"/>
                    <a:pt x="3942" y="1327"/>
                    <a:pt x="4012" y="1257"/>
                  </a:cubicBezTo>
                  <a:cubicBezTo>
                    <a:pt x="4068" y="1201"/>
                    <a:pt x="3883" y="837"/>
                    <a:pt x="3662" y="581"/>
                  </a:cubicBezTo>
                  <a:lnTo>
                    <a:pt x="3648" y="564"/>
                  </a:lnTo>
                  <a:lnTo>
                    <a:pt x="3645" y="560"/>
                  </a:lnTo>
                  <a:lnTo>
                    <a:pt x="3638" y="546"/>
                  </a:lnTo>
                  <a:lnTo>
                    <a:pt x="3631" y="539"/>
                  </a:lnTo>
                  <a:lnTo>
                    <a:pt x="3620" y="525"/>
                  </a:lnTo>
                  <a:lnTo>
                    <a:pt x="3613" y="515"/>
                  </a:lnTo>
                  <a:lnTo>
                    <a:pt x="3606" y="501"/>
                  </a:lnTo>
                  <a:lnTo>
                    <a:pt x="3596" y="487"/>
                  </a:lnTo>
                  <a:lnTo>
                    <a:pt x="3589" y="476"/>
                  </a:lnTo>
                  <a:lnTo>
                    <a:pt x="3578" y="459"/>
                  </a:lnTo>
                  <a:lnTo>
                    <a:pt x="3568" y="445"/>
                  </a:lnTo>
                  <a:lnTo>
                    <a:pt x="3557" y="427"/>
                  </a:lnTo>
                  <a:lnTo>
                    <a:pt x="3547" y="413"/>
                  </a:lnTo>
                  <a:lnTo>
                    <a:pt x="3536" y="392"/>
                  </a:lnTo>
                  <a:lnTo>
                    <a:pt x="3526" y="375"/>
                  </a:lnTo>
                  <a:lnTo>
                    <a:pt x="3515" y="354"/>
                  </a:lnTo>
                  <a:lnTo>
                    <a:pt x="3505" y="336"/>
                  </a:lnTo>
                  <a:lnTo>
                    <a:pt x="3491" y="315"/>
                  </a:lnTo>
                  <a:lnTo>
                    <a:pt x="3480" y="294"/>
                  </a:lnTo>
                  <a:lnTo>
                    <a:pt x="3466" y="270"/>
                  </a:lnTo>
                  <a:lnTo>
                    <a:pt x="3452" y="249"/>
                  </a:lnTo>
                  <a:lnTo>
                    <a:pt x="3438" y="224"/>
                  </a:lnTo>
                  <a:lnTo>
                    <a:pt x="3428" y="200"/>
                  </a:lnTo>
                  <a:lnTo>
                    <a:pt x="3414" y="175"/>
                  </a:lnTo>
                  <a:lnTo>
                    <a:pt x="3396" y="144"/>
                  </a:lnTo>
                  <a:lnTo>
                    <a:pt x="3386" y="123"/>
                  </a:lnTo>
                  <a:lnTo>
                    <a:pt x="3365" y="84"/>
                  </a:lnTo>
                  <a:lnTo>
                    <a:pt x="3354" y="67"/>
                  </a:lnTo>
                  <a:lnTo>
                    <a:pt x="3330" y="21"/>
                  </a:lnTo>
                  <a:lnTo>
                    <a:pt x="3323" y="11"/>
                  </a:lnTo>
                  <a:lnTo>
                    <a:pt x="3319"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485" name="Google Shape;4485;p104"/>
            <p:cNvSpPr/>
            <p:nvPr/>
          </p:nvSpPr>
          <p:spPr>
            <a:xfrm>
              <a:off x="2215795" y="1653321"/>
              <a:ext cx="353" cy="720"/>
            </a:xfrm>
            <a:custGeom>
              <a:avLst/>
              <a:gdLst/>
              <a:ahLst/>
              <a:cxnLst/>
              <a:rect l="l" t="t" r="r" b="b"/>
              <a:pathLst>
                <a:path w="26" h="53" extrusionOk="0">
                  <a:moveTo>
                    <a:pt x="1" y="53"/>
                  </a:moveTo>
                  <a:cubicBezTo>
                    <a:pt x="11" y="35"/>
                    <a:pt x="18" y="18"/>
                    <a:pt x="25" y="0"/>
                  </a:cubicBezTo>
                  <a:lnTo>
                    <a:pt x="25" y="0"/>
                  </a:lnTo>
                  <a:cubicBezTo>
                    <a:pt x="18" y="18"/>
                    <a:pt x="11" y="35"/>
                    <a:pt x="1" y="53"/>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486" name="Google Shape;4486;p104"/>
            <p:cNvSpPr/>
            <p:nvPr/>
          </p:nvSpPr>
          <p:spPr>
            <a:xfrm>
              <a:off x="2214654" y="1654841"/>
              <a:ext cx="353" cy="244"/>
            </a:xfrm>
            <a:custGeom>
              <a:avLst/>
              <a:gdLst/>
              <a:ahLst/>
              <a:cxnLst/>
              <a:rect l="l" t="t" r="r" b="b"/>
              <a:pathLst>
                <a:path w="26" h="18" extrusionOk="0">
                  <a:moveTo>
                    <a:pt x="1" y="18"/>
                  </a:moveTo>
                  <a:lnTo>
                    <a:pt x="25" y="0"/>
                  </a:lnTo>
                  <a:lnTo>
                    <a:pt x="25"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487" name="Google Shape;4487;p104"/>
            <p:cNvSpPr/>
            <p:nvPr/>
          </p:nvSpPr>
          <p:spPr>
            <a:xfrm>
              <a:off x="2199108" y="1671623"/>
              <a:ext cx="774" cy="489"/>
            </a:xfrm>
            <a:custGeom>
              <a:avLst/>
              <a:gdLst/>
              <a:ahLst/>
              <a:cxnLst/>
              <a:rect l="l" t="t" r="r" b="b"/>
              <a:pathLst>
                <a:path w="57" h="36" extrusionOk="0">
                  <a:moveTo>
                    <a:pt x="57" y="0"/>
                  </a:moveTo>
                  <a:cubicBezTo>
                    <a:pt x="36" y="14"/>
                    <a:pt x="15" y="25"/>
                    <a:pt x="1" y="35"/>
                  </a:cubicBezTo>
                  <a:cubicBezTo>
                    <a:pt x="15" y="25"/>
                    <a:pt x="39" y="14"/>
                    <a:pt x="57"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488" name="Google Shape;4488;p104"/>
            <p:cNvSpPr/>
            <p:nvPr/>
          </p:nvSpPr>
          <p:spPr>
            <a:xfrm>
              <a:off x="2215319" y="1654502"/>
              <a:ext cx="109" cy="68"/>
            </a:xfrm>
            <a:custGeom>
              <a:avLst/>
              <a:gdLst/>
              <a:ahLst/>
              <a:cxnLst/>
              <a:rect l="l" t="t" r="r" b="b"/>
              <a:pathLst>
                <a:path w="8" h="5" extrusionOk="0">
                  <a:moveTo>
                    <a:pt x="8" y="1"/>
                  </a:moveTo>
                  <a:lnTo>
                    <a:pt x="1" y="4"/>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489" name="Google Shape;4489;p104"/>
            <p:cNvSpPr/>
            <p:nvPr/>
          </p:nvSpPr>
          <p:spPr>
            <a:xfrm>
              <a:off x="2213948" y="1655127"/>
              <a:ext cx="679" cy="434"/>
            </a:xfrm>
            <a:custGeom>
              <a:avLst/>
              <a:gdLst/>
              <a:ahLst/>
              <a:cxnLst/>
              <a:rect l="l" t="t" r="r" b="b"/>
              <a:pathLst>
                <a:path w="50" h="32" extrusionOk="0">
                  <a:moveTo>
                    <a:pt x="49" y="0"/>
                  </a:moveTo>
                  <a:lnTo>
                    <a:pt x="0" y="32"/>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490" name="Google Shape;4490;p104"/>
            <p:cNvSpPr/>
            <p:nvPr/>
          </p:nvSpPr>
          <p:spPr>
            <a:xfrm>
              <a:off x="2215659" y="1654122"/>
              <a:ext cx="109" cy="163"/>
            </a:xfrm>
            <a:custGeom>
              <a:avLst/>
              <a:gdLst/>
              <a:ahLst/>
              <a:cxnLst/>
              <a:rect l="l" t="t" r="r" b="b"/>
              <a:pathLst>
                <a:path w="8" h="12" extrusionOk="0">
                  <a:moveTo>
                    <a:pt x="7" y="1"/>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491" name="Google Shape;4491;p104"/>
            <p:cNvSpPr/>
            <p:nvPr/>
          </p:nvSpPr>
          <p:spPr>
            <a:xfrm>
              <a:off x="2245977" y="1649234"/>
              <a:ext cx="20746" cy="26205"/>
            </a:xfrm>
            <a:custGeom>
              <a:avLst/>
              <a:gdLst/>
              <a:ahLst/>
              <a:cxnLst/>
              <a:rect l="l" t="t" r="r" b="b"/>
              <a:pathLst>
                <a:path w="1528" h="1930" extrusionOk="0">
                  <a:moveTo>
                    <a:pt x="316" y="0"/>
                  </a:moveTo>
                  <a:cubicBezTo>
                    <a:pt x="315" y="0"/>
                    <a:pt x="313" y="0"/>
                    <a:pt x="312" y="0"/>
                  </a:cubicBezTo>
                  <a:cubicBezTo>
                    <a:pt x="207" y="18"/>
                    <a:pt x="102" y="42"/>
                    <a:pt x="1" y="77"/>
                  </a:cubicBezTo>
                  <a:lnTo>
                    <a:pt x="11" y="98"/>
                  </a:lnTo>
                  <a:lnTo>
                    <a:pt x="25" y="126"/>
                  </a:lnTo>
                  <a:lnTo>
                    <a:pt x="43" y="158"/>
                  </a:lnTo>
                  <a:lnTo>
                    <a:pt x="57" y="179"/>
                  </a:lnTo>
                  <a:lnTo>
                    <a:pt x="81" y="228"/>
                  </a:lnTo>
                  <a:lnTo>
                    <a:pt x="95" y="252"/>
                  </a:lnTo>
                  <a:lnTo>
                    <a:pt x="109" y="273"/>
                  </a:lnTo>
                  <a:lnTo>
                    <a:pt x="120" y="298"/>
                  </a:lnTo>
                  <a:lnTo>
                    <a:pt x="134" y="319"/>
                  </a:lnTo>
                  <a:lnTo>
                    <a:pt x="144" y="340"/>
                  </a:lnTo>
                  <a:lnTo>
                    <a:pt x="158" y="361"/>
                  </a:lnTo>
                  <a:lnTo>
                    <a:pt x="169" y="382"/>
                  </a:lnTo>
                  <a:lnTo>
                    <a:pt x="179" y="399"/>
                  </a:lnTo>
                  <a:lnTo>
                    <a:pt x="190" y="417"/>
                  </a:lnTo>
                  <a:lnTo>
                    <a:pt x="200" y="434"/>
                  </a:lnTo>
                  <a:lnTo>
                    <a:pt x="211" y="452"/>
                  </a:lnTo>
                  <a:lnTo>
                    <a:pt x="218" y="469"/>
                  </a:lnTo>
                  <a:lnTo>
                    <a:pt x="228" y="483"/>
                  </a:lnTo>
                  <a:lnTo>
                    <a:pt x="239" y="497"/>
                  </a:lnTo>
                  <a:lnTo>
                    <a:pt x="246" y="511"/>
                  </a:lnTo>
                  <a:lnTo>
                    <a:pt x="256" y="525"/>
                  </a:lnTo>
                  <a:lnTo>
                    <a:pt x="263" y="539"/>
                  </a:lnTo>
                  <a:lnTo>
                    <a:pt x="270" y="550"/>
                  </a:lnTo>
                  <a:lnTo>
                    <a:pt x="277" y="560"/>
                  </a:lnTo>
                  <a:lnTo>
                    <a:pt x="284" y="574"/>
                  </a:lnTo>
                  <a:lnTo>
                    <a:pt x="291" y="581"/>
                  </a:lnTo>
                  <a:lnTo>
                    <a:pt x="298" y="592"/>
                  </a:lnTo>
                  <a:lnTo>
                    <a:pt x="302" y="599"/>
                  </a:lnTo>
                  <a:lnTo>
                    <a:pt x="312" y="609"/>
                  </a:lnTo>
                  <a:cubicBezTo>
                    <a:pt x="319" y="616"/>
                    <a:pt x="859" y="1261"/>
                    <a:pt x="655" y="1467"/>
                  </a:cubicBezTo>
                  <a:cubicBezTo>
                    <a:pt x="638" y="1485"/>
                    <a:pt x="617" y="1555"/>
                    <a:pt x="624" y="1653"/>
                  </a:cubicBezTo>
                  <a:cubicBezTo>
                    <a:pt x="624" y="1670"/>
                    <a:pt x="627" y="1684"/>
                    <a:pt x="627" y="1702"/>
                  </a:cubicBezTo>
                  <a:lnTo>
                    <a:pt x="627" y="1716"/>
                  </a:lnTo>
                  <a:cubicBezTo>
                    <a:pt x="631" y="1726"/>
                    <a:pt x="631" y="1737"/>
                    <a:pt x="634" y="1751"/>
                  </a:cubicBezTo>
                  <a:lnTo>
                    <a:pt x="634" y="1765"/>
                  </a:lnTo>
                  <a:cubicBezTo>
                    <a:pt x="638" y="1779"/>
                    <a:pt x="641" y="1793"/>
                    <a:pt x="645" y="1807"/>
                  </a:cubicBezTo>
                  <a:cubicBezTo>
                    <a:pt x="652" y="1821"/>
                    <a:pt x="655" y="1835"/>
                    <a:pt x="659" y="1852"/>
                  </a:cubicBezTo>
                  <a:lnTo>
                    <a:pt x="666" y="1863"/>
                  </a:lnTo>
                  <a:cubicBezTo>
                    <a:pt x="669" y="1870"/>
                    <a:pt x="673" y="1880"/>
                    <a:pt x="676" y="1891"/>
                  </a:cubicBezTo>
                  <a:lnTo>
                    <a:pt x="680" y="1901"/>
                  </a:lnTo>
                  <a:cubicBezTo>
                    <a:pt x="687" y="1912"/>
                    <a:pt x="690" y="1922"/>
                    <a:pt x="697" y="1929"/>
                  </a:cubicBezTo>
                  <a:cubicBezTo>
                    <a:pt x="911" y="1656"/>
                    <a:pt x="946" y="1572"/>
                    <a:pt x="950" y="1551"/>
                  </a:cubicBezTo>
                  <a:cubicBezTo>
                    <a:pt x="943" y="1471"/>
                    <a:pt x="964" y="1390"/>
                    <a:pt x="1002" y="1320"/>
                  </a:cubicBezTo>
                  <a:cubicBezTo>
                    <a:pt x="1016" y="1303"/>
                    <a:pt x="1030" y="1289"/>
                    <a:pt x="1048" y="1275"/>
                  </a:cubicBezTo>
                  <a:cubicBezTo>
                    <a:pt x="1085" y="1249"/>
                    <a:pt x="1128" y="1236"/>
                    <a:pt x="1172" y="1236"/>
                  </a:cubicBezTo>
                  <a:cubicBezTo>
                    <a:pt x="1195" y="1236"/>
                    <a:pt x="1218" y="1239"/>
                    <a:pt x="1240" y="1247"/>
                  </a:cubicBezTo>
                  <a:cubicBezTo>
                    <a:pt x="1300" y="1261"/>
                    <a:pt x="1356" y="1278"/>
                    <a:pt x="1405" y="1292"/>
                  </a:cubicBezTo>
                  <a:cubicBezTo>
                    <a:pt x="1443" y="1306"/>
                    <a:pt x="1492" y="1320"/>
                    <a:pt x="1527" y="1327"/>
                  </a:cubicBezTo>
                  <a:cubicBezTo>
                    <a:pt x="1513" y="1247"/>
                    <a:pt x="1471" y="1113"/>
                    <a:pt x="1422" y="1064"/>
                  </a:cubicBezTo>
                  <a:cubicBezTo>
                    <a:pt x="1335" y="977"/>
                    <a:pt x="1135" y="711"/>
                    <a:pt x="1065" y="487"/>
                  </a:cubicBezTo>
                  <a:cubicBezTo>
                    <a:pt x="1020" y="354"/>
                    <a:pt x="897" y="256"/>
                    <a:pt x="757" y="245"/>
                  </a:cubicBezTo>
                  <a:lnTo>
                    <a:pt x="739" y="245"/>
                  </a:lnTo>
                  <a:cubicBezTo>
                    <a:pt x="662" y="245"/>
                    <a:pt x="585" y="182"/>
                    <a:pt x="501" y="116"/>
                  </a:cubicBezTo>
                  <a:cubicBezTo>
                    <a:pt x="440" y="65"/>
                    <a:pt x="359" y="0"/>
                    <a:pt x="316"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492" name="Google Shape;4492;p104"/>
            <p:cNvSpPr/>
            <p:nvPr/>
          </p:nvSpPr>
          <p:spPr>
            <a:xfrm>
              <a:off x="2249548" y="1656498"/>
              <a:ext cx="149" cy="204"/>
            </a:xfrm>
            <a:custGeom>
              <a:avLst/>
              <a:gdLst/>
              <a:ahLst/>
              <a:cxnLst/>
              <a:rect l="l" t="t" r="r" b="b"/>
              <a:pathLst>
                <a:path w="11" h="15" extrusionOk="0">
                  <a:moveTo>
                    <a:pt x="11" y="15"/>
                  </a:moveTo>
                  <a:lnTo>
                    <a:pt x="0"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493" name="Google Shape;4493;p104"/>
            <p:cNvSpPr/>
            <p:nvPr/>
          </p:nvSpPr>
          <p:spPr>
            <a:xfrm>
              <a:off x="2249304" y="1656172"/>
              <a:ext cx="163" cy="204"/>
            </a:xfrm>
            <a:custGeom>
              <a:avLst/>
              <a:gdLst/>
              <a:ahLst/>
              <a:cxnLst/>
              <a:rect l="l" t="t" r="r" b="b"/>
              <a:pathLst>
                <a:path w="12" h="15" extrusionOk="0">
                  <a:moveTo>
                    <a:pt x="11" y="1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494" name="Google Shape;4494;p104"/>
            <p:cNvSpPr/>
            <p:nvPr/>
          </p:nvSpPr>
          <p:spPr>
            <a:xfrm>
              <a:off x="2254776" y="1673714"/>
              <a:ext cx="204" cy="584"/>
            </a:xfrm>
            <a:custGeom>
              <a:avLst/>
              <a:gdLst/>
              <a:ahLst/>
              <a:cxnLst/>
              <a:rect l="l" t="t" r="r" b="b"/>
              <a:pathLst>
                <a:path w="15" h="43" extrusionOk="0">
                  <a:moveTo>
                    <a:pt x="0" y="0"/>
                  </a:moveTo>
                  <a:cubicBezTo>
                    <a:pt x="4" y="18"/>
                    <a:pt x="11" y="32"/>
                    <a:pt x="14" y="42"/>
                  </a:cubicBezTo>
                  <a:cubicBezTo>
                    <a:pt x="11" y="28"/>
                    <a:pt x="7" y="18"/>
                    <a:pt x="0"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495" name="Google Shape;4495;p104"/>
            <p:cNvSpPr/>
            <p:nvPr/>
          </p:nvSpPr>
          <p:spPr>
            <a:xfrm>
              <a:off x="2254626" y="1673144"/>
              <a:ext cx="163" cy="625"/>
            </a:xfrm>
            <a:custGeom>
              <a:avLst/>
              <a:gdLst/>
              <a:ahLst/>
              <a:cxnLst/>
              <a:rect l="l" t="t" r="r" b="b"/>
              <a:pathLst>
                <a:path w="12" h="46" extrusionOk="0">
                  <a:moveTo>
                    <a:pt x="1" y="0"/>
                  </a:moveTo>
                  <a:lnTo>
                    <a:pt x="1" y="0"/>
                  </a:lnTo>
                  <a:cubicBezTo>
                    <a:pt x="4" y="14"/>
                    <a:pt x="8" y="32"/>
                    <a:pt x="11" y="46"/>
                  </a:cubicBezTo>
                  <a:cubicBezTo>
                    <a:pt x="8" y="28"/>
                    <a:pt x="4" y="14"/>
                    <a:pt x="1"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496" name="Google Shape;4496;p104"/>
            <p:cNvSpPr/>
            <p:nvPr/>
          </p:nvSpPr>
          <p:spPr>
            <a:xfrm>
              <a:off x="2255251" y="1674950"/>
              <a:ext cx="244" cy="434"/>
            </a:xfrm>
            <a:custGeom>
              <a:avLst/>
              <a:gdLst/>
              <a:ahLst/>
              <a:cxnLst/>
              <a:rect l="l" t="t" r="r" b="b"/>
              <a:pathLst>
                <a:path w="18" h="32" extrusionOk="0">
                  <a:moveTo>
                    <a:pt x="1" y="0"/>
                  </a:moveTo>
                  <a:lnTo>
                    <a:pt x="1" y="0"/>
                  </a:lnTo>
                  <a:cubicBezTo>
                    <a:pt x="7" y="14"/>
                    <a:pt x="11" y="25"/>
                    <a:pt x="18" y="32"/>
                  </a:cubicBezTo>
                  <a:cubicBezTo>
                    <a:pt x="11" y="21"/>
                    <a:pt x="7" y="14"/>
                    <a:pt x="1"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497" name="Google Shape;4497;p104"/>
            <p:cNvSpPr/>
            <p:nvPr/>
          </p:nvSpPr>
          <p:spPr>
            <a:xfrm>
              <a:off x="2254531" y="1672479"/>
              <a:ext cx="109" cy="489"/>
            </a:xfrm>
            <a:custGeom>
              <a:avLst/>
              <a:gdLst/>
              <a:ahLst/>
              <a:cxnLst/>
              <a:rect l="l" t="t" r="r" b="b"/>
              <a:pathLst>
                <a:path w="8" h="36" extrusionOk="0">
                  <a:moveTo>
                    <a:pt x="1" y="0"/>
                  </a:moveTo>
                  <a:cubicBezTo>
                    <a:pt x="1" y="11"/>
                    <a:pt x="4" y="25"/>
                    <a:pt x="8" y="35"/>
                  </a:cubicBezTo>
                  <a:cubicBezTo>
                    <a:pt x="4" y="25"/>
                    <a:pt x="4" y="11"/>
                    <a:pt x="1"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498" name="Google Shape;4498;p104"/>
            <p:cNvSpPr/>
            <p:nvPr/>
          </p:nvSpPr>
          <p:spPr>
            <a:xfrm>
              <a:off x="2250119" y="1657313"/>
              <a:ext cx="149" cy="204"/>
            </a:xfrm>
            <a:custGeom>
              <a:avLst/>
              <a:gdLst/>
              <a:ahLst/>
              <a:cxnLst/>
              <a:rect l="l" t="t" r="r" b="b"/>
              <a:pathLst>
                <a:path w="11" h="15" extrusionOk="0">
                  <a:moveTo>
                    <a:pt x="11" y="1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499" name="Google Shape;4499;p104"/>
            <p:cNvSpPr/>
            <p:nvPr/>
          </p:nvSpPr>
          <p:spPr>
            <a:xfrm>
              <a:off x="2249928" y="1657068"/>
              <a:ext cx="109" cy="163"/>
            </a:xfrm>
            <a:custGeom>
              <a:avLst/>
              <a:gdLst/>
              <a:ahLst/>
              <a:cxnLst/>
              <a:rect l="l" t="t" r="r" b="b"/>
              <a:pathLst>
                <a:path w="8" h="12" extrusionOk="0">
                  <a:moveTo>
                    <a:pt x="7" y="1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500" name="Google Shape;4500;p104"/>
            <p:cNvSpPr/>
            <p:nvPr/>
          </p:nvSpPr>
          <p:spPr>
            <a:xfrm>
              <a:off x="2254436" y="1671623"/>
              <a:ext cx="109" cy="679"/>
            </a:xfrm>
            <a:custGeom>
              <a:avLst/>
              <a:gdLst/>
              <a:ahLst/>
              <a:cxnLst/>
              <a:rect l="l" t="t" r="r" b="b"/>
              <a:pathLst>
                <a:path w="8" h="50" extrusionOk="0">
                  <a:moveTo>
                    <a:pt x="1" y="0"/>
                  </a:moveTo>
                  <a:cubicBezTo>
                    <a:pt x="4" y="18"/>
                    <a:pt x="4" y="35"/>
                    <a:pt x="8" y="49"/>
                  </a:cubicBezTo>
                  <a:cubicBezTo>
                    <a:pt x="8" y="35"/>
                    <a:pt x="4" y="18"/>
                    <a:pt x="1"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501" name="Google Shape;4501;p104"/>
            <p:cNvSpPr/>
            <p:nvPr/>
          </p:nvSpPr>
          <p:spPr>
            <a:xfrm>
              <a:off x="2249738" y="1656837"/>
              <a:ext cx="149" cy="149"/>
            </a:xfrm>
            <a:custGeom>
              <a:avLst/>
              <a:gdLst/>
              <a:ahLst/>
              <a:cxnLst/>
              <a:rect l="l" t="t" r="r" b="b"/>
              <a:pathLst>
                <a:path w="11" h="11" extrusionOk="0">
                  <a:moveTo>
                    <a:pt x="11" y="11"/>
                  </a:moveTo>
                  <a:lnTo>
                    <a:pt x="0"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502" name="Google Shape;4502;p104"/>
            <p:cNvSpPr/>
            <p:nvPr/>
          </p:nvSpPr>
          <p:spPr>
            <a:xfrm>
              <a:off x="2255006" y="1674420"/>
              <a:ext cx="204" cy="394"/>
            </a:xfrm>
            <a:custGeom>
              <a:avLst/>
              <a:gdLst/>
              <a:ahLst/>
              <a:cxnLst/>
              <a:rect l="l" t="t" r="r" b="b"/>
              <a:pathLst>
                <a:path w="15" h="29" extrusionOk="0">
                  <a:moveTo>
                    <a:pt x="15" y="29"/>
                  </a:moveTo>
                  <a:cubicBezTo>
                    <a:pt x="11" y="22"/>
                    <a:pt x="4" y="11"/>
                    <a:pt x="1" y="1"/>
                  </a:cubicBezTo>
                  <a:cubicBezTo>
                    <a:pt x="4" y="11"/>
                    <a:pt x="11" y="22"/>
                    <a:pt x="15" y="29"/>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503" name="Google Shape;4503;p104"/>
            <p:cNvSpPr/>
            <p:nvPr/>
          </p:nvSpPr>
          <p:spPr>
            <a:xfrm>
              <a:off x="2247933" y="1653796"/>
              <a:ext cx="149" cy="299"/>
            </a:xfrm>
            <a:custGeom>
              <a:avLst/>
              <a:gdLst/>
              <a:ahLst/>
              <a:cxnLst/>
              <a:rect l="l" t="t" r="r" b="b"/>
              <a:pathLst>
                <a:path w="11" h="22" extrusionOk="0">
                  <a:moveTo>
                    <a:pt x="11" y="21"/>
                  </a:moveTo>
                  <a:lnTo>
                    <a:pt x="0"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504" name="Google Shape;4504;p104"/>
            <p:cNvSpPr/>
            <p:nvPr/>
          </p:nvSpPr>
          <p:spPr>
            <a:xfrm>
              <a:off x="2255482" y="1675425"/>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505" name="Google Shape;4505;p104"/>
            <p:cNvSpPr/>
            <p:nvPr/>
          </p:nvSpPr>
          <p:spPr>
            <a:xfrm>
              <a:off x="2248258" y="1654366"/>
              <a:ext cx="163" cy="244"/>
            </a:xfrm>
            <a:custGeom>
              <a:avLst/>
              <a:gdLst/>
              <a:ahLst/>
              <a:cxnLst/>
              <a:rect l="l" t="t" r="r" b="b"/>
              <a:pathLst>
                <a:path w="12" h="18" extrusionOk="0">
                  <a:moveTo>
                    <a:pt x="11" y="18"/>
                  </a:moveTo>
                  <a:lnTo>
                    <a:pt x="1"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506" name="Google Shape;4506;p104"/>
            <p:cNvSpPr/>
            <p:nvPr/>
          </p:nvSpPr>
          <p:spPr>
            <a:xfrm>
              <a:off x="2245977" y="1650225"/>
              <a:ext cx="163" cy="353"/>
            </a:xfrm>
            <a:custGeom>
              <a:avLst/>
              <a:gdLst/>
              <a:ahLst/>
              <a:cxnLst/>
              <a:rect l="l" t="t" r="r" b="b"/>
              <a:pathLst>
                <a:path w="12" h="26" extrusionOk="0">
                  <a:moveTo>
                    <a:pt x="1" y="1"/>
                  </a:moveTo>
                  <a:lnTo>
                    <a:pt x="11" y="25"/>
                  </a:lnTo>
                  <a:lnTo>
                    <a:pt x="1"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507" name="Google Shape;4507;p104"/>
            <p:cNvSpPr/>
            <p:nvPr/>
          </p:nvSpPr>
          <p:spPr>
            <a:xfrm>
              <a:off x="2247593" y="1653226"/>
              <a:ext cx="204" cy="339"/>
            </a:xfrm>
            <a:custGeom>
              <a:avLst/>
              <a:gdLst/>
              <a:ahLst/>
              <a:cxnLst/>
              <a:rect l="l" t="t" r="r" b="b"/>
              <a:pathLst>
                <a:path w="15" h="25" extrusionOk="0">
                  <a:moveTo>
                    <a:pt x="15" y="25"/>
                  </a:moveTo>
                  <a:lnTo>
                    <a:pt x="1"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508" name="Google Shape;4508;p104"/>
            <p:cNvSpPr/>
            <p:nvPr/>
          </p:nvSpPr>
          <p:spPr>
            <a:xfrm>
              <a:off x="2247267" y="1652601"/>
              <a:ext cx="149" cy="353"/>
            </a:xfrm>
            <a:custGeom>
              <a:avLst/>
              <a:gdLst/>
              <a:ahLst/>
              <a:cxnLst/>
              <a:rect l="l" t="t" r="r" b="b"/>
              <a:pathLst>
                <a:path w="11" h="26" extrusionOk="0">
                  <a:moveTo>
                    <a:pt x="11" y="25"/>
                  </a:moveTo>
                  <a:lnTo>
                    <a:pt x="0"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509" name="Google Shape;4509;p104"/>
            <p:cNvSpPr/>
            <p:nvPr/>
          </p:nvSpPr>
          <p:spPr>
            <a:xfrm>
              <a:off x="2246697" y="1651610"/>
              <a:ext cx="394" cy="679"/>
            </a:xfrm>
            <a:custGeom>
              <a:avLst/>
              <a:gdLst/>
              <a:ahLst/>
              <a:cxnLst/>
              <a:rect l="l" t="t" r="r" b="b"/>
              <a:pathLst>
                <a:path w="29" h="50" extrusionOk="0">
                  <a:moveTo>
                    <a:pt x="28" y="49"/>
                  </a:moveTo>
                  <a:lnTo>
                    <a:pt x="0"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510" name="Google Shape;4510;p104"/>
            <p:cNvSpPr/>
            <p:nvPr/>
          </p:nvSpPr>
          <p:spPr>
            <a:xfrm>
              <a:off x="2246317" y="1650890"/>
              <a:ext cx="244" cy="448"/>
            </a:xfrm>
            <a:custGeom>
              <a:avLst/>
              <a:gdLst/>
              <a:ahLst/>
              <a:cxnLst/>
              <a:rect l="l" t="t" r="r" b="b"/>
              <a:pathLst>
                <a:path w="18" h="33" extrusionOk="0">
                  <a:moveTo>
                    <a:pt x="18" y="32"/>
                  </a:moveTo>
                  <a:lnTo>
                    <a:pt x="0"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511" name="Google Shape;4511;p104"/>
            <p:cNvSpPr/>
            <p:nvPr/>
          </p:nvSpPr>
          <p:spPr>
            <a:xfrm>
              <a:off x="2249073" y="1655792"/>
              <a:ext cx="149" cy="204"/>
            </a:xfrm>
            <a:custGeom>
              <a:avLst/>
              <a:gdLst/>
              <a:ahLst/>
              <a:cxnLst/>
              <a:rect l="l" t="t" r="r" b="b"/>
              <a:pathLst>
                <a:path w="11" h="15" extrusionOk="0">
                  <a:moveTo>
                    <a:pt x="11" y="1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512" name="Google Shape;4512;p104"/>
            <p:cNvSpPr/>
            <p:nvPr/>
          </p:nvSpPr>
          <p:spPr>
            <a:xfrm>
              <a:off x="2248829" y="1655357"/>
              <a:ext cx="163" cy="204"/>
            </a:xfrm>
            <a:custGeom>
              <a:avLst/>
              <a:gdLst/>
              <a:ahLst/>
              <a:cxnLst/>
              <a:rect l="l" t="t" r="r" b="b"/>
              <a:pathLst>
                <a:path w="12" h="15" extrusionOk="0">
                  <a:moveTo>
                    <a:pt x="11" y="15"/>
                  </a:moveTo>
                  <a:lnTo>
                    <a:pt x="1"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513" name="Google Shape;4513;p104"/>
            <p:cNvSpPr/>
            <p:nvPr/>
          </p:nvSpPr>
          <p:spPr>
            <a:xfrm>
              <a:off x="2248544" y="1654882"/>
              <a:ext cx="163" cy="258"/>
            </a:xfrm>
            <a:custGeom>
              <a:avLst/>
              <a:gdLst/>
              <a:ahLst/>
              <a:cxnLst/>
              <a:rect l="l" t="t" r="r" b="b"/>
              <a:pathLst>
                <a:path w="12" h="19" extrusionOk="0">
                  <a:moveTo>
                    <a:pt x="11" y="18"/>
                  </a:moveTo>
                  <a:lnTo>
                    <a:pt x="1"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514" name="Google Shape;4514;p104"/>
            <p:cNvSpPr/>
            <p:nvPr/>
          </p:nvSpPr>
          <p:spPr>
            <a:xfrm>
              <a:off x="2212047" y="1690224"/>
              <a:ext cx="44073" cy="23516"/>
            </a:xfrm>
            <a:custGeom>
              <a:avLst/>
              <a:gdLst/>
              <a:ahLst/>
              <a:cxnLst/>
              <a:rect l="l" t="t" r="r" b="b"/>
              <a:pathLst>
                <a:path w="3246" h="1732" extrusionOk="0">
                  <a:moveTo>
                    <a:pt x="2473" y="1"/>
                  </a:moveTo>
                  <a:cubicBezTo>
                    <a:pt x="2300" y="1"/>
                    <a:pt x="2049" y="32"/>
                    <a:pt x="1978" y="100"/>
                  </a:cubicBezTo>
                  <a:cubicBezTo>
                    <a:pt x="1864" y="215"/>
                    <a:pt x="1722" y="283"/>
                    <a:pt x="1590" y="283"/>
                  </a:cubicBezTo>
                  <a:cubicBezTo>
                    <a:pt x="1572" y="283"/>
                    <a:pt x="1554" y="281"/>
                    <a:pt x="1537" y="279"/>
                  </a:cubicBezTo>
                  <a:cubicBezTo>
                    <a:pt x="1441" y="269"/>
                    <a:pt x="1234" y="259"/>
                    <a:pt x="1097" y="259"/>
                  </a:cubicBezTo>
                  <a:cubicBezTo>
                    <a:pt x="1041" y="259"/>
                    <a:pt x="996" y="261"/>
                    <a:pt x="977" y="265"/>
                  </a:cubicBezTo>
                  <a:cubicBezTo>
                    <a:pt x="968" y="266"/>
                    <a:pt x="957" y="267"/>
                    <a:pt x="945" y="267"/>
                  </a:cubicBezTo>
                  <a:cubicBezTo>
                    <a:pt x="886" y="267"/>
                    <a:pt x="790" y="253"/>
                    <a:pt x="648" y="230"/>
                  </a:cubicBezTo>
                  <a:cubicBezTo>
                    <a:pt x="564" y="212"/>
                    <a:pt x="480" y="202"/>
                    <a:pt x="396" y="198"/>
                  </a:cubicBezTo>
                  <a:cubicBezTo>
                    <a:pt x="388" y="200"/>
                    <a:pt x="381" y="201"/>
                    <a:pt x="374" y="201"/>
                  </a:cubicBezTo>
                  <a:cubicBezTo>
                    <a:pt x="324" y="201"/>
                    <a:pt x="280" y="160"/>
                    <a:pt x="231" y="111"/>
                  </a:cubicBezTo>
                  <a:lnTo>
                    <a:pt x="207" y="86"/>
                  </a:lnTo>
                  <a:lnTo>
                    <a:pt x="200" y="79"/>
                  </a:lnTo>
                  <a:cubicBezTo>
                    <a:pt x="189" y="69"/>
                    <a:pt x="179" y="62"/>
                    <a:pt x="168" y="51"/>
                  </a:cubicBezTo>
                  <a:lnTo>
                    <a:pt x="165" y="48"/>
                  </a:lnTo>
                  <a:cubicBezTo>
                    <a:pt x="158" y="41"/>
                    <a:pt x="147" y="34"/>
                    <a:pt x="137" y="27"/>
                  </a:cubicBezTo>
                  <a:lnTo>
                    <a:pt x="130" y="23"/>
                  </a:lnTo>
                  <a:cubicBezTo>
                    <a:pt x="123" y="16"/>
                    <a:pt x="112" y="9"/>
                    <a:pt x="102" y="6"/>
                  </a:cubicBezTo>
                  <a:lnTo>
                    <a:pt x="98" y="6"/>
                  </a:lnTo>
                  <a:cubicBezTo>
                    <a:pt x="91" y="9"/>
                    <a:pt x="88" y="13"/>
                    <a:pt x="81" y="20"/>
                  </a:cubicBezTo>
                  <a:cubicBezTo>
                    <a:pt x="77" y="23"/>
                    <a:pt x="70" y="27"/>
                    <a:pt x="63" y="30"/>
                  </a:cubicBezTo>
                  <a:cubicBezTo>
                    <a:pt x="28" y="58"/>
                    <a:pt x="7" y="97"/>
                    <a:pt x="4" y="142"/>
                  </a:cubicBezTo>
                  <a:cubicBezTo>
                    <a:pt x="0" y="202"/>
                    <a:pt x="25" y="261"/>
                    <a:pt x="70" y="304"/>
                  </a:cubicBezTo>
                  <a:cubicBezTo>
                    <a:pt x="140" y="370"/>
                    <a:pt x="333" y="594"/>
                    <a:pt x="291" y="710"/>
                  </a:cubicBezTo>
                  <a:cubicBezTo>
                    <a:pt x="274" y="746"/>
                    <a:pt x="243" y="769"/>
                    <a:pt x="204" y="769"/>
                  </a:cubicBezTo>
                  <a:cubicBezTo>
                    <a:pt x="202" y="769"/>
                    <a:pt x="199" y="769"/>
                    <a:pt x="196" y="769"/>
                  </a:cubicBezTo>
                  <a:cubicBezTo>
                    <a:pt x="165" y="773"/>
                    <a:pt x="137" y="790"/>
                    <a:pt x="119" y="815"/>
                  </a:cubicBezTo>
                  <a:cubicBezTo>
                    <a:pt x="95" y="839"/>
                    <a:pt x="77" y="874"/>
                    <a:pt x="77" y="909"/>
                  </a:cubicBezTo>
                  <a:cubicBezTo>
                    <a:pt x="81" y="958"/>
                    <a:pt x="77" y="1004"/>
                    <a:pt x="70" y="1049"/>
                  </a:cubicBezTo>
                  <a:cubicBezTo>
                    <a:pt x="70" y="1063"/>
                    <a:pt x="67" y="1081"/>
                    <a:pt x="67" y="1095"/>
                  </a:cubicBezTo>
                  <a:cubicBezTo>
                    <a:pt x="63" y="1109"/>
                    <a:pt x="63" y="1126"/>
                    <a:pt x="67" y="1140"/>
                  </a:cubicBezTo>
                  <a:lnTo>
                    <a:pt x="67" y="1147"/>
                  </a:lnTo>
                  <a:lnTo>
                    <a:pt x="67" y="1151"/>
                  </a:lnTo>
                  <a:lnTo>
                    <a:pt x="74" y="1154"/>
                  </a:lnTo>
                  <a:cubicBezTo>
                    <a:pt x="329" y="1406"/>
                    <a:pt x="371" y="1483"/>
                    <a:pt x="378" y="1529"/>
                  </a:cubicBezTo>
                  <a:cubicBezTo>
                    <a:pt x="378" y="1539"/>
                    <a:pt x="403" y="1557"/>
                    <a:pt x="417" y="1567"/>
                  </a:cubicBezTo>
                  <a:cubicBezTo>
                    <a:pt x="427" y="1578"/>
                    <a:pt x="434" y="1585"/>
                    <a:pt x="441" y="1592"/>
                  </a:cubicBezTo>
                  <a:cubicBezTo>
                    <a:pt x="452" y="1602"/>
                    <a:pt x="459" y="1613"/>
                    <a:pt x="466" y="1623"/>
                  </a:cubicBezTo>
                  <a:lnTo>
                    <a:pt x="557" y="1616"/>
                  </a:lnTo>
                  <a:lnTo>
                    <a:pt x="571" y="1616"/>
                  </a:lnTo>
                  <a:lnTo>
                    <a:pt x="662" y="1613"/>
                  </a:lnTo>
                  <a:lnTo>
                    <a:pt x="676" y="1613"/>
                  </a:lnTo>
                  <a:lnTo>
                    <a:pt x="767" y="1609"/>
                  </a:lnTo>
                  <a:lnTo>
                    <a:pt x="774" y="1609"/>
                  </a:lnTo>
                  <a:cubicBezTo>
                    <a:pt x="801" y="1609"/>
                    <a:pt x="829" y="1609"/>
                    <a:pt x="855" y="1609"/>
                  </a:cubicBezTo>
                  <a:cubicBezTo>
                    <a:pt x="1003" y="1609"/>
                    <a:pt x="1127" y="1618"/>
                    <a:pt x="1183" y="1644"/>
                  </a:cubicBezTo>
                  <a:lnTo>
                    <a:pt x="1201" y="1651"/>
                  </a:lnTo>
                  <a:cubicBezTo>
                    <a:pt x="1313" y="1683"/>
                    <a:pt x="1429" y="1704"/>
                    <a:pt x="1544" y="1714"/>
                  </a:cubicBezTo>
                  <a:lnTo>
                    <a:pt x="1565" y="1718"/>
                  </a:lnTo>
                  <a:lnTo>
                    <a:pt x="1576" y="1718"/>
                  </a:lnTo>
                  <a:cubicBezTo>
                    <a:pt x="1628" y="1725"/>
                    <a:pt x="1674" y="1728"/>
                    <a:pt x="1712" y="1732"/>
                  </a:cubicBezTo>
                  <a:lnTo>
                    <a:pt x="1737" y="1732"/>
                  </a:lnTo>
                  <a:cubicBezTo>
                    <a:pt x="1782" y="1732"/>
                    <a:pt x="1831" y="1721"/>
                    <a:pt x="1873" y="1700"/>
                  </a:cubicBezTo>
                  <a:cubicBezTo>
                    <a:pt x="1877" y="1700"/>
                    <a:pt x="1880" y="1697"/>
                    <a:pt x="1884" y="1690"/>
                  </a:cubicBezTo>
                  <a:cubicBezTo>
                    <a:pt x="1873" y="1662"/>
                    <a:pt x="1873" y="1627"/>
                    <a:pt x="1891" y="1599"/>
                  </a:cubicBezTo>
                  <a:cubicBezTo>
                    <a:pt x="1898" y="1592"/>
                    <a:pt x="1901" y="1585"/>
                    <a:pt x="1908" y="1578"/>
                  </a:cubicBezTo>
                  <a:lnTo>
                    <a:pt x="1912" y="1571"/>
                  </a:lnTo>
                  <a:cubicBezTo>
                    <a:pt x="1919" y="1567"/>
                    <a:pt x="1926" y="1560"/>
                    <a:pt x="1933" y="1557"/>
                  </a:cubicBezTo>
                  <a:lnTo>
                    <a:pt x="1936" y="1553"/>
                  </a:lnTo>
                  <a:cubicBezTo>
                    <a:pt x="1943" y="1550"/>
                    <a:pt x="1950" y="1543"/>
                    <a:pt x="1961" y="1539"/>
                  </a:cubicBezTo>
                  <a:lnTo>
                    <a:pt x="1968" y="1536"/>
                  </a:lnTo>
                  <a:lnTo>
                    <a:pt x="1989" y="1525"/>
                  </a:lnTo>
                  <a:lnTo>
                    <a:pt x="1996" y="1522"/>
                  </a:lnTo>
                  <a:lnTo>
                    <a:pt x="2024" y="1511"/>
                  </a:lnTo>
                  <a:lnTo>
                    <a:pt x="2031" y="1511"/>
                  </a:lnTo>
                  <a:lnTo>
                    <a:pt x="2055" y="1504"/>
                  </a:lnTo>
                  <a:lnTo>
                    <a:pt x="2062" y="1504"/>
                  </a:lnTo>
                  <a:lnTo>
                    <a:pt x="2094" y="1497"/>
                  </a:lnTo>
                  <a:lnTo>
                    <a:pt x="2097" y="1497"/>
                  </a:lnTo>
                  <a:lnTo>
                    <a:pt x="2122" y="1490"/>
                  </a:lnTo>
                  <a:lnTo>
                    <a:pt x="2125" y="1490"/>
                  </a:lnTo>
                  <a:cubicBezTo>
                    <a:pt x="2122" y="1473"/>
                    <a:pt x="2122" y="1455"/>
                    <a:pt x="2122" y="1434"/>
                  </a:cubicBezTo>
                  <a:lnTo>
                    <a:pt x="2122" y="1420"/>
                  </a:lnTo>
                  <a:cubicBezTo>
                    <a:pt x="2122" y="1413"/>
                    <a:pt x="2122" y="1406"/>
                    <a:pt x="2122" y="1399"/>
                  </a:cubicBezTo>
                  <a:cubicBezTo>
                    <a:pt x="2125" y="1392"/>
                    <a:pt x="2125" y="1385"/>
                    <a:pt x="2129" y="1382"/>
                  </a:cubicBezTo>
                  <a:cubicBezTo>
                    <a:pt x="2136" y="1368"/>
                    <a:pt x="2143" y="1357"/>
                    <a:pt x="2153" y="1350"/>
                  </a:cubicBezTo>
                  <a:lnTo>
                    <a:pt x="2157" y="1350"/>
                  </a:lnTo>
                  <a:cubicBezTo>
                    <a:pt x="2164" y="1347"/>
                    <a:pt x="2167" y="1343"/>
                    <a:pt x="2174" y="1340"/>
                  </a:cubicBezTo>
                  <a:cubicBezTo>
                    <a:pt x="2291" y="1308"/>
                    <a:pt x="2413" y="1294"/>
                    <a:pt x="2534" y="1294"/>
                  </a:cubicBezTo>
                  <a:cubicBezTo>
                    <a:pt x="2547" y="1294"/>
                    <a:pt x="2560" y="1294"/>
                    <a:pt x="2573" y="1294"/>
                  </a:cubicBezTo>
                  <a:cubicBezTo>
                    <a:pt x="2647" y="1298"/>
                    <a:pt x="2720" y="1312"/>
                    <a:pt x="2787" y="1340"/>
                  </a:cubicBezTo>
                  <a:cubicBezTo>
                    <a:pt x="2790" y="1343"/>
                    <a:pt x="2797" y="1343"/>
                    <a:pt x="2804" y="1347"/>
                  </a:cubicBezTo>
                  <a:lnTo>
                    <a:pt x="2846" y="1347"/>
                  </a:lnTo>
                  <a:lnTo>
                    <a:pt x="2864" y="1340"/>
                  </a:lnTo>
                  <a:lnTo>
                    <a:pt x="2867" y="1340"/>
                  </a:lnTo>
                  <a:lnTo>
                    <a:pt x="2885" y="1336"/>
                  </a:lnTo>
                  <a:lnTo>
                    <a:pt x="2899" y="1329"/>
                  </a:lnTo>
                  <a:cubicBezTo>
                    <a:pt x="2895" y="1315"/>
                    <a:pt x="2892" y="1305"/>
                    <a:pt x="2885" y="1291"/>
                  </a:cubicBezTo>
                  <a:cubicBezTo>
                    <a:pt x="2769" y="1263"/>
                    <a:pt x="2685" y="1021"/>
                    <a:pt x="2682" y="902"/>
                  </a:cubicBezTo>
                  <a:cubicBezTo>
                    <a:pt x="2678" y="787"/>
                    <a:pt x="2748" y="759"/>
                    <a:pt x="2776" y="752"/>
                  </a:cubicBezTo>
                  <a:cubicBezTo>
                    <a:pt x="2804" y="745"/>
                    <a:pt x="2867" y="650"/>
                    <a:pt x="2909" y="587"/>
                  </a:cubicBezTo>
                  <a:cubicBezTo>
                    <a:pt x="2993" y="465"/>
                    <a:pt x="3088" y="325"/>
                    <a:pt x="3207" y="286"/>
                  </a:cubicBezTo>
                  <a:cubicBezTo>
                    <a:pt x="3221" y="283"/>
                    <a:pt x="3235" y="276"/>
                    <a:pt x="3245" y="268"/>
                  </a:cubicBezTo>
                  <a:lnTo>
                    <a:pt x="3228" y="261"/>
                  </a:lnTo>
                  <a:lnTo>
                    <a:pt x="3207" y="251"/>
                  </a:lnTo>
                  <a:lnTo>
                    <a:pt x="3186" y="237"/>
                  </a:lnTo>
                  <a:lnTo>
                    <a:pt x="3168" y="230"/>
                  </a:lnTo>
                  <a:lnTo>
                    <a:pt x="3144" y="219"/>
                  </a:lnTo>
                  <a:lnTo>
                    <a:pt x="3130" y="216"/>
                  </a:lnTo>
                  <a:lnTo>
                    <a:pt x="3105" y="202"/>
                  </a:lnTo>
                  <a:lnTo>
                    <a:pt x="3095" y="198"/>
                  </a:lnTo>
                  <a:lnTo>
                    <a:pt x="3070" y="188"/>
                  </a:lnTo>
                  <a:lnTo>
                    <a:pt x="3060" y="184"/>
                  </a:lnTo>
                  <a:lnTo>
                    <a:pt x="3046" y="174"/>
                  </a:lnTo>
                  <a:lnTo>
                    <a:pt x="3035" y="170"/>
                  </a:lnTo>
                  <a:lnTo>
                    <a:pt x="3025" y="163"/>
                  </a:lnTo>
                  <a:lnTo>
                    <a:pt x="3018" y="160"/>
                  </a:lnTo>
                  <a:lnTo>
                    <a:pt x="3011" y="153"/>
                  </a:lnTo>
                  <a:lnTo>
                    <a:pt x="3004" y="149"/>
                  </a:lnTo>
                  <a:lnTo>
                    <a:pt x="2997" y="142"/>
                  </a:lnTo>
                  <a:lnTo>
                    <a:pt x="2990" y="139"/>
                  </a:lnTo>
                  <a:lnTo>
                    <a:pt x="2983" y="135"/>
                  </a:lnTo>
                  <a:lnTo>
                    <a:pt x="2979" y="132"/>
                  </a:lnTo>
                  <a:lnTo>
                    <a:pt x="2976" y="128"/>
                  </a:lnTo>
                  <a:lnTo>
                    <a:pt x="2972" y="125"/>
                  </a:lnTo>
                  <a:lnTo>
                    <a:pt x="2969" y="121"/>
                  </a:lnTo>
                  <a:lnTo>
                    <a:pt x="2965" y="118"/>
                  </a:lnTo>
                  <a:lnTo>
                    <a:pt x="2962" y="114"/>
                  </a:lnTo>
                  <a:lnTo>
                    <a:pt x="2962" y="111"/>
                  </a:lnTo>
                  <a:lnTo>
                    <a:pt x="2962" y="107"/>
                  </a:lnTo>
                  <a:lnTo>
                    <a:pt x="2962" y="104"/>
                  </a:lnTo>
                  <a:cubicBezTo>
                    <a:pt x="2948" y="83"/>
                    <a:pt x="2881" y="44"/>
                    <a:pt x="2577" y="6"/>
                  </a:cubicBezTo>
                  <a:cubicBezTo>
                    <a:pt x="2548" y="3"/>
                    <a:pt x="2513" y="1"/>
                    <a:pt x="2473" y="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515" name="Google Shape;4515;p104"/>
            <p:cNvSpPr/>
            <p:nvPr/>
          </p:nvSpPr>
          <p:spPr>
            <a:xfrm>
              <a:off x="2240994" y="1708500"/>
              <a:ext cx="339" cy="394"/>
            </a:xfrm>
            <a:custGeom>
              <a:avLst/>
              <a:gdLst/>
              <a:ahLst/>
              <a:cxnLst/>
              <a:rect l="l" t="t" r="r" b="b"/>
              <a:pathLst>
                <a:path w="25" h="29" extrusionOk="0">
                  <a:moveTo>
                    <a:pt x="0" y="29"/>
                  </a:moveTo>
                  <a:cubicBezTo>
                    <a:pt x="4" y="18"/>
                    <a:pt x="14" y="8"/>
                    <a:pt x="25" y="1"/>
                  </a:cubicBezTo>
                  <a:cubicBezTo>
                    <a:pt x="14" y="8"/>
                    <a:pt x="4" y="18"/>
                    <a:pt x="0" y="29"/>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516" name="Google Shape;4516;p104"/>
            <p:cNvSpPr/>
            <p:nvPr/>
          </p:nvSpPr>
          <p:spPr>
            <a:xfrm>
              <a:off x="2250784" y="1708364"/>
              <a:ext cx="204" cy="54"/>
            </a:xfrm>
            <a:custGeom>
              <a:avLst/>
              <a:gdLst/>
              <a:ahLst/>
              <a:cxnLst/>
              <a:rect l="l" t="t" r="r" b="b"/>
              <a:pathLst>
                <a:path w="15" h="4" extrusionOk="0">
                  <a:moveTo>
                    <a:pt x="14" y="0"/>
                  </a:moveTo>
                  <a:lnTo>
                    <a:pt x="0" y="4"/>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517" name="Google Shape;4517;p104"/>
            <p:cNvSpPr/>
            <p:nvPr/>
          </p:nvSpPr>
          <p:spPr>
            <a:xfrm>
              <a:off x="2240845" y="1709600"/>
              <a:ext cx="14" cy="54"/>
            </a:xfrm>
            <a:custGeom>
              <a:avLst/>
              <a:gdLst/>
              <a:ahLst/>
              <a:cxnLst/>
              <a:rect l="l" t="t" r="r" b="b"/>
              <a:pathLst>
                <a:path w="1" h="4" extrusionOk="0">
                  <a:moveTo>
                    <a:pt x="1" y="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518" name="Google Shape;4518;p104"/>
            <p:cNvSpPr/>
            <p:nvPr/>
          </p:nvSpPr>
          <p:spPr>
            <a:xfrm>
              <a:off x="2251015" y="1708269"/>
              <a:ext cx="258" cy="109"/>
            </a:xfrm>
            <a:custGeom>
              <a:avLst/>
              <a:gdLst/>
              <a:ahLst/>
              <a:cxnLst/>
              <a:rect l="l" t="t" r="r" b="b"/>
              <a:pathLst>
                <a:path w="19" h="8" extrusionOk="0">
                  <a:moveTo>
                    <a:pt x="18"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519" name="Google Shape;4519;p104"/>
            <p:cNvSpPr/>
            <p:nvPr/>
          </p:nvSpPr>
          <p:spPr>
            <a:xfrm>
              <a:off x="2251259" y="1708215"/>
              <a:ext cx="204" cy="109"/>
            </a:xfrm>
            <a:custGeom>
              <a:avLst/>
              <a:gdLst/>
              <a:ahLst/>
              <a:cxnLst/>
              <a:rect l="l" t="t" r="r" b="b"/>
              <a:pathLst>
                <a:path w="15" h="8" extrusionOk="0">
                  <a:moveTo>
                    <a:pt x="14" y="1"/>
                  </a:moveTo>
                  <a:lnTo>
                    <a:pt x="14" y="1"/>
                  </a:lnTo>
                  <a:lnTo>
                    <a:pt x="0" y="8"/>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520" name="Google Shape;4520;p104"/>
            <p:cNvSpPr/>
            <p:nvPr/>
          </p:nvSpPr>
          <p:spPr>
            <a:xfrm>
              <a:off x="2241605" y="1707644"/>
              <a:ext cx="5485" cy="679"/>
            </a:xfrm>
            <a:custGeom>
              <a:avLst/>
              <a:gdLst/>
              <a:ahLst/>
              <a:cxnLst/>
              <a:rect l="l" t="t" r="r" b="b"/>
              <a:pathLst>
                <a:path w="404" h="50" extrusionOk="0">
                  <a:moveTo>
                    <a:pt x="1" y="50"/>
                  </a:moveTo>
                  <a:lnTo>
                    <a:pt x="1" y="50"/>
                  </a:lnTo>
                  <a:cubicBezTo>
                    <a:pt x="134" y="15"/>
                    <a:pt x="267" y="1"/>
                    <a:pt x="403" y="4"/>
                  </a:cubicBezTo>
                  <a:cubicBezTo>
                    <a:pt x="267" y="1"/>
                    <a:pt x="134" y="15"/>
                    <a:pt x="1" y="5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521" name="Google Shape;4521;p104"/>
            <p:cNvSpPr/>
            <p:nvPr/>
          </p:nvSpPr>
          <p:spPr>
            <a:xfrm>
              <a:off x="2241375" y="1708310"/>
              <a:ext cx="244" cy="163"/>
            </a:xfrm>
            <a:custGeom>
              <a:avLst/>
              <a:gdLst/>
              <a:ahLst/>
              <a:cxnLst/>
              <a:rect l="l" t="t" r="r" b="b"/>
              <a:pathLst>
                <a:path w="18" h="12" extrusionOk="0">
                  <a:moveTo>
                    <a:pt x="18" y="1"/>
                  </a:moveTo>
                  <a:cubicBezTo>
                    <a:pt x="11" y="4"/>
                    <a:pt x="4" y="8"/>
                    <a:pt x="0" y="11"/>
                  </a:cubicBezTo>
                  <a:cubicBezTo>
                    <a:pt x="4" y="8"/>
                    <a:pt x="11" y="4"/>
                    <a:pt x="18" y="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522" name="Google Shape;4522;p104"/>
            <p:cNvSpPr/>
            <p:nvPr/>
          </p:nvSpPr>
          <p:spPr>
            <a:xfrm>
              <a:off x="2250444" y="1708405"/>
              <a:ext cx="299" cy="68"/>
            </a:xfrm>
            <a:custGeom>
              <a:avLst/>
              <a:gdLst/>
              <a:ahLst/>
              <a:cxnLst/>
              <a:rect l="l" t="t" r="r" b="b"/>
              <a:pathLst>
                <a:path w="22" h="5" extrusionOk="0">
                  <a:moveTo>
                    <a:pt x="22" y="1"/>
                  </a:moveTo>
                  <a:cubicBezTo>
                    <a:pt x="15" y="4"/>
                    <a:pt x="8" y="4"/>
                    <a:pt x="1" y="1"/>
                  </a:cubicBezTo>
                  <a:cubicBezTo>
                    <a:pt x="8" y="4"/>
                    <a:pt x="15" y="4"/>
                    <a:pt x="22" y="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523" name="Google Shape;4523;p104"/>
            <p:cNvSpPr/>
            <p:nvPr/>
          </p:nvSpPr>
          <p:spPr>
            <a:xfrm>
              <a:off x="2250214" y="1708459"/>
              <a:ext cx="204" cy="14"/>
            </a:xfrm>
            <a:custGeom>
              <a:avLst/>
              <a:gdLst/>
              <a:ahLst/>
              <a:cxnLst/>
              <a:rect l="l" t="t" r="r" b="b"/>
              <a:pathLst>
                <a:path w="15" h="1" extrusionOk="0">
                  <a:moveTo>
                    <a:pt x="14"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524" name="Google Shape;4524;p104"/>
            <p:cNvSpPr/>
            <p:nvPr/>
          </p:nvSpPr>
          <p:spPr>
            <a:xfrm>
              <a:off x="2240899" y="1708934"/>
              <a:ext cx="109" cy="244"/>
            </a:xfrm>
            <a:custGeom>
              <a:avLst/>
              <a:gdLst/>
              <a:ahLst/>
              <a:cxnLst/>
              <a:rect l="l" t="t" r="r" b="b"/>
              <a:pathLst>
                <a:path w="8" h="18" extrusionOk="0">
                  <a:moveTo>
                    <a:pt x="7" y="0"/>
                  </a:moveTo>
                  <a:cubicBezTo>
                    <a:pt x="4" y="4"/>
                    <a:pt x="0" y="11"/>
                    <a:pt x="0" y="18"/>
                  </a:cubicBezTo>
                  <a:cubicBezTo>
                    <a:pt x="0" y="11"/>
                    <a:pt x="4" y="4"/>
                    <a:pt x="7"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525" name="Google Shape;4525;p104"/>
            <p:cNvSpPr/>
            <p:nvPr/>
          </p:nvSpPr>
          <p:spPr>
            <a:xfrm>
              <a:off x="2249928" y="1708364"/>
              <a:ext cx="244" cy="54"/>
            </a:xfrm>
            <a:custGeom>
              <a:avLst/>
              <a:gdLst/>
              <a:ahLst/>
              <a:cxnLst/>
              <a:rect l="l" t="t" r="r" b="b"/>
              <a:pathLst>
                <a:path w="18" h="4" extrusionOk="0">
                  <a:moveTo>
                    <a:pt x="18" y="4"/>
                  </a:moveTo>
                  <a:cubicBezTo>
                    <a:pt x="11" y="4"/>
                    <a:pt x="7" y="0"/>
                    <a:pt x="0" y="0"/>
                  </a:cubicBezTo>
                  <a:cubicBezTo>
                    <a:pt x="7" y="0"/>
                    <a:pt x="11" y="4"/>
                    <a:pt x="18" y="4"/>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526" name="Google Shape;4526;p104"/>
            <p:cNvSpPr/>
            <p:nvPr/>
          </p:nvSpPr>
          <p:spPr>
            <a:xfrm>
              <a:off x="2240845" y="1709165"/>
              <a:ext cx="14" cy="299"/>
            </a:xfrm>
            <a:custGeom>
              <a:avLst/>
              <a:gdLst/>
              <a:ahLst/>
              <a:cxnLst/>
              <a:rect l="l" t="t" r="r" b="b"/>
              <a:pathLst>
                <a:path w="1" h="22" extrusionOk="0">
                  <a:moveTo>
                    <a:pt x="1" y="1"/>
                  </a:moveTo>
                  <a:cubicBezTo>
                    <a:pt x="1" y="8"/>
                    <a:pt x="1" y="15"/>
                    <a:pt x="1" y="22"/>
                  </a:cubicBezTo>
                  <a:cubicBezTo>
                    <a:pt x="1" y="15"/>
                    <a:pt x="1" y="8"/>
                    <a:pt x="1" y="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527" name="Google Shape;4527;p104"/>
            <p:cNvSpPr/>
            <p:nvPr/>
          </p:nvSpPr>
          <p:spPr>
            <a:xfrm>
              <a:off x="2255631" y="1693578"/>
              <a:ext cx="299" cy="109"/>
            </a:xfrm>
            <a:custGeom>
              <a:avLst/>
              <a:gdLst/>
              <a:ahLst/>
              <a:cxnLst/>
              <a:rect l="l" t="t" r="r" b="b"/>
              <a:pathLst>
                <a:path w="22" h="8" extrusionOk="0">
                  <a:moveTo>
                    <a:pt x="21" y="7"/>
                  </a:moveTo>
                  <a:lnTo>
                    <a:pt x="0"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528" name="Google Shape;4528;p104"/>
            <p:cNvSpPr/>
            <p:nvPr/>
          </p:nvSpPr>
          <p:spPr>
            <a:xfrm>
              <a:off x="2238849" y="1689396"/>
              <a:ext cx="8187" cy="2200"/>
            </a:xfrm>
            <a:custGeom>
              <a:avLst/>
              <a:gdLst/>
              <a:ahLst/>
              <a:cxnLst/>
              <a:rect l="l" t="t" r="r" b="b"/>
              <a:pathLst>
                <a:path w="603" h="162" extrusionOk="0">
                  <a:moveTo>
                    <a:pt x="603" y="0"/>
                  </a:moveTo>
                  <a:lnTo>
                    <a:pt x="592" y="63"/>
                  </a:lnTo>
                  <a:cubicBezTo>
                    <a:pt x="565" y="60"/>
                    <a:pt x="531" y="58"/>
                    <a:pt x="492" y="58"/>
                  </a:cubicBezTo>
                  <a:cubicBezTo>
                    <a:pt x="395" y="58"/>
                    <a:pt x="271" y="69"/>
                    <a:pt x="169" y="91"/>
                  </a:cubicBezTo>
                  <a:lnTo>
                    <a:pt x="169" y="91"/>
                  </a:lnTo>
                  <a:cubicBezTo>
                    <a:pt x="265" y="70"/>
                    <a:pt x="382" y="60"/>
                    <a:pt x="478" y="60"/>
                  </a:cubicBezTo>
                  <a:cubicBezTo>
                    <a:pt x="523" y="60"/>
                    <a:pt x="564" y="63"/>
                    <a:pt x="596" y="67"/>
                  </a:cubicBezTo>
                  <a:lnTo>
                    <a:pt x="603" y="0"/>
                  </a:lnTo>
                  <a:close/>
                  <a:moveTo>
                    <a:pt x="169" y="91"/>
                  </a:moveTo>
                  <a:cubicBezTo>
                    <a:pt x="93" y="108"/>
                    <a:pt x="30" y="131"/>
                    <a:pt x="1" y="161"/>
                  </a:cubicBezTo>
                  <a:cubicBezTo>
                    <a:pt x="30" y="131"/>
                    <a:pt x="93" y="108"/>
                    <a:pt x="169" y="9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529" name="Google Shape;4529;p104"/>
            <p:cNvSpPr/>
            <p:nvPr/>
          </p:nvSpPr>
          <p:spPr>
            <a:xfrm>
              <a:off x="2247023" y="1689396"/>
              <a:ext cx="14" cy="14"/>
            </a:xfrm>
            <a:custGeom>
              <a:avLst/>
              <a:gdLst/>
              <a:ahLst/>
              <a:cxnLst/>
              <a:rect l="l" t="t" r="r" b="b"/>
              <a:pathLst>
                <a:path w="1" h="1" extrusionOk="0">
                  <a:moveTo>
                    <a:pt x="1"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530" name="Google Shape;4530;p104"/>
            <p:cNvSpPr/>
            <p:nvPr/>
          </p:nvSpPr>
          <p:spPr>
            <a:xfrm>
              <a:off x="2213283" y="1690197"/>
              <a:ext cx="54" cy="14"/>
            </a:xfrm>
            <a:custGeom>
              <a:avLst/>
              <a:gdLst/>
              <a:ahLst/>
              <a:cxnLst/>
              <a:rect l="l" t="t" r="r" b="b"/>
              <a:pathLst>
                <a:path w="4" h="1" extrusionOk="0">
                  <a:moveTo>
                    <a:pt x="0" y="1"/>
                  </a:moveTo>
                  <a:lnTo>
                    <a:pt x="4" y="1"/>
                  </a:lnTo>
                  <a:lnTo>
                    <a:pt x="0"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531" name="Google Shape;4531;p104"/>
            <p:cNvSpPr/>
            <p:nvPr/>
          </p:nvSpPr>
          <p:spPr>
            <a:xfrm>
              <a:off x="2253581" y="1692668"/>
              <a:ext cx="163" cy="109"/>
            </a:xfrm>
            <a:custGeom>
              <a:avLst/>
              <a:gdLst/>
              <a:ahLst/>
              <a:cxnLst/>
              <a:rect l="l" t="t" r="r" b="b"/>
              <a:pathLst>
                <a:path w="12" h="8" extrusionOk="0">
                  <a:moveTo>
                    <a:pt x="1" y="1"/>
                  </a:moveTo>
                  <a:lnTo>
                    <a:pt x="11" y="8"/>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532" name="Google Shape;4532;p104"/>
            <p:cNvSpPr/>
            <p:nvPr/>
          </p:nvSpPr>
          <p:spPr>
            <a:xfrm>
              <a:off x="2214233" y="1690822"/>
              <a:ext cx="54" cy="54"/>
            </a:xfrm>
            <a:custGeom>
              <a:avLst/>
              <a:gdLst/>
              <a:ahLst/>
              <a:cxnLst/>
              <a:rect l="l" t="t" r="r" b="b"/>
              <a:pathLst>
                <a:path w="4" h="4" extrusionOk="0">
                  <a:moveTo>
                    <a:pt x="4"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533" name="Google Shape;4533;p104"/>
            <p:cNvSpPr/>
            <p:nvPr/>
          </p:nvSpPr>
          <p:spPr>
            <a:xfrm>
              <a:off x="2253296" y="1692533"/>
              <a:ext cx="109" cy="54"/>
            </a:xfrm>
            <a:custGeom>
              <a:avLst/>
              <a:gdLst/>
              <a:ahLst/>
              <a:cxnLst/>
              <a:rect l="l" t="t" r="r" b="b"/>
              <a:pathLst>
                <a:path w="8" h="4" extrusionOk="0">
                  <a:moveTo>
                    <a:pt x="1" y="0"/>
                  </a:moveTo>
                  <a:lnTo>
                    <a:pt x="8" y="4"/>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534" name="Google Shape;4534;p104"/>
            <p:cNvSpPr/>
            <p:nvPr/>
          </p:nvSpPr>
          <p:spPr>
            <a:xfrm>
              <a:off x="2254056" y="1692913"/>
              <a:ext cx="163" cy="54"/>
            </a:xfrm>
            <a:custGeom>
              <a:avLst/>
              <a:gdLst/>
              <a:ahLst/>
              <a:cxnLst/>
              <a:rect l="l" t="t" r="r" b="b"/>
              <a:pathLst>
                <a:path w="12" h="4" extrusionOk="0">
                  <a:moveTo>
                    <a:pt x="1" y="0"/>
                  </a:moveTo>
                  <a:lnTo>
                    <a:pt x="11" y="4"/>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535" name="Google Shape;4535;p104"/>
            <p:cNvSpPr/>
            <p:nvPr/>
          </p:nvSpPr>
          <p:spPr>
            <a:xfrm>
              <a:off x="2253011" y="1692383"/>
              <a:ext cx="163" cy="68"/>
            </a:xfrm>
            <a:custGeom>
              <a:avLst/>
              <a:gdLst/>
              <a:ahLst/>
              <a:cxnLst/>
              <a:rect l="l" t="t" r="r" b="b"/>
              <a:pathLst>
                <a:path w="12" h="5" extrusionOk="0">
                  <a:moveTo>
                    <a:pt x="1" y="1"/>
                  </a:moveTo>
                  <a:lnTo>
                    <a:pt x="11" y="4"/>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536" name="Google Shape;4536;p104"/>
            <p:cNvSpPr/>
            <p:nvPr/>
          </p:nvSpPr>
          <p:spPr>
            <a:xfrm>
              <a:off x="2213758" y="1690482"/>
              <a:ext cx="109" cy="68"/>
            </a:xfrm>
            <a:custGeom>
              <a:avLst/>
              <a:gdLst/>
              <a:ahLst/>
              <a:cxnLst/>
              <a:rect l="l" t="t" r="r" b="b"/>
              <a:pathLst>
                <a:path w="8" h="5" extrusionOk="0">
                  <a:moveTo>
                    <a:pt x="7"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537" name="Google Shape;4537;p104"/>
            <p:cNvSpPr/>
            <p:nvPr/>
          </p:nvSpPr>
          <p:spPr>
            <a:xfrm>
              <a:off x="2214708" y="1691243"/>
              <a:ext cx="109" cy="109"/>
            </a:xfrm>
            <a:custGeom>
              <a:avLst/>
              <a:gdLst/>
              <a:ahLst/>
              <a:cxnLst/>
              <a:rect l="l" t="t" r="r" b="b"/>
              <a:pathLst>
                <a:path w="8" h="8" extrusionOk="0">
                  <a:moveTo>
                    <a:pt x="7" y="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538" name="Google Shape;4538;p104"/>
            <p:cNvSpPr/>
            <p:nvPr/>
          </p:nvSpPr>
          <p:spPr>
            <a:xfrm>
              <a:off x="2252820" y="1692247"/>
              <a:ext cx="109" cy="54"/>
            </a:xfrm>
            <a:custGeom>
              <a:avLst/>
              <a:gdLst/>
              <a:ahLst/>
              <a:cxnLst/>
              <a:rect l="l" t="t" r="r" b="b"/>
              <a:pathLst>
                <a:path w="8" h="4" extrusionOk="0">
                  <a:moveTo>
                    <a:pt x="1" y="0"/>
                  </a:moveTo>
                  <a:lnTo>
                    <a:pt x="8" y="4"/>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539" name="Google Shape;4539;p104"/>
            <p:cNvSpPr/>
            <p:nvPr/>
          </p:nvSpPr>
          <p:spPr>
            <a:xfrm>
              <a:off x="2254531" y="1693144"/>
              <a:ext cx="204" cy="68"/>
            </a:xfrm>
            <a:custGeom>
              <a:avLst/>
              <a:gdLst/>
              <a:ahLst/>
              <a:cxnLst/>
              <a:rect l="l" t="t" r="r" b="b"/>
              <a:pathLst>
                <a:path w="15" h="5" extrusionOk="0">
                  <a:moveTo>
                    <a:pt x="1" y="1"/>
                  </a:moveTo>
                  <a:lnTo>
                    <a:pt x="15" y="4"/>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540" name="Google Shape;4540;p104"/>
            <p:cNvSpPr/>
            <p:nvPr/>
          </p:nvSpPr>
          <p:spPr>
            <a:xfrm>
              <a:off x="2255061" y="1693334"/>
              <a:ext cx="244" cy="109"/>
            </a:xfrm>
            <a:custGeom>
              <a:avLst/>
              <a:gdLst/>
              <a:ahLst/>
              <a:cxnLst/>
              <a:rect l="l" t="t" r="r" b="b"/>
              <a:pathLst>
                <a:path w="18" h="8" extrusionOk="0">
                  <a:moveTo>
                    <a:pt x="0" y="1"/>
                  </a:moveTo>
                  <a:lnTo>
                    <a:pt x="18" y="8"/>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541" name="Google Shape;4541;p104"/>
            <p:cNvSpPr/>
            <p:nvPr/>
          </p:nvSpPr>
          <p:spPr>
            <a:xfrm>
              <a:off x="2252400" y="1691867"/>
              <a:ext cx="54" cy="54"/>
            </a:xfrm>
            <a:custGeom>
              <a:avLst/>
              <a:gdLst/>
              <a:ahLst/>
              <a:cxnLst/>
              <a:rect l="l" t="t" r="r" b="b"/>
              <a:pathLst>
                <a:path w="4" h="4" extrusionOk="0">
                  <a:moveTo>
                    <a:pt x="4"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542" name="Google Shape;4542;p104"/>
            <p:cNvSpPr/>
            <p:nvPr/>
          </p:nvSpPr>
          <p:spPr>
            <a:xfrm>
              <a:off x="2252495" y="1692003"/>
              <a:ext cx="109" cy="68"/>
            </a:xfrm>
            <a:custGeom>
              <a:avLst/>
              <a:gdLst/>
              <a:ahLst/>
              <a:cxnLst/>
              <a:rect l="l" t="t" r="r" b="b"/>
              <a:pathLst>
                <a:path w="8" h="5" extrusionOk="0">
                  <a:moveTo>
                    <a:pt x="0" y="1"/>
                  </a:moveTo>
                  <a:lnTo>
                    <a:pt x="7" y="4"/>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543" name="Google Shape;4543;p104"/>
            <p:cNvSpPr/>
            <p:nvPr/>
          </p:nvSpPr>
          <p:spPr>
            <a:xfrm>
              <a:off x="2252305" y="1691813"/>
              <a:ext cx="54" cy="14"/>
            </a:xfrm>
            <a:custGeom>
              <a:avLst/>
              <a:gdLst/>
              <a:ahLst/>
              <a:cxnLst/>
              <a:rect l="l" t="t" r="r" b="b"/>
              <a:pathLst>
                <a:path w="4" h="1" extrusionOk="0">
                  <a:moveTo>
                    <a:pt x="0" y="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544" name="Google Shape;4544;p104"/>
            <p:cNvSpPr/>
            <p:nvPr/>
          </p:nvSpPr>
          <p:spPr>
            <a:xfrm>
              <a:off x="2252250" y="1691718"/>
              <a:ext cx="14" cy="68"/>
            </a:xfrm>
            <a:custGeom>
              <a:avLst/>
              <a:gdLst/>
              <a:ahLst/>
              <a:cxnLst/>
              <a:rect l="l" t="t" r="r" b="b"/>
              <a:pathLst>
                <a:path w="1" h="5" extrusionOk="0">
                  <a:moveTo>
                    <a:pt x="1" y="1"/>
                  </a:moveTo>
                  <a:lnTo>
                    <a:pt x="1" y="4"/>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545" name="Google Shape;4545;p104"/>
            <p:cNvSpPr/>
            <p:nvPr/>
          </p:nvSpPr>
          <p:spPr>
            <a:xfrm>
              <a:off x="2252209" y="1691677"/>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546" name="Google Shape;4546;p104"/>
            <p:cNvSpPr/>
            <p:nvPr/>
          </p:nvSpPr>
          <p:spPr>
            <a:xfrm>
              <a:off x="2252630" y="1692098"/>
              <a:ext cx="109" cy="68"/>
            </a:xfrm>
            <a:custGeom>
              <a:avLst/>
              <a:gdLst/>
              <a:ahLst/>
              <a:cxnLst/>
              <a:rect l="l" t="t" r="r" b="b"/>
              <a:pathLst>
                <a:path w="8" h="5" extrusionOk="0">
                  <a:moveTo>
                    <a:pt x="1" y="1"/>
                  </a:moveTo>
                  <a:lnTo>
                    <a:pt x="8" y="4"/>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547" name="Google Shape;4547;p104"/>
            <p:cNvSpPr/>
            <p:nvPr/>
          </p:nvSpPr>
          <p:spPr>
            <a:xfrm>
              <a:off x="2198782" y="1705988"/>
              <a:ext cx="18031" cy="12274"/>
            </a:xfrm>
            <a:custGeom>
              <a:avLst/>
              <a:gdLst/>
              <a:ahLst/>
              <a:cxnLst/>
              <a:rect l="l" t="t" r="r" b="b"/>
              <a:pathLst>
                <a:path w="1328" h="904" extrusionOk="0">
                  <a:moveTo>
                    <a:pt x="904" y="0"/>
                  </a:moveTo>
                  <a:cubicBezTo>
                    <a:pt x="837" y="11"/>
                    <a:pt x="764" y="25"/>
                    <a:pt x="694" y="35"/>
                  </a:cubicBezTo>
                  <a:lnTo>
                    <a:pt x="690" y="35"/>
                  </a:lnTo>
                  <a:lnTo>
                    <a:pt x="655" y="42"/>
                  </a:lnTo>
                  <a:lnTo>
                    <a:pt x="652" y="42"/>
                  </a:lnTo>
                  <a:lnTo>
                    <a:pt x="617" y="49"/>
                  </a:lnTo>
                  <a:lnTo>
                    <a:pt x="582" y="56"/>
                  </a:lnTo>
                  <a:cubicBezTo>
                    <a:pt x="305" y="105"/>
                    <a:pt x="49" y="158"/>
                    <a:pt x="46" y="158"/>
                  </a:cubicBezTo>
                  <a:lnTo>
                    <a:pt x="46" y="161"/>
                  </a:lnTo>
                  <a:cubicBezTo>
                    <a:pt x="39" y="182"/>
                    <a:pt x="35" y="203"/>
                    <a:pt x="28" y="221"/>
                  </a:cubicBezTo>
                  <a:lnTo>
                    <a:pt x="28" y="231"/>
                  </a:lnTo>
                  <a:cubicBezTo>
                    <a:pt x="25" y="252"/>
                    <a:pt x="21" y="273"/>
                    <a:pt x="18" y="291"/>
                  </a:cubicBezTo>
                  <a:lnTo>
                    <a:pt x="18" y="301"/>
                  </a:lnTo>
                  <a:cubicBezTo>
                    <a:pt x="14" y="319"/>
                    <a:pt x="11" y="340"/>
                    <a:pt x="7" y="361"/>
                  </a:cubicBezTo>
                  <a:lnTo>
                    <a:pt x="7" y="364"/>
                  </a:lnTo>
                  <a:cubicBezTo>
                    <a:pt x="7" y="382"/>
                    <a:pt x="4" y="403"/>
                    <a:pt x="0" y="424"/>
                  </a:cubicBezTo>
                  <a:cubicBezTo>
                    <a:pt x="0" y="445"/>
                    <a:pt x="0" y="462"/>
                    <a:pt x="0" y="480"/>
                  </a:cubicBezTo>
                  <a:lnTo>
                    <a:pt x="0" y="487"/>
                  </a:lnTo>
                  <a:lnTo>
                    <a:pt x="0" y="532"/>
                  </a:lnTo>
                  <a:lnTo>
                    <a:pt x="0" y="539"/>
                  </a:lnTo>
                  <a:cubicBezTo>
                    <a:pt x="0" y="553"/>
                    <a:pt x="0" y="567"/>
                    <a:pt x="4" y="581"/>
                  </a:cubicBezTo>
                  <a:lnTo>
                    <a:pt x="4" y="585"/>
                  </a:lnTo>
                  <a:cubicBezTo>
                    <a:pt x="4" y="599"/>
                    <a:pt x="7" y="609"/>
                    <a:pt x="11" y="620"/>
                  </a:cubicBezTo>
                  <a:cubicBezTo>
                    <a:pt x="14" y="634"/>
                    <a:pt x="18" y="644"/>
                    <a:pt x="25" y="658"/>
                  </a:cubicBezTo>
                  <a:cubicBezTo>
                    <a:pt x="25" y="662"/>
                    <a:pt x="28" y="665"/>
                    <a:pt x="32" y="669"/>
                  </a:cubicBezTo>
                  <a:cubicBezTo>
                    <a:pt x="32" y="676"/>
                    <a:pt x="39" y="686"/>
                    <a:pt x="42" y="693"/>
                  </a:cubicBezTo>
                  <a:cubicBezTo>
                    <a:pt x="49" y="700"/>
                    <a:pt x="49" y="704"/>
                    <a:pt x="53" y="707"/>
                  </a:cubicBezTo>
                  <a:cubicBezTo>
                    <a:pt x="56" y="711"/>
                    <a:pt x="63" y="721"/>
                    <a:pt x="70" y="728"/>
                  </a:cubicBezTo>
                  <a:lnTo>
                    <a:pt x="84" y="742"/>
                  </a:lnTo>
                  <a:lnTo>
                    <a:pt x="102" y="763"/>
                  </a:lnTo>
                  <a:lnTo>
                    <a:pt x="119" y="777"/>
                  </a:lnTo>
                  <a:lnTo>
                    <a:pt x="141" y="798"/>
                  </a:lnTo>
                  <a:lnTo>
                    <a:pt x="162" y="816"/>
                  </a:lnTo>
                  <a:lnTo>
                    <a:pt x="186" y="837"/>
                  </a:lnTo>
                  <a:lnTo>
                    <a:pt x="207" y="854"/>
                  </a:lnTo>
                  <a:lnTo>
                    <a:pt x="235" y="875"/>
                  </a:lnTo>
                  <a:lnTo>
                    <a:pt x="260" y="893"/>
                  </a:lnTo>
                  <a:lnTo>
                    <a:pt x="274" y="903"/>
                  </a:lnTo>
                  <a:cubicBezTo>
                    <a:pt x="288" y="900"/>
                    <a:pt x="302" y="900"/>
                    <a:pt x="316" y="896"/>
                  </a:cubicBezTo>
                  <a:lnTo>
                    <a:pt x="519" y="896"/>
                  </a:lnTo>
                  <a:cubicBezTo>
                    <a:pt x="536" y="896"/>
                    <a:pt x="550" y="896"/>
                    <a:pt x="564" y="893"/>
                  </a:cubicBezTo>
                  <a:cubicBezTo>
                    <a:pt x="578" y="889"/>
                    <a:pt x="592" y="886"/>
                    <a:pt x="606" y="882"/>
                  </a:cubicBezTo>
                  <a:cubicBezTo>
                    <a:pt x="655" y="868"/>
                    <a:pt x="701" y="837"/>
                    <a:pt x="732" y="795"/>
                  </a:cubicBezTo>
                  <a:cubicBezTo>
                    <a:pt x="760" y="764"/>
                    <a:pt x="803" y="718"/>
                    <a:pt x="859" y="718"/>
                  </a:cubicBezTo>
                  <a:cubicBezTo>
                    <a:pt x="873" y="718"/>
                    <a:pt x="888" y="721"/>
                    <a:pt x="904" y="728"/>
                  </a:cubicBezTo>
                  <a:lnTo>
                    <a:pt x="918" y="728"/>
                  </a:lnTo>
                  <a:cubicBezTo>
                    <a:pt x="995" y="718"/>
                    <a:pt x="1187" y="627"/>
                    <a:pt x="1282" y="560"/>
                  </a:cubicBezTo>
                  <a:lnTo>
                    <a:pt x="1285" y="560"/>
                  </a:lnTo>
                  <a:lnTo>
                    <a:pt x="1303" y="546"/>
                  </a:lnTo>
                  <a:lnTo>
                    <a:pt x="1306" y="543"/>
                  </a:lnTo>
                  <a:lnTo>
                    <a:pt x="1317" y="536"/>
                  </a:lnTo>
                  <a:lnTo>
                    <a:pt x="1324" y="529"/>
                  </a:lnTo>
                  <a:lnTo>
                    <a:pt x="1327" y="525"/>
                  </a:lnTo>
                  <a:lnTo>
                    <a:pt x="1324" y="525"/>
                  </a:lnTo>
                  <a:lnTo>
                    <a:pt x="1317" y="515"/>
                  </a:lnTo>
                  <a:lnTo>
                    <a:pt x="1313" y="511"/>
                  </a:lnTo>
                  <a:lnTo>
                    <a:pt x="1303" y="504"/>
                  </a:lnTo>
                  <a:cubicBezTo>
                    <a:pt x="1264" y="476"/>
                    <a:pt x="1236" y="434"/>
                    <a:pt x="1222" y="389"/>
                  </a:cubicBezTo>
                  <a:cubicBezTo>
                    <a:pt x="1219" y="378"/>
                    <a:pt x="1187" y="315"/>
                    <a:pt x="953" y="88"/>
                  </a:cubicBezTo>
                  <a:lnTo>
                    <a:pt x="939" y="74"/>
                  </a:lnTo>
                  <a:cubicBezTo>
                    <a:pt x="921" y="53"/>
                    <a:pt x="911" y="28"/>
                    <a:pt x="907"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548" name="Google Shape;4548;p104"/>
            <p:cNvSpPr/>
            <p:nvPr/>
          </p:nvSpPr>
          <p:spPr>
            <a:xfrm>
              <a:off x="2198823" y="1710971"/>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549" name="Google Shape;4549;p104"/>
            <p:cNvSpPr/>
            <p:nvPr/>
          </p:nvSpPr>
          <p:spPr>
            <a:xfrm>
              <a:off x="2198728" y="1711786"/>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550" name="Google Shape;4550;p104"/>
            <p:cNvSpPr/>
            <p:nvPr/>
          </p:nvSpPr>
          <p:spPr>
            <a:xfrm>
              <a:off x="2198728" y="1713917"/>
              <a:ext cx="14" cy="68"/>
            </a:xfrm>
            <a:custGeom>
              <a:avLst/>
              <a:gdLst/>
              <a:ahLst/>
              <a:cxnLst/>
              <a:rect l="l" t="t" r="r" b="b"/>
              <a:pathLst>
                <a:path w="1" h="5" extrusionOk="0">
                  <a:moveTo>
                    <a:pt x="1" y="4"/>
                  </a:moveTo>
                  <a:lnTo>
                    <a:pt x="1"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551" name="Google Shape;4551;p104"/>
            <p:cNvSpPr/>
            <p:nvPr/>
          </p:nvSpPr>
          <p:spPr>
            <a:xfrm>
              <a:off x="2202204" y="1718153"/>
              <a:ext cx="204" cy="149"/>
            </a:xfrm>
            <a:custGeom>
              <a:avLst/>
              <a:gdLst/>
              <a:ahLst/>
              <a:cxnLst/>
              <a:rect l="l" t="t" r="r" b="b"/>
              <a:pathLst>
                <a:path w="15" h="11" extrusionOk="0">
                  <a:moveTo>
                    <a:pt x="15" y="11"/>
                  </a:moveTo>
                  <a:lnTo>
                    <a:pt x="15" y="11"/>
                  </a:lnTo>
                  <a:lnTo>
                    <a:pt x="1"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552" name="Google Shape;4552;p104"/>
            <p:cNvSpPr/>
            <p:nvPr/>
          </p:nvSpPr>
          <p:spPr>
            <a:xfrm>
              <a:off x="2199447" y="1715628"/>
              <a:ext cx="204" cy="299"/>
            </a:xfrm>
            <a:custGeom>
              <a:avLst/>
              <a:gdLst/>
              <a:ahLst/>
              <a:cxnLst/>
              <a:rect l="l" t="t" r="r" b="b"/>
              <a:pathLst>
                <a:path w="15" h="22" extrusionOk="0">
                  <a:moveTo>
                    <a:pt x="14" y="22"/>
                  </a:moveTo>
                  <a:cubicBezTo>
                    <a:pt x="11" y="15"/>
                    <a:pt x="4" y="8"/>
                    <a:pt x="0" y="1"/>
                  </a:cubicBezTo>
                  <a:cubicBezTo>
                    <a:pt x="4" y="8"/>
                    <a:pt x="11" y="15"/>
                    <a:pt x="14" y="22"/>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553" name="Google Shape;4553;p104"/>
            <p:cNvSpPr/>
            <p:nvPr/>
          </p:nvSpPr>
          <p:spPr>
            <a:xfrm>
              <a:off x="2198687" y="1712492"/>
              <a:ext cx="14" cy="109"/>
            </a:xfrm>
            <a:custGeom>
              <a:avLst/>
              <a:gdLst/>
              <a:ahLst/>
              <a:cxnLst/>
              <a:rect l="l" t="t" r="r" b="b"/>
              <a:pathLst>
                <a:path w="1" h="8" extrusionOk="0">
                  <a:moveTo>
                    <a:pt x="0" y="8"/>
                  </a:moveTo>
                  <a:lnTo>
                    <a:pt x="0" y="1"/>
                  </a:lnTo>
                  <a:cubicBezTo>
                    <a:pt x="0" y="1"/>
                    <a:pt x="0" y="8"/>
                    <a:pt x="0" y="8"/>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554" name="Google Shape;4554;p104"/>
            <p:cNvSpPr/>
            <p:nvPr/>
          </p:nvSpPr>
          <p:spPr>
            <a:xfrm>
              <a:off x="2199828" y="1716103"/>
              <a:ext cx="299" cy="258"/>
            </a:xfrm>
            <a:custGeom>
              <a:avLst/>
              <a:gdLst/>
              <a:ahLst/>
              <a:cxnLst/>
              <a:rect l="l" t="t" r="r" b="b"/>
              <a:pathLst>
                <a:path w="22" h="19" extrusionOk="0">
                  <a:moveTo>
                    <a:pt x="21" y="1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555" name="Google Shape;4555;p104"/>
            <p:cNvSpPr/>
            <p:nvPr/>
          </p:nvSpPr>
          <p:spPr>
            <a:xfrm>
              <a:off x="2198687" y="1713347"/>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556" name="Google Shape;4556;p104"/>
            <p:cNvSpPr/>
            <p:nvPr/>
          </p:nvSpPr>
          <p:spPr>
            <a:xfrm>
              <a:off x="2201538" y="1717583"/>
              <a:ext cx="394" cy="339"/>
            </a:xfrm>
            <a:custGeom>
              <a:avLst/>
              <a:gdLst/>
              <a:ahLst/>
              <a:cxnLst/>
              <a:rect l="l" t="t" r="r" b="b"/>
              <a:pathLst>
                <a:path w="29" h="25" extrusionOk="0">
                  <a:moveTo>
                    <a:pt x="29" y="25"/>
                  </a:moveTo>
                  <a:lnTo>
                    <a:pt x="1"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557" name="Google Shape;4557;p104"/>
            <p:cNvSpPr/>
            <p:nvPr/>
          </p:nvSpPr>
          <p:spPr>
            <a:xfrm>
              <a:off x="2198918" y="1709980"/>
              <a:ext cx="14" cy="109"/>
            </a:xfrm>
            <a:custGeom>
              <a:avLst/>
              <a:gdLst/>
              <a:ahLst/>
              <a:cxnLst/>
              <a:rect l="l" t="t" r="r" b="b"/>
              <a:pathLst>
                <a:path w="1" h="8" extrusionOk="0">
                  <a:moveTo>
                    <a:pt x="1" y="7"/>
                  </a:moveTo>
                  <a:lnTo>
                    <a:pt x="1"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558" name="Google Shape;4558;p104"/>
            <p:cNvSpPr/>
            <p:nvPr/>
          </p:nvSpPr>
          <p:spPr>
            <a:xfrm>
              <a:off x="2200873" y="1717108"/>
              <a:ext cx="339" cy="244"/>
            </a:xfrm>
            <a:custGeom>
              <a:avLst/>
              <a:gdLst/>
              <a:ahLst/>
              <a:cxnLst/>
              <a:rect l="l" t="t" r="r" b="b"/>
              <a:pathLst>
                <a:path w="25" h="18" extrusionOk="0">
                  <a:moveTo>
                    <a:pt x="25" y="18"/>
                  </a:moveTo>
                  <a:lnTo>
                    <a:pt x="1"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559" name="Google Shape;4559;p104"/>
            <p:cNvSpPr/>
            <p:nvPr/>
          </p:nvSpPr>
          <p:spPr>
            <a:xfrm>
              <a:off x="2198823" y="1714447"/>
              <a:ext cx="204" cy="530"/>
            </a:xfrm>
            <a:custGeom>
              <a:avLst/>
              <a:gdLst/>
              <a:ahLst/>
              <a:cxnLst/>
              <a:rect l="l" t="t" r="r" b="b"/>
              <a:pathLst>
                <a:path w="15" h="39" extrusionOk="0">
                  <a:moveTo>
                    <a:pt x="15" y="39"/>
                  </a:moveTo>
                  <a:cubicBezTo>
                    <a:pt x="8" y="25"/>
                    <a:pt x="4" y="14"/>
                    <a:pt x="1" y="0"/>
                  </a:cubicBezTo>
                  <a:cubicBezTo>
                    <a:pt x="4" y="14"/>
                    <a:pt x="8" y="25"/>
                    <a:pt x="15" y="39"/>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560" name="Google Shape;4560;p104"/>
            <p:cNvSpPr/>
            <p:nvPr/>
          </p:nvSpPr>
          <p:spPr>
            <a:xfrm>
              <a:off x="2200343" y="1716578"/>
              <a:ext cx="258" cy="299"/>
            </a:xfrm>
            <a:custGeom>
              <a:avLst/>
              <a:gdLst/>
              <a:ahLst/>
              <a:cxnLst/>
              <a:rect l="l" t="t" r="r" b="b"/>
              <a:pathLst>
                <a:path w="19" h="22" extrusionOk="0">
                  <a:moveTo>
                    <a:pt x="18" y="22"/>
                  </a:moveTo>
                  <a:lnTo>
                    <a:pt x="1"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561" name="Google Shape;4561;p104"/>
            <p:cNvSpPr/>
            <p:nvPr/>
          </p:nvSpPr>
          <p:spPr>
            <a:xfrm>
              <a:off x="2199108" y="1709029"/>
              <a:ext cx="14" cy="149"/>
            </a:xfrm>
            <a:custGeom>
              <a:avLst/>
              <a:gdLst/>
              <a:ahLst/>
              <a:cxnLst/>
              <a:rect l="l" t="t" r="r" b="b"/>
              <a:pathLst>
                <a:path w="1" h="11" extrusionOk="0">
                  <a:moveTo>
                    <a:pt x="1" y="11"/>
                  </a:moveTo>
                  <a:lnTo>
                    <a:pt x="1"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562" name="Google Shape;4562;p104"/>
            <p:cNvSpPr/>
            <p:nvPr/>
          </p:nvSpPr>
          <p:spPr>
            <a:xfrm>
              <a:off x="2199108" y="1715112"/>
              <a:ext cx="204" cy="339"/>
            </a:xfrm>
            <a:custGeom>
              <a:avLst/>
              <a:gdLst/>
              <a:ahLst/>
              <a:cxnLst/>
              <a:rect l="l" t="t" r="r" b="b"/>
              <a:pathLst>
                <a:path w="15" h="25" extrusionOk="0">
                  <a:moveTo>
                    <a:pt x="15" y="25"/>
                  </a:moveTo>
                  <a:cubicBezTo>
                    <a:pt x="8" y="18"/>
                    <a:pt x="4" y="7"/>
                    <a:pt x="1" y="0"/>
                  </a:cubicBezTo>
                  <a:cubicBezTo>
                    <a:pt x="4" y="7"/>
                    <a:pt x="8" y="18"/>
                    <a:pt x="15" y="25"/>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563" name="Google Shape;4563;p104"/>
            <p:cNvSpPr/>
            <p:nvPr/>
          </p:nvSpPr>
          <p:spPr>
            <a:xfrm>
              <a:off x="2199352" y="1708215"/>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564" name="Google Shape;4564;p104"/>
            <p:cNvSpPr/>
            <p:nvPr/>
          </p:nvSpPr>
          <p:spPr>
            <a:xfrm>
              <a:off x="2216609" y="1712967"/>
              <a:ext cx="54" cy="14"/>
            </a:xfrm>
            <a:custGeom>
              <a:avLst/>
              <a:gdLst/>
              <a:ahLst/>
              <a:cxnLst/>
              <a:rect l="l" t="t" r="r" b="b"/>
              <a:pathLst>
                <a:path w="4" h="1" extrusionOk="0">
                  <a:moveTo>
                    <a:pt x="0" y="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565" name="Google Shape;4565;p104"/>
            <p:cNvSpPr/>
            <p:nvPr/>
          </p:nvSpPr>
          <p:spPr>
            <a:xfrm>
              <a:off x="2216745" y="1713116"/>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566" name="Google Shape;4566;p104"/>
            <p:cNvSpPr/>
            <p:nvPr/>
          </p:nvSpPr>
          <p:spPr>
            <a:xfrm>
              <a:off x="2211097" y="1705988"/>
              <a:ext cx="434" cy="1005"/>
            </a:xfrm>
            <a:custGeom>
              <a:avLst/>
              <a:gdLst/>
              <a:ahLst/>
              <a:cxnLst/>
              <a:rect l="l" t="t" r="r" b="b"/>
              <a:pathLst>
                <a:path w="32" h="74" extrusionOk="0">
                  <a:moveTo>
                    <a:pt x="32" y="74"/>
                  </a:moveTo>
                  <a:cubicBezTo>
                    <a:pt x="14" y="53"/>
                    <a:pt x="4" y="28"/>
                    <a:pt x="0" y="0"/>
                  </a:cubicBezTo>
                  <a:lnTo>
                    <a:pt x="0" y="0"/>
                  </a:lnTo>
                  <a:cubicBezTo>
                    <a:pt x="4" y="28"/>
                    <a:pt x="14" y="53"/>
                    <a:pt x="32" y="74"/>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567" name="Google Shape;4567;p104"/>
            <p:cNvSpPr/>
            <p:nvPr/>
          </p:nvSpPr>
          <p:spPr>
            <a:xfrm>
              <a:off x="2211572" y="1611095"/>
              <a:ext cx="130385" cy="74283"/>
            </a:xfrm>
            <a:custGeom>
              <a:avLst/>
              <a:gdLst/>
              <a:ahLst/>
              <a:cxnLst/>
              <a:rect l="l" t="t" r="r" b="b"/>
              <a:pathLst>
                <a:path w="9603" h="5471" extrusionOk="0">
                  <a:moveTo>
                    <a:pt x="6047" y="1"/>
                  </a:moveTo>
                  <a:cubicBezTo>
                    <a:pt x="5989" y="1"/>
                    <a:pt x="5932" y="7"/>
                    <a:pt x="5896" y="19"/>
                  </a:cubicBezTo>
                  <a:lnTo>
                    <a:pt x="5885" y="23"/>
                  </a:lnTo>
                  <a:cubicBezTo>
                    <a:pt x="5868" y="30"/>
                    <a:pt x="5850" y="33"/>
                    <a:pt x="5833" y="37"/>
                  </a:cubicBezTo>
                  <a:cubicBezTo>
                    <a:pt x="5819" y="37"/>
                    <a:pt x="5805" y="38"/>
                    <a:pt x="5791" y="38"/>
                  </a:cubicBezTo>
                  <a:cubicBezTo>
                    <a:pt x="5754" y="38"/>
                    <a:pt x="5718" y="35"/>
                    <a:pt x="5682" y="30"/>
                  </a:cubicBezTo>
                  <a:cubicBezTo>
                    <a:pt x="5652" y="25"/>
                    <a:pt x="5613" y="21"/>
                    <a:pt x="5581" y="21"/>
                  </a:cubicBezTo>
                  <a:cubicBezTo>
                    <a:pt x="5558" y="21"/>
                    <a:pt x="5538" y="24"/>
                    <a:pt x="5528" y="30"/>
                  </a:cubicBezTo>
                  <a:cubicBezTo>
                    <a:pt x="5504" y="44"/>
                    <a:pt x="5483" y="58"/>
                    <a:pt x="5465" y="75"/>
                  </a:cubicBezTo>
                  <a:cubicBezTo>
                    <a:pt x="5405" y="135"/>
                    <a:pt x="5325" y="170"/>
                    <a:pt x="5241" y="173"/>
                  </a:cubicBezTo>
                  <a:cubicBezTo>
                    <a:pt x="5206" y="173"/>
                    <a:pt x="5174" y="170"/>
                    <a:pt x="5139" y="159"/>
                  </a:cubicBezTo>
                  <a:cubicBezTo>
                    <a:pt x="5115" y="152"/>
                    <a:pt x="5090" y="138"/>
                    <a:pt x="5069" y="121"/>
                  </a:cubicBezTo>
                  <a:lnTo>
                    <a:pt x="5038" y="142"/>
                  </a:lnTo>
                  <a:lnTo>
                    <a:pt x="5031" y="142"/>
                  </a:lnTo>
                  <a:lnTo>
                    <a:pt x="4992" y="152"/>
                  </a:lnTo>
                  <a:lnTo>
                    <a:pt x="4985" y="152"/>
                  </a:lnTo>
                  <a:lnTo>
                    <a:pt x="4947" y="159"/>
                  </a:lnTo>
                  <a:lnTo>
                    <a:pt x="4940" y="159"/>
                  </a:lnTo>
                  <a:lnTo>
                    <a:pt x="4901" y="166"/>
                  </a:lnTo>
                  <a:lnTo>
                    <a:pt x="4863" y="173"/>
                  </a:lnTo>
                  <a:lnTo>
                    <a:pt x="4859" y="173"/>
                  </a:lnTo>
                  <a:lnTo>
                    <a:pt x="4828" y="177"/>
                  </a:lnTo>
                  <a:lnTo>
                    <a:pt x="4821" y="177"/>
                  </a:lnTo>
                  <a:lnTo>
                    <a:pt x="4796" y="180"/>
                  </a:lnTo>
                  <a:lnTo>
                    <a:pt x="4772" y="180"/>
                  </a:lnTo>
                  <a:cubicBezTo>
                    <a:pt x="4625" y="299"/>
                    <a:pt x="4495" y="432"/>
                    <a:pt x="4488" y="474"/>
                  </a:cubicBezTo>
                  <a:cubicBezTo>
                    <a:pt x="4488" y="670"/>
                    <a:pt x="4436" y="712"/>
                    <a:pt x="4401" y="730"/>
                  </a:cubicBezTo>
                  <a:lnTo>
                    <a:pt x="4387" y="733"/>
                  </a:lnTo>
                  <a:lnTo>
                    <a:pt x="4341" y="733"/>
                  </a:lnTo>
                  <a:lnTo>
                    <a:pt x="4331" y="730"/>
                  </a:lnTo>
                  <a:lnTo>
                    <a:pt x="4324" y="726"/>
                  </a:lnTo>
                  <a:lnTo>
                    <a:pt x="4306" y="719"/>
                  </a:lnTo>
                  <a:lnTo>
                    <a:pt x="4303" y="712"/>
                  </a:lnTo>
                  <a:cubicBezTo>
                    <a:pt x="4292" y="709"/>
                    <a:pt x="4285" y="702"/>
                    <a:pt x="4278" y="695"/>
                  </a:cubicBezTo>
                  <a:cubicBezTo>
                    <a:pt x="4248" y="664"/>
                    <a:pt x="4134" y="649"/>
                    <a:pt x="4030" y="649"/>
                  </a:cubicBezTo>
                  <a:cubicBezTo>
                    <a:pt x="3955" y="649"/>
                    <a:pt x="3885" y="657"/>
                    <a:pt x="3858" y="674"/>
                  </a:cubicBezTo>
                  <a:cubicBezTo>
                    <a:pt x="3839" y="685"/>
                    <a:pt x="3820" y="689"/>
                    <a:pt x="3802" y="689"/>
                  </a:cubicBezTo>
                  <a:cubicBezTo>
                    <a:pt x="3749" y="689"/>
                    <a:pt x="3699" y="651"/>
                    <a:pt x="3655" y="618"/>
                  </a:cubicBezTo>
                  <a:cubicBezTo>
                    <a:pt x="3599" y="575"/>
                    <a:pt x="3564" y="552"/>
                    <a:pt x="3534" y="552"/>
                  </a:cubicBezTo>
                  <a:cubicBezTo>
                    <a:pt x="3522" y="552"/>
                    <a:pt x="3512" y="555"/>
                    <a:pt x="3501" y="562"/>
                  </a:cubicBezTo>
                  <a:cubicBezTo>
                    <a:pt x="3465" y="581"/>
                    <a:pt x="3428" y="589"/>
                    <a:pt x="3391" y="589"/>
                  </a:cubicBezTo>
                  <a:cubicBezTo>
                    <a:pt x="3316" y="589"/>
                    <a:pt x="3245" y="558"/>
                    <a:pt x="3193" y="537"/>
                  </a:cubicBezTo>
                  <a:lnTo>
                    <a:pt x="3161" y="523"/>
                  </a:lnTo>
                  <a:cubicBezTo>
                    <a:pt x="3151" y="537"/>
                    <a:pt x="3137" y="548"/>
                    <a:pt x="3123" y="558"/>
                  </a:cubicBezTo>
                  <a:cubicBezTo>
                    <a:pt x="3102" y="569"/>
                    <a:pt x="3075" y="574"/>
                    <a:pt x="3045" y="574"/>
                  </a:cubicBezTo>
                  <a:cubicBezTo>
                    <a:pt x="2942" y="574"/>
                    <a:pt x="2801" y="519"/>
                    <a:pt x="2717" y="481"/>
                  </a:cubicBezTo>
                  <a:cubicBezTo>
                    <a:pt x="2668" y="468"/>
                    <a:pt x="2616" y="461"/>
                    <a:pt x="2566" y="461"/>
                  </a:cubicBezTo>
                  <a:cubicBezTo>
                    <a:pt x="2548" y="461"/>
                    <a:pt x="2531" y="462"/>
                    <a:pt x="2514" y="464"/>
                  </a:cubicBezTo>
                  <a:cubicBezTo>
                    <a:pt x="2490" y="464"/>
                    <a:pt x="2466" y="465"/>
                    <a:pt x="2442" y="465"/>
                  </a:cubicBezTo>
                  <a:cubicBezTo>
                    <a:pt x="2344" y="465"/>
                    <a:pt x="2251" y="453"/>
                    <a:pt x="2192" y="383"/>
                  </a:cubicBezTo>
                  <a:cubicBezTo>
                    <a:pt x="2178" y="369"/>
                    <a:pt x="2118" y="331"/>
                    <a:pt x="1842" y="310"/>
                  </a:cubicBezTo>
                  <a:lnTo>
                    <a:pt x="1758" y="303"/>
                  </a:lnTo>
                  <a:cubicBezTo>
                    <a:pt x="1642" y="296"/>
                    <a:pt x="1495" y="292"/>
                    <a:pt x="1306" y="292"/>
                  </a:cubicBezTo>
                  <a:cubicBezTo>
                    <a:pt x="1166" y="292"/>
                    <a:pt x="1117" y="348"/>
                    <a:pt x="1050" y="425"/>
                  </a:cubicBezTo>
                  <a:cubicBezTo>
                    <a:pt x="1033" y="446"/>
                    <a:pt x="1015" y="464"/>
                    <a:pt x="998" y="485"/>
                  </a:cubicBezTo>
                  <a:cubicBezTo>
                    <a:pt x="984" y="495"/>
                    <a:pt x="973" y="506"/>
                    <a:pt x="959" y="516"/>
                  </a:cubicBezTo>
                  <a:lnTo>
                    <a:pt x="949" y="523"/>
                  </a:lnTo>
                  <a:cubicBezTo>
                    <a:pt x="942" y="527"/>
                    <a:pt x="931" y="534"/>
                    <a:pt x="924" y="537"/>
                  </a:cubicBezTo>
                  <a:lnTo>
                    <a:pt x="910" y="544"/>
                  </a:lnTo>
                  <a:lnTo>
                    <a:pt x="886" y="555"/>
                  </a:lnTo>
                  <a:lnTo>
                    <a:pt x="872" y="558"/>
                  </a:lnTo>
                  <a:lnTo>
                    <a:pt x="851" y="565"/>
                  </a:lnTo>
                  <a:lnTo>
                    <a:pt x="837" y="569"/>
                  </a:lnTo>
                  <a:lnTo>
                    <a:pt x="809" y="572"/>
                  </a:lnTo>
                  <a:lnTo>
                    <a:pt x="732" y="572"/>
                  </a:lnTo>
                  <a:cubicBezTo>
                    <a:pt x="735" y="597"/>
                    <a:pt x="746" y="625"/>
                    <a:pt x="756" y="649"/>
                  </a:cubicBezTo>
                  <a:cubicBezTo>
                    <a:pt x="795" y="705"/>
                    <a:pt x="826" y="758"/>
                    <a:pt x="854" y="803"/>
                  </a:cubicBezTo>
                  <a:cubicBezTo>
                    <a:pt x="1015" y="1083"/>
                    <a:pt x="1005" y="1188"/>
                    <a:pt x="984" y="1234"/>
                  </a:cubicBezTo>
                  <a:cubicBezTo>
                    <a:pt x="980" y="1237"/>
                    <a:pt x="980" y="1244"/>
                    <a:pt x="977" y="1251"/>
                  </a:cubicBezTo>
                  <a:cubicBezTo>
                    <a:pt x="938" y="1314"/>
                    <a:pt x="882" y="1363"/>
                    <a:pt x="816" y="1391"/>
                  </a:cubicBezTo>
                  <a:cubicBezTo>
                    <a:pt x="781" y="1405"/>
                    <a:pt x="753" y="1430"/>
                    <a:pt x="725" y="1454"/>
                  </a:cubicBezTo>
                  <a:cubicBezTo>
                    <a:pt x="697" y="1489"/>
                    <a:pt x="627" y="1556"/>
                    <a:pt x="539" y="1636"/>
                  </a:cubicBezTo>
                  <a:cubicBezTo>
                    <a:pt x="434" y="1738"/>
                    <a:pt x="259" y="1902"/>
                    <a:pt x="231" y="1952"/>
                  </a:cubicBezTo>
                  <a:cubicBezTo>
                    <a:pt x="235" y="1983"/>
                    <a:pt x="238" y="2018"/>
                    <a:pt x="245" y="2050"/>
                  </a:cubicBezTo>
                  <a:cubicBezTo>
                    <a:pt x="256" y="2113"/>
                    <a:pt x="263" y="2176"/>
                    <a:pt x="266" y="2239"/>
                  </a:cubicBezTo>
                  <a:lnTo>
                    <a:pt x="294" y="2242"/>
                  </a:lnTo>
                  <a:lnTo>
                    <a:pt x="249" y="2316"/>
                  </a:lnTo>
                  <a:cubicBezTo>
                    <a:pt x="245" y="2323"/>
                    <a:pt x="242" y="2330"/>
                    <a:pt x="238" y="2340"/>
                  </a:cubicBezTo>
                  <a:lnTo>
                    <a:pt x="224" y="2365"/>
                  </a:lnTo>
                  <a:lnTo>
                    <a:pt x="214" y="2365"/>
                  </a:lnTo>
                  <a:cubicBezTo>
                    <a:pt x="158" y="2410"/>
                    <a:pt x="18" y="2620"/>
                    <a:pt x="0" y="2697"/>
                  </a:cubicBezTo>
                  <a:cubicBezTo>
                    <a:pt x="0" y="2701"/>
                    <a:pt x="0" y="2708"/>
                    <a:pt x="0" y="2711"/>
                  </a:cubicBezTo>
                  <a:cubicBezTo>
                    <a:pt x="0" y="2718"/>
                    <a:pt x="4" y="2725"/>
                    <a:pt x="4" y="2732"/>
                  </a:cubicBezTo>
                  <a:lnTo>
                    <a:pt x="4" y="2739"/>
                  </a:lnTo>
                  <a:cubicBezTo>
                    <a:pt x="7" y="2746"/>
                    <a:pt x="11" y="2750"/>
                    <a:pt x="14" y="2757"/>
                  </a:cubicBezTo>
                  <a:lnTo>
                    <a:pt x="21" y="2767"/>
                  </a:lnTo>
                  <a:cubicBezTo>
                    <a:pt x="25" y="2774"/>
                    <a:pt x="28" y="2781"/>
                    <a:pt x="35" y="2792"/>
                  </a:cubicBezTo>
                  <a:lnTo>
                    <a:pt x="42" y="2802"/>
                  </a:lnTo>
                  <a:lnTo>
                    <a:pt x="56" y="2816"/>
                  </a:lnTo>
                  <a:lnTo>
                    <a:pt x="67" y="2830"/>
                  </a:lnTo>
                  <a:lnTo>
                    <a:pt x="70" y="2834"/>
                  </a:lnTo>
                  <a:lnTo>
                    <a:pt x="91" y="2851"/>
                  </a:lnTo>
                  <a:cubicBezTo>
                    <a:pt x="105" y="2865"/>
                    <a:pt x="123" y="2876"/>
                    <a:pt x="140" y="2886"/>
                  </a:cubicBezTo>
                  <a:lnTo>
                    <a:pt x="147" y="2893"/>
                  </a:lnTo>
                  <a:lnTo>
                    <a:pt x="165" y="2904"/>
                  </a:lnTo>
                  <a:cubicBezTo>
                    <a:pt x="175" y="2907"/>
                    <a:pt x="186" y="2911"/>
                    <a:pt x="196" y="2918"/>
                  </a:cubicBezTo>
                  <a:cubicBezTo>
                    <a:pt x="207" y="2921"/>
                    <a:pt x="217" y="2925"/>
                    <a:pt x="228" y="2928"/>
                  </a:cubicBezTo>
                  <a:lnTo>
                    <a:pt x="245" y="2939"/>
                  </a:lnTo>
                  <a:lnTo>
                    <a:pt x="252" y="2942"/>
                  </a:lnTo>
                  <a:cubicBezTo>
                    <a:pt x="266" y="2949"/>
                    <a:pt x="280" y="2960"/>
                    <a:pt x="294" y="2970"/>
                  </a:cubicBezTo>
                  <a:lnTo>
                    <a:pt x="340" y="2967"/>
                  </a:lnTo>
                  <a:lnTo>
                    <a:pt x="343" y="2967"/>
                  </a:lnTo>
                  <a:lnTo>
                    <a:pt x="389" y="2963"/>
                  </a:lnTo>
                  <a:lnTo>
                    <a:pt x="396" y="2963"/>
                  </a:lnTo>
                  <a:lnTo>
                    <a:pt x="434" y="2960"/>
                  </a:lnTo>
                  <a:lnTo>
                    <a:pt x="473" y="2960"/>
                  </a:lnTo>
                  <a:cubicBezTo>
                    <a:pt x="557" y="2967"/>
                    <a:pt x="641" y="2984"/>
                    <a:pt x="721" y="3005"/>
                  </a:cubicBezTo>
                  <a:cubicBezTo>
                    <a:pt x="819" y="3030"/>
                    <a:pt x="921" y="3047"/>
                    <a:pt x="1022" y="3058"/>
                  </a:cubicBezTo>
                  <a:cubicBezTo>
                    <a:pt x="1141" y="3058"/>
                    <a:pt x="1327" y="3107"/>
                    <a:pt x="1394" y="3173"/>
                  </a:cubicBezTo>
                  <a:cubicBezTo>
                    <a:pt x="1396" y="3176"/>
                    <a:pt x="1402" y="3177"/>
                    <a:pt x="1410" y="3177"/>
                  </a:cubicBezTo>
                  <a:cubicBezTo>
                    <a:pt x="1436" y="3177"/>
                    <a:pt x="1490" y="3161"/>
                    <a:pt x="1544" y="3107"/>
                  </a:cubicBezTo>
                  <a:cubicBezTo>
                    <a:pt x="1576" y="3075"/>
                    <a:pt x="1614" y="3054"/>
                    <a:pt x="1660" y="3047"/>
                  </a:cubicBezTo>
                  <a:cubicBezTo>
                    <a:pt x="1680" y="3044"/>
                    <a:pt x="1700" y="3042"/>
                    <a:pt x="1719" y="3042"/>
                  </a:cubicBezTo>
                  <a:cubicBezTo>
                    <a:pt x="1744" y="3042"/>
                    <a:pt x="1768" y="3045"/>
                    <a:pt x="1793" y="3051"/>
                  </a:cubicBezTo>
                  <a:cubicBezTo>
                    <a:pt x="1814" y="3054"/>
                    <a:pt x="1838" y="3054"/>
                    <a:pt x="1863" y="3058"/>
                  </a:cubicBezTo>
                  <a:cubicBezTo>
                    <a:pt x="1940" y="3058"/>
                    <a:pt x="2080" y="2984"/>
                    <a:pt x="2115" y="2925"/>
                  </a:cubicBezTo>
                  <a:cubicBezTo>
                    <a:pt x="2132" y="2897"/>
                    <a:pt x="2167" y="2865"/>
                    <a:pt x="2293" y="2813"/>
                  </a:cubicBezTo>
                  <a:lnTo>
                    <a:pt x="2304" y="2809"/>
                  </a:lnTo>
                  <a:lnTo>
                    <a:pt x="2339" y="2799"/>
                  </a:lnTo>
                  <a:lnTo>
                    <a:pt x="2374" y="2785"/>
                  </a:lnTo>
                  <a:cubicBezTo>
                    <a:pt x="2398" y="2778"/>
                    <a:pt x="2426" y="2771"/>
                    <a:pt x="2451" y="2760"/>
                  </a:cubicBezTo>
                  <a:lnTo>
                    <a:pt x="2468" y="2757"/>
                  </a:lnTo>
                  <a:lnTo>
                    <a:pt x="2521" y="2739"/>
                  </a:lnTo>
                  <a:cubicBezTo>
                    <a:pt x="2615" y="2711"/>
                    <a:pt x="2713" y="2690"/>
                    <a:pt x="2811" y="2673"/>
                  </a:cubicBezTo>
                  <a:lnTo>
                    <a:pt x="2825" y="2673"/>
                  </a:lnTo>
                  <a:cubicBezTo>
                    <a:pt x="2833" y="2672"/>
                    <a:pt x="2841" y="2671"/>
                    <a:pt x="2848" y="2671"/>
                  </a:cubicBezTo>
                  <a:cubicBezTo>
                    <a:pt x="2938" y="2671"/>
                    <a:pt x="3025" y="2745"/>
                    <a:pt x="3116" y="2813"/>
                  </a:cubicBezTo>
                  <a:cubicBezTo>
                    <a:pt x="3165" y="2855"/>
                    <a:pt x="3238" y="2914"/>
                    <a:pt x="3270" y="2914"/>
                  </a:cubicBezTo>
                  <a:cubicBezTo>
                    <a:pt x="3480" y="2918"/>
                    <a:pt x="3662" y="3058"/>
                    <a:pt x="3725" y="3257"/>
                  </a:cubicBezTo>
                  <a:cubicBezTo>
                    <a:pt x="3739" y="3299"/>
                    <a:pt x="3757" y="3341"/>
                    <a:pt x="3778" y="3383"/>
                  </a:cubicBezTo>
                  <a:cubicBezTo>
                    <a:pt x="3816" y="3460"/>
                    <a:pt x="3858" y="3534"/>
                    <a:pt x="3907" y="3604"/>
                  </a:cubicBezTo>
                  <a:cubicBezTo>
                    <a:pt x="3928" y="3635"/>
                    <a:pt x="3953" y="3663"/>
                    <a:pt x="3974" y="3691"/>
                  </a:cubicBezTo>
                  <a:lnTo>
                    <a:pt x="3995" y="3716"/>
                  </a:lnTo>
                  <a:cubicBezTo>
                    <a:pt x="4009" y="3733"/>
                    <a:pt x="4019" y="3751"/>
                    <a:pt x="4033" y="3761"/>
                  </a:cubicBezTo>
                  <a:lnTo>
                    <a:pt x="4047" y="3779"/>
                  </a:lnTo>
                  <a:cubicBezTo>
                    <a:pt x="4145" y="3877"/>
                    <a:pt x="4198" y="4105"/>
                    <a:pt x="4198" y="4182"/>
                  </a:cubicBezTo>
                  <a:cubicBezTo>
                    <a:pt x="4198" y="4210"/>
                    <a:pt x="4184" y="4234"/>
                    <a:pt x="4163" y="4252"/>
                  </a:cubicBezTo>
                  <a:cubicBezTo>
                    <a:pt x="4144" y="4265"/>
                    <a:pt x="4123" y="4271"/>
                    <a:pt x="4098" y="4271"/>
                  </a:cubicBezTo>
                  <a:cubicBezTo>
                    <a:pt x="4051" y="4271"/>
                    <a:pt x="3989" y="4251"/>
                    <a:pt x="3900" y="4224"/>
                  </a:cubicBezTo>
                  <a:cubicBezTo>
                    <a:pt x="3851" y="4210"/>
                    <a:pt x="3795" y="4192"/>
                    <a:pt x="3743" y="4182"/>
                  </a:cubicBezTo>
                  <a:cubicBezTo>
                    <a:pt x="3730" y="4177"/>
                    <a:pt x="3717" y="4174"/>
                    <a:pt x="3705" y="4174"/>
                  </a:cubicBezTo>
                  <a:cubicBezTo>
                    <a:pt x="3688" y="4174"/>
                    <a:pt x="3672" y="4179"/>
                    <a:pt x="3659" y="4189"/>
                  </a:cubicBezTo>
                  <a:cubicBezTo>
                    <a:pt x="3641" y="4203"/>
                    <a:pt x="3617" y="4241"/>
                    <a:pt x="3617" y="4360"/>
                  </a:cubicBezTo>
                  <a:cubicBezTo>
                    <a:pt x="3617" y="4437"/>
                    <a:pt x="3533" y="4574"/>
                    <a:pt x="3312" y="4857"/>
                  </a:cubicBezTo>
                  <a:lnTo>
                    <a:pt x="3294" y="4882"/>
                  </a:lnTo>
                  <a:lnTo>
                    <a:pt x="3308" y="4889"/>
                  </a:lnTo>
                  <a:lnTo>
                    <a:pt x="3315" y="4892"/>
                  </a:lnTo>
                  <a:cubicBezTo>
                    <a:pt x="3340" y="4903"/>
                    <a:pt x="3365" y="4910"/>
                    <a:pt x="3386" y="4913"/>
                  </a:cubicBezTo>
                  <a:lnTo>
                    <a:pt x="3389" y="4913"/>
                  </a:lnTo>
                  <a:cubicBezTo>
                    <a:pt x="3407" y="4917"/>
                    <a:pt x="3424" y="4920"/>
                    <a:pt x="3442" y="4924"/>
                  </a:cubicBezTo>
                  <a:cubicBezTo>
                    <a:pt x="3480" y="4910"/>
                    <a:pt x="3515" y="4892"/>
                    <a:pt x="3550" y="4871"/>
                  </a:cubicBezTo>
                  <a:cubicBezTo>
                    <a:pt x="3638" y="4822"/>
                    <a:pt x="3697" y="4794"/>
                    <a:pt x="3743" y="4794"/>
                  </a:cubicBezTo>
                  <a:lnTo>
                    <a:pt x="3760" y="4794"/>
                  </a:lnTo>
                  <a:lnTo>
                    <a:pt x="3771" y="4798"/>
                  </a:lnTo>
                  <a:lnTo>
                    <a:pt x="3774" y="4798"/>
                  </a:lnTo>
                  <a:lnTo>
                    <a:pt x="3785" y="4801"/>
                  </a:lnTo>
                  <a:lnTo>
                    <a:pt x="3799" y="4808"/>
                  </a:lnTo>
                  <a:lnTo>
                    <a:pt x="3802" y="4808"/>
                  </a:lnTo>
                  <a:lnTo>
                    <a:pt x="3820" y="4815"/>
                  </a:lnTo>
                  <a:lnTo>
                    <a:pt x="3823" y="4819"/>
                  </a:lnTo>
                  <a:lnTo>
                    <a:pt x="3841" y="4833"/>
                  </a:lnTo>
                  <a:lnTo>
                    <a:pt x="3844" y="4833"/>
                  </a:lnTo>
                  <a:lnTo>
                    <a:pt x="3865" y="4850"/>
                  </a:lnTo>
                  <a:lnTo>
                    <a:pt x="3869" y="4850"/>
                  </a:lnTo>
                  <a:cubicBezTo>
                    <a:pt x="3883" y="4728"/>
                    <a:pt x="3939" y="4682"/>
                    <a:pt x="4061" y="4595"/>
                  </a:cubicBezTo>
                  <a:cubicBezTo>
                    <a:pt x="4089" y="4574"/>
                    <a:pt x="4121" y="4553"/>
                    <a:pt x="4156" y="4525"/>
                  </a:cubicBezTo>
                  <a:cubicBezTo>
                    <a:pt x="4254" y="4451"/>
                    <a:pt x="4310" y="4346"/>
                    <a:pt x="4366" y="4245"/>
                  </a:cubicBezTo>
                  <a:cubicBezTo>
                    <a:pt x="4439" y="4115"/>
                    <a:pt x="4509" y="3992"/>
                    <a:pt x="4653" y="3964"/>
                  </a:cubicBezTo>
                  <a:cubicBezTo>
                    <a:pt x="4705" y="3950"/>
                    <a:pt x="4761" y="3936"/>
                    <a:pt x="4814" y="3919"/>
                  </a:cubicBezTo>
                  <a:cubicBezTo>
                    <a:pt x="4910" y="3880"/>
                    <a:pt x="5014" y="3861"/>
                    <a:pt x="5117" y="3861"/>
                  </a:cubicBezTo>
                  <a:cubicBezTo>
                    <a:pt x="5172" y="3861"/>
                    <a:pt x="5226" y="3866"/>
                    <a:pt x="5279" y="3877"/>
                  </a:cubicBezTo>
                  <a:cubicBezTo>
                    <a:pt x="5335" y="3884"/>
                    <a:pt x="5412" y="3901"/>
                    <a:pt x="5437" y="3964"/>
                  </a:cubicBezTo>
                  <a:cubicBezTo>
                    <a:pt x="5462" y="4028"/>
                    <a:pt x="5419" y="4091"/>
                    <a:pt x="5381" y="4140"/>
                  </a:cubicBezTo>
                  <a:cubicBezTo>
                    <a:pt x="5367" y="4161"/>
                    <a:pt x="5332" y="4206"/>
                    <a:pt x="5335" y="4220"/>
                  </a:cubicBezTo>
                  <a:cubicBezTo>
                    <a:pt x="5335" y="4220"/>
                    <a:pt x="5339" y="4227"/>
                    <a:pt x="5356" y="4238"/>
                  </a:cubicBezTo>
                  <a:cubicBezTo>
                    <a:pt x="5422" y="4270"/>
                    <a:pt x="5548" y="4277"/>
                    <a:pt x="5678" y="4277"/>
                  </a:cubicBezTo>
                  <a:cubicBezTo>
                    <a:pt x="5716" y="4277"/>
                    <a:pt x="5754" y="4277"/>
                    <a:pt x="5791" y="4276"/>
                  </a:cubicBezTo>
                  <a:cubicBezTo>
                    <a:pt x="5831" y="4276"/>
                    <a:pt x="5869" y="4275"/>
                    <a:pt x="5906" y="4275"/>
                  </a:cubicBezTo>
                  <a:cubicBezTo>
                    <a:pt x="6108" y="4275"/>
                    <a:pt x="6257" y="4291"/>
                    <a:pt x="6281" y="4413"/>
                  </a:cubicBezTo>
                  <a:cubicBezTo>
                    <a:pt x="6312" y="4563"/>
                    <a:pt x="6057" y="4654"/>
                    <a:pt x="5784" y="4756"/>
                  </a:cubicBezTo>
                  <a:cubicBezTo>
                    <a:pt x="5721" y="4777"/>
                    <a:pt x="5640" y="4808"/>
                    <a:pt x="5591" y="4829"/>
                  </a:cubicBezTo>
                  <a:cubicBezTo>
                    <a:pt x="5644" y="4854"/>
                    <a:pt x="5731" y="4885"/>
                    <a:pt x="5794" y="4906"/>
                  </a:cubicBezTo>
                  <a:cubicBezTo>
                    <a:pt x="5892" y="4938"/>
                    <a:pt x="5983" y="4976"/>
                    <a:pt x="6074" y="5025"/>
                  </a:cubicBezTo>
                  <a:cubicBezTo>
                    <a:pt x="6193" y="5102"/>
                    <a:pt x="6158" y="5242"/>
                    <a:pt x="6134" y="5347"/>
                  </a:cubicBezTo>
                  <a:cubicBezTo>
                    <a:pt x="6120" y="5382"/>
                    <a:pt x="6116" y="5421"/>
                    <a:pt x="6116" y="5459"/>
                  </a:cubicBezTo>
                  <a:cubicBezTo>
                    <a:pt x="6121" y="5466"/>
                    <a:pt x="6135" y="5470"/>
                    <a:pt x="6156" y="5470"/>
                  </a:cubicBezTo>
                  <a:cubicBezTo>
                    <a:pt x="6217" y="5470"/>
                    <a:pt x="6338" y="5435"/>
                    <a:pt x="6470" y="5340"/>
                  </a:cubicBezTo>
                  <a:cubicBezTo>
                    <a:pt x="6547" y="5288"/>
                    <a:pt x="6634" y="5249"/>
                    <a:pt x="6725" y="5228"/>
                  </a:cubicBezTo>
                  <a:cubicBezTo>
                    <a:pt x="6823" y="5207"/>
                    <a:pt x="6914" y="5165"/>
                    <a:pt x="6998" y="5113"/>
                  </a:cubicBezTo>
                  <a:cubicBezTo>
                    <a:pt x="7108" y="5039"/>
                    <a:pt x="7260" y="5027"/>
                    <a:pt x="7401" y="5027"/>
                  </a:cubicBezTo>
                  <a:cubicBezTo>
                    <a:pt x="7441" y="5027"/>
                    <a:pt x="7480" y="5028"/>
                    <a:pt x="7517" y="5029"/>
                  </a:cubicBezTo>
                  <a:cubicBezTo>
                    <a:pt x="7541" y="5030"/>
                    <a:pt x="7565" y="5031"/>
                    <a:pt x="7589" y="5031"/>
                  </a:cubicBezTo>
                  <a:cubicBezTo>
                    <a:pt x="7623" y="5031"/>
                    <a:pt x="7657" y="5029"/>
                    <a:pt x="7692" y="5025"/>
                  </a:cubicBezTo>
                  <a:cubicBezTo>
                    <a:pt x="7656" y="5006"/>
                    <a:pt x="7566" y="4976"/>
                    <a:pt x="7384" y="4976"/>
                  </a:cubicBezTo>
                  <a:cubicBezTo>
                    <a:pt x="7335" y="4976"/>
                    <a:pt x="7279" y="4978"/>
                    <a:pt x="7215" y="4983"/>
                  </a:cubicBezTo>
                  <a:cubicBezTo>
                    <a:pt x="7195" y="4986"/>
                    <a:pt x="7174" y="4987"/>
                    <a:pt x="7154" y="4987"/>
                  </a:cubicBezTo>
                  <a:cubicBezTo>
                    <a:pt x="7045" y="4987"/>
                    <a:pt x="6937" y="4948"/>
                    <a:pt x="6855" y="4875"/>
                  </a:cubicBezTo>
                  <a:cubicBezTo>
                    <a:pt x="6711" y="4745"/>
                    <a:pt x="6701" y="4532"/>
                    <a:pt x="6701" y="4472"/>
                  </a:cubicBezTo>
                  <a:cubicBezTo>
                    <a:pt x="6701" y="4332"/>
                    <a:pt x="7201" y="3992"/>
                    <a:pt x="7446" y="3971"/>
                  </a:cubicBezTo>
                  <a:cubicBezTo>
                    <a:pt x="7692" y="3947"/>
                    <a:pt x="7895" y="3873"/>
                    <a:pt x="8122" y="3765"/>
                  </a:cubicBezTo>
                  <a:cubicBezTo>
                    <a:pt x="8248" y="3712"/>
                    <a:pt x="8378" y="3674"/>
                    <a:pt x="8514" y="3649"/>
                  </a:cubicBezTo>
                  <a:lnTo>
                    <a:pt x="8511" y="3632"/>
                  </a:lnTo>
                  <a:lnTo>
                    <a:pt x="8507" y="3618"/>
                  </a:lnTo>
                  <a:cubicBezTo>
                    <a:pt x="8507" y="3607"/>
                    <a:pt x="8504" y="3593"/>
                    <a:pt x="8504" y="3583"/>
                  </a:cubicBezTo>
                  <a:lnTo>
                    <a:pt x="8504" y="3576"/>
                  </a:lnTo>
                  <a:cubicBezTo>
                    <a:pt x="8504" y="3569"/>
                    <a:pt x="8500" y="3558"/>
                    <a:pt x="8500" y="3548"/>
                  </a:cubicBezTo>
                  <a:cubicBezTo>
                    <a:pt x="8497" y="3541"/>
                    <a:pt x="8500" y="3541"/>
                    <a:pt x="8500" y="3537"/>
                  </a:cubicBezTo>
                  <a:lnTo>
                    <a:pt x="8500" y="3516"/>
                  </a:lnTo>
                  <a:lnTo>
                    <a:pt x="8500" y="3506"/>
                  </a:lnTo>
                  <a:lnTo>
                    <a:pt x="8500" y="3485"/>
                  </a:lnTo>
                  <a:lnTo>
                    <a:pt x="8500" y="3474"/>
                  </a:lnTo>
                  <a:cubicBezTo>
                    <a:pt x="8500" y="3467"/>
                    <a:pt x="8500" y="3460"/>
                    <a:pt x="8504" y="3457"/>
                  </a:cubicBezTo>
                  <a:cubicBezTo>
                    <a:pt x="8504" y="3453"/>
                    <a:pt x="8504" y="3450"/>
                    <a:pt x="8507" y="3446"/>
                  </a:cubicBezTo>
                  <a:cubicBezTo>
                    <a:pt x="8511" y="3439"/>
                    <a:pt x="8514" y="3429"/>
                    <a:pt x="8518" y="3422"/>
                  </a:cubicBezTo>
                  <a:cubicBezTo>
                    <a:pt x="8528" y="3411"/>
                    <a:pt x="8539" y="3401"/>
                    <a:pt x="8553" y="3390"/>
                  </a:cubicBezTo>
                  <a:lnTo>
                    <a:pt x="8556" y="3390"/>
                  </a:lnTo>
                  <a:cubicBezTo>
                    <a:pt x="8560" y="3387"/>
                    <a:pt x="8567" y="3383"/>
                    <a:pt x="8570" y="3383"/>
                  </a:cubicBezTo>
                  <a:lnTo>
                    <a:pt x="8581" y="3380"/>
                  </a:lnTo>
                  <a:lnTo>
                    <a:pt x="8595" y="3376"/>
                  </a:lnTo>
                  <a:cubicBezTo>
                    <a:pt x="8654" y="3341"/>
                    <a:pt x="8710" y="3299"/>
                    <a:pt x="8763" y="3250"/>
                  </a:cubicBezTo>
                  <a:cubicBezTo>
                    <a:pt x="8885" y="3149"/>
                    <a:pt x="8962" y="3086"/>
                    <a:pt x="9029" y="3086"/>
                  </a:cubicBezTo>
                  <a:lnTo>
                    <a:pt x="9053" y="3086"/>
                  </a:lnTo>
                  <a:cubicBezTo>
                    <a:pt x="9081" y="3086"/>
                    <a:pt x="9123" y="3093"/>
                    <a:pt x="9169" y="3096"/>
                  </a:cubicBezTo>
                  <a:cubicBezTo>
                    <a:pt x="9218" y="3103"/>
                    <a:pt x="9274" y="3110"/>
                    <a:pt x="9330" y="3117"/>
                  </a:cubicBezTo>
                  <a:cubicBezTo>
                    <a:pt x="9358" y="3121"/>
                    <a:pt x="9389" y="3121"/>
                    <a:pt x="9417" y="3121"/>
                  </a:cubicBezTo>
                  <a:cubicBezTo>
                    <a:pt x="9428" y="3082"/>
                    <a:pt x="9442" y="3044"/>
                    <a:pt x="9459" y="3005"/>
                  </a:cubicBezTo>
                  <a:cubicBezTo>
                    <a:pt x="9484" y="2960"/>
                    <a:pt x="9501" y="2907"/>
                    <a:pt x="9512" y="2855"/>
                  </a:cubicBezTo>
                  <a:cubicBezTo>
                    <a:pt x="9505" y="2844"/>
                    <a:pt x="9498" y="2834"/>
                    <a:pt x="9487" y="2823"/>
                  </a:cubicBezTo>
                  <a:lnTo>
                    <a:pt x="9470" y="2802"/>
                  </a:lnTo>
                  <a:cubicBezTo>
                    <a:pt x="9428" y="2764"/>
                    <a:pt x="9400" y="2715"/>
                    <a:pt x="9386" y="2659"/>
                  </a:cubicBezTo>
                  <a:cubicBezTo>
                    <a:pt x="9382" y="2648"/>
                    <a:pt x="9382" y="2641"/>
                    <a:pt x="9386" y="2631"/>
                  </a:cubicBezTo>
                  <a:cubicBezTo>
                    <a:pt x="9386" y="2624"/>
                    <a:pt x="9389" y="2613"/>
                    <a:pt x="9393" y="2603"/>
                  </a:cubicBezTo>
                  <a:cubicBezTo>
                    <a:pt x="9414" y="2550"/>
                    <a:pt x="9473" y="2529"/>
                    <a:pt x="9522" y="2508"/>
                  </a:cubicBezTo>
                  <a:cubicBezTo>
                    <a:pt x="9540" y="2501"/>
                    <a:pt x="9557" y="2494"/>
                    <a:pt x="9575" y="2487"/>
                  </a:cubicBezTo>
                  <a:cubicBezTo>
                    <a:pt x="9561" y="2477"/>
                    <a:pt x="9547" y="2463"/>
                    <a:pt x="9533" y="2452"/>
                  </a:cubicBezTo>
                  <a:cubicBezTo>
                    <a:pt x="9494" y="2424"/>
                    <a:pt x="9449" y="2393"/>
                    <a:pt x="9449" y="2337"/>
                  </a:cubicBezTo>
                  <a:cubicBezTo>
                    <a:pt x="9452" y="2295"/>
                    <a:pt x="9477" y="2256"/>
                    <a:pt x="9512" y="2228"/>
                  </a:cubicBezTo>
                  <a:lnTo>
                    <a:pt x="9526" y="2214"/>
                  </a:lnTo>
                  <a:cubicBezTo>
                    <a:pt x="9557" y="2190"/>
                    <a:pt x="9586" y="2162"/>
                    <a:pt x="9603" y="2127"/>
                  </a:cubicBezTo>
                  <a:cubicBezTo>
                    <a:pt x="9603" y="2123"/>
                    <a:pt x="9603" y="2120"/>
                    <a:pt x="9603" y="2116"/>
                  </a:cubicBezTo>
                  <a:cubicBezTo>
                    <a:pt x="9600" y="2088"/>
                    <a:pt x="9543" y="2067"/>
                    <a:pt x="9477" y="2043"/>
                  </a:cubicBezTo>
                  <a:cubicBezTo>
                    <a:pt x="9424" y="2022"/>
                    <a:pt x="9372" y="1997"/>
                    <a:pt x="9323" y="1973"/>
                  </a:cubicBezTo>
                  <a:cubicBezTo>
                    <a:pt x="9253" y="1937"/>
                    <a:pt x="9176" y="1916"/>
                    <a:pt x="9099" y="1913"/>
                  </a:cubicBezTo>
                  <a:cubicBezTo>
                    <a:pt x="9018" y="1906"/>
                    <a:pt x="8938" y="1885"/>
                    <a:pt x="8864" y="1850"/>
                  </a:cubicBezTo>
                  <a:cubicBezTo>
                    <a:pt x="8798" y="1818"/>
                    <a:pt x="8675" y="1815"/>
                    <a:pt x="8588" y="1811"/>
                  </a:cubicBezTo>
                  <a:cubicBezTo>
                    <a:pt x="8476" y="1808"/>
                    <a:pt x="8385" y="1804"/>
                    <a:pt x="8378" y="1731"/>
                  </a:cubicBezTo>
                  <a:cubicBezTo>
                    <a:pt x="8350" y="1692"/>
                    <a:pt x="8315" y="1654"/>
                    <a:pt x="8280" y="1619"/>
                  </a:cubicBezTo>
                  <a:cubicBezTo>
                    <a:pt x="8231" y="1573"/>
                    <a:pt x="8185" y="1517"/>
                    <a:pt x="8143" y="1461"/>
                  </a:cubicBezTo>
                  <a:cubicBezTo>
                    <a:pt x="8143" y="1458"/>
                    <a:pt x="8140" y="1454"/>
                    <a:pt x="8129" y="1451"/>
                  </a:cubicBezTo>
                  <a:cubicBezTo>
                    <a:pt x="8122" y="1449"/>
                    <a:pt x="8114" y="1448"/>
                    <a:pt x="8105" y="1448"/>
                  </a:cubicBezTo>
                  <a:cubicBezTo>
                    <a:pt x="8059" y="1448"/>
                    <a:pt x="7992" y="1471"/>
                    <a:pt x="7933" y="1507"/>
                  </a:cubicBezTo>
                  <a:cubicBezTo>
                    <a:pt x="7877" y="1544"/>
                    <a:pt x="7810" y="1578"/>
                    <a:pt x="7734" y="1578"/>
                  </a:cubicBezTo>
                  <a:cubicBezTo>
                    <a:pt x="7687" y="1578"/>
                    <a:pt x="7636" y="1565"/>
                    <a:pt x="7583" y="1531"/>
                  </a:cubicBezTo>
                  <a:cubicBezTo>
                    <a:pt x="7555" y="1517"/>
                    <a:pt x="7531" y="1496"/>
                    <a:pt x="7506" y="1479"/>
                  </a:cubicBezTo>
                  <a:cubicBezTo>
                    <a:pt x="7464" y="1444"/>
                    <a:pt x="7418" y="1412"/>
                    <a:pt x="7390" y="1412"/>
                  </a:cubicBezTo>
                  <a:cubicBezTo>
                    <a:pt x="7383" y="1412"/>
                    <a:pt x="7380" y="1416"/>
                    <a:pt x="7376" y="1416"/>
                  </a:cubicBezTo>
                  <a:cubicBezTo>
                    <a:pt x="7346" y="1429"/>
                    <a:pt x="7307" y="1437"/>
                    <a:pt x="7268" y="1437"/>
                  </a:cubicBezTo>
                  <a:cubicBezTo>
                    <a:pt x="7214" y="1437"/>
                    <a:pt x="7159" y="1422"/>
                    <a:pt x="7121" y="1388"/>
                  </a:cubicBezTo>
                  <a:cubicBezTo>
                    <a:pt x="7075" y="1349"/>
                    <a:pt x="7061" y="1286"/>
                    <a:pt x="7082" y="1227"/>
                  </a:cubicBezTo>
                  <a:cubicBezTo>
                    <a:pt x="7103" y="1150"/>
                    <a:pt x="6942" y="912"/>
                    <a:pt x="6876" y="884"/>
                  </a:cubicBezTo>
                  <a:cubicBezTo>
                    <a:pt x="6869" y="880"/>
                    <a:pt x="6862" y="880"/>
                    <a:pt x="6858" y="880"/>
                  </a:cubicBezTo>
                  <a:cubicBezTo>
                    <a:pt x="6827" y="877"/>
                    <a:pt x="6795" y="873"/>
                    <a:pt x="6764" y="873"/>
                  </a:cubicBezTo>
                  <a:cubicBezTo>
                    <a:pt x="6683" y="873"/>
                    <a:pt x="6589" y="870"/>
                    <a:pt x="6519" y="831"/>
                  </a:cubicBezTo>
                  <a:cubicBezTo>
                    <a:pt x="6501" y="821"/>
                    <a:pt x="6484" y="810"/>
                    <a:pt x="6470" y="793"/>
                  </a:cubicBezTo>
                  <a:cubicBezTo>
                    <a:pt x="6459" y="782"/>
                    <a:pt x="6449" y="768"/>
                    <a:pt x="6442" y="754"/>
                  </a:cubicBezTo>
                  <a:cubicBezTo>
                    <a:pt x="6424" y="723"/>
                    <a:pt x="6407" y="691"/>
                    <a:pt x="6386" y="660"/>
                  </a:cubicBezTo>
                  <a:cubicBezTo>
                    <a:pt x="6375" y="642"/>
                    <a:pt x="6365" y="628"/>
                    <a:pt x="6354" y="611"/>
                  </a:cubicBezTo>
                  <a:cubicBezTo>
                    <a:pt x="6309" y="541"/>
                    <a:pt x="6281" y="467"/>
                    <a:pt x="6323" y="390"/>
                  </a:cubicBezTo>
                  <a:cubicBezTo>
                    <a:pt x="6347" y="348"/>
                    <a:pt x="6323" y="208"/>
                    <a:pt x="6284" y="107"/>
                  </a:cubicBezTo>
                  <a:cubicBezTo>
                    <a:pt x="6274" y="86"/>
                    <a:pt x="6263" y="65"/>
                    <a:pt x="6253" y="44"/>
                  </a:cubicBezTo>
                  <a:cubicBezTo>
                    <a:pt x="6233" y="16"/>
                    <a:pt x="6139" y="1"/>
                    <a:pt x="6047" y="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568" name="Google Shape;4568;p104"/>
            <p:cNvSpPr/>
            <p:nvPr/>
          </p:nvSpPr>
          <p:spPr>
            <a:xfrm>
              <a:off x="2221782" y="1620042"/>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569" name="Google Shape;4569;p104"/>
            <p:cNvSpPr/>
            <p:nvPr/>
          </p:nvSpPr>
          <p:spPr>
            <a:xfrm>
              <a:off x="2214518" y="1642961"/>
              <a:ext cx="299" cy="394"/>
            </a:xfrm>
            <a:custGeom>
              <a:avLst/>
              <a:gdLst/>
              <a:ahLst/>
              <a:cxnLst/>
              <a:rect l="l" t="t" r="r" b="b"/>
              <a:pathLst>
                <a:path w="22" h="29" extrusionOk="0">
                  <a:moveTo>
                    <a:pt x="21" y="0"/>
                  </a:moveTo>
                  <a:lnTo>
                    <a:pt x="18" y="4"/>
                  </a:lnTo>
                  <a:cubicBezTo>
                    <a:pt x="14" y="11"/>
                    <a:pt x="7" y="18"/>
                    <a:pt x="0" y="25"/>
                  </a:cubicBezTo>
                  <a:lnTo>
                    <a:pt x="0" y="28"/>
                  </a:lnTo>
                  <a:lnTo>
                    <a:pt x="11" y="28"/>
                  </a:lnTo>
                  <a:lnTo>
                    <a:pt x="21"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570" name="Google Shape;4570;p104"/>
            <p:cNvSpPr/>
            <p:nvPr/>
          </p:nvSpPr>
          <p:spPr>
            <a:xfrm>
              <a:off x="2223113" y="1622133"/>
              <a:ext cx="2200" cy="5865"/>
            </a:xfrm>
            <a:custGeom>
              <a:avLst/>
              <a:gdLst/>
              <a:ahLst/>
              <a:cxnLst/>
              <a:rect l="l" t="t" r="r" b="b"/>
              <a:pathLst>
                <a:path w="162" h="432" extrusionOk="0">
                  <a:moveTo>
                    <a:pt x="134" y="431"/>
                  </a:moveTo>
                  <a:cubicBezTo>
                    <a:pt x="151" y="389"/>
                    <a:pt x="162" y="281"/>
                    <a:pt x="1" y="1"/>
                  </a:cubicBezTo>
                  <a:cubicBezTo>
                    <a:pt x="162" y="281"/>
                    <a:pt x="151" y="389"/>
                    <a:pt x="134" y="43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571" name="Google Shape;4571;p104"/>
            <p:cNvSpPr/>
            <p:nvPr/>
          </p:nvSpPr>
          <p:spPr>
            <a:xfrm>
              <a:off x="2213609" y="1650510"/>
              <a:ext cx="258" cy="163"/>
            </a:xfrm>
            <a:custGeom>
              <a:avLst/>
              <a:gdLst/>
              <a:ahLst/>
              <a:cxnLst/>
              <a:rect l="l" t="t" r="r" b="b"/>
              <a:pathLst>
                <a:path w="19" h="12" extrusionOk="0">
                  <a:moveTo>
                    <a:pt x="1" y="1"/>
                  </a:moveTo>
                  <a:lnTo>
                    <a:pt x="18" y="1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572" name="Google Shape;4572;p104"/>
            <p:cNvSpPr/>
            <p:nvPr/>
          </p:nvSpPr>
          <p:spPr>
            <a:xfrm>
              <a:off x="2212808" y="1649940"/>
              <a:ext cx="679" cy="489"/>
            </a:xfrm>
            <a:custGeom>
              <a:avLst/>
              <a:gdLst/>
              <a:ahLst/>
              <a:cxnLst/>
              <a:rect l="l" t="t" r="r" b="b"/>
              <a:pathLst>
                <a:path w="50" h="36" extrusionOk="0">
                  <a:moveTo>
                    <a:pt x="0" y="1"/>
                  </a:moveTo>
                  <a:lnTo>
                    <a:pt x="7" y="8"/>
                  </a:lnTo>
                  <a:cubicBezTo>
                    <a:pt x="21" y="18"/>
                    <a:pt x="35" y="29"/>
                    <a:pt x="49" y="36"/>
                  </a:cubicBezTo>
                  <a:cubicBezTo>
                    <a:pt x="32" y="25"/>
                    <a:pt x="18" y="15"/>
                    <a:pt x="0" y="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573" name="Google Shape;4573;p104"/>
            <p:cNvSpPr/>
            <p:nvPr/>
          </p:nvSpPr>
          <p:spPr>
            <a:xfrm>
              <a:off x="2214654" y="1650985"/>
              <a:ext cx="299" cy="163"/>
            </a:xfrm>
            <a:custGeom>
              <a:avLst/>
              <a:gdLst/>
              <a:ahLst/>
              <a:cxnLst/>
              <a:rect l="l" t="t" r="r" b="b"/>
              <a:pathLst>
                <a:path w="22" h="12" extrusionOk="0">
                  <a:moveTo>
                    <a:pt x="1" y="1"/>
                  </a:moveTo>
                  <a:lnTo>
                    <a:pt x="22" y="1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574" name="Google Shape;4574;p104"/>
            <p:cNvSpPr/>
            <p:nvPr/>
          </p:nvSpPr>
          <p:spPr>
            <a:xfrm>
              <a:off x="2214994" y="1651176"/>
              <a:ext cx="584" cy="394"/>
            </a:xfrm>
            <a:custGeom>
              <a:avLst/>
              <a:gdLst/>
              <a:ahLst/>
              <a:cxnLst/>
              <a:rect l="l" t="t" r="r" b="b"/>
              <a:pathLst>
                <a:path w="43" h="29" extrusionOk="0">
                  <a:moveTo>
                    <a:pt x="0" y="1"/>
                  </a:moveTo>
                  <a:lnTo>
                    <a:pt x="0" y="1"/>
                  </a:lnTo>
                  <a:cubicBezTo>
                    <a:pt x="18" y="8"/>
                    <a:pt x="28" y="18"/>
                    <a:pt x="42" y="29"/>
                  </a:cubicBezTo>
                  <a:cubicBezTo>
                    <a:pt x="32" y="18"/>
                    <a:pt x="18" y="8"/>
                    <a:pt x="0" y="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575" name="Google Shape;4575;p104"/>
            <p:cNvSpPr/>
            <p:nvPr/>
          </p:nvSpPr>
          <p:spPr>
            <a:xfrm>
              <a:off x="2212563" y="1649655"/>
              <a:ext cx="204" cy="204"/>
            </a:xfrm>
            <a:custGeom>
              <a:avLst/>
              <a:gdLst/>
              <a:ahLst/>
              <a:cxnLst/>
              <a:rect l="l" t="t" r="r" b="b"/>
              <a:pathLst>
                <a:path w="15" h="15" extrusionOk="0">
                  <a:moveTo>
                    <a:pt x="1" y="1"/>
                  </a:moveTo>
                  <a:lnTo>
                    <a:pt x="15" y="15"/>
                  </a:lnTo>
                  <a:lnTo>
                    <a:pt x="15" y="15"/>
                  </a:lnTo>
                  <a:lnTo>
                    <a:pt x="1"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576" name="Google Shape;4576;p104"/>
            <p:cNvSpPr/>
            <p:nvPr/>
          </p:nvSpPr>
          <p:spPr>
            <a:xfrm>
              <a:off x="2211762" y="1648664"/>
              <a:ext cx="109" cy="149"/>
            </a:xfrm>
            <a:custGeom>
              <a:avLst/>
              <a:gdLst/>
              <a:ahLst/>
              <a:cxnLst/>
              <a:rect l="l" t="t" r="r" b="b"/>
              <a:pathLst>
                <a:path w="8" h="11" extrusionOk="0">
                  <a:moveTo>
                    <a:pt x="0" y="0"/>
                  </a:moveTo>
                  <a:lnTo>
                    <a:pt x="7" y="1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577" name="Google Shape;4577;p104"/>
            <p:cNvSpPr/>
            <p:nvPr/>
          </p:nvSpPr>
          <p:spPr>
            <a:xfrm>
              <a:off x="2212332" y="1649465"/>
              <a:ext cx="204" cy="204"/>
            </a:xfrm>
            <a:custGeom>
              <a:avLst/>
              <a:gdLst/>
              <a:ahLst/>
              <a:cxnLst/>
              <a:rect l="l" t="t" r="r" b="b"/>
              <a:pathLst>
                <a:path w="15" h="15" extrusionOk="0">
                  <a:moveTo>
                    <a:pt x="14" y="15"/>
                  </a:moveTo>
                  <a:lnTo>
                    <a:pt x="0"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578" name="Google Shape;4578;p104"/>
            <p:cNvSpPr/>
            <p:nvPr/>
          </p:nvSpPr>
          <p:spPr>
            <a:xfrm>
              <a:off x="2212047" y="1649085"/>
              <a:ext cx="109" cy="163"/>
            </a:xfrm>
            <a:custGeom>
              <a:avLst/>
              <a:gdLst/>
              <a:ahLst/>
              <a:cxnLst/>
              <a:rect l="l" t="t" r="r" b="b"/>
              <a:pathLst>
                <a:path w="8" h="12" extrusionOk="0">
                  <a:moveTo>
                    <a:pt x="0" y="1"/>
                  </a:moveTo>
                  <a:lnTo>
                    <a:pt x="7" y="1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579" name="Google Shape;4579;p104"/>
            <p:cNvSpPr/>
            <p:nvPr/>
          </p:nvSpPr>
          <p:spPr>
            <a:xfrm>
              <a:off x="2211667" y="1648324"/>
              <a:ext cx="14" cy="68"/>
            </a:xfrm>
            <a:custGeom>
              <a:avLst/>
              <a:gdLst/>
              <a:ahLst/>
              <a:cxnLst/>
              <a:rect l="l" t="t" r="r" b="b"/>
              <a:pathLst>
                <a:path w="1" h="5" extrusionOk="0">
                  <a:moveTo>
                    <a:pt x="0"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580" name="Google Shape;4580;p104"/>
            <p:cNvSpPr/>
            <p:nvPr/>
          </p:nvSpPr>
          <p:spPr>
            <a:xfrm>
              <a:off x="2214939" y="1641631"/>
              <a:ext cx="584" cy="1059"/>
            </a:xfrm>
            <a:custGeom>
              <a:avLst/>
              <a:gdLst/>
              <a:ahLst/>
              <a:cxnLst/>
              <a:rect l="l" t="t" r="r" b="b"/>
              <a:pathLst>
                <a:path w="43" h="78" extrusionOk="0">
                  <a:moveTo>
                    <a:pt x="15" y="0"/>
                  </a:moveTo>
                  <a:cubicBezTo>
                    <a:pt x="15" y="28"/>
                    <a:pt x="11" y="53"/>
                    <a:pt x="1" y="77"/>
                  </a:cubicBezTo>
                  <a:lnTo>
                    <a:pt x="43" y="4"/>
                  </a:lnTo>
                  <a:lnTo>
                    <a:pt x="15"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581" name="Google Shape;4581;p104"/>
            <p:cNvSpPr/>
            <p:nvPr/>
          </p:nvSpPr>
          <p:spPr>
            <a:xfrm>
              <a:off x="2214518" y="1643056"/>
              <a:ext cx="244" cy="244"/>
            </a:xfrm>
            <a:custGeom>
              <a:avLst/>
              <a:gdLst/>
              <a:ahLst/>
              <a:cxnLst/>
              <a:rect l="l" t="t" r="r" b="b"/>
              <a:pathLst>
                <a:path w="18" h="18" extrusionOk="0">
                  <a:moveTo>
                    <a:pt x="18" y="0"/>
                  </a:moveTo>
                  <a:cubicBezTo>
                    <a:pt x="14" y="7"/>
                    <a:pt x="7" y="11"/>
                    <a:pt x="0" y="18"/>
                  </a:cubicBezTo>
                  <a:cubicBezTo>
                    <a:pt x="7" y="14"/>
                    <a:pt x="14" y="7"/>
                    <a:pt x="18"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582" name="Google Shape;4582;p104"/>
            <p:cNvSpPr/>
            <p:nvPr/>
          </p:nvSpPr>
          <p:spPr>
            <a:xfrm>
              <a:off x="2212713" y="1649845"/>
              <a:ext cx="136" cy="136"/>
            </a:xfrm>
            <a:custGeom>
              <a:avLst/>
              <a:gdLst/>
              <a:ahLst/>
              <a:cxnLst/>
              <a:rect l="l" t="t" r="r" b="b"/>
              <a:pathLst>
                <a:path w="10" h="10" extrusionOk="0">
                  <a:moveTo>
                    <a:pt x="0" y="1"/>
                  </a:moveTo>
                  <a:lnTo>
                    <a:pt x="10" y="10"/>
                  </a:lnTo>
                  <a:lnTo>
                    <a:pt x="10" y="10"/>
                  </a:lnTo>
                  <a:lnTo>
                    <a:pt x="7" y="8"/>
                  </a:lnTo>
                  <a:lnTo>
                    <a:pt x="0"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583" name="Google Shape;4583;p104"/>
            <p:cNvSpPr/>
            <p:nvPr/>
          </p:nvSpPr>
          <p:spPr>
            <a:xfrm>
              <a:off x="2216270" y="1651420"/>
              <a:ext cx="638" cy="54"/>
            </a:xfrm>
            <a:custGeom>
              <a:avLst/>
              <a:gdLst/>
              <a:ahLst/>
              <a:cxnLst/>
              <a:rect l="l" t="t" r="r" b="b"/>
              <a:pathLst>
                <a:path w="47" h="4" extrusionOk="0">
                  <a:moveTo>
                    <a:pt x="1" y="4"/>
                  </a:moveTo>
                  <a:lnTo>
                    <a:pt x="46"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584" name="Google Shape;4584;p104"/>
            <p:cNvSpPr/>
            <p:nvPr/>
          </p:nvSpPr>
          <p:spPr>
            <a:xfrm>
              <a:off x="2217600" y="1651366"/>
              <a:ext cx="448" cy="14"/>
            </a:xfrm>
            <a:custGeom>
              <a:avLst/>
              <a:gdLst/>
              <a:ahLst/>
              <a:cxnLst/>
              <a:rect l="l" t="t" r="r" b="b"/>
              <a:pathLst>
                <a:path w="33" h="1" extrusionOk="0">
                  <a:moveTo>
                    <a:pt x="1" y="1"/>
                  </a:moveTo>
                  <a:lnTo>
                    <a:pt x="32"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585" name="Google Shape;4585;p104"/>
            <p:cNvSpPr/>
            <p:nvPr/>
          </p:nvSpPr>
          <p:spPr>
            <a:xfrm>
              <a:off x="2242895" y="1649370"/>
              <a:ext cx="14" cy="14"/>
            </a:xfrm>
            <a:custGeom>
              <a:avLst/>
              <a:gdLst/>
              <a:ahLst/>
              <a:cxnLst/>
              <a:rect l="l" t="t" r="r" b="b"/>
              <a:pathLst>
                <a:path w="1" h="1" extrusionOk="0">
                  <a:moveTo>
                    <a:pt x="0"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586" name="Google Shape;4586;p104"/>
            <p:cNvSpPr/>
            <p:nvPr/>
          </p:nvSpPr>
          <p:spPr>
            <a:xfrm>
              <a:off x="2244891" y="1648609"/>
              <a:ext cx="244" cy="68"/>
            </a:xfrm>
            <a:custGeom>
              <a:avLst/>
              <a:gdLst/>
              <a:ahLst/>
              <a:cxnLst/>
              <a:rect l="l" t="t" r="r" b="b"/>
              <a:pathLst>
                <a:path w="18" h="5" extrusionOk="0">
                  <a:moveTo>
                    <a:pt x="18" y="1"/>
                  </a:moveTo>
                  <a:lnTo>
                    <a:pt x="0" y="4"/>
                  </a:lnTo>
                  <a:lnTo>
                    <a:pt x="18"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587" name="Google Shape;4587;p104"/>
            <p:cNvSpPr/>
            <p:nvPr/>
          </p:nvSpPr>
          <p:spPr>
            <a:xfrm>
              <a:off x="2216989" y="1651366"/>
              <a:ext cx="530" cy="68"/>
            </a:xfrm>
            <a:custGeom>
              <a:avLst/>
              <a:gdLst/>
              <a:ahLst/>
              <a:cxnLst/>
              <a:rect l="l" t="t" r="r" b="b"/>
              <a:pathLst>
                <a:path w="39" h="5" extrusionOk="0">
                  <a:moveTo>
                    <a:pt x="0" y="4"/>
                  </a:moveTo>
                  <a:lnTo>
                    <a:pt x="39"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588" name="Google Shape;4588;p104"/>
            <p:cNvSpPr/>
            <p:nvPr/>
          </p:nvSpPr>
          <p:spPr>
            <a:xfrm>
              <a:off x="2240329" y="1649424"/>
              <a:ext cx="2430" cy="1534"/>
            </a:xfrm>
            <a:custGeom>
              <a:avLst/>
              <a:gdLst/>
              <a:ahLst/>
              <a:cxnLst/>
              <a:rect l="l" t="t" r="r" b="b"/>
              <a:pathLst>
                <a:path w="179" h="113" extrusionOk="0">
                  <a:moveTo>
                    <a:pt x="179" y="0"/>
                  </a:moveTo>
                  <a:lnTo>
                    <a:pt x="179" y="0"/>
                  </a:lnTo>
                  <a:cubicBezTo>
                    <a:pt x="53" y="49"/>
                    <a:pt x="18" y="84"/>
                    <a:pt x="0" y="112"/>
                  </a:cubicBezTo>
                  <a:cubicBezTo>
                    <a:pt x="25" y="74"/>
                    <a:pt x="91" y="35"/>
                    <a:pt x="179"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589" name="Google Shape;4589;p104"/>
            <p:cNvSpPr/>
            <p:nvPr/>
          </p:nvSpPr>
          <p:spPr>
            <a:xfrm>
              <a:off x="2215564" y="1651515"/>
              <a:ext cx="679" cy="54"/>
            </a:xfrm>
            <a:custGeom>
              <a:avLst/>
              <a:gdLst/>
              <a:ahLst/>
              <a:cxnLst/>
              <a:rect l="l" t="t" r="r" b="b"/>
              <a:pathLst>
                <a:path w="50" h="4" extrusionOk="0">
                  <a:moveTo>
                    <a:pt x="0" y="4"/>
                  </a:moveTo>
                  <a:lnTo>
                    <a:pt x="49"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590" name="Google Shape;4590;p104"/>
            <p:cNvSpPr/>
            <p:nvPr/>
          </p:nvSpPr>
          <p:spPr>
            <a:xfrm>
              <a:off x="2234151" y="1652465"/>
              <a:ext cx="1819" cy="149"/>
            </a:xfrm>
            <a:custGeom>
              <a:avLst/>
              <a:gdLst/>
              <a:ahLst/>
              <a:cxnLst/>
              <a:rect l="l" t="t" r="r" b="b"/>
              <a:pathLst>
                <a:path w="134" h="11" extrusionOk="0">
                  <a:moveTo>
                    <a:pt x="133" y="11"/>
                  </a:moveTo>
                  <a:cubicBezTo>
                    <a:pt x="91" y="4"/>
                    <a:pt x="46" y="0"/>
                    <a:pt x="0" y="7"/>
                  </a:cubicBezTo>
                  <a:cubicBezTo>
                    <a:pt x="46" y="0"/>
                    <a:pt x="91" y="4"/>
                    <a:pt x="133" y="1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591" name="Google Shape;4591;p104"/>
            <p:cNvSpPr/>
            <p:nvPr/>
          </p:nvSpPr>
          <p:spPr>
            <a:xfrm>
              <a:off x="2263764" y="1676796"/>
              <a:ext cx="299" cy="258"/>
            </a:xfrm>
            <a:custGeom>
              <a:avLst/>
              <a:gdLst/>
              <a:ahLst/>
              <a:cxnLst/>
              <a:rect l="l" t="t" r="r" b="b"/>
              <a:pathLst>
                <a:path w="22" h="19" extrusionOk="0">
                  <a:moveTo>
                    <a:pt x="21" y="1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592" name="Google Shape;4592;p104"/>
            <p:cNvSpPr/>
            <p:nvPr/>
          </p:nvSpPr>
          <p:spPr>
            <a:xfrm>
              <a:off x="2263479" y="1676606"/>
              <a:ext cx="244" cy="204"/>
            </a:xfrm>
            <a:custGeom>
              <a:avLst/>
              <a:gdLst/>
              <a:ahLst/>
              <a:cxnLst/>
              <a:rect l="l" t="t" r="r" b="b"/>
              <a:pathLst>
                <a:path w="18" h="15" extrusionOk="0">
                  <a:moveTo>
                    <a:pt x="18" y="15"/>
                  </a:moveTo>
                  <a:lnTo>
                    <a:pt x="0"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593" name="Google Shape;4593;p104"/>
            <p:cNvSpPr/>
            <p:nvPr/>
          </p:nvSpPr>
          <p:spPr>
            <a:xfrm>
              <a:off x="2262528" y="1676226"/>
              <a:ext cx="109" cy="14"/>
            </a:xfrm>
            <a:custGeom>
              <a:avLst/>
              <a:gdLst/>
              <a:ahLst/>
              <a:cxnLst/>
              <a:rect l="l" t="t" r="r" b="b"/>
              <a:pathLst>
                <a:path w="8" h="1" extrusionOk="0">
                  <a:moveTo>
                    <a:pt x="7"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594" name="Google Shape;4594;p104"/>
            <p:cNvSpPr/>
            <p:nvPr/>
          </p:nvSpPr>
          <p:spPr>
            <a:xfrm>
              <a:off x="2262623" y="1676226"/>
              <a:ext cx="149" cy="68"/>
            </a:xfrm>
            <a:custGeom>
              <a:avLst/>
              <a:gdLst/>
              <a:ahLst/>
              <a:cxnLst/>
              <a:rect l="l" t="t" r="r" b="b"/>
              <a:pathLst>
                <a:path w="11" h="5" extrusionOk="0">
                  <a:moveTo>
                    <a:pt x="11"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595" name="Google Shape;4595;p104"/>
            <p:cNvSpPr/>
            <p:nvPr/>
          </p:nvSpPr>
          <p:spPr>
            <a:xfrm>
              <a:off x="2257532" y="1677801"/>
              <a:ext cx="54" cy="14"/>
            </a:xfrm>
            <a:custGeom>
              <a:avLst/>
              <a:gdLst/>
              <a:ahLst/>
              <a:cxnLst/>
              <a:rect l="l" t="t" r="r" b="b"/>
              <a:pathLst>
                <a:path w="4" h="1" extrusionOk="0">
                  <a:moveTo>
                    <a:pt x="4"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596" name="Google Shape;4596;p104"/>
            <p:cNvSpPr/>
            <p:nvPr/>
          </p:nvSpPr>
          <p:spPr>
            <a:xfrm>
              <a:off x="2262814" y="1676280"/>
              <a:ext cx="149" cy="54"/>
            </a:xfrm>
            <a:custGeom>
              <a:avLst/>
              <a:gdLst/>
              <a:ahLst/>
              <a:cxnLst/>
              <a:rect l="l" t="t" r="r" b="b"/>
              <a:pathLst>
                <a:path w="11" h="4" extrusionOk="0">
                  <a:moveTo>
                    <a:pt x="11"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597" name="Google Shape;4597;p104"/>
            <p:cNvSpPr/>
            <p:nvPr/>
          </p:nvSpPr>
          <p:spPr>
            <a:xfrm>
              <a:off x="2262949" y="1676321"/>
              <a:ext cx="204" cy="109"/>
            </a:xfrm>
            <a:custGeom>
              <a:avLst/>
              <a:gdLst/>
              <a:ahLst/>
              <a:cxnLst/>
              <a:rect l="l" t="t" r="r" b="b"/>
              <a:pathLst>
                <a:path w="15" h="8" extrusionOk="0">
                  <a:moveTo>
                    <a:pt x="15" y="8"/>
                  </a:moveTo>
                  <a:lnTo>
                    <a:pt x="1"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598" name="Google Shape;4598;p104"/>
            <p:cNvSpPr/>
            <p:nvPr/>
          </p:nvSpPr>
          <p:spPr>
            <a:xfrm>
              <a:off x="2262474" y="1676185"/>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599" name="Google Shape;4599;p104"/>
            <p:cNvSpPr/>
            <p:nvPr/>
          </p:nvSpPr>
          <p:spPr>
            <a:xfrm>
              <a:off x="2256486" y="1677462"/>
              <a:ext cx="109" cy="68"/>
            </a:xfrm>
            <a:custGeom>
              <a:avLst/>
              <a:gdLst/>
              <a:ahLst/>
              <a:cxnLst/>
              <a:rect l="l" t="t" r="r" b="b"/>
              <a:pathLst>
                <a:path w="8" h="5" extrusionOk="0">
                  <a:moveTo>
                    <a:pt x="7"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600" name="Google Shape;4600;p104"/>
            <p:cNvSpPr/>
            <p:nvPr/>
          </p:nvSpPr>
          <p:spPr>
            <a:xfrm>
              <a:off x="2263194" y="1676470"/>
              <a:ext cx="244" cy="109"/>
            </a:xfrm>
            <a:custGeom>
              <a:avLst/>
              <a:gdLst/>
              <a:ahLst/>
              <a:cxnLst/>
              <a:rect l="l" t="t" r="r" b="b"/>
              <a:pathLst>
                <a:path w="18" h="8" extrusionOk="0">
                  <a:moveTo>
                    <a:pt x="18" y="7"/>
                  </a:moveTo>
                  <a:lnTo>
                    <a:pt x="0"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601" name="Google Shape;4601;p104"/>
            <p:cNvSpPr/>
            <p:nvPr/>
          </p:nvSpPr>
          <p:spPr>
            <a:xfrm>
              <a:off x="2262148" y="1655317"/>
              <a:ext cx="720" cy="1724"/>
            </a:xfrm>
            <a:custGeom>
              <a:avLst/>
              <a:gdLst/>
              <a:ahLst/>
              <a:cxnLst/>
              <a:rect l="l" t="t" r="r" b="b"/>
              <a:pathLst>
                <a:path w="53" h="127" extrusionOk="0">
                  <a:moveTo>
                    <a:pt x="0" y="0"/>
                  </a:moveTo>
                  <a:lnTo>
                    <a:pt x="0" y="0"/>
                  </a:lnTo>
                  <a:cubicBezTo>
                    <a:pt x="14" y="42"/>
                    <a:pt x="32" y="84"/>
                    <a:pt x="53" y="126"/>
                  </a:cubicBezTo>
                  <a:cubicBezTo>
                    <a:pt x="32" y="84"/>
                    <a:pt x="14" y="42"/>
                    <a:pt x="0"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602" name="Google Shape;4602;p104"/>
            <p:cNvSpPr/>
            <p:nvPr/>
          </p:nvSpPr>
          <p:spPr>
            <a:xfrm>
              <a:off x="2245842" y="1647469"/>
              <a:ext cx="3951" cy="964"/>
            </a:xfrm>
            <a:custGeom>
              <a:avLst/>
              <a:gdLst/>
              <a:ahLst/>
              <a:cxnLst/>
              <a:rect l="l" t="t" r="r" b="b"/>
              <a:pathLst>
                <a:path w="291" h="71" extrusionOk="0">
                  <a:moveTo>
                    <a:pt x="291" y="1"/>
                  </a:moveTo>
                  <a:lnTo>
                    <a:pt x="291" y="1"/>
                  </a:lnTo>
                  <a:cubicBezTo>
                    <a:pt x="276" y="3"/>
                    <a:pt x="252" y="7"/>
                    <a:pt x="223" y="13"/>
                  </a:cubicBezTo>
                  <a:lnTo>
                    <a:pt x="223" y="13"/>
                  </a:lnTo>
                  <a:cubicBezTo>
                    <a:pt x="246" y="9"/>
                    <a:pt x="268" y="5"/>
                    <a:pt x="291" y="1"/>
                  </a:cubicBezTo>
                  <a:close/>
                  <a:moveTo>
                    <a:pt x="223" y="13"/>
                  </a:moveTo>
                  <a:cubicBezTo>
                    <a:pt x="148" y="28"/>
                    <a:pt x="73" y="46"/>
                    <a:pt x="0" y="71"/>
                  </a:cubicBezTo>
                  <a:cubicBezTo>
                    <a:pt x="84" y="45"/>
                    <a:pt x="165" y="26"/>
                    <a:pt x="223" y="13"/>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603" name="Google Shape;4603;p104"/>
            <p:cNvSpPr/>
            <p:nvPr/>
          </p:nvSpPr>
          <p:spPr>
            <a:xfrm>
              <a:off x="2264619" y="1659974"/>
              <a:ext cx="869" cy="1195"/>
            </a:xfrm>
            <a:custGeom>
              <a:avLst/>
              <a:gdLst/>
              <a:ahLst/>
              <a:cxnLst/>
              <a:rect l="l" t="t" r="r" b="b"/>
              <a:pathLst>
                <a:path w="64" h="88" extrusionOk="0">
                  <a:moveTo>
                    <a:pt x="0" y="0"/>
                  </a:moveTo>
                  <a:lnTo>
                    <a:pt x="0" y="0"/>
                  </a:lnTo>
                  <a:cubicBezTo>
                    <a:pt x="21" y="35"/>
                    <a:pt x="42" y="63"/>
                    <a:pt x="63" y="88"/>
                  </a:cubicBezTo>
                  <a:cubicBezTo>
                    <a:pt x="42" y="63"/>
                    <a:pt x="21" y="32"/>
                    <a:pt x="0"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604" name="Google Shape;4604;p104"/>
            <p:cNvSpPr/>
            <p:nvPr/>
          </p:nvSpPr>
          <p:spPr>
            <a:xfrm>
              <a:off x="2243371" y="1648990"/>
              <a:ext cx="489" cy="204"/>
            </a:xfrm>
            <a:custGeom>
              <a:avLst/>
              <a:gdLst/>
              <a:ahLst/>
              <a:cxnLst/>
              <a:rect l="l" t="t" r="r" b="b"/>
              <a:pathLst>
                <a:path w="36" h="15" extrusionOk="0">
                  <a:moveTo>
                    <a:pt x="0" y="15"/>
                  </a:moveTo>
                  <a:lnTo>
                    <a:pt x="0" y="15"/>
                  </a:lnTo>
                  <a:lnTo>
                    <a:pt x="35"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605" name="Google Shape;4605;p104"/>
            <p:cNvSpPr/>
            <p:nvPr/>
          </p:nvSpPr>
          <p:spPr>
            <a:xfrm>
              <a:off x="2256242" y="1670238"/>
              <a:ext cx="4399" cy="7142"/>
            </a:xfrm>
            <a:custGeom>
              <a:avLst/>
              <a:gdLst/>
              <a:ahLst/>
              <a:cxnLst/>
              <a:rect l="l" t="t" r="r" b="b"/>
              <a:pathLst>
                <a:path w="324" h="526" extrusionOk="0">
                  <a:moveTo>
                    <a:pt x="323" y="1"/>
                  </a:moveTo>
                  <a:lnTo>
                    <a:pt x="323" y="1"/>
                  </a:lnTo>
                  <a:cubicBezTo>
                    <a:pt x="323" y="75"/>
                    <a:pt x="251" y="195"/>
                    <a:pt x="68" y="439"/>
                  </a:cubicBezTo>
                  <a:lnTo>
                    <a:pt x="68" y="439"/>
                  </a:lnTo>
                  <a:cubicBezTo>
                    <a:pt x="254" y="194"/>
                    <a:pt x="323" y="75"/>
                    <a:pt x="323" y="1"/>
                  </a:cubicBezTo>
                  <a:close/>
                  <a:moveTo>
                    <a:pt x="68" y="439"/>
                  </a:moveTo>
                  <a:lnTo>
                    <a:pt x="68" y="439"/>
                  </a:lnTo>
                  <a:cubicBezTo>
                    <a:pt x="53" y="460"/>
                    <a:pt x="36" y="482"/>
                    <a:pt x="18" y="505"/>
                  </a:cubicBezTo>
                  <a:lnTo>
                    <a:pt x="11" y="513"/>
                  </a:lnTo>
                  <a:lnTo>
                    <a:pt x="22" y="501"/>
                  </a:lnTo>
                  <a:cubicBezTo>
                    <a:pt x="38" y="480"/>
                    <a:pt x="54" y="459"/>
                    <a:pt x="68" y="439"/>
                  </a:cubicBezTo>
                  <a:close/>
                  <a:moveTo>
                    <a:pt x="11" y="513"/>
                  </a:moveTo>
                  <a:lnTo>
                    <a:pt x="1" y="526"/>
                  </a:lnTo>
                  <a:lnTo>
                    <a:pt x="4" y="522"/>
                  </a:lnTo>
                  <a:lnTo>
                    <a:pt x="11" y="513"/>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606" name="Google Shape;4606;p104"/>
            <p:cNvSpPr/>
            <p:nvPr/>
          </p:nvSpPr>
          <p:spPr>
            <a:xfrm>
              <a:off x="2256242" y="1677326"/>
              <a:ext cx="68" cy="54"/>
            </a:xfrm>
            <a:custGeom>
              <a:avLst/>
              <a:gdLst/>
              <a:ahLst/>
              <a:cxnLst/>
              <a:rect l="l" t="t" r="r" b="b"/>
              <a:pathLst>
                <a:path w="5" h="4" extrusionOk="0">
                  <a:moveTo>
                    <a:pt x="1" y="4"/>
                  </a:moveTo>
                  <a:lnTo>
                    <a:pt x="1" y="4"/>
                  </a:lnTo>
                  <a:lnTo>
                    <a:pt x="4"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607" name="Google Shape;4607;p104"/>
            <p:cNvSpPr/>
            <p:nvPr/>
          </p:nvSpPr>
          <p:spPr>
            <a:xfrm>
              <a:off x="2218985" y="1572222"/>
              <a:ext cx="67847" cy="47032"/>
            </a:xfrm>
            <a:custGeom>
              <a:avLst/>
              <a:gdLst/>
              <a:ahLst/>
              <a:cxnLst/>
              <a:rect l="l" t="t" r="r" b="b"/>
              <a:pathLst>
                <a:path w="4997" h="3464" extrusionOk="0">
                  <a:moveTo>
                    <a:pt x="2643" y="1"/>
                  </a:moveTo>
                  <a:cubicBezTo>
                    <a:pt x="2633" y="4"/>
                    <a:pt x="2622" y="8"/>
                    <a:pt x="2612" y="11"/>
                  </a:cubicBezTo>
                  <a:lnTo>
                    <a:pt x="2601" y="15"/>
                  </a:lnTo>
                  <a:lnTo>
                    <a:pt x="2580" y="25"/>
                  </a:lnTo>
                  <a:lnTo>
                    <a:pt x="2573" y="29"/>
                  </a:lnTo>
                  <a:cubicBezTo>
                    <a:pt x="2563" y="32"/>
                    <a:pt x="2556" y="36"/>
                    <a:pt x="2549" y="43"/>
                  </a:cubicBezTo>
                  <a:cubicBezTo>
                    <a:pt x="2528" y="64"/>
                    <a:pt x="2507" y="88"/>
                    <a:pt x="2493" y="116"/>
                  </a:cubicBezTo>
                  <a:cubicBezTo>
                    <a:pt x="2454" y="172"/>
                    <a:pt x="2405" y="253"/>
                    <a:pt x="2297" y="253"/>
                  </a:cubicBezTo>
                  <a:cubicBezTo>
                    <a:pt x="2269" y="253"/>
                    <a:pt x="2237" y="249"/>
                    <a:pt x="2206" y="246"/>
                  </a:cubicBezTo>
                  <a:cubicBezTo>
                    <a:pt x="2175" y="242"/>
                    <a:pt x="2145" y="239"/>
                    <a:pt x="2117" y="239"/>
                  </a:cubicBezTo>
                  <a:cubicBezTo>
                    <a:pt x="2065" y="239"/>
                    <a:pt x="2016" y="250"/>
                    <a:pt x="1964" y="288"/>
                  </a:cubicBezTo>
                  <a:cubicBezTo>
                    <a:pt x="1929" y="316"/>
                    <a:pt x="1901" y="351"/>
                    <a:pt x="1877" y="389"/>
                  </a:cubicBezTo>
                  <a:cubicBezTo>
                    <a:pt x="1852" y="424"/>
                    <a:pt x="1842" y="470"/>
                    <a:pt x="1849" y="515"/>
                  </a:cubicBezTo>
                  <a:lnTo>
                    <a:pt x="1849" y="519"/>
                  </a:lnTo>
                  <a:cubicBezTo>
                    <a:pt x="1859" y="585"/>
                    <a:pt x="1870" y="670"/>
                    <a:pt x="1838" y="729"/>
                  </a:cubicBezTo>
                  <a:cubicBezTo>
                    <a:pt x="1835" y="740"/>
                    <a:pt x="1831" y="747"/>
                    <a:pt x="1824" y="757"/>
                  </a:cubicBezTo>
                  <a:cubicBezTo>
                    <a:pt x="1796" y="785"/>
                    <a:pt x="1758" y="803"/>
                    <a:pt x="1719" y="803"/>
                  </a:cubicBezTo>
                  <a:cubicBezTo>
                    <a:pt x="1705" y="803"/>
                    <a:pt x="1705" y="803"/>
                    <a:pt x="1681" y="838"/>
                  </a:cubicBezTo>
                  <a:cubicBezTo>
                    <a:pt x="1656" y="887"/>
                    <a:pt x="1614" y="925"/>
                    <a:pt x="1562" y="946"/>
                  </a:cubicBezTo>
                  <a:cubicBezTo>
                    <a:pt x="1478" y="974"/>
                    <a:pt x="1341" y="1104"/>
                    <a:pt x="1331" y="1153"/>
                  </a:cubicBezTo>
                  <a:cubicBezTo>
                    <a:pt x="1327" y="1170"/>
                    <a:pt x="1324" y="1195"/>
                    <a:pt x="1320" y="1219"/>
                  </a:cubicBezTo>
                  <a:cubicBezTo>
                    <a:pt x="1306" y="1331"/>
                    <a:pt x="1292" y="1464"/>
                    <a:pt x="1184" y="1464"/>
                  </a:cubicBezTo>
                  <a:cubicBezTo>
                    <a:pt x="1107" y="1464"/>
                    <a:pt x="921" y="1503"/>
                    <a:pt x="879" y="1552"/>
                  </a:cubicBezTo>
                  <a:lnTo>
                    <a:pt x="862" y="1573"/>
                  </a:lnTo>
                  <a:lnTo>
                    <a:pt x="851" y="1587"/>
                  </a:lnTo>
                  <a:lnTo>
                    <a:pt x="841" y="1597"/>
                  </a:lnTo>
                  <a:cubicBezTo>
                    <a:pt x="813" y="1625"/>
                    <a:pt x="781" y="1653"/>
                    <a:pt x="750" y="1674"/>
                  </a:cubicBezTo>
                  <a:lnTo>
                    <a:pt x="732" y="1681"/>
                  </a:lnTo>
                  <a:lnTo>
                    <a:pt x="729" y="1681"/>
                  </a:lnTo>
                  <a:lnTo>
                    <a:pt x="711" y="1692"/>
                  </a:lnTo>
                  <a:lnTo>
                    <a:pt x="704" y="1692"/>
                  </a:lnTo>
                  <a:lnTo>
                    <a:pt x="686" y="1695"/>
                  </a:lnTo>
                  <a:lnTo>
                    <a:pt x="683" y="1695"/>
                  </a:lnTo>
                  <a:cubicBezTo>
                    <a:pt x="662" y="1702"/>
                    <a:pt x="641" y="1706"/>
                    <a:pt x="623" y="1706"/>
                  </a:cubicBezTo>
                  <a:lnTo>
                    <a:pt x="564" y="1706"/>
                  </a:lnTo>
                  <a:cubicBezTo>
                    <a:pt x="550" y="1706"/>
                    <a:pt x="539" y="1702"/>
                    <a:pt x="529" y="1699"/>
                  </a:cubicBezTo>
                  <a:lnTo>
                    <a:pt x="375" y="1699"/>
                  </a:lnTo>
                  <a:lnTo>
                    <a:pt x="273" y="1695"/>
                  </a:lnTo>
                  <a:lnTo>
                    <a:pt x="200" y="1695"/>
                  </a:lnTo>
                  <a:lnTo>
                    <a:pt x="200" y="1699"/>
                  </a:lnTo>
                  <a:cubicBezTo>
                    <a:pt x="175" y="1779"/>
                    <a:pt x="186" y="1863"/>
                    <a:pt x="221" y="1937"/>
                  </a:cubicBezTo>
                  <a:cubicBezTo>
                    <a:pt x="228" y="1947"/>
                    <a:pt x="235" y="1958"/>
                    <a:pt x="245" y="1968"/>
                  </a:cubicBezTo>
                  <a:cubicBezTo>
                    <a:pt x="252" y="1979"/>
                    <a:pt x="259" y="1986"/>
                    <a:pt x="266" y="1993"/>
                  </a:cubicBezTo>
                  <a:cubicBezTo>
                    <a:pt x="354" y="2070"/>
                    <a:pt x="396" y="2276"/>
                    <a:pt x="375" y="2413"/>
                  </a:cubicBezTo>
                  <a:cubicBezTo>
                    <a:pt x="361" y="2518"/>
                    <a:pt x="312" y="2560"/>
                    <a:pt x="277" y="2574"/>
                  </a:cubicBezTo>
                  <a:cubicBezTo>
                    <a:pt x="158" y="2626"/>
                    <a:pt x="14" y="2749"/>
                    <a:pt x="0" y="2795"/>
                  </a:cubicBezTo>
                  <a:cubicBezTo>
                    <a:pt x="18" y="2816"/>
                    <a:pt x="35" y="2837"/>
                    <a:pt x="60" y="2854"/>
                  </a:cubicBezTo>
                  <a:cubicBezTo>
                    <a:pt x="123" y="2907"/>
                    <a:pt x="210" y="2984"/>
                    <a:pt x="179" y="3092"/>
                  </a:cubicBezTo>
                  <a:cubicBezTo>
                    <a:pt x="161" y="3166"/>
                    <a:pt x="158" y="3239"/>
                    <a:pt x="165" y="3313"/>
                  </a:cubicBezTo>
                  <a:lnTo>
                    <a:pt x="252" y="3313"/>
                  </a:lnTo>
                  <a:lnTo>
                    <a:pt x="270" y="3309"/>
                  </a:lnTo>
                  <a:lnTo>
                    <a:pt x="277" y="3306"/>
                  </a:lnTo>
                  <a:lnTo>
                    <a:pt x="291" y="3302"/>
                  </a:lnTo>
                  <a:lnTo>
                    <a:pt x="301" y="3299"/>
                  </a:lnTo>
                  <a:lnTo>
                    <a:pt x="312" y="3295"/>
                  </a:lnTo>
                  <a:lnTo>
                    <a:pt x="326" y="3288"/>
                  </a:lnTo>
                  <a:lnTo>
                    <a:pt x="333" y="3281"/>
                  </a:lnTo>
                  <a:cubicBezTo>
                    <a:pt x="340" y="3278"/>
                    <a:pt x="347" y="3271"/>
                    <a:pt x="354" y="3264"/>
                  </a:cubicBezTo>
                  <a:cubicBezTo>
                    <a:pt x="371" y="3246"/>
                    <a:pt x="385" y="3229"/>
                    <a:pt x="403" y="3211"/>
                  </a:cubicBezTo>
                  <a:cubicBezTo>
                    <a:pt x="473" y="3127"/>
                    <a:pt x="557" y="3036"/>
                    <a:pt x="757" y="3036"/>
                  </a:cubicBezTo>
                  <a:cubicBezTo>
                    <a:pt x="1369" y="3036"/>
                    <a:pt x="1660" y="3075"/>
                    <a:pt x="1744" y="3169"/>
                  </a:cubicBezTo>
                  <a:cubicBezTo>
                    <a:pt x="1769" y="3199"/>
                    <a:pt x="1824" y="3206"/>
                    <a:pt x="1886" y="3206"/>
                  </a:cubicBezTo>
                  <a:cubicBezTo>
                    <a:pt x="1910" y="3206"/>
                    <a:pt x="1936" y="3205"/>
                    <a:pt x="1961" y="3204"/>
                  </a:cubicBezTo>
                  <a:cubicBezTo>
                    <a:pt x="1978" y="3203"/>
                    <a:pt x="1996" y="3202"/>
                    <a:pt x="2014" y="3202"/>
                  </a:cubicBezTo>
                  <a:cubicBezTo>
                    <a:pt x="2084" y="3202"/>
                    <a:pt x="2155" y="3213"/>
                    <a:pt x="2220" y="3236"/>
                  </a:cubicBezTo>
                  <a:cubicBezTo>
                    <a:pt x="2357" y="3294"/>
                    <a:pt x="2457" y="3317"/>
                    <a:pt x="2499" y="3317"/>
                  </a:cubicBezTo>
                  <a:cubicBezTo>
                    <a:pt x="2502" y="3317"/>
                    <a:pt x="2504" y="3316"/>
                    <a:pt x="2507" y="3316"/>
                  </a:cubicBezTo>
                  <a:cubicBezTo>
                    <a:pt x="2514" y="3295"/>
                    <a:pt x="2528" y="3278"/>
                    <a:pt x="2549" y="3267"/>
                  </a:cubicBezTo>
                  <a:cubicBezTo>
                    <a:pt x="2562" y="3259"/>
                    <a:pt x="2576" y="3256"/>
                    <a:pt x="2591" y="3256"/>
                  </a:cubicBezTo>
                  <a:cubicBezTo>
                    <a:pt x="2623" y="3256"/>
                    <a:pt x="2659" y="3271"/>
                    <a:pt x="2699" y="3288"/>
                  </a:cubicBezTo>
                  <a:cubicBezTo>
                    <a:pt x="2727" y="3302"/>
                    <a:pt x="2755" y="3313"/>
                    <a:pt x="2787" y="3320"/>
                  </a:cubicBezTo>
                  <a:lnTo>
                    <a:pt x="2797" y="3323"/>
                  </a:lnTo>
                  <a:lnTo>
                    <a:pt x="2801" y="3323"/>
                  </a:lnTo>
                  <a:cubicBezTo>
                    <a:pt x="2815" y="3327"/>
                    <a:pt x="2833" y="3330"/>
                    <a:pt x="2847" y="3330"/>
                  </a:cubicBezTo>
                  <a:lnTo>
                    <a:pt x="2868" y="3330"/>
                  </a:lnTo>
                  <a:cubicBezTo>
                    <a:pt x="2875" y="3327"/>
                    <a:pt x="2882" y="3323"/>
                    <a:pt x="2889" y="3320"/>
                  </a:cubicBezTo>
                  <a:cubicBezTo>
                    <a:pt x="2921" y="3302"/>
                    <a:pt x="2953" y="3295"/>
                    <a:pt x="2983" y="3295"/>
                  </a:cubicBezTo>
                  <a:cubicBezTo>
                    <a:pt x="3065" y="3295"/>
                    <a:pt x="3135" y="3349"/>
                    <a:pt x="3186" y="3390"/>
                  </a:cubicBezTo>
                  <a:cubicBezTo>
                    <a:pt x="3207" y="3404"/>
                    <a:pt x="3228" y="3421"/>
                    <a:pt x="3249" y="3432"/>
                  </a:cubicBezTo>
                  <a:cubicBezTo>
                    <a:pt x="3256" y="3428"/>
                    <a:pt x="3263" y="3425"/>
                    <a:pt x="3274" y="3425"/>
                  </a:cubicBezTo>
                  <a:lnTo>
                    <a:pt x="3281" y="3421"/>
                  </a:lnTo>
                  <a:lnTo>
                    <a:pt x="3298" y="3414"/>
                  </a:lnTo>
                  <a:lnTo>
                    <a:pt x="3309" y="3411"/>
                  </a:lnTo>
                  <a:lnTo>
                    <a:pt x="3326" y="3407"/>
                  </a:lnTo>
                  <a:lnTo>
                    <a:pt x="3340" y="3407"/>
                  </a:lnTo>
                  <a:lnTo>
                    <a:pt x="3358" y="3404"/>
                  </a:lnTo>
                  <a:lnTo>
                    <a:pt x="3372" y="3404"/>
                  </a:lnTo>
                  <a:lnTo>
                    <a:pt x="3393" y="3400"/>
                  </a:lnTo>
                  <a:lnTo>
                    <a:pt x="3589" y="3400"/>
                  </a:lnTo>
                  <a:lnTo>
                    <a:pt x="3610" y="3404"/>
                  </a:lnTo>
                  <a:lnTo>
                    <a:pt x="3631" y="3404"/>
                  </a:lnTo>
                  <a:lnTo>
                    <a:pt x="3652" y="3407"/>
                  </a:lnTo>
                  <a:lnTo>
                    <a:pt x="3669" y="3411"/>
                  </a:lnTo>
                  <a:lnTo>
                    <a:pt x="3690" y="3418"/>
                  </a:lnTo>
                  <a:lnTo>
                    <a:pt x="3708" y="3421"/>
                  </a:lnTo>
                  <a:lnTo>
                    <a:pt x="3729" y="3428"/>
                  </a:lnTo>
                  <a:lnTo>
                    <a:pt x="3743" y="3432"/>
                  </a:lnTo>
                  <a:lnTo>
                    <a:pt x="3764" y="3442"/>
                  </a:lnTo>
                  <a:lnTo>
                    <a:pt x="3774" y="3446"/>
                  </a:lnTo>
                  <a:cubicBezTo>
                    <a:pt x="3785" y="3449"/>
                    <a:pt x="3792" y="3456"/>
                    <a:pt x="3802" y="3463"/>
                  </a:cubicBezTo>
                  <a:cubicBezTo>
                    <a:pt x="3806" y="3425"/>
                    <a:pt x="3809" y="3386"/>
                    <a:pt x="3809" y="3348"/>
                  </a:cubicBezTo>
                  <a:cubicBezTo>
                    <a:pt x="3809" y="3236"/>
                    <a:pt x="4030" y="3047"/>
                    <a:pt x="4159" y="2942"/>
                  </a:cubicBezTo>
                  <a:lnTo>
                    <a:pt x="4177" y="2928"/>
                  </a:lnTo>
                  <a:lnTo>
                    <a:pt x="4345" y="2928"/>
                  </a:lnTo>
                  <a:lnTo>
                    <a:pt x="4369" y="2924"/>
                  </a:lnTo>
                  <a:lnTo>
                    <a:pt x="4373" y="2924"/>
                  </a:lnTo>
                  <a:lnTo>
                    <a:pt x="4394" y="2917"/>
                  </a:lnTo>
                  <a:lnTo>
                    <a:pt x="4404" y="2917"/>
                  </a:lnTo>
                  <a:lnTo>
                    <a:pt x="4422" y="2914"/>
                  </a:lnTo>
                  <a:lnTo>
                    <a:pt x="4429" y="2914"/>
                  </a:lnTo>
                  <a:lnTo>
                    <a:pt x="4446" y="2910"/>
                  </a:lnTo>
                  <a:lnTo>
                    <a:pt x="4453" y="2907"/>
                  </a:lnTo>
                  <a:lnTo>
                    <a:pt x="4460" y="2907"/>
                  </a:lnTo>
                  <a:cubicBezTo>
                    <a:pt x="4439" y="2851"/>
                    <a:pt x="4422" y="2791"/>
                    <a:pt x="4408" y="2731"/>
                  </a:cubicBezTo>
                  <a:cubicBezTo>
                    <a:pt x="4404" y="2714"/>
                    <a:pt x="4401" y="2696"/>
                    <a:pt x="4397" y="2682"/>
                  </a:cubicBezTo>
                  <a:cubicBezTo>
                    <a:pt x="4380" y="2616"/>
                    <a:pt x="4362" y="2560"/>
                    <a:pt x="4345" y="2507"/>
                  </a:cubicBezTo>
                  <a:cubicBezTo>
                    <a:pt x="4303" y="2360"/>
                    <a:pt x="4264" y="2248"/>
                    <a:pt x="4338" y="2161"/>
                  </a:cubicBezTo>
                  <a:cubicBezTo>
                    <a:pt x="4367" y="2128"/>
                    <a:pt x="4401" y="2116"/>
                    <a:pt x="4437" y="2116"/>
                  </a:cubicBezTo>
                  <a:cubicBezTo>
                    <a:pt x="4492" y="2116"/>
                    <a:pt x="4551" y="2143"/>
                    <a:pt x="4604" y="2164"/>
                  </a:cubicBezTo>
                  <a:cubicBezTo>
                    <a:pt x="4642" y="2185"/>
                    <a:pt x="4681" y="2199"/>
                    <a:pt x="4723" y="2206"/>
                  </a:cubicBezTo>
                  <a:cubicBezTo>
                    <a:pt x="4726" y="2208"/>
                    <a:pt x="4731" y="2209"/>
                    <a:pt x="4735" y="2209"/>
                  </a:cubicBezTo>
                  <a:cubicBezTo>
                    <a:pt x="4740" y="2209"/>
                    <a:pt x="4744" y="2208"/>
                    <a:pt x="4747" y="2206"/>
                  </a:cubicBezTo>
                  <a:cubicBezTo>
                    <a:pt x="4789" y="2189"/>
                    <a:pt x="4828" y="2171"/>
                    <a:pt x="4866" y="2150"/>
                  </a:cubicBezTo>
                  <a:cubicBezTo>
                    <a:pt x="4996" y="2073"/>
                    <a:pt x="4989" y="2028"/>
                    <a:pt x="4989" y="2028"/>
                  </a:cubicBezTo>
                  <a:cubicBezTo>
                    <a:pt x="4972" y="1947"/>
                    <a:pt x="4817" y="1818"/>
                    <a:pt x="4737" y="1797"/>
                  </a:cubicBezTo>
                  <a:cubicBezTo>
                    <a:pt x="4667" y="1779"/>
                    <a:pt x="4621" y="1716"/>
                    <a:pt x="4576" y="1650"/>
                  </a:cubicBezTo>
                  <a:cubicBezTo>
                    <a:pt x="4527" y="1583"/>
                    <a:pt x="4481" y="1517"/>
                    <a:pt x="4411" y="1492"/>
                  </a:cubicBezTo>
                  <a:cubicBezTo>
                    <a:pt x="4331" y="1457"/>
                    <a:pt x="4271" y="1391"/>
                    <a:pt x="4243" y="1310"/>
                  </a:cubicBezTo>
                  <a:lnTo>
                    <a:pt x="4233" y="1279"/>
                  </a:lnTo>
                  <a:cubicBezTo>
                    <a:pt x="4219" y="1230"/>
                    <a:pt x="4187" y="1181"/>
                    <a:pt x="4145" y="1149"/>
                  </a:cubicBezTo>
                  <a:cubicBezTo>
                    <a:pt x="4019" y="1069"/>
                    <a:pt x="4033" y="936"/>
                    <a:pt x="4047" y="827"/>
                  </a:cubicBezTo>
                  <a:cubicBezTo>
                    <a:pt x="4054" y="789"/>
                    <a:pt x="4054" y="750"/>
                    <a:pt x="4054" y="712"/>
                  </a:cubicBezTo>
                  <a:cubicBezTo>
                    <a:pt x="4051" y="663"/>
                    <a:pt x="4051" y="617"/>
                    <a:pt x="4054" y="568"/>
                  </a:cubicBezTo>
                  <a:cubicBezTo>
                    <a:pt x="4054" y="508"/>
                    <a:pt x="4058" y="410"/>
                    <a:pt x="4040" y="386"/>
                  </a:cubicBezTo>
                  <a:lnTo>
                    <a:pt x="4016" y="375"/>
                  </a:lnTo>
                  <a:cubicBezTo>
                    <a:pt x="3806" y="265"/>
                    <a:pt x="3694" y="236"/>
                    <a:pt x="3634" y="236"/>
                  </a:cubicBezTo>
                  <a:cubicBezTo>
                    <a:pt x="3615" y="236"/>
                    <a:pt x="3602" y="238"/>
                    <a:pt x="3592" y="242"/>
                  </a:cubicBezTo>
                  <a:lnTo>
                    <a:pt x="3578" y="249"/>
                  </a:lnTo>
                  <a:cubicBezTo>
                    <a:pt x="3509" y="279"/>
                    <a:pt x="3437" y="312"/>
                    <a:pt x="3370" y="312"/>
                  </a:cubicBezTo>
                  <a:cubicBezTo>
                    <a:pt x="3336" y="312"/>
                    <a:pt x="3303" y="304"/>
                    <a:pt x="3274" y="281"/>
                  </a:cubicBezTo>
                  <a:cubicBezTo>
                    <a:pt x="3270" y="277"/>
                    <a:pt x="3263" y="274"/>
                    <a:pt x="3260" y="270"/>
                  </a:cubicBezTo>
                  <a:lnTo>
                    <a:pt x="3253" y="263"/>
                  </a:lnTo>
                  <a:cubicBezTo>
                    <a:pt x="3239" y="249"/>
                    <a:pt x="3228" y="232"/>
                    <a:pt x="3218" y="214"/>
                  </a:cubicBezTo>
                  <a:cubicBezTo>
                    <a:pt x="3176" y="141"/>
                    <a:pt x="3134" y="106"/>
                    <a:pt x="3078" y="106"/>
                  </a:cubicBezTo>
                  <a:cubicBezTo>
                    <a:pt x="3064" y="106"/>
                    <a:pt x="3050" y="106"/>
                    <a:pt x="3036" y="109"/>
                  </a:cubicBezTo>
                  <a:cubicBezTo>
                    <a:pt x="3029" y="109"/>
                    <a:pt x="3022" y="109"/>
                    <a:pt x="3015" y="113"/>
                  </a:cubicBezTo>
                  <a:cubicBezTo>
                    <a:pt x="2983" y="120"/>
                    <a:pt x="2952" y="127"/>
                    <a:pt x="2920" y="127"/>
                  </a:cubicBezTo>
                  <a:cubicBezTo>
                    <a:pt x="2857" y="127"/>
                    <a:pt x="2790" y="106"/>
                    <a:pt x="2734" y="71"/>
                  </a:cubicBezTo>
                  <a:cubicBezTo>
                    <a:pt x="2710" y="53"/>
                    <a:pt x="2685" y="36"/>
                    <a:pt x="2661" y="15"/>
                  </a:cubicBezTo>
                  <a:cubicBezTo>
                    <a:pt x="2657" y="11"/>
                    <a:pt x="2650" y="4"/>
                    <a:pt x="2647" y="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608" name="Google Shape;4608;p104"/>
            <p:cNvSpPr/>
            <p:nvPr/>
          </p:nvSpPr>
          <p:spPr>
            <a:xfrm>
              <a:off x="2221972" y="1598508"/>
              <a:ext cx="353" cy="448"/>
            </a:xfrm>
            <a:custGeom>
              <a:avLst/>
              <a:gdLst/>
              <a:ahLst/>
              <a:cxnLst/>
              <a:rect l="l" t="t" r="r" b="b"/>
              <a:pathLst>
                <a:path w="26" h="33" extrusionOk="0">
                  <a:moveTo>
                    <a:pt x="25" y="32"/>
                  </a:moveTo>
                  <a:cubicBezTo>
                    <a:pt x="15" y="22"/>
                    <a:pt x="8" y="11"/>
                    <a:pt x="1" y="1"/>
                  </a:cubicBezTo>
                  <a:cubicBezTo>
                    <a:pt x="8" y="11"/>
                    <a:pt x="15" y="22"/>
                    <a:pt x="25" y="32"/>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609" name="Google Shape;4609;p104"/>
            <p:cNvSpPr/>
            <p:nvPr/>
          </p:nvSpPr>
          <p:spPr>
            <a:xfrm>
              <a:off x="2221212" y="1594666"/>
              <a:ext cx="828" cy="3856"/>
            </a:xfrm>
            <a:custGeom>
              <a:avLst/>
              <a:gdLst/>
              <a:ahLst/>
              <a:cxnLst/>
              <a:rect l="l" t="t" r="r" b="b"/>
              <a:pathLst>
                <a:path w="61" h="284" extrusionOk="0">
                  <a:moveTo>
                    <a:pt x="39" y="0"/>
                  </a:moveTo>
                  <a:lnTo>
                    <a:pt x="39" y="0"/>
                  </a:lnTo>
                  <a:cubicBezTo>
                    <a:pt x="1" y="91"/>
                    <a:pt x="8" y="200"/>
                    <a:pt x="60" y="284"/>
                  </a:cubicBezTo>
                  <a:cubicBezTo>
                    <a:pt x="8" y="200"/>
                    <a:pt x="1" y="91"/>
                    <a:pt x="39"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610" name="Google Shape;4610;p104"/>
            <p:cNvSpPr/>
            <p:nvPr/>
          </p:nvSpPr>
          <p:spPr>
            <a:xfrm>
              <a:off x="2277355" y="1611733"/>
              <a:ext cx="149" cy="14"/>
            </a:xfrm>
            <a:custGeom>
              <a:avLst/>
              <a:gdLst/>
              <a:ahLst/>
              <a:cxnLst/>
              <a:rect l="l" t="t" r="r" b="b"/>
              <a:pathLst>
                <a:path w="11" h="1" extrusionOk="0">
                  <a:moveTo>
                    <a:pt x="0" y="0"/>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611" name="Google Shape;4611;p104"/>
            <p:cNvSpPr/>
            <p:nvPr/>
          </p:nvSpPr>
          <p:spPr>
            <a:xfrm>
              <a:off x="2222923" y="1617001"/>
              <a:ext cx="163" cy="68"/>
            </a:xfrm>
            <a:custGeom>
              <a:avLst/>
              <a:gdLst/>
              <a:ahLst/>
              <a:cxnLst/>
              <a:rect l="l" t="t" r="r" b="b"/>
              <a:pathLst>
                <a:path w="12" h="5" extrusionOk="0">
                  <a:moveTo>
                    <a:pt x="1" y="4"/>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612" name="Google Shape;4612;p104"/>
            <p:cNvSpPr/>
            <p:nvPr/>
          </p:nvSpPr>
          <p:spPr>
            <a:xfrm>
              <a:off x="2223547" y="1616526"/>
              <a:ext cx="244" cy="258"/>
            </a:xfrm>
            <a:custGeom>
              <a:avLst/>
              <a:gdLst/>
              <a:ahLst/>
              <a:cxnLst/>
              <a:rect l="l" t="t" r="r" b="b"/>
              <a:pathLst>
                <a:path w="18" h="19" extrusionOk="0">
                  <a:moveTo>
                    <a:pt x="0" y="18"/>
                  </a:moveTo>
                  <a:cubicBezTo>
                    <a:pt x="4" y="11"/>
                    <a:pt x="11" y="4"/>
                    <a:pt x="18" y="1"/>
                  </a:cubicBezTo>
                  <a:cubicBezTo>
                    <a:pt x="11" y="4"/>
                    <a:pt x="4" y="11"/>
                    <a:pt x="0" y="18"/>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613" name="Google Shape;4613;p104"/>
            <p:cNvSpPr/>
            <p:nvPr/>
          </p:nvSpPr>
          <p:spPr>
            <a:xfrm>
              <a:off x="2223208" y="1616811"/>
              <a:ext cx="163" cy="109"/>
            </a:xfrm>
            <a:custGeom>
              <a:avLst/>
              <a:gdLst/>
              <a:ahLst/>
              <a:cxnLst/>
              <a:rect l="l" t="t" r="r" b="b"/>
              <a:pathLst>
                <a:path w="12" h="8" extrusionOk="0">
                  <a:moveTo>
                    <a:pt x="1" y="8"/>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614" name="Google Shape;4614;p104"/>
            <p:cNvSpPr/>
            <p:nvPr/>
          </p:nvSpPr>
          <p:spPr>
            <a:xfrm>
              <a:off x="2276785" y="1611774"/>
              <a:ext cx="149" cy="14"/>
            </a:xfrm>
            <a:custGeom>
              <a:avLst/>
              <a:gdLst/>
              <a:ahLst/>
              <a:cxnLst/>
              <a:rect l="l" t="t" r="r" b="b"/>
              <a:pathLst>
                <a:path w="11" h="1" extrusionOk="0">
                  <a:moveTo>
                    <a:pt x="0" y="1"/>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615" name="Google Shape;4615;p104"/>
            <p:cNvSpPr/>
            <p:nvPr/>
          </p:nvSpPr>
          <p:spPr>
            <a:xfrm>
              <a:off x="2277016" y="1611774"/>
              <a:ext cx="204" cy="14"/>
            </a:xfrm>
            <a:custGeom>
              <a:avLst/>
              <a:gdLst/>
              <a:ahLst/>
              <a:cxnLst/>
              <a:rect l="l" t="t" r="r" b="b"/>
              <a:pathLst>
                <a:path w="15" h="1" extrusionOk="0">
                  <a:moveTo>
                    <a:pt x="1" y="1"/>
                  </a:moveTo>
                  <a:lnTo>
                    <a:pt x="15"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616" name="Google Shape;4616;p104"/>
            <p:cNvSpPr/>
            <p:nvPr/>
          </p:nvSpPr>
          <p:spPr>
            <a:xfrm>
              <a:off x="2263425" y="1618576"/>
              <a:ext cx="109" cy="54"/>
            </a:xfrm>
            <a:custGeom>
              <a:avLst/>
              <a:gdLst/>
              <a:ahLst/>
              <a:cxnLst/>
              <a:rect l="l" t="t" r="r" b="b"/>
              <a:pathLst>
                <a:path w="8" h="4" extrusionOk="0">
                  <a:moveTo>
                    <a:pt x="1" y="4"/>
                  </a:moveTo>
                  <a:lnTo>
                    <a:pt x="8"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617" name="Google Shape;4617;p104"/>
            <p:cNvSpPr/>
            <p:nvPr/>
          </p:nvSpPr>
          <p:spPr>
            <a:xfrm>
              <a:off x="2257776" y="1617381"/>
              <a:ext cx="149" cy="14"/>
            </a:xfrm>
            <a:custGeom>
              <a:avLst/>
              <a:gdLst/>
              <a:ahLst/>
              <a:cxnLst/>
              <a:rect l="l" t="t" r="r" b="b"/>
              <a:pathLst>
                <a:path w="11" h="1" extrusionOk="0">
                  <a:moveTo>
                    <a:pt x="0" y="1"/>
                  </a:moveTo>
                  <a:cubicBezTo>
                    <a:pt x="4" y="1"/>
                    <a:pt x="7" y="1"/>
                    <a:pt x="11" y="1"/>
                  </a:cubicBezTo>
                  <a:cubicBezTo>
                    <a:pt x="7" y="1"/>
                    <a:pt x="4" y="1"/>
                    <a:pt x="0" y="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618" name="Google Shape;4618;p104"/>
            <p:cNvSpPr/>
            <p:nvPr/>
          </p:nvSpPr>
          <p:spPr>
            <a:xfrm>
              <a:off x="2256812" y="1617286"/>
              <a:ext cx="163" cy="68"/>
            </a:xfrm>
            <a:custGeom>
              <a:avLst/>
              <a:gdLst/>
              <a:ahLst/>
              <a:cxnLst/>
              <a:rect l="l" t="t" r="r" b="b"/>
              <a:pathLst>
                <a:path w="12" h="5" extrusionOk="0">
                  <a:moveTo>
                    <a:pt x="1" y="1"/>
                  </a:moveTo>
                  <a:lnTo>
                    <a:pt x="11" y="4"/>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619" name="Google Shape;4619;p104"/>
            <p:cNvSpPr/>
            <p:nvPr/>
          </p:nvSpPr>
          <p:spPr>
            <a:xfrm>
              <a:off x="2222638" y="1617096"/>
              <a:ext cx="109" cy="68"/>
            </a:xfrm>
            <a:custGeom>
              <a:avLst/>
              <a:gdLst/>
              <a:ahLst/>
              <a:cxnLst/>
              <a:rect l="l" t="t" r="r" b="b"/>
              <a:pathLst>
                <a:path w="8" h="5" extrusionOk="0">
                  <a:moveTo>
                    <a:pt x="1" y="4"/>
                  </a:moveTo>
                  <a:lnTo>
                    <a:pt x="8"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620" name="Google Shape;4620;p104"/>
            <p:cNvSpPr/>
            <p:nvPr/>
          </p:nvSpPr>
          <p:spPr>
            <a:xfrm>
              <a:off x="2278305" y="1611489"/>
              <a:ext cx="339" cy="109"/>
            </a:xfrm>
            <a:custGeom>
              <a:avLst/>
              <a:gdLst/>
              <a:ahLst/>
              <a:cxnLst/>
              <a:rect l="l" t="t" r="r" b="b"/>
              <a:pathLst>
                <a:path w="25" h="8" extrusionOk="0">
                  <a:moveTo>
                    <a:pt x="0" y="8"/>
                  </a:moveTo>
                  <a:lnTo>
                    <a:pt x="25"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621" name="Google Shape;4621;p104"/>
            <p:cNvSpPr/>
            <p:nvPr/>
          </p:nvSpPr>
          <p:spPr>
            <a:xfrm>
              <a:off x="2277966" y="1611584"/>
              <a:ext cx="353" cy="68"/>
            </a:xfrm>
            <a:custGeom>
              <a:avLst/>
              <a:gdLst/>
              <a:ahLst/>
              <a:cxnLst/>
              <a:rect l="l" t="t" r="r" b="b"/>
              <a:pathLst>
                <a:path w="26" h="5" extrusionOk="0">
                  <a:moveTo>
                    <a:pt x="1" y="4"/>
                  </a:moveTo>
                  <a:lnTo>
                    <a:pt x="25"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622" name="Google Shape;4622;p104"/>
            <p:cNvSpPr/>
            <p:nvPr/>
          </p:nvSpPr>
          <p:spPr>
            <a:xfrm>
              <a:off x="2270227" y="1618902"/>
              <a:ext cx="394" cy="204"/>
            </a:xfrm>
            <a:custGeom>
              <a:avLst/>
              <a:gdLst/>
              <a:ahLst/>
              <a:cxnLst/>
              <a:rect l="l" t="t" r="r" b="b"/>
              <a:pathLst>
                <a:path w="29" h="15" extrusionOk="0">
                  <a:moveTo>
                    <a:pt x="0" y="1"/>
                  </a:moveTo>
                  <a:cubicBezTo>
                    <a:pt x="11" y="4"/>
                    <a:pt x="18" y="8"/>
                    <a:pt x="28" y="15"/>
                  </a:cubicBezTo>
                  <a:cubicBezTo>
                    <a:pt x="18" y="8"/>
                    <a:pt x="11" y="4"/>
                    <a:pt x="0" y="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623" name="Google Shape;4623;p104"/>
            <p:cNvSpPr/>
            <p:nvPr/>
          </p:nvSpPr>
          <p:spPr>
            <a:xfrm>
              <a:off x="2277640" y="1611638"/>
              <a:ext cx="204" cy="54"/>
            </a:xfrm>
            <a:custGeom>
              <a:avLst/>
              <a:gdLst/>
              <a:ahLst/>
              <a:cxnLst/>
              <a:rect l="l" t="t" r="r" b="b"/>
              <a:pathLst>
                <a:path w="15" h="4" extrusionOk="0">
                  <a:moveTo>
                    <a:pt x="0" y="4"/>
                  </a:moveTo>
                  <a:lnTo>
                    <a:pt x="14"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624" name="Google Shape;4624;p104"/>
            <p:cNvSpPr/>
            <p:nvPr/>
          </p:nvSpPr>
          <p:spPr>
            <a:xfrm>
              <a:off x="2222353" y="1617191"/>
              <a:ext cx="109" cy="14"/>
            </a:xfrm>
            <a:custGeom>
              <a:avLst/>
              <a:gdLst/>
              <a:ahLst/>
              <a:cxnLst/>
              <a:rect l="l" t="t" r="r" b="b"/>
              <a:pathLst>
                <a:path w="8" h="1" extrusionOk="0">
                  <a:moveTo>
                    <a:pt x="1" y="1"/>
                  </a:moveTo>
                  <a:lnTo>
                    <a:pt x="8"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625" name="Google Shape;4625;p104"/>
            <p:cNvSpPr/>
            <p:nvPr/>
          </p:nvSpPr>
          <p:spPr>
            <a:xfrm>
              <a:off x="2221972" y="1617191"/>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626" name="Google Shape;4626;p104"/>
            <p:cNvSpPr/>
            <p:nvPr/>
          </p:nvSpPr>
          <p:spPr>
            <a:xfrm>
              <a:off x="2268272" y="1618332"/>
              <a:ext cx="299" cy="68"/>
            </a:xfrm>
            <a:custGeom>
              <a:avLst/>
              <a:gdLst/>
              <a:ahLst/>
              <a:cxnLst/>
              <a:rect l="l" t="t" r="r" b="b"/>
              <a:pathLst>
                <a:path w="22" h="5" extrusionOk="0">
                  <a:moveTo>
                    <a:pt x="1" y="1"/>
                  </a:moveTo>
                  <a:lnTo>
                    <a:pt x="22" y="4"/>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627" name="Google Shape;4627;p104"/>
            <p:cNvSpPr/>
            <p:nvPr/>
          </p:nvSpPr>
          <p:spPr>
            <a:xfrm>
              <a:off x="2267701" y="1618291"/>
              <a:ext cx="299" cy="14"/>
            </a:xfrm>
            <a:custGeom>
              <a:avLst/>
              <a:gdLst/>
              <a:ahLst/>
              <a:cxnLst/>
              <a:rect l="l" t="t" r="r" b="b"/>
              <a:pathLst>
                <a:path w="22" h="1" extrusionOk="0">
                  <a:moveTo>
                    <a:pt x="1" y="0"/>
                  </a:moveTo>
                  <a:lnTo>
                    <a:pt x="22"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628" name="Google Shape;4628;p104"/>
            <p:cNvSpPr/>
            <p:nvPr/>
          </p:nvSpPr>
          <p:spPr>
            <a:xfrm>
              <a:off x="2276024" y="1611869"/>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629" name="Google Shape;4629;p104"/>
            <p:cNvSpPr/>
            <p:nvPr/>
          </p:nvSpPr>
          <p:spPr>
            <a:xfrm>
              <a:off x="2278726" y="1611448"/>
              <a:ext cx="258" cy="54"/>
            </a:xfrm>
            <a:custGeom>
              <a:avLst/>
              <a:gdLst/>
              <a:ahLst/>
              <a:cxnLst/>
              <a:rect l="l" t="t" r="r" b="b"/>
              <a:pathLst>
                <a:path w="19" h="4" extrusionOk="0">
                  <a:moveTo>
                    <a:pt x="1" y="4"/>
                  </a:moveTo>
                  <a:lnTo>
                    <a:pt x="18"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630" name="Google Shape;4630;p104"/>
            <p:cNvSpPr/>
            <p:nvPr/>
          </p:nvSpPr>
          <p:spPr>
            <a:xfrm>
              <a:off x="2266520" y="1618196"/>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631" name="Google Shape;4631;p104"/>
            <p:cNvSpPr/>
            <p:nvPr/>
          </p:nvSpPr>
          <p:spPr>
            <a:xfrm>
              <a:off x="2267131" y="1618237"/>
              <a:ext cx="299" cy="14"/>
            </a:xfrm>
            <a:custGeom>
              <a:avLst/>
              <a:gdLst/>
              <a:ahLst/>
              <a:cxnLst/>
              <a:rect l="l" t="t" r="r" b="b"/>
              <a:pathLst>
                <a:path w="22" h="1" extrusionOk="0">
                  <a:moveTo>
                    <a:pt x="1" y="1"/>
                  </a:moveTo>
                  <a:lnTo>
                    <a:pt x="22"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632" name="Google Shape;4632;p104"/>
            <p:cNvSpPr/>
            <p:nvPr/>
          </p:nvSpPr>
          <p:spPr>
            <a:xfrm>
              <a:off x="2269792" y="1618712"/>
              <a:ext cx="299" cy="163"/>
            </a:xfrm>
            <a:custGeom>
              <a:avLst/>
              <a:gdLst/>
              <a:ahLst/>
              <a:cxnLst/>
              <a:rect l="l" t="t" r="r" b="b"/>
              <a:pathLst>
                <a:path w="22" h="12" extrusionOk="0">
                  <a:moveTo>
                    <a:pt x="1" y="1"/>
                  </a:moveTo>
                  <a:lnTo>
                    <a:pt x="22" y="1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633" name="Google Shape;4633;p104"/>
            <p:cNvSpPr/>
            <p:nvPr/>
          </p:nvSpPr>
          <p:spPr>
            <a:xfrm>
              <a:off x="2269317" y="1618576"/>
              <a:ext cx="299" cy="109"/>
            </a:xfrm>
            <a:custGeom>
              <a:avLst/>
              <a:gdLst/>
              <a:ahLst/>
              <a:cxnLst/>
              <a:rect l="l" t="t" r="r" b="b"/>
              <a:pathLst>
                <a:path w="22" h="8" extrusionOk="0">
                  <a:moveTo>
                    <a:pt x="1" y="0"/>
                  </a:moveTo>
                  <a:lnTo>
                    <a:pt x="22" y="7"/>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634" name="Google Shape;4634;p104"/>
            <p:cNvSpPr/>
            <p:nvPr/>
          </p:nvSpPr>
          <p:spPr>
            <a:xfrm>
              <a:off x="2263764" y="1618427"/>
              <a:ext cx="149" cy="68"/>
            </a:xfrm>
            <a:custGeom>
              <a:avLst/>
              <a:gdLst/>
              <a:ahLst/>
              <a:cxnLst/>
              <a:rect l="l" t="t" r="r" b="b"/>
              <a:pathLst>
                <a:path w="11" h="5" extrusionOk="0">
                  <a:moveTo>
                    <a:pt x="0" y="4"/>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635" name="Google Shape;4635;p104"/>
            <p:cNvSpPr/>
            <p:nvPr/>
          </p:nvSpPr>
          <p:spPr>
            <a:xfrm>
              <a:off x="2268801" y="1618427"/>
              <a:ext cx="299" cy="109"/>
            </a:xfrm>
            <a:custGeom>
              <a:avLst/>
              <a:gdLst/>
              <a:ahLst/>
              <a:cxnLst/>
              <a:rect l="l" t="t" r="r" b="b"/>
              <a:pathLst>
                <a:path w="22" h="8" extrusionOk="0">
                  <a:moveTo>
                    <a:pt x="0" y="1"/>
                  </a:moveTo>
                  <a:lnTo>
                    <a:pt x="21" y="8"/>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636" name="Google Shape;4636;p104"/>
            <p:cNvSpPr/>
            <p:nvPr/>
          </p:nvSpPr>
          <p:spPr>
            <a:xfrm>
              <a:off x="2264565" y="1618332"/>
              <a:ext cx="204" cy="14"/>
            </a:xfrm>
            <a:custGeom>
              <a:avLst/>
              <a:gdLst/>
              <a:ahLst/>
              <a:cxnLst/>
              <a:rect l="l" t="t" r="r" b="b"/>
              <a:pathLst>
                <a:path w="15" h="1" extrusionOk="0">
                  <a:moveTo>
                    <a:pt x="1" y="1"/>
                  </a:moveTo>
                  <a:lnTo>
                    <a:pt x="15"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637" name="Google Shape;4637;p104"/>
            <p:cNvSpPr/>
            <p:nvPr/>
          </p:nvSpPr>
          <p:spPr>
            <a:xfrm>
              <a:off x="2276445" y="1611828"/>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638" name="Google Shape;4638;p104"/>
            <p:cNvSpPr/>
            <p:nvPr/>
          </p:nvSpPr>
          <p:spPr>
            <a:xfrm>
              <a:off x="2264144" y="1618386"/>
              <a:ext cx="204" cy="14"/>
            </a:xfrm>
            <a:custGeom>
              <a:avLst/>
              <a:gdLst/>
              <a:ahLst/>
              <a:cxnLst/>
              <a:rect l="l" t="t" r="r" b="b"/>
              <a:pathLst>
                <a:path w="15" h="1" extrusionOk="0">
                  <a:moveTo>
                    <a:pt x="0" y="0"/>
                  </a:moveTo>
                  <a:lnTo>
                    <a:pt x="14"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639" name="Google Shape;4639;p104"/>
            <p:cNvSpPr/>
            <p:nvPr/>
          </p:nvSpPr>
          <p:spPr>
            <a:xfrm>
              <a:off x="2265570" y="1618237"/>
              <a:ext cx="204" cy="14"/>
            </a:xfrm>
            <a:custGeom>
              <a:avLst/>
              <a:gdLst/>
              <a:ahLst/>
              <a:cxnLst/>
              <a:rect l="l" t="t" r="r" b="b"/>
              <a:pathLst>
                <a:path w="15" h="1" extrusionOk="0">
                  <a:moveTo>
                    <a:pt x="0" y="1"/>
                  </a:moveTo>
                  <a:lnTo>
                    <a:pt x="14"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640" name="Google Shape;4640;p104"/>
            <p:cNvSpPr/>
            <p:nvPr/>
          </p:nvSpPr>
          <p:spPr>
            <a:xfrm>
              <a:off x="2266086" y="1618196"/>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641" name="Google Shape;4641;p104"/>
            <p:cNvSpPr/>
            <p:nvPr/>
          </p:nvSpPr>
          <p:spPr>
            <a:xfrm>
              <a:off x="2276255" y="1611828"/>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642" name="Google Shape;4642;p104"/>
            <p:cNvSpPr/>
            <p:nvPr/>
          </p:nvSpPr>
          <p:spPr>
            <a:xfrm>
              <a:off x="2276119" y="1611869"/>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643" name="Google Shape;4643;p104"/>
            <p:cNvSpPr/>
            <p:nvPr/>
          </p:nvSpPr>
          <p:spPr>
            <a:xfrm>
              <a:off x="2265040" y="1618291"/>
              <a:ext cx="204" cy="14"/>
            </a:xfrm>
            <a:custGeom>
              <a:avLst/>
              <a:gdLst/>
              <a:ahLst/>
              <a:cxnLst/>
              <a:rect l="l" t="t" r="r" b="b"/>
              <a:pathLst>
                <a:path w="15" h="1" extrusionOk="0">
                  <a:moveTo>
                    <a:pt x="1" y="0"/>
                  </a:moveTo>
                  <a:lnTo>
                    <a:pt x="15"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644" name="Google Shape;4644;p104"/>
            <p:cNvSpPr/>
            <p:nvPr/>
          </p:nvSpPr>
          <p:spPr>
            <a:xfrm>
              <a:off x="2221307" y="1617191"/>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645" name="Google Shape;4645;p104"/>
            <p:cNvSpPr/>
            <p:nvPr/>
          </p:nvSpPr>
          <p:spPr>
            <a:xfrm>
              <a:off x="2257002" y="1617340"/>
              <a:ext cx="638" cy="54"/>
            </a:xfrm>
            <a:custGeom>
              <a:avLst/>
              <a:gdLst/>
              <a:ahLst/>
              <a:cxnLst/>
              <a:rect l="l" t="t" r="r" b="b"/>
              <a:pathLst>
                <a:path w="47" h="4" extrusionOk="0">
                  <a:moveTo>
                    <a:pt x="47" y="4"/>
                  </a:moveTo>
                  <a:cubicBezTo>
                    <a:pt x="33" y="4"/>
                    <a:pt x="15" y="4"/>
                    <a:pt x="1" y="0"/>
                  </a:cubicBezTo>
                  <a:cubicBezTo>
                    <a:pt x="15" y="4"/>
                    <a:pt x="33" y="4"/>
                    <a:pt x="47" y="4"/>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646" name="Google Shape;4646;p104"/>
            <p:cNvSpPr/>
            <p:nvPr/>
          </p:nvSpPr>
          <p:spPr>
            <a:xfrm>
              <a:off x="2221687" y="1617191"/>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647" name="Google Shape;4647;p104"/>
            <p:cNvSpPr/>
            <p:nvPr/>
          </p:nvSpPr>
          <p:spPr>
            <a:xfrm>
              <a:off x="2279446" y="1611298"/>
              <a:ext cx="54" cy="14"/>
            </a:xfrm>
            <a:custGeom>
              <a:avLst/>
              <a:gdLst/>
              <a:ahLst/>
              <a:cxnLst/>
              <a:rect l="l" t="t" r="r" b="b"/>
              <a:pathLst>
                <a:path w="4" h="1" extrusionOk="0">
                  <a:moveTo>
                    <a:pt x="4"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648" name="Google Shape;4648;p104"/>
            <p:cNvSpPr/>
            <p:nvPr/>
          </p:nvSpPr>
          <p:spPr>
            <a:xfrm>
              <a:off x="2279107" y="1611353"/>
              <a:ext cx="258" cy="54"/>
            </a:xfrm>
            <a:custGeom>
              <a:avLst/>
              <a:gdLst/>
              <a:ahLst/>
              <a:cxnLst/>
              <a:rect l="l" t="t" r="r" b="b"/>
              <a:pathLst>
                <a:path w="19" h="4" extrusionOk="0">
                  <a:moveTo>
                    <a:pt x="1" y="4"/>
                  </a:moveTo>
                  <a:lnTo>
                    <a:pt x="18"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649" name="Google Shape;4649;p104"/>
            <p:cNvSpPr/>
            <p:nvPr/>
          </p:nvSpPr>
          <p:spPr>
            <a:xfrm>
              <a:off x="2201348" y="1551829"/>
              <a:ext cx="52776" cy="23503"/>
            </a:xfrm>
            <a:custGeom>
              <a:avLst/>
              <a:gdLst/>
              <a:ahLst/>
              <a:cxnLst/>
              <a:rect l="l" t="t" r="r" b="b"/>
              <a:pathLst>
                <a:path w="3887" h="1731" extrusionOk="0">
                  <a:moveTo>
                    <a:pt x="2070" y="1"/>
                  </a:moveTo>
                  <a:lnTo>
                    <a:pt x="2038" y="4"/>
                  </a:lnTo>
                  <a:lnTo>
                    <a:pt x="2017" y="4"/>
                  </a:lnTo>
                  <a:lnTo>
                    <a:pt x="1982" y="8"/>
                  </a:lnTo>
                  <a:lnTo>
                    <a:pt x="1957" y="8"/>
                  </a:lnTo>
                  <a:lnTo>
                    <a:pt x="1919" y="11"/>
                  </a:lnTo>
                  <a:lnTo>
                    <a:pt x="1901" y="11"/>
                  </a:lnTo>
                  <a:cubicBezTo>
                    <a:pt x="1842" y="89"/>
                    <a:pt x="1852" y="152"/>
                    <a:pt x="1866" y="260"/>
                  </a:cubicBezTo>
                  <a:cubicBezTo>
                    <a:pt x="1880" y="334"/>
                    <a:pt x="1887" y="411"/>
                    <a:pt x="1884" y="491"/>
                  </a:cubicBezTo>
                  <a:cubicBezTo>
                    <a:pt x="1887" y="565"/>
                    <a:pt x="1859" y="635"/>
                    <a:pt x="1807" y="687"/>
                  </a:cubicBezTo>
                  <a:cubicBezTo>
                    <a:pt x="1733" y="753"/>
                    <a:pt x="1625" y="767"/>
                    <a:pt x="1527" y="767"/>
                  </a:cubicBezTo>
                  <a:cubicBezTo>
                    <a:pt x="1495" y="767"/>
                    <a:pt x="1464" y="766"/>
                    <a:pt x="1436" y="764"/>
                  </a:cubicBezTo>
                  <a:lnTo>
                    <a:pt x="1376" y="764"/>
                  </a:lnTo>
                  <a:cubicBezTo>
                    <a:pt x="1233" y="764"/>
                    <a:pt x="1079" y="547"/>
                    <a:pt x="911" y="285"/>
                  </a:cubicBezTo>
                  <a:cubicBezTo>
                    <a:pt x="879" y="236"/>
                    <a:pt x="855" y="194"/>
                    <a:pt x="837" y="173"/>
                  </a:cubicBezTo>
                  <a:cubicBezTo>
                    <a:pt x="835" y="171"/>
                    <a:pt x="831" y="171"/>
                    <a:pt x="828" y="171"/>
                  </a:cubicBezTo>
                  <a:cubicBezTo>
                    <a:pt x="776" y="171"/>
                    <a:pt x="625" y="278"/>
                    <a:pt x="550" y="330"/>
                  </a:cubicBezTo>
                  <a:cubicBezTo>
                    <a:pt x="498" y="365"/>
                    <a:pt x="445" y="404"/>
                    <a:pt x="400" y="432"/>
                  </a:cubicBezTo>
                  <a:cubicBezTo>
                    <a:pt x="323" y="477"/>
                    <a:pt x="312" y="551"/>
                    <a:pt x="295" y="635"/>
                  </a:cubicBezTo>
                  <a:cubicBezTo>
                    <a:pt x="277" y="715"/>
                    <a:pt x="263" y="799"/>
                    <a:pt x="186" y="862"/>
                  </a:cubicBezTo>
                  <a:cubicBezTo>
                    <a:pt x="109" y="925"/>
                    <a:pt x="1" y="1065"/>
                    <a:pt x="116" y="1289"/>
                  </a:cubicBezTo>
                  <a:lnTo>
                    <a:pt x="130" y="1289"/>
                  </a:lnTo>
                  <a:lnTo>
                    <a:pt x="162" y="1286"/>
                  </a:lnTo>
                  <a:lnTo>
                    <a:pt x="193" y="1282"/>
                  </a:lnTo>
                  <a:lnTo>
                    <a:pt x="221" y="1275"/>
                  </a:lnTo>
                  <a:lnTo>
                    <a:pt x="249" y="1272"/>
                  </a:lnTo>
                  <a:lnTo>
                    <a:pt x="277" y="1268"/>
                  </a:lnTo>
                  <a:lnTo>
                    <a:pt x="305" y="1261"/>
                  </a:lnTo>
                  <a:lnTo>
                    <a:pt x="326" y="1254"/>
                  </a:lnTo>
                  <a:lnTo>
                    <a:pt x="351" y="1247"/>
                  </a:lnTo>
                  <a:lnTo>
                    <a:pt x="372" y="1244"/>
                  </a:lnTo>
                  <a:lnTo>
                    <a:pt x="396" y="1233"/>
                  </a:lnTo>
                  <a:lnTo>
                    <a:pt x="410" y="1226"/>
                  </a:lnTo>
                  <a:lnTo>
                    <a:pt x="435" y="1216"/>
                  </a:lnTo>
                  <a:lnTo>
                    <a:pt x="445" y="1212"/>
                  </a:lnTo>
                  <a:cubicBezTo>
                    <a:pt x="456" y="1205"/>
                    <a:pt x="466" y="1198"/>
                    <a:pt x="473" y="1195"/>
                  </a:cubicBezTo>
                  <a:cubicBezTo>
                    <a:pt x="544" y="1144"/>
                    <a:pt x="649" y="1128"/>
                    <a:pt x="763" y="1128"/>
                  </a:cubicBezTo>
                  <a:cubicBezTo>
                    <a:pt x="885" y="1128"/>
                    <a:pt x="1019" y="1147"/>
                    <a:pt x="1131" y="1163"/>
                  </a:cubicBezTo>
                  <a:cubicBezTo>
                    <a:pt x="1187" y="1170"/>
                    <a:pt x="1247" y="1177"/>
                    <a:pt x="1303" y="1181"/>
                  </a:cubicBezTo>
                  <a:cubicBezTo>
                    <a:pt x="1348" y="1181"/>
                    <a:pt x="1408" y="1188"/>
                    <a:pt x="1478" y="1195"/>
                  </a:cubicBezTo>
                  <a:cubicBezTo>
                    <a:pt x="1561" y="1204"/>
                    <a:pt x="1661" y="1215"/>
                    <a:pt x="1755" y="1215"/>
                  </a:cubicBezTo>
                  <a:cubicBezTo>
                    <a:pt x="1836" y="1215"/>
                    <a:pt x="1913" y="1207"/>
                    <a:pt x="1971" y="1184"/>
                  </a:cubicBezTo>
                  <a:cubicBezTo>
                    <a:pt x="2007" y="1171"/>
                    <a:pt x="2039" y="1166"/>
                    <a:pt x="2067" y="1166"/>
                  </a:cubicBezTo>
                  <a:cubicBezTo>
                    <a:pt x="2163" y="1166"/>
                    <a:pt x="2216" y="1227"/>
                    <a:pt x="2252" y="1265"/>
                  </a:cubicBezTo>
                  <a:cubicBezTo>
                    <a:pt x="2278" y="1298"/>
                    <a:pt x="2288" y="1308"/>
                    <a:pt x="2298" y="1308"/>
                  </a:cubicBezTo>
                  <a:cubicBezTo>
                    <a:pt x="2300" y="1308"/>
                    <a:pt x="2302" y="1307"/>
                    <a:pt x="2304" y="1307"/>
                  </a:cubicBezTo>
                  <a:cubicBezTo>
                    <a:pt x="2315" y="1303"/>
                    <a:pt x="2329" y="1303"/>
                    <a:pt x="2339" y="1303"/>
                  </a:cubicBezTo>
                  <a:lnTo>
                    <a:pt x="2371" y="1303"/>
                  </a:lnTo>
                  <a:cubicBezTo>
                    <a:pt x="2385" y="1303"/>
                    <a:pt x="2395" y="1307"/>
                    <a:pt x="2406" y="1310"/>
                  </a:cubicBezTo>
                  <a:lnTo>
                    <a:pt x="2423" y="1314"/>
                  </a:lnTo>
                  <a:lnTo>
                    <a:pt x="2444" y="1321"/>
                  </a:lnTo>
                  <a:lnTo>
                    <a:pt x="2465" y="1328"/>
                  </a:lnTo>
                  <a:lnTo>
                    <a:pt x="2483" y="1335"/>
                  </a:lnTo>
                  <a:lnTo>
                    <a:pt x="2504" y="1345"/>
                  </a:lnTo>
                  <a:lnTo>
                    <a:pt x="2521" y="1352"/>
                  </a:lnTo>
                  <a:lnTo>
                    <a:pt x="2546" y="1363"/>
                  </a:lnTo>
                  <a:lnTo>
                    <a:pt x="2560" y="1370"/>
                  </a:lnTo>
                  <a:lnTo>
                    <a:pt x="2584" y="1384"/>
                  </a:lnTo>
                  <a:lnTo>
                    <a:pt x="2598" y="1394"/>
                  </a:lnTo>
                  <a:lnTo>
                    <a:pt x="2623" y="1408"/>
                  </a:lnTo>
                  <a:lnTo>
                    <a:pt x="2637" y="1415"/>
                  </a:lnTo>
                  <a:lnTo>
                    <a:pt x="2661" y="1433"/>
                  </a:lnTo>
                  <a:lnTo>
                    <a:pt x="2675" y="1440"/>
                  </a:lnTo>
                  <a:lnTo>
                    <a:pt x="2700" y="1457"/>
                  </a:lnTo>
                  <a:lnTo>
                    <a:pt x="2710" y="1464"/>
                  </a:lnTo>
                  <a:lnTo>
                    <a:pt x="2735" y="1482"/>
                  </a:lnTo>
                  <a:lnTo>
                    <a:pt x="2745" y="1489"/>
                  </a:lnTo>
                  <a:lnTo>
                    <a:pt x="2766" y="1506"/>
                  </a:lnTo>
                  <a:lnTo>
                    <a:pt x="2780" y="1513"/>
                  </a:lnTo>
                  <a:lnTo>
                    <a:pt x="2798" y="1527"/>
                  </a:lnTo>
                  <a:lnTo>
                    <a:pt x="2812" y="1538"/>
                  </a:lnTo>
                  <a:lnTo>
                    <a:pt x="2829" y="1552"/>
                  </a:lnTo>
                  <a:lnTo>
                    <a:pt x="2843" y="1562"/>
                  </a:lnTo>
                  <a:lnTo>
                    <a:pt x="2854" y="1573"/>
                  </a:lnTo>
                  <a:lnTo>
                    <a:pt x="2878" y="1590"/>
                  </a:lnTo>
                  <a:cubicBezTo>
                    <a:pt x="2892" y="1604"/>
                    <a:pt x="2910" y="1618"/>
                    <a:pt x="2927" y="1629"/>
                  </a:cubicBezTo>
                  <a:lnTo>
                    <a:pt x="2948" y="1646"/>
                  </a:lnTo>
                  <a:lnTo>
                    <a:pt x="2983" y="1667"/>
                  </a:lnTo>
                  <a:lnTo>
                    <a:pt x="3011" y="1685"/>
                  </a:lnTo>
                  <a:lnTo>
                    <a:pt x="3043" y="1706"/>
                  </a:lnTo>
                  <a:lnTo>
                    <a:pt x="3078" y="1723"/>
                  </a:lnTo>
                  <a:lnTo>
                    <a:pt x="3088" y="1730"/>
                  </a:lnTo>
                  <a:cubicBezTo>
                    <a:pt x="3116" y="1702"/>
                    <a:pt x="3148" y="1674"/>
                    <a:pt x="3179" y="1653"/>
                  </a:cubicBezTo>
                  <a:cubicBezTo>
                    <a:pt x="3245" y="1604"/>
                    <a:pt x="3324" y="1579"/>
                    <a:pt x="3405" y="1579"/>
                  </a:cubicBezTo>
                  <a:cubicBezTo>
                    <a:pt x="3415" y="1579"/>
                    <a:pt x="3425" y="1579"/>
                    <a:pt x="3435" y="1580"/>
                  </a:cubicBezTo>
                  <a:cubicBezTo>
                    <a:pt x="3463" y="1580"/>
                    <a:pt x="3487" y="1583"/>
                    <a:pt x="3512" y="1587"/>
                  </a:cubicBezTo>
                  <a:cubicBezTo>
                    <a:pt x="3536" y="1590"/>
                    <a:pt x="3564" y="1590"/>
                    <a:pt x="3589" y="1590"/>
                  </a:cubicBezTo>
                  <a:cubicBezTo>
                    <a:pt x="3624" y="1590"/>
                    <a:pt x="3638" y="1573"/>
                    <a:pt x="3673" y="1517"/>
                  </a:cubicBezTo>
                  <a:cubicBezTo>
                    <a:pt x="3697" y="1478"/>
                    <a:pt x="3725" y="1443"/>
                    <a:pt x="3760" y="1412"/>
                  </a:cubicBezTo>
                  <a:cubicBezTo>
                    <a:pt x="3771" y="1405"/>
                    <a:pt x="3785" y="1398"/>
                    <a:pt x="3795" y="1391"/>
                  </a:cubicBezTo>
                  <a:lnTo>
                    <a:pt x="3806" y="1384"/>
                  </a:lnTo>
                  <a:cubicBezTo>
                    <a:pt x="3816" y="1377"/>
                    <a:pt x="3827" y="1373"/>
                    <a:pt x="3837" y="1366"/>
                  </a:cubicBezTo>
                  <a:lnTo>
                    <a:pt x="3848" y="1363"/>
                  </a:lnTo>
                  <a:cubicBezTo>
                    <a:pt x="3858" y="1359"/>
                    <a:pt x="3872" y="1356"/>
                    <a:pt x="3886" y="1349"/>
                  </a:cubicBezTo>
                  <a:cubicBezTo>
                    <a:pt x="3879" y="1328"/>
                    <a:pt x="3876" y="1303"/>
                    <a:pt x="3869" y="1275"/>
                  </a:cubicBezTo>
                  <a:cubicBezTo>
                    <a:pt x="3855" y="1212"/>
                    <a:pt x="3837" y="1135"/>
                    <a:pt x="3809" y="1107"/>
                  </a:cubicBezTo>
                  <a:cubicBezTo>
                    <a:pt x="3711" y="1009"/>
                    <a:pt x="3603" y="876"/>
                    <a:pt x="3613" y="764"/>
                  </a:cubicBezTo>
                  <a:cubicBezTo>
                    <a:pt x="3613" y="747"/>
                    <a:pt x="3617" y="733"/>
                    <a:pt x="3624" y="719"/>
                  </a:cubicBezTo>
                  <a:cubicBezTo>
                    <a:pt x="3631" y="705"/>
                    <a:pt x="3634" y="687"/>
                    <a:pt x="3638" y="670"/>
                  </a:cubicBezTo>
                  <a:cubicBezTo>
                    <a:pt x="3652" y="603"/>
                    <a:pt x="3627" y="533"/>
                    <a:pt x="3578" y="488"/>
                  </a:cubicBezTo>
                  <a:cubicBezTo>
                    <a:pt x="3571" y="481"/>
                    <a:pt x="3564" y="474"/>
                    <a:pt x="3561" y="467"/>
                  </a:cubicBezTo>
                  <a:lnTo>
                    <a:pt x="3550" y="460"/>
                  </a:lnTo>
                  <a:cubicBezTo>
                    <a:pt x="3526" y="428"/>
                    <a:pt x="3505" y="397"/>
                    <a:pt x="3487" y="362"/>
                  </a:cubicBezTo>
                  <a:lnTo>
                    <a:pt x="3459" y="358"/>
                  </a:lnTo>
                  <a:lnTo>
                    <a:pt x="3442" y="358"/>
                  </a:lnTo>
                  <a:lnTo>
                    <a:pt x="3389" y="351"/>
                  </a:lnTo>
                  <a:lnTo>
                    <a:pt x="3379" y="351"/>
                  </a:lnTo>
                  <a:lnTo>
                    <a:pt x="3326" y="348"/>
                  </a:lnTo>
                  <a:lnTo>
                    <a:pt x="3323" y="348"/>
                  </a:lnTo>
                  <a:lnTo>
                    <a:pt x="3270" y="341"/>
                  </a:lnTo>
                  <a:cubicBezTo>
                    <a:pt x="3221" y="334"/>
                    <a:pt x="3169" y="330"/>
                    <a:pt x="3119" y="330"/>
                  </a:cubicBezTo>
                  <a:cubicBezTo>
                    <a:pt x="3091" y="330"/>
                    <a:pt x="3063" y="331"/>
                    <a:pt x="3036" y="334"/>
                  </a:cubicBezTo>
                  <a:lnTo>
                    <a:pt x="3022" y="334"/>
                  </a:lnTo>
                  <a:cubicBezTo>
                    <a:pt x="3013" y="336"/>
                    <a:pt x="3004" y="337"/>
                    <a:pt x="2994" y="337"/>
                  </a:cubicBezTo>
                  <a:cubicBezTo>
                    <a:pt x="2912" y="337"/>
                    <a:pt x="2771" y="267"/>
                    <a:pt x="2444" y="18"/>
                  </a:cubicBezTo>
                  <a:lnTo>
                    <a:pt x="2427"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650" name="Google Shape;4650;p104"/>
            <p:cNvSpPr/>
            <p:nvPr/>
          </p:nvSpPr>
          <p:spPr>
            <a:xfrm>
              <a:off x="2244511" y="1573173"/>
              <a:ext cx="3476" cy="1113"/>
            </a:xfrm>
            <a:custGeom>
              <a:avLst/>
              <a:gdLst/>
              <a:ahLst/>
              <a:cxnLst/>
              <a:rect l="l" t="t" r="r" b="b"/>
              <a:pathLst>
                <a:path w="256" h="82" extrusionOk="0">
                  <a:moveTo>
                    <a:pt x="256" y="8"/>
                  </a:moveTo>
                  <a:cubicBezTo>
                    <a:pt x="165" y="1"/>
                    <a:pt x="74" y="25"/>
                    <a:pt x="0" y="81"/>
                  </a:cubicBezTo>
                  <a:cubicBezTo>
                    <a:pt x="74" y="25"/>
                    <a:pt x="165" y="1"/>
                    <a:pt x="256" y="8"/>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651" name="Google Shape;4651;p104"/>
            <p:cNvSpPr/>
            <p:nvPr/>
          </p:nvSpPr>
          <p:spPr>
            <a:xfrm>
              <a:off x="2243316" y="1574273"/>
              <a:ext cx="1208" cy="1154"/>
            </a:xfrm>
            <a:custGeom>
              <a:avLst/>
              <a:gdLst/>
              <a:ahLst/>
              <a:cxnLst/>
              <a:rect l="l" t="t" r="r" b="b"/>
              <a:pathLst>
                <a:path w="89" h="85" extrusionOk="0">
                  <a:moveTo>
                    <a:pt x="88" y="0"/>
                  </a:moveTo>
                  <a:cubicBezTo>
                    <a:pt x="57" y="25"/>
                    <a:pt x="25" y="53"/>
                    <a:pt x="1" y="84"/>
                  </a:cubicBezTo>
                  <a:lnTo>
                    <a:pt x="1" y="84"/>
                  </a:lnTo>
                  <a:cubicBezTo>
                    <a:pt x="25" y="53"/>
                    <a:pt x="57" y="25"/>
                    <a:pt x="88"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652" name="Google Shape;4652;p104"/>
            <p:cNvSpPr/>
            <p:nvPr/>
          </p:nvSpPr>
          <p:spPr>
            <a:xfrm>
              <a:off x="2252820" y="1570607"/>
              <a:ext cx="163" cy="109"/>
            </a:xfrm>
            <a:custGeom>
              <a:avLst/>
              <a:gdLst/>
              <a:ahLst/>
              <a:cxnLst/>
              <a:rect l="l" t="t" r="r" b="b"/>
              <a:pathLst>
                <a:path w="12" h="8" extrusionOk="0">
                  <a:moveTo>
                    <a:pt x="1" y="8"/>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653" name="Google Shape;4653;p104"/>
            <p:cNvSpPr/>
            <p:nvPr/>
          </p:nvSpPr>
          <p:spPr>
            <a:xfrm>
              <a:off x="2253445" y="1570322"/>
              <a:ext cx="109" cy="68"/>
            </a:xfrm>
            <a:custGeom>
              <a:avLst/>
              <a:gdLst/>
              <a:ahLst/>
              <a:cxnLst/>
              <a:rect l="l" t="t" r="r" b="b"/>
              <a:pathLst>
                <a:path w="8" h="5" extrusionOk="0">
                  <a:moveTo>
                    <a:pt x="0" y="4"/>
                  </a:moveTo>
                  <a:lnTo>
                    <a:pt x="7"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654" name="Google Shape;4654;p104"/>
            <p:cNvSpPr/>
            <p:nvPr/>
          </p:nvSpPr>
          <p:spPr>
            <a:xfrm>
              <a:off x="2201973" y="1568516"/>
              <a:ext cx="40502" cy="24372"/>
            </a:xfrm>
            <a:custGeom>
              <a:avLst/>
              <a:gdLst/>
              <a:ahLst/>
              <a:cxnLst/>
              <a:rect l="l" t="t" r="r" b="b"/>
              <a:pathLst>
                <a:path w="2983" h="1795" extrusionOk="0">
                  <a:moveTo>
                    <a:pt x="709" y="0"/>
                  </a:moveTo>
                  <a:cubicBezTo>
                    <a:pt x="622" y="0"/>
                    <a:pt x="546" y="11"/>
                    <a:pt x="501" y="43"/>
                  </a:cubicBezTo>
                  <a:cubicBezTo>
                    <a:pt x="490" y="53"/>
                    <a:pt x="480" y="60"/>
                    <a:pt x="466" y="67"/>
                  </a:cubicBezTo>
                  <a:lnTo>
                    <a:pt x="455" y="74"/>
                  </a:lnTo>
                  <a:lnTo>
                    <a:pt x="427" y="88"/>
                  </a:lnTo>
                  <a:lnTo>
                    <a:pt x="410" y="95"/>
                  </a:lnTo>
                  <a:lnTo>
                    <a:pt x="382" y="106"/>
                  </a:lnTo>
                  <a:lnTo>
                    <a:pt x="361" y="113"/>
                  </a:lnTo>
                  <a:lnTo>
                    <a:pt x="329" y="123"/>
                  </a:lnTo>
                  <a:lnTo>
                    <a:pt x="308" y="127"/>
                  </a:lnTo>
                  <a:lnTo>
                    <a:pt x="270" y="137"/>
                  </a:lnTo>
                  <a:lnTo>
                    <a:pt x="252" y="141"/>
                  </a:lnTo>
                  <a:cubicBezTo>
                    <a:pt x="231" y="144"/>
                    <a:pt x="210" y="148"/>
                    <a:pt x="189" y="151"/>
                  </a:cubicBezTo>
                  <a:lnTo>
                    <a:pt x="126" y="162"/>
                  </a:lnTo>
                  <a:cubicBezTo>
                    <a:pt x="200" y="358"/>
                    <a:pt x="161" y="578"/>
                    <a:pt x="25" y="739"/>
                  </a:cubicBezTo>
                  <a:cubicBezTo>
                    <a:pt x="18" y="750"/>
                    <a:pt x="7" y="760"/>
                    <a:pt x="0" y="771"/>
                  </a:cubicBezTo>
                  <a:lnTo>
                    <a:pt x="18" y="781"/>
                  </a:lnTo>
                  <a:lnTo>
                    <a:pt x="46" y="778"/>
                  </a:lnTo>
                  <a:lnTo>
                    <a:pt x="88" y="774"/>
                  </a:lnTo>
                  <a:lnTo>
                    <a:pt x="98" y="774"/>
                  </a:lnTo>
                  <a:lnTo>
                    <a:pt x="144" y="771"/>
                  </a:lnTo>
                  <a:lnTo>
                    <a:pt x="238" y="771"/>
                  </a:lnTo>
                  <a:cubicBezTo>
                    <a:pt x="298" y="771"/>
                    <a:pt x="350" y="799"/>
                    <a:pt x="385" y="841"/>
                  </a:cubicBezTo>
                  <a:cubicBezTo>
                    <a:pt x="427" y="901"/>
                    <a:pt x="553" y="946"/>
                    <a:pt x="609" y="946"/>
                  </a:cubicBezTo>
                  <a:cubicBezTo>
                    <a:pt x="618" y="946"/>
                    <a:pt x="625" y="945"/>
                    <a:pt x="630" y="943"/>
                  </a:cubicBezTo>
                  <a:lnTo>
                    <a:pt x="634" y="939"/>
                  </a:lnTo>
                  <a:cubicBezTo>
                    <a:pt x="652" y="931"/>
                    <a:pt x="672" y="928"/>
                    <a:pt x="692" y="928"/>
                  </a:cubicBezTo>
                  <a:cubicBezTo>
                    <a:pt x="709" y="928"/>
                    <a:pt x="726" y="931"/>
                    <a:pt x="742" y="936"/>
                  </a:cubicBezTo>
                  <a:lnTo>
                    <a:pt x="760" y="939"/>
                  </a:lnTo>
                  <a:cubicBezTo>
                    <a:pt x="802" y="950"/>
                    <a:pt x="840" y="967"/>
                    <a:pt x="879" y="992"/>
                  </a:cubicBezTo>
                  <a:lnTo>
                    <a:pt x="882" y="995"/>
                  </a:lnTo>
                  <a:cubicBezTo>
                    <a:pt x="935" y="1027"/>
                    <a:pt x="1026" y="1093"/>
                    <a:pt x="1026" y="1181"/>
                  </a:cubicBezTo>
                  <a:cubicBezTo>
                    <a:pt x="1026" y="1216"/>
                    <a:pt x="1019" y="1261"/>
                    <a:pt x="1012" y="1317"/>
                  </a:cubicBezTo>
                  <a:cubicBezTo>
                    <a:pt x="1005" y="1380"/>
                    <a:pt x="1001" y="1447"/>
                    <a:pt x="1001" y="1510"/>
                  </a:cubicBezTo>
                  <a:cubicBezTo>
                    <a:pt x="1106" y="1534"/>
                    <a:pt x="1208" y="1573"/>
                    <a:pt x="1302" y="1632"/>
                  </a:cubicBezTo>
                  <a:lnTo>
                    <a:pt x="1313" y="1664"/>
                  </a:lnTo>
                  <a:lnTo>
                    <a:pt x="1337" y="1678"/>
                  </a:lnTo>
                  <a:lnTo>
                    <a:pt x="1358" y="1695"/>
                  </a:lnTo>
                  <a:cubicBezTo>
                    <a:pt x="1386" y="1713"/>
                    <a:pt x="1407" y="1737"/>
                    <a:pt x="1428" y="1762"/>
                  </a:cubicBezTo>
                  <a:cubicBezTo>
                    <a:pt x="1432" y="1772"/>
                    <a:pt x="1439" y="1779"/>
                    <a:pt x="1442" y="1790"/>
                  </a:cubicBezTo>
                  <a:lnTo>
                    <a:pt x="1810" y="1790"/>
                  </a:lnTo>
                  <a:cubicBezTo>
                    <a:pt x="1824" y="1793"/>
                    <a:pt x="1838" y="1795"/>
                    <a:pt x="1851" y="1795"/>
                  </a:cubicBezTo>
                  <a:cubicBezTo>
                    <a:pt x="1916" y="1795"/>
                    <a:pt x="1964" y="1751"/>
                    <a:pt x="2020" y="1681"/>
                  </a:cubicBezTo>
                  <a:cubicBezTo>
                    <a:pt x="2101" y="1580"/>
                    <a:pt x="2332" y="1552"/>
                    <a:pt x="2409" y="1545"/>
                  </a:cubicBezTo>
                  <a:cubicBezTo>
                    <a:pt x="2419" y="1503"/>
                    <a:pt x="2430" y="1457"/>
                    <a:pt x="2433" y="1415"/>
                  </a:cubicBezTo>
                  <a:cubicBezTo>
                    <a:pt x="2433" y="1387"/>
                    <a:pt x="2437" y="1359"/>
                    <a:pt x="2444" y="1338"/>
                  </a:cubicBezTo>
                  <a:cubicBezTo>
                    <a:pt x="2465" y="1230"/>
                    <a:pt x="2647" y="1069"/>
                    <a:pt x="2762" y="1030"/>
                  </a:cubicBezTo>
                  <a:cubicBezTo>
                    <a:pt x="2783" y="1023"/>
                    <a:pt x="2794" y="1009"/>
                    <a:pt x="2811" y="981"/>
                  </a:cubicBezTo>
                  <a:cubicBezTo>
                    <a:pt x="2836" y="921"/>
                    <a:pt x="2895" y="883"/>
                    <a:pt x="2958" y="883"/>
                  </a:cubicBezTo>
                  <a:lnTo>
                    <a:pt x="2965" y="883"/>
                  </a:lnTo>
                  <a:cubicBezTo>
                    <a:pt x="2965" y="883"/>
                    <a:pt x="2983" y="858"/>
                    <a:pt x="2958" y="750"/>
                  </a:cubicBezTo>
                  <a:cubicBezTo>
                    <a:pt x="2948" y="697"/>
                    <a:pt x="2955" y="641"/>
                    <a:pt x="2976" y="589"/>
                  </a:cubicBezTo>
                  <a:lnTo>
                    <a:pt x="2965" y="585"/>
                  </a:lnTo>
                  <a:lnTo>
                    <a:pt x="2930" y="561"/>
                  </a:lnTo>
                  <a:lnTo>
                    <a:pt x="2892" y="540"/>
                  </a:lnTo>
                  <a:lnTo>
                    <a:pt x="2864" y="522"/>
                  </a:lnTo>
                  <a:lnTo>
                    <a:pt x="2822" y="494"/>
                  </a:lnTo>
                  <a:lnTo>
                    <a:pt x="2801" y="480"/>
                  </a:lnTo>
                  <a:cubicBezTo>
                    <a:pt x="2783" y="466"/>
                    <a:pt x="2762" y="452"/>
                    <a:pt x="2745" y="438"/>
                  </a:cubicBezTo>
                  <a:cubicBezTo>
                    <a:pt x="2560" y="283"/>
                    <a:pt x="2372" y="178"/>
                    <a:pt x="2293" y="178"/>
                  </a:cubicBezTo>
                  <a:cubicBezTo>
                    <a:pt x="2288" y="178"/>
                    <a:pt x="2283" y="179"/>
                    <a:pt x="2279" y="179"/>
                  </a:cubicBezTo>
                  <a:cubicBezTo>
                    <a:pt x="2269" y="181"/>
                    <a:pt x="2259" y="182"/>
                    <a:pt x="2249" y="182"/>
                  </a:cubicBezTo>
                  <a:cubicBezTo>
                    <a:pt x="2179" y="182"/>
                    <a:pt x="2131" y="130"/>
                    <a:pt x="2101" y="99"/>
                  </a:cubicBezTo>
                  <a:lnTo>
                    <a:pt x="2087" y="81"/>
                  </a:lnTo>
                  <a:cubicBezTo>
                    <a:pt x="2069" y="57"/>
                    <a:pt x="2045" y="43"/>
                    <a:pt x="2013" y="43"/>
                  </a:cubicBezTo>
                  <a:cubicBezTo>
                    <a:pt x="1999" y="43"/>
                    <a:pt x="1985" y="46"/>
                    <a:pt x="1971" y="53"/>
                  </a:cubicBezTo>
                  <a:cubicBezTo>
                    <a:pt x="1929" y="67"/>
                    <a:pt x="1887" y="78"/>
                    <a:pt x="1841" y="81"/>
                  </a:cubicBezTo>
                  <a:cubicBezTo>
                    <a:pt x="1808" y="86"/>
                    <a:pt x="1773" y="90"/>
                    <a:pt x="1739" y="90"/>
                  </a:cubicBezTo>
                  <a:cubicBezTo>
                    <a:pt x="1726" y="90"/>
                    <a:pt x="1714" y="89"/>
                    <a:pt x="1701" y="88"/>
                  </a:cubicBezTo>
                  <a:cubicBezTo>
                    <a:pt x="1603" y="88"/>
                    <a:pt x="1505" y="78"/>
                    <a:pt x="1418" y="71"/>
                  </a:cubicBezTo>
                  <a:cubicBezTo>
                    <a:pt x="1351" y="64"/>
                    <a:pt x="1295" y="57"/>
                    <a:pt x="1253" y="57"/>
                  </a:cubicBezTo>
                  <a:cubicBezTo>
                    <a:pt x="1190" y="53"/>
                    <a:pt x="1127" y="46"/>
                    <a:pt x="1064" y="36"/>
                  </a:cubicBezTo>
                  <a:cubicBezTo>
                    <a:pt x="960" y="20"/>
                    <a:pt x="825" y="0"/>
                    <a:pt x="709"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655" name="Google Shape;4655;p104"/>
            <p:cNvSpPr/>
            <p:nvPr/>
          </p:nvSpPr>
          <p:spPr>
            <a:xfrm>
              <a:off x="2219786" y="1591095"/>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656" name="Google Shape;4656;p104"/>
            <p:cNvSpPr/>
            <p:nvPr/>
          </p:nvSpPr>
          <p:spPr>
            <a:xfrm>
              <a:off x="2220072" y="1591285"/>
              <a:ext cx="353" cy="258"/>
            </a:xfrm>
            <a:custGeom>
              <a:avLst/>
              <a:gdLst/>
              <a:ahLst/>
              <a:cxnLst/>
              <a:rect l="l" t="t" r="r" b="b"/>
              <a:pathLst>
                <a:path w="26" h="19" extrusionOk="0">
                  <a:moveTo>
                    <a:pt x="25" y="18"/>
                  </a:moveTo>
                  <a:lnTo>
                    <a:pt x="1"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657" name="Google Shape;4657;p104"/>
            <p:cNvSpPr/>
            <p:nvPr/>
          </p:nvSpPr>
          <p:spPr>
            <a:xfrm>
              <a:off x="2220411" y="1591530"/>
              <a:ext cx="1154" cy="1290"/>
            </a:xfrm>
            <a:custGeom>
              <a:avLst/>
              <a:gdLst/>
              <a:ahLst/>
              <a:cxnLst/>
              <a:rect l="l" t="t" r="r" b="b"/>
              <a:pathLst>
                <a:path w="85" h="95" extrusionOk="0">
                  <a:moveTo>
                    <a:pt x="0" y="0"/>
                  </a:moveTo>
                  <a:cubicBezTo>
                    <a:pt x="12" y="9"/>
                    <a:pt x="22" y="17"/>
                    <a:pt x="31" y="26"/>
                  </a:cubicBezTo>
                  <a:lnTo>
                    <a:pt x="31" y="26"/>
                  </a:lnTo>
                  <a:cubicBezTo>
                    <a:pt x="21" y="16"/>
                    <a:pt x="11" y="8"/>
                    <a:pt x="0" y="0"/>
                  </a:cubicBezTo>
                  <a:close/>
                  <a:moveTo>
                    <a:pt x="31" y="26"/>
                  </a:moveTo>
                  <a:cubicBezTo>
                    <a:pt x="52" y="46"/>
                    <a:pt x="70" y="71"/>
                    <a:pt x="84" y="95"/>
                  </a:cubicBezTo>
                  <a:cubicBezTo>
                    <a:pt x="81" y="88"/>
                    <a:pt x="74" y="77"/>
                    <a:pt x="70" y="70"/>
                  </a:cubicBezTo>
                  <a:cubicBezTo>
                    <a:pt x="58" y="53"/>
                    <a:pt x="45" y="39"/>
                    <a:pt x="31" y="26"/>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658" name="Google Shape;4658;p104"/>
            <p:cNvSpPr/>
            <p:nvPr/>
          </p:nvSpPr>
          <p:spPr>
            <a:xfrm>
              <a:off x="2223547" y="1592901"/>
              <a:ext cx="339" cy="14"/>
            </a:xfrm>
            <a:custGeom>
              <a:avLst/>
              <a:gdLst/>
              <a:ahLst/>
              <a:cxnLst/>
              <a:rect l="l" t="t" r="r" b="b"/>
              <a:pathLst>
                <a:path w="25" h="1" extrusionOk="0">
                  <a:moveTo>
                    <a:pt x="0" y="1"/>
                  </a:moveTo>
                  <a:lnTo>
                    <a:pt x="25"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659" name="Google Shape;4659;p104"/>
            <p:cNvSpPr/>
            <p:nvPr/>
          </p:nvSpPr>
          <p:spPr>
            <a:xfrm>
              <a:off x="2222312" y="1592860"/>
              <a:ext cx="489" cy="14"/>
            </a:xfrm>
            <a:custGeom>
              <a:avLst/>
              <a:gdLst/>
              <a:ahLst/>
              <a:cxnLst/>
              <a:rect l="l" t="t" r="r" b="b"/>
              <a:pathLst>
                <a:path w="36" h="1" extrusionOk="0">
                  <a:moveTo>
                    <a:pt x="0" y="0"/>
                  </a:moveTo>
                  <a:lnTo>
                    <a:pt x="35"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660" name="Google Shape;4660;p104"/>
            <p:cNvSpPr/>
            <p:nvPr/>
          </p:nvSpPr>
          <p:spPr>
            <a:xfrm>
              <a:off x="2224878" y="1592996"/>
              <a:ext cx="204" cy="14"/>
            </a:xfrm>
            <a:custGeom>
              <a:avLst/>
              <a:gdLst/>
              <a:ahLst/>
              <a:cxnLst/>
              <a:rect l="l" t="t" r="r" b="b"/>
              <a:pathLst>
                <a:path w="15" h="1" extrusionOk="0">
                  <a:moveTo>
                    <a:pt x="0" y="1"/>
                  </a:moveTo>
                  <a:lnTo>
                    <a:pt x="14"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661" name="Google Shape;4661;p104"/>
            <p:cNvSpPr/>
            <p:nvPr/>
          </p:nvSpPr>
          <p:spPr>
            <a:xfrm>
              <a:off x="2222923" y="1592860"/>
              <a:ext cx="394" cy="14"/>
            </a:xfrm>
            <a:custGeom>
              <a:avLst/>
              <a:gdLst/>
              <a:ahLst/>
              <a:cxnLst/>
              <a:rect l="l" t="t" r="r" b="b"/>
              <a:pathLst>
                <a:path w="29" h="1" extrusionOk="0">
                  <a:moveTo>
                    <a:pt x="1" y="0"/>
                  </a:moveTo>
                  <a:lnTo>
                    <a:pt x="29"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662" name="Google Shape;4662;p104"/>
            <p:cNvSpPr/>
            <p:nvPr/>
          </p:nvSpPr>
          <p:spPr>
            <a:xfrm>
              <a:off x="2224023" y="1592955"/>
              <a:ext cx="299" cy="14"/>
            </a:xfrm>
            <a:custGeom>
              <a:avLst/>
              <a:gdLst/>
              <a:ahLst/>
              <a:cxnLst/>
              <a:rect l="l" t="t" r="r" b="b"/>
              <a:pathLst>
                <a:path w="22" h="1" extrusionOk="0">
                  <a:moveTo>
                    <a:pt x="0" y="0"/>
                  </a:moveTo>
                  <a:lnTo>
                    <a:pt x="21"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663" name="Google Shape;4663;p104"/>
            <p:cNvSpPr/>
            <p:nvPr/>
          </p:nvSpPr>
          <p:spPr>
            <a:xfrm>
              <a:off x="2221592" y="1592806"/>
              <a:ext cx="584" cy="14"/>
            </a:xfrm>
            <a:custGeom>
              <a:avLst/>
              <a:gdLst/>
              <a:ahLst/>
              <a:cxnLst/>
              <a:rect l="l" t="t" r="r" b="b"/>
              <a:pathLst>
                <a:path w="43" h="1" extrusionOk="0">
                  <a:moveTo>
                    <a:pt x="1" y="1"/>
                  </a:moveTo>
                  <a:lnTo>
                    <a:pt x="43"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664" name="Google Shape;4664;p104"/>
            <p:cNvSpPr/>
            <p:nvPr/>
          </p:nvSpPr>
          <p:spPr>
            <a:xfrm>
              <a:off x="2224444" y="1592955"/>
              <a:ext cx="299" cy="14"/>
            </a:xfrm>
            <a:custGeom>
              <a:avLst/>
              <a:gdLst/>
              <a:ahLst/>
              <a:cxnLst/>
              <a:rect l="l" t="t" r="r" b="b"/>
              <a:pathLst>
                <a:path w="22" h="1" extrusionOk="0">
                  <a:moveTo>
                    <a:pt x="1" y="0"/>
                  </a:moveTo>
                  <a:lnTo>
                    <a:pt x="22"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665" name="Google Shape;4665;p104"/>
            <p:cNvSpPr/>
            <p:nvPr/>
          </p:nvSpPr>
          <p:spPr>
            <a:xfrm>
              <a:off x="2225204" y="1592996"/>
              <a:ext cx="204" cy="14"/>
            </a:xfrm>
            <a:custGeom>
              <a:avLst/>
              <a:gdLst/>
              <a:ahLst/>
              <a:cxnLst/>
              <a:rect l="l" t="t" r="r" b="b"/>
              <a:pathLst>
                <a:path w="15" h="1" extrusionOk="0">
                  <a:moveTo>
                    <a:pt x="1" y="1"/>
                  </a:moveTo>
                  <a:lnTo>
                    <a:pt x="15"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666" name="Google Shape;4666;p104"/>
            <p:cNvSpPr/>
            <p:nvPr/>
          </p:nvSpPr>
          <p:spPr>
            <a:xfrm>
              <a:off x="2242081" y="1576934"/>
              <a:ext cx="353" cy="2200"/>
            </a:xfrm>
            <a:custGeom>
              <a:avLst/>
              <a:gdLst/>
              <a:ahLst/>
              <a:cxnLst/>
              <a:rect l="l" t="t" r="r" b="b"/>
              <a:pathLst>
                <a:path w="26" h="162" extrusionOk="0">
                  <a:moveTo>
                    <a:pt x="25" y="0"/>
                  </a:moveTo>
                  <a:lnTo>
                    <a:pt x="25" y="0"/>
                  </a:lnTo>
                  <a:cubicBezTo>
                    <a:pt x="4" y="53"/>
                    <a:pt x="1" y="109"/>
                    <a:pt x="11" y="161"/>
                  </a:cubicBezTo>
                  <a:cubicBezTo>
                    <a:pt x="1" y="109"/>
                    <a:pt x="4" y="53"/>
                    <a:pt x="25"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667" name="Google Shape;4667;p104"/>
            <p:cNvSpPr/>
            <p:nvPr/>
          </p:nvSpPr>
          <p:spPr>
            <a:xfrm>
              <a:off x="2225489" y="1593050"/>
              <a:ext cx="163" cy="14"/>
            </a:xfrm>
            <a:custGeom>
              <a:avLst/>
              <a:gdLst/>
              <a:ahLst/>
              <a:cxnLst/>
              <a:rect l="l" t="t" r="r" b="b"/>
              <a:pathLst>
                <a:path w="12" h="1" extrusionOk="0">
                  <a:moveTo>
                    <a:pt x="1" y="0"/>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668" name="Google Shape;4668;p104"/>
            <p:cNvSpPr/>
            <p:nvPr/>
          </p:nvSpPr>
          <p:spPr>
            <a:xfrm>
              <a:off x="2226494" y="1593186"/>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669" name="Google Shape;4669;p104"/>
            <p:cNvSpPr/>
            <p:nvPr/>
          </p:nvSpPr>
          <p:spPr>
            <a:xfrm>
              <a:off x="2226439" y="1593186"/>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670" name="Google Shape;4670;p104"/>
            <p:cNvSpPr/>
            <p:nvPr/>
          </p:nvSpPr>
          <p:spPr>
            <a:xfrm>
              <a:off x="2226154" y="1593145"/>
              <a:ext cx="68" cy="14"/>
            </a:xfrm>
            <a:custGeom>
              <a:avLst/>
              <a:gdLst/>
              <a:ahLst/>
              <a:cxnLst/>
              <a:rect l="l" t="t" r="r" b="b"/>
              <a:pathLst>
                <a:path w="5" h="1" extrusionOk="0">
                  <a:moveTo>
                    <a:pt x="1" y="0"/>
                  </a:moveTo>
                  <a:lnTo>
                    <a:pt x="4"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671" name="Google Shape;4671;p104"/>
            <p:cNvSpPr/>
            <p:nvPr/>
          </p:nvSpPr>
          <p:spPr>
            <a:xfrm>
              <a:off x="2226304" y="1593145"/>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672" name="Google Shape;4672;p104"/>
            <p:cNvSpPr/>
            <p:nvPr/>
          </p:nvSpPr>
          <p:spPr>
            <a:xfrm>
              <a:off x="2225964" y="1593091"/>
              <a:ext cx="109" cy="14"/>
            </a:xfrm>
            <a:custGeom>
              <a:avLst/>
              <a:gdLst/>
              <a:ahLst/>
              <a:cxnLst/>
              <a:rect l="l" t="t" r="r" b="b"/>
              <a:pathLst>
                <a:path w="8" h="1" extrusionOk="0">
                  <a:moveTo>
                    <a:pt x="1" y="1"/>
                  </a:moveTo>
                  <a:lnTo>
                    <a:pt x="8"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673" name="Google Shape;4673;p104"/>
            <p:cNvSpPr/>
            <p:nvPr/>
          </p:nvSpPr>
          <p:spPr>
            <a:xfrm>
              <a:off x="2225774" y="1593091"/>
              <a:ext cx="109" cy="14"/>
            </a:xfrm>
            <a:custGeom>
              <a:avLst/>
              <a:gdLst/>
              <a:ahLst/>
              <a:cxnLst/>
              <a:rect l="l" t="t" r="r" b="b"/>
              <a:pathLst>
                <a:path w="8" h="1" extrusionOk="0">
                  <a:moveTo>
                    <a:pt x="1" y="1"/>
                  </a:moveTo>
                  <a:lnTo>
                    <a:pt x="8"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674" name="Google Shape;4674;p104"/>
            <p:cNvSpPr/>
            <p:nvPr/>
          </p:nvSpPr>
          <p:spPr>
            <a:xfrm>
              <a:off x="2240044" y="1575454"/>
              <a:ext cx="299" cy="204"/>
            </a:xfrm>
            <a:custGeom>
              <a:avLst/>
              <a:gdLst/>
              <a:ahLst/>
              <a:cxnLst/>
              <a:rect l="l" t="t" r="r" b="b"/>
              <a:pathLst>
                <a:path w="22" h="15" extrusionOk="0">
                  <a:moveTo>
                    <a:pt x="0" y="1"/>
                  </a:moveTo>
                  <a:lnTo>
                    <a:pt x="21" y="15"/>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675" name="Google Shape;4675;p104"/>
            <p:cNvSpPr/>
            <p:nvPr/>
          </p:nvSpPr>
          <p:spPr>
            <a:xfrm>
              <a:off x="2206195" y="1570566"/>
              <a:ext cx="258" cy="109"/>
            </a:xfrm>
            <a:custGeom>
              <a:avLst/>
              <a:gdLst/>
              <a:ahLst/>
              <a:cxnLst/>
              <a:rect l="l" t="t" r="r" b="b"/>
              <a:pathLst>
                <a:path w="19" h="8" extrusionOk="0">
                  <a:moveTo>
                    <a:pt x="1" y="7"/>
                  </a:moveTo>
                  <a:lnTo>
                    <a:pt x="18"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676" name="Google Shape;4676;p104"/>
            <p:cNvSpPr/>
            <p:nvPr/>
          </p:nvSpPr>
          <p:spPr>
            <a:xfrm>
              <a:off x="2208151" y="1569806"/>
              <a:ext cx="204" cy="109"/>
            </a:xfrm>
            <a:custGeom>
              <a:avLst/>
              <a:gdLst/>
              <a:ahLst/>
              <a:cxnLst/>
              <a:rect l="l" t="t" r="r" b="b"/>
              <a:pathLst>
                <a:path w="15" h="8" extrusionOk="0">
                  <a:moveTo>
                    <a:pt x="0" y="7"/>
                  </a:moveTo>
                  <a:lnTo>
                    <a:pt x="14"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677" name="Google Shape;4677;p104"/>
            <p:cNvSpPr/>
            <p:nvPr/>
          </p:nvSpPr>
          <p:spPr>
            <a:xfrm>
              <a:off x="2225109" y="1570036"/>
              <a:ext cx="1914" cy="109"/>
            </a:xfrm>
            <a:custGeom>
              <a:avLst/>
              <a:gdLst/>
              <a:ahLst/>
              <a:cxnLst/>
              <a:rect l="l" t="t" r="r" b="b"/>
              <a:pathLst>
                <a:path w="141" h="8" extrusionOk="0">
                  <a:moveTo>
                    <a:pt x="141" y="1"/>
                  </a:moveTo>
                  <a:cubicBezTo>
                    <a:pt x="92" y="4"/>
                    <a:pt x="46" y="8"/>
                    <a:pt x="1" y="8"/>
                  </a:cubicBezTo>
                  <a:cubicBezTo>
                    <a:pt x="46" y="8"/>
                    <a:pt x="92" y="4"/>
                    <a:pt x="141" y="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678" name="Google Shape;4678;p104"/>
            <p:cNvSpPr/>
            <p:nvPr/>
          </p:nvSpPr>
          <p:spPr>
            <a:xfrm>
              <a:off x="2207526" y="1570091"/>
              <a:ext cx="258" cy="109"/>
            </a:xfrm>
            <a:custGeom>
              <a:avLst/>
              <a:gdLst/>
              <a:ahLst/>
              <a:cxnLst/>
              <a:rect l="l" t="t" r="r" b="b"/>
              <a:pathLst>
                <a:path w="19" h="8" extrusionOk="0">
                  <a:moveTo>
                    <a:pt x="1" y="7"/>
                  </a:moveTo>
                  <a:lnTo>
                    <a:pt x="18"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679" name="Google Shape;4679;p104"/>
            <p:cNvSpPr/>
            <p:nvPr/>
          </p:nvSpPr>
          <p:spPr>
            <a:xfrm>
              <a:off x="2240899" y="1576024"/>
              <a:ext cx="339" cy="204"/>
            </a:xfrm>
            <a:custGeom>
              <a:avLst/>
              <a:gdLst/>
              <a:ahLst/>
              <a:cxnLst/>
              <a:rect l="l" t="t" r="r" b="b"/>
              <a:pathLst>
                <a:path w="25" h="15" extrusionOk="0">
                  <a:moveTo>
                    <a:pt x="0" y="1"/>
                  </a:moveTo>
                  <a:lnTo>
                    <a:pt x="25" y="15"/>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680" name="Google Shape;4680;p104"/>
            <p:cNvSpPr/>
            <p:nvPr/>
          </p:nvSpPr>
          <p:spPr>
            <a:xfrm>
              <a:off x="2206915" y="1570322"/>
              <a:ext cx="244" cy="109"/>
            </a:xfrm>
            <a:custGeom>
              <a:avLst/>
              <a:gdLst/>
              <a:ahLst/>
              <a:cxnLst/>
              <a:rect l="l" t="t" r="r" b="b"/>
              <a:pathLst>
                <a:path w="18" h="8" extrusionOk="0">
                  <a:moveTo>
                    <a:pt x="0" y="8"/>
                  </a:moveTo>
                  <a:lnTo>
                    <a:pt x="18"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681" name="Google Shape;4681;p104"/>
            <p:cNvSpPr/>
            <p:nvPr/>
          </p:nvSpPr>
          <p:spPr>
            <a:xfrm>
              <a:off x="2241755" y="1576554"/>
              <a:ext cx="530" cy="299"/>
            </a:xfrm>
            <a:custGeom>
              <a:avLst/>
              <a:gdLst/>
              <a:ahLst/>
              <a:cxnLst/>
              <a:rect l="l" t="t" r="r" b="b"/>
              <a:pathLst>
                <a:path w="39" h="22" extrusionOk="0">
                  <a:moveTo>
                    <a:pt x="0" y="0"/>
                  </a:moveTo>
                  <a:lnTo>
                    <a:pt x="39" y="2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682" name="Google Shape;4682;p104"/>
            <p:cNvSpPr/>
            <p:nvPr/>
          </p:nvSpPr>
          <p:spPr>
            <a:xfrm>
              <a:off x="2204539" y="1570946"/>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683" name="Google Shape;4683;p104"/>
            <p:cNvSpPr/>
            <p:nvPr/>
          </p:nvSpPr>
          <p:spPr>
            <a:xfrm>
              <a:off x="2229345" y="1569466"/>
              <a:ext cx="1018" cy="543"/>
            </a:xfrm>
            <a:custGeom>
              <a:avLst/>
              <a:gdLst/>
              <a:ahLst/>
              <a:cxnLst/>
              <a:rect l="l" t="t" r="r" b="b"/>
              <a:pathLst>
                <a:path w="75" h="40" extrusionOk="0">
                  <a:moveTo>
                    <a:pt x="74" y="39"/>
                  </a:moveTo>
                  <a:cubicBezTo>
                    <a:pt x="57" y="15"/>
                    <a:pt x="29" y="1"/>
                    <a:pt x="1" y="1"/>
                  </a:cubicBezTo>
                  <a:cubicBezTo>
                    <a:pt x="29" y="1"/>
                    <a:pt x="57" y="15"/>
                    <a:pt x="74" y="39"/>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684" name="Google Shape;4684;p104"/>
            <p:cNvSpPr/>
            <p:nvPr/>
          </p:nvSpPr>
          <p:spPr>
            <a:xfrm>
              <a:off x="2205394" y="1570756"/>
              <a:ext cx="244" cy="54"/>
            </a:xfrm>
            <a:custGeom>
              <a:avLst/>
              <a:gdLst/>
              <a:ahLst/>
              <a:cxnLst/>
              <a:rect l="l" t="t" r="r" b="b"/>
              <a:pathLst>
                <a:path w="18" h="4" extrusionOk="0">
                  <a:moveTo>
                    <a:pt x="0" y="4"/>
                  </a:moveTo>
                  <a:lnTo>
                    <a:pt x="18"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685" name="Google Shape;4685;p104"/>
            <p:cNvSpPr/>
            <p:nvPr/>
          </p:nvSpPr>
          <p:spPr>
            <a:xfrm>
              <a:off x="2095783" y="1657326"/>
              <a:ext cx="30481" cy="15641"/>
            </a:xfrm>
            <a:custGeom>
              <a:avLst/>
              <a:gdLst/>
              <a:ahLst/>
              <a:cxnLst/>
              <a:rect l="l" t="t" r="r" b="b"/>
              <a:pathLst>
                <a:path w="2245" h="1152" extrusionOk="0">
                  <a:moveTo>
                    <a:pt x="1318" y="1"/>
                  </a:moveTo>
                  <a:cubicBezTo>
                    <a:pt x="1265" y="1"/>
                    <a:pt x="1219" y="15"/>
                    <a:pt x="1159" y="45"/>
                  </a:cubicBezTo>
                  <a:lnTo>
                    <a:pt x="1155" y="48"/>
                  </a:lnTo>
                  <a:lnTo>
                    <a:pt x="1148" y="48"/>
                  </a:lnTo>
                  <a:lnTo>
                    <a:pt x="1138" y="52"/>
                  </a:lnTo>
                  <a:lnTo>
                    <a:pt x="1127" y="55"/>
                  </a:lnTo>
                  <a:lnTo>
                    <a:pt x="1124" y="55"/>
                  </a:lnTo>
                  <a:lnTo>
                    <a:pt x="1113" y="59"/>
                  </a:lnTo>
                  <a:lnTo>
                    <a:pt x="1106" y="59"/>
                  </a:lnTo>
                  <a:lnTo>
                    <a:pt x="1096" y="62"/>
                  </a:lnTo>
                  <a:lnTo>
                    <a:pt x="1089" y="62"/>
                  </a:lnTo>
                  <a:lnTo>
                    <a:pt x="1075" y="66"/>
                  </a:lnTo>
                  <a:lnTo>
                    <a:pt x="714" y="66"/>
                  </a:lnTo>
                  <a:cubicBezTo>
                    <a:pt x="697" y="104"/>
                    <a:pt x="658" y="132"/>
                    <a:pt x="613" y="139"/>
                  </a:cubicBezTo>
                  <a:lnTo>
                    <a:pt x="595" y="139"/>
                  </a:lnTo>
                  <a:cubicBezTo>
                    <a:pt x="494" y="153"/>
                    <a:pt x="413" y="220"/>
                    <a:pt x="382" y="318"/>
                  </a:cubicBezTo>
                  <a:cubicBezTo>
                    <a:pt x="364" y="395"/>
                    <a:pt x="301" y="447"/>
                    <a:pt x="228" y="514"/>
                  </a:cubicBezTo>
                  <a:lnTo>
                    <a:pt x="196" y="542"/>
                  </a:lnTo>
                  <a:cubicBezTo>
                    <a:pt x="123" y="598"/>
                    <a:pt x="63" y="675"/>
                    <a:pt x="28" y="763"/>
                  </a:cubicBezTo>
                  <a:cubicBezTo>
                    <a:pt x="14" y="798"/>
                    <a:pt x="7" y="833"/>
                    <a:pt x="0" y="868"/>
                  </a:cubicBezTo>
                  <a:cubicBezTo>
                    <a:pt x="7" y="857"/>
                    <a:pt x="18" y="850"/>
                    <a:pt x="28" y="840"/>
                  </a:cubicBezTo>
                  <a:lnTo>
                    <a:pt x="35" y="833"/>
                  </a:lnTo>
                  <a:cubicBezTo>
                    <a:pt x="42" y="829"/>
                    <a:pt x="49" y="822"/>
                    <a:pt x="56" y="819"/>
                  </a:cubicBezTo>
                  <a:lnTo>
                    <a:pt x="63" y="812"/>
                  </a:lnTo>
                  <a:cubicBezTo>
                    <a:pt x="74" y="805"/>
                    <a:pt x="84" y="801"/>
                    <a:pt x="91" y="798"/>
                  </a:cubicBezTo>
                  <a:lnTo>
                    <a:pt x="98" y="794"/>
                  </a:lnTo>
                  <a:cubicBezTo>
                    <a:pt x="105" y="791"/>
                    <a:pt x="112" y="787"/>
                    <a:pt x="123" y="787"/>
                  </a:cubicBezTo>
                  <a:lnTo>
                    <a:pt x="130" y="784"/>
                  </a:lnTo>
                  <a:cubicBezTo>
                    <a:pt x="137" y="784"/>
                    <a:pt x="144" y="780"/>
                    <a:pt x="154" y="780"/>
                  </a:cubicBezTo>
                  <a:lnTo>
                    <a:pt x="210" y="780"/>
                  </a:lnTo>
                  <a:cubicBezTo>
                    <a:pt x="221" y="780"/>
                    <a:pt x="228" y="784"/>
                    <a:pt x="238" y="787"/>
                  </a:cubicBezTo>
                  <a:cubicBezTo>
                    <a:pt x="305" y="812"/>
                    <a:pt x="347" y="875"/>
                    <a:pt x="347" y="948"/>
                  </a:cubicBezTo>
                  <a:cubicBezTo>
                    <a:pt x="347" y="966"/>
                    <a:pt x="357" y="980"/>
                    <a:pt x="382" y="1008"/>
                  </a:cubicBezTo>
                  <a:lnTo>
                    <a:pt x="396" y="1022"/>
                  </a:lnTo>
                  <a:lnTo>
                    <a:pt x="399" y="1025"/>
                  </a:lnTo>
                  <a:lnTo>
                    <a:pt x="410" y="1039"/>
                  </a:lnTo>
                  <a:lnTo>
                    <a:pt x="413" y="1046"/>
                  </a:lnTo>
                  <a:cubicBezTo>
                    <a:pt x="417" y="1050"/>
                    <a:pt x="424" y="1057"/>
                    <a:pt x="427" y="1064"/>
                  </a:cubicBezTo>
                  <a:lnTo>
                    <a:pt x="427" y="1067"/>
                  </a:lnTo>
                  <a:cubicBezTo>
                    <a:pt x="431" y="1074"/>
                    <a:pt x="434" y="1081"/>
                    <a:pt x="438" y="1088"/>
                  </a:cubicBezTo>
                  <a:lnTo>
                    <a:pt x="441" y="1095"/>
                  </a:lnTo>
                  <a:cubicBezTo>
                    <a:pt x="441" y="1102"/>
                    <a:pt x="445" y="1109"/>
                    <a:pt x="445" y="1116"/>
                  </a:cubicBezTo>
                  <a:lnTo>
                    <a:pt x="445" y="1123"/>
                  </a:lnTo>
                  <a:cubicBezTo>
                    <a:pt x="448" y="1130"/>
                    <a:pt x="448" y="1141"/>
                    <a:pt x="448" y="1151"/>
                  </a:cubicBezTo>
                  <a:lnTo>
                    <a:pt x="553" y="1141"/>
                  </a:lnTo>
                  <a:lnTo>
                    <a:pt x="585" y="1141"/>
                  </a:lnTo>
                  <a:lnTo>
                    <a:pt x="655" y="1137"/>
                  </a:lnTo>
                  <a:lnTo>
                    <a:pt x="837" y="1137"/>
                  </a:lnTo>
                  <a:cubicBezTo>
                    <a:pt x="875" y="1127"/>
                    <a:pt x="952" y="969"/>
                    <a:pt x="980" y="910"/>
                  </a:cubicBezTo>
                  <a:cubicBezTo>
                    <a:pt x="1026" y="822"/>
                    <a:pt x="1043" y="780"/>
                    <a:pt x="1075" y="759"/>
                  </a:cubicBezTo>
                  <a:cubicBezTo>
                    <a:pt x="1088" y="751"/>
                    <a:pt x="1104" y="746"/>
                    <a:pt x="1120" y="746"/>
                  </a:cubicBezTo>
                  <a:cubicBezTo>
                    <a:pt x="1126" y="746"/>
                    <a:pt x="1132" y="747"/>
                    <a:pt x="1138" y="749"/>
                  </a:cubicBezTo>
                  <a:cubicBezTo>
                    <a:pt x="1187" y="759"/>
                    <a:pt x="1225" y="812"/>
                    <a:pt x="1299" y="924"/>
                  </a:cubicBezTo>
                  <a:cubicBezTo>
                    <a:pt x="1344" y="1001"/>
                    <a:pt x="1400" y="1071"/>
                    <a:pt x="1463" y="1134"/>
                  </a:cubicBezTo>
                  <a:cubicBezTo>
                    <a:pt x="1467" y="1141"/>
                    <a:pt x="1470" y="1144"/>
                    <a:pt x="1477" y="1148"/>
                  </a:cubicBezTo>
                  <a:cubicBezTo>
                    <a:pt x="1495" y="1095"/>
                    <a:pt x="1502" y="1043"/>
                    <a:pt x="1499" y="990"/>
                  </a:cubicBezTo>
                  <a:cubicBezTo>
                    <a:pt x="1499" y="938"/>
                    <a:pt x="1523" y="892"/>
                    <a:pt x="1562" y="861"/>
                  </a:cubicBezTo>
                  <a:cubicBezTo>
                    <a:pt x="1606" y="827"/>
                    <a:pt x="1660" y="808"/>
                    <a:pt x="1715" y="808"/>
                  </a:cubicBezTo>
                  <a:cubicBezTo>
                    <a:pt x="1734" y="808"/>
                    <a:pt x="1753" y="811"/>
                    <a:pt x="1772" y="815"/>
                  </a:cubicBezTo>
                  <a:cubicBezTo>
                    <a:pt x="1830" y="827"/>
                    <a:pt x="1871" y="831"/>
                    <a:pt x="1898" y="831"/>
                  </a:cubicBezTo>
                  <a:cubicBezTo>
                    <a:pt x="1940" y="831"/>
                    <a:pt x="1950" y="822"/>
                    <a:pt x="1950" y="822"/>
                  </a:cubicBezTo>
                  <a:cubicBezTo>
                    <a:pt x="1950" y="819"/>
                    <a:pt x="1950" y="815"/>
                    <a:pt x="1950" y="815"/>
                  </a:cubicBezTo>
                  <a:cubicBezTo>
                    <a:pt x="1950" y="773"/>
                    <a:pt x="1964" y="731"/>
                    <a:pt x="1996" y="703"/>
                  </a:cubicBezTo>
                  <a:cubicBezTo>
                    <a:pt x="2025" y="683"/>
                    <a:pt x="2060" y="672"/>
                    <a:pt x="2096" y="672"/>
                  </a:cubicBezTo>
                  <a:cubicBezTo>
                    <a:pt x="2111" y="672"/>
                    <a:pt x="2127" y="674"/>
                    <a:pt x="2143" y="679"/>
                  </a:cubicBezTo>
                  <a:cubicBezTo>
                    <a:pt x="2153" y="679"/>
                    <a:pt x="2164" y="682"/>
                    <a:pt x="2171" y="686"/>
                  </a:cubicBezTo>
                  <a:cubicBezTo>
                    <a:pt x="2185" y="661"/>
                    <a:pt x="2192" y="637"/>
                    <a:pt x="2195" y="612"/>
                  </a:cubicBezTo>
                  <a:lnTo>
                    <a:pt x="2199" y="587"/>
                  </a:lnTo>
                  <a:lnTo>
                    <a:pt x="2244" y="545"/>
                  </a:lnTo>
                  <a:lnTo>
                    <a:pt x="2244" y="538"/>
                  </a:lnTo>
                  <a:cubicBezTo>
                    <a:pt x="2234" y="535"/>
                    <a:pt x="2223" y="535"/>
                    <a:pt x="2213" y="531"/>
                  </a:cubicBezTo>
                  <a:lnTo>
                    <a:pt x="2150" y="531"/>
                  </a:lnTo>
                  <a:cubicBezTo>
                    <a:pt x="2139" y="535"/>
                    <a:pt x="2132" y="535"/>
                    <a:pt x="2122" y="542"/>
                  </a:cubicBezTo>
                  <a:lnTo>
                    <a:pt x="2115" y="545"/>
                  </a:lnTo>
                  <a:cubicBezTo>
                    <a:pt x="2094" y="553"/>
                    <a:pt x="2071" y="557"/>
                    <a:pt x="2047" y="557"/>
                  </a:cubicBezTo>
                  <a:cubicBezTo>
                    <a:pt x="1995" y="557"/>
                    <a:pt x="1938" y="538"/>
                    <a:pt x="1880" y="500"/>
                  </a:cubicBezTo>
                  <a:cubicBezTo>
                    <a:pt x="1859" y="486"/>
                    <a:pt x="1751" y="412"/>
                    <a:pt x="1751" y="335"/>
                  </a:cubicBezTo>
                  <a:cubicBezTo>
                    <a:pt x="1751" y="328"/>
                    <a:pt x="1751" y="318"/>
                    <a:pt x="1747" y="304"/>
                  </a:cubicBezTo>
                  <a:cubicBezTo>
                    <a:pt x="1740" y="248"/>
                    <a:pt x="1740" y="195"/>
                    <a:pt x="1744" y="143"/>
                  </a:cubicBezTo>
                  <a:lnTo>
                    <a:pt x="1730" y="136"/>
                  </a:lnTo>
                  <a:lnTo>
                    <a:pt x="1702" y="122"/>
                  </a:lnTo>
                  <a:lnTo>
                    <a:pt x="1684" y="115"/>
                  </a:lnTo>
                  <a:lnTo>
                    <a:pt x="1660" y="104"/>
                  </a:lnTo>
                  <a:lnTo>
                    <a:pt x="1646" y="94"/>
                  </a:lnTo>
                  <a:lnTo>
                    <a:pt x="1625" y="87"/>
                  </a:lnTo>
                  <a:lnTo>
                    <a:pt x="1607" y="80"/>
                  </a:lnTo>
                  <a:lnTo>
                    <a:pt x="1586" y="69"/>
                  </a:lnTo>
                  <a:lnTo>
                    <a:pt x="1572" y="62"/>
                  </a:lnTo>
                  <a:lnTo>
                    <a:pt x="1555" y="55"/>
                  </a:lnTo>
                  <a:lnTo>
                    <a:pt x="1541" y="52"/>
                  </a:lnTo>
                  <a:lnTo>
                    <a:pt x="1520" y="45"/>
                  </a:lnTo>
                  <a:lnTo>
                    <a:pt x="1509" y="41"/>
                  </a:lnTo>
                  <a:lnTo>
                    <a:pt x="1484" y="31"/>
                  </a:lnTo>
                  <a:cubicBezTo>
                    <a:pt x="1415" y="11"/>
                    <a:pt x="1364" y="1"/>
                    <a:pt x="1318" y="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686" name="Google Shape;4686;p104"/>
            <p:cNvSpPr/>
            <p:nvPr/>
          </p:nvSpPr>
          <p:spPr>
            <a:xfrm>
              <a:off x="2124445" y="1664672"/>
              <a:ext cx="149" cy="68"/>
            </a:xfrm>
            <a:custGeom>
              <a:avLst/>
              <a:gdLst/>
              <a:ahLst/>
              <a:cxnLst/>
              <a:rect l="l" t="t" r="r" b="b"/>
              <a:pathLst>
                <a:path w="11" h="5" extrusionOk="0">
                  <a:moveTo>
                    <a:pt x="11"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687" name="Google Shape;4687;p104"/>
            <p:cNvSpPr/>
            <p:nvPr/>
          </p:nvSpPr>
          <p:spPr>
            <a:xfrm>
              <a:off x="2126292" y="1664631"/>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688" name="Google Shape;4688;p104"/>
            <p:cNvSpPr/>
            <p:nvPr/>
          </p:nvSpPr>
          <p:spPr>
            <a:xfrm>
              <a:off x="2119422" y="1659349"/>
              <a:ext cx="136" cy="2539"/>
            </a:xfrm>
            <a:custGeom>
              <a:avLst/>
              <a:gdLst/>
              <a:ahLst/>
              <a:cxnLst/>
              <a:rect l="l" t="t" r="r" b="b"/>
              <a:pathLst>
                <a:path w="10" h="187" extrusionOk="0">
                  <a:moveTo>
                    <a:pt x="2" y="0"/>
                  </a:moveTo>
                  <a:cubicBezTo>
                    <a:pt x="1" y="20"/>
                    <a:pt x="0" y="40"/>
                    <a:pt x="0" y="59"/>
                  </a:cubicBezTo>
                  <a:lnTo>
                    <a:pt x="0" y="59"/>
                  </a:lnTo>
                  <a:cubicBezTo>
                    <a:pt x="0" y="40"/>
                    <a:pt x="1" y="20"/>
                    <a:pt x="2" y="0"/>
                  </a:cubicBezTo>
                  <a:close/>
                  <a:moveTo>
                    <a:pt x="0" y="59"/>
                  </a:moveTo>
                  <a:lnTo>
                    <a:pt x="0" y="59"/>
                  </a:lnTo>
                  <a:cubicBezTo>
                    <a:pt x="0" y="90"/>
                    <a:pt x="2" y="122"/>
                    <a:pt x="6" y="155"/>
                  </a:cubicBezTo>
                  <a:cubicBezTo>
                    <a:pt x="6" y="155"/>
                    <a:pt x="6" y="155"/>
                    <a:pt x="6" y="155"/>
                  </a:cubicBezTo>
                  <a:lnTo>
                    <a:pt x="6" y="155"/>
                  </a:lnTo>
                  <a:cubicBezTo>
                    <a:pt x="6" y="154"/>
                    <a:pt x="6" y="153"/>
                    <a:pt x="6" y="151"/>
                  </a:cubicBezTo>
                  <a:cubicBezTo>
                    <a:pt x="2" y="121"/>
                    <a:pt x="0" y="90"/>
                    <a:pt x="0" y="59"/>
                  </a:cubicBezTo>
                  <a:close/>
                  <a:moveTo>
                    <a:pt x="6" y="155"/>
                  </a:moveTo>
                  <a:cubicBezTo>
                    <a:pt x="7" y="170"/>
                    <a:pt x="10" y="180"/>
                    <a:pt x="10" y="186"/>
                  </a:cubicBezTo>
                  <a:cubicBezTo>
                    <a:pt x="10" y="179"/>
                    <a:pt x="10" y="169"/>
                    <a:pt x="6" y="155"/>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689" name="Google Shape;4689;p104"/>
            <p:cNvSpPr/>
            <p:nvPr/>
          </p:nvSpPr>
          <p:spPr>
            <a:xfrm>
              <a:off x="2125681" y="1664536"/>
              <a:ext cx="149" cy="14"/>
            </a:xfrm>
            <a:custGeom>
              <a:avLst/>
              <a:gdLst/>
              <a:ahLst/>
              <a:cxnLst/>
              <a:rect l="l" t="t" r="r" b="b"/>
              <a:pathLst>
                <a:path w="11" h="1" extrusionOk="0">
                  <a:moveTo>
                    <a:pt x="0" y="0"/>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690" name="Google Shape;4690;p104"/>
            <p:cNvSpPr/>
            <p:nvPr/>
          </p:nvSpPr>
          <p:spPr>
            <a:xfrm>
              <a:off x="2125206" y="1664536"/>
              <a:ext cx="204" cy="14"/>
            </a:xfrm>
            <a:custGeom>
              <a:avLst/>
              <a:gdLst/>
              <a:ahLst/>
              <a:cxnLst/>
              <a:rect l="l" t="t" r="r" b="b"/>
              <a:pathLst>
                <a:path w="15" h="1" extrusionOk="0">
                  <a:moveTo>
                    <a:pt x="0" y="0"/>
                  </a:moveTo>
                  <a:lnTo>
                    <a:pt x="14"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691" name="Google Shape;4691;p104"/>
            <p:cNvSpPr/>
            <p:nvPr/>
          </p:nvSpPr>
          <p:spPr>
            <a:xfrm>
              <a:off x="2124581" y="1664536"/>
              <a:ext cx="394" cy="149"/>
            </a:xfrm>
            <a:custGeom>
              <a:avLst/>
              <a:gdLst/>
              <a:ahLst/>
              <a:cxnLst/>
              <a:rect l="l" t="t" r="r" b="b"/>
              <a:pathLst>
                <a:path w="29" h="11" extrusionOk="0">
                  <a:moveTo>
                    <a:pt x="1" y="11"/>
                  </a:moveTo>
                  <a:cubicBezTo>
                    <a:pt x="11" y="4"/>
                    <a:pt x="18" y="4"/>
                    <a:pt x="29" y="0"/>
                  </a:cubicBezTo>
                  <a:cubicBezTo>
                    <a:pt x="18" y="4"/>
                    <a:pt x="11" y="4"/>
                    <a:pt x="1" y="1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692" name="Google Shape;4692;p104"/>
            <p:cNvSpPr/>
            <p:nvPr/>
          </p:nvSpPr>
          <p:spPr>
            <a:xfrm>
              <a:off x="2094588" y="1586533"/>
              <a:ext cx="64181" cy="72259"/>
            </a:xfrm>
            <a:custGeom>
              <a:avLst/>
              <a:gdLst/>
              <a:ahLst/>
              <a:cxnLst/>
              <a:rect l="l" t="t" r="r" b="b"/>
              <a:pathLst>
                <a:path w="4727" h="5322" extrusionOk="0">
                  <a:moveTo>
                    <a:pt x="1488" y="1"/>
                  </a:moveTo>
                  <a:cubicBezTo>
                    <a:pt x="1534" y="74"/>
                    <a:pt x="1555" y="151"/>
                    <a:pt x="1516" y="221"/>
                  </a:cubicBezTo>
                  <a:cubicBezTo>
                    <a:pt x="1478" y="291"/>
                    <a:pt x="1516" y="372"/>
                    <a:pt x="1597" y="508"/>
                  </a:cubicBezTo>
                  <a:cubicBezTo>
                    <a:pt x="1618" y="547"/>
                    <a:pt x="1643" y="585"/>
                    <a:pt x="1664" y="627"/>
                  </a:cubicBezTo>
                  <a:cubicBezTo>
                    <a:pt x="1692" y="673"/>
                    <a:pt x="1699" y="729"/>
                    <a:pt x="1678" y="778"/>
                  </a:cubicBezTo>
                  <a:cubicBezTo>
                    <a:pt x="1646" y="841"/>
                    <a:pt x="1576" y="855"/>
                    <a:pt x="1513" y="865"/>
                  </a:cubicBezTo>
                  <a:cubicBezTo>
                    <a:pt x="1485" y="865"/>
                    <a:pt x="1460" y="872"/>
                    <a:pt x="1436" y="883"/>
                  </a:cubicBezTo>
                  <a:cubicBezTo>
                    <a:pt x="1432" y="921"/>
                    <a:pt x="1411" y="956"/>
                    <a:pt x="1376" y="977"/>
                  </a:cubicBezTo>
                  <a:cubicBezTo>
                    <a:pt x="1356" y="989"/>
                    <a:pt x="1329" y="995"/>
                    <a:pt x="1295" y="995"/>
                  </a:cubicBezTo>
                  <a:cubicBezTo>
                    <a:pt x="1212" y="995"/>
                    <a:pt x="1091" y="957"/>
                    <a:pt x="935" y="879"/>
                  </a:cubicBezTo>
                  <a:cubicBezTo>
                    <a:pt x="913" y="868"/>
                    <a:pt x="872" y="863"/>
                    <a:pt x="825" y="863"/>
                  </a:cubicBezTo>
                  <a:cubicBezTo>
                    <a:pt x="746" y="863"/>
                    <a:pt x="653" y="877"/>
                    <a:pt x="620" y="897"/>
                  </a:cubicBezTo>
                  <a:cubicBezTo>
                    <a:pt x="620" y="932"/>
                    <a:pt x="617" y="967"/>
                    <a:pt x="606" y="1002"/>
                  </a:cubicBezTo>
                  <a:cubicBezTo>
                    <a:pt x="610" y="1012"/>
                    <a:pt x="610" y="1019"/>
                    <a:pt x="613" y="1030"/>
                  </a:cubicBezTo>
                  <a:cubicBezTo>
                    <a:pt x="617" y="1040"/>
                    <a:pt x="620" y="1054"/>
                    <a:pt x="620" y="1065"/>
                  </a:cubicBezTo>
                  <a:cubicBezTo>
                    <a:pt x="624" y="1075"/>
                    <a:pt x="627" y="1089"/>
                    <a:pt x="627" y="1100"/>
                  </a:cubicBezTo>
                  <a:cubicBezTo>
                    <a:pt x="631" y="1114"/>
                    <a:pt x="634" y="1121"/>
                    <a:pt x="634" y="1131"/>
                  </a:cubicBezTo>
                  <a:cubicBezTo>
                    <a:pt x="638" y="1138"/>
                    <a:pt x="638" y="1152"/>
                    <a:pt x="641" y="1166"/>
                  </a:cubicBezTo>
                  <a:cubicBezTo>
                    <a:pt x="641" y="1177"/>
                    <a:pt x="641" y="1184"/>
                    <a:pt x="641" y="1191"/>
                  </a:cubicBezTo>
                  <a:cubicBezTo>
                    <a:pt x="645" y="1198"/>
                    <a:pt x="641" y="1212"/>
                    <a:pt x="641" y="1222"/>
                  </a:cubicBezTo>
                  <a:lnTo>
                    <a:pt x="641" y="1243"/>
                  </a:lnTo>
                  <a:lnTo>
                    <a:pt x="641" y="1275"/>
                  </a:lnTo>
                  <a:lnTo>
                    <a:pt x="641" y="1292"/>
                  </a:lnTo>
                  <a:cubicBezTo>
                    <a:pt x="641" y="1299"/>
                    <a:pt x="641" y="1313"/>
                    <a:pt x="638" y="1320"/>
                  </a:cubicBezTo>
                  <a:cubicBezTo>
                    <a:pt x="638" y="1331"/>
                    <a:pt x="638" y="1331"/>
                    <a:pt x="634" y="1338"/>
                  </a:cubicBezTo>
                  <a:cubicBezTo>
                    <a:pt x="634" y="1345"/>
                    <a:pt x="631" y="1355"/>
                    <a:pt x="627" y="1362"/>
                  </a:cubicBezTo>
                  <a:cubicBezTo>
                    <a:pt x="627" y="1366"/>
                    <a:pt x="624" y="1369"/>
                    <a:pt x="624" y="1373"/>
                  </a:cubicBezTo>
                  <a:cubicBezTo>
                    <a:pt x="620" y="1387"/>
                    <a:pt x="613" y="1397"/>
                    <a:pt x="606" y="1408"/>
                  </a:cubicBezTo>
                  <a:cubicBezTo>
                    <a:pt x="550" y="1488"/>
                    <a:pt x="477" y="1558"/>
                    <a:pt x="389" y="1607"/>
                  </a:cubicBezTo>
                  <a:lnTo>
                    <a:pt x="365" y="1625"/>
                  </a:lnTo>
                  <a:lnTo>
                    <a:pt x="361" y="1625"/>
                  </a:lnTo>
                  <a:lnTo>
                    <a:pt x="372" y="1639"/>
                  </a:lnTo>
                  <a:cubicBezTo>
                    <a:pt x="456" y="1727"/>
                    <a:pt x="571" y="1849"/>
                    <a:pt x="512" y="1954"/>
                  </a:cubicBezTo>
                  <a:cubicBezTo>
                    <a:pt x="491" y="1986"/>
                    <a:pt x="463" y="2014"/>
                    <a:pt x="431" y="2031"/>
                  </a:cubicBezTo>
                  <a:cubicBezTo>
                    <a:pt x="410" y="2042"/>
                    <a:pt x="407" y="2045"/>
                    <a:pt x="407" y="2098"/>
                  </a:cubicBezTo>
                  <a:cubicBezTo>
                    <a:pt x="407" y="2231"/>
                    <a:pt x="291" y="2301"/>
                    <a:pt x="67" y="2308"/>
                  </a:cubicBezTo>
                  <a:lnTo>
                    <a:pt x="71" y="2329"/>
                  </a:lnTo>
                  <a:cubicBezTo>
                    <a:pt x="88" y="2395"/>
                    <a:pt x="85" y="2465"/>
                    <a:pt x="60" y="2528"/>
                  </a:cubicBezTo>
                  <a:cubicBezTo>
                    <a:pt x="57" y="2539"/>
                    <a:pt x="53" y="2553"/>
                    <a:pt x="50" y="2563"/>
                  </a:cubicBezTo>
                  <a:cubicBezTo>
                    <a:pt x="29" y="2647"/>
                    <a:pt x="18" y="2735"/>
                    <a:pt x="15" y="2822"/>
                  </a:cubicBezTo>
                  <a:cubicBezTo>
                    <a:pt x="15" y="2850"/>
                    <a:pt x="8" y="2896"/>
                    <a:pt x="4" y="2927"/>
                  </a:cubicBezTo>
                  <a:cubicBezTo>
                    <a:pt x="1" y="2955"/>
                    <a:pt x="46" y="3022"/>
                    <a:pt x="71" y="3064"/>
                  </a:cubicBezTo>
                  <a:cubicBezTo>
                    <a:pt x="120" y="3137"/>
                    <a:pt x="162" y="3204"/>
                    <a:pt x="148" y="3270"/>
                  </a:cubicBezTo>
                  <a:cubicBezTo>
                    <a:pt x="134" y="3319"/>
                    <a:pt x="106" y="3365"/>
                    <a:pt x="71" y="3400"/>
                  </a:cubicBezTo>
                  <a:lnTo>
                    <a:pt x="50" y="3421"/>
                  </a:lnTo>
                  <a:lnTo>
                    <a:pt x="46" y="3428"/>
                  </a:lnTo>
                  <a:cubicBezTo>
                    <a:pt x="43" y="3431"/>
                    <a:pt x="39" y="3438"/>
                    <a:pt x="36" y="3442"/>
                  </a:cubicBezTo>
                  <a:lnTo>
                    <a:pt x="43" y="3456"/>
                  </a:lnTo>
                  <a:lnTo>
                    <a:pt x="53" y="3473"/>
                  </a:lnTo>
                  <a:lnTo>
                    <a:pt x="71" y="3494"/>
                  </a:lnTo>
                  <a:lnTo>
                    <a:pt x="74" y="3501"/>
                  </a:lnTo>
                  <a:lnTo>
                    <a:pt x="78" y="3508"/>
                  </a:lnTo>
                  <a:lnTo>
                    <a:pt x="85" y="3515"/>
                  </a:lnTo>
                  <a:lnTo>
                    <a:pt x="88" y="3526"/>
                  </a:lnTo>
                  <a:lnTo>
                    <a:pt x="95" y="3533"/>
                  </a:lnTo>
                  <a:lnTo>
                    <a:pt x="102" y="3543"/>
                  </a:lnTo>
                  <a:lnTo>
                    <a:pt x="106" y="3554"/>
                  </a:lnTo>
                  <a:lnTo>
                    <a:pt x="113" y="3561"/>
                  </a:lnTo>
                  <a:lnTo>
                    <a:pt x="120" y="3575"/>
                  </a:lnTo>
                  <a:lnTo>
                    <a:pt x="123" y="3585"/>
                  </a:lnTo>
                  <a:lnTo>
                    <a:pt x="130" y="3596"/>
                  </a:lnTo>
                  <a:lnTo>
                    <a:pt x="134" y="3606"/>
                  </a:lnTo>
                  <a:lnTo>
                    <a:pt x="141" y="3620"/>
                  </a:lnTo>
                  <a:lnTo>
                    <a:pt x="144" y="3631"/>
                  </a:lnTo>
                  <a:lnTo>
                    <a:pt x="151" y="3645"/>
                  </a:lnTo>
                  <a:lnTo>
                    <a:pt x="158" y="3659"/>
                  </a:lnTo>
                  <a:lnTo>
                    <a:pt x="162" y="3673"/>
                  </a:lnTo>
                  <a:lnTo>
                    <a:pt x="165" y="3687"/>
                  </a:lnTo>
                  <a:lnTo>
                    <a:pt x="172" y="3704"/>
                  </a:lnTo>
                  <a:lnTo>
                    <a:pt x="176" y="3718"/>
                  </a:lnTo>
                  <a:lnTo>
                    <a:pt x="183" y="3739"/>
                  </a:lnTo>
                  <a:lnTo>
                    <a:pt x="186" y="3753"/>
                  </a:lnTo>
                  <a:cubicBezTo>
                    <a:pt x="186" y="3761"/>
                    <a:pt x="190" y="3768"/>
                    <a:pt x="190" y="3775"/>
                  </a:cubicBezTo>
                  <a:lnTo>
                    <a:pt x="193" y="3789"/>
                  </a:lnTo>
                  <a:cubicBezTo>
                    <a:pt x="193" y="3796"/>
                    <a:pt x="197" y="3806"/>
                    <a:pt x="197" y="3813"/>
                  </a:cubicBezTo>
                  <a:lnTo>
                    <a:pt x="200" y="3827"/>
                  </a:lnTo>
                  <a:cubicBezTo>
                    <a:pt x="200" y="3838"/>
                    <a:pt x="204" y="3848"/>
                    <a:pt x="204" y="3859"/>
                  </a:cubicBezTo>
                  <a:lnTo>
                    <a:pt x="204" y="3869"/>
                  </a:lnTo>
                  <a:lnTo>
                    <a:pt x="228" y="3880"/>
                  </a:lnTo>
                  <a:lnTo>
                    <a:pt x="235" y="3883"/>
                  </a:lnTo>
                  <a:cubicBezTo>
                    <a:pt x="267" y="3894"/>
                    <a:pt x="295" y="3915"/>
                    <a:pt x="319" y="3943"/>
                  </a:cubicBezTo>
                  <a:cubicBezTo>
                    <a:pt x="375" y="4020"/>
                    <a:pt x="463" y="4069"/>
                    <a:pt x="557" y="4083"/>
                  </a:cubicBezTo>
                  <a:cubicBezTo>
                    <a:pt x="578" y="4086"/>
                    <a:pt x="596" y="4086"/>
                    <a:pt x="617" y="4086"/>
                  </a:cubicBezTo>
                  <a:cubicBezTo>
                    <a:pt x="697" y="4086"/>
                    <a:pt x="778" y="4114"/>
                    <a:pt x="844" y="4160"/>
                  </a:cubicBezTo>
                  <a:cubicBezTo>
                    <a:pt x="862" y="4170"/>
                    <a:pt x="879" y="4181"/>
                    <a:pt x="897" y="4184"/>
                  </a:cubicBezTo>
                  <a:cubicBezTo>
                    <a:pt x="905" y="4183"/>
                    <a:pt x="915" y="4182"/>
                    <a:pt x="925" y="4182"/>
                  </a:cubicBezTo>
                  <a:cubicBezTo>
                    <a:pt x="993" y="4182"/>
                    <a:pt x="1098" y="4213"/>
                    <a:pt x="1131" y="4286"/>
                  </a:cubicBezTo>
                  <a:cubicBezTo>
                    <a:pt x="1149" y="4324"/>
                    <a:pt x="1163" y="4398"/>
                    <a:pt x="1058" y="4482"/>
                  </a:cubicBezTo>
                  <a:cubicBezTo>
                    <a:pt x="932" y="4590"/>
                    <a:pt x="904" y="4713"/>
                    <a:pt x="872" y="4856"/>
                  </a:cubicBezTo>
                  <a:lnTo>
                    <a:pt x="862" y="4895"/>
                  </a:lnTo>
                  <a:cubicBezTo>
                    <a:pt x="851" y="4947"/>
                    <a:pt x="844" y="4996"/>
                    <a:pt x="841" y="5049"/>
                  </a:cubicBezTo>
                  <a:cubicBezTo>
                    <a:pt x="841" y="5084"/>
                    <a:pt x="837" y="5119"/>
                    <a:pt x="830" y="5154"/>
                  </a:cubicBezTo>
                  <a:lnTo>
                    <a:pt x="1184" y="5154"/>
                  </a:lnTo>
                  <a:cubicBezTo>
                    <a:pt x="1265" y="5113"/>
                    <a:pt x="1333" y="5096"/>
                    <a:pt x="1402" y="5096"/>
                  </a:cubicBezTo>
                  <a:cubicBezTo>
                    <a:pt x="1464" y="5096"/>
                    <a:pt x="1528" y="5110"/>
                    <a:pt x="1604" y="5133"/>
                  </a:cubicBezTo>
                  <a:cubicBezTo>
                    <a:pt x="1618" y="5136"/>
                    <a:pt x="1636" y="5143"/>
                    <a:pt x="1653" y="5150"/>
                  </a:cubicBezTo>
                  <a:lnTo>
                    <a:pt x="1664" y="5154"/>
                  </a:lnTo>
                  <a:lnTo>
                    <a:pt x="1716" y="5175"/>
                  </a:lnTo>
                  <a:lnTo>
                    <a:pt x="1730" y="5178"/>
                  </a:lnTo>
                  <a:lnTo>
                    <a:pt x="1793" y="5206"/>
                  </a:lnTo>
                  <a:lnTo>
                    <a:pt x="1800" y="5210"/>
                  </a:lnTo>
                  <a:lnTo>
                    <a:pt x="1870" y="5245"/>
                  </a:lnTo>
                  <a:cubicBezTo>
                    <a:pt x="1888" y="5227"/>
                    <a:pt x="1909" y="5213"/>
                    <a:pt x="1933" y="5210"/>
                  </a:cubicBezTo>
                  <a:cubicBezTo>
                    <a:pt x="1940" y="5206"/>
                    <a:pt x="1947" y="5206"/>
                    <a:pt x="1951" y="5206"/>
                  </a:cubicBezTo>
                  <a:lnTo>
                    <a:pt x="1996" y="5206"/>
                  </a:lnTo>
                  <a:lnTo>
                    <a:pt x="2014" y="5210"/>
                  </a:lnTo>
                  <a:lnTo>
                    <a:pt x="2021" y="5210"/>
                  </a:lnTo>
                  <a:lnTo>
                    <a:pt x="2035" y="5217"/>
                  </a:lnTo>
                  <a:lnTo>
                    <a:pt x="2045" y="5220"/>
                  </a:lnTo>
                  <a:lnTo>
                    <a:pt x="2059" y="5227"/>
                  </a:lnTo>
                  <a:lnTo>
                    <a:pt x="2066" y="5231"/>
                  </a:lnTo>
                  <a:lnTo>
                    <a:pt x="2080" y="5238"/>
                  </a:lnTo>
                  <a:lnTo>
                    <a:pt x="2087" y="5245"/>
                  </a:lnTo>
                  <a:lnTo>
                    <a:pt x="2101" y="5252"/>
                  </a:lnTo>
                  <a:lnTo>
                    <a:pt x="2112" y="5259"/>
                  </a:lnTo>
                  <a:lnTo>
                    <a:pt x="2140" y="5280"/>
                  </a:lnTo>
                  <a:cubicBezTo>
                    <a:pt x="2164" y="5297"/>
                    <a:pt x="2189" y="5311"/>
                    <a:pt x="2217" y="5322"/>
                  </a:cubicBezTo>
                  <a:lnTo>
                    <a:pt x="2220" y="5318"/>
                  </a:lnTo>
                  <a:cubicBezTo>
                    <a:pt x="2273" y="5230"/>
                    <a:pt x="2363" y="5198"/>
                    <a:pt x="2451" y="5198"/>
                  </a:cubicBezTo>
                  <a:cubicBezTo>
                    <a:pt x="2520" y="5198"/>
                    <a:pt x="2588" y="5217"/>
                    <a:pt x="2637" y="5245"/>
                  </a:cubicBezTo>
                  <a:cubicBezTo>
                    <a:pt x="2649" y="5253"/>
                    <a:pt x="2698" y="5279"/>
                    <a:pt x="2755" y="5279"/>
                  </a:cubicBezTo>
                  <a:cubicBezTo>
                    <a:pt x="2793" y="5279"/>
                    <a:pt x="2835" y="5267"/>
                    <a:pt x="2871" y="5231"/>
                  </a:cubicBezTo>
                  <a:cubicBezTo>
                    <a:pt x="2959" y="5145"/>
                    <a:pt x="3217" y="5092"/>
                    <a:pt x="3382" y="5092"/>
                  </a:cubicBezTo>
                  <a:cubicBezTo>
                    <a:pt x="3433" y="5092"/>
                    <a:pt x="3476" y="5098"/>
                    <a:pt x="3501" y="5108"/>
                  </a:cubicBezTo>
                  <a:cubicBezTo>
                    <a:pt x="3576" y="5142"/>
                    <a:pt x="3611" y="5151"/>
                    <a:pt x="3629" y="5151"/>
                  </a:cubicBezTo>
                  <a:cubicBezTo>
                    <a:pt x="3637" y="5151"/>
                    <a:pt x="3642" y="5149"/>
                    <a:pt x="3645" y="5147"/>
                  </a:cubicBezTo>
                  <a:cubicBezTo>
                    <a:pt x="3645" y="5147"/>
                    <a:pt x="3659" y="5122"/>
                    <a:pt x="3631" y="5031"/>
                  </a:cubicBezTo>
                  <a:cubicBezTo>
                    <a:pt x="3561" y="4786"/>
                    <a:pt x="3708" y="4720"/>
                    <a:pt x="3789" y="4685"/>
                  </a:cubicBezTo>
                  <a:cubicBezTo>
                    <a:pt x="3813" y="4678"/>
                    <a:pt x="3848" y="4660"/>
                    <a:pt x="3852" y="4653"/>
                  </a:cubicBezTo>
                  <a:cubicBezTo>
                    <a:pt x="3855" y="4639"/>
                    <a:pt x="3859" y="4629"/>
                    <a:pt x="3866" y="4618"/>
                  </a:cubicBezTo>
                  <a:cubicBezTo>
                    <a:pt x="3904" y="4559"/>
                    <a:pt x="3981" y="4524"/>
                    <a:pt x="4058" y="4485"/>
                  </a:cubicBezTo>
                  <a:cubicBezTo>
                    <a:pt x="4086" y="4475"/>
                    <a:pt x="4114" y="4461"/>
                    <a:pt x="4146" y="4443"/>
                  </a:cubicBezTo>
                  <a:lnTo>
                    <a:pt x="4132" y="4429"/>
                  </a:lnTo>
                  <a:cubicBezTo>
                    <a:pt x="4062" y="4373"/>
                    <a:pt x="3992" y="4317"/>
                    <a:pt x="3915" y="4268"/>
                  </a:cubicBezTo>
                  <a:lnTo>
                    <a:pt x="3883" y="4247"/>
                  </a:lnTo>
                  <a:lnTo>
                    <a:pt x="3880" y="4247"/>
                  </a:lnTo>
                  <a:lnTo>
                    <a:pt x="3852" y="4226"/>
                  </a:lnTo>
                  <a:lnTo>
                    <a:pt x="3845" y="4219"/>
                  </a:lnTo>
                  <a:lnTo>
                    <a:pt x="3820" y="4205"/>
                  </a:lnTo>
                  <a:lnTo>
                    <a:pt x="3764" y="4167"/>
                  </a:lnTo>
                  <a:lnTo>
                    <a:pt x="3743" y="4153"/>
                  </a:lnTo>
                  <a:lnTo>
                    <a:pt x="3740" y="4149"/>
                  </a:lnTo>
                  <a:lnTo>
                    <a:pt x="3715" y="4135"/>
                  </a:lnTo>
                  <a:cubicBezTo>
                    <a:pt x="3673" y="4107"/>
                    <a:pt x="3638" y="4083"/>
                    <a:pt x="3613" y="4065"/>
                  </a:cubicBezTo>
                  <a:cubicBezTo>
                    <a:pt x="3515" y="3999"/>
                    <a:pt x="3484" y="3859"/>
                    <a:pt x="3456" y="3736"/>
                  </a:cubicBezTo>
                  <a:cubicBezTo>
                    <a:pt x="3445" y="3683"/>
                    <a:pt x="3431" y="3631"/>
                    <a:pt x="3410" y="3582"/>
                  </a:cubicBezTo>
                  <a:cubicBezTo>
                    <a:pt x="3400" y="3564"/>
                    <a:pt x="3389" y="3543"/>
                    <a:pt x="3375" y="3522"/>
                  </a:cubicBezTo>
                  <a:cubicBezTo>
                    <a:pt x="3323" y="3442"/>
                    <a:pt x="3270" y="3358"/>
                    <a:pt x="3302" y="3281"/>
                  </a:cubicBezTo>
                  <a:cubicBezTo>
                    <a:pt x="3323" y="3235"/>
                    <a:pt x="3368" y="3200"/>
                    <a:pt x="3417" y="3193"/>
                  </a:cubicBezTo>
                  <a:lnTo>
                    <a:pt x="3438" y="3190"/>
                  </a:lnTo>
                  <a:cubicBezTo>
                    <a:pt x="3589" y="3155"/>
                    <a:pt x="3845" y="3095"/>
                    <a:pt x="3960" y="2990"/>
                  </a:cubicBezTo>
                  <a:cubicBezTo>
                    <a:pt x="4044" y="2913"/>
                    <a:pt x="4163" y="2875"/>
                    <a:pt x="4261" y="2847"/>
                  </a:cubicBezTo>
                  <a:cubicBezTo>
                    <a:pt x="4310" y="2833"/>
                    <a:pt x="4359" y="2815"/>
                    <a:pt x="4405" y="2787"/>
                  </a:cubicBezTo>
                  <a:cubicBezTo>
                    <a:pt x="4436" y="2754"/>
                    <a:pt x="4475" y="2744"/>
                    <a:pt x="4514" y="2744"/>
                  </a:cubicBezTo>
                  <a:cubicBezTo>
                    <a:pt x="4553" y="2744"/>
                    <a:pt x="4592" y="2754"/>
                    <a:pt x="4625" y="2763"/>
                  </a:cubicBezTo>
                  <a:lnTo>
                    <a:pt x="4660" y="2773"/>
                  </a:lnTo>
                  <a:lnTo>
                    <a:pt x="4664" y="2773"/>
                  </a:lnTo>
                  <a:lnTo>
                    <a:pt x="4678" y="2777"/>
                  </a:lnTo>
                  <a:lnTo>
                    <a:pt x="4692" y="2777"/>
                  </a:lnTo>
                  <a:cubicBezTo>
                    <a:pt x="4699" y="2763"/>
                    <a:pt x="4702" y="2749"/>
                    <a:pt x="4709" y="2738"/>
                  </a:cubicBezTo>
                  <a:cubicBezTo>
                    <a:pt x="4720" y="2710"/>
                    <a:pt x="4727" y="2682"/>
                    <a:pt x="4727" y="2654"/>
                  </a:cubicBezTo>
                  <a:lnTo>
                    <a:pt x="4727" y="2640"/>
                  </a:lnTo>
                  <a:lnTo>
                    <a:pt x="4727" y="2630"/>
                  </a:lnTo>
                  <a:cubicBezTo>
                    <a:pt x="4727" y="2623"/>
                    <a:pt x="4727" y="2619"/>
                    <a:pt x="4727" y="2612"/>
                  </a:cubicBezTo>
                  <a:lnTo>
                    <a:pt x="4727" y="2605"/>
                  </a:lnTo>
                  <a:cubicBezTo>
                    <a:pt x="4727" y="2598"/>
                    <a:pt x="4723" y="2591"/>
                    <a:pt x="4720" y="2588"/>
                  </a:cubicBezTo>
                  <a:lnTo>
                    <a:pt x="4720" y="2581"/>
                  </a:lnTo>
                  <a:cubicBezTo>
                    <a:pt x="4716" y="2574"/>
                    <a:pt x="4713" y="2567"/>
                    <a:pt x="4709" y="2560"/>
                  </a:cubicBezTo>
                  <a:cubicBezTo>
                    <a:pt x="4622" y="2458"/>
                    <a:pt x="4573" y="2297"/>
                    <a:pt x="4559" y="2084"/>
                  </a:cubicBezTo>
                  <a:cubicBezTo>
                    <a:pt x="4559" y="2024"/>
                    <a:pt x="4545" y="1965"/>
                    <a:pt x="4517" y="1909"/>
                  </a:cubicBezTo>
                  <a:cubicBezTo>
                    <a:pt x="4496" y="1874"/>
                    <a:pt x="4485" y="1832"/>
                    <a:pt x="4485" y="1793"/>
                  </a:cubicBezTo>
                  <a:cubicBezTo>
                    <a:pt x="4485" y="1713"/>
                    <a:pt x="4457" y="1618"/>
                    <a:pt x="4398" y="1579"/>
                  </a:cubicBezTo>
                  <a:cubicBezTo>
                    <a:pt x="4342" y="1558"/>
                    <a:pt x="4303" y="1516"/>
                    <a:pt x="4282" y="1460"/>
                  </a:cubicBezTo>
                  <a:cubicBezTo>
                    <a:pt x="4272" y="1408"/>
                    <a:pt x="4286" y="1348"/>
                    <a:pt x="4338" y="1271"/>
                  </a:cubicBezTo>
                  <a:cubicBezTo>
                    <a:pt x="4408" y="1163"/>
                    <a:pt x="4377" y="848"/>
                    <a:pt x="4342" y="760"/>
                  </a:cubicBezTo>
                  <a:cubicBezTo>
                    <a:pt x="4338" y="750"/>
                    <a:pt x="4338" y="739"/>
                    <a:pt x="4335" y="729"/>
                  </a:cubicBezTo>
                  <a:lnTo>
                    <a:pt x="4335" y="722"/>
                  </a:lnTo>
                  <a:lnTo>
                    <a:pt x="4335" y="701"/>
                  </a:lnTo>
                  <a:cubicBezTo>
                    <a:pt x="4314" y="680"/>
                    <a:pt x="4296" y="648"/>
                    <a:pt x="4293" y="617"/>
                  </a:cubicBezTo>
                  <a:cubicBezTo>
                    <a:pt x="4279" y="547"/>
                    <a:pt x="4251" y="491"/>
                    <a:pt x="4034" y="491"/>
                  </a:cubicBezTo>
                  <a:cubicBezTo>
                    <a:pt x="4009" y="491"/>
                    <a:pt x="3936" y="491"/>
                    <a:pt x="3908" y="435"/>
                  </a:cubicBezTo>
                  <a:cubicBezTo>
                    <a:pt x="3880" y="379"/>
                    <a:pt x="3922" y="316"/>
                    <a:pt x="3967" y="256"/>
                  </a:cubicBezTo>
                  <a:cubicBezTo>
                    <a:pt x="3992" y="225"/>
                    <a:pt x="4013" y="190"/>
                    <a:pt x="4027" y="155"/>
                  </a:cubicBezTo>
                  <a:lnTo>
                    <a:pt x="4027" y="155"/>
                  </a:lnTo>
                  <a:cubicBezTo>
                    <a:pt x="3992" y="169"/>
                    <a:pt x="3960" y="190"/>
                    <a:pt x="3929" y="211"/>
                  </a:cubicBezTo>
                  <a:cubicBezTo>
                    <a:pt x="3848" y="258"/>
                    <a:pt x="3755" y="315"/>
                    <a:pt x="3658" y="315"/>
                  </a:cubicBezTo>
                  <a:cubicBezTo>
                    <a:pt x="3632" y="315"/>
                    <a:pt x="3605" y="311"/>
                    <a:pt x="3578" y="302"/>
                  </a:cubicBezTo>
                  <a:cubicBezTo>
                    <a:pt x="3567" y="298"/>
                    <a:pt x="3555" y="297"/>
                    <a:pt x="3542" y="297"/>
                  </a:cubicBezTo>
                  <a:cubicBezTo>
                    <a:pt x="3429" y="297"/>
                    <a:pt x="3278" y="429"/>
                    <a:pt x="3155" y="536"/>
                  </a:cubicBezTo>
                  <a:cubicBezTo>
                    <a:pt x="3109" y="578"/>
                    <a:pt x="3064" y="617"/>
                    <a:pt x="3022" y="648"/>
                  </a:cubicBezTo>
                  <a:cubicBezTo>
                    <a:pt x="2971" y="690"/>
                    <a:pt x="2911" y="710"/>
                    <a:pt x="2850" y="710"/>
                  </a:cubicBezTo>
                  <a:cubicBezTo>
                    <a:pt x="2784" y="710"/>
                    <a:pt x="2718" y="687"/>
                    <a:pt x="2665" y="641"/>
                  </a:cubicBezTo>
                  <a:cubicBezTo>
                    <a:pt x="2584" y="564"/>
                    <a:pt x="2577" y="449"/>
                    <a:pt x="2647" y="351"/>
                  </a:cubicBezTo>
                  <a:cubicBezTo>
                    <a:pt x="2654" y="333"/>
                    <a:pt x="2665" y="319"/>
                    <a:pt x="2672" y="305"/>
                  </a:cubicBezTo>
                  <a:lnTo>
                    <a:pt x="2672" y="305"/>
                  </a:lnTo>
                  <a:cubicBezTo>
                    <a:pt x="2623" y="316"/>
                    <a:pt x="2577" y="330"/>
                    <a:pt x="2528" y="351"/>
                  </a:cubicBezTo>
                  <a:cubicBezTo>
                    <a:pt x="2476" y="369"/>
                    <a:pt x="2421" y="378"/>
                    <a:pt x="2367" y="378"/>
                  </a:cubicBezTo>
                  <a:cubicBezTo>
                    <a:pt x="2277" y="378"/>
                    <a:pt x="2189" y="352"/>
                    <a:pt x="2126" y="302"/>
                  </a:cubicBezTo>
                  <a:cubicBezTo>
                    <a:pt x="2059" y="253"/>
                    <a:pt x="2024" y="169"/>
                    <a:pt x="2038" y="85"/>
                  </a:cubicBezTo>
                  <a:cubicBezTo>
                    <a:pt x="2042" y="67"/>
                    <a:pt x="2038" y="53"/>
                    <a:pt x="2035" y="39"/>
                  </a:cubicBezTo>
                  <a:cubicBezTo>
                    <a:pt x="2002" y="42"/>
                    <a:pt x="1972" y="44"/>
                    <a:pt x="1942" y="44"/>
                  </a:cubicBezTo>
                  <a:cubicBezTo>
                    <a:pt x="1930" y="44"/>
                    <a:pt x="1917" y="44"/>
                    <a:pt x="1905" y="43"/>
                  </a:cubicBezTo>
                  <a:lnTo>
                    <a:pt x="1860" y="43"/>
                  </a:lnTo>
                  <a:lnTo>
                    <a:pt x="1849" y="39"/>
                  </a:lnTo>
                  <a:lnTo>
                    <a:pt x="1825" y="32"/>
                  </a:lnTo>
                  <a:lnTo>
                    <a:pt x="1821" y="32"/>
                  </a:lnTo>
                  <a:lnTo>
                    <a:pt x="1793" y="25"/>
                  </a:lnTo>
                  <a:lnTo>
                    <a:pt x="1790" y="25"/>
                  </a:lnTo>
                  <a:lnTo>
                    <a:pt x="1758" y="22"/>
                  </a:lnTo>
                  <a:lnTo>
                    <a:pt x="1755" y="22"/>
                  </a:lnTo>
                  <a:lnTo>
                    <a:pt x="1716" y="15"/>
                  </a:lnTo>
                  <a:lnTo>
                    <a:pt x="1709" y="15"/>
                  </a:lnTo>
                  <a:lnTo>
                    <a:pt x="1667" y="11"/>
                  </a:lnTo>
                  <a:lnTo>
                    <a:pt x="1618" y="8"/>
                  </a:lnTo>
                  <a:lnTo>
                    <a:pt x="1611" y="8"/>
                  </a:lnTo>
                  <a:lnTo>
                    <a:pt x="1562" y="4"/>
                  </a:lnTo>
                  <a:lnTo>
                    <a:pt x="1551" y="4"/>
                  </a:lnTo>
                  <a:lnTo>
                    <a:pt x="1499"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693" name="Google Shape;4693;p104"/>
            <p:cNvSpPr/>
            <p:nvPr/>
          </p:nvSpPr>
          <p:spPr>
            <a:xfrm>
              <a:off x="2158525" y="1622418"/>
              <a:ext cx="299" cy="1113"/>
            </a:xfrm>
            <a:custGeom>
              <a:avLst/>
              <a:gdLst/>
              <a:ahLst/>
              <a:cxnLst/>
              <a:rect l="l" t="t" r="r" b="b"/>
              <a:pathLst>
                <a:path w="22" h="82" extrusionOk="0">
                  <a:moveTo>
                    <a:pt x="21" y="1"/>
                  </a:moveTo>
                  <a:cubicBezTo>
                    <a:pt x="19" y="16"/>
                    <a:pt x="16" y="30"/>
                    <a:pt x="13" y="45"/>
                  </a:cubicBezTo>
                  <a:lnTo>
                    <a:pt x="13" y="45"/>
                  </a:lnTo>
                  <a:cubicBezTo>
                    <a:pt x="16" y="31"/>
                    <a:pt x="19" y="16"/>
                    <a:pt x="21" y="1"/>
                  </a:cubicBezTo>
                  <a:close/>
                  <a:moveTo>
                    <a:pt x="13" y="45"/>
                  </a:moveTo>
                  <a:lnTo>
                    <a:pt x="13" y="45"/>
                  </a:lnTo>
                  <a:cubicBezTo>
                    <a:pt x="10" y="54"/>
                    <a:pt x="8" y="62"/>
                    <a:pt x="5" y="70"/>
                  </a:cubicBezTo>
                  <a:lnTo>
                    <a:pt x="5" y="70"/>
                  </a:lnTo>
                  <a:lnTo>
                    <a:pt x="7" y="64"/>
                  </a:lnTo>
                  <a:cubicBezTo>
                    <a:pt x="9" y="58"/>
                    <a:pt x="11" y="51"/>
                    <a:pt x="13" y="45"/>
                  </a:cubicBezTo>
                  <a:close/>
                  <a:moveTo>
                    <a:pt x="5" y="70"/>
                  </a:moveTo>
                  <a:lnTo>
                    <a:pt x="0" y="81"/>
                  </a:lnTo>
                  <a:cubicBezTo>
                    <a:pt x="2" y="78"/>
                    <a:pt x="3" y="74"/>
                    <a:pt x="5" y="7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694" name="Google Shape;4694;p104"/>
            <p:cNvSpPr/>
            <p:nvPr/>
          </p:nvSpPr>
          <p:spPr>
            <a:xfrm>
              <a:off x="2158620" y="1621427"/>
              <a:ext cx="14" cy="54"/>
            </a:xfrm>
            <a:custGeom>
              <a:avLst/>
              <a:gdLst/>
              <a:ahLst/>
              <a:cxnLst/>
              <a:rect l="l" t="t" r="r" b="b"/>
              <a:pathLst>
                <a:path w="1" h="4" extrusionOk="0">
                  <a:moveTo>
                    <a:pt x="0" y="0"/>
                  </a:moveTo>
                  <a:lnTo>
                    <a:pt x="0" y="4"/>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695" name="Google Shape;4695;p104"/>
            <p:cNvSpPr/>
            <p:nvPr/>
          </p:nvSpPr>
          <p:spPr>
            <a:xfrm>
              <a:off x="2158756" y="1622093"/>
              <a:ext cx="68" cy="149"/>
            </a:xfrm>
            <a:custGeom>
              <a:avLst/>
              <a:gdLst/>
              <a:ahLst/>
              <a:cxnLst/>
              <a:rect l="l" t="t" r="r" b="b"/>
              <a:pathLst>
                <a:path w="5" h="11" extrusionOk="0">
                  <a:moveTo>
                    <a:pt x="1" y="0"/>
                  </a:moveTo>
                  <a:lnTo>
                    <a:pt x="1" y="11"/>
                  </a:lnTo>
                  <a:cubicBezTo>
                    <a:pt x="4" y="7"/>
                    <a:pt x="1" y="4"/>
                    <a:pt x="1"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696" name="Google Shape;4696;p104"/>
            <p:cNvSpPr/>
            <p:nvPr/>
          </p:nvSpPr>
          <p:spPr>
            <a:xfrm>
              <a:off x="2153433" y="1595847"/>
              <a:ext cx="14" cy="299"/>
            </a:xfrm>
            <a:custGeom>
              <a:avLst/>
              <a:gdLst/>
              <a:ahLst/>
              <a:cxnLst/>
              <a:rect l="l" t="t" r="r" b="b"/>
              <a:pathLst>
                <a:path w="1" h="22" extrusionOk="0">
                  <a:moveTo>
                    <a:pt x="1" y="22"/>
                  </a:moveTo>
                  <a:lnTo>
                    <a:pt x="1"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697" name="Google Shape;4697;p104"/>
            <p:cNvSpPr/>
            <p:nvPr/>
          </p:nvSpPr>
          <p:spPr>
            <a:xfrm>
              <a:off x="2158756" y="1621753"/>
              <a:ext cx="14" cy="109"/>
            </a:xfrm>
            <a:custGeom>
              <a:avLst/>
              <a:gdLst/>
              <a:ahLst/>
              <a:cxnLst/>
              <a:rect l="l" t="t" r="r" b="b"/>
              <a:pathLst>
                <a:path w="1" h="8" extrusionOk="0">
                  <a:moveTo>
                    <a:pt x="1" y="1"/>
                  </a:moveTo>
                  <a:lnTo>
                    <a:pt x="1" y="8"/>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698" name="Google Shape;4698;p104"/>
            <p:cNvSpPr/>
            <p:nvPr/>
          </p:nvSpPr>
          <p:spPr>
            <a:xfrm>
              <a:off x="2153433" y="1596227"/>
              <a:ext cx="109" cy="448"/>
            </a:xfrm>
            <a:custGeom>
              <a:avLst/>
              <a:gdLst/>
              <a:ahLst/>
              <a:cxnLst/>
              <a:rect l="l" t="t" r="r" b="b"/>
              <a:pathLst>
                <a:path w="8" h="33" extrusionOk="0">
                  <a:moveTo>
                    <a:pt x="8" y="32"/>
                  </a:moveTo>
                  <a:cubicBezTo>
                    <a:pt x="4" y="22"/>
                    <a:pt x="1" y="11"/>
                    <a:pt x="1" y="1"/>
                  </a:cubicBezTo>
                  <a:cubicBezTo>
                    <a:pt x="1" y="11"/>
                    <a:pt x="4" y="22"/>
                    <a:pt x="8" y="32"/>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699" name="Google Shape;4699;p104"/>
            <p:cNvSpPr/>
            <p:nvPr/>
          </p:nvSpPr>
          <p:spPr>
            <a:xfrm>
              <a:off x="2147160" y="1646763"/>
              <a:ext cx="3775" cy="2390"/>
            </a:xfrm>
            <a:custGeom>
              <a:avLst/>
              <a:gdLst/>
              <a:ahLst/>
              <a:cxnLst/>
              <a:rect l="l" t="t" r="r" b="b"/>
              <a:pathLst>
                <a:path w="278" h="176" extrusionOk="0">
                  <a:moveTo>
                    <a:pt x="277" y="0"/>
                  </a:moveTo>
                  <a:cubicBezTo>
                    <a:pt x="249" y="14"/>
                    <a:pt x="218" y="28"/>
                    <a:pt x="190" y="42"/>
                  </a:cubicBezTo>
                  <a:cubicBezTo>
                    <a:pt x="113" y="77"/>
                    <a:pt x="36" y="116"/>
                    <a:pt x="1" y="175"/>
                  </a:cubicBezTo>
                  <a:cubicBezTo>
                    <a:pt x="39" y="116"/>
                    <a:pt x="116" y="77"/>
                    <a:pt x="193" y="42"/>
                  </a:cubicBezTo>
                  <a:cubicBezTo>
                    <a:pt x="221" y="28"/>
                    <a:pt x="249" y="14"/>
                    <a:pt x="277"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700" name="Google Shape;4700;p104"/>
            <p:cNvSpPr/>
            <p:nvPr/>
          </p:nvSpPr>
          <p:spPr>
            <a:xfrm>
              <a:off x="2121445" y="1657027"/>
              <a:ext cx="204" cy="14"/>
            </a:xfrm>
            <a:custGeom>
              <a:avLst/>
              <a:gdLst/>
              <a:ahLst/>
              <a:cxnLst/>
              <a:rect l="l" t="t" r="r" b="b"/>
              <a:pathLst>
                <a:path w="15" h="1" extrusionOk="0">
                  <a:moveTo>
                    <a:pt x="1" y="0"/>
                  </a:moveTo>
                  <a:lnTo>
                    <a:pt x="15"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701" name="Google Shape;4701;p104"/>
            <p:cNvSpPr/>
            <p:nvPr/>
          </p:nvSpPr>
          <p:spPr>
            <a:xfrm>
              <a:off x="2120073" y="1657123"/>
              <a:ext cx="815" cy="489"/>
            </a:xfrm>
            <a:custGeom>
              <a:avLst/>
              <a:gdLst/>
              <a:ahLst/>
              <a:cxnLst/>
              <a:rect l="l" t="t" r="r" b="b"/>
              <a:pathLst>
                <a:path w="60" h="36" extrusionOk="0">
                  <a:moveTo>
                    <a:pt x="60" y="0"/>
                  </a:moveTo>
                  <a:cubicBezTo>
                    <a:pt x="39" y="4"/>
                    <a:pt x="14" y="14"/>
                    <a:pt x="0" y="35"/>
                  </a:cubicBezTo>
                  <a:cubicBezTo>
                    <a:pt x="14" y="18"/>
                    <a:pt x="39" y="4"/>
                    <a:pt x="60"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702" name="Google Shape;4702;p104"/>
            <p:cNvSpPr/>
            <p:nvPr/>
          </p:nvSpPr>
          <p:spPr>
            <a:xfrm>
              <a:off x="2121159" y="1657027"/>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703" name="Google Shape;4703;p104"/>
            <p:cNvSpPr/>
            <p:nvPr/>
          </p:nvSpPr>
          <p:spPr>
            <a:xfrm>
              <a:off x="2122069" y="1657123"/>
              <a:ext cx="244" cy="109"/>
            </a:xfrm>
            <a:custGeom>
              <a:avLst/>
              <a:gdLst/>
              <a:ahLst/>
              <a:cxnLst/>
              <a:rect l="l" t="t" r="r" b="b"/>
              <a:pathLst>
                <a:path w="18" h="8" extrusionOk="0">
                  <a:moveTo>
                    <a:pt x="0" y="0"/>
                  </a:moveTo>
                  <a:lnTo>
                    <a:pt x="18" y="7"/>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704" name="Google Shape;4704;p104"/>
            <p:cNvSpPr/>
            <p:nvPr/>
          </p:nvSpPr>
          <p:spPr>
            <a:xfrm>
              <a:off x="2123020" y="1657598"/>
              <a:ext cx="149" cy="109"/>
            </a:xfrm>
            <a:custGeom>
              <a:avLst/>
              <a:gdLst/>
              <a:ahLst/>
              <a:cxnLst/>
              <a:rect l="l" t="t" r="r" b="b"/>
              <a:pathLst>
                <a:path w="11" h="8" extrusionOk="0">
                  <a:moveTo>
                    <a:pt x="0" y="0"/>
                  </a:moveTo>
                  <a:lnTo>
                    <a:pt x="11" y="7"/>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705" name="Google Shape;4705;p104"/>
            <p:cNvSpPr/>
            <p:nvPr/>
          </p:nvSpPr>
          <p:spPr>
            <a:xfrm>
              <a:off x="2122680" y="1657408"/>
              <a:ext cx="204" cy="109"/>
            </a:xfrm>
            <a:custGeom>
              <a:avLst/>
              <a:gdLst/>
              <a:ahLst/>
              <a:cxnLst/>
              <a:rect l="l" t="t" r="r" b="b"/>
              <a:pathLst>
                <a:path w="15" h="8" extrusionOk="0">
                  <a:moveTo>
                    <a:pt x="1" y="0"/>
                  </a:moveTo>
                  <a:lnTo>
                    <a:pt x="15" y="7"/>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706" name="Google Shape;4706;p104"/>
            <p:cNvSpPr/>
            <p:nvPr/>
          </p:nvSpPr>
          <p:spPr>
            <a:xfrm>
              <a:off x="2122395" y="1657258"/>
              <a:ext cx="204" cy="109"/>
            </a:xfrm>
            <a:custGeom>
              <a:avLst/>
              <a:gdLst/>
              <a:ahLst/>
              <a:cxnLst/>
              <a:rect l="l" t="t" r="r" b="b"/>
              <a:pathLst>
                <a:path w="15" h="8" extrusionOk="0">
                  <a:moveTo>
                    <a:pt x="1" y="1"/>
                  </a:moveTo>
                  <a:lnTo>
                    <a:pt x="15" y="8"/>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707" name="Google Shape;4707;p104"/>
            <p:cNvSpPr/>
            <p:nvPr/>
          </p:nvSpPr>
          <p:spPr>
            <a:xfrm>
              <a:off x="2121730" y="1657068"/>
              <a:ext cx="258" cy="68"/>
            </a:xfrm>
            <a:custGeom>
              <a:avLst/>
              <a:gdLst/>
              <a:ahLst/>
              <a:cxnLst/>
              <a:rect l="l" t="t" r="r" b="b"/>
              <a:pathLst>
                <a:path w="19" h="5" extrusionOk="0">
                  <a:moveTo>
                    <a:pt x="1" y="1"/>
                  </a:moveTo>
                  <a:lnTo>
                    <a:pt x="18" y="4"/>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708" name="Google Shape;4708;p104"/>
            <p:cNvSpPr/>
            <p:nvPr/>
          </p:nvSpPr>
          <p:spPr>
            <a:xfrm>
              <a:off x="2123305" y="1657788"/>
              <a:ext cx="434" cy="299"/>
            </a:xfrm>
            <a:custGeom>
              <a:avLst/>
              <a:gdLst/>
              <a:ahLst/>
              <a:cxnLst/>
              <a:rect l="l" t="t" r="r" b="b"/>
              <a:pathLst>
                <a:path w="32" h="22" extrusionOk="0">
                  <a:moveTo>
                    <a:pt x="0" y="0"/>
                  </a:moveTo>
                  <a:lnTo>
                    <a:pt x="32" y="2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709" name="Google Shape;4709;p104"/>
            <p:cNvSpPr/>
            <p:nvPr/>
          </p:nvSpPr>
          <p:spPr>
            <a:xfrm>
              <a:off x="2146454" y="1643436"/>
              <a:ext cx="54" cy="14"/>
            </a:xfrm>
            <a:custGeom>
              <a:avLst/>
              <a:gdLst/>
              <a:ahLst/>
              <a:cxnLst/>
              <a:rect l="l" t="t" r="r" b="b"/>
              <a:pathLst>
                <a:path w="4" h="1" extrusionOk="0">
                  <a:moveTo>
                    <a:pt x="4"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710" name="Google Shape;4710;p104"/>
            <p:cNvSpPr/>
            <p:nvPr/>
          </p:nvSpPr>
          <p:spPr>
            <a:xfrm>
              <a:off x="2146780" y="1643667"/>
              <a:ext cx="109" cy="68"/>
            </a:xfrm>
            <a:custGeom>
              <a:avLst/>
              <a:gdLst/>
              <a:ahLst/>
              <a:cxnLst/>
              <a:rect l="l" t="t" r="r" b="b"/>
              <a:pathLst>
                <a:path w="8" h="5" extrusionOk="0">
                  <a:moveTo>
                    <a:pt x="8" y="4"/>
                  </a:moveTo>
                  <a:lnTo>
                    <a:pt x="1"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711" name="Google Shape;4711;p104"/>
            <p:cNvSpPr/>
            <p:nvPr/>
          </p:nvSpPr>
          <p:spPr>
            <a:xfrm>
              <a:off x="2150867" y="1646709"/>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712" name="Google Shape;4712;p104"/>
            <p:cNvSpPr/>
            <p:nvPr/>
          </p:nvSpPr>
          <p:spPr>
            <a:xfrm>
              <a:off x="2158280" y="1623559"/>
              <a:ext cx="258" cy="543"/>
            </a:xfrm>
            <a:custGeom>
              <a:avLst/>
              <a:gdLst/>
              <a:ahLst/>
              <a:cxnLst/>
              <a:rect l="l" t="t" r="r" b="b"/>
              <a:pathLst>
                <a:path w="19" h="40" extrusionOk="0">
                  <a:moveTo>
                    <a:pt x="18" y="1"/>
                  </a:moveTo>
                  <a:lnTo>
                    <a:pt x="15" y="12"/>
                  </a:lnTo>
                  <a:lnTo>
                    <a:pt x="15" y="12"/>
                  </a:lnTo>
                  <a:cubicBezTo>
                    <a:pt x="16" y="8"/>
                    <a:pt x="17" y="5"/>
                    <a:pt x="18" y="1"/>
                  </a:cubicBezTo>
                  <a:close/>
                  <a:moveTo>
                    <a:pt x="15" y="12"/>
                  </a:moveTo>
                  <a:cubicBezTo>
                    <a:pt x="12" y="18"/>
                    <a:pt x="9" y="23"/>
                    <a:pt x="6" y="29"/>
                  </a:cubicBezTo>
                  <a:lnTo>
                    <a:pt x="6" y="29"/>
                  </a:lnTo>
                  <a:cubicBezTo>
                    <a:pt x="8" y="26"/>
                    <a:pt x="10" y="23"/>
                    <a:pt x="11" y="22"/>
                  </a:cubicBezTo>
                  <a:lnTo>
                    <a:pt x="15" y="12"/>
                  </a:lnTo>
                  <a:close/>
                  <a:moveTo>
                    <a:pt x="6" y="29"/>
                  </a:moveTo>
                  <a:cubicBezTo>
                    <a:pt x="4" y="32"/>
                    <a:pt x="3" y="36"/>
                    <a:pt x="1" y="39"/>
                  </a:cubicBezTo>
                  <a:cubicBezTo>
                    <a:pt x="3" y="36"/>
                    <a:pt x="4" y="32"/>
                    <a:pt x="6" y="29"/>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713" name="Google Shape;4713;p104"/>
            <p:cNvSpPr/>
            <p:nvPr/>
          </p:nvSpPr>
          <p:spPr>
            <a:xfrm>
              <a:off x="2150731" y="1646573"/>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714" name="Google Shape;4714;p104"/>
            <p:cNvSpPr/>
            <p:nvPr/>
          </p:nvSpPr>
          <p:spPr>
            <a:xfrm>
              <a:off x="2157859" y="1623993"/>
              <a:ext cx="54" cy="14"/>
            </a:xfrm>
            <a:custGeom>
              <a:avLst/>
              <a:gdLst/>
              <a:ahLst/>
              <a:cxnLst/>
              <a:rect l="l" t="t" r="r" b="b"/>
              <a:pathLst>
                <a:path w="4" h="1" extrusionOk="0">
                  <a:moveTo>
                    <a:pt x="0" y="0"/>
                  </a:moveTo>
                  <a:lnTo>
                    <a:pt x="4"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715" name="Google Shape;4715;p104"/>
            <p:cNvSpPr/>
            <p:nvPr/>
          </p:nvSpPr>
          <p:spPr>
            <a:xfrm>
              <a:off x="2158090" y="1624034"/>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716" name="Google Shape;4716;p104"/>
            <p:cNvSpPr/>
            <p:nvPr/>
          </p:nvSpPr>
          <p:spPr>
            <a:xfrm>
              <a:off x="2147310" y="1644047"/>
              <a:ext cx="54" cy="14"/>
            </a:xfrm>
            <a:custGeom>
              <a:avLst/>
              <a:gdLst/>
              <a:ahLst/>
              <a:cxnLst/>
              <a:rect l="l" t="t" r="r" b="b"/>
              <a:pathLst>
                <a:path w="4" h="1" extrusionOk="0">
                  <a:moveTo>
                    <a:pt x="4"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717" name="Google Shape;4717;p104"/>
            <p:cNvSpPr/>
            <p:nvPr/>
          </p:nvSpPr>
          <p:spPr>
            <a:xfrm>
              <a:off x="2147785" y="1644333"/>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718" name="Google Shape;4718;p104"/>
            <p:cNvSpPr/>
            <p:nvPr/>
          </p:nvSpPr>
          <p:spPr>
            <a:xfrm>
              <a:off x="2145409" y="1642717"/>
              <a:ext cx="299" cy="204"/>
            </a:xfrm>
            <a:custGeom>
              <a:avLst/>
              <a:gdLst/>
              <a:ahLst/>
              <a:cxnLst/>
              <a:rect l="l" t="t" r="r" b="b"/>
              <a:pathLst>
                <a:path w="22" h="15" extrusionOk="0">
                  <a:moveTo>
                    <a:pt x="21" y="15"/>
                  </a:moveTo>
                  <a:lnTo>
                    <a:pt x="0"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719" name="Google Shape;4719;p104"/>
            <p:cNvSpPr/>
            <p:nvPr/>
          </p:nvSpPr>
          <p:spPr>
            <a:xfrm>
              <a:off x="2145069" y="1642486"/>
              <a:ext cx="299" cy="204"/>
            </a:xfrm>
            <a:custGeom>
              <a:avLst/>
              <a:gdLst/>
              <a:ahLst/>
              <a:cxnLst/>
              <a:rect l="l" t="t" r="r" b="b"/>
              <a:pathLst>
                <a:path w="22" h="15" extrusionOk="0">
                  <a:moveTo>
                    <a:pt x="22" y="1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720" name="Google Shape;4720;p104"/>
            <p:cNvSpPr/>
            <p:nvPr/>
          </p:nvSpPr>
          <p:spPr>
            <a:xfrm>
              <a:off x="2158430" y="1623274"/>
              <a:ext cx="204" cy="543"/>
            </a:xfrm>
            <a:custGeom>
              <a:avLst/>
              <a:gdLst/>
              <a:ahLst/>
              <a:cxnLst/>
              <a:rect l="l" t="t" r="r" b="b"/>
              <a:pathLst>
                <a:path w="15" h="40" extrusionOk="0">
                  <a:moveTo>
                    <a:pt x="14" y="1"/>
                  </a:moveTo>
                  <a:lnTo>
                    <a:pt x="7" y="18"/>
                  </a:lnTo>
                  <a:lnTo>
                    <a:pt x="7" y="22"/>
                  </a:lnTo>
                  <a:lnTo>
                    <a:pt x="0" y="39"/>
                  </a:lnTo>
                  <a:cubicBezTo>
                    <a:pt x="7" y="25"/>
                    <a:pt x="11" y="15"/>
                    <a:pt x="14" y="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721" name="Google Shape;4721;p104"/>
            <p:cNvSpPr/>
            <p:nvPr/>
          </p:nvSpPr>
          <p:spPr>
            <a:xfrm>
              <a:off x="2150921" y="1646763"/>
              <a:ext cx="14" cy="14"/>
            </a:xfrm>
            <a:custGeom>
              <a:avLst/>
              <a:gdLst/>
              <a:ahLst/>
              <a:cxnLst/>
              <a:rect l="l" t="t" r="r" b="b"/>
              <a:pathLst>
                <a:path w="1" h="1" extrusionOk="0">
                  <a:moveTo>
                    <a:pt x="0"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722" name="Google Shape;4722;p104"/>
            <p:cNvSpPr/>
            <p:nvPr/>
          </p:nvSpPr>
          <p:spPr>
            <a:xfrm>
              <a:off x="2102911" y="1600219"/>
              <a:ext cx="109" cy="489"/>
            </a:xfrm>
            <a:custGeom>
              <a:avLst/>
              <a:gdLst/>
              <a:ahLst/>
              <a:cxnLst/>
              <a:rect l="l" t="t" r="r" b="b"/>
              <a:pathLst>
                <a:path w="8" h="36" extrusionOk="0">
                  <a:moveTo>
                    <a:pt x="7" y="36"/>
                  </a:moveTo>
                  <a:cubicBezTo>
                    <a:pt x="7" y="25"/>
                    <a:pt x="4" y="15"/>
                    <a:pt x="0" y="1"/>
                  </a:cubicBezTo>
                  <a:cubicBezTo>
                    <a:pt x="4" y="15"/>
                    <a:pt x="7" y="25"/>
                    <a:pt x="7" y="36"/>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723" name="Google Shape;4723;p104"/>
            <p:cNvSpPr/>
            <p:nvPr/>
          </p:nvSpPr>
          <p:spPr>
            <a:xfrm>
              <a:off x="2103101" y="1604741"/>
              <a:ext cx="54" cy="149"/>
            </a:xfrm>
            <a:custGeom>
              <a:avLst/>
              <a:gdLst/>
              <a:ahLst/>
              <a:cxnLst/>
              <a:rect l="l" t="t" r="r" b="b"/>
              <a:pathLst>
                <a:path w="4" h="11" extrusionOk="0">
                  <a:moveTo>
                    <a:pt x="4" y="0"/>
                  </a:moveTo>
                  <a:lnTo>
                    <a:pt x="4" y="0"/>
                  </a:lnTo>
                  <a:cubicBezTo>
                    <a:pt x="0" y="4"/>
                    <a:pt x="0" y="7"/>
                    <a:pt x="0" y="11"/>
                  </a:cubicBezTo>
                  <a:cubicBezTo>
                    <a:pt x="0" y="7"/>
                    <a:pt x="0" y="7"/>
                    <a:pt x="4"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724" name="Google Shape;4724;p104"/>
            <p:cNvSpPr/>
            <p:nvPr/>
          </p:nvSpPr>
          <p:spPr>
            <a:xfrm>
              <a:off x="2103142" y="1601224"/>
              <a:ext cx="68" cy="394"/>
            </a:xfrm>
            <a:custGeom>
              <a:avLst/>
              <a:gdLst/>
              <a:ahLst/>
              <a:cxnLst/>
              <a:rect l="l" t="t" r="r" b="b"/>
              <a:pathLst>
                <a:path w="5" h="29" extrusionOk="0">
                  <a:moveTo>
                    <a:pt x="4" y="28"/>
                  </a:moveTo>
                  <a:cubicBezTo>
                    <a:pt x="4" y="18"/>
                    <a:pt x="1" y="7"/>
                    <a:pt x="1" y="0"/>
                  </a:cubicBezTo>
                  <a:cubicBezTo>
                    <a:pt x="1" y="7"/>
                    <a:pt x="4" y="18"/>
                    <a:pt x="4" y="28"/>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725" name="Google Shape;4725;p104"/>
            <p:cNvSpPr/>
            <p:nvPr/>
          </p:nvSpPr>
          <p:spPr>
            <a:xfrm>
              <a:off x="2103291" y="1602079"/>
              <a:ext cx="14" cy="394"/>
            </a:xfrm>
            <a:custGeom>
              <a:avLst/>
              <a:gdLst/>
              <a:ahLst/>
              <a:cxnLst/>
              <a:rect l="l" t="t" r="r" b="b"/>
              <a:pathLst>
                <a:path w="1" h="29" extrusionOk="0">
                  <a:moveTo>
                    <a:pt x="0" y="28"/>
                  </a:moveTo>
                  <a:cubicBezTo>
                    <a:pt x="0" y="18"/>
                    <a:pt x="0" y="11"/>
                    <a:pt x="0" y="0"/>
                  </a:cubicBezTo>
                  <a:cubicBezTo>
                    <a:pt x="0" y="7"/>
                    <a:pt x="0" y="18"/>
                    <a:pt x="0" y="28"/>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726" name="Google Shape;4726;p104"/>
            <p:cNvSpPr/>
            <p:nvPr/>
          </p:nvSpPr>
          <p:spPr>
            <a:xfrm>
              <a:off x="2103332" y="1602840"/>
              <a:ext cx="14" cy="339"/>
            </a:xfrm>
            <a:custGeom>
              <a:avLst/>
              <a:gdLst/>
              <a:ahLst/>
              <a:cxnLst/>
              <a:rect l="l" t="t" r="r" b="b"/>
              <a:pathLst>
                <a:path w="1" h="25" extrusionOk="0">
                  <a:moveTo>
                    <a:pt x="1" y="0"/>
                  </a:moveTo>
                  <a:lnTo>
                    <a:pt x="1" y="25"/>
                  </a:lnTo>
                  <a:cubicBezTo>
                    <a:pt x="1" y="14"/>
                    <a:pt x="1" y="7"/>
                    <a:pt x="1"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727" name="Google Shape;4727;p104"/>
            <p:cNvSpPr/>
            <p:nvPr/>
          </p:nvSpPr>
          <p:spPr>
            <a:xfrm>
              <a:off x="2103237" y="1604170"/>
              <a:ext cx="68" cy="244"/>
            </a:xfrm>
            <a:custGeom>
              <a:avLst/>
              <a:gdLst/>
              <a:ahLst/>
              <a:cxnLst/>
              <a:rect l="l" t="t" r="r" b="b"/>
              <a:pathLst>
                <a:path w="5" h="18" extrusionOk="0">
                  <a:moveTo>
                    <a:pt x="4" y="0"/>
                  </a:moveTo>
                  <a:cubicBezTo>
                    <a:pt x="1" y="4"/>
                    <a:pt x="1" y="11"/>
                    <a:pt x="1" y="18"/>
                  </a:cubicBezTo>
                  <a:cubicBezTo>
                    <a:pt x="1" y="11"/>
                    <a:pt x="1" y="7"/>
                    <a:pt x="4"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728" name="Google Shape;4728;p104"/>
            <p:cNvSpPr/>
            <p:nvPr/>
          </p:nvSpPr>
          <p:spPr>
            <a:xfrm>
              <a:off x="2103332" y="1603546"/>
              <a:ext cx="14" cy="258"/>
            </a:xfrm>
            <a:custGeom>
              <a:avLst/>
              <a:gdLst/>
              <a:ahLst/>
              <a:cxnLst/>
              <a:rect l="l" t="t" r="r" b="b"/>
              <a:pathLst>
                <a:path w="1" h="19" extrusionOk="0">
                  <a:moveTo>
                    <a:pt x="1" y="18"/>
                  </a:moveTo>
                  <a:lnTo>
                    <a:pt x="1" y="1"/>
                  </a:lnTo>
                  <a:cubicBezTo>
                    <a:pt x="1" y="8"/>
                    <a:pt x="1" y="15"/>
                    <a:pt x="1" y="18"/>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729" name="Google Shape;4729;p104"/>
            <p:cNvSpPr/>
            <p:nvPr/>
          </p:nvSpPr>
          <p:spPr>
            <a:xfrm>
              <a:off x="2095308" y="1620572"/>
              <a:ext cx="149" cy="489"/>
            </a:xfrm>
            <a:custGeom>
              <a:avLst/>
              <a:gdLst/>
              <a:ahLst/>
              <a:cxnLst/>
              <a:rect l="l" t="t" r="r" b="b"/>
              <a:pathLst>
                <a:path w="11" h="36" extrusionOk="0">
                  <a:moveTo>
                    <a:pt x="0" y="35"/>
                  </a:moveTo>
                  <a:cubicBezTo>
                    <a:pt x="4" y="25"/>
                    <a:pt x="7" y="11"/>
                    <a:pt x="11" y="0"/>
                  </a:cubicBezTo>
                  <a:cubicBezTo>
                    <a:pt x="7" y="11"/>
                    <a:pt x="4" y="25"/>
                    <a:pt x="0" y="35"/>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730" name="Google Shape;4730;p104"/>
            <p:cNvSpPr/>
            <p:nvPr/>
          </p:nvSpPr>
          <p:spPr>
            <a:xfrm>
              <a:off x="2095593" y="1634068"/>
              <a:ext cx="54" cy="109"/>
            </a:xfrm>
            <a:custGeom>
              <a:avLst/>
              <a:gdLst/>
              <a:ahLst/>
              <a:cxnLst/>
              <a:rect l="l" t="t" r="r" b="b"/>
              <a:pathLst>
                <a:path w="4" h="8" extrusionOk="0">
                  <a:moveTo>
                    <a:pt x="0" y="0"/>
                  </a:moveTo>
                  <a:lnTo>
                    <a:pt x="4" y="7"/>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731" name="Google Shape;4731;p104"/>
            <p:cNvSpPr/>
            <p:nvPr/>
          </p:nvSpPr>
          <p:spPr>
            <a:xfrm>
              <a:off x="2095308" y="1633688"/>
              <a:ext cx="244" cy="299"/>
            </a:xfrm>
            <a:custGeom>
              <a:avLst/>
              <a:gdLst/>
              <a:ahLst/>
              <a:cxnLst/>
              <a:rect l="l" t="t" r="r" b="b"/>
              <a:pathLst>
                <a:path w="18" h="22" extrusionOk="0">
                  <a:moveTo>
                    <a:pt x="0" y="0"/>
                  </a:moveTo>
                  <a:lnTo>
                    <a:pt x="18" y="2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732" name="Google Shape;4732;p104"/>
            <p:cNvSpPr/>
            <p:nvPr/>
          </p:nvSpPr>
          <p:spPr>
            <a:xfrm>
              <a:off x="2095159" y="1633443"/>
              <a:ext cx="14" cy="68"/>
            </a:xfrm>
            <a:custGeom>
              <a:avLst/>
              <a:gdLst/>
              <a:ahLst/>
              <a:cxnLst/>
              <a:rect l="l" t="t" r="r" b="b"/>
              <a:pathLst>
                <a:path w="1" h="5" extrusionOk="0">
                  <a:moveTo>
                    <a:pt x="1" y="1"/>
                  </a:moveTo>
                  <a:lnTo>
                    <a:pt x="1" y="4"/>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733" name="Google Shape;4733;p104"/>
            <p:cNvSpPr/>
            <p:nvPr/>
          </p:nvSpPr>
          <p:spPr>
            <a:xfrm>
              <a:off x="2097345" y="1638969"/>
              <a:ext cx="14" cy="109"/>
            </a:xfrm>
            <a:custGeom>
              <a:avLst/>
              <a:gdLst/>
              <a:ahLst/>
              <a:cxnLst/>
              <a:rect l="l" t="t" r="r" b="b"/>
              <a:pathLst>
                <a:path w="1" h="8" extrusionOk="0">
                  <a:moveTo>
                    <a:pt x="1"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734" name="Google Shape;4734;p104"/>
            <p:cNvSpPr/>
            <p:nvPr/>
          </p:nvSpPr>
          <p:spPr>
            <a:xfrm>
              <a:off x="2096163" y="1635059"/>
              <a:ext cx="109" cy="163"/>
            </a:xfrm>
            <a:custGeom>
              <a:avLst/>
              <a:gdLst/>
              <a:ahLst/>
              <a:cxnLst/>
              <a:rect l="l" t="t" r="r" b="b"/>
              <a:pathLst>
                <a:path w="8" h="12" extrusionOk="0">
                  <a:moveTo>
                    <a:pt x="0" y="1"/>
                  </a:moveTo>
                  <a:lnTo>
                    <a:pt x="7" y="1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735" name="Google Shape;4735;p104"/>
            <p:cNvSpPr/>
            <p:nvPr/>
          </p:nvSpPr>
          <p:spPr>
            <a:xfrm>
              <a:off x="2096014" y="1634774"/>
              <a:ext cx="109" cy="163"/>
            </a:xfrm>
            <a:custGeom>
              <a:avLst/>
              <a:gdLst/>
              <a:ahLst/>
              <a:cxnLst/>
              <a:rect l="l" t="t" r="r" b="b"/>
              <a:pathLst>
                <a:path w="8" h="12" extrusionOk="0">
                  <a:moveTo>
                    <a:pt x="1" y="1"/>
                  </a:moveTo>
                  <a:lnTo>
                    <a:pt x="8" y="1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736" name="Google Shape;4736;p104"/>
            <p:cNvSpPr/>
            <p:nvPr/>
          </p:nvSpPr>
          <p:spPr>
            <a:xfrm>
              <a:off x="2097249" y="1638345"/>
              <a:ext cx="68" cy="163"/>
            </a:xfrm>
            <a:custGeom>
              <a:avLst/>
              <a:gdLst/>
              <a:ahLst/>
              <a:cxnLst/>
              <a:rect l="l" t="t" r="r" b="b"/>
              <a:pathLst>
                <a:path w="5" h="12" extrusionOk="0">
                  <a:moveTo>
                    <a:pt x="1" y="1"/>
                  </a:moveTo>
                  <a:lnTo>
                    <a:pt x="4" y="1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737" name="Google Shape;4737;p104"/>
            <p:cNvSpPr/>
            <p:nvPr/>
          </p:nvSpPr>
          <p:spPr>
            <a:xfrm>
              <a:off x="2097059" y="1637299"/>
              <a:ext cx="14" cy="204"/>
            </a:xfrm>
            <a:custGeom>
              <a:avLst/>
              <a:gdLst/>
              <a:ahLst/>
              <a:cxnLst/>
              <a:rect l="l" t="t" r="r" b="b"/>
              <a:pathLst>
                <a:path w="1" h="15" extrusionOk="0">
                  <a:moveTo>
                    <a:pt x="1" y="0"/>
                  </a:moveTo>
                  <a:lnTo>
                    <a:pt x="1" y="14"/>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738" name="Google Shape;4738;p104"/>
            <p:cNvSpPr/>
            <p:nvPr/>
          </p:nvSpPr>
          <p:spPr>
            <a:xfrm>
              <a:off x="2096774" y="1636444"/>
              <a:ext cx="68" cy="149"/>
            </a:xfrm>
            <a:custGeom>
              <a:avLst/>
              <a:gdLst/>
              <a:ahLst/>
              <a:cxnLst/>
              <a:rect l="l" t="t" r="r" b="b"/>
              <a:pathLst>
                <a:path w="5" h="11" extrusionOk="0">
                  <a:moveTo>
                    <a:pt x="1" y="0"/>
                  </a:moveTo>
                  <a:lnTo>
                    <a:pt x="4" y="1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739" name="Google Shape;4739;p104"/>
            <p:cNvSpPr/>
            <p:nvPr/>
          </p:nvSpPr>
          <p:spPr>
            <a:xfrm>
              <a:off x="2096639" y="1636009"/>
              <a:ext cx="54" cy="204"/>
            </a:xfrm>
            <a:custGeom>
              <a:avLst/>
              <a:gdLst/>
              <a:ahLst/>
              <a:cxnLst/>
              <a:rect l="l" t="t" r="r" b="b"/>
              <a:pathLst>
                <a:path w="4" h="15" extrusionOk="0">
                  <a:moveTo>
                    <a:pt x="0" y="1"/>
                  </a:moveTo>
                  <a:lnTo>
                    <a:pt x="4" y="15"/>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740" name="Google Shape;4740;p104"/>
            <p:cNvSpPr/>
            <p:nvPr/>
          </p:nvSpPr>
          <p:spPr>
            <a:xfrm>
              <a:off x="2097154" y="1637775"/>
              <a:ext cx="68" cy="204"/>
            </a:xfrm>
            <a:custGeom>
              <a:avLst/>
              <a:gdLst/>
              <a:ahLst/>
              <a:cxnLst/>
              <a:rect l="l" t="t" r="r" b="b"/>
              <a:pathLst>
                <a:path w="5" h="15" extrusionOk="0">
                  <a:moveTo>
                    <a:pt x="1" y="1"/>
                  </a:moveTo>
                  <a:lnTo>
                    <a:pt x="4" y="15"/>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741" name="Google Shape;4741;p104"/>
            <p:cNvSpPr/>
            <p:nvPr/>
          </p:nvSpPr>
          <p:spPr>
            <a:xfrm>
              <a:off x="2096924" y="1636824"/>
              <a:ext cx="54" cy="204"/>
            </a:xfrm>
            <a:custGeom>
              <a:avLst/>
              <a:gdLst/>
              <a:ahLst/>
              <a:cxnLst/>
              <a:rect l="l" t="t" r="r" b="b"/>
              <a:pathLst>
                <a:path w="4" h="15" extrusionOk="0">
                  <a:moveTo>
                    <a:pt x="0" y="0"/>
                  </a:moveTo>
                  <a:lnTo>
                    <a:pt x="4" y="14"/>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742" name="Google Shape;4742;p104"/>
            <p:cNvSpPr/>
            <p:nvPr/>
          </p:nvSpPr>
          <p:spPr>
            <a:xfrm>
              <a:off x="2096353" y="1635344"/>
              <a:ext cx="54" cy="163"/>
            </a:xfrm>
            <a:custGeom>
              <a:avLst/>
              <a:gdLst/>
              <a:ahLst/>
              <a:cxnLst/>
              <a:rect l="l" t="t" r="r" b="b"/>
              <a:pathLst>
                <a:path w="4" h="12" extrusionOk="0">
                  <a:moveTo>
                    <a:pt x="0" y="1"/>
                  </a:moveTo>
                  <a:lnTo>
                    <a:pt x="4" y="1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743" name="Google Shape;4743;p104"/>
            <p:cNvSpPr/>
            <p:nvPr/>
          </p:nvSpPr>
          <p:spPr>
            <a:xfrm>
              <a:off x="2096489" y="1635724"/>
              <a:ext cx="68" cy="163"/>
            </a:xfrm>
            <a:custGeom>
              <a:avLst/>
              <a:gdLst/>
              <a:ahLst/>
              <a:cxnLst/>
              <a:rect l="l" t="t" r="r" b="b"/>
              <a:pathLst>
                <a:path w="5" h="12" extrusionOk="0">
                  <a:moveTo>
                    <a:pt x="1" y="1"/>
                  </a:moveTo>
                  <a:lnTo>
                    <a:pt x="4" y="1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744" name="Google Shape;4744;p104"/>
            <p:cNvSpPr/>
            <p:nvPr/>
          </p:nvSpPr>
          <p:spPr>
            <a:xfrm>
              <a:off x="2095878" y="1634543"/>
              <a:ext cx="54" cy="109"/>
            </a:xfrm>
            <a:custGeom>
              <a:avLst/>
              <a:gdLst/>
              <a:ahLst/>
              <a:cxnLst/>
              <a:rect l="l" t="t" r="r" b="b"/>
              <a:pathLst>
                <a:path w="4" h="8" extrusionOk="0">
                  <a:moveTo>
                    <a:pt x="0" y="0"/>
                  </a:moveTo>
                  <a:lnTo>
                    <a:pt x="4" y="7"/>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745" name="Google Shape;4745;p104"/>
            <p:cNvSpPr/>
            <p:nvPr/>
          </p:nvSpPr>
          <p:spPr>
            <a:xfrm>
              <a:off x="2095729" y="1634299"/>
              <a:ext cx="68" cy="109"/>
            </a:xfrm>
            <a:custGeom>
              <a:avLst/>
              <a:gdLst/>
              <a:ahLst/>
              <a:cxnLst/>
              <a:rect l="l" t="t" r="r" b="b"/>
              <a:pathLst>
                <a:path w="5" h="8" extrusionOk="0">
                  <a:moveTo>
                    <a:pt x="1" y="1"/>
                  </a:moveTo>
                  <a:lnTo>
                    <a:pt x="4" y="8"/>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746" name="Google Shape;4746;p104"/>
            <p:cNvSpPr/>
            <p:nvPr/>
          </p:nvSpPr>
          <p:spPr>
            <a:xfrm>
              <a:off x="2095254" y="1632968"/>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747" name="Google Shape;4747;p104"/>
            <p:cNvSpPr/>
            <p:nvPr/>
          </p:nvSpPr>
          <p:spPr>
            <a:xfrm>
              <a:off x="2095064" y="1633063"/>
              <a:ext cx="163" cy="258"/>
            </a:xfrm>
            <a:custGeom>
              <a:avLst/>
              <a:gdLst/>
              <a:ahLst/>
              <a:cxnLst/>
              <a:rect l="l" t="t" r="r" b="b"/>
              <a:pathLst>
                <a:path w="12" h="19" extrusionOk="0">
                  <a:moveTo>
                    <a:pt x="11" y="1"/>
                  </a:moveTo>
                  <a:cubicBezTo>
                    <a:pt x="8" y="4"/>
                    <a:pt x="3" y="9"/>
                    <a:pt x="1" y="14"/>
                  </a:cubicBezTo>
                  <a:lnTo>
                    <a:pt x="1" y="14"/>
                  </a:lnTo>
                  <a:cubicBezTo>
                    <a:pt x="5" y="10"/>
                    <a:pt x="8" y="4"/>
                    <a:pt x="11" y="1"/>
                  </a:cubicBezTo>
                  <a:close/>
                  <a:moveTo>
                    <a:pt x="1" y="14"/>
                  </a:moveTo>
                  <a:lnTo>
                    <a:pt x="1" y="14"/>
                  </a:lnTo>
                  <a:cubicBezTo>
                    <a:pt x="1" y="14"/>
                    <a:pt x="1" y="15"/>
                    <a:pt x="1" y="15"/>
                  </a:cubicBezTo>
                  <a:lnTo>
                    <a:pt x="1" y="18"/>
                  </a:lnTo>
                  <a:cubicBezTo>
                    <a:pt x="1" y="17"/>
                    <a:pt x="1" y="15"/>
                    <a:pt x="1" y="14"/>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748" name="Google Shape;4748;p104"/>
            <p:cNvSpPr/>
            <p:nvPr/>
          </p:nvSpPr>
          <p:spPr>
            <a:xfrm>
              <a:off x="2094588" y="1626274"/>
              <a:ext cx="964" cy="1860"/>
            </a:xfrm>
            <a:custGeom>
              <a:avLst/>
              <a:gdLst/>
              <a:ahLst/>
              <a:cxnLst/>
              <a:rect l="l" t="t" r="r" b="b"/>
              <a:pathLst>
                <a:path w="71" h="137" extrusionOk="0">
                  <a:moveTo>
                    <a:pt x="71" y="137"/>
                  </a:moveTo>
                  <a:cubicBezTo>
                    <a:pt x="46" y="95"/>
                    <a:pt x="1" y="28"/>
                    <a:pt x="4" y="0"/>
                  </a:cubicBezTo>
                  <a:lnTo>
                    <a:pt x="4" y="0"/>
                  </a:lnTo>
                  <a:cubicBezTo>
                    <a:pt x="1" y="28"/>
                    <a:pt x="46" y="95"/>
                    <a:pt x="71" y="137"/>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749" name="Google Shape;4749;p104"/>
            <p:cNvSpPr/>
            <p:nvPr/>
          </p:nvSpPr>
          <p:spPr>
            <a:xfrm>
              <a:off x="2095064" y="1633308"/>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750" name="Google Shape;4750;p104"/>
            <p:cNvSpPr/>
            <p:nvPr/>
          </p:nvSpPr>
          <p:spPr>
            <a:xfrm>
              <a:off x="2109944" y="1656498"/>
              <a:ext cx="149" cy="14"/>
            </a:xfrm>
            <a:custGeom>
              <a:avLst/>
              <a:gdLst/>
              <a:ahLst/>
              <a:cxnLst/>
              <a:rect l="l" t="t" r="r" b="b"/>
              <a:pathLst>
                <a:path w="11" h="1" extrusionOk="0">
                  <a:moveTo>
                    <a:pt x="0" y="1"/>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751" name="Google Shape;4751;p104"/>
            <p:cNvSpPr/>
            <p:nvPr/>
          </p:nvSpPr>
          <p:spPr>
            <a:xfrm>
              <a:off x="2110555" y="1656362"/>
              <a:ext cx="68" cy="14"/>
            </a:xfrm>
            <a:custGeom>
              <a:avLst/>
              <a:gdLst/>
              <a:ahLst/>
              <a:cxnLst/>
              <a:rect l="l" t="t" r="r" b="b"/>
              <a:pathLst>
                <a:path w="5" h="1" extrusionOk="0">
                  <a:moveTo>
                    <a:pt x="1" y="0"/>
                  </a:moveTo>
                  <a:lnTo>
                    <a:pt x="4"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752" name="Google Shape;4752;p104"/>
            <p:cNvSpPr/>
            <p:nvPr/>
          </p:nvSpPr>
          <p:spPr>
            <a:xfrm>
              <a:off x="2118118" y="1656647"/>
              <a:ext cx="869" cy="394"/>
            </a:xfrm>
            <a:custGeom>
              <a:avLst/>
              <a:gdLst/>
              <a:ahLst/>
              <a:cxnLst/>
              <a:rect l="l" t="t" r="r" b="b"/>
              <a:pathLst>
                <a:path w="64" h="29" extrusionOk="0">
                  <a:moveTo>
                    <a:pt x="1" y="0"/>
                  </a:moveTo>
                  <a:lnTo>
                    <a:pt x="64" y="28"/>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753" name="Google Shape;4753;p104"/>
            <p:cNvSpPr/>
            <p:nvPr/>
          </p:nvSpPr>
          <p:spPr>
            <a:xfrm>
              <a:off x="2109374" y="1656552"/>
              <a:ext cx="244" cy="14"/>
            </a:xfrm>
            <a:custGeom>
              <a:avLst/>
              <a:gdLst/>
              <a:ahLst/>
              <a:cxnLst/>
              <a:rect l="l" t="t" r="r" b="b"/>
              <a:pathLst>
                <a:path w="18" h="1" extrusionOk="0">
                  <a:moveTo>
                    <a:pt x="0" y="0"/>
                  </a:moveTo>
                  <a:lnTo>
                    <a:pt x="18"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754" name="Google Shape;4754;p104"/>
            <p:cNvSpPr/>
            <p:nvPr/>
          </p:nvSpPr>
          <p:spPr>
            <a:xfrm>
              <a:off x="2110325" y="1656403"/>
              <a:ext cx="109" cy="14"/>
            </a:xfrm>
            <a:custGeom>
              <a:avLst/>
              <a:gdLst/>
              <a:ahLst/>
              <a:cxnLst/>
              <a:rect l="l" t="t" r="r" b="b"/>
              <a:pathLst>
                <a:path w="8" h="1" extrusionOk="0">
                  <a:moveTo>
                    <a:pt x="0" y="1"/>
                  </a:moveTo>
                  <a:lnTo>
                    <a:pt x="7"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755" name="Google Shape;4755;p104"/>
            <p:cNvSpPr/>
            <p:nvPr/>
          </p:nvSpPr>
          <p:spPr>
            <a:xfrm>
              <a:off x="2117222" y="1656308"/>
              <a:ext cx="774" cy="299"/>
            </a:xfrm>
            <a:custGeom>
              <a:avLst/>
              <a:gdLst/>
              <a:ahLst/>
              <a:cxnLst/>
              <a:rect l="l" t="t" r="r" b="b"/>
              <a:pathLst>
                <a:path w="57" h="22" extrusionOk="0">
                  <a:moveTo>
                    <a:pt x="0" y="1"/>
                  </a:moveTo>
                  <a:lnTo>
                    <a:pt x="56" y="22"/>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756" name="Google Shape;4756;p104"/>
            <p:cNvSpPr/>
            <p:nvPr/>
          </p:nvSpPr>
          <p:spPr>
            <a:xfrm>
              <a:off x="2110650" y="1656308"/>
              <a:ext cx="68" cy="14"/>
            </a:xfrm>
            <a:custGeom>
              <a:avLst/>
              <a:gdLst/>
              <a:ahLst/>
              <a:cxnLst/>
              <a:rect l="l" t="t" r="r" b="b"/>
              <a:pathLst>
                <a:path w="5" h="1" extrusionOk="0">
                  <a:moveTo>
                    <a:pt x="1" y="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757" name="Google Shape;4757;p104"/>
            <p:cNvSpPr/>
            <p:nvPr/>
          </p:nvSpPr>
          <p:spPr>
            <a:xfrm>
              <a:off x="2110135" y="1656457"/>
              <a:ext cx="149" cy="14"/>
            </a:xfrm>
            <a:custGeom>
              <a:avLst/>
              <a:gdLst/>
              <a:ahLst/>
              <a:cxnLst/>
              <a:rect l="l" t="t" r="r" b="b"/>
              <a:pathLst>
                <a:path w="11" h="1" extrusionOk="0">
                  <a:moveTo>
                    <a:pt x="0" y="0"/>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758" name="Google Shape;4758;p104"/>
            <p:cNvSpPr/>
            <p:nvPr/>
          </p:nvSpPr>
          <p:spPr>
            <a:xfrm>
              <a:off x="2119069" y="1657123"/>
              <a:ext cx="964" cy="434"/>
            </a:xfrm>
            <a:custGeom>
              <a:avLst/>
              <a:gdLst/>
              <a:ahLst/>
              <a:cxnLst/>
              <a:rect l="l" t="t" r="r" b="b"/>
              <a:pathLst>
                <a:path w="71" h="32" extrusionOk="0">
                  <a:moveTo>
                    <a:pt x="1" y="0"/>
                  </a:moveTo>
                  <a:lnTo>
                    <a:pt x="71" y="32"/>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759" name="Google Shape;4759;p104"/>
            <p:cNvSpPr/>
            <p:nvPr/>
          </p:nvSpPr>
          <p:spPr>
            <a:xfrm>
              <a:off x="2108994" y="1656593"/>
              <a:ext cx="339" cy="14"/>
            </a:xfrm>
            <a:custGeom>
              <a:avLst/>
              <a:gdLst/>
              <a:ahLst/>
              <a:cxnLst/>
              <a:rect l="l" t="t" r="r" b="b"/>
              <a:pathLst>
                <a:path w="25" h="1" extrusionOk="0">
                  <a:moveTo>
                    <a:pt x="0" y="1"/>
                  </a:moveTo>
                  <a:lnTo>
                    <a:pt x="25"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760" name="Google Shape;4760;p104"/>
            <p:cNvSpPr/>
            <p:nvPr/>
          </p:nvSpPr>
          <p:spPr>
            <a:xfrm>
              <a:off x="2109659" y="1656498"/>
              <a:ext cx="204" cy="14"/>
            </a:xfrm>
            <a:custGeom>
              <a:avLst/>
              <a:gdLst/>
              <a:ahLst/>
              <a:cxnLst/>
              <a:rect l="l" t="t" r="r" b="b"/>
              <a:pathLst>
                <a:path w="15" h="1" extrusionOk="0">
                  <a:moveTo>
                    <a:pt x="0" y="1"/>
                  </a:moveTo>
                  <a:lnTo>
                    <a:pt x="14"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761" name="Google Shape;4761;p104"/>
            <p:cNvSpPr/>
            <p:nvPr/>
          </p:nvSpPr>
          <p:spPr>
            <a:xfrm>
              <a:off x="2116407" y="1656023"/>
              <a:ext cx="679" cy="258"/>
            </a:xfrm>
            <a:custGeom>
              <a:avLst/>
              <a:gdLst/>
              <a:ahLst/>
              <a:cxnLst/>
              <a:rect l="l" t="t" r="r" b="b"/>
              <a:pathLst>
                <a:path w="50" h="19" extrusionOk="0">
                  <a:moveTo>
                    <a:pt x="1" y="1"/>
                  </a:moveTo>
                  <a:cubicBezTo>
                    <a:pt x="15" y="4"/>
                    <a:pt x="32" y="11"/>
                    <a:pt x="50" y="18"/>
                  </a:cubicBezTo>
                  <a:cubicBezTo>
                    <a:pt x="32" y="11"/>
                    <a:pt x="15" y="4"/>
                    <a:pt x="1" y="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762" name="Google Shape;4762;p104"/>
            <p:cNvSpPr/>
            <p:nvPr/>
          </p:nvSpPr>
          <p:spPr>
            <a:xfrm>
              <a:off x="2106428" y="1656552"/>
              <a:ext cx="584" cy="14"/>
            </a:xfrm>
            <a:custGeom>
              <a:avLst/>
              <a:gdLst/>
              <a:ahLst/>
              <a:cxnLst/>
              <a:rect l="l" t="t" r="r" b="b"/>
              <a:pathLst>
                <a:path w="43" h="1" extrusionOk="0">
                  <a:moveTo>
                    <a:pt x="0" y="0"/>
                  </a:moveTo>
                  <a:lnTo>
                    <a:pt x="42"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763" name="Google Shape;4763;p104"/>
            <p:cNvSpPr/>
            <p:nvPr/>
          </p:nvSpPr>
          <p:spPr>
            <a:xfrm>
              <a:off x="2105898" y="1656498"/>
              <a:ext cx="299" cy="14"/>
            </a:xfrm>
            <a:custGeom>
              <a:avLst/>
              <a:gdLst/>
              <a:ahLst/>
              <a:cxnLst/>
              <a:rect l="l" t="t" r="r" b="b"/>
              <a:pathLst>
                <a:path w="22" h="1" extrusionOk="0">
                  <a:moveTo>
                    <a:pt x="22" y="1"/>
                  </a:moveTo>
                  <a:lnTo>
                    <a:pt x="1" y="1"/>
                  </a:lnTo>
                  <a:lnTo>
                    <a:pt x="1"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764" name="Google Shape;4764;p104"/>
            <p:cNvSpPr/>
            <p:nvPr/>
          </p:nvSpPr>
          <p:spPr>
            <a:xfrm>
              <a:off x="2110460" y="1656403"/>
              <a:ext cx="68" cy="14"/>
            </a:xfrm>
            <a:custGeom>
              <a:avLst/>
              <a:gdLst/>
              <a:ahLst/>
              <a:cxnLst/>
              <a:rect l="l" t="t" r="r" b="b"/>
              <a:pathLst>
                <a:path w="5" h="1" extrusionOk="0">
                  <a:moveTo>
                    <a:pt x="1" y="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765" name="Google Shape;4765;p104"/>
            <p:cNvSpPr/>
            <p:nvPr/>
          </p:nvSpPr>
          <p:spPr>
            <a:xfrm>
              <a:off x="2107039" y="1656593"/>
              <a:ext cx="1969" cy="14"/>
            </a:xfrm>
            <a:custGeom>
              <a:avLst/>
              <a:gdLst/>
              <a:ahLst/>
              <a:cxnLst/>
              <a:rect l="l" t="t" r="r" b="b"/>
              <a:pathLst>
                <a:path w="145" h="1" extrusionOk="0">
                  <a:moveTo>
                    <a:pt x="144" y="1"/>
                  </a:moveTo>
                  <a:lnTo>
                    <a:pt x="1" y="1"/>
                  </a:lnTo>
                  <a:cubicBezTo>
                    <a:pt x="60" y="1"/>
                    <a:pt x="106" y="1"/>
                    <a:pt x="144" y="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766" name="Google Shape;4766;p104"/>
            <p:cNvSpPr/>
            <p:nvPr/>
          </p:nvSpPr>
          <p:spPr>
            <a:xfrm>
              <a:off x="2203154" y="1406808"/>
              <a:ext cx="75925" cy="121342"/>
            </a:xfrm>
            <a:custGeom>
              <a:avLst/>
              <a:gdLst/>
              <a:ahLst/>
              <a:cxnLst/>
              <a:rect l="l" t="t" r="r" b="b"/>
              <a:pathLst>
                <a:path w="5592" h="8937" extrusionOk="0">
                  <a:moveTo>
                    <a:pt x="3667" y="1"/>
                  </a:moveTo>
                  <a:cubicBezTo>
                    <a:pt x="3594" y="1"/>
                    <a:pt x="3523" y="29"/>
                    <a:pt x="3473" y="81"/>
                  </a:cubicBezTo>
                  <a:cubicBezTo>
                    <a:pt x="3421" y="155"/>
                    <a:pt x="3298" y="155"/>
                    <a:pt x="3158" y="155"/>
                  </a:cubicBezTo>
                  <a:cubicBezTo>
                    <a:pt x="3088" y="155"/>
                    <a:pt x="2962" y="155"/>
                    <a:pt x="2938" y="176"/>
                  </a:cubicBezTo>
                  <a:cubicBezTo>
                    <a:pt x="2938" y="288"/>
                    <a:pt x="2840" y="344"/>
                    <a:pt x="2749" y="397"/>
                  </a:cubicBezTo>
                  <a:cubicBezTo>
                    <a:pt x="2658" y="446"/>
                    <a:pt x="2602" y="484"/>
                    <a:pt x="2602" y="537"/>
                  </a:cubicBezTo>
                  <a:cubicBezTo>
                    <a:pt x="2605" y="589"/>
                    <a:pt x="2612" y="638"/>
                    <a:pt x="2626" y="691"/>
                  </a:cubicBezTo>
                  <a:cubicBezTo>
                    <a:pt x="2647" y="813"/>
                    <a:pt x="2675" y="939"/>
                    <a:pt x="2602" y="1016"/>
                  </a:cubicBezTo>
                  <a:cubicBezTo>
                    <a:pt x="2566" y="1052"/>
                    <a:pt x="2517" y="1070"/>
                    <a:pt x="2468" y="1070"/>
                  </a:cubicBezTo>
                  <a:cubicBezTo>
                    <a:pt x="2460" y="1070"/>
                    <a:pt x="2452" y="1070"/>
                    <a:pt x="2444" y="1069"/>
                  </a:cubicBezTo>
                  <a:lnTo>
                    <a:pt x="2406" y="1069"/>
                  </a:lnTo>
                  <a:cubicBezTo>
                    <a:pt x="2395" y="1067"/>
                    <a:pt x="2385" y="1066"/>
                    <a:pt x="2374" y="1066"/>
                  </a:cubicBezTo>
                  <a:cubicBezTo>
                    <a:pt x="2364" y="1066"/>
                    <a:pt x="2353" y="1067"/>
                    <a:pt x="2343" y="1069"/>
                  </a:cubicBezTo>
                  <a:cubicBezTo>
                    <a:pt x="2343" y="1083"/>
                    <a:pt x="2339" y="1093"/>
                    <a:pt x="2339" y="1104"/>
                  </a:cubicBezTo>
                  <a:cubicBezTo>
                    <a:pt x="2339" y="1195"/>
                    <a:pt x="2308" y="1282"/>
                    <a:pt x="2252" y="1356"/>
                  </a:cubicBezTo>
                  <a:cubicBezTo>
                    <a:pt x="2224" y="1398"/>
                    <a:pt x="2171" y="1450"/>
                    <a:pt x="2108" y="1450"/>
                  </a:cubicBezTo>
                  <a:cubicBezTo>
                    <a:pt x="2045" y="1450"/>
                    <a:pt x="2007" y="1398"/>
                    <a:pt x="1979" y="1356"/>
                  </a:cubicBezTo>
                  <a:cubicBezTo>
                    <a:pt x="1945" y="1308"/>
                    <a:pt x="1931" y="1298"/>
                    <a:pt x="1918" y="1298"/>
                  </a:cubicBezTo>
                  <a:cubicBezTo>
                    <a:pt x="1915" y="1298"/>
                    <a:pt x="1912" y="1299"/>
                    <a:pt x="1909" y="1300"/>
                  </a:cubicBezTo>
                  <a:cubicBezTo>
                    <a:pt x="1883" y="1308"/>
                    <a:pt x="1859" y="1312"/>
                    <a:pt x="1834" y="1312"/>
                  </a:cubicBezTo>
                  <a:cubicBezTo>
                    <a:pt x="1767" y="1312"/>
                    <a:pt x="1703" y="1285"/>
                    <a:pt x="1646" y="1265"/>
                  </a:cubicBezTo>
                  <a:cubicBezTo>
                    <a:pt x="1590" y="1242"/>
                    <a:pt x="1563" y="1234"/>
                    <a:pt x="1548" y="1234"/>
                  </a:cubicBezTo>
                  <a:cubicBezTo>
                    <a:pt x="1537" y="1234"/>
                    <a:pt x="1533" y="1238"/>
                    <a:pt x="1530" y="1244"/>
                  </a:cubicBezTo>
                  <a:cubicBezTo>
                    <a:pt x="1487" y="1315"/>
                    <a:pt x="1415" y="1339"/>
                    <a:pt x="1328" y="1339"/>
                  </a:cubicBezTo>
                  <a:cubicBezTo>
                    <a:pt x="1239" y="1339"/>
                    <a:pt x="1134" y="1314"/>
                    <a:pt x="1026" y="1289"/>
                  </a:cubicBezTo>
                  <a:cubicBezTo>
                    <a:pt x="974" y="1275"/>
                    <a:pt x="918" y="1261"/>
                    <a:pt x="862" y="1251"/>
                  </a:cubicBezTo>
                  <a:cubicBezTo>
                    <a:pt x="708" y="1219"/>
                    <a:pt x="596" y="1097"/>
                    <a:pt x="498" y="988"/>
                  </a:cubicBezTo>
                  <a:cubicBezTo>
                    <a:pt x="421" y="901"/>
                    <a:pt x="347" y="820"/>
                    <a:pt x="270" y="810"/>
                  </a:cubicBezTo>
                  <a:lnTo>
                    <a:pt x="232" y="810"/>
                  </a:lnTo>
                  <a:cubicBezTo>
                    <a:pt x="221" y="813"/>
                    <a:pt x="211" y="813"/>
                    <a:pt x="200" y="817"/>
                  </a:cubicBezTo>
                  <a:lnTo>
                    <a:pt x="193" y="817"/>
                  </a:lnTo>
                  <a:cubicBezTo>
                    <a:pt x="183" y="820"/>
                    <a:pt x="172" y="824"/>
                    <a:pt x="162" y="831"/>
                  </a:cubicBezTo>
                  <a:lnTo>
                    <a:pt x="158" y="831"/>
                  </a:lnTo>
                  <a:cubicBezTo>
                    <a:pt x="134" y="841"/>
                    <a:pt x="113" y="859"/>
                    <a:pt x="92" y="876"/>
                  </a:cubicBezTo>
                  <a:cubicBezTo>
                    <a:pt x="81" y="887"/>
                    <a:pt x="71" y="897"/>
                    <a:pt x="60" y="908"/>
                  </a:cubicBezTo>
                  <a:lnTo>
                    <a:pt x="57" y="908"/>
                  </a:lnTo>
                  <a:cubicBezTo>
                    <a:pt x="46" y="918"/>
                    <a:pt x="39" y="932"/>
                    <a:pt x="29" y="943"/>
                  </a:cubicBezTo>
                  <a:lnTo>
                    <a:pt x="25" y="946"/>
                  </a:lnTo>
                  <a:cubicBezTo>
                    <a:pt x="18" y="960"/>
                    <a:pt x="8" y="974"/>
                    <a:pt x="1" y="985"/>
                  </a:cubicBezTo>
                  <a:cubicBezTo>
                    <a:pt x="64" y="1030"/>
                    <a:pt x="123" y="1083"/>
                    <a:pt x="176" y="1128"/>
                  </a:cubicBezTo>
                  <a:cubicBezTo>
                    <a:pt x="256" y="1202"/>
                    <a:pt x="340" y="1268"/>
                    <a:pt x="431" y="1328"/>
                  </a:cubicBezTo>
                  <a:cubicBezTo>
                    <a:pt x="466" y="1349"/>
                    <a:pt x="501" y="1366"/>
                    <a:pt x="540" y="1384"/>
                  </a:cubicBezTo>
                  <a:cubicBezTo>
                    <a:pt x="599" y="1412"/>
                    <a:pt x="669" y="1440"/>
                    <a:pt x="746" y="1471"/>
                  </a:cubicBezTo>
                  <a:cubicBezTo>
                    <a:pt x="1072" y="1601"/>
                    <a:pt x="1383" y="1727"/>
                    <a:pt x="1355" y="1919"/>
                  </a:cubicBezTo>
                  <a:cubicBezTo>
                    <a:pt x="1352" y="1954"/>
                    <a:pt x="1345" y="1989"/>
                    <a:pt x="1338" y="2024"/>
                  </a:cubicBezTo>
                  <a:cubicBezTo>
                    <a:pt x="1313" y="2157"/>
                    <a:pt x="1282" y="2332"/>
                    <a:pt x="1348" y="2374"/>
                  </a:cubicBezTo>
                  <a:cubicBezTo>
                    <a:pt x="1446" y="2430"/>
                    <a:pt x="1439" y="2557"/>
                    <a:pt x="1436" y="2665"/>
                  </a:cubicBezTo>
                  <a:cubicBezTo>
                    <a:pt x="1436" y="2753"/>
                    <a:pt x="1432" y="2844"/>
                    <a:pt x="1474" y="2868"/>
                  </a:cubicBezTo>
                  <a:cubicBezTo>
                    <a:pt x="1600" y="2928"/>
                    <a:pt x="1628" y="3113"/>
                    <a:pt x="1593" y="3267"/>
                  </a:cubicBezTo>
                  <a:cubicBezTo>
                    <a:pt x="1569" y="3376"/>
                    <a:pt x="1513" y="3442"/>
                    <a:pt x="1443" y="3456"/>
                  </a:cubicBezTo>
                  <a:cubicBezTo>
                    <a:pt x="1474" y="3519"/>
                    <a:pt x="1520" y="3579"/>
                    <a:pt x="1569" y="3631"/>
                  </a:cubicBezTo>
                  <a:cubicBezTo>
                    <a:pt x="1576" y="3638"/>
                    <a:pt x="1583" y="3645"/>
                    <a:pt x="1590" y="3656"/>
                  </a:cubicBezTo>
                  <a:cubicBezTo>
                    <a:pt x="1590" y="3659"/>
                    <a:pt x="1593" y="3663"/>
                    <a:pt x="1597" y="3666"/>
                  </a:cubicBezTo>
                  <a:cubicBezTo>
                    <a:pt x="1597" y="3673"/>
                    <a:pt x="1604" y="3680"/>
                    <a:pt x="1604" y="3687"/>
                  </a:cubicBezTo>
                  <a:lnTo>
                    <a:pt x="1614" y="3705"/>
                  </a:lnTo>
                  <a:cubicBezTo>
                    <a:pt x="1614" y="3708"/>
                    <a:pt x="1618" y="3715"/>
                    <a:pt x="1621" y="3722"/>
                  </a:cubicBezTo>
                  <a:lnTo>
                    <a:pt x="1625" y="3740"/>
                  </a:lnTo>
                  <a:cubicBezTo>
                    <a:pt x="1628" y="3747"/>
                    <a:pt x="1632" y="3754"/>
                    <a:pt x="1632" y="3764"/>
                  </a:cubicBezTo>
                  <a:cubicBezTo>
                    <a:pt x="1635" y="3771"/>
                    <a:pt x="1635" y="3775"/>
                    <a:pt x="1639" y="3782"/>
                  </a:cubicBezTo>
                  <a:cubicBezTo>
                    <a:pt x="1639" y="3785"/>
                    <a:pt x="1642" y="3799"/>
                    <a:pt x="1642" y="3806"/>
                  </a:cubicBezTo>
                  <a:lnTo>
                    <a:pt x="1646" y="3820"/>
                  </a:lnTo>
                  <a:cubicBezTo>
                    <a:pt x="1649" y="3834"/>
                    <a:pt x="1653" y="3848"/>
                    <a:pt x="1653" y="3859"/>
                  </a:cubicBezTo>
                  <a:lnTo>
                    <a:pt x="1653" y="3873"/>
                  </a:lnTo>
                  <a:cubicBezTo>
                    <a:pt x="1653" y="3880"/>
                    <a:pt x="1656" y="3887"/>
                    <a:pt x="1656" y="3894"/>
                  </a:cubicBezTo>
                  <a:cubicBezTo>
                    <a:pt x="1761" y="3925"/>
                    <a:pt x="1863" y="3967"/>
                    <a:pt x="1958" y="4016"/>
                  </a:cubicBezTo>
                  <a:cubicBezTo>
                    <a:pt x="1993" y="4034"/>
                    <a:pt x="2028" y="4051"/>
                    <a:pt x="2063" y="4065"/>
                  </a:cubicBezTo>
                  <a:cubicBezTo>
                    <a:pt x="2290" y="4167"/>
                    <a:pt x="2294" y="4328"/>
                    <a:pt x="2294" y="4475"/>
                  </a:cubicBezTo>
                  <a:lnTo>
                    <a:pt x="2294" y="4545"/>
                  </a:lnTo>
                  <a:lnTo>
                    <a:pt x="2294" y="4559"/>
                  </a:lnTo>
                  <a:cubicBezTo>
                    <a:pt x="2301" y="4699"/>
                    <a:pt x="2304" y="4780"/>
                    <a:pt x="2241" y="4818"/>
                  </a:cubicBezTo>
                  <a:cubicBezTo>
                    <a:pt x="2224" y="4828"/>
                    <a:pt x="2207" y="4832"/>
                    <a:pt x="2191" y="4832"/>
                  </a:cubicBezTo>
                  <a:cubicBezTo>
                    <a:pt x="2149" y="4832"/>
                    <a:pt x="2113" y="4807"/>
                    <a:pt x="2098" y="4797"/>
                  </a:cubicBezTo>
                  <a:cubicBezTo>
                    <a:pt x="2083" y="4785"/>
                    <a:pt x="2066" y="4780"/>
                    <a:pt x="2048" y="4780"/>
                  </a:cubicBezTo>
                  <a:cubicBezTo>
                    <a:pt x="2040" y="4780"/>
                    <a:pt x="2032" y="4781"/>
                    <a:pt x="2024" y="4783"/>
                  </a:cubicBezTo>
                  <a:cubicBezTo>
                    <a:pt x="2000" y="4794"/>
                    <a:pt x="1940" y="4832"/>
                    <a:pt x="1895" y="5000"/>
                  </a:cubicBezTo>
                  <a:cubicBezTo>
                    <a:pt x="1824" y="5263"/>
                    <a:pt x="1495" y="5581"/>
                    <a:pt x="1278" y="5599"/>
                  </a:cubicBezTo>
                  <a:cubicBezTo>
                    <a:pt x="1212" y="5606"/>
                    <a:pt x="1187" y="5637"/>
                    <a:pt x="1142" y="5700"/>
                  </a:cubicBezTo>
                  <a:cubicBezTo>
                    <a:pt x="1107" y="5770"/>
                    <a:pt x="1040" y="5823"/>
                    <a:pt x="967" y="5847"/>
                  </a:cubicBezTo>
                  <a:cubicBezTo>
                    <a:pt x="851" y="5879"/>
                    <a:pt x="718" y="5942"/>
                    <a:pt x="722" y="6082"/>
                  </a:cubicBezTo>
                  <a:cubicBezTo>
                    <a:pt x="729" y="6138"/>
                    <a:pt x="708" y="6190"/>
                    <a:pt x="669" y="6232"/>
                  </a:cubicBezTo>
                  <a:cubicBezTo>
                    <a:pt x="582" y="6323"/>
                    <a:pt x="414" y="6334"/>
                    <a:pt x="277" y="6334"/>
                  </a:cubicBezTo>
                  <a:cubicBezTo>
                    <a:pt x="246" y="6334"/>
                    <a:pt x="228" y="6369"/>
                    <a:pt x="197" y="6463"/>
                  </a:cubicBezTo>
                  <a:cubicBezTo>
                    <a:pt x="172" y="6540"/>
                    <a:pt x="144" y="6628"/>
                    <a:pt x="67" y="6674"/>
                  </a:cubicBezTo>
                  <a:cubicBezTo>
                    <a:pt x="22" y="6698"/>
                    <a:pt x="22" y="6719"/>
                    <a:pt x="18" y="6726"/>
                  </a:cubicBezTo>
                  <a:cubicBezTo>
                    <a:pt x="11" y="6758"/>
                    <a:pt x="39" y="6814"/>
                    <a:pt x="102" y="6894"/>
                  </a:cubicBezTo>
                  <a:cubicBezTo>
                    <a:pt x="165" y="6978"/>
                    <a:pt x="186" y="7083"/>
                    <a:pt x="165" y="7188"/>
                  </a:cubicBezTo>
                  <a:cubicBezTo>
                    <a:pt x="158" y="7220"/>
                    <a:pt x="158" y="7255"/>
                    <a:pt x="165" y="7290"/>
                  </a:cubicBezTo>
                  <a:cubicBezTo>
                    <a:pt x="172" y="7304"/>
                    <a:pt x="183" y="7325"/>
                    <a:pt x="197" y="7353"/>
                  </a:cubicBezTo>
                  <a:cubicBezTo>
                    <a:pt x="260" y="7475"/>
                    <a:pt x="375" y="7706"/>
                    <a:pt x="263" y="7955"/>
                  </a:cubicBezTo>
                  <a:cubicBezTo>
                    <a:pt x="141" y="8221"/>
                    <a:pt x="95" y="8361"/>
                    <a:pt x="88" y="8424"/>
                  </a:cubicBezTo>
                  <a:cubicBezTo>
                    <a:pt x="155" y="8427"/>
                    <a:pt x="228" y="8473"/>
                    <a:pt x="312" y="8525"/>
                  </a:cubicBezTo>
                  <a:cubicBezTo>
                    <a:pt x="392" y="8572"/>
                    <a:pt x="487" y="8631"/>
                    <a:pt x="551" y="8631"/>
                  </a:cubicBezTo>
                  <a:cubicBezTo>
                    <a:pt x="554" y="8631"/>
                    <a:pt x="557" y="8631"/>
                    <a:pt x="561" y="8630"/>
                  </a:cubicBezTo>
                  <a:cubicBezTo>
                    <a:pt x="568" y="8630"/>
                    <a:pt x="575" y="8629"/>
                    <a:pt x="582" y="8629"/>
                  </a:cubicBezTo>
                  <a:cubicBezTo>
                    <a:pt x="681" y="8629"/>
                    <a:pt x="739" y="8697"/>
                    <a:pt x="785" y="8750"/>
                  </a:cubicBezTo>
                  <a:cubicBezTo>
                    <a:pt x="821" y="8794"/>
                    <a:pt x="840" y="8812"/>
                    <a:pt x="862" y="8812"/>
                  </a:cubicBezTo>
                  <a:cubicBezTo>
                    <a:pt x="867" y="8812"/>
                    <a:pt x="873" y="8811"/>
                    <a:pt x="879" y="8809"/>
                  </a:cubicBezTo>
                  <a:cubicBezTo>
                    <a:pt x="900" y="8802"/>
                    <a:pt x="921" y="8799"/>
                    <a:pt x="946" y="8799"/>
                  </a:cubicBezTo>
                  <a:cubicBezTo>
                    <a:pt x="995" y="8802"/>
                    <a:pt x="1044" y="8820"/>
                    <a:pt x="1086" y="8848"/>
                  </a:cubicBezTo>
                  <a:cubicBezTo>
                    <a:pt x="1150" y="8886"/>
                    <a:pt x="1238" y="8936"/>
                    <a:pt x="1438" y="8936"/>
                  </a:cubicBezTo>
                  <a:cubicBezTo>
                    <a:pt x="1456" y="8936"/>
                    <a:pt x="1475" y="8936"/>
                    <a:pt x="1495" y="8935"/>
                  </a:cubicBezTo>
                  <a:cubicBezTo>
                    <a:pt x="1712" y="8928"/>
                    <a:pt x="2052" y="8827"/>
                    <a:pt x="2381" y="8732"/>
                  </a:cubicBezTo>
                  <a:cubicBezTo>
                    <a:pt x="2710" y="8637"/>
                    <a:pt x="3011" y="8546"/>
                    <a:pt x="3193" y="8546"/>
                  </a:cubicBezTo>
                  <a:cubicBezTo>
                    <a:pt x="3206" y="8547"/>
                    <a:pt x="3219" y="8547"/>
                    <a:pt x="3232" y="8547"/>
                  </a:cubicBezTo>
                  <a:cubicBezTo>
                    <a:pt x="3373" y="8547"/>
                    <a:pt x="3510" y="8530"/>
                    <a:pt x="3645" y="8501"/>
                  </a:cubicBezTo>
                  <a:cubicBezTo>
                    <a:pt x="3704" y="8410"/>
                    <a:pt x="3767" y="8326"/>
                    <a:pt x="3837" y="8245"/>
                  </a:cubicBezTo>
                  <a:lnTo>
                    <a:pt x="3865" y="8217"/>
                  </a:lnTo>
                  <a:lnTo>
                    <a:pt x="3869" y="8210"/>
                  </a:lnTo>
                  <a:lnTo>
                    <a:pt x="3900" y="8179"/>
                  </a:lnTo>
                  <a:cubicBezTo>
                    <a:pt x="4009" y="8081"/>
                    <a:pt x="4132" y="7993"/>
                    <a:pt x="4261" y="7920"/>
                  </a:cubicBezTo>
                  <a:cubicBezTo>
                    <a:pt x="4457" y="7801"/>
                    <a:pt x="4657" y="7678"/>
                    <a:pt x="4727" y="7521"/>
                  </a:cubicBezTo>
                  <a:lnTo>
                    <a:pt x="4734" y="7510"/>
                  </a:lnTo>
                  <a:cubicBezTo>
                    <a:pt x="4793" y="7384"/>
                    <a:pt x="4916" y="7276"/>
                    <a:pt x="5052" y="7174"/>
                  </a:cubicBezTo>
                  <a:lnTo>
                    <a:pt x="5101" y="7139"/>
                  </a:lnTo>
                  <a:lnTo>
                    <a:pt x="5171" y="7090"/>
                  </a:lnTo>
                  <a:cubicBezTo>
                    <a:pt x="5329" y="6975"/>
                    <a:pt x="5493" y="6856"/>
                    <a:pt x="5535" y="6747"/>
                  </a:cubicBezTo>
                  <a:cubicBezTo>
                    <a:pt x="5577" y="6635"/>
                    <a:pt x="5591" y="6596"/>
                    <a:pt x="5402" y="6376"/>
                  </a:cubicBezTo>
                  <a:cubicBezTo>
                    <a:pt x="5304" y="6264"/>
                    <a:pt x="5140" y="6166"/>
                    <a:pt x="5000" y="6082"/>
                  </a:cubicBezTo>
                  <a:cubicBezTo>
                    <a:pt x="4828" y="5980"/>
                    <a:pt x="4702" y="5907"/>
                    <a:pt x="4692" y="5809"/>
                  </a:cubicBezTo>
                  <a:cubicBezTo>
                    <a:pt x="4678" y="5697"/>
                    <a:pt x="4786" y="5648"/>
                    <a:pt x="4884" y="5606"/>
                  </a:cubicBezTo>
                  <a:cubicBezTo>
                    <a:pt x="4951" y="5574"/>
                    <a:pt x="5031" y="5536"/>
                    <a:pt x="5028" y="5501"/>
                  </a:cubicBezTo>
                  <a:cubicBezTo>
                    <a:pt x="5024" y="5441"/>
                    <a:pt x="4986" y="5417"/>
                    <a:pt x="4912" y="5375"/>
                  </a:cubicBezTo>
                  <a:cubicBezTo>
                    <a:pt x="4846" y="5343"/>
                    <a:pt x="4790" y="5294"/>
                    <a:pt x="4748" y="5235"/>
                  </a:cubicBezTo>
                  <a:cubicBezTo>
                    <a:pt x="4671" y="5116"/>
                    <a:pt x="4751" y="5018"/>
                    <a:pt x="4790" y="4965"/>
                  </a:cubicBezTo>
                  <a:cubicBezTo>
                    <a:pt x="4797" y="4958"/>
                    <a:pt x="4804" y="4951"/>
                    <a:pt x="4811" y="4944"/>
                  </a:cubicBezTo>
                  <a:cubicBezTo>
                    <a:pt x="4783" y="4930"/>
                    <a:pt x="4758" y="4920"/>
                    <a:pt x="4734" y="4909"/>
                  </a:cubicBezTo>
                  <a:cubicBezTo>
                    <a:pt x="4646" y="4874"/>
                    <a:pt x="4559" y="4839"/>
                    <a:pt x="4545" y="4762"/>
                  </a:cubicBezTo>
                  <a:cubicBezTo>
                    <a:pt x="4524" y="4675"/>
                    <a:pt x="4604" y="4636"/>
                    <a:pt x="4643" y="4619"/>
                  </a:cubicBezTo>
                  <a:cubicBezTo>
                    <a:pt x="4653" y="4612"/>
                    <a:pt x="4664" y="4608"/>
                    <a:pt x="4671" y="4601"/>
                  </a:cubicBezTo>
                  <a:cubicBezTo>
                    <a:pt x="4660" y="4580"/>
                    <a:pt x="4650" y="4556"/>
                    <a:pt x="4636" y="4531"/>
                  </a:cubicBezTo>
                  <a:cubicBezTo>
                    <a:pt x="4580" y="4426"/>
                    <a:pt x="4492" y="4268"/>
                    <a:pt x="4604" y="4125"/>
                  </a:cubicBezTo>
                  <a:cubicBezTo>
                    <a:pt x="4650" y="4072"/>
                    <a:pt x="4716" y="4034"/>
                    <a:pt x="4786" y="4023"/>
                  </a:cubicBezTo>
                  <a:cubicBezTo>
                    <a:pt x="4800" y="4020"/>
                    <a:pt x="4814" y="4016"/>
                    <a:pt x="4828" y="4009"/>
                  </a:cubicBezTo>
                  <a:cubicBezTo>
                    <a:pt x="4821" y="3960"/>
                    <a:pt x="4804" y="3915"/>
                    <a:pt x="4776" y="3873"/>
                  </a:cubicBezTo>
                  <a:cubicBezTo>
                    <a:pt x="4615" y="3582"/>
                    <a:pt x="4373" y="3222"/>
                    <a:pt x="4282" y="3085"/>
                  </a:cubicBezTo>
                  <a:lnTo>
                    <a:pt x="4261" y="3054"/>
                  </a:lnTo>
                  <a:cubicBezTo>
                    <a:pt x="4233" y="3012"/>
                    <a:pt x="4226" y="2963"/>
                    <a:pt x="4237" y="2914"/>
                  </a:cubicBezTo>
                  <a:cubicBezTo>
                    <a:pt x="4261" y="2826"/>
                    <a:pt x="4310" y="2749"/>
                    <a:pt x="4377" y="2690"/>
                  </a:cubicBezTo>
                  <a:cubicBezTo>
                    <a:pt x="4398" y="2672"/>
                    <a:pt x="4419" y="2655"/>
                    <a:pt x="4440" y="2641"/>
                  </a:cubicBezTo>
                  <a:cubicBezTo>
                    <a:pt x="4545" y="2560"/>
                    <a:pt x="4639" y="2465"/>
                    <a:pt x="4716" y="2360"/>
                  </a:cubicBezTo>
                  <a:cubicBezTo>
                    <a:pt x="4734" y="2339"/>
                    <a:pt x="4744" y="2315"/>
                    <a:pt x="4751" y="2290"/>
                  </a:cubicBezTo>
                  <a:cubicBezTo>
                    <a:pt x="4741" y="2231"/>
                    <a:pt x="4492" y="2000"/>
                    <a:pt x="4394" y="1940"/>
                  </a:cubicBezTo>
                  <a:cubicBezTo>
                    <a:pt x="4370" y="1930"/>
                    <a:pt x="4342" y="1919"/>
                    <a:pt x="4317" y="1916"/>
                  </a:cubicBezTo>
                  <a:cubicBezTo>
                    <a:pt x="4230" y="1891"/>
                    <a:pt x="4114" y="1863"/>
                    <a:pt x="4044" y="1744"/>
                  </a:cubicBezTo>
                  <a:cubicBezTo>
                    <a:pt x="4041" y="1737"/>
                    <a:pt x="4034" y="1730"/>
                    <a:pt x="4030" y="1720"/>
                  </a:cubicBezTo>
                  <a:cubicBezTo>
                    <a:pt x="4009" y="1681"/>
                    <a:pt x="3988" y="1646"/>
                    <a:pt x="3971" y="1618"/>
                  </a:cubicBezTo>
                  <a:cubicBezTo>
                    <a:pt x="3918" y="1531"/>
                    <a:pt x="3869" y="1450"/>
                    <a:pt x="3956" y="1342"/>
                  </a:cubicBezTo>
                  <a:cubicBezTo>
                    <a:pt x="4023" y="1265"/>
                    <a:pt x="4023" y="1184"/>
                    <a:pt x="4023" y="1093"/>
                  </a:cubicBezTo>
                  <a:cubicBezTo>
                    <a:pt x="4023" y="1083"/>
                    <a:pt x="4023" y="1069"/>
                    <a:pt x="4027" y="1058"/>
                  </a:cubicBezTo>
                  <a:cubicBezTo>
                    <a:pt x="4034" y="1041"/>
                    <a:pt x="4041" y="1027"/>
                    <a:pt x="4055" y="1013"/>
                  </a:cubicBezTo>
                  <a:cubicBezTo>
                    <a:pt x="4083" y="988"/>
                    <a:pt x="4118" y="974"/>
                    <a:pt x="4156" y="967"/>
                  </a:cubicBezTo>
                  <a:cubicBezTo>
                    <a:pt x="4198" y="960"/>
                    <a:pt x="4216" y="953"/>
                    <a:pt x="4226" y="939"/>
                  </a:cubicBezTo>
                  <a:cubicBezTo>
                    <a:pt x="4230" y="932"/>
                    <a:pt x="4233" y="925"/>
                    <a:pt x="4233" y="918"/>
                  </a:cubicBezTo>
                  <a:cubicBezTo>
                    <a:pt x="4233" y="908"/>
                    <a:pt x="4240" y="897"/>
                    <a:pt x="4244" y="890"/>
                  </a:cubicBezTo>
                  <a:cubicBezTo>
                    <a:pt x="4247" y="880"/>
                    <a:pt x="4247" y="876"/>
                    <a:pt x="4247" y="873"/>
                  </a:cubicBezTo>
                  <a:lnTo>
                    <a:pt x="4251" y="862"/>
                  </a:lnTo>
                  <a:cubicBezTo>
                    <a:pt x="4275" y="803"/>
                    <a:pt x="4310" y="750"/>
                    <a:pt x="4356" y="705"/>
                  </a:cubicBezTo>
                  <a:cubicBezTo>
                    <a:pt x="4356" y="677"/>
                    <a:pt x="4356" y="649"/>
                    <a:pt x="4356" y="621"/>
                  </a:cubicBezTo>
                  <a:cubicBezTo>
                    <a:pt x="4366" y="561"/>
                    <a:pt x="4370" y="502"/>
                    <a:pt x="4370" y="446"/>
                  </a:cubicBezTo>
                  <a:cubicBezTo>
                    <a:pt x="4363" y="400"/>
                    <a:pt x="4240" y="347"/>
                    <a:pt x="4146" y="305"/>
                  </a:cubicBezTo>
                  <a:cubicBezTo>
                    <a:pt x="4009" y="246"/>
                    <a:pt x="3869" y="186"/>
                    <a:pt x="3806" y="74"/>
                  </a:cubicBezTo>
                  <a:cubicBezTo>
                    <a:pt x="3781" y="29"/>
                    <a:pt x="3732" y="1"/>
                    <a:pt x="3680" y="1"/>
                  </a:cubicBezTo>
                  <a:cubicBezTo>
                    <a:pt x="3676" y="1"/>
                    <a:pt x="3671" y="1"/>
                    <a:pt x="3667" y="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767" name="Google Shape;4767;p104"/>
            <p:cNvSpPr/>
            <p:nvPr/>
          </p:nvSpPr>
          <p:spPr>
            <a:xfrm>
              <a:off x="2302786" y="1795464"/>
              <a:ext cx="154498" cy="123284"/>
            </a:xfrm>
            <a:custGeom>
              <a:avLst/>
              <a:gdLst/>
              <a:ahLst/>
              <a:cxnLst/>
              <a:rect l="l" t="t" r="r" b="b"/>
              <a:pathLst>
                <a:path w="11379" h="9080" extrusionOk="0">
                  <a:moveTo>
                    <a:pt x="2656" y="1"/>
                  </a:moveTo>
                  <a:cubicBezTo>
                    <a:pt x="2639" y="1"/>
                    <a:pt x="2622" y="1"/>
                    <a:pt x="2605" y="2"/>
                  </a:cubicBezTo>
                  <a:lnTo>
                    <a:pt x="2552" y="6"/>
                  </a:lnTo>
                  <a:cubicBezTo>
                    <a:pt x="2524" y="6"/>
                    <a:pt x="2493" y="9"/>
                    <a:pt x="2458" y="9"/>
                  </a:cubicBezTo>
                  <a:lnTo>
                    <a:pt x="2346" y="9"/>
                  </a:lnTo>
                  <a:cubicBezTo>
                    <a:pt x="2341" y="9"/>
                    <a:pt x="2337" y="9"/>
                    <a:pt x="2333" y="9"/>
                  </a:cubicBezTo>
                  <a:cubicBezTo>
                    <a:pt x="2284" y="9"/>
                    <a:pt x="2234" y="26"/>
                    <a:pt x="2199" y="58"/>
                  </a:cubicBezTo>
                  <a:cubicBezTo>
                    <a:pt x="2132" y="107"/>
                    <a:pt x="2052" y="167"/>
                    <a:pt x="1789" y="181"/>
                  </a:cubicBezTo>
                  <a:cubicBezTo>
                    <a:pt x="1478" y="198"/>
                    <a:pt x="1306" y="349"/>
                    <a:pt x="1278" y="405"/>
                  </a:cubicBezTo>
                  <a:cubicBezTo>
                    <a:pt x="1408" y="461"/>
                    <a:pt x="1733" y="730"/>
                    <a:pt x="1747" y="888"/>
                  </a:cubicBezTo>
                  <a:cubicBezTo>
                    <a:pt x="1751" y="930"/>
                    <a:pt x="1726" y="976"/>
                    <a:pt x="1684" y="997"/>
                  </a:cubicBezTo>
                  <a:cubicBezTo>
                    <a:pt x="1646" y="1021"/>
                    <a:pt x="1611" y="1056"/>
                    <a:pt x="1586" y="1098"/>
                  </a:cubicBezTo>
                  <a:cubicBezTo>
                    <a:pt x="1534" y="1172"/>
                    <a:pt x="1467" y="1263"/>
                    <a:pt x="1331" y="1263"/>
                  </a:cubicBezTo>
                  <a:cubicBezTo>
                    <a:pt x="1145" y="1263"/>
                    <a:pt x="1051" y="1291"/>
                    <a:pt x="1051" y="1350"/>
                  </a:cubicBezTo>
                  <a:cubicBezTo>
                    <a:pt x="1051" y="1424"/>
                    <a:pt x="1002" y="1515"/>
                    <a:pt x="911" y="1595"/>
                  </a:cubicBezTo>
                  <a:cubicBezTo>
                    <a:pt x="897" y="1609"/>
                    <a:pt x="883" y="1620"/>
                    <a:pt x="869" y="1630"/>
                  </a:cubicBezTo>
                  <a:lnTo>
                    <a:pt x="855" y="1641"/>
                  </a:lnTo>
                  <a:cubicBezTo>
                    <a:pt x="848" y="1648"/>
                    <a:pt x="837" y="1655"/>
                    <a:pt x="827" y="1662"/>
                  </a:cubicBezTo>
                  <a:lnTo>
                    <a:pt x="809" y="1669"/>
                  </a:lnTo>
                  <a:cubicBezTo>
                    <a:pt x="802" y="1676"/>
                    <a:pt x="792" y="1683"/>
                    <a:pt x="781" y="1686"/>
                  </a:cubicBezTo>
                  <a:lnTo>
                    <a:pt x="767" y="1693"/>
                  </a:lnTo>
                  <a:lnTo>
                    <a:pt x="735" y="1707"/>
                  </a:lnTo>
                  <a:lnTo>
                    <a:pt x="721" y="1714"/>
                  </a:lnTo>
                  <a:lnTo>
                    <a:pt x="690" y="1725"/>
                  </a:lnTo>
                  <a:lnTo>
                    <a:pt x="676" y="1728"/>
                  </a:lnTo>
                  <a:lnTo>
                    <a:pt x="644" y="1735"/>
                  </a:lnTo>
                  <a:lnTo>
                    <a:pt x="630" y="1735"/>
                  </a:lnTo>
                  <a:cubicBezTo>
                    <a:pt x="620" y="1735"/>
                    <a:pt x="613" y="1739"/>
                    <a:pt x="602" y="1739"/>
                  </a:cubicBezTo>
                  <a:lnTo>
                    <a:pt x="546" y="1739"/>
                  </a:lnTo>
                  <a:cubicBezTo>
                    <a:pt x="438" y="1718"/>
                    <a:pt x="333" y="1679"/>
                    <a:pt x="238" y="1623"/>
                  </a:cubicBezTo>
                  <a:lnTo>
                    <a:pt x="210" y="1613"/>
                  </a:lnTo>
                  <a:lnTo>
                    <a:pt x="196" y="1606"/>
                  </a:lnTo>
                  <a:cubicBezTo>
                    <a:pt x="151" y="1581"/>
                    <a:pt x="98" y="1557"/>
                    <a:pt x="46" y="1525"/>
                  </a:cubicBezTo>
                  <a:lnTo>
                    <a:pt x="18" y="1606"/>
                  </a:lnTo>
                  <a:lnTo>
                    <a:pt x="0" y="1732"/>
                  </a:lnTo>
                  <a:cubicBezTo>
                    <a:pt x="14" y="1809"/>
                    <a:pt x="18" y="1889"/>
                    <a:pt x="14" y="1966"/>
                  </a:cubicBezTo>
                  <a:cubicBezTo>
                    <a:pt x="14" y="2061"/>
                    <a:pt x="21" y="2260"/>
                    <a:pt x="49" y="2299"/>
                  </a:cubicBezTo>
                  <a:cubicBezTo>
                    <a:pt x="133" y="2330"/>
                    <a:pt x="189" y="2411"/>
                    <a:pt x="266" y="2526"/>
                  </a:cubicBezTo>
                  <a:cubicBezTo>
                    <a:pt x="340" y="2642"/>
                    <a:pt x="424" y="2754"/>
                    <a:pt x="518" y="2859"/>
                  </a:cubicBezTo>
                  <a:cubicBezTo>
                    <a:pt x="774" y="3136"/>
                    <a:pt x="1320" y="3913"/>
                    <a:pt x="1327" y="4126"/>
                  </a:cubicBezTo>
                  <a:cubicBezTo>
                    <a:pt x="1334" y="4256"/>
                    <a:pt x="1380" y="4452"/>
                    <a:pt x="1719" y="4683"/>
                  </a:cubicBezTo>
                  <a:cubicBezTo>
                    <a:pt x="1873" y="4788"/>
                    <a:pt x="1996" y="4935"/>
                    <a:pt x="2076" y="5103"/>
                  </a:cubicBezTo>
                  <a:cubicBezTo>
                    <a:pt x="2108" y="5177"/>
                    <a:pt x="2157" y="5243"/>
                    <a:pt x="2216" y="5299"/>
                  </a:cubicBezTo>
                  <a:cubicBezTo>
                    <a:pt x="2381" y="5422"/>
                    <a:pt x="2381" y="5569"/>
                    <a:pt x="2377" y="5793"/>
                  </a:cubicBezTo>
                  <a:lnTo>
                    <a:pt x="2377" y="5957"/>
                  </a:lnTo>
                  <a:cubicBezTo>
                    <a:pt x="2384" y="6255"/>
                    <a:pt x="2517" y="6657"/>
                    <a:pt x="2790" y="6822"/>
                  </a:cubicBezTo>
                  <a:cubicBezTo>
                    <a:pt x="3130" y="7028"/>
                    <a:pt x="3319" y="7246"/>
                    <a:pt x="3449" y="7575"/>
                  </a:cubicBezTo>
                  <a:cubicBezTo>
                    <a:pt x="3585" y="7918"/>
                    <a:pt x="3757" y="8208"/>
                    <a:pt x="3935" y="8387"/>
                  </a:cubicBezTo>
                  <a:cubicBezTo>
                    <a:pt x="4019" y="8464"/>
                    <a:pt x="4072" y="8569"/>
                    <a:pt x="4082" y="8681"/>
                  </a:cubicBezTo>
                  <a:cubicBezTo>
                    <a:pt x="4082" y="8730"/>
                    <a:pt x="4096" y="8775"/>
                    <a:pt x="4124" y="8814"/>
                  </a:cubicBezTo>
                  <a:cubicBezTo>
                    <a:pt x="4187" y="8898"/>
                    <a:pt x="4240" y="8985"/>
                    <a:pt x="4285" y="9080"/>
                  </a:cubicBezTo>
                  <a:lnTo>
                    <a:pt x="4310" y="9069"/>
                  </a:lnTo>
                  <a:lnTo>
                    <a:pt x="4320" y="9062"/>
                  </a:lnTo>
                  <a:lnTo>
                    <a:pt x="4352" y="9048"/>
                  </a:lnTo>
                  <a:lnTo>
                    <a:pt x="4362" y="9041"/>
                  </a:lnTo>
                  <a:lnTo>
                    <a:pt x="4380" y="9034"/>
                  </a:lnTo>
                  <a:lnTo>
                    <a:pt x="4390" y="9027"/>
                  </a:lnTo>
                  <a:lnTo>
                    <a:pt x="4401" y="9020"/>
                  </a:lnTo>
                  <a:lnTo>
                    <a:pt x="4411" y="9017"/>
                  </a:lnTo>
                  <a:lnTo>
                    <a:pt x="4422" y="9013"/>
                  </a:lnTo>
                  <a:lnTo>
                    <a:pt x="4425" y="9010"/>
                  </a:lnTo>
                  <a:lnTo>
                    <a:pt x="4436" y="9003"/>
                  </a:lnTo>
                  <a:lnTo>
                    <a:pt x="4439" y="8999"/>
                  </a:lnTo>
                  <a:lnTo>
                    <a:pt x="4446" y="8996"/>
                  </a:lnTo>
                  <a:cubicBezTo>
                    <a:pt x="4443" y="8968"/>
                    <a:pt x="4439" y="8940"/>
                    <a:pt x="4432" y="8912"/>
                  </a:cubicBezTo>
                  <a:cubicBezTo>
                    <a:pt x="4411" y="8835"/>
                    <a:pt x="4394" y="8754"/>
                    <a:pt x="4439" y="8695"/>
                  </a:cubicBezTo>
                  <a:cubicBezTo>
                    <a:pt x="4488" y="8628"/>
                    <a:pt x="4590" y="8506"/>
                    <a:pt x="4705" y="8471"/>
                  </a:cubicBezTo>
                  <a:cubicBezTo>
                    <a:pt x="4723" y="8465"/>
                    <a:pt x="4740" y="8462"/>
                    <a:pt x="4758" y="8462"/>
                  </a:cubicBezTo>
                  <a:cubicBezTo>
                    <a:pt x="4800" y="8462"/>
                    <a:pt x="4843" y="8477"/>
                    <a:pt x="4887" y="8492"/>
                  </a:cubicBezTo>
                  <a:cubicBezTo>
                    <a:pt x="4947" y="8520"/>
                    <a:pt x="5011" y="8532"/>
                    <a:pt x="5076" y="8532"/>
                  </a:cubicBezTo>
                  <a:cubicBezTo>
                    <a:pt x="5091" y="8532"/>
                    <a:pt x="5107" y="8532"/>
                    <a:pt x="5122" y="8530"/>
                  </a:cubicBezTo>
                  <a:cubicBezTo>
                    <a:pt x="5169" y="8523"/>
                    <a:pt x="5232" y="8520"/>
                    <a:pt x="5303" y="8520"/>
                  </a:cubicBezTo>
                  <a:cubicBezTo>
                    <a:pt x="5507" y="8520"/>
                    <a:pt x="5769" y="8549"/>
                    <a:pt x="5840" y="8604"/>
                  </a:cubicBezTo>
                  <a:cubicBezTo>
                    <a:pt x="5910" y="8614"/>
                    <a:pt x="5983" y="8621"/>
                    <a:pt x="6053" y="8625"/>
                  </a:cubicBezTo>
                  <a:cubicBezTo>
                    <a:pt x="6312" y="8639"/>
                    <a:pt x="6515" y="8656"/>
                    <a:pt x="6610" y="8730"/>
                  </a:cubicBezTo>
                  <a:cubicBezTo>
                    <a:pt x="6640" y="8760"/>
                    <a:pt x="6680" y="8777"/>
                    <a:pt x="6724" y="8777"/>
                  </a:cubicBezTo>
                  <a:cubicBezTo>
                    <a:pt x="6731" y="8777"/>
                    <a:pt x="6739" y="8776"/>
                    <a:pt x="6746" y="8775"/>
                  </a:cubicBezTo>
                  <a:cubicBezTo>
                    <a:pt x="6795" y="8761"/>
                    <a:pt x="6844" y="8705"/>
                    <a:pt x="6883" y="8614"/>
                  </a:cubicBezTo>
                  <a:cubicBezTo>
                    <a:pt x="6988" y="8366"/>
                    <a:pt x="7671" y="7890"/>
                    <a:pt x="7758" y="7848"/>
                  </a:cubicBezTo>
                  <a:cubicBezTo>
                    <a:pt x="7814" y="7820"/>
                    <a:pt x="7951" y="7816"/>
                    <a:pt x="8210" y="7816"/>
                  </a:cubicBezTo>
                  <a:cubicBezTo>
                    <a:pt x="8444" y="7816"/>
                    <a:pt x="8707" y="7813"/>
                    <a:pt x="8850" y="7781"/>
                  </a:cubicBezTo>
                  <a:lnTo>
                    <a:pt x="8878" y="7774"/>
                  </a:lnTo>
                  <a:cubicBezTo>
                    <a:pt x="8941" y="7757"/>
                    <a:pt x="9078" y="7718"/>
                    <a:pt x="9376" y="7627"/>
                  </a:cubicBezTo>
                  <a:lnTo>
                    <a:pt x="9379" y="7627"/>
                  </a:lnTo>
                  <a:cubicBezTo>
                    <a:pt x="10055" y="7417"/>
                    <a:pt x="10825" y="7162"/>
                    <a:pt x="11000" y="7088"/>
                  </a:cubicBezTo>
                  <a:lnTo>
                    <a:pt x="11003" y="7088"/>
                  </a:lnTo>
                  <a:lnTo>
                    <a:pt x="11014" y="7085"/>
                  </a:lnTo>
                  <a:lnTo>
                    <a:pt x="11028" y="7078"/>
                  </a:lnTo>
                  <a:cubicBezTo>
                    <a:pt x="11070" y="6997"/>
                    <a:pt x="11105" y="6913"/>
                    <a:pt x="11133" y="6822"/>
                  </a:cubicBezTo>
                  <a:lnTo>
                    <a:pt x="11150" y="6780"/>
                  </a:lnTo>
                  <a:lnTo>
                    <a:pt x="11172" y="6713"/>
                  </a:lnTo>
                  <a:cubicBezTo>
                    <a:pt x="11186" y="6675"/>
                    <a:pt x="11200" y="6633"/>
                    <a:pt x="11214" y="6591"/>
                  </a:cubicBezTo>
                  <a:lnTo>
                    <a:pt x="11221" y="6573"/>
                  </a:lnTo>
                  <a:cubicBezTo>
                    <a:pt x="11273" y="6405"/>
                    <a:pt x="11322" y="6237"/>
                    <a:pt x="11350" y="6122"/>
                  </a:cubicBezTo>
                  <a:lnTo>
                    <a:pt x="11350" y="6118"/>
                  </a:lnTo>
                  <a:cubicBezTo>
                    <a:pt x="11361" y="6073"/>
                    <a:pt x="11368" y="6041"/>
                    <a:pt x="11375" y="6017"/>
                  </a:cubicBezTo>
                  <a:cubicBezTo>
                    <a:pt x="11375" y="6006"/>
                    <a:pt x="11375" y="5999"/>
                    <a:pt x="11378" y="5989"/>
                  </a:cubicBezTo>
                  <a:cubicBezTo>
                    <a:pt x="11361" y="5877"/>
                    <a:pt x="11308" y="5775"/>
                    <a:pt x="11228" y="5691"/>
                  </a:cubicBezTo>
                  <a:cubicBezTo>
                    <a:pt x="11214" y="5677"/>
                    <a:pt x="11193" y="5663"/>
                    <a:pt x="11168" y="5663"/>
                  </a:cubicBezTo>
                  <a:cubicBezTo>
                    <a:pt x="11156" y="5665"/>
                    <a:pt x="11143" y="5666"/>
                    <a:pt x="11131" y="5666"/>
                  </a:cubicBezTo>
                  <a:cubicBezTo>
                    <a:pt x="11119" y="5666"/>
                    <a:pt x="11107" y="5665"/>
                    <a:pt x="11094" y="5663"/>
                  </a:cubicBezTo>
                  <a:lnTo>
                    <a:pt x="11021" y="5663"/>
                  </a:lnTo>
                  <a:lnTo>
                    <a:pt x="10954" y="5660"/>
                  </a:lnTo>
                  <a:cubicBezTo>
                    <a:pt x="10884" y="5653"/>
                    <a:pt x="10797" y="5646"/>
                    <a:pt x="10699" y="5639"/>
                  </a:cubicBezTo>
                  <a:cubicBezTo>
                    <a:pt x="10363" y="5607"/>
                    <a:pt x="9950" y="5558"/>
                    <a:pt x="9803" y="5520"/>
                  </a:cubicBezTo>
                  <a:lnTo>
                    <a:pt x="9796" y="5520"/>
                  </a:lnTo>
                  <a:lnTo>
                    <a:pt x="9782" y="5513"/>
                  </a:lnTo>
                  <a:lnTo>
                    <a:pt x="9775" y="5509"/>
                  </a:lnTo>
                  <a:lnTo>
                    <a:pt x="9764" y="5509"/>
                  </a:lnTo>
                  <a:lnTo>
                    <a:pt x="9754" y="5502"/>
                  </a:lnTo>
                  <a:lnTo>
                    <a:pt x="9733" y="5488"/>
                  </a:lnTo>
                  <a:lnTo>
                    <a:pt x="9722" y="5481"/>
                  </a:lnTo>
                  <a:lnTo>
                    <a:pt x="9708" y="5471"/>
                  </a:lnTo>
                  <a:lnTo>
                    <a:pt x="9694" y="5460"/>
                  </a:lnTo>
                  <a:lnTo>
                    <a:pt x="9680" y="5450"/>
                  </a:lnTo>
                  <a:lnTo>
                    <a:pt x="9666" y="5439"/>
                  </a:lnTo>
                  <a:lnTo>
                    <a:pt x="9649" y="5425"/>
                  </a:lnTo>
                  <a:lnTo>
                    <a:pt x="9635" y="5411"/>
                  </a:lnTo>
                  <a:lnTo>
                    <a:pt x="9617" y="5397"/>
                  </a:lnTo>
                  <a:lnTo>
                    <a:pt x="9600" y="5380"/>
                  </a:lnTo>
                  <a:lnTo>
                    <a:pt x="9582" y="5362"/>
                  </a:lnTo>
                  <a:lnTo>
                    <a:pt x="9565" y="5345"/>
                  </a:lnTo>
                  <a:lnTo>
                    <a:pt x="9547" y="5327"/>
                  </a:lnTo>
                  <a:lnTo>
                    <a:pt x="9530" y="5310"/>
                  </a:lnTo>
                  <a:lnTo>
                    <a:pt x="9512" y="5289"/>
                  </a:lnTo>
                  <a:lnTo>
                    <a:pt x="9498" y="5268"/>
                  </a:lnTo>
                  <a:lnTo>
                    <a:pt x="9477" y="5247"/>
                  </a:lnTo>
                  <a:lnTo>
                    <a:pt x="9463" y="5226"/>
                  </a:lnTo>
                  <a:lnTo>
                    <a:pt x="9446" y="5201"/>
                  </a:lnTo>
                  <a:lnTo>
                    <a:pt x="9432" y="5180"/>
                  </a:lnTo>
                  <a:lnTo>
                    <a:pt x="9414" y="5156"/>
                  </a:lnTo>
                  <a:lnTo>
                    <a:pt x="9400" y="5131"/>
                  </a:lnTo>
                  <a:cubicBezTo>
                    <a:pt x="9397" y="5121"/>
                    <a:pt x="9393" y="5114"/>
                    <a:pt x="9386" y="5103"/>
                  </a:cubicBezTo>
                  <a:cubicBezTo>
                    <a:pt x="9383" y="5096"/>
                    <a:pt x="9379" y="5089"/>
                    <a:pt x="9376" y="5079"/>
                  </a:cubicBezTo>
                  <a:cubicBezTo>
                    <a:pt x="9372" y="5072"/>
                    <a:pt x="9365" y="5061"/>
                    <a:pt x="9362" y="5051"/>
                  </a:cubicBezTo>
                  <a:cubicBezTo>
                    <a:pt x="9358" y="5040"/>
                    <a:pt x="9355" y="5033"/>
                    <a:pt x="9351" y="5026"/>
                  </a:cubicBezTo>
                  <a:cubicBezTo>
                    <a:pt x="9348" y="5016"/>
                    <a:pt x="9344" y="5005"/>
                    <a:pt x="9341" y="4995"/>
                  </a:cubicBezTo>
                  <a:cubicBezTo>
                    <a:pt x="9337" y="4988"/>
                    <a:pt x="9334" y="4977"/>
                    <a:pt x="9330" y="4970"/>
                  </a:cubicBezTo>
                  <a:cubicBezTo>
                    <a:pt x="9330" y="4959"/>
                    <a:pt x="9327" y="4949"/>
                    <a:pt x="9323" y="4938"/>
                  </a:cubicBezTo>
                  <a:cubicBezTo>
                    <a:pt x="9320" y="4928"/>
                    <a:pt x="9320" y="4921"/>
                    <a:pt x="9316" y="4910"/>
                  </a:cubicBezTo>
                  <a:cubicBezTo>
                    <a:pt x="9316" y="4903"/>
                    <a:pt x="9313" y="4900"/>
                    <a:pt x="9313" y="4893"/>
                  </a:cubicBezTo>
                  <a:cubicBezTo>
                    <a:pt x="9218" y="4805"/>
                    <a:pt x="9145" y="4697"/>
                    <a:pt x="9099" y="4578"/>
                  </a:cubicBezTo>
                  <a:lnTo>
                    <a:pt x="9029" y="4578"/>
                  </a:lnTo>
                  <a:lnTo>
                    <a:pt x="9004" y="4574"/>
                  </a:lnTo>
                  <a:lnTo>
                    <a:pt x="8976" y="4567"/>
                  </a:lnTo>
                  <a:lnTo>
                    <a:pt x="8973" y="4567"/>
                  </a:lnTo>
                  <a:lnTo>
                    <a:pt x="8945" y="4560"/>
                  </a:lnTo>
                  <a:lnTo>
                    <a:pt x="8941" y="4560"/>
                  </a:lnTo>
                  <a:lnTo>
                    <a:pt x="8913" y="4550"/>
                  </a:lnTo>
                  <a:lnTo>
                    <a:pt x="8910" y="4546"/>
                  </a:lnTo>
                  <a:lnTo>
                    <a:pt x="8885" y="4536"/>
                  </a:lnTo>
                  <a:lnTo>
                    <a:pt x="8875" y="4532"/>
                  </a:lnTo>
                  <a:lnTo>
                    <a:pt x="8854" y="4518"/>
                  </a:lnTo>
                  <a:lnTo>
                    <a:pt x="8843" y="4511"/>
                  </a:lnTo>
                  <a:lnTo>
                    <a:pt x="8822" y="4497"/>
                  </a:lnTo>
                  <a:lnTo>
                    <a:pt x="8812" y="4487"/>
                  </a:lnTo>
                  <a:lnTo>
                    <a:pt x="8794" y="4473"/>
                  </a:lnTo>
                  <a:lnTo>
                    <a:pt x="8780" y="4462"/>
                  </a:lnTo>
                  <a:lnTo>
                    <a:pt x="8763" y="4445"/>
                  </a:lnTo>
                  <a:lnTo>
                    <a:pt x="8752" y="4431"/>
                  </a:lnTo>
                  <a:lnTo>
                    <a:pt x="8735" y="4410"/>
                  </a:lnTo>
                  <a:lnTo>
                    <a:pt x="8721" y="4392"/>
                  </a:lnTo>
                  <a:lnTo>
                    <a:pt x="8707" y="4375"/>
                  </a:lnTo>
                  <a:lnTo>
                    <a:pt x="8696" y="4354"/>
                  </a:lnTo>
                  <a:lnTo>
                    <a:pt x="8682" y="4333"/>
                  </a:lnTo>
                  <a:cubicBezTo>
                    <a:pt x="8679" y="4322"/>
                    <a:pt x="8675" y="4315"/>
                    <a:pt x="8668" y="4308"/>
                  </a:cubicBezTo>
                  <a:cubicBezTo>
                    <a:pt x="8665" y="4298"/>
                    <a:pt x="8661" y="4291"/>
                    <a:pt x="8658" y="4284"/>
                  </a:cubicBezTo>
                  <a:cubicBezTo>
                    <a:pt x="8654" y="4277"/>
                    <a:pt x="8651" y="4266"/>
                    <a:pt x="8644" y="4256"/>
                  </a:cubicBezTo>
                  <a:cubicBezTo>
                    <a:pt x="8640" y="4249"/>
                    <a:pt x="8640" y="4245"/>
                    <a:pt x="8637" y="4238"/>
                  </a:cubicBezTo>
                  <a:cubicBezTo>
                    <a:pt x="8535" y="4151"/>
                    <a:pt x="8336" y="3881"/>
                    <a:pt x="8315" y="3706"/>
                  </a:cubicBezTo>
                  <a:cubicBezTo>
                    <a:pt x="8308" y="3657"/>
                    <a:pt x="8318" y="3605"/>
                    <a:pt x="8350" y="3566"/>
                  </a:cubicBezTo>
                  <a:cubicBezTo>
                    <a:pt x="8430" y="3479"/>
                    <a:pt x="8290" y="3230"/>
                    <a:pt x="8112" y="3069"/>
                  </a:cubicBezTo>
                  <a:lnTo>
                    <a:pt x="8038" y="2999"/>
                  </a:lnTo>
                  <a:cubicBezTo>
                    <a:pt x="7783" y="2771"/>
                    <a:pt x="7548" y="2551"/>
                    <a:pt x="7534" y="2379"/>
                  </a:cubicBezTo>
                  <a:cubicBezTo>
                    <a:pt x="7524" y="2320"/>
                    <a:pt x="7506" y="2260"/>
                    <a:pt x="7485" y="2204"/>
                  </a:cubicBezTo>
                  <a:lnTo>
                    <a:pt x="7069" y="2180"/>
                  </a:lnTo>
                  <a:lnTo>
                    <a:pt x="6788" y="1942"/>
                  </a:lnTo>
                  <a:lnTo>
                    <a:pt x="6519" y="1889"/>
                  </a:lnTo>
                  <a:lnTo>
                    <a:pt x="6470" y="1882"/>
                  </a:lnTo>
                  <a:lnTo>
                    <a:pt x="6186" y="1847"/>
                  </a:lnTo>
                  <a:lnTo>
                    <a:pt x="6151" y="1847"/>
                  </a:lnTo>
                  <a:lnTo>
                    <a:pt x="6001" y="1830"/>
                  </a:lnTo>
                  <a:lnTo>
                    <a:pt x="5952" y="1826"/>
                  </a:lnTo>
                  <a:lnTo>
                    <a:pt x="5843" y="1826"/>
                  </a:lnTo>
                  <a:cubicBezTo>
                    <a:pt x="5696" y="1826"/>
                    <a:pt x="5360" y="1777"/>
                    <a:pt x="5154" y="1592"/>
                  </a:cubicBezTo>
                  <a:cubicBezTo>
                    <a:pt x="4965" y="1424"/>
                    <a:pt x="4019" y="716"/>
                    <a:pt x="3851" y="629"/>
                  </a:cubicBezTo>
                  <a:cubicBezTo>
                    <a:pt x="3788" y="601"/>
                    <a:pt x="3676" y="524"/>
                    <a:pt x="3529" y="429"/>
                  </a:cubicBezTo>
                  <a:cubicBezTo>
                    <a:pt x="3281" y="268"/>
                    <a:pt x="2906" y="23"/>
                    <a:pt x="2794" y="9"/>
                  </a:cubicBezTo>
                  <a:cubicBezTo>
                    <a:pt x="2748" y="4"/>
                    <a:pt x="2702" y="1"/>
                    <a:pt x="2656" y="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768" name="Google Shape;4768;p104"/>
            <p:cNvSpPr/>
            <p:nvPr/>
          </p:nvSpPr>
          <p:spPr>
            <a:xfrm>
              <a:off x="2303017" y="1816074"/>
              <a:ext cx="394" cy="1059"/>
            </a:xfrm>
            <a:custGeom>
              <a:avLst/>
              <a:gdLst/>
              <a:ahLst/>
              <a:cxnLst/>
              <a:rect l="l" t="t" r="r" b="b"/>
              <a:pathLst>
                <a:path w="29" h="78" extrusionOk="0">
                  <a:moveTo>
                    <a:pt x="29" y="0"/>
                  </a:moveTo>
                  <a:lnTo>
                    <a:pt x="1" y="77"/>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769" name="Google Shape;4769;p104"/>
            <p:cNvSpPr/>
            <p:nvPr/>
          </p:nvSpPr>
          <p:spPr>
            <a:xfrm>
              <a:off x="2334625" y="1795491"/>
              <a:ext cx="1534" cy="14"/>
            </a:xfrm>
            <a:custGeom>
              <a:avLst/>
              <a:gdLst/>
              <a:ahLst/>
              <a:cxnLst/>
              <a:rect l="l" t="t" r="r" b="b"/>
              <a:pathLst>
                <a:path w="113" h="1" extrusionOk="0">
                  <a:moveTo>
                    <a:pt x="113" y="0"/>
                  </a:moveTo>
                  <a:lnTo>
                    <a:pt x="113" y="0"/>
                  </a:lnTo>
                  <a:lnTo>
                    <a:pt x="1"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770" name="Google Shape;4770;p104"/>
            <p:cNvSpPr/>
            <p:nvPr/>
          </p:nvSpPr>
          <p:spPr>
            <a:xfrm>
              <a:off x="2312765" y="1818355"/>
              <a:ext cx="434" cy="204"/>
            </a:xfrm>
            <a:custGeom>
              <a:avLst/>
              <a:gdLst/>
              <a:ahLst/>
              <a:cxnLst/>
              <a:rect l="l" t="t" r="r" b="b"/>
              <a:pathLst>
                <a:path w="32" h="15" extrusionOk="0">
                  <a:moveTo>
                    <a:pt x="32" y="0"/>
                  </a:moveTo>
                  <a:lnTo>
                    <a:pt x="0" y="14"/>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771" name="Google Shape;4771;p104"/>
            <p:cNvSpPr/>
            <p:nvPr/>
          </p:nvSpPr>
          <p:spPr>
            <a:xfrm>
              <a:off x="2311530" y="1818776"/>
              <a:ext cx="434" cy="109"/>
            </a:xfrm>
            <a:custGeom>
              <a:avLst/>
              <a:gdLst/>
              <a:ahLst/>
              <a:cxnLst/>
              <a:rect l="l" t="t" r="r" b="b"/>
              <a:pathLst>
                <a:path w="32" h="8" extrusionOk="0">
                  <a:moveTo>
                    <a:pt x="32" y="1"/>
                  </a:moveTo>
                  <a:lnTo>
                    <a:pt x="0" y="8"/>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772" name="Google Shape;4772;p104"/>
            <p:cNvSpPr/>
            <p:nvPr/>
          </p:nvSpPr>
          <p:spPr>
            <a:xfrm>
              <a:off x="2314571" y="1817025"/>
              <a:ext cx="584" cy="489"/>
            </a:xfrm>
            <a:custGeom>
              <a:avLst/>
              <a:gdLst/>
              <a:ahLst/>
              <a:cxnLst/>
              <a:rect l="l" t="t" r="r" b="b"/>
              <a:pathLst>
                <a:path w="43" h="36" extrusionOk="0">
                  <a:moveTo>
                    <a:pt x="43" y="0"/>
                  </a:moveTo>
                  <a:cubicBezTo>
                    <a:pt x="29" y="14"/>
                    <a:pt x="15" y="25"/>
                    <a:pt x="1" y="35"/>
                  </a:cubicBezTo>
                  <a:cubicBezTo>
                    <a:pt x="15" y="25"/>
                    <a:pt x="29" y="14"/>
                    <a:pt x="43"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773" name="Google Shape;4773;p104"/>
            <p:cNvSpPr/>
            <p:nvPr/>
          </p:nvSpPr>
          <p:spPr>
            <a:xfrm>
              <a:off x="2310959" y="1818926"/>
              <a:ext cx="394" cy="54"/>
            </a:xfrm>
            <a:custGeom>
              <a:avLst/>
              <a:gdLst/>
              <a:ahLst/>
              <a:cxnLst/>
              <a:rect l="l" t="t" r="r" b="b"/>
              <a:pathLst>
                <a:path w="29" h="4" extrusionOk="0">
                  <a:moveTo>
                    <a:pt x="28" y="0"/>
                  </a:moveTo>
                  <a:cubicBezTo>
                    <a:pt x="18" y="0"/>
                    <a:pt x="11" y="0"/>
                    <a:pt x="0" y="4"/>
                  </a:cubicBezTo>
                  <a:cubicBezTo>
                    <a:pt x="11" y="0"/>
                    <a:pt x="18" y="0"/>
                    <a:pt x="28"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774" name="Google Shape;4774;p104"/>
            <p:cNvSpPr/>
            <p:nvPr/>
          </p:nvSpPr>
          <p:spPr>
            <a:xfrm>
              <a:off x="2313376" y="1818016"/>
              <a:ext cx="448" cy="258"/>
            </a:xfrm>
            <a:custGeom>
              <a:avLst/>
              <a:gdLst/>
              <a:ahLst/>
              <a:cxnLst/>
              <a:rect l="l" t="t" r="r" b="b"/>
              <a:pathLst>
                <a:path w="33" h="19" extrusionOk="0">
                  <a:moveTo>
                    <a:pt x="33" y="1"/>
                  </a:moveTo>
                  <a:cubicBezTo>
                    <a:pt x="22" y="8"/>
                    <a:pt x="12" y="11"/>
                    <a:pt x="1" y="18"/>
                  </a:cubicBezTo>
                  <a:cubicBezTo>
                    <a:pt x="12" y="11"/>
                    <a:pt x="22" y="8"/>
                    <a:pt x="33" y="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775" name="Google Shape;4775;p104"/>
            <p:cNvSpPr/>
            <p:nvPr/>
          </p:nvSpPr>
          <p:spPr>
            <a:xfrm>
              <a:off x="2314001" y="1817595"/>
              <a:ext cx="448" cy="299"/>
            </a:xfrm>
            <a:custGeom>
              <a:avLst/>
              <a:gdLst/>
              <a:ahLst/>
              <a:cxnLst/>
              <a:rect l="l" t="t" r="r" b="b"/>
              <a:pathLst>
                <a:path w="33" h="22" extrusionOk="0">
                  <a:moveTo>
                    <a:pt x="32" y="0"/>
                  </a:moveTo>
                  <a:cubicBezTo>
                    <a:pt x="18" y="7"/>
                    <a:pt x="11" y="14"/>
                    <a:pt x="1" y="21"/>
                  </a:cubicBezTo>
                  <a:cubicBezTo>
                    <a:pt x="11" y="18"/>
                    <a:pt x="22" y="7"/>
                    <a:pt x="32"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776" name="Google Shape;4776;p104"/>
            <p:cNvSpPr/>
            <p:nvPr/>
          </p:nvSpPr>
          <p:spPr>
            <a:xfrm>
              <a:off x="2305963" y="1817405"/>
              <a:ext cx="4250" cy="1534"/>
            </a:xfrm>
            <a:custGeom>
              <a:avLst/>
              <a:gdLst/>
              <a:ahLst/>
              <a:cxnLst/>
              <a:rect l="l" t="t" r="r" b="b"/>
              <a:pathLst>
                <a:path w="313" h="113" extrusionOk="0">
                  <a:moveTo>
                    <a:pt x="312" y="112"/>
                  </a:moveTo>
                  <a:cubicBezTo>
                    <a:pt x="204" y="91"/>
                    <a:pt x="99" y="53"/>
                    <a:pt x="1" y="0"/>
                  </a:cubicBezTo>
                  <a:cubicBezTo>
                    <a:pt x="99" y="53"/>
                    <a:pt x="204" y="91"/>
                    <a:pt x="312" y="112"/>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777" name="Google Shape;4777;p104"/>
            <p:cNvSpPr/>
            <p:nvPr/>
          </p:nvSpPr>
          <p:spPr>
            <a:xfrm>
              <a:off x="2312141" y="1818586"/>
              <a:ext cx="448" cy="163"/>
            </a:xfrm>
            <a:custGeom>
              <a:avLst/>
              <a:gdLst/>
              <a:ahLst/>
              <a:cxnLst/>
              <a:rect l="l" t="t" r="r" b="b"/>
              <a:pathLst>
                <a:path w="33" h="12" extrusionOk="0">
                  <a:moveTo>
                    <a:pt x="32" y="1"/>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778" name="Google Shape;4778;p104"/>
            <p:cNvSpPr/>
            <p:nvPr/>
          </p:nvSpPr>
          <p:spPr>
            <a:xfrm>
              <a:off x="2305447" y="1817120"/>
              <a:ext cx="204" cy="109"/>
            </a:xfrm>
            <a:custGeom>
              <a:avLst/>
              <a:gdLst/>
              <a:ahLst/>
              <a:cxnLst/>
              <a:rect l="l" t="t" r="r" b="b"/>
              <a:pathLst>
                <a:path w="15" h="8" extrusionOk="0">
                  <a:moveTo>
                    <a:pt x="14" y="7"/>
                  </a:moveTo>
                  <a:lnTo>
                    <a:pt x="0"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779" name="Google Shape;4779;p104"/>
            <p:cNvSpPr/>
            <p:nvPr/>
          </p:nvSpPr>
          <p:spPr>
            <a:xfrm>
              <a:off x="2310199" y="1818966"/>
              <a:ext cx="584" cy="14"/>
            </a:xfrm>
            <a:custGeom>
              <a:avLst/>
              <a:gdLst/>
              <a:ahLst/>
              <a:cxnLst/>
              <a:rect l="l" t="t" r="r" b="b"/>
              <a:pathLst>
                <a:path w="43" h="1" extrusionOk="0">
                  <a:moveTo>
                    <a:pt x="35" y="1"/>
                  </a:moveTo>
                  <a:lnTo>
                    <a:pt x="42" y="1"/>
                  </a:lnTo>
                  <a:cubicBezTo>
                    <a:pt x="28" y="1"/>
                    <a:pt x="14" y="1"/>
                    <a:pt x="0" y="1"/>
                  </a:cubicBezTo>
                  <a:cubicBezTo>
                    <a:pt x="11" y="1"/>
                    <a:pt x="25" y="1"/>
                    <a:pt x="35" y="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780" name="Google Shape;4780;p104"/>
            <p:cNvSpPr/>
            <p:nvPr/>
          </p:nvSpPr>
          <p:spPr>
            <a:xfrm>
              <a:off x="2431555" y="1853331"/>
              <a:ext cx="57338" cy="63991"/>
            </a:xfrm>
            <a:custGeom>
              <a:avLst/>
              <a:gdLst/>
              <a:ahLst/>
              <a:cxnLst/>
              <a:rect l="l" t="t" r="r" b="b"/>
              <a:pathLst>
                <a:path w="4223" h="4713" extrusionOk="0">
                  <a:moveTo>
                    <a:pt x="2451" y="1"/>
                  </a:moveTo>
                  <a:lnTo>
                    <a:pt x="2318" y="74"/>
                  </a:lnTo>
                  <a:lnTo>
                    <a:pt x="2160" y="74"/>
                  </a:lnTo>
                  <a:lnTo>
                    <a:pt x="2160" y="445"/>
                  </a:lnTo>
                  <a:lnTo>
                    <a:pt x="1807" y="894"/>
                  </a:lnTo>
                  <a:lnTo>
                    <a:pt x="1659" y="1258"/>
                  </a:lnTo>
                  <a:lnTo>
                    <a:pt x="1673" y="1258"/>
                  </a:lnTo>
                  <a:cubicBezTo>
                    <a:pt x="1680" y="1257"/>
                    <a:pt x="1686" y="1256"/>
                    <a:pt x="1692" y="1256"/>
                  </a:cubicBezTo>
                  <a:cubicBezTo>
                    <a:pt x="1712" y="1256"/>
                    <a:pt x="1732" y="1260"/>
                    <a:pt x="1751" y="1268"/>
                  </a:cubicBezTo>
                  <a:cubicBezTo>
                    <a:pt x="1761" y="1272"/>
                    <a:pt x="1775" y="1279"/>
                    <a:pt x="1786" y="1282"/>
                  </a:cubicBezTo>
                  <a:lnTo>
                    <a:pt x="1789" y="1282"/>
                  </a:lnTo>
                  <a:cubicBezTo>
                    <a:pt x="1803" y="1293"/>
                    <a:pt x="1821" y="1303"/>
                    <a:pt x="1835" y="1317"/>
                  </a:cubicBezTo>
                  <a:cubicBezTo>
                    <a:pt x="1940" y="1412"/>
                    <a:pt x="2027" y="1611"/>
                    <a:pt x="2027" y="1713"/>
                  </a:cubicBezTo>
                  <a:cubicBezTo>
                    <a:pt x="2027" y="1804"/>
                    <a:pt x="1733" y="2819"/>
                    <a:pt x="1624" y="2903"/>
                  </a:cubicBezTo>
                  <a:lnTo>
                    <a:pt x="1617" y="2910"/>
                  </a:lnTo>
                  <a:lnTo>
                    <a:pt x="1614" y="2914"/>
                  </a:lnTo>
                  <a:lnTo>
                    <a:pt x="1610" y="2914"/>
                  </a:lnTo>
                  <a:cubicBezTo>
                    <a:pt x="1456" y="2994"/>
                    <a:pt x="445" y="3320"/>
                    <a:pt x="0" y="3456"/>
                  </a:cubicBezTo>
                  <a:cubicBezTo>
                    <a:pt x="119" y="3698"/>
                    <a:pt x="266" y="4006"/>
                    <a:pt x="417" y="4314"/>
                  </a:cubicBezTo>
                  <a:lnTo>
                    <a:pt x="441" y="4363"/>
                  </a:lnTo>
                  <a:lnTo>
                    <a:pt x="455" y="4391"/>
                  </a:lnTo>
                  <a:lnTo>
                    <a:pt x="609" y="4713"/>
                  </a:lnTo>
                  <a:cubicBezTo>
                    <a:pt x="634" y="4702"/>
                    <a:pt x="658" y="4688"/>
                    <a:pt x="683" y="4674"/>
                  </a:cubicBezTo>
                  <a:cubicBezTo>
                    <a:pt x="893" y="4555"/>
                    <a:pt x="1113" y="4548"/>
                    <a:pt x="1306" y="4545"/>
                  </a:cubicBezTo>
                  <a:cubicBezTo>
                    <a:pt x="1400" y="4545"/>
                    <a:pt x="1495" y="4534"/>
                    <a:pt x="1589" y="4517"/>
                  </a:cubicBezTo>
                  <a:cubicBezTo>
                    <a:pt x="1663" y="4496"/>
                    <a:pt x="1659" y="4478"/>
                    <a:pt x="1659" y="4398"/>
                  </a:cubicBezTo>
                  <a:cubicBezTo>
                    <a:pt x="1656" y="4317"/>
                    <a:pt x="1652" y="4202"/>
                    <a:pt x="1775" y="4100"/>
                  </a:cubicBezTo>
                  <a:cubicBezTo>
                    <a:pt x="1881" y="4012"/>
                    <a:pt x="2006" y="3993"/>
                    <a:pt x="2118" y="3993"/>
                  </a:cubicBezTo>
                  <a:cubicBezTo>
                    <a:pt x="2162" y="3993"/>
                    <a:pt x="2203" y="3996"/>
                    <a:pt x="2241" y="3999"/>
                  </a:cubicBezTo>
                  <a:cubicBezTo>
                    <a:pt x="2261" y="4002"/>
                    <a:pt x="2282" y="4004"/>
                    <a:pt x="2304" y="4004"/>
                  </a:cubicBezTo>
                  <a:cubicBezTo>
                    <a:pt x="2330" y="4004"/>
                    <a:pt x="2357" y="4001"/>
                    <a:pt x="2384" y="3995"/>
                  </a:cubicBezTo>
                  <a:cubicBezTo>
                    <a:pt x="2409" y="3981"/>
                    <a:pt x="2454" y="3894"/>
                    <a:pt x="2482" y="3831"/>
                  </a:cubicBezTo>
                  <a:cubicBezTo>
                    <a:pt x="2549" y="3694"/>
                    <a:pt x="2622" y="3544"/>
                    <a:pt x="2745" y="3491"/>
                  </a:cubicBezTo>
                  <a:cubicBezTo>
                    <a:pt x="2808" y="3470"/>
                    <a:pt x="2871" y="3453"/>
                    <a:pt x="2937" y="3442"/>
                  </a:cubicBezTo>
                  <a:cubicBezTo>
                    <a:pt x="3060" y="3421"/>
                    <a:pt x="3060" y="3414"/>
                    <a:pt x="3053" y="3386"/>
                  </a:cubicBezTo>
                  <a:cubicBezTo>
                    <a:pt x="3032" y="3243"/>
                    <a:pt x="3053" y="2619"/>
                    <a:pt x="3291" y="2574"/>
                  </a:cubicBezTo>
                  <a:cubicBezTo>
                    <a:pt x="3455" y="2542"/>
                    <a:pt x="3676" y="2378"/>
                    <a:pt x="3683" y="2325"/>
                  </a:cubicBezTo>
                  <a:cubicBezTo>
                    <a:pt x="3690" y="2259"/>
                    <a:pt x="3764" y="2157"/>
                    <a:pt x="3935" y="1944"/>
                  </a:cubicBezTo>
                  <a:cubicBezTo>
                    <a:pt x="4012" y="1853"/>
                    <a:pt x="4082" y="1758"/>
                    <a:pt x="4145" y="1660"/>
                  </a:cubicBezTo>
                  <a:cubicBezTo>
                    <a:pt x="4222" y="1527"/>
                    <a:pt x="4215" y="1492"/>
                    <a:pt x="4212" y="1485"/>
                  </a:cubicBezTo>
                  <a:cubicBezTo>
                    <a:pt x="4208" y="1478"/>
                    <a:pt x="4191" y="1468"/>
                    <a:pt x="4152" y="1461"/>
                  </a:cubicBezTo>
                  <a:cubicBezTo>
                    <a:pt x="3970" y="1433"/>
                    <a:pt x="3735" y="1027"/>
                    <a:pt x="3644" y="852"/>
                  </a:cubicBezTo>
                  <a:cubicBezTo>
                    <a:pt x="3630" y="831"/>
                    <a:pt x="3522" y="813"/>
                    <a:pt x="3445" y="799"/>
                  </a:cubicBezTo>
                  <a:cubicBezTo>
                    <a:pt x="3249" y="768"/>
                    <a:pt x="2986" y="722"/>
                    <a:pt x="2748" y="533"/>
                  </a:cubicBezTo>
                  <a:cubicBezTo>
                    <a:pt x="2619" y="435"/>
                    <a:pt x="2521" y="260"/>
                    <a:pt x="2451" y="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781" name="Google Shape;4781;p104"/>
            <p:cNvSpPr/>
            <p:nvPr/>
          </p:nvSpPr>
          <p:spPr>
            <a:xfrm>
              <a:off x="2455845" y="1870778"/>
              <a:ext cx="625" cy="489"/>
            </a:xfrm>
            <a:custGeom>
              <a:avLst/>
              <a:gdLst/>
              <a:ahLst/>
              <a:cxnLst/>
              <a:rect l="l" t="t" r="r" b="b"/>
              <a:pathLst>
                <a:path w="46" h="36" extrusionOk="0">
                  <a:moveTo>
                    <a:pt x="0" y="1"/>
                  </a:moveTo>
                  <a:cubicBezTo>
                    <a:pt x="18" y="11"/>
                    <a:pt x="32" y="22"/>
                    <a:pt x="46" y="36"/>
                  </a:cubicBezTo>
                  <a:cubicBezTo>
                    <a:pt x="32" y="22"/>
                    <a:pt x="18" y="11"/>
                    <a:pt x="0" y="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782" name="Google Shape;4782;p104"/>
            <p:cNvSpPr/>
            <p:nvPr/>
          </p:nvSpPr>
          <p:spPr>
            <a:xfrm>
              <a:off x="2453550" y="1892787"/>
              <a:ext cx="109" cy="68"/>
            </a:xfrm>
            <a:custGeom>
              <a:avLst/>
              <a:gdLst/>
              <a:ahLst/>
              <a:cxnLst/>
              <a:rect l="l" t="t" r="r" b="b"/>
              <a:pathLst>
                <a:path w="8" h="5" extrusionOk="0">
                  <a:moveTo>
                    <a:pt x="8" y="1"/>
                  </a:moveTo>
                  <a:lnTo>
                    <a:pt x="1" y="4"/>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783" name="Google Shape;4783;p104"/>
            <p:cNvSpPr/>
            <p:nvPr/>
          </p:nvSpPr>
          <p:spPr>
            <a:xfrm>
              <a:off x="2455791" y="1870737"/>
              <a:ext cx="68" cy="14"/>
            </a:xfrm>
            <a:custGeom>
              <a:avLst/>
              <a:gdLst/>
              <a:ahLst/>
              <a:cxnLst/>
              <a:rect l="l" t="t" r="r" b="b"/>
              <a:pathLst>
                <a:path w="5" h="1" extrusionOk="0">
                  <a:moveTo>
                    <a:pt x="1" y="0"/>
                  </a:moveTo>
                  <a:lnTo>
                    <a:pt x="4"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784" name="Google Shape;4784;p104"/>
            <p:cNvSpPr/>
            <p:nvPr/>
          </p:nvSpPr>
          <p:spPr>
            <a:xfrm>
              <a:off x="2453414" y="1892882"/>
              <a:ext cx="54" cy="14"/>
            </a:xfrm>
            <a:custGeom>
              <a:avLst/>
              <a:gdLst/>
              <a:ahLst/>
              <a:cxnLst/>
              <a:rect l="l" t="t" r="r" b="b"/>
              <a:pathLst>
                <a:path w="4" h="1" extrusionOk="0">
                  <a:moveTo>
                    <a:pt x="4"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785" name="Google Shape;4785;p104"/>
            <p:cNvSpPr/>
            <p:nvPr/>
          </p:nvSpPr>
          <p:spPr>
            <a:xfrm>
              <a:off x="2454270" y="1870357"/>
              <a:ext cx="1059" cy="204"/>
            </a:xfrm>
            <a:custGeom>
              <a:avLst/>
              <a:gdLst/>
              <a:ahLst/>
              <a:cxnLst/>
              <a:rect l="l" t="t" r="r" b="b"/>
              <a:pathLst>
                <a:path w="78" h="15" extrusionOk="0">
                  <a:moveTo>
                    <a:pt x="78" y="14"/>
                  </a:moveTo>
                  <a:cubicBezTo>
                    <a:pt x="53" y="4"/>
                    <a:pt x="25" y="0"/>
                    <a:pt x="0" y="4"/>
                  </a:cubicBezTo>
                  <a:lnTo>
                    <a:pt x="0" y="4"/>
                  </a:lnTo>
                  <a:cubicBezTo>
                    <a:pt x="25" y="0"/>
                    <a:pt x="53" y="4"/>
                    <a:pt x="78" y="14"/>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786" name="Google Shape;4786;p104"/>
            <p:cNvSpPr/>
            <p:nvPr/>
          </p:nvSpPr>
          <p:spPr>
            <a:xfrm>
              <a:off x="2422037" y="1845619"/>
              <a:ext cx="5961" cy="9912"/>
            </a:xfrm>
            <a:custGeom>
              <a:avLst/>
              <a:gdLst/>
              <a:ahLst/>
              <a:cxnLst/>
              <a:rect l="l" t="t" r="r" b="b"/>
              <a:pathLst>
                <a:path w="439" h="730" extrusionOk="0">
                  <a:moveTo>
                    <a:pt x="266" y="0"/>
                  </a:moveTo>
                  <a:cubicBezTo>
                    <a:pt x="243" y="0"/>
                    <a:pt x="221" y="9"/>
                    <a:pt x="204" y="26"/>
                  </a:cubicBezTo>
                  <a:cubicBezTo>
                    <a:pt x="88" y="114"/>
                    <a:pt x="15" y="383"/>
                    <a:pt x="15" y="474"/>
                  </a:cubicBezTo>
                  <a:cubicBezTo>
                    <a:pt x="15" y="492"/>
                    <a:pt x="8" y="509"/>
                    <a:pt x="1" y="523"/>
                  </a:cubicBezTo>
                  <a:lnTo>
                    <a:pt x="8" y="537"/>
                  </a:lnTo>
                  <a:lnTo>
                    <a:pt x="11" y="548"/>
                  </a:lnTo>
                  <a:cubicBezTo>
                    <a:pt x="22" y="569"/>
                    <a:pt x="36" y="586"/>
                    <a:pt x="53" y="607"/>
                  </a:cubicBezTo>
                  <a:lnTo>
                    <a:pt x="57" y="614"/>
                  </a:lnTo>
                  <a:cubicBezTo>
                    <a:pt x="64" y="621"/>
                    <a:pt x="71" y="628"/>
                    <a:pt x="74" y="635"/>
                  </a:cubicBezTo>
                  <a:lnTo>
                    <a:pt x="78" y="639"/>
                  </a:lnTo>
                  <a:cubicBezTo>
                    <a:pt x="88" y="646"/>
                    <a:pt x="95" y="653"/>
                    <a:pt x="102" y="660"/>
                  </a:cubicBezTo>
                  <a:cubicBezTo>
                    <a:pt x="109" y="667"/>
                    <a:pt x="116" y="674"/>
                    <a:pt x="127" y="677"/>
                  </a:cubicBezTo>
                  <a:lnTo>
                    <a:pt x="130" y="681"/>
                  </a:lnTo>
                  <a:cubicBezTo>
                    <a:pt x="137" y="684"/>
                    <a:pt x="144" y="691"/>
                    <a:pt x="151" y="695"/>
                  </a:cubicBezTo>
                  <a:cubicBezTo>
                    <a:pt x="162" y="698"/>
                    <a:pt x="169" y="702"/>
                    <a:pt x="176" y="709"/>
                  </a:cubicBezTo>
                  <a:lnTo>
                    <a:pt x="200" y="716"/>
                  </a:lnTo>
                  <a:lnTo>
                    <a:pt x="204" y="716"/>
                  </a:lnTo>
                  <a:cubicBezTo>
                    <a:pt x="221" y="719"/>
                    <a:pt x="239" y="726"/>
                    <a:pt x="253" y="726"/>
                  </a:cubicBezTo>
                  <a:lnTo>
                    <a:pt x="277" y="730"/>
                  </a:lnTo>
                  <a:lnTo>
                    <a:pt x="284" y="730"/>
                  </a:lnTo>
                  <a:cubicBezTo>
                    <a:pt x="284" y="688"/>
                    <a:pt x="295" y="642"/>
                    <a:pt x="316" y="607"/>
                  </a:cubicBezTo>
                  <a:cubicBezTo>
                    <a:pt x="393" y="488"/>
                    <a:pt x="439" y="229"/>
                    <a:pt x="383" y="93"/>
                  </a:cubicBezTo>
                  <a:cubicBezTo>
                    <a:pt x="369" y="51"/>
                    <a:pt x="337" y="16"/>
                    <a:pt x="295" y="5"/>
                  </a:cubicBezTo>
                  <a:cubicBezTo>
                    <a:pt x="286" y="2"/>
                    <a:pt x="276" y="0"/>
                    <a:pt x="266"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787" name="Google Shape;4787;p104"/>
            <p:cNvSpPr/>
            <p:nvPr/>
          </p:nvSpPr>
          <p:spPr>
            <a:xfrm>
              <a:off x="2425553" y="1855571"/>
              <a:ext cx="353" cy="14"/>
            </a:xfrm>
            <a:custGeom>
              <a:avLst/>
              <a:gdLst/>
              <a:ahLst/>
              <a:cxnLst/>
              <a:rect l="l" t="t" r="r" b="b"/>
              <a:pathLst>
                <a:path w="26" h="1" extrusionOk="0">
                  <a:moveTo>
                    <a:pt x="25"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788" name="Google Shape;4788;p104"/>
            <p:cNvSpPr/>
            <p:nvPr/>
          </p:nvSpPr>
          <p:spPr>
            <a:xfrm>
              <a:off x="2422852" y="1853956"/>
              <a:ext cx="244" cy="299"/>
            </a:xfrm>
            <a:custGeom>
              <a:avLst/>
              <a:gdLst/>
              <a:ahLst/>
              <a:cxnLst/>
              <a:rect l="l" t="t" r="r" b="b"/>
              <a:pathLst>
                <a:path w="18" h="22" extrusionOk="0">
                  <a:moveTo>
                    <a:pt x="18" y="21"/>
                  </a:moveTo>
                  <a:cubicBezTo>
                    <a:pt x="11" y="14"/>
                    <a:pt x="4" y="7"/>
                    <a:pt x="0" y="0"/>
                  </a:cubicBezTo>
                  <a:cubicBezTo>
                    <a:pt x="4" y="7"/>
                    <a:pt x="11" y="14"/>
                    <a:pt x="18" y="2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789" name="Google Shape;4789;p104"/>
            <p:cNvSpPr/>
            <p:nvPr/>
          </p:nvSpPr>
          <p:spPr>
            <a:xfrm>
              <a:off x="2422037" y="1852761"/>
              <a:ext cx="109" cy="204"/>
            </a:xfrm>
            <a:custGeom>
              <a:avLst/>
              <a:gdLst/>
              <a:ahLst/>
              <a:cxnLst/>
              <a:rect l="l" t="t" r="r" b="b"/>
              <a:pathLst>
                <a:path w="8" h="15" extrusionOk="0">
                  <a:moveTo>
                    <a:pt x="1" y="1"/>
                  </a:moveTo>
                  <a:lnTo>
                    <a:pt x="8" y="15"/>
                  </a:lnTo>
                  <a:lnTo>
                    <a:pt x="1"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790" name="Google Shape;4790;p104"/>
            <p:cNvSpPr/>
            <p:nvPr/>
          </p:nvSpPr>
          <p:spPr>
            <a:xfrm>
              <a:off x="2422186" y="1853046"/>
              <a:ext cx="584" cy="869"/>
            </a:xfrm>
            <a:custGeom>
              <a:avLst/>
              <a:gdLst/>
              <a:ahLst/>
              <a:cxnLst/>
              <a:rect l="l" t="t" r="r" b="b"/>
              <a:pathLst>
                <a:path w="43" h="64" extrusionOk="0">
                  <a:moveTo>
                    <a:pt x="42" y="64"/>
                  </a:moveTo>
                  <a:cubicBezTo>
                    <a:pt x="28" y="43"/>
                    <a:pt x="14" y="22"/>
                    <a:pt x="0" y="1"/>
                  </a:cubicBezTo>
                  <a:cubicBezTo>
                    <a:pt x="14" y="22"/>
                    <a:pt x="28" y="43"/>
                    <a:pt x="42" y="64"/>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791" name="Google Shape;4791;p104"/>
            <p:cNvSpPr/>
            <p:nvPr/>
          </p:nvSpPr>
          <p:spPr>
            <a:xfrm>
              <a:off x="2425988" y="1855612"/>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792" name="Google Shape;4792;p104"/>
            <p:cNvSpPr/>
            <p:nvPr/>
          </p:nvSpPr>
          <p:spPr>
            <a:xfrm>
              <a:off x="2424508" y="1855286"/>
              <a:ext cx="353" cy="109"/>
            </a:xfrm>
            <a:custGeom>
              <a:avLst/>
              <a:gdLst/>
              <a:ahLst/>
              <a:cxnLst/>
              <a:rect l="l" t="t" r="r" b="b"/>
              <a:pathLst>
                <a:path w="26" h="8" extrusionOk="0">
                  <a:moveTo>
                    <a:pt x="25" y="7"/>
                  </a:moveTo>
                  <a:lnTo>
                    <a:pt x="1"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793" name="Google Shape;4793;p104"/>
            <p:cNvSpPr/>
            <p:nvPr/>
          </p:nvSpPr>
          <p:spPr>
            <a:xfrm>
              <a:off x="2424141" y="1855096"/>
              <a:ext cx="380" cy="149"/>
            </a:xfrm>
            <a:custGeom>
              <a:avLst/>
              <a:gdLst/>
              <a:ahLst/>
              <a:cxnLst/>
              <a:rect l="l" t="t" r="r" b="b"/>
              <a:pathLst>
                <a:path w="28" h="11" extrusionOk="0">
                  <a:moveTo>
                    <a:pt x="0" y="0"/>
                  </a:moveTo>
                  <a:cubicBezTo>
                    <a:pt x="10" y="4"/>
                    <a:pt x="17" y="7"/>
                    <a:pt x="28" y="11"/>
                  </a:cubicBezTo>
                  <a:cubicBezTo>
                    <a:pt x="21" y="7"/>
                    <a:pt x="10" y="4"/>
                    <a:pt x="0"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794" name="Google Shape;4794;p104"/>
            <p:cNvSpPr/>
            <p:nvPr/>
          </p:nvSpPr>
          <p:spPr>
            <a:xfrm>
              <a:off x="2423137" y="1854281"/>
              <a:ext cx="339" cy="353"/>
            </a:xfrm>
            <a:custGeom>
              <a:avLst/>
              <a:gdLst/>
              <a:ahLst/>
              <a:cxnLst/>
              <a:rect l="l" t="t" r="r" b="b"/>
              <a:pathLst>
                <a:path w="25" h="26" extrusionOk="0">
                  <a:moveTo>
                    <a:pt x="25" y="25"/>
                  </a:moveTo>
                  <a:cubicBezTo>
                    <a:pt x="14" y="18"/>
                    <a:pt x="7" y="11"/>
                    <a:pt x="0" y="1"/>
                  </a:cubicBezTo>
                  <a:cubicBezTo>
                    <a:pt x="7" y="11"/>
                    <a:pt x="14" y="18"/>
                    <a:pt x="25" y="25"/>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795" name="Google Shape;4795;p104"/>
            <p:cNvSpPr/>
            <p:nvPr/>
          </p:nvSpPr>
          <p:spPr>
            <a:xfrm>
              <a:off x="2423843" y="1854906"/>
              <a:ext cx="299" cy="204"/>
            </a:xfrm>
            <a:custGeom>
              <a:avLst/>
              <a:gdLst/>
              <a:ahLst/>
              <a:cxnLst/>
              <a:rect l="l" t="t" r="r" b="b"/>
              <a:pathLst>
                <a:path w="22" h="15" extrusionOk="0">
                  <a:moveTo>
                    <a:pt x="22" y="14"/>
                  </a:moveTo>
                  <a:cubicBezTo>
                    <a:pt x="15" y="7"/>
                    <a:pt x="8" y="4"/>
                    <a:pt x="1" y="0"/>
                  </a:cubicBezTo>
                  <a:cubicBezTo>
                    <a:pt x="8" y="4"/>
                    <a:pt x="15" y="7"/>
                    <a:pt x="22" y="14"/>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796" name="Google Shape;4796;p104"/>
            <p:cNvSpPr/>
            <p:nvPr/>
          </p:nvSpPr>
          <p:spPr>
            <a:xfrm>
              <a:off x="2423422" y="1854621"/>
              <a:ext cx="339" cy="244"/>
            </a:xfrm>
            <a:custGeom>
              <a:avLst/>
              <a:gdLst/>
              <a:ahLst/>
              <a:cxnLst/>
              <a:rect l="l" t="t" r="r" b="b"/>
              <a:pathLst>
                <a:path w="25" h="18" extrusionOk="0">
                  <a:moveTo>
                    <a:pt x="25" y="18"/>
                  </a:moveTo>
                  <a:cubicBezTo>
                    <a:pt x="18" y="11"/>
                    <a:pt x="11" y="4"/>
                    <a:pt x="0" y="0"/>
                  </a:cubicBezTo>
                  <a:cubicBezTo>
                    <a:pt x="11" y="4"/>
                    <a:pt x="18" y="11"/>
                    <a:pt x="25" y="18"/>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797" name="Google Shape;4797;p104"/>
            <p:cNvSpPr/>
            <p:nvPr/>
          </p:nvSpPr>
          <p:spPr>
            <a:xfrm>
              <a:off x="2424847" y="1855381"/>
              <a:ext cx="720" cy="204"/>
            </a:xfrm>
            <a:custGeom>
              <a:avLst/>
              <a:gdLst/>
              <a:ahLst/>
              <a:cxnLst/>
              <a:rect l="l" t="t" r="r" b="b"/>
              <a:pathLst>
                <a:path w="53" h="15" extrusionOk="0">
                  <a:moveTo>
                    <a:pt x="53" y="14"/>
                  </a:moveTo>
                  <a:cubicBezTo>
                    <a:pt x="35" y="11"/>
                    <a:pt x="18" y="7"/>
                    <a:pt x="0" y="0"/>
                  </a:cubicBezTo>
                  <a:cubicBezTo>
                    <a:pt x="18" y="7"/>
                    <a:pt x="35" y="11"/>
                    <a:pt x="53" y="14"/>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798" name="Google Shape;4798;p104"/>
            <p:cNvSpPr/>
            <p:nvPr/>
          </p:nvSpPr>
          <p:spPr>
            <a:xfrm>
              <a:off x="2431365" y="1843827"/>
              <a:ext cx="33048" cy="26544"/>
            </a:xfrm>
            <a:custGeom>
              <a:avLst/>
              <a:gdLst/>
              <a:ahLst/>
              <a:cxnLst/>
              <a:rect l="l" t="t" r="r" b="b"/>
              <a:pathLst>
                <a:path w="2434" h="1955" extrusionOk="0">
                  <a:moveTo>
                    <a:pt x="2332" y="1"/>
                  </a:moveTo>
                  <a:cubicBezTo>
                    <a:pt x="2216" y="71"/>
                    <a:pt x="1905" y="410"/>
                    <a:pt x="1765" y="687"/>
                  </a:cubicBezTo>
                  <a:cubicBezTo>
                    <a:pt x="1602" y="1000"/>
                    <a:pt x="1194" y="1222"/>
                    <a:pt x="815" y="1222"/>
                  </a:cubicBezTo>
                  <a:cubicBezTo>
                    <a:pt x="762" y="1222"/>
                    <a:pt x="709" y="1217"/>
                    <a:pt x="658" y="1208"/>
                  </a:cubicBezTo>
                  <a:cubicBezTo>
                    <a:pt x="593" y="1196"/>
                    <a:pt x="535" y="1191"/>
                    <a:pt x="484" y="1191"/>
                  </a:cubicBezTo>
                  <a:cubicBezTo>
                    <a:pt x="286" y="1191"/>
                    <a:pt x="186" y="1270"/>
                    <a:pt x="109" y="1331"/>
                  </a:cubicBezTo>
                  <a:cubicBezTo>
                    <a:pt x="91" y="1345"/>
                    <a:pt x="74" y="1355"/>
                    <a:pt x="60" y="1366"/>
                  </a:cubicBezTo>
                  <a:cubicBezTo>
                    <a:pt x="42" y="1380"/>
                    <a:pt x="21" y="1387"/>
                    <a:pt x="0" y="1387"/>
                  </a:cubicBezTo>
                  <a:cubicBezTo>
                    <a:pt x="4" y="1397"/>
                    <a:pt x="7" y="1405"/>
                    <a:pt x="11" y="1412"/>
                  </a:cubicBezTo>
                  <a:lnTo>
                    <a:pt x="18" y="1426"/>
                  </a:lnTo>
                  <a:cubicBezTo>
                    <a:pt x="21" y="1440"/>
                    <a:pt x="28" y="1454"/>
                    <a:pt x="35" y="1468"/>
                  </a:cubicBezTo>
                  <a:lnTo>
                    <a:pt x="42" y="1478"/>
                  </a:lnTo>
                  <a:cubicBezTo>
                    <a:pt x="49" y="1489"/>
                    <a:pt x="53" y="1499"/>
                    <a:pt x="60" y="1510"/>
                  </a:cubicBezTo>
                  <a:lnTo>
                    <a:pt x="70" y="1527"/>
                  </a:lnTo>
                  <a:lnTo>
                    <a:pt x="88" y="1552"/>
                  </a:lnTo>
                  <a:lnTo>
                    <a:pt x="98" y="1566"/>
                  </a:lnTo>
                  <a:lnTo>
                    <a:pt x="112" y="1587"/>
                  </a:lnTo>
                  <a:lnTo>
                    <a:pt x="126" y="1601"/>
                  </a:lnTo>
                  <a:lnTo>
                    <a:pt x="144" y="1625"/>
                  </a:lnTo>
                  <a:lnTo>
                    <a:pt x="154" y="1636"/>
                  </a:lnTo>
                  <a:lnTo>
                    <a:pt x="175" y="1660"/>
                  </a:lnTo>
                  <a:lnTo>
                    <a:pt x="182" y="1667"/>
                  </a:lnTo>
                  <a:lnTo>
                    <a:pt x="210" y="1695"/>
                  </a:lnTo>
                  <a:lnTo>
                    <a:pt x="221" y="1706"/>
                  </a:lnTo>
                  <a:lnTo>
                    <a:pt x="238" y="1723"/>
                  </a:lnTo>
                  <a:lnTo>
                    <a:pt x="249" y="1734"/>
                  </a:lnTo>
                  <a:lnTo>
                    <a:pt x="263" y="1748"/>
                  </a:lnTo>
                  <a:lnTo>
                    <a:pt x="277" y="1755"/>
                  </a:lnTo>
                  <a:lnTo>
                    <a:pt x="291" y="1765"/>
                  </a:lnTo>
                  <a:lnTo>
                    <a:pt x="298" y="1776"/>
                  </a:lnTo>
                  <a:lnTo>
                    <a:pt x="312" y="1786"/>
                  </a:lnTo>
                  <a:lnTo>
                    <a:pt x="319" y="1790"/>
                  </a:lnTo>
                  <a:lnTo>
                    <a:pt x="336" y="1800"/>
                  </a:lnTo>
                  <a:lnTo>
                    <a:pt x="340" y="1804"/>
                  </a:lnTo>
                  <a:lnTo>
                    <a:pt x="350" y="1811"/>
                  </a:lnTo>
                  <a:cubicBezTo>
                    <a:pt x="434" y="1832"/>
                    <a:pt x="518" y="1849"/>
                    <a:pt x="602" y="1856"/>
                  </a:cubicBezTo>
                  <a:cubicBezTo>
                    <a:pt x="833" y="1888"/>
                    <a:pt x="1183" y="1926"/>
                    <a:pt x="1425" y="1947"/>
                  </a:cubicBezTo>
                  <a:lnTo>
                    <a:pt x="1540" y="1954"/>
                  </a:lnTo>
                  <a:lnTo>
                    <a:pt x="1709" y="1527"/>
                  </a:lnTo>
                  <a:lnTo>
                    <a:pt x="2048" y="1100"/>
                  </a:lnTo>
                  <a:lnTo>
                    <a:pt x="2048" y="645"/>
                  </a:lnTo>
                  <a:lnTo>
                    <a:pt x="2304" y="645"/>
                  </a:lnTo>
                  <a:lnTo>
                    <a:pt x="2433" y="568"/>
                  </a:lnTo>
                  <a:cubicBezTo>
                    <a:pt x="2405" y="445"/>
                    <a:pt x="2388" y="319"/>
                    <a:pt x="2370" y="218"/>
                  </a:cubicBezTo>
                  <a:cubicBezTo>
                    <a:pt x="2360" y="137"/>
                    <a:pt x="2346" y="50"/>
                    <a:pt x="2332" y="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799" name="Google Shape;4799;p104"/>
            <p:cNvSpPr/>
            <p:nvPr/>
          </p:nvSpPr>
          <p:spPr>
            <a:xfrm>
              <a:off x="2435682" y="1868117"/>
              <a:ext cx="258" cy="163"/>
            </a:xfrm>
            <a:custGeom>
              <a:avLst/>
              <a:gdLst/>
              <a:ahLst/>
              <a:cxnLst/>
              <a:rect l="l" t="t" r="r" b="b"/>
              <a:pathLst>
                <a:path w="19" h="12" extrusionOk="0">
                  <a:moveTo>
                    <a:pt x="18" y="1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800" name="Google Shape;4800;p104"/>
            <p:cNvSpPr/>
            <p:nvPr/>
          </p:nvSpPr>
          <p:spPr>
            <a:xfrm>
              <a:off x="2432695" y="1865035"/>
              <a:ext cx="204" cy="299"/>
            </a:xfrm>
            <a:custGeom>
              <a:avLst/>
              <a:gdLst/>
              <a:ahLst/>
              <a:cxnLst/>
              <a:rect l="l" t="t" r="r" b="b"/>
              <a:pathLst>
                <a:path w="15" h="22" extrusionOk="0">
                  <a:moveTo>
                    <a:pt x="14" y="21"/>
                  </a:moveTo>
                  <a:lnTo>
                    <a:pt x="0"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801" name="Google Shape;4801;p104"/>
            <p:cNvSpPr/>
            <p:nvPr/>
          </p:nvSpPr>
          <p:spPr>
            <a:xfrm>
              <a:off x="2435397" y="1867886"/>
              <a:ext cx="204" cy="149"/>
            </a:xfrm>
            <a:custGeom>
              <a:avLst/>
              <a:gdLst/>
              <a:ahLst/>
              <a:cxnLst/>
              <a:rect l="l" t="t" r="r" b="b"/>
              <a:pathLst>
                <a:path w="15" h="11" extrusionOk="0">
                  <a:moveTo>
                    <a:pt x="15" y="11"/>
                  </a:moveTo>
                  <a:lnTo>
                    <a:pt x="1"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802" name="Google Shape;4802;p104"/>
            <p:cNvSpPr/>
            <p:nvPr/>
          </p:nvSpPr>
          <p:spPr>
            <a:xfrm>
              <a:off x="2439538" y="1869027"/>
              <a:ext cx="11174" cy="1249"/>
            </a:xfrm>
            <a:custGeom>
              <a:avLst/>
              <a:gdLst/>
              <a:ahLst/>
              <a:cxnLst/>
              <a:rect l="l" t="t" r="r" b="b"/>
              <a:pathLst>
                <a:path w="823" h="92" extrusionOk="0">
                  <a:moveTo>
                    <a:pt x="0" y="0"/>
                  </a:moveTo>
                  <a:lnTo>
                    <a:pt x="0" y="0"/>
                  </a:lnTo>
                  <a:cubicBezTo>
                    <a:pt x="231" y="32"/>
                    <a:pt x="571" y="70"/>
                    <a:pt x="823" y="91"/>
                  </a:cubicBezTo>
                  <a:cubicBezTo>
                    <a:pt x="581" y="70"/>
                    <a:pt x="235" y="32"/>
                    <a:pt x="0"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803" name="Google Shape;4803;p104"/>
            <p:cNvSpPr/>
            <p:nvPr/>
          </p:nvSpPr>
          <p:spPr>
            <a:xfrm>
              <a:off x="2435967" y="1868266"/>
              <a:ext cx="163" cy="149"/>
            </a:xfrm>
            <a:custGeom>
              <a:avLst/>
              <a:gdLst/>
              <a:ahLst/>
              <a:cxnLst/>
              <a:rect l="l" t="t" r="r" b="b"/>
              <a:pathLst>
                <a:path w="12" h="11" extrusionOk="0">
                  <a:moveTo>
                    <a:pt x="11" y="11"/>
                  </a:moveTo>
                  <a:lnTo>
                    <a:pt x="11" y="11"/>
                  </a:lnTo>
                  <a:lnTo>
                    <a:pt x="1"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804" name="Google Shape;4804;p104"/>
            <p:cNvSpPr/>
            <p:nvPr/>
          </p:nvSpPr>
          <p:spPr>
            <a:xfrm>
              <a:off x="2432315" y="1864505"/>
              <a:ext cx="244" cy="353"/>
            </a:xfrm>
            <a:custGeom>
              <a:avLst/>
              <a:gdLst/>
              <a:ahLst/>
              <a:cxnLst/>
              <a:rect l="l" t="t" r="r" b="b"/>
              <a:pathLst>
                <a:path w="18" h="26" extrusionOk="0">
                  <a:moveTo>
                    <a:pt x="18" y="25"/>
                  </a:moveTo>
                  <a:lnTo>
                    <a:pt x="0"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805" name="Google Shape;4805;p104"/>
            <p:cNvSpPr/>
            <p:nvPr/>
          </p:nvSpPr>
          <p:spPr>
            <a:xfrm>
              <a:off x="2431365" y="1862645"/>
              <a:ext cx="149" cy="353"/>
            </a:xfrm>
            <a:custGeom>
              <a:avLst/>
              <a:gdLst/>
              <a:ahLst/>
              <a:cxnLst/>
              <a:rect l="l" t="t" r="r" b="b"/>
              <a:pathLst>
                <a:path w="11" h="26" extrusionOk="0">
                  <a:moveTo>
                    <a:pt x="0" y="1"/>
                  </a:moveTo>
                  <a:cubicBezTo>
                    <a:pt x="4" y="8"/>
                    <a:pt x="7" y="15"/>
                    <a:pt x="11" y="26"/>
                  </a:cubicBezTo>
                  <a:cubicBezTo>
                    <a:pt x="7" y="15"/>
                    <a:pt x="4" y="8"/>
                    <a:pt x="0" y="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806" name="Google Shape;4806;p104"/>
            <p:cNvSpPr/>
            <p:nvPr/>
          </p:nvSpPr>
          <p:spPr>
            <a:xfrm>
              <a:off x="2435071" y="1867601"/>
              <a:ext cx="204" cy="204"/>
            </a:xfrm>
            <a:custGeom>
              <a:avLst/>
              <a:gdLst/>
              <a:ahLst/>
              <a:cxnLst/>
              <a:rect l="l" t="t" r="r" b="b"/>
              <a:pathLst>
                <a:path w="15" h="15" extrusionOk="0">
                  <a:moveTo>
                    <a:pt x="14" y="1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807" name="Google Shape;4807;p104"/>
            <p:cNvSpPr/>
            <p:nvPr/>
          </p:nvSpPr>
          <p:spPr>
            <a:xfrm>
              <a:off x="2433021" y="1865551"/>
              <a:ext cx="258" cy="299"/>
            </a:xfrm>
            <a:custGeom>
              <a:avLst/>
              <a:gdLst/>
              <a:ahLst/>
              <a:cxnLst/>
              <a:rect l="l" t="t" r="r" b="b"/>
              <a:pathLst>
                <a:path w="19" h="22" extrusionOk="0">
                  <a:moveTo>
                    <a:pt x="18" y="22"/>
                  </a:moveTo>
                  <a:lnTo>
                    <a:pt x="1"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808" name="Google Shape;4808;p104"/>
            <p:cNvSpPr/>
            <p:nvPr/>
          </p:nvSpPr>
          <p:spPr>
            <a:xfrm>
              <a:off x="2434732" y="1867316"/>
              <a:ext cx="204" cy="204"/>
            </a:xfrm>
            <a:custGeom>
              <a:avLst/>
              <a:gdLst/>
              <a:ahLst/>
              <a:cxnLst/>
              <a:rect l="l" t="t" r="r" b="b"/>
              <a:pathLst>
                <a:path w="15" h="15" extrusionOk="0">
                  <a:moveTo>
                    <a:pt x="15" y="1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809" name="Google Shape;4809;p104"/>
            <p:cNvSpPr/>
            <p:nvPr/>
          </p:nvSpPr>
          <p:spPr>
            <a:xfrm>
              <a:off x="2433456" y="1865985"/>
              <a:ext cx="299" cy="339"/>
            </a:xfrm>
            <a:custGeom>
              <a:avLst/>
              <a:gdLst/>
              <a:ahLst/>
              <a:cxnLst/>
              <a:rect l="l" t="t" r="r" b="b"/>
              <a:pathLst>
                <a:path w="22" h="25" extrusionOk="0">
                  <a:moveTo>
                    <a:pt x="21" y="25"/>
                  </a:moveTo>
                  <a:lnTo>
                    <a:pt x="0"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810" name="Google Shape;4810;p104"/>
            <p:cNvSpPr/>
            <p:nvPr/>
          </p:nvSpPr>
          <p:spPr>
            <a:xfrm>
              <a:off x="2434352" y="1866936"/>
              <a:ext cx="258" cy="244"/>
            </a:xfrm>
            <a:custGeom>
              <a:avLst/>
              <a:gdLst/>
              <a:ahLst/>
              <a:cxnLst/>
              <a:rect l="l" t="t" r="r" b="b"/>
              <a:pathLst>
                <a:path w="19" h="18" extrusionOk="0">
                  <a:moveTo>
                    <a:pt x="18" y="18"/>
                  </a:moveTo>
                  <a:lnTo>
                    <a:pt x="1"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811" name="Google Shape;4811;p104"/>
            <p:cNvSpPr/>
            <p:nvPr/>
          </p:nvSpPr>
          <p:spPr>
            <a:xfrm>
              <a:off x="2431935" y="1863840"/>
              <a:ext cx="244" cy="448"/>
            </a:xfrm>
            <a:custGeom>
              <a:avLst/>
              <a:gdLst/>
              <a:ahLst/>
              <a:cxnLst/>
              <a:rect l="l" t="t" r="r" b="b"/>
              <a:pathLst>
                <a:path w="18" h="33" extrusionOk="0">
                  <a:moveTo>
                    <a:pt x="18" y="32"/>
                  </a:moveTo>
                  <a:cubicBezTo>
                    <a:pt x="11" y="22"/>
                    <a:pt x="7" y="11"/>
                    <a:pt x="0" y="1"/>
                  </a:cubicBezTo>
                  <a:cubicBezTo>
                    <a:pt x="7" y="11"/>
                    <a:pt x="11" y="22"/>
                    <a:pt x="18" y="32"/>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812" name="Google Shape;4812;p104"/>
            <p:cNvSpPr/>
            <p:nvPr/>
          </p:nvSpPr>
          <p:spPr>
            <a:xfrm>
              <a:off x="2433836" y="1866460"/>
              <a:ext cx="394" cy="394"/>
            </a:xfrm>
            <a:custGeom>
              <a:avLst/>
              <a:gdLst/>
              <a:ahLst/>
              <a:cxnLst/>
              <a:rect l="l" t="t" r="r" b="b"/>
              <a:pathLst>
                <a:path w="29" h="29" extrusionOk="0">
                  <a:moveTo>
                    <a:pt x="28" y="28"/>
                  </a:moveTo>
                  <a:lnTo>
                    <a:pt x="0"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813" name="Google Shape;4813;p104"/>
            <p:cNvSpPr/>
            <p:nvPr/>
          </p:nvSpPr>
          <p:spPr>
            <a:xfrm>
              <a:off x="2431595" y="1863134"/>
              <a:ext cx="258" cy="625"/>
            </a:xfrm>
            <a:custGeom>
              <a:avLst/>
              <a:gdLst/>
              <a:ahLst/>
              <a:cxnLst/>
              <a:rect l="l" t="t" r="r" b="b"/>
              <a:pathLst>
                <a:path w="19" h="46" extrusionOk="0">
                  <a:moveTo>
                    <a:pt x="18" y="46"/>
                  </a:moveTo>
                  <a:cubicBezTo>
                    <a:pt x="11" y="32"/>
                    <a:pt x="4" y="14"/>
                    <a:pt x="1" y="0"/>
                  </a:cubicBezTo>
                  <a:cubicBezTo>
                    <a:pt x="4" y="14"/>
                    <a:pt x="11" y="32"/>
                    <a:pt x="18" y="46"/>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814" name="Google Shape;4814;p104"/>
            <p:cNvSpPr/>
            <p:nvPr/>
          </p:nvSpPr>
          <p:spPr>
            <a:xfrm>
              <a:off x="2452274" y="1864560"/>
              <a:ext cx="2295" cy="5811"/>
            </a:xfrm>
            <a:custGeom>
              <a:avLst/>
              <a:gdLst/>
              <a:ahLst/>
              <a:cxnLst/>
              <a:rect l="l" t="t" r="r" b="b"/>
              <a:pathLst>
                <a:path w="169" h="428" extrusionOk="0">
                  <a:moveTo>
                    <a:pt x="0" y="427"/>
                  </a:moveTo>
                  <a:lnTo>
                    <a:pt x="169"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815" name="Google Shape;4815;p104"/>
            <p:cNvSpPr/>
            <p:nvPr/>
          </p:nvSpPr>
          <p:spPr>
            <a:xfrm>
              <a:off x="2782384" y="1996356"/>
              <a:ext cx="29246" cy="38139"/>
            </a:xfrm>
            <a:custGeom>
              <a:avLst/>
              <a:gdLst/>
              <a:ahLst/>
              <a:cxnLst/>
              <a:rect l="l" t="t" r="r" b="b"/>
              <a:pathLst>
                <a:path w="2154" h="2809" extrusionOk="0">
                  <a:moveTo>
                    <a:pt x="1" y="1"/>
                  </a:moveTo>
                  <a:cubicBezTo>
                    <a:pt x="102" y="267"/>
                    <a:pt x="116" y="536"/>
                    <a:pt x="123" y="775"/>
                  </a:cubicBezTo>
                  <a:cubicBezTo>
                    <a:pt x="123" y="967"/>
                    <a:pt x="312" y="1244"/>
                    <a:pt x="463" y="1468"/>
                  </a:cubicBezTo>
                  <a:cubicBezTo>
                    <a:pt x="561" y="1608"/>
                    <a:pt x="641" y="1727"/>
                    <a:pt x="673" y="1811"/>
                  </a:cubicBezTo>
                  <a:cubicBezTo>
                    <a:pt x="725" y="1968"/>
                    <a:pt x="820" y="2035"/>
                    <a:pt x="1034" y="2182"/>
                  </a:cubicBezTo>
                  <a:cubicBezTo>
                    <a:pt x="1076" y="2210"/>
                    <a:pt x="1121" y="2245"/>
                    <a:pt x="1174" y="2283"/>
                  </a:cubicBezTo>
                  <a:cubicBezTo>
                    <a:pt x="1541" y="2546"/>
                    <a:pt x="2031" y="2809"/>
                    <a:pt x="2150" y="2809"/>
                  </a:cubicBezTo>
                  <a:cubicBezTo>
                    <a:pt x="2154" y="2714"/>
                    <a:pt x="1947" y="2318"/>
                    <a:pt x="1776" y="2140"/>
                  </a:cubicBezTo>
                  <a:cubicBezTo>
                    <a:pt x="1629" y="1986"/>
                    <a:pt x="1671" y="1702"/>
                    <a:pt x="1713" y="1401"/>
                  </a:cubicBezTo>
                  <a:cubicBezTo>
                    <a:pt x="1730" y="1279"/>
                    <a:pt x="1744" y="1160"/>
                    <a:pt x="1748" y="1041"/>
                  </a:cubicBezTo>
                  <a:cubicBezTo>
                    <a:pt x="1751" y="866"/>
                    <a:pt x="1667" y="810"/>
                    <a:pt x="1555" y="736"/>
                  </a:cubicBezTo>
                  <a:cubicBezTo>
                    <a:pt x="1468" y="680"/>
                    <a:pt x="1373" y="617"/>
                    <a:pt x="1331" y="487"/>
                  </a:cubicBezTo>
                  <a:cubicBezTo>
                    <a:pt x="1296" y="382"/>
                    <a:pt x="1261" y="372"/>
                    <a:pt x="1216" y="358"/>
                  </a:cubicBezTo>
                  <a:cubicBezTo>
                    <a:pt x="1142" y="347"/>
                    <a:pt x="1083" y="291"/>
                    <a:pt x="1065" y="218"/>
                  </a:cubicBezTo>
                  <a:cubicBezTo>
                    <a:pt x="1062" y="214"/>
                    <a:pt x="1062" y="211"/>
                    <a:pt x="1058" y="207"/>
                  </a:cubicBezTo>
                  <a:lnTo>
                    <a:pt x="1055" y="207"/>
                  </a:lnTo>
                  <a:lnTo>
                    <a:pt x="1044" y="218"/>
                  </a:lnTo>
                  <a:lnTo>
                    <a:pt x="1041" y="221"/>
                  </a:lnTo>
                  <a:cubicBezTo>
                    <a:pt x="1037" y="225"/>
                    <a:pt x="1034" y="228"/>
                    <a:pt x="1034" y="232"/>
                  </a:cubicBezTo>
                  <a:lnTo>
                    <a:pt x="1030" y="235"/>
                  </a:lnTo>
                  <a:cubicBezTo>
                    <a:pt x="1027" y="239"/>
                    <a:pt x="1023" y="242"/>
                    <a:pt x="1023" y="249"/>
                  </a:cubicBezTo>
                  <a:cubicBezTo>
                    <a:pt x="1020" y="253"/>
                    <a:pt x="1020" y="256"/>
                    <a:pt x="1016" y="263"/>
                  </a:cubicBezTo>
                  <a:lnTo>
                    <a:pt x="1016" y="267"/>
                  </a:lnTo>
                  <a:cubicBezTo>
                    <a:pt x="1016" y="270"/>
                    <a:pt x="1016" y="274"/>
                    <a:pt x="1016" y="277"/>
                  </a:cubicBezTo>
                  <a:lnTo>
                    <a:pt x="1016" y="284"/>
                  </a:lnTo>
                  <a:lnTo>
                    <a:pt x="1013" y="298"/>
                  </a:lnTo>
                  <a:cubicBezTo>
                    <a:pt x="1006" y="330"/>
                    <a:pt x="995" y="393"/>
                    <a:pt x="932" y="403"/>
                  </a:cubicBezTo>
                  <a:lnTo>
                    <a:pt x="915" y="403"/>
                  </a:lnTo>
                  <a:lnTo>
                    <a:pt x="901" y="407"/>
                  </a:lnTo>
                  <a:lnTo>
                    <a:pt x="897" y="407"/>
                  </a:lnTo>
                  <a:lnTo>
                    <a:pt x="876" y="410"/>
                  </a:lnTo>
                  <a:lnTo>
                    <a:pt x="845" y="410"/>
                  </a:lnTo>
                  <a:lnTo>
                    <a:pt x="820" y="414"/>
                  </a:lnTo>
                  <a:lnTo>
                    <a:pt x="810" y="414"/>
                  </a:lnTo>
                  <a:lnTo>
                    <a:pt x="782" y="417"/>
                  </a:lnTo>
                  <a:lnTo>
                    <a:pt x="617" y="417"/>
                  </a:lnTo>
                  <a:lnTo>
                    <a:pt x="596" y="414"/>
                  </a:lnTo>
                  <a:lnTo>
                    <a:pt x="582" y="410"/>
                  </a:lnTo>
                  <a:lnTo>
                    <a:pt x="561" y="407"/>
                  </a:lnTo>
                  <a:lnTo>
                    <a:pt x="547" y="403"/>
                  </a:lnTo>
                  <a:lnTo>
                    <a:pt x="529" y="400"/>
                  </a:lnTo>
                  <a:lnTo>
                    <a:pt x="519" y="396"/>
                  </a:lnTo>
                  <a:lnTo>
                    <a:pt x="501" y="386"/>
                  </a:lnTo>
                  <a:lnTo>
                    <a:pt x="491" y="382"/>
                  </a:lnTo>
                  <a:cubicBezTo>
                    <a:pt x="484" y="379"/>
                    <a:pt x="477" y="372"/>
                    <a:pt x="470" y="368"/>
                  </a:cubicBezTo>
                  <a:cubicBezTo>
                    <a:pt x="442" y="347"/>
                    <a:pt x="424" y="316"/>
                    <a:pt x="424" y="281"/>
                  </a:cubicBezTo>
                  <a:cubicBezTo>
                    <a:pt x="431" y="151"/>
                    <a:pt x="337" y="39"/>
                    <a:pt x="211" y="22"/>
                  </a:cubicBezTo>
                  <a:cubicBezTo>
                    <a:pt x="179" y="18"/>
                    <a:pt x="148" y="11"/>
                    <a:pt x="116" y="8"/>
                  </a:cubicBezTo>
                  <a:lnTo>
                    <a:pt x="88" y="8"/>
                  </a:lnTo>
                  <a:cubicBezTo>
                    <a:pt x="67" y="8"/>
                    <a:pt x="46" y="4"/>
                    <a:pt x="22" y="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816" name="Google Shape;4816;p104"/>
            <p:cNvSpPr/>
            <p:nvPr/>
          </p:nvSpPr>
          <p:spPr>
            <a:xfrm>
              <a:off x="2853543" y="1995460"/>
              <a:ext cx="70169" cy="41954"/>
            </a:xfrm>
            <a:custGeom>
              <a:avLst/>
              <a:gdLst/>
              <a:ahLst/>
              <a:cxnLst/>
              <a:rect l="l" t="t" r="r" b="b"/>
              <a:pathLst>
                <a:path w="5168" h="3090" extrusionOk="0">
                  <a:moveTo>
                    <a:pt x="3859" y="0"/>
                  </a:moveTo>
                  <a:cubicBezTo>
                    <a:pt x="3718" y="0"/>
                    <a:pt x="3501" y="340"/>
                    <a:pt x="3487" y="494"/>
                  </a:cubicBezTo>
                  <a:cubicBezTo>
                    <a:pt x="3477" y="599"/>
                    <a:pt x="3386" y="648"/>
                    <a:pt x="3316" y="690"/>
                  </a:cubicBezTo>
                  <a:cubicBezTo>
                    <a:pt x="3221" y="743"/>
                    <a:pt x="3186" y="774"/>
                    <a:pt x="3193" y="848"/>
                  </a:cubicBezTo>
                  <a:cubicBezTo>
                    <a:pt x="3211" y="932"/>
                    <a:pt x="3165" y="1016"/>
                    <a:pt x="3088" y="1047"/>
                  </a:cubicBezTo>
                  <a:lnTo>
                    <a:pt x="3088" y="1054"/>
                  </a:lnTo>
                  <a:cubicBezTo>
                    <a:pt x="3092" y="1072"/>
                    <a:pt x="3099" y="1093"/>
                    <a:pt x="3102" y="1110"/>
                  </a:cubicBezTo>
                  <a:lnTo>
                    <a:pt x="3102" y="1117"/>
                  </a:lnTo>
                  <a:cubicBezTo>
                    <a:pt x="3106" y="1135"/>
                    <a:pt x="3109" y="1152"/>
                    <a:pt x="3109" y="1166"/>
                  </a:cubicBezTo>
                  <a:lnTo>
                    <a:pt x="3109" y="1170"/>
                  </a:lnTo>
                  <a:cubicBezTo>
                    <a:pt x="3113" y="1187"/>
                    <a:pt x="3116" y="1201"/>
                    <a:pt x="3116" y="1215"/>
                  </a:cubicBezTo>
                  <a:lnTo>
                    <a:pt x="3116" y="1219"/>
                  </a:lnTo>
                  <a:cubicBezTo>
                    <a:pt x="3116" y="1233"/>
                    <a:pt x="3120" y="1243"/>
                    <a:pt x="3120" y="1257"/>
                  </a:cubicBezTo>
                  <a:lnTo>
                    <a:pt x="3120" y="1261"/>
                  </a:lnTo>
                  <a:cubicBezTo>
                    <a:pt x="3120" y="1271"/>
                    <a:pt x="3120" y="1282"/>
                    <a:pt x="3120" y="1292"/>
                  </a:cubicBezTo>
                  <a:lnTo>
                    <a:pt x="3120" y="1296"/>
                  </a:lnTo>
                  <a:cubicBezTo>
                    <a:pt x="3120" y="1306"/>
                    <a:pt x="3116" y="1313"/>
                    <a:pt x="3116" y="1324"/>
                  </a:cubicBezTo>
                  <a:lnTo>
                    <a:pt x="3116" y="1327"/>
                  </a:lnTo>
                  <a:cubicBezTo>
                    <a:pt x="3113" y="1334"/>
                    <a:pt x="3109" y="1341"/>
                    <a:pt x="3106" y="1348"/>
                  </a:cubicBezTo>
                  <a:lnTo>
                    <a:pt x="3106" y="1352"/>
                  </a:lnTo>
                  <a:cubicBezTo>
                    <a:pt x="3102" y="1355"/>
                    <a:pt x="3099" y="1362"/>
                    <a:pt x="3092" y="1369"/>
                  </a:cubicBezTo>
                  <a:cubicBezTo>
                    <a:pt x="3073" y="1388"/>
                    <a:pt x="3049" y="1396"/>
                    <a:pt x="3024" y="1396"/>
                  </a:cubicBezTo>
                  <a:cubicBezTo>
                    <a:pt x="3016" y="1396"/>
                    <a:pt x="3008" y="1395"/>
                    <a:pt x="3001" y="1394"/>
                  </a:cubicBezTo>
                  <a:cubicBezTo>
                    <a:pt x="2993" y="1391"/>
                    <a:pt x="2986" y="1390"/>
                    <a:pt x="2980" y="1390"/>
                  </a:cubicBezTo>
                  <a:cubicBezTo>
                    <a:pt x="2960" y="1390"/>
                    <a:pt x="2943" y="1402"/>
                    <a:pt x="2906" y="1429"/>
                  </a:cubicBezTo>
                  <a:cubicBezTo>
                    <a:pt x="2836" y="1488"/>
                    <a:pt x="2749" y="1523"/>
                    <a:pt x="2658" y="1523"/>
                  </a:cubicBezTo>
                  <a:lnTo>
                    <a:pt x="2626" y="1523"/>
                  </a:lnTo>
                  <a:lnTo>
                    <a:pt x="2616" y="1520"/>
                  </a:lnTo>
                  <a:lnTo>
                    <a:pt x="2609" y="1516"/>
                  </a:lnTo>
                  <a:lnTo>
                    <a:pt x="2598" y="1513"/>
                  </a:lnTo>
                  <a:lnTo>
                    <a:pt x="2591" y="1509"/>
                  </a:lnTo>
                  <a:lnTo>
                    <a:pt x="2584" y="1502"/>
                  </a:lnTo>
                  <a:lnTo>
                    <a:pt x="2574" y="1499"/>
                  </a:lnTo>
                  <a:lnTo>
                    <a:pt x="2567" y="1488"/>
                  </a:lnTo>
                  <a:lnTo>
                    <a:pt x="2556" y="1481"/>
                  </a:lnTo>
                  <a:lnTo>
                    <a:pt x="2546" y="1474"/>
                  </a:lnTo>
                  <a:lnTo>
                    <a:pt x="2539" y="1464"/>
                  </a:lnTo>
                  <a:lnTo>
                    <a:pt x="2528" y="1453"/>
                  </a:lnTo>
                  <a:lnTo>
                    <a:pt x="2518" y="1443"/>
                  </a:lnTo>
                  <a:lnTo>
                    <a:pt x="2507" y="1429"/>
                  </a:lnTo>
                  <a:lnTo>
                    <a:pt x="2497" y="1418"/>
                  </a:lnTo>
                  <a:lnTo>
                    <a:pt x="2486" y="1401"/>
                  </a:lnTo>
                  <a:lnTo>
                    <a:pt x="2476" y="1387"/>
                  </a:lnTo>
                  <a:lnTo>
                    <a:pt x="2462" y="1369"/>
                  </a:lnTo>
                  <a:lnTo>
                    <a:pt x="2451" y="1352"/>
                  </a:lnTo>
                  <a:lnTo>
                    <a:pt x="2437" y="1331"/>
                  </a:lnTo>
                  <a:lnTo>
                    <a:pt x="2423" y="1313"/>
                  </a:lnTo>
                  <a:lnTo>
                    <a:pt x="2409" y="1289"/>
                  </a:lnTo>
                  <a:lnTo>
                    <a:pt x="2395" y="1268"/>
                  </a:lnTo>
                  <a:lnTo>
                    <a:pt x="2378" y="1240"/>
                  </a:lnTo>
                  <a:lnTo>
                    <a:pt x="2367" y="1219"/>
                  </a:lnTo>
                  <a:lnTo>
                    <a:pt x="2350" y="1187"/>
                  </a:lnTo>
                  <a:lnTo>
                    <a:pt x="2336" y="1163"/>
                  </a:lnTo>
                  <a:lnTo>
                    <a:pt x="2329" y="1152"/>
                  </a:lnTo>
                  <a:cubicBezTo>
                    <a:pt x="2227" y="1215"/>
                    <a:pt x="1989" y="1565"/>
                    <a:pt x="1930" y="1849"/>
                  </a:cubicBezTo>
                  <a:cubicBezTo>
                    <a:pt x="1870" y="2129"/>
                    <a:pt x="1635" y="2136"/>
                    <a:pt x="1362" y="2136"/>
                  </a:cubicBezTo>
                  <a:cubicBezTo>
                    <a:pt x="1278" y="2136"/>
                    <a:pt x="1180" y="2136"/>
                    <a:pt x="1079" y="2143"/>
                  </a:cubicBezTo>
                  <a:cubicBezTo>
                    <a:pt x="848" y="2160"/>
                    <a:pt x="830" y="2300"/>
                    <a:pt x="820" y="2528"/>
                  </a:cubicBezTo>
                  <a:cubicBezTo>
                    <a:pt x="823" y="2622"/>
                    <a:pt x="806" y="2714"/>
                    <a:pt x="774" y="2801"/>
                  </a:cubicBezTo>
                  <a:cubicBezTo>
                    <a:pt x="757" y="2840"/>
                    <a:pt x="725" y="2868"/>
                    <a:pt x="687" y="2885"/>
                  </a:cubicBezTo>
                  <a:cubicBezTo>
                    <a:pt x="665" y="2893"/>
                    <a:pt x="641" y="2896"/>
                    <a:pt x="616" y="2896"/>
                  </a:cubicBezTo>
                  <a:cubicBezTo>
                    <a:pt x="499" y="2896"/>
                    <a:pt x="347" y="2824"/>
                    <a:pt x="186" y="2752"/>
                  </a:cubicBezTo>
                  <a:cubicBezTo>
                    <a:pt x="123" y="2721"/>
                    <a:pt x="57" y="2689"/>
                    <a:pt x="1" y="2664"/>
                  </a:cubicBezTo>
                  <a:lnTo>
                    <a:pt x="1" y="2664"/>
                  </a:lnTo>
                  <a:cubicBezTo>
                    <a:pt x="4" y="2682"/>
                    <a:pt x="8" y="2696"/>
                    <a:pt x="11" y="2710"/>
                  </a:cubicBezTo>
                  <a:lnTo>
                    <a:pt x="11" y="2717"/>
                  </a:lnTo>
                  <a:cubicBezTo>
                    <a:pt x="18" y="2728"/>
                    <a:pt x="22" y="2742"/>
                    <a:pt x="25" y="2752"/>
                  </a:cubicBezTo>
                  <a:lnTo>
                    <a:pt x="25" y="2756"/>
                  </a:lnTo>
                  <a:cubicBezTo>
                    <a:pt x="29" y="2766"/>
                    <a:pt x="32" y="2773"/>
                    <a:pt x="36" y="2784"/>
                  </a:cubicBezTo>
                  <a:cubicBezTo>
                    <a:pt x="39" y="2791"/>
                    <a:pt x="43" y="2798"/>
                    <a:pt x="46" y="2805"/>
                  </a:cubicBezTo>
                  <a:lnTo>
                    <a:pt x="46" y="2808"/>
                  </a:lnTo>
                  <a:lnTo>
                    <a:pt x="53" y="2826"/>
                  </a:lnTo>
                  <a:lnTo>
                    <a:pt x="60" y="2836"/>
                  </a:lnTo>
                  <a:lnTo>
                    <a:pt x="67" y="2843"/>
                  </a:lnTo>
                  <a:lnTo>
                    <a:pt x="71" y="2847"/>
                  </a:lnTo>
                  <a:cubicBezTo>
                    <a:pt x="144" y="2850"/>
                    <a:pt x="218" y="2913"/>
                    <a:pt x="295" y="2980"/>
                  </a:cubicBezTo>
                  <a:cubicBezTo>
                    <a:pt x="349" y="3025"/>
                    <a:pt x="420" y="3089"/>
                    <a:pt x="458" y="3089"/>
                  </a:cubicBezTo>
                  <a:cubicBezTo>
                    <a:pt x="464" y="3089"/>
                    <a:pt x="469" y="3088"/>
                    <a:pt x="473" y="3085"/>
                  </a:cubicBezTo>
                  <a:cubicBezTo>
                    <a:pt x="537" y="3036"/>
                    <a:pt x="637" y="3025"/>
                    <a:pt x="749" y="3025"/>
                  </a:cubicBezTo>
                  <a:cubicBezTo>
                    <a:pt x="792" y="3025"/>
                    <a:pt x="837" y="3027"/>
                    <a:pt x="883" y="3029"/>
                  </a:cubicBezTo>
                  <a:lnTo>
                    <a:pt x="970" y="3029"/>
                  </a:lnTo>
                  <a:cubicBezTo>
                    <a:pt x="990" y="3030"/>
                    <a:pt x="1010" y="3031"/>
                    <a:pt x="1031" y="3031"/>
                  </a:cubicBezTo>
                  <a:cubicBezTo>
                    <a:pt x="1088" y="3031"/>
                    <a:pt x="1147" y="3024"/>
                    <a:pt x="1201" y="3011"/>
                  </a:cubicBezTo>
                  <a:cubicBezTo>
                    <a:pt x="1243" y="2994"/>
                    <a:pt x="1282" y="2976"/>
                    <a:pt x="1320" y="2948"/>
                  </a:cubicBezTo>
                  <a:lnTo>
                    <a:pt x="1355" y="2924"/>
                  </a:lnTo>
                  <a:cubicBezTo>
                    <a:pt x="1464" y="2831"/>
                    <a:pt x="1604" y="2779"/>
                    <a:pt x="1748" y="2779"/>
                  </a:cubicBezTo>
                  <a:cubicBezTo>
                    <a:pt x="1757" y="2779"/>
                    <a:pt x="1766" y="2780"/>
                    <a:pt x="1776" y="2780"/>
                  </a:cubicBezTo>
                  <a:cubicBezTo>
                    <a:pt x="1783" y="2780"/>
                    <a:pt x="1791" y="2779"/>
                    <a:pt x="1798" y="2779"/>
                  </a:cubicBezTo>
                  <a:cubicBezTo>
                    <a:pt x="1896" y="2779"/>
                    <a:pt x="1994" y="2821"/>
                    <a:pt x="2063" y="2892"/>
                  </a:cubicBezTo>
                  <a:cubicBezTo>
                    <a:pt x="2086" y="2916"/>
                    <a:pt x="2102" y="2931"/>
                    <a:pt x="2131" y="2931"/>
                  </a:cubicBezTo>
                  <a:cubicBezTo>
                    <a:pt x="2158" y="2931"/>
                    <a:pt x="2196" y="2917"/>
                    <a:pt x="2262" y="2885"/>
                  </a:cubicBezTo>
                  <a:cubicBezTo>
                    <a:pt x="2360" y="2836"/>
                    <a:pt x="2465" y="2801"/>
                    <a:pt x="2574" y="2784"/>
                  </a:cubicBezTo>
                  <a:cubicBezTo>
                    <a:pt x="2710" y="2756"/>
                    <a:pt x="2724" y="2752"/>
                    <a:pt x="2710" y="2626"/>
                  </a:cubicBezTo>
                  <a:cubicBezTo>
                    <a:pt x="2693" y="2503"/>
                    <a:pt x="2731" y="2381"/>
                    <a:pt x="2812" y="2286"/>
                  </a:cubicBezTo>
                  <a:cubicBezTo>
                    <a:pt x="2857" y="2230"/>
                    <a:pt x="2885" y="2192"/>
                    <a:pt x="2871" y="2111"/>
                  </a:cubicBezTo>
                  <a:cubicBezTo>
                    <a:pt x="2850" y="1964"/>
                    <a:pt x="2959" y="1919"/>
                    <a:pt x="3036" y="1887"/>
                  </a:cubicBezTo>
                  <a:cubicBezTo>
                    <a:pt x="3130" y="1849"/>
                    <a:pt x="3211" y="1817"/>
                    <a:pt x="3197" y="1621"/>
                  </a:cubicBezTo>
                  <a:cubicBezTo>
                    <a:pt x="3183" y="1523"/>
                    <a:pt x="3214" y="1425"/>
                    <a:pt x="3284" y="1352"/>
                  </a:cubicBezTo>
                  <a:cubicBezTo>
                    <a:pt x="3417" y="1211"/>
                    <a:pt x="3670" y="1193"/>
                    <a:pt x="3880" y="1193"/>
                  </a:cubicBezTo>
                  <a:cubicBezTo>
                    <a:pt x="3926" y="1193"/>
                    <a:pt x="3969" y="1194"/>
                    <a:pt x="4009" y="1194"/>
                  </a:cubicBezTo>
                  <a:lnTo>
                    <a:pt x="4135" y="1194"/>
                  </a:lnTo>
                  <a:lnTo>
                    <a:pt x="4156" y="1198"/>
                  </a:lnTo>
                  <a:lnTo>
                    <a:pt x="4167" y="1198"/>
                  </a:lnTo>
                  <a:lnTo>
                    <a:pt x="4184" y="1205"/>
                  </a:lnTo>
                  <a:lnTo>
                    <a:pt x="4198" y="1208"/>
                  </a:lnTo>
                  <a:lnTo>
                    <a:pt x="4219" y="1215"/>
                  </a:lnTo>
                  <a:lnTo>
                    <a:pt x="4233" y="1219"/>
                  </a:lnTo>
                  <a:lnTo>
                    <a:pt x="4254" y="1226"/>
                  </a:lnTo>
                  <a:lnTo>
                    <a:pt x="4272" y="1233"/>
                  </a:lnTo>
                  <a:lnTo>
                    <a:pt x="4289" y="1240"/>
                  </a:lnTo>
                  <a:lnTo>
                    <a:pt x="4310" y="1250"/>
                  </a:lnTo>
                  <a:lnTo>
                    <a:pt x="4331" y="1257"/>
                  </a:lnTo>
                  <a:lnTo>
                    <a:pt x="4352" y="1268"/>
                  </a:lnTo>
                  <a:lnTo>
                    <a:pt x="4363" y="1271"/>
                  </a:lnTo>
                  <a:lnTo>
                    <a:pt x="4380" y="1275"/>
                  </a:lnTo>
                  <a:cubicBezTo>
                    <a:pt x="4461" y="1236"/>
                    <a:pt x="4678" y="1128"/>
                    <a:pt x="4681" y="1079"/>
                  </a:cubicBezTo>
                  <a:cubicBezTo>
                    <a:pt x="4678" y="1075"/>
                    <a:pt x="4674" y="1072"/>
                    <a:pt x="4671" y="1068"/>
                  </a:cubicBezTo>
                  <a:cubicBezTo>
                    <a:pt x="4636" y="1044"/>
                    <a:pt x="4618" y="998"/>
                    <a:pt x="4632" y="960"/>
                  </a:cubicBezTo>
                  <a:cubicBezTo>
                    <a:pt x="4653" y="893"/>
                    <a:pt x="4734" y="886"/>
                    <a:pt x="4853" y="876"/>
                  </a:cubicBezTo>
                  <a:cubicBezTo>
                    <a:pt x="4958" y="865"/>
                    <a:pt x="5133" y="851"/>
                    <a:pt x="5154" y="788"/>
                  </a:cubicBezTo>
                  <a:cubicBezTo>
                    <a:pt x="5168" y="739"/>
                    <a:pt x="5154" y="690"/>
                    <a:pt x="5115" y="655"/>
                  </a:cubicBezTo>
                  <a:cubicBezTo>
                    <a:pt x="5054" y="588"/>
                    <a:pt x="4953" y="547"/>
                    <a:pt x="4887" y="547"/>
                  </a:cubicBezTo>
                  <a:cubicBezTo>
                    <a:pt x="4877" y="547"/>
                    <a:pt x="4868" y="548"/>
                    <a:pt x="4860" y="550"/>
                  </a:cubicBezTo>
                  <a:cubicBezTo>
                    <a:pt x="4820" y="559"/>
                    <a:pt x="4759" y="566"/>
                    <a:pt x="4691" y="566"/>
                  </a:cubicBezTo>
                  <a:cubicBezTo>
                    <a:pt x="4574" y="566"/>
                    <a:pt x="4437" y="546"/>
                    <a:pt x="4359" y="483"/>
                  </a:cubicBezTo>
                  <a:cubicBezTo>
                    <a:pt x="4317" y="452"/>
                    <a:pt x="4296" y="406"/>
                    <a:pt x="4296" y="357"/>
                  </a:cubicBezTo>
                  <a:cubicBezTo>
                    <a:pt x="4296" y="256"/>
                    <a:pt x="4027" y="0"/>
                    <a:pt x="3859"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817" name="Google Shape;4817;p104"/>
            <p:cNvSpPr/>
            <p:nvPr/>
          </p:nvSpPr>
          <p:spPr>
            <a:xfrm>
              <a:off x="2791942" y="2002154"/>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818" name="Google Shape;4818;p104"/>
            <p:cNvSpPr/>
            <p:nvPr/>
          </p:nvSpPr>
          <p:spPr>
            <a:xfrm>
              <a:off x="2790367" y="2002059"/>
              <a:ext cx="299" cy="68"/>
            </a:xfrm>
            <a:custGeom>
              <a:avLst/>
              <a:gdLst/>
              <a:ahLst/>
              <a:cxnLst/>
              <a:rect l="l" t="t" r="r" b="b"/>
              <a:pathLst>
                <a:path w="22" h="5" extrusionOk="0">
                  <a:moveTo>
                    <a:pt x="1" y="1"/>
                  </a:moveTo>
                  <a:lnTo>
                    <a:pt x="22" y="4"/>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819" name="Google Shape;4819;p104"/>
            <p:cNvSpPr/>
            <p:nvPr/>
          </p:nvSpPr>
          <p:spPr>
            <a:xfrm>
              <a:off x="2792458" y="2002154"/>
              <a:ext cx="394" cy="14"/>
            </a:xfrm>
            <a:custGeom>
              <a:avLst/>
              <a:gdLst/>
              <a:ahLst/>
              <a:cxnLst/>
              <a:rect l="l" t="t" r="r" b="b"/>
              <a:pathLst>
                <a:path w="29" h="1" extrusionOk="0">
                  <a:moveTo>
                    <a:pt x="1" y="1"/>
                  </a:moveTo>
                  <a:lnTo>
                    <a:pt x="29"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820" name="Google Shape;4820;p104"/>
            <p:cNvSpPr/>
            <p:nvPr/>
          </p:nvSpPr>
          <p:spPr>
            <a:xfrm>
              <a:off x="2790843" y="2002113"/>
              <a:ext cx="394" cy="14"/>
            </a:xfrm>
            <a:custGeom>
              <a:avLst/>
              <a:gdLst/>
              <a:ahLst/>
              <a:cxnLst/>
              <a:rect l="l" t="t" r="r" b="b"/>
              <a:pathLst>
                <a:path w="29" h="1" extrusionOk="0">
                  <a:moveTo>
                    <a:pt x="1" y="0"/>
                  </a:moveTo>
                  <a:lnTo>
                    <a:pt x="29"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821" name="Google Shape;4821;p104"/>
            <p:cNvSpPr/>
            <p:nvPr/>
          </p:nvSpPr>
          <p:spPr>
            <a:xfrm>
              <a:off x="2793463" y="2002059"/>
              <a:ext cx="353" cy="14"/>
            </a:xfrm>
            <a:custGeom>
              <a:avLst/>
              <a:gdLst/>
              <a:ahLst/>
              <a:cxnLst/>
              <a:rect l="l" t="t" r="r" b="b"/>
              <a:pathLst>
                <a:path w="26" h="1" extrusionOk="0">
                  <a:moveTo>
                    <a:pt x="1" y="1"/>
                  </a:moveTo>
                  <a:lnTo>
                    <a:pt x="25"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822" name="Google Shape;4822;p104"/>
            <p:cNvSpPr/>
            <p:nvPr/>
          </p:nvSpPr>
          <p:spPr>
            <a:xfrm>
              <a:off x="2792947" y="2002113"/>
              <a:ext cx="380" cy="14"/>
            </a:xfrm>
            <a:custGeom>
              <a:avLst/>
              <a:gdLst/>
              <a:ahLst/>
              <a:cxnLst/>
              <a:rect l="l" t="t" r="r" b="b"/>
              <a:pathLst>
                <a:path w="28" h="1" extrusionOk="0">
                  <a:moveTo>
                    <a:pt x="0" y="0"/>
                  </a:moveTo>
                  <a:lnTo>
                    <a:pt x="28"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823" name="Google Shape;4823;p104"/>
            <p:cNvSpPr/>
            <p:nvPr/>
          </p:nvSpPr>
          <p:spPr>
            <a:xfrm>
              <a:off x="2793938" y="2002018"/>
              <a:ext cx="299" cy="14"/>
            </a:xfrm>
            <a:custGeom>
              <a:avLst/>
              <a:gdLst/>
              <a:ahLst/>
              <a:cxnLst/>
              <a:rect l="l" t="t" r="r" b="b"/>
              <a:pathLst>
                <a:path w="22" h="1" extrusionOk="0">
                  <a:moveTo>
                    <a:pt x="1" y="0"/>
                  </a:moveTo>
                  <a:lnTo>
                    <a:pt x="22"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824" name="Google Shape;4824;p104"/>
            <p:cNvSpPr/>
            <p:nvPr/>
          </p:nvSpPr>
          <p:spPr>
            <a:xfrm>
              <a:off x="2788657" y="2001448"/>
              <a:ext cx="353" cy="244"/>
            </a:xfrm>
            <a:custGeom>
              <a:avLst/>
              <a:gdLst/>
              <a:ahLst/>
              <a:cxnLst/>
              <a:rect l="l" t="t" r="r" b="b"/>
              <a:pathLst>
                <a:path w="26" h="18" extrusionOk="0">
                  <a:moveTo>
                    <a:pt x="1" y="0"/>
                  </a:moveTo>
                  <a:cubicBezTo>
                    <a:pt x="8" y="7"/>
                    <a:pt x="15" y="11"/>
                    <a:pt x="25" y="18"/>
                  </a:cubicBezTo>
                  <a:cubicBezTo>
                    <a:pt x="15" y="11"/>
                    <a:pt x="8" y="7"/>
                    <a:pt x="1"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825" name="Google Shape;4825;p104"/>
            <p:cNvSpPr/>
            <p:nvPr/>
          </p:nvSpPr>
          <p:spPr>
            <a:xfrm>
              <a:off x="2783524" y="1996546"/>
              <a:ext cx="394" cy="68"/>
            </a:xfrm>
            <a:custGeom>
              <a:avLst/>
              <a:gdLst/>
              <a:ahLst/>
              <a:cxnLst/>
              <a:rect l="l" t="t" r="r" b="b"/>
              <a:pathLst>
                <a:path w="29" h="5" extrusionOk="0">
                  <a:moveTo>
                    <a:pt x="1" y="1"/>
                  </a:moveTo>
                  <a:lnTo>
                    <a:pt x="29" y="4"/>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826" name="Google Shape;4826;p104"/>
            <p:cNvSpPr/>
            <p:nvPr/>
          </p:nvSpPr>
          <p:spPr>
            <a:xfrm>
              <a:off x="2782343" y="1996506"/>
              <a:ext cx="244" cy="14"/>
            </a:xfrm>
            <a:custGeom>
              <a:avLst/>
              <a:gdLst/>
              <a:ahLst/>
              <a:cxnLst/>
              <a:rect l="l" t="t" r="r" b="b"/>
              <a:pathLst>
                <a:path w="18" h="1" extrusionOk="0">
                  <a:moveTo>
                    <a:pt x="0" y="0"/>
                  </a:moveTo>
                  <a:lnTo>
                    <a:pt x="0" y="0"/>
                  </a:lnTo>
                  <a:lnTo>
                    <a:pt x="18"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827" name="Google Shape;4827;p104"/>
            <p:cNvSpPr/>
            <p:nvPr/>
          </p:nvSpPr>
          <p:spPr>
            <a:xfrm>
              <a:off x="2789471" y="2001869"/>
              <a:ext cx="299" cy="109"/>
            </a:xfrm>
            <a:custGeom>
              <a:avLst/>
              <a:gdLst/>
              <a:ahLst/>
              <a:cxnLst/>
              <a:rect l="l" t="t" r="r" b="b"/>
              <a:pathLst>
                <a:path w="22" h="8" extrusionOk="0">
                  <a:moveTo>
                    <a:pt x="0" y="1"/>
                  </a:moveTo>
                  <a:lnTo>
                    <a:pt x="21" y="8"/>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828" name="Google Shape;4828;p104"/>
            <p:cNvSpPr/>
            <p:nvPr/>
          </p:nvSpPr>
          <p:spPr>
            <a:xfrm>
              <a:off x="2789091" y="2001733"/>
              <a:ext cx="244" cy="109"/>
            </a:xfrm>
            <a:custGeom>
              <a:avLst/>
              <a:gdLst/>
              <a:ahLst/>
              <a:cxnLst/>
              <a:rect l="l" t="t" r="r" b="b"/>
              <a:pathLst>
                <a:path w="18" h="8" extrusionOk="0">
                  <a:moveTo>
                    <a:pt x="0" y="0"/>
                  </a:moveTo>
                  <a:lnTo>
                    <a:pt x="18" y="7"/>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829" name="Google Shape;4829;p104"/>
            <p:cNvSpPr/>
            <p:nvPr/>
          </p:nvSpPr>
          <p:spPr>
            <a:xfrm>
              <a:off x="2789892" y="2001964"/>
              <a:ext cx="299" cy="109"/>
            </a:xfrm>
            <a:custGeom>
              <a:avLst/>
              <a:gdLst/>
              <a:ahLst/>
              <a:cxnLst/>
              <a:rect l="l" t="t" r="r" b="b"/>
              <a:pathLst>
                <a:path w="22" h="8" extrusionOk="0">
                  <a:moveTo>
                    <a:pt x="1" y="1"/>
                  </a:moveTo>
                  <a:lnTo>
                    <a:pt x="22" y="8"/>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830" name="Google Shape;4830;p104"/>
            <p:cNvSpPr/>
            <p:nvPr/>
          </p:nvSpPr>
          <p:spPr>
            <a:xfrm>
              <a:off x="2794943" y="2001869"/>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831" name="Google Shape;4831;p104"/>
            <p:cNvSpPr/>
            <p:nvPr/>
          </p:nvSpPr>
          <p:spPr>
            <a:xfrm>
              <a:off x="2796083" y="2000253"/>
              <a:ext cx="54" cy="204"/>
            </a:xfrm>
            <a:custGeom>
              <a:avLst/>
              <a:gdLst/>
              <a:ahLst/>
              <a:cxnLst/>
              <a:rect l="l" t="t" r="r" b="b"/>
              <a:pathLst>
                <a:path w="4" h="15" extrusionOk="0">
                  <a:moveTo>
                    <a:pt x="0" y="15"/>
                  </a:moveTo>
                  <a:lnTo>
                    <a:pt x="4"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832" name="Google Shape;4832;p104"/>
            <p:cNvSpPr/>
            <p:nvPr/>
          </p:nvSpPr>
          <p:spPr>
            <a:xfrm>
              <a:off x="2791847" y="2002154"/>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833" name="Google Shape;4833;p104"/>
            <p:cNvSpPr/>
            <p:nvPr/>
          </p:nvSpPr>
          <p:spPr>
            <a:xfrm>
              <a:off x="2794563" y="2001923"/>
              <a:ext cx="204" cy="54"/>
            </a:xfrm>
            <a:custGeom>
              <a:avLst/>
              <a:gdLst/>
              <a:ahLst/>
              <a:cxnLst/>
              <a:rect l="l" t="t" r="r" b="b"/>
              <a:pathLst>
                <a:path w="15" h="4" extrusionOk="0">
                  <a:moveTo>
                    <a:pt x="0" y="4"/>
                  </a:moveTo>
                  <a:lnTo>
                    <a:pt x="14"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834" name="Google Shape;4834;p104"/>
            <p:cNvSpPr/>
            <p:nvPr/>
          </p:nvSpPr>
          <p:spPr>
            <a:xfrm>
              <a:off x="2794794" y="2001923"/>
              <a:ext cx="163" cy="14"/>
            </a:xfrm>
            <a:custGeom>
              <a:avLst/>
              <a:gdLst/>
              <a:ahLst/>
              <a:cxnLst/>
              <a:rect l="l" t="t" r="r" b="b"/>
              <a:pathLst>
                <a:path w="12" h="1" extrusionOk="0">
                  <a:moveTo>
                    <a:pt x="1" y="0"/>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835" name="Google Shape;4835;p104"/>
            <p:cNvSpPr/>
            <p:nvPr/>
          </p:nvSpPr>
          <p:spPr>
            <a:xfrm>
              <a:off x="2796124" y="2000022"/>
              <a:ext cx="68" cy="149"/>
            </a:xfrm>
            <a:custGeom>
              <a:avLst/>
              <a:gdLst/>
              <a:ahLst/>
              <a:cxnLst/>
              <a:rect l="l" t="t" r="r" b="b"/>
              <a:pathLst>
                <a:path w="5" h="11" extrusionOk="0">
                  <a:moveTo>
                    <a:pt x="1" y="11"/>
                  </a:moveTo>
                  <a:cubicBezTo>
                    <a:pt x="1" y="7"/>
                    <a:pt x="1" y="4"/>
                    <a:pt x="4" y="0"/>
                  </a:cubicBezTo>
                  <a:cubicBezTo>
                    <a:pt x="1" y="4"/>
                    <a:pt x="1" y="7"/>
                    <a:pt x="1" y="1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836" name="Google Shape;4836;p104"/>
            <p:cNvSpPr/>
            <p:nvPr/>
          </p:nvSpPr>
          <p:spPr>
            <a:xfrm>
              <a:off x="2796749" y="1999167"/>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837" name="Google Shape;4837;p104"/>
            <p:cNvSpPr/>
            <p:nvPr/>
          </p:nvSpPr>
          <p:spPr>
            <a:xfrm>
              <a:off x="2796559" y="1999208"/>
              <a:ext cx="149" cy="163"/>
            </a:xfrm>
            <a:custGeom>
              <a:avLst/>
              <a:gdLst/>
              <a:ahLst/>
              <a:cxnLst/>
              <a:rect l="l" t="t" r="r" b="b"/>
              <a:pathLst>
                <a:path w="11" h="12" extrusionOk="0">
                  <a:moveTo>
                    <a:pt x="0" y="11"/>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838" name="Google Shape;4838;p104"/>
            <p:cNvSpPr/>
            <p:nvPr/>
          </p:nvSpPr>
          <p:spPr>
            <a:xfrm>
              <a:off x="2796178" y="1999737"/>
              <a:ext cx="54" cy="204"/>
            </a:xfrm>
            <a:custGeom>
              <a:avLst/>
              <a:gdLst/>
              <a:ahLst/>
              <a:cxnLst/>
              <a:rect l="l" t="t" r="r" b="b"/>
              <a:pathLst>
                <a:path w="4" h="15" extrusionOk="0">
                  <a:moveTo>
                    <a:pt x="0" y="14"/>
                  </a:moveTo>
                  <a:cubicBezTo>
                    <a:pt x="0" y="11"/>
                    <a:pt x="4" y="7"/>
                    <a:pt x="4" y="0"/>
                  </a:cubicBezTo>
                  <a:cubicBezTo>
                    <a:pt x="4" y="7"/>
                    <a:pt x="0" y="11"/>
                    <a:pt x="0" y="14"/>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839" name="Google Shape;4839;p104"/>
            <p:cNvSpPr/>
            <p:nvPr/>
          </p:nvSpPr>
          <p:spPr>
            <a:xfrm>
              <a:off x="2796369" y="1999398"/>
              <a:ext cx="149" cy="109"/>
            </a:xfrm>
            <a:custGeom>
              <a:avLst/>
              <a:gdLst/>
              <a:ahLst/>
              <a:cxnLst/>
              <a:rect l="l" t="t" r="r" b="b"/>
              <a:pathLst>
                <a:path w="11" h="8" extrusionOk="0">
                  <a:moveTo>
                    <a:pt x="0" y="8"/>
                  </a:moveTo>
                  <a:cubicBezTo>
                    <a:pt x="4" y="4"/>
                    <a:pt x="7" y="1"/>
                    <a:pt x="11" y="1"/>
                  </a:cubicBezTo>
                  <a:cubicBezTo>
                    <a:pt x="7" y="1"/>
                    <a:pt x="4" y="4"/>
                    <a:pt x="0" y="8"/>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840" name="Google Shape;4840;p104"/>
            <p:cNvSpPr/>
            <p:nvPr/>
          </p:nvSpPr>
          <p:spPr>
            <a:xfrm>
              <a:off x="2796274" y="1999547"/>
              <a:ext cx="109" cy="204"/>
            </a:xfrm>
            <a:custGeom>
              <a:avLst/>
              <a:gdLst/>
              <a:ahLst/>
              <a:cxnLst/>
              <a:rect l="l" t="t" r="r" b="b"/>
              <a:pathLst>
                <a:path w="8" h="15" extrusionOk="0">
                  <a:moveTo>
                    <a:pt x="0" y="14"/>
                  </a:moveTo>
                  <a:cubicBezTo>
                    <a:pt x="0" y="11"/>
                    <a:pt x="4" y="4"/>
                    <a:pt x="7" y="0"/>
                  </a:cubicBezTo>
                  <a:cubicBezTo>
                    <a:pt x="4" y="4"/>
                    <a:pt x="0" y="11"/>
                    <a:pt x="0" y="14"/>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841" name="Google Shape;4841;p104"/>
            <p:cNvSpPr/>
            <p:nvPr/>
          </p:nvSpPr>
          <p:spPr>
            <a:xfrm>
              <a:off x="2794223" y="2001964"/>
              <a:ext cx="299" cy="68"/>
            </a:xfrm>
            <a:custGeom>
              <a:avLst/>
              <a:gdLst/>
              <a:ahLst/>
              <a:cxnLst/>
              <a:rect l="l" t="t" r="r" b="b"/>
              <a:pathLst>
                <a:path w="22" h="5" extrusionOk="0">
                  <a:moveTo>
                    <a:pt x="1" y="4"/>
                  </a:moveTo>
                  <a:lnTo>
                    <a:pt x="22"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842" name="Google Shape;4842;p104"/>
            <p:cNvSpPr/>
            <p:nvPr/>
          </p:nvSpPr>
          <p:spPr>
            <a:xfrm>
              <a:off x="2887582" y="2010097"/>
              <a:ext cx="6572" cy="4100"/>
            </a:xfrm>
            <a:custGeom>
              <a:avLst/>
              <a:gdLst/>
              <a:ahLst/>
              <a:cxnLst/>
              <a:rect l="l" t="t" r="r" b="b"/>
              <a:pathLst>
                <a:path w="484" h="302" extrusionOk="0">
                  <a:moveTo>
                    <a:pt x="459" y="1"/>
                  </a:moveTo>
                  <a:lnTo>
                    <a:pt x="420" y="8"/>
                  </a:lnTo>
                  <a:cubicBezTo>
                    <a:pt x="378" y="18"/>
                    <a:pt x="336" y="32"/>
                    <a:pt x="301" y="57"/>
                  </a:cubicBezTo>
                  <a:cubicBezTo>
                    <a:pt x="305" y="95"/>
                    <a:pt x="287" y="134"/>
                    <a:pt x="252" y="155"/>
                  </a:cubicBezTo>
                  <a:cubicBezTo>
                    <a:pt x="234" y="166"/>
                    <a:pt x="214" y="170"/>
                    <a:pt x="193" y="170"/>
                  </a:cubicBezTo>
                  <a:cubicBezTo>
                    <a:pt x="140" y="170"/>
                    <a:pt x="77" y="142"/>
                    <a:pt x="7" y="109"/>
                  </a:cubicBezTo>
                  <a:lnTo>
                    <a:pt x="0" y="106"/>
                  </a:lnTo>
                  <a:lnTo>
                    <a:pt x="21" y="137"/>
                  </a:lnTo>
                  <a:lnTo>
                    <a:pt x="25" y="148"/>
                  </a:lnTo>
                  <a:lnTo>
                    <a:pt x="39" y="169"/>
                  </a:lnTo>
                  <a:lnTo>
                    <a:pt x="46" y="179"/>
                  </a:lnTo>
                  <a:lnTo>
                    <a:pt x="60" y="197"/>
                  </a:lnTo>
                  <a:lnTo>
                    <a:pt x="63" y="204"/>
                  </a:lnTo>
                  <a:lnTo>
                    <a:pt x="77" y="221"/>
                  </a:lnTo>
                  <a:lnTo>
                    <a:pt x="81" y="225"/>
                  </a:lnTo>
                  <a:lnTo>
                    <a:pt x="95" y="246"/>
                  </a:lnTo>
                  <a:lnTo>
                    <a:pt x="98" y="249"/>
                  </a:lnTo>
                  <a:lnTo>
                    <a:pt x="109" y="260"/>
                  </a:lnTo>
                  <a:lnTo>
                    <a:pt x="112" y="267"/>
                  </a:lnTo>
                  <a:lnTo>
                    <a:pt x="119" y="274"/>
                  </a:lnTo>
                  <a:lnTo>
                    <a:pt x="123" y="277"/>
                  </a:lnTo>
                  <a:lnTo>
                    <a:pt x="130" y="284"/>
                  </a:lnTo>
                  <a:lnTo>
                    <a:pt x="130" y="288"/>
                  </a:lnTo>
                  <a:lnTo>
                    <a:pt x="140" y="295"/>
                  </a:lnTo>
                  <a:lnTo>
                    <a:pt x="144" y="298"/>
                  </a:lnTo>
                  <a:lnTo>
                    <a:pt x="151" y="302"/>
                  </a:lnTo>
                  <a:lnTo>
                    <a:pt x="154" y="302"/>
                  </a:lnTo>
                  <a:cubicBezTo>
                    <a:pt x="214" y="302"/>
                    <a:pt x="273" y="277"/>
                    <a:pt x="319" y="235"/>
                  </a:cubicBezTo>
                  <a:cubicBezTo>
                    <a:pt x="364" y="193"/>
                    <a:pt x="424" y="169"/>
                    <a:pt x="483" y="169"/>
                  </a:cubicBezTo>
                  <a:cubicBezTo>
                    <a:pt x="483" y="162"/>
                    <a:pt x="483" y="155"/>
                    <a:pt x="483" y="148"/>
                  </a:cubicBezTo>
                  <a:lnTo>
                    <a:pt x="483" y="141"/>
                  </a:lnTo>
                  <a:cubicBezTo>
                    <a:pt x="483" y="134"/>
                    <a:pt x="480" y="123"/>
                    <a:pt x="480" y="116"/>
                  </a:cubicBezTo>
                  <a:lnTo>
                    <a:pt x="480" y="113"/>
                  </a:lnTo>
                  <a:cubicBezTo>
                    <a:pt x="480" y="102"/>
                    <a:pt x="476" y="95"/>
                    <a:pt x="473" y="85"/>
                  </a:cubicBezTo>
                  <a:lnTo>
                    <a:pt x="473" y="74"/>
                  </a:lnTo>
                  <a:lnTo>
                    <a:pt x="469" y="53"/>
                  </a:lnTo>
                  <a:lnTo>
                    <a:pt x="466" y="43"/>
                  </a:lnTo>
                  <a:lnTo>
                    <a:pt x="462" y="18"/>
                  </a:lnTo>
                  <a:lnTo>
                    <a:pt x="459" y="8"/>
                  </a:lnTo>
                  <a:lnTo>
                    <a:pt x="459"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843" name="Google Shape;4843;p104"/>
            <p:cNvSpPr/>
            <p:nvPr/>
          </p:nvSpPr>
          <p:spPr>
            <a:xfrm>
              <a:off x="2888668" y="2013192"/>
              <a:ext cx="204" cy="244"/>
            </a:xfrm>
            <a:custGeom>
              <a:avLst/>
              <a:gdLst/>
              <a:ahLst/>
              <a:cxnLst/>
              <a:rect l="l" t="t" r="r" b="b"/>
              <a:pathLst>
                <a:path w="15" h="18" extrusionOk="0">
                  <a:moveTo>
                    <a:pt x="15" y="18"/>
                  </a:moveTo>
                  <a:lnTo>
                    <a:pt x="1"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844" name="Google Shape;4844;p104"/>
            <p:cNvSpPr/>
            <p:nvPr/>
          </p:nvSpPr>
          <p:spPr>
            <a:xfrm>
              <a:off x="2888913" y="2013478"/>
              <a:ext cx="109" cy="204"/>
            </a:xfrm>
            <a:custGeom>
              <a:avLst/>
              <a:gdLst/>
              <a:ahLst/>
              <a:cxnLst/>
              <a:rect l="l" t="t" r="r" b="b"/>
              <a:pathLst>
                <a:path w="8" h="15" extrusionOk="0">
                  <a:moveTo>
                    <a:pt x="7" y="1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845" name="Google Shape;4845;p104"/>
            <p:cNvSpPr/>
            <p:nvPr/>
          </p:nvSpPr>
          <p:spPr>
            <a:xfrm>
              <a:off x="2888438" y="2012907"/>
              <a:ext cx="149" cy="204"/>
            </a:xfrm>
            <a:custGeom>
              <a:avLst/>
              <a:gdLst/>
              <a:ahLst/>
              <a:cxnLst/>
              <a:rect l="l" t="t" r="r" b="b"/>
              <a:pathLst>
                <a:path w="11" h="15" extrusionOk="0">
                  <a:moveTo>
                    <a:pt x="11" y="1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846" name="Google Shape;4846;p104"/>
            <p:cNvSpPr/>
            <p:nvPr/>
          </p:nvSpPr>
          <p:spPr>
            <a:xfrm>
              <a:off x="2889049" y="2013708"/>
              <a:ext cx="163" cy="163"/>
            </a:xfrm>
            <a:custGeom>
              <a:avLst/>
              <a:gdLst/>
              <a:ahLst/>
              <a:cxnLst/>
              <a:rect l="l" t="t" r="r" b="b"/>
              <a:pathLst>
                <a:path w="12" h="12" extrusionOk="0">
                  <a:moveTo>
                    <a:pt x="11" y="1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847" name="Google Shape;4847;p104"/>
            <p:cNvSpPr/>
            <p:nvPr/>
          </p:nvSpPr>
          <p:spPr>
            <a:xfrm>
              <a:off x="2887582" y="2011577"/>
              <a:ext cx="299" cy="434"/>
            </a:xfrm>
            <a:custGeom>
              <a:avLst/>
              <a:gdLst/>
              <a:ahLst/>
              <a:cxnLst/>
              <a:rect l="l" t="t" r="r" b="b"/>
              <a:pathLst>
                <a:path w="22" h="32" extrusionOk="0">
                  <a:moveTo>
                    <a:pt x="0" y="0"/>
                  </a:moveTo>
                  <a:lnTo>
                    <a:pt x="21" y="32"/>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848" name="Google Shape;4848;p104"/>
            <p:cNvSpPr/>
            <p:nvPr/>
          </p:nvSpPr>
          <p:spPr>
            <a:xfrm>
              <a:off x="2888247" y="2012568"/>
              <a:ext cx="149" cy="204"/>
            </a:xfrm>
            <a:custGeom>
              <a:avLst/>
              <a:gdLst/>
              <a:ahLst/>
              <a:cxnLst/>
              <a:rect l="l" t="t" r="r" b="b"/>
              <a:pathLst>
                <a:path w="11" h="15" extrusionOk="0">
                  <a:moveTo>
                    <a:pt x="11" y="15"/>
                  </a:moveTo>
                  <a:lnTo>
                    <a:pt x="0"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849" name="Google Shape;4849;p104"/>
            <p:cNvSpPr/>
            <p:nvPr/>
          </p:nvSpPr>
          <p:spPr>
            <a:xfrm>
              <a:off x="2889239" y="2013898"/>
              <a:ext cx="109" cy="109"/>
            </a:xfrm>
            <a:custGeom>
              <a:avLst/>
              <a:gdLst/>
              <a:ahLst/>
              <a:cxnLst/>
              <a:rect l="l" t="t" r="r" b="b"/>
              <a:pathLst>
                <a:path w="8" h="8" extrusionOk="0">
                  <a:moveTo>
                    <a:pt x="8" y="8"/>
                  </a:moveTo>
                  <a:lnTo>
                    <a:pt x="1"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850" name="Google Shape;4850;p104"/>
            <p:cNvSpPr/>
            <p:nvPr/>
          </p:nvSpPr>
          <p:spPr>
            <a:xfrm>
              <a:off x="2887908" y="2012093"/>
              <a:ext cx="204" cy="353"/>
            </a:xfrm>
            <a:custGeom>
              <a:avLst/>
              <a:gdLst/>
              <a:ahLst/>
              <a:cxnLst/>
              <a:rect l="l" t="t" r="r" b="b"/>
              <a:pathLst>
                <a:path w="15" h="26" extrusionOk="0">
                  <a:moveTo>
                    <a:pt x="15" y="25"/>
                  </a:moveTo>
                  <a:lnTo>
                    <a:pt x="1"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851" name="Google Shape;4851;p104"/>
            <p:cNvSpPr/>
            <p:nvPr/>
          </p:nvSpPr>
          <p:spPr>
            <a:xfrm>
              <a:off x="2889334" y="2014048"/>
              <a:ext cx="163" cy="109"/>
            </a:xfrm>
            <a:custGeom>
              <a:avLst/>
              <a:gdLst/>
              <a:ahLst/>
              <a:cxnLst/>
              <a:rect l="l" t="t" r="r" b="b"/>
              <a:pathLst>
                <a:path w="12" h="8" extrusionOk="0">
                  <a:moveTo>
                    <a:pt x="11" y="7"/>
                  </a:moveTo>
                  <a:lnTo>
                    <a:pt x="1"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852" name="Google Shape;4852;p104"/>
            <p:cNvSpPr/>
            <p:nvPr/>
          </p:nvSpPr>
          <p:spPr>
            <a:xfrm>
              <a:off x="2893801" y="2010246"/>
              <a:ext cx="14" cy="54"/>
            </a:xfrm>
            <a:custGeom>
              <a:avLst/>
              <a:gdLst/>
              <a:ahLst/>
              <a:cxnLst/>
              <a:rect l="l" t="t" r="r" b="b"/>
              <a:pathLst>
                <a:path w="1" h="4" extrusionOk="0">
                  <a:moveTo>
                    <a:pt x="1" y="0"/>
                  </a:moveTo>
                  <a:lnTo>
                    <a:pt x="1" y="0"/>
                  </a:lnTo>
                  <a:lnTo>
                    <a:pt x="1" y="4"/>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853" name="Google Shape;4853;p104"/>
            <p:cNvSpPr/>
            <p:nvPr/>
          </p:nvSpPr>
          <p:spPr>
            <a:xfrm>
              <a:off x="2889483" y="2014143"/>
              <a:ext cx="54" cy="54"/>
            </a:xfrm>
            <a:custGeom>
              <a:avLst/>
              <a:gdLst/>
              <a:ahLst/>
              <a:cxnLst/>
              <a:rect l="l" t="t" r="r" b="b"/>
              <a:pathLst>
                <a:path w="4" h="4" extrusionOk="0">
                  <a:moveTo>
                    <a:pt x="4"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854" name="Google Shape;4854;p104"/>
            <p:cNvSpPr/>
            <p:nvPr/>
          </p:nvSpPr>
          <p:spPr>
            <a:xfrm>
              <a:off x="2889578" y="2014238"/>
              <a:ext cx="54" cy="14"/>
            </a:xfrm>
            <a:custGeom>
              <a:avLst/>
              <a:gdLst/>
              <a:ahLst/>
              <a:cxnLst/>
              <a:rect l="l" t="t" r="r" b="b"/>
              <a:pathLst>
                <a:path w="4" h="1" extrusionOk="0">
                  <a:moveTo>
                    <a:pt x="4"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855" name="Google Shape;4855;p104"/>
            <p:cNvSpPr/>
            <p:nvPr/>
          </p:nvSpPr>
          <p:spPr>
            <a:xfrm>
              <a:off x="2889619" y="2014279"/>
              <a:ext cx="68" cy="14"/>
            </a:xfrm>
            <a:custGeom>
              <a:avLst/>
              <a:gdLst/>
              <a:ahLst/>
              <a:cxnLst/>
              <a:rect l="l" t="t" r="r" b="b"/>
              <a:pathLst>
                <a:path w="5" h="1" extrusionOk="0">
                  <a:moveTo>
                    <a:pt x="4"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856" name="Google Shape;4856;p104"/>
            <p:cNvSpPr/>
            <p:nvPr/>
          </p:nvSpPr>
          <p:spPr>
            <a:xfrm>
              <a:off x="2894181" y="2012188"/>
              <a:ext cx="68" cy="353"/>
            </a:xfrm>
            <a:custGeom>
              <a:avLst/>
              <a:gdLst/>
              <a:ahLst/>
              <a:cxnLst/>
              <a:rect l="l" t="t" r="r" b="b"/>
              <a:pathLst>
                <a:path w="5" h="26" extrusionOk="0">
                  <a:moveTo>
                    <a:pt x="1" y="1"/>
                  </a:moveTo>
                  <a:cubicBezTo>
                    <a:pt x="1" y="11"/>
                    <a:pt x="1" y="18"/>
                    <a:pt x="4" y="25"/>
                  </a:cubicBezTo>
                  <a:cubicBezTo>
                    <a:pt x="1" y="18"/>
                    <a:pt x="1" y="11"/>
                    <a:pt x="1" y="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857" name="Google Shape;4857;p104"/>
            <p:cNvSpPr/>
            <p:nvPr/>
          </p:nvSpPr>
          <p:spPr>
            <a:xfrm>
              <a:off x="2893950" y="2010952"/>
              <a:ext cx="54" cy="299"/>
            </a:xfrm>
            <a:custGeom>
              <a:avLst/>
              <a:gdLst/>
              <a:ahLst/>
              <a:cxnLst/>
              <a:rect l="l" t="t" r="r" b="b"/>
              <a:pathLst>
                <a:path w="4" h="22" extrusionOk="0">
                  <a:moveTo>
                    <a:pt x="0" y="1"/>
                  </a:moveTo>
                  <a:lnTo>
                    <a:pt x="4" y="22"/>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858" name="Google Shape;4858;p104"/>
            <p:cNvSpPr/>
            <p:nvPr/>
          </p:nvSpPr>
          <p:spPr>
            <a:xfrm>
              <a:off x="2894045" y="2011387"/>
              <a:ext cx="54" cy="394"/>
            </a:xfrm>
            <a:custGeom>
              <a:avLst/>
              <a:gdLst/>
              <a:ahLst/>
              <a:cxnLst/>
              <a:rect l="l" t="t" r="r" b="b"/>
              <a:pathLst>
                <a:path w="4" h="29" extrusionOk="0">
                  <a:moveTo>
                    <a:pt x="0" y="0"/>
                  </a:moveTo>
                  <a:cubicBezTo>
                    <a:pt x="0" y="3"/>
                    <a:pt x="1" y="6"/>
                    <a:pt x="2" y="10"/>
                  </a:cubicBezTo>
                  <a:lnTo>
                    <a:pt x="2" y="10"/>
                  </a:lnTo>
                  <a:lnTo>
                    <a:pt x="0" y="0"/>
                  </a:lnTo>
                  <a:close/>
                  <a:moveTo>
                    <a:pt x="2" y="10"/>
                  </a:moveTo>
                  <a:lnTo>
                    <a:pt x="4" y="28"/>
                  </a:lnTo>
                  <a:cubicBezTo>
                    <a:pt x="4" y="22"/>
                    <a:pt x="3" y="16"/>
                    <a:pt x="2" y="1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859" name="Google Shape;4859;p104"/>
            <p:cNvSpPr/>
            <p:nvPr/>
          </p:nvSpPr>
          <p:spPr>
            <a:xfrm>
              <a:off x="2894140" y="2011808"/>
              <a:ext cx="54" cy="353"/>
            </a:xfrm>
            <a:custGeom>
              <a:avLst/>
              <a:gdLst/>
              <a:ahLst/>
              <a:cxnLst/>
              <a:rect l="l" t="t" r="r" b="b"/>
              <a:pathLst>
                <a:path w="4" h="26" extrusionOk="0">
                  <a:moveTo>
                    <a:pt x="0" y="1"/>
                  </a:moveTo>
                  <a:cubicBezTo>
                    <a:pt x="0" y="8"/>
                    <a:pt x="0" y="15"/>
                    <a:pt x="4" y="25"/>
                  </a:cubicBezTo>
                  <a:cubicBezTo>
                    <a:pt x="0" y="15"/>
                    <a:pt x="0" y="8"/>
                    <a:pt x="0" y="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860" name="Google Shape;4860;p104"/>
            <p:cNvSpPr/>
            <p:nvPr/>
          </p:nvSpPr>
          <p:spPr>
            <a:xfrm>
              <a:off x="2889714" y="2014333"/>
              <a:ext cx="14" cy="14"/>
            </a:xfrm>
            <a:custGeom>
              <a:avLst/>
              <a:gdLst/>
              <a:ahLst/>
              <a:cxnLst/>
              <a:rect l="l" t="t" r="r" b="b"/>
              <a:pathLst>
                <a:path w="1" h="1" extrusionOk="0">
                  <a:moveTo>
                    <a:pt x="1"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861" name="Google Shape;4861;p104"/>
            <p:cNvSpPr/>
            <p:nvPr/>
          </p:nvSpPr>
          <p:spPr>
            <a:xfrm>
              <a:off x="2893855" y="2010477"/>
              <a:ext cx="54" cy="353"/>
            </a:xfrm>
            <a:custGeom>
              <a:avLst/>
              <a:gdLst/>
              <a:ahLst/>
              <a:cxnLst/>
              <a:rect l="l" t="t" r="r" b="b"/>
              <a:pathLst>
                <a:path w="4" h="26" extrusionOk="0">
                  <a:moveTo>
                    <a:pt x="0" y="1"/>
                  </a:moveTo>
                  <a:lnTo>
                    <a:pt x="4" y="25"/>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862" name="Google Shape;4862;p104"/>
            <p:cNvSpPr/>
            <p:nvPr/>
          </p:nvSpPr>
          <p:spPr>
            <a:xfrm>
              <a:off x="2333674" y="1750386"/>
              <a:ext cx="69992" cy="68689"/>
            </a:xfrm>
            <a:custGeom>
              <a:avLst/>
              <a:gdLst/>
              <a:ahLst/>
              <a:cxnLst/>
              <a:rect l="l" t="t" r="r" b="b"/>
              <a:pathLst>
                <a:path w="5155" h="5059" extrusionOk="0">
                  <a:moveTo>
                    <a:pt x="2194" y="1"/>
                  </a:moveTo>
                  <a:cubicBezTo>
                    <a:pt x="2179" y="1"/>
                    <a:pt x="2163" y="2"/>
                    <a:pt x="2147" y="4"/>
                  </a:cubicBezTo>
                  <a:cubicBezTo>
                    <a:pt x="2087" y="4"/>
                    <a:pt x="2035" y="39"/>
                    <a:pt x="2010" y="91"/>
                  </a:cubicBezTo>
                  <a:lnTo>
                    <a:pt x="2052" y="102"/>
                  </a:lnTo>
                  <a:lnTo>
                    <a:pt x="1615" y="424"/>
                  </a:lnTo>
                  <a:lnTo>
                    <a:pt x="1604" y="427"/>
                  </a:lnTo>
                  <a:cubicBezTo>
                    <a:pt x="1534" y="448"/>
                    <a:pt x="1345" y="529"/>
                    <a:pt x="1303" y="648"/>
                  </a:cubicBezTo>
                  <a:cubicBezTo>
                    <a:pt x="1279" y="711"/>
                    <a:pt x="1303" y="777"/>
                    <a:pt x="1331" y="851"/>
                  </a:cubicBezTo>
                  <a:cubicBezTo>
                    <a:pt x="1366" y="938"/>
                    <a:pt x="1401" y="1036"/>
                    <a:pt x="1335" y="1117"/>
                  </a:cubicBezTo>
                  <a:cubicBezTo>
                    <a:pt x="1268" y="1201"/>
                    <a:pt x="1282" y="1400"/>
                    <a:pt x="1303" y="1491"/>
                  </a:cubicBezTo>
                  <a:cubicBezTo>
                    <a:pt x="1331" y="1596"/>
                    <a:pt x="1216" y="1789"/>
                    <a:pt x="1167" y="1869"/>
                  </a:cubicBezTo>
                  <a:lnTo>
                    <a:pt x="1156" y="1883"/>
                  </a:lnTo>
                  <a:lnTo>
                    <a:pt x="1142" y="1890"/>
                  </a:lnTo>
                  <a:lnTo>
                    <a:pt x="1139" y="1890"/>
                  </a:lnTo>
                  <a:cubicBezTo>
                    <a:pt x="974" y="1978"/>
                    <a:pt x="456" y="2255"/>
                    <a:pt x="1" y="2489"/>
                  </a:cubicBezTo>
                  <a:cubicBezTo>
                    <a:pt x="4" y="2510"/>
                    <a:pt x="4" y="2535"/>
                    <a:pt x="8" y="2549"/>
                  </a:cubicBezTo>
                  <a:lnTo>
                    <a:pt x="8" y="2552"/>
                  </a:lnTo>
                  <a:cubicBezTo>
                    <a:pt x="11" y="2573"/>
                    <a:pt x="15" y="2591"/>
                    <a:pt x="15" y="2605"/>
                  </a:cubicBezTo>
                  <a:lnTo>
                    <a:pt x="15" y="2612"/>
                  </a:lnTo>
                  <a:cubicBezTo>
                    <a:pt x="18" y="2629"/>
                    <a:pt x="22" y="2643"/>
                    <a:pt x="25" y="2657"/>
                  </a:cubicBezTo>
                  <a:lnTo>
                    <a:pt x="25" y="2661"/>
                  </a:lnTo>
                  <a:cubicBezTo>
                    <a:pt x="29" y="2675"/>
                    <a:pt x="32" y="2689"/>
                    <a:pt x="36" y="2699"/>
                  </a:cubicBezTo>
                  <a:cubicBezTo>
                    <a:pt x="39" y="2713"/>
                    <a:pt x="43" y="2727"/>
                    <a:pt x="46" y="2745"/>
                  </a:cubicBezTo>
                  <a:lnTo>
                    <a:pt x="46" y="2748"/>
                  </a:lnTo>
                  <a:lnTo>
                    <a:pt x="60" y="2797"/>
                  </a:lnTo>
                  <a:lnTo>
                    <a:pt x="74" y="2857"/>
                  </a:lnTo>
                  <a:cubicBezTo>
                    <a:pt x="99" y="2958"/>
                    <a:pt x="127" y="3081"/>
                    <a:pt x="151" y="3186"/>
                  </a:cubicBezTo>
                  <a:cubicBezTo>
                    <a:pt x="193" y="3186"/>
                    <a:pt x="232" y="3182"/>
                    <a:pt x="263" y="3182"/>
                  </a:cubicBezTo>
                  <a:lnTo>
                    <a:pt x="368" y="3182"/>
                  </a:lnTo>
                  <a:cubicBezTo>
                    <a:pt x="417" y="3182"/>
                    <a:pt x="466" y="3182"/>
                    <a:pt x="515" y="3189"/>
                  </a:cubicBezTo>
                  <a:lnTo>
                    <a:pt x="529" y="3189"/>
                  </a:lnTo>
                  <a:cubicBezTo>
                    <a:pt x="575" y="3196"/>
                    <a:pt x="617" y="3210"/>
                    <a:pt x="659" y="3231"/>
                  </a:cubicBezTo>
                  <a:lnTo>
                    <a:pt x="687" y="3242"/>
                  </a:lnTo>
                  <a:lnTo>
                    <a:pt x="701" y="3249"/>
                  </a:lnTo>
                  <a:lnTo>
                    <a:pt x="705" y="3252"/>
                  </a:lnTo>
                  <a:cubicBezTo>
                    <a:pt x="726" y="3263"/>
                    <a:pt x="747" y="3273"/>
                    <a:pt x="768" y="3284"/>
                  </a:cubicBezTo>
                  <a:cubicBezTo>
                    <a:pt x="855" y="3329"/>
                    <a:pt x="953" y="3392"/>
                    <a:pt x="1065" y="3459"/>
                  </a:cubicBezTo>
                  <a:cubicBezTo>
                    <a:pt x="1125" y="3497"/>
                    <a:pt x="1191" y="3539"/>
                    <a:pt x="1258" y="3585"/>
                  </a:cubicBezTo>
                  <a:lnTo>
                    <a:pt x="1324" y="3627"/>
                  </a:lnTo>
                  <a:cubicBezTo>
                    <a:pt x="1461" y="3714"/>
                    <a:pt x="1576" y="3791"/>
                    <a:pt x="1632" y="3819"/>
                  </a:cubicBezTo>
                  <a:cubicBezTo>
                    <a:pt x="1706" y="3861"/>
                    <a:pt x="1776" y="3907"/>
                    <a:pt x="1846" y="3956"/>
                  </a:cubicBezTo>
                  <a:lnTo>
                    <a:pt x="1933" y="4019"/>
                  </a:lnTo>
                  <a:lnTo>
                    <a:pt x="2028" y="4089"/>
                  </a:lnTo>
                  <a:cubicBezTo>
                    <a:pt x="2378" y="4338"/>
                    <a:pt x="2833" y="4688"/>
                    <a:pt x="2963" y="4800"/>
                  </a:cubicBezTo>
                  <a:cubicBezTo>
                    <a:pt x="3092" y="4915"/>
                    <a:pt x="3278" y="4968"/>
                    <a:pt x="3414" y="4989"/>
                  </a:cubicBezTo>
                  <a:cubicBezTo>
                    <a:pt x="3467" y="4996"/>
                    <a:pt x="3516" y="4999"/>
                    <a:pt x="3565" y="4999"/>
                  </a:cubicBezTo>
                  <a:lnTo>
                    <a:pt x="3582" y="4999"/>
                  </a:lnTo>
                  <a:cubicBezTo>
                    <a:pt x="3635" y="4999"/>
                    <a:pt x="3743" y="5013"/>
                    <a:pt x="3908" y="5031"/>
                  </a:cubicBezTo>
                  <a:lnTo>
                    <a:pt x="4160" y="5059"/>
                  </a:lnTo>
                  <a:lnTo>
                    <a:pt x="4167" y="5034"/>
                  </a:lnTo>
                  <a:lnTo>
                    <a:pt x="4174" y="5020"/>
                  </a:lnTo>
                  <a:lnTo>
                    <a:pt x="4198" y="4968"/>
                  </a:lnTo>
                  <a:lnTo>
                    <a:pt x="4205" y="4950"/>
                  </a:lnTo>
                  <a:lnTo>
                    <a:pt x="4223" y="4905"/>
                  </a:lnTo>
                  <a:lnTo>
                    <a:pt x="4230" y="4887"/>
                  </a:lnTo>
                  <a:lnTo>
                    <a:pt x="4247" y="4852"/>
                  </a:lnTo>
                  <a:lnTo>
                    <a:pt x="4254" y="4835"/>
                  </a:lnTo>
                  <a:lnTo>
                    <a:pt x="4268" y="4807"/>
                  </a:lnTo>
                  <a:lnTo>
                    <a:pt x="4275" y="4789"/>
                  </a:lnTo>
                  <a:lnTo>
                    <a:pt x="4286" y="4768"/>
                  </a:lnTo>
                  <a:lnTo>
                    <a:pt x="4293" y="4751"/>
                  </a:lnTo>
                  <a:lnTo>
                    <a:pt x="4303" y="4733"/>
                  </a:lnTo>
                  <a:lnTo>
                    <a:pt x="4310" y="4719"/>
                  </a:lnTo>
                  <a:lnTo>
                    <a:pt x="4317" y="4705"/>
                  </a:lnTo>
                  <a:lnTo>
                    <a:pt x="4324" y="4691"/>
                  </a:lnTo>
                  <a:lnTo>
                    <a:pt x="4328" y="4681"/>
                  </a:lnTo>
                  <a:lnTo>
                    <a:pt x="4335" y="4670"/>
                  </a:lnTo>
                  <a:lnTo>
                    <a:pt x="4342" y="4660"/>
                  </a:lnTo>
                  <a:lnTo>
                    <a:pt x="4345" y="4649"/>
                  </a:lnTo>
                  <a:lnTo>
                    <a:pt x="4349" y="4642"/>
                  </a:lnTo>
                  <a:lnTo>
                    <a:pt x="4356" y="4635"/>
                  </a:lnTo>
                  <a:lnTo>
                    <a:pt x="4359" y="4632"/>
                  </a:lnTo>
                  <a:lnTo>
                    <a:pt x="4363" y="4625"/>
                  </a:lnTo>
                  <a:lnTo>
                    <a:pt x="4363" y="4621"/>
                  </a:lnTo>
                  <a:lnTo>
                    <a:pt x="4366" y="4614"/>
                  </a:lnTo>
                  <a:lnTo>
                    <a:pt x="4370" y="4611"/>
                  </a:lnTo>
                  <a:lnTo>
                    <a:pt x="4373" y="4607"/>
                  </a:lnTo>
                  <a:lnTo>
                    <a:pt x="4377" y="4604"/>
                  </a:lnTo>
                  <a:cubicBezTo>
                    <a:pt x="4391" y="4586"/>
                    <a:pt x="4405" y="4569"/>
                    <a:pt x="4419" y="4548"/>
                  </a:cubicBezTo>
                  <a:cubicBezTo>
                    <a:pt x="4468" y="4457"/>
                    <a:pt x="4559" y="4394"/>
                    <a:pt x="4664" y="4383"/>
                  </a:cubicBezTo>
                  <a:cubicBezTo>
                    <a:pt x="4681" y="4380"/>
                    <a:pt x="4700" y="4378"/>
                    <a:pt x="4718" y="4378"/>
                  </a:cubicBezTo>
                  <a:cubicBezTo>
                    <a:pt x="4737" y="4378"/>
                    <a:pt x="4755" y="4380"/>
                    <a:pt x="4773" y="4383"/>
                  </a:cubicBezTo>
                  <a:lnTo>
                    <a:pt x="4797" y="4390"/>
                  </a:lnTo>
                  <a:lnTo>
                    <a:pt x="4818" y="4397"/>
                  </a:lnTo>
                  <a:lnTo>
                    <a:pt x="4822" y="4397"/>
                  </a:lnTo>
                  <a:lnTo>
                    <a:pt x="4843" y="4408"/>
                  </a:lnTo>
                  <a:lnTo>
                    <a:pt x="4846" y="4408"/>
                  </a:lnTo>
                  <a:lnTo>
                    <a:pt x="4864" y="4418"/>
                  </a:lnTo>
                  <a:lnTo>
                    <a:pt x="4867" y="4422"/>
                  </a:lnTo>
                  <a:lnTo>
                    <a:pt x="4888" y="4432"/>
                  </a:lnTo>
                  <a:lnTo>
                    <a:pt x="4892" y="4436"/>
                  </a:lnTo>
                  <a:lnTo>
                    <a:pt x="4909" y="4450"/>
                  </a:lnTo>
                  <a:lnTo>
                    <a:pt x="4916" y="4453"/>
                  </a:lnTo>
                  <a:lnTo>
                    <a:pt x="4930" y="4464"/>
                  </a:lnTo>
                  <a:lnTo>
                    <a:pt x="4937" y="4471"/>
                  </a:lnTo>
                  <a:lnTo>
                    <a:pt x="4955" y="4485"/>
                  </a:lnTo>
                  <a:lnTo>
                    <a:pt x="4962" y="4492"/>
                  </a:lnTo>
                  <a:lnTo>
                    <a:pt x="4976" y="4502"/>
                  </a:lnTo>
                  <a:lnTo>
                    <a:pt x="4986" y="4513"/>
                  </a:lnTo>
                  <a:lnTo>
                    <a:pt x="4997" y="4523"/>
                  </a:lnTo>
                  <a:lnTo>
                    <a:pt x="5011" y="4534"/>
                  </a:lnTo>
                  <a:lnTo>
                    <a:pt x="5021" y="4544"/>
                  </a:lnTo>
                  <a:lnTo>
                    <a:pt x="5035" y="4558"/>
                  </a:lnTo>
                  <a:cubicBezTo>
                    <a:pt x="5074" y="4530"/>
                    <a:pt x="5112" y="4509"/>
                    <a:pt x="5154" y="4488"/>
                  </a:cubicBezTo>
                  <a:lnTo>
                    <a:pt x="5144" y="4478"/>
                  </a:lnTo>
                  <a:lnTo>
                    <a:pt x="5130" y="4464"/>
                  </a:lnTo>
                  <a:lnTo>
                    <a:pt x="5112" y="4446"/>
                  </a:lnTo>
                  <a:lnTo>
                    <a:pt x="5098" y="4429"/>
                  </a:lnTo>
                  <a:lnTo>
                    <a:pt x="5081" y="4411"/>
                  </a:lnTo>
                  <a:lnTo>
                    <a:pt x="5070" y="4397"/>
                  </a:lnTo>
                  <a:lnTo>
                    <a:pt x="5049" y="4376"/>
                  </a:lnTo>
                  <a:lnTo>
                    <a:pt x="5035" y="4359"/>
                  </a:lnTo>
                  <a:lnTo>
                    <a:pt x="5018" y="4338"/>
                  </a:lnTo>
                  <a:lnTo>
                    <a:pt x="5007" y="4327"/>
                  </a:lnTo>
                  <a:lnTo>
                    <a:pt x="4997" y="4310"/>
                  </a:lnTo>
                  <a:lnTo>
                    <a:pt x="4986" y="4299"/>
                  </a:lnTo>
                  <a:lnTo>
                    <a:pt x="4976" y="4282"/>
                  </a:lnTo>
                  <a:lnTo>
                    <a:pt x="4965" y="4271"/>
                  </a:lnTo>
                  <a:lnTo>
                    <a:pt x="4958" y="4257"/>
                  </a:lnTo>
                  <a:lnTo>
                    <a:pt x="4948" y="4243"/>
                  </a:lnTo>
                  <a:lnTo>
                    <a:pt x="4941" y="4229"/>
                  </a:lnTo>
                  <a:lnTo>
                    <a:pt x="4934" y="4219"/>
                  </a:lnTo>
                  <a:lnTo>
                    <a:pt x="4927" y="4205"/>
                  </a:lnTo>
                  <a:lnTo>
                    <a:pt x="4920" y="4194"/>
                  </a:lnTo>
                  <a:lnTo>
                    <a:pt x="4916" y="4180"/>
                  </a:lnTo>
                  <a:lnTo>
                    <a:pt x="4913" y="4170"/>
                  </a:lnTo>
                  <a:cubicBezTo>
                    <a:pt x="4913" y="4166"/>
                    <a:pt x="4909" y="4163"/>
                    <a:pt x="4906" y="4156"/>
                  </a:cubicBezTo>
                  <a:lnTo>
                    <a:pt x="4902" y="4145"/>
                  </a:lnTo>
                  <a:cubicBezTo>
                    <a:pt x="4902" y="4142"/>
                    <a:pt x="4902" y="4138"/>
                    <a:pt x="4902" y="4131"/>
                  </a:cubicBezTo>
                  <a:cubicBezTo>
                    <a:pt x="4899" y="4127"/>
                    <a:pt x="4902" y="4127"/>
                    <a:pt x="4902" y="4124"/>
                  </a:cubicBezTo>
                  <a:lnTo>
                    <a:pt x="4902" y="4110"/>
                  </a:lnTo>
                  <a:lnTo>
                    <a:pt x="4902" y="4099"/>
                  </a:lnTo>
                  <a:cubicBezTo>
                    <a:pt x="4899" y="4092"/>
                    <a:pt x="4899" y="4085"/>
                    <a:pt x="4902" y="4078"/>
                  </a:cubicBezTo>
                  <a:cubicBezTo>
                    <a:pt x="4909" y="4005"/>
                    <a:pt x="4860" y="3949"/>
                    <a:pt x="4804" y="3889"/>
                  </a:cubicBezTo>
                  <a:cubicBezTo>
                    <a:pt x="4759" y="3847"/>
                    <a:pt x="4723" y="3791"/>
                    <a:pt x="4706" y="3732"/>
                  </a:cubicBezTo>
                  <a:cubicBezTo>
                    <a:pt x="4702" y="3665"/>
                    <a:pt x="4713" y="3599"/>
                    <a:pt x="4745" y="3536"/>
                  </a:cubicBezTo>
                  <a:cubicBezTo>
                    <a:pt x="4766" y="3483"/>
                    <a:pt x="4787" y="3420"/>
                    <a:pt x="4769" y="3399"/>
                  </a:cubicBezTo>
                  <a:cubicBezTo>
                    <a:pt x="4730" y="3354"/>
                    <a:pt x="4699" y="3305"/>
                    <a:pt x="4678" y="3249"/>
                  </a:cubicBezTo>
                  <a:cubicBezTo>
                    <a:pt x="4632" y="3161"/>
                    <a:pt x="4604" y="3102"/>
                    <a:pt x="4545" y="3095"/>
                  </a:cubicBezTo>
                  <a:cubicBezTo>
                    <a:pt x="4457" y="3081"/>
                    <a:pt x="4293" y="3011"/>
                    <a:pt x="4153" y="2927"/>
                  </a:cubicBezTo>
                  <a:cubicBezTo>
                    <a:pt x="3960" y="2815"/>
                    <a:pt x="3869" y="2706"/>
                    <a:pt x="3883" y="2608"/>
                  </a:cubicBezTo>
                  <a:cubicBezTo>
                    <a:pt x="3894" y="2535"/>
                    <a:pt x="3813" y="2451"/>
                    <a:pt x="3659" y="2374"/>
                  </a:cubicBezTo>
                  <a:cubicBezTo>
                    <a:pt x="3565" y="2328"/>
                    <a:pt x="3516" y="2118"/>
                    <a:pt x="3509" y="1988"/>
                  </a:cubicBezTo>
                  <a:cubicBezTo>
                    <a:pt x="3505" y="1873"/>
                    <a:pt x="3533" y="1799"/>
                    <a:pt x="3593" y="1764"/>
                  </a:cubicBezTo>
                  <a:cubicBezTo>
                    <a:pt x="3600" y="1757"/>
                    <a:pt x="3607" y="1747"/>
                    <a:pt x="3610" y="1736"/>
                  </a:cubicBezTo>
                  <a:cubicBezTo>
                    <a:pt x="3628" y="1691"/>
                    <a:pt x="3642" y="1638"/>
                    <a:pt x="3652" y="1589"/>
                  </a:cubicBezTo>
                  <a:cubicBezTo>
                    <a:pt x="3677" y="1495"/>
                    <a:pt x="3701" y="1393"/>
                    <a:pt x="3764" y="1344"/>
                  </a:cubicBezTo>
                  <a:cubicBezTo>
                    <a:pt x="3783" y="1332"/>
                    <a:pt x="3806" y="1323"/>
                    <a:pt x="3830" y="1323"/>
                  </a:cubicBezTo>
                  <a:cubicBezTo>
                    <a:pt x="3834" y="1323"/>
                    <a:pt x="3838" y="1323"/>
                    <a:pt x="3841" y="1323"/>
                  </a:cubicBezTo>
                  <a:cubicBezTo>
                    <a:pt x="3841" y="1295"/>
                    <a:pt x="3838" y="1267"/>
                    <a:pt x="3834" y="1239"/>
                  </a:cubicBezTo>
                  <a:cubicBezTo>
                    <a:pt x="3824" y="1176"/>
                    <a:pt x="3824" y="1106"/>
                    <a:pt x="3841" y="1043"/>
                  </a:cubicBezTo>
                  <a:cubicBezTo>
                    <a:pt x="3848" y="1026"/>
                    <a:pt x="3848" y="1008"/>
                    <a:pt x="3838" y="991"/>
                  </a:cubicBezTo>
                  <a:cubicBezTo>
                    <a:pt x="3799" y="955"/>
                    <a:pt x="3751" y="934"/>
                    <a:pt x="3699" y="934"/>
                  </a:cubicBezTo>
                  <a:cubicBezTo>
                    <a:pt x="3695" y="934"/>
                    <a:pt x="3691" y="934"/>
                    <a:pt x="3687" y="935"/>
                  </a:cubicBezTo>
                  <a:cubicBezTo>
                    <a:pt x="3540" y="935"/>
                    <a:pt x="3320" y="728"/>
                    <a:pt x="3320" y="546"/>
                  </a:cubicBezTo>
                  <a:cubicBezTo>
                    <a:pt x="3320" y="480"/>
                    <a:pt x="3260" y="385"/>
                    <a:pt x="3211" y="308"/>
                  </a:cubicBezTo>
                  <a:lnTo>
                    <a:pt x="3183" y="263"/>
                  </a:lnTo>
                  <a:lnTo>
                    <a:pt x="3180" y="256"/>
                  </a:lnTo>
                  <a:lnTo>
                    <a:pt x="3183" y="273"/>
                  </a:lnTo>
                  <a:cubicBezTo>
                    <a:pt x="3162" y="283"/>
                    <a:pt x="3139" y="288"/>
                    <a:pt x="3115" y="288"/>
                  </a:cubicBezTo>
                  <a:cubicBezTo>
                    <a:pt x="3034" y="288"/>
                    <a:pt x="2941" y="235"/>
                    <a:pt x="2844" y="179"/>
                  </a:cubicBezTo>
                  <a:cubicBezTo>
                    <a:pt x="2787" y="146"/>
                    <a:pt x="2694" y="94"/>
                    <a:pt x="2660" y="94"/>
                  </a:cubicBezTo>
                  <a:cubicBezTo>
                    <a:pt x="2658" y="94"/>
                    <a:pt x="2656" y="94"/>
                    <a:pt x="2654" y="95"/>
                  </a:cubicBezTo>
                  <a:cubicBezTo>
                    <a:pt x="2627" y="108"/>
                    <a:pt x="2600" y="113"/>
                    <a:pt x="2574" y="113"/>
                  </a:cubicBezTo>
                  <a:cubicBezTo>
                    <a:pt x="2516" y="113"/>
                    <a:pt x="2461" y="87"/>
                    <a:pt x="2413" y="63"/>
                  </a:cubicBezTo>
                  <a:cubicBezTo>
                    <a:pt x="2346" y="22"/>
                    <a:pt x="2272" y="1"/>
                    <a:pt x="2194" y="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863" name="Google Shape;4863;p104"/>
            <p:cNvSpPr/>
            <p:nvPr/>
          </p:nvSpPr>
          <p:spPr>
            <a:xfrm>
              <a:off x="2360965" y="1751568"/>
              <a:ext cx="584" cy="204"/>
            </a:xfrm>
            <a:custGeom>
              <a:avLst/>
              <a:gdLst/>
              <a:ahLst/>
              <a:cxnLst/>
              <a:rect l="l" t="t" r="r" b="b"/>
              <a:pathLst>
                <a:path w="43" h="15" extrusionOk="0">
                  <a:moveTo>
                    <a:pt x="0" y="1"/>
                  </a:moveTo>
                  <a:lnTo>
                    <a:pt x="42" y="15"/>
                  </a:lnTo>
                  <a:lnTo>
                    <a:pt x="42" y="15"/>
                  </a:lnTo>
                  <a:lnTo>
                    <a:pt x="0" y="1"/>
                  </a:lnTo>
                  <a:lnTo>
                    <a:pt x="0"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864" name="Google Shape;4864;p104"/>
            <p:cNvSpPr/>
            <p:nvPr/>
          </p:nvSpPr>
          <p:spPr>
            <a:xfrm>
              <a:off x="2333674" y="1776048"/>
              <a:ext cx="15465" cy="8147"/>
            </a:xfrm>
            <a:custGeom>
              <a:avLst/>
              <a:gdLst/>
              <a:ahLst/>
              <a:cxnLst/>
              <a:rect l="l" t="t" r="r" b="b"/>
              <a:pathLst>
                <a:path w="1139" h="600" extrusionOk="0">
                  <a:moveTo>
                    <a:pt x="1139" y="0"/>
                  </a:moveTo>
                  <a:cubicBezTo>
                    <a:pt x="1086" y="28"/>
                    <a:pt x="501" y="340"/>
                    <a:pt x="1" y="599"/>
                  </a:cubicBezTo>
                  <a:cubicBezTo>
                    <a:pt x="452" y="368"/>
                    <a:pt x="971" y="91"/>
                    <a:pt x="1139"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865" name="Google Shape;4865;p104"/>
            <p:cNvSpPr/>
            <p:nvPr/>
          </p:nvSpPr>
          <p:spPr>
            <a:xfrm>
              <a:off x="2333674" y="1784181"/>
              <a:ext cx="14" cy="14"/>
            </a:xfrm>
            <a:custGeom>
              <a:avLst/>
              <a:gdLst/>
              <a:ahLst/>
              <a:cxnLst/>
              <a:rect l="l" t="t" r="r" b="b"/>
              <a:pathLst>
                <a:path w="1" h="1" extrusionOk="0">
                  <a:moveTo>
                    <a:pt x="1"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866" name="Google Shape;4866;p104"/>
            <p:cNvSpPr/>
            <p:nvPr/>
          </p:nvSpPr>
          <p:spPr>
            <a:xfrm>
              <a:off x="2334720" y="1789218"/>
              <a:ext cx="1059" cy="4481"/>
            </a:xfrm>
            <a:custGeom>
              <a:avLst/>
              <a:gdLst/>
              <a:ahLst/>
              <a:cxnLst/>
              <a:rect l="l" t="t" r="r" b="b"/>
              <a:pathLst>
                <a:path w="78" h="330" extrusionOk="0">
                  <a:moveTo>
                    <a:pt x="78" y="329"/>
                  </a:moveTo>
                  <a:cubicBezTo>
                    <a:pt x="53" y="224"/>
                    <a:pt x="25" y="105"/>
                    <a:pt x="1" y="0"/>
                  </a:cubicBezTo>
                  <a:cubicBezTo>
                    <a:pt x="25" y="105"/>
                    <a:pt x="53" y="224"/>
                    <a:pt x="78" y="329"/>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867" name="Google Shape;4867;p104"/>
            <p:cNvSpPr/>
            <p:nvPr/>
          </p:nvSpPr>
          <p:spPr>
            <a:xfrm>
              <a:off x="2334530" y="1788403"/>
              <a:ext cx="204" cy="828"/>
            </a:xfrm>
            <a:custGeom>
              <a:avLst/>
              <a:gdLst/>
              <a:ahLst/>
              <a:cxnLst/>
              <a:rect l="l" t="t" r="r" b="b"/>
              <a:pathLst>
                <a:path w="15" h="61" extrusionOk="0">
                  <a:moveTo>
                    <a:pt x="1" y="1"/>
                  </a:moveTo>
                  <a:lnTo>
                    <a:pt x="15" y="6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868" name="Google Shape;4868;p104"/>
            <p:cNvSpPr/>
            <p:nvPr/>
          </p:nvSpPr>
          <p:spPr>
            <a:xfrm>
              <a:off x="2334340" y="1787697"/>
              <a:ext cx="204" cy="720"/>
            </a:xfrm>
            <a:custGeom>
              <a:avLst/>
              <a:gdLst/>
              <a:ahLst/>
              <a:cxnLst/>
              <a:rect l="l" t="t" r="r" b="b"/>
              <a:pathLst>
                <a:path w="15" h="53" extrusionOk="0">
                  <a:moveTo>
                    <a:pt x="1" y="0"/>
                  </a:moveTo>
                  <a:lnTo>
                    <a:pt x="15" y="53"/>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869" name="Google Shape;4869;p104"/>
            <p:cNvSpPr/>
            <p:nvPr/>
          </p:nvSpPr>
          <p:spPr>
            <a:xfrm>
              <a:off x="2333770" y="1785036"/>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870" name="Google Shape;4870;p104"/>
            <p:cNvSpPr/>
            <p:nvPr/>
          </p:nvSpPr>
          <p:spPr>
            <a:xfrm>
              <a:off x="2334150" y="1787073"/>
              <a:ext cx="204" cy="584"/>
            </a:xfrm>
            <a:custGeom>
              <a:avLst/>
              <a:gdLst/>
              <a:ahLst/>
              <a:cxnLst/>
              <a:rect l="l" t="t" r="r" b="b"/>
              <a:pathLst>
                <a:path w="15" h="43" extrusionOk="0">
                  <a:moveTo>
                    <a:pt x="1" y="1"/>
                  </a:moveTo>
                  <a:cubicBezTo>
                    <a:pt x="4" y="11"/>
                    <a:pt x="8" y="29"/>
                    <a:pt x="15" y="43"/>
                  </a:cubicBezTo>
                  <a:cubicBezTo>
                    <a:pt x="8" y="29"/>
                    <a:pt x="4" y="11"/>
                    <a:pt x="1" y="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871" name="Google Shape;4871;p104"/>
            <p:cNvSpPr/>
            <p:nvPr/>
          </p:nvSpPr>
          <p:spPr>
            <a:xfrm>
              <a:off x="2333865" y="1785742"/>
              <a:ext cx="14" cy="109"/>
            </a:xfrm>
            <a:custGeom>
              <a:avLst/>
              <a:gdLst/>
              <a:ahLst/>
              <a:cxnLst/>
              <a:rect l="l" t="t" r="r" b="b"/>
              <a:pathLst>
                <a:path w="1" h="8" extrusionOk="0">
                  <a:moveTo>
                    <a:pt x="1" y="1"/>
                  </a:moveTo>
                  <a:lnTo>
                    <a:pt x="1" y="8"/>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872" name="Google Shape;4872;p104"/>
            <p:cNvSpPr/>
            <p:nvPr/>
          </p:nvSpPr>
          <p:spPr>
            <a:xfrm>
              <a:off x="2334055" y="1786462"/>
              <a:ext cx="14" cy="109"/>
            </a:xfrm>
            <a:custGeom>
              <a:avLst/>
              <a:gdLst/>
              <a:ahLst/>
              <a:cxnLst/>
              <a:rect l="l" t="t" r="r" b="b"/>
              <a:pathLst>
                <a:path w="1" h="8" extrusionOk="0">
                  <a:moveTo>
                    <a:pt x="1"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873" name="Google Shape;4873;p104"/>
            <p:cNvSpPr/>
            <p:nvPr/>
          </p:nvSpPr>
          <p:spPr>
            <a:xfrm>
              <a:off x="2333674" y="1784181"/>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874" name="Google Shape;4874;p104"/>
            <p:cNvSpPr/>
            <p:nvPr/>
          </p:nvSpPr>
          <p:spPr>
            <a:xfrm>
              <a:off x="2369709" y="1751568"/>
              <a:ext cx="2580" cy="1249"/>
            </a:xfrm>
            <a:custGeom>
              <a:avLst/>
              <a:gdLst/>
              <a:ahLst/>
              <a:cxnLst/>
              <a:rect l="l" t="t" r="r" b="b"/>
              <a:pathLst>
                <a:path w="190" h="92" extrusionOk="0">
                  <a:moveTo>
                    <a:pt x="0" y="8"/>
                  </a:moveTo>
                  <a:cubicBezTo>
                    <a:pt x="29" y="1"/>
                    <a:pt x="130" y="57"/>
                    <a:pt x="190" y="92"/>
                  </a:cubicBezTo>
                  <a:cubicBezTo>
                    <a:pt x="130" y="57"/>
                    <a:pt x="29" y="1"/>
                    <a:pt x="0" y="8"/>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875" name="Google Shape;4875;p104"/>
            <p:cNvSpPr/>
            <p:nvPr/>
          </p:nvSpPr>
          <p:spPr>
            <a:xfrm>
              <a:off x="2348135" y="1797392"/>
              <a:ext cx="2620" cy="1724"/>
            </a:xfrm>
            <a:custGeom>
              <a:avLst/>
              <a:gdLst/>
              <a:ahLst/>
              <a:cxnLst/>
              <a:rect l="l" t="t" r="r" b="b"/>
              <a:pathLst>
                <a:path w="193" h="127" extrusionOk="0">
                  <a:moveTo>
                    <a:pt x="0" y="0"/>
                  </a:moveTo>
                  <a:lnTo>
                    <a:pt x="0" y="0"/>
                  </a:lnTo>
                  <a:cubicBezTo>
                    <a:pt x="63" y="39"/>
                    <a:pt x="126" y="84"/>
                    <a:pt x="193" y="126"/>
                  </a:cubicBezTo>
                  <a:cubicBezTo>
                    <a:pt x="126" y="81"/>
                    <a:pt x="63" y="39"/>
                    <a:pt x="0"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876" name="Google Shape;4876;p104"/>
            <p:cNvSpPr/>
            <p:nvPr/>
          </p:nvSpPr>
          <p:spPr>
            <a:xfrm>
              <a:off x="2337666" y="1793631"/>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877" name="Google Shape;4877;p104"/>
            <p:cNvSpPr/>
            <p:nvPr/>
          </p:nvSpPr>
          <p:spPr>
            <a:xfrm>
              <a:off x="2338046" y="1793590"/>
              <a:ext cx="679" cy="14"/>
            </a:xfrm>
            <a:custGeom>
              <a:avLst/>
              <a:gdLst/>
              <a:ahLst/>
              <a:cxnLst/>
              <a:rect l="l" t="t" r="r" b="b"/>
              <a:pathLst>
                <a:path w="50" h="1" extrusionOk="0">
                  <a:moveTo>
                    <a:pt x="1" y="0"/>
                  </a:moveTo>
                  <a:lnTo>
                    <a:pt x="50"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878" name="Google Shape;4878;p104"/>
            <p:cNvSpPr/>
            <p:nvPr/>
          </p:nvSpPr>
          <p:spPr>
            <a:xfrm>
              <a:off x="2342663" y="1794255"/>
              <a:ext cx="353" cy="204"/>
            </a:xfrm>
            <a:custGeom>
              <a:avLst/>
              <a:gdLst/>
              <a:ahLst/>
              <a:cxnLst/>
              <a:rect l="l" t="t" r="r" b="b"/>
              <a:pathLst>
                <a:path w="26" h="15" extrusionOk="0">
                  <a:moveTo>
                    <a:pt x="1" y="0"/>
                  </a:moveTo>
                  <a:lnTo>
                    <a:pt x="25" y="14"/>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879" name="Google Shape;4879;p104"/>
            <p:cNvSpPr/>
            <p:nvPr/>
          </p:nvSpPr>
          <p:spPr>
            <a:xfrm>
              <a:off x="2344088" y="1795016"/>
              <a:ext cx="4060" cy="2390"/>
            </a:xfrm>
            <a:custGeom>
              <a:avLst/>
              <a:gdLst/>
              <a:ahLst/>
              <a:cxnLst/>
              <a:rect l="l" t="t" r="r" b="b"/>
              <a:pathLst>
                <a:path w="299" h="176" extrusionOk="0">
                  <a:moveTo>
                    <a:pt x="1" y="0"/>
                  </a:moveTo>
                  <a:cubicBezTo>
                    <a:pt x="88" y="46"/>
                    <a:pt x="186" y="105"/>
                    <a:pt x="298" y="175"/>
                  </a:cubicBezTo>
                  <a:cubicBezTo>
                    <a:pt x="186" y="105"/>
                    <a:pt x="88" y="46"/>
                    <a:pt x="1"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880" name="Google Shape;4880;p104"/>
            <p:cNvSpPr/>
            <p:nvPr/>
          </p:nvSpPr>
          <p:spPr>
            <a:xfrm>
              <a:off x="2343192" y="1794540"/>
              <a:ext cx="109" cy="54"/>
            </a:xfrm>
            <a:custGeom>
              <a:avLst/>
              <a:gdLst/>
              <a:ahLst/>
              <a:cxnLst/>
              <a:rect l="l" t="t" r="r" b="b"/>
              <a:pathLst>
                <a:path w="8" h="4" extrusionOk="0">
                  <a:moveTo>
                    <a:pt x="0" y="0"/>
                  </a:moveTo>
                  <a:lnTo>
                    <a:pt x="7" y="4"/>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881" name="Google Shape;4881;p104"/>
            <p:cNvSpPr/>
            <p:nvPr/>
          </p:nvSpPr>
          <p:spPr>
            <a:xfrm>
              <a:off x="2338712" y="1793590"/>
              <a:ext cx="2009" cy="109"/>
            </a:xfrm>
            <a:custGeom>
              <a:avLst/>
              <a:gdLst/>
              <a:ahLst/>
              <a:cxnLst/>
              <a:rect l="l" t="t" r="r" b="b"/>
              <a:pathLst>
                <a:path w="148" h="8" extrusionOk="0">
                  <a:moveTo>
                    <a:pt x="1" y="0"/>
                  </a:moveTo>
                  <a:cubicBezTo>
                    <a:pt x="50" y="0"/>
                    <a:pt x="99" y="4"/>
                    <a:pt x="148" y="7"/>
                  </a:cubicBezTo>
                  <a:cubicBezTo>
                    <a:pt x="99" y="4"/>
                    <a:pt x="50" y="0"/>
                    <a:pt x="1"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882" name="Google Shape;4882;p104"/>
            <p:cNvSpPr/>
            <p:nvPr/>
          </p:nvSpPr>
          <p:spPr>
            <a:xfrm>
              <a:off x="2382309" y="1818355"/>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883" name="Google Shape;4883;p104"/>
            <p:cNvSpPr/>
            <p:nvPr/>
          </p:nvSpPr>
          <p:spPr>
            <a:xfrm>
              <a:off x="2386776" y="1818776"/>
              <a:ext cx="3435" cy="394"/>
            </a:xfrm>
            <a:custGeom>
              <a:avLst/>
              <a:gdLst/>
              <a:ahLst/>
              <a:cxnLst/>
              <a:rect l="l" t="t" r="r" b="b"/>
              <a:pathLst>
                <a:path w="253" h="29" extrusionOk="0">
                  <a:moveTo>
                    <a:pt x="252" y="29"/>
                  </a:moveTo>
                  <a:lnTo>
                    <a:pt x="0" y="1"/>
                  </a:lnTo>
                  <a:lnTo>
                    <a:pt x="252" y="29"/>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884" name="Google Shape;4884;p104"/>
            <p:cNvSpPr/>
            <p:nvPr/>
          </p:nvSpPr>
          <p:spPr>
            <a:xfrm>
              <a:off x="2392098" y="1811662"/>
              <a:ext cx="11663" cy="11554"/>
            </a:xfrm>
            <a:custGeom>
              <a:avLst/>
              <a:gdLst/>
              <a:ahLst/>
              <a:cxnLst/>
              <a:rect l="l" t="t" r="r" b="b"/>
              <a:pathLst>
                <a:path w="859" h="851" extrusionOk="0">
                  <a:moveTo>
                    <a:pt x="408" y="0"/>
                  </a:moveTo>
                  <a:cubicBezTo>
                    <a:pt x="403" y="0"/>
                    <a:pt x="398" y="1"/>
                    <a:pt x="392" y="3"/>
                  </a:cubicBezTo>
                  <a:cubicBezTo>
                    <a:pt x="322" y="7"/>
                    <a:pt x="263" y="49"/>
                    <a:pt x="235" y="112"/>
                  </a:cubicBezTo>
                  <a:cubicBezTo>
                    <a:pt x="217" y="136"/>
                    <a:pt x="200" y="161"/>
                    <a:pt x="179" y="182"/>
                  </a:cubicBezTo>
                  <a:lnTo>
                    <a:pt x="175" y="185"/>
                  </a:lnTo>
                  <a:lnTo>
                    <a:pt x="172" y="192"/>
                  </a:lnTo>
                  <a:lnTo>
                    <a:pt x="168" y="196"/>
                  </a:lnTo>
                  <a:lnTo>
                    <a:pt x="165" y="199"/>
                  </a:lnTo>
                  <a:lnTo>
                    <a:pt x="161" y="206"/>
                  </a:lnTo>
                  <a:lnTo>
                    <a:pt x="161" y="210"/>
                  </a:lnTo>
                  <a:lnTo>
                    <a:pt x="158" y="217"/>
                  </a:lnTo>
                  <a:lnTo>
                    <a:pt x="158" y="220"/>
                  </a:lnTo>
                  <a:lnTo>
                    <a:pt x="151" y="234"/>
                  </a:lnTo>
                  <a:lnTo>
                    <a:pt x="147" y="238"/>
                  </a:lnTo>
                  <a:lnTo>
                    <a:pt x="140" y="252"/>
                  </a:lnTo>
                  <a:lnTo>
                    <a:pt x="140" y="255"/>
                  </a:lnTo>
                  <a:lnTo>
                    <a:pt x="130" y="273"/>
                  </a:lnTo>
                  <a:lnTo>
                    <a:pt x="126" y="280"/>
                  </a:lnTo>
                  <a:lnTo>
                    <a:pt x="119" y="301"/>
                  </a:lnTo>
                  <a:lnTo>
                    <a:pt x="116" y="308"/>
                  </a:lnTo>
                  <a:lnTo>
                    <a:pt x="102" y="332"/>
                  </a:lnTo>
                  <a:lnTo>
                    <a:pt x="102" y="336"/>
                  </a:lnTo>
                  <a:lnTo>
                    <a:pt x="88" y="367"/>
                  </a:lnTo>
                  <a:lnTo>
                    <a:pt x="88" y="371"/>
                  </a:lnTo>
                  <a:cubicBezTo>
                    <a:pt x="63" y="420"/>
                    <a:pt x="35" y="486"/>
                    <a:pt x="0" y="567"/>
                  </a:cubicBezTo>
                  <a:lnTo>
                    <a:pt x="252" y="598"/>
                  </a:lnTo>
                  <a:lnTo>
                    <a:pt x="270" y="598"/>
                  </a:lnTo>
                  <a:lnTo>
                    <a:pt x="550" y="833"/>
                  </a:lnTo>
                  <a:lnTo>
                    <a:pt x="858" y="850"/>
                  </a:lnTo>
                  <a:cubicBezTo>
                    <a:pt x="837" y="791"/>
                    <a:pt x="809" y="728"/>
                    <a:pt x="785" y="668"/>
                  </a:cubicBezTo>
                  <a:cubicBezTo>
                    <a:pt x="687" y="434"/>
                    <a:pt x="631" y="297"/>
                    <a:pt x="631" y="231"/>
                  </a:cubicBezTo>
                  <a:cubicBezTo>
                    <a:pt x="631" y="199"/>
                    <a:pt x="638" y="171"/>
                    <a:pt x="655" y="143"/>
                  </a:cubicBezTo>
                  <a:lnTo>
                    <a:pt x="641" y="133"/>
                  </a:lnTo>
                  <a:lnTo>
                    <a:pt x="620" y="112"/>
                  </a:lnTo>
                  <a:lnTo>
                    <a:pt x="599" y="94"/>
                  </a:lnTo>
                  <a:lnTo>
                    <a:pt x="582" y="77"/>
                  </a:lnTo>
                  <a:lnTo>
                    <a:pt x="564" y="63"/>
                  </a:lnTo>
                  <a:lnTo>
                    <a:pt x="543" y="49"/>
                  </a:lnTo>
                  <a:lnTo>
                    <a:pt x="529" y="38"/>
                  </a:lnTo>
                  <a:lnTo>
                    <a:pt x="512" y="28"/>
                  </a:lnTo>
                  <a:lnTo>
                    <a:pt x="498" y="21"/>
                  </a:lnTo>
                  <a:lnTo>
                    <a:pt x="484" y="10"/>
                  </a:lnTo>
                  <a:lnTo>
                    <a:pt x="470" y="7"/>
                  </a:lnTo>
                  <a:cubicBezTo>
                    <a:pt x="463" y="7"/>
                    <a:pt x="459" y="3"/>
                    <a:pt x="452" y="3"/>
                  </a:cubicBezTo>
                  <a:lnTo>
                    <a:pt x="424" y="3"/>
                  </a:lnTo>
                  <a:cubicBezTo>
                    <a:pt x="419" y="1"/>
                    <a:pt x="413" y="0"/>
                    <a:pt x="408"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885" name="Google Shape;4885;p104"/>
            <p:cNvSpPr/>
            <p:nvPr/>
          </p:nvSpPr>
          <p:spPr>
            <a:xfrm>
              <a:off x="2392003" y="1819401"/>
              <a:ext cx="3435" cy="434"/>
            </a:xfrm>
            <a:custGeom>
              <a:avLst/>
              <a:gdLst/>
              <a:ahLst/>
              <a:cxnLst/>
              <a:rect l="l" t="t" r="r" b="b"/>
              <a:pathLst>
                <a:path w="253" h="32" extrusionOk="0">
                  <a:moveTo>
                    <a:pt x="0" y="0"/>
                  </a:moveTo>
                  <a:lnTo>
                    <a:pt x="0" y="0"/>
                  </a:lnTo>
                  <a:lnTo>
                    <a:pt x="252" y="32"/>
                  </a:lnTo>
                  <a:lnTo>
                    <a:pt x="252" y="32"/>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886" name="Google Shape;4886;p104"/>
            <p:cNvSpPr/>
            <p:nvPr/>
          </p:nvSpPr>
          <p:spPr>
            <a:xfrm>
              <a:off x="2399471" y="1823053"/>
              <a:ext cx="4236" cy="204"/>
            </a:xfrm>
            <a:custGeom>
              <a:avLst/>
              <a:gdLst/>
              <a:ahLst/>
              <a:cxnLst/>
              <a:rect l="l" t="t" r="r" b="b"/>
              <a:pathLst>
                <a:path w="312" h="15" extrusionOk="0">
                  <a:moveTo>
                    <a:pt x="312" y="15"/>
                  </a:moveTo>
                  <a:lnTo>
                    <a:pt x="312" y="15"/>
                  </a:lnTo>
                  <a:lnTo>
                    <a:pt x="0"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887" name="Google Shape;4887;p104"/>
            <p:cNvSpPr/>
            <p:nvPr/>
          </p:nvSpPr>
          <p:spPr>
            <a:xfrm>
              <a:off x="2397991" y="1811743"/>
              <a:ext cx="204" cy="14"/>
            </a:xfrm>
            <a:custGeom>
              <a:avLst/>
              <a:gdLst/>
              <a:ahLst/>
              <a:cxnLst/>
              <a:rect l="l" t="t" r="r" b="b"/>
              <a:pathLst>
                <a:path w="15" h="1" extrusionOk="0">
                  <a:moveTo>
                    <a:pt x="0" y="1"/>
                  </a:moveTo>
                  <a:lnTo>
                    <a:pt x="15"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888" name="Google Shape;4888;p104"/>
            <p:cNvSpPr/>
            <p:nvPr/>
          </p:nvSpPr>
          <p:spPr>
            <a:xfrm>
              <a:off x="2393185" y="1816685"/>
              <a:ext cx="14" cy="68"/>
            </a:xfrm>
            <a:custGeom>
              <a:avLst/>
              <a:gdLst/>
              <a:ahLst/>
              <a:cxnLst/>
              <a:rect l="l" t="t" r="r" b="b"/>
              <a:pathLst>
                <a:path w="1" h="5" extrusionOk="0">
                  <a:moveTo>
                    <a:pt x="1" y="4"/>
                  </a:moveTo>
                  <a:lnTo>
                    <a:pt x="1"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889" name="Google Shape;4889;p104"/>
            <p:cNvSpPr/>
            <p:nvPr/>
          </p:nvSpPr>
          <p:spPr>
            <a:xfrm>
              <a:off x="2399702" y="1812598"/>
              <a:ext cx="204" cy="204"/>
            </a:xfrm>
            <a:custGeom>
              <a:avLst/>
              <a:gdLst/>
              <a:ahLst/>
              <a:cxnLst/>
              <a:rect l="l" t="t" r="r" b="b"/>
              <a:pathLst>
                <a:path w="15" h="15" extrusionOk="0">
                  <a:moveTo>
                    <a:pt x="1" y="1"/>
                  </a:moveTo>
                  <a:lnTo>
                    <a:pt x="15" y="15"/>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890" name="Google Shape;4890;p104"/>
            <p:cNvSpPr/>
            <p:nvPr/>
          </p:nvSpPr>
          <p:spPr>
            <a:xfrm>
              <a:off x="2399227" y="1812273"/>
              <a:ext cx="204" cy="149"/>
            </a:xfrm>
            <a:custGeom>
              <a:avLst/>
              <a:gdLst/>
              <a:ahLst/>
              <a:cxnLst/>
              <a:rect l="l" t="t" r="r" b="b"/>
              <a:pathLst>
                <a:path w="15" h="11" extrusionOk="0">
                  <a:moveTo>
                    <a:pt x="1" y="0"/>
                  </a:moveTo>
                  <a:lnTo>
                    <a:pt x="15" y="1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891" name="Google Shape;4891;p104"/>
            <p:cNvSpPr/>
            <p:nvPr/>
          </p:nvSpPr>
          <p:spPr>
            <a:xfrm>
              <a:off x="2398426" y="1811838"/>
              <a:ext cx="149" cy="68"/>
            </a:xfrm>
            <a:custGeom>
              <a:avLst/>
              <a:gdLst/>
              <a:ahLst/>
              <a:cxnLst/>
              <a:rect l="l" t="t" r="r" b="b"/>
              <a:pathLst>
                <a:path w="11" h="5" extrusionOk="0">
                  <a:moveTo>
                    <a:pt x="0" y="1"/>
                  </a:moveTo>
                  <a:lnTo>
                    <a:pt x="11" y="4"/>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892" name="Google Shape;4892;p104"/>
            <p:cNvSpPr/>
            <p:nvPr/>
          </p:nvSpPr>
          <p:spPr>
            <a:xfrm>
              <a:off x="2397367" y="1811743"/>
              <a:ext cx="394" cy="14"/>
            </a:xfrm>
            <a:custGeom>
              <a:avLst/>
              <a:gdLst/>
              <a:ahLst/>
              <a:cxnLst/>
              <a:rect l="l" t="t" r="r" b="b"/>
              <a:pathLst>
                <a:path w="29" h="1" extrusionOk="0">
                  <a:moveTo>
                    <a:pt x="1" y="1"/>
                  </a:moveTo>
                  <a:cubicBezTo>
                    <a:pt x="8" y="1"/>
                    <a:pt x="18" y="1"/>
                    <a:pt x="29" y="1"/>
                  </a:cubicBezTo>
                  <a:cubicBezTo>
                    <a:pt x="18" y="1"/>
                    <a:pt x="8" y="1"/>
                    <a:pt x="1" y="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893" name="Google Shape;4893;p104"/>
            <p:cNvSpPr/>
            <p:nvPr/>
          </p:nvSpPr>
          <p:spPr>
            <a:xfrm>
              <a:off x="2393755" y="1815409"/>
              <a:ext cx="68" cy="109"/>
            </a:xfrm>
            <a:custGeom>
              <a:avLst/>
              <a:gdLst/>
              <a:ahLst/>
              <a:cxnLst/>
              <a:rect l="l" t="t" r="r" b="b"/>
              <a:pathLst>
                <a:path w="5" h="8" extrusionOk="0">
                  <a:moveTo>
                    <a:pt x="1" y="7"/>
                  </a:moveTo>
                  <a:lnTo>
                    <a:pt x="4"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894" name="Google Shape;4894;p104"/>
            <p:cNvSpPr/>
            <p:nvPr/>
          </p:nvSpPr>
          <p:spPr>
            <a:xfrm>
              <a:off x="2400747" y="1813549"/>
              <a:ext cx="204" cy="163"/>
            </a:xfrm>
            <a:custGeom>
              <a:avLst/>
              <a:gdLst/>
              <a:ahLst/>
              <a:cxnLst/>
              <a:rect l="l" t="t" r="r" b="b"/>
              <a:pathLst>
                <a:path w="15" h="12" extrusionOk="0">
                  <a:moveTo>
                    <a:pt x="15" y="1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895" name="Google Shape;4895;p104"/>
            <p:cNvSpPr/>
            <p:nvPr/>
          </p:nvSpPr>
          <p:spPr>
            <a:xfrm>
              <a:off x="2393375" y="1816169"/>
              <a:ext cx="68" cy="109"/>
            </a:xfrm>
            <a:custGeom>
              <a:avLst/>
              <a:gdLst/>
              <a:ahLst/>
              <a:cxnLst/>
              <a:rect l="l" t="t" r="r" b="b"/>
              <a:pathLst>
                <a:path w="5" h="8" extrusionOk="0">
                  <a:moveTo>
                    <a:pt x="1" y="7"/>
                  </a:moveTo>
                  <a:lnTo>
                    <a:pt x="4"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896" name="Google Shape;4896;p104"/>
            <p:cNvSpPr/>
            <p:nvPr/>
          </p:nvSpPr>
          <p:spPr>
            <a:xfrm>
              <a:off x="2400177" y="1813033"/>
              <a:ext cx="299" cy="244"/>
            </a:xfrm>
            <a:custGeom>
              <a:avLst/>
              <a:gdLst/>
              <a:ahLst/>
              <a:cxnLst/>
              <a:rect l="l" t="t" r="r" b="b"/>
              <a:pathLst>
                <a:path w="22" h="18" extrusionOk="0">
                  <a:moveTo>
                    <a:pt x="1" y="0"/>
                  </a:moveTo>
                  <a:lnTo>
                    <a:pt x="22" y="18"/>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897" name="Google Shape;4897;p104"/>
            <p:cNvSpPr/>
            <p:nvPr/>
          </p:nvSpPr>
          <p:spPr>
            <a:xfrm>
              <a:off x="2393565" y="1815735"/>
              <a:ext cx="68" cy="109"/>
            </a:xfrm>
            <a:custGeom>
              <a:avLst/>
              <a:gdLst/>
              <a:ahLst/>
              <a:cxnLst/>
              <a:rect l="l" t="t" r="r" b="b"/>
              <a:pathLst>
                <a:path w="5" h="8" extrusionOk="0">
                  <a:moveTo>
                    <a:pt x="1" y="8"/>
                  </a:moveTo>
                  <a:lnTo>
                    <a:pt x="4"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898" name="Google Shape;4898;p104"/>
            <p:cNvSpPr/>
            <p:nvPr/>
          </p:nvSpPr>
          <p:spPr>
            <a:xfrm>
              <a:off x="2398806" y="1812028"/>
              <a:ext cx="204" cy="109"/>
            </a:xfrm>
            <a:custGeom>
              <a:avLst/>
              <a:gdLst/>
              <a:ahLst/>
              <a:cxnLst/>
              <a:rect l="l" t="t" r="r" b="b"/>
              <a:pathLst>
                <a:path w="15" h="8" extrusionOk="0">
                  <a:moveTo>
                    <a:pt x="0" y="1"/>
                  </a:moveTo>
                  <a:lnTo>
                    <a:pt x="14" y="8"/>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899" name="Google Shape;4899;p104"/>
            <p:cNvSpPr/>
            <p:nvPr/>
          </p:nvSpPr>
          <p:spPr>
            <a:xfrm>
              <a:off x="2394420" y="1814268"/>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900" name="Google Shape;4900;p104"/>
            <p:cNvSpPr/>
            <p:nvPr/>
          </p:nvSpPr>
          <p:spPr>
            <a:xfrm>
              <a:off x="2394040" y="1814839"/>
              <a:ext cx="68" cy="109"/>
            </a:xfrm>
            <a:custGeom>
              <a:avLst/>
              <a:gdLst/>
              <a:ahLst/>
              <a:cxnLst/>
              <a:rect l="l" t="t" r="r" b="b"/>
              <a:pathLst>
                <a:path w="5" h="8" extrusionOk="0">
                  <a:moveTo>
                    <a:pt x="1" y="7"/>
                  </a:moveTo>
                  <a:lnTo>
                    <a:pt x="4"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901" name="Google Shape;4901;p104"/>
            <p:cNvSpPr/>
            <p:nvPr/>
          </p:nvSpPr>
          <p:spPr>
            <a:xfrm>
              <a:off x="2394135" y="1814649"/>
              <a:ext cx="14" cy="54"/>
            </a:xfrm>
            <a:custGeom>
              <a:avLst/>
              <a:gdLst/>
              <a:ahLst/>
              <a:cxnLst/>
              <a:rect l="l" t="t" r="r" b="b"/>
              <a:pathLst>
                <a:path w="1" h="4" extrusionOk="0">
                  <a:moveTo>
                    <a:pt x="1" y="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902" name="Google Shape;4902;p104"/>
            <p:cNvSpPr/>
            <p:nvPr/>
          </p:nvSpPr>
          <p:spPr>
            <a:xfrm>
              <a:off x="2394230" y="1814499"/>
              <a:ext cx="14" cy="68"/>
            </a:xfrm>
            <a:custGeom>
              <a:avLst/>
              <a:gdLst/>
              <a:ahLst/>
              <a:cxnLst/>
              <a:rect l="l" t="t" r="r" b="b"/>
              <a:pathLst>
                <a:path w="1" h="5" extrusionOk="0">
                  <a:moveTo>
                    <a:pt x="1" y="4"/>
                  </a:moveTo>
                  <a:lnTo>
                    <a:pt x="1"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903" name="Google Shape;4903;p104"/>
            <p:cNvSpPr/>
            <p:nvPr/>
          </p:nvSpPr>
          <p:spPr>
            <a:xfrm>
              <a:off x="2394380" y="1814309"/>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904" name="Google Shape;4904;p104"/>
            <p:cNvSpPr/>
            <p:nvPr/>
          </p:nvSpPr>
          <p:spPr>
            <a:xfrm>
              <a:off x="2394325" y="1814404"/>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905" name="Google Shape;4905;p104"/>
            <p:cNvSpPr/>
            <p:nvPr/>
          </p:nvSpPr>
          <p:spPr>
            <a:xfrm>
              <a:off x="2393904" y="1815070"/>
              <a:ext cx="54" cy="109"/>
            </a:xfrm>
            <a:custGeom>
              <a:avLst/>
              <a:gdLst/>
              <a:ahLst/>
              <a:cxnLst/>
              <a:rect l="l" t="t" r="r" b="b"/>
              <a:pathLst>
                <a:path w="4" h="8" extrusionOk="0">
                  <a:moveTo>
                    <a:pt x="0" y="8"/>
                  </a:moveTo>
                  <a:lnTo>
                    <a:pt x="4"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906" name="Google Shape;4906;p104"/>
            <p:cNvSpPr/>
            <p:nvPr/>
          </p:nvSpPr>
          <p:spPr>
            <a:xfrm>
              <a:off x="2013313" y="1624754"/>
              <a:ext cx="94975" cy="80080"/>
            </a:xfrm>
            <a:custGeom>
              <a:avLst/>
              <a:gdLst/>
              <a:ahLst/>
              <a:cxnLst/>
              <a:rect l="l" t="t" r="r" b="b"/>
              <a:pathLst>
                <a:path w="6995" h="5898" extrusionOk="0">
                  <a:moveTo>
                    <a:pt x="3942" y="0"/>
                  </a:moveTo>
                  <a:cubicBezTo>
                    <a:pt x="3907" y="7"/>
                    <a:pt x="3872" y="7"/>
                    <a:pt x="3837" y="7"/>
                  </a:cubicBezTo>
                  <a:cubicBezTo>
                    <a:pt x="3830" y="7"/>
                    <a:pt x="3823" y="6"/>
                    <a:pt x="3816" y="6"/>
                  </a:cubicBezTo>
                  <a:cubicBezTo>
                    <a:pt x="3753" y="6"/>
                    <a:pt x="3692" y="33"/>
                    <a:pt x="3652" y="77"/>
                  </a:cubicBezTo>
                  <a:cubicBezTo>
                    <a:pt x="3585" y="147"/>
                    <a:pt x="3557" y="259"/>
                    <a:pt x="3571" y="403"/>
                  </a:cubicBezTo>
                  <a:cubicBezTo>
                    <a:pt x="3589" y="504"/>
                    <a:pt x="3564" y="606"/>
                    <a:pt x="3501" y="686"/>
                  </a:cubicBezTo>
                  <a:cubicBezTo>
                    <a:pt x="3392" y="812"/>
                    <a:pt x="3196" y="837"/>
                    <a:pt x="2944" y="854"/>
                  </a:cubicBezTo>
                  <a:cubicBezTo>
                    <a:pt x="2780" y="868"/>
                    <a:pt x="2762" y="935"/>
                    <a:pt x="2731" y="1037"/>
                  </a:cubicBezTo>
                  <a:cubicBezTo>
                    <a:pt x="2720" y="1114"/>
                    <a:pt x="2682" y="1180"/>
                    <a:pt x="2626" y="1229"/>
                  </a:cubicBezTo>
                  <a:cubicBezTo>
                    <a:pt x="2580" y="1265"/>
                    <a:pt x="2517" y="1276"/>
                    <a:pt x="2454" y="1276"/>
                  </a:cubicBezTo>
                  <a:cubicBezTo>
                    <a:pt x="2368" y="1276"/>
                    <a:pt x="2282" y="1255"/>
                    <a:pt x="2234" y="1243"/>
                  </a:cubicBezTo>
                  <a:cubicBezTo>
                    <a:pt x="2080" y="1198"/>
                    <a:pt x="1884" y="1100"/>
                    <a:pt x="1835" y="967"/>
                  </a:cubicBezTo>
                  <a:cubicBezTo>
                    <a:pt x="1831" y="949"/>
                    <a:pt x="1810" y="938"/>
                    <a:pt x="1782" y="935"/>
                  </a:cubicBezTo>
                  <a:cubicBezTo>
                    <a:pt x="1712" y="935"/>
                    <a:pt x="1646" y="967"/>
                    <a:pt x="1607" y="1023"/>
                  </a:cubicBezTo>
                  <a:cubicBezTo>
                    <a:pt x="1604" y="1037"/>
                    <a:pt x="1590" y="1065"/>
                    <a:pt x="1632" y="1110"/>
                  </a:cubicBezTo>
                  <a:cubicBezTo>
                    <a:pt x="1747" y="1240"/>
                    <a:pt x="1803" y="1408"/>
                    <a:pt x="1793" y="1579"/>
                  </a:cubicBezTo>
                  <a:cubicBezTo>
                    <a:pt x="1789" y="1660"/>
                    <a:pt x="1754" y="1737"/>
                    <a:pt x="1695" y="1789"/>
                  </a:cubicBezTo>
                  <a:cubicBezTo>
                    <a:pt x="1663" y="1814"/>
                    <a:pt x="1628" y="1823"/>
                    <a:pt x="1591" y="1823"/>
                  </a:cubicBezTo>
                  <a:cubicBezTo>
                    <a:pt x="1538" y="1823"/>
                    <a:pt x="1482" y="1804"/>
                    <a:pt x="1429" y="1786"/>
                  </a:cubicBezTo>
                  <a:cubicBezTo>
                    <a:pt x="1369" y="1765"/>
                    <a:pt x="1317" y="1749"/>
                    <a:pt x="1275" y="1749"/>
                  </a:cubicBezTo>
                  <a:cubicBezTo>
                    <a:pt x="1252" y="1749"/>
                    <a:pt x="1232" y="1754"/>
                    <a:pt x="1215" y="1765"/>
                  </a:cubicBezTo>
                  <a:cubicBezTo>
                    <a:pt x="1173" y="1797"/>
                    <a:pt x="1136" y="1809"/>
                    <a:pt x="1104" y="1809"/>
                  </a:cubicBezTo>
                  <a:cubicBezTo>
                    <a:pt x="1036" y="1809"/>
                    <a:pt x="988" y="1756"/>
                    <a:pt x="952" y="1716"/>
                  </a:cubicBezTo>
                  <a:cubicBezTo>
                    <a:pt x="921" y="1670"/>
                    <a:pt x="875" y="1635"/>
                    <a:pt x="823" y="1614"/>
                  </a:cubicBezTo>
                  <a:cubicBezTo>
                    <a:pt x="798" y="1605"/>
                    <a:pt x="777" y="1601"/>
                    <a:pt x="756" y="1601"/>
                  </a:cubicBezTo>
                  <a:cubicBezTo>
                    <a:pt x="719" y="1601"/>
                    <a:pt x="684" y="1613"/>
                    <a:pt x="637" y="1628"/>
                  </a:cubicBezTo>
                  <a:cubicBezTo>
                    <a:pt x="557" y="1658"/>
                    <a:pt x="472" y="1675"/>
                    <a:pt x="386" y="1675"/>
                  </a:cubicBezTo>
                  <a:cubicBezTo>
                    <a:pt x="360" y="1675"/>
                    <a:pt x="334" y="1673"/>
                    <a:pt x="308" y="1670"/>
                  </a:cubicBezTo>
                  <a:cubicBezTo>
                    <a:pt x="291" y="1669"/>
                    <a:pt x="275" y="1668"/>
                    <a:pt x="260" y="1668"/>
                  </a:cubicBezTo>
                  <a:cubicBezTo>
                    <a:pt x="115" y="1668"/>
                    <a:pt x="33" y="1724"/>
                    <a:pt x="14" y="1765"/>
                  </a:cubicBezTo>
                  <a:cubicBezTo>
                    <a:pt x="0" y="1782"/>
                    <a:pt x="7" y="1807"/>
                    <a:pt x="25" y="1821"/>
                  </a:cubicBezTo>
                  <a:cubicBezTo>
                    <a:pt x="77" y="1887"/>
                    <a:pt x="98" y="1978"/>
                    <a:pt x="77" y="2059"/>
                  </a:cubicBezTo>
                  <a:cubicBezTo>
                    <a:pt x="74" y="2111"/>
                    <a:pt x="70" y="2139"/>
                    <a:pt x="91" y="2164"/>
                  </a:cubicBezTo>
                  <a:cubicBezTo>
                    <a:pt x="112" y="2192"/>
                    <a:pt x="235" y="2220"/>
                    <a:pt x="340" y="2241"/>
                  </a:cubicBezTo>
                  <a:cubicBezTo>
                    <a:pt x="476" y="2269"/>
                    <a:pt x="651" y="2304"/>
                    <a:pt x="795" y="2381"/>
                  </a:cubicBezTo>
                  <a:cubicBezTo>
                    <a:pt x="874" y="2427"/>
                    <a:pt x="963" y="2455"/>
                    <a:pt x="1055" y="2455"/>
                  </a:cubicBezTo>
                  <a:cubicBezTo>
                    <a:pt x="1060" y="2455"/>
                    <a:pt x="1066" y="2455"/>
                    <a:pt x="1071" y="2454"/>
                  </a:cubicBezTo>
                  <a:cubicBezTo>
                    <a:pt x="1080" y="2454"/>
                    <a:pt x="1089" y="2453"/>
                    <a:pt x="1097" y="2453"/>
                  </a:cubicBezTo>
                  <a:cubicBezTo>
                    <a:pt x="1165" y="2453"/>
                    <a:pt x="1229" y="2477"/>
                    <a:pt x="1281" y="2517"/>
                  </a:cubicBezTo>
                  <a:cubicBezTo>
                    <a:pt x="1309" y="2538"/>
                    <a:pt x="1341" y="2556"/>
                    <a:pt x="1369" y="2570"/>
                  </a:cubicBezTo>
                  <a:cubicBezTo>
                    <a:pt x="1457" y="2615"/>
                    <a:pt x="1481" y="2650"/>
                    <a:pt x="1488" y="2808"/>
                  </a:cubicBezTo>
                  <a:cubicBezTo>
                    <a:pt x="1495" y="2997"/>
                    <a:pt x="1646" y="3155"/>
                    <a:pt x="1870" y="3218"/>
                  </a:cubicBezTo>
                  <a:cubicBezTo>
                    <a:pt x="2090" y="3277"/>
                    <a:pt x="2066" y="3424"/>
                    <a:pt x="2052" y="3519"/>
                  </a:cubicBezTo>
                  <a:cubicBezTo>
                    <a:pt x="2038" y="3575"/>
                    <a:pt x="2038" y="3631"/>
                    <a:pt x="2055" y="3683"/>
                  </a:cubicBezTo>
                  <a:cubicBezTo>
                    <a:pt x="2108" y="3799"/>
                    <a:pt x="2069" y="3932"/>
                    <a:pt x="2027" y="4061"/>
                  </a:cubicBezTo>
                  <a:cubicBezTo>
                    <a:pt x="1996" y="4159"/>
                    <a:pt x="1964" y="4264"/>
                    <a:pt x="1982" y="4352"/>
                  </a:cubicBezTo>
                  <a:cubicBezTo>
                    <a:pt x="2017" y="4548"/>
                    <a:pt x="1898" y="5140"/>
                    <a:pt x="1751" y="5346"/>
                  </a:cubicBezTo>
                  <a:lnTo>
                    <a:pt x="1779" y="5357"/>
                  </a:lnTo>
                  <a:cubicBezTo>
                    <a:pt x="1845" y="5388"/>
                    <a:pt x="1908" y="5420"/>
                    <a:pt x="1971" y="5455"/>
                  </a:cubicBezTo>
                  <a:cubicBezTo>
                    <a:pt x="2045" y="5500"/>
                    <a:pt x="2125" y="5535"/>
                    <a:pt x="2206" y="5567"/>
                  </a:cubicBezTo>
                  <a:cubicBezTo>
                    <a:pt x="2307" y="5609"/>
                    <a:pt x="2405" y="5654"/>
                    <a:pt x="2503" y="5710"/>
                  </a:cubicBezTo>
                  <a:cubicBezTo>
                    <a:pt x="2560" y="5746"/>
                    <a:pt x="2640" y="5763"/>
                    <a:pt x="2708" y="5763"/>
                  </a:cubicBezTo>
                  <a:cubicBezTo>
                    <a:pt x="2753" y="5763"/>
                    <a:pt x="2793" y="5756"/>
                    <a:pt x="2818" y="5742"/>
                  </a:cubicBezTo>
                  <a:cubicBezTo>
                    <a:pt x="2818" y="5742"/>
                    <a:pt x="2832" y="5731"/>
                    <a:pt x="2832" y="5728"/>
                  </a:cubicBezTo>
                  <a:cubicBezTo>
                    <a:pt x="2829" y="5679"/>
                    <a:pt x="2857" y="5630"/>
                    <a:pt x="2902" y="5612"/>
                  </a:cubicBezTo>
                  <a:cubicBezTo>
                    <a:pt x="2909" y="5609"/>
                    <a:pt x="2916" y="5605"/>
                    <a:pt x="2923" y="5605"/>
                  </a:cubicBezTo>
                  <a:lnTo>
                    <a:pt x="2951" y="5605"/>
                  </a:lnTo>
                  <a:cubicBezTo>
                    <a:pt x="2962" y="5605"/>
                    <a:pt x="2972" y="5605"/>
                    <a:pt x="2983" y="5609"/>
                  </a:cubicBezTo>
                  <a:lnTo>
                    <a:pt x="2986" y="5609"/>
                  </a:lnTo>
                  <a:cubicBezTo>
                    <a:pt x="2997" y="5609"/>
                    <a:pt x="3007" y="5612"/>
                    <a:pt x="3014" y="5616"/>
                  </a:cubicBezTo>
                  <a:lnTo>
                    <a:pt x="3021" y="5616"/>
                  </a:lnTo>
                  <a:cubicBezTo>
                    <a:pt x="3032" y="5619"/>
                    <a:pt x="3039" y="5623"/>
                    <a:pt x="3049" y="5630"/>
                  </a:cubicBezTo>
                  <a:lnTo>
                    <a:pt x="3056" y="5633"/>
                  </a:lnTo>
                  <a:cubicBezTo>
                    <a:pt x="3067" y="5637"/>
                    <a:pt x="3077" y="5644"/>
                    <a:pt x="3084" y="5647"/>
                  </a:cubicBezTo>
                  <a:lnTo>
                    <a:pt x="3091" y="5651"/>
                  </a:lnTo>
                  <a:lnTo>
                    <a:pt x="3119" y="5668"/>
                  </a:lnTo>
                  <a:lnTo>
                    <a:pt x="3123" y="5672"/>
                  </a:lnTo>
                  <a:lnTo>
                    <a:pt x="3147" y="5689"/>
                  </a:lnTo>
                  <a:lnTo>
                    <a:pt x="3154" y="5696"/>
                  </a:lnTo>
                  <a:lnTo>
                    <a:pt x="3179" y="5714"/>
                  </a:lnTo>
                  <a:lnTo>
                    <a:pt x="3182" y="5717"/>
                  </a:lnTo>
                  <a:lnTo>
                    <a:pt x="3203" y="5738"/>
                  </a:lnTo>
                  <a:cubicBezTo>
                    <a:pt x="3256" y="5794"/>
                    <a:pt x="3480" y="5826"/>
                    <a:pt x="3624" y="5847"/>
                  </a:cubicBezTo>
                  <a:cubicBezTo>
                    <a:pt x="3697" y="5857"/>
                    <a:pt x="3767" y="5864"/>
                    <a:pt x="3820" y="5878"/>
                  </a:cubicBezTo>
                  <a:cubicBezTo>
                    <a:pt x="3900" y="5890"/>
                    <a:pt x="3981" y="5897"/>
                    <a:pt x="4062" y="5897"/>
                  </a:cubicBezTo>
                  <a:cubicBezTo>
                    <a:pt x="4100" y="5897"/>
                    <a:pt x="4139" y="5896"/>
                    <a:pt x="4177" y="5892"/>
                  </a:cubicBezTo>
                  <a:lnTo>
                    <a:pt x="4285" y="5892"/>
                  </a:lnTo>
                  <a:cubicBezTo>
                    <a:pt x="4282" y="5875"/>
                    <a:pt x="4278" y="5857"/>
                    <a:pt x="4271" y="5840"/>
                  </a:cubicBezTo>
                  <a:cubicBezTo>
                    <a:pt x="4229" y="5721"/>
                    <a:pt x="4243" y="5588"/>
                    <a:pt x="4310" y="5483"/>
                  </a:cubicBezTo>
                  <a:cubicBezTo>
                    <a:pt x="4397" y="5343"/>
                    <a:pt x="4572" y="5245"/>
                    <a:pt x="4775" y="5213"/>
                  </a:cubicBezTo>
                  <a:cubicBezTo>
                    <a:pt x="4809" y="5208"/>
                    <a:pt x="4846" y="5206"/>
                    <a:pt x="4886" y="5206"/>
                  </a:cubicBezTo>
                  <a:cubicBezTo>
                    <a:pt x="5199" y="5206"/>
                    <a:pt x="5683" y="5351"/>
                    <a:pt x="5826" y="5441"/>
                  </a:cubicBezTo>
                  <a:cubicBezTo>
                    <a:pt x="5868" y="5468"/>
                    <a:pt x="5914" y="5482"/>
                    <a:pt x="5963" y="5482"/>
                  </a:cubicBezTo>
                  <a:cubicBezTo>
                    <a:pt x="6083" y="5482"/>
                    <a:pt x="6220" y="5400"/>
                    <a:pt x="6372" y="5241"/>
                  </a:cubicBezTo>
                  <a:cubicBezTo>
                    <a:pt x="6463" y="5136"/>
                    <a:pt x="6578" y="5059"/>
                    <a:pt x="6704" y="5010"/>
                  </a:cubicBezTo>
                  <a:lnTo>
                    <a:pt x="6704" y="5006"/>
                  </a:lnTo>
                  <a:cubicBezTo>
                    <a:pt x="6711" y="4989"/>
                    <a:pt x="6715" y="4975"/>
                    <a:pt x="6722" y="4957"/>
                  </a:cubicBezTo>
                  <a:lnTo>
                    <a:pt x="6725" y="4943"/>
                  </a:lnTo>
                  <a:cubicBezTo>
                    <a:pt x="6732" y="4926"/>
                    <a:pt x="6739" y="4912"/>
                    <a:pt x="6746" y="4894"/>
                  </a:cubicBezTo>
                  <a:lnTo>
                    <a:pt x="6757" y="4870"/>
                  </a:lnTo>
                  <a:cubicBezTo>
                    <a:pt x="6722" y="4863"/>
                    <a:pt x="6687" y="4863"/>
                    <a:pt x="6655" y="4863"/>
                  </a:cubicBezTo>
                  <a:cubicBezTo>
                    <a:pt x="6624" y="4863"/>
                    <a:pt x="6592" y="4863"/>
                    <a:pt x="6561" y="4856"/>
                  </a:cubicBezTo>
                  <a:cubicBezTo>
                    <a:pt x="6480" y="4849"/>
                    <a:pt x="6407" y="4800"/>
                    <a:pt x="6368" y="4726"/>
                  </a:cubicBezTo>
                  <a:cubicBezTo>
                    <a:pt x="6333" y="4649"/>
                    <a:pt x="6344" y="4558"/>
                    <a:pt x="6393" y="4488"/>
                  </a:cubicBezTo>
                  <a:cubicBezTo>
                    <a:pt x="6414" y="4453"/>
                    <a:pt x="6414" y="4453"/>
                    <a:pt x="6354" y="4404"/>
                  </a:cubicBezTo>
                  <a:cubicBezTo>
                    <a:pt x="6305" y="4369"/>
                    <a:pt x="6267" y="4327"/>
                    <a:pt x="6235" y="4278"/>
                  </a:cubicBezTo>
                  <a:cubicBezTo>
                    <a:pt x="6207" y="4236"/>
                    <a:pt x="6179" y="4184"/>
                    <a:pt x="6204" y="4135"/>
                  </a:cubicBezTo>
                  <a:cubicBezTo>
                    <a:pt x="6228" y="4093"/>
                    <a:pt x="6270" y="4065"/>
                    <a:pt x="6319" y="4065"/>
                  </a:cubicBezTo>
                  <a:cubicBezTo>
                    <a:pt x="6337" y="4061"/>
                    <a:pt x="6354" y="4058"/>
                    <a:pt x="6368" y="4051"/>
                  </a:cubicBezTo>
                  <a:cubicBezTo>
                    <a:pt x="6393" y="4037"/>
                    <a:pt x="6414" y="4016"/>
                    <a:pt x="6431" y="3991"/>
                  </a:cubicBezTo>
                  <a:cubicBezTo>
                    <a:pt x="6442" y="3974"/>
                    <a:pt x="6452" y="3956"/>
                    <a:pt x="6459" y="3939"/>
                  </a:cubicBezTo>
                  <a:cubicBezTo>
                    <a:pt x="6410" y="3900"/>
                    <a:pt x="6319" y="3802"/>
                    <a:pt x="6382" y="3603"/>
                  </a:cubicBezTo>
                  <a:cubicBezTo>
                    <a:pt x="6400" y="3554"/>
                    <a:pt x="6389" y="3540"/>
                    <a:pt x="6354" y="3501"/>
                  </a:cubicBezTo>
                  <a:cubicBezTo>
                    <a:pt x="6312" y="3463"/>
                    <a:pt x="6288" y="3410"/>
                    <a:pt x="6284" y="3354"/>
                  </a:cubicBezTo>
                  <a:cubicBezTo>
                    <a:pt x="6284" y="3337"/>
                    <a:pt x="6277" y="3323"/>
                    <a:pt x="6263" y="3316"/>
                  </a:cubicBezTo>
                  <a:cubicBezTo>
                    <a:pt x="6259" y="3314"/>
                    <a:pt x="6254" y="3313"/>
                    <a:pt x="6248" y="3313"/>
                  </a:cubicBezTo>
                  <a:cubicBezTo>
                    <a:pt x="6225" y="3313"/>
                    <a:pt x="6192" y="3327"/>
                    <a:pt x="6158" y="3372"/>
                  </a:cubicBezTo>
                  <a:cubicBezTo>
                    <a:pt x="6112" y="3428"/>
                    <a:pt x="6068" y="3456"/>
                    <a:pt x="6027" y="3456"/>
                  </a:cubicBezTo>
                  <a:cubicBezTo>
                    <a:pt x="6012" y="3456"/>
                    <a:pt x="5997" y="3453"/>
                    <a:pt x="5983" y="3445"/>
                  </a:cubicBezTo>
                  <a:cubicBezTo>
                    <a:pt x="5966" y="3435"/>
                    <a:pt x="5952" y="3421"/>
                    <a:pt x="5945" y="3403"/>
                  </a:cubicBezTo>
                  <a:cubicBezTo>
                    <a:pt x="5941" y="3400"/>
                    <a:pt x="5941" y="3396"/>
                    <a:pt x="5941" y="3389"/>
                  </a:cubicBezTo>
                  <a:cubicBezTo>
                    <a:pt x="5938" y="3386"/>
                    <a:pt x="5934" y="3379"/>
                    <a:pt x="5934" y="3375"/>
                  </a:cubicBezTo>
                  <a:cubicBezTo>
                    <a:pt x="5920" y="3319"/>
                    <a:pt x="5934" y="3235"/>
                    <a:pt x="5969" y="3127"/>
                  </a:cubicBezTo>
                  <a:cubicBezTo>
                    <a:pt x="6008" y="3032"/>
                    <a:pt x="6064" y="2948"/>
                    <a:pt x="6141" y="2881"/>
                  </a:cubicBezTo>
                  <a:cubicBezTo>
                    <a:pt x="6165" y="2857"/>
                    <a:pt x="6186" y="2839"/>
                    <a:pt x="6207" y="2822"/>
                  </a:cubicBezTo>
                  <a:cubicBezTo>
                    <a:pt x="6260" y="2776"/>
                    <a:pt x="6312" y="2727"/>
                    <a:pt x="6319" y="2696"/>
                  </a:cubicBezTo>
                  <a:cubicBezTo>
                    <a:pt x="6323" y="2689"/>
                    <a:pt x="6323" y="2678"/>
                    <a:pt x="6326" y="2668"/>
                  </a:cubicBezTo>
                  <a:lnTo>
                    <a:pt x="6326" y="2664"/>
                  </a:lnTo>
                  <a:cubicBezTo>
                    <a:pt x="6330" y="2657"/>
                    <a:pt x="6333" y="2650"/>
                    <a:pt x="6337" y="2643"/>
                  </a:cubicBezTo>
                  <a:lnTo>
                    <a:pt x="6337" y="2640"/>
                  </a:lnTo>
                  <a:cubicBezTo>
                    <a:pt x="6340" y="2633"/>
                    <a:pt x="6344" y="2622"/>
                    <a:pt x="6347" y="2615"/>
                  </a:cubicBezTo>
                  <a:lnTo>
                    <a:pt x="6351" y="2608"/>
                  </a:lnTo>
                  <a:cubicBezTo>
                    <a:pt x="6354" y="2605"/>
                    <a:pt x="6358" y="2598"/>
                    <a:pt x="6361" y="2591"/>
                  </a:cubicBezTo>
                  <a:lnTo>
                    <a:pt x="6365" y="2584"/>
                  </a:lnTo>
                  <a:cubicBezTo>
                    <a:pt x="6368" y="2580"/>
                    <a:pt x="6375" y="2573"/>
                    <a:pt x="6379" y="2566"/>
                  </a:cubicBezTo>
                  <a:lnTo>
                    <a:pt x="6382" y="2559"/>
                  </a:lnTo>
                  <a:lnTo>
                    <a:pt x="6396" y="2545"/>
                  </a:lnTo>
                  <a:lnTo>
                    <a:pt x="6403" y="2538"/>
                  </a:lnTo>
                  <a:lnTo>
                    <a:pt x="6421" y="2521"/>
                  </a:lnTo>
                  <a:lnTo>
                    <a:pt x="6428" y="2514"/>
                  </a:lnTo>
                  <a:lnTo>
                    <a:pt x="6442" y="2500"/>
                  </a:lnTo>
                  <a:lnTo>
                    <a:pt x="6452" y="2496"/>
                  </a:lnTo>
                  <a:lnTo>
                    <a:pt x="6466" y="2482"/>
                  </a:lnTo>
                  <a:lnTo>
                    <a:pt x="6477" y="2475"/>
                  </a:lnTo>
                  <a:lnTo>
                    <a:pt x="6491" y="2465"/>
                  </a:lnTo>
                  <a:lnTo>
                    <a:pt x="6501" y="2458"/>
                  </a:lnTo>
                  <a:lnTo>
                    <a:pt x="6519" y="2451"/>
                  </a:lnTo>
                  <a:lnTo>
                    <a:pt x="6529" y="2444"/>
                  </a:lnTo>
                  <a:lnTo>
                    <a:pt x="6547" y="2437"/>
                  </a:lnTo>
                  <a:lnTo>
                    <a:pt x="6557" y="2433"/>
                  </a:lnTo>
                  <a:lnTo>
                    <a:pt x="6575" y="2426"/>
                  </a:lnTo>
                  <a:lnTo>
                    <a:pt x="6585" y="2423"/>
                  </a:lnTo>
                  <a:lnTo>
                    <a:pt x="6603" y="2419"/>
                  </a:lnTo>
                  <a:lnTo>
                    <a:pt x="6655" y="2419"/>
                  </a:lnTo>
                  <a:cubicBezTo>
                    <a:pt x="6662" y="2409"/>
                    <a:pt x="6666" y="2398"/>
                    <a:pt x="6669" y="2384"/>
                  </a:cubicBezTo>
                  <a:cubicBezTo>
                    <a:pt x="6683" y="2332"/>
                    <a:pt x="6690" y="2279"/>
                    <a:pt x="6694" y="2227"/>
                  </a:cubicBezTo>
                  <a:cubicBezTo>
                    <a:pt x="6697" y="2174"/>
                    <a:pt x="6704" y="2122"/>
                    <a:pt x="6715" y="2069"/>
                  </a:cubicBezTo>
                  <a:cubicBezTo>
                    <a:pt x="6715" y="2066"/>
                    <a:pt x="6715" y="2062"/>
                    <a:pt x="6715" y="2055"/>
                  </a:cubicBezTo>
                  <a:lnTo>
                    <a:pt x="6725" y="2020"/>
                  </a:lnTo>
                  <a:cubicBezTo>
                    <a:pt x="6760" y="1866"/>
                    <a:pt x="6795" y="1709"/>
                    <a:pt x="6956" y="1572"/>
                  </a:cubicBezTo>
                  <a:cubicBezTo>
                    <a:pt x="6991" y="1544"/>
                    <a:pt x="6995" y="1530"/>
                    <a:pt x="6995" y="1530"/>
                  </a:cubicBezTo>
                  <a:cubicBezTo>
                    <a:pt x="6967" y="1513"/>
                    <a:pt x="6935" y="1506"/>
                    <a:pt x="6907" y="1506"/>
                  </a:cubicBezTo>
                  <a:cubicBezTo>
                    <a:pt x="6902" y="1506"/>
                    <a:pt x="6897" y="1506"/>
                    <a:pt x="6892" y="1506"/>
                  </a:cubicBezTo>
                  <a:cubicBezTo>
                    <a:pt x="6845" y="1506"/>
                    <a:pt x="6799" y="1492"/>
                    <a:pt x="6764" y="1460"/>
                  </a:cubicBezTo>
                  <a:cubicBezTo>
                    <a:pt x="6718" y="1429"/>
                    <a:pt x="6662" y="1411"/>
                    <a:pt x="6603" y="1408"/>
                  </a:cubicBezTo>
                  <a:cubicBezTo>
                    <a:pt x="6599" y="1408"/>
                    <a:pt x="6596" y="1408"/>
                    <a:pt x="6592" y="1408"/>
                  </a:cubicBezTo>
                  <a:cubicBezTo>
                    <a:pt x="6438" y="1408"/>
                    <a:pt x="6293" y="1335"/>
                    <a:pt x="6200" y="1212"/>
                  </a:cubicBezTo>
                  <a:cubicBezTo>
                    <a:pt x="6197" y="1212"/>
                    <a:pt x="6197" y="1208"/>
                    <a:pt x="6193" y="1208"/>
                  </a:cubicBezTo>
                  <a:cubicBezTo>
                    <a:pt x="6169" y="1191"/>
                    <a:pt x="6141" y="1177"/>
                    <a:pt x="6113" y="1173"/>
                  </a:cubicBezTo>
                  <a:cubicBezTo>
                    <a:pt x="6014" y="1145"/>
                    <a:pt x="5913" y="1134"/>
                    <a:pt x="5814" y="1134"/>
                  </a:cubicBezTo>
                  <a:cubicBezTo>
                    <a:pt x="5800" y="1134"/>
                    <a:pt x="5787" y="1134"/>
                    <a:pt x="5773" y="1135"/>
                  </a:cubicBezTo>
                  <a:cubicBezTo>
                    <a:pt x="5745" y="1135"/>
                    <a:pt x="5721" y="1135"/>
                    <a:pt x="5693" y="1142"/>
                  </a:cubicBezTo>
                  <a:lnTo>
                    <a:pt x="5654" y="1142"/>
                  </a:lnTo>
                  <a:cubicBezTo>
                    <a:pt x="5647" y="1142"/>
                    <a:pt x="5637" y="1142"/>
                    <a:pt x="5630" y="1138"/>
                  </a:cubicBezTo>
                  <a:lnTo>
                    <a:pt x="5623" y="1138"/>
                  </a:lnTo>
                  <a:cubicBezTo>
                    <a:pt x="5616" y="1138"/>
                    <a:pt x="5609" y="1135"/>
                    <a:pt x="5602" y="1131"/>
                  </a:cubicBezTo>
                  <a:lnTo>
                    <a:pt x="5595" y="1128"/>
                  </a:lnTo>
                  <a:cubicBezTo>
                    <a:pt x="5588" y="1124"/>
                    <a:pt x="5581" y="1121"/>
                    <a:pt x="5574" y="1117"/>
                  </a:cubicBezTo>
                  <a:lnTo>
                    <a:pt x="5567" y="1110"/>
                  </a:lnTo>
                  <a:lnTo>
                    <a:pt x="5553" y="1096"/>
                  </a:lnTo>
                  <a:lnTo>
                    <a:pt x="5546" y="1093"/>
                  </a:lnTo>
                  <a:lnTo>
                    <a:pt x="5532" y="1075"/>
                  </a:lnTo>
                  <a:lnTo>
                    <a:pt x="5525" y="1072"/>
                  </a:lnTo>
                  <a:lnTo>
                    <a:pt x="5511" y="1054"/>
                  </a:lnTo>
                  <a:lnTo>
                    <a:pt x="5507" y="1047"/>
                  </a:lnTo>
                  <a:lnTo>
                    <a:pt x="5490" y="1026"/>
                  </a:lnTo>
                  <a:cubicBezTo>
                    <a:pt x="5460" y="986"/>
                    <a:pt x="5439" y="959"/>
                    <a:pt x="5420" y="959"/>
                  </a:cubicBezTo>
                  <a:cubicBezTo>
                    <a:pt x="5418" y="959"/>
                    <a:pt x="5417" y="959"/>
                    <a:pt x="5416" y="960"/>
                  </a:cubicBezTo>
                  <a:cubicBezTo>
                    <a:pt x="5404" y="962"/>
                    <a:pt x="5391" y="963"/>
                    <a:pt x="5379" y="963"/>
                  </a:cubicBezTo>
                  <a:cubicBezTo>
                    <a:pt x="5343" y="963"/>
                    <a:pt x="5309" y="952"/>
                    <a:pt x="5283" y="928"/>
                  </a:cubicBezTo>
                  <a:cubicBezTo>
                    <a:pt x="5265" y="917"/>
                    <a:pt x="5251" y="900"/>
                    <a:pt x="5241" y="886"/>
                  </a:cubicBezTo>
                  <a:cubicBezTo>
                    <a:pt x="5209" y="833"/>
                    <a:pt x="5192" y="777"/>
                    <a:pt x="5185" y="718"/>
                  </a:cubicBezTo>
                  <a:lnTo>
                    <a:pt x="5174" y="728"/>
                  </a:lnTo>
                  <a:cubicBezTo>
                    <a:pt x="5129" y="767"/>
                    <a:pt x="5080" y="798"/>
                    <a:pt x="5031" y="826"/>
                  </a:cubicBezTo>
                  <a:cubicBezTo>
                    <a:pt x="5011" y="836"/>
                    <a:pt x="4989" y="840"/>
                    <a:pt x="4968" y="840"/>
                  </a:cubicBezTo>
                  <a:cubicBezTo>
                    <a:pt x="4949" y="840"/>
                    <a:pt x="4930" y="837"/>
                    <a:pt x="4912" y="830"/>
                  </a:cubicBezTo>
                  <a:lnTo>
                    <a:pt x="4898" y="823"/>
                  </a:lnTo>
                  <a:cubicBezTo>
                    <a:pt x="4849" y="791"/>
                    <a:pt x="4814" y="739"/>
                    <a:pt x="4800" y="679"/>
                  </a:cubicBezTo>
                  <a:cubicBezTo>
                    <a:pt x="4793" y="651"/>
                    <a:pt x="4786" y="627"/>
                    <a:pt x="4782" y="599"/>
                  </a:cubicBezTo>
                  <a:cubicBezTo>
                    <a:pt x="4761" y="571"/>
                    <a:pt x="4649" y="518"/>
                    <a:pt x="4590" y="490"/>
                  </a:cubicBezTo>
                  <a:cubicBezTo>
                    <a:pt x="4548" y="473"/>
                    <a:pt x="4506" y="452"/>
                    <a:pt x="4474" y="434"/>
                  </a:cubicBezTo>
                  <a:cubicBezTo>
                    <a:pt x="4425" y="403"/>
                    <a:pt x="4380" y="368"/>
                    <a:pt x="4338" y="322"/>
                  </a:cubicBezTo>
                  <a:cubicBezTo>
                    <a:pt x="4317" y="301"/>
                    <a:pt x="4292" y="280"/>
                    <a:pt x="4268" y="259"/>
                  </a:cubicBezTo>
                  <a:cubicBezTo>
                    <a:pt x="4251" y="282"/>
                    <a:pt x="4225" y="293"/>
                    <a:pt x="4198" y="293"/>
                  </a:cubicBezTo>
                  <a:cubicBezTo>
                    <a:pt x="4191" y="293"/>
                    <a:pt x="4184" y="292"/>
                    <a:pt x="4177" y="291"/>
                  </a:cubicBezTo>
                  <a:cubicBezTo>
                    <a:pt x="4079" y="273"/>
                    <a:pt x="3981" y="95"/>
                    <a:pt x="3967" y="11"/>
                  </a:cubicBezTo>
                  <a:lnTo>
                    <a:pt x="3956" y="7"/>
                  </a:lnTo>
                  <a:lnTo>
                    <a:pt x="3953" y="4"/>
                  </a:lnTo>
                  <a:lnTo>
                    <a:pt x="3942"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907" name="Google Shape;4907;p104"/>
            <p:cNvSpPr/>
            <p:nvPr/>
          </p:nvSpPr>
          <p:spPr>
            <a:xfrm>
              <a:off x="2113407" y="1701277"/>
              <a:ext cx="5580" cy="11812"/>
            </a:xfrm>
            <a:custGeom>
              <a:avLst/>
              <a:gdLst/>
              <a:ahLst/>
              <a:cxnLst/>
              <a:rect l="l" t="t" r="r" b="b"/>
              <a:pathLst>
                <a:path w="411" h="870" extrusionOk="0">
                  <a:moveTo>
                    <a:pt x="362" y="1"/>
                  </a:moveTo>
                  <a:lnTo>
                    <a:pt x="362" y="1"/>
                  </a:lnTo>
                  <a:cubicBezTo>
                    <a:pt x="351" y="11"/>
                    <a:pt x="337" y="29"/>
                    <a:pt x="327" y="39"/>
                  </a:cubicBezTo>
                  <a:cubicBezTo>
                    <a:pt x="260" y="130"/>
                    <a:pt x="176" y="204"/>
                    <a:pt x="81" y="263"/>
                  </a:cubicBezTo>
                  <a:cubicBezTo>
                    <a:pt x="1" y="312"/>
                    <a:pt x="8" y="484"/>
                    <a:pt x="57" y="624"/>
                  </a:cubicBezTo>
                  <a:cubicBezTo>
                    <a:pt x="107" y="761"/>
                    <a:pt x="196" y="870"/>
                    <a:pt x="259" y="870"/>
                  </a:cubicBezTo>
                  <a:cubicBezTo>
                    <a:pt x="261" y="870"/>
                    <a:pt x="264" y="869"/>
                    <a:pt x="267" y="869"/>
                  </a:cubicBezTo>
                  <a:cubicBezTo>
                    <a:pt x="281" y="869"/>
                    <a:pt x="302" y="844"/>
                    <a:pt x="320" y="809"/>
                  </a:cubicBezTo>
                  <a:cubicBezTo>
                    <a:pt x="411" y="610"/>
                    <a:pt x="397" y="141"/>
                    <a:pt x="362" y="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908" name="Google Shape;4908;p104"/>
            <p:cNvSpPr/>
            <p:nvPr/>
          </p:nvSpPr>
          <p:spPr>
            <a:xfrm>
              <a:off x="2091696" y="1640056"/>
              <a:ext cx="4616" cy="543"/>
            </a:xfrm>
            <a:custGeom>
              <a:avLst/>
              <a:gdLst/>
              <a:ahLst/>
              <a:cxnLst/>
              <a:rect l="l" t="t" r="r" b="b"/>
              <a:pathLst>
                <a:path w="340" h="40" extrusionOk="0">
                  <a:moveTo>
                    <a:pt x="34" y="0"/>
                  </a:moveTo>
                  <a:cubicBezTo>
                    <a:pt x="23" y="0"/>
                    <a:pt x="11" y="0"/>
                    <a:pt x="0" y="1"/>
                  </a:cubicBezTo>
                  <a:lnTo>
                    <a:pt x="46" y="1"/>
                  </a:lnTo>
                  <a:cubicBezTo>
                    <a:pt x="133" y="4"/>
                    <a:pt x="221" y="11"/>
                    <a:pt x="305" y="32"/>
                  </a:cubicBezTo>
                  <a:lnTo>
                    <a:pt x="340" y="39"/>
                  </a:lnTo>
                  <a:cubicBezTo>
                    <a:pt x="239" y="14"/>
                    <a:pt x="135" y="0"/>
                    <a:pt x="34"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909" name="Google Shape;4909;p104"/>
            <p:cNvSpPr/>
            <p:nvPr/>
          </p:nvSpPr>
          <p:spPr>
            <a:xfrm>
              <a:off x="2083563" y="1634394"/>
              <a:ext cx="149" cy="109"/>
            </a:xfrm>
            <a:custGeom>
              <a:avLst/>
              <a:gdLst/>
              <a:ahLst/>
              <a:cxnLst/>
              <a:rect l="l" t="t" r="r" b="b"/>
              <a:pathLst>
                <a:path w="11" h="8" extrusionOk="0">
                  <a:moveTo>
                    <a:pt x="11" y="1"/>
                  </a:moveTo>
                  <a:lnTo>
                    <a:pt x="0" y="8"/>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910" name="Google Shape;4910;p104"/>
            <p:cNvSpPr/>
            <p:nvPr/>
          </p:nvSpPr>
          <p:spPr>
            <a:xfrm>
              <a:off x="2066972" y="1624699"/>
              <a:ext cx="68" cy="68"/>
            </a:xfrm>
            <a:custGeom>
              <a:avLst/>
              <a:gdLst/>
              <a:ahLst/>
              <a:cxnLst/>
              <a:rect l="l" t="t" r="r" b="b"/>
              <a:pathLst>
                <a:path w="5" h="5" extrusionOk="0">
                  <a:moveTo>
                    <a:pt x="1" y="1"/>
                  </a:moveTo>
                  <a:lnTo>
                    <a:pt x="4" y="4"/>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911" name="Google Shape;4911;p104"/>
            <p:cNvSpPr/>
            <p:nvPr/>
          </p:nvSpPr>
          <p:spPr>
            <a:xfrm>
              <a:off x="2087840" y="1638630"/>
              <a:ext cx="244" cy="299"/>
            </a:xfrm>
            <a:custGeom>
              <a:avLst/>
              <a:gdLst/>
              <a:ahLst/>
              <a:cxnLst/>
              <a:rect l="l" t="t" r="r" b="b"/>
              <a:pathLst>
                <a:path w="18" h="22" extrusionOk="0">
                  <a:moveTo>
                    <a:pt x="1" y="1"/>
                  </a:moveTo>
                  <a:lnTo>
                    <a:pt x="18" y="22"/>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912" name="Google Shape;4912;p104"/>
            <p:cNvSpPr/>
            <p:nvPr/>
          </p:nvSpPr>
          <p:spPr>
            <a:xfrm>
              <a:off x="2089741" y="1640151"/>
              <a:ext cx="353" cy="109"/>
            </a:xfrm>
            <a:custGeom>
              <a:avLst/>
              <a:gdLst/>
              <a:ahLst/>
              <a:cxnLst/>
              <a:rect l="l" t="t" r="r" b="b"/>
              <a:pathLst>
                <a:path w="26" h="8" extrusionOk="0">
                  <a:moveTo>
                    <a:pt x="1" y="1"/>
                  </a:moveTo>
                  <a:cubicBezTo>
                    <a:pt x="8" y="4"/>
                    <a:pt x="18" y="4"/>
                    <a:pt x="25" y="8"/>
                  </a:cubicBezTo>
                  <a:cubicBezTo>
                    <a:pt x="18" y="4"/>
                    <a:pt x="8" y="4"/>
                    <a:pt x="1" y="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913" name="Google Shape;4913;p104"/>
            <p:cNvSpPr/>
            <p:nvPr/>
          </p:nvSpPr>
          <p:spPr>
            <a:xfrm>
              <a:off x="2089361" y="1640015"/>
              <a:ext cx="299" cy="149"/>
            </a:xfrm>
            <a:custGeom>
              <a:avLst/>
              <a:gdLst/>
              <a:ahLst/>
              <a:cxnLst/>
              <a:rect l="l" t="t" r="r" b="b"/>
              <a:pathLst>
                <a:path w="22" h="11" extrusionOk="0">
                  <a:moveTo>
                    <a:pt x="1" y="0"/>
                  </a:moveTo>
                  <a:cubicBezTo>
                    <a:pt x="8" y="4"/>
                    <a:pt x="15" y="7"/>
                    <a:pt x="22" y="11"/>
                  </a:cubicBezTo>
                  <a:cubicBezTo>
                    <a:pt x="15" y="7"/>
                    <a:pt x="8" y="4"/>
                    <a:pt x="1"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914" name="Google Shape;4914;p104"/>
            <p:cNvSpPr/>
            <p:nvPr/>
          </p:nvSpPr>
          <p:spPr>
            <a:xfrm>
              <a:off x="2079992" y="1635819"/>
              <a:ext cx="1629" cy="299"/>
            </a:xfrm>
            <a:custGeom>
              <a:avLst/>
              <a:gdLst/>
              <a:ahLst/>
              <a:cxnLst/>
              <a:rect l="l" t="t" r="r" b="b"/>
              <a:pathLst>
                <a:path w="120" h="22" extrusionOk="0">
                  <a:moveTo>
                    <a:pt x="120" y="1"/>
                  </a:moveTo>
                  <a:cubicBezTo>
                    <a:pt x="81" y="22"/>
                    <a:pt x="39" y="22"/>
                    <a:pt x="1" y="8"/>
                  </a:cubicBezTo>
                  <a:cubicBezTo>
                    <a:pt x="39" y="22"/>
                    <a:pt x="81" y="22"/>
                    <a:pt x="120" y="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915" name="Google Shape;4915;p104"/>
            <p:cNvSpPr/>
            <p:nvPr/>
          </p:nvSpPr>
          <p:spPr>
            <a:xfrm>
              <a:off x="2088411" y="1639295"/>
              <a:ext cx="204" cy="204"/>
            </a:xfrm>
            <a:custGeom>
              <a:avLst/>
              <a:gdLst/>
              <a:ahLst/>
              <a:cxnLst/>
              <a:rect l="l" t="t" r="r" b="b"/>
              <a:pathLst>
                <a:path w="15" h="15" extrusionOk="0">
                  <a:moveTo>
                    <a:pt x="15" y="15"/>
                  </a:moveTo>
                  <a:lnTo>
                    <a:pt x="1"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916" name="Google Shape;4916;p104"/>
            <p:cNvSpPr/>
            <p:nvPr/>
          </p:nvSpPr>
          <p:spPr>
            <a:xfrm>
              <a:off x="2088981" y="1639825"/>
              <a:ext cx="299" cy="149"/>
            </a:xfrm>
            <a:custGeom>
              <a:avLst/>
              <a:gdLst/>
              <a:ahLst/>
              <a:cxnLst/>
              <a:rect l="l" t="t" r="r" b="b"/>
              <a:pathLst>
                <a:path w="22" h="11" extrusionOk="0">
                  <a:moveTo>
                    <a:pt x="1" y="0"/>
                  </a:moveTo>
                  <a:cubicBezTo>
                    <a:pt x="8" y="4"/>
                    <a:pt x="15" y="7"/>
                    <a:pt x="22" y="11"/>
                  </a:cubicBezTo>
                  <a:cubicBezTo>
                    <a:pt x="15" y="7"/>
                    <a:pt x="8" y="4"/>
                    <a:pt x="1"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917" name="Google Shape;4917;p104"/>
            <p:cNvSpPr/>
            <p:nvPr/>
          </p:nvSpPr>
          <p:spPr>
            <a:xfrm>
              <a:off x="2090121" y="1640110"/>
              <a:ext cx="1589" cy="109"/>
            </a:xfrm>
            <a:custGeom>
              <a:avLst/>
              <a:gdLst/>
              <a:ahLst/>
              <a:cxnLst/>
              <a:rect l="l" t="t" r="r" b="b"/>
              <a:pathLst>
                <a:path w="117" h="8" extrusionOk="0">
                  <a:moveTo>
                    <a:pt x="81" y="0"/>
                  </a:moveTo>
                  <a:cubicBezTo>
                    <a:pt x="67" y="0"/>
                    <a:pt x="53" y="4"/>
                    <a:pt x="36" y="4"/>
                  </a:cubicBezTo>
                  <a:cubicBezTo>
                    <a:pt x="25" y="7"/>
                    <a:pt x="15" y="7"/>
                    <a:pt x="1" y="7"/>
                  </a:cubicBezTo>
                  <a:lnTo>
                    <a:pt x="39" y="7"/>
                  </a:lnTo>
                  <a:cubicBezTo>
                    <a:pt x="64" y="4"/>
                    <a:pt x="88" y="0"/>
                    <a:pt x="116"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918" name="Google Shape;4918;p104"/>
            <p:cNvSpPr/>
            <p:nvPr/>
          </p:nvSpPr>
          <p:spPr>
            <a:xfrm>
              <a:off x="2088125" y="1638969"/>
              <a:ext cx="204" cy="244"/>
            </a:xfrm>
            <a:custGeom>
              <a:avLst/>
              <a:gdLst/>
              <a:ahLst/>
              <a:cxnLst/>
              <a:rect l="l" t="t" r="r" b="b"/>
              <a:pathLst>
                <a:path w="15" h="18" extrusionOk="0">
                  <a:moveTo>
                    <a:pt x="1" y="0"/>
                  </a:moveTo>
                  <a:lnTo>
                    <a:pt x="15" y="18"/>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919" name="Google Shape;4919;p104"/>
            <p:cNvSpPr/>
            <p:nvPr/>
          </p:nvSpPr>
          <p:spPr>
            <a:xfrm>
              <a:off x="2088696" y="1639580"/>
              <a:ext cx="258" cy="204"/>
            </a:xfrm>
            <a:custGeom>
              <a:avLst/>
              <a:gdLst/>
              <a:ahLst/>
              <a:cxnLst/>
              <a:rect l="l" t="t" r="r" b="b"/>
              <a:pathLst>
                <a:path w="19" h="15" extrusionOk="0">
                  <a:moveTo>
                    <a:pt x="1" y="1"/>
                  </a:moveTo>
                  <a:lnTo>
                    <a:pt x="18" y="15"/>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920" name="Google Shape;4920;p104"/>
            <p:cNvSpPr/>
            <p:nvPr/>
          </p:nvSpPr>
          <p:spPr>
            <a:xfrm>
              <a:off x="2091221" y="1640056"/>
              <a:ext cx="1100" cy="68"/>
            </a:xfrm>
            <a:custGeom>
              <a:avLst/>
              <a:gdLst/>
              <a:ahLst/>
              <a:cxnLst/>
              <a:rect l="l" t="t" r="r" b="b"/>
              <a:pathLst>
                <a:path w="81" h="5" extrusionOk="0">
                  <a:moveTo>
                    <a:pt x="81" y="1"/>
                  </a:moveTo>
                  <a:cubicBezTo>
                    <a:pt x="56" y="1"/>
                    <a:pt x="28" y="1"/>
                    <a:pt x="0" y="4"/>
                  </a:cubicBezTo>
                  <a:lnTo>
                    <a:pt x="35" y="4"/>
                  </a:lnTo>
                  <a:lnTo>
                    <a:pt x="81"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921" name="Google Shape;4921;p104"/>
            <p:cNvSpPr/>
            <p:nvPr/>
          </p:nvSpPr>
          <p:spPr>
            <a:xfrm>
              <a:off x="2093923" y="1670524"/>
              <a:ext cx="109" cy="258"/>
            </a:xfrm>
            <a:custGeom>
              <a:avLst/>
              <a:gdLst/>
              <a:ahLst/>
              <a:cxnLst/>
              <a:rect l="l" t="t" r="r" b="b"/>
              <a:pathLst>
                <a:path w="8" h="19" extrusionOk="0">
                  <a:moveTo>
                    <a:pt x="8" y="18"/>
                  </a:moveTo>
                  <a:cubicBezTo>
                    <a:pt x="4" y="11"/>
                    <a:pt x="1" y="8"/>
                    <a:pt x="1" y="1"/>
                  </a:cubicBezTo>
                  <a:cubicBezTo>
                    <a:pt x="1" y="8"/>
                    <a:pt x="4" y="11"/>
                    <a:pt x="8" y="18"/>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922" name="Google Shape;4922;p104"/>
            <p:cNvSpPr/>
            <p:nvPr/>
          </p:nvSpPr>
          <p:spPr>
            <a:xfrm>
              <a:off x="2103767" y="1657068"/>
              <a:ext cx="204" cy="448"/>
            </a:xfrm>
            <a:custGeom>
              <a:avLst/>
              <a:gdLst/>
              <a:ahLst/>
              <a:cxnLst/>
              <a:rect l="l" t="t" r="r" b="b"/>
              <a:pathLst>
                <a:path w="15" h="33" extrusionOk="0">
                  <a:moveTo>
                    <a:pt x="14" y="1"/>
                  </a:moveTo>
                  <a:lnTo>
                    <a:pt x="9" y="18"/>
                  </a:lnTo>
                  <a:lnTo>
                    <a:pt x="9" y="18"/>
                  </a:lnTo>
                  <a:cubicBezTo>
                    <a:pt x="11" y="12"/>
                    <a:pt x="13" y="6"/>
                    <a:pt x="14" y="1"/>
                  </a:cubicBezTo>
                  <a:close/>
                  <a:moveTo>
                    <a:pt x="9" y="18"/>
                  </a:moveTo>
                  <a:cubicBezTo>
                    <a:pt x="6" y="24"/>
                    <a:pt x="4" y="29"/>
                    <a:pt x="0" y="32"/>
                  </a:cubicBezTo>
                  <a:cubicBezTo>
                    <a:pt x="4" y="29"/>
                    <a:pt x="7" y="25"/>
                    <a:pt x="7" y="22"/>
                  </a:cubicBezTo>
                  <a:lnTo>
                    <a:pt x="9" y="18"/>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923" name="Google Shape;4923;p104"/>
            <p:cNvSpPr/>
            <p:nvPr/>
          </p:nvSpPr>
          <p:spPr>
            <a:xfrm>
              <a:off x="2101676" y="1658019"/>
              <a:ext cx="244" cy="163"/>
            </a:xfrm>
            <a:custGeom>
              <a:avLst/>
              <a:gdLst/>
              <a:ahLst/>
              <a:cxnLst/>
              <a:rect l="l" t="t" r="r" b="b"/>
              <a:pathLst>
                <a:path w="18" h="12" extrusionOk="0">
                  <a:moveTo>
                    <a:pt x="0" y="11"/>
                  </a:moveTo>
                  <a:lnTo>
                    <a:pt x="18"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924" name="Google Shape;4924;p104"/>
            <p:cNvSpPr/>
            <p:nvPr/>
          </p:nvSpPr>
          <p:spPr>
            <a:xfrm>
              <a:off x="2099585" y="1672289"/>
              <a:ext cx="502" cy="1385"/>
            </a:xfrm>
            <a:custGeom>
              <a:avLst/>
              <a:gdLst/>
              <a:ahLst/>
              <a:cxnLst/>
              <a:rect l="l" t="t" r="r" b="b"/>
              <a:pathLst>
                <a:path w="37" h="102" extrusionOk="0">
                  <a:moveTo>
                    <a:pt x="0" y="0"/>
                  </a:moveTo>
                  <a:lnTo>
                    <a:pt x="0" y="0"/>
                  </a:lnTo>
                  <a:cubicBezTo>
                    <a:pt x="24" y="26"/>
                    <a:pt x="36" y="41"/>
                    <a:pt x="37" y="62"/>
                  </a:cubicBezTo>
                  <a:lnTo>
                    <a:pt x="37" y="62"/>
                  </a:lnTo>
                  <a:cubicBezTo>
                    <a:pt x="37" y="40"/>
                    <a:pt x="24" y="26"/>
                    <a:pt x="0" y="0"/>
                  </a:cubicBezTo>
                  <a:close/>
                  <a:moveTo>
                    <a:pt x="37" y="62"/>
                  </a:moveTo>
                  <a:lnTo>
                    <a:pt x="37" y="62"/>
                  </a:lnTo>
                  <a:cubicBezTo>
                    <a:pt x="37" y="64"/>
                    <a:pt x="36" y="67"/>
                    <a:pt x="36" y="69"/>
                  </a:cubicBezTo>
                  <a:lnTo>
                    <a:pt x="36" y="69"/>
                  </a:lnTo>
                  <a:cubicBezTo>
                    <a:pt x="36" y="67"/>
                    <a:pt x="37" y="64"/>
                    <a:pt x="37" y="62"/>
                  </a:cubicBezTo>
                  <a:close/>
                  <a:moveTo>
                    <a:pt x="36" y="69"/>
                  </a:moveTo>
                  <a:cubicBezTo>
                    <a:pt x="35" y="77"/>
                    <a:pt x="33" y="87"/>
                    <a:pt x="28" y="98"/>
                  </a:cubicBezTo>
                  <a:lnTo>
                    <a:pt x="28" y="102"/>
                  </a:lnTo>
                  <a:cubicBezTo>
                    <a:pt x="33" y="89"/>
                    <a:pt x="35" y="78"/>
                    <a:pt x="36" y="69"/>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925" name="Google Shape;4925;p104"/>
            <p:cNvSpPr/>
            <p:nvPr/>
          </p:nvSpPr>
          <p:spPr>
            <a:xfrm>
              <a:off x="2101296" y="1658209"/>
              <a:ext cx="244" cy="163"/>
            </a:xfrm>
            <a:custGeom>
              <a:avLst/>
              <a:gdLst/>
              <a:ahLst/>
              <a:cxnLst/>
              <a:rect l="l" t="t" r="r" b="b"/>
              <a:pathLst>
                <a:path w="18" h="12" extrusionOk="0">
                  <a:moveTo>
                    <a:pt x="0" y="11"/>
                  </a:moveTo>
                  <a:lnTo>
                    <a:pt x="18"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926" name="Google Shape;4926;p104"/>
            <p:cNvSpPr/>
            <p:nvPr/>
          </p:nvSpPr>
          <p:spPr>
            <a:xfrm>
              <a:off x="2100630" y="1658684"/>
              <a:ext cx="244" cy="204"/>
            </a:xfrm>
            <a:custGeom>
              <a:avLst/>
              <a:gdLst/>
              <a:ahLst/>
              <a:cxnLst/>
              <a:rect l="l" t="t" r="r" b="b"/>
              <a:pathLst>
                <a:path w="18" h="15" extrusionOk="0">
                  <a:moveTo>
                    <a:pt x="0" y="15"/>
                  </a:moveTo>
                  <a:lnTo>
                    <a:pt x="18"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927" name="Google Shape;4927;p104"/>
            <p:cNvSpPr/>
            <p:nvPr/>
          </p:nvSpPr>
          <p:spPr>
            <a:xfrm>
              <a:off x="2100956" y="1658453"/>
              <a:ext cx="258" cy="204"/>
            </a:xfrm>
            <a:custGeom>
              <a:avLst/>
              <a:gdLst/>
              <a:ahLst/>
              <a:cxnLst/>
              <a:rect l="l" t="t" r="r" b="b"/>
              <a:pathLst>
                <a:path w="19" h="15" extrusionOk="0">
                  <a:moveTo>
                    <a:pt x="1" y="14"/>
                  </a:moveTo>
                  <a:lnTo>
                    <a:pt x="18"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928" name="Google Shape;4928;p104"/>
            <p:cNvSpPr/>
            <p:nvPr/>
          </p:nvSpPr>
          <p:spPr>
            <a:xfrm>
              <a:off x="2102056" y="1657829"/>
              <a:ext cx="204" cy="163"/>
            </a:xfrm>
            <a:custGeom>
              <a:avLst/>
              <a:gdLst/>
              <a:ahLst/>
              <a:cxnLst/>
              <a:rect l="l" t="t" r="r" b="b"/>
              <a:pathLst>
                <a:path w="15" h="12" extrusionOk="0">
                  <a:moveTo>
                    <a:pt x="0" y="11"/>
                  </a:moveTo>
                  <a:lnTo>
                    <a:pt x="14"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929" name="Google Shape;4929;p104"/>
            <p:cNvSpPr/>
            <p:nvPr/>
          </p:nvSpPr>
          <p:spPr>
            <a:xfrm>
              <a:off x="2103142" y="1657543"/>
              <a:ext cx="258" cy="68"/>
            </a:xfrm>
            <a:custGeom>
              <a:avLst/>
              <a:gdLst/>
              <a:ahLst/>
              <a:cxnLst/>
              <a:rect l="l" t="t" r="r" b="b"/>
              <a:pathLst>
                <a:path w="19" h="5" extrusionOk="0">
                  <a:moveTo>
                    <a:pt x="1" y="4"/>
                  </a:moveTo>
                  <a:lnTo>
                    <a:pt x="18"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930" name="Google Shape;4930;p104"/>
            <p:cNvSpPr/>
            <p:nvPr/>
          </p:nvSpPr>
          <p:spPr>
            <a:xfrm>
              <a:off x="2102816" y="1657638"/>
              <a:ext cx="204" cy="68"/>
            </a:xfrm>
            <a:custGeom>
              <a:avLst/>
              <a:gdLst/>
              <a:ahLst/>
              <a:cxnLst/>
              <a:rect l="l" t="t" r="r" b="b"/>
              <a:pathLst>
                <a:path w="15" h="5" extrusionOk="0">
                  <a:moveTo>
                    <a:pt x="0" y="4"/>
                  </a:moveTo>
                  <a:lnTo>
                    <a:pt x="14"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931" name="Google Shape;4931;p104"/>
            <p:cNvSpPr/>
            <p:nvPr/>
          </p:nvSpPr>
          <p:spPr>
            <a:xfrm>
              <a:off x="2102436" y="1657733"/>
              <a:ext cx="204" cy="68"/>
            </a:xfrm>
            <a:custGeom>
              <a:avLst/>
              <a:gdLst/>
              <a:ahLst/>
              <a:cxnLst/>
              <a:rect l="l" t="t" r="r" b="b"/>
              <a:pathLst>
                <a:path w="15" h="5" extrusionOk="0">
                  <a:moveTo>
                    <a:pt x="0" y="4"/>
                  </a:moveTo>
                  <a:lnTo>
                    <a:pt x="14"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932" name="Google Shape;4932;p104"/>
            <p:cNvSpPr/>
            <p:nvPr/>
          </p:nvSpPr>
          <p:spPr>
            <a:xfrm>
              <a:off x="2100345" y="1659023"/>
              <a:ext cx="204" cy="204"/>
            </a:xfrm>
            <a:custGeom>
              <a:avLst/>
              <a:gdLst/>
              <a:ahLst/>
              <a:cxnLst/>
              <a:rect l="l" t="t" r="r" b="b"/>
              <a:pathLst>
                <a:path w="15" h="15" extrusionOk="0">
                  <a:moveTo>
                    <a:pt x="0" y="14"/>
                  </a:moveTo>
                  <a:lnTo>
                    <a:pt x="14"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933" name="Google Shape;4933;p104"/>
            <p:cNvSpPr/>
            <p:nvPr/>
          </p:nvSpPr>
          <p:spPr>
            <a:xfrm>
              <a:off x="2099395" y="1660300"/>
              <a:ext cx="149" cy="299"/>
            </a:xfrm>
            <a:custGeom>
              <a:avLst/>
              <a:gdLst/>
              <a:ahLst/>
              <a:cxnLst/>
              <a:rect l="l" t="t" r="r" b="b"/>
              <a:pathLst>
                <a:path w="11" h="22" extrusionOk="0">
                  <a:moveTo>
                    <a:pt x="0" y="22"/>
                  </a:moveTo>
                  <a:cubicBezTo>
                    <a:pt x="4" y="15"/>
                    <a:pt x="7" y="8"/>
                    <a:pt x="11" y="1"/>
                  </a:cubicBezTo>
                  <a:cubicBezTo>
                    <a:pt x="7" y="8"/>
                    <a:pt x="4" y="15"/>
                    <a:pt x="0" y="22"/>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934" name="Google Shape;4934;p104"/>
            <p:cNvSpPr/>
            <p:nvPr/>
          </p:nvSpPr>
          <p:spPr>
            <a:xfrm>
              <a:off x="2099585" y="1659919"/>
              <a:ext cx="149" cy="258"/>
            </a:xfrm>
            <a:custGeom>
              <a:avLst/>
              <a:gdLst/>
              <a:ahLst/>
              <a:cxnLst/>
              <a:rect l="l" t="t" r="r" b="b"/>
              <a:pathLst>
                <a:path w="11" h="19" extrusionOk="0">
                  <a:moveTo>
                    <a:pt x="0" y="18"/>
                  </a:moveTo>
                  <a:cubicBezTo>
                    <a:pt x="4" y="15"/>
                    <a:pt x="7" y="8"/>
                    <a:pt x="11" y="1"/>
                  </a:cubicBezTo>
                  <a:cubicBezTo>
                    <a:pt x="7" y="8"/>
                    <a:pt x="4" y="15"/>
                    <a:pt x="0" y="18"/>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935" name="Google Shape;4935;p104"/>
            <p:cNvSpPr/>
            <p:nvPr/>
          </p:nvSpPr>
          <p:spPr>
            <a:xfrm>
              <a:off x="2099245" y="1660639"/>
              <a:ext cx="163" cy="299"/>
            </a:xfrm>
            <a:custGeom>
              <a:avLst/>
              <a:gdLst/>
              <a:ahLst/>
              <a:cxnLst/>
              <a:rect l="l" t="t" r="r" b="b"/>
              <a:pathLst>
                <a:path w="12" h="22" extrusionOk="0">
                  <a:moveTo>
                    <a:pt x="1" y="21"/>
                  </a:moveTo>
                  <a:cubicBezTo>
                    <a:pt x="4" y="14"/>
                    <a:pt x="8" y="7"/>
                    <a:pt x="11" y="0"/>
                  </a:cubicBezTo>
                  <a:cubicBezTo>
                    <a:pt x="8" y="7"/>
                    <a:pt x="4" y="14"/>
                    <a:pt x="1" y="2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936" name="Google Shape;4936;p104"/>
            <p:cNvSpPr/>
            <p:nvPr/>
          </p:nvSpPr>
          <p:spPr>
            <a:xfrm>
              <a:off x="2099150" y="1661019"/>
              <a:ext cx="109" cy="339"/>
            </a:xfrm>
            <a:custGeom>
              <a:avLst/>
              <a:gdLst/>
              <a:ahLst/>
              <a:cxnLst/>
              <a:rect l="l" t="t" r="r" b="b"/>
              <a:pathLst>
                <a:path w="8" h="25" extrusionOk="0">
                  <a:moveTo>
                    <a:pt x="1" y="25"/>
                  </a:moveTo>
                  <a:cubicBezTo>
                    <a:pt x="1" y="18"/>
                    <a:pt x="4" y="7"/>
                    <a:pt x="8" y="0"/>
                  </a:cubicBezTo>
                  <a:cubicBezTo>
                    <a:pt x="4" y="7"/>
                    <a:pt x="1" y="18"/>
                    <a:pt x="1" y="25"/>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937" name="Google Shape;4937;p104"/>
            <p:cNvSpPr/>
            <p:nvPr/>
          </p:nvSpPr>
          <p:spPr>
            <a:xfrm>
              <a:off x="2094018" y="1670958"/>
              <a:ext cx="543" cy="584"/>
            </a:xfrm>
            <a:custGeom>
              <a:avLst/>
              <a:gdLst/>
              <a:ahLst/>
              <a:cxnLst/>
              <a:rect l="l" t="t" r="r" b="b"/>
              <a:pathLst>
                <a:path w="40" h="43" extrusionOk="0">
                  <a:moveTo>
                    <a:pt x="1" y="0"/>
                  </a:moveTo>
                  <a:cubicBezTo>
                    <a:pt x="11" y="18"/>
                    <a:pt x="22" y="32"/>
                    <a:pt x="39" y="42"/>
                  </a:cubicBezTo>
                  <a:cubicBezTo>
                    <a:pt x="22" y="32"/>
                    <a:pt x="11" y="18"/>
                    <a:pt x="1"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938" name="Google Shape;4938;p104"/>
            <p:cNvSpPr/>
            <p:nvPr/>
          </p:nvSpPr>
          <p:spPr>
            <a:xfrm>
              <a:off x="2100060" y="1659308"/>
              <a:ext cx="204" cy="244"/>
            </a:xfrm>
            <a:custGeom>
              <a:avLst/>
              <a:gdLst/>
              <a:ahLst/>
              <a:cxnLst/>
              <a:rect l="l" t="t" r="r" b="b"/>
              <a:pathLst>
                <a:path w="15" h="18" extrusionOk="0">
                  <a:moveTo>
                    <a:pt x="0" y="18"/>
                  </a:moveTo>
                  <a:lnTo>
                    <a:pt x="14"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939" name="Google Shape;4939;p104"/>
            <p:cNvSpPr/>
            <p:nvPr/>
          </p:nvSpPr>
          <p:spPr>
            <a:xfrm>
              <a:off x="2099816" y="1659594"/>
              <a:ext cx="163" cy="299"/>
            </a:xfrm>
            <a:custGeom>
              <a:avLst/>
              <a:gdLst/>
              <a:ahLst/>
              <a:cxnLst/>
              <a:rect l="l" t="t" r="r" b="b"/>
              <a:pathLst>
                <a:path w="12" h="22" extrusionOk="0">
                  <a:moveTo>
                    <a:pt x="11" y="0"/>
                  </a:moveTo>
                  <a:lnTo>
                    <a:pt x="11" y="0"/>
                  </a:lnTo>
                  <a:cubicBezTo>
                    <a:pt x="8" y="7"/>
                    <a:pt x="4" y="14"/>
                    <a:pt x="1" y="21"/>
                  </a:cubicBezTo>
                  <a:cubicBezTo>
                    <a:pt x="4" y="14"/>
                    <a:pt x="11" y="7"/>
                    <a:pt x="11"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940" name="Google Shape;4940;p104"/>
            <p:cNvSpPr/>
            <p:nvPr/>
          </p:nvSpPr>
          <p:spPr>
            <a:xfrm>
              <a:off x="2096299" y="1640626"/>
              <a:ext cx="1113" cy="489"/>
            </a:xfrm>
            <a:custGeom>
              <a:avLst/>
              <a:gdLst/>
              <a:ahLst/>
              <a:cxnLst/>
              <a:rect l="l" t="t" r="r" b="b"/>
              <a:pathLst>
                <a:path w="82" h="36" extrusionOk="0">
                  <a:moveTo>
                    <a:pt x="1" y="1"/>
                  </a:moveTo>
                  <a:lnTo>
                    <a:pt x="15" y="4"/>
                  </a:lnTo>
                  <a:lnTo>
                    <a:pt x="15" y="4"/>
                  </a:lnTo>
                  <a:cubicBezTo>
                    <a:pt x="10" y="3"/>
                    <a:pt x="5" y="2"/>
                    <a:pt x="1" y="1"/>
                  </a:cubicBezTo>
                  <a:close/>
                  <a:moveTo>
                    <a:pt x="15" y="4"/>
                  </a:moveTo>
                  <a:cubicBezTo>
                    <a:pt x="38" y="11"/>
                    <a:pt x="61" y="21"/>
                    <a:pt x="81" y="36"/>
                  </a:cubicBezTo>
                  <a:cubicBezTo>
                    <a:pt x="71" y="25"/>
                    <a:pt x="53" y="15"/>
                    <a:pt x="39" y="11"/>
                  </a:cubicBezTo>
                  <a:lnTo>
                    <a:pt x="15" y="4"/>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941" name="Google Shape;4941;p104"/>
            <p:cNvSpPr/>
            <p:nvPr/>
          </p:nvSpPr>
          <p:spPr>
            <a:xfrm>
              <a:off x="2103957" y="1654937"/>
              <a:ext cx="299" cy="2145"/>
            </a:xfrm>
            <a:custGeom>
              <a:avLst/>
              <a:gdLst/>
              <a:ahLst/>
              <a:cxnLst/>
              <a:rect l="l" t="t" r="r" b="b"/>
              <a:pathLst>
                <a:path w="22" h="158" extrusionOk="0">
                  <a:moveTo>
                    <a:pt x="21" y="0"/>
                  </a:moveTo>
                  <a:lnTo>
                    <a:pt x="21" y="0"/>
                  </a:lnTo>
                  <a:cubicBezTo>
                    <a:pt x="20" y="15"/>
                    <a:pt x="19" y="32"/>
                    <a:pt x="17" y="50"/>
                  </a:cubicBezTo>
                  <a:lnTo>
                    <a:pt x="17" y="50"/>
                  </a:lnTo>
                  <a:cubicBezTo>
                    <a:pt x="19" y="33"/>
                    <a:pt x="20" y="17"/>
                    <a:pt x="21" y="0"/>
                  </a:cubicBezTo>
                  <a:close/>
                  <a:moveTo>
                    <a:pt x="17" y="50"/>
                  </a:moveTo>
                  <a:lnTo>
                    <a:pt x="17" y="50"/>
                  </a:lnTo>
                  <a:cubicBezTo>
                    <a:pt x="13" y="86"/>
                    <a:pt x="8" y="122"/>
                    <a:pt x="0" y="158"/>
                  </a:cubicBezTo>
                  <a:lnTo>
                    <a:pt x="4" y="140"/>
                  </a:lnTo>
                  <a:cubicBezTo>
                    <a:pt x="10" y="112"/>
                    <a:pt x="14" y="79"/>
                    <a:pt x="17" y="5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942" name="Google Shape;4942;p104"/>
            <p:cNvSpPr/>
            <p:nvPr/>
          </p:nvSpPr>
          <p:spPr>
            <a:xfrm>
              <a:off x="2105138" y="1644577"/>
              <a:ext cx="1969" cy="625"/>
            </a:xfrm>
            <a:custGeom>
              <a:avLst/>
              <a:gdLst/>
              <a:ahLst/>
              <a:cxnLst/>
              <a:rect l="l" t="t" r="r" b="b"/>
              <a:pathLst>
                <a:path w="145" h="46" extrusionOk="0">
                  <a:moveTo>
                    <a:pt x="1" y="0"/>
                  </a:moveTo>
                  <a:cubicBezTo>
                    <a:pt x="43" y="32"/>
                    <a:pt x="92" y="46"/>
                    <a:pt x="144" y="42"/>
                  </a:cubicBezTo>
                  <a:lnTo>
                    <a:pt x="144" y="42"/>
                  </a:lnTo>
                  <a:cubicBezTo>
                    <a:pt x="92" y="46"/>
                    <a:pt x="43" y="32"/>
                    <a:pt x="1"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943" name="Google Shape;4943;p104"/>
            <p:cNvSpPr/>
            <p:nvPr/>
          </p:nvSpPr>
          <p:spPr>
            <a:xfrm>
              <a:off x="2095824" y="1640490"/>
              <a:ext cx="1018" cy="299"/>
            </a:xfrm>
            <a:custGeom>
              <a:avLst/>
              <a:gdLst/>
              <a:ahLst/>
              <a:cxnLst/>
              <a:rect l="l" t="t" r="r" b="b"/>
              <a:pathLst>
                <a:path w="75" h="22" extrusionOk="0">
                  <a:moveTo>
                    <a:pt x="1" y="0"/>
                  </a:moveTo>
                  <a:lnTo>
                    <a:pt x="36" y="11"/>
                  </a:lnTo>
                  <a:lnTo>
                    <a:pt x="74" y="21"/>
                  </a:lnTo>
                  <a:cubicBezTo>
                    <a:pt x="53" y="11"/>
                    <a:pt x="29" y="4"/>
                    <a:pt x="1"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944" name="Google Shape;4944;p104"/>
            <p:cNvSpPr/>
            <p:nvPr/>
          </p:nvSpPr>
          <p:spPr>
            <a:xfrm>
              <a:off x="2103862" y="1656837"/>
              <a:ext cx="149" cy="530"/>
            </a:xfrm>
            <a:custGeom>
              <a:avLst/>
              <a:gdLst/>
              <a:ahLst/>
              <a:cxnLst/>
              <a:rect l="l" t="t" r="r" b="b"/>
              <a:pathLst>
                <a:path w="11" h="39" extrusionOk="0">
                  <a:moveTo>
                    <a:pt x="11" y="0"/>
                  </a:moveTo>
                  <a:lnTo>
                    <a:pt x="7" y="18"/>
                  </a:lnTo>
                  <a:lnTo>
                    <a:pt x="5" y="24"/>
                  </a:lnTo>
                  <a:lnTo>
                    <a:pt x="5" y="24"/>
                  </a:lnTo>
                  <a:cubicBezTo>
                    <a:pt x="8" y="16"/>
                    <a:pt x="11" y="9"/>
                    <a:pt x="11" y="0"/>
                  </a:cubicBezTo>
                  <a:close/>
                  <a:moveTo>
                    <a:pt x="5" y="24"/>
                  </a:moveTo>
                  <a:lnTo>
                    <a:pt x="5" y="24"/>
                  </a:lnTo>
                  <a:cubicBezTo>
                    <a:pt x="4" y="29"/>
                    <a:pt x="2" y="33"/>
                    <a:pt x="0" y="39"/>
                  </a:cubicBezTo>
                  <a:lnTo>
                    <a:pt x="5" y="24"/>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945" name="Google Shape;4945;p104"/>
            <p:cNvSpPr/>
            <p:nvPr/>
          </p:nvSpPr>
          <p:spPr>
            <a:xfrm>
              <a:off x="1375130" y="1936371"/>
              <a:ext cx="14704" cy="7522"/>
            </a:xfrm>
            <a:custGeom>
              <a:avLst/>
              <a:gdLst/>
              <a:ahLst/>
              <a:cxnLst/>
              <a:rect l="l" t="t" r="r" b="b"/>
              <a:pathLst>
                <a:path w="1083" h="554" extrusionOk="0">
                  <a:moveTo>
                    <a:pt x="302" y="1"/>
                  </a:moveTo>
                  <a:cubicBezTo>
                    <a:pt x="291" y="1"/>
                    <a:pt x="232" y="32"/>
                    <a:pt x="1" y="249"/>
                  </a:cubicBezTo>
                  <a:cubicBezTo>
                    <a:pt x="239" y="382"/>
                    <a:pt x="806" y="554"/>
                    <a:pt x="960" y="554"/>
                  </a:cubicBezTo>
                  <a:cubicBezTo>
                    <a:pt x="1002" y="554"/>
                    <a:pt x="1041" y="540"/>
                    <a:pt x="1072" y="512"/>
                  </a:cubicBezTo>
                  <a:lnTo>
                    <a:pt x="1072" y="501"/>
                  </a:lnTo>
                  <a:lnTo>
                    <a:pt x="1076" y="480"/>
                  </a:lnTo>
                  <a:lnTo>
                    <a:pt x="1079" y="459"/>
                  </a:lnTo>
                  <a:lnTo>
                    <a:pt x="1079" y="442"/>
                  </a:lnTo>
                  <a:lnTo>
                    <a:pt x="1083" y="421"/>
                  </a:lnTo>
                  <a:lnTo>
                    <a:pt x="1083" y="407"/>
                  </a:lnTo>
                  <a:lnTo>
                    <a:pt x="1083" y="389"/>
                  </a:lnTo>
                  <a:lnTo>
                    <a:pt x="1083" y="375"/>
                  </a:lnTo>
                  <a:lnTo>
                    <a:pt x="1083" y="358"/>
                  </a:lnTo>
                  <a:lnTo>
                    <a:pt x="1083" y="351"/>
                  </a:lnTo>
                  <a:lnTo>
                    <a:pt x="1083" y="333"/>
                  </a:lnTo>
                  <a:lnTo>
                    <a:pt x="1083" y="326"/>
                  </a:lnTo>
                  <a:lnTo>
                    <a:pt x="1083" y="309"/>
                  </a:lnTo>
                  <a:lnTo>
                    <a:pt x="1083" y="305"/>
                  </a:lnTo>
                  <a:lnTo>
                    <a:pt x="1083" y="288"/>
                  </a:lnTo>
                  <a:lnTo>
                    <a:pt x="1083" y="260"/>
                  </a:lnTo>
                  <a:lnTo>
                    <a:pt x="1083" y="253"/>
                  </a:lnTo>
                  <a:lnTo>
                    <a:pt x="1083" y="246"/>
                  </a:lnTo>
                  <a:lnTo>
                    <a:pt x="1083" y="242"/>
                  </a:lnTo>
                  <a:lnTo>
                    <a:pt x="1083" y="239"/>
                  </a:lnTo>
                  <a:lnTo>
                    <a:pt x="1083" y="235"/>
                  </a:lnTo>
                  <a:cubicBezTo>
                    <a:pt x="1069" y="218"/>
                    <a:pt x="1048" y="211"/>
                    <a:pt x="1027" y="207"/>
                  </a:cubicBezTo>
                  <a:cubicBezTo>
                    <a:pt x="992" y="204"/>
                    <a:pt x="957" y="204"/>
                    <a:pt x="922" y="204"/>
                  </a:cubicBezTo>
                  <a:cubicBezTo>
                    <a:pt x="813" y="204"/>
                    <a:pt x="656" y="204"/>
                    <a:pt x="501" y="99"/>
                  </a:cubicBezTo>
                  <a:cubicBezTo>
                    <a:pt x="487" y="88"/>
                    <a:pt x="473" y="81"/>
                    <a:pt x="459" y="71"/>
                  </a:cubicBezTo>
                  <a:lnTo>
                    <a:pt x="442" y="64"/>
                  </a:lnTo>
                  <a:lnTo>
                    <a:pt x="407" y="46"/>
                  </a:lnTo>
                  <a:lnTo>
                    <a:pt x="386" y="36"/>
                  </a:lnTo>
                  <a:lnTo>
                    <a:pt x="351" y="22"/>
                  </a:lnTo>
                  <a:lnTo>
                    <a:pt x="326" y="8"/>
                  </a:lnTo>
                  <a:lnTo>
                    <a:pt x="305"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946" name="Google Shape;4946;p104"/>
            <p:cNvSpPr/>
            <p:nvPr/>
          </p:nvSpPr>
          <p:spPr>
            <a:xfrm>
              <a:off x="1380643" y="1923581"/>
              <a:ext cx="42986" cy="21887"/>
            </a:xfrm>
            <a:custGeom>
              <a:avLst/>
              <a:gdLst/>
              <a:ahLst/>
              <a:cxnLst/>
              <a:rect l="l" t="t" r="r" b="b"/>
              <a:pathLst>
                <a:path w="3166" h="1612" extrusionOk="0">
                  <a:moveTo>
                    <a:pt x="2152" y="1"/>
                  </a:moveTo>
                  <a:cubicBezTo>
                    <a:pt x="1913" y="1"/>
                    <a:pt x="1654" y="70"/>
                    <a:pt x="1496" y="131"/>
                  </a:cubicBezTo>
                  <a:cubicBezTo>
                    <a:pt x="1422" y="160"/>
                    <a:pt x="1346" y="171"/>
                    <a:pt x="1270" y="171"/>
                  </a:cubicBezTo>
                  <a:cubicBezTo>
                    <a:pt x="1184" y="171"/>
                    <a:pt x="1098" y="158"/>
                    <a:pt x="1013" y="145"/>
                  </a:cubicBezTo>
                  <a:cubicBezTo>
                    <a:pt x="928" y="132"/>
                    <a:pt x="845" y="120"/>
                    <a:pt x="765" y="120"/>
                  </a:cubicBezTo>
                  <a:cubicBezTo>
                    <a:pt x="670" y="120"/>
                    <a:pt x="577" y="137"/>
                    <a:pt x="488" y="190"/>
                  </a:cubicBezTo>
                  <a:lnTo>
                    <a:pt x="484" y="190"/>
                  </a:lnTo>
                  <a:cubicBezTo>
                    <a:pt x="474" y="204"/>
                    <a:pt x="460" y="218"/>
                    <a:pt x="446" y="236"/>
                  </a:cubicBezTo>
                  <a:cubicBezTo>
                    <a:pt x="435" y="250"/>
                    <a:pt x="425" y="260"/>
                    <a:pt x="414" y="271"/>
                  </a:cubicBezTo>
                  <a:cubicBezTo>
                    <a:pt x="404" y="285"/>
                    <a:pt x="386" y="306"/>
                    <a:pt x="369" y="323"/>
                  </a:cubicBezTo>
                  <a:cubicBezTo>
                    <a:pt x="358" y="334"/>
                    <a:pt x="351" y="344"/>
                    <a:pt x="341" y="355"/>
                  </a:cubicBezTo>
                  <a:cubicBezTo>
                    <a:pt x="323" y="372"/>
                    <a:pt x="306" y="386"/>
                    <a:pt x="288" y="404"/>
                  </a:cubicBezTo>
                  <a:lnTo>
                    <a:pt x="264" y="428"/>
                  </a:lnTo>
                  <a:cubicBezTo>
                    <a:pt x="239" y="449"/>
                    <a:pt x="215" y="470"/>
                    <a:pt x="190" y="491"/>
                  </a:cubicBezTo>
                  <a:cubicBezTo>
                    <a:pt x="102" y="561"/>
                    <a:pt x="39" y="659"/>
                    <a:pt x="18" y="768"/>
                  </a:cubicBezTo>
                  <a:cubicBezTo>
                    <a:pt x="15" y="792"/>
                    <a:pt x="8" y="813"/>
                    <a:pt x="1" y="834"/>
                  </a:cubicBezTo>
                  <a:cubicBezTo>
                    <a:pt x="22" y="841"/>
                    <a:pt x="39" y="852"/>
                    <a:pt x="57" y="859"/>
                  </a:cubicBezTo>
                  <a:lnTo>
                    <a:pt x="71" y="866"/>
                  </a:lnTo>
                  <a:lnTo>
                    <a:pt x="113" y="890"/>
                  </a:lnTo>
                  <a:lnTo>
                    <a:pt x="127" y="897"/>
                  </a:lnTo>
                  <a:cubicBezTo>
                    <a:pt x="144" y="908"/>
                    <a:pt x="158" y="915"/>
                    <a:pt x="172" y="925"/>
                  </a:cubicBezTo>
                  <a:cubicBezTo>
                    <a:pt x="295" y="1009"/>
                    <a:pt x="414" y="1009"/>
                    <a:pt x="519" y="1009"/>
                  </a:cubicBezTo>
                  <a:cubicBezTo>
                    <a:pt x="628" y="1009"/>
                    <a:pt x="722" y="1009"/>
                    <a:pt x="785" y="1097"/>
                  </a:cubicBezTo>
                  <a:lnTo>
                    <a:pt x="792" y="1104"/>
                  </a:lnTo>
                  <a:lnTo>
                    <a:pt x="792" y="1107"/>
                  </a:lnTo>
                  <a:lnTo>
                    <a:pt x="796" y="1111"/>
                  </a:lnTo>
                  <a:lnTo>
                    <a:pt x="796" y="1114"/>
                  </a:lnTo>
                  <a:lnTo>
                    <a:pt x="799" y="1121"/>
                  </a:lnTo>
                  <a:lnTo>
                    <a:pt x="799" y="1125"/>
                  </a:lnTo>
                  <a:lnTo>
                    <a:pt x="803" y="1135"/>
                  </a:lnTo>
                  <a:lnTo>
                    <a:pt x="803" y="1139"/>
                  </a:lnTo>
                  <a:lnTo>
                    <a:pt x="803" y="1149"/>
                  </a:lnTo>
                  <a:lnTo>
                    <a:pt x="803" y="1153"/>
                  </a:lnTo>
                  <a:cubicBezTo>
                    <a:pt x="803" y="1156"/>
                    <a:pt x="803" y="1160"/>
                    <a:pt x="806" y="1167"/>
                  </a:cubicBezTo>
                  <a:lnTo>
                    <a:pt x="806" y="1170"/>
                  </a:lnTo>
                  <a:lnTo>
                    <a:pt x="806" y="1184"/>
                  </a:lnTo>
                  <a:lnTo>
                    <a:pt x="806" y="1191"/>
                  </a:lnTo>
                  <a:lnTo>
                    <a:pt x="806" y="1202"/>
                  </a:lnTo>
                  <a:lnTo>
                    <a:pt x="806" y="1212"/>
                  </a:lnTo>
                  <a:lnTo>
                    <a:pt x="806" y="1226"/>
                  </a:lnTo>
                  <a:lnTo>
                    <a:pt x="806" y="1233"/>
                  </a:lnTo>
                  <a:lnTo>
                    <a:pt x="806" y="1251"/>
                  </a:lnTo>
                  <a:lnTo>
                    <a:pt x="806" y="1261"/>
                  </a:lnTo>
                  <a:lnTo>
                    <a:pt x="806" y="1282"/>
                  </a:lnTo>
                  <a:lnTo>
                    <a:pt x="806" y="1289"/>
                  </a:lnTo>
                  <a:lnTo>
                    <a:pt x="806" y="1321"/>
                  </a:lnTo>
                  <a:lnTo>
                    <a:pt x="806" y="1331"/>
                  </a:lnTo>
                  <a:cubicBezTo>
                    <a:pt x="806" y="1338"/>
                    <a:pt x="806" y="1349"/>
                    <a:pt x="806" y="1356"/>
                  </a:cubicBezTo>
                  <a:lnTo>
                    <a:pt x="806" y="1370"/>
                  </a:lnTo>
                  <a:lnTo>
                    <a:pt x="806" y="1387"/>
                  </a:lnTo>
                  <a:cubicBezTo>
                    <a:pt x="852" y="1391"/>
                    <a:pt x="894" y="1408"/>
                    <a:pt x="929" y="1440"/>
                  </a:cubicBezTo>
                  <a:cubicBezTo>
                    <a:pt x="981" y="1482"/>
                    <a:pt x="1009" y="1545"/>
                    <a:pt x="1009" y="1611"/>
                  </a:cubicBezTo>
                  <a:lnTo>
                    <a:pt x="1111" y="1590"/>
                  </a:lnTo>
                  <a:cubicBezTo>
                    <a:pt x="1156" y="1555"/>
                    <a:pt x="1198" y="1517"/>
                    <a:pt x="1240" y="1475"/>
                  </a:cubicBezTo>
                  <a:cubicBezTo>
                    <a:pt x="1240" y="1468"/>
                    <a:pt x="1233" y="1454"/>
                    <a:pt x="1233" y="1443"/>
                  </a:cubicBezTo>
                  <a:cubicBezTo>
                    <a:pt x="1216" y="1377"/>
                    <a:pt x="1195" y="1272"/>
                    <a:pt x="1254" y="1191"/>
                  </a:cubicBezTo>
                  <a:cubicBezTo>
                    <a:pt x="1300" y="1132"/>
                    <a:pt x="1370" y="1104"/>
                    <a:pt x="1475" y="1093"/>
                  </a:cubicBezTo>
                  <a:cubicBezTo>
                    <a:pt x="1804" y="1069"/>
                    <a:pt x="1979" y="1030"/>
                    <a:pt x="2014" y="887"/>
                  </a:cubicBezTo>
                  <a:cubicBezTo>
                    <a:pt x="2047" y="737"/>
                    <a:pt x="2199" y="707"/>
                    <a:pt x="2342" y="707"/>
                  </a:cubicBezTo>
                  <a:cubicBezTo>
                    <a:pt x="2396" y="707"/>
                    <a:pt x="2449" y="711"/>
                    <a:pt x="2494" y="715"/>
                  </a:cubicBezTo>
                  <a:cubicBezTo>
                    <a:pt x="2529" y="719"/>
                    <a:pt x="2560" y="719"/>
                    <a:pt x="2595" y="719"/>
                  </a:cubicBezTo>
                  <a:cubicBezTo>
                    <a:pt x="2637" y="701"/>
                    <a:pt x="2676" y="680"/>
                    <a:pt x="2711" y="656"/>
                  </a:cubicBezTo>
                  <a:cubicBezTo>
                    <a:pt x="2826" y="586"/>
                    <a:pt x="2991" y="484"/>
                    <a:pt x="3166" y="463"/>
                  </a:cubicBezTo>
                  <a:cubicBezTo>
                    <a:pt x="3148" y="418"/>
                    <a:pt x="3089" y="390"/>
                    <a:pt x="2970" y="351"/>
                  </a:cubicBezTo>
                  <a:cubicBezTo>
                    <a:pt x="2854" y="309"/>
                    <a:pt x="2711" y="264"/>
                    <a:pt x="2592" y="141"/>
                  </a:cubicBezTo>
                  <a:cubicBezTo>
                    <a:pt x="2488" y="38"/>
                    <a:pt x="2326" y="1"/>
                    <a:pt x="2152" y="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947" name="Google Shape;4947;p104"/>
            <p:cNvSpPr/>
            <p:nvPr/>
          </p:nvSpPr>
          <p:spPr>
            <a:xfrm>
              <a:off x="1391722" y="1940553"/>
              <a:ext cx="68" cy="109"/>
            </a:xfrm>
            <a:custGeom>
              <a:avLst/>
              <a:gdLst/>
              <a:ahLst/>
              <a:cxnLst/>
              <a:rect l="l" t="t" r="r" b="b"/>
              <a:pathLst>
                <a:path w="5" h="8" extrusionOk="0">
                  <a:moveTo>
                    <a:pt x="1" y="1"/>
                  </a:moveTo>
                  <a:lnTo>
                    <a:pt x="1" y="8"/>
                  </a:lnTo>
                  <a:cubicBezTo>
                    <a:pt x="4" y="4"/>
                    <a:pt x="4" y="1"/>
                    <a:pt x="1" y="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948" name="Google Shape;4948;p104"/>
            <p:cNvSpPr/>
            <p:nvPr/>
          </p:nvSpPr>
          <p:spPr>
            <a:xfrm>
              <a:off x="1391722" y="1941503"/>
              <a:ext cx="14" cy="163"/>
            </a:xfrm>
            <a:custGeom>
              <a:avLst/>
              <a:gdLst/>
              <a:ahLst/>
              <a:cxnLst/>
              <a:rect l="l" t="t" r="r" b="b"/>
              <a:pathLst>
                <a:path w="1" h="12" extrusionOk="0">
                  <a:moveTo>
                    <a:pt x="1" y="1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949" name="Google Shape;4949;p104"/>
            <p:cNvSpPr/>
            <p:nvPr/>
          </p:nvSpPr>
          <p:spPr>
            <a:xfrm>
              <a:off x="1391722" y="1940933"/>
              <a:ext cx="14" cy="163"/>
            </a:xfrm>
            <a:custGeom>
              <a:avLst/>
              <a:gdLst/>
              <a:ahLst/>
              <a:cxnLst/>
              <a:rect l="l" t="t" r="r" b="b"/>
              <a:pathLst>
                <a:path w="1" h="12" extrusionOk="0">
                  <a:moveTo>
                    <a:pt x="1" y="11"/>
                  </a:moveTo>
                  <a:lnTo>
                    <a:pt x="1" y="1"/>
                  </a:lnTo>
                  <a:cubicBezTo>
                    <a:pt x="1" y="1"/>
                    <a:pt x="1" y="8"/>
                    <a:pt x="1" y="1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950" name="Google Shape;4950;p104"/>
            <p:cNvSpPr/>
            <p:nvPr/>
          </p:nvSpPr>
          <p:spPr>
            <a:xfrm>
              <a:off x="1391586" y="1938937"/>
              <a:ext cx="14" cy="68"/>
            </a:xfrm>
            <a:custGeom>
              <a:avLst/>
              <a:gdLst/>
              <a:ahLst/>
              <a:cxnLst/>
              <a:rect l="l" t="t" r="r" b="b"/>
              <a:pathLst>
                <a:path w="1" h="5" extrusionOk="0">
                  <a:moveTo>
                    <a:pt x="0"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951" name="Google Shape;4951;p104"/>
            <p:cNvSpPr/>
            <p:nvPr/>
          </p:nvSpPr>
          <p:spPr>
            <a:xfrm>
              <a:off x="1381403" y="1935230"/>
              <a:ext cx="204" cy="163"/>
            </a:xfrm>
            <a:custGeom>
              <a:avLst/>
              <a:gdLst/>
              <a:ahLst/>
              <a:cxnLst/>
              <a:rect l="l" t="t" r="r" b="b"/>
              <a:pathLst>
                <a:path w="15" h="12" extrusionOk="0">
                  <a:moveTo>
                    <a:pt x="15" y="1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952" name="Google Shape;4952;p104"/>
            <p:cNvSpPr/>
            <p:nvPr/>
          </p:nvSpPr>
          <p:spPr>
            <a:xfrm>
              <a:off x="1391396" y="1938516"/>
              <a:ext cx="14" cy="54"/>
            </a:xfrm>
            <a:custGeom>
              <a:avLst/>
              <a:gdLst/>
              <a:ahLst/>
              <a:cxnLst/>
              <a:rect l="l" t="t" r="r" b="b"/>
              <a:pathLst>
                <a:path w="1" h="4" extrusionOk="0">
                  <a:moveTo>
                    <a:pt x="0"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953" name="Google Shape;4953;p104"/>
            <p:cNvSpPr/>
            <p:nvPr/>
          </p:nvSpPr>
          <p:spPr>
            <a:xfrm>
              <a:off x="1382163" y="1935665"/>
              <a:ext cx="204" cy="109"/>
            </a:xfrm>
            <a:custGeom>
              <a:avLst/>
              <a:gdLst/>
              <a:ahLst/>
              <a:cxnLst/>
              <a:rect l="l" t="t" r="r" b="b"/>
              <a:pathLst>
                <a:path w="15" h="8" extrusionOk="0">
                  <a:moveTo>
                    <a:pt x="15" y="7"/>
                  </a:moveTo>
                  <a:lnTo>
                    <a:pt x="1"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954" name="Google Shape;4954;p104"/>
            <p:cNvSpPr/>
            <p:nvPr/>
          </p:nvSpPr>
          <p:spPr>
            <a:xfrm>
              <a:off x="1391722" y="1940173"/>
              <a:ext cx="68" cy="163"/>
            </a:xfrm>
            <a:custGeom>
              <a:avLst/>
              <a:gdLst/>
              <a:ahLst/>
              <a:cxnLst/>
              <a:rect l="l" t="t" r="r" b="b"/>
              <a:pathLst>
                <a:path w="5" h="12" extrusionOk="0">
                  <a:moveTo>
                    <a:pt x="1" y="1"/>
                  </a:moveTo>
                  <a:lnTo>
                    <a:pt x="1" y="11"/>
                  </a:lnTo>
                  <a:cubicBezTo>
                    <a:pt x="4" y="8"/>
                    <a:pt x="4" y="4"/>
                    <a:pt x="1" y="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955" name="Google Shape;4955;p104"/>
            <p:cNvSpPr/>
            <p:nvPr/>
          </p:nvSpPr>
          <p:spPr>
            <a:xfrm>
              <a:off x="1391627" y="1941978"/>
              <a:ext cx="14" cy="204"/>
            </a:xfrm>
            <a:custGeom>
              <a:avLst/>
              <a:gdLst/>
              <a:ahLst/>
              <a:cxnLst/>
              <a:rect l="l" t="t" r="r" b="b"/>
              <a:pathLst>
                <a:path w="1" h="15" extrusionOk="0">
                  <a:moveTo>
                    <a:pt x="1" y="15"/>
                  </a:moveTo>
                  <a:lnTo>
                    <a:pt x="1"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956" name="Google Shape;4956;p104"/>
            <p:cNvSpPr/>
            <p:nvPr/>
          </p:nvSpPr>
          <p:spPr>
            <a:xfrm>
              <a:off x="1391722" y="1939602"/>
              <a:ext cx="14" cy="109"/>
            </a:xfrm>
            <a:custGeom>
              <a:avLst/>
              <a:gdLst/>
              <a:ahLst/>
              <a:cxnLst/>
              <a:rect l="l" t="t" r="r" b="b"/>
              <a:pathLst>
                <a:path w="1" h="8" extrusionOk="0">
                  <a:moveTo>
                    <a:pt x="1" y="8"/>
                  </a:moveTo>
                  <a:lnTo>
                    <a:pt x="1"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957" name="Google Shape;4957;p104"/>
            <p:cNvSpPr/>
            <p:nvPr/>
          </p:nvSpPr>
          <p:spPr>
            <a:xfrm>
              <a:off x="1391722" y="1939983"/>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958" name="Google Shape;4958;p104"/>
            <p:cNvSpPr/>
            <p:nvPr/>
          </p:nvSpPr>
          <p:spPr>
            <a:xfrm>
              <a:off x="1391722" y="1939412"/>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959" name="Google Shape;4959;p104"/>
            <p:cNvSpPr/>
            <p:nvPr/>
          </p:nvSpPr>
          <p:spPr>
            <a:xfrm>
              <a:off x="1391627" y="1939127"/>
              <a:ext cx="14" cy="68"/>
            </a:xfrm>
            <a:custGeom>
              <a:avLst/>
              <a:gdLst/>
              <a:ahLst/>
              <a:cxnLst/>
              <a:rect l="l" t="t" r="r" b="b"/>
              <a:pathLst>
                <a:path w="1" h="5" extrusionOk="0">
                  <a:moveTo>
                    <a:pt x="1" y="4"/>
                  </a:moveTo>
                  <a:lnTo>
                    <a:pt x="1"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960" name="Google Shape;4960;p104"/>
            <p:cNvSpPr/>
            <p:nvPr/>
          </p:nvSpPr>
          <p:spPr>
            <a:xfrm>
              <a:off x="1391491" y="1938652"/>
              <a:ext cx="14" cy="68"/>
            </a:xfrm>
            <a:custGeom>
              <a:avLst/>
              <a:gdLst/>
              <a:ahLst/>
              <a:cxnLst/>
              <a:rect l="l" t="t" r="r" b="b"/>
              <a:pathLst>
                <a:path w="1" h="5" extrusionOk="0">
                  <a:moveTo>
                    <a:pt x="0"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961" name="Google Shape;4961;p104"/>
            <p:cNvSpPr/>
            <p:nvPr/>
          </p:nvSpPr>
          <p:spPr>
            <a:xfrm>
              <a:off x="1391532" y="1938801"/>
              <a:ext cx="14" cy="54"/>
            </a:xfrm>
            <a:custGeom>
              <a:avLst/>
              <a:gdLst/>
              <a:ahLst/>
              <a:cxnLst/>
              <a:rect l="l" t="t" r="r" b="b"/>
              <a:pathLst>
                <a:path w="1" h="4" extrusionOk="0">
                  <a:moveTo>
                    <a:pt x="1" y="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962" name="Google Shape;4962;p104"/>
            <p:cNvSpPr/>
            <p:nvPr/>
          </p:nvSpPr>
          <p:spPr>
            <a:xfrm>
              <a:off x="1174075" y="1791214"/>
              <a:ext cx="223703" cy="138382"/>
            </a:xfrm>
            <a:custGeom>
              <a:avLst/>
              <a:gdLst/>
              <a:ahLst/>
              <a:cxnLst/>
              <a:rect l="l" t="t" r="r" b="b"/>
              <a:pathLst>
                <a:path w="16476" h="10192" extrusionOk="0">
                  <a:moveTo>
                    <a:pt x="1142" y="0"/>
                  </a:moveTo>
                  <a:lnTo>
                    <a:pt x="0" y="151"/>
                  </a:lnTo>
                  <a:cubicBezTo>
                    <a:pt x="70" y="277"/>
                    <a:pt x="151" y="399"/>
                    <a:pt x="242" y="511"/>
                  </a:cubicBezTo>
                  <a:cubicBezTo>
                    <a:pt x="504" y="837"/>
                    <a:pt x="690" y="1401"/>
                    <a:pt x="718" y="1611"/>
                  </a:cubicBezTo>
                  <a:cubicBezTo>
                    <a:pt x="732" y="1733"/>
                    <a:pt x="949" y="1863"/>
                    <a:pt x="1163" y="1985"/>
                  </a:cubicBezTo>
                  <a:cubicBezTo>
                    <a:pt x="1229" y="2027"/>
                    <a:pt x="1299" y="2069"/>
                    <a:pt x="1366" y="2111"/>
                  </a:cubicBezTo>
                  <a:cubicBezTo>
                    <a:pt x="1691" y="2318"/>
                    <a:pt x="1709" y="2769"/>
                    <a:pt x="1660" y="2916"/>
                  </a:cubicBezTo>
                  <a:cubicBezTo>
                    <a:pt x="1640" y="2978"/>
                    <a:pt x="1586" y="2997"/>
                    <a:pt x="1520" y="2997"/>
                  </a:cubicBezTo>
                  <a:cubicBezTo>
                    <a:pt x="1471" y="2997"/>
                    <a:pt x="1415" y="2986"/>
                    <a:pt x="1362" y="2976"/>
                  </a:cubicBezTo>
                  <a:cubicBezTo>
                    <a:pt x="1320" y="2969"/>
                    <a:pt x="1278" y="2962"/>
                    <a:pt x="1236" y="2958"/>
                  </a:cubicBezTo>
                  <a:lnTo>
                    <a:pt x="1236" y="2958"/>
                  </a:lnTo>
                  <a:cubicBezTo>
                    <a:pt x="1297" y="3078"/>
                    <a:pt x="1670" y="3376"/>
                    <a:pt x="1819" y="3376"/>
                  </a:cubicBezTo>
                  <a:cubicBezTo>
                    <a:pt x="1823" y="3376"/>
                    <a:pt x="1827" y="3376"/>
                    <a:pt x="1831" y="3375"/>
                  </a:cubicBezTo>
                  <a:cubicBezTo>
                    <a:pt x="1851" y="3373"/>
                    <a:pt x="1870" y="3371"/>
                    <a:pt x="1888" y="3371"/>
                  </a:cubicBezTo>
                  <a:cubicBezTo>
                    <a:pt x="2051" y="3371"/>
                    <a:pt x="2161" y="3469"/>
                    <a:pt x="2356" y="3648"/>
                  </a:cubicBezTo>
                  <a:cubicBezTo>
                    <a:pt x="2395" y="3680"/>
                    <a:pt x="2433" y="3715"/>
                    <a:pt x="2475" y="3753"/>
                  </a:cubicBezTo>
                  <a:cubicBezTo>
                    <a:pt x="2650" y="3907"/>
                    <a:pt x="2745" y="4096"/>
                    <a:pt x="2738" y="4278"/>
                  </a:cubicBezTo>
                  <a:cubicBezTo>
                    <a:pt x="2741" y="4376"/>
                    <a:pt x="2703" y="4467"/>
                    <a:pt x="2633" y="4534"/>
                  </a:cubicBezTo>
                  <a:cubicBezTo>
                    <a:pt x="2654" y="4600"/>
                    <a:pt x="2909" y="4765"/>
                    <a:pt x="3099" y="4884"/>
                  </a:cubicBezTo>
                  <a:lnTo>
                    <a:pt x="3256" y="4985"/>
                  </a:lnTo>
                  <a:cubicBezTo>
                    <a:pt x="3736" y="5304"/>
                    <a:pt x="3855" y="5686"/>
                    <a:pt x="3865" y="5728"/>
                  </a:cubicBezTo>
                  <a:cubicBezTo>
                    <a:pt x="3865" y="5731"/>
                    <a:pt x="3865" y="5735"/>
                    <a:pt x="3869" y="5735"/>
                  </a:cubicBezTo>
                  <a:cubicBezTo>
                    <a:pt x="3897" y="5728"/>
                    <a:pt x="3970" y="5661"/>
                    <a:pt x="4005" y="5556"/>
                  </a:cubicBezTo>
                  <a:cubicBezTo>
                    <a:pt x="4030" y="5490"/>
                    <a:pt x="4009" y="5455"/>
                    <a:pt x="3967" y="5388"/>
                  </a:cubicBezTo>
                  <a:cubicBezTo>
                    <a:pt x="3914" y="5315"/>
                    <a:pt x="3883" y="5230"/>
                    <a:pt x="3883" y="5139"/>
                  </a:cubicBezTo>
                  <a:cubicBezTo>
                    <a:pt x="3883" y="5052"/>
                    <a:pt x="3788" y="5031"/>
                    <a:pt x="3592" y="5020"/>
                  </a:cubicBezTo>
                  <a:cubicBezTo>
                    <a:pt x="3550" y="5017"/>
                    <a:pt x="3508" y="5013"/>
                    <a:pt x="3477" y="5010"/>
                  </a:cubicBezTo>
                  <a:cubicBezTo>
                    <a:pt x="3347" y="4989"/>
                    <a:pt x="3351" y="4849"/>
                    <a:pt x="3354" y="4747"/>
                  </a:cubicBezTo>
                  <a:cubicBezTo>
                    <a:pt x="3358" y="4660"/>
                    <a:pt x="3361" y="4558"/>
                    <a:pt x="3305" y="4506"/>
                  </a:cubicBezTo>
                  <a:cubicBezTo>
                    <a:pt x="3116" y="4317"/>
                    <a:pt x="2976" y="3841"/>
                    <a:pt x="2938" y="3701"/>
                  </a:cubicBezTo>
                  <a:cubicBezTo>
                    <a:pt x="2902" y="3568"/>
                    <a:pt x="2773" y="3424"/>
                    <a:pt x="2640" y="3277"/>
                  </a:cubicBezTo>
                  <a:cubicBezTo>
                    <a:pt x="2524" y="3161"/>
                    <a:pt x="2423" y="3032"/>
                    <a:pt x="2339" y="2888"/>
                  </a:cubicBezTo>
                  <a:cubicBezTo>
                    <a:pt x="2164" y="2573"/>
                    <a:pt x="2006" y="2374"/>
                    <a:pt x="1922" y="2318"/>
                  </a:cubicBezTo>
                  <a:cubicBezTo>
                    <a:pt x="1894" y="2300"/>
                    <a:pt x="1873" y="2272"/>
                    <a:pt x="1866" y="2237"/>
                  </a:cubicBezTo>
                  <a:cubicBezTo>
                    <a:pt x="1859" y="2181"/>
                    <a:pt x="1898" y="2136"/>
                    <a:pt x="1929" y="2094"/>
                  </a:cubicBezTo>
                  <a:cubicBezTo>
                    <a:pt x="1978" y="2034"/>
                    <a:pt x="1978" y="2027"/>
                    <a:pt x="1971" y="2017"/>
                  </a:cubicBezTo>
                  <a:cubicBezTo>
                    <a:pt x="1922" y="1964"/>
                    <a:pt x="1859" y="1947"/>
                    <a:pt x="1772" y="1922"/>
                  </a:cubicBezTo>
                  <a:cubicBezTo>
                    <a:pt x="1702" y="1905"/>
                    <a:pt x="1635" y="1880"/>
                    <a:pt x="1569" y="1852"/>
                  </a:cubicBezTo>
                  <a:cubicBezTo>
                    <a:pt x="1348" y="1747"/>
                    <a:pt x="1226" y="1576"/>
                    <a:pt x="1226" y="1369"/>
                  </a:cubicBezTo>
                  <a:cubicBezTo>
                    <a:pt x="1226" y="1184"/>
                    <a:pt x="1107" y="732"/>
                    <a:pt x="1047" y="581"/>
                  </a:cubicBezTo>
                  <a:cubicBezTo>
                    <a:pt x="1002" y="459"/>
                    <a:pt x="1072" y="406"/>
                    <a:pt x="1093" y="392"/>
                  </a:cubicBezTo>
                  <a:cubicBezTo>
                    <a:pt x="1117" y="379"/>
                    <a:pt x="1145" y="373"/>
                    <a:pt x="1174" y="373"/>
                  </a:cubicBezTo>
                  <a:cubicBezTo>
                    <a:pt x="1243" y="373"/>
                    <a:pt x="1316" y="405"/>
                    <a:pt x="1355" y="452"/>
                  </a:cubicBezTo>
                  <a:lnTo>
                    <a:pt x="1369" y="473"/>
                  </a:lnTo>
                  <a:cubicBezTo>
                    <a:pt x="1415" y="528"/>
                    <a:pt x="1434" y="542"/>
                    <a:pt x="1448" y="542"/>
                  </a:cubicBezTo>
                  <a:cubicBezTo>
                    <a:pt x="1455" y="542"/>
                    <a:pt x="1461" y="539"/>
                    <a:pt x="1467" y="536"/>
                  </a:cubicBezTo>
                  <a:cubicBezTo>
                    <a:pt x="1504" y="517"/>
                    <a:pt x="1544" y="507"/>
                    <a:pt x="1584" y="507"/>
                  </a:cubicBezTo>
                  <a:cubicBezTo>
                    <a:pt x="1612" y="507"/>
                    <a:pt x="1640" y="512"/>
                    <a:pt x="1667" y="522"/>
                  </a:cubicBezTo>
                  <a:cubicBezTo>
                    <a:pt x="1751" y="546"/>
                    <a:pt x="1817" y="609"/>
                    <a:pt x="1849" y="686"/>
                  </a:cubicBezTo>
                  <a:cubicBezTo>
                    <a:pt x="1858" y="706"/>
                    <a:pt x="1875" y="714"/>
                    <a:pt x="1910" y="714"/>
                  </a:cubicBezTo>
                  <a:cubicBezTo>
                    <a:pt x="1930" y="714"/>
                    <a:pt x="1955" y="711"/>
                    <a:pt x="1989" y="707"/>
                  </a:cubicBezTo>
                  <a:cubicBezTo>
                    <a:pt x="2015" y="705"/>
                    <a:pt x="2042" y="702"/>
                    <a:pt x="2069" y="702"/>
                  </a:cubicBezTo>
                  <a:cubicBezTo>
                    <a:pt x="2111" y="702"/>
                    <a:pt x="2152" y="708"/>
                    <a:pt x="2188" y="732"/>
                  </a:cubicBezTo>
                  <a:cubicBezTo>
                    <a:pt x="2272" y="781"/>
                    <a:pt x="2234" y="858"/>
                    <a:pt x="2213" y="893"/>
                  </a:cubicBezTo>
                  <a:cubicBezTo>
                    <a:pt x="2178" y="963"/>
                    <a:pt x="2111" y="1096"/>
                    <a:pt x="2307" y="1446"/>
                  </a:cubicBezTo>
                  <a:cubicBezTo>
                    <a:pt x="2496" y="1779"/>
                    <a:pt x="2521" y="1835"/>
                    <a:pt x="2454" y="1919"/>
                  </a:cubicBezTo>
                  <a:cubicBezTo>
                    <a:pt x="2437" y="1943"/>
                    <a:pt x="2412" y="1975"/>
                    <a:pt x="2412" y="2094"/>
                  </a:cubicBezTo>
                  <a:cubicBezTo>
                    <a:pt x="2412" y="2244"/>
                    <a:pt x="2447" y="2265"/>
                    <a:pt x="2447" y="2265"/>
                  </a:cubicBezTo>
                  <a:cubicBezTo>
                    <a:pt x="2448" y="2266"/>
                    <a:pt x="2449" y="2266"/>
                    <a:pt x="2451" y="2266"/>
                  </a:cubicBezTo>
                  <a:cubicBezTo>
                    <a:pt x="2463" y="2266"/>
                    <a:pt x="2500" y="2251"/>
                    <a:pt x="2556" y="2195"/>
                  </a:cubicBezTo>
                  <a:cubicBezTo>
                    <a:pt x="2575" y="2176"/>
                    <a:pt x="2602" y="2163"/>
                    <a:pt x="2630" y="2163"/>
                  </a:cubicBezTo>
                  <a:cubicBezTo>
                    <a:pt x="2633" y="2163"/>
                    <a:pt x="2637" y="2163"/>
                    <a:pt x="2640" y="2164"/>
                  </a:cubicBezTo>
                  <a:cubicBezTo>
                    <a:pt x="2727" y="2167"/>
                    <a:pt x="2843" y="2269"/>
                    <a:pt x="3043" y="2514"/>
                  </a:cubicBezTo>
                  <a:cubicBezTo>
                    <a:pt x="3113" y="2601"/>
                    <a:pt x="3221" y="2647"/>
                    <a:pt x="3316" y="2689"/>
                  </a:cubicBezTo>
                  <a:cubicBezTo>
                    <a:pt x="3421" y="2731"/>
                    <a:pt x="3519" y="2776"/>
                    <a:pt x="3519" y="2871"/>
                  </a:cubicBezTo>
                  <a:cubicBezTo>
                    <a:pt x="3519" y="2944"/>
                    <a:pt x="3557" y="3137"/>
                    <a:pt x="3729" y="3168"/>
                  </a:cubicBezTo>
                  <a:cubicBezTo>
                    <a:pt x="3869" y="3193"/>
                    <a:pt x="3942" y="3288"/>
                    <a:pt x="4002" y="3365"/>
                  </a:cubicBezTo>
                  <a:cubicBezTo>
                    <a:pt x="4040" y="3414"/>
                    <a:pt x="4072" y="3452"/>
                    <a:pt x="4107" y="3463"/>
                  </a:cubicBezTo>
                  <a:cubicBezTo>
                    <a:pt x="4170" y="3470"/>
                    <a:pt x="4229" y="3512"/>
                    <a:pt x="4257" y="3568"/>
                  </a:cubicBezTo>
                  <a:cubicBezTo>
                    <a:pt x="4303" y="3648"/>
                    <a:pt x="4292" y="3764"/>
                    <a:pt x="4240" y="3879"/>
                  </a:cubicBezTo>
                  <a:cubicBezTo>
                    <a:pt x="4219" y="3918"/>
                    <a:pt x="4215" y="3960"/>
                    <a:pt x="4229" y="4002"/>
                  </a:cubicBezTo>
                  <a:cubicBezTo>
                    <a:pt x="4257" y="4072"/>
                    <a:pt x="4362" y="4145"/>
                    <a:pt x="4544" y="4215"/>
                  </a:cubicBezTo>
                  <a:cubicBezTo>
                    <a:pt x="4758" y="4299"/>
                    <a:pt x="4796" y="4352"/>
                    <a:pt x="4849" y="4439"/>
                  </a:cubicBezTo>
                  <a:cubicBezTo>
                    <a:pt x="4894" y="4516"/>
                    <a:pt x="4947" y="4583"/>
                    <a:pt x="5014" y="4642"/>
                  </a:cubicBezTo>
                  <a:cubicBezTo>
                    <a:pt x="5276" y="4891"/>
                    <a:pt x="6036" y="5724"/>
                    <a:pt x="6200" y="5962"/>
                  </a:cubicBezTo>
                  <a:cubicBezTo>
                    <a:pt x="6305" y="6123"/>
                    <a:pt x="6389" y="6298"/>
                    <a:pt x="6442" y="6484"/>
                  </a:cubicBezTo>
                  <a:cubicBezTo>
                    <a:pt x="6452" y="6512"/>
                    <a:pt x="6463" y="6543"/>
                    <a:pt x="6473" y="6571"/>
                  </a:cubicBezTo>
                  <a:cubicBezTo>
                    <a:pt x="6501" y="6652"/>
                    <a:pt x="6491" y="6743"/>
                    <a:pt x="6449" y="6820"/>
                  </a:cubicBezTo>
                  <a:cubicBezTo>
                    <a:pt x="6421" y="6883"/>
                    <a:pt x="6414" y="6911"/>
                    <a:pt x="6442" y="6956"/>
                  </a:cubicBezTo>
                  <a:cubicBezTo>
                    <a:pt x="6470" y="6991"/>
                    <a:pt x="6480" y="7040"/>
                    <a:pt x="6466" y="7082"/>
                  </a:cubicBezTo>
                  <a:cubicBezTo>
                    <a:pt x="6445" y="7142"/>
                    <a:pt x="6382" y="7159"/>
                    <a:pt x="6337" y="7173"/>
                  </a:cubicBezTo>
                  <a:cubicBezTo>
                    <a:pt x="6319" y="7177"/>
                    <a:pt x="6302" y="7180"/>
                    <a:pt x="6284" y="7187"/>
                  </a:cubicBezTo>
                  <a:cubicBezTo>
                    <a:pt x="6305" y="7317"/>
                    <a:pt x="6459" y="7783"/>
                    <a:pt x="6662" y="7800"/>
                  </a:cubicBezTo>
                  <a:cubicBezTo>
                    <a:pt x="6897" y="7821"/>
                    <a:pt x="7135" y="8038"/>
                    <a:pt x="7345" y="8227"/>
                  </a:cubicBezTo>
                  <a:cubicBezTo>
                    <a:pt x="7398" y="8269"/>
                    <a:pt x="7443" y="8315"/>
                    <a:pt x="7485" y="8350"/>
                  </a:cubicBezTo>
                  <a:cubicBezTo>
                    <a:pt x="7604" y="8448"/>
                    <a:pt x="7762" y="8476"/>
                    <a:pt x="7944" y="8507"/>
                  </a:cubicBezTo>
                  <a:cubicBezTo>
                    <a:pt x="8080" y="8528"/>
                    <a:pt x="8213" y="8560"/>
                    <a:pt x="8339" y="8605"/>
                  </a:cubicBezTo>
                  <a:cubicBezTo>
                    <a:pt x="8486" y="8665"/>
                    <a:pt x="8626" y="8738"/>
                    <a:pt x="8756" y="8829"/>
                  </a:cubicBezTo>
                  <a:cubicBezTo>
                    <a:pt x="8948" y="8948"/>
                    <a:pt x="9148" y="9074"/>
                    <a:pt x="9414" y="9148"/>
                  </a:cubicBezTo>
                  <a:cubicBezTo>
                    <a:pt x="9873" y="9281"/>
                    <a:pt x="10342" y="9481"/>
                    <a:pt x="10671" y="9691"/>
                  </a:cubicBezTo>
                  <a:cubicBezTo>
                    <a:pt x="10784" y="9763"/>
                    <a:pt x="10909" y="9791"/>
                    <a:pt x="11041" y="9791"/>
                  </a:cubicBezTo>
                  <a:cubicBezTo>
                    <a:pt x="11255" y="9791"/>
                    <a:pt x="11486" y="9715"/>
                    <a:pt x="11714" y="9624"/>
                  </a:cubicBezTo>
                  <a:cubicBezTo>
                    <a:pt x="11823" y="9582"/>
                    <a:pt x="11938" y="9558"/>
                    <a:pt x="12054" y="9558"/>
                  </a:cubicBezTo>
                  <a:cubicBezTo>
                    <a:pt x="12285" y="9558"/>
                    <a:pt x="12481" y="9645"/>
                    <a:pt x="12638" y="9719"/>
                  </a:cubicBezTo>
                  <a:cubicBezTo>
                    <a:pt x="12680" y="9736"/>
                    <a:pt x="12719" y="9757"/>
                    <a:pt x="12757" y="9771"/>
                  </a:cubicBezTo>
                  <a:cubicBezTo>
                    <a:pt x="12873" y="9813"/>
                    <a:pt x="13062" y="9971"/>
                    <a:pt x="13310" y="10191"/>
                  </a:cubicBezTo>
                  <a:cubicBezTo>
                    <a:pt x="13367" y="10107"/>
                    <a:pt x="13419" y="10037"/>
                    <a:pt x="13461" y="9978"/>
                  </a:cubicBezTo>
                  <a:lnTo>
                    <a:pt x="13465" y="9974"/>
                  </a:lnTo>
                  <a:lnTo>
                    <a:pt x="13475" y="9960"/>
                  </a:lnTo>
                  <a:lnTo>
                    <a:pt x="13493" y="9936"/>
                  </a:lnTo>
                  <a:lnTo>
                    <a:pt x="13493" y="9932"/>
                  </a:lnTo>
                  <a:cubicBezTo>
                    <a:pt x="13577" y="9820"/>
                    <a:pt x="13633" y="9750"/>
                    <a:pt x="13668" y="9705"/>
                  </a:cubicBezTo>
                  <a:lnTo>
                    <a:pt x="13678" y="9694"/>
                  </a:lnTo>
                  <a:lnTo>
                    <a:pt x="13689" y="9684"/>
                  </a:lnTo>
                  <a:lnTo>
                    <a:pt x="13696" y="9677"/>
                  </a:lnTo>
                  <a:lnTo>
                    <a:pt x="13703" y="9670"/>
                  </a:lnTo>
                  <a:lnTo>
                    <a:pt x="13710" y="9663"/>
                  </a:lnTo>
                  <a:lnTo>
                    <a:pt x="13713" y="9656"/>
                  </a:lnTo>
                  <a:lnTo>
                    <a:pt x="13717" y="9652"/>
                  </a:lnTo>
                  <a:lnTo>
                    <a:pt x="13724" y="9649"/>
                  </a:lnTo>
                  <a:lnTo>
                    <a:pt x="13745" y="9649"/>
                  </a:lnTo>
                  <a:cubicBezTo>
                    <a:pt x="13766" y="9645"/>
                    <a:pt x="13787" y="9643"/>
                    <a:pt x="13810" y="9643"/>
                  </a:cubicBezTo>
                  <a:cubicBezTo>
                    <a:pt x="13832" y="9643"/>
                    <a:pt x="13855" y="9645"/>
                    <a:pt x="13878" y="9649"/>
                  </a:cubicBezTo>
                  <a:cubicBezTo>
                    <a:pt x="13965" y="9652"/>
                    <a:pt x="14039" y="9656"/>
                    <a:pt x="14102" y="9656"/>
                  </a:cubicBezTo>
                  <a:cubicBezTo>
                    <a:pt x="14298" y="9656"/>
                    <a:pt x="14375" y="9638"/>
                    <a:pt x="14403" y="9621"/>
                  </a:cubicBezTo>
                  <a:cubicBezTo>
                    <a:pt x="14410" y="9617"/>
                    <a:pt x="14417" y="9610"/>
                    <a:pt x="14420" y="9607"/>
                  </a:cubicBezTo>
                  <a:cubicBezTo>
                    <a:pt x="14434" y="9572"/>
                    <a:pt x="14350" y="9470"/>
                    <a:pt x="14168" y="9305"/>
                  </a:cubicBezTo>
                  <a:cubicBezTo>
                    <a:pt x="14056" y="9200"/>
                    <a:pt x="14007" y="9158"/>
                    <a:pt x="14014" y="9102"/>
                  </a:cubicBezTo>
                  <a:cubicBezTo>
                    <a:pt x="14014" y="9081"/>
                    <a:pt x="14025" y="9064"/>
                    <a:pt x="14042" y="9050"/>
                  </a:cubicBezTo>
                  <a:cubicBezTo>
                    <a:pt x="14060" y="9004"/>
                    <a:pt x="14074" y="8959"/>
                    <a:pt x="14084" y="8913"/>
                  </a:cubicBezTo>
                  <a:cubicBezTo>
                    <a:pt x="14119" y="8766"/>
                    <a:pt x="14154" y="8626"/>
                    <a:pt x="14259" y="8626"/>
                  </a:cubicBezTo>
                  <a:lnTo>
                    <a:pt x="14410" y="8630"/>
                  </a:lnTo>
                  <a:cubicBezTo>
                    <a:pt x="14546" y="8630"/>
                    <a:pt x="14830" y="8637"/>
                    <a:pt x="15026" y="8637"/>
                  </a:cubicBezTo>
                  <a:lnTo>
                    <a:pt x="15134" y="8637"/>
                  </a:lnTo>
                  <a:lnTo>
                    <a:pt x="15180" y="8623"/>
                  </a:lnTo>
                  <a:lnTo>
                    <a:pt x="15239" y="8623"/>
                  </a:lnTo>
                  <a:cubicBezTo>
                    <a:pt x="15250" y="8609"/>
                    <a:pt x="15274" y="8581"/>
                    <a:pt x="15292" y="8553"/>
                  </a:cubicBezTo>
                  <a:cubicBezTo>
                    <a:pt x="15376" y="8441"/>
                    <a:pt x="15488" y="8290"/>
                    <a:pt x="15614" y="8280"/>
                  </a:cubicBezTo>
                  <a:cubicBezTo>
                    <a:pt x="15619" y="8278"/>
                    <a:pt x="15624" y="8277"/>
                    <a:pt x="15628" y="8277"/>
                  </a:cubicBezTo>
                  <a:cubicBezTo>
                    <a:pt x="15632" y="8277"/>
                    <a:pt x="15637" y="8278"/>
                    <a:pt x="15642" y="8280"/>
                  </a:cubicBezTo>
                  <a:cubicBezTo>
                    <a:pt x="15691" y="8287"/>
                    <a:pt x="15740" y="8308"/>
                    <a:pt x="15779" y="8339"/>
                  </a:cubicBezTo>
                  <a:lnTo>
                    <a:pt x="15786" y="8343"/>
                  </a:lnTo>
                  <a:lnTo>
                    <a:pt x="15807" y="8360"/>
                  </a:lnTo>
                  <a:cubicBezTo>
                    <a:pt x="15828" y="8374"/>
                    <a:pt x="15849" y="8388"/>
                    <a:pt x="15870" y="8409"/>
                  </a:cubicBezTo>
                  <a:cubicBezTo>
                    <a:pt x="15985" y="8255"/>
                    <a:pt x="16027" y="7965"/>
                    <a:pt x="16052" y="7751"/>
                  </a:cubicBezTo>
                  <a:cubicBezTo>
                    <a:pt x="16059" y="7660"/>
                    <a:pt x="16059" y="7569"/>
                    <a:pt x="16052" y="7482"/>
                  </a:cubicBezTo>
                  <a:cubicBezTo>
                    <a:pt x="16045" y="7341"/>
                    <a:pt x="16034" y="7233"/>
                    <a:pt x="16164" y="7096"/>
                  </a:cubicBezTo>
                  <a:cubicBezTo>
                    <a:pt x="16213" y="7044"/>
                    <a:pt x="16265" y="6998"/>
                    <a:pt x="16321" y="6960"/>
                  </a:cubicBezTo>
                  <a:cubicBezTo>
                    <a:pt x="16430" y="6879"/>
                    <a:pt x="16475" y="6841"/>
                    <a:pt x="16451" y="6704"/>
                  </a:cubicBezTo>
                  <a:cubicBezTo>
                    <a:pt x="16447" y="6683"/>
                    <a:pt x="16440" y="6659"/>
                    <a:pt x="16423" y="6645"/>
                  </a:cubicBezTo>
                  <a:cubicBezTo>
                    <a:pt x="16417" y="6642"/>
                    <a:pt x="16409" y="6640"/>
                    <a:pt x="16399" y="6640"/>
                  </a:cubicBezTo>
                  <a:cubicBezTo>
                    <a:pt x="16376" y="6640"/>
                    <a:pt x="16343" y="6647"/>
                    <a:pt x="16314" y="6652"/>
                  </a:cubicBezTo>
                  <a:cubicBezTo>
                    <a:pt x="16272" y="6661"/>
                    <a:pt x="16222" y="6671"/>
                    <a:pt x="16169" y="6671"/>
                  </a:cubicBezTo>
                  <a:cubicBezTo>
                    <a:pt x="16116" y="6671"/>
                    <a:pt x="16060" y="6661"/>
                    <a:pt x="16006" y="6627"/>
                  </a:cubicBezTo>
                  <a:cubicBezTo>
                    <a:pt x="15947" y="6590"/>
                    <a:pt x="15890" y="6576"/>
                    <a:pt x="15819" y="6576"/>
                  </a:cubicBezTo>
                  <a:cubicBezTo>
                    <a:pt x="15742" y="6576"/>
                    <a:pt x="15647" y="6593"/>
                    <a:pt x="15516" y="6617"/>
                  </a:cubicBezTo>
                  <a:cubicBezTo>
                    <a:pt x="15422" y="6634"/>
                    <a:pt x="15316" y="6652"/>
                    <a:pt x="15190" y="6673"/>
                  </a:cubicBezTo>
                  <a:cubicBezTo>
                    <a:pt x="14581" y="6760"/>
                    <a:pt x="14529" y="7033"/>
                    <a:pt x="14543" y="7233"/>
                  </a:cubicBezTo>
                  <a:cubicBezTo>
                    <a:pt x="14557" y="7433"/>
                    <a:pt x="14504" y="7496"/>
                    <a:pt x="14441" y="7555"/>
                  </a:cubicBezTo>
                  <a:cubicBezTo>
                    <a:pt x="14406" y="7590"/>
                    <a:pt x="14382" y="7618"/>
                    <a:pt x="14385" y="7730"/>
                  </a:cubicBezTo>
                  <a:cubicBezTo>
                    <a:pt x="14392" y="7937"/>
                    <a:pt x="14245" y="8035"/>
                    <a:pt x="14137" y="8105"/>
                  </a:cubicBezTo>
                  <a:cubicBezTo>
                    <a:pt x="14053" y="8157"/>
                    <a:pt x="14014" y="8189"/>
                    <a:pt x="14021" y="8224"/>
                  </a:cubicBezTo>
                  <a:cubicBezTo>
                    <a:pt x="14032" y="8273"/>
                    <a:pt x="14011" y="8325"/>
                    <a:pt x="13969" y="8353"/>
                  </a:cubicBezTo>
                  <a:cubicBezTo>
                    <a:pt x="13946" y="8368"/>
                    <a:pt x="13918" y="8375"/>
                    <a:pt x="13886" y="8375"/>
                  </a:cubicBezTo>
                  <a:cubicBezTo>
                    <a:pt x="13759" y="8375"/>
                    <a:pt x="13581" y="8270"/>
                    <a:pt x="13514" y="8231"/>
                  </a:cubicBezTo>
                  <a:cubicBezTo>
                    <a:pt x="13507" y="8229"/>
                    <a:pt x="13499" y="8229"/>
                    <a:pt x="13490" y="8229"/>
                  </a:cubicBezTo>
                  <a:cubicBezTo>
                    <a:pt x="13348" y="8229"/>
                    <a:pt x="12838" y="8365"/>
                    <a:pt x="12586" y="8434"/>
                  </a:cubicBezTo>
                  <a:cubicBezTo>
                    <a:pt x="12428" y="8476"/>
                    <a:pt x="12313" y="8507"/>
                    <a:pt x="12267" y="8514"/>
                  </a:cubicBezTo>
                  <a:cubicBezTo>
                    <a:pt x="12258" y="8516"/>
                    <a:pt x="12248" y="8517"/>
                    <a:pt x="12238" y="8517"/>
                  </a:cubicBezTo>
                  <a:cubicBezTo>
                    <a:pt x="12152" y="8517"/>
                    <a:pt x="12059" y="8450"/>
                    <a:pt x="11952" y="8374"/>
                  </a:cubicBezTo>
                  <a:cubicBezTo>
                    <a:pt x="11849" y="8302"/>
                    <a:pt x="11733" y="8224"/>
                    <a:pt x="11649" y="8224"/>
                  </a:cubicBezTo>
                  <a:cubicBezTo>
                    <a:pt x="11648" y="8224"/>
                    <a:pt x="11646" y="8224"/>
                    <a:pt x="11644" y="8224"/>
                  </a:cubicBezTo>
                  <a:cubicBezTo>
                    <a:pt x="11639" y="8224"/>
                    <a:pt x="11635" y="8224"/>
                    <a:pt x="11630" y="8224"/>
                  </a:cubicBezTo>
                  <a:cubicBezTo>
                    <a:pt x="11431" y="8224"/>
                    <a:pt x="11297" y="8001"/>
                    <a:pt x="11259" y="7608"/>
                  </a:cubicBezTo>
                  <a:cubicBezTo>
                    <a:pt x="11249" y="7468"/>
                    <a:pt x="11091" y="7324"/>
                    <a:pt x="10940" y="7180"/>
                  </a:cubicBezTo>
                  <a:cubicBezTo>
                    <a:pt x="10849" y="7103"/>
                    <a:pt x="10765" y="7016"/>
                    <a:pt x="10692" y="6925"/>
                  </a:cubicBezTo>
                  <a:cubicBezTo>
                    <a:pt x="10503" y="6669"/>
                    <a:pt x="10482" y="6116"/>
                    <a:pt x="10471" y="5819"/>
                  </a:cubicBezTo>
                  <a:lnTo>
                    <a:pt x="10471" y="5766"/>
                  </a:lnTo>
                  <a:cubicBezTo>
                    <a:pt x="10457" y="5437"/>
                    <a:pt x="10436" y="4887"/>
                    <a:pt x="10660" y="4268"/>
                  </a:cubicBezTo>
                  <a:cubicBezTo>
                    <a:pt x="10681" y="4212"/>
                    <a:pt x="10695" y="4156"/>
                    <a:pt x="10702" y="4096"/>
                  </a:cubicBezTo>
                  <a:lnTo>
                    <a:pt x="10685" y="4086"/>
                  </a:lnTo>
                  <a:lnTo>
                    <a:pt x="10671" y="4079"/>
                  </a:lnTo>
                  <a:lnTo>
                    <a:pt x="10657" y="4072"/>
                  </a:lnTo>
                  <a:lnTo>
                    <a:pt x="10643" y="4065"/>
                  </a:lnTo>
                  <a:lnTo>
                    <a:pt x="10629" y="4061"/>
                  </a:lnTo>
                  <a:lnTo>
                    <a:pt x="10622" y="4058"/>
                  </a:lnTo>
                  <a:lnTo>
                    <a:pt x="10604" y="4051"/>
                  </a:lnTo>
                  <a:lnTo>
                    <a:pt x="10601" y="4051"/>
                  </a:lnTo>
                  <a:cubicBezTo>
                    <a:pt x="10583" y="4044"/>
                    <a:pt x="10566" y="4040"/>
                    <a:pt x="10548" y="4040"/>
                  </a:cubicBezTo>
                  <a:cubicBezTo>
                    <a:pt x="10542" y="4041"/>
                    <a:pt x="10535" y="4041"/>
                    <a:pt x="10528" y="4041"/>
                  </a:cubicBezTo>
                  <a:cubicBezTo>
                    <a:pt x="10384" y="4041"/>
                    <a:pt x="10165" y="3938"/>
                    <a:pt x="9988" y="3858"/>
                  </a:cubicBezTo>
                  <a:cubicBezTo>
                    <a:pt x="9918" y="3823"/>
                    <a:pt x="9852" y="3792"/>
                    <a:pt x="9778" y="3771"/>
                  </a:cubicBezTo>
                  <a:cubicBezTo>
                    <a:pt x="9684" y="3771"/>
                    <a:pt x="9652" y="3673"/>
                    <a:pt x="9631" y="3582"/>
                  </a:cubicBezTo>
                  <a:lnTo>
                    <a:pt x="9624" y="3561"/>
                  </a:lnTo>
                  <a:cubicBezTo>
                    <a:pt x="9614" y="3505"/>
                    <a:pt x="9596" y="3452"/>
                    <a:pt x="9572" y="3403"/>
                  </a:cubicBezTo>
                  <a:cubicBezTo>
                    <a:pt x="9558" y="3386"/>
                    <a:pt x="9551" y="3368"/>
                    <a:pt x="9544" y="3351"/>
                  </a:cubicBezTo>
                  <a:cubicBezTo>
                    <a:pt x="9523" y="3295"/>
                    <a:pt x="9512" y="3235"/>
                    <a:pt x="9509" y="3175"/>
                  </a:cubicBezTo>
                  <a:cubicBezTo>
                    <a:pt x="9505" y="3126"/>
                    <a:pt x="9495" y="3077"/>
                    <a:pt x="9477" y="3032"/>
                  </a:cubicBezTo>
                  <a:cubicBezTo>
                    <a:pt x="9470" y="3021"/>
                    <a:pt x="9463" y="3011"/>
                    <a:pt x="9456" y="3004"/>
                  </a:cubicBezTo>
                  <a:cubicBezTo>
                    <a:pt x="9351" y="2923"/>
                    <a:pt x="9022" y="2612"/>
                    <a:pt x="8913" y="2230"/>
                  </a:cubicBezTo>
                  <a:cubicBezTo>
                    <a:pt x="8822" y="1908"/>
                    <a:pt x="8217" y="1733"/>
                    <a:pt x="8000" y="1723"/>
                  </a:cubicBezTo>
                  <a:cubicBezTo>
                    <a:pt x="7998" y="1723"/>
                    <a:pt x="7996" y="1722"/>
                    <a:pt x="7994" y="1722"/>
                  </a:cubicBezTo>
                  <a:cubicBezTo>
                    <a:pt x="7884" y="1722"/>
                    <a:pt x="7782" y="1931"/>
                    <a:pt x="7720" y="2055"/>
                  </a:cubicBezTo>
                  <a:cubicBezTo>
                    <a:pt x="7671" y="2153"/>
                    <a:pt x="7646" y="2206"/>
                    <a:pt x="7601" y="2223"/>
                  </a:cubicBezTo>
                  <a:cubicBezTo>
                    <a:pt x="7590" y="2227"/>
                    <a:pt x="7580" y="2229"/>
                    <a:pt x="7569" y="2229"/>
                  </a:cubicBezTo>
                  <a:cubicBezTo>
                    <a:pt x="7561" y="2229"/>
                    <a:pt x="7553" y="2228"/>
                    <a:pt x="7545" y="2227"/>
                  </a:cubicBezTo>
                  <a:cubicBezTo>
                    <a:pt x="7475" y="2216"/>
                    <a:pt x="7356" y="2153"/>
                    <a:pt x="7086" y="1996"/>
                  </a:cubicBezTo>
                  <a:cubicBezTo>
                    <a:pt x="7030" y="1964"/>
                    <a:pt x="6981" y="1933"/>
                    <a:pt x="6946" y="1912"/>
                  </a:cubicBezTo>
                  <a:lnTo>
                    <a:pt x="6914" y="1898"/>
                  </a:lnTo>
                  <a:cubicBezTo>
                    <a:pt x="6767" y="1824"/>
                    <a:pt x="6683" y="1674"/>
                    <a:pt x="6683" y="1488"/>
                  </a:cubicBezTo>
                  <a:cubicBezTo>
                    <a:pt x="6683" y="1366"/>
                    <a:pt x="6438" y="1142"/>
                    <a:pt x="6375" y="1124"/>
                  </a:cubicBezTo>
                  <a:cubicBezTo>
                    <a:pt x="6298" y="1096"/>
                    <a:pt x="5959" y="774"/>
                    <a:pt x="5749" y="567"/>
                  </a:cubicBezTo>
                  <a:lnTo>
                    <a:pt x="4950" y="567"/>
                  </a:lnTo>
                  <a:lnTo>
                    <a:pt x="4768" y="802"/>
                  </a:lnTo>
                  <a:lnTo>
                    <a:pt x="3172" y="812"/>
                  </a:lnTo>
                  <a:lnTo>
                    <a:pt x="3158" y="809"/>
                  </a:lnTo>
                  <a:cubicBezTo>
                    <a:pt x="3148" y="805"/>
                    <a:pt x="1968" y="371"/>
                    <a:pt x="1754" y="319"/>
                  </a:cubicBezTo>
                  <a:cubicBezTo>
                    <a:pt x="1555" y="273"/>
                    <a:pt x="1229" y="56"/>
                    <a:pt x="1142"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963" name="Google Shape;4963;p104"/>
            <p:cNvSpPr/>
            <p:nvPr/>
          </p:nvSpPr>
          <p:spPr>
            <a:xfrm>
              <a:off x="1356122" y="1909990"/>
              <a:ext cx="28160" cy="28771"/>
            </a:xfrm>
            <a:custGeom>
              <a:avLst/>
              <a:gdLst/>
              <a:ahLst/>
              <a:cxnLst/>
              <a:rect l="l" t="t" r="r" b="b"/>
              <a:pathLst>
                <a:path w="2074" h="2119" extrusionOk="0">
                  <a:moveTo>
                    <a:pt x="879" y="1"/>
                  </a:moveTo>
                  <a:cubicBezTo>
                    <a:pt x="851" y="60"/>
                    <a:pt x="830" y="123"/>
                    <a:pt x="816" y="186"/>
                  </a:cubicBezTo>
                  <a:cubicBezTo>
                    <a:pt x="806" y="246"/>
                    <a:pt x="788" y="302"/>
                    <a:pt x="764" y="354"/>
                  </a:cubicBezTo>
                  <a:cubicBezTo>
                    <a:pt x="788" y="382"/>
                    <a:pt x="830" y="421"/>
                    <a:pt x="865" y="452"/>
                  </a:cubicBezTo>
                  <a:cubicBezTo>
                    <a:pt x="1023" y="596"/>
                    <a:pt x="1201" y="761"/>
                    <a:pt x="1149" y="894"/>
                  </a:cubicBezTo>
                  <a:cubicBezTo>
                    <a:pt x="1108" y="1004"/>
                    <a:pt x="939" y="1031"/>
                    <a:pt x="725" y="1031"/>
                  </a:cubicBezTo>
                  <a:cubicBezTo>
                    <a:pt x="647" y="1031"/>
                    <a:pt x="563" y="1028"/>
                    <a:pt x="477" y="1023"/>
                  </a:cubicBezTo>
                  <a:cubicBezTo>
                    <a:pt x="445" y="1023"/>
                    <a:pt x="407" y="1020"/>
                    <a:pt x="386" y="1016"/>
                  </a:cubicBezTo>
                  <a:lnTo>
                    <a:pt x="375" y="1027"/>
                  </a:lnTo>
                  <a:lnTo>
                    <a:pt x="372" y="1034"/>
                  </a:lnTo>
                  <a:lnTo>
                    <a:pt x="365" y="1041"/>
                  </a:lnTo>
                  <a:lnTo>
                    <a:pt x="358" y="1048"/>
                  </a:lnTo>
                  <a:lnTo>
                    <a:pt x="351" y="1058"/>
                  </a:lnTo>
                  <a:lnTo>
                    <a:pt x="344" y="1069"/>
                  </a:lnTo>
                  <a:lnTo>
                    <a:pt x="333" y="1079"/>
                  </a:lnTo>
                  <a:lnTo>
                    <a:pt x="326" y="1090"/>
                  </a:lnTo>
                  <a:lnTo>
                    <a:pt x="316" y="1104"/>
                  </a:lnTo>
                  <a:lnTo>
                    <a:pt x="309" y="1114"/>
                  </a:lnTo>
                  <a:lnTo>
                    <a:pt x="295" y="1132"/>
                  </a:lnTo>
                  <a:lnTo>
                    <a:pt x="284" y="1142"/>
                  </a:lnTo>
                  <a:lnTo>
                    <a:pt x="270" y="1163"/>
                  </a:lnTo>
                  <a:lnTo>
                    <a:pt x="263" y="1174"/>
                  </a:lnTo>
                  <a:lnTo>
                    <a:pt x="246" y="1195"/>
                  </a:lnTo>
                  <a:lnTo>
                    <a:pt x="239" y="1205"/>
                  </a:lnTo>
                  <a:lnTo>
                    <a:pt x="218" y="1233"/>
                  </a:lnTo>
                  <a:lnTo>
                    <a:pt x="211" y="1244"/>
                  </a:lnTo>
                  <a:lnTo>
                    <a:pt x="190" y="1272"/>
                  </a:lnTo>
                  <a:lnTo>
                    <a:pt x="183" y="1282"/>
                  </a:lnTo>
                  <a:lnTo>
                    <a:pt x="155" y="1317"/>
                  </a:lnTo>
                  <a:lnTo>
                    <a:pt x="151" y="1324"/>
                  </a:lnTo>
                  <a:cubicBezTo>
                    <a:pt x="109" y="1387"/>
                    <a:pt x="57" y="1454"/>
                    <a:pt x="1" y="1534"/>
                  </a:cubicBezTo>
                  <a:lnTo>
                    <a:pt x="99" y="1618"/>
                  </a:lnTo>
                  <a:cubicBezTo>
                    <a:pt x="284" y="1786"/>
                    <a:pt x="459" y="1944"/>
                    <a:pt x="550" y="2000"/>
                  </a:cubicBezTo>
                  <a:cubicBezTo>
                    <a:pt x="626" y="2048"/>
                    <a:pt x="726" y="2057"/>
                    <a:pt x="831" y="2057"/>
                  </a:cubicBezTo>
                  <a:cubicBezTo>
                    <a:pt x="862" y="2057"/>
                    <a:pt x="893" y="2057"/>
                    <a:pt x="925" y="2056"/>
                  </a:cubicBezTo>
                  <a:lnTo>
                    <a:pt x="1012" y="2056"/>
                  </a:lnTo>
                  <a:cubicBezTo>
                    <a:pt x="1117" y="2056"/>
                    <a:pt x="1219" y="2066"/>
                    <a:pt x="1292" y="2119"/>
                  </a:cubicBezTo>
                  <a:lnTo>
                    <a:pt x="1303" y="2112"/>
                  </a:lnTo>
                  <a:lnTo>
                    <a:pt x="1310" y="2101"/>
                  </a:lnTo>
                  <a:lnTo>
                    <a:pt x="1348" y="2070"/>
                  </a:lnTo>
                  <a:lnTo>
                    <a:pt x="1359" y="2059"/>
                  </a:lnTo>
                  <a:lnTo>
                    <a:pt x="1387" y="2031"/>
                  </a:lnTo>
                  <a:lnTo>
                    <a:pt x="1401" y="2021"/>
                  </a:lnTo>
                  <a:lnTo>
                    <a:pt x="1425" y="1996"/>
                  </a:lnTo>
                  <a:lnTo>
                    <a:pt x="1439" y="1986"/>
                  </a:lnTo>
                  <a:lnTo>
                    <a:pt x="1460" y="1965"/>
                  </a:lnTo>
                  <a:lnTo>
                    <a:pt x="1471" y="1958"/>
                  </a:lnTo>
                  <a:lnTo>
                    <a:pt x="1492" y="1940"/>
                  </a:lnTo>
                  <a:lnTo>
                    <a:pt x="1502" y="1930"/>
                  </a:lnTo>
                  <a:lnTo>
                    <a:pt x="1520" y="1916"/>
                  </a:lnTo>
                  <a:lnTo>
                    <a:pt x="1527" y="1909"/>
                  </a:lnTo>
                  <a:lnTo>
                    <a:pt x="1544" y="1895"/>
                  </a:lnTo>
                  <a:lnTo>
                    <a:pt x="1551" y="1891"/>
                  </a:lnTo>
                  <a:lnTo>
                    <a:pt x="1565" y="1877"/>
                  </a:lnTo>
                  <a:lnTo>
                    <a:pt x="1572" y="1874"/>
                  </a:lnTo>
                  <a:lnTo>
                    <a:pt x="1586" y="1863"/>
                  </a:lnTo>
                  <a:lnTo>
                    <a:pt x="1593" y="1860"/>
                  </a:lnTo>
                  <a:lnTo>
                    <a:pt x="1604" y="1853"/>
                  </a:lnTo>
                  <a:lnTo>
                    <a:pt x="1607" y="1849"/>
                  </a:lnTo>
                  <a:lnTo>
                    <a:pt x="1618" y="1842"/>
                  </a:lnTo>
                  <a:lnTo>
                    <a:pt x="1621" y="1839"/>
                  </a:lnTo>
                  <a:lnTo>
                    <a:pt x="1632" y="1835"/>
                  </a:lnTo>
                  <a:lnTo>
                    <a:pt x="1635" y="1835"/>
                  </a:lnTo>
                  <a:lnTo>
                    <a:pt x="1642" y="1828"/>
                  </a:lnTo>
                  <a:lnTo>
                    <a:pt x="1646" y="1828"/>
                  </a:lnTo>
                  <a:lnTo>
                    <a:pt x="1653" y="1825"/>
                  </a:lnTo>
                  <a:lnTo>
                    <a:pt x="1660" y="1825"/>
                  </a:lnTo>
                  <a:lnTo>
                    <a:pt x="1670" y="1811"/>
                  </a:lnTo>
                  <a:cubicBezTo>
                    <a:pt x="1684" y="1790"/>
                    <a:pt x="1695" y="1765"/>
                    <a:pt x="1698" y="1737"/>
                  </a:cubicBezTo>
                  <a:cubicBezTo>
                    <a:pt x="1726" y="1601"/>
                    <a:pt x="1803" y="1478"/>
                    <a:pt x="1912" y="1394"/>
                  </a:cubicBezTo>
                  <a:cubicBezTo>
                    <a:pt x="1936" y="1377"/>
                    <a:pt x="1957" y="1356"/>
                    <a:pt x="1978" y="1335"/>
                  </a:cubicBezTo>
                  <a:lnTo>
                    <a:pt x="1986" y="1328"/>
                  </a:lnTo>
                  <a:cubicBezTo>
                    <a:pt x="2007" y="1310"/>
                    <a:pt x="2031" y="1289"/>
                    <a:pt x="2049" y="1268"/>
                  </a:cubicBezTo>
                  <a:lnTo>
                    <a:pt x="2059" y="1258"/>
                  </a:lnTo>
                  <a:lnTo>
                    <a:pt x="2073" y="1244"/>
                  </a:lnTo>
                  <a:cubicBezTo>
                    <a:pt x="2056" y="1237"/>
                    <a:pt x="2038" y="1230"/>
                    <a:pt x="2021" y="1219"/>
                  </a:cubicBezTo>
                  <a:cubicBezTo>
                    <a:pt x="1982" y="1188"/>
                    <a:pt x="1957" y="1139"/>
                    <a:pt x="1957" y="1086"/>
                  </a:cubicBezTo>
                  <a:lnTo>
                    <a:pt x="1688" y="1125"/>
                  </a:lnTo>
                  <a:lnTo>
                    <a:pt x="1688" y="1125"/>
                  </a:lnTo>
                  <a:lnTo>
                    <a:pt x="1716" y="11"/>
                  </a:lnTo>
                  <a:lnTo>
                    <a:pt x="1572" y="11"/>
                  </a:lnTo>
                  <a:cubicBezTo>
                    <a:pt x="1394" y="11"/>
                    <a:pt x="1166" y="4"/>
                    <a:pt x="1012" y="4"/>
                  </a:cubicBezTo>
                  <a:lnTo>
                    <a:pt x="879"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964" name="Google Shape;4964;p104"/>
            <p:cNvSpPr/>
            <p:nvPr/>
          </p:nvSpPr>
          <p:spPr>
            <a:xfrm>
              <a:off x="1378552" y="1934660"/>
              <a:ext cx="14" cy="14"/>
            </a:xfrm>
            <a:custGeom>
              <a:avLst/>
              <a:gdLst/>
              <a:ahLst/>
              <a:cxnLst/>
              <a:rect l="l" t="t" r="r" b="b"/>
              <a:pathLst>
                <a:path w="1" h="1" extrusionOk="0">
                  <a:moveTo>
                    <a:pt x="1"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965" name="Google Shape;4965;p104"/>
            <p:cNvSpPr/>
            <p:nvPr/>
          </p:nvSpPr>
          <p:spPr>
            <a:xfrm>
              <a:off x="1374370" y="1937892"/>
              <a:ext cx="163" cy="163"/>
            </a:xfrm>
            <a:custGeom>
              <a:avLst/>
              <a:gdLst/>
              <a:ahLst/>
              <a:cxnLst/>
              <a:rect l="l" t="t" r="r" b="b"/>
              <a:pathLst>
                <a:path w="12" h="12" extrusionOk="0">
                  <a:moveTo>
                    <a:pt x="11" y="1"/>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966" name="Google Shape;4966;p104"/>
            <p:cNvSpPr/>
            <p:nvPr/>
          </p:nvSpPr>
          <p:spPr>
            <a:xfrm>
              <a:off x="1373759" y="1938462"/>
              <a:ext cx="149" cy="163"/>
            </a:xfrm>
            <a:custGeom>
              <a:avLst/>
              <a:gdLst/>
              <a:ahLst/>
              <a:cxnLst/>
              <a:rect l="l" t="t" r="r" b="b"/>
              <a:pathLst>
                <a:path w="11" h="12" extrusionOk="0">
                  <a:moveTo>
                    <a:pt x="11" y="1"/>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967" name="Google Shape;4967;p104"/>
            <p:cNvSpPr/>
            <p:nvPr/>
          </p:nvSpPr>
          <p:spPr>
            <a:xfrm>
              <a:off x="1377601" y="1935190"/>
              <a:ext cx="109" cy="54"/>
            </a:xfrm>
            <a:custGeom>
              <a:avLst/>
              <a:gdLst/>
              <a:ahLst/>
              <a:cxnLst/>
              <a:rect l="l" t="t" r="r" b="b"/>
              <a:pathLst>
                <a:path w="8" h="4" extrusionOk="0">
                  <a:moveTo>
                    <a:pt x="8" y="0"/>
                  </a:moveTo>
                  <a:lnTo>
                    <a:pt x="1" y="4"/>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968" name="Google Shape;4968;p104"/>
            <p:cNvSpPr/>
            <p:nvPr/>
          </p:nvSpPr>
          <p:spPr>
            <a:xfrm>
              <a:off x="1378362" y="1934714"/>
              <a:ext cx="68" cy="14"/>
            </a:xfrm>
            <a:custGeom>
              <a:avLst/>
              <a:gdLst/>
              <a:ahLst/>
              <a:cxnLst/>
              <a:rect l="l" t="t" r="r" b="b"/>
              <a:pathLst>
                <a:path w="5" h="1" extrusionOk="0">
                  <a:moveTo>
                    <a:pt x="4"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969" name="Google Shape;4969;p104"/>
            <p:cNvSpPr/>
            <p:nvPr/>
          </p:nvSpPr>
          <p:spPr>
            <a:xfrm>
              <a:off x="1377370" y="1935380"/>
              <a:ext cx="109" cy="54"/>
            </a:xfrm>
            <a:custGeom>
              <a:avLst/>
              <a:gdLst/>
              <a:ahLst/>
              <a:cxnLst/>
              <a:rect l="l" t="t" r="r" b="b"/>
              <a:pathLst>
                <a:path w="8" h="4" extrusionOk="0">
                  <a:moveTo>
                    <a:pt x="7" y="0"/>
                  </a:moveTo>
                  <a:lnTo>
                    <a:pt x="0" y="4"/>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970" name="Google Shape;4970;p104"/>
            <p:cNvSpPr/>
            <p:nvPr/>
          </p:nvSpPr>
          <p:spPr>
            <a:xfrm>
              <a:off x="1377031" y="1935570"/>
              <a:ext cx="163" cy="109"/>
            </a:xfrm>
            <a:custGeom>
              <a:avLst/>
              <a:gdLst/>
              <a:ahLst/>
              <a:cxnLst/>
              <a:rect l="l" t="t" r="r" b="b"/>
              <a:pathLst>
                <a:path w="12" h="8" extrusionOk="0">
                  <a:moveTo>
                    <a:pt x="11"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971" name="Google Shape;4971;p104"/>
            <p:cNvSpPr/>
            <p:nvPr/>
          </p:nvSpPr>
          <p:spPr>
            <a:xfrm>
              <a:off x="1376705" y="1935855"/>
              <a:ext cx="149" cy="109"/>
            </a:xfrm>
            <a:custGeom>
              <a:avLst/>
              <a:gdLst/>
              <a:ahLst/>
              <a:cxnLst/>
              <a:rect l="l" t="t" r="r" b="b"/>
              <a:pathLst>
                <a:path w="11" h="8" extrusionOk="0">
                  <a:moveTo>
                    <a:pt x="11"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972" name="Google Shape;4972;p104"/>
            <p:cNvSpPr/>
            <p:nvPr/>
          </p:nvSpPr>
          <p:spPr>
            <a:xfrm>
              <a:off x="1375470" y="1936900"/>
              <a:ext cx="149" cy="149"/>
            </a:xfrm>
            <a:custGeom>
              <a:avLst/>
              <a:gdLst/>
              <a:ahLst/>
              <a:cxnLst/>
              <a:rect l="l" t="t" r="r" b="b"/>
              <a:pathLst>
                <a:path w="11" h="11" extrusionOk="0">
                  <a:moveTo>
                    <a:pt x="11" y="0"/>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973" name="Google Shape;4973;p104"/>
            <p:cNvSpPr/>
            <p:nvPr/>
          </p:nvSpPr>
          <p:spPr>
            <a:xfrm>
              <a:off x="1377846" y="1935040"/>
              <a:ext cx="109" cy="68"/>
            </a:xfrm>
            <a:custGeom>
              <a:avLst/>
              <a:gdLst/>
              <a:ahLst/>
              <a:cxnLst/>
              <a:rect l="l" t="t" r="r" b="b"/>
              <a:pathLst>
                <a:path w="8" h="5" extrusionOk="0">
                  <a:moveTo>
                    <a:pt x="7"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974" name="Google Shape;4974;p104"/>
            <p:cNvSpPr/>
            <p:nvPr/>
          </p:nvSpPr>
          <p:spPr>
            <a:xfrm>
              <a:off x="1378076" y="1934905"/>
              <a:ext cx="68" cy="54"/>
            </a:xfrm>
            <a:custGeom>
              <a:avLst/>
              <a:gdLst/>
              <a:ahLst/>
              <a:cxnLst/>
              <a:rect l="l" t="t" r="r" b="b"/>
              <a:pathLst>
                <a:path w="5" h="4" extrusionOk="0">
                  <a:moveTo>
                    <a:pt x="4" y="0"/>
                  </a:moveTo>
                  <a:lnTo>
                    <a:pt x="1" y="4"/>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975" name="Google Shape;4975;p104"/>
            <p:cNvSpPr/>
            <p:nvPr/>
          </p:nvSpPr>
          <p:spPr>
            <a:xfrm>
              <a:off x="1374899" y="1937376"/>
              <a:ext cx="204" cy="149"/>
            </a:xfrm>
            <a:custGeom>
              <a:avLst/>
              <a:gdLst/>
              <a:ahLst/>
              <a:cxnLst/>
              <a:rect l="l" t="t" r="r" b="b"/>
              <a:pathLst>
                <a:path w="15" h="11" extrusionOk="0">
                  <a:moveTo>
                    <a:pt x="14" y="0"/>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976" name="Google Shape;4976;p104"/>
            <p:cNvSpPr/>
            <p:nvPr/>
          </p:nvSpPr>
          <p:spPr>
            <a:xfrm>
              <a:off x="1375890" y="1936520"/>
              <a:ext cx="204" cy="109"/>
            </a:xfrm>
            <a:custGeom>
              <a:avLst/>
              <a:gdLst/>
              <a:ahLst/>
              <a:cxnLst/>
              <a:rect l="l" t="t" r="r" b="b"/>
              <a:pathLst>
                <a:path w="15" h="8" extrusionOk="0">
                  <a:moveTo>
                    <a:pt x="15"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977" name="Google Shape;4977;p104"/>
            <p:cNvSpPr/>
            <p:nvPr/>
          </p:nvSpPr>
          <p:spPr>
            <a:xfrm>
              <a:off x="1376325" y="1936140"/>
              <a:ext cx="149" cy="149"/>
            </a:xfrm>
            <a:custGeom>
              <a:avLst/>
              <a:gdLst/>
              <a:ahLst/>
              <a:cxnLst/>
              <a:rect l="l" t="t" r="r" b="b"/>
              <a:pathLst>
                <a:path w="11" h="11" extrusionOk="0">
                  <a:moveTo>
                    <a:pt x="11" y="0"/>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978" name="Google Shape;4978;p104"/>
            <p:cNvSpPr/>
            <p:nvPr/>
          </p:nvSpPr>
          <p:spPr>
            <a:xfrm>
              <a:off x="1378226" y="1934810"/>
              <a:ext cx="54" cy="14"/>
            </a:xfrm>
            <a:custGeom>
              <a:avLst/>
              <a:gdLst/>
              <a:ahLst/>
              <a:cxnLst/>
              <a:rect l="l" t="t" r="r" b="b"/>
              <a:pathLst>
                <a:path w="4" h="1" extrusionOk="0">
                  <a:moveTo>
                    <a:pt x="4"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979" name="Google Shape;4979;p104"/>
            <p:cNvSpPr/>
            <p:nvPr/>
          </p:nvSpPr>
          <p:spPr>
            <a:xfrm>
              <a:off x="1378647" y="1928917"/>
              <a:ext cx="3435" cy="5716"/>
            </a:xfrm>
            <a:custGeom>
              <a:avLst/>
              <a:gdLst/>
              <a:ahLst/>
              <a:cxnLst/>
              <a:rect l="l" t="t" r="r" b="b"/>
              <a:pathLst>
                <a:path w="253" h="421" extrusionOk="0">
                  <a:moveTo>
                    <a:pt x="253" y="0"/>
                  </a:moveTo>
                  <a:lnTo>
                    <a:pt x="253" y="0"/>
                  </a:lnTo>
                  <a:cubicBezTo>
                    <a:pt x="141" y="84"/>
                    <a:pt x="64" y="207"/>
                    <a:pt x="36" y="343"/>
                  </a:cubicBezTo>
                  <a:cubicBezTo>
                    <a:pt x="32" y="368"/>
                    <a:pt x="25" y="389"/>
                    <a:pt x="15" y="410"/>
                  </a:cubicBezTo>
                  <a:lnTo>
                    <a:pt x="1" y="420"/>
                  </a:lnTo>
                  <a:lnTo>
                    <a:pt x="11" y="417"/>
                  </a:lnTo>
                  <a:cubicBezTo>
                    <a:pt x="25" y="392"/>
                    <a:pt x="36" y="368"/>
                    <a:pt x="39" y="343"/>
                  </a:cubicBezTo>
                  <a:cubicBezTo>
                    <a:pt x="67" y="207"/>
                    <a:pt x="141" y="84"/>
                    <a:pt x="253"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980" name="Google Shape;4980;p104"/>
            <p:cNvSpPr/>
            <p:nvPr/>
          </p:nvSpPr>
          <p:spPr>
            <a:xfrm>
              <a:off x="1384078" y="1926867"/>
              <a:ext cx="204" cy="204"/>
            </a:xfrm>
            <a:custGeom>
              <a:avLst/>
              <a:gdLst/>
              <a:ahLst/>
              <a:cxnLst/>
              <a:rect l="l" t="t" r="r" b="b"/>
              <a:pathLst>
                <a:path w="15" h="15" extrusionOk="0">
                  <a:moveTo>
                    <a:pt x="14" y="1"/>
                  </a:moveTo>
                  <a:lnTo>
                    <a:pt x="14" y="1"/>
                  </a:lnTo>
                  <a:lnTo>
                    <a:pt x="0" y="15"/>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981" name="Google Shape;4981;p104"/>
            <p:cNvSpPr/>
            <p:nvPr/>
          </p:nvSpPr>
          <p:spPr>
            <a:xfrm>
              <a:off x="1383127" y="1927152"/>
              <a:ext cx="869" cy="869"/>
            </a:xfrm>
            <a:custGeom>
              <a:avLst/>
              <a:gdLst/>
              <a:ahLst/>
              <a:cxnLst/>
              <a:rect l="l" t="t" r="r" b="b"/>
              <a:pathLst>
                <a:path w="64" h="64" extrusionOk="0">
                  <a:moveTo>
                    <a:pt x="63" y="1"/>
                  </a:moveTo>
                  <a:cubicBezTo>
                    <a:pt x="39" y="22"/>
                    <a:pt x="21" y="43"/>
                    <a:pt x="0" y="64"/>
                  </a:cubicBezTo>
                  <a:cubicBezTo>
                    <a:pt x="21" y="46"/>
                    <a:pt x="42" y="22"/>
                    <a:pt x="63" y="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982" name="Google Shape;4982;p104"/>
            <p:cNvSpPr/>
            <p:nvPr/>
          </p:nvSpPr>
          <p:spPr>
            <a:xfrm>
              <a:off x="1378647" y="1934524"/>
              <a:ext cx="204" cy="149"/>
            </a:xfrm>
            <a:custGeom>
              <a:avLst/>
              <a:gdLst/>
              <a:ahLst/>
              <a:cxnLst/>
              <a:rect l="l" t="t" r="r" b="b"/>
              <a:pathLst>
                <a:path w="15" h="11" extrusionOk="0">
                  <a:moveTo>
                    <a:pt x="15" y="0"/>
                  </a:moveTo>
                  <a:lnTo>
                    <a:pt x="6" y="7"/>
                  </a:lnTo>
                  <a:lnTo>
                    <a:pt x="6" y="7"/>
                  </a:lnTo>
                  <a:cubicBezTo>
                    <a:pt x="12" y="7"/>
                    <a:pt x="15" y="4"/>
                    <a:pt x="15" y="0"/>
                  </a:cubicBezTo>
                  <a:close/>
                  <a:moveTo>
                    <a:pt x="6" y="7"/>
                  </a:moveTo>
                  <a:cubicBezTo>
                    <a:pt x="5" y="7"/>
                    <a:pt x="5" y="7"/>
                    <a:pt x="4" y="7"/>
                  </a:cubicBezTo>
                  <a:lnTo>
                    <a:pt x="1" y="7"/>
                  </a:lnTo>
                  <a:lnTo>
                    <a:pt x="1" y="11"/>
                  </a:lnTo>
                  <a:lnTo>
                    <a:pt x="6" y="7"/>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983" name="Google Shape;4983;p104"/>
            <p:cNvSpPr/>
            <p:nvPr/>
          </p:nvSpPr>
          <p:spPr>
            <a:xfrm>
              <a:off x="1358213" y="1927342"/>
              <a:ext cx="394" cy="543"/>
            </a:xfrm>
            <a:custGeom>
              <a:avLst/>
              <a:gdLst/>
              <a:ahLst/>
              <a:cxnLst/>
              <a:rect l="l" t="t" r="r" b="b"/>
              <a:pathLst>
                <a:path w="29" h="40" extrusionOk="0">
                  <a:moveTo>
                    <a:pt x="1" y="39"/>
                  </a:moveTo>
                  <a:lnTo>
                    <a:pt x="29"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984" name="Google Shape;4984;p104"/>
            <p:cNvSpPr/>
            <p:nvPr/>
          </p:nvSpPr>
          <p:spPr>
            <a:xfrm>
              <a:off x="1360874" y="1924206"/>
              <a:ext cx="109" cy="163"/>
            </a:xfrm>
            <a:custGeom>
              <a:avLst/>
              <a:gdLst/>
              <a:ahLst/>
              <a:cxnLst/>
              <a:rect l="l" t="t" r="r" b="b"/>
              <a:pathLst>
                <a:path w="8" h="12" extrusionOk="0">
                  <a:moveTo>
                    <a:pt x="1" y="11"/>
                  </a:moveTo>
                  <a:lnTo>
                    <a:pt x="8"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985" name="Google Shape;4985;p104"/>
            <p:cNvSpPr/>
            <p:nvPr/>
          </p:nvSpPr>
          <p:spPr>
            <a:xfrm>
              <a:off x="1361064" y="1923975"/>
              <a:ext cx="109" cy="149"/>
            </a:xfrm>
            <a:custGeom>
              <a:avLst/>
              <a:gdLst/>
              <a:ahLst/>
              <a:cxnLst/>
              <a:rect l="l" t="t" r="r" b="b"/>
              <a:pathLst>
                <a:path w="8" h="11" extrusionOk="0">
                  <a:moveTo>
                    <a:pt x="1" y="11"/>
                  </a:moveTo>
                  <a:lnTo>
                    <a:pt x="8"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986" name="Google Shape;4986;p104"/>
            <p:cNvSpPr/>
            <p:nvPr/>
          </p:nvSpPr>
          <p:spPr>
            <a:xfrm>
              <a:off x="1356122" y="1927912"/>
              <a:ext cx="2064" cy="2865"/>
            </a:xfrm>
            <a:custGeom>
              <a:avLst/>
              <a:gdLst/>
              <a:ahLst/>
              <a:cxnLst/>
              <a:rect l="l" t="t" r="r" b="b"/>
              <a:pathLst>
                <a:path w="152" h="211" extrusionOk="0">
                  <a:moveTo>
                    <a:pt x="1" y="211"/>
                  </a:moveTo>
                  <a:lnTo>
                    <a:pt x="1" y="211"/>
                  </a:lnTo>
                  <a:cubicBezTo>
                    <a:pt x="57" y="134"/>
                    <a:pt x="106" y="64"/>
                    <a:pt x="151" y="1"/>
                  </a:cubicBezTo>
                  <a:cubicBezTo>
                    <a:pt x="106" y="64"/>
                    <a:pt x="57" y="134"/>
                    <a:pt x="1" y="21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987" name="Google Shape;4987;p104"/>
            <p:cNvSpPr/>
            <p:nvPr/>
          </p:nvSpPr>
          <p:spPr>
            <a:xfrm>
              <a:off x="1358647" y="1926826"/>
              <a:ext cx="339" cy="434"/>
            </a:xfrm>
            <a:custGeom>
              <a:avLst/>
              <a:gdLst/>
              <a:ahLst/>
              <a:cxnLst/>
              <a:rect l="l" t="t" r="r" b="b"/>
              <a:pathLst>
                <a:path w="25" h="32" extrusionOk="0">
                  <a:moveTo>
                    <a:pt x="0" y="32"/>
                  </a:moveTo>
                  <a:lnTo>
                    <a:pt x="25"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988" name="Google Shape;4988;p104"/>
            <p:cNvSpPr/>
            <p:nvPr/>
          </p:nvSpPr>
          <p:spPr>
            <a:xfrm>
              <a:off x="1377465" y="1910085"/>
              <a:ext cx="1955" cy="14"/>
            </a:xfrm>
            <a:custGeom>
              <a:avLst/>
              <a:gdLst/>
              <a:ahLst/>
              <a:cxnLst/>
              <a:rect l="l" t="t" r="r" b="b"/>
              <a:pathLst>
                <a:path w="144" h="1" extrusionOk="0">
                  <a:moveTo>
                    <a:pt x="144" y="1"/>
                  </a:moveTo>
                  <a:lnTo>
                    <a:pt x="144" y="1"/>
                  </a:lnTo>
                  <a:lnTo>
                    <a:pt x="0" y="1"/>
                  </a:lnTo>
                  <a:cubicBezTo>
                    <a:pt x="60" y="1"/>
                    <a:pt x="105" y="1"/>
                    <a:pt x="144" y="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989" name="Google Shape;4989;p104"/>
            <p:cNvSpPr/>
            <p:nvPr/>
          </p:nvSpPr>
          <p:spPr>
            <a:xfrm>
              <a:off x="1359788" y="1925441"/>
              <a:ext cx="204" cy="299"/>
            </a:xfrm>
            <a:custGeom>
              <a:avLst/>
              <a:gdLst/>
              <a:ahLst/>
              <a:cxnLst/>
              <a:rect l="l" t="t" r="r" b="b"/>
              <a:pathLst>
                <a:path w="15" h="22" extrusionOk="0">
                  <a:moveTo>
                    <a:pt x="0" y="22"/>
                  </a:moveTo>
                  <a:lnTo>
                    <a:pt x="14"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990" name="Google Shape;4990;p104"/>
            <p:cNvSpPr/>
            <p:nvPr/>
          </p:nvSpPr>
          <p:spPr>
            <a:xfrm>
              <a:off x="1359448" y="1925876"/>
              <a:ext cx="258" cy="339"/>
            </a:xfrm>
            <a:custGeom>
              <a:avLst/>
              <a:gdLst/>
              <a:ahLst/>
              <a:cxnLst/>
              <a:rect l="l" t="t" r="r" b="b"/>
              <a:pathLst>
                <a:path w="19" h="25" extrusionOk="0">
                  <a:moveTo>
                    <a:pt x="1" y="25"/>
                  </a:moveTo>
                  <a:lnTo>
                    <a:pt x="18"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991" name="Google Shape;4991;p104"/>
            <p:cNvSpPr/>
            <p:nvPr/>
          </p:nvSpPr>
          <p:spPr>
            <a:xfrm>
              <a:off x="1360113" y="1925115"/>
              <a:ext cx="163" cy="204"/>
            </a:xfrm>
            <a:custGeom>
              <a:avLst/>
              <a:gdLst/>
              <a:ahLst/>
              <a:cxnLst/>
              <a:rect l="l" t="t" r="r" b="b"/>
              <a:pathLst>
                <a:path w="12" h="15" extrusionOk="0">
                  <a:moveTo>
                    <a:pt x="1" y="14"/>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992" name="Google Shape;4992;p104"/>
            <p:cNvSpPr/>
            <p:nvPr/>
          </p:nvSpPr>
          <p:spPr>
            <a:xfrm>
              <a:off x="1361213" y="1923785"/>
              <a:ext cx="149" cy="149"/>
            </a:xfrm>
            <a:custGeom>
              <a:avLst/>
              <a:gdLst/>
              <a:ahLst/>
              <a:cxnLst/>
              <a:rect l="l" t="t" r="r" b="b"/>
              <a:pathLst>
                <a:path w="11" h="11" extrusionOk="0">
                  <a:moveTo>
                    <a:pt x="0" y="11"/>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993" name="Google Shape;4993;p104"/>
            <p:cNvSpPr/>
            <p:nvPr/>
          </p:nvSpPr>
          <p:spPr>
            <a:xfrm>
              <a:off x="1360643" y="1924450"/>
              <a:ext cx="149" cy="204"/>
            </a:xfrm>
            <a:custGeom>
              <a:avLst/>
              <a:gdLst/>
              <a:ahLst/>
              <a:cxnLst/>
              <a:rect l="l" t="t" r="r" b="b"/>
              <a:pathLst>
                <a:path w="11" h="15" extrusionOk="0">
                  <a:moveTo>
                    <a:pt x="0" y="14"/>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994" name="Google Shape;4994;p104"/>
            <p:cNvSpPr/>
            <p:nvPr/>
          </p:nvSpPr>
          <p:spPr>
            <a:xfrm>
              <a:off x="1360399" y="1924735"/>
              <a:ext cx="163" cy="244"/>
            </a:xfrm>
            <a:custGeom>
              <a:avLst/>
              <a:gdLst/>
              <a:ahLst/>
              <a:cxnLst/>
              <a:rect l="l" t="t" r="r" b="b"/>
              <a:pathLst>
                <a:path w="12" h="18" extrusionOk="0">
                  <a:moveTo>
                    <a:pt x="1" y="18"/>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995" name="Google Shape;4995;p104"/>
            <p:cNvSpPr/>
            <p:nvPr/>
          </p:nvSpPr>
          <p:spPr>
            <a:xfrm>
              <a:off x="1359068" y="1926351"/>
              <a:ext cx="258" cy="339"/>
            </a:xfrm>
            <a:custGeom>
              <a:avLst/>
              <a:gdLst/>
              <a:ahLst/>
              <a:cxnLst/>
              <a:rect l="l" t="t" r="r" b="b"/>
              <a:pathLst>
                <a:path w="19" h="25" extrusionOk="0">
                  <a:moveTo>
                    <a:pt x="1" y="25"/>
                  </a:moveTo>
                  <a:lnTo>
                    <a:pt x="18"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996" name="Google Shape;4996;p104"/>
            <p:cNvSpPr/>
            <p:nvPr/>
          </p:nvSpPr>
          <p:spPr>
            <a:xfrm>
              <a:off x="1380833" y="1905333"/>
              <a:ext cx="7386" cy="17841"/>
            </a:xfrm>
            <a:custGeom>
              <a:avLst/>
              <a:gdLst/>
              <a:ahLst/>
              <a:cxnLst/>
              <a:rect l="l" t="t" r="r" b="b"/>
              <a:pathLst>
                <a:path w="544" h="1314" extrusionOk="0">
                  <a:moveTo>
                    <a:pt x="397" y="1"/>
                  </a:moveTo>
                  <a:cubicBezTo>
                    <a:pt x="341" y="4"/>
                    <a:pt x="250" y="120"/>
                    <a:pt x="194" y="193"/>
                  </a:cubicBezTo>
                  <a:lnTo>
                    <a:pt x="173" y="225"/>
                  </a:lnTo>
                  <a:cubicBezTo>
                    <a:pt x="155" y="246"/>
                    <a:pt x="141" y="267"/>
                    <a:pt x="127" y="281"/>
                  </a:cubicBezTo>
                  <a:lnTo>
                    <a:pt x="127" y="284"/>
                  </a:lnTo>
                  <a:lnTo>
                    <a:pt x="120" y="291"/>
                  </a:lnTo>
                  <a:lnTo>
                    <a:pt x="116" y="298"/>
                  </a:lnTo>
                  <a:lnTo>
                    <a:pt x="109" y="305"/>
                  </a:lnTo>
                  <a:lnTo>
                    <a:pt x="106" y="309"/>
                  </a:lnTo>
                  <a:lnTo>
                    <a:pt x="99" y="316"/>
                  </a:lnTo>
                  <a:lnTo>
                    <a:pt x="95" y="319"/>
                  </a:lnTo>
                  <a:lnTo>
                    <a:pt x="88" y="323"/>
                  </a:lnTo>
                  <a:lnTo>
                    <a:pt x="85" y="326"/>
                  </a:lnTo>
                  <a:lnTo>
                    <a:pt x="78" y="330"/>
                  </a:lnTo>
                  <a:lnTo>
                    <a:pt x="74" y="333"/>
                  </a:lnTo>
                  <a:lnTo>
                    <a:pt x="64" y="333"/>
                  </a:lnTo>
                  <a:cubicBezTo>
                    <a:pt x="53" y="337"/>
                    <a:pt x="43" y="340"/>
                    <a:pt x="32" y="340"/>
                  </a:cubicBezTo>
                  <a:lnTo>
                    <a:pt x="1" y="1314"/>
                  </a:lnTo>
                  <a:lnTo>
                    <a:pt x="155" y="1293"/>
                  </a:lnTo>
                  <a:cubicBezTo>
                    <a:pt x="190" y="1188"/>
                    <a:pt x="253" y="1093"/>
                    <a:pt x="341" y="1023"/>
                  </a:cubicBezTo>
                  <a:cubicBezTo>
                    <a:pt x="418" y="963"/>
                    <a:pt x="397" y="771"/>
                    <a:pt x="376" y="603"/>
                  </a:cubicBezTo>
                  <a:cubicBezTo>
                    <a:pt x="351" y="379"/>
                    <a:pt x="323" y="148"/>
                    <a:pt x="512" y="102"/>
                  </a:cubicBezTo>
                  <a:cubicBezTo>
                    <a:pt x="523" y="99"/>
                    <a:pt x="533" y="95"/>
                    <a:pt x="544" y="88"/>
                  </a:cubicBezTo>
                  <a:cubicBezTo>
                    <a:pt x="523" y="74"/>
                    <a:pt x="505" y="60"/>
                    <a:pt x="491" y="46"/>
                  </a:cubicBezTo>
                  <a:lnTo>
                    <a:pt x="470" y="32"/>
                  </a:lnTo>
                  <a:lnTo>
                    <a:pt x="456" y="22"/>
                  </a:lnTo>
                  <a:lnTo>
                    <a:pt x="449" y="22"/>
                  </a:lnTo>
                  <a:cubicBezTo>
                    <a:pt x="435" y="8"/>
                    <a:pt x="418" y="1"/>
                    <a:pt x="397" y="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997" name="Google Shape;4997;p104"/>
            <p:cNvSpPr/>
            <p:nvPr/>
          </p:nvSpPr>
          <p:spPr>
            <a:xfrm>
              <a:off x="1381973" y="1909664"/>
              <a:ext cx="109" cy="54"/>
            </a:xfrm>
            <a:custGeom>
              <a:avLst/>
              <a:gdLst/>
              <a:ahLst/>
              <a:cxnLst/>
              <a:rect l="l" t="t" r="r" b="b"/>
              <a:pathLst>
                <a:path w="8" h="4" extrusionOk="0">
                  <a:moveTo>
                    <a:pt x="1" y="4"/>
                  </a:moveTo>
                  <a:lnTo>
                    <a:pt x="8"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998" name="Google Shape;4998;p104"/>
            <p:cNvSpPr/>
            <p:nvPr/>
          </p:nvSpPr>
          <p:spPr>
            <a:xfrm>
              <a:off x="1381837" y="1909800"/>
              <a:ext cx="109" cy="14"/>
            </a:xfrm>
            <a:custGeom>
              <a:avLst/>
              <a:gdLst/>
              <a:ahLst/>
              <a:cxnLst/>
              <a:rect l="l" t="t" r="r" b="b"/>
              <a:pathLst>
                <a:path w="8" h="1" extrusionOk="0">
                  <a:moveTo>
                    <a:pt x="0" y="1"/>
                  </a:moveTo>
                  <a:lnTo>
                    <a:pt x="7"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999" name="Google Shape;4999;p104"/>
            <p:cNvSpPr/>
            <p:nvPr/>
          </p:nvSpPr>
          <p:spPr>
            <a:xfrm>
              <a:off x="1386970" y="1905618"/>
              <a:ext cx="68" cy="68"/>
            </a:xfrm>
            <a:custGeom>
              <a:avLst/>
              <a:gdLst/>
              <a:ahLst/>
              <a:cxnLst/>
              <a:rect l="l" t="t" r="r" b="b"/>
              <a:pathLst>
                <a:path w="5" h="5" extrusionOk="0">
                  <a:moveTo>
                    <a:pt x="1" y="1"/>
                  </a:moveTo>
                  <a:lnTo>
                    <a:pt x="4" y="4"/>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000" name="Google Shape;5000;p104"/>
            <p:cNvSpPr/>
            <p:nvPr/>
          </p:nvSpPr>
          <p:spPr>
            <a:xfrm>
              <a:off x="1382123" y="1909515"/>
              <a:ext cx="109" cy="109"/>
            </a:xfrm>
            <a:custGeom>
              <a:avLst/>
              <a:gdLst/>
              <a:ahLst/>
              <a:cxnLst/>
              <a:rect l="l" t="t" r="r" b="b"/>
              <a:pathLst>
                <a:path w="8" h="8" extrusionOk="0">
                  <a:moveTo>
                    <a:pt x="7" y="1"/>
                  </a:moveTo>
                  <a:lnTo>
                    <a:pt x="0" y="8"/>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001" name="Google Shape;5001;p104"/>
            <p:cNvSpPr/>
            <p:nvPr/>
          </p:nvSpPr>
          <p:spPr>
            <a:xfrm>
              <a:off x="1382543" y="1908374"/>
              <a:ext cx="584" cy="774"/>
            </a:xfrm>
            <a:custGeom>
              <a:avLst/>
              <a:gdLst/>
              <a:ahLst/>
              <a:cxnLst/>
              <a:rect l="l" t="t" r="r" b="b"/>
              <a:pathLst>
                <a:path w="43" h="57" extrusionOk="0">
                  <a:moveTo>
                    <a:pt x="1" y="57"/>
                  </a:moveTo>
                  <a:cubicBezTo>
                    <a:pt x="11" y="43"/>
                    <a:pt x="25" y="22"/>
                    <a:pt x="43" y="1"/>
                  </a:cubicBezTo>
                  <a:cubicBezTo>
                    <a:pt x="25" y="22"/>
                    <a:pt x="11" y="43"/>
                    <a:pt x="1" y="57"/>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002" name="Google Shape;5002;p104"/>
            <p:cNvSpPr/>
            <p:nvPr/>
          </p:nvSpPr>
          <p:spPr>
            <a:xfrm>
              <a:off x="1387214" y="1905767"/>
              <a:ext cx="244" cy="204"/>
            </a:xfrm>
            <a:custGeom>
              <a:avLst/>
              <a:gdLst/>
              <a:ahLst/>
              <a:cxnLst/>
              <a:rect l="l" t="t" r="r" b="b"/>
              <a:pathLst>
                <a:path w="18" h="15" extrusionOk="0">
                  <a:moveTo>
                    <a:pt x="0" y="0"/>
                  </a:moveTo>
                  <a:lnTo>
                    <a:pt x="18" y="14"/>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003" name="Google Shape;5003;p104"/>
            <p:cNvSpPr/>
            <p:nvPr/>
          </p:nvSpPr>
          <p:spPr>
            <a:xfrm>
              <a:off x="1382408" y="1909189"/>
              <a:ext cx="109" cy="149"/>
            </a:xfrm>
            <a:custGeom>
              <a:avLst/>
              <a:gdLst/>
              <a:ahLst/>
              <a:cxnLst/>
              <a:rect l="l" t="t" r="r" b="b"/>
              <a:pathLst>
                <a:path w="8" h="11" extrusionOk="0">
                  <a:moveTo>
                    <a:pt x="0" y="11"/>
                  </a:moveTo>
                  <a:lnTo>
                    <a:pt x="7"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004" name="Google Shape;5004;p104"/>
            <p:cNvSpPr/>
            <p:nvPr/>
          </p:nvSpPr>
          <p:spPr>
            <a:xfrm>
              <a:off x="1381593" y="1909949"/>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005" name="Google Shape;5005;p104"/>
            <p:cNvSpPr/>
            <p:nvPr/>
          </p:nvSpPr>
          <p:spPr>
            <a:xfrm>
              <a:off x="1387499" y="1905957"/>
              <a:ext cx="720" cy="584"/>
            </a:xfrm>
            <a:custGeom>
              <a:avLst/>
              <a:gdLst/>
              <a:ahLst/>
              <a:cxnLst/>
              <a:rect l="l" t="t" r="r" b="b"/>
              <a:pathLst>
                <a:path w="53" h="43" extrusionOk="0">
                  <a:moveTo>
                    <a:pt x="0" y="0"/>
                  </a:moveTo>
                  <a:cubicBezTo>
                    <a:pt x="14" y="14"/>
                    <a:pt x="32" y="25"/>
                    <a:pt x="53" y="42"/>
                  </a:cubicBezTo>
                  <a:cubicBezTo>
                    <a:pt x="32" y="25"/>
                    <a:pt x="14" y="11"/>
                    <a:pt x="0"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006" name="Google Shape;5006;p104"/>
            <p:cNvSpPr/>
            <p:nvPr/>
          </p:nvSpPr>
          <p:spPr>
            <a:xfrm>
              <a:off x="1382258" y="1909379"/>
              <a:ext cx="109" cy="109"/>
            </a:xfrm>
            <a:custGeom>
              <a:avLst/>
              <a:gdLst/>
              <a:ahLst/>
              <a:cxnLst/>
              <a:rect l="l" t="t" r="r" b="b"/>
              <a:pathLst>
                <a:path w="8" h="8" extrusionOk="0">
                  <a:moveTo>
                    <a:pt x="1" y="7"/>
                  </a:moveTo>
                  <a:lnTo>
                    <a:pt x="8"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007" name="Google Shape;5007;p104"/>
            <p:cNvSpPr/>
            <p:nvPr/>
          </p:nvSpPr>
          <p:spPr>
            <a:xfrm>
              <a:off x="1381688" y="1909854"/>
              <a:ext cx="109" cy="54"/>
            </a:xfrm>
            <a:custGeom>
              <a:avLst/>
              <a:gdLst/>
              <a:ahLst/>
              <a:cxnLst/>
              <a:rect l="l" t="t" r="r" b="b"/>
              <a:pathLst>
                <a:path w="8" h="4" extrusionOk="0">
                  <a:moveTo>
                    <a:pt x="4" y="0"/>
                  </a:moveTo>
                  <a:lnTo>
                    <a:pt x="1" y="4"/>
                  </a:lnTo>
                  <a:lnTo>
                    <a:pt x="8"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008" name="Google Shape;5008;p104"/>
            <p:cNvSpPr/>
            <p:nvPr/>
          </p:nvSpPr>
          <p:spPr>
            <a:xfrm>
              <a:off x="1380833" y="1922875"/>
              <a:ext cx="2105" cy="299"/>
            </a:xfrm>
            <a:custGeom>
              <a:avLst/>
              <a:gdLst/>
              <a:ahLst/>
              <a:cxnLst/>
              <a:rect l="l" t="t" r="r" b="b"/>
              <a:pathLst>
                <a:path w="155" h="22" extrusionOk="0">
                  <a:moveTo>
                    <a:pt x="155" y="1"/>
                  </a:moveTo>
                  <a:lnTo>
                    <a:pt x="155" y="1"/>
                  </a:lnTo>
                  <a:lnTo>
                    <a:pt x="1" y="22"/>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009" name="Google Shape;5009;p104"/>
            <p:cNvSpPr/>
            <p:nvPr/>
          </p:nvSpPr>
          <p:spPr>
            <a:xfrm>
              <a:off x="1490539" y="1892285"/>
              <a:ext cx="19416" cy="14772"/>
            </a:xfrm>
            <a:custGeom>
              <a:avLst/>
              <a:gdLst/>
              <a:ahLst/>
              <a:cxnLst/>
              <a:rect l="l" t="t" r="r" b="b"/>
              <a:pathLst>
                <a:path w="1430" h="1088" extrusionOk="0">
                  <a:moveTo>
                    <a:pt x="793" y="0"/>
                  </a:moveTo>
                  <a:cubicBezTo>
                    <a:pt x="749" y="0"/>
                    <a:pt x="711" y="8"/>
                    <a:pt x="684" y="27"/>
                  </a:cubicBezTo>
                  <a:cubicBezTo>
                    <a:pt x="659" y="45"/>
                    <a:pt x="656" y="59"/>
                    <a:pt x="652" y="69"/>
                  </a:cubicBezTo>
                  <a:cubicBezTo>
                    <a:pt x="645" y="136"/>
                    <a:pt x="757" y="262"/>
                    <a:pt x="848" y="360"/>
                  </a:cubicBezTo>
                  <a:cubicBezTo>
                    <a:pt x="964" y="489"/>
                    <a:pt x="1076" y="612"/>
                    <a:pt x="1076" y="727"/>
                  </a:cubicBezTo>
                  <a:cubicBezTo>
                    <a:pt x="1076" y="762"/>
                    <a:pt x="1058" y="794"/>
                    <a:pt x="1034" y="818"/>
                  </a:cubicBezTo>
                  <a:cubicBezTo>
                    <a:pt x="978" y="872"/>
                    <a:pt x="876" y="886"/>
                    <a:pt x="722" y="886"/>
                  </a:cubicBezTo>
                  <a:cubicBezTo>
                    <a:pt x="664" y="886"/>
                    <a:pt x="599" y="884"/>
                    <a:pt x="526" y="881"/>
                  </a:cubicBezTo>
                  <a:cubicBezTo>
                    <a:pt x="474" y="880"/>
                    <a:pt x="412" y="879"/>
                    <a:pt x="350" y="879"/>
                  </a:cubicBezTo>
                  <a:cubicBezTo>
                    <a:pt x="190" y="879"/>
                    <a:pt x="24" y="889"/>
                    <a:pt x="1" y="944"/>
                  </a:cubicBezTo>
                  <a:cubicBezTo>
                    <a:pt x="18" y="965"/>
                    <a:pt x="36" y="979"/>
                    <a:pt x="60" y="990"/>
                  </a:cubicBezTo>
                  <a:cubicBezTo>
                    <a:pt x="137" y="1035"/>
                    <a:pt x="255" y="1066"/>
                    <a:pt x="383" y="1066"/>
                  </a:cubicBezTo>
                  <a:cubicBezTo>
                    <a:pt x="462" y="1066"/>
                    <a:pt x="544" y="1055"/>
                    <a:pt x="624" y="1028"/>
                  </a:cubicBezTo>
                  <a:cubicBezTo>
                    <a:pt x="719" y="997"/>
                    <a:pt x="817" y="979"/>
                    <a:pt x="915" y="979"/>
                  </a:cubicBezTo>
                  <a:cubicBezTo>
                    <a:pt x="1065" y="983"/>
                    <a:pt x="1212" y="1018"/>
                    <a:pt x="1345" y="1088"/>
                  </a:cubicBezTo>
                  <a:lnTo>
                    <a:pt x="1345" y="1077"/>
                  </a:lnTo>
                  <a:cubicBezTo>
                    <a:pt x="1349" y="1042"/>
                    <a:pt x="1352" y="1007"/>
                    <a:pt x="1356" y="969"/>
                  </a:cubicBezTo>
                  <a:lnTo>
                    <a:pt x="1356" y="962"/>
                  </a:lnTo>
                  <a:cubicBezTo>
                    <a:pt x="1356" y="927"/>
                    <a:pt x="1359" y="892"/>
                    <a:pt x="1363" y="857"/>
                  </a:cubicBezTo>
                  <a:lnTo>
                    <a:pt x="1363" y="843"/>
                  </a:lnTo>
                  <a:cubicBezTo>
                    <a:pt x="1366" y="808"/>
                    <a:pt x="1370" y="773"/>
                    <a:pt x="1373" y="738"/>
                  </a:cubicBezTo>
                  <a:lnTo>
                    <a:pt x="1373" y="713"/>
                  </a:lnTo>
                  <a:cubicBezTo>
                    <a:pt x="1377" y="678"/>
                    <a:pt x="1380" y="647"/>
                    <a:pt x="1384" y="612"/>
                  </a:cubicBezTo>
                  <a:lnTo>
                    <a:pt x="1384" y="594"/>
                  </a:lnTo>
                  <a:cubicBezTo>
                    <a:pt x="1387" y="563"/>
                    <a:pt x="1391" y="531"/>
                    <a:pt x="1394" y="503"/>
                  </a:cubicBezTo>
                  <a:lnTo>
                    <a:pt x="1394" y="486"/>
                  </a:lnTo>
                  <a:cubicBezTo>
                    <a:pt x="1398" y="454"/>
                    <a:pt x="1401" y="423"/>
                    <a:pt x="1405" y="391"/>
                  </a:cubicBezTo>
                  <a:lnTo>
                    <a:pt x="1405" y="367"/>
                  </a:lnTo>
                  <a:cubicBezTo>
                    <a:pt x="1408" y="339"/>
                    <a:pt x="1412" y="307"/>
                    <a:pt x="1415" y="279"/>
                  </a:cubicBezTo>
                  <a:lnTo>
                    <a:pt x="1419" y="262"/>
                  </a:lnTo>
                  <a:cubicBezTo>
                    <a:pt x="1422" y="234"/>
                    <a:pt x="1426" y="209"/>
                    <a:pt x="1429" y="185"/>
                  </a:cubicBezTo>
                  <a:lnTo>
                    <a:pt x="1429" y="174"/>
                  </a:lnTo>
                  <a:cubicBezTo>
                    <a:pt x="1370" y="157"/>
                    <a:pt x="1300" y="132"/>
                    <a:pt x="1230" y="108"/>
                  </a:cubicBezTo>
                  <a:cubicBezTo>
                    <a:pt x="1077" y="57"/>
                    <a:pt x="911" y="0"/>
                    <a:pt x="793"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010" name="Google Shape;5010;p104"/>
            <p:cNvSpPr/>
            <p:nvPr/>
          </p:nvSpPr>
          <p:spPr>
            <a:xfrm>
              <a:off x="1510647" y="1894932"/>
              <a:ext cx="23353" cy="13252"/>
            </a:xfrm>
            <a:custGeom>
              <a:avLst/>
              <a:gdLst/>
              <a:ahLst/>
              <a:cxnLst/>
              <a:rect l="l" t="t" r="r" b="b"/>
              <a:pathLst>
                <a:path w="1720" h="976" extrusionOk="0">
                  <a:moveTo>
                    <a:pt x="457" y="0"/>
                  </a:moveTo>
                  <a:cubicBezTo>
                    <a:pt x="412" y="0"/>
                    <a:pt x="375" y="5"/>
                    <a:pt x="347" y="14"/>
                  </a:cubicBezTo>
                  <a:cubicBezTo>
                    <a:pt x="305" y="25"/>
                    <a:pt x="262" y="30"/>
                    <a:pt x="217" y="30"/>
                  </a:cubicBezTo>
                  <a:cubicBezTo>
                    <a:pt x="173" y="30"/>
                    <a:pt x="129" y="25"/>
                    <a:pt x="85" y="14"/>
                  </a:cubicBezTo>
                  <a:lnTo>
                    <a:pt x="85" y="25"/>
                  </a:lnTo>
                  <a:cubicBezTo>
                    <a:pt x="81" y="53"/>
                    <a:pt x="78" y="81"/>
                    <a:pt x="74" y="112"/>
                  </a:cubicBezTo>
                  <a:lnTo>
                    <a:pt x="74" y="126"/>
                  </a:lnTo>
                  <a:cubicBezTo>
                    <a:pt x="71" y="154"/>
                    <a:pt x="67" y="186"/>
                    <a:pt x="64" y="214"/>
                  </a:cubicBezTo>
                  <a:lnTo>
                    <a:pt x="64" y="231"/>
                  </a:lnTo>
                  <a:cubicBezTo>
                    <a:pt x="60" y="263"/>
                    <a:pt x="57" y="294"/>
                    <a:pt x="53" y="329"/>
                  </a:cubicBezTo>
                  <a:lnTo>
                    <a:pt x="50" y="354"/>
                  </a:lnTo>
                  <a:cubicBezTo>
                    <a:pt x="46" y="385"/>
                    <a:pt x="43" y="420"/>
                    <a:pt x="39" y="452"/>
                  </a:cubicBezTo>
                  <a:lnTo>
                    <a:pt x="39" y="476"/>
                  </a:lnTo>
                  <a:cubicBezTo>
                    <a:pt x="36" y="511"/>
                    <a:pt x="32" y="546"/>
                    <a:pt x="29" y="581"/>
                  </a:cubicBezTo>
                  <a:lnTo>
                    <a:pt x="29" y="595"/>
                  </a:lnTo>
                  <a:cubicBezTo>
                    <a:pt x="25" y="630"/>
                    <a:pt x="22" y="662"/>
                    <a:pt x="18" y="697"/>
                  </a:cubicBezTo>
                  <a:lnTo>
                    <a:pt x="18" y="714"/>
                  </a:lnTo>
                  <a:cubicBezTo>
                    <a:pt x="15" y="749"/>
                    <a:pt x="15" y="781"/>
                    <a:pt x="11" y="816"/>
                  </a:cubicBezTo>
                  <a:lnTo>
                    <a:pt x="8" y="847"/>
                  </a:lnTo>
                  <a:cubicBezTo>
                    <a:pt x="4" y="879"/>
                    <a:pt x="4" y="910"/>
                    <a:pt x="1" y="942"/>
                  </a:cubicBezTo>
                  <a:lnTo>
                    <a:pt x="1" y="956"/>
                  </a:lnTo>
                  <a:cubicBezTo>
                    <a:pt x="24" y="969"/>
                    <a:pt x="43" y="976"/>
                    <a:pt x="63" y="976"/>
                  </a:cubicBezTo>
                  <a:cubicBezTo>
                    <a:pt x="101" y="976"/>
                    <a:pt x="142" y="952"/>
                    <a:pt x="218" y="907"/>
                  </a:cubicBezTo>
                  <a:cubicBezTo>
                    <a:pt x="344" y="826"/>
                    <a:pt x="480" y="760"/>
                    <a:pt x="624" y="714"/>
                  </a:cubicBezTo>
                  <a:cubicBezTo>
                    <a:pt x="743" y="672"/>
                    <a:pt x="880" y="661"/>
                    <a:pt x="1017" y="661"/>
                  </a:cubicBezTo>
                  <a:cubicBezTo>
                    <a:pt x="1096" y="661"/>
                    <a:pt x="1176" y="665"/>
                    <a:pt x="1251" y="669"/>
                  </a:cubicBezTo>
                  <a:cubicBezTo>
                    <a:pt x="1319" y="671"/>
                    <a:pt x="1387" y="674"/>
                    <a:pt x="1450" y="674"/>
                  </a:cubicBezTo>
                  <a:cubicBezTo>
                    <a:pt x="1561" y="674"/>
                    <a:pt x="1655" y="665"/>
                    <a:pt x="1695" y="627"/>
                  </a:cubicBezTo>
                  <a:cubicBezTo>
                    <a:pt x="1713" y="606"/>
                    <a:pt x="1720" y="581"/>
                    <a:pt x="1716" y="557"/>
                  </a:cubicBezTo>
                  <a:cubicBezTo>
                    <a:pt x="1716" y="504"/>
                    <a:pt x="1664" y="434"/>
                    <a:pt x="1566" y="364"/>
                  </a:cubicBezTo>
                  <a:cubicBezTo>
                    <a:pt x="1286" y="163"/>
                    <a:pt x="731" y="0"/>
                    <a:pt x="457"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011" name="Google Shape;5011;p104"/>
            <p:cNvSpPr/>
            <p:nvPr/>
          </p:nvSpPr>
          <p:spPr>
            <a:xfrm>
              <a:off x="1510797" y="1904382"/>
              <a:ext cx="14" cy="258"/>
            </a:xfrm>
            <a:custGeom>
              <a:avLst/>
              <a:gdLst/>
              <a:ahLst/>
              <a:cxnLst/>
              <a:rect l="l" t="t" r="r" b="b"/>
              <a:pathLst>
                <a:path w="1" h="19" extrusionOk="0">
                  <a:moveTo>
                    <a:pt x="0" y="1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012" name="Google Shape;5012;p104"/>
            <p:cNvSpPr/>
            <p:nvPr/>
          </p:nvSpPr>
          <p:spPr>
            <a:xfrm>
              <a:off x="1511598" y="1896453"/>
              <a:ext cx="14" cy="204"/>
            </a:xfrm>
            <a:custGeom>
              <a:avLst/>
              <a:gdLst/>
              <a:ahLst/>
              <a:cxnLst/>
              <a:rect l="l" t="t" r="r" b="b"/>
              <a:pathLst>
                <a:path w="1" h="15" extrusionOk="0">
                  <a:moveTo>
                    <a:pt x="1" y="1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013" name="Google Shape;5013;p104"/>
            <p:cNvSpPr/>
            <p:nvPr/>
          </p:nvSpPr>
          <p:spPr>
            <a:xfrm>
              <a:off x="1510647" y="1905998"/>
              <a:ext cx="14" cy="448"/>
            </a:xfrm>
            <a:custGeom>
              <a:avLst/>
              <a:gdLst/>
              <a:ahLst/>
              <a:cxnLst/>
              <a:rect l="l" t="t" r="r" b="b"/>
              <a:pathLst>
                <a:path w="1" h="33" extrusionOk="0">
                  <a:moveTo>
                    <a:pt x="1" y="32"/>
                  </a:moveTo>
                  <a:lnTo>
                    <a:pt x="1"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014" name="Google Shape;5014;p104"/>
            <p:cNvSpPr/>
            <p:nvPr/>
          </p:nvSpPr>
          <p:spPr>
            <a:xfrm>
              <a:off x="1510552" y="1907709"/>
              <a:ext cx="14" cy="204"/>
            </a:xfrm>
            <a:custGeom>
              <a:avLst/>
              <a:gdLst/>
              <a:ahLst/>
              <a:cxnLst/>
              <a:rect l="l" t="t" r="r" b="b"/>
              <a:pathLst>
                <a:path w="1" h="15" extrusionOk="0">
                  <a:moveTo>
                    <a:pt x="1" y="15"/>
                  </a:moveTo>
                  <a:lnTo>
                    <a:pt x="1" y="15"/>
                  </a:lnTo>
                  <a:lnTo>
                    <a:pt x="1"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015" name="Google Shape;5015;p104"/>
            <p:cNvSpPr/>
            <p:nvPr/>
          </p:nvSpPr>
          <p:spPr>
            <a:xfrm>
              <a:off x="1510932" y="1902821"/>
              <a:ext cx="14" cy="204"/>
            </a:xfrm>
            <a:custGeom>
              <a:avLst/>
              <a:gdLst/>
              <a:ahLst/>
              <a:cxnLst/>
              <a:rect l="l" t="t" r="r" b="b"/>
              <a:pathLst>
                <a:path w="1" h="15" extrusionOk="0">
                  <a:moveTo>
                    <a:pt x="1" y="1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016" name="Google Shape;5016;p104"/>
            <p:cNvSpPr/>
            <p:nvPr/>
          </p:nvSpPr>
          <p:spPr>
            <a:xfrm>
              <a:off x="1511082" y="1901056"/>
              <a:ext cx="54" cy="353"/>
            </a:xfrm>
            <a:custGeom>
              <a:avLst/>
              <a:gdLst/>
              <a:ahLst/>
              <a:cxnLst/>
              <a:rect l="l" t="t" r="r" b="b"/>
              <a:pathLst>
                <a:path w="4" h="26" extrusionOk="0">
                  <a:moveTo>
                    <a:pt x="0" y="25"/>
                  </a:moveTo>
                  <a:lnTo>
                    <a:pt x="4"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017" name="Google Shape;5017;p104"/>
            <p:cNvSpPr/>
            <p:nvPr/>
          </p:nvSpPr>
          <p:spPr>
            <a:xfrm>
              <a:off x="1511462" y="1897824"/>
              <a:ext cx="14" cy="258"/>
            </a:xfrm>
            <a:custGeom>
              <a:avLst/>
              <a:gdLst/>
              <a:ahLst/>
              <a:cxnLst/>
              <a:rect l="l" t="t" r="r" b="b"/>
              <a:pathLst>
                <a:path w="1" h="19" extrusionOk="0">
                  <a:moveTo>
                    <a:pt x="0" y="1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018" name="Google Shape;5018;p104"/>
            <p:cNvSpPr/>
            <p:nvPr/>
          </p:nvSpPr>
          <p:spPr>
            <a:xfrm>
              <a:off x="1511272" y="1899399"/>
              <a:ext cx="54" cy="339"/>
            </a:xfrm>
            <a:custGeom>
              <a:avLst/>
              <a:gdLst/>
              <a:ahLst/>
              <a:cxnLst/>
              <a:rect l="l" t="t" r="r" b="b"/>
              <a:pathLst>
                <a:path w="4" h="25" extrusionOk="0">
                  <a:moveTo>
                    <a:pt x="0" y="25"/>
                  </a:moveTo>
                  <a:lnTo>
                    <a:pt x="4"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019" name="Google Shape;5019;p104"/>
            <p:cNvSpPr/>
            <p:nvPr/>
          </p:nvSpPr>
          <p:spPr>
            <a:xfrm>
              <a:off x="1511788" y="1895068"/>
              <a:ext cx="14" cy="163"/>
            </a:xfrm>
            <a:custGeom>
              <a:avLst/>
              <a:gdLst/>
              <a:ahLst/>
              <a:cxnLst/>
              <a:rect l="l" t="t" r="r" b="b"/>
              <a:pathLst>
                <a:path w="1" h="12" extrusionOk="0">
                  <a:moveTo>
                    <a:pt x="1" y="1"/>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020" name="Google Shape;5020;p104"/>
            <p:cNvSpPr/>
            <p:nvPr/>
          </p:nvSpPr>
          <p:spPr>
            <a:xfrm>
              <a:off x="1394193" y="1931619"/>
              <a:ext cx="29585" cy="30481"/>
            </a:xfrm>
            <a:custGeom>
              <a:avLst/>
              <a:gdLst/>
              <a:ahLst/>
              <a:cxnLst/>
              <a:rect l="l" t="t" r="r" b="b"/>
              <a:pathLst>
                <a:path w="2179" h="2245" extrusionOk="0">
                  <a:moveTo>
                    <a:pt x="2164" y="1"/>
                  </a:moveTo>
                  <a:lnTo>
                    <a:pt x="2136" y="8"/>
                  </a:lnTo>
                  <a:lnTo>
                    <a:pt x="2108" y="15"/>
                  </a:lnTo>
                  <a:lnTo>
                    <a:pt x="2084" y="22"/>
                  </a:lnTo>
                  <a:lnTo>
                    <a:pt x="2063" y="29"/>
                  </a:lnTo>
                  <a:lnTo>
                    <a:pt x="2031" y="39"/>
                  </a:lnTo>
                  <a:lnTo>
                    <a:pt x="2007" y="50"/>
                  </a:lnTo>
                  <a:lnTo>
                    <a:pt x="1986" y="60"/>
                  </a:lnTo>
                  <a:lnTo>
                    <a:pt x="1951" y="78"/>
                  </a:lnTo>
                  <a:lnTo>
                    <a:pt x="1933" y="85"/>
                  </a:lnTo>
                  <a:lnTo>
                    <a:pt x="1905" y="102"/>
                  </a:lnTo>
                  <a:lnTo>
                    <a:pt x="1881" y="116"/>
                  </a:lnTo>
                  <a:lnTo>
                    <a:pt x="1863" y="123"/>
                  </a:lnTo>
                  <a:lnTo>
                    <a:pt x="1832" y="144"/>
                  </a:lnTo>
                  <a:lnTo>
                    <a:pt x="1818" y="151"/>
                  </a:lnTo>
                  <a:lnTo>
                    <a:pt x="1786" y="172"/>
                  </a:lnTo>
                  <a:cubicBezTo>
                    <a:pt x="1709" y="218"/>
                    <a:pt x="1660" y="249"/>
                    <a:pt x="1618" y="253"/>
                  </a:cubicBezTo>
                  <a:cubicBezTo>
                    <a:pt x="1606" y="254"/>
                    <a:pt x="1593" y="254"/>
                    <a:pt x="1580" y="254"/>
                  </a:cubicBezTo>
                  <a:cubicBezTo>
                    <a:pt x="1550" y="254"/>
                    <a:pt x="1518" y="252"/>
                    <a:pt x="1489" y="249"/>
                  </a:cubicBezTo>
                  <a:cubicBezTo>
                    <a:pt x="1439" y="245"/>
                    <a:pt x="1390" y="242"/>
                    <a:pt x="1345" y="242"/>
                  </a:cubicBezTo>
                  <a:cubicBezTo>
                    <a:pt x="1242" y="242"/>
                    <a:pt x="1160" y="259"/>
                    <a:pt x="1145" y="319"/>
                  </a:cubicBezTo>
                  <a:cubicBezTo>
                    <a:pt x="1082" y="582"/>
                    <a:pt x="753" y="610"/>
                    <a:pt x="491" y="627"/>
                  </a:cubicBezTo>
                  <a:cubicBezTo>
                    <a:pt x="487" y="627"/>
                    <a:pt x="483" y="627"/>
                    <a:pt x="479" y="627"/>
                  </a:cubicBezTo>
                  <a:cubicBezTo>
                    <a:pt x="438" y="627"/>
                    <a:pt x="397" y="644"/>
                    <a:pt x="368" y="669"/>
                  </a:cubicBezTo>
                  <a:cubicBezTo>
                    <a:pt x="340" y="704"/>
                    <a:pt x="358" y="771"/>
                    <a:pt x="368" y="816"/>
                  </a:cubicBezTo>
                  <a:cubicBezTo>
                    <a:pt x="375" y="848"/>
                    <a:pt x="379" y="876"/>
                    <a:pt x="375" y="904"/>
                  </a:cubicBezTo>
                  <a:cubicBezTo>
                    <a:pt x="375" y="914"/>
                    <a:pt x="372" y="921"/>
                    <a:pt x="368" y="928"/>
                  </a:cubicBezTo>
                  <a:lnTo>
                    <a:pt x="368" y="932"/>
                  </a:lnTo>
                  <a:cubicBezTo>
                    <a:pt x="344" y="984"/>
                    <a:pt x="232" y="1072"/>
                    <a:pt x="186" y="1107"/>
                  </a:cubicBezTo>
                  <a:lnTo>
                    <a:pt x="176" y="1114"/>
                  </a:lnTo>
                  <a:lnTo>
                    <a:pt x="4" y="1152"/>
                  </a:lnTo>
                  <a:cubicBezTo>
                    <a:pt x="1" y="1195"/>
                    <a:pt x="22" y="1233"/>
                    <a:pt x="60" y="1251"/>
                  </a:cubicBezTo>
                  <a:cubicBezTo>
                    <a:pt x="165" y="1307"/>
                    <a:pt x="277" y="1436"/>
                    <a:pt x="396" y="1573"/>
                  </a:cubicBezTo>
                  <a:cubicBezTo>
                    <a:pt x="515" y="1709"/>
                    <a:pt x="631" y="1842"/>
                    <a:pt x="725" y="1891"/>
                  </a:cubicBezTo>
                  <a:cubicBezTo>
                    <a:pt x="816" y="1937"/>
                    <a:pt x="886" y="2014"/>
                    <a:pt x="925" y="2101"/>
                  </a:cubicBezTo>
                  <a:lnTo>
                    <a:pt x="1121" y="2101"/>
                  </a:lnTo>
                  <a:lnTo>
                    <a:pt x="1142" y="2105"/>
                  </a:lnTo>
                  <a:lnTo>
                    <a:pt x="1156" y="2108"/>
                  </a:lnTo>
                  <a:lnTo>
                    <a:pt x="1177" y="2115"/>
                  </a:lnTo>
                  <a:lnTo>
                    <a:pt x="1187" y="2119"/>
                  </a:lnTo>
                  <a:cubicBezTo>
                    <a:pt x="1194" y="2122"/>
                    <a:pt x="1205" y="2126"/>
                    <a:pt x="1215" y="2129"/>
                  </a:cubicBezTo>
                  <a:cubicBezTo>
                    <a:pt x="1264" y="2144"/>
                    <a:pt x="1316" y="2154"/>
                    <a:pt x="1370" y="2154"/>
                  </a:cubicBezTo>
                  <a:cubicBezTo>
                    <a:pt x="1378" y="2154"/>
                    <a:pt x="1386" y="2154"/>
                    <a:pt x="1394" y="2154"/>
                  </a:cubicBezTo>
                  <a:lnTo>
                    <a:pt x="1426" y="2154"/>
                  </a:lnTo>
                  <a:cubicBezTo>
                    <a:pt x="1552" y="2157"/>
                    <a:pt x="1681" y="2161"/>
                    <a:pt x="1765" y="2224"/>
                  </a:cubicBezTo>
                  <a:cubicBezTo>
                    <a:pt x="1772" y="2227"/>
                    <a:pt x="1776" y="2231"/>
                    <a:pt x="1783" y="2234"/>
                  </a:cubicBezTo>
                  <a:lnTo>
                    <a:pt x="1790" y="2238"/>
                  </a:lnTo>
                  <a:lnTo>
                    <a:pt x="1807" y="2241"/>
                  </a:lnTo>
                  <a:lnTo>
                    <a:pt x="1814" y="2241"/>
                  </a:lnTo>
                  <a:lnTo>
                    <a:pt x="1835" y="2245"/>
                  </a:lnTo>
                  <a:lnTo>
                    <a:pt x="1877" y="2245"/>
                  </a:lnTo>
                  <a:cubicBezTo>
                    <a:pt x="1870" y="2234"/>
                    <a:pt x="1867" y="2224"/>
                    <a:pt x="1863" y="2217"/>
                  </a:cubicBezTo>
                  <a:cubicBezTo>
                    <a:pt x="1779" y="2073"/>
                    <a:pt x="1863" y="1842"/>
                    <a:pt x="1940" y="1615"/>
                  </a:cubicBezTo>
                  <a:cubicBezTo>
                    <a:pt x="1958" y="1566"/>
                    <a:pt x="1975" y="1517"/>
                    <a:pt x="1989" y="1471"/>
                  </a:cubicBezTo>
                  <a:cubicBezTo>
                    <a:pt x="2017" y="1384"/>
                    <a:pt x="2010" y="1223"/>
                    <a:pt x="2003" y="1068"/>
                  </a:cubicBezTo>
                  <a:cubicBezTo>
                    <a:pt x="1993" y="837"/>
                    <a:pt x="1982" y="617"/>
                    <a:pt x="2077" y="515"/>
                  </a:cubicBezTo>
                  <a:cubicBezTo>
                    <a:pt x="2143" y="442"/>
                    <a:pt x="2147" y="393"/>
                    <a:pt x="2150" y="277"/>
                  </a:cubicBezTo>
                  <a:cubicBezTo>
                    <a:pt x="2154" y="183"/>
                    <a:pt x="2164" y="92"/>
                    <a:pt x="2178" y="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021" name="Google Shape;5021;p104"/>
            <p:cNvSpPr/>
            <p:nvPr/>
          </p:nvSpPr>
          <p:spPr>
            <a:xfrm>
              <a:off x="1418863" y="1933615"/>
              <a:ext cx="204" cy="109"/>
            </a:xfrm>
            <a:custGeom>
              <a:avLst/>
              <a:gdLst/>
              <a:ahLst/>
              <a:cxnLst/>
              <a:rect l="l" t="t" r="r" b="b"/>
              <a:pathLst>
                <a:path w="15" h="8" extrusionOk="0">
                  <a:moveTo>
                    <a:pt x="1" y="8"/>
                  </a:moveTo>
                  <a:lnTo>
                    <a:pt x="15"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022" name="Google Shape;5022;p104"/>
            <p:cNvSpPr/>
            <p:nvPr/>
          </p:nvSpPr>
          <p:spPr>
            <a:xfrm>
              <a:off x="1419488" y="1933194"/>
              <a:ext cx="244" cy="149"/>
            </a:xfrm>
            <a:custGeom>
              <a:avLst/>
              <a:gdLst/>
              <a:ahLst/>
              <a:cxnLst/>
              <a:rect l="l" t="t" r="r" b="b"/>
              <a:pathLst>
                <a:path w="18" h="11" extrusionOk="0">
                  <a:moveTo>
                    <a:pt x="0" y="11"/>
                  </a:moveTo>
                  <a:lnTo>
                    <a:pt x="18"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023" name="Google Shape;5023;p104"/>
            <p:cNvSpPr/>
            <p:nvPr/>
          </p:nvSpPr>
          <p:spPr>
            <a:xfrm>
              <a:off x="1421429" y="1932189"/>
              <a:ext cx="353" cy="163"/>
            </a:xfrm>
            <a:custGeom>
              <a:avLst/>
              <a:gdLst/>
              <a:ahLst/>
              <a:cxnLst/>
              <a:rect l="l" t="t" r="r" b="b"/>
              <a:pathLst>
                <a:path w="26" h="12" extrusionOk="0">
                  <a:moveTo>
                    <a:pt x="1" y="11"/>
                  </a:moveTo>
                  <a:lnTo>
                    <a:pt x="25"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024" name="Google Shape;5024;p104"/>
            <p:cNvSpPr/>
            <p:nvPr/>
          </p:nvSpPr>
          <p:spPr>
            <a:xfrm>
              <a:off x="1420058" y="1932814"/>
              <a:ext cx="394" cy="204"/>
            </a:xfrm>
            <a:custGeom>
              <a:avLst/>
              <a:gdLst/>
              <a:ahLst/>
              <a:cxnLst/>
              <a:rect l="l" t="t" r="r" b="b"/>
              <a:pathLst>
                <a:path w="29" h="15" extrusionOk="0">
                  <a:moveTo>
                    <a:pt x="0" y="14"/>
                  </a:moveTo>
                  <a:lnTo>
                    <a:pt x="28"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025" name="Google Shape;5025;p104"/>
            <p:cNvSpPr/>
            <p:nvPr/>
          </p:nvSpPr>
          <p:spPr>
            <a:xfrm>
              <a:off x="1423575" y="1931619"/>
              <a:ext cx="204" cy="14"/>
            </a:xfrm>
            <a:custGeom>
              <a:avLst/>
              <a:gdLst/>
              <a:ahLst/>
              <a:cxnLst/>
              <a:rect l="l" t="t" r="r" b="b"/>
              <a:pathLst>
                <a:path w="15" h="1" extrusionOk="0">
                  <a:moveTo>
                    <a:pt x="14"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026" name="Google Shape;5026;p104"/>
            <p:cNvSpPr/>
            <p:nvPr/>
          </p:nvSpPr>
          <p:spPr>
            <a:xfrm>
              <a:off x="1422190" y="1931958"/>
              <a:ext cx="299" cy="109"/>
            </a:xfrm>
            <a:custGeom>
              <a:avLst/>
              <a:gdLst/>
              <a:ahLst/>
              <a:cxnLst/>
              <a:rect l="l" t="t" r="r" b="b"/>
              <a:pathLst>
                <a:path w="22" h="8" extrusionOk="0">
                  <a:moveTo>
                    <a:pt x="1" y="7"/>
                  </a:moveTo>
                  <a:lnTo>
                    <a:pt x="22"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027" name="Google Shape;5027;p104"/>
            <p:cNvSpPr/>
            <p:nvPr/>
          </p:nvSpPr>
          <p:spPr>
            <a:xfrm>
              <a:off x="1422814" y="1931768"/>
              <a:ext cx="394" cy="109"/>
            </a:xfrm>
            <a:custGeom>
              <a:avLst/>
              <a:gdLst/>
              <a:ahLst/>
              <a:cxnLst/>
              <a:rect l="l" t="t" r="r" b="b"/>
              <a:pathLst>
                <a:path w="29" h="8" extrusionOk="0">
                  <a:moveTo>
                    <a:pt x="0" y="7"/>
                  </a:moveTo>
                  <a:lnTo>
                    <a:pt x="28"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028" name="Google Shape;5028;p104"/>
            <p:cNvSpPr/>
            <p:nvPr/>
          </p:nvSpPr>
          <p:spPr>
            <a:xfrm>
              <a:off x="1399189" y="1944259"/>
              <a:ext cx="14" cy="14"/>
            </a:xfrm>
            <a:custGeom>
              <a:avLst/>
              <a:gdLst/>
              <a:ahLst/>
              <a:cxnLst/>
              <a:rect l="l" t="t" r="r" b="b"/>
              <a:pathLst>
                <a:path w="1" h="1" extrusionOk="0">
                  <a:moveTo>
                    <a:pt x="0" y="1"/>
                  </a:moveTo>
                  <a:lnTo>
                    <a:pt x="0" y="1"/>
                  </a:lnTo>
                  <a:lnTo>
                    <a:pt x="0" y="1"/>
                  </a:lnTo>
                  <a:cubicBezTo>
                    <a:pt x="0" y="1"/>
                    <a:pt x="0" y="1"/>
                    <a:pt x="0" y="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029" name="Google Shape;5029;p104"/>
            <p:cNvSpPr/>
            <p:nvPr/>
          </p:nvSpPr>
          <p:spPr>
            <a:xfrm>
              <a:off x="1420669" y="1932433"/>
              <a:ext cx="489" cy="244"/>
            </a:xfrm>
            <a:custGeom>
              <a:avLst/>
              <a:gdLst/>
              <a:ahLst/>
              <a:cxnLst/>
              <a:rect l="l" t="t" r="r" b="b"/>
              <a:pathLst>
                <a:path w="36" h="18" extrusionOk="0">
                  <a:moveTo>
                    <a:pt x="1" y="18"/>
                  </a:moveTo>
                  <a:lnTo>
                    <a:pt x="36"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030" name="Google Shape;5030;p104"/>
            <p:cNvSpPr/>
            <p:nvPr/>
          </p:nvSpPr>
          <p:spPr>
            <a:xfrm>
              <a:off x="1399135" y="1942793"/>
              <a:ext cx="204" cy="1195"/>
            </a:xfrm>
            <a:custGeom>
              <a:avLst/>
              <a:gdLst/>
              <a:ahLst/>
              <a:cxnLst/>
              <a:rect l="l" t="t" r="r" b="b"/>
              <a:pathLst>
                <a:path w="15" h="88" extrusionOk="0">
                  <a:moveTo>
                    <a:pt x="1" y="0"/>
                  </a:moveTo>
                  <a:cubicBezTo>
                    <a:pt x="11" y="28"/>
                    <a:pt x="15" y="56"/>
                    <a:pt x="11" y="88"/>
                  </a:cubicBezTo>
                  <a:cubicBezTo>
                    <a:pt x="15" y="56"/>
                    <a:pt x="11" y="28"/>
                    <a:pt x="1"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031" name="Google Shape;5031;p104"/>
            <p:cNvSpPr/>
            <p:nvPr/>
          </p:nvSpPr>
          <p:spPr>
            <a:xfrm>
              <a:off x="1494680" y="2006254"/>
              <a:ext cx="293288" cy="299506"/>
            </a:xfrm>
            <a:custGeom>
              <a:avLst/>
              <a:gdLst/>
              <a:ahLst/>
              <a:cxnLst/>
              <a:rect l="l" t="t" r="r" b="b"/>
              <a:pathLst>
                <a:path w="21601" h="22059" extrusionOk="0">
                  <a:moveTo>
                    <a:pt x="7492" y="0"/>
                  </a:moveTo>
                  <a:lnTo>
                    <a:pt x="7482" y="4"/>
                  </a:lnTo>
                  <a:lnTo>
                    <a:pt x="7475" y="7"/>
                  </a:lnTo>
                  <a:cubicBezTo>
                    <a:pt x="7471" y="7"/>
                    <a:pt x="7468" y="11"/>
                    <a:pt x="7464" y="11"/>
                  </a:cubicBezTo>
                  <a:cubicBezTo>
                    <a:pt x="7440" y="32"/>
                    <a:pt x="7419" y="56"/>
                    <a:pt x="7408" y="81"/>
                  </a:cubicBezTo>
                  <a:cubicBezTo>
                    <a:pt x="7398" y="98"/>
                    <a:pt x="7391" y="112"/>
                    <a:pt x="7384" y="130"/>
                  </a:cubicBezTo>
                  <a:cubicBezTo>
                    <a:pt x="7359" y="193"/>
                    <a:pt x="7317" y="249"/>
                    <a:pt x="7261" y="291"/>
                  </a:cubicBezTo>
                  <a:lnTo>
                    <a:pt x="7247" y="298"/>
                  </a:lnTo>
                  <a:cubicBezTo>
                    <a:pt x="7240" y="305"/>
                    <a:pt x="7230" y="308"/>
                    <a:pt x="7223" y="308"/>
                  </a:cubicBezTo>
                  <a:cubicBezTo>
                    <a:pt x="7177" y="329"/>
                    <a:pt x="7132" y="347"/>
                    <a:pt x="7090" y="371"/>
                  </a:cubicBezTo>
                  <a:lnTo>
                    <a:pt x="7034" y="399"/>
                  </a:lnTo>
                  <a:cubicBezTo>
                    <a:pt x="6876" y="483"/>
                    <a:pt x="6701" y="574"/>
                    <a:pt x="6568" y="578"/>
                  </a:cubicBezTo>
                  <a:cubicBezTo>
                    <a:pt x="6563" y="579"/>
                    <a:pt x="6558" y="579"/>
                    <a:pt x="6553" y="579"/>
                  </a:cubicBezTo>
                  <a:cubicBezTo>
                    <a:pt x="6540" y="579"/>
                    <a:pt x="6528" y="577"/>
                    <a:pt x="6516" y="574"/>
                  </a:cubicBezTo>
                  <a:cubicBezTo>
                    <a:pt x="6493" y="570"/>
                    <a:pt x="6471" y="568"/>
                    <a:pt x="6449" y="568"/>
                  </a:cubicBezTo>
                  <a:cubicBezTo>
                    <a:pt x="6383" y="568"/>
                    <a:pt x="6318" y="587"/>
                    <a:pt x="6263" y="623"/>
                  </a:cubicBezTo>
                  <a:cubicBezTo>
                    <a:pt x="6232" y="648"/>
                    <a:pt x="6214" y="686"/>
                    <a:pt x="6218" y="725"/>
                  </a:cubicBezTo>
                  <a:cubicBezTo>
                    <a:pt x="6218" y="847"/>
                    <a:pt x="6151" y="900"/>
                    <a:pt x="6085" y="907"/>
                  </a:cubicBezTo>
                  <a:cubicBezTo>
                    <a:pt x="6079" y="907"/>
                    <a:pt x="6074" y="908"/>
                    <a:pt x="6068" y="908"/>
                  </a:cubicBezTo>
                  <a:cubicBezTo>
                    <a:pt x="5980" y="908"/>
                    <a:pt x="5898" y="830"/>
                    <a:pt x="5871" y="721"/>
                  </a:cubicBezTo>
                  <a:cubicBezTo>
                    <a:pt x="5864" y="686"/>
                    <a:pt x="5759" y="679"/>
                    <a:pt x="5679" y="669"/>
                  </a:cubicBezTo>
                  <a:cubicBezTo>
                    <a:pt x="5581" y="662"/>
                    <a:pt x="5476" y="651"/>
                    <a:pt x="5413" y="592"/>
                  </a:cubicBezTo>
                  <a:cubicBezTo>
                    <a:pt x="5392" y="574"/>
                    <a:pt x="5367" y="567"/>
                    <a:pt x="5339" y="564"/>
                  </a:cubicBezTo>
                  <a:lnTo>
                    <a:pt x="5332" y="564"/>
                  </a:lnTo>
                  <a:cubicBezTo>
                    <a:pt x="5306" y="561"/>
                    <a:pt x="5279" y="559"/>
                    <a:pt x="5252" y="559"/>
                  </a:cubicBezTo>
                  <a:cubicBezTo>
                    <a:pt x="5219" y="559"/>
                    <a:pt x="5186" y="561"/>
                    <a:pt x="5154" y="567"/>
                  </a:cubicBezTo>
                  <a:cubicBezTo>
                    <a:pt x="5360" y="697"/>
                    <a:pt x="5378" y="837"/>
                    <a:pt x="5378" y="1022"/>
                  </a:cubicBezTo>
                  <a:cubicBezTo>
                    <a:pt x="5374" y="1064"/>
                    <a:pt x="5395" y="1103"/>
                    <a:pt x="5427" y="1131"/>
                  </a:cubicBezTo>
                  <a:cubicBezTo>
                    <a:pt x="5497" y="1190"/>
                    <a:pt x="5532" y="1278"/>
                    <a:pt x="5525" y="1365"/>
                  </a:cubicBezTo>
                  <a:cubicBezTo>
                    <a:pt x="5525" y="1383"/>
                    <a:pt x="5528" y="1400"/>
                    <a:pt x="5532" y="1414"/>
                  </a:cubicBezTo>
                  <a:cubicBezTo>
                    <a:pt x="5556" y="1411"/>
                    <a:pt x="5584" y="1404"/>
                    <a:pt x="5609" y="1397"/>
                  </a:cubicBezTo>
                  <a:cubicBezTo>
                    <a:pt x="5647" y="1379"/>
                    <a:pt x="5693" y="1369"/>
                    <a:pt x="5738" y="1365"/>
                  </a:cubicBezTo>
                  <a:cubicBezTo>
                    <a:pt x="5815" y="1365"/>
                    <a:pt x="5878" y="1425"/>
                    <a:pt x="5882" y="1502"/>
                  </a:cubicBezTo>
                  <a:cubicBezTo>
                    <a:pt x="5892" y="1593"/>
                    <a:pt x="5826" y="1701"/>
                    <a:pt x="5686" y="1726"/>
                  </a:cubicBezTo>
                  <a:cubicBezTo>
                    <a:pt x="5542" y="1750"/>
                    <a:pt x="5472" y="1820"/>
                    <a:pt x="5423" y="1975"/>
                  </a:cubicBezTo>
                  <a:cubicBezTo>
                    <a:pt x="5381" y="2108"/>
                    <a:pt x="5280" y="2118"/>
                    <a:pt x="5206" y="2125"/>
                  </a:cubicBezTo>
                  <a:cubicBezTo>
                    <a:pt x="5147" y="2129"/>
                    <a:pt x="5087" y="2150"/>
                    <a:pt x="5042" y="2188"/>
                  </a:cubicBezTo>
                  <a:lnTo>
                    <a:pt x="5007" y="2216"/>
                  </a:lnTo>
                  <a:cubicBezTo>
                    <a:pt x="4937" y="2290"/>
                    <a:pt x="4853" y="2353"/>
                    <a:pt x="4765" y="2398"/>
                  </a:cubicBezTo>
                  <a:cubicBezTo>
                    <a:pt x="4738" y="2412"/>
                    <a:pt x="4710" y="2419"/>
                    <a:pt x="4682" y="2419"/>
                  </a:cubicBezTo>
                  <a:cubicBezTo>
                    <a:pt x="4648" y="2419"/>
                    <a:pt x="4614" y="2409"/>
                    <a:pt x="4583" y="2388"/>
                  </a:cubicBezTo>
                  <a:cubicBezTo>
                    <a:pt x="4564" y="2375"/>
                    <a:pt x="4547" y="2368"/>
                    <a:pt x="4527" y="2368"/>
                  </a:cubicBezTo>
                  <a:cubicBezTo>
                    <a:pt x="4488" y="2368"/>
                    <a:pt x="4443" y="2393"/>
                    <a:pt x="4366" y="2437"/>
                  </a:cubicBezTo>
                  <a:lnTo>
                    <a:pt x="4359" y="2440"/>
                  </a:lnTo>
                  <a:cubicBezTo>
                    <a:pt x="4349" y="2447"/>
                    <a:pt x="4338" y="2451"/>
                    <a:pt x="4331" y="2454"/>
                  </a:cubicBezTo>
                  <a:lnTo>
                    <a:pt x="4321" y="2458"/>
                  </a:lnTo>
                  <a:lnTo>
                    <a:pt x="4303" y="2465"/>
                  </a:lnTo>
                  <a:lnTo>
                    <a:pt x="4293" y="2468"/>
                  </a:lnTo>
                  <a:lnTo>
                    <a:pt x="4275" y="2472"/>
                  </a:lnTo>
                  <a:lnTo>
                    <a:pt x="4212" y="2472"/>
                  </a:lnTo>
                  <a:lnTo>
                    <a:pt x="4191" y="2468"/>
                  </a:lnTo>
                  <a:lnTo>
                    <a:pt x="4184" y="2468"/>
                  </a:lnTo>
                  <a:cubicBezTo>
                    <a:pt x="4177" y="2465"/>
                    <a:pt x="4170" y="2461"/>
                    <a:pt x="4159" y="2458"/>
                  </a:cubicBezTo>
                  <a:lnTo>
                    <a:pt x="4156" y="2458"/>
                  </a:lnTo>
                  <a:lnTo>
                    <a:pt x="4135" y="2447"/>
                  </a:lnTo>
                  <a:lnTo>
                    <a:pt x="4128" y="2440"/>
                  </a:lnTo>
                  <a:lnTo>
                    <a:pt x="4107" y="2430"/>
                  </a:lnTo>
                  <a:lnTo>
                    <a:pt x="4103" y="2426"/>
                  </a:lnTo>
                  <a:lnTo>
                    <a:pt x="4079" y="2405"/>
                  </a:lnTo>
                  <a:lnTo>
                    <a:pt x="4072" y="2402"/>
                  </a:lnTo>
                  <a:lnTo>
                    <a:pt x="4051" y="2384"/>
                  </a:lnTo>
                  <a:lnTo>
                    <a:pt x="4044" y="2377"/>
                  </a:lnTo>
                  <a:lnTo>
                    <a:pt x="4016" y="2356"/>
                  </a:lnTo>
                  <a:lnTo>
                    <a:pt x="3956" y="2307"/>
                  </a:lnTo>
                  <a:cubicBezTo>
                    <a:pt x="3886" y="2244"/>
                    <a:pt x="3827" y="2167"/>
                    <a:pt x="3781" y="2083"/>
                  </a:cubicBezTo>
                  <a:lnTo>
                    <a:pt x="3757" y="2045"/>
                  </a:lnTo>
                  <a:lnTo>
                    <a:pt x="3750" y="2031"/>
                  </a:lnTo>
                  <a:lnTo>
                    <a:pt x="3736" y="2006"/>
                  </a:lnTo>
                  <a:lnTo>
                    <a:pt x="3722" y="1989"/>
                  </a:lnTo>
                  <a:lnTo>
                    <a:pt x="3708" y="1968"/>
                  </a:lnTo>
                  <a:lnTo>
                    <a:pt x="3697" y="1950"/>
                  </a:lnTo>
                  <a:lnTo>
                    <a:pt x="3680" y="1929"/>
                  </a:lnTo>
                  <a:lnTo>
                    <a:pt x="3669" y="1908"/>
                  </a:lnTo>
                  <a:lnTo>
                    <a:pt x="3652" y="1887"/>
                  </a:lnTo>
                  <a:lnTo>
                    <a:pt x="3638" y="1869"/>
                  </a:lnTo>
                  <a:lnTo>
                    <a:pt x="3620" y="1848"/>
                  </a:lnTo>
                  <a:lnTo>
                    <a:pt x="3603" y="1827"/>
                  </a:lnTo>
                  <a:lnTo>
                    <a:pt x="3585" y="1806"/>
                  </a:lnTo>
                  <a:lnTo>
                    <a:pt x="3568" y="1789"/>
                  </a:lnTo>
                  <a:lnTo>
                    <a:pt x="3564" y="1785"/>
                  </a:lnTo>
                  <a:cubicBezTo>
                    <a:pt x="3522" y="1806"/>
                    <a:pt x="3466" y="1824"/>
                    <a:pt x="3414" y="1841"/>
                  </a:cubicBezTo>
                  <a:cubicBezTo>
                    <a:pt x="3302" y="1887"/>
                    <a:pt x="3183" y="1915"/>
                    <a:pt x="3060" y="1926"/>
                  </a:cubicBezTo>
                  <a:lnTo>
                    <a:pt x="3043" y="1926"/>
                  </a:lnTo>
                  <a:cubicBezTo>
                    <a:pt x="3008" y="1926"/>
                    <a:pt x="2955" y="1926"/>
                    <a:pt x="2892" y="1922"/>
                  </a:cubicBezTo>
                  <a:cubicBezTo>
                    <a:pt x="2833" y="1921"/>
                    <a:pt x="2735" y="1918"/>
                    <a:pt x="2634" y="1918"/>
                  </a:cubicBezTo>
                  <a:cubicBezTo>
                    <a:pt x="2498" y="1918"/>
                    <a:pt x="2356" y="1923"/>
                    <a:pt x="2297" y="1943"/>
                  </a:cubicBezTo>
                  <a:cubicBezTo>
                    <a:pt x="2290" y="1943"/>
                    <a:pt x="2283" y="1947"/>
                    <a:pt x="2280" y="1950"/>
                  </a:cubicBezTo>
                  <a:cubicBezTo>
                    <a:pt x="2273" y="2003"/>
                    <a:pt x="2283" y="2052"/>
                    <a:pt x="2311" y="2097"/>
                  </a:cubicBezTo>
                  <a:cubicBezTo>
                    <a:pt x="2322" y="2125"/>
                    <a:pt x="2346" y="2146"/>
                    <a:pt x="2374" y="2157"/>
                  </a:cubicBezTo>
                  <a:cubicBezTo>
                    <a:pt x="2469" y="2178"/>
                    <a:pt x="2591" y="2220"/>
                    <a:pt x="2616" y="2314"/>
                  </a:cubicBezTo>
                  <a:cubicBezTo>
                    <a:pt x="2637" y="2412"/>
                    <a:pt x="2539" y="2479"/>
                    <a:pt x="2507" y="2500"/>
                  </a:cubicBezTo>
                  <a:cubicBezTo>
                    <a:pt x="2437" y="2549"/>
                    <a:pt x="2357" y="2573"/>
                    <a:pt x="2269" y="2577"/>
                  </a:cubicBezTo>
                  <a:cubicBezTo>
                    <a:pt x="2182" y="2584"/>
                    <a:pt x="2164" y="2587"/>
                    <a:pt x="2164" y="2741"/>
                  </a:cubicBezTo>
                  <a:cubicBezTo>
                    <a:pt x="2164" y="2776"/>
                    <a:pt x="2168" y="2811"/>
                    <a:pt x="2178" y="2843"/>
                  </a:cubicBezTo>
                  <a:cubicBezTo>
                    <a:pt x="2217" y="2948"/>
                    <a:pt x="2269" y="3046"/>
                    <a:pt x="2339" y="3130"/>
                  </a:cubicBezTo>
                  <a:cubicBezTo>
                    <a:pt x="2423" y="3245"/>
                    <a:pt x="2511" y="3368"/>
                    <a:pt x="2525" y="3504"/>
                  </a:cubicBezTo>
                  <a:cubicBezTo>
                    <a:pt x="2528" y="3550"/>
                    <a:pt x="2525" y="3599"/>
                    <a:pt x="2511" y="3648"/>
                  </a:cubicBezTo>
                  <a:cubicBezTo>
                    <a:pt x="2451" y="3886"/>
                    <a:pt x="2416" y="4128"/>
                    <a:pt x="2402" y="4376"/>
                  </a:cubicBezTo>
                  <a:cubicBezTo>
                    <a:pt x="2402" y="4383"/>
                    <a:pt x="2381" y="4996"/>
                    <a:pt x="2199" y="5150"/>
                  </a:cubicBezTo>
                  <a:lnTo>
                    <a:pt x="2220" y="5178"/>
                  </a:lnTo>
                  <a:lnTo>
                    <a:pt x="2129" y="5185"/>
                  </a:lnTo>
                  <a:cubicBezTo>
                    <a:pt x="2108" y="5188"/>
                    <a:pt x="2090" y="5188"/>
                    <a:pt x="2069" y="5188"/>
                  </a:cubicBezTo>
                  <a:lnTo>
                    <a:pt x="2066" y="5188"/>
                  </a:lnTo>
                  <a:cubicBezTo>
                    <a:pt x="2027" y="5185"/>
                    <a:pt x="1985" y="5178"/>
                    <a:pt x="1950" y="5164"/>
                  </a:cubicBezTo>
                  <a:cubicBezTo>
                    <a:pt x="1911" y="5153"/>
                    <a:pt x="1876" y="5143"/>
                    <a:pt x="1840" y="5143"/>
                  </a:cubicBezTo>
                  <a:cubicBezTo>
                    <a:pt x="1795" y="5143"/>
                    <a:pt x="1751" y="5158"/>
                    <a:pt x="1698" y="5202"/>
                  </a:cubicBezTo>
                  <a:cubicBezTo>
                    <a:pt x="1625" y="5262"/>
                    <a:pt x="1534" y="5300"/>
                    <a:pt x="1443" y="5314"/>
                  </a:cubicBezTo>
                  <a:cubicBezTo>
                    <a:pt x="1411" y="5321"/>
                    <a:pt x="1383" y="5325"/>
                    <a:pt x="1355" y="5328"/>
                  </a:cubicBezTo>
                  <a:cubicBezTo>
                    <a:pt x="1324" y="5335"/>
                    <a:pt x="1299" y="5339"/>
                    <a:pt x="1271" y="5346"/>
                  </a:cubicBezTo>
                  <a:cubicBezTo>
                    <a:pt x="1184" y="5356"/>
                    <a:pt x="1103" y="5391"/>
                    <a:pt x="1033" y="5444"/>
                  </a:cubicBezTo>
                  <a:cubicBezTo>
                    <a:pt x="956" y="5503"/>
                    <a:pt x="865" y="5549"/>
                    <a:pt x="774" y="5577"/>
                  </a:cubicBezTo>
                  <a:lnTo>
                    <a:pt x="739" y="5587"/>
                  </a:lnTo>
                  <a:cubicBezTo>
                    <a:pt x="620" y="5626"/>
                    <a:pt x="578" y="5643"/>
                    <a:pt x="575" y="5720"/>
                  </a:cubicBezTo>
                  <a:cubicBezTo>
                    <a:pt x="561" y="5818"/>
                    <a:pt x="522" y="5909"/>
                    <a:pt x="466" y="5990"/>
                  </a:cubicBezTo>
                  <a:cubicBezTo>
                    <a:pt x="410" y="6081"/>
                    <a:pt x="379" y="6141"/>
                    <a:pt x="393" y="6214"/>
                  </a:cubicBezTo>
                  <a:cubicBezTo>
                    <a:pt x="438" y="6389"/>
                    <a:pt x="347" y="6438"/>
                    <a:pt x="267" y="6477"/>
                  </a:cubicBezTo>
                  <a:cubicBezTo>
                    <a:pt x="218" y="6501"/>
                    <a:pt x="172" y="6533"/>
                    <a:pt x="134" y="6568"/>
                  </a:cubicBezTo>
                  <a:cubicBezTo>
                    <a:pt x="81" y="6624"/>
                    <a:pt x="88" y="6659"/>
                    <a:pt x="99" y="6715"/>
                  </a:cubicBezTo>
                  <a:cubicBezTo>
                    <a:pt x="120" y="6788"/>
                    <a:pt x="106" y="6865"/>
                    <a:pt x="56" y="6921"/>
                  </a:cubicBezTo>
                  <a:cubicBezTo>
                    <a:pt x="0" y="6988"/>
                    <a:pt x="92" y="7131"/>
                    <a:pt x="183" y="7268"/>
                  </a:cubicBezTo>
                  <a:lnTo>
                    <a:pt x="211" y="7313"/>
                  </a:lnTo>
                  <a:cubicBezTo>
                    <a:pt x="235" y="7352"/>
                    <a:pt x="260" y="7390"/>
                    <a:pt x="288" y="7425"/>
                  </a:cubicBezTo>
                  <a:cubicBezTo>
                    <a:pt x="375" y="7555"/>
                    <a:pt x="463" y="7674"/>
                    <a:pt x="445" y="7824"/>
                  </a:cubicBezTo>
                  <a:cubicBezTo>
                    <a:pt x="438" y="7859"/>
                    <a:pt x="449" y="7894"/>
                    <a:pt x="473" y="7922"/>
                  </a:cubicBezTo>
                  <a:cubicBezTo>
                    <a:pt x="499" y="7949"/>
                    <a:pt x="547" y="7963"/>
                    <a:pt x="609" y="7963"/>
                  </a:cubicBezTo>
                  <a:cubicBezTo>
                    <a:pt x="621" y="7963"/>
                    <a:pt x="635" y="7962"/>
                    <a:pt x="648" y="7961"/>
                  </a:cubicBezTo>
                  <a:cubicBezTo>
                    <a:pt x="654" y="7960"/>
                    <a:pt x="659" y="7960"/>
                    <a:pt x="665" y="7960"/>
                  </a:cubicBezTo>
                  <a:cubicBezTo>
                    <a:pt x="780" y="7960"/>
                    <a:pt x="806" y="8066"/>
                    <a:pt x="823" y="8133"/>
                  </a:cubicBezTo>
                  <a:cubicBezTo>
                    <a:pt x="848" y="8231"/>
                    <a:pt x="862" y="8269"/>
                    <a:pt x="946" y="8269"/>
                  </a:cubicBezTo>
                  <a:cubicBezTo>
                    <a:pt x="1012" y="8269"/>
                    <a:pt x="1079" y="8273"/>
                    <a:pt x="1138" y="8276"/>
                  </a:cubicBezTo>
                  <a:cubicBezTo>
                    <a:pt x="1191" y="8280"/>
                    <a:pt x="1242" y="8283"/>
                    <a:pt x="1289" y="8283"/>
                  </a:cubicBezTo>
                  <a:cubicBezTo>
                    <a:pt x="1379" y="8283"/>
                    <a:pt x="1450" y="8271"/>
                    <a:pt x="1471" y="8227"/>
                  </a:cubicBezTo>
                  <a:cubicBezTo>
                    <a:pt x="1516" y="8122"/>
                    <a:pt x="1613" y="8025"/>
                    <a:pt x="1707" y="8025"/>
                  </a:cubicBezTo>
                  <a:cubicBezTo>
                    <a:pt x="1716" y="8025"/>
                    <a:pt x="1725" y="8026"/>
                    <a:pt x="1733" y="8027"/>
                  </a:cubicBezTo>
                  <a:cubicBezTo>
                    <a:pt x="1772" y="8034"/>
                    <a:pt x="1838" y="8069"/>
                    <a:pt x="1838" y="8206"/>
                  </a:cubicBezTo>
                  <a:cubicBezTo>
                    <a:pt x="1838" y="8238"/>
                    <a:pt x="1838" y="8280"/>
                    <a:pt x="1835" y="8329"/>
                  </a:cubicBezTo>
                  <a:cubicBezTo>
                    <a:pt x="1831" y="8448"/>
                    <a:pt x="1821" y="8805"/>
                    <a:pt x="1877" y="8857"/>
                  </a:cubicBezTo>
                  <a:cubicBezTo>
                    <a:pt x="1898" y="8850"/>
                    <a:pt x="1915" y="8843"/>
                    <a:pt x="1933" y="8840"/>
                  </a:cubicBezTo>
                  <a:lnTo>
                    <a:pt x="1943" y="8840"/>
                  </a:lnTo>
                  <a:cubicBezTo>
                    <a:pt x="2027" y="8821"/>
                    <a:pt x="2113" y="8812"/>
                    <a:pt x="2199" y="8812"/>
                  </a:cubicBezTo>
                  <a:cubicBezTo>
                    <a:pt x="2242" y="8812"/>
                    <a:pt x="2285" y="8814"/>
                    <a:pt x="2329" y="8819"/>
                  </a:cubicBezTo>
                  <a:lnTo>
                    <a:pt x="2329" y="8815"/>
                  </a:lnTo>
                  <a:lnTo>
                    <a:pt x="2395" y="8822"/>
                  </a:lnTo>
                  <a:cubicBezTo>
                    <a:pt x="2444" y="8829"/>
                    <a:pt x="2497" y="8836"/>
                    <a:pt x="2546" y="8847"/>
                  </a:cubicBezTo>
                  <a:lnTo>
                    <a:pt x="2549" y="8847"/>
                  </a:lnTo>
                  <a:lnTo>
                    <a:pt x="2581" y="8857"/>
                  </a:lnTo>
                  <a:lnTo>
                    <a:pt x="2598" y="8861"/>
                  </a:lnTo>
                  <a:lnTo>
                    <a:pt x="2637" y="8871"/>
                  </a:lnTo>
                  <a:cubicBezTo>
                    <a:pt x="2677" y="8885"/>
                    <a:pt x="2719" y="8892"/>
                    <a:pt x="2761" y="8892"/>
                  </a:cubicBezTo>
                  <a:cubicBezTo>
                    <a:pt x="2863" y="8892"/>
                    <a:pt x="2964" y="8851"/>
                    <a:pt x="3036" y="8777"/>
                  </a:cubicBezTo>
                  <a:cubicBezTo>
                    <a:pt x="3106" y="8710"/>
                    <a:pt x="3190" y="8661"/>
                    <a:pt x="3281" y="8633"/>
                  </a:cubicBezTo>
                  <a:cubicBezTo>
                    <a:pt x="3365" y="8602"/>
                    <a:pt x="3442" y="8563"/>
                    <a:pt x="3519" y="8521"/>
                  </a:cubicBezTo>
                  <a:cubicBezTo>
                    <a:pt x="3564" y="8497"/>
                    <a:pt x="3610" y="8469"/>
                    <a:pt x="3655" y="8441"/>
                  </a:cubicBezTo>
                  <a:cubicBezTo>
                    <a:pt x="3841" y="8329"/>
                    <a:pt x="4012" y="8220"/>
                    <a:pt x="4198" y="8220"/>
                  </a:cubicBezTo>
                  <a:cubicBezTo>
                    <a:pt x="4272" y="8217"/>
                    <a:pt x="4345" y="8210"/>
                    <a:pt x="4419" y="8196"/>
                  </a:cubicBezTo>
                  <a:cubicBezTo>
                    <a:pt x="4494" y="8184"/>
                    <a:pt x="4563" y="8174"/>
                    <a:pt x="4620" y="8174"/>
                  </a:cubicBezTo>
                  <a:cubicBezTo>
                    <a:pt x="4682" y="8174"/>
                    <a:pt x="4731" y="8185"/>
                    <a:pt x="4762" y="8220"/>
                  </a:cubicBezTo>
                  <a:cubicBezTo>
                    <a:pt x="4790" y="8252"/>
                    <a:pt x="4797" y="8297"/>
                    <a:pt x="4779" y="8339"/>
                  </a:cubicBezTo>
                  <a:cubicBezTo>
                    <a:pt x="4737" y="8483"/>
                    <a:pt x="4706" y="9057"/>
                    <a:pt x="4944" y="9344"/>
                  </a:cubicBezTo>
                  <a:cubicBezTo>
                    <a:pt x="5180" y="9623"/>
                    <a:pt x="5301" y="9717"/>
                    <a:pt x="5461" y="9717"/>
                  </a:cubicBezTo>
                  <a:cubicBezTo>
                    <a:pt x="5484" y="9717"/>
                    <a:pt x="5507" y="9715"/>
                    <a:pt x="5532" y="9711"/>
                  </a:cubicBezTo>
                  <a:cubicBezTo>
                    <a:pt x="5563" y="9707"/>
                    <a:pt x="5591" y="9705"/>
                    <a:pt x="5615" y="9705"/>
                  </a:cubicBezTo>
                  <a:cubicBezTo>
                    <a:pt x="5714" y="9705"/>
                    <a:pt x="5763" y="9735"/>
                    <a:pt x="5805" y="9760"/>
                  </a:cubicBezTo>
                  <a:cubicBezTo>
                    <a:pt x="5836" y="9782"/>
                    <a:pt x="5872" y="9793"/>
                    <a:pt x="5908" y="9793"/>
                  </a:cubicBezTo>
                  <a:cubicBezTo>
                    <a:pt x="5913" y="9793"/>
                    <a:pt x="5919" y="9792"/>
                    <a:pt x="5924" y="9792"/>
                  </a:cubicBezTo>
                  <a:cubicBezTo>
                    <a:pt x="5933" y="9791"/>
                    <a:pt x="5942" y="9791"/>
                    <a:pt x="5950" y="9791"/>
                  </a:cubicBezTo>
                  <a:cubicBezTo>
                    <a:pt x="6074" y="9791"/>
                    <a:pt x="6100" y="9886"/>
                    <a:pt x="6113" y="9935"/>
                  </a:cubicBezTo>
                  <a:cubicBezTo>
                    <a:pt x="6127" y="9984"/>
                    <a:pt x="6130" y="9984"/>
                    <a:pt x="6158" y="9984"/>
                  </a:cubicBezTo>
                  <a:cubicBezTo>
                    <a:pt x="6481" y="9984"/>
                    <a:pt x="6677" y="10086"/>
                    <a:pt x="6677" y="10261"/>
                  </a:cubicBezTo>
                  <a:lnTo>
                    <a:pt x="6677" y="10268"/>
                  </a:lnTo>
                  <a:cubicBezTo>
                    <a:pt x="6695" y="10287"/>
                    <a:pt x="6759" y="10291"/>
                    <a:pt x="6825" y="10291"/>
                  </a:cubicBezTo>
                  <a:cubicBezTo>
                    <a:pt x="6859" y="10291"/>
                    <a:pt x="6892" y="10290"/>
                    <a:pt x="6922" y="10289"/>
                  </a:cubicBezTo>
                  <a:cubicBezTo>
                    <a:pt x="6949" y="10288"/>
                    <a:pt x="6977" y="10287"/>
                    <a:pt x="7004" y="10287"/>
                  </a:cubicBezTo>
                  <a:cubicBezTo>
                    <a:pt x="7043" y="10287"/>
                    <a:pt x="7082" y="10288"/>
                    <a:pt x="7121" y="10293"/>
                  </a:cubicBezTo>
                  <a:cubicBezTo>
                    <a:pt x="7167" y="10296"/>
                    <a:pt x="7212" y="10314"/>
                    <a:pt x="7251" y="10342"/>
                  </a:cubicBezTo>
                  <a:lnTo>
                    <a:pt x="7286" y="10370"/>
                  </a:lnTo>
                  <a:cubicBezTo>
                    <a:pt x="7387" y="10457"/>
                    <a:pt x="7517" y="10562"/>
                    <a:pt x="7482" y="10772"/>
                  </a:cubicBezTo>
                  <a:cubicBezTo>
                    <a:pt x="7471" y="10839"/>
                    <a:pt x="7513" y="10902"/>
                    <a:pt x="7552" y="10961"/>
                  </a:cubicBezTo>
                  <a:cubicBezTo>
                    <a:pt x="7590" y="11024"/>
                    <a:pt x="7629" y="11084"/>
                    <a:pt x="7611" y="11150"/>
                  </a:cubicBezTo>
                  <a:cubicBezTo>
                    <a:pt x="7597" y="11192"/>
                    <a:pt x="7566" y="11224"/>
                    <a:pt x="7527" y="11241"/>
                  </a:cubicBezTo>
                  <a:cubicBezTo>
                    <a:pt x="7499" y="11255"/>
                    <a:pt x="7489" y="11259"/>
                    <a:pt x="7534" y="11360"/>
                  </a:cubicBezTo>
                  <a:lnTo>
                    <a:pt x="7545" y="11381"/>
                  </a:lnTo>
                  <a:cubicBezTo>
                    <a:pt x="7587" y="11458"/>
                    <a:pt x="7615" y="11542"/>
                    <a:pt x="7629" y="11630"/>
                  </a:cubicBezTo>
                  <a:cubicBezTo>
                    <a:pt x="7639" y="11801"/>
                    <a:pt x="7860" y="11847"/>
                    <a:pt x="8070" y="11847"/>
                  </a:cubicBezTo>
                  <a:lnTo>
                    <a:pt x="8157" y="11847"/>
                  </a:lnTo>
                  <a:cubicBezTo>
                    <a:pt x="8204" y="11845"/>
                    <a:pt x="8246" y="11843"/>
                    <a:pt x="8285" y="11843"/>
                  </a:cubicBezTo>
                  <a:cubicBezTo>
                    <a:pt x="8436" y="11843"/>
                    <a:pt x="8531" y="11863"/>
                    <a:pt x="8595" y="11924"/>
                  </a:cubicBezTo>
                  <a:cubicBezTo>
                    <a:pt x="8669" y="11990"/>
                    <a:pt x="8679" y="12095"/>
                    <a:pt x="8679" y="12186"/>
                  </a:cubicBezTo>
                  <a:cubicBezTo>
                    <a:pt x="8679" y="12302"/>
                    <a:pt x="8739" y="12362"/>
                    <a:pt x="8812" y="12435"/>
                  </a:cubicBezTo>
                  <a:cubicBezTo>
                    <a:pt x="8840" y="12460"/>
                    <a:pt x="8865" y="12484"/>
                    <a:pt x="8889" y="12516"/>
                  </a:cubicBezTo>
                  <a:cubicBezTo>
                    <a:pt x="8938" y="12568"/>
                    <a:pt x="8973" y="12631"/>
                    <a:pt x="8998" y="12698"/>
                  </a:cubicBezTo>
                  <a:cubicBezTo>
                    <a:pt x="9050" y="12855"/>
                    <a:pt x="9008" y="13016"/>
                    <a:pt x="8973" y="13160"/>
                  </a:cubicBezTo>
                  <a:cubicBezTo>
                    <a:pt x="8945" y="13258"/>
                    <a:pt x="8924" y="13349"/>
                    <a:pt x="8935" y="13419"/>
                  </a:cubicBezTo>
                  <a:cubicBezTo>
                    <a:pt x="8938" y="13436"/>
                    <a:pt x="8938" y="13454"/>
                    <a:pt x="8938" y="13471"/>
                  </a:cubicBezTo>
                  <a:lnTo>
                    <a:pt x="8938" y="13496"/>
                  </a:lnTo>
                  <a:lnTo>
                    <a:pt x="8938" y="13520"/>
                  </a:lnTo>
                  <a:cubicBezTo>
                    <a:pt x="8938" y="13527"/>
                    <a:pt x="8938" y="13541"/>
                    <a:pt x="8935" y="13552"/>
                  </a:cubicBezTo>
                  <a:lnTo>
                    <a:pt x="8931" y="13566"/>
                  </a:lnTo>
                  <a:cubicBezTo>
                    <a:pt x="8931" y="13580"/>
                    <a:pt x="8928" y="13590"/>
                    <a:pt x="8924" y="13601"/>
                  </a:cubicBezTo>
                  <a:cubicBezTo>
                    <a:pt x="8921" y="13615"/>
                    <a:pt x="8921" y="13611"/>
                    <a:pt x="8917" y="13618"/>
                  </a:cubicBezTo>
                  <a:cubicBezTo>
                    <a:pt x="8917" y="13622"/>
                    <a:pt x="8910" y="13639"/>
                    <a:pt x="8907" y="13650"/>
                  </a:cubicBezTo>
                  <a:cubicBezTo>
                    <a:pt x="8903" y="13660"/>
                    <a:pt x="8900" y="13667"/>
                    <a:pt x="8896" y="13678"/>
                  </a:cubicBezTo>
                  <a:cubicBezTo>
                    <a:pt x="8889" y="13685"/>
                    <a:pt x="8889" y="13688"/>
                    <a:pt x="8886" y="13692"/>
                  </a:cubicBezTo>
                  <a:cubicBezTo>
                    <a:pt x="8872" y="13723"/>
                    <a:pt x="8851" y="13755"/>
                    <a:pt x="8826" y="13779"/>
                  </a:cubicBezTo>
                  <a:cubicBezTo>
                    <a:pt x="8819" y="13793"/>
                    <a:pt x="8809" y="13804"/>
                    <a:pt x="8798" y="13814"/>
                  </a:cubicBezTo>
                  <a:lnTo>
                    <a:pt x="8805" y="13825"/>
                  </a:lnTo>
                  <a:lnTo>
                    <a:pt x="8812" y="13835"/>
                  </a:lnTo>
                  <a:cubicBezTo>
                    <a:pt x="8819" y="13846"/>
                    <a:pt x="8823" y="13853"/>
                    <a:pt x="8826" y="13860"/>
                  </a:cubicBezTo>
                  <a:lnTo>
                    <a:pt x="8833" y="13867"/>
                  </a:lnTo>
                  <a:cubicBezTo>
                    <a:pt x="8837" y="13877"/>
                    <a:pt x="8844" y="13888"/>
                    <a:pt x="8847" y="13898"/>
                  </a:cubicBezTo>
                  <a:lnTo>
                    <a:pt x="8851" y="13905"/>
                  </a:lnTo>
                  <a:cubicBezTo>
                    <a:pt x="8854" y="13912"/>
                    <a:pt x="8858" y="13919"/>
                    <a:pt x="8861" y="13926"/>
                  </a:cubicBezTo>
                  <a:lnTo>
                    <a:pt x="8865" y="13937"/>
                  </a:lnTo>
                  <a:cubicBezTo>
                    <a:pt x="8865" y="13944"/>
                    <a:pt x="8868" y="13951"/>
                    <a:pt x="8868" y="13958"/>
                  </a:cubicBezTo>
                  <a:cubicBezTo>
                    <a:pt x="8868" y="13965"/>
                    <a:pt x="8868" y="13965"/>
                    <a:pt x="8868" y="13968"/>
                  </a:cubicBezTo>
                  <a:cubicBezTo>
                    <a:pt x="8868" y="13975"/>
                    <a:pt x="8868" y="13982"/>
                    <a:pt x="8868" y="13986"/>
                  </a:cubicBezTo>
                  <a:lnTo>
                    <a:pt x="8868" y="13996"/>
                  </a:lnTo>
                  <a:cubicBezTo>
                    <a:pt x="8868" y="14007"/>
                    <a:pt x="8868" y="14014"/>
                    <a:pt x="8865" y="14024"/>
                  </a:cubicBezTo>
                  <a:cubicBezTo>
                    <a:pt x="8851" y="14080"/>
                    <a:pt x="8809" y="14126"/>
                    <a:pt x="8756" y="14150"/>
                  </a:cubicBezTo>
                  <a:cubicBezTo>
                    <a:pt x="8756" y="14150"/>
                    <a:pt x="8753" y="14154"/>
                    <a:pt x="8753" y="14154"/>
                  </a:cubicBezTo>
                  <a:cubicBezTo>
                    <a:pt x="8760" y="14196"/>
                    <a:pt x="8774" y="14234"/>
                    <a:pt x="8795" y="14269"/>
                  </a:cubicBezTo>
                  <a:cubicBezTo>
                    <a:pt x="8851" y="14389"/>
                    <a:pt x="8935" y="14564"/>
                    <a:pt x="8886" y="14781"/>
                  </a:cubicBezTo>
                  <a:lnTo>
                    <a:pt x="8886" y="14784"/>
                  </a:lnTo>
                  <a:cubicBezTo>
                    <a:pt x="8851" y="14942"/>
                    <a:pt x="8826" y="15057"/>
                    <a:pt x="8851" y="15092"/>
                  </a:cubicBezTo>
                  <a:cubicBezTo>
                    <a:pt x="8872" y="15110"/>
                    <a:pt x="8893" y="15120"/>
                    <a:pt x="8917" y="15124"/>
                  </a:cubicBezTo>
                  <a:cubicBezTo>
                    <a:pt x="8980" y="15134"/>
                    <a:pt x="9043" y="15141"/>
                    <a:pt x="9106" y="15145"/>
                  </a:cubicBezTo>
                  <a:cubicBezTo>
                    <a:pt x="9204" y="15145"/>
                    <a:pt x="9306" y="15162"/>
                    <a:pt x="9404" y="15190"/>
                  </a:cubicBezTo>
                  <a:cubicBezTo>
                    <a:pt x="9421" y="15197"/>
                    <a:pt x="9439" y="15204"/>
                    <a:pt x="9453" y="15208"/>
                  </a:cubicBezTo>
                  <a:cubicBezTo>
                    <a:pt x="9477" y="15216"/>
                    <a:pt x="9490" y="15220"/>
                    <a:pt x="9501" y="15220"/>
                  </a:cubicBezTo>
                  <a:cubicBezTo>
                    <a:pt x="9513" y="15220"/>
                    <a:pt x="9523" y="15214"/>
                    <a:pt x="9544" y="15201"/>
                  </a:cubicBezTo>
                  <a:cubicBezTo>
                    <a:pt x="9561" y="15190"/>
                    <a:pt x="9586" y="15183"/>
                    <a:pt x="9610" y="15180"/>
                  </a:cubicBezTo>
                  <a:cubicBezTo>
                    <a:pt x="9624" y="15180"/>
                    <a:pt x="9642" y="15183"/>
                    <a:pt x="9659" y="15187"/>
                  </a:cubicBezTo>
                  <a:cubicBezTo>
                    <a:pt x="9666" y="15187"/>
                    <a:pt x="9673" y="15190"/>
                    <a:pt x="9680" y="15194"/>
                  </a:cubicBezTo>
                  <a:cubicBezTo>
                    <a:pt x="9789" y="15236"/>
                    <a:pt x="9890" y="15393"/>
                    <a:pt x="9957" y="15533"/>
                  </a:cubicBezTo>
                  <a:cubicBezTo>
                    <a:pt x="9981" y="15586"/>
                    <a:pt x="10002" y="15642"/>
                    <a:pt x="10020" y="15701"/>
                  </a:cubicBezTo>
                  <a:cubicBezTo>
                    <a:pt x="10072" y="15897"/>
                    <a:pt x="10181" y="16181"/>
                    <a:pt x="10233" y="16254"/>
                  </a:cubicBezTo>
                  <a:lnTo>
                    <a:pt x="10275" y="16230"/>
                  </a:lnTo>
                  <a:cubicBezTo>
                    <a:pt x="10346" y="16190"/>
                    <a:pt x="10447" y="16132"/>
                    <a:pt x="10561" y="16132"/>
                  </a:cubicBezTo>
                  <a:cubicBezTo>
                    <a:pt x="10588" y="16132"/>
                    <a:pt x="10615" y="16135"/>
                    <a:pt x="10643" y="16142"/>
                  </a:cubicBezTo>
                  <a:cubicBezTo>
                    <a:pt x="10664" y="16149"/>
                    <a:pt x="10689" y="16156"/>
                    <a:pt x="10706" y="16167"/>
                  </a:cubicBezTo>
                  <a:cubicBezTo>
                    <a:pt x="10713" y="16170"/>
                    <a:pt x="10720" y="16174"/>
                    <a:pt x="10724" y="16177"/>
                  </a:cubicBezTo>
                  <a:cubicBezTo>
                    <a:pt x="10755" y="16202"/>
                    <a:pt x="10780" y="16230"/>
                    <a:pt x="10794" y="16265"/>
                  </a:cubicBezTo>
                  <a:cubicBezTo>
                    <a:pt x="10843" y="16401"/>
                    <a:pt x="10797" y="16629"/>
                    <a:pt x="10748" y="16867"/>
                  </a:cubicBezTo>
                  <a:cubicBezTo>
                    <a:pt x="10727" y="16965"/>
                    <a:pt x="10706" y="17060"/>
                    <a:pt x="10699" y="17137"/>
                  </a:cubicBezTo>
                  <a:lnTo>
                    <a:pt x="10738" y="17137"/>
                  </a:lnTo>
                  <a:cubicBezTo>
                    <a:pt x="10752" y="17136"/>
                    <a:pt x="10767" y="17136"/>
                    <a:pt x="10781" y="17136"/>
                  </a:cubicBezTo>
                  <a:cubicBezTo>
                    <a:pt x="10853" y="17136"/>
                    <a:pt x="10923" y="17143"/>
                    <a:pt x="10993" y="17158"/>
                  </a:cubicBezTo>
                  <a:lnTo>
                    <a:pt x="11000" y="17161"/>
                  </a:lnTo>
                  <a:lnTo>
                    <a:pt x="11007" y="17165"/>
                  </a:lnTo>
                  <a:lnTo>
                    <a:pt x="11014" y="17168"/>
                  </a:lnTo>
                  <a:cubicBezTo>
                    <a:pt x="11158" y="17238"/>
                    <a:pt x="11189" y="17875"/>
                    <a:pt x="11154" y="18057"/>
                  </a:cubicBezTo>
                  <a:lnTo>
                    <a:pt x="11154" y="18061"/>
                  </a:lnTo>
                  <a:cubicBezTo>
                    <a:pt x="11151" y="18071"/>
                    <a:pt x="11147" y="18078"/>
                    <a:pt x="11147" y="18085"/>
                  </a:cubicBezTo>
                  <a:cubicBezTo>
                    <a:pt x="11109" y="18180"/>
                    <a:pt x="10972" y="18243"/>
                    <a:pt x="10755" y="18341"/>
                  </a:cubicBezTo>
                  <a:cubicBezTo>
                    <a:pt x="10650" y="18379"/>
                    <a:pt x="10552" y="18428"/>
                    <a:pt x="10457" y="18484"/>
                  </a:cubicBezTo>
                  <a:cubicBezTo>
                    <a:pt x="10265" y="18611"/>
                    <a:pt x="9768" y="19076"/>
                    <a:pt x="9530" y="19461"/>
                  </a:cubicBezTo>
                  <a:cubicBezTo>
                    <a:pt x="9502" y="19503"/>
                    <a:pt x="9474" y="19549"/>
                    <a:pt x="9442" y="19591"/>
                  </a:cubicBezTo>
                  <a:cubicBezTo>
                    <a:pt x="9358" y="19703"/>
                    <a:pt x="9267" y="19808"/>
                    <a:pt x="9169" y="19909"/>
                  </a:cubicBezTo>
                  <a:lnTo>
                    <a:pt x="9155" y="19923"/>
                  </a:lnTo>
                  <a:lnTo>
                    <a:pt x="9162" y="19923"/>
                  </a:lnTo>
                  <a:lnTo>
                    <a:pt x="9173" y="19920"/>
                  </a:lnTo>
                  <a:lnTo>
                    <a:pt x="9180" y="19916"/>
                  </a:lnTo>
                  <a:lnTo>
                    <a:pt x="9197" y="19913"/>
                  </a:lnTo>
                  <a:lnTo>
                    <a:pt x="9204" y="19913"/>
                  </a:lnTo>
                  <a:lnTo>
                    <a:pt x="9222" y="19909"/>
                  </a:lnTo>
                  <a:lnTo>
                    <a:pt x="9225" y="19909"/>
                  </a:lnTo>
                  <a:cubicBezTo>
                    <a:pt x="9243" y="19907"/>
                    <a:pt x="9260" y="19904"/>
                    <a:pt x="9277" y="19904"/>
                  </a:cubicBezTo>
                  <a:cubicBezTo>
                    <a:pt x="9284" y="19904"/>
                    <a:pt x="9292" y="19905"/>
                    <a:pt x="9299" y="19906"/>
                  </a:cubicBezTo>
                  <a:lnTo>
                    <a:pt x="9341" y="19906"/>
                  </a:lnTo>
                  <a:lnTo>
                    <a:pt x="9358" y="19913"/>
                  </a:lnTo>
                  <a:lnTo>
                    <a:pt x="9376" y="19916"/>
                  </a:lnTo>
                  <a:lnTo>
                    <a:pt x="9393" y="19920"/>
                  </a:lnTo>
                  <a:lnTo>
                    <a:pt x="9411" y="19927"/>
                  </a:lnTo>
                  <a:lnTo>
                    <a:pt x="9432" y="19934"/>
                  </a:lnTo>
                  <a:lnTo>
                    <a:pt x="9449" y="19941"/>
                  </a:lnTo>
                  <a:lnTo>
                    <a:pt x="9470" y="19951"/>
                  </a:lnTo>
                  <a:lnTo>
                    <a:pt x="9488" y="19962"/>
                  </a:lnTo>
                  <a:lnTo>
                    <a:pt x="9509" y="19972"/>
                  </a:lnTo>
                  <a:lnTo>
                    <a:pt x="9530" y="19990"/>
                  </a:lnTo>
                  <a:lnTo>
                    <a:pt x="9551" y="20000"/>
                  </a:lnTo>
                  <a:lnTo>
                    <a:pt x="9572" y="20021"/>
                  </a:lnTo>
                  <a:lnTo>
                    <a:pt x="9589" y="20035"/>
                  </a:lnTo>
                  <a:cubicBezTo>
                    <a:pt x="9600" y="20042"/>
                    <a:pt x="9607" y="20053"/>
                    <a:pt x="9617" y="20063"/>
                  </a:cubicBezTo>
                  <a:lnTo>
                    <a:pt x="9631" y="20077"/>
                  </a:lnTo>
                  <a:cubicBezTo>
                    <a:pt x="9645" y="20091"/>
                    <a:pt x="9659" y="20105"/>
                    <a:pt x="9677" y="20123"/>
                  </a:cubicBezTo>
                  <a:cubicBezTo>
                    <a:pt x="9750" y="20214"/>
                    <a:pt x="9810" y="20315"/>
                    <a:pt x="9852" y="20424"/>
                  </a:cubicBezTo>
                  <a:cubicBezTo>
                    <a:pt x="9859" y="20438"/>
                    <a:pt x="9866" y="20455"/>
                    <a:pt x="9869" y="20466"/>
                  </a:cubicBezTo>
                  <a:cubicBezTo>
                    <a:pt x="9880" y="20459"/>
                    <a:pt x="9887" y="20448"/>
                    <a:pt x="9894" y="20438"/>
                  </a:cubicBezTo>
                  <a:cubicBezTo>
                    <a:pt x="9936" y="20389"/>
                    <a:pt x="9992" y="20319"/>
                    <a:pt x="10072" y="20319"/>
                  </a:cubicBezTo>
                  <a:lnTo>
                    <a:pt x="10076" y="20319"/>
                  </a:lnTo>
                  <a:cubicBezTo>
                    <a:pt x="10132" y="20319"/>
                    <a:pt x="10184" y="20354"/>
                    <a:pt x="10230" y="20424"/>
                  </a:cubicBezTo>
                  <a:cubicBezTo>
                    <a:pt x="10314" y="20539"/>
                    <a:pt x="10489" y="20648"/>
                    <a:pt x="10626" y="20732"/>
                  </a:cubicBezTo>
                  <a:cubicBezTo>
                    <a:pt x="10703" y="20774"/>
                    <a:pt x="10776" y="20827"/>
                    <a:pt x="10839" y="20886"/>
                  </a:cubicBezTo>
                  <a:cubicBezTo>
                    <a:pt x="10871" y="20914"/>
                    <a:pt x="10902" y="20935"/>
                    <a:pt x="10937" y="20956"/>
                  </a:cubicBezTo>
                  <a:cubicBezTo>
                    <a:pt x="11060" y="21033"/>
                    <a:pt x="11224" y="21138"/>
                    <a:pt x="11224" y="21359"/>
                  </a:cubicBezTo>
                  <a:cubicBezTo>
                    <a:pt x="11224" y="21404"/>
                    <a:pt x="11217" y="21460"/>
                    <a:pt x="11214" y="21523"/>
                  </a:cubicBezTo>
                  <a:cubicBezTo>
                    <a:pt x="11214" y="21541"/>
                    <a:pt x="11210" y="21558"/>
                    <a:pt x="11207" y="21576"/>
                  </a:cubicBezTo>
                  <a:lnTo>
                    <a:pt x="11207" y="21586"/>
                  </a:lnTo>
                  <a:cubicBezTo>
                    <a:pt x="11207" y="21604"/>
                    <a:pt x="11207" y="21625"/>
                    <a:pt x="11203" y="21642"/>
                  </a:cubicBezTo>
                  <a:lnTo>
                    <a:pt x="11203" y="21653"/>
                  </a:lnTo>
                  <a:cubicBezTo>
                    <a:pt x="11203" y="21674"/>
                    <a:pt x="11200" y="21695"/>
                    <a:pt x="11200" y="21716"/>
                  </a:cubicBezTo>
                  <a:lnTo>
                    <a:pt x="11200" y="21719"/>
                  </a:lnTo>
                  <a:lnTo>
                    <a:pt x="11200" y="21775"/>
                  </a:lnTo>
                  <a:lnTo>
                    <a:pt x="11200" y="21786"/>
                  </a:lnTo>
                  <a:lnTo>
                    <a:pt x="11200" y="21845"/>
                  </a:lnTo>
                  <a:lnTo>
                    <a:pt x="11200" y="21859"/>
                  </a:lnTo>
                  <a:cubicBezTo>
                    <a:pt x="11200" y="21880"/>
                    <a:pt x="11203" y="21901"/>
                    <a:pt x="11207" y="21919"/>
                  </a:cubicBezTo>
                  <a:lnTo>
                    <a:pt x="11207" y="21929"/>
                  </a:lnTo>
                  <a:cubicBezTo>
                    <a:pt x="11210" y="21947"/>
                    <a:pt x="11214" y="21964"/>
                    <a:pt x="11217" y="21985"/>
                  </a:cubicBezTo>
                  <a:lnTo>
                    <a:pt x="11217" y="21996"/>
                  </a:lnTo>
                  <a:cubicBezTo>
                    <a:pt x="11221" y="22013"/>
                    <a:pt x="11224" y="22034"/>
                    <a:pt x="11231" y="22055"/>
                  </a:cubicBezTo>
                  <a:lnTo>
                    <a:pt x="11231" y="22059"/>
                  </a:lnTo>
                  <a:cubicBezTo>
                    <a:pt x="11291" y="21992"/>
                    <a:pt x="11357" y="21933"/>
                    <a:pt x="11427" y="21884"/>
                  </a:cubicBezTo>
                  <a:cubicBezTo>
                    <a:pt x="11637" y="21733"/>
                    <a:pt x="11669" y="21632"/>
                    <a:pt x="11714" y="21488"/>
                  </a:cubicBezTo>
                  <a:cubicBezTo>
                    <a:pt x="11742" y="21397"/>
                    <a:pt x="11777" y="21310"/>
                    <a:pt x="11819" y="21226"/>
                  </a:cubicBezTo>
                  <a:cubicBezTo>
                    <a:pt x="11865" y="21142"/>
                    <a:pt x="11896" y="21047"/>
                    <a:pt x="11907" y="20953"/>
                  </a:cubicBezTo>
                  <a:cubicBezTo>
                    <a:pt x="11924" y="20795"/>
                    <a:pt x="12001" y="20648"/>
                    <a:pt x="12124" y="20543"/>
                  </a:cubicBezTo>
                  <a:cubicBezTo>
                    <a:pt x="12229" y="20441"/>
                    <a:pt x="12225" y="20368"/>
                    <a:pt x="12222" y="20280"/>
                  </a:cubicBezTo>
                  <a:cubicBezTo>
                    <a:pt x="12218" y="20172"/>
                    <a:pt x="12215" y="20049"/>
                    <a:pt x="12432" y="19948"/>
                  </a:cubicBezTo>
                  <a:cubicBezTo>
                    <a:pt x="12503" y="19915"/>
                    <a:pt x="12563" y="19898"/>
                    <a:pt x="12613" y="19898"/>
                  </a:cubicBezTo>
                  <a:cubicBezTo>
                    <a:pt x="12665" y="19898"/>
                    <a:pt x="12705" y="19916"/>
                    <a:pt x="12733" y="19951"/>
                  </a:cubicBezTo>
                  <a:cubicBezTo>
                    <a:pt x="12852" y="20105"/>
                    <a:pt x="12604" y="20445"/>
                    <a:pt x="12523" y="20546"/>
                  </a:cubicBezTo>
                  <a:cubicBezTo>
                    <a:pt x="12491" y="20589"/>
                    <a:pt x="12460" y="20624"/>
                    <a:pt x="12435" y="20659"/>
                  </a:cubicBezTo>
                  <a:lnTo>
                    <a:pt x="12470" y="20634"/>
                  </a:lnTo>
                  <a:cubicBezTo>
                    <a:pt x="12768" y="20413"/>
                    <a:pt x="12905" y="20119"/>
                    <a:pt x="13066" y="19780"/>
                  </a:cubicBezTo>
                  <a:cubicBezTo>
                    <a:pt x="13094" y="19717"/>
                    <a:pt x="13125" y="19654"/>
                    <a:pt x="13153" y="19591"/>
                  </a:cubicBezTo>
                  <a:cubicBezTo>
                    <a:pt x="13353" y="19181"/>
                    <a:pt x="13524" y="19003"/>
                    <a:pt x="13748" y="18971"/>
                  </a:cubicBezTo>
                  <a:cubicBezTo>
                    <a:pt x="13825" y="18961"/>
                    <a:pt x="13888" y="18737"/>
                    <a:pt x="13850" y="18253"/>
                  </a:cubicBezTo>
                  <a:cubicBezTo>
                    <a:pt x="13843" y="18173"/>
                    <a:pt x="13832" y="18096"/>
                    <a:pt x="13822" y="18019"/>
                  </a:cubicBezTo>
                  <a:cubicBezTo>
                    <a:pt x="13790" y="17791"/>
                    <a:pt x="13759" y="17574"/>
                    <a:pt x="13871" y="17399"/>
                  </a:cubicBezTo>
                  <a:cubicBezTo>
                    <a:pt x="13913" y="17333"/>
                    <a:pt x="13934" y="17252"/>
                    <a:pt x="13934" y="17175"/>
                  </a:cubicBezTo>
                  <a:cubicBezTo>
                    <a:pt x="13937" y="17091"/>
                    <a:pt x="13944" y="16969"/>
                    <a:pt x="14098" y="16969"/>
                  </a:cubicBezTo>
                  <a:cubicBezTo>
                    <a:pt x="14238" y="16969"/>
                    <a:pt x="14508" y="16703"/>
                    <a:pt x="14743" y="16468"/>
                  </a:cubicBezTo>
                  <a:cubicBezTo>
                    <a:pt x="15023" y="16188"/>
                    <a:pt x="15212" y="16156"/>
                    <a:pt x="15499" y="16132"/>
                  </a:cubicBezTo>
                  <a:cubicBezTo>
                    <a:pt x="15618" y="16121"/>
                    <a:pt x="15628" y="16104"/>
                    <a:pt x="15639" y="16079"/>
                  </a:cubicBezTo>
                  <a:cubicBezTo>
                    <a:pt x="15667" y="16020"/>
                    <a:pt x="15723" y="15974"/>
                    <a:pt x="15789" y="15964"/>
                  </a:cubicBezTo>
                  <a:cubicBezTo>
                    <a:pt x="15908" y="15932"/>
                    <a:pt x="16003" y="15838"/>
                    <a:pt x="16094" y="15747"/>
                  </a:cubicBezTo>
                  <a:cubicBezTo>
                    <a:pt x="16125" y="15715"/>
                    <a:pt x="16157" y="15684"/>
                    <a:pt x="16188" y="15656"/>
                  </a:cubicBezTo>
                  <a:cubicBezTo>
                    <a:pt x="16241" y="15607"/>
                    <a:pt x="16329" y="15591"/>
                    <a:pt x="16439" y="15591"/>
                  </a:cubicBezTo>
                  <a:cubicBezTo>
                    <a:pt x="16544" y="15591"/>
                    <a:pt x="16668" y="15605"/>
                    <a:pt x="16801" y="15621"/>
                  </a:cubicBezTo>
                  <a:cubicBezTo>
                    <a:pt x="16913" y="15635"/>
                    <a:pt x="17029" y="15645"/>
                    <a:pt x="17141" y="15649"/>
                  </a:cubicBezTo>
                  <a:lnTo>
                    <a:pt x="17235" y="15649"/>
                  </a:lnTo>
                  <a:cubicBezTo>
                    <a:pt x="17257" y="15649"/>
                    <a:pt x="17279" y="15649"/>
                    <a:pt x="17300" y="15649"/>
                  </a:cubicBezTo>
                  <a:cubicBezTo>
                    <a:pt x="17415" y="15649"/>
                    <a:pt x="17511" y="15646"/>
                    <a:pt x="17543" y="15614"/>
                  </a:cubicBezTo>
                  <a:cubicBezTo>
                    <a:pt x="17557" y="15596"/>
                    <a:pt x="17564" y="15579"/>
                    <a:pt x="17561" y="15558"/>
                  </a:cubicBezTo>
                  <a:cubicBezTo>
                    <a:pt x="17561" y="15337"/>
                    <a:pt x="17722" y="15162"/>
                    <a:pt x="17928" y="15162"/>
                  </a:cubicBezTo>
                  <a:cubicBezTo>
                    <a:pt x="18051" y="15162"/>
                    <a:pt x="18103" y="15155"/>
                    <a:pt x="18103" y="14938"/>
                  </a:cubicBezTo>
                  <a:cubicBezTo>
                    <a:pt x="18103" y="14686"/>
                    <a:pt x="18180" y="14515"/>
                    <a:pt x="18348" y="14389"/>
                  </a:cubicBezTo>
                  <a:cubicBezTo>
                    <a:pt x="18443" y="14318"/>
                    <a:pt x="18481" y="14168"/>
                    <a:pt x="18513" y="14031"/>
                  </a:cubicBezTo>
                  <a:cubicBezTo>
                    <a:pt x="18523" y="13989"/>
                    <a:pt x="18530" y="13951"/>
                    <a:pt x="18544" y="13912"/>
                  </a:cubicBezTo>
                  <a:cubicBezTo>
                    <a:pt x="18562" y="13842"/>
                    <a:pt x="18614" y="13790"/>
                    <a:pt x="18681" y="13765"/>
                  </a:cubicBezTo>
                  <a:cubicBezTo>
                    <a:pt x="18726" y="13741"/>
                    <a:pt x="18747" y="13730"/>
                    <a:pt x="18747" y="13639"/>
                  </a:cubicBezTo>
                  <a:cubicBezTo>
                    <a:pt x="18751" y="13510"/>
                    <a:pt x="18768" y="13384"/>
                    <a:pt x="18793" y="13258"/>
                  </a:cubicBezTo>
                  <a:cubicBezTo>
                    <a:pt x="18814" y="13163"/>
                    <a:pt x="18828" y="13069"/>
                    <a:pt x="18832" y="12974"/>
                  </a:cubicBezTo>
                  <a:cubicBezTo>
                    <a:pt x="18832" y="12827"/>
                    <a:pt x="18933" y="12775"/>
                    <a:pt x="19007" y="12733"/>
                  </a:cubicBezTo>
                  <a:cubicBezTo>
                    <a:pt x="19052" y="12715"/>
                    <a:pt x="19091" y="12684"/>
                    <a:pt x="19122" y="12645"/>
                  </a:cubicBezTo>
                  <a:cubicBezTo>
                    <a:pt x="19143" y="12610"/>
                    <a:pt x="19140" y="12568"/>
                    <a:pt x="19129" y="12484"/>
                  </a:cubicBezTo>
                  <a:cubicBezTo>
                    <a:pt x="19101" y="12316"/>
                    <a:pt x="19115" y="12141"/>
                    <a:pt x="19175" y="11980"/>
                  </a:cubicBezTo>
                  <a:cubicBezTo>
                    <a:pt x="19259" y="11742"/>
                    <a:pt x="19231" y="11507"/>
                    <a:pt x="19203" y="11280"/>
                  </a:cubicBezTo>
                  <a:cubicBezTo>
                    <a:pt x="19185" y="11164"/>
                    <a:pt x="19175" y="11049"/>
                    <a:pt x="19171" y="10933"/>
                  </a:cubicBezTo>
                  <a:cubicBezTo>
                    <a:pt x="19171" y="10562"/>
                    <a:pt x="19171" y="10212"/>
                    <a:pt x="19315" y="10082"/>
                  </a:cubicBezTo>
                  <a:cubicBezTo>
                    <a:pt x="19353" y="10047"/>
                    <a:pt x="19360" y="10026"/>
                    <a:pt x="19360" y="10023"/>
                  </a:cubicBezTo>
                  <a:cubicBezTo>
                    <a:pt x="19357" y="10019"/>
                    <a:pt x="19357" y="10005"/>
                    <a:pt x="19290" y="9974"/>
                  </a:cubicBezTo>
                  <a:cubicBezTo>
                    <a:pt x="19227" y="9946"/>
                    <a:pt x="19199" y="9872"/>
                    <a:pt x="19227" y="9809"/>
                  </a:cubicBezTo>
                  <a:cubicBezTo>
                    <a:pt x="19254" y="9737"/>
                    <a:pt x="19323" y="9690"/>
                    <a:pt x="19400" y="9690"/>
                  </a:cubicBezTo>
                  <a:cubicBezTo>
                    <a:pt x="19412" y="9690"/>
                    <a:pt x="19425" y="9692"/>
                    <a:pt x="19437" y="9694"/>
                  </a:cubicBezTo>
                  <a:cubicBezTo>
                    <a:pt x="19476" y="9708"/>
                    <a:pt x="19511" y="9732"/>
                    <a:pt x="19542" y="9760"/>
                  </a:cubicBezTo>
                  <a:cubicBezTo>
                    <a:pt x="19594" y="9803"/>
                    <a:pt x="19630" y="9828"/>
                    <a:pt x="19667" y="9828"/>
                  </a:cubicBezTo>
                  <a:cubicBezTo>
                    <a:pt x="19685" y="9828"/>
                    <a:pt x="19704" y="9822"/>
                    <a:pt x="19724" y="9809"/>
                  </a:cubicBezTo>
                  <a:cubicBezTo>
                    <a:pt x="19843" y="9736"/>
                    <a:pt x="19980" y="9386"/>
                    <a:pt x="20088" y="9106"/>
                  </a:cubicBezTo>
                  <a:lnTo>
                    <a:pt x="20134" y="8994"/>
                  </a:lnTo>
                  <a:cubicBezTo>
                    <a:pt x="20249" y="8696"/>
                    <a:pt x="20435" y="8637"/>
                    <a:pt x="20585" y="8591"/>
                  </a:cubicBezTo>
                  <a:cubicBezTo>
                    <a:pt x="20620" y="8581"/>
                    <a:pt x="20655" y="8570"/>
                    <a:pt x="20690" y="8556"/>
                  </a:cubicBezTo>
                  <a:cubicBezTo>
                    <a:pt x="20820" y="8500"/>
                    <a:pt x="21181" y="8126"/>
                    <a:pt x="21419" y="7513"/>
                  </a:cubicBezTo>
                  <a:cubicBezTo>
                    <a:pt x="21601" y="7040"/>
                    <a:pt x="21471" y="6571"/>
                    <a:pt x="21366" y="6193"/>
                  </a:cubicBezTo>
                  <a:cubicBezTo>
                    <a:pt x="21345" y="6113"/>
                    <a:pt x="21324" y="6035"/>
                    <a:pt x="21307" y="5965"/>
                  </a:cubicBezTo>
                  <a:cubicBezTo>
                    <a:pt x="21250" y="5726"/>
                    <a:pt x="21198" y="5684"/>
                    <a:pt x="21091" y="5684"/>
                  </a:cubicBezTo>
                  <a:cubicBezTo>
                    <a:pt x="21065" y="5684"/>
                    <a:pt x="21035" y="5686"/>
                    <a:pt x="21002" y="5689"/>
                  </a:cubicBezTo>
                  <a:cubicBezTo>
                    <a:pt x="20971" y="5692"/>
                    <a:pt x="20939" y="5696"/>
                    <a:pt x="20901" y="5699"/>
                  </a:cubicBezTo>
                  <a:cubicBezTo>
                    <a:pt x="20883" y="5700"/>
                    <a:pt x="20866" y="5701"/>
                    <a:pt x="20849" y="5701"/>
                  </a:cubicBezTo>
                  <a:cubicBezTo>
                    <a:pt x="20427" y="5701"/>
                    <a:pt x="19986" y="5456"/>
                    <a:pt x="19539" y="4975"/>
                  </a:cubicBezTo>
                  <a:cubicBezTo>
                    <a:pt x="19146" y="4547"/>
                    <a:pt x="18764" y="4431"/>
                    <a:pt x="18442" y="4431"/>
                  </a:cubicBezTo>
                  <a:cubicBezTo>
                    <a:pt x="18279" y="4431"/>
                    <a:pt x="18131" y="4461"/>
                    <a:pt x="18005" y="4495"/>
                  </a:cubicBezTo>
                  <a:cubicBezTo>
                    <a:pt x="17940" y="4513"/>
                    <a:pt x="17874" y="4520"/>
                    <a:pt x="17809" y="4520"/>
                  </a:cubicBezTo>
                  <a:cubicBezTo>
                    <a:pt x="17576" y="4520"/>
                    <a:pt x="17351" y="4423"/>
                    <a:pt x="17165" y="4341"/>
                  </a:cubicBezTo>
                  <a:cubicBezTo>
                    <a:pt x="17078" y="4303"/>
                    <a:pt x="16987" y="4268"/>
                    <a:pt x="16892" y="4243"/>
                  </a:cubicBezTo>
                  <a:cubicBezTo>
                    <a:pt x="16875" y="4239"/>
                    <a:pt x="16858" y="4237"/>
                    <a:pt x="16840" y="4237"/>
                  </a:cubicBezTo>
                  <a:cubicBezTo>
                    <a:pt x="16712" y="4237"/>
                    <a:pt x="16578" y="4343"/>
                    <a:pt x="16454" y="4436"/>
                  </a:cubicBezTo>
                  <a:cubicBezTo>
                    <a:pt x="16384" y="4499"/>
                    <a:pt x="16304" y="4551"/>
                    <a:pt x="16216" y="4590"/>
                  </a:cubicBezTo>
                  <a:cubicBezTo>
                    <a:pt x="16192" y="4600"/>
                    <a:pt x="16171" y="4604"/>
                    <a:pt x="16152" y="4604"/>
                  </a:cubicBezTo>
                  <a:cubicBezTo>
                    <a:pt x="16124" y="4604"/>
                    <a:pt x="16102" y="4594"/>
                    <a:pt x="16083" y="4576"/>
                  </a:cubicBezTo>
                  <a:cubicBezTo>
                    <a:pt x="16034" y="4520"/>
                    <a:pt x="16069" y="4443"/>
                    <a:pt x="16132" y="4310"/>
                  </a:cubicBezTo>
                  <a:cubicBezTo>
                    <a:pt x="16174" y="4212"/>
                    <a:pt x="16230" y="4089"/>
                    <a:pt x="16237" y="4002"/>
                  </a:cubicBezTo>
                  <a:cubicBezTo>
                    <a:pt x="16237" y="3949"/>
                    <a:pt x="16157" y="3746"/>
                    <a:pt x="14991" y="3291"/>
                  </a:cubicBezTo>
                  <a:cubicBezTo>
                    <a:pt x="14809" y="3219"/>
                    <a:pt x="14657" y="3183"/>
                    <a:pt x="14543" y="3183"/>
                  </a:cubicBezTo>
                  <a:cubicBezTo>
                    <a:pt x="14473" y="3183"/>
                    <a:pt x="14416" y="3196"/>
                    <a:pt x="14375" y="3224"/>
                  </a:cubicBezTo>
                  <a:cubicBezTo>
                    <a:pt x="14312" y="3266"/>
                    <a:pt x="14280" y="3350"/>
                    <a:pt x="14280" y="3473"/>
                  </a:cubicBezTo>
                  <a:cubicBezTo>
                    <a:pt x="14280" y="3546"/>
                    <a:pt x="14273" y="3623"/>
                    <a:pt x="14221" y="3658"/>
                  </a:cubicBezTo>
                  <a:cubicBezTo>
                    <a:pt x="14200" y="3675"/>
                    <a:pt x="14179" y="3680"/>
                    <a:pt x="14158" y="3680"/>
                  </a:cubicBezTo>
                  <a:cubicBezTo>
                    <a:pt x="14129" y="3680"/>
                    <a:pt x="14102" y="3670"/>
                    <a:pt x="14077" y="3662"/>
                  </a:cubicBezTo>
                  <a:cubicBezTo>
                    <a:pt x="14052" y="3654"/>
                    <a:pt x="14029" y="3646"/>
                    <a:pt x="14008" y="3646"/>
                  </a:cubicBezTo>
                  <a:cubicBezTo>
                    <a:pt x="13967" y="3646"/>
                    <a:pt x="13930" y="3673"/>
                    <a:pt x="13888" y="3767"/>
                  </a:cubicBezTo>
                  <a:cubicBezTo>
                    <a:pt x="13791" y="3983"/>
                    <a:pt x="13656" y="4006"/>
                    <a:pt x="13595" y="4006"/>
                  </a:cubicBezTo>
                  <a:cubicBezTo>
                    <a:pt x="13588" y="4006"/>
                    <a:pt x="13582" y="4005"/>
                    <a:pt x="13577" y="4005"/>
                  </a:cubicBezTo>
                  <a:cubicBezTo>
                    <a:pt x="13500" y="3998"/>
                    <a:pt x="13437" y="3949"/>
                    <a:pt x="13419" y="3875"/>
                  </a:cubicBezTo>
                  <a:cubicBezTo>
                    <a:pt x="13405" y="3805"/>
                    <a:pt x="13440" y="3739"/>
                    <a:pt x="13517" y="3693"/>
                  </a:cubicBezTo>
                  <a:cubicBezTo>
                    <a:pt x="13696" y="3588"/>
                    <a:pt x="13885" y="3333"/>
                    <a:pt x="13958" y="3102"/>
                  </a:cubicBezTo>
                  <a:cubicBezTo>
                    <a:pt x="13965" y="3088"/>
                    <a:pt x="13955" y="3070"/>
                    <a:pt x="13934" y="3049"/>
                  </a:cubicBezTo>
                  <a:cubicBezTo>
                    <a:pt x="13813" y="2936"/>
                    <a:pt x="13454" y="2855"/>
                    <a:pt x="13184" y="2855"/>
                  </a:cubicBezTo>
                  <a:cubicBezTo>
                    <a:pt x="13088" y="2855"/>
                    <a:pt x="13002" y="2865"/>
                    <a:pt x="12943" y="2888"/>
                  </a:cubicBezTo>
                  <a:cubicBezTo>
                    <a:pt x="12831" y="2934"/>
                    <a:pt x="12807" y="3028"/>
                    <a:pt x="12782" y="3151"/>
                  </a:cubicBezTo>
                  <a:cubicBezTo>
                    <a:pt x="12768" y="3228"/>
                    <a:pt x="12758" y="3301"/>
                    <a:pt x="12691" y="3333"/>
                  </a:cubicBezTo>
                  <a:cubicBezTo>
                    <a:pt x="12672" y="3339"/>
                    <a:pt x="12653" y="3342"/>
                    <a:pt x="12634" y="3342"/>
                  </a:cubicBezTo>
                  <a:cubicBezTo>
                    <a:pt x="12599" y="3342"/>
                    <a:pt x="12565" y="3332"/>
                    <a:pt x="12533" y="3312"/>
                  </a:cubicBezTo>
                  <a:cubicBezTo>
                    <a:pt x="12414" y="3252"/>
                    <a:pt x="12358" y="3116"/>
                    <a:pt x="12400" y="2990"/>
                  </a:cubicBezTo>
                  <a:cubicBezTo>
                    <a:pt x="12438" y="2865"/>
                    <a:pt x="12559" y="2737"/>
                    <a:pt x="12699" y="2737"/>
                  </a:cubicBezTo>
                  <a:cubicBezTo>
                    <a:pt x="12705" y="2737"/>
                    <a:pt x="12710" y="2737"/>
                    <a:pt x="12716" y="2738"/>
                  </a:cubicBezTo>
                  <a:cubicBezTo>
                    <a:pt x="12717" y="2738"/>
                    <a:pt x="12719" y="2738"/>
                    <a:pt x="12721" y="2738"/>
                  </a:cubicBezTo>
                  <a:cubicBezTo>
                    <a:pt x="12772" y="2738"/>
                    <a:pt x="12932" y="2682"/>
                    <a:pt x="13199" y="2097"/>
                  </a:cubicBezTo>
                  <a:cubicBezTo>
                    <a:pt x="13258" y="1968"/>
                    <a:pt x="13202" y="1915"/>
                    <a:pt x="13017" y="1792"/>
                  </a:cubicBezTo>
                  <a:cubicBezTo>
                    <a:pt x="12922" y="1733"/>
                    <a:pt x="12838" y="1663"/>
                    <a:pt x="12761" y="1586"/>
                  </a:cubicBezTo>
                  <a:cubicBezTo>
                    <a:pt x="12646" y="1456"/>
                    <a:pt x="12600" y="1229"/>
                    <a:pt x="12555" y="1008"/>
                  </a:cubicBezTo>
                  <a:cubicBezTo>
                    <a:pt x="12523" y="840"/>
                    <a:pt x="12484" y="655"/>
                    <a:pt x="12421" y="578"/>
                  </a:cubicBezTo>
                  <a:lnTo>
                    <a:pt x="12418" y="581"/>
                  </a:lnTo>
                  <a:lnTo>
                    <a:pt x="12393" y="606"/>
                  </a:lnTo>
                  <a:lnTo>
                    <a:pt x="12372" y="630"/>
                  </a:lnTo>
                  <a:lnTo>
                    <a:pt x="12348" y="655"/>
                  </a:lnTo>
                  <a:lnTo>
                    <a:pt x="12323" y="679"/>
                  </a:lnTo>
                  <a:lnTo>
                    <a:pt x="12302" y="704"/>
                  </a:lnTo>
                  <a:lnTo>
                    <a:pt x="12278" y="732"/>
                  </a:lnTo>
                  <a:lnTo>
                    <a:pt x="12257" y="756"/>
                  </a:lnTo>
                  <a:lnTo>
                    <a:pt x="12229" y="784"/>
                  </a:lnTo>
                  <a:lnTo>
                    <a:pt x="12208" y="809"/>
                  </a:lnTo>
                  <a:lnTo>
                    <a:pt x="12183" y="837"/>
                  </a:lnTo>
                  <a:lnTo>
                    <a:pt x="12162" y="861"/>
                  </a:lnTo>
                  <a:lnTo>
                    <a:pt x="12138" y="893"/>
                  </a:lnTo>
                  <a:lnTo>
                    <a:pt x="12120" y="917"/>
                  </a:lnTo>
                  <a:lnTo>
                    <a:pt x="12096" y="945"/>
                  </a:lnTo>
                  <a:lnTo>
                    <a:pt x="12075" y="973"/>
                  </a:lnTo>
                  <a:lnTo>
                    <a:pt x="12054" y="1001"/>
                  </a:lnTo>
                  <a:lnTo>
                    <a:pt x="12036" y="1026"/>
                  </a:lnTo>
                  <a:lnTo>
                    <a:pt x="12015" y="1057"/>
                  </a:lnTo>
                  <a:lnTo>
                    <a:pt x="11998" y="1082"/>
                  </a:lnTo>
                  <a:lnTo>
                    <a:pt x="11977" y="1110"/>
                  </a:lnTo>
                  <a:lnTo>
                    <a:pt x="11959" y="1134"/>
                  </a:lnTo>
                  <a:lnTo>
                    <a:pt x="11942" y="1162"/>
                  </a:lnTo>
                  <a:lnTo>
                    <a:pt x="11928" y="1187"/>
                  </a:lnTo>
                  <a:lnTo>
                    <a:pt x="11910" y="1215"/>
                  </a:lnTo>
                  <a:lnTo>
                    <a:pt x="11900" y="1239"/>
                  </a:lnTo>
                  <a:cubicBezTo>
                    <a:pt x="11893" y="1250"/>
                    <a:pt x="11889" y="1257"/>
                    <a:pt x="11882" y="1267"/>
                  </a:cubicBezTo>
                  <a:lnTo>
                    <a:pt x="11872" y="1288"/>
                  </a:lnTo>
                  <a:cubicBezTo>
                    <a:pt x="11868" y="1299"/>
                    <a:pt x="11861" y="1309"/>
                    <a:pt x="11858" y="1320"/>
                  </a:cubicBezTo>
                  <a:lnTo>
                    <a:pt x="11851" y="1337"/>
                  </a:lnTo>
                  <a:cubicBezTo>
                    <a:pt x="11844" y="1351"/>
                    <a:pt x="11840" y="1369"/>
                    <a:pt x="11833" y="1383"/>
                  </a:cubicBezTo>
                  <a:cubicBezTo>
                    <a:pt x="11750" y="1639"/>
                    <a:pt x="11626" y="1645"/>
                    <a:pt x="11493" y="1645"/>
                  </a:cubicBezTo>
                  <a:cubicBezTo>
                    <a:pt x="11487" y="1645"/>
                    <a:pt x="11480" y="1645"/>
                    <a:pt x="11473" y="1645"/>
                  </a:cubicBezTo>
                  <a:lnTo>
                    <a:pt x="11417" y="1645"/>
                  </a:lnTo>
                  <a:cubicBezTo>
                    <a:pt x="11347" y="1645"/>
                    <a:pt x="11280" y="1652"/>
                    <a:pt x="11217" y="1673"/>
                  </a:cubicBezTo>
                  <a:cubicBezTo>
                    <a:pt x="11196" y="1680"/>
                    <a:pt x="11179" y="1684"/>
                    <a:pt x="11161" y="1691"/>
                  </a:cubicBezTo>
                  <a:lnTo>
                    <a:pt x="11151" y="1691"/>
                  </a:lnTo>
                  <a:cubicBezTo>
                    <a:pt x="11133" y="1694"/>
                    <a:pt x="11119" y="1698"/>
                    <a:pt x="11105" y="1701"/>
                  </a:cubicBezTo>
                  <a:lnTo>
                    <a:pt x="11095" y="1701"/>
                  </a:lnTo>
                  <a:cubicBezTo>
                    <a:pt x="11081" y="1705"/>
                    <a:pt x="11067" y="1705"/>
                    <a:pt x="11049" y="1705"/>
                  </a:cubicBezTo>
                  <a:lnTo>
                    <a:pt x="10990" y="1705"/>
                  </a:lnTo>
                  <a:cubicBezTo>
                    <a:pt x="10895" y="1705"/>
                    <a:pt x="10804" y="1673"/>
                    <a:pt x="10727" y="1614"/>
                  </a:cubicBezTo>
                  <a:lnTo>
                    <a:pt x="10724" y="1621"/>
                  </a:lnTo>
                  <a:lnTo>
                    <a:pt x="10682" y="1568"/>
                  </a:lnTo>
                  <a:cubicBezTo>
                    <a:pt x="10671" y="1558"/>
                    <a:pt x="10661" y="1547"/>
                    <a:pt x="10650" y="1537"/>
                  </a:cubicBezTo>
                  <a:lnTo>
                    <a:pt x="10636" y="1516"/>
                  </a:lnTo>
                  <a:cubicBezTo>
                    <a:pt x="10626" y="1505"/>
                    <a:pt x="10619" y="1491"/>
                    <a:pt x="10608" y="1481"/>
                  </a:cubicBezTo>
                  <a:cubicBezTo>
                    <a:pt x="10595" y="1458"/>
                    <a:pt x="10558" y="1451"/>
                    <a:pt x="10511" y="1451"/>
                  </a:cubicBezTo>
                  <a:cubicBezTo>
                    <a:pt x="10457" y="1451"/>
                    <a:pt x="10388" y="1461"/>
                    <a:pt x="10328" y="1470"/>
                  </a:cubicBezTo>
                  <a:cubicBezTo>
                    <a:pt x="10252" y="1485"/>
                    <a:pt x="10174" y="1492"/>
                    <a:pt x="10097" y="1492"/>
                  </a:cubicBezTo>
                  <a:cubicBezTo>
                    <a:pt x="10082" y="1492"/>
                    <a:pt x="10067" y="1492"/>
                    <a:pt x="10051" y="1491"/>
                  </a:cubicBezTo>
                  <a:cubicBezTo>
                    <a:pt x="10045" y="1491"/>
                    <a:pt x="10039" y="1491"/>
                    <a:pt x="10034" y="1491"/>
                  </a:cubicBezTo>
                  <a:cubicBezTo>
                    <a:pt x="10000" y="1491"/>
                    <a:pt x="9990" y="1506"/>
                    <a:pt x="9978" y="1600"/>
                  </a:cubicBezTo>
                  <a:cubicBezTo>
                    <a:pt x="9967" y="1673"/>
                    <a:pt x="9953" y="1778"/>
                    <a:pt x="9859" y="1831"/>
                  </a:cubicBezTo>
                  <a:cubicBezTo>
                    <a:pt x="9848" y="1834"/>
                    <a:pt x="9838" y="1838"/>
                    <a:pt x="9827" y="1841"/>
                  </a:cubicBezTo>
                  <a:lnTo>
                    <a:pt x="9817" y="1845"/>
                  </a:lnTo>
                  <a:lnTo>
                    <a:pt x="9796" y="1852"/>
                  </a:lnTo>
                  <a:lnTo>
                    <a:pt x="9754" y="1852"/>
                  </a:lnTo>
                  <a:cubicBezTo>
                    <a:pt x="9733" y="1852"/>
                    <a:pt x="9715" y="1848"/>
                    <a:pt x="9698" y="1848"/>
                  </a:cubicBezTo>
                  <a:lnTo>
                    <a:pt x="9684" y="1848"/>
                  </a:lnTo>
                  <a:lnTo>
                    <a:pt x="9687" y="1855"/>
                  </a:lnTo>
                  <a:lnTo>
                    <a:pt x="9568" y="1824"/>
                  </a:lnTo>
                  <a:lnTo>
                    <a:pt x="9516" y="1810"/>
                  </a:lnTo>
                  <a:cubicBezTo>
                    <a:pt x="9440" y="1792"/>
                    <a:pt x="9358" y="1771"/>
                    <a:pt x="9298" y="1771"/>
                  </a:cubicBezTo>
                  <a:cubicBezTo>
                    <a:pt x="9263" y="1771"/>
                    <a:pt x="9235" y="1778"/>
                    <a:pt x="9218" y="1796"/>
                  </a:cubicBezTo>
                  <a:cubicBezTo>
                    <a:pt x="9170" y="1857"/>
                    <a:pt x="9099" y="1891"/>
                    <a:pt x="9022" y="1891"/>
                  </a:cubicBezTo>
                  <a:cubicBezTo>
                    <a:pt x="9015" y="1891"/>
                    <a:pt x="9008" y="1891"/>
                    <a:pt x="9001" y="1891"/>
                  </a:cubicBezTo>
                  <a:cubicBezTo>
                    <a:pt x="8963" y="1891"/>
                    <a:pt x="8963" y="1891"/>
                    <a:pt x="8952" y="1915"/>
                  </a:cubicBezTo>
                  <a:cubicBezTo>
                    <a:pt x="8896" y="2024"/>
                    <a:pt x="8777" y="2031"/>
                    <a:pt x="8690" y="2038"/>
                  </a:cubicBezTo>
                  <a:cubicBezTo>
                    <a:pt x="8651" y="2041"/>
                    <a:pt x="8592" y="2045"/>
                    <a:pt x="8581" y="2059"/>
                  </a:cubicBezTo>
                  <a:cubicBezTo>
                    <a:pt x="8532" y="2115"/>
                    <a:pt x="8462" y="2143"/>
                    <a:pt x="8388" y="2143"/>
                  </a:cubicBezTo>
                  <a:lnTo>
                    <a:pt x="8315" y="2143"/>
                  </a:lnTo>
                  <a:lnTo>
                    <a:pt x="8301" y="2139"/>
                  </a:lnTo>
                  <a:lnTo>
                    <a:pt x="8290" y="2139"/>
                  </a:lnTo>
                  <a:lnTo>
                    <a:pt x="8276" y="2136"/>
                  </a:lnTo>
                  <a:lnTo>
                    <a:pt x="8262" y="2132"/>
                  </a:lnTo>
                  <a:lnTo>
                    <a:pt x="8248" y="2125"/>
                  </a:lnTo>
                  <a:lnTo>
                    <a:pt x="8234" y="2122"/>
                  </a:lnTo>
                  <a:lnTo>
                    <a:pt x="8220" y="2115"/>
                  </a:lnTo>
                  <a:lnTo>
                    <a:pt x="8206" y="2111"/>
                  </a:lnTo>
                  <a:lnTo>
                    <a:pt x="8192" y="2104"/>
                  </a:lnTo>
                  <a:lnTo>
                    <a:pt x="8175" y="2097"/>
                  </a:lnTo>
                  <a:lnTo>
                    <a:pt x="8161" y="2090"/>
                  </a:lnTo>
                  <a:lnTo>
                    <a:pt x="8143" y="2080"/>
                  </a:lnTo>
                  <a:lnTo>
                    <a:pt x="8129" y="2069"/>
                  </a:lnTo>
                  <a:lnTo>
                    <a:pt x="8108" y="2059"/>
                  </a:lnTo>
                  <a:lnTo>
                    <a:pt x="8094" y="2048"/>
                  </a:lnTo>
                  <a:lnTo>
                    <a:pt x="8077" y="2038"/>
                  </a:lnTo>
                  <a:lnTo>
                    <a:pt x="8059" y="2024"/>
                  </a:lnTo>
                  <a:lnTo>
                    <a:pt x="8042" y="2010"/>
                  </a:lnTo>
                  <a:lnTo>
                    <a:pt x="8024" y="1996"/>
                  </a:lnTo>
                  <a:lnTo>
                    <a:pt x="8003" y="1982"/>
                  </a:lnTo>
                  <a:lnTo>
                    <a:pt x="7986" y="1961"/>
                  </a:lnTo>
                  <a:lnTo>
                    <a:pt x="7968" y="1947"/>
                  </a:lnTo>
                  <a:lnTo>
                    <a:pt x="7944" y="1922"/>
                  </a:lnTo>
                  <a:lnTo>
                    <a:pt x="7930" y="1908"/>
                  </a:lnTo>
                  <a:cubicBezTo>
                    <a:pt x="7916" y="1898"/>
                    <a:pt x="7905" y="1883"/>
                    <a:pt x="7891" y="1869"/>
                  </a:cubicBezTo>
                  <a:cubicBezTo>
                    <a:pt x="7688" y="1642"/>
                    <a:pt x="7639" y="1330"/>
                    <a:pt x="7660" y="1113"/>
                  </a:cubicBezTo>
                  <a:cubicBezTo>
                    <a:pt x="7674" y="963"/>
                    <a:pt x="7720" y="851"/>
                    <a:pt x="7786" y="802"/>
                  </a:cubicBezTo>
                  <a:cubicBezTo>
                    <a:pt x="7839" y="756"/>
                    <a:pt x="7863" y="683"/>
                    <a:pt x="7849" y="613"/>
                  </a:cubicBezTo>
                  <a:cubicBezTo>
                    <a:pt x="7846" y="546"/>
                    <a:pt x="7807" y="487"/>
                    <a:pt x="7748" y="455"/>
                  </a:cubicBezTo>
                  <a:cubicBezTo>
                    <a:pt x="7629" y="403"/>
                    <a:pt x="7622" y="273"/>
                    <a:pt x="7615" y="172"/>
                  </a:cubicBezTo>
                  <a:cubicBezTo>
                    <a:pt x="7608" y="46"/>
                    <a:pt x="7597" y="11"/>
                    <a:pt x="7538"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032" name="Google Shape;5032;p104"/>
            <p:cNvSpPr/>
            <p:nvPr/>
          </p:nvSpPr>
          <p:spPr>
            <a:xfrm>
              <a:off x="1610849" y="2278130"/>
              <a:ext cx="35193" cy="37406"/>
            </a:xfrm>
            <a:custGeom>
              <a:avLst/>
              <a:gdLst/>
              <a:ahLst/>
              <a:cxnLst/>
              <a:rect l="l" t="t" r="r" b="b"/>
              <a:pathLst>
                <a:path w="2592" h="2755" extrusionOk="0">
                  <a:moveTo>
                    <a:pt x="725" y="1"/>
                  </a:moveTo>
                  <a:cubicBezTo>
                    <a:pt x="692" y="1"/>
                    <a:pt x="659" y="8"/>
                    <a:pt x="627" y="22"/>
                  </a:cubicBezTo>
                  <a:cubicBezTo>
                    <a:pt x="617" y="25"/>
                    <a:pt x="603" y="29"/>
                    <a:pt x="592" y="32"/>
                  </a:cubicBezTo>
                  <a:lnTo>
                    <a:pt x="575" y="36"/>
                  </a:lnTo>
                  <a:cubicBezTo>
                    <a:pt x="568" y="36"/>
                    <a:pt x="557" y="39"/>
                    <a:pt x="547" y="39"/>
                  </a:cubicBezTo>
                  <a:lnTo>
                    <a:pt x="466" y="39"/>
                  </a:lnTo>
                  <a:cubicBezTo>
                    <a:pt x="417" y="92"/>
                    <a:pt x="375" y="155"/>
                    <a:pt x="347" y="221"/>
                  </a:cubicBezTo>
                  <a:lnTo>
                    <a:pt x="347" y="225"/>
                  </a:lnTo>
                  <a:cubicBezTo>
                    <a:pt x="344" y="232"/>
                    <a:pt x="344" y="242"/>
                    <a:pt x="340" y="249"/>
                  </a:cubicBezTo>
                  <a:lnTo>
                    <a:pt x="340" y="256"/>
                  </a:lnTo>
                  <a:cubicBezTo>
                    <a:pt x="340" y="263"/>
                    <a:pt x="337" y="270"/>
                    <a:pt x="337" y="281"/>
                  </a:cubicBezTo>
                  <a:lnTo>
                    <a:pt x="337" y="323"/>
                  </a:lnTo>
                  <a:cubicBezTo>
                    <a:pt x="326" y="428"/>
                    <a:pt x="302" y="529"/>
                    <a:pt x="267" y="628"/>
                  </a:cubicBezTo>
                  <a:lnTo>
                    <a:pt x="249" y="691"/>
                  </a:lnTo>
                  <a:cubicBezTo>
                    <a:pt x="235" y="733"/>
                    <a:pt x="225" y="778"/>
                    <a:pt x="211" y="820"/>
                  </a:cubicBezTo>
                  <a:cubicBezTo>
                    <a:pt x="179" y="950"/>
                    <a:pt x="158" y="1083"/>
                    <a:pt x="155" y="1216"/>
                  </a:cubicBezTo>
                  <a:cubicBezTo>
                    <a:pt x="155" y="1331"/>
                    <a:pt x="137" y="1447"/>
                    <a:pt x="106" y="1559"/>
                  </a:cubicBezTo>
                  <a:cubicBezTo>
                    <a:pt x="92" y="1594"/>
                    <a:pt x="81" y="1622"/>
                    <a:pt x="71" y="1646"/>
                  </a:cubicBezTo>
                  <a:cubicBezTo>
                    <a:pt x="29" y="1734"/>
                    <a:pt x="8" y="1832"/>
                    <a:pt x="8" y="1926"/>
                  </a:cubicBezTo>
                  <a:cubicBezTo>
                    <a:pt x="1" y="2143"/>
                    <a:pt x="43" y="2161"/>
                    <a:pt x="81" y="2171"/>
                  </a:cubicBezTo>
                  <a:cubicBezTo>
                    <a:pt x="106" y="2178"/>
                    <a:pt x="127" y="2192"/>
                    <a:pt x="148" y="2210"/>
                  </a:cubicBezTo>
                  <a:cubicBezTo>
                    <a:pt x="155" y="2217"/>
                    <a:pt x="158" y="2224"/>
                    <a:pt x="162" y="2227"/>
                  </a:cubicBezTo>
                  <a:cubicBezTo>
                    <a:pt x="162" y="2227"/>
                    <a:pt x="162" y="2234"/>
                    <a:pt x="165" y="2234"/>
                  </a:cubicBezTo>
                  <a:cubicBezTo>
                    <a:pt x="169" y="2241"/>
                    <a:pt x="169" y="2245"/>
                    <a:pt x="172" y="2252"/>
                  </a:cubicBezTo>
                  <a:lnTo>
                    <a:pt x="172" y="2259"/>
                  </a:lnTo>
                  <a:cubicBezTo>
                    <a:pt x="172" y="2266"/>
                    <a:pt x="172" y="2273"/>
                    <a:pt x="172" y="2276"/>
                  </a:cubicBezTo>
                  <a:lnTo>
                    <a:pt x="172" y="2290"/>
                  </a:lnTo>
                  <a:lnTo>
                    <a:pt x="172" y="2308"/>
                  </a:lnTo>
                  <a:lnTo>
                    <a:pt x="172" y="2322"/>
                  </a:lnTo>
                  <a:cubicBezTo>
                    <a:pt x="172" y="2329"/>
                    <a:pt x="172" y="2336"/>
                    <a:pt x="172" y="2343"/>
                  </a:cubicBezTo>
                  <a:cubicBezTo>
                    <a:pt x="169" y="2350"/>
                    <a:pt x="169" y="2357"/>
                    <a:pt x="169" y="2360"/>
                  </a:cubicBezTo>
                  <a:cubicBezTo>
                    <a:pt x="165" y="2367"/>
                    <a:pt x="165" y="2378"/>
                    <a:pt x="162" y="2385"/>
                  </a:cubicBezTo>
                  <a:lnTo>
                    <a:pt x="155" y="2406"/>
                  </a:lnTo>
                  <a:cubicBezTo>
                    <a:pt x="155" y="2416"/>
                    <a:pt x="151" y="2427"/>
                    <a:pt x="148" y="2434"/>
                  </a:cubicBezTo>
                  <a:lnTo>
                    <a:pt x="137" y="2458"/>
                  </a:lnTo>
                  <a:lnTo>
                    <a:pt x="137" y="2469"/>
                  </a:lnTo>
                  <a:cubicBezTo>
                    <a:pt x="174" y="2503"/>
                    <a:pt x="203" y="2526"/>
                    <a:pt x="248" y="2526"/>
                  </a:cubicBezTo>
                  <a:cubicBezTo>
                    <a:pt x="254" y="2526"/>
                    <a:pt x="260" y="2526"/>
                    <a:pt x="267" y="2525"/>
                  </a:cubicBezTo>
                  <a:cubicBezTo>
                    <a:pt x="295" y="2525"/>
                    <a:pt x="323" y="2521"/>
                    <a:pt x="351" y="2521"/>
                  </a:cubicBezTo>
                  <a:cubicBezTo>
                    <a:pt x="564" y="2521"/>
                    <a:pt x="774" y="2609"/>
                    <a:pt x="1005" y="2714"/>
                  </a:cubicBezTo>
                  <a:cubicBezTo>
                    <a:pt x="1074" y="2744"/>
                    <a:pt x="1110" y="2755"/>
                    <a:pt x="1135" y="2755"/>
                  </a:cubicBezTo>
                  <a:cubicBezTo>
                    <a:pt x="1153" y="2755"/>
                    <a:pt x="1166" y="2749"/>
                    <a:pt x="1180" y="2742"/>
                  </a:cubicBezTo>
                  <a:cubicBezTo>
                    <a:pt x="1231" y="2716"/>
                    <a:pt x="1285" y="2702"/>
                    <a:pt x="1340" y="2702"/>
                  </a:cubicBezTo>
                  <a:cubicBezTo>
                    <a:pt x="1365" y="2702"/>
                    <a:pt x="1390" y="2705"/>
                    <a:pt x="1415" y="2711"/>
                  </a:cubicBezTo>
                  <a:cubicBezTo>
                    <a:pt x="1508" y="2723"/>
                    <a:pt x="1607" y="2734"/>
                    <a:pt x="1709" y="2734"/>
                  </a:cubicBezTo>
                  <a:cubicBezTo>
                    <a:pt x="1870" y="2734"/>
                    <a:pt x="2037" y="2706"/>
                    <a:pt x="2196" y="2609"/>
                  </a:cubicBezTo>
                  <a:cubicBezTo>
                    <a:pt x="2322" y="2532"/>
                    <a:pt x="2402" y="2413"/>
                    <a:pt x="2497" y="2276"/>
                  </a:cubicBezTo>
                  <a:cubicBezTo>
                    <a:pt x="2528" y="2234"/>
                    <a:pt x="2556" y="2189"/>
                    <a:pt x="2591" y="2147"/>
                  </a:cubicBezTo>
                  <a:lnTo>
                    <a:pt x="2591" y="2140"/>
                  </a:lnTo>
                  <a:cubicBezTo>
                    <a:pt x="2588" y="2133"/>
                    <a:pt x="2584" y="2126"/>
                    <a:pt x="2581" y="2119"/>
                  </a:cubicBezTo>
                  <a:cubicBezTo>
                    <a:pt x="2581" y="2112"/>
                    <a:pt x="2577" y="2105"/>
                    <a:pt x="2574" y="2098"/>
                  </a:cubicBezTo>
                  <a:cubicBezTo>
                    <a:pt x="2570" y="2087"/>
                    <a:pt x="2567" y="2084"/>
                    <a:pt x="2567" y="2077"/>
                  </a:cubicBezTo>
                  <a:cubicBezTo>
                    <a:pt x="2563" y="2070"/>
                    <a:pt x="2560" y="2059"/>
                    <a:pt x="2560" y="2052"/>
                  </a:cubicBezTo>
                  <a:cubicBezTo>
                    <a:pt x="2556" y="2042"/>
                    <a:pt x="2553" y="2038"/>
                    <a:pt x="2553" y="2031"/>
                  </a:cubicBezTo>
                  <a:cubicBezTo>
                    <a:pt x="2549" y="2024"/>
                    <a:pt x="2549" y="2014"/>
                    <a:pt x="2546" y="2007"/>
                  </a:cubicBezTo>
                  <a:cubicBezTo>
                    <a:pt x="2546" y="1996"/>
                    <a:pt x="2542" y="1993"/>
                    <a:pt x="2542" y="1986"/>
                  </a:cubicBezTo>
                  <a:cubicBezTo>
                    <a:pt x="2542" y="1979"/>
                    <a:pt x="2539" y="1968"/>
                    <a:pt x="2539" y="1961"/>
                  </a:cubicBezTo>
                  <a:cubicBezTo>
                    <a:pt x="2535" y="1951"/>
                    <a:pt x="2535" y="1947"/>
                    <a:pt x="2535" y="1940"/>
                  </a:cubicBezTo>
                  <a:cubicBezTo>
                    <a:pt x="2532" y="1933"/>
                    <a:pt x="2532" y="1923"/>
                    <a:pt x="2532" y="1916"/>
                  </a:cubicBezTo>
                  <a:cubicBezTo>
                    <a:pt x="2528" y="1905"/>
                    <a:pt x="2532" y="1902"/>
                    <a:pt x="2528" y="1895"/>
                  </a:cubicBezTo>
                  <a:cubicBezTo>
                    <a:pt x="2525" y="1888"/>
                    <a:pt x="2528" y="1877"/>
                    <a:pt x="2525" y="1870"/>
                  </a:cubicBezTo>
                  <a:cubicBezTo>
                    <a:pt x="2521" y="1860"/>
                    <a:pt x="2525" y="1856"/>
                    <a:pt x="2525" y="1849"/>
                  </a:cubicBezTo>
                  <a:lnTo>
                    <a:pt x="2525" y="1825"/>
                  </a:lnTo>
                  <a:lnTo>
                    <a:pt x="2525" y="1804"/>
                  </a:lnTo>
                  <a:lnTo>
                    <a:pt x="2525" y="1779"/>
                  </a:lnTo>
                  <a:lnTo>
                    <a:pt x="2525" y="1758"/>
                  </a:lnTo>
                  <a:lnTo>
                    <a:pt x="2525" y="1734"/>
                  </a:lnTo>
                  <a:lnTo>
                    <a:pt x="2525" y="1716"/>
                  </a:lnTo>
                  <a:lnTo>
                    <a:pt x="2525" y="1692"/>
                  </a:lnTo>
                  <a:lnTo>
                    <a:pt x="2525" y="1674"/>
                  </a:lnTo>
                  <a:lnTo>
                    <a:pt x="2525" y="1650"/>
                  </a:lnTo>
                  <a:lnTo>
                    <a:pt x="2525" y="1632"/>
                  </a:lnTo>
                  <a:lnTo>
                    <a:pt x="2525" y="1608"/>
                  </a:lnTo>
                  <a:lnTo>
                    <a:pt x="2525" y="1590"/>
                  </a:lnTo>
                  <a:lnTo>
                    <a:pt x="2525" y="1569"/>
                  </a:lnTo>
                  <a:lnTo>
                    <a:pt x="2525" y="1552"/>
                  </a:lnTo>
                  <a:lnTo>
                    <a:pt x="2525" y="1527"/>
                  </a:lnTo>
                  <a:lnTo>
                    <a:pt x="2525" y="1513"/>
                  </a:lnTo>
                  <a:lnTo>
                    <a:pt x="2528" y="1478"/>
                  </a:lnTo>
                  <a:cubicBezTo>
                    <a:pt x="2535" y="1419"/>
                    <a:pt x="2539" y="1366"/>
                    <a:pt x="2539" y="1324"/>
                  </a:cubicBezTo>
                  <a:cubicBezTo>
                    <a:pt x="2539" y="1177"/>
                    <a:pt x="2423" y="1104"/>
                    <a:pt x="2315" y="1034"/>
                  </a:cubicBezTo>
                  <a:cubicBezTo>
                    <a:pt x="2269" y="1009"/>
                    <a:pt x="2224" y="974"/>
                    <a:pt x="2185" y="939"/>
                  </a:cubicBezTo>
                  <a:cubicBezTo>
                    <a:pt x="2129" y="890"/>
                    <a:pt x="2070" y="848"/>
                    <a:pt x="2003" y="810"/>
                  </a:cubicBezTo>
                  <a:cubicBezTo>
                    <a:pt x="1852" y="719"/>
                    <a:pt x="1667" y="607"/>
                    <a:pt x="1569" y="466"/>
                  </a:cubicBezTo>
                  <a:cubicBezTo>
                    <a:pt x="1541" y="428"/>
                    <a:pt x="1523" y="417"/>
                    <a:pt x="1516" y="417"/>
                  </a:cubicBezTo>
                  <a:cubicBezTo>
                    <a:pt x="1495" y="417"/>
                    <a:pt x="1460" y="463"/>
                    <a:pt x="1439" y="487"/>
                  </a:cubicBezTo>
                  <a:cubicBezTo>
                    <a:pt x="1404" y="533"/>
                    <a:pt x="1373" y="572"/>
                    <a:pt x="1324" y="579"/>
                  </a:cubicBezTo>
                  <a:cubicBezTo>
                    <a:pt x="1317" y="580"/>
                    <a:pt x="1311" y="580"/>
                    <a:pt x="1305" y="580"/>
                  </a:cubicBezTo>
                  <a:cubicBezTo>
                    <a:pt x="1231" y="580"/>
                    <a:pt x="1203" y="507"/>
                    <a:pt x="1177" y="442"/>
                  </a:cubicBezTo>
                  <a:cubicBezTo>
                    <a:pt x="1138" y="347"/>
                    <a:pt x="1086" y="256"/>
                    <a:pt x="1019" y="176"/>
                  </a:cubicBezTo>
                  <a:cubicBezTo>
                    <a:pt x="923" y="61"/>
                    <a:pt x="822" y="1"/>
                    <a:pt x="725" y="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033" name="Google Shape;5033;p104"/>
            <p:cNvSpPr/>
            <p:nvPr/>
          </p:nvSpPr>
          <p:spPr>
            <a:xfrm>
              <a:off x="1645078" y="2303846"/>
              <a:ext cx="54" cy="299"/>
            </a:xfrm>
            <a:custGeom>
              <a:avLst/>
              <a:gdLst/>
              <a:ahLst/>
              <a:cxnLst/>
              <a:rect l="l" t="t" r="r" b="b"/>
              <a:pathLst>
                <a:path w="4" h="22" extrusionOk="0">
                  <a:moveTo>
                    <a:pt x="0" y="1"/>
                  </a:moveTo>
                  <a:cubicBezTo>
                    <a:pt x="0" y="8"/>
                    <a:pt x="0" y="15"/>
                    <a:pt x="4" y="22"/>
                  </a:cubicBezTo>
                  <a:lnTo>
                    <a:pt x="0"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034" name="Google Shape;5034;p104"/>
            <p:cNvSpPr/>
            <p:nvPr/>
          </p:nvSpPr>
          <p:spPr>
            <a:xfrm>
              <a:off x="1644983" y="2300289"/>
              <a:ext cx="54" cy="244"/>
            </a:xfrm>
            <a:custGeom>
              <a:avLst/>
              <a:gdLst/>
              <a:ahLst/>
              <a:cxnLst/>
              <a:rect l="l" t="t" r="r" b="b"/>
              <a:pathLst>
                <a:path w="4" h="18" extrusionOk="0">
                  <a:moveTo>
                    <a:pt x="4" y="0"/>
                  </a:moveTo>
                  <a:cubicBezTo>
                    <a:pt x="4" y="7"/>
                    <a:pt x="0" y="11"/>
                    <a:pt x="4" y="18"/>
                  </a:cubicBezTo>
                  <a:lnTo>
                    <a:pt x="4"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035" name="Google Shape;5035;p104"/>
            <p:cNvSpPr/>
            <p:nvPr/>
          </p:nvSpPr>
          <p:spPr>
            <a:xfrm>
              <a:off x="1645173" y="2304471"/>
              <a:ext cx="54" cy="299"/>
            </a:xfrm>
            <a:custGeom>
              <a:avLst/>
              <a:gdLst/>
              <a:ahLst/>
              <a:cxnLst/>
              <a:rect l="l" t="t" r="r" b="b"/>
              <a:pathLst>
                <a:path w="4" h="22" extrusionOk="0">
                  <a:moveTo>
                    <a:pt x="0" y="0"/>
                  </a:moveTo>
                  <a:cubicBezTo>
                    <a:pt x="0" y="7"/>
                    <a:pt x="4" y="14"/>
                    <a:pt x="4" y="21"/>
                  </a:cubicBezTo>
                  <a:cubicBezTo>
                    <a:pt x="4" y="14"/>
                    <a:pt x="0" y="7"/>
                    <a:pt x="0"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036" name="Google Shape;5036;p104"/>
            <p:cNvSpPr/>
            <p:nvPr/>
          </p:nvSpPr>
          <p:spPr>
            <a:xfrm>
              <a:off x="1645024" y="2303235"/>
              <a:ext cx="14" cy="299"/>
            </a:xfrm>
            <a:custGeom>
              <a:avLst/>
              <a:gdLst/>
              <a:ahLst/>
              <a:cxnLst/>
              <a:rect l="l" t="t" r="r" b="b"/>
              <a:pathLst>
                <a:path w="1" h="22" extrusionOk="0">
                  <a:moveTo>
                    <a:pt x="1" y="0"/>
                  </a:moveTo>
                  <a:lnTo>
                    <a:pt x="1" y="21"/>
                  </a:lnTo>
                  <a:cubicBezTo>
                    <a:pt x="1" y="14"/>
                    <a:pt x="1" y="7"/>
                    <a:pt x="1"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037" name="Google Shape;5037;p104"/>
            <p:cNvSpPr/>
            <p:nvPr/>
          </p:nvSpPr>
          <p:spPr>
            <a:xfrm>
              <a:off x="1645268" y="2305082"/>
              <a:ext cx="109" cy="299"/>
            </a:xfrm>
            <a:custGeom>
              <a:avLst/>
              <a:gdLst/>
              <a:ahLst/>
              <a:cxnLst/>
              <a:rect l="l" t="t" r="r" b="b"/>
              <a:pathLst>
                <a:path w="8" h="22" extrusionOk="0">
                  <a:moveTo>
                    <a:pt x="0" y="1"/>
                  </a:moveTo>
                  <a:cubicBezTo>
                    <a:pt x="0" y="8"/>
                    <a:pt x="4" y="15"/>
                    <a:pt x="7" y="22"/>
                  </a:cubicBezTo>
                  <a:cubicBezTo>
                    <a:pt x="4" y="15"/>
                    <a:pt x="4" y="8"/>
                    <a:pt x="0" y="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038" name="Google Shape;5038;p104"/>
            <p:cNvSpPr/>
            <p:nvPr/>
          </p:nvSpPr>
          <p:spPr>
            <a:xfrm>
              <a:off x="1644983" y="2301999"/>
              <a:ext cx="14" cy="299"/>
            </a:xfrm>
            <a:custGeom>
              <a:avLst/>
              <a:gdLst/>
              <a:ahLst/>
              <a:cxnLst/>
              <a:rect l="l" t="t" r="r" b="b"/>
              <a:pathLst>
                <a:path w="1" h="22" extrusionOk="0">
                  <a:moveTo>
                    <a:pt x="0" y="0"/>
                  </a:moveTo>
                  <a:lnTo>
                    <a:pt x="0" y="2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039" name="Google Shape;5039;p104"/>
            <p:cNvSpPr/>
            <p:nvPr/>
          </p:nvSpPr>
          <p:spPr>
            <a:xfrm>
              <a:off x="1644983" y="2302610"/>
              <a:ext cx="14" cy="299"/>
            </a:xfrm>
            <a:custGeom>
              <a:avLst/>
              <a:gdLst/>
              <a:ahLst/>
              <a:cxnLst/>
              <a:rect l="l" t="t" r="r" b="b"/>
              <a:pathLst>
                <a:path w="1" h="22" extrusionOk="0">
                  <a:moveTo>
                    <a:pt x="0" y="1"/>
                  </a:moveTo>
                  <a:lnTo>
                    <a:pt x="0" y="22"/>
                  </a:lnTo>
                  <a:cubicBezTo>
                    <a:pt x="0" y="15"/>
                    <a:pt x="0" y="8"/>
                    <a:pt x="0" y="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040" name="Google Shape;5040;p104"/>
            <p:cNvSpPr/>
            <p:nvPr/>
          </p:nvSpPr>
          <p:spPr>
            <a:xfrm>
              <a:off x="1644983" y="2300859"/>
              <a:ext cx="14" cy="244"/>
            </a:xfrm>
            <a:custGeom>
              <a:avLst/>
              <a:gdLst/>
              <a:ahLst/>
              <a:cxnLst/>
              <a:rect l="l" t="t" r="r" b="b"/>
              <a:pathLst>
                <a:path w="1" h="18" extrusionOk="0">
                  <a:moveTo>
                    <a:pt x="0" y="0"/>
                  </a:moveTo>
                  <a:lnTo>
                    <a:pt x="0" y="18"/>
                  </a:lnTo>
                  <a:cubicBezTo>
                    <a:pt x="0" y="11"/>
                    <a:pt x="0" y="7"/>
                    <a:pt x="0"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041" name="Google Shape;5041;p104"/>
            <p:cNvSpPr/>
            <p:nvPr/>
          </p:nvSpPr>
          <p:spPr>
            <a:xfrm>
              <a:off x="1645838" y="2306942"/>
              <a:ext cx="109" cy="299"/>
            </a:xfrm>
            <a:custGeom>
              <a:avLst/>
              <a:gdLst/>
              <a:ahLst/>
              <a:cxnLst/>
              <a:rect l="l" t="t" r="r" b="b"/>
              <a:pathLst>
                <a:path w="8" h="22" extrusionOk="0">
                  <a:moveTo>
                    <a:pt x="0" y="0"/>
                  </a:moveTo>
                  <a:cubicBezTo>
                    <a:pt x="4" y="7"/>
                    <a:pt x="4" y="14"/>
                    <a:pt x="7" y="21"/>
                  </a:cubicBezTo>
                  <a:cubicBezTo>
                    <a:pt x="4" y="14"/>
                    <a:pt x="4" y="7"/>
                    <a:pt x="0"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042" name="Google Shape;5042;p104"/>
            <p:cNvSpPr/>
            <p:nvPr/>
          </p:nvSpPr>
          <p:spPr>
            <a:xfrm>
              <a:off x="1645594" y="2306317"/>
              <a:ext cx="109" cy="299"/>
            </a:xfrm>
            <a:custGeom>
              <a:avLst/>
              <a:gdLst/>
              <a:ahLst/>
              <a:cxnLst/>
              <a:rect l="l" t="t" r="r" b="b"/>
              <a:pathLst>
                <a:path w="8" h="22" extrusionOk="0">
                  <a:moveTo>
                    <a:pt x="1" y="1"/>
                  </a:moveTo>
                  <a:cubicBezTo>
                    <a:pt x="4" y="8"/>
                    <a:pt x="4" y="15"/>
                    <a:pt x="8" y="22"/>
                  </a:cubicBezTo>
                  <a:cubicBezTo>
                    <a:pt x="8" y="15"/>
                    <a:pt x="4" y="8"/>
                    <a:pt x="1" y="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043" name="Google Shape;5043;p104"/>
            <p:cNvSpPr/>
            <p:nvPr/>
          </p:nvSpPr>
          <p:spPr>
            <a:xfrm>
              <a:off x="1645404" y="2305706"/>
              <a:ext cx="109" cy="299"/>
            </a:xfrm>
            <a:custGeom>
              <a:avLst/>
              <a:gdLst/>
              <a:ahLst/>
              <a:cxnLst/>
              <a:rect l="l" t="t" r="r" b="b"/>
              <a:pathLst>
                <a:path w="8" h="22" extrusionOk="0">
                  <a:moveTo>
                    <a:pt x="1" y="0"/>
                  </a:moveTo>
                  <a:cubicBezTo>
                    <a:pt x="1" y="7"/>
                    <a:pt x="4" y="14"/>
                    <a:pt x="8" y="21"/>
                  </a:cubicBezTo>
                  <a:cubicBezTo>
                    <a:pt x="8" y="14"/>
                    <a:pt x="4" y="7"/>
                    <a:pt x="1"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044" name="Google Shape;5044;p104"/>
            <p:cNvSpPr/>
            <p:nvPr/>
          </p:nvSpPr>
          <p:spPr>
            <a:xfrm>
              <a:off x="1617312" y="2278700"/>
              <a:ext cx="299" cy="14"/>
            </a:xfrm>
            <a:custGeom>
              <a:avLst/>
              <a:gdLst/>
              <a:ahLst/>
              <a:cxnLst/>
              <a:rect l="l" t="t" r="r" b="b"/>
              <a:pathLst>
                <a:path w="22" h="1" extrusionOk="0">
                  <a:moveTo>
                    <a:pt x="22"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045" name="Google Shape;5045;p104"/>
            <p:cNvSpPr/>
            <p:nvPr/>
          </p:nvSpPr>
          <p:spPr>
            <a:xfrm>
              <a:off x="1618032" y="2278660"/>
              <a:ext cx="244" cy="14"/>
            </a:xfrm>
            <a:custGeom>
              <a:avLst/>
              <a:gdLst/>
              <a:ahLst/>
              <a:cxnLst/>
              <a:rect l="l" t="t" r="r" b="b"/>
              <a:pathLst>
                <a:path w="18" h="1" extrusionOk="0">
                  <a:moveTo>
                    <a:pt x="0" y="0"/>
                  </a:moveTo>
                  <a:lnTo>
                    <a:pt x="18"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046" name="Google Shape;5046;p104"/>
            <p:cNvSpPr/>
            <p:nvPr/>
          </p:nvSpPr>
          <p:spPr>
            <a:xfrm>
              <a:off x="1645024" y="2299718"/>
              <a:ext cx="14" cy="244"/>
            </a:xfrm>
            <a:custGeom>
              <a:avLst/>
              <a:gdLst/>
              <a:ahLst/>
              <a:cxnLst/>
              <a:rect l="l" t="t" r="r" b="b"/>
              <a:pathLst>
                <a:path w="1" h="18" extrusionOk="0">
                  <a:moveTo>
                    <a:pt x="1" y="0"/>
                  </a:moveTo>
                  <a:lnTo>
                    <a:pt x="1" y="18"/>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047" name="Google Shape;5047;p104"/>
            <p:cNvSpPr/>
            <p:nvPr/>
          </p:nvSpPr>
          <p:spPr>
            <a:xfrm>
              <a:off x="1645078" y="2299189"/>
              <a:ext cx="14" cy="258"/>
            </a:xfrm>
            <a:custGeom>
              <a:avLst/>
              <a:gdLst/>
              <a:ahLst/>
              <a:cxnLst/>
              <a:rect l="l" t="t" r="r" b="b"/>
              <a:pathLst>
                <a:path w="1" h="19" extrusionOk="0">
                  <a:moveTo>
                    <a:pt x="0" y="1"/>
                  </a:moveTo>
                  <a:lnTo>
                    <a:pt x="0" y="18"/>
                  </a:lnTo>
                  <a:cubicBezTo>
                    <a:pt x="0" y="11"/>
                    <a:pt x="0" y="4"/>
                    <a:pt x="0" y="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048" name="Google Shape;5048;p104"/>
            <p:cNvSpPr/>
            <p:nvPr/>
          </p:nvSpPr>
          <p:spPr>
            <a:xfrm>
              <a:off x="1644983" y="2301429"/>
              <a:ext cx="14" cy="299"/>
            </a:xfrm>
            <a:custGeom>
              <a:avLst/>
              <a:gdLst/>
              <a:ahLst/>
              <a:cxnLst/>
              <a:rect l="l" t="t" r="r" b="b"/>
              <a:pathLst>
                <a:path w="1" h="22" extrusionOk="0">
                  <a:moveTo>
                    <a:pt x="0" y="21"/>
                  </a:moveTo>
                  <a:lnTo>
                    <a:pt x="0"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049" name="Google Shape;5049;p104"/>
            <p:cNvSpPr/>
            <p:nvPr/>
          </p:nvSpPr>
          <p:spPr>
            <a:xfrm>
              <a:off x="1645119" y="2298673"/>
              <a:ext cx="14" cy="244"/>
            </a:xfrm>
            <a:custGeom>
              <a:avLst/>
              <a:gdLst/>
              <a:ahLst/>
              <a:cxnLst/>
              <a:rect l="l" t="t" r="r" b="b"/>
              <a:pathLst>
                <a:path w="1" h="18" extrusionOk="0">
                  <a:moveTo>
                    <a:pt x="1" y="0"/>
                  </a:moveTo>
                  <a:lnTo>
                    <a:pt x="1" y="18"/>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050" name="Google Shape;5050;p104"/>
            <p:cNvSpPr/>
            <p:nvPr/>
          </p:nvSpPr>
          <p:spPr>
            <a:xfrm>
              <a:off x="1618697" y="2278565"/>
              <a:ext cx="204" cy="54"/>
            </a:xfrm>
            <a:custGeom>
              <a:avLst/>
              <a:gdLst/>
              <a:ahLst/>
              <a:cxnLst/>
              <a:rect l="l" t="t" r="r" b="b"/>
              <a:pathLst>
                <a:path w="15" h="4" extrusionOk="0">
                  <a:moveTo>
                    <a:pt x="0" y="4"/>
                  </a:moveTo>
                  <a:lnTo>
                    <a:pt x="14"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051" name="Google Shape;5051;p104"/>
            <p:cNvSpPr/>
            <p:nvPr/>
          </p:nvSpPr>
          <p:spPr>
            <a:xfrm>
              <a:off x="1533091" y="2481100"/>
              <a:ext cx="1575" cy="3014"/>
            </a:xfrm>
            <a:custGeom>
              <a:avLst/>
              <a:gdLst/>
              <a:ahLst/>
              <a:cxnLst/>
              <a:rect l="l" t="t" r="r" b="b"/>
              <a:pathLst>
                <a:path w="116" h="222" extrusionOk="0">
                  <a:moveTo>
                    <a:pt x="11" y="0"/>
                  </a:moveTo>
                  <a:cubicBezTo>
                    <a:pt x="7" y="74"/>
                    <a:pt x="4" y="151"/>
                    <a:pt x="0" y="221"/>
                  </a:cubicBezTo>
                  <a:cubicBezTo>
                    <a:pt x="32" y="190"/>
                    <a:pt x="70" y="162"/>
                    <a:pt x="112" y="137"/>
                  </a:cubicBezTo>
                  <a:cubicBezTo>
                    <a:pt x="116" y="137"/>
                    <a:pt x="116" y="120"/>
                    <a:pt x="98" y="91"/>
                  </a:cubicBezTo>
                  <a:cubicBezTo>
                    <a:pt x="77" y="53"/>
                    <a:pt x="46" y="25"/>
                    <a:pt x="11"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052" name="Google Shape;5052;p104"/>
            <p:cNvSpPr/>
            <p:nvPr/>
          </p:nvSpPr>
          <p:spPr>
            <a:xfrm>
              <a:off x="1496866" y="2211818"/>
              <a:ext cx="147845" cy="264069"/>
            </a:xfrm>
            <a:custGeom>
              <a:avLst/>
              <a:gdLst/>
              <a:ahLst/>
              <a:cxnLst/>
              <a:rect l="l" t="t" r="r" b="b"/>
              <a:pathLst>
                <a:path w="10889" h="19449" extrusionOk="0">
                  <a:moveTo>
                    <a:pt x="4099" y="0"/>
                  </a:moveTo>
                  <a:cubicBezTo>
                    <a:pt x="4066" y="0"/>
                    <a:pt x="4027" y="28"/>
                    <a:pt x="3949" y="110"/>
                  </a:cubicBezTo>
                  <a:cubicBezTo>
                    <a:pt x="3855" y="208"/>
                    <a:pt x="3753" y="299"/>
                    <a:pt x="3641" y="376"/>
                  </a:cubicBezTo>
                  <a:cubicBezTo>
                    <a:pt x="3617" y="397"/>
                    <a:pt x="3589" y="414"/>
                    <a:pt x="3561" y="435"/>
                  </a:cubicBezTo>
                  <a:lnTo>
                    <a:pt x="3561" y="442"/>
                  </a:lnTo>
                  <a:lnTo>
                    <a:pt x="3561" y="463"/>
                  </a:lnTo>
                  <a:lnTo>
                    <a:pt x="3561" y="488"/>
                  </a:lnTo>
                  <a:lnTo>
                    <a:pt x="3561" y="509"/>
                  </a:lnTo>
                  <a:lnTo>
                    <a:pt x="3561" y="537"/>
                  </a:lnTo>
                  <a:lnTo>
                    <a:pt x="3561" y="558"/>
                  </a:lnTo>
                  <a:lnTo>
                    <a:pt x="3557" y="586"/>
                  </a:lnTo>
                  <a:lnTo>
                    <a:pt x="3557" y="607"/>
                  </a:lnTo>
                  <a:lnTo>
                    <a:pt x="3554" y="635"/>
                  </a:lnTo>
                  <a:lnTo>
                    <a:pt x="3550" y="656"/>
                  </a:lnTo>
                  <a:lnTo>
                    <a:pt x="3547" y="684"/>
                  </a:lnTo>
                  <a:lnTo>
                    <a:pt x="3543" y="705"/>
                  </a:lnTo>
                  <a:lnTo>
                    <a:pt x="3540" y="733"/>
                  </a:lnTo>
                  <a:lnTo>
                    <a:pt x="3536" y="750"/>
                  </a:lnTo>
                  <a:lnTo>
                    <a:pt x="3533" y="778"/>
                  </a:lnTo>
                  <a:lnTo>
                    <a:pt x="3529" y="796"/>
                  </a:lnTo>
                  <a:lnTo>
                    <a:pt x="3526" y="824"/>
                  </a:lnTo>
                  <a:lnTo>
                    <a:pt x="3522" y="841"/>
                  </a:lnTo>
                  <a:lnTo>
                    <a:pt x="3515" y="866"/>
                  </a:lnTo>
                  <a:lnTo>
                    <a:pt x="3512" y="883"/>
                  </a:lnTo>
                  <a:lnTo>
                    <a:pt x="3508" y="904"/>
                  </a:lnTo>
                  <a:lnTo>
                    <a:pt x="3505" y="922"/>
                  </a:lnTo>
                  <a:lnTo>
                    <a:pt x="3498" y="943"/>
                  </a:lnTo>
                  <a:lnTo>
                    <a:pt x="3494" y="960"/>
                  </a:lnTo>
                  <a:lnTo>
                    <a:pt x="3491" y="978"/>
                  </a:lnTo>
                  <a:lnTo>
                    <a:pt x="3484" y="995"/>
                  </a:lnTo>
                  <a:lnTo>
                    <a:pt x="3480" y="1009"/>
                  </a:lnTo>
                  <a:lnTo>
                    <a:pt x="3473" y="1023"/>
                  </a:lnTo>
                  <a:cubicBezTo>
                    <a:pt x="3473" y="1030"/>
                    <a:pt x="3470" y="1034"/>
                    <a:pt x="3470" y="1037"/>
                  </a:cubicBezTo>
                  <a:lnTo>
                    <a:pt x="3466" y="1048"/>
                  </a:lnTo>
                  <a:cubicBezTo>
                    <a:pt x="3463" y="1055"/>
                    <a:pt x="3459" y="1062"/>
                    <a:pt x="3456" y="1069"/>
                  </a:cubicBezTo>
                  <a:cubicBezTo>
                    <a:pt x="3421" y="1132"/>
                    <a:pt x="3319" y="1198"/>
                    <a:pt x="3155" y="1300"/>
                  </a:cubicBezTo>
                  <a:cubicBezTo>
                    <a:pt x="3050" y="1367"/>
                    <a:pt x="2854" y="1489"/>
                    <a:pt x="2840" y="1538"/>
                  </a:cubicBezTo>
                  <a:cubicBezTo>
                    <a:pt x="2836" y="1584"/>
                    <a:pt x="2840" y="1629"/>
                    <a:pt x="2847" y="1675"/>
                  </a:cubicBezTo>
                  <a:cubicBezTo>
                    <a:pt x="2850" y="1713"/>
                    <a:pt x="2854" y="1752"/>
                    <a:pt x="2857" y="1794"/>
                  </a:cubicBezTo>
                  <a:cubicBezTo>
                    <a:pt x="2857" y="1846"/>
                    <a:pt x="2843" y="1895"/>
                    <a:pt x="2815" y="1941"/>
                  </a:cubicBezTo>
                  <a:cubicBezTo>
                    <a:pt x="2808" y="1951"/>
                    <a:pt x="2798" y="1962"/>
                    <a:pt x="2787" y="1969"/>
                  </a:cubicBezTo>
                  <a:cubicBezTo>
                    <a:pt x="2798" y="2028"/>
                    <a:pt x="2812" y="2088"/>
                    <a:pt x="2840" y="2140"/>
                  </a:cubicBezTo>
                  <a:cubicBezTo>
                    <a:pt x="2896" y="2287"/>
                    <a:pt x="2973" y="2490"/>
                    <a:pt x="2822" y="2571"/>
                  </a:cubicBezTo>
                  <a:cubicBezTo>
                    <a:pt x="2805" y="2581"/>
                    <a:pt x="2798" y="2588"/>
                    <a:pt x="2798" y="2592"/>
                  </a:cubicBezTo>
                  <a:cubicBezTo>
                    <a:pt x="2794" y="2606"/>
                    <a:pt x="2822" y="2651"/>
                    <a:pt x="2840" y="2676"/>
                  </a:cubicBezTo>
                  <a:cubicBezTo>
                    <a:pt x="2878" y="2739"/>
                    <a:pt x="2945" y="2844"/>
                    <a:pt x="2850" y="2928"/>
                  </a:cubicBezTo>
                  <a:cubicBezTo>
                    <a:pt x="2798" y="2966"/>
                    <a:pt x="2745" y="2998"/>
                    <a:pt x="2689" y="3026"/>
                  </a:cubicBezTo>
                  <a:cubicBezTo>
                    <a:pt x="2623" y="3061"/>
                    <a:pt x="2542" y="3106"/>
                    <a:pt x="2542" y="3138"/>
                  </a:cubicBezTo>
                  <a:cubicBezTo>
                    <a:pt x="2542" y="3299"/>
                    <a:pt x="2518" y="3579"/>
                    <a:pt x="2339" y="3660"/>
                  </a:cubicBezTo>
                  <a:cubicBezTo>
                    <a:pt x="2220" y="3712"/>
                    <a:pt x="2133" y="3929"/>
                    <a:pt x="2133" y="4090"/>
                  </a:cubicBezTo>
                  <a:cubicBezTo>
                    <a:pt x="2133" y="4118"/>
                    <a:pt x="2129" y="4143"/>
                    <a:pt x="2119" y="4167"/>
                  </a:cubicBezTo>
                  <a:cubicBezTo>
                    <a:pt x="2098" y="4216"/>
                    <a:pt x="2056" y="4255"/>
                    <a:pt x="2003" y="4272"/>
                  </a:cubicBezTo>
                  <a:cubicBezTo>
                    <a:pt x="1971" y="4290"/>
                    <a:pt x="1961" y="4293"/>
                    <a:pt x="1968" y="4325"/>
                  </a:cubicBezTo>
                  <a:cubicBezTo>
                    <a:pt x="1971" y="4335"/>
                    <a:pt x="1975" y="4346"/>
                    <a:pt x="1982" y="4363"/>
                  </a:cubicBezTo>
                  <a:cubicBezTo>
                    <a:pt x="2049" y="4559"/>
                    <a:pt x="2129" y="4780"/>
                    <a:pt x="2059" y="4913"/>
                  </a:cubicBezTo>
                  <a:cubicBezTo>
                    <a:pt x="2035" y="4962"/>
                    <a:pt x="1989" y="4997"/>
                    <a:pt x="1936" y="5007"/>
                  </a:cubicBezTo>
                  <a:cubicBezTo>
                    <a:pt x="1873" y="5025"/>
                    <a:pt x="1849" y="5140"/>
                    <a:pt x="1828" y="5231"/>
                  </a:cubicBezTo>
                  <a:cubicBezTo>
                    <a:pt x="1810" y="5322"/>
                    <a:pt x="1786" y="5431"/>
                    <a:pt x="1698" y="5438"/>
                  </a:cubicBezTo>
                  <a:cubicBezTo>
                    <a:pt x="1656" y="5487"/>
                    <a:pt x="1625" y="5771"/>
                    <a:pt x="1740" y="5925"/>
                  </a:cubicBezTo>
                  <a:cubicBezTo>
                    <a:pt x="1873" y="6089"/>
                    <a:pt x="1940" y="6296"/>
                    <a:pt x="1936" y="6506"/>
                  </a:cubicBezTo>
                  <a:cubicBezTo>
                    <a:pt x="1940" y="6565"/>
                    <a:pt x="1964" y="6625"/>
                    <a:pt x="1999" y="6674"/>
                  </a:cubicBezTo>
                  <a:cubicBezTo>
                    <a:pt x="2049" y="6758"/>
                    <a:pt x="2112" y="6863"/>
                    <a:pt x="2063" y="7003"/>
                  </a:cubicBezTo>
                  <a:cubicBezTo>
                    <a:pt x="2042" y="7066"/>
                    <a:pt x="2028" y="7132"/>
                    <a:pt x="2021" y="7199"/>
                  </a:cubicBezTo>
                  <a:cubicBezTo>
                    <a:pt x="2003" y="7314"/>
                    <a:pt x="1985" y="7426"/>
                    <a:pt x="1887" y="7493"/>
                  </a:cubicBezTo>
                  <a:cubicBezTo>
                    <a:pt x="1859" y="7514"/>
                    <a:pt x="1852" y="7574"/>
                    <a:pt x="1849" y="7633"/>
                  </a:cubicBezTo>
                  <a:cubicBezTo>
                    <a:pt x="1838" y="7728"/>
                    <a:pt x="1828" y="7843"/>
                    <a:pt x="1712" y="7896"/>
                  </a:cubicBezTo>
                  <a:cubicBezTo>
                    <a:pt x="1688" y="7924"/>
                    <a:pt x="1723" y="8092"/>
                    <a:pt x="1740" y="8172"/>
                  </a:cubicBezTo>
                  <a:lnTo>
                    <a:pt x="1747" y="8207"/>
                  </a:lnTo>
                  <a:cubicBezTo>
                    <a:pt x="1782" y="8368"/>
                    <a:pt x="1807" y="8508"/>
                    <a:pt x="1730" y="8575"/>
                  </a:cubicBezTo>
                  <a:cubicBezTo>
                    <a:pt x="1695" y="8603"/>
                    <a:pt x="1660" y="8624"/>
                    <a:pt x="1625" y="8645"/>
                  </a:cubicBezTo>
                  <a:cubicBezTo>
                    <a:pt x="1492" y="8729"/>
                    <a:pt x="1341" y="8820"/>
                    <a:pt x="1341" y="9068"/>
                  </a:cubicBezTo>
                  <a:cubicBezTo>
                    <a:pt x="1341" y="9219"/>
                    <a:pt x="1352" y="9341"/>
                    <a:pt x="1359" y="9450"/>
                  </a:cubicBezTo>
                  <a:cubicBezTo>
                    <a:pt x="1373" y="9594"/>
                    <a:pt x="1380" y="9706"/>
                    <a:pt x="1355" y="9807"/>
                  </a:cubicBezTo>
                  <a:cubicBezTo>
                    <a:pt x="1352" y="9821"/>
                    <a:pt x="1352" y="9825"/>
                    <a:pt x="1387" y="9853"/>
                  </a:cubicBezTo>
                  <a:cubicBezTo>
                    <a:pt x="1471" y="9912"/>
                    <a:pt x="1509" y="10014"/>
                    <a:pt x="1488" y="10112"/>
                  </a:cubicBezTo>
                  <a:cubicBezTo>
                    <a:pt x="1460" y="10280"/>
                    <a:pt x="1324" y="10297"/>
                    <a:pt x="1243" y="10308"/>
                  </a:cubicBezTo>
                  <a:cubicBezTo>
                    <a:pt x="1219" y="10308"/>
                    <a:pt x="1198" y="10315"/>
                    <a:pt x="1177" y="10322"/>
                  </a:cubicBezTo>
                  <a:cubicBezTo>
                    <a:pt x="1173" y="10374"/>
                    <a:pt x="1177" y="10427"/>
                    <a:pt x="1184" y="10479"/>
                  </a:cubicBezTo>
                  <a:cubicBezTo>
                    <a:pt x="1198" y="10616"/>
                    <a:pt x="1215" y="10770"/>
                    <a:pt x="1089" y="10791"/>
                  </a:cubicBezTo>
                  <a:cubicBezTo>
                    <a:pt x="1065" y="10794"/>
                    <a:pt x="995" y="10805"/>
                    <a:pt x="995" y="11071"/>
                  </a:cubicBezTo>
                  <a:cubicBezTo>
                    <a:pt x="998" y="11179"/>
                    <a:pt x="963" y="11288"/>
                    <a:pt x="893" y="11372"/>
                  </a:cubicBezTo>
                  <a:cubicBezTo>
                    <a:pt x="872" y="11396"/>
                    <a:pt x="855" y="11424"/>
                    <a:pt x="848" y="11456"/>
                  </a:cubicBezTo>
                  <a:cubicBezTo>
                    <a:pt x="844" y="11498"/>
                    <a:pt x="869" y="11550"/>
                    <a:pt x="897" y="11606"/>
                  </a:cubicBezTo>
                  <a:cubicBezTo>
                    <a:pt x="935" y="11677"/>
                    <a:pt x="960" y="11750"/>
                    <a:pt x="963" y="11827"/>
                  </a:cubicBezTo>
                  <a:cubicBezTo>
                    <a:pt x="963" y="11855"/>
                    <a:pt x="970" y="11911"/>
                    <a:pt x="974" y="11967"/>
                  </a:cubicBezTo>
                  <a:lnTo>
                    <a:pt x="981" y="12009"/>
                  </a:lnTo>
                  <a:cubicBezTo>
                    <a:pt x="988" y="12086"/>
                    <a:pt x="991" y="12160"/>
                    <a:pt x="991" y="12230"/>
                  </a:cubicBezTo>
                  <a:cubicBezTo>
                    <a:pt x="991" y="12363"/>
                    <a:pt x="970" y="12464"/>
                    <a:pt x="879" y="12482"/>
                  </a:cubicBezTo>
                  <a:cubicBezTo>
                    <a:pt x="862" y="12496"/>
                    <a:pt x="827" y="12573"/>
                    <a:pt x="809" y="12702"/>
                  </a:cubicBezTo>
                  <a:cubicBezTo>
                    <a:pt x="806" y="12734"/>
                    <a:pt x="802" y="12765"/>
                    <a:pt x="802" y="12797"/>
                  </a:cubicBezTo>
                  <a:cubicBezTo>
                    <a:pt x="795" y="12846"/>
                    <a:pt x="802" y="12895"/>
                    <a:pt x="823" y="12940"/>
                  </a:cubicBezTo>
                  <a:cubicBezTo>
                    <a:pt x="904" y="12996"/>
                    <a:pt x="942" y="13094"/>
                    <a:pt x="928" y="13189"/>
                  </a:cubicBezTo>
                  <a:cubicBezTo>
                    <a:pt x="928" y="13206"/>
                    <a:pt x="925" y="13224"/>
                    <a:pt x="921" y="13241"/>
                  </a:cubicBezTo>
                  <a:cubicBezTo>
                    <a:pt x="914" y="13266"/>
                    <a:pt x="904" y="13290"/>
                    <a:pt x="893" y="13315"/>
                  </a:cubicBezTo>
                  <a:cubicBezTo>
                    <a:pt x="907" y="13336"/>
                    <a:pt x="921" y="13353"/>
                    <a:pt x="939" y="13371"/>
                  </a:cubicBezTo>
                  <a:cubicBezTo>
                    <a:pt x="988" y="13427"/>
                    <a:pt x="1093" y="13549"/>
                    <a:pt x="963" y="13679"/>
                  </a:cubicBezTo>
                  <a:cubicBezTo>
                    <a:pt x="939" y="13703"/>
                    <a:pt x="921" y="13732"/>
                    <a:pt x="914" y="13767"/>
                  </a:cubicBezTo>
                  <a:cubicBezTo>
                    <a:pt x="914" y="13784"/>
                    <a:pt x="918" y="13802"/>
                    <a:pt x="925" y="13816"/>
                  </a:cubicBezTo>
                  <a:cubicBezTo>
                    <a:pt x="940" y="13838"/>
                    <a:pt x="967" y="13857"/>
                    <a:pt x="1007" y="13857"/>
                  </a:cubicBezTo>
                  <a:cubicBezTo>
                    <a:pt x="1023" y="13857"/>
                    <a:pt x="1041" y="13854"/>
                    <a:pt x="1061" y="13847"/>
                  </a:cubicBezTo>
                  <a:cubicBezTo>
                    <a:pt x="1078" y="13842"/>
                    <a:pt x="1096" y="13840"/>
                    <a:pt x="1114" y="13840"/>
                  </a:cubicBezTo>
                  <a:cubicBezTo>
                    <a:pt x="1157" y="13840"/>
                    <a:pt x="1200" y="13855"/>
                    <a:pt x="1233" y="13882"/>
                  </a:cubicBezTo>
                  <a:cubicBezTo>
                    <a:pt x="1310" y="13942"/>
                    <a:pt x="1341" y="14043"/>
                    <a:pt x="1310" y="14134"/>
                  </a:cubicBezTo>
                  <a:cubicBezTo>
                    <a:pt x="1287" y="14189"/>
                    <a:pt x="1236" y="14223"/>
                    <a:pt x="1179" y="14223"/>
                  </a:cubicBezTo>
                  <a:cubicBezTo>
                    <a:pt x="1173" y="14223"/>
                    <a:pt x="1168" y="14222"/>
                    <a:pt x="1163" y="14222"/>
                  </a:cubicBezTo>
                  <a:cubicBezTo>
                    <a:pt x="1114" y="14222"/>
                    <a:pt x="1047" y="14222"/>
                    <a:pt x="998" y="14229"/>
                  </a:cubicBezTo>
                  <a:cubicBezTo>
                    <a:pt x="1149" y="14348"/>
                    <a:pt x="1215" y="14449"/>
                    <a:pt x="1201" y="14544"/>
                  </a:cubicBezTo>
                  <a:cubicBezTo>
                    <a:pt x="1191" y="14610"/>
                    <a:pt x="1142" y="14663"/>
                    <a:pt x="1054" y="14694"/>
                  </a:cubicBezTo>
                  <a:cubicBezTo>
                    <a:pt x="977" y="14726"/>
                    <a:pt x="981" y="14743"/>
                    <a:pt x="1002" y="14841"/>
                  </a:cubicBezTo>
                  <a:cubicBezTo>
                    <a:pt x="1026" y="14918"/>
                    <a:pt x="1030" y="14999"/>
                    <a:pt x="1012" y="15076"/>
                  </a:cubicBezTo>
                  <a:cubicBezTo>
                    <a:pt x="1002" y="15139"/>
                    <a:pt x="1009" y="15198"/>
                    <a:pt x="1030" y="15258"/>
                  </a:cubicBezTo>
                  <a:lnTo>
                    <a:pt x="1037" y="15282"/>
                  </a:lnTo>
                  <a:cubicBezTo>
                    <a:pt x="1061" y="15352"/>
                    <a:pt x="1082" y="15419"/>
                    <a:pt x="1051" y="15478"/>
                  </a:cubicBezTo>
                  <a:cubicBezTo>
                    <a:pt x="1044" y="15485"/>
                    <a:pt x="1040" y="15496"/>
                    <a:pt x="1033" y="15503"/>
                  </a:cubicBezTo>
                  <a:cubicBezTo>
                    <a:pt x="1012" y="15527"/>
                    <a:pt x="984" y="15541"/>
                    <a:pt x="953" y="15552"/>
                  </a:cubicBezTo>
                  <a:cubicBezTo>
                    <a:pt x="942" y="15555"/>
                    <a:pt x="935" y="15559"/>
                    <a:pt x="935" y="15583"/>
                  </a:cubicBezTo>
                  <a:cubicBezTo>
                    <a:pt x="935" y="15597"/>
                    <a:pt x="935" y="15611"/>
                    <a:pt x="935" y="15625"/>
                  </a:cubicBezTo>
                  <a:cubicBezTo>
                    <a:pt x="935" y="15636"/>
                    <a:pt x="935" y="15643"/>
                    <a:pt x="939" y="15657"/>
                  </a:cubicBezTo>
                  <a:cubicBezTo>
                    <a:pt x="946" y="15744"/>
                    <a:pt x="963" y="15902"/>
                    <a:pt x="778" y="15930"/>
                  </a:cubicBezTo>
                  <a:cubicBezTo>
                    <a:pt x="697" y="15941"/>
                    <a:pt x="694" y="15969"/>
                    <a:pt x="683" y="16053"/>
                  </a:cubicBezTo>
                  <a:cubicBezTo>
                    <a:pt x="676" y="16119"/>
                    <a:pt x="662" y="16210"/>
                    <a:pt x="578" y="16277"/>
                  </a:cubicBezTo>
                  <a:cubicBezTo>
                    <a:pt x="561" y="16294"/>
                    <a:pt x="557" y="16308"/>
                    <a:pt x="610" y="16399"/>
                  </a:cubicBezTo>
                  <a:cubicBezTo>
                    <a:pt x="655" y="16473"/>
                    <a:pt x="736" y="16616"/>
                    <a:pt x="589" y="16707"/>
                  </a:cubicBezTo>
                  <a:cubicBezTo>
                    <a:pt x="526" y="16749"/>
                    <a:pt x="515" y="16816"/>
                    <a:pt x="505" y="16889"/>
                  </a:cubicBezTo>
                  <a:cubicBezTo>
                    <a:pt x="491" y="16970"/>
                    <a:pt x="473" y="17096"/>
                    <a:pt x="323" y="17096"/>
                  </a:cubicBezTo>
                  <a:cubicBezTo>
                    <a:pt x="193" y="17096"/>
                    <a:pt x="109" y="17299"/>
                    <a:pt x="95" y="17404"/>
                  </a:cubicBezTo>
                  <a:cubicBezTo>
                    <a:pt x="88" y="17435"/>
                    <a:pt x="81" y="17467"/>
                    <a:pt x="71" y="17498"/>
                  </a:cubicBezTo>
                  <a:cubicBezTo>
                    <a:pt x="39" y="17614"/>
                    <a:pt x="1" y="17757"/>
                    <a:pt x="95" y="17859"/>
                  </a:cubicBezTo>
                  <a:cubicBezTo>
                    <a:pt x="99" y="17866"/>
                    <a:pt x="106" y="17873"/>
                    <a:pt x="113" y="17880"/>
                  </a:cubicBezTo>
                  <a:cubicBezTo>
                    <a:pt x="120" y="17891"/>
                    <a:pt x="130" y="17905"/>
                    <a:pt x="137" y="17919"/>
                  </a:cubicBezTo>
                  <a:cubicBezTo>
                    <a:pt x="141" y="17926"/>
                    <a:pt x="144" y="17933"/>
                    <a:pt x="148" y="17940"/>
                  </a:cubicBezTo>
                  <a:cubicBezTo>
                    <a:pt x="176" y="18003"/>
                    <a:pt x="179" y="18073"/>
                    <a:pt x="165" y="18139"/>
                  </a:cubicBezTo>
                  <a:cubicBezTo>
                    <a:pt x="158" y="18181"/>
                    <a:pt x="155" y="18192"/>
                    <a:pt x="165" y="18199"/>
                  </a:cubicBezTo>
                  <a:cubicBezTo>
                    <a:pt x="165" y="18202"/>
                    <a:pt x="169" y="18202"/>
                    <a:pt x="172" y="18206"/>
                  </a:cubicBezTo>
                  <a:cubicBezTo>
                    <a:pt x="227" y="18220"/>
                    <a:pt x="283" y="18227"/>
                    <a:pt x="336" y="18227"/>
                  </a:cubicBezTo>
                  <a:cubicBezTo>
                    <a:pt x="347" y="18227"/>
                    <a:pt x="358" y="18227"/>
                    <a:pt x="368" y="18227"/>
                  </a:cubicBezTo>
                  <a:cubicBezTo>
                    <a:pt x="512" y="18230"/>
                    <a:pt x="645" y="18234"/>
                    <a:pt x="701" y="18314"/>
                  </a:cubicBezTo>
                  <a:cubicBezTo>
                    <a:pt x="729" y="18353"/>
                    <a:pt x="732" y="18402"/>
                    <a:pt x="715" y="18444"/>
                  </a:cubicBezTo>
                  <a:cubicBezTo>
                    <a:pt x="708" y="18468"/>
                    <a:pt x="701" y="18489"/>
                    <a:pt x="697" y="18514"/>
                  </a:cubicBezTo>
                  <a:cubicBezTo>
                    <a:pt x="683" y="18594"/>
                    <a:pt x="676" y="18671"/>
                    <a:pt x="680" y="18752"/>
                  </a:cubicBezTo>
                  <a:cubicBezTo>
                    <a:pt x="676" y="18832"/>
                    <a:pt x="687" y="18909"/>
                    <a:pt x="708" y="18986"/>
                  </a:cubicBezTo>
                  <a:cubicBezTo>
                    <a:pt x="767" y="18997"/>
                    <a:pt x="802" y="19053"/>
                    <a:pt x="841" y="19109"/>
                  </a:cubicBezTo>
                  <a:cubicBezTo>
                    <a:pt x="875" y="19163"/>
                    <a:pt x="905" y="19214"/>
                    <a:pt x="939" y="19214"/>
                  </a:cubicBezTo>
                  <a:cubicBezTo>
                    <a:pt x="940" y="19214"/>
                    <a:pt x="941" y="19214"/>
                    <a:pt x="942" y="19214"/>
                  </a:cubicBezTo>
                  <a:cubicBezTo>
                    <a:pt x="993" y="19207"/>
                    <a:pt x="1309" y="19168"/>
                    <a:pt x="1593" y="19168"/>
                  </a:cubicBezTo>
                  <a:cubicBezTo>
                    <a:pt x="1725" y="19168"/>
                    <a:pt x="1849" y="19177"/>
                    <a:pt x="1936" y="19200"/>
                  </a:cubicBezTo>
                  <a:cubicBezTo>
                    <a:pt x="1947" y="19203"/>
                    <a:pt x="1961" y="19207"/>
                    <a:pt x="1975" y="19210"/>
                  </a:cubicBezTo>
                  <a:lnTo>
                    <a:pt x="1989" y="19217"/>
                  </a:lnTo>
                  <a:lnTo>
                    <a:pt x="2014" y="19224"/>
                  </a:lnTo>
                  <a:lnTo>
                    <a:pt x="2031" y="19231"/>
                  </a:lnTo>
                  <a:lnTo>
                    <a:pt x="2056" y="19242"/>
                  </a:lnTo>
                  <a:lnTo>
                    <a:pt x="2070" y="19252"/>
                  </a:lnTo>
                  <a:lnTo>
                    <a:pt x="2094" y="19263"/>
                  </a:lnTo>
                  <a:lnTo>
                    <a:pt x="2112" y="19273"/>
                  </a:lnTo>
                  <a:lnTo>
                    <a:pt x="2133" y="19287"/>
                  </a:lnTo>
                  <a:lnTo>
                    <a:pt x="2150" y="19298"/>
                  </a:lnTo>
                  <a:lnTo>
                    <a:pt x="2171" y="19312"/>
                  </a:lnTo>
                  <a:lnTo>
                    <a:pt x="2185" y="19326"/>
                  </a:lnTo>
                  <a:lnTo>
                    <a:pt x="2206" y="19340"/>
                  </a:lnTo>
                  <a:lnTo>
                    <a:pt x="2224" y="19354"/>
                  </a:lnTo>
                  <a:lnTo>
                    <a:pt x="2231" y="19357"/>
                  </a:lnTo>
                  <a:cubicBezTo>
                    <a:pt x="2245" y="19357"/>
                    <a:pt x="2262" y="19354"/>
                    <a:pt x="2280" y="19354"/>
                  </a:cubicBezTo>
                  <a:cubicBezTo>
                    <a:pt x="2367" y="19361"/>
                    <a:pt x="2451" y="19378"/>
                    <a:pt x="2532" y="19410"/>
                  </a:cubicBezTo>
                  <a:cubicBezTo>
                    <a:pt x="2577" y="19427"/>
                    <a:pt x="2623" y="19441"/>
                    <a:pt x="2672" y="19448"/>
                  </a:cubicBezTo>
                  <a:cubicBezTo>
                    <a:pt x="2633" y="19385"/>
                    <a:pt x="2588" y="19322"/>
                    <a:pt x="2535" y="19266"/>
                  </a:cubicBezTo>
                  <a:cubicBezTo>
                    <a:pt x="2430" y="19140"/>
                    <a:pt x="2367" y="19056"/>
                    <a:pt x="2374" y="18986"/>
                  </a:cubicBezTo>
                  <a:cubicBezTo>
                    <a:pt x="2374" y="18920"/>
                    <a:pt x="2364" y="18853"/>
                    <a:pt x="2346" y="18787"/>
                  </a:cubicBezTo>
                  <a:cubicBezTo>
                    <a:pt x="2329" y="18720"/>
                    <a:pt x="2318" y="18650"/>
                    <a:pt x="2315" y="18580"/>
                  </a:cubicBezTo>
                  <a:cubicBezTo>
                    <a:pt x="2315" y="18559"/>
                    <a:pt x="2315" y="18535"/>
                    <a:pt x="2311" y="18503"/>
                  </a:cubicBezTo>
                  <a:cubicBezTo>
                    <a:pt x="2297" y="18356"/>
                    <a:pt x="2283" y="18136"/>
                    <a:pt x="2451" y="18017"/>
                  </a:cubicBezTo>
                  <a:cubicBezTo>
                    <a:pt x="2500" y="17978"/>
                    <a:pt x="2546" y="17936"/>
                    <a:pt x="2588" y="17884"/>
                  </a:cubicBezTo>
                  <a:cubicBezTo>
                    <a:pt x="2633" y="17832"/>
                    <a:pt x="2678" y="17781"/>
                    <a:pt x="2754" y="17781"/>
                  </a:cubicBezTo>
                  <a:cubicBezTo>
                    <a:pt x="2767" y="17781"/>
                    <a:pt x="2780" y="17783"/>
                    <a:pt x="2794" y="17785"/>
                  </a:cubicBezTo>
                  <a:cubicBezTo>
                    <a:pt x="2799" y="17786"/>
                    <a:pt x="2803" y="17786"/>
                    <a:pt x="2808" y="17786"/>
                  </a:cubicBezTo>
                  <a:cubicBezTo>
                    <a:pt x="2849" y="17786"/>
                    <a:pt x="2892" y="17772"/>
                    <a:pt x="2924" y="17743"/>
                  </a:cubicBezTo>
                  <a:cubicBezTo>
                    <a:pt x="3008" y="17673"/>
                    <a:pt x="3057" y="17568"/>
                    <a:pt x="3053" y="17460"/>
                  </a:cubicBezTo>
                  <a:cubicBezTo>
                    <a:pt x="3067" y="17145"/>
                    <a:pt x="3214" y="17022"/>
                    <a:pt x="3456" y="16816"/>
                  </a:cubicBezTo>
                  <a:lnTo>
                    <a:pt x="3466" y="16805"/>
                  </a:lnTo>
                  <a:cubicBezTo>
                    <a:pt x="3575" y="16718"/>
                    <a:pt x="3687" y="16637"/>
                    <a:pt x="3802" y="16564"/>
                  </a:cubicBezTo>
                  <a:cubicBezTo>
                    <a:pt x="3914" y="16490"/>
                    <a:pt x="4061" y="16392"/>
                    <a:pt x="4090" y="16343"/>
                  </a:cubicBezTo>
                  <a:cubicBezTo>
                    <a:pt x="4047" y="16256"/>
                    <a:pt x="4090" y="16119"/>
                    <a:pt x="4135" y="15976"/>
                  </a:cubicBezTo>
                  <a:cubicBezTo>
                    <a:pt x="4156" y="15916"/>
                    <a:pt x="4170" y="15857"/>
                    <a:pt x="4181" y="15793"/>
                  </a:cubicBezTo>
                  <a:cubicBezTo>
                    <a:pt x="4149" y="15765"/>
                    <a:pt x="3991" y="15751"/>
                    <a:pt x="3907" y="15741"/>
                  </a:cubicBezTo>
                  <a:cubicBezTo>
                    <a:pt x="3830" y="15737"/>
                    <a:pt x="3753" y="15723"/>
                    <a:pt x="3680" y="15702"/>
                  </a:cubicBezTo>
                  <a:cubicBezTo>
                    <a:pt x="3578" y="15667"/>
                    <a:pt x="3326" y="15503"/>
                    <a:pt x="3228" y="15251"/>
                  </a:cubicBezTo>
                  <a:cubicBezTo>
                    <a:pt x="3169" y="15093"/>
                    <a:pt x="3183" y="14918"/>
                    <a:pt x="3267" y="14775"/>
                  </a:cubicBezTo>
                  <a:cubicBezTo>
                    <a:pt x="3389" y="14551"/>
                    <a:pt x="3652" y="14278"/>
                    <a:pt x="4219" y="14229"/>
                  </a:cubicBezTo>
                  <a:lnTo>
                    <a:pt x="4230" y="14229"/>
                  </a:lnTo>
                  <a:cubicBezTo>
                    <a:pt x="4233" y="14208"/>
                    <a:pt x="4233" y="14187"/>
                    <a:pt x="4233" y="14166"/>
                  </a:cubicBezTo>
                  <a:cubicBezTo>
                    <a:pt x="4233" y="14099"/>
                    <a:pt x="4233" y="14001"/>
                    <a:pt x="4321" y="13949"/>
                  </a:cubicBezTo>
                  <a:cubicBezTo>
                    <a:pt x="4408" y="13896"/>
                    <a:pt x="4436" y="13816"/>
                    <a:pt x="4436" y="13630"/>
                  </a:cubicBezTo>
                  <a:cubicBezTo>
                    <a:pt x="4436" y="13406"/>
                    <a:pt x="4436" y="13035"/>
                    <a:pt x="4713" y="13007"/>
                  </a:cubicBezTo>
                  <a:cubicBezTo>
                    <a:pt x="4765" y="13003"/>
                    <a:pt x="4814" y="12986"/>
                    <a:pt x="4860" y="12958"/>
                  </a:cubicBezTo>
                  <a:lnTo>
                    <a:pt x="4846" y="12951"/>
                  </a:lnTo>
                  <a:cubicBezTo>
                    <a:pt x="4744" y="12923"/>
                    <a:pt x="4671" y="12839"/>
                    <a:pt x="4678" y="12758"/>
                  </a:cubicBezTo>
                  <a:cubicBezTo>
                    <a:pt x="4681" y="12716"/>
                    <a:pt x="4709" y="12625"/>
                    <a:pt x="4881" y="12604"/>
                  </a:cubicBezTo>
                  <a:cubicBezTo>
                    <a:pt x="4895" y="12601"/>
                    <a:pt x="4909" y="12600"/>
                    <a:pt x="4924" y="12600"/>
                  </a:cubicBezTo>
                  <a:cubicBezTo>
                    <a:pt x="5011" y="12600"/>
                    <a:pt x="5093" y="12653"/>
                    <a:pt x="5129" y="12734"/>
                  </a:cubicBezTo>
                  <a:cubicBezTo>
                    <a:pt x="5154" y="12776"/>
                    <a:pt x="5161" y="12786"/>
                    <a:pt x="5192" y="12786"/>
                  </a:cubicBezTo>
                  <a:cubicBezTo>
                    <a:pt x="5262" y="12786"/>
                    <a:pt x="5381" y="12699"/>
                    <a:pt x="5409" y="12608"/>
                  </a:cubicBezTo>
                  <a:cubicBezTo>
                    <a:pt x="5430" y="12559"/>
                    <a:pt x="5409" y="12506"/>
                    <a:pt x="5367" y="12482"/>
                  </a:cubicBezTo>
                  <a:cubicBezTo>
                    <a:pt x="5329" y="12452"/>
                    <a:pt x="5300" y="12439"/>
                    <a:pt x="5275" y="12439"/>
                  </a:cubicBezTo>
                  <a:cubicBezTo>
                    <a:pt x="5240" y="12439"/>
                    <a:pt x="5212" y="12465"/>
                    <a:pt x="5175" y="12503"/>
                  </a:cubicBezTo>
                  <a:cubicBezTo>
                    <a:pt x="5140" y="12545"/>
                    <a:pt x="5094" y="12576"/>
                    <a:pt x="5045" y="12590"/>
                  </a:cubicBezTo>
                  <a:cubicBezTo>
                    <a:pt x="5033" y="12593"/>
                    <a:pt x="5021" y="12595"/>
                    <a:pt x="5009" y="12595"/>
                  </a:cubicBezTo>
                  <a:cubicBezTo>
                    <a:pt x="4937" y="12595"/>
                    <a:pt x="4876" y="12545"/>
                    <a:pt x="4828" y="12506"/>
                  </a:cubicBezTo>
                  <a:cubicBezTo>
                    <a:pt x="4793" y="12478"/>
                    <a:pt x="4755" y="12447"/>
                    <a:pt x="4727" y="12447"/>
                  </a:cubicBezTo>
                  <a:cubicBezTo>
                    <a:pt x="4699" y="12447"/>
                    <a:pt x="4629" y="12436"/>
                    <a:pt x="4608" y="12324"/>
                  </a:cubicBezTo>
                  <a:cubicBezTo>
                    <a:pt x="4597" y="12272"/>
                    <a:pt x="4594" y="12216"/>
                    <a:pt x="4597" y="12160"/>
                  </a:cubicBezTo>
                  <a:cubicBezTo>
                    <a:pt x="4601" y="12107"/>
                    <a:pt x="4594" y="12051"/>
                    <a:pt x="4583" y="11995"/>
                  </a:cubicBezTo>
                  <a:cubicBezTo>
                    <a:pt x="4538" y="11894"/>
                    <a:pt x="4443" y="11589"/>
                    <a:pt x="4566" y="11421"/>
                  </a:cubicBezTo>
                  <a:cubicBezTo>
                    <a:pt x="4596" y="11380"/>
                    <a:pt x="4638" y="11363"/>
                    <a:pt x="4688" y="11363"/>
                  </a:cubicBezTo>
                  <a:cubicBezTo>
                    <a:pt x="4774" y="11363"/>
                    <a:pt x="4885" y="11412"/>
                    <a:pt x="5014" y="11470"/>
                  </a:cubicBezTo>
                  <a:cubicBezTo>
                    <a:pt x="5164" y="11536"/>
                    <a:pt x="5336" y="11613"/>
                    <a:pt x="5497" y="11624"/>
                  </a:cubicBezTo>
                  <a:cubicBezTo>
                    <a:pt x="5519" y="11626"/>
                    <a:pt x="5542" y="11627"/>
                    <a:pt x="5564" y="11627"/>
                  </a:cubicBezTo>
                  <a:cubicBezTo>
                    <a:pt x="5720" y="11627"/>
                    <a:pt x="5872" y="11574"/>
                    <a:pt x="5994" y="11473"/>
                  </a:cubicBezTo>
                  <a:cubicBezTo>
                    <a:pt x="6025" y="11449"/>
                    <a:pt x="6050" y="11414"/>
                    <a:pt x="6057" y="11375"/>
                  </a:cubicBezTo>
                  <a:cubicBezTo>
                    <a:pt x="6053" y="11337"/>
                    <a:pt x="6043" y="11298"/>
                    <a:pt x="6032" y="11260"/>
                  </a:cubicBezTo>
                  <a:cubicBezTo>
                    <a:pt x="5994" y="11130"/>
                    <a:pt x="5938" y="10931"/>
                    <a:pt x="6134" y="10798"/>
                  </a:cubicBezTo>
                  <a:cubicBezTo>
                    <a:pt x="6201" y="10756"/>
                    <a:pt x="6208" y="10731"/>
                    <a:pt x="6211" y="10728"/>
                  </a:cubicBezTo>
                  <a:cubicBezTo>
                    <a:pt x="6211" y="10714"/>
                    <a:pt x="6190" y="10682"/>
                    <a:pt x="6169" y="10651"/>
                  </a:cubicBezTo>
                  <a:cubicBezTo>
                    <a:pt x="6134" y="10602"/>
                    <a:pt x="6102" y="10546"/>
                    <a:pt x="6081" y="10486"/>
                  </a:cubicBezTo>
                  <a:cubicBezTo>
                    <a:pt x="6036" y="10336"/>
                    <a:pt x="6095" y="10220"/>
                    <a:pt x="6173" y="10175"/>
                  </a:cubicBezTo>
                  <a:cubicBezTo>
                    <a:pt x="6201" y="10156"/>
                    <a:pt x="6232" y="10148"/>
                    <a:pt x="6262" y="10148"/>
                  </a:cubicBezTo>
                  <a:cubicBezTo>
                    <a:pt x="6308" y="10148"/>
                    <a:pt x="6353" y="10167"/>
                    <a:pt x="6386" y="10203"/>
                  </a:cubicBezTo>
                  <a:cubicBezTo>
                    <a:pt x="6409" y="10220"/>
                    <a:pt x="6491" y="10230"/>
                    <a:pt x="6615" y="10230"/>
                  </a:cubicBezTo>
                  <a:cubicBezTo>
                    <a:pt x="6863" y="10230"/>
                    <a:pt x="7279" y="10191"/>
                    <a:pt x="7734" y="10098"/>
                  </a:cubicBezTo>
                  <a:cubicBezTo>
                    <a:pt x="8371" y="9968"/>
                    <a:pt x="8704" y="9748"/>
                    <a:pt x="8725" y="9639"/>
                  </a:cubicBezTo>
                  <a:cubicBezTo>
                    <a:pt x="8749" y="9523"/>
                    <a:pt x="8879" y="9355"/>
                    <a:pt x="9061" y="9131"/>
                  </a:cubicBezTo>
                  <a:cubicBezTo>
                    <a:pt x="9120" y="9058"/>
                    <a:pt x="9176" y="8984"/>
                    <a:pt x="9229" y="8904"/>
                  </a:cubicBezTo>
                  <a:cubicBezTo>
                    <a:pt x="9257" y="8858"/>
                    <a:pt x="9264" y="8802"/>
                    <a:pt x="9239" y="8753"/>
                  </a:cubicBezTo>
                  <a:cubicBezTo>
                    <a:pt x="9211" y="8694"/>
                    <a:pt x="9141" y="8652"/>
                    <a:pt x="9047" y="8638"/>
                  </a:cubicBezTo>
                  <a:cubicBezTo>
                    <a:pt x="8945" y="8627"/>
                    <a:pt x="8854" y="8561"/>
                    <a:pt x="8819" y="8463"/>
                  </a:cubicBezTo>
                  <a:cubicBezTo>
                    <a:pt x="8774" y="8340"/>
                    <a:pt x="8809" y="8172"/>
                    <a:pt x="8910" y="8057"/>
                  </a:cubicBezTo>
                  <a:cubicBezTo>
                    <a:pt x="8942" y="8018"/>
                    <a:pt x="8938" y="7994"/>
                    <a:pt x="8931" y="7976"/>
                  </a:cubicBezTo>
                  <a:cubicBezTo>
                    <a:pt x="8903" y="7910"/>
                    <a:pt x="8784" y="7850"/>
                    <a:pt x="8648" y="7836"/>
                  </a:cubicBezTo>
                  <a:cubicBezTo>
                    <a:pt x="8487" y="7819"/>
                    <a:pt x="8206" y="7731"/>
                    <a:pt x="8150" y="7567"/>
                  </a:cubicBezTo>
                  <a:cubicBezTo>
                    <a:pt x="8133" y="7514"/>
                    <a:pt x="8129" y="7437"/>
                    <a:pt x="8224" y="7349"/>
                  </a:cubicBezTo>
                  <a:cubicBezTo>
                    <a:pt x="8282" y="7291"/>
                    <a:pt x="8336" y="7264"/>
                    <a:pt x="8388" y="7264"/>
                  </a:cubicBezTo>
                  <a:cubicBezTo>
                    <a:pt x="8401" y="7264"/>
                    <a:pt x="8414" y="7265"/>
                    <a:pt x="8427" y="7269"/>
                  </a:cubicBezTo>
                  <a:lnTo>
                    <a:pt x="8427" y="7262"/>
                  </a:lnTo>
                  <a:lnTo>
                    <a:pt x="8434" y="7241"/>
                  </a:lnTo>
                  <a:lnTo>
                    <a:pt x="8434" y="7234"/>
                  </a:lnTo>
                  <a:cubicBezTo>
                    <a:pt x="8438" y="7223"/>
                    <a:pt x="8438" y="7216"/>
                    <a:pt x="8441" y="7209"/>
                  </a:cubicBezTo>
                  <a:lnTo>
                    <a:pt x="8441" y="7206"/>
                  </a:lnTo>
                  <a:cubicBezTo>
                    <a:pt x="8441" y="7202"/>
                    <a:pt x="8441" y="7195"/>
                    <a:pt x="8445" y="7192"/>
                  </a:cubicBezTo>
                  <a:lnTo>
                    <a:pt x="8445" y="7188"/>
                  </a:lnTo>
                  <a:lnTo>
                    <a:pt x="8445" y="7178"/>
                  </a:lnTo>
                  <a:lnTo>
                    <a:pt x="8434" y="7174"/>
                  </a:lnTo>
                  <a:cubicBezTo>
                    <a:pt x="8329" y="7136"/>
                    <a:pt x="8266" y="7059"/>
                    <a:pt x="8273" y="6800"/>
                  </a:cubicBezTo>
                  <a:cubicBezTo>
                    <a:pt x="8273" y="6688"/>
                    <a:pt x="8298" y="6576"/>
                    <a:pt x="8347" y="6474"/>
                  </a:cubicBezTo>
                  <a:cubicBezTo>
                    <a:pt x="8382" y="6394"/>
                    <a:pt x="8417" y="6313"/>
                    <a:pt x="8420" y="6089"/>
                  </a:cubicBezTo>
                  <a:cubicBezTo>
                    <a:pt x="8431" y="5876"/>
                    <a:pt x="8469" y="5666"/>
                    <a:pt x="8539" y="5466"/>
                  </a:cubicBezTo>
                  <a:cubicBezTo>
                    <a:pt x="8574" y="5368"/>
                    <a:pt x="8599" y="5263"/>
                    <a:pt x="8606" y="5158"/>
                  </a:cubicBezTo>
                  <a:cubicBezTo>
                    <a:pt x="8606" y="5140"/>
                    <a:pt x="8606" y="5126"/>
                    <a:pt x="8609" y="5112"/>
                  </a:cubicBezTo>
                  <a:lnTo>
                    <a:pt x="8609" y="5105"/>
                  </a:lnTo>
                  <a:cubicBezTo>
                    <a:pt x="8613" y="5074"/>
                    <a:pt x="8623" y="5046"/>
                    <a:pt x="8637" y="5018"/>
                  </a:cubicBezTo>
                  <a:cubicBezTo>
                    <a:pt x="8658" y="4972"/>
                    <a:pt x="8683" y="4934"/>
                    <a:pt x="8711" y="4895"/>
                  </a:cubicBezTo>
                  <a:lnTo>
                    <a:pt x="8711" y="4895"/>
                  </a:lnTo>
                  <a:lnTo>
                    <a:pt x="8704" y="4902"/>
                  </a:lnTo>
                  <a:lnTo>
                    <a:pt x="8756" y="4843"/>
                  </a:lnTo>
                  <a:cubicBezTo>
                    <a:pt x="8802" y="4787"/>
                    <a:pt x="8858" y="4731"/>
                    <a:pt x="8914" y="4668"/>
                  </a:cubicBezTo>
                  <a:cubicBezTo>
                    <a:pt x="8987" y="4591"/>
                    <a:pt x="9064" y="4503"/>
                    <a:pt x="9138" y="4412"/>
                  </a:cubicBezTo>
                  <a:cubicBezTo>
                    <a:pt x="9183" y="4360"/>
                    <a:pt x="9222" y="4300"/>
                    <a:pt x="9260" y="4241"/>
                  </a:cubicBezTo>
                  <a:cubicBezTo>
                    <a:pt x="9446" y="3936"/>
                    <a:pt x="9817" y="3555"/>
                    <a:pt x="10072" y="3344"/>
                  </a:cubicBezTo>
                  <a:cubicBezTo>
                    <a:pt x="10121" y="3302"/>
                    <a:pt x="10174" y="3264"/>
                    <a:pt x="10226" y="3225"/>
                  </a:cubicBezTo>
                  <a:cubicBezTo>
                    <a:pt x="10314" y="3173"/>
                    <a:pt x="10405" y="3127"/>
                    <a:pt x="10503" y="3089"/>
                  </a:cubicBezTo>
                  <a:lnTo>
                    <a:pt x="10545" y="3068"/>
                  </a:lnTo>
                  <a:cubicBezTo>
                    <a:pt x="10671" y="3015"/>
                    <a:pt x="10846" y="2938"/>
                    <a:pt x="10867" y="2889"/>
                  </a:cubicBezTo>
                  <a:cubicBezTo>
                    <a:pt x="10867" y="2886"/>
                    <a:pt x="10871" y="2882"/>
                    <a:pt x="10871" y="2875"/>
                  </a:cubicBezTo>
                  <a:cubicBezTo>
                    <a:pt x="10885" y="2791"/>
                    <a:pt x="10888" y="2704"/>
                    <a:pt x="10881" y="2616"/>
                  </a:cubicBezTo>
                  <a:cubicBezTo>
                    <a:pt x="10881" y="2592"/>
                    <a:pt x="10878" y="2564"/>
                    <a:pt x="10874" y="2536"/>
                  </a:cubicBezTo>
                  <a:lnTo>
                    <a:pt x="10874" y="2529"/>
                  </a:lnTo>
                  <a:cubicBezTo>
                    <a:pt x="10871" y="2501"/>
                    <a:pt x="10867" y="2469"/>
                    <a:pt x="10864" y="2441"/>
                  </a:cubicBezTo>
                  <a:lnTo>
                    <a:pt x="10864" y="2431"/>
                  </a:lnTo>
                  <a:cubicBezTo>
                    <a:pt x="10864" y="2413"/>
                    <a:pt x="10860" y="2396"/>
                    <a:pt x="10857" y="2378"/>
                  </a:cubicBezTo>
                  <a:cubicBezTo>
                    <a:pt x="10857" y="2361"/>
                    <a:pt x="10853" y="2354"/>
                    <a:pt x="10853" y="2343"/>
                  </a:cubicBezTo>
                  <a:cubicBezTo>
                    <a:pt x="10839" y="2242"/>
                    <a:pt x="10818" y="2161"/>
                    <a:pt x="10797" y="2137"/>
                  </a:cubicBezTo>
                  <a:cubicBezTo>
                    <a:pt x="10782" y="2130"/>
                    <a:pt x="10735" y="2119"/>
                    <a:pt x="10609" y="2119"/>
                  </a:cubicBezTo>
                  <a:cubicBezTo>
                    <a:pt x="10593" y="2119"/>
                    <a:pt x="10577" y="2119"/>
                    <a:pt x="10559" y="2119"/>
                  </a:cubicBezTo>
                  <a:lnTo>
                    <a:pt x="10542" y="2119"/>
                  </a:lnTo>
                  <a:lnTo>
                    <a:pt x="10542" y="2130"/>
                  </a:lnTo>
                  <a:lnTo>
                    <a:pt x="10542" y="2151"/>
                  </a:lnTo>
                  <a:lnTo>
                    <a:pt x="10542" y="2175"/>
                  </a:lnTo>
                  <a:lnTo>
                    <a:pt x="10542" y="2196"/>
                  </a:lnTo>
                  <a:lnTo>
                    <a:pt x="10542" y="2224"/>
                  </a:lnTo>
                  <a:lnTo>
                    <a:pt x="10542" y="2245"/>
                  </a:lnTo>
                  <a:cubicBezTo>
                    <a:pt x="10542" y="2252"/>
                    <a:pt x="10542" y="2266"/>
                    <a:pt x="10538" y="2277"/>
                  </a:cubicBezTo>
                  <a:cubicBezTo>
                    <a:pt x="10535" y="2287"/>
                    <a:pt x="10538" y="2291"/>
                    <a:pt x="10538" y="2298"/>
                  </a:cubicBezTo>
                  <a:cubicBezTo>
                    <a:pt x="10538" y="2305"/>
                    <a:pt x="10535" y="2319"/>
                    <a:pt x="10535" y="2333"/>
                  </a:cubicBezTo>
                  <a:cubicBezTo>
                    <a:pt x="10535" y="2343"/>
                    <a:pt x="10535" y="2347"/>
                    <a:pt x="10531" y="2354"/>
                  </a:cubicBezTo>
                  <a:cubicBezTo>
                    <a:pt x="10528" y="2361"/>
                    <a:pt x="10528" y="2378"/>
                    <a:pt x="10528" y="2389"/>
                  </a:cubicBezTo>
                  <a:cubicBezTo>
                    <a:pt x="10524" y="2399"/>
                    <a:pt x="10524" y="2403"/>
                    <a:pt x="10524" y="2413"/>
                  </a:cubicBezTo>
                  <a:cubicBezTo>
                    <a:pt x="10521" y="2420"/>
                    <a:pt x="10517" y="2434"/>
                    <a:pt x="10517" y="2448"/>
                  </a:cubicBezTo>
                  <a:lnTo>
                    <a:pt x="10510" y="2473"/>
                  </a:lnTo>
                  <a:cubicBezTo>
                    <a:pt x="10510" y="2483"/>
                    <a:pt x="10507" y="2494"/>
                    <a:pt x="10503" y="2508"/>
                  </a:cubicBezTo>
                  <a:lnTo>
                    <a:pt x="10500" y="2532"/>
                  </a:lnTo>
                  <a:cubicBezTo>
                    <a:pt x="10496" y="2543"/>
                    <a:pt x="10493" y="2557"/>
                    <a:pt x="10489" y="2567"/>
                  </a:cubicBezTo>
                  <a:lnTo>
                    <a:pt x="10482" y="2592"/>
                  </a:lnTo>
                  <a:cubicBezTo>
                    <a:pt x="10479" y="2602"/>
                    <a:pt x="10475" y="2613"/>
                    <a:pt x="10472" y="2623"/>
                  </a:cubicBezTo>
                  <a:cubicBezTo>
                    <a:pt x="10468" y="2637"/>
                    <a:pt x="10468" y="2641"/>
                    <a:pt x="10465" y="2648"/>
                  </a:cubicBezTo>
                  <a:cubicBezTo>
                    <a:pt x="10461" y="2658"/>
                    <a:pt x="10458" y="2669"/>
                    <a:pt x="10454" y="2683"/>
                  </a:cubicBezTo>
                  <a:cubicBezTo>
                    <a:pt x="10451" y="2693"/>
                    <a:pt x="10447" y="2697"/>
                    <a:pt x="10444" y="2704"/>
                  </a:cubicBezTo>
                  <a:cubicBezTo>
                    <a:pt x="10444" y="2714"/>
                    <a:pt x="10437" y="2725"/>
                    <a:pt x="10433" y="2735"/>
                  </a:cubicBezTo>
                  <a:cubicBezTo>
                    <a:pt x="10430" y="2746"/>
                    <a:pt x="10426" y="2749"/>
                    <a:pt x="10423" y="2756"/>
                  </a:cubicBezTo>
                  <a:cubicBezTo>
                    <a:pt x="10419" y="2763"/>
                    <a:pt x="10416" y="2777"/>
                    <a:pt x="10412" y="2784"/>
                  </a:cubicBezTo>
                  <a:cubicBezTo>
                    <a:pt x="10405" y="2795"/>
                    <a:pt x="10405" y="2798"/>
                    <a:pt x="10402" y="2805"/>
                  </a:cubicBezTo>
                  <a:cubicBezTo>
                    <a:pt x="10398" y="2812"/>
                    <a:pt x="10391" y="2823"/>
                    <a:pt x="10388" y="2833"/>
                  </a:cubicBezTo>
                  <a:cubicBezTo>
                    <a:pt x="10381" y="2840"/>
                    <a:pt x="10381" y="2844"/>
                    <a:pt x="10377" y="2851"/>
                  </a:cubicBezTo>
                  <a:cubicBezTo>
                    <a:pt x="10374" y="2854"/>
                    <a:pt x="10367" y="2868"/>
                    <a:pt x="10360" y="2875"/>
                  </a:cubicBezTo>
                  <a:lnTo>
                    <a:pt x="10353" y="2889"/>
                  </a:lnTo>
                  <a:cubicBezTo>
                    <a:pt x="10342" y="2900"/>
                    <a:pt x="10335" y="2910"/>
                    <a:pt x="10325" y="2921"/>
                  </a:cubicBezTo>
                  <a:cubicBezTo>
                    <a:pt x="10295" y="2960"/>
                    <a:pt x="10248" y="2981"/>
                    <a:pt x="10199" y="2981"/>
                  </a:cubicBezTo>
                  <a:cubicBezTo>
                    <a:pt x="10196" y="2981"/>
                    <a:pt x="10192" y="2981"/>
                    <a:pt x="10188" y="2980"/>
                  </a:cubicBezTo>
                  <a:cubicBezTo>
                    <a:pt x="10186" y="2980"/>
                    <a:pt x="10185" y="2980"/>
                    <a:pt x="10183" y="2980"/>
                  </a:cubicBezTo>
                  <a:cubicBezTo>
                    <a:pt x="10131" y="2980"/>
                    <a:pt x="10067" y="3031"/>
                    <a:pt x="10009" y="3082"/>
                  </a:cubicBezTo>
                  <a:cubicBezTo>
                    <a:pt x="9944" y="3139"/>
                    <a:pt x="9875" y="3196"/>
                    <a:pt x="9795" y="3196"/>
                  </a:cubicBezTo>
                  <a:cubicBezTo>
                    <a:pt x="9782" y="3196"/>
                    <a:pt x="9768" y="3194"/>
                    <a:pt x="9754" y="3190"/>
                  </a:cubicBezTo>
                  <a:cubicBezTo>
                    <a:pt x="9751" y="3190"/>
                    <a:pt x="9748" y="3189"/>
                    <a:pt x="9744" y="3189"/>
                  </a:cubicBezTo>
                  <a:cubicBezTo>
                    <a:pt x="9712" y="3189"/>
                    <a:pt x="9661" y="3218"/>
                    <a:pt x="9610" y="3243"/>
                  </a:cubicBezTo>
                  <a:lnTo>
                    <a:pt x="9589" y="3253"/>
                  </a:lnTo>
                  <a:lnTo>
                    <a:pt x="9582" y="3257"/>
                  </a:lnTo>
                  <a:lnTo>
                    <a:pt x="9561" y="3267"/>
                  </a:lnTo>
                  <a:lnTo>
                    <a:pt x="9558" y="3267"/>
                  </a:lnTo>
                  <a:cubicBezTo>
                    <a:pt x="9540" y="3278"/>
                    <a:pt x="9523" y="3285"/>
                    <a:pt x="9505" y="3292"/>
                  </a:cubicBezTo>
                  <a:lnTo>
                    <a:pt x="9498" y="3292"/>
                  </a:lnTo>
                  <a:lnTo>
                    <a:pt x="9477" y="3302"/>
                  </a:lnTo>
                  <a:lnTo>
                    <a:pt x="9470" y="3302"/>
                  </a:lnTo>
                  <a:lnTo>
                    <a:pt x="9442" y="3309"/>
                  </a:lnTo>
                  <a:lnTo>
                    <a:pt x="9418" y="3313"/>
                  </a:lnTo>
                  <a:lnTo>
                    <a:pt x="9351" y="3313"/>
                  </a:lnTo>
                  <a:cubicBezTo>
                    <a:pt x="9344" y="3313"/>
                    <a:pt x="9334" y="3309"/>
                    <a:pt x="9327" y="3306"/>
                  </a:cubicBezTo>
                  <a:lnTo>
                    <a:pt x="9320" y="3306"/>
                  </a:lnTo>
                  <a:lnTo>
                    <a:pt x="9299" y="3299"/>
                  </a:lnTo>
                  <a:lnTo>
                    <a:pt x="9288" y="3295"/>
                  </a:lnTo>
                  <a:cubicBezTo>
                    <a:pt x="9281" y="3292"/>
                    <a:pt x="9271" y="3285"/>
                    <a:pt x="9260" y="3281"/>
                  </a:cubicBezTo>
                  <a:cubicBezTo>
                    <a:pt x="9223" y="3258"/>
                    <a:pt x="9180" y="3251"/>
                    <a:pt x="9134" y="3251"/>
                  </a:cubicBezTo>
                  <a:cubicBezTo>
                    <a:pt x="9096" y="3251"/>
                    <a:pt x="9056" y="3256"/>
                    <a:pt x="9015" y="3260"/>
                  </a:cubicBezTo>
                  <a:cubicBezTo>
                    <a:pt x="8978" y="3265"/>
                    <a:pt x="8939" y="3269"/>
                    <a:pt x="8899" y="3269"/>
                  </a:cubicBezTo>
                  <a:cubicBezTo>
                    <a:pt x="8842" y="3269"/>
                    <a:pt x="8785" y="3260"/>
                    <a:pt x="8735" y="3229"/>
                  </a:cubicBezTo>
                  <a:cubicBezTo>
                    <a:pt x="8721" y="3222"/>
                    <a:pt x="8707" y="3215"/>
                    <a:pt x="8690" y="3211"/>
                  </a:cubicBezTo>
                  <a:cubicBezTo>
                    <a:pt x="8623" y="3201"/>
                    <a:pt x="8557" y="3194"/>
                    <a:pt x="8487" y="3190"/>
                  </a:cubicBezTo>
                  <a:cubicBezTo>
                    <a:pt x="8392" y="3187"/>
                    <a:pt x="8305" y="3180"/>
                    <a:pt x="8249" y="3148"/>
                  </a:cubicBezTo>
                  <a:cubicBezTo>
                    <a:pt x="8238" y="3145"/>
                    <a:pt x="8227" y="3138"/>
                    <a:pt x="8220" y="3127"/>
                  </a:cubicBezTo>
                  <a:cubicBezTo>
                    <a:pt x="8203" y="3110"/>
                    <a:pt x="8196" y="3085"/>
                    <a:pt x="8196" y="3061"/>
                  </a:cubicBezTo>
                  <a:cubicBezTo>
                    <a:pt x="8199" y="3005"/>
                    <a:pt x="8231" y="2956"/>
                    <a:pt x="8277" y="2928"/>
                  </a:cubicBezTo>
                  <a:cubicBezTo>
                    <a:pt x="8326" y="2893"/>
                    <a:pt x="8378" y="2854"/>
                    <a:pt x="8378" y="2697"/>
                  </a:cubicBezTo>
                  <a:cubicBezTo>
                    <a:pt x="8378" y="2508"/>
                    <a:pt x="8539" y="2322"/>
                    <a:pt x="8669" y="2172"/>
                  </a:cubicBezTo>
                  <a:cubicBezTo>
                    <a:pt x="8725" y="2109"/>
                    <a:pt x="8798" y="2021"/>
                    <a:pt x="8809" y="1986"/>
                  </a:cubicBezTo>
                  <a:cubicBezTo>
                    <a:pt x="8767" y="1941"/>
                    <a:pt x="8543" y="1853"/>
                    <a:pt x="8378" y="1783"/>
                  </a:cubicBezTo>
                  <a:cubicBezTo>
                    <a:pt x="8059" y="1657"/>
                    <a:pt x="7863" y="1573"/>
                    <a:pt x="7800" y="1489"/>
                  </a:cubicBezTo>
                  <a:cubicBezTo>
                    <a:pt x="7702" y="1363"/>
                    <a:pt x="7562" y="1233"/>
                    <a:pt x="7237" y="1202"/>
                  </a:cubicBezTo>
                  <a:cubicBezTo>
                    <a:pt x="7097" y="1195"/>
                    <a:pt x="6964" y="1135"/>
                    <a:pt x="6866" y="1034"/>
                  </a:cubicBezTo>
                  <a:lnTo>
                    <a:pt x="6831" y="999"/>
                  </a:lnTo>
                  <a:cubicBezTo>
                    <a:pt x="6761" y="929"/>
                    <a:pt x="6687" y="866"/>
                    <a:pt x="6603" y="813"/>
                  </a:cubicBezTo>
                  <a:cubicBezTo>
                    <a:pt x="6586" y="803"/>
                    <a:pt x="6568" y="792"/>
                    <a:pt x="6551" y="782"/>
                  </a:cubicBezTo>
                  <a:lnTo>
                    <a:pt x="6533" y="768"/>
                  </a:lnTo>
                  <a:lnTo>
                    <a:pt x="6502" y="743"/>
                  </a:lnTo>
                  <a:lnTo>
                    <a:pt x="6477" y="726"/>
                  </a:lnTo>
                  <a:lnTo>
                    <a:pt x="6446" y="701"/>
                  </a:lnTo>
                  <a:lnTo>
                    <a:pt x="6421" y="684"/>
                  </a:lnTo>
                  <a:lnTo>
                    <a:pt x="6390" y="656"/>
                  </a:lnTo>
                  <a:lnTo>
                    <a:pt x="6365" y="635"/>
                  </a:lnTo>
                  <a:lnTo>
                    <a:pt x="6334" y="607"/>
                  </a:lnTo>
                  <a:lnTo>
                    <a:pt x="6309" y="582"/>
                  </a:lnTo>
                  <a:lnTo>
                    <a:pt x="6278" y="554"/>
                  </a:lnTo>
                  <a:lnTo>
                    <a:pt x="6253" y="530"/>
                  </a:lnTo>
                  <a:lnTo>
                    <a:pt x="6222" y="502"/>
                  </a:lnTo>
                  <a:lnTo>
                    <a:pt x="6197" y="477"/>
                  </a:lnTo>
                  <a:lnTo>
                    <a:pt x="6169" y="446"/>
                  </a:lnTo>
                  <a:lnTo>
                    <a:pt x="6144" y="421"/>
                  </a:lnTo>
                  <a:lnTo>
                    <a:pt x="6116" y="390"/>
                  </a:lnTo>
                  <a:lnTo>
                    <a:pt x="6092" y="365"/>
                  </a:lnTo>
                  <a:lnTo>
                    <a:pt x="6064" y="334"/>
                  </a:lnTo>
                  <a:lnTo>
                    <a:pt x="6043" y="309"/>
                  </a:lnTo>
                  <a:lnTo>
                    <a:pt x="6015" y="278"/>
                  </a:lnTo>
                  <a:lnTo>
                    <a:pt x="5994" y="253"/>
                  </a:lnTo>
                  <a:lnTo>
                    <a:pt x="5969" y="222"/>
                  </a:lnTo>
                  <a:lnTo>
                    <a:pt x="5952" y="197"/>
                  </a:lnTo>
                  <a:lnTo>
                    <a:pt x="5927" y="169"/>
                  </a:lnTo>
                  <a:lnTo>
                    <a:pt x="5910" y="148"/>
                  </a:lnTo>
                  <a:lnTo>
                    <a:pt x="5889" y="120"/>
                  </a:lnTo>
                  <a:lnTo>
                    <a:pt x="5875" y="96"/>
                  </a:lnTo>
                  <a:lnTo>
                    <a:pt x="5857" y="71"/>
                  </a:lnTo>
                  <a:lnTo>
                    <a:pt x="5843" y="50"/>
                  </a:lnTo>
                  <a:lnTo>
                    <a:pt x="5836" y="43"/>
                  </a:lnTo>
                  <a:lnTo>
                    <a:pt x="5791" y="36"/>
                  </a:lnTo>
                  <a:cubicBezTo>
                    <a:pt x="5715" y="29"/>
                    <a:pt x="5582" y="15"/>
                    <a:pt x="5487" y="15"/>
                  </a:cubicBezTo>
                  <a:cubicBezTo>
                    <a:pt x="5439" y="15"/>
                    <a:pt x="5400" y="19"/>
                    <a:pt x="5385" y="29"/>
                  </a:cubicBezTo>
                  <a:cubicBezTo>
                    <a:pt x="5364" y="64"/>
                    <a:pt x="5343" y="99"/>
                    <a:pt x="5329" y="138"/>
                  </a:cubicBezTo>
                  <a:lnTo>
                    <a:pt x="5318" y="159"/>
                  </a:lnTo>
                  <a:cubicBezTo>
                    <a:pt x="5248" y="299"/>
                    <a:pt x="5185" y="435"/>
                    <a:pt x="5084" y="435"/>
                  </a:cubicBezTo>
                  <a:cubicBezTo>
                    <a:pt x="5031" y="435"/>
                    <a:pt x="4989" y="404"/>
                    <a:pt x="4958" y="337"/>
                  </a:cubicBezTo>
                  <a:cubicBezTo>
                    <a:pt x="4951" y="327"/>
                    <a:pt x="4947" y="316"/>
                    <a:pt x="4940" y="309"/>
                  </a:cubicBezTo>
                  <a:cubicBezTo>
                    <a:pt x="4849" y="169"/>
                    <a:pt x="4667" y="148"/>
                    <a:pt x="4475" y="127"/>
                  </a:cubicBezTo>
                  <a:lnTo>
                    <a:pt x="4377" y="113"/>
                  </a:lnTo>
                  <a:cubicBezTo>
                    <a:pt x="4300" y="103"/>
                    <a:pt x="4230" y="75"/>
                    <a:pt x="4167" y="29"/>
                  </a:cubicBezTo>
                  <a:cubicBezTo>
                    <a:pt x="4140" y="12"/>
                    <a:pt x="4121" y="0"/>
                    <a:pt x="4099"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053" name="Google Shape;5053;p104"/>
            <p:cNvSpPr/>
            <p:nvPr/>
          </p:nvSpPr>
          <p:spPr>
            <a:xfrm>
              <a:off x="1532711" y="2487712"/>
              <a:ext cx="24589" cy="16850"/>
            </a:xfrm>
            <a:custGeom>
              <a:avLst/>
              <a:gdLst/>
              <a:ahLst/>
              <a:cxnLst/>
              <a:rect l="l" t="t" r="r" b="b"/>
              <a:pathLst>
                <a:path w="1811" h="1241" extrusionOk="0">
                  <a:moveTo>
                    <a:pt x="182" y="0"/>
                  </a:moveTo>
                  <a:cubicBezTo>
                    <a:pt x="165" y="0"/>
                    <a:pt x="147" y="4"/>
                    <a:pt x="133" y="7"/>
                  </a:cubicBezTo>
                  <a:cubicBezTo>
                    <a:pt x="116" y="10"/>
                    <a:pt x="99" y="12"/>
                    <a:pt x="82" y="12"/>
                  </a:cubicBezTo>
                  <a:cubicBezTo>
                    <a:pt x="61" y="12"/>
                    <a:pt x="40" y="9"/>
                    <a:pt x="21" y="4"/>
                  </a:cubicBezTo>
                  <a:cubicBezTo>
                    <a:pt x="4" y="434"/>
                    <a:pt x="0" y="774"/>
                    <a:pt x="7" y="977"/>
                  </a:cubicBezTo>
                  <a:lnTo>
                    <a:pt x="7" y="984"/>
                  </a:lnTo>
                  <a:cubicBezTo>
                    <a:pt x="7" y="1001"/>
                    <a:pt x="11" y="1022"/>
                    <a:pt x="11" y="1036"/>
                  </a:cubicBezTo>
                  <a:lnTo>
                    <a:pt x="11" y="1043"/>
                  </a:lnTo>
                  <a:lnTo>
                    <a:pt x="11" y="1064"/>
                  </a:lnTo>
                  <a:lnTo>
                    <a:pt x="11" y="1078"/>
                  </a:lnTo>
                  <a:lnTo>
                    <a:pt x="11" y="1103"/>
                  </a:lnTo>
                  <a:lnTo>
                    <a:pt x="11" y="1120"/>
                  </a:lnTo>
                  <a:lnTo>
                    <a:pt x="11" y="1131"/>
                  </a:lnTo>
                  <a:cubicBezTo>
                    <a:pt x="11" y="1138"/>
                    <a:pt x="11" y="1141"/>
                    <a:pt x="14" y="1148"/>
                  </a:cubicBezTo>
                  <a:lnTo>
                    <a:pt x="14" y="1152"/>
                  </a:lnTo>
                  <a:cubicBezTo>
                    <a:pt x="46" y="1152"/>
                    <a:pt x="102" y="1148"/>
                    <a:pt x="151" y="1145"/>
                  </a:cubicBezTo>
                  <a:cubicBezTo>
                    <a:pt x="224" y="1141"/>
                    <a:pt x="301" y="1138"/>
                    <a:pt x="375" y="1134"/>
                  </a:cubicBezTo>
                  <a:lnTo>
                    <a:pt x="651" y="1134"/>
                  </a:lnTo>
                  <a:lnTo>
                    <a:pt x="676" y="1138"/>
                  </a:lnTo>
                  <a:lnTo>
                    <a:pt x="700" y="1138"/>
                  </a:lnTo>
                  <a:lnTo>
                    <a:pt x="721" y="1141"/>
                  </a:lnTo>
                  <a:lnTo>
                    <a:pt x="746" y="1141"/>
                  </a:lnTo>
                  <a:lnTo>
                    <a:pt x="767" y="1148"/>
                  </a:lnTo>
                  <a:lnTo>
                    <a:pt x="788" y="1152"/>
                  </a:lnTo>
                  <a:lnTo>
                    <a:pt x="809" y="1155"/>
                  </a:lnTo>
                  <a:lnTo>
                    <a:pt x="826" y="1159"/>
                  </a:lnTo>
                  <a:lnTo>
                    <a:pt x="847" y="1166"/>
                  </a:lnTo>
                  <a:lnTo>
                    <a:pt x="865" y="1173"/>
                  </a:lnTo>
                  <a:lnTo>
                    <a:pt x="879" y="1180"/>
                  </a:lnTo>
                  <a:lnTo>
                    <a:pt x="896" y="1187"/>
                  </a:lnTo>
                  <a:lnTo>
                    <a:pt x="910" y="1194"/>
                  </a:lnTo>
                  <a:lnTo>
                    <a:pt x="921" y="1197"/>
                  </a:lnTo>
                  <a:lnTo>
                    <a:pt x="963" y="1215"/>
                  </a:lnTo>
                  <a:cubicBezTo>
                    <a:pt x="1005" y="1232"/>
                    <a:pt x="1034" y="1240"/>
                    <a:pt x="1056" y="1240"/>
                  </a:cubicBezTo>
                  <a:cubicBezTo>
                    <a:pt x="1076" y="1240"/>
                    <a:pt x="1090" y="1233"/>
                    <a:pt x="1103" y="1218"/>
                  </a:cubicBezTo>
                  <a:cubicBezTo>
                    <a:pt x="1183" y="1131"/>
                    <a:pt x="1327" y="1113"/>
                    <a:pt x="1474" y="1099"/>
                  </a:cubicBezTo>
                  <a:cubicBezTo>
                    <a:pt x="1593" y="1089"/>
                    <a:pt x="1716" y="1075"/>
                    <a:pt x="1796" y="1026"/>
                  </a:cubicBezTo>
                  <a:lnTo>
                    <a:pt x="1810" y="1015"/>
                  </a:lnTo>
                  <a:cubicBezTo>
                    <a:pt x="1772" y="1001"/>
                    <a:pt x="1677" y="984"/>
                    <a:pt x="1464" y="977"/>
                  </a:cubicBezTo>
                  <a:cubicBezTo>
                    <a:pt x="1211" y="966"/>
                    <a:pt x="819" y="648"/>
                    <a:pt x="469" y="350"/>
                  </a:cubicBezTo>
                  <a:cubicBezTo>
                    <a:pt x="420" y="305"/>
                    <a:pt x="378" y="270"/>
                    <a:pt x="347" y="245"/>
                  </a:cubicBezTo>
                  <a:cubicBezTo>
                    <a:pt x="280" y="193"/>
                    <a:pt x="235" y="119"/>
                    <a:pt x="214" y="39"/>
                  </a:cubicBezTo>
                  <a:cubicBezTo>
                    <a:pt x="210" y="25"/>
                    <a:pt x="203" y="14"/>
                    <a:pt x="200"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054" name="Google Shape;5054;p104"/>
            <p:cNvSpPr/>
            <p:nvPr/>
          </p:nvSpPr>
          <p:spPr>
            <a:xfrm>
              <a:off x="1640177" y="2240588"/>
              <a:ext cx="3245" cy="244"/>
            </a:xfrm>
            <a:custGeom>
              <a:avLst/>
              <a:gdLst/>
              <a:ahLst/>
              <a:cxnLst/>
              <a:rect l="l" t="t" r="r" b="b"/>
              <a:pathLst>
                <a:path w="239" h="18" extrusionOk="0">
                  <a:moveTo>
                    <a:pt x="1" y="0"/>
                  </a:moveTo>
                  <a:lnTo>
                    <a:pt x="1" y="0"/>
                  </a:lnTo>
                  <a:cubicBezTo>
                    <a:pt x="165" y="0"/>
                    <a:pt x="221" y="11"/>
                    <a:pt x="239" y="18"/>
                  </a:cubicBezTo>
                  <a:cubicBezTo>
                    <a:pt x="221" y="11"/>
                    <a:pt x="169" y="0"/>
                    <a:pt x="1"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055" name="Google Shape;5055;p104"/>
            <p:cNvSpPr/>
            <p:nvPr/>
          </p:nvSpPr>
          <p:spPr>
            <a:xfrm>
              <a:off x="1639946" y="2240588"/>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056" name="Google Shape;5056;p104"/>
            <p:cNvSpPr/>
            <p:nvPr/>
          </p:nvSpPr>
          <p:spPr>
            <a:xfrm>
              <a:off x="1620924" y="2257221"/>
              <a:ext cx="12709" cy="14555"/>
            </a:xfrm>
            <a:custGeom>
              <a:avLst/>
              <a:gdLst/>
              <a:ahLst/>
              <a:cxnLst/>
              <a:rect l="l" t="t" r="r" b="b"/>
              <a:pathLst>
                <a:path w="936" h="1072" extrusionOk="0">
                  <a:moveTo>
                    <a:pt x="935" y="0"/>
                  </a:moveTo>
                  <a:cubicBezTo>
                    <a:pt x="680" y="214"/>
                    <a:pt x="309" y="596"/>
                    <a:pt x="123" y="900"/>
                  </a:cubicBezTo>
                  <a:cubicBezTo>
                    <a:pt x="85" y="960"/>
                    <a:pt x="46" y="1016"/>
                    <a:pt x="1" y="1072"/>
                  </a:cubicBezTo>
                  <a:cubicBezTo>
                    <a:pt x="46" y="1016"/>
                    <a:pt x="85" y="960"/>
                    <a:pt x="123" y="900"/>
                  </a:cubicBezTo>
                  <a:cubicBezTo>
                    <a:pt x="309" y="596"/>
                    <a:pt x="680" y="214"/>
                    <a:pt x="935"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057" name="Google Shape;5057;p104"/>
            <p:cNvSpPr/>
            <p:nvPr/>
          </p:nvSpPr>
          <p:spPr>
            <a:xfrm>
              <a:off x="1615031" y="2277560"/>
              <a:ext cx="733" cy="828"/>
            </a:xfrm>
            <a:custGeom>
              <a:avLst/>
              <a:gdLst/>
              <a:ahLst/>
              <a:cxnLst/>
              <a:rect l="l" t="t" r="r" b="b"/>
              <a:pathLst>
                <a:path w="54" h="61" extrusionOk="0">
                  <a:moveTo>
                    <a:pt x="53" y="1"/>
                  </a:moveTo>
                  <a:lnTo>
                    <a:pt x="1" y="60"/>
                  </a:lnTo>
                  <a:lnTo>
                    <a:pt x="8" y="60"/>
                  </a:lnTo>
                  <a:cubicBezTo>
                    <a:pt x="22" y="43"/>
                    <a:pt x="36" y="22"/>
                    <a:pt x="53" y="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058" name="Google Shape;5058;p104"/>
            <p:cNvSpPr/>
            <p:nvPr/>
          </p:nvSpPr>
          <p:spPr>
            <a:xfrm>
              <a:off x="1644453" y="2246291"/>
              <a:ext cx="109" cy="1100"/>
            </a:xfrm>
            <a:custGeom>
              <a:avLst/>
              <a:gdLst/>
              <a:ahLst/>
              <a:cxnLst/>
              <a:rect l="l" t="t" r="r" b="b"/>
              <a:pathLst>
                <a:path w="8" h="81" extrusionOk="0">
                  <a:moveTo>
                    <a:pt x="8" y="81"/>
                  </a:moveTo>
                  <a:cubicBezTo>
                    <a:pt x="8" y="56"/>
                    <a:pt x="4" y="28"/>
                    <a:pt x="1" y="0"/>
                  </a:cubicBezTo>
                  <a:cubicBezTo>
                    <a:pt x="4" y="28"/>
                    <a:pt x="8" y="56"/>
                    <a:pt x="8" y="8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059" name="Google Shape;5059;p104"/>
            <p:cNvSpPr/>
            <p:nvPr/>
          </p:nvSpPr>
          <p:spPr>
            <a:xfrm>
              <a:off x="1644358" y="2245001"/>
              <a:ext cx="109" cy="1208"/>
            </a:xfrm>
            <a:custGeom>
              <a:avLst/>
              <a:gdLst/>
              <a:ahLst/>
              <a:cxnLst/>
              <a:rect l="l" t="t" r="r" b="b"/>
              <a:pathLst>
                <a:path w="8" h="89" extrusionOk="0">
                  <a:moveTo>
                    <a:pt x="8" y="88"/>
                  </a:moveTo>
                  <a:cubicBezTo>
                    <a:pt x="8" y="57"/>
                    <a:pt x="4" y="29"/>
                    <a:pt x="1" y="1"/>
                  </a:cubicBezTo>
                  <a:cubicBezTo>
                    <a:pt x="4" y="29"/>
                    <a:pt x="8" y="57"/>
                    <a:pt x="8" y="88"/>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060" name="Google Shape;5060;p104"/>
            <p:cNvSpPr/>
            <p:nvPr/>
          </p:nvSpPr>
          <p:spPr>
            <a:xfrm>
              <a:off x="1644168" y="2243671"/>
              <a:ext cx="68" cy="489"/>
            </a:xfrm>
            <a:custGeom>
              <a:avLst/>
              <a:gdLst/>
              <a:ahLst/>
              <a:cxnLst/>
              <a:rect l="l" t="t" r="r" b="b"/>
              <a:pathLst>
                <a:path w="5" h="36" extrusionOk="0">
                  <a:moveTo>
                    <a:pt x="1" y="1"/>
                  </a:moveTo>
                  <a:cubicBezTo>
                    <a:pt x="1" y="11"/>
                    <a:pt x="4" y="22"/>
                    <a:pt x="4" y="36"/>
                  </a:cubicBezTo>
                  <a:cubicBezTo>
                    <a:pt x="4" y="22"/>
                    <a:pt x="4" y="11"/>
                    <a:pt x="1" y="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061" name="Google Shape;5061;p104"/>
            <p:cNvSpPr/>
            <p:nvPr/>
          </p:nvSpPr>
          <p:spPr>
            <a:xfrm>
              <a:off x="1644358" y="2244906"/>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062" name="Google Shape;5062;p104"/>
            <p:cNvSpPr/>
            <p:nvPr/>
          </p:nvSpPr>
          <p:spPr>
            <a:xfrm>
              <a:off x="1635710" y="2253745"/>
              <a:ext cx="3720" cy="1914"/>
            </a:xfrm>
            <a:custGeom>
              <a:avLst/>
              <a:gdLst/>
              <a:ahLst/>
              <a:cxnLst/>
              <a:rect l="l" t="t" r="r" b="b"/>
              <a:pathLst>
                <a:path w="274" h="141" extrusionOk="0">
                  <a:moveTo>
                    <a:pt x="0" y="141"/>
                  </a:moveTo>
                  <a:cubicBezTo>
                    <a:pt x="88" y="88"/>
                    <a:pt x="179" y="43"/>
                    <a:pt x="274" y="1"/>
                  </a:cubicBezTo>
                  <a:cubicBezTo>
                    <a:pt x="179" y="43"/>
                    <a:pt x="88" y="88"/>
                    <a:pt x="0" y="14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063" name="Google Shape;5063;p104"/>
            <p:cNvSpPr/>
            <p:nvPr/>
          </p:nvSpPr>
          <p:spPr>
            <a:xfrm>
              <a:off x="1614081" y="2280031"/>
              <a:ext cx="14" cy="68"/>
            </a:xfrm>
            <a:custGeom>
              <a:avLst/>
              <a:gdLst/>
              <a:ahLst/>
              <a:cxnLst/>
              <a:rect l="l" t="t" r="r" b="b"/>
              <a:pathLst>
                <a:path w="1" h="5" extrusionOk="0">
                  <a:moveTo>
                    <a:pt x="1" y="1"/>
                  </a:moveTo>
                  <a:lnTo>
                    <a:pt x="1" y="4"/>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064" name="Google Shape;5064;p104"/>
            <p:cNvSpPr/>
            <p:nvPr/>
          </p:nvSpPr>
          <p:spPr>
            <a:xfrm>
              <a:off x="1611284" y="2310119"/>
              <a:ext cx="14" cy="109"/>
            </a:xfrm>
            <a:custGeom>
              <a:avLst/>
              <a:gdLst/>
              <a:ahLst/>
              <a:cxnLst/>
              <a:rect l="l" t="t" r="r" b="b"/>
              <a:pathLst>
                <a:path w="1" h="8" extrusionOk="0">
                  <a:moveTo>
                    <a:pt x="0" y="1"/>
                  </a:moveTo>
                  <a:lnTo>
                    <a:pt x="0" y="8"/>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065" name="Google Shape;5065;p104"/>
            <p:cNvSpPr/>
            <p:nvPr/>
          </p:nvSpPr>
          <p:spPr>
            <a:xfrm>
              <a:off x="1611379" y="2309739"/>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066" name="Google Shape;5066;p104"/>
            <p:cNvSpPr/>
            <p:nvPr/>
          </p:nvSpPr>
          <p:spPr>
            <a:xfrm>
              <a:off x="1611379" y="2309508"/>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067" name="Google Shape;5067;p104"/>
            <p:cNvSpPr/>
            <p:nvPr/>
          </p:nvSpPr>
          <p:spPr>
            <a:xfrm>
              <a:off x="1613700" y="2281226"/>
              <a:ext cx="14" cy="149"/>
            </a:xfrm>
            <a:custGeom>
              <a:avLst/>
              <a:gdLst/>
              <a:ahLst/>
              <a:cxnLst/>
              <a:rect l="l" t="t" r="r" b="b"/>
              <a:pathLst>
                <a:path w="1" h="11" extrusionOk="0">
                  <a:moveTo>
                    <a:pt x="1" y="0"/>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068" name="Google Shape;5068;p104"/>
            <p:cNvSpPr/>
            <p:nvPr/>
          </p:nvSpPr>
          <p:spPr>
            <a:xfrm>
              <a:off x="1611134" y="2310553"/>
              <a:ext cx="14" cy="54"/>
            </a:xfrm>
            <a:custGeom>
              <a:avLst/>
              <a:gdLst/>
              <a:ahLst/>
              <a:cxnLst/>
              <a:rect l="l" t="t" r="r" b="b"/>
              <a:pathLst>
                <a:path w="1" h="4" extrusionOk="0">
                  <a:moveTo>
                    <a:pt x="1" y="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069" name="Google Shape;5069;p104"/>
            <p:cNvSpPr/>
            <p:nvPr/>
          </p:nvSpPr>
          <p:spPr>
            <a:xfrm>
              <a:off x="1481659" y="2178417"/>
              <a:ext cx="61465" cy="331549"/>
            </a:xfrm>
            <a:custGeom>
              <a:avLst/>
              <a:gdLst/>
              <a:ahLst/>
              <a:cxnLst/>
              <a:rect l="l" t="t" r="r" b="b"/>
              <a:pathLst>
                <a:path w="4527" h="24419" extrusionOk="0">
                  <a:moveTo>
                    <a:pt x="3295" y="0"/>
                  </a:moveTo>
                  <a:lnTo>
                    <a:pt x="3288" y="28"/>
                  </a:lnTo>
                  <a:cubicBezTo>
                    <a:pt x="3253" y="151"/>
                    <a:pt x="3207" y="322"/>
                    <a:pt x="3067" y="389"/>
                  </a:cubicBezTo>
                  <a:lnTo>
                    <a:pt x="3056" y="396"/>
                  </a:lnTo>
                  <a:lnTo>
                    <a:pt x="3042" y="406"/>
                  </a:lnTo>
                  <a:lnTo>
                    <a:pt x="3039" y="406"/>
                  </a:lnTo>
                  <a:lnTo>
                    <a:pt x="3018" y="420"/>
                  </a:lnTo>
                  <a:lnTo>
                    <a:pt x="2990" y="445"/>
                  </a:lnTo>
                  <a:cubicBezTo>
                    <a:pt x="2990" y="480"/>
                    <a:pt x="2983" y="522"/>
                    <a:pt x="2979" y="564"/>
                  </a:cubicBezTo>
                  <a:cubicBezTo>
                    <a:pt x="2972" y="676"/>
                    <a:pt x="2958" y="802"/>
                    <a:pt x="2990" y="879"/>
                  </a:cubicBezTo>
                  <a:cubicBezTo>
                    <a:pt x="3067" y="1075"/>
                    <a:pt x="3105" y="1975"/>
                    <a:pt x="3028" y="2325"/>
                  </a:cubicBezTo>
                  <a:cubicBezTo>
                    <a:pt x="2972" y="2605"/>
                    <a:pt x="2899" y="2881"/>
                    <a:pt x="2811" y="3154"/>
                  </a:cubicBezTo>
                  <a:cubicBezTo>
                    <a:pt x="2787" y="3228"/>
                    <a:pt x="2811" y="3256"/>
                    <a:pt x="2853" y="3298"/>
                  </a:cubicBezTo>
                  <a:cubicBezTo>
                    <a:pt x="2881" y="3326"/>
                    <a:pt x="2958" y="3406"/>
                    <a:pt x="2867" y="3494"/>
                  </a:cubicBezTo>
                  <a:cubicBezTo>
                    <a:pt x="2815" y="3550"/>
                    <a:pt x="2818" y="3707"/>
                    <a:pt x="2825" y="3925"/>
                  </a:cubicBezTo>
                  <a:cubicBezTo>
                    <a:pt x="2825" y="4002"/>
                    <a:pt x="2829" y="4086"/>
                    <a:pt x="2829" y="4177"/>
                  </a:cubicBezTo>
                  <a:cubicBezTo>
                    <a:pt x="2829" y="4422"/>
                    <a:pt x="2741" y="4765"/>
                    <a:pt x="2671" y="5038"/>
                  </a:cubicBezTo>
                  <a:cubicBezTo>
                    <a:pt x="2633" y="5167"/>
                    <a:pt x="2605" y="5297"/>
                    <a:pt x="2584" y="5430"/>
                  </a:cubicBezTo>
                  <a:cubicBezTo>
                    <a:pt x="2577" y="5524"/>
                    <a:pt x="2549" y="5615"/>
                    <a:pt x="2507" y="5696"/>
                  </a:cubicBezTo>
                  <a:cubicBezTo>
                    <a:pt x="2465" y="5790"/>
                    <a:pt x="2426" y="5878"/>
                    <a:pt x="2440" y="5990"/>
                  </a:cubicBezTo>
                  <a:cubicBezTo>
                    <a:pt x="2465" y="6242"/>
                    <a:pt x="2328" y="6393"/>
                    <a:pt x="2174" y="6519"/>
                  </a:cubicBezTo>
                  <a:cubicBezTo>
                    <a:pt x="2143" y="6547"/>
                    <a:pt x="2227" y="6694"/>
                    <a:pt x="2272" y="6778"/>
                  </a:cubicBezTo>
                  <a:cubicBezTo>
                    <a:pt x="2339" y="6897"/>
                    <a:pt x="2409" y="7023"/>
                    <a:pt x="2402" y="7128"/>
                  </a:cubicBezTo>
                  <a:cubicBezTo>
                    <a:pt x="2395" y="7226"/>
                    <a:pt x="2346" y="7296"/>
                    <a:pt x="2293" y="7366"/>
                  </a:cubicBezTo>
                  <a:cubicBezTo>
                    <a:pt x="2227" y="7457"/>
                    <a:pt x="2164" y="7544"/>
                    <a:pt x="2195" y="7705"/>
                  </a:cubicBezTo>
                  <a:cubicBezTo>
                    <a:pt x="2255" y="8017"/>
                    <a:pt x="2223" y="8497"/>
                    <a:pt x="2206" y="8756"/>
                  </a:cubicBezTo>
                  <a:cubicBezTo>
                    <a:pt x="2199" y="8829"/>
                    <a:pt x="2195" y="8889"/>
                    <a:pt x="2195" y="8917"/>
                  </a:cubicBezTo>
                  <a:cubicBezTo>
                    <a:pt x="2195" y="8980"/>
                    <a:pt x="2171" y="9036"/>
                    <a:pt x="2129" y="9078"/>
                  </a:cubicBezTo>
                  <a:cubicBezTo>
                    <a:pt x="2090" y="9120"/>
                    <a:pt x="2055" y="9162"/>
                    <a:pt x="2076" y="9284"/>
                  </a:cubicBezTo>
                  <a:cubicBezTo>
                    <a:pt x="2097" y="9435"/>
                    <a:pt x="2045" y="9529"/>
                    <a:pt x="1996" y="9631"/>
                  </a:cubicBezTo>
                  <a:cubicBezTo>
                    <a:pt x="1933" y="9736"/>
                    <a:pt x="1894" y="9855"/>
                    <a:pt x="1880" y="9981"/>
                  </a:cubicBezTo>
                  <a:cubicBezTo>
                    <a:pt x="1852" y="10258"/>
                    <a:pt x="1695" y="10615"/>
                    <a:pt x="1565" y="10902"/>
                  </a:cubicBezTo>
                  <a:cubicBezTo>
                    <a:pt x="1520" y="11000"/>
                    <a:pt x="1481" y="11091"/>
                    <a:pt x="1453" y="11161"/>
                  </a:cubicBezTo>
                  <a:cubicBezTo>
                    <a:pt x="1425" y="11234"/>
                    <a:pt x="1404" y="11297"/>
                    <a:pt x="1387" y="11353"/>
                  </a:cubicBezTo>
                  <a:cubicBezTo>
                    <a:pt x="1334" y="11514"/>
                    <a:pt x="1292" y="11640"/>
                    <a:pt x="1135" y="11640"/>
                  </a:cubicBezTo>
                  <a:cubicBezTo>
                    <a:pt x="1132" y="11640"/>
                    <a:pt x="1129" y="11640"/>
                    <a:pt x="1126" y="11640"/>
                  </a:cubicBezTo>
                  <a:cubicBezTo>
                    <a:pt x="1108" y="11640"/>
                    <a:pt x="1091" y="11650"/>
                    <a:pt x="1082" y="11665"/>
                  </a:cubicBezTo>
                  <a:cubicBezTo>
                    <a:pt x="1058" y="11703"/>
                    <a:pt x="1054" y="11794"/>
                    <a:pt x="1124" y="11948"/>
                  </a:cubicBezTo>
                  <a:cubicBezTo>
                    <a:pt x="1184" y="12078"/>
                    <a:pt x="1170" y="12201"/>
                    <a:pt x="1156" y="12309"/>
                  </a:cubicBezTo>
                  <a:cubicBezTo>
                    <a:pt x="1142" y="12425"/>
                    <a:pt x="1128" y="12523"/>
                    <a:pt x="1194" y="12631"/>
                  </a:cubicBezTo>
                  <a:cubicBezTo>
                    <a:pt x="1341" y="12880"/>
                    <a:pt x="1306" y="12995"/>
                    <a:pt x="1243" y="13188"/>
                  </a:cubicBezTo>
                  <a:lnTo>
                    <a:pt x="1226" y="13244"/>
                  </a:lnTo>
                  <a:cubicBezTo>
                    <a:pt x="1201" y="13321"/>
                    <a:pt x="1166" y="13394"/>
                    <a:pt x="1124" y="13461"/>
                  </a:cubicBezTo>
                  <a:cubicBezTo>
                    <a:pt x="1079" y="13527"/>
                    <a:pt x="1054" y="13604"/>
                    <a:pt x="1058" y="13685"/>
                  </a:cubicBezTo>
                  <a:cubicBezTo>
                    <a:pt x="1054" y="13776"/>
                    <a:pt x="1036" y="13863"/>
                    <a:pt x="1005" y="13947"/>
                  </a:cubicBezTo>
                  <a:cubicBezTo>
                    <a:pt x="963" y="14070"/>
                    <a:pt x="931" y="14175"/>
                    <a:pt x="980" y="14301"/>
                  </a:cubicBezTo>
                  <a:cubicBezTo>
                    <a:pt x="1051" y="14483"/>
                    <a:pt x="1065" y="14588"/>
                    <a:pt x="1019" y="14651"/>
                  </a:cubicBezTo>
                  <a:cubicBezTo>
                    <a:pt x="988" y="14695"/>
                    <a:pt x="940" y="14719"/>
                    <a:pt x="891" y="14719"/>
                  </a:cubicBezTo>
                  <a:cubicBezTo>
                    <a:pt x="885" y="14719"/>
                    <a:pt x="878" y="14718"/>
                    <a:pt x="872" y="14718"/>
                  </a:cubicBezTo>
                  <a:cubicBezTo>
                    <a:pt x="805" y="14718"/>
                    <a:pt x="749" y="14900"/>
                    <a:pt x="704" y="15253"/>
                  </a:cubicBezTo>
                  <a:cubicBezTo>
                    <a:pt x="693" y="15365"/>
                    <a:pt x="672" y="15526"/>
                    <a:pt x="693" y="15547"/>
                  </a:cubicBezTo>
                  <a:cubicBezTo>
                    <a:pt x="699" y="15553"/>
                    <a:pt x="718" y="15555"/>
                    <a:pt x="744" y="15555"/>
                  </a:cubicBezTo>
                  <a:cubicBezTo>
                    <a:pt x="779" y="15555"/>
                    <a:pt x="826" y="15551"/>
                    <a:pt x="868" y="15547"/>
                  </a:cubicBezTo>
                  <a:lnTo>
                    <a:pt x="889" y="15547"/>
                  </a:lnTo>
                  <a:cubicBezTo>
                    <a:pt x="994" y="15540"/>
                    <a:pt x="994" y="15232"/>
                    <a:pt x="994" y="15029"/>
                  </a:cubicBezTo>
                  <a:cubicBezTo>
                    <a:pt x="991" y="14935"/>
                    <a:pt x="994" y="14837"/>
                    <a:pt x="1005" y="14742"/>
                  </a:cubicBezTo>
                  <a:cubicBezTo>
                    <a:pt x="1019" y="14627"/>
                    <a:pt x="1065" y="14567"/>
                    <a:pt x="1138" y="14567"/>
                  </a:cubicBezTo>
                  <a:cubicBezTo>
                    <a:pt x="1152" y="14567"/>
                    <a:pt x="1163" y="14567"/>
                    <a:pt x="1177" y="14564"/>
                  </a:cubicBezTo>
                  <a:cubicBezTo>
                    <a:pt x="1177" y="14553"/>
                    <a:pt x="1177" y="14546"/>
                    <a:pt x="1177" y="14539"/>
                  </a:cubicBezTo>
                  <a:cubicBezTo>
                    <a:pt x="1180" y="14452"/>
                    <a:pt x="1243" y="14378"/>
                    <a:pt x="1327" y="14364"/>
                  </a:cubicBezTo>
                  <a:cubicBezTo>
                    <a:pt x="1344" y="14357"/>
                    <a:pt x="1362" y="14354"/>
                    <a:pt x="1380" y="14354"/>
                  </a:cubicBezTo>
                  <a:cubicBezTo>
                    <a:pt x="1410" y="14354"/>
                    <a:pt x="1440" y="14363"/>
                    <a:pt x="1464" y="14378"/>
                  </a:cubicBezTo>
                  <a:cubicBezTo>
                    <a:pt x="1509" y="14413"/>
                    <a:pt x="1509" y="14473"/>
                    <a:pt x="1506" y="14515"/>
                  </a:cubicBezTo>
                  <a:cubicBezTo>
                    <a:pt x="1502" y="14536"/>
                    <a:pt x="1506" y="14553"/>
                    <a:pt x="1509" y="14571"/>
                  </a:cubicBezTo>
                  <a:cubicBezTo>
                    <a:pt x="1611" y="14599"/>
                    <a:pt x="1677" y="14662"/>
                    <a:pt x="1688" y="14732"/>
                  </a:cubicBezTo>
                  <a:cubicBezTo>
                    <a:pt x="1695" y="14781"/>
                    <a:pt x="1677" y="14854"/>
                    <a:pt x="1562" y="14931"/>
                  </a:cubicBezTo>
                  <a:cubicBezTo>
                    <a:pt x="1509" y="14963"/>
                    <a:pt x="1516" y="15008"/>
                    <a:pt x="1541" y="15113"/>
                  </a:cubicBezTo>
                  <a:cubicBezTo>
                    <a:pt x="1562" y="15197"/>
                    <a:pt x="1586" y="15288"/>
                    <a:pt x="1534" y="15372"/>
                  </a:cubicBezTo>
                  <a:lnTo>
                    <a:pt x="1499" y="15421"/>
                  </a:lnTo>
                  <a:cubicBezTo>
                    <a:pt x="1411" y="15554"/>
                    <a:pt x="1359" y="15649"/>
                    <a:pt x="1404" y="15747"/>
                  </a:cubicBezTo>
                  <a:cubicBezTo>
                    <a:pt x="1446" y="15820"/>
                    <a:pt x="1436" y="15918"/>
                    <a:pt x="1373" y="15978"/>
                  </a:cubicBezTo>
                  <a:cubicBezTo>
                    <a:pt x="1338" y="16020"/>
                    <a:pt x="1317" y="16072"/>
                    <a:pt x="1313" y="16128"/>
                  </a:cubicBezTo>
                  <a:cubicBezTo>
                    <a:pt x="1306" y="16185"/>
                    <a:pt x="1320" y="16241"/>
                    <a:pt x="1345" y="16290"/>
                  </a:cubicBezTo>
                  <a:cubicBezTo>
                    <a:pt x="1383" y="16339"/>
                    <a:pt x="1369" y="16409"/>
                    <a:pt x="1317" y="16440"/>
                  </a:cubicBezTo>
                  <a:cubicBezTo>
                    <a:pt x="1320" y="16451"/>
                    <a:pt x="1331" y="16468"/>
                    <a:pt x="1334" y="16479"/>
                  </a:cubicBezTo>
                  <a:cubicBezTo>
                    <a:pt x="1355" y="16524"/>
                    <a:pt x="1380" y="16577"/>
                    <a:pt x="1355" y="16629"/>
                  </a:cubicBezTo>
                  <a:cubicBezTo>
                    <a:pt x="1338" y="16661"/>
                    <a:pt x="1310" y="16682"/>
                    <a:pt x="1271" y="16685"/>
                  </a:cubicBezTo>
                  <a:cubicBezTo>
                    <a:pt x="1268" y="16689"/>
                    <a:pt x="1264" y="16689"/>
                    <a:pt x="1261" y="16692"/>
                  </a:cubicBezTo>
                  <a:cubicBezTo>
                    <a:pt x="1250" y="16713"/>
                    <a:pt x="1278" y="16790"/>
                    <a:pt x="1341" y="16920"/>
                  </a:cubicBezTo>
                  <a:cubicBezTo>
                    <a:pt x="1366" y="16958"/>
                    <a:pt x="1369" y="17007"/>
                    <a:pt x="1352" y="17046"/>
                  </a:cubicBezTo>
                  <a:cubicBezTo>
                    <a:pt x="1324" y="17102"/>
                    <a:pt x="1257" y="17109"/>
                    <a:pt x="1194" y="17116"/>
                  </a:cubicBezTo>
                  <a:cubicBezTo>
                    <a:pt x="1142" y="17119"/>
                    <a:pt x="1093" y="17133"/>
                    <a:pt x="1047" y="17161"/>
                  </a:cubicBezTo>
                  <a:cubicBezTo>
                    <a:pt x="1033" y="17172"/>
                    <a:pt x="1026" y="17175"/>
                    <a:pt x="1072" y="17252"/>
                  </a:cubicBezTo>
                  <a:cubicBezTo>
                    <a:pt x="1110" y="17315"/>
                    <a:pt x="1163" y="17406"/>
                    <a:pt x="1110" y="17504"/>
                  </a:cubicBezTo>
                  <a:cubicBezTo>
                    <a:pt x="1093" y="17543"/>
                    <a:pt x="1054" y="17574"/>
                    <a:pt x="1008" y="17581"/>
                  </a:cubicBezTo>
                  <a:cubicBezTo>
                    <a:pt x="1001" y="17583"/>
                    <a:pt x="993" y="17583"/>
                    <a:pt x="985" y="17583"/>
                  </a:cubicBezTo>
                  <a:cubicBezTo>
                    <a:pt x="886" y="17583"/>
                    <a:pt x="778" y="17484"/>
                    <a:pt x="697" y="17410"/>
                  </a:cubicBezTo>
                  <a:lnTo>
                    <a:pt x="658" y="17378"/>
                  </a:lnTo>
                  <a:cubicBezTo>
                    <a:pt x="634" y="17357"/>
                    <a:pt x="616" y="17326"/>
                    <a:pt x="616" y="17294"/>
                  </a:cubicBezTo>
                  <a:cubicBezTo>
                    <a:pt x="613" y="17238"/>
                    <a:pt x="648" y="17186"/>
                    <a:pt x="700" y="17130"/>
                  </a:cubicBezTo>
                  <a:lnTo>
                    <a:pt x="679" y="17130"/>
                  </a:lnTo>
                  <a:cubicBezTo>
                    <a:pt x="658" y="17126"/>
                    <a:pt x="634" y="17126"/>
                    <a:pt x="609" y="17126"/>
                  </a:cubicBezTo>
                  <a:lnTo>
                    <a:pt x="609" y="17130"/>
                  </a:lnTo>
                  <a:cubicBezTo>
                    <a:pt x="620" y="17284"/>
                    <a:pt x="497" y="17319"/>
                    <a:pt x="413" y="17343"/>
                  </a:cubicBezTo>
                  <a:cubicBezTo>
                    <a:pt x="364" y="17350"/>
                    <a:pt x="315" y="17375"/>
                    <a:pt x="277" y="17410"/>
                  </a:cubicBezTo>
                  <a:cubicBezTo>
                    <a:pt x="259" y="17427"/>
                    <a:pt x="259" y="17441"/>
                    <a:pt x="305" y="17501"/>
                  </a:cubicBezTo>
                  <a:cubicBezTo>
                    <a:pt x="333" y="17539"/>
                    <a:pt x="364" y="17581"/>
                    <a:pt x="347" y="17630"/>
                  </a:cubicBezTo>
                  <a:cubicBezTo>
                    <a:pt x="336" y="17665"/>
                    <a:pt x="308" y="17690"/>
                    <a:pt x="273" y="17697"/>
                  </a:cubicBezTo>
                  <a:cubicBezTo>
                    <a:pt x="186" y="17732"/>
                    <a:pt x="109" y="17784"/>
                    <a:pt x="46" y="17851"/>
                  </a:cubicBezTo>
                  <a:cubicBezTo>
                    <a:pt x="70" y="17833"/>
                    <a:pt x="98" y="17823"/>
                    <a:pt x="126" y="17819"/>
                  </a:cubicBezTo>
                  <a:cubicBezTo>
                    <a:pt x="138" y="17817"/>
                    <a:pt x="150" y="17816"/>
                    <a:pt x="162" y="17816"/>
                  </a:cubicBezTo>
                  <a:cubicBezTo>
                    <a:pt x="251" y="17816"/>
                    <a:pt x="333" y="17873"/>
                    <a:pt x="361" y="17963"/>
                  </a:cubicBezTo>
                  <a:cubicBezTo>
                    <a:pt x="364" y="17973"/>
                    <a:pt x="371" y="17984"/>
                    <a:pt x="378" y="17991"/>
                  </a:cubicBezTo>
                  <a:lnTo>
                    <a:pt x="424" y="17977"/>
                  </a:lnTo>
                  <a:cubicBezTo>
                    <a:pt x="470" y="17960"/>
                    <a:pt x="519" y="17951"/>
                    <a:pt x="567" y="17951"/>
                  </a:cubicBezTo>
                  <a:cubicBezTo>
                    <a:pt x="588" y="17951"/>
                    <a:pt x="609" y="17953"/>
                    <a:pt x="630" y="17956"/>
                  </a:cubicBezTo>
                  <a:cubicBezTo>
                    <a:pt x="753" y="17987"/>
                    <a:pt x="830" y="18110"/>
                    <a:pt x="805" y="18232"/>
                  </a:cubicBezTo>
                  <a:cubicBezTo>
                    <a:pt x="789" y="18313"/>
                    <a:pt x="738" y="18367"/>
                    <a:pt x="675" y="18367"/>
                  </a:cubicBezTo>
                  <a:cubicBezTo>
                    <a:pt x="670" y="18367"/>
                    <a:pt x="664" y="18366"/>
                    <a:pt x="658" y="18366"/>
                  </a:cubicBezTo>
                  <a:cubicBezTo>
                    <a:pt x="644" y="18369"/>
                    <a:pt x="634" y="18376"/>
                    <a:pt x="623" y="18383"/>
                  </a:cubicBezTo>
                  <a:cubicBezTo>
                    <a:pt x="571" y="18453"/>
                    <a:pt x="546" y="18544"/>
                    <a:pt x="560" y="18632"/>
                  </a:cubicBezTo>
                  <a:cubicBezTo>
                    <a:pt x="560" y="18646"/>
                    <a:pt x="567" y="18649"/>
                    <a:pt x="567" y="18649"/>
                  </a:cubicBezTo>
                  <a:cubicBezTo>
                    <a:pt x="576" y="18656"/>
                    <a:pt x="592" y="18658"/>
                    <a:pt x="612" y="18658"/>
                  </a:cubicBezTo>
                  <a:cubicBezTo>
                    <a:pt x="656" y="18658"/>
                    <a:pt x="720" y="18646"/>
                    <a:pt x="763" y="18639"/>
                  </a:cubicBezTo>
                  <a:cubicBezTo>
                    <a:pt x="824" y="18627"/>
                    <a:pt x="885" y="18616"/>
                    <a:pt x="941" y="18616"/>
                  </a:cubicBezTo>
                  <a:cubicBezTo>
                    <a:pt x="971" y="18616"/>
                    <a:pt x="1000" y="18619"/>
                    <a:pt x="1026" y="18628"/>
                  </a:cubicBezTo>
                  <a:cubicBezTo>
                    <a:pt x="1110" y="18656"/>
                    <a:pt x="1166" y="18737"/>
                    <a:pt x="1166" y="18821"/>
                  </a:cubicBezTo>
                  <a:cubicBezTo>
                    <a:pt x="1170" y="18898"/>
                    <a:pt x="1138" y="18961"/>
                    <a:pt x="1089" y="18982"/>
                  </a:cubicBezTo>
                  <a:cubicBezTo>
                    <a:pt x="1077" y="18987"/>
                    <a:pt x="1063" y="18990"/>
                    <a:pt x="1050" y="18990"/>
                  </a:cubicBezTo>
                  <a:cubicBezTo>
                    <a:pt x="1021" y="18990"/>
                    <a:pt x="993" y="18978"/>
                    <a:pt x="973" y="18954"/>
                  </a:cubicBezTo>
                  <a:cubicBezTo>
                    <a:pt x="908" y="18889"/>
                    <a:pt x="819" y="18827"/>
                    <a:pt x="762" y="18827"/>
                  </a:cubicBezTo>
                  <a:cubicBezTo>
                    <a:pt x="758" y="18827"/>
                    <a:pt x="753" y="18827"/>
                    <a:pt x="749" y="18828"/>
                  </a:cubicBezTo>
                  <a:cubicBezTo>
                    <a:pt x="732" y="18828"/>
                    <a:pt x="718" y="18842"/>
                    <a:pt x="711" y="18856"/>
                  </a:cubicBezTo>
                  <a:cubicBezTo>
                    <a:pt x="659" y="18946"/>
                    <a:pt x="592" y="18975"/>
                    <a:pt x="524" y="18975"/>
                  </a:cubicBezTo>
                  <a:cubicBezTo>
                    <a:pt x="451" y="18975"/>
                    <a:pt x="377" y="18941"/>
                    <a:pt x="322" y="18915"/>
                  </a:cubicBezTo>
                  <a:lnTo>
                    <a:pt x="301" y="18905"/>
                  </a:lnTo>
                  <a:cubicBezTo>
                    <a:pt x="300" y="18904"/>
                    <a:pt x="298" y="18904"/>
                    <a:pt x="297" y="18904"/>
                  </a:cubicBezTo>
                  <a:cubicBezTo>
                    <a:pt x="270" y="18904"/>
                    <a:pt x="187" y="18930"/>
                    <a:pt x="95" y="18992"/>
                  </a:cubicBezTo>
                  <a:cubicBezTo>
                    <a:pt x="56" y="19020"/>
                    <a:pt x="21" y="19055"/>
                    <a:pt x="0" y="19097"/>
                  </a:cubicBezTo>
                  <a:cubicBezTo>
                    <a:pt x="63" y="19146"/>
                    <a:pt x="112" y="19209"/>
                    <a:pt x="144" y="19283"/>
                  </a:cubicBezTo>
                  <a:cubicBezTo>
                    <a:pt x="151" y="19297"/>
                    <a:pt x="158" y="19311"/>
                    <a:pt x="165" y="19325"/>
                  </a:cubicBezTo>
                  <a:cubicBezTo>
                    <a:pt x="235" y="19314"/>
                    <a:pt x="340" y="19262"/>
                    <a:pt x="378" y="19195"/>
                  </a:cubicBezTo>
                  <a:cubicBezTo>
                    <a:pt x="413" y="19119"/>
                    <a:pt x="499" y="19049"/>
                    <a:pt x="583" y="19049"/>
                  </a:cubicBezTo>
                  <a:cubicBezTo>
                    <a:pt x="592" y="19049"/>
                    <a:pt x="601" y="19050"/>
                    <a:pt x="609" y="19052"/>
                  </a:cubicBezTo>
                  <a:cubicBezTo>
                    <a:pt x="651" y="19062"/>
                    <a:pt x="725" y="19097"/>
                    <a:pt x="732" y="19244"/>
                  </a:cubicBezTo>
                  <a:cubicBezTo>
                    <a:pt x="742" y="19426"/>
                    <a:pt x="602" y="19454"/>
                    <a:pt x="529" y="19468"/>
                  </a:cubicBezTo>
                  <a:cubicBezTo>
                    <a:pt x="483" y="19479"/>
                    <a:pt x="455" y="19486"/>
                    <a:pt x="448" y="19503"/>
                  </a:cubicBezTo>
                  <a:cubicBezTo>
                    <a:pt x="399" y="19626"/>
                    <a:pt x="308" y="19727"/>
                    <a:pt x="137" y="19857"/>
                  </a:cubicBezTo>
                  <a:cubicBezTo>
                    <a:pt x="91" y="19892"/>
                    <a:pt x="98" y="19923"/>
                    <a:pt x="112" y="19944"/>
                  </a:cubicBezTo>
                  <a:cubicBezTo>
                    <a:pt x="123" y="19966"/>
                    <a:pt x="144" y="19979"/>
                    <a:pt x="168" y="19979"/>
                  </a:cubicBezTo>
                  <a:cubicBezTo>
                    <a:pt x="175" y="19979"/>
                    <a:pt x="182" y="19978"/>
                    <a:pt x="189" y="19976"/>
                  </a:cubicBezTo>
                  <a:cubicBezTo>
                    <a:pt x="207" y="19961"/>
                    <a:pt x="227" y="19954"/>
                    <a:pt x="246" y="19954"/>
                  </a:cubicBezTo>
                  <a:cubicBezTo>
                    <a:pt x="304" y="19954"/>
                    <a:pt x="356" y="20012"/>
                    <a:pt x="333" y="20077"/>
                  </a:cubicBezTo>
                  <a:cubicBezTo>
                    <a:pt x="329" y="20133"/>
                    <a:pt x="333" y="20133"/>
                    <a:pt x="361" y="20137"/>
                  </a:cubicBezTo>
                  <a:cubicBezTo>
                    <a:pt x="371" y="20140"/>
                    <a:pt x="380" y="20142"/>
                    <a:pt x="390" y="20142"/>
                  </a:cubicBezTo>
                  <a:cubicBezTo>
                    <a:pt x="411" y="20142"/>
                    <a:pt x="431" y="20134"/>
                    <a:pt x="448" y="20119"/>
                  </a:cubicBezTo>
                  <a:cubicBezTo>
                    <a:pt x="469" y="20084"/>
                    <a:pt x="473" y="20042"/>
                    <a:pt x="455" y="20004"/>
                  </a:cubicBezTo>
                  <a:cubicBezTo>
                    <a:pt x="427" y="19902"/>
                    <a:pt x="476" y="19720"/>
                    <a:pt x="585" y="19654"/>
                  </a:cubicBezTo>
                  <a:cubicBezTo>
                    <a:pt x="612" y="19637"/>
                    <a:pt x="642" y="19628"/>
                    <a:pt x="673" y="19628"/>
                  </a:cubicBezTo>
                  <a:cubicBezTo>
                    <a:pt x="717" y="19628"/>
                    <a:pt x="762" y="19646"/>
                    <a:pt x="795" y="19682"/>
                  </a:cubicBezTo>
                  <a:cubicBezTo>
                    <a:pt x="924" y="19804"/>
                    <a:pt x="844" y="19937"/>
                    <a:pt x="791" y="20014"/>
                  </a:cubicBezTo>
                  <a:cubicBezTo>
                    <a:pt x="770" y="20046"/>
                    <a:pt x="753" y="20081"/>
                    <a:pt x="742" y="20119"/>
                  </a:cubicBezTo>
                  <a:cubicBezTo>
                    <a:pt x="739" y="20193"/>
                    <a:pt x="725" y="20263"/>
                    <a:pt x="700" y="20333"/>
                  </a:cubicBezTo>
                  <a:cubicBezTo>
                    <a:pt x="676" y="20396"/>
                    <a:pt x="662" y="20463"/>
                    <a:pt x="658" y="20529"/>
                  </a:cubicBezTo>
                  <a:cubicBezTo>
                    <a:pt x="662" y="20603"/>
                    <a:pt x="613" y="20666"/>
                    <a:pt x="546" y="20687"/>
                  </a:cubicBezTo>
                  <a:cubicBezTo>
                    <a:pt x="511" y="20704"/>
                    <a:pt x="511" y="20704"/>
                    <a:pt x="511" y="20732"/>
                  </a:cubicBezTo>
                  <a:cubicBezTo>
                    <a:pt x="522" y="20837"/>
                    <a:pt x="434" y="20872"/>
                    <a:pt x="364" y="20886"/>
                  </a:cubicBezTo>
                  <a:cubicBezTo>
                    <a:pt x="413" y="20963"/>
                    <a:pt x="361" y="21051"/>
                    <a:pt x="333" y="21096"/>
                  </a:cubicBezTo>
                  <a:cubicBezTo>
                    <a:pt x="319" y="21117"/>
                    <a:pt x="308" y="21142"/>
                    <a:pt x="301" y="21166"/>
                  </a:cubicBezTo>
                  <a:cubicBezTo>
                    <a:pt x="315" y="21156"/>
                    <a:pt x="326" y="21145"/>
                    <a:pt x="340" y="21135"/>
                  </a:cubicBezTo>
                  <a:cubicBezTo>
                    <a:pt x="379" y="21098"/>
                    <a:pt x="434" y="21051"/>
                    <a:pt x="507" y="21051"/>
                  </a:cubicBezTo>
                  <a:cubicBezTo>
                    <a:pt x="526" y="21051"/>
                    <a:pt x="546" y="21054"/>
                    <a:pt x="567" y="21061"/>
                  </a:cubicBezTo>
                  <a:cubicBezTo>
                    <a:pt x="592" y="21072"/>
                    <a:pt x="620" y="21086"/>
                    <a:pt x="644" y="21096"/>
                  </a:cubicBezTo>
                  <a:cubicBezTo>
                    <a:pt x="664" y="21105"/>
                    <a:pt x="676" y="21111"/>
                    <a:pt x="691" y="21111"/>
                  </a:cubicBezTo>
                  <a:cubicBezTo>
                    <a:pt x="711" y="21111"/>
                    <a:pt x="737" y="21101"/>
                    <a:pt x="795" y="21075"/>
                  </a:cubicBezTo>
                  <a:cubicBezTo>
                    <a:pt x="825" y="21062"/>
                    <a:pt x="856" y="21056"/>
                    <a:pt x="887" y="21056"/>
                  </a:cubicBezTo>
                  <a:cubicBezTo>
                    <a:pt x="931" y="21056"/>
                    <a:pt x="975" y="21069"/>
                    <a:pt x="1012" y="21096"/>
                  </a:cubicBezTo>
                  <a:cubicBezTo>
                    <a:pt x="1061" y="21135"/>
                    <a:pt x="1086" y="21194"/>
                    <a:pt x="1075" y="21257"/>
                  </a:cubicBezTo>
                  <a:cubicBezTo>
                    <a:pt x="1061" y="21317"/>
                    <a:pt x="1012" y="21366"/>
                    <a:pt x="949" y="21383"/>
                  </a:cubicBezTo>
                  <a:cubicBezTo>
                    <a:pt x="882" y="21404"/>
                    <a:pt x="823" y="21443"/>
                    <a:pt x="770" y="21495"/>
                  </a:cubicBezTo>
                  <a:cubicBezTo>
                    <a:pt x="806" y="21485"/>
                    <a:pt x="855" y="21471"/>
                    <a:pt x="904" y="21471"/>
                  </a:cubicBezTo>
                  <a:cubicBezTo>
                    <a:pt x="971" y="21471"/>
                    <a:pt x="1038" y="21497"/>
                    <a:pt x="1068" y="21590"/>
                  </a:cubicBezTo>
                  <a:cubicBezTo>
                    <a:pt x="1072" y="21607"/>
                    <a:pt x="1079" y="21625"/>
                    <a:pt x="1089" y="21639"/>
                  </a:cubicBezTo>
                  <a:cubicBezTo>
                    <a:pt x="1110" y="21611"/>
                    <a:pt x="1121" y="21579"/>
                    <a:pt x="1121" y="21544"/>
                  </a:cubicBezTo>
                  <a:cubicBezTo>
                    <a:pt x="1121" y="21474"/>
                    <a:pt x="1173" y="21415"/>
                    <a:pt x="1243" y="21408"/>
                  </a:cubicBezTo>
                  <a:cubicBezTo>
                    <a:pt x="1250" y="21407"/>
                    <a:pt x="1256" y="21407"/>
                    <a:pt x="1263" y="21407"/>
                  </a:cubicBezTo>
                  <a:cubicBezTo>
                    <a:pt x="1388" y="21407"/>
                    <a:pt x="1560" y="21526"/>
                    <a:pt x="1600" y="21649"/>
                  </a:cubicBezTo>
                  <a:cubicBezTo>
                    <a:pt x="1618" y="21702"/>
                    <a:pt x="1604" y="21761"/>
                    <a:pt x="1565" y="21800"/>
                  </a:cubicBezTo>
                  <a:cubicBezTo>
                    <a:pt x="1490" y="21889"/>
                    <a:pt x="1300" y="21939"/>
                    <a:pt x="1146" y="21939"/>
                  </a:cubicBezTo>
                  <a:cubicBezTo>
                    <a:pt x="1108" y="21939"/>
                    <a:pt x="1072" y="21936"/>
                    <a:pt x="1040" y="21929"/>
                  </a:cubicBezTo>
                  <a:cubicBezTo>
                    <a:pt x="1030" y="21926"/>
                    <a:pt x="1020" y="21925"/>
                    <a:pt x="1010" y="21925"/>
                  </a:cubicBezTo>
                  <a:cubicBezTo>
                    <a:pt x="977" y="21925"/>
                    <a:pt x="943" y="21942"/>
                    <a:pt x="924" y="21971"/>
                  </a:cubicBezTo>
                  <a:cubicBezTo>
                    <a:pt x="896" y="22031"/>
                    <a:pt x="903" y="22101"/>
                    <a:pt x="949" y="22153"/>
                  </a:cubicBezTo>
                  <a:cubicBezTo>
                    <a:pt x="977" y="22192"/>
                    <a:pt x="998" y="22192"/>
                    <a:pt x="1005" y="22192"/>
                  </a:cubicBezTo>
                  <a:cubicBezTo>
                    <a:pt x="1006" y="22192"/>
                    <a:pt x="1007" y="22192"/>
                    <a:pt x="1008" y="22192"/>
                  </a:cubicBezTo>
                  <a:cubicBezTo>
                    <a:pt x="1068" y="22192"/>
                    <a:pt x="1160" y="22103"/>
                    <a:pt x="1233" y="22027"/>
                  </a:cubicBezTo>
                  <a:lnTo>
                    <a:pt x="1250" y="22013"/>
                  </a:lnTo>
                  <a:cubicBezTo>
                    <a:pt x="1322" y="21939"/>
                    <a:pt x="1489" y="21910"/>
                    <a:pt x="1658" y="21910"/>
                  </a:cubicBezTo>
                  <a:cubicBezTo>
                    <a:pt x="1769" y="21910"/>
                    <a:pt x="1880" y="21923"/>
                    <a:pt x="1968" y="21943"/>
                  </a:cubicBezTo>
                  <a:cubicBezTo>
                    <a:pt x="2101" y="21975"/>
                    <a:pt x="2174" y="22020"/>
                    <a:pt x="2195" y="22087"/>
                  </a:cubicBezTo>
                  <a:cubicBezTo>
                    <a:pt x="2209" y="22122"/>
                    <a:pt x="2206" y="22164"/>
                    <a:pt x="2181" y="22195"/>
                  </a:cubicBezTo>
                  <a:cubicBezTo>
                    <a:pt x="2149" y="22241"/>
                    <a:pt x="2090" y="22250"/>
                    <a:pt x="2022" y="22250"/>
                  </a:cubicBezTo>
                  <a:cubicBezTo>
                    <a:pt x="2001" y="22250"/>
                    <a:pt x="1979" y="22249"/>
                    <a:pt x="1957" y="22248"/>
                  </a:cubicBezTo>
                  <a:cubicBezTo>
                    <a:pt x="1947" y="22247"/>
                    <a:pt x="1936" y="22247"/>
                    <a:pt x="1926" y="22247"/>
                  </a:cubicBezTo>
                  <a:cubicBezTo>
                    <a:pt x="1900" y="22247"/>
                    <a:pt x="1873" y="22249"/>
                    <a:pt x="1849" y="22251"/>
                  </a:cubicBezTo>
                  <a:cubicBezTo>
                    <a:pt x="1800" y="22339"/>
                    <a:pt x="1642" y="22388"/>
                    <a:pt x="1544" y="22388"/>
                  </a:cubicBezTo>
                  <a:cubicBezTo>
                    <a:pt x="1446" y="22388"/>
                    <a:pt x="1415" y="22342"/>
                    <a:pt x="1397" y="22307"/>
                  </a:cubicBezTo>
                  <a:cubicBezTo>
                    <a:pt x="1362" y="22314"/>
                    <a:pt x="1334" y="22328"/>
                    <a:pt x="1310" y="22346"/>
                  </a:cubicBezTo>
                  <a:cubicBezTo>
                    <a:pt x="1261" y="22374"/>
                    <a:pt x="1229" y="22423"/>
                    <a:pt x="1219" y="22476"/>
                  </a:cubicBezTo>
                  <a:cubicBezTo>
                    <a:pt x="1215" y="22528"/>
                    <a:pt x="1194" y="22577"/>
                    <a:pt x="1159" y="22619"/>
                  </a:cubicBezTo>
                  <a:lnTo>
                    <a:pt x="1184" y="22626"/>
                  </a:lnTo>
                  <a:cubicBezTo>
                    <a:pt x="1198" y="22630"/>
                    <a:pt x="1210" y="22633"/>
                    <a:pt x="1221" y="22633"/>
                  </a:cubicBezTo>
                  <a:cubicBezTo>
                    <a:pt x="1253" y="22633"/>
                    <a:pt x="1272" y="22612"/>
                    <a:pt x="1306" y="22570"/>
                  </a:cubicBezTo>
                  <a:cubicBezTo>
                    <a:pt x="1365" y="22501"/>
                    <a:pt x="1442" y="22415"/>
                    <a:pt x="1625" y="22415"/>
                  </a:cubicBezTo>
                  <a:cubicBezTo>
                    <a:pt x="1639" y="22415"/>
                    <a:pt x="1652" y="22415"/>
                    <a:pt x="1667" y="22416"/>
                  </a:cubicBezTo>
                  <a:cubicBezTo>
                    <a:pt x="1677" y="22417"/>
                    <a:pt x="1687" y="22417"/>
                    <a:pt x="1697" y="22417"/>
                  </a:cubicBezTo>
                  <a:cubicBezTo>
                    <a:pt x="1827" y="22417"/>
                    <a:pt x="1932" y="22356"/>
                    <a:pt x="2020" y="22307"/>
                  </a:cubicBezTo>
                  <a:cubicBezTo>
                    <a:pt x="2085" y="22268"/>
                    <a:pt x="2144" y="22235"/>
                    <a:pt x="2200" y="22235"/>
                  </a:cubicBezTo>
                  <a:cubicBezTo>
                    <a:pt x="2214" y="22235"/>
                    <a:pt x="2227" y="22237"/>
                    <a:pt x="2241" y="22241"/>
                  </a:cubicBezTo>
                  <a:cubicBezTo>
                    <a:pt x="2286" y="22255"/>
                    <a:pt x="2321" y="22290"/>
                    <a:pt x="2339" y="22332"/>
                  </a:cubicBezTo>
                  <a:cubicBezTo>
                    <a:pt x="2388" y="22430"/>
                    <a:pt x="2356" y="22535"/>
                    <a:pt x="2255" y="22612"/>
                  </a:cubicBezTo>
                  <a:cubicBezTo>
                    <a:pt x="2184" y="22666"/>
                    <a:pt x="2087" y="22700"/>
                    <a:pt x="1997" y="22700"/>
                  </a:cubicBezTo>
                  <a:cubicBezTo>
                    <a:pt x="1931" y="22700"/>
                    <a:pt x="1869" y="22682"/>
                    <a:pt x="1824" y="22640"/>
                  </a:cubicBezTo>
                  <a:cubicBezTo>
                    <a:pt x="1813" y="22627"/>
                    <a:pt x="1797" y="22620"/>
                    <a:pt x="1782" y="22620"/>
                  </a:cubicBezTo>
                  <a:cubicBezTo>
                    <a:pt x="1774" y="22620"/>
                    <a:pt x="1765" y="22622"/>
                    <a:pt x="1758" y="22626"/>
                  </a:cubicBezTo>
                  <a:cubicBezTo>
                    <a:pt x="1705" y="22654"/>
                    <a:pt x="1646" y="22759"/>
                    <a:pt x="1653" y="22854"/>
                  </a:cubicBezTo>
                  <a:cubicBezTo>
                    <a:pt x="1660" y="22896"/>
                    <a:pt x="1642" y="22938"/>
                    <a:pt x="1611" y="22966"/>
                  </a:cubicBezTo>
                  <a:cubicBezTo>
                    <a:pt x="1585" y="22985"/>
                    <a:pt x="1554" y="22993"/>
                    <a:pt x="1517" y="22993"/>
                  </a:cubicBezTo>
                  <a:cubicBezTo>
                    <a:pt x="1441" y="22993"/>
                    <a:pt x="1342" y="22957"/>
                    <a:pt x="1226" y="22917"/>
                  </a:cubicBezTo>
                  <a:cubicBezTo>
                    <a:pt x="1152" y="22889"/>
                    <a:pt x="1079" y="22864"/>
                    <a:pt x="1001" y="22850"/>
                  </a:cubicBezTo>
                  <a:cubicBezTo>
                    <a:pt x="994" y="22848"/>
                    <a:pt x="987" y="22847"/>
                    <a:pt x="981" y="22847"/>
                  </a:cubicBezTo>
                  <a:cubicBezTo>
                    <a:pt x="974" y="22847"/>
                    <a:pt x="968" y="22848"/>
                    <a:pt x="963" y="22850"/>
                  </a:cubicBezTo>
                  <a:cubicBezTo>
                    <a:pt x="959" y="22878"/>
                    <a:pt x="998" y="22980"/>
                    <a:pt x="1117" y="23102"/>
                  </a:cubicBezTo>
                  <a:cubicBezTo>
                    <a:pt x="1161" y="23149"/>
                    <a:pt x="1193" y="23163"/>
                    <a:pt x="1230" y="23163"/>
                  </a:cubicBezTo>
                  <a:cubicBezTo>
                    <a:pt x="1249" y="23163"/>
                    <a:pt x="1269" y="23159"/>
                    <a:pt x="1292" y="23155"/>
                  </a:cubicBezTo>
                  <a:cubicBezTo>
                    <a:pt x="1321" y="23147"/>
                    <a:pt x="1350" y="23144"/>
                    <a:pt x="1379" y="23144"/>
                  </a:cubicBezTo>
                  <a:cubicBezTo>
                    <a:pt x="1449" y="23144"/>
                    <a:pt x="1516" y="23164"/>
                    <a:pt x="1576" y="23204"/>
                  </a:cubicBezTo>
                  <a:cubicBezTo>
                    <a:pt x="1635" y="23242"/>
                    <a:pt x="1691" y="23288"/>
                    <a:pt x="1740" y="23340"/>
                  </a:cubicBezTo>
                  <a:cubicBezTo>
                    <a:pt x="1758" y="23361"/>
                    <a:pt x="1775" y="23375"/>
                    <a:pt x="1796" y="23389"/>
                  </a:cubicBezTo>
                  <a:cubicBezTo>
                    <a:pt x="1796" y="23389"/>
                    <a:pt x="1810" y="23389"/>
                    <a:pt x="1849" y="23354"/>
                  </a:cubicBezTo>
                  <a:cubicBezTo>
                    <a:pt x="1859" y="23347"/>
                    <a:pt x="1866" y="23337"/>
                    <a:pt x="1877" y="23330"/>
                  </a:cubicBezTo>
                  <a:lnTo>
                    <a:pt x="1852" y="23319"/>
                  </a:lnTo>
                  <a:cubicBezTo>
                    <a:pt x="1821" y="23309"/>
                    <a:pt x="1789" y="23295"/>
                    <a:pt x="1761" y="23277"/>
                  </a:cubicBezTo>
                  <a:cubicBezTo>
                    <a:pt x="1691" y="23232"/>
                    <a:pt x="1670" y="23137"/>
                    <a:pt x="1712" y="23064"/>
                  </a:cubicBezTo>
                  <a:cubicBezTo>
                    <a:pt x="1742" y="23007"/>
                    <a:pt x="1804" y="22966"/>
                    <a:pt x="1889" y="22966"/>
                  </a:cubicBezTo>
                  <a:cubicBezTo>
                    <a:pt x="1934" y="22966"/>
                    <a:pt x="1985" y="22977"/>
                    <a:pt x="2041" y="23004"/>
                  </a:cubicBezTo>
                  <a:cubicBezTo>
                    <a:pt x="2074" y="23019"/>
                    <a:pt x="2109" y="23027"/>
                    <a:pt x="2144" y="23027"/>
                  </a:cubicBezTo>
                  <a:cubicBezTo>
                    <a:pt x="2198" y="23027"/>
                    <a:pt x="2251" y="23009"/>
                    <a:pt x="2293" y="22973"/>
                  </a:cubicBezTo>
                  <a:cubicBezTo>
                    <a:pt x="2374" y="22903"/>
                    <a:pt x="2405" y="22794"/>
                    <a:pt x="2374" y="22693"/>
                  </a:cubicBezTo>
                  <a:cubicBezTo>
                    <a:pt x="2279" y="22307"/>
                    <a:pt x="2699" y="22160"/>
                    <a:pt x="2899" y="22090"/>
                  </a:cubicBezTo>
                  <a:cubicBezTo>
                    <a:pt x="2946" y="22075"/>
                    <a:pt x="2985" y="22068"/>
                    <a:pt x="3015" y="22068"/>
                  </a:cubicBezTo>
                  <a:cubicBezTo>
                    <a:pt x="3094" y="22068"/>
                    <a:pt x="3123" y="22109"/>
                    <a:pt x="3134" y="22139"/>
                  </a:cubicBezTo>
                  <a:cubicBezTo>
                    <a:pt x="3179" y="22248"/>
                    <a:pt x="3025" y="22420"/>
                    <a:pt x="2874" y="22483"/>
                  </a:cubicBezTo>
                  <a:cubicBezTo>
                    <a:pt x="2755" y="22532"/>
                    <a:pt x="2734" y="22556"/>
                    <a:pt x="2731" y="22570"/>
                  </a:cubicBezTo>
                  <a:cubicBezTo>
                    <a:pt x="2727" y="22581"/>
                    <a:pt x="2731" y="22605"/>
                    <a:pt x="2811" y="22693"/>
                  </a:cubicBezTo>
                  <a:cubicBezTo>
                    <a:pt x="2835" y="22718"/>
                    <a:pt x="2860" y="22730"/>
                    <a:pt x="2890" y="22730"/>
                  </a:cubicBezTo>
                  <a:cubicBezTo>
                    <a:pt x="2922" y="22730"/>
                    <a:pt x="2961" y="22717"/>
                    <a:pt x="3014" y="22696"/>
                  </a:cubicBezTo>
                  <a:cubicBezTo>
                    <a:pt x="3062" y="22679"/>
                    <a:pt x="3118" y="22658"/>
                    <a:pt x="3173" y="22658"/>
                  </a:cubicBezTo>
                  <a:cubicBezTo>
                    <a:pt x="3219" y="22658"/>
                    <a:pt x="3266" y="22672"/>
                    <a:pt x="3309" y="22714"/>
                  </a:cubicBezTo>
                  <a:cubicBezTo>
                    <a:pt x="3344" y="22745"/>
                    <a:pt x="3358" y="22791"/>
                    <a:pt x="3351" y="22836"/>
                  </a:cubicBezTo>
                  <a:cubicBezTo>
                    <a:pt x="3333" y="22903"/>
                    <a:pt x="3256" y="22927"/>
                    <a:pt x="3172" y="22955"/>
                  </a:cubicBezTo>
                  <a:cubicBezTo>
                    <a:pt x="3116" y="22973"/>
                    <a:pt x="3032" y="22997"/>
                    <a:pt x="3014" y="23032"/>
                  </a:cubicBezTo>
                  <a:cubicBezTo>
                    <a:pt x="3004" y="23057"/>
                    <a:pt x="3035" y="23102"/>
                    <a:pt x="3060" y="23148"/>
                  </a:cubicBezTo>
                  <a:cubicBezTo>
                    <a:pt x="3095" y="23204"/>
                    <a:pt x="3137" y="23270"/>
                    <a:pt x="3116" y="23344"/>
                  </a:cubicBezTo>
                  <a:cubicBezTo>
                    <a:pt x="3098" y="23393"/>
                    <a:pt x="3056" y="23431"/>
                    <a:pt x="3007" y="23452"/>
                  </a:cubicBezTo>
                  <a:cubicBezTo>
                    <a:pt x="2986" y="23465"/>
                    <a:pt x="2961" y="23471"/>
                    <a:pt x="2936" y="23471"/>
                  </a:cubicBezTo>
                  <a:cubicBezTo>
                    <a:pt x="2914" y="23471"/>
                    <a:pt x="2891" y="23466"/>
                    <a:pt x="2871" y="23456"/>
                  </a:cubicBezTo>
                  <a:cubicBezTo>
                    <a:pt x="2790" y="23410"/>
                    <a:pt x="2776" y="23295"/>
                    <a:pt x="2762" y="23172"/>
                  </a:cubicBezTo>
                  <a:cubicBezTo>
                    <a:pt x="2755" y="23116"/>
                    <a:pt x="2741" y="23022"/>
                    <a:pt x="2724" y="23004"/>
                  </a:cubicBezTo>
                  <a:cubicBezTo>
                    <a:pt x="2718" y="23000"/>
                    <a:pt x="2708" y="22997"/>
                    <a:pt x="2697" y="22997"/>
                  </a:cubicBezTo>
                  <a:cubicBezTo>
                    <a:pt x="2687" y="22997"/>
                    <a:pt x="2678" y="22999"/>
                    <a:pt x="2671" y="23008"/>
                  </a:cubicBezTo>
                  <a:cubicBezTo>
                    <a:pt x="2657" y="23022"/>
                    <a:pt x="2633" y="23106"/>
                    <a:pt x="2699" y="23256"/>
                  </a:cubicBezTo>
                  <a:cubicBezTo>
                    <a:pt x="2724" y="23309"/>
                    <a:pt x="2769" y="23417"/>
                    <a:pt x="2699" y="23463"/>
                  </a:cubicBezTo>
                  <a:cubicBezTo>
                    <a:pt x="2692" y="23468"/>
                    <a:pt x="2679" y="23477"/>
                    <a:pt x="2656" y="23477"/>
                  </a:cubicBezTo>
                  <a:cubicBezTo>
                    <a:pt x="2607" y="23477"/>
                    <a:pt x="2512" y="23436"/>
                    <a:pt x="2325" y="23232"/>
                  </a:cubicBezTo>
                  <a:cubicBezTo>
                    <a:pt x="2314" y="23214"/>
                    <a:pt x="2297" y="23207"/>
                    <a:pt x="2279" y="23207"/>
                  </a:cubicBezTo>
                  <a:cubicBezTo>
                    <a:pt x="2258" y="23214"/>
                    <a:pt x="2244" y="23228"/>
                    <a:pt x="2241" y="23249"/>
                  </a:cubicBezTo>
                  <a:cubicBezTo>
                    <a:pt x="2234" y="23284"/>
                    <a:pt x="2244" y="23323"/>
                    <a:pt x="2276" y="23344"/>
                  </a:cubicBezTo>
                  <a:cubicBezTo>
                    <a:pt x="2293" y="23365"/>
                    <a:pt x="2339" y="23410"/>
                    <a:pt x="2318" y="23466"/>
                  </a:cubicBezTo>
                  <a:cubicBezTo>
                    <a:pt x="2297" y="23522"/>
                    <a:pt x="2237" y="23529"/>
                    <a:pt x="2171" y="23533"/>
                  </a:cubicBezTo>
                  <a:cubicBezTo>
                    <a:pt x="2048" y="23543"/>
                    <a:pt x="2013" y="23557"/>
                    <a:pt x="2013" y="23610"/>
                  </a:cubicBezTo>
                  <a:cubicBezTo>
                    <a:pt x="2013" y="23627"/>
                    <a:pt x="2017" y="23645"/>
                    <a:pt x="2020" y="23659"/>
                  </a:cubicBezTo>
                  <a:cubicBezTo>
                    <a:pt x="2048" y="23659"/>
                    <a:pt x="2073" y="23652"/>
                    <a:pt x="2101" y="23645"/>
                  </a:cubicBezTo>
                  <a:cubicBezTo>
                    <a:pt x="2152" y="23630"/>
                    <a:pt x="2207" y="23623"/>
                    <a:pt x="2261" y="23623"/>
                  </a:cubicBezTo>
                  <a:cubicBezTo>
                    <a:pt x="2295" y="23623"/>
                    <a:pt x="2330" y="23625"/>
                    <a:pt x="2363" y="23631"/>
                  </a:cubicBezTo>
                  <a:cubicBezTo>
                    <a:pt x="2524" y="23666"/>
                    <a:pt x="2556" y="23813"/>
                    <a:pt x="2580" y="23932"/>
                  </a:cubicBezTo>
                  <a:cubicBezTo>
                    <a:pt x="2587" y="23995"/>
                    <a:pt x="2612" y="24054"/>
                    <a:pt x="2647" y="24107"/>
                  </a:cubicBezTo>
                  <a:cubicBezTo>
                    <a:pt x="2650" y="24082"/>
                    <a:pt x="2650" y="24047"/>
                    <a:pt x="2654" y="24023"/>
                  </a:cubicBezTo>
                  <a:cubicBezTo>
                    <a:pt x="2661" y="23890"/>
                    <a:pt x="2671" y="23718"/>
                    <a:pt x="2808" y="23690"/>
                  </a:cubicBezTo>
                  <a:cubicBezTo>
                    <a:pt x="2820" y="23688"/>
                    <a:pt x="2832" y="23687"/>
                    <a:pt x="2842" y="23687"/>
                  </a:cubicBezTo>
                  <a:cubicBezTo>
                    <a:pt x="2946" y="23687"/>
                    <a:pt x="2971" y="23803"/>
                    <a:pt x="2990" y="23879"/>
                  </a:cubicBezTo>
                  <a:cubicBezTo>
                    <a:pt x="3014" y="24005"/>
                    <a:pt x="3046" y="24142"/>
                    <a:pt x="3228" y="24201"/>
                  </a:cubicBezTo>
                  <a:cubicBezTo>
                    <a:pt x="3256" y="24212"/>
                    <a:pt x="3281" y="24219"/>
                    <a:pt x="3298" y="24222"/>
                  </a:cubicBezTo>
                  <a:cubicBezTo>
                    <a:pt x="3270" y="24149"/>
                    <a:pt x="3295" y="24061"/>
                    <a:pt x="3365" y="24019"/>
                  </a:cubicBezTo>
                  <a:cubicBezTo>
                    <a:pt x="3393" y="23995"/>
                    <a:pt x="3424" y="23984"/>
                    <a:pt x="3459" y="23984"/>
                  </a:cubicBezTo>
                  <a:cubicBezTo>
                    <a:pt x="3575" y="23984"/>
                    <a:pt x="3683" y="24110"/>
                    <a:pt x="3781" y="24226"/>
                  </a:cubicBezTo>
                  <a:cubicBezTo>
                    <a:pt x="3851" y="24310"/>
                    <a:pt x="3932" y="24404"/>
                    <a:pt x="3988" y="24418"/>
                  </a:cubicBezTo>
                  <a:lnTo>
                    <a:pt x="3998" y="24418"/>
                  </a:lnTo>
                  <a:cubicBezTo>
                    <a:pt x="3970" y="24324"/>
                    <a:pt x="3921" y="24233"/>
                    <a:pt x="3851" y="24163"/>
                  </a:cubicBezTo>
                  <a:cubicBezTo>
                    <a:pt x="3820" y="24135"/>
                    <a:pt x="3802" y="24093"/>
                    <a:pt x="3799" y="24051"/>
                  </a:cubicBezTo>
                  <a:lnTo>
                    <a:pt x="3736" y="24051"/>
                  </a:lnTo>
                  <a:cubicBezTo>
                    <a:pt x="3722" y="24051"/>
                    <a:pt x="3711" y="24047"/>
                    <a:pt x="3701" y="24037"/>
                  </a:cubicBezTo>
                  <a:cubicBezTo>
                    <a:pt x="3694" y="24030"/>
                    <a:pt x="3687" y="24023"/>
                    <a:pt x="3683" y="24016"/>
                  </a:cubicBezTo>
                  <a:cubicBezTo>
                    <a:pt x="3638" y="23925"/>
                    <a:pt x="3610" y="23582"/>
                    <a:pt x="3676" y="22244"/>
                  </a:cubicBezTo>
                  <a:lnTo>
                    <a:pt x="3652" y="22244"/>
                  </a:lnTo>
                  <a:cubicBezTo>
                    <a:pt x="3626" y="22245"/>
                    <a:pt x="3599" y="22246"/>
                    <a:pt x="3571" y="22246"/>
                  </a:cubicBezTo>
                  <a:cubicBezTo>
                    <a:pt x="3442" y="22246"/>
                    <a:pt x="3297" y="22232"/>
                    <a:pt x="3225" y="22143"/>
                  </a:cubicBezTo>
                  <a:cubicBezTo>
                    <a:pt x="3183" y="22090"/>
                    <a:pt x="3172" y="22020"/>
                    <a:pt x="3193" y="21957"/>
                  </a:cubicBezTo>
                  <a:cubicBezTo>
                    <a:pt x="3197" y="21933"/>
                    <a:pt x="3207" y="21912"/>
                    <a:pt x="3221" y="21894"/>
                  </a:cubicBezTo>
                  <a:lnTo>
                    <a:pt x="3218" y="21891"/>
                  </a:lnTo>
                  <a:cubicBezTo>
                    <a:pt x="3200" y="21880"/>
                    <a:pt x="3186" y="21870"/>
                    <a:pt x="3172" y="21859"/>
                  </a:cubicBezTo>
                  <a:lnTo>
                    <a:pt x="3162" y="21852"/>
                  </a:lnTo>
                  <a:cubicBezTo>
                    <a:pt x="3148" y="21845"/>
                    <a:pt x="3137" y="21835"/>
                    <a:pt x="3123" y="21828"/>
                  </a:cubicBezTo>
                  <a:lnTo>
                    <a:pt x="3116" y="21824"/>
                  </a:lnTo>
                  <a:cubicBezTo>
                    <a:pt x="3098" y="21817"/>
                    <a:pt x="3084" y="21810"/>
                    <a:pt x="3067" y="21803"/>
                  </a:cubicBezTo>
                  <a:lnTo>
                    <a:pt x="3056" y="21800"/>
                  </a:lnTo>
                  <a:cubicBezTo>
                    <a:pt x="3042" y="21793"/>
                    <a:pt x="3025" y="21789"/>
                    <a:pt x="3011" y="21786"/>
                  </a:cubicBezTo>
                  <a:cubicBezTo>
                    <a:pt x="2937" y="21766"/>
                    <a:pt x="2827" y="21758"/>
                    <a:pt x="2704" y="21758"/>
                  </a:cubicBezTo>
                  <a:cubicBezTo>
                    <a:pt x="2481" y="21758"/>
                    <a:pt x="2219" y="21783"/>
                    <a:pt x="2066" y="21803"/>
                  </a:cubicBezTo>
                  <a:cubicBezTo>
                    <a:pt x="2060" y="21804"/>
                    <a:pt x="2053" y="21805"/>
                    <a:pt x="2047" y="21805"/>
                  </a:cubicBezTo>
                  <a:cubicBezTo>
                    <a:pt x="2027" y="21805"/>
                    <a:pt x="2007" y="21801"/>
                    <a:pt x="1989" y="21793"/>
                  </a:cubicBezTo>
                  <a:cubicBezTo>
                    <a:pt x="1919" y="21768"/>
                    <a:pt x="1873" y="21695"/>
                    <a:pt x="1838" y="21639"/>
                  </a:cubicBezTo>
                  <a:cubicBezTo>
                    <a:pt x="1824" y="21614"/>
                    <a:pt x="1807" y="21593"/>
                    <a:pt x="1789" y="21572"/>
                  </a:cubicBezTo>
                  <a:cubicBezTo>
                    <a:pt x="1758" y="21569"/>
                    <a:pt x="1733" y="21555"/>
                    <a:pt x="1716" y="21530"/>
                  </a:cubicBezTo>
                  <a:cubicBezTo>
                    <a:pt x="1649" y="21436"/>
                    <a:pt x="1642" y="21131"/>
                    <a:pt x="1681" y="20939"/>
                  </a:cubicBezTo>
                  <a:cubicBezTo>
                    <a:pt x="1684" y="20914"/>
                    <a:pt x="1691" y="20886"/>
                    <a:pt x="1702" y="20862"/>
                  </a:cubicBezTo>
                  <a:cubicBezTo>
                    <a:pt x="1702" y="20858"/>
                    <a:pt x="1705" y="20851"/>
                    <a:pt x="1705" y="20844"/>
                  </a:cubicBezTo>
                  <a:cubicBezTo>
                    <a:pt x="1684" y="20820"/>
                    <a:pt x="1544" y="20816"/>
                    <a:pt x="1474" y="20813"/>
                  </a:cubicBezTo>
                  <a:cubicBezTo>
                    <a:pt x="1376" y="20813"/>
                    <a:pt x="1285" y="20809"/>
                    <a:pt x="1226" y="20778"/>
                  </a:cubicBezTo>
                  <a:cubicBezTo>
                    <a:pt x="1117" y="20725"/>
                    <a:pt x="1135" y="20634"/>
                    <a:pt x="1145" y="20575"/>
                  </a:cubicBezTo>
                  <a:cubicBezTo>
                    <a:pt x="1156" y="20515"/>
                    <a:pt x="1163" y="20466"/>
                    <a:pt x="1107" y="20403"/>
                  </a:cubicBezTo>
                  <a:cubicBezTo>
                    <a:pt x="1058" y="20351"/>
                    <a:pt x="1029" y="20284"/>
                    <a:pt x="1019" y="20217"/>
                  </a:cubicBezTo>
                  <a:cubicBezTo>
                    <a:pt x="1012" y="20116"/>
                    <a:pt x="1022" y="20014"/>
                    <a:pt x="1054" y="19920"/>
                  </a:cubicBezTo>
                  <a:cubicBezTo>
                    <a:pt x="1061" y="19899"/>
                    <a:pt x="1068" y="19878"/>
                    <a:pt x="1072" y="19857"/>
                  </a:cubicBezTo>
                  <a:cubicBezTo>
                    <a:pt x="1072" y="19850"/>
                    <a:pt x="1072" y="19846"/>
                    <a:pt x="1075" y="19839"/>
                  </a:cubicBezTo>
                  <a:cubicBezTo>
                    <a:pt x="1093" y="19703"/>
                    <a:pt x="1205" y="19423"/>
                    <a:pt x="1436" y="19423"/>
                  </a:cubicBezTo>
                  <a:cubicBezTo>
                    <a:pt x="1464" y="19423"/>
                    <a:pt x="1471" y="19423"/>
                    <a:pt x="1485" y="19325"/>
                  </a:cubicBezTo>
                  <a:cubicBezTo>
                    <a:pt x="1499" y="19241"/>
                    <a:pt x="1516" y="19129"/>
                    <a:pt x="1628" y="19055"/>
                  </a:cubicBezTo>
                  <a:cubicBezTo>
                    <a:pt x="1656" y="19038"/>
                    <a:pt x="1670" y="19031"/>
                    <a:pt x="1607" y="18926"/>
                  </a:cubicBezTo>
                  <a:cubicBezTo>
                    <a:pt x="1562" y="18849"/>
                    <a:pt x="1492" y="18726"/>
                    <a:pt x="1607" y="18635"/>
                  </a:cubicBezTo>
                  <a:cubicBezTo>
                    <a:pt x="1646" y="18604"/>
                    <a:pt x="1653" y="18562"/>
                    <a:pt x="1663" y="18495"/>
                  </a:cubicBezTo>
                  <a:cubicBezTo>
                    <a:pt x="1670" y="18411"/>
                    <a:pt x="1688" y="18285"/>
                    <a:pt x="1866" y="18261"/>
                  </a:cubicBezTo>
                  <a:cubicBezTo>
                    <a:pt x="1919" y="18253"/>
                    <a:pt x="1926" y="18243"/>
                    <a:pt x="1915" y="18127"/>
                  </a:cubicBezTo>
                  <a:cubicBezTo>
                    <a:pt x="1908" y="18050"/>
                    <a:pt x="1894" y="17921"/>
                    <a:pt x="2020" y="17882"/>
                  </a:cubicBezTo>
                  <a:cubicBezTo>
                    <a:pt x="2027" y="17882"/>
                    <a:pt x="2034" y="17879"/>
                    <a:pt x="2041" y="17875"/>
                  </a:cubicBezTo>
                  <a:cubicBezTo>
                    <a:pt x="2038" y="17844"/>
                    <a:pt x="2031" y="17809"/>
                    <a:pt x="2020" y="17781"/>
                  </a:cubicBezTo>
                  <a:cubicBezTo>
                    <a:pt x="1996" y="17714"/>
                    <a:pt x="1985" y="17648"/>
                    <a:pt x="1982" y="17581"/>
                  </a:cubicBezTo>
                  <a:cubicBezTo>
                    <a:pt x="1985" y="17553"/>
                    <a:pt x="1985" y="17529"/>
                    <a:pt x="1992" y="17504"/>
                  </a:cubicBezTo>
                  <a:cubicBezTo>
                    <a:pt x="2003" y="17445"/>
                    <a:pt x="1999" y="17385"/>
                    <a:pt x="1982" y="17329"/>
                  </a:cubicBezTo>
                  <a:cubicBezTo>
                    <a:pt x="1961" y="17235"/>
                    <a:pt x="1933" y="17102"/>
                    <a:pt x="2115" y="17032"/>
                  </a:cubicBezTo>
                  <a:cubicBezTo>
                    <a:pt x="2153" y="17018"/>
                    <a:pt x="2178" y="17000"/>
                    <a:pt x="2178" y="16983"/>
                  </a:cubicBezTo>
                  <a:cubicBezTo>
                    <a:pt x="2181" y="16955"/>
                    <a:pt x="2143" y="16885"/>
                    <a:pt x="2017" y="16787"/>
                  </a:cubicBezTo>
                  <a:cubicBezTo>
                    <a:pt x="1989" y="16762"/>
                    <a:pt x="1915" y="16706"/>
                    <a:pt x="1940" y="16636"/>
                  </a:cubicBezTo>
                  <a:cubicBezTo>
                    <a:pt x="1968" y="16552"/>
                    <a:pt x="2087" y="16552"/>
                    <a:pt x="2269" y="16552"/>
                  </a:cubicBezTo>
                  <a:cubicBezTo>
                    <a:pt x="2286" y="16552"/>
                    <a:pt x="2293" y="16549"/>
                    <a:pt x="2297" y="16545"/>
                  </a:cubicBezTo>
                  <a:lnTo>
                    <a:pt x="2297" y="16542"/>
                  </a:lnTo>
                  <a:cubicBezTo>
                    <a:pt x="2297" y="16538"/>
                    <a:pt x="2297" y="16531"/>
                    <a:pt x="2297" y="16524"/>
                  </a:cubicBezTo>
                  <a:cubicBezTo>
                    <a:pt x="2297" y="16510"/>
                    <a:pt x="2293" y="16496"/>
                    <a:pt x="2286" y="16482"/>
                  </a:cubicBezTo>
                  <a:cubicBezTo>
                    <a:pt x="2283" y="16475"/>
                    <a:pt x="2276" y="16465"/>
                    <a:pt x="2272" y="16461"/>
                  </a:cubicBezTo>
                  <a:cubicBezTo>
                    <a:pt x="2259" y="16443"/>
                    <a:pt x="2242" y="16434"/>
                    <a:pt x="2222" y="16434"/>
                  </a:cubicBezTo>
                  <a:cubicBezTo>
                    <a:pt x="2216" y="16434"/>
                    <a:pt x="2209" y="16435"/>
                    <a:pt x="2202" y="16437"/>
                  </a:cubicBezTo>
                  <a:cubicBezTo>
                    <a:pt x="2172" y="16446"/>
                    <a:pt x="2142" y="16450"/>
                    <a:pt x="2113" y="16450"/>
                  </a:cubicBezTo>
                  <a:cubicBezTo>
                    <a:pt x="2030" y="16450"/>
                    <a:pt x="1958" y="16413"/>
                    <a:pt x="1919" y="16346"/>
                  </a:cubicBezTo>
                  <a:cubicBezTo>
                    <a:pt x="1863" y="16251"/>
                    <a:pt x="1884" y="16135"/>
                    <a:pt x="1975" y="16048"/>
                  </a:cubicBezTo>
                  <a:cubicBezTo>
                    <a:pt x="2010" y="16013"/>
                    <a:pt x="2010" y="15995"/>
                    <a:pt x="1943" y="15918"/>
                  </a:cubicBezTo>
                  <a:cubicBezTo>
                    <a:pt x="1898" y="15866"/>
                    <a:pt x="1838" y="15799"/>
                    <a:pt x="1880" y="15719"/>
                  </a:cubicBezTo>
                  <a:cubicBezTo>
                    <a:pt x="1915" y="15649"/>
                    <a:pt x="1919" y="15551"/>
                    <a:pt x="1852" y="15509"/>
                  </a:cubicBezTo>
                  <a:cubicBezTo>
                    <a:pt x="1747" y="15439"/>
                    <a:pt x="1772" y="15180"/>
                    <a:pt x="1800" y="15054"/>
                  </a:cubicBezTo>
                  <a:cubicBezTo>
                    <a:pt x="1831" y="14914"/>
                    <a:pt x="1884" y="14833"/>
                    <a:pt x="1954" y="14816"/>
                  </a:cubicBezTo>
                  <a:cubicBezTo>
                    <a:pt x="1982" y="14763"/>
                    <a:pt x="1961" y="14539"/>
                    <a:pt x="1950" y="14438"/>
                  </a:cubicBezTo>
                  <a:cubicBezTo>
                    <a:pt x="1943" y="14378"/>
                    <a:pt x="1940" y="14322"/>
                    <a:pt x="1940" y="14287"/>
                  </a:cubicBezTo>
                  <a:cubicBezTo>
                    <a:pt x="1933" y="14231"/>
                    <a:pt x="1912" y="14175"/>
                    <a:pt x="1884" y="14126"/>
                  </a:cubicBezTo>
                  <a:cubicBezTo>
                    <a:pt x="1849" y="14056"/>
                    <a:pt x="1814" y="13979"/>
                    <a:pt x="1824" y="13902"/>
                  </a:cubicBezTo>
                  <a:cubicBezTo>
                    <a:pt x="1835" y="13849"/>
                    <a:pt x="1859" y="13800"/>
                    <a:pt x="1894" y="13758"/>
                  </a:cubicBezTo>
                  <a:cubicBezTo>
                    <a:pt x="1947" y="13695"/>
                    <a:pt x="1975" y="13615"/>
                    <a:pt x="1971" y="13534"/>
                  </a:cubicBezTo>
                  <a:cubicBezTo>
                    <a:pt x="1971" y="13373"/>
                    <a:pt x="1992" y="13160"/>
                    <a:pt x="2164" y="13125"/>
                  </a:cubicBezTo>
                  <a:cubicBezTo>
                    <a:pt x="2171" y="13069"/>
                    <a:pt x="2167" y="13013"/>
                    <a:pt x="2160" y="12957"/>
                  </a:cubicBezTo>
                  <a:cubicBezTo>
                    <a:pt x="2150" y="12894"/>
                    <a:pt x="2150" y="12831"/>
                    <a:pt x="2153" y="12768"/>
                  </a:cubicBezTo>
                  <a:cubicBezTo>
                    <a:pt x="2167" y="12663"/>
                    <a:pt x="2272" y="12649"/>
                    <a:pt x="2332" y="12638"/>
                  </a:cubicBezTo>
                  <a:cubicBezTo>
                    <a:pt x="2419" y="12628"/>
                    <a:pt x="2454" y="12617"/>
                    <a:pt x="2465" y="12551"/>
                  </a:cubicBezTo>
                  <a:cubicBezTo>
                    <a:pt x="2472" y="12523"/>
                    <a:pt x="2468" y="12491"/>
                    <a:pt x="2458" y="12463"/>
                  </a:cubicBezTo>
                  <a:cubicBezTo>
                    <a:pt x="2444" y="12442"/>
                    <a:pt x="2430" y="12425"/>
                    <a:pt x="2409" y="12411"/>
                  </a:cubicBezTo>
                  <a:cubicBezTo>
                    <a:pt x="2370" y="12379"/>
                    <a:pt x="2311" y="12330"/>
                    <a:pt x="2335" y="12232"/>
                  </a:cubicBezTo>
                  <a:cubicBezTo>
                    <a:pt x="2353" y="12152"/>
                    <a:pt x="2346" y="12054"/>
                    <a:pt x="2335" y="11917"/>
                  </a:cubicBezTo>
                  <a:cubicBezTo>
                    <a:pt x="2325" y="11812"/>
                    <a:pt x="2314" y="11682"/>
                    <a:pt x="2314" y="11525"/>
                  </a:cubicBezTo>
                  <a:cubicBezTo>
                    <a:pt x="2314" y="11203"/>
                    <a:pt x="2524" y="11077"/>
                    <a:pt x="2661" y="10989"/>
                  </a:cubicBezTo>
                  <a:cubicBezTo>
                    <a:pt x="2692" y="10972"/>
                    <a:pt x="2720" y="10954"/>
                    <a:pt x="2748" y="10933"/>
                  </a:cubicBezTo>
                  <a:cubicBezTo>
                    <a:pt x="2773" y="10902"/>
                    <a:pt x="2738" y="10744"/>
                    <a:pt x="2720" y="10657"/>
                  </a:cubicBezTo>
                  <a:cubicBezTo>
                    <a:pt x="2678" y="10468"/>
                    <a:pt x="2640" y="10289"/>
                    <a:pt x="2762" y="10233"/>
                  </a:cubicBezTo>
                  <a:cubicBezTo>
                    <a:pt x="2804" y="10216"/>
                    <a:pt x="2811" y="10170"/>
                    <a:pt x="2822" y="10079"/>
                  </a:cubicBezTo>
                  <a:cubicBezTo>
                    <a:pt x="2829" y="9995"/>
                    <a:pt x="2839" y="9900"/>
                    <a:pt x="2916" y="9844"/>
                  </a:cubicBezTo>
                  <a:cubicBezTo>
                    <a:pt x="2962" y="9809"/>
                    <a:pt x="2976" y="9746"/>
                    <a:pt x="2990" y="9638"/>
                  </a:cubicBezTo>
                  <a:cubicBezTo>
                    <a:pt x="3000" y="9561"/>
                    <a:pt x="3018" y="9487"/>
                    <a:pt x="3039" y="9417"/>
                  </a:cubicBezTo>
                  <a:cubicBezTo>
                    <a:pt x="3067" y="9337"/>
                    <a:pt x="3035" y="9281"/>
                    <a:pt x="2986" y="9200"/>
                  </a:cubicBezTo>
                  <a:cubicBezTo>
                    <a:pt x="2937" y="9130"/>
                    <a:pt x="2909" y="9046"/>
                    <a:pt x="2906" y="8962"/>
                  </a:cubicBezTo>
                  <a:cubicBezTo>
                    <a:pt x="2906" y="8910"/>
                    <a:pt x="2902" y="8861"/>
                    <a:pt x="2895" y="8808"/>
                  </a:cubicBezTo>
                  <a:cubicBezTo>
                    <a:pt x="2871" y="8682"/>
                    <a:pt x="2818" y="8560"/>
                    <a:pt x="2738" y="8458"/>
                  </a:cubicBezTo>
                  <a:cubicBezTo>
                    <a:pt x="2601" y="8280"/>
                    <a:pt x="2612" y="7979"/>
                    <a:pt x="2675" y="7845"/>
                  </a:cubicBezTo>
                  <a:cubicBezTo>
                    <a:pt x="2685" y="7828"/>
                    <a:pt x="2696" y="7810"/>
                    <a:pt x="2713" y="7793"/>
                  </a:cubicBezTo>
                  <a:cubicBezTo>
                    <a:pt x="2727" y="7779"/>
                    <a:pt x="2748" y="7768"/>
                    <a:pt x="2773" y="7761"/>
                  </a:cubicBezTo>
                  <a:cubicBezTo>
                    <a:pt x="2783" y="7730"/>
                    <a:pt x="2794" y="7695"/>
                    <a:pt x="2801" y="7660"/>
                  </a:cubicBezTo>
                  <a:cubicBezTo>
                    <a:pt x="2825" y="7541"/>
                    <a:pt x="2860" y="7376"/>
                    <a:pt x="3000" y="7338"/>
                  </a:cubicBezTo>
                  <a:cubicBezTo>
                    <a:pt x="3018" y="7334"/>
                    <a:pt x="3035" y="7324"/>
                    <a:pt x="3042" y="7306"/>
                  </a:cubicBezTo>
                  <a:cubicBezTo>
                    <a:pt x="3088" y="7226"/>
                    <a:pt x="3011" y="7016"/>
                    <a:pt x="2955" y="6865"/>
                  </a:cubicBezTo>
                  <a:cubicBezTo>
                    <a:pt x="2899" y="6704"/>
                    <a:pt x="2965" y="6645"/>
                    <a:pt x="3046" y="6610"/>
                  </a:cubicBezTo>
                  <a:cubicBezTo>
                    <a:pt x="3088" y="6592"/>
                    <a:pt x="3098" y="6585"/>
                    <a:pt x="3098" y="6547"/>
                  </a:cubicBezTo>
                  <a:cubicBezTo>
                    <a:pt x="3098" y="6344"/>
                    <a:pt x="3207" y="6074"/>
                    <a:pt x="3386" y="5994"/>
                  </a:cubicBezTo>
                  <a:cubicBezTo>
                    <a:pt x="3477" y="5955"/>
                    <a:pt x="3512" y="5752"/>
                    <a:pt x="3512" y="5594"/>
                  </a:cubicBezTo>
                  <a:cubicBezTo>
                    <a:pt x="3512" y="5482"/>
                    <a:pt x="3620" y="5423"/>
                    <a:pt x="3725" y="5367"/>
                  </a:cubicBezTo>
                  <a:cubicBezTo>
                    <a:pt x="3774" y="5342"/>
                    <a:pt x="3820" y="5314"/>
                    <a:pt x="3862" y="5283"/>
                  </a:cubicBezTo>
                  <a:cubicBezTo>
                    <a:pt x="3862" y="5279"/>
                    <a:pt x="3862" y="5279"/>
                    <a:pt x="3865" y="5279"/>
                  </a:cubicBezTo>
                  <a:cubicBezTo>
                    <a:pt x="3855" y="5251"/>
                    <a:pt x="3841" y="5223"/>
                    <a:pt x="3827" y="5202"/>
                  </a:cubicBezTo>
                  <a:cubicBezTo>
                    <a:pt x="3792" y="5146"/>
                    <a:pt x="3750" y="5083"/>
                    <a:pt x="3767" y="5013"/>
                  </a:cubicBezTo>
                  <a:cubicBezTo>
                    <a:pt x="3781" y="4968"/>
                    <a:pt x="3813" y="4933"/>
                    <a:pt x="3855" y="4912"/>
                  </a:cubicBezTo>
                  <a:cubicBezTo>
                    <a:pt x="3872" y="4905"/>
                    <a:pt x="3879" y="4884"/>
                    <a:pt x="3876" y="4859"/>
                  </a:cubicBezTo>
                  <a:cubicBezTo>
                    <a:pt x="3865" y="4786"/>
                    <a:pt x="3844" y="4712"/>
                    <a:pt x="3813" y="4646"/>
                  </a:cubicBezTo>
                  <a:cubicBezTo>
                    <a:pt x="3778" y="4548"/>
                    <a:pt x="3739" y="4457"/>
                    <a:pt x="3760" y="4387"/>
                  </a:cubicBezTo>
                  <a:cubicBezTo>
                    <a:pt x="3764" y="4366"/>
                    <a:pt x="3778" y="4345"/>
                    <a:pt x="3795" y="4331"/>
                  </a:cubicBezTo>
                  <a:cubicBezTo>
                    <a:pt x="3830" y="4303"/>
                    <a:pt x="3823" y="4240"/>
                    <a:pt x="3813" y="4145"/>
                  </a:cubicBezTo>
                  <a:cubicBezTo>
                    <a:pt x="3802" y="4089"/>
                    <a:pt x="3802" y="4033"/>
                    <a:pt x="3806" y="3977"/>
                  </a:cubicBezTo>
                  <a:cubicBezTo>
                    <a:pt x="3820" y="3879"/>
                    <a:pt x="3956" y="3785"/>
                    <a:pt x="4184" y="3644"/>
                  </a:cubicBezTo>
                  <a:cubicBezTo>
                    <a:pt x="4282" y="3581"/>
                    <a:pt x="4418" y="3497"/>
                    <a:pt x="4439" y="3459"/>
                  </a:cubicBezTo>
                  <a:cubicBezTo>
                    <a:pt x="4439" y="3455"/>
                    <a:pt x="4443" y="3452"/>
                    <a:pt x="4446" y="3448"/>
                  </a:cubicBezTo>
                  <a:lnTo>
                    <a:pt x="4446" y="3441"/>
                  </a:lnTo>
                  <a:lnTo>
                    <a:pt x="4450" y="3431"/>
                  </a:lnTo>
                  <a:lnTo>
                    <a:pt x="4453" y="3424"/>
                  </a:lnTo>
                  <a:lnTo>
                    <a:pt x="4457" y="3410"/>
                  </a:lnTo>
                  <a:lnTo>
                    <a:pt x="4460" y="3399"/>
                  </a:lnTo>
                  <a:lnTo>
                    <a:pt x="4464" y="3385"/>
                  </a:lnTo>
                  <a:lnTo>
                    <a:pt x="4467" y="3375"/>
                  </a:lnTo>
                  <a:lnTo>
                    <a:pt x="4471" y="3357"/>
                  </a:lnTo>
                  <a:lnTo>
                    <a:pt x="4474" y="3347"/>
                  </a:lnTo>
                  <a:cubicBezTo>
                    <a:pt x="4478" y="3336"/>
                    <a:pt x="4478" y="3326"/>
                    <a:pt x="4481" y="3315"/>
                  </a:cubicBezTo>
                  <a:lnTo>
                    <a:pt x="4481" y="3308"/>
                  </a:lnTo>
                  <a:lnTo>
                    <a:pt x="4488" y="3284"/>
                  </a:lnTo>
                  <a:lnTo>
                    <a:pt x="4488" y="3266"/>
                  </a:lnTo>
                  <a:lnTo>
                    <a:pt x="4495" y="3245"/>
                  </a:lnTo>
                  <a:lnTo>
                    <a:pt x="4495" y="3228"/>
                  </a:lnTo>
                  <a:lnTo>
                    <a:pt x="4499" y="3207"/>
                  </a:lnTo>
                  <a:lnTo>
                    <a:pt x="4502" y="3189"/>
                  </a:lnTo>
                  <a:lnTo>
                    <a:pt x="4506" y="3168"/>
                  </a:lnTo>
                  <a:lnTo>
                    <a:pt x="4509" y="3147"/>
                  </a:lnTo>
                  <a:lnTo>
                    <a:pt x="4513" y="3123"/>
                  </a:lnTo>
                  <a:lnTo>
                    <a:pt x="4516" y="3105"/>
                  </a:lnTo>
                  <a:cubicBezTo>
                    <a:pt x="4516" y="3091"/>
                    <a:pt x="4520" y="3074"/>
                    <a:pt x="4520" y="3060"/>
                  </a:cubicBezTo>
                  <a:lnTo>
                    <a:pt x="4523" y="3035"/>
                  </a:lnTo>
                  <a:lnTo>
                    <a:pt x="4527" y="3014"/>
                  </a:lnTo>
                  <a:lnTo>
                    <a:pt x="4527" y="2990"/>
                  </a:lnTo>
                  <a:lnTo>
                    <a:pt x="4527" y="2976"/>
                  </a:lnTo>
                  <a:lnTo>
                    <a:pt x="4513" y="2997"/>
                  </a:lnTo>
                  <a:lnTo>
                    <a:pt x="4478" y="3014"/>
                  </a:lnTo>
                  <a:cubicBezTo>
                    <a:pt x="4396" y="3053"/>
                    <a:pt x="4344" y="3063"/>
                    <a:pt x="4313" y="3063"/>
                  </a:cubicBezTo>
                  <a:cubicBezTo>
                    <a:pt x="4293" y="3063"/>
                    <a:pt x="4281" y="3059"/>
                    <a:pt x="4275" y="3056"/>
                  </a:cubicBezTo>
                  <a:lnTo>
                    <a:pt x="4268" y="3053"/>
                  </a:lnTo>
                  <a:lnTo>
                    <a:pt x="4257" y="3049"/>
                  </a:lnTo>
                  <a:cubicBezTo>
                    <a:pt x="4254" y="3046"/>
                    <a:pt x="4250" y="3046"/>
                    <a:pt x="4243" y="3042"/>
                  </a:cubicBezTo>
                  <a:lnTo>
                    <a:pt x="4236" y="3035"/>
                  </a:lnTo>
                  <a:cubicBezTo>
                    <a:pt x="4233" y="3032"/>
                    <a:pt x="4229" y="3028"/>
                    <a:pt x="4226" y="3025"/>
                  </a:cubicBezTo>
                  <a:lnTo>
                    <a:pt x="4219" y="3018"/>
                  </a:lnTo>
                  <a:cubicBezTo>
                    <a:pt x="4215" y="3011"/>
                    <a:pt x="4212" y="3004"/>
                    <a:pt x="4208" y="2997"/>
                  </a:cubicBezTo>
                  <a:cubicBezTo>
                    <a:pt x="4191" y="2948"/>
                    <a:pt x="4180" y="2899"/>
                    <a:pt x="4180" y="2850"/>
                  </a:cubicBezTo>
                  <a:cubicBezTo>
                    <a:pt x="4180" y="2829"/>
                    <a:pt x="4180" y="2804"/>
                    <a:pt x="4177" y="2783"/>
                  </a:cubicBezTo>
                  <a:cubicBezTo>
                    <a:pt x="4173" y="2654"/>
                    <a:pt x="4166" y="2493"/>
                    <a:pt x="4089" y="2419"/>
                  </a:cubicBezTo>
                  <a:cubicBezTo>
                    <a:pt x="4002" y="2332"/>
                    <a:pt x="3988" y="2209"/>
                    <a:pt x="3974" y="2104"/>
                  </a:cubicBezTo>
                  <a:cubicBezTo>
                    <a:pt x="3963" y="2006"/>
                    <a:pt x="3953" y="1947"/>
                    <a:pt x="3918" y="1929"/>
                  </a:cubicBezTo>
                  <a:cubicBezTo>
                    <a:pt x="3788" y="1873"/>
                    <a:pt x="3655" y="1691"/>
                    <a:pt x="3641" y="1547"/>
                  </a:cubicBezTo>
                  <a:cubicBezTo>
                    <a:pt x="3627" y="1477"/>
                    <a:pt x="3655" y="1407"/>
                    <a:pt x="3708" y="1365"/>
                  </a:cubicBezTo>
                  <a:cubicBezTo>
                    <a:pt x="3746" y="1337"/>
                    <a:pt x="3750" y="1292"/>
                    <a:pt x="3746" y="1218"/>
                  </a:cubicBezTo>
                  <a:cubicBezTo>
                    <a:pt x="3743" y="1141"/>
                    <a:pt x="3739" y="1047"/>
                    <a:pt x="3820" y="980"/>
                  </a:cubicBezTo>
                  <a:lnTo>
                    <a:pt x="3823" y="973"/>
                  </a:lnTo>
                  <a:cubicBezTo>
                    <a:pt x="3813" y="963"/>
                    <a:pt x="3792" y="949"/>
                    <a:pt x="3774" y="935"/>
                  </a:cubicBezTo>
                  <a:cubicBezTo>
                    <a:pt x="3704" y="886"/>
                    <a:pt x="3641" y="830"/>
                    <a:pt x="3585" y="763"/>
                  </a:cubicBezTo>
                  <a:cubicBezTo>
                    <a:pt x="3491" y="648"/>
                    <a:pt x="3505" y="518"/>
                    <a:pt x="3519" y="413"/>
                  </a:cubicBezTo>
                  <a:cubicBezTo>
                    <a:pt x="3529" y="301"/>
                    <a:pt x="3533" y="238"/>
                    <a:pt x="3466" y="189"/>
                  </a:cubicBezTo>
                  <a:cubicBezTo>
                    <a:pt x="3456" y="182"/>
                    <a:pt x="3442" y="172"/>
                    <a:pt x="3431" y="161"/>
                  </a:cubicBezTo>
                  <a:lnTo>
                    <a:pt x="3421" y="151"/>
                  </a:lnTo>
                  <a:lnTo>
                    <a:pt x="3403" y="133"/>
                  </a:lnTo>
                  <a:lnTo>
                    <a:pt x="3386" y="119"/>
                  </a:lnTo>
                  <a:lnTo>
                    <a:pt x="3375" y="109"/>
                  </a:lnTo>
                  <a:cubicBezTo>
                    <a:pt x="3347" y="74"/>
                    <a:pt x="3319" y="39"/>
                    <a:pt x="3295"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070" name="Google Shape;5070;p104"/>
            <p:cNvSpPr/>
            <p:nvPr/>
          </p:nvSpPr>
          <p:spPr>
            <a:xfrm>
              <a:off x="1538223" y="2504929"/>
              <a:ext cx="4671" cy="855"/>
            </a:xfrm>
            <a:custGeom>
              <a:avLst/>
              <a:gdLst/>
              <a:ahLst/>
              <a:cxnLst/>
              <a:rect l="l" t="t" r="r" b="b"/>
              <a:pathLst>
                <a:path w="344" h="63" extrusionOk="0">
                  <a:moveTo>
                    <a:pt x="97" y="0"/>
                  </a:moveTo>
                  <a:cubicBezTo>
                    <a:pt x="64" y="0"/>
                    <a:pt x="32" y="1"/>
                    <a:pt x="0" y="3"/>
                  </a:cubicBezTo>
                  <a:lnTo>
                    <a:pt x="63" y="20"/>
                  </a:lnTo>
                  <a:cubicBezTo>
                    <a:pt x="101" y="31"/>
                    <a:pt x="198" y="62"/>
                    <a:pt x="265" y="62"/>
                  </a:cubicBezTo>
                  <a:cubicBezTo>
                    <a:pt x="285" y="62"/>
                    <a:pt x="303" y="59"/>
                    <a:pt x="315" y="52"/>
                  </a:cubicBezTo>
                  <a:cubicBezTo>
                    <a:pt x="333" y="45"/>
                    <a:pt x="340" y="31"/>
                    <a:pt x="343" y="13"/>
                  </a:cubicBezTo>
                  <a:lnTo>
                    <a:pt x="336" y="13"/>
                  </a:lnTo>
                  <a:lnTo>
                    <a:pt x="319" y="10"/>
                  </a:lnTo>
                  <a:lnTo>
                    <a:pt x="294" y="6"/>
                  </a:lnTo>
                  <a:lnTo>
                    <a:pt x="280" y="6"/>
                  </a:lnTo>
                  <a:lnTo>
                    <a:pt x="245" y="3"/>
                  </a:lnTo>
                  <a:lnTo>
                    <a:pt x="193" y="3"/>
                  </a:lnTo>
                  <a:cubicBezTo>
                    <a:pt x="161" y="1"/>
                    <a:pt x="129" y="0"/>
                    <a:pt x="97"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071" name="Google Shape;5071;p104"/>
            <p:cNvSpPr/>
            <p:nvPr/>
          </p:nvSpPr>
          <p:spPr>
            <a:xfrm>
              <a:off x="1490593" y="2404157"/>
              <a:ext cx="3476" cy="4236"/>
            </a:xfrm>
            <a:custGeom>
              <a:avLst/>
              <a:gdLst/>
              <a:ahLst/>
              <a:cxnLst/>
              <a:rect l="l" t="t" r="r" b="b"/>
              <a:pathLst>
                <a:path w="256" h="312" extrusionOk="0">
                  <a:moveTo>
                    <a:pt x="42" y="0"/>
                  </a:moveTo>
                  <a:cubicBezTo>
                    <a:pt x="32" y="0"/>
                    <a:pt x="21" y="2"/>
                    <a:pt x="11" y="7"/>
                  </a:cubicBezTo>
                  <a:lnTo>
                    <a:pt x="0" y="10"/>
                  </a:lnTo>
                  <a:cubicBezTo>
                    <a:pt x="25" y="52"/>
                    <a:pt x="56" y="87"/>
                    <a:pt x="88" y="122"/>
                  </a:cubicBezTo>
                  <a:cubicBezTo>
                    <a:pt x="144" y="178"/>
                    <a:pt x="189" y="241"/>
                    <a:pt x="221" y="311"/>
                  </a:cubicBezTo>
                  <a:lnTo>
                    <a:pt x="224" y="308"/>
                  </a:lnTo>
                  <a:cubicBezTo>
                    <a:pt x="256" y="262"/>
                    <a:pt x="235" y="168"/>
                    <a:pt x="179" y="91"/>
                  </a:cubicBezTo>
                  <a:cubicBezTo>
                    <a:pt x="144" y="44"/>
                    <a:pt x="93" y="0"/>
                    <a:pt x="42"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072" name="Google Shape;5072;p104"/>
            <p:cNvSpPr/>
            <p:nvPr/>
          </p:nvSpPr>
          <p:spPr>
            <a:xfrm>
              <a:off x="1481225" y="2421916"/>
              <a:ext cx="163" cy="869"/>
            </a:xfrm>
            <a:custGeom>
              <a:avLst/>
              <a:gdLst/>
              <a:ahLst/>
              <a:cxnLst/>
              <a:rect l="l" t="t" r="r" b="b"/>
              <a:pathLst>
                <a:path w="12" h="64" extrusionOk="0">
                  <a:moveTo>
                    <a:pt x="11" y="1"/>
                  </a:moveTo>
                  <a:lnTo>
                    <a:pt x="11" y="1"/>
                  </a:lnTo>
                  <a:cubicBezTo>
                    <a:pt x="8" y="15"/>
                    <a:pt x="1" y="25"/>
                    <a:pt x="1" y="39"/>
                  </a:cubicBezTo>
                  <a:cubicBezTo>
                    <a:pt x="1" y="46"/>
                    <a:pt x="1" y="53"/>
                    <a:pt x="4" y="64"/>
                  </a:cubicBezTo>
                  <a:lnTo>
                    <a:pt x="4" y="57"/>
                  </a:lnTo>
                  <a:cubicBezTo>
                    <a:pt x="4" y="36"/>
                    <a:pt x="8" y="18"/>
                    <a:pt x="11" y="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073" name="Google Shape;5073;p104"/>
            <p:cNvSpPr/>
            <p:nvPr/>
          </p:nvSpPr>
          <p:spPr>
            <a:xfrm>
              <a:off x="1543206" y="2219000"/>
              <a:ext cx="14" cy="204"/>
            </a:xfrm>
            <a:custGeom>
              <a:avLst/>
              <a:gdLst/>
              <a:ahLst/>
              <a:cxnLst/>
              <a:rect l="l" t="t" r="r" b="b"/>
              <a:pathLst>
                <a:path w="1" h="15" extrusionOk="0">
                  <a:moveTo>
                    <a:pt x="1" y="15"/>
                  </a:moveTo>
                  <a:lnTo>
                    <a:pt x="1" y="1"/>
                  </a:lnTo>
                  <a:lnTo>
                    <a:pt x="1"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074" name="Google Shape;5074;p104"/>
            <p:cNvSpPr/>
            <p:nvPr/>
          </p:nvSpPr>
          <p:spPr>
            <a:xfrm>
              <a:off x="1542351" y="2224132"/>
              <a:ext cx="68" cy="299"/>
            </a:xfrm>
            <a:custGeom>
              <a:avLst/>
              <a:gdLst/>
              <a:ahLst/>
              <a:cxnLst/>
              <a:rect l="l" t="t" r="r" b="b"/>
              <a:pathLst>
                <a:path w="5" h="22" extrusionOk="0">
                  <a:moveTo>
                    <a:pt x="4" y="1"/>
                  </a:moveTo>
                  <a:lnTo>
                    <a:pt x="1" y="22"/>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075" name="Google Shape;5075;p104"/>
            <p:cNvSpPr/>
            <p:nvPr/>
          </p:nvSpPr>
          <p:spPr>
            <a:xfrm>
              <a:off x="1542446" y="2223617"/>
              <a:ext cx="109" cy="434"/>
            </a:xfrm>
            <a:custGeom>
              <a:avLst/>
              <a:gdLst/>
              <a:ahLst/>
              <a:cxnLst/>
              <a:rect l="l" t="t" r="r" b="b"/>
              <a:pathLst>
                <a:path w="8" h="32" extrusionOk="0">
                  <a:moveTo>
                    <a:pt x="8" y="0"/>
                  </a:moveTo>
                  <a:cubicBezTo>
                    <a:pt x="4" y="11"/>
                    <a:pt x="1" y="21"/>
                    <a:pt x="1" y="32"/>
                  </a:cubicBezTo>
                  <a:cubicBezTo>
                    <a:pt x="1" y="21"/>
                    <a:pt x="4" y="11"/>
                    <a:pt x="8"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076" name="Google Shape;5076;p104"/>
            <p:cNvSpPr/>
            <p:nvPr/>
          </p:nvSpPr>
          <p:spPr>
            <a:xfrm>
              <a:off x="1542256" y="2224513"/>
              <a:ext cx="68" cy="204"/>
            </a:xfrm>
            <a:custGeom>
              <a:avLst/>
              <a:gdLst/>
              <a:ahLst/>
              <a:cxnLst/>
              <a:rect l="l" t="t" r="r" b="b"/>
              <a:pathLst>
                <a:path w="5" h="15" extrusionOk="0">
                  <a:moveTo>
                    <a:pt x="4" y="1"/>
                  </a:moveTo>
                  <a:lnTo>
                    <a:pt x="1" y="15"/>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077" name="Google Shape;5077;p104"/>
            <p:cNvSpPr/>
            <p:nvPr/>
          </p:nvSpPr>
          <p:spPr>
            <a:xfrm>
              <a:off x="1542066" y="2225137"/>
              <a:ext cx="68" cy="204"/>
            </a:xfrm>
            <a:custGeom>
              <a:avLst/>
              <a:gdLst/>
              <a:ahLst/>
              <a:cxnLst/>
              <a:rect l="l" t="t" r="r" b="b"/>
              <a:pathLst>
                <a:path w="5" h="15" extrusionOk="0">
                  <a:moveTo>
                    <a:pt x="4" y="0"/>
                  </a:moveTo>
                  <a:lnTo>
                    <a:pt x="1" y="14"/>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078" name="Google Shape;5078;p104"/>
            <p:cNvSpPr/>
            <p:nvPr/>
          </p:nvSpPr>
          <p:spPr>
            <a:xfrm>
              <a:off x="1532466" y="2238158"/>
              <a:ext cx="1874" cy="6381"/>
            </a:xfrm>
            <a:custGeom>
              <a:avLst/>
              <a:gdLst/>
              <a:ahLst/>
              <a:cxnLst/>
              <a:rect l="l" t="t" r="r" b="b"/>
              <a:pathLst>
                <a:path w="138" h="470" extrusionOk="0">
                  <a:moveTo>
                    <a:pt x="74" y="256"/>
                  </a:moveTo>
                  <a:cubicBezTo>
                    <a:pt x="106" y="323"/>
                    <a:pt x="127" y="396"/>
                    <a:pt x="137" y="470"/>
                  </a:cubicBezTo>
                  <a:cubicBezTo>
                    <a:pt x="127" y="396"/>
                    <a:pt x="106" y="323"/>
                    <a:pt x="74" y="256"/>
                  </a:cubicBezTo>
                  <a:cubicBezTo>
                    <a:pt x="36" y="162"/>
                    <a:pt x="1" y="67"/>
                    <a:pt x="18" y="1"/>
                  </a:cubicBezTo>
                  <a:cubicBezTo>
                    <a:pt x="1" y="67"/>
                    <a:pt x="36" y="162"/>
                    <a:pt x="74" y="256"/>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079" name="Google Shape;5079;p104"/>
            <p:cNvSpPr/>
            <p:nvPr/>
          </p:nvSpPr>
          <p:spPr>
            <a:xfrm>
              <a:off x="1542161" y="2224893"/>
              <a:ext cx="68" cy="163"/>
            </a:xfrm>
            <a:custGeom>
              <a:avLst/>
              <a:gdLst/>
              <a:ahLst/>
              <a:cxnLst/>
              <a:rect l="l" t="t" r="r" b="b"/>
              <a:pathLst>
                <a:path w="5" h="12" extrusionOk="0">
                  <a:moveTo>
                    <a:pt x="4" y="1"/>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080" name="Google Shape;5080;p104"/>
            <p:cNvSpPr/>
            <p:nvPr/>
          </p:nvSpPr>
          <p:spPr>
            <a:xfrm>
              <a:off x="1543016" y="2220141"/>
              <a:ext cx="68" cy="584"/>
            </a:xfrm>
            <a:custGeom>
              <a:avLst/>
              <a:gdLst/>
              <a:ahLst/>
              <a:cxnLst/>
              <a:rect l="l" t="t" r="r" b="b"/>
              <a:pathLst>
                <a:path w="5" h="43" extrusionOk="0">
                  <a:moveTo>
                    <a:pt x="4" y="1"/>
                  </a:moveTo>
                  <a:cubicBezTo>
                    <a:pt x="4" y="15"/>
                    <a:pt x="1" y="29"/>
                    <a:pt x="1" y="43"/>
                  </a:cubicBezTo>
                  <a:cubicBezTo>
                    <a:pt x="1" y="29"/>
                    <a:pt x="4" y="15"/>
                    <a:pt x="4" y="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081" name="Google Shape;5081;p104"/>
            <p:cNvSpPr/>
            <p:nvPr/>
          </p:nvSpPr>
          <p:spPr>
            <a:xfrm>
              <a:off x="1531611" y="2504576"/>
              <a:ext cx="204" cy="299"/>
            </a:xfrm>
            <a:custGeom>
              <a:avLst/>
              <a:gdLst/>
              <a:ahLst/>
              <a:cxnLst/>
              <a:rect l="l" t="t" r="r" b="b"/>
              <a:pathLst>
                <a:path w="15" h="22" extrusionOk="0">
                  <a:moveTo>
                    <a:pt x="15" y="22"/>
                  </a:moveTo>
                  <a:cubicBezTo>
                    <a:pt x="8" y="15"/>
                    <a:pt x="4" y="8"/>
                    <a:pt x="1" y="1"/>
                  </a:cubicBezTo>
                  <a:cubicBezTo>
                    <a:pt x="4" y="8"/>
                    <a:pt x="8" y="15"/>
                    <a:pt x="15" y="22"/>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082" name="Google Shape;5082;p104"/>
            <p:cNvSpPr/>
            <p:nvPr/>
          </p:nvSpPr>
          <p:spPr>
            <a:xfrm>
              <a:off x="1508556" y="2474447"/>
              <a:ext cx="1059" cy="149"/>
            </a:xfrm>
            <a:custGeom>
              <a:avLst/>
              <a:gdLst/>
              <a:ahLst/>
              <a:cxnLst/>
              <a:rect l="l" t="t" r="r" b="b"/>
              <a:pathLst>
                <a:path w="78" h="11" extrusionOk="0">
                  <a:moveTo>
                    <a:pt x="78" y="7"/>
                  </a:moveTo>
                  <a:lnTo>
                    <a:pt x="78" y="7"/>
                  </a:lnTo>
                  <a:cubicBezTo>
                    <a:pt x="53" y="11"/>
                    <a:pt x="25" y="7"/>
                    <a:pt x="1" y="0"/>
                  </a:cubicBezTo>
                  <a:cubicBezTo>
                    <a:pt x="25" y="7"/>
                    <a:pt x="53" y="11"/>
                    <a:pt x="78" y="7"/>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083" name="Google Shape;5083;p104"/>
            <p:cNvSpPr/>
            <p:nvPr/>
          </p:nvSpPr>
          <p:spPr>
            <a:xfrm>
              <a:off x="1542921" y="2220955"/>
              <a:ext cx="68" cy="339"/>
            </a:xfrm>
            <a:custGeom>
              <a:avLst/>
              <a:gdLst/>
              <a:ahLst/>
              <a:cxnLst/>
              <a:rect l="l" t="t" r="r" b="b"/>
              <a:pathLst>
                <a:path w="5" h="25" extrusionOk="0">
                  <a:moveTo>
                    <a:pt x="4" y="0"/>
                  </a:moveTo>
                  <a:lnTo>
                    <a:pt x="1" y="25"/>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084" name="Google Shape;5084;p104"/>
            <p:cNvSpPr/>
            <p:nvPr/>
          </p:nvSpPr>
          <p:spPr>
            <a:xfrm>
              <a:off x="1532996" y="2505105"/>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085" name="Google Shape;5085;p104"/>
            <p:cNvSpPr/>
            <p:nvPr/>
          </p:nvSpPr>
          <p:spPr>
            <a:xfrm>
              <a:off x="1542826" y="2221566"/>
              <a:ext cx="68" cy="299"/>
            </a:xfrm>
            <a:custGeom>
              <a:avLst/>
              <a:gdLst/>
              <a:ahLst/>
              <a:cxnLst/>
              <a:rect l="l" t="t" r="r" b="b"/>
              <a:pathLst>
                <a:path w="5" h="22" extrusionOk="0">
                  <a:moveTo>
                    <a:pt x="4" y="1"/>
                  </a:moveTo>
                  <a:lnTo>
                    <a:pt x="1" y="22"/>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086" name="Google Shape;5086;p104"/>
            <p:cNvSpPr/>
            <p:nvPr/>
          </p:nvSpPr>
          <p:spPr>
            <a:xfrm>
              <a:off x="1540830" y="2504861"/>
              <a:ext cx="638" cy="68"/>
            </a:xfrm>
            <a:custGeom>
              <a:avLst/>
              <a:gdLst/>
              <a:ahLst/>
              <a:cxnLst/>
              <a:rect l="l" t="t" r="r" b="b"/>
              <a:pathLst>
                <a:path w="47" h="5" extrusionOk="0">
                  <a:moveTo>
                    <a:pt x="1" y="1"/>
                  </a:moveTo>
                  <a:lnTo>
                    <a:pt x="46" y="4"/>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087" name="Google Shape;5087;p104"/>
            <p:cNvSpPr/>
            <p:nvPr/>
          </p:nvSpPr>
          <p:spPr>
            <a:xfrm>
              <a:off x="1543111" y="2219530"/>
              <a:ext cx="68" cy="299"/>
            </a:xfrm>
            <a:custGeom>
              <a:avLst/>
              <a:gdLst/>
              <a:ahLst/>
              <a:cxnLst/>
              <a:rect l="l" t="t" r="r" b="b"/>
              <a:pathLst>
                <a:path w="5" h="22" extrusionOk="0">
                  <a:moveTo>
                    <a:pt x="4" y="0"/>
                  </a:moveTo>
                  <a:lnTo>
                    <a:pt x="1" y="2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088" name="Google Shape;5088;p104"/>
            <p:cNvSpPr/>
            <p:nvPr/>
          </p:nvSpPr>
          <p:spPr>
            <a:xfrm>
              <a:off x="1508516" y="2416173"/>
              <a:ext cx="149" cy="1059"/>
            </a:xfrm>
            <a:custGeom>
              <a:avLst/>
              <a:gdLst/>
              <a:ahLst/>
              <a:cxnLst/>
              <a:rect l="l" t="t" r="r" b="b"/>
              <a:pathLst>
                <a:path w="11" h="78" extrusionOk="0">
                  <a:moveTo>
                    <a:pt x="0" y="77"/>
                  </a:moveTo>
                  <a:cubicBezTo>
                    <a:pt x="0" y="49"/>
                    <a:pt x="4" y="25"/>
                    <a:pt x="11" y="0"/>
                  </a:cubicBezTo>
                  <a:cubicBezTo>
                    <a:pt x="4" y="25"/>
                    <a:pt x="0" y="49"/>
                    <a:pt x="0" y="77"/>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089" name="Google Shape;5089;p104"/>
            <p:cNvSpPr/>
            <p:nvPr/>
          </p:nvSpPr>
          <p:spPr>
            <a:xfrm>
              <a:off x="1512738" y="2402867"/>
              <a:ext cx="68" cy="244"/>
            </a:xfrm>
            <a:custGeom>
              <a:avLst/>
              <a:gdLst/>
              <a:ahLst/>
              <a:cxnLst/>
              <a:rect l="l" t="t" r="r" b="b"/>
              <a:pathLst>
                <a:path w="5" h="18" extrusionOk="0">
                  <a:moveTo>
                    <a:pt x="1" y="18"/>
                  </a:moveTo>
                  <a:lnTo>
                    <a:pt x="1" y="18"/>
                  </a:lnTo>
                  <a:cubicBezTo>
                    <a:pt x="4" y="11"/>
                    <a:pt x="4" y="7"/>
                    <a:pt x="4" y="0"/>
                  </a:cubicBezTo>
                  <a:cubicBezTo>
                    <a:pt x="4" y="7"/>
                    <a:pt x="4" y="11"/>
                    <a:pt x="1" y="18"/>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090" name="Google Shape;5090;p104"/>
            <p:cNvSpPr/>
            <p:nvPr/>
          </p:nvSpPr>
          <p:spPr>
            <a:xfrm>
              <a:off x="1507660" y="2400396"/>
              <a:ext cx="3910" cy="1724"/>
            </a:xfrm>
            <a:custGeom>
              <a:avLst/>
              <a:gdLst/>
              <a:ahLst/>
              <a:cxnLst/>
              <a:rect l="l" t="t" r="r" b="b"/>
              <a:pathLst>
                <a:path w="288" h="127" extrusionOk="0">
                  <a:moveTo>
                    <a:pt x="287" y="91"/>
                  </a:moveTo>
                  <a:cubicBezTo>
                    <a:pt x="168" y="126"/>
                    <a:pt x="56" y="91"/>
                    <a:pt x="0" y="0"/>
                  </a:cubicBezTo>
                  <a:cubicBezTo>
                    <a:pt x="56" y="91"/>
                    <a:pt x="168" y="126"/>
                    <a:pt x="287" y="9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091" name="Google Shape;5091;p104"/>
            <p:cNvSpPr/>
            <p:nvPr/>
          </p:nvSpPr>
          <p:spPr>
            <a:xfrm>
              <a:off x="1542541" y="2223141"/>
              <a:ext cx="109" cy="339"/>
            </a:xfrm>
            <a:custGeom>
              <a:avLst/>
              <a:gdLst/>
              <a:ahLst/>
              <a:cxnLst/>
              <a:rect l="l" t="t" r="r" b="b"/>
              <a:pathLst>
                <a:path w="8" h="25" extrusionOk="0">
                  <a:moveTo>
                    <a:pt x="8" y="0"/>
                  </a:moveTo>
                  <a:lnTo>
                    <a:pt x="1" y="25"/>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092" name="Google Shape;5092;p104"/>
            <p:cNvSpPr/>
            <p:nvPr/>
          </p:nvSpPr>
          <p:spPr>
            <a:xfrm>
              <a:off x="1542785" y="2222137"/>
              <a:ext cx="54" cy="299"/>
            </a:xfrm>
            <a:custGeom>
              <a:avLst/>
              <a:gdLst/>
              <a:ahLst/>
              <a:cxnLst/>
              <a:rect l="l" t="t" r="r" b="b"/>
              <a:pathLst>
                <a:path w="4" h="22" extrusionOk="0">
                  <a:moveTo>
                    <a:pt x="4" y="1"/>
                  </a:moveTo>
                  <a:lnTo>
                    <a:pt x="0" y="22"/>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093" name="Google Shape;5093;p104"/>
            <p:cNvSpPr/>
            <p:nvPr/>
          </p:nvSpPr>
          <p:spPr>
            <a:xfrm>
              <a:off x="1541590" y="2504915"/>
              <a:ext cx="448" cy="54"/>
            </a:xfrm>
            <a:custGeom>
              <a:avLst/>
              <a:gdLst/>
              <a:ahLst/>
              <a:cxnLst/>
              <a:rect l="l" t="t" r="r" b="b"/>
              <a:pathLst>
                <a:path w="33" h="4" extrusionOk="0">
                  <a:moveTo>
                    <a:pt x="1" y="0"/>
                  </a:moveTo>
                  <a:lnTo>
                    <a:pt x="32" y="4"/>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094" name="Google Shape;5094;p104"/>
            <p:cNvSpPr/>
            <p:nvPr/>
          </p:nvSpPr>
          <p:spPr>
            <a:xfrm>
              <a:off x="1542636" y="2222666"/>
              <a:ext cx="109" cy="299"/>
            </a:xfrm>
            <a:custGeom>
              <a:avLst/>
              <a:gdLst/>
              <a:ahLst/>
              <a:cxnLst/>
              <a:rect l="l" t="t" r="r" b="b"/>
              <a:pathLst>
                <a:path w="8" h="22" extrusionOk="0">
                  <a:moveTo>
                    <a:pt x="8" y="0"/>
                  </a:moveTo>
                  <a:lnTo>
                    <a:pt x="1" y="2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095" name="Google Shape;5095;p104"/>
            <p:cNvSpPr/>
            <p:nvPr/>
          </p:nvSpPr>
          <p:spPr>
            <a:xfrm>
              <a:off x="1514978" y="2347728"/>
              <a:ext cx="204" cy="1195"/>
            </a:xfrm>
            <a:custGeom>
              <a:avLst/>
              <a:gdLst/>
              <a:ahLst/>
              <a:cxnLst/>
              <a:rect l="l" t="t" r="r" b="b"/>
              <a:pathLst>
                <a:path w="15" h="88" extrusionOk="0">
                  <a:moveTo>
                    <a:pt x="7" y="88"/>
                  </a:moveTo>
                  <a:cubicBezTo>
                    <a:pt x="14" y="60"/>
                    <a:pt x="14" y="28"/>
                    <a:pt x="0" y="0"/>
                  </a:cubicBezTo>
                  <a:cubicBezTo>
                    <a:pt x="14" y="28"/>
                    <a:pt x="14" y="60"/>
                    <a:pt x="7" y="88"/>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096" name="Google Shape;5096;p104"/>
            <p:cNvSpPr/>
            <p:nvPr/>
          </p:nvSpPr>
          <p:spPr>
            <a:xfrm>
              <a:off x="1530620" y="2480530"/>
              <a:ext cx="1005" cy="24059"/>
            </a:xfrm>
            <a:custGeom>
              <a:avLst/>
              <a:gdLst/>
              <a:ahLst/>
              <a:cxnLst/>
              <a:rect l="l" t="t" r="r" b="b"/>
              <a:pathLst>
                <a:path w="74" h="1772" extrusionOk="0">
                  <a:moveTo>
                    <a:pt x="74" y="1772"/>
                  </a:moveTo>
                  <a:cubicBezTo>
                    <a:pt x="25" y="1681"/>
                    <a:pt x="0" y="1338"/>
                    <a:pt x="63" y="0"/>
                  </a:cubicBezTo>
                  <a:lnTo>
                    <a:pt x="63" y="0"/>
                  </a:lnTo>
                  <a:cubicBezTo>
                    <a:pt x="0" y="1338"/>
                    <a:pt x="25" y="1681"/>
                    <a:pt x="74" y="1772"/>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097" name="Google Shape;5097;p104"/>
            <p:cNvSpPr/>
            <p:nvPr/>
          </p:nvSpPr>
          <p:spPr>
            <a:xfrm>
              <a:off x="1523858" y="2474868"/>
              <a:ext cx="109" cy="68"/>
            </a:xfrm>
            <a:custGeom>
              <a:avLst/>
              <a:gdLst/>
              <a:ahLst/>
              <a:cxnLst/>
              <a:rect l="l" t="t" r="r" b="b"/>
              <a:pathLst>
                <a:path w="8" h="5" extrusionOk="0">
                  <a:moveTo>
                    <a:pt x="1" y="1"/>
                  </a:moveTo>
                  <a:lnTo>
                    <a:pt x="8" y="4"/>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098" name="Google Shape;5098;p104"/>
            <p:cNvSpPr/>
            <p:nvPr/>
          </p:nvSpPr>
          <p:spPr>
            <a:xfrm>
              <a:off x="1525243" y="2475724"/>
              <a:ext cx="68" cy="68"/>
            </a:xfrm>
            <a:custGeom>
              <a:avLst/>
              <a:gdLst/>
              <a:ahLst/>
              <a:cxnLst/>
              <a:rect l="l" t="t" r="r" b="b"/>
              <a:pathLst>
                <a:path w="5" h="5" extrusionOk="0">
                  <a:moveTo>
                    <a:pt x="4" y="4"/>
                  </a:moveTo>
                  <a:lnTo>
                    <a:pt x="1"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099" name="Google Shape;5099;p104"/>
            <p:cNvSpPr/>
            <p:nvPr/>
          </p:nvSpPr>
          <p:spPr>
            <a:xfrm>
              <a:off x="1524483" y="2475248"/>
              <a:ext cx="163" cy="109"/>
            </a:xfrm>
            <a:custGeom>
              <a:avLst/>
              <a:gdLst/>
              <a:ahLst/>
              <a:cxnLst/>
              <a:rect l="l" t="t" r="r" b="b"/>
              <a:pathLst>
                <a:path w="12" h="8" extrusionOk="0">
                  <a:moveTo>
                    <a:pt x="1" y="1"/>
                  </a:moveTo>
                  <a:lnTo>
                    <a:pt x="11" y="8"/>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100" name="Google Shape;5100;p104"/>
            <p:cNvSpPr/>
            <p:nvPr/>
          </p:nvSpPr>
          <p:spPr>
            <a:xfrm>
              <a:off x="1523057" y="2474488"/>
              <a:ext cx="149" cy="109"/>
            </a:xfrm>
            <a:custGeom>
              <a:avLst/>
              <a:gdLst/>
              <a:ahLst/>
              <a:cxnLst/>
              <a:rect l="l" t="t" r="r" b="b"/>
              <a:pathLst>
                <a:path w="11" h="8" extrusionOk="0">
                  <a:moveTo>
                    <a:pt x="0" y="1"/>
                  </a:moveTo>
                  <a:lnTo>
                    <a:pt x="11" y="8"/>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101" name="Google Shape;5101;p104"/>
            <p:cNvSpPr/>
            <p:nvPr/>
          </p:nvSpPr>
          <p:spPr>
            <a:xfrm>
              <a:off x="1495386" y="2453008"/>
              <a:ext cx="1208" cy="2539"/>
            </a:xfrm>
            <a:custGeom>
              <a:avLst/>
              <a:gdLst/>
              <a:ahLst/>
              <a:cxnLst/>
              <a:rect l="l" t="t" r="r" b="b"/>
              <a:pathLst>
                <a:path w="89" h="187" extrusionOk="0">
                  <a:moveTo>
                    <a:pt x="1" y="0"/>
                  </a:moveTo>
                  <a:cubicBezTo>
                    <a:pt x="11" y="70"/>
                    <a:pt x="40" y="134"/>
                    <a:pt x="89" y="186"/>
                  </a:cubicBezTo>
                  <a:cubicBezTo>
                    <a:pt x="40" y="134"/>
                    <a:pt x="11" y="70"/>
                    <a:pt x="1"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102" name="Google Shape;5102;p104"/>
            <p:cNvSpPr/>
            <p:nvPr/>
          </p:nvSpPr>
          <p:spPr>
            <a:xfrm>
              <a:off x="1542215" y="2504956"/>
              <a:ext cx="339" cy="68"/>
            </a:xfrm>
            <a:custGeom>
              <a:avLst/>
              <a:gdLst/>
              <a:ahLst/>
              <a:cxnLst/>
              <a:rect l="l" t="t" r="r" b="b"/>
              <a:pathLst>
                <a:path w="25" h="5" extrusionOk="0">
                  <a:moveTo>
                    <a:pt x="0" y="1"/>
                  </a:moveTo>
                  <a:lnTo>
                    <a:pt x="25" y="4"/>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103" name="Google Shape;5103;p104"/>
            <p:cNvSpPr/>
            <p:nvPr/>
          </p:nvSpPr>
          <p:spPr>
            <a:xfrm>
              <a:off x="1531801" y="2504861"/>
              <a:ext cx="543" cy="258"/>
            </a:xfrm>
            <a:custGeom>
              <a:avLst/>
              <a:gdLst/>
              <a:ahLst/>
              <a:cxnLst/>
              <a:rect l="l" t="t" r="r" b="b"/>
              <a:pathLst>
                <a:path w="40" h="19" extrusionOk="0">
                  <a:moveTo>
                    <a:pt x="1" y="1"/>
                  </a:moveTo>
                  <a:cubicBezTo>
                    <a:pt x="11" y="11"/>
                    <a:pt x="25" y="15"/>
                    <a:pt x="39" y="18"/>
                  </a:cubicBezTo>
                  <a:cubicBezTo>
                    <a:pt x="25" y="15"/>
                    <a:pt x="11" y="11"/>
                    <a:pt x="1" y="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104" name="Google Shape;5104;p104"/>
            <p:cNvSpPr/>
            <p:nvPr/>
          </p:nvSpPr>
          <p:spPr>
            <a:xfrm>
              <a:off x="1532466" y="2505105"/>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105" name="Google Shape;5105;p104"/>
            <p:cNvSpPr/>
            <p:nvPr/>
          </p:nvSpPr>
          <p:spPr>
            <a:xfrm>
              <a:off x="1532656" y="2505105"/>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106" name="Google Shape;5106;p104"/>
            <p:cNvSpPr/>
            <p:nvPr/>
          </p:nvSpPr>
          <p:spPr>
            <a:xfrm>
              <a:off x="1542785" y="2505105"/>
              <a:ext cx="109" cy="14"/>
            </a:xfrm>
            <a:custGeom>
              <a:avLst/>
              <a:gdLst/>
              <a:ahLst/>
              <a:cxnLst/>
              <a:rect l="l" t="t" r="r" b="b"/>
              <a:pathLst>
                <a:path w="8" h="1" extrusionOk="0">
                  <a:moveTo>
                    <a:pt x="7"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107" name="Google Shape;5107;p104"/>
            <p:cNvSpPr/>
            <p:nvPr/>
          </p:nvSpPr>
          <p:spPr>
            <a:xfrm>
              <a:off x="1522297" y="2306412"/>
              <a:ext cx="625" cy="3014"/>
            </a:xfrm>
            <a:custGeom>
              <a:avLst/>
              <a:gdLst/>
              <a:ahLst/>
              <a:cxnLst/>
              <a:rect l="l" t="t" r="r" b="b"/>
              <a:pathLst>
                <a:path w="46" h="222" extrusionOk="0">
                  <a:moveTo>
                    <a:pt x="46" y="1"/>
                  </a:moveTo>
                  <a:cubicBezTo>
                    <a:pt x="25" y="71"/>
                    <a:pt x="7" y="144"/>
                    <a:pt x="0" y="221"/>
                  </a:cubicBezTo>
                  <a:cubicBezTo>
                    <a:pt x="7" y="144"/>
                    <a:pt x="25" y="71"/>
                    <a:pt x="46" y="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108" name="Google Shape;5108;p104"/>
            <p:cNvSpPr/>
            <p:nvPr/>
          </p:nvSpPr>
          <p:spPr>
            <a:xfrm>
              <a:off x="1541930" y="2225368"/>
              <a:ext cx="109" cy="204"/>
            </a:xfrm>
            <a:custGeom>
              <a:avLst/>
              <a:gdLst/>
              <a:ahLst/>
              <a:cxnLst/>
              <a:rect l="l" t="t" r="r" b="b"/>
              <a:pathLst>
                <a:path w="8" h="15" extrusionOk="0">
                  <a:moveTo>
                    <a:pt x="7" y="1"/>
                  </a:moveTo>
                  <a:cubicBezTo>
                    <a:pt x="4" y="4"/>
                    <a:pt x="4" y="11"/>
                    <a:pt x="0" y="15"/>
                  </a:cubicBezTo>
                  <a:cubicBezTo>
                    <a:pt x="4" y="11"/>
                    <a:pt x="4" y="4"/>
                    <a:pt x="7" y="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109" name="Google Shape;5109;p104"/>
            <p:cNvSpPr/>
            <p:nvPr/>
          </p:nvSpPr>
          <p:spPr>
            <a:xfrm>
              <a:off x="1538223" y="2504834"/>
              <a:ext cx="2620" cy="41"/>
            </a:xfrm>
            <a:custGeom>
              <a:avLst/>
              <a:gdLst/>
              <a:ahLst/>
              <a:cxnLst/>
              <a:rect l="l" t="t" r="r" b="b"/>
              <a:pathLst>
                <a:path w="193" h="3" extrusionOk="0">
                  <a:moveTo>
                    <a:pt x="97" y="0"/>
                  </a:moveTo>
                  <a:cubicBezTo>
                    <a:pt x="64" y="0"/>
                    <a:pt x="32" y="1"/>
                    <a:pt x="0" y="3"/>
                  </a:cubicBezTo>
                  <a:lnTo>
                    <a:pt x="193" y="3"/>
                  </a:lnTo>
                  <a:cubicBezTo>
                    <a:pt x="161" y="1"/>
                    <a:pt x="129" y="0"/>
                    <a:pt x="97"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110" name="Google Shape;5110;p104"/>
            <p:cNvSpPr/>
            <p:nvPr/>
          </p:nvSpPr>
          <p:spPr>
            <a:xfrm>
              <a:off x="1518495" y="2283982"/>
              <a:ext cx="815" cy="434"/>
            </a:xfrm>
            <a:custGeom>
              <a:avLst/>
              <a:gdLst/>
              <a:ahLst/>
              <a:cxnLst/>
              <a:rect l="l" t="t" r="r" b="b"/>
              <a:pathLst>
                <a:path w="60" h="32" extrusionOk="0">
                  <a:moveTo>
                    <a:pt x="60" y="0"/>
                  </a:moveTo>
                  <a:cubicBezTo>
                    <a:pt x="39" y="4"/>
                    <a:pt x="14" y="14"/>
                    <a:pt x="0" y="32"/>
                  </a:cubicBezTo>
                  <a:cubicBezTo>
                    <a:pt x="14" y="14"/>
                    <a:pt x="39" y="4"/>
                    <a:pt x="60"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111" name="Google Shape;5111;p104"/>
            <p:cNvSpPr/>
            <p:nvPr/>
          </p:nvSpPr>
          <p:spPr>
            <a:xfrm>
              <a:off x="1578290" y="2191723"/>
              <a:ext cx="61669" cy="63298"/>
            </a:xfrm>
            <a:custGeom>
              <a:avLst/>
              <a:gdLst/>
              <a:ahLst/>
              <a:cxnLst/>
              <a:rect l="l" t="t" r="r" b="b"/>
              <a:pathLst>
                <a:path w="4542" h="4662" extrusionOk="0">
                  <a:moveTo>
                    <a:pt x="1803" y="0"/>
                  </a:moveTo>
                  <a:cubicBezTo>
                    <a:pt x="1628" y="0"/>
                    <a:pt x="1453" y="0"/>
                    <a:pt x="1334" y="60"/>
                  </a:cubicBezTo>
                  <a:cubicBezTo>
                    <a:pt x="1250" y="105"/>
                    <a:pt x="1142" y="105"/>
                    <a:pt x="1030" y="105"/>
                  </a:cubicBezTo>
                  <a:cubicBezTo>
                    <a:pt x="900" y="105"/>
                    <a:pt x="771" y="105"/>
                    <a:pt x="680" y="168"/>
                  </a:cubicBezTo>
                  <a:cubicBezTo>
                    <a:pt x="473" y="305"/>
                    <a:pt x="277" y="560"/>
                    <a:pt x="284" y="623"/>
                  </a:cubicBezTo>
                  <a:cubicBezTo>
                    <a:pt x="291" y="683"/>
                    <a:pt x="249" y="1478"/>
                    <a:pt x="77" y="1534"/>
                  </a:cubicBezTo>
                  <a:cubicBezTo>
                    <a:pt x="74" y="1537"/>
                    <a:pt x="67" y="1537"/>
                    <a:pt x="60" y="1541"/>
                  </a:cubicBezTo>
                  <a:lnTo>
                    <a:pt x="0" y="1541"/>
                  </a:lnTo>
                  <a:lnTo>
                    <a:pt x="11" y="1555"/>
                  </a:lnTo>
                  <a:lnTo>
                    <a:pt x="25" y="1572"/>
                  </a:lnTo>
                  <a:lnTo>
                    <a:pt x="49" y="1604"/>
                  </a:lnTo>
                  <a:lnTo>
                    <a:pt x="60" y="1618"/>
                  </a:lnTo>
                  <a:lnTo>
                    <a:pt x="102" y="1667"/>
                  </a:lnTo>
                  <a:lnTo>
                    <a:pt x="144" y="1716"/>
                  </a:lnTo>
                  <a:lnTo>
                    <a:pt x="158" y="1730"/>
                  </a:lnTo>
                  <a:lnTo>
                    <a:pt x="190" y="1768"/>
                  </a:lnTo>
                  <a:lnTo>
                    <a:pt x="207" y="1786"/>
                  </a:lnTo>
                  <a:lnTo>
                    <a:pt x="239" y="1817"/>
                  </a:lnTo>
                  <a:lnTo>
                    <a:pt x="256" y="1835"/>
                  </a:lnTo>
                  <a:lnTo>
                    <a:pt x="291" y="1870"/>
                  </a:lnTo>
                  <a:lnTo>
                    <a:pt x="305" y="1887"/>
                  </a:lnTo>
                  <a:lnTo>
                    <a:pt x="344" y="1926"/>
                  </a:lnTo>
                  <a:lnTo>
                    <a:pt x="354" y="1936"/>
                  </a:lnTo>
                  <a:lnTo>
                    <a:pt x="407" y="1982"/>
                  </a:lnTo>
                  <a:lnTo>
                    <a:pt x="417" y="1992"/>
                  </a:lnTo>
                  <a:lnTo>
                    <a:pt x="456" y="2027"/>
                  </a:lnTo>
                  <a:lnTo>
                    <a:pt x="473" y="2041"/>
                  </a:lnTo>
                  <a:lnTo>
                    <a:pt x="505" y="2069"/>
                  </a:lnTo>
                  <a:lnTo>
                    <a:pt x="526" y="2083"/>
                  </a:lnTo>
                  <a:lnTo>
                    <a:pt x="554" y="2108"/>
                  </a:lnTo>
                  <a:lnTo>
                    <a:pt x="571" y="2122"/>
                  </a:lnTo>
                  <a:lnTo>
                    <a:pt x="606" y="2146"/>
                  </a:lnTo>
                  <a:lnTo>
                    <a:pt x="620" y="2157"/>
                  </a:lnTo>
                  <a:cubicBezTo>
                    <a:pt x="634" y="2167"/>
                    <a:pt x="648" y="2174"/>
                    <a:pt x="662" y="2185"/>
                  </a:cubicBezTo>
                  <a:cubicBezTo>
                    <a:pt x="757" y="2241"/>
                    <a:pt x="841" y="2307"/>
                    <a:pt x="914" y="2388"/>
                  </a:cubicBezTo>
                  <a:cubicBezTo>
                    <a:pt x="1002" y="2475"/>
                    <a:pt x="1061" y="2535"/>
                    <a:pt x="1243" y="2552"/>
                  </a:cubicBezTo>
                  <a:cubicBezTo>
                    <a:pt x="1618" y="2591"/>
                    <a:pt x="1789" y="2752"/>
                    <a:pt x="1894" y="2889"/>
                  </a:cubicBezTo>
                  <a:cubicBezTo>
                    <a:pt x="1943" y="2952"/>
                    <a:pt x="2220" y="3064"/>
                    <a:pt x="2420" y="3144"/>
                  </a:cubicBezTo>
                  <a:cubicBezTo>
                    <a:pt x="2745" y="3277"/>
                    <a:pt x="2882" y="3337"/>
                    <a:pt x="2920" y="3407"/>
                  </a:cubicBezTo>
                  <a:cubicBezTo>
                    <a:pt x="2973" y="3498"/>
                    <a:pt x="2885" y="3603"/>
                    <a:pt x="2763" y="3743"/>
                  </a:cubicBezTo>
                  <a:cubicBezTo>
                    <a:pt x="2647" y="3872"/>
                    <a:pt x="2504" y="4040"/>
                    <a:pt x="2504" y="4180"/>
                  </a:cubicBezTo>
                  <a:cubicBezTo>
                    <a:pt x="2504" y="4397"/>
                    <a:pt x="2409" y="4471"/>
                    <a:pt x="2350" y="4516"/>
                  </a:cubicBezTo>
                  <a:lnTo>
                    <a:pt x="2336" y="4527"/>
                  </a:lnTo>
                  <a:cubicBezTo>
                    <a:pt x="2388" y="4534"/>
                    <a:pt x="2437" y="4537"/>
                    <a:pt x="2486" y="4541"/>
                  </a:cubicBezTo>
                  <a:cubicBezTo>
                    <a:pt x="2605" y="4544"/>
                    <a:pt x="2724" y="4551"/>
                    <a:pt x="2801" y="4600"/>
                  </a:cubicBezTo>
                  <a:cubicBezTo>
                    <a:pt x="2826" y="4614"/>
                    <a:pt x="2857" y="4618"/>
                    <a:pt x="2885" y="4618"/>
                  </a:cubicBezTo>
                  <a:cubicBezTo>
                    <a:pt x="2924" y="4618"/>
                    <a:pt x="2959" y="4614"/>
                    <a:pt x="2997" y="4611"/>
                  </a:cubicBezTo>
                  <a:lnTo>
                    <a:pt x="3050" y="4604"/>
                  </a:lnTo>
                  <a:lnTo>
                    <a:pt x="3064" y="4604"/>
                  </a:lnTo>
                  <a:cubicBezTo>
                    <a:pt x="3085" y="4604"/>
                    <a:pt x="3106" y="4600"/>
                    <a:pt x="3123" y="4600"/>
                  </a:cubicBezTo>
                  <a:lnTo>
                    <a:pt x="3162" y="4600"/>
                  </a:lnTo>
                  <a:cubicBezTo>
                    <a:pt x="3176" y="4600"/>
                    <a:pt x="3190" y="4600"/>
                    <a:pt x="3200" y="4604"/>
                  </a:cubicBezTo>
                  <a:cubicBezTo>
                    <a:pt x="3214" y="4607"/>
                    <a:pt x="3225" y="4611"/>
                    <a:pt x="3239" y="4614"/>
                  </a:cubicBezTo>
                  <a:lnTo>
                    <a:pt x="3246" y="4614"/>
                  </a:lnTo>
                  <a:cubicBezTo>
                    <a:pt x="3256" y="4618"/>
                    <a:pt x="3270" y="4621"/>
                    <a:pt x="3281" y="4625"/>
                  </a:cubicBezTo>
                  <a:lnTo>
                    <a:pt x="3288" y="4628"/>
                  </a:lnTo>
                  <a:cubicBezTo>
                    <a:pt x="3298" y="4632"/>
                    <a:pt x="3312" y="4639"/>
                    <a:pt x="3323" y="4646"/>
                  </a:cubicBezTo>
                  <a:cubicBezTo>
                    <a:pt x="3341" y="4657"/>
                    <a:pt x="3360" y="4662"/>
                    <a:pt x="3380" y="4662"/>
                  </a:cubicBezTo>
                  <a:cubicBezTo>
                    <a:pt x="3425" y="4662"/>
                    <a:pt x="3477" y="4638"/>
                    <a:pt x="3547" y="4604"/>
                  </a:cubicBezTo>
                  <a:cubicBezTo>
                    <a:pt x="3611" y="4569"/>
                    <a:pt x="3675" y="4537"/>
                    <a:pt x="3741" y="4537"/>
                  </a:cubicBezTo>
                  <a:cubicBezTo>
                    <a:pt x="3754" y="4537"/>
                    <a:pt x="3768" y="4538"/>
                    <a:pt x="3781" y="4541"/>
                  </a:cubicBezTo>
                  <a:cubicBezTo>
                    <a:pt x="3784" y="4541"/>
                    <a:pt x="3786" y="4542"/>
                    <a:pt x="3788" y="4542"/>
                  </a:cubicBezTo>
                  <a:cubicBezTo>
                    <a:pt x="3821" y="4542"/>
                    <a:pt x="3873" y="4499"/>
                    <a:pt x="3921" y="4457"/>
                  </a:cubicBezTo>
                  <a:cubicBezTo>
                    <a:pt x="3988" y="4401"/>
                    <a:pt x="4065" y="4334"/>
                    <a:pt x="4159" y="4327"/>
                  </a:cubicBezTo>
                  <a:lnTo>
                    <a:pt x="4198" y="4327"/>
                  </a:lnTo>
                  <a:cubicBezTo>
                    <a:pt x="4208" y="4324"/>
                    <a:pt x="4219" y="4317"/>
                    <a:pt x="4226" y="4310"/>
                  </a:cubicBezTo>
                  <a:cubicBezTo>
                    <a:pt x="4338" y="4191"/>
                    <a:pt x="4433" y="3778"/>
                    <a:pt x="4408" y="3599"/>
                  </a:cubicBezTo>
                  <a:lnTo>
                    <a:pt x="4401" y="3599"/>
                  </a:lnTo>
                  <a:lnTo>
                    <a:pt x="4401" y="3529"/>
                  </a:lnTo>
                  <a:lnTo>
                    <a:pt x="4401" y="3470"/>
                  </a:lnTo>
                  <a:lnTo>
                    <a:pt x="4405" y="3470"/>
                  </a:lnTo>
                  <a:cubicBezTo>
                    <a:pt x="4415" y="3382"/>
                    <a:pt x="4436" y="3281"/>
                    <a:pt x="4461" y="3169"/>
                  </a:cubicBezTo>
                  <a:cubicBezTo>
                    <a:pt x="4492" y="3011"/>
                    <a:pt x="4541" y="2766"/>
                    <a:pt x="4520" y="2661"/>
                  </a:cubicBezTo>
                  <a:cubicBezTo>
                    <a:pt x="4517" y="2640"/>
                    <a:pt x="4506" y="2622"/>
                    <a:pt x="4489" y="2612"/>
                  </a:cubicBezTo>
                  <a:cubicBezTo>
                    <a:pt x="4464" y="2598"/>
                    <a:pt x="4436" y="2591"/>
                    <a:pt x="4408" y="2591"/>
                  </a:cubicBezTo>
                  <a:cubicBezTo>
                    <a:pt x="4324" y="2591"/>
                    <a:pt x="4243" y="2636"/>
                    <a:pt x="4180" y="2671"/>
                  </a:cubicBezTo>
                  <a:cubicBezTo>
                    <a:pt x="4145" y="2696"/>
                    <a:pt x="4103" y="2713"/>
                    <a:pt x="4058" y="2717"/>
                  </a:cubicBezTo>
                  <a:cubicBezTo>
                    <a:pt x="4002" y="2717"/>
                    <a:pt x="3953" y="2675"/>
                    <a:pt x="3862" y="2440"/>
                  </a:cubicBezTo>
                  <a:cubicBezTo>
                    <a:pt x="3806" y="2307"/>
                    <a:pt x="3757" y="2150"/>
                    <a:pt x="3732" y="2062"/>
                  </a:cubicBezTo>
                  <a:cubicBezTo>
                    <a:pt x="3690" y="1908"/>
                    <a:pt x="3557" y="1674"/>
                    <a:pt x="3470" y="1642"/>
                  </a:cubicBezTo>
                  <a:cubicBezTo>
                    <a:pt x="3465" y="1640"/>
                    <a:pt x="3461" y="1640"/>
                    <a:pt x="3458" y="1640"/>
                  </a:cubicBezTo>
                  <a:cubicBezTo>
                    <a:pt x="3456" y="1640"/>
                    <a:pt x="3454" y="1640"/>
                    <a:pt x="3452" y="1642"/>
                  </a:cubicBezTo>
                  <a:cubicBezTo>
                    <a:pt x="3418" y="1668"/>
                    <a:pt x="3377" y="1682"/>
                    <a:pt x="3335" y="1682"/>
                  </a:cubicBezTo>
                  <a:cubicBezTo>
                    <a:pt x="3305" y="1682"/>
                    <a:pt x="3274" y="1675"/>
                    <a:pt x="3246" y="1660"/>
                  </a:cubicBezTo>
                  <a:cubicBezTo>
                    <a:pt x="3148" y="1621"/>
                    <a:pt x="3046" y="1604"/>
                    <a:pt x="2941" y="1604"/>
                  </a:cubicBezTo>
                  <a:cubicBezTo>
                    <a:pt x="2756" y="1593"/>
                    <a:pt x="2647" y="1576"/>
                    <a:pt x="2591" y="1499"/>
                  </a:cubicBezTo>
                  <a:cubicBezTo>
                    <a:pt x="2525" y="1415"/>
                    <a:pt x="2553" y="1296"/>
                    <a:pt x="2602" y="1082"/>
                  </a:cubicBezTo>
                  <a:lnTo>
                    <a:pt x="2602" y="1079"/>
                  </a:lnTo>
                  <a:cubicBezTo>
                    <a:pt x="2640" y="907"/>
                    <a:pt x="2574" y="767"/>
                    <a:pt x="2518" y="655"/>
                  </a:cubicBezTo>
                  <a:cubicBezTo>
                    <a:pt x="2472" y="553"/>
                    <a:pt x="2413" y="431"/>
                    <a:pt x="2535" y="364"/>
                  </a:cubicBezTo>
                  <a:cubicBezTo>
                    <a:pt x="2546" y="357"/>
                    <a:pt x="2560" y="347"/>
                    <a:pt x="2570" y="336"/>
                  </a:cubicBezTo>
                  <a:cubicBezTo>
                    <a:pt x="2574" y="333"/>
                    <a:pt x="2577" y="329"/>
                    <a:pt x="2577" y="326"/>
                  </a:cubicBezTo>
                  <a:cubicBezTo>
                    <a:pt x="2577" y="322"/>
                    <a:pt x="2577" y="322"/>
                    <a:pt x="2577" y="319"/>
                  </a:cubicBezTo>
                  <a:lnTo>
                    <a:pt x="2577" y="315"/>
                  </a:lnTo>
                  <a:cubicBezTo>
                    <a:pt x="2577" y="315"/>
                    <a:pt x="2577" y="312"/>
                    <a:pt x="2577" y="312"/>
                  </a:cubicBezTo>
                  <a:lnTo>
                    <a:pt x="2577" y="308"/>
                  </a:lnTo>
                  <a:lnTo>
                    <a:pt x="2577" y="298"/>
                  </a:lnTo>
                  <a:lnTo>
                    <a:pt x="2577" y="294"/>
                  </a:lnTo>
                  <a:lnTo>
                    <a:pt x="2574" y="284"/>
                  </a:lnTo>
                  <a:lnTo>
                    <a:pt x="2570" y="277"/>
                  </a:lnTo>
                  <a:lnTo>
                    <a:pt x="2563" y="263"/>
                  </a:lnTo>
                  <a:lnTo>
                    <a:pt x="2560" y="259"/>
                  </a:lnTo>
                  <a:cubicBezTo>
                    <a:pt x="2556" y="252"/>
                    <a:pt x="2553" y="245"/>
                    <a:pt x="2546" y="235"/>
                  </a:cubicBezTo>
                  <a:lnTo>
                    <a:pt x="2542" y="231"/>
                  </a:lnTo>
                  <a:lnTo>
                    <a:pt x="2532" y="210"/>
                  </a:lnTo>
                  <a:cubicBezTo>
                    <a:pt x="2518" y="217"/>
                    <a:pt x="2507" y="221"/>
                    <a:pt x="2493" y="224"/>
                  </a:cubicBezTo>
                  <a:lnTo>
                    <a:pt x="2486" y="224"/>
                  </a:lnTo>
                  <a:cubicBezTo>
                    <a:pt x="2476" y="228"/>
                    <a:pt x="2465" y="228"/>
                    <a:pt x="2455" y="228"/>
                  </a:cubicBezTo>
                  <a:cubicBezTo>
                    <a:pt x="2378" y="228"/>
                    <a:pt x="2304" y="179"/>
                    <a:pt x="2230" y="126"/>
                  </a:cubicBezTo>
                  <a:cubicBezTo>
                    <a:pt x="2143" y="67"/>
                    <a:pt x="2045" y="0"/>
                    <a:pt x="1936"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112" name="Google Shape;5112;p104"/>
            <p:cNvSpPr/>
            <p:nvPr/>
          </p:nvSpPr>
          <p:spPr>
            <a:xfrm>
              <a:off x="1613184" y="2195620"/>
              <a:ext cx="54" cy="149"/>
            </a:xfrm>
            <a:custGeom>
              <a:avLst/>
              <a:gdLst/>
              <a:ahLst/>
              <a:cxnLst/>
              <a:rect l="l" t="t" r="r" b="b"/>
              <a:pathLst>
                <a:path w="4" h="11" extrusionOk="0">
                  <a:moveTo>
                    <a:pt x="0" y="0"/>
                  </a:moveTo>
                  <a:lnTo>
                    <a:pt x="4" y="1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113" name="Google Shape;5113;p104"/>
            <p:cNvSpPr/>
            <p:nvPr/>
          </p:nvSpPr>
          <p:spPr>
            <a:xfrm>
              <a:off x="1612804" y="2194954"/>
              <a:ext cx="204" cy="339"/>
            </a:xfrm>
            <a:custGeom>
              <a:avLst/>
              <a:gdLst/>
              <a:ahLst/>
              <a:cxnLst/>
              <a:rect l="l" t="t" r="r" b="b"/>
              <a:pathLst>
                <a:path w="15" h="25" extrusionOk="0">
                  <a:moveTo>
                    <a:pt x="0" y="0"/>
                  </a:moveTo>
                  <a:cubicBezTo>
                    <a:pt x="7" y="11"/>
                    <a:pt x="11" y="18"/>
                    <a:pt x="14" y="25"/>
                  </a:cubicBezTo>
                  <a:cubicBezTo>
                    <a:pt x="11" y="18"/>
                    <a:pt x="7" y="11"/>
                    <a:pt x="0"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114" name="Google Shape;5114;p104"/>
            <p:cNvSpPr/>
            <p:nvPr/>
          </p:nvSpPr>
          <p:spPr>
            <a:xfrm>
              <a:off x="1613035" y="2195335"/>
              <a:ext cx="109" cy="204"/>
            </a:xfrm>
            <a:custGeom>
              <a:avLst/>
              <a:gdLst/>
              <a:ahLst/>
              <a:cxnLst/>
              <a:rect l="l" t="t" r="r" b="b"/>
              <a:pathLst>
                <a:path w="8" h="15" extrusionOk="0">
                  <a:moveTo>
                    <a:pt x="1" y="0"/>
                  </a:moveTo>
                  <a:lnTo>
                    <a:pt x="8" y="14"/>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115" name="Google Shape;5115;p104"/>
            <p:cNvSpPr/>
            <p:nvPr/>
          </p:nvSpPr>
          <p:spPr>
            <a:xfrm>
              <a:off x="1638086" y="2239733"/>
              <a:ext cx="109" cy="910"/>
            </a:xfrm>
            <a:custGeom>
              <a:avLst/>
              <a:gdLst/>
              <a:ahLst/>
              <a:cxnLst/>
              <a:rect l="l" t="t" r="r" b="b"/>
              <a:pathLst>
                <a:path w="8" h="67" extrusionOk="0">
                  <a:moveTo>
                    <a:pt x="1" y="0"/>
                  </a:moveTo>
                  <a:lnTo>
                    <a:pt x="1" y="67"/>
                  </a:lnTo>
                  <a:lnTo>
                    <a:pt x="8" y="67"/>
                  </a:lnTo>
                  <a:cubicBezTo>
                    <a:pt x="4" y="53"/>
                    <a:pt x="4" y="42"/>
                    <a:pt x="4" y="32"/>
                  </a:cubicBezTo>
                  <a:lnTo>
                    <a:pt x="4" y="18"/>
                  </a:lnTo>
                  <a:lnTo>
                    <a:pt x="4"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116" name="Google Shape;5116;p104"/>
            <p:cNvSpPr/>
            <p:nvPr/>
          </p:nvSpPr>
          <p:spPr>
            <a:xfrm>
              <a:off x="1612560" y="2194615"/>
              <a:ext cx="204" cy="299"/>
            </a:xfrm>
            <a:custGeom>
              <a:avLst/>
              <a:gdLst/>
              <a:ahLst/>
              <a:cxnLst/>
              <a:rect l="l" t="t" r="r" b="b"/>
              <a:pathLst>
                <a:path w="15" h="22" extrusionOk="0">
                  <a:moveTo>
                    <a:pt x="15" y="22"/>
                  </a:moveTo>
                  <a:lnTo>
                    <a:pt x="1" y="1"/>
                  </a:lnTo>
                  <a:lnTo>
                    <a:pt x="1"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117" name="Google Shape;5117;p104"/>
            <p:cNvSpPr/>
            <p:nvPr/>
          </p:nvSpPr>
          <p:spPr>
            <a:xfrm>
              <a:off x="1625201" y="2214031"/>
              <a:ext cx="299" cy="54"/>
            </a:xfrm>
            <a:custGeom>
              <a:avLst/>
              <a:gdLst/>
              <a:ahLst/>
              <a:cxnLst/>
              <a:rect l="l" t="t" r="r" b="b"/>
              <a:pathLst>
                <a:path w="22" h="4" extrusionOk="0">
                  <a:moveTo>
                    <a:pt x="7" y="0"/>
                  </a:moveTo>
                  <a:cubicBezTo>
                    <a:pt x="4" y="0"/>
                    <a:pt x="3" y="1"/>
                    <a:pt x="1" y="3"/>
                  </a:cubicBezTo>
                  <a:cubicBezTo>
                    <a:pt x="1" y="3"/>
                    <a:pt x="1" y="4"/>
                    <a:pt x="2" y="4"/>
                  </a:cubicBezTo>
                  <a:cubicBezTo>
                    <a:pt x="3" y="4"/>
                    <a:pt x="7" y="2"/>
                    <a:pt x="14" y="2"/>
                  </a:cubicBezTo>
                  <a:cubicBezTo>
                    <a:pt x="16" y="2"/>
                    <a:pt x="19" y="2"/>
                    <a:pt x="22" y="3"/>
                  </a:cubicBezTo>
                  <a:cubicBezTo>
                    <a:pt x="15" y="1"/>
                    <a:pt x="10" y="0"/>
                    <a:pt x="7"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118" name="Google Shape;5118;p104"/>
            <p:cNvSpPr/>
            <p:nvPr/>
          </p:nvSpPr>
          <p:spPr>
            <a:xfrm>
              <a:off x="1613184" y="2196095"/>
              <a:ext cx="149" cy="244"/>
            </a:xfrm>
            <a:custGeom>
              <a:avLst/>
              <a:gdLst/>
              <a:ahLst/>
              <a:cxnLst/>
              <a:rect l="l" t="t" r="r" b="b"/>
              <a:pathLst>
                <a:path w="11" h="18" extrusionOk="0">
                  <a:moveTo>
                    <a:pt x="0" y="18"/>
                  </a:moveTo>
                  <a:cubicBezTo>
                    <a:pt x="4" y="14"/>
                    <a:pt x="7" y="11"/>
                    <a:pt x="11" y="7"/>
                  </a:cubicBezTo>
                  <a:cubicBezTo>
                    <a:pt x="11" y="4"/>
                    <a:pt x="11" y="0"/>
                    <a:pt x="11" y="0"/>
                  </a:cubicBezTo>
                  <a:cubicBezTo>
                    <a:pt x="11" y="0"/>
                    <a:pt x="11" y="4"/>
                    <a:pt x="11" y="7"/>
                  </a:cubicBezTo>
                  <a:cubicBezTo>
                    <a:pt x="7" y="11"/>
                    <a:pt x="4" y="14"/>
                    <a:pt x="0" y="18"/>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119" name="Google Shape;5119;p104"/>
            <p:cNvSpPr/>
            <p:nvPr/>
          </p:nvSpPr>
          <p:spPr>
            <a:xfrm>
              <a:off x="1639280" y="2227228"/>
              <a:ext cx="434" cy="679"/>
            </a:xfrm>
            <a:custGeom>
              <a:avLst/>
              <a:gdLst/>
              <a:ahLst/>
              <a:cxnLst/>
              <a:rect l="l" t="t" r="r" b="b"/>
              <a:pathLst>
                <a:path w="32" h="50" extrusionOk="0">
                  <a:moveTo>
                    <a:pt x="32" y="49"/>
                  </a:moveTo>
                  <a:cubicBezTo>
                    <a:pt x="28" y="32"/>
                    <a:pt x="18" y="11"/>
                    <a:pt x="0" y="0"/>
                  </a:cubicBezTo>
                  <a:lnTo>
                    <a:pt x="0" y="0"/>
                  </a:lnTo>
                  <a:cubicBezTo>
                    <a:pt x="18" y="11"/>
                    <a:pt x="28" y="32"/>
                    <a:pt x="32" y="49"/>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120" name="Google Shape;5120;p104"/>
            <p:cNvSpPr/>
            <p:nvPr/>
          </p:nvSpPr>
          <p:spPr>
            <a:xfrm>
              <a:off x="1613320" y="2196000"/>
              <a:ext cx="14" cy="109"/>
            </a:xfrm>
            <a:custGeom>
              <a:avLst/>
              <a:gdLst/>
              <a:ahLst/>
              <a:cxnLst/>
              <a:rect l="l" t="t" r="r" b="b"/>
              <a:pathLst>
                <a:path w="1" h="8" extrusionOk="0">
                  <a:moveTo>
                    <a:pt x="1" y="0"/>
                  </a:moveTo>
                  <a:cubicBezTo>
                    <a:pt x="1" y="4"/>
                    <a:pt x="1" y="4"/>
                    <a:pt x="1" y="7"/>
                  </a:cubicBezTo>
                  <a:cubicBezTo>
                    <a:pt x="1" y="4"/>
                    <a:pt x="1" y="4"/>
                    <a:pt x="1"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121" name="Google Shape;5121;p104"/>
            <p:cNvSpPr/>
            <p:nvPr/>
          </p:nvSpPr>
          <p:spPr>
            <a:xfrm>
              <a:off x="1613280" y="2195810"/>
              <a:ext cx="14" cy="149"/>
            </a:xfrm>
            <a:custGeom>
              <a:avLst/>
              <a:gdLst/>
              <a:ahLst/>
              <a:cxnLst/>
              <a:rect l="l" t="t" r="r" b="b"/>
              <a:pathLst>
                <a:path w="1" h="11" extrusionOk="0">
                  <a:moveTo>
                    <a:pt x="0" y="0"/>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122" name="Google Shape;5122;p104"/>
            <p:cNvSpPr/>
            <p:nvPr/>
          </p:nvSpPr>
          <p:spPr>
            <a:xfrm>
              <a:off x="1638181" y="2226943"/>
              <a:ext cx="1113" cy="299"/>
            </a:xfrm>
            <a:custGeom>
              <a:avLst/>
              <a:gdLst/>
              <a:ahLst/>
              <a:cxnLst/>
              <a:rect l="l" t="t" r="r" b="b"/>
              <a:pathLst>
                <a:path w="82" h="22" extrusionOk="0">
                  <a:moveTo>
                    <a:pt x="1" y="0"/>
                  </a:moveTo>
                  <a:cubicBezTo>
                    <a:pt x="29" y="4"/>
                    <a:pt x="57" y="11"/>
                    <a:pt x="81" y="21"/>
                  </a:cubicBezTo>
                  <a:cubicBezTo>
                    <a:pt x="57" y="11"/>
                    <a:pt x="29" y="4"/>
                    <a:pt x="1"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123" name="Google Shape;5123;p104"/>
            <p:cNvSpPr/>
            <p:nvPr/>
          </p:nvSpPr>
          <p:spPr>
            <a:xfrm>
              <a:off x="1634759" y="2250514"/>
              <a:ext cx="584" cy="14"/>
            </a:xfrm>
            <a:custGeom>
              <a:avLst/>
              <a:gdLst/>
              <a:ahLst/>
              <a:cxnLst/>
              <a:rect l="l" t="t" r="r" b="b"/>
              <a:pathLst>
                <a:path w="43" h="1" extrusionOk="0">
                  <a:moveTo>
                    <a:pt x="0" y="1"/>
                  </a:moveTo>
                  <a:cubicBezTo>
                    <a:pt x="14" y="1"/>
                    <a:pt x="28" y="1"/>
                    <a:pt x="42" y="1"/>
                  </a:cubicBezTo>
                  <a:cubicBezTo>
                    <a:pt x="28" y="1"/>
                    <a:pt x="14" y="1"/>
                    <a:pt x="0" y="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124" name="Google Shape;5124;p104"/>
            <p:cNvSpPr/>
            <p:nvPr/>
          </p:nvSpPr>
          <p:spPr>
            <a:xfrm>
              <a:off x="1581101" y="2216013"/>
              <a:ext cx="489" cy="489"/>
            </a:xfrm>
            <a:custGeom>
              <a:avLst/>
              <a:gdLst/>
              <a:ahLst/>
              <a:cxnLst/>
              <a:rect l="l" t="t" r="r" b="b"/>
              <a:pathLst>
                <a:path w="36" h="36" extrusionOk="0">
                  <a:moveTo>
                    <a:pt x="35" y="35"/>
                  </a:moveTo>
                  <a:lnTo>
                    <a:pt x="0"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125" name="Google Shape;5125;p104"/>
            <p:cNvSpPr/>
            <p:nvPr/>
          </p:nvSpPr>
          <p:spPr>
            <a:xfrm>
              <a:off x="1580436" y="2215294"/>
              <a:ext cx="489" cy="489"/>
            </a:xfrm>
            <a:custGeom>
              <a:avLst/>
              <a:gdLst/>
              <a:ahLst/>
              <a:cxnLst/>
              <a:rect l="l" t="t" r="r" b="b"/>
              <a:pathLst>
                <a:path w="36" h="36" extrusionOk="0">
                  <a:moveTo>
                    <a:pt x="35" y="36"/>
                  </a:moveTo>
                  <a:lnTo>
                    <a:pt x="0"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126" name="Google Shape;5126;p104"/>
            <p:cNvSpPr/>
            <p:nvPr/>
          </p:nvSpPr>
          <p:spPr>
            <a:xfrm>
              <a:off x="1581807" y="2216719"/>
              <a:ext cx="448" cy="489"/>
            </a:xfrm>
            <a:custGeom>
              <a:avLst/>
              <a:gdLst/>
              <a:ahLst/>
              <a:cxnLst/>
              <a:rect l="l" t="t" r="r" b="b"/>
              <a:pathLst>
                <a:path w="33" h="36" extrusionOk="0">
                  <a:moveTo>
                    <a:pt x="32" y="36"/>
                  </a:moveTo>
                  <a:lnTo>
                    <a:pt x="1"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127" name="Google Shape;5127;p104"/>
            <p:cNvSpPr/>
            <p:nvPr/>
          </p:nvSpPr>
          <p:spPr>
            <a:xfrm>
              <a:off x="1582472" y="2217439"/>
              <a:ext cx="543" cy="530"/>
            </a:xfrm>
            <a:custGeom>
              <a:avLst/>
              <a:gdLst/>
              <a:ahLst/>
              <a:cxnLst/>
              <a:rect l="l" t="t" r="r" b="b"/>
              <a:pathLst>
                <a:path w="40" h="39" extrusionOk="0">
                  <a:moveTo>
                    <a:pt x="39" y="39"/>
                  </a:moveTo>
                  <a:lnTo>
                    <a:pt x="1"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128" name="Google Shape;5128;p104"/>
            <p:cNvSpPr/>
            <p:nvPr/>
          </p:nvSpPr>
          <p:spPr>
            <a:xfrm>
              <a:off x="1638140" y="2238878"/>
              <a:ext cx="14" cy="869"/>
            </a:xfrm>
            <a:custGeom>
              <a:avLst/>
              <a:gdLst/>
              <a:ahLst/>
              <a:cxnLst/>
              <a:rect l="l" t="t" r="r" b="b"/>
              <a:pathLst>
                <a:path w="1" h="64" extrusionOk="0">
                  <a:moveTo>
                    <a:pt x="0" y="0"/>
                  </a:moveTo>
                  <a:lnTo>
                    <a:pt x="0" y="63"/>
                  </a:lnTo>
                  <a:lnTo>
                    <a:pt x="0" y="56"/>
                  </a:lnTo>
                  <a:lnTo>
                    <a:pt x="0" y="28"/>
                  </a:lnTo>
                  <a:lnTo>
                    <a:pt x="0" y="21"/>
                  </a:lnTo>
                  <a:lnTo>
                    <a:pt x="0"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129" name="Google Shape;5129;p104"/>
            <p:cNvSpPr/>
            <p:nvPr/>
          </p:nvSpPr>
          <p:spPr>
            <a:xfrm>
              <a:off x="1579662" y="2214438"/>
              <a:ext cx="638" cy="679"/>
            </a:xfrm>
            <a:custGeom>
              <a:avLst/>
              <a:gdLst/>
              <a:ahLst/>
              <a:cxnLst/>
              <a:rect l="l" t="t" r="r" b="b"/>
              <a:pathLst>
                <a:path w="47" h="50" extrusionOk="0">
                  <a:moveTo>
                    <a:pt x="46" y="50"/>
                  </a:moveTo>
                  <a:lnTo>
                    <a:pt x="1"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130" name="Google Shape;5130;p104"/>
            <p:cNvSpPr/>
            <p:nvPr/>
          </p:nvSpPr>
          <p:spPr>
            <a:xfrm>
              <a:off x="1579146" y="2213773"/>
              <a:ext cx="530" cy="679"/>
            </a:xfrm>
            <a:custGeom>
              <a:avLst/>
              <a:gdLst/>
              <a:ahLst/>
              <a:cxnLst/>
              <a:rect l="l" t="t" r="r" b="b"/>
              <a:pathLst>
                <a:path w="39" h="50" extrusionOk="0">
                  <a:moveTo>
                    <a:pt x="39" y="50"/>
                  </a:moveTo>
                  <a:lnTo>
                    <a:pt x="0"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131" name="Google Shape;5131;p104"/>
            <p:cNvSpPr/>
            <p:nvPr/>
          </p:nvSpPr>
          <p:spPr>
            <a:xfrm>
              <a:off x="1578290" y="2212687"/>
              <a:ext cx="204" cy="204"/>
            </a:xfrm>
            <a:custGeom>
              <a:avLst/>
              <a:gdLst/>
              <a:ahLst/>
              <a:cxnLst/>
              <a:rect l="l" t="t" r="r" b="b"/>
              <a:pathLst>
                <a:path w="15" h="15" extrusionOk="0">
                  <a:moveTo>
                    <a:pt x="0" y="0"/>
                  </a:moveTo>
                  <a:lnTo>
                    <a:pt x="14" y="14"/>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132" name="Google Shape;5132;p104"/>
            <p:cNvSpPr/>
            <p:nvPr/>
          </p:nvSpPr>
          <p:spPr>
            <a:xfrm>
              <a:off x="1619932" y="2254220"/>
              <a:ext cx="774" cy="68"/>
            </a:xfrm>
            <a:custGeom>
              <a:avLst/>
              <a:gdLst/>
              <a:ahLst/>
              <a:cxnLst/>
              <a:rect l="l" t="t" r="r" b="b"/>
              <a:pathLst>
                <a:path w="57" h="5" extrusionOk="0">
                  <a:moveTo>
                    <a:pt x="56" y="1"/>
                  </a:moveTo>
                  <a:cubicBezTo>
                    <a:pt x="39" y="1"/>
                    <a:pt x="18" y="1"/>
                    <a:pt x="0" y="4"/>
                  </a:cubicBezTo>
                  <a:cubicBezTo>
                    <a:pt x="18" y="4"/>
                    <a:pt x="39" y="1"/>
                    <a:pt x="56" y="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133" name="Google Shape;5133;p104"/>
            <p:cNvSpPr/>
            <p:nvPr/>
          </p:nvSpPr>
          <p:spPr>
            <a:xfrm>
              <a:off x="1578616" y="2213108"/>
              <a:ext cx="394" cy="489"/>
            </a:xfrm>
            <a:custGeom>
              <a:avLst/>
              <a:gdLst/>
              <a:ahLst/>
              <a:cxnLst/>
              <a:rect l="l" t="t" r="r" b="b"/>
              <a:pathLst>
                <a:path w="29" h="36" extrusionOk="0">
                  <a:moveTo>
                    <a:pt x="29" y="36"/>
                  </a:moveTo>
                  <a:lnTo>
                    <a:pt x="1"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134" name="Google Shape;5134;p104"/>
            <p:cNvSpPr/>
            <p:nvPr/>
          </p:nvSpPr>
          <p:spPr>
            <a:xfrm>
              <a:off x="1622254" y="2254410"/>
              <a:ext cx="109" cy="14"/>
            </a:xfrm>
            <a:custGeom>
              <a:avLst/>
              <a:gdLst/>
              <a:ahLst/>
              <a:cxnLst/>
              <a:rect l="l" t="t" r="r" b="b"/>
              <a:pathLst>
                <a:path w="8" h="1" extrusionOk="0">
                  <a:moveTo>
                    <a:pt x="8"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135" name="Google Shape;5135;p104"/>
            <p:cNvSpPr/>
            <p:nvPr/>
          </p:nvSpPr>
          <p:spPr>
            <a:xfrm>
              <a:off x="1618982" y="2254275"/>
              <a:ext cx="774" cy="109"/>
            </a:xfrm>
            <a:custGeom>
              <a:avLst/>
              <a:gdLst/>
              <a:ahLst/>
              <a:cxnLst/>
              <a:rect l="l" t="t" r="r" b="b"/>
              <a:pathLst>
                <a:path w="57" h="8" extrusionOk="0">
                  <a:moveTo>
                    <a:pt x="56"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136" name="Google Shape;5136;p104"/>
            <p:cNvSpPr/>
            <p:nvPr/>
          </p:nvSpPr>
          <p:spPr>
            <a:xfrm>
              <a:off x="1621263" y="2254220"/>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137" name="Google Shape;5137;p104"/>
            <p:cNvSpPr/>
            <p:nvPr/>
          </p:nvSpPr>
          <p:spPr>
            <a:xfrm>
              <a:off x="1617461" y="2254370"/>
              <a:ext cx="1534" cy="109"/>
            </a:xfrm>
            <a:custGeom>
              <a:avLst/>
              <a:gdLst/>
              <a:ahLst/>
              <a:cxnLst/>
              <a:rect l="l" t="t" r="r" b="b"/>
              <a:pathLst>
                <a:path w="113" h="8" extrusionOk="0">
                  <a:moveTo>
                    <a:pt x="112" y="0"/>
                  </a:moveTo>
                  <a:cubicBezTo>
                    <a:pt x="74" y="4"/>
                    <a:pt x="39" y="7"/>
                    <a:pt x="0" y="7"/>
                  </a:cubicBezTo>
                  <a:cubicBezTo>
                    <a:pt x="39" y="7"/>
                    <a:pt x="74" y="4"/>
                    <a:pt x="112"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138" name="Google Shape;5138;p104"/>
            <p:cNvSpPr/>
            <p:nvPr/>
          </p:nvSpPr>
          <p:spPr>
            <a:xfrm>
              <a:off x="1622824" y="2254600"/>
              <a:ext cx="109" cy="68"/>
            </a:xfrm>
            <a:custGeom>
              <a:avLst/>
              <a:gdLst/>
              <a:ahLst/>
              <a:cxnLst/>
              <a:rect l="l" t="t" r="r" b="b"/>
              <a:pathLst>
                <a:path w="8" h="5" extrusionOk="0">
                  <a:moveTo>
                    <a:pt x="8" y="4"/>
                  </a:moveTo>
                  <a:lnTo>
                    <a:pt x="1"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139" name="Google Shape;5139;p104"/>
            <p:cNvSpPr/>
            <p:nvPr/>
          </p:nvSpPr>
          <p:spPr>
            <a:xfrm>
              <a:off x="1621779" y="2254315"/>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140" name="Google Shape;5140;p104"/>
            <p:cNvSpPr/>
            <p:nvPr/>
          </p:nvSpPr>
          <p:spPr>
            <a:xfrm>
              <a:off x="1584712" y="2219475"/>
              <a:ext cx="489" cy="448"/>
            </a:xfrm>
            <a:custGeom>
              <a:avLst/>
              <a:gdLst/>
              <a:ahLst/>
              <a:cxnLst/>
              <a:rect l="l" t="t" r="r" b="b"/>
              <a:pathLst>
                <a:path w="36" h="33" extrusionOk="0">
                  <a:moveTo>
                    <a:pt x="35" y="32"/>
                  </a:moveTo>
                  <a:lnTo>
                    <a:pt x="0"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141" name="Google Shape;5141;p104"/>
            <p:cNvSpPr/>
            <p:nvPr/>
          </p:nvSpPr>
          <p:spPr>
            <a:xfrm>
              <a:off x="1583137" y="2218050"/>
              <a:ext cx="679" cy="679"/>
            </a:xfrm>
            <a:custGeom>
              <a:avLst/>
              <a:gdLst/>
              <a:ahLst/>
              <a:cxnLst/>
              <a:rect l="l" t="t" r="r" b="b"/>
              <a:pathLst>
                <a:path w="50" h="50" extrusionOk="0">
                  <a:moveTo>
                    <a:pt x="50" y="50"/>
                  </a:moveTo>
                  <a:lnTo>
                    <a:pt x="1"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142" name="Google Shape;5142;p104"/>
            <p:cNvSpPr/>
            <p:nvPr/>
          </p:nvSpPr>
          <p:spPr>
            <a:xfrm>
              <a:off x="1586084" y="2220616"/>
              <a:ext cx="448" cy="299"/>
            </a:xfrm>
            <a:custGeom>
              <a:avLst/>
              <a:gdLst/>
              <a:ahLst/>
              <a:cxnLst/>
              <a:rect l="l" t="t" r="r" b="b"/>
              <a:pathLst>
                <a:path w="33" h="22" extrusionOk="0">
                  <a:moveTo>
                    <a:pt x="32" y="22"/>
                  </a:moveTo>
                  <a:lnTo>
                    <a:pt x="1"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143" name="Google Shape;5143;p104"/>
            <p:cNvSpPr/>
            <p:nvPr/>
          </p:nvSpPr>
          <p:spPr>
            <a:xfrm>
              <a:off x="1583952" y="2218810"/>
              <a:ext cx="584" cy="543"/>
            </a:xfrm>
            <a:custGeom>
              <a:avLst/>
              <a:gdLst/>
              <a:ahLst/>
              <a:cxnLst/>
              <a:rect l="l" t="t" r="r" b="b"/>
              <a:pathLst>
                <a:path w="43" h="40" extrusionOk="0">
                  <a:moveTo>
                    <a:pt x="42" y="39"/>
                  </a:moveTo>
                  <a:lnTo>
                    <a:pt x="0"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144" name="Google Shape;5144;p104"/>
            <p:cNvSpPr/>
            <p:nvPr/>
          </p:nvSpPr>
          <p:spPr>
            <a:xfrm>
              <a:off x="1585418" y="2220100"/>
              <a:ext cx="448" cy="339"/>
            </a:xfrm>
            <a:custGeom>
              <a:avLst/>
              <a:gdLst/>
              <a:ahLst/>
              <a:cxnLst/>
              <a:rect l="l" t="t" r="r" b="b"/>
              <a:pathLst>
                <a:path w="33" h="25" extrusionOk="0">
                  <a:moveTo>
                    <a:pt x="32" y="25"/>
                  </a:moveTo>
                  <a:lnTo>
                    <a:pt x="1"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145" name="Google Shape;5145;p104"/>
            <p:cNvSpPr/>
            <p:nvPr/>
          </p:nvSpPr>
          <p:spPr>
            <a:xfrm>
              <a:off x="1586749" y="2221050"/>
              <a:ext cx="584" cy="394"/>
            </a:xfrm>
            <a:custGeom>
              <a:avLst/>
              <a:gdLst/>
              <a:ahLst/>
              <a:cxnLst/>
              <a:rect l="l" t="t" r="r" b="b"/>
              <a:pathLst>
                <a:path w="43" h="29" extrusionOk="0">
                  <a:moveTo>
                    <a:pt x="43" y="28"/>
                  </a:moveTo>
                  <a:cubicBezTo>
                    <a:pt x="29" y="21"/>
                    <a:pt x="15" y="11"/>
                    <a:pt x="1" y="0"/>
                  </a:cubicBezTo>
                  <a:cubicBezTo>
                    <a:pt x="15" y="11"/>
                    <a:pt x="29" y="21"/>
                    <a:pt x="43" y="28"/>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146" name="Google Shape;5146;p104"/>
            <p:cNvSpPr/>
            <p:nvPr/>
          </p:nvSpPr>
          <p:spPr>
            <a:xfrm>
              <a:off x="1638086" y="2239638"/>
              <a:ext cx="14" cy="339"/>
            </a:xfrm>
            <a:custGeom>
              <a:avLst/>
              <a:gdLst/>
              <a:ahLst/>
              <a:cxnLst/>
              <a:rect l="l" t="t" r="r" b="b"/>
              <a:pathLst>
                <a:path w="1" h="25" extrusionOk="0">
                  <a:moveTo>
                    <a:pt x="1" y="7"/>
                  </a:moveTo>
                  <a:lnTo>
                    <a:pt x="1" y="25"/>
                  </a:lnTo>
                  <a:lnTo>
                    <a:pt x="1" y="0"/>
                  </a:lnTo>
                  <a:lnTo>
                    <a:pt x="1" y="7"/>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147" name="Google Shape;5147;p104"/>
            <p:cNvSpPr/>
            <p:nvPr/>
          </p:nvSpPr>
          <p:spPr>
            <a:xfrm>
              <a:off x="1638086" y="2240168"/>
              <a:ext cx="68" cy="475"/>
            </a:xfrm>
            <a:custGeom>
              <a:avLst/>
              <a:gdLst/>
              <a:ahLst/>
              <a:cxnLst/>
              <a:rect l="l" t="t" r="r" b="b"/>
              <a:pathLst>
                <a:path w="5" h="35" extrusionOk="0">
                  <a:moveTo>
                    <a:pt x="1" y="0"/>
                  </a:moveTo>
                  <a:cubicBezTo>
                    <a:pt x="1" y="11"/>
                    <a:pt x="4" y="24"/>
                    <a:pt x="4" y="35"/>
                  </a:cubicBezTo>
                  <a:cubicBezTo>
                    <a:pt x="4" y="21"/>
                    <a:pt x="1" y="10"/>
                    <a:pt x="1"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148" name="Google Shape;5148;p104"/>
            <p:cNvSpPr/>
            <p:nvPr/>
          </p:nvSpPr>
          <p:spPr>
            <a:xfrm>
              <a:off x="1638140" y="2239163"/>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149" name="Google Shape;5149;p104"/>
            <p:cNvSpPr/>
            <p:nvPr/>
          </p:nvSpPr>
          <p:spPr>
            <a:xfrm>
              <a:off x="1405367" y="1962046"/>
              <a:ext cx="22118" cy="18031"/>
            </a:xfrm>
            <a:custGeom>
              <a:avLst/>
              <a:gdLst/>
              <a:ahLst/>
              <a:cxnLst/>
              <a:rect l="l" t="t" r="r" b="b"/>
              <a:pathLst>
                <a:path w="1629" h="1328" extrusionOk="0">
                  <a:moveTo>
                    <a:pt x="137" y="0"/>
                  </a:moveTo>
                  <a:cubicBezTo>
                    <a:pt x="151" y="77"/>
                    <a:pt x="119" y="158"/>
                    <a:pt x="56" y="207"/>
                  </a:cubicBezTo>
                  <a:cubicBezTo>
                    <a:pt x="18" y="245"/>
                    <a:pt x="0" y="294"/>
                    <a:pt x="11" y="347"/>
                  </a:cubicBezTo>
                  <a:cubicBezTo>
                    <a:pt x="21" y="448"/>
                    <a:pt x="91" y="532"/>
                    <a:pt x="186" y="567"/>
                  </a:cubicBezTo>
                  <a:cubicBezTo>
                    <a:pt x="243" y="589"/>
                    <a:pt x="275" y="597"/>
                    <a:pt x="296" y="597"/>
                  </a:cubicBezTo>
                  <a:cubicBezTo>
                    <a:pt x="319" y="597"/>
                    <a:pt x="327" y="587"/>
                    <a:pt x="336" y="574"/>
                  </a:cubicBezTo>
                  <a:cubicBezTo>
                    <a:pt x="366" y="528"/>
                    <a:pt x="415" y="501"/>
                    <a:pt x="467" y="501"/>
                  </a:cubicBezTo>
                  <a:cubicBezTo>
                    <a:pt x="470" y="501"/>
                    <a:pt x="473" y="501"/>
                    <a:pt x="477" y="501"/>
                  </a:cubicBezTo>
                  <a:cubicBezTo>
                    <a:pt x="585" y="501"/>
                    <a:pt x="631" y="585"/>
                    <a:pt x="662" y="641"/>
                  </a:cubicBezTo>
                  <a:cubicBezTo>
                    <a:pt x="690" y="690"/>
                    <a:pt x="701" y="704"/>
                    <a:pt x="718" y="704"/>
                  </a:cubicBezTo>
                  <a:cubicBezTo>
                    <a:pt x="813" y="704"/>
                    <a:pt x="974" y="770"/>
                    <a:pt x="1079" y="879"/>
                  </a:cubicBezTo>
                  <a:cubicBezTo>
                    <a:pt x="1142" y="942"/>
                    <a:pt x="1173" y="1026"/>
                    <a:pt x="1173" y="1114"/>
                  </a:cubicBezTo>
                  <a:cubicBezTo>
                    <a:pt x="1163" y="1166"/>
                    <a:pt x="1177" y="1222"/>
                    <a:pt x="1212" y="1264"/>
                  </a:cubicBezTo>
                  <a:cubicBezTo>
                    <a:pt x="1250" y="1303"/>
                    <a:pt x="1320" y="1324"/>
                    <a:pt x="1422" y="1324"/>
                  </a:cubicBezTo>
                  <a:cubicBezTo>
                    <a:pt x="1450" y="1324"/>
                    <a:pt x="1478" y="1324"/>
                    <a:pt x="1509" y="1327"/>
                  </a:cubicBezTo>
                  <a:lnTo>
                    <a:pt x="1509" y="1324"/>
                  </a:lnTo>
                  <a:cubicBezTo>
                    <a:pt x="1516" y="1303"/>
                    <a:pt x="1523" y="1285"/>
                    <a:pt x="1530" y="1268"/>
                  </a:cubicBezTo>
                  <a:cubicBezTo>
                    <a:pt x="1537" y="1250"/>
                    <a:pt x="1541" y="1236"/>
                    <a:pt x="1544" y="1222"/>
                  </a:cubicBezTo>
                  <a:cubicBezTo>
                    <a:pt x="1562" y="1191"/>
                    <a:pt x="1569" y="1152"/>
                    <a:pt x="1565" y="1117"/>
                  </a:cubicBezTo>
                  <a:cubicBezTo>
                    <a:pt x="1562" y="1107"/>
                    <a:pt x="1562" y="1096"/>
                    <a:pt x="1558" y="1086"/>
                  </a:cubicBezTo>
                  <a:lnTo>
                    <a:pt x="1558" y="1072"/>
                  </a:lnTo>
                  <a:lnTo>
                    <a:pt x="1558" y="1044"/>
                  </a:lnTo>
                  <a:lnTo>
                    <a:pt x="1558" y="1026"/>
                  </a:lnTo>
                  <a:lnTo>
                    <a:pt x="1558" y="998"/>
                  </a:lnTo>
                  <a:lnTo>
                    <a:pt x="1558" y="977"/>
                  </a:lnTo>
                  <a:cubicBezTo>
                    <a:pt x="1558" y="973"/>
                    <a:pt x="1562" y="959"/>
                    <a:pt x="1562" y="949"/>
                  </a:cubicBezTo>
                  <a:cubicBezTo>
                    <a:pt x="1565" y="935"/>
                    <a:pt x="1565" y="935"/>
                    <a:pt x="1569" y="924"/>
                  </a:cubicBezTo>
                  <a:cubicBezTo>
                    <a:pt x="1569" y="917"/>
                    <a:pt x="1572" y="903"/>
                    <a:pt x="1576" y="893"/>
                  </a:cubicBezTo>
                  <a:cubicBezTo>
                    <a:pt x="1576" y="882"/>
                    <a:pt x="1579" y="879"/>
                    <a:pt x="1579" y="872"/>
                  </a:cubicBezTo>
                  <a:cubicBezTo>
                    <a:pt x="1583" y="865"/>
                    <a:pt x="1586" y="851"/>
                    <a:pt x="1593" y="840"/>
                  </a:cubicBezTo>
                  <a:cubicBezTo>
                    <a:pt x="1597" y="826"/>
                    <a:pt x="1597" y="823"/>
                    <a:pt x="1600" y="816"/>
                  </a:cubicBezTo>
                  <a:cubicBezTo>
                    <a:pt x="1604" y="809"/>
                    <a:pt x="1611" y="795"/>
                    <a:pt x="1618" y="784"/>
                  </a:cubicBezTo>
                  <a:cubicBezTo>
                    <a:pt x="1621" y="770"/>
                    <a:pt x="1621" y="770"/>
                    <a:pt x="1628" y="763"/>
                  </a:cubicBezTo>
                  <a:lnTo>
                    <a:pt x="1628" y="760"/>
                  </a:lnTo>
                  <a:cubicBezTo>
                    <a:pt x="1453" y="560"/>
                    <a:pt x="1289" y="357"/>
                    <a:pt x="1138" y="140"/>
                  </a:cubicBezTo>
                  <a:lnTo>
                    <a:pt x="1114" y="140"/>
                  </a:lnTo>
                  <a:cubicBezTo>
                    <a:pt x="1096" y="140"/>
                    <a:pt x="1075" y="144"/>
                    <a:pt x="1058" y="144"/>
                  </a:cubicBezTo>
                  <a:lnTo>
                    <a:pt x="1023" y="144"/>
                  </a:lnTo>
                  <a:lnTo>
                    <a:pt x="995" y="140"/>
                  </a:lnTo>
                  <a:lnTo>
                    <a:pt x="984" y="140"/>
                  </a:lnTo>
                  <a:lnTo>
                    <a:pt x="960" y="137"/>
                  </a:lnTo>
                  <a:lnTo>
                    <a:pt x="953" y="137"/>
                  </a:lnTo>
                  <a:cubicBezTo>
                    <a:pt x="942" y="137"/>
                    <a:pt x="932" y="133"/>
                    <a:pt x="925" y="130"/>
                  </a:cubicBezTo>
                  <a:lnTo>
                    <a:pt x="918" y="126"/>
                  </a:lnTo>
                  <a:cubicBezTo>
                    <a:pt x="907" y="123"/>
                    <a:pt x="900" y="119"/>
                    <a:pt x="893" y="116"/>
                  </a:cubicBezTo>
                  <a:lnTo>
                    <a:pt x="886" y="112"/>
                  </a:lnTo>
                  <a:cubicBezTo>
                    <a:pt x="876" y="109"/>
                    <a:pt x="869" y="102"/>
                    <a:pt x="858" y="95"/>
                  </a:cubicBezTo>
                  <a:cubicBezTo>
                    <a:pt x="809" y="60"/>
                    <a:pt x="694" y="56"/>
                    <a:pt x="592" y="53"/>
                  </a:cubicBezTo>
                  <a:cubicBezTo>
                    <a:pt x="491" y="49"/>
                    <a:pt x="396" y="46"/>
                    <a:pt x="329" y="14"/>
                  </a:cubicBezTo>
                  <a:cubicBezTo>
                    <a:pt x="322" y="11"/>
                    <a:pt x="315" y="7"/>
                    <a:pt x="308" y="4"/>
                  </a:cubicBezTo>
                  <a:lnTo>
                    <a:pt x="301" y="4"/>
                  </a:lnTo>
                  <a:lnTo>
                    <a:pt x="277"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150" name="Google Shape;5150;p104"/>
            <p:cNvSpPr/>
            <p:nvPr/>
          </p:nvSpPr>
          <p:spPr>
            <a:xfrm>
              <a:off x="1408599" y="1961951"/>
              <a:ext cx="434" cy="54"/>
            </a:xfrm>
            <a:custGeom>
              <a:avLst/>
              <a:gdLst/>
              <a:ahLst/>
              <a:cxnLst/>
              <a:rect l="l" t="t" r="r" b="b"/>
              <a:pathLst>
                <a:path w="32" h="4" extrusionOk="0">
                  <a:moveTo>
                    <a:pt x="0" y="0"/>
                  </a:moveTo>
                  <a:lnTo>
                    <a:pt x="32" y="4"/>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151" name="Google Shape;5151;p104"/>
            <p:cNvSpPr/>
            <p:nvPr/>
          </p:nvSpPr>
          <p:spPr>
            <a:xfrm>
              <a:off x="1407553" y="1961951"/>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152" name="Google Shape;5152;p104"/>
            <p:cNvSpPr/>
            <p:nvPr/>
          </p:nvSpPr>
          <p:spPr>
            <a:xfrm>
              <a:off x="1418918" y="1963988"/>
              <a:ext cx="339" cy="14"/>
            </a:xfrm>
            <a:custGeom>
              <a:avLst/>
              <a:gdLst/>
              <a:ahLst/>
              <a:cxnLst/>
              <a:rect l="l" t="t" r="r" b="b"/>
              <a:pathLst>
                <a:path w="25" h="1" extrusionOk="0">
                  <a:moveTo>
                    <a:pt x="0" y="1"/>
                  </a:moveTo>
                  <a:lnTo>
                    <a:pt x="25"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153" name="Google Shape;5153;p104"/>
            <p:cNvSpPr/>
            <p:nvPr/>
          </p:nvSpPr>
          <p:spPr>
            <a:xfrm>
              <a:off x="1408123" y="1961951"/>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154" name="Google Shape;5154;p104"/>
            <p:cNvSpPr/>
            <p:nvPr/>
          </p:nvSpPr>
          <p:spPr>
            <a:xfrm>
              <a:off x="1407214" y="1961951"/>
              <a:ext cx="204" cy="14"/>
            </a:xfrm>
            <a:custGeom>
              <a:avLst/>
              <a:gdLst/>
              <a:ahLst/>
              <a:cxnLst/>
              <a:rect l="l" t="t" r="r" b="b"/>
              <a:pathLst>
                <a:path w="15" h="1" extrusionOk="0">
                  <a:moveTo>
                    <a:pt x="1" y="0"/>
                  </a:moveTo>
                  <a:lnTo>
                    <a:pt x="1" y="0"/>
                  </a:lnTo>
                  <a:lnTo>
                    <a:pt x="15"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155" name="Google Shape;5155;p104"/>
            <p:cNvSpPr/>
            <p:nvPr/>
          </p:nvSpPr>
          <p:spPr>
            <a:xfrm>
              <a:off x="1419773" y="1964042"/>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156" name="Google Shape;5156;p104"/>
            <p:cNvSpPr/>
            <p:nvPr/>
          </p:nvSpPr>
          <p:spPr>
            <a:xfrm>
              <a:off x="1420533" y="1963988"/>
              <a:ext cx="149" cy="14"/>
            </a:xfrm>
            <a:custGeom>
              <a:avLst/>
              <a:gdLst/>
              <a:ahLst/>
              <a:cxnLst/>
              <a:rect l="l" t="t" r="r" b="b"/>
              <a:pathLst>
                <a:path w="11" h="1" extrusionOk="0">
                  <a:moveTo>
                    <a:pt x="0" y="1"/>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157" name="Google Shape;5157;p104"/>
            <p:cNvSpPr/>
            <p:nvPr/>
          </p:nvSpPr>
          <p:spPr>
            <a:xfrm>
              <a:off x="1418442" y="1963893"/>
              <a:ext cx="339" cy="68"/>
            </a:xfrm>
            <a:custGeom>
              <a:avLst/>
              <a:gdLst/>
              <a:ahLst/>
              <a:cxnLst/>
              <a:rect l="l" t="t" r="r" b="b"/>
              <a:pathLst>
                <a:path w="25" h="5" extrusionOk="0">
                  <a:moveTo>
                    <a:pt x="0" y="1"/>
                  </a:moveTo>
                  <a:lnTo>
                    <a:pt x="25" y="4"/>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158" name="Google Shape;5158;p104"/>
            <p:cNvSpPr/>
            <p:nvPr/>
          </p:nvSpPr>
          <p:spPr>
            <a:xfrm>
              <a:off x="1417057" y="1963322"/>
              <a:ext cx="353" cy="258"/>
            </a:xfrm>
            <a:custGeom>
              <a:avLst/>
              <a:gdLst/>
              <a:ahLst/>
              <a:cxnLst/>
              <a:rect l="l" t="t" r="r" b="b"/>
              <a:pathLst>
                <a:path w="26" h="19" extrusionOk="0">
                  <a:moveTo>
                    <a:pt x="1" y="1"/>
                  </a:moveTo>
                  <a:cubicBezTo>
                    <a:pt x="8" y="8"/>
                    <a:pt x="18" y="11"/>
                    <a:pt x="25" y="18"/>
                  </a:cubicBezTo>
                  <a:cubicBezTo>
                    <a:pt x="18" y="11"/>
                    <a:pt x="8" y="8"/>
                    <a:pt x="1" y="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159" name="Google Shape;5159;p104"/>
            <p:cNvSpPr/>
            <p:nvPr/>
          </p:nvSpPr>
          <p:spPr>
            <a:xfrm>
              <a:off x="1417533" y="1963607"/>
              <a:ext cx="299" cy="109"/>
            </a:xfrm>
            <a:custGeom>
              <a:avLst/>
              <a:gdLst/>
              <a:ahLst/>
              <a:cxnLst/>
              <a:rect l="l" t="t" r="r" b="b"/>
              <a:pathLst>
                <a:path w="22" h="8" extrusionOk="0">
                  <a:moveTo>
                    <a:pt x="1" y="1"/>
                  </a:moveTo>
                  <a:cubicBezTo>
                    <a:pt x="8" y="4"/>
                    <a:pt x="15" y="8"/>
                    <a:pt x="22" y="8"/>
                  </a:cubicBezTo>
                  <a:cubicBezTo>
                    <a:pt x="15" y="8"/>
                    <a:pt x="8" y="4"/>
                    <a:pt x="1" y="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160" name="Google Shape;5160;p104"/>
            <p:cNvSpPr/>
            <p:nvPr/>
          </p:nvSpPr>
          <p:spPr>
            <a:xfrm>
              <a:off x="1409115" y="1961992"/>
              <a:ext cx="353" cy="68"/>
            </a:xfrm>
            <a:custGeom>
              <a:avLst/>
              <a:gdLst/>
              <a:ahLst/>
              <a:cxnLst/>
              <a:rect l="l" t="t" r="r" b="b"/>
              <a:pathLst>
                <a:path w="26" h="5" extrusionOk="0">
                  <a:moveTo>
                    <a:pt x="1" y="1"/>
                  </a:moveTo>
                  <a:lnTo>
                    <a:pt x="25" y="4"/>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161" name="Google Shape;5161;p104"/>
            <p:cNvSpPr/>
            <p:nvPr/>
          </p:nvSpPr>
          <p:spPr>
            <a:xfrm>
              <a:off x="1409549" y="1962087"/>
              <a:ext cx="299" cy="109"/>
            </a:xfrm>
            <a:custGeom>
              <a:avLst/>
              <a:gdLst/>
              <a:ahLst/>
              <a:cxnLst/>
              <a:rect l="l" t="t" r="r" b="b"/>
              <a:pathLst>
                <a:path w="22" h="8" extrusionOk="0">
                  <a:moveTo>
                    <a:pt x="0" y="1"/>
                  </a:moveTo>
                  <a:cubicBezTo>
                    <a:pt x="7" y="1"/>
                    <a:pt x="14" y="4"/>
                    <a:pt x="21" y="8"/>
                  </a:cubicBezTo>
                  <a:cubicBezTo>
                    <a:pt x="14" y="4"/>
                    <a:pt x="7" y="1"/>
                    <a:pt x="0" y="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162" name="Google Shape;5162;p104"/>
            <p:cNvSpPr/>
            <p:nvPr/>
          </p:nvSpPr>
          <p:spPr>
            <a:xfrm>
              <a:off x="1417913" y="1963757"/>
              <a:ext cx="448" cy="149"/>
            </a:xfrm>
            <a:custGeom>
              <a:avLst/>
              <a:gdLst/>
              <a:ahLst/>
              <a:cxnLst/>
              <a:rect l="l" t="t" r="r" b="b"/>
              <a:pathLst>
                <a:path w="33" h="11" extrusionOk="0">
                  <a:moveTo>
                    <a:pt x="1" y="0"/>
                  </a:moveTo>
                  <a:cubicBezTo>
                    <a:pt x="11" y="4"/>
                    <a:pt x="22" y="7"/>
                    <a:pt x="32" y="11"/>
                  </a:cubicBezTo>
                  <a:cubicBezTo>
                    <a:pt x="22" y="7"/>
                    <a:pt x="11" y="4"/>
                    <a:pt x="1"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163" name="Google Shape;5163;p104"/>
            <p:cNvSpPr/>
            <p:nvPr/>
          </p:nvSpPr>
          <p:spPr>
            <a:xfrm>
              <a:off x="1427662" y="1972433"/>
              <a:ext cx="41031" cy="16768"/>
            </a:xfrm>
            <a:custGeom>
              <a:avLst/>
              <a:gdLst/>
              <a:ahLst/>
              <a:cxnLst/>
              <a:rect l="l" t="t" r="r" b="b"/>
              <a:pathLst>
                <a:path w="3022" h="1235" extrusionOk="0">
                  <a:moveTo>
                    <a:pt x="1846" y="0"/>
                  </a:moveTo>
                  <a:cubicBezTo>
                    <a:pt x="1649" y="0"/>
                    <a:pt x="1430" y="158"/>
                    <a:pt x="1268" y="307"/>
                  </a:cubicBezTo>
                  <a:cubicBezTo>
                    <a:pt x="1141" y="422"/>
                    <a:pt x="1003" y="464"/>
                    <a:pt x="867" y="464"/>
                  </a:cubicBezTo>
                  <a:cubicBezTo>
                    <a:pt x="668" y="464"/>
                    <a:pt x="473" y="374"/>
                    <a:pt x="319" y="289"/>
                  </a:cubicBezTo>
                  <a:cubicBezTo>
                    <a:pt x="231" y="237"/>
                    <a:pt x="151" y="166"/>
                    <a:pt x="81" y="89"/>
                  </a:cubicBezTo>
                  <a:lnTo>
                    <a:pt x="77" y="100"/>
                  </a:lnTo>
                  <a:lnTo>
                    <a:pt x="74" y="114"/>
                  </a:lnTo>
                  <a:cubicBezTo>
                    <a:pt x="70" y="124"/>
                    <a:pt x="67" y="131"/>
                    <a:pt x="63" y="142"/>
                  </a:cubicBezTo>
                  <a:cubicBezTo>
                    <a:pt x="63" y="145"/>
                    <a:pt x="60" y="149"/>
                    <a:pt x="60" y="152"/>
                  </a:cubicBezTo>
                  <a:cubicBezTo>
                    <a:pt x="56" y="166"/>
                    <a:pt x="53" y="177"/>
                    <a:pt x="53" y="187"/>
                  </a:cubicBezTo>
                  <a:lnTo>
                    <a:pt x="53" y="191"/>
                  </a:lnTo>
                  <a:cubicBezTo>
                    <a:pt x="49" y="205"/>
                    <a:pt x="49" y="215"/>
                    <a:pt x="46" y="226"/>
                  </a:cubicBezTo>
                  <a:lnTo>
                    <a:pt x="46" y="237"/>
                  </a:lnTo>
                  <a:lnTo>
                    <a:pt x="46" y="261"/>
                  </a:lnTo>
                  <a:lnTo>
                    <a:pt x="46" y="268"/>
                  </a:lnTo>
                  <a:lnTo>
                    <a:pt x="46" y="286"/>
                  </a:lnTo>
                  <a:lnTo>
                    <a:pt x="46" y="293"/>
                  </a:lnTo>
                  <a:cubicBezTo>
                    <a:pt x="49" y="300"/>
                    <a:pt x="49" y="307"/>
                    <a:pt x="49" y="314"/>
                  </a:cubicBezTo>
                  <a:cubicBezTo>
                    <a:pt x="60" y="366"/>
                    <a:pt x="56" y="426"/>
                    <a:pt x="35" y="478"/>
                  </a:cubicBezTo>
                  <a:cubicBezTo>
                    <a:pt x="28" y="499"/>
                    <a:pt x="21" y="524"/>
                    <a:pt x="11" y="541"/>
                  </a:cubicBezTo>
                  <a:lnTo>
                    <a:pt x="0" y="580"/>
                  </a:lnTo>
                  <a:cubicBezTo>
                    <a:pt x="228" y="618"/>
                    <a:pt x="518" y="723"/>
                    <a:pt x="669" y="909"/>
                  </a:cubicBezTo>
                  <a:cubicBezTo>
                    <a:pt x="714" y="972"/>
                    <a:pt x="784" y="1014"/>
                    <a:pt x="861" y="1028"/>
                  </a:cubicBezTo>
                  <a:cubicBezTo>
                    <a:pt x="956" y="1042"/>
                    <a:pt x="1033" y="1101"/>
                    <a:pt x="1075" y="1185"/>
                  </a:cubicBezTo>
                  <a:cubicBezTo>
                    <a:pt x="1088" y="1214"/>
                    <a:pt x="1116" y="1235"/>
                    <a:pt x="1148" y="1235"/>
                  </a:cubicBezTo>
                  <a:cubicBezTo>
                    <a:pt x="1150" y="1235"/>
                    <a:pt x="1153" y="1234"/>
                    <a:pt x="1156" y="1234"/>
                  </a:cubicBezTo>
                  <a:cubicBezTo>
                    <a:pt x="1243" y="1234"/>
                    <a:pt x="1352" y="1140"/>
                    <a:pt x="1383" y="1077"/>
                  </a:cubicBezTo>
                  <a:cubicBezTo>
                    <a:pt x="1394" y="1059"/>
                    <a:pt x="1394" y="1049"/>
                    <a:pt x="1334" y="989"/>
                  </a:cubicBezTo>
                  <a:cubicBezTo>
                    <a:pt x="1278" y="944"/>
                    <a:pt x="1240" y="884"/>
                    <a:pt x="1219" y="814"/>
                  </a:cubicBezTo>
                  <a:cubicBezTo>
                    <a:pt x="1198" y="699"/>
                    <a:pt x="1303" y="657"/>
                    <a:pt x="1373" y="629"/>
                  </a:cubicBezTo>
                  <a:cubicBezTo>
                    <a:pt x="1450" y="601"/>
                    <a:pt x="1495" y="576"/>
                    <a:pt x="1513" y="520"/>
                  </a:cubicBezTo>
                  <a:cubicBezTo>
                    <a:pt x="1534" y="440"/>
                    <a:pt x="1600" y="373"/>
                    <a:pt x="1698" y="324"/>
                  </a:cubicBezTo>
                  <a:cubicBezTo>
                    <a:pt x="1800" y="277"/>
                    <a:pt x="1921" y="250"/>
                    <a:pt x="2029" y="250"/>
                  </a:cubicBezTo>
                  <a:cubicBezTo>
                    <a:pt x="2097" y="250"/>
                    <a:pt x="2160" y="261"/>
                    <a:pt x="2209" y="282"/>
                  </a:cubicBezTo>
                  <a:cubicBezTo>
                    <a:pt x="2356" y="345"/>
                    <a:pt x="2444" y="426"/>
                    <a:pt x="2468" y="520"/>
                  </a:cubicBezTo>
                  <a:cubicBezTo>
                    <a:pt x="2486" y="597"/>
                    <a:pt x="2458" y="678"/>
                    <a:pt x="2388" y="758"/>
                  </a:cubicBezTo>
                  <a:cubicBezTo>
                    <a:pt x="2318" y="839"/>
                    <a:pt x="2531" y="1070"/>
                    <a:pt x="2661" y="1192"/>
                  </a:cubicBezTo>
                  <a:lnTo>
                    <a:pt x="2671" y="1182"/>
                  </a:lnTo>
                  <a:lnTo>
                    <a:pt x="2692" y="1161"/>
                  </a:lnTo>
                  <a:lnTo>
                    <a:pt x="2731" y="1122"/>
                  </a:lnTo>
                  <a:lnTo>
                    <a:pt x="2752" y="1101"/>
                  </a:lnTo>
                  <a:lnTo>
                    <a:pt x="2783" y="1066"/>
                  </a:lnTo>
                  <a:lnTo>
                    <a:pt x="2804" y="1045"/>
                  </a:lnTo>
                  <a:lnTo>
                    <a:pt x="2832" y="1017"/>
                  </a:lnTo>
                  <a:lnTo>
                    <a:pt x="2853" y="1000"/>
                  </a:lnTo>
                  <a:lnTo>
                    <a:pt x="2878" y="975"/>
                  </a:lnTo>
                  <a:lnTo>
                    <a:pt x="2895" y="958"/>
                  </a:lnTo>
                  <a:lnTo>
                    <a:pt x="2920" y="937"/>
                  </a:lnTo>
                  <a:lnTo>
                    <a:pt x="2934" y="923"/>
                  </a:lnTo>
                  <a:lnTo>
                    <a:pt x="2955" y="905"/>
                  </a:lnTo>
                  <a:lnTo>
                    <a:pt x="2966" y="895"/>
                  </a:lnTo>
                  <a:cubicBezTo>
                    <a:pt x="2976" y="888"/>
                    <a:pt x="2983" y="881"/>
                    <a:pt x="2990" y="874"/>
                  </a:cubicBezTo>
                  <a:lnTo>
                    <a:pt x="2994" y="874"/>
                  </a:lnTo>
                  <a:lnTo>
                    <a:pt x="2997" y="870"/>
                  </a:lnTo>
                  <a:lnTo>
                    <a:pt x="3001" y="863"/>
                  </a:lnTo>
                  <a:lnTo>
                    <a:pt x="3001" y="860"/>
                  </a:lnTo>
                  <a:lnTo>
                    <a:pt x="3004" y="853"/>
                  </a:lnTo>
                  <a:lnTo>
                    <a:pt x="3004" y="849"/>
                  </a:lnTo>
                  <a:cubicBezTo>
                    <a:pt x="3004" y="846"/>
                    <a:pt x="3008" y="839"/>
                    <a:pt x="3011" y="835"/>
                  </a:cubicBezTo>
                  <a:cubicBezTo>
                    <a:pt x="3015" y="828"/>
                    <a:pt x="3015" y="821"/>
                    <a:pt x="3018" y="814"/>
                  </a:cubicBezTo>
                  <a:lnTo>
                    <a:pt x="3018" y="807"/>
                  </a:lnTo>
                  <a:lnTo>
                    <a:pt x="3022" y="793"/>
                  </a:lnTo>
                  <a:cubicBezTo>
                    <a:pt x="2945" y="723"/>
                    <a:pt x="2860" y="590"/>
                    <a:pt x="2755" y="433"/>
                  </a:cubicBezTo>
                  <a:lnTo>
                    <a:pt x="2710" y="366"/>
                  </a:lnTo>
                  <a:cubicBezTo>
                    <a:pt x="2591" y="184"/>
                    <a:pt x="2398" y="138"/>
                    <a:pt x="2213" y="96"/>
                  </a:cubicBezTo>
                  <a:cubicBezTo>
                    <a:pt x="2129" y="79"/>
                    <a:pt x="2052" y="58"/>
                    <a:pt x="1975" y="26"/>
                  </a:cubicBezTo>
                  <a:cubicBezTo>
                    <a:pt x="1933" y="8"/>
                    <a:pt x="1890" y="0"/>
                    <a:pt x="1846"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164" name="Google Shape;5164;p104"/>
            <p:cNvSpPr/>
            <p:nvPr/>
          </p:nvSpPr>
          <p:spPr>
            <a:xfrm>
              <a:off x="1428272" y="1975013"/>
              <a:ext cx="109" cy="489"/>
            </a:xfrm>
            <a:custGeom>
              <a:avLst/>
              <a:gdLst/>
              <a:ahLst/>
              <a:cxnLst/>
              <a:rect l="l" t="t" r="r" b="b"/>
              <a:pathLst>
                <a:path w="8" h="36" extrusionOk="0">
                  <a:moveTo>
                    <a:pt x="8" y="1"/>
                  </a:moveTo>
                  <a:cubicBezTo>
                    <a:pt x="4" y="11"/>
                    <a:pt x="1" y="25"/>
                    <a:pt x="1" y="36"/>
                  </a:cubicBezTo>
                  <a:cubicBezTo>
                    <a:pt x="4" y="25"/>
                    <a:pt x="4" y="15"/>
                    <a:pt x="8" y="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165" name="Google Shape;5165;p104"/>
            <p:cNvSpPr/>
            <p:nvPr/>
          </p:nvSpPr>
          <p:spPr>
            <a:xfrm>
              <a:off x="1428272" y="1975637"/>
              <a:ext cx="14" cy="299"/>
            </a:xfrm>
            <a:custGeom>
              <a:avLst/>
              <a:gdLst/>
              <a:ahLst/>
              <a:cxnLst/>
              <a:rect l="l" t="t" r="r" b="b"/>
              <a:pathLst>
                <a:path w="1" h="22" extrusionOk="0">
                  <a:moveTo>
                    <a:pt x="1" y="22"/>
                  </a:moveTo>
                  <a:lnTo>
                    <a:pt x="1" y="1"/>
                  </a:lnTo>
                  <a:cubicBezTo>
                    <a:pt x="1" y="8"/>
                    <a:pt x="1" y="15"/>
                    <a:pt x="1" y="22"/>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166" name="Google Shape;5166;p104"/>
            <p:cNvSpPr/>
            <p:nvPr/>
          </p:nvSpPr>
          <p:spPr>
            <a:xfrm>
              <a:off x="1428707" y="1973641"/>
              <a:ext cx="109" cy="149"/>
            </a:xfrm>
            <a:custGeom>
              <a:avLst/>
              <a:gdLst/>
              <a:ahLst/>
              <a:cxnLst/>
              <a:rect l="l" t="t" r="r" b="b"/>
              <a:pathLst>
                <a:path w="8" h="11" extrusionOk="0">
                  <a:moveTo>
                    <a:pt x="7" y="0"/>
                  </a:moveTo>
                  <a:lnTo>
                    <a:pt x="0" y="11"/>
                  </a:lnTo>
                  <a:cubicBezTo>
                    <a:pt x="4" y="7"/>
                    <a:pt x="7" y="4"/>
                    <a:pt x="7"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167" name="Google Shape;5167;p104"/>
            <p:cNvSpPr/>
            <p:nvPr/>
          </p:nvSpPr>
          <p:spPr>
            <a:xfrm>
              <a:off x="1428272" y="1976072"/>
              <a:ext cx="14" cy="244"/>
            </a:xfrm>
            <a:custGeom>
              <a:avLst/>
              <a:gdLst/>
              <a:ahLst/>
              <a:cxnLst/>
              <a:rect l="l" t="t" r="r" b="b"/>
              <a:pathLst>
                <a:path w="1" h="18" extrusionOk="0">
                  <a:moveTo>
                    <a:pt x="1" y="18"/>
                  </a:moveTo>
                  <a:lnTo>
                    <a:pt x="1" y="0"/>
                  </a:lnTo>
                  <a:cubicBezTo>
                    <a:pt x="1" y="7"/>
                    <a:pt x="1" y="14"/>
                    <a:pt x="1" y="18"/>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168" name="Google Shape;5168;p104"/>
            <p:cNvSpPr/>
            <p:nvPr/>
          </p:nvSpPr>
          <p:spPr>
            <a:xfrm>
              <a:off x="1427797" y="1978923"/>
              <a:ext cx="299" cy="869"/>
            </a:xfrm>
            <a:custGeom>
              <a:avLst/>
              <a:gdLst/>
              <a:ahLst/>
              <a:cxnLst/>
              <a:rect l="l" t="t" r="r" b="b"/>
              <a:pathLst>
                <a:path w="22" h="64" extrusionOk="0">
                  <a:moveTo>
                    <a:pt x="22" y="0"/>
                  </a:moveTo>
                  <a:lnTo>
                    <a:pt x="22" y="0"/>
                  </a:lnTo>
                  <a:cubicBezTo>
                    <a:pt x="15" y="18"/>
                    <a:pt x="8" y="42"/>
                    <a:pt x="1" y="63"/>
                  </a:cubicBezTo>
                  <a:cubicBezTo>
                    <a:pt x="11" y="42"/>
                    <a:pt x="18" y="21"/>
                    <a:pt x="22"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169" name="Google Shape;5169;p104"/>
            <p:cNvSpPr/>
            <p:nvPr/>
          </p:nvSpPr>
          <p:spPr>
            <a:xfrm>
              <a:off x="1428082" y="1976642"/>
              <a:ext cx="394" cy="2295"/>
            </a:xfrm>
            <a:custGeom>
              <a:avLst/>
              <a:gdLst/>
              <a:ahLst/>
              <a:cxnLst/>
              <a:rect l="l" t="t" r="r" b="b"/>
              <a:pathLst>
                <a:path w="29" h="169" extrusionOk="0">
                  <a:moveTo>
                    <a:pt x="18" y="0"/>
                  </a:moveTo>
                  <a:lnTo>
                    <a:pt x="18" y="0"/>
                  </a:lnTo>
                  <a:cubicBezTo>
                    <a:pt x="29" y="56"/>
                    <a:pt x="25" y="116"/>
                    <a:pt x="1" y="168"/>
                  </a:cubicBezTo>
                  <a:cubicBezTo>
                    <a:pt x="25" y="116"/>
                    <a:pt x="29" y="56"/>
                    <a:pt x="18"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170" name="Google Shape;5170;p104"/>
            <p:cNvSpPr/>
            <p:nvPr/>
          </p:nvSpPr>
          <p:spPr>
            <a:xfrm>
              <a:off x="1428272" y="1976397"/>
              <a:ext cx="68" cy="258"/>
            </a:xfrm>
            <a:custGeom>
              <a:avLst/>
              <a:gdLst/>
              <a:ahLst/>
              <a:cxnLst/>
              <a:rect l="l" t="t" r="r" b="b"/>
              <a:pathLst>
                <a:path w="5" h="19" extrusionOk="0">
                  <a:moveTo>
                    <a:pt x="4" y="18"/>
                  </a:moveTo>
                  <a:cubicBezTo>
                    <a:pt x="4" y="11"/>
                    <a:pt x="1" y="8"/>
                    <a:pt x="1" y="1"/>
                  </a:cubicBezTo>
                  <a:cubicBezTo>
                    <a:pt x="1" y="8"/>
                    <a:pt x="4" y="11"/>
                    <a:pt x="4" y="18"/>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171" name="Google Shape;5171;p104"/>
            <p:cNvSpPr/>
            <p:nvPr/>
          </p:nvSpPr>
          <p:spPr>
            <a:xfrm>
              <a:off x="1428368" y="1974497"/>
              <a:ext cx="109" cy="489"/>
            </a:xfrm>
            <a:custGeom>
              <a:avLst/>
              <a:gdLst/>
              <a:ahLst/>
              <a:cxnLst/>
              <a:rect l="l" t="t" r="r" b="b"/>
              <a:pathLst>
                <a:path w="8" h="36" extrusionOk="0">
                  <a:moveTo>
                    <a:pt x="8" y="1"/>
                  </a:moveTo>
                  <a:lnTo>
                    <a:pt x="8" y="1"/>
                  </a:lnTo>
                  <a:cubicBezTo>
                    <a:pt x="4" y="15"/>
                    <a:pt x="1" y="25"/>
                    <a:pt x="1" y="35"/>
                  </a:cubicBezTo>
                  <a:cubicBezTo>
                    <a:pt x="4" y="25"/>
                    <a:pt x="4" y="15"/>
                    <a:pt x="8" y="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172" name="Google Shape;5172;p104"/>
            <p:cNvSpPr/>
            <p:nvPr/>
          </p:nvSpPr>
          <p:spPr>
            <a:xfrm>
              <a:off x="1427662" y="1979778"/>
              <a:ext cx="149" cy="489"/>
            </a:xfrm>
            <a:custGeom>
              <a:avLst/>
              <a:gdLst/>
              <a:ahLst/>
              <a:cxnLst/>
              <a:rect l="l" t="t" r="r" b="b"/>
              <a:pathLst>
                <a:path w="11" h="36" extrusionOk="0">
                  <a:moveTo>
                    <a:pt x="0" y="35"/>
                  </a:moveTo>
                  <a:lnTo>
                    <a:pt x="0" y="35"/>
                  </a:lnTo>
                  <a:lnTo>
                    <a:pt x="11"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173" name="Google Shape;5173;p104"/>
            <p:cNvSpPr/>
            <p:nvPr/>
          </p:nvSpPr>
          <p:spPr>
            <a:xfrm>
              <a:off x="1428558" y="1973967"/>
              <a:ext cx="109" cy="394"/>
            </a:xfrm>
            <a:custGeom>
              <a:avLst/>
              <a:gdLst/>
              <a:ahLst/>
              <a:cxnLst/>
              <a:rect l="l" t="t" r="r" b="b"/>
              <a:pathLst>
                <a:path w="8" h="29" extrusionOk="0">
                  <a:moveTo>
                    <a:pt x="8" y="1"/>
                  </a:moveTo>
                  <a:lnTo>
                    <a:pt x="8" y="1"/>
                  </a:lnTo>
                  <a:cubicBezTo>
                    <a:pt x="4" y="8"/>
                    <a:pt x="1" y="18"/>
                    <a:pt x="1" y="29"/>
                  </a:cubicBezTo>
                  <a:cubicBezTo>
                    <a:pt x="1" y="18"/>
                    <a:pt x="4" y="11"/>
                    <a:pt x="8" y="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174" name="Google Shape;5174;p104"/>
            <p:cNvSpPr/>
            <p:nvPr/>
          </p:nvSpPr>
          <p:spPr>
            <a:xfrm>
              <a:off x="1456704" y="1951401"/>
              <a:ext cx="86665" cy="123066"/>
            </a:xfrm>
            <a:custGeom>
              <a:avLst/>
              <a:gdLst/>
              <a:ahLst/>
              <a:cxnLst/>
              <a:rect l="l" t="t" r="r" b="b"/>
              <a:pathLst>
                <a:path w="6383" h="9064" extrusionOk="0">
                  <a:moveTo>
                    <a:pt x="4068" y="1"/>
                  </a:moveTo>
                  <a:cubicBezTo>
                    <a:pt x="4013" y="1"/>
                    <a:pt x="3957" y="46"/>
                    <a:pt x="3869" y="130"/>
                  </a:cubicBezTo>
                  <a:cubicBezTo>
                    <a:pt x="3781" y="210"/>
                    <a:pt x="3683" y="301"/>
                    <a:pt x="3554" y="319"/>
                  </a:cubicBezTo>
                  <a:cubicBezTo>
                    <a:pt x="3414" y="340"/>
                    <a:pt x="3347" y="399"/>
                    <a:pt x="3270" y="466"/>
                  </a:cubicBezTo>
                  <a:cubicBezTo>
                    <a:pt x="3221" y="515"/>
                    <a:pt x="3162" y="557"/>
                    <a:pt x="3099" y="592"/>
                  </a:cubicBezTo>
                  <a:cubicBezTo>
                    <a:pt x="3015" y="627"/>
                    <a:pt x="2920" y="648"/>
                    <a:pt x="2825" y="648"/>
                  </a:cubicBezTo>
                  <a:cubicBezTo>
                    <a:pt x="2748" y="655"/>
                    <a:pt x="2640" y="665"/>
                    <a:pt x="2640" y="697"/>
                  </a:cubicBezTo>
                  <a:cubicBezTo>
                    <a:pt x="2636" y="728"/>
                    <a:pt x="2629" y="791"/>
                    <a:pt x="2577" y="816"/>
                  </a:cubicBezTo>
                  <a:cubicBezTo>
                    <a:pt x="2563" y="823"/>
                    <a:pt x="2550" y="826"/>
                    <a:pt x="2536" y="826"/>
                  </a:cubicBezTo>
                  <a:cubicBezTo>
                    <a:pt x="2498" y="826"/>
                    <a:pt x="2459" y="801"/>
                    <a:pt x="2423" y="777"/>
                  </a:cubicBezTo>
                  <a:cubicBezTo>
                    <a:pt x="2384" y="753"/>
                    <a:pt x="2346" y="732"/>
                    <a:pt x="2304" y="718"/>
                  </a:cubicBezTo>
                  <a:cubicBezTo>
                    <a:pt x="2301" y="717"/>
                    <a:pt x="2298" y="717"/>
                    <a:pt x="2294" y="717"/>
                  </a:cubicBezTo>
                  <a:cubicBezTo>
                    <a:pt x="2259" y="717"/>
                    <a:pt x="2181" y="748"/>
                    <a:pt x="2076" y="833"/>
                  </a:cubicBezTo>
                  <a:cubicBezTo>
                    <a:pt x="1961" y="931"/>
                    <a:pt x="1870" y="1057"/>
                    <a:pt x="1873" y="1124"/>
                  </a:cubicBezTo>
                  <a:cubicBezTo>
                    <a:pt x="1873" y="1148"/>
                    <a:pt x="1877" y="1169"/>
                    <a:pt x="1880" y="1194"/>
                  </a:cubicBezTo>
                  <a:cubicBezTo>
                    <a:pt x="1898" y="1355"/>
                    <a:pt x="1915" y="1537"/>
                    <a:pt x="1649" y="1705"/>
                  </a:cubicBezTo>
                  <a:cubicBezTo>
                    <a:pt x="1467" y="1821"/>
                    <a:pt x="1338" y="2013"/>
                    <a:pt x="1233" y="2164"/>
                  </a:cubicBezTo>
                  <a:cubicBezTo>
                    <a:pt x="1191" y="2227"/>
                    <a:pt x="1156" y="2279"/>
                    <a:pt x="1121" y="2321"/>
                  </a:cubicBezTo>
                  <a:cubicBezTo>
                    <a:pt x="1093" y="2360"/>
                    <a:pt x="1047" y="2384"/>
                    <a:pt x="998" y="2384"/>
                  </a:cubicBezTo>
                  <a:lnTo>
                    <a:pt x="998" y="2388"/>
                  </a:lnTo>
                  <a:cubicBezTo>
                    <a:pt x="995" y="2405"/>
                    <a:pt x="988" y="2419"/>
                    <a:pt x="984" y="2433"/>
                  </a:cubicBezTo>
                  <a:lnTo>
                    <a:pt x="981" y="2440"/>
                  </a:lnTo>
                  <a:cubicBezTo>
                    <a:pt x="977" y="2451"/>
                    <a:pt x="970" y="2461"/>
                    <a:pt x="967" y="2472"/>
                  </a:cubicBezTo>
                  <a:lnTo>
                    <a:pt x="963" y="2475"/>
                  </a:lnTo>
                  <a:cubicBezTo>
                    <a:pt x="956" y="2486"/>
                    <a:pt x="949" y="2496"/>
                    <a:pt x="942" y="2503"/>
                  </a:cubicBezTo>
                  <a:lnTo>
                    <a:pt x="939" y="2510"/>
                  </a:lnTo>
                  <a:cubicBezTo>
                    <a:pt x="932" y="2517"/>
                    <a:pt x="925" y="2524"/>
                    <a:pt x="914" y="2531"/>
                  </a:cubicBezTo>
                  <a:lnTo>
                    <a:pt x="900" y="2542"/>
                  </a:lnTo>
                  <a:lnTo>
                    <a:pt x="897" y="2549"/>
                  </a:lnTo>
                  <a:lnTo>
                    <a:pt x="886" y="2556"/>
                  </a:lnTo>
                  <a:lnTo>
                    <a:pt x="879" y="2563"/>
                  </a:lnTo>
                  <a:lnTo>
                    <a:pt x="869" y="2573"/>
                  </a:lnTo>
                  <a:lnTo>
                    <a:pt x="858" y="2580"/>
                  </a:lnTo>
                  <a:lnTo>
                    <a:pt x="848" y="2591"/>
                  </a:lnTo>
                  <a:lnTo>
                    <a:pt x="841" y="2598"/>
                  </a:lnTo>
                  <a:lnTo>
                    <a:pt x="827" y="2612"/>
                  </a:lnTo>
                  <a:lnTo>
                    <a:pt x="816" y="2619"/>
                  </a:lnTo>
                  <a:lnTo>
                    <a:pt x="798" y="2636"/>
                  </a:lnTo>
                  <a:lnTo>
                    <a:pt x="788" y="2647"/>
                  </a:lnTo>
                  <a:lnTo>
                    <a:pt x="770" y="2664"/>
                  </a:lnTo>
                  <a:lnTo>
                    <a:pt x="760" y="2675"/>
                  </a:lnTo>
                  <a:lnTo>
                    <a:pt x="746" y="2685"/>
                  </a:lnTo>
                  <a:lnTo>
                    <a:pt x="735" y="2699"/>
                  </a:lnTo>
                  <a:lnTo>
                    <a:pt x="721" y="2710"/>
                  </a:lnTo>
                  <a:lnTo>
                    <a:pt x="711" y="2724"/>
                  </a:lnTo>
                  <a:lnTo>
                    <a:pt x="697" y="2734"/>
                  </a:lnTo>
                  <a:lnTo>
                    <a:pt x="686" y="2748"/>
                  </a:lnTo>
                  <a:lnTo>
                    <a:pt x="676" y="2759"/>
                  </a:lnTo>
                  <a:lnTo>
                    <a:pt x="662" y="2773"/>
                  </a:lnTo>
                  <a:lnTo>
                    <a:pt x="658" y="2780"/>
                  </a:lnTo>
                  <a:lnTo>
                    <a:pt x="599" y="2836"/>
                  </a:lnTo>
                  <a:cubicBezTo>
                    <a:pt x="651" y="2885"/>
                    <a:pt x="697" y="2927"/>
                    <a:pt x="732" y="2965"/>
                  </a:cubicBezTo>
                  <a:cubicBezTo>
                    <a:pt x="823" y="3056"/>
                    <a:pt x="865" y="3186"/>
                    <a:pt x="848" y="3315"/>
                  </a:cubicBezTo>
                  <a:cubicBezTo>
                    <a:pt x="841" y="3347"/>
                    <a:pt x="844" y="3375"/>
                    <a:pt x="851" y="3403"/>
                  </a:cubicBezTo>
                  <a:cubicBezTo>
                    <a:pt x="974" y="3644"/>
                    <a:pt x="897" y="3746"/>
                    <a:pt x="834" y="3788"/>
                  </a:cubicBezTo>
                  <a:cubicBezTo>
                    <a:pt x="784" y="3872"/>
                    <a:pt x="848" y="4443"/>
                    <a:pt x="939" y="4541"/>
                  </a:cubicBezTo>
                  <a:cubicBezTo>
                    <a:pt x="1054" y="4674"/>
                    <a:pt x="988" y="4793"/>
                    <a:pt x="900" y="4950"/>
                  </a:cubicBezTo>
                  <a:cubicBezTo>
                    <a:pt x="879" y="4989"/>
                    <a:pt x="851" y="5038"/>
                    <a:pt x="827" y="5087"/>
                  </a:cubicBezTo>
                  <a:cubicBezTo>
                    <a:pt x="704" y="5328"/>
                    <a:pt x="585" y="5472"/>
                    <a:pt x="322" y="5486"/>
                  </a:cubicBezTo>
                  <a:cubicBezTo>
                    <a:pt x="235" y="5493"/>
                    <a:pt x="200" y="5577"/>
                    <a:pt x="165" y="5689"/>
                  </a:cubicBezTo>
                  <a:cubicBezTo>
                    <a:pt x="140" y="5759"/>
                    <a:pt x="116" y="5832"/>
                    <a:pt x="49" y="5839"/>
                  </a:cubicBezTo>
                  <a:cubicBezTo>
                    <a:pt x="21" y="5878"/>
                    <a:pt x="7" y="5927"/>
                    <a:pt x="0" y="5973"/>
                  </a:cubicBezTo>
                  <a:lnTo>
                    <a:pt x="11" y="5983"/>
                  </a:lnTo>
                  <a:lnTo>
                    <a:pt x="28" y="5997"/>
                  </a:lnTo>
                  <a:lnTo>
                    <a:pt x="53" y="6015"/>
                  </a:lnTo>
                  <a:lnTo>
                    <a:pt x="74" y="6029"/>
                  </a:lnTo>
                  <a:lnTo>
                    <a:pt x="98" y="6050"/>
                  </a:lnTo>
                  <a:lnTo>
                    <a:pt x="119" y="6060"/>
                  </a:lnTo>
                  <a:lnTo>
                    <a:pt x="147" y="6081"/>
                  </a:lnTo>
                  <a:lnTo>
                    <a:pt x="165" y="6095"/>
                  </a:lnTo>
                  <a:lnTo>
                    <a:pt x="193" y="6113"/>
                  </a:lnTo>
                  <a:lnTo>
                    <a:pt x="214" y="6123"/>
                  </a:lnTo>
                  <a:lnTo>
                    <a:pt x="242" y="6141"/>
                  </a:lnTo>
                  <a:lnTo>
                    <a:pt x="259" y="6155"/>
                  </a:lnTo>
                  <a:lnTo>
                    <a:pt x="287" y="6169"/>
                  </a:lnTo>
                  <a:lnTo>
                    <a:pt x="308" y="6183"/>
                  </a:lnTo>
                  <a:lnTo>
                    <a:pt x="333" y="6197"/>
                  </a:lnTo>
                  <a:lnTo>
                    <a:pt x="354" y="6207"/>
                  </a:lnTo>
                  <a:lnTo>
                    <a:pt x="378" y="6221"/>
                  </a:lnTo>
                  <a:lnTo>
                    <a:pt x="396" y="6232"/>
                  </a:lnTo>
                  <a:lnTo>
                    <a:pt x="420" y="6242"/>
                  </a:lnTo>
                  <a:lnTo>
                    <a:pt x="438" y="6253"/>
                  </a:lnTo>
                  <a:lnTo>
                    <a:pt x="459" y="6263"/>
                  </a:lnTo>
                  <a:lnTo>
                    <a:pt x="476" y="6270"/>
                  </a:lnTo>
                  <a:lnTo>
                    <a:pt x="497" y="6281"/>
                  </a:lnTo>
                  <a:lnTo>
                    <a:pt x="511" y="6288"/>
                  </a:lnTo>
                  <a:lnTo>
                    <a:pt x="529" y="6295"/>
                  </a:lnTo>
                  <a:lnTo>
                    <a:pt x="543" y="6298"/>
                  </a:lnTo>
                  <a:lnTo>
                    <a:pt x="557" y="6305"/>
                  </a:lnTo>
                  <a:lnTo>
                    <a:pt x="567" y="6309"/>
                  </a:lnTo>
                  <a:lnTo>
                    <a:pt x="585" y="6312"/>
                  </a:lnTo>
                  <a:lnTo>
                    <a:pt x="606" y="6312"/>
                  </a:lnTo>
                  <a:cubicBezTo>
                    <a:pt x="700" y="6312"/>
                    <a:pt x="763" y="6379"/>
                    <a:pt x="834" y="6449"/>
                  </a:cubicBezTo>
                  <a:cubicBezTo>
                    <a:pt x="876" y="6494"/>
                    <a:pt x="928" y="6540"/>
                    <a:pt x="981" y="6575"/>
                  </a:cubicBezTo>
                  <a:lnTo>
                    <a:pt x="1002" y="6582"/>
                  </a:lnTo>
                  <a:cubicBezTo>
                    <a:pt x="1053" y="6609"/>
                    <a:pt x="1111" y="6621"/>
                    <a:pt x="1169" y="6621"/>
                  </a:cubicBezTo>
                  <a:cubicBezTo>
                    <a:pt x="1202" y="6621"/>
                    <a:pt x="1235" y="6617"/>
                    <a:pt x="1268" y="6610"/>
                  </a:cubicBezTo>
                  <a:cubicBezTo>
                    <a:pt x="1285" y="6606"/>
                    <a:pt x="1303" y="6599"/>
                    <a:pt x="1313" y="6589"/>
                  </a:cubicBezTo>
                  <a:cubicBezTo>
                    <a:pt x="1334" y="6564"/>
                    <a:pt x="1362" y="6550"/>
                    <a:pt x="1394" y="6550"/>
                  </a:cubicBezTo>
                  <a:lnTo>
                    <a:pt x="1418" y="6550"/>
                  </a:lnTo>
                  <a:lnTo>
                    <a:pt x="1432" y="6554"/>
                  </a:lnTo>
                  <a:lnTo>
                    <a:pt x="1439" y="6554"/>
                  </a:lnTo>
                  <a:lnTo>
                    <a:pt x="1450" y="6557"/>
                  </a:lnTo>
                  <a:lnTo>
                    <a:pt x="1457" y="6561"/>
                  </a:lnTo>
                  <a:lnTo>
                    <a:pt x="1471" y="6564"/>
                  </a:lnTo>
                  <a:lnTo>
                    <a:pt x="1478" y="6568"/>
                  </a:lnTo>
                  <a:lnTo>
                    <a:pt x="1492" y="6578"/>
                  </a:lnTo>
                  <a:lnTo>
                    <a:pt x="1495" y="6582"/>
                  </a:lnTo>
                  <a:lnTo>
                    <a:pt x="1513" y="6592"/>
                  </a:lnTo>
                  <a:lnTo>
                    <a:pt x="1534" y="6606"/>
                  </a:lnTo>
                  <a:lnTo>
                    <a:pt x="1537" y="6610"/>
                  </a:lnTo>
                  <a:lnTo>
                    <a:pt x="1558" y="6627"/>
                  </a:lnTo>
                  <a:cubicBezTo>
                    <a:pt x="1649" y="6708"/>
                    <a:pt x="1737" y="6799"/>
                    <a:pt x="1821" y="6890"/>
                  </a:cubicBezTo>
                  <a:lnTo>
                    <a:pt x="1835" y="6886"/>
                  </a:lnTo>
                  <a:lnTo>
                    <a:pt x="1870" y="6883"/>
                  </a:lnTo>
                  <a:lnTo>
                    <a:pt x="1901" y="6876"/>
                  </a:lnTo>
                  <a:lnTo>
                    <a:pt x="1929" y="6872"/>
                  </a:lnTo>
                  <a:lnTo>
                    <a:pt x="1957" y="6865"/>
                  </a:lnTo>
                  <a:lnTo>
                    <a:pt x="1985" y="6862"/>
                  </a:lnTo>
                  <a:lnTo>
                    <a:pt x="2010" y="6858"/>
                  </a:lnTo>
                  <a:lnTo>
                    <a:pt x="2230" y="6858"/>
                  </a:lnTo>
                  <a:lnTo>
                    <a:pt x="2241" y="6862"/>
                  </a:lnTo>
                  <a:lnTo>
                    <a:pt x="2248" y="6862"/>
                  </a:lnTo>
                  <a:lnTo>
                    <a:pt x="2258" y="6865"/>
                  </a:lnTo>
                  <a:lnTo>
                    <a:pt x="2265" y="6865"/>
                  </a:lnTo>
                  <a:lnTo>
                    <a:pt x="2272" y="6869"/>
                  </a:lnTo>
                  <a:lnTo>
                    <a:pt x="2276" y="6869"/>
                  </a:lnTo>
                  <a:lnTo>
                    <a:pt x="2283" y="6872"/>
                  </a:lnTo>
                  <a:lnTo>
                    <a:pt x="2286" y="6872"/>
                  </a:lnTo>
                  <a:lnTo>
                    <a:pt x="2293" y="6876"/>
                  </a:lnTo>
                  <a:lnTo>
                    <a:pt x="2300" y="6879"/>
                  </a:lnTo>
                  <a:cubicBezTo>
                    <a:pt x="2388" y="6932"/>
                    <a:pt x="2423" y="7033"/>
                    <a:pt x="2454" y="7131"/>
                  </a:cubicBezTo>
                  <a:cubicBezTo>
                    <a:pt x="2500" y="7261"/>
                    <a:pt x="2528" y="7320"/>
                    <a:pt x="2594" y="7327"/>
                  </a:cubicBezTo>
                  <a:cubicBezTo>
                    <a:pt x="2724" y="7341"/>
                    <a:pt x="2843" y="7408"/>
                    <a:pt x="2920" y="7513"/>
                  </a:cubicBezTo>
                  <a:cubicBezTo>
                    <a:pt x="2976" y="7576"/>
                    <a:pt x="3004" y="7660"/>
                    <a:pt x="2997" y="7744"/>
                  </a:cubicBezTo>
                  <a:cubicBezTo>
                    <a:pt x="2994" y="7761"/>
                    <a:pt x="3036" y="7796"/>
                    <a:pt x="3064" y="7821"/>
                  </a:cubicBezTo>
                  <a:cubicBezTo>
                    <a:pt x="3130" y="7877"/>
                    <a:pt x="3221" y="7957"/>
                    <a:pt x="3207" y="8084"/>
                  </a:cubicBezTo>
                  <a:cubicBezTo>
                    <a:pt x="3207" y="8084"/>
                    <a:pt x="3214" y="8098"/>
                    <a:pt x="3256" y="8112"/>
                  </a:cubicBezTo>
                  <a:cubicBezTo>
                    <a:pt x="3311" y="8128"/>
                    <a:pt x="3384" y="8135"/>
                    <a:pt x="3457" y="8135"/>
                  </a:cubicBezTo>
                  <a:cubicBezTo>
                    <a:pt x="3580" y="8135"/>
                    <a:pt x="3704" y="8116"/>
                    <a:pt x="3732" y="8101"/>
                  </a:cubicBezTo>
                  <a:cubicBezTo>
                    <a:pt x="3793" y="8053"/>
                    <a:pt x="3886" y="8021"/>
                    <a:pt x="3975" y="8021"/>
                  </a:cubicBezTo>
                  <a:cubicBezTo>
                    <a:pt x="4029" y="8021"/>
                    <a:pt x="4081" y="8033"/>
                    <a:pt x="4124" y="8059"/>
                  </a:cubicBezTo>
                  <a:cubicBezTo>
                    <a:pt x="4133" y="8063"/>
                    <a:pt x="4143" y="8065"/>
                    <a:pt x="4156" y="8065"/>
                  </a:cubicBezTo>
                  <a:cubicBezTo>
                    <a:pt x="4187" y="8065"/>
                    <a:pt x="4229" y="8055"/>
                    <a:pt x="4271" y="8045"/>
                  </a:cubicBezTo>
                  <a:lnTo>
                    <a:pt x="4303" y="8038"/>
                  </a:lnTo>
                  <a:lnTo>
                    <a:pt x="4306" y="8038"/>
                  </a:lnTo>
                  <a:lnTo>
                    <a:pt x="4334" y="8031"/>
                  </a:lnTo>
                  <a:lnTo>
                    <a:pt x="4341" y="8031"/>
                  </a:lnTo>
                  <a:cubicBezTo>
                    <a:pt x="4362" y="8028"/>
                    <a:pt x="4383" y="8024"/>
                    <a:pt x="4404" y="8024"/>
                  </a:cubicBezTo>
                  <a:lnTo>
                    <a:pt x="4408" y="8024"/>
                  </a:lnTo>
                  <a:cubicBezTo>
                    <a:pt x="4418" y="8024"/>
                    <a:pt x="4429" y="8024"/>
                    <a:pt x="4439" y="8028"/>
                  </a:cubicBezTo>
                  <a:lnTo>
                    <a:pt x="4446" y="8028"/>
                  </a:lnTo>
                  <a:cubicBezTo>
                    <a:pt x="4457" y="8028"/>
                    <a:pt x="4467" y="8031"/>
                    <a:pt x="4474" y="8035"/>
                  </a:cubicBezTo>
                  <a:cubicBezTo>
                    <a:pt x="4604" y="8080"/>
                    <a:pt x="4726" y="8147"/>
                    <a:pt x="4835" y="8227"/>
                  </a:cubicBezTo>
                  <a:cubicBezTo>
                    <a:pt x="4873" y="8255"/>
                    <a:pt x="4901" y="8294"/>
                    <a:pt x="4919" y="8336"/>
                  </a:cubicBezTo>
                  <a:cubicBezTo>
                    <a:pt x="4933" y="8374"/>
                    <a:pt x="4929" y="8416"/>
                    <a:pt x="4908" y="8451"/>
                  </a:cubicBezTo>
                  <a:cubicBezTo>
                    <a:pt x="4870" y="8511"/>
                    <a:pt x="4824" y="8567"/>
                    <a:pt x="4779" y="8619"/>
                  </a:cubicBezTo>
                  <a:cubicBezTo>
                    <a:pt x="4726" y="8675"/>
                    <a:pt x="4607" y="8812"/>
                    <a:pt x="4625" y="8847"/>
                  </a:cubicBezTo>
                  <a:cubicBezTo>
                    <a:pt x="4639" y="8875"/>
                    <a:pt x="4695" y="8910"/>
                    <a:pt x="4747" y="8941"/>
                  </a:cubicBezTo>
                  <a:lnTo>
                    <a:pt x="4786" y="8962"/>
                  </a:lnTo>
                  <a:lnTo>
                    <a:pt x="4793" y="8969"/>
                  </a:lnTo>
                  <a:lnTo>
                    <a:pt x="4831" y="8994"/>
                  </a:lnTo>
                  <a:lnTo>
                    <a:pt x="4838" y="9001"/>
                  </a:lnTo>
                  <a:cubicBezTo>
                    <a:pt x="4852" y="9008"/>
                    <a:pt x="4863" y="9018"/>
                    <a:pt x="4873" y="9025"/>
                  </a:cubicBezTo>
                  <a:lnTo>
                    <a:pt x="4877" y="9029"/>
                  </a:lnTo>
                  <a:cubicBezTo>
                    <a:pt x="4887" y="9039"/>
                    <a:pt x="4901" y="9050"/>
                    <a:pt x="4912" y="9060"/>
                  </a:cubicBezTo>
                  <a:lnTo>
                    <a:pt x="4915" y="9064"/>
                  </a:lnTo>
                  <a:lnTo>
                    <a:pt x="4919" y="9060"/>
                  </a:lnTo>
                  <a:cubicBezTo>
                    <a:pt x="4922" y="9057"/>
                    <a:pt x="4926" y="9050"/>
                    <a:pt x="4929" y="9046"/>
                  </a:cubicBezTo>
                  <a:lnTo>
                    <a:pt x="4933" y="9043"/>
                  </a:lnTo>
                  <a:cubicBezTo>
                    <a:pt x="4936" y="9036"/>
                    <a:pt x="4940" y="9029"/>
                    <a:pt x="4943" y="9022"/>
                  </a:cubicBezTo>
                  <a:lnTo>
                    <a:pt x="4947" y="9015"/>
                  </a:lnTo>
                  <a:cubicBezTo>
                    <a:pt x="4950" y="9011"/>
                    <a:pt x="4954" y="9001"/>
                    <a:pt x="4954" y="8994"/>
                  </a:cubicBezTo>
                  <a:lnTo>
                    <a:pt x="4957" y="8983"/>
                  </a:lnTo>
                  <a:cubicBezTo>
                    <a:pt x="4961" y="8976"/>
                    <a:pt x="4965" y="8969"/>
                    <a:pt x="4968" y="8959"/>
                  </a:cubicBezTo>
                  <a:lnTo>
                    <a:pt x="4972" y="8948"/>
                  </a:lnTo>
                  <a:cubicBezTo>
                    <a:pt x="4975" y="8938"/>
                    <a:pt x="4979" y="8927"/>
                    <a:pt x="4982" y="8917"/>
                  </a:cubicBezTo>
                  <a:lnTo>
                    <a:pt x="4986" y="8903"/>
                  </a:lnTo>
                  <a:cubicBezTo>
                    <a:pt x="4989" y="8892"/>
                    <a:pt x="4993" y="8885"/>
                    <a:pt x="4993" y="8875"/>
                  </a:cubicBezTo>
                  <a:lnTo>
                    <a:pt x="5000" y="8857"/>
                  </a:lnTo>
                  <a:cubicBezTo>
                    <a:pt x="5000" y="8847"/>
                    <a:pt x="5003" y="8836"/>
                    <a:pt x="5007" y="8826"/>
                  </a:cubicBezTo>
                  <a:lnTo>
                    <a:pt x="5010" y="8808"/>
                  </a:lnTo>
                  <a:cubicBezTo>
                    <a:pt x="5014" y="8798"/>
                    <a:pt x="5014" y="8787"/>
                    <a:pt x="5017" y="8777"/>
                  </a:cubicBezTo>
                  <a:lnTo>
                    <a:pt x="5021" y="8756"/>
                  </a:lnTo>
                  <a:cubicBezTo>
                    <a:pt x="5021" y="8745"/>
                    <a:pt x="5024" y="8735"/>
                    <a:pt x="5028" y="8724"/>
                  </a:cubicBezTo>
                  <a:lnTo>
                    <a:pt x="5031" y="8703"/>
                  </a:lnTo>
                  <a:cubicBezTo>
                    <a:pt x="5031" y="8693"/>
                    <a:pt x="5035" y="8682"/>
                    <a:pt x="5035" y="8672"/>
                  </a:cubicBezTo>
                  <a:cubicBezTo>
                    <a:pt x="5038" y="8658"/>
                    <a:pt x="5038" y="8654"/>
                    <a:pt x="5038" y="8647"/>
                  </a:cubicBezTo>
                  <a:cubicBezTo>
                    <a:pt x="5042" y="8640"/>
                    <a:pt x="5042" y="8626"/>
                    <a:pt x="5045" y="8616"/>
                  </a:cubicBezTo>
                  <a:lnTo>
                    <a:pt x="5045" y="8595"/>
                  </a:lnTo>
                  <a:cubicBezTo>
                    <a:pt x="5045" y="8584"/>
                    <a:pt x="5049" y="8574"/>
                    <a:pt x="5049" y="8563"/>
                  </a:cubicBezTo>
                  <a:cubicBezTo>
                    <a:pt x="5052" y="8553"/>
                    <a:pt x="5049" y="8549"/>
                    <a:pt x="5052" y="8542"/>
                  </a:cubicBezTo>
                  <a:cubicBezTo>
                    <a:pt x="5056" y="8535"/>
                    <a:pt x="5052" y="8518"/>
                    <a:pt x="5056" y="8507"/>
                  </a:cubicBezTo>
                  <a:cubicBezTo>
                    <a:pt x="5059" y="8497"/>
                    <a:pt x="5056" y="8497"/>
                    <a:pt x="5056" y="8490"/>
                  </a:cubicBezTo>
                  <a:lnTo>
                    <a:pt x="5056" y="8455"/>
                  </a:lnTo>
                  <a:lnTo>
                    <a:pt x="5056" y="8441"/>
                  </a:lnTo>
                  <a:lnTo>
                    <a:pt x="5056" y="8392"/>
                  </a:lnTo>
                  <a:cubicBezTo>
                    <a:pt x="5070" y="8136"/>
                    <a:pt x="5108" y="7880"/>
                    <a:pt x="5171" y="7628"/>
                  </a:cubicBezTo>
                  <a:cubicBezTo>
                    <a:pt x="5210" y="7488"/>
                    <a:pt x="5122" y="7366"/>
                    <a:pt x="5021" y="7226"/>
                  </a:cubicBezTo>
                  <a:cubicBezTo>
                    <a:pt x="4933" y="7100"/>
                    <a:pt x="4831" y="6963"/>
                    <a:pt x="4817" y="6795"/>
                  </a:cubicBezTo>
                  <a:lnTo>
                    <a:pt x="4817" y="6760"/>
                  </a:lnTo>
                  <a:cubicBezTo>
                    <a:pt x="4817" y="6505"/>
                    <a:pt x="4915" y="6477"/>
                    <a:pt x="5045" y="6466"/>
                  </a:cubicBezTo>
                  <a:cubicBezTo>
                    <a:pt x="5108" y="6463"/>
                    <a:pt x="5168" y="6445"/>
                    <a:pt x="5217" y="6414"/>
                  </a:cubicBezTo>
                  <a:cubicBezTo>
                    <a:pt x="5241" y="6400"/>
                    <a:pt x="5259" y="6382"/>
                    <a:pt x="5273" y="6361"/>
                  </a:cubicBezTo>
                  <a:cubicBezTo>
                    <a:pt x="5266" y="6354"/>
                    <a:pt x="5234" y="6330"/>
                    <a:pt x="5133" y="6305"/>
                  </a:cubicBezTo>
                  <a:cubicBezTo>
                    <a:pt x="5119" y="6302"/>
                    <a:pt x="5101" y="6298"/>
                    <a:pt x="5087" y="6291"/>
                  </a:cubicBezTo>
                  <a:cubicBezTo>
                    <a:pt x="5045" y="6263"/>
                    <a:pt x="5007" y="6228"/>
                    <a:pt x="4982" y="6183"/>
                  </a:cubicBezTo>
                  <a:cubicBezTo>
                    <a:pt x="4947" y="6120"/>
                    <a:pt x="4929" y="6050"/>
                    <a:pt x="4929" y="5980"/>
                  </a:cubicBezTo>
                  <a:cubicBezTo>
                    <a:pt x="4929" y="5962"/>
                    <a:pt x="4933" y="5941"/>
                    <a:pt x="4940" y="5920"/>
                  </a:cubicBezTo>
                  <a:cubicBezTo>
                    <a:pt x="4967" y="5833"/>
                    <a:pt x="5102" y="5805"/>
                    <a:pt x="5391" y="5805"/>
                  </a:cubicBezTo>
                  <a:cubicBezTo>
                    <a:pt x="5475" y="5805"/>
                    <a:pt x="5571" y="5808"/>
                    <a:pt x="5682" y="5811"/>
                  </a:cubicBezTo>
                  <a:cubicBezTo>
                    <a:pt x="5742" y="5811"/>
                    <a:pt x="5794" y="5815"/>
                    <a:pt x="5829" y="5815"/>
                  </a:cubicBezTo>
                  <a:lnTo>
                    <a:pt x="5885" y="5815"/>
                  </a:lnTo>
                  <a:cubicBezTo>
                    <a:pt x="5952" y="5804"/>
                    <a:pt x="6015" y="5787"/>
                    <a:pt x="6078" y="5769"/>
                  </a:cubicBezTo>
                  <a:lnTo>
                    <a:pt x="6081" y="5769"/>
                  </a:lnTo>
                  <a:lnTo>
                    <a:pt x="6106" y="5759"/>
                  </a:lnTo>
                  <a:lnTo>
                    <a:pt x="6134" y="5752"/>
                  </a:lnTo>
                  <a:lnTo>
                    <a:pt x="6137" y="5752"/>
                  </a:lnTo>
                  <a:cubicBezTo>
                    <a:pt x="6193" y="5731"/>
                    <a:pt x="6242" y="5713"/>
                    <a:pt x="6284" y="5696"/>
                  </a:cubicBezTo>
                  <a:lnTo>
                    <a:pt x="6337" y="5671"/>
                  </a:lnTo>
                  <a:lnTo>
                    <a:pt x="6344" y="5668"/>
                  </a:lnTo>
                  <a:cubicBezTo>
                    <a:pt x="6365" y="5657"/>
                    <a:pt x="6375" y="5654"/>
                    <a:pt x="6382" y="5647"/>
                  </a:cubicBezTo>
                  <a:lnTo>
                    <a:pt x="6382" y="5640"/>
                  </a:lnTo>
                  <a:lnTo>
                    <a:pt x="6382" y="5633"/>
                  </a:lnTo>
                  <a:lnTo>
                    <a:pt x="6382" y="5619"/>
                  </a:lnTo>
                  <a:lnTo>
                    <a:pt x="6382" y="5612"/>
                  </a:lnTo>
                  <a:lnTo>
                    <a:pt x="6382" y="5598"/>
                  </a:lnTo>
                  <a:lnTo>
                    <a:pt x="6382" y="5591"/>
                  </a:lnTo>
                  <a:cubicBezTo>
                    <a:pt x="6382" y="5587"/>
                    <a:pt x="6382" y="5580"/>
                    <a:pt x="6379" y="5573"/>
                  </a:cubicBezTo>
                  <a:cubicBezTo>
                    <a:pt x="6379" y="5570"/>
                    <a:pt x="6379" y="5570"/>
                    <a:pt x="6379" y="5566"/>
                  </a:cubicBezTo>
                  <a:cubicBezTo>
                    <a:pt x="6379" y="5563"/>
                    <a:pt x="6375" y="5556"/>
                    <a:pt x="6375" y="5549"/>
                  </a:cubicBezTo>
                  <a:cubicBezTo>
                    <a:pt x="6372" y="5545"/>
                    <a:pt x="6372" y="5542"/>
                    <a:pt x="6372" y="5538"/>
                  </a:cubicBezTo>
                  <a:cubicBezTo>
                    <a:pt x="6368" y="5535"/>
                    <a:pt x="6365" y="5528"/>
                    <a:pt x="6361" y="5524"/>
                  </a:cubicBezTo>
                  <a:cubicBezTo>
                    <a:pt x="6358" y="5517"/>
                    <a:pt x="6358" y="5517"/>
                    <a:pt x="6354" y="5514"/>
                  </a:cubicBezTo>
                  <a:cubicBezTo>
                    <a:pt x="6351" y="5507"/>
                    <a:pt x="6347" y="5500"/>
                    <a:pt x="6340" y="5496"/>
                  </a:cubicBezTo>
                  <a:cubicBezTo>
                    <a:pt x="6337" y="5493"/>
                    <a:pt x="6337" y="5489"/>
                    <a:pt x="6333" y="5486"/>
                  </a:cubicBezTo>
                  <a:cubicBezTo>
                    <a:pt x="6323" y="5475"/>
                    <a:pt x="6312" y="5465"/>
                    <a:pt x="6302" y="5458"/>
                  </a:cubicBezTo>
                  <a:cubicBezTo>
                    <a:pt x="6239" y="5412"/>
                    <a:pt x="6197" y="5342"/>
                    <a:pt x="6190" y="5262"/>
                  </a:cubicBezTo>
                  <a:cubicBezTo>
                    <a:pt x="6176" y="5139"/>
                    <a:pt x="6253" y="5027"/>
                    <a:pt x="6316" y="4954"/>
                  </a:cubicBezTo>
                  <a:cubicBezTo>
                    <a:pt x="6358" y="4901"/>
                    <a:pt x="6326" y="4849"/>
                    <a:pt x="6186" y="4709"/>
                  </a:cubicBezTo>
                  <a:cubicBezTo>
                    <a:pt x="6158" y="4681"/>
                    <a:pt x="6130" y="4649"/>
                    <a:pt x="6102" y="4621"/>
                  </a:cubicBezTo>
                  <a:cubicBezTo>
                    <a:pt x="5931" y="4429"/>
                    <a:pt x="6057" y="3819"/>
                    <a:pt x="6225" y="3543"/>
                  </a:cubicBezTo>
                  <a:cubicBezTo>
                    <a:pt x="6246" y="3508"/>
                    <a:pt x="6253" y="3483"/>
                    <a:pt x="6246" y="3476"/>
                  </a:cubicBezTo>
                  <a:cubicBezTo>
                    <a:pt x="6228" y="3448"/>
                    <a:pt x="6154" y="3438"/>
                    <a:pt x="6062" y="3438"/>
                  </a:cubicBezTo>
                  <a:cubicBezTo>
                    <a:pt x="5919" y="3438"/>
                    <a:pt x="5734" y="3461"/>
                    <a:pt x="5651" y="3469"/>
                  </a:cubicBezTo>
                  <a:cubicBezTo>
                    <a:pt x="5609" y="3475"/>
                    <a:pt x="5568" y="3477"/>
                    <a:pt x="5528" y="3477"/>
                  </a:cubicBezTo>
                  <a:cubicBezTo>
                    <a:pt x="5253" y="3477"/>
                    <a:pt x="5014" y="3353"/>
                    <a:pt x="4824" y="3112"/>
                  </a:cubicBezTo>
                  <a:cubicBezTo>
                    <a:pt x="4757" y="3025"/>
                    <a:pt x="4684" y="2996"/>
                    <a:pt x="4574" y="2996"/>
                  </a:cubicBezTo>
                  <a:cubicBezTo>
                    <a:pt x="4507" y="2996"/>
                    <a:pt x="4428" y="3007"/>
                    <a:pt x="4327" y="3021"/>
                  </a:cubicBezTo>
                  <a:cubicBezTo>
                    <a:pt x="4201" y="3039"/>
                    <a:pt x="4072" y="3049"/>
                    <a:pt x="3942" y="3056"/>
                  </a:cubicBezTo>
                  <a:lnTo>
                    <a:pt x="3890" y="3056"/>
                  </a:lnTo>
                  <a:cubicBezTo>
                    <a:pt x="3788" y="3053"/>
                    <a:pt x="3687" y="3011"/>
                    <a:pt x="3617" y="2937"/>
                  </a:cubicBezTo>
                  <a:cubicBezTo>
                    <a:pt x="3463" y="2766"/>
                    <a:pt x="3494" y="2475"/>
                    <a:pt x="3515" y="2300"/>
                  </a:cubicBezTo>
                  <a:lnTo>
                    <a:pt x="3519" y="2262"/>
                  </a:lnTo>
                  <a:cubicBezTo>
                    <a:pt x="3529" y="2188"/>
                    <a:pt x="3484" y="2150"/>
                    <a:pt x="3410" y="2097"/>
                  </a:cubicBezTo>
                  <a:cubicBezTo>
                    <a:pt x="3347" y="2052"/>
                    <a:pt x="3277" y="1999"/>
                    <a:pt x="3277" y="1908"/>
                  </a:cubicBezTo>
                  <a:cubicBezTo>
                    <a:pt x="3277" y="1880"/>
                    <a:pt x="3270" y="1873"/>
                    <a:pt x="3267" y="1870"/>
                  </a:cubicBezTo>
                  <a:cubicBezTo>
                    <a:pt x="3237" y="1855"/>
                    <a:pt x="3206" y="1848"/>
                    <a:pt x="3174" y="1848"/>
                  </a:cubicBezTo>
                  <a:cubicBezTo>
                    <a:pt x="3167" y="1848"/>
                    <a:pt x="3161" y="1848"/>
                    <a:pt x="3155" y="1849"/>
                  </a:cubicBezTo>
                  <a:cubicBezTo>
                    <a:pt x="3130" y="1849"/>
                    <a:pt x="3106" y="1852"/>
                    <a:pt x="3092" y="1852"/>
                  </a:cubicBezTo>
                  <a:cubicBezTo>
                    <a:pt x="3084" y="1854"/>
                    <a:pt x="3077" y="1855"/>
                    <a:pt x="3070" y="1855"/>
                  </a:cubicBezTo>
                  <a:cubicBezTo>
                    <a:pt x="3034" y="1855"/>
                    <a:pt x="3000" y="1835"/>
                    <a:pt x="2983" y="1803"/>
                  </a:cubicBezTo>
                  <a:cubicBezTo>
                    <a:pt x="2945" y="1733"/>
                    <a:pt x="2997" y="1645"/>
                    <a:pt x="3120" y="1498"/>
                  </a:cubicBezTo>
                  <a:cubicBezTo>
                    <a:pt x="3179" y="1418"/>
                    <a:pt x="3179" y="1358"/>
                    <a:pt x="3186" y="1183"/>
                  </a:cubicBezTo>
                  <a:lnTo>
                    <a:pt x="3186" y="1131"/>
                  </a:lnTo>
                  <a:cubicBezTo>
                    <a:pt x="3190" y="963"/>
                    <a:pt x="3337" y="823"/>
                    <a:pt x="3480" y="686"/>
                  </a:cubicBezTo>
                  <a:cubicBezTo>
                    <a:pt x="3554" y="620"/>
                    <a:pt x="3620" y="550"/>
                    <a:pt x="3680" y="476"/>
                  </a:cubicBezTo>
                  <a:cubicBezTo>
                    <a:pt x="3690" y="462"/>
                    <a:pt x="3701" y="448"/>
                    <a:pt x="3715" y="438"/>
                  </a:cubicBezTo>
                  <a:cubicBezTo>
                    <a:pt x="3718" y="434"/>
                    <a:pt x="3722" y="431"/>
                    <a:pt x="3729" y="424"/>
                  </a:cubicBezTo>
                  <a:cubicBezTo>
                    <a:pt x="3739" y="417"/>
                    <a:pt x="3746" y="410"/>
                    <a:pt x="3757" y="403"/>
                  </a:cubicBezTo>
                  <a:cubicBezTo>
                    <a:pt x="3764" y="399"/>
                    <a:pt x="3771" y="396"/>
                    <a:pt x="3778" y="392"/>
                  </a:cubicBezTo>
                  <a:cubicBezTo>
                    <a:pt x="3781" y="389"/>
                    <a:pt x="3795" y="378"/>
                    <a:pt x="3809" y="375"/>
                  </a:cubicBezTo>
                  <a:lnTo>
                    <a:pt x="3830" y="364"/>
                  </a:lnTo>
                  <a:cubicBezTo>
                    <a:pt x="3837" y="361"/>
                    <a:pt x="3844" y="357"/>
                    <a:pt x="3848" y="357"/>
                  </a:cubicBezTo>
                  <a:cubicBezTo>
                    <a:pt x="3883" y="294"/>
                    <a:pt x="3946" y="249"/>
                    <a:pt x="4016" y="238"/>
                  </a:cubicBezTo>
                  <a:cubicBezTo>
                    <a:pt x="4142" y="214"/>
                    <a:pt x="4215" y="161"/>
                    <a:pt x="4219" y="123"/>
                  </a:cubicBezTo>
                  <a:cubicBezTo>
                    <a:pt x="4226" y="95"/>
                    <a:pt x="4191" y="56"/>
                    <a:pt x="4131" y="21"/>
                  </a:cubicBezTo>
                  <a:cubicBezTo>
                    <a:pt x="4109" y="8"/>
                    <a:pt x="4088" y="1"/>
                    <a:pt x="4068" y="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175" name="Google Shape;5175;p104"/>
            <p:cNvSpPr/>
            <p:nvPr/>
          </p:nvSpPr>
          <p:spPr>
            <a:xfrm>
              <a:off x="1525392" y="2067095"/>
              <a:ext cx="54" cy="434"/>
            </a:xfrm>
            <a:custGeom>
              <a:avLst/>
              <a:gdLst/>
              <a:ahLst/>
              <a:cxnLst/>
              <a:rect l="l" t="t" r="r" b="b"/>
              <a:pathLst>
                <a:path w="4" h="32" extrusionOk="0">
                  <a:moveTo>
                    <a:pt x="4" y="0"/>
                  </a:moveTo>
                  <a:cubicBezTo>
                    <a:pt x="0" y="11"/>
                    <a:pt x="0" y="21"/>
                    <a:pt x="0" y="32"/>
                  </a:cubicBezTo>
                  <a:cubicBezTo>
                    <a:pt x="0" y="21"/>
                    <a:pt x="4" y="11"/>
                    <a:pt x="4"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176" name="Google Shape;5176;p104"/>
            <p:cNvSpPr/>
            <p:nvPr/>
          </p:nvSpPr>
          <p:spPr>
            <a:xfrm>
              <a:off x="1536743" y="2029771"/>
              <a:ext cx="2675" cy="679"/>
            </a:xfrm>
            <a:custGeom>
              <a:avLst/>
              <a:gdLst/>
              <a:ahLst/>
              <a:cxnLst/>
              <a:rect l="l" t="t" r="r" b="b"/>
              <a:pathLst>
                <a:path w="197" h="50" extrusionOk="0">
                  <a:moveTo>
                    <a:pt x="1" y="50"/>
                  </a:moveTo>
                  <a:cubicBezTo>
                    <a:pt x="67" y="39"/>
                    <a:pt x="134" y="22"/>
                    <a:pt x="197" y="1"/>
                  </a:cubicBezTo>
                  <a:cubicBezTo>
                    <a:pt x="134" y="22"/>
                    <a:pt x="67" y="39"/>
                    <a:pt x="1" y="5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177" name="Google Shape;5177;p104"/>
            <p:cNvSpPr/>
            <p:nvPr/>
          </p:nvSpPr>
          <p:spPr>
            <a:xfrm>
              <a:off x="1540124" y="2029540"/>
              <a:ext cx="109" cy="14"/>
            </a:xfrm>
            <a:custGeom>
              <a:avLst/>
              <a:gdLst/>
              <a:ahLst/>
              <a:cxnLst/>
              <a:rect l="l" t="t" r="r" b="b"/>
              <a:pathLst>
                <a:path w="8" h="1" extrusionOk="0">
                  <a:moveTo>
                    <a:pt x="0" y="0"/>
                  </a:moveTo>
                  <a:lnTo>
                    <a:pt x="7"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178" name="Google Shape;5178;p104"/>
            <p:cNvSpPr/>
            <p:nvPr/>
          </p:nvSpPr>
          <p:spPr>
            <a:xfrm>
              <a:off x="1536363" y="2030436"/>
              <a:ext cx="258" cy="14"/>
            </a:xfrm>
            <a:custGeom>
              <a:avLst/>
              <a:gdLst/>
              <a:ahLst/>
              <a:cxnLst/>
              <a:rect l="l" t="t" r="r" b="b"/>
              <a:pathLst>
                <a:path w="19" h="1" extrusionOk="0">
                  <a:moveTo>
                    <a:pt x="1" y="1"/>
                  </a:moveTo>
                  <a:lnTo>
                    <a:pt x="18"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179" name="Google Shape;5179;p104"/>
            <p:cNvSpPr/>
            <p:nvPr/>
          </p:nvSpPr>
          <p:spPr>
            <a:xfrm>
              <a:off x="1542215" y="2028440"/>
              <a:ext cx="720" cy="353"/>
            </a:xfrm>
            <a:custGeom>
              <a:avLst/>
              <a:gdLst/>
              <a:ahLst/>
              <a:cxnLst/>
              <a:rect l="l" t="t" r="r" b="b"/>
              <a:pathLst>
                <a:path w="53" h="26" extrusionOk="0">
                  <a:moveTo>
                    <a:pt x="53" y="1"/>
                  </a:moveTo>
                  <a:lnTo>
                    <a:pt x="28" y="11"/>
                  </a:lnTo>
                  <a:lnTo>
                    <a:pt x="0" y="25"/>
                  </a:lnTo>
                  <a:lnTo>
                    <a:pt x="0" y="25"/>
                  </a:lnTo>
                  <a:lnTo>
                    <a:pt x="53"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180" name="Google Shape;5180;p104"/>
            <p:cNvSpPr/>
            <p:nvPr/>
          </p:nvSpPr>
          <p:spPr>
            <a:xfrm>
              <a:off x="1525433" y="2066335"/>
              <a:ext cx="68" cy="489"/>
            </a:xfrm>
            <a:custGeom>
              <a:avLst/>
              <a:gdLst/>
              <a:ahLst/>
              <a:cxnLst/>
              <a:rect l="l" t="t" r="r" b="b"/>
              <a:pathLst>
                <a:path w="5" h="36" extrusionOk="0">
                  <a:moveTo>
                    <a:pt x="1" y="0"/>
                  </a:moveTo>
                  <a:lnTo>
                    <a:pt x="1" y="35"/>
                  </a:lnTo>
                  <a:cubicBezTo>
                    <a:pt x="4" y="25"/>
                    <a:pt x="4" y="11"/>
                    <a:pt x="1"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181" name="Google Shape;5181;p104"/>
            <p:cNvSpPr/>
            <p:nvPr/>
          </p:nvSpPr>
          <p:spPr>
            <a:xfrm>
              <a:off x="1525487" y="2065520"/>
              <a:ext cx="54" cy="638"/>
            </a:xfrm>
            <a:custGeom>
              <a:avLst/>
              <a:gdLst/>
              <a:ahLst/>
              <a:cxnLst/>
              <a:rect l="l" t="t" r="r" b="b"/>
              <a:pathLst>
                <a:path w="4" h="47" extrusionOk="0">
                  <a:moveTo>
                    <a:pt x="0" y="1"/>
                  </a:moveTo>
                  <a:lnTo>
                    <a:pt x="0" y="46"/>
                  </a:lnTo>
                  <a:cubicBezTo>
                    <a:pt x="0" y="29"/>
                    <a:pt x="4" y="15"/>
                    <a:pt x="0" y="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182" name="Google Shape;5182;p104"/>
            <p:cNvSpPr/>
            <p:nvPr/>
          </p:nvSpPr>
          <p:spPr>
            <a:xfrm>
              <a:off x="1539459" y="2029676"/>
              <a:ext cx="339" cy="109"/>
            </a:xfrm>
            <a:custGeom>
              <a:avLst/>
              <a:gdLst/>
              <a:ahLst/>
              <a:cxnLst/>
              <a:rect l="l" t="t" r="r" b="b"/>
              <a:pathLst>
                <a:path w="25" h="8" extrusionOk="0">
                  <a:moveTo>
                    <a:pt x="0" y="8"/>
                  </a:moveTo>
                  <a:lnTo>
                    <a:pt x="25"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183" name="Google Shape;5183;p104"/>
            <p:cNvSpPr/>
            <p:nvPr/>
          </p:nvSpPr>
          <p:spPr>
            <a:xfrm>
              <a:off x="1525202" y="2068521"/>
              <a:ext cx="109" cy="434"/>
            </a:xfrm>
            <a:custGeom>
              <a:avLst/>
              <a:gdLst/>
              <a:ahLst/>
              <a:cxnLst/>
              <a:rect l="l" t="t" r="r" b="b"/>
              <a:pathLst>
                <a:path w="8" h="32" extrusionOk="0">
                  <a:moveTo>
                    <a:pt x="7" y="0"/>
                  </a:moveTo>
                  <a:cubicBezTo>
                    <a:pt x="4" y="11"/>
                    <a:pt x="0" y="21"/>
                    <a:pt x="0" y="32"/>
                  </a:cubicBezTo>
                  <a:cubicBezTo>
                    <a:pt x="4" y="21"/>
                    <a:pt x="4" y="11"/>
                    <a:pt x="7"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184" name="Google Shape;5184;p104"/>
            <p:cNvSpPr/>
            <p:nvPr/>
          </p:nvSpPr>
          <p:spPr>
            <a:xfrm>
              <a:off x="1524157" y="2073178"/>
              <a:ext cx="95" cy="394"/>
            </a:xfrm>
            <a:custGeom>
              <a:avLst/>
              <a:gdLst/>
              <a:ahLst/>
              <a:cxnLst/>
              <a:rect l="l" t="t" r="r" b="b"/>
              <a:pathLst>
                <a:path w="7" h="29" extrusionOk="0">
                  <a:moveTo>
                    <a:pt x="7" y="0"/>
                  </a:moveTo>
                  <a:cubicBezTo>
                    <a:pt x="4" y="11"/>
                    <a:pt x="4" y="18"/>
                    <a:pt x="0" y="28"/>
                  </a:cubicBezTo>
                  <a:cubicBezTo>
                    <a:pt x="4" y="18"/>
                    <a:pt x="7" y="11"/>
                    <a:pt x="7"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185" name="Google Shape;5185;p104"/>
            <p:cNvSpPr/>
            <p:nvPr/>
          </p:nvSpPr>
          <p:spPr>
            <a:xfrm>
              <a:off x="1525338" y="2067855"/>
              <a:ext cx="68" cy="434"/>
            </a:xfrm>
            <a:custGeom>
              <a:avLst/>
              <a:gdLst/>
              <a:ahLst/>
              <a:cxnLst/>
              <a:rect l="l" t="t" r="r" b="b"/>
              <a:pathLst>
                <a:path w="5" h="32" extrusionOk="0">
                  <a:moveTo>
                    <a:pt x="4" y="0"/>
                  </a:moveTo>
                  <a:cubicBezTo>
                    <a:pt x="1" y="7"/>
                    <a:pt x="1" y="18"/>
                    <a:pt x="1" y="32"/>
                  </a:cubicBezTo>
                  <a:cubicBezTo>
                    <a:pt x="1" y="21"/>
                    <a:pt x="1" y="11"/>
                    <a:pt x="4"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186" name="Google Shape;5186;p104"/>
            <p:cNvSpPr/>
            <p:nvPr/>
          </p:nvSpPr>
          <p:spPr>
            <a:xfrm>
              <a:off x="1524483" y="2071983"/>
              <a:ext cx="163" cy="448"/>
            </a:xfrm>
            <a:custGeom>
              <a:avLst/>
              <a:gdLst/>
              <a:ahLst/>
              <a:cxnLst/>
              <a:rect l="l" t="t" r="r" b="b"/>
              <a:pathLst>
                <a:path w="12" h="33" extrusionOk="0">
                  <a:moveTo>
                    <a:pt x="11" y="1"/>
                  </a:moveTo>
                  <a:lnTo>
                    <a:pt x="1" y="32"/>
                  </a:lnTo>
                  <a:cubicBezTo>
                    <a:pt x="4" y="25"/>
                    <a:pt x="8" y="15"/>
                    <a:pt x="11" y="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187" name="Google Shape;5187;p104"/>
            <p:cNvSpPr/>
            <p:nvPr/>
          </p:nvSpPr>
          <p:spPr>
            <a:xfrm>
              <a:off x="1523953" y="2073653"/>
              <a:ext cx="163" cy="339"/>
            </a:xfrm>
            <a:custGeom>
              <a:avLst/>
              <a:gdLst/>
              <a:ahLst/>
              <a:cxnLst/>
              <a:rect l="l" t="t" r="r" b="b"/>
              <a:pathLst>
                <a:path w="12" h="25" extrusionOk="0">
                  <a:moveTo>
                    <a:pt x="1" y="25"/>
                  </a:moveTo>
                  <a:cubicBezTo>
                    <a:pt x="4" y="18"/>
                    <a:pt x="8" y="11"/>
                    <a:pt x="12" y="0"/>
                  </a:cubicBezTo>
                  <a:cubicBezTo>
                    <a:pt x="8" y="11"/>
                    <a:pt x="4" y="18"/>
                    <a:pt x="1" y="25"/>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188" name="Google Shape;5188;p104"/>
            <p:cNvSpPr/>
            <p:nvPr/>
          </p:nvSpPr>
          <p:spPr>
            <a:xfrm>
              <a:off x="1523532" y="2074603"/>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189" name="Google Shape;5189;p104"/>
            <p:cNvSpPr/>
            <p:nvPr/>
          </p:nvSpPr>
          <p:spPr>
            <a:xfrm>
              <a:off x="1523573" y="2074413"/>
              <a:ext cx="163" cy="149"/>
            </a:xfrm>
            <a:custGeom>
              <a:avLst/>
              <a:gdLst/>
              <a:ahLst/>
              <a:cxnLst/>
              <a:rect l="l" t="t" r="r" b="b"/>
              <a:pathLst>
                <a:path w="12" h="11" extrusionOk="0">
                  <a:moveTo>
                    <a:pt x="1" y="11"/>
                  </a:moveTo>
                  <a:cubicBezTo>
                    <a:pt x="4" y="7"/>
                    <a:pt x="8" y="4"/>
                    <a:pt x="11" y="0"/>
                  </a:cubicBezTo>
                  <a:cubicBezTo>
                    <a:pt x="8" y="4"/>
                    <a:pt x="4" y="7"/>
                    <a:pt x="1" y="1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190" name="Google Shape;5190;p104"/>
            <p:cNvSpPr/>
            <p:nvPr/>
          </p:nvSpPr>
          <p:spPr>
            <a:xfrm>
              <a:off x="1523763" y="2074074"/>
              <a:ext cx="163" cy="258"/>
            </a:xfrm>
            <a:custGeom>
              <a:avLst/>
              <a:gdLst/>
              <a:ahLst/>
              <a:cxnLst/>
              <a:rect l="l" t="t" r="r" b="b"/>
              <a:pathLst>
                <a:path w="12" h="19" extrusionOk="0">
                  <a:moveTo>
                    <a:pt x="1" y="18"/>
                  </a:moveTo>
                  <a:cubicBezTo>
                    <a:pt x="4" y="15"/>
                    <a:pt x="8" y="8"/>
                    <a:pt x="11" y="1"/>
                  </a:cubicBezTo>
                  <a:cubicBezTo>
                    <a:pt x="8" y="8"/>
                    <a:pt x="4" y="15"/>
                    <a:pt x="1" y="18"/>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191" name="Google Shape;5191;p104"/>
            <p:cNvSpPr/>
            <p:nvPr/>
          </p:nvSpPr>
          <p:spPr>
            <a:xfrm>
              <a:off x="1524347" y="2072608"/>
              <a:ext cx="95" cy="434"/>
            </a:xfrm>
            <a:custGeom>
              <a:avLst/>
              <a:gdLst/>
              <a:ahLst/>
              <a:cxnLst/>
              <a:rect l="l" t="t" r="r" b="b"/>
              <a:pathLst>
                <a:path w="7" h="32" extrusionOk="0">
                  <a:moveTo>
                    <a:pt x="0" y="32"/>
                  </a:moveTo>
                  <a:cubicBezTo>
                    <a:pt x="0" y="21"/>
                    <a:pt x="4" y="11"/>
                    <a:pt x="7" y="0"/>
                  </a:cubicBezTo>
                  <a:cubicBezTo>
                    <a:pt x="4" y="11"/>
                    <a:pt x="0" y="21"/>
                    <a:pt x="0" y="32"/>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192" name="Google Shape;5192;p104"/>
            <p:cNvSpPr/>
            <p:nvPr/>
          </p:nvSpPr>
          <p:spPr>
            <a:xfrm>
              <a:off x="1525107" y="2069281"/>
              <a:ext cx="54" cy="434"/>
            </a:xfrm>
            <a:custGeom>
              <a:avLst/>
              <a:gdLst/>
              <a:ahLst/>
              <a:cxnLst/>
              <a:rect l="l" t="t" r="r" b="b"/>
              <a:pathLst>
                <a:path w="4" h="32" extrusionOk="0">
                  <a:moveTo>
                    <a:pt x="0" y="32"/>
                  </a:moveTo>
                  <a:cubicBezTo>
                    <a:pt x="0" y="21"/>
                    <a:pt x="4" y="11"/>
                    <a:pt x="4" y="0"/>
                  </a:cubicBezTo>
                  <a:cubicBezTo>
                    <a:pt x="4" y="11"/>
                    <a:pt x="0" y="21"/>
                    <a:pt x="0" y="32"/>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193" name="Google Shape;5193;p104"/>
            <p:cNvSpPr/>
            <p:nvPr/>
          </p:nvSpPr>
          <p:spPr>
            <a:xfrm>
              <a:off x="1524822" y="2070707"/>
              <a:ext cx="95" cy="434"/>
            </a:xfrm>
            <a:custGeom>
              <a:avLst/>
              <a:gdLst/>
              <a:ahLst/>
              <a:cxnLst/>
              <a:rect l="l" t="t" r="r" b="b"/>
              <a:pathLst>
                <a:path w="7" h="32" extrusionOk="0">
                  <a:moveTo>
                    <a:pt x="7" y="0"/>
                  </a:moveTo>
                  <a:cubicBezTo>
                    <a:pt x="4" y="11"/>
                    <a:pt x="0" y="21"/>
                    <a:pt x="0" y="32"/>
                  </a:cubicBezTo>
                  <a:cubicBezTo>
                    <a:pt x="4" y="21"/>
                    <a:pt x="4" y="11"/>
                    <a:pt x="7"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194" name="Google Shape;5194;p104"/>
            <p:cNvSpPr/>
            <p:nvPr/>
          </p:nvSpPr>
          <p:spPr>
            <a:xfrm>
              <a:off x="1524958" y="2069987"/>
              <a:ext cx="109" cy="448"/>
            </a:xfrm>
            <a:custGeom>
              <a:avLst/>
              <a:gdLst/>
              <a:ahLst/>
              <a:cxnLst/>
              <a:rect l="l" t="t" r="r" b="b"/>
              <a:pathLst>
                <a:path w="8" h="33" extrusionOk="0">
                  <a:moveTo>
                    <a:pt x="8" y="1"/>
                  </a:moveTo>
                  <a:lnTo>
                    <a:pt x="8" y="1"/>
                  </a:lnTo>
                  <a:cubicBezTo>
                    <a:pt x="4" y="11"/>
                    <a:pt x="1" y="22"/>
                    <a:pt x="1" y="32"/>
                  </a:cubicBezTo>
                  <a:cubicBezTo>
                    <a:pt x="4" y="22"/>
                    <a:pt x="4" y="11"/>
                    <a:pt x="8" y="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195" name="Google Shape;5195;p104"/>
            <p:cNvSpPr/>
            <p:nvPr/>
          </p:nvSpPr>
          <p:spPr>
            <a:xfrm>
              <a:off x="1524673" y="2071372"/>
              <a:ext cx="109" cy="489"/>
            </a:xfrm>
            <a:custGeom>
              <a:avLst/>
              <a:gdLst/>
              <a:ahLst/>
              <a:cxnLst/>
              <a:rect l="l" t="t" r="r" b="b"/>
              <a:pathLst>
                <a:path w="8" h="36" extrusionOk="0">
                  <a:moveTo>
                    <a:pt x="8" y="0"/>
                  </a:moveTo>
                  <a:cubicBezTo>
                    <a:pt x="4" y="11"/>
                    <a:pt x="1" y="21"/>
                    <a:pt x="1" y="35"/>
                  </a:cubicBezTo>
                  <a:cubicBezTo>
                    <a:pt x="1" y="25"/>
                    <a:pt x="4" y="14"/>
                    <a:pt x="8"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196" name="Google Shape;5196;p104"/>
            <p:cNvSpPr/>
            <p:nvPr/>
          </p:nvSpPr>
          <p:spPr>
            <a:xfrm>
              <a:off x="1467063" y="1987667"/>
              <a:ext cx="204" cy="204"/>
            </a:xfrm>
            <a:custGeom>
              <a:avLst/>
              <a:gdLst/>
              <a:ahLst/>
              <a:cxnLst/>
              <a:rect l="l" t="t" r="r" b="b"/>
              <a:pathLst>
                <a:path w="15" h="15" extrusionOk="0">
                  <a:moveTo>
                    <a:pt x="0" y="14"/>
                  </a:moveTo>
                  <a:lnTo>
                    <a:pt x="14"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197" name="Google Shape;5197;p104"/>
            <p:cNvSpPr/>
            <p:nvPr/>
          </p:nvSpPr>
          <p:spPr>
            <a:xfrm>
              <a:off x="1467783" y="1986906"/>
              <a:ext cx="244" cy="299"/>
            </a:xfrm>
            <a:custGeom>
              <a:avLst/>
              <a:gdLst/>
              <a:ahLst/>
              <a:cxnLst/>
              <a:rect l="l" t="t" r="r" b="b"/>
              <a:pathLst>
                <a:path w="18" h="22" extrusionOk="0">
                  <a:moveTo>
                    <a:pt x="0" y="21"/>
                  </a:moveTo>
                  <a:lnTo>
                    <a:pt x="18"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198" name="Google Shape;5198;p104"/>
            <p:cNvSpPr/>
            <p:nvPr/>
          </p:nvSpPr>
          <p:spPr>
            <a:xfrm>
              <a:off x="1466724" y="1987993"/>
              <a:ext cx="204" cy="204"/>
            </a:xfrm>
            <a:custGeom>
              <a:avLst/>
              <a:gdLst/>
              <a:ahLst/>
              <a:cxnLst/>
              <a:rect l="l" t="t" r="r" b="b"/>
              <a:pathLst>
                <a:path w="15" h="15" extrusionOk="0">
                  <a:moveTo>
                    <a:pt x="1" y="15"/>
                  </a:moveTo>
                  <a:lnTo>
                    <a:pt x="15"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199" name="Google Shape;5199;p104"/>
            <p:cNvSpPr/>
            <p:nvPr/>
          </p:nvSpPr>
          <p:spPr>
            <a:xfrm>
              <a:off x="1467389" y="1987287"/>
              <a:ext cx="258" cy="244"/>
            </a:xfrm>
            <a:custGeom>
              <a:avLst/>
              <a:gdLst/>
              <a:ahLst/>
              <a:cxnLst/>
              <a:rect l="l" t="t" r="r" b="b"/>
              <a:pathLst>
                <a:path w="19" h="18" extrusionOk="0">
                  <a:moveTo>
                    <a:pt x="1" y="18"/>
                  </a:moveTo>
                  <a:lnTo>
                    <a:pt x="19"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200" name="Google Shape;5200;p104"/>
            <p:cNvSpPr/>
            <p:nvPr/>
          </p:nvSpPr>
          <p:spPr>
            <a:xfrm>
              <a:off x="1468163" y="1986662"/>
              <a:ext cx="149" cy="163"/>
            </a:xfrm>
            <a:custGeom>
              <a:avLst/>
              <a:gdLst/>
              <a:ahLst/>
              <a:cxnLst/>
              <a:rect l="l" t="t" r="r" b="b"/>
              <a:pathLst>
                <a:path w="11" h="12" extrusionOk="0">
                  <a:moveTo>
                    <a:pt x="0" y="11"/>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201" name="Google Shape;5201;p104"/>
            <p:cNvSpPr/>
            <p:nvPr/>
          </p:nvSpPr>
          <p:spPr>
            <a:xfrm>
              <a:off x="1469344" y="1985481"/>
              <a:ext cx="353" cy="299"/>
            </a:xfrm>
            <a:custGeom>
              <a:avLst/>
              <a:gdLst/>
              <a:ahLst/>
              <a:cxnLst/>
              <a:rect l="l" t="t" r="r" b="b"/>
              <a:pathLst>
                <a:path w="26" h="22" extrusionOk="0">
                  <a:moveTo>
                    <a:pt x="25" y="0"/>
                  </a:moveTo>
                  <a:cubicBezTo>
                    <a:pt x="15" y="7"/>
                    <a:pt x="8" y="14"/>
                    <a:pt x="1" y="21"/>
                  </a:cubicBezTo>
                  <a:cubicBezTo>
                    <a:pt x="8" y="14"/>
                    <a:pt x="18" y="7"/>
                    <a:pt x="25"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202" name="Google Shape;5202;p104"/>
            <p:cNvSpPr/>
            <p:nvPr/>
          </p:nvSpPr>
          <p:spPr>
            <a:xfrm>
              <a:off x="1465828" y="1988997"/>
              <a:ext cx="109" cy="109"/>
            </a:xfrm>
            <a:custGeom>
              <a:avLst/>
              <a:gdLst/>
              <a:ahLst/>
              <a:cxnLst/>
              <a:rect l="l" t="t" r="r" b="b"/>
              <a:pathLst>
                <a:path w="8" h="8" extrusionOk="0">
                  <a:moveTo>
                    <a:pt x="0" y="7"/>
                  </a:moveTo>
                  <a:lnTo>
                    <a:pt x="7"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203" name="Google Shape;5203;p104"/>
            <p:cNvSpPr/>
            <p:nvPr/>
          </p:nvSpPr>
          <p:spPr>
            <a:xfrm>
              <a:off x="1466059" y="1988658"/>
              <a:ext cx="204" cy="204"/>
            </a:xfrm>
            <a:custGeom>
              <a:avLst/>
              <a:gdLst/>
              <a:ahLst/>
              <a:cxnLst/>
              <a:rect l="l" t="t" r="r" b="b"/>
              <a:pathLst>
                <a:path w="15" h="15" extrusionOk="0">
                  <a:moveTo>
                    <a:pt x="1" y="15"/>
                  </a:moveTo>
                  <a:lnTo>
                    <a:pt x="15"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204" name="Google Shape;5204;p104"/>
            <p:cNvSpPr/>
            <p:nvPr/>
          </p:nvSpPr>
          <p:spPr>
            <a:xfrm>
              <a:off x="1466398" y="1988332"/>
              <a:ext cx="204" cy="204"/>
            </a:xfrm>
            <a:custGeom>
              <a:avLst/>
              <a:gdLst/>
              <a:ahLst/>
              <a:cxnLst/>
              <a:rect l="l" t="t" r="r" b="b"/>
              <a:pathLst>
                <a:path w="15" h="15" extrusionOk="0">
                  <a:moveTo>
                    <a:pt x="0" y="14"/>
                  </a:moveTo>
                  <a:lnTo>
                    <a:pt x="14"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205" name="Google Shape;5205;p104"/>
            <p:cNvSpPr/>
            <p:nvPr/>
          </p:nvSpPr>
          <p:spPr>
            <a:xfrm>
              <a:off x="1470010" y="1984476"/>
              <a:ext cx="258" cy="489"/>
            </a:xfrm>
            <a:custGeom>
              <a:avLst/>
              <a:gdLst/>
              <a:ahLst/>
              <a:cxnLst/>
              <a:rect l="l" t="t" r="r" b="b"/>
              <a:pathLst>
                <a:path w="19" h="36" extrusionOk="0">
                  <a:moveTo>
                    <a:pt x="1" y="36"/>
                  </a:moveTo>
                  <a:cubicBezTo>
                    <a:pt x="8" y="25"/>
                    <a:pt x="11" y="15"/>
                    <a:pt x="18" y="1"/>
                  </a:cubicBezTo>
                  <a:cubicBezTo>
                    <a:pt x="11" y="15"/>
                    <a:pt x="8" y="25"/>
                    <a:pt x="1" y="36"/>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206" name="Google Shape;5206;p104"/>
            <p:cNvSpPr/>
            <p:nvPr/>
          </p:nvSpPr>
          <p:spPr>
            <a:xfrm>
              <a:off x="1468448" y="1986377"/>
              <a:ext cx="149" cy="163"/>
            </a:xfrm>
            <a:custGeom>
              <a:avLst/>
              <a:gdLst/>
              <a:ahLst/>
              <a:cxnLst/>
              <a:rect l="l" t="t" r="r" b="b"/>
              <a:pathLst>
                <a:path w="11" h="12" extrusionOk="0">
                  <a:moveTo>
                    <a:pt x="0" y="11"/>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207" name="Google Shape;5207;p104"/>
            <p:cNvSpPr/>
            <p:nvPr/>
          </p:nvSpPr>
          <p:spPr>
            <a:xfrm>
              <a:off x="1469154" y="1985766"/>
              <a:ext cx="204" cy="149"/>
            </a:xfrm>
            <a:custGeom>
              <a:avLst/>
              <a:gdLst/>
              <a:ahLst/>
              <a:cxnLst/>
              <a:rect l="l" t="t" r="r" b="b"/>
              <a:pathLst>
                <a:path w="15" h="11" extrusionOk="0">
                  <a:moveTo>
                    <a:pt x="1" y="11"/>
                  </a:moveTo>
                  <a:lnTo>
                    <a:pt x="15"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208" name="Google Shape;5208;p104"/>
            <p:cNvSpPr/>
            <p:nvPr/>
          </p:nvSpPr>
          <p:spPr>
            <a:xfrm>
              <a:off x="1470295" y="1983811"/>
              <a:ext cx="204" cy="584"/>
            </a:xfrm>
            <a:custGeom>
              <a:avLst/>
              <a:gdLst/>
              <a:ahLst/>
              <a:cxnLst/>
              <a:rect l="l" t="t" r="r" b="b"/>
              <a:pathLst>
                <a:path w="15" h="43" extrusionOk="0">
                  <a:moveTo>
                    <a:pt x="1" y="43"/>
                  </a:moveTo>
                  <a:cubicBezTo>
                    <a:pt x="4" y="29"/>
                    <a:pt x="11" y="15"/>
                    <a:pt x="15" y="1"/>
                  </a:cubicBezTo>
                  <a:cubicBezTo>
                    <a:pt x="11" y="15"/>
                    <a:pt x="4" y="29"/>
                    <a:pt x="1" y="43"/>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209" name="Google Shape;5209;p104"/>
            <p:cNvSpPr/>
            <p:nvPr/>
          </p:nvSpPr>
          <p:spPr>
            <a:xfrm>
              <a:off x="1469725" y="1985006"/>
              <a:ext cx="299" cy="394"/>
            </a:xfrm>
            <a:custGeom>
              <a:avLst/>
              <a:gdLst/>
              <a:ahLst/>
              <a:cxnLst/>
              <a:rect l="l" t="t" r="r" b="b"/>
              <a:pathLst>
                <a:path w="22" h="29" extrusionOk="0">
                  <a:moveTo>
                    <a:pt x="1" y="28"/>
                  </a:moveTo>
                  <a:cubicBezTo>
                    <a:pt x="8" y="18"/>
                    <a:pt x="15" y="11"/>
                    <a:pt x="22" y="0"/>
                  </a:cubicBezTo>
                  <a:cubicBezTo>
                    <a:pt x="15" y="11"/>
                    <a:pt x="8" y="18"/>
                    <a:pt x="1" y="28"/>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210" name="Google Shape;5210;p104"/>
            <p:cNvSpPr/>
            <p:nvPr/>
          </p:nvSpPr>
          <p:spPr>
            <a:xfrm>
              <a:off x="1468679" y="1986146"/>
              <a:ext cx="163" cy="149"/>
            </a:xfrm>
            <a:custGeom>
              <a:avLst/>
              <a:gdLst/>
              <a:ahLst/>
              <a:cxnLst/>
              <a:rect l="l" t="t" r="r" b="b"/>
              <a:pathLst>
                <a:path w="12" h="11" extrusionOk="0">
                  <a:moveTo>
                    <a:pt x="1" y="11"/>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211" name="Google Shape;5211;p104"/>
            <p:cNvSpPr/>
            <p:nvPr/>
          </p:nvSpPr>
          <p:spPr>
            <a:xfrm>
              <a:off x="1468964" y="1985956"/>
              <a:ext cx="163" cy="149"/>
            </a:xfrm>
            <a:custGeom>
              <a:avLst/>
              <a:gdLst/>
              <a:ahLst/>
              <a:cxnLst/>
              <a:rect l="l" t="t" r="r" b="b"/>
              <a:pathLst>
                <a:path w="12" h="11" extrusionOk="0">
                  <a:moveTo>
                    <a:pt x="1" y="11"/>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212" name="Google Shape;5212;p104"/>
            <p:cNvSpPr/>
            <p:nvPr/>
          </p:nvSpPr>
          <p:spPr>
            <a:xfrm>
              <a:off x="1527008" y="2118853"/>
              <a:ext cx="88322" cy="99360"/>
            </a:xfrm>
            <a:custGeom>
              <a:avLst/>
              <a:gdLst/>
              <a:ahLst/>
              <a:cxnLst/>
              <a:rect l="l" t="t" r="r" b="b"/>
              <a:pathLst>
                <a:path w="6505" h="7318" extrusionOk="0">
                  <a:moveTo>
                    <a:pt x="2265" y="1"/>
                  </a:moveTo>
                  <a:cubicBezTo>
                    <a:pt x="2192" y="1"/>
                    <a:pt x="2122" y="8"/>
                    <a:pt x="2048" y="22"/>
                  </a:cubicBezTo>
                  <a:cubicBezTo>
                    <a:pt x="1971" y="36"/>
                    <a:pt x="1891" y="46"/>
                    <a:pt x="1810" y="46"/>
                  </a:cubicBezTo>
                  <a:cubicBezTo>
                    <a:pt x="1663" y="46"/>
                    <a:pt x="1505" y="144"/>
                    <a:pt x="1337" y="246"/>
                  </a:cubicBezTo>
                  <a:cubicBezTo>
                    <a:pt x="1292" y="274"/>
                    <a:pt x="1243" y="302"/>
                    <a:pt x="1197" y="330"/>
                  </a:cubicBezTo>
                  <a:cubicBezTo>
                    <a:pt x="1113" y="375"/>
                    <a:pt x="1029" y="417"/>
                    <a:pt x="942" y="449"/>
                  </a:cubicBezTo>
                  <a:cubicBezTo>
                    <a:pt x="910" y="463"/>
                    <a:pt x="882" y="473"/>
                    <a:pt x="854" y="484"/>
                  </a:cubicBezTo>
                  <a:cubicBezTo>
                    <a:pt x="812" y="505"/>
                    <a:pt x="774" y="529"/>
                    <a:pt x="739" y="561"/>
                  </a:cubicBezTo>
                  <a:cubicBezTo>
                    <a:pt x="651" y="652"/>
                    <a:pt x="529" y="708"/>
                    <a:pt x="403" y="718"/>
                  </a:cubicBezTo>
                  <a:cubicBezTo>
                    <a:pt x="390" y="720"/>
                    <a:pt x="377" y="721"/>
                    <a:pt x="364" y="721"/>
                  </a:cubicBezTo>
                  <a:cubicBezTo>
                    <a:pt x="351" y="721"/>
                    <a:pt x="338" y="720"/>
                    <a:pt x="326" y="718"/>
                  </a:cubicBezTo>
                  <a:cubicBezTo>
                    <a:pt x="284" y="715"/>
                    <a:pt x="242" y="708"/>
                    <a:pt x="203" y="690"/>
                  </a:cubicBezTo>
                  <a:lnTo>
                    <a:pt x="175" y="683"/>
                  </a:lnTo>
                  <a:lnTo>
                    <a:pt x="165" y="680"/>
                  </a:lnTo>
                  <a:lnTo>
                    <a:pt x="154" y="676"/>
                  </a:lnTo>
                  <a:lnTo>
                    <a:pt x="158" y="690"/>
                  </a:lnTo>
                  <a:lnTo>
                    <a:pt x="186" y="746"/>
                  </a:lnTo>
                  <a:lnTo>
                    <a:pt x="196" y="764"/>
                  </a:lnTo>
                  <a:lnTo>
                    <a:pt x="235" y="837"/>
                  </a:lnTo>
                  <a:lnTo>
                    <a:pt x="238" y="848"/>
                  </a:lnTo>
                  <a:lnTo>
                    <a:pt x="273" y="918"/>
                  </a:lnTo>
                  <a:lnTo>
                    <a:pt x="284" y="935"/>
                  </a:lnTo>
                  <a:lnTo>
                    <a:pt x="322" y="1009"/>
                  </a:lnTo>
                  <a:cubicBezTo>
                    <a:pt x="382" y="1114"/>
                    <a:pt x="434" y="1222"/>
                    <a:pt x="483" y="1334"/>
                  </a:cubicBezTo>
                  <a:cubicBezTo>
                    <a:pt x="550" y="1520"/>
                    <a:pt x="434" y="1607"/>
                    <a:pt x="364" y="1660"/>
                  </a:cubicBezTo>
                  <a:cubicBezTo>
                    <a:pt x="350" y="1674"/>
                    <a:pt x="336" y="1684"/>
                    <a:pt x="326" y="1691"/>
                  </a:cubicBezTo>
                  <a:cubicBezTo>
                    <a:pt x="305" y="1744"/>
                    <a:pt x="322" y="1958"/>
                    <a:pt x="375" y="2329"/>
                  </a:cubicBezTo>
                  <a:cubicBezTo>
                    <a:pt x="382" y="2367"/>
                    <a:pt x="385" y="2399"/>
                    <a:pt x="389" y="2416"/>
                  </a:cubicBezTo>
                  <a:cubicBezTo>
                    <a:pt x="399" y="2497"/>
                    <a:pt x="350" y="2584"/>
                    <a:pt x="301" y="2668"/>
                  </a:cubicBezTo>
                  <a:cubicBezTo>
                    <a:pt x="277" y="2717"/>
                    <a:pt x="228" y="2805"/>
                    <a:pt x="235" y="2829"/>
                  </a:cubicBezTo>
                  <a:cubicBezTo>
                    <a:pt x="329" y="2910"/>
                    <a:pt x="263" y="3043"/>
                    <a:pt x="200" y="3158"/>
                  </a:cubicBezTo>
                  <a:cubicBezTo>
                    <a:pt x="168" y="3225"/>
                    <a:pt x="130" y="3302"/>
                    <a:pt x="130" y="3347"/>
                  </a:cubicBezTo>
                  <a:cubicBezTo>
                    <a:pt x="130" y="3386"/>
                    <a:pt x="154" y="3403"/>
                    <a:pt x="214" y="3438"/>
                  </a:cubicBezTo>
                  <a:cubicBezTo>
                    <a:pt x="270" y="3473"/>
                    <a:pt x="340" y="3515"/>
                    <a:pt x="340" y="3606"/>
                  </a:cubicBezTo>
                  <a:cubicBezTo>
                    <a:pt x="340" y="3750"/>
                    <a:pt x="144" y="4027"/>
                    <a:pt x="14" y="4100"/>
                  </a:cubicBezTo>
                  <a:lnTo>
                    <a:pt x="11" y="4104"/>
                  </a:lnTo>
                  <a:lnTo>
                    <a:pt x="7" y="4107"/>
                  </a:lnTo>
                  <a:lnTo>
                    <a:pt x="7" y="4111"/>
                  </a:lnTo>
                  <a:lnTo>
                    <a:pt x="4" y="4114"/>
                  </a:lnTo>
                  <a:lnTo>
                    <a:pt x="4" y="4121"/>
                  </a:lnTo>
                  <a:cubicBezTo>
                    <a:pt x="4" y="4125"/>
                    <a:pt x="4" y="4125"/>
                    <a:pt x="4" y="4128"/>
                  </a:cubicBezTo>
                  <a:cubicBezTo>
                    <a:pt x="0" y="4132"/>
                    <a:pt x="4" y="4132"/>
                    <a:pt x="4" y="4135"/>
                  </a:cubicBezTo>
                  <a:lnTo>
                    <a:pt x="4" y="4146"/>
                  </a:lnTo>
                  <a:lnTo>
                    <a:pt x="4" y="4156"/>
                  </a:lnTo>
                  <a:lnTo>
                    <a:pt x="4" y="4170"/>
                  </a:lnTo>
                  <a:lnTo>
                    <a:pt x="4" y="4184"/>
                  </a:lnTo>
                  <a:lnTo>
                    <a:pt x="4" y="4205"/>
                  </a:lnTo>
                  <a:lnTo>
                    <a:pt x="4" y="4219"/>
                  </a:lnTo>
                  <a:lnTo>
                    <a:pt x="4" y="4223"/>
                  </a:lnTo>
                  <a:cubicBezTo>
                    <a:pt x="18" y="4240"/>
                    <a:pt x="32" y="4261"/>
                    <a:pt x="42" y="4282"/>
                  </a:cubicBezTo>
                  <a:cubicBezTo>
                    <a:pt x="81" y="4356"/>
                    <a:pt x="137" y="4422"/>
                    <a:pt x="200" y="4471"/>
                  </a:cubicBezTo>
                  <a:lnTo>
                    <a:pt x="203" y="4475"/>
                  </a:lnTo>
                  <a:cubicBezTo>
                    <a:pt x="214" y="4482"/>
                    <a:pt x="221" y="4489"/>
                    <a:pt x="228" y="4492"/>
                  </a:cubicBezTo>
                  <a:cubicBezTo>
                    <a:pt x="235" y="4499"/>
                    <a:pt x="242" y="4506"/>
                    <a:pt x="245" y="4513"/>
                  </a:cubicBezTo>
                  <a:cubicBezTo>
                    <a:pt x="252" y="4517"/>
                    <a:pt x="256" y="4524"/>
                    <a:pt x="259" y="4527"/>
                  </a:cubicBezTo>
                  <a:lnTo>
                    <a:pt x="263" y="4534"/>
                  </a:lnTo>
                  <a:cubicBezTo>
                    <a:pt x="270" y="4545"/>
                    <a:pt x="277" y="4555"/>
                    <a:pt x="284" y="4569"/>
                  </a:cubicBezTo>
                  <a:cubicBezTo>
                    <a:pt x="326" y="4650"/>
                    <a:pt x="315" y="4741"/>
                    <a:pt x="305" y="4818"/>
                  </a:cubicBezTo>
                  <a:cubicBezTo>
                    <a:pt x="294" y="4912"/>
                    <a:pt x="284" y="4993"/>
                    <a:pt x="343" y="5066"/>
                  </a:cubicBezTo>
                  <a:cubicBezTo>
                    <a:pt x="392" y="5126"/>
                    <a:pt x="448" y="5175"/>
                    <a:pt x="511" y="5217"/>
                  </a:cubicBezTo>
                  <a:cubicBezTo>
                    <a:pt x="571" y="5262"/>
                    <a:pt x="620" y="5297"/>
                    <a:pt x="623" y="5357"/>
                  </a:cubicBezTo>
                  <a:cubicBezTo>
                    <a:pt x="620" y="5402"/>
                    <a:pt x="599" y="5441"/>
                    <a:pt x="564" y="5465"/>
                  </a:cubicBezTo>
                  <a:cubicBezTo>
                    <a:pt x="532" y="5493"/>
                    <a:pt x="532" y="5535"/>
                    <a:pt x="536" y="5602"/>
                  </a:cubicBezTo>
                  <a:lnTo>
                    <a:pt x="536" y="5633"/>
                  </a:lnTo>
                  <a:cubicBezTo>
                    <a:pt x="543" y="5703"/>
                    <a:pt x="522" y="5773"/>
                    <a:pt x="476" y="5829"/>
                  </a:cubicBezTo>
                  <a:cubicBezTo>
                    <a:pt x="466" y="5840"/>
                    <a:pt x="455" y="5847"/>
                    <a:pt x="445" y="5857"/>
                  </a:cubicBezTo>
                  <a:cubicBezTo>
                    <a:pt x="441" y="5861"/>
                    <a:pt x="424" y="5875"/>
                    <a:pt x="427" y="5920"/>
                  </a:cubicBezTo>
                  <a:cubicBezTo>
                    <a:pt x="452" y="6036"/>
                    <a:pt x="525" y="6138"/>
                    <a:pt x="627" y="6197"/>
                  </a:cubicBezTo>
                  <a:cubicBezTo>
                    <a:pt x="735" y="6246"/>
                    <a:pt x="749" y="6369"/>
                    <a:pt x="763" y="6474"/>
                  </a:cubicBezTo>
                  <a:cubicBezTo>
                    <a:pt x="774" y="6561"/>
                    <a:pt x="784" y="6656"/>
                    <a:pt x="840" y="6712"/>
                  </a:cubicBezTo>
                  <a:cubicBezTo>
                    <a:pt x="952" y="6824"/>
                    <a:pt x="959" y="7013"/>
                    <a:pt x="966" y="7163"/>
                  </a:cubicBezTo>
                  <a:cubicBezTo>
                    <a:pt x="966" y="7188"/>
                    <a:pt x="966" y="7216"/>
                    <a:pt x="970" y="7237"/>
                  </a:cubicBezTo>
                  <a:lnTo>
                    <a:pt x="970" y="7247"/>
                  </a:lnTo>
                  <a:lnTo>
                    <a:pt x="970" y="7265"/>
                  </a:lnTo>
                  <a:lnTo>
                    <a:pt x="970" y="7286"/>
                  </a:lnTo>
                  <a:lnTo>
                    <a:pt x="970" y="7296"/>
                  </a:lnTo>
                  <a:cubicBezTo>
                    <a:pt x="970" y="7300"/>
                    <a:pt x="970" y="7310"/>
                    <a:pt x="973" y="7317"/>
                  </a:cubicBezTo>
                  <a:cubicBezTo>
                    <a:pt x="1001" y="7314"/>
                    <a:pt x="1078" y="7289"/>
                    <a:pt x="1222" y="7198"/>
                  </a:cubicBezTo>
                  <a:cubicBezTo>
                    <a:pt x="1348" y="7118"/>
                    <a:pt x="1463" y="7023"/>
                    <a:pt x="1568" y="6918"/>
                  </a:cubicBezTo>
                  <a:lnTo>
                    <a:pt x="1610" y="6876"/>
                  </a:lnTo>
                  <a:cubicBezTo>
                    <a:pt x="1717" y="6763"/>
                    <a:pt x="1792" y="6719"/>
                    <a:pt x="1861" y="6719"/>
                  </a:cubicBezTo>
                  <a:cubicBezTo>
                    <a:pt x="1871" y="6719"/>
                    <a:pt x="1881" y="6720"/>
                    <a:pt x="1891" y="6722"/>
                  </a:cubicBezTo>
                  <a:lnTo>
                    <a:pt x="1912" y="6729"/>
                  </a:lnTo>
                  <a:cubicBezTo>
                    <a:pt x="1926" y="6736"/>
                    <a:pt x="1940" y="6740"/>
                    <a:pt x="1954" y="6747"/>
                  </a:cubicBezTo>
                  <a:cubicBezTo>
                    <a:pt x="1971" y="6757"/>
                    <a:pt x="1985" y="6764"/>
                    <a:pt x="1999" y="6775"/>
                  </a:cubicBezTo>
                  <a:cubicBezTo>
                    <a:pt x="2045" y="6810"/>
                    <a:pt x="2097" y="6831"/>
                    <a:pt x="2153" y="6838"/>
                  </a:cubicBezTo>
                  <a:lnTo>
                    <a:pt x="2248" y="6852"/>
                  </a:lnTo>
                  <a:cubicBezTo>
                    <a:pt x="2468" y="6876"/>
                    <a:pt x="2720" y="6904"/>
                    <a:pt x="2832" y="7135"/>
                  </a:cubicBezTo>
                  <a:cubicBezTo>
                    <a:pt x="2836" y="7142"/>
                    <a:pt x="2843" y="7149"/>
                    <a:pt x="2846" y="7156"/>
                  </a:cubicBezTo>
                  <a:cubicBezTo>
                    <a:pt x="2878" y="7125"/>
                    <a:pt x="2934" y="7013"/>
                    <a:pt x="2962" y="6957"/>
                  </a:cubicBezTo>
                  <a:lnTo>
                    <a:pt x="2983" y="6908"/>
                  </a:lnTo>
                  <a:cubicBezTo>
                    <a:pt x="3000" y="6869"/>
                    <a:pt x="3021" y="6834"/>
                    <a:pt x="3049" y="6799"/>
                  </a:cubicBezTo>
                  <a:cubicBezTo>
                    <a:pt x="3092" y="6754"/>
                    <a:pt x="3166" y="6739"/>
                    <a:pt x="3272" y="6739"/>
                  </a:cubicBezTo>
                  <a:cubicBezTo>
                    <a:pt x="3355" y="6739"/>
                    <a:pt x="3458" y="6748"/>
                    <a:pt x="3581" y="6761"/>
                  </a:cubicBezTo>
                  <a:lnTo>
                    <a:pt x="3655" y="6771"/>
                  </a:lnTo>
                  <a:cubicBezTo>
                    <a:pt x="3691" y="6776"/>
                    <a:pt x="3729" y="6780"/>
                    <a:pt x="3767" y="6780"/>
                  </a:cubicBezTo>
                  <a:cubicBezTo>
                    <a:pt x="3781" y="6780"/>
                    <a:pt x="3795" y="6779"/>
                    <a:pt x="3809" y="6778"/>
                  </a:cubicBezTo>
                  <a:cubicBezTo>
                    <a:pt x="3826" y="6743"/>
                    <a:pt x="3844" y="6705"/>
                    <a:pt x="3851" y="6663"/>
                  </a:cubicBezTo>
                  <a:lnTo>
                    <a:pt x="3851" y="6659"/>
                  </a:lnTo>
                  <a:lnTo>
                    <a:pt x="3858" y="6638"/>
                  </a:lnTo>
                  <a:lnTo>
                    <a:pt x="3858" y="6631"/>
                  </a:lnTo>
                  <a:lnTo>
                    <a:pt x="3861" y="6614"/>
                  </a:lnTo>
                  <a:lnTo>
                    <a:pt x="3865" y="6589"/>
                  </a:lnTo>
                  <a:lnTo>
                    <a:pt x="3865" y="6586"/>
                  </a:lnTo>
                  <a:cubicBezTo>
                    <a:pt x="3910" y="6383"/>
                    <a:pt x="3942" y="6089"/>
                    <a:pt x="3931" y="6008"/>
                  </a:cubicBezTo>
                  <a:cubicBezTo>
                    <a:pt x="3907" y="5840"/>
                    <a:pt x="4208" y="5539"/>
                    <a:pt x="4380" y="5427"/>
                  </a:cubicBezTo>
                  <a:cubicBezTo>
                    <a:pt x="4502" y="5343"/>
                    <a:pt x="4663" y="5343"/>
                    <a:pt x="4800" y="5339"/>
                  </a:cubicBezTo>
                  <a:lnTo>
                    <a:pt x="4873" y="5339"/>
                  </a:lnTo>
                  <a:cubicBezTo>
                    <a:pt x="4881" y="5340"/>
                    <a:pt x="4888" y="5340"/>
                    <a:pt x="4896" y="5340"/>
                  </a:cubicBezTo>
                  <a:cubicBezTo>
                    <a:pt x="4948" y="5340"/>
                    <a:pt x="4999" y="5330"/>
                    <a:pt x="5048" y="5311"/>
                  </a:cubicBezTo>
                  <a:cubicBezTo>
                    <a:pt x="5164" y="5252"/>
                    <a:pt x="5311" y="5241"/>
                    <a:pt x="5461" y="5238"/>
                  </a:cubicBezTo>
                  <a:lnTo>
                    <a:pt x="5710" y="5238"/>
                  </a:lnTo>
                  <a:cubicBezTo>
                    <a:pt x="5857" y="5238"/>
                    <a:pt x="5979" y="5318"/>
                    <a:pt x="6074" y="5385"/>
                  </a:cubicBezTo>
                  <a:cubicBezTo>
                    <a:pt x="6134" y="5423"/>
                    <a:pt x="6190" y="5465"/>
                    <a:pt x="6225" y="5465"/>
                  </a:cubicBezTo>
                  <a:cubicBezTo>
                    <a:pt x="6246" y="5462"/>
                    <a:pt x="6267" y="5455"/>
                    <a:pt x="6284" y="5441"/>
                  </a:cubicBezTo>
                  <a:cubicBezTo>
                    <a:pt x="6340" y="5399"/>
                    <a:pt x="6386" y="5339"/>
                    <a:pt x="6407" y="5273"/>
                  </a:cubicBezTo>
                  <a:cubicBezTo>
                    <a:pt x="6410" y="5259"/>
                    <a:pt x="6414" y="5245"/>
                    <a:pt x="6417" y="5231"/>
                  </a:cubicBezTo>
                  <a:lnTo>
                    <a:pt x="6417" y="5224"/>
                  </a:lnTo>
                  <a:cubicBezTo>
                    <a:pt x="6421" y="5213"/>
                    <a:pt x="6421" y="5203"/>
                    <a:pt x="6421" y="5189"/>
                  </a:cubicBezTo>
                  <a:lnTo>
                    <a:pt x="6421" y="5182"/>
                  </a:lnTo>
                  <a:cubicBezTo>
                    <a:pt x="6421" y="5164"/>
                    <a:pt x="6421" y="5150"/>
                    <a:pt x="6417" y="5136"/>
                  </a:cubicBezTo>
                  <a:cubicBezTo>
                    <a:pt x="6403" y="5038"/>
                    <a:pt x="6428" y="4933"/>
                    <a:pt x="6456" y="4821"/>
                  </a:cubicBezTo>
                  <a:cubicBezTo>
                    <a:pt x="6466" y="4790"/>
                    <a:pt x="6473" y="4758"/>
                    <a:pt x="6480" y="4723"/>
                  </a:cubicBezTo>
                  <a:cubicBezTo>
                    <a:pt x="6494" y="4674"/>
                    <a:pt x="6501" y="4625"/>
                    <a:pt x="6501" y="4576"/>
                  </a:cubicBezTo>
                  <a:cubicBezTo>
                    <a:pt x="6505" y="4527"/>
                    <a:pt x="6498" y="4482"/>
                    <a:pt x="6484" y="4436"/>
                  </a:cubicBezTo>
                  <a:cubicBezTo>
                    <a:pt x="6452" y="4352"/>
                    <a:pt x="6400" y="4282"/>
                    <a:pt x="6333" y="4223"/>
                  </a:cubicBezTo>
                  <a:cubicBezTo>
                    <a:pt x="6253" y="4142"/>
                    <a:pt x="6158" y="4051"/>
                    <a:pt x="6158" y="3879"/>
                  </a:cubicBezTo>
                  <a:cubicBezTo>
                    <a:pt x="6158" y="3788"/>
                    <a:pt x="6148" y="3739"/>
                    <a:pt x="6120" y="3711"/>
                  </a:cubicBezTo>
                  <a:cubicBezTo>
                    <a:pt x="6095" y="3694"/>
                    <a:pt x="6067" y="3680"/>
                    <a:pt x="6036" y="3676"/>
                  </a:cubicBezTo>
                  <a:cubicBezTo>
                    <a:pt x="5980" y="3670"/>
                    <a:pt x="5925" y="3667"/>
                    <a:pt x="5869" y="3667"/>
                  </a:cubicBezTo>
                  <a:cubicBezTo>
                    <a:pt x="5837" y="3667"/>
                    <a:pt x="5805" y="3668"/>
                    <a:pt x="5773" y="3669"/>
                  </a:cubicBezTo>
                  <a:lnTo>
                    <a:pt x="5755" y="3669"/>
                  </a:lnTo>
                  <a:cubicBezTo>
                    <a:pt x="5730" y="3670"/>
                    <a:pt x="5705" y="3671"/>
                    <a:pt x="5681" y="3671"/>
                  </a:cubicBezTo>
                  <a:cubicBezTo>
                    <a:pt x="5232" y="3671"/>
                    <a:pt x="5118" y="3490"/>
                    <a:pt x="5108" y="3337"/>
                  </a:cubicBezTo>
                  <a:cubicBezTo>
                    <a:pt x="5097" y="3263"/>
                    <a:pt x="5073" y="3197"/>
                    <a:pt x="5038" y="3134"/>
                  </a:cubicBezTo>
                  <a:cubicBezTo>
                    <a:pt x="4992" y="3039"/>
                    <a:pt x="4922" y="2896"/>
                    <a:pt x="5080" y="2819"/>
                  </a:cubicBezTo>
                  <a:cubicBezTo>
                    <a:pt x="5083" y="2815"/>
                    <a:pt x="5090" y="2812"/>
                    <a:pt x="5094" y="2808"/>
                  </a:cubicBezTo>
                  <a:cubicBezTo>
                    <a:pt x="5083" y="2780"/>
                    <a:pt x="5069" y="2752"/>
                    <a:pt x="5052" y="2728"/>
                  </a:cubicBezTo>
                  <a:cubicBezTo>
                    <a:pt x="5006" y="2658"/>
                    <a:pt x="4943" y="2560"/>
                    <a:pt x="4964" y="2448"/>
                  </a:cubicBezTo>
                  <a:cubicBezTo>
                    <a:pt x="4985" y="2315"/>
                    <a:pt x="4922" y="2259"/>
                    <a:pt x="4814" y="2168"/>
                  </a:cubicBezTo>
                  <a:lnTo>
                    <a:pt x="4775" y="2136"/>
                  </a:lnTo>
                  <a:cubicBezTo>
                    <a:pt x="4753" y="2117"/>
                    <a:pt x="4672" y="2115"/>
                    <a:pt x="4598" y="2115"/>
                  </a:cubicBezTo>
                  <a:cubicBezTo>
                    <a:pt x="4577" y="2115"/>
                    <a:pt x="4556" y="2115"/>
                    <a:pt x="4537" y="2115"/>
                  </a:cubicBezTo>
                  <a:cubicBezTo>
                    <a:pt x="4506" y="2116"/>
                    <a:pt x="4475" y="2117"/>
                    <a:pt x="4445" y="2117"/>
                  </a:cubicBezTo>
                  <a:cubicBezTo>
                    <a:pt x="4341" y="2117"/>
                    <a:pt x="4248" y="2107"/>
                    <a:pt x="4194" y="2056"/>
                  </a:cubicBezTo>
                  <a:cubicBezTo>
                    <a:pt x="4170" y="2031"/>
                    <a:pt x="4152" y="1993"/>
                    <a:pt x="4156" y="1958"/>
                  </a:cubicBezTo>
                  <a:cubicBezTo>
                    <a:pt x="4156" y="1842"/>
                    <a:pt x="3910" y="1810"/>
                    <a:pt x="3767" y="1810"/>
                  </a:cubicBezTo>
                  <a:cubicBezTo>
                    <a:pt x="3637" y="1810"/>
                    <a:pt x="3613" y="1716"/>
                    <a:pt x="3599" y="1667"/>
                  </a:cubicBezTo>
                  <a:cubicBezTo>
                    <a:pt x="3588" y="1625"/>
                    <a:pt x="3586" y="1617"/>
                    <a:pt x="3569" y="1617"/>
                  </a:cubicBezTo>
                  <a:cubicBezTo>
                    <a:pt x="3565" y="1617"/>
                    <a:pt x="3560" y="1617"/>
                    <a:pt x="3553" y="1618"/>
                  </a:cubicBezTo>
                  <a:lnTo>
                    <a:pt x="3536" y="1618"/>
                  </a:lnTo>
                  <a:cubicBezTo>
                    <a:pt x="3530" y="1618"/>
                    <a:pt x="3525" y="1618"/>
                    <a:pt x="3519" y="1618"/>
                  </a:cubicBezTo>
                  <a:cubicBezTo>
                    <a:pt x="3458" y="1618"/>
                    <a:pt x="3398" y="1601"/>
                    <a:pt x="3350" y="1569"/>
                  </a:cubicBezTo>
                  <a:cubicBezTo>
                    <a:pt x="3315" y="1547"/>
                    <a:pt x="3288" y="1529"/>
                    <a:pt x="3224" y="1529"/>
                  </a:cubicBezTo>
                  <a:cubicBezTo>
                    <a:pt x="3207" y="1529"/>
                    <a:pt x="3186" y="1531"/>
                    <a:pt x="3161" y="1534"/>
                  </a:cubicBezTo>
                  <a:cubicBezTo>
                    <a:pt x="3130" y="1538"/>
                    <a:pt x="3101" y="1540"/>
                    <a:pt x="3072" y="1540"/>
                  </a:cubicBezTo>
                  <a:cubicBezTo>
                    <a:pt x="2847" y="1540"/>
                    <a:pt x="2691" y="1404"/>
                    <a:pt x="2458" y="1124"/>
                  </a:cubicBezTo>
                  <a:cubicBezTo>
                    <a:pt x="2185" y="802"/>
                    <a:pt x="2209" y="193"/>
                    <a:pt x="2265" y="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213" name="Google Shape;5213;p104"/>
            <p:cNvSpPr/>
            <p:nvPr/>
          </p:nvSpPr>
          <p:spPr>
            <a:xfrm>
              <a:off x="1596443" y="2164147"/>
              <a:ext cx="8812" cy="4820"/>
            </a:xfrm>
            <a:custGeom>
              <a:avLst/>
              <a:gdLst/>
              <a:ahLst/>
              <a:cxnLst/>
              <a:rect l="l" t="t" r="r" b="b"/>
              <a:pathLst>
                <a:path w="649" h="355" extrusionOk="0">
                  <a:moveTo>
                    <a:pt x="648" y="337"/>
                  </a:moveTo>
                  <a:cubicBezTo>
                    <a:pt x="134" y="354"/>
                    <a:pt x="11" y="165"/>
                    <a:pt x="1" y="1"/>
                  </a:cubicBezTo>
                  <a:cubicBezTo>
                    <a:pt x="11" y="165"/>
                    <a:pt x="134" y="354"/>
                    <a:pt x="648" y="337"/>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214" name="Google Shape;5214;p104"/>
            <p:cNvSpPr/>
            <p:nvPr/>
          </p:nvSpPr>
          <p:spPr>
            <a:xfrm>
              <a:off x="1614230" y="2188587"/>
              <a:ext cx="54" cy="625"/>
            </a:xfrm>
            <a:custGeom>
              <a:avLst/>
              <a:gdLst/>
              <a:ahLst/>
              <a:cxnLst/>
              <a:rect l="l" t="t" r="r" b="b"/>
              <a:pathLst>
                <a:path w="4" h="46" extrusionOk="0">
                  <a:moveTo>
                    <a:pt x="0" y="0"/>
                  </a:moveTo>
                  <a:cubicBezTo>
                    <a:pt x="4" y="14"/>
                    <a:pt x="4" y="32"/>
                    <a:pt x="4" y="46"/>
                  </a:cubicBezTo>
                  <a:cubicBezTo>
                    <a:pt x="4" y="32"/>
                    <a:pt x="4" y="14"/>
                    <a:pt x="0"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215" name="Google Shape;5215;p104"/>
            <p:cNvSpPr/>
            <p:nvPr/>
          </p:nvSpPr>
          <p:spPr>
            <a:xfrm>
              <a:off x="1584047" y="2146754"/>
              <a:ext cx="4616" cy="923"/>
            </a:xfrm>
            <a:custGeom>
              <a:avLst/>
              <a:gdLst/>
              <a:ahLst/>
              <a:cxnLst/>
              <a:rect l="l" t="t" r="r" b="b"/>
              <a:pathLst>
                <a:path w="340" h="68" extrusionOk="0">
                  <a:moveTo>
                    <a:pt x="340" y="60"/>
                  </a:moveTo>
                  <a:cubicBezTo>
                    <a:pt x="200" y="64"/>
                    <a:pt x="67" y="67"/>
                    <a:pt x="0" y="1"/>
                  </a:cubicBezTo>
                  <a:cubicBezTo>
                    <a:pt x="67" y="67"/>
                    <a:pt x="200" y="64"/>
                    <a:pt x="340" y="6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216" name="Google Shape;5216;p104"/>
            <p:cNvSpPr/>
            <p:nvPr/>
          </p:nvSpPr>
          <p:spPr>
            <a:xfrm>
              <a:off x="1612370" y="2190433"/>
              <a:ext cx="1724" cy="2349"/>
            </a:xfrm>
            <a:custGeom>
              <a:avLst/>
              <a:gdLst/>
              <a:ahLst/>
              <a:cxnLst/>
              <a:rect l="l" t="t" r="r" b="b"/>
              <a:pathLst>
                <a:path w="127" h="173" extrusionOk="0">
                  <a:moveTo>
                    <a:pt x="127" y="1"/>
                  </a:moveTo>
                  <a:cubicBezTo>
                    <a:pt x="114" y="34"/>
                    <a:pt x="99" y="63"/>
                    <a:pt x="82" y="90"/>
                  </a:cubicBezTo>
                  <a:lnTo>
                    <a:pt x="82" y="90"/>
                  </a:lnTo>
                  <a:cubicBezTo>
                    <a:pt x="100" y="63"/>
                    <a:pt x="115" y="33"/>
                    <a:pt x="127" y="1"/>
                  </a:cubicBezTo>
                  <a:close/>
                  <a:moveTo>
                    <a:pt x="82" y="90"/>
                  </a:moveTo>
                  <a:cubicBezTo>
                    <a:pt x="70" y="108"/>
                    <a:pt x="56" y="124"/>
                    <a:pt x="40" y="140"/>
                  </a:cubicBezTo>
                  <a:lnTo>
                    <a:pt x="40" y="140"/>
                  </a:lnTo>
                  <a:cubicBezTo>
                    <a:pt x="47" y="133"/>
                    <a:pt x="54" y="126"/>
                    <a:pt x="60" y="120"/>
                  </a:cubicBezTo>
                  <a:cubicBezTo>
                    <a:pt x="68" y="110"/>
                    <a:pt x="75" y="100"/>
                    <a:pt x="82" y="90"/>
                  </a:cubicBezTo>
                  <a:close/>
                  <a:moveTo>
                    <a:pt x="40" y="140"/>
                  </a:moveTo>
                  <a:lnTo>
                    <a:pt x="40" y="140"/>
                  </a:lnTo>
                  <a:cubicBezTo>
                    <a:pt x="32" y="147"/>
                    <a:pt x="24" y="154"/>
                    <a:pt x="15" y="162"/>
                  </a:cubicBezTo>
                  <a:lnTo>
                    <a:pt x="1" y="172"/>
                  </a:lnTo>
                  <a:cubicBezTo>
                    <a:pt x="15" y="162"/>
                    <a:pt x="28" y="151"/>
                    <a:pt x="40" y="14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217" name="Google Shape;5217;p104"/>
            <p:cNvSpPr/>
            <p:nvPr/>
          </p:nvSpPr>
          <p:spPr>
            <a:xfrm>
              <a:off x="1614040" y="2189917"/>
              <a:ext cx="149" cy="530"/>
            </a:xfrm>
            <a:custGeom>
              <a:avLst/>
              <a:gdLst/>
              <a:ahLst/>
              <a:cxnLst/>
              <a:rect l="l" t="t" r="r" b="b"/>
              <a:pathLst>
                <a:path w="11" h="39" extrusionOk="0">
                  <a:moveTo>
                    <a:pt x="11" y="0"/>
                  </a:moveTo>
                  <a:cubicBezTo>
                    <a:pt x="7" y="11"/>
                    <a:pt x="4" y="25"/>
                    <a:pt x="0" y="39"/>
                  </a:cubicBezTo>
                  <a:cubicBezTo>
                    <a:pt x="4" y="25"/>
                    <a:pt x="7" y="11"/>
                    <a:pt x="11"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218" name="Google Shape;5218;p104"/>
            <p:cNvSpPr/>
            <p:nvPr/>
          </p:nvSpPr>
          <p:spPr>
            <a:xfrm>
              <a:off x="1529140" y="2128031"/>
              <a:ext cx="163" cy="54"/>
            </a:xfrm>
            <a:custGeom>
              <a:avLst/>
              <a:gdLst/>
              <a:ahLst/>
              <a:cxnLst/>
              <a:rect l="l" t="t" r="r" b="b"/>
              <a:pathLst>
                <a:path w="12" h="4" extrusionOk="0">
                  <a:moveTo>
                    <a:pt x="11" y="4"/>
                  </a:moveTo>
                  <a:lnTo>
                    <a:pt x="1" y="0"/>
                  </a:lnTo>
                  <a:lnTo>
                    <a:pt x="1"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219" name="Google Shape;5219;p104"/>
            <p:cNvSpPr/>
            <p:nvPr/>
          </p:nvSpPr>
          <p:spPr>
            <a:xfrm>
              <a:off x="1614230" y="2189293"/>
              <a:ext cx="54" cy="489"/>
            </a:xfrm>
            <a:custGeom>
              <a:avLst/>
              <a:gdLst/>
              <a:ahLst/>
              <a:cxnLst/>
              <a:rect l="l" t="t" r="r" b="b"/>
              <a:pathLst>
                <a:path w="4" h="36" extrusionOk="0">
                  <a:moveTo>
                    <a:pt x="4" y="1"/>
                  </a:moveTo>
                  <a:cubicBezTo>
                    <a:pt x="4" y="15"/>
                    <a:pt x="0" y="25"/>
                    <a:pt x="0" y="36"/>
                  </a:cubicBezTo>
                  <a:cubicBezTo>
                    <a:pt x="0" y="25"/>
                    <a:pt x="4" y="15"/>
                    <a:pt x="4" y="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220" name="Google Shape;5220;p104"/>
            <p:cNvSpPr/>
            <p:nvPr/>
          </p:nvSpPr>
          <p:spPr>
            <a:xfrm>
              <a:off x="1529425" y="2128126"/>
              <a:ext cx="394" cy="149"/>
            </a:xfrm>
            <a:custGeom>
              <a:avLst/>
              <a:gdLst/>
              <a:ahLst/>
              <a:cxnLst/>
              <a:rect l="l" t="t" r="r" b="b"/>
              <a:pathLst>
                <a:path w="29" h="11" extrusionOk="0">
                  <a:moveTo>
                    <a:pt x="1" y="0"/>
                  </a:moveTo>
                  <a:lnTo>
                    <a:pt x="29" y="1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221" name="Google Shape;5221;p104"/>
            <p:cNvSpPr/>
            <p:nvPr/>
          </p:nvSpPr>
          <p:spPr>
            <a:xfrm>
              <a:off x="1575290" y="2140807"/>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222" name="Google Shape;5222;p104"/>
            <p:cNvSpPr/>
            <p:nvPr/>
          </p:nvSpPr>
          <p:spPr>
            <a:xfrm>
              <a:off x="1615085" y="2180983"/>
              <a:ext cx="299" cy="2009"/>
            </a:xfrm>
            <a:custGeom>
              <a:avLst/>
              <a:gdLst/>
              <a:ahLst/>
              <a:cxnLst/>
              <a:rect l="l" t="t" r="r" b="b"/>
              <a:pathLst>
                <a:path w="22" h="148" extrusionOk="0">
                  <a:moveTo>
                    <a:pt x="21" y="0"/>
                  </a:moveTo>
                  <a:cubicBezTo>
                    <a:pt x="18" y="49"/>
                    <a:pt x="11" y="98"/>
                    <a:pt x="0" y="147"/>
                  </a:cubicBezTo>
                  <a:cubicBezTo>
                    <a:pt x="11" y="98"/>
                    <a:pt x="18" y="49"/>
                    <a:pt x="21"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223" name="Google Shape;5223;p104"/>
            <p:cNvSpPr/>
            <p:nvPr/>
          </p:nvSpPr>
          <p:spPr>
            <a:xfrm>
              <a:off x="1595493" y="2161391"/>
              <a:ext cx="964" cy="2770"/>
            </a:xfrm>
            <a:custGeom>
              <a:avLst/>
              <a:gdLst/>
              <a:ahLst/>
              <a:cxnLst/>
              <a:rect l="l" t="t" r="r" b="b"/>
              <a:pathLst>
                <a:path w="71" h="204" extrusionOk="0">
                  <a:moveTo>
                    <a:pt x="1" y="1"/>
                  </a:moveTo>
                  <a:cubicBezTo>
                    <a:pt x="36" y="64"/>
                    <a:pt x="60" y="134"/>
                    <a:pt x="71" y="204"/>
                  </a:cubicBezTo>
                  <a:cubicBezTo>
                    <a:pt x="60" y="134"/>
                    <a:pt x="36" y="64"/>
                    <a:pt x="1" y="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224" name="Google Shape;5224;p104"/>
            <p:cNvSpPr/>
            <p:nvPr/>
          </p:nvSpPr>
          <p:spPr>
            <a:xfrm>
              <a:off x="1543736" y="2212822"/>
              <a:ext cx="4711" cy="3775"/>
            </a:xfrm>
            <a:custGeom>
              <a:avLst/>
              <a:gdLst/>
              <a:ahLst/>
              <a:cxnLst/>
              <a:rect l="l" t="t" r="r" b="b"/>
              <a:pathLst>
                <a:path w="347" h="278" extrusionOk="0">
                  <a:moveTo>
                    <a:pt x="347" y="1"/>
                  </a:moveTo>
                  <a:cubicBezTo>
                    <a:pt x="245" y="96"/>
                    <a:pt x="137" y="185"/>
                    <a:pt x="23" y="262"/>
                  </a:cubicBezTo>
                  <a:lnTo>
                    <a:pt x="23" y="262"/>
                  </a:lnTo>
                  <a:lnTo>
                    <a:pt x="53" y="242"/>
                  </a:lnTo>
                  <a:cubicBezTo>
                    <a:pt x="158" y="172"/>
                    <a:pt x="256" y="88"/>
                    <a:pt x="347" y="1"/>
                  </a:cubicBezTo>
                  <a:close/>
                  <a:moveTo>
                    <a:pt x="23" y="262"/>
                  </a:moveTo>
                  <a:lnTo>
                    <a:pt x="0" y="277"/>
                  </a:lnTo>
                  <a:cubicBezTo>
                    <a:pt x="8" y="272"/>
                    <a:pt x="16" y="267"/>
                    <a:pt x="23" y="262"/>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225" name="Google Shape;5225;p104"/>
            <p:cNvSpPr/>
            <p:nvPr/>
          </p:nvSpPr>
          <p:spPr>
            <a:xfrm>
              <a:off x="1568542" y="2210324"/>
              <a:ext cx="8092" cy="855"/>
            </a:xfrm>
            <a:custGeom>
              <a:avLst/>
              <a:gdLst/>
              <a:ahLst/>
              <a:cxnLst/>
              <a:rect l="l" t="t" r="r" b="b"/>
              <a:pathLst>
                <a:path w="596" h="63" extrusionOk="0">
                  <a:moveTo>
                    <a:pt x="210" y="0"/>
                  </a:moveTo>
                  <a:cubicBezTo>
                    <a:pt x="107" y="0"/>
                    <a:pt x="36" y="17"/>
                    <a:pt x="1" y="62"/>
                  </a:cubicBezTo>
                  <a:cubicBezTo>
                    <a:pt x="38" y="17"/>
                    <a:pt x="109" y="1"/>
                    <a:pt x="213" y="0"/>
                  </a:cubicBezTo>
                  <a:lnTo>
                    <a:pt x="213" y="0"/>
                  </a:lnTo>
                  <a:cubicBezTo>
                    <a:pt x="292" y="1"/>
                    <a:pt x="389" y="10"/>
                    <a:pt x="505" y="24"/>
                  </a:cubicBezTo>
                  <a:lnTo>
                    <a:pt x="596" y="34"/>
                  </a:lnTo>
                  <a:lnTo>
                    <a:pt x="522" y="24"/>
                  </a:lnTo>
                  <a:cubicBezTo>
                    <a:pt x="401" y="10"/>
                    <a:pt x="299" y="0"/>
                    <a:pt x="217" y="0"/>
                  </a:cubicBezTo>
                  <a:cubicBezTo>
                    <a:pt x="216" y="0"/>
                    <a:pt x="214" y="0"/>
                    <a:pt x="213" y="0"/>
                  </a:cubicBezTo>
                  <a:lnTo>
                    <a:pt x="213" y="0"/>
                  </a:lnTo>
                  <a:cubicBezTo>
                    <a:pt x="212" y="0"/>
                    <a:pt x="211" y="0"/>
                    <a:pt x="210"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226" name="Google Shape;5226;p104"/>
            <p:cNvSpPr/>
            <p:nvPr/>
          </p:nvSpPr>
          <p:spPr>
            <a:xfrm>
              <a:off x="1530375" y="2180128"/>
              <a:ext cx="163" cy="244"/>
            </a:xfrm>
            <a:custGeom>
              <a:avLst/>
              <a:gdLst/>
              <a:ahLst/>
              <a:cxnLst/>
              <a:rect l="l" t="t" r="r" b="b"/>
              <a:pathLst>
                <a:path w="12" h="18" extrusionOk="0">
                  <a:moveTo>
                    <a:pt x="11" y="18"/>
                  </a:moveTo>
                  <a:cubicBezTo>
                    <a:pt x="8" y="11"/>
                    <a:pt x="4" y="7"/>
                    <a:pt x="1" y="0"/>
                  </a:cubicBezTo>
                  <a:cubicBezTo>
                    <a:pt x="4" y="7"/>
                    <a:pt x="8" y="11"/>
                    <a:pt x="11" y="18"/>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227" name="Google Shape;5227;p104"/>
            <p:cNvSpPr/>
            <p:nvPr/>
          </p:nvSpPr>
          <p:spPr>
            <a:xfrm>
              <a:off x="1527049" y="2176177"/>
              <a:ext cx="2675" cy="3340"/>
            </a:xfrm>
            <a:custGeom>
              <a:avLst/>
              <a:gdLst/>
              <a:ahLst/>
              <a:cxnLst/>
              <a:rect l="l" t="t" r="r" b="b"/>
              <a:pathLst>
                <a:path w="197" h="246" extrusionOk="0">
                  <a:moveTo>
                    <a:pt x="39" y="60"/>
                  </a:moveTo>
                  <a:cubicBezTo>
                    <a:pt x="29" y="39"/>
                    <a:pt x="15" y="18"/>
                    <a:pt x="1" y="1"/>
                  </a:cubicBezTo>
                  <a:lnTo>
                    <a:pt x="1" y="1"/>
                  </a:lnTo>
                  <a:cubicBezTo>
                    <a:pt x="15" y="18"/>
                    <a:pt x="29" y="39"/>
                    <a:pt x="39" y="60"/>
                  </a:cubicBezTo>
                  <a:cubicBezTo>
                    <a:pt x="78" y="134"/>
                    <a:pt x="134" y="197"/>
                    <a:pt x="197" y="246"/>
                  </a:cubicBezTo>
                  <a:cubicBezTo>
                    <a:pt x="134" y="197"/>
                    <a:pt x="78" y="134"/>
                    <a:pt x="39" y="6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228" name="Google Shape;5228;p104"/>
            <p:cNvSpPr/>
            <p:nvPr/>
          </p:nvSpPr>
          <p:spPr>
            <a:xfrm>
              <a:off x="1540314" y="2216583"/>
              <a:ext cx="3435" cy="1629"/>
            </a:xfrm>
            <a:custGeom>
              <a:avLst/>
              <a:gdLst/>
              <a:ahLst/>
              <a:cxnLst/>
              <a:rect l="l" t="t" r="r" b="b"/>
              <a:pathLst>
                <a:path w="253" h="120" extrusionOk="0">
                  <a:moveTo>
                    <a:pt x="252" y="0"/>
                  </a:moveTo>
                  <a:lnTo>
                    <a:pt x="224" y="18"/>
                  </a:lnTo>
                  <a:cubicBezTo>
                    <a:pt x="177" y="47"/>
                    <a:pt x="133" y="72"/>
                    <a:pt x="96" y="89"/>
                  </a:cubicBezTo>
                  <a:lnTo>
                    <a:pt x="96" y="89"/>
                  </a:lnTo>
                  <a:cubicBezTo>
                    <a:pt x="135" y="71"/>
                    <a:pt x="187" y="43"/>
                    <a:pt x="252" y="0"/>
                  </a:cubicBezTo>
                  <a:close/>
                  <a:moveTo>
                    <a:pt x="96" y="89"/>
                  </a:moveTo>
                  <a:cubicBezTo>
                    <a:pt x="48" y="110"/>
                    <a:pt x="17" y="117"/>
                    <a:pt x="0" y="119"/>
                  </a:cubicBezTo>
                  <a:cubicBezTo>
                    <a:pt x="21" y="119"/>
                    <a:pt x="54" y="109"/>
                    <a:pt x="96" y="89"/>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229" name="Google Shape;5229;p104"/>
            <p:cNvSpPr/>
            <p:nvPr/>
          </p:nvSpPr>
          <p:spPr>
            <a:xfrm>
              <a:off x="1530565" y="2180413"/>
              <a:ext cx="353" cy="489"/>
            </a:xfrm>
            <a:custGeom>
              <a:avLst/>
              <a:gdLst/>
              <a:ahLst/>
              <a:cxnLst/>
              <a:rect l="l" t="t" r="r" b="b"/>
              <a:pathLst>
                <a:path w="26" h="36" extrusionOk="0">
                  <a:moveTo>
                    <a:pt x="25" y="35"/>
                  </a:moveTo>
                  <a:cubicBezTo>
                    <a:pt x="18" y="25"/>
                    <a:pt x="11" y="11"/>
                    <a:pt x="1" y="0"/>
                  </a:cubicBezTo>
                  <a:cubicBezTo>
                    <a:pt x="11" y="11"/>
                    <a:pt x="18" y="25"/>
                    <a:pt x="25" y="35"/>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230" name="Google Shape;5230;p104"/>
            <p:cNvSpPr/>
            <p:nvPr/>
          </p:nvSpPr>
          <p:spPr>
            <a:xfrm>
              <a:off x="1540260" y="2217819"/>
              <a:ext cx="14" cy="149"/>
            </a:xfrm>
            <a:custGeom>
              <a:avLst/>
              <a:gdLst/>
              <a:ahLst/>
              <a:cxnLst/>
              <a:rect l="l" t="t" r="r" b="b"/>
              <a:pathLst>
                <a:path w="1" h="11" extrusionOk="0">
                  <a:moveTo>
                    <a:pt x="1" y="11"/>
                  </a:moveTo>
                  <a:lnTo>
                    <a:pt x="1" y="0"/>
                  </a:lnTo>
                  <a:cubicBezTo>
                    <a:pt x="1" y="4"/>
                    <a:pt x="1" y="7"/>
                    <a:pt x="1" y="1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231" name="Google Shape;5231;p104"/>
            <p:cNvSpPr/>
            <p:nvPr/>
          </p:nvSpPr>
          <p:spPr>
            <a:xfrm>
              <a:off x="1540124" y="2216149"/>
              <a:ext cx="109" cy="1018"/>
            </a:xfrm>
            <a:custGeom>
              <a:avLst/>
              <a:gdLst/>
              <a:ahLst/>
              <a:cxnLst/>
              <a:rect l="l" t="t" r="r" b="b"/>
              <a:pathLst>
                <a:path w="8" h="75" extrusionOk="0">
                  <a:moveTo>
                    <a:pt x="0" y="1"/>
                  </a:moveTo>
                  <a:cubicBezTo>
                    <a:pt x="4" y="25"/>
                    <a:pt x="4" y="50"/>
                    <a:pt x="7" y="74"/>
                  </a:cubicBezTo>
                  <a:cubicBezTo>
                    <a:pt x="7" y="50"/>
                    <a:pt x="4" y="25"/>
                    <a:pt x="0" y="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232" name="Google Shape;5232;p104"/>
            <p:cNvSpPr/>
            <p:nvPr/>
          </p:nvSpPr>
          <p:spPr>
            <a:xfrm>
              <a:off x="1540219" y="2217289"/>
              <a:ext cx="54" cy="258"/>
            </a:xfrm>
            <a:custGeom>
              <a:avLst/>
              <a:gdLst/>
              <a:ahLst/>
              <a:cxnLst/>
              <a:rect l="l" t="t" r="r" b="b"/>
              <a:pathLst>
                <a:path w="4" h="19" extrusionOk="0">
                  <a:moveTo>
                    <a:pt x="4" y="1"/>
                  </a:moveTo>
                  <a:cubicBezTo>
                    <a:pt x="0" y="8"/>
                    <a:pt x="4" y="11"/>
                    <a:pt x="4" y="18"/>
                  </a:cubicBezTo>
                  <a:lnTo>
                    <a:pt x="4"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233" name="Google Shape;5233;p104"/>
            <p:cNvSpPr/>
            <p:nvPr/>
          </p:nvSpPr>
          <p:spPr>
            <a:xfrm>
              <a:off x="1533512" y="2195335"/>
              <a:ext cx="869" cy="2675"/>
            </a:xfrm>
            <a:custGeom>
              <a:avLst/>
              <a:gdLst/>
              <a:ahLst/>
              <a:cxnLst/>
              <a:rect l="l" t="t" r="r" b="b"/>
              <a:pathLst>
                <a:path w="64" h="197" extrusionOk="0">
                  <a:moveTo>
                    <a:pt x="60" y="0"/>
                  </a:moveTo>
                  <a:cubicBezTo>
                    <a:pt x="64" y="70"/>
                    <a:pt x="43" y="140"/>
                    <a:pt x="1" y="196"/>
                  </a:cubicBezTo>
                  <a:cubicBezTo>
                    <a:pt x="43" y="140"/>
                    <a:pt x="64" y="70"/>
                    <a:pt x="60"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234" name="Google Shape;5234;p104"/>
            <p:cNvSpPr/>
            <p:nvPr/>
          </p:nvSpPr>
          <p:spPr>
            <a:xfrm>
              <a:off x="1530090" y="2179883"/>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235" name="Google Shape;5235;p104"/>
            <p:cNvSpPr/>
            <p:nvPr/>
          </p:nvSpPr>
          <p:spPr>
            <a:xfrm>
              <a:off x="1543355" y="2216108"/>
              <a:ext cx="1100" cy="720"/>
            </a:xfrm>
            <a:custGeom>
              <a:avLst/>
              <a:gdLst/>
              <a:ahLst/>
              <a:cxnLst/>
              <a:rect l="l" t="t" r="r" b="b"/>
              <a:pathLst>
                <a:path w="81" h="53" extrusionOk="0">
                  <a:moveTo>
                    <a:pt x="81" y="0"/>
                  </a:moveTo>
                  <a:lnTo>
                    <a:pt x="28" y="32"/>
                  </a:lnTo>
                  <a:lnTo>
                    <a:pt x="28" y="35"/>
                  </a:lnTo>
                  <a:lnTo>
                    <a:pt x="28" y="35"/>
                  </a:lnTo>
                  <a:cubicBezTo>
                    <a:pt x="46" y="23"/>
                    <a:pt x="63" y="12"/>
                    <a:pt x="81" y="0"/>
                  </a:cubicBezTo>
                  <a:close/>
                  <a:moveTo>
                    <a:pt x="28" y="35"/>
                  </a:moveTo>
                  <a:lnTo>
                    <a:pt x="28" y="35"/>
                  </a:lnTo>
                  <a:cubicBezTo>
                    <a:pt x="19" y="41"/>
                    <a:pt x="10" y="47"/>
                    <a:pt x="0" y="53"/>
                  </a:cubicBezTo>
                  <a:lnTo>
                    <a:pt x="28" y="35"/>
                  </a:lnTo>
                  <a:lnTo>
                    <a:pt x="28" y="35"/>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236" name="Google Shape;5236;p104"/>
            <p:cNvSpPr/>
            <p:nvPr/>
          </p:nvSpPr>
          <p:spPr>
            <a:xfrm>
              <a:off x="1579281" y="2208980"/>
              <a:ext cx="109" cy="299"/>
            </a:xfrm>
            <a:custGeom>
              <a:avLst/>
              <a:gdLst/>
              <a:ahLst/>
              <a:cxnLst/>
              <a:rect l="l" t="t" r="r" b="b"/>
              <a:pathLst>
                <a:path w="8" h="22" extrusionOk="0">
                  <a:moveTo>
                    <a:pt x="1" y="21"/>
                  </a:moveTo>
                  <a:lnTo>
                    <a:pt x="8"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237" name="Google Shape;5237;p104"/>
            <p:cNvSpPr/>
            <p:nvPr/>
          </p:nvSpPr>
          <p:spPr>
            <a:xfrm>
              <a:off x="1579376" y="2208641"/>
              <a:ext cx="109" cy="258"/>
            </a:xfrm>
            <a:custGeom>
              <a:avLst/>
              <a:gdLst/>
              <a:ahLst/>
              <a:cxnLst/>
              <a:rect l="l" t="t" r="r" b="b"/>
              <a:pathLst>
                <a:path w="8" h="19" extrusionOk="0">
                  <a:moveTo>
                    <a:pt x="1" y="18"/>
                  </a:moveTo>
                  <a:lnTo>
                    <a:pt x="8"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238" name="Google Shape;5238;p104"/>
            <p:cNvSpPr/>
            <p:nvPr/>
          </p:nvSpPr>
          <p:spPr>
            <a:xfrm>
              <a:off x="1576620" y="2210786"/>
              <a:ext cx="2105" cy="122"/>
            </a:xfrm>
            <a:custGeom>
              <a:avLst/>
              <a:gdLst/>
              <a:ahLst/>
              <a:cxnLst/>
              <a:rect l="l" t="t" r="r" b="b"/>
              <a:pathLst>
                <a:path w="155" h="9" extrusionOk="0">
                  <a:moveTo>
                    <a:pt x="1" y="0"/>
                  </a:moveTo>
                  <a:cubicBezTo>
                    <a:pt x="38" y="5"/>
                    <a:pt x="73" y="8"/>
                    <a:pt x="109" y="9"/>
                  </a:cubicBezTo>
                  <a:lnTo>
                    <a:pt x="109" y="9"/>
                  </a:lnTo>
                  <a:cubicBezTo>
                    <a:pt x="84" y="8"/>
                    <a:pt x="60" y="6"/>
                    <a:pt x="36" y="4"/>
                  </a:cubicBezTo>
                  <a:lnTo>
                    <a:pt x="1" y="0"/>
                  </a:lnTo>
                  <a:close/>
                  <a:moveTo>
                    <a:pt x="155" y="7"/>
                  </a:moveTo>
                  <a:lnTo>
                    <a:pt x="155" y="7"/>
                  </a:lnTo>
                  <a:cubicBezTo>
                    <a:pt x="141" y="8"/>
                    <a:pt x="127" y="9"/>
                    <a:pt x="113" y="9"/>
                  </a:cubicBezTo>
                  <a:cubicBezTo>
                    <a:pt x="112" y="9"/>
                    <a:pt x="111" y="9"/>
                    <a:pt x="109" y="9"/>
                  </a:cubicBezTo>
                  <a:lnTo>
                    <a:pt x="109" y="9"/>
                  </a:lnTo>
                  <a:cubicBezTo>
                    <a:pt x="113" y="9"/>
                    <a:pt x="116" y="9"/>
                    <a:pt x="119" y="9"/>
                  </a:cubicBezTo>
                  <a:cubicBezTo>
                    <a:pt x="131" y="9"/>
                    <a:pt x="143" y="8"/>
                    <a:pt x="155" y="7"/>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239" name="Google Shape;5239;p104"/>
            <p:cNvSpPr/>
            <p:nvPr/>
          </p:nvSpPr>
          <p:spPr>
            <a:xfrm>
              <a:off x="1595588" y="2189958"/>
              <a:ext cx="5621" cy="1018"/>
            </a:xfrm>
            <a:custGeom>
              <a:avLst/>
              <a:gdLst/>
              <a:ahLst/>
              <a:cxnLst/>
              <a:rect l="l" t="t" r="r" b="b"/>
              <a:pathLst>
                <a:path w="414" h="75" extrusionOk="0">
                  <a:moveTo>
                    <a:pt x="414" y="1"/>
                  </a:moveTo>
                  <a:cubicBezTo>
                    <a:pt x="263" y="1"/>
                    <a:pt x="116" y="15"/>
                    <a:pt x="1" y="74"/>
                  </a:cubicBezTo>
                  <a:cubicBezTo>
                    <a:pt x="116" y="15"/>
                    <a:pt x="263" y="4"/>
                    <a:pt x="414" y="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240" name="Google Shape;5240;p104"/>
            <p:cNvSpPr/>
            <p:nvPr/>
          </p:nvSpPr>
          <p:spPr>
            <a:xfrm>
              <a:off x="1611609" y="2192768"/>
              <a:ext cx="774" cy="299"/>
            </a:xfrm>
            <a:custGeom>
              <a:avLst/>
              <a:gdLst/>
              <a:ahLst/>
              <a:cxnLst/>
              <a:rect l="l" t="t" r="r" b="b"/>
              <a:pathLst>
                <a:path w="57" h="22" extrusionOk="0">
                  <a:moveTo>
                    <a:pt x="57" y="0"/>
                  </a:moveTo>
                  <a:cubicBezTo>
                    <a:pt x="39" y="11"/>
                    <a:pt x="18" y="18"/>
                    <a:pt x="1" y="21"/>
                  </a:cubicBezTo>
                  <a:cubicBezTo>
                    <a:pt x="15" y="21"/>
                    <a:pt x="29" y="18"/>
                    <a:pt x="43" y="11"/>
                  </a:cubicBezTo>
                  <a:lnTo>
                    <a:pt x="57"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241" name="Google Shape;5241;p104"/>
            <p:cNvSpPr/>
            <p:nvPr/>
          </p:nvSpPr>
          <p:spPr>
            <a:xfrm>
              <a:off x="1579526" y="2208260"/>
              <a:ext cx="14" cy="68"/>
            </a:xfrm>
            <a:custGeom>
              <a:avLst/>
              <a:gdLst/>
              <a:ahLst/>
              <a:cxnLst/>
              <a:rect l="l" t="t" r="r" b="b"/>
              <a:pathLst>
                <a:path w="1" h="5" extrusionOk="0">
                  <a:moveTo>
                    <a:pt x="0"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242" name="Google Shape;5242;p104"/>
            <p:cNvSpPr/>
            <p:nvPr/>
          </p:nvSpPr>
          <p:spPr>
            <a:xfrm>
              <a:off x="1612180" y="2192619"/>
              <a:ext cx="394" cy="258"/>
            </a:xfrm>
            <a:custGeom>
              <a:avLst/>
              <a:gdLst/>
              <a:ahLst/>
              <a:cxnLst/>
              <a:rect l="l" t="t" r="r" b="b"/>
              <a:pathLst>
                <a:path w="29" h="19" extrusionOk="0">
                  <a:moveTo>
                    <a:pt x="29" y="1"/>
                  </a:moveTo>
                  <a:lnTo>
                    <a:pt x="29" y="1"/>
                  </a:lnTo>
                  <a:cubicBezTo>
                    <a:pt x="18" y="8"/>
                    <a:pt x="8" y="15"/>
                    <a:pt x="1" y="18"/>
                  </a:cubicBezTo>
                  <a:lnTo>
                    <a:pt x="15" y="11"/>
                  </a:lnTo>
                  <a:lnTo>
                    <a:pt x="29"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243" name="Google Shape;5243;p104"/>
            <p:cNvSpPr/>
            <p:nvPr/>
          </p:nvSpPr>
          <p:spPr>
            <a:xfrm>
              <a:off x="1575385" y="2210636"/>
              <a:ext cx="1724" cy="204"/>
            </a:xfrm>
            <a:custGeom>
              <a:avLst/>
              <a:gdLst/>
              <a:ahLst/>
              <a:cxnLst/>
              <a:rect l="l" t="t" r="r" b="b"/>
              <a:pathLst>
                <a:path w="127" h="15" extrusionOk="0">
                  <a:moveTo>
                    <a:pt x="1" y="1"/>
                  </a:moveTo>
                  <a:lnTo>
                    <a:pt x="92" y="11"/>
                  </a:lnTo>
                  <a:lnTo>
                    <a:pt x="127" y="15"/>
                  </a:lnTo>
                  <a:lnTo>
                    <a:pt x="127" y="15"/>
                  </a:lnTo>
                  <a:lnTo>
                    <a:pt x="15"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244" name="Google Shape;5244;p104"/>
            <p:cNvSpPr/>
            <p:nvPr/>
          </p:nvSpPr>
          <p:spPr>
            <a:xfrm>
              <a:off x="1438877" y="2046607"/>
              <a:ext cx="93508" cy="136291"/>
            </a:xfrm>
            <a:custGeom>
              <a:avLst/>
              <a:gdLst/>
              <a:ahLst/>
              <a:cxnLst/>
              <a:rect l="l" t="t" r="r" b="b"/>
              <a:pathLst>
                <a:path w="6887" h="10038" extrusionOk="0">
                  <a:moveTo>
                    <a:pt x="3333" y="0"/>
                  </a:moveTo>
                  <a:lnTo>
                    <a:pt x="3312" y="4"/>
                  </a:lnTo>
                  <a:lnTo>
                    <a:pt x="3295" y="7"/>
                  </a:lnTo>
                  <a:lnTo>
                    <a:pt x="3274" y="11"/>
                  </a:lnTo>
                  <a:lnTo>
                    <a:pt x="3232" y="18"/>
                  </a:lnTo>
                  <a:lnTo>
                    <a:pt x="3249" y="39"/>
                  </a:lnTo>
                  <a:lnTo>
                    <a:pt x="3263" y="56"/>
                  </a:lnTo>
                  <a:lnTo>
                    <a:pt x="3281" y="81"/>
                  </a:lnTo>
                  <a:lnTo>
                    <a:pt x="3295" y="98"/>
                  </a:lnTo>
                  <a:lnTo>
                    <a:pt x="3309" y="119"/>
                  </a:lnTo>
                  <a:lnTo>
                    <a:pt x="3319" y="133"/>
                  </a:lnTo>
                  <a:cubicBezTo>
                    <a:pt x="3326" y="147"/>
                    <a:pt x="3333" y="161"/>
                    <a:pt x="3340" y="175"/>
                  </a:cubicBezTo>
                  <a:cubicBezTo>
                    <a:pt x="3340" y="179"/>
                    <a:pt x="3344" y="182"/>
                    <a:pt x="3347" y="189"/>
                  </a:cubicBezTo>
                  <a:cubicBezTo>
                    <a:pt x="3347" y="193"/>
                    <a:pt x="3351" y="203"/>
                    <a:pt x="3354" y="210"/>
                  </a:cubicBezTo>
                  <a:cubicBezTo>
                    <a:pt x="3354" y="217"/>
                    <a:pt x="3358" y="217"/>
                    <a:pt x="3358" y="224"/>
                  </a:cubicBezTo>
                  <a:cubicBezTo>
                    <a:pt x="3358" y="231"/>
                    <a:pt x="3361" y="235"/>
                    <a:pt x="3361" y="242"/>
                  </a:cubicBezTo>
                  <a:lnTo>
                    <a:pt x="3361" y="259"/>
                  </a:lnTo>
                  <a:cubicBezTo>
                    <a:pt x="3361" y="263"/>
                    <a:pt x="3361" y="270"/>
                    <a:pt x="3361" y="273"/>
                  </a:cubicBezTo>
                  <a:cubicBezTo>
                    <a:pt x="3354" y="329"/>
                    <a:pt x="3323" y="378"/>
                    <a:pt x="3277" y="410"/>
                  </a:cubicBezTo>
                  <a:lnTo>
                    <a:pt x="3274" y="413"/>
                  </a:lnTo>
                  <a:cubicBezTo>
                    <a:pt x="3239" y="438"/>
                    <a:pt x="3218" y="469"/>
                    <a:pt x="3211" y="511"/>
                  </a:cubicBezTo>
                  <a:lnTo>
                    <a:pt x="3204" y="529"/>
                  </a:lnTo>
                  <a:cubicBezTo>
                    <a:pt x="3186" y="606"/>
                    <a:pt x="3162" y="721"/>
                    <a:pt x="2983" y="959"/>
                  </a:cubicBezTo>
                  <a:cubicBezTo>
                    <a:pt x="2966" y="980"/>
                    <a:pt x="2948" y="1005"/>
                    <a:pt x="2927" y="1026"/>
                  </a:cubicBezTo>
                  <a:cubicBezTo>
                    <a:pt x="2647" y="1348"/>
                    <a:pt x="2227" y="1464"/>
                    <a:pt x="1975" y="1537"/>
                  </a:cubicBezTo>
                  <a:cubicBezTo>
                    <a:pt x="1936" y="1544"/>
                    <a:pt x="1905" y="1555"/>
                    <a:pt x="1873" y="1565"/>
                  </a:cubicBezTo>
                  <a:cubicBezTo>
                    <a:pt x="1712" y="1614"/>
                    <a:pt x="1611" y="1887"/>
                    <a:pt x="1516" y="2153"/>
                  </a:cubicBezTo>
                  <a:cubicBezTo>
                    <a:pt x="1485" y="2237"/>
                    <a:pt x="1457" y="2321"/>
                    <a:pt x="1422" y="2398"/>
                  </a:cubicBezTo>
                  <a:cubicBezTo>
                    <a:pt x="1355" y="2559"/>
                    <a:pt x="1285" y="2636"/>
                    <a:pt x="1198" y="2647"/>
                  </a:cubicBezTo>
                  <a:lnTo>
                    <a:pt x="1180" y="2647"/>
                  </a:lnTo>
                  <a:cubicBezTo>
                    <a:pt x="1170" y="2647"/>
                    <a:pt x="1156" y="2647"/>
                    <a:pt x="1145" y="2643"/>
                  </a:cubicBezTo>
                  <a:cubicBezTo>
                    <a:pt x="1135" y="2640"/>
                    <a:pt x="1121" y="2636"/>
                    <a:pt x="1110" y="2629"/>
                  </a:cubicBezTo>
                  <a:cubicBezTo>
                    <a:pt x="1040" y="2598"/>
                    <a:pt x="981" y="2521"/>
                    <a:pt x="921" y="2437"/>
                  </a:cubicBezTo>
                  <a:cubicBezTo>
                    <a:pt x="890" y="2397"/>
                    <a:pt x="868" y="2384"/>
                    <a:pt x="839" y="2384"/>
                  </a:cubicBezTo>
                  <a:cubicBezTo>
                    <a:pt x="822" y="2384"/>
                    <a:pt x="802" y="2388"/>
                    <a:pt x="778" y="2395"/>
                  </a:cubicBezTo>
                  <a:cubicBezTo>
                    <a:pt x="751" y="2404"/>
                    <a:pt x="723" y="2408"/>
                    <a:pt x="696" y="2408"/>
                  </a:cubicBezTo>
                  <a:cubicBezTo>
                    <a:pt x="628" y="2408"/>
                    <a:pt x="561" y="2382"/>
                    <a:pt x="512" y="2335"/>
                  </a:cubicBezTo>
                  <a:cubicBezTo>
                    <a:pt x="470" y="2300"/>
                    <a:pt x="435" y="2258"/>
                    <a:pt x="407" y="2209"/>
                  </a:cubicBezTo>
                  <a:cubicBezTo>
                    <a:pt x="400" y="2195"/>
                    <a:pt x="393" y="2178"/>
                    <a:pt x="393" y="2157"/>
                  </a:cubicBezTo>
                  <a:cubicBezTo>
                    <a:pt x="396" y="2108"/>
                    <a:pt x="421" y="2062"/>
                    <a:pt x="456" y="2031"/>
                  </a:cubicBezTo>
                  <a:cubicBezTo>
                    <a:pt x="473" y="2010"/>
                    <a:pt x="487" y="1992"/>
                    <a:pt x="501" y="1971"/>
                  </a:cubicBezTo>
                  <a:cubicBezTo>
                    <a:pt x="505" y="1968"/>
                    <a:pt x="505" y="1961"/>
                    <a:pt x="508" y="1957"/>
                  </a:cubicBezTo>
                  <a:lnTo>
                    <a:pt x="508" y="1954"/>
                  </a:lnTo>
                  <a:cubicBezTo>
                    <a:pt x="508" y="1950"/>
                    <a:pt x="508" y="1947"/>
                    <a:pt x="508" y="1943"/>
                  </a:cubicBezTo>
                  <a:lnTo>
                    <a:pt x="508" y="1936"/>
                  </a:lnTo>
                  <a:cubicBezTo>
                    <a:pt x="505" y="1929"/>
                    <a:pt x="505" y="1926"/>
                    <a:pt x="505" y="1922"/>
                  </a:cubicBezTo>
                  <a:cubicBezTo>
                    <a:pt x="505" y="1919"/>
                    <a:pt x="505" y="1919"/>
                    <a:pt x="501" y="1915"/>
                  </a:cubicBezTo>
                  <a:cubicBezTo>
                    <a:pt x="498" y="1912"/>
                    <a:pt x="498" y="1905"/>
                    <a:pt x="498" y="1901"/>
                  </a:cubicBezTo>
                  <a:lnTo>
                    <a:pt x="491" y="1891"/>
                  </a:lnTo>
                  <a:lnTo>
                    <a:pt x="484" y="1873"/>
                  </a:lnTo>
                  <a:lnTo>
                    <a:pt x="477" y="1863"/>
                  </a:lnTo>
                  <a:lnTo>
                    <a:pt x="466" y="1845"/>
                  </a:lnTo>
                  <a:lnTo>
                    <a:pt x="456" y="1835"/>
                  </a:lnTo>
                  <a:lnTo>
                    <a:pt x="442" y="1814"/>
                  </a:lnTo>
                  <a:lnTo>
                    <a:pt x="431" y="1803"/>
                  </a:lnTo>
                  <a:lnTo>
                    <a:pt x="431" y="1800"/>
                  </a:lnTo>
                  <a:cubicBezTo>
                    <a:pt x="295" y="1852"/>
                    <a:pt x="144" y="2052"/>
                    <a:pt x="57" y="2230"/>
                  </a:cubicBezTo>
                  <a:cubicBezTo>
                    <a:pt x="0" y="2349"/>
                    <a:pt x="116" y="2591"/>
                    <a:pt x="190" y="2748"/>
                  </a:cubicBezTo>
                  <a:cubicBezTo>
                    <a:pt x="221" y="2811"/>
                    <a:pt x="246" y="2874"/>
                    <a:pt x="267" y="2941"/>
                  </a:cubicBezTo>
                  <a:cubicBezTo>
                    <a:pt x="281" y="2979"/>
                    <a:pt x="277" y="3021"/>
                    <a:pt x="253" y="3056"/>
                  </a:cubicBezTo>
                  <a:cubicBezTo>
                    <a:pt x="227" y="3085"/>
                    <a:pt x="191" y="3099"/>
                    <a:pt x="153" y="3099"/>
                  </a:cubicBezTo>
                  <a:cubicBezTo>
                    <a:pt x="149" y="3099"/>
                    <a:pt x="145" y="3099"/>
                    <a:pt x="141" y="3099"/>
                  </a:cubicBezTo>
                  <a:cubicBezTo>
                    <a:pt x="127" y="3099"/>
                    <a:pt x="116" y="3102"/>
                    <a:pt x="102" y="3102"/>
                  </a:cubicBezTo>
                  <a:cubicBezTo>
                    <a:pt x="102" y="3106"/>
                    <a:pt x="99" y="3109"/>
                    <a:pt x="99" y="3113"/>
                  </a:cubicBezTo>
                  <a:cubicBezTo>
                    <a:pt x="99" y="3169"/>
                    <a:pt x="333" y="3309"/>
                    <a:pt x="442" y="3375"/>
                  </a:cubicBezTo>
                  <a:cubicBezTo>
                    <a:pt x="529" y="3428"/>
                    <a:pt x="606" y="3477"/>
                    <a:pt x="669" y="3522"/>
                  </a:cubicBezTo>
                  <a:cubicBezTo>
                    <a:pt x="788" y="3610"/>
                    <a:pt x="893" y="3785"/>
                    <a:pt x="995" y="3953"/>
                  </a:cubicBezTo>
                  <a:cubicBezTo>
                    <a:pt x="1061" y="4068"/>
                    <a:pt x="1135" y="4180"/>
                    <a:pt x="1222" y="4282"/>
                  </a:cubicBezTo>
                  <a:cubicBezTo>
                    <a:pt x="1359" y="4425"/>
                    <a:pt x="1404" y="4558"/>
                    <a:pt x="1485" y="4779"/>
                  </a:cubicBezTo>
                  <a:cubicBezTo>
                    <a:pt x="1520" y="4873"/>
                    <a:pt x="1562" y="4992"/>
                    <a:pt x="1621" y="5139"/>
                  </a:cubicBezTo>
                  <a:cubicBezTo>
                    <a:pt x="1810" y="5598"/>
                    <a:pt x="2196" y="6396"/>
                    <a:pt x="2462" y="6736"/>
                  </a:cubicBezTo>
                  <a:cubicBezTo>
                    <a:pt x="2633" y="6953"/>
                    <a:pt x="2899" y="7342"/>
                    <a:pt x="2794" y="7513"/>
                  </a:cubicBezTo>
                  <a:cubicBezTo>
                    <a:pt x="2759" y="7573"/>
                    <a:pt x="2805" y="7800"/>
                    <a:pt x="2980" y="7923"/>
                  </a:cubicBezTo>
                  <a:cubicBezTo>
                    <a:pt x="3043" y="7968"/>
                    <a:pt x="3106" y="8017"/>
                    <a:pt x="3165" y="8070"/>
                  </a:cubicBezTo>
                  <a:cubicBezTo>
                    <a:pt x="3365" y="8252"/>
                    <a:pt x="3589" y="8406"/>
                    <a:pt x="3834" y="8525"/>
                  </a:cubicBezTo>
                  <a:cubicBezTo>
                    <a:pt x="4793" y="9004"/>
                    <a:pt x="5332" y="9341"/>
                    <a:pt x="5437" y="9523"/>
                  </a:cubicBezTo>
                  <a:cubicBezTo>
                    <a:pt x="5549" y="9708"/>
                    <a:pt x="5896" y="9901"/>
                    <a:pt x="6029" y="9971"/>
                  </a:cubicBezTo>
                  <a:lnTo>
                    <a:pt x="6067" y="9995"/>
                  </a:lnTo>
                  <a:cubicBezTo>
                    <a:pt x="6085" y="10006"/>
                    <a:pt x="6099" y="10020"/>
                    <a:pt x="6109" y="10037"/>
                  </a:cubicBezTo>
                  <a:lnTo>
                    <a:pt x="6123" y="10027"/>
                  </a:lnTo>
                  <a:lnTo>
                    <a:pt x="6134" y="10023"/>
                  </a:lnTo>
                  <a:cubicBezTo>
                    <a:pt x="6141" y="10016"/>
                    <a:pt x="6151" y="10013"/>
                    <a:pt x="6158" y="10009"/>
                  </a:cubicBezTo>
                  <a:cubicBezTo>
                    <a:pt x="6214" y="9971"/>
                    <a:pt x="6253" y="9915"/>
                    <a:pt x="6270" y="9848"/>
                  </a:cubicBezTo>
                  <a:cubicBezTo>
                    <a:pt x="6288" y="9810"/>
                    <a:pt x="6299" y="9768"/>
                    <a:pt x="6309" y="9729"/>
                  </a:cubicBezTo>
                  <a:cubicBezTo>
                    <a:pt x="6320" y="9684"/>
                    <a:pt x="6334" y="9638"/>
                    <a:pt x="6355" y="9596"/>
                  </a:cubicBezTo>
                  <a:lnTo>
                    <a:pt x="6365" y="9565"/>
                  </a:lnTo>
                  <a:lnTo>
                    <a:pt x="6365" y="9561"/>
                  </a:lnTo>
                  <a:cubicBezTo>
                    <a:pt x="6365" y="9551"/>
                    <a:pt x="6365" y="9544"/>
                    <a:pt x="6362" y="9533"/>
                  </a:cubicBezTo>
                  <a:lnTo>
                    <a:pt x="6362" y="9530"/>
                  </a:lnTo>
                  <a:lnTo>
                    <a:pt x="6362" y="9502"/>
                  </a:lnTo>
                  <a:lnTo>
                    <a:pt x="6362" y="9498"/>
                  </a:lnTo>
                  <a:lnTo>
                    <a:pt x="6362" y="9467"/>
                  </a:lnTo>
                  <a:lnTo>
                    <a:pt x="6362" y="9460"/>
                  </a:lnTo>
                  <a:cubicBezTo>
                    <a:pt x="6362" y="9449"/>
                    <a:pt x="6365" y="9439"/>
                    <a:pt x="6365" y="9428"/>
                  </a:cubicBezTo>
                  <a:lnTo>
                    <a:pt x="6365" y="9425"/>
                  </a:lnTo>
                  <a:cubicBezTo>
                    <a:pt x="6369" y="9414"/>
                    <a:pt x="6372" y="9404"/>
                    <a:pt x="6376" y="9393"/>
                  </a:cubicBezTo>
                  <a:lnTo>
                    <a:pt x="6376" y="9390"/>
                  </a:lnTo>
                  <a:cubicBezTo>
                    <a:pt x="6379" y="9383"/>
                    <a:pt x="6383" y="9372"/>
                    <a:pt x="6390" y="9362"/>
                  </a:cubicBezTo>
                  <a:lnTo>
                    <a:pt x="6390" y="9358"/>
                  </a:lnTo>
                  <a:cubicBezTo>
                    <a:pt x="6397" y="9348"/>
                    <a:pt x="6404" y="9341"/>
                    <a:pt x="6411" y="9334"/>
                  </a:cubicBezTo>
                  <a:lnTo>
                    <a:pt x="6414" y="9327"/>
                  </a:lnTo>
                  <a:cubicBezTo>
                    <a:pt x="6425" y="9320"/>
                    <a:pt x="6435" y="9313"/>
                    <a:pt x="6446" y="9306"/>
                  </a:cubicBezTo>
                  <a:cubicBezTo>
                    <a:pt x="6540" y="9253"/>
                    <a:pt x="6701" y="9015"/>
                    <a:pt x="6701" y="8927"/>
                  </a:cubicBezTo>
                  <a:cubicBezTo>
                    <a:pt x="6701" y="8913"/>
                    <a:pt x="6677" y="8896"/>
                    <a:pt x="6638" y="8871"/>
                  </a:cubicBezTo>
                  <a:cubicBezTo>
                    <a:pt x="6582" y="8836"/>
                    <a:pt x="6491" y="8784"/>
                    <a:pt x="6491" y="8668"/>
                  </a:cubicBezTo>
                  <a:cubicBezTo>
                    <a:pt x="6491" y="8591"/>
                    <a:pt x="6537" y="8504"/>
                    <a:pt x="6579" y="8420"/>
                  </a:cubicBezTo>
                  <a:cubicBezTo>
                    <a:pt x="6607" y="8371"/>
                    <a:pt x="6656" y="8273"/>
                    <a:pt x="6645" y="8248"/>
                  </a:cubicBezTo>
                  <a:cubicBezTo>
                    <a:pt x="6551" y="8171"/>
                    <a:pt x="6621" y="8042"/>
                    <a:pt x="6680" y="7930"/>
                  </a:cubicBezTo>
                  <a:cubicBezTo>
                    <a:pt x="6712" y="7870"/>
                    <a:pt x="6757" y="7790"/>
                    <a:pt x="6750" y="7755"/>
                  </a:cubicBezTo>
                  <a:cubicBezTo>
                    <a:pt x="6750" y="7734"/>
                    <a:pt x="6747" y="7706"/>
                    <a:pt x="6740" y="7667"/>
                  </a:cubicBezTo>
                  <a:cubicBezTo>
                    <a:pt x="6666" y="7156"/>
                    <a:pt x="6663" y="6981"/>
                    <a:pt x="6722" y="6925"/>
                  </a:cubicBezTo>
                  <a:cubicBezTo>
                    <a:pt x="6740" y="6907"/>
                    <a:pt x="6757" y="6893"/>
                    <a:pt x="6778" y="6879"/>
                  </a:cubicBezTo>
                  <a:cubicBezTo>
                    <a:pt x="6848" y="6823"/>
                    <a:pt x="6887" y="6792"/>
                    <a:pt x="6852" y="6704"/>
                  </a:cubicBezTo>
                  <a:cubicBezTo>
                    <a:pt x="6831" y="6641"/>
                    <a:pt x="6764" y="6519"/>
                    <a:pt x="6698" y="6389"/>
                  </a:cubicBezTo>
                  <a:lnTo>
                    <a:pt x="6670" y="6333"/>
                  </a:lnTo>
                  <a:lnTo>
                    <a:pt x="6638" y="6277"/>
                  </a:lnTo>
                  <a:lnTo>
                    <a:pt x="6635" y="6270"/>
                  </a:lnTo>
                  <a:lnTo>
                    <a:pt x="6610" y="6221"/>
                  </a:lnTo>
                  <a:lnTo>
                    <a:pt x="6603" y="6204"/>
                  </a:lnTo>
                  <a:lnTo>
                    <a:pt x="6582" y="6165"/>
                  </a:lnTo>
                  <a:lnTo>
                    <a:pt x="6572" y="6144"/>
                  </a:lnTo>
                  <a:lnTo>
                    <a:pt x="6554" y="6109"/>
                  </a:lnTo>
                  <a:lnTo>
                    <a:pt x="6544" y="6088"/>
                  </a:lnTo>
                  <a:lnTo>
                    <a:pt x="6530" y="6057"/>
                  </a:lnTo>
                  <a:lnTo>
                    <a:pt x="6519" y="6032"/>
                  </a:lnTo>
                  <a:lnTo>
                    <a:pt x="6505" y="6004"/>
                  </a:lnTo>
                  <a:lnTo>
                    <a:pt x="6495" y="5983"/>
                  </a:lnTo>
                  <a:lnTo>
                    <a:pt x="6491" y="5973"/>
                  </a:lnTo>
                  <a:cubicBezTo>
                    <a:pt x="6435" y="5967"/>
                    <a:pt x="6379" y="5964"/>
                    <a:pt x="6324" y="5964"/>
                  </a:cubicBezTo>
                  <a:cubicBezTo>
                    <a:pt x="6208" y="5964"/>
                    <a:pt x="6102" y="5977"/>
                    <a:pt x="6032" y="6001"/>
                  </a:cubicBezTo>
                  <a:cubicBezTo>
                    <a:pt x="6017" y="6007"/>
                    <a:pt x="6000" y="6010"/>
                    <a:pt x="5984" y="6010"/>
                  </a:cubicBezTo>
                  <a:cubicBezTo>
                    <a:pt x="5958" y="6010"/>
                    <a:pt x="5932" y="6002"/>
                    <a:pt x="5910" y="5987"/>
                  </a:cubicBezTo>
                  <a:cubicBezTo>
                    <a:pt x="5805" y="5910"/>
                    <a:pt x="5801" y="5661"/>
                    <a:pt x="5812" y="5346"/>
                  </a:cubicBezTo>
                  <a:cubicBezTo>
                    <a:pt x="5812" y="5301"/>
                    <a:pt x="5815" y="5259"/>
                    <a:pt x="5815" y="5227"/>
                  </a:cubicBezTo>
                  <a:cubicBezTo>
                    <a:pt x="5815" y="5210"/>
                    <a:pt x="5815" y="5196"/>
                    <a:pt x="5808" y="5178"/>
                  </a:cubicBezTo>
                  <a:cubicBezTo>
                    <a:pt x="5759" y="5206"/>
                    <a:pt x="5721" y="5248"/>
                    <a:pt x="5696" y="5301"/>
                  </a:cubicBezTo>
                  <a:cubicBezTo>
                    <a:pt x="5648" y="5413"/>
                    <a:pt x="5534" y="5436"/>
                    <a:pt x="5398" y="5436"/>
                  </a:cubicBezTo>
                  <a:cubicBezTo>
                    <a:pt x="5348" y="5436"/>
                    <a:pt x="5295" y="5433"/>
                    <a:pt x="5241" y="5430"/>
                  </a:cubicBezTo>
                  <a:cubicBezTo>
                    <a:pt x="5178" y="5427"/>
                    <a:pt x="5119" y="5423"/>
                    <a:pt x="5056" y="5423"/>
                  </a:cubicBezTo>
                  <a:cubicBezTo>
                    <a:pt x="4860" y="5423"/>
                    <a:pt x="4825" y="5273"/>
                    <a:pt x="4804" y="5185"/>
                  </a:cubicBezTo>
                  <a:cubicBezTo>
                    <a:pt x="4800" y="5161"/>
                    <a:pt x="4790" y="5136"/>
                    <a:pt x="4779" y="5115"/>
                  </a:cubicBezTo>
                  <a:lnTo>
                    <a:pt x="4772" y="5115"/>
                  </a:lnTo>
                  <a:cubicBezTo>
                    <a:pt x="4756" y="5116"/>
                    <a:pt x="4740" y="5117"/>
                    <a:pt x="4724" y="5117"/>
                  </a:cubicBezTo>
                  <a:cubicBezTo>
                    <a:pt x="4626" y="5117"/>
                    <a:pt x="4543" y="5089"/>
                    <a:pt x="4489" y="5038"/>
                  </a:cubicBezTo>
                  <a:cubicBezTo>
                    <a:pt x="4436" y="4982"/>
                    <a:pt x="4415" y="4905"/>
                    <a:pt x="4426" y="4831"/>
                  </a:cubicBezTo>
                  <a:cubicBezTo>
                    <a:pt x="4436" y="4733"/>
                    <a:pt x="4370" y="4639"/>
                    <a:pt x="4289" y="4527"/>
                  </a:cubicBezTo>
                  <a:cubicBezTo>
                    <a:pt x="4261" y="4488"/>
                    <a:pt x="4237" y="4450"/>
                    <a:pt x="4209" y="4404"/>
                  </a:cubicBezTo>
                  <a:lnTo>
                    <a:pt x="4180" y="4362"/>
                  </a:lnTo>
                  <a:cubicBezTo>
                    <a:pt x="4065" y="4184"/>
                    <a:pt x="3946" y="3998"/>
                    <a:pt x="4068" y="3858"/>
                  </a:cubicBezTo>
                  <a:cubicBezTo>
                    <a:pt x="4089" y="3834"/>
                    <a:pt x="4089" y="3816"/>
                    <a:pt x="4079" y="3764"/>
                  </a:cubicBezTo>
                  <a:cubicBezTo>
                    <a:pt x="4051" y="3669"/>
                    <a:pt x="4079" y="3568"/>
                    <a:pt x="4152" y="3501"/>
                  </a:cubicBezTo>
                  <a:cubicBezTo>
                    <a:pt x="4202" y="3456"/>
                    <a:pt x="4258" y="3417"/>
                    <a:pt x="4317" y="3386"/>
                  </a:cubicBezTo>
                  <a:cubicBezTo>
                    <a:pt x="4391" y="3351"/>
                    <a:pt x="4394" y="3347"/>
                    <a:pt x="4377" y="3274"/>
                  </a:cubicBezTo>
                  <a:cubicBezTo>
                    <a:pt x="4345" y="3141"/>
                    <a:pt x="4408" y="3035"/>
                    <a:pt x="4464" y="2944"/>
                  </a:cubicBezTo>
                  <a:cubicBezTo>
                    <a:pt x="4510" y="2885"/>
                    <a:pt x="4541" y="2811"/>
                    <a:pt x="4552" y="2734"/>
                  </a:cubicBezTo>
                  <a:cubicBezTo>
                    <a:pt x="4566" y="2566"/>
                    <a:pt x="4688" y="2524"/>
                    <a:pt x="4811" y="2486"/>
                  </a:cubicBezTo>
                  <a:cubicBezTo>
                    <a:pt x="4870" y="2468"/>
                    <a:pt x="4926" y="2444"/>
                    <a:pt x="4982" y="2416"/>
                  </a:cubicBezTo>
                  <a:cubicBezTo>
                    <a:pt x="5010" y="2402"/>
                    <a:pt x="5038" y="2384"/>
                    <a:pt x="5063" y="2363"/>
                  </a:cubicBezTo>
                  <a:cubicBezTo>
                    <a:pt x="5147" y="2300"/>
                    <a:pt x="5248" y="2255"/>
                    <a:pt x="5353" y="2237"/>
                  </a:cubicBezTo>
                  <a:cubicBezTo>
                    <a:pt x="5381" y="2234"/>
                    <a:pt x="5413" y="2227"/>
                    <a:pt x="5444" y="2223"/>
                  </a:cubicBezTo>
                  <a:cubicBezTo>
                    <a:pt x="5549" y="2206"/>
                    <a:pt x="5644" y="2192"/>
                    <a:pt x="5724" y="2122"/>
                  </a:cubicBezTo>
                  <a:cubicBezTo>
                    <a:pt x="5735" y="2115"/>
                    <a:pt x="5742" y="2108"/>
                    <a:pt x="5752" y="2101"/>
                  </a:cubicBezTo>
                  <a:lnTo>
                    <a:pt x="5763" y="2094"/>
                  </a:lnTo>
                  <a:lnTo>
                    <a:pt x="5784" y="2083"/>
                  </a:lnTo>
                  <a:lnTo>
                    <a:pt x="5794" y="2076"/>
                  </a:lnTo>
                  <a:lnTo>
                    <a:pt x="5812" y="2066"/>
                  </a:lnTo>
                  <a:lnTo>
                    <a:pt x="5822" y="2062"/>
                  </a:lnTo>
                  <a:lnTo>
                    <a:pt x="5843" y="2055"/>
                  </a:lnTo>
                  <a:lnTo>
                    <a:pt x="5850" y="2052"/>
                  </a:lnTo>
                  <a:lnTo>
                    <a:pt x="5868" y="2045"/>
                  </a:lnTo>
                  <a:lnTo>
                    <a:pt x="5878" y="2045"/>
                  </a:lnTo>
                  <a:lnTo>
                    <a:pt x="5892" y="2041"/>
                  </a:lnTo>
                  <a:lnTo>
                    <a:pt x="5906" y="2041"/>
                  </a:lnTo>
                  <a:cubicBezTo>
                    <a:pt x="5920" y="2041"/>
                    <a:pt x="5938" y="2038"/>
                    <a:pt x="5952" y="2038"/>
                  </a:cubicBezTo>
                  <a:cubicBezTo>
                    <a:pt x="5938" y="2031"/>
                    <a:pt x="5927" y="2024"/>
                    <a:pt x="5913" y="2013"/>
                  </a:cubicBezTo>
                  <a:lnTo>
                    <a:pt x="5910" y="2013"/>
                  </a:lnTo>
                  <a:cubicBezTo>
                    <a:pt x="5899" y="2003"/>
                    <a:pt x="5889" y="1996"/>
                    <a:pt x="5882" y="1989"/>
                  </a:cubicBezTo>
                  <a:lnTo>
                    <a:pt x="5875" y="1985"/>
                  </a:lnTo>
                  <a:cubicBezTo>
                    <a:pt x="5864" y="1975"/>
                    <a:pt x="5857" y="1968"/>
                    <a:pt x="5847" y="1957"/>
                  </a:cubicBezTo>
                  <a:lnTo>
                    <a:pt x="5843" y="1950"/>
                  </a:lnTo>
                  <a:cubicBezTo>
                    <a:pt x="5836" y="1940"/>
                    <a:pt x="5829" y="1929"/>
                    <a:pt x="5822" y="1919"/>
                  </a:cubicBezTo>
                  <a:cubicBezTo>
                    <a:pt x="5766" y="1803"/>
                    <a:pt x="5882" y="1674"/>
                    <a:pt x="5994" y="1544"/>
                  </a:cubicBezTo>
                  <a:cubicBezTo>
                    <a:pt x="6036" y="1499"/>
                    <a:pt x="6074" y="1453"/>
                    <a:pt x="6109" y="1401"/>
                  </a:cubicBezTo>
                  <a:lnTo>
                    <a:pt x="6109" y="1394"/>
                  </a:lnTo>
                  <a:cubicBezTo>
                    <a:pt x="6102" y="1366"/>
                    <a:pt x="6046" y="1292"/>
                    <a:pt x="5745" y="1173"/>
                  </a:cubicBezTo>
                  <a:cubicBezTo>
                    <a:pt x="5735" y="1172"/>
                    <a:pt x="5724" y="1172"/>
                    <a:pt x="5713" y="1172"/>
                  </a:cubicBezTo>
                  <a:cubicBezTo>
                    <a:pt x="5679" y="1172"/>
                    <a:pt x="5645" y="1176"/>
                    <a:pt x="5616" y="1187"/>
                  </a:cubicBezTo>
                  <a:cubicBezTo>
                    <a:pt x="5569" y="1199"/>
                    <a:pt x="5518" y="1213"/>
                    <a:pt x="5470" y="1213"/>
                  </a:cubicBezTo>
                  <a:cubicBezTo>
                    <a:pt x="5435" y="1213"/>
                    <a:pt x="5401" y="1206"/>
                    <a:pt x="5371" y="1187"/>
                  </a:cubicBezTo>
                  <a:cubicBezTo>
                    <a:pt x="5348" y="1175"/>
                    <a:pt x="5322" y="1169"/>
                    <a:pt x="5296" y="1169"/>
                  </a:cubicBezTo>
                  <a:cubicBezTo>
                    <a:pt x="5291" y="1169"/>
                    <a:pt x="5285" y="1169"/>
                    <a:pt x="5280" y="1170"/>
                  </a:cubicBezTo>
                  <a:cubicBezTo>
                    <a:pt x="5220" y="1173"/>
                    <a:pt x="5168" y="1191"/>
                    <a:pt x="5119" y="1222"/>
                  </a:cubicBezTo>
                  <a:cubicBezTo>
                    <a:pt x="5070" y="1259"/>
                    <a:pt x="4922" y="1284"/>
                    <a:pt x="4774" y="1284"/>
                  </a:cubicBezTo>
                  <a:cubicBezTo>
                    <a:pt x="4655" y="1284"/>
                    <a:pt x="4536" y="1268"/>
                    <a:pt x="4468" y="1229"/>
                  </a:cubicBezTo>
                  <a:cubicBezTo>
                    <a:pt x="4412" y="1205"/>
                    <a:pt x="4380" y="1145"/>
                    <a:pt x="4387" y="1086"/>
                  </a:cubicBezTo>
                  <a:cubicBezTo>
                    <a:pt x="4394" y="1030"/>
                    <a:pt x="4356" y="995"/>
                    <a:pt x="4289" y="938"/>
                  </a:cubicBezTo>
                  <a:cubicBezTo>
                    <a:pt x="4226" y="882"/>
                    <a:pt x="4163" y="830"/>
                    <a:pt x="4177" y="739"/>
                  </a:cubicBezTo>
                  <a:cubicBezTo>
                    <a:pt x="4177" y="690"/>
                    <a:pt x="4159" y="644"/>
                    <a:pt x="4124" y="609"/>
                  </a:cubicBezTo>
                  <a:cubicBezTo>
                    <a:pt x="4068" y="536"/>
                    <a:pt x="3988" y="487"/>
                    <a:pt x="3893" y="473"/>
                  </a:cubicBezTo>
                  <a:cubicBezTo>
                    <a:pt x="3732" y="459"/>
                    <a:pt x="3683" y="312"/>
                    <a:pt x="3641" y="189"/>
                  </a:cubicBezTo>
                  <a:cubicBezTo>
                    <a:pt x="3617" y="116"/>
                    <a:pt x="3589" y="35"/>
                    <a:pt x="3543" y="7"/>
                  </a:cubicBezTo>
                  <a:lnTo>
                    <a:pt x="3536" y="4"/>
                  </a:lnTo>
                  <a:lnTo>
                    <a:pt x="3494" y="4"/>
                  </a:lnTo>
                  <a:cubicBezTo>
                    <a:pt x="3477" y="4"/>
                    <a:pt x="3463" y="0"/>
                    <a:pt x="3449"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245" name="Google Shape;5245;p104"/>
            <p:cNvSpPr/>
            <p:nvPr/>
          </p:nvSpPr>
          <p:spPr>
            <a:xfrm>
              <a:off x="1518685" y="2074223"/>
              <a:ext cx="244" cy="54"/>
            </a:xfrm>
            <a:custGeom>
              <a:avLst/>
              <a:gdLst/>
              <a:ahLst/>
              <a:cxnLst/>
              <a:rect l="l" t="t" r="r" b="b"/>
              <a:pathLst>
                <a:path w="18" h="4" extrusionOk="0">
                  <a:moveTo>
                    <a:pt x="0" y="4"/>
                  </a:moveTo>
                  <a:lnTo>
                    <a:pt x="18"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246" name="Google Shape;5246;p104"/>
            <p:cNvSpPr/>
            <p:nvPr/>
          </p:nvSpPr>
          <p:spPr>
            <a:xfrm>
              <a:off x="1517545" y="2074549"/>
              <a:ext cx="299" cy="163"/>
            </a:xfrm>
            <a:custGeom>
              <a:avLst/>
              <a:gdLst/>
              <a:ahLst/>
              <a:cxnLst/>
              <a:rect l="l" t="t" r="r" b="b"/>
              <a:pathLst>
                <a:path w="22" h="12" extrusionOk="0">
                  <a:moveTo>
                    <a:pt x="0" y="11"/>
                  </a:moveTo>
                  <a:lnTo>
                    <a:pt x="21"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247" name="Google Shape;5247;p104"/>
            <p:cNvSpPr/>
            <p:nvPr/>
          </p:nvSpPr>
          <p:spPr>
            <a:xfrm>
              <a:off x="1518305" y="2074318"/>
              <a:ext cx="299" cy="54"/>
            </a:xfrm>
            <a:custGeom>
              <a:avLst/>
              <a:gdLst/>
              <a:ahLst/>
              <a:cxnLst/>
              <a:rect l="l" t="t" r="r" b="b"/>
              <a:pathLst>
                <a:path w="22" h="4" extrusionOk="0">
                  <a:moveTo>
                    <a:pt x="0" y="4"/>
                  </a:moveTo>
                  <a:lnTo>
                    <a:pt x="21"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248" name="Google Shape;5248;p104"/>
            <p:cNvSpPr/>
            <p:nvPr/>
          </p:nvSpPr>
          <p:spPr>
            <a:xfrm>
              <a:off x="1517110" y="2074794"/>
              <a:ext cx="299" cy="204"/>
            </a:xfrm>
            <a:custGeom>
              <a:avLst/>
              <a:gdLst/>
              <a:ahLst/>
              <a:cxnLst/>
              <a:rect l="l" t="t" r="r" b="b"/>
              <a:pathLst>
                <a:path w="22" h="15" extrusionOk="0">
                  <a:moveTo>
                    <a:pt x="1" y="14"/>
                  </a:moveTo>
                  <a:lnTo>
                    <a:pt x="22"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249" name="Google Shape;5249;p104"/>
            <p:cNvSpPr/>
            <p:nvPr/>
          </p:nvSpPr>
          <p:spPr>
            <a:xfrm>
              <a:off x="1516594" y="2075024"/>
              <a:ext cx="434" cy="353"/>
            </a:xfrm>
            <a:custGeom>
              <a:avLst/>
              <a:gdLst/>
              <a:ahLst/>
              <a:cxnLst/>
              <a:rect l="l" t="t" r="r" b="b"/>
              <a:pathLst>
                <a:path w="32" h="26" extrusionOk="0">
                  <a:moveTo>
                    <a:pt x="0" y="25"/>
                  </a:moveTo>
                  <a:cubicBezTo>
                    <a:pt x="11" y="15"/>
                    <a:pt x="21" y="8"/>
                    <a:pt x="32" y="1"/>
                  </a:cubicBezTo>
                  <a:cubicBezTo>
                    <a:pt x="21" y="8"/>
                    <a:pt x="11" y="15"/>
                    <a:pt x="0" y="25"/>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250" name="Google Shape;5250;p104"/>
            <p:cNvSpPr/>
            <p:nvPr/>
          </p:nvSpPr>
          <p:spPr>
            <a:xfrm>
              <a:off x="1519065" y="2074223"/>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251" name="Google Shape;5251;p104"/>
            <p:cNvSpPr/>
            <p:nvPr/>
          </p:nvSpPr>
          <p:spPr>
            <a:xfrm>
              <a:off x="1504184" y="2079356"/>
              <a:ext cx="2349" cy="964"/>
            </a:xfrm>
            <a:custGeom>
              <a:avLst/>
              <a:gdLst/>
              <a:ahLst/>
              <a:cxnLst/>
              <a:rect l="l" t="t" r="r" b="b"/>
              <a:pathLst>
                <a:path w="173" h="71" extrusionOk="0">
                  <a:moveTo>
                    <a:pt x="1" y="70"/>
                  </a:moveTo>
                  <a:cubicBezTo>
                    <a:pt x="60" y="49"/>
                    <a:pt x="120" y="28"/>
                    <a:pt x="172" y="0"/>
                  </a:cubicBezTo>
                  <a:cubicBezTo>
                    <a:pt x="120" y="28"/>
                    <a:pt x="60" y="49"/>
                    <a:pt x="1" y="7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252" name="Google Shape;5252;p104"/>
            <p:cNvSpPr/>
            <p:nvPr/>
          </p:nvSpPr>
          <p:spPr>
            <a:xfrm>
              <a:off x="1517925" y="2074413"/>
              <a:ext cx="299" cy="109"/>
            </a:xfrm>
            <a:custGeom>
              <a:avLst/>
              <a:gdLst/>
              <a:ahLst/>
              <a:cxnLst/>
              <a:rect l="l" t="t" r="r" b="b"/>
              <a:pathLst>
                <a:path w="22" h="8" extrusionOk="0">
                  <a:moveTo>
                    <a:pt x="0" y="7"/>
                  </a:moveTo>
                  <a:lnTo>
                    <a:pt x="21"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253" name="Google Shape;5253;p104"/>
            <p:cNvSpPr/>
            <p:nvPr/>
          </p:nvSpPr>
          <p:spPr>
            <a:xfrm>
              <a:off x="1522052" y="2182355"/>
              <a:ext cx="109" cy="68"/>
            </a:xfrm>
            <a:custGeom>
              <a:avLst/>
              <a:gdLst/>
              <a:ahLst/>
              <a:cxnLst/>
              <a:rect l="l" t="t" r="r" b="b"/>
              <a:pathLst>
                <a:path w="8" h="5" extrusionOk="0">
                  <a:moveTo>
                    <a:pt x="8" y="1"/>
                  </a:moveTo>
                  <a:lnTo>
                    <a:pt x="1" y="4"/>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254" name="Google Shape;5254;p104"/>
            <p:cNvSpPr/>
            <p:nvPr/>
          </p:nvSpPr>
          <p:spPr>
            <a:xfrm>
              <a:off x="1518305" y="2072988"/>
              <a:ext cx="394" cy="394"/>
            </a:xfrm>
            <a:custGeom>
              <a:avLst/>
              <a:gdLst/>
              <a:ahLst/>
              <a:cxnLst/>
              <a:rect l="l" t="t" r="r" b="b"/>
              <a:pathLst>
                <a:path w="29" h="29" extrusionOk="0">
                  <a:moveTo>
                    <a:pt x="28" y="28"/>
                  </a:moveTo>
                  <a:cubicBezTo>
                    <a:pt x="18" y="21"/>
                    <a:pt x="11" y="11"/>
                    <a:pt x="0" y="0"/>
                  </a:cubicBezTo>
                  <a:cubicBezTo>
                    <a:pt x="11" y="11"/>
                    <a:pt x="18" y="21"/>
                    <a:pt x="28" y="28"/>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255" name="Google Shape;5255;p104"/>
            <p:cNvSpPr/>
            <p:nvPr/>
          </p:nvSpPr>
          <p:spPr>
            <a:xfrm>
              <a:off x="1485176" y="2046227"/>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256" name="Google Shape;5256;p104"/>
            <p:cNvSpPr/>
            <p:nvPr/>
          </p:nvSpPr>
          <p:spPr>
            <a:xfrm>
              <a:off x="1485692" y="2046227"/>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257" name="Google Shape;5257;p104"/>
            <p:cNvSpPr/>
            <p:nvPr/>
          </p:nvSpPr>
          <p:spPr>
            <a:xfrm>
              <a:off x="1486411" y="2046267"/>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258" name="Google Shape;5258;p104"/>
            <p:cNvSpPr/>
            <p:nvPr/>
          </p:nvSpPr>
          <p:spPr>
            <a:xfrm>
              <a:off x="1486982" y="2046457"/>
              <a:ext cx="54" cy="14"/>
            </a:xfrm>
            <a:custGeom>
              <a:avLst/>
              <a:gdLst/>
              <a:ahLst/>
              <a:cxnLst/>
              <a:rect l="l" t="t" r="r" b="b"/>
              <a:pathLst>
                <a:path w="4" h="1" extrusionOk="0">
                  <a:moveTo>
                    <a:pt x="4"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259" name="Google Shape;5259;p104"/>
            <p:cNvSpPr/>
            <p:nvPr/>
          </p:nvSpPr>
          <p:spPr>
            <a:xfrm>
              <a:off x="1486506" y="2046322"/>
              <a:ext cx="109" cy="14"/>
            </a:xfrm>
            <a:custGeom>
              <a:avLst/>
              <a:gdLst/>
              <a:ahLst/>
              <a:cxnLst/>
              <a:rect l="l" t="t" r="r" b="b"/>
              <a:pathLst>
                <a:path w="8" h="1" extrusionOk="0">
                  <a:moveTo>
                    <a:pt x="7"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260" name="Google Shape;5260;p104"/>
            <p:cNvSpPr/>
            <p:nvPr/>
          </p:nvSpPr>
          <p:spPr>
            <a:xfrm>
              <a:off x="1486792" y="2046417"/>
              <a:ext cx="54" cy="14"/>
            </a:xfrm>
            <a:custGeom>
              <a:avLst/>
              <a:gdLst/>
              <a:ahLst/>
              <a:cxnLst/>
              <a:rect l="l" t="t" r="r" b="b"/>
              <a:pathLst>
                <a:path w="4" h="1" extrusionOk="0">
                  <a:moveTo>
                    <a:pt x="4"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261" name="Google Shape;5261;p104"/>
            <p:cNvSpPr/>
            <p:nvPr/>
          </p:nvSpPr>
          <p:spPr>
            <a:xfrm>
              <a:off x="1486887" y="2046457"/>
              <a:ext cx="54" cy="14"/>
            </a:xfrm>
            <a:custGeom>
              <a:avLst/>
              <a:gdLst/>
              <a:ahLst/>
              <a:cxnLst/>
              <a:rect l="l" t="t" r="r" b="b"/>
              <a:pathLst>
                <a:path w="4" h="1" extrusionOk="0">
                  <a:moveTo>
                    <a:pt x="4"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262" name="Google Shape;5262;p104"/>
            <p:cNvSpPr/>
            <p:nvPr/>
          </p:nvSpPr>
          <p:spPr>
            <a:xfrm>
              <a:off x="1517965" y="2072513"/>
              <a:ext cx="299" cy="434"/>
            </a:xfrm>
            <a:custGeom>
              <a:avLst/>
              <a:gdLst/>
              <a:ahLst/>
              <a:cxnLst/>
              <a:rect l="l" t="t" r="r" b="b"/>
              <a:pathLst>
                <a:path w="22" h="32" extrusionOk="0">
                  <a:moveTo>
                    <a:pt x="22" y="32"/>
                  </a:moveTo>
                  <a:cubicBezTo>
                    <a:pt x="15" y="21"/>
                    <a:pt x="8" y="11"/>
                    <a:pt x="1" y="0"/>
                  </a:cubicBezTo>
                  <a:cubicBezTo>
                    <a:pt x="8" y="11"/>
                    <a:pt x="15" y="21"/>
                    <a:pt x="22" y="32"/>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263" name="Google Shape;5263;p104"/>
            <p:cNvSpPr/>
            <p:nvPr/>
          </p:nvSpPr>
          <p:spPr>
            <a:xfrm>
              <a:off x="1484171" y="2046267"/>
              <a:ext cx="204" cy="14"/>
            </a:xfrm>
            <a:custGeom>
              <a:avLst/>
              <a:gdLst/>
              <a:ahLst/>
              <a:cxnLst/>
              <a:rect l="l" t="t" r="r" b="b"/>
              <a:pathLst>
                <a:path w="15" h="1" extrusionOk="0">
                  <a:moveTo>
                    <a:pt x="15"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264" name="Google Shape;5264;p104"/>
            <p:cNvSpPr/>
            <p:nvPr/>
          </p:nvSpPr>
          <p:spPr>
            <a:xfrm>
              <a:off x="1485407" y="2046227"/>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265" name="Google Shape;5265;p104"/>
            <p:cNvSpPr/>
            <p:nvPr/>
          </p:nvSpPr>
          <p:spPr>
            <a:xfrm>
              <a:off x="1483655" y="2046362"/>
              <a:ext cx="244" cy="14"/>
            </a:xfrm>
            <a:custGeom>
              <a:avLst/>
              <a:gdLst/>
              <a:ahLst/>
              <a:cxnLst/>
              <a:rect l="l" t="t" r="r" b="b"/>
              <a:pathLst>
                <a:path w="18" h="1" extrusionOk="0">
                  <a:moveTo>
                    <a:pt x="18"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266" name="Google Shape;5266;p104"/>
            <p:cNvSpPr/>
            <p:nvPr/>
          </p:nvSpPr>
          <p:spPr>
            <a:xfrm>
              <a:off x="1482800" y="2046417"/>
              <a:ext cx="584" cy="109"/>
            </a:xfrm>
            <a:custGeom>
              <a:avLst/>
              <a:gdLst/>
              <a:ahLst/>
              <a:cxnLst/>
              <a:rect l="l" t="t" r="r" b="b"/>
              <a:pathLst>
                <a:path w="43" h="8" extrusionOk="0">
                  <a:moveTo>
                    <a:pt x="0" y="7"/>
                  </a:moveTo>
                  <a:lnTo>
                    <a:pt x="42"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267" name="Google Shape;5267;p104"/>
            <p:cNvSpPr/>
            <p:nvPr/>
          </p:nvSpPr>
          <p:spPr>
            <a:xfrm>
              <a:off x="1519201" y="2073789"/>
              <a:ext cx="543" cy="353"/>
            </a:xfrm>
            <a:custGeom>
              <a:avLst/>
              <a:gdLst/>
              <a:ahLst/>
              <a:cxnLst/>
              <a:rect l="l" t="t" r="r" b="b"/>
              <a:pathLst>
                <a:path w="40" h="26" extrusionOk="0">
                  <a:moveTo>
                    <a:pt x="39" y="25"/>
                  </a:moveTo>
                  <a:cubicBezTo>
                    <a:pt x="25" y="18"/>
                    <a:pt x="15" y="8"/>
                    <a:pt x="1" y="1"/>
                  </a:cubicBezTo>
                  <a:cubicBezTo>
                    <a:pt x="15" y="8"/>
                    <a:pt x="25" y="18"/>
                    <a:pt x="39" y="25"/>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268" name="Google Shape;5268;p104"/>
            <p:cNvSpPr/>
            <p:nvPr/>
          </p:nvSpPr>
          <p:spPr>
            <a:xfrm>
              <a:off x="1510606" y="2062248"/>
              <a:ext cx="1249" cy="299"/>
            </a:xfrm>
            <a:custGeom>
              <a:avLst/>
              <a:gdLst/>
              <a:ahLst/>
              <a:cxnLst/>
              <a:rect l="l" t="t" r="r" b="b"/>
              <a:pathLst>
                <a:path w="92" h="22" extrusionOk="0">
                  <a:moveTo>
                    <a:pt x="0" y="0"/>
                  </a:moveTo>
                  <a:cubicBezTo>
                    <a:pt x="32" y="0"/>
                    <a:pt x="63" y="7"/>
                    <a:pt x="91" y="21"/>
                  </a:cubicBezTo>
                  <a:cubicBezTo>
                    <a:pt x="63" y="7"/>
                    <a:pt x="32" y="0"/>
                    <a:pt x="0"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269" name="Google Shape;5269;p104"/>
            <p:cNvSpPr/>
            <p:nvPr/>
          </p:nvSpPr>
          <p:spPr>
            <a:xfrm>
              <a:off x="1518726" y="2073463"/>
              <a:ext cx="448" cy="299"/>
            </a:xfrm>
            <a:custGeom>
              <a:avLst/>
              <a:gdLst/>
              <a:ahLst/>
              <a:cxnLst/>
              <a:rect l="l" t="t" r="r" b="b"/>
              <a:pathLst>
                <a:path w="33" h="22" extrusionOk="0">
                  <a:moveTo>
                    <a:pt x="32" y="21"/>
                  </a:moveTo>
                  <a:cubicBezTo>
                    <a:pt x="22" y="14"/>
                    <a:pt x="11" y="7"/>
                    <a:pt x="1" y="0"/>
                  </a:cubicBezTo>
                  <a:cubicBezTo>
                    <a:pt x="11" y="7"/>
                    <a:pt x="22" y="14"/>
                    <a:pt x="32" y="2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270" name="Google Shape;5270;p104"/>
            <p:cNvSpPr/>
            <p:nvPr/>
          </p:nvSpPr>
          <p:spPr>
            <a:xfrm>
              <a:off x="1484646" y="2046267"/>
              <a:ext cx="163" cy="14"/>
            </a:xfrm>
            <a:custGeom>
              <a:avLst/>
              <a:gdLst/>
              <a:ahLst/>
              <a:cxnLst/>
              <a:rect l="l" t="t" r="r" b="b"/>
              <a:pathLst>
                <a:path w="12" h="1" extrusionOk="0">
                  <a:moveTo>
                    <a:pt x="11"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271" name="Google Shape;5271;p104"/>
            <p:cNvSpPr/>
            <p:nvPr/>
          </p:nvSpPr>
          <p:spPr>
            <a:xfrm>
              <a:off x="1486642" y="2046362"/>
              <a:ext cx="109" cy="14"/>
            </a:xfrm>
            <a:custGeom>
              <a:avLst/>
              <a:gdLst/>
              <a:ahLst/>
              <a:cxnLst/>
              <a:rect l="l" t="t" r="r" b="b"/>
              <a:pathLst>
                <a:path w="8" h="1" extrusionOk="0">
                  <a:moveTo>
                    <a:pt x="8"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272" name="Google Shape;5272;p104"/>
            <p:cNvSpPr/>
            <p:nvPr/>
          </p:nvSpPr>
          <p:spPr>
            <a:xfrm>
              <a:off x="1526003" y="2172945"/>
              <a:ext cx="394" cy="299"/>
            </a:xfrm>
            <a:custGeom>
              <a:avLst/>
              <a:gdLst/>
              <a:ahLst/>
              <a:cxnLst/>
              <a:rect l="l" t="t" r="r" b="b"/>
              <a:pathLst>
                <a:path w="29" h="22" extrusionOk="0">
                  <a:moveTo>
                    <a:pt x="29" y="1"/>
                  </a:moveTo>
                  <a:cubicBezTo>
                    <a:pt x="18" y="8"/>
                    <a:pt x="11" y="15"/>
                    <a:pt x="1" y="22"/>
                  </a:cubicBezTo>
                  <a:cubicBezTo>
                    <a:pt x="11" y="15"/>
                    <a:pt x="18" y="8"/>
                    <a:pt x="29" y="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273" name="Google Shape;5273;p104"/>
            <p:cNvSpPr/>
            <p:nvPr/>
          </p:nvSpPr>
          <p:spPr>
            <a:xfrm>
              <a:off x="1525677" y="2173325"/>
              <a:ext cx="299" cy="353"/>
            </a:xfrm>
            <a:custGeom>
              <a:avLst/>
              <a:gdLst/>
              <a:ahLst/>
              <a:cxnLst/>
              <a:rect l="l" t="t" r="r" b="b"/>
              <a:pathLst>
                <a:path w="22" h="26" extrusionOk="0">
                  <a:moveTo>
                    <a:pt x="0" y="25"/>
                  </a:moveTo>
                  <a:cubicBezTo>
                    <a:pt x="7" y="15"/>
                    <a:pt x="14" y="8"/>
                    <a:pt x="21" y="1"/>
                  </a:cubicBezTo>
                  <a:cubicBezTo>
                    <a:pt x="14" y="8"/>
                    <a:pt x="7" y="15"/>
                    <a:pt x="0" y="25"/>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274" name="Google Shape;5274;p104"/>
            <p:cNvSpPr/>
            <p:nvPr/>
          </p:nvSpPr>
          <p:spPr>
            <a:xfrm>
              <a:off x="1529425" y="2132539"/>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275" name="Google Shape;5275;p104"/>
            <p:cNvSpPr/>
            <p:nvPr/>
          </p:nvSpPr>
          <p:spPr>
            <a:xfrm>
              <a:off x="1527714" y="2129212"/>
              <a:ext cx="163" cy="299"/>
            </a:xfrm>
            <a:custGeom>
              <a:avLst/>
              <a:gdLst/>
              <a:ahLst/>
              <a:cxnLst/>
              <a:rect l="l" t="t" r="r" b="b"/>
              <a:pathLst>
                <a:path w="12" h="22" extrusionOk="0">
                  <a:moveTo>
                    <a:pt x="1" y="1"/>
                  </a:moveTo>
                  <a:lnTo>
                    <a:pt x="11" y="22"/>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276" name="Google Shape;5276;p104"/>
            <p:cNvSpPr/>
            <p:nvPr/>
          </p:nvSpPr>
          <p:spPr>
            <a:xfrm>
              <a:off x="1527049" y="2127787"/>
              <a:ext cx="163" cy="299"/>
            </a:xfrm>
            <a:custGeom>
              <a:avLst/>
              <a:gdLst/>
              <a:ahLst/>
              <a:cxnLst/>
              <a:rect l="l" t="t" r="r" b="b"/>
              <a:pathLst>
                <a:path w="12" h="22" extrusionOk="0">
                  <a:moveTo>
                    <a:pt x="1" y="1"/>
                  </a:moveTo>
                  <a:lnTo>
                    <a:pt x="11" y="22"/>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277" name="Google Shape;5277;p104"/>
            <p:cNvSpPr/>
            <p:nvPr/>
          </p:nvSpPr>
          <p:spPr>
            <a:xfrm>
              <a:off x="1527388" y="2128452"/>
              <a:ext cx="149" cy="353"/>
            </a:xfrm>
            <a:custGeom>
              <a:avLst/>
              <a:gdLst/>
              <a:ahLst/>
              <a:cxnLst/>
              <a:rect l="l" t="t" r="r" b="b"/>
              <a:pathLst>
                <a:path w="11" h="26" extrusionOk="0">
                  <a:moveTo>
                    <a:pt x="0" y="1"/>
                  </a:moveTo>
                  <a:lnTo>
                    <a:pt x="11" y="25"/>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278" name="Google Shape;5278;p104"/>
            <p:cNvSpPr/>
            <p:nvPr/>
          </p:nvSpPr>
          <p:spPr>
            <a:xfrm>
              <a:off x="1525202" y="2175661"/>
              <a:ext cx="54" cy="339"/>
            </a:xfrm>
            <a:custGeom>
              <a:avLst/>
              <a:gdLst/>
              <a:ahLst/>
              <a:cxnLst/>
              <a:rect l="l" t="t" r="r" b="b"/>
              <a:pathLst>
                <a:path w="4" h="25" extrusionOk="0">
                  <a:moveTo>
                    <a:pt x="0" y="0"/>
                  </a:moveTo>
                  <a:lnTo>
                    <a:pt x="0" y="25"/>
                  </a:lnTo>
                  <a:cubicBezTo>
                    <a:pt x="4" y="18"/>
                    <a:pt x="0" y="7"/>
                    <a:pt x="0"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279" name="Google Shape;5279;p104"/>
            <p:cNvSpPr/>
            <p:nvPr/>
          </p:nvSpPr>
          <p:spPr>
            <a:xfrm>
              <a:off x="1525243" y="2176041"/>
              <a:ext cx="14" cy="394"/>
            </a:xfrm>
            <a:custGeom>
              <a:avLst/>
              <a:gdLst/>
              <a:ahLst/>
              <a:cxnLst/>
              <a:rect l="l" t="t" r="r" b="b"/>
              <a:pathLst>
                <a:path w="1" h="29" extrusionOk="0">
                  <a:moveTo>
                    <a:pt x="1" y="0"/>
                  </a:moveTo>
                  <a:cubicBezTo>
                    <a:pt x="1" y="11"/>
                    <a:pt x="1" y="21"/>
                    <a:pt x="1" y="28"/>
                  </a:cubicBezTo>
                  <a:cubicBezTo>
                    <a:pt x="1" y="21"/>
                    <a:pt x="1" y="11"/>
                    <a:pt x="1"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280" name="Google Shape;5280;p104"/>
            <p:cNvSpPr/>
            <p:nvPr/>
          </p:nvSpPr>
          <p:spPr>
            <a:xfrm>
              <a:off x="1528094" y="2129973"/>
              <a:ext cx="163" cy="299"/>
            </a:xfrm>
            <a:custGeom>
              <a:avLst/>
              <a:gdLst/>
              <a:ahLst/>
              <a:cxnLst/>
              <a:rect l="l" t="t" r="r" b="b"/>
              <a:pathLst>
                <a:path w="12" h="22" extrusionOk="0">
                  <a:moveTo>
                    <a:pt x="1" y="1"/>
                  </a:moveTo>
                  <a:lnTo>
                    <a:pt x="11" y="22"/>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281" name="Google Shape;5281;p104"/>
            <p:cNvSpPr/>
            <p:nvPr/>
          </p:nvSpPr>
          <p:spPr>
            <a:xfrm>
              <a:off x="1525243" y="2174615"/>
              <a:ext cx="68" cy="434"/>
            </a:xfrm>
            <a:custGeom>
              <a:avLst/>
              <a:gdLst/>
              <a:ahLst/>
              <a:cxnLst/>
              <a:rect l="l" t="t" r="r" b="b"/>
              <a:pathLst>
                <a:path w="5" h="32" extrusionOk="0">
                  <a:moveTo>
                    <a:pt x="4" y="0"/>
                  </a:moveTo>
                  <a:cubicBezTo>
                    <a:pt x="4" y="11"/>
                    <a:pt x="1" y="21"/>
                    <a:pt x="1" y="32"/>
                  </a:cubicBezTo>
                  <a:cubicBezTo>
                    <a:pt x="1" y="21"/>
                    <a:pt x="4" y="11"/>
                    <a:pt x="4"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282" name="Google Shape;5282;p104"/>
            <p:cNvSpPr/>
            <p:nvPr/>
          </p:nvSpPr>
          <p:spPr>
            <a:xfrm>
              <a:off x="1525297" y="2174181"/>
              <a:ext cx="149" cy="394"/>
            </a:xfrm>
            <a:custGeom>
              <a:avLst/>
              <a:gdLst/>
              <a:ahLst/>
              <a:cxnLst/>
              <a:rect l="l" t="t" r="r" b="b"/>
              <a:pathLst>
                <a:path w="11" h="29" extrusionOk="0">
                  <a:moveTo>
                    <a:pt x="11" y="1"/>
                  </a:moveTo>
                  <a:cubicBezTo>
                    <a:pt x="7" y="8"/>
                    <a:pt x="4" y="18"/>
                    <a:pt x="0" y="29"/>
                  </a:cubicBezTo>
                  <a:cubicBezTo>
                    <a:pt x="4" y="18"/>
                    <a:pt x="7" y="8"/>
                    <a:pt x="11" y="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283" name="Google Shape;5283;p104"/>
            <p:cNvSpPr/>
            <p:nvPr/>
          </p:nvSpPr>
          <p:spPr>
            <a:xfrm>
              <a:off x="1525433" y="2173706"/>
              <a:ext cx="204" cy="448"/>
            </a:xfrm>
            <a:custGeom>
              <a:avLst/>
              <a:gdLst/>
              <a:ahLst/>
              <a:cxnLst/>
              <a:rect l="l" t="t" r="r" b="b"/>
              <a:pathLst>
                <a:path w="15" h="33" extrusionOk="0">
                  <a:moveTo>
                    <a:pt x="15" y="1"/>
                  </a:moveTo>
                  <a:cubicBezTo>
                    <a:pt x="11" y="11"/>
                    <a:pt x="4" y="22"/>
                    <a:pt x="1" y="32"/>
                  </a:cubicBezTo>
                  <a:cubicBezTo>
                    <a:pt x="4" y="22"/>
                    <a:pt x="11" y="11"/>
                    <a:pt x="15" y="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284" name="Google Shape;5284;p104"/>
            <p:cNvSpPr/>
            <p:nvPr/>
          </p:nvSpPr>
          <p:spPr>
            <a:xfrm>
              <a:off x="1528950" y="2131683"/>
              <a:ext cx="68" cy="109"/>
            </a:xfrm>
            <a:custGeom>
              <a:avLst/>
              <a:gdLst/>
              <a:ahLst/>
              <a:cxnLst/>
              <a:rect l="l" t="t" r="r" b="b"/>
              <a:pathLst>
                <a:path w="5" h="8" extrusionOk="0">
                  <a:moveTo>
                    <a:pt x="1" y="1"/>
                  </a:moveTo>
                  <a:lnTo>
                    <a:pt x="4" y="8"/>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285" name="Google Shape;5285;p104"/>
            <p:cNvSpPr/>
            <p:nvPr/>
          </p:nvSpPr>
          <p:spPr>
            <a:xfrm>
              <a:off x="1525202" y="2175131"/>
              <a:ext cx="54" cy="448"/>
            </a:xfrm>
            <a:custGeom>
              <a:avLst/>
              <a:gdLst/>
              <a:ahLst/>
              <a:cxnLst/>
              <a:rect l="l" t="t" r="r" b="b"/>
              <a:pathLst>
                <a:path w="4" h="33" extrusionOk="0">
                  <a:moveTo>
                    <a:pt x="0" y="1"/>
                  </a:moveTo>
                  <a:lnTo>
                    <a:pt x="0" y="32"/>
                  </a:lnTo>
                  <a:cubicBezTo>
                    <a:pt x="0" y="22"/>
                    <a:pt x="4" y="11"/>
                    <a:pt x="0" y="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286" name="Google Shape;5286;p104"/>
            <p:cNvSpPr/>
            <p:nvPr/>
          </p:nvSpPr>
          <p:spPr>
            <a:xfrm>
              <a:off x="1528529" y="2130787"/>
              <a:ext cx="109" cy="244"/>
            </a:xfrm>
            <a:custGeom>
              <a:avLst/>
              <a:gdLst/>
              <a:ahLst/>
              <a:cxnLst/>
              <a:rect l="l" t="t" r="r" b="b"/>
              <a:pathLst>
                <a:path w="8" h="18" extrusionOk="0">
                  <a:moveTo>
                    <a:pt x="0" y="0"/>
                  </a:moveTo>
                  <a:lnTo>
                    <a:pt x="7" y="18"/>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287" name="Google Shape;5287;p104"/>
            <p:cNvSpPr/>
            <p:nvPr/>
          </p:nvSpPr>
          <p:spPr>
            <a:xfrm>
              <a:off x="1499201" y="1953967"/>
              <a:ext cx="99781" cy="84031"/>
            </a:xfrm>
            <a:custGeom>
              <a:avLst/>
              <a:gdLst/>
              <a:ahLst/>
              <a:cxnLst/>
              <a:rect l="l" t="t" r="r" b="b"/>
              <a:pathLst>
                <a:path w="7349" h="6189" extrusionOk="0">
                  <a:moveTo>
                    <a:pt x="1908" y="0"/>
                  </a:moveTo>
                  <a:cubicBezTo>
                    <a:pt x="1877" y="0"/>
                    <a:pt x="1870" y="7"/>
                    <a:pt x="1870" y="7"/>
                  </a:cubicBezTo>
                  <a:cubicBezTo>
                    <a:pt x="1863" y="39"/>
                    <a:pt x="1863" y="67"/>
                    <a:pt x="1870" y="95"/>
                  </a:cubicBezTo>
                  <a:cubicBezTo>
                    <a:pt x="1877" y="175"/>
                    <a:pt x="1894" y="294"/>
                    <a:pt x="1778" y="347"/>
                  </a:cubicBezTo>
                  <a:cubicBezTo>
                    <a:pt x="1740" y="364"/>
                    <a:pt x="1684" y="385"/>
                    <a:pt x="1617" y="410"/>
                  </a:cubicBezTo>
                  <a:cubicBezTo>
                    <a:pt x="1435" y="473"/>
                    <a:pt x="1096" y="592"/>
                    <a:pt x="1075" y="725"/>
                  </a:cubicBezTo>
                  <a:cubicBezTo>
                    <a:pt x="1061" y="802"/>
                    <a:pt x="1113" y="921"/>
                    <a:pt x="1166" y="1040"/>
                  </a:cubicBezTo>
                  <a:cubicBezTo>
                    <a:pt x="1243" y="1215"/>
                    <a:pt x="1323" y="1393"/>
                    <a:pt x="1250" y="1544"/>
                  </a:cubicBezTo>
                  <a:cubicBezTo>
                    <a:pt x="1209" y="1625"/>
                    <a:pt x="1126" y="1677"/>
                    <a:pt x="1032" y="1677"/>
                  </a:cubicBezTo>
                  <a:cubicBezTo>
                    <a:pt x="1028" y="1677"/>
                    <a:pt x="1025" y="1677"/>
                    <a:pt x="1022" y="1677"/>
                  </a:cubicBezTo>
                  <a:cubicBezTo>
                    <a:pt x="847" y="1677"/>
                    <a:pt x="634" y="1526"/>
                    <a:pt x="550" y="1348"/>
                  </a:cubicBezTo>
                  <a:cubicBezTo>
                    <a:pt x="473" y="1187"/>
                    <a:pt x="595" y="994"/>
                    <a:pt x="693" y="840"/>
                  </a:cubicBezTo>
                  <a:cubicBezTo>
                    <a:pt x="732" y="781"/>
                    <a:pt x="805" y="662"/>
                    <a:pt x="795" y="634"/>
                  </a:cubicBezTo>
                  <a:cubicBezTo>
                    <a:pt x="742" y="543"/>
                    <a:pt x="711" y="441"/>
                    <a:pt x="700" y="336"/>
                  </a:cubicBezTo>
                  <a:lnTo>
                    <a:pt x="693" y="343"/>
                  </a:lnTo>
                  <a:lnTo>
                    <a:pt x="686" y="347"/>
                  </a:lnTo>
                  <a:cubicBezTo>
                    <a:pt x="679" y="354"/>
                    <a:pt x="672" y="361"/>
                    <a:pt x="665" y="371"/>
                  </a:cubicBezTo>
                  <a:cubicBezTo>
                    <a:pt x="637" y="406"/>
                    <a:pt x="606" y="445"/>
                    <a:pt x="574" y="480"/>
                  </a:cubicBezTo>
                  <a:lnTo>
                    <a:pt x="567" y="487"/>
                  </a:lnTo>
                  <a:cubicBezTo>
                    <a:pt x="529" y="522"/>
                    <a:pt x="490" y="560"/>
                    <a:pt x="452" y="595"/>
                  </a:cubicBezTo>
                  <a:cubicBezTo>
                    <a:pt x="329" y="714"/>
                    <a:pt x="200" y="837"/>
                    <a:pt x="200" y="952"/>
                  </a:cubicBezTo>
                  <a:lnTo>
                    <a:pt x="200" y="1001"/>
                  </a:lnTo>
                  <a:cubicBezTo>
                    <a:pt x="193" y="1187"/>
                    <a:pt x="193" y="1281"/>
                    <a:pt x="105" y="1397"/>
                  </a:cubicBezTo>
                  <a:cubicBezTo>
                    <a:pt x="67" y="1439"/>
                    <a:pt x="32" y="1488"/>
                    <a:pt x="0" y="1537"/>
                  </a:cubicBezTo>
                  <a:cubicBezTo>
                    <a:pt x="15" y="1536"/>
                    <a:pt x="30" y="1536"/>
                    <a:pt x="44" y="1536"/>
                  </a:cubicBezTo>
                  <a:cubicBezTo>
                    <a:pt x="119" y="1536"/>
                    <a:pt x="188" y="1546"/>
                    <a:pt x="238" y="1593"/>
                  </a:cubicBezTo>
                  <a:cubicBezTo>
                    <a:pt x="277" y="1628"/>
                    <a:pt x="294" y="1677"/>
                    <a:pt x="294" y="1726"/>
                  </a:cubicBezTo>
                  <a:cubicBezTo>
                    <a:pt x="294" y="1751"/>
                    <a:pt x="329" y="1779"/>
                    <a:pt x="371" y="1810"/>
                  </a:cubicBezTo>
                  <a:cubicBezTo>
                    <a:pt x="445" y="1866"/>
                    <a:pt x="550" y="1943"/>
                    <a:pt x="532" y="2094"/>
                  </a:cubicBezTo>
                  <a:lnTo>
                    <a:pt x="529" y="2136"/>
                  </a:lnTo>
                  <a:cubicBezTo>
                    <a:pt x="511" y="2276"/>
                    <a:pt x="480" y="2542"/>
                    <a:pt x="595" y="2668"/>
                  </a:cubicBezTo>
                  <a:cubicBezTo>
                    <a:pt x="641" y="2717"/>
                    <a:pt x="713" y="2745"/>
                    <a:pt x="806" y="2745"/>
                  </a:cubicBezTo>
                  <a:cubicBezTo>
                    <a:pt x="811" y="2745"/>
                    <a:pt x="817" y="2745"/>
                    <a:pt x="823" y="2745"/>
                  </a:cubicBezTo>
                  <a:cubicBezTo>
                    <a:pt x="945" y="2741"/>
                    <a:pt x="1068" y="2727"/>
                    <a:pt x="1190" y="2710"/>
                  </a:cubicBezTo>
                  <a:cubicBezTo>
                    <a:pt x="1284" y="2697"/>
                    <a:pt x="1370" y="2685"/>
                    <a:pt x="1450" y="2685"/>
                  </a:cubicBezTo>
                  <a:cubicBezTo>
                    <a:pt x="1589" y="2685"/>
                    <a:pt x="1708" y="2721"/>
                    <a:pt x="1810" y="2850"/>
                  </a:cubicBezTo>
                  <a:cubicBezTo>
                    <a:pt x="1974" y="3060"/>
                    <a:pt x="2185" y="3167"/>
                    <a:pt x="2423" y="3167"/>
                  </a:cubicBezTo>
                  <a:cubicBezTo>
                    <a:pt x="2454" y="3167"/>
                    <a:pt x="2485" y="3165"/>
                    <a:pt x="2517" y="3161"/>
                  </a:cubicBezTo>
                  <a:cubicBezTo>
                    <a:pt x="2669" y="3141"/>
                    <a:pt x="2812" y="3125"/>
                    <a:pt x="2931" y="3125"/>
                  </a:cubicBezTo>
                  <a:cubicBezTo>
                    <a:pt x="3080" y="3125"/>
                    <a:pt x="3192" y="3150"/>
                    <a:pt x="3238" y="3224"/>
                  </a:cubicBezTo>
                  <a:cubicBezTo>
                    <a:pt x="3277" y="3280"/>
                    <a:pt x="3270" y="3350"/>
                    <a:pt x="3221" y="3431"/>
                  </a:cubicBezTo>
                  <a:cubicBezTo>
                    <a:pt x="3056" y="3697"/>
                    <a:pt x="2976" y="4233"/>
                    <a:pt x="3081" y="4352"/>
                  </a:cubicBezTo>
                  <a:cubicBezTo>
                    <a:pt x="3109" y="4383"/>
                    <a:pt x="3137" y="4411"/>
                    <a:pt x="3161" y="4436"/>
                  </a:cubicBezTo>
                  <a:cubicBezTo>
                    <a:pt x="3280" y="4558"/>
                    <a:pt x="3427" y="4709"/>
                    <a:pt x="3294" y="4859"/>
                  </a:cubicBezTo>
                  <a:cubicBezTo>
                    <a:pt x="3228" y="4936"/>
                    <a:pt x="3193" y="5013"/>
                    <a:pt x="3200" y="5073"/>
                  </a:cubicBezTo>
                  <a:cubicBezTo>
                    <a:pt x="3207" y="5115"/>
                    <a:pt x="3228" y="5150"/>
                    <a:pt x="3263" y="5174"/>
                  </a:cubicBezTo>
                  <a:cubicBezTo>
                    <a:pt x="3371" y="5251"/>
                    <a:pt x="3420" y="5388"/>
                    <a:pt x="3385" y="5514"/>
                  </a:cubicBezTo>
                  <a:lnTo>
                    <a:pt x="3385" y="5521"/>
                  </a:lnTo>
                  <a:cubicBezTo>
                    <a:pt x="3382" y="5538"/>
                    <a:pt x="3368" y="5552"/>
                    <a:pt x="3354" y="5563"/>
                  </a:cubicBezTo>
                  <a:lnTo>
                    <a:pt x="3361" y="5570"/>
                  </a:lnTo>
                  <a:cubicBezTo>
                    <a:pt x="3378" y="5594"/>
                    <a:pt x="3399" y="5615"/>
                    <a:pt x="3417" y="5636"/>
                  </a:cubicBezTo>
                  <a:lnTo>
                    <a:pt x="3420" y="5640"/>
                  </a:lnTo>
                  <a:cubicBezTo>
                    <a:pt x="3434" y="5664"/>
                    <a:pt x="3452" y="5685"/>
                    <a:pt x="3466" y="5706"/>
                  </a:cubicBezTo>
                  <a:lnTo>
                    <a:pt x="3476" y="5720"/>
                  </a:lnTo>
                  <a:cubicBezTo>
                    <a:pt x="3490" y="5742"/>
                    <a:pt x="3504" y="5759"/>
                    <a:pt x="3515" y="5780"/>
                  </a:cubicBezTo>
                  <a:lnTo>
                    <a:pt x="3525" y="5798"/>
                  </a:lnTo>
                  <a:lnTo>
                    <a:pt x="3560" y="5854"/>
                  </a:lnTo>
                  <a:cubicBezTo>
                    <a:pt x="3599" y="5924"/>
                    <a:pt x="3648" y="5990"/>
                    <a:pt x="3707" y="6046"/>
                  </a:cubicBezTo>
                  <a:lnTo>
                    <a:pt x="3767" y="6095"/>
                  </a:lnTo>
                  <a:cubicBezTo>
                    <a:pt x="3849" y="6163"/>
                    <a:pt x="3884" y="6189"/>
                    <a:pt x="3915" y="6189"/>
                  </a:cubicBezTo>
                  <a:cubicBezTo>
                    <a:pt x="3930" y="6189"/>
                    <a:pt x="3945" y="6182"/>
                    <a:pt x="3963" y="6172"/>
                  </a:cubicBezTo>
                  <a:lnTo>
                    <a:pt x="3970" y="6169"/>
                  </a:lnTo>
                  <a:cubicBezTo>
                    <a:pt x="4047" y="6125"/>
                    <a:pt x="4120" y="6083"/>
                    <a:pt x="4199" y="6083"/>
                  </a:cubicBezTo>
                  <a:cubicBezTo>
                    <a:pt x="4228" y="6083"/>
                    <a:pt x="4258" y="6089"/>
                    <a:pt x="4289" y="6102"/>
                  </a:cubicBezTo>
                  <a:cubicBezTo>
                    <a:pt x="4299" y="6109"/>
                    <a:pt x="4313" y="6116"/>
                    <a:pt x="4327" y="6127"/>
                  </a:cubicBezTo>
                  <a:lnTo>
                    <a:pt x="4334" y="6127"/>
                  </a:lnTo>
                  <a:cubicBezTo>
                    <a:pt x="4339" y="6129"/>
                    <a:pt x="4344" y="6129"/>
                    <a:pt x="4349" y="6129"/>
                  </a:cubicBezTo>
                  <a:cubicBezTo>
                    <a:pt x="4403" y="6129"/>
                    <a:pt x="4501" y="6042"/>
                    <a:pt x="4590" y="5966"/>
                  </a:cubicBezTo>
                  <a:lnTo>
                    <a:pt x="4625" y="5934"/>
                  </a:lnTo>
                  <a:cubicBezTo>
                    <a:pt x="4691" y="5878"/>
                    <a:pt x="4775" y="5847"/>
                    <a:pt x="4859" y="5843"/>
                  </a:cubicBezTo>
                  <a:cubicBezTo>
                    <a:pt x="4936" y="5833"/>
                    <a:pt x="4954" y="5829"/>
                    <a:pt x="4964" y="5784"/>
                  </a:cubicBezTo>
                  <a:cubicBezTo>
                    <a:pt x="5027" y="5584"/>
                    <a:pt x="5139" y="5479"/>
                    <a:pt x="5328" y="5444"/>
                  </a:cubicBezTo>
                  <a:cubicBezTo>
                    <a:pt x="5398" y="5430"/>
                    <a:pt x="5423" y="5384"/>
                    <a:pt x="5419" y="5356"/>
                  </a:cubicBezTo>
                  <a:cubicBezTo>
                    <a:pt x="5419" y="5342"/>
                    <a:pt x="5412" y="5342"/>
                    <a:pt x="5405" y="5342"/>
                  </a:cubicBezTo>
                  <a:cubicBezTo>
                    <a:pt x="5374" y="5346"/>
                    <a:pt x="5346" y="5353"/>
                    <a:pt x="5318" y="5367"/>
                  </a:cubicBezTo>
                  <a:cubicBezTo>
                    <a:pt x="5278" y="5380"/>
                    <a:pt x="5237" y="5393"/>
                    <a:pt x="5197" y="5393"/>
                  </a:cubicBezTo>
                  <a:cubicBezTo>
                    <a:pt x="5171" y="5393"/>
                    <a:pt x="5146" y="5387"/>
                    <a:pt x="5122" y="5370"/>
                  </a:cubicBezTo>
                  <a:cubicBezTo>
                    <a:pt x="5080" y="5332"/>
                    <a:pt x="5059" y="5279"/>
                    <a:pt x="5062" y="5223"/>
                  </a:cubicBezTo>
                  <a:lnTo>
                    <a:pt x="5062" y="5213"/>
                  </a:lnTo>
                  <a:cubicBezTo>
                    <a:pt x="5066" y="5157"/>
                    <a:pt x="5045" y="5104"/>
                    <a:pt x="5003" y="5069"/>
                  </a:cubicBezTo>
                  <a:cubicBezTo>
                    <a:pt x="4943" y="5020"/>
                    <a:pt x="4912" y="4943"/>
                    <a:pt x="4915" y="4866"/>
                  </a:cubicBezTo>
                  <a:cubicBezTo>
                    <a:pt x="4915" y="4691"/>
                    <a:pt x="4898" y="4611"/>
                    <a:pt x="4733" y="4513"/>
                  </a:cubicBezTo>
                  <a:cubicBezTo>
                    <a:pt x="4677" y="4481"/>
                    <a:pt x="4649" y="4439"/>
                    <a:pt x="4653" y="4394"/>
                  </a:cubicBezTo>
                  <a:cubicBezTo>
                    <a:pt x="4656" y="4366"/>
                    <a:pt x="4674" y="4324"/>
                    <a:pt x="4744" y="4299"/>
                  </a:cubicBezTo>
                  <a:cubicBezTo>
                    <a:pt x="4787" y="4283"/>
                    <a:pt x="4854" y="4272"/>
                    <a:pt x="4924" y="4272"/>
                  </a:cubicBezTo>
                  <a:cubicBezTo>
                    <a:pt x="5020" y="4272"/>
                    <a:pt x="5122" y="4292"/>
                    <a:pt x="5174" y="4345"/>
                  </a:cubicBezTo>
                  <a:cubicBezTo>
                    <a:pt x="5202" y="4373"/>
                    <a:pt x="5290" y="4380"/>
                    <a:pt x="5360" y="4387"/>
                  </a:cubicBezTo>
                  <a:cubicBezTo>
                    <a:pt x="5489" y="4397"/>
                    <a:pt x="5640" y="4411"/>
                    <a:pt x="5664" y="4541"/>
                  </a:cubicBezTo>
                  <a:cubicBezTo>
                    <a:pt x="5678" y="4594"/>
                    <a:pt x="5716" y="4622"/>
                    <a:pt x="5735" y="4622"/>
                  </a:cubicBezTo>
                  <a:cubicBezTo>
                    <a:pt x="5736" y="4622"/>
                    <a:pt x="5737" y="4621"/>
                    <a:pt x="5738" y="4621"/>
                  </a:cubicBezTo>
                  <a:cubicBezTo>
                    <a:pt x="5741" y="4621"/>
                    <a:pt x="5748" y="4607"/>
                    <a:pt x="5748" y="4572"/>
                  </a:cubicBezTo>
                  <a:cubicBezTo>
                    <a:pt x="5748" y="4492"/>
                    <a:pt x="5783" y="4418"/>
                    <a:pt x="5846" y="4369"/>
                  </a:cubicBezTo>
                  <a:cubicBezTo>
                    <a:pt x="5922" y="4312"/>
                    <a:pt x="6015" y="4282"/>
                    <a:pt x="6110" y="4282"/>
                  </a:cubicBezTo>
                  <a:cubicBezTo>
                    <a:pt x="6143" y="4282"/>
                    <a:pt x="6175" y="4285"/>
                    <a:pt x="6207" y="4292"/>
                  </a:cubicBezTo>
                  <a:cubicBezTo>
                    <a:pt x="6214" y="4293"/>
                    <a:pt x="6221" y="4294"/>
                    <a:pt x="6229" y="4294"/>
                  </a:cubicBezTo>
                  <a:cubicBezTo>
                    <a:pt x="6325" y="4294"/>
                    <a:pt x="6511" y="4199"/>
                    <a:pt x="6638" y="4131"/>
                  </a:cubicBezTo>
                  <a:cubicBezTo>
                    <a:pt x="6704" y="4093"/>
                    <a:pt x="6774" y="4061"/>
                    <a:pt x="6844" y="4033"/>
                  </a:cubicBezTo>
                  <a:cubicBezTo>
                    <a:pt x="6851" y="4030"/>
                    <a:pt x="6855" y="4030"/>
                    <a:pt x="6858" y="4026"/>
                  </a:cubicBezTo>
                  <a:cubicBezTo>
                    <a:pt x="6890" y="3998"/>
                    <a:pt x="6914" y="3960"/>
                    <a:pt x="6928" y="3918"/>
                  </a:cubicBezTo>
                  <a:lnTo>
                    <a:pt x="6935" y="3904"/>
                  </a:lnTo>
                  <a:lnTo>
                    <a:pt x="6928" y="3893"/>
                  </a:lnTo>
                  <a:lnTo>
                    <a:pt x="6911" y="3869"/>
                  </a:lnTo>
                  <a:lnTo>
                    <a:pt x="6890" y="3844"/>
                  </a:lnTo>
                  <a:lnTo>
                    <a:pt x="6872" y="3820"/>
                  </a:lnTo>
                  <a:lnTo>
                    <a:pt x="6855" y="3795"/>
                  </a:lnTo>
                  <a:lnTo>
                    <a:pt x="6837" y="3774"/>
                  </a:lnTo>
                  <a:lnTo>
                    <a:pt x="6823" y="3753"/>
                  </a:lnTo>
                  <a:lnTo>
                    <a:pt x="6806" y="3732"/>
                  </a:lnTo>
                  <a:lnTo>
                    <a:pt x="6792" y="3715"/>
                  </a:lnTo>
                  <a:lnTo>
                    <a:pt x="6778" y="3697"/>
                  </a:lnTo>
                  <a:lnTo>
                    <a:pt x="6767" y="3680"/>
                  </a:lnTo>
                  <a:lnTo>
                    <a:pt x="6753" y="3665"/>
                  </a:lnTo>
                  <a:lnTo>
                    <a:pt x="6743" y="3651"/>
                  </a:lnTo>
                  <a:lnTo>
                    <a:pt x="6732" y="3637"/>
                  </a:lnTo>
                  <a:lnTo>
                    <a:pt x="6718" y="3623"/>
                  </a:lnTo>
                  <a:lnTo>
                    <a:pt x="6711" y="3613"/>
                  </a:lnTo>
                  <a:lnTo>
                    <a:pt x="6697" y="3599"/>
                  </a:lnTo>
                  <a:lnTo>
                    <a:pt x="6690" y="3592"/>
                  </a:lnTo>
                  <a:lnTo>
                    <a:pt x="6680" y="3578"/>
                  </a:lnTo>
                  <a:lnTo>
                    <a:pt x="6673" y="3571"/>
                  </a:lnTo>
                  <a:lnTo>
                    <a:pt x="6666" y="3560"/>
                  </a:lnTo>
                  <a:lnTo>
                    <a:pt x="6659" y="3557"/>
                  </a:lnTo>
                  <a:lnTo>
                    <a:pt x="6652" y="3546"/>
                  </a:lnTo>
                  <a:lnTo>
                    <a:pt x="6648" y="3543"/>
                  </a:lnTo>
                  <a:lnTo>
                    <a:pt x="6638" y="3532"/>
                  </a:lnTo>
                  <a:lnTo>
                    <a:pt x="6638" y="3529"/>
                  </a:lnTo>
                  <a:lnTo>
                    <a:pt x="6631" y="3522"/>
                  </a:lnTo>
                  <a:lnTo>
                    <a:pt x="6627" y="3522"/>
                  </a:lnTo>
                  <a:lnTo>
                    <a:pt x="6620" y="3515"/>
                  </a:lnTo>
                  <a:lnTo>
                    <a:pt x="6613" y="3508"/>
                  </a:lnTo>
                  <a:cubicBezTo>
                    <a:pt x="6501" y="3417"/>
                    <a:pt x="6571" y="3319"/>
                    <a:pt x="6606" y="3273"/>
                  </a:cubicBezTo>
                  <a:cubicBezTo>
                    <a:pt x="6641" y="3228"/>
                    <a:pt x="6655" y="3207"/>
                    <a:pt x="6652" y="3175"/>
                  </a:cubicBezTo>
                  <a:cubicBezTo>
                    <a:pt x="6641" y="3102"/>
                    <a:pt x="6638" y="3018"/>
                    <a:pt x="6690" y="2951"/>
                  </a:cubicBezTo>
                  <a:cubicBezTo>
                    <a:pt x="6743" y="2885"/>
                    <a:pt x="6827" y="2853"/>
                    <a:pt x="6967" y="2843"/>
                  </a:cubicBezTo>
                  <a:cubicBezTo>
                    <a:pt x="7037" y="2839"/>
                    <a:pt x="7082" y="2818"/>
                    <a:pt x="7089" y="2787"/>
                  </a:cubicBezTo>
                  <a:cubicBezTo>
                    <a:pt x="7089" y="2734"/>
                    <a:pt x="7061" y="2692"/>
                    <a:pt x="7016" y="2671"/>
                  </a:cubicBezTo>
                  <a:cubicBezTo>
                    <a:pt x="6967" y="2647"/>
                    <a:pt x="6939" y="2594"/>
                    <a:pt x="6935" y="2542"/>
                  </a:cubicBezTo>
                  <a:cubicBezTo>
                    <a:pt x="6935" y="2405"/>
                    <a:pt x="7103" y="2251"/>
                    <a:pt x="7212" y="2185"/>
                  </a:cubicBezTo>
                  <a:cubicBezTo>
                    <a:pt x="7219" y="2185"/>
                    <a:pt x="7222" y="2181"/>
                    <a:pt x="7226" y="2178"/>
                  </a:cubicBezTo>
                  <a:lnTo>
                    <a:pt x="7233" y="2171"/>
                  </a:lnTo>
                  <a:lnTo>
                    <a:pt x="7243" y="2160"/>
                  </a:lnTo>
                  <a:lnTo>
                    <a:pt x="7250" y="2157"/>
                  </a:lnTo>
                  <a:lnTo>
                    <a:pt x="7261" y="2143"/>
                  </a:lnTo>
                  <a:lnTo>
                    <a:pt x="7271" y="2136"/>
                  </a:lnTo>
                  <a:lnTo>
                    <a:pt x="7285" y="2115"/>
                  </a:lnTo>
                  <a:lnTo>
                    <a:pt x="7289" y="2108"/>
                  </a:lnTo>
                  <a:cubicBezTo>
                    <a:pt x="7296" y="2101"/>
                    <a:pt x="7303" y="2090"/>
                    <a:pt x="7310" y="2080"/>
                  </a:cubicBezTo>
                  <a:lnTo>
                    <a:pt x="7317" y="2069"/>
                  </a:lnTo>
                  <a:lnTo>
                    <a:pt x="7334" y="2045"/>
                  </a:lnTo>
                  <a:lnTo>
                    <a:pt x="7341" y="2031"/>
                  </a:lnTo>
                  <a:lnTo>
                    <a:pt x="7348" y="2017"/>
                  </a:lnTo>
                  <a:cubicBezTo>
                    <a:pt x="7179" y="1971"/>
                    <a:pt x="6976" y="1960"/>
                    <a:pt x="6823" y="1960"/>
                  </a:cubicBezTo>
                  <a:cubicBezTo>
                    <a:pt x="6755" y="1960"/>
                    <a:pt x="6696" y="1962"/>
                    <a:pt x="6655" y="1964"/>
                  </a:cubicBezTo>
                  <a:cubicBezTo>
                    <a:pt x="6651" y="1964"/>
                    <a:pt x="6645" y="1964"/>
                    <a:pt x="6637" y="1964"/>
                  </a:cubicBezTo>
                  <a:cubicBezTo>
                    <a:pt x="6608" y="1964"/>
                    <a:pt x="6558" y="1960"/>
                    <a:pt x="6533" y="1915"/>
                  </a:cubicBezTo>
                  <a:cubicBezTo>
                    <a:pt x="6501" y="1859"/>
                    <a:pt x="6543" y="1789"/>
                    <a:pt x="6606" y="1702"/>
                  </a:cubicBezTo>
                  <a:cubicBezTo>
                    <a:pt x="6659" y="1625"/>
                    <a:pt x="6729" y="1526"/>
                    <a:pt x="6732" y="1449"/>
                  </a:cubicBezTo>
                  <a:cubicBezTo>
                    <a:pt x="6739" y="1330"/>
                    <a:pt x="6340" y="1274"/>
                    <a:pt x="6148" y="1243"/>
                  </a:cubicBezTo>
                  <a:cubicBezTo>
                    <a:pt x="6078" y="1232"/>
                    <a:pt x="6018" y="1222"/>
                    <a:pt x="5972" y="1211"/>
                  </a:cubicBezTo>
                  <a:cubicBezTo>
                    <a:pt x="5818" y="1180"/>
                    <a:pt x="5769" y="1075"/>
                    <a:pt x="5776" y="998"/>
                  </a:cubicBezTo>
                  <a:cubicBezTo>
                    <a:pt x="5790" y="900"/>
                    <a:pt x="5860" y="823"/>
                    <a:pt x="5955" y="798"/>
                  </a:cubicBezTo>
                  <a:cubicBezTo>
                    <a:pt x="5881" y="778"/>
                    <a:pt x="5806" y="768"/>
                    <a:pt x="5731" y="768"/>
                  </a:cubicBezTo>
                  <a:cubicBezTo>
                    <a:pt x="5689" y="768"/>
                    <a:pt x="5647" y="771"/>
                    <a:pt x="5605" y="777"/>
                  </a:cubicBezTo>
                  <a:cubicBezTo>
                    <a:pt x="5290" y="823"/>
                    <a:pt x="4838" y="1001"/>
                    <a:pt x="4572" y="1145"/>
                  </a:cubicBezTo>
                  <a:cubicBezTo>
                    <a:pt x="4531" y="1167"/>
                    <a:pt x="4488" y="1177"/>
                    <a:pt x="4443" y="1177"/>
                  </a:cubicBezTo>
                  <a:cubicBezTo>
                    <a:pt x="4307" y="1177"/>
                    <a:pt x="4155" y="1088"/>
                    <a:pt x="4005" y="1001"/>
                  </a:cubicBezTo>
                  <a:cubicBezTo>
                    <a:pt x="3863" y="918"/>
                    <a:pt x="3717" y="831"/>
                    <a:pt x="3601" y="831"/>
                  </a:cubicBezTo>
                  <a:cubicBezTo>
                    <a:pt x="3577" y="831"/>
                    <a:pt x="3554" y="835"/>
                    <a:pt x="3532" y="844"/>
                  </a:cubicBezTo>
                  <a:cubicBezTo>
                    <a:pt x="3404" y="896"/>
                    <a:pt x="3248" y="931"/>
                    <a:pt x="3108" y="931"/>
                  </a:cubicBezTo>
                  <a:cubicBezTo>
                    <a:pt x="2996" y="931"/>
                    <a:pt x="2895" y="909"/>
                    <a:pt x="2825" y="858"/>
                  </a:cubicBezTo>
                  <a:cubicBezTo>
                    <a:pt x="2759" y="812"/>
                    <a:pt x="2724" y="739"/>
                    <a:pt x="2727" y="658"/>
                  </a:cubicBezTo>
                  <a:cubicBezTo>
                    <a:pt x="2741" y="557"/>
                    <a:pt x="2706" y="455"/>
                    <a:pt x="2636" y="382"/>
                  </a:cubicBezTo>
                  <a:cubicBezTo>
                    <a:pt x="2585" y="330"/>
                    <a:pt x="2513" y="303"/>
                    <a:pt x="2420" y="303"/>
                  </a:cubicBezTo>
                  <a:cubicBezTo>
                    <a:pt x="2405" y="303"/>
                    <a:pt x="2390" y="303"/>
                    <a:pt x="2374" y="305"/>
                  </a:cubicBezTo>
                  <a:cubicBezTo>
                    <a:pt x="2360" y="306"/>
                    <a:pt x="2348" y="306"/>
                    <a:pt x="2336" y="306"/>
                  </a:cubicBezTo>
                  <a:cubicBezTo>
                    <a:pt x="2161" y="306"/>
                    <a:pt x="2094" y="194"/>
                    <a:pt x="2045" y="112"/>
                  </a:cubicBezTo>
                  <a:cubicBezTo>
                    <a:pt x="1999" y="39"/>
                    <a:pt x="1975" y="0"/>
                    <a:pt x="1908"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288" name="Google Shape;5288;p104"/>
            <p:cNvSpPr/>
            <p:nvPr/>
          </p:nvSpPr>
          <p:spPr>
            <a:xfrm>
              <a:off x="1578575" y="2011862"/>
              <a:ext cx="4915" cy="1385"/>
            </a:xfrm>
            <a:custGeom>
              <a:avLst/>
              <a:gdLst/>
              <a:ahLst/>
              <a:cxnLst/>
              <a:rect l="l" t="t" r="r" b="b"/>
              <a:pathLst>
                <a:path w="362" h="102" extrusionOk="0">
                  <a:moveTo>
                    <a:pt x="0" y="102"/>
                  </a:moveTo>
                  <a:cubicBezTo>
                    <a:pt x="105" y="28"/>
                    <a:pt x="235" y="0"/>
                    <a:pt x="361" y="28"/>
                  </a:cubicBezTo>
                  <a:cubicBezTo>
                    <a:pt x="235" y="0"/>
                    <a:pt x="105" y="28"/>
                    <a:pt x="0" y="102"/>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289" name="Google Shape;5289;p104"/>
            <p:cNvSpPr/>
            <p:nvPr/>
          </p:nvSpPr>
          <p:spPr>
            <a:xfrm>
              <a:off x="1547062" y="2032676"/>
              <a:ext cx="489" cy="774"/>
            </a:xfrm>
            <a:custGeom>
              <a:avLst/>
              <a:gdLst/>
              <a:ahLst/>
              <a:cxnLst/>
              <a:rect l="l" t="t" r="r" b="b"/>
              <a:pathLst>
                <a:path w="36" h="57" extrusionOk="0">
                  <a:moveTo>
                    <a:pt x="35" y="57"/>
                  </a:moveTo>
                  <a:lnTo>
                    <a:pt x="0"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290" name="Google Shape;5290;p104"/>
            <p:cNvSpPr/>
            <p:nvPr/>
          </p:nvSpPr>
          <p:spPr>
            <a:xfrm>
              <a:off x="1557381" y="2036817"/>
              <a:ext cx="625" cy="339"/>
            </a:xfrm>
            <a:custGeom>
              <a:avLst/>
              <a:gdLst/>
              <a:ahLst/>
              <a:cxnLst/>
              <a:rect l="l" t="t" r="r" b="b"/>
              <a:pathLst>
                <a:path w="46" h="25" extrusionOk="0">
                  <a:moveTo>
                    <a:pt x="0" y="0"/>
                  </a:moveTo>
                  <a:cubicBezTo>
                    <a:pt x="14" y="7"/>
                    <a:pt x="28" y="14"/>
                    <a:pt x="39" y="21"/>
                  </a:cubicBezTo>
                  <a:lnTo>
                    <a:pt x="46" y="25"/>
                  </a:lnTo>
                  <a:lnTo>
                    <a:pt x="39" y="21"/>
                  </a:lnTo>
                  <a:cubicBezTo>
                    <a:pt x="28" y="14"/>
                    <a:pt x="14" y="7"/>
                    <a:pt x="0"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291" name="Google Shape;5291;p104"/>
            <p:cNvSpPr/>
            <p:nvPr/>
          </p:nvSpPr>
          <p:spPr>
            <a:xfrm>
              <a:off x="1592316" y="2006960"/>
              <a:ext cx="1100" cy="1684"/>
            </a:xfrm>
            <a:custGeom>
              <a:avLst/>
              <a:gdLst/>
              <a:ahLst/>
              <a:cxnLst/>
              <a:rect l="l" t="t" r="r" b="b"/>
              <a:pathLst>
                <a:path w="81" h="124" extrusionOk="0">
                  <a:moveTo>
                    <a:pt x="74" y="15"/>
                  </a:moveTo>
                  <a:cubicBezTo>
                    <a:pt x="56" y="57"/>
                    <a:pt x="32" y="92"/>
                    <a:pt x="0" y="123"/>
                  </a:cubicBezTo>
                  <a:cubicBezTo>
                    <a:pt x="32" y="92"/>
                    <a:pt x="56" y="57"/>
                    <a:pt x="74" y="15"/>
                  </a:cubicBezTo>
                  <a:lnTo>
                    <a:pt x="81" y="1"/>
                  </a:lnTo>
                  <a:lnTo>
                    <a:pt x="81"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292" name="Google Shape;5292;p104"/>
            <p:cNvSpPr/>
            <p:nvPr/>
          </p:nvSpPr>
          <p:spPr>
            <a:xfrm>
              <a:off x="1547537" y="2033436"/>
              <a:ext cx="2009" cy="2634"/>
            </a:xfrm>
            <a:custGeom>
              <a:avLst/>
              <a:gdLst/>
              <a:ahLst/>
              <a:cxnLst/>
              <a:rect l="l" t="t" r="r" b="b"/>
              <a:pathLst>
                <a:path w="148" h="194" extrusionOk="0">
                  <a:moveTo>
                    <a:pt x="0" y="1"/>
                  </a:moveTo>
                  <a:cubicBezTo>
                    <a:pt x="39" y="71"/>
                    <a:pt x="88" y="137"/>
                    <a:pt x="147" y="193"/>
                  </a:cubicBezTo>
                  <a:cubicBezTo>
                    <a:pt x="88" y="137"/>
                    <a:pt x="39" y="71"/>
                    <a:pt x="0" y="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293" name="Google Shape;5293;p104"/>
            <p:cNvSpPr/>
            <p:nvPr/>
          </p:nvSpPr>
          <p:spPr>
            <a:xfrm>
              <a:off x="1546397" y="2031576"/>
              <a:ext cx="530" cy="869"/>
            </a:xfrm>
            <a:custGeom>
              <a:avLst/>
              <a:gdLst/>
              <a:ahLst/>
              <a:cxnLst/>
              <a:rect l="l" t="t" r="r" b="b"/>
              <a:pathLst>
                <a:path w="39" h="64" extrusionOk="0">
                  <a:moveTo>
                    <a:pt x="0" y="1"/>
                  </a:moveTo>
                  <a:lnTo>
                    <a:pt x="0" y="1"/>
                  </a:lnTo>
                  <a:cubicBezTo>
                    <a:pt x="14" y="26"/>
                    <a:pt x="28" y="43"/>
                    <a:pt x="39" y="64"/>
                  </a:cubicBezTo>
                  <a:cubicBezTo>
                    <a:pt x="28" y="43"/>
                    <a:pt x="14" y="22"/>
                    <a:pt x="0" y="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294" name="Google Shape;5294;p104"/>
            <p:cNvSpPr/>
            <p:nvPr/>
          </p:nvSpPr>
          <p:spPr>
            <a:xfrm>
              <a:off x="1545582" y="2030544"/>
              <a:ext cx="679" cy="910"/>
            </a:xfrm>
            <a:custGeom>
              <a:avLst/>
              <a:gdLst/>
              <a:ahLst/>
              <a:cxnLst/>
              <a:rect l="l" t="t" r="r" b="b"/>
              <a:pathLst>
                <a:path w="50" h="67" extrusionOk="0">
                  <a:moveTo>
                    <a:pt x="1" y="0"/>
                  </a:moveTo>
                  <a:cubicBezTo>
                    <a:pt x="18" y="21"/>
                    <a:pt x="36" y="46"/>
                    <a:pt x="50" y="66"/>
                  </a:cubicBezTo>
                  <a:cubicBezTo>
                    <a:pt x="36" y="42"/>
                    <a:pt x="18" y="21"/>
                    <a:pt x="1"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295" name="Google Shape;5295;p104"/>
            <p:cNvSpPr/>
            <p:nvPr/>
          </p:nvSpPr>
          <p:spPr>
            <a:xfrm>
              <a:off x="1544822" y="2029580"/>
              <a:ext cx="774" cy="923"/>
            </a:xfrm>
            <a:custGeom>
              <a:avLst/>
              <a:gdLst/>
              <a:ahLst/>
              <a:cxnLst/>
              <a:rect l="l" t="t" r="r" b="b"/>
              <a:pathLst>
                <a:path w="57" h="68" extrusionOk="0">
                  <a:moveTo>
                    <a:pt x="1" y="1"/>
                  </a:moveTo>
                  <a:cubicBezTo>
                    <a:pt x="18" y="25"/>
                    <a:pt x="39" y="50"/>
                    <a:pt x="57" y="67"/>
                  </a:cubicBezTo>
                  <a:cubicBezTo>
                    <a:pt x="39" y="46"/>
                    <a:pt x="22" y="25"/>
                    <a:pt x="1" y="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296" name="Google Shape;5296;p104"/>
            <p:cNvSpPr/>
            <p:nvPr/>
          </p:nvSpPr>
          <p:spPr>
            <a:xfrm>
              <a:off x="1506941" y="1960376"/>
              <a:ext cx="109" cy="109"/>
            </a:xfrm>
            <a:custGeom>
              <a:avLst/>
              <a:gdLst/>
              <a:ahLst/>
              <a:cxnLst/>
              <a:rect l="l" t="t" r="r" b="b"/>
              <a:pathLst>
                <a:path w="8" h="8" extrusionOk="0">
                  <a:moveTo>
                    <a:pt x="8" y="1"/>
                  </a:moveTo>
                  <a:lnTo>
                    <a:pt x="1" y="8"/>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297" name="Google Shape;5297;p104"/>
            <p:cNvSpPr/>
            <p:nvPr/>
          </p:nvSpPr>
          <p:spPr>
            <a:xfrm>
              <a:off x="1508651" y="1958434"/>
              <a:ext cx="109" cy="109"/>
            </a:xfrm>
            <a:custGeom>
              <a:avLst/>
              <a:gdLst/>
              <a:ahLst/>
              <a:cxnLst/>
              <a:rect l="l" t="t" r="r" b="b"/>
              <a:pathLst>
                <a:path w="8" h="8" extrusionOk="0">
                  <a:moveTo>
                    <a:pt x="8" y="0"/>
                  </a:moveTo>
                  <a:lnTo>
                    <a:pt x="1" y="7"/>
                  </a:lnTo>
                  <a:lnTo>
                    <a:pt x="8"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298" name="Google Shape;5298;p104"/>
            <p:cNvSpPr/>
            <p:nvPr/>
          </p:nvSpPr>
          <p:spPr>
            <a:xfrm>
              <a:off x="1508271" y="1958624"/>
              <a:ext cx="299" cy="299"/>
            </a:xfrm>
            <a:custGeom>
              <a:avLst/>
              <a:gdLst/>
              <a:ahLst/>
              <a:cxnLst/>
              <a:rect l="l" t="t" r="r" b="b"/>
              <a:pathLst>
                <a:path w="22" h="22" extrusionOk="0">
                  <a:moveTo>
                    <a:pt x="1" y="21"/>
                  </a:moveTo>
                  <a:cubicBezTo>
                    <a:pt x="8" y="14"/>
                    <a:pt x="15" y="7"/>
                    <a:pt x="22" y="0"/>
                  </a:cubicBezTo>
                  <a:cubicBezTo>
                    <a:pt x="15" y="7"/>
                    <a:pt x="8" y="14"/>
                    <a:pt x="1" y="2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299" name="Google Shape;5299;p104"/>
            <p:cNvSpPr/>
            <p:nvPr/>
          </p:nvSpPr>
          <p:spPr>
            <a:xfrm>
              <a:off x="1507280" y="1990084"/>
              <a:ext cx="3096" cy="1086"/>
            </a:xfrm>
            <a:custGeom>
              <a:avLst/>
              <a:gdLst/>
              <a:ahLst/>
              <a:cxnLst/>
              <a:rect l="l" t="t" r="r" b="b"/>
              <a:pathLst>
                <a:path w="228" h="80" extrusionOk="0">
                  <a:moveTo>
                    <a:pt x="0" y="1"/>
                  </a:moveTo>
                  <a:cubicBezTo>
                    <a:pt x="52" y="52"/>
                    <a:pt x="121" y="80"/>
                    <a:pt x="193" y="80"/>
                  </a:cubicBezTo>
                  <a:cubicBezTo>
                    <a:pt x="205" y="80"/>
                    <a:pt x="216" y="79"/>
                    <a:pt x="228" y="78"/>
                  </a:cubicBezTo>
                  <a:lnTo>
                    <a:pt x="228" y="78"/>
                  </a:lnTo>
                  <a:cubicBezTo>
                    <a:pt x="222" y="78"/>
                    <a:pt x="216" y="78"/>
                    <a:pt x="211" y="78"/>
                  </a:cubicBezTo>
                  <a:cubicBezTo>
                    <a:pt x="118" y="78"/>
                    <a:pt x="50" y="50"/>
                    <a:pt x="0" y="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300" name="Google Shape;5300;p104"/>
            <p:cNvSpPr/>
            <p:nvPr/>
          </p:nvSpPr>
          <p:spPr>
            <a:xfrm>
              <a:off x="1614271" y="1998868"/>
              <a:ext cx="28730" cy="30970"/>
            </a:xfrm>
            <a:custGeom>
              <a:avLst/>
              <a:gdLst/>
              <a:ahLst/>
              <a:cxnLst/>
              <a:rect l="l" t="t" r="r" b="b"/>
              <a:pathLst>
                <a:path w="2116" h="2281" extrusionOk="0">
                  <a:moveTo>
                    <a:pt x="758" y="0"/>
                  </a:moveTo>
                  <a:cubicBezTo>
                    <a:pt x="705" y="0"/>
                    <a:pt x="641" y="31"/>
                    <a:pt x="575" y="85"/>
                  </a:cubicBezTo>
                  <a:cubicBezTo>
                    <a:pt x="561" y="96"/>
                    <a:pt x="543" y="106"/>
                    <a:pt x="526" y="110"/>
                  </a:cubicBezTo>
                  <a:lnTo>
                    <a:pt x="522" y="117"/>
                  </a:lnTo>
                  <a:lnTo>
                    <a:pt x="515" y="145"/>
                  </a:lnTo>
                  <a:lnTo>
                    <a:pt x="508" y="162"/>
                  </a:lnTo>
                  <a:lnTo>
                    <a:pt x="501" y="183"/>
                  </a:lnTo>
                  <a:lnTo>
                    <a:pt x="494" y="204"/>
                  </a:lnTo>
                  <a:lnTo>
                    <a:pt x="487" y="222"/>
                  </a:lnTo>
                  <a:cubicBezTo>
                    <a:pt x="487" y="229"/>
                    <a:pt x="484" y="236"/>
                    <a:pt x="484" y="243"/>
                  </a:cubicBezTo>
                  <a:cubicBezTo>
                    <a:pt x="480" y="250"/>
                    <a:pt x="480" y="253"/>
                    <a:pt x="480" y="260"/>
                  </a:cubicBezTo>
                  <a:cubicBezTo>
                    <a:pt x="477" y="264"/>
                    <a:pt x="477" y="271"/>
                    <a:pt x="473" y="278"/>
                  </a:cubicBezTo>
                  <a:cubicBezTo>
                    <a:pt x="473" y="285"/>
                    <a:pt x="473" y="288"/>
                    <a:pt x="473" y="292"/>
                  </a:cubicBezTo>
                  <a:cubicBezTo>
                    <a:pt x="470" y="295"/>
                    <a:pt x="473" y="306"/>
                    <a:pt x="473" y="313"/>
                  </a:cubicBezTo>
                  <a:lnTo>
                    <a:pt x="473" y="323"/>
                  </a:lnTo>
                  <a:cubicBezTo>
                    <a:pt x="473" y="330"/>
                    <a:pt x="473" y="337"/>
                    <a:pt x="473" y="341"/>
                  </a:cubicBezTo>
                  <a:lnTo>
                    <a:pt x="473" y="348"/>
                  </a:lnTo>
                  <a:cubicBezTo>
                    <a:pt x="473" y="355"/>
                    <a:pt x="473" y="362"/>
                    <a:pt x="477" y="369"/>
                  </a:cubicBezTo>
                  <a:cubicBezTo>
                    <a:pt x="501" y="415"/>
                    <a:pt x="512" y="467"/>
                    <a:pt x="498" y="516"/>
                  </a:cubicBezTo>
                  <a:cubicBezTo>
                    <a:pt x="494" y="534"/>
                    <a:pt x="491" y="548"/>
                    <a:pt x="484" y="562"/>
                  </a:cubicBezTo>
                  <a:cubicBezTo>
                    <a:pt x="417" y="681"/>
                    <a:pt x="242" y="712"/>
                    <a:pt x="172" y="723"/>
                  </a:cubicBezTo>
                  <a:cubicBezTo>
                    <a:pt x="127" y="726"/>
                    <a:pt x="106" y="838"/>
                    <a:pt x="88" y="926"/>
                  </a:cubicBezTo>
                  <a:cubicBezTo>
                    <a:pt x="71" y="1017"/>
                    <a:pt x="50" y="1111"/>
                    <a:pt x="1" y="1167"/>
                  </a:cubicBezTo>
                  <a:cubicBezTo>
                    <a:pt x="18" y="1202"/>
                    <a:pt x="109" y="1283"/>
                    <a:pt x="172" y="1342"/>
                  </a:cubicBezTo>
                  <a:cubicBezTo>
                    <a:pt x="288" y="1444"/>
                    <a:pt x="417" y="1559"/>
                    <a:pt x="459" y="1678"/>
                  </a:cubicBezTo>
                  <a:lnTo>
                    <a:pt x="470" y="1696"/>
                  </a:lnTo>
                  <a:lnTo>
                    <a:pt x="470" y="1699"/>
                  </a:lnTo>
                  <a:lnTo>
                    <a:pt x="477" y="1717"/>
                  </a:lnTo>
                  <a:lnTo>
                    <a:pt x="477" y="1724"/>
                  </a:lnTo>
                  <a:lnTo>
                    <a:pt x="487" y="1741"/>
                  </a:lnTo>
                  <a:lnTo>
                    <a:pt x="491" y="1752"/>
                  </a:lnTo>
                  <a:lnTo>
                    <a:pt x="498" y="1769"/>
                  </a:lnTo>
                  <a:lnTo>
                    <a:pt x="505" y="1780"/>
                  </a:lnTo>
                  <a:lnTo>
                    <a:pt x="512" y="1801"/>
                  </a:lnTo>
                  <a:lnTo>
                    <a:pt x="519" y="1811"/>
                  </a:lnTo>
                  <a:lnTo>
                    <a:pt x="529" y="1832"/>
                  </a:lnTo>
                  <a:lnTo>
                    <a:pt x="536" y="1846"/>
                  </a:lnTo>
                  <a:lnTo>
                    <a:pt x="547" y="1867"/>
                  </a:lnTo>
                  <a:lnTo>
                    <a:pt x="554" y="1881"/>
                  </a:lnTo>
                  <a:lnTo>
                    <a:pt x="564" y="1902"/>
                  </a:lnTo>
                  <a:lnTo>
                    <a:pt x="575" y="1920"/>
                  </a:lnTo>
                  <a:lnTo>
                    <a:pt x="585" y="1941"/>
                  </a:lnTo>
                  <a:lnTo>
                    <a:pt x="596" y="1962"/>
                  </a:lnTo>
                  <a:lnTo>
                    <a:pt x="606" y="1979"/>
                  </a:lnTo>
                  <a:lnTo>
                    <a:pt x="620" y="2004"/>
                  </a:lnTo>
                  <a:lnTo>
                    <a:pt x="631" y="2021"/>
                  </a:lnTo>
                  <a:lnTo>
                    <a:pt x="645" y="2053"/>
                  </a:lnTo>
                  <a:lnTo>
                    <a:pt x="655" y="2067"/>
                  </a:lnTo>
                  <a:lnTo>
                    <a:pt x="673" y="2102"/>
                  </a:lnTo>
                  <a:lnTo>
                    <a:pt x="680" y="2112"/>
                  </a:lnTo>
                  <a:lnTo>
                    <a:pt x="701" y="2151"/>
                  </a:lnTo>
                  <a:lnTo>
                    <a:pt x="708" y="2158"/>
                  </a:lnTo>
                  <a:lnTo>
                    <a:pt x="732" y="2203"/>
                  </a:lnTo>
                  <a:lnTo>
                    <a:pt x="736" y="2210"/>
                  </a:lnTo>
                  <a:lnTo>
                    <a:pt x="760" y="2256"/>
                  </a:lnTo>
                  <a:cubicBezTo>
                    <a:pt x="806" y="2270"/>
                    <a:pt x="855" y="2277"/>
                    <a:pt x="900" y="2280"/>
                  </a:cubicBezTo>
                  <a:lnTo>
                    <a:pt x="928" y="2266"/>
                  </a:lnTo>
                  <a:lnTo>
                    <a:pt x="970" y="2266"/>
                  </a:lnTo>
                  <a:cubicBezTo>
                    <a:pt x="974" y="2266"/>
                    <a:pt x="981" y="2263"/>
                    <a:pt x="988" y="2259"/>
                  </a:cubicBezTo>
                  <a:cubicBezTo>
                    <a:pt x="995" y="2256"/>
                    <a:pt x="1002" y="2249"/>
                    <a:pt x="1009" y="2242"/>
                  </a:cubicBezTo>
                  <a:cubicBezTo>
                    <a:pt x="1026" y="2207"/>
                    <a:pt x="1037" y="2165"/>
                    <a:pt x="1040" y="2126"/>
                  </a:cubicBezTo>
                  <a:cubicBezTo>
                    <a:pt x="1054" y="2043"/>
                    <a:pt x="1073" y="1905"/>
                    <a:pt x="1231" y="1905"/>
                  </a:cubicBezTo>
                  <a:cubicBezTo>
                    <a:pt x="1238" y="1905"/>
                    <a:pt x="1246" y="1905"/>
                    <a:pt x="1254" y="1906"/>
                  </a:cubicBezTo>
                  <a:cubicBezTo>
                    <a:pt x="1267" y="1906"/>
                    <a:pt x="1281" y="1907"/>
                    <a:pt x="1294" y="1907"/>
                  </a:cubicBezTo>
                  <a:cubicBezTo>
                    <a:pt x="1362" y="1907"/>
                    <a:pt x="1432" y="1899"/>
                    <a:pt x="1499" y="1885"/>
                  </a:cubicBezTo>
                  <a:cubicBezTo>
                    <a:pt x="1541" y="1881"/>
                    <a:pt x="1583" y="1874"/>
                    <a:pt x="1621" y="1871"/>
                  </a:cubicBezTo>
                  <a:lnTo>
                    <a:pt x="1625" y="1871"/>
                  </a:lnTo>
                  <a:lnTo>
                    <a:pt x="1653" y="1867"/>
                  </a:lnTo>
                  <a:lnTo>
                    <a:pt x="1776" y="1867"/>
                  </a:lnTo>
                  <a:lnTo>
                    <a:pt x="1790" y="1871"/>
                  </a:lnTo>
                  <a:lnTo>
                    <a:pt x="1800" y="1874"/>
                  </a:lnTo>
                  <a:lnTo>
                    <a:pt x="1814" y="1878"/>
                  </a:lnTo>
                  <a:lnTo>
                    <a:pt x="1825" y="1881"/>
                  </a:lnTo>
                  <a:lnTo>
                    <a:pt x="1835" y="1885"/>
                  </a:lnTo>
                  <a:lnTo>
                    <a:pt x="1846" y="1892"/>
                  </a:lnTo>
                  <a:lnTo>
                    <a:pt x="1856" y="1895"/>
                  </a:lnTo>
                  <a:lnTo>
                    <a:pt x="1867" y="1902"/>
                  </a:lnTo>
                  <a:lnTo>
                    <a:pt x="1877" y="1909"/>
                  </a:lnTo>
                  <a:lnTo>
                    <a:pt x="1884" y="1920"/>
                  </a:lnTo>
                  <a:lnTo>
                    <a:pt x="1895" y="1927"/>
                  </a:lnTo>
                  <a:lnTo>
                    <a:pt x="1902" y="1937"/>
                  </a:lnTo>
                  <a:lnTo>
                    <a:pt x="1905" y="1944"/>
                  </a:lnTo>
                  <a:lnTo>
                    <a:pt x="1937" y="1895"/>
                  </a:lnTo>
                  <a:lnTo>
                    <a:pt x="1951" y="1874"/>
                  </a:lnTo>
                  <a:lnTo>
                    <a:pt x="1958" y="1867"/>
                  </a:lnTo>
                  <a:lnTo>
                    <a:pt x="1968" y="1846"/>
                  </a:lnTo>
                  <a:lnTo>
                    <a:pt x="1972" y="1839"/>
                  </a:lnTo>
                  <a:lnTo>
                    <a:pt x="1986" y="1822"/>
                  </a:lnTo>
                  <a:lnTo>
                    <a:pt x="2003" y="1790"/>
                  </a:lnTo>
                  <a:lnTo>
                    <a:pt x="2007" y="1783"/>
                  </a:lnTo>
                  <a:lnTo>
                    <a:pt x="2010" y="1776"/>
                  </a:lnTo>
                  <a:cubicBezTo>
                    <a:pt x="2038" y="1720"/>
                    <a:pt x="2045" y="1332"/>
                    <a:pt x="1951" y="1104"/>
                  </a:cubicBezTo>
                  <a:cubicBezTo>
                    <a:pt x="1877" y="912"/>
                    <a:pt x="1888" y="698"/>
                    <a:pt x="1972" y="509"/>
                  </a:cubicBezTo>
                  <a:cubicBezTo>
                    <a:pt x="1993" y="460"/>
                    <a:pt x="2024" y="418"/>
                    <a:pt x="2063" y="383"/>
                  </a:cubicBezTo>
                  <a:lnTo>
                    <a:pt x="2063" y="380"/>
                  </a:lnTo>
                  <a:lnTo>
                    <a:pt x="2063" y="376"/>
                  </a:lnTo>
                  <a:lnTo>
                    <a:pt x="2063" y="373"/>
                  </a:lnTo>
                  <a:lnTo>
                    <a:pt x="2063" y="369"/>
                  </a:lnTo>
                  <a:lnTo>
                    <a:pt x="2063" y="366"/>
                  </a:lnTo>
                  <a:lnTo>
                    <a:pt x="2063" y="362"/>
                  </a:lnTo>
                  <a:lnTo>
                    <a:pt x="2063" y="358"/>
                  </a:lnTo>
                  <a:lnTo>
                    <a:pt x="2066" y="351"/>
                  </a:lnTo>
                  <a:lnTo>
                    <a:pt x="2066" y="348"/>
                  </a:lnTo>
                  <a:lnTo>
                    <a:pt x="2070" y="341"/>
                  </a:lnTo>
                  <a:lnTo>
                    <a:pt x="2070" y="337"/>
                  </a:lnTo>
                  <a:lnTo>
                    <a:pt x="2077" y="320"/>
                  </a:lnTo>
                  <a:lnTo>
                    <a:pt x="2080" y="306"/>
                  </a:lnTo>
                  <a:lnTo>
                    <a:pt x="2084" y="299"/>
                  </a:lnTo>
                  <a:lnTo>
                    <a:pt x="2087" y="285"/>
                  </a:lnTo>
                  <a:lnTo>
                    <a:pt x="2091" y="278"/>
                  </a:lnTo>
                  <a:lnTo>
                    <a:pt x="2094" y="264"/>
                  </a:lnTo>
                  <a:lnTo>
                    <a:pt x="2098" y="253"/>
                  </a:lnTo>
                  <a:lnTo>
                    <a:pt x="2101" y="243"/>
                  </a:lnTo>
                  <a:lnTo>
                    <a:pt x="2105" y="229"/>
                  </a:lnTo>
                  <a:lnTo>
                    <a:pt x="2108" y="215"/>
                  </a:lnTo>
                  <a:lnTo>
                    <a:pt x="2115" y="201"/>
                  </a:lnTo>
                  <a:lnTo>
                    <a:pt x="2115" y="197"/>
                  </a:lnTo>
                  <a:cubicBezTo>
                    <a:pt x="1964" y="140"/>
                    <a:pt x="1829" y="96"/>
                    <a:pt x="1712" y="96"/>
                  </a:cubicBezTo>
                  <a:cubicBezTo>
                    <a:pt x="1693" y="96"/>
                    <a:pt x="1674" y="97"/>
                    <a:pt x="1656" y="99"/>
                  </a:cubicBezTo>
                  <a:cubicBezTo>
                    <a:pt x="1579" y="110"/>
                    <a:pt x="1499" y="124"/>
                    <a:pt x="1422" y="141"/>
                  </a:cubicBezTo>
                  <a:cubicBezTo>
                    <a:pt x="1316" y="165"/>
                    <a:pt x="1212" y="188"/>
                    <a:pt x="1121" y="188"/>
                  </a:cubicBezTo>
                  <a:cubicBezTo>
                    <a:pt x="1025" y="188"/>
                    <a:pt x="944" y="163"/>
                    <a:pt x="890" y="85"/>
                  </a:cubicBezTo>
                  <a:cubicBezTo>
                    <a:pt x="865" y="43"/>
                    <a:pt x="823" y="12"/>
                    <a:pt x="774" y="1"/>
                  </a:cubicBezTo>
                  <a:cubicBezTo>
                    <a:pt x="769" y="1"/>
                    <a:pt x="764" y="0"/>
                    <a:pt x="758"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301" name="Google Shape;5301;p104"/>
            <p:cNvSpPr/>
            <p:nvPr/>
          </p:nvSpPr>
          <p:spPr>
            <a:xfrm>
              <a:off x="1636321" y="2024163"/>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302" name="Google Shape;5302;p104"/>
            <p:cNvSpPr/>
            <p:nvPr/>
          </p:nvSpPr>
          <p:spPr>
            <a:xfrm>
              <a:off x="1639185" y="2024448"/>
              <a:ext cx="149" cy="68"/>
            </a:xfrm>
            <a:custGeom>
              <a:avLst/>
              <a:gdLst/>
              <a:ahLst/>
              <a:cxnLst/>
              <a:rect l="l" t="t" r="r" b="b"/>
              <a:pathLst>
                <a:path w="11" h="5" extrusionOk="0">
                  <a:moveTo>
                    <a:pt x="11"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303" name="Google Shape;5303;p104"/>
            <p:cNvSpPr/>
            <p:nvPr/>
          </p:nvSpPr>
          <p:spPr>
            <a:xfrm>
              <a:off x="1636796" y="2024163"/>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304" name="Google Shape;5304;p104"/>
            <p:cNvSpPr/>
            <p:nvPr/>
          </p:nvSpPr>
          <p:spPr>
            <a:xfrm>
              <a:off x="1638900" y="2024312"/>
              <a:ext cx="149" cy="109"/>
            </a:xfrm>
            <a:custGeom>
              <a:avLst/>
              <a:gdLst/>
              <a:ahLst/>
              <a:cxnLst/>
              <a:rect l="l" t="t" r="r" b="b"/>
              <a:pathLst>
                <a:path w="11" h="8" extrusionOk="0">
                  <a:moveTo>
                    <a:pt x="11" y="7"/>
                  </a:moveTo>
                  <a:lnTo>
                    <a:pt x="0"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305" name="Google Shape;5305;p104"/>
            <p:cNvSpPr/>
            <p:nvPr/>
          </p:nvSpPr>
          <p:spPr>
            <a:xfrm>
              <a:off x="1626871" y="2029635"/>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306" name="Google Shape;5306;p104"/>
            <p:cNvSpPr/>
            <p:nvPr/>
          </p:nvSpPr>
          <p:spPr>
            <a:xfrm>
              <a:off x="1639471" y="2024598"/>
              <a:ext cx="149" cy="109"/>
            </a:xfrm>
            <a:custGeom>
              <a:avLst/>
              <a:gdLst/>
              <a:ahLst/>
              <a:cxnLst/>
              <a:rect l="l" t="t" r="r" b="b"/>
              <a:pathLst>
                <a:path w="11" h="8" extrusionOk="0">
                  <a:moveTo>
                    <a:pt x="11" y="7"/>
                  </a:moveTo>
                  <a:lnTo>
                    <a:pt x="0"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307" name="Google Shape;5307;p104"/>
            <p:cNvSpPr/>
            <p:nvPr/>
          </p:nvSpPr>
          <p:spPr>
            <a:xfrm>
              <a:off x="1627441" y="2029255"/>
              <a:ext cx="530" cy="339"/>
            </a:xfrm>
            <a:custGeom>
              <a:avLst/>
              <a:gdLst/>
              <a:ahLst/>
              <a:cxnLst/>
              <a:rect l="l" t="t" r="r" b="b"/>
              <a:pathLst>
                <a:path w="39" h="25" extrusionOk="0">
                  <a:moveTo>
                    <a:pt x="0" y="25"/>
                  </a:moveTo>
                  <a:cubicBezTo>
                    <a:pt x="4" y="25"/>
                    <a:pt x="11" y="21"/>
                    <a:pt x="18" y="18"/>
                  </a:cubicBezTo>
                  <a:cubicBezTo>
                    <a:pt x="25" y="14"/>
                    <a:pt x="32" y="7"/>
                    <a:pt x="39" y="0"/>
                  </a:cubicBezTo>
                  <a:cubicBezTo>
                    <a:pt x="32" y="7"/>
                    <a:pt x="25" y="14"/>
                    <a:pt x="18" y="18"/>
                  </a:cubicBezTo>
                  <a:cubicBezTo>
                    <a:pt x="11" y="21"/>
                    <a:pt x="4" y="25"/>
                    <a:pt x="0" y="25"/>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308" name="Google Shape;5308;p104"/>
            <p:cNvSpPr/>
            <p:nvPr/>
          </p:nvSpPr>
          <p:spPr>
            <a:xfrm>
              <a:off x="1627156" y="2029580"/>
              <a:ext cx="109" cy="14"/>
            </a:xfrm>
            <a:custGeom>
              <a:avLst/>
              <a:gdLst/>
              <a:ahLst/>
              <a:cxnLst/>
              <a:rect l="l" t="t" r="r" b="b"/>
              <a:pathLst>
                <a:path w="8" h="1" extrusionOk="0">
                  <a:moveTo>
                    <a:pt x="7"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309" name="Google Shape;5309;p104"/>
            <p:cNvSpPr/>
            <p:nvPr/>
          </p:nvSpPr>
          <p:spPr>
            <a:xfrm>
              <a:off x="1638561" y="2024258"/>
              <a:ext cx="163" cy="68"/>
            </a:xfrm>
            <a:custGeom>
              <a:avLst/>
              <a:gdLst/>
              <a:ahLst/>
              <a:cxnLst/>
              <a:rect l="l" t="t" r="r" b="b"/>
              <a:pathLst>
                <a:path w="12" h="5" extrusionOk="0">
                  <a:moveTo>
                    <a:pt x="11" y="4"/>
                  </a:moveTo>
                  <a:lnTo>
                    <a:pt x="1"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310" name="Google Shape;5310;p104"/>
            <p:cNvSpPr/>
            <p:nvPr/>
          </p:nvSpPr>
          <p:spPr>
            <a:xfrm>
              <a:off x="1637475" y="2024122"/>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311" name="Google Shape;5311;p104"/>
            <p:cNvSpPr/>
            <p:nvPr/>
          </p:nvSpPr>
          <p:spPr>
            <a:xfrm>
              <a:off x="1637230" y="2024122"/>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312" name="Google Shape;5312;p104"/>
            <p:cNvSpPr/>
            <p:nvPr/>
          </p:nvSpPr>
          <p:spPr>
            <a:xfrm>
              <a:off x="1638235" y="2024217"/>
              <a:ext cx="149" cy="14"/>
            </a:xfrm>
            <a:custGeom>
              <a:avLst/>
              <a:gdLst/>
              <a:ahLst/>
              <a:cxnLst/>
              <a:rect l="l" t="t" r="r" b="b"/>
              <a:pathLst>
                <a:path w="11" h="1" extrusionOk="0">
                  <a:moveTo>
                    <a:pt x="11"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313" name="Google Shape;5313;p104"/>
            <p:cNvSpPr/>
            <p:nvPr/>
          </p:nvSpPr>
          <p:spPr>
            <a:xfrm>
              <a:off x="1639756" y="2024788"/>
              <a:ext cx="109" cy="109"/>
            </a:xfrm>
            <a:custGeom>
              <a:avLst/>
              <a:gdLst/>
              <a:ahLst/>
              <a:cxnLst/>
              <a:rect l="l" t="t" r="r" b="b"/>
              <a:pathLst>
                <a:path w="8" h="8" extrusionOk="0">
                  <a:moveTo>
                    <a:pt x="0" y="0"/>
                  </a:moveTo>
                  <a:lnTo>
                    <a:pt x="7" y="7"/>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314" name="Google Shape;5314;p104"/>
            <p:cNvSpPr/>
            <p:nvPr/>
          </p:nvSpPr>
          <p:spPr>
            <a:xfrm>
              <a:off x="1637855" y="2024163"/>
              <a:ext cx="149" cy="14"/>
            </a:xfrm>
            <a:custGeom>
              <a:avLst/>
              <a:gdLst/>
              <a:ahLst/>
              <a:cxnLst/>
              <a:rect l="l" t="t" r="r" b="b"/>
              <a:pathLst>
                <a:path w="11" h="1" extrusionOk="0">
                  <a:moveTo>
                    <a:pt x="11"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315" name="Google Shape;5315;p104"/>
            <p:cNvSpPr/>
            <p:nvPr/>
          </p:nvSpPr>
          <p:spPr>
            <a:xfrm>
              <a:off x="1639946" y="2025018"/>
              <a:ext cx="149" cy="163"/>
            </a:xfrm>
            <a:custGeom>
              <a:avLst/>
              <a:gdLst/>
              <a:ahLst/>
              <a:cxnLst/>
              <a:rect l="l" t="t" r="r" b="b"/>
              <a:pathLst>
                <a:path w="11" h="12" extrusionOk="0">
                  <a:moveTo>
                    <a:pt x="11" y="1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316" name="Google Shape;5316;p104"/>
            <p:cNvSpPr/>
            <p:nvPr/>
          </p:nvSpPr>
          <p:spPr>
            <a:xfrm>
              <a:off x="1589940" y="1981910"/>
              <a:ext cx="32613" cy="51690"/>
            </a:xfrm>
            <a:custGeom>
              <a:avLst/>
              <a:gdLst/>
              <a:ahLst/>
              <a:cxnLst/>
              <a:rect l="l" t="t" r="r" b="b"/>
              <a:pathLst>
                <a:path w="2402" h="3807" extrusionOk="0">
                  <a:moveTo>
                    <a:pt x="791" y="1"/>
                  </a:moveTo>
                  <a:cubicBezTo>
                    <a:pt x="784" y="15"/>
                    <a:pt x="774" y="32"/>
                    <a:pt x="767" y="43"/>
                  </a:cubicBezTo>
                  <a:lnTo>
                    <a:pt x="756" y="57"/>
                  </a:lnTo>
                  <a:lnTo>
                    <a:pt x="739" y="85"/>
                  </a:lnTo>
                  <a:lnTo>
                    <a:pt x="728" y="99"/>
                  </a:lnTo>
                  <a:lnTo>
                    <a:pt x="711" y="123"/>
                  </a:lnTo>
                  <a:lnTo>
                    <a:pt x="700" y="137"/>
                  </a:lnTo>
                  <a:lnTo>
                    <a:pt x="683" y="158"/>
                  </a:lnTo>
                  <a:lnTo>
                    <a:pt x="672" y="169"/>
                  </a:lnTo>
                  <a:lnTo>
                    <a:pt x="655" y="186"/>
                  </a:lnTo>
                  <a:lnTo>
                    <a:pt x="644" y="197"/>
                  </a:lnTo>
                  <a:lnTo>
                    <a:pt x="627" y="211"/>
                  </a:lnTo>
                  <a:lnTo>
                    <a:pt x="620" y="218"/>
                  </a:lnTo>
                  <a:cubicBezTo>
                    <a:pt x="613" y="225"/>
                    <a:pt x="602" y="228"/>
                    <a:pt x="595" y="235"/>
                  </a:cubicBezTo>
                  <a:cubicBezTo>
                    <a:pt x="553" y="260"/>
                    <a:pt x="518" y="288"/>
                    <a:pt x="483" y="323"/>
                  </a:cubicBezTo>
                  <a:cubicBezTo>
                    <a:pt x="462" y="344"/>
                    <a:pt x="441" y="368"/>
                    <a:pt x="420" y="393"/>
                  </a:cubicBezTo>
                  <a:cubicBezTo>
                    <a:pt x="413" y="407"/>
                    <a:pt x="403" y="421"/>
                    <a:pt x="396" y="438"/>
                  </a:cubicBezTo>
                  <a:cubicBezTo>
                    <a:pt x="389" y="449"/>
                    <a:pt x="385" y="463"/>
                    <a:pt x="385" y="477"/>
                  </a:cubicBezTo>
                  <a:cubicBezTo>
                    <a:pt x="385" y="484"/>
                    <a:pt x="385" y="487"/>
                    <a:pt x="399" y="494"/>
                  </a:cubicBezTo>
                  <a:cubicBezTo>
                    <a:pt x="501" y="554"/>
                    <a:pt x="557" y="659"/>
                    <a:pt x="536" y="753"/>
                  </a:cubicBezTo>
                  <a:cubicBezTo>
                    <a:pt x="525" y="795"/>
                    <a:pt x="483" y="900"/>
                    <a:pt x="294" y="914"/>
                  </a:cubicBezTo>
                  <a:cubicBezTo>
                    <a:pt x="196" y="921"/>
                    <a:pt x="133" y="939"/>
                    <a:pt x="109" y="970"/>
                  </a:cubicBezTo>
                  <a:cubicBezTo>
                    <a:pt x="91" y="995"/>
                    <a:pt x="88" y="1030"/>
                    <a:pt x="98" y="1093"/>
                  </a:cubicBezTo>
                  <a:cubicBezTo>
                    <a:pt x="105" y="1166"/>
                    <a:pt x="81" y="1236"/>
                    <a:pt x="32" y="1289"/>
                  </a:cubicBezTo>
                  <a:cubicBezTo>
                    <a:pt x="18" y="1303"/>
                    <a:pt x="11" y="1317"/>
                    <a:pt x="0" y="1334"/>
                  </a:cubicBezTo>
                  <a:cubicBezTo>
                    <a:pt x="0" y="1334"/>
                    <a:pt x="7" y="1338"/>
                    <a:pt x="14" y="1348"/>
                  </a:cubicBezTo>
                  <a:cubicBezTo>
                    <a:pt x="25" y="1355"/>
                    <a:pt x="32" y="1362"/>
                    <a:pt x="42" y="1369"/>
                  </a:cubicBezTo>
                  <a:lnTo>
                    <a:pt x="49" y="1380"/>
                  </a:lnTo>
                  <a:lnTo>
                    <a:pt x="70" y="1401"/>
                  </a:lnTo>
                  <a:lnTo>
                    <a:pt x="84" y="1418"/>
                  </a:lnTo>
                  <a:lnTo>
                    <a:pt x="109" y="1443"/>
                  </a:lnTo>
                  <a:lnTo>
                    <a:pt x="123" y="1460"/>
                  </a:lnTo>
                  <a:lnTo>
                    <a:pt x="147" y="1492"/>
                  </a:lnTo>
                  <a:lnTo>
                    <a:pt x="165" y="1513"/>
                  </a:lnTo>
                  <a:lnTo>
                    <a:pt x="193" y="1548"/>
                  </a:lnTo>
                  <a:lnTo>
                    <a:pt x="214" y="1572"/>
                  </a:lnTo>
                  <a:lnTo>
                    <a:pt x="245" y="1615"/>
                  </a:lnTo>
                  <a:lnTo>
                    <a:pt x="266" y="1643"/>
                  </a:lnTo>
                  <a:lnTo>
                    <a:pt x="305" y="1692"/>
                  </a:lnTo>
                  <a:lnTo>
                    <a:pt x="322" y="1716"/>
                  </a:lnTo>
                  <a:lnTo>
                    <a:pt x="329" y="1727"/>
                  </a:lnTo>
                  <a:lnTo>
                    <a:pt x="336" y="1723"/>
                  </a:lnTo>
                  <a:lnTo>
                    <a:pt x="343" y="1713"/>
                  </a:lnTo>
                  <a:cubicBezTo>
                    <a:pt x="382" y="1678"/>
                    <a:pt x="434" y="1657"/>
                    <a:pt x="490" y="1657"/>
                  </a:cubicBezTo>
                  <a:lnTo>
                    <a:pt x="497" y="1657"/>
                  </a:lnTo>
                  <a:cubicBezTo>
                    <a:pt x="508" y="1657"/>
                    <a:pt x="522" y="1660"/>
                    <a:pt x="536" y="1660"/>
                  </a:cubicBezTo>
                  <a:cubicBezTo>
                    <a:pt x="658" y="1678"/>
                    <a:pt x="700" y="1762"/>
                    <a:pt x="714" y="1842"/>
                  </a:cubicBezTo>
                  <a:cubicBezTo>
                    <a:pt x="718" y="1860"/>
                    <a:pt x="721" y="1874"/>
                    <a:pt x="721" y="1888"/>
                  </a:cubicBezTo>
                  <a:cubicBezTo>
                    <a:pt x="725" y="1909"/>
                    <a:pt x="725" y="1930"/>
                    <a:pt x="725" y="1951"/>
                  </a:cubicBezTo>
                  <a:cubicBezTo>
                    <a:pt x="732" y="2045"/>
                    <a:pt x="739" y="2105"/>
                    <a:pt x="784" y="2126"/>
                  </a:cubicBezTo>
                  <a:cubicBezTo>
                    <a:pt x="886" y="2175"/>
                    <a:pt x="952" y="2273"/>
                    <a:pt x="963" y="2388"/>
                  </a:cubicBezTo>
                  <a:cubicBezTo>
                    <a:pt x="977" y="2504"/>
                    <a:pt x="935" y="2619"/>
                    <a:pt x="844" y="2696"/>
                  </a:cubicBezTo>
                  <a:cubicBezTo>
                    <a:pt x="840" y="2700"/>
                    <a:pt x="837" y="2703"/>
                    <a:pt x="833" y="2707"/>
                  </a:cubicBezTo>
                  <a:cubicBezTo>
                    <a:pt x="795" y="2766"/>
                    <a:pt x="774" y="2840"/>
                    <a:pt x="770" y="2913"/>
                  </a:cubicBezTo>
                  <a:cubicBezTo>
                    <a:pt x="753" y="3102"/>
                    <a:pt x="795" y="3375"/>
                    <a:pt x="970" y="3568"/>
                  </a:cubicBezTo>
                  <a:cubicBezTo>
                    <a:pt x="1159" y="3778"/>
                    <a:pt x="1299" y="3806"/>
                    <a:pt x="1365" y="3806"/>
                  </a:cubicBezTo>
                  <a:cubicBezTo>
                    <a:pt x="1401" y="3806"/>
                    <a:pt x="1436" y="3792"/>
                    <a:pt x="1460" y="3768"/>
                  </a:cubicBezTo>
                  <a:cubicBezTo>
                    <a:pt x="1506" y="3712"/>
                    <a:pt x="1586" y="3705"/>
                    <a:pt x="1660" y="3698"/>
                  </a:cubicBezTo>
                  <a:cubicBezTo>
                    <a:pt x="1737" y="3694"/>
                    <a:pt x="1796" y="3687"/>
                    <a:pt x="1814" y="3648"/>
                  </a:cubicBezTo>
                  <a:cubicBezTo>
                    <a:pt x="1838" y="3591"/>
                    <a:pt x="1897" y="3551"/>
                    <a:pt x="1958" y="3551"/>
                  </a:cubicBezTo>
                  <a:cubicBezTo>
                    <a:pt x="1967" y="3551"/>
                    <a:pt x="1976" y="3552"/>
                    <a:pt x="1985" y="3554"/>
                  </a:cubicBezTo>
                  <a:cubicBezTo>
                    <a:pt x="1991" y="3555"/>
                    <a:pt x="1997" y="3555"/>
                    <a:pt x="2003" y="3555"/>
                  </a:cubicBezTo>
                  <a:cubicBezTo>
                    <a:pt x="2042" y="3555"/>
                    <a:pt x="2079" y="3535"/>
                    <a:pt x="2101" y="3501"/>
                  </a:cubicBezTo>
                  <a:cubicBezTo>
                    <a:pt x="2111" y="3494"/>
                    <a:pt x="2118" y="3487"/>
                    <a:pt x="2129" y="3480"/>
                  </a:cubicBezTo>
                  <a:lnTo>
                    <a:pt x="2136" y="3473"/>
                  </a:lnTo>
                  <a:cubicBezTo>
                    <a:pt x="2143" y="3470"/>
                    <a:pt x="2153" y="3463"/>
                    <a:pt x="2160" y="3459"/>
                  </a:cubicBezTo>
                  <a:lnTo>
                    <a:pt x="2164" y="3456"/>
                  </a:lnTo>
                  <a:cubicBezTo>
                    <a:pt x="2174" y="3452"/>
                    <a:pt x="2185" y="3449"/>
                    <a:pt x="2195" y="3445"/>
                  </a:cubicBezTo>
                  <a:lnTo>
                    <a:pt x="2206" y="3442"/>
                  </a:lnTo>
                  <a:lnTo>
                    <a:pt x="2230" y="3438"/>
                  </a:lnTo>
                  <a:lnTo>
                    <a:pt x="2237" y="3438"/>
                  </a:lnTo>
                  <a:cubicBezTo>
                    <a:pt x="2248" y="3438"/>
                    <a:pt x="2258" y="3438"/>
                    <a:pt x="2269" y="3435"/>
                  </a:cubicBezTo>
                  <a:lnTo>
                    <a:pt x="2335" y="3435"/>
                  </a:lnTo>
                  <a:lnTo>
                    <a:pt x="2381" y="3442"/>
                  </a:lnTo>
                  <a:lnTo>
                    <a:pt x="2388" y="3442"/>
                  </a:lnTo>
                  <a:lnTo>
                    <a:pt x="2402" y="3445"/>
                  </a:lnTo>
                  <a:lnTo>
                    <a:pt x="2395" y="3428"/>
                  </a:lnTo>
                  <a:lnTo>
                    <a:pt x="2370" y="3386"/>
                  </a:lnTo>
                  <a:lnTo>
                    <a:pt x="2360" y="3368"/>
                  </a:lnTo>
                  <a:lnTo>
                    <a:pt x="2328" y="3312"/>
                  </a:lnTo>
                  <a:lnTo>
                    <a:pt x="2318" y="3295"/>
                  </a:lnTo>
                  <a:lnTo>
                    <a:pt x="2290" y="3239"/>
                  </a:lnTo>
                  <a:lnTo>
                    <a:pt x="2286" y="3232"/>
                  </a:lnTo>
                  <a:lnTo>
                    <a:pt x="2255" y="3176"/>
                  </a:lnTo>
                  <a:lnTo>
                    <a:pt x="2248" y="3162"/>
                  </a:lnTo>
                  <a:lnTo>
                    <a:pt x="2220" y="3109"/>
                  </a:lnTo>
                  <a:lnTo>
                    <a:pt x="2216" y="3099"/>
                  </a:lnTo>
                  <a:lnTo>
                    <a:pt x="2195" y="3057"/>
                  </a:lnTo>
                  <a:lnTo>
                    <a:pt x="2192" y="3046"/>
                  </a:lnTo>
                  <a:cubicBezTo>
                    <a:pt x="2181" y="3032"/>
                    <a:pt x="2178" y="3015"/>
                    <a:pt x="2171" y="3004"/>
                  </a:cubicBezTo>
                  <a:lnTo>
                    <a:pt x="2167" y="2994"/>
                  </a:lnTo>
                  <a:cubicBezTo>
                    <a:pt x="2160" y="2980"/>
                    <a:pt x="2153" y="2966"/>
                    <a:pt x="2150" y="2955"/>
                  </a:cubicBezTo>
                  <a:cubicBezTo>
                    <a:pt x="2118" y="2868"/>
                    <a:pt x="2003" y="2763"/>
                    <a:pt x="1898" y="2672"/>
                  </a:cubicBezTo>
                  <a:cubicBezTo>
                    <a:pt x="1775" y="2560"/>
                    <a:pt x="1684" y="2479"/>
                    <a:pt x="1681" y="2399"/>
                  </a:cubicBezTo>
                  <a:cubicBezTo>
                    <a:pt x="1681" y="2367"/>
                    <a:pt x="1691" y="2336"/>
                    <a:pt x="1716" y="2315"/>
                  </a:cubicBezTo>
                  <a:cubicBezTo>
                    <a:pt x="1740" y="2290"/>
                    <a:pt x="1758" y="2206"/>
                    <a:pt x="1772" y="2136"/>
                  </a:cubicBezTo>
                  <a:cubicBezTo>
                    <a:pt x="1800" y="2000"/>
                    <a:pt x="1831" y="1842"/>
                    <a:pt x="1968" y="1825"/>
                  </a:cubicBezTo>
                  <a:cubicBezTo>
                    <a:pt x="2073" y="1814"/>
                    <a:pt x="2157" y="1776"/>
                    <a:pt x="2178" y="1734"/>
                  </a:cubicBezTo>
                  <a:cubicBezTo>
                    <a:pt x="2188" y="1713"/>
                    <a:pt x="2188" y="1685"/>
                    <a:pt x="2174" y="1664"/>
                  </a:cubicBezTo>
                  <a:lnTo>
                    <a:pt x="2174" y="1660"/>
                  </a:lnTo>
                  <a:cubicBezTo>
                    <a:pt x="2167" y="1650"/>
                    <a:pt x="2164" y="1639"/>
                    <a:pt x="2160" y="1629"/>
                  </a:cubicBezTo>
                  <a:cubicBezTo>
                    <a:pt x="2160" y="1622"/>
                    <a:pt x="2160" y="1618"/>
                    <a:pt x="2157" y="1611"/>
                  </a:cubicBezTo>
                  <a:cubicBezTo>
                    <a:pt x="2157" y="1604"/>
                    <a:pt x="2157" y="1597"/>
                    <a:pt x="2153" y="1586"/>
                  </a:cubicBezTo>
                  <a:lnTo>
                    <a:pt x="2153" y="1569"/>
                  </a:lnTo>
                  <a:lnTo>
                    <a:pt x="2153" y="1544"/>
                  </a:lnTo>
                  <a:lnTo>
                    <a:pt x="2153" y="1527"/>
                  </a:lnTo>
                  <a:cubicBezTo>
                    <a:pt x="2153" y="1520"/>
                    <a:pt x="2153" y="1509"/>
                    <a:pt x="2157" y="1502"/>
                  </a:cubicBezTo>
                  <a:cubicBezTo>
                    <a:pt x="2160" y="1492"/>
                    <a:pt x="2160" y="1488"/>
                    <a:pt x="2164" y="1481"/>
                  </a:cubicBezTo>
                  <a:cubicBezTo>
                    <a:pt x="2164" y="1474"/>
                    <a:pt x="2167" y="1464"/>
                    <a:pt x="2167" y="1453"/>
                  </a:cubicBezTo>
                  <a:lnTo>
                    <a:pt x="2174" y="1432"/>
                  </a:lnTo>
                  <a:cubicBezTo>
                    <a:pt x="2178" y="1422"/>
                    <a:pt x="2178" y="1415"/>
                    <a:pt x="2181" y="1404"/>
                  </a:cubicBezTo>
                  <a:lnTo>
                    <a:pt x="2188" y="1383"/>
                  </a:lnTo>
                  <a:lnTo>
                    <a:pt x="2199" y="1352"/>
                  </a:lnTo>
                  <a:lnTo>
                    <a:pt x="2206" y="1331"/>
                  </a:lnTo>
                  <a:lnTo>
                    <a:pt x="2209" y="1324"/>
                  </a:lnTo>
                  <a:cubicBezTo>
                    <a:pt x="2132" y="1278"/>
                    <a:pt x="2055" y="1184"/>
                    <a:pt x="1978" y="1089"/>
                  </a:cubicBezTo>
                  <a:cubicBezTo>
                    <a:pt x="1919" y="1019"/>
                    <a:pt x="1824" y="900"/>
                    <a:pt x="1789" y="897"/>
                  </a:cubicBezTo>
                  <a:cubicBezTo>
                    <a:pt x="1684" y="897"/>
                    <a:pt x="1583" y="851"/>
                    <a:pt x="1516" y="771"/>
                  </a:cubicBezTo>
                  <a:cubicBezTo>
                    <a:pt x="1450" y="694"/>
                    <a:pt x="1425" y="592"/>
                    <a:pt x="1446" y="494"/>
                  </a:cubicBezTo>
                  <a:cubicBezTo>
                    <a:pt x="1457" y="428"/>
                    <a:pt x="1394" y="389"/>
                    <a:pt x="1246" y="316"/>
                  </a:cubicBezTo>
                  <a:cubicBezTo>
                    <a:pt x="1120" y="260"/>
                    <a:pt x="1008" y="183"/>
                    <a:pt x="914" y="88"/>
                  </a:cubicBezTo>
                  <a:cubicBezTo>
                    <a:pt x="879" y="50"/>
                    <a:pt x="837" y="22"/>
                    <a:pt x="791" y="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317" name="Google Shape;5317;p104"/>
            <p:cNvSpPr/>
            <p:nvPr/>
          </p:nvSpPr>
          <p:spPr>
            <a:xfrm>
              <a:off x="1596688" y="2004394"/>
              <a:ext cx="584" cy="54"/>
            </a:xfrm>
            <a:custGeom>
              <a:avLst/>
              <a:gdLst/>
              <a:ahLst/>
              <a:cxnLst/>
              <a:rect l="l" t="t" r="r" b="b"/>
              <a:pathLst>
                <a:path w="43" h="4" extrusionOk="0">
                  <a:moveTo>
                    <a:pt x="0" y="1"/>
                  </a:moveTo>
                  <a:cubicBezTo>
                    <a:pt x="14" y="1"/>
                    <a:pt x="28" y="1"/>
                    <a:pt x="42" y="4"/>
                  </a:cubicBezTo>
                  <a:cubicBezTo>
                    <a:pt x="28" y="1"/>
                    <a:pt x="14" y="1"/>
                    <a:pt x="0" y="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318" name="Google Shape;5318;p104"/>
            <p:cNvSpPr/>
            <p:nvPr/>
          </p:nvSpPr>
          <p:spPr>
            <a:xfrm>
              <a:off x="1594502" y="2005155"/>
              <a:ext cx="109" cy="163"/>
            </a:xfrm>
            <a:custGeom>
              <a:avLst/>
              <a:gdLst/>
              <a:ahLst/>
              <a:cxnLst/>
              <a:rect l="l" t="t" r="r" b="b"/>
              <a:pathLst>
                <a:path w="8" h="12" extrusionOk="0">
                  <a:moveTo>
                    <a:pt x="0" y="11"/>
                  </a:moveTo>
                  <a:lnTo>
                    <a:pt x="7"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319" name="Google Shape;5319;p104"/>
            <p:cNvSpPr/>
            <p:nvPr/>
          </p:nvSpPr>
          <p:spPr>
            <a:xfrm>
              <a:off x="1621019" y="2028494"/>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320" name="Google Shape;5320;p104"/>
            <p:cNvSpPr/>
            <p:nvPr/>
          </p:nvSpPr>
          <p:spPr>
            <a:xfrm>
              <a:off x="1594638" y="2004394"/>
              <a:ext cx="1969" cy="774"/>
            </a:xfrm>
            <a:custGeom>
              <a:avLst/>
              <a:gdLst/>
              <a:ahLst/>
              <a:cxnLst/>
              <a:rect l="l" t="t" r="r" b="b"/>
              <a:pathLst>
                <a:path w="145" h="57" extrusionOk="0">
                  <a:moveTo>
                    <a:pt x="144" y="1"/>
                  </a:moveTo>
                  <a:cubicBezTo>
                    <a:pt x="92" y="1"/>
                    <a:pt x="39" y="18"/>
                    <a:pt x="1" y="57"/>
                  </a:cubicBezTo>
                  <a:cubicBezTo>
                    <a:pt x="39" y="18"/>
                    <a:pt x="92" y="1"/>
                    <a:pt x="144" y="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321" name="Google Shape;5321;p104"/>
            <p:cNvSpPr/>
            <p:nvPr/>
          </p:nvSpPr>
          <p:spPr>
            <a:xfrm>
              <a:off x="1621494" y="2028535"/>
              <a:ext cx="204" cy="14"/>
            </a:xfrm>
            <a:custGeom>
              <a:avLst/>
              <a:gdLst/>
              <a:ahLst/>
              <a:cxnLst/>
              <a:rect l="l" t="t" r="r" b="b"/>
              <a:pathLst>
                <a:path w="15" h="1" extrusionOk="0">
                  <a:moveTo>
                    <a:pt x="15"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322" name="Google Shape;5322;p104"/>
            <p:cNvSpPr/>
            <p:nvPr/>
          </p:nvSpPr>
          <p:spPr>
            <a:xfrm>
              <a:off x="1619878" y="2028589"/>
              <a:ext cx="353" cy="54"/>
            </a:xfrm>
            <a:custGeom>
              <a:avLst/>
              <a:gdLst/>
              <a:ahLst/>
              <a:cxnLst/>
              <a:rect l="l" t="t" r="r" b="b"/>
              <a:pathLst>
                <a:path w="26" h="4" extrusionOk="0">
                  <a:moveTo>
                    <a:pt x="25" y="0"/>
                  </a:moveTo>
                  <a:lnTo>
                    <a:pt x="1" y="4"/>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323" name="Google Shape;5323;p104"/>
            <p:cNvSpPr/>
            <p:nvPr/>
          </p:nvSpPr>
          <p:spPr>
            <a:xfrm>
              <a:off x="1619362" y="2028684"/>
              <a:ext cx="434" cy="149"/>
            </a:xfrm>
            <a:custGeom>
              <a:avLst/>
              <a:gdLst/>
              <a:ahLst/>
              <a:cxnLst/>
              <a:rect l="l" t="t" r="r" b="b"/>
              <a:pathLst>
                <a:path w="32" h="11" extrusionOk="0">
                  <a:moveTo>
                    <a:pt x="32" y="0"/>
                  </a:moveTo>
                  <a:cubicBezTo>
                    <a:pt x="21" y="4"/>
                    <a:pt x="11" y="7"/>
                    <a:pt x="0" y="11"/>
                  </a:cubicBezTo>
                  <a:cubicBezTo>
                    <a:pt x="11" y="7"/>
                    <a:pt x="21" y="4"/>
                    <a:pt x="32"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324" name="Google Shape;5324;p104"/>
            <p:cNvSpPr/>
            <p:nvPr/>
          </p:nvSpPr>
          <p:spPr>
            <a:xfrm>
              <a:off x="1620353" y="2028494"/>
              <a:ext cx="448" cy="54"/>
            </a:xfrm>
            <a:custGeom>
              <a:avLst/>
              <a:gdLst/>
              <a:ahLst/>
              <a:cxnLst/>
              <a:rect l="l" t="t" r="r" b="b"/>
              <a:pathLst>
                <a:path w="33" h="4" extrusionOk="0">
                  <a:moveTo>
                    <a:pt x="32" y="0"/>
                  </a:moveTo>
                  <a:cubicBezTo>
                    <a:pt x="22" y="0"/>
                    <a:pt x="11" y="0"/>
                    <a:pt x="1" y="4"/>
                  </a:cubicBezTo>
                  <a:cubicBezTo>
                    <a:pt x="11" y="4"/>
                    <a:pt x="22" y="4"/>
                    <a:pt x="32"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325" name="Google Shape;5325;p104"/>
            <p:cNvSpPr/>
            <p:nvPr/>
          </p:nvSpPr>
          <p:spPr>
            <a:xfrm>
              <a:off x="1618507" y="2029160"/>
              <a:ext cx="394" cy="299"/>
            </a:xfrm>
            <a:custGeom>
              <a:avLst/>
              <a:gdLst/>
              <a:ahLst/>
              <a:cxnLst/>
              <a:rect l="l" t="t" r="r" b="b"/>
              <a:pathLst>
                <a:path w="29" h="22" extrusionOk="0">
                  <a:moveTo>
                    <a:pt x="28" y="0"/>
                  </a:moveTo>
                  <a:cubicBezTo>
                    <a:pt x="18" y="7"/>
                    <a:pt x="7" y="14"/>
                    <a:pt x="0" y="21"/>
                  </a:cubicBezTo>
                  <a:cubicBezTo>
                    <a:pt x="7" y="14"/>
                    <a:pt x="18" y="7"/>
                    <a:pt x="28"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326" name="Google Shape;5326;p104"/>
            <p:cNvSpPr/>
            <p:nvPr/>
          </p:nvSpPr>
          <p:spPr>
            <a:xfrm>
              <a:off x="1618928" y="2028874"/>
              <a:ext cx="353" cy="204"/>
            </a:xfrm>
            <a:custGeom>
              <a:avLst/>
              <a:gdLst/>
              <a:ahLst/>
              <a:cxnLst/>
              <a:rect l="l" t="t" r="r" b="b"/>
              <a:pathLst>
                <a:path w="26" h="15" extrusionOk="0">
                  <a:moveTo>
                    <a:pt x="25" y="0"/>
                  </a:moveTo>
                  <a:cubicBezTo>
                    <a:pt x="18" y="4"/>
                    <a:pt x="8" y="7"/>
                    <a:pt x="1" y="14"/>
                  </a:cubicBezTo>
                  <a:cubicBezTo>
                    <a:pt x="8" y="7"/>
                    <a:pt x="18" y="4"/>
                    <a:pt x="25"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327" name="Google Shape;5327;p104"/>
            <p:cNvSpPr/>
            <p:nvPr/>
          </p:nvSpPr>
          <p:spPr>
            <a:xfrm>
              <a:off x="1622254" y="2028630"/>
              <a:ext cx="109" cy="14"/>
            </a:xfrm>
            <a:custGeom>
              <a:avLst/>
              <a:gdLst/>
              <a:ahLst/>
              <a:cxnLst/>
              <a:rect l="l" t="t" r="r" b="b"/>
              <a:pathLst>
                <a:path w="8" h="1" extrusionOk="0">
                  <a:moveTo>
                    <a:pt x="8"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328" name="Google Shape;5328;p104"/>
            <p:cNvSpPr/>
            <p:nvPr/>
          </p:nvSpPr>
          <p:spPr>
            <a:xfrm>
              <a:off x="1599444" y="1983621"/>
              <a:ext cx="149" cy="204"/>
            </a:xfrm>
            <a:custGeom>
              <a:avLst/>
              <a:gdLst/>
              <a:ahLst/>
              <a:cxnLst/>
              <a:rect l="l" t="t" r="r" b="b"/>
              <a:pathLst>
                <a:path w="11" h="15" extrusionOk="0">
                  <a:moveTo>
                    <a:pt x="0" y="15"/>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329" name="Google Shape;5329;p104"/>
            <p:cNvSpPr/>
            <p:nvPr/>
          </p:nvSpPr>
          <p:spPr>
            <a:xfrm>
              <a:off x="1591365" y="2001489"/>
              <a:ext cx="244" cy="299"/>
            </a:xfrm>
            <a:custGeom>
              <a:avLst/>
              <a:gdLst/>
              <a:ahLst/>
              <a:cxnLst/>
              <a:rect l="l" t="t" r="r" b="b"/>
              <a:pathLst>
                <a:path w="18" h="22" extrusionOk="0">
                  <a:moveTo>
                    <a:pt x="18" y="22"/>
                  </a:moveTo>
                  <a:lnTo>
                    <a:pt x="0"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330" name="Google Shape;5330;p104"/>
            <p:cNvSpPr/>
            <p:nvPr/>
          </p:nvSpPr>
          <p:spPr>
            <a:xfrm>
              <a:off x="1594067" y="2004869"/>
              <a:ext cx="258" cy="394"/>
            </a:xfrm>
            <a:custGeom>
              <a:avLst/>
              <a:gdLst/>
              <a:ahLst/>
              <a:cxnLst/>
              <a:rect l="l" t="t" r="r" b="b"/>
              <a:pathLst>
                <a:path w="19" h="29" extrusionOk="0">
                  <a:moveTo>
                    <a:pt x="18" y="29"/>
                  </a:moveTo>
                  <a:lnTo>
                    <a:pt x="1"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331" name="Google Shape;5331;p104"/>
            <p:cNvSpPr/>
            <p:nvPr/>
          </p:nvSpPr>
          <p:spPr>
            <a:xfrm>
              <a:off x="1599064" y="1984055"/>
              <a:ext cx="149" cy="204"/>
            </a:xfrm>
            <a:custGeom>
              <a:avLst/>
              <a:gdLst/>
              <a:ahLst/>
              <a:cxnLst/>
              <a:rect l="l" t="t" r="r" b="b"/>
              <a:pathLst>
                <a:path w="11" h="15" extrusionOk="0">
                  <a:moveTo>
                    <a:pt x="0" y="14"/>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332" name="Google Shape;5332;p104"/>
            <p:cNvSpPr/>
            <p:nvPr/>
          </p:nvSpPr>
          <p:spPr>
            <a:xfrm>
              <a:off x="1599824" y="1983105"/>
              <a:ext cx="149" cy="204"/>
            </a:xfrm>
            <a:custGeom>
              <a:avLst/>
              <a:gdLst/>
              <a:ahLst/>
              <a:cxnLst/>
              <a:rect l="l" t="t" r="r" b="b"/>
              <a:pathLst>
                <a:path w="11" h="15" extrusionOk="0">
                  <a:moveTo>
                    <a:pt x="0" y="14"/>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333" name="Google Shape;5333;p104"/>
            <p:cNvSpPr/>
            <p:nvPr/>
          </p:nvSpPr>
          <p:spPr>
            <a:xfrm>
              <a:off x="1593266" y="2003824"/>
              <a:ext cx="299" cy="394"/>
            </a:xfrm>
            <a:custGeom>
              <a:avLst/>
              <a:gdLst/>
              <a:ahLst/>
              <a:cxnLst/>
              <a:rect l="l" t="t" r="r" b="b"/>
              <a:pathLst>
                <a:path w="22" h="29" extrusionOk="0">
                  <a:moveTo>
                    <a:pt x="21" y="29"/>
                  </a:moveTo>
                  <a:lnTo>
                    <a:pt x="0"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334" name="Google Shape;5334;p104"/>
            <p:cNvSpPr/>
            <p:nvPr/>
          </p:nvSpPr>
          <p:spPr>
            <a:xfrm>
              <a:off x="1591936" y="2002154"/>
              <a:ext cx="244" cy="299"/>
            </a:xfrm>
            <a:custGeom>
              <a:avLst/>
              <a:gdLst/>
              <a:ahLst/>
              <a:cxnLst/>
              <a:rect l="l" t="t" r="r" b="b"/>
              <a:pathLst>
                <a:path w="18" h="22" extrusionOk="0">
                  <a:moveTo>
                    <a:pt x="18" y="22"/>
                  </a:moveTo>
                  <a:lnTo>
                    <a:pt x="0"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335" name="Google Shape;5335;p104"/>
            <p:cNvSpPr/>
            <p:nvPr/>
          </p:nvSpPr>
          <p:spPr>
            <a:xfrm>
              <a:off x="1590890" y="2000973"/>
              <a:ext cx="204" cy="204"/>
            </a:xfrm>
            <a:custGeom>
              <a:avLst/>
              <a:gdLst/>
              <a:ahLst/>
              <a:cxnLst/>
              <a:rect l="l" t="t" r="r" b="b"/>
              <a:pathLst>
                <a:path w="15" h="15" extrusionOk="0">
                  <a:moveTo>
                    <a:pt x="14" y="1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336" name="Google Shape;5336;p104"/>
            <p:cNvSpPr/>
            <p:nvPr/>
          </p:nvSpPr>
          <p:spPr>
            <a:xfrm>
              <a:off x="1598344" y="1984815"/>
              <a:ext cx="109" cy="109"/>
            </a:xfrm>
            <a:custGeom>
              <a:avLst/>
              <a:gdLst/>
              <a:ahLst/>
              <a:cxnLst/>
              <a:rect l="l" t="t" r="r" b="b"/>
              <a:pathLst>
                <a:path w="8" h="8" extrusionOk="0">
                  <a:moveTo>
                    <a:pt x="1" y="7"/>
                  </a:moveTo>
                  <a:lnTo>
                    <a:pt x="8"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337" name="Google Shape;5337;p104"/>
            <p:cNvSpPr/>
            <p:nvPr/>
          </p:nvSpPr>
          <p:spPr>
            <a:xfrm>
              <a:off x="1592547" y="2002914"/>
              <a:ext cx="299" cy="394"/>
            </a:xfrm>
            <a:custGeom>
              <a:avLst/>
              <a:gdLst/>
              <a:ahLst/>
              <a:cxnLst/>
              <a:rect l="l" t="t" r="r" b="b"/>
              <a:pathLst>
                <a:path w="22" h="29" extrusionOk="0">
                  <a:moveTo>
                    <a:pt x="22" y="29"/>
                  </a:moveTo>
                  <a:lnTo>
                    <a:pt x="1"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338" name="Google Shape;5338;p104"/>
            <p:cNvSpPr/>
            <p:nvPr/>
          </p:nvSpPr>
          <p:spPr>
            <a:xfrm>
              <a:off x="1595303" y="1987287"/>
              <a:ext cx="353" cy="584"/>
            </a:xfrm>
            <a:custGeom>
              <a:avLst/>
              <a:gdLst/>
              <a:ahLst/>
              <a:cxnLst/>
              <a:rect l="l" t="t" r="r" b="b"/>
              <a:pathLst>
                <a:path w="26" h="43" extrusionOk="0">
                  <a:moveTo>
                    <a:pt x="1" y="42"/>
                  </a:moveTo>
                  <a:cubicBezTo>
                    <a:pt x="8" y="28"/>
                    <a:pt x="15" y="11"/>
                    <a:pt x="25" y="0"/>
                  </a:cubicBezTo>
                  <a:cubicBezTo>
                    <a:pt x="15" y="11"/>
                    <a:pt x="8" y="28"/>
                    <a:pt x="1" y="42"/>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339" name="Google Shape;5339;p104"/>
            <p:cNvSpPr/>
            <p:nvPr/>
          </p:nvSpPr>
          <p:spPr>
            <a:xfrm>
              <a:off x="1600245" y="1982534"/>
              <a:ext cx="109" cy="204"/>
            </a:xfrm>
            <a:custGeom>
              <a:avLst/>
              <a:gdLst/>
              <a:ahLst/>
              <a:cxnLst/>
              <a:rect l="l" t="t" r="r" b="b"/>
              <a:pathLst>
                <a:path w="8" h="15" extrusionOk="0">
                  <a:moveTo>
                    <a:pt x="1" y="14"/>
                  </a:moveTo>
                  <a:lnTo>
                    <a:pt x="8"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340" name="Google Shape;5340;p104"/>
            <p:cNvSpPr/>
            <p:nvPr/>
          </p:nvSpPr>
          <p:spPr>
            <a:xfrm>
              <a:off x="1598684" y="1984476"/>
              <a:ext cx="149" cy="163"/>
            </a:xfrm>
            <a:custGeom>
              <a:avLst/>
              <a:gdLst/>
              <a:ahLst/>
              <a:cxnLst/>
              <a:rect l="l" t="t" r="r" b="b"/>
              <a:pathLst>
                <a:path w="11" h="12" extrusionOk="0">
                  <a:moveTo>
                    <a:pt x="11" y="1"/>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341" name="Google Shape;5341;p104"/>
            <p:cNvSpPr/>
            <p:nvPr/>
          </p:nvSpPr>
          <p:spPr>
            <a:xfrm>
              <a:off x="1596498" y="1985101"/>
              <a:ext cx="1534" cy="1195"/>
            </a:xfrm>
            <a:custGeom>
              <a:avLst/>
              <a:gdLst/>
              <a:ahLst/>
              <a:cxnLst/>
              <a:rect l="l" t="t" r="r" b="b"/>
              <a:pathLst>
                <a:path w="113" h="88" extrusionOk="0">
                  <a:moveTo>
                    <a:pt x="112" y="0"/>
                  </a:moveTo>
                  <a:lnTo>
                    <a:pt x="112" y="0"/>
                  </a:lnTo>
                  <a:cubicBezTo>
                    <a:pt x="74" y="25"/>
                    <a:pt x="35" y="56"/>
                    <a:pt x="0" y="88"/>
                  </a:cubicBezTo>
                  <a:cubicBezTo>
                    <a:pt x="35" y="56"/>
                    <a:pt x="74" y="25"/>
                    <a:pt x="112"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342" name="Google Shape;5342;p104"/>
            <p:cNvSpPr/>
            <p:nvPr/>
          </p:nvSpPr>
          <p:spPr>
            <a:xfrm>
              <a:off x="1590456" y="2000538"/>
              <a:ext cx="163" cy="109"/>
            </a:xfrm>
            <a:custGeom>
              <a:avLst/>
              <a:gdLst/>
              <a:ahLst/>
              <a:cxnLst/>
              <a:rect l="l" t="t" r="r" b="b"/>
              <a:pathLst>
                <a:path w="12" h="8" extrusionOk="0">
                  <a:moveTo>
                    <a:pt x="1" y="1"/>
                  </a:moveTo>
                  <a:lnTo>
                    <a:pt x="11" y="8"/>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343" name="Google Shape;5343;p104"/>
            <p:cNvSpPr/>
            <p:nvPr/>
          </p:nvSpPr>
          <p:spPr>
            <a:xfrm>
              <a:off x="1619783" y="1999968"/>
              <a:ext cx="109" cy="353"/>
            </a:xfrm>
            <a:custGeom>
              <a:avLst/>
              <a:gdLst/>
              <a:ahLst/>
              <a:cxnLst/>
              <a:rect l="l" t="t" r="r" b="b"/>
              <a:pathLst>
                <a:path w="8" h="26" extrusionOk="0">
                  <a:moveTo>
                    <a:pt x="8" y="1"/>
                  </a:moveTo>
                  <a:lnTo>
                    <a:pt x="1" y="25"/>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344" name="Google Shape;5344;p104"/>
            <p:cNvSpPr/>
            <p:nvPr/>
          </p:nvSpPr>
          <p:spPr>
            <a:xfrm>
              <a:off x="1619213" y="2003783"/>
              <a:ext cx="68" cy="190"/>
            </a:xfrm>
            <a:custGeom>
              <a:avLst/>
              <a:gdLst/>
              <a:ahLst/>
              <a:cxnLst/>
              <a:rect l="l" t="t" r="r" b="b"/>
              <a:pathLst>
                <a:path w="5" h="14" extrusionOk="0">
                  <a:moveTo>
                    <a:pt x="1" y="0"/>
                  </a:moveTo>
                  <a:cubicBezTo>
                    <a:pt x="1" y="4"/>
                    <a:pt x="1" y="11"/>
                    <a:pt x="4" y="14"/>
                  </a:cubicBezTo>
                  <a:cubicBezTo>
                    <a:pt x="4" y="11"/>
                    <a:pt x="1" y="4"/>
                    <a:pt x="1"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345" name="Google Shape;5345;p104"/>
            <p:cNvSpPr/>
            <p:nvPr/>
          </p:nvSpPr>
          <p:spPr>
            <a:xfrm>
              <a:off x="1619267" y="2001964"/>
              <a:ext cx="54" cy="299"/>
            </a:xfrm>
            <a:custGeom>
              <a:avLst/>
              <a:gdLst/>
              <a:ahLst/>
              <a:cxnLst/>
              <a:rect l="l" t="t" r="r" b="b"/>
              <a:pathLst>
                <a:path w="4" h="22" extrusionOk="0">
                  <a:moveTo>
                    <a:pt x="4" y="1"/>
                  </a:moveTo>
                  <a:cubicBezTo>
                    <a:pt x="0" y="11"/>
                    <a:pt x="0" y="18"/>
                    <a:pt x="0" y="22"/>
                  </a:cubicBezTo>
                  <a:cubicBezTo>
                    <a:pt x="0" y="18"/>
                    <a:pt x="4" y="8"/>
                    <a:pt x="4" y="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346" name="Google Shape;5346;p104"/>
            <p:cNvSpPr/>
            <p:nvPr/>
          </p:nvSpPr>
          <p:spPr>
            <a:xfrm>
              <a:off x="1619362" y="2001353"/>
              <a:ext cx="109" cy="299"/>
            </a:xfrm>
            <a:custGeom>
              <a:avLst/>
              <a:gdLst/>
              <a:ahLst/>
              <a:cxnLst/>
              <a:rect l="l" t="t" r="r" b="b"/>
              <a:pathLst>
                <a:path w="8" h="22" extrusionOk="0">
                  <a:moveTo>
                    <a:pt x="7" y="0"/>
                  </a:moveTo>
                  <a:lnTo>
                    <a:pt x="0" y="21"/>
                  </a:lnTo>
                  <a:cubicBezTo>
                    <a:pt x="4" y="14"/>
                    <a:pt x="7" y="7"/>
                    <a:pt x="7"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347" name="Google Shape;5347;p104"/>
            <p:cNvSpPr/>
            <p:nvPr/>
          </p:nvSpPr>
          <p:spPr>
            <a:xfrm>
              <a:off x="1619552" y="2000688"/>
              <a:ext cx="109" cy="299"/>
            </a:xfrm>
            <a:custGeom>
              <a:avLst/>
              <a:gdLst/>
              <a:ahLst/>
              <a:cxnLst/>
              <a:rect l="l" t="t" r="r" b="b"/>
              <a:pathLst>
                <a:path w="8" h="22" extrusionOk="0">
                  <a:moveTo>
                    <a:pt x="7" y="0"/>
                  </a:moveTo>
                  <a:lnTo>
                    <a:pt x="0" y="2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348" name="Google Shape;5348;p104"/>
            <p:cNvSpPr/>
            <p:nvPr/>
          </p:nvSpPr>
          <p:spPr>
            <a:xfrm>
              <a:off x="1619172" y="2003199"/>
              <a:ext cx="14" cy="258"/>
            </a:xfrm>
            <a:custGeom>
              <a:avLst/>
              <a:gdLst/>
              <a:ahLst/>
              <a:cxnLst/>
              <a:rect l="l" t="t" r="r" b="b"/>
              <a:pathLst>
                <a:path w="1" h="19" extrusionOk="0">
                  <a:moveTo>
                    <a:pt x="0" y="18"/>
                  </a:moveTo>
                  <a:lnTo>
                    <a:pt x="0" y="1"/>
                  </a:lnTo>
                  <a:cubicBezTo>
                    <a:pt x="0" y="8"/>
                    <a:pt x="0" y="11"/>
                    <a:pt x="0" y="18"/>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349" name="Google Shape;5349;p104"/>
            <p:cNvSpPr/>
            <p:nvPr/>
          </p:nvSpPr>
          <p:spPr>
            <a:xfrm>
              <a:off x="1620598" y="2025073"/>
              <a:ext cx="394" cy="774"/>
            </a:xfrm>
            <a:custGeom>
              <a:avLst/>
              <a:gdLst/>
              <a:ahLst/>
              <a:cxnLst/>
              <a:rect l="l" t="t" r="r" b="b"/>
              <a:pathLst>
                <a:path w="29" h="57" extrusionOk="0">
                  <a:moveTo>
                    <a:pt x="0" y="0"/>
                  </a:moveTo>
                  <a:lnTo>
                    <a:pt x="28" y="56"/>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350" name="Google Shape;5350;p104"/>
            <p:cNvSpPr/>
            <p:nvPr/>
          </p:nvSpPr>
          <p:spPr>
            <a:xfrm>
              <a:off x="1619118" y="2022031"/>
              <a:ext cx="258" cy="530"/>
            </a:xfrm>
            <a:custGeom>
              <a:avLst/>
              <a:gdLst/>
              <a:ahLst/>
              <a:cxnLst/>
              <a:rect l="l" t="t" r="r" b="b"/>
              <a:pathLst>
                <a:path w="19" h="39" extrusionOk="0">
                  <a:moveTo>
                    <a:pt x="1" y="0"/>
                  </a:moveTo>
                  <a:cubicBezTo>
                    <a:pt x="8" y="11"/>
                    <a:pt x="11" y="25"/>
                    <a:pt x="18" y="39"/>
                  </a:cubicBezTo>
                  <a:cubicBezTo>
                    <a:pt x="11" y="25"/>
                    <a:pt x="8" y="11"/>
                    <a:pt x="1"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351" name="Google Shape;5351;p104"/>
            <p:cNvSpPr/>
            <p:nvPr/>
          </p:nvSpPr>
          <p:spPr>
            <a:xfrm>
              <a:off x="1622118" y="2027924"/>
              <a:ext cx="339" cy="584"/>
            </a:xfrm>
            <a:custGeom>
              <a:avLst/>
              <a:gdLst/>
              <a:ahLst/>
              <a:cxnLst/>
              <a:rect l="l" t="t" r="r" b="b"/>
              <a:pathLst>
                <a:path w="25" h="43" extrusionOk="0">
                  <a:moveTo>
                    <a:pt x="0" y="0"/>
                  </a:moveTo>
                  <a:lnTo>
                    <a:pt x="25" y="42"/>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352" name="Google Shape;5352;p104"/>
            <p:cNvSpPr/>
            <p:nvPr/>
          </p:nvSpPr>
          <p:spPr>
            <a:xfrm>
              <a:off x="1619172" y="2002588"/>
              <a:ext cx="54" cy="299"/>
            </a:xfrm>
            <a:custGeom>
              <a:avLst/>
              <a:gdLst/>
              <a:ahLst/>
              <a:cxnLst/>
              <a:rect l="l" t="t" r="r" b="b"/>
              <a:pathLst>
                <a:path w="4" h="22" extrusionOk="0">
                  <a:moveTo>
                    <a:pt x="4" y="0"/>
                  </a:moveTo>
                  <a:cubicBezTo>
                    <a:pt x="0" y="7"/>
                    <a:pt x="0" y="14"/>
                    <a:pt x="4" y="21"/>
                  </a:cubicBezTo>
                  <a:lnTo>
                    <a:pt x="4"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353" name="Google Shape;5353;p104"/>
            <p:cNvSpPr/>
            <p:nvPr/>
          </p:nvSpPr>
          <p:spPr>
            <a:xfrm>
              <a:off x="1619742" y="2023403"/>
              <a:ext cx="299" cy="584"/>
            </a:xfrm>
            <a:custGeom>
              <a:avLst/>
              <a:gdLst/>
              <a:ahLst/>
              <a:cxnLst/>
              <a:rect l="l" t="t" r="r" b="b"/>
              <a:pathLst>
                <a:path w="22" h="43" extrusionOk="0">
                  <a:moveTo>
                    <a:pt x="0" y="1"/>
                  </a:moveTo>
                  <a:lnTo>
                    <a:pt x="21" y="43"/>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354" name="Google Shape;5354;p104"/>
            <p:cNvSpPr/>
            <p:nvPr/>
          </p:nvSpPr>
          <p:spPr>
            <a:xfrm>
              <a:off x="1621548" y="2026879"/>
              <a:ext cx="434" cy="815"/>
            </a:xfrm>
            <a:custGeom>
              <a:avLst/>
              <a:gdLst/>
              <a:ahLst/>
              <a:cxnLst/>
              <a:rect l="l" t="t" r="r" b="b"/>
              <a:pathLst>
                <a:path w="32" h="60" extrusionOk="0">
                  <a:moveTo>
                    <a:pt x="0" y="0"/>
                  </a:moveTo>
                  <a:lnTo>
                    <a:pt x="32" y="6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355" name="Google Shape;5355;p104"/>
            <p:cNvSpPr/>
            <p:nvPr/>
          </p:nvSpPr>
          <p:spPr>
            <a:xfrm>
              <a:off x="1621073" y="2025928"/>
              <a:ext cx="394" cy="774"/>
            </a:xfrm>
            <a:custGeom>
              <a:avLst/>
              <a:gdLst/>
              <a:ahLst/>
              <a:cxnLst/>
              <a:rect l="l" t="t" r="r" b="b"/>
              <a:pathLst>
                <a:path w="29" h="57" extrusionOk="0">
                  <a:moveTo>
                    <a:pt x="0" y="0"/>
                  </a:moveTo>
                  <a:lnTo>
                    <a:pt x="28" y="56"/>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356" name="Google Shape;5356;p104"/>
            <p:cNvSpPr/>
            <p:nvPr/>
          </p:nvSpPr>
          <p:spPr>
            <a:xfrm>
              <a:off x="1620123" y="2024122"/>
              <a:ext cx="394" cy="774"/>
            </a:xfrm>
            <a:custGeom>
              <a:avLst/>
              <a:gdLst/>
              <a:ahLst/>
              <a:cxnLst/>
              <a:rect l="l" t="t" r="r" b="b"/>
              <a:pathLst>
                <a:path w="29" h="57" extrusionOk="0">
                  <a:moveTo>
                    <a:pt x="0" y="0"/>
                  </a:moveTo>
                  <a:lnTo>
                    <a:pt x="28" y="56"/>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357" name="Google Shape;5357;p104"/>
            <p:cNvSpPr/>
            <p:nvPr/>
          </p:nvSpPr>
          <p:spPr>
            <a:xfrm>
              <a:off x="1619403" y="2022642"/>
              <a:ext cx="299" cy="638"/>
            </a:xfrm>
            <a:custGeom>
              <a:avLst/>
              <a:gdLst/>
              <a:ahLst/>
              <a:cxnLst/>
              <a:rect l="l" t="t" r="r" b="b"/>
              <a:pathLst>
                <a:path w="22" h="47" extrusionOk="0">
                  <a:moveTo>
                    <a:pt x="1" y="1"/>
                  </a:moveTo>
                  <a:cubicBezTo>
                    <a:pt x="8" y="15"/>
                    <a:pt x="15" y="32"/>
                    <a:pt x="22" y="46"/>
                  </a:cubicBezTo>
                  <a:cubicBezTo>
                    <a:pt x="15" y="32"/>
                    <a:pt x="8" y="15"/>
                    <a:pt x="1" y="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358" name="Google Shape;5358;p104"/>
            <p:cNvSpPr/>
            <p:nvPr/>
          </p:nvSpPr>
          <p:spPr>
            <a:xfrm>
              <a:off x="1619457" y="2004449"/>
              <a:ext cx="14" cy="54"/>
            </a:xfrm>
            <a:custGeom>
              <a:avLst/>
              <a:gdLst/>
              <a:ahLst/>
              <a:cxnLst/>
              <a:rect l="l" t="t" r="r" b="b"/>
              <a:pathLst>
                <a:path w="1" h="4" extrusionOk="0">
                  <a:moveTo>
                    <a:pt x="0" y="4"/>
                  </a:moveTo>
                  <a:lnTo>
                    <a:pt x="0" y="0"/>
                  </a:lnTo>
                  <a:lnTo>
                    <a:pt x="0" y="4"/>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359" name="Google Shape;5359;p104"/>
            <p:cNvSpPr/>
            <p:nvPr/>
          </p:nvSpPr>
          <p:spPr>
            <a:xfrm>
              <a:off x="1641466" y="2001964"/>
              <a:ext cx="20488" cy="25689"/>
            </a:xfrm>
            <a:custGeom>
              <a:avLst/>
              <a:gdLst/>
              <a:ahLst/>
              <a:cxnLst/>
              <a:rect l="l" t="t" r="r" b="b"/>
              <a:pathLst>
                <a:path w="1509" h="1892" extrusionOk="0">
                  <a:moveTo>
                    <a:pt x="256" y="1"/>
                  </a:moveTo>
                  <a:lnTo>
                    <a:pt x="256" y="8"/>
                  </a:lnTo>
                  <a:lnTo>
                    <a:pt x="249" y="25"/>
                  </a:lnTo>
                  <a:lnTo>
                    <a:pt x="242" y="43"/>
                  </a:lnTo>
                  <a:lnTo>
                    <a:pt x="238" y="57"/>
                  </a:lnTo>
                  <a:lnTo>
                    <a:pt x="231" y="78"/>
                  </a:lnTo>
                  <a:lnTo>
                    <a:pt x="228" y="88"/>
                  </a:lnTo>
                  <a:lnTo>
                    <a:pt x="221" y="106"/>
                  </a:lnTo>
                  <a:lnTo>
                    <a:pt x="221" y="113"/>
                  </a:lnTo>
                  <a:lnTo>
                    <a:pt x="214" y="130"/>
                  </a:lnTo>
                  <a:lnTo>
                    <a:pt x="214" y="138"/>
                  </a:lnTo>
                  <a:cubicBezTo>
                    <a:pt x="207" y="152"/>
                    <a:pt x="203" y="162"/>
                    <a:pt x="196" y="173"/>
                  </a:cubicBezTo>
                  <a:lnTo>
                    <a:pt x="196" y="176"/>
                  </a:lnTo>
                  <a:lnTo>
                    <a:pt x="193" y="190"/>
                  </a:lnTo>
                  <a:lnTo>
                    <a:pt x="193" y="194"/>
                  </a:lnTo>
                  <a:lnTo>
                    <a:pt x="186" y="201"/>
                  </a:lnTo>
                  <a:lnTo>
                    <a:pt x="186" y="204"/>
                  </a:lnTo>
                  <a:lnTo>
                    <a:pt x="182" y="211"/>
                  </a:lnTo>
                  <a:lnTo>
                    <a:pt x="182" y="215"/>
                  </a:lnTo>
                  <a:lnTo>
                    <a:pt x="179" y="222"/>
                  </a:lnTo>
                  <a:lnTo>
                    <a:pt x="179" y="225"/>
                  </a:lnTo>
                  <a:lnTo>
                    <a:pt x="175" y="229"/>
                  </a:lnTo>
                  <a:lnTo>
                    <a:pt x="175" y="232"/>
                  </a:lnTo>
                  <a:lnTo>
                    <a:pt x="172" y="236"/>
                  </a:lnTo>
                  <a:lnTo>
                    <a:pt x="168" y="239"/>
                  </a:lnTo>
                  <a:lnTo>
                    <a:pt x="165" y="243"/>
                  </a:lnTo>
                  <a:cubicBezTo>
                    <a:pt x="158" y="246"/>
                    <a:pt x="154" y="253"/>
                    <a:pt x="147" y="260"/>
                  </a:cubicBezTo>
                  <a:cubicBezTo>
                    <a:pt x="63" y="355"/>
                    <a:pt x="0" y="614"/>
                    <a:pt x="84" y="817"/>
                  </a:cubicBezTo>
                  <a:cubicBezTo>
                    <a:pt x="161" y="999"/>
                    <a:pt x="186" y="1286"/>
                    <a:pt x="172" y="1464"/>
                  </a:cubicBezTo>
                  <a:cubicBezTo>
                    <a:pt x="168" y="1492"/>
                    <a:pt x="165" y="1517"/>
                    <a:pt x="158" y="1545"/>
                  </a:cubicBezTo>
                  <a:cubicBezTo>
                    <a:pt x="154" y="1562"/>
                    <a:pt x="151" y="1580"/>
                    <a:pt x="144" y="1597"/>
                  </a:cubicBezTo>
                  <a:lnTo>
                    <a:pt x="137" y="1608"/>
                  </a:lnTo>
                  <a:lnTo>
                    <a:pt x="137" y="1611"/>
                  </a:lnTo>
                  <a:lnTo>
                    <a:pt x="133" y="1615"/>
                  </a:lnTo>
                  <a:lnTo>
                    <a:pt x="133" y="1618"/>
                  </a:lnTo>
                  <a:lnTo>
                    <a:pt x="130" y="1622"/>
                  </a:lnTo>
                  <a:lnTo>
                    <a:pt x="130" y="1625"/>
                  </a:lnTo>
                  <a:lnTo>
                    <a:pt x="126" y="1632"/>
                  </a:lnTo>
                  <a:lnTo>
                    <a:pt x="126" y="1636"/>
                  </a:lnTo>
                  <a:lnTo>
                    <a:pt x="123" y="1643"/>
                  </a:lnTo>
                  <a:lnTo>
                    <a:pt x="119" y="1650"/>
                  </a:lnTo>
                  <a:lnTo>
                    <a:pt x="112" y="1657"/>
                  </a:lnTo>
                  <a:lnTo>
                    <a:pt x="109" y="1664"/>
                  </a:lnTo>
                  <a:lnTo>
                    <a:pt x="105" y="1671"/>
                  </a:lnTo>
                  <a:lnTo>
                    <a:pt x="98" y="1685"/>
                  </a:lnTo>
                  <a:lnTo>
                    <a:pt x="95" y="1688"/>
                  </a:lnTo>
                  <a:lnTo>
                    <a:pt x="81" y="1709"/>
                  </a:lnTo>
                  <a:cubicBezTo>
                    <a:pt x="63" y="1737"/>
                    <a:pt x="42" y="1769"/>
                    <a:pt x="14" y="1814"/>
                  </a:cubicBezTo>
                  <a:cubicBezTo>
                    <a:pt x="14" y="1821"/>
                    <a:pt x="14" y="1832"/>
                    <a:pt x="18" y="1839"/>
                  </a:cubicBezTo>
                  <a:cubicBezTo>
                    <a:pt x="74" y="1875"/>
                    <a:pt x="137" y="1892"/>
                    <a:pt x="201" y="1892"/>
                  </a:cubicBezTo>
                  <a:cubicBezTo>
                    <a:pt x="225" y="1892"/>
                    <a:pt x="249" y="1889"/>
                    <a:pt x="273" y="1884"/>
                  </a:cubicBezTo>
                  <a:lnTo>
                    <a:pt x="280" y="1884"/>
                  </a:lnTo>
                  <a:lnTo>
                    <a:pt x="315" y="1874"/>
                  </a:lnTo>
                  <a:lnTo>
                    <a:pt x="329" y="1874"/>
                  </a:lnTo>
                  <a:cubicBezTo>
                    <a:pt x="343" y="1867"/>
                    <a:pt x="361" y="1863"/>
                    <a:pt x="375" y="1860"/>
                  </a:cubicBezTo>
                  <a:cubicBezTo>
                    <a:pt x="453" y="1835"/>
                    <a:pt x="535" y="1823"/>
                    <a:pt x="614" y="1823"/>
                  </a:cubicBezTo>
                  <a:cubicBezTo>
                    <a:pt x="634" y="1823"/>
                    <a:pt x="653" y="1824"/>
                    <a:pt x="672" y="1825"/>
                  </a:cubicBezTo>
                  <a:cubicBezTo>
                    <a:pt x="691" y="1825"/>
                    <a:pt x="707" y="1826"/>
                    <a:pt x="723" y="1826"/>
                  </a:cubicBezTo>
                  <a:cubicBezTo>
                    <a:pt x="817" y="1826"/>
                    <a:pt x="856" y="1807"/>
                    <a:pt x="907" y="1653"/>
                  </a:cubicBezTo>
                  <a:cubicBezTo>
                    <a:pt x="914" y="1636"/>
                    <a:pt x="921" y="1615"/>
                    <a:pt x="931" y="1594"/>
                  </a:cubicBezTo>
                  <a:cubicBezTo>
                    <a:pt x="935" y="1587"/>
                    <a:pt x="938" y="1580"/>
                    <a:pt x="938" y="1573"/>
                  </a:cubicBezTo>
                  <a:cubicBezTo>
                    <a:pt x="945" y="1559"/>
                    <a:pt x="952" y="1545"/>
                    <a:pt x="959" y="1531"/>
                  </a:cubicBezTo>
                  <a:lnTo>
                    <a:pt x="973" y="1506"/>
                  </a:lnTo>
                  <a:cubicBezTo>
                    <a:pt x="980" y="1492"/>
                    <a:pt x="987" y="1478"/>
                    <a:pt x="994" y="1468"/>
                  </a:cubicBezTo>
                  <a:lnTo>
                    <a:pt x="1008" y="1440"/>
                  </a:lnTo>
                  <a:lnTo>
                    <a:pt x="1033" y="1401"/>
                  </a:lnTo>
                  <a:lnTo>
                    <a:pt x="1047" y="1377"/>
                  </a:lnTo>
                  <a:lnTo>
                    <a:pt x="1075" y="1338"/>
                  </a:lnTo>
                  <a:lnTo>
                    <a:pt x="1089" y="1314"/>
                  </a:lnTo>
                  <a:lnTo>
                    <a:pt x="1120" y="1268"/>
                  </a:lnTo>
                  <a:lnTo>
                    <a:pt x="1134" y="1251"/>
                  </a:lnTo>
                  <a:cubicBezTo>
                    <a:pt x="1166" y="1205"/>
                    <a:pt x="1197" y="1167"/>
                    <a:pt x="1229" y="1128"/>
                  </a:cubicBezTo>
                  <a:lnTo>
                    <a:pt x="1243" y="1111"/>
                  </a:lnTo>
                  <a:lnTo>
                    <a:pt x="1278" y="1069"/>
                  </a:lnTo>
                  <a:lnTo>
                    <a:pt x="1295" y="1051"/>
                  </a:lnTo>
                  <a:lnTo>
                    <a:pt x="1327" y="1016"/>
                  </a:lnTo>
                  <a:lnTo>
                    <a:pt x="1344" y="995"/>
                  </a:lnTo>
                  <a:lnTo>
                    <a:pt x="1372" y="960"/>
                  </a:lnTo>
                  <a:lnTo>
                    <a:pt x="1390" y="943"/>
                  </a:lnTo>
                  <a:lnTo>
                    <a:pt x="1418" y="911"/>
                  </a:lnTo>
                  <a:lnTo>
                    <a:pt x="1432" y="897"/>
                  </a:lnTo>
                  <a:lnTo>
                    <a:pt x="1463" y="862"/>
                  </a:lnTo>
                  <a:lnTo>
                    <a:pt x="1470" y="855"/>
                  </a:lnTo>
                  <a:lnTo>
                    <a:pt x="1509" y="817"/>
                  </a:lnTo>
                  <a:cubicBezTo>
                    <a:pt x="1407" y="740"/>
                    <a:pt x="1309" y="652"/>
                    <a:pt x="1225" y="558"/>
                  </a:cubicBezTo>
                  <a:cubicBezTo>
                    <a:pt x="1050" y="376"/>
                    <a:pt x="847" y="173"/>
                    <a:pt x="662" y="134"/>
                  </a:cubicBezTo>
                  <a:cubicBezTo>
                    <a:pt x="522" y="99"/>
                    <a:pt x="389" y="57"/>
                    <a:pt x="256" y="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360" name="Google Shape;5360;p104"/>
            <p:cNvSpPr/>
            <p:nvPr/>
          </p:nvSpPr>
          <p:spPr>
            <a:xfrm>
              <a:off x="1659470" y="2015473"/>
              <a:ext cx="258" cy="299"/>
            </a:xfrm>
            <a:custGeom>
              <a:avLst/>
              <a:gdLst/>
              <a:ahLst/>
              <a:cxnLst/>
              <a:rect l="l" t="t" r="r" b="b"/>
              <a:pathLst>
                <a:path w="19" h="22" extrusionOk="0">
                  <a:moveTo>
                    <a:pt x="18" y="0"/>
                  </a:moveTo>
                  <a:lnTo>
                    <a:pt x="1" y="2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361" name="Google Shape;5361;p104"/>
            <p:cNvSpPr/>
            <p:nvPr/>
          </p:nvSpPr>
          <p:spPr>
            <a:xfrm>
              <a:off x="1656714" y="2018936"/>
              <a:ext cx="163" cy="258"/>
            </a:xfrm>
            <a:custGeom>
              <a:avLst/>
              <a:gdLst/>
              <a:ahLst/>
              <a:cxnLst/>
              <a:rect l="l" t="t" r="r" b="b"/>
              <a:pathLst>
                <a:path w="12" h="19" extrusionOk="0">
                  <a:moveTo>
                    <a:pt x="11" y="1"/>
                  </a:moveTo>
                  <a:lnTo>
                    <a:pt x="1" y="18"/>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362" name="Google Shape;5362;p104"/>
            <p:cNvSpPr/>
            <p:nvPr/>
          </p:nvSpPr>
          <p:spPr>
            <a:xfrm>
              <a:off x="1660760" y="2014143"/>
              <a:ext cx="149" cy="204"/>
            </a:xfrm>
            <a:custGeom>
              <a:avLst/>
              <a:gdLst/>
              <a:ahLst/>
              <a:cxnLst/>
              <a:rect l="l" t="t" r="r" b="b"/>
              <a:pathLst>
                <a:path w="11" h="15" extrusionOk="0">
                  <a:moveTo>
                    <a:pt x="11" y="0"/>
                  </a:moveTo>
                  <a:lnTo>
                    <a:pt x="0" y="14"/>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363" name="Google Shape;5363;p104"/>
            <p:cNvSpPr/>
            <p:nvPr/>
          </p:nvSpPr>
          <p:spPr>
            <a:xfrm>
              <a:off x="1654487" y="2022412"/>
              <a:ext cx="204" cy="339"/>
            </a:xfrm>
            <a:custGeom>
              <a:avLst/>
              <a:gdLst/>
              <a:ahLst/>
              <a:cxnLst/>
              <a:rect l="l" t="t" r="r" b="b"/>
              <a:pathLst>
                <a:path w="15" h="25" extrusionOk="0">
                  <a:moveTo>
                    <a:pt x="14" y="0"/>
                  </a:moveTo>
                  <a:lnTo>
                    <a:pt x="0" y="25"/>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364" name="Google Shape;5364;p104"/>
            <p:cNvSpPr/>
            <p:nvPr/>
          </p:nvSpPr>
          <p:spPr>
            <a:xfrm>
              <a:off x="1660095" y="2014808"/>
              <a:ext cx="244" cy="244"/>
            </a:xfrm>
            <a:custGeom>
              <a:avLst/>
              <a:gdLst/>
              <a:ahLst/>
              <a:cxnLst/>
              <a:rect l="l" t="t" r="r" b="b"/>
              <a:pathLst>
                <a:path w="18" h="18" extrusionOk="0">
                  <a:moveTo>
                    <a:pt x="18" y="0"/>
                  </a:moveTo>
                  <a:lnTo>
                    <a:pt x="0" y="18"/>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365" name="Google Shape;5365;p104"/>
            <p:cNvSpPr/>
            <p:nvPr/>
          </p:nvSpPr>
          <p:spPr>
            <a:xfrm>
              <a:off x="1655478" y="2020646"/>
              <a:ext cx="204" cy="394"/>
            </a:xfrm>
            <a:custGeom>
              <a:avLst/>
              <a:gdLst/>
              <a:ahLst/>
              <a:cxnLst/>
              <a:rect l="l" t="t" r="r" b="b"/>
              <a:pathLst>
                <a:path w="15" h="29" extrusionOk="0">
                  <a:moveTo>
                    <a:pt x="15" y="1"/>
                  </a:moveTo>
                  <a:lnTo>
                    <a:pt x="1" y="29"/>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366" name="Google Shape;5366;p104"/>
            <p:cNvSpPr/>
            <p:nvPr/>
          </p:nvSpPr>
          <p:spPr>
            <a:xfrm>
              <a:off x="1654962" y="2021556"/>
              <a:ext cx="204" cy="339"/>
            </a:xfrm>
            <a:custGeom>
              <a:avLst/>
              <a:gdLst/>
              <a:ahLst/>
              <a:cxnLst/>
              <a:rect l="l" t="t" r="r" b="b"/>
              <a:pathLst>
                <a:path w="15" h="25" extrusionOk="0">
                  <a:moveTo>
                    <a:pt x="14" y="0"/>
                  </a:moveTo>
                  <a:lnTo>
                    <a:pt x="0" y="25"/>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367" name="Google Shape;5367;p104"/>
            <p:cNvSpPr/>
            <p:nvPr/>
          </p:nvSpPr>
          <p:spPr>
            <a:xfrm>
              <a:off x="1656049" y="2019791"/>
              <a:ext cx="258" cy="353"/>
            </a:xfrm>
            <a:custGeom>
              <a:avLst/>
              <a:gdLst/>
              <a:ahLst/>
              <a:cxnLst/>
              <a:rect l="l" t="t" r="r" b="b"/>
              <a:pathLst>
                <a:path w="19" h="26" extrusionOk="0">
                  <a:moveTo>
                    <a:pt x="18" y="1"/>
                  </a:moveTo>
                  <a:lnTo>
                    <a:pt x="1" y="25"/>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368" name="Google Shape;5368;p104"/>
            <p:cNvSpPr/>
            <p:nvPr/>
          </p:nvSpPr>
          <p:spPr>
            <a:xfrm>
              <a:off x="1645933" y="2026634"/>
              <a:ext cx="4711" cy="774"/>
            </a:xfrm>
            <a:custGeom>
              <a:avLst/>
              <a:gdLst/>
              <a:ahLst/>
              <a:cxnLst/>
              <a:rect l="l" t="t" r="r" b="b"/>
              <a:pathLst>
                <a:path w="347" h="57" extrusionOk="0">
                  <a:moveTo>
                    <a:pt x="46" y="43"/>
                  </a:moveTo>
                  <a:cubicBezTo>
                    <a:pt x="32" y="46"/>
                    <a:pt x="14" y="50"/>
                    <a:pt x="0" y="57"/>
                  </a:cubicBezTo>
                  <a:cubicBezTo>
                    <a:pt x="14" y="50"/>
                    <a:pt x="32" y="46"/>
                    <a:pt x="46" y="43"/>
                  </a:cubicBezTo>
                  <a:cubicBezTo>
                    <a:pt x="144" y="11"/>
                    <a:pt x="245" y="1"/>
                    <a:pt x="347" y="8"/>
                  </a:cubicBezTo>
                  <a:cubicBezTo>
                    <a:pt x="245" y="1"/>
                    <a:pt x="144" y="11"/>
                    <a:pt x="46" y="43"/>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369" name="Google Shape;5369;p104"/>
            <p:cNvSpPr/>
            <p:nvPr/>
          </p:nvSpPr>
          <p:spPr>
            <a:xfrm>
              <a:off x="1658194" y="2017035"/>
              <a:ext cx="204" cy="258"/>
            </a:xfrm>
            <a:custGeom>
              <a:avLst/>
              <a:gdLst/>
              <a:ahLst/>
              <a:cxnLst/>
              <a:rect l="l" t="t" r="r" b="b"/>
              <a:pathLst>
                <a:path w="15" h="19" extrusionOk="0">
                  <a:moveTo>
                    <a:pt x="14" y="1"/>
                  </a:moveTo>
                  <a:lnTo>
                    <a:pt x="0" y="18"/>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370" name="Google Shape;5370;p104"/>
            <p:cNvSpPr/>
            <p:nvPr/>
          </p:nvSpPr>
          <p:spPr>
            <a:xfrm>
              <a:off x="1645268" y="2027395"/>
              <a:ext cx="489" cy="109"/>
            </a:xfrm>
            <a:custGeom>
              <a:avLst/>
              <a:gdLst/>
              <a:ahLst/>
              <a:cxnLst/>
              <a:rect l="l" t="t" r="r" b="b"/>
              <a:pathLst>
                <a:path w="36" h="8" extrusionOk="0">
                  <a:moveTo>
                    <a:pt x="35" y="1"/>
                  </a:moveTo>
                  <a:lnTo>
                    <a:pt x="0" y="8"/>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371" name="Google Shape;5371;p104"/>
            <p:cNvSpPr/>
            <p:nvPr/>
          </p:nvSpPr>
          <p:spPr>
            <a:xfrm>
              <a:off x="1658859" y="2016234"/>
              <a:ext cx="244" cy="299"/>
            </a:xfrm>
            <a:custGeom>
              <a:avLst/>
              <a:gdLst/>
              <a:ahLst/>
              <a:cxnLst/>
              <a:rect l="l" t="t" r="r" b="b"/>
              <a:pathLst>
                <a:path w="18" h="22" extrusionOk="0">
                  <a:moveTo>
                    <a:pt x="18" y="0"/>
                  </a:moveTo>
                  <a:lnTo>
                    <a:pt x="0" y="2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372" name="Google Shape;5372;p104"/>
            <p:cNvSpPr/>
            <p:nvPr/>
          </p:nvSpPr>
          <p:spPr>
            <a:xfrm>
              <a:off x="1661371" y="2013613"/>
              <a:ext cx="109" cy="109"/>
            </a:xfrm>
            <a:custGeom>
              <a:avLst/>
              <a:gdLst/>
              <a:ahLst/>
              <a:cxnLst/>
              <a:rect l="l" t="t" r="r" b="b"/>
              <a:pathLst>
                <a:path w="8" h="8" extrusionOk="0">
                  <a:moveTo>
                    <a:pt x="8" y="1"/>
                  </a:moveTo>
                  <a:lnTo>
                    <a:pt x="1" y="8"/>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373" name="Google Shape;5373;p104"/>
            <p:cNvSpPr/>
            <p:nvPr/>
          </p:nvSpPr>
          <p:spPr>
            <a:xfrm>
              <a:off x="1654107" y="2023308"/>
              <a:ext cx="149" cy="299"/>
            </a:xfrm>
            <a:custGeom>
              <a:avLst/>
              <a:gdLst/>
              <a:ahLst/>
              <a:cxnLst/>
              <a:rect l="l" t="t" r="r" b="b"/>
              <a:pathLst>
                <a:path w="11" h="22" extrusionOk="0">
                  <a:moveTo>
                    <a:pt x="11" y="1"/>
                  </a:moveTo>
                  <a:cubicBezTo>
                    <a:pt x="7" y="8"/>
                    <a:pt x="4" y="15"/>
                    <a:pt x="0" y="22"/>
                  </a:cubicBezTo>
                  <a:cubicBezTo>
                    <a:pt x="4" y="15"/>
                    <a:pt x="7" y="8"/>
                    <a:pt x="11" y="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374" name="Google Shape;5374;p104"/>
            <p:cNvSpPr/>
            <p:nvPr/>
          </p:nvSpPr>
          <p:spPr>
            <a:xfrm>
              <a:off x="1641697" y="2026919"/>
              <a:ext cx="3476" cy="733"/>
            </a:xfrm>
            <a:custGeom>
              <a:avLst/>
              <a:gdLst/>
              <a:ahLst/>
              <a:cxnLst/>
              <a:rect l="l" t="t" r="r" b="b"/>
              <a:pathLst>
                <a:path w="256" h="54" extrusionOk="0">
                  <a:moveTo>
                    <a:pt x="1" y="1"/>
                  </a:moveTo>
                  <a:cubicBezTo>
                    <a:pt x="54" y="37"/>
                    <a:pt x="118" y="54"/>
                    <a:pt x="183" y="54"/>
                  </a:cubicBezTo>
                  <a:cubicBezTo>
                    <a:pt x="183" y="54"/>
                    <a:pt x="183" y="54"/>
                    <a:pt x="184" y="54"/>
                  </a:cubicBezTo>
                  <a:lnTo>
                    <a:pt x="184" y="54"/>
                  </a:lnTo>
                  <a:cubicBezTo>
                    <a:pt x="184" y="54"/>
                    <a:pt x="184" y="54"/>
                    <a:pt x="184" y="54"/>
                  </a:cubicBezTo>
                  <a:cubicBezTo>
                    <a:pt x="208" y="54"/>
                    <a:pt x="232" y="51"/>
                    <a:pt x="256" y="46"/>
                  </a:cubicBezTo>
                  <a:lnTo>
                    <a:pt x="256" y="46"/>
                  </a:lnTo>
                  <a:cubicBezTo>
                    <a:pt x="232" y="51"/>
                    <a:pt x="208" y="54"/>
                    <a:pt x="184" y="54"/>
                  </a:cubicBezTo>
                  <a:lnTo>
                    <a:pt x="184" y="54"/>
                  </a:lnTo>
                  <a:cubicBezTo>
                    <a:pt x="120" y="54"/>
                    <a:pt x="56" y="36"/>
                    <a:pt x="1" y="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375" name="Google Shape;5375;p104"/>
            <p:cNvSpPr/>
            <p:nvPr/>
          </p:nvSpPr>
          <p:spPr>
            <a:xfrm>
              <a:off x="1643123" y="2023688"/>
              <a:ext cx="68" cy="163"/>
            </a:xfrm>
            <a:custGeom>
              <a:avLst/>
              <a:gdLst/>
              <a:ahLst/>
              <a:cxnLst/>
              <a:rect l="l" t="t" r="r" b="b"/>
              <a:pathLst>
                <a:path w="5" h="12" extrusionOk="0">
                  <a:moveTo>
                    <a:pt x="1" y="1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376" name="Google Shape;5376;p104"/>
            <p:cNvSpPr/>
            <p:nvPr/>
          </p:nvSpPr>
          <p:spPr>
            <a:xfrm>
              <a:off x="1643082" y="2023837"/>
              <a:ext cx="54" cy="54"/>
            </a:xfrm>
            <a:custGeom>
              <a:avLst/>
              <a:gdLst/>
              <a:ahLst/>
              <a:cxnLst/>
              <a:rect l="l" t="t" r="r" b="b"/>
              <a:pathLst>
                <a:path w="4" h="4" extrusionOk="0">
                  <a:moveTo>
                    <a:pt x="0" y="4"/>
                  </a:moveTo>
                  <a:lnTo>
                    <a:pt x="4"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377" name="Google Shape;5377;p104"/>
            <p:cNvSpPr/>
            <p:nvPr/>
          </p:nvSpPr>
          <p:spPr>
            <a:xfrm>
              <a:off x="1642458" y="2013097"/>
              <a:ext cx="1344" cy="8798"/>
            </a:xfrm>
            <a:custGeom>
              <a:avLst/>
              <a:gdLst/>
              <a:ahLst/>
              <a:cxnLst/>
              <a:rect l="l" t="t" r="r" b="b"/>
              <a:pathLst>
                <a:path w="99" h="648" extrusionOk="0">
                  <a:moveTo>
                    <a:pt x="1" y="1"/>
                  </a:moveTo>
                  <a:lnTo>
                    <a:pt x="1" y="1"/>
                  </a:lnTo>
                  <a:cubicBezTo>
                    <a:pt x="74" y="183"/>
                    <a:pt x="95" y="473"/>
                    <a:pt x="85" y="648"/>
                  </a:cubicBezTo>
                  <a:cubicBezTo>
                    <a:pt x="99" y="473"/>
                    <a:pt x="74" y="183"/>
                    <a:pt x="1" y="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378" name="Google Shape;5378;p104"/>
            <p:cNvSpPr/>
            <p:nvPr/>
          </p:nvSpPr>
          <p:spPr>
            <a:xfrm>
              <a:off x="1644128" y="2004353"/>
              <a:ext cx="14" cy="54"/>
            </a:xfrm>
            <a:custGeom>
              <a:avLst/>
              <a:gdLst/>
              <a:ahLst/>
              <a:cxnLst/>
              <a:rect l="l" t="t" r="r" b="b"/>
              <a:pathLst>
                <a:path w="1" h="4" extrusionOk="0">
                  <a:moveTo>
                    <a:pt x="0"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379" name="Google Shape;5379;p104"/>
            <p:cNvSpPr/>
            <p:nvPr/>
          </p:nvSpPr>
          <p:spPr>
            <a:xfrm>
              <a:off x="1644358" y="2003783"/>
              <a:ext cx="14" cy="54"/>
            </a:xfrm>
            <a:custGeom>
              <a:avLst/>
              <a:gdLst/>
              <a:ahLst/>
              <a:cxnLst/>
              <a:rect l="l" t="t" r="r" b="b"/>
              <a:pathLst>
                <a:path w="1" h="4" extrusionOk="0">
                  <a:moveTo>
                    <a:pt x="1" y="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380" name="Google Shape;5380;p104"/>
            <p:cNvSpPr/>
            <p:nvPr/>
          </p:nvSpPr>
          <p:spPr>
            <a:xfrm>
              <a:off x="1644834" y="2002059"/>
              <a:ext cx="109" cy="258"/>
            </a:xfrm>
            <a:custGeom>
              <a:avLst/>
              <a:gdLst/>
              <a:ahLst/>
              <a:cxnLst/>
              <a:rect l="l" t="t" r="r" b="b"/>
              <a:pathLst>
                <a:path w="8" h="19" extrusionOk="0">
                  <a:moveTo>
                    <a:pt x="1" y="18"/>
                  </a:moveTo>
                  <a:lnTo>
                    <a:pt x="8"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381" name="Google Shape;5381;p104"/>
            <p:cNvSpPr/>
            <p:nvPr/>
          </p:nvSpPr>
          <p:spPr>
            <a:xfrm>
              <a:off x="1644033" y="2004544"/>
              <a:ext cx="14" cy="54"/>
            </a:xfrm>
            <a:custGeom>
              <a:avLst/>
              <a:gdLst/>
              <a:ahLst/>
              <a:cxnLst/>
              <a:rect l="l" t="t" r="r" b="b"/>
              <a:pathLst>
                <a:path w="1" h="4" extrusionOk="0">
                  <a:moveTo>
                    <a:pt x="0"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382" name="Google Shape;5382;p104"/>
            <p:cNvSpPr/>
            <p:nvPr/>
          </p:nvSpPr>
          <p:spPr>
            <a:xfrm>
              <a:off x="1643028" y="2023878"/>
              <a:ext cx="68" cy="109"/>
            </a:xfrm>
            <a:custGeom>
              <a:avLst/>
              <a:gdLst/>
              <a:ahLst/>
              <a:cxnLst/>
              <a:rect l="l" t="t" r="r" b="b"/>
              <a:pathLst>
                <a:path w="5" h="8" extrusionOk="0">
                  <a:moveTo>
                    <a:pt x="1" y="8"/>
                  </a:moveTo>
                  <a:lnTo>
                    <a:pt x="4"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383" name="Google Shape;5383;p104"/>
            <p:cNvSpPr/>
            <p:nvPr/>
          </p:nvSpPr>
          <p:spPr>
            <a:xfrm>
              <a:off x="1643693" y="2005114"/>
              <a:ext cx="14" cy="14"/>
            </a:xfrm>
            <a:custGeom>
              <a:avLst/>
              <a:gdLst/>
              <a:ahLst/>
              <a:cxnLst/>
              <a:rect l="l" t="t" r="r" b="b"/>
              <a:pathLst>
                <a:path w="1" h="1" extrusionOk="0">
                  <a:moveTo>
                    <a:pt x="1"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384" name="Google Shape;5384;p104"/>
            <p:cNvSpPr/>
            <p:nvPr/>
          </p:nvSpPr>
          <p:spPr>
            <a:xfrm>
              <a:off x="1644453" y="2003389"/>
              <a:ext cx="68" cy="109"/>
            </a:xfrm>
            <a:custGeom>
              <a:avLst/>
              <a:gdLst/>
              <a:ahLst/>
              <a:cxnLst/>
              <a:rect l="l" t="t" r="r" b="b"/>
              <a:pathLst>
                <a:path w="5" h="8" extrusionOk="0">
                  <a:moveTo>
                    <a:pt x="1" y="8"/>
                  </a:moveTo>
                  <a:lnTo>
                    <a:pt x="4"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385" name="Google Shape;5385;p104"/>
            <p:cNvSpPr/>
            <p:nvPr/>
          </p:nvSpPr>
          <p:spPr>
            <a:xfrm>
              <a:off x="1642607" y="2024598"/>
              <a:ext cx="54" cy="109"/>
            </a:xfrm>
            <a:custGeom>
              <a:avLst/>
              <a:gdLst/>
              <a:ahLst/>
              <a:cxnLst/>
              <a:rect l="l" t="t" r="r" b="b"/>
              <a:pathLst>
                <a:path w="4" h="8" extrusionOk="0">
                  <a:moveTo>
                    <a:pt x="0" y="7"/>
                  </a:moveTo>
                  <a:lnTo>
                    <a:pt x="4"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386" name="Google Shape;5386;p104"/>
            <p:cNvSpPr/>
            <p:nvPr/>
          </p:nvSpPr>
          <p:spPr>
            <a:xfrm>
              <a:off x="1642987" y="2024027"/>
              <a:ext cx="54" cy="54"/>
            </a:xfrm>
            <a:custGeom>
              <a:avLst/>
              <a:gdLst/>
              <a:ahLst/>
              <a:cxnLst/>
              <a:rect l="l" t="t" r="r" b="b"/>
              <a:pathLst>
                <a:path w="4" h="4" extrusionOk="0">
                  <a:moveTo>
                    <a:pt x="0" y="4"/>
                  </a:moveTo>
                  <a:lnTo>
                    <a:pt x="4"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387" name="Google Shape;5387;p104"/>
            <p:cNvSpPr/>
            <p:nvPr/>
          </p:nvSpPr>
          <p:spPr>
            <a:xfrm>
              <a:off x="1642702" y="2024407"/>
              <a:ext cx="109" cy="109"/>
            </a:xfrm>
            <a:custGeom>
              <a:avLst/>
              <a:gdLst/>
              <a:ahLst/>
              <a:cxnLst/>
              <a:rect l="l" t="t" r="r" b="b"/>
              <a:pathLst>
                <a:path w="8" h="8" extrusionOk="0">
                  <a:moveTo>
                    <a:pt x="0" y="7"/>
                  </a:moveTo>
                  <a:lnTo>
                    <a:pt x="7"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388" name="Google Shape;5388;p104"/>
            <p:cNvSpPr/>
            <p:nvPr/>
          </p:nvSpPr>
          <p:spPr>
            <a:xfrm>
              <a:off x="1643652" y="2005209"/>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389" name="Google Shape;5389;p104"/>
            <p:cNvSpPr/>
            <p:nvPr/>
          </p:nvSpPr>
          <p:spPr>
            <a:xfrm>
              <a:off x="1642838" y="2024258"/>
              <a:ext cx="68" cy="109"/>
            </a:xfrm>
            <a:custGeom>
              <a:avLst/>
              <a:gdLst/>
              <a:ahLst/>
              <a:cxnLst/>
              <a:rect l="l" t="t" r="r" b="b"/>
              <a:pathLst>
                <a:path w="5" h="8" extrusionOk="0">
                  <a:moveTo>
                    <a:pt x="1" y="8"/>
                  </a:moveTo>
                  <a:lnTo>
                    <a:pt x="4"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390" name="Google Shape;5390;p104"/>
            <p:cNvSpPr/>
            <p:nvPr/>
          </p:nvSpPr>
          <p:spPr>
            <a:xfrm>
              <a:off x="1643408" y="2021882"/>
              <a:ext cx="163" cy="1113"/>
            </a:xfrm>
            <a:custGeom>
              <a:avLst/>
              <a:gdLst/>
              <a:ahLst/>
              <a:cxnLst/>
              <a:rect l="l" t="t" r="r" b="b"/>
              <a:pathLst>
                <a:path w="12" h="82" extrusionOk="0">
                  <a:moveTo>
                    <a:pt x="1" y="81"/>
                  </a:moveTo>
                  <a:cubicBezTo>
                    <a:pt x="4" y="53"/>
                    <a:pt x="11" y="29"/>
                    <a:pt x="11" y="1"/>
                  </a:cubicBezTo>
                  <a:cubicBezTo>
                    <a:pt x="11" y="29"/>
                    <a:pt x="4" y="53"/>
                    <a:pt x="1" y="8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391" name="Google Shape;5391;p104"/>
            <p:cNvSpPr/>
            <p:nvPr/>
          </p:nvSpPr>
          <p:spPr>
            <a:xfrm>
              <a:off x="1644698" y="2002588"/>
              <a:ext cx="109" cy="204"/>
            </a:xfrm>
            <a:custGeom>
              <a:avLst/>
              <a:gdLst/>
              <a:ahLst/>
              <a:cxnLst/>
              <a:rect l="l" t="t" r="r" b="b"/>
              <a:pathLst>
                <a:path w="8" h="15" extrusionOk="0">
                  <a:moveTo>
                    <a:pt x="0" y="14"/>
                  </a:moveTo>
                  <a:lnTo>
                    <a:pt x="7"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392" name="Google Shape;5392;p104"/>
            <p:cNvSpPr/>
            <p:nvPr/>
          </p:nvSpPr>
          <p:spPr>
            <a:xfrm>
              <a:off x="1643937" y="2004734"/>
              <a:ext cx="14" cy="54"/>
            </a:xfrm>
            <a:custGeom>
              <a:avLst/>
              <a:gdLst/>
              <a:ahLst/>
              <a:cxnLst/>
              <a:rect l="l" t="t" r="r" b="b"/>
              <a:pathLst>
                <a:path w="1" h="4" extrusionOk="0">
                  <a:moveTo>
                    <a:pt x="0"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393" name="Google Shape;5393;p104"/>
            <p:cNvSpPr/>
            <p:nvPr/>
          </p:nvSpPr>
          <p:spPr>
            <a:xfrm>
              <a:off x="1642267" y="2025209"/>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394" name="Google Shape;5394;p104"/>
            <p:cNvSpPr/>
            <p:nvPr/>
          </p:nvSpPr>
          <p:spPr>
            <a:xfrm>
              <a:off x="1644603" y="2003009"/>
              <a:ext cx="54" cy="163"/>
            </a:xfrm>
            <a:custGeom>
              <a:avLst/>
              <a:gdLst/>
              <a:ahLst/>
              <a:cxnLst/>
              <a:rect l="l" t="t" r="r" b="b"/>
              <a:pathLst>
                <a:path w="4" h="12" extrusionOk="0">
                  <a:moveTo>
                    <a:pt x="0" y="1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395" name="Google Shape;5395;p104"/>
            <p:cNvSpPr/>
            <p:nvPr/>
          </p:nvSpPr>
          <p:spPr>
            <a:xfrm>
              <a:off x="1642892" y="2024122"/>
              <a:ext cx="109" cy="109"/>
            </a:xfrm>
            <a:custGeom>
              <a:avLst/>
              <a:gdLst/>
              <a:ahLst/>
              <a:cxnLst/>
              <a:rect l="l" t="t" r="r" b="b"/>
              <a:pathLst>
                <a:path w="8" h="8" extrusionOk="0">
                  <a:moveTo>
                    <a:pt x="0" y="7"/>
                  </a:moveTo>
                  <a:lnTo>
                    <a:pt x="7"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396" name="Google Shape;5396;p104"/>
            <p:cNvSpPr/>
            <p:nvPr/>
          </p:nvSpPr>
          <p:spPr>
            <a:xfrm>
              <a:off x="1643598" y="2005250"/>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397" name="Google Shape;5397;p104"/>
            <p:cNvSpPr/>
            <p:nvPr/>
          </p:nvSpPr>
          <p:spPr>
            <a:xfrm>
              <a:off x="1643842" y="2004869"/>
              <a:ext cx="14" cy="68"/>
            </a:xfrm>
            <a:custGeom>
              <a:avLst/>
              <a:gdLst/>
              <a:ahLst/>
              <a:cxnLst/>
              <a:rect l="l" t="t" r="r" b="b"/>
              <a:pathLst>
                <a:path w="1" h="5" extrusionOk="0">
                  <a:moveTo>
                    <a:pt x="0"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398" name="Google Shape;5398;p104"/>
            <p:cNvSpPr/>
            <p:nvPr/>
          </p:nvSpPr>
          <p:spPr>
            <a:xfrm>
              <a:off x="1642458" y="2024883"/>
              <a:ext cx="14" cy="54"/>
            </a:xfrm>
            <a:custGeom>
              <a:avLst/>
              <a:gdLst/>
              <a:ahLst/>
              <a:cxnLst/>
              <a:rect l="l" t="t" r="r" b="b"/>
              <a:pathLst>
                <a:path w="1" h="4" extrusionOk="0">
                  <a:moveTo>
                    <a:pt x="1" y="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399" name="Google Shape;5399;p104"/>
            <p:cNvSpPr/>
            <p:nvPr/>
          </p:nvSpPr>
          <p:spPr>
            <a:xfrm>
              <a:off x="1643747" y="2004964"/>
              <a:ext cx="14" cy="68"/>
            </a:xfrm>
            <a:custGeom>
              <a:avLst/>
              <a:gdLst/>
              <a:ahLst/>
              <a:cxnLst/>
              <a:rect l="l" t="t" r="r" b="b"/>
              <a:pathLst>
                <a:path w="1" h="5" extrusionOk="0">
                  <a:moveTo>
                    <a:pt x="0"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400" name="Google Shape;5400;p104"/>
            <p:cNvSpPr/>
            <p:nvPr/>
          </p:nvSpPr>
          <p:spPr>
            <a:xfrm>
              <a:off x="1415781" y="1868483"/>
              <a:ext cx="74445" cy="23055"/>
            </a:xfrm>
            <a:custGeom>
              <a:avLst/>
              <a:gdLst/>
              <a:ahLst/>
              <a:cxnLst/>
              <a:rect l="l" t="t" r="r" b="b"/>
              <a:pathLst>
                <a:path w="5483" h="1698" extrusionOk="0">
                  <a:moveTo>
                    <a:pt x="1463" y="0"/>
                  </a:moveTo>
                  <a:cubicBezTo>
                    <a:pt x="950" y="0"/>
                    <a:pt x="486" y="202"/>
                    <a:pt x="210" y="411"/>
                  </a:cubicBezTo>
                  <a:cubicBezTo>
                    <a:pt x="67" y="516"/>
                    <a:pt x="11" y="597"/>
                    <a:pt x="0" y="628"/>
                  </a:cubicBezTo>
                  <a:cubicBezTo>
                    <a:pt x="13" y="640"/>
                    <a:pt x="31" y="646"/>
                    <a:pt x="54" y="646"/>
                  </a:cubicBezTo>
                  <a:cubicBezTo>
                    <a:pt x="212" y="646"/>
                    <a:pt x="577" y="372"/>
                    <a:pt x="746" y="247"/>
                  </a:cubicBezTo>
                  <a:lnTo>
                    <a:pt x="847" y="170"/>
                  </a:lnTo>
                  <a:cubicBezTo>
                    <a:pt x="912" y="121"/>
                    <a:pt x="989" y="94"/>
                    <a:pt x="1068" y="94"/>
                  </a:cubicBezTo>
                  <a:cubicBezTo>
                    <a:pt x="1113" y="94"/>
                    <a:pt x="1158" y="103"/>
                    <a:pt x="1201" y="121"/>
                  </a:cubicBezTo>
                  <a:cubicBezTo>
                    <a:pt x="1337" y="177"/>
                    <a:pt x="1439" y="289"/>
                    <a:pt x="1484" y="429"/>
                  </a:cubicBezTo>
                  <a:cubicBezTo>
                    <a:pt x="1484" y="429"/>
                    <a:pt x="1519" y="562"/>
                    <a:pt x="2346" y="597"/>
                  </a:cubicBezTo>
                  <a:cubicBezTo>
                    <a:pt x="2668" y="611"/>
                    <a:pt x="2843" y="761"/>
                    <a:pt x="3011" y="908"/>
                  </a:cubicBezTo>
                  <a:cubicBezTo>
                    <a:pt x="3154" y="1034"/>
                    <a:pt x="3291" y="1150"/>
                    <a:pt x="3522" y="1202"/>
                  </a:cubicBezTo>
                  <a:cubicBezTo>
                    <a:pt x="3683" y="1241"/>
                    <a:pt x="3770" y="1290"/>
                    <a:pt x="3805" y="1360"/>
                  </a:cubicBezTo>
                  <a:cubicBezTo>
                    <a:pt x="3841" y="1433"/>
                    <a:pt x="3805" y="1507"/>
                    <a:pt x="3781" y="1563"/>
                  </a:cubicBezTo>
                  <a:cubicBezTo>
                    <a:pt x="3770" y="1580"/>
                    <a:pt x="3763" y="1601"/>
                    <a:pt x="3760" y="1622"/>
                  </a:cubicBezTo>
                  <a:cubicBezTo>
                    <a:pt x="3770" y="1633"/>
                    <a:pt x="3781" y="1640"/>
                    <a:pt x="3795" y="1643"/>
                  </a:cubicBezTo>
                  <a:cubicBezTo>
                    <a:pt x="3902" y="1682"/>
                    <a:pt x="4174" y="1698"/>
                    <a:pt x="4469" y="1698"/>
                  </a:cubicBezTo>
                  <a:cubicBezTo>
                    <a:pt x="4899" y="1698"/>
                    <a:pt x="5379" y="1665"/>
                    <a:pt x="5482" y="1619"/>
                  </a:cubicBezTo>
                  <a:cubicBezTo>
                    <a:pt x="5426" y="1493"/>
                    <a:pt x="4842" y="1115"/>
                    <a:pt x="4527" y="1115"/>
                  </a:cubicBezTo>
                  <a:cubicBezTo>
                    <a:pt x="4352" y="1115"/>
                    <a:pt x="4044" y="961"/>
                    <a:pt x="3623" y="751"/>
                  </a:cubicBezTo>
                  <a:cubicBezTo>
                    <a:pt x="3112" y="495"/>
                    <a:pt x="2475" y="180"/>
                    <a:pt x="1866" y="44"/>
                  </a:cubicBezTo>
                  <a:cubicBezTo>
                    <a:pt x="1730" y="14"/>
                    <a:pt x="1595" y="0"/>
                    <a:pt x="1463"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401" name="Google Shape;5401;p104"/>
            <p:cNvSpPr/>
            <p:nvPr/>
          </p:nvSpPr>
          <p:spPr>
            <a:xfrm>
              <a:off x="1460410" y="1905007"/>
              <a:ext cx="815" cy="434"/>
            </a:xfrm>
            <a:custGeom>
              <a:avLst/>
              <a:gdLst/>
              <a:ahLst/>
              <a:cxnLst/>
              <a:rect l="l" t="t" r="r" b="b"/>
              <a:pathLst>
                <a:path w="60" h="32" extrusionOk="0">
                  <a:moveTo>
                    <a:pt x="56" y="0"/>
                  </a:moveTo>
                  <a:lnTo>
                    <a:pt x="0" y="32"/>
                  </a:lnTo>
                  <a:lnTo>
                    <a:pt x="0" y="32"/>
                  </a:lnTo>
                  <a:lnTo>
                    <a:pt x="60"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402" name="Google Shape;5402;p104"/>
            <p:cNvSpPr/>
            <p:nvPr/>
          </p:nvSpPr>
          <p:spPr>
            <a:xfrm>
              <a:off x="1461402" y="1905075"/>
              <a:ext cx="13333" cy="3286"/>
            </a:xfrm>
            <a:custGeom>
              <a:avLst/>
              <a:gdLst/>
              <a:ahLst/>
              <a:cxnLst/>
              <a:rect l="l" t="t" r="r" b="b"/>
              <a:pathLst>
                <a:path w="982" h="242" extrusionOk="0">
                  <a:moveTo>
                    <a:pt x="141" y="0"/>
                  </a:moveTo>
                  <a:cubicBezTo>
                    <a:pt x="79" y="0"/>
                    <a:pt x="29" y="5"/>
                    <a:pt x="1" y="13"/>
                  </a:cubicBezTo>
                  <a:cubicBezTo>
                    <a:pt x="95" y="103"/>
                    <a:pt x="511" y="241"/>
                    <a:pt x="798" y="241"/>
                  </a:cubicBezTo>
                  <a:cubicBezTo>
                    <a:pt x="812" y="241"/>
                    <a:pt x="825" y="241"/>
                    <a:pt x="838" y="240"/>
                  </a:cubicBezTo>
                  <a:cubicBezTo>
                    <a:pt x="925" y="237"/>
                    <a:pt x="967" y="216"/>
                    <a:pt x="981" y="198"/>
                  </a:cubicBezTo>
                  <a:cubicBezTo>
                    <a:pt x="971" y="181"/>
                    <a:pt x="911" y="135"/>
                    <a:pt x="736" y="83"/>
                  </a:cubicBezTo>
                  <a:cubicBezTo>
                    <a:pt x="525" y="26"/>
                    <a:pt x="293" y="0"/>
                    <a:pt x="141"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403" name="Google Shape;5403;p104"/>
            <p:cNvSpPr/>
            <p:nvPr/>
          </p:nvSpPr>
          <p:spPr>
            <a:xfrm>
              <a:off x="1545446" y="1904002"/>
              <a:ext cx="11039" cy="3720"/>
            </a:xfrm>
            <a:custGeom>
              <a:avLst/>
              <a:gdLst/>
              <a:ahLst/>
              <a:cxnLst/>
              <a:rect l="l" t="t" r="r" b="b"/>
              <a:pathLst>
                <a:path w="813" h="274" extrusionOk="0">
                  <a:moveTo>
                    <a:pt x="308" y="1"/>
                  </a:moveTo>
                  <a:cubicBezTo>
                    <a:pt x="179" y="1"/>
                    <a:pt x="63" y="18"/>
                    <a:pt x="21" y="60"/>
                  </a:cubicBezTo>
                  <a:cubicBezTo>
                    <a:pt x="14" y="67"/>
                    <a:pt x="0" y="78"/>
                    <a:pt x="28" y="120"/>
                  </a:cubicBezTo>
                  <a:cubicBezTo>
                    <a:pt x="109" y="246"/>
                    <a:pt x="260" y="274"/>
                    <a:pt x="371" y="274"/>
                  </a:cubicBezTo>
                  <a:cubicBezTo>
                    <a:pt x="396" y="274"/>
                    <a:pt x="418" y="272"/>
                    <a:pt x="438" y="270"/>
                  </a:cubicBezTo>
                  <a:cubicBezTo>
                    <a:pt x="641" y="253"/>
                    <a:pt x="795" y="165"/>
                    <a:pt x="809" y="130"/>
                  </a:cubicBezTo>
                  <a:cubicBezTo>
                    <a:pt x="813" y="120"/>
                    <a:pt x="781" y="99"/>
                    <a:pt x="781" y="99"/>
                  </a:cubicBezTo>
                  <a:cubicBezTo>
                    <a:pt x="687" y="36"/>
                    <a:pt x="483" y="1"/>
                    <a:pt x="308" y="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404" name="Google Shape;5404;p104"/>
            <p:cNvSpPr/>
            <p:nvPr/>
          </p:nvSpPr>
          <p:spPr>
            <a:xfrm>
              <a:off x="1591976" y="2466518"/>
              <a:ext cx="8907" cy="7115"/>
            </a:xfrm>
            <a:custGeom>
              <a:avLst/>
              <a:gdLst/>
              <a:ahLst/>
              <a:cxnLst/>
              <a:rect l="l" t="t" r="r" b="b"/>
              <a:pathLst>
                <a:path w="656" h="524" extrusionOk="0">
                  <a:moveTo>
                    <a:pt x="619" y="1"/>
                  </a:moveTo>
                  <a:cubicBezTo>
                    <a:pt x="614" y="1"/>
                    <a:pt x="610" y="1"/>
                    <a:pt x="606" y="3"/>
                  </a:cubicBezTo>
                  <a:cubicBezTo>
                    <a:pt x="431" y="3"/>
                    <a:pt x="78" y="255"/>
                    <a:pt x="18" y="434"/>
                  </a:cubicBezTo>
                  <a:cubicBezTo>
                    <a:pt x="1" y="486"/>
                    <a:pt x="18" y="500"/>
                    <a:pt x="43" y="511"/>
                  </a:cubicBezTo>
                  <a:cubicBezTo>
                    <a:pt x="59" y="519"/>
                    <a:pt x="79" y="523"/>
                    <a:pt x="100" y="523"/>
                  </a:cubicBezTo>
                  <a:cubicBezTo>
                    <a:pt x="197" y="523"/>
                    <a:pt x="338" y="442"/>
                    <a:pt x="470" y="304"/>
                  </a:cubicBezTo>
                  <a:cubicBezTo>
                    <a:pt x="620" y="147"/>
                    <a:pt x="655" y="28"/>
                    <a:pt x="645" y="7"/>
                  </a:cubicBezTo>
                  <a:cubicBezTo>
                    <a:pt x="641" y="3"/>
                    <a:pt x="638" y="3"/>
                    <a:pt x="634" y="3"/>
                  </a:cubicBezTo>
                  <a:cubicBezTo>
                    <a:pt x="629" y="1"/>
                    <a:pt x="624" y="1"/>
                    <a:pt x="619" y="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405" name="Google Shape;5405;p104"/>
            <p:cNvSpPr/>
            <p:nvPr/>
          </p:nvSpPr>
          <p:spPr>
            <a:xfrm>
              <a:off x="1602621" y="2468718"/>
              <a:ext cx="10862" cy="5540"/>
            </a:xfrm>
            <a:custGeom>
              <a:avLst/>
              <a:gdLst/>
              <a:ahLst/>
              <a:cxnLst/>
              <a:rect l="l" t="t" r="r" b="b"/>
              <a:pathLst>
                <a:path w="800" h="408" extrusionOk="0">
                  <a:moveTo>
                    <a:pt x="660" y="1"/>
                  </a:moveTo>
                  <a:cubicBezTo>
                    <a:pt x="633" y="1"/>
                    <a:pt x="604" y="5"/>
                    <a:pt x="572" y="13"/>
                  </a:cubicBezTo>
                  <a:cubicBezTo>
                    <a:pt x="309" y="72"/>
                    <a:pt x="29" y="317"/>
                    <a:pt x="1" y="401"/>
                  </a:cubicBezTo>
                  <a:cubicBezTo>
                    <a:pt x="15" y="405"/>
                    <a:pt x="32" y="407"/>
                    <a:pt x="53" y="407"/>
                  </a:cubicBezTo>
                  <a:cubicBezTo>
                    <a:pt x="197" y="407"/>
                    <a:pt x="491" y="316"/>
                    <a:pt x="684" y="188"/>
                  </a:cubicBezTo>
                  <a:cubicBezTo>
                    <a:pt x="782" y="121"/>
                    <a:pt x="799" y="79"/>
                    <a:pt x="799" y="72"/>
                  </a:cubicBezTo>
                  <a:cubicBezTo>
                    <a:pt x="772" y="25"/>
                    <a:pt x="725" y="1"/>
                    <a:pt x="660" y="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406" name="Google Shape;5406;p104"/>
            <p:cNvSpPr/>
            <p:nvPr/>
          </p:nvSpPr>
          <p:spPr>
            <a:xfrm>
              <a:off x="1441633" y="2034672"/>
              <a:ext cx="41181" cy="45838"/>
            </a:xfrm>
            <a:custGeom>
              <a:avLst/>
              <a:gdLst/>
              <a:ahLst/>
              <a:cxnLst/>
              <a:rect l="l" t="t" r="r" b="b"/>
              <a:pathLst>
                <a:path w="3033" h="3376" extrusionOk="0">
                  <a:moveTo>
                    <a:pt x="1117" y="1"/>
                  </a:moveTo>
                  <a:cubicBezTo>
                    <a:pt x="1110" y="25"/>
                    <a:pt x="1100" y="46"/>
                    <a:pt x="1082" y="64"/>
                  </a:cubicBezTo>
                  <a:cubicBezTo>
                    <a:pt x="1019" y="141"/>
                    <a:pt x="869" y="197"/>
                    <a:pt x="687" y="207"/>
                  </a:cubicBezTo>
                  <a:cubicBezTo>
                    <a:pt x="578" y="214"/>
                    <a:pt x="564" y="295"/>
                    <a:pt x="564" y="494"/>
                  </a:cubicBezTo>
                  <a:lnTo>
                    <a:pt x="564" y="540"/>
                  </a:lnTo>
                  <a:cubicBezTo>
                    <a:pt x="564" y="659"/>
                    <a:pt x="494" y="715"/>
                    <a:pt x="435" y="764"/>
                  </a:cubicBezTo>
                  <a:cubicBezTo>
                    <a:pt x="386" y="795"/>
                    <a:pt x="344" y="841"/>
                    <a:pt x="319" y="893"/>
                  </a:cubicBezTo>
                  <a:cubicBezTo>
                    <a:pt x="302" y="932"/>
                    <a:pt x="291" y="974"/>
                    <a:pt x="291" y="1019"/>
                  </a:cubicBezTo>
                  <a:cubicBezTo>
                    <a:pt x="284" y="1096"/>
                    <a:pt x="270" y="1152"/>
                    <a:pt x="141" y="1219"/>
                  </a:cubicBezTo>
                  <a:cubicBezTo>
                    <a:pt x="81" y="1240"/>
                    <a:pt x="32" y="1289"/>
                    <a:pt x="11" y="1352"/>
                  </a:cubicBezTo>
                  <a:cubicBezTo>
                    <a:pt x="1" y="1404"/>
                    <a:pt x="11" y="1457"/>
                    <a:pt x="43" y="1499"/>
                  </a:cubicBezTo>
                  <a:cubicBezTo>
                    <a:pt x="141" y="1642"/>
                    <a:pt x="78" y="1772"/>
                    <a:pt x="39" y="1859"/>
                  </a:cubicBezTo>
                  <a:cubicBezTo>
                    <a:pt x="32" y="1877"/>
                    <a:pt x="25" y="1895"/>
                    <a:pt x="18" y="1912"/>
                  </a:cubicBezTo>
                  <a:cubicBezTo>
                    <a:pt x="46" y="1937"/>
                    <a:pt x="74" y="1958"/>
                    <a:pt x="106" y="1979"/>
                  </a:cubicBezTo>
                  <a:cubicBezTo>
                    <a:pt x="179" y="2021"/>
                    <a:pt x="249" y="2073"/>
                    <a:pt x="312" y="2129"/>
                  </a:cubicBezTo>
                  <a:cubicBezTo>
                    <a:pt x="346" y="2161"/>
                    <a:pt x="365" y="2171"/>
                    <a:pt x="381" y="2171"/>
                  </a:cubicBezTo>
                  <a:cubicBezTo>
                    <a:pt x="393" y="2171"/>
                    <a:pt x="403" y="2165"/>
                    <a:pt x="417" y="2157"/>
                  </a:cubicBezTo>
                  <a:cubicBezTo>
                    <a:pt x="431" y="2150"/>
                    <a:pt x="458" y="2134"/>
                    <a:pt x="490" y="2134"/>
                  </a:cubicBezTo>
                  <a:cubicBezTo>
                    <a:pt x="522" y="2134"/>
                    <a:pt x="559" y="2150"/>
                    <a:pt x="592" y="2206"/>
                  </a:cubicBezTo>
                  <a:cubicBezTo>
                    <a:pt x="634" y="2290"/>
                    <a:pt x="631" y="2392"/>
                    <a:pt x="582" y="2472"/>
                  </a:cubicBezTo>
                  <a:cubicBezTo>
                    <a:pt x="536" y="2549"/>
                    <a:pt x="459" y="2609"/>
                    <a:pt x="372" y="2633"/>
                  </a:cubicBezTo>
                  <a:lnTo>
                    <a:pt x="375" y="2640"/>
                  </a:lnTo>
                  <a:lnTo>
                    <a:pt x="386" y="2654"/>
                  </a:lnTo>
                  <a:cubicBezTo>
                    <a:pt x="393" y="2665"/>
                    <a:pt x="396" y="2675"/>
                    <a:pt x="403" y="2686"/>
                  </a:cubicBezTo>
                  <a:lnTo>
                    <a:pt x="410" y="2700"/>
                  </a:lnTo>
                  <a:cubicBezTo>
                    <a:pt x="417" y="2710"/>
                    <a:pt x="421" y="2721"/>
                    <a:pt x="424" y="2735"/>
                  </a:cubicBezTo>
                  <a:cubicBezTo>
                    <a:pt x="424" y="2738"/>
                    <a:pt x="428" y="2742"/>
                    <a:pt x="428" y="2745"/>
                  </a:cubicBezTo>
                  <a:cubicBezTo>
                    <a:pt x="431" y="2756"/>
                    <a:pt x="435" y="2770"/>
                    <a:pt x="435" y="2784"/>
                  </a:cubicBezTo>
                  <a:lnTo>
                    <a:pt x="435" y="2794"/>
                  </a:lnTo>
                  <a:cubicBezTo>
                    <a:pt x="438" y="2805"/>
                    <a:pt x="438" y="2812"/>
                    <a:pt x="435" y="2822"/>
                  </a:cubicBezTo>
                  <a:lnTo>
                    <a:pt x="435" y="2836"/>
                  </a:lnTo>
                  <a:cubicBezTo>
                    <a:pt x="435" y="2843"/>
                    <a:pt x="431" y="2854"/>
                    <a:pt x="431" y="2861"/>
                  </a:cubicBezTo>
                  <a:cubicBezTo>
                    <a:pt x="431" y="2864"/>
                    <a:pt x="431" y="2868"/>
                    <a:pt x="428" y="2871"/>
                  </a:cubicBezTo>
                  <a:cubicBezTo>
                    <a:pt x="421" y="2882"/>
                    <a:pt x="417" y="2896"/>
                    <a:pt x="410" y="2906"/>
                  </a:cubicBezTo>
                  <a:cubicBezTo>
                    <a:pt x="393" y="2927"/>
                    <a:pt x="375" y="2952"/>
                    <a:pt x="354" y="2973"/>
                  </a:cubicBezTo>
                  <a:cubicBezTo>
                    <a:pt x="344" y="2987"/>
                    <a:pt x="333" y="3001"/>
                    <a:pt x="323" y="3015"/>
                  </a:cubicBezTo>
                  <a:cubicBezTo>
                    <a:pt x="344" y="3046"/>
                    <a:pt x="372" y="3074"/>
                    <a:pt x="400" y="3099"/>
                  </a:cubicBezTo>
                  <a:cubicBezTo>
                    <a:pt x="430" y="3127"/>
                    <a:pt x="456" y="3136"/>
                    <a:pt x="484" y="3136"/>
                  </a:cubicBezTo>
                  <a:cubicBezTo>
                    <a:pt x="504" y="3136"/>
                    <a:pt x="525" y="3131"/>
                    <a:pt x="550" y="3127"/>
                  </a:cubicBezTo>
                  <a:lnTo>
                    <a:pt x="592" y="3116"/>
                  </a:lnTo>
                  <a:lnTo>
                    <a:pt x="596" y="3116"/>
                  </a:lnTo>
                  <a:cubicBezTo>
                    <a:pt x="610" y="3116"/>
                    <a:pt x="624" y="3113"/>
                    <a:pt x="638" y="3113"/>
                  </a:cubicBezTo>
                  <a:lnTo>
                    <a:pt x="666" y="3113"/>
                  </a:lnTo>
                  <a:lnTo>
                    <a:pt x="683" y="3116"/>
                  </a:lnTo>
                  <a:lnTo>
                    <a:pt x="690" y="3116"/>
                  </a:lnTo>
                  <a:lnTo>
                    <a:pt x="704" y="3120"/>
                  </a:lnTo>
                  <a:lnTo>
                    <a:pt x="711" y="3123"/>
                  </a:lnTo>
                  <a:lnTo>
                    <a:pt x="725" y="3130"/>
                  </a:lnTo>
                  <a:lnTo>
                    <a:pt x="732" y="3134"/>
                  </a:lnTo>
                  <a:cubicBezTo>
                    <a:pt x="739" y="3137"/>
                    <a:pt x="746" y="3141"/>
                    <a:pt x="753" y="3144"/>
                  </a:cubicBezTo>
                  <a:lnTo>
                    <a:pt x="760" y="3151"/>
                  </a:lnTo>
                  <a:lnTo>
                    <a:pt x="774" y="3162"/>
                  </a:lnTo>
                  <a:lnTo>
                    <a:pt x="781" y="3169"/>
                  </a:lnTo>
                  <a:lnTo>
                    <a:pt x="799" y="3186"/>
                  </a:lnTo>
                  <a:lnTo>
                    <a:pt x="806" y="3193"/>
                  </a:lnTo>
                  <a:cubicBezTo>
                    <a:pt x="813" y="3200"/>
                    <a:pt x="820" y="3207"/>
                    <a:pt x="827" y="3218"/>
                  </a:cubicBezTo>
                  <a:cubicBezTo>
                    <a:pt x="858" y="3267"/>
                    <a:pt x="897" y="3309"/>
                    <a:pt x="939" y="3351"/>
                  </a:cubicBezTo>
                  <a:cubicBezTo>
                    <a:pt x="949" y="3365"/>
                    <a:pt x="967" y="3372"/>
                    <a:pt x="988" y="3375"/>
                  </a:cubicBezTo>
                  <a:cubicBezTo>
                    <a:pt x="995" y="3375"/>
                    <a:pt x="1040" y="3361"/>
                    <a:pt x="1103" y="3207"/>
                  </a:cubicBezTo>
                  <a:cubicBezTo>
                    <a:pt x="1135" y="3134"/>
                    <a:pt x="1166" y="3053"/>
                    <a:pt x="1194" y="2966"/>
                  </a:cubicBezTo>
                  <a:cubicBezTo>
                    <a:pt x="1303" y="2672"/>
                    <a:pt x="1415" y="2364"/>
                    <a:pt x="1639" y="2297"/>
                  </a:cubicBezTo>
                  <a:cubicBezTo>
                    <a:pt x="1670" y="2287"/>
                    <a:pt x="1705" y="2280"/>
                    <a:pt x="1740" y="2269"/>
                  </a:cubicBezTo>
                  <a:cubicBezTo>
                    <a:pt x="2014" y="2192"/>
                    <a:pt x="2427" y="2077"/>
                    <a:pt x="2679" y="1737"/>
                  </a:cubicBezTo>
                  <a:cubicBezTo>
                    <a:pt x="2840" y="1523"/>
                    <a:pt x="2864" y="1429"/>
                    <a:pt x="2878" y="1359"/>
                  </a:cubicBezTo>
                  <a:cubicBezTo>
                    <a:pt x="2892" y="1282"/>
                    <a:pt x="2934" y="1215"/>
                    <a:pt x="2994" y="1170"/>
                  </a:cubicBezTo>
                  <a:lnTo>
                    <a:pt x="3008" y="1159"/>
                  </a:lnTo>
                  <a:lnTo>
                    <a:pt x="3015" y="1152"/>
                  </a:lnTo>
                  <a:lnTo>
                    <a:pt x="3018" y="1149"/>
                  </a:lnTo>
                  <a:lnTo>
                    <a:pt x="3025" y="1142"/>
                  </a:lnTo>
                  <a:lnTo>
                    <a:pt x="3029" y="1135"/>
                  </a:lnTo>
                  <a:lnTo>
                    <a:pt x="3029" y="1131"/>
                  </a:lnTo>
                  <a:cubicBezTo>
                    <a:pt x="3029" y="1128"/>
                    <a:pt x="3029" y="1128"/>
                    <a:pt x="3029" y="1124"/>
                  </a:cubicBezTo>
                  <a:lnTo>
                    <a:pt x="3029" y="1117"/>
                  </a:lnTo>
                  <a:cubicBezTo>
                    <a:pt x="3032" y="1082"/>
                    <a:pt x="2983" y="1016"/>
                    <a:pt x="2927" y="949"/>
                  </a:cubicBezTo>
                  <a:lnTo>
                    <a:pt x="2917" y="935"/>
                  </a:lnTo>
                  <a:lnTo>
                    <a:pt x="2892" y="911"/>
                  </a:lnTo>
                  <a:lnTo>
                    <a:pt x="2885" y="900"/>
                  </a:lnTo>
                  <a:lnTo>
                    <a:pt x="2857" y="872"/>
                  </a:lnTo>
                  <a:lnTo>
                    <a:pt x="2833" y="844"/>
                  </a:lnTo>
                  <a:cubicBezTo>
                    <a:pt x="2808" y="816"/>
                    <a:pt x="2763" y="764"/>
                    <a:pt x="2714" y="715"/>
                  </a:cubicBezTo>
                  <a:lnTo>
                    <a:pt x="2693" y="694"/>
                  </a:lnTo>
                  <a:lnTo>
                    <a:pt x="2682" y="683"/>
                  </a:lnTo>
                  <a:lnTo>
                    <a:pt x="2651" y="652"/>
                  </a:lnTo>
                  <a:lnTo>
                    <a:pt x="2619" y="624"/>
                  </a:lnTo>
                  <a:cubicBezTo>
                    <a:pt x="2602" y="603"/>
                    <a:pt x="2581" y="585"/>
                    <a:pt x="2560" y="571"/>
                  </a:cubicBezTo>
                  <a:cubicBezTo>
                    <a:pt x="2553" y="564"/>
                    <a:pt x="2542" y="557"/>
                    <a:pt x="2532" y="554"/>
                  </a:cubicBezTo>
                  <a:cubicBezTo>
                    <a:pt x="2525" y="557"/>
                    <a:pt x="2521" y="564"/>
                    <a:pt x="2514" y="568"/>
                  </a:cubicBezTo>
                  <a:cubicBezTo>
                    <a:pt x="2465" y="603"/>
                    <a:pt x="2386" y="623"/>
                    <a:pt x="2300" y="623"/>
                  </a:cubicBezTo>
                  <a:cubicBezTo>
                    <a:pt x="2214" y="623"/>
                    <a:pt x="2120" y="603"/>
                    <a:pt x="2042" y="557"/>
                  </a:cubicBezTo>
                  <a:cubicBezTo>
                    <a:pt x="1975" y="515"/>
                    <a:pt x="1916" y="466"/>
                    <a:pt x="1866" y="410"/>
                  </a:cubicBezTo>
                  <a:cubicBezTo>
                    <a:pt x="1814" y="358"/>
                    <a:pt x="1772" y="312"/>
                    <a:pt x="1733" y="312"/>
                  </a:cubicBezTo>
                  <a:lnTo>
                    <a:pt x="1695" y="312"/>
                  </a:lnTo>
                  <a:lnTo>
                    <a:pt x="1674" y="305"/>
                  </a:lnTo>
                  <a:lnTo>
                    <a:pt x="1660" y="302"/>
                  </a:lnTo>
                  <a:lnTo>
                    <a:pt x="1639" y="295"/>
                  </a:lnTo>
                  <a:lnTo>
                    <a:pt x="1625" y="291"/>
                  </a:lnTo>
                  <a:lnTo>
                    <a:pt x="1597" y="281"/>
                  </a:lnTo>
                  <a:lnTo>
                    <a:pt x="1583" y="274"/>
                  </a:lnTo>
                  <a:lnTo>
                    <a:pt x="1548" y="260"/>
                  </a:lnTo>
                  <a:lnTo>
                    <a:pt x="1541" y="256"/>
                  </a:lnTo>
                  <a:lnTo>
                    <a:pt x="1495" y="232"/>
                  </a:lnTo>
                  <a:lnTo>
                    <a:pt x="1481" y="225"/>
                  </a:lnTo>
                  <a:lnTo>
                    <a:pt x="1450" y="207"/>
                  </a:lnTo>
                  <a:lnTo>
                    <a:pt x="1432" y="197"/>
                  </a:lnTo>
                  <a:lnTo>
                    <a:pt x="1401" y="183"/>
                  </a:lnTo>
                  <a:lnTo>
                    <a:pt x="1380" y="169"/>
                  </a:lnTo>
                  <a:lnTo>
                    <a:pt x="1352" y="151"/>
                  </a:lnTo>
                  <a:lnTo>
                    <a:pt x="1331" y="141"/>
                  </a:lnTo>
                  <a:lnTo>
                    <a:pt x="1299" y="123"/>
                  </a:lnTo>
                  <a:lnTo>
                    <a:pt x="1285" y="113"/>
                  </a:lnTo>
                  <a:lnTo>
                    <a:pt x="1236" y="85"/>
                  </a:lnTo>
                  <a:lnTo>
                    <a:pt x="1226" y="74"/>
                  </a:lnTo>
                  <a:lnTo>
                    <a:pt x="1191" y="53"/>
                  </a:lnTo>
                  <a:lnTo>
                    <a:pt x="1173" y="39"/>
                  </a:lnTo>
                  <a:lnTo>
                    <a:pt x="1149" y="22"/>
                  </a:lnTo>
                  <a:lnTo>
                    <a:pt x="1128" y="8"/>
                  </a:lnTo>
                  <a:lnTo>
                    <a:pt x="1117"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407" name="Google Shape;5407;p104"/>
            <p:cNvSpPr/>
            <p:nvPr/>
          </p:nvSpPr>
          <p:spPr>
            <a:xfrm>
              <a:off x="1464633" y="2038813"/>
              <a:ext cx="163" cy="14"/>
            </a:xfrm>
            <a:custGeom>
              <a:avLst/>
              <a:gdLst/>
              <a:ahLst/>
              <a:cxnLst/>
              <a:rect l="l" t="t" r="r" b="b"/>
              <a:pathLst>
                <a:path w="12" h="1" extrusionOk="0">
                  <a:moveTo>
                    <a:pt x="1" y="0"/>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408" name="Google Shape;5408;p104"/>
            <p:cNvSpPr/>
            <p:nvPr/>
          </p:nvSpPr>
          <p:spPr>
            <a:xfrm>
              <a:off x="1462501" y="2038053"/>
              <a:ext cx="149" cy="109"/>
            </a:xfrm>
            <a:custGeom>
              <a:avLst/>
              <a:gdLst/>
              <a:ahLst/>
              <a:cxnLst/>
              <a:rect l="l" t="t" r="r" b="b"/>
              <a:pathLst>
                <a:path w="11" h="8" extrusionOk="0">
                  <a:moveTo>
                    <a:pt x="0" y="0"/>
                  </a:moveTo>
                  <a:lnTo>
                    <a:pt x="11" y="7"/>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409" name="Google Shape;5409;p104"/>
            <p:cNvSpPr/>
            <p:nvPr/>
          </p:nvSpPr>
          <p:spPr>
            <a:xfrm>
              <a:off x="1475767" y="2042140"/>
              <a:ext cx="244" cy="244"/>
            </a:xfrm>
            <a:custGeom>
              <a:avLst/>
              <a:gdLst/>
              <a:ahLst/>
              <a:cxnLst/>
              <a:rect l="l" t="t" r="r" b="b"/>
              <a:pathLst>
                <a:path w="18" h="18" extrusionOk="0">
                  <a:moveTo>
                    <a:pt x="0" y="18"/>
                  </a:moveTo>
                  <a:cubicBezTo>
                    <a:pt x="7" y="11"/>
                    <a:pt x="11" y="7"/>
                    <a:pt x="18" y="0"/>
                  </a:cubicBezTo>
                  <a:cubicBezTo>
                    <a:pt x="11" y="7"/>
                    <a:pt x="7" y="11"/>
                    <a:pt x="0" y="18"/>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410" name="Google Shape;5410;p104"/>
            <p:cNvSpPr/>
            <p:nvPr/>
          </p:nvSpPr>
          <p:spPr>
            <a:xfrm>
              <a:off x="1463112" y="2038338"/>
              <a:ext cx="204" cy="54"/>
            </a:xfrm>
            <a:custGeom>
              <a:avLst/>
              <a:gdLst/>
              <a:ahLst/>
              <a:cxnLst/>
              <a:rect l="l" t="t" r="r" b="b"/>
              <a:pathLst>
                <a:path w="15" h="4" extrusionOk="0">
                  <a:moveTo>
                    <a:pt x="1" y="0"/>
                  </a:moveTo>
                  <a:lnTo>
                    <a:pt x="15" y="4"/>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411" name="Google Shape;5411;p104"/>
            <p:cNvSpPr/>
            <p:nvPr/>
          </p:nvSpPr>
          <p:spPr>
            <a:xfrm>
              <a:off x="1464158" y="2038718"/>
              <a:ext cx="204" cy="54"/>
            </a:xfrm>
            <a:custGeom>
              <a:avLst/>
              <a:gdLst/>
              <a:ahLst/>
              <a:cxnLst/>
              <a:rect l="l" t="t" r="r" b="b"/>
              <a:pathLst>
                <a:path w="15" h="4" extrusionOk="0">
                  <a:moveTo>
                    <a:pt x="1" y="0"/>
                  </a:moveTo>
                  <a:lnTo>
                    <a:pt x="15" y="4"/>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412" name="Google Shape;5412;p104"/>
            <p:cNvSpPr/>
            <p:nvPr/>
          </p:nvSpPr>
          <p:spPr>
            <a:xfrm>
              <a:off x="1463642" y="2038569"/>
              <a:ext cx="204" cy="68"/>
            </a:xfrm>
            <a:custGeom>
              <a:avLst/>
              <a:gdLst/>
              <a:ahLst/>
              <a:cxnLst/>
              <a:rect l="l" t="t" r="r" b="b"/>
              <a:pathLst>
                <a:path w="15" h="5" extrusionOk="0">
                  <a:moveTo>
                    <a:pt x="0" y="1"/>
                  </a:moveTo>
                  <a:lnTo>
                    <a:pt x="14" y="4"/>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413" name="Google Shape;5413;p104"/>
            <p:cNvSpPr/>
            <p:nvPr/>
          </p:nvSpPr>
          <p:spPr>
            <a:xfrm>
              <a:off x="1478048" y="2043891"/>
              <a:ext cx="149" cy="163"/>
            </a:xfrm>
            <a:custGeom>
              <a:avLst/>
              <a:gdLst/>
              <a:ahLst/>
              <a:cxnLst/>
              <a:rect l="l" t="t" r="r" b="b"/>
              <a:pathLst>
                <a:path w="11" h="12" extrusionOk="0">
                  <a:moveTo>
                    <a:pt x="0" y="1"/>
                  </a:moveTo>
                  <a:lnTo>
                    <a:pt x="11" y="1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414" name="Google Shape;5414;p104"/>
            <p:cNvSpPr/>
            <p:nvPr/>
          </p:nvSpPr>
          <p:spPr>
            <a:xfrm>
              <a:off x="1478428" y="2044326"/>
              <a:ext cx="1670" cy="1819"/>
            </a:xfrm>
            <a:custGeom>
              <a:avLst/>
              <a:gdLst/>
              <a:ahLst/>
              <a:cxnLst/>
              <a:rect l="l" t="t" r="r" b="b"/>
              <a:pathLst>
                <a:path w="123" h="134" extrusionOk="0">
                  <a:moveTo>
                    <a:pt x="0" y="1"/>
                  </a:moveTo>
                  <a:lnTo>
                    <a:pt x="0" y="1"/>
                  </a:lnTo>
                  <a:cubicBezTo>
                    <a:pt x="49" y="49"/>
                    <a:pt x="91" y="98"/>
                    <a:pt x="116" y="130"/>
                  </a:cubicBezTo>
                  <a:lnTo>
                    <a:pt x="123" y="133"/>
                  </a:lnTo>
                  <a:cubicBezTo>
                    <a:pt x="98" y="105"/>
                    <a:pt x="53" y="53"/>
                    <a:pt x="0" y="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415" name="Google Shape;5415;p104"/>
            <p:cNvSpPr/>
            <p:nvPr/>
          </p:nvSpPr>
          <p:spPr>
            <a:xfrm>
              <a:off x="1459026" y="2036152"/>
              <a:ext cx="204" cy="109"/>
            </a:xfrm>
            <a:custGeom>
              <a:avLst/>
              <a:gdLst/>
              <a:ahLst/>
              <a:cxnLst/>
              <a:rect l="l" t="t" r="r" b="b"/>
              <a:pathLst>
                <a:path w="15" h="8" extrusionOk="0">
                  <a:moveTo>
                    <a:pt x="1" y="0"/>
                  </a:moveTo>
                  <a:lnTo>
                    <a:pt x="15" y="7"/>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416" name="Google Shape;5416;p104"/>
            <p:cNvSpPr/>
            <p:nvPr/>
          </p:nvSpPr>
          <p:spPr>
            <a:xfrm>
              <a:off x="1457559" y="2035147"/>
              <a:ext cx="244" cy="163"/>
            </a:xfrm>
            <a:custGeom>
              <a:avLst/>
              <a:gdLst/>
              <a:ahLst/>
              <a:cxnLst/>
              <a:rect l="l" t="t" r="r" b="b"/>
              <a:pathLst>
                <a:path w="18" h="12" extrusionOk="0">
                  <a:moveTo>
                    <a:pt x="0" y="1"/>
                  </a:moveTo>
                  <a:lnTo>
                    <a:pt x="18" y="1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417" name="Google Shape;5417;p104"/>
            <p:cNvSpPr/>
            <p:nvPr/>
          </p:nvSpPr>
          <p:spPr>
            <a:xfrm>
              <a:off x="1458265" y="2035622"/>
              <a:ext cx="163" cy="109"/>
            </a:xfrm>
            <a:custGeom>
              <a:avLst/>
              <a:gdLst/>
              <a:ahLst/>
              <a:cxnLst/>
              <a:rect l="l" t="t" r="r" b="b"/>
              <a:pathLst>
                <a:path w="12" h="8" extrusionOk="0">
                  <a:moveTo>
                    <a:pt x="1" y="1"/>
                  </a:moveTo>
                  <a:lnTo>
                    <a:pt x="11" y="8"/>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418" name="Google Shape;5418;p104"/>
            <p:cNvSpPr/>
            <p:nvPr/>
          </p:nvSpPr>
          <p:spPr>
            <a:xfrm>
              <a:off x="1477192" y="2043090"/>
              <a:ext cx="434" cy="394"/>
            </a:xfrm>
            <a:custGeom>
              <a:avLst/>
              <a:gdLst/>
              <a:ahLst/>
              <a:cxnLst/>
              <a:rect l="l" t="t" r="r" b="b"/>
              <a:pathLst>
                <a:path w="32" h="29" extrusionOk="0">
                  <a:moveTo>
                    <a:pt x="0" y="0"/>
                  </a:moveTo>
                  <a:lnTo>
                    <a:pt x="32" y="28"/>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419" name="Google Shape;5419;p104"/>
            <p:cNvSpPr/>
            <p:nvPr/>
          </p:nvSpPr>
          <p:spPr>
            <a:xfrm>
              <a:off x="1460356" y="2036912"/>
              <a:ext cx="258" cy="204"/>
            </a:xfrm>
            <a:custGeom>
              <a:avLst/>
              <a:gdLst/>
              <a:ahLst/>
              <a:cxnLst/>
              <a:rect l="l" t="t" r="r" b="b"/>
              <a:pathLst>
                <a:path w="19" h="15" extrusionOk="0">
                  <a:moveTo>
                    <a:pt x="1" y="0"/>
                  </a:moveTo>
                  <a:lnTo>
                    <a:pt x="18" y="14"/>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420" name="Google Shape;5420;p104"/>
            <p:cNvSpPr/>
            <p:nvPr/>
          </p:nvSpPr>
          <p:spPr>
            <a:xfrm>
              <a:off x="1456935" y="2034726"/>
              <a:ext cx="258" cy="204"/>
            </a:xfrm>
            <a:custGeom>
              <a:avLst/>
              <a:gdLst/>
              <a:ahLst/>
              <a:cxnLst/>
              <a:rect l="l" t="t" r="r" b="b"/>
              <a:pathLst>
                <a:path w="19" h="15" extrusionOk="0">
                  <a:moveTo>
                    <a:pt x="1" y="0"/>
                  </a:moveTo>
                  <a:lnTo>
                    <a:pt x="18" y="14"/>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421" name="Google Shape;5421;p104"/>
            <p:cNvSpPr/>
            <p:nvPr/>
          </p:nvSpPr>
          <p:spPr>
            <a:xfrm>
              <a:off x="1459691" y="2036532"/>
              <a:ext cx="258" cy="149"/>
            </a:xfrm>
            <a:custGeom>
              <a:avLst/>
              <a:gdLst/>
              <a:ahLst/>
              <a:cxnLst/>
              <a:rect l="l" t="t" r="r" b="b"/>
              <a:pathLst>
                <a:path w="19" h="11" extrusionOk="0">
                  <a:moveTo>
                    <a:pt x="1" y="0"/>
                  </a:moveTo>
                  <a:lnTo>
                    <a:pt x="18" y="1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422" name="Google Shape;5422;p104"/>
            <p:cNvSpPr/>
            <p:nvPr/>
          </p:nvSpPr>
          <p:spPr>
            <a:xfrm>
              <a:off x="1461021" y="2037293"/>
              <a:ext cx="258" cy="149"/>
            </a:xfrm>
            <a:custGeom>
              <a:avLst/>
              <a:gdLst/>
              <a:ahLst/>
              <a:cxnLst/>
              <a:rect l="l" t="t" r="r" b="b"/>
              <a:pathLst>
                <a:path w="19" h="11" extrusionOk="0">
                  <a:moveTo>
                    <a:pt x="1" y="0"/>
                  </a:moveTo>
                  <a:lnTo>
                    <a:pt x="18" y="1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423" name="Google Shape;5423;p104"/>
            <p:cNvSpPr/>
            <p:nvPr/>
          </p:nvSpPr>
          <p:spPr>
            <a:xfrm>
              <a:off x="1461687" y="2037673"/>
              <a:ext cx="204" cy="109"/>
            </a:xfrm>
            <a:custGeom>
              <a:avLst/>
              <a:gdLst/>
              <a:ahLst/>
              <a:cxnLst/>
              <a:rect l="l" t="t" r="r" b="b"/>
              <a:pathLst>
                <a:path w="15" h="8" extrusionOk="0">
                  <a:moveTo>
                    <a:pt x="1" y="0"/>
                  </a:moveTo>
                  <a:lnTo>
                    <a:pt x="15" y="7"/>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424" name="Google Shape;5424;p104"/>
            <p:cNvSpPr/>
            <p:nvPr/>
          </p:nvSpPr>
          <p:spPr>
            <a:xfrm>
              <a:off x="1452522" y="2077971"/>
              <a:ext cx="299" cy="394"/>
            </a:xfrm>
            <a:custGeom>
              <a:avLst/>
              <a:gdLst/>
              <a:ahLst/>
              <a:cxnLst/>
              <a:rect l="l" t="t" r="r" b="b"/>
              <a:pathLst>
                <a:path w="22" h="29" extrusionOk="0">
                  <a:moveTo>
                    <a:pt x="0" y="1"/>
                  </a:moveTo>
                  <a:lnTo>
                    <a:pt x="0" y="1"/>
                  </a:lnTo>
                  <a:cubicBezTo>
                    <a:pt x="7" y="11"/>
                    <a:pt x="14" y="18"/>
                    <a:pt x="21" y="29"/>
                  </a:cubicBezTo>
                  <a:cubicBezTo>
                    <a:pt x="14" y="18"/>
                    <a:pt x="7" y="8"/>
                    <a:pt x="0" y="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425" name="Google Shape;5425;p104"/>
            <p:cNvSpPr/>
            <p:nvPr/>
          </p:nvSpPr>
          <p:spPr>
            <a:xfrm>
              <a:off x="1480084" y="2046131"/>
              <a:ext cx="733" cy="815"/>
            </a:xfrm>
            <a:custGeom>
              <a:avLst/>
              <a:gdLst/>
              <a:ahLst/>
              <a:cxnLst/>
              <a:rect l="l" t="t" r="r" b="b"/>
              <a:pathLst>
                <a:path w="54" h="60" extrusionOk="0">
                  <a:moveTo>
                    <a:pt x="1" y="0"/>
                  </a:moveTo>
                  <a:lnTo>
                    <a:pt x="25" y="28"/>
                  </a:lnTo>
                  <a:lnTo>
                    <a:pt x="53" y="60"/>
                  </a:lnTo>
                  <a:lnTo>
                    <a:pt x="15" y="14"/>
                  </a:lnTo>
                  <a:lnTo>
                    <a:pt x="1"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426" name="Google Shape;5426;p104"/>
            <p:cNvSpPr/>
            <p:nvPr/>
          </p:nvSpPr>
          <p:spPr>
            <a:xfrm>
              <a:off x="1449100" y="2076925"/>
              <a:ext cx="530" cy="109"/>
            </a:xfrm>
            <a:custGeom>
              <a:avLst/>
              <a:gdLst/>
              <a:ahLst/>
              <a:cxnLst/>
              <a:rect l="l" t="t" r="r" b="b"/>
              <a:pathLst>
                <a:path w="39" h="8" extrusionOk="0">
                  <a:moveTo>
                    <a:pt x="39" y="1"/>
                  </a:moveTo>
                  <a:lnTo>
                    <a:pt x="0" y="8"/>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427" name="Google Shape;5427;p104"/>
            <p:cNvSpPr/>
            <p:nvPr/>
          </p:nvSpPr>
          <p:spPr>
            <a:xfrm>
              <a:off x="1446724" y="2070462"/>
              <a:ext cx="149" cy="204"/>
            </a:xfrm>
            <a:custGeom>
              <a:avLst/>
              <a:gdLst/>
              <a:ahLst/>
              <a:cxnLst/>
              <a:rect l="l" t="t" r="r" b="b"/>
              <a:pathLst>
                <a:path w="11" h="15" extrusionOk="0">
                  <a:moveTo>
                    <a:pt x="11" y="15"/>
                  </a:moveTo>
                  <a:lnTo>
                    <a:pt x="0"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428" name="Google Shape;5428;p104"/>
            <p:cNvSpPr/>
            <p:nvPr/>
          </p:nvSpPr>
          <p:spPr>
            <a:xfrm>
              <a:off x="1451897" y="2077400"/>
              <a:ext cx="258" cy="204"/>
            </a:xfrm>
            <a:custGeom>
              <a:avLst/>
              <a:gdLst/>
              <a:ahLst/>
              <a:cxnLst/>
              <a:rect l="l" t="t" r="r" b="b"/>
              <a:pathLst>
                <a:path w="19" h="15" extrusionOk="0">
                  <a:moveTo>
                    <a:pt x="18" y="15"/>
                  </a:moveTo>
                  <a:lnTo>
                    <a:pt x="1"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429" name="Google Shape;5429;p104"/>
            <p:cNvSpPr/>
            <p:nvPr/>
          </p:nvSpPr>
          <p:spPr>
            <a:xfrm>
              <a:off x="1447390" y="2071698"/>
              <a:ext cx="54" cy="163"/>
            </a:xfrm>
            <a:custGeom>
              <a:avLst/>
              <a:gdLst/>
              <a:ahLst/>
              <a:cxnLst/>
              <a:rect l="l" t="t" r="r" b="b"/>
              <a:pathLst>
                <a:path w="4" h="12" extrusionOk="0">
                  <a:moveTo>
                    <a:pt x="0" y="1"/>
                  </a:moveTo>
                  <a:lnTo>
                    <a:pt x="0" y="1"/>
                  </a:lnTo>
                  <a:cubicBezTo>
                    <a:pt x="0" y="4"/>
                    <a:pt x="4" y="11"/>
                    <a:pt x="4" y="11"/>
                  </a:cubicBezTo>
                  <a:cubicBezTo>
                    <a:pt x="4" y="8"/>
                    <a:pt x="0" y="4"/>
                    <a:pt x="0" y="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430" name="Google Shape;5430;p104"/>
            <p:cNvSpPr/>
            <p:nvPr/>
          </p:nvSpPr>
          <p:spPr>
            <a:xfrm>
              <a:off x="1447104" y="2071087"/>
              <a:ext cx="109" cy="204"/>
            </a:xfrm>
            <a:custGeom>
              <a:avLst/>
              <a:gdLst/>
              <a:ahLst/>
              <a:cxnLst/>
              <a:rect l="l" t="t" r="r" b="b"/>
              <a:pathLst>
                <a:path w="8" h="15" extrusionOk="0">
                  <a:moveTo>
                    <a:pt x="7" y="1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431" name="Google Shape;5431;p104"/>
            <p:cNvSpPr/>
            <p:nvPr/>
          </p:nvSpPr>
          <p:spPr>
            <a:xfrm>
              <a:off x="1447580" y="2072933"/>
              <a:ext cx="14" cy="204"/>
            </a:xfrm>
            <a:custGeom>
              <a:avLst/>
              <a:gdLst/>
              <a:ahLst/>
              <a:cxnLst/>
              <a:rect l="l" t="t" r="r" b="b"/>
              <a:pathLst>
                <a:path w="1" h="15" extrusionOk="0">
                  <a:moveTo>
                    <a:pt x="0" y="15"/>
                  </a:moveTo>
                  <a:lnTo>
                    <a:pt x="0"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432" name="Google Shape;5432;p104"/>
            <p:cNvSpPr/>
            <p:nvPr/>
          </p:nvSpPr>
          <p:spPr>
            <a:xfrm>
              <a:off x="1482705" y="2049974"/>
              <a:ext cx="54" cy="68"/>
            </a:xfrm>
            <a:custGeom>
              <a:avLst/>
              <a:gdLst/>
              <a:ahLst/>
              <a:cxnLst/>
              <a:rect l="l" t="t" r="r" b="b"/>
              <a:pathLst>
                <a:path w="4" h="5" extrusionOk="0">
                  <a:moveTo>
                    <a:pt x="4"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433" name="Google Shape;5433;p104"/>
            <p:cNvSpPr/>
            <p:nvPr/>
          </p:nvSpPr>
          <p:spPr>
            <a:xfrm>
              <a:off x="1452807" y="2078351"/>
              <a:ext cx="1534" cy="1819"/>
            </a:xfrm>
            <a:custGeom>
              <a:avLst/>
              <a:gdLst/>
              <a:ahLst/>
              <a:cxnLst/>
              <a:rect l="l" t="t" r="r" b="b"/>
              <a:pathLst>
                <a:path w="113" h="134" extrusionOk="0">
                  <a:moveTo>
                    <a:pt x="0" y="1"/>
                  </a:moveTo>
                  <a:lnTo>
                    <a:pt x="0" y="1"/>
                  </a:lnTo>
                  <a:cubicBezTo>
                    <a:pt x="35" y="50"/>
                    <a:pt x="70" y="92"/>
                    <a:pt x="112" y="134"/>
                  </a:cubicBezTo>
                  <a:cubicBezTo>
                    <a:pt x="70" y="92"/>
                    <a:pt x="35" y="46"/>
                    <a:pt x="0" y="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434" name="Google Shape;5434;p104"/>
            <p:cNvSpPr/>
            <p:nvPr/>
          </p:nvSpPr>
          <p:spPr>
            <a:xfrm>
              <a:off x="1482460" y="2050313"/>
              <a:ext cx="68" cy="54"/>
            </a:xfrm>
            <a:custGeom>
              <a:avLst/>
              <a:gdLst/>
              <a:ahLst/>
              <a:cxnLst/>
              <a:rect l="l" t="t" r="r" b="b"/>
              <a:pathLst>
                <a:path w="5" h="4" extrusionOk="0">
                  <a:moveTo>
                    <a:pt x="4" y="0"/>
                  </a:moveTo>
                  <a:lnTo>
                    <a:pt x="1" y="4"/>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435" name="Google Shape;5435;p104"/>
            <p:cNvSpPr/>
            <p:nvPr/>
          </p:nvSpPr>
          <p:spPr>
            <a:xfrm>
              <a:off x="1482610" y="2050123"/>
              <a:ext cx="54" cy="109"/>
            </a:xfrm>
            <a:custGeom>
              <a:avLst/>
              <a:gdLst/>
              <a:ahLst/>
              <a:cxnLst/>
              <a:rect l="l" t="t" r="r" b="b"/>
              <a:pathLst>
                <a:path w="4" h="8" extrusionOk="0">
                  <a:moveTo>
                    <a:pt x="4"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436" name="Google Shape;5436;p104"/>
            <p:cNvSpPr/>
            <p:nvPr/>
          </p:nvSpPr>
          <p:spPr>
            <a:xfrm>
              <a:off x="1447390" y="2073463"/>
              <a:ext cx="54" cy="149"/>
            </a:xfrm>
            <a:custGeom>
              <a:avLst/>
              <a:gdLst/>
              <a:ahLst/>
              <a:cxnLst/>
              <a:rect l="l" t="t" r="r" b="b"/>
              <a:pathLst>
                <a:path w="4" h="11" extrusionOk="0">
                  <a:moveTo>
                    <a:pt x="4" y="0"/>
                  </a:moveTo>
                  <a:lnTo>
                    <a:pt x="4" y="0"/>
                  </a:lnTo>
                  <a:cubicBezTo>
                    <a:pt x="4" y="4"/>
                    <a:pt x="0" y="7"/>
                    <a:pt x="0" y="11"/>
                  </a:cubicBezTo>
                  <a:cubicBezTo>
                    <a:pt x="4" y="7"/>
                    <a:pt x="4" y="4"/>
                    <a:pt x="4"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437" name="Google Shape;5437;p104"/>
            <p:cNvSpPr/>
            <p:nvPr/>
          </p:nvSpPr>
          <p:spPr>
            <a:xfrm>
              <a:off x="1481320" y="2047598"/>
              <a:ext cx="1453" cy="2295"/>
            </a:xfrm>
            <a:custGeom>
              <a:avLst/>
              <a:gdLst/>
              <a:ahLst/>
              <a:cxnLst/>
              <a:rect l="l" t="t" r="r" b="b"/>
              <a:pathLst>
                <a:path w="107" h="169" extrusionOk="0">
                  <a:moveTo>
                    <a:pt x="1" y="1"/>
                  </a:moveTo>
                  <a:cubicBezTo>
                    <a:pt x="43" y="50"/>
                    <a:pt x="78" y="93"/>
                    <a:pt x="95" y="127"/>
                  </a:cubicBezTo>
                  <a:lnTo>
                    <a:pt x="95" y="127"/>
                  </a:lnTo>
                  <a:cubicBezTo>
                    <a:pt x="77" y="91"/>
                    <a:pt x="41" y="46"/>
                    <a:pt x="1" y="1"/>
                  </a:cubicBezTo>
                  <a:close/>
                  <a:moveTo>
                    <a:pt x="95" y="127"/>
                  </a:moveTo>
                  <a:cubicBezTo>
                    <a:pt x="103" y="143"/>
                    <a:pt x="107" y="158"/>
                    <a:pt x="106" y="169"/>
                  </a:cubicBezTo>
                  <a:cubicBezTo>
                    <a:pt x="107" y="157"/>
                    <a:pt x="103" y="143"/>
                    <a:pt x="95" y="127"/>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438" name="Google Shape;5438;p104"/>
            <p:cNvSpPr/>
            <p:nvPr/>
          </p:nvSpPr>
          <p:spPr>
            <a:xfrm>
              <a:off x="1451571" y="2077170"/>
              <a:ext cx="299" cy="204"/>
            </a:xfrm>
            <a:custGeom>
              <a:avLst/>
              <a:gdLst/>
              <a:ahLst/>
              <a:cxnLst/>
              <a:rect l="l" t="t" r="r" b="b"/>
              <a:pathLst>
                <a:path w="22" h="15" extrusionOk="0">
                  <a:moveTo>
                    <a:pt x="21" y="14"/>
                  </a:moveTo>
                  <a:cubicBezTo>
                    <a:pt x="14" y="7"/>
                    <a:pt x="7" y="4"/>
                    <a:pt x="0" y="0"/>
                  </a:cubicBezTo>
                  <a:cubicBezTo>
                    <a:pt x="7" y="4"/>
                    <a:pt x="14" y="7"/>
                    <a:pt x="21" y="14"/>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439" name="Google Shape;5439;p104"/>
            <p:cNvSpPr/>
            <p:nvPr/>
          </p:nvSpPr>
          <p:spPr>
            <a:xfrm>
              <a:off x="1450947" y="2076980"/>
              <a:ext cx="204" cy="54"/>
            </a:xfrm>
            <a:custGeom>
              <a:avLst/>
              <a:gdLst/>
              <a:ahLst/>
              <a:cxnLst/>
              <a:rect l="l" t="t" r="r" b="b"/>
              <a:pathLst>
                <a:path w="15" h="4" extrusionOk="0">
                  <a:moveTo>
                    <a:pt x="15" y="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440" name="Google Shape;5440;p104"/>
            <p:cNvSpPr/>
            <p:nvPr/>
          </p:nvSpPr>
          <p:spPr>
            <a:xfrm>
              <a:off x="1452237" y="2077645"/>
              <a:ext cx="204" cy="244"/>
            </a:xfrm>
            <a:custGeom>
              <a:avLst/>
              <a:gdLst/>
              <a:ahLst/>
              <a:cxnLst/>
              <a:rect l="l" t="t" r="r" b="b"/>
              <a:pathLst>
                <a:path w="15" h="18" extrusionOk="0">
                  <a:moveTo>
                    <a:pt x="0" y="0"/>
                  </a:moveTo>
                  <a:lnTo>
                    <a:pt x="14" y="18"/>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441" name="Google Shape;5441;p104"/>
            <p:cNvSpPr/>
            <p:nvPr/>
          </p:nvSpPr>
          <p:spPr>
            <a:xfrm>
              <a:off x="1449671" y="2076884"/>
              <a:ext cx="625" cy="54"/>
            </a:xfrm>
            <a:custGeom>
              <a:avLst/>
              <a:gdLst/>
              <a:ahLst/>
              <a:cxnLst/>
              <a:rect l="l" t="t" r="r" b="b"/>
              <a:pathLst>
                <a:path w="46" h="4" extrusionOk="0">
                  <a:moveTo>
                    <a:pt x="46" y="0"/>
                  </a:moveTo>
                  <a:cubicBezTo>
                    <a:pt x="28" y="0"/>
                    <a:pt x="14" y="0"/>
                    <a:pt x="0" y="4"/>
                  </a:cubicBezTo>
                  <a:cubicBezTo>
                    <a:pt x="14" y="0"/>
                    <a:pt x="28" y="0"/>
                    <a:pt x="46"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442" name="Google Shape;5442;p104"/>
            <p:cNvSpPr/>
            <p:nvPr/>
          </p:nvSpPr>
          <p:spPr>
            <a:xfrm>
              <a:off x="1450621" y="2076884"/>
              <a:ext cx="244" cy="54"/>
            </a:xfrm>
            <a:custGeom>
              <a:avLst/>
              <a:gdLst/>
              <a:ahLst/>
              <a:cxnLst/>
              <a:rect l="l" t="t" r="r" b="b"/>
              <a:pathLst>
                <a:path w="18" h="4" extrusionOk="0">
                  <a:moveTo>
                    <a:pt x="18"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443" name="Google Shape;5443;p104"/>
            <p:cNvSpPr/>
            <p:nvPr/>
          </p:nvSpPr>
          <p:spPr>
            <a:xfrm>
              <a:off x="1451286" y="2077075"/>
              <a:ext cx="204" cy="54"/>
            </a:xfrm>
            <a:custGeom>
              <a:avLst/>
              <a:gdLst/>
              <a:ahLst/>
              <a:cxnLst/>
              <a:rect l="l" t="t" r="r" b="b"/>
              <a:pathLst>
                <a:path w="15" h="4" extrusionOk="0">
                  <a:moveTo>
                    <a:pt x="14"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444" name="Google Shape;5444;p104"/>
            <p:cNvSpPr/>
            <p:nvPr/>
          </p:nvSpPr>
          <p:spPr>
            <a:xfrm>
              <a:off x="1450336" y="2076884"/>
              <a:ext cx="204" cy="14"/>
            </a:xfrm>
            <a:custGeom>
              <a:avLst/>
              <a:gdLst/>
              <a:ahLst/>
              <a:cxnLst/>
              <a:rect l="l" t="t" r="r" b="b"/>
              <a:pathLst>
                <a:path w="15" h="1" extrusionOk="0">
                  <a:moveTo>
                    <a:pt x="0" y="0"/>
                  </a:moveTo>
                  <a:lnTo>
                    <a:pt x="14"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445" name="Google Shape;5445;p104"/>
            <p:cNvSpPr/>
            <p:nvPr/>
          </p:nvSpPr>
          <p:spPr>
            <a:xfrm>
              <a:off x="1447580" y="2072417"/>
              <a:ext cx="14" cy="149"/>
            </a:xfrm>
            <a:custGeom>
              <a:avLst/>
              <a:gdLst/>
              <a:ahLst/>
              <a:cxnLst/>
              <a:rect l="l" t="t" r="r" b="b"/>
              <a:pathLst>
                <a:path w="1" h="11" extrusionOk="0">
                  <a:moveTo>
                    <a:pt x="0" y="0"/>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446" name="Google Shape;5446;p104"/>
            <p:cNvSpPr/>
            <p:nvPr/>
          </p:nvSpPr>
          <p:spPr>
            <a:xfrm>
              <a:off x="1480899" y="2047082"/>
              <a:ext cx="339" cy="339"/>
            </a:xfrm>
            <a:custGeom>
              <a:avLst/>
              <a:gdLst/>
              <a:ahLst/>
              <a:cxnLst/>
              <a:rect l="l" t="t" r="r" b="b"/>
              <a:pathLst>
                <a:path w="25" h="25" extrusionOk="0">
                  <a:moveTo>
                    <a:pt x="0" y="0"/>
                  </a:moveTo>
                  <a:lnTo>
                    <a:pt x="25" y="25"/>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447" name="Google Shape;5447;p104"/>
            <p:cNvSpPr/>
            <p:nvPr/>
          </p:nvSpPr>
          <p:spPr>
            <a:xfrm>
              <a:off x="1479989" y="2046077"/>
              <a:ext cx="299" cy="299"/>
            </a:xfrm>
            <a:custGeom>
              <a:avLst/>
              <a:gdLst/>
              <a:ahLst/>
              <a:cxnLst/>
              <a:rect l="l" t="t" r="r" b="b"/>
              <a:pathLst>
                <a:path w="22" h="22" extrusionOk="0">
                  <a:moveTo>
                    <a:pt x="8" y="4"/>
                  </a:moveTo>
                  <a:lnTo>
                    <a:pt x="1" y="1"/>
                  </a:lnTo>
                  <a:lnTo>
                    <a:pt x="8" y="4"/>
                  </a:lnTo>
                  <a:lnTo>
                    <a:pt x="22" y="22"/>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448" name="Google Shape;5448;p104"/>
            <p:cNvSpPr/>
            <p:nvPr/>
          </p:nvSpPr>
          <p:spPr>
            <a:xfrm>
              <a:off x="1504429" y="1192826"/>
              <a:ext cx="453000" cy="337170"/>
            </a:xfrm>
            <a:custGeom>
              <a:avLst/>
              <a:gdLst/>
              <a:ahLst/>
              <a:cxnLst/>
              <a:rect l="l" t="t" r="r" b="b"/>
              <a:pathLst>
                <a:path w="33364" h="24833" extrusionOk="0">
                  <a:moveTo>
                    <a:pt x="22952" y="0"/>
                  </a:moveTo>
                  <a:cubicBezTo>
                    <a:pt x="22824" y="0"/>
                    <a:pt x="22695" y="5"/>
                    <a:pt x="22570" y="14"/>
                  </a:cubicBezTo>
                  <a:cubicBezTo>
                    <a:pt x="22217" y="39"/>
                    <a:pt x="21667" y="46"/>
                    <a:pt x="21184" y="53"/>
                  </a:cubicBezTo>
                  <a:cubicBezTo>
                    <a:pt x="20778" y="60"/>
                    <a:pt x="20431" y="63"/>
                    <a:pt x="20291" y="77"/>
                  </a:cubicBezTo>
                  <a:cubicBezTo>
                    <a:pt x="20179" y="91"/>
                    <a:pt x="20067" y="112"/>
                    <a:pt x="19958" y="144"/>
                  </a:cubicBezTo>
                  <a:cubicBezTo>
                    <a:pt x="19822" y="186"/>
                    <a:pt x="19679" y="207"/>
                    <a:pt x="19539" y="207"/>
                  </a:cubicBezTo>
                  <a:cubicBezTo>
                    <a:pt x="19528" y="207"/>
                    <a:pt x="19518" y="207"/>
                    <a:pt x="19507" y="207"/>
                  </a:cubicBezTo>
                  <a:cubicBezTo>
                    <a:pt x="19486" y="205"/>
                    <a:pt x="19464" y="205"/>
                    <a:pt x="19443" y="205"/>
                  </a:cubicBezTo>
                  <a:cubicBezTo>
                    <a:pt x="19233" y="205"/>
                    <a:pt x="19032" y="265"/>
                    <a:pt x="19006" y="319"/>
                  </a:cubicBezTo>
                  <a:cubicBezTo>
                    <a:pt x="19003" y="329"/>
                    <a:pt x="19017" y="347"/>
                    <a:pt x="19024" y="357"/>
                  </a:cubicBezTo>
                  <a:cubicBezTo>
                    <a:pt x="19160" y="504"/>
                    <a:pt x="19104" y="620"/>
                    <a:pt x="19073" y="662"/>
                  </a:cubicBezTo>
                  <a:cubicBezTo>
                    <a:pt x="19008" y="754"/>
                    <a:pt x="18871" y="802"/>
                    <a:pt x="18752" y="802"/>
                  </a:cubicBezTo>
                  <a:cubicBezTo>
                    <a:pt x="18703" y="802"/>
                    <a:pt x="18658" y="794"/>
                    <a:pt x="18621" y="777"/>
                  </a:cubicBezTo>
                  <a:cubicBezTo>
                    <a:pt x="18548" y="753"/>
                    <a:pt x="18506" y="676"/>
                    <a:pt x="18523" y="599"/>
                  </a:cubicBezTo>
                  <a:cubicBezTo>
                    <a:pt x="18530" y="553"/>
                    <a:pt x="18488" y="518"/>
                    <a:pt x="18450" y="497"/>
                  </a:cubicBezTo>
                  <a:cubicBezTo>
                    <a:pt x="18354" y="440"/>
                    <a:pt x="18210" y="411"/>
                    <a:pt x="18077" y="411"/>
                  </a:cubicBezTo>
                  <a:cubicBezTo>
                    <a:pt x="17957" y="411"/>
                    <a:pt x="17846" y="435"/>
                    <a:pt x="17788" y="483"/>
                  </a:cubicBezTo>
                  <a:cubicBezTo>
                    <a:pt x="17724" y="536"/>
                    <a:pt x="17624" y="555"/>
                    <a:pt x="17500" y="555"/>
                  </a:cubicBezTo>
                  <a:cubicBezTo>
                    <a:pt x="17346" y="555"/>
                    <a:pt x="17155" y="525"/>
                    <a:pt x="16958" y="494"/>
                  </a:cubicBezTo>
                  <a:cubicBezTo>
                    <a:pt x="16798" y="469"/>
                    <a:pt x="16599" y="437"/>
                    <a:pt x="16462" y="437"/>
                  </a:cubicBezTo>
                  <a:cubicBezTo>
                    <a:pt x="16387" y="437"/>
                    <a:pt x="16330" y="447"/>
                    <a:pt x="16311" y="473"/>
                  </a:cubicBezTo>
                  <a:cubicBezTo>
                    <a:pt x="16195" y="623"/>
                    <a:pt x="15719" y="651"/>
                    <a:pt x="15057" y="672"/>
                  </a:cubicBezTo>
                  <a:cubicBezTo>
                    <a:pt x="14858" y="672"/>
                    <a:pt x="14658" y="686"/>
                    <a:pt x="14462" y="707"/>
                  </a:cubicBezTo>
                  <a:cubicBezTo>
                    <a:pt x="14515" y="742"/>
                    <a:pt x="14609" y="791"/>
                    <a:pt x="14676" y="826"/>
                  </a:cubicBezTo>
                  <a:cubicBezTo>
                    <a:pt x="14931" y="956"/>
                    <a:pt x="15085" y="1040"/>
                    <a:pt x="15064" y="1159"/>
                  </a:cubicBezTo>
                  <a:cubicBezTo>
                    <a:pt x="15040" y="1274"/>
                    <a:pt x="14868" y="1285"/>
                    <a:pt x="14543" y="1299"/>
                  </a:cubicBezTo>
                  <a:cubicBezTo>
                    <a:pt x="14389" y="1306"/>
                    <a:pt x="14105" y="1323"/>
                    <a:pt x="14060" y="1369"/>
                  </a:cubicBezTo>
                  <a:cubicBezTo>
                    <a:pt x="14067" y="1376"/>
                    <a:pt x="14070" y="1386"/>
                    <a:pt x="14077" y="1393"/>
                  </a:cubicBezTo>
                  <a:cubicBezTo>
                    <a:pt x="14189" y="1523"/>
                    <a:pt x="14427" y="1645"/>
                    <a:pt x="14686" y="1772"/>
                  </a:cubicBezTo>
                  <a:cubicBezTo>
                    <a:pt x="14970" y="1915"/>
                    <a:pt x="15267" y="2066"/>
                    <a:pt x="15463" y="2262"/>
                  </a:cubicBezTo>
                  <a:cubicBezTo>
                    <a:pt x="15519" y="2314"/>
                    <a:pt x="15642" y="2440"/>
                    <a:pt x="15572" y="2528"/>
                  </a:cubicBezTo>
                  <a:cubicBezTo>
                    <a:pt x="15549" y="2555"/>
                    <a:pt x="15511" y="2566"/>
                    <a:pt x="15463" y="2566"/>
                  </a:cubicBezTo>
                  <a:cubicBezTo>
                    <a:pt x="15233" y="2566"/>
                    <a:pt x="14774" y="2300"/>
                    <a:pt x="14672" y="2234"/>
                  </a:cubicBezTo>
                  <a:cubicBezTo>
                    <a:pt x="14480" y="2108"/>
                    <a:pt x="14263" y="2066"/>
                    <a:pt x="14053" y="2024"/>
                  </a:cubicBezTo>
                  <a:cubicBezTo>
                    <a:pt x="13818" y="1975"/>
                    <a:pt x="13594" y="1929"/>
                    <a:pt x="13447" y="1772"/>
                  </a:cubicBezTo>
                  <a:cubicBezTo>
                    <a:pt x="13251" y="1565"/>
                    <a:pt x="12657" y="1411"/>
                    <a:pt x="12299" y="1411"/>
                  </a:cubicBezTo>
                  <a:cubicBezTo>
                    <a:pt x="12191" y="1411"/>
                    <a:pt x="12104" y="1426"/>
                    <a:pt x="12057" y="1456"/>
                  </a:cubicBezTo>
                  <a:cubicBezTo>
                    <a:pt x="12050" y="1463"/>
                    <a:pt x="12033" y="1474"/>
                    <a:pt x="12033" y="1488"/>
                  </a:cubicBezTo>
                  <a:cubicBezTo>
                    <a:pt x="12033" y="1554"/>
                    <a:pt x="12239" y="1691"/>
                    <a:pt x="12376" y="1786"/>
                  </a:cubicBezTo>
                  <a:cubicBezTo>
                    <a:pt x="12607" y="1943"/>
                    <a:pt x="12750" y="2045"/>
                    <a:pt x="12750" y="2164"/>
                  </a:cubicBezTo>
                  <a:cubicBezTo>
                    <a:pt x="12750" y="2202"/>
                    <a:pt x="12733" y="2241"/>
                    <a:pt x="12701" y="2269"/>
                  </a:cubicBezTo>
                  <a:cubicBezTo>
                    <a:pt x="12662" y="2301"/>
                    <a:pt x="12604" y="2313"/>
                    <a:pt x="12535" y="2313"/>
                  </a:cubicBezTo>
                  <a:cubicBezTo>
                    <a:pt x="12449" y="2313"/>
                    <a:pt x="12346" y="2295"/>
                    <a:pt x="12239" y="2276"/>
                  </a:cubicBezTo>
                  <a:cubicBezTo>
                    <a:pt x="12165" y="2262"/>
                    <a:pt x="12063" y="2245"/>
                    <a:pt x="12004" y="2245"/>
                  </a:cubicBezTo>
                  <a:cubicBezTo>
                    <a:pt x="11985" y="2245"/>
                    <a:pt x="11970" y="2247"/>
                    <a:pt x="11963" y="2251"/>
                  </a:cubicBezTo>
                  <a:cubicBezTo>
                    <a:pt x="11945" y="2264"/>
                    <a:pt x="11925" y="2270"/>
                    <a:pt x="11903" y="2270"/>
                  </a:cubicBezTo>
                  <a:cubicBezTo>
                    <a:pt x="11816" y="2270"/>
                    <a:pt x="11694" y="2178"/>
                    <a:pt x="11518" y="2045"/>
                  </a:cubicBezTo>
                  <a:cubicBezTo>
                    <a:pt x="11322" y="1898"/>
                    <a:pt x="11077" y="1712"/>
                    <a:pt x="10923" y="1712"/>
                  </a:cubicBezTo>
                  <a:cubicBezTo>
                    <a:pt x="10853" y="1712"/>
                    <a:pt x="10839" y="1726"/>
                    <a:pt x="10835" y="1730"/>
                  </a:cubicBezTo>
                  <a:cubicBezTo>
                    <a:pt x="10818" y="1754"/>
                    <a:pt x="10846" y="1849"/>
                    <a:pt x="10867" y="1926"/>
                  </a:cubicBezTo>
                  <a:cubicBezTo>
                    <a:pt x="10909" y="2062"/>
                    <a:pt x="10933" y="2199"/>
                    <a:pt x="10937" y="2342"/>
                  </a:cubicBezTo>
                  <a:cubicBezTo>
                    <a:pt x="10937" y="2615"/>
                    <a:pt x="10695" y="2818"/>
                    <a:pt x="10524" y="2878"/>
                  </a:cubicBezTo>
                  <a:cubicBezTo>
                    <a:pt x="10489" y="2890"/>
                    <a:pt x="10461" y="2894"/>
                    <a:pt x="10437" y="2894"/>
                  </a:cubicBezTo>
                  <a:cubicBezTo>
                    <a:pt x="10384" y="2894"/>
                    <a:pt x="10357" y="2871"/>
                    <a:pt x="10345" y="2857"/>
                  </a:cubicBezTo>
                  <a:cubicBezTo>
                    <a:pt x="10310" y="2811"/>
                    <a:pt x="10317" y="2752"/>
                    <a:pt x="10366" y="2678"/>
                  </a:cubicBezTo>
                  <a:cubicBezTo>
                    <a:pt x="10454" y="2542"/>
                    <a:pt x="10457" y="2265"/>
                    <a:pt x="10377" y="2017"/>
                  </a:cubicBezTo>
                  <a:cubicBezTo>
                    <a:pt x="10317" y="1831"/>
                    <a:pt x="10219" y="1702"/>
                    <a:pt x="10107" y="1660"/>
                  </a:cubicBezTo>
                  <a:cubicBezTo>
                    <a:pt x="10067" y="1644"/>
                    <a:pt x="10017" y="1637"/>
                    <a:pt x="9959" y="1637"/>
                  </a:cubicBezTo>
                  <a:cubicBezTo>
                    <a:pt x="9770" y="1637"/>
                    <a:pt x="9502" y="1709"/>
                    <a:pt x="9242" y="1779"/>
                  </a:cubicBezTo>
                  <a:cubicBezTo>
                    <a:pt x="8974" y="1849"/>
                    <a:pt x="8693" y="1923"/>
                    <a:pt x="8489" y="1923"/>
                  </a:cubicBezTo>
                  <a:cubicBezTo>
                    <a:pt x="8479" y="1923"/>
                    <a:pt x="8470" y="1922"/>
                    <a:pt x="8462" y="1922"/>
                  </a:cubicBezTo>
                  <a:cubicBezTo>
                    <a:pt x="8437" y="1921"/>
                    <a:pt x="8412" y="1921"/>
                    <a:pt x="8387" y="1921"/>
                  </a:cubicBezTo>
                  <a:cubicBezTo>
                    <a:pt x="8048" y="1921"/>
                    <a:pt x="7760" y="2007"/>
                    <a:pt x="7741" y="2069"/>
                  </a:cubicBezTo>
                  <a:cubicBezTo>
                    <a:pt x="7741" y="2076"/>
                    <a:pt x="7751" y="2108"/>
                    <a:pt x="7835" y="2153"/>
                  </a:cubicBezTo>
                  <a:cubicBezTo>
                    <a:pt x="7965" y="2230"/>
                    <a:pt x="8028" y="2307"/>
                    <a:pt x="8024" y="2381"/>
                  </a:cubicBezTo>
                  <a:cubicBezTo>
                    <a:pt x="8021" y="2430"/>
                    <a:pt x="7989" y="2475"/>
                    <a:pt x="7947" y="2496"/>
                  </a:cubicBezTo>
                  <a:cubicBezTo>
                    <a:pt x="7913" y="2513"/>
                    <a:pt x="7868" y="2521"/>
                    <a:pt x="7815" y="2521"/>
                  </a:cubicBezTo>
                  <a:cubicBezTo>
                    <a:pt x="7699" y="2521"/>
                    <a:pt x="7548" y="2478"/>
                    <a:pt x="7408" y="2377"/>
                  </a:cubicBezTo>
                  <a:cubicBezTo>
                    <a:pt x="7318" y="2314"/>
                    <a:pt x="7159" y="2287"/>
                    <a:pt x="6983" y="2287"/>
                  </a:cubicBezTo>
                  <a:cubicBezTo>
                    <a:pt x="6839" y="2287"/>
                    <a:pt x="6684" y="2305"/>
                    <a:pt x="6547" y="2335"/>
                  </a:cubicBezTo>
                  <a:cubicBezTo>
                    <a:pt x="6379" y="2370"/>
                    <a:pt x="6291" y="2412"/>
                    <a:pt x="6263" y="2437"/>
                  </a:cubicBezTo>
                  <a:cubicBezTo>
                    <a:pt x="6386" y="2528"/>
                    <a:pt x="6477" y="2703"/>
                    <a:pt x="6505" y="2902"/>
                  </a:cubicBezTo>
                  <a:cubicBezTo>
                    <a:pt x="6533" y="3084"/>
                    <a:pt x="6505" y="3249"/>
                    <a:pt x="6431" y="3350"/>
                  </a:cubicBezTo>
                  <a:cubicBezTo>
                    <a:pt x="6386" y="3410"/>
                    <a:pt x="6327" y="3432"/>
                    <a:pt x="6257" y="3432"/>
                  </a:cubicBezTo>
                  <a:cubicBezTo>
                    <a:pt x="6158" y="3432"/>
                    <a:pt x="6036" y="3387"/>
                    <a:pt x="5903" y="3340"/>
                  </a:cubicBezTo>
                  <a:cubicBezTo>
                    <a:pt x="5739" y="3279"/>
                    <a:pt x="5555" y="3212"/>
                    <a:pt x="5380" y="3212"/>
                  </a:cubicBezTo>
                  <a:cubicBezTo>
                    <a:pt x="5364" y="3212"/>
                    <a:pt x="5348" y="3213"/>
                    <a:pt x="5332" y="3214"/>
                  </a:cubicBezTo>
                  <a:cubicBezTo>
                    <a:pt x="5146" y="3228"/>
                    <a:pt x="4534" y="3469"/>
                    <a:pt x="3953" y="3767"/>
                  </a:cubicBezTo>
                  <a:cubicBezTo>
                    <a:pt x="3189" y="4152"/>
                    <a:pt x="2913" y="4401"/>
                    <a:pt x="2916" y="4467"/>
                  </a:cubicBezTo>
                  <a:cubicBezTo>
                    <a:pt x="2960" y="4560"/>
                    <a:pt x="3197" y="4573"/>
                    <a:pt x="3428" y="4573"/>
                  </a:cubicBezTo>
                  <a:cubicBezTo>
                    <a:pt x="3476" y="4573"/>
                    <a:pt x="3525" y="4573"/>
                    <a:pt x="3571" y="4572"/>
                  </a:cubicBezTo>
                  <a:cubicBezTo>
                    <a:pt x="3626" y="4571"/>
                    <a:pt x="3681" y="4571"/>
                    <a:pt x="3734" y="4571"/>
                  </a:cubicBezTo>
                  <a:cubicBezTo>
                    <a:pt x="3936" y="4571"/>
                    <a:pt x="4116" y="4581"/>
                    <a:pt x="4229" y="4642"/>
                  </a:cubicBezTo>
                  <a:cubicBezTo>
                    <a:pt x="4310" y="4688"/>
                    <a:pt x="4362" y="4775"/>
                    <a:pt x="4362" y="4870"/>
                  </a:cubicBezTo>
                  <a:cubicBezTo>
                    <a:pt x="4376" y="5150"/>
                    <a:pt x="4065" y="5563"/>
                    <a:pt x="3781" y="5759"/>
                  </a:cubicBezTo>
                  <a:cubicBezTo>
                    <a:pt x="3596" y="5882"/>
                    <a:pt x="3207" y="5892"/>
                    <a:pt x="2829" y="5903"/>
                  </a:cubicBezTo>
                  <a:cubicBezTo>
                    <a:pt x="2542" y="5910"/>
                    <a:pt x="2104" y="5920"/>
                    <a:pt x="2094" y="6018"/>
                  </a:cubicBezTo>
                  <a:cubicBezTo>
                    <a:pt x="2076" y="6186"/>
                    <a:pt x="1768" y="6256"/>
                    <a:pt x="1180" y="6375"/>
                  </a:cubicBezTo>
                  <a:cubicBezTo>
                    <a:pt x="686" y="6473"/>
                    <a:pt x="7" y="6610"/>
                    <a:pt x="7" y="6820"/>
                  </a:cubicBezTo>
                  <a:cubicBezTo>
                    <a:pt x="0" y="6984"/>
                    <a:pt x="116" y="7131"/>
                    <a:pt x="280" y="7159"/>
                  </a:cubicBezTo>
                  <a:cubicBezTo>
                    <a:pt x="364" y="7177"/>
                    <a:pt x="448" y="7184"/>
                    <a:pt x="536" y="7187"/>
                  </a:cubicBezTo>
                  <a:cubicBezTo>
                    <a:pt x="763" y="7198"/>
                    <a:pt x="1019" y="7212"/>
                    <a:pt x="1222" y="7439"/>
                  </a:cubicBezTo>
                  <a:cubicBezTo>
                    <a:pt x="1356" y="7591"/>
                    <a:pt x="1632" y="7659"/>
                    <a:pt x="1931" y="7659"/>
                  </a:cubicBezTo>
                  <a:cubicBezTo>
                    <a:pt x="2172" y="7659"/>
                    <a:pt x="2427" y="7615"/>
                    <a:pt x="2636" y="7534"/>
                  </a:cubicBezTo>
                  <a:cubicBezTo>
                    <a:pt x="2768" y="7484"/>
                    <a:pt x="2898" y="7459"/>
                    <a:pt x="3018" y="7459"/>
                  </a:cubicBezTo>
                  <a:cubicBezTo>
                    <a:pt x="3168" y="7459"/>
                    <a:pt x="3302" y="7497"/>
                    <a:pt x="3406" y="7572"/>
                  </a:cubicBezTo>
                  <a:cubicBezTo>
                    <a:pt x="3522" y="7649"/>
                    <a:pt x="3589" y="7782"/>
                    <a:pt x="3582" y="7923"/>
                  </a:cubicBezTo>
                  <a:cubicBezTo>
                    <a:pt x="3578" y="7965"/>
                    <a:pt x="3561" y="8007"/>
                    <a:pt x="3526" y="8035"/>
                  </a:cubicBezTo>
                  <a:cubicBezTo>
                    <a:pt x="3474" y="8079"/>
                    <a:pt x="3392" y="8095"/>
                    <a:pt x="3279" y="8095"/>
                  </a:cubicBezTo>
                  <a:cubicBezTo>
                    <a:pt x="3168" y="8095"/>
                    <a:pt x="3028" y="8080"/>
                    <a:pt x="2857" y="8059"/>
                  </a:cubicBezTo>
                  <a:cubicBezTo>
                    <a:pt x="2692" y="8040"/>
                    <a:pt x="2516" y="8018"/>
                    <a:pt x="2367" y="8018"/>
                  </a:cubicBezTo>
                  <a:cubicBezTo>
                    <a:pt x="2247" y="8018"/>
                    <a:pt x="2144" y="8032"/>
                    <a:pt x="2080" y="8073"/>
                  </a:cubicBezTo>
                  <a:cubicBezTo>
                    <a:pt x="1901" y="8182"/>
                    <a:pt x="1562" y="8192"/>
                    <a:pt x="1260" y="8203"/>
                  </a:cubicBezTo>
                  <a:cubicBezTo>
                    <a:pt x="1082" y="8210"/>
                    <a:pt x="809" y="8217"/>
                    <a:pt x="767" y="8262"/>
                  </a:cubicBezTo>
                  <a:cubicBezTo>
                    <a:pt x="795" y="8371"/>
                    <a:pt x="1054" y="8392"/>
                    <a:pt x="1302" y="8416"/>
                  </a:cubicBezTo>
                  <a:cubicBezTo>
                    <a:pt x="1432" y="8430"/>
                    <a:pt x="1572" y="8444"/>
                    <a:pt x="1702" y="8469"/>
                  </a:cubicBezTo>
                  <a:cubicBezTo>
                    <a:pt x="1842" y="8493"/>
                    <a:pt x="1919" y="8535"/>
                    <a:pt x="1943" y="8602"/>
                  </a:cubicBezTo>
                  <a:cubicBezTo>
                    <a:pt x="1971" y="8686"/>
                    <a:pt x="1912" y="8759"/>
                    <a:pt x="1856" y="8833"/>
                  </a:cubicBezTo>
                  <a:cubicBezTo>
                    <a:pt x="1817" y="8882"/>
                    <a:pt x="1775" y="8934"/>
                    <a:pt x="1772" y="8973"/>
                  </a:cubicBezTo>
                  <a:cubicBezTo>
                    <a:pt x="1765" y="9025"/>
                    <a:pt x="1793" y="9043"/>
                    <a:pt x="1975" y="9102"/>
                  </a:cubicBezTo>
                  <a:cubicBezTo>
                    <a:pt x="2115" y="9144"/>
                    <a:pt x="2251" y="9200"/>
                    <a:pt x="2381" y="9267"/>
                  </a:cubicBezTo>
                  <a:cubicBezTo>
                    <a:pt x="2674" y="9410"/>
                    <a:pt x="3018" y="9487"/>
                    <a:pt x="3166" y="9487"/>
                  </a:cubicBezTo>
                  <a:cubicBezTo>
                    <a:pt x="3184" y="9487"/>
                    <a:pt x="3199" y="9486"/>
                    <a:pt x="3210" y="9484"/>
                  </a:cubicBezTo>
                  <a:cubicBezTo>
                    <a:pt x="3203" y="9477"/>
                    <a:pt x="3200" y="9470"/>
                    <a:pt x="3193" y="9466"/>
                  </a:cubicBezTo>
                  <a:cubicBezTo>
                    <a:pt x="3137" y="9403"/>
                    <a:pt x="3116" y="9347"/>
                    <a:pt x="3137" y="9295"/>
                  </a:cubicBezTo>
                  <a:cubicBezTo>
                    <a:pt x="3154" y="9239"/>
                    <a:pt x="3210" y="9200"/>
                    <a:pt x="3301" y="9186"/>
                  </a:cubicBezTo>
                  <a:cubicBezTo>
                    <a:pt x="3333" y="9181"/>
                    <a:pt x="3371" y="9178"/>
                    <a:pt x="3412" y="9178"/>
                  </a:cubicBezTo>
                  <a:cubicBezTo>
                    <a:pt x="3568" y="9178"/>
                    <a:pt x="3769" y="9221"/>
                    <a:pt x="3844" y="9316"/>
                  </a:cubicBezTo>
                  <a:cubicBezTo>
                    <a:pt x="3849" y="9322"/>
                    <a:pt x="3857" y="9325"/>
                    <a:pt x="3868" y="9325"/>
                  </a:cubicBezTo>
                  <a:cubicBezTo>
                    <a:pt x="3906" y="9325"/>
                    <a:pt x="3976" y="9293"/>
                    <a:pt x="4044" y="9263"/>
                  </a:cubicBezTo>
                  <a:cubicBezTo>
                    <a:pt x="4151" y="9211"/>
                    <a:pt x="4282" y="9150"/>
                    <a:pt x="4421" y="9150"/>
                  </a:cubicBezTo>
                  <a:cubicBezTo>
                    <a:pt x="4459" y="9150"/>
                    <a:pt x="4498" y="9155"/>
                    <a:pt x="4537" y="9165"/>
                  </a:cubicBezTo>
                  <a:cubicBezTo>
                    <a:pt x="4561" y="9172"/>
                    <a:pt x="4583" y="9174"/>
                    <a:pt x="4605" y="9174"/>
                  </a:cubicBezTo>
                  <a:cubicBezTo>
                    <a:pt x="4690" y="9174"/>
                    <a:pt x="4758" y="9130"/>
                    <a:pt x="4828" y="9085"/>
                  </a:cubicBezTo>
                  <a:cubicBezTo>
                    <a:pt x="4894" y="9041"/>
                    <a:pt x="4971" y="8991"/>
                    <a:pt x="5062" y="8991"/>
                  </a:cubicBezTo>
                  <a:cubicBezTo>
                    <a:pt x="5110" y="8991"/>
                    <a:pt x="5163" y="9005"/>
                    <a:pt x="5220" y="9043"/>
                  </a:cubicBezTo>
                  <a:cubicBezTo>
                    <a:pt x="5325" y="9113"/>
                    <a:pt x="5658" y="9179"/>
                    <a:pt x="5976" y="9242"/>
                  </a:cubicBezTo>
                  <a:cubicBezTo>
                    <a:pt x="6365" y="9316"/>
                    <a:pt x="6764" y="9396"/>
                    <a:pt x="6977" y="9508"/>
                  </a:cubicBezTo>
                  <a:cubicBezTo>
                    <a:pt x="7096" y="9571"/>
                    <a:pt x="7222" y="9624"/>
                    <a:pt x="7352" y="9669"/>
                  </a:cubicBezTo>
                  <a:cubicBezTo>
                    <a:pt x="7646" y="9778"/>
                    <a:pt x="7926" y="9879"/>
                    <a:pt x="7884" y="10142"/>
                  </a:cubicBezTo>
                  <a:cubicBezTo>
                    <a:pt x="7839" y="10422"/>
                    <a:pt x="8245" y="10643"/>
                    <a:pt x="8605" y="10800"/>
                  </a:cubicBezTo>
                  <a:cubicBezTo>
                    <a:pt x="9144" y="11038"/>
                    <a:pt x="9155" y="11591"/>
                    <a:pt x="9144" y="11752"/>
                  </a:cubicBezTo>
                  <a:cubicBezTo>
                    <a:pt x="9137" y="11871"/>
                    <a:pt x="9263" y="11983"/>
                    <a:pt x="9372" y="12082"/>
                  </a:cubicBezTo>
                  <a:cubicBezTo>
                    <a:pt x="9480" y="12180"/>
                    <a:pt x="9589" y="12278"/>
                    <a:pt x="9522" y="12383"/>
                  </a:cubicBezTo>
                  <a:cubicBezTo>
                    <a:pt x="9459" y="12488"/>
                    <a:pt x="9547" y="12652"/>
                    <a:pt x="9785" y="12862"/>
                  </a:cubicBezTo>
                  <a:cubicBezTo>
                    <a:pt x="9841" y="12904"/>
                    <a:pt x="9873" y="12971"/>
                    <a:pt x="9876" y="13037"/>
                  </a:cubicBezTo>
                  <a:cubicBezTo>
                    <a:pt x="9876" y="13156"/>
                    <a:pt x="9768" y="13247"/>
                    <a:pt x="9662" y="13338"/>
                  </a:cubicBezTo>
                  <a:cubicBezTo>
                    <a:pt x="9526" y="13454"/>
                    <a:pt x="9484" y="13503"/>
                    <a:pt x="9519" y="13552"/>
                  </a:cubicBezTo>
                  <a:cubicBezTo>
                    <a:pt x="9606" y="13664"/>
                    <a:pt x="9578" y="13807"/>
                    <a:pt x="9554" y="13933"/>
                  </a:cubicBezTo>
                  <a:cubicBezTo>
                    <a:pt x="9533" y="14035"/>
                    <a:pt x="9512" y="14130"/>
                    <a:pt x="9554" y="14186"/>
                  </a:cubicBezTo>
                  <a:cubicBezTo>
                    <a:pt x="9582" y="14228"/>
                    <a:pt x="9641" y="14256"/>
                    <a:pt x="9736" y="14270"/>
                  </a:cubicBezTo>
                  <a:cubicBezTo>
                    <a:pt x="9776" y="14276"/>
                    <a:pt x="9812" y="14279"/>
                    <a:pt x="9845" y="14279"/>
                  </a:cubicBezTo>
                  <a:cubicBezTo>
                    <a:pt x="10015" y="14279"/>
                    <a:pt x="10088" y="14200"/>
                    <a:pt x="10170" y="14112"/>
                  </a:cubicBezTo>
                  <a:cubicBezTo>
                    <a:pt x="10254" y="14017"/>
                    <a:pt x="10349" y="13912"/>
                    <a:pt x="10552" y="13912"/>
                  </a:cubicBezTo>
                  <a:cubicBezTo>
                    <a:pt x="10618" y="13912"/>
                    <a:pt x="10713" y="13919"/>
                    <a:pt x="10762" y="13986"/>
                  </a:cubicBezTo>
                  <a:cubicBezTo>
                    <a:pt x="10814" y="14049"/>
                    <a:pt x="10793" y="14140"/>
                    <a:pt x="10772" y="14224"/>
                  </a:cubicBezTo>
                  <a:cubicBezTo>
                    <a:pt x="10744" y="14340"/>
                    <a:pt x="10727" y="14420"/>
                    <a:pt x="10793" y="14483"/>
                  </a:cubicBezTo>
                  <a:cubicBezTo>
                    <a:pt x="10877" y="14567"/>
                    <a:pt x="11010" y="14606"/>
                    <a:pt x="11164" y="14651"/>
                  </a:cubicBezTo>
                  <a:cubicBezTo>
                    <a:pt x="11360" y="14711"/>
                    <a:pt x="11605" y="14784"/>
                    <a:pt x="11840" y="14980"/>
                  </a:cubicBezTo>
                  <a:cubicBezTo>
                    <a:pt x="12127" y="15222"/>
                    <a:pt x="12075" y="15358"/>
                    <a:pt x="12040" y="15404"/>
                  </a:cubicBezTo>
                  <a:cubicBezTo>
                    <a:pt x="12008" y="15443"/>
                    <a:pt x="11959" y="15463"/>
                    <a:pt x="11899" y="15463"/>
                  </a:cubicBezTo>
                  <a:cubicBezTo>
                    <a:pt x="11799" y="15463"/>
                    <a:pt x="11667" y="15410"/>
                    <a:pt x="11532" y="15309"/>
                  </a:cubicBezTo>
                  <a:cubicBezTo>
                    <a:pt x="11344" y="15172"/>
                    <a:pt x="10956" y="15130"/>
                    <a:pt x="10640" y="15130"/>
                  </a:cubicBezTo>
                  <a:cubicBezTo>
                    <a:pt x="10456" y="15130"/>
                    <a:pt x="10297" y="15144"/>
                    <a:pt x="10216" y="15162"/>
                  </a:cubicBezTo>
                  <a:cubicBezTo>
                    <a:pt x="10415" y="15325"/>
                    <a:pt x="11234" y="15768"/>
                    <a:pt x="11512" y="15768"/>
                  </a:cubicBezTo>
                  <a:cubicBezTo>
                    <a:pt x="11532" y="15768"/>
                    <a:pt x="11549" y="15766"/>
                    <a:pt x="11563" y="15761"/>
                  </a:cubicBezTo>
                  <a:cubicBezTo>
                    <a:pt x="11595" y="15750"/>
                    <a:pt x="11626" y="15745"/>
                    <a:pt x="11659" y="15745"/>
                  </a:cubicBezTo>
                  <a:cubicBezTo>
                    <a:pt x="11825" y="15745"/>
                    <a:pt x="11996" y="15879"/>
                    <a:pt x="12096" y="16037"/>
                  </a:cubicBezTo>
                  <a:cubicBezTo>
                    <a:pt x="12194" y="16199"/>
                    <a:pt x="12204" y="16349"/>
                    <a:pt x="12117" y="16433"/>
                  </a:cubicBezTo>
                  <a:cubicBezTo>
                    <a:pt x="12033" y="16521"/>
                    <a:pt x="12029" y="16741"/>
                    <a:pt x="12029" y="16916"/>
                  </a:cubicBezTo>
                  <a:cubicBezTo>
                    <a:pt x="12033" y="16997"/>
                    <a:pt x="12033" y="17081"/>
                    <a:pt x="12022" y="17161"/>
                  </a:cubicBezTo>
                  <a:cubicBezTo>
                    <a:pt x="12015" y="17203"/>
                    <a:pt x="11994" y="17242"/>
                    <a:pt x="11959" y="17266"/>
                  </a:cubicBezTo>
                  <a:cubicBezTo>
                    <a:pt x="11920" y="17294"/>
                    <a:pt x="11871" y="17303"/>
                    <a:pt x="11813" y="17303"/>
                  </a:cubicBezTo>
                  <a:cubicBezTo>
                    <a:pt x="11746" y="17303"/>
                    <a:pt x="11668" y="17290"/>
                    <a:pt x="11584" y="17277"/>
                  </a:cubicBezTo>
                  <a:cubicBezTo>
                    <a:pt x="11501" y="17257"/>
                    <a:pt x="11417" y="17247"/>
                    <a:pt x="11334" y="17247"/>
                  </a:cubicBezTo>
                  <a:cubicBezTo>
                    <a:pt x="11312" y="17247"/>
                    <a:pt x="11291" y="17247"/>
                    <a:pt x="11269" y="17249"/>
                  </a:cubicBezTo>
                  <a:cubicBezTo>
                    <a:pt x="10989" y="17284"/>
                    <a:pt x="10891" y="17368"/>
                    <a:pt x="10891" y="17571"/>
                  </a:cubicBezTo>
                  <a:cubicBezTo>
                    <a:pt x="10891" y="17732"/>
                    <a:pt x="10779" y="17861"/>
                    <a:pt x="10667" y="17991"/>
                  </a:cubicBezTo>
                  <a:cubicBezTo>
                    <a:pt x="10566" y="18110"/>
                    <a:pt x="10457" y="18236"/>
                    <a:pt x="10436" y="18387"/>
                  </a:cubicBezTo>
                  <a:cubicBezTo>
                    <a:pt x="10412" y="18562"/>
                    <a:pt x="10520" y="18614"/>
                    <a:pt x="10709" y="18684"/>
                  </a:cubicBezTo>
                  <a:cubicBezTo>
                    <a:pt x="10793" y="18712"/>
                    <a:pt x="10870" y="18747"/>
                    <a:pt x="10944" y="18793"/>
                  </a:cubicBezTo>
                  <a:cubicBezTo>
                    <a:pt x="10986" y="18817"/>
                    <a:pt x="11014" y="18866"/>
                    <a:pt x="11017" y="18915"/>
                  </a:cubicBezTo>
                  <a:cubicBezTo>
                    <a:pt x="11014" y="19003"/>
                    <a:pt x="10919" y="19055"/>
                    <a:pt x="10804" y="19122"/>
                  </a:cubicBezTo>
                  <a:cubicBezTo>
                    <a:pt x="10695" y="19181"/>
                    <a:pt x="10562" y="19258"/>
                    <a:pt x="10552" y="19342"/>
                  </a:cubicBezTo>
                  <a:cubicBezTo>
                    <a:pt x="10527" y="19521"/>
                    <a:pt x="11021" y="19930"/>
                    <a:pt x="11276" y="20067"/>
                  </a:cubicBezTo>
                  <a:cubicBezTo>
                    <a:pt x="11441" y="20154"/>
                    <a:pt x="11420" y="20403"/>
                    <a:pt x="11399" y="20645"/>
                  </a:cubicBezTo>
                  <a:cubicBezTo>
                    <a:pt x="11388" y="20792"/>
                    <a:pt x="11374" y="20946"/>
                    <a:pt x="11406" y="21044"/>
                  </a:cubicBezTo>
                  <a:cubicBezTo>
                    <a:pt x="11422" y="21104"/>
                    <a:pt x="11443" y="21117"/>
                    <a:pt x="11482" y="21117"/>
                  </a:cubicBezTo>
                  <a:cubicBezTo>
                    <a:pt x="11495" y="21117"/>
                    <a:pt x="11511" y="21115"/>
                    <a:pt x="11528" y="21114"/>
                  </a:cubicBezTo>
                  <a:cubicBezTo>
                    <a:pt x="11544" y="21113"/>
                    <a:pt x="11560" y="21111"/>
                    <a:pt x="11577" y="21111"/>
                  </a:cubicBezTo>
                  <a:cubicBezTo>
                    <a:pt x="11615" y="21111"/>
                    <a:pt x="11654" y="21118"/>
                    <a:pt x="11686" y="21152"/>
                  </a:cubicBezTo>
                  <a:cubicBezTo>
                    <a:pt x="11735" y="21198"/>
                    <a:pt x="11742" y="21257"/>
                    <a:pt x="11731" y="21362"/>
                  </a:cubicBezTo>
                  <a:cubicBezTo>
                    <a:pt x="11714" y="21537"/>
                    <a:pt x="11784" y="21597"/>
                    <a:pt x="11861" y="21667"/>
                  </a:cubicBezTo>
                  <a:cubicBezTo>
                    <a:pt x="11924" y="21723"/>
                    <a:pt x="11994" y="21786"/>
                    <a:pt x="12005" y="21898"/>
                  </a:cubicBezTo>
                  <a:cubicBezTo>
                    <a:pt x="12008" y="21950"/>
                    <a:pt x="12075" y="21982"/>
                    <a:pt x="12176" y="22031"/>
                  </a:cubicBezTo>
                  <a:cubicBezTo>
                    <a:pt x="12302" y="22090"/>
                    <a:pt x="12495" y="22178"/>
                    <a:pt x="12421" y="22395"/>
                  </a:cubicBezTo>
                  <a:cubicBezTo>
                    <a:pt x="12355" y="22602"/>
                    <a:pt x="12484" y="22763"/>
                    <a:pt x="12596" y="22903"/>
                  </a:cubicBezTo>
                  <a:cubicBezTo>
                    <a:pt x="12624" y="22938"/>
                    <a:pt x="12649" y="22969"/>
                    <a:pt x="12670" y="23001"/>
                  </a:cubicBezTo>
                  <a:cubicBezTo>
                    <a:pt x="12740" y="23085"/>
                    <a:pt x="12820" y="23158"/>
                    <a:pt x="12904" y="23228"/>
                  </a:cubicBezTo>
                  <a:cubicBezTo>
                    <a:pt x="13069" y="23372"/>
                    <a:pt x="13240" y="23522"/>
                    <a:pt x="13293" y="23662"/>
                  </a:cubicBezTo>
                  <a:cubicBezTo>
                    <a:pt x="13358" y="23832"/>
                    <a:pt x="13535" y="24038"/>
                    <a:pt x="13744" y="24038"/>
                  </a:cubicBezTo>
                  <a:cubicBezTo>
                    <a:pt x="13771" y="24038"/>
                    <a:pt x="13800" y="24034"/>
                    <a:pt x="13828" y="24026"/>
                  </a:cubicBezTo>
                  <a:cubicBezTo>
                    <a:pt x="13873" y="24014"/>
                    <a:pt x="13913" y="24009"/>
                    <a:pt x="13948" y="24009"/>
                  </a:cubicBezTo>
                  <a:cubicBezTo>
                    <a:pt x="14066" y="24009"/>
                    <a:pt x="14138" y="24066"/>
                    <a:pt x="14200" y="24117"/>
                  </a:cubicBezTo>
                  <a:cubicBezTo>
                    <a:pt x="14256" y="24161"/>
                    <a:pt x="14293" y="24189"/>
                    <a:pt x="14351" y="24189"/>
                  </a:cubicBezTo>
                  <a:cubicBezTo>
                    <a:pt x="14357" y="24189"/>
                    <a:pt x="14364" y="24188"/>
                    <a:pt x="14371" y="24187"/>
                  </a:cubicBezTo>
                  <a:cubicBezTo>
                    <a:pt x="14399" y="24180"/>
                    <a:pt x="14424" y="24180"/>
                    <a:pt x="14452" y="24180"/>
                  </a:cubicBezTo>
                  <a:cubicBezTo>
                    <a:pt x="14700" y="24180"/>
                    <a:pt x="15019" y="24313"/>
                    <a:pt x="15089" y="24503"/>
                  </a:cubicBezTo>
                  <a:cubicBezTo>
                    <a:pt x="15131" y="24615"/>
                    <a:pt x="15656" y="24776"/>
                    <a:pt x="15992" y="24832"/>
                  </a:cubicBezTo>
                  <a:cubicBezTo>
                    <a:pt x="15996" y="24832"/>
                    <a:pt x="16001" y="24833"/>
                    <a:pt x="16005" y="24833"/>
                  </a:cubicBezTo>
                  <a:cubicBezTo>
                    <a:pt x="16054" y="24833"/>
                    <a:pt x="16092" y="24777"/>
                    <a:pt x="16153" y="24667"/>
                  </a:cubicBezTo>
                  <a:cubicBezTo>
                    <a:pt x="16202" y="24576"/>
                    <a:pt x="16262" y="24471"/>
                    <a:pt x="16353" y="24418"/>
                  </a:cubicBezTo>
                  <a:cubicBezTo>
                    <a:pt x="16416" y="24387"/>
                    <a:pt x="16444" y="24163"/>
                    <a:pt x="16465" y="24012"/>
                  </a:cubicBezTo>
                  <a:cubicBezTo>
                    <a:pt x="16496" y="23778"/>
                    <a:pt x="16521" y="23592"/>
                    <a:pt x="16640" y="23557"/>
                  </a:cubicBezTo>
                  <a:cubicBezTo>
                    <a:pt x="16664" y="23543"/>
                    <a:pt x="16703" y="23424"/>
                    <a:pt x="16689" y="23204"/>
                  </a:cubicBezTo>
                  <a:cubicBezTo>
                    <a:pt x="16678" y="22973"/>
                    <a:pt x="16615" y="22836"/>
                    <a:pt x="16587" y="22826"/>
                  </a:cubicBezTo>
                  <a:cubicBezTo>
                    <a:pt x="16496" y="22794"/>
                    <a:pt x="16444" y="22696"/>
                    <a:pt x="16468" y="22605"/>
                  </a:cubicBezTo>
                  <a:cubicBezTo>
                    <a:pt x="16493" y="22513"/>
                    <a:pt x="16592" y="22416"/>
                    <a:pt x="16798" y="22416"/>
                  </a:cubicBezTo>
                  <a:cubicBezTo>
                    <a:pt x="16828" y="22416"/>
                    <a:pt x="16860" y="22419"/>
                    <a:pt x="16895" y="22423"/>
                  </a:cubicBezTo>
                  <a:cubicBezTo>
                    <a:pt x="16917" y="22426"/>
                    <a:pt x="16936" y="22428"/>
                    <a:pt x="16953" y="22428"/>
                  </a:cubicBezTo>
                  <a:cubicBezTo>
                    <a:pt x="17073" y="22428"/>
                    <a:pt x="17096" y="22356"/>
                    <a:pt x="17126" y="22258"/>
                  </a:cubicBezTo>
                  <a:cubicBezTo>
                    <a:pt x="17154" y="22181"/>
                    <a:pt x="17186" y="22083"/>
                    <a:pt x="17287" y="22055"/>
                  </a:cubicBezTo>
                  <a:cubicBezTo>
                    <a:pt x="17340" y="22038"/>
                    <a:pt x="17357" y="21971"/>
                    <a:pt x="17375" y="21866"/>
                  </a:cubicBezTo>
                  <a:cubicBezTo>
                    <a:pt x="17396" y="21761"/>
                    <a:pt x="17413" y="21660"/>
                    <a:pt x="17515" y="21632"/>
                  </a:cubicBezTo>
                  <a:cubicBezTo>
                    <a:pt x="17522" y="21632"/>
                    <a:pt x="17539" y="21628"/>
                    <a:pt x="17550" y="21597"/>
                  </a:cubicBezTo>
                  <a:cubicBezTo>
                    <a:pt x="17567" y="21509"/>
                    <a:pt x="17550" y="21418"/>
                    <a:pt x="17494" y="21348"/>
                  </a:cubicBezTo>
                  <a:cubicBezTo>
                    <a:pt x="17448" y="21296"/>
                    <a:pt x="17434" y="21222"/>
                    <a:pt x="17459" y="21156"/>
                  </a:cubicBezTo>
                  <a:cubicBezTo>
                    <a:pt x="17494" y="21072"/>
                    <a:pt x="17595" y="21009"/>
                    <a:pt x="17746" y="20984"/>
                  </a:cubicBezTo>
                  <a:cubicBezTo>
                    <a:pt x="17788" y="20977"/>
                    <a:pt x="17805" y="20960"/>
                    <a:pt x="17809" y="20925"/>
                  </a:cubicBezTo>
                  <a:cubicBezTo>
                    <a:pt x="17816" y="20865"/>
                    <a:pt x="17760" y="20760"/>
                    <a:pt x="17620" y="20708"/>
                  </a:cubicBezTo>
                  <a:cubicBezTo>
                    <a:pt x="17480" y="20655"/>
                    <a:pt x="17427" y="20557"/>
                    <a:pt x="17420" y="20484"/>
                  </a:cubicBezTo>
                  <a:cubicBezTo>
                    <a:pt x="17413" y="20424"/>
                    <a:pt x="17441" y="20365"/>
                    <a:pt x="17494" y="20333"/>
                  </a:cubicBezTo>
                  <a:cubicBezTo>
                    <a:pt x="17513" y="20323"/>
                    <a:pt x="17542" y="20313"/>
                    <a:pt x="17581" y="20313"/>
                  </a:cubicBezTo>
                  <a:cubicBezTo>
                    <a:pt x="17628" y="20313"/>
                    <a:pt x="17689" y="20328"/>
                    <a:pt x="17763" y="20382"/>
                  </a:cubicBezTo>
                  <a:cubicBezTo>
                    <a:pt x="17841" y="20435"/>
                    <a:pt x="17908" y="20455"/>
                    <a:pt x="17953" y="20455"/>
                  </a:cubicBezTo>
                  <a:cubicBezTo>
                    <a:pt x="17979" y="20455"/>
                    <a:pt x="17998" y="20448"/>
                    <a:pt x="18008" y="20438"/>
                  </a:cubicBezTo>
                  <a:cubicBezTo>
                    <a:pt x="18026" y="20417"/>
                    <a:pt x="18015" y="20375"/>
                    <a:pt x="17980" y="20330"/>
                  </a:cubicBezTo>
                  <a:cubicBezTo>
                    <a:pt x="17931" y="20277"/>
                    <a:pt x="17917" y="20200"/>
                    <a:pt x="17945" y="20133"/>
                  </a:cubicBezTo>
                  <a:cubicBezTo>
                    <a:pt x="18012" y="19983"/>
                    <a:pt x="18310" y="19923"/>
                    <a:pt x="18544" y="19902"/>
                  </a:cubicBezTo>
                  <a:cubicBezTo>
                    <a:pt x="18716" y="19885"/>
                    <a:pt x="18845" y="19825"/>
                    <a:pt x="18908" y="19738"/>
                  </a:cubicBezTo>
                  <a:cubicBezTo>
                    <a:pt x="18950" y="19671"/>
                    <a:pt x="18964" y="19587"/>
                    <a:pt x="18940" y="19514"/>
                  </a:cubicBezTo>
                  <a:cubicBezTo>
                    <a:pt x="18908" y="19423"/>
                    <a:pt x="18947" y="19325"/>
                    <a:pt x="19031" y="19276"/>
                  </a:cubicBezTo>
                  <a:cubicBezTo>
                    <a:pt x="19069" y="19253"/>
                    <a:pt x="19113" y="19241"/>
                    <a:pt x="19156" y="19241"/>
                  </a:cubicBezTo>
                  <a:cubicBezTo>
                    <a:pt x="19211" y="19241"/>
                    <a:pt x="19266" y="19260"/>
                    <a:pt x="19311" y="19297"/>
                  </a:cubicBezTo>
                  <a:cubicBezTo>
                    <a:pt x="19367" y="19353"/>
                    <a:pt x="19377" y="19440"/>
                    <a:pt x="19335" y="19510"/>
                  </a:cubicBezTo>
                  <a:cubicBezTo>
                    <a:pt x="19276" y="19633"/>
                    <a:pt x="19279" y="19734"/>
                    <a:pt x="19297" y="19759"/>
                  </a:cubicBezTo>
                  <a:cubicBezTo>
                    <a:pt x="19314" y="19752"/>
                    <a:pt x="19332" y="19741"/>
                    <a:pt x="19346" y="19727"/>
                  </a:cubicBezTo>
                  <a:cubicBezTo>
                    <a:pt x="19447" y="19622"/>
                    <a:pt x="19584" y="19615"/>
                    <a:pt x="19776" y="19601"/>
                  </a:cubicBezTo>
                  <a:cubicBezTo>
                    <a:pt x="19983" y="19591"/>
                    <a:pt x="20190" y="19556"/>
                    <a:pt x="20389" y="19500"/>
                  </a:cubicBezTo>
                  <a:cubicBezTo>
                    <a:pt x="20925" y="19342"/>
                    <a:pt x="21439" y="18901"/>
                    <a:pt x="21558" y="18492"/>
                  </a:cubicBezTo>
                  <a:cubicBezTo>
                    <a:pt x="21635" y="18240"/>
                    <a:pt x="21852" y="18134"/>
                    <a:pt x="22027" y="18050"/>
                  </a:cubicBezTo>
                  <a:cubicBezTo>
                    <a:pt x="22209" y="17963"/>
                    <a:pt x="22259" y="17924"/>
                    <a:pt x="22238" y="17847"/>
                  </a:cubicBezTo>
                  <a:cubicBezTo>
                    <a:pt x="22181" y="17651"/>
                    <a:pt x="22252" y="17557"/>
                    <a:pt x="22301" y="17518"/>
                  </a:cubicBezTo>
                  <a:cubicBezTo>
                    <a:pt x="22338" y="17487"/>
                    <a:pt x="22396" y="17459"/>
                    <a:pt x="22485" y="17459"/>
                  </a:cubicBezTo>
                  <a:cubicBezTo>
                    <a:pt x="22573" y="17459"/>
                    <a:pt x="22690" y="17486"/>
                    <a:pt x="22847" y="17560"/>
                  </a:cubicBezTo>
                  <a:cubicBezTo>
                    <a:pt x="22892" y="17588"/>
                    <a:pt x="22945" y="17606"/>
                    <a:pt x="23001" y="17616"/>
                  </a:cubicBezTo>
                  <a:cubicBezTo>
                    <a:pt x="23004" y="17613"/>
                    <a:pt x="23008" y="17602"/>
                    <a:pt x="23008" y="17595"/>
                  </a:cubicBezTo>
                  <a:cubicBezTo>
                    <a:pt x="23046" y="17515"/>
                    <a:pt x="23109" y="17424"/>
                    <a:pt x="23351" y="17424"/>
                  </a:cubicBezTo>
                  <a:cubicBezTo>
                    <a:pt x="23571" y="17424"/>
                    <a:pt x="23655" y="17385"/>
                    <a:pt x="23743" y="17343"/>
                  </a:cubicBezTo>
                  <a:cubicBezTo>
                    <a:pt x="23866" y="17283"/>
                    <a:pt x="24000" y="17249"/>
                    <a:pt x="24139" y="17249"/>
                  </a:cubicBezTo>
                  <a:cubicBezTo>
                    <a:pt x="24146" y="17249"/>
                    <a:pt x="24153" y="17249"/>
                    <a:pt x="24159" y="17249"/>
                  </a:cubicBezTo>
                  <a:cubicBezTo>
                    <a:pt x="24618" y="17231"/>
                    <a:pt x="25710" y="17032"/>
                    <a:pt x="26074" y="16727"/>
                  </a:cubicBezTo>
                  <a:cubicBezTo>
                    <a:pt x="26319" y="16524"/>
                    <a:pt x="26729" y="16342"/>
                    <a:pt x="27090" y="16181"/>
                  </a:cubicBezTo>
                  <a:cubicBezTo>
                    <a:pt x="27275" y="16104"/>
                    <a:pt x="27457" y="16013"/>
                    <a:pt x="27636" y="15915"/>
                  </a:cubicBezTo>
                  <a:cubicBezTo>
                    <a:pt x="27692" y="15880"/>
                    <a:pt x="27748" y="15841"/>
                    <a:pt x="27800" y="15799"/>
                  </a:cubicBezTo>
                  <a:lnTo>
                    <a:pt x="27800" y="15799"/>
                  </a:lnTo>
                  <a:cubicBezTo>
                    <a:pt x="27676" y="15840"/>
                    <a:pt x="27516" y="15861"/>
                    <a:pt x="27349" y="15861"/>
                  </a:cubicBezTo>
                  <a:cubicBezTo>
                    <a:pt x="27196" y="15861"/>
                    <a:pt x="27037" y="15843"/>
                    <a:pt x="26894" y="15806"/>
                  </a:cubicBezTo>
                  <a:cubicBezTo>
                    <a:pt x="26820" y="15789"/>
                    <a:pt x="26733" y="15757"/>
                    <a:pt x="26642" y="15729"/>
                  </a:cubicBezTo>
                  <a:cubicBezTo>
                    <a:pt x="26449" y="15662"/>
                    <a:pt x="26225" y="15585"/>
                    <a:pt x="26021" y="15585"/>
                  </a:cubicBezTo>
                  <a:cubicBezTo>
                    <a:pt x="25917" y="15585"/>
                    <a:pt x="25819" y="15605"/>
                    <a:pt x="25731" y="15656"/>
                  </a:cubicBezTo>
                  <a:cubicBezTo>
                    <a:pt x="25701" y="15671"/>
                    <a:pt x="25627" y="15714"/>
                    <a:pt x="25558" y="15714"/>
                  </a:cubicBezTo>
                  <a:cubicBezTo>
                    <a:pt x="25531" y="15714"/>
                    <a:pt x="25505" y="15707"/>
                    <a:pt x="25483" y="15691"/>
                  </a:cubicBezTo>
                  <a:cubicBezTo>
                    <a:pt x="25458" y="15673"/>
                    <a:pt x="25423" y="15628"/>
                    <a:pt x="25444" y="15544"/>
                  </a:cubicBezTo>
                  <a:cubicBezTo>
                    <a:pt x="25479" y="15414"/>
                    <a:pt x="25640" y="15211"/>
                    <a:pt x="25850" y="15176"/>
                  </a:cubicBezTo>
                  <a:cubicBezTo>
                    <a:pt x="25941" y="15162"/>
                    <a:pt x="25973" y="15141"/>
                    <a:pt x="25980" y="15127"/>
                  </a:cubicBezTo>
                  <a:cubicBezTo>
                    <a:pt x="26001" y="15096"/>
                    <a:pt x="25973" y="15015"/>
                    <a:pt x="25945" y="14921"/>
                  </a:cubicBezTo>
                  <a:cubicBezTo>
                    <a:pt x="25927" y="14868"/>
                    <a:pt x="25910" y="14809"/>
                    <a:pt x="25892" y="14739"/>
                  </a:cubicBezTo>
                  <a:cubicBezTo>
                    <a:pt x="25854" y="14592"/>
                    <a:pt x="25934" y="14536"/>
                    <a:pt x="25976" y="14518"/>
                  </a:cubicBezTo>
                  <a:cubicBezTo>
                    <a:pt x="26003" y="14506"/>
                    <a:pt x="26035" y="14500"/>
                    <a:pt x="26071" y="14500"/>
                  </a:cubicBezTo>
                  <a:cubicBezTo>
                    <a:pt x="26280" y="14500"/>
                    <a:pt x="26614" y="14700"/>
                    <a:pt x="26785" y="14945"/>
                  </a:cubicBezTo>
                  <a:cubicBezTo>
                    <a:pt x="26969" y="15210"/>
                    <a:pt x="27293" y="15365"/>
                    <a:pt x="27621" y="15365"/>
                  </a:cubicBezTo>
                  <a:cubicBezTo>
                    <a:pt x="27718" y="15365"/>
                    <a:pt x="27815" y="15351"/>
                    <a:pt x="27909" y="15323"/>
                  </a:cubicBezTo>
                  <a:cubicBezTo>
                    <a:pt x="28105" y="15267"/>
                    <a:pt x="28084" y="15176"/>
                    <a:pt x="28042" y="15012"/>
                  </a:cubicBezTo>
                  <a:cubicBezTo>
                    <a:pt x="28010" y="14886"/>
                    <a:pt x="27975" y="14746"/>
                    <a:pt x="28066" y="14620"/>
                  </a:cubicBezTo>
                  <a:cubicBezTo>
                    <a:pt x="28066" y="14620"/>
                    <a:pt x="28070" y="14616"/>
                    <a:pt x="28066" y="14609"/>
                  </a:cubicBezTo>
                  <a:cubicBezTo>
                    <a:pt x="28045" y="14480"/>
                    <a:pt x="27618" y="14193"/>
                    <a:pt x="27310" y="13979"/>
                  </a:cubicBezTo>
                  <a:cubicBezTo>
                    <a:pt x="26915" y="13713"/>
                    <a:pt x="26673" y="13541"/>
                    <a:pt x="26635" y="13419"/>
                  </a:cubicBezTo>
                  <a:cubicBezTo>
                    <a:pt x="26603" y="13324"/>
                    <a:pt x="26635" y="13272"/>
                    <a:pt x="26663" y="13244"/>
                  </a:cubicBezTo>
                  <a:cubicBezTo>
                    <a:pt x="26694" y="13215"/>
                    <a:pt x="26739" y="13202"/>
                    <a:pt x="26797" y="13202"/>
                  </a:cubicBezTo>
                  <a:cubicBezTo>
                    <a:pt x="26947" y="13202"/>
                    <a:pt x="27188" y="13289"/>
                    <a:pt x="27531" y="13433"/>
                  </a:cubicBezTo>
                  <a:cubicBezTo>
                    <a:pt x="27580" y="13456"/>
                    <a:pt x="27624" y="13467"/>
                    <a:pt x="27665" y="13467"/>
                  </a:cubicBezTo>
                  <a:cubicBezTo>
                    <a:pt x="27706" y="13467"/>
                    <a:pt x="27743" y="13456"/>
                    <a:pt x="27776" y="13433"/>
                  </a:cubicBezTo>
                  <a:cubicBezTo>
                    <a:pt x="27909" y="13345"/>
                    <a:pt x="27958" y="13083"/>
                    <a:pt x="27958" y="12929"/>
                  </a:cubicBezTo>
                  <a:cubicBezTo>
                    <a:pt x="27958" y="12911"/>
                    <a:pt x="27930" y="12897"/>
                    <a:pt x="27919" y="12890"/>
                  </a:cubicBezTo>
                  <a:cubicBezTo>
                    <a:pt x="27837" y="12841"/>
                    <a:pt x="27677" y="12817"/>
                    <a:pt x="27495" y="12817"/>
                  </a:cubicBezTo>
                  <a:cubicBezTo>
                    <a:pt x="27233" y="12817"/>
                    <a:pt x="26927" y="12868"/>
                    <a:pt x="26743" y="12971"/>
                  </a:cubicBezTo>
                  <a:cubicBezTo>
                    <a:pt x="26673" y="13014"/>
                    <a:pt x="26593" y="13035"/>
                    <a:pt x="26513" y="13035"/>
                  </a:cubicBezTo>
                  <a:cubicBezTo>
                    <a:pt x="26418" y="13035"/>
                    <a:pt x="26322" y="13005"/>
                    <a:pt x="26242" y="12946"/>
                  </a:cubicBezTo>
                  <a:cubicBezTo>
                    <a:pt x="26155" y="12876"/>
                    <a:pt x="26113" y="12778"/>
                    <a:pt x="26141" y="12691"/>
                  </a:cubicBezTo>
                  <a:cubicBezTo>
                    <a:pt x="26158" y="12628"/>
                    <a:pt x="26221" y="12519"/>
                    <a:pt x="26463" y="12491"/>
                  </a:cubicBezTo>
                  <a:cubicBezTo>
                    <a:pt x="26645" y="12470"/>
                    <a:pt x="26666" y="12435"/>
                    <a:pt x="26670" y="12432"/>
                  </a:cubicBezTo>
                  <a:cubicBezTo>
                    <a:pt x="26677" y="12418"/>
                    <a:pt x="26649" y="12369"/>
                    <a:pt x="26635" y="12344"/>
                  </a:cubicBezTo>
                  <a:cubicBezTo>
                    <a:pt x="26596" y="12267"/>
                    <a:pt x="26537" y="12155"/>
                    <a:pt x="26635" y="12057"/>
                  </a:cubicBezTo>
                  <a:cubicBezTo>
                    <a:pt x="26667" y="12024"/>
                    <a:pt x="26707" y="12010"/>
                    <a:pt x="26755" y="12010"/>
                  </a:cubicBezTo>
                  <a:cubicBezTo>
                    <a:pt x="26870" y="12010"/>
                    <a:pt x="27026" y="12093"/>
                    <a:pt x="27212" y="12190"/>
                  </a:cubicBezTo>
                  <a:cubicBezTo>
                    <a:pt x="27402" y="12288"/>
                    <a:pt x="27630" y="12409"/>
                    <a:pt x="27794" y="12409"/>
                  </a:cubicBezTo>
                  <a:cubicBezTo>
                    <a:pt x="27823" y="12409"/>
                    <a:pt x="27850" y="12405"/>
                    <a:pt x="27874" y="12397"/>
                  </a:cubicBezTo>
                  <a:cubicBezTo>
                    <a:pt x="28003" y="12362"/>
                    <a:pt x="28136" y="12341"/>
                    <a:pt x="28273" y="12337"/>
                  </a:cubicBezTo>
                  <a:cubicBezTo>
                    <a:pt x="28452" y="12327"/>
                    <a:pt x="28606" y="12320"/>
                    <a:pt x="28777" y="12183"/>
                  </a:cubicBezTo>
                  <a:cubicBezTo>
                    <a:pt x="28795" y="12169"/>
                    <a:pt x="28819" y="12145"/>
                    <a:pt x="28816" y="12124"/>
                  </a:cubicBezTo>
                  <a:cubicBezTo>
                    <a:pt x="28809" y="12043"/>
                    <a:pt x="28574" y="11924"/>
                    <a:pt x="28416" y="11843"/>
                  </a:cubicBezTo>
                  <a:cubicBezTo>
                    <a:pt x="28262" y="11763"/>
                    <a:pt x="28108" y="11682"/>
                    <a:pt x="28038" y="11598"/>
                  </a:cubicBezTo>
                  <a:cubicBezTo>
                    <a:pt x="28003" y="11563"/>
                    <a:pt x="27993" y="11511"/>
                    <a:pt x="28014" y="11469"/>
                  </a:cubicBezTo>
                  <a:cubicBezTo>
                    <a:pt x="28055" y="11387"/>
                    <a:pt x="28210" y="11349"/>
                    <a:pt x="28574" y="11349"/>
                  </a:cubicBezTo>
                  <a:cubicBezTo>
                    <a:pt x="28736" y="11349"/>
                    <a:pt x="28940" y="11357"/>
                    <a:pt x="29194" y="11371"/>
                  </a:cubicBezTo>
                  <a:lnTo>
                    <a:pt x="29306" y="11378"/>
                  </a:lnTo>
                  <a:cubicBezTo>
                    <a:pt x="29309" y="11378"/>
                    <a:pt x="29311" y="11378"/>
                    <a:pt x="29314" y="11378"/>
                  </a:cubicBezTo>
                  <a:cubicBezTo>
                    <a:pt x="29402" y="11378"/>
                    <a:pt x="29482" y="11326"/>
                    <a:pt x="29516" y="11245"/>
                  </a:cubicBezTo>
                  <a:cubicBezTo>
                    <a:pt x="29540" y="11210"/>
                    <a:pt x="29544" y="11168"/>
                    <a:pt x="29526" y="11126"/>
                  </a:cubicBezTo>
                  <a:cubicBezTo>
                    <a:pt x="29524" y="11123"/>
                    <a:pt x="29520" y="11122"/>
                    <a:pt x="29514" y="11122"/>
                  </a:cubicBezTo>
                  <a:cubicBezTo>
                    <a:pt x="29504" y="11122"/>
                    <a:pt x="29488" y="11126"/>
                    <a:pt x="29470" y="11133"/>
                  </a:cubicBezTo>
                  <a:cubicBezTo>
                    <a:pt x="29437" y="11145"/>
                    <a:pt x="29397" y="11151"/>
                    <a:pt x="29351" y="11151"/>
                  </a:cubicBezTo>
                  <a:cubicBezTo>
                    <a:pt x="29079" y="11151"/>
                    <a:pt x="28618" y="10945"/>
                    <a:pt x="28445" y="10727"/>
                  </a:cubicBezTo>
                  <a:cubicBezTo>
                    <a:pt x="28329" y="10583"/>
                    <a:pt x="28371" y="10471"/>
                    <a:pt x="28406" y="10422"/>
                  </a:cubicBezTo>
                  <a:cubicBezTo>
                    <a:pt x="28489" y="10297"/>
                    <a:pt x="28597" y="10267"/>
                    <a:pt x="28712" y="10267"/>
                  </a:cubicBezTo>
                  <a:cubicBezTo>
                    <a:pt x="28771" y="10267"/>
                    <a:pt x="28832" y="10275"/>
                    <a:pt x="28893" y="10282"/>
                  </a:cubicBezTo>
                  <a:cubicBezTo>
                    <a:pt x="28963" y="10293"/>
                    <a:pt x="29033" y="10303"/>
                    <a:pt x="29105" y="10303"/>
                  </a:cubicBezTo>
                  <a:cubicBezTo>
                    <a:pt x="29196" y="10303"/>
                    <a:pt x="29289" y="10287"/>
                    <a:pt x="29386" y="10237"/>
                  </a:cubicBezTo>
                  <a:cubicBezTo>
                    <a:pt x="29568" y="10142"/>
                    <a:pt x="29533" y="9911"/>
                    <a:pt x="29509" y="9813"/>
                  </a:cubicBezTo>
                  <a:cubicBezTo>
                    <a:pt x="29453" y="9578"/>
                    <a:pt x="29281" y="9358"/>
                    <a:pt x="29159" y="9358"/>
                  </a:cubicBezTo>
                  <a:cubicBezTo>
                    <a:pt x="29148" y="9358"/>
                    <a:pt x="28122" y="9319"/>
                    <a:pt x="28122" y="9053"/>
                  </a:cubicBezTo>
                  <a:cubicBezTo>
                    <a:pt x="28115" y="9022"/>
                    <a:pt x="28000" y="8959"/>
                    <a:pt x="27937" y="8924"/>
                  </a:cubicBezTo>
                  <a:cubicBezTo>
                    <a:pt x="27811" y="8854"/>
                    <a:pt x="27702" y="8791"/>
                    <a:pt x="27692" y="8700"/>
                  </a:cubicBezTo>
                  <a:cubicBezTo>
                    <a:pt x="27685" y="8654"/>
                    <a:pt x="27706" y="8609"/>
                    <a:pt x="27741" y="8584"/>
                  </a:cubicBezTo>
                  <a:cubicBezTo>
                    <a:pt x="27789" y="8540"/>
                    <a:pt x="27839" y="8525"/>
                    <a:pt x="27889" y="8525"/>
                  </a:cubicBezTo>
                  <a:cubicBezTo>
                    <a:pt x="27938" y="8525"/>
                    <a:pt x="27987" y="8539"/>
                    <a:pt x="28035" y="8553"/>
                  </a:cubicBezTo>
                  <a:cubicBezTo>
                    <a:pt x="28090" y="8568"/>
                    <a:pt x="28148" y="8584"/>
                    <a:pt x="28213" y="8584"/>
                  </a:cubicBezTo>
                  <a:cubicBezTo>
                    <a:pt x="28293" y="8584"/>
                    <a:pt x="28384" y="8560"/>
                    <a:pt x="28490" y="8483"/>
                  </a:cubicBezTo>
                  <a:cubicBezTo>
                    <a:pt x="28613" y="8391"/>
                    <a:pt x="28771" y="8360"/>
                    <a:pt x="28942" y="8360"/>
                  </a:cubicBezTo>
                  <a:cubicBezTo>
                    <a:pt x="29123" y="8360"/>
                    <a:pt x="29318" y="8394"/>
                    <a:pt x="29502" y="8427"/>
                  </a:cubicBezTo>
                  <a:cubicBezTo>
                    <a:pt x="29654" y="8451"/>
                    <a:pt x="29799" y="8477"/>
                    <a:pt x="29910" y="8477"/>
                  </a:cubicBezTo>
                  <a:cubicBezTo>
                    <a:pt x="29944" y="8477"/>
                    <a:pt x="29975" y="8474"/>
                    <a:pt x="30002" y="8469"/>
                  </a:cubicBezTo>
                  <a:cubicBezTo>
                    <a:pt x="30058" y="8458"/>
                    <a:pt x="30062" y="8434"/>
                    <a:pt x="30065" y="8423"/>
                  </a:cubicBezTo>
                  <a:cubicBezTo>
                    <a:pt x="30086" y="8336"/>
                    <a:pt x="29971" y="8150"/>
                    <a:pt x="29841" y="8052"/>
                  </a:cubicBezTo>
                  <a:cubicBezTo>
                    <a:pt x="29800" y="8021"/>
                    <a:pt x="29760" y="8003"/>
                    <a:pt x="29734" y="8003"/>
                  </a:cubicBezTo>
                  <a:cubicBezTo>
                    <a:pt x="29725" y="8003"/>
                    <a:pt x="29717" y="8005"/>
                    <a:pt x="29712" y="8010"/>
                  </a:cubicBezTo>
                  <a:cubicBezTo>
                    <a:pt x="29624" y="8060"/>
                    <a:pt x="29456" y="8096"/>
                    <a:pt x="29282" y="8096"/>
                  </a:cubicBezTo>
                  <a:cubicBezTo>
                    <a:pt x="29151" y="8096"/>
                    <a:pt x="29016" y="8075"/>
                    <a:pt x="28910" y="8024"/>
                  </a:cubicBezTo>
                  <a:cubicBezTo>
                    <a:pt x="28802" y="7979"/>
                    <a:pt x="28725" y="7884"/>
                    <a:pt x="28707" y="7768"/>
                  </a:cubicBezTo>
                  <a:cubicBezTo>
                    <a:pt x="28693" y="7705"/>
                    <a:pt x="28711" y="7642"/>
                    <a:pt x="28753" y="7597"/>
                  </a:cubicBezTo>
                  <a:cubicBezTo>
                    <a:pt x="28799" y="7550"/>
                    <a:pt x="28868" y="7536"/>
                    <a:pt x="28947" y="7536"/>
                  </a:cubicBezTo>
                  <a:cubicBezTo>
                    <a:pt x="29017" y="7536"/>
                    <a:pt x="29096" y="7547"/>
                    <a:pt x="29176" y="7558"/>
                  </a:cubicBezTo>
                  <a:cubicBezTo>
                    <a:pt x="29236" y="7565"/>
                    <a:pt x="29322" y="7577"/>
                    <a:pt x="29385" y="7577"/>
                  </a:cubicBezTo>
                  <a:cubicBezTo>
                    <a:pt x="29417" y="7577"/>
                    <a:pt x="29443" y="7574"/>
                    <a:pt x="29456" y="7565"/>
                  </a:cubicBezTo>
                  <a:cubicBezTo>
                    <a:pt x="29418" y="7492"/>
                    <a:pt x="29092" y="7324"/>
                    <a:pt x="28784" y="7296"/>
                  </a:cubicBezTo>
                  <a:cubicBezTo>
                    <a:pt x="28761" y="7293"/>
                    <a:pt x="28733" y="7291"/>
                    <a:pt x="28704" y="7291"/>
                  </a:cubicBezTo>
                  <a:cubicBezTo>
                    <a:pt x="28614" y="7291"/>
                    <a:pt x="28510" y="7310"/>
                    <a:pt x="28476" y="7383"/>
                  </a:cubicBezTo>
                  <a:cubicBezTo>
                    <a:pt x="28393" y="7540"/>
                    <a:pt x="28231" y="7638"/>
                    <a:pt x="28054" y="7638"/>
                  </a:cubicBezTo>
                  <a:cubicBezTo>
                    <a:pt x="28038" y="7638"/>
                    <a:pt x="28021" y="7637"/>
                    <a:pt x="28003" y="7635"/>
                  </a:cubicBezTo>
                  <a:cubicBezTo>
                    <a:pt x="27905" y="7625"/>
                    <a:pt x="27842" y="7583"/>
                    <a:pt x="27828" y="7516"/>
                  </a:cubicBezTo>
                  <a:cubicBezTo>
                    <a:pt x="27818" y="7474"/>
                    <a:pt x="27828" y="7404"/>
                    <a:pt x="27944" y="7331"/>
                  </a:cubicBezTo>
                  <a:cubicBezTo>
                    <a:pt x="28213" y="7163"/>
                    <a:pt x="28287" y="6659"/>
                    <a:pt x="28255" y="6375"/>
                  </a:cubicBezTo>
                  <a:cubicBezTo>
                    <a:pt x="28234" y="6204"/>
                    <a:pt x="28455" y="6127"/>
                    <a:pt x="28711" y="6039"/>
                  </a:cubicBezTo>
                  <a:cubicBezTo>
                    <a:pt x="29047" y="5924"/>
                    <a:pt x="29281" y="5826"/>
                    <a:pt x="29225" y="5640"/>
                  </a:cubicBezTo>
                  <a:cubicBezTo>
                    <a:pt x="29187" y="5524"/>
                    <a:pt x="29204" y="5395"/>
                    <a:pt x="29281" y="5293"/>
                  </a:cubicBezTo>
                  <a:cubicBezTo>
                    <a:pt x="29481" y="5027"/>
                    <a:pt x="30030" y="5006"/>
                    <a:pt x="30195" y="5006"/>
                  </a:cubicBezTo>
                  <a:cubicBezTo>
                    <a:pt x="30251" y="5006"/>
                    <a:pt x="30275" y="4996"/>
                    <a:pt x="30279" y="4985"/>
                  </a:cubicBezTo>
                  <a:cubicBezTo>
                    <a:pt x="30282" y="4978"/>
                    <a:pt x="30279" y="4947"/>
                    <a:pt x="30247" y="4898"/>
                  </a:cubicBezTo>
                  <a:cubicBezTo>
                    <a:pt x="30174" y="4795"/>
                    <a:pt x="30019" y="4699"/>
                    <a:pt x="29872" y="4699"/>
                  </a:cubicBezTo>
                  <a:cubicBezTo>
                    <a:pt x="29858" y="4699"/>
                    <a:pt x="29845" y="4700"/>
                    <a:pt x="29831" y="4702"/>
                  </a:cubicBezTo>
                  <a:cubicBezTo>
                    <a:pt x="29691" y="4719"/>
                    <a:pt x="29537" y="4807"/>
                    <a:pt x="29404" y="4880"/>
                  </a:cubicBezTo>
                  <a:cubicBezTo>
                    <a:pt x="29265" y="4957"/>
                    <a:pt x="29132" y="5031"/>
                    <a:pt x="29018" y="5031"/>
                  </a:cubicBezTo>
                  <a:cubicBezTo>
                    <a:pt x="28964" y="5031"/>
                    <a:pt x="28915" y="5015"/>
                    <a:pt x="28872" y="4975"/>
                  </a:cubicBezTo>
                  <a:cubicBezTo>
                    <a:pt x="28823" y="4933"/>
                    <a:pt x="28805" y="4863"/>
                    <a:pt x="28830" y="4800"/>
                  </a:cubicBezTo>
                  <a:cubicBezTo>
                    <a:pt x="28907" y="4607"/>
                    <a:pt x="29376" y="4408"/>
                    <a:pt x="29659" y="4408"/>
                  </a:cubicBezTo>
                  <a:cubicBezTo>
                    <a:pt x="30016" y="4408"/>
                    <a:pt x="30755" y="4369"/>
                    <a:pt x="31000" y="4222"/>
                  </a:cubicBezTo>
                  <a:cubicBezTo>
                    <a:pt x="31007" y="4219"/>
                    <a:pt x="31014" y="4215"/>
                    <a:pt x="31021" y="4208"/>
                  </a:cubicBezTo>
                  <a:cubicBezTo>
                    <a:pt x="30957" y="4155"/>
                    <a:pt x="30639" y="4084"/>
                    <a:pt x="30300" y="4084"/>
                  </a:cubicBezTo>
                  <a:cubicBezTo>
                    <a:pt x="30214" y="4084"/>
                    <a:pt x="30126" y="4089"/>
                    <a:pt x="30041" y="4100"/>
                  </a:cubicBezTo>
                  <a:cubicBezTo>
                    <a:pt x="29989" y="4106"/>
                    <a:pt x="29924" y="4113"/>
                    <a:pt x="29860" y="4113"/>
                  </a:cubicBezTo>
                  <a:cubicBezTo>
                    <a:pt x="29759" y="4113"/>
                    <a:pt x="29661" y="4097"/>
                    <a:pt x="29624" y="4044"/>
                  </a:cubicBezTo>
                  <a:cubicBezTo>
                    <a:pt x="29603" y="4016"/>
                    <a:pt x="29600" y="3981"/>
                    <a:pt x="29617" y="3953"/>
                  </a:cubicBezTo>
                  <a:cubicBezTo>
                    <a:pt x="29684" y="3820"/>
                    <a:pt x="30111" y="3795"/>
                    <a:pt x="30289" y="3792"/>
                  </a:cubicBezTo>
                  <a:cubicBezTo>
                    <a:pt x="30727" y="3785"/>
                    <a:pt x="30867" y="3729"/>
                    <a:pt x="31011" y="3669"/>
                  </a:cubicBezTo>
                  <a:cubicBezTo>
                    <a:pt x="31161" y="3606"/>
                    <a:pt x="31319" y="3567"/>
                    <a:pt x="31480" y="3550"/>
                  </a:cubicBezTo>
                  <a:cubicBezTo>
                    <a:pt x="31760" y="3518"/>
                    <a:pt x="31830" y="3445"/>
                    <a:pt x="31896" y="3378"/>
                  </a:cubicBezTo>
                  <a:cubicBezTo>
                    <a:pt x="31959" y="3312"/>
                    <a:pt x="32019" y="3252"/>
                    <a:pt x="32197" y="3242"/>
                  </a:cubicBezTo>
                  <a:cubicBezTo>
                    <a:pt x="32547" y="3228"/>
                    <a:pt x="33321" y="2874"/>
                    <a:pt x="33363" y="2745"/>
                  </a:cubicBezTo>
                  <a:cubicBezTo>
                    <a:pt x="33276" y="2608"/>
                    <a:pt x="32159" y="2276"/>
                    <a:pt x="31553" y="2276"/>
                  </a:cubicBezTo>
                  <a:cubicBezTo>
                    <a:pt x="30853" y="2276"/>
                    <a:pt x="30528" y="2416"/>
                    <a:pt x="30503" y="2731"/>
                  </a:cubicBezTo>
                  <a:cubicBezTo>
                    <a:pt x="30499" y="2804"/>
                    <a:pt x="30468" y="2871"/>
                    <a:pt x="30408" y="2916"/>
                  </a:cubicBezTo>
                  <a:cubicBezTo>
                    <a:pt x="30360" y="2951"/>
                    <a:pt x="30299" y="2964"/>
                    <a:pt x="30229" y="2964"/>
                  </a:cubicBezTo>
                  <a:cubicBezTo>
                    <a:pt x="30121" y="2964"/>
                    <a:pt x="29992" y="2933"/>
                    <a:pt x="29859" y="2899"/>
                  </a:cubicBezTo>
                  <a:cubicBezTo>
                    <a:pt x="29728" y="2867"/>
                    <a:pt x="29586" y="2831"/>
                    <a:pt x="29473" y="2831"/>
                  </a:cubicBezTo>
                  <a:cubicBezTo>
                    <a:pt x="29425" y="2831"/>
                    <a:pt x="29382" y="2838"/>
                    <a:pt x="29348" y="2853"/>
                  </a:cubicBezTo>
                  <a:cubicBezTo>
                    <a:pt x="29297" y="2876"/>
                    <a:pt x="29253" y="2886"/>
                    <a:pt x="29217" y="2886"/>
                  </a:cubicBezTo>
                  <a:cubicBezTo>
                    <a:pt x="29098" y="2886"/>
                    <a:pt x="29048" y="2786"/>
                    <a:pt x="29019" y="2727"/>
                  </a:cubicBezTo>
                  <a:cubicBezTo>
                    <a:pt x="29001" y="2689"/>
                    <a:pt x="28984" y="2654"/>
                    <a:pt x="28963" y="2647"/>
                  </a:cubicBezTo>
                  <a:cubicBezTo>
                    <a:pt x="28960" y="2646"/>
                    <a:pt x="28956" y="2645"/>
                    <a:pt x="28951" y="2645"/>
                  </a:cubicBezTo>
                  <a:cubicBezTo>
                    <a:pt x="28935" y="2645"/>
                    <a:pt x="28909" y="2651"/>
                    <a:pt x="28865" y="2671"/>
                  </a:cubicBezTo>
                  <a:cubicBezTo>
                    <a:pt x="28711" y="2759"/>
                    <a:pt x="28564" y="2860"/>
                    <a:pt x="28427" y="2976"/>
                  </a:cubicBezTo>
                  <a:cubicBezTo>
                    <a:pt x="28227" y="3130"/>
                    <a:pt x="28017" y="3291"/>
                    <a:pt x="27797" y="3385"/>
                  </a:cubicBezTo>
                  <a:cubicBezTo>
                    <a:pt x="27611" y="3462"/>
                    <a:pt x="27447" y="3599"/>
                    <a:pt x="27303" y="3718"/>
                  </a:cubicBezTo>
                  <a:cubicBezTo>
                    <a:pt x="27139" y="3851"/>
                    <a:pt x="26995" y="3970"/>
                    <a:pt x="26855" y="3988"/>
                  </a:cubicBezTo>
                  <a:cubicBezTo>
                    <a:pt x="26847" y="3990"/>
                    <a:pt x="26839" y="3991"/>
                    <a:pt x="26831" y="3991"/>
                  </a:cubicBezTo>
                  <a:cubicBezTo>
                    <a:pt x="26797" y="3991"/>
                    <a:pt x="26764" y="3973"/>
                    <a:pt x="26747" y="3939"/>
                  </a:cubicBezTo>
                  <a:cubicBezTo>
                    <a:pt x="26712" y="3872"/>
                    <a:pt x="26670" y="3785"/>
                    <a:pt x="27709" y="2745"/>
                  </a:cubicBezTo>
                  <a:cubicBezTo>
                    <a:pt x="27874" y="2580"/>
                    <a:pt x="27930" y="2395"/>
                    <a:pt x="27860" y="2251"/>
                  </a:cubicBezTo>
                  <a:cubicBezTo>
                    <a:pt x="27804" y="2131"/>
                    <a:pt x="27669" y="2062"/>
                    <a:pt x="27494" y="2062"/>
                  </a:cubicBezTo>
                  <a:cubicBezTo>
                    <a:pt x="27471" y="2062"/>
                    <a:pt x="27447" y="2063"/>
                    <a:pt x="27422" y="2066"/>
                  </a:cubicBezTo>
                  <a:cubicBezTo>
                    <a:pt x="27149" y="2090"/>
                    <a:pt x="27076" y="2192"/>
                    <a:pt x="27002" y="2297"/>
                  </a:cubicBezTo>
                  <a:cubicBezTo>
                    <a:pt x="26943" y="2377"/>
                    <a:pt x="26880" y="2468"/>
                    <a:pt x="26733" y="2500"/>
                  </a:cubicBezTo>
                  <a:cubicBezTo>
                    <a:pt x="26645" y="2521"/>
                    <a:pt x="26421" y="2612"/>
                    <a:pt x="26190" y="2710"/>
                  </a:cubicBezTo>
                  <a:cubicBezTo>
                    <a:pt x="25648" y="2935"/>
                    <a:pt x="25259" y="3090"/>
                    <a:pt x="25061" y="3090"/>
                  </a:cubicBezTo>
                  <a:cubicBezTo>
                    <a:pt x="25025" y="3090"/>
                    <a:pt x="24995" y="3085"/>
                    <a:pt x="24972" y="3074"/>
                  </a:cubicBezTo>
                  <a:cubicBezTo>
                    <a:pt x="24944" y="3060"/>
                    <a:pt x="24919" y="3035"/>
                    <a:pt x="24909" y="3004"/>
                  </a:cubicBezTo>
                  <a:cubicBezTo>
                    <a:pt x="24860" y="2839"/>
                    <a:pt x="25136" y="2706"/>
                    <a:pt x="25591" y="2500"/>
                  </a:cubicBezTo>
                  <a:cubicBezTo>
                    <a:pt x="25745" y="2433"/>
                    <a:pt x="25945" y="2342"/>
                    <a:pt x="26018" y="2286"/>
                  </a:cubicBezTo>
                  <a:cubicBezTo>
                    <a:pt x="25887" y="2240"/>
                    <a:pt x="25456" y="2211"/>
                    <a:pt x="24986" y="2211"/>
                  </a:cubicBezTo>
                  <a:cubicBezTo>
                    <a:pt x="24605" y="2211"/>
                    <a:pt x="24198" y="2230"/>
                    <a:pt x="23900" y="2272"/>
                  </a:cubicBezTo>
                  <a:cubicBezTo>
                    <a:pt x="23659" y="2307"/>
                    <a:pt x="23354" y="2381"/>
                    <a:pt x="23057" y="2447"/>
                  </a:cubicBezTo>
                  <a:cubicBezTo>
                    <a:pt x="22618" y="2550"/>
                    <a:pt x="22313" y="2619"/>
                    <a:pt x="22133" y="2619"/>
                  </a:cubicBezTo>
                  <a:cubicBezTo>
                    <a:pt x="22062" y="2619"/>
                    <a:pt x="22010" y="2608"/>
                    <a:pt x="21978" y="2584"/>
                  </a:cubicBezTo>
                  <a:cubicBezTo>
                    <a:pt x="21950" y="2566"/>
                    <a:pt x="21936" y="2538"/>
                    <a:pt x="21933" y="2507"/>
                  </a:cubicBezTo>
                  <a:cubicBezTo>
                    <a:pt x="21929" y="2440"/>
                    <a:pt x="21919" y="2318"/>
                    <a:pt x="22763" y="2118"/>
                  </a:cubicBezTo>
                  <a:cubicBezTo>
                    <a:pt x="23200" y="2017"/>
                    <a:pt x="23645" y="1940"/>
                    <a:pt x="24093" y="1887"/>
                  </a:cubicBezTo>
                  <a:cubicBezTo>
                    <a:pt x="24370" y="1856"/>
                    <a:pt x="24720" y="1852"/>
                    <a:pt x="25087" y="1852"/>
                  </a:cubicBezTo>
                  <a:cubicBezTo>
                    <a:pt x="25693" y="1852"/>
                    <a:pt x="26312" y="1849"/>
                    <a:pt x="26649" y="1712"/>
                  </a:cubicBezTo>
                  <a:cubicBezTo>
                    <a:pt x="26915" y="1603"/>
                    <a:pt x="27240" y="1540"/>
                    <a:pt x="27531" y="1488"/>
                  </a:cubicBezTo>
                  <a:cubicBezTo>
                    <a:pt x="27800" y="1439"/>
                    <a:pt x="28080" y="1386"/>
                    <a:pt x="28143" y="1313"/>
                  </a:cubicBezTo>
                  <a:cubicBezTo>
                    <a:pt x="28143" y="1313"/>
                    <a:pt x="28143" y="1309"/>
                    <a:pt x="28143" y="1309"/>
                  </a:cubicBezTo>
                  <a:cubicBezTo>
                    <a:pt x="28140" y="1215"/>
                    <a:pt x="27600" y="1014"/>
                    <a:pt x="27222" y="1014"/>
                  </a:cubicBezTo>
                  <a:cubicBezTo>
                    <a:pt x="27207" y="1014"/>
                    <a:pt x="27192" y="1015"/>
                    <a:pt x="27177" y="1015"/>
                  </a:cubicBezTo>
                  <a:cubicBezTo>
                    <a:pt x="27132" y="1017"/>
                    <a:pt x="27086" y="1018"/>
                    <a:pt x="27038" y="1018"/>
                  </a:cubicBezTo>
                  <a:cubicBezTo>
                    <a:pt x="26788" y="1018"/>
                    <a:pt x="26516" y="989"/>
                    <a:pt x="26411" y="868"/>
                  </a:cubicBezTo>
                  <a:cubicBezTo>
                    <a:pt x="26372" y="826"/>
                    <a:pt x="26355" y="770"/>
                    <a:pt x="26365" y="714"/>
                  </a:cubicBezTo>
                  <a:cubicBezTo>
                    <a:pt x="26376" y="658"/>
                    <a:pt x="26165" y="592"/>
                    <a:pt x="26053" y="553"/>
                  </a:cubicBezTo>
                  <a:cubicBezTo>
                    <a:pt x="25892" y="501"/>
                    <a:pt x="25756" y="455"/>
                    <a:pt x="25710" y="368"/>
                  </a:cubicBezTo>
                  <a:cubicBezTo>
                    <a:pt x="25654" y="326"/>
                    <a:pt x="25329" y="319"/>
                    <a:pt x="25087" y="312"/>
                  </a:cubicBezTo>
                  <a:cubicBezTo>
                    <a:pt x="24723" y="301"/>
                    <a:pt x="24345" y="287"/>
                    <a:pt x="24198" y="196"/>
                  </a:cubicBezTo>
                  <a:cubicBezTo>
                    <a:pt x="24006" y="78"/>
                    <a:pt x="23485" y="0"/>
                    <a:pt x="22952"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449" name="Google Shape;5449;p104"/>
            <p:cNvSpPr/>
            <p:nvPr/>
          </p:nvSpPr>
          <p:spPr>
            <a:xfrm>
              <a:off x="1636850" y="1405097"/>
              <a:ext cx="21547" cy="12491"/>
            </a:xfrm>
            <a:custGeom>
              <a:avLst/>
              <a:gdLst/>
              <a:ahLst/>
              <a:cxnLst/>
              <a:rect l="l" t="t" r="r" b="b"/>
              <a:pathLst>
                <a:path w="1587" h="920" extrusionOk="0">
                  <a:moveTo>
                    <a:pt x="456" y="1"/>
                  </a:moveTo>
                  <a:cubicBezTo>
                    <a:pt x="435" y="1"/>
                    <a:pt x="414" y="1"/>
                    <a:pt x="393" y="4"/>
                  </a:cubicBezTo>
                  <a:cubicBezTo>
                    <a:pt x="291" y="11"/>
                    <a:pt x="218" y="43"/>
                    <a:pt x="207" y="81"/>
                  </a:cubicBezTo>
                  <a:cubicBezTo>
                    <a:pt x="190" y="120"/>
                    <a:pt x="165" y="158"/>
                    <a:pt x="137" y="190"/>
                  </a:cubicBezTo>
                  <a:cubicBezTo>
                    <a:pt x="50" y="295"/>
                    <a:pt x="1" y="368"/>
                    <a:pt x="113" y="484"/>
                  </a:cubicBezTo>
                  <a:cubicBezTo>
                    <a:pt x="183" y="565"/>
                    <a:pt x="274" y="621"/>
                    <a:pt x="375" y="649"/>
                  </a:cubicBezTo>
                  <a:cubicBezTo>
                    <a:pt x="501" y="684"/>
                    <a:pt x="613" y="750"/>
                    <a:pt x="708" y="838"/>
                  </a:cubicBezTo>
                  <a:cubicBezTo>
                    <a:pt x="768" y="895"/>
                    <a:pt x="875" y="919"/>
                    <a:pt x="992" y="919"/>
                  </a:cubicBezTo>
                  <a:cubicBezTo>
                    <a:pt x="1112" y="919"/>
                    <a:pt x="1244" y="894"/>
                    <a:pt x="1352" y="852"/>
                  </a:cubicBezTo>
                  <a:cubicBezTo>
                    <a:pt x="1488" y="796"/>
                    <a:pt x="1579" y="719"/>
                    <a:pt x="1583" y="656"/>
                  </a:cubicBezTo>
                  <a:cubicBezTo>
                    <a:pt x="1586" y="579"/>
                    <a:pt x="1569" y="568"/>
                    <a:pt x="1471" y="537"/>
                  </a:cubicBezTo>
                  <a:cubicBezTo>
                    <a:pt x="1376" y="505"/>
                    <a:pt x="1247" y="459"/>
                    <a:pt x="1152" y="284"/>
                  </a:cubicBezTo>
                  <a:cubicBezTo>
                    <a:pt x="1065" y="116"/>
                    <a:pt x="718" y="1"/>
                    <a:pt x="456" y="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450" name="Google Shape;5450;p104"/>
            <p:cNvSpPr/>
            <p:nvPr/>
          </p:nvSpPr>
          <p:spPr>
            <a:xfrm>
              <a:off x="1089269" y="1627361"/>
              <a:ext cx="38085" cy="22688"/>
            </a:xfrm>
            <a:custGeom>
              <a:avLst/>
              <a:gdLst/>
              <a:ahLst/>
              <a:cxnLst/>
              <a:rect l="l" t="t" r="r" b="b"/>
              <a:pathLst>
                <a:path w="2805" h="1671" extrusionOk="0">
                  <a:moveTo>
                    <a:pt x="175" y="1"/>
                  </a:moveTo>
                  <a:cubicBezTo>
                    <a:pt x="111" y="1"/>
                    <a:pt x="57" y="24"/>
                    <a:pt x="1" y="60"/>
                  </a:cubicBezTo>
                  <a:cubicBezTo>
                    <a:pt x="11" y="67"/>
                    <a:pt x="29" y="74"/>
                    <a:pt x="39" y="81"/>
                  </a:cubicBezTo>
                  <a:cubicBezTo>
                    <a:pt x="109" y="120"/>
                    <a:pt x="207" y="169"/>
                    <a:pt x="197" y="267"/>
                  </a:cubicBezTo>
                  <a:cubicBezTo>
                    <a:pt x="193" y="291"/>
                    <a:pt x="204" y="316"/>
                    <a:pt x="221" y="333"/>
                  </a:cubicBezTo>
                  <a:cubicBezTo>
                    <a:pt x="255" y="357"/>
                    <a:pt x="294" y="370"/>
                    <a:pt x="333" y="370"/>
                  </a:cubicBezTo>
                  <a:cubicBezTo>
                    <a:pt x="348" y="370"/>
                    <a:pt x="362" y="369"/>
                    <a:pt x="375" y="365"/>
                  </a:cubicBezTo>
                  <a:cubicBezTo>
                    <a:pt x="385" y="364"/>
                    <a:pt x="393" y="363"/>
                    <a:pt x="402" y="363"/>
                  </a:cubicBezTo>
                  <a:cubicBezTo>
                    <a:pt x="503" y="363"/>
                    <a:pt x="573" y="452"/>
                    <a:pt x="634" y="533"/>
                  </a:cubicBezTo>
                  <a:cubicBezTo>
                    <a:pt x="680" y="589"/>
                    <a:pt x="729" y="652"/>
                    <a:pt x="767" y="655"/>
                  </a:cubicBezTo>
                  <a:cubicBezTo>
                    <a:pt x="862" y="662"/>
                    <a:pt x="922" y="732"/>
                    <a:pt x="974" y="792"/>
                  </a:cubicBezTo>
                  <a:cubicBezTo>
                    <a:pt x="1027" y="855"/>
                    <a:pt x="1069" y="897"/>
                    <a:pt x="1125" y="897"/>
                  </a:cubicBezTo>
                  <a:cubicBezTo>
                    <a:pt x="1286" y="897"/>
                    <a:pt x="1352" y="1027"/>
                    <a:pt x="1408" y="1128"/>
                  </a:cubicBezTo>
                  <a:cubicBezTo>
                    <a:pt x="1426" y="1163"/>
                    <a:pt x="1447" y="1195"/>
                    <a:pt x="1468" y="1226"/>
                  </a:cubicBezTo>
                  <a:cubicBezTo>
                    <a:pt x="1489" y="1254"/>
                    <a:pt x="1531" y="1258"/>
                    <a:pt x="1590" y="1261"/>
                  </a:cubicBezTo>
                  <a:cubicBezTo>
                    <a:pt x="1646" y="1265"/>
                    <a:pt x="1762" y="1272"/>
                    <a:pt x="1762" y="1387"/>
                  </a:cubicBezTo>
                  <a:cubicBezTo>
                    <a:pt x="1762" y="1412"/>
                    <a:pt x="1814" y="1461"/>
                    <a:pt x="1853" y="1492"/>
                  </a:cubicBezTo>
                  <a:cubicBezTo>
                    <a:pt x="1902" y="1534"/>
                    <a:pt x="1947" y="1583"/>
                    <a:pt x="1982" y="1636"/>
                  </a:cubicBezTo>
                  <a:lnTo>
                    <a:pt x="2003" y="1639"/>
                  </a:lnTo>
                  <a:lnTo>
                    <a:pt x="2070" y="1646"/>
                  </a:lnTo>
                  <a:lnTo>
                    <a:pt x="2143" y="1653"/>
                  </a:lnTo>
                  <a:lnTo>
                    <a:pt x="2178" y="1657"/>
                  </a:lnTo>
                  <a:cubicBezTo>
                    <a:pt x="2248" y="1664"/>
                    <a:pt x="2318" y="1671"/>
                    <a:pt x="2388" y="1671"/>
                  </a:cubicBezTo>
                  <a:lnTo>
                    <a:pt x="2581" y="1671"/>
                  </a:lnTo>
                  <a:lnTo>
                    <a:pt x="2619" y="1667"/>
                  </a:lnTo>
                  <a:cubicBezTo>
                    <a:pt x="2640" y="1667"/>
                    <a:pt x="2658" y="1660"/>
                    <a:pt x="2675" y="1660"/>
                  </a:cubicBezTo>
                  <a:lnTo>
                    <a:pt x="2714" y="1653"/>
                  </a:lnTo>
                  <a:lnTo>
                    <a:pt x="2742" y="1646"/>
                  </a:lnTo>
                  <a:cubicBezTo>
                    <a:pt x="2749" y="1573"/>
                    <a:pt x="2770" y="1506"/>
                    <a:pt x="2805" y="1443"/>
                  </a:cubicBezTo>
                  <a:cubicBezTo>
                    <a:pt x="2791" y="1440"/>
                    <a:pt x="2773" y="1436"/>
                    <a:pt x="2759" y="1433"/>
                  </a:cubicBezTo>
                  <a:cubicBezTo>
                    <a:pt x="2654" y="1422"/>
                    <a:pt x="2553" y="1377"/>
                    <a:pt x="2476" y="1303"/>
                  </a:cubicBezTo>
                  <a:cubicBezTo>
                    <a:pt x="2409" y="1233"/>
                    <a:pt x="2283" y="1202"/>
                    <a:pt x="2164" y="1170"/>
                  </a:cubicBezTo>
                  <a:cubicBezTo>
                    <a:pt x="2014" y="1135"/>
                    <a:pt x="1874" y="1100"/>
                    <a:pt x="1828" y="988"/>
                  </a:cubicBezTo>
                  <a:cubicBezTo>
                    <a:pt x="1765" y="817"/>
                    <a:pt x="1408" y="316"/>
                    <a:pt x="1254" y="316"/>
                  </a:cubicBezTo>
                  <a:lnTo>
                    <a:pt x="1251" y="316"/>
                  </a:lnTo>
                  <a:cubicBezTo>
                    <a:pt x="1202" y="319"/>
                    <a:pt x="1146" y="322"/>
                    <a:pt x="1087" y="322"/>
                  </a:cubicBezTo>
                  <a:cubicBezTo>
                    <a:pt x="909" y="322"/>
                    <a:pt x="694" y="294"/>
                    <a:pt x="494" y="144"/>
                  </a:cubicBezTo>
                  <a:cubicBezTo>
                    <a:pt x="357" y="41"/>
                    <a:pt x="258" y="1"/>
                    <a:pt x="175" y="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451" name="Google Shape;5451;p104"/>
            <p:cNvSpPr/>
            <p:nvPr/>
          </p:nvSpPr>
          <p:spPr>
            <a:xfrm>
              <a:off x="1108006" y="1344093"/>
              <a:ext cx="76156" cy="49612"/>
            </a:xfrm>
            <a:custGeom>
              <a:avLst/>
              <a:gdLst/>
              <a:ahLst/>
              <a:cxnLst/>
              <a:rect l="l" t="t" r="r" b="b"/>
              <a:pathLst>
                <a:path w="5609" h="3654" extrusionOk="0">
                  <a:moveTo>
                    <a:pt x="2303" y="0"/>
                  </a:moveTo>
                  <a:cubicBezTo>
                    <a:pt x="2146" y="0"/>
                    <a:pt x="1724" y="92"/>
                    <a:pt x="1432" y="156"/>
                  </a:cubicBezTo>
                  <a:cubicBezTo>
                    <a:pt x="1113" y="226"/>
                    <a:pt x="816" y="293"/>
                    <a:pt x="679" y="293"/>
                  </a:cubicBezTo>
                  <a:cubicBezTo>
                    <a:pt x="674" y="292"/>
                    <a:pt x="669" y="292"/>
                    <a:pt x="663" y="292"/>
                  </a:cubicBezTo>
                  <a:cubicBezTo>
                    <a:pt x="646" y="292"/>
                    <a:pt x="629" y="295"/>
                    <a:pt x="616" y="303"/>
                  </a:cubicBezTo>
                  <a:cubicBezTo>
                    <a:pt x="616" y="349"/>
                    <a:pt x="739" y="513"/>
                    <a:pt x="959" y="685"/>
                  </a:cubicBezTo>
                  <a:cubicBezTo>
                    <a:pt x="998" y="713"/>
                    <a:pt x="1022" y="755"/>
                    <a:pt x="1026" y="800"/>
                  </a:cubicBezTo>
                  <a:cubicBezTo>
                    <a:pt x="1040" y="930"/>
                    <a:pt x="907" y="1091"/>
                    <a:pt x="763" y="1256"/>
                  </a:cubicBezTo>
                  <a:cubicBezTo>
                    <a:pt x="693" y="1336"/>
                    <a:pt x="585" y="1469"/>
                    <a:pt x="578" y="1515"/>
                  </a:cubicBezTo>
                  <a:cubicBezTo>
                    <a:pt x="613" y="1546"/>
                    <a:pt x="634" y="1585"/>
                    <a:pt x="634" y="1630"/>
                  </a:cubicBezTo>
                  <a:cubicBezTo>
                    <a:pt x="648" y="1798"/>
                    <a:pt x="441" y="2036"/>
                    <a:pt x="151" y="2365"/>
                  </a:cubicBezTo>
                  <a:lnTo>
                    <a:pt x="95" y="2428"/>
                  </a:lnTo>
                  <a:cubicBezTo>
                    <a:pt x="32" y="2502"/>
                    <a:pt x="0" y="2565"/>
                    <a:pt x="14" y="2596"/>
                  </a:cubicBezTo>
                  <a:cubicBezTo>
                    <a:pt x="42" y="2670"/>
                    <a:pt x="273" y="2705"/>
                    <a:pt x="459" y="2733"/>
                  </a:cubicBezTo>
                  <a:cubicBezTo>
                    <a:pt x="553" y="2747"/>
                    <a:pt x="651" y="2764"/>
                    <a:pt x="742" y="2782"/>
                  </a:cubicBezTo>
                  <a:cubicBezTo>
                    <a:pt x="1005" y="2841"/>
                    <a:pt x="1134" y="3104"/>
                    <a:pt x="1250" y="3335"/>
                  </a:cubicBezTo>
                  <a:cubicBezTo>
                    <a:pt x="1330" y="3500"/>
                    <a:pt x="1407" y="3654"/>
                    <a:pt x="1505" y="3654"/>
                  </a:cubicBezTo>
                  <a:cubicBezTo>
                    <a:pt x="1544" y="3654"/>
                    <a:pt x="1547" y="3647"/>
                    <a:pt x="1572" y="3598"/>
                  </a:cubicBezTo>
                  <a:cubicBezTo>
                    <a:pt x="1600" y="3524"/>
                    <a:pt x="1649" y="3412"/>
                    <a:pt x="1866" y="3412"/>
                  </a:cubicBezTo>
                  <a:cubicBezTo>
                    <a:pt x="1876" y="3413"/>
                    <a:pt x="1886" y="3413"/>
                    <a:pt x="1895" y="3413"/>
                  </a:cubicBezTo>
                  <a:cubicBezTo>
                    <a:pt x="1972" y="3413"/>
                    <a:pt x="2045" y="3389"/>
                    <a:pt x="2104" y="3342"/>
                  </a:cubicBezTo>
                  <a:cubicBezTo>
                    <a:pt x="2159" y="3305"/>
                    <a:pt x="2220" y="3266"/>
                    <a:pt x="2346" y="3266"/>
                  </a:cubicBezTo>
                  <a:cubicBezTo>
                    <a:pt x="2364" y="3266"/>
                    <a:pt x="2384" y="3267"/>
                    <a:pt x="2405" y="3269"/>
                  </a:cubicBezTo>
                  <a:cubicBezTo>
                    <a:pt x="2426" y="3270"/>
                    <a:pt x="2447" y="3271"/>
                    <a:pt x="2470" y="3271"/>
                  </a:cubicBezTo>
                  <a:cubicBezTo>
                    <a:pt x="2574" y="3271"/>
                    <a:pt x="2696" y="3253"/>
                    <a:pt x="2776" y="3181"/>
                  </a:cubicBezTo>
                  <a:cubicBezTo>
                    <a:pt x="2836" y="3122"/>
                    <a:pt x="2867" y="3034"/>
                    <a:pt x="2867" y="2918"/>
                  </a:cubicBezTo>
                  <a:cubicBezTo>
                    <a:pt x="2867" y="2516"/>
                    <a:pt x="3151" y="2390"/>
                    <a:pt x="3427" y="2320"/>
                  </a:cubicBezTo>
                  <a:cubicBezTo>
                    <a:pt x="3515" y="2299"/>
                    <a:pt x="3529" y="2250"/>
                    <a:pt x="3546" y="2145"/>
                  </a:cubicBezTo>
                  <a:cubicBezTo>
                    <a:pt x="3567" y="2019"/>
                    <a:pt x="3599" y="1851"/>
                    <a:pt x="3865" y="1788"/>
                  </a:cubicBezTo>
                  <a:cubicBezTo>
                    <a:pt x="4271" y="1693"/>
                    <a:pt x="5402" y="1210"/>
                    <a:pt x="5587" y="1070"/>
                  </a:cubicBezTo>
                  <a:cubicBezTo>
                    <a:pt x="5591" y="1067"/>
                    <a:pt x="5608" y="1053"/>
                    <a:pt x="5608" y="1046"/>
                  </a:cubicBezTo>
                  <a:cubicBezTo>
                    <a:pt x="5605" y="976"/>
                    <a:pt x="5356" y="832"/>
                    <a:pt x="5153" y="716"/>
                  </a:cubicBezTo>
                  <a:cubicBezTo>
                    <a:pt x="5076" y="671"/>
                    <a:pt x="4996" y="622"/>
                    <a:pt x="4912" y="573"/>
                  </a:cubicBezTo>
                  <a:cubicBezTo>
                    <a:pt x="4650" y="411"/>
                    <a:pt x="4437" y="332"/>
                    <a:pt x="4246" y="332"/>
                  </a:cubicBezTo>
                  <a:cubicBezTo>
                    <a:pt x="4111" y="332"/>
                    <a:pt x="3987" y="372"/>
                    <a:pt x="3865" y="450"/>
                  </a:cubicBezTo>
                  <a:cubicBezTo>
                    <a:pt x="3792" y="498"/>
                    <a:pt x="3738" y="520"/>
                    <a:pt x="3692" y="520"/>
                  </a:cubicBezTo>
                  <a:cubicBezTo>
                    <a:pt x="3674" y="520"/>
                    <a:pt x="3657" y="517"/>
                    <a:pt x="3641" y="510"/>
                  </a:cubicBezTo>
                  <a:cubicBezTo>
                    <a:pt x="3581" y="482"/>
                    <a:pt x="3574" y="415"/>
                    <a:pt x="3567" y="366"/>
                  </a:cubicBezTo>
                  <a:cubicBezTo>
                    <a:pt x="3567" y="349"/>
                    <a:pt x="3564" y="335"/>
                    <a:pt x="3560" y="321"/>
                  </a:cubicBezTo>
                  <a:cubicBezTo>
                    <a:pt x="3546" y="324"/>
                    <a:pt x="3532" y="328"/>
                    <a:pt x="3518" y="335"/>
                  </a:cubicBezTo>
                  <a:cubicBezTo>
                    <a:pt x="3469" y="357"/>
                    <a:pt x="3407" y="367"/>
                    <a:pt x="3337" y="367"/>
                  </a:cubicBezTo>
                  <a:cubicBezTo>
                    <a:pt x="2994" y="367"/>
                    <a:pt x="2463" y="131"/>
                    <a:pt x="2353" y="6"/>
                  </a:cubicBezTo>
                  <a:cubicBezTo>
                    <a:pt x="2342" y="2"/>
                    <a:pt x="2325" y="0"/>
                    <a:pt x="2303"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452" name="Google Shape;5452;p104"/>
            <p:cNvSpPr/>
            <p:nvPr/>
          </p:nvSpPr>
          <p:spPr>
            <a:xfrm>
              <a:off x="1158773" y="1355960"/>
              <a:ext cx="133616" cy="70277"/>
            </a:xfrm>
            <a:custGeom>
              <a:avLst/>
              <a:gdLst/>
              <a:ahLst/>
              <a:cxnLst/>
              <a:rect l="l" t="t" r="r" b="b"/>
              <a:pathLst>
                <a:path w="9841" h="5176" extrusionOk="0">
                  <a:moveTo>
                    <a:pt x="7395" y="0"/>
                  </a:moveTo>
                  <a:cubicBezTo>
                    <a:pt x="7091" y="0"/>
                    <a:pt x="6765" y="137"/>
                    <a:pt x="6690" y="207"/>
                  </a:cubicBezTo>
                  <a:cubicBezTo>
                    <a:pt x="6729" y="242"/>
                    <a:pt x="6813" y="298"/>
                    <a:pt x="6890" y="354"/>
                  </a:cubicBezTo>
                  <a:cubicBezTo>
                    <a:pt x="7177" y="550"/>
                    <a:pt x="7362" y="690"/>
                    <a:pt x="7362" y="809"/>
                  </a:cubicBezTo>
                  <a:cubicBezTo>
                    <a:pt x="7366" y="840"/>
                    <a:pt x="7348" y="872"/>
                    <a:pt x="7320" y="889"/>
                  </a:cubicBezTo>
                  <a:cubicBezTo>
                    <a:pt x="7308" y="896"/>
                    <a:pt x="7294" y="899"/>
                    <a:pt x="7279" y="899"/>
                  </a:cubicBezTo>
                  <a:cubicBezTo>
                    <a:pt x="7222" y="899"/>
                    <a:pt x="7146" y="851"/>
                    <a:pt x="7023" y="770"/>
                  </a:cubicBezTo>
                  <a:cubicBezTo>
                    <a:pt x="6910" y="694"/>
                    <a:pt x="6715" y="565"/>
                    <a:pt x="6618" y="565"/>
                  </a:cubicBezTo>
                  <a:cubicBezTo>
                    <a:pt x="6603" y="565"/>
                    <a:pt x="6591" y="568"/>
                    <a:pt x="6582" y="574"/>
                  </a:cubicBezTo>
                  <a:cubicBezTo>
                    <a:pt x="6540" y="599"/>
                    <a:pt x="6498" y="608"/>
                    <a:pt x="6457" y="608"/>
                  </a:cubicBezTo>
                  <a:cubicBezTo>
                    <a:pt x="6382" y="608"/>
                    <a:pt x="6310" y="576"/>
                    <a:pt x="6249" y="546"/>
                  </a:cubicBezTo>
                  <a:cubicBezTo>
                    <a:pt x="6184" y="516"/>
                    <a:pt x="6140" y="497"/>
                    <a:pt x="6105" y="497"/>
                  </a:cubicBezTo>
                  <a:cubicBezTo>
                    <a:pt x="6071" y="497"/>
                    <a:pt x="6045" y="514"/>
                    <a:pt x="6018" y="553"/>
                  </a:cubicBezTo>
                  <a:cubicBezTo>
                    <a:pt x="5881" y="749"/>
                    <a:pt x="6218" y="1537"/>
                    <a:pt x="6382" y="1817"/>
                  </a:cubicBezTo>
                  <a:cubicBezTo>
                    <a:pt x="6435" y="1901"/>
                    <a:pt x="6445" y="1971"/>
                    <a:pt x="6417" y="2030"/>
                  </a:cubicBezTo>
                  <a:cubicBezTo>
                    <a:pt x="6375" y="2132"/>
                    <a:pt x="6235" y="2160"/>
                    <a:pt x="6105" y="2185"/>
                  </a:cubicBezTo>
                  <a:cubicBezTo>
                    <a:pt x="6070" y="2192"/>
                    <a:pt x="6035" y="2199"/>
                    <a:pt x="6004" y="2206"/>
                  </a:cubicBezTo>
                  <a:cubicBezTo>
                    <a:pt x="5990" y="2209"/>
                    <a:pt x="5977" y="2211"/>
                    <a:pt x="5964" y="2211"/>
                  </a:cubicBezTo>
                  <a:cubicBezTo>
                    <a:pt x="5822" y="2211"/>
                    <a:pt x="5763" y="1983"/>
                    <a:pt x="5696" y="1726"/>
                  </a:cubicBezTo>
                  <a:cubicBezTo>
                    <a:pt x="5654" y="1544"/>
                    <a:pt x="5598" y="1341"/>
                    <a:pt x="5521" y="1232"/>
                  </a:cubicBezTo>
                  <a:cubicBezTo>
                    <a:pt x="5384" y="1047"/>
                    <a:pt x="4919" y="826"/>
                    <a:pt x="4695" y="812"/>
                  </a:cubicBezTo>
                  <a:cubicBezTo>
                    <a:pt x="4688" y="812"/>
                    <a:pt x="4682" y="811"/>
                    <a:pt x="4676" y="811"/>
                  </a:cubicBezTo>
                  <a:cubicBezTo>
                    <a:pt x="4640" y="811"/>
                    <a:pt x="4624" y="820"/>
                    <a:pt x="4621" y="823"/>
                  </a:cubicBezTo>
                  <a:cubicBezTo>
                    <a:pt x="4611" y="858"/>
                    <a:pt x="4677" y="893"/>
                    <a:pt x="4772" y="938"/>
                  </a:cubicBezTo>
                  <a:cubicBezTo>
                    <a:pt x="4901" y="1001"/>
                    <a:pt x="5087" y="1089"/>
                    <a:pt x="5034" y="1288"/>
                  </a:cubicBezTo>
                  <a:cubicBezTo>
                    <a:pt x="5024" y="1341"/>
                    <a:pt x="4992" y="1383"/>
                    <a:pt x="4947" y="1411"/>
                  </a:cubicBezTo>
                  <a:cubicBezTo>
                    <a:pt x="4926" y="1421"/>
                    <a:pt x="4905" y="1425"/>
                    <a:pt x="4883" y="1425"/>
                  </a:cubicBezTo>
                  <a:cubicBezTo>
                    <a:pt x="4829" y="1425"/>
                    <a:pt x="4772" y="1401"/>
                    <a:pt x="4712" y="1376"/>
                  </a:cubicBezTo>
                  <a:cubicBezTo>
                    <a:pt x="4639" y="1344"/>
                    <a:pt x="4574" y="1320"/>
                    <a:pt x="4514" y="1320"/>
                  </a:cubicBezTo>
                  <a:cubicBezTo>
                    <a:pt x="4469" y="1320"/>
                    <a:pt x="4425" y="1334"/>
                    <a:pt x="4383" y="1369"/>
                  </a:cubicBezTo>
                  <a:cubicBezTo>
                    <a:pt x="4290" y="1446"/>
                    <a:pt x="4222" y="1492"/>
                    <a:pt x="4165" y="1492"/>
                  </a:cubicBezTo>
                  <a:cubicBezTo>
                    <a:pt x="4147" y="1492"/>
                    <a:pt x="4130" y="1488"/>
                    <a:pt x="4114" y="1477"/>
                  </a:cubicBezTo>
                  <a:cubicBezTo>
                    <a:pt x="4050" y="1439"/>
                    <a:pt x="4065" y="1341"/>
                    <a:pt x="4096" y="1201"/>
                  </a:cubicBezTo>
                  <a:lnTo>
                    <a:pt x="4107" y="1159"/>
                  </a:lnTo>
                  <a:cubicBezTo>
                    <a:pt x="4114" y="1113"/>
                    <a:pt x="4096" y="1068"/>
                    <a:pt x="4065" y="1036"/>
                  </a:cubicBezTo>
                  <a:cubicBezTo>
                    <a:pt x="3962" y="921"/>
                    <a:pt x="3714" y="817"/>
                    <a:pt x="3419" y="817"/>
                  </a:cubicBezTo>
                  <a:cubicBezTo>
                    <a:pt x="3382" y="817"/>
                    <a:pt x="3344" y="819"/>
                    <a:pt x="3305" y="823"/>
                  </a:cubicBezTo>
                  <a:cubicBezTo>
                    <a:pt x="3053" y="851"/>
                    <a:pt x="3053" y="945"/>
                    <a:pt x="3053" y="1078"/>
                  </a:cubicBezTo>
                  <a:cubicBezTo>
                    <a:pt x="3053" y="1162"/>
                    <a:pt x="3053" y="1253"/>
                    <a:pt x="2979" y="1320"/>
                  </a:cubicBezTo>
                  <a:cubicBezTo>
                    <a:pt x="2933" y="1358"/>
                    <a:pt x="2856" y="1373"/>
                    <a:pt x="2771" y="1373"/>
                  </a:cubicBezTo>
                  <a:cubicBezTo>
                    <a:pt x="2629" y="1373"/>
                    <a:pt x="2466" y="1332"/>
                    <a:pt x="2388" y="1288"/>
                  </a:cubicBezTo>
                  <a:cubicBezTo>
                    <a:pt x="2314" y="1246"/>
                    <a:pt x="2300" y="1197"/>
                    <a:pt x="2307" y="1162"/>
                  </a:cubicBezTo>
                  <a:cubicBezTo>
                    <a:pt x="2321" y="1085"/>
                    <a:pt x="2423" y="1054"/>
                    <a:pt x="2510" y="1033"/>
                  </a:cubicBezTo>
                  <a:cubicBezTo>
                    <a:pt x="2598" y="1012"/>
                    <a:pt x="2710" y="977"/>
                    <a:pt x="2738" y="910"/>
                  </a:cubicBezTo>
                  <a:cubicBezTo>
                    <a:pt x="2773" y="823"/>
                    <a:pt x="2678" y="679"/>
                    <a:pt x="2587" y="536"/>
                  </a:cubicBezTo>
                  <a:lnTo>
                    <a:pt x="2566" y="501"/>
                  </a:lnTo>
                  <a:cubicBezTo>
                    <a:pt x="2535" y="451"/>
                    <a:pt x="2487" y="430"/>
                    <a:pt x="2420" y="430"/>
                  </a:cubicBezTo>
                  <a:cubicBezTo>
                    <a:pt x="2292" y="430"/>
                    <a:pt x="2094" y="509"/>
                    <a:pt x="1806" y="627"/>
                  </a:cubicBezTo>
                  <a:cubicBezTo>
                    <a:pt x="1645" y="693"/>
                    <a:pt x="1463" y="770"/>
                    <a:pt x="1260" y="844"/>
                  </a:cubicBezTo>
                  <a:cubicBezTo>
                    <a:pt x="718" y="1036"/>
                    <a:pt x="406" y="1236"/>
                    <a:pt x="319" y="1323"/>
                  </a:cubicBezTo>
                  <a:cubicBezTo>
                    <a:pt x="347" y="1344"/>
                    <a:pt x="364" y="1372"/>
                    <a:pt x="371" y="1404"/>
                  </a:cubicBezTo>
                  <a:cubicBezTo>
                    <a:pt x="396" y="1509"/>
                    <a:pt x="312" y="1638"/>
                    <a:pt x="116" y="1799"/>
                  </a:cubicBezTo>
                  <a:cubicBezTo>
                    <a:pt x="60" y="1845"/>
                    <a:pt x="0" y="1915"/>
                    <a:pt x="25" y="1988"/>
                  </a:cubicBezTo>
                  <a:cubicBezTo>
                    <a:pt x="56" y="2076"/>
                    <a:pt x="200" y="2143"/>
                    <a:pt x="340" y="2143"/>
                  </a:cubicBezTo>
                  <a:cubicBezTo>
                    <a:pt x="420" y="2143"/>
                    <a:pt x="473" y="2160"/>
                    <a:pt x="508" y="2199"/>
                  </a:cubicBezTo>
                  <a:cubicBezTo>
                    <a:pt x="539" y="2237"/>
                    <a:pt x="553" y="2290"/>
                    <a:pt x="546" y="2342"/>
                  </a:cubicBezTo>
                  <a:cubicBezTo>
                    <a:pt x="543" y="2402"/>
                    <a:pt x="546" y="2405"/>
                    <a:pt x="578" y="2416"/>
                  </a:cubicBezTo>
                  <a:cubicBezTo>
                    <a:pt x="582" y="2417"/>
                    <a:pt x="587" y="2417"/>
                    <a:pt x="594" y="2417"/>
                  </a:cubicBezTo>
                  <a:cubicBezTo>
                    <a:pt x="661" y="2417"/>
                    <a:pt x="837" y="2370"/>
                    <a:pt x="980" y="2332"/>
                  </a:cubicBezTo>
                  <a:cubicBezTo>
                    <a:pt x="1212" y="2268"/>
                    <a:pt x="1463" y="2199"/>
                    <a:pt x="1656" y="2199"/>
                  </a:cubicBezTo>
                  <a:cubicBezTo>
                    <a:pt x="1748" y="2199"/>
                    <a:pt x="1827" y="2215"/>
                    <a:pt x="1883" y="2255"/>
                  </a:cubicBezTo>
                  <a:cubicBezTo>
                    <a:pt x="1922" y="2276"/>
                    <a:pt x="1939" y="2318"/>
                    <a:pt x="1932" y="2360"/>
                  </a:cubicBezTo>
                  <a:cubicBezTo>
                    <a:pt x="1915" y="2454"/>
                    <a:pt x="1764" y="2493"/>
                    <a:pt x="1313" y="2587"/>
                  </a:cubicBezTo>
                  <a:cubicBezTo>
                    <a:pt x="1064" y="2640"/>
                    <a:pt x="480" y="2762"/>
                    <a:pt x="480" y="2864"/>
                  </a:cubicBezTo>
                  <a:cubicBezTo>
                    <a:pt x="487" y="2902"/>
                    <a:pt x="504" y="2937"/>
                    <a:pt x="536" y="2958"/>
                  </a:cubicBezTo>
                  <a:cubicBezTo>
                    <a:pt x="701" y="3093"/>
                    <a:pt x="1122" y="3178"/>
                    <a:pt x="1542" y="3178"/>
                  </a:cubicBezTo>
                  <a:cubicBezTo>
                    <a:pt x="1700" y="3178"/>
                    <a:pt x="1858" y="3166"/>
                    <a:pt x="2003" y="3140"/>
                  </a:cubicBezTo>
                  <a:cubicBezTo>
                    <a:pt x="2140" y="3116"/>
                    <a:pt x="2302" y="3105"/>
                    <a:pt x="2472" y="3105"/>
                  </a:cubicBezTo>
                  <a:cubicBezTo>
                    <a:pt x="3051" y="3105"/>
                    <a:pt x="3728" y="3231"/>
                    <a:pt x="3893" y="3371"/>
                  </a:cubicBezTo>
                  <a:cubicBezTo>
                    <a:pt x="3928" y="3396"/>
                    <a:pt x="3945" y="3431"/>
                    <a:pt x="3949" y="3469"/>
                  </a:cubicBezTo>
                  <a:cubicBezTo>
                    <a:pt x="3949" y="3504"/>
                    <a:pt x="3935" y="3536"/>
                    <a:pt x="3910" y="3557"/>
                  </a:cubicBezTo>
                  <a:cubicBezTo>
                    <a:pt x="3832" y="3633"/>
                    <a:pt x="3620" y="3658"/>
                    <a:pt x="3304" y="3658"/>
                  </a:cubicBezTo>
                  <a:cubicBezTo>
                    <a:pt x="3114" y="3658"/>
                    <a:pt x="2886" y="3649"/>
                    <a:pt x="2626" y="3637"/>
                  </a:cubicBezTo>
                  <a:lnTo>
                    <a:pt x="2472" y="3634"/>
                  </a:lnTo>
                  <a:cubicBezTo>
                    <a:pt x="2431" y="3632"/>
                    <a:pt x="2390" y="3631"/>
                    <a:pt x="2347" y="3631"/>
                  </a:cubicBezTo>
                  <a:cubicBezTo>
                    <a:pt x="1735" y="3631"/>
                    <a:pt x="984" y="3813"/>
                    <a:pt x="942" y="3917"/>
                  </a:cubicBezTo>
                  <a:cubicBezTo>
                    <a:pt x="980" y="4068"/>
                    <a:pt x="1001" y="4082"/>
                    <a:pt x="1435" y="4278"/>
                  </a:cubicBezTo>
                  <a:lnTo>
                    <a:pt x="1656" y="4380"/>
                  </a:lnTo>
                  <a:cubicBezTo>
                    <a:pt x="1833" y="4462"/>
                    <a:pt x="2011" y="4484"/>
                    <a:pt x="2177" y="4484"/>
                  </a:cubicBezTo>
                  <a:cubicBezTo>
                    <a:pt x="2280" y="4484"/>
                    <a:pt x="2378" y="4475"/>
                    <a:pt x="2468" y="4467"/>
                  </a:cubicBezTo>
                  <a:cubicBezTo>
                    <a:pt x="2545" y="4460"/>
                    <a:pt x="2612" y="4453"/>
                    <a:pt x="2675" y="4453"/>
                  </a:cubicBezTo>
                  <a:cubicBezTo>
                    <a:pt x="2769" y="4453"/>
                    <a:pt x="2843" y="4467"/>
                    <a:pt x="2895" y="4520"/>
                  </a:cubicBezTo>
                  <a:cubicBezTo>
                    <a:pt x="2944" y="4569"/>
                    <a:pt x="2965" y="4642"/>
                    <a:pt x="2955" y="4712"/>
                  </a:cubicBezTo>
                  <a:cubicBezTo>
                    <a:pt x="2944" y="4800"/>
                    <a:pt x="2972" y="4891"/>
                    <a:pt x="3028" y="4961"/>
                  </a:cubicBezTo>
                  <a:cubicBezTo>
                    <a:pt x="3172" y="5118"/>
                    <a:pt x="3553" y="5160"/>
                    <a:pt x="4082" y="5174"/>
                  </a:cubicBezTo>
                  <a:cubicBezTo>
                    <a:pt x="4106" y="5175"/>
                    <a:pt x="4130" y="5175"/>
                    <a:pt x="4153" y="5175"/>
                  </a:cubicBezTo>
                  <a:cubicBezTo>
                    <a:pt x="4595" y="5175"/>
                    <a:pt x="4908" y="5053"/>
                    <a:pt x="5164" y="4950"/>
                  </a:cubicBezTo>
                  <a:cubicBezTo>
                    <a:pt x="5353" y="4875"/>
                    <a:pt x="5521" y="4809"/>
                    <a:pt x="5694" y="4809"/>
                  </a:cubicBezTo>
                  <a:cubicBezTo>
                    <a:pt x="5706" y="4809"/>
                    <a:pt x="5718" y="4809"/>
                    <a:pt x="5731" y="4810"/>
                  </a:cubicBezTo>
                  <a:cubicBezTo>
                    <a:pt x="5780" y="4813"/>
                    <a:pt x="5826" y="4815"/>
                    <a:pt x="5868" y="4815"/>
                  </a:cubicBezTo>
                  <a:cubicBezTo>
                    <a:pt x="6174" y="4815"/>
                    <a:pt x="6320" y="4733"/>
                    <a:pt x="6477" y="4502"/>
                  </a:cubicBezTo>
                  <a:cubicBezTo>
                    <a:pt x="6581" y="4347"/>
                    <a:pt x="6680" y="4312"/>
                    <a:pt x="6752" y="4312"/>
                  </a:cubicBezTo>
                  <a:cubicBezTo>
                    <a:pt x="6760" y="4312"/>
                    <a:pt x="6767" y="4312"/>
                    <a:pt x="6774" y="4313"/>
                  </a:cubicBezTo>
                  <a:cubicBezTo>
                    <a:pt x="6893" y="4331"/>
                    <a:pt x="6974" y="4446"/>
                    <a:pt x="7005" y="4541"/>
                  </a:cubicBezTo>
                  <a:cubicBezTo>
                    <a:pt x="7019" y="4583"/>
                    <a:pt x="7219" y="4618"/>
                    <a:pt x="7317" y="4635"/>
                  </a:cubicBezTo>
                  <a:cubicBezTo>
                    <a:pt x="7474" y="4663"/>
                    <a:pt x="7621" y="4688"/>
                    <a:pt x="7695" y="4758"/>
                  </a:cubicBezTo>
                  <a:cubicBezTo>
                    <a:pt x="7823" y="4888"/>
                    <a:pt x="8108" y="4941"/>
                    <a:pt x="8415" y="4941"/>
                  </a:cubicBezTo>
                  <a:cubicBezTo>
                    <a:pt x="8760" y="4941"/>
                    <a:pt x="9133" y="4874"/>
                    <a:pt x="9340" y="4772"/>
                  </a:cubicBezTo>
                  <a:cubicBezTo>
                    <a:pt x="9410" y="4733"/>
                    <a:pt x="9442" y="4688"/>
                    <a:pt x="9438" y="4628"/>
                  </a:cubicBezTo>
                  <a:cubicBezTo>
                    <a:pt x="9428" y="4523"/>
                    <a:pt x="9312" y="4394"/>
                    <a:pt x="9193" y="4355"/>
                  </a:cubicBezTo>
                  <a:cubicBezTo>
                    <a:pt x="9178" y="4348"/>
                    <a:pt x="9161" y="4345"/>
                    <a:pt x="9146" y="4345"/>
                  </a:cubicBezTo>
                  <a:cubicBezTo>
                    <a:pt x="9112" y="4345"/>
                    <a:pt x="9080" y="4359"/>
                    <a:pt x="9057" y="4383"/>
                  </a:cubicBezTo>
                  <a:cubicBezTo>
                    <a:pt x="8958" y="4508"/>
                    <a:pt x="8862" y="4540"/>
                    <a:pt x="8793" y="4540"/>
                  </a:cubicBezTo>
                  <a:cubicBezTo>
                    <a:pt x="8781" y="4540"/>
                    <a:pt x="8769" y="4539"/>
                    <a:pt x="8759" y="4537"/>
                  </a:cubicBezTo>
                  <a:cubicBezTo>
                    <a:pt x="8654" y="4516"/>
                    <a:pt x="8570" y="4443"/>
                    <a:pt x="8532" y="4345"/>
                  </a:cubicBezTo>
                  <a:cubicBezTo>
                    <a:pt x="8476" y="4226"/>
                    <a:pt x="8623" y="4159"/>
                    <a:pt x="8780" y="4089"/>
                  </a:cubicBezTo>
                  <a:cubicBezTo>
                    <a:pt x="8889" y="4043"/>
                    <a:pt x="9011" y="3987"/>
                    <a:pt x="9067" y="3921"/>
                  </a:cubicBezTo>
                  <a:cubicBezTo>
                    <a:pt x="9104" y="3878"/>
                    <a:pt x="9154" y="3862"/>
                    <a:pt x="9211" y="3862"/>
                  </a:cubicBezTo>
                  <a:cubicBezTo>
                    <a:pt x="9299" y="3862"/>
                    <a:pt x="9403" y="3900"/>
                    <a:pt x="9505" y="3938"/>
                  </a:cubicBezTo>
                  <a:cubicBezTo>
                    <a:pt x="9590" y="3969"/>
                    <a:pt x="9697" y="4008"/>
                    <a:pt x="9761" y="4008"/>
                  </a:cubicBezTo>
                  <a:cubicBezTo>
                    <a:pt x="9778" y="4008"/>
                    <a:pt x="9793" y="4005"/>
                    <a:pt x="9802" y="3998"/>
                  </a:cubicBezTo>
                  <a:cubicBezTo>
                    <a:pt x="9820" y="3987"/>
                    <a:pt x="9827" y="3956"/>
                    <a:pt x="9827" y="3935"/>
                  </a:cubicBezTo>
                  <a:cubicBezTo>
                    <a:pt x="9841" y="3721"/>
                    <a:pt x="9512" y="3571"/>
                    <a:pt x="9221" y="3438"/>
                  </a:cubicBezTo>
                  <a:cubicBezTo>
                    <a:pt x="9106" y="3389"/>
                    <a:pt x="8994" y="3329"/>
                    <a:pt x="8885" y="3266"/>
                  </a:cubicBezTo>
                  <a:cubicBezTo>
                    <a:pt x="8794" y="3203"/>
                    <a:pt x="8693" y="3158"/>
                    <a:pt x="8588" y="3130"/>
                  </a:cubicBezTo>
                  <a:cubicBezTo>
                    <a:pt x="8378" y="3063"/>
                    <a:pt x="8181" y="2962"/>
                    <a:pt x="8010" y="2825"/>
                  </a:cubicBezTo>
                  <a:cubicBezTo>
                    <a:pt x="7723" y="2615"/>
                    <a:pt x="7793" y="2437"/>
                    <a:pt x="7845" y="2307"/>
                  </a:cubicBezTo>
                  <a:cubicBezTo>
                    <a:pt x="7887" y="2202"/>
                    <a:pt x="7908" y="2143"/>
                    <a:pt x="7789" y="2048"/>
                  </a:cubicBezTo>
                  <a:cubicBezTo>
                    <a:pt x="7558" y="1866"/>
                    <a:pt x="7439" y="1509"/>
                    <a:pt x="7422" y="1236"/>
                  </a:cubicBezTo>
                  <a:cubicBezTo>
                    <a:pt x="7408" y="1005"/>
                    <a:pt x="7460" y="819"/>
                    <a:pt x="7565" y="714"/>
                  </a:cubicBezTo>
                  <a:cubicBezTo>
                    <a:pt x="7831" y="448"/>
                    <a:pt x="7866" y="294"/>
                    <a:pt x="7849" y="214"/>
                  </a:cubicBezTo>
                  <a:cubicBezTo>
                    <a:pt x="7835" y="144"/>
                    <a:pt x="7772" y="88"/>
                    <a:pt x="7663" y="46"/>
                  </a:cubicBezTo>
                  <a:cubicBezTo>
                    <a:pt x="7581" y="13"/>
                    <a:pt x="7489" y="0"/>
                    <a:pt x="7395"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453" name="Google Shape;5453;p104"/>
            <p:cNvSpPr/>
            <p:nvPr/>
          </p:nvSpPr>
          <p:spPr>
            <a:xfrm>
              <a:off x="1158243" y="1321487"/>
              <a:ext cx="9857" cy="6436"/>
            </a:xfrm>
            <a:custGeom>
              <a:avLst/>
              <a:gdLst/>
              <a:ahLst/>
              <a:cxnLst/>
              <a:rect l="l" t="t" r="r" b="b"/>
              <a:pathLst>
                <a:path w="726" h="474" extrusionOk="0">
                  <a:moveTo>
                    <a:pt x="725" y="1"/>
                  </a:moveTo>
                  <a:lnTo>
                    <a:pt x="725" y="1"/>
                  </a:lnTo>
                  <a:cubicBezTo>
                    <a:pt x="596" y="15"/>
                    <a:pt x="123" y="326"/>
                    <a:pt x="1" y="474"/>
                  </a:cubicBezTo>
                  <a:cubicBezTo>
                    <a:pt x="7" y="474"/>
                    <a:pt x="13" y="474"/>
                    <a:pt x="19" y="474"/>
                  </a:cubicBezTo>
                  <a:cubicBezTo>
                    <a:pt x="257" y="474"/>
                    <a:pt x="473" y="341"/>
                    <a:pt x="596" y="221"/>
                  </a:cubicBezTo>
                  <a:cubicBezTo>
                    <a:pt x="673" y="141"/>
                    <a:pt x="722" y="60"/>
                    <a:pt x="725" y="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454" name="Google Shape;5454;p104"/>
            <p:cNvSpPr/>
            <p:nvPr/>
          </p:nvSpPr>
          <p:spPr>
            <a:xfrm>
              <a:off x="1130627" y="1298310"/>
              <a:ext cx="52871" cy="25947"/>
            </a:xfrm>
            <a:custGeom>
              <a:avLst/>
              <a:gdLst/>
              <a:ahLst/>
              <a:cxnLst/>
              <a:rect l="l" t="t" r="r" b="b"/>
              <a:pathLst>
                <a:path w="3894" h="1911" extrusionOk="0">
                  <a:moveTo>
                    <a:pt x="3369" y="1"/>
                  </a:moveTo>
                  <a:cubicBezTo>
                    <a:pt x="3360" y="1"/>
                    <a:pt x="3352" y="3"/>
                    <a:pt x="3344" y="6"/>
                  </a:cubicBezTo>
                  <a:cubicBezTo>
                    <a:pt x="3291" y="31"/>
                    <a:pt x="3253" y="143"/>
                    <a:pt x="3253" y="231"/>
                  </a:cubicBezTo>
                  <a:cubicBezTo>
                    <a:pt x="3253" y="273"/>
                    <a:pt x="3232" y="308"/>
                    <a:pt x="3200" y="332"/>
                  </a:cubicBezTo>
                  <a:cubicBezTo>
                    <a:pt x="3166" y="356"/>
                    <a:pt x="3115" y="365"/>
                    <a:pt x="3054" y="365"/>
                  </a:cubicBezTo>
                  <a:cubicBezTo>
                    <a:pt x="2851" y="365"/>
                    <a:pt x="2545" y="260"/>
                    <a:pt x="2437" y="220"/>
                  </a:cubicBezTo>
                  <a:cubicBezTo>
                    <a:pt x="2416" y="212"/>
                    <a:pt x="2395" y="209"/>
                    <a:pt x="2372" y="209"/>
                  </a:cubicBezTo>
                  <a:cubicBezTo>
                    <a:pt x="2239" y="209"/>
                    <a:pt x="2075" y="333"/>
                    <a:pt x="1901" y="462"/>
                  </a:cubicBezTo>
                  <a:cubicBezTo>
                    <a:pt x="1772" y="560"/>
                    <a:pt x="1635" y="651"/>
                    <a:pt x="1495" y="724"/>
                  </a:cubicBezTo>
                  <a:cubicBezTo>
                    <a:pt x="1366" y="794"/>
                    <a:pt x="1254" y="885"/>
                    <a:pt x="1163" y="997"/>
                  </a:cubicBezTo>
                  <a:cubicBezTo>
                    <a:pt x="1047" y="1123"/>
                    <a:pt x="937" y="1243"/>
                    <a:pt x="719" y="1243"/>
                  </a:cubicBezTo>
                  <a:cubicBezTo>
                    <a:pt x="708" y="1243"/>
                    <a:pt x="696" y="1243"/>
                    <a:pt x="683" y="1242"/>
                  </a:cubicBezTo>
                  <a:cubicBezTo>
                    <a:pt x="670" y="1241"/>
                    <a:pt x="657" y="1241"/>
                    <a:pt x="643" y="1241"/>
                  </a:cubicBezTo>
                  <a:cubicBezTo>
                    <a:pt x="374" y="1241"/>
                    <a:pt x="57" y="1432"/>
                    <a:pt x="1" y="1512"/>
                  </a:cubicBezTo>
                  <a:cubicBezTo>
                    <a:pt x="106" y="1564"/>
                    <a:pt x="109" y="1687"/>
                    <a:pt x="113" y="1771"/>
                  </a:cubicBezTo>
                  <a:cubicBezTo>
                    <a:pt x="113" y="1788"/>
                    <a:pt x="113" y="1806"/>
                    <a:pt x="116" y="1823"/>
                  </a:cubicBezTo>
                  <a:lnTo>
                    <a:pt x="127" y="1820"/>
                  </a:lnTo>
                  <a:cubicBezTo>
                    <a:pt x="260" y="1752"/>
                    <a:pt x="334" y="1715"/>
                    <a:pt x="420" y="1715"/>
                  </a:cubicBezTo>
                  <a:cubicBezTo>
                    <a:pt x="462" y="1715"/>
                    <a:pt x="507" y="1724"/>
                    <a:pt x="564" y="1743"/>
                  </a:cubicBezTo>
                  <a:cubicBezTo>
                    <a:pt x="597" y="1754"/>
                    <a:pt x="624" y="1760"/>
                    <a:pt x="649" y="1760"/>
                  </a:cubicBezTo>
                  <a:cubicBezTo>
                    <a:pt x="730" y="1760"/>
                    <a:pt x="776" y="1701"/>
                    <a:pt x="841" y="1606"/>
                  </a:cubicBezTo>
                  <a:cubicBezTo>
                    <a:pt x="869" y="1568"/>
                    <a:pt x="900" y="1526"/>
                    <a:pt x="932" y="1491"/>
                  </a:cubicBezTo>
                  <a:cubicBezTo>
                    <a:pt x="953" y="1470"/>
                    <a:pt x="981" y="1456"/>
                    <a:pt x="1009" y="1456"/>
                  </a:cubicBezTo>
                  <a:cubicBezTo>
                    <a:pt x="1016" y="1456"/>
                    <a:pt x="1023" y="1456"/>
                    <a:pt x="1030" y="1459"/>
                  </a:cubicBezTo>
                  <a:cubicBezTo>
                    <a:pt x="1093" y="1473"/>
                    <a:pt x="1114" y="1540"/>
                    <a:pt x="1142" y="1631"/>
                  </a:cubicBezTo>
                  <a:cubicBezTo>
                    <a:pt x="1191" y="1785"/>
                    <a:pt x="1240" y="1911"/>
                    <a:pt x="1366" y="1911"/>
                  </a:cubicBezTo>
                  <a:cubicBezTo>
                    <a:pt x="1446" y="1911"/>
                    <a:pt x="1488" y="1823"/>
                    <a:pt x="1541" y="1694"/>
                  </a:cubicBezTo>
                  <a:cubicBezTo>
                    <a:pt x="1583" y="1592"/>
                    <a:pt x="1621" y="1498"/>
                    <a:pt x="1709" y="1473"/>
                  </a:cubicBezTo>
                  <a:cubicBezTo>
                    <a:pt x="1723" y="1470"/>
                    <a:pt x="1738" y="1468"/>
                    <a:pt x="1752" y="1468"/>
                  </a:cubicBezTo>
                  <a:cubicBezTo>
                    <a:pt x="1793" y="1468"/>
                    <a:pt x="1833" y="1482"/>
                    <a:pt x="1866" y="1508"/>
                  </a:cubicBezTo>
                  <a:cubicBezTo>
                    <a:pt x="1899" y="1532"/>
                    <a:pt x="1942" y="1556"/>
                    <a:pt x="1978" y="1556"/>
                  </a:cubicBezTo>
                  <a:cubicBezTo>
                    <a:pt x="1984" y="1556"/>
                    <a:pt x="1990" y="1555"/>
                    <a:pt x="1996" y="1554"/>
                  </a:cubicBezTo>
                  <a:cubicBezTo>
                    <a:pt x="2063" y="1529"/>
                    <a:pt x="2105" y="1389"/>
                    <a:pt x="2129" y="1305"/>
                  </a:cubicBezTo>
                  <a:cubicBezTo>
                    <a:pt x="2136" y="1274"/>
                    <a:pt x="2143" y="1239"/>
                    <a:pt x="2154" y="1204"/>
                  </a:cubicBezTo>
                  <a:cubicBezTo>
                    <a:pt x="2189" y="1032"/>
                    <a:pt x="2234" y="794"/>
                    <a:pt x="2497" y="749"/>
                  </a:cubicBezTo>
                  <a:cubicBezTo>
                    <a:pt x="2519" y="745"/>
                    <a:pt x="2539" y="743"/>
                    <a:pt x="2557" y="743"/>
                  </a:cubicBezTo>
                  <a:cubicBezTo>
                    <a:pt x="2603" y="743"/>
                    <a:pt x="2637" y="755"/>
                    <a:pt x="2665" y="780"/>
                  </a:cubicBezTo>
                  <a:cubicBezTo>
                    <a:pt x="2724" y="833"/>
                    <a:pt x="2717" y="917"/>
                    <a:pt x="2710" y="1011"/>
                  </a:cubicBezTo>
                  <a:cubicBezTo>
                    <a:pt x="2703" y="1102"/>
                    <a:pt x="2693" y="1190"/>
                    <a:pt x="2735" y="1267"/>
                  </a:cubicBezTo>
                  <a:cubicBezTo>
                    <a:pt x="2788" y="1360"/>
                    <a:pt x="2843" y="1374"/>
                    <a:pt x="2877" y="1374"/>
                  </a:cubicBezTo>
                  <a:cubicBezTo>
                    <a:pt x="2888" y="1374"/>
                    <a:pt x="2897" y="1373"/>
                    <a:pt x="2903" y="1372"/>
                  </a:cubicBezTo>
                  <a:cubicBezTo>
                    <a:pt x="3004" y="1344"/>
                    <a:pt x="3085" y="1267"/>
                    <a:pt x="3120" y="1165"/>
                  </a:cubicBezTo>
                  <a:cubicBezTo>
                    <a:pt x="3141" y="1050"/>
                    <a:pt x="3277" y="1029"/>
                    <a:pt x="3396" y="1015"/>
                  </a:cubicBezTo>
                  <a:cubicBezTo>
                    <a:pt x="3445" y="1008"/>
                    <a:pt x="3547" y="994"/>
                    <a:pt x="3557" y="973"/>
                  </a:cubicBezTo>
                  <a:cubicBezTo>
                    <a:pt x="3557" y="973"/>
                    <a:pt x="3557" y="969"/>
                    <a:pt x="3557" y="969"/>
                  </a:cubicBezTo>
                  <a:cubicBezTo>
                    <a:pt x="3550" y="903"/>
                    <a:pt x="3561" y="833"/>
                    <a:pt x="3585" y="773"/>
                  </a:cubicBezTo>
                  <a:cubicBezTo>
                    <a:pt x="3620" y="710"/>
                    <a:pt x="3613" y="633"/>
                    <a:pt x="3568" y="581"/>
                  </a:cubicBezTo>
                  <a:cubicBezTo>
                    <a:pt x="3533" y="535"/>
                    <a:pt x="3522" y="479"/>
                    <a:pt x="3540" y="427"/>
                  </a:cubicBezTo>
                  <a:cubicBezTo>
                    <a:pt x="3564" y="353"/>
                    <a:pt x="3645" y="329"/>
                    <a:pt x="3729" y="301"/>
                  </a:cubicBezTo>
                  <a:cubicBezTo>
                    <a:pt x="3788" y="283"/>
                    <a:pt x="3841" y="259"/>
                    <a:pt x="3893" y="227"/>
                  </a:cubicBezTo>
                  <a:lnTo>
                    <a:pt x="3886" y="227"/>
                  </a:lnTo>
                  <a:cubicBezTo>
                    <a:pt x="3785" y="213"/>
                    <a:pt x="3624" y="185"/>
                    <a:pt x="3484" y="62"/>
                  </a:cubicBezTo>
                  <a:cubicBezTo>
                    <a:pt x="3450" y="34"/>
                    <a:pt x="3406" y="1"/>
                    <a:pt x="3369" y="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455" name="Google Shape;5455;p104"/>
            <p:cNvSpPr/>
            <p:nvPr/>
          </p:nvSpPr>
          <p:spPr>
            <a:xfrm>
              <a:off x="1171549" y="1310367"/>
              <a:ext cx="86380" cy="35437"/>
            </a:xfrm>
            <a:custGeom>
              <a:avLst/>
              <a:gdLst/>
              <a:ahLst/>
              <a:cxnLst/>
              <a:rect l="l" t="t" r="r" b="b"/>
              <a:pathLst>
                <a:path w="6362" h="2610" extrusionOk="0">
                  <a:moveTo>
                    <a:pt x="4622" y="0"/>
                  </a:moveTo>
                  <a:cubicBezTo>
                    <a:pt x="4610" y="0"/>
                    <a:pt x="4596" y="2"/>
                    <a:pt x="4580" y="4"/>
                  </a:cubicBezTo>
                  <a:cubicBezTo>
                    <a:pt x="4391" y="32"/>
                    <a:pt x="4034" y="260"/>
                    <a:pt x="3943" y="410"/>
                  </a:cubicBezTo>
                  <a:cubicBezTo>
                    <a:pt x="3925" y="442"/>
                    <a:pt x="3925" y="456"/>
                    <a:pt x="3925" y="456"/>
                  </a:cubicBezTo>
                  <a:cubicBezTo>
                    <a:pt x="3929" y="459"/>
                    <a:pt x="3929" y="480"/>
                    <a:pt x="3988" y="487"/>
                  </a:cubicBezTo>
                  <a:cubicBezTo>
                    <a:pt x="4184" y="512"/>
                    <a:pt x="4293" y="575"/>
                    <a:pt x="4307" y="676"/>
                  </a:cubicBezTo>
                  <a:cubicBezTo>
                    <a:pt x="4324" y="799"/>
                    <a:pt x="4198" y="907"/>
                    <a:pt x="4076" y="967"/>
                  </a:cubicBezTo>
                  <a:cubicBezTo>
                    <a:pt x="4125" y="998"/>
                    <a:pt x="4174" y="1026"/>
                    <a:pt x="4226" y="1051"/>
                  </a:cubicBezTo>
                  <a:cubicBezTo>
                    <a:pt x="4391" y="1135"/>
                    <a:pt x="4489" y="1191"/>
                    <a:pt x="4513" y="1271"/>
                  </a:cubicBezTo>
                  <a:cubicBezTo>
                    <a:pt x="4520" y="1303"/>
                    <a:pt x="4517" y="1338"/>
                    <a:pt x="4496" y="1366"/>
                  </a:cubicBezTo>
                  <a:cubicBezTo>
                    <a:pt x="4449" y="1435"/>
                    <a:pt x="4305" y="1457"/>
                    <a:pt x="4145" y="1457"/>
                  </a:cubicBezTo>
                  <a:cubicBezTo>
                    <a:pt x="3957" y="1457"/>
                    <a:pt x="3746" y="1427"/>
                    <a:pt x="3642" y="1408"/>
                  </a:cubicBezTo>
                  <a:cubicBezTo>
                    <a:pt x="3320" y="1342"/>
                    <a:pt x="3141" y="1247"/>
                    <a:pt x="3117" y="1124"/>
                  </a:cubicBezTo>
                  <a:cubicBezTo>
                    <a:pt x="3109" y="1079"/>
                    <a:pt x="3029" y="984"/>
                    <a:pt x="2847" y="869"/>
                  </a:cubicBezTo>
                  <a:cubicBezTo>
                    <a:pt x="2598" y="713"/>
                    <a:pt x="2247" y="580"/>
                    <a:pt x="2017" y="580"/>
                  </a:cubicBezTo>
                  <a:cubicBezTo>
                    <a:pt x="1978" y="580"/>
                    <a:pt x="1943" y="584"/>
                    <a:pt x="1912" y="592"/>
                  </a:cubicBezTo>
                  <a:cubicBezTo>
                    <a:pt x="1866" y="605"/>
                    <a:pt x="1826" y="610"/>
                    <a:pt x="1791" y="610"/>
                  </a:cubicBezTo>
                  <a:cubicBezTo>
                    <a:pt x="1646" y="610"/>
                    <a:pt x="1589" y="517"/>
                    <a:pt x="1541" y="438"/>
                  </a:cubicBezTo>
                  <a:cubicBezTo>
                    <a:pt x="1492" y="358"/>
                    <a:pt x="1450" y="288"/>
                    <a:pt x="1310" y="277"/>
                  </a:cubicBezTo>
                  <a:cubicBezTo>
                    <a:pt x="1298" y="276"/>
                    <a:pt x="1288" y="276"/>
                    <a:pt x="1277" y="276"/>
                  </a:cubicBezTo>
                  <a:cubicBezTo>
                    <a:pt x="1153" y="276"/>
                    <a:pt x="1116" y="333"/>
                    <a:pt x="1062" y="410"/>
                  </a:cubicBezTo>
                  <a:cubicBezTo>
                    <a:pt x="1002" y="494"/>
                    <a:pt x="932" y="603"/>
                    <a:pt x="736" y="617"/>
                  </a:cubicBezTo>
                  <a:cubicBezTo>
                    <a:pt x="613" y="624"/>
                    <a:pt x="557" y="680"/>
                    <a:pt x="561" y="725"/>
                  </a:cubicBezTo>
                  <a:cubicBezTo>
                    <a:pt x="561" y="785"/>
                    <a:pt x="648" y="848"/>
                    <a:pt x="806" y="848"/>
                  </a:cubicBezTo>
                  <a:cubicBezTo>
                    <a:pt x="932" y="848"/>
                    <a:pt x="1149" y="862"/>
                    <a:pt x="1195" y="935"/>
                  </a:cubicBezTo>
                  <a:cubicBezTo>
                    <a:pt x="1209" y="960"/>
                    <a:pt x="1209" y="988"/>
                    <a:pt x="1195" y="1012"/>
                  </a:cubicBezTo>
                  <a:cubicBezTo>
                    <a:pt x="1179" y="1037"/>
                    <a:pt x="1154" y="1079"/>
                    <a:pt x="898" y="1079"/>
                  </a:cubicBezTo>
                  <a:cubicBezTo>
                    <a:pt x="857" y="1079"/>
                    <a:pt x="810" y="1078"/>
                    <a:pt x="757" y="1075"/>
                  </a:cubicBezTo>
                  <a:cubicBezTo>
                    <a:pt x="744" y="1075"/>
                    <a:pt x="732" y="1075"/>
                    <a:pt x="720" y="1075"/>
                  </a:cubicBezTo>
                  <a:cubicBezTo>
                    <a:pt x="488" y="1075"/>
                    <a:pt x="326" y="1167"/>
                    <a:pt x="256" y="1250"/>
                  </a:cubicBezTo>
                  <a:cubicBezTo>
                    <a:pt x="225" y="1289"/>
                    <a:pt x="221" y="1314"/>
                    <a:pt x="221" y="1317"/>
                  </a:cubicBezTo>
                  <a:cubicBezTo>
                    <a:pt x="235" y="1319"/>
                    <a:pt x="248" y="1321"/>
                    <a:pt x="261" y="1321"/>
                  </a:cubicBezTo>
                  <a:cubicBezTo>
                    <a:pt x="285" y="1321"/>
                    <a:pt x="307" y="1317"/>
                    <a:pt x="330" y="1310"/>
                  </a:cubicBezTo>
                  <a:cubicBezTo>
                    <a:pt x="477" y="1271"/>
                    <a:pt x="624" y="1250"/>
                    <a:pt x="774" y="1240"/>
                  </a:cubicBezTo>
                  <a:cubicBezTo>
                    <a:pt x="818" y="1236"/>
                    <a:pt x="855" y="1235"/>
                    <a:pt x="887" y="1235"/>
                  </a:cubicBezTo>
                  <a:cubicBezTo>
                    <a:pt x="1011" y="1235"/>
                    <a:pt x="1047" y="1261"/>
                    <a:pt x="1058" y="1303"/>
                  </a:cubicBezTo>
                  <a:cubicBezTo>
                    <a:pt x="1083" y="1384"/>
                    <a:pt x="981" y="1419"/>
                    <a:pt x="925" y="1433"/>
                  </a:cubicBezTo>
                  <a:cubicBezTo>
                    <a:pt x="792" y="1471"/>
                    <a:pt x="655" y="1503"/>
                    <a:pt x="519" y="1527"/>
                  </a:cubicBezTo>
                  <a:cubicBezTo>
                    <a:pt x="347" y="1559"/>
                    <a:pt x="74" y="1611"/>
                    <a:pt x="1" y="1657"/>
                  </a:cubicBezTo>
                  <a:cubicBezTo>
                    <a:pt x="39" y="1681"/>
                    <a:pt x="137" y="1699"/>
                    <a:pt x="225" y="1713"/>
                  </a:cubicBezTo>
                  <a:cubicBezTo>
                    <a:pt x="375" y="1734"/>
                    <a:pt x="522" y="1769"/>
                    <a:pt x="662" y="1818"/>
                  </a:cubicBezTo>
                  <a:cubicBezTo>
                    <a:pt x="819" y="1877"/>
                    <a:pt x="936" y="1922"/>
                    <a:pt x="1041" y="1922"/>
                  </a:cubicBezTo>
                  <a:cubicBezTo>
                    <a:pt x="1145" y="1922"/>
                    <a:pt x="1237" y="1878"/>
                    <a:pt x="1345" y="1762"/>
                  </a:cubicBezTo>
                  <a:cubicBezTo>
                    <a:pt x="1628" y="1451"/>
                    <a:pt x="1756" y="1394"/>
                    <a:pt x="1820" y="1394"/>
                  </a:cubicBezTo>
                  <a:cubicBezTo>
                    <a:pt x="1844" y="1394"/>
                    <a:pt x="1859" y="1402"/>
                    <a:pt x="1870" y="1408"/>
                  </a:cubicBezTo>
                  <a:cubicBezTo>
                    <a:pt x="1958" y="1461"/>
                    <a:pt x="1909" y="1597"/>
                    <a:pt x="1891" y="1657"/>
                  </a:cubicBezTo>
                  <a:cubicBezTo>
                    <a:pt x="1870" y="1716"/>
                    <a:pt x="1874" y="1741"/>
                    <a:pt x="1877" y="1744"/>
                  </a:cubicBezTo>
                  <a:cubicBezTo>
                    <a:pt x="1887" y="1755"/>
                    <a:pt x="1911" y="1759"/>
                    <a:pt x="1945" y="1759"/>
                  </a:cubicBezTo>
                  <a:cubicBezTo>
                    <a:pt x="2024" y="1759"/>
                    <a:pt x="2151" y="1737"/>
                    <a:pt x="2259" y="1720"/>
                  </a:cubicBezTo>
                  <a:cubicBezTo>
                    <a:pt x="2458" y="1678"/>
                    <a:pt x="2665" y="1653"/>
                    <a:pt x="2868" y="1643"/>
                  </a:cubicBezTo>
                  <a:lnTo>
                    <a:pt x="2931" y="1643"/>
                  </a:lnTo>
                  <a:cubicBezTo>
                    <a:pt x="3036" y="1643"/>
                    <a:pt x="3180" y="1657"/>
                    <a:pt x="3183" y="1762"/>
                  </a:cubicBezTo>
                  <a:cubicBezTo>
                    <a:pt x="3194" y="1961"/>
                    <a:pt x="2511" y="2182"/>
                    <a:pt x="2073" y="2213"/>
                  </a:cubicBezTo>
                  <a:cubicBezTo>
                    <a:pt x="1762" y="2234"/>
                    <a:pt x="1671" y="2318"/>
                    <a:pt x="1667" y="2357"/>
                  </a:cubicBezTo>
                  <a:cubicBezTo>
                    <a:pt x="1664" y="2416"/>
                    <a:pt x="1786" y="2528"/>
                    <a:pt x="2063" y="2591"/>
                  </a:cubicBezTo>
                  <a:cubicBezTo>
                    <a:pt x="2119" y="2604"/>
                    <a:pt x="2183" y="2610"/>
                    <a:pt x="2251" y="2610"/>
                  </a:cubicBezTo>
                  <a:cubicBezTo>
                    <a:pt x="2808" y="2610"/>
                    <a:pt x="3715" y="2228"/>
                    <a:pt x="3943" y="2003"/>
                  </a:cubicBezTo>
                  <a:cubicBezTo>
                    <a:pt x="4026" y="1918"/>
                    <a:pt x="4110" y="1891"/>
                    <a:pt x="4191" y="1891"/>
                  </a:cubicBezTo>
                  <a:cubicBezTo>
                    <a:pt x="4272" y="1891"/>
                    <a:pt x="4350" y="1919"/>
                    <a:pt x="4419" y="1944"/>
                  </a:cubicBezTo>
                  <a:cubicBezTo>
                    <a:pt x="4491" y="1969"/>
                    <a:pt x="4550" y="1988"/>
                    <a:pt x="4604" y="1988"/>
                  </a:cubicBezTo>
                  <a:cubicBezTo>
                    <a:pt x="4646" y="1988"/>
                    <a:pt x="4685" y="1976"/>
                    <a:pt x="4727" y="1947"/>
                  </a:cubicBezTo>
                  <a:cubicBezTo>
                    <a:pt x="4829" y="1873"/>
                    <a:pt x="4958" y="1851"/>
                    <a:pt x="5100" y="1851"/>
                  </a:cubicBezTo>
                  <a:cubicBezTo>
                    <a:pt x="5193" y="1851"/>
                    <a:pt x="5291" y="1860"/>
                    <a:pt x="5392" y="1870"/>
                  </a:cubicBezTo>
                  <a:cubicBezTo>
                    <a:pt x="5498" y="1880"/>
                    <a:pt x="5608" y="1889"/>
                    <a:pt x="5716" y="1889"/>
                  </a:cubicBezTo>
                  <a:cubicBezTo>
                    <a:pt x="5808" y="1889"/>
                    <a:pt x="5899" y="1882"/>
                    <a:pt x="5987" y="1863"/>
                  </a:cubicBezTo>
                  <a:cubicBezTo>
                    <a:pt x="6215" y="1818"/>
                    <a:pt x="6316" y="1559"/>
                    <a:pt x="6337" y="1349"/>
                  </a:cubicBezTo>
                  <a:cubicBezTo>
                    <a:pt x="6362" y="1121"/>
                    <a:pt x="6292" y="925"/>
                    <a:pt x="6169" y="872"/>
                  </a:cubicBezTo>
                  <a:cubicBezTo>
                    <a:pt x="6117" y="850"/>
                    <a:pt x="6076" y="840"/>
                    <a:pt x="6041" y="840"/>
                  </a:cubicBezTo>
                  <a:cubicBezTo>
                    <a:pt x="5968" y="840"/>
                    <a:pt x="5924" y="882"/>
                    <a:pt x="5865" y="939"/>
                  </a:cubicBezTo>
                  <a:cubicBezTo>
                    <a:pt x="5795" y="1016"/>
                    <a:pt x="5704" y="1072"/>
                    <a:pt x="5602" y="1096"/>
                  </a:cubicBezTo>
                  <a:cubicBezTo>
                    <a:pt x="5580" y="1100"/>
                    <a:pt x="5559" y="1102"/>
                    <a:pt x="5539" y="1102"/>
                  </a:cubicBezTo>
                  <a:cubicBezTo>
                    <a:pt x="5343" y="1102"/>
                    <a:pt x="5210" y="929"/>
                    <a:pt x="5080" y="764"/>
                  </a:cubicBezTo>
                  <a:cubicBezTo>
                    <a:pt x="5028" y="694"/>
                    <a:pt x="4972" y="631"/>
                    <a:pt x="4912" y="568"/>
                  </a:cubicBezTo>
                  <a:cubicBezTo>
                    <a:pt x="4807" y="463"/>
                    <a:pt x="4776" y="319"/>
                    <a:pt x="4751" y="207"/>
                  </a:cubicBezTo>
                  <a:cubicBezTo>
                    <a:pt x="4718" y="51"/>
                    <a:pt x="4698" y="0"/>
                    <a:pt x="4622"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456" name="Google Shape;5456;p104"/>
            <p:cNvSpPr/>
            <p:nvPr/>
          </p:nvSpPr>
          <p:spPr>
            <a:xfrm>
              <a:off x="1190001" y="1292064"/>
              <a:ext cx="7943" cy="3136"/>
            </a:xfrm>
            <a:custGeom>
              <a:avLst/>
              <a:gdLst/>
              <a:ahLst/>
              <a:cxnLst/>
              <a:rect l="l" t="t" r="r" b="b"/>
              <a:pathLst>
                <a:path w="585" h="231" extrusionOk="0">
                  <a:moveTo>
                    <a:pt x="212" y="1"/>
                  </a:moveTo>
                  <a:cubicBezTo>
                    <a:pt x="128" y="1"/>
                    <a:pt x="50" y="8"/>
                    <a:pt x="0" y="18"/>
                  </a:cubicBezTo>
                  <a:cubicBezTo>
                    <a:pt x="111" y="129"/>
                    <a:pt x="287" y="230"/>
                    <a:pt x="419" y="230"/>
                  </a:cubicBezTo>
                  <a:cubicBezTo>
                    <a:pt x="429" y="230"/>
                    <a:pt x="439" y="230"/>
                    <a:pt x="448" y="228"/>
                  </a:cubicBezTo>
                  <a:cubicBezTo>
                    <a:pt x="504" y="221"/>
                    <a:pt x="553" y="183"/>
                    <a:pt x="571" y="130"/>
                  </a:cubicBezTo>
                  <a:cubicBezTo>
                    <a:pt x="585" y="109"/>
                    <a:pt x="578" y="85"/>
                    <a:pt x="560" y="71"/>
                  </a:cubicBezTo>
                  <a:cubicBezTo>
                    <a:pt x="495" y="19"/>
                    <a:pt x="347" y="1"/>
                    <a:pt x="212" y="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457" name="Google Shape;5457;p104"/>
            <p:cNvSpPr/>
            <p:nvPr/>
          </p:nvSpPr>
          <p:spPr>
            <a:xfrm>
              <a:off x="1203443" y="1290258"/>
              <a:ext cx="23829" cy="10971"/>
            </a:xfrm>
            <a:custGeom>
              <a:avLst/>
              <a:gdLst/>
              <a:ahLst/>
              <a:cxnLst/>
              <a:rect l="l" t="t" r="r" b="b"/>
              <a:pathLst>
                <a:path w="1755" h="808" extrusionOk="0">
                  <a:moveTo>
                    <a:pt x="1496" y="1"/>
                  </a:moveTo>
                  <a:cubicBezTo>
                    <a:pt x="1440" y="1"/>
                    <a:pt x="1380" y="4"/>
                    <a:pt x="1328" y="15"/>
                  </a:cubicBezTo>
                  <a:cubicBezTo>
                    <a:pt x="1226" y="29"/>
                    <a:pt x="1111" y="39"/>
                    <a:pt x="992" y="50"/>
                  </a:cubicBezTo>
                  <a:cubicBezTo>
                    <a:pt x="575" y="95"/>
                    <a:pt x="1" y="151"/>
                    <a:pt x="1" y="386"/>
                  </a:cubicBezTo>
                  <a:cubicBezTo>
                    <a:pt x="1" y="620"/>
                    <a:pt x="109" y="757"/>
                    <a:pt x="666" y="806"/>
                  </a:cubicBezTo>
                  <a:cubicBezTo>
                    <a:pt x="683" y="807"/>
                    <a:pt x="701" y="807"/>
                    <a:pt x="718" y="807"/>
                  </a:cubicBezTo>
                  <a:cubicBezTo>
                    <a:pt x="952" y="807"/>
                    <a:pt x="1180" y="721"/>
                    <a:pt x="1356" y="561"/>
                  </a:cubicBezTo>
                  <a:cubicBezTo>
                    <a:pt x="1391" y="533"/>
                    <a:pt x="1422" y="494"/>
                    <a:pt x="1443" y="452"/>
                  </a:cubicBezTo>
                  <a:lnTo>
                    <a:pt x="1440" y="452"/>
                  </a:lnTo>
                  <a:cubicBezTo>
                    <a:pt x="1282" y="452"/>
                    <a:pt x="1244" y="393"/>
                    <a:pt x="1240" y="344"/>
                  </a:cubicBezTo>
                  <a:cubicBezTo>
                    <a:pt x="1233" y="228"/>
                    <a:pt x="1436" y="134"/>
                    <a:pt x="1646" y="102"/>
                  </a:cubicBezTo>
                  <a:cubicBezTo>
                    <a:pt x="1685" y="99"/>
                    <a:pt x="1723" y="85"/>
                    <a:pt x="1755" y="64"/>
                  </a:cubicBezTo>
                  <a:cubicBezTo>
                    <a:pt x="1737" y="43"/>
                    <a:pt x="1657" y="1"/>
                    <a:pt x="1496" y="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458" name="Google Shape;5458;p104"/>
            <p:cNvSpPr/>
            <p:nvPr/>
          </p:nvSpPr>
          <p:spPr>
            <a:xfrm>
              <a:off x="1201067" y="1279519"/>
              <a:ext cx="29300" cy="6789"/>
            </a:xfrm>
            <a:custGeom>
              <a:avLst/>
              <a:gdLst/>
              <a:ahLst/>
              <a:cxnLst/>
              <a:rect l="l" t="t" r="r" b="b"/>
              <a:pathLst>
                <a:path w="2158" h="500" extrusionOk="0">
                  <a:moveTo>
                    <a:pt x="1450" y="1"/>
                  </a:moveTo>
                  <a:cubicBezTo>
                    <a:pt x="1284" y="1"/>
                    <a:pt x="1135" y="26"/>
                    <a:pt x="1065" y="67"/>
                  </a:cubicBezTo>
                  <a:cubicBezTo>
                    <a:pt x="967" y="127"/>
                    <a:pt x="764" y="165"/>
                    <a:pt x="547" y="211"/>
                  </a:cubicBezTo>
                  <a:cubicBezTo>
                    <a:pt x="358" y="246"/>
                    <a:pt x="43" y="309"/>
                    <a:pt x="1" y="368"/>
                  </a:cubicBezTo>
                  <a:cubicBezTo>
                    <a:pt x="8" y="379"/>
                    <a:pt x="15" y="389"/>
                    <a:pt x="29" y="396"/>
                  </a:cubicBezTo>
                  <a:cubicBezTo>
                    <a:pt x="72" y="430"/>
                    <a:pt x="117" y="441"/>
                    <a:pt x="166" y="441"/>
                  </a:cubicBezTo>
                  <a:cubicBezTo>
                    <a:pt x="210" y="441"/>
                    <a:pt x="257" y="432"/>
                    <a:pt x="309" y="424"/>
                  </a:cubicBezTo>
                  <a:cubicBezTo>
                    <a:pt x="367" y="413"/>
                    <a:pt x="428" y="402"/>
                    <a:pt x="492" y="402"/>
                  </a:cubicBezTo>
                  <a:cubicBezTo>
                    <a:pt x="548" y="402"/>
                    <a:pt x="606" y="410"/>
                    <a:pt x="666" y="435"/>
                  </a:cubicBezTo>
                  <a:cubicBezTo>
                    <a:pt x="692" y="445"/>
                    <a:pt x="718" y="450"/>
                    <a:pt x="745" y="450"/>
                  </a:cubicBezTo>
                  <a:cubicBezTo>
                    <a:pt x="815" y="450"/>
                    <a:pt x="887" y="419"/>
                    <a:pt x="964" y="386"/>
                  </a:cubicBezTo>
                  <a:cubicBezTo>
                    <a:pt x="1037" y="347"/>
                    <a:pt x="1114" y="326"/>
                    <a:pt x="1195" y="319"/>
                  </a:cubicBezTo>
                  <a:cubicBezTo>
                    <a:pt x="1247" y="319"/>
                    <a:pt x="1300" y="337"/>
                    <a:pt x="1342" y="375"/>
                  </a:cubicBezTo>
                  <a:cubicBezTo>
                    <a:pt x="1410" y="436"/>
                    <a:pt x="1626" y="499"/>
                    <a:pt x="1821" y="499"/>
                  </a:cubicBezTo>
                  <a:cubicBezTo>
                    <a:pt x="1905" y="499"/>
                    <a:pt x="1986" y="488"/>
                    <a:pt x="2049" y="459"/>
                  </a:cubicBezTo>
                  <a:cubicBezTo>
                    <a:pt x="2112" y="435"/>
                    <a:pt x="2157" y="372"/>
                    <a:pt x="2154" y="302"/>
                  </a:cubicBezTo>
                  <a:cubicBezTo>
                    <a:pt x="2154" y="232"/>
                    <a:pt x="2108" y="172"/>
                    <a:pt x="2017" y="120"/>
                  </a:cubicBezTo>
                  <a:cubicBezTo>
                    <a:pt x="1871" y="36"/>
                    <a:pt x="1648" y="1"/>
                    <a:pt x="1450" y="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459" name="Google Shape;5459;p104"/>
            <p:cNvSpPr/>
            <p:nvPr/>
          </p:nvSpPr>
          <p:spPr>
            <a:xfrm>
              <a:off x="1259015" y="1268100"/>
              <a:ext cx="46978" cy="24073"/>
            </a:xfrm>
            <a:custGeom>
              <a:avLst/>
              <a:gdLst/>
              <a:ahLst/>
              <a:cxnLst/>
              <a:rect l="l" t="t" r="r" b="b"/>
              <a:pathLst>
                <a:path w="3460" h="1773" extrusionOk="0">
                  <a:moveTo>
                    <a:pt x="643" y="1"/>
                  </a:moveTo>
                  <a:cubicBezTo>
                    <a:pt x="408" y="1"/>
                    <a:pt x="193" y="23"/>
                    <a:pt x="84" y="64"/>
                  </a:cubicBezTo>
                  <a:cubicBezTo>
                    <a:pt x="42" y="78"/>
                    <a:pt x="11" y="120"/>
                    <a:pt x="11" y="166"/>
                  </a:cubicBezTo>
                  <a:cubicBezTo>
                    <a:pt x="0" y="289"/>
                    <a:pt x="98" y="457"/>
                    <a:pt x="214" y="527"/>
                  </a:cubicBezTo>
                  <a:cubicBezTo>
                    <a:pt x="241" y="546"/>
                    <a:pt x="272" y="556"/>
                    <a:pt x="304" y="556"/>
                  </a:cubicBezTo>
                  <a:cubicBezTo>
                    <a:pt x="333" y="556"/>
                    <a:pt x="363" y="547"/>
                    <a:pt x="389" y="530"/>
                  </a:cubicBezTo>
                  <a:cubicBezTo>
                    <a:pt x="463" y="481"/>
                    <a:pt x="551" y="459"/>
                    <a:pt x="642" y="459"/>
                  </a:cubicBezTo>
                  <a:cubicBezTo>
                    <a:pt x="803" y="459"/>
                    <a:pt x="974" y="527"/>
                    <a:pt x="1093" y="628"/>
                  </a:cubicBezTo>
                  <a:cubicBezTo>
                    <a:pt x="1212" y="730"/>
                    <a:pt x="1257" y="849"/>
                    <a:pt x="1215" y="950"/>
                  </a:cubicBezTo>
                  <a:cubicBezTo>
                    <a:pt x="1167" y="1058"/>
                    <a:pt x="1028" y="1084"/>
                    <a:pt x="861" y="1084"/>
                  </a:cubicBezTo>
                  <a:cubicBezTo>
                    <a:pt x="784" y="1084"/>
                    <a:pt x="702" y="1078"/>
                    <a:pt x="620" y="1073"/>
                  </a:cubicBezTo>
                  <a:cubicBezTo>
                    <a:pt x="570" y="1067"/>
                    <a:pt x="520" y="1064"/>
                    <a:pt x="470" y="1064"/>
                  </a:cubicBezTo>
                  <a:cubicBezTo>
                    <a:pt x="430" y="1064"/>
                    <a:pt x="390" y="1066"/>
                    <a:pt x="350" y="1069"/>
                  </a:cubicBezTo>
                  <a:cubicBezTo>
                    <a:pt x="399" y="1191"/>
                    <a:pt x="504" y="1253"/>
                    <a:pt x="667" y="1253"/>
                  </a:cubicBezTo>
                  <a:cubicBezTo>
                    <a:pt x="751" y="1253"/>
                    <a:pt x="851" y="1236"/>
                    <a:pt x="967" y="1202"/>
                  </a:cubicBezTo>
                  <a:cubicBezTo>
                    <a:pt x="1138" y="1150"/>
                    <a:pt x="1317" y="1122"/>
                    <a:pt x="1495" y="1122"/>
                  </a:cubicBezTo>
                  <a:cubicBezTo>
                    <a:pt x="1856" y="1122"/>
                    <a:pt x="2206" y="1248"/>
                    <a:pt x="2479" y="1482"/>
                  </a:cubicBezTo>
                  <a:cubicBezTo>
                    <a:pt x="2749" y="1699"/>
                    <a:pt x="2945" y="1773"/>
                    <a:pt x="3090" y="1773"/>
                  </a:cubicBezTo>
                  <a:cubicBezTo>
                    <a:pt x="3242" y="1773"/>
                    <a:pt x="3339" y="1692"/>
                    <a:pt x="3407" y="1612"/>
                  </a:cubicBezTo>
                  <a:cubicBezTo>
                    <a:pt x="3438" y="1580"/>
                    <a:pt x="3459" y="1542"/>
                    <a:pt x="3459" y="1496"/>
                  </a:cubicBezTo>
                  <a:cubicBezTo>
                    <a:pt x="3456" y="1447"/>
                    <a:pt x="3389" y="1398"/>
                    <a:pt x="3330" y="1349"/>
                  </a:cubicBezTo>
                  <a:cubicBezTo>
                    <a:pt x="3235" y="1276"/>
                    <a:pt x="3102" y="1174"/>
                    <a:pt x="3179" y="1020"/>
                  </a:cubicBezTo>
                  <a:cubicBezTo>
                    <a:pt x="3197" y="992"/>
                    <a:pt x="3197" y="957"/>
                    <a:pt x="3179" y="933"/>
                  </a:cubicBezTo>
                  <a:cubicBezTo>
                    <a:pt x="3109" y="817"/>
                    <a:pt x="2794" y="723"/>
                    <a:pt x="2584" y="723"/>
                  </a:cubicBezTo>
                  <a:cubicBezTo>
                    <a:pt x="2423" y="723"/>
                    <a:pt x="2321" y="593"/>
                    <a:pt x="2230" y="478"/>
                  </a:cubicBezTo>
                  <a:cubicBezTo>
                    <a:pt x="2151" y="378"/>
                    <a:pt x="2104" y="325"/>
                    <a:pt x="2057" y="325"/>
                  </a:cubicBezTo>
                  <a:cubicBezTo>
                    <a:pt x="2049" y="325"/>
                    <a:pt x="2040" y="327"/>
                    <a:pt x="2031" y="331"/>
                  </a:cubicBezTo>
                  <a:cubicBezTo>
                    <a:pt x="1985" y="352"/>
                    <a:pt x="1943" y="376"/>
                    <a:pt x="1901" y="397"/>
                  </a:cubicBezTo>
                  <a:cubicBezTo>
                    <a:pt x="1833" y="435"/>
                    <a:pt x="1770" y="470"/>
                    <a:pt x="1714" y="470"/>
                  </a:cubicBezTo>
                  <a:cubicBezTo>
                    <a:pt x="1692" y="470"/>
                    <a:pt x="1672" y="465"/>
                    <a:pt x="1653" y="453"/>
                  </a:cubicBezTo>
                  <a:cubicBezTo>
                    <a:pt x="1579" y="411"/>
                    <a:pt x="1572" y="313"/>
                    <a:pt x="1572" y="222"/>
                  </a:cubicBezTo>
                  <a:cubicBezTo>
                    <a:pt x="1572" y="197"/>
                    <a:pt x="1555" y="176"/>
                    <a:pt x="1520" y="152"/>
                  </a:cubicBezTo>
                  <a:cubicBezTo>
                    <a:pt x="1368" y="48"/>
                    <a:pt x="985" y="1"/>
                    <a:pt x="643" y="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460" name="Google Shape;5460;p104"/>
            <p:cNvSpPr/>
            <p:nvPr/>
          </p:nvSpPr>
          <p:spPr>
            <a:xfrm>
              <a:off x="1256395" y="1294400"/>
              <a:ext cx="10332" cy="9328"/>
            </a:xfrm>
            <a:custGeom>
              <a:avLst/>
              <a:gdLst/>
              <a:ahLst/>
              <a:cxnLst/>
              <a:rect l="l" t="t" r="r" b="b"/>
              <a:pathLst>
                <a:path w="761" h="687" extrusionOk="0">
                  <a:moveTo>
                    <a:pt x="53" y="0"/>
                  </a:moveTo>
                  <a:cubicBezTo>
                    <a:pt x="43" y="0"/>
                    <a:pt x="32" y="7"/>
                    <a:pt x="29" y="39"/>
                  </a:cubicBezTo>
                  <a:cubicBezTo>
                    <a:pt x="1" y="249"/>
                    <a:pt x="267" y="554"/>
                    <a:pt x="505" y="655"/>
                  </a:cubicBezTo>
                  <a:cubicBezTo>
                    <a:pt x="540" y="670"/>
                    <a:pt x="589" y="687"/>
                    <a:pt x="636" y="687"/>
                  </a:cubicBezTo>
                  <a:cubicBezTo>
                    <a:pt x="674" y="687"/>
                    <a:pt x="711" y="676"/>
                    <a:pt x="736" y="645"/>
                  </a:cubicBezTo>
                  <a:cubicBezTo>
                    <a:pt x="760" y="617"/>
                    <a:pt x="746" y="550"/>
                    <a:pt x="697" y="473"/>
                  </a:cubicBezTo>
                  <a:cubicBezTo>
                    <a:pt x="554" y="242"/>
                    <a:pt x="211" y="0"/>
                    <a:pt x="74"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461" name="Google Shape;5461;p104"/>
            <p:cNvSpPr/>
            <p:nvPr/>
          </p:nvSpPr>
          <p:spPr>
            <a:xfrm>
              <a:off x="1300753" y="1256369"/>
              <a:ext cx="8703" cy="4698"/>
            </a:xfrm>
            <a:custGeom>
              <a:avLst/>
              <a:gdLst/>
              <a:ahLst/>
              <a:cxnLst/>
              <a:rect l="l" t="t" r="r" b="b"/>
              <a:pathLst>
                <a:path w="641" h="346" extrusionOk="0">
                  <a:moveTo>
                    <a:pt x="0" y="1"/>
                  </a:moveTo>
                  <a:cubicBezTo>
                    <a:pt x="18" y="15"/>
                    <a:pt x="39" y="36"/>
                    <a:pt x="63" y="57"/>
                  </a:cubicBezTo>
                  <a:cubicBezTo>
                    <a:pt x="183" y="166"/>
                    <a:pt x="378" y="345"/>
                    <a:pt x="511" y="345"/>
                  </a:cubicBezTo>
                  <a:cubicBezTo>
                    <a:pt x="518" y="345"/>
                    <a:pt x="525" y="345"/>
                    <a:pt x="532" y="344"/>
                  </a:cubicBezTo>
                  <a:cubicBezTo>
                    <a:pt x="571" y="337"/>
                    <a:pt x="602" y="312"/>
                    <a:pt x="620" y="277"/>
                  </a:cubicBezTo>
                  <a:cubicBezTo>
                    <a:pt x="627" y="263"/>
                    <a:pt x="641" y="242"/>
                    <a:pt x="599" y="200"/>
                  </a:cubicBezTo>
                  <a:cubicBezTo>
                    <a:pt x="480" y="74"/>
                    <a:pt x="140" y="1"/>
                    <a:pt x="4" y="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462" name="Google Shape;5462;p104"/>
            <p:cNvSpPr/>
            <p:nvPr/>
          </p:nvSpPr>
          <p:spPr>
            <a:xfrm>
              <a:off x="1265858" y="1330814"/>
              <a:ext cx="6626" cy="4901"/>
            </a:xfrm>
            <a:custGeom>
              <a:avLst/>
              <a:gdLst/>
              <a:ahLst/>
              <a:cxnLst/>
              <a:rect l="l" t="t" r="r" b="b"/>
              <a:pathLst>
                <a:path w="488" h="361" extrusionOk="0">
                  <a:moveTo>
                    <a:pt x="175" y="0"/>
                  </a:moveTo>
                  <a:cubicBezTo>
                    <a:pt x="119" y="0"/>
                    <a:pt x="70" y="39"/>
                    <a:pt x="56" y="91"/>
                  </a:cubicBezTo>
                  <a:cubicBezTo>
                    <a:pt x="0" y="217"/>
                    <a:pt x="56" y="284"/>
                    <a:pt x="112" y="319"/>
                  </a:cubicBezTo>
                  <a:cubicBezTo>
                    <a:pt x="155" y="346"/>
                    <a:pt x="213" y="360"/>
                    <a:pt x="271" y="360"/>
                  </a:cubicBezTo>
                  <a:cubicBezTo>
                    <a:pt x="341" y="360"/>
                    <a:pt x="411" y="339"/>
                    <a:pt x="456" y="291"/>
                  </a:cubicBezTo>
                  <a:cubicBezTo>
                    <a:pt x="463" y="280"/>
                    <a:pt x="487" y="252"/>
                    <a:pt x="459" y="189"/>
                  </a:cubicBezTo>
                  <a:cubicBezTo>
                    <a:pt x="403" y="84"/>
                    <a:pt x="298" y="14"/>
                    <a:pt x="179"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463" name="Google Shape;5463;p104"/>
            <p:cNvSpPr/>
            <p:nvPr/>
          </p:nvSpPr>
          <p:spPr>
            <a:xfrm>
              <a:off x="1266945" y="1309756"/>
              <a:ext cx="52260" cy="27454"/>
            </a:xfrm>
            <a:custGeom>
              <a:avLst/>
              <a:gdLst/>
              <a:ahLst/>
              <a:cxnLst/>
              <a:rect l="l" t="t" r="r" b="b"/>
              <a:pathLst>
                <a:path w="3849" h="2022" extrusionOk="0">
                  <a:moveTo>
                    <a:pt x="2006" y="0"/>
                  </a:moveTo>
                  <a:cubicBezTo>
                    <a:pt x="1991" y="0"/>
                    <a:pt x="1986" y="4"/>
                    <a:pt x="1986" y="4"/>
                  </a:cubicBezTo>
                  <a:cubicBezTo>
                    <a:pt x="1961" y="49"/>
                    <a:pt x="2094" y="322"/>
                    <a:pt x="2361" y="550"/>
                  </a:cubicBezTo>
                  <a:cubicBezTo>
                    <a:pt x="2424" y="602"/>
                    <a:pt x="2539" y="704"/>
                    <a:pt x="2476" y="784"/>
                  </a:cubicBezTo>
                  <a:cubicBezTo>
                    <a:pt x="2457" y="809"/>
                    <a:pt x="2425" y="820"/>
                    <a:pt x="2383" y="820"/>
                  </a:cubicBezTo>
                  <a:cubicBezTo>
                    <a:pt x="2183" y="820"/>
                    <a:pt x="1772" y="567"/>
                    <a:pt x="1650" y="483"/>
                  </a:cubicBezTo>
                  <a:cubicBezTo>
                    <a:pt x="1567" y="428"/>
                    <a:pt x="1496" y="398"/>
                    <a:pt x="1451" y="398"/>
                  </a:cubicBezTo>
                  <a:cubicBezTo>
                    <a:pt x="1433" y="398"/>
                    <a:pt x="1420" y="403"/>
                    <a:pt x="1412" y="413"/>
                  </a:cubicBezTo>
                  <a:cubicBezTo>
                    <a:pt x="1366" y="480"/>
                    <a:pt x="1422" y="683"/>
                    <a:pt x="1531" y="763"/>
                  </a:cubicBezTo>
                  <a:cubicBezTo>
                    <a:pt x="1615" y="826"/>
                    <a:pt x="1650" y="910"/>
                    <a:pt x="1632" y="987"/>
                  </a:cubicBezTo>
                  <a:cubicBezTo>
                    <a:pt x="1618" y="1050"/>
                    <a:pt x="1566" y="1099"/>
                    <a:pt x="1503" y="1110"/>
                  </a:cubicBezTo>
                  <a:cubicBezTo>
                    <a:pt x="1488" y="1113"/>
                    <a:pt x="1474" y="1114"/>
                    <a:pt x="1459" y="1114"/>
                  </a:cubicBezTo>
                  <a:cubicBezTo>
                    <a:pt x="1343" y="1114"/>
                    <a:pt x="1212" y="1031"/>
                    <a:pt x="1100" y="879"/>
                  </a:cubicBezTo>
                  <a:cubicBezTo>
                    <a:pt x="1034" y="791"/>
                    <a:pt x="974" y="704"/>
                    <a:pt x="922" y="620"/>
                  </a:cubicBezTo>
                  <a:cubicBezTo>
                    <a:pt x="729" y="329"/>
                    <a:pt x="575" y="98"/>
                    <a:pt x="250" y="81"/>
                  </a:cubicBezTo>
                  <a:cubicBezTo>
                    <a:pt x="242" y="80"/>
                    <a:pt x="235" y="80"/>
                    <a:pt x="228" y="80"/>
                  </a:cubicBezTo>
                  <a:cubicBezTo>
                    <a:pt x="139" y="80"/>
                    <a:pt x="80" y="102"/>
                    <a:pt x="57" y="147"/>
                  </a:cubicBezTo>
                  <a:cubicBezTo>
                    <a:pt x="1" y="249"/>
                    <a:pt x="102" y="487"/>
                    <a:pt x="232" y="655"/>
                  </a:cubicBezTo>
                  <a:cubicBezTo>
                    <a:pt x="414" y="889"/>
                    <a:pt x="593" y="984"/>
                    <a:pt x="845" y="1117"/>
                  </a:cubicBezTo>
                  <a:cubicBezTo>
                    <a:pt x="922" y="1155"/>
                    <a:pt x="999" y="1197"/>
                    <a:pt x="1086" y="1246"/>
                  </a:cubicBezTo>
                  <a:cubicBezTo>
                    <a:pt x="1178" y="1298"/>
                    <a:pt x="1287" y="1316"/>
                    <a:pt x="1403" y="1316"/>
                  </a:cubicBezTo>
                  <a:cubicBezTo>
                    <a:pt x="1557" y="1316"/>
                    <a:pt x="1723" y="1283"/>
                    <a:pt x="1877" y="1253"/>
                  </a:cubicBezTo>
                  <a:cubicBezTo>
                    <a:pt x="2003" y="1225"/>
                    <a:pt x="2133" y="1208"/>
                    <a:pt x="2259" y="1201"/>
                  </a:cubicBezTo>
                  <a:cubicBezTo>
                    <a:pt x="2301" y="1201"/>
                    <a:pt x="2340" y="1204"/>
                    <a:pt x="2382" y="1215"/>
                  </a:cubicBezTo>
                  <a:cubicBezTo>
                    <a:pt x="2434" y="1222"/>
                    <a:pt x="2480" y="1257"/>
                    <a:pt x="2504" y="1309"/>
                  </a:cubicBezTo>
                  <a:cubicBezTo>
                    <a:pt x="2536" y="1394"/>
                    <a:pt x="2473" y="1485"/>
                    <a:pt x="2399" y="1586"/>
                  </a:cubicBezTo>
                  <a:cubicBezTo>
                    <a:pt x="2297" y="1730"/>
                    <a:pt x="2231" y="1838"/>
                    <a:pt x="2294" y="1919"/>
                  </a:cubicBezTo>
                  <a:cubicBezTo>
                    <a:pt x="2359" y="1996"/>
                    <a:pt x="2477" y="2021"/>
                    <a:pt x="2620" y="2021"/>
                  </a:cubicBezTo>
                  <a:cubicBezTo>
                    <a:pt x="2747" y="2021"/>
                    <a:pt x="2893" y="2001"/>
                    <a:pt x="3036" y="1982"/>
                  </a:cubicBezTo>
                  <a:cubicBezTo>
                    <a:pt x="3152" y="1964"/>
                    <a:pt x="3271" y="1947"/>
                    <a:pt x="3379" y="1940"/>
                  </a:cubicBezTo>
                  <a:cubicBezTo>
                    <a:pt x="3582" y="1929"/>
                    <a:pt x="3600" y="1873"/>
                    <a:pt x="3631" y="1772"/>
                  </a:cubicBezTo>
                  <a:cubicBezTo>
                    <a:pt x="3659" y="1667"/>
                    <a:pt x="3722" y="1579"/>
                    <a:pt x="3806" y="1516"/>
                  </a:cubicBezTo>
                  <a:cubicBezTo>
                    <a:pt x="3824" y="1506"/>
                    <a:pt x="3834" y="1495"/>
                    <a:pt x="3848" y="1485"/>
                  </a:cubicBezTo>
                  <a:cubicBezTo>
                    <a:pt x="3838" y="1471"/>
                    <a:pt x="3824" y="1460"/>
                    <a:pt x="3813" y="1446"/>
                  </a:cubicBezTo>
                  <a:cubicBezTo>
                    <a:pt x="3743" y="1380"/>
                    <a:pt x="3610" y="1253"/>
                    <a:pt x="3736" y="984"/>
                  </a:cubicBezTo>
                  <a:cubicBezTo>
                    <a:pt x="3820" y="809"/>
                    <a:pt x="3670" y="581"/>
                    <a:pt x="3600" y="494"/>
                  </a:cubicBezTo>
                  <a:cubicBezTo>
                    <a:pt x="3456" y="312"/>
                    <a:pt x="3288" y="207"/>
                    <a:pt x="3232" y="200"/>
                  </a:cubicBezTo>
                  <a:cubicBezTo>
                    <a:pt x="3225" y="249"/>
                    <a:pt x="3197" y="294"/>
                    <a:pt x="3155" y="319"/>
                  </a:cubicBezTo>
                  <a:cubicBezTo>
                    <a:pt x="3124" y="337"/>
                    <a:pt x="3086" y="346"/>
                    <a:pt x="3040" y="346"/>
                  </a:cubicBezTo>
                  <a:cubicBezTo>
                    <a:pt x="2895" y="346"/>
                    <a:pt x="2677" y="261"/>
                    <a:pt x="2371" y="133"/>
                  </a:cubicBezTo>
                  <a:cubicBezTo>
                    <a:pt x="2290" y="98"/>
                    <a:pt x="2203" y="60"/>
                    <a:pt x="2122" y="32"/>
                  </a:cubicBezTo>
                  <a:cubicBezTo>
                    <a:pt x="2061" y="6"/>
                    <a:pt x="2025" y="0"/>
                    <a:pt x="2006"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464" name="Google Shape;5464;p104"/>
            <p:cNvSpPr/>
            <p:nvPr/>
          </p:nvSpPr>
          <p:spPr>
            <a:xfrm>
              <a:off x="1309917" y="1312268"/>
              <a:ext cx="923" cy="109"/>
            </a:xfrm>
            <a:custGeom>
              <a:avLst/>
              <a:gdLst/>
              <a:ahLst/>
              <a:cxnLst/>
              <a:rect l="l" t="t" r="r" b="b"/>
              <a:pathLst>
                <a:path w="68" h="8" extrusionOk="0">
                  <a:moveTo>
                    <a:pt x="1" y="1"/>
                  </a:moveTo>
                  <a:lnTo>
                    <a:pt x="64" y="8"/>
                  </a:lnTo>
                  <a:cubicBezTo>
                    <a:pt x="64" y="8"/>
                    <a:pt x="64" y="4"/>
                    <a:pt x="67" y="4"/>
                  </a:cubicBezTo>
                  <a:lnTo>
                    <a:pt x="1"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465" name="Google Shape;5465;p104"/>
            <p:cNvSpPr/>
            <p:nvPr/>
          </p:nvSpPr>
          <p:spPr>
            <a:xfrm>
              <a:off x="1314344" y="1277224"/>
              <a:ext cx="23109" cy="14718"/>
            </a:xfrm>
            <a:custGeom>
              <a:avLst/>
              <a:gdLst/>
              <a:ahLst/>
              <a:cxnLst/>
              <a:rect l="l" t="t" r="r" b="b"/>
              <a:pathLst>
                <a:path w="1702" h="1084" extrusionOk="0">
                  <a:moveTo>
                    <a:pt x="82" y="1"/>
                  </a:moveTo>
                  <a:cubicBezTo>
                    <a:pt x="68" y="1"/>
                    <a:pt x="54" y="8"/>
                    <a:pt x="42" y="19"/>
                  </a:cubicBezTo>
                  <a:cubicBezTo>
                    <a:pt x="0" y="82"/>
                    <a:pt x="42" y="310"/>
                    <a:pt x="186" y="579"/>
                  </a:cubicBezTo>
                  <a:cubicBezTo>
                    <a:pt x="347" y="877"/>
                    <a:pt x="553" y="1083"/>
                    <a:pt x="693" y="1083"/>
                  </a:cubicBezTo>
                  <a:cubicBezTo>
                    <a:pt x="711" y="1084"/>
                    <a:pt x="729" y="1084"/>
                    <a:pt x="747" y="1084"/>
                  </a:cubicBezTo>
                  <a:cubicBezTo>
                    <a:pt x="1051" y="1084"/>
                    <a:pt x="1354" y="1028"/>
                    <a:pt x="1639" y="919"/>
                  </a:cubicBezTo>
                  <a:cubicBezTo>
                    <a:pt x="1656" y="912"/>
                    <a:pt x="1674" y="905"/>
                    <a:pt x="1691" y="898"/>
                  </a:cubicBezTo>
                  <a:lnTo>
                    <a:pt x="1684" y="891"/>
                  </a:lnTo>
                  <a:cubicBezTo>
                    <a:pt x="1628" y="838"/>
                    <a:pt x="1509" y="726"/>
                    <a:pt x="1660" y="530"/>
                  </a:cubicBezTo>
                  <a:cubicBezTo>
                    <a:pt x="1702" y="471"/>
                    <a:pt x="1681" y="453"/>
                    <a:pt x="1670" y="443"/>
                  </a:cubicBezTo>
                  <a:cubicBezTo>
                    <a:pt x="1615" y="385"/>
                    <a:pt x="1469" y="364"/>
                    <a:pt x="1350" y="364"/>
                  </a:cubicBezTo>
                  <a:cubicBezTo>
                    <a:pt x="1273" y="364"/>
                    <a:pt x="1207" y="373"/>
                    <a:pt x="1184" y="387"/>
                  </a:cubicBezTo>
                  <a:cubicBezTo>
                    <a:pt x="1173" y="401"/>
                    <a:pt x="1159" y="411"/>
                    <a:pt x="1138" y="418"/>
                  </a:cubicBezTo>
                  <a:cubicBezTo>
                    <a:pt x="1128" y="422"/>
                    <a:pt x="1118" y="423"/>
                    <a:pt x="1106" y="423"/>
                  </a:cubicBezTo>
                  <a:cubicBezTo>
                    <a:pt x="1045" y="423"/>
                    <a:pt x="946" y="376"/>
                    <a:pt x="728" y="264"/>
                  </a:cubicBezTo>
                  <a:cubicBezTo>
                    <a:pt x="581" y="187"/>
                    <a:pt x="228" y="2"/>
                    <a:pt x="91" y="2"/>
                  </a:cubicBezTo>
                  <a:cubicBezTo>
                    <a:pt x="88" y="1"/>
                    <a:pt x="85" y="1"/>
                    <a:pt x="82" y="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466" name="Google Shape;5466;p104"/>
            <p:cNvSpPr/>
            <p:nvPr/>
          </p:nvSpPr>
          <p:spPr>
            <a:xfrm>
              <a:off x="1329265" y="1294739"/>
              <a:ext cx="19973" cy="4548"/>
            </a:xfrm>
            <a:custGeom>
              <a:avLst/>
              <a:gdLst/>
              <a:ahLst/>
              <a:cxnLst/>
              <a:rect l="l" t="t" r="r" b="b"/>
              <a:pathLst>
                <a:path w="1471" h="335" extrusionOk="0">
                  <a:moveTo>
                    <a:pt x="1308" y="1"/>
                  </a:moveTo>
                  <a:cubicBezTo>
                    <a:pt x="1170" y="1"/>
                    <a:pt x="971" y="13"/>
                    <a:pt x="729" y="45"/>
                  </a:cubicBezTo>
                  <a:cubicBezTo>
                    <a:pt x="305" y="101"/>
                    <a:pt x="60" y="178"/>
                    <a:pt x="1" y="224"/>
                  </a:cubicBezTo>
                  <a:cubicBezTo>
                    <a:pt x="104" y="298"/>
                    <a:pt x="253" y="335"/>
                    <a:pt x="432" y="335"/>
                  </a:cubicBezTo>
                  <a:cubicBezTo>
                    <a:pt x="568" y="335"/>
                    <a:pt x="721" y="313"/>
                    <a:pt x="886" y="269"/>
                  </a:cubicBezTo>
                  <a:cubicBezTo>
                    <a:pt x="1177" y="192"/>
                    <a:pt x="1397" y="77"/>
                    <a:pt x="1471" y="10"/>
                  </a:cubicBezTo>
                  <a:cubicBezTo>
                    <a:pt x="1436" y="4"/>
                    <a:pt x="1380" y="1"/>
                    <a:pt x="1308" y="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467" name="Google Shape;5467;p104"/>
            <p:cNvSpPr/>
            <p:nvPr/>
          </p:nvSpPr>
          <p:spPr>
            <a:xfrm>
              <a:off x="1324934" y="1329592"/>
              <a:ext cx="24684" cy="12138"/>
            </a:xfrm>
            <a:custGeom>
              <a:avLst/>
              <a:gdLst/>
              <a:ahLst/>
              <a:cxnLst/>
              <a:rect l="l" t="t" r="r" b="b"/>
              <a:pathLst>
                <a:path w="1818" h="894" extrusionOk="0">
                  <a:moveTo>
                    <a:pt x="1010" y="1"/>
                  </a:moveTo>
                  <a:cubicBezTo>
                    <a:pt x="808" y="1"/>
                    <a:pt x="576" y="84"/>
                    <a:pt x="386" y="188"/>
                  </a:cubicBezTo>
                  <a:cubicBezTo>
                    <a:pt x="134" y="328"/>
                    <a:pt x="4" y="472"/>
                    <a:pt x="1" y="517"/>
                  </a:cubicBezTo>
                  <a:cubicBezTo>
                    <a:pt x="196" y="665"/>
                    <a:pt x="1095" y="893"/>
                    <a:pt x="1549" y="893"/>
                  </a:cubicBezTo>
                  <a:cubicBezTo>
                    <a:pt x="1568" y="893"/>
                    <a:pt x="1587" y="893"/>
                    <a:pt x="1604" y="892"/>
                  </a:cubicBezTo>
                  <a:cubicBezTo>
                    <a:pt x="1699" y="885"/>
                    <a:pt x="1758" y="853"/>
                    <a:pt x="1772" y="797"/>
                  </a:cubicBezTo>
                  <a:cubicBezTo>
                    <a:pt x="1818" y="657"/>
                    <a:pt x="1650" y="346"/>
                    <a:pt x="1303" y="87"/>
                  </a:cubicBezTo>
                  <a:cubicBezTo>
                    <a:pt x="1223" y="26"/>
                    <a:pt x="1121" y="1"/>
                    <a:pt x="1010" y="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468" name="Google Shape;5468;p104"/>
            <p:cNvSpPr/>
            <p:nvPr/>
          </p:nvSpPr>
          <p:spPr>
            <a:xfrm>
              <a:off x="1281500" y="1350040"/>
              <a:ext cx="45593" cy="39266"/>
            </a:xfrm>
            <a:custGeom>
              <a:avLst/>
              <a:gdLst/>
              <a:ahLst/>
              <a:cxnLst/>
              <a:rect l="l" t="t" r="r" b="b"/>
              <a:pathLst>
                <a:path w="3358" h="2892" extrusionOk="0">
                  <a:moveTo>
                    <a:pt x="2471" y="1"/>
                  </a:moveTo>
                  <a:cubicBezTo>
                    <a:pt x="2395" y="1"/>
                    <a:pt x="2319" y="10"/>
                    <a:pt x="2244" y="30"/>
                  </a:cubicBezTo>
                  <a:cubicBezTo>
                    <a:pt x="2136" y="47"/>
                    <a:pt x="2031" y="82"/>
                    <a:pt x="1936" y="135"/>
                  </a:cubicBezTo>
                  <a:lnTo>
                    <a:pt x="1947" y="142"/>
                  </a:lnTo>
                  <a:cubicBezTo>
                    <a:pt x="2073" y="191"/>
                    <a:pt x="2139" y="254"/>
                    <a:pt x="2146" y="327"/>
                  </a:cubicBezTo>
                  <a:cubicBezTo>
                    <a:pt x="2146" y="376"/>
                    <a:pt x="2118" y="425"/>
                    <a:pt x="2073" y="447"/>
                  </a:cubicBezTo>
                  <a:cubicBezTo>
                    <a:pt x="2035" y="468"/>
                    <a:pt x="1985" y="480"/>
                    <a:pt x="1927" y="480"/>
                  </a:cubicBezTo>
                  <a:cubicBezTo>
                    <a:pt x="1823" y="480"/>
                    <a:pt x="1694" y="442"/>
                    <a:pt x="1569" y="352"/>
                  </a:cubicBezTo>
                  <a:cubicBezTo>
                    <a:pt x="1507" y="307"/>
                    <a:pt x="1421" y="289"/>
                    <a:pt x="1326" y="289"/>
                  </a:cubicBezTo>
                  <a:cubicBezTo>
                    <a:pt x="1084" y="289"/>
                    <a:pt x="784" y="409"/>
                    <a:pt x="686" y="538"/>
                  </a:cubicBezTo>
                  <a:cubicBezTo>
                    <a:pt x="641" y="597"/>
                    <a:pt x="648" y="639"/>
                    <a:pt x="704" y="685"/>
                  </a:cubicBezTo>
                  <a:cubicBezTo>
                    <a:pt x="784" y="751"/>
                    <a:pt x="942" y="751"/>
                    <a:pt x="1085" y="751"/>
                  </a:cubicBezTo>
                  <a:cubicBezTo>
                    <a:pt x="1257" y="751"/>
                    <a:pt x="1404" y="755"/>
                    <a:pt x="1457" y="863"/>
                  </a:cubicBezTo>
                  <a:cubicBezTo>
                    <a:pt x="1502" y="951"/>
                    <a:pt x="1460" y="1070"/>
                    <a:pt x="1320" y="1259"/>
                  </a:cubicBezTo>
                  <a:cubicBezTo>
                    <a:pt x="1201" y="1423"/>
                    <a:pt x="1085" y="1511"/>
                    <a:pt x="966" y="1528"/>
                  </a:cubicBezTo>
                  <a:cubicBezTo>
                    <a:pt x="953" y="1530"/>
                    <a:pt x="939" y="1531"/>
                    <a:pt x="926" y="1531"/>
                  </a:cubicBezTo>
                  <a:cubicBezTo>
                    <a:pt x="790" y="1531"/>
                    <a:pt x="679" y="1439"/>
                    <a:pt x="571" y="1353"/>
                  </a:cubicBezTo>
                  <a:cubicBezTo>
                    <a:pt x="462" y="1266"/>
                    <a:pt x="355" y="1181"/>
                    <a:pt x="234" y="1181"/>
                  </a:cubicBezTo>
                  <a:cubicBezTo>
                    <a:pt x="219" y="1181"/>
                    <a:pt x="204" y="1183"/>
                    <a:pt x="189" y="1185"/>
                  </a:cubicBezTo>
                  <a:cubicBezTo>
                    <a:pt x="109" y="1199"/>
                    <a:pt x="14" y="1234"/>
                    <a:pt x="7" y="1336"/>
                  </a:cubicBezTo>
                  <a:cubicBezTo>
                    <a:pt x="0" y="1476"/>
                    <a:pt x="179" y="1731"/>
                    <a:pt x="609" y="1861"/>
                  </a:cubicBezTo>
                  <a:cubicBezTo>
                    <a:pt x="1012" y="1980"/>
                    <a:pt x="1159" y="2169"/>
                    <a:pt x="1310" y="2365"/>
                  </a:cubicBezTo>
                  <a:cubicBezTo>
                    <a:pt x="1429" y="2533"/>
                    <a:pt x="1576" y="2677"/>
                    <a:pt x="1740" y="2792"/>
                  </a:cubicBezTo>
                  <a:cubicBezTo>
                    <a:pt x="1844" y="2862"/>
                    <a:pt x="1911" y="2891"/>
                    <a:pt x="1964" y="2891"/>
                  </a:cubicBezTo>
                  <a:cubicBezTo>
                    <a:pt x="2032" y="2891"/>
                    <a:pt x="2074" y="2842"/>
                    <a:pt x="2136" y="2771"/>
                  </a:cubicBezTo>
                  <a:cubicBezTo>
                    <a:pt x="2231" y="2659"/>
                    <a:pt x="2355" y="2511"/>
                    <a:pt x="2648" y="2511"/>
                  </a:cubicBezTo>
                  <a:cubicBezTo>
                    <a:pt x="2658" y="2511"/>
                    <a:pt x="2668" y="2512"/>
                    <a:pt x="2678" y="2512"/>
                  </a:cubicBezTo>
                  <a:lnTo>
                    <a:pt x="2696" y="2512"/>
                  </a:lnTo>
                  <a:cubicBezTo>
                    <a:pt x="3112" y="2512"/>
                    <a:pt x="3214" y="1931"/>
                    <a:pt x="3284" y="1504"/>
                  </a:cubicBezTo>
                  <a:cubicBezTo>
                    <a:pt x="3305" y="1395"/>
                    <a:pt x="3319" y="1301"/>
                    <a:pt x="3340" y="1227"/>
                  </a:cubicBezTo>
                  <a:cubicBezTo>
                    <a:pt x="3358" y="1154"/>
                    <a:pt x="3344" y="1091"/>
                    <a:pt x="3291" y="1059"/>
                  </a:cubicBezTo>
                  <a:cubicBezTo>
                    <a:pt x="3264" y="1044"/>
                    <a:pt x="3234" y="1036"/>
                    <a:pt x="3205" y="1036"/>
                  </a:cubicBezTo>
                  <a:cubicBezTo>
                    <a:pt x="3174" y="1036"/>
                    <a:pt x="3143" y="1045"/>
                    <a:pt x="3116" y="1063"/>
                  </a:cubicBezTo>
                  <a:cubicBezTo>
                    <a:pt x="3112" y="1070"/>
                    <a:pt x="3091" y="1087"/>
                    <a:pt x="3119" y="1140"/>
                  </a:cubicBezTo>
                  <a:cubicBezTo>
                    <a:pt x="3207" y="1304"/>
                    <a:pt x="3200" y="1479"/>
                    <a:pt x="3140" y="1556"/>
                  </a:cubicBezTo>
                  <a:cubicBezTo>
                    <a:pt x="3124" y="1582"/>
                    <a:pt x="3093" y="1598"/>
                    <a:pt x="3062" y="1598"/>
                  </a:cubicBezTo>
                  <a:cubicBezTo>
                    <a:pt x="3054" y="1598"/>
                    <a:pt x="3047" y="1597"/>
                    <a:pt x="3039" y="1595"/>
                  </a:cubicBezTo>
                  <a:cubicBezTo>
                    <a:pt x="2979" y="1581"/>
                    <a:pt x="2944" y="1518"/>
                    <a:pt x="2927" y="1399"/>
                  </a:cubicBezTo>
                  <a:cubicBezTo>
                    <a:pt x="2912" y="1317"/>
                    <a:pt x="2871" y="1296"/>
                    <a:pt x="2741" y="1296"/>
                  </a:cubicBezTo>
                  <a:cubicBezTo>
                    <a:pt x="2720" y="1296"/>
                    <a:pt x="2697" y="1296"/>
                    <a:pt x="2671" y="1297"/>
                  </a:cubicBezTo>
                  <a:cubicBezTo>
                    <a:pt x="2650" y="1298"/>
                    <a:pt x="2627" y="1298"/>
                    <a:pt x="2604" y="1298"/>
                  </a:cubicBezTo>
                  <a:cubicBezTo>
                    <a:pt x="2479" y="1298"/>
                    <a:pt x="2341" y="1282"/>
                    <a:pt x="2258" y="1161"/>
                  </a:cubicBezTo>
                  <a:cubicBezTo>
                    <a:pt x="2223" y="1119"/>
                    <a:pt x="2213" y="1063"/>
                    <a:pt x="2227" y="1014"/>
                  </a:cubicBezTo>
                  <a:cubicBezTo>
                    <a:pt x="2255" y="909"/>
                    <a:pt x="2384" y="853"/>
                    <a:pt x="2545" y="786"/>
                  </a:cubicBezTo>
                  <a:cubicBezTo>
                    <a:pt x="2706" y="716"/>
                    <a:pt x="2888" y="639"/>
                    <a:pt x="2958" y="510"/>
                  </a:cubicBezTo>
                  <a:cubicBezTo>
                    <a:pt x="2983" y="464"/>
                    <a:pt x="2976" y="443"/>
                    <a:pt x="2972" y="436"/>
                  </a:cubicBezTo>
                  <a:cubicBezTo>
                    <a:pt x="2955" y="383"/>
                    <a:pt x="2853" y="345"/>
                    <a:pt x="2773" y="310"/>
                  </a:cubicBezTo>
                  <a:cubicBezTo>
                    <a:pt x="2668" y="268"/>
                    <a:pt x="2566" y="226"/>
                    <a:pt x="2542" y="138"/>
                  </a:cubicBezTo>
                  <a:cubicBezTo>
                    <a:pt x="2528" y="93"/>
                    <a:pt x="2538" y="44"/>
                    <a:pt x="2566" y="5"/>
                  </a:cubicBezTo>
                  <a:cubicBezTo>
                    <a:pt x="2535" y="2"/>
                    <a:pt x="2503" y="1"/>
                    <a:pt x="2471" y="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469" name="Google Shape;5469;p104"/>
            <p:cNvSpPr/>
            <p:nvPr/>
          </p:nvSpPr>
          <p:spPr>
            <a:xfrm>
              <a:off x="1325029" y="1306674"/>
              <a:ext cx="126216" cy="36999"/>
            </a:xfrm>
            <a:custGeom>
              <a:avLst/>
              <a:gdLst/>
              <a:ahLst/>
              <a:cxnLst/>
              <a:rect l="l" t="t" r="r" b="b"/>
              <a:pathLst>
                <a:path w="9296" h="2725" extrusionOk="0">
                  <a:moveTo>
                    <a:pt x="643" y="0"/>
                  </a:moveTo>
                  <a:cubicBezTo>
                    <a:pt x="357" y="0"/>
                    <a:pt x="92" y="44"/>
                    <a:pt x="22" y="129"/>
                  </a:cubicBezTo>
                  <a:cubicBezTo>
                    <a:pt x="15" y="140"/>
                    <a:pt x="1" y="157"/>
                    <a:pt x="32" y="203"/>
                  </a:cubicBezTo>
                  <a:cubicBezTo>
                    <a:pt x="156" y="381"/>
                    <a:pt x="1100" y="749"/>
                    <a:pt x="1505" y="749"/>
                  </a:cubicBezTo>
                  <a:cubicBezTo>
                    <a:pt x="1513" y="749"/>
                    <a:pt x="1520" y="749"/>
                    <a:pt x="1527" y="749"/>
                  </a:cubicBezTo>
                  <a:cubicBezTo>
                    <a:pt x="1601" y="745"/>
                    <a:pt x="1636" y="731"/>
                    <a:pt x="1643" y="717"/>
                  </a:cubicBezTo>
                  <a:cubicBezTo>
                    <a:pt x="1671" y="665"/>
                    <a:pt x="1723" y="630"/>
                    <a:pt x="1786" y="623"/>
                  </a:cubicBezTo>
                  <a:cubicBezTo>
                    <a:pt x="1790" y="623"/>
                    <a:pt x="1794" y="622"/>
                    <a:pt x="1798" y="622"/>
                  </a:cubicBezTo>
                  <a:cubicBezTo>
                    <a:pt x="1959" y="622"/>
                    <a:pt x="2142" y="840"/>
                    <a:pt x="2382" y="1144"/>
                  </a:cubicBezTo>
                  <a:cubicBezTo>
                    <a:pt x="2417" y="1186"/>
                    <a:pt x="2448" y="1232"/>
                    <a:pt x="2480" y="1267"/>
                  </a:cubicBezTo>
                  <a:cubicBezTo>
                    <a:pt x="2609" y="1428"/>
                    <a:pt x="2567" y="1547"/>
                    <a:pt x="2522" y="1666"/>
                  </a:cubicBezTo>
                  <a:cubicBezTo>
                    <a:pt x="2455" y="1817"/>
                    <a:pt x="2455" y="1985"/>
                    <a:pt x="2515" y="2135"/>
                  </a:cubicBezTo>
                  <a:lnTo>
                    <a:pt x="2515" y="2139"/>
                  </a:lnTo>
                  <a:cubicBezTo>
                    <a:pt x="2588" y="2343"/>
                    <a:pt x="2648" y="2372"/>
                    <a:pt x="2735" y="2372"/>
                  </a:cubicBezTo>
                  <a:cubicBezTo>
                    <a:pt x="2753" y="2372"/>
                    <a:pt x="2771" y="2371"/>
                    <a:pt x="2791" y="2370"/>
                  </a:cubicBezTo>
                  <a:cubicBezTo>
                    <a:pt x="2815" y="2368"/>
                    <a:pt x="2842" y="2366"/>
                    <a:pt x="2869" y="2366"/>
                  </a:cubicBezTo>
                  <a:cubicBezTo>
                    <a:pt x="2944" y="2366"/>
                    <a:pt x="3030" y="2380"/>
                    <a:pt x="3120" y="2447"/>
                  </a:cubicBezTo>
                  <a:cubicBezTo>
                    <a:pt x="3288" y="2567"/>
                    <a:pt x="3505" y="2650"/>
                    <a:pt x="3686" y="2650"/>
                  </a:cubicBezTo>
                  <a:cubicBezTo>
                    <a:pt x="3784" y="2650"/>
                    <a:pt x="3872" y="2626"/>
                    <a:pt x="3936" y="2569"/>
                  </a:cubicBezTo>
                  <a:cubicBezTo>
                    <a:pt x="3978" y="2534"/>
                    <a:pt x="4013" y="2503"/>
                    <a:pt x="4044" y="2471"/>
                  </a:cubicBezTo>
                  <a:cubicBezTo>
                    <a:pt x="4146" y="2377"/>
                    <a:pt x="4216" y="2310"/>
                    <a:pt x="4290" y="2310"/>
                  </a:cubicBezTo>
                  <a:lnTo>
                    <a:pt x="4314" y="2310"/>
                  </a:lnTo>
                  <a:cubicBezTo>
                    <a:pt x="4370" y="2328"/>
                    <a:pt x="4412" y="2370"/>
                    <a:pt x="4430" y="2422"/>
                  </a:cubicBezTo>
                  <a:cubicBezTo>
                    <a:pt x="4535" y="2671"/>
                    <a:pt x="5165" y="2702"/>
                    <a:pt x="6190" y="2723"/>
                  </a:cubicBezTo>
                  <a:cubicBezTo>
                    <a:pt x="6218" y="2724"/>
                    <a:pt x="6245" y="2724"/>
                    <a:pt x="6270" y="2724"/>
                  </a:cubicBezTo>
                  <a:cubicBezTo>
                    <a:pt x="6872" y="2724"/>
                    <a:pt x="7024" y="2572"/>
                    <a:pt x="7115" y="2478"/>
                  </a:cubicBezTo>
                  <a:cubicBezTo>
                    <a:pt x="7166" y="2427"/>
                    <a:pt x="7211" y="2388"/>
                    <a:pt x="7277" y="2388"/>
                  </a:cubicBezTo>
                  <a:cubicBezTo>
                    <a:pt x="7319" y="2388"/>
                    <a:pt x="7368" y="2403"/>
                    <a:pt x="7433" y="2440"/>
                  </a:cubicBezTo>
                  <a:cubicBezTo>
                    <a:pt x="7627" y="2551"/>
                    <a:pt x="8001" y="2599"/>
                    <a:pt x="8339" y="2599"/>
                  </a:cubicBezTo>
                  <a:cubicBezTo>
                    <a:pt x="8531" y="2599"/>
                    <a:pt x="8712" y="2583"/>
                    <a:pt x="8841" y="2555"/>
                  </a:cubicBezTo>
                  <a:cubicBezTo>
                    <a:pt x="9131" y="2492"/>
                    <a:pt x="9296" y="2002"/>
                    <a:pt x="9275" y="1757"/>
                  </a:cubicBezTo>
                  <a:cubicBezTo>
                    <a:pt x="9229" y="1687"/>
                    <a:pt x="8764" y="1561"/>
                    <a:pt x="7902" y="1498"/>
                  </a:cubicBezTo>
                  <a:cubicBezTo>
                    <a:pt x="7656" y="1480"/>
                    <a:pt x="7422" y="1472"/>
                    <a:pt x="7212" y="1472"/>
                  </a:cubicBezTo>
                  <a:cubicBezTo>
                    <a:pt x="6761" y="1472"/>
                    <a:pt x="6419" y="1511"/>
                    <a:pt x="6292" y="1586"/>
                  </a:cubicBezTo>
                  <a:cubicBezTo>
                    <a:pt x="6154" y="1665"/>
                    <a:pt x="5995" y="1691"/>
                    <a:pt x="5831" y="1691"/>
                  </a:cubicBezTo>
                  <a:cubicBezTo>
                    <a:pt x="5678" y="1691"/>
                    <a:pt x="5522" y="1669"/>
                    <a:pt x="5375" y="1649"/>
                  </a:cubicBezTo>
                  <a:cubicBezTo>
                    <a:pt x="5236" y="1629"/>
                    <a:pt x="5103" y="1610"/>
                    <a:pt x="4986" y="1610"/>
                  </a:cubicBezTo>
                  <a:cubicBezTo>
                    <a:pt x="4890" y="1610"/>
                    <a:pt x="4805" y="1623"/>
                    <a:pt x="4738" y="1659"/>
                  </a:cubicBezTo>
                  <a:cubicBezTo>
                    <a:pt x="4661" y="1701"/>
                    <a:pt x="4600" y="1718"/>
                    <a:pt x="4548" y="1718"/>
                  </a:cubicBezTo>
                  <a:cubicBezTo>
                    <a:pt x="4454" y="1718"/>
                    <a:pt x="4393" y="1662"/>
                    <a:pt x="4332" y="1603"/>
                  </a:cubicBezTo>
                  <a:cubicBezTo>
                    <a:pt x="4233" y="1515"/>
                    <a:pt x="4118" y="1414"/>
                    <a:pt x="3806" y="1400"/>
                  </a:cubicBezTo>
                  <a:cubicBezTo>
                    <a:pt x="3600" y="1393"/>
                    <a:pt x="3502" y="1354"/>
                    <a:pt x="3474" y="1270"/>
                  </a:cubicBezTo>
                  <a:cubicBezTo>
                    <a:pt x="3439" y="1148"/>
                    <a:pt x="3600" y="1032"/>
                    <a:pt x="3768" y="910"/>
                  </a:cubicBezTo>
                  <a:cubicBezTo>
                    <a:pt x="3820" y="875"/>
                    <a:pt x="3869" y="836"/>
                    <a:pt x="3918" y="794"/>
                  </a:cubicBezTo>
                  <a:cubicBezTo>
                    <a:pt x="3826" y="680"/>
                    <a:pt x="3133" y="437"/>
                    <a:pt x="2700" y="437"/>
                  </a:cubicBezTo>
                  <a:cubicBezTo>
                    <a:pt x="2641" y="437"/>
                    <a:pt x="2586" y="441"/>
                    <a:pt x="2539" y="451"/>
                  </a:cubicBezTo>
                  <a:cubicBezTo>
                    <a:pt x="2461" y="468"/>
                    <a:pt x="2388" y="476"/>
                    <a:pt x="2319" y="476"/>
                  </a:cubicBezTo>
                  <a:cubicBezTo>
                    <a:pt x="2056" y="476"/>
                    <a:pt x="1848" y="367"/>
                    <a:pt x="1615" y="248"/>
                  </a:cubicBezTo>
                  <a:cubicBezTo>
                    <a:pt x="1527" y="199"/>
                    <a:pt x="1436" y="154"/>
                    <a:pt x="1335" y="108"/>
                  </a:cubicBezTo>
                  <a:cubicBezTo>
                    <a:pt x="1171" y="35"/>
                    <a:pt x="899" y="0"/>
                    <a:pt x="643"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470" name="Google Shape;5470;p104"/>
            <p:cNvSpPr/>
            <p:nvPr/>
          </p:nvSpPr>
          <p:spPr>
            <a:xfrm>
              <a:off x="1366386" y="1297251"/>
              <a:ext cx="10237" cy="5092"/>
            </a:xfrm>
            <a:custGeom>
              <a:avLst/>
              <a:gdLst/>
              <a:ahLst/>
              <a:cxnLst/>
              <a:rect l="l" t="t" r="r" b="b"/>
              <a:pathLst>
                <a:path w="754" h="375" extrusionOk="0">
                  <a:moveTo>
                    <a:pt x="415" y="0"/>
                  </a:moveTo>
                  <a:cubicBezTo>
                    <a:pt x="409" y="0"/>
                    <a:pt x="402" y="0"/>
                    <a:pt x="396" y="0"/>
                  </a:cubicBezTo>
                  <a:cubicBezTo>
                    <a:pt x="391" y="0"/>
                    <a:pt x="386" y="0"/>
                    <a:pt x="380" y="0"/>
                  </a:cubicBezTo>
                  <a:cubicBezTo>
                    <a:pt x="281" y="0"/>
                    <a:pt x="185" y="31"/>
                    <a:pt x="102" y="88"/>
                  </a:cubicBezTo>
                  <a:cubicBezTo>
                    <a:pt x="36" y="133"/>
                    <a:pt x="1" y="190"/>
                    <a:pt x="8" y="235"/>
                  </a:cubicBezTo>
                  <a:cubicBezTo>
                    <a:pt x="11" y="277"/>
                    <a:pt x="57" y="312"/>
                    <a:pt x="134" y="344"/>
                  </a:cubicBezTo>
                  <a:cubicBezTo>
                    <a:pt x="191" y="365"/>
                    <a:pt x="253" y="374"/>
                    <a:pt x="314" y="374"/>
                  </a:cubicBezTo>
                  <a:cubicBezTo>
                    <a:pt x="504" y="374"/>
                    <a:pt x="688" y="286"/>
                    <a:pt x="725" y="197"/>
                  </a:cubicBezTo>
                  <a:cubicBezTo>
                    <a:pt x="753" y="133"/>
                    <a:pt x="680" y="84"/>
                    <a:pt x="613" y="49"/>
                  </a:cubicBezTo>
                  <a:cubicBezTo>
                    <a:pt x="552" y="17"/>
                    <a:pt x="483" y="0"/>
                    <a:pt x="415"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471" name="Google Shape;5471;p104"/>
            <p:cNvSpPr/>
            <p:nvPr/>
          </p:nvSpPr>
          <p:spPr>
            <a:xfrm>
              <a:off x="1325409" y="1232744"/>
              <a:ext cx="83529" cy="54948"/>
            </a:xfrm>
            <a:custGeom>
              <a:avLst/>
              <a:gdLst/>
              <a:ahLst/>
              <a:cxnLst/>
              <a:rect l="l" t="t" r="r" b="b"/>
              <a:pathLst>
                <a:path w="6152" h="4047" extrusionOk="0">
                  <a:moveTo>
                    <a:pt x="1533" y="1"/>
                  </a:moveTo>
                  <a:cubicBezTo>
                    <a:pt x="1488" y="1"/>
                    <a:pt x="1454" y="5"/>
                    <a:pt x="1433" y="8"/>
                  </a:cubicBezTo>
                  <a:cubicBezTo>
                    <a:pt x="1384" y="15"/>
                    <a:pt x="1342" y="29"/>
                    <a:pt x="1300" y="53"/>
                  </a:cubicBezTo>
                  <a:cubicBezTo>
                    <a:pt x="1314" y="57"/>
                    <a:pt x="1331" y="64"/>
                    <a:pt x="1345" y="64"/>
                  </a:cubicBezTo>
                  <a:cubicBezTo>
                    <a:pt x="1573" y="109"/>
                    <a:pt x="1702" y="197"/>
                    <a:pt x="1688" y="305"/>
                  </a:cubicBezTo>
                  <a:cubicBezTo>
                    <a:pt x="1679" y="371"/>
                    <a:pt x="1609" y="438"/>
                    <a:pt x="1445" y="438"/>
                  </a:cubicBezTo>
                  <a:cubicBezTo>
                    <a:pt x="1424" y="438"/>
                    <a:pt x="1401" y="437"/>
                    <a:pt x="1377" y="435"/>
                  </a:cubicBezTo>
                  <a:cubicBezTo>
                    <a:pt x="1325" y="431"/>
                    <a:pt x="1273" y="429"/>
                    <a:pt x="1223" y="429"/>
                  </a:cubicBezTo>
                  <a:cubicBezTo>
                    <a:pt x="1086" y="429"/>
                    <a:pt x="962" y="442"/>
                    <a:pt x="901" y="463"/>
                  </a:cubicBezTo>
                  <a:cubicBezTo>
                    <a:pt x="946" y="487"/>
                    <a:pt x="995" y="512"/>
                    <a:pt x="1041" y="529"/>
                  </a:cubicBezTo>
                  <a:cubicBezTo>
                    <a:pt x="1174" y="578"/>
                    <a:pt x="1303" y="641"/>
                    <a:pt x="1286" y="746"/>
                  </a:cubicBezTo>
                  <a:cubicBezTo>
                    <a:pt x="1261" y="894"/>
                    <a:pt x="876" y="922"/>
                    <a:pt x="558" y="922"/>
                  </a:cubicBezTo>
                  <a:cubicBezTo>
                    <a:pt x="390" y="922"/>
                    <a:pt x="323" y="1020"/>
                    <a:pt x="320" y="1104"/>
                  </a:cubicBezTo>
                  <a:cubicBezTo>
                    <a:pt x="309" y="1223"/>
                    <a:pt x="414" y="1366"/>
                    <a:pt x="663" y="1398"/>
                  </a:cubicBezTo>
                  <a:cubicBezTo>
                    <a:pt x="838" y="1422"/>
                    <a:pt x="943" y="1475"/>
                    <a:pt x="971" y="1555"/>
                  </a:cubicBezTo>
                  <a:cubicBezTo>
                    <a:pt x="988" y="1608"/>
                    <a:pt x="974" y="1664"/>
                    <a:pt x="932" y="1699"/>
                  </a:cubicBezTo>
                  <a:cubicBezTo>
                    <a:pt x="868" y="1770"/>
                    <a:pt x="727" y="1823"/>
                    <a:pt x="561" y="1823"/>
                  </a:cubicBezTo>
                  <a:cubicBezTo>
                    <a:pt x="492" y="1823"/>
                    <a:pt x="418" y="1814"/>
                    <a:pt x="344" y="1793"/>
                  </a:cubicBezTo>
                  <a:cubicBezTo>
                    <a:pt x="256" y="1769"/>
                    <a:pt x="187" y="1760"/>
                    <a:pt x="135" y="1760"/>
                  </a:cubicBezTo>
                  <a:cubicBezTo>
                    <a:pt x="54" y="1760"/>
                    <a:pt x="14" y="1782"/>
                    <a:pt x="8" y="1797"/>
                  </a:cubicBezTo>
                  <a:cubicBezTo>
                    <a:pt x="1" y="1818"/>
                    <a:pt x="36" y="1884"/>
                    <a:pt x="197" y="1965"/>
                  </a:cubicBezTo>
                  <a:cubicBezTo>
                    <a:pt x="334" y="2028"/>
                    <a:pt x="439" y="2143"/>
                    <a:pt x="481" y="2287"/>
                  </a:cubicBezTo>
                  <a:cubicBezTo>
                    <a:pt x="519" y="2385"/>
                    <a:pt x="554" y="2472"/>
                    <a:pt x="729" y="2546"/>
                  </a:cubicBezTo>
                  <a:cubicBezTo>
                    <a:pt x="795" y="2575"/>
                    <a:pt x="890" y="2586"/>
                    <a:pt x="999" y="2586"/>
                  </a:cubicBezTo>
                  <a:cubicBezTo>
                    <a:pt x="1163" y="2586"/>
                    <a:pt x="1359" y="2562"/>
                    <a:pt x="1541" y="2539"/>
                  </a:cubicBezTo>
                  <a:cubicBezTo>
                    <a:pt x="1728" y="2514"/>
                    <a:pt x="1897" y="2492"/>
                    <a:pt x="2034" y="2492"/>
                  </a:cubicBezTo>
                  <a:cubicBezTo>
                    <a:pt x="2205" y="2492"/>
                    <a:pt x="2325" y="2526"/>
                    <a:pt x="2364" y="2633"/>
                  </a:cubicBezTo>
                  <a:cubicBezTo>
                    <a:pt x="2382" y="2672"/>
                    <a:pt x="2378" y="2717"/>
                    <a:pt x="2357" y="2756"/>
                  </a:cubicBezTo>
                  <a:cubicBezTo>
                    <a:pt x="2291" y="2875"/>
                    <a:pt x="2066" y="2931"/>
                    <a:pt x="1737" y="3001"/>
                  </a:cubicBezTo>
                  <a:cubicBezTo>
                    <a:pt x="1622" y="3022"/>
                    <a:pt x="1510" y="3050"/>
                    <a:pt x="1401" y="3089"/>
                  </a:cubicBezTo>
                  <a:cubicBezTo>
                    <a:pt x="1503" y="3162"/>
                    <a:pt x="1608" y="3225"/>
                    <a:pt x="1716" y="3281"/>
                  </a:cubicBezTo>
                  <a:cubicBezTo>
                    <a:pt x="1989" y="3432"/>
                    <a:pt x="2154" y="3530"/>
                    <a:pt x="2182" y="3638"/>
                  </a:cubicBezTo>
                  <a:cubicBezTo>
                    <a:pt x="2186" y="3663"/>
                    <a:pt x="2186" y="3691"/>
                    <a:pt x="2175" y="3715"/>
                  </a:cubicBezTo>
                  <a:cubicBezTo>
                    <a:pt x="2252" y="3803"/>
                    <a:pt x="2770" y="4002"/>
                    <a:pt x="3131" y="4041"/>
                  </a:cubicBezTo>
                  <a:cubicBezTo>
                    <a:pt x="3169" y="4045"/>
                    <a:pt x="3200" y="4046"/>
                    <a:pt x="3226" y="4046"/>
                  </a:cubicBezTo>
                  <a:cubicBezTo>
                    <a:pt x="3319" y="4046"/>
                    <a:pt x="3341" y="4027"/>
                    <a:pt x="3341" y="4027"/>
                  </a:cubicBezTo>
                  <a:cubicBezTo>
                    <a:pt x="3416" y="3905"/>
                    <a:pt x="3548" y="3864"/>
                    <a:pt x="3694" y="3864"/>
                  </a:cubicBezTo>
                  <a:cubicBezTo>
                    <a:pt x="3868" y="3864"/>
                    <a:pt x="4060" y="3923"/>
                    <a:pt x="4195" y="3974"/>
                  </a:cubicBezTo>
                  <a:cubicBezTo>
                    <a:pt x="4206" y="3978"/>
                    <a:pt x="4217" y="3981"/>
                    <a:pt x="4227" y="3981"/>
                  </a:cubicBezTo>
                  <a:cubicBezTo>
                    <a:pt x="4311" y="3981"/>
                    <a:pt x="4368" y="3847"/>
                    <a:pt x="4440" y="3663"/>
                  </a:cubicBezTo>
                  <a:cubicBezTo>
                    <a:pt x="4500" y="3512"/>
                    <a:pt x="4549" y="3383"/>
                    <a:pt x="4643" y="3355"/>
                  </a:cubicBezTo>
                  <a:cubicBezTo>
                    <a:pt x="4655" y="3352"/>
                    <a:pt x="4668" y="3350"/>
                    <a:pt x="4680" y="3350"/>
                  </a:cubicBezTo>
                  <a:cubicBezTo>
                    <a:pt x="4711" y="3350"/>
                    <a:pt x="4741" y="3359"/>
                    <a:pt x="4766" y="3379"/>
                  </a:cubicBezTo>
                  <a:cubicBezTo>
                    <a:pt x="4776" y="3390"/>
                    <a:pt x="4794" y="3393"/>
                    <a:pt x="4811" y="3393"/>
                  </a:cubicBezTo>
                  <a:cubicBezTo>
                    <a:pt x="4832" y="3390"/>
                    <a:pt x="4871" y="3327"/>
                    <a:pt x="4902" y="3271"/>
                  </a:cubicBezTo>
                  <a:cubicBezTo>
                    <a:pt x="4969" y="3152"/>
                    <a:pt x="5063" y="2991"/>
                    <a:pt x="5263" y="2910"/>
                  </a:cubicBezTo>
                  <a:cubicBezTo>
                    <a:pt x="5420" y="2854"/>
                    <a:pt x="5581" y="2812"/>
                    <a:pt x="5746" y="2780"/>
                  </a:cubicBezTo>
                  <a:cubicBezTo>
                    <a:pt x="5910" y="2749"/>
                    <a:pt x="6134" y="2703"/>
                    <a:pt x="6145" y="2644"/>
                  </a:cubicBezTo>
                  <a:cubicBezTo>
                    <a:pt x="6152" y="2612"/>
                    <a:pt x="6141" y="2577"/>
                    <a:pt x="6117" y="2556"/>
                  </a:cubicBezTo>
                  <a:cubicBezTo>
                    <a:pt x="6091" y="2527"/>
                    <a:pt x="6013" y="2468"/>
                    <a:pt x="5814" y="2468"/>
                  </a:cubicBezTo>
                  <a:cubicBezTo>
                    <a:pt x="5775" y="2468"/>
                    <a:pt x="5732" y="2471"/>
                    <a:pt x="5683" y="2476"/>
                  </a:cubicBezTo>
                  <a:cubicBezTo>
                    <a:pt x="5630" y="2482"/>
                    <a:pt x="5579" y="2485"/>
                    <a:pt x="5530" y="2485"/>
                  </a:cubicBezTo>
                  <a:cubicBezTo>
                    <a:pt x="5294" y="2485"/>
                    <a:pt x="5109" y="2416"/>
                    <a:pt x="5042" y="2297"/>
                  </a:cubicBezTo>
                  <a:cubicBezTo>
                    <a:pt x="5014" y="2245"/>
                    <a:pt x="4986" y="2143"/>
                    <a:pt x="5091" y="2007"/>
                  </a:cubicBezTo>
                  <a:cubicBezTo>
                    <a:pt x="5105" y="1996"/>
                    <a:pt x="5112" y="1975"/>
                    <a:pt x="5112" y="1958"/>
                  </a:cubicBezTo>
                  <a:cubicBezTo>
                    <a:pt x="5105" y="1919"/>
                    <a:pt x="5028" y="1867"/>
                    <a:pt x="4965" y="1828"/>
                  </a:cubicBezTo>
                  <a:cubicBezTo>
                    <a:pt x="4874" y="1769"/>
                    <a:pt x="4787" y="1716"/>
                    <a:pt x="4783" y="1629"/>
                  </a:cubicBezTo>
                  <a:cubicBezTo>
                    <a:pt x="4783" y="1569"/>
                    <a:pt x="4811" y="1517"/>
                    <a:pt x="4860" y="1485"/>
                  </a:cubicBezTo>
                  <a:cubicBezTo>
                    <a:pt x="4892" y="1461"/>
                    <a:pt x="4885" y="1450"/>
                    <a:pt x="4881" y="1443"/>
                  </a:cubicBezTo>
                  <a:cubicBezTo>
                    <a:pt x="4856" y="1399"/>
                    <a:pt x="4743" y="1357"/>
                    <a:pt x="4658" y="1357"/>
                  </a:cubicBezTo>
                  <a:cubicBezTo>
                    <a:pt x="4635" y="1357"/>
                    <a:pt x="4614" y="1360"/>
                    <a:pt x="4598" y="1366"/>
                  </a:cubicBezTo>
                  <a:cubicBezTo>
                    <a:pt x="4580" y="1373"/>
                    <a:pt x="4566" y="1384"/>
                    <a:pt x="4577" y="1422"/>
                  </a:cubicBezTo>
                  <a:cubicBezTo>
                    <a:pt x="4608" y="1548"/>
                    <a:pt x="4552" y="1611"/>
                    <a:pt x="4489" y="1625"/>
                  </a:cubicBezTo>
                  <a:cubicBezTo>
                    <a:pt x="4476" y="1629"/>
                    <a:pt x="4462" y="1630"/>
                    <a:pt x="4448" y="1630"/>
                  </a:cubicBezTo>
                  <a:cubicBezTo>
                    <a:pt x="4282" y="1630"/>
                    <a:pt x="3997" y="1424"/>
                    <a:pt x="3939" y="1216"/>
                  </a:cubicBezTo>
                  <a:cubicBezTo>
                    <a:pt x="3915" y="1125"/>
                    <a:pt x="3677" y="1034"/>
                    <a:pt x="3421" y="936"/>
                  </a:cubicBezTo>
                  <a:cubicBezTo>
                    <a:pt x="3057" y="796"/>
                    <a:pt x="2602" y="624"/>
                    <a:pt x="2238" y="298"/>
                  </a:cubicBezTo>
                  <a:cubicBezTo>
                    <a:pt x="1951" y="44"/>
                    <a:pt x="1683" y="1"/>
                    <a:pt x="1533" y="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472" name="Google Shape;5472;p104"/>
            <p:cNvSpPr/>
            <p:nvPr/>
          </p:nvSpPr>
          <p:spPr>
            <a:xfrm>
              <a:off x="1360263" y="1200633"/>
              <a:ext cx="230111" cy="117201"/>
            </a:xfrm>
            <a:custGeom>
              <a:avLst/>
              <a:gdLst/>
              <a:ahLst/>
              <a:cxnLst/>
              <a:rect l="l" t="t" r="r" b="b"/>
              <a:pathLst>
                <a:path w="16948" h="8632" extrusionOk="0">
                  <a:moveTo>
                    <a:pt x="10770" y="0"/>
                  </a:moveTo>
                  <a:cubicBezTo>
                    <a:pt x="10609" y="0"/>
                    <a:pt x="10441" y="49"/>
                    <a:pt x="10342" y="118"/>
                  </a:cubicBezTo>
                  <a:cubicBezTo>
                    <a:pt x="10324" y="129"/>
                    <a:pt x="10261" y="178"/>
                    <a:pt x="10279" y="213"/>
                  </a:cubicBezTo>
                  <a:cubicBezTo>
                    <a:pt x="10338" y="349"/>
                    <a:pt x="10289" y="412"/>
                    <a:pt x="10258" y="437"/>
                  </a:cubicBezTo>
                  <a:cubicBezTo>
                    <a:pt x="10232" y="456"/>
                    <a:pt x="10200" y="465"/>
                    <a:pt x="10165" y="465"/>
                  </a:cubicBezTo>
                  <a:cubicBezTo>
                    <a:pt x="10048" y="465"/>
                    <a:pt x="9890" y="370"/>
                    <a:pt x="9764" y="265"/>
                  </a:cubicBezTo>
                  <a:cubicBezTo>
                    <a:pt x="9683" y="197"/>
                    <a:pt x="9574" y="175"/>
                    <a:pt x="9448" y="175"/>
                  </a:cubicBezTo>
                  <a:cubicBezTo>
                    <a:pt x="9339" y="175"/>
                    <a:pt x="9218" y="192"/>
                    <a:pt x="9088" y="209"/>
                  </a:cubicBezTo>
                  <a:cubicBezTo>
                    <a:pt x="8943" y="226"/>
                    <a:pt x="8796" y="244"/>
                    <a:pt x="8647" y="244"/>
                  </a:cubicBezTo>
                  <a:cubicBezTo>
                    <a:pt x="8577" y="244"/>
                    <a:pt x="8507" y="240"/>
                    <a:pt x="8437" y="230"/>
                  </a:cubicBezTo>
                  <a:cubicBezTo>
                    <a:pt x="8404" y="226"/>
                    <a:pt x="8375" y="224"/>
                    <a:pt x="8349" y="224"/>
                  </a:cubicBezTo>
                  <a:cubicBezTo>
                    <a:pt x="8217" y="224"/>
                    <a:pt x="8164" y="278"/>
                    <a:pt x="8108" y="342"/>
                  </a:cubicBezTo>
                  <a:cubicBezTo>
                    <a:pt x="8038" y="414"/>
                    <a:pt x="7970" y="471"/>
                    <a:pt x="7853" y="471"/>
                  </a:cubicBezTo>
                  <a:cubicBezTo>
                    <a:pt x="7781" y="471"/>
                    <a:pt x="7692" y="450"/>
                    <a:pt x="7572" y="398"/>
                  </a:cubicBezTo>
                  <a:cubicBezTo>
                    <a:pt x="7362" y="305"/>
                    <a:pt x="7137" y="258"/>
                    <a:pt x="6911" y="258"/>
                  </a:cubicBezTo>
                  <a:cubicBezTo>
                    <a:pt x="6840" y="258"/>
                    <a:pt x="6768" y="263"/>
                    <a:pt x="6697" y="272"/>
                  </a:cubicBezTo>
                  <a:cubicBezTo>
                    <a:pt x="6725" y="304"/>
                    <a:pt x="6736" y="349"/>
                    <a:pt x="6722" y="388"/>
                  </a:cubicBezTo>
                  <a:cubicBezTo>
                    <a:pt x="6691" y="469"/>
                    <a:pt x="6576" y="519"/>
                    <a:pt x="6445" y="519"/>
                  </a:cubicBezTo>
                  <a:cubicBezTo>
                    <a:pt x="6395" y="519"/>
                    <a:pt x="6342" y="512"/>
                    <a:pt x="6291" y="496"/>
                  </a:cubicBezTo>
                  <a:cubicBezTo>
                    <a:pt x="6245" y="482"/>
                    <a:pt x="6200" y="476"/>
                    <a:pt x="6159" y="476"/>
                  </a:cubicBezTo>
                  <a:cubicBezTo>
                    <a:pt x="6098" y="476"/>
                    <a:pt x="6047" y="491"/>
                    <a:pt x="6022" y="521"/>
                  </a:cubicBezTo>
                  <a:cubicBezTo>
                    <a:pt x="5987" y="563"/>
                    <a:pt x="6008" y="626"/>
                    <a:pt x="6029" y="671"/>
                  </a:cubicBezTo>
                  <a:cubicBezTo>
                    <a:pt x="6053" y="710"/>
                    <a:pt x="6053" y="755"/>
                    <a:pt x="6029" y="794"/>
                  </a:cubicBezTo>
                  <a:cubicBezTo>
                    <a:pt x="5993" y="849"/>
                    <a:pt x="5916" y="865"/>
                    <a:pt x="5791" y="865"/>
                  </a:cubicBezTo>
                  <a:cubicBezTo>
                    <a:pt x="5734" y="865"/>
                    <a:pt x="5666" y="861"/>
                    <a:pt x="5587" y="857"/>
                  </a:cubicBezTo>
                  <a:cubicBezTo>
                    <a:pt x="5515" y="852"/>
                    <a:pt x="5424" y="845"/>
                    <a:pt x="5344" y="845"/>
                  </a:cubicBezTo>
                  <a:cubicBezTo>
                    <a:pt x="5253" y="845"/>
                    <a:pt x="5174" y="854"/>
                    <a:pt x="5146" y="881"/>
                  </a:cubicBezTo>
                  <a:cubicBezTo>
                    <a:pt x="5143" y="885"/>
                    <a:pt x="5139" y="888"/>
                    <a:pt x="5139" y="895"/>
                  </a:cubicBezTo>
                  <a:cubicBezTo>
                    <a:pt x="5139" y="1032"/>
                    <a:pt x="5055" y="1158"/>
                    <a:pt x="4929" y="1211"/>
                  </a:cubicBezTo>
                  <a:cubicBezTo>
                    <a:pt x="4869" y="1239"/>
                    <a:pt x="4803" y="1253"/>
                    <a:pt x="4736" y="1253"/>
                  </a:cubicBezTo>
                  <a:cubicBezTo>
                    <a:pt x="4614" y="1253"/>
                    <a:pt x="4487" y="1206"/>
                    <a:pt x="4376" y="1116"/>
                  </a:cubicBezTo>
                  <a:cubicBezTo>
                    <a:pt x="4206" y="972"/>
                    <a:pt x="3822" y="904"/>
                    <a:pt x="3614" y="904"/>
                  </a:cubicBezTo>
                  <a:cubicBezTo>
                    <a:pt x="3569" y="904"/>
                    <a:pt x="3533" y="907"/>
                    <a:pt x="3508" y="913"/>
                  </a:cubicBezTo>
                  <a:lnTo>
                    <a:pt x="3515" y="916"/>
                  </a:lnTo>
                  <a:cubicBezTo>
                    <a:pt x="3571" y="962"/>
                    <a:pt x="3592" y="1007"/>
                    <a:pt x="3578" y="1056"/>
                  </a:cubicBezTo>
                  <a:cubicBezTo>
                    <a:pt x="3550" y="1148"/>
                    <a:pt x="3406" y="1165"/>
                    <a:pt x="3207" y="1190"/>
                  </a:cubicBezTo>
                  <a:cubicBezTo>
                    <a:pt x="3130" y="1197"/>
                    <a:pt x="3053" y="1211"/>
                    <a:pt x="2976" y="1228"/>
                  </a:cubicBezTo>
                  <a:lnTo>
                    <a:pt x="2979" y="1232"/>
                  </a:lnTo>
                  <a:cubicBezTo>
                    <a:pt x="3102" y="1323"/>
                    <a:pt x="3088" y="1414"/>
                    <a:pt x="3067" y="1463"/>
                  </a:cubicBezTo>
                  <a:cubicBezTo>
                    <a:pt x="3009" y="1587"/>
                    <a:pt x="2790" y="1656"/>
                    <a:pt x="2658" y="1656"/>
                  </a:cubicBezTo>
                  <a:cubicBezTo>
                    <a:pt x="2638" y="1656"/>
                    <a:pt x="2620" y="1655"/>
                    <a:pt x="2605" y="1652"/>
                  </a:cubicBezTo>
                  <a:cubicBezTo>
                    <a:pt x="2556" y="1645"/>
                    <a:pt x="2517" y="1606"/>
                    <a:pt x="2510" y="1557"/>
                  </a:cubicBezTo>
                  <a:cubicBezTo>
                    <a:pt x="2493" y="1526"/>
                    <a:pt x="2374" y="1456"/>
                    <a:pt x="2199" y="1421"/>
                  </a:cubicBezTo>
                  <a:cubicBezTo>
                    <a:pt x="2136" y="1408"/>
                    <a:pt x="2078" y="1402"/>
                    <a:pt x="2024" y="1402"/>
                  </a:cubicBezTo>
                  <a:cubicBezTo>
                    <a:pt x="1916" y="1402"/>
                    <a:pt x="1828" y="1427"/>
                    <a:pt x="1772" y="1477"/>
                  </a:cubicBezTo>
                  <a:cubicBezTo>
                    <a:pt x="1698" y="1547"/>
                    <a:pt x="1631" y="1620"/>
                    <a:pt x="1572" y="1704"/>
                  </a:cubicBezTo>
                  <a:cubicBezTo>
                    <a:pt x="1498" y="1802"/>
                    <a:pt x="1442" y="1872"/>
                    <a:pt x="1362" y="1876"/>
                  </a:cubicBezTo>
                  <a:cubicBezTo>
                    <a:pt x="1313" y="1872"/>
                    <a:pt x="1267" y="1848"/>
                    <a:pt x="1239" y="1809"/>
                  </a:cubicBezTo>
                  <a:cubicBezTo>
                    <a:pt x="1208" y="1771"/>
                    <a:pt x="1117" y="1749"/>
                    <a:pt x="982" y="1749"/>
                  </a:cubicBezTo>
                  <a:cubicBezTo>
                    <a:pt x="781" y="1749"/>
                    <a:pt x="484" y="1799"/>
                    <a:pt x="151" y="1925"/>
                  </a:cubicBezTo>
                  <a:cubicBezTo>
                    <a:pt x="95" y="1942"/>
                    <a:pt x="46" y="1970"/>
                    <a:pt x="0" y="2005"/>
                  </a:cubicBezTo>
                  <a:cubicBezTo>
                    <a:pt x="25" y="2021"/>
                    <a:pt x="80" y="2031"/>
                    <a:pt x="150" y="2031"/>
                  </a:cubicBezTo>
                  <a:cubicBezTo>
                    <a:pt x="254" y="2031"/>
                    <a:pt x="389" y="2007"/>
                    <a:pt x="501" y="1935"/>
                  </a:cubicBezTo>
                  <a:cubicBezTo>
                    <a:pt x="637" y="1847"/>
                    <a:pt x="766" y="1813"/>
                    <a:pt x="861" y="1813"/>
                  </a:cubicBezTo>
                  <a:cubicBezTo>
                    <a:pt x="910" y="1813"/>
                    <a:pt x="950" y="1822"/>
                    <a:pt x="977" y="1837"/>
                  </a:cubicBezTo>
                  <a:cubicBezTo>
                    <a:pt x="1019" y="1858"/>
                    <a:pt x="1043" y="1900"/>
                    <a:pt x="1043" y="1942"/>
                  </a:cubicBezTo>
                  <a:cubicBezTo>
                    <a:pt x="1043" y="2009"/>
                    <a:pt x="987" y="2068"/>
                    <a:pt x="882" y="2117"/>
                  </a:cubicBezTo>
                  <a:cubicBezTo>
                    <a:pt x="837" y="2138"/>
                    <a:pt x="798" y="2163"/>
                    <a:pt x="763" y="2194"/>
                  </a:cubicBezTo>
                  <a:cubicBezTo>
                    <a:pt x="788" y="2202"/>
                    <a:pt x="843" y="2215"/>
                    <a:pt x="958" y="2215"/>
                  </a:cubicBezTo>
                  <a:cubicBezTo>
                    <a:pt x="990" y="2215"/>
                    <a:pt x="1026" y="2214"/>
                    <a:pt x="1068" y="2212"/>
                  </a:cubicBezTo>
                  <a:cubicBezTo>
                    <a:pt x="1098" y="2210"/>
                    <a:pt x="1125" y="2209"/>
                    <a:pt x="1148" y="2209"/>
                  </a:cubicBezTo>
                  <a:cubicBezTo>
                    <a:pt x="1220" y="2209"/>
                    <a:pt x="1266" y="2221"/>
                    <a:pt x="1281" y="2268"/>
                  </a:cubicBezTo>
                  <a:cubicBezTo>
                    <a:pt x="1302" y="2331"/>
                    <a:pt x="1250" y="2366"/>
                    <a:pt x="1176" y="2415"/>
                  </a:cubicBezTo>
                  <a:cubicBezTo>
                    <a:pt x="1099" y="2467"/>
                    <a:pt x="966" y="2558"/>
                    <a:pt x="966" y="2642"/>
                  </a:cubicBezTo>
                  <a:cubicBezTo>
                    <a:pt x="966" y="2698"/>
                    <a:pt x="1015" y="2719"/>
                    <a:pt x="1162" y="2747"/>
                  </a:cubicBezTo>
                  <a:cubicBezTo>
                    <a:pt x="1288" y="2772"/>
                    <a:pt x="1460" y="2807"/>
                    <a:pt x="1477" y="2975"/>
                  </a:cubicBezTo>
                  <a:cubicBezTo>
                    <a:pt x="1477" y="2992"/>
                    <a:pt x="1509" y="3031"/>
                    <a:pt x="1607" y="3066"/>
                  </a:cubicBezTo>
                  <a:cubicBezTo>
                    <a:pt x="1735" y="3115"/>
                    <a:pt x="1927" y="3144"/>
                    <a:pt x="2121" y="3144"/>
                  </a:cubicBezTo>
                  <a:cubicBezTo>
                    <a:pt x="2372" y="3144"/>
                    <a:pt x="2627" y="3095"/>
                    <a:pt x="2752" y="2978"/>
                  </a:cubicBezTo>
                  <a:cubicBezTo>
                    <a:pt x="2824" y="2912"/>
                    <a:pt x="2898" y="2854"/>
                    <a:pt x="2965" y="2854"/>
                  </a:cubicBezTo>
                  <a:cubicBezTo>
                    <a:pt x="2982" y="2854"/>
                    <a:pt x="2998" y="2858"/>
                    <a:pt x="3014" y="2866"/>
                  </a:cubicBezTo>
                  <a:cubicBezTo>
                    <a:pt x="3098" y="2912"/>
                    <a:pt x="3074" y="3045"/>
                    <a:pt x="3046" y="3196"/>
                  </a:cubicBezTo>
                  <a:cubicBezTo>
                    <a:pt x="3039" y="3231"/>
                    <a:pt x="3035" y="3262"/>
                    <a:pt x="3032" y="3294"/>
                  </a:cubicBezTo>
                  <a:cubicBezTo>
                    <a:pt x="3096" y="3370"/>
                    <a:pt x="3600" y="3470"/>
                    <a:pt x="4019" y="3470"/>
                  </a:cubicBezTo>
                  <a:cubicBezTo>
                    <a:pt x="4100" y="3470"/>
                    <a:pt x="4179" y="3467"/>
                    <a:pt x="4250" y="3458"/>
                  </a:cubicBezTo>
                  <a:cubicBezTo>
                    <a:pt x="4432" y="3437"/>
                    <a:pt x="4453" y="3399"/>
                    <a:pt x="4453" y="3399"/>
                  </a:cubicBezTo>
                  <a:cubicBezTo>
                    <a:pt x="4499" y="3244"/>
                    <a:pt x="4596" y="3197"/>
                    <a:pt x="4715" y="3197"/>
                  </a:cubicBezTo>
                  <a:cubicBezTo>
                    <a:pt x="4805" y="3197"/>
                    <a:pt x="4908" y="3224"/>
                    <a:pt x="5010" y="3252"/>
                  </a:cubicBezTo>
                  <a:cubicBezTo>
                    <a:pt x="5041" y="3262"/>
                    <a:pt x="5076" y="3269"/>
                    <a:pt x="5115" y="3280"/>
                  </a:cubicBezTo>
                  <a:cubicBezTo>
                    <a:pt x="5138" y="3285"/>
                    <a:pt x="5170" y="3288"/>
                    <a:pt x="5209" y="3288"/>
                  </a:cubicBezTo>
                  <a:cubicBezTo>
                    <a:pt x="5542" y="3288"/>
                    <a:pt x="6400" y="3086"/>
                    <a:pt x="6697" y="2873"/>
                  </a:cubicBezTo>
                  <a:cubicBezTo>
                    <a:pt x="6771" y="2821"/>
                    <a:pt x="6778" y="2786"/>
                    <a:pt x="6778" y="2779"/>
                  </a:cubicBezTo>
                  <a:cubicBezTo>
                    <a:pt x="6788" y="2653"/>
                    <a:pt x="6862" y="2628"/>
                    <a:pt x="6893" y="2625"/>
                  </a:cubicBezTo>
                  <a:cubicBezTo>
                    <a:pt x="6899" y="2624"/>
                    <a:pt x="6904" y="2624"/>
                    <a:pt x="6910" y="2624"/>
                  </a:cubicBezTo>
                  <a:cubicBezTo>
                    <a:pt x="6985" y="2624"/>
                    <a:pt x="7057" y="2688"/>
                    <a:pt x="7096" y="2786"/>
                  </a:cubicBezTo>
                  <a:cubicBezTo>
                    <a:pt x="7152" y="2926"/>
                    <a:pt x="7124" y="3136"/>
                    <a:pt x="6883" y="3301"/>
                  </a:cubicBezTo>
                  <a:cubicBezTo>
                    <a:pt x="6568" y="3514"/>
                    <a:pt x="6074" y="3567"/>
                    <a:pt x="5636" y="3612"/>
                  </a:cubicBezTo>
                  <a:cubicBezTo>
                    <a:pt x="5416" y="3637"/>
                    <a:pt x="5206" y="3654"/>
                    <a:pt x="5069" y="3700"/>
                  </a:cubicBezTo>
                  <a:cubicBezTo>
                    <a:pt x="4999" y="3721"/>
                    <a:pt x="4989" y="3738"/>
                    <a:pt x="4985" y="3738"/>
                  </a:cubicBezTo>
                  <a:cubicBezTo>
                    <a:pt x="4985" y="3798"/>
                    <a:pt x="5244" y="3962"/>
                    <a:pt x="5398" y="4060"/>
                  </a:cubicBezTo>
                  <a:cubicBezTo>
                    <a:pt x="5524" y="4141"/>
                    <a:pt x="5654" y="4225"/>
                    <a:pt x="5769" y="4312"/>
                  </a:cubicBezTo>
                  <a:cubicBezTo>
                    <a:pt x="5868" y="4386"/>
                    <a:pt x="5906" y="4445"/>
                    <a:pt x="5896" y="4501"/>
                  </a:cubicBezTo>
                  <a:cubicBezTo>
                    <a:pt x="5885" y="4543"/>
                    <a:pt x="5854" y="4575"/>
                    <a:pt x="5815" y="4582"/>
                  </a:cubicBezTo>
                  <a:cubicBezTo>
                    <a:pt x="5794" y="4588"/>
                    <a:pt x="5768" y="4591"/>
                    <a:pt x="5737" y="4591"/>
                  </a:cubicBezTo>
                  <a:cubicBezTo>
                    <a:pt x="5499" y="4591"/>
                    <a:pt x="5006" y="4405"/>
                    <a:pt x="4758" y="4141"/>
                  </a:cubicBezTo>
                  <a:cubicBezTo>
                    <a:pt x="4525" y="3893"/>
                    <a:pt x="4054" y="3765"/>
                    <a:pt x="3387" y="3765"/>
                  </a:cubicBezTo>
                  <a:cubicBezTo>
                    <a:pt x="3291" y="3765"/>
                    <a:pt x="3192" y="3768"/>
                    <a:pt x="3088" y="3773"/>
                  </a:cubicBezTo>
                  <a:cubicBezTo>
                    <a:pt x="2871" y="3787"/>
                    <a:pt x="2857" y="4029"/>
                    <a:pt x="2860" y="4102"/>
                  </a:cubicBezTo>
                  <a:cubicBezTo>
                    <a:pt x="2864" y="4298"/>
                    <a:pt x="2969" y="4515"/>
                    <a:pt x="3109" y="4515"/>
                  </a:cubicBezTo>
                  <a:cubicBezTo>
                    <a:pt x="3550" y="4515"/>
                    <a:pt x="3883" y="4729"/>
                    <a:pt x="4184" y="5201"/>
                  </a:cubicBezTo>
                  <a:cubicBezTo>
                    <a:pt x="4366" y="5485"/>
                    <a:pt x="4663" y="5569"/>
                    <a:pt x="4901" y="5639"/>
                  </a:cubicBezTo>
                  <a:cubicBezTo>
                    <a:pt x="5094" y="5695"/>
                    <a:pt x="5262" y="5741"/>
                    <a:pt x="5262" y="5895"/>
                  </a:cubicBezTo>
                  <a:cubicBezTo>
                    <a:pt x="5262" y="5933"/>
                    <a:pt x="5241" y="5975"/>
                    <a:pt x="5209" y="5996"/>
                  </a:cubicBezTo>
                  <a:cubicBezTo>
                    <a:pt x="5178" y="6019"/>
                    <a:pt x="5135" y="6030"/>
                    <a:pt x="5079" y="6030"/>
                  </a:cubicBezTo>
                  <a:cubicBezTo>
                    <a:pt x="4932" y="6030"/>
                    <a:pt x="4698" y="5958"/>
                    <a:pt x="4359" y="5849"/>
                  </a:cubicBezTo>
                  <a:cubicBezTo>
                    <a:pt x="4145" y="5776"/>
                    <a:pt x="3925" y="5716"/>
                    <a:pt x="3704" y="5667"/>
                  </a:cubicBezTo>
                  <a:cubicBezTo>
                    <a:pt x="3646" y="5657"/>
                    <a:pt x="3584" y="5651"/>
                    <a:pt x="3518" y="5651"/>
                  </a:cubicBezTo>
                  <a:cubicBezTo>
                    <a:pt x="3194" y="5651"/>
                    <a:pt x="2798" y="5775"/>
                    <a:pt x="2559" y="5961"/>
                  </a:cubicBezTo>
                  <a:cubicBezTo>
                    <a:pt x="2479" y="6024"/>
                    <a:pt x="2381" y="6122"/>
                    <a:pt x="2374" y="6238"/>
                  </a:cubicBezTo>
                  <a:cubicBezTo>
                    <a:pt x="2367" y="6297"/>
                    <a:pt x="2398" y="6353"/>
                    <a:pt x="2451" y="6381"/>
                  </a:cubicBezTo>
                  <a:cubicBezTo>
                    <a:pt x="2519" y="6424"/>
                    <a:pt x="2621" y="6444"/>
                    <a:pt x="2740" y="6444"/>
                  </a:cubicBezTo>
                  <a:cubicBezTo>
                    <a:pt x="2993" y="6444"/>
                    <a:pt x="3326" y="6354"/>
                    <a:pt x="3585" y="6199"/>
                  </a:cubicBezTo>
                  <a:cubicBezTo>
                    <a:pt x="3727" y="6116"/>
                    <a:pt x="3812" y="6077"/>
                    <a:pt x="3867" y="6077"/>
                  </a:cubicBezTo>
                  <a:cubicBezTo>
                    <a:pt x="3898" y="6077"/>
                    <a:pt x="3919" y="6089"/>
                    <a:pt x="3935" y="6112"/>
                  </a:cubicBezTo>
                  <a:cubicBezTo>
                    <a:pt x="3963" y="6150"/>
                    <a:pt x="4012" y="6217"/>
                    <a:pt x="3539" y="6644"/>
                  </a:cubicBezTo>
                  <a:cubicBezTo>
                    <a:pt x="3522" y="6665"/>
                    <a:pt x="3511" y="6679"/>
                    <a:pt x="3511" y="6693"/>
                  </a:cubicBezTo>
                  <a:cubicBezTo>
                    <a:pt x="3518" y="6749"/>
                    <a:pt x="3676" y="6843"/>
                    <a:pt x="3792" y="6913"/>
                  </a:cubicBezTo>
                  <a:cubicBezTo>
                    <a:pt x="3988" y="7032"/>
                    <a:pt x="4191" y="7155"/>
                    <a:pt x="4191" y="7323"/>
                  </a:cubicBezTo>
                  <a:cubicBezTo>
                    <a:pt x="4191" y="7453"/>
                    <a:pt x="4100" y="7544"/>
                    <a:pt x="3942" y="7565"/>
                  </a:cubicBezTo>
                  <a:cubicBezTo>
                    <a:pt x="3917" y="7568"/>
                    <a:pt x="3892" y="7569"/>
                    <a:pt x="3866" y="7569"/>
                  </a:cubicBezTo>
                  <a:cubicBezTo>
                    <a:pt x="3644" y="7569"/>
                    <a:pt x="3387" y="7452"/>
                    <a:pt x="3336" y="7270"/>
                  </a:cubicBezTo>
                  <a:cubicBezTo>
                    <a:pt x="3279" y="7062"/>
                    <a:pt x="3106" y="6827"/>
                    <a:pt x="2603" y="6827"/>
                  </a:cubicBezTo>
                  <a:cubicBezTo>
                    <a:pt x="2558" y="6827"/>
                    <a:pt x="2509" y="6829"/>
                    <a:pt x="2458" y="6833"/>
                  </a:cubicBezTo>
                  <a:cubicBezTo>
                    <a:pt x="2241" y="6847"/>
                    <a:pt x="2101" y="6920"/>
                    <a:pt x="2101" y="7015"/>
                  </a:cubicBezTo>
                  <a:cubicBezTo>
                    <a:pt x="2097" y="7109"/>
                    <a:pt x="2213" y="7211"/>
                    <a:pt x="2388" y="7235"/>
                  </a:cubicBezTo>
                  <a:cubicBezTo>
                    <a:pt x="2643" y="7267"/>
                    <a:pt x="2748" y="7390"/>
                    <a:pt x="2745" y="7498"/>
                  </a:cubicBezTo>
                  <a:cubicBezTo>
                    <a:pt x="2738" y="7596"/>
                    <a:pt x="2633" y="7705"/>
                    <a:pt x="2356" y="7705"/>
                  </a:cubicBezTo>
                  <a:cubicBezTo>
                    <a:pt x="1978" y="7705"/>
                    <a:pt x="1320" y="7901"/>
                    <a:pt x="1253" y="8069"/>
                  </a:cubicBezTo>
                  <a:cubicBezTo>
                    <a:pt x="1246" y="8079"/>
                    <a:pt x="1236" y="8104"/>
                    <a:pt x="1285" y="8149"/>
                  </a:cubicBezTo>
                  <a:cubicBezTo>
                    <a:pt x="1400" y="8255"/>
                    <a:pt x="1652" y="8280"/>
                    <a:pt x="1921" y="8280"/>
                  </a:cubicBezTo>
                  <a:cubicBezTo>
                    <a:pt x="2054" y="8280"/>
                    <a:pt x="2191" y="8274"/>
                    <a:pt x="2318" y="8268"/>
                  </a:cubicBezTo>
                  <a:cubicBezTo>
                    <a:pt x="2451" y="8262"/>
                    <a:pt x="2567" y="8258"/>
                    <a:pt x="2668" y="8258"/>
                  </a:cubicBezTo>
                  <a:cubicBezTo>
                    <a:pt x="2869" y="8258"/>
                    <a:pt x="3005" y="8276"/>
                    <a:pt x="3077" y="8342"/>
                  </a:cubicBezTo>
                  <a:cubicBezTo>
                    <a:pt x="3191" y="8441"/>
                    <a:pt x="3426" y="8509"/>
                    <a:pt x="3634" y="8509"/>
                  </a:cubicBezTo>
                  <a:cubicBezTo>
                    <a:pt x="3669" y="8509"/>
                    <a:pt x="3703" y="8507"/>
                    <a:pt x="3735" y="8503"/>
                  </a:cubicBezTo>
                  <a:cubicBezTo>
                    <a:pt x="3841" y="8489"/>
                    <a:pt x="3918" y="8454"/>
                    <a:pt x="3949" y="8405"/>
                  </a:cubicBezTo>
                  <a:cubicBezTo>
                    <a:pt x="4044" y="8261"/>
                    <a:pt x="4236" y="8230"/>
                    <a:pt x="4471" y="8230"/>
                  </a:cubicBezTo>
                  <a:cubicBezTo>
                    <a:pt x="4565" y="8230"/>
                    <a:pt x="4667" y="8237"/>
                    <a:pt x="4772" y="8240"/>
                  </a:cubicBezTo>
                  <a:cubicBezTo>
                    <a:pt x="4887" y="8247"/>
                    <a:pt x="5003" y="8254"/>
                    <a:pt x="5122" y="8254"/>
                  </a:cubicBezTo>
                  <a:cubicBezTo>
                    <a:pt x="5626" y="8254"/>
                    <a:pt x="5759" y="8331"/>
                    <a:pt x="5990" y="8534"/>
                  </a:cubicBezTo>
                  <a:cubicBezTo>
                    <a:pt x="6067" y="8602"/>
                    <a:pt x="6170" y="8632"/>
                    <a:pt x="6281" y="8632"/>
                  </a:cubicBezTo>
                  <a:cubicBezTo>
                    <a:pt x="6450" y="8632"/>
                    <a:pt x="6638" y="8564"/>
                    <a:pt x="6781" y="8461"/>
                  </a:cubicBezTo>
                  <a:cubicBezTo>
                    <a:pt x="7061" y="8258"/>
                    <a:pt x="7072" y="8254"/>
                    <a:pt x="7425" y="8254"/>
                  </a:cubicBezTo>
                  <a:cubicBezTo>
                    <a:pt x="7551" y="8254"/>
                    <a:pt x="7642" y="8219"/>
                    <a:pt x="7674" y="8160"/>
                  </a:cubicBezTo>
                  <a:cubicBezTo>
                    <a:pt x="7709" y="8097"/>
                    <a:pt x="7688" y="7988"/>
                    <a:pt x="7614" y="7869"/>
                  </a:cubicBezTo>
                  <a:cubicBezTo>
                    <a:pt x="7589" y="7829"/>
                    <a:pt x="7554" y="7813"/>
                    <a:pt x="7510" y="7813"/>
                  </a:cubicBezTo>
                  <a:cubicBezTo>
                    <a:pt x="7449" y="7813"/>
                    <a:pt x="7370" y="7844"/>
                    <a:pt x="7275" y="7887"/>
                  </a:cubicBezTo>
                  <a:cubicBezTo>
                    <a:pt x="7200" y="7918"/>
                    <a:pt x="7133" y="7949"/>
                    <a:pt x="7073" y="7949"/>
                  </a:cubicBezTo>
                  <a:cubicBezTo>
                    <a:pt x="7052" y="7949"/>
                    <a:pt x="7032" y="7945"/>
                    <a:pt x="7012" y="7936"/>
                  </a:cubicBezTo>
                  <a:cubicBezTo>
                    <a:pt x="6981" y="7918"/>
                    <a:pt x="6956" y="7887"/>
                    <a:pt x="6949" y="7848"/>
                  </a:cubicBezTo>
                  <a:cubicBezTo>
                    <a:pt x="6915" y="7710"/>
                    <a:pt x="6717" y="7639"/>
                    <a:pt x="6389" y="7639"/>
                  </a:cubicBezTo>
                  <a:cubicBezTo>
                    <a:pt x="6244" y="7639"/>
                    <a:pt x="6074" y="7652"/>
                    <a:pt x="5882" y="7680"/>
                  </a:cubicBezTo>
                  <a:cubicBezTo>
                    <a:pt x="5822" y="7688"/>
                    <a:pt x="5769" y="7692"/>
                    <a:pt x="5723" y="7692"/>
                  </a:cubicBezTo>
                  <a:cubicBezTo>
                    <a:pt x="5536" y="7692"/>
                    <a:pt x="5457" y="7631"/>
                    <a:pt x="5423" y="7572"/>
                  </a:cubicBezTo>
                  <a:cubicBezTo>
                    <a:pt x="5388" y="7502"/>
                    <a:pt x="5398" y="7418"/>
                    <a:pt x="5451" y="7358"/>
                  </a:cubicBezTo>
                  <a:cubicBezTo>
                    <a:pt x="5512" y="7280"/>
                    <a:pt x="5631" y="7215"/>
                    <a:pt x="5776" y="7215"/>
                  </a:cubicBezTo>
                  <a:cubicBezTo>
                    <a:pt x="5821" y="7215"/>
                    <a:pt x="5868" y="7221"/>
                    <a:pt x="5917" y="7235"/>
                  </a:cubicBezTo>
                  <a:cubicBezTo>
                    <a:pt x="6071" y="7281"/>
                    <a:pt x="6255" y="7303"/>
                    <a:pt x="6457" y="7303"/>
                  </a:cubicBezTo>
                  <a:cubicBezTo>
                    <a:pt x="6722" y="7303"/>
                    <a:pt x="7017" y="7264"/>
                    <a:pt x="7310" y="7186"/>
                  </a:cubicBezTo>
                  <a:cubicBezTo>
                    <a:pt x="7450" y="7151"/>
                    <a:pt x="7485" y="7113"/>
                    <a:pt x="7492" y="7092"/>
                  </a:cubicBezTo>
                  <a:cubicBezTo>
                    <a:pt x="7506" y="7057"/>
                    <a:pt x="7471" y="6994"/>
                    <a:pt x="7439" y="6934"/>
                  </a:cubicBezTo>
                  <a:cubicBezTo>
                    <a:pt x="7394" y="6868"/>
                    <a:pt x="7366" y="6794"/>
                    <a:pt x="7359" y="6714"/>
                  </a:cubicBezTo>
                  <a:cubicBezTo>
                    <a:pt x="7359" y="6675"/>
                    <a:pt x="7376" y="6637"/>
                    <a:pt x="7404" y="6609"/>
                  </a:cubicBezTo>
                  <a:cubicBezTo>
                    <a:pt x="7461" y="6556"/>
                    <a:pt x="7561" y="6539"/>
                    <a:pt x="7706" y="6539"/>
                  </a:cubicBezTo>
                  <a:cubicBezTo>
                    <a:pt x="7801" y="6539"/>
                    <a:pt x="7917" y="6547"/>
                    <a:pt x="8052" y="6556"/>
                  </a:cubicBezTo>
                  <a:cubicBezTo>
                    <a:pt x="8182" y="6567"/>
                    <a:pt x="8322" y="6577"/>
                    <a:pt x="8444" y="6577"/>
                  </a:cubicBezTo>
                  <a:cubicBezTo>
                    <a:pt x="8843" y="6577"/>
                    <a:pt x="9449" y="5895"/>
                    <a:pt x="9470" y="5524"/>
                  </a:cubicBezTo>
                  <a:cubicBezTo>
                    <a:pt x="9473" y="5482"/>
                    <a:pt x="9459" y="5443"/>
                    <a:pt x="9431" y="5415"/>
                  </a:cubicBezTo>
                  <a:cubicBezTo>
                    <a:pt x="9313" y="5289"/>
                    <a:pt x="8963" y="5267"/>
                    <a:pt x="8637" y="5267"/>
                  </a:cubicBezTo>
                  <a:cubicBezTo>
                    <a:pt x="8528" y="5267"/>
                    <a:pt x="8422" y="5270"/>
                    <a:pt x="8329" y="5272"/>
                  </a:cubicBezTo>
                  <a:cubicBezTo>
                    <a:pt x="8241" y="5275"/>
                    <a:pt x="8154" y="5279"/>
                    <a:pt x="8080" y="5279"/>
                  </a:cubicBezTo>
                  <a:cubicBezTo>
                    <a:pt x="7965" y="5279"/>
                    <a:pt x="7905" y="5258"/>
                    <a:pt x="7880" y="5212"/>
                  </a:cubicBezTo>
                  <a:cubicBezTo>
                    <a:pt x="7863" y="5184"/>
                    <a:pt x="7866" y="5149"/>
                    <a:pt x="7884" y="5121"/>
                  </a:cubicBezTo>
                  <a:cubicBezTo>
                    <a:pt x="7964" y="4993"/>
                    <a:pt x="8541" y="4826"/>
                    <a:pt x="9155" y="4826"/>
                  </a:cubicBezTo>
                  <a:cubicBezTo>
                    <a:pt x="9210" y="4826"/>
                    <a:pt x="9267" y="4827"/>
                    <a:pt x="9323" y="4830"/>
                  </a:cubicBezTo>
                  <a:cubicBezTo>
                    <a:pt x="9372" y="4833"/>
                    <a:pt x="9419" y="4834"/>
                    <a:pt x="9462" y="4834"/>
                  </a:cubicBezTo>
                  <a:cubicBezTo>
                    <a:pt x="9659" y="4834"/>
                    <a:pt x="9787" y="4807"/>
                    <a:pt x="9844" y="4750"/>
                  </a:cubicBezTo>
                  <a:cubicBezTo>
                    <a:pt x="9886" y="4711"/>
                    <a:pt x="9890" y="4659"/>
                    <a:pt x="9886" y="4575"/>
                  </a:cubicBezTo>
                  <a:cubicBezTo>
                    <a:pt x="9883" y="4494"/>
                    <a:pt x="9879" y="4400"/>
                    <a:pt x="9956" y="4340"/>
                  </a:cubicBezTo>
                  <a:cubicBezTo>
                    <a:pt x="10003" y="4299"/>
                    <a:pt x="10061" y="4284"/>
                    <a:pt x="10126" y="4284"/>
                  </a:cubicBezTo>
                  <a:cubicBezTo>
                    <a:pt x="10213" y="4284"/>
                    <a:pt x="10313" y="4310"/>
                    <a:pt x="10422" y="4340"/>
                  </a:cubicBezTo>
                  <a:cubicBezTo>
                    <a:pt x="10560" y="4376"/>
                    <a:pt x="10712" y="4415"/>
                    <a:pt x="10871" y="4415"/>
                  </a:cubicBezTo>
                  <a:cubicBezTo>
                    <a:pt x="10930" y="4415"/>
                    <a:pt x="10991" y="4410"/>
                    <a:pt x="11052" y="4396"/>
                  </a:cubicBezTo>
                  <a:cubicBezTo>
                    <a:pt x="11259" y="4354"/>
                    <a:pt x="11269" y="4256"/>
                    <a:pt x="11290" y="4144"/>
                  </a:cubicBezTo>
                  <a:cubicBezTo>
                    <a:pt x="11304" y="4046"/>
                    <a:pt x="11325" y="3910"/>
                    <a:pt x="11525" y="3910"/>
                  </a:cubicBezTo>
                  <a:cubicBezTo>
                    <a:pt x="11672" y="3910"/>
                    <a:pt x="12008" y="3717"/>
                    <a:pt x="12516" y="3423"/>
                  </a:cubicBezTo>
                  <a:cubicBezTo>
                    <a:pt x="12719" y="3304"/>
                    <a:pt x="12950" y="3171"/>
                    <a:pt x="13216" y="3020"/>
                  </a:cubicBezTo>
                  <a:cubicBezTo>
                    <a:pt x="13720" y="2740"/>
                    <a:pt x="14165" y="2621"/>
                    <a:pt x="14494" y="2537"/>
                  </a:cubicBezTo>
                  <a:cubicBezTo>
                    <a:pt x="14788" y="2460"/>
                    <a:pt x="14984" y="2408"/>
                    <a:pt x="15001" y="2292"/>
                  </a:cubicBezTo>
                  <a:cubicBezTo>
                    <a:pt x="15005" y="2289"/>
                    <a:pt x="15001" y="2282"/>
                    <a:pt x="14998" y="2278"/>
                  </a:cubicBezTo>
                  <a:cubicBezTo>
                    <a:pt x="14961" y="2239"/>
                    <a:pt x="14842" y="2226"/>
                    <a:pt x="14691" y="2226"/>
                  </a:cubicBezTo>
                  <a:cubicBezTo>
                    <a:pt x="14506" y="2226"/>
                    <a:pt x="14275" y="2245"/>
                    <a:pt x="14094" y="2261"/>
                  </a:cubicBezTo>
                  <a:cubicBezTo>
                    <a:pt x="13892" y="2279"/>
                    <a:pt x="13733" y="2291"/>
                    <a:pt x="13615" y="2291"/>
                  </a:cubicBezTo>
                  <a:cubicBezTo>
                    <a:pt x="13527" y="2291"/>
                    <a:pt x="13462" y="2284"/>
                    <a:pt x="13419" y="2268"/>
                  </a:cubicBezTo>
                  <a:cubicBezTo>
                    <a:pt x="13366" y="2254"/>
                    <a:pt x="13335" y="2201"/>
                    <a:pt x="13349" y="2149"/>
                  </a:cubicBezTo>
                  <a:cubicBezTo>
                    <a:pt x="13400" y="1991"/>
                    <a:pt x="14228" y="1839"/>
                    <a:pt x="14606" y="1839"/>
                  </a:cubicBezTo>
                  <a:cubicBezTo>
                    <a:pt x="14665" y="1839"/>
                    <a:pt x="14713" y="1843"/>
                    <a:pt x="14746" y="1851"/>
                  </a:cubicBezTo>
                  <a:cubicBezTo>
                    <a:pt x="14801" y="1865"/>
                    <a:pt x="14861" y="1874"/>
                    <a:pt x="14930" y="1874"/>
                  </a:cubicBezTo>
                  <a:cubicBezTo>
                    <a:pt x="15190" y="1874"/>
                    <a:pt x="15583" y="1755"/>
                    <a:pt x="16374" y="1368"/>
                  </a:cubicBezTo>
                  <a:cubicBezTo>
                    <a:pt x="16948" y="1088"/>
                    <a:pt x="16941" y="979"/>
                    <a:pt x="16941" y="979"/>
                  </a:cubicBezTo>
                  <a:cubicBezTo>
                    <a:pt x="16931" y="961"/>
                    <a:pt x="16864" y="941"/>
                    <a:pt x="16754" y="941"/>
                  </a:cubicBezTo>
                  <a:cubicBezTo>
                    <a:pt x="16700" y="941"/>
                    <a:pt x="16634" y="946"/>
                    <a:pt x="16559" y="958"/>
                  </a:cubicBezTo>
                  <a:cubicBezTo>
                    <a:pt x="16483" y="972"/>
                    <a:pt x="16407" y="978"/>
                    <a:pt x="16331" y="978"/>
                  </a:cubicBezTo>
                  <a:cubicBezTo>
                    <a:pt x="16089" y="978"/>
                    <a:pt x="15862" y="912"/>
                    <a:pt x="15736" y="797"/>
                  </a:cubicBezTo>
                  <a:cubicBezTo>
                    <a:pt x="15663" y="738"/>
                    <a:pt x="15624" y="643"/>
                    <a:pt x="15631" y="549"/>
                  </a:cubicBezTo>
                  <a:cubicBezTo>
                    <a:pt x="15631" y="524"/>
                    <a:pt x="15628" y="517"/>
                    <a:pt x="15624" y="517"/>
                  </a:cubicBezTo>
                  <a:cubicBezTo>
                    <a:pt x="15605" y="496"/>
                    <a:pt x="15547" y="490"/>
                    <a:pt x="15484" y="490"/>
                  </a:cubicBezTo>
                  <a:cubicBezTo>
                    <a:pt x="15434" y="490"/>
                    <a:pt x="15380" y="493"/>
                    <a:pt x="15337" y="496"/>
                  </a:cubicBezTo>
                  <a:cubicBezTo>
                    <a:pt x="15291" y="499"/>
                    <a:pt x="15246" y="502"/>
                    <a:pt x="15205" y="502"/>
                  </a:cubicBezTo>
                  <a:cubicBezTo>
                    <a:pt x="15101" y="502"/>
                    <a:pt x="15020" y="483"/>
                    <a:pt x="15005" y="398"/>
                  </a:cubicBezTo>
                  <a:cubicBezTo>
                    <a:pt x="14989" y="384"/>
                    <a:pt x="14944" y="376"/>
                    <a:pt x="14875" y="376"/>
                  </a:cubicBezTo>
                  <a:cubicBezTo>
                    <a:pt x="14688" y="376"/>
                    <a:pt x="14323" y="438"/>
                    <a:pt x="13853" y="619"/>
                  </a:cubicBezTo>
                  <a:cubicBezTo>
                    <a:pt x="13717" y="671"/>
                    <a:pt x="13637" y="691"/>
                    <a:pt x="13586" y="691"/>
                  </a:cubicBezTo>
                  <a:cubicBezTo>
                    <a:pt x="13552" y="691"/>
                    <a:pt x="13530" y="682"/>
                    <a:pt x="13513" y="668"/>
                  </a:cubicBezTo>
                  <a:cubicBezTo>
                    <a:pt x="13489" y="647"/>
                    <a:pt x="13478" y="615"/>
                    <a:pt x="13482" y="584"/>
                  </a:cubicBezTo>
                  <a:cubicBezTo>
                    <a:pt x="13499" y="489"/>
                    <a:pt x="13695" y="335"/>
                    <a:pt x="13863" y="237"/>
                  </a:cubicBezTo>
                  <a:cubicBezTo>
                    <a:pt x="13769" y="234"/>
                    <a:pt x="13653" y="230"/>
                    <a:pt x="13545" y="227"/>
                  </a:cubicBezTo>
                  <a:cubicBezTo>
                    <a:pt x="12862" y="209"/>
                    <a:pt x="12281" y="185"/>
                    <a:pt x="12096" y="52"/>
                  </a:cubicBezTo>
                  <a:cubicBezTo>
                    <a:pt x="12057" y="25"/>
                    <a:pt x="12017" y="13"/>
                    <a:pt x="11974" y="13"/>
                  </a:cubicBezTo>
                  <a:cubicBezTo>
                    <a:pt x="11894" y="13"/>
                    <a:pt x="11802" y="54"/>
                    <a:pt x="11686" y="111"/>
                  </a:cubicBezTo>
                  <a:cubicBezTo>
                    <a:pt x="11580" y="163"/>
                    <a:pt x="11465" y="220"/>
                    <a:pt x="11350" y="220"/>
                  </a:cubicBezTo>
                  <a:cubicBezTo>
                    <a:pt x="11270" y="220"/>
                    <a:pt x="11191" y="193"/>
                    <a:pt x="11115" y="118"/>
                  </a:cubicBezTo>
                  <a:cubicBezTo>
                    <a:pt x="11033" y="34"/>
                    <a:pt x="10903" y="0"/>
                    <a:pt x="10770"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473" name="Google Shape;5473;p104"/>
            <p:cNvSpPr/>
            <p:nvPr/>
          </p:nvSpPr>
          <p:spPr>
            <a:xfrm>
              <a:off x="1448150" y="1504498"/>
              <a:ext cx="5567" cy="6476"/>
            </a:xfrm>
            <a:custGeom>
              <a:avLst/>
              <a:gdLst/>
              <a:ahLst/>
              <a:cxnLst/>
              <a:rect l="l" t="t" r="r" b="b"/>
              <a:pathLst>
                <a:path w="410" h="477" extrusionOk="0">
                  <a:moveTo>
                    <a:pt x="252" y="0"/>
                  </a:moveTo>
                  <a:cubicBezTo>
                    <a:pt x="165" y="0"/>
                    <a:pt x="81" y="49"/>
                    <a:pt x="42" y="130"/>
                  </a:cubicBezTo>
                  <a:cubicBezTo>
                    <a:pt x="0" y="228"/>
                    <a:pt x="7" y="340"/>
                    <a:pt x="67" y="427"/>
                  </a:cubicBezTo>
                  <a:cubicBezTo>
                    <a:pt x="86" y="459"/>
                    <a:pt x="120" y="477"/>
                    <a:pt x="158" y="477"/>
                  </a:cubicBezTo>
                  <a:cubicBezTo>
                    <a:pt x="161" y="477"/>
                    <a:pt x="165" y="477"/>
                    <a:pt x="168" y="476"/>
                  </a:cubicBezTo>
                  <a:cubicBezTo>
                    <a:pt x="235" y="466"/>
                    <a:pt x="410" y="231"/>
                    <a:pt x="396" y="84"/>
                  </a:cubicBezTo>
                  <a:cubicBezTo>
                    <a:pt x="396" y="56"/>
                    <a:pt x="389" y="0"/>
                    <a:pt x="273"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474" name="Google Shape;5474;p104"/>
            <p:cNvSpPr/>
            <p:nvPr/>
          </p:nvSpPr>
          <p:spPr>
            <a:xfrm>
              <a:off x="1420818" y="1496650"/>
              <a:ext cx="12410" cy="7807"/>
            </a:xfrm>
            <a:custGeom>
              <a:avLst/>
              <a:gdLst/>
              <a:ahLst/>
              <a:cxnLst/>
              <a:rect l="l" t="t" r="r" b="b"/>
              <a:pathLst>
                <a:path w="914" h="575" extrusionOk="0">
                  <a:moveTo>
                    <a:pt x="875" y="0"/>
                  </a:moveTo>
                  <a:cubicBezTo>
                    <a:pt x="697" y="4"/>
                    <a:pt x="165" y="186"/>
                    <a:pt x="39" y="393"/>
                  </a:cubicBezTo>
                  <a:cubicBezTo>
                    <a:pt x="18" y="428"/>
                    <a:pt x="0" y="473"/>
                    <a:pt x="91" y="533"/>
                  </a:cubicBezTo>
                  <a:cubicBezTo>
                    <a:pt x="140" y="563"/>
                    <a:pt x="192" y="575"/>
                    <a:pt x="244" y="575"/>
                  </a:cubicBezTo>
                  <a:cubicBezTo>
                    <a:pt x="373" y="575"/>
                    <a:pt x="500" y="500"/>
                    <a:pt x="578" y="445"/>
                  </a:cubicBezTo>
                  <a:cubicBezTo>
                    <a:pt x="791" y="291"/>
                    <a:pt x="914" y="81"/>
                    <a:pt x="914" y="8"/>
                  </a:cubicBezTo>
                  <a:cubicBezTo>
                    <a:pt x="900" y="0"/>
                    <a:pt x="886" y="0"/>
                    <a:pt x="875"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475" name="Google Shape;5475;p104"/>
            <p:cNvSpPr/>
            <p:nvPr/>
          </p:nvSpPr>
          <p:spPr>
            <a:xfrm>
              <a:off x="1395483" y="1461851"/>
              <a:ext cx="49110" cy="30699"/>
            </a:xfrm>
            <a:custGeom>
              <a:avLst/>
              <a:gdLst/>
              <a:ahLst/>
              <a:cxnLst/>
              <a:rect l="l" t="t" r="r" b="b"/>
              <a:pathLst>
                <a:path w="3617" h="2261" extrusionOk="0">
                  <a:moveTo>
                    <a:pt x="1029" y="1"/>
                  </a:moveTo>
                  <a:cubicBezTo>
                    <a:pt x="900" y="1"/>
                    <a:pt x="641" y="169"/>
                    <a:pt x="627" y="438"/>
                  </a:cubicBezTo>
                  <a:cubicBezTo>
                    <a:pt x="623" y="575"/>
                    <a:pt x="581" y="712"/>
                    <a:pt x="504" y="827"/>
                  </a:cubicBezTo>
                  <a:cubicBezTo>
                    <a:pt x="452" y="915"/>
                    <a:pt x="417" y="967"/>
                    <a:pt x="476" y="1167"/>
                  </a:cubicBezTo>
                  <a:cubicBezTo>
                    <a:pt x="560" y="1450"/>
                    <a:pt x="340" y="1608"/>
                    <a:pt x="175" y="1720"/>
                  </a:cubicBezTo>
                  <a:cubicBezTo>
                    <a:pt x="70" y="1797"/>
                    <a:pt x="0" y="1849"/>
                    <a:pt x="18" y="1891"/>
                  </a:cubicBezTo>
                  <a:cubicBezTo>
                    <a:pt x="26" y="1923"/>
                    <a:pt x="43" y="1939"/>
                    <a:pt x="83" y="1939"/>
                  </a:cubicBezTo>
                  <a:cubicBezTo>
                    <a:pt x="123" y="1939"/>
                    <a:pt x="186" y="1923"/>
                    <a:pt x="287" y="1891"/>
                  </a:cubicBezTo>
                  <a:cubicBezTo>
                    <a:pt x="399" y="1853"/>
                    <a:pt x="515" y="1828"/>
                    <a:pt x="634" y="1825"/>
                  </a:cubicBezTo>
                  <a:cubicBezTo>
                    <a:pt x="641" y="1824"/>
                    <a:pt x="647" y="1823"/>
                    <a:pt x="654" y="1823"/>
                  </a:cubicBezTo>
                  <a:cubicBezTo>
                    <a:pt x="700" y="1823"/>
                    <a:pt x="747" y="1844"/>
                    <a:pt x="781" y="1877"/>
                  </a:cubicBezTo>
                  <a:cubicBezTo>
                    <a:pt x="830" y="1933"/>
                    <a:pt x="823" y="2014"/>
                    <a:pt x="816" y="2084"/>
                  </a:cubicBezTo>
                  <a:cubicBezTo>
                    <a:pt x="812" y="2140"/>
                    <a:pt x="805" y="2196"/>
                    <a:pt x="830" y="2224"/>
                  </a:cubicBezTo>
                  <a:cubicBezTo>
                    <a:pt x="858" y="2248"/>
                    <a:pt x="893" y="2259"/>
                    <a:pt x="931" y="2259"/>
                  </a:cubicBezTo>
                  <a:cubicBezTo>
                    <a:pt x="941" y="2260"/>
                    <a:pt x="951" y="2260"/>
                    <a:pt x="961" y="2260"/>
                  </a:cubicBezTo>
                  <a:cubicBezTo>
                    <a:pt x="1229" y="2260"/>
                    <a:pt x="1681" y="1958"/>
                    <a:pt x="1789" y="1783"/>
                  </a:cubicBezTo>
                  <a:cubicBezTo>
                    <a:pt x="1852" y="1678"/>
                    <a:pt x="1954" y="1604"/>
                    <a:pt x="2069" y="1580"/>
                  </a:cubicBezTo>
                  <a:cubicBezTo>
                    <a:pt x="2097" y="1574"/>
                    <a:pt x="2126" y="1571"/>
                    <a:pt x="2155" y="1571"/>
                  </a:cubicBezTo>
                  <a:cubicBezTo>
                    <a:pt x="2287" y="1571"/>
                    <a:pt x="2433" y="1628"/>
                    <a:pt x="2587" y="1737"/>
                  </a:cubicBezTo>
                  <a:cubicBezTo>
                    <a:pt x="2758" y="1858"/>
                    <a:pt x="3032" y="1920"/>
                    <a:pt x="3254" y="1920"/>
                  </a:cubicBezTo>
                  <a:cubicBezTo>
                    <a:pt x="3355" y="1920"/>
                    <a:pt x="3446" y="1907"/>
                    <a:pt x="3512" y="1881"/>
                  </a:cubicBezTo>
                  <a:cubicBezTo>
                    <a:pt x="3547" y="1867"/>
                    <a:pt x="3592" y="1842"/>
                    <a:pt x="3603" y="1804"/>
                  </a:cubicBezTo>
                  <a:cubicBezTo>
                    <a:pt x="3617" y="1734"/>
                    <a:pt x="3421" y="1650"/>
                    <a:pt x="3277" y="1587"/>
                  </a:cubicBezTo>
                  <a:cubicBezTo>
                    <a:pt x="3053" y="1489"/>
                    <a:pt x="2818" y="1384"/>
                    <a:pt x="2850" y="1198"/>
                  </a:cubicBezTo>
                  <a:cubicBezTo>
                    <a:pt x="2874" y="1058"/>
                    <a:pt x="2423" y="883"/>
                    <a:pt x="2150" y="778"/>
                  </a:cubicBezTo>
                  <a:cubicBezTo>
                    <a:pt x="2038" y="736"/>
                    <a:pt x="1926" y="691"/>
                    <a:pt x="1817" y="638"/>
                  </a:cubicBezTo>
                  <a:cubicBezTo>
                    <a:pt x="1744" y="600"/>
                    <a:pt x="1674" y="568"/>
                    <a:pt x="1597" y="537"/>
                  </a:cubicBezTo>
                  <a:cubicBezTo>
                    <a:pt x="1366" y="442"/>
                    <a:pt x="1103" y="330"/>
                    <a:pt x="1103" y="71"/>
                  </a:cubicBezTo>
                  <a:cubicBezTo>
                    <a:pt x="1103" y="32"/>
                    <a:pt x="1089" y="4"/>
                    <a:pt x="1033" y="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476" name="Google Shape;5476;p104"/>
            <p:cNvSpPr/>
            <p:nvPr/>
          </p:nvSpPr>
          <p:spPr>
            <a:xfrm>
              <a:off x="1373895" y="1355132"/>
              <a:ext cx="215339" cy="153181"/>
            </a:xfrm>
            <a:custGeom>
              <a:avLst/>
              <a:gdLst/>
              <a:ahLst/>
              <a:cxnLst/>
              <a:rect l="l" t="t" r="r" b="b"/>
              <a:pathLst>
                <a:path w="15860" h="11282" extrusionOk="0">
                  <a:moveTo>
                    <a:pt x="2393" y="1"/>
                  </a:moveTo>
                  <a:cubicBezTo>
                    <a:pt x="1949" y="1"/>
                    <a:pt x="1184" y="158"/>
                    <a:pt x="673" y="625"/>
                  </a:cubicBezTo>
                  <a:cubicBezTo>
                    <a:pt x="172" y="1080"/>
                    <a:pt x="1" y="1727"/>
                    <a:pt x="183" y="2452"/>
                  </a:cubicBezTo>
                  <a:cubicBezTo>
                    <a:pt x="200" y="2519"/>
                    <a:pt x="494" y="2536"/>
                    <a:pt x="687" y="2547"/>
                  </a:cubicBezTo>
                  <a:cubicBezTo>
                    <a:pt x="890" y="2557"/>
                    <a:pt x="1121" y="2571"/>
                    <a:pt x="1300" y="2624"/>
                  </a:cubicBezTo>
                  <a:cubicBezTo>
                    <a:pt x="1552" y="2697"/>
                    <a:pt x="1587" y="2795"/>
                    <a:pt x="1569" y="2862"/>
                  </a:cubicBezTo>
                  <a:cubicBezTo>
                    <a:pt x="1550" y="2961"/>
                    <a:pt x="1415" y="3004"/>
                    <a:pt x="1269" y="3004"/>
                  </a:cubicBezTo>
                  <a:cubicBezTo>
                    <a:pt x="1229" y="3004"/>
                    <a:pt x="1188" y="3001"/>
                    <a:pt x="1149" y="2995"/>
                  </a:cubicBezTo>
                  <a:lnTo>
                    <a:pt x="1093" y="2988"/>
                  </a:lnTo>
                  <a:cubicBezTo>
                    <a:pt x="956" y="2965"/>
                    <a:pt x="745" y="2933"/>
                    <a:pt x="590" y="2933"/>
                  </a:cubicBezTo>
                  <a:cubicBezTo>
                    <a:pt x="504" y="2933"/>
                    <a:pt x="436" y="2943"/>
                    <a:pt x="407" y="2970"/>
                  </a:cubicBezTo>
                  <a:cubicBezTo>
                    <a:pt x="400" y="2977"/>
                    <a:pt x="400" y="2988"/>
                    <a:pt x="400" y="2995"/>
                  </a:cubicBezTo>
                  <a:cubicBezTo>
                    <a:pt x="407" y="3044"/>
                    <a:pt x="480" y="3142"/>
                    <a:pt x="634" y="3250"/>
                  </a:cubicBezTo>
                  <a:cubicBezTo>
                    <a:pt x="813" y="3372"/>
                    <a:pt x="1074" y="3486"/>
                    <a:pt x="1281" y="3486"/>
                  </a:cubicBezTo>
                  <a:cubicBezTo>
                    <a:pt x="1318" y="3486"/>
                    <a:pt x="1354" y="3482"/>
                    <a:pt x="1387" y="3474"/>
                  </a:cubicBezTo>
                  <a:cubicBezTo>
                    <a:pt x="1543" y="3435"/>
                    <a:pt x="1644" y="3410"/>
                    <a:pt x="1720" y="3410"/>
                  </a:cubicBezTo>
                  <a:cubicBezTo>
                    <a:pt x="1838" y="3410"/>
                    <a:pt x="1897" y="3469"/>
                    <a:pt x="2014" y="3618"/>
                  </a:cubicBezTo>
                  <a:cubicBezTo>
                    <a:pt x="2119" y="3754"/>
                    <a:pt x="2392" y="3754"/>
                    <a:pt x="2714" y="3754"/>
                  </a:cubicBezTo>
                  <a:cubicBezTo>
                    <a:pt x="2826" y="3754"/>
                    <a:pt x="2942" y="3754"/>
                    <a:pt x="3057" y="3761"/>
                  </a:cubicBezTo>
                  <a:cubicBezTo>
                    <a:pt x="3358" y="3779"/>
                    <a:pt x="3680" y="3852"/>
                    <a:pt x="3939" y="3912"/>
                  </a:cubicBezTo>
                  <a:cubicBezTo>
                    <a:pt x="4079" y="3943"/>
                    <a:pt x="4198" y="3971"/>
                    <a:pt x="4275" y="3982"/>
                  </a:cubicBezTo>
                  <a:cubicBezTo>
                    <a:pt x="4289" y="3983"/>
                    <a:pt x="4303" y="3984"/>
                    <a:pt x="4317" y="3984"/>
                  </a:cubicBezTo>
                  <a:cubicBezTo>
                    <a:pt x="4504" y="3984"/>
                    <a:pt x="4717" y="3860"/>
                    <a:pt x="4769" y="3768"/>
                  </a:cubicBezTo>
                  <a:cubicBezTo>
                    <a:pt x="4792" y="3728"/>
                    <a:pt x="4837" y="3710"/>
                    <a:pt x="4915" y="3710"/>
                  </a:cubicBezTo>
                  <a:cubicBezTo>
                    <a:pt x="5027" y="3710"/>
                    <a:pt x="5204" y="3747"/>
                    <a:pt x="5480" y="3810"/>
                  </a:cubicBezTo>
                  <a:cubicBezTo>
                    <a:pt x="5683" y="3856"/>
                    <a:pt x="5910" y="3910"/>
                    <a:pt x="6029" y="3910"/>
                  </a:cubicBezTo>
                  <a:cubicBezTo>
                    <a:pt x="6039" y="3910"/>
                    <a:pt x="6049" y="3909"/>
                    <a:pt x="6057" y="3908"/>
                  </a:cubicBezTo>
                  <a:cubicBezTo>
                    <a:pt x="6106" y="3901"/>
                    <a:pt x="6134" y="3887"/>
                    <a:pt x="6134" y="3877"/>
                  </a:cubicBezTo>
                  <a:cubicBezTo>
                    <a:pt x="6141" y="3838"/>
                    <a:pt x="6064" y="3737"/>
                    <a:pt x="5963" y="3695"/>
                  </a:cubicBezTo>
                  <a:cubicBezTo>
                    <a:pt x="5889" y="3660"/>
                    <a:pt x="5837" y="3586"/>
                    <a:pt x="5833" y="3506"/>
                  </a:cubicBezTo>
                  <a:cubicBezTo>
                    <a:pt x="5823" y="3425"/>
                    <a:pt x="5858" y="3348"/>
                    <a:pt x="5921" y="3303"/>
                  </a:cubicBezTo>
                  <a:cubicBezTo>
                    <a:pt x="5943" y="3289"/>
                    <a:pt x="5975" y="3273"/>
                    <a:pt x="6020" y="3273"/>
                  </a:cubicBezTo>
                  <a:cubicBezTo>
                    <a:pt x="6055" y="3273"/>
                    <a:pt x="6096" y="3282"/>
                    <a:pt x="6145" y="3310"/>
                  </a:cubicBezTo>
                  <a:cubicBezTo>
                    <a:pt x="6211" y="3345"/>
                    <a:pt x="6281" y="3376"/>
                    <a:pt x="6351" y="3404"/>
                  </a:cubicBezTo>
                  <a:cubicBezTo>
                    <a:pt x="6558" y="3488"/>
                    <a:pt x="6768" y="3576"/>
                    <a:pt x="6831" y="3758"/>
                  </a:cubicBezTo>
                  <a:cubicBezTo>
                    <a:pt x="6848" y="3817"/>
                    <a:pt x="6887" y="3835"/>
                    <a:pt x="6950" y="3856"/>
                  </a:cubicBezTo>
                  <a:cubicBezTo>
                    <a:pt x="7013" y="3880"/>
                    <a:pt x="7104" y="3912"/>
                    <a:pt x="7125" y="4034"/>
                  </a:cubicBezTo>
                  <a:cubicBezTo>
                    <a:pt x="7136" y="4083"/>
                    <a:pt x="7353" y="4185"/>
                    <a:pt x="7479" y="4245"/>
                  </a:cubicBezTo>
                  <a:cubicBezTo>
                    <a:pt x="7720" y="4360"/>
                    <a:pt x="7934" y="4458"/>
                    <a:pt x="7948" y="4595"/>
                  </a:cubicBezTo>
                  <a:cubicBezTo>
                    <a:pt x="7965" y="4731"/>
                    <a:pt x="7780" y="4815"/>
                    <a:pt x="7598" y="4892"/>
                  </a:cubicBezTo>
                  <a:cubicBezTo>
                    <a:pt x="7528" y="4920"/>
                    <a:pt x="7405" y="4973"/>
                    <a:pt x="7381" y="5004"/>
                  </a:cubicBezTo>
                  <a:cubicBezTo>
                    <a:pt x="7384" y="5008"/>
                    <a:pt x="7388" y="5011"/>
                    <a:pt x="7391" y="5011"/>
                  </a:cubicBezTo>
                  <a:cubicBezTo>
                    <a:pt x="7417" y="5032"/>
                    <a:pt x="7446" y="5041"/>
                    <a:pt x="7479" y="5041"/>
                  </a:cubicBezTo>
                  <a:cubicBezTo>
                    <a:pt x="7559" y="5041"/>
                    <a:pt x="7663" y="4987"/>
                    <a:pt x="7797" y="4913"/>
                  </a:cubicBezTo>
                  <a:cubicBezTo>
                    <a:pt x="7927" y="4843"/>
                    <a:pt x="8060" y="4766"/>
                    <a:pt x="8193" y="4756"/>
                  </a:cubicBezTo>
                  <a:cubicBezTo>
                    <a:pt x="8199" y="4755"/>
                    <a:pt x="8206" y="4755"/>
                    <a:pt x="8212" y="4755"/>
                  </a:cubicBezTo>
                  <a:cubicBezTo>
                    <a:pt x="8395" y="4755"/>
                    <a:pt x="8479" y="4950"/>
                    <a:pt x="8546" y="5106"/>
                  </a:cubicBezTo>
                  <a:cubicBezTo>
                    <a:pt x="8581" y="5186"/>
                    <a:pt x="8623" y="5284"/>
                    <a:pt x="8658" y="5298"/>
                  </a:cubicBezTo>
                  <a:cubicBezTo>
                    <a:pt x="8660" y="5298"/>
                    <a:pt x="8663" y="5299"/>
                    <a:pt x="8666" y="5299"/>
                  </a:cubicBezTo>
                  <a:cubicBezTo>
                    <a:pt x="8670" y="5299"/>
                    <a:pt x="8674" y="5298"/>
                    <a:pt x="8679" y="5295"/>
                  </a:cubicBezTo>
                  <a:cubicBezTo>
                    <a:pt x="8743" y="5266"/>
                    <a:pt x="8804" y="5253"/>
                    <a:pt x="8863" y="5253"/>
                  </a:cubicBezTo>
                  <a:cubicBezTo>
                    <a:pt x="9137" y="5253"/>
                    <a:pt x="9361" y="5535"/>
                    <a:pt x="9586" y="5851"/>
                  </a:cubicBezTo>
                  <a:cubicBezTo>
                    <a:pt x="9810" y="6170"/>
                    <a:pt x="9705" y="6471"/>
                    <a:pt x="9635" y="6671"/>
                  </a:cubicBezTo>
                  <a:cubicBezTo>
                    <a:pt x="9614" y="6720"/>
                    <a:pt x="9604" y="6772"/>
                    <a:pt x="9597" y="6825"/>
                  </a:cubicBezTo>
                  <a:cubicBezTo>
                    <a:pt x="9610" y="6844"/>
                    <a:pt x="9674" y="6856"/>
                    <a:pt x="9764" y="6856"/>
                  </a:cubicBezTo>
                  <a:cubicBezTo>
                    <a:pt x="9932" y="6856"/>
                    <a:pt x="10193" y="6815"/>
                    <a:pt x="10398" y="6706"/>
                  </a:cubicBezTo>
                  <a:cubicBezTo>
                    <a:pt x="10467" y="6669"/>
                    <a:pt x="10533" y="6653"/>
                    <a:pt x="10598" y="6653"/>
                  </a:cubicBezTo>
                  <a:cubicBezTo>
                    <a:pt x="10829" y="6653"/>
                    <a:pt x="11036" y="6854"/>
                    <a:pt x="11211" y="7021"/>
                  </a:cubicBezTo>
                  <a:cubicBezTo>
                    <a:pt x="11249" y="7059"/>
                    <a:pt x="11288" y="7094"/>
                    <a:pt x="11323" y="7126"/>
                  </a:cubicBezTo>
                  <a:cubicBezTo>
                    <a:pt x="11393" y="7182"/>
                    <a:pt x="11400" y="7283"/>
                    <a:pt x="11340" y="7350"/>
                  </a:cubicBezTo>
                  <a:cubicBezTo>
                    <a:pt x="11219" y="7506"/>
                    <a:pt x="10774" y="7682"/>
                    <a:pt x="10551" y="7682"/>
                  </a:cubicBezTo>
                  <a:cubicBezTo>
                    <a:pt x="10508" y="7682"/>
                    <a:pt x="10474" y="7675"/>
                    <a:pt x="10451" y="7661"/>
                  </a:cubicBezTo>
                  <a:cubicBezTo>
                    <a:pt x="10409" y="7637"/>
                    <a:pt x="10395" y="7577"/>
                    <a:pt x="10419" y="7535"/>
                  </a:cubicBezTo>
                  <a:cubicBezTo>
                    <a:pt x="10426" y="7521"/>
                    <a:pt x="10416" y="7476"/>
                    <a:pt x="10353" y="7409"/>
                  </a:cubicBezTo>
                  <a:cubicBezTo>
                    <a:pt x="10216" y="7256"/>
                    <a:pt x="9862" y="7052"/>
                    <a:pt x="9476" y="7052"/>
                  </a:cubicBezTo>
                  <a:cubicBezTo>
                    <a:pt x="9359" y="7052"/>
                    <a:pt x="9239" y="7070"/>
                    <a:pt x="9121" y="7115"/>
                  </a:cubicBezTo>
                  <a:cubicBezTo>
                    <a:pt x="8938" y="7185"/>
                    <a:pt x="8830" y="7266"/>
                    <a:pt x="8798" y="7360"/>
                  </a:cubicBezTo>
                  <a:cubicBezTo>
                    <a:pt x="8753" y="7483"/>
                    <a:pt x="8840" y="7630"/>
                    <a:pt x="8914" y="7759"/>
                  </a:cubicBezTo>
                  <a:cubicBezTo>
                    <a:pt x="8956" y="7822"/>
                    <a:pt x="8988" y="7889"/>
                    <a:pt x="9012" y="7955"/>
                  </a:cubicBezTo>
                  <a:cubicBezTo>
                    <a:pt x="9033" y="8036"/>
                    <a:pt x="9005" y="8123"/>
                    <a:pt x="8942" y="8176"/>
                  </a:cubicBezTo>
                  <a:cubicBezTo>
                    <a:pt x="8807" y="8304"/>
                    <a:pt x="8523" y="8392"/>
                    <a:pt x="8201" y="8392"/>
                  </a:cubicBezTo>
                  <a:cubicBezTo>
                    <a:pt x="8021" y="8392"/>
                    <a:pt x="7829" y="8365"/>
                    <a:pt x="7643" y="8302"/>
                  </a:cubicBezTo>
                  <a:cubicBezTo>
                    <a:pt x="7499" y="8254"/>
                    <a:pt x="7403" y="8236"/>
                    <a:pt x="7336" y="8236"/>
                  </a:cubicBezTo>
                  <a:cubicBezTo>
                    <a:pt x="7229" y="8236"/>
                    <a:pt x="7196" y="8281"/>
                    <a:pt x="7164" y="8326"/>
                  </a:cubicBezTo>
                  <a:cubicBezTo>
                    <a:pt x="7115" y="8404"/>
                    <a:pt x="7031" y="8453"/>
                    <a:pt x="6940" y="8453"/>
                  </a:cubicBezTo>
                  <a:cubicBezTo>
                    <a:pt x="6824" y="8453"/>
                    <a:pt x="6691" y="8554"/>
                    <a:pt x="6631" y="8691"/>
                  </a:cubicBezTo>
                  <a:cubicBezTo>
                    <a:pt x="6575" y="8799"/>
                    <a:pt x="6593" y="8932"/>
                    <a:pt x="6673" y="9020"/>
                  </a:cubicBezTo>
                  <a:cubicBezTo>
                    <a:pt x="6746" y="9100"/>
                    <a:pt x="6857" y="9125"/>
                    <a:pt x="6988" y="9125"/>
                  </a:cubicBezTo>
                  <a:cubicBezTo>
                    <a:pt x="7098" y="9125"/>
                    <a:pt x="7222" y="9107"/>
                    <a:pt x="7349" y="9090"/>
                  </a:cubicBezTo>
                  <a:cubicBezTo>
                    <a:pt x="7484" y="9061"/>
                    <a:pt x="7621" y="9047"/>
                    <a:pt x="7758" y="9047"/>
                  </a:cubicBezTo>
                  <a:cubicBezTo>
                    <a:pt x="7891" y="9047"/>
                    <a:pt x="8023" y="9060"/>
                    <a:pt x="8154" y="9086"/>
                  </a:cubicBezTo>
                  <a:cubicBezTo>
                    <a:pt x="8186" y="9094"/>
                    <a:pt x="8215" y="9098"/>
                    <a:pt x="8246" y="9098"/>
                  </a:cubicBezTo>
                  <a:cubicBezTo>
                    <a:pt x="8256" y="9098"/>
                    <a:pt x="8266" y="9098"/>
                    <a:pt x="8277" y="9097"/>
                  </a:cubicBezTo>
                  <a:cubicBezTo>
                    <a:pt x="8277" y="9097"/>
                    <a:pt x="8291" y="9090"/>
                    <a:pt x="8308" y="9002"/>
                  </a:cubicBezTo>
                  <a:cubicBezTo>
                    <a:pt x="8319" y="8943"/>
                    <a:pt x="8354" y="8890"/>
                    <a:pt x="8403" y="8859"/>
                  </a:cubicBezTo>
                  <a:cubicBezTo>
                    <a:pt x="8467" y="8823"/>
                    <a:pt x="8540" y="8806"/>
                    <a:pt x="8614" y="8806"/>
                  </a:cubicBezTo>
                  <a:cubicBezTo>
                    <a:pt x="8620" y="8806"/>
                    <a:pt x="8627" y="8806"/>
                    <a:pt x="8634" y="8806"/>
                  </a:cubicBezTo>
                  <a:cubicBezTo>
                    <a:pt x="8791" y="8806"/>
                    <a:pt x="8984" y="8852"/>
                    <a:pt x="9159" y="8894"/>
                  </a:cubicBezTo>
                  <a:lnTo>
                    <a:pt x="9208" y="8904"/>
                  </a:lnTo>
                  <a:cubicBezTo>
                    <a:pt x="9383" y="8946"/>
                    <a:pt x="9460" y="9079"/>
                    <a:pt x="9523" y="9202"/>
                  </a:cubicBezTo>
                  <a:cubicBezTo>
                    <a:pt x="9597" y="9328"/>
                    <a:pt x="9656" y="9440"/>
                    <a:pt x="9831" y="9464"/>
                  </a:cubicBezTo>
                  <a:cubicBezTo>
                    <a:pt x="10104" y="9496"/>
                    <a:pt x="10104" y="9692"/>
                    <a:pt x="10101" y="9846"/>
                  </a:cubicBezTo>
                  <a:cubicBezTo>
                    <a:pt x="10101" y="9965"/>
                    <a:pt x="10097" y="10087"/>
                    <a:pt x="10188" y="10189"/>
                  </a:cubicBezTo>
                  <a:cubicBezTo>
                    <a:pt x="10290" y="10301"/>
                    <a:pt x="10535" y="10332"/>
                    <a:pt x="10769" y="10364"/>
                  </a:cubicBezTo>
                  <a:cubicBezTo>
                    <a:pt x="11046" y="10399"/>
                    <a:pt x="11333" y="10434"/>
                    <a:pt x="11494" y="10599"/>
                  </a:cubicBezTo>
                  <a:cubicBezTo>
                    <a:pt x="11724" y="10829"/>
                    <a:pt x="12636" y="11282"/>
                    <a:pt x="13004" y="11282"/>
                  </a:cubicBezTo>
                  <a:cubicBezTo>
                    <a:pt x="13011" y="11282"/>
                    <a:pt x="13017" y="11282"/>
                    <a:pt x="13024" y="11281"/>
                  </a:cubicBezTo>
                  <a:cubicBezTo>
                    <a:pt x="13048" y="11281"/>
                    <a:pt x="13076" y="11274"/>
                    <a:pt x="13097" y="11260"/>
                  </a:cubicBezTo>
                  <a:cubicBezTo>
                    <a:pt x="13104" y="11246"/>
                    <a:pt x="13104" y="11222"/>
                    <a:pt x="13090" y="11187"/>
                  </a:cubicBezTo>
                  <a:cubicBezTo>
                    <a:pt x="12971" y="10819"/>
                    <a:pt x="11977" y="9982"/>
                    <a:pt x="11701" y="9909"/>
                  </a:cubicBezTo>
                  <a:cubicBezTo>
                    <a:pt x="11631" y="9891"/>
                    <a:pt x="11561" y="9863"/>
                    <a:pt x="11554" y="9800"/>
                  </a:cubicBezTo>
                  <a:cubicBezTo>
                    <a:pt x="11550" y="9765"/>
                    <a:pt x="11568" y="9730"/>
                    <a:pt x="11603" y="9713"/>
                  </a:cubicBezTo>
                  <a:cubicBezTo>
                    <a:pt x="11639" y="9692"/>
                    <a:pt x="11712" y="9680"/>
                    <a:pt x="11806" y="9680"/>
                  </a:cubicBezTo>
                  <a:cubicBezTo>
                    <a:pt x="12019" y="9680"/>
                    <a:pt x="12338" y="9745"/>
                    <a:pt x="12583" y="9937"/>
                  </a:cubicBezTo>
                  <a:cubicBezTo>
                    <a:pt x="12855" y="10155"/>
                    <a:pt x="13182" y="10282"/>
                    <a:pt x="13456" y="10282"/>
                  </a:cubicBezTo>
                  <a:cubicBezTo>
                    <a:pt x="13489" y="10282"/>
                    <a:pt x="13521" y="10280"/>
                    <a:pt x="13553" y="10276"/>
                  </a:cubicBezTo>
                  <a:cubicBezTo>
                    <a:pt x="13717" y="10259"/>
                    <a:pt x="13868" y="10175"/>
                    <a:pt x="13969" y="10045"/>
                  </a:cubicBezTo>
                  <a:cubicBezTo>
                    <a:pt x="14050" y="9940"/>
                    <a:pt x="14060" y="9888"/>
                    <a:pt x="14053" y="9860"/>
                  </a:cubicBezTo>
                  <a:cubicBezTo>
                    <a:pt x="14046" y="9818"/>
                    <a:pt x="13983" y="9786"/>
                    <a:pt x="13913" y="9755"/>
                  </a:cubicBezTo>
                  <a:cubicBezTo>
                    <a:pt x="13808" y="9702"/>
                    <a:pt x="13665" y="9629"/>
                    <a:pt x="13665" y="9457"/>
                  </a:cubicBezTo>
                  <a:cubicBezTo>
                    <a:pt x="13665" y="9177"/>
                    <a:pt x="13472" y="8771"/>
                    <a:pt x="13171" y="8771"/>
                  </a:cubicBezTo>
                  <a:cubicBezTo>
                    <a:pt x="12859" y="8771"/>
                    <a:pt x="12205" y="8295"/>
                    <a:pt x="12145" y="8022"/>
                  </a:cubicBezTo>
                  <a:cubicBezTo>
                    <a:pt x="12124" y="7938"/>
                    <a:pt x="12166" y="7850"/>
                    <a:pt x="12247" y="7819"/>
                  </a:cubicBezTo>
                  <a:cubicBezTo>
                    <a:pt x="12355" y="7770"/>
                    <a:pt x="12345" y="7738"/>
                    <a:pt x="12310" y="7637"/>
                  </a:cubicBezTo>
                  <a:cubicBezTo>
                    <a:pt x="12275" y="7532"/>
                    <a:pt x="12226" y="7388"/>
                    <a:pt x="12373" y="7231"/>
                  </a:cubicBezTo>
                  <a:cubicBezTo>
                    <a:pt x="12438" y="7158"/>
                    <a:pt x="12504" y="7131"/>
                    <a:pt x="12569" y="7131"/>
                  </a:cubicBezTo>
                  <a:cubicBezTo>
                    <a:pt x="12689" y="7131"/>
                    <a:pt x="12805" y="7225"/>
                    <a:pt x="12905" y="7304"/>
                  </a:cubicBezTo>
                  <a:cubicBezTo>
                    <a:pt x="13003" y="7385"/>
                    <a:pt x="13104" y="7465"/>
                    <a:pt x="13203" y="7476"/>
                  </a:cubicBezTo>
                  <a:cubicBezTo>
                    <a:pt x="13392" y="7490"/>
                    <a:pt x="13493" y="7626"/>
                    <a:pt x="13623" y="7801"/>
                  </a:cubicBezTo>
                  <a:cubicBezTo>
                    <a:pt x="13742" y="7973"/>
                    <a:pt x="13882" y="8130"/>
                    <a:pt x="14039" y="8267"/>
                  </a:cubicBezTo>
                  <a:cubicBezTo>
                    <a:pt x="14216" y="8415"/>
                    <a:pt x="14309" y="8445"/>
                    <a:pt x="14356" y="8445"/>
                  </a:cubicBezTo>
                  <a:cubicBezTo>
                    <a:pt x="14365" y="8445"/>
                    <a:pt x="14373" y="8444"/>
                    <a:pt x="14379" y="8442"/>
                  </a:cubicBezTo>
                  <a:cubicBezTo>
                    <a:pt x="14442" y="8421"/>
                    <a:pt x="14477" y="8302"/>
                    <a:pt x="14508" y="8183"/>
                  </a:cubicBezTo>
                  <a:lnTo>
                    <a:pt x="14515" y="8151"/>
                  </a:lnTo>
                  <a:cubicBezTo>
                    <a:pt x="14564" y="7976"/>
                    <a:pt x="14750" y="7959"/>
                    <a:pt x="14883" y="7948"/>
                  </a:cubicBezTo>
                  <a:cubicBezTo>
                    <a:pt x="14939" y="7945"/>
                    <a:pt x="14991" y="7934"/>
                    <a:pt x="15040" y="7920"/>
                  </a:cubicBezTo>
                  <a:cubicBezTo>
                    <a:pt x="15061" y="7910"/>
                    <a:pt x="15075" y="7899"/>
                    <a:pt x="15072" y="7861"/>
                  </a:cubicBezTo>
                  <a:cubicBezTo>
                    <a:pt x="15044" y="7556"/>
                    <a:pt x="15499" y="7220"/>
                    <a:pt x="15814" y="7091"/>
                  </a:cubicBezTo>
                  <a:cubicBezTo>
                    <a:pt x="15849" y="7077"/>
                    <a:pt x="15860" y="7063"/>
                    <a:pt x="15860" y="7063"/>
                  </a:cubicBezTo>
                  <a:cubicBezTo>
                    <a:pt x="15860" y="7059"/>
                    <a:pt x="15856" y="7045"/>
                    <a:pt x="15835" y="7024"/>
                  </a:cubicBezTo>
                  <a:cubicBezTo>
                    <a:pt x="15743" y="6929"/>
                    <a:pt x="15480" y="6827"/>
                    <a:pt x="15257" y="6827"/>
                  </a:cubicBezTo>
                  <a:cubicBezTo>
                    <a:pt x="15243" y="6827"/>
                    <a:pt x="15229" y="6827"/>
                    <a:pt x="15216" y="6828"/>
                  </a:cubicBezTo>
                  <a:cubicBezTo>
                    <a:pt x="15197" y="6829"/>
                    <a:pt x="15180" y="6830"/>
                    <a:pt x="15163" y="6830"/>
                  </a:cubicBezTo>
                  <a:cubicBezTo>
                    <a:pt x="15019" y="6830"/>
                    <a:pt x="14904" y="6791"/>
                    <a:pt x="14820" y="6713"/>
                  </a:cubicBezTo>
                  <a:cubicBezTo>
                    <a:pt x="14701" y="6601"/>
                    <a:pt x="14683" y="6436"/>
                    <a:pt x="14683" y="6349"/>
                  </a:cubicBezTo>
                  <a:cubicBezTo>
                    <a:pt x="14683" y="6335"/>
                    <a:pt x="14641" y="6268"/>
                    <a:pt x="14487" y="6163"/>
                  </a:cubicBezTo>
                  <a:cubicBezTo>
                    <a:pt x="14265" y="6009"/>
                    <a:pt x="13988" y="5898"/>
                    <a:pt x="13847" y="5898"/>
                  </a:cubicBezTo>
                  <a:cubicBezTo>
                    <a:pt x="13828" y="5898"/>
                    <a:pt x="13811" y="5900"/>
                    <a:pt x="13798" y="5904"/>
                  </a:cubicBezTo>
                  <a:cubicBezTo>
                    <a:pt x="13771" y="5912"/>
                    <a:pt x="13744" y="5915"/>
                    <a:pt x="13715" y="5915"/>
                  </a:cubicBezTo>
                  <a:cubicBezTo>
                    <a:pt x="13575" y="5915"/>
                    <a:pt x="13413" y="5830"/>
                    <a:pt x="13245" y="5743"/>
                  </a:cubicBezTo>
                  <a:cubicBezTo>
                    <a:pt x="13090" y="5662"/>
                    <a:pt x="12933" y="5578"/>
                    <a:pt x="12803" y="5568"/>
                  </a:cubicBezTo>
                  <a:cubicBezTo>
                    <a:pt x="12583" y="5550"/>
                    <a:pt x="12278" y="5428"/>
                    <a:pt x="12117" y="5232"/>
                  </a:cubicBezTo>
                  <a:cubicBezTo>
                    <a:pt x="12037" y="5134"/>
                    <a:pt x="11998" y="5011"/>
                    <a:pt x="12016" y="4885"/>
                  </a:cubicBezTo>
                  <a:cubicBezTo>
                    <a:pt x="12019" y="4826"/>
                    <a:pt x="12051" y="4770"/>
                    <a:pt x="12100" y="4735"/>
                  </a:cubicBezTo>
                  <a:cubicBezTo>
                    <a:pt x="12141" y="4704"/>
                    <a:pt x="12193" y="4694"/>
                    <a:pt x="12249" y="4694"/>
                  </a:cubicBezTo>
                  <a:cubicBezTo>
                    <a:pt x="12317" y="4694"/>
                    <a:pt x="12391" y="4709"/>
                    <a:pt x="12464" y="4724"/>
                  </a:cubicBezTo>
                  <a:cubicBezTo>
                    <a:pt x="12543" y="4739"/>
                    <a:pt x="12610" y="4751"/>
                    <a:pt x="12661" y="4751"/>
                  </a:cubicBezTo>
                  <a:cubicBezTo>
                    <a:pt x="12715" y="4751"/>
                    <a:pt x="12752" y="4738"/>
                    <a:pt x="12768" y="4700"/>
                  </a:cubicBezTo>
                  <a:cubicBezTo>
                    <a:pt x="12775" y="4689"/>
                    <a:pt x="12779" y="4675"/>
                    <a:pt x="12775" y="4665"/>
                  </a:cubicBezTo>
                  <a:cubicBezTo>
                    <a:pt x="12754" y="4630"/>
                    <a:pt x="12600" y="4612"/>
                    <a:pt x="12513" y="4598"/>
                  </a:cubicBezTo>
                  <a:cubicBezTo>
                    <a:pt x="12338" y="4577"/>
                    <a:pt x="12152" y="4556"/>
                    <a:pt x="12135" y="4420"/>
                  </a:cubicBezTo>
                  <a:cubicBezTo>
                    <a:pt x="12114" y="4245"/>
                    <a:pt x="12236" y="4210"/>
                    <a:pt x="12324" y="4185"/>
                  </a:cubicBezTo>
                  <a:cubicBezTo>
                    <a:pt x="12376" y="4174"/>
                    <a:pt x="12429" y="4150"/>
                    <a:pt x="12474" y="4118"/>
                  </a:cubicBezTo>
                  <a:cubicBezTo>
                    <a:pt x="12488" y="4108"/>
                    <a:pt x="12495" y="4090"/>
                    <a:pt x="12492" y="4076"/>
                  </a:cubicBezTo>
                  <a:cubicBezTo>
                    <a:pt x="12485" y="3989"/>
                    <a:pt x="12327" y="3842"/>
                    <a:pt x="12194" y="3765"/>
                  </a:cubicBezTo>
                  <a:cubicBezTo>
                    <a:pt x="12181" y="3757"/>
                    <a:pt x="12171" y="3753"/>
                    <a:pt x="12160" y="3753"/>
                  </a:cubicBezTo>
                  <a:cubicBezTo>
                    <a:pt x="12137" y="3753"/>
                    <a:pt x="12113" y="3775"/>
                    <a:pt x="12065" y="3828"/>
                  </a:cubicBezTo>
                  <a:cubicBezTo>
                    <a:pt x="12009" y="3891"/>
                    <a:pt x="11942" y="3964"/>
                    <a:pt x="11837" y="3964"/>
                  </a:cubicBezTo>
                  <a:cubicBezTo>
                    <a:pt x="11832" y="3965"/>
                    <a:pt x="11826" y="3966"/>
                    <a:pt x="11821" y="3966"/>
                  </a:cubicBezTo>
                  <a:cubicBezTo>
                    <a:pt x="11775" y="3966"/>
                    <a:pt x="11733" y="3939"/>
                    <a:pt x="11711" y="3898"/>
                  </a:cubicBezTo>
                  <a:cubicBezTo>
                    <a:pt x="11652" y="3786"/>
                    <a:pt x="11771" y="3579"/>
                    <a:pt x="11879" y="3425"/>
                  </a:cubicBezTo>
                  <a:cubicBezTo>
                    <a:pt x="11879" y="3425"/>
                    <a:pt x="11879" y="3422"/>
                    <a:pt x="11879" y="3422"/>
                  </a:cubicBezTo>
                  <a:cubicBezTo>
                    <a:pt x="11879" y="3418"/>
                    <a:pt x="11869" y="3397"/>
                    <a:pt x="11827" y="3369"/>
                  </a:cubicBezTo>
                  <a:cubicBezTo>
                    <a:pt x="11706" y="3296"/>
                    <a:pt x="11462" y="3236"/>
                    <a:pt x="11272" y="3236"/>
                  </a:cubicBezTo>
                  <a:cubicBezTo>
                    <a:pt x="11208" y="3236"/>
                    <a:pt x="11151" y="3242"/>
                    <a:pt x="11106" y="3257"/>
                  </a:cubicBezTo>
                  <a:cubicBezTo>
                    <a:pt x="11040" y="3279"/>
                    <a:pt x="10981" y="3290"/>
                    <a:pt x="10928" y="3290"/>
                  </a:cubicBezTo>
                  <a:cubicBezTo>
                    <a:pt x="10862" y="3290"/>
                    <a:pt x="10806" y="3273"/>
                    <a:pt x="10759" y="3240"/>
                  </a:cubicBezTo>
                  <a:cubicBezTo>
                    <a:pt x="10675" y="3177"/>
                    <a:pt x="10629" y="3068"/>
                    <a:pt x="10629" y="2928"/>
                  </a:cubicBezTo>
                  <a:cubicBezTo>
                    <a:pt x="10629" y="2928"/>
                    <a:pt x="10629" y="2925"/>
                    <a:pt x="10629" y="2921"/>
                  </a:cubicBezTo>
                  <a:cubicBezTo>
                    <a:pt x="10623" y="2915"/>
                    <a:pt x="10608" y="2911"/>
                    <a:pt x="10588" y="2911"/>
                  </a:cubicBezTo>
                  <a:cubicBezTo>
                    <a:pt x="10479" y="2911"/>
                    <a:pt x="10199" y="3001"/>
                    <a:pt x="10031" y="3128"/>
                  </a:cubicBezTo>
                  <a:cubicBezTo>
                    <a:pt x="9985" y="3163"/>
                    <a:pt x="9929" y="3180"/>
                    <a:pt x="9873" y="3180"/>
                  </a:cubicBezTo>
                  <a:cubicBezTo>
                    <a:pt x="9823" y="3180"/>
                    <a:pt x="9773" y="3166"/>
                    <a:pt x="9730" y="3138"/>
                  </a:cubicBezTo>
                  <a:cubicBezTo>
                    <a:pt x="9656" y="3089"/>
                    <a:pt x="9618" y="3016"/>
                    <a:pt x="9635" y="2949"/>
                  </a:cubicBezTo>
                  <a:cubicBezTo>
                    <a:pt x="9642" y="2914"/>
                    <a:pt x="9677" y="2851"/>
                    <a:pt x="9793" y="2841"/>
                  </a:cubicBezTo>
                  <a:cubicBezTo>
                    <a:pt x="9943" y="2827"/>
                    <a:pt x="10108" y="2736"/>
                    <a:pt x="10174" y="2634"/>
                  </a:cubicBezTo>
                  <a:cubicBezTo>
                    <a:pt x="10202" y="2592"/>
                    <a:pt x="10209" y="2540"/>
                    <a:pt x="10192" y="2491"/>
                  </a:cubicBezTo>
                  <a:cubicBezTo>
                    <a:pt x="10171" y="2428"/>
                    <a:pt x="10048" y="2375"/>
                    <a:pt x="9898" y="2368"/>
                  </a:cubicBezTo>
                  <a:cubicBezTo>
                    <a:pt x="9887" y="2368"/>
                    <a:pt x="9875" y="2367"/>
                    <a:pt x="9864" y="2367"/>
                  </a:cubicBezTo>
                  <a:cubicBezTo>
                    <a:pt x="9713" y="2367"/>
                    <a:pt x="9540" y="2411"/>
                    <a:pt x="9488" y="2522"/>
                  </a:cubicBezTo>
                  <a:cubicBezTo>
                    <a:pt x="9462" y="2591"/>
                    <a:pt x="9397" y="2634"/>
                    <a:pt x="9326" y="2634"/>
                  </a:cubicBezTo>
                  <a:cubicBezTo>
                    <a:pt x="9310" y="2634"/>
                    <a:pt x="9294" y="2632"/>
                    <a:pt x="9278" y="2627"/>
                  </a:cubicBezTo>
                  <a:cubicBezTo>
                    <a:pt x="9065" y="2582"/>
                    <a:pt x="8732" y="2190"/>
                    <a:pt x="8732" y="1986"/>
                  </a:cubicBezTo>
                  <a:cubicBezTo>
                    <a:pt x="8732" y="1951"/>
                    <a:pt x="8574" y="1930"/>
                    <a:pt x="8490" y="1920"/>
                  </a:cubicBezTo>
                  <a:cubicBezTo>
                    <a:pt x="8326" y="1902"/>
                    <a:pt x="8154" y="1881"/>
                    <a:pt x="8081" y="1773"/>
                  </a:cubicBezTo>
                  <a:cubicBezTo>
                    <a:pt x="8042" y="1713"/>
                    <a:pt x="8035" y="1643"/>
                    <a:pt x="8056" y="1580"/>
                  </a:cubicBezTo>
                  <a:cubicBezTo>
                    <a:pt x="8067" y="1545"/>
                    <a:pt x="8060" y="1507"/>
                    <a:pt x="8035" y="1479"/>
                  </a:cubicBezTo>
                  <a:cubicBezTo>
                    <a:pt x="7885" y="1283"/>
                    <a:pt x="7209" y="1202"/>
                    <a:pt x="6957" y="1202"/>
                  </a:cubicBezTo>
                  <a:cubicBezTo>
                    <a:pt x="6785" y="1202"/>
                    <a:pt x="6565" y="1304"/>
                    <a:pt x="6467" y="1423"/>
                  </a:cubicBezTo>
                  <a:cubicBezTo>
                    <a:pt x="6425" y="1468"/>
                    <a:pt x="6404" y="1528"/>
                    <a:pt x="6414" y="1584"/>
                  </a:cubicBezTo>
                  <a:cubicBezTo>
                    <a:pt x="6432" y="1685"/>
                    <a:pt x="6400" y="1738"/>
                    <a:pt x="6369" y="1766"/>
                  </a:cubicBezTo>
                  <a:cubicBezTo>
                    <a:pt x="6337" y="1791"/>
                    <a:pt x="6301" y="1804"/>
                    <a:pt x="6264" y="1804"/>
                  </a:cubicBezTo>
                  <a:cubicBezTo>
                    <a:pt x="6239" y="1804"/>
                    <a:pt x="6214" y="1798"/>
                    <a:pt x="6190" y="1787"/>
                  </a:cubicBezTo>
                  <a:cubicBezTo>
                    <a:pt x="6061" y="1738"/>
                    <a:pt x="5970" y="1622"/>
                    <a:pt x="5945" y="1489"/>
                  </a:cubicBezTo>
                  <a:cubicBezTo>
                    <a:pt x="5945" y="1486"/>
                    <a:pt x="5942" y="1475"/>
                    <a:pt x="5938" y="1472"/>
                  </a:cubicBezTo>
                  <a:cubicBezTo>
                    <a:pt x="5933" y="1469"/>
                    <a:pt x="5926" y="1468"/>
                    <a:pt x="5918" y="1468"/>
                  </a:cubicBezTo>
                  <a:cubicBezTo>
                    <a:pt x="5838" y="1468"/>
                    <a:pt x="5635" y="1587"/>
                    <a:pt x="5508" y="1657"/>
                  </a:cubicBezTo>
                  <a:cubicBezTo>
                    <a:pt x="5347" y="1752"/>
                    <a:pt x="5203" y="1832"/>
                    <a:pt x="5112" y="1832"/>
                  </a:cubicBezTo>
                  <a:cubicBezTo>
                    <a:pt x="5077" y="1832"/>
                    <a:pt x="5042" y="1818"/>
                    <a:pt x="5018" y="1790"/>
                  </a:cubicBezTo>
                  <a:cubicBezTo>
                    <a:pt x="4958" y="1713"/>
                    <a:pt x="4986" y="1566"/>
                    <a:pt x="5035" y="1328"/>
                  </a:cubicBezTo>
                  <a:cubicBezTo>
                    <a:pt x="5070" y="1160"/>
                    <a:pt x="5116" y="954"/>
                    <a:pt x="5077" y="873"/>
                  </a:cubicBezTo>
                  <a:cubicBezTo>
                    <a:pt x="5042" y="793"/>
                    <a:pt x="4997" y="719"/>
                    <a:pt x="4941" y="653"/>
                  </a:cubicBezTo>
                  <a:cubicBezTo>
                    <a:pt x="4836" y="520"/>
                    <a:pt x="4751" y="373"/>
                    <a:pt x="4688" y="215"/>
                  </a:cubicBezTo>
                  <a:cubicBezTo>
                    <a:pt x="4653" y="128"/>
                    <a:pt x="4569" y="68"/>
                    <a:pt x="4440" y="47"/>
                  </a:cubicBezTo>
                  <a:cubicBezTo>
                    <a:pt x="4400" y="40"/>
                    <a:pt x="4357" y="37"/>
                    <a:pt x="4314" y="37"/>
                  </a:cubicBezTo>
                  <a:cubicBezTo>
                    <a:pt x="4081" y="37"/>
                    <a:pt x="3824" y="133"/>
                    <a:pt x="3733" y="236"/>
                  </a:cubicBezTo>
                  <a:cubicBezTo>
                    <a:pt x="3631" y="348"/>
                    <a:pt x="3449" y="387"/>
                    <a:pt x="3239" y="429"/>
                  </a:cubicBezTo>
                  <a:cubicBezTo>
                    <a:pt x="3005" y="474"/>
                    <a:pt x="2738" y="527"/>
                    <a:pt x="2567" y="698"/>
                  </a:cubicBezTo>
                  <a:cubicBezTo>
                    <a:pt x="2479" y="786"/>
                    <a:pt x="2441" y="873"/>
                    <a:pt x="2444" y="968"/>
                  </a:cubicBezTo>
                  <a:cubicBezTo>
                    <a:pt x="2448" y="1059"/>
                    <a:pt x="2500" y="1213"/>
                    <a:pt x="2731" y="1405"/>
                  </a:cubicBezTo>
                  <a:cubicBezTo>
                    <a:pt x="2760" y="1426"/>
                    <a:pt x="2777" y="1461"/>
                    <a:pt x="2774" y="1496"/>
                  </a:cubicBezTo>
                  <a:cubicBezTo>
                    <a:pt x="2774" y="1577"/>
                    <a:pt x="2693" y="1633"/>
                    <a:pt x="2591" y="1706"/>
                  </a:cubicBezTo>
                  <a:cubicBezTo>
                    <a:pt x="2525" y="1755"/>
                    <a:pt x="2416" y="1832"/>
                    <a:pt x="2416" y="1878"/>
                  </a:cubicBezTo>
                  <a:cubicBezTo>
                    <a:pt x="2416" y="1888"/>
                    <a:pt x="2423" y="1899"/>
                    <a:pt x="2441" y="1913"/>
                  </a:cubicBezTo>
                  <a:cubicBezTo>
                    <a:pt x="2518" y="1972"/>
                    <a:pt x="2605" y="2014"/>
                    <a:pt x="2703" y="2039"/>
                  </a:cubicBezTo>
                  <a:cubicBezTo>
                    <a:pt x="2854" y="2081"/>
                    <a:pt x="3026" y="2134"/>
                    <a:pt x="3043" y="2372"/>
                  </a:cubicBezTo>
                  <a:cubicBezTo>
                    <a:pt x="3057" y="2452"/>
                    <a:pt x="3005" y="2529"/>
                    <a:pt x="2924" y="2547"/>
                  </a:cubicBezTo>
                  <a:cubicBezTo>
                    <a:pt x="2906" y="2551"/>
                    <a:pt x="2886" y="2553"/>
                    <a:pt x="2864" y="2553"/>
                  </a:cubicBezTo>
                  <a:cubicBezTo>
                    <a:pt x="2607" y="2553"/>
                    <a:pt x="2100" y="2265"/>
                    <a:pt x="1996" y="2039"/>
                  </a:cubicBezTo>
                  <a:cubicBezTo>
                    <a:pt x="1933" y="1899"/>
                    <a:pt x="1940" y="1769"/>
                    <a:pt x="1947" y="1654"/>
                  </a:cubicBezTo>
                  <a:cubicBezTo>
                    <a:pt x="1954" y="1531"/>
                    <a:pt x="1961" y="1433"/>
                    <a:pt x="1888" y="1349"/>
                  </a:cubicBezTo>
                  <a:cubicBezTo>
                    <a:pt x="1660" y="1087"/>
                    <a:pt x="1919" y="768"/>
                    <a:pt x="2178" y="485"/>
                  </a:cubicBezTo>
                  <a:cubicBezTo>
                    <a:pt x="2294" y="362"/>
                    <a:pt x="2430" y="257"/>
                    <a:pt x="2581" y="180"/>
                  </a:cubicBezTo>
                  <a:cubicBezTo>
                    <a:pt x="2689" y="121"/>
                    <a:pt x="2717" y="103"/>
                    <a:pt x="2721" y="50"/>
                  </a:cubicBezTo>
                  <a:cubicBezTo>
                    <a:pt x="2703" y="40"/>
                    <a:pt x="2647" y="15"/>
                    <a:pt x="2511" y="5"/>
                  </a:cubicBezTo>
                  <a:cubicBezTo>
                    <a:pt x="2475" y="2"/>
                    <a:pt x="2435" y="1"/>
                    <a:pt x="2393" y="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477" name="Google Shape;5477;p104"/>
            <p:cNvSpPr/>
            <p:nvPr/>
          </p:nvSpPr>
          <p:spPr>
            <a:xfrm>
              <a:off x="1468014" y="1430297"/>
              <a:ext cx="17841" cy="12722"/>
            </a:xfrm>
            <a:custGeom>
              <a:avLst/>
              <a:gdLst/>
              <a:ahLst/>
              <a:cxnLst/>
              <a:rect l="l" t="t" r="r" b="b"/>
              <a:pathLst>
                <a:path w="1314" h="937" extrusionOk="0">
                  <a:moveTo>
                    <a:pt x="676" y="0"/>
                  </a:moveTo>
                  <a:cubicBezTo>
                    <a:pt x="624" y="0"/>
                    <a:pt x="571" y="4"/>
                    <a:pt x="512" y="7"/>
                  </a:cubicBezTo>
                  <a:cubicBezTo>
                    <a:pt x="379" y="21"/>
                    <a:pt x="169" y="158"/>
                    <a:pt x="71" y="347"/>
                  </a:cubicBezTo>
                  <a:cubicBezTo>
                    <a:pt x="1" y="476"/>
                    <a:pt x="4" y="634"/>
                    <a:pt x="78" y="757"/>
                  </a:cubicBezTo>
                  <a:cubicBezTo>
                    <a:pt x="159" y="892"/>
                    <a:pt x="284" y="937"/>
                    <a:pt x="425" y="937"/>
                  </a:cubicBezTo>
                  <a:cubicBezTo>
                    <a:pt x="575" y="937"/>
                    <a:pt x="741" y="886"/>
                    <a:pt x="890" y="841"/>
                  </a:cubicBezTo>
                  <a:cubicBezTo>
                    <a:pt x="967" y="813"/>
                    <a:pt x="1047" y="792"/>
                    <a:pt x="1128" y="778"/>
                  </a:cubicBezTo>
                  <a:cubicBezTo>
                    <a:pt x="1187" y="767"/>
                    <a:pt x="1236" y="728"/>
                    <a:pt x="1257" y="672"/>
                  </a:cubicBezTo>
                  <a:cubicBezTo>
                    <a:pt x="1313" y="539"/>
                    <a:pt x="1268" y="301"/>
                    <a:pt x="1159" y="151"/>
                  </a:cubicBezTo>
                  <a:cubicBezTo>
                    <a:pt x="1089" y="53"/>
                    <a:pt x="914" y="0"/>
                    <a:pt x="676"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478" name="Google Shape;5478;p104"/>
            <p:cNvSpPr/>
            <p:nvPr/>
          </p:nvSpPr>
          <p:spPr>
            <a:xfrm>
              <a:off x="1442393" y="1355322"/>
              <a:ext cx="32667" cy="14188"/>
            </a:xfrm>
            <a:custGeom>
              <a:avLst/>
              <a:gdLst/>
              <a:ahLst/>
              <a:cxnLst/>
              <a:rect l="l" t="t" r="r" b="b"/>
              <a:pathLst>
                <a:path w="2406" h="1045" extrusionOk="0">
                  <a:moveTo>
                    <a:pt x="180" y="1"/>
                  </a:moveTo>
                  <a:cubicBezTo>
                    <a:pt x="127" y="1"/>
                    <a:pt x="79" y="31"/>
                    <a:pt x="57" y="82"/>
                  </a:cubicBezTo>
                  <a:cubicBezTo>
                    <a:pt x="1" y="201"/>
                    <a:pt x="46" y="247"/>
                    <a:pt x="162" y="341"/>
                  </a:cubicBezTo>
                  <a:cubicBezTo>
                    <a:pt x="263" y="425"/>
                    <a:pt x="386" y="534"/>
                    <a:pt x="400" y="730"/>
                  </a:cubicBezTo>
                  <a:cubicBezTo>
                    <a:pt x="407" y="845"/>
                    <a:pt x="477" y="947"/>
                    <a:pt x="578" y="996"/>
                  </a:cubicBezTo>
                  <a:cubicBezTo>
                    <a:pt x="642" y="1029"/>
                    <a:pt x="717" y="1045"/>
                    <a:pt x="795" y="1045"/>
                  </a:cubicBezTo>
                  <a:cubicBezTo>
                    <a:pt x="907" y="1045"/>
                    <a:pt x="1025" y="1011"/>
                    <a:pt x="1124" y="947"/>
                  </a:cubicBezTo>
                  <a:cubicBezTo>
                    <a:pt x="1256" y="861"/>
                    <a:pt x="1455" y="845"/>
                    <a:pt x="1669" y="845"/>
                  </a:cubicBezTo>
                  <a:cubicBezTo>
                    <a:pt x="1744" y="845"/>
                    <a:pt x="1821" y="847"/>
                    <a:pt x="1898" y="849"/>
                  </a:cubicBezTo>
                  <a:cubicBezTo>
                    <a:pt x="1967" y="851"/>
                    <a:pt x="2038" y="853"/>
                    <a:pt x="2105" y="853"/>
                  </a:cubicBezTo>
                  <a:cubicBezTo>
                    <a:pt x="2240" y="853"/>
                    <a:pt x="2355" y="844"/>
                    <a:pt x="2395" y="807"/>
                  </a:cubicBezTo>
                  <a:cubicBezTo>
                    <a:pt x="2402" y="800"/>
                    <a:pt x="2406" y="793"/>
                    <a:pt x="2402" y="782"/>
                  </a:cubicBezTo>
                  <a:cubicBezTo>
                    <a:pt x="2402" y="768"/>
                    <a:pt x="2395" y="712"/>
                    <a:pt x="2269" y="607"/>
                  </a:cubicBezTo>
                  <a:cubicBezTo>
                    <a:pt x="1985" y="378"/>
                    <a:pt x="1446" y="160"/>
                    <a:pt x="1172" y="160"/>
                  </a:cubicBezTo>
                  <a:cubicBezTo>
                    <a:pt x="1145" y="160"/>
                    <a:pt x="1121" y="162"/>
                    <a:pt x="1100" y="166"/>
                  </a:cubicBezTo>
                  <a:cubicBezTo>
                    <a:pt x="1066" y="173"/>
                    <a:pt x="1031" y="176"/>
                    <a:pt x="996" y="176"/>
                  </a:cubicBezTo>
                  <a:cubicBezTo>
                    <a:pt x="854" y="176"/>
                    <a:pt x="698" y="127"/>
                    <a:pt x="547" y="82"/>
                  </a:cubicBezTo>
                  <a:cubicBezTo>
                    <a:pt x="400" y="36"/>
                    <a:pt x="284" y="1"/>
                    <a:pt x="197" y="1"/>
                  </a:cubicBezTo>
                  <a:cubicBezTo>
                    <a:pt x="191" y="1"/>
                    <a:pt x="186" y="1"/>
                    <a:pt x="180" y="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479" name="Google Shape;5479;p104"/>
            <p:cNvSpPr/>
            <p:nvPr/>
          </p:nvSpPr>
          <p:spPr>
            <a:xfrm>
              <a:off x="1605052" y="1620450"/>
              <a:ext cx="47684" cy="43136"/>
            </a:xfrm>
            <a:custGeom>
              <a:avLst/>
              <a:gdLst/>
              <a:ahLst/>
              <a:cxnLst/>
              <a:rect l="l" t="t" r="r" b="b"/>
              <a:pathLst>
                <a:path w="3512" h="3177" extrusionOk="0">
                  <a:moveTo>
                    <a:pt x="1779" y="1"/>
                  </a:moveTo>
                  <a:cubicBezTo>
                    <a:pt x="1737" y="1"/>
                    <a:pt x="1694" y="10"/>
                    <a:pt x="1656" y="27"/>
                  </a:cubicBezTo>
                  <a:cubicBezTo>
                    <a:pt x="1432" y="114"/>
                    <a:pt x="806" y="979"/>
                    <a:pt x="806" y="1196"/>
                  </a:cubicBezTo>
                  <a:cubicBezTo>
                    <a:pt x="806" y="1392"/>
                    <a:pt x="795" y="1609"/>
                    <a:pt x="683" y="1718"/>
                  </a:cubicBezTo>
                  <a:cubicBezTo>
                    <a:pt x="639" y="1756"/>
                    <a:pt x="582" y="1780"/>
                    <a:pt x="525" y="1780"/>
                  </a:cubicBezTo>
                  <a:cubicBezTo>
                    <a:pt x="515" y="1780"/>
                    <a:pt x="504" y="1779"/>
                    <a:pt x="494" y="1777"/>
                  </a:cubicBezTo>
                  <a:cubicBezTo>
                    <a:pt x="489" y="1777"/>
                    <a:pt x="483" y="1777"/>
                    <a:pt x="478" y="1777"/>
                  </a:cubicBezTo>
                  <a:cubicBezTo>
                    <a:pt x="356" y="1777"/>
                    <a:pt x="227" y="1850"/>
                    <a:pt x="200" y="1921"/>
                  </a:cubicBezTo>
                  <a:cubicBezTo>
                    <a:pt x="196" y="1931"/>
                    <a:pt x="189" y="1952"/>
                    <a:pt x="231" y="1984"/>
                  </a:cubicBezTo>
                  <a:cubicBezTo>
                    <a:pt x="259" y="2005"/>
                    <a:pt x="281" y="2040"/>
                    <a:pt x="288" y="2075"/>
                  </a:cubicBezTo>
                  <a:cubicBezTo>
                    <a:pt x="298" y="2162"/>
                    <a:pt x="228" y="2250"/>
                    <a:pt x="147" y="2351"/>
                  </a:cubicBezTo>
                  <a:cubicBezTo>
                    <a:pt x="81" y="2435"/>
                    <a:pt x="0" y="2537"/>
                    <a:pt x="11" y="2593"/>
                  </a:cubicBezTo>
                  <a:cubicBezTo>
                    <a:pt x="11" y="2600"/>
                    <a:pt x="18" y="2617"/>
                    <a:pt x="60" y="2642"/>
                  </a:cubicBezTo>
                  <a:cubicBezTo>
                    <a:pt x="105" y="2667"/>
                    <a:pt x="160" y="2676"/>
                    <a:pt x="221" y="2676"/>
                  </a:cubicBezTo>
                  <a:cubicBezTo>
                    <a:pt x="299" y="2676"/>
                    <a:pt x="386" y="2661"/>
                    <a:pt x="477" y="2645"/>
                  </a:cubicBezTo>
                  <a:cubicBezTo>
                    <a:pt x="582" y="2626"/>
                    <a:pt x="688" y="2615"/>
                    <a:pt x="796" y="2615"/>
                  </a:cubicBezTo>
                  <a:cubicBezTo>
                    <a:pt x="824" y="2615"/>
                    <a:pt x="851" y="2616"/>
                    <a:pt x="879" y="2617"/>
                  </a:cubicBezTo>
                  <a:cubicBezTo>
                    <a:pt x="983" y="2630"/>
                    <a:pt x="1077" y="2639"/>
                    <a:pt x="1164" y="2639"/>
                  </a:cubicBezTo>
                  <a:cubicBezTo>
                    <a:pt x="1326" y="2639"/>
                    <a:pt x="1466" y="2607"/>
                    <a:pt x="1607" y="2502"/>
                  </a:cubicBezTo>
                  <a:cubicBezTo>
                    <a:pt x="1671" y="2454"/>
                    <a:pt x="1725" y="2436"/>
                    <a:pt x="1771" y="2436"/>
                  </a:cubicBezTo>
                  <a:cubicBezTo>
                    <a:pt x="1852" y="2436"/>
                    <a:pt x="1909" y="2491"/>
                    <a:pt x="1954" y="2533"/>
                  </a:cubicBezTo>
                  <a:cubicBezTo>
                    <a:pt x="2009" y="2586"/>
                    <a:pt x="2049" y="2619"/>
                    <a:pt x="2112" y="2619"/>
                  </a:cubicBezTo>
                  <a:cubicBezTo>
                    <a:pt x="2121" y="2619"/>
                    <a:pt x="2130" y="2619"/>
                    <a:pt x="2139" y="2617"/>
                  </a:cubicBezTo>
                  <a:cubicBezTo>
                    <a:pt x="2151" y="2616"/>
                    <a:pt x="2167" y="2614"/>
                    <a:pt x="2185" y="2614"/>
                  </a:cubicBezTo>
                  <a:cubicBezTo>
                    <a:pt x="2223" y="2614"/>
                    <a:pt x="2269" y="2623"/>
                    <a:pt x="2290" y="2663"/>
                  </a:cubicBezTo>
                  <a:cubicBezTo>
                    <a:pt x="2325" y="2722"/>
                    <a:pt x="2276" y="2782"/>
                    <a:pt x="2209" y="2859"/>
                  </a:cubicBezTo>
                  <a:cubicBezTo>
                    <a:pt x="2160" y="2918"/>
                    <a:pt x="2083" y="3002"/>
                    <a:pt x="2083" y="3058"/>
                  </a:cubicBezTo>
                  <a:cubicBezTo>
                    <a:pt x="2143" y="3027"/>
                    <a:pt x="2199" y="2992"/>
                    <a:pt x="2255" y="2950"/>
                  </a:cubicBezTo>
                  <a:cubicBezTo>
                    <a:pt x="2318" y="2901"/>
                    <a:pt x="2388" y="2859"/>
                    <a:pt x="2458" y="2820"/>
                  </a:cubicBezTo>
                  <a:cubicBezTo>
                    <a:pt x="2518" y="2789"/>
                    <a:pt x="2584" y="2775"/>
                    <a:pt x="2651" y="2775"/>
                  </a:cubicBezTo>
                  <a:cubicBezTo>
                    <a:pt x="2655" y="2775"/>
                    <a:pt x="2660" y="2775"/>
                    <a:pt x="2664" y="2775"/>
                  </a:cubicBezTo>
                  <a:cubicBezTo>
                    <a:pt x="2740" y="2775"/>
                    <a:pt x="2815" y="2802"/>
                    <a:pt x="2871" y="2855"/>
                  </a:cubicBezTo>
                  <a:cubicBezTo>
                    <a:pt x="2927" y="2918"/>
                    <a:pt x="2931" y="3009"/>
                    <a:pt x="2885" y="3076"/>
                  </a:cubicBezTo>
                  <a:cubicBezTo>
                    <a:pt x="2889" y="3093"/>
                    <a:pt x="2966" y="3149"/>
                    <a:pt x="3113" y="3170"/>
                  </a:cubicBezTo>
                  <a:cubicBezTo>
                    <a:pt x="3140" y="3174"/>
                    <a:pt x="3168" y="3176"/>
                    <a:pt x="3197" y="3176"/>
                  </a:cubicBezTo>
                  <a:cubicBezTo>
                    <a:pt x="3301" y="3176"/>
                    <a:pt x="3409" y="3149"/>
                    <a:pt x="3452" y="3072"/>
                  </a:cubicBezTo>
                  <a:cubicBezTo>
                    <a:pt x="3512" y="2967"/>
                    <a:pt x="3477" y="2820"/>
                    <a:pt x="3417" y="2726"/>
                  </a:cubicBezTo>
                  <a:cubicBezTo>
                    <a:pt x="3375" y="2663"/>
                    <a:pt x="3340" y="2642"/>
                    <a:pt x="3330" y="2642"/>
                  </a:cubicBezTo>
                  <a:lnTo>
                    <a:pt x="3323" y="2652"/>
                  </a:lnTo>
                  <a:cubicBezTo>
                    <a:pt x="3286" y="2726"/>
                    <a:pt x="3235" y="2741"/>
                    <a:pt x="3202" y="2741"/>
                  </a:cubicBezTo>
                  <a:cubicBezTo>
                    <a:pt x="3198" y="2741"/>
                    <a:pt x="3194" y="2740"/>
                    <a:pt x="3190" y="2740"/>
                  </a:cubicBezTo>
                  <a:cubicBezTo>
                    <a:pt x="3127" y="2726"/>
                    <a:pt x="3081" y="2677"/>
                    <a:pt x="3071" y="2617"/>
                  </a:cubicBezTo>
                  <a:cubicBezTo>
                    <a:pt x="3039" y="2488"/>
                    <a:pt x="3088" y="2355"/>
                    <a:pt x="3193" y="2278"/>
                  </a:cubicBezTo>
                  <a:cubicBezTo>
                    <a:pt x="3214" y="2264"/>
                    <a:pt x="3232" y="2246"/>
                    <a:pt x="3246" y="2229"/>
                  </a:cubicBezTo>
                  <a:cubicBezTo>
                    <a:pt x="3225" y="2225"/>
                    <a:pt x="3204" y="2223"/>
                    <a:pt x="3183" y="2223"/>
                  </a:cubicBezTo>
                  <a:cubicBezTo>
                    <a:pt x="3131" y="2223"/>
                    <a:pt x="3081" y="2235"/>
                    <a:pt x="3036" y="2260"/>
                  </a:cubicBezTo>
                  <a:cubicBezTo>
                    <a:pt x="3015" y="2274"/>
                    <a:pt x="2991" y="2280"/>
                    <a:pt x="2968" y="2280"/>
                  </a:cubicBezTo>
                  <a:cubicBezTo>
                    <a:pt x="2917" y="2280"/>
                    <a:pt x="2868" y="2251"/>
                    <a:pt x="2847" y="2201"/>
                  </a:cubicBezTo>
                  <a:cubicBezTo>
                    <a:pt x="2780" y="2071"/>
                    <a:pt x="2833" y="1732"/>
                    <a:pt x="2990" y="1620"/>
                  </a:cubicBezTo>
                  <a:cubicBezTo>
                    <a:pt x="2924" y="1585"/>
                    <a:pt x="2854" y="1560"/>
                    <a:pt x="2784" y="1550"/>
                  </a:cubicBezTo>
                  <a:cubicBezTo>
                    <a:pt x="2768" y="1547"/>
                    <a:pt x="2752" y="1545"/>
                    <a:pt x="2736" y="1545"/>
                  </a:cubicBezTo>
                  <a:cubicBezTo>
                    <a:pt x="2713" y="1545"/>
                    <a:pt x="2691" y="1548"/>
                    <a:pt x="2668" y="1557"/>
                  </a:cubicBezTo>
                  <a:cubicBezTo>
                    <a:pt x="2668" y="1637"/>
                    <a:pt x="2612" y="1693"/>
                    <a:pt x="2521" y="1707"/>
                  </a:cubicBezTo>
                  <a:cubicBezTo>
                    <a:pt x="2507" y="1709"/>
                    <a:pt x="2492" y="1710"/>
                    <a:pt x="2476" y="1710"/>
                  </a:cubicBezTo>
                  <a:cubicBezTo>
                    <a:pt x="2322" y="1710"/>
                    <a:pt x="2097" y="1619"/>
                    <a:pt x="2055" y="1476"/>
                  </a:cubicBezTo>
                  <a:cubicBezTo>
                    <a:pt x="2041" y="1424"/>
                    <a:pt x="1975" y="1382"/>
                    <a:pt x="1919" y="1343"/>
                  </a:cubicBezTo>
                  <a:cubicBezTo>
                    <a:pt x="1856" y="1301"/>
                    <a:pt x="1793" y="1259"/>
                    <a:pt x="1786" y="1192"/>
                  </a:cubicBezTo>
                  <a:cubicBezTo>
                    <a:pt x="1782" y="1161"/>
                    <a:pt x="1793" y="1129"/>
                    <a:pt x="1810" y="1105"/>
                  </a:cubicBezTo>
                  <a:cubicBezTo>
                    <a:pt x="1774" y="1095"/>
                    <a:pt x="1735" y="1090"/>
                    <a:pt x="1696" y="1090"/>
                  </a:cubicBezTo>
                  <a:cubicBezTo>
                    <a:pt x="1664" y="1090"/>
                    <a:pt x="1632" y="1094"/>
                    <a:pt x="1600" y="1101"/>
                  </a:cubicBezTo>
                  <a:cubicBezTo>
                    <a:pt x="1569" y="1112"/>
                    <a:pt x="1527" y="1129"/>
                    <a:pt x="1520" y="1164"/>
                  </a:cubicBezTo>
                  <a:cubicBezTo>
                    <a:pt x="1499" y="1248"/>
                    <a:pt x="1457" y="1270"/>
                    <a:pt x="1425" y="1273"/>
                  </a:cubicBezTo>
                  <a:cubicBezTo>
                    <a:pt x="1423" y="1273"/>
                    <a:pt x="1420" y="1273"/>
                    <a:pt x="1417" y="1273"/>
                  </a:cubicBezTo>
                  <a:cubicBezTo>
                    <a:pt x="1378" y="1273"/>
                    <a:pt x="1340" y="1249"/>
                    <a:pt x="1327" y="1210"/>
                  </a:cubicBezTo>
                  <a:cubicBezTo>
                    <a:pt x="1278" y="1112"/>
                    <a:pt x="1285" y="895"/>
                    <a:pt x="1457" y="716"/>
                  </a:cubicBezTo>
                  <a:cubicBezTo>
                    <a:pt x="1537" y="625"/>
                    <a:pt x="1600" y="517"/>
                    <a:pt x="1635" y="398"/>
                  </a:cubicBezTo>
                  <a:cubicBezTo>
                    <a:pt x="1681" y="279"/>
                    <a:pt x="1719" y="170"/>
                    <a:pt x="1859" y="90"/>
                  </a:cubicBezTo>
                  <a:cubicBezTo>
                    <a:pt x="1901" y="62"/>
                    <a:pt x="1912" y="44"/>
                    <a:pt x="1912" y="37"/>
                  </a:cubicBezTo>
                  <a:cubicBezTo>
                    <a:pt x="1905" y="30"/>
                    <a:pt x="1894" y="23"/>
                    <a:pt x="1884" y="20"/>
                  </a:cubicBezTo>
                  <a:cubicBezTo>
                    <a:pt x="1850" y="7"/>
                    <a:pt x="1815" y="1"/>
                    <a:pt x="1779" y="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480" name="Google Shape;5480;p104"/>
            <p:cNvSpPr/>
            <p:nvPr/>
          </p:nvSpPr>
          <p:spPr>
            <a:xfrm>
              <a:off x="1053479" y="1595277"/>
              <a:ext cx="11704" cy="15777"/>
            </a:xfrm>
            <a:custGeom>
              <a:avLst/>
              <a:gdLst/>
              <a:ahLst/>
              <a:cxnLst/>
              <a:rect l="l" t="t" r="r" b="b"/>
              <a:pathLst>
                <a:path w="862" h="1162" extrusionOk="0">
                  <a:moveTo>
                    <a:pt x="329" y="0"/>
                  </a:moveTo>
                  <a:cubicBezTo>
                    <a:pt x="325" y="0"/>
                    <a:pt x="320" y="0"/>
                    <a:pt x="316" y="1"/>
                  </a:cubicBezTo>
                  <a:cubicBezTo>
                    <a:pt x="232" y="4"/>
                    <a:pt x="148" y="29"/>
                    <a:pt x="74" y="74"/>
                  </a:cubicBezTo>
                  <a:cubicBezTo>
                    <a:pt x="29" y="95"/>
                    <a:pt x="1" y="144"/>
                    <a:pt x="4" y="197"/>
                  </a:cubicBezTo>
                  <a:cubicBezTo>
                    <a:pt x="1" y="470"/>
                    <a:pt x="445" y="970"/>
                    <a:pt x="715" y="1121"/>
                  </a:cubicBezTo>
                  <a:cubicBezTo>
                    <a:pt x="776" y="1155"/>
                    <a:pt x="811" y="1161"/>
                    <a:pt x="828" y="1161"/>
                  </a:cubicBezTo>
                  <a:cubicBezTo>
                    <a:pt x="837" y="1161"/>
                    <a:pt x="841" y="1160"/>
                    <a:pt x="841" y="1160"/>
                  </a:cubicBezTo>
                  <a:cubicBezTo>
                    <a:pt x="862" y="1128"/>
                    <a:pt x="774" y="953"/>
                    <a:pt x="725" y="858"/>
                  </a:cubicBezTo>
                  <a:cubicBezTo>
                    <a:pt x="641" y="697"/>
                    <a:pt x="550" y="519"/>
                    <a:pt x="550" y="372"/>
                  </a:cubicBezTo>
                  <a:cubicBezTo>
                    <a:pt x="550" y="204"/>
                    <a:pt x="501" y="74"/>
                    <a:pt x="421" y="25"/>
                  </a:cubicBezTo>
                  <a:cubicBezTo>
                    <a:pt x="393" y="10"/>
                    <a:pt x="361" y="0"/>
                    <a:pt x="329"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481" name="Google Shape;5481;p104"/>
            <p:cNvSpPr/>
            <p:nvPr/>
          </p:nvSpPr>
          <p:spPr>
            <a:xfrm>
              <a:off x="1341580" y="1422123"/>
              <a:ext cx="1439" cy="2009"/>
            </a:xfrm>
            <a:custGeom>
              <a:avLst/>
              <a:gdLst/>
              <a:ahLst/>
              <a:cxnLst/>
              <a:rect l="l" t="t" r="r" b="b"/>
              <a:pathLst>
                <a:path w="106" h="148" extrusionOk="0">
                  <a:moveTo>
                    <a:pt x="105" y="0"/>
                  </a:moveTo>
                  <a:lnTo>
                    <a:pt x="77" y="32"/>
                  </a:lnTo>
                  <a:cubicBezTo>
                    <a:pt x="32" y="81"/>
                    <a:pt x="0" y="116"/>
                    <a:pt x="0" y="147"/>
                  </a:cubicBezTo>
                  <a:cubicBezTo>
                    <a:pt x="42" y="102"/>
                    <a:pt x="77" y="53"/>
                    <a:pt x="105"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482" name="Google Shape;5482;p104"/>
            <p:cNvSpPr/>
            <p:nvPr/>
          </p:nvSpPr>
          <p:spPr>
            <a:xfrm>
              <a:off x="993779" y="1350298"/>
              <a:ext cx="636812" cy="355798"/>
            </a:xfrm>
            <a:custGeom>
              <a:avLst/>
              <a:gdLst/>
              <a:ahLst/>
              <a:cxnLst/>
              <a:rect l="l" t="t" r="r" b="b"/>
              <a:pathLst>
                <a:path w="46902" h="26205" extrusionOk="0">
                  <a:moveTo>
                    <a:pt x="26126" y="0"/>
                  </a:moveTo>
                  <a:cubicBezTo>
                    <a:pt x="25749" y="0"/>
                    <a:pt x="25224" y="93"/>
                    <a:pt x="25161" y="165"/>
                  </a:cubicBezTo>
                  <a:cubicBezTo>
                    <a:pt x="25158" y="165"/>
                    <a:pt x="25158" y="168"/>
                    <a:pt x="25154" y="168"/>
                  </a:cubicBezTo>
                  <a:cubicBezTo>
                    <a:pt x="25154" y="182"/>
                    <a:pt x="25196" y="221"/>
                    <a:pt x="25217" y="242"/>
                  </a:cubicBezTo>
                  <a:cubicBezTo>
                    <a:pt x="25277" y="301"/>
                    <a:pt x="25350" y="371"/>
                    <a:pt x="25319" y="466"/>
                  </a:cubicBezTo>
                  <a:cubicBezTo>
                    <a:pt x="25312" y="498"/>
                    <a:pt x="25287" y="526"/>
                    <a:pt x="25259" y="540"/>
                  </a:cubicBezTo>
                  <a:cubicBezTo>
                    <a:pt x="25241" y="548"/>
                    <a:pt x="25222" y="551"/>
                    <a:pt x="25203" y="551"/>
                  </a:cubicBezTo>
                  <a:cubicBezTo>
                    <a:pt x="25156" y="551"/>
                    <a:pt x="25106" y="530"/>
                    <a:pt x="25056" y="508"/>
                  </a:cubicBezTo>
                  <a:cubicBezTo>
                    <a:pt x="25018" y="487"/>
                    <a:pt x="24976" y="473"/>
                    <a:pt x="24934" y="470"/>
                  </a:cubicBezTo>
                  <a:lnTo>
                    <a:pt x="24934" y="470"/>
                  </a:lnTo>
                  <a:cubicBezTo>
                    <a:pt x="24934" y="505"/>
                    <a:pt x="24941" y="540"/>
                    <a:pt x="24948" y="571"/>
                  </a:cubicBezTo>
                  <a:cubicBezTo>
                    <a:pt x="24976" y="729"/>
                    <a:pt x="24983" y="890"/>
                    <a:pt x="24969" y="1047"/>
                  </a:cubicBezTo>
                  <a:cubicBezTo>
                    <a:pt x="24944" y="1362"/>
                    <a:pt x="25004" y="1429"/>
                    <a:pt x="25091" y="1523"/>
                  </a:cubicBezTo>
                  <a:cubicBezTo>
                    <a:pt x="25112" y="1548"/>
                    <a:pt x="25137" y="1576"/>
                    <a:pt x="25161" y="1607"/>
                  </a:cubicBezTo>
                  <a:cubicBezTo>
                    <a:pt x="25280" y="1761"/>
                    <a:pt x="25277" y="1947"/>
                    <a:pt x="25273" y="2164"/>
                  </a:cubicBezTo>
                  <a:lnTo>
                    <a:pt x="25273" y="2279"/>
                  </a:lnTo>
                  <a:cubicBezTo>
                    <a:pt x="25273" y="2525"/>
                    <a:pt x="25091" y="2581"/>
                    <a:pt x="24983" y="2616"/>
                  </a:cubicBezTo>
                  <a:lnTo>
                    <a:pt x="24944" y="2630"/>
                  </a:lnTo>
                  <a:lnTo>
                    <a:pt x="24965" y="2651"/>
                  </a:lnTo>
                  <a:cubicBezTo>
                    <a:pt x="25032" y="2707"/>
                    <a:pt x="25140" y="2805"/>
                    <a:pt x="25102" y="2938"/>
                  </a:cubicBezTo>
                  <a:cubicBezTo>
                    <a:pt x="25091" y="2980"/>
                    <a:pt x="25067" y="3015"/>
                    <a:pt x="25028" y="3032"/>
                  </a:cubicBezTo>
                  <a:cubicBezTo>
                    <a:pt x="25010" y="3040"/>
                    <a:pt x="24991" y="3044"/>
                    <a:pt x="24971" y="3044"/>
                  </a:cubicBezTo>
                  <a:cubicBezTo>
                    <a:pt x="24915" y="3044"/>
                    <a:pt x="24852" y="3015"/>
                    <a:pt x="24790" y="2987"/>
                  </a:cubicBezTo>
                  <a:cubicBezTo>
                    <a:pt x="24737" y="2963"/>
                    <a:pt x="24674" y="2934"/>
                    <a:pt x="24632" y="2934"/>
                  </a:cubicBezTo>
                  <a:cubicBezTo>
                    <a:pt x="24625" y="2934"/>
                    <a:pt x="24618" y="2935"/>
                    <a:pt x="24612" y="2938"/>
                  </a:cubicBezTo>
                  <a:cubicBezTo>
                    <a:pt x="24573" y="2948"/>
                    <a:pt x="24506" y="3050"/>
                    <a:pt x="24482" y="3172"/>
                  </a:cubicBezTo>
                  <a:cubicBezTo>
                    <a:pt x="24461" y="3284"/>
                    <a:pt x="24475" y="3379"/>
                    <a:pt x="24524" y="3417"/>
                  </a:cubicBezTo>
                  <a:cubicBezTo>
                    <a:pt x="24559" y="3445"/>
                    <a:pt x="24587" y="3466"/>
                    <a:pt x="24612" y="3484"/>
                  </a:cubicBezTo>
                  <a:cubicBezTo>
                    <a:pt x="24661" y="3519"/>
                    <a:pt x="24703" y="3550"/>
                    <a:pt x="24710" y="3603"/>
                  </a:cubicBezTo>
                  <a:cubicBezTo>
                    <a:pt x="24717" y="3655"/>
                    <a:pt x="24689" y="3701"/>
                    <a:pt x="24633" y="3774"/>
                  </a:cubicBezTo>
                  <a:cubicBezTo>
                    <a:pt x="24485" y="3963"/>
                    <a:pt x="24436" y="4124"/>
                    <a:pt x="24657" y="4299"/>
                  </a:cubicBezTo>
                  <a:cubicBezTo>
                    <a:pt x="24804" y="4415"/>
                    <a:pt x="25025" y="4464"/>
                    <a:pt x="25235" y="4509"/>
                  </a:cubicBezTo>
                  <a:cubicBezTo>
                    <a:pt x="25431" y="4555"/>
                    <a:pt x="25616" y="4594"/>
                    <a:pt x="25756" y="4685"/>
                  </a:cubicBezTo>
                  <a:cubicBezTo>
                    <a:pt x="25844" y="4741"/>
                    <a:pt x="25893" y="4786"/>
                    <a:pt x="25886" y="4846"/>
                  </a:cubicBezTo>
                  <a:cubicBezTo>
                    <a:pt x="25882" y="4902"/>
                    <a:pt x="25830" y="4919"/>
                    <a:pt x="25798" y="4933"/>
                  </a:cubicBezTo>
                  <a:cubicBezTo>
                    <a:pt x="25781" y="4940"/>
                    <a:pt x="25767" y="4947"/>
                    <a:pt x="25753" y="4958"/>
                  </a:cubicBezTo>
                  <a:cubicBezTo>
                    <a:pt x="25756" y="4968"/>
                    <a:pt x="25760" y="4979"/>
                    <a:pt x="25767" y="4989"/>
                  </a:cubicBezTo>
                  <a:cubicBezTo>
                    <a:pt x="25798" y="5042"/>
                    <a:pt x="25805" y="5108"/>
                    <a:pt x="25788" y="5168"/>
                  </a:cubicBezTo>
                  <a:cubicBezTo>
                    <a:pt x="25832" y="5115"/>
                    <a:pt x="25873" y="5100"/>
                    <a:pt x="25908" y="5100"/>
                  </a:cubicBezTo>
                  <a:cubicBezTo>
                    <a:pt x="25920" y="5100"/>
                    <a:pt x="25931" y="5102"/>
                    <a:pt x="25942" y="5105"/>
                  </a:cubicBezTo>
                  <a:cubicBezTo>
                    <a:pt x="26071" y="5140"/>
                    <a:pt x="26120" y="5402"/>
                    <a:pt x="26113" y="5570"/>
                  </a:cubicBezTo>
                  <a:cubicBezTo>
                    <a:pt x="26103" y="5735"/>
                    <a:pt x="26001" y="5770"/>
                    <a:pt x="25921" y="5798"/>
                  </a:cubicBezTo>
                  <a:cubicBezTo>
                    <a:pt x="25840" y="5815"/>
                    <a:pt x="25770" y="5864"/>
                    <a:pt x="25725" y="5931"/>
                  </a:cubicBezTo>
                  <a:cubicBezTo>
                    <a:pt x="25587" y="6131"/>
                    <a:pt x="25451" y="6196"/>
                    <a:pt x="25294" y="6196"/>
                  </a:cubicBezTo>
                  <a:cubicBezTo>
                    <a:pt x="25240" y="6196"/>
                    <a:pt x="25183" y="6188"/>
                    <a:pt x="25123" y="6176"/>
                  </a:cubicBezTo>
                  <a:cubicBezTo>
                    <a:pt x="25114" y="6173"/>
                    <a:pt x="25106" y="6172"/>
                    <a:pt x="25100" y="6172"/>
                  </a:cubicBezTo>
                  <a:cubicBezTo>
                    <a:pt x="25092" y="6172"/>
                    <a:pt x="25086" y="6174"/>
                    <a:pt x="25084" y="6176"/>
                  </a:cubicBezTo>
                  <a:cubicBezTo>
                    <a:pt x="25060" y="6207"/>
                    <a:pt x="25077" y="6365"/>
                    <a:pt x="25196" y="6617"/>
                  </a:cubicBezTo>
                  <a:cubicBezTo>
                    <a:pt x="25263" y="6754"/>
                    <a:pt x="25235" y="6834"/>
                    <a:pt x="25196" y="6876"/>
                  </a:cubicBezTo>
                  <a:cubicBezTo>
                    <a:pt x="25158" y="6921"/>
                    <a:pt x="25098" y="6943"/>
                    <a:pt x="25016" y="6943"/>
                  </a:cubicBezTo>
                  <a:cubicBezTo>
                    <a:pt x="24963" y="6943"/>
                    <a:pt x="24900" y="6934"/>
                    <a:pt x="24829" y="6915"/>
                  </a:cubicBezTo>
                  <a:cubicBezTo>
                    <a:pt x="24636" y="6862"/>
                    <a:pt x="24503" y="6764"/>
                    <a:pt x="24457" y="6645"/>
                  </a:cubicBezTo>
                  <a:cubicBezTo>
                    <a:pt x="24422" y="6550"/>
                    <a:pt x="24440" y="6445"/>
                    <a:pt x="24499" y="6365"/>
                  </a:cubicBezTo>
                  <a:cubicBezTo>
                    <a:pt x="24612" y="6186"/>
                    <a:pt x="24643" y="6078"/>
                    <a:pt x="24643" y="6039"/>
                  </a:cubicBezTo>
                  <a:lnTo>
                    <a:pt x="24636" y="6039"/>
                  </a:lnTo>
                  <a:cubicBezTo>
                    <a:pt x="24603" y="6045"/>
                    <a:pt x="24562" y="6048"/>
                    <a:pt x="24516" y="6048"/>
                  </a:cubicBezTo>
                  <a:cubicBezTo>
                    <a:pt x="24323" y="6048"/>
                    <a:pt x="24044" y="5993"/>
                    <a:pt x="23939" y="5829"/>
                  </a:cubicBezTo>
                  <a:cubicBezTo>
                    <a:pt x="23922" y="5798"/>
                    <a:pt x="23873" y="5728"/>
                    <a:pt x="23911" y="5668"/>
                  </a:cubicBezTo>
                  <a:cubicBezTo>
                    <a:pt x="23933" y="5635"/>
                    <a:pt x="23973" y="5622"/>
                    <a:pt x="24032" y="5622"/>
                  </a:cubicBezTo>
                  <a:cubicBezTo>
                    <a:pt x="24078" y="5622"/>
                    <a:pt x="24135" y="5630"/>
                    <a:pt x="24205" y="5640"/>
                  </a:cubicBezTo>
                  <a:cubicBezTo>
                    <a:pt x="24265" y="5651"/>
                    <a:pt x="24331" y="5661"/>
                    <a:pt x="24401" y="5668"/>
                  </a:cubicBezTo>
                  <a:cubicBezTo>
                    <a:pt x="24424" y="5671"/>
                    <a:pt x="24442" y="5672"/>
                    <a:pt x="24456" y="5672"/>
                  </a:cubicBezTo>
                  <a:cubicBezTo>
                    <a:pt x="24494" y="5672"/>
                    <a:pt x="24503" y="5665"/>
                    <a:pt x="24503" y="5665"/>
                  </a:cubicBezTo>
                  <a:cubicBezTo>
                    <a:pt x="24506" y="5651"/>
                    <a:pt x="24510" y="5637"/>
                    <a:pt x="24506" y="5623"/>
                  </a:cubicBezTo>
                  <a:cubicBezTo>
                    <a:pt x="24506" y="5570"/>
                    <a:pt x="24506" y="5448"/>
                    <a:pt x="24685" y="5448"/>
                  </a:cubicBezTo>
                  <a:cubicBezTo>
                    <a:pt x="24762" y="5451"/>
                    <a:pt x="24836" y="5458"/>
                    <a:pt x="24909" y="5476"/>
                  </a:cubicBezTo>
                  <a:cubicBezTo>
                    <a:pt x="24968" y="5486"/>
                    <a:pt x="25020" y="5495"/>
                    <a:pt x="25068" y="5495"/>
                  </a:cubicBezTo>
                  <a:cubicBezTo>
                    <a:pt x="25139" y="5495"/>
                    <a:pt x="25203" y="5476"/>
                    <a:pt x="25273" y="5416"/>
                  </a:cubicBezTo>
                  <a:cubicBezTo>
                    <a:pt x="25343" y="5357"/>
                    <a:pt x="25319" y="5276"/>
                    <a:pt x="25280" y="5217"/>
                  </a:cubicBezTo>
                  <a:cubicBezTo>
                    <a:pt x="25225" y="5118"/>
                    <a:pt x="25120" y="5052"/>
                    <a:pt x="25058" y="5052"/>
                  </a:cubicBezTo>
                  <a:cubicBezTo>
                    <a:pt x="25049" y="5052"/>
                    <a:pt x="25042" y="5053"/>
                    <a:pt x="25035" y="5056"/>
                  </a:cubicBezTo>
                  <a:cubicBezTo>
                    <a:pt x="24899" y="5103"/>
                    <a:pt x="24793" y="5127"/>
                    <a:pt x="24711" y="5127"/>
                  </a:cubicBezTo>
                  <a:cubicBezTo>
                    <a:pt x="24654" y="5127"/>
                    <a:pt x="24610" y="5115"/>
                    <a:pt x="24577" y="5091"/>
                  </a:cubicBezTo>
                  <a:cubicBezTo>
                    <a:pt x="24535" y="5059"/>
                    <a:pt x="24510" y="5010"/>
                    <a:pt x="24510" y="4958"/>
                  </a:cubicBezTo>
                  <a:cubicBezTo>
                    <a:pt x="24510" y="4916"/>
                    <a:pt x="24528" y="4874"/>
                    <a:pt x="24559" y="4842"/>
                  </a:cubicBezTo>
                  <a:cubicBezTo>
                    <a:pt x="24599" y="4807"/>
                    <a:pt x="24654" y="4798"/>
                    <a:pt x="24716" y="4798"/>
                  </a:cubicBezTo>
                  <a:cubicBezTo>
                    <a:pt x="24753" y="4798"/>
                    <a:pt x="24792" y="4801"/>
                    <a:pt x="24832" y="4804"/>
                  </a:cubicBezTo>
                  <a:cubicBezTo>
                    <a:pt x="24868" y="4810"/>
                    <a:pt x="24903" y="4813"/>
                    <a:pt x="24938" y="4813"/>
                  </a:cubicBezTo>
                  <a:cubicBezTo>
                    <a:pt x="24958" y="4813"/>
                    <a:pt x="24977" y="4812"/>
                    <a:pt x="24997" y="4811"/>
                  </a:cubicBezTo>
                  <a:cubicBezTo>
                    <a:pt x="24938" y="4760"/>
                    <a:pt x="24862" y="4733"/>
                    <a:pt x="24784" y="4733"/>
                  </a:cubicBezTo>
                  <a:cubicBezTo>
                    <a:pt x="24761" y="4733"/>
                    <a:pt x="24737" y="4736"/>
                    <a:pt x="24713" y="4741"/>
                  </a:cubicBezTo>
                  <a:cubicBezTo>
                    <a:pt x="24624" y="4764"/>
                    <a:pt x="24537" y="4782"/>
                    <a:pt x="24451" y="4782"/>
                  </a:cubicBezTo>
                  <a:cubicBezTo>
                    <a:pt x="24315" y="4782"/>
                    <a:pt x="24182" y="4736"/>
                    <a:pt x="24044" y="4590"/>
                  </a:cubicBezTo>
                  <a:cubicBezTo>
                    <a:pt x="23964" y="4504"/>
                    <a:pt x="23847" y="4428"/>
                    <a:pt x="23744" y="4428"/>
                  </a:cubicBezTo>
                  <a:cubicBezTo>
                    <a:pt x="23726" y="4428"/>
                    <a:pt x="23708" y="4431"/>
                    <a:pt x="23691" y="4436"/>
                  </a:cubicBezTo>
                  <a:cubicBezTo>
                    <a:pt x="23589" y="4464"/>
                    <a:pt x="23544" y="4597"/>
                    <a:pt x="23526" y="4702"/>
                  </a:cubicBezTo>
                  <a:cubicBezTo>
                    <a:pt x="23463" y="5056"/>
                    <a:pt x="23250" y="5063"/>
                    <a:pt x="23110" y="5070"/>
                  </a:cubicBezTo>
                  <a:cubicBezTo>
                    <a:pt x="23033" y="5070"/>
                    <a:pt x="22984" y="5073"/>
                    <a:pt x="22956" y="5108"/>
                  </a:cubicBezTo>
                  <a:cubicBezTo>
                    <a:pt x="22931" y="5136"/>
                    <a:pt x="22938" y="5147"/>
                    <a:pt x="22938" y="5150"/>
                  </a:cubicBezTo>
                  <a:cubicBezTo>
                    <a:pt x="22959" y="5196"/>
                    <a:pt x="23117" y="5269"/>
                    <a:pt x="23393" y="5280"/>
                  </a:cubicBezTo>
                  <a:cubicBezTo>
                    <a:pt x="23680" y="5290"/>
                    <a:pt x="23918" y="5500"/>
                    <a:pt x="23918" y="5626"/>
                  </a:cubicBezTo>
                  <a:cubicBezTo>
                    <a:pt x="23915" y="5685"/>
                    <a:pt x="23869" y="5728"/>
                    <a:pt x="23815" y="5728"/>
                  </a:cubicBezTo>
                  <a:cubicBezTo>
                    <a:pt x="23811" y="5728"/>
                    <a:pt x="23807" y="5728"/>
                    <a:pt x="23803" y="5728"/>
                  </a:cubicBezTo>
                  <a:cubicBezTo>
                    <a:pt x="23775" y="5728"/>
                    <a:pt x="23768" y="5735"/>
                    <a:pt x="23743" y="5784"/>
                  </a:cubicBezTo>
                  <a:cubicBezTo>
                    <a:pt x="23729" y="5829"/>
                    <a:pt x="23694" y="5868"/>
                    <a:pt x="23652" y="5885"/>
                  </a:cubicBezTo>
                  <a:cubicBezTo>
                    <a:pt x="23637" y="5890"/>
                    <a:pt x="23622" y="5892"/>
                    <a:pt x="23606" y="5892"/>
                  </a:cubicBezTo>
                  <a:cubicBezTo>
                    <a:pt x="23575" y="5892"/>
                    <a:pt x="23545" y="5883"/>
                    <a:pt x="23519" y="5864"/>
                  </a:cubicBezTo>
                  <a:cubicBezTo>
                    <a:pt x="23481" y="5846"/>
                    <a:pt x="23446" y="5840"/>
                    <a:pt x="23417" y="5840"/>
                  </a:cubicBezTo>
                  <a:cubicBezTo>
                    <a:pt x="23385" y="5840"/>
                    <a:pt x="23362" y="5848"/>
                    <a:pt x="23355" y="5857"/>
                  </a:cubicBezTo>
                  <a:cubicBezTo>
                    <a:pt x="23351" y="5861"/>
                    <a:pt x="23355" y="5882"/>
                    <a:pt x="23379" y="5910"/>
                  </a:cubicBezTo>
                  <a:cubicBezTo>
                    <a:pt x="23481" y="6032"/>
                    <a:pt x="23428" y="6130"/>
                    <a:pt x="23393" y="6190"/>
                  </a:cubicBezTo>
                  <a:cubicBezTo>
                    <a:pt x="23372" y="6221"/>
                    <a:pt x="23358" y="6260"/>
                    <a:pt x="23358" y="6298"/>
                  </a:cubicBezTo>
                  <a:cubicBezTo>
                    <a:pt x="23365" y="6340"/>
                    <a:pt x="23351" y="6379"/>
                    <a:pt x="23320" y="6407"/>
                  </a:cubicBezTo>
                  <a:cubicBezTo>
                    <a:pt x="23293" y="6429"/>
                    <a:pt x="23260" y="6438"/>
                    <a:pt x="23219" y="6438"/>
                  </a:cubicBezTo>
                  <a:cubicBezTo>
                    <a:pt x="23164" y="6438"/>
                    <a:pt x="23096" y="6422"/>
                    <a:pt x="23015" y="6403"/>
                  </a:cubicBezTo>
                  <a:cubicBezTo>
                    <a:pt x="22938" y="6382"/>
                    <a:pt x="22858" y="6368"/>
                    <a:pt x="22777" y="6358"/>
                  </a:cubicBezTo>
                  <a:cubicBezTo>
                    <a:pt x="22750" y="6355"/>
                    <a:pt x="22720" y="6354"/>
                    <a:pt x="22686" y="6354"/>
                  </a:cubicBezTo>
                  <a:cubicBezTo>
                    <a:pt x="22479" y="6354"/>
                    <a:pt x="22146" y="6401"/>
                    <a:pt x="21730" y="6491"/>
                  </a:cubicBezTo>
                  <a:cubicBezTo>
                    <a:pt x="21657" y="6506"/>
                    <a:pt x="21582" y="6513"/>
                    <a:pt x="21509" y="6513"/>
                  </a:cubicBezTo>
                  <a:cubicBezTo>
                    <a:pt x="21213" y="6513"/>
                    <a:pt x="20932" y="6401"/>
                    <a:pt x="20806" y="6263"/>
                  </a:cubicBezTo>
                  <a:cubicBezTo>
                    <a:pt x="20714" y="6165"/>
                    <a:pt x="20598" y="6150"/>
                    <a:pt x="20443" y="6150"/>
                  </a:cubicBezTo>
                  <a:cubicBezTo>
                    <a:pt x="20416" y="6150"/>
                    <a:pt x="20388" y="6151"/>
                    <a:pt x="20358" y="6151"/>
                  </a:cubicBezTo>
                  <a:lnTo>
                    <a:pt x="20270" y="6151"/>
                  </a:lnTo>
                  <a:cubicBezTo>
                    <a:pt x="20267" y="6152"/>
                    <a:pt x="20264" y="6152"/>
                    <a:pt x="20260" y="6152"/>
                  </a:cubicBezTo>
                  <a:cubicBezTo>
                    <a:pt x="20163" y="6152"/>
                    <a:pt x="20072" y="6103"/>
                    <a:pt x="20015" y="6018"/>
                  </a:cubicBezTo>
                  <a:cubicBezTo>
                    <a:pt x="19964" y="5948"/>
                    <a:pt x="19882" y="5906"/>
                    <a:pt x="19794" y="5906"/>
                  </a:cubicBezTo>
                  <a:cubicBezTo>
                    <a:pt x="19791" y="5906"/>
                    <a:pt x="19787" y="5906"/>
                    <a:pt x="19784" y="5906"/>
                  </a:cubicBezTo>
                  <a:cubicBezTo>
                    <a:pt x="19479" y="5896"/>
                    <a:pt x="19465" y="5672"/>
                    <a:pt x="19455" y="5525"/>
                  </a:cubicBezTo>
                  <a:cubicBezTo>
                    <a:pt x="19455" y="5490"/>
                    <a:pt x="19451" y="5455"/>
                    <a:pt x="19444" y="5420"/>
                  </a:cubicBezTo>
                  <a:cubicBezTo>
                    <a:pt x="19430" y="5406"/>
                    <a:pt x="19409" y="5395"/>
                    <a:pt x="19388" y="5392"/>
                  </a:cubicBezTo>
                  <a:cubicBezTo>
                    <a:pt x="19341" y="5378"/>
                    <a:pt x="19278" y="5372"/>
                    <a:pt x="19208" y="5372"/>
                  </a:cubicBezTo>
                  <a:cubicBezTo>
                    <a:pt x="19012" y="5372"/>
                    <a:pt x="18762" y="5422"/>
                    <a:pt x="18646" y="5497"/>
                  </a:cubicBezTo>
                  <a:cubicBezTo>
                    <a:pt x="18545" y="5560"/>
                    <a:pt x="18415" y="5588"/>
                    <a:pt x="18289" y="5612"/>
                  </a:cubicBezTo>
                  <a:cubicBezTo>
                    <a:pt x="18103" y="5651"/>
                    <a:pt x="17932" y="5686"/>
                    <a:pt x="17869" y="5819"/>
                  </a:cubicBezTo>
                  <a:cubicBezTo>
                    <a:pt x="17830" y="5906"/>
                    <a:pt x="17844" y="5934"/>
                    <a:pt x="17844" y="5938"/>
                  </a:cubicBezTo>
                  <a:cubicBezTo>
                    <a:pt x="17858" y="5957"/>
                    <a:pt x="17918" y="5959"/>
                    <a:pt x="17967" y="5959"/>
                  </a:cubicBezTo>
                  <a:cubicBezTo>
                    <a:pt x="17981" y="5959"/>
                    <a:pt x="17995" y="5959"/>
                    <a:pt x="18005" y="5959"/>
                  </a:cubicBezTo>
                  <a:lnTo>
                    <a:pt x="18051" y="5959"/>
                  </a:lnTo>
                  <a:cubicBezTo>
                    <a:pt x="18100" y="5959"/>
                    <a:pt x="18124" y="5938"/>
                    <a:pt x="18173" y="5899"/>
                  </a:cubicBezTo>
                  <a:cubicBezTo>
                    <a:pt x="18233" y="5846"/>
                    <a:pt x="18309" y="5780"/>
                    <a:pt x="18471" y="5780"/>
                  </a:cubicBezTo>
                  <a:cubicBezTo>
                    <a:pt x="18501" y="5780"/>
                    <a:pt x="18533" y="5782"/>
                    <a:pt x="18569" y="5787"/>
                  </a:cubicBezTo>
                  <a:cubicBezTo>
                    <a:pt x="18586" y="5790"/>
                    <a:pt x="18602" y="5791"/>
                    <a:pt x="18618" y="5791"/>
                  </a:cubicBezTo>
                  <a:cubicBezTo>
                    <a:pt x="18749" y="5791"/>
                    <a:pt x="18866" y="5720"/>
                    <a:pt x="18972" y="5654"/>
                  </a:cubicBezTo>
                  <a:cubicBezTo>
                    <a:pt x="19054" y="5602"/>
                    <a:pt x="19138" y="5549"/>
                    <a:pt x="19216" y="5549"/>
                  </a:cubicBezTo>
                  <a:cubicBezTo>
                    <a:pt x="19258" y="5549"/>
                    <a:pt x="19298" y="5564"/>
                    <a:pt x="19336" y="5602"/>
                  </a:cubicBezTo>
                  <a:cubicBezTo>
                    <a:pt x="19371" y="5633"/>
                    <a:pt x="19381" y="5686"/>
                    <a:pt x="19367" y="5731"/>
                  </a:cubicBezTo>
                  <a:cubicBezTo>
                    <a:pt x="19301" y="5927"/>
                    <a:pt x="18657" y="6148"/>
                    <a:pt x="18401" y="6186"/>
                  </a:cubicBezTo>
                  <a:cubicBezTo>
                    <a:pt x="18286" y="6204"/>
                    <a:pt x="18268" y="6246"/>
                    <a:pt x="18261" y="6260"/>
                  </a:cubicBezTo>
                  <a:cubicBezTo>
                    <a:pt x="18205" y="6389"/>
                    <a:pt x="18429" y="6726"/>
                    <a:pt x="18506" y="6838"/>
                  </a:cubicBezTo>
                  <a:cubicBezTo>
                    <a:pt x="18611" y="6992"/>
                    <a:pt x="18643" y="7083"/>
                    <a:pt x="18615" y="7153"/>
                  </a:cubicBezTo>
                  <a:cubicBezTo>
                    <a:pt x="18583" y="7219"/>
                    <a:pt x="18513" y="7230"/>
                    <a:pt x="18461" y="7240"/>
                  </a:cubicBezTo>
                  <a:cubicBezTo>
                    <a:pt x="18384" y="7254"/>
                    <a:pt x="18384" y="7261"/>
                    <a:pt x="18384" y="7282"/>
                  </a:cubicBezTo>
                  <a:cubicBezTo>
                    <a:pt x="18387" y="7359"/>
                    <a:pt x="18324" y="7426"/>
                    <a:pt x="18247" y="7426"/>
                  </a:cubicBezTo>
                  <a:cubicBezTo>
                    <a:pt x="18240" y="7426"/>
                    <a:pt x="18232" y="7427"/>
                    <a:pt x="18224" y="7427"/>
                  </a:cubicBezTo>
                  <a:cubicBezTo>
                    <a:pt x="18091" y="7427"/>
                    <a:pt x="17882" y="7321"/>
                    <a:pt x="17858" y="7212"/>
                  </a:cubicBezTo>
                  <a:cubicBezTo>
                    <a:pt x="17848" y="7163"/>
                    <a:pt x="17869" y="7104"/>
                    <a:pt x="17956" y="7076"/>
                  </a:cubicBezTo>
                  <a:cubicBezTo>
                    <a:pt x="18033" y="7051"/>
                    <a:pt x="18040" y="7016"/>
                    <a:pt x="18040" y="7006"/>
                  </a:cubicBezTo>
                  <a:cubicBezTo>
                    <a:pt x="18054" y="6939"/>
                    <a:pt x="17984" y="6827"/>
                    <a:pt x="17876" y="6743"/>
                  </a:cubicBezTo>
                  <a:cubicBezTo>
                    <a:pt x="17830" y="6704"/>
                    <a:pt x="17773" y="6683"/>
                    <a:pt x="17714" y="6683"/>
                  </a:cubicBezTo>
                  <a:cubicBezTo>
                    <a:pt x="17710" y="6683"/>
                    <a:pt x="17705" y="6683"/>
                    <a:pt x="17701" y="6684"/>
                  </a:cubicBezTo>
                  <a:cubicBezTo>
                    <a:pt x="17697" y="6684"/>
                    <a:pt x="17692" y="6684"/>
                    <a:pt x="17688" y="6684"/>
                  </a:cubicBezTo>
                  <a:cubicBezTo>
                    <a:pt x="17651" y="6684"/>
                    <a:pt x="17618" y="6670"/>
                    <a:pt x="17592" y="6645"/>
                  </a:cubicBezTo>
                  <a:cubicBezTo>
                    <a:pt x="17568" y="6610"/>
                    <a:pt x="17561" y="6568"/>
                    <a:pt x="17571" y="6526"/>
                  </a:cubicBezTo>
                  <a:cubicBezTo>
                    <a:pt x="17557" y="6526"/>
                    <a:pt x="17543" y="6526"/>
                    <a:pt x="17529" y="6529"/>
                  </a:cubicBezTo>
                  <a:cubicBezTo>
                    <a:pt x="17508" y="6531"/>
                    <a:pt x="17483" y="6533"/>
                    <a:pt x="17456" y="6533"/>
                  </a:cubicBezTo>
                  <a:cubicBezTo>
                    <a:pt x="17388" y="6533"/>
                    <a:pt x="17307" y="6521"/>
                    <a:pt x="17232" y="6463"/>
                  </a:cubicBezTo>
                  <a:lnTo>
                    <a:pt x="17176" y="6421"/>
                  </a:lnTo>
                  <a:cubicBezTo>
                    <a:pt x="17090" y="6351"/>
                    <a:pt x="17035" y="6306"/>
                    <a:pt x="16963" y="6306"/>
                  </a:cubicBezTo>
                  <a:cubicBezTo>
                    <a:pt x="16923" y="6306"/>
                    <a:pt x="16877" y="6320"/>
                    <a:pt x="16819" y="6351"/>
                  </a:cubicBezTo>
                  <a:cubicBezTo>
                    <a:pt x="16661" y="6431"/>
                    <a:pt x="16500" y="6445"/>
                    <a:pt x="16273" y="6466"/>
                  </a:cubicBezTo>
                  <a:cubicBezTo>
                    <a:pt x="16136" y="6480"/>
                    <a:pt x="15982" y="6494"/>
                    <a:pt x="15789" y="6526"/>
                  </a:cubicBezTo>
                  <a:cubicBezTo>
                    <a:pt x="15613" y="6555"/>
                    <a:pt x="15359" y="6573"/>
                    <a:pt x="15100" y="6573"/>
                  </a:cubicBezTo>
                  <a:cubicBezTo>
                    <a:pt x="14680" y="6573"/>
                    <a:pt x="14247" y="6526"/>
                    <a:pt x="14119" y="6400"/>
                  </a:cubicBezTo>
                  <a:cubicBezTo>
                    <a:pt x="14063" y="6344"/>
                    <a:pt x="14056" y="6256"/>
                    <a:pt x="14098" y="6190"/>
                  </a:cubicBezTo>
                  <a:cubicBezTo>
                    <a:pt x="14193" y="6029"/>
                    <a:pt x="14539" y="5858"/>
                    <a:pt x="14738" y="5858"/>
                  </a:cubicBezTo>
                  <a:cubicBezTo>
                    <a:pt x="14760" y="5858"/>
                    <a:pt x="14781" y="5860"/>
                    <a:pt x="14799" y="5864"/>
                  </a:cubicBezTo>
                  <a:cubicBezTo>
                    <a:pt x="14778" y="5808"/>
                    <a:pt x="14701" y="5693"/>
                    <a:pt x="14536" y="5567"/>
                  </a:cubicBezTo>
                  <a:cubicBezTo>
                    <a:pt x="14323" y="5401"/>
                    <a:pt x="13947" y="5307"/>
                    <a:pt x="13800" y="5307"/>
                  </a:cubicBezTo>
                  <a:cubicBezTo>
                    <a:pt x="13783" y="5307"/>
                    <a:pt x="13769" y="5309"/>
                    <a:pt x="13759" y="5311"/>
                  </a:cubicBezTo>
                  <a:cubicBezTo>
                    <a:pt x="13755" y="5339"/>
                    <a:pt x="13745" y="5367"/>
                    <a:pt x="13720" y="5385"/>
                  </a:cubicBezTo>
                  <a:cubicBezTo>
                    <a:pt x="13693" y="5411"/>
                    <a:pt x="13653" y="5423"/>
                    <a:pt x="13595" y="5423"/>
                  </a:cubicBezTo>
                  <a:cubicBezTo>
                    <a:pt x="13507" y="5423"/>
                    <a:pt x="13377" y="5396"/>
                    <a:pt x="13185" y="5353"/>
                  </a:cubicBezTo>
                  <a:cubicBezTo>
                    <a:pt x="13094" y="5332"/>
                    <a:pt x="12989" y="5308"/>
                    <a:pt x="12880" y="5290"/>
                  </a:cubicBezTo>
                  <a:cubicBezTo>
                    <a:pt x="12712" y="5259"/>
                    <a:pt x="12551" y="5206"/>
                    <a:pt x="12401" y="5129"/>
                  </a:cubicBezTo>
                  <a:cubicBezTo>
                    <a:pt x="12306" y="5073"/>
                    <a:pt x="12198" y="5042"/>
                    <a:pt x="12089" y="5035"/>
                  </a:cubicBezTo>
                  <a:cubicBezTo>
                    <a:pt x="11931" y="5028"/>
                    <a:pt x="11396" y="4982"/>
                    <a:pt x="10983" y="4657"/>
                  </a:cubicBezTo>
                  <a:cubicBezTo>
                    <a:pt x="10846" y="4549"/>
                    <a:pt x="10619" y="4502"/>
                    <a:pt x="10401" y="4502"/>
                  </a:cubicBezTo>
                  <a:cubicBezTo>
                    <a:pt x="10285" y="4502"/>
                    <a:pt x="10171" y="4515"/>
                    <a:pt x="10076" y="4541"/>
                  </a:cubicBezTo>
                  <a:cubicBezTo>
                    <a:pt x="9953" y="4576"/>
                    <a:pt x="9869" y="4625"/>
                    <a:pt x="9848" y="4678"/>
                  </a:cubicBezTo>
                  <a:cubicBezTo>
                    <a:pt x="9736" y="4951"/>
                    <a:pt x="9446" y="4951"/>
                    <a:pt x="9190" y="4951"/>
                  </a:cubicBezTo>
                  <a:lnTo>
                    <a:pt x="9180" y="4951"/>
                  </a:lnTo>
                  <a:cubicBezTo>
                    <a:pt x="9152" y="4951"/>
                    <a:pt x="9064" y="4951"/>
                    <a:pt x="9029" y="4884"/>
                  </a:cubicBezTo>
                  <a:cubicBezTo>
                    <a:pt x="8991" y="4811"/>
                    <a:pt x="9047" y="4730"/>
                    <a:pt x="9099" y="4650"/>
                  </a:cubicBezTo>
                  <a:cubicBezTo>
                    <a:pt x="9117" y="4625"/>
                    <a:pt x="9131" y="4601"/>
                    <a:pt x="9145" y="4576"/>
                  </a:cubicBezTo>
                  <a:cubicBezTo>
                    <a:pt x="9082" y="4520"/>
                    <a:pt x="9075" y="4425"/>
                    <a:pt x="9071" y="4338"/>
                  </a:cubicBezTo>
                  <a:cubicBezTo>
                    <a:pt x="9068" y="4212"/>
                    <a:pt x="9054" y="4180"/>
                    <a:pt x="9012" y="4173"/>
                  </a:cubicBezTo>
                  <a:cubicBezTo>
                    <a:pt x="9011" y="4173"/>
                    <a:pt x="9011" y="4173"/>
                    <a:pt x="9011" y="4173"/>
                  </a:cubicBezTo>
                  <a:cubicBezTo>
                    <a:pt x="8968" y="4173"/>
                    <a:pt x="8871" y="4353"/>
                    <a:pt x="8823" y="4439"/>
                  </a:cubicBezTo>
                  <a:cubicBezTo>
                    <a:pt x="8693" y="4669"/>
                    <a:pt x="8533" y="4951"/>
                    <a:pt x="8294" y="4951"/>
                  </a:cubicBezTo>
                  <a:cubicBezTo>
                    <a:pt x="8288" y="4951"/>
                    <a:pt x="8282" y="4951"/>
                    <a:pt x="8277" y="4951"/>
                  </a:cubicBezTo>
                  <a:cubicBezTo>
                    <a:pt x="8025" y="4937"/>
                    <a:pt x="7877" y="4629"/>
                    <a:pt x="7734" y="4334"/>
                  </a:cubicBezTo>
                  <a:cubicBezTo>
                    <a:pt x="7636" y="4135"/>
                    <a:pt x="7534" y="3932"/>
                    <a:pt x="7419" y="3848"/>
                  </a:cubicBezTo>
                  <a:cubicBezTo>
                    <a:pt x="7265" y="3737"/>
                    <a:pt x="7146" y="3701"/>
                    <a:pt x="7099" y="3701"/>
                  </a:cubicBezTo>
                  <a:cubicBezTo>
                    <a:pt x="7097" y="3701"/>
                    <a:pt x="7095" y="3701"/>
                    <a:pt x="7093" y="3701"/>
                  </a:cubicBezTo>
                  <a:cubicBezTo>
                    <a:pt x="7111" y="3757"/>
                    <a:pt x="7142" y="3806"/>
                    <a:pt x="7181" y="3851"/>
                  </a:cubicBezTo>
                  <a:cubicBezTo>
                    <a:pt x="7240" y="3925"/>
                    <a:pt x="7289" y="4009"/>
                    <a:pt x="7261" y="4079"/>
                  </a:cubicBezTo>
                  <a:cubicBezTo>
                    <a:pt x="7230" y="4145"/>
                    <a:pt x="7160" y="4149"/>
                    <a:pt x="7093" y="4156"/>
                  </a:cubicBezTo>
                  <a:cubicBezTo>
                    <a:pt x="7065" y="4159"/>
                    <a:pt x="7009" y="4166"/>
                    <a:pt x="7002" y="4177"/>
                  </a:cubicBezTo>
                  <a:cubicBezTo>
                    <a:pt x="6999" y="4184"/>
                    <a:pt x="6999" y="4191"/>
                    <a:pt x="7002" y="4198"/>
                  </a:cubicBezTo>
                  <a:cubicBezTo>
                    <a:pt x="7016" y="4352"/>
                    <a:pt x="6869" y="4506"/>
                    <a:pt x="6740" y="4587"/>
                  </a:cubicBezTo>
                  <a:cubicBezTo>
                    <a:pt x="6688" y="4620"/>
                    <a:pt x="6621" y="4652"/>
                    <a:pt x="6564" y="4652"/>
                  </a:cubicBezTo>
                  <a:cubicBezTo>
                    <a:pt x="6544" y="4652"/>
                    <a:pt x="6525" y="4648"/>
                    <a:pt x="6509" y="4639"/>
                  </a:cubicBezTo>
                  <a:cubicBezTo>
                    <a:pt x="6481" y="4622"/>
                    <a:pt x="6463" y="4587"/>
                    <a:pt x="6467" y="4551"/>
                  </a:cubicBezTo>
                  <a:cubicBezTo>
                    <a:pt x="6467" y="4537"/>
                    <a:pt x="6456" y="4516"/>
                    <a:pt x="6425" y="4506"/>
                  </a:cubicBezTo>
                  <a:cubicBezTo>
                    <a:pt x="6408" y="4499"/>
                    <a:pt x="6388" y="4495"/>
                    <a:pt x="6365" y="4495"/>
                  </a:cubicBezTo>
                  <a:cubicBezTo>
                    <a:pt x="6285" y="4495"/>
                    <a:pt x="6170" y="4544"/>
                    <a:pt x="6050" y="4688"/>
                  </a:cubicBezTo>
                  <a:cubicBezTo>
                    <a:pt x="5892" y="4871"/>
                    <a:pt x="5731" y="4971"/>
                    <a:pt x="5602" y="4971"/>
                  </a:cubicBezTo>
                  <a:cubicBezTo>
                    <a:pt x="5582" y="4971"/>
                    <a:pt x="5564" y="4969"/>
                    <a:pt x="5546" y="4965"/>
                  </a:cubicBezTo>
                  <a:cubicBezTo>
                    <a:pt x="5490" y="4951"/>
                    <a:pt x="5444" y="4912"/>
                    <a:pt x="5423" y="4856"/>
                  </a:cubicBezTo>
                  <a:cubicBezTo>
                    <a:pt x="5273" y="4867"/>
                    <a:pt x="4730" y="5164"/>
                    <a:pt x="4695" y="5266"/>
                  </a:cubicBezTo>
                  <a:cubicBezTo>
                    <a:pt x="4709" y="5332"/>
                    <a:pt x="4692" y="5402"/>
                    <a:pt x="4646" y="5451"/>
                  </a:cubicBezTo>
                  <a:cubicBezTo>
                    <a:pt x="4577" y="5537"/>
                    <a:pt x="4447" y="5585"/>
                    <a:pt x="4293" y="5585"/>
                  </a:cubicBezTo>
                  <a:cubicBezTo>
                    <a:pt x="4282" y="5585"/>
                    <a:pt x="4272" y="5585"/>
                    <a:pt x="4261" y="5584"/>
                  </a:cubicBezTo>
                  <a:cubicBezTo>
                    <a:pt x="4139" y="5577"/>
                    <a:pt x="4104" y="5525"/>
                    <a:pt x="4093" y="5479"/>
                  </a:cubicBezTo>
                  <a:cubicBezTo>
                    <a:pt x="4065" y="5353"/>
                    <a:pt x="4261" y="5213"/>
                    <a:pt x="4366" y="5157"/>
                  </a:cubicBezTo>
                  <a:cubicBezTo>
                    <a:pt x="4429" y="5126"/>
                    <a:pt x="4524" y="5059"/>
                    <a:pt x="4636" y="4982"/>
                  </a:cubicBezTo>
                  <a:cubicBezTo>
                    <a:pt x="4898" y="4804"/>
                    <a:pt x="5227" y="4580"/>
                    <a:pt x="5444" y="4544"/>
                  </a:cubicBezTo>
                  <a:cubicBezTo>
                    <a:pt x="5745" y="4495"/>
                    <a:pt x="6197" y="4285"/>
                    <a:pt x="6246" y="4198"/>
                  </a:cubicBezTo>
                  <a:cubicBezTo>
                    <a:pt x="6226" y="4196"/>
                    <a:pt x="6205" y="4196"/>
                    <a:pt x="6184" y="4196"/>
                  </a:cubicBezTo>
                  <a:cubicBezTo>
                    <a:pt x="6154" y="4196"/>
                    <a:pt x="6124" y="4197"/>
                    <a:pt x="6096" y="4201"/>
                  </a:cubicBezTo>
                  <a:cubicBezTo>
                    <a:pt x="6052" y="4207"/>
                    <a:pt x="6008" y="4209"/>
                    <a:pt x="5964" y="4209"/>
                  </a:cubicBezTo>
                  <a:cubicBezTo>
                    <a:pt x="5921" y="4209"/>
                    <a:pt x="5877" y="4207"/>
                    <a:pt x="5833" y="4201"/>
                  </a:cubicBezTo>
                  <a:cubicBezTo>
                    <a:pt x="5821" y="4199"/>
                    <a:pt x="5809" y="4198"/>
                    <a:pt x="5796" y="4198"/>
                  </a:cubicBezTo>
                  <a:cubicBezTo>
                    <a:pt x="5669" y="4198"/>
                    <a:pt x="5470" y="4299"/>
                    <a:pt x="5276" y="4397"/>
                  </a:cubicBezTo>
                  <a:cubicBezTo>
                    <a:pt x="5189" y="4439"/>
                    <a:pt x="5101" y="4485"/>
                    <a:pt x="5010" y="4523"/>
                  </a:cubicBezTo>
                  <a:cubicBezTo>
                    <a:pt x="4888" y="4573"/>
                    <a:pt x="4765" y="4611"/>
                    <a:pt x="4636" y="4632"/>
                  </a:cubicBezTo>
                  <a:cubicBezTo>
                    <a:pt x="4559" y="4650"/>
                    <a:pt x="4440" y="4678"/>
                    <a:pt x="4426" y="4699"/>
                  </a:cubicBezTo>
                  <a:cubicBezTo>
                    <a:pt x="4426" y="4709"/>
                    <a:pt x="4429" y="4716"/>
                    <a:pt x="4436" y="4727"/>
                  </a:cubicBezTo>
                  <a:cubicBezTo>
                    <a:pt x="4461" y="4765"/>
                    <a:pt x="4464" y="4818"/>
                    <a:pt x="4440" y="4863"/>
                  </a:cubicBezTo>
                  <a:cubicBezTo>
                    <a:pt x="4413" y="4896"/>
                    <a:pt x="4376" y="4906"/>
                    <a:pt x="4332" y="4906"/>
                  </a:cubicBezTo>
                  <a:cubicBezTo>
                    <a:pt x="4300" y="4906"/>
                    <a:pt x="4264" y="4900"/>
                    <a:pt x="4226" y="4895"/>
                  </a:cubicBezTo>
                  <a:cubicBezTo>
                    <a:pt x="4191" y="4890"/>
                    <a:pt x="4140" y="4883"/>
                    <a:pt x="4101" y="4883"/>
                  </a:cubicBezTo>
                  <a:cubicBezTo>
                    <a:pt x="4073" y="4883"/>
                    <a:pt x="4051" y="4887"/>
                    <a:pt x="4044" y="4898"/>
                  </a:cubicBezTo>
                  <a:cubicBezTo>
                    <a:pt x="4014" y="4953"/>
                    <a:pt x="3959" y="4984"/>
                    <a:pt x="3901" y="4984"/>
                  </a:cubicBezTo>
                  <a:cubicBezTo>
                    <a:pt x="3893" y="4984"/>
                    <a:pt x="3884" y="4983"/>
                    <a:pt x="3876" y="4982"/>
                  </a:cubicBezTo>
                  <a:cubicBezTo>
                    <a:pt x="3817" y="4972"/>
                    <a:pt x="3771" y="4926"/>
                    <a:pt x="3761" y="4867"/>
                  </a:cubicBezTo>
                  <a:cubicBezTo>
                    <a:pt x="3750" y="4821"/>
                    <a:pt x="3768" y="4776"/>
                    <a:pt x="3803" y="4748"/>
                  </a:cubicBezTo>
                  <a:cubicBezTo>
                    <a:pt x="3750" y="4720"/>
                    <a:pt x="3694" y="4702"/>
                    <a:pt x="3638" y="4695"/>
                  </a:cubicBezTo>
                  <a:cubicBezTo>
                    <a:pt x="3624" y="4776"/>
                    <a:pt x="3547" y="4919"/>
                    <a:pt x="3211" y="4919"/>
                  </a:cubicBezTo>
                  <a:cubicBezTo>
                    <a:pt x="3032" y="4919"/>
                    <a:pt x="2854" y="5010"/>
                    <a:pt x="2829" y="5084"/>
                  </a:cubicBezTo>
                  <a:cubicBezTo>
                    <a:pt x="2826" y="5094"/>
                    <a:pt x="2819" y="5119"/>
                    <a:pt x="2864" y="5150"/>
                  </a:cubicBezTo>
                  <a:lnTo>
                    <a:pt x="2917" y="5189"/>
                  </a:lnTo>
                  <a:cubicBezTo>
                    <a:pt x="3046" y="5287"/>
                    <a:pt x="3134" y="5353"/>
                    <a:pt x="3141" y="5441"/>
                  </a:cubicBezTo>
                  <a:cubicBezTo>
                    <a:pt x="3144" y="5490"/>
                    <a:pt x="3123" y="5535"/>
                    <a:pt x="3088" y="5567"/>
                  </a:cubicBezTo>
                  <a:cubicBezTo>
                    <a:pt x="3064" y="5592"/>
                    <a:pt x="3035" y="5602"/>
                    <a:pt x="3003" y="5602"/>
                  </a:cubicBezTo>
                  <a:cubicBezTo>
                    <a:pt x="2940" y="5602"/>
                    <a:pt x="2864" y="5563"/>
                    <a:pt x="2780" y="5521"/>
                  </a:cubicBezTo>
                  <a:cubicBezTo>
                    <a:pt x="2651" y="5454"/>
                    <a:pt x="2478" y="5365"/>
                    <a:pt x="2277" y="5365"/>
                  </a:cubicBezTo>
                  <a:cubicBezTo>
                    <a:pt x="2259" y="5365"/>
                    <a:pt x="2241" y="5366"/>
                    <a:pt x="2224" y="5367"/>
                  </a:cubicBezTo>
                  <a:cubicBezTo>
                    <a:pt x="2207" y="5369"/>
                    <a:pt x="2189" y="5370"/>
                    <a:pt x="2170" y="5370"/>
                  </a:cubicBezTo>
                  <a:cubicBezTo>
                    <a:pt x="1792" y="5370"/>
                    <a:pt x="1174" y="5036"/>
                    <a:pt x="963" y="4842"/>
                  </a:cubicBezTo>
                  <a:cubicBezTo>
                    <a:pt x="925" y="4814"/>
                    <a:pt x="900" y="4776"/>
                    <a:pt x="883" y="4734"/>
                  </a:cubicBezTo>
                  <a:cubicBezTo>
                    <a:pt x="823" y="4713"/>
                    <a:pt x="624" y="4713"/>
                    <a:pt x="463" y="4713"/>
                  </a:cubicBezTo>
                  <a:cubicBezTo>
                    <a:pt x="316" y="4713"/>
                    <a:pt x="148" y="4713"/>
                    <a:pt x="1" y="4699"/>
                  </a:cubicBezTo>
                  <a:lnTo>
                    <a:pt x="1" y="12975"/>
                  </a:lnTo>
                  <a:cubicBezTo>
                    <a:pt x="54" y="13009"/>
                    <a:pt x="115" y="13036"/>
                    <a:pt x="151" y="13036"/>
                  </a:cubicBezTo>
                  <a:cubicBezTo>
                    <a:pt x="162" y="13036"/>
                    <a:pt x="171" y="13033"/>
                    <a:pt x="176" y="13027"/>
                  </a:cubicBezTo>
                  <a:cubicBezTo>
                    <a:pt x="217" y="12975"/>
                    <a:pt x="272" y="12966"/>
                    <a:pt x="328" y="12966"/>
                  </a:cubicBezTo>
                  <a:cubicBezTo>
                    <a:pt x="348" y="12966"/>
                    <a:pt x="367" y="12967"/>
                    <a:pt x="386" y="12968"/>
                  </a:cubicBezTo>
                  <a:cubicBezTo>
                    <a:pt x="406" y="12969"/>
                    <a:pt x="426" y="12970"/>
                    <a:pt x="447" y="12970"/>
                  </a:cubicBezTo>
                  <a:cubicBezTo>
                    <a:pt x="534" y="12970"/>
                    <a:pt x="620" y="12952"/>
                    <a:pt x="697" y="12915"/>
                  </a:cubicBezTo>
                  <a:cubicBezTo>
                    <a:pt x="759" y="12885"/>
                    <a:pt x="813" y="12873"/>
                    <a:pt x="860" y="12873"/>
                  </a:cubicBezTo>
                  <a:cubicBezTo>
                    <a:pt x="921" y="12873"/>
                    <a:pt x="968" y="12893"/>
                    <a:pt x="1002" y="12915"/>
                  </a:cubicBezTo>
                  <a:cubicBezTo>
                    <a:pt x="1131" y="12996"/>
                    <a:pt x="1163" y="13167"/>
                    <a:pt x="1163" y="13248"/>
                  </a:cubicBezTo>
                  <a:cubicBezTo>
                    <a:pt x="1163" y="13290"/>
                    <a:pt x="1310" y="13405"/>
                    <a:pt x="1397" y="13475"/>
                  </a:cubicBezTo>
                  <a:cubicBezTo>
                    <a:pt x="1509" y="13559"/>
                    <a:pt x="1611" y="13654"/>
                    <a:pt x="1699" y="13759"/>
                  </a:cubicBezTo>
                  <a:cubicBezTo>
                    <a:pt x="1727" y="13790"/>
                    <a:pt x="1751" y="13822"/>
                    <a:pt x="1772" y="13853"/>
                  </a:cubicBezTo>
                  <a:cubicBezTo>
                    <a:pt x="1867" y="13985"/>
                    <a:pt x="1914" y="14042"/>
                    <a:pt x="1967" y="14042"/>
                  </a:cubicBezTo>
                  <a:cubicBezTo>
                    <a:pt x="1974" y="14042"/>
                    <a:pt x="1981" y="14041"/>
                    <a:pt x="1989" y="14039"/>
                  </a:cubicBezTo>
                  <a:cubicBezTo>
                    <a:pt x="2003" y="14032"/>
                    <a:pt x="2017" y="14025"/>
                    <a:pt x="2031" y="14018"/>
                  </a:cubicBezTo>
                  <a:cubicBezTo>
                    <a:pt x="2091" y="13983"/>
                    <a:pt x="2150" y="13951"/>
                    <a:pt x="2213" y="13923"/>
                  </a:cubicBezTo>
                  <a:cubicBezTo>
                    <a:pt x="2357" y="13860"/>
                    <a:pt x="2500" y="13794"/>
                    <a:pt x="2500" y="13685"/>
                  </a:cubicBezTo>
                  <a:cubicBezTo>
                    <a:pt x="2500" y="13524"/>
                    <a:pt x="2728" y="13451"/>
                    <a:pt x="2938" y="13451"/>
                  </a:cubicBezTo>
                  <a:cubicBezTo>
                    <a:pt x="2966" y="13451"/>
                    <a:pt x="2994" y="13451"/>
                    <a:pt x="3018" y="13454"/>
                  </a:cubicBezTo>
                  <a:cubicBezTo>
                    <a:pt x="3148" y="13468"/>
                    <a:pt x="3253" y="13507"/>
                    <a:pt x="3312" y="13570"/>
                  </a:cubicBezTo>
                  <a:cubicBezTo>
                    <a:pt x="3319" y="13577"/>
                    <a:pt x="3326" y="13584"/>
                    <a:pt x="3333" y="13594"/>
                  </a:cubicBezTo>
                  <a:lnTo>
                    <a:pt x="3333" y="13598"/>
                  </a:lnTo>
                  <a:cubicBezTo>
                    <a:pt x="3340" y="13605"/>
                    <a:pt x="3344" y="13612"/>
                    <a:pt x="3347" y="13619"/>
                  </a:cubicBezTo>
                  <a:lnTo>
                    <a:pt x="3351" y="13626"/>
                  </a:lnTo>
                  <a:cubicBezTo>
                    <a:pt x="3354" y="13633"/>
                    <a:pt x="3358" y="13640"/>
                    <a:pt x="3361" y="13647"/>
                  </a:cubicBezTo>
                  <a:lnTo>
                    <a:pt x="3365" y="13654"/>
                  </a:lnTo>
                  <a:cubicBezTo>
                    <a:pt x="3365" y="13661"/>
                    <a:pt x="3368" y="13668"/>
                    <a:pt x="3368" y="13678"/>
                  </a:cubicBezTo>
                  <a:lnTo>
                    <a:pt x="3368" y="13685"/>
                  </a:lnTo>
                  <a:cubicBezTo>
                    <a:pt x="3372" y="13696"/>
                    <a:pt x="3372" y="13706"/>
                    <a:pt x="3372" y="13717"/>
                  </a:cubicBezTo>
                  <a:cubicBezTo>
                    <a:pt x="3372" y="13811"/>
                    <a:pt x="3533" y="13951"/>
                    <a:pt x="3722" y="14109"/>
                  </a:cubicBezTo>
                  <a:cubicBezTo>
                    <a:pt x="3971" y="14322"/>
                    <a:pt x="4310" y="14613"/>
                    <a:pt x="4545" y="15026"/>
                  </a:cubicBezTo>
                  <a:cubicBezTo>
                    <a:pt x="4643" y="15198"/>
                    <a:pt x="4716" y="15341"/>
                    <a:pt x="4772" y="15457"/>
                  </a:cubicBezTo>
                  <a:cubicBezTo>
                    <a:pt x="4972" y="15852"/>
                    <a:pt x="5031" y="15968"/>
                    <a:pt x="5483" y="16146"/>
                  </a:cubicBezTo>
                  <a:cubicBezTo>
                    <a:pt x="6089" y="16384"/>
                    <a:pt x="6141" y="16538"/>
                    <a:pt x="6036" y="16811"/>
                  </a:cubicBezTo>
                  <a:cubicBezTo>
                    <a:pt x="6019" y="16857"/>
                    <a:pt x="6047" y="16899"/>
                    <a:pt x="6099" y="16955"/>
                  </a:cubicBezTo>
                  <a:lnTo>
                    <a:pt x="6124" y="16983"/>
                  </a:lnTo>
                  <a:cubicBezTo>
                    <a:pt x="6183" y="17043"/>
                    <a:pt x="6243" y="17109"/>
                    <a:pt x="6232" y="17193"/>
                  </a:cubicBezTo>
                  <a:cubicBezTo>
                    <a:pt x="6222" y="17256"/>
                    <a:pt x="6183" y="17312"/>
                    <a:pt x="6124" y="17344"/>
                  </a:cubicBezTo>
                  <a:lnTo>
                    <a:pt x="6089" y="17368"/>
                  </a:lnTo>
                  <a:lnTo>
                    <a:pt x="6064" y="17386"/>
                  </a:lnTo>
                  <a:lnTo>
                    <a:pt x="6047" y="17400"/>
                  </a:lnTo>
                  <a:lnTo>
                    <a:pt x="6019" y="17417"/>
                  </a:lnTo>
                  <a:lnTo>
                    <a:pt x="6005" y="17428"/>
                  </a:lnTo>
                  <a:lnTo>
                    <a:pt x="5973" y="17452"/>
                  </a:lnTo>
                  <a:lnTo>
                    <a:pt x="5959" y="17459"/>
                  </a:lnTo>
                  <a:lnTo>
                    <a:pt x="5924" y="17484"/>
                  </a:lnTo>
                  <a:lnTo>
                    <a:pt x="5917" y="17491"/>
                  </a:lnTo>
                  <a:lnTo>
                    <a:pt x="5791" y="17582"/>
                  </a:lnTo>
                  <a:cubicBezTo>
                    <a:pt x="5812" y="17638"/>
                    <a:pt x="5875" y="17687"/>
                    <a:pt x="5952" y="17750"/>
                  </a:cubicBezTo>
                  <a:lnTo>
                    <a:pt x="5991" y="17781"/>
                  </a:lnTo>
                  <a:cubicBezTo>
                    <a:pt x="6026" y="17806"/>
                    <a:pt x="6047" y="17848"/>
                    <a:pt x="6043" y="17893"/>
                  </a:cubicBezTo>
                  <a:cubicBezTo>
                    <a:pt x="6033" y="17960"/>
                    <a:pt x="5963" y="17991"/>
                    <a:pt x="5903" y="18016"/>
                  </a:cubicBezTo>
                  <a:lnTo>
                    <a:pt x="5865" y="18033"/>
                  </a:lnTo>
                  <a:cubicBezTo>
                    <a:pt x="5928" y="18103"/>
                    <a:pt x="5921" y="18191"/>
                    <a:pt x="5917" y="18264"/>
                  </a:cubicBezTo>
                  <a:cubicBezTo>
                    <a:pt x="5910" y="18334"/>
                    <a:pt x="5907" y="18387"/>
                    <a:pt x="5949" y="18429"/>
                  </a:cubicBezTo>
                  <a:cubicBezTo>
                    <a:pt x="5986" y="18471"/>
                    <a:pt x="6040" y="18489"/>
                    <a:pt x="6097" y="18489"/>
                  </a:cubicBezTo>
                  <a:cubicBezTo>
                    <a:pt x="6177" y="18489"/>
                    <a:pt x="6265" y="18454"/>
                    <a:pt x="6330" y="18401"/>
                  </a:cubicBezTo>
                  <a:cubicBezTo>
                    <a:pt x="6358" y="18371"/>
                    <a:pt x="6395" y="18357"/>
                    <a:pt x="6432" y="18357"/>
                  </a:cubicBezTo>
                  <a:cubicBezTo>
                    <a:pt x="6467" y="18357"/>
                    <a:pt x="6501" y="18369"/>
                    <a:pt x="6530" y="18394"/>
                  </a:cubicBezTo>
                  <a:cubicBezTo>
                    <a:pt x="6614" y="18467"/>
                    <a:pt x="6642" y="18646"/>
                    <a:pt x="6551" y="18800"/>
                  </a:cubicBezTo>
                  <a:cubicBezTo>
                    <a:pt x="6505" y="18870"/>
                    <a:pt x="6544" y="18908"/>
                    <a:pt x="6561" y="18919"/>
                  </a:cubicBezTo>
                  <a:cubicBezTo>
                    <a:pt x="6576" y="18931"/>
                    <a:pt x="6593" y="18936"/>
                    <a:pt x="6610" y="18936"/>
                  </a:cubicBezTo>
                  <a:cubicBezTo>
                    <a:pt x="6633" y="18936"/>
                    <a:pt x="6657" y="18925"/>
                    <a:pt x="6673" y="18905"/>
                  </a:cubicBezTo>
                  <a:cubicBezTo>
                    <a:pt x="6698" y="18873"/>
                    <a:pt x="6736" y="18852"/>
                    <a:pt x="6778" y="18852"/>
                  </a:cubicBezTo>
                  <a:cubicBezTo>
                    <a:pt x="6781" y="18852"/>
                    <a:pt x="6784" y="18852"/>
                    <a:pt x="6787" y="18852"/>
                  </a:cubicBezTo>
                  <a:cubicBezTo>
                    <a:pt x="6886" y="18852"/>
                    <a:pt x="6988" y="18961"/>
                    <a:pt x="7086" y="19062"/>
                  </a:cubicBezTo>
                  <a:cubicBezTo>
                    <a:pt x="7121" y="19101"/>
                    <a:pt x="7160" y="19136"/>
                    <a:pt x="7205" y="19168"/>
                  </a:cubicBezTo>
                  <a:cubicBezTo>
                    <a:pt x="7293" y="19217"/>
                    <a:pt x="7394" y="19336"/>
                    <a:pt x="7366" y="19437"/>
                  </a:cubicBezTo>
                  <a:cubicBezTo>
                    <a:pt x="7359" y="19465"/>
                    <a:pt x="7328" y="19535"/>
                    <a:pt x="7209" y="19535"/>
                  </a:cubicBezTo>
                  <a:cubicBezTo>
                    <a:pt x="7156" y="19535"/>
                    <a:pt x="7146" y="19588"/>
                    <a:pt x="7142" y="19623"/>
                  </a:cubicBezTo>
                  <a:cubicBezTo>
                    <a:pt x="7142" y="19679"/>
                    <a:pt x="7167" y="19731"/>
                    <a:pt x="7191" y="19731"/>
                  </a:cubicBezTo>
                  <a:cubicBezTo>
                    <a:pt x="7373" y="19749"/>
                    <a:pt x="7373" y="19955"/>
                    <a:pt x="7370" y="20064"/>
                  </a:cubicBezTo>
                  <a:lnTo>
                    <a:pt x="7370" y="20085"/>
                  </a:lnTo>
                  <a:cubicBezTo>
                    <a:pt x="7401" y="20143"/>
                    <a:pt x="7660" y="20253"/>
                    <a:pt x="7811" y="20253"/>
                  </a:cubicBezTo>
                  <a:cubicBezTo>
                    <a:pt x="7832" y="20253"/>
                    <a:pt x="7851" y="20251"/>
                    <a:pt x="7867" y="20246"/>
                  </a:cubicBezTo>
                  <a:cubicBezTo>
                    <a:pt x="7896" y="20237"/>
                    <a:pt x="7924" y="20233"/>
                    <a:pt x="7951" y="20233"/>
                  </a:cubicBezTo>
                  <a:cubicBezTo>
                    <a:pt x="8111" y="20233"/>
                    <a:pt x="8247" y="20371"/>
                    <a:pt x="8322" y="20508"/>
                  </a:cubicBezTo>
                  <a:cubicBezTo>
                    <a:pt x="8354" y="20564"/>
                    <a:pt x="8452" y="20620"/>
                    <a:pt x="8553" y="20641"/>
                  </a:cubicBezTo>
                  <a:cubicBezTo>
                    <a:pt x="8573" y="20649"/>
                    <a:pt x="8594" y="20653"/>
                    <a:pt x="8615" y="20653"/>
                  </a:cubicBezTo>
                  <a:cubicBezTo>
                    <a:pt x="8643" y="20653"/>
                    <a:pt x="8671" y="20646"/>
                    <a:pt x="8697" y="20634"/>
                  </a:cubicBezTo>
                  <a:cubicBezTo>
                    <a:pt x="8720" y="20612"/>
                    <a:pt x="8750" y="20601"/>
                    <a:pt x="8780" y="20601"/>
                  </a:cubicBezTo>
                  <a:cubicBezTo>
                    <a:pt x="8796" y="20601"/>
                    <a:pt x="8812" y="20604"/>
                    <a:pt x="8826" y="20610"/>
                  </a:cubicBezTo>
                  <a:cubicBezTo>
                    <a:pt x="8949" y="20659"/>
                    <a:pt x="8994" y="20900"/>
                    <a:pt x="9008" y="21005"/>
                  </a:cubicBezTo>
                  <a:cubicBezTo>
                    <a:pt x="9012" y="21026"/>
                    <a:pt x="9019" y="21033"/>
                    <a:pt x="9022" y="21033"/>
                  </a:cubicBezTo>
                  <a:cubicBezTo>
                    <a:pt x="9035" y="21042"/>
                    <a:pt x="9056" y="21046"/>
                    <a:pt x="9082" y="21046"/>
                  </a:cubicBezTo>
                  <a:cubicBezTo>
                    <a:pt x="9127" y="21046"/>
                    <a:pt x="9185" y="21035"/>
                    <a:pt x="9232" y="21026"/>
                  </a:cubicBezTo>
                  <a:cubicBezTo>
                    <a:pt x="9278" y="21019"/>
                    <a:pt x="9313" y="21012"/>
                    <a:pt x="9351" y="21009"/>
                  </a:cubicBezTo>
                  <a:cubicBezTo>
                    <a:pt x="9359" y="21008"/>
                    <a:pt x="9366" y="21008"/>
                    <a:pt x="9373" y="21008"/>
                  </a:cubicBezTo>
                  <a:cubicBezTo>
                    <a:pt x="9463" y="21008"/>
                    <a:pt x="9531" y="21069"/>
                    <a:pt x="9586" y="21117"/>
                  </a:cubicBezTo>
                  <a:cubicBezTo>
                    <a:pt x="9607" y="21135"/>
                    <a:pt x="9645" y="21170"/>
                    <a:pt x="9659" y="21170"/>
                  </a:cubicBezTo>
                  <a:cubicBezTo>
                    <a:pt x="9690" y="21158"/>
                    <a:pt x="9718" y="21153"/>
                    <a:pt x="9744" y="21153"/>
                  </a:cubicBezTo>
                  <a:cubicBezTo>
                    <a:pt x="9898" y="21153"/>
                    <a:pt x="9980" y="21338"/>
                    <a:pt x="10055" y="21499"/>
                  </a:cubicBezTo>
                  <a:cubicBezTo>
                    <a:pt x="10083" y="21562"/>
                    <a:pt x="10111" y="21625"/>
                    <a:pt x="10143" y="21678"/>
                  </a:cubicBezTo>
                  <a:lnTo>
                    <a:pt x="25119" y="21597"/>
                  </a:lnTo>
                  <a:cubicBezTo>
                    <a:pt x="25130" y="21492"/>
                    <a:pt x="25158" y="21363"/>
                    <a:pt x="25245" y="21321"/>
                  </a:cubicBezTo>
                  <a:cubicBezTo>
                    <a:pt x="25264" y="21312"/>
                    <a:pt x="25284" y="21308"/>
                    <a:pt x="25305" y="21308"/>
                  </a:cubicBezTo>
                  <a:cubicBezTo>
                    <a:pt x="25342" y="21308"/>
                    <a:pt x="25380" y="21322"/>
                    <a:pt x="25410" y="21349"/>
                  </a:cubicBezTo>
                  <a:cubicBezTo>
                    <a:pt x="25515" y="21426"/>
                    <a:pt x="25529" y="21534"/>
                    <a:pt x="25536" y="21611"/>
                  </a:cubicBezTo>
                  <a:cubicBezTo>
                    <a:pt x="25543" y="21699"/>
                    <a:pt x="25550" y="21734"/>
                    <a:pt x="25620" y="21758"/>
                  </a:cubicBezTo>
                  <a:cubicBezTo>
                    <a:pt x="25686" y="21786"/>
                    <a:pt x="25753" y="21818"/>
                    <a:pt x="25819" y="21853"/>
                  </a:cubicBezTo>
                  <a:cubicBezTo>
                    <a:pt x="25896" y="21891"/>
                    <a:pt x="25967" y="21927"/>
                    <a:pt x="26015" y="21927"/>
                  </a:cubicBezTo>
                  <a:cubicBezTo>
                    <a:pt x="26024" y="21927"/>
                    <a:pt x="26033" y="21925"/>
                    <a:pt x="26040" y="21923"/>
                  </a:cubicBezTo>
                  <a:cubicBezTo>
                    <a:pt x="26054" y="21916"/>
                    <a:pt x="26075" y="21905"/>
                    <a:pt x="26092" y="21895"/>
                  </a:cubicBezTo>
                  <a:cubicBezTo>
                    <a:pt x="26155" y="21862"/>
                    <a:pt x="26246" y="21815"/>
                    <a:pt x="26347" y="21815"/>
                  </a:cubicBezTo>
                  <a:cubicBezTo>
                    <a:pt x="26433" y="21815"/>
                    <a:pt x="26526" y="21849"/>
                    <a:pt x="26618" y="21954"/>
                  </a:cubicBezTo>
                  <a:cubicBezTo>
                    <a:pt x="26663" y="22018"/>
                    <a:pt x="26734" y="22055"/>
                    <a:pt x="26809" y="22055"/>
                  </a:cubicBezTo>
                  <a:cubicBezTo>
                    <a:pt x="26821" y="22055"/>
                    <a:pt x="26833" y="22054"/>
                    <a:pt x="26845" y="22052"/>
                  </a:cubicBezTo>
                  <a:cubicBezTo>
                    <a:pt x="26859" y="22052"/>
                    <a:pt x="26873" y="22051"/>
                    <a:pt x="26887" y="22051"/>
                  </a:cubicBezTo>
                  <a:cubicBezTo>
                    <a:pt x="26948" y="22051"/>
                    <a:pt x="27016" y="22063"/>
                    <a:pt x="27073" y="22136"/>
                  </a:cubicBezTo>
                  <a:cubicBezTo>
                    <a:pt x="27080" y="22147"/>
                    <a:pt x="27090" y="22157"/>
                    <a:pt x="27101" y="22168"/>
                  </a:cubicBezTo>
                  <a:cubicBezTo>
                    <a:pt x="27153" y="22231"/>
                    <a:pt x="27227" y="22273"/>
                    <a:pt x="27311" y="22283"/>
                  </a:cubicBezTo>
                  <a:cubicBezTo>
                    <a:pt x="27360" y="22280"/>
                    <a:pt x="27409" y="22255"/>
                    <a:pt x="27437" y="22217"/>
                  </a:cubicBezTo>
                  <a:cubicBezTo>
                    <a:pt x="27444" y="22206"/>
                    <a:pt x="27454" y="22196"/>
                    <a:pt x="27465" y="22189"/>
                  </a:cubicBezTo>
                  <a:lnTo>
                    <a:pt x="27468" y="22185"/>
                  </a:lnTo>
                  <a:cubicBezTo>
                    <a:pt x="27475" y="22178"/>
                    <a:pt x="27486" y="22171"/>
                    <a:pt x="27496" y="22168"/>
                  </a:cubicBezTo>
                  <a:lnTo>
                    <a:pt x="27503" y="22164"/>
                  </a:lnTo>
                  <a:cubicBezTo>
                    <a:pt x="27514" y="22161"/>
                    <a:pt x="27521" y="22157"/>
                    <a:pt x="27531" y="22154"/>
                  </a:cubicBezTo>
                  <a:lnTo>
                    <a:pt x="27545" y="22150"/>
                  </a:lnTo>
                  <a:cubicBezTo>
                    <a:pt x="27552" y="22147"/>
                    <a:pt x="27563" y="22143"/>
                    <a:pt x="27573" y="22143"/>
                  </a:cubicBezTo>
                  <a:lnTo>
                    <a:pt x="27587" y="22143"/>
                  </a:lnTo>
                  <a:cubicBezTo>
                    <a:pt x="27598" y="22143"/>
                    <a:pt x="27608" y="22140"/>
                    <a:pt x="27615" y="22140"/>
                  </a:cubicBezTo>
                  <a:lnTo>
                    <a:pt x="27713" y="22140"/>
                  </a:lnTo>
                  <a:lnTo>
                    <a:pt x="27748" y="22143"/>
                  </a:lnTo>
                  <a:lnTo>
                    <a:pt x="27769" y="22147"/>
                  </a:lnTo>
                  <a:lnTo>
                    <a:pt x="27811" y="22154"/>
                  </a:lnTo>
                  <a:lnTo>
                    <a:pt x="27822" y="22154"/>
                  </a:lnTo>
                  <a:lnTo>
                    <a:pt x="27878" y="22168"/>
                  </a:lnTo>
                  <a:lnTo>
                    <a:pt x="27881" y="22168"/>
                  </a:lnTo>
                  <a:cubicBezTo>
                    <a:pt x="28007" y="22199"/>
                    <a:pt x="28133" y="22241"/>
                    <a:pt x="28256" y="22290"/>
                  </a:cubicBezTo>
                  <a:cubicBezTo>
                    <a:pt x="28347" y="22203"/>
                    <a:pt x="28431" y="22108"/>
                    <a:pt x="28508" y="22007"/>
                  </a:cubicBezTo>
                  <a:cubicBezTo>
                    <a:pt x="28662" y="21814"/>
                    <a:pt x="28806" y="21632"/>
                    <a:pt x="28984" y="21632"/>
                  </a:cubicBezTo>
                  <a:cubicBezTo>
                    <a:pt x="29103" y="21632"/>
                    <a:pt x="30150" y="21646"/>
                    <a:pt x="30213" y="22175"/>
                  </a:cubicBezTo>
                  <a:cubicBezTo>
                    <a:pt x="30230" y="22318"/>
                    <a:pt x="30300" y="22329"/>
                    <a:pt x="30447" y="22332"/>
                  </a:cubicBezTo>
                  <a:cubicBezTo>
                    <a:pt x="30573" y="22332"/>
                    <a:pt x="30763" y="22339"/>
                    <a:pt x="30798" y="22584"/>
                  </a:cubicBezTo>
                  <a:cubicBezTo>
                    <a:pt x="30815" y="22735"/>
                    <a:pt x="30899" y="22875"/>
                    <a:pt x="30976" y="23001"/>
                  </a:cubicBezTo>
                  <a:cubicBezTo>
                    <a:pt x="31053" y="23123"/>
                    <a:pt x="31116" y="23225"/>
                    <a:pt x="31109" y="23327"/>
                  </a:cubicBezTo>
                  <a:lnTo>
                    <a:pt x="31116" y="23330"/>
                  </a:lnTo>
                  <a:lnTo>
                    <a:pt x="31158" y="23358"/>
                  </a:lnTo>
                  <a:lnTo>
                    <a:pt x="31172" y="23365"/>
                  </a:lnTo>
                  <a:lnTo>
                    <a:pt x="31225" y="23404"/>
                  </a:lnTo>
                  <a:lnTo>
                    <a:pt x="31239" y="23411"/>
                  </a:lnTo>
                  <a:lnTo>
                    <a:pt x="31288" y="23446"/>
                  </a:lnTo>
                  <a:lnTo>
                    <a:pt x="31302" y="23456"/>
                  </a:lnTo>
                  <a:lnTo>
                    <a:pt x="31358" y="23498"/>
                  </a:lnTo>
                  <a:lnTo>
                    <a:pt x="31365" y="23505"/>
                  </a:lnTo>
                  <a:cubicBezTo>
                    <a:pt x="31402" y="23497"/>
                    <a:pt x="31448" y="23494"/>
                    <a:pt x="31499" y="23494"/>
                  </a:cubicBezTo>
                  <a:cubicBezTo>
                    <a:pt x="31704" y="23494"/>
                    <a:pt x="31998" y="23551"/>
                    <a:pt x="32208" y="23624"/>
                  </a:cubicBezTo>
                  <a:cubicBezTo>
                    <a:pt x="32276" y="23650"/>
                    <a:pt x="32357" y="23657"/>
                    <a:pt x="32441" y="23657"/>
                  </a:cubicBezTo>
                  <a:cubicBezTo>
                    <a:pt x="32493" y="23657"/>
                    <a:pt x="32545" y="23655"/>
                    <a:pt x="32597" y="23652"/>
                  </a:cubicBezTo>
                  <a:cubicBezTo>
                    <a:pt x="32650" y="23649"/>
                    <a:pt x="32704" y="23646"/>
                    <a:pt x="32759" y="23646"/>
                  </a:cubicBezTo>
                  <a:cubicBezTo>
                    <a:pt x="32964" y="23646"/>
                    <a:pt x="33166" y="23688"/>
                    <a:pt x="33266" y="23929"/>
                  </a:cubicBezTo>
                  <a:cubicBezTo>
                    <a:pt x="33322" y="24055"/>
                    <a:pt x="33388" y="24174"/>
                    <a:pt x="33465" y="24289"/>
                  </a:cubicBezTo>
                  <a:cubicBezTo>
                    <a:pt x="33574" y="24454"/>
                    <a:pt x="33651" y="24576"/>
                    <a:pt x="33602" y="24674"/>
                  </a:cubicBezTo>
                  <a:cubicBezTo>
                    <a:pt x="33563" y="24751"/>
                    <a:pt x="33469" y="24765"/>
                    <a:pt x="33402" y="24772"/>
                  </a:cubicBezTo>
                  <a:cubicBezTo>
                    <a:pt x="33394" y="24773"/>
                    <a:pt x="33385" y="24773"/>
                    <a:pt x="33376" y="24773"/>
                  </a:cubicBezTo>
                  <a:cubicBezTo>
                    <a:pt x="33213" y="24773"/>
                    <a:pt x="33041" y="24681"/>
                    <a:pt x="32905" y="24604"/>
                  </a:cubicBezTo>
                  <a:cubicBezTo>
                    <a:pt x="32856" y="24580"/>
                    <a:pt x="32810" y="24555"/>
                    <a:pt x="32761" y="24534"/>
                  </a:cubicBezTo>
                  <a:lnTo>
                    <a:pt x="32761" y="24534"/>
                  </a:lnTo>
                  <a:cubicBezTo>
                    <a:pt x="32775" y="24622"/>
                    <a:pt x="32744" y="24713"/>
                    <a:pt x="32674" y="24769"/>
                  </a:cubicBezTo>
                  <a:cubicBezTo>
                    <a:pt x="32632" y="24814"/>
                    <a:pt x="32590" y="24853"/>
                    <a:pt x="32590" y="25021"/>
                  </a:cubicBezTo>
                  <a:cubicBezTo>
                    <a:pt x="32590" y="25319"/>
                    <a:pt x="32429" y="25746"/>
                    <a:pt x="32264" y="25886"/>
                  </a:cubicBezTo>
                  <a:cubicBezTo>
                    <a:pt x="32240" y="25907"/>
                    <a:pt x="32212" y="25924"/>
                    <a:pt x="32180" y="25931"/>
                  </a:cubicBezTo>
                  <a:cubicBezTo>
                    <a:pt x="32180" y="25945"/>
                    <a:pt x="32177" y="25956"/>
                    <a:pt x="32177" y="25970"/>
                  </a:cubicBezTo>
                  <a:lnTo>
                    <a:pt x="32177" y="25973"/>
                  </a:lnTo>
                  <a:lnTo>
                    <a:pt x="32177" y="26012"/>
                  </a:lnTo>
                  <a:lnTo>
                    <a:pt x="32177" y="26026"/>
                  </a:lnTo>
                  <a:cubicBezTo>
                    <a:pt x="32177" y="26040"/>
                    <a:pt x="32177" y="26054"/>
                    <a:pt x="32177" y="26064"/>
                  </a:cubicBezTo>
                  <a:lnTo>
                    <a:pt x="32177" y="26071"/>
                  </a:lnTo>
                  <a:cubicBezTo>
                    <a:pt x="32180" y="26085"/>
                    <a:pt x="32184" y="26099"/>
                    <a:pt x="32187" y="26113"/>
                  </a:cubicBezTo>
                  <a:cubicBezTo>
                    <a:pt x="32187" y="26117"/>
                    <a:pt x="32187" y="26120"/>
                    <a:pt x="32187" y="26124"/>
                  </a:cubicBezTo>
                  <a:cubicBezTo>
                    <a:pt x="32191" y="26138"/>
                    <a:pt x="32194" y="26148"/>
                    <a:pt x="32201" y="26159"/>
                  </a:cubicBezTo>
                  <a:lnTo>
                    <a:pt x="32205" y="26169"/>
                  </a:lnTo>
                  <a:cubicBezTo>
                    <a:pt x="32208" y="26180"/>
                    <a:pt x="32215" y="26190"/>
                    <a:pt x="32222" y="26204"/>
                  </a:cubicBezTo>
                  <a:lnTo>
                    <a:pt x="32254" y="26180"/>
                  </a:lnTo>
                  <a:cubicBezTo>
                    <a:pt x="32436" y="26042"/>
                    <a:pt x="32656" y="25878"/>
                    <a:pt x="32866" y="25878"/>
                  </a:cubicBezTo>
                  <a:cubicBezTo>
                    <a:pt x="32874" y="25878"/>
                    <a:pt x="32883" y="25878"/>
                    <a:pt x="32891" y="25879"/>
                  </a:cubicBezTo>
                  <a:cubicBezTo>
                    <a:pt x="33017" y="25886"/>
                    <a:pt x="33136" y="25917"/>
                    <a:pt x="33248" y="25966"/>
                  </a:cubicBezTo>
                  <a:cubicBezTo>
                    <a:pt x="33316" y="25994"/>
                    <a:pt x="33366" y="26015"/>
                    <a:pt x="33416" y="26015"/>
                  </a:cubicBezTo>
                  <a:cubicBezTo>
                    <a:pt x="33458" y="26015"/>
                    <a:pt x="33501" y="26000"/>
                    <a:pt x="33556" y="25963"/>
                  </a:cubicBezTo>
                  <a:cubicBezTo>
                    <a:pt x="33598" y="25931"/>
                    <a:pt x="33640" y="25903"/>
                    <a:pt x="33672" y="25879"/>
                  </a:cubicBezTo>
                  <a:cubicBezTo>
                    <a:pt x="33765" y="25809"/>
                    <a:pt x="33819" y="25768"/>
                    <a:pt x="33873" y="25768"/>
                  </a:cubicBezTo>
                  <a:cubicBezTo>
                    <a:pt x="33884" y="25768"/>
                    <a:pt x="33895" y="25770"/>
                    <a:pt x="33906" y="25774"/>
                  </a:cubicBezTo>
                  <a:cubicBezTo>
                    <a:pt x="33938" y="25784"/>
                    <a:pt x="33966" y="25809"/>
                    <a:pt x="33980" y="25840"/>
                  </a:cubicBezTo>
                  <a:lnTo>
                    <a:pt x="33983" y="25837"/>
                  </a:lnTo>
                  <a:lnTo>
                    <a:pt x="33997" y="25826"/>
                  </a:lnTo>
                  <a:lnTo>
                    <a:pt x="34001" y="25823"/>
                  </a:lnTo>
                  <a:lnTo>
                    <a:pt x="34008" y="25816"/>
                  </a:lnTo>
                  <a:lnTo>
                    <a:pt x="34011" y="25812"/>
                  </a:lnTo>
                  <a:lnTo>
                    <a:pt x="34015" y="25809"/>
                  </a:lnTo>
                  <a:lnTo>
                    <a:pt x="34015" y="25805"/>
                  </a:lnTo>
                  <a:lnTo>
                    <a:pt x="34015" y="25788"/>
                  </a:lnTo>
                  <a:lnTo>
                    <a:pt x="34015" y="25784"/>
                  </a:lnTo>
                  <a:lnTo>
                    <a:pt x="34015" y="25760"/>
                  </a:lnTo>
                  <a:lnTo>
                    <a:pt x="34015" y="25749"/>
                  </a:lnTo>
                  <a:cubicBezTo>
                    <a:pt x="34015" y="25739"/>
                    <a:pt x="34015" y="25728"/>
                    <a:pt x="34011" y="25721"/>
                  </a:cubicBezTo>
                  <a:lnTo>
                    <a:pt x="34011" y="25714"/>
                  </a:lnTo>
                  <a:cubicBezTo>
                    <a:pt x="34011" y="25700"/>
                    <a:pt x="34008" y="25686"/>
                    <a:pt x="34004" y="25672"/>
                  </a:cubicBezTo>
                  <a:lnTo>
                    <a:pt x="34004" y="25669"/>
                  </a:lnTo>
                  <a:cubicBezTo>
                    <a:pt x="33942" y="25678"/>
                    <a:pt x="33888" y="25685"/>
                    <a:pt x="33840" y="25685"/>
                  </a:cubicBezTo>
                  <a:cubicBezTo>
                    <a:pt x="33731" y="25685"/>
                    <a:pt x="33658" y="25647"/>
                    <a:pt x="33602" y="25508"/>
                  </a:cubicBezTo>
                  <a:cubicBezTo>
                    <a:pt x="33577" y="25441"/>
                    <a:pt x="33591" y="25368"/>
                    <a:pt x="33637" y="25319"/>
                  </a:cubicBezTo>
                  <a:cubicBezTo>
                    <a:pt x="33787" y="25122"/>
                    <a:pt x="34316" y="24972"/>
                    <a:pt x="34669" y="24972"/>
                  </a:cubicBezTo>
                  <a:cubicBezTo>
                    <a:pt x="34712" y="24972"/>
                    <a:pt x="34752" y="24974"/>
                    <a:pt x="34788" y="24979"/>
                  </a:cubicBezTo>
                  <a:cubicBezTo>
                    <a:pt x="34818" y="24983"/>
                    <a:pt x="34847" y="24985"/>
                    <a:pt x="34875" y="24985"/>
                  </a:cubicBezTo>
                  <a:cubicBezTo>
                    <a:pt x="34999" y="24985"/>
                    <a:pt x="35109" y="24951"/>
                    <a:pt x="35209" y="24919"/>
                  </a:cubicBezTo>
                  <a:cubicBezTo>
                    <a:pt x="35283" y="24895"/>
                    <a:pt x="35356" y="24873"/>
                    <a:pt x="35422" y="24873"/>
                  </a:cubicBezTo>
                  <a:cubicBezTo>
                    <a:pt x="35462" y="24873"/>
                    <a:pt x="35500" y="24881"/>
                    <a:pt x="35534" y="24902"/>
                  </a:cubicBezTo>
                  <a:lnTo>
                    <a:pt x="35545" y="24895"/>
                  </a:lnTo>
                  <a:lnTo>
                    <a:pt x="35562" y="24877"/>
                  </a:lnTo>
                  <a:lnTo>
                    <a:pt x="35601" y="24846"/>
                  </a:lnTo>
                  <a:lnTo>
                    <a:pt x="35618" y="24832"/>
                  </a:lnTo>
                  <a:lnTo>
                    <a:pt x="35650" y="24800"/>
                  </a:lnTo>
                  <a:lnTo>
                    <a:pt x="35671" y="24786"/>
                  </a:lnTo>
                  <a:lnTo>
                    <a:pt x="35699" y="24762"/>
                  </a:lnTo>
                  <a:lnTo>
                    <a:pt x="35720" y="24744"/>
                  </a:lnTo>
                  <a:lnTo>
                    <a:pt x="35744" y="24720"/>
                  </a:lnTo>
                  <a:lnTo>
                    <a:pt x="35762" y="24706"/>
                  </a:lnTo>
                  <a:lnTo>
                    <a:pt x="35786" y="24685"/>
                  </a:lnTo>
                  <a:lnTo>
                    <a:pt x="35807" y="24667"/>
                  </a:lnTo>
                  <a:lnTo>
                    <a:pt x="35828" y="24650"/>
                  </a:lnTo>
                  <a:lnTo>
                    <a:pt x="35846" y="24636"/>
                  </a:lnTo>
                  <a:lnTo>
                    <a:pt x="35867" y="24618"/>
                  </a:lnTo>
                  <a:lnTo>
                    <a:pt x="35884" y="24604"/>
                  </a:lnTo>
                  <a:lnTo>
                    <a:pt x="35902" y="24590"/>
                  </a:lnTo>
                  <a:lnTo>
                    <a:pt x="35919" y="24576"/>
                  </a:lnTo>
                  <a:lnTo>
                    <a:pt x="35937" y="24562"/>
                  </a:lnTo>
                  <a:lnTo>
                    <a:pt x="35951" y="24552"/>
                  </a:lnTo>
                  <a:lnTo>
                    <a:pt x="35968" y="24538"/>
                  </a:lnTo>
                  <a:lnTo>
                    <a:pt x="35982" y="24527"/>
                  </a:lnTo>
                  <a:lnTo>
                    <a:pt x="35996" y="24517"/>
                  </a:lnTo>
                  <a:lnTo>
                    <a:pt x="36010" y="24506"/>
                  </a:lnTo>
                  <a:lnTo>
                    <a:pt x="36024" y="24496"/>
                  </a:lnTo>
                  <a:lnTo>
                    <a:pt x="36038" y="24489"/>
                  </a:lnTo>
                  <a:lnTo>
                    <a:pt x="36049" y="24478"/>
                  </a:lnTo>
                  <a:lnTo>
                    <a:pt x="36059" y="24471"/>
                  </a:lnTo>
                  <a:lnTo>
                    <a:pt x="36073" y="24461"/>
                  </a:lnTo>
                  <a:lnTo>
                    <a:pt x="36084" y="24454"/>
                  </a:lnTo>
                  <a:lnTo>
                    <a:pt x="36094" y="24447"/>
                  </a:lnTo>
                  <a:lnTo>
                    <a:pt x="36105" y="24440"/>
                  </a:lnTo>
                  <a:lnTo>
                    <a:pt x="36115" y="24433"/>
                  </a:lnTo>
                  <a:lnTo>
                    <a:pt x="36122" y="24429"/>
                  </a:lnTo>
                  <a:lnTo>
                    <a:pt x="36133" y="24422"/>
                  </a:lnTo>
                  <a:lnTo>
                    <a:pt x="36140" y="24419"/>
                  </a:lnTo>
                  <a:lnTo>
                    <a:pt x="36150" y="24412"/>
                  </a:lnTo>
                  <a:lnTo>
                    <a:pt x="36157" y="24408"/>
                  </a:lnTo>
                  <a:lnTo>
                    <a:pt x="36164" y="24405"/>
                  </a:lnTo>
                  <a:lnTo>
                    <a:pt x="36171" y="24401"/>
                  </a:lnTo>
                  <a:lnTo>
                    <a:pt x="36178" y="24398"/>
                  </a:lnTo>
                  <a:lnTo>
                    <a:pt x="36185" y="24394"/>
                  </a:lnTo>
                  <a:lnTo>
                    <a:pt x="36192" y="24391"/>
                  </a:lnTo>
                  <a:lnTo>
                    <a:pt x="36199" y="24387"/>
                  </a:lnTo>
                  <a:lnTo>
                    <a:pt x="36266" y="24387"/>
                  </a:lnTo>
                  <a:cubicBezTo>
                    <a:pt x="36402" y="24387"/>
                    <a:pt x="37936" y="24370"/>
                    <a:pt x="38125" y="24370"/>
                  </a:cubicBezTo>
                  <a:cubicBezTo>
                    <a:pt x="38216" y="24310"/>
                    <a:pt x="38692" y="23988"/>
                    <a:pt x="38758" y="23708"/>
                  </a:cubicBezTo>
                  <a:cubicBezTo>
                    <a:pt x="38814" y="23467"/>
                    <a:pt x="39060" y="22892"/>
                    <a:pt x="39305" y="22717"/>
                  </a:cubicBezTo>
                  <a:cubicBezTo>
                    <a:pt x="39329" y="22700"/>
                    <a:pt x="39354" y="22686"/>
                    <a:pt x="39382" y="22675"/>
                  </a:cubicBezTo>
                  <a:cubicBezTo>
                    <a:pt x="39403" y="22667"/>
                    <a:pt x="39425" y="22662"/>
                    <a:pt x="39447" y="22662"/>
                  </a:cubicBezTo>
                  <a:cubicBezTo>
                    <a:pt x="39486" y="22662"/>
                    <a:pt x="39525" y="22676"/>
                    <a:pt x="39557" y="22703"/>
                  </a:cubicBezTo>
                  <a:cubicBezTo>
                    <a:pt x="39655" y="22780"/>
                    <a:pt x="39819" y="22791"/>
                    <a:pt x="39963" y="22798"/>
                  </a:cubicBezTo>
                  <a:cubicBezTo>
                    <a:pt x="40008" y="22801"/>
                    <a:pt x="40047" y="22805"/>
                    <a:pt x="40085" y="22808"/>
                  </a:cubicBezTo>
                  <a:cubicBezTo>
                    <a:pt x="40113" y="22812"/>
                    <a:pt x="40141" y="22819"/>
                    <a:pt x="40169" y="22822"/>
                  </a:cubicBezTo>
                  <a:cubicBezTo>
                    <a:pt x="40183" y="22826"/>
                    <a:pt x="40197" y="22833"/>
                    <a:pt x="40208" y="22836"/>
                  </a:cubicBezTo>
                  <a:lnTo>
                    <a:pt x="40215" y="22840"/>
                  </a:lnTo>
                  <a:lnTo>
                    <a:pt x="40229" y="22847"/>
                  </a:lnTo>
                  <a:lnTo>
                    <a:pt x="40236" y="22850"/>
                  </a:lnTo>
                  <a:cubicBezTo>
                    <a:pt x="40243" y="22854"/>
                    <a:pt x="40250" y="22857"/>
                    <a:pt x="40253" y="22861"/>
                  </a:cubicBezTo>
                  <a:cubicBezTo>
                    <a:pt x="40285" y="22885"/>
                    <a:pt x="40302" y="22917"/>
                    <a:pt x="40306" y="22955"/>
                  </a:cubicBezTo>
                  <a:cubicBezTo>
                    <a:pt x="40309" y="22994"/>
                    <a:pt x="40306" y="23032"/>
                    <a:pt x="40302" y="23074"/>
                  </a:cubicBezTo>
                  <a:lnTo>
                    <a:pt x="40299" y="23106"/>
                  </a:lnTo>
                  <a:lnTo>
                    <a:pt x="40299" y="23116"/>
                  </a:lnTo>
                  <a:lnTo>
                    <a:pt x="40299" y="23130"/>
                  </a:lnTo>
                  <a:lnTo>
                    <a:pt x="40299" y="23141"/>
                  </a:lnTo>
                  <a:lnTo>
                    <a:pt x="40299" y="23155"/>
                  </a:lnTo>
                  <a:lnTo>
                    <a:pt x="40299" y="23169"/>
                  </a:lnTo>
                  <a:lnTo>
                    <a:pt x="40299" y="23183"/>
                  </a:lnTo>
                  <a:lnTo>
                    <a:pt x="40299" y="23197"/>
                  </a:lnTo>
                  <a:lnTo>
                    <a:pt x="40299" y="23211"/>
                  </a:lnTo>
                  <a:lnTo>
                    <a:pt x="40299" y="23225"/>
                  </a:lnTo>
                  <a:lnTo>
                    <a:pt x="40299" y="23239"/>
                  </a:lnTo>
                  <a:lnTo>
                    <a:pt x="40299" y="23257"/>
                  </a:lnTo>
                  <a:lnTo>
                    <a:pt x="40299" y="23271"/>
                  </a:lnTo>
                  <a:lnTo>
                    <a:pt x="40299" y="23288"/>
                  </a:lnTo>
                  <a:lnTo>
                    <a:pt x="40299" y="23302"/>
                  </a:lnTo>
                  <a:lnTo>
                    <a:pt x="40299" y="23320"/>
                  </a:lnTo>
                  <a:lnTo>
                    <a:pt x="40299" y="23334"/>
                  </a:lnTo>
                  <a:lnTo>
                    <a:pt x="40299" y="23355"/>
                  </a:lnTo>
                  <a:lnTo>
                    <a:pt x="40299" y="23369"/>
                  </a:lnTo>
                  <a:lnTo>
                    <a:pt x="40299" y="23390"/>
                  </a:lnTo>
                  <a:lnTo>
                    <a:pt x="40299" y="23407"/>
                  </a:lnTo>
                  <a:lnTo>
                    <a:pt x="40299" y="23425"/>
                  </a:lnTo>
                  <a:lnTo>
                    <a:pt x="40299" y="23442"/>
                  </a:lnTo>
                  <a:cubicBezTo>
                    <a:pt x="40299" y="23449"/>
                    <a:pt x="40299" y="23456"/>
                    <a:pt x="40302" y="23463"/>
                  </a:cubicBezTo>
                  <a:lnTo>
                    <a:pt x="40306" y="23481"/>
                  </a:lnTo>
                  <a:lnTo>
                    <a:pt x="40309" y="23505"/>
                  </a:lnTo>
                  <a:lnTo>
                    <a:pt x="40313" y="23523"/>
                  </a:lnTo>
                  <a:lnTo>
                    <a:pt x="40316" y="23544"/>
                  </a:lnTo>
                  <a:lnTo>
                    <a:pt x="40320" y="23561"/>
                  </a:lnTo>
                  <a:lnTo>
                    <a:pt x="40323" y="23586"/>
                  </a:lnTo>
                  <a:lnTo>
                    <a:pt x="40327" y="23607"/>
                  </a:lnTo>
                  <a:lnTo>
                    <a:pt x="40334" y="23628"/>
                  </a:lnTo>
                  <a:lnTo>
                    <a:pt x="40341" y="23649"/>
                  </a:lnTo>
                  <a:lnTo>
                    <a:pt x="40344" y="23673"/>
                  </a:lnTo>
                  <a:lnTo>
                    <a:pt x="40351" y="23694"/>
                  </a:lnTo>
                  <a:lnTo>
                    <a:pt x="40358" y="23719"/>
                  </a:lnTo>
                  <a:lnTo>
                    <a:pt x="40365" y="23740"/>
                  </a:lnTo>
                  <a:lnTo>
                    <a:pt x="40376" y="23768"/>
                  </a:lnTo>
                  <a:lnTo>
                    <a:pt x="40383" y="23789"/>
                  </a:lnTo>
                  <a:lnTo>
                    <a:pt x="40390" y="23813"/>
                  </a:lnTo>
                  <a:lnTo>
                    <a:pt x="40400" y="23834"/>
                  </a:lnTo>
                  <a:lnTo>
                    <a:pt x="40411" y="23862"/>
                  </a:lnTo>
                  <a:lnTo>
                    <a:pt x="40418" y="23887"/>
                  </a:lnTo>
                  <a:lnTo>
                    <a:pt x="40432" y="23915"/>
                  </a:lnTo>
                  <a:lnTo>
                    <a:pt x="40442" y="23936"/>
                  </a:lnTo>
                  <a:lnTo>
                    <a:pt x="40456" y="23967"/>
                  </a:lnTo>
                  <a:lnTo>
                    <a:pt x="40467" y="23988"/>
                  </a:lnTo>
                  <a:lnTo>
                    <a:pt x="40481" y="24020"/>
                  </a:lnTo>
                  <a:lnTo>
                    <a:pt x="40491" y="24041"/>
                  </a:lnTo>
                  <a:lnTo>
                    <a:pt x="40509" y="24072"/>
                  </a:lnTo>
                  <a:lnTo>
                    <a:pt x="40523" y="24097"/>
                  </a:lnTo>
                  <a:lnTo>
                    <a:pt x="40540" y="24128"/>
                  </a:lnTo>
                  <a:lnTo>
                    <a:pt x="40554" y="24153"/>
                  </a:lnTo>
                  <a:lnTo>
                    <a:pt x="40572" y="24184"/>
                  </a:lnTo>
                  <a:lnTo>
                    <a:pt x="40586" y="24209"/>
                  </a:lnTo>
                  <a:lnTo>
                    <a:pt x="40607" y="24244"/>
                  </a:lnTo>
                  <a:lnTo>
                    <a:pt x="40624" y="24268"/>
                  </a:lnTo>
                  <a:lnTo>
                    <a:pt x="40645" y="24303"/>
                  </a:lnTo>
                  <a:lnTo>
                    <a:pt x="40663" y="24328"/>
                  </a:lnTo>
                  <a:lnTo>
                    <a:pt x="40687" y="24363"/>
                  </a:lnTo>
                  <a:lnTo>
                    <a:pt x="40705" y="24387"/>
                  </a:lnTo>
                  <a:lnTo>
                    <a:pt x="40712" y="24394"/>
                  </a:lnTo>
                  <a:cubicBezTo>
                    <a:pt x="40869" y="24299"/>
                    <a:pt x="41102" y="24177"/>
                    <a:pt x="41259" y="24177"/>
                  </a:cubicBezTo>
                  <a:cubicBezTo>
                    <a:pt x="41264" y="24177"/>
                    <a:pt x="41268" y="24177"/>
                    <a:pt x="41272" y="24177"/>
                  </a:cubicBezTo>
                  <a:cubicBezTo>
                    <a:pt x="41276" y="24177"/>
                    <a:pt x="41279" y="24178"/>
                    <a:pt x="41283" y="24178"/>
                  </a:cubicBezTo>
                  <a:cubicBezTo>
                    <a:pt x="41469" y="24178"/>
                    <a:pt x="41767" y="23915"/>
                    <a:pt x="41853" y="23750"/>
                  </a:cubicBezTo>
                  <a:cubicBezTo>
                    <a:pt x="41891" y="23678"/>
                    <a:pt x="41938" y="23663"/>
                    <a:pt x="41971" y="23663"/>
                  </a:cubicBezTo>
                  <a:cubicBezTo>
                    <a:pt x="41981" y="23663"/>
                    <a:pt x="41990" y="23664"/>
                    <a:pt x="41997" y="23666"/>
                  </a:cubicBezTo>
                  <a:cubicBezTo>
                    <a:pt x="42074" y="23684"/>
                    <a:pt x="42109" y="23775"/>
                    <a:pt x="42112" y="23852"/>
                  </a:cubicBezTo>
                  <a:cubicBezTo>
                    <a:pt x="42123" y="23939"/>
                    <a:pt x="42074" y="24023"/>
                    <a:pt x="41993" y="24062"/>
                  </a:cubicBezTo>
                  <a:cubicBezTo>
                    <a:pt x="42121" y="24115"/>
                    <a:pt x="42257" y="24140"/>
                    <a:pt x="42394" y="24140"/>
                  </a:cubicBezTo>
                  <a:cubicBezTo>
                    <a:pt x="42411" y="24140"/>
                    <a:pt x="42428" y="24139"/>
                    <a:pt x="42445" y="24139"/>
                  </a:cubicBezTo>
                  <a:cubicBezTo>
                    <a:pt x="42462" y="24138"/>
                    <a:pt x="42477" y="24138"/>
                    <a:pt x="42492" y="24138"/>
                  </a:cubicBezTo>
                  <a:cubicBezTo>
                    <a:pt x="42559" y="24138"/>
                    <a:pt x="42597" y="24147"/>
                    <a:pt x="42620" y="24184"/>
                  </a:cubicBezTo>
                  <a:cubicBezTo>
                    <a:pt x="42630" y="24205"/>
                    <a:pt x="42630" y="24233"/>
                    <a:pt x="42620" y="24254"/>
                  </a:cubicBezTo>
                  <a:cubicBezTo>
                    <a:pt x="42606" y="24275"/>
                    <a:pt x="42588" y="24307"/>
                    <a:pt x="42375" y="24349"/>
                  </a:cubicBezTo>
                  <a:cubicBezTo>
                    <a:pt x="42274" y="24368"/>
                    <a:pt x="42171" y="24381"/>
                    <a:pt x="42067" y="24381"/>
                  </a:cubicBezTo>
                  <a:cubicBezTo>
                    <a:pt x="42056" y="24381"/>
                    <a:pt x="42044" y="24381"/>
                    <a:pt x="42032" y="24380"/>
                  </a:cubicBezTo>
                  <a:cubicBezTo>
                    <a:pt x="42005" y="24379"/>
                    <a:pt x="41981" y="24378"/>
                    <a:pt x="41957" y="24378"/>
                  </a:cubicBezTo>
                  <a:cubicBezTo>
                    <a:pt x="41788" y="24378"/>
                    <a:pt x="41679" y="24426"/>
                    <a:pt x="41381" y="24727"/>
                  </a:cubicBezTo>
                  <a:cubicBezTo>
                    <a:pt x="41234" y="24870"/>
                    <a:pt x="41167" y="24975"/>
                    <a:pt x="41167" y="25042"/>
                  </a:cubicBezTo>
                  <a:cubicBezTo>
                    <a:pt x="41167" y="25105"/>
                    <a:pt x="41230" y="25161"/>
                    <a:pt x="41314" y="25234"/>
                  </a:cubicBezTo>
                  <a:cubicBezTo>
                    <a:pt x="41374" y="25288"/>
                    <a:pt x="41441" y="25314"/>
                    <a:pt x="41517" y="25314"/>
                  </a:cubicBezTo>
                  <a:cubicBezTo>
                    <a:pt x="41640" y="25314"/>
                    <a:pt x="41783" y="25243"/>
                    <a:pt x="41944" y="25101"/>
                  </a:cubicBezTo>
                  <a:cubicBezTo>
                    <a:pt x="42025" y="25031"/>
                    <a:pt x="42091" y="24951"/>
                    <a:pt x="42147" y="24863"/>
                  </a:cubicBezTo>
                  <a:cubicBezTo>
                    <a:pt x="42231" y="24743"/>
                    <a:pt x="42305" y="24639"/>
                    <a:pt x="42485" y="24639"/>
                  </a:cubicBezTo>
                  <a:cubicBezTo>
                    <a:pt x="42494" y="24639"/>
                    <a:pt x="42502" y="24639"/>
                    <a:pt x="42511" y="24639"/>
                  </a:cubicBezTo>
                  <a:cubicBezTo>
                    <a:pt x="42516" y="24639"/>
                    <a:pt x="42520" y="24640"/>
                    <a:pt x="42524" y="24640"/>
                  </a:cubicBezTo>
                  <a:cubicBezTo>
                    <a:pt x="42738" y="24640"/>
                    <a:pt x="43225" y="24476"/>
                    <a:pt x="43548" y="24370"/>
                  </a:cubicBezTo>
                  <a:cubicBezTo>
                    <a:pt x="43625" y="24342"/>
                    <a:pt x="43695" y="24321"/>
                    <a:pt x="43751" y="24303"/>
                  </a:cubicBezTo>
                  <a:cubicBezTo>
                    <a:pt x="43793" y="24289"/>
                    <a:pt x="43835" y="24272"/>
                    <a:pt x="43873" y="24247"/>
                  </a:cubicBezTo>
                  <a:cubicBezTo>
                    <a:pt x="43870" y="24240"/>
                    <a:pt x="43863" y="24230"/>
                    <a:pt x="43859" y="24223"/>
                  </a:cubicBezTo>
                  <a:cubicBezTo>
                    <a:pt x="43831" y="24181"/>
                    <a:pt x="43817" y="24135"/>
                    <a:pt x="43814" y="24086"/>
                  </a:cubicBezTo>
                  <a:cubicBezTo>
                    <a:pt x="43814" y="23960"/>
                    <a:pt x="43985" y="23922"/>
                    <a:pt x="44202" y="23880"/>
                  </a:cubicBezTo>
                  <a:cubicBezTo>
                    <a:pt x="44339" y="23848"/>
                    <a:pt x="44493" y="23817"/>
                    <a:pt x="44570" y="23764"/>
                  </a:cubicBezTo>
                  <a:cubicBezTo>
                    <a:pt x="44615" y="23736"/>
                    <a:pt x="44615" y="23719"/>
                    <a:pt x="44615" y="23719"/>
                  </a:cubicBezTo>
                  <a:cubicBezTo>
                    <a:pt x="44609" y="23698"/>
                    <a:pt x="44541" y="23662"/>
                    <a:pt x="44457" y="23662"/>
                  </a:cubicBezTo>
                  <a:cubicBezTo>
                    <a:pt x="44441" y="23662"/>
                    <a:pt x="44425" y="23663"/>
                    <a:pt x="44409" y="23666"/>
                  </a:cubicBezTo>
                  <a:cubicBezTo>
                    <a:pt x="44400" y="23668"/>
                    <a:pt x="44391" y="23669"/>
                    <a:pt x="44382" y="23669"/>
                  </a:cubicBezTo>
                  <a:cubicBezTo>
                    <a:pt x="44345" y="23669"/>
                    <a:pt x="44308" y="23652"/>
                    <a:pt x="44283" y="23624"/>
                  </a:cubicBezTo>
                  <a:cubicBezTo>
                    <a:pt x="44223" y="23554"/>
                    <a:pt x="44258" y="23442"/>
                    <a:pt x="44293" y="23320"/>
                  </a:cubicBezTo>
                  <a:cubicBezTo>
                    <a:pt x="44304" y="23295"/>
                    <a:pt x="44311" y="23271"/>
                    <a:pt x="44314" y="23250"/>
                  </a:cubicBezTo>
                  <a:lnTo>
                    <a:pt x="44314" y="23250"/>
                  </a:lnTo>
                  <a:cubicBezTo>
                    <a:pt x="44258" y="23271"/>
                    <a:pt x="44209" y="23299"/>
                    <a:pt x="44164" y="23337"/>
                  </a:cubicBezTo>
                  <a:cubicBezTo>
                    <a:pt x="44122" y="23362"/>
                    <a:pt x="44094" y="23400"/>
                    <a:pt x="44080" y="23446"/>
                  </a:cubicBezTo>
                  <a:cubicBezTo>
                    <a:pt x="44069" y="23565"/>
                    <a:pt x="43968" y="23635"/>
                    <a:pt x="43884" y="23691"/>
                  </a:cubicBezTo>
                  <a:cubicBezTo>
                    <a:pt x="43852" y="23708"/>
                    <a:pt x="43824" y="23733"/>
                    <a:pt x="43800" y="23761"/>
                  </a:cubicBezTo>
                  <a:cubicBezTo>
                    <a:pt x="43800" y="23922"/>
                    <a:pt x="43793" y="24002"/>
                    <a:pt x="43660" y="24013"/>
                  </a:cubicBezTo>
                  <a:cubicBezTo>
                    <a:pt x="43614" y="24016"/>
                    <a:pt x="43572" y="24027"/>
                    <a:pt x="43534" y="24048"/>
                  </a:cubicBezTo>
                  <a:cubicBezTo>
                    <a:pt x="43469" y="24080"/>
                    <a:pt x="43364" y="24094"/>
                    <a:pt x="43245" y="24094"/>
                  </a:cubicBezTo>
                  <a:cubicBezTo>
                    <a:pt x="43014" y="24094"/>
                    <a:pt x="42731" y="24041"/>
                    <a:pt x="42592" y="23967"/>
                  </a:cubicBezTo>
                  <a:cubicBezTo>
                    <a:pt x="42518" y="23929"/>
                    <a:pt x="42476" y="23880"/>
                    <a:pt x="42469" y="23827"/>
                  </a:cubicBezTo>
                  <a:cubicBezTo>
                    <a:pt x="42462" y="23785"/>
                    <a:pt x="42333" y="23722"/>
                    <a:pt x="42242" y="23677"/>
                  </a:cubicBezTo>
                  <a:cubicBezTo>
                    <a:pt x="42077" y="23593"/>
                    <a:pt x="41892" y="23502"/>
                    <a:pt x="41874" y="23341"/>
                  </a:cubicBezTo>
                  <a:cubicBezTo>
                    <a:pt x="41864" y="23278"/>
                    <a:pt x="41836" y="23214"/>
                    <a:pt x="41797" y="23165"/>
                  </a:cubicBezTo>
                  <a:cubicBezTo>
                    <a:pt x="41727" y="23060"/>
                    <a:pt x="41643" y="22934"/>
                    <a:pt x="41815" y="22735"/>
                  </a:cubicBezTo>
                  <a:cubicBezTo>
                    <a:pt x="41881" y="22658"/>
                    <a:pt x="41895" y="22598"/>
                    <a:pt x="41874" y="22577"/>
                  </a:cubicBezTo>
                  <a:cubicBezTo>
                    <a:pt x="41867" y="22570"/>
                    <a:pt x="41852" y="22566"/>
                    <a:pt x="41832" y="22566"/>
                  </a:cubicBezTo>
                  <a:cubicBezTo>
                    <a:pt x="41791" y="22566"/>
                    <a:pt x="41729" y="22585"/>
                    <a:pt x="41668" y="22644"/>
                  </a:cubicBezTo>
                  <a:cubicBezTo>
                    <a:pt x="41600" y="22707"/>
                    <a:pt x="41542" y="22723"/>
                    <a:pt x="41498" y="22723"/>
                  </a:cubicBezTo>
                  <a:cubicBezTo>
                    <a:pt x="41469" y="22723"/>
                    <a:pt x="41447" y="22716"/>
                    <a:pt x="41433" y="22710"/>
                  </a:cubicBezTo>
                  <a:cubicBezTo>
                    <a:pt x="41377" y="22682"/>
                    <a:pt x="41342" y="22623"/>
                    <a:pt x="41346" y="22560"/>
                  </a:cubicBezTo>
                  <a:cubicBezTo>
                    <a:pt x="41346" y="22479"/>
                    <a:pt x="41405" y="22374"/>
                    <a:pt x="41552" y="22315"/>
                  </a:cubicBezTo>
                  <a:cubicBezTo>
                    <a:pt x="41584" y="22301"/>
                    <a:pt x="41622" y="22290"/>
                    <a:pt x="41661" y="22276"/>
                  </a:cubicBezTo>
                  <a:cubicBezTo>
                    <a:pt x="41836" y="22213"/>
                    <a:pt x="42049" y="22136"/>
                    <a:pt x="42105" y="21993"/>
                  </a:cubicBezTo>
                  <a:cubicBezTo>
                    <a:pt x="42133" y="21916"/>
                    <a:pt x="42116" y="21821"/>
                    <a:pt x="42053" y="21706"/>
                  </a:cubicBezTo>
                  <a:cubicBezTo>
                    <a:pt x="42014" y="21643"/>
                    <a:pt x="41951" y="21601"/>
                    <a:pt x="41881" y="21587"/>
                  </a:cubicBezTo>
                  <a:cubicBezTo>
                    <a:pt x="41814" y="21568"/>
                    <a:pt x="41736" y="21559"/>
                    <a:pt x="41648" y="21559"/>
                  </a:cubicBezTo>
                  <a:cubicBezTo>
                    <a:pt x="41057" y="21559"/>
                    <a:pt x="40073" y="21948"/>
                    <a:pt x="39777" y="22119"/>
                  </a:cubicBezTo>
                  <a:cubicBezTo>
                    <a:pt x="39585" y="22227"/>
                    <a:pt x="39357" y="22469"/>
                    <a:pt x="39154" y="22675"/>
                  </a:cubicBezTo>
                  <a:cubicBezTo>
                    <a:pt x="38874" y="22966"/>
                    <a:pt x="38699" y="23144"/>
                    <a:pt x="38555" y="23144"/>
                  </a:cubicBezTo>
                  <a:cubicBezTo>
                    <a:pt x="38482" y="23144"/>
                    <a:pt x="38457" y="23109"/>
                    <a:pt x="38447" y="23081"/>
                  </a:cubicBezTo>
                  <a:cubicBezTo>
                    <a:pt x="38415" y="22994"/>
                    <a:pt x="38513" y="22906"/>
                    <a:pt x="38741" y="22714"/>
                  </a:cubicBezTo>
                  <a:cubicBezTo>
                    <a:pt x="38846" y="22626"/>
                    <a:pt x="38965" y="22525"/>
                    <a:pt x="38996" y="22476"/>
                  </a:cubicBezTo>
                  <a:cubicBezTo>
                    <a:pt x="39024" y="22423"/>
                    <a:pt x="39035" y="22367"/>
                    <a:pt x="39028" y="22311"/>
                  </a:cubicBezTo>
                  <a:cubicBezTo>
                    <a:pt x="39028" y="22269"/>
                    <a:pt x="39024" y="22217"/>
                    <a:pt x="39070" y="22189"/>
                  </a:cubicBezTo>
                  <a:cubicBezTo>
                    <a:pt x="39087" y="22180"/>
                    <a:pt x="39106" y="22176"/>
                    <a:pt x="39125" y="22176"/>
                  </a:cubicBezTo>
                  <a:cubicBezTo>
                    <a:pt x="39146" y="22176"/>
                    <a:pt x="39167" y="22181"/>
                    <a:pt x="39186" y="22192"/>
                  </a:cubicBezTo>
                  <a:cubicBezTo>
                    <a:pt x="39245" y="22185"/>
                    <a:pt x="39417" y="21986"/>
                    <a:pt x="39532" y="21856"/>
                  </a:cubicBezTo>
                  <a:cubicBezTo>
                    <a:pt x="39651" y="21716"/>
                    <a:pt x="39777" y="21569"/>
                    <a:pt x="39886" y="21485"/>
                  </a:cubicBezTo>
                  <a:cubicBezTo>
                    <a:pt x="40013" y="21389"/>
                    <a:pt x="40143" y="21375"/>
                    <a:pt x="40250" y="21375"/>
                  </a:cubicBezTo>
                  <a:cubicBezTo>
                    <a:pt x="40272" y="21375"/>
                    <a:pt x="40293" y="21376"/>
                    <a:pt x="40313" y="21377"/>
                  </a:cubicBezTo>
                  <a:cubicBezTo>
                    <a:pt x="40411" y="21377"/>
                    <a:pt x="40428" y="21373"/>
                    <a:pt x="40432" y="21356"/>
                  </a:cubicBezTo>
                  <a:cubicBezTo>
                    <a:pt x="40474" y="21177"/>
                    <a:pt x="40600" y="21065"/>
                    <a:pt x="40852" y="20837"/>
                  </a:cubicBezTo>
                  <a:cubicBezTo>
                    <a:pt x="41038" y="20669"/>
                    <a:pt x="42431" y="20640"/>
                    <a:pt x="43394" y="20640"/>
                  </a:cubicBezTo>
                  <a:cubicBezTo>
                    <a:pt x="43914" y="20640"/>
                    <a:pt x="44308" y="20648"/>
                    <a:pt x="44318" y="20648"/>
                  </a:cubicBezTo>
                  <a:lnTo>
                    <a:pt x="44328" y="20648"/>
                  </a:lnTo>
                  <a:cubicBezTo>
                    <a:pt x="44577" y="20648"/>
                    <a:pt x="45095" y="20298"/>
                    <a:pt x="45242" y="20071"/>
                  </a:cubicBezTo>
                  <a:cubicBezTo>
                    <a:pt x="45377" y="19864"/>
                    <a:pt x="45545" y="19814"/>
                    <a:pt x="45791" y="19814"/>
                  </a:cubicBezTo>
                  <a:cubicBezTo>
                    <a:pt x="45870" y="19814"/>
                    <a:pt x="45957" y="19819"/>
                    <a:pt x="46054" y="19826"/>
                  </a:cubicBezTo>
                  <a:cubicBezTo>
                    <a:pt x="46064" y="19826"/>
                    <a:pt x="46074" y="19827"/>
                    <a:pt x="46084" y="19827"/>
                  </a:cubicBezTo>
                  <a:cubicBezTo>
                    <a:pt x="46316" y="19827"/>
                    <a:pt x="46466" y="19673"/>
                    <a:pt x="46600" y="19535"/>
                  </a:cubicBezTo>
                  <a:cubicBezTo>
                    <a:pt x="46656" y="19476"/>
                    <a:pt x="46712" y="19423"/>
                    <a:pt x="46775" y="19374"/>
                  </a:cubicBezTo>
                  <a:cubicBezTo>
                    <a:pt x="46810" y="19357"/>
                    <a:pt x="46838" y="19329"/>
                    <a:pt x="46863" y="19301"/>
                  </a:cubicBezTo>
                  <a:cubicBezTo>
                    <a:pt x="46828" y="19280"/>
                    <a:pt x="46789" y="19269"/>
                    <a:pt x="46751" y="19262"/>
                  </a:cubicBezTo>
                  <a:cubicBezTo>
                    <a:pt x="46747" y="19262"/>
                    <a:pt x="46460" y="19199"/>
                    <a:pt x="46471" y="19069"/>
                  </a:cubicBezTo>
                  <a:cubicBezTo>
                    <a:pt x="46471" y="19031"/>
                    <a:pt x="46499" y="18982"/>
                    <a:pt x="46604" y="18975"/>
                  </a:cubicBezTo>
                  <a:cubicBezTo>
                    <a:pt x="46719" y="18968"/>
                    <a:pt x="46796" y="18919"/>
                    <a:pt x="46873" y="18691"/>
                  </a:cubicBezTo>
                  <a:cubicBezTo>
                    <a:pt x="46901" y="18611"/>
                    <a:pt x="46901" y="18611"/>
                    <a:pt x="46835" y="18565"/>
                  </a:cubicBezTo>
                  <a:cubicBezTo>
                    <a:pt x="46744" y="18499"/>
                    <a:pt x="46660" y="18418"/>
                    <a:pt x="46593" y="18327"/>
                  </a:cubicBezTo>
                  <a:cubicBezTo>
                    <a:pt x="46545" y="18265"/>
                    <a:pt x="46509" y="18240"/>
                    <a:pt x="46473" y="18240"/>
                  </a:cubicBezTo>
                  <a:cubicBezTo>
                    <a:pt x="46434" y="18240"/>
                    <a:pt x="46394" y="18270"/>
                    <a:pt x="46338" y="18313"/>
                  </a:cubicBezTo>
                  <a:cubicBezTo>
                    <a:pt x="46271" y="18364"/>
                    <a:pt x="46189" y="18427"/>
                    <a:pt x="46085" y="18427"/>
                  </a:cubicBezTo>
                  <a:cubicBezTo>
                    <a:pt x="46075" y="18427"/>
                    <a:pt x="46065" y="18427"/>
                    <a:pt x="46054" y="18425"/>
                  </a:cubicBezTo>
                  <a:cubicBezTo>
                    <a:pt x="46009" y="18425"/>
                    <a:pt x="45963" y="18401"/>
                    <a:pt x="45935" y="18359"/>
                  </a:cubicBezTo>
                  <a:cubicBezTo>
                    <a:pt x="45900" y="18296"/>
                    <a:pt x="45935" y="18222"/>
                    <a:pt x="45970" y="18152"/>
                  </a:cubicBezTo>
                  <a:cubicBezTo>
                    <a:pt x="46026" y="18037"/>
                    <a:pt x="46030" y="18005"/>
                    <a:pt x="45991" y="17977"/>
                  </a:cubicBezTo>
                  <a:cubicBezTo>
                    <a:pt x="45942" y="17947"/>
                    <a:pt x="45880" y="17933"/>
                    <a:pt x="45810" y="17933"/>
                  </a:cubicBezTo>
                  <a:cubicBezTo>
                    <a:pt x="45634" y="17933"/>
                    <a:pt x="45409" y="18023"/>
                    <a:pt x="45221" y="18180"/>
                  </a:cubicBezTo>
                  <a:cubicBezTo>
                    <a:pt x="45083" y="18293"/>
                    <a:pt x="45002" y="18310"/>
                    <a:pt x="44926" y="18310"/>
                  </a:cubicBezTo>
                  <a:cubicBezTo>
                    <a:pt x="44917" y="18310"/>
                    <a:pt x="44908" y="18310"/>
                    <a:pt x="44899" y="18310"/>
                  </a:cubicBezTo>
                  <a:cubicBezTo>
                    <a:pt x="44891" y="18309"/>
                    <a:pt x="44883" y="18309"/>
                    <a:pt x="44875" y="18309"/>
                  </a:cubicBezTo>
                  <a:cubicBezTo>
                    <a:pt x="44833" y="18309"/>
                    <a:pt x="44791" y="18322"/>
                    <a:pt x="44703" y="18408"/>
                  </a:cubicBezTo>
                  <a:cubicBezTo>
                    <a:pt x="44633" y="18475"/>
                    <a:pt x="44570" y="18509"/>
                    <a:pt x="44515" y="18509"/>
                  </a:cubicBezTo>
                  <a:cubicBezTo>
                    <a:pt x="44501" y="18509"/>
                    <a:pt x="44488" y="18507"/>
                    <a:pt x="44475" y="18502"/>
                  </a:cubicBezTo>
                  <a:cubicBezTo>
                    <a:pt x="44423" y="18481"/>
                    <a:pt x="44388" y="18436"/>
                    <a:pt x="44384" y="18383"/>
                  </a:cubicBezTo>
                  <a:cubicBezTo>
                    <a:pt x="44367" y="18275"/>
                    <a:pt x="44402" y="18166"/>
                    <a:pt x="44482" y="18089"/>
                  </a:cubicBezTo>
                  <a:cubicBezTo>
                    <a:pt x="44531" y="18053"/>
                    <a:pt x="44593" y="18029"/>
                    <a:pt x="44655" y="18029"/>
                  </a:cubicBezTo>
                  <a:cubicBezTo>
                    <a:pt x="44659" y="18029"/>
                    <a:pt x="44664" y="18030"/>
                    <a:pt x="44668" y="18030"/>
                  </a:cubicBezTo>
                  <a:cubicBezTo>
                    <a:pt x="44671" y="18030"/>
                    <a:pt x="44674" y="18030"/>
                    <a:pt x="44677" y="18030"/>
                  </a:cubicBezTo>
                  <a:cubicBezTo>
                    <a:pt x="44719" y="18030"/>
                    <a:pt x="44764" y="18006"/>
                    <a:pt x="44787" y="17970"/>
                  </a:cubicBezTo>
                  <a:cubicBezTo>
                    <a:pt x="44857" y="17876"/>
                    <a:pt x="44934" y="17872"/>
                    <a:pt x="45011" y="17865"/>
                  </a:cubicBezTo>
                  <a:cubicBezTo>
                    <a:pt x="45116" y="17865"/>
                    <a:pt x="45217" y="17830"/>
                    <a:pt x="45302" y="17771"/>
                  </a:cubicBezTo>
                  <a:cubicBezTo>
                    <a:pt x="45424" y="17694"/>
                    <a:pt x="45564" y="17645"/>
                    <a:pt x="45711" y="17627"/>
                  </a:cubicBezTo>
                  <a:cubicBezTo>
                    <a:pt x="45806" y="17610"/>
                    <a:pt x="45862" y="17599"/>
                    <a:pt x="45886" y="17561"/>
                  </a:cubicBezTo>
                  <a:cubicBezTo>
                    <a:pt x="45890" y="17554"/>
                    <a:pt x="45904" y="17529"/>
                    <a:pt x="45879" y="17491"/>
                  </a:cubicBezTo>
                  <a:cubicBezTo>
                    <a:pt x="45840" y="17438"/>
                    <a:pt x="45753" y="17394"/>
                    <a:pt x="45643" y="17394"/>
                  </a:cubicBezTo>
                  <a:cubicBezTo>
                    <a:pt x="45614" y="17394"/>
                    <a:pt x="45584" y="17397"/>
                    <a:pt x="45554" y="17403"/>
                  </a:cubicBezTo>
                  <a:cubicBezTo>
                    <a:pt x="45531" y="17408"/>
                    <a:pt x="45508" y="17411"/>
                    <a:pt x="45487" y="17411"/>
                  </a:cubicBezTo>
                  <a:cubicBezTo>
                    <a:pt x="45352" y="17411"/>
                    <a:pt x="45241" y="17317"/>
                    <a:pt x="45147" y="17242"/>
                  </a:cubicBezTo>
                  <a:cubicBezTo>
                    <a:pt x="45072" y="17177"/>
                    <a:pt x="45023" y="17142"/>
                    <a:pt x="44987" y="17142"/>
                  </a:cubicBezTo>
                  <a:cubicBezTo>
                    <a:pt x="44977" y="17142"/>
                    <a:pt x="44967" y="17145"/>
                    <a:pt x="44958" y="17151"/>
                  </a:cubicBezTo>
                  <a:cubicBezTo>
                    <a:pt x="44917" y="17181"/>
                    <a:pt x="44881" y="17192"/>
                    <a:pt x="44851" y="17192"/>
                  </a:cubicBezTo>
                  <a:cubicBezTo>
                    <a:pt x="44783" y="17192"/>
                    <a:pt x="44741" y="17138"/>
                    <a:pt x="44717" y="17109"/>
                  </a:cubicBezTo>
                  <a:cubicBezTo>
                    <a:pt x="44698" y="17086"/>
                    <a:pt x="44688" y="17073"/>
                    <a:pt x="44672" y="17073"/>
                  </a:cubicBezTo>
                  <a:cubicBezTo>
                    <a:pt x="44662" y="17073"/>
                    <a:pt x="44649" y="17079"/>
                    <a:pt x="44629" y="17092"/>
                  </a:cubicBezTo>
                  <a:cubicBezTo>
                    <a:pt x="44585" y="17126"/>
                    <a:pt x="44529" y="17143"/>
                    <a:pt x="44472" y="17143"/>
                  </a:cubicBezTo>
                  <a:cubicBezTo>
                    <a:pt x="44447" y="17143"/>
                    <a:pt x="44422" y="17140"/>
                    <a:pt x="44398" y="17134"/>
                  </a:cubicBezTo>
                  <a:cubicBezTo>
                    <a:pt x="44269" y="17088"/>
                    <a:pt x="44195" y="16927"/>
                    <a:pt x="44146" y="16794"/>
                  </a:cubicBezTo>
                  <a:cubicBezTo>
                    <a:pt x="44076" y="16598"/>
                    <a:pt x="43583" y="16227"/>
                    <a:pt x="43268" y="16129"/>
                  </a:cubicBezTo>
                  <a:cubicBezTo>
                    <a:pt x="43103" y="16080"/>
                    <a:pt x="43064" y="16010"/>
                    <a:pt x="43057" y="15957"/>
                  </a:cubicBezTo>
                  <a:cubicBezTo>
                    <a:pt x="43054" y="15908"/>
                    <a:pt x="43078" y="15863"/>
                    <a:pt x="43120" y="15838"/>
                  </a:cubicBezTo>
                  <a:cubicBezTo>
                    <a:pt x="43156" y="15821"/>
                    <a:pt x="43194" y="15813"/>
                    <a:pt x="43231" y="15813"/>
                  </a:cubicBezTo>
                  <a:cubicBezTo>
                    <a:pt x="43286" y="15813"/>
                    <a:pt x="43339" y="15831"/>
                    <a:pt x="43383" y="15866"/>
                  </a:cubicBezTo>
                  <a:cubicBezTo>
                    <a:pt x="43402" y="15883"/>
                    <a:pt x="43426" y="15888"/>
                    <a:pt x="43449" y="15888"/>
                  </a:cubicBezTo>
                  <a:cubicBezTo>
                    <a:pt x="43455" y="15888"/>
                    <a:pt x="43461" y="15888"/>
                    <a:pt x="43467" y="15887"/>
                  </a:cubicBezTo>
                  <a:cubicBezTo>
                    <a:pt x="43555" y="15866"/>
                    <a:pt x="43660" y="15751"/>
                    <a:pt x="43726" y="15646"/>
                  </a:cubicBezTo>
                  <a:cubicBezTo>
                    <a:pt x="43733" y="15632"/>
                    <a:pt x="43733" y="15618"/>
                    <a:pt x="43726" y="15607"/>
                  </a:cubicBezTo>
                  <a:cubicBezTo>
                    <a:pt x="43702" y="15555"/>
                    <a:pt x="43604" y="15509"/>
                    <a:pt x="43555" y="15502"/>
                  </a:cubicBezTo>
                  <a:cubicBezTo>
                    <a:pt x="43513" y="15495"/>
                    <a:pt x="43478" y="15474"/>
                    <a:pt x="43453" y="15439"/>
                  </a:cubicBezTo>
                  <a:cubicBezTo>
                    <a:pt x="43390" y="15355"/>
                    <a:pt x="43408" y="15212"/>
                    <a:pt x="43425" y="15131"/>
                  </a:cubicBezTo>
                  <a:cubicBezTo>
                    <a:pt x="43425" y="15103"/>
                    <a:pt x="43324" y="15026"/>
                    <a:pt x="43271" y="14984"/>
                  </a:cubicBezTo>
                  <a:cubicBezTo>
                    <a:pt x="43173" y="14907"/>
                    <a:pt x="43078" y="14837"/>
                    <a:pt x="43071" y="14749"/>
                  </a:cubicBezTo>
                  <a:cubicBezTo>
                    <a:pt x="43068" y="14714"/>
                    <a:pt x="43022" y="14672"/>
                    <a:pt x="42984" y="14634"/>
                  </a:cubicBezTo>
                  <a:cubicBezTo>
                    <a:pt x="42924" y="14574"/>
                    <a:pt x="42858" y="14508"/>
                    <a:pt x="42868" y="14420"/>
                  </a:cubicBezTo>
                  <a:cubicBezTo>
                    <a:pt x="42868" y="14396"/>
                    <a:pt x="42823" y="14329"/>
                    <a:pt x="42788" y="14284"/>
                  </a:cubicBezTo>
                  <a:cubicBezTo>
                    <a:pt x="42728" y="14203"/>
                    <a:pt x="42662" y="14112"/>
                    <a:pt x="42662" y="14018"/>
                  </a:cubicBezTo>
                  <a:cubicBezTo>
                    <a:pt x="42662" y="13969"/>
                    <a:pt x="42564" y="13853"/>
                    <a:pt x="42497" y="13769"/>
                  </a:cubicBezTo>
                  <a:cubicBezTo>
                    <a:pt x="42392" y="13643"/>
                    <a:pt x="42291" y="13521"/>
                    <a:pt x="42284" y="13416"/>
                  </a:cubicBezTo>
                  <a:cubicBezTo>
                    <a:pt x="42280" y="13342"/>
                    <a:pt x="42228" y="13276"/>
                    <a:pt x="42168" y="13195"/>
                  </a:cubicBezTo>
                  <a:cubicBezTo>
                    <a:pt x="42102" y="13118"/>
                    <a:pt x="42046" y="13031"/>
                    <a:pt x="42011" y="12933"/>
                  </a:cubicBezTo>
                  <a:cubicBezTo>
                    <a:pt x="42004" y="12915"/>
                    <a:pt x="41993" y="12894"/>
                    <a:pt x="41983" y="12877"/>
                  </a:cubicBezTo>
                  <a:cubicBezTo>
                    <a:pt x="41965" y="12898"/>
                    <a:pt x="41930" y="12957"/>
                    <a:pt x="41892" y="13111"/>
                  </a:cubicBezTo>
                  <a:cubicBezTo>
                    <a:pt x="41860" y="13241"/>
                    <a:pt x="41776" y="13353"/>
                    <a:pt x="41661" y="13423"/>
                  </a:cubicBezTo>
                  <a:lnTo>
                    <a:pt x="41636" y="13444"/>
                  </a:lnTo>
                  <a:cubicBezTo>
                    <a:pt x="41769" y="13626"/>
                    <a:pt x="41710" y="13696"/>
                    <a:pt x="41615" y="13780"/>
                  </a:cubicBezTo>
                  <a:cubicBezTo>
                    <a:pt x="41591" y="13797"/>
                    <a:pt x="41570" y="13818"/>
                    <a:pt x="41552" y="13839"/>
                  </a:cubicBezTo>
                  <a:cubicBezTo>
                    <a:pt x="41524" y="13871"/>
                    <a:pt x="41528" y="13909"/>
                    <a:pt x="41538" y="13969"/>
                  </a:cubicBezTo>
                  <a:cubicBezTo>
                    <a:pt x="41545" y="14018"/>
                    <a:pt x="41556" y="14074"/>
                    <a:pt x="41517" y="14119"/>
                  </a:cubicBezTo>
                  <a:cubicBezTo>
                    <a:pt x="41485" y="14148"/>
                    <a:pt x="41444" y="14165"/>
                    <a:pt x="41405" y="14165"/>
                  </a:cubicBezTo>
                  <a:cubicBezTo>
                    <a:pt x="41402" y="14165"/>
                    <a:pt x="41398" y="14165"/>
                    <a:pt x="41395" y="14165"/>
                  </a:cubicBezTo>
                  <a:cubicBezTo>
                    <a:pt x="41360" y="14165"/>
                    <a:pt x="41342" y="14196"/>
                    <a:pt x="41325" y="14294"/>
                  </a:cubicBezTo>
                  <a:cubicBezTo>
                    <a:pt x="41314" y="14347"/>
                    <a:pt x="41307" y="14403"/>
                    <a:pt x="41248" y="14413"/>
                  </a:cubicBezTo>
                  <a:cubicBezTo>
                    <a:pt x="41243" y="14414"/>
                    <a:pt x="41238" y="14415"/>
                    <a:pt x="41234" y="14415"/>
                  </a:cubicBezTo>
                  <a:cubicBezTo>
                    <a:pt x="41186" y="14415"/>
                    <a:pt x="41159" y="14365"/>
                    <a:pt x="41143" y="14336"/>
                  </a:cubicBezTo>
                  <a:cubicBezTo>
                    <a:pt x="41121" y="14291"/>
                    <a:pt x="41074" y="14264"/>
                    <a:pt x="41026" y="14264"/>
                  </a:cubicBezTo>
                  <a:cubicBezTo>
                    <a:pt x="41018" y="14264"/>
                    <a:pt x="41010" y="14265"/>
                    <a:pt x="41002" y="14266"/>
                  </a:cubicBezTo>
                  <a:cubicBezTo>
                    <a:pt x="40960" y="14277"/>
                    <a:pt x="40936" y="14312"/>
                    <a:pt x="40936" y="14354"/>
                  </a:cubicBezTo>
                  <a:cubicBezTo>
                    <a:pt x="40932" y="14424"/>
                    <a:pt x="40897" y="14487"/>
                    <a:pt x="40845" y="14532"/>
                  </a:cubicBezTo>
                  <a:cubicBezTo>
                    <a:pt x="40714" y="14654"/>
                    <a:pt x="40469" y="14736"/>
                    <a:pt x="40335" y="14736"/>
                  </a:cubicBezTo>
                  <a:cubicBezTo>
                    <a:pt x="40330" y="14736"/>
                    <a:pt x="40325" y="14736"/>
                    <a:pt x="40320" y="14735"/>
                  </a:cubicBezTo>
                  <a:cubicBezTo>
                    <a:pt x="40208" y="14725"/>
                    <a:pt x="40155" y="14620"/>
                    <a:pt x="40117" y="14546"/>
                  </a:cubicBezTo>
                  <a:cubicBezTo>
                    <a:pt x="40103" y="14522"/>
                    <a:pt x="40089" y="14497"/>
                    <a:pt x="40075" y="14476"/>
                  </a:cubicBezTo>
                  <a:lnTo>
                    <a:pt x="40071" y="14480"/>
                  </a:lnTo>
                  <a:cubicBezTo>
                    <a:pt x="40046" y="14497"/>
                    <a:pt x="40017" y="14507"/>
                    <a:pt x="39989" y="14507"/>
                  </a:cubicBezTo>
                  <a:cubicBezTo>
                    <a:pt x="39981" y="14507"/>
                    <a:pt x="39974" y="14506"/>
                    <a:pt x="39966" y="14504"/>
                  </a:cubicBezTo>
                  <a:cubicBezTo>
                    <a:pt x="39903" y="14487"/>
                    <a:pt x="39879" y="14427"/>
                    <a:pt x="39847" y="14361"/>
                  </a:cubicBezTo>
                  <a:cubicBezTo>
                    <a:pt x="39803" y="14267"/>
                    <a:pt x="39776" y="14224"/>
                    <a:pt x="39727" y="14224"/>
                  </a:cubicBezTo>
                  <a:cubicBezTo>
                    <a:pt x="39725" y="14224"/>
                    <a:pt x="39723" y="14224"/>
                    <a:pt x="39721" y="14224"/>
                  </a:cubicBezTo>
                  <a:cubicBezTo>
                    <a:pt x="39693" y="14226"/>
                    <a:pt x="39665" y="14227"/>
                    <a:pt x="39638" y="14227"/>
                  </a:cubicBezTo>
                  <a:cubicBezTo>
                    <a:pt x="39529" y="14227"/>
                    <a:pt x="39431" y="14211"/>
                    <a:pt x="39378" y="14144"/>
                  </a:cubicBezTo>
                  <a:cubicBezTo>
                    <a:pt x="39343" y="14091"/>
                    <a:pt x="39336" y="14025"/>
                    <a:pt x="39364" y="13944"/>
                  </a:cubicBezTo>
                  <a:cubicBezTo>
                    <a:pt x="39378" y="13899"/>
                    <a:pt x="39322" y="13857"/>
                    <a:pt x="39245" y="13797"/>
                  </a:cubicBezTo>
                  <a:cubicBezTo>
                    <a:pt x="39179" y="13748"/>
                    <a:pt x="39116" y="13703"/>
                    <a:pt x="39116" y="13636"/>
                  </a:cubicBezTo>
                  <a:cubicBezTo>
                    <a:pt x="39116" y="13598"/>
                    <a:pt x="39133" y="13559"/>
                    <a:pt x="39165" y="13538"/>
                  </a:cubicBezTo>
                  <a:cubicBezTo>
                    <a:pt x="39210" y="13503"/>
                    <a:pt x="39196" y="13451"/>
                    <a:pt x="39154" y="13311"/>
                  </a:cubicBezTo>
                  <a:cubicBezTo>
                    <a:pt x="39116" y="13202"/>
                    <a:pt x="39091" y="13087"/>
                    <a:pt x="39081" y="12975"/>
                  </a:cubicBezTo>
                  <a:cubicBezTo>
                    <a:pt x="39060" y="12827"/>
                    <a:pt x="39112" y="12684"/>
                    <a:pt x="39217" y="12579"/>
                  </a:cubicBezTo>
                  <a:cubicBezTo>
                    <a:pt x="39245" y="12547"/>
                    <a:pt x="39263" y="12526"/>
                    <a:pt x="39263" y="12509"/>
                  </a:cubicBezTo>
                  <a:cubicBezTo>
                    <a:pt x="39263" y="12491"/>
                    <a:pt x="39256" y="12488"/>
                    <a:pt x="39252" y="12484"/>
                  </a:cubicBezTo>
                  <a:cubicBezTo>
                    <a:pt x="39247" y="12482"/>
                    <a:pt x="39239" y="12480"/>
                    <a:pt x="39229" y="12480"/>
                  </a:cubicBezTo>
                  <a:cubicBezTo>
                    <a:pt x="39196" y="12480"/>
                    <a:pt x="39140" y="12495"/>
                    <a:pt x="39074" y="12540"/>
                  </a:cubicBezTo>
                  <a:cubicBezTo>
                    <a:pt x="39036" y="12566"/>
                    <a:pt x="39002" y="12575"/>
                    <a:pt x="38973" y="12575"/>
                  </a:cubicBezTo>
                  <a:cubicBezTo>
                    <a:pt x="38905" y="12575"/>
                    <a:pt x="38859" y="12522"/>
                    <a:pt x="38832" y="12488"/>
                  </a:cubicBezTo>
                  <a:cubicBezTo>
                    <a:pt x="38793" y="12446"/>
                    <a:pt x="38775" y="12428"/>
                    <a:pt x="38746" y="12428"/>
                  </a:cubicBezTo>
                  <a:cubicBezTo>
                    <a:pt x="38743" y="12428"/>
                    <a:pt x="38740" y="12428"/>
                    <a:pt x="38737" y="12428"/>
                  </a:cubicBezTo>
                  <a:cubicBezTo>
                    <a:pt x="38714" y="12430"/>
                    <a:pt x="38684" y="12431"/>
                    <a:pt x="38650" y="12431"/>
                  </a:cubicBezTo>
                  <a:cubicBezTo>
                    <a:pt x="38431" y="12431"/>
                    <a:pt x="38040" y="12381"/>
                    <a:pt x="38013" y="12141"/>
                  </a:cubicBezTo>
                  <a:cubicBezTo>
                    <a:pt x="38006" y="12061"/>
                    <a:pt x="37981" y="12054"/>
                    <a:pt x="37932" y="12026"/>
                  </a:cubicBezTo>
                  <a:cubicBezTo>
                    <a:pt x="37852" y="11991"/>
                    <a:pt x="37789" y="11924"/>
                    <a:pt x="37761" y="11840"/>
                  </a:cubicBezTo>
                  <a:cubicBezTo>
                    <a:pt x="37736" y="11770"/>
                    <a:pt x="37701" y="11767"/>
                    <a:pt x="37645" y="11763"/>
                  </a:cubicBezTo>
                  <a:cubicBezTo>
                    <a:pt x="37600" y="11760"/>
                    <a:pt x="37491" y="11753"/>
                    <a:pt x="37491" y="11623"/>
                  </a:cubicBezTo>
                  <a:cubicBezTo>
                    <a:pt x="37491" y="11536"/>
                    <a:pt x="37463" y="11483"/>
                    <a:pt x="37320" y="11469"/>
                  </a:cubicBezTo>
                  <a:cubicBezTo>
                    <a:pt x="37246" y="11459"/>
                    <a:pt x="37173" y="11424"/>
                    <a:pt x="37120" y="11371"/>
                  </a:cubicBezTo>
                  <a:cubicBezTo>
                    <a:pt x="37068" y="11322"/>
                    <a:pt x="37001" y="11287"/>
                    <a:pt x="36931" y="11277"/>
                  </a:cubicBezTo>
                  <a:cubicBezTo>
                    <a:pt x="36919" y="11275"/>
                    <a:pt x="36907" y="11274"/>
                    <a:pt x="36895" y="11274"/>
                  </a:cubicBezTo>
                  <a:cubicBezTo>
                    <a:pt x="36765" y="11274"/>
                    <a:pt x="36610" y="11355"/>
                    <a:pt x="36504" y="11410"/>
                  </a:cubicBezTo>
                  <a:cubicBezTo>
                    <a:pt x="36472" y="11427"/>
                    <a:pt x="36441" y="11441"/>
                    <a:pt x="36416" y="11455"/>
                  </a:cubicBezTo>
                  <a:cubicBezTo>
                    <a:pt x="36397" y="11463"/>
                    <a:pt x="36377" y="11467"/>
                    <a:pt x="36355" y="11467"/>
                  </a:cubicBezTo>
                  <a:cubicBezTo>
                    <a:pt x="36292" y="11467"/>
                    <a:pt x="36219" y="11438"/>
                    <a:pt x="36143" y="11410"/>
                  </a:cubicBezTo>
                  <a:cubicBezTo>
                    <a:pt x="36090" y="11390"/>
                    <a:pt x="36008" y="11357"/>
                    <a:pt x="35961" y="11357"/>
                  </a:cubicBezTo>
                  <a:cubicBezTo>
                    <a:pt x="35949" y="11357"/>
                    <a:pt x="35940" y="11359"/>
                    <a:pt x="35933" y="11364"/>
                  </a:cubicBezTo>
                  <a:cubicBezTo>
                    <a:pt x="35897" y="11392"/>
                    <a:pt x="35864" y="11403"/>
                    <a:pt x="35833" y="11403"/>
                  </a:cubicBezTo>
                  <a:cubicBezTo>
                    <a:pt x="35783" y="11403"/>
                    <a:pt x="35738" y="11375"/>
                    <a:pt x="35695" y="11347"/>
                  </a:cubicBezTo>
                  <a:cubicBezTo>
                    <a:pt x="35618" y="11294"/>
                    <a:pt x="35531" y="11252"/>
                    <a:pt x="35440" y="11228"/>
                  </a:cubicBezTo>
                  <a:cubicBezTo>
                    <a:pt x="35259" y="11178"/>
                    <a:pt x="35087" y="11158"/>
                    <a:pt x="34965" y="11158"/>
                  </a:cubicBezTo>
                  <a:cubicBezTo>
                    <a:pt x="34873" y="11158"/>
                    <a:pt x="34810" y="11169"/>
                    <a:pt x="34792" y="11186"/>
                  </a:cubicBezTo>
                  <a:cubicBezTo>
                    <a:pt x="34771" y="11242"/>
                    <a:pt x="34732" y="11287"/>
                    <a:pt x="34683" y="11319"/>
                  </a:cubicBezTo>
                  <a:cubicBezTo>
                    <a:pt x="34613" y="11378"/>
                    <a:pt x="34547" y="11431"/>
                    <a:pt x="34564" y="11557"/>
                  </a:cubicBezTo>
                  <a:cubicBezTo>
                    <a:pt x="34578" y="11669"/>
                    <a:pt x="34645" y="11700"/>
                    <a:pt x="34725" y="11742"/>
                  </a:cubicBezTo>
                  <a:cubicBezTo>
                    <a:pt x="34795" y="11781"/>
                    <a:pt x="34876" y="11823"/>
                    <a:pt x="34911" y="11917"/>
                  </a:cubicBezTo>
                  <a:cubicBezTo>
                    <a:pt x="34964" y="12061"/>
                    <a:pt x="34879" y="12113"/>
                    <a:pt x="34837" y="12141"/>
                  </a:cubicBezTo>
                  <a:cubicBezTo>
                    <a:pt x="34799" y="12162"/>
                    <a:pt x="34785" y="12173"/>
                    <a:pt x="34781" y="12211"/>
                  </a:cubicBezTo>
                  <a:cubicBezTo>
                    <a:pt x="34774" y="12295"/>
                    <a:pt x="34729" y="12369"/>
                    <a:pt x="34655" y="12414"/>
                  </a:cubicBezTo>
                  <a:cubicBezTo>
                    <a:pt x="34620" y="12439"/>
                    <a:pt x="34613" y="12446"/>
                    <a:pt x="34613" y="12463"/>
                  </a:cubicBezTo>
                  <a:cubicBezTo>
                    <a:pt x="34613" y="12477"/>
                    <a:pt x="34617" y="12488"/>
                    <a:pt x="34645" y="12516"/>
                  </a:cubicBezTo>
                  <a:cubicBezTo>
                    <a:pt x="34711" y="12579"/>
                    <a:pt x="34760" y="12659"/>
                    <a:pt x="34781" y="12747"/>
                  </a:cubicBezTo>
                  <a:cubicBezTo>
                    <a:pt x="34795" y="12810"/>
                    <a:pt x="34827" y="12870"/>
                    <a:pt x="34869" y="12922"/>
                  </a:cubicBezTo>
                  <a:cubicBezTo>
                    <a:pt x="34943" y="13020"/>
                    <a:pt x="34988" y="13136"/>
                    <a:pt x="34999" y="13255"/>
                  </a:cubicBezTo>
                  <a:cubicBezTo>
                    <a:pt x="35034" y="13528"/>
                    <a:pt x="34925" y="13566"/>
                    <a:pt x="34799" y="13580"/>
                  </a:cubicBezTo>
                  <a:cubicBezTo>
                    <a:pt x="34778" y="13584"/>
                    <a:pt x="34757" y="13587"/>
                    <a:pt x="34732" y="13594"/>
                  </a:cubicBezTo>
                  <a:cubicBezTo>
                    <a:pt x="34732" y="13594"/>
                    <a:pt x="34729" y="13594"/>
                    <a:pt x="34725" y="13598"/>
                  </a:cubicBezTo>
                  <a:cubicBezTo>
                    <a:pt x="34722" y="13612"/>
                    <a:pt x="34722" y="13629"/>
                    <a:pt x="34722" y="13647"/>
                  </a:cubicBezTo>
                  <a:cubicBezTo>
                    <a:pt x="34722" y="13759"/>
                    <a:pt x="34683" y="13867"/>
                    <a:pt x="34606" y="13948"/>
                  </a:cubicBezTo>
                  <a:cubicBezTo>
                    <a:pt x="34403" y="14179"/>
                    <a:pt x="34347" y="14312"/>
                    <a:pt x="34421" y="14378"/>
                  </a:cubicBezTo>
                  <a:cubicBezTo>
                    <a:pt x="34480" y="14427"/>
                    <a:pt x="34547" y="14469"/>
                    <a:pt x="34617" y="14508"/>
                  </a:cubicBezTo>
                  <a:cubicBezTo>
                    <a:pt x="34827" y="14634"/>
                    <a:pt x="35114" y="14809"/>
                    <a:pt x="35258" y="15051"/>
                  </a:cubicBezTo>
                  <a:cubicBezTo>
                    <a:pt x="35496" y="15450"/>
                    <a:pt x="35426" y="16055"/>
                    <a:pt x="35387" y="16293"/>
                  </a:cubicBezTo>
                  <a:cubicBezTo>
                    <a:pt x="35345" y="16552"/>
                    <a:pt x="35149" y="16682"/>
                    <a:pt x="34943" y="16818"/>
                  </a:cubicBezTo>
                  <a:cubicBezTo>
                    <a:pt x="34816" y="16895"/>
                    <a:pt x="34697" y="16990"/>
                    <a:pt x="34592" y="17092"/>
                  </a:cubicBezTo>
                  <a:cubicBezTo>
                    <a:pt x="34316" y="17379"/>
                    <a:pt x="34029" y="17386"/>
                    <a:pt x="33857" y="17389"/>
                  </a:cubicBezTo>
                  <a:cubicBezTo>
                    <a:pt x="33833" y="17389"/>
                    <a:pt x="33808" y="17389"/>
                    <a:pt x="33787" y="17393"/>
                  </a:cubicBezTo>
                  <a:cubicBezTo>
                    <a:pt x="33785" y="17391"/>
                    <a:pt x="33785" y="17390"/>
                    <a:pt x="33784" y="17390"/>
                  </a:cubicBezTo>
                  <a:cubicBezTo>
                    <a:pt x="33783" y="17390"/>
                    <a:pt x="33782" y="17391"/>
                    <a:pt x="33780" y="17393"/>
                  </a:cubicBezTo>
                  <a:cubicBezTo>
                    <a:pt x="33756" y="17414"/>
                    <a:pt x="33791" y="17606"/>
                    <a:pt x="33976" y="17813"/>
                  </a:cubicBezTo>
                  <a:cubicBezTo>
                    <a:pt x="34113" y="17967"/>
                    <a:pt x="34106" y="18068"/>
                    <a:pt x="34099" y="18163"/>
                  </a:cubicBezTo>
                  <a:cubicBezTo>
                    <a:pt x="34092" y="18236"/>
                    <a:pt x="34102" y="18310"/>
                    <a:pt x="34130" y="18376"/>
                  </a:cubicBezTo>
                  <a:cubicBezTo>
                    <a:pt x="34176" y="18481"/>
                    <a:pt x="34197" y="18593"/>
                    <a:pt x="34197" y="18705"/>
                  </a:cubicBezTo>
                  <a:cubicBezTo>
                    <a:pt x="34204" y="18817"/>
                    <a:pt x="34207" y="18915"/>
                    <a:pt x="34284" y="19020"/>
                  </a:cubicBezTo>
                  <a:cubicBezTo>
                    <a:pt x="34477" y="19287"/>
                    <a:pt x="34333" y="19416"/>
                    <a:pt x="34151" y="19570"/>
                  </a:cubicBezTo>
                  <a:cubicBezTo>
                    <a:pt x="34141" y="19581"/>
                    <a:pt x="34134" y="19588"/>
                    <a:pt x="34127" y="19595"/>
                  </a:cubicBezTo>
                  <a:cubicBezTo>
                    <a:pt x="34207" y="19630"/>
                    <a:pt x="34256" y="19710"/>
                    <a:pt x="34260" y="19794"/>
                  </a:cubicBezTo>
                  <a:cubicBezTo>
                    <a:pt x="34263" y="19864"/>
                    <a:pt x="34260" y="19938"/>
                    <a:pt x="34204" y="19966"/>
                  </a:cubicBezTo>
                  <a:cubicBezTo>
                    <a:pt x="34191" y="19973"/>
                    <a:pt x="34178" y="19976"/>
                    <a:pt x="34164" y="19976"/>
                  </a:cubicBezTo>
                  <a:cubicBezTo>
                    <a:pt x="34116" y="19976"/>
                    <a:pt x="34059" y="19938"/>
                    <a:pt x="33994" y="19889"/>
                  </a:cubicBezTo>
                  <a:cubicBezTo>
                    <a:pt x="33969" y="19871"/>
                    <a:pt x="33941" y="19850"/>
                    <a:pt x="33913" y="19829"/>
                  </a:cubicBezTo>
                  <a:cubicBezTo>
                    <a:pt x="33905" y="19821"/>
                    <a:pt x="33894" y="19817"/>
                    <a:pt x="33883" y="19817"/>
                  </a:cubicBezTo>
                  <a:cubicBezTo>
                    <a:pt x="33875" y="19817"/>
                    <a:pt x="33867" y="19820"/>
                    <a:pt x="33861" y="19826"/>
                  </a:cubicBezTo>
                  <a:cubicBezTo>
                    <a:pt x="33784" y="19864"/>
                    <a:pt x="33714" y="20036"/>
                    <a:pt x="33714" y="20113"/>
                  </a:cubicBezTo>
                  <a:cubicBezTo>
                    <a:pt x="33714" y="20151"/>
                    <a:pt x="33696" y="20183"/>
                    <a:pt x="33665" y="20200"/>
                  </a:cubicBezTo>
                  <a:cubicBezTo>
                    <a:pt x="33650" y="20209"/>
                    <a:pt x="33634" y="20214"/>
                    <a:pt x="33615" y="20214"/>
                  </a:cubicBezTo>
                  <a:cubicBezTo>
                    <a:pt x="33556" y="20214"/>
                    <a:pt x="33475" y="20168"/>
                    <a:pt x="33357" y="20099"/>
                  </a:cubicBezTo>
                  <a:cubicBezTo>
                    <a:pt x="33304" y="20064"/>
                    <a:pt x="33248" y="20032"/>
                    <a:pt x="33192" y="20011"/>
                  </a:cubicBezTo>
                  <a:cubicBezTo>
                    <a:pt x="33168" y="20011"/>
                    <a:pt x="33143" y="20008"/>
                    <a:pt x="33122" y="19990"/>
                  </a:cubicBezTo>
                  <a:cubicBezTo>
                    <a:pt x="33094" y="19959"/>
                    <a:pt x="33077" y="19917"/>
                    <a:pt x="33080" y="19875"/>
                  </a:cubicBezTo>
                  <a:cubicBezTo>
                    <a:pt x="33080" y="19773"/>
                    <a:pt x="33031" y="19682"/>
                    <a:pt x="32954" y="19619"/>
                  </a:cubicBezTo>
                  <a:cubicBezTo>
                    <a:pt x="32891" y="19570"/>
                    <a:pt x="32832" y="19532"/>
                    <a:pt x="32779" y="19500"/>
                  </a:cubicBezTo>
                  <a:cubicBezTo>
                    <a:pt x="32649" y="19420"/>
                    <a:pt x="32537" y="19346"/>
                    <a:pt x="32537" y="19196"/>
                  </a:cubicBezTo>
                  <a:cubicBezTo>
                    <a:pt x="32537" y="19143"/>
                    <a:pt x="32457" y="19076"/>
                    <a:pt x="32383" y="19020"/>
                  </a:cubicBezTo>
                  <a:cubicBezTo>
                    <a:pt x="32282" y="18936"/>
                    <a:pt x="32163" y="18842"/>
                    <a:pt x="32163" y="18709"/>
                  </a:cubicBezTo>
                  <a:cubicBezTo>
                    <a:pt x="32163" y="18663"/>
                    <a:pt x="32166" y="18600"/>
                    <a:pt x="32166" y="18530"/>
                  </a:cubicBezTo>
                  <a:cubicBezTo>
                    <a:pt x="32177" y="18331"/>
                    <a:pt x="32191" y="17998"/>
                    <a:pt x="32135" y="17904"/>
                  </a:cubicBezTo>
                  <a:cubicBezTo>
                    <a:pt x="32023" y="17715"/>
                    <a:pt x="32135" y="17512"/>
                    <a:pt x="32194" y="17403"/>
                  </a:cubicBezTo>
                  <a:cubicBezTo>
                    <a:pt x="32212" y="17365"/>
                    <a:pt x="32205" y="17323"/>
                    <a:pt x="32180" y="17288"/>
                  </a:cubicBezTo>
                  <a:cubicBezTo>
                    <a:pt x="32131" y="17207"/>
                    <a:pt x="32044" y="17162"/>
                    <a:pt x="31949" y="17162"/>
                  </a:cubicBezTo>
                  <a:cubicBezTo>
                    <a:pt x="31848" y="17158"/>
                    <a:pt x="31750" y="17151"/>
                    <a:pt x="31648" y="17137"/>
                  </a:cubicBezTo>
                  <a:cubicBezTo>
                    <a:pt x="31522" y="17119"/>
                    <a:pt x="31393" y="17108"/>
                    <a:pt x="31265" y="17108"/>
                  </a:cubicBezTo>
                  <a:cubicBezTo>
                    <a:pt x="31220" y="17108"/>
                    <a:pt x="31175" y="17110"/>
                    <a:pt x="31130" y="17113"/>
                  </a:cubicBezTo>
                  <a:cubicBezTo>
                    <a:pt x="31076" y="17117"/>
                    <a:pt x="31025" y="17119"/>
                    <a:pt x="30977" y="17119"/>
                  </a:cubicBezTo>
                  <a:cubicBezTo>
                    <a:pt x="30764" y="17119"/>
                    <a:pt x="30610" y="17075"/>
                    <a:pt x="30510" y="16986"/>
                  </a:cubicBezTo>
                  <a:cubicBezTo>
                    <a:pt x="30297" y="16822"/>
                    <a:pt x="30048" y="16703"/>
                    <a:pt x="29786" y="16636"/>
                  </a:cubicBezTo>
                  <a:cubicBezTo>
                    <a:pt x="29422" y="16542"/>
                    <a:pt x="29208" y="16346"/>
                    <a:pt x="29159" y="16195"/>
                  </a:cubicBezTo>
                  <a:cubicBezTo>
                    <a:pt x="29145" y="16160"/>
                    <a:pt x="29019" y="16108"/>
                    <a:pt x="28942" y="16073"/>
                  </a:cubicBezTo>
                  <a:cubicBezTo>
                    <a:pt x="28830" y="16020"/>
                    <a:pt x="28722" y="15975"/>
                    <a:pt x="28673" y="15912"/>
                  </a:cubicBezTo>
                  <a:cubicBezTo>
                    <a:pt x="28619" y="15843"/>
                    <a:pt x="28369" y="15784"/>
                    <a:pt x="28211" y="15784"/>
                  </a:cubicBezTo>
                  <a:cubicBezTo>
                    <a:pt x="28184" y="15784"/>
                    <a:pt x="28160" y="15786"/>
                    <a:pt x="28140" y="15789"/>
                  </a:cubicBezTo>
                  <a:cubicBezTo>
                    <a:pt x="28132" y="15790"/>
                    <a:pt x="28124" y="15791"/>
                    <a:pt x="28115" y="15791"/>
                  </a:cubicBezTo>
                  <a:cubicBezTo>
                    <a:pt x="28028" y="15791"/>
                    <a:pt x="27920" y="15729"/>
                    <a:pt x="27783" y="15653"/>
                  </a:cubicBezTo>
                  <a:cubicBezTo>
                    <a:pt x="27659" y="15582"/>
                    <a:pt x="27511" y="15498"/>
                    <a:pt x="27416" y="15498"/>
                  </a:cubicBezTo>
                  <a:cubicBezTo>
                    <a:pt x="27412" y="15498"/>
                    <a:pt x="27409" y="15498"/>
                    <a:pt x="27405" y="15499"/>
                  </a:cubicBezTo>
                  <a:cubicBezTo>
                    <a:pt x="27272" y="15506"/>
                    <a:pt x="27003" y="15604"/>
                    <a:pt x="26821" y="15667"/>
                  </a:cubicBezTo>
                  <a:cubicBezTo>
                    <a:pt x="26747" y="15698"/>
                    <a:pt x="26674" y="15723"/>
                    <a:pt x="26597" y="15740"/>
                  </a:cubicBezTo>
                  <a:cubicBezTo>
                    <a:pt x="26591" y="15741"/>
                    <a:pt x="26586" y="15742"/>
                    <a:pt x="26581" y="15742"/>
                  </a:cubicBezTo>
                  <a:cubicBezTo>
                    <a:pt x="26551" y="15742"/>
                    <a:pt x="26520" y="15725"/>
                    <a:pt x="26505" y="15698"/>
                  </a:cubicBezTo>
                  <a:cubicBezTo>
                    <a:pt x="26449" y="15607"/>
                    <a:pt x="26586" y="15404"/>
                    <a:pt x="26607" y="15373"/>
                  </a:cubicBezTo>
                  <a:cubicBezTo>
                    <a:pt x="26611" y="15331"/>
                    <a:pt x="26544" y="15184"/>
                    <a:pt x="26495" y="15086"/>
                  </a:cubicBezTo>
                  <a:cubicBezTo>
                    <a:pt x="26439" y="14974"/>
                    <a:pt x="26390" y="14854"/>
                    <a:pt x="26355" y="14735"/>
                  </a:cubicBezTo>
                  <a:cubicBezTo>
                    <a:pt x="26287" y="14470"/>
                    <a:pt x="26219" y="14309"/>
                    <a:pt x="26067" y="14309"/>
                  </a:cubicBezTo>
                  <a:cubicBezTo>
                    <a:pt x="26055" y="14309"/>
                    <a:pt x="26043" y="14310"/>
                    <a:pt x="26029" y="14312"/>
                  </a:cubicBezTo>
                  <a:cubicBezTo>
                    <a:pt x="25997" y="14316"/>
                    <a:pt x="25965" y="14318"/>
                    <a:pt x="25933" y="14318"/>
                  </a:cubicBezTo>
                  <a:cubicBezTo>
                    <a:pt x="25678" y="14318"/>
                    <a:pt x="25434" y="14195"/>
                    <a:pt x="25375" y="14154"/>
                  </a:cubicBezTo>
                  <a:cubicBezTo>
                    <a:pt x="25245" y="14067"/>
                    <a:pt x="25277" y="13279"/>
                    <a:pt x="25322" y="13055"/>
                  </a:cubicBezTo>
                  <a:cubicBezTo>
                    <a:pt x="25357" y="12905"/>
                    <a:pt x="25448" y="12722"/>
                    <a:pt x="25536" y="12551"/>
                  </a:cubicBezTo>
                  <a:cubicBezTo>
                    <a:pt x="25616" y="12397"/>
                    <a:pt x="25697" y="12236"/>
                    <a:pt x="25697" y="12159"/>
                  </a:cubicBezTo>
                  <a:cubicBezTo>
                    <a:pt x="25697" y="11896"/>
                    <a:pt x="26026" y="11809"/>
                    <a:pt x="26134" y="11781"/>
                  </a:cubicBezTo>
                  <a:cubicBezTo>
                    <a:pt x="26176" y="11770"/>
                    <a:pt x="26187" y="11725"/>
                    <a:pt x="26197" y="11620"/>
                  </a:cubicBezTo>
                  <a:cubicBezTo>
                    <a:pt x="26204" y="11511"/>
                    <a:pt x="26218" y="11375"/>
                    <a:pt x="26362" y="11357"/>
                  </a:cubicBezTo>
                  <a:cubicBezTo>
                    <a:pt x="26495" y="11340"/>
                    <a:pt x="26502" y="11308"/>
                    <a:pt x="26533" y="11179"/>
                  </a:cubicBezTo>
                  <a:lnTo>
                    <a:pt x="26537" y="11161"/>
                  </a:lnTo>
                  <a:cubicBezTo>
                    <a:pt x="26551" y="11098"/>
                    <a:pt x="26600" y="11049"/>
                    <a:pt x="26667" y="11032"/>
                  </a:cubicBezTo>
                  <a:cubicBezTo>
                    <a:pt x="26625" y="10993"/>
                    <a:pt x="26611" y="10937"/>
                    <a:pt x="26625" y="10885"/>
                  </a:cubicBezTo>
                  <a:cubicBezTo>
                    <a:pt x="26660" y="10801"/>
                    <a:pt x="26786" y="10783"/>
                    <a:pt x="26989" y="10783"/>
                  </a:cubicBezTo>
                  <a:cubicBezTo>
                    <a:pt x="27185" y="10783"/>
                    <a:pt x="27437" y="10734"/>
                    <a:pt x="27528" y="10622"/>
                  </a:cubicBezTo>
                  <a:cubicBezTo>
                    <a:pt x="27556" y="10583"/>
                    <a:pt x="27566" y="10534"/>
                    <a:pt x="27556" y="10489"/>
                  </a:cubicBezTo>
                  <a:cubicBezTo>
                    <a:pt x="27535" y="10391"/>
                    <a:pt x="27342" y="10380"/>
                    <a:pt x="27174" y="10370"/>
                  </a:cubicBezTo>
                  <a:cubicBezTo>
                    <a:pt x="26975" y="10356"/>
                    <a:pt x="26765" y="10345"/>
                    <a:pt x="26765" y="10174"/>
                  </a:cubicBezTo>
                  <a:cubicBezTo>
                    <a:pt x="26765" y="10097"/>
                    <a:pt x="26432" y="10027"/>
                    <a:pt x="26288" y="9999"/>
                  </a:cubicBezTo>
                  <a:cubicBezTo>
                    <a:pt x="26057" y="9950"/>
                    <a:pt x="25945" y="9922"/>
                    <a:pt x="25910" y="9852"/>
                  </a:cubicBezTo>
                  <a:cubicBezTo>
                    <a:pt x="25900" y="9827"/>
                    <a:pt x="25900" y="9796"/>
                    <a:pt x="25910" y="9771"/>
                  </a:cubicBezTo>
                  <a:cubicBezTo>
                    <a:pt x="25935" y="9716"/>
                    <a:pt x="26015" y="9695"/>
                    <a:pt x="26124" y="9695"/>
                  </a:cubicBezTo>
                  <a:cubicBezTo>
                    <a:pt x="26499" y="9695"/>
                    <a:pt x="27222" y="9951"/>
                    <a:pt x="27230" y="9953"/>
                  </a:cubicBezTo>
                  <a:cubicBezTo>
                    <a:pt x="27437" y="10034"/>
                    <a:pt x="27539" y="10055"/>
                    <a:pt x="27662" y="10055"/>
                  </a:cubicBezTo>
                  <a:cubicBezTo>
                    <a:pt x="27710" y="10055"/>
                    <a:pt x="27760" y="10052"/>
                    <a:pt x="27822" y="10048"/>
                  </a:cubicBezTo>
                  <a:lnTo>
                    <a:pt x="27860" y="10048"/>
                  </a:lnTo>
                  <a:cubicBezTo>
                    <a:pt x="27864" y="10048"/>
                    <a:pt x="27867" y="10049"/>
                    <a:pt x="27871" y="10049"/>
                  </a:cubicBezTo>
                  <a:cubicBezTo>
                    <a:pt x="27889" y="10049"/>
                    <a:pt x="27909" y="10041"/>
                    <a:pt x="27923" y="10027"/>
                  </a:cubicBezTo>
                  <a:cubicBezTo>
                    <a:pt x="27951" y="9992"/>
                    <a:pt x="27941" y="9904"/>
                    <a:pt x="27930" y="9831"/>
                  </a:cubicBezTo>
                  <a:cubicBezTo>
                    <a:pt x="27916" y="9761"/>
                    <a:pt x="27916" y="9687"/>
                    <a:pt x="27934" y="9621"/>
                  </a:cubicBezTo>
                  <a:cubicBezTo>
                    <a:pt x="27944" y="9593"/>
                    <a:pt x="27965" y="9568"/>
                    <a:pt x="27993" y="9558"/>
                  </a:cubicBezTo>
                  <a:cubicBezTo>
                    <a:pt x="28012" y="9548"/>
                    <a:pt x="28033" y="9544"/>
                    <a:pt x="28057" y="9544"/>
                  </a:cubicBezTo>
                  <a:cubicBezTo>
                    <a:pt x="28124" y="9544"/>
                    <a:pt x="28212" y="9576"/>
                    <a:pt x="28322" y="9617"/>
                  </a:cubicBezTo>
                  <a:cubicBezTo>
                    <a:pt x="28447" y="9664"/>
                    <a:pt x="28603" y="9720"/>
                    <a:pt x="28722" y="9720"/>
                  </a:cubicBezTo>
                  <a:cubicBezTo>
                    <a:pt x="28747" y="9720"/>
                    <a:pt x="28770" y="9717"/>
                    <a:pt x="28792" y="9712"/>
                  </a:cubicBezTo>
                  <a:cubicBezTo>
                    <a:pt x="28935" y="9673"/>
                    <a:pt x="29093" y="9463"/>
                    <a:pt x="29229" y="9281"/>
                  </a:cubicBezTo>
                  <a:cubicBezTo>
                    <a:pt x="29341" y="9131"/>
                    <a:pt x="29446" y="8991"/>
                    <a:pt x="29551" y="8921"/>
                  </a:cubicBezTo>
                  <a:cubicBezTo>
                    <a:pt x="29607" y="8882"/>
                    <a:pt x="29618" y="8854"/>
                    <a:pt x="29618" y="8847"/>
                  </a:cubicBezTo>
                  <a:cubicBezTo>
                    <a:pt x="29609" y="8823"/>
                    <a:pt x="29515" y="8768"/>
                    <a:pt x="29293" y="8768"/>
                  </a:cubicBezTo>
                  <a:cubicBezTo>
                    <a:pt x="29256" y="8768"/>
                    <a:pt x="29215" y="8770"/>
                    <a:pt x="29170" y="8774"/>
                  </a:cubicBezTo>
                  <a:cubicBezTo>
                    <a:pt x="29125" y="8777"/>
                    <a:pt x="29083" y="8779"/>
                    <a:pt x="29042" y="8779"/>
                  </a:cubicBezTo>
                  <a:cubicBezTo>
                    <a:pt x="28656" y="8779"/>
                    <a:pt x="28413" y="8622"/>
                    <a:pt x="28179" y="8444"/>
                  </a:cubicBezTo>
                  <a:cubicBezTo>
                    <a:pt x="28021" y="8329"/>
                    <a:pt x="27955" y="8213"/>
                    <a:pt x="27990" y="8122"/>
                  </a:cubicBezTo>
                  <a:cubicBezTo>
                    <a:pt x="28011" y="8076"/>
                    <a:pt x="28063" y="8021"/>
                    <a:pt x="28201" y="8021"/>
                  </a:cubicBezTo>
                  <a:cubicBezTo>
                    <a:pt x="28219" y="8021"/>
                    <a:pt x="28238" y="8022"/>
                    <a:pt x="28259" y="8024"/>
                  </a:cubicBezTo>
                  <a:cubicBezTo>
                    <a:pt x="28403" y="8038"/>
                    <a:pt x="28616" y="8168"/>
                    <a:pt x="28844" y="8308"/>
                  </a:cubicBezTo>
                  <a:cubicBezTo>
                    <a:pt x="29037" y="8420"/>
                    <a:pt x="29250" y="8553"/>
                    <a:pt x="29348" y="8556"/>
                  </a:cubicBezTo>
                  <a:lnTo>
                    <a:pt x="29355" y="8556"/>
                  </a:lnTo>
                  <a:cubicBezTo>
                    <a:pt x="29492" y="8556"/>
                    <a:pt x="29747" y="8318"/>
                    <a:pt x="29919" y="8161"/>
                  </a:cubicBezTo>
                  <a:cubicBezTo>
                    <a:pt x="30003" y="8084"/>
                    <a:pt x="30073" y="8017"/>
                    <a:pt x="30129" y="7975"/>
                  </a:cubicBezTo>
                  <a:cubicBezTo>
                    <a:pt x="30139" y="7968"/>
                    <a:pt x="30150" y="7961"/>
                    <a:pt x="30157" y="7951"/>
                  </a:cubicBezTo>
                  <a:cubicBezTo>
                    <a:pt x="30108" y="7916"/>
                    <a:pt x="30055" y="7884"/>
                    <a:pt x="29999" y="7863"/>
                  </a:cubicBezTo>
                  <a:cubicBezTo>
                    <a:pt x="29933" y="7839"/>
                    <a:pt x="29870" y="7804"/>
                    <a:pt x="29814" y="7762"/>
                  </a:cubicBezTo>
                  <a:cubicBezTo>
                    <a:pt x="29768" y="7734"/>
                    <a:pt x="29751" y="7681"/>
                    <a:pt x="29765" y="7632"/>
                  </a:cubicBezTo>
                  <a:cubicBezTo>
                    <a:pt x="29821" y="7475"/>
                    <a:pt x="30276" y="7464"/>
                    <a:pt x="30279" y="7464"/>
                  </a:cubicBezTo>
                  <a:cubicBezTo>
                    <a:pt x="30472" y="7464"/>
                    <a:pt x="30573" y="7601"/>
                    <a:pt x="30640" y="7692"/>
                  </a:cubicBezTo>
                  <a:cubicBezTo>
                    <a:pt x="30654" y="7709"/>
                    <a:pt x="30668" y="7727"/>
                    <a:pt x="30678" y="7741"/>
                  </a:cubicBezTo>
                  <a:cubicBezTo>
                    <a:pt x="30685" y="7745"/>
                    <a:pt x="30696" y="7747"/>
                    <a:pt x="30711" y="7747"/>
                  </a:cubicBezTo>
                  <a:cubicBezTo>
                    <a:pt x="30770" y="7747"/>
                    <a:pt x="30881" y="7719"/>
                    <a:pt x="30948" y="7702"/>
                  </a:cubicBezTo>
                  <a:cubicBezTo>
                    <a:pt x="31032" y="7681"/>
                    <a:pt x="31120" y="7667"/>
                    <a:pt x="31207" y="7660"/>
                  </a:cubicBezTo>
                  <a:cubicBezTo>
                    <a:pt x="31183" y="7601"/>
                    <a:pt x="31060" y="7468"/>
                    <a:pt x="30885" y="7398"/>
                  </a:cubicBezTo>
                  <a:cubicBezTo>
                    <a:pt x="30734" y="7338"/>
                    <a:pt x="30720" y="7254"/>
                    <a:pt x="30724" y="7209"/>
                  </a:cubicBezTo>
                  <a:cubicBezTo>
                    <a:pt x="30738" y="7132"/>
                    <a:pt x="30798" y="7076"/>
                    <a:pt x="30871" y="7065"/>
                  </a:cubicBezTo>
                  <a:cubicBezTo>
                    <a:pt x="30883" y="7062"/>
                    <a:pt x="30896" y="7061"/>
                    <a:pt x="30908" y="7061"/>
                  </a:cubicBezTo>
                  <a:cubicBezTo>
                    <a:pt x="30974" y="7061"/>
                    <a:pt x="31034" y="7100"/>
                    <a:pt x="31064" y="7160"/>
                  </a:cubicBezTo>
                  <a:cubicBezTo>
                    <a:pt x="31095" y="7223"/>
                    <a:pt x="31148" y="7247"/>
                    <a:pt x="31211" y="7282"/>
                  </a:cubicBezTo>
                  <a:cubicBezTo>
                    <a:pt x="31309" y="7324"/>
                    <a:pt x="31389" y="7394"/>
                    <a:pt x="31442" y="7489"/>
                  </a:cubicBezTo>
                  <a:cubicBezTo>
                    <a:pt x="31484" y="7576"/>
                    <a:pt x="31515" y="7597"/>
                    <a:pt x="31529" y="7601"/>
                  </a:cubicBezTo>
                  <a:cubicBezTo>
                    <a:pt x="31532" y="7602"/>
                    <a:pt x="31535" y="7602"/>
                    <a:pt x="31539" y="7602"/>
                  </a:cubicBezTo>
                  <a:cubicBezTo>
                    <a:pt x="31564" y="7602"/>
                    <a:pt x="31605" y="7580"/>
                    <a:pt x="31652" y="7552"/>
                  </a:cubicBezTo>
                  <a:cubicBezTo>
                    <a:pt x="31711" y="7520"/>
                    <a:pt x="31771" y="7492"/>
                    <a:pt x="31834" y="7468"/>
                  </a:cubicBezTo>
                  <a:cubicBezTo>
                    <a:pt x="32044" y="7394"/>
                    <a:pt x="32156" y="7268"/>
                    <a:pt x="32278" y="7139"/>
                  </a:cubicBezTo>
                  <a:lnTo>
                    <a:pt x="32303" y="7111"/>
                  </a:lnTo>
                  <a:cubicBezTo>
                    <a:pt x="32345" y="7055"/>
                    <a:pt x="32408" y="7023"/>
                    <a:pt x="32478" y="7020"/>
                  </a:cubicBezTo>
                  <a:cubicBezTo>
                    <a:pt x="32513" y="7016"/>
                    <a:pt x="32541" y="7013"/>
                    <a:pt x="32607" y="6911"/>
                  </a:cubicBezTo>
                  <a:cubicBezTo>
                    <a:pt x="32670" y="6824"/>
                    <a:pt x="32712" y="6670"/>
                    <a:pt x="32355" y="6407"/>
                  </a:cubicBezTo>
                  <a:cubicBezTo>
                    <a:pt x="32271" y="6347"/>
                    <a:pt x="32226" y="6242"/>
                    <a:pt x="32240" y="6137"/>
                  </a:cubicBezTo>
                  <a:cubicBezTo>
                    <a:pt x="32243" y="6074"/>
                    <a:pt x="32243" y="6053"/>
                    <a:pt x="32184" y="6022"/>
                  </a:cubicBezTo>
                  <a:cubicBezTo>
                    <a:pt x="32044" y="5952"/>
                    <a:pt x="31967" y="5840"/>
                    <a:pt x="31998" y="5749"/>
                  </a:cubicBezTo>
                  <a:cubicBezTo>
                    <a:pt x="32007" y="5720"/>
                    <a:pt x="32042" y="5660"/>
                    <a:pt x="32157" y="5660"/>
                  </a:cubicBezTo>
                  <a:cubicBezTo>
                    <a:pt x="32181" y="5660"/>
                    <a:pt x="32209" y="5662"/>
                    <a:pt x="32240" y="5668"/>
                  </a:cubicBezTo>
                  <a:cubicBezTo>
                    <a:pt x="32287" y="5678"/>
                    <a:pt x="32332" y="5683"/>
                    <a:pt x="32374" y="5683"/>
                  </a:cubicBezTo>
                  <a:cubicBezTo>
                    <a:pt x="32524" y="5683"/>
                    <a:pt x="32642" y="5621"/>
                    <a:pt x="32716" y="5504"/>
                  </a:cubicBezTo>
                  <a:cubicBezTo>
                    <a:pt x="32719" y="5500"/>
                    <a:pt x="32723" y="5497"/>
                    <a:pt x="32723" y="5490"/>
                  </a:cubicBezTo>
                  <a:cubicBezTo>
                    <a:pt x="32719" y="5469"/>
                    <a:pt x="32660" y="5434"/>
                    <a:pt x="32628" y="5416"/>
                  </a:cubicBezTo>
                  <a:cubicBezTo>
                    <a:pt x="32565" y="5381"/>
                    <a:pt x="32502" y="5343"/>
                    <a:pt x="32502" y="5273"/>
                  </a:cubicBezTo>
                  <a:cubicBezTo>
                    <a:pt x="32502" y="5206"/>
                    <a:pt x="32572" y="5168"/>
                    <a:pt x="32593" y="5154"/>
                  </a:cubicBezTo>
                  <a:cubicBezTo>
                    <a:pt x="32653" y="5122"/>
                    <a:pt x="32660" y="5101"/>
                    <a:pt x="32660" y="5101"/>
                  </a:cubicBezTo>
                  <a:cubicBezTo>
                    <a:pt x="32653" y="5084"/>
                    <a:pt x="32576" y="5035"/>
                    <a:pt x="32443" y="5035"/>
                  </a:cubicBezTo>
                  <a:cubicBezTo>
                    <a:pt x="32177" y="5035"/>
                    <a:pt x="31981" y="4891"/>
                    <a:pt x="31967" y="4685"/>
                  </a:cubicBezTo>
                  <a:cubicBezTo>
                    <a:pt x="31963" y="4639"/>
                    <a:pt x="31879" y="4636"/>
                    <a:pt x="31746" y="4632"/>
                  </a:cubicBezTo>
                  <a:cubicBezTo>
                    <a:pt x="31631" y="4625"/>
                    <a:pt x="31498" y="4622"/>
                    <a:pt x="31386" y="4569"/>
                  </a:cubicBezTo>
                  <a:cubicBezTo>
                    <a:pt x="31258" y="4507"/>
                    <a:pt x="31026" y="4492"/>
                    <a:pt x="30838" y="4492"/>
                  </a:cubicBezTo>
                  <a:cubicBezTo>
                    <a:pt x="30717" y="4492"/>
                    <a:pt x="30613" y="4498"/>
                    <a:pt x="30566" y="4502"/>
                  </a:cubicBezTo>
                  <a:cubicBezTo>
                    <a:pt x="30535" y="4530"/>
                    <a:pt x="30510" y="4688"/>
                    <a:pt x="30549" y="4814"/>
                  </a:cubicBezTo>
                  <a:cubicBezTo>
                    <a:pt x="30552" y="4832"/>
                    <a:pt x="30573" y="4891"/>
                    <a:pt x="30605" y="4895"/>
                  </a:cubicBezTo>
                  <a:cubicBezTo>
                    <a:pt x="30749" y="4902"/>
                    <a:pt x="30885" y="5007"/>
                    <a:pt x="30903" y="5119"/>
                  </a:cubicBezTo>
                  <a:cubicBezTo>
                    <a:pt x="30913" y="5196"/>
                    <a:pt x="30868" y="5266"/>
                    <a:pt x="30794" y="5287"/>
                  </a:cubicBezTo>
                  <a:cubicBezTo>
                    <a:pt x="30770" y="5297"/>
                    <a:pt x="30763" y="5304"/>
                    <a:pt x="30777" y="5374"/>
                  </a:cubicBezTo>
                  <a:cubicBezTo>
                    <a:pt x="30794" y="5416"/>
                    <a:pt x="30787" y="5465"/>
                    <a:pt x="30763" y="5504"/>
                  </a:cubicBezTo>
                  <a:cubicBezTo>
                    <a:pt x="30743" y="5523"/>
                    <a:pt x="30717" y="5534"/>
                    <a:pt x="30689" y="5534"/>
                  </a:cubicBezTo>
                  <a:cubicBezTo>
                    <a:pt x="30682" y="5534"/>
                    <a:pt x="30675" y="5533"/>
                    <a:pt x="30668" y="5532"/>
                  </a:cubicBezTo>
                  <a:lnTo>
                    <a:pt x="30629" y="5528"/>
                  </a:lnTo>
                  <a:cubicBezTo>
                    <a:pt x="30602" y="5524"/>
                    <a:pt x="30573" y="5520"/>
                    <a:pt x="30547" y="5520"/>
                  </a:cubicBezTo>
                  <a:cubicBezTo>
                    <a:pt x="30513" y="5520"/>
                    <a:pt x="30481" y="5526"/>
                    <a:pt x="30458" y="5546"/>
                  </a:cubicBezTo>
                  <a:cubicBezTo>
                    <a:pt x="30423" y="5574"/>
                    <a:pt x="30398" y="5633"/>
                    <a:pt x="30388" y="5721"/>
                  </a:cubicBezTo>
                  <a:cubicBezTo>
                    <a:pt x="30353" y="6032"/>
                    <a:pt x="30325" y="6190"/>
                    <a:pt x="30087" y="6316"/>
                  </a:cubicBezTo>
                  <a:cubicBezTo>
                    <a:pt x="30063" y="6332"/>
                    <a:pt x="30037" y="6340"/>
                    <a:pt x="30010" y="6340"/>
                  </a:cubicBezTo>
                  <a:cubicBezTo>
                    <a:pt x="29990" y="6340"/>
                    <a:pt x="29970" y="6335"/>
                    <a:pt x="29950" y="6326"/>
                  </a:cubicBezTo>
                  <a:cubicBezTo>
                    <a:pt x="29884" y="6291"/>
                    <a:pt x="29873" y="6207"/>
                    <a:pt x="29866" y="6123"/>
                  </a:cubicBezTo>
                  <a:cubicBezTo>
                    <a:pt x="29852" y="6018"/>
                    <a:pt x="29842" y="5983"/>
                    <a:pt x="29821" y="5983"/>
                  </a:cubicBezTo>
                  <a:cubicBezTo>
                    <a:pt x="29758" y="5987"/>
                    <a:pt x="29723" y="6067"/>
                    <a:pt x="29716" y="6137"/>
                  </a:cubicBezTo>
                  <a:cubicBezTo>
                    <a:pt x="29712" y="6207"/>
                    <a:pt x="29733" y="6274"/>
                    <a:pt x="29761" y="6277"/>
                  </a:cubicBezTo>
                  <a:cubicBezTo>
                    <a:pt x="29947" y="6326"/>
                    <a:pt x="29978" y="6484"/>
                    <a:pt x="30017" y="6670"/>
                  </a:cubicBezTo>
                  <a:cubicBezTo>
                    <a:pt x="30027" y="6708"/>
                    <a:pt x="30020" y="6750"/>
                    <a:pt x="29999" y="6785"/>
                  </a:cubicBezTo>
                  <a:cubicBezTo>
                    <a:pt x="29961" y="6841"/>
                    <a:pt x="29898" y="6852"/>
                    <a:pt x="29831" y="6866"/>
                  </a:cubicBezTo>
                  <a:cubicBezTo>
                    <a:pt x="29751" y="6880"/>
                    <a:pt x="29667" y="6897"/>
                    <a:pt x="29621" y="6981"/>
                  </a:cubicBezTo>
                  <a:cubicBezTo>
                    <a:pt x="29593" y="7030"/>
                    <a:pt x="29551" y="7090"/>
                    <a:pt x="29488" y="7090"/>
                  </a:cubicBezTo>
                  <a:cubicBezTo>
                    <a:pt x="29418" y="7090"/>
                    <a:pt x="29387" y="7020"/>
                    <a:pt x="29345" y="6943"/>
                  </a:cubicBezTo>
                  <a:cubicBezTo>
                    <a:pt x="29313" y="6873"/>
                    <a:pt x="29271" y="6810"/>
                    <a:pt x="29219" y="6757"/>
                  </a:cubicBezTo>
                  <a:cubicBezTo>
                    <a:pt x="29149" y="6698"/>
                    <a:pt x="28813" y="6396"/>
                    <a:pt x="28830" y="6130"/>
                  </a:cubicBezTo>
                  <a:cubicBezTo>
                    <a:pt x="28848" y="5903"/>
                    <a:pt x="29002" y="5850"/>
                    <a:pt x="29117" y="5829"/>
                  </a:cubicBezTo>
                  <a:lnTo>
                    <a:pt x="29121" y="5829"/>
                  </a:lnTo>
                  <a:cubicBezTo>
                    <a:pt x="29114" y="5808"/>
                    <a:pt x="29107" y="5787"/>
                    <a:pt x="29100" y="5766"/>
                  </a:cubicBezTo>
                  <a:cubicBezTo>
                    <a:pt x="29072" y="5689"/>
                    <a:pt x="29058" y="5612"/>
                    <a:pt x="29051" y="5535"/>
                  </a:cubicBezTo>
                  <a:cubicBezTo>
                    <a:pt x="29044" y="5448"/>
                    <a:pt x="29019" y="5430"/>
                    <a:pt x="28942" y="5388"/>
                  </a:cubicBezTo>
                  <a:cubicBezTo>
                    <a:pt x="28851" y="5343"/>
                    <a:pt x="28767" y="5276"/>
                    <a:pt x="28701" y="5196"/>
                  </a:cubicBezTo>
                  <a:cubicBezTo>
                    <a:pt x="28613" y="5091"/>
                    <a:pt x="28515" y="5031"/>
                    <a:pt x="28424" y="5028"/>
                  </a:cubicBezTo>
                  <a:cubicBezTo>
                    <a:pt x="28420" y="5027"/>
                    <a:pt x="28417" y="5027"/>
                    <a:pt x="28413" y="5027"/>
                  </a:cubicBezTo>
                  <a:cubicBezTo>
                    <a:pt x="28368" y="5027"/>
                    <a:pt x="28323" y="5048"/>
                    <a:pt x="28287" y="5080"/>
                  </a:cubicBezTo>
                  <a:cubicBezTo>
                    <a:pt x="28256" y="5122"/>
                    <a:pt x="28238" y="5171"/>
                    <a:pt x="28231" y="5220"/>
                  </a:cubicBezTo>
                  <a:cubicBezTo>
                    <a:pt x="28214" y="5311"/>
                    <a:pt x="28189" y="5427"/>
                    <a:pt x="28060" y="5483"/>
                  </a:cubicBezTo>
                  <a:cubicBezTo>
                    <a:pt x="28004" y="5504"/>
                    <a:pt x="27986" y="5595"/>
                    <a:pt x="27969" y="5679"/>
                  </a:cubicBezTo>
                  <a:cubicBezTo>
                    <a:pt x="27944" y="5784"/>
                    <a:pt x="27920" y="5903"/>
                    <a:pt x="27804" y="5920"/>
                  </a:cubicBezTo>
                  <a:cubicBezTo>
                    <a:pt x="27796" y="5922"/>
                    <a:pt x="27789" y="5923"/>
                    <a:pt x="27781" y="5923"/>
                  </a:cubicBezTo>
                  <a:cubicBezTo>
                    <a:pt x="27757" y="5923"/>
                    <a:pt x="27735" y="5915"/>
                    <a:pt x="27717" y="5899"/>
                  </a:cubicBezTo>
                  <a:cubicBezTo>
                    <a:pt x="27650" y="5847"/>
                    <a:pt x="27636" y="5728"/>
                    <a:pt x="27622" y="5539"/>
                  </a:cubicBezTo>
                  <a:cubicBezTo>
                    <a:pt x="27615" y="5444"/>
                    <a:pt x="27605" y="5287"/>
                    <a:pt x="27577" y="5259"/>
                  </a:cubicBezTo>
                  <a:cubicBezTo>
                    <a:pt x="27503" y="5227"/>
                    <a:pt x="27458" y="5150"/>
                    <a:pt x="27465" y="5066"/>
                  </a:cubicBezTo>
                  <a:cubicBezTo>
                    <a:pt x="27482" y="4979"/>
                    <a:pt x="27559" y="4923"/>
                    <a:pt x="27675" y="4909"/>
                  </a:cubicBezTo>
                  <a:cubicBezTo>
                    <a:pt x="27734" y="4902"/>
                    <a:pt x="27787" y="4870"/>
                    <a:pt x="27822" y="4821"/>
                  </a:cubicBezTo>
                  <a:lnTo>
                    <a:pt x="27815" y="4821"/>
                  </a:lnTo>
                  <a:cubicBezTo>
                    <a:pt x="27678" y="4821"/>
                    <a:pt x="27486" y="4720"/>
                    <a:pt x="27342" y="4646"/>
                  </a:cubicBezTo>
                  <a:cubicBezTo>
                    <a:pt x="27300" y="4625"/>
                    <a:pt x="27265" y="4608"/>
                    <a:pt x="27244" y="4594"/>
                  </a:cubicBezTo>
                  <a:cubicBezTo>
                    <a:pt x="27242" y="4592"/>
                    <a:pt x="27239" y="4592"/>
                    <a:pt x="27236" y="4592"/>
                  </a:cubicBezTo>
                  <a:cubicBezTo>
                    <a:pt x="27208" y="4592"/>
                    <a:pt x="27157" y="4631"/>
                    <a:pt x="27125" y="4650"/>
                  </a:cubicBezTo>
                  <a:cubicBezTo>
                    <a:pt x="27066" y="4687"/>
                    <a:pt x="26993" y="4733"/>
                    <a:pt x="26920" y="4733"/>
                  </a:cubicBezTo>
                  <a:cubicBezTo>
                    <a:pt x="26885" y="4733"/>
                    <a:pt x="26850" y="4722"/>
                    <a:pt x="26817" y="4695"/>
                  </a:cubicBezTo>
                  <a:cubicBezTo>
                    <a:pt x="26698" y="4597"/>
                    <a:pt x="26747" y="4429"/>
                    <a:pt x="26786" y="4292"/>
                  </a:cubicBezTo>
                  <a:cubicBezTo>
                    <a:pt x="26800" y="4250"/>
                    <a:pt x="26810" y="4208"/>
                    <a:pt x="26817" y="4163"/>
                  </a:cubicBezTo>
                  <a:cubicBezTo>
                    <a:pt x="26817" y="4131"/>
                    <a:pt x="26835" y="4096"/>
                    <a:pt x="26863" y="4075"/>
                  </a:cubicBezTo>
                  <a:cubicBezTo>
                    <a:pt x="26886" y="4060"/>
                    <a:pt x="26914" y="4053"/>
                    <a:pt x="26942" y="4053"/>
                  </a:cubicBezTo>
                  <a:cubicBezTo>
                    <a:pt x="26960" y="4053"/>
                    <a:pt x="26978" y="4056"/>
                    <a:pt x="26996" y="4061"/>
                  </a:cubicBezTo>
                  <a:cubicBezTo>
                    <a:pt x="27021" y="4066"/>
                    <a:pt x="27042" y="4070"/>
                    <a:pt x="27061" y="4070"/>
                  </a:cubicBezTo>
                  <a:cubicBezTo>
                    <a:pt x="27094" y="4070"/>
                    <a:pt x="27119" y="4059"/>
                    <a:pt x="27146" y="4023"/>
                  </a:cubicBezTo>
                  <a:cubicBezTo>
                    <a:pt x="27150" y="4019"/>
                    <a:pt x="27153" y="4012"/>
                    <a:pt x="27153" y="4009"/>
                  </a:cubicBezTo>
                  <a:cubicBezTo>
                    <a:pt x="27115" y="3981"/>
                    <a:pt x="27076" y="3960"/>
                    <a:pt x="27031" y="3942"/>
                  </a:cubicBezTo>
                  <a:cubicBezTo>
                    <a:pt x="26926" y="3897"/>
                    <a:pt x="26793" y="3837"/>
                    <a:pt x="26793" y="3708"/>
                  </a:cubicBezTo>
                  <a:cubicBezTo>
                    <a:pt x="26793" y="3620"/>
                    <a:pt x="26611" y="3564"/>
                    <a:pt x="26488" y="3529"/>
                  </a:cubicBezTo>
                  <a:cubicBezTo>
                    <a:pt x="26439" y="3515"/>
                    <a:pt x="26390" y="3498"/>
                    <a:pt x="26341" y="3477"/>
                  </a:cubicBezTo>
                  <a:cubicBezTo>
                    <a:pt x="26225" y="3417"/>
                    <a:pt x="26271" y="3270"/>
                    <a:pt x="26306" y="3151"/>
                  </a:cubicBezTo>
                  <a:cubicBezTo>
                    <a:pt x="26327" y="3085"/>
                    <a:pt x="26351" y="2994"/>
                    <a:pt x="26337" y="2962"/>
                  </a:cubicBezTo>
                  <a:cubicBezTo>
                    <a:pt x="26280" y="2844"/>
                    <a:pt x="25879" y="2509"/>
                    <a:pt x="25719" y="2509"/>
                  </a:cubicBezTo>
                  <a:cubicBezTo>
                    <a:pt x="25714" y="2509"/>
                    <a:pt x="25709" y="2510"/>
                    <a:pt x="25704" y="2511"/>
                  </a:cubicBezTo>
                  <a:cubicBezTo>
                    <a:pt x="25688" y="2515"/>
                    <a:pt x="25671" y="2517"/>
                    <a:pt x="25655" y="2517"/>
                  </a:cubicBezTo>
                  <a:cubicBezTo>
                    <a:pt x="25587" y="2517"/>
                    <a:pt x="25523" y="2482"/>
                    <a:pt x="25483" y="2423"/>
                  </a:cubicBezTo>
                  <a:cubicBezTo>
                    <a:pt x="25434" y="2356"/>
                    <a:pt x="25424" y="2269"/>
                    <a:pt x="25455" y="2195"/>
                  </a:cubicBezTo>
                  <a:cubicBezTo>
                    <a:pt x="25477" y="2161"/>
                    <a:pt x="25512" y="2138"/>
                    <a:pt x="25552" y="2138"/>
                  </a:cubicBezTo>
                  <a:cubicBezTo>
                    <a:pt x="25557" y="2138"/>
                    <a:pt x="25562" y="2139"/>
                    <a:pt x="25567" y="2139"/>
                  </a:cubicBezTo>
                  <a:cubicBezTo>
                    <a:pt x="25571" y="2140"/>
                    <a:pt x="25575" y="2140"/>
                    <a:pt x="25580" y="2140"/>
                  </a:cubicBezTo>
                  <a:cubicBezTo>
                    <a:pt x="25649" y="2140"/>
                    <a:pt x="25722" y="2081"/>
                    <a:pt x="25910" y="1870"/>
                  </a:cubicBezTo>
                  <a:cubicBezTo>
                    <a:pt x="26047" y="1719"/>
                    <a:pt x="26071" y="1667"/>
                    <a:pt x="26071" y="1646"/>
                  </a:cubicBezTo>
                  <a:cubicBezTo>
                    <a:pt x="26057" y="1635"/>
                    <a:pt x="26040" y="1628"/>
                    <a:pt x="26022" y="1625"/>
                  </a:cubicBezTo>
                  <a:cubicBezTo>
                    <a:pt x="25924" y="1590"/>
                    <a:pt x="25830" y="1513"/>
                    <a:pt x="25847" y="1422"/>
                  </a:cubicBezTo>
                  <a:cubicBezTo>
                    <a:pt x="25857" y="1373"/>
                    <a:pt x="25900" y="1316"/>
                    <a:pt x="26045" y="1316"/>
                  </a:cubicBezTo>
                  <a:cubicBezTo>
                    <a:pt x="26056" y="1316"/>
                    <a:pt x="26069" y="1316"/>
                    <a:pt x="26082" y="1317"/>
                  </a:cubicBezTo>
                  <a:cubicBezTo>
                    <a:pt x="26194" y="1324"/>
                    <a:pt x="26306" y="1341"/>
                    <a:pt x="26414" y="1369"/>
                  </a:cubicBezTo>
                  <a:cubicBezTo>
                    <a:pt x="26535" y="1395"/>
                    <a:pt x="26678" y="1424"/>
                    <a:pt x="26780" y="1424"/>
                  </a:cubicBezTo>
                  <a:cubicBezTo>
                    <a:pt x="26829" y="1424"/>
                    <a:pt x="26868" y="1418"/>
                    <a:pt x="26891" y="1401"/>
                  </a:cubicBezTo>
                  <a:cubicBezTo>
                    <a:pt x="26989" y="1327"/>
                    <a:pt x="27279" y="897"/>
                    <a:pt x="27475" y="613"/>
                  </a:cubicBezTo>
                  <a:cubicBezTo>
                    <a:pt x="27549" y="501"/>
                    <a:pt x="27615" y="403"/>
                    <a:pt x="27664" y="336"/>
                  </a:cubicBezTo>
                  <a:cubicBezTo>
                    <a:pt x="27703" y="284"/>
                    <a:pt x="27710" y="249"/>
                    <a:pt x="27703" y="238"/>
                  </a:cubicBezTo>
                  <a:cubicBezTo>
                    <a:pt x="27692" y="220"/>
                    <a:pt x="27641" y="185"/>
                    <a:pt x="27416" y="185"/>
                  </a:cubicBezTo>
                  <a:cubicBezTo>
                    <a:pt x="27347" y="185"/>
                    <a:pt x="27260" y="188"/>
                    <a:pt x="27153" y="196"/>
                  </a:cubicBezTo>
                  <a:cubicBezTo>
                    <a:pt x="27119" y="200"/>
                    <a:pt x="27085" y="201"/>
                    <a:pt x="27051" y="201"/>
                  </a:cubicBezTo>
                  <a:cubicBezTo>
                    <a:pt x="26894" y="201"/>
                    <a:pt x="26740" y="168"/>
                    <a:pt x="26597" y="98"/>
                  </a:cubicBezTo>
                  <a:cubicBezTo>
                    <a:pt x="26488" y="46"/>
                    <a:pt x="26369" y="14"/>
                    <a:pt x="26246" y="4"/>
                  </a:cubicBezTo>
                  <a:cubicBezTo>
                    <a:pt x="26209" y="1"/>
                    <a:pt x="26168" y="0"/>
                    <a:pt x="26126"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483" name="Google Shape;5483;p104"/>
            <p:cNvSpPr/>
            <p:nvPr/>
          </p:nvSpPr>
          <p:spPr>
            <a:xfrm>
              <a:off x="890970" y="1547688"/>
              <a:ext cx="18547" cy="17176"/>
            </a:xfrm>
            <a:custGeom>
              <a:avLst/>
              <a:gdLst/>
              <a:ahLst/>
              <a:cxnLst/>
              <a:rect l="l" t="t" r="r" b="b"/>
              <a:pathLst>
                <a:path w="1366" h="1265" extrusionOk="0">
                  <a:moveTo>
                    <a:pt x="1225" y="1"/>
                  </a:moveTo>
                  <a:cubicBezTo>
                    <a:pt x="1187" y="1"/>
                    <a:pt x="1074" y="46"/>
                    <a:pt x="924" y="218"/>
                  </a:cubicBezTo>
                  <a:cubicBezTo>
                    <a:pt x="830" y="327"/>
                    <a:pt x="742" y="415"/>
                    <a:pt x="665" y="492"/>
                  </a:cubicBezTo>
                  <a:cubicBezTo>
                    <a:pt x="557" y="600"/>
                    <a:pt x="469" y="688"/>
                    <a:pt x="452" y="754"/>
                  </a:cubicBezTo>
                  <a:cubicBezTo>
                    <a:pt x="422" y="860"/>
                    <a:pt x="318" y="863"/>
                    <a:pt x="236" y="863"/>
                  </a:cubicBezTo>
                  <a:cubicBezTo>
                    <a:pt x="231" y="863"/>
                    <a:pt x="226" y="863"/>
                    <a:pt x="221" y="863"/>
                  </a:cubicBezTo>
                  <a:lnTo>
                    <a:pt x="186" y="863"/>
                  </a:lnTo>
                  <a:cubicBezTo>
                    <a:pt x="116" y="863"/>
                    <a:pt x="70" y="870"/>
                    <a:pt x="49" y="912"/>
                  </a:cubicBezTo>
                  <a:cubicBezTo>
                    <a:pt x="0" y="1006"/>
                    <a:pt x="49" y="1192"/>
                    <a:pt x="119" y="1251"/>
                  </a:cubicBezTo>
                  <a:cubicBezTo>
                    <a:pt x="129" y="1260"/>
                    <a:pt x="141" y="1265"/>
                    <a:pt x="153" y="1265"/>
                  </a:cubicBezTo>
                  <a:cubicBezTo>
                    <a:pt x="163" y="1265"/>
                    <a:pt x="174" y="1261"/>
                    <a:pt x="182" y="1255"/>
                  </a:cubicBezTo>
                  <a:cubicBezTo>
                    <a:pt x="251" y="1204"/>
                    <a:pt x="302" y="1187"/>
                    <a:pt x="345" y="1187"/>
                  </a:cubicBezTo>
                  <a:cubicBezTo>
                    <a:pt x="386" y="1187"/>
                    <a:pt x="420" y="1203"/>
                    <a:pt x="452" y="1220"/>
                  </a:cubicBezTo>
                  <a:cubicBezTo>
                    <a:pt x="469" y="1234"/>
                    <a:pt x="490" y="1241"/>
                    <a:pt x="511" y="1241"/>
                  </a:cubicBezTo>
                  <a:cubicBezTo>
                    <a:pt x="599" y="1237"/>
                    <a:pt x="1072" y="919"/>
                    <a:pt x="1170" y="761"/>
                  </a:cubicBezTo>
                  <a:cubicBezTo>
                    <a:pt x="1194" y="723"/>
                    <a:pt x="1198" y="709"/>
                    <a:pt x="1089" y="635"/>
                  </a:cubicBezTo>
                  <a:cubicBezTo>
                    <a:pt x="1026" y="590"/>
                    <a:pt x="963" y="548"/>
                    <a:pt x="956" y="474"/>
                  </a:cubicBezTo>
                  <a:cubicBezTo>
                    <a:pt x="942" y="351"/>
                    <a:pt x="1082" y="313"/>
                    <a:pt x="1208" y="281"/>
                  </a:cubicBezTo>
                  <a:cubicBezTo>
                    <a:pt x="1264" y="271"/>
                    <a:pt x="1317" y="253"/>
                    <a:pt x="1366" y="232"/>
                  </a:cubicBezTo>
                  <a:lnTo>
                    <a:pt x="1345" y="215"/>
                  </a:lnTo>
                  <a:cubicBezTo>
                    <a:pt x="1296" y="169"/>
                    <a:pt x="1226" y="106"/>
                    <a:pt x="1233" y="12"/>
                  </a:cubicBezTo>
                  <a:cubicBezTo>
                    <a:pt x="1233" y="8"/>
                    <a:pt x="1233" y="5"/>
                    <a:pt x="1233" y="1"/>
                  </a:cubicBezTo>
                  <a:cubicBezTo>
                    <a:pt x="1231" y="1"/>
                    <a:pt x="1228" y="1"/>
                    <a:pt x="1225" y="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484" name="Google Shape;5484;p104"/>
            <p:cNvSpPr/>
            <p:nvPr/>
          </p:nvSpPr>
          <p:spPr>
            <a:xfrm>
              <a:off x="797896" y="1528258"/>
              <a:ext cx="11229" cy="5064"/>
            </a:xfrm>
            <a:custGeom>
              <a:avLst/>
              <a:gdLst/>
              <a:ahLst/>
              <a:cxnLst/>
              <a:rect l="l" t="t" r="r" b="b"/>
              <a:pathLst>
                <a:path w="827" h="373" extrusionOk="0">
                  <a:moveTo>
                    <a:pt x="298" y="1"/>
                  </a:moveTo>
                  <a:cubicBezTo>
                    <a:pt x="200" y="4"/>
                    <a:pt x="109" y="43"/>
                    <a:pt x="36" y="106"/>
                  </a:cubicBezTo>
                  <a:cubicBezTo>
                    <a:pt x="22" y="120"/>
                    <a:pt x="1" y="144"/>
                    <a:pt x="8" y="165"/>
                  </a:cubicBezTo>
                  <a:cubicBezTo>
                    <a:pt x="42" y="272"/>
                    <a:pt x="333" y="373"/>
                    <a:pt x="549" y="373"/>
                  </a:cubicBezTo>
                  <a:cubicBezTo>
                    <a:pt x="601" y="373"/>
                    <a:pt x="648" y="367"/>
                    <a:pt x="687" y="354"/>
                  </a:cubicBezTo>
                  <a:cubicBezTo>
                    <a:pt x="750" y="337"/>
                    <a:pt x="802" y="288"/>
                    <a:pt x="820" y="225"/>
                  </a:cubicBezTo>
                  <a:cubicBezTo>
                    <a:pt x="827" y="176"/>
                    <a:pt x="809" y="123"/>
                    <a:pt x="771" y="92"/>
                  </a:cubicBezTo>
                  <a:cubicBezTo>
                    <a:pt x="760" y="82"/>
                    <a:pt x="747" y="78"/>
                    <a:pt x="731" y="78"/>
                  </a:cubicBezTo>
                  <a:cubicBezTo>
                    <a:pt x="702" y="78"/>
                    <a:pt x="663" y="92"/>
                    <a:pt x="613" y="113"/>
                  </a:cubicBezTo>
                  <a:cubicBezTo>
                    <a:pt x="570" y="132"/>
                    <a:pt x="525" y="151"/>
                    <a:pt x="482" y="151"/>
                  </a:cubicBezTo>
                  <a:cubicBezTo>
                    <a:pt x="462" y="151"/>
                    <a:pt x="443" y="147"/>
                    <a:pt x="424" y="137"/>
                  </a:cubicBezTo>
                  <a:cubicBezTo>
                    <a:pt x="389" y="113"/>
                    <a:pt x="365" y="71"/>
                    <a:pt x="361" y="25"/>
                  </a:cubicBezTo>
                  <a:cubicBezTo>
                    <a:pt x="361" y="18"/>
                    <a:pt x="361" y="11"/>
                    <a:pt x="344" y="8"/>
                  </a:cubicBezTo>
                  <a:cubicBezTo>
                    <a:pt x="330" y="1"/>
                    <a:pt x="312" y="1"/>
                    <a:pt x="298" y="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485" name="Google Shape;5485;p104"/>
            <p:cNvSpPr/>
            <p:nvPr/>
          </p:nvSpPr>
          <p:spPr>
            <a:xfrm>
              <a:off x="793334" y="1391519"/>
              <a:ext cx="283403" cy="195652"/>
            </a:xfrm>
            <a:custGeom>
              <a:avLst/>
              <a:gdLst/>
              <a:ahLst/>
              <a:cxnLst/>
              <a:rect l="l" t="t" r="r" b="b"/>
              <a:pathLst>
                <a:path w="20873" h="14410" extrusionOk="0">
                  <a:moveTo>
                    <a:pt x="6145" y="0"/>
                  </a:moveTo>
                  <a:cubicBezTo>
                    <a:pt x="6032" y="0"/>
                    <a:pt x="5793" y="218"/>
                    <a:pt x="5658" y="339"/>
                  </a:cubicBezTo>
                  <a:cubicBezTo>
                    <a:pt x="5462" y="516"/>
                    <a:pt x="5201" y="553"/>
                    <a:pt x="4995" y="553"/>
                  </a:cubicBezTo>
                  <a:cubicBezTo>
                    <a:pt x="4895" y="553"/>
                    <a:pt x="4808" y="544"/>
                    <a:pt x="4748" y="539"/>
                  </a:cubicBezTo>
                  <a:cubicBezTo>
                    <a:pt x="4708" y="534"/>
                    <a:pt x="4669" y="532"/>
                    <a:pt x="4631" y="532"/>
                  </a:cubicBezTo>
                  <a:cubicBezTo>
                    <a:pt x="4489" y="532"/>
                    <a:pt x="4365" y="561"/>
                    <a:pt x="4321" y="605"/>
                  </a:cubicBezTo>
                  <a:cubicBezTo>
                    <a:pt x="4310" y="616"/>
                    <a:pt x="4310" y="619"/>
                    <a:pt x="4310" y="623"/>
                  </a:cubicBezTo>
                  <a:cubicBezTo>
                    <a:pt x="4310" y="644"/>
                    <a:pt x="4338" y="661"/>
                    <a:pt x="4377" y="686"/>
                  </a:cubicBezTo>
                  <a:cubicBezTo>
                    <a:pt x="4422" y="714"/>
                    <a:pt x="4478" y="749"/>
                    <a:pt x="4485" y="815"/>
                  </a:cubicBezTo>
                  <a:cubicBezTo>
                    <a:pt x="4485" y="875"/>
                    <a:pt x="4457" y="931"/>
                    <a:pt x="4412" y="969"/>
                  </a:cubicBezTo>
                  <a:cubicBezTo>
                    <a:pt x="4367" y="1014"/>
                    <a:pt x="4324" y="1031"/>
                    <a:pt x="4286" y="1031"/>
                  </a:cubicBezTo>
                  <a:cubicBezTo>
                    <a:pt x="4213" y="1031"/>
                    <a:pt x="4155" y="973"/>
                    <a:pt x="4121" y="941"/>
                  </a:cubicBezTo>
                  <a:cubicBezTo>
                    <a:pt x="4100" y="920"/>
                    <a:pt x="4069" y="889"/>
                    <a:pt x="4055" y="889"/>
                  </a:cubicBezTo>
                  <a:cubicBezTo>
                    <a:pt x="4048" y="889"/>
                    <a:pt x="4034" y="896"/>
                    <a:pt x="4013" y="917"/>
                  </a:cubicBezTo>
                  <a:cubicBezTo>
                    <a:pt x="3878" y="1061"/>
                    <a:pt x="3580" y="1096"/>
                    <a:pt x="3366" y="1096"/>
                  </a:cubicBezTo>
                  <a:cubicBezTo>
                    <a:pt x="3269" y="1096"/>
                    <a:pt x="3190" y="1089"/>
                    <a:pt x="3151" y="1081"/>
                  </a:cubicBezTo>
                  <a:cubicBezTo>
                    <a:pt x="3095" y="1081"/>
                    <a:pt x="2920" y="1235"/>
                    <a:pt x="2633" y="1533"/>
                  </a:cubicBezTo>
                  <a:lnTo>
                    <a:pt x="2570" y="1600"/>
                  </a:lnTo>
                  <a:cubicBezTo>
                    <a:pt x="2546" y="1621"/>
                    <a:pt x="2546" y="1638"/>
                    <a:pt x="2549" y="1694"/>
                  </a:cubicBezTo>
                  <a:cubicBezTo>
                    <a:pt x="2553" y="1792"/>
                    <a:pt x="2563" y="1939"/>
                    <a:pt x="2339" y="2177"/>
                  </a:cubicBezTo>
                  <a:cubicBezTo>
                    <a:pt x="2087" y="2449"/>
                    <a:pt x="1563" y="2485"/>
                    <a:pt x="1208" y="2485"/>
                  </a:cubicBezTo>
                  <a:cubicBezTo>
                    <a:pt x="1125" y="2485"/>
                    <a:pt x="1050" y="2483"/>
                    <a:pt x="991" y="2482"/>
                  </a:cubicBezTo>
                  <a:lnTo>
                    <a:pt x="911" y="2482"/>
                  </a:lnTo>
                  <a:cubicBezTo>
                    <a:pt x="908" y="2481"/>
                    <a:pt x="905" y="2480"/>
                    <a:pt x="902" y="2480"/>
                  </a:cubicBezTo>
                  <a:cubicBezTo>
                    <a:pt x="894" y="2480"/>
                    <a:pt x="887" y="2483"/>
                    <a:pt x="879" y="2485"/>
                  </a:cubicBezTo>
                  <a:cubicBezTo>
                    <a:pt x="872" y="2513"/>
                    <a:pt x="869" y="2541"/>
                    <a:pt x="872" y="2569"/>
                  </a:cubicBezTo>
                  <a:cubicBezTo>
                    <a:pt x="879" y="2646"/>
                    <a:pt x="858" y="2727"/>
                    <a:pt x="816" y="2793"/>
                  </a:cubicBezTo>
                  <a:cubicBezTo>
                    <a:pt x="802" y="2814"/>
                    <a:pt x="806" y="2821"/>
                    <a:pt x="809" y="2825"/>
                  </a:cubicBezTo>
                  <a:cubicBezTo>
                    <a:pt x="820" y="2856"/>
                    <a:pt x="900" y="2947"/>
                    <a:pt x="1387" y="3080"/>
                  </a:cubicBezTo>
                  <a:cubicBezTo>
                    <a:pt x="1909" y="3217"/>
                    <a:pt x="2262" y="3893"/>
                    <a:pt x="2329" y="4064"/>
                  </a:cubicBezTo>
                  <a:cubicBezTo>
                    <a:pt x="2337" y="4084"/>
                    <a:pt x="2390" y="4091"/>
                    <a:pt x="2458" y="4091"/>
                  </a:cubicBezTo>
                  <a:cubicBezTo>
                    <a:pt x="2570" y="4091"/>
                    <a:pt x="2723" y="4073"/>
                    <a:pt x="2791" y="4064"/>
                  </a:cubicBezTo>
                  <a:cubicBezTo>
                    <a:pt x="2903" y="4052"/>
                    <a:pt x="3012" y="4041"/>
                    <a:pt x="3102" y="4041"/>
                  </a:cubicBezTo>
                  <a:cubicBezTo>
                    <a:pt x="3138" y="4041"/>
                    <a:pt x="3171" y="4043"/>
                    <a:pt x="3200" y="4047"/>
                  </a:cubicBezTo>
                  <a:cubicBezTo>
                    <a:pt x="3386" y="4075"/>
                    <a:pt x="3368" y="4243"/>
                    <a:pt x="3358" y="4341"/>
                  </a:cubicBezTo>
                  <a:cubicBezTo>
                    <a:pt x="3347" y="4449"/>
                    <a:pt x="3347" y="4502"/>
                    <a:pt x="3400" y="4526"/>
                  </a:cubicBezTo>
                  <a:cubicBezTo>
                    <a:pt x="3454" y="4551"/>
                    <a:pt x="3518" y="4556"/>
                    <a:pt x="3585" y="4556"/>
                  </a:cubicBezTo>
                  <a:cubicBezTo>
                    <a:pt x="3614" y="4556"/>
                    <a:pt x="3643" y="4555"/>
                    <a:pt x="3673" y="4554"/>
                  </a:cubicBezTo>
                  <a:cubicBezTo>
                    <a:pt x="3700" y="4553"/>
                    <a:pt x="3728" y="4552"/>
                    <a:pt x="3756" y="4552"/>
                  </a:cubicBezTo>
                  <a:cubicBezTo>
                    <a:pt x="3868" y="4552"/>
                    <a:pt x="3977" y="4572"/>
                    <a:pt x="4016" y="4684"/>
                  </a:cubicBezTo>
                  <a:cubicBezTo>
                    <a:pt x="4030" y="4722"/>
                    <a:pt x="4027" y="4761"/>
                    <a:pt x="4006" y="4796"/>
                  </a:cubicBezTo>
                  <a:cubicBezTo>
                    <a:pt x="3963" y="4855"/>
                    <a:pt x="3872" y="4859"/>
                    <a:pt x="3746" y="4859"/>
                  </a:cubicBezTo>
                  <a:cubicBezTo>
                    <a:pt x="3610" y="4859"/>
                    <a:pt x="3445" y="4862"/>
                    <a:pt x="3337" y="4943"/>
                  </a:cubicBezTo>
                  <a:cubicBezTo>
                    <a:pt x="3159" y="5076"/>
                    <a:pt x="3050" y="5154"/>
                    <a:pt x="2945" y="5154"/>
                  </a:cubicBezTo>
                  <a:cubicBezTo>
                    <a:pt x="2937" y="5154"/>
                    <a:pt x="2929" y="5154"/>
                    <a:pt x="2920" y="5153"/>
                  </a:cubicBezTo>
                  <a:cubicBezTo>
                    <a:pt x="2864" y="5142"/>
                    <a:pt x="2815" y="5107"/>
                    <a:pt x="2784" y="5062"/>
                  </a:cubicBezTo>
                  <a:cubicBezTo>
                    <a:pt x="2759" y="5027"/>
                    <a:pt x="2686" y="5015"/>
                    <a:pt x="2598" y="5015"/>
                  </a:cubicBezTo>
                  <a:cubicBezTo>
                    <a:pt x="2485" y="5015"/>
                    <a:pt x="2347" y="5034"/>
                    <a:pt x="2255" y="5048"/>
                  </a:cubicBezTo>
                  <a:cubicBezTo>
                    <a:pt x="2213" y="5055"/>
                    <a:pt x="2175" y="5058"/>
                    <a:pt x="2143" y="5062"/>
                  </a:cubicBezTo>
                  <a:cubicBezTo>
                    <a:pt x="2131" y="5065"/>
                    <a:pt x="2119" y="5067"/>
                    <a:pt x="2106" y="5067"/>
                  </a:cubicBezTo>
                  <a:cubicBezTo>
                    <a:pt x="2066" y="5067"/>
                    <a:pt x="2026" y="5049"/>
                    <a:pt x="2000" y="5020"/>
                  </a:cubicBezTo>
                  <a:cubicBezTo>
                    <a:pt x="1947" y="4950"/>
                    <a:pt x="1989" y="4841"/>
                    <a:pt x="2031" y="4740"/>
                  </a:cubicBezTo>
                  <a:cubicBezTo>
                    <a:pt x="2049" y="4701"/>
                    <a:pt x="2059" y="4659"/>
                    <a:pt x="2070" y="4617"/>
                  </a:cubicBezTo>
                  <a:cubicBezTo>
                    <a:pt x="2070" y="4614"/>
                    <a:pt x="2063" y="4607"/>
                    <a:pt x="2052" y="4600"/>
                  </a:cubicBezTo>
                  <a:cubicBezTo>
                    <a:pt x="2026" y="4581"/>
                    <a:pt x="1980" y="4569"/>
                    <a:pt x="1918" y="4569"/>
                  </a:cubicBezTo>
                  <a:cubicBezTo>
                    <a:pt x="1815" y="4569"/>
                    <a:pt x="1666" y="4604"/>
                    <a:pt x="1488" y="4705"/>
                  </a:cubicBezTo>
                  <a:lnTo>
                    <a:pt x="1481" y="4712"/>
                  </a:lnTo>
                  <a:cubicBezTo>
                    <a:pt x="1394" y="4754"/>
                    <a:pt x="1310" y="4803"/>
                    <a:pt x="1229" y="4859"/>
                  </a:cubicBezTo>
                  <a:lnTo>
                    <a:pt x="1229" y="4869"/>
                  </a:lnTo>
                  <a:cubicBezTo>
                    <a:pt x="1233" y="4908"/>
                    <a:pt x="1226" y="4946"/>
                    <a:pt x="1215" y="4985"/>
                  </a:cubicBezTo>
                  <a:cubicBezTo>
                    <a:pt x="1208" y="5027"/>
                    <a:pt x="1184" y="5065"/>
                    <a:pt x="1145" y="5086"/>
                  </a:cubicBezTo>
                  <a:cubicBezTo>
                    <a:pt x="1128" y="5094"/>
                    <a:pt x="1111" y="5097"/>
                    <a:pt x="1094" y="5097"/>
                  </a:cubicBezTo>
                  <a:cubicBezTo>
                    <a:pt x="1057" y="5097"/>
                    <a:pt x="1020" y="5083"/>
                    <a:pt x="984" y="5069"/>
                  </a:cubicBezTo>
                  <a:cubicBezTo>
                    <a:pt x="940" y="5053"/>
                    <a:pt x="892" y="5034"/>
                    <a:pt x="839" y="5034"/>
                  </a:cubicBezTo>
                  <a:cubicBezTo>
                    <a:pt x="801" y="5034"/>
                    <a:pt x="759" y="5044"/>
                    <a:pt x="715" y="5072"/>
                  </a:cubicBezTo>
                  <a:cubicBezTo>
                    <a:pt x="606" y="5135"/>
                    <a:pt x="494" y="5191"/>
                    <a:pt x="382" y="5240"/>
                  </a:cubicBezTo>
                  <a:cubicBezTo>
                    <a:pt x="221" y="5310"/>
                    <a:pt x="36" y="5391"/>
                    <a:pt x="1" y="5468"/>
                  </a:cubicBezTo>
                  <a:cubicBezTo>
                    <a:pt x="18" y="5510"/>
                    <a:pt x="158" y="5576"/>
                    <a:pt x="687" y="5682"/>
                  </a:cubicBezTo>
                  <a:lnTo>
                    <a:pt x="739" y="5692"/>
                  </a:lnTo>
                  <a:cubicBezTo>
                    <a:pt x="767" y="5699"/>
                    <a:pt x="844" y="5713"/>
                    <a:pt x="855" y="5780"/>
                  </a:cubicBezTo>
                  <a:cubicBezTo>
                    <a:pt x="869" y="5850"/>
                    <a:pt x="802" y="5899"/>
                    <a:pt x="729" y="5948"/>
                  </a:cubicBezTo>
                  <a:cubicBezTo>
                    <a:pt x="715" y="5955"/>
                    <a:pt x="701" y="5965"/>
                    <a:pt x="683" y="5976"/>
                  </a:cubicBezTo>
                  <a:cubicBezTo>
                    <a:pt x="757" y="6011"/>
                    <a:pt x="813" y="6070"/>
                    <a:pt x="844" y="6140"/>
                  </a:cubicBezTo>
                  <a:cubicBezTo>
                    <a:pt x="890" y="6242"/>
                    <a:pt x="974" y="6322"/>
                    <a:pt x="1072" y="6368"/>
                  </a:cubicBezTo>
                  <a:cubicBezTo>
                    <a:pt x="1162" y="6415"/>
                    <a:pt x="1296" y="6431"/>
                    <a:pt x="1440" y="6431"/>
                  </a:cubicBezTo>
                  <a:cubicBezTo>
                    <a:pt x="1625" y="6431"/>
                    <a:pt x="1826" y="6405"/>
                    <a:pt x="1972" y="6385"/>
                  </a:cubicBezTo>
                  <a:cubicBezTo>
                    <a:pt x="2049" y="6371"/>
                    <a:pt x="2129" y="6364"/>
                    <a:pt x="2206" y="6361"/>
                  </a:cubicBezTo>
                  <a:cubicBezTo>
                    <a:pt x="2287" y="6368"/>
                    <a:pt x="2367" y="6389"/>
                    <a:pt x="2437" y="6427"/>
                  </a:cubicBezTo>
                  <a:cubicBezTo>
                    <a:pt x="2503" y="6459"/>
                    <a:pt x="2547" y="6478"/>
                    <a:pt x="2582" y="6478"/>
                  </a:cubicBezTo>
                  <a:cubicBezTo>
                    <a:pt x="2609" y="6478"/>
                    <a:pt x="2631" y="6467"/>
                    <a:pt x="2654" y="6441"/>
                  </a:cubicBezTo>
                  <a:cubicBezTo>
                    <a:pt x="2757" y="6333"/>
                    <a:pt x="3141" y="6002"/>
                    <a:pt x="3463" y="6002"/>
                  </a:cubicBezTo>
                  <a:cubicBezTo>
                    <a:pt x="3556" y="6002"/>
                    <a:pt x="3644" y="6030"/>
                    <a:pt x="3718" y="6098"/>
                  </a:cubicBezTo>
                  <a:cubicBezTo>
                    <a:pt x="3792" y="6168"/>
                    <a:pt x="3823" y="6231"/>
                    <a:pt x="3813" y="6291"/>
                  </a:cubicBezTo>
                  <a:cubicBezTo>
                    <a:pt x="3799" y="6378"/>
                    <a:pt x="3708" y="6417"/>
                    <a:pt x="3634" y="6448"/>
                  </a:cubicBezTo>
                  <a:cubicBezTo>
                    <a:pt x="3610" y="6459"/>
                    <a:pt x="3589" y="6469"/>
                    <a:pt x="3568" y="6480"/>
                  </a:cubicBezTo>
                  <a:cubicBezTo>
                    <a:pt x="3680" y="6606"/>
                    <a:pt x="3795" y="6830"/>
                    <a:pt x="3778" y="7026"/>
                  </a:cubicBezTo>
                  <a:cubicBezTo>
                    <a:pt x="3767" y="7138"/>
                    <a:pt x="3708" y="7239"/>
                    <a:pt x="3617" y="7302"/>
                  </a:cubicBezTo>
                  <a:cubicBezTo>
                    <a:pt x="3492" y="7393"/>
                    <a:pt x="3368" y="7420"/>
                    <a:pt x="3256" y="7420"/>
                  </a:cubicBezTo>
                  <a:cubicBezTo>
                    <a:pt x="3162" y="7420"/>
                    <a:pt x="3077" y="7401"/>
                    <a:pt x="3008" y="7386"/>
                  </a:cubicBezTo>
                  <a:cubicBezTo>
                    <a:pt x="2973" y="7376"/>
                    <a:pt x="2938" y="7369"/>
                    <a:pt x="2903" y="7365"/>
                  </a:cubicBezTo>
                  <a:lnTo>
                    <a:pt x="2896" y="7365"/>
                  </a:lnTo>
                  <a:cubicBezTo>
                    <a:pt x="2878" y="7393"/>
                    <a:pt x="2868" y="7425"/>
                    <a:pt x="2861" y="7456"/>
                  </a:cubicBezTo>
                  <a:cubicBezTo>
                    <a:pt x="2833" y="7554"/>
                    <a:pt x="2798" y="7691"/>
                    <a:pt x="2658" y="7800"/>
                  </a:cubicBezTo>
                  <a:cubicBezTo>
                    <a:pt x="2599" y="7845"/>
                    <a:pt x="2543" y="7862"/>
                    <a:pt x="2490" y="7862"/>
                  </a:cubicBezTo>
                  <a:cubicBezTo>
                    <a:pt x="2390" y="7862"/>
                    <a:pt x="2299" y="7801"/>
                    <a:pt x="2217" y="7743"/>
                  </a:cubicBezTo>
                  <a:cubicBezTo>
                    <a:pt x="2129" y="7684"/>
                    <a:pt x="2035" y="7621"/>
                    <a:pt x="1926" y="7621"/>
                  </a:cubicBezTo>
                  <a:cubicBezTo>
                    <a:pt x="1922" y="7621"/>
                    <a:pt x="1918" y="7620"/>
                    <a:pt x="1914" y="7620"/>
                  </a:cubicBezTo>
                  <a:cubicBezTo>
                    <a:pt x="1879" y="7620"/>
                    <a:pt x="1843" y="7634"/>
                    <a:pt x="1817" y="7659"/>
                  </a:cubicBezTo>
                  <a:cubicBezTo>
                    <a:pt x="1744" y="7740"/>
                    <a:pt x="1758" y="7926"/>
                    <a:pt x="1768" y="8052"/>
                  </a:cubicBezTo>
                  <a:cubicBezTo>
                    <a:pt x="1768" y="8073"/>
                    <a:pt x="1772" y="8090"/>
                    <a:pt x="1775" y="8108"/>
                  </a:cubicBezTo>
                  <a:cubicBezTo>
                    <a:pt x="1782" y="8241"/>
                    <a:pt x="1649" y="8258"/>
                    <a:pt x="1562" y="8269"/>
                  </a:cubicBezTo>
                  <a:cubicBezTo>
                    <a:pt x="1432" y="8286"/>
                    <a:pt x="1282" y="8307"/>
                    <a:pt x="1226" y="8528"/>
                  </a:cubicBezTo>
                  <a:cubicBezTo>
                    <a:pt x="1163" y="8783"/>
                    <a:pt x="988" y="8808"/>
                    <a:pt x="893" y="8822"/>
                  </a:cubicBezTo>
                  <a:lnTo>
                    <a:pt x="865" y="8825"/>
                  </a:lnTo>
                  <a:cubicBezTo>
                    <a:pt x="890" y="8874"/>
                    <a:pt x="918" y="8916"/>
                    <a:pt x="949" y="8958"/>
                  </a:cubicBezTo>
                  <a:cubicBezTo>
                    <a:pt x="1114" y="9193"/>
                    <a:pt x="1156" y="9193"/>
                    <a:pt x="1205" y="9193"/>
                  </a:cubicBezTo>
                  <a:cubicBezTo>
                    <a:pt x="1210" y="9193"/>
                    <a:pt x="1214" y="9193"/>
                    <a:pt x="1219" y="9193"/>
                  </a:cubicBezTo>
                  <a:cubicBezTo>
                    <a:pt x="1297" y="9193"/>
                    <a:pt x="1370" y="9220"/>
                    <a:pt x="1432" y="9270"/>
                  </a:cubicBezTo>
                  <a:cubicBezTo>
                    <a:pt x="1611" y="9396"/>
                    <a:pt x="1495" y="9578"/>
                    <a:pt x="1422" y="9686"/>
                  </a:cubicBezTo>
                  <a:cubicBezTo>
                    <a:pt x="1404" y="9714"/>
                    <a:pt x="1383" y="9746"/>
                    <a:pt x="1369" y="9777"/>
                  </a:cubicBezTo>
                  <a:lnTo>
                    <a:pt x="1383" y="9781"/>
                  </a:lnTo>
                  <a:cubicBezTo>
                    <a:pt x="1572" y="9819"/>
                    <a:pt x="1754" y="10044"/>
                    <a:pt x="1919" y="10240"/>
                  </a:cubicBezTo>
                  <a:cubicBezTo>
                    <a:pt x="1972" y="10310"/>
                    <a:pt x="2031" y="10376"/>
                    <a:pt x="2094" y="10439"/>
                  </a:cubicBezTo>
                  <a:cubicBezTo>
                    <a:pt x="2121" y="10464"/>
                    <a:pt x="2150" y="10475"/>
                    <a:pt x="2184" y="10475"/>
                  </a:cubicBezTo>
                  <a:cubicBezTo>
                    <a:pt x="2236" y="10475"/>
                    <a:pt x="2299" y="10450"/>
                    <a:pt x="2381" y="10415"/>
                  </a:cubicBezTo>
                  <a:cubicBezTo>
                    <a:pt x="2479" y="10366"/>
                    <a:pt x="2581" y="10338"/>
                    <a:pt x="2689" y="10327"/>
                  </a:cubicBezTo>
                  <a:cubicBezTo>
                    <a:pt x="2770" y="10324"/>
                    <a:pt x="2791" y="10271"/>
                    <a:pt x="2812" y="10187"/>
                  </a:cubicBezTo>
                  <a:cubicBezTo>
                    <a:pt x="2826" y="10138"/>
                    <a:pt x="2840" y="10086"/>
                    <a:pt x="2892" y="10068"/>
                  </a:cubicBezTo>
                  <a:cubicBezTo>
                    <a:pt x="2899" y="10067"/>
                    <a:pt x="2906" y="10067"/>
                    <a:pt x="2912" y="10067"/>
                  </a:cubicBezTo>
                  <a:cubicBezTo>
                    <a:pt x="2951" y="10067"/>
                    <a:pt x="2988" y="10084"/>
                    <a:pt x="3015" y="10114"/>
                  </a:cubicBezTo>
                  <a:cubicBezTo>
                    <a:pt x="3134" y="10222"/>
                    <a:pt x="3305" y="10506"/>
                    <a:pt x="3295" y="10691"/>
                  </a:cubicBezTo>
                  <a:cubicBezTo>
                    <a:pt x="3298" y="10747"/>
                    <a:pt x="3270" y="10800"/>
                    <a:pt x="3228" y="10831"/>
                  </a:cubicBezTo>
                  <a:cubicBezTo>
                    <a:pt x="3169" y="10873"/>
                    <a:pt x="3186" y="11013"/>
                    <a:pt x="3197" y="11125"/>
                  </a:cubicBezTo>
                  <a:cubicBezTo>
                    <a:pt x="3207" y="11192"/>
                    <a:pt x="3211" y="11258"/>
                    <a:pt x="3207" y="11325"/>
                  </a:cubicBezTo>
                  <a:cubicBezTo>
                    <a:pt x="3225" y="11337"/>
                    <a:pt x="3274" y="11346"/>
                    <a:pt x="3336" y="11346"/>
                  </a:cubicBezTo>
                  <a:cubicBezTo>
                    <a:pt x="3395" y="11346"/>
                    <a:pt x="3467" y="11338"/>
                    <a:pt x="3536" y="11318"/>
                  </a:cubicBezTo>
                  <a:cubicBezTo>
                    <a:pt x="3634" y="11290"/>
                    <a:pt x="3669" y="11251"/>
                    <a:pt x="3669" y="11237"/>
                  </a:cubicBezTo>
                  <a:cubicBezTo>
                    <a:pt x="3687" y="11160"/>
                    <a:pt x="3757" y="11097"/>
                    <a:pt x="3869" y="11069"/>
                  </a:cubicBezTo>
                  <a:cubicBezTo>
                    <a:pt x="3923" y="11056"/>
                    <a:pt x="3978" y="11050"/>
                    <a:pt x="4032" y="11050"/>
                  </a:cubicBezTo>
                  <a:cubicBezTo>
                    <a:pt x="4219" y="11050"/>
                    <a:pt x="4401" y="11128"/>
                    <a:pt x="4534" y="11269"/>
                  </a:cubicBezTo>
                  <a:cubicBezTo>
                    <a:pt x="4601" y="11349"/>
                    <a:pt x="4674" y="11419"/>
                    <a:pt x="4755" y="11482"/>
                  </a:cubicBezTo>
                  <a:cubicBezTo>
                    <a:pt x="4758" y="11465"/>
                    <a:pt x="4758" y="11444"/>
                    <a:pt x="4758" y="11423"/>
                  </a:cubicBezTo>
                  <a:cubicBezTo>
                    <a:pt x="4758" y="11241"/>
                    <a:pt x="4895" y="11017"/>
                    <a:pt x="5010" y="11013"/>
                  </a:cubicBezTo>
                  <a:cubicBezTo>
                    <a:pt x="5028" y="11013"/>
                    <a:pt x="5112" y="11017"/>
                    <a:pt x="5122" y="11139"/>
                  </a:cubicBezTo>
                  <a:cubicBezTo>
                    <a:pt x="5119" y="11174"/>
                    <a:pt x="5136" y="11202"/>
                    <a:pt x="5164" y="11220"/>
                  </a:cubicBezTo>
                  <a:cubicBezTo>
                    <a:pt x="5189" y="11235"/>
                    <a:pt x="5222" y="11243"/>
                    <a:pt x="5264" y="11243"/>
                  </a:cubicBezTo>
                  <a:cubicBezTo>
                    <a:pt x="5353" y="11243"/>
                    <a:pt x="5479" y="11208"/>
                    <a:pt x="5623" y="11143"/>
                  </a:cubicBezTo>
                  <a:cubicBezTo>
                    <a:pt x="5722" y="11098"/>
                    <a:pt x="5794" y="11071"/>
                    <a:pt x="5846" y="11071"/>
                  </a:cubicBezTo>
                  <a:cubicBezTo>
                    <a:pt x="5879" y="11071"/>
                    <a:pt x="5903" y="11081"/>
                    <a:pt x="5920" y="11104"/>
                  </a:cubicBezTo>
                  <a:cubicBezTo>
                    <a:pt x="5976" y="11174"/>
                    <a:pt x="5906" y="11258"/>
                    <a:pt x="5759" y="11440"/>
                  </a:cubicBezTo>
                  <a:lnTo>
                    <a:pt x="5714" y="11500"/>
                  </a:lnTo>
                  <a:cubicBezTo>
                    <a:pt x="5581" y="11664"/>
                    <a:pt x="5595" y="11874"/>
                    <a:pt x="5605" y="12046"/>
                  </a:cubicBezTo>
                  <a:cubicBezTo>
                    <a:pt x="5612" y="12200"/>
                    <a:pt x="5623" y="12361"/>
                    <a:pt x="5483" y="12396"/>
                  </a:cubicBezTo>
                  <a:cubicBezTo>
                    <a:pt x="5423" y="12410"/>
                    <a:pt x="5350" y="12512"/>
                    <a:pt x="5276" y="12606"/>
                  </a:cubicBezTo>
                  <a:cubicBezTo>
                    <a:pt x="5154" y="12771"/>
                    <a:pt x="5017" y="12956"/>
                    <a:pt x="4807" y="12981"/>
                  </a:cubicBezTo>
                  <a:cubicBezTo>
                    <a:pt x="4527" y="13012"/>
                    <a:pt x="4013" y="13569"/>
                    <a:pt x="3932" y="13681"/>
                  </a:cubicBezTo>
                  <a:cubicBezTo>
                    <a:pt x="3905" y="13715"/>
                    <a:pt x="3862" y="13727"/>
                    <a:pt x="3803" y="13727"/>
                  </a:cubicBezTo>
                  <a:cubicBezTo>
                    <a:pt x="3746" y="13727"/>
                    <a:pt x="3675" y="13716"/>
                    <a:pt x="3589" y="13702"/>
                  </a:cubicBezTo>
                  <a:cubicBezTo>
                    <a:pt x="3493" y="13686"/>
                    <a:pt x="3379" y="13667"/>
                    <a:pt x="3284" y="13667"/>
                  </a:cubicBezTo>
                  <a:cubicBezTo>
                    <a:pt x="3189" y="13667"/>
                    <a:pt x="3113" y="13686"/>
                    <a:pt x="3092" y="13747"/>
                  </a:cubicBezTo>
                  <a:cubicBezTo>
                    <a:pt x="3039" y="13894"/>
                    <a:pt x="2913" y="14021"/>
                    <a:pt x="2812" y="14122"/>
                  </a:cubicBezTo>
                  <a:cubicBezTo>
                    <a:pt x="2763" y="14164"/>
                    <a:pt x="2721" y="14213"/>
                    <a:pt x="2682" y="14266"/>
                  </a:cubicBezTo>
                  <a:cubicBezTo>
                    <a:pt x="2745" y="14259"/>
                    <a:pt x="2920" y="14192"/>
                    <a:pt x="3074" y="14091"/>
                  </a:cubicBezTo>
                  <a:cubicBezTo>
                    <a:pt x="3186" y="14017"/>
                    <a:pt x="3218" y="13968"/>
                    <a:pt x="3221" y="13957"/>
                  </a:cubicBezTo>
                  <a:cubicBezTo>
                    <a:pt x="3225" y="13922"/>
                    <a:pt x="3242" y="13828"/>
                    <a:pt x="3319" y="13803"/>
                  </a:cubicBezTo>
                  <a:cubicBezTo>
                    <a:pt x="3330" y="13801"/>
                    <a:pt x="3340" y="13800"/>
                    <a:pt x="3350" y="13800"/>
                  </a:cubicBezTo>
                  <a:cubicBezTo>
                    <a:pt x="3418" y="13800"/>
                    <a:pt x="3480" y="13857"/>
                    <a:pt x="3526" y="13912"/>
                  </a:cubicBezTo>
                  <a:cubicBezTo>
                    <a:pt x="3536" y="13922"/>
                    <a:pt x="3552" y="13926"/>
                    <a:pt x="3569" y="13926"/>
                  </a:cubicBezTo>
                  <a:cubicBezTo>
                    <a:pt x="3605" y="13926"/>
                    <a:pt x="3649" y="13910"/>
                    <a:pt x="3673" y="13898"/>
                  </a:cubicBezTo>
                  <a:cubicBezTo>
                    <a:pt x="3750" y="13863"/>
                    <a:pt x="3820" y="13817"/>
                    <a:pt x="3883" y="13761"/>
                  </a:cubicBezTo>
                  <a:cubicBezTo>
                    <a:pt x="3955" y="13696"/>
                    <a:pt x="4049" y="13679"/>
                    <a:pt x="4138" y="13679"/>
                  </a:cubicBezTo>
                  <a:cubicBezTo>
                    <a:pt x="4195" y="13679"/>
                    <a:pt x="4251" y="13686"/>
                    <a:pt x="4296" y="13691"/>
                  </a:cubicBezTo>
                  <a:lnTo>
                    <a:pt x="4335" y="13695"/>
                  </a:lnTo>
                  <a:cubicBezTo>
                    <a:pt x="4337" y="13695"/>
                    <a:pt x="4339" y="13695"/>
                    <a:pt x="4341" y="13695"/>
                  </a:cubicBezTo>
                  <a:cubicBezTo>
                    <a:pt x="4361" y="13695"/>
                    <a:pt x="4384" y="13682"/>
                    <a:pt x="4422" y="13656"/>
                  </a:cubicBezTo>
                  <a:cubicBezTo>
                    <a:pt x="4534" y="13576"/>
                    <a:pt x="4664" y="13523"/>
                    <a:pt x="4800" y="13502"/>
                  </a:cubicBezTo>
                  <a:cubicBezTo>
                    <a:pt x="5007" y="13464"/>
                    <a:pt x="5017" y="13425"/>
                    <a:pt x="5042" y="13334"/>
                  </a:cubicBezTo>
                  <a:cubicBezTo>
                    <a:pt x="5049" y="13292"/>
                    <a:pt x="5063" y="13254"/>
                    <a:pt x="5080" y="13215"/>
                  </a:cubicBezTo>
                  <a:cubicBezTo>
                    <a:pt x="5168" y="13009"/>
                    <a:pt x="5994" y="12638"/>
                    <a:pt x="6120" y="12606"/>
                  </a:cubicBezTo>
                  <a:cubicBezTo>
                    <a:pt x="6148" y="12599"/>
                    <a:pt x="6159" y="12578"/>
                    <a:pt x="6176" y="12508"/>
                  </a:cubicBezTo>
                  <a:cubicBezTo>
                    <a:pt x="6190" y="12438"/>
                    <a:pt x="6218" y="12326"/>
                    <a:pt x="6351" y="12316"/>
                  </a:cubicBezTo>
                  <a:cubicBezTo>
                    <a:pt x="6495" y="12305"/>
                    <a:pt x="6761" y="12085"/>
                    <a:pt x="6918" y="11955"/>
                  </a:cubicBezTo>
                  <a:cubicBezTo>
                    <a:pt x="7069" y="11829"/>
                    <a:pt x="7149" y="11822"/>
                    <a:pt x="7226" y="11811"/>
                  </a:cubicBezTo>
                  <a:cubicBezTo>
                    <a:pt x="7268" y="11808"/>
                    <a:pt x="7310" y="11801"/>
                    <a:pt x="7349" y="11783"/>
                  </a:cubicBezTo>
                  <a:cubicBezTo>
                    <a:pt x="7387" y="11769"/>
                    <a:pt x="7394" y="11713"/>
                    <a:pt x="7405" y="11626"/>
                  </a:cubicBezTo>
                  <a:cubicBezTo>
                    <a:pt x="7412" y="11531"/>
                    <a:pt x="7426" y="11402"/>
                    <a:pt x="7555" y="11381"/>
                  </a:cubicBezTo>
                  <a:cubicBezTo>
                    <a:pt x="7685" y="11360"/>
                    <a:pt x="7779" y="11269"/>
                    <a:pt x="7779" y="11167"/>
                  </a:cubicBezTo>
                  <a:cubicBezTo>
                    <a:pt x="7765" y="11139"/>
                    <a:pt x="7639" y="11108"/>
                    <a:pt x="7580" y="11094"/>
                  </a:cubicBezTo>
                  <a:cubicBezTo>
                    <a:pt x="7464" y="11062"/>
                    <a:pt x="7377" y="11041"/>
                    <a:pt x="7349" y="10975"/>
                  </a:cubicBezTo>
                  <a:cubicBezTo>
                    <a:pt x="7328" y="10933"/>
                    <a:pt x="7342" y="10877"/>
                    <a:pt x="7391" y="10814"/>
                  </a:cubicBezTo>
                  <a:cubicBezTo>
                    <a:pt x="7476" y="10698"/>
                    <a:pt x="7712" y="10495"/>
                    <a:pt x="7853" y="10495"/>
                  </a:cubicBezTo>
                  <a:cubicBezTo>
                    <a:pt x="7857" y="10495"/>
                    <a:pt x="7860" y="10495"/>
                    <a:pt x="7863" y="10495"/>
                  </a:cubicBezTo>
                  <a:cubicBezTo>
                    <a:pt x="8010" y="10485"/>
                    <a:pt x="8133" y="10376"/>
                    <a:pt x="8154" y="10229"/>
                  </a:cubicBezTo>
                  <a:cubicBezTo>
                    <a:pt x="8165" y="10075"/>
                    <a:pt x="8273" y="9998"/>
                    <a:pt x="8375" y="9925"/>
                  </a:cubicBezTo>
                  <a:cubicBezTo>
                    <a:pt x="8434" y="9883"/>
                    <a:pt x="8487" y="9837"/>
                    <a:pt x="8536" y="9788"/>
                  </a:cubicBezTo>
                  <a:cubicBezTo>
                    <a:pt x="8585" y="9735"/>
                    <a:pt x="8623" y="9676"/>
                    <a:pt x="8651" y="9613"/>
                  </a:cubicBezTo>
                  <a:cubicBezTo>
                    <a:pt x="8690" y="9532"/>
                    <a:pt x="8728" y="9448"/>
                    <a:pt x="8858" y="9438"/>
                  </a:cubicBezTo>
                  <a:cubicBezTo>
                    <a:pt x="8931" y="9431"/>
                    <a:pt x="9015" y="9357"/>
                    <a:pt x="9099" y="9280"/>
                  </a:cubicBezTo>
                  <a:cubicBezTo>
                    <a:pt x="9162" y="9217"/>
                    <a:pt x="9232" y="9165"/>
                    <a:pt x="9306" y="9119"/>
                  </a:cubicBezTo>
                  <a:cubicBezTo>
                    <a:pt x="9332" y="9098"/>
                    <a:pt x="9364" y="9087"/>
                    <a:pt x="9397" y="9087"/>
                  </a:cubicBezTo>
                  <a:cubicBezTo>
                    <a:pt x="9409" y="9087"/>
                    <a:pt x="9420" y="9089"/>
                    <a:pt x="9432" y="9091"/>
                  </a:cubicBezTo>
                  <a:cubicBezTo>
                    <a:pt x="9463" y="9102"/>
                    <a:pt x="9488" y="9130"/>
                    <a:pt x="9498" y="9161"/>
                  </a:cubicBezTo>
                  <a:cubicBezTo>
                    <a:pt x="9512" y="9196"/>
                    <a:pt x="9530" y="9238"/>
                    <a:pt x="9666" y="9245"/>
                  </a:cubicBezTo>
                  <a:cubicBezTo>
                    <a:pt x="9806" y="9249"/>
                    <a:pt x="9908" y="9305"/>
                    <a:pt x="9939" y="9392"/>
                  </a:cubicBezTo>
                  <a:cubicBezTo>
                    <a:pt x="9964" y="9448"/>
                    <a:pt x="9950" y="9515"/>
                    <a:pt x="9904" y="9557"/>
                  </a:cubicBezTo>
                  <a:cubicBezTo>
                    <a:pt x="9871" y="9588"/>
                    <a:pt x="9827" y="9604"/>
                    <a:pt x="9776" y="9604"/>
                  </a:cubicBezTo>
                  <a:cubicBezTo>
                    <a:pt x="9737" y="9604"/>
                    <a:pt x="9694" y="9594"/>
                    <a:pt x="9649" y="9574"/>
                  </a:cubicBezTo>
                  <a:cubicBezTo>
                    <a:pt x="9561" y="9535"/>
                    <a:pt x="9495" y="9513"/>
                    <a:pt x="9435" y="9513"/>
                  </a:cubicBezTo>
                  <a:cubicBezTo>
                    <a:pt x="9348" y="9513"/>
                    <a:pt x="9271" y="9559"/>
                    <a:pt x="9152" y="9672"/>
                  </a:cubicBezTo>
                  <a:cubicBezTo>
                    <a:pt x="9054" y="9767"/>
                    <a:pt x="9050" y="9816"/>
                    <a:pt x="9043" y="9886"/>
                  </a:cubicBezTo>
                  <a:cubicBezTo>
                    <a:pt x="9040" y="9984"/>
                    <a:pt x="9005" y="10082"/>
                    <a:pt x="8942" y="10163"/>
                  </a:cubicBezTo>
                  <a:cubicBezTo>
                    <a:pt x="8812" y="10338"/>
                    <a:pt x="8823" y="10401"/>
                    <a:pt x="8830" y="10415"/>
                  </a:cubicBezTo>
                  <a:cubicBezTo>
                    <a:pt x="8844" y="10443"/>
                    <a:pt x="8900" y="10453"/>
                    <a:pt x="8931" y="10457"/>
                  </a:cubicBezTo>
                  <a:cubicBezTo>
                    <a:pt x="9050" y="10471"/>
                    <a:pt x="9082" y="10523"/>
                    <a:pt x="9085" y="10565"/>
                  </a:cubicBezTo>
                  <a:cubicBezTo>
                    <a:pt x="9096" y="10698"/>
                    <a:pt x="8847" y="10800"/>
                    <a:pt x="8749" y="10828"/>
                  </a:cubicBezTo>
                  <a:cubicBezTo>
                    <a:pt x="8739" y="10831"/>
                    <a:pt x="8728" y="10835"/>
                    <a:pt x="8718" y="10842"/>
                  </a:cubicBezTo>
                  <a:cubicBezTo>
                    <a:pt x="8784" y="10870"/>
                    <a:pt x="8856" y="10884"/>
                    <a:pt x="8925" y="10884"/>
                  </a:cubicBezTo>
                  <a:cubicBezTo>
                    <a:pt x="8933" y="10884"/>
                    <a:pt x="8941" y="10884"/>
                    <a:pt x="8949" y="10884"/>
                  </a:cubicBezTo>
                  <a:cubicBezTo>
                    <a:pt x="9103" y="10884"/>
                    <a:pt x="9320" y="10737"/>
                    <a:pt x="9547" y="10579"/>
                  </a:cubicBezTo>
                  <a:cubicBezTo>
                    <a:pt x="9691" y="10474"/>
                    <a:pt x="9845" y="10380"/>
                    <a:pt x="9999" y="10296"/>
                  </a:cubicBezTo>
                  <a:cubicBezTo>
                    <a:pt x="10144" y="10223"/>
                    <a:pt x="10275" y="10201"/>
                    <a:pt x="10390" y="10201"/>
                  </a:cubicBezTo>
                  <a:cubicBezTo>
                    <a:pt x="10502" y="10201"/>
                    <a:pt x="10598" y="10222"/>
                    <a:pt x="10675" y="10240"/>
                  </a:cubicBezTo>
                  <a:cubicBezTo>
                    <a:pt x="10710" y="10247"/>
                    <a:pt x="10741" y="10254"/>
                    <a:pt x="10776" y="10257"/>
                  </a:cubicBezTo>
                  <a:cubicBezTo>
                    <a:pt x="10769" y="10247"/>
                    <a:pt x="10766" y="10236"/>
                    <a:pt x="10762" y="10226"/>
                  </a:cubicBezTo>
                  <a:cubicBezTo>
                    <a:pt x="10738" y="10177"/>
                    <a:pt x="10706" y="10114"/>
                    <a:pt x="10731" y="10054"/>
                  </a:cubicBezTo>
                  <a:cubicBezTo>
                    <a:pt x="10738" y="10033"/>
                    <a:pt x="10748" y="10016"/>
                    <a:pt x="10766" y="10002"/>
                  </a:cubicBezTo>
                  <a:lnTo>
                    <a:pt x="10759" y="9998"/>
                  </a:lnTo>
                  <a:cubicBezTo>
                    <a:pt x="10685" y="9949"/>
                    <a:pt x="10577" y="9872"/>
                    <a:pt x="10524" y="9735"/>
                  </a:cubicBezTo>
                  <a:cubicBezTo>
                    <a:pt x="10500" y="9658"/>
                    <a:pt x="10496" y="9609"/>
                    <a:pt x="10517" y="9567"/>
                  </a:cubicBezTo>
                  <a:cubicBezTo>
                    <a:pt x="10542" y="9525"/>
                    <a:pt x="10580" y="9501"/>
                    <a:pt x="10626" y="9494"/>
                  </a:cubicBezTo>
                  <a:cubicBezTo>
                    <a:pt x="10675" y="9480"/>
                    <a:pt x="10696" y="9473"/>
                    <a:pt x="10706" y="9427"/>
                  </a:cubicBezTo>
                  <a:cubicBezTo>
                    <a:pt x="10717" y="9361"/>
                    <a:pt x="10762" y="9305"/>
                    <a:pt x="10825" y="9277"/>
                  </a:cubicBezTo>
                  <a:cubicBezTo>
                    <a:pt x="10843" y="9270"/>
                    <a:pt x="10862" y="9267"/>
                    <a:pt x="10880" y="9267"/>
                  </a:cubicBezTo>
                  <a:cubicBezTo>
                    <a:pt x="10954" y="9267"/>
                    <a:pt x="11034" y="9315"/>
                    <a:pt x="11109" y="9368"/>
                  </a:cubicBezTo>
                  <a:cubicBezTo>
                    <a:pt x="11125" y="9378"/>
                    <a:pt x="11143" y="9381"/>
                    <a:pt x="11166" y="9381"/>
                  </a:cubicBezTo>
                  <a:cubicBezTo>
                    <a:pt x="11183" y="9381"/>
                    <a:pt x="11201" y="9380"/>
                    <a:pt x="11224" y="9378"/>
                  </a:cubicBezTo>
                  <a:cubicBezTo>
                    <a:pt x="11245" y="9376"/>
                    <a:pt x="11268" y="9373"/>
                    <a:pt x="11292" y="9373"/>
                  </a:cubicBezTo>
                  <a:cubicBezTo>
                    <a:pt x="11371" y="9373"/>
                    <a:pt x="11465" y="9400"/>
                    <a:pt x="11532" y="9539"/>
                  </a:cubicBezTo>
                  <a:cubicBezTo>
                    <a:pt x="11551" y="9579"/>
                    <a:pt x="11561" y="9594"/>
                    <a:pt x="11582" y="9594"/>
                  </a:cubicBezTo>
                  <a:cubicBezTo>
                    <a:pt x="11595" y="9594"/>
                    <a:pt x="11613" y="9588"/>
                    <a:pt x="11641" y="9578"/>
                  </a:cubicBezTo>
                  <a:cubicBezTo>
                    <a:pt x="11675" y="9566"/>
                    <a:pt x="11719" y="9549"/>
                    <a:pt x="11771" y="9549"/>
                  </a:cubicBezTo>
                  <a:cubicBezTo>
                    <a:pt x="11821" y="9549"/>
                    <a:pt x="11878" y="9565"/>
                    <a:pt x="11938" y="9613"/>
                  </a:cubicBezTo>
                  <a:cubicBezTo>
                    <a:pt x="11994" y="9658"/>
                    <a:pt x="12050" y="9714"/>
                    <a:pt x="12033" y="9781"/>
                  </a:cubicBezTo>
                  <a:cubicBezTo>
                    <a:pt x="12029" y="9798"/>
                    <a:pt x="12022" y="9812"/>
                    <a:pt x="12008" y="9823"/>
                  </a:cubicBezTo>
                  <a:cubicBezTo>
                    <a:pt x="12078" y="9827"/>
                    <a:pt x="12145" y="9858"/>
                    <a:pt x="12197" y="9907"/>
                  </a:cubicBezTo>
                  <a:cubicBezTo>
                    <a:pt x="12240" y="9946"/>
                    <a:pt x="12266" y="9966"/>
                    <a:pt x="12293" y="9966"/>
                  </a:cubicBezTo>
                  <a:cubicBezTo>
                    <a:pt x="12328" y="9966"/>
                    <a:pt x="12362" y="9931"/>
                    <a:pt x="12432" y="9862"/>
                  </a:cubicBezTo>
                  <a:cubicBezTo>
                    <a:pt x="12452" y="9841"/>
                    <a:pt x="12499" y="9795"/>
                    <a:pt x="12555" y="9795"/>
                  </a:cubicBezTo>
                  <a:cubicBezTo>
                    <a:pt x="12568" y="9795"/>
                    <a:pt x="12580" y="9797"/>
                    <a:pt x="12593" y="9802"/>
                  </a:cubicBezTo>
                  <a:cubicBezTo>
                    <a:pt x="12663" y="9830"/>
                    <a:pt x="12667" y="9928"/>
                    <a:pt x="12667" y="10012"/>
                  </a:cubicBezTo>
                  <a:cubicBezTo>
                    <a:pt x="12702" y="10058"/>
                    <a:pt x="12961" y="10100"/>
                    <a:pt x="13167" y="10135"/>
                  </a:cubicBezTo>
                  <a:lnTo>
                    <a:pt x="13230" y="10145"/>
                  </a:lnTo>
                  <a:cubicBezTo>
                    <a:pt x="13320" y="10160"/>
                    <a:pt x="13429" y="10166"/>
                    <a:pt x="13544" y="10166"/>
                  </a:cubicBezTo>
                  <a:cubicBezTo>
                    <a:pt x="13801" y="10166"/>
                    <a:pt x="14088" y="10137"/>
                    <a:pt x="14266" y="10121"/>
                  </a:cubicBezTo>
                  <a:cubicBezTo>
                    <a:pt x="14326" y="10117"/>
                    <a:pt x="14372" y="10114"/>
                    <a:pt x="14403" y="10110"/>
                  </a:cubicBezTo>
                  <a:cubicBezTo>
                    <a:pt x="14408" y="10110"/>
                    <a:pt x="14413" y="10110"/>
                    <a:pt x="14418" y="10110"/>
                  </a:cubicBezTo>
                  <a:cubicBezTo>
                    <a:pt x="14516" y="10110"/>
                    <a:pt x="14563" y="10176"/>
                    <a:pt x="14606" y="10236"/>
                  </a:cubicBezTo>
                  <a:cubicBezTo>
                    <a:pt x="14669" y="10348"/>
                    <a:pt x="14778" y="10422"/>
                    <a:pt x="14904" y="10439"/>
                  </a:cubicBezTo>
                  <a:cubicBezTo>
                    <a:pt x="14928" y="10444"/>
                    <a:pt x="14950" y="10446"/>
                    <a:pt x="14972" y="10446"/>
                  </a:cubicBezTo>
                  <a:cubicBezTo>
                    <a:pt x="15100" y="10446"/>
                    <a:pt x="15183" y="10371"/>
                    <a:pt x="15264" y="10299"/>
                  </a:cubicBezTo>
                  <a:cubicBezTo>
                    <a:pt x="15330" y="10243"/>
                    <a:pt x="15399" y="10183"/>
                    <a:pt x="15478" y="10183"/>
                  </a:cubicBezTo>
                  <a:cubicBezTo>
                    <a:pt x="15516" y="10183"/>
                    <a:pt x="15557" y="10197"/>
                    <a:pt x="15600" y="10233"/>
                  </a:cubicBezTo>
                  <a:cubicBezTo>
                    <a:pt x="15646" y="10271"/>
                    <a:pt x="15709" y="10331"/>
                    <a:pt x="15709" y="10408"/>
                  </a:cubicBezTo>
                  <a:cubicBezTo>
                    <a:pt x="15709" y="10485"/>
                    <a:pt x="15642" y="10544"/>
                    <a:pt x="15576" y="10597"/>
                  </a:cubicBezTo>
                  <a:cubicBezTo>
                    <a:pt x="15548" y="10618"/>
                    <a:pt x="15523" y="10642"/>
                    <a:pt x="15499" y="10667"/>
                  </a:cubicBezTo>
                  <a:lnTo>
                    <a:pt x="15492" y="10674"/>
                  </a:lnTo>
                  <a:cubicBezTo>
                    <a:pt x="15530" y="10691"/>
                    <a:pt x="15569" y="10705"/>
                    <a:pt x="15611" y="10716"/>
                  </a:cubicBezTo>
                  <a:cubicBezTo>
                    <a:pt x="15653" y="10726"/>
                    <a:pt x="15698" y="10740"/>
                    <a:pt x="15740" y="10758"/>
                  </a:cubicBezTo>
                  <a:cubicBezTo>
                    <a:pt x="15772" y="10772"/>
                    <a:pt x="15810" y="10786"/>
                    <a:pt x="15856" y="10803"/>
                  </a:cubicBezTo>
                  <a:cubicBezTo>
                    <a:pt x="16031" y="10866"/>
                    <a:pt x="16269" y="10954"/>
                    <a:pt x="16405" y="11087"/>
                  </a:cubicBezTo>
                  <a:cubicBezTo>
                    <a:pt x="16441" y="11122"/>
                    <a:pt x="16472" y="11157"/>
                    <a:pt x="16500" y="11192"/>
                  </a:cubicBezTo>
                  <a:cubicBezTo>
                    <a:pt x="16647" y="11363"/>
                    <a:pt x="16826" y="11503"/>
                    <a:pt x="17032" y="11598"/>
                  </a:cubicBezTo>
                  <a:cubicBezTo>
                    <a:pt x="17080" y="11623"/>
                    <a:pt x="17104" y="11627"/>
                    <a:pt x="17114" y="11627"/>
                  </a:cubicBezTo>
                  <a:cubicBezTo>
                    <a:pt x="17118" y="11627"/>
                    <a:pt x="17120" y="11626"/>
                    <a:pt x="17120" y="11626"/>
                  </a:cubicBezTo>
                  <a:cubicBezTo>
                    <a:pt x="17130" y="11584"/>
                    <a:pt x="17130" y="11538"/>
                    <a:pt x="17123" y="11493"/>
                  </a:cubicBezTo>
                  <a:cubicBezTo>
                    <a:pt x="17116" y="11405"/>
                    <a:pt x="17113" y="11328"/>
                    <a:pt x="17176" y="11290"/>
                  </a:cubicBezTo>
                  <a:cubicBezTo>
                    <a:pt x="17193" y="11281"/>
                    <a:pt x="17210" y="11277"/>
                    <a:pt x="17227" y="11277"/>
                  </a:cubicBezTo>
                  <a:cubicBezTo>
                    <a:pt x="17273" y="11277"/>
                    <a:pt x="17316" y="11307"/>
                    <a:pt x="17354" y="11335"/>
                  </a:cubicBezTo>
                  <a:cubicBezTo>
                    <a:pt x="17491" y="11433"/>
                    <a:pt x="17529" y="11437"/>
                    <a:pt x="17561" y="11437"/>
                  </a:cubicBezTo>
                  <a:cubicBezTo>
                    <a:pt x="17624" y="11444"/>
                    <a:pt x="17669" y="11454"/>
                    <a:pt x="17799" y="11570"/>
                  </a:cubicBezTo>
                  <a:cubicBezTo>
                    <a:pt x="17813" y="11584"/>
                    <a:pt x="17827" y="11594"/>
                    <a:pt x="17844" y="11608"/>
                  </a:cubicBezTo>
                  <a:cubicBezTo>
                    <a:pt x="17841" y="11510"/>
                    <a:pt x="17771" y="11283"/>
                    <a:pt x="17739" y="11178"/>
                  </a:cubicBezTo>
                  <a:cubicBezTo>
                    <a:pt x="17708" y="11069"/>
                    <a:pt x="17680" y="10947"/>
                    <a:pt x="17760" y="10912"/>
                  </a:cubicBezTo>
                  <a:cubicBezTo>
                    <a:pt x="17771" y="10906"/>
                    <a:pt x="17783" y="10904"/>
                    <a:pt x="17795" y="10904"/>
                  </a:cubicBezTo>
                  <a:cubicBezTo>
                    <a:pt x="17885" y="10904"/>
                    <a:pt x="17995" y="11044"/>
                    <a:pt x="18075" y="11171"/>
                  </a:cubicBezTo>
                  <a:cubicBezTo>
                    <a:pt x="18198" y="11363"/>
                    <a:pt x="18194" y="11713"/>
                    <a:pt x="18121" y="11941"/>
                  </a:cubicBezTo>
                  <a:cubicBezTo>
                    <a:pt x="18086" y="12037"/>
                    <a:pt x="18006" y="12089"/>
                    <a:pt x="17905" y="12089"/>
                  </a:cubicBezTo>
                  <a:cubicBezTo>
                    <a:pt x="17874" y="12089"/>
                    <a:pt x="17840" y="12084"/>
                    <a:pt x="17806" y="12074"/>
                  </a:cubicBezTo>
                  <a:cubicBezTo>
                    <a:pt x="17683" y="12036"/>
                    <a:pt x="17575" y="11941"/>
                    <a:pt x="17589" y="11839"/>
                  </a:cubicBezTo>
                  <a:cubicBezTo>
                    <a:pt x="17577" y="11838"/>
                    <a:pt x="17565" y="11837"/>
                    <a:pt x="17553" y="11837"/>
                  </a:cubicBezTo>
                  <a:cubicBezTo>
                    <a:pt x="17506" y="11837"/>
                    <a:pt x="17459" y="11849"/>
                    <a:pt x="17414" y="11871"/>
                  </a:cubicBezTo>
                  <a:cubicBezTo>
                    <a:pt x="17396" y="11881"/>
                    <a:pt x="17351" y="11906"/>
                    <a:pt x="17347" y="11941"/>
                  </a:cubicBezTo>
                  <a:cubicBezTo>
                    <a:pt x="17340" y="12071"/>
                    <a:pt x="17578" y="12375"/>
                    <a:pt x="17743" y="12403"/>
                  </a:cubicBezTo>
                  <a:cubicBezTo>
                    <a:pt x="17907" y="12435"/>
                    <a:pt x="17907" y="12592"/>
                    <a:pt x="17907" y="12687"/>
                  </a:cubicBezTo>
                  <a:cubicBezTo>
                    <a:pt x="17907" y="12718"/>
                    <a:pt x="17911" y="12753"/>
                    <a:pt x="17918" y="12785"/>
                  </a:cubicBezTo>
                  <a:cubicBezTo>
                    <a:pt x="18037" y="12820"/>
                    <a:pt x="18086" y="12942"/>
                    <a:pt x="18117" y="13030"/>
                  </a:cubicBezTo>
                  <a:cubicBezTo>
                    <a:pt x="18124" y="13044"/>
                    <a:pt x="18131" y="13061"/>
                    <a:pt x="18138" y="13075"/>
                  </a:cubicBezTo>
                  <a:cubicBezTo>
                    <a:pt x="18159" y="12988"/>
                    <a:pt x="18138" y="12739"/>
                    <a:pt x="18051" y="12603"/>
                  </a:cubicBezTo>
                  <a:cubicBezTo>
                    <a:pt x="17963" y="12463"/>
                    <a:pt x="17956" y="12288"/>
                    <a:pt x="18030" y="12190"/>
                  </a:cubicBezTo>
                  <a:cubicBezTo>
                    <a:pt x="18060" y="12152"/>
                    <a:pt x="18106" y="12129"/>
                    <a:pt x="18154" y="12129"/>
                  </a:cubicBezTo>
                  <a:cubicBezTo>
                    <a:pt x="18173" y="12129"/>
                    <a:pt x="18193" y="12133"/>
                    <a:pt x="18212" y="12141"/>
                  </a:cubicBezTo>
                  <a:cubicBezTo>
                    <a:pt x="18345" y="12183"/>
                    <a:pt x="18327" y="12330"/>
                    <a:pt x="18313" y="12424"/>
                  </a:cubicBezTo>
                  <a:cubicBezTo>
                    <a:pt x="18306" y="12463"/>
                    <a:pt x="18306" y="12505"/>
                    <a:pt x="18310" y="12543"/>
                  </a:cubicBezTo>
                  <a:cubicBezTo>
                    <a:pt x="18338" y="12526"/>
                    <a:pt x="18362" y="12505"/>
                    <a:pt x="18383" y="12484"/>
                  </a:cubicBezTo>
                  <a:cubicBezTo>
                    <a:pt x="18436" y="12431"/>
                    <a:pt x="18495" y="12389"/>
                    <a:pt x="18559" y="12351"/>
                  </a:cubicBezTo>
                  <a:cubicBezTo>
                    <a:pt x="18601" y="12326"/>
                    <a:pt x="18594" y="12274"/>
                    <a:pt x="18548" y="12141"/>
                  </a:cubicBezTo>
                  <a:cubicBezTo>
                    <a:pt x="18517" y="12046"/>
                    <a:pt x="18481" y="11945"/>
                    <a:pt x="18517" y="11860"/>
                  </a:cubicBezTo>
                  <a:cubicBezTo>
                    <a:pt x="18533" y="11814"/>
                    <a:pt x="18575" y="11780"/>
                    <a:pt x="18625" y="11780"/>
                  </a:cubicBezTo>
                  <a:cubicBezTo>
                    <a:pt x="18627" y="11780"/>
                    <a:pt x="18630" y="11780"/>
                    <a:pt x="18632" y="11780"/>
                  </a:cubicBezTo>
                  <a:cubicBezTo>
                    <a:pt x="18772" y="11787"/>
                    <a:pt x="18916" y="12060"/>
                    <a:pt x="18968" y="12246"/>
                  </a:cubicBezTo>
                  <a:cubicBezTo>
                    <a:pt x="19024" y="12442"/>
                    <a:pt x="18916" y="12522"/>
                    <a:pt x="18846" y="12575"/>
                  </a:cubicBezTo>
                  <a:cubicBezTo>
                    <a:pt x="18807" y="12606"/>
                    <a:pt x="18790" y="12620"/>
                    <a:pt x="18790" y="12638"/>
                  </a:cubicBezTo>
                  <a:cubicBezTo>
                    <a:pt x="18790" y="12774"/>
                    <a:pt x="18653" y="12795"/>
                    <a:pt x="18569" y="12806"/>
                  </a:cubicBezTo>
                  <a:cubicBezTo>
                    <a:pt x="18534" y="12806"/>
                    <a:pt x="18499" y="12816"/>
                    <a:pt x="18467" y="12830"/>
                  </a:cubicBezTo>
                  <a:cubicBezTo>
                    <a:pt x="18429" y="12883"/>
                    <a:pt x="18450" y="13177"/>
                    <a:pt x="18488" y="13268"/>
                  </a:cubicBezTo>
                  <a:cubicBezTo>
                    <a:pt x="18506" y="13240"/>
                    <a:pt x="18520" y="13212"/>
                    <a:pt x="18534" y="13180"/>
                  </a:cubicBezTo>
                  <a:cubicBezTo>
                    <a:pt x="18568" y="13102"/>
                    <a:pt x="18596" y="13037"/>
                    <a:pt x="18662" y="13037"/>
                  </a:cubicBezTo>
                  <a:cubicBezTo>
                    <a:pt x="18664" y="13037"/>
                    <a:pt x="18665" y="13037"/>
                    <a:pt x="18667" y="13037"/>
                  </a:cubicBezTo>
                  <a:cubicBezTo>
                    <a:pt x="18737" y="13040"/>
                    <a:pt x="18751" y="13110"/>
                    <a:pt x="18762" y="13138"/>
                  </a:cubicBezTo>
                  <a:cubicBezTo>
                    <a:pt x="18786" y="13121"/>
                    <a:pt x="18811" y="13100"/>
                    <a:pt x="18832" y="13079"/>
                  </a:cubicBezTo>
                  <a:cubicBezTo>
                    <a:pt x="18890" y="13024"/>
                    <a:pt x="18945" y="12974"/>
                    <a:pt x="19005" y="12974"/>
                  </a:cubicBezTo>
                  <a:cubicBezTo>
                    <a:pt x="19014" y="12974"/>
                    <a:pt x="19022" y="12975"/>
                    <a:pt x="19031" y="12977"/>
                  </a:cubicBezTo>
                  <a:cubicBezTo>
                    <a:pt x="19070" y="12988"/>
                    <a:pt x="19101" y="13019"/>
                    <a:pt x="19112" y="13061"/>
                  </a:cubicBezTo>
                  <a:lnTo>
                    <a:pt x="19112" y="13047"/>
                  </a:lnTo>
                  <a:cubicBezTo>
                    <a:pt x="19112" y="12942"/>
                    <a:pt x="19178" y="12827"/>
                    <a:pt x="19301" y="12816"/>
                  </a:cubicBezTo>
                  <a:cubicBezTo>
                    <a:pt x="19306" y="12816"/>
                    <a:pt x="19311" y="12815"/>
                    <a:pt x="19316" y="12815"/>
                  </a:cubicBezTo>
                  <a:cubicBezTo>
                    <a:pt x="19382" y="12815"/>
                    <a:pt x="19454" y="12857"/>
                    <a:pt x="19535" y="12939"/>
                  </a:cubicBezTo>
                  <a:cubicBezTo>
                    <a:pt x="19665" y="13072"/>
                    <a:pt x="19805" y="13306"/>
                    <a:pt x="19798" y="13432"/>
                  </a:cubicBezTo>
                  <a:cubicBezTo>
                    <a:pt x="19787" y="13558"/>
                    <a:pt x="19714" y="13597"/>
                    <a:pt x="19640" y="13642"/>
                  </a:cubicBezTo>
                  <a:cubicBezTo>
                    <a:pt x="19591" y="13670"/>
                    <a:pt x="19542" y="13709"/>
                    <a:pt x="19500" y="13751"/>
                  </a:cubicBezTo>
                  <a:cubicBezTo>
                    <a:pt x="19472" y="13782"/>
                    <a:pt x="19434" y="13803"/>
                    <a:pt x="19392" y="13807"/>
                  </a:cubicBezTo>
                  <a:lnTo>
                    <a:pt x="19385" y="13807"/>
                  </a:lnTo>
                  <a:cubicBezTo>
                    <a:pt x="19297" y="13807"/>
                    <a:pt x="19227" y="13733"/>
                    <a:pt x="19150" y="13660"/>
                  </a:cubicBezTo>
                  <a:cubicBezTo>
                    <a:pt x="19099" y="13609"/>
                    <a:pt x="19028" y="13541"/>
                    <a:pt x="18988" y="13541"/>
                  </a:cubicBezTo>
                  <a:cubicBezTo>
                    <a:pt x="18987" y="13541"/>
                    <a:pt x="18987" y="13541"/>
                    <a:pt x="18986" y="13541"/>
                  </a:cubicBezTo>
                  <a:lnTo>
                    <a:pt x="18979" y="13541"/>
                  </a:lnTo>
                  <a:cubicBezTo>
                    <a:pt x="18972" y="13579"/>
                    <a:pt x="19031" y="13702"/>
                    <a:pt x="19063" y="13765"/>
                  </a:cubicBezTo>
                  <a:cubicBezTo>
                    <a:pt x="19080" y="13803"/>
                    <a:pt x="19098" y="13838"/>
                    <a:pt x="19112" y="13873"/>
                  </a:cubicBezTo>
                  <a:cubicBezTo>
                    <a:pt x="19154" y="13968"/>
                    <a:pt x="19119" y="14070"/>
                    <a:pt x="19087" y="14157"/>
                  </a:cubicBezTo>
                  <a:cubicBezTo>
                    <a:pt x="19042" y="14283"/>
                    <a:pt x="19031" y="14332"/>
                    <a:pt x="19101" y="14378"/>
                  </a:cubicBezTo>
                  <a:cubicBezTo>
                    <a:pt x="19119" y="14392"/>
                    <a:pt x="19136" y="14402"/>
                    <a:pt x="19157" y="14409"/>
                  </a:cubicBezTo>
                  <a:cubicBezTo>
                    <a:pt x="19161" y="14385"/>
                    <a:pt x="19164" y="14364"/>
                    <a:pt x="19168" y="14339"/>
                  </a:cubicBezTo>
                  <a:cubicBezTo>
                    <a:pt x="19168" y="14301"/>
                    <a:pt x="19175" y="14266"/>
                    <a:pt x="19185" y="14227"/>
                  </a:cubicBezTo>
                  <a:cubicBezTo>
                    <a:pt x="19199" y="14192"/>
                    <a:pt x="19227" y="14164"/>
                    <a:pt x="19262" y="14154"/>
                  </a:cubicBezTo>
                  <a:cubicBezTo>
                    <a:pt x="19273" y="14151"/>
                    <a:pt x="19284" y="14150"/>
                    <a:pt x="19296" y="14150"/>
                  </a:cubicBezTo>
                  <a:cubicBezTo>
                    <a:pt x="19375" y="14150"/>
                    <a:pt x="19467" y="14211"/>
                    <a:pt x="19574" y="14297"/>
                  </a:cubicBezTo>
                  <a:cubicBezTo>
                    <a:pt x="19598" y="14220"/>
                    <a:pt x="19609" y="14140"/>
                    <a:pt x="19605" y="14059"/>
                  </a:cubicBezTo>
                  <a:cubicBezTo>
                    <a:pt x="19602" y="14003"/>
                    <a:pt x="19637" y="13957"/>
                    <a:pt x="19686" y="13943"/>
                  </a:cubicBezTo>
                  <a:cubicBezTo>
                    <a:pt x="19698" y="13939"/>
                    <a:pt x="19712" y="13938"/>
                    <a:pt x="19726" y="13938"/>
                  </a:cubicBezTo>
                  <a:cubicBezTo>
                    <a:pt x="19812" y="13938"/>
                    <a:pt x="19925" y="14006"/>
                    <a:pt x="19997" y="14108"/>
                  </a:cubicBezTo>
                  <a:lnTo>
                    <a:pt x="20008" y="14094"/>
                  </a:lnTo>
                  <a:cubicBezTo>
                    <a:pt x="20040" y="14040"/>
                    <a:pt x="20091" y="13955"/>
                    <a:pt x="20184" y="13955"/>
                  </a:cubicBezTo>
                  <a:cubicBezTo>
                    <a:pt x="20194" y="13955"/>
                    <a:pt x="20204" y="13956"/>
                    <a:pt x="20214" y="13957"/>
                  </a:cubicBezTo>
                  <a:cubicBezTo>
                    <a:pt x="20291" y="13968"/>
                    <a:pt x="20344" y="14031"/>
                    <a:pt x="20347" y="14108"/>
                  </a:cubicBezTo>
                  <a:cubicBezTo>
                    <a:pt x="20351" y="14168"/>
                    <a:pt x="20344" y="14231"/>
                    <a:pt x="20330" y="14294"/>
                  </a:cubicBezTo>
                  <a:cubicBezTo>
                    <a:pt x="20326" y="14322"/>
                    <a:pt x="20323" y="14350"/>
                    <a:pt x="20319" y="14374"/>
                  </a:cubicBezTo>
                  <a:lnTo>
                    <a:pt x="20351" y="14364"/>
                  </a:lnTo>
                  <a:cubicBezTo>
                    <a:pt x="20387" y="14348"/>
                    <a:pt x="20424" y="14332"/>
                    <a:pt x="20459" y="14332"/>
                  </a:cubicBezTo>
                  <a:cubicBezTo>
                    <a:pt x="20479" y="14332"/>
                    <a:pt x="20498" y="14337"/>
                    <a:pt x="20515" y="14350"/>
                  </a:cubicBezTo>
                  <a:cubicBezTo>
                    <a:pt x="20526" y="14360"/>
                    <a:pt x="20533" y="14371"/>
                    <a:pt x="20540" y="14385"/>
                  </a:cubicBezTo>
                  <a:lnTo>
                    <a:pt x="20603" y="14339"/>
                  </a:lnTo>
                  <a:lnTo>
                    <a:pt x="20621" y="14329"/>
                  </a:lnTo>
                  <a:lnTo>
                    <a:pt x="20677" y="14290"/>
                  </a:lnTo>
                  <a:lnTo>
                    <a:pt x="20694" y="14276"/>
                  </a:lnTo>
                  <a:lnTo>
                    <a:pt x="20743" y="14241"/>
                  </a:lnTo>
                  <a:lnTo>
                    <a:pt x="20761" y="14231"/>
                  </a:lnTo>
                  <a:lnTo>
                    <a:pt x="20817" y="14192"/>
                  </a:lnTo>
                  <a:cubicBezTo>
                    <a:pt x="20848" y="14171"/>
                    <a:pt x="20869" y="14147"/>
                    <a:pt x="20869" y="14136"/>
                  </a:cubicBezTo>
                  <a:cubicBezTo>
                    <a:pt x="20873" y="14112"/>
                    <a:pt x="20827" y="14066"/>
                    <a:pt x="20792" y="14028"/>
                  </a:cubicBezTo>
                  <a:lnTo>
                    <a:pt x="20782" y="14014"/>
                  </a:lnTo>
                  <a:cubicBezTo>
                    <a:pt x="20750" y="13982"/>
                    <a:pt x="20726" y="13950"/>
                    <a:pt x="20701" y="13915"/>
                  </a:cubicBezTo>
                  <a:cubicBezTo>
                    <a:pt x="20663" y="13859"/>
                    <a:pt x="20656" y="13786"/>
                    <a:pt x="20680" y="13723"/>
                  </a:cubicBezTo>
                  <a:cubicBezTo>
                    <a:pt x="20726" y="13604"/>
                    <a:pt x="20761" y="13516"/>
                    <a:pt x="20557" y="13394"/>
                  </a:cubicBezTo>
                  <a:cubicBezTo>
                    <a:pt x="20540" y="13380"/>
                    <a:pt x="20522" y="13369"/>
                    <a:pt x="20498" y="13359"/>
                  </a:cubicBezTo>
                  <a:cubicBezTo>
                    <a:pt x="20403" y="13310"/>
                    <a:pt x="20302" y="13264"/>
                    <a:pt x="20200" y="13226"/>
                  </a:cubicBezTo>
                  <a:cubicBezTo>
                    <a:pt x="19703" y="13030"/>
                    <a:pt x="19626" y="12876"/>
                    <a:pt x="19423" y="12473"/>
                  </a:cubicBezTo>
                  <a:cubicBezTo>
                    <a:pt x="19364" y="12358"/>
                    <a:pt x="19290" y="12218"/>
                    <a:pt x="19196" y="12046"/>
                  </a:cubicBezTo>
                  <a:cubicBezTo>
                    <a:pt x="18975" y="11654"/>
                    <a:pt x="18657" y="11384"/>
                    <a:pt x="18404" y="11167"/>
                  </a:cubicBezTo>
                  <a:cubicBezTo>
                    <a:pt x="18173" y="10971"/>
                    <a:pt x="18009" y="10828"/>
                    <a:pt x="18009" y="10674"/>
                  </a:cubicBezTo>
                  <a:cubicBezTo>
                    <a:pt x="18009" y="10653"/>
                    <a:pt x="17998" y="10632"/>
                    <a:pt x="17984" y="10618"/>
                  </a:cubicBezTo>
                  <a:lnTo>
                    <a:pt x="17981" y="10614"/>
                  </a:lnTo>
                  <a:lnTo>
                    <a:pt x="17974" y="10607"/>
                  </a:lnTo>
                  <a:cubicBezTo>
                    <a:pt x="17967" y="10604"/>
                    <a:pt x="17963" y="10600"/>
                    <a:pt x="17960" y="10597"/>
                  </a:cubicBezTo>
                  <a:cubicBezTo>
                    <a:pt x="17949" y="10593"/>
                    <a:pt x="17942" y="10586"/>
                    <a:pt x="17932" y="10583"/>
                  </a:cubicBezTo>
                  <a:cubicBezTo>
                    <a:pt x="17918" y="10576"/>
                    <a:pt x="17904" y="10572"/>
                    <a:pt x="17890" y="10565"/>
                  </a:cubicBezTo>
                  <a:lnTo>
                    <a:pt x="17886" y="10565"/>
                  </a:lnTo>
                  <a:cubicBezTo>
                    <a:pt x="17869" y="10562"/>
                    <a:pt x="17855" y="10558"/>
                    <a:pt x="17837" y="10555"/>
                  </a:cubicBezTo>
                  <a:lnTo>
                    <a:pt x="17827" y="10555"/>
                  </a:lnTo>
                  <a:cubicBezTo>
                    <a:pt x="17809" y="10551"/>
                    <a:pt x="17795" y="10551"/>
                    <a:pt x="17778" y="10548"/>
                  </a:cubicBezTo>
                  <a:lnTo>
                    <a:pt x="17708" y="10548"/>
                  </a:lnTo>
                  <a:cubicBezTo>
                    <a:pt x="17522" y="10548"/>
                    <a:pt x="17400" y="10607"/>
                    <a:pt x="17400" y="10646"/>
                  </a:cubicBezTo>
                  <a:cubicBezTo>
                    <a:pt x="17400" y="10838"/>
                    <a:pt x="17207" y="10929"/>
                    <a:pt x="17036" y="11006"/>
                  </a:cubicBezTo>
                  <a:cubicBezTo>
                    <a:pt x="16976" y="11031"/>
                    <a:pt x="16924" y="11059"/>
                    <a:pt x="16868" y="11090"/>
                  </a:cubicBezTo>
                  <a:cubicBezTo>
                    <a:pt x="16818" y="11123"/>
                    <a:pt x="16773" y="11136"/>
                    <a:pt x="16731" y="11136"/>
                  </a:cubicBezTo>
                  <a:cubicBezTo>
                    <a:pt x="16607" y="11136"/>
                    <a:pt x="16517" y="11012"/>
                    <a:pt x="16430" y="10894"/>
                  </a:cubicBezTo>
                  <a:cubicBezTo>
                    <a:pt x="16409" y="10863"/>
                    <a:pt x="16388" y="10831"/>
                    <a:pt x="16360" y="10800"/>
                  </a:cubicBezTo>
                  <a:cubicBezTo>
                    <a:pt x="16342" y="10775"/>
                    <a:pt x="16325" y="10754"/>
                    <a:pt x="16304" y="10733"/>
                  </a:cubicBezTo>
                  <a:cubicBezTo>
                    <a:pt x="16234" y="10667"/>
                    <a:pt x="16160" y="10600"/>
                    <a:pt x="16080" y="10541"/>
                  </a:cubicBezTo>
                  <a:cubicBezTo>
                    <a:pt x="15996" y="10478"/>
                    <a:pt x="15915" y="10404"/>
                    <a:pt x="15845" y="10327"/>
                  </a:cubicBezTo>
                  <a:cubicBezTo>
                    <a:pt x="15828" y="10303"/>
                    <a:pt x="15810" y="10278"/>
                    <a:pt x="15803" y="10247"/>
                  </a:cubicBezTo>
                  <a:cubicBezTo>
                    <a:pt x="15800" y="10236"/>
                    <a:pt x="15796" y="10222"/>
                    <a:pt x="15796" y="10208"/>
                  </a:cubicBezTo>
                  <a:cubicBezTo>
                    <a:pt x="15796" y="10145"/>
                    <a:pt x="15765" y="10030"/>
                    <a:pt x="15695" y="9988"/>
                  </a:cubicBezTo>
                  <a:cubicBezTo>
                    <a:pt x="15674" y="9973"/>
                    <a:pt x="15650" y="9966"/>
                    <a:pt x="15623" y="9966"/>
                  </a:cubicBezTo>
                  <a:cubicBezTo>
                    <a:pt x="15592" y="9966"/>
                    <a:pt x="15558" y="9976"/>
                    <a:pt x="15520" y="9995"/>
                  </a:cubicBezTo>
                  <a:cubicBezTo>
                    <a:pt x="15420" y="10041"/>
                    <a:pt x="15314" y="10064"/>
                    <a:pt x="15206" y="10064"/>
                  </a:cubicBezTo>
                  <a:cubicBezTo>
                    <a:pt x="15184" y="10064"/>
                    <a:pt x="15163" y="10063"/>
                    <a:pt x="15142" y="10061"/>
                  </a:cubicBezTo>
                  <a:cubicBezTo>
                    <a:pt x="15120" y="10059"/>
                    <a:pt x="15103" y="10058"/>
                    <a:pt x="15089" y="10058"/>
                  </a:cubicBezTo>
                  <a:cubicBezTo>
                    <a:pt x="15061" y="10058"/>
                    <a:pt x="15050" y="10063"/>
                    <a:pt x="15040" y="10075"/>
                  </a:cubicBezTo>
                  <a:cubicBezTo>
                    <a:pt x="15006" y="10115"/>
                    <a:pt x="14963" y="10130"/>
                    <a:pt x="14917" y="10130"/>
                  </a:cubicBezTo>
                  <a:cubicBezTo>
                    <a:pt x="14804" y="10130"/>
                    <a:pt x="14679" y="10039"/>
                    <a:pt x="14659" y="10026"/>
                  </a:cubicBezTo>
                  <a:lnTo>
                    <a:pt x="14634" y="10005"/>
                  </a:lnTo>
                  <a:lnTo>
                    <a:pt x="14634" y="1645"/>
                  </a:lnTo>
                  <a:cubicBezTo>
                    <a:pt x="14561" y="1638"/>
                    <a:pt x="14494" y="1621"/>
                    <a:pt x="14424" y="1600"/>
                  </a:cubicBezTo>
                  <a:cubicBezTo>
                    <a:pt x="14361" y="1565"/>
                    <a:pt x="14298" y="1540"/>
                    <a:pt x="14231" y="1512"/>
                  </a:cubicBezTo>
                  <a:cubicBezTo>
                    <a:pt x="13951" y="1401"/>
                    <a:pt x="13614" y="1266"/>
                    <a:pt x="13392" y="1266"/>
                  </a:cubicBezTo>
                  <a:cubicBezTo>
                    <a:pt x="13361" y="1266"/>
                    <a:pt x="13333" y="1268"/>
                    <a:pt x="13307" y="1274"/>
                  </a:cubicBezTo>
                  <a:cubicBezTo>
                    <a:pt x="13162" y="1306"/>
                    <a:pt x="12843" y="1360"/>
                    <a:pt x="12576" y="1360"/>
                  </a:cubicBezTo>
                  <a:cubicBezTo>
                    <a:pt x="12437" y="1360"/>
                    <a:pt x="12312" y="1345"/>
                    <a:pt x="12232" y="1305"/>
                  </a:cubicBezTo>
                  <a:cubicBezTo>
                    <a:pt x="12109" y="1245"/>
                    <a:pt x="11923" y="1172"/>
                    <a:pt x="11652" y="1172"/>
                  </a:cubicBezTo>
                  <a:cubicBezTo>
                    <a:pt x="11578" y="1172"/>
                    <a:pt x="11497" y="1177"/>
                    <a:pt x="11410" y="1190"/>
                  </a:cubicBezTo>
                  <a:cubicBezTo>
                    <a:pt x="11367" y="1196"/>
                    <a:pt x="11326" y="1199"/>
                    <a:pt x="11287" y="1199"/>
                  </a:cubicBezTo>
                  <a:cubicBezTo>
                    <a:pt x="11085" y="1199"/>
                    <a:pt x="10917" y="1124"/>
                    <a:pt x="10727" y="1036"/>
                  </a:cubicBezTo>
                  <a:cubicBezTo>
                    <a:pt x="10563" y="959"/>
                    <a:pt x="10395" y="896"/>
                    <a:pt x="10220" y="850"/>
                  </a:cubicBezTo>
                  <a:cubicBezTo>
                    <a:pt x="10089" y="819"/>
                    <a:pt x="9945" y="807"/>
                    <a:pt x="9800" y="807"/>
                  </a:cubicBezTo>
                  <a:cubicBezTo>
                    <a:pt x="9391" y="807"/>
                    <a:pt x="8978" y="904"/>
                    <a:pt x="8865" y="945"/>
                  </a:cubicBezTo>
                  <a:cubicBezTo>
                    <a:pt x="8838" y="954"/>
                    <a:pt x="8814" y="957"/>
                    <a:pt x="8793" y="957"/>
                  </a:cubicBezTo>
                  <a:cubicBezTo>
                    <a:pt x="8711" y="957"/>
                    <a:pt x="8667" y="902"/>
                    <a:pt x="8634" y="861"/>
                  </a:cubicBezTo>
                  <a:cubicBezTo>
                    <a:pt x="8600" y="818"/>
                    <a:pt x="8580" y="789"/>
                    <a:pt x="8524" y="789"/>
                  </a:cubicBezTo>
                  <a:cubicBezTo>
                    <a:pt x="8516" y="789"/>
                    <a:pt x="8507" y="789"/>
                    <a:pt x="8497" y="791"/>
                  </a:cubicBezTo>
                  <a:cubicBezTo>
                    <a:pt x="8479" y="793"/>
                    <a:pt x="8460" y="794"/>
                    <a:pt x="8443" y="794"/>
                  </a:cubicBezTo>
                  <a:cubicBezTo>
                    <a:pt x="8403" y="794"/>
                    <a:pt x="8366" y="787"/>
                    <a:pt x="8340" y="763"/>
                  </a:cubicBezTo>
                  <a:cubicBezTo>
                    <a:pt x="8308" y="728"/>
                    <a:pt x="8294" y="682"/>
                    <a:pt x="8305" y="640"/>
                  </a:cubicBezTo>
                  <a:cubicBezTo>
                    <a:pt x="8308" y="584"/>
                    <a:pt x="8294" y="528"/>
                    <a:pt x="8266" y="483"/>
                  </a:cubicBezTo>
                  <a:cubicBezTo>
                    <a:pt x="8238" y="443"/>
                    <a:pt x="8163" y="430"/>
                    <a:pt x="8068" y="430"/>
                  </a:cubicBezTo>
                  <a:cubicBezTo>
                    <a:pt x="7911" y="430"/>
                    <a:pt x="7701" y="468"/>
                    <a:pt x="7576" y="490"/>
                  </a:cubicBezTo>
                  <a:cubicBezTo>
                    <a:pt x="7499" y="507"/>
                    <a:pt x="7429" y="518"/>
                    <a:pt x="7380" y="525"/>
                  </a:cubicBezTo>
                  <a:cubicBezTo>
                    <a:pt x="7362" y="527"/>
                    <a:pt x="7344" y="527"/>
                    <a:pt x="7328" y="527"/>
                  </a:cubicBezTo>
                  <a:cubicBezTo>
                    <a:pt x="7214" y="527"/>
                    <a:pt x="7147" y="488"/>
                    <a:pt x="7111" y="451"/>
                  </a:cubicBezTo>
                  <a:cubicBezTo>
                    <a:pt x="7058" y="395"/>
                    <a:pt x="7034" y="318"/>
                    <a:pt x="7041" y="241"/>
                  </a:cubicBezTo>
                  <a:lnTo>
                    <a:pt x="7041" y="241"/>
                  </a:lnTo>
                  <a:cubicBezTo>
                    <a:pt x="6974" y="252"/>
                    <a:pt x="6918" y="290"/>
                    <a:pt x="6883" y="346"/>
                  </a:cubicBezTo>
                  <a:cubicBezTo>
                    <a:pt x="6827" y="437"/>
                    <a:pt x="6729" y="497"/>
                    <a:pt x="6621" y="507"/>
                  </a:cubicBezTo>
                  <a:cubicBezTo>
                    <a:pt x="6602" y="511"/>
                    <a:pt x="6583" y="512"/>
                    <a:pt x="6565" y="512"/>
                  </a:cubicBezTo>
                  <a:cubicBezTo>
                    <a:pt x="6488" y="512"/>
                    <a:pt x="6414" y="484"/>
                    <a:pt x="6355" y="434"/>
                  </a:cubicBezTo>
                  <a:cubicBezTo>
                    <a:pt x="6327" y="409"/>
                    <a:pt x="6313" y="371"/>
                    <a:pt x="6320" y="336"/>
                  </a:cubicBezTo>
                  <a:cubicBezTo>
                    <a:pt x="6327" y="269"/>
                    <a:pt x="6390" y="238"/>
                    <a:pt x="6460" y="203"/>
                  </a:cubicBezTo>
                  <a:cubicBezTo>
                    <a:pt x="6495" y="189"/>
                    <a:pt x="6526" y="164"/>
                    <a:pt x="6554" y="140"/>
                  </a:cubicBezTo>
                  <a:cubicBezTo>
                    <a:pt x="6526" y="98"/>
                    <a:pt x="6316" y="42"/>
                    <a:pt x="6250" y="24"/>
                  </a:cubicBezTo>
                  <a:cubicBezTo>
                    <a:pt x="6215" y="17"/>
                    <a:pt x="6187" y="7"/>
                    <a:pt x="6166" y="3"/>
                  </a:cubicBezTo>
                  <a:cubicBezTo>
                    <a:pt x="6159" y="1"/>
                    <a:pt x="6153" y="0"/>
                    <a:pt x="6145"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486" name="Google Shape;5486;p104"/>
            <p:cNvSpPr/>
            <p:nvPr/>
          </p:nvSpPr>
          <p:spPr>
            <a:xfrm>
              <a:off x="815819" y="1587293"/>
              <a:ext cx="9518" cy="3435"/>
            </a:xfrm>
            <a:custGeom>
              <a:avLst/>
              <a:gdLst/>
              <a:ahLst/>
              <a:cxnLst/>
              <a:rect l="l" t="t" r="r" b="b"/>
              <a:pathLst>
                <a:path w="701" h="253" extrusionOk="0">
                  <a:moveTo>
                    <a:pt x="589" y="1"/>
                  </a:moveTo>
                  <a:cubicBezTo>
                    <a:pt x="400" y="1"/>
                    <a:pt x="95" y="162"/>
                    <a:pt x="0" y="253"/>
                  </a:cubicBezTo>
                  <a:cubicBezTo>
                    <a:pt x="49" y="242"/>
                    <a:pt x="95" y="225"/>
                    <a:pt x="133" y="193"/>
                  </a:cubicBezTo>
                  <a:cubicBezTo>
                    <a:pt x="210" y="141"/>
                    <a:pt x="302" y="109"/>
                    <a:pt x="393" y="106"/>
                  </a:cubicBezTo>
                  <a:cubicBezTo>
                    <a:pt x="501" y="106"/>
                    <a:pt x="603" y="78"/>
                    <a:pt x="701" y="32"/>
                  </a:cubicBezTo>
                  <a:cubicBezTo>
                    <a:pt x="687" y="25"/>
                    <a:pt x="676" y="18"/>
                    <a:pt x="662" y="15"/>
                  </a:cubicBezTo>
                  <a:lnTo>
                    <a:pt x="662" y="11"/>
                  </a:lnTo>
                  <a:cubicBezTo>
                    <a:pt x="638" y="4"/>
                    <a:pt x="613" y="1"/>
                    <a:pt x="589" y="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487" name="Google Shape;5487;p104"/>
            <p:cNvSpPr/>
            <p:nvPr/>
          </p:nvSpPr>
          <p:spPr>
            <a:xfrm>
              <a:off x="1116791" y="1641060"/>
              <a:ext cx="428519" cy="210818"/>
            </a:xfrm>
            <a:custGeom>
              <a:avLst/>
              <a:gdLst/>
              <a:ahLst/>
              <a:cxnLst/>
              <a:rect l="l" t="t" r="r" b="b"/>
              <a:pathLst>
                <a:path w="31561" h="15527" extrusionOk="0">
                  <a:moveTo>
                    <a:pt x="16248" y="0"/>
                  </a:moveTo>
                  <a:cubicBezTo>
                    <a:pt x="16227" y="11"/>
                    <a:pt x="16196" y="105"/>
                    <a:pt x="16192" y="207"/>
                  </a:cubicBezTo>
                  <a:lnTo>
                    <a:pt x="16192" y="273"/>
                  </a:lnTo>
                  <a:lnTo>
                    <a:pt x="16129" y="273"/>
                  </a:lnTo>
                  <a:lnTo>
                    <a:pt x="1191" y="354"/>
                  </a:lnTo>
                  <a:cubicBezTo>
                    <a:pt x="1286" y="476"/>
                    <a:pt x="1272" y="588"/>
                    <a:pt x="1261" y="693"/>
                  </a:cubicBezTo>
                  <a:cubicBezTo>
                    <a:pt x="1251" y="767"/>
                    <a:pt x="1254" y="840"/>
                    <a:pt x="1268" y="914"/>
                  </a:cubicBezTo>
                  <a:cubicBezTo>
                    <a:pt x="1314" y="1089"/>
                    <a:pt x="1307" y="1334"/>
                    <a:pt x="1205" y="1463"/>
                  </a:cubicBezTo>
                  <a:cubicBezTo>
                    <a:pt x="1161" y="1525"/>
                    <a:pt x="1095" y="1554"/>
                    <a:pt x="1030" y="1554"/>
                  </a:cubicBezTo>
                  <a:cubicBezTo>
                    <a:pt x="940" y="1554"/>
                    <a:pt x="850" y="1499"/>
                    <a:pt x="820" y="1397"/>
                  </a:cubicBezTo>
                  <a:cubicBezTo>
                    <a:pt x="795" y="1299"/>
                    <a:pt x="841" y="1197"/>
                    <a:pt x="932" y="1152"/>
                  </a:cubicBezTo>
                  <a:cubicBezTo>
                    <a:pt x="971" y="1131"/>
                    <a:pt x="974" y="1071"/>
                    <a:pt x="964" y="1022"/>
                  </a:cubicBezTo>
                  <a:cubicBezTo>
                    <a:pt x="950" y="977"/>
                    <a:pt x="918" y="935"/>
                    <a:pt x="890" y="935"/>
                  </a:cubicBezTo>
                  <a:cubicBezTo>
                    <a:pt x="887" y="935"/>
                    <a:pt x="883" y="935"/>
                    <a:pt x="880" y="935"/>
                  </a:cubicBezTo>
                  <a:cubicBezTo>
                    <a:pt x="844" y="935"/>
                    <a:pt x="807" y="918"/>
                    <a:pt x="781" y="893"/>
                  </a:cubicBezTo>
                  <a:cubicBezTo>
                    <a:pt x="750" y="854"/>
                    <a:pt x="729" y="805"/>
                    <a:pt x="722" y="756"/>
                  </a:cubicBezTo>
                  <a:lnTo>
                    <a:pt x="718" y="756"/>
                  </a:lnTo>
                  <a:lnTo>
                    <a:pt x="683" y="763"/>
                  </a:lnTo>
                  <a:cubicBezTo>
                    <a:pt x="666" y="763"/>
                    <a:pt x="648" y="767"/>
                    <a:pt x="631" y="770"/>
                  </a:cubicBezTo>
                  <a:lnTo>
                    <a:pt x="592" y="774"/>
                  </a:lnTo>
                  <a:cubicBezTo>
                    <a:pt x="578" y="774"/>
                    <a:pt x="561" y="777"/>
                    <a:pt x="543" y="777"/>
                  </a:cubicBezTo>
                  <a:lnTo>
                    <a:pt x="424" y="777"/>
                  </a:lnTo>
                  <a:cubicBezTo>
                    <a:pt x="393" y="777"/>
                    <a:pt x="361" y="777"/>
                    <a:pt x="330" y="774"/>
                  </a:cubicBezTo>
                  <a:lnTo>
                    <a:pt x="302" y="774"/>
                  </a:lnTo>
                  <a:cubicBezTo>
                    <a:pt x="263" y="770"/>
                    <a:pt x="225" y="770"/>
                    <a:pt x="186" y="767"/>
                  </a:cubicBezTo>
                  <a:lnTo>
                    <a:pt x="176" y="767"/>
                  </a:lnTo>
                  <a:lnTo>
                    <a:pt x="60" y="753"/>
                  </a:lnTo>
                  <a:lnTo>
                    <a:pt x="29" y="749"/>
                  </a:lnTo>
                  <a:lnTo>
                    <a:pt x="1" y="746"/>
                  </a:lnTo>
                  <a:lnTo>
                    <a:pt x="1" y="746"/>
                  </a:lnTo>
                  <a:cubicBezTo>
                    <a:pt x="36" y="984"/>
                    <a:pt x="123" y="1208"/>
                    <a:pt x="263" y="1404"/>
                  </a:cubicBezTo>
                  <a:cubicBezTo>
                    <a:pt x="340" y="1502"/>
                    <a:pt x="386" y="1617"/>
                    <a:pt x="400" y="1740"/>
                  </a:cubicBezTo>
                  <a:cubicBezTo>
                    <a:pt x="414" y="1824"/>
                    <a:pt x="421" y="1859"/>
                    <a:pt x="484" y="1894"/>
                  </a:cubicBezTo>
                  <a:cubicBezTo>
                    <a:pt x="666" y="1992"/>
                    <a:pt x="659" y="2083"/>
                    <a:pt x="645" y="2122"/>
                  </a:cubicBezTo>
                  <a:cubicBezTo>
                    <a:pt x="633" y="2152"/>
                    <a:pt x="605" y="2203"/>
                    <a:pt x="501" y="2203"/>
                  </a:cubicBezTo>
                  <a:cubicBezTo>
                    <a:pt x="485" y="2203"/>
                    <a:pt x="466" y="2201"/>
                    <a:pt x="445" y="2199"/>
                  </a:cubicBezTo>
                  <a:lnTo>
                    <a:pt x="424" y="2199"/>
                  </a:lnTo>
                  <a:cubicBezTo>
                    <a:pt x="424" y="2230"/>
                    <a:pt x="424" y="2258"/>
                    <a:pt x="424" y="2290"/>
                  </a:cubicBezTo>
                  <a:cubicBezTo>
                    <a:pt x="435" y="2409"/>
                    <a:pt x="428" y="2528"/>
                    <a:pt x="410" y="2643"/>
                  </a:cubicBezTo>
                  <a:cubicBezTo>
                    <a:pt x="375" y="2846"/>
                    <a:pt x="365" y="3172"/>
                    <a:pt x="354" y="3462"/>
                  </a:cubicBezTo>
                  <a:cubicBezTo>
                    <a:pt x="347" y="3690"/>
                    <a:pt x="340" y="3886"/>
                    <a:pt x="323" y="3991"/>
                  </a:cubicBezTo>
                  <a:cubicBezTo>
                    <a:pt x="305" y="4082"/>
                    <a:pt x="274" y="4173"/>
                    <a:pt x="235" y="4257"/>
                  </a:cubicBezTo>
                  <a:cubicBezTo>
                    <a:pt x="162" y="4446"/>
                    <a:pt x="78" y="4656"/>
                    <a:pt x="169" y="4793"/>
                  </a:cubicBezTo>
                  <a:cubicBezTo>
                    <a:pt x="365" y="5101"/>
                    <a:pt x="438" y="5451"/>
                    <a:pt x="358" y="5731"/>
                  </a:cubicBezTo>
                  <a:cubicBezTo>
                    <a:pt x="277" y="6022"/>
                    <a:pt x="291" y="6186"/>
                    <a:pt x="414" y="6396"/>
                  </a:cubicBezTo>
                  <a:cubicBezTo>
                    <a:pt x="484" y="6522"/>
                    <a:pt x="494" y="6680"/>
                    <a:pt x="501" y="6823"/>
                  </a:cubicBezTo>
                  <a:cubicBezTo>
                    <a:pt x="505" y="6935"/>
                    <a:pt x="512" y="7061"/>
                    <a:pt x="557" y="7089"/>
                  </a:cubicBezTo>
                  <a:cubicBezTo>
                    <a:pt x="697" y="7170"/>
                    <a:pt x="837" y="7327"/>
                    <a:pt x="992" y="7583"/>
                  </a:cubicBezTo>
                  <a:cubicBezTo>
                    <a:pt x="1023" y="7639"/>
                    <a:pt x="1072" y="7684"/>
                    <a:pt x="1135" y="7705"/>
                  </a:cubicBezTo>
                  <a:cubicBezTo>
                    <a:pt x="1209" y="7737"/>
                    <a:pt x="1265" y="7772"/>
                    <a:pt x="1282" y="7915"/>
                  </a:cubicBezTo>
                  <a:lnTo>
                    <a:pt x="1282" y="7926"/>
                  </a:lnTo>
                  <a:cubicBezTo>
                    <a:pt x="1303" y="8129"/>
                    <a:pt x="1303" y="8133"/>
                    <a:pt x="1461" y="8199"/>
                  </a:cubicBezTo>
                  <a:cubicBezTo>
                    <a:pt x="1653" y="8283"/>
                    <a:pt x="1611" y="8476"/>
                    <a:pt x="1587" y="8588"/>
                  </a:cubicBezTo>
                  <a:cubicBezTo>
                    <a:pt x="1580" y="8619"/>
                    <a:pt x="1573" y="8651"/>
                    <a:pt x="1573" y="8686"/>
                  </a:cubicBezTo>
                  <a:cubicBezTo>
                    <a:pt x="1573" y="8773"/>
                    <a:pt x="1839" y="9004"/>
                    <a:pt x="2073" y="9214"/>
                  </a:cubicBezTo>
                  <a:lnTo>
                    <a:pt x="2119" y="9256"/>
                  </a:lnTo>
                  <a:cubicBezTo>
                    <a:pt x="2248" y="9358"/>
                    <a:pt x="2322" y="9519"/>
                    <a:pt x="2311" y="9683"/>
                  </a:cubicBezTo>
                  <a:cubicBezTo>
                    <a:pt x="2311" y="9704"/>
                    <a:pt x="2315" y="9725"/>
                    <a:pt x="2318" y="9746"/>
                  </a:cubicBezTo>
                  <a:cubicBezTo>
                    <a:pt x="2329" y="9750"/>
                    <a:pt x="2343" y="9750"/>
                    <a:pt x="2353" y="9750"/>
                  </a:cubicBezTo>
                  <a:cubicBezTo>
                    <a:pt x="2612" y="9750"/>
                    <a:pt x="2854" y="9904"/>
                    <a:pt x="3068" y="10040"/>
                  </a:cubicBezTo>
                  <a:cubicBezTo>
                    <a:pt x="3174" y="10108"/>
                    <a:pt x="3240" y="10119"/>
                    <a:pt x="3302" y="10119"/>
                  </a:cubicBezTo>
                  <a:cubicBezTo>
                    <a:pt x="3317" y="10119"/>
                    <a:pt x="3332" y="10118"/>
                    <a:pt x="3348" y="10118"/>
                  </a:cubicBezTo>
                  <a:cubicBezTo>
                    <a:pt x="3362" y="10117"/>
                    <a:pt x="3375" y="10116"/>
                    <a:pt x="3389" y="10116"/>
                  </a:cubicBezTo>
                  <a:cubicBezTo>
                    <a:pt x="3430" y="10116"/>
                    <a:pt x="3469" y="10120"/>
                    <a:pt x="3509" y="10128"/>
                  </a:cubicBezTo>
                  <a:cubicBezTo>
                    <a:pt x="3694" y="10170"/>
                    <a:pt x="4002" y="10531"/>
                    <a:pt x="4069" y="10783"/>
                  </a:cubicBezTo>
                  <a:cubicBezTo>
                    <a:pt x="4093" y="10881"/>
                    <a:pt x="4125" y="10979"/>
                    <a:pt x="4167" y="11073"/>
                  </a:cubicBezTo>
                  <a:lnTo>
                    <a:pt x="5403" y="10909"/>
                  </a:lnTo>
                  <a:lnTo>
                    <a:pt x="5424" y="10926"/>
                  </a:lnTo>
                  <a:cubicBezTo>
                    <a:pt x="5427" y="10926"/>
                    <a:pt x="5802" y="11189"/>
                    <a:pt x="6008" y="11238"/>
                  </a:cubicBezTo>
                  <a:cubicBezTo>
                    <a:pt x="6222" y="11287"/>
                    <a:pt x="7286" y="11682"/>
                    <a:pt x="7419" y="11728"/>
                  </a:cubicBezTo>
                  <a:lnTo>
                    <a:pt x="8928" y="11717"/>
                  </a:lnTo>
                  <a:lnTo>
                    <a:pt x="9110" y="11483"/>
                  </a:lnTo>
                  <a:lnTo>
                    <a:pt x="10024" y="11483"/>
                  </a:lnTo>
                  <a:lnTo>
                    <a:pt x="10045" y="11500"/>
                  </a:lnTo>
                  <a:cubicBezTo>
                    <a:pt x="10297" y="11749"/>
                    <a:pt x="10591" y="12018"/>
                    <a:pt x="10643" y="12043"/>
                  </a:cubicBezTo>
                  <a:cubicBezTo>
                    <a:pt x="10734" y="12074"/>
                    <a:pt x="11035" y="12341"/>
                    <a:pt x="11035" y="12533"/>
                  </a:cubicBezTo>
                  <a:cubicBezTo>
                    <a:pt x="11035" y="12670"/>
                    <a:pt x="11091" y="12775"/>
                    <a:pt x="11193" y="12824"/>
                  </a:cubicBezTo>
                  <a:cubicBezTo>
                    <a:pt x="11235" y="12845"/>
                    <a:pt x="11302" y="12883"/>
                    <a:pt x="11375" y="12929"/>
                  </a:cubicBezTo>
                  <a:cubicBezTo>
                    <a:pt x="11494" y="12995"/>
                    <a:pt x="11701" y="13118"/>
                    <a:pt x="11774" y="13139"/>
                  </a:cubicBezTo>
                  <a:cubicBezTo>
                    <a:pt x="11788" y="13118"/>
                    <a:pt x="11806" y="13076"/>
                    <a:pt x="11823" y="13044"/>
                  </a:cubicBezTo>
                  <a:cubicBezTo>
                    <a:pt x="11844" y="12999"/>
                    <a:pt x="11869" y="12957"/>
                    <a:pt x="11893" y="12908"/>
                  </a:cubicBezTo>
                  <a:cubicBezTo>
                    <a:pt x="11907" y="12883"/>
                    <a:pt x="11921" y="12862"/>
                    <a:pt x="11939" y="12838"/>
                  </a:cubicBezTo>
                  <a:cubicBezTo>
                    <a:pt x="12011" y="12728"/>
                    <a:pt x="12103" y="12635"/>
                    <a:pt x="12226" y="12635"/>
                  </a:cubicBezTo>
                  <a:cubicBezTo>
                    <a:pt x="12228" y="12635"/>
                    <a:pt x="12230" y="12635"/>
                    <a:pt x="12233" y="12635"/>
                  </a:cubicBezTo>
                  <a:cubicBezTo>
                    <a:pt x="12408" y="12645"/>
                    <a:pt x="12775" y="12740"/>
                    <a:pt x="13027" y="12929"/>
                  </a:cubicBezTo>
                  <a:cubicBezTo>
                    <a:pt x="13059" y="12953"/>
                    <a:pt x="13090" y="12981"/>
                    <a:pt x="13122" y="13009"/>
                  </a:cubicBezTo>
                  <a:cubicBezTo>
                    <a:pt x="13150" y="13037"/>
                    <a:pt x="13174" y="13069"/>
                    <a:pt x="13199" y="13100"/>
                  </a:cubicBezTo>
                  <a:cubicBezTo>
                    <a:pt x="13227" y="13142"/>
                    <a:pt x="13248" y="13191"/>
                    <a:pt x="13265" y="13240"/>
                  </a:cubicBezTo>
                  <a:cubicBezTo>
                    <a:pt x="13363" y="13587"/>
                    <a:pt x="13661" y="13870"/>
                    <a:pt x="13759" y="13944"/>
                  </a:cubicBezTo>
                  <a:cubicBezTo>
                    <a:pt x="13836" y="14003"/>
                    <a:pt x="13850" y="14105"/>
                    <a:pt x="13861" y="14206"/>
                  </a:cubicBezTo>
                  <a:cubicBezTo>
                    <a:pt x="13864" y="14266"/>
                    <a:pt x="13878" y="14326"/>
                    <a:pt x="13906" y="14378"/>
                  </a:cubicBezTo>
                  <a:cubicBezTo>
                    <a:pt x="13941" y="14438"/>
                    <a:pt x="13966" y="14508"/>
                    <a:pt x="13980" y="14578"/>
                  </a:cubicBezTo>
                  <a:cubicBezTo>
                    <a:pt x="13987" y="14616"/>
                    <a:pt x="13997" y="14651"/>
                    <a:pt x="14015" y="14686"/>
                  </a:cubicBezTo>
                  <a:cubicBezTo>
                    <a:pt x="14060" y="14690"/>
                    <a:pt x="14130" y="14721"/>
                    <a:pt x="14267" y="14784"/>
                  </a:cubicBezTo>
                  <a:cubicBezTo>
                    <a:pt x="14428" y="14860"/>
                    <a:pt x="14648" y="14959"/>
                    <a:pt x="14762" y="14959"/>
                  </a:cubicBezTo>
                  <a:cubicBezTo>
                    <a:pt x="14764" y="14959"/>
                    <a:pt x="14765" y="14959"/>
                    <a:pt x="14767" y="14959"/>
                  </a:cubicBezTo>
                  <a:lnTo>
                    <a:pt x="14813" y="14959"/>
                  </a:lnTo>
                  <a:lnTo>
                    <a:pt x="14830" y="14963"/>
                  </a:lnTo>
                  <a:lnTo>
                    <a:pt x="14848" y="14966"/>
                  </a:lnTo>
                  <a:lnTo>
                    <a:pt x="14869" y="14973"/>
                  </a:lnTo>
                  <a:lnTo>
                    <a:pt x="14897" y="14984"/>
                  </a:lnTo>
                  <a:lnTo>
                    <a:pt x="14921" y="14991"/>
                  </a:lnTo>
                  <a:lnTo>
                    <a:pt x="14928" y="14994"/>
                  </a:lnTo>
                  <a:cubicBezTo>
                    <a:pt x="14900" y="14896"/>
                    <a:pt x="14851" y="14805"/>
                    <a:pt x="14778" y="14732"/>
                  </a:cubicBezTo>
                  <a:cubicBezTo>
                    <a:pt x="14725" y="14662"/>
                    <a:pt x="14673" y="14595"/>
                    <a:pt x="14683" y="14518"/>
                  </a:cubicBezTo>
                  <a:cubicBezTo>
                    <a:pt x="14697" y="14452"/>
                    <a:pt x="14736" y="14396"/>
                    <a:pt x="14792" y="14361"/>
                  </a:cubicBezTo>
                  <a:cubicBezTo>
                    <a:pt x="14935" y="14252"/>
                    <a:pt x="14911" y="14171"/>
                    <a:pt x="14879" y="14073"/>
                  </a:cubicBezTo>
                  <a:cubicBezTo>
                    <a:pt x="14858" y="14007"/>
                    <a:pt x="14827" y="13905"/>
                    <a:pt x="14928" y="13839"/>
                  </a:cubicBezTo>
                  <a:cubicBezTo>
                    <a:pt x="14963" y="13811"/>
                    <a:pt x="15009" y="13790"/>
                    <a:pt x="15051" y="13762"/>
                  </a:cubicBezTo>
                  <a:cubicBezTo>
                    <a:pt x="15163" y="13702"/>
                    <a:pt x="15299" y="13625"/>
                    <a:pt x="15299" y="13552"/>
                  </a:cubicBezTo>
                  <a:cubicBezTo>
                    <a:pt x="15296" y="13499"/>
                    <a:pt x="15317" y="13443"/>
                    <a:pt x="15355" y="13405"/>
                  </a:cubicBezTo>
                  <a:cubicBezTo>
                    <a:pt x="15401" y="13366"/>
                    <a:pt x="15465" y="13353"/>
                    <a:pt x="15537" y="13353"/>
                  </a:cubicBezTo>
                  <a:cubicBezTo>
                    <a:pt x="15588" y="13353"/>
                    <a:pt x="15643" y="13359"/>
                    <a:pt x="15699" y="13366"/>
                  </a:cubicBezTo>
                  <a:cubicBezTo>
                    <a:pt x="15703" y="13367"/>
                    <a:pt x="15708" y="13367"/>
                    <a:pt x="15712" y="13367"/>
                  </a:cubicBezTo>
                  <a:cubicBezTo>
                    <a:pt x="15799" y="13367"/>
                    <a:pt x="15943" y="13279"/>
                    <a:pt x="16059" y="13156"/>
                  </a:cubicBezTo>
                  <a:cubicBezTo>
                    <a:pt x="16140" y="13069"/>
                    <a:pt x="16164" y="13009"/>
                    <a:pt x="16161" y="12995"/>
                  </a:cubicBezTo>
                  <a:cubicBezTo>
                    <a:pt x="16143" y="12936"/>
                    <a:pt x="16157" y="12873"/>
                    <a:pt x="16196" y="12827"/>
                  </a:cubicBezTo>
                  <a:cubicBezTo>
                    <a:pt x="16225" y="12797"/>
                    <a:pt x="16268" y="12785"/>
                    <a:pt x="16324" y="12785"/>
                  </a:cubicBezTo>
                  <a:cubicBezTo>
                    <a:pt x="16373" y="12785"/>
                    <a:pt x="16433" y="12795"/>
                    <a:pt x="16504" y="12810"/>
                  </a:cubicBezTo>
                  <a:cubicBezTo>
                    <a:pt x="16516" y="12812"/>
                    <a:pt x="16526" y="12813"/>
                    <a:pt x="16536" y="12813"/>
                  </a:cubicBezTo>
                  <a:cubicBezTo>
                    <a:pt x="16586" y="12813"/>
                    <a:pt x="16609" y="12782"/>
                    <a:pt x="16647" y="12712"/>
                  </a:cubicBezTo>
                  <a:cubicBezTo>
                    <a:pt x="16674" y="12661"/>
                    <a:pt x="16718" y="12584"/>
                    <a:pt x="16802" y="12584"/>
                  </a:cubicBezTo>
                  <a:cubicBezTo>
                    <a:pt x="16818" y="12584"/>
                    <a:pt x="16835" y="12587"/>
                    <a:pt x="16854" y="12593"/>
                  </a:cubicBezTo>
                  <a:cubicBezTo>
                    <a:pt x="16889" y="12607"/>
                    <a:pt x="16924" y="12621"/>
                    <a:pt x="16955" y="12631"/>
                  </a:cubicBezTo>
                  <a:cubicBezTo>
                    <a:pt x="16983" y="12645"/>
                    <a:pt x="17015" y="12656"/>
                    <a:pt x="17046" y="12666"/>
                  </a:cubicBezTo>
                  <a:cubicBezTo>
                    <a:pt x="17050" y="12610"/>
                    <a:pt x="17088" y="12565"/>
                    <a:pt x="17141" y="12551"/>
                  </a:cubicBezTo>
                  <a:cubicBezTo>
                    <a:pt x="17154" y="12547"/>
                    <a:pt x="17168" y="12545"/>
                    <a:pt x="17182" y="12545"/>
                  </a:cubicBezTo>
                  <a:cubicBezTo>
                    <a:pt x="17262" y="12545"/>
                    <a:pt x="17357" y="12603"/>
                    <a:pt x="17428" y="12701"/>
                  </a:cubicBezTo>
                  <a:cubicBezTo>
                    <a:pt x="17486" y="12765"/>
                    <a:pt x="17568" y="12800"/>
                    <a:pt x="17653" y="12800"/>
                  </a:cubicBezTo>
                  <a:cubicBezTo>
                    <a:pt x="17670" y="12800"/>
                    <a:pt x="17687" y="12799"/>
                    <a:pt x="17705" y="12796"/>
                  </a:cubicBezTo>
                  <a:cubicBezTo>
                    <a:pt x="17754" y="12782"/>
                    <a:pt x="17761" y="12754"/>
                    <a:pt x="17761" y="12743"/>
                  </a:cubicBezTo>
                  <a:cubicBezTo>
                    <a:pt x="17761" y="12687"/>
                    <a:pt x="17796" y="12642"/>
                    <a:pt x="17848" y="12621"/>
                  </a:cubicBezTo>
                  <a:cubicBezTo>
                    <a:pt x="17859" y="12618"/>
                    <a:pt x="17870" y="12616"/>
                    <a:pt x="17882" y="12616"/>
                  </a:cubicBezTo>
                  <a:cubicBezTo>
                    <a:pt x="17963" y="12616"/>
                    <a:pt x="18065" y="12693"/>
                    <a:pt x="18237" y="12880"/>
                  </a:cubicBezTo>
                  <a:cubicBezTo>
                    <a:pt x="18342" y="12988"/>
                    <a:pt x="18387" y="12988"/>
                    <a:pt x="18517" y="12988"/>
                  </a:cubicBezTo>
                  <a:cubicBezTo>
                    <a:pt x="18559" y="12988"/>
                    <a:pt x="18601" y="12988"/>
                    <a:pt x="18653" y="12992"/>
                  </a:cubicBezTo>
                  <a:cubicBezTo>
                    <a:pt x="18681" y="12993"/>
                    <a:pt x="18704" y="12994"/>
                    <a:pt x="18723" y="12994"/>
                  </a:cubicBezTo>
                  <a:cubicBezTo>
                    <a:pt x="18816" y="12994"/>
                    <a:pt x="18820" y="12973"/>
                    <a:pt x="18828" y="12866"/>
                  </a:cubicBezTo>
                  <a:lnTo>
                    <a:pt x="18828" y="12855"/>
                  </a:lnTo>
                  <a:cubicBezTo>
                    <a:pt x="18828" y="12820"/>
                    <a:pt x="18849" y="12785"/>
                    <a:pt x="18888" y="12771"/>
                  </a:cubicBezTo>
                  <a:cubicBezTo>
                    <a:pt x="18897" y="12768"/>
                    <a:pt x="18905" y="12767"/>
                    <a:pt x="18914" y="12767"/>
                  </a:cubicBezTo>
                  <a:cubicBezTo>
                    <a:pt x="18963" y="12767"/>
                    <a:pt x="19009" y="12817"/>
                    <a:pt x="19080" y="12897"/>
                  </a:cubicBezTo>
                  <a:cubicBezTo>
                    <a:pt x="19164" y="12992"/>
                    <a:pt x="19287" y="13125"/>
                    <a:pt x="19385" y="13135"/>
                  </a:cubicBezTo>
                  <a:lnTo>
                    <a:pt x="19399" y="13135"/>
                  </a:lnTo>
                  <a:cubicBezTo>
                    <a:pt x="19343" y="13076"/>
                    <a:pt x="19283" y="13020"/>
                    <a:pt x="19217" y="12974"/>
                  </a:cubicBezTo>
                  <a:cubicBezTo>
                    <a:pt x="19094" y="12876"/>
                    <a:pt x="19119" y="12789"/>
                    <a:pt x="19133" y="12740"/>
                  </a:cubicBezTo>
                  <a:cubicBezTo>
                    <a:pt x="19143" y="12701"/>
                    <a:pt x="19143" y="12694"/>
                    <a:pt x="19108" y="12670"/>
                  </a:cubicBezTo>
                  <a:cubicBezTo>
                    <a:pt x="19056" y="12638"/>
                    <a:pt x="19035" y="12575"/>
                    <a:pt x="19056" y="12519"/>
                  </a:cubicBezTo>
                  <a:cubicBezTo>
                    <a:pt x="19102" y="12390"/>
                    <a:pt x="19364" y="12308"/>
                    <a:pt x="19584" y="12308"/>
                  </a:cubicBezTo>
                  <a:cubicBezTo>
                    <a:pt x="19597" y="12308"/>
                    <a:pt x="19610" y="12308"/>
                    <a:pt x="19623" y="12309"/>
                  </a:cubicBezTo>
                  <a:cubicBezTo>
                    <a:pt x="19690" y="12313"/>
                    <a:pt x="19753" y="12320"/>
                    <a:pt x="19816" y="12330"/>
                  </a:cubicBezTo>
                  <a:cubicBezTo>
                    <a:pt x="19837" y="12333"/>
                    <a:pt x="19854" y="12335"/>
                    <a:pt x="19867" y="12335"/>
                  </a:cubicBezTo>
                  <a:cubicBezTo>
                    <a:pt x="19903" y="12335"/>
                    <a:pt x="19913" y="12319"/>
                    <a:pt x="19952" y="12257"/>
                  </a:cubicBezTo>
                  <a:cubicBezTo>
                    <a:pt x="20007" y="12173"/>
                    <a:pt x="20064" y="12154"/>
                    <a:pt x="20105" y="12154"/>
                  </a:cubicBezTo>
                  <a:cubicBezTo>
                    <a:pt x="20119" y="12154"/>
                    <a:pt x="20131" y="12156"/>
                    <a:pt x="20141" y="12158"/>
                  </a:cubicBezTo>
                  <a:cubicBezTo>
                    <a:pt x="20236" y="12186"/>
                    <a:pt x="20288" y="12309"/>
                    <a:pt x="20292" y="12421"/>
                  </a:cubicBezTo>
                  <a:cubicBezTo>
                    <a:pt x="20341" y="12421"/>
                    <a:pt x="20474" y="12386"/>
                    <a:pt x="20565" y="12362"/>
                  </a:cubicBezTo>
                  <a:cubicBezTo>
                    <a:pt x="20701" y="12327"/>
                    <a:pt x="20841" y="12285"/>
                    <a:pt x="20957" y="12285"/>
                  </a:cubicBezTo>
                  <a:cubicBezTo>
                    <a:pt x="21230" y="12285"/>
                    <a:pt x="21499" y="12516"/>
                    <a:pt x="21531" y="12705"/>
                  </a:cubicBezTo>
                  <a:cubicBezTo>
                    <a:pt x="21534" y="12743"/>
                    <a:pt x="21562" y="12778"/>
                    <a:pt x="21601" y="12792"/>
                  </a:cubicBezTo>
                  <a:cubicBezTo>
                    <a:pt x="21613" y="12797"/>
                    <a:pt x="21627" y="12800"/>
                    <a:pt x="21641" y="12800"/>
                  </a:cubicBezTo>
                  <a:cubicBezTo>
                    <a:pt x="21688" y="12800"/>
                    <a:pt x="21744" y="12774"/>
                    <a:pt x="21801" y="12726"/>
                  </a:cubicBezTo>
                  <a:lnTo>
                    <a:pt x="21860" y="12673"/>
                  </a:lnTo>
                  <a:cubicBezTo>
                    <a:pt x="21962" y="12582"/>
                    <a:pt x="22084" y="12474"/>
                    <a:pt x="22210" y="12474"/>
                  </a:cubicBezTo>
                  <a:cubicBezTo>
                    <a:pt x="22284" y="12474"/>
                    <a:pt x="22350" y="12505"/>
                    <a:pt x="22399" y="12561"/>
                  </a:cubicBezTo>
                  <a:cubicBezTo>
                    <a:pt x="22480" y="12642"/>
                    <a:pt x="22560" y="12736"/>
                    <a:pt x="22648" y="12838"/>
                  </a:cubicBezTo>
                  <a:cubicBezTo>
                    <a:pt x="22739" y="12946"/>
                    <a:pt x="22837" y="13058"/>
                    <a:pt x="22945" y="13167"/>
                  </a:cubicBezTo>
                  <a:cubicBezTo>
                    <a:pt x="23089" y="13310"/>
                    <a:pt x="23033" y="13482"/>
                    <a:pt x="22987" y="13604"/>
                  </a:cubicBezTo>
                  <a:cubicBezTo>
                    <a:pt x="22956" y="13695"/>
                    <a:pt x="22938" y="13755"/>
                    <a:pt x="22963" y="13793"/>
                  </a:cubicBezTo>
                  <a:cubicBezTo>
                    <a:pt x="23008" y="13863"/>
                    <a:pt x="23033" y="13944"/>
                    <a:pt x="23033" y="14028"/>
                  </a:cubicBezTo>
                  <a:cubicBezTo>
                    <a:pt x="23043" y="14140"/>
                    <a:pt x="23054" y="14234"/>
                    <a:pt x="23176" y="14322"/>
                  </a:cubicBezTo>
                  <a:cubicBezTo>
                    <a:pt x="23334" y="14431"/>
                    <a:pt x="23334" y="14602"/>
                    <a:pt x="23334" y="14725"/>
                  </a:cubicBezTo>
                  <a:cubicBezTo>
                    <a:pt x="23334" y="14851"/>
                    <a:pt x="23341" y="14875"/>
                    <a:pt x="23376" y="14882"/>
                  </a:cubicBezTo>
                  <a:cubicBezTo>
                    <a:pt x="23610" y="14942"/>
                    <a:pt x="23775" y="15281"/>
                    <a:pt x="23800" y="15407"/>
                  </a:cubicBezTo>
                  <a:cubicBezTo>
                    <a:pt x="23806" y="15444"/>
                    <a:pt x="23926" y="15527"/>
                    <a:pt x="24020" y="15527"/>
                  </a:cubicBezTo>
                  <a:cubicBezTo>
                    <a:pt x="24023" y="15527"/>
                    <a:pt x="24027" y="15527"/>
                    <a:pt x="24031" y="15526"/>
                  </a:cubicBezTo>
                  <a:cubicBezTo>
                    <a:pt x="24076" y="15526"/>
                    <a:pt x="24080" y="15509"/>
                    <a:pt x="24083" y="15484"/>
                  </a:cubicBezTo>
                  <a:cubicBezTo>
                    <a:pt x="24094" y="15369"/>
                    <a:pt x="24153" y="15246"/>
                    <a:pt x="24213" y="15131"/>
                  </a:cubicBezTo>
                  <a:cubicBezTo>
                    <a:pt x="24265" y="15026"/>
                    <a:pt x="24314" y="14924"/>
                    <a:pt x="24325" y="14840"/>
                  </a:cubicBezTo>
                  <a:cubicBezTo>
                    <a:pt x="24346" y="14669"/>
                    <a:pt x="24185" y="13993"/>
                    <a:pt x="24034" y="13783"/>
                  </a:cubicBezTo>
                  <a:cubicBezTo>
                    <a:pt x="23971" y="13706"/>
                    <a:pt x="23943" y="13604"/>
                    <a:pt x="23954" y="13503"/>
                  </a:cubicBezTo>
                  <a:cubicBezTo>
                    <a:pt x="23961" y="13436"/>
                    <a:pt x="23964" y="13377"/>
                    <a:pt x="23877" y="13265"/>
                  </a:cubicBezTo>
                  <a:cubicBezTo>
                    <a:pt x="23677" y="13002"/>
                    <a:pt x="23547" y="12547"/>
                    <a:pt x="23558" y="12155"/>
                  </a:cubicBezTo>
                  <a:cubicBezTo>
                    <a:pt x="23572" y="11770"/>
                    <a:pt x="23996" y="11168"/>
                    <a:pt x="24223" y="10968"/>
                  </a:cubicBezTo>
                  <a:cubicBezTo>
                    <a:pt x="24314" y="10895"/>
                    <a:pt x="24419" y="10842"/>
                    <a:pt x="24531" y="10825"/>
                  </a:cubicBezTo>
                  <a:cubicBezTo>
                    <a:pt x="24640" y="10797"/>
                    <a:pt x="24675" y="10783"/>
                    <a:pt x="24689" y="10720"/>
                  </a:cubicBezTo>
                  <a:cubicBezTo>
                    <a:pt x="24745" y="10499"/>
                    <a:pt x="25021" y="10237"/>
                    <a:pt x="25203" y="10237"/>
                  </a:cubicBezTo>
                  <a:lnTo>
                    <a:pt x="25273" y="10237"/>
                  </a:lnTo>
                  <a:cubicBezTo>
                    <a:pt x="25290" y="10237"/>
                    <a:pt x="25305" y="10237"/>
                    <a:pt x="25318" y="10237"/>
                  </a:cubicBezTo>
                  <a:cubicBezTo>
                    <a:pt x="25431" y="10237"/>
                    <a:pt x="25457" y="10223"/>
                    <a:pt x="25466" y="10167"/>
                  </a:cubicBezTo>
                  <a:cubicBezTo>
                    <a:pt x="25494" y="9967"/>
                    <a:pt x="25781" y="9760"/>
                    <a:pt x="26103" y="9711"/>
                  </a:cubicBezTo>
                  <a:cubicBezTo>
                    <a:pt x="26208" y="9697"/>
                    <a:pt x="26222" y="9669"/>
                    <a:pt x="26222" y="9669"/>
                  </a:cubicBezTo>
                  <a:cubicBezTo>
                    <a:pt x="26233" y="9645"/>
                    <a:pt x="26184" y="9568"/>
                    <a:pt x="26152" y="9522"/>
                  </a:cubicBezTo>
                  <a:cubicBezTo>
                    <a:pt x="26135" y="9498"/>
                    <a:pt x="26117" y="9473"/>
                    <a:pt x="26103" y="9449"/>
                  </a:cubicBezTo>
                  <a:cubicBezTo>
                    <a:pt x="26040" y="9347"/>
                    <a:pt x="26068" y="9211"/>
                    <a:pt x="26170" y="9144"/>
                  </a:cubicBezTo>
                  <a:cubicBezTo>
                    <a:pt x="26191" y="9129"/>
                    <a:pt x="26215" y="9122"/>
                    <a:pt x="26239" y="9122"/>
                  </a:cubicBezTo>
                  <a:cubicBezTo>
                    <a:pt x="26282" y="9122"/>
                    <a:pt x="26326" y="9146"/>
                    <a:pt x="26348" y="9186"/>
                  </a:cubicBezTo>
                  <a:cubicBezTo>
                    <a:pt x="26369" y="9211"/>
                    <a:pt x="26401" y="9225"/>
                    <a:pt x="26429" y="9228"/>
                  </a:cubicBezTo>
                  <a:cubicBezTo>
                    <a:pt x="26447" y="9232"/>
                    <a:pt x="26466" y="9234"/>
                    <a:pt x="26484" y="9234"/>
                  </a:cubicBezTo>
                  <a:cubicBezTo>
                    <a:pt x="26537" y="9234"/>
                    <a:pt x="26587" y="9219"/>
                    <a:pt x="26632" y="9190"/>
                  </a:cubicBezTo>
                  <a:cubicBezTo>
                    <a:pt x="26744" y="9113"/>
                    <a:pt x="26828" y="9025"/>
                    <a:pt x="26845" y="8987"/>
                  </a:cubicBezTo>
                  <a:cubicBezTo>
                    <a:pt x="26831" y="8983"/>
                    <a:pt x="26817" y="8983"/>
                    <a:pt x="26803" y="8983"/>
                  </a:cubicBezTo>
                  <a:cubicBezTo>
                    <a:pt x="26614" y="8973"/>
                    <a:pt x="26499" y="8920"/>
                    <a:pt x="26485" y="8829"/>
                  </a:cubicBezTo>
                  <a:cubicBezTo>
                    <a:pt x="26481" y="8801"/>
                    <a:pt x="26485" y="8724"/>
                    <a:pt x="26611" y="8675"/>
                  </a:cubicBezTo>
                  <a:cubicBezTo>
                    <a:pt x="26621" y="8672"/>
                    <a:pt x="26642" y="8661"/>
                    <a:pt x="26639" y="8616"/>
                  </a:cubicBezTo>
                  <a:cubicBezTo>
                    <a:pt x="26618" y="8518"/>
                    <a:pt x="26537" y="8441"/>
                    <a:pt x="26436" y="8423"/>
                  </a:cubicBezTo>
                  <a:cubicBezTo>
                    <a:pt x="26366" y="8416"/>
                    <a:pt x="26271" y="8399"/>
                    <a:pt x="26243" y="8318"/>
                  </a:cubicBezTo>
                  <a:cubicBezTo>
                    <a:pt x="26212" y="8227"/>
                    <a:pt x="26299" y="8129"/>
                    <a:pt x="26383" y="8045"/>
                  </a:cubicBezTo>
                  <a:cubicBezTo>
                    <a:pt x="26390" y="8038"/>
                    <a:pt x="26397" y="8027"/>
                    <a:pt x="26394" y="8017"/>
                  </a:cubicBezTo>
                  <a:cubicBezTo>
                    <a:pt x="26387" y="7926"/>
                    <a:pt x="26156" y="7765"/>
                    <a:pt x="26058" y="7698"/>
                  </a:cubicBezTo>
                  <a:lnTo>
                    <a:pt x="26040" y="7684"/>
                  </a:lnTo>
                  <a:cubicBezTo>
                    <a:pt x="25963" y="7632"/>
                    <a:pt x="25956" y="7579"/>
                    <a:pt x="25963" y="7544"/>
                  </a:cubicBezTo>
                  <a:cubicBezTo>
                    <a:pt x="25981" y="7467"/>
                    <a:pt x="26072" y="7415"/>
                    <a:pt x="26275" y="7376"/>
                  </a:cubicBezTo>
                  <a:cubicBezTo>
                    <a:pt x="26299" y="7331"/>
                    <a:pt x="26296" y="7152"/>
                    <a:pt x="26292" y="7044"/>
                  </a:cubicBezTo>
                  <a:cubicBezTo>
                    <a:pt x="26292" y="6893"/>
                    <a:pt x="26289" y="6764"/>
                    <a:pt x="26320" y="6694"/>
                  </a:cubicBezTo>
                  <a:cubicBezTo>
                    <a:pt x="26355" y="6613"/>
                    <a:pt x="26432" y="6561"/>
                    <a:pt x="26516" y="6554"/>
                  </a:cubicBezTo>
                  <a:cubicBezTo>
                    <a:pt x="26519" y="6553"/>
                    <a:pt x="26523" y="6553"/>
                    <a:pt x="26526" y="6553"/>
                  </a:cubicBezTo>
                  <a:cubicBezTo>
                    <a:pt x="26568" y="6553"/>
                    <a:pt x="26609" y="6574"/>
                    <a:pt x="26635" y="6610"/>
                  </a:cubicBezTo>
                  <a:cubicBezTo>
                    <a:pt x="26656" y="6659"/>
                    <a:pt x="26653" y="6715"/>
                    <a:pt x="26618" y="6757"/>
                  </a:cubicBezTo>
                  <a:cubicBezTo>
                    <a:pt x="26523" y="6904"/>
                    <a:pt x="26443" y="7072"/>
                    <a:pt x="26565" y="7212"/>
                  </a:cubicBezTo>
                  <a:cubicBezTo>
                    <a:pt x="26740" y="7411"/>
                    <a:pt x="26786" y="7632"/>
                    <a:pt x="26723" y="7922"/>
                  </a:cubicBezTo>
                  <a:lnTo>
                    <a:pt x="26719" y="7936"/>
                  </a:lnTo>
                  <a:cubicBezTo>
                    <a:pt x="26765" y="7870"/>
                    <a:pt x="26807" y="7796"/>
                    <a:pt x="26845" y="7723"/>
                  </a:cubicBezTo>
                  <a:cubicBezTo>
                    <a:pt x="26985" y="7439"/>
                    <a:pt x="27020" y="7205"/>
                    <a:pt x="26982" y="7117"/>
                  </a:cubicBezTo>
                  <a:cubicBezTo>
                    <a:pt x="26982" y="7110"/>
                    <a:pt x="26975" y="7100"/>
                    <a:pt x="26968" y="7100"/>
                  </a:cubicBezTo>
                  <a:cubicBezTo>
                    <a:pt x="26877" y="7072"/>
                    <a:pt x="26842" y="6960"/>
                    <a:pt x="26838" y="6869"/>
                  </a:cubicBezTo>
                  <a:cubicBezTo>
                    <a:pt x="26835" y="6781"/>
                    <a:pt x="26863" y="6718"/>
                    <a:pt x="26915" y="6701"/>
                  </a:cubicBezTo>
                  <a:cubicBezTo>
                    <a:pt x="26925" y="6697"/>
                    <a:pt x="26936" y="6694"/>
                    <a:pt x="26949" y="6694"/>
                  </a:cubicBezTo>
                  <a:cubicBezTo>
                    <a:pt x="26980" y="6694"/>
                    <a:pt x="27020" y="6711"/>
                    <a:pt x="27062" y="6764"/>
                  </a:cubicBezTo>
                  <a:cubicBezTo>
                    <a:pt x="27104" y="6816"/>
                    <a:pt x="27150" y="6872"/>
                    <a:pt x="27178" y="6872"/>
                  </a:cubicBezTo>
                  <a:cubicBezTo>
                    <a:pt x="27220" y="6872"/>
                    <a:pt x="27318" y="6771"/>
                    <a:pt x="27353" y="6736"/>
                  </a:cubicBezTo>
                  <a:cubicBezTo>
                    <a:pt x="27528" y="6550"/>
                    <a:pt x="27678" y="6284"/>
                    <a:pt x="27664" y="6179"/>
                  </a:cubicBezTo>
                  <a:cubicBezTo>
                    <a:pt x="27664" y="6162"/>
                    <a:pt x="27657" y="6158"/>
                    <a:pt x="27654" y="6158"/>
                  </a:cubicBezTo>
                  <a:cubicBezTo>
                    <a:pt x="27566" y="6102"/>
                    <a:pt x="27577" y="6039"/>
                    <a:pt x="27587" y="6015"/>
                  </a:cubicBezTo>
                  <a:cubicBezTo>
                    <a:pt x="27622" y="5905"/>
                    <a:pt x="27814" y="5877"/>
                    <a:pt x="27950" y="5877"/>
                  </a:cubicBezTo>
                  <a:cubicBezTo>
                    <a:pt x="27967" y="5877"/>
                    <a:pt x="27982" y="5877"/>
                    <a:pt x="27997" y="5878"/>
                  </a:cubicBezTo>
                  <a:cubicBezTo>
                    <a:pt x="28006" y="5878"/>
                    <a:pt x="28015" y="5879"/>
                    <a:pt x="28024" y="5879"/>
                  </a:cubicBezTo>
                  <a:cubicBezTo>
                    <a:pt x="28237" y="5879"/>
                    <a:pt x="28614" y="5767"/>
                    <a:pt x="28718" y="5703"/>
                  </a:cubicBezTo>
                  <a:cubicBezTo>
                    <a:pt x="28714" y="5703"/>
                    <a:pt x="28710" y="5703"/>
                    <a:pt x="28705" y="5703"/>
                  </a:cubicBezTo>
                  <a:cubicBezTo>
                    <a:pt x="28620" y="5703"/>
                    <a:pt x="28457" y="5732"/>
                    <a:pt x="28354" y="5752"/>
                  </a:cubicBezTo>
                  <a:cubicBezTo>
                    <a:pt x="28206" y="5777"/>
                    <a:pt x="28103" y="5796"/>
                    <a:pt x="28031" y="5796"/>
                  </a:cubicBezTo>
                  <a:cubicBezTo>
                    <a:pt x="27982" y="5796"/>
                    <a:pt x="27948" y="5787"/>
                    <a:pt x="27924" y="5766"/>
                  </a:cubicBezTo>
                  <a:cubicBezTo>
                    <a:pt x="27902" y="5752"/>
                    <a:pt x="27892" y="5724"/>
                    <a:pt x="27892" y="5699"/>
                  </a:cubicBezTo>
                  <a:cubicBezTo>
                    <a:pt x="27892" y="5458"/>
                    <a:pt x="28729" y="5360"/>
                    <a:pt x="28841" y="5356"/>
                  </a:cubicBezTo>
                  <a:cubicBezTo>
                    <a:pt x="28942" y="5349"/>
                    <a:pt x="28960" y="5286"/>
                    <a:pt x="28977" y="5195"/>
                  </a:cubicBezTo>
                  <a:cubicBezTo>
                    <a:pt x="28988" y="5153"/>
                    <a:pt x="28995" y="5101"/>
                    <a:pt x="29047" y="5087"/>
                  </a:cubicBezTo>
                  <a:cubicBezTo>
                    <a:pt x="29053" y="5086"/>
                    <a:pt x="29058" y="5085"/>
                    <a:pt x="29064" y="5085"/>
                  </a:cubicBezTo>
                  <a:cubicBezTo>
                    <a:pt x="29111" y="5085"/>
                    <a:pt x="29144" y="5125"/>
                    <a:pt x="29163" y="5150"/>
                  </a:cubicBezTo>
                  <a:cubicBezTo>
                    <a:pt x="29212" y="5215"/>
                    <a:pt x="29274" y="5238"/>
                    <a:pt x="29335" y="5238"/>
                  </a:cubicBezTo>
                  <a:cubicBezTo>
                    <a:pt x="29411" y="5238"/>
                    <a:pt x="29487" y="5202"/>
                    <a:pt x="29537" y="5171"/>
                  </a:cubicBezTo>
                  <a:cubicBezTo>
                    <a:pt x="29572" y="5146"/>
                    <a:pt x="29586" y="5104"/>
                    <a:pt x="29576" y="5066"/>
                  </a:cubicBezTo>
                  <a:cubicBezTo>
                    <a:pt x="29562" y="4971"/>
                    <a:pt x="29495" y="4898"/>
                    <a:pt x="29408" y="4866"/>
                  </a:cubicBezTo>
                  <a:cubicBezTo>
                    <a:pt x="29362" y="4856"/>
                    <a:pt x="29324" y="4824"/>
                    <a:pt x="29306" y="4782"/>
                  </a:cubicBezTo>
                  <a:cubicBezTo>
                    <a:pt x="29289" y="4719"/>
                    <a:pt x="29334" y="4674"/>
                    <a:pt x="29380" y="4628"/>
                  </a:cubicBezTo>
                  <a:cubicBezTo>
                    <a:pt x="29401" y="4607"/>
                    <a:pt x="29439" y="4569"/>
                    <a:pt x="29439" y="4551"/>
                  </a:cubicBezTo>
                  <a:cubicBezTo>
                    <a:pt x="29383" y="4453"/>
                    <a:pt x="29460" y="4268"/>
                    <a:pt x="29485" y="4215"/>
                  </a:cubicBezTo>
                  <a:cubicBezTo>
                    <a:pt x="29520" y="4142"/>
                    <a:pt x="29642" y="3904"/>
                    <a:pt x="29835" y="3865"/>
                  </a:cubicBezTo>
                  <a:cubicBezTo>
                    <a:pt x="29922" y="3844"/>
                    <a:pt x="29943" y="3816"/>
                    <a:pt x="29968" y="3777"/>
                  </a:cubicBezTo>
                  <a:cubicBezTo>
                    <a:pt x="30000" y="3706"/>
                    <a:pt x="30072" y="3665"/>
                    <a:pt x="30149" y="3665"/>
                  </a:cubicBezTo>
                  <a:cubicBezTo>
                    <a:pt x="30155" y="3665"/>
                    <a:pt x="30161" y="3665"/>
                    <a:pt x="30168" y="3665"/>
                  </a:cubicBezTo>
                  <a:cubicBezTo>
                    <a:pt x="30252" y="3665"/>
                    <a:pt x="30294" y="3606"/>
                    <a:pt x="30367" y="3490"/>
                  </a:cubicBezTo>
                  <a:cubicBezTo>
                    <a:pt x="30409" y="3417"/>
                    <a:pt x="30462" y="3350"/>
                    <a:pt x="30521" y="3287"/>
                  </a:cubicBezTo>
                  <a:cubicBezTo>
                    <a:pt x="30564" y="3243"/>
                    <a:pt x="30611" y="3227"/>
                    <a:pt x="30659" y="3227"/>
                  </a:cubicBezTo>
                  <a:cubicBezTo>
                    <a:pt x="30731" y="3227"/>
                    <a:pt x="30804" y="3264"/>
                    <a:pt x="30868" y="3298"/>
                  </a:cubicBezTo>
                  <a:cubicBezTo>
                    <a:pt x="30945" y="3338"/>
                    <a:pt x="31008" y="3366"/>
                    <a:pt x="31067" y="3366"/>
                  </a:cubicBezTo>
                  <a:cubicBezTo>
                    <a:pt x="31113" y="3366"/>
                    <a:pt x="31157" y="3349"/>
                    <a:pt x="31204" y="3308"/>
                  </a:cubicBezTo>
                  <a:cubicBezTo>
                    <a:pt x="31316" y="3207"/>
                    <a:pt x="31435" y="3116"/>
                    <a:pt x="31561" y="3035"/>
                  </a:cubicBezTo>
                  <a:lnTo>
                    <a:pt x="31557" y="3028"/>
                  </a:lnTo>
                  <a:lnTo>
                    <a:pt x="31536" y="3000"/>
                  </a:lnTo>
                  <a:lnTo>
                    <a:pt x="31512" y="2965"/>
                  </a:lnTo>
                  <a:lnTo>
                    <a:pt x="31491" y="2934"/>
                  </a:lnTo>
                  <a:lnTo>
                    <a:pt x="31470" y="2902"/>
                  </a:lnTo>
                  <a:lnTo>
                    <a:pt x="31452" y="2871"/>
                  </a:lnTo>
                  <a:lnTo>
                    <a:pt x="31431" y="2843"/>
                  </a:lnTo>
                  <a:lnTo>
                    <a:pt x="31414" y="2811"/>
                  </a:lnTo>
                  <a:lnTo>
                    <a:pt x="31396" y="2783"/>
                  </a:lnTo>
                  <a:lnTo>
                    <a:pt x="31379" y="2752"/>
                  </a:lnTo>
                  <a:lnTo>
                    <a:pt x="31361" y="2724"/>
                  </a:lnTo>
                  <a:lnTo>
                    <a:pt x="31347" y="2692"/>
                  </a:lnTo>
                  <a:lnTo>
                    <a:pt x="31333" y="2664"/>
                  </a:lnTo>
                  <a:lnTo>
                    <a:pt x="31316" y="2636"/>
                  </a:lnTo>
                  <a:lnTo>
                    <a:pt x="31305" y="2608"/>
                  </a:lnTo>
                  <a:lnTo>
                    <a:pt x="31291" y="2580"/>
                  </a:lnTo>
                  <a:lnTo>
                    <a:pt x="31277" y="2556"/>
                  </a:lnTo>
                  <a:lnTo>
                    <a:pt x="31267" y="2524"/>
                  </a:lnTo>
                  <a:lnTo>
                    <a:pt x="31256" y="2500"/>
                  </a:lnTo>
                  <a:lnTo>
                    <a:pt x="31242" y="2472"/>
                  </a:lnTo>
                  <a:lnTo>
                    <a:pt x="31235" y="2447"/>
                  </a:lnTo>
                  <a:lnTo>
                    <a:pt x="31225" y="2419"/>
                  </a:lnTo>
                  <a:lnTo>
                    <a:pt x="31214" y="2395"/>
                  </a:lnTo>
                  <a:lnTo>
                    <a:pt x="31207" y="2367"/>
                  </a:lnTo>
                  <a:lnTo>
                    <a:pt x="31200" y="2346"/>
                  </a:lnTo>
                  <a:lnTo>
                    <a:pt x="31190" y="2318"/>
                  </a:lnTo>
                  <a:lnTo>
                    <a:pt x="31183" y="2297"/>
                  </a:lnTo>
                  <a:lnTo>
                    <a:pt x="31176" y="2269"/>
                  </a:lnTo>
                  <a:lnTo>
                    <a:pt x="31172" y="2248"/>
                  </a:lnTo>
                  <a:lnTo>
                    <a:pt x="31165" y="2223"/>
                  </a:lnTo>
                  <a:lnTo>
                    <a:pt x="31158" y="2202"/>
                  </a:lnTo>
                  <a:lnTo>
                    <a:pt x="31155" y="2178"/>
                  </a:lnTo>
                  <a:lnTo>
                    <a:pt x="31148" y="2157"/>
                  </a:lnTo>
                  <a:cubicBezTo>
                    <a:pt x="31148" y="2150"/>
                    <a:pt x="31144" y="2139"/>
                    <a:pt x="31144" y="2132"/>
                  </a:cubicBezTo>
                  <a:lnTo>
                    <a:pt x="31141" y="2115"/>
                  </a:lnTo>
                  <a:lnTo>
                    <a:pt x="31137" y="2090"/>
                  </a:lnTo>
                  <a:lnTo>
                    <a:pt x="31134" y="2073"/>
                  </a:lnTo>
                  <a:cubicBezTo>
                    <a:pt x="31134" y="2062"/>
                    <a:pt x="31130" y="2055"/>
                    <a:pt x="31130" y="2048"/>
                  </a:cubicBezTo>
                  <a:lnTo>
                    <a:pt x="31130" y="2031"/>
                  </a:lnTo>
                  <a:cubicBezTo>
                    <a:pt x="31130" y="2024"/>
                    <a:pt x="31130" y="2013"/>
                    <a:pt x="31127" y="2006"/>
                  </a:cubicBezTo>
                  <a:cubicBezTo>
                    <a:pt x="31123" y="1999"/>
                    <a:pt x="31127" y="1996"/>
                    <a:pt x="31127" y="1989"/>
                  </a:cubicBezTo>
                  <a:lnTo>
                    <a:pt x="31127" y="1968"/>
                  </a:lnTo>
                  <a:lnTo>
                    <a:pt x="31127" y="1950"/>
                  </a:lnTo>
                  <a:lnTo>
                    <a:pt x="31127" y="1929"/>
                  </a:lnTo>
                  <a:lnTo>
                    <a:pt x="31127" y="1915"/>
                  </a:lnTo>
                  <a:lnTo>
                    <a:pt x="31127" y="1894"/>
                  </a:lnTo>
                  <a:lnTo>
                    <a:pt x="31127" y="1880"/>
                  </a:lnTo>
                  <a:lnTo>
                    <a:pt x="31127" y="1859"/>
                  </a:lnTo>
                  <a:lnTo>
                    <a:pt x="31127" y="1845"/>
                  </a:lnTo>
                  <a:lnTo>
                    <a:pt x="31127" y="1824"/>
                  </a:lnTo>
                  <a:lnTo>
                    <a:pt x="31127" y="1810"/>
                  </a:lnTo>
                  <a:lnTo>
                    <a:pt x="31127" y="1792"/>
                  </a:lnTo>
                  <a:lnTo>
                    <a:pt x="31127" y="1778"/>
                  </a:lnTo>
                  <a:lnTo>
                    <a:pt x="31127" y="1761"/>
                  </a:lnTo>
                  <a:lnTo>
                    <a:pt x="31127" y="1750"/>
                  </a:lnTo>
                  <a:lnTo>
                    <a:pt x="31127" y="1733"/>
                  </a:lnTo>
                  <a:lnTo>
                    <a:pt x="31127" y="1722"/>
                  </a:lnTo>
                  <a:lnTo>
                    <a:pt x="31127" y="1705"/>
                  </a:lnTo>
                  <a:lnTo>
                    <a:pt x="31127" y="1698"/>
                  </a:lnTo>
                  <a:lnTo>
                    <a:pt x="31127" y="1677"/>
                  </a:lnTo>
                  <a:cubicBezTo>
                    <a:pt x="31127" y="1663"/>
                    <a:pt x="31130" y="1645"/>
                    <a:pt x="31130" y="1635"/>
                  </a:cubicBezTo>
                  <a:cubicBezTo>
                    <a:pt x="31134" y="1603"/>
                    <a:pt x="31134" y="1572"/>
                    <a:pt x="31134" y="1540"/>
                  </a:cubicBezTo>
                  <a:cubicBezTo>
                    <a:pt x="31120" y="1516"/>
                    <a:pt x="31004" y="1505"/>
                    <a:pt x="30927" y="1502"/>
                  </a:cubicBezTo>
                  <a:lnTo>
                    <a:pt x="30913" y="1502"/>
                  </a:lnTo>
                  <a:cubicBezTo>
                    <a:pt x="30756" y="1491"/>
                    <a:pt x="30563" y="1477"/>
                    <a:pt x="30430" y="1376"/>
                  </a:cubicBezTo>
                  <a:cubicBezTo>
                    <a:pt x="30420" y="1369"/>
                    <a:pt x="30409" y="1365"/>
                    <a:pt x="30395" y="1365"/>
                  </a:cubicBezTo>
                  <a:cubicBezTo>
                    <a:pt x="30388" y="1365"/>
                    <a:pt x="30385" y="1369"/>
                    <a:pt x="30378" y="1369"/>
                  </a:cubicBezTo>
                  <a:cubicBezTo>
                    <a:pt x="30196" y="1432"/>
                    <a:pt x="29912" y="2003"/>
                    <a:pt x="29838" y="2311"/>
                  </a:cubicBezTo>
                  <a:cubicBezTo>
                    <a:pt x="29751" y="2671"/>
                    <a:pt x="29156" y="3046"/>
                    <a:pt x="29131" y="3063"/>
                  </a:cubicBezTo>
                  <a:lnTo>
                    <a:pt x="29114" y="3074"/>
                  </a:lnTo>
                  <a:lnTo>
                    <a:pt x="29089" y="3074"/>
                  </a:lnTo>
                  <a:cubicBezTo>
                    <a:pt x="29068" y="3074"/>
                    <a:pt x="27356" y="3088"/>
                    <a:pt x="27209" y="3088"/>
                  </a:cubicBezTo>
                  <a:lnTo>
                    <a:pt x="27192" y="3088"/>
                  </a:lnTo>
                  <a:lnTo>
                    <a:pt x="27185" y="3091"/>
                  </a:lnTo>
                  <a:lnTo>
                    <a:pt x="27178" y="3095"/>
                  </a:lnTo>
                  <a:lnTo>
                    <a:pt x="27171" y="3098"/>
                  </a:lnTo>
                  <a:lnTo>
                    <a:pt x="27164" y="3102"/>
                  </a:lnTo>
                  <a:lnTo>
                    <a:pt x="27153" y="3109"/>
                  </a:lnTo>
                  <a:lnTo>
                    <a:pt x="27143" y="3116"/>
                  </a:lnTo>
                  <a:lnTo>
                    <a:pt x="27132" y="3123"/>
                  </a:lnTo>
                  <a:lnTo>
                    <a:pt x="27129" y="3123"/>
                  </a:lnTo>
                  <a:lnTo>
                    <a:pt x="27115" y="3130"/>
                  </a:lnTo>
                  <a:lnTo>
                    <a:pt x="27111" y="3130"/>
                  </a:lnTo>
                  <a:lnTo>
                    <a:pt x="27101" y="3137"/>
                  </a:lnTo>
                  <a:lnTo>
                    <a:pt x="27097" y="3137"/>
                  </a:lnTo>
                  <a:lnTo>
                    <a:pt x="27083" y="3147"/>
                  </a:lnTo>
                  <a:lnTo>
                    <a:pt x="27080" y="3151"/>
                  </a:lnTo>
                  <a:lnTo>
                    <a:pt x="27062" y="3161"/>
                  </a:lnTo>
                  <a:lnTo>
                    <a:pt x="27059" y="3165"/>
                  </a:lnTo>
                  <a:lnTo>
                    <a:pt x="27041" y="3179"/>
                  </a:lnTo>
                  <a:lnTo>
                    <a:pt x="27038" y="3182"/>
                  </a:lnTo>
                  <a:lnTo>
                    <a:pt x="27020" y="3193"/>
                  </a:lnTo>
                  <a:lnTo>
                    <a:pt x="27013" y="3196"/>
                  </a:lnTo>
                  <a:lnTo>
                    <a:pt x="26996" y="3214"/>
                  </a:lnTo>
                  <a:lnTo>
                    <a:pt x="26989" y="3217"/>
                  </a:lnTo>
                  <a:lnTo>
                    <a:pt x="26968" y="3231"/>
                  </a:lnTo>
                  <a:lnTo>
                    <a:pt x="26961" y="3238"/>
                  </a:lnTo>
                  <a:lnTo>
                    <a:pt x="26940" y="3256"/>
                  </a:lnTo>
                  <a:lnTo>
                    <a:pt x="26933" y="3259"/>
                  </a:lnTo>
                  <a:lnTo>
                    <a:pt x="26912" y="3280"/>
                  </a:lnTo>
                  <a:lnTo>
                    <a:pt x="26901" y="3284"/>
                  </a:lnTo>
                  <a:lnTo>
                    <a:pt x="26877" y="3305"/>
                  </a:lnTo>
                  <a:lnTo>
                    <a:pt x="26870" y="3312"/>
                  </a:lnTo>
                  <a:lnTo>
                    <a:pt x="26845" y="3333"/>
                  </a:lnTo>
                  <a:lnTo>
                    <a:pt x="26835" y="3340"/>
                  </a:lnTo>
                  <a:lnTo>
                    <a:pt x="26807" y="3364"/>
                  </a:lnTo>
                  <a:lnTo>
                    <a:pt x="26796" y="3371"/>
                  </a:lnTo>
                  <a:lnTo>
                    <a:pt x="26768" y="3396"/>
                  </a:lnTo>
                  <a:lnTo>
                    <a:pt x="26758" y="3406"/>
                  </a:lnTo>
                  <a:lnTo>
                    <a:pt x="26726" y="3431"/>
                  </a:lnTo>
                  <a:lnTo>
                    <a:pt x="26716" y="3441"/>
                  </a:lnTo>
                  <a:lnTo>
                    <a:pt x="26681" y="3469"/>
                  </a:lnTo>
                  <a:lnTo>
                    <a:pt x="26674" y="3480"/>
                  </a:lnTo>
                  <a:lnTo>
                    <a:pt x="26635" y="3511"/>
                  </a:lnTo>
                  <a:lnTo>
                    <a:pt x="26628" y="3518"/>
                  </a:lnTo>
                  <a:lnTo>
                    <a:pt x="26586" y="3553"/>
                  </a:lnTo>
                  <a:lnTo>
                    <a:pt x="26579" y="3564"/>
                  </a:lnTo>
                  <a:lnTo>
                    <a:pt x="26569" y="3571"/>
                  </a:lnTo>
                  <a:cubicBezTo>
                    <a:pt x="26611" y="3644"/>
                    <a:pt x="26611" y="3739"/>
                    <a:pt x="26569" y="3812"/>
                  </a:cubicBezTo>
                  <a:cubicBezTo>
                    <a:pt x="26429" y="4061"/>
                    <a:pt x="25872" y="4170"/>
                    <a:pt x="25441" y="4187"/>
                  </a:cubicBezTo>
                  <a:cubicBezTo>
                    <a:pt x="25298" y="4194"/>
                    <a:pt x="25186" y="4205"/>
                    <a:pt x="25084" y="4219"/>
                  </a:cubicBezTo>
                  <a:cubicBezTo>
                    <a:pt x="25088" y="4240"/>
                    <a:pt x="25091" y="4257"/>
                    <a:pt x="25095" y="4275"/>
                  </a:cubicBezTo>
                  <a:lnTo>
                    <a:pt x="25095" y="4289"/>
                  </a:lnTo>
                  <a:cubicBezTo>
                    <a:pt x="25095" y="4303"/>
                    <a:pt x="25095" y="4317"/>
                    <a:pt x="25098" y="4327"/>
                  </a:cubicBezTo>
                  <a:lnTo>
                    <a:pt x="25098" y="4341"/>
                  </a:lnTo>
                  <a:cubicBezTo>
                    <a:pt x="25098" y="4355"/>
                    <a:pt x="25098" y="4373"/>
                    <a:pt x="25098" y="4387"/>
                  </a:cubicBezTo>
                  <a:cubicBezTo>
                    <a:pt x="25095" y="4394"/>
                    <a:pt x="25095" y="4401"/>
                    <a:pt x="25091" y="4408"/>
                  </a:cubicBezTo>
                  <a:cubicBezTo>
                    <a:pt x="25091" y="4411"/>
                    <a:pt x="25091" y="4415"/>
                    <a:pt x="25088" y="4415"/>
                  </a:cubicBezTo>
                  <a:cubicBezTo>
                    <a:pt x="25088" y="4422"/>
                    <a:pt x="25084" y="4425"/>
                    <a:pt x="25084" y="4429"/>
                  </a:cubicBezTo>
                  <a:cubicBezTo>
                    <a:pt x="25084" y="4432"/>
                    <a:pt x="25077" y="4436"/>
                    <a:pt x="25077" y="4439"/>
                  </a:cubicBezTo>
                  <a:cubicBezTo>
                    <a:pt x="25074" y="4443"/>
                    <a:pt x="25070" y="4450"/>
                    <a:pt x="25067" y="4453"/>
                  </a:cubicBezTo>
                  <a:lnTo>
                    <a:pt x="25060" y="4464"/>
                  </a:lnTo>
                  <a:lnTo>
                    <a:pt x="25046" y="4474"/>
                  </a:lnTo>
                  <a:lnTo>
                    <a:pt x="25035" y="4485"/>
                  </a:lnTo>
                  <a:lnTo>
                    <a:pt x="25021" y="4495"/>
                  </a:lnTo>
                  <a:lnTo>
                    <a:pt x="25007" y="4506"/>
                  </a:lnTo>
                  <a:lnTo>
                    <a:pt x="24990" y="4520"/>
                  </a:lnTo>
                  <a:lnTo>
                    <a:pt x="24972" y="4530"/>
                  </a:lnTo>
                  <a:lnTo>
                    <a:pt x="24951" y="4544"/>
                  </a:lnTo>
                  <a:lnTo>
                    <a:pt x="24934" y="4555"/>
                  </a:lnTo>
                  <a:lnTo>
                    <a:pt x="24916" y="4562"/>
                  </a:lnTo>
                  <a:cubicBezTo>
                    <a:pt x="24811" y="4730"/>
                    <a:pt x="24381" y="4961"/>
                    <a:pt x="23835" y="5244"/>
                  </a:cubicBezTo>
                  <a:lnTo>
                    <a:pt x="23649" y="5342"/>
                  </a:lnTo>
                  <a:cubicBezTo>
                    <a:pt x="23478" y="5431"/>
                    <a:pt x="23282" y="5476"/>
                    <a:pt x="23097" y="5476"/>
                  </a:cubicBezTo>
                  <a:cubicBezTo>
                    <a:pt x="22934" y="5476"/>
                    <a:pt x="22780" y="5441"/>
                    <a:pt x="22662" y="5370"/>
                  </a:cubicBezTo>
                  <a:cubicBezTo>
                    <a:pt x="22539" y="5304"/>
                    <a:pt x="22462" y="5178"/>
                    <a:pt x="22459" y="5041"/>
                  </a:cubicBezTo>
                  <a:cubicBezTo>
                    <a:pt x="22459" y="4789"/>
                    <a:pt x="22602" y="4733"/>
                    <a:pt x="22665" y="4719"/>
                  </a:cubicBezTo>
                  <a:cubicBezTo>
                    <a:pt x="22682" y="4717"/>
                    <a:pt x="22698" y="4715"/>
                    <a:pt x="22714" y="4715"/>
                  </a:cubicBezTo>
                  <a:cubicBezTo>
                    <a:pt x="22830" y="4715"/>
                    <a:pt x="22939" y="4779"/>
                    <a:pt x="22994" y="4884"/>
                  </a:cubicBezTo>
                  <a:cubicBezTo>
                    <a:pt x="23019" y="4873"/>
                    <a:pt x="23040" y="4859"/>
                    <a:pt x="23064" y="4845"/>
                  </a:cubicBezTo>
                  <a:cubicBezTo>
                    <a:pt x="23057" y="4838"/>
                    <a:pt x="23054" y="4831"/>
                    <a:pt x="23050" y="4824"/>
                  </a:cubicBezTo>
                  <a:cubicBezTo>
                    <a:pt x="23047" y="4817"/>
                    <a:pt x="23047" y="4814"/>
                    <a:pt x="23043" y="4810"/>
                  </a:cubicBezTo>
                  <a:cubicBezTo>
                    <a:pt x="23036" y="4796"/>
                    <a:pt x="23029" y="4779"/>
                    <a:pt x="23022" y="4761"/>
                  </a:cubicBezTo>
                  <a:cubicBezTo>
                    <a:pt x="23022" y="4758"/>
                    <a:pt x="23022" y="4754"/>
                    <a:pt x="23019" y="4751"/>
                  </a:cubicBezTo>
                  <a:cubicBezTo>
                    <a:pt x="23015" y="4737"/>
                    <a:pt x="23008" y="4723"/>
                    <a:pt x="23005" y="4709"/>
                  </a:cubicBezTo>
                  <a:cubicBezTo>
                    <a:pt x="23005" y="4702"/>
                    <a:pt x="23005" y="4698"/>
                    <a:pt x="23001" y="4691"/>
                  </a:cubicBezTo>
                  <a:cubicBezTo>
                    <a:pt x="23001" y="4677"/>
                    <a:pt x="22998" y="4663"/>
                    <a:pt x="22994" y="4646"/>
                  </a:cubicBezTo>
                  <a:lnTo>
                    <a:pt x="22994" y="4632"/>
                  </a:lnTo>
                  <a:cubicBezTo>
                    <a:pt x="22994" y="4611"/>
                    <a:pt x="22994" y="4590"/>
                    <a:pt x="22994" y="4569"/>
                  </a:cubicBezTo>
                  <a:lnTo>
                    <a:pt x="22994" y="4565"/>
                  </a:lnTo>
                  <a:cubicBezTo>
                    <a:pt x="22994" y="4544"/>
                    <a:pt x="22994" y="4523"/>
                    <a:pt x="22994" y="4502"/>
                  </a:cubicBezTo>
                  <a:lnTo>
                    <a:pt x="22994" y="4481"/>
                  </a:lnTo>
                  <a:cubicBezTo>
                    <a:pt x="22994" y="4474"/>
                    <a:pt x="22994" y="4464"/>
                    <a:pt x="22998" y="4457"/>
                  </a:cubicBezTo>
                  <a:cubicBezTo>
                    <a:pt x="22945" y="4397"/>
                    <a:pt x="22949" y="4289"/>
                    <a:pt x="22956" y="4170"/>
                  </a:cubicBezTo>
                  <a:cubicBezTo>
                    <a:pt x="22959" y="3977"/>
                    <a:pt x="22956" y="3830"/>
                    <a:pt x="22847" y="3791"/>
                  </a:cubicBezTo>
                  <a:cubicBezTo>
                    <a:pt x="22830" y="3786"/>
                    <a:pt x="22812" y="3784"/>
                    <a:pt x="22794" y="3784"/>
                  </a:cubicBezTo>
                  <a:cubicBezTo>
                    <a:pt x="22691" y="3784"/>
                    <a:pt x="22572" y="3858"/>
                    <a:pt x="22483" y="3918"/>
                  </a:cubicBezTo>
                  <a:cubicBezTo>
                    <a:pt x="22413" y="3962"/>
                    <a:pt x="22358" y="3998"/>
                    <a:pt x="22309" y="3998"/>
                  </a:cubicBezTo>
                  <a:cubicBezTo>
                    <a:pt x="22292" y="3998"/>
                    <a:pt x="22275" y="3994"/>
                    <a:pt x="22259" y="3984"/>
                  </a:cubicBezTo>
                  <a:cubicBezTo>
                    <a:pt x="22200" y="3942"/>
                    <a:pt x="22214" y="3854"/>
                    <a:pt x="22221" y="3816"/>
                  </a:cubicBezTo>
                  <a:cubicBezTo>
                    <a:pt x="22238" y="3693"/>
                    <a:pt x="22308" y="3585"/>
                    <a:pt x="22371" y="3476"/>
                  </a:cubicBezTo>
                  <a:cubicBezTo>
                    <a:pt x="22494" y="3277"/>
                    <a:pt x="22599" y="3105"/>
                    <a:pt x="22448" y="2867"/>
                  </a:cubicBezTo>
                  <a:cubicBezTo>
                    <a:pt x="22307" y="2650"/>
                    <a:pt x="22115" y="2577"/>
                    <a:pt x="21978" y="2577"/>
                  </a:cubicBezTo>
                  <a:cubicBezTo>
                    <a:pt x="21962" y="2577"/>
                    <a:pt x="21948" y="2578"/>
                    <a:pt x="21934" y="2580"/>
                  </a:cubicBezTo>
                  <a:cubicBezTo>
                    <a:pt x="21832" y="2587"/>
                    <a:pt x="21745" y="2657"/>
                    <a:pt x="21717" y="2755"/>
                  </a:cubicBezTo>
                  <a:cubicBezTo>
                    <a:pt x="21653" y="2958"/>
                    <a:pt x="21496" y="3004"/>
                    <a:pt x="21373" y="3039"/>
                  </a:cubicBezTo>
                  <a:cubicBezTo>
                    <a:pt x="21265" y="3070"/>
                    <a:pt x="21195" y="3095"/>
                    <a:pt x="21156" y="3175"/>
                  </a:cubicBezTo>
                  <a:cubicBezTo>
                    <a:pt x="21037" y="3410"/>
                    <a:pt x="20925" y="3932"/>
                    <a:pt x="21016" y="4296"/>
                  </a:cubicBezTo>
                  <a:cubicBezTo>
                    <a:pt x="21128" y="4747"/>
                    <a:pt x="20946" y="4957"/>
                    <a:pt x="20596" y="5167"/>
                  </a:cubicBezTo>
                  <a:cubicBezTo>
                    <a:pt x="20532" y="5206"/>
                    <a:pt x="20469" y="5225"/>
                    <a:pt x="20409" y="5225"/>
                  </a:cubicBezTo>
                  <a:cubicBezTo>
                    <a:pt x="20355" y="5225"/>
                    <a:pt x="20303" y="5209"/>
                    <a:pt x="20257" y="5178"/>
                  </a:cubicBezTo>
                  <a:cubicBezTo>
                    <a:pt x="20050" y="5031"/>
                    <a:pt x="19984" y="4579"/>
                    <a:pt x="20085" y="4058"/>
                  </a:cubicBezTo>
                  <a:cubicBezTo>
                    <a:pt x="20120" y="3900"/>
                    <a:pt x="20162" y="3746"/>
                    <a:pt x="20215" y="3592"/>
                  </a:cubicBezTo>
                  <a:cubicBezTo>
                    <a:pt x="20267" y="3434"/>
                    <a:pt x="20330" y="3238"/>
                    <a:pt x="20299" y="3196"/>
                  </a:cubicBezTo>
                  <a:cubicBezTo>
                    <a:pt x="20294" y="3191"/>
                    <a:pt x="20287" y="3188"/>
                    <a:pt x="20279" y="3188"/>
                  </a:cubicBezTo>
                  <a:cubicBezTo>
                    <a:pt x="20276" y="3188"/>
                    <a:pt x="20273" y="3188"/>
                    <a:pt x="20271" y="3189"/>
                  </a:cubicBezTo>
                  <a:cubicBezTo>
                    <a:pt x="20266" y="3190"/>
                    <a:pt x="20262" y="3190"/>
                    <a:pt x="20258" y="3190"/>
                  </a:cubicBezTo>
                  <a:cubicBezTo>
                    <a:pt x="20203" y="3190"/>
                    <a:pt x="20155" y="3150"/>
                    <a:pt x="20148" y="3095"/>
                  </a:cubicBezTo>
                  <a:cubicBezTo>
                    <a:pt x="20127" y="2906"/>
                    <a:pt x="20652" y="2458"/>
                    <a:pt x="21083" y="2356"/>
                  </a:cubicBezTo>
                  <a:cubicBezTo>
                    <a:pt x="21296" y="2311"/>
                    <a:pt x="21517" y="2279"/>
                    <a:pt x="21738" y="2265"/>
                  </a:cubicBezTo>
                  <a:cubicBezTo>
                    <a:pt x="21902" y="2251"/>
                    <a:pt x="22130" y="2230"/>
                    <a:pt x="22172" y="2195"/>
                  </a:cubicBezTo>
                  <a:cubicBezTo>
                    <a:pt x="22172" y="2174"/>
                    <a:pt x="22179" y="2153"/>
                    <a:pt x="22189" y="2139"/>
                  </a:cubicBezTo>
                  <a:lnTo>
                    <a:pt x="22182" y="2132"/>
                  </a:lnTo>
                  <a:lnTo>
                    <a:pt x="22151" y="2111"/>
                  </a:lnTo>
                  <a:lnTo>
                    <a:pt x="22137" y="2101"/>
                  </a:lnTo>
                  <a:lnTo>
                    <a:pt x="22098" y="2073"/>
                  </a:lnTo>
                  <a:lnTo>
                    <a:pt x="22095" y="2073"/>
                  </a:lnTo>
                  <a:lnTo>
                    <a:pt x="22053" y="2045"/>
                  </a:lnTo>
                  <a:lnTo>
                    <a:pt x="22046" y="2041"/>
                  </a:lnTo>
                  <a:lnTo>
                    <a:pt x="22011" y="2017"/>
                  </a:lnTo>
                  <a:lnTo>
                    <a:pt x="22007" y="2017"/>
                  </a:lnTo>
                  <a:cubicBezTo>
                    <a:pt x="21993" y="2034"/>
                    <a:pt x="21976" y="2052"/>
                    <a:pt x="21958" y="2062"/>
                  </a:cubicBezTo>
                  <a:cubicBezTo>
                    <a:pt x="21912" y="2095"/>
                    <a:pt x="21872" y="2108"/>
                    <a:pt x="21838" y="2108"/>
                  </a:cubicBezTo>
                  <a:cubicBezTo>
                    <a:pt x="21765" y="2108"/>
                    <a:pt x="21717" y="2048"/>
                    <a:pt x="21681" y="2003"/>
                  </a:cubicBezTo>
                  <a:cubicBezTo>
                    <a:pt x="21629" y="1936"/>
                    <a:pt x="21566" y="1856"/>
                    <a:pt x="21412" y="1856"/>
                  </a:cubicBezTo>
                  <a:cubicBezTo>
                    <a:pt x="21268" y="1856"/>
                    <a:pt x="21118" y="1915"/>
                    <a:pt x="20974" y="1975"/>
                  </a:cubicBezTo>
                  <a:cubicBezTo>
                    <a:pt x="20833" y="2030"/>
                    <a:pt x="20688" y="2086"/>
                    <a:pt x="20549" y="2086"/>
                  </a:cubicBezTo>
                  <a:cubicBezTo>
                    <a:pt x="20485" y="2086"/>
                    <a:pt x="20422" y="2074"/>
                    <a:pt x="20362" y="2045"/>
                  </a:cubicBezTo>
                  <a:cubicBezTo>
                    <a:pt x="20253" y="1996"/>
                    <a:pt x="20166" y="1908"/>
                    <a:pt x="20120" y="1799"/>
                  </a:cubicBezTo>
                  <a:cubicBezTo>
                    <a:pt x="20089" y="1733"/>
                    <a:pt x="20078" y="1712"/>
                    <a:pt x="19977" y="1712"/>
                  </a:cubicBezTo>
                  <a:cubicBezTo>
                    <a:pt x="19973" y="1712"/>
                    <a:pt x="19970" y="1712"/>
                    <a:pt x="19966" y="1712"/>
                  </a:cubicBezTo>
                  <a:cubicBezTo>
                    <a:pt x="19921" y="1712"/>
                    <a:pt x="19876" y="1692"/>
                    <a:pt x="19847" y="1656"/>
                  </a:cubicBezTo>
                  <a:cubicBezTo>
                    <a:pt x="19798" y="1589"/>
                    <a:pt x="19830" y="1495"/>
                    <a:pt x="19858" y="1411"/>
                  </a:cubicBezTo>
                  <a:lnTo>
                    <a:pt x="19868" y="1386"/>
                  </a:lnTo>
                  <a:lnTo>
                    <a:pt x="19868" y="1386"/>
                  </a:lnTo>
                  <a:cubicBezTo>
                    <a:pt x="19854" y="1393"/>
                    <a:pt x="19837" y="1400"/>
                    <a:pt x="19816" y="1414"/>
                  </a:cubicBezTo>
                  <a:cubicBezTo>
                    <a:pt x="19721" y="1467"/>
                    <a:pt x="19616" y="1537"/>
                    <a:pt x="19507" y="1610"/>
                  </a:cubicBezTo>
                  <a:cubicBezTo>
                    <a:pt x="19239" y="1793"/>
                    <a:pt x="18944" y="1993"/>
                    <a:pt x="18713" y="1993"/>
                  </a:cubicBezTo>
                  <a:cubicBezTo>
                    <a:pt x="18635" y="1993"/>
                    <a:pt x="18563" y="1970"/>
                    <a:pt x="18503" y="1915"/>
                  </a:cubicBezTo>
                  <a:cubicBezTo>
                    <a:pt x="18435" y="1853"/>
                    <a:pt x="18371" y="1834"/>
                    <a:pt x="18307" y="1834"/>
                  </a:cubicBezTo>
                  <a:cubicBezTo>
                    <a:pt x="18259" y="1834"/>
                    <a:pt x="18211" y="1845"/>
                    <a:pt x="18160" y="1856"/>
                  </a:cubicBezTo>
                  <a:cubicBezTo>
                    <a:pt x="18107" y="1866"/>
                    <a:pt x="18054" y="1877"/>
                    <a:pt x="18002" y="1877"/>
                  </a:cubicBezTo>
                  <a:cubicBezTo>
                    <a:pt x="17931" y="1877"/>
                    <a:pt x="17862" y="1857"/>
                    <a:pt x="17796" y="1789"/>
                  </a:cubicBezTo>
                  <a:cubicBezTo>
                    <a:pt x="17743" y="1736"/>
                    <a:pt x="17733" y="1656"/>
                    <a:pt x="17768" y="1589"/>
                  </a:cubicBezTo>
                  <a:cubicBezTo>
                    <a:pt x="17891" y="1323"/>
                    <a:pt x="18548" y="973"/>
                    <a:pt x="18911" y="973"/>
                  </a:cubicBezTo>
                  <a:cubicBezTo>
                    <a:pt x="18920" y="973"/>
                    <a:pt x="18928" y="973"/>
                    <a:pt x="18937" y="973"/>
                  </a:cubicBezTo>
                  <a:cubicBezTo>
                    <a:pt x="18943" y="974"/>
                    <a:pt x="18949" y="974"/>
                    <a:pt x="18954" y="974"/>
                  </a:cubicBezTo>
                  <a:cubicBezTo>
                    <a:pt x="18994" y="974"/>
                    <a:pt x="19033" y="964"/>
                    <a:pt x="19070" y="949"/>
                  </a:cubicBezTo>
                  <a:cubicBezTo>
                    <a:pt x="18954" y="907"/>
                    <a:pt x="18839" y="872"/>
                    <a:pt x="18720" y="847"/>
                  </a:cubicBezTo>
                  <a:cubicBezTo>
                    <a:pt x="18672" y="838"/>
                    <a:pt x="18626" y="832"/>
                    <a:pt x="18588" y="832"/>
                  </a:cubicBezTo>
                  <a:cubicBezTo>
                    <a:pt x="18540" y="832"/>
                    <a:pt x="18503" y="841"/>
                    <a:pt x="18485" y="865"/>
                  </a:cubicBezTo>
                  <a:cubicBezTo>
                    <a:pt x="18436" y="924"/>
                    <a:pt x="18366" y="966"/>
                    <a:pt x="18289" y="977"/>
                  </a:cubicBezTo>
                  <a:lnTo>
                    <a:pt x="18254" y="977"/>
                  </a:lnTo>
                  <a:cubicBezTo>
                    <a:pt x="18219" y="977"/>
                    <a:pt x="18184" y="970"/>
                    <a:pt x="18153" y="959"/>
                  </a:cubicBezTo>
                  <a:cubicBezTo>
                    <a:pt x="18058" y="921"/>
                    <a:pt x="17974" y="861"/>
                    <a:pt x="17915" y="781"/>
                  </a:cubicBezTo>
                  <a:cubicBezTo>
                    <a:pt x="17893" y="751"/>
                    <a:pt x="17874" y="744"/>
                    <a:pt x="17836" y="744"/>
                  </a:cubicBezTo>
                  <a:cubicBezTo>
                    <a:pt x="17824" y="744"/>
                    <a:pt x="17811" y="745"/>
                    <a:pt x="17796" y="746"/>
                  </a:cubicBezTo>
                  <a:cubicBezTo>
                    <a:pt x="17782" y="747"/>
                    <a:pt x="17769" y="748"/>
                    <a:pt x="17755" y="748"/>
                  </a:cubicBezTo>
                  <a:cubicBezTo>
                    <a:pt x="17643" y="748"/>
                    <a:pt x="17532" y="696"/>
                    <a:pt x="17463" y="602"/>
                  </a:cubicBezTo>
                  <a:cubicBezTo>
                    <a:pt x="17403" y="534"/>
                    <a:pt x="17348" y="508"/>
                    <a:pt x="17290" y="508"/>
                  </a:cubicBezTo>
                  <a:cubicBezTo>
                    <a:pt x="17230" y="508"/>
                    <a:pt x="17169" y="537"/>
                    <a:pt x="17099" y="574"/>
                  </a:cubicBezTo>
                  <a:cubicBezTo>
                    <a:pt x="17078" y="585"/>
                    <a:pt x="17057" y="595"/>
                    <a:pt x="17036" y="606"/>
                  </a:cubicBezTo>
                  <a:cubicBezTo>
                    <a:pt x="17010" y="616"/>
                    <a:pt x="16985" y="621"/>
                    <a:pt x="16958" y="621"/>
                  </a:cubicBezTo>
                  <a:cubicBezTo>
                    <a:pt x="16879" y="621"/>
                    <a:pt x="16795" y="579"/>
                    <a:pt x="16703" y="532"/>
                  </a:cubicBezTo>
                  <a:cubicBezTo>
                    <a:pt x="16644" y="497"/>
                    <a:pt x="16581" y="469"/>
                    <a:pt x="16518" y="445"/>
                  </a:cubicBezTo>
                  <a:cubicBezTo>
                    <a:pt x="16371" y="385"/>
                    <a:pt x="16360" y="270"/>
                    <a:pt x="16350" y="186"/>
                  </a:cubicBezTo>
                  <a:cubicBezTo>
                    <a:pt x="16343" y="105"/>
                    <a:pt x="16336" y="56"/>
                    <a:pt x="16276" y="14"/>
                  </a:cubicBezTo>
                  <a:cubicBezTo>
                    <a:pt x="16269" y="7"/>
                    <a:pt x="16259" y="4"/>
                    <a:pt x="16248"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488" name="Google Shape;5488;p104"/>
            <p:cNvSpPr/>
            <p:nvPr/>
          </p:nvSpPr>
          <p:spPr>
            <a:xfrm>
              <a:off x="797231" y="1596418"/>
              <a:ext cx="3625" cy="3965"/>
            </a:xfrm>
            <a:custGeom>
              <a:avLst/>
              <a:gdLst/>
              <a:ahLst/>
              <a:cxnLst/>
              <a:rect l="l" t="t" r="r" b="b"/>
              <a:pathLst>
                <a:path w="267" h="292" extrusionOk="0">
                  <a:moveTo>
                    <a:pt x="235" y="1"/>
                  </a:moveTo>
                  <a:cubicBezTo>
                    <a:pt x="200" y="18"/>
                    <a:pt x="169" y="43"/>
                    <a:pt x="144" y="74"/>
                  </a:cubicBezTo>
                  <a:cubicBezTo>
                    <a:pt x="85" y="137"/>
                    <a:pt x="36" y="211"/>
                    <a:pt x="1" y="291"/>
                  </a:cubicBezTo>
                  <a:cubicBezTo>
                    <a:pt x="214" y="197"/>
                    <a:pt x="253" y="116"/>
                    <a:pt x="260" y="88"/>
                  </a:cubicBezTo>
                  <a:cubicBezTo>
                    <a:pt x="267" y="57"/>
                    <a:pt x="256" y="22"/>
                    <a:pt x="235" y="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489" name="Google Shape;5489;p104"/>
            <p:cNvSpPr/>
            <p:nvPr/>
          </p:nvSpPr>
          <p:spPr>
            <a:xfrm>
              <a:off x="950901" y="1525692"/>
              <a:ext cx="2824" cy="1738"/>
            </a:xfrm>
            <a:custGeom>
              <a:avLst/>
              <a:gdLst/>
              <a:ahLst/>
              <a:cxnLst/>
              <a:rect l="l" t="t" r="r" b="b"/>
              <a:pathLst>
                <a:path w="208" h="128" extrusionOk="0">
                  <a:moveTo>
                    <a:pt x="207" y="1"/>
                  </a:moveTo>
                  <a:cubicBezTo>
                    <a:pt x="162" y="8"/>
                    <a:pt x="113" y="18"/>
                    <a:pt x="64" y="29"/>
                  </a:cubicBezTo>
                  <a:cubicBezTo>
                    <a:pt x="39" y="36"/>
                    <a:pt x="8" y="50"/>
                    <a:pt x="1" y="81"/>
                  </a:cubicBezTo>
                  <a:cubicBezTo>
                    <a:pt x="1" y="99"/>
                    <a:pt x="8" y="116"/>
                    <a:pt x="18" y="127"/>
                  </a:cubicBezTo>
                  <a:cubicBezTo>
                    <a:pt x="21" y="128"/>
                    <a:pt x="23" y="128"/>
                    <a:pt x="26" y="128"/>
                  </a:cubicBezTo>
                  <a:cubicBezTo>
                    <a:pt x="42" y="128"/>
                    <a:pt x="61" y="112"/>
                    <a:pt x="67" y="106"/>
                  </a:cubicBezTo>
                  <a:cubicBezTo>
                    <a:pt x="113" y="67"/>
                    <a:pt x="158" y="32"/>
                    <a:pt x="207" y="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490" name="Google Shape;5490;p104"/>
            <p:cNvSpPr/>
            <p:nvPr/>
          </p:nvSpPr>
          <p:spPr>
            <a:xfrm>
              <a:off x="1054294" y="1571136"/>
              <a:ext cx="3571" cy="2200"/>
            </a:xfrm>
            <a:custGeom>
              <a:avLst/>
              <a:gdLst/>
              <a:ahLst/>
              <a:cxnLst/>
              <a:rect l="l" t="t" r="r" b="b"/>
              <a:pathLst>
                <a:path w="263" h="162" extrusionOk="0">
                  <a:moveTo>
                    <a:pt x="0" y="0"/>
                  </a:moveTo>
                  <a:cubicBezTo>
                    <a:pt x="56" y="60"/>
                    <a:pt x="119" y="109"/>
                    <a:pt x="189" y="144"/>
                  </a:cubicBezTo>
                  <a:cubicBezTo>
                    <a:pt x="214" y="154"/>
                    <a:pt x="238" y="161"/>
                    <a:pt x="263" y="161"/>
                  </a:cubicBezTo>
                  <a:cubicBezTo>
                    <a:pt x="259" y="144"/>
                    <a:pt x="249" y="126"/>
                    <a:pt x="235" y="109"/>
                  </a:cubicBezTo>
                  <a:cubicBezTo>
                    <a:pt x="193" y="60"/>
                    <a:pt x="137" y="28"/>
                    <a:pt x="70" y="18"/>
                  </a:cubicBezTo>
                  <a:cubicBezTo>
                    <a:pt x="46" y="18"/>
                    <a:pt x="25" y="11"/>
                    <a:pt x="0"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491" name="Google Shape;5491;p104"/>
            <p:cNvSpPr/>
            <p:nvPr/>
          </p:nvSpPr>
          <p:spPr>
            <a:xfrm>
              <a:off x="1293570" y="1816780"/>
              <a:ext cx="1290" cy="1113"/>
            </a:xfrm>
            <a:custGeom>
              <a:avLst/>
              <a:gdLst/>
              <a:ahLst/>
              <a:cxnLst/>
              <a:rect l="l" t="t" r="r" b="b"/>
              <a:pathLst>
                <a:path w="95" h="82" extrusionOk="0">
                  <a:moveTo>
                    <a:pt x="95" y="81"/>
                  </a:moveTo>
                  <a:cubicBezTo>
                    <a:pt x="67" y="50"/>
                    <a:pt x="35" y="25"/>
                    <a:pt x="0" y="1"/>
                  </a:cubicBezTo>
                  <a:cubicBezTo>
                    <a:pt x="35" y="25"/>
                    <a:pt x="67" y="50"/>
                    <a:pt x="95" y="8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492" name="Google Shape;5492;p104"/>
            <p:cNvSpPr/>
            <p:nvPr/>
          </p:nvSpPr>
          <p:spPr>
            <a:xfrm>
              <a:off x="1278743" y="1812694"/>
              <a:ext cx="14786" cy="4100"/>
            </a:xfrm>
            <a:custGeom>
              <a:avLst/>
              <a:gdLst/>
              <a:ahLst/>
              <a:cxnLst/>
              <a:rect l="l" t="t" r="r" b="b"/>
              <a:pathLst>
                <a:path w="1089" h="302" extrusionOk="0">
                  <a:moveTo>
                    <a:pt x="0" y="211"/>
                  </a:moveTo>
                  <a:cubicBezTo>
                    <a:pt x="77" y="99"/>
                    <a:pt x="172" y="1"/>
                    <a:pt x="298" y="8"/>
                  </a:cubicBezTo>
                  <a:cubicBezTo>
                    <a:pt x="473" y="18"/>
                    <a:pt x="840" y="113"/>
                    <a:pt x="1089" y="302"/>
                  </a:cubicBezTo>
                  <a:cubicBezTo>
                    <a:pt x="840" y="113"/>
                    <a:pt x="473" y="18"/>
                    <a:pt x="298" y="8"/>
                  </a:cubicBezTo>
                  <a:cubicBezTo>
                    <a:pt x="172" y="1"/>
                    <a:pt x="77" y="99"/>
                    <a:pt x="0" y="21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493" name="Google Shape;5493;p104"/>
            <p:cNvSpPr/>
            <p:nvPr/>
          </p:nvSpPr>
          <p:spPr>
            <a:xfrm>
              <a:off x="1173314" y="1789354"/>
              <a:ext cx="16741" cy="2254"/>
            </a:xfrm>
            <a:custGeom>
              <a:avLst/>
              <a:gdLst/>
              <a:ahLst/>
              <a:cxnLst/>
              <a:rect l="l" t="t" r="r" b="b"/>
              <a:pathLst>
                <a:path w="1233" h="166" extrusionOk="0">
                  <a:moveTo>
                    <a:pt x="0" y="165"/>
                  </a:moveTo>
                  <a:lnTo>
                    <a:pt x="1233"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494" name="Google Shape;5494;p104"/>
            <p:cNvSpPr/>
            <p:nvPr/>
          </p:nvSpPr>
          <p:spPr>
            <a:xfrm>
              <a:off x="1317141" y="1844302"/>
              <a:ext cx="448" cy="14"/>
            </a:xfrm>
            <a:custGeom>
              <a:avLst/>
              <a:gdLst/>
              <a:ahLst/>
              <a:cxnLst/>
              <a:rect l="l" t="t" r="r" b="b"/>
              <a:pathLst>
                <a:path w="33" h="1" extrusionOk="0">
                  <a:moveTo>
                    <a:pt x="32" y="1"/>
                  </a:moveTo>
                  <a:cubicBezTo>
                    <a:pt x="22" y="1"/>
                    <a:pt x="11" y="1"/>
                    <a:pt x="1" y="1"/>
                  </a:cubicBezTo>
                  <a:cubicBezTo>
                    <a:pt x="11" y="1"/>
                    <a:pt x="22" y="1"/>
                    <a:pt x="32" y="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495" name="Google Shape;5495;p104"/>
            <p:cNvSpPr/>
            <p:nvPr/>
          </p:nvSpPr>
          <p:spPr>
            <a:xfrm>
              <a:off x="1318906" y="1844641"/>
              <a:ext cx="339" cy="149"/>
            </a:xfrm>
            <a:custGeom>
              <a:avLst/>
              <a:gdLst/>
              <a:ahLst/>
              <a:cxnLst/>
              <a:rect l="l" t="t" r="r" b="b"/>
              <a:pathLst>
                <a:path w="25" h="11" extrusionOk="0">
                  <a:moveTo>
                    <a:pt x="25" y="11"/>
                  </a:moveTo>
                  <a:lnTo>
                    <a:pt x="0"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496" name="Google Shape;5496;p104"/>
            <p:cNvSpPr/>
            <p:nvPr/>
          </p:nvSpPr>
          <p:spPr>
            <a:xfrm>
              <a:off x="1317765" y="1844302"/>
              <a:ext cx="299" cy="68"/>
            </a:xfrm>
            <a:custGeom>
              <a:avLst/>
              <a:gdLst/>
              <a:ahLst/>
              <a:cxnLst/>
              <a:rect l="l" t="t" r="r" b="b"/>
              <a:pathLst>
                <a:path w="22" h="5" extrusionOk="0">
                  <a:moveTo>
                    <a:pt x="21"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497" name="Google Shape;5497;p104"/>
            <p:cNvSpPr/>
            <p:nvPr/>
          </p:nvSpPr>
          <p:spPr>
            <a:xfrm>
              <a:off x="1278173" y="1815545"/>
              <a:ext cx="584" cy="964"/>
            </a:xfrm>
            <a:custGeom>
              <a:avLst/>
              <a:gdLst/>
              <a:ahLst/>
              <a:cxnLst/>
              <a:rect l="l" t="t" r="r" b="b"/>
              <a:pathLst>
                <a:path w="43" h="71" extrusionOk="0">
                  <a:moveTo>
                    <a:pt x="42" y="1"/>
                  </a:moveTo>
                  <a:cubicBezTo>
                    <a:pt x="28" y="25"/>
                    <a:pt x="14" y="46"/>
                    <a:pt x="0" y="71"/>
                  </a:cubicBezTo>
                  <a:cubicBezTo>
                    <a:pt x="14" y="46"/>
                    <a:pt x="28" y="25"/>
                    <a:pt x="42" y="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498" name="Google Shape;5498;p104"/>
            <p:cNvSpPr/>
            <p:nvPr/>
          </p:nvSpPr>
          <p:spPr>
            <a:xfrm>
              <a:off x="1252838" y="1797147"/>
              <a:ext cx="244" cy="258"/>
            </a:xfrm>
            <a:custGeom>
              <a:avLst/>
              <a:gdLst/>
              <a:ahLst/>
              <a:cxnLst/>
              <a:rect l="l" t="t" r="r" b="b"/>
              <a:pathLst>
                <a:path w="18" h="19" extrusionOk="0">
                  <a:moveTo>
                    <a:pt x="0" y="1"/>
                  </a:moveTo>
                  <a:lnTo>
                    <a:pt x="18" y="18"/>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499" name="Google Shape;5499;p104"/>
            <p:cNvSpPr/>
            <p:nvPr/>
          </p:nvSpPr>
          <p:spPr>
            <a:xfrm>
              <a:off x="1318240" y="1844397"/>
              <a:ext cx="299" cy="109"/>
            </a:xfrm>
            <a:custGeom>
              <a:avLst/>
              <a:gdLst/>
              <a:ahLst/>
              <a:cxnLst/>
              <a:rect l="l" t="t" r="r" b="b"/>
              <a:pathLst>
                <a:path w="22" h="8" extrusionOk="0">
                  <a:moveTo>
                    <a:pt x="21" y="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500" name="Google Shape;5500;p104"/>
            <p:cNvSpPr/>
            <p:nvPr/>
          </p:nvSpPr>
          <p:spPr>
            <a:xfrm>
              <a:off x="1294846" y="1817880"/>
              <a:ext cx="1018" cy="1249"/>
            </a:xfrm>
            <a:custGeom>
              <a:avLst/>
              <a:gdLst/>
              <a:ahLst/>
              <a:cxnLst/>
              <a:rect l="l" t="t" r="r" b="b"/>
              <a:pathLst>
                <a:path w="75" h="92" extrusionOk="0">
                  <a:moveTo>
                    <a:pt x="74" y="91"/>
                  </a:moveTo>
                  <a:cubicBezTo>
                    <a:pt x="53" y="60"/>
                    <a:pt x="29" y="28"/>
                    <a:pt x="1" y="0"/>
                  </a:cubicBezTo>
                  <a:cubicBezTo>
                    <a:pt x="29" y="28"/>
                    <a:pt x="53" y="60"/>
                    <a:pt x="74" y="9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501" name="Google Shape;5501;p104"/>
            <p:cNvSpPr/>
            <p:nvPr/>
          </p:nvSpPr>
          <p:spPr>
            <a:xfrm>
              <a:off x="1122833" y="1651895"/>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502" name="Google Shape;5502;p104"/>
            <p:cNvSpPr/>
            <p:nvPr/>
          </p:nvSpPr>
          <p:spPr>
            <a:xfrm>
              <a:off x="1124734" y="1651746"/>
              <a:ext cx="530" cy="68"/>
            </a:xfrm>
            <a:custGeom>
              <a:avLst/>
              <a:gdLst/>
              <a:ahLst/>
              <a:cxnLst/>
              <a:rect l="l" t="t" r="r" b="b"/>
              <a:pathLst>
                <a:path w="39" h="5" extrusionOk="0">
                  <a:moveTo>
                    <a:pt x="0" y="4"/>
                  </a:moveTo>
                  <a:lnTo>
                    <a:pt x="39"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503" name="Google Shape;5503;p104"/>
            <p:cNvSpPr/>
            <p:nvPr/>
          </p:nvSpPr>
          <p:spPr>
            <a:xfrm>
              <a:off x="1125969" y="1651556"/>
              <a:ext cx="489" cy="109"/>
            </a:xfrm>
            <a:custGeom>
              <a:avLst/>
              <a:gdLst/>
              <a:ahLst/>
              <a:cxnLst/>
              <a:rect l="l" t="t" r="r" b="b"/>
              <a:pathLst>
                <a:path w="36" h="8" extrusionOk="0">
                  <a:moveTo>
                    <a:pt x="0" y="8"/>
                  </a:moveTo>
                  <a:lnTo>
                    <a:pt x="35"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504" name="Google Shape;5504;p104"/>
            <p:cNvSpPr/>
            <p:nvPr/>
          </p:nvSpPr>
          <p:spPr>
            <a:xfrm>
              <a:off x="1117076" y="1651515"/>
              <a:ext cx="448" cy="54"/>
            </a:xfrm>
            <a:custGeom>
              <a:avLst/>
              <a:gdLst/>
              <a:ahLst/>
              <a:cxnLst/>
              <a:rect l="l" t="t" r="r" b="b"/>
              <a:pathLst>
                <a:path w="33" h="4" extrusionOk="0">
                  <a:moveTo>
                    <a:pt x="1" y="0"/>
                  </a:moveTo>
                  <a:lnTo>
                    <a:pt x="32" y="4"/>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505" name="Google Shape;5505;p104"/>
            <p:cNvSpPr/>
            <p:nvPr/>
          </p:nvSpPr>
          <p:spPr>
            <a:xfrm>
              <a:off x="1120783" y="1651841"/>
              <a:ext cx="394" cy="14"/>
            </a:xfrm>
            <a:custGeom>
              <a:avLst/>
              <a:gdLst/>
              <a:ahLst/>
              <a:cxnLst/>
              <a:rect l="l" t="t" r="r" b="b"/>
              <a:pathLst>
                <a:path w="29" h="1" extrusionOk="0">
                  <a:moveTo>
                    <a:pt x="1" y="1"/>
                  </a:moveTo>
                  <a:lnTo>
                    <a:pt x="29"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506" name="Google Shape;5506;p104"/>
            <p:cNvSpPr/>
            <p:nvPr/>
          </p:nvSpPr>
          <p:spPr>
            <a:xfrm>
              <a:off x="1123539" y="1651895"/>
              <a:ext cx="543" cy="14"/>
            </a:xfrm>
            <a:custGeom>
              <a:avLst/>
              <a:gdLst/>
              <a:ahLst/>
              <a:cxnLst/>
              <a:rect l="l" t="t" r="r" b="b"/>
              <a:pathLst>
                <a:path w="40" h="1" extrusionOk="0">
                  <a:moveTo>
                    <a:pt x="1" y="0"/>
                  </a:moveTo>
                  <a:lnTo>
                    <a:pt x="39"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507" name="Google Shape;5507;p104"/>
            <p:cNvSpPr/>
            <p:nvPr/>
          </p:nvSpPr>
          <p:spPr>
            <a:xfrm>
              <a:off x="1119072" y="1651705"/>
              <a:ext cx="163" cy="14"/>
            </a:xfrm>
            <a:custGeom>
              <a:avLst/>
              <a:gdLst/>
              <a:ahLst/>
              <a:cxnLst/>
              <a:rect l="l" t="t" r="r" b="b"/>
              <a:pathLst>
                <a:path w="12" h="1" extrusionOk="0">
                  <a:moveTo>
                    <a:pt x="1" y="0"/>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508" name="Google Shape;5508;p104"/>
            <p:cNvSpPr/>
            <p:nvPr/>
          </p:nvSpPr>
          <p:spPr>
            <a:xfrm>
              <a:off x="1543206" y="1679322"/>
              <a:ext cx="258" cy="434"/>
            </a:xfrm>
            <a:custGeom>
              <a:avLst/>
              <a:gdLst/>
              <a:ahLst/>
              <a:cxnLst/>
              <a:rect l="l" t="t" r="r" b="b"/>
              <a:pathLst>
                <a:path w="19" h="32" extrusionOk="0">
                  <a:moveTo>
                    <a:pt x="1" y="0"/>
                  </a:moveTo>
                  <a:lnTo>
                    <a:pt x="18" y="32"/>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509" name="Google Shape;5509;p104"/>
            <p:cNvSpPr/>
            <p:nvPr/>
          </p:nvSpPr>
          <p:spPr>
            <a:xfrm>
              <a:off x="1543736" y="1680177"/>
              <a:ext cx="299" cy="434"/>
            </a:xfrm>
            <a:custGeom>
              <a:avLst/>
              <a:gdLst/>
              <a:ahLst/>
              <a:cxnLst/>
              <a:rect l="l" t="t" r="r" b="b"/>
              <a:pathLst>
                <a:path w="22" h="32" extrusionOk="0">
                  <a:moveTo>
                    <a:pt x="0" y="0"/>
                  </a:moveTo>
                  <a:lnTo>
                    <a:pt x="21" y="32"/>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510" name="Google Shape;5510;p104"/>
            <p:cNvSpPr/>
            <p:nvPr/>
          </p:nvSpPr>
          <p:spPr>
            <a:xfrm>
              <a:off x="1542731" y="1678507"/>
              <a:ext cx="258" cy="394"/>
            </a:xfrm>
            <a:custGeom>
              <a:avLst/>
              <a:gdLst/>
              <a:ahLst/>
              <a:cxnLst/>
              <a:rect l="l" t="t" r="r" b="b"/>
              <a:pathLst>
                <a:path w="19" h="29" extrusionOk="0">
                  <a:moveTo>
                    <a:pt x="1" y="1"/>
                  </a:moveTo>
                  <a:lnTo>
                    <a:pt x="18" y="29"/>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511" name="Google Shape;5511;p104"/>
            <p:cNvSpPr/>
            <p:nvPr/>
          </p:nvSpPr>
          <p:spPr>
            <a:xfrm>
              <a:off x="1544251" y="1681032"/>
              <a:ext cx="299" cy="394"/>
            </a:xfrm>
            <a:custGeom>
              <a:avLst/>
              <a:gdLst/>
              <a:ahLst/>
              <a:cxnLst/>
              <a:rect l="l" t="t" r="r" b="b"/>
              <a:pathLst>
                <a:path w="22" h="29" extrusionOk="0">
                  <a:moveTo>
                    <a:pt x="1" y="0"/>
                  </a:moveTo>
                  <a:lnTo>
                    <a:pt x="22" y="28"/>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512" name="Google Shape;5512;p104"/>
            <p:cNvSpPr/>
            <p:nvPr/>
          </p:nvSpPr>
          <p:spPr>
            <a:xfrm>
              <a:off x="1544876" y="1681888"/>
              <a:ext cx="299" cy="394"/>
            </a:xfrm>
            <a:custGeom>
              <a:avLst/>
              <a:gdLst/>
              <a:ahLst/>
              <a:cxnLst/>
              <a:rect l="l" t="t" r="r" b="b"/>
              <a:pathLst>
                <a:path w="22" h="29" extrusionOk="0">
                  <a:moveTo>
                    <a:pt x="0" y="0"/>
                  </a:moveTo>
                  <a:lnTo>
                    <a:pt x="21" y="28"/>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513" name="Google Shape;5513;p104"/>
            <p:cNvSpPr/>
            <p:nvPr/>
          </p:nvSpPr>
          <p:spPr>
            <a:xfrm>
              <a:off x="1478333" y="1688541"/>
              <a:ext cx="530" cy="434"/>
            </a:xfrm>
            <a:custGeom>
              <a:avLst/>
              <a:gdLst/>
              <a:ahLst/>
              <a:cxnLst/>
              <a:rect l="l" t="t" r="r" b="b"/>
              <a:pathLst>
                <a:path w="39" h="32" extrusionOk="0">
                  <a:moveTo>
                    <a:pt x="0" y="32"/>
                  </a:moveTo>
                  <a:lnTo>
                    <a:pt x="39"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514" name="Google Shape;5514;p104"/>
            <p:cNvSpPr/>
            <p:nvPr/>
          </p:nvSpPr>
          <p:spPr>
            <a:xfrm>
              <a:off x="1478944" y="1688011"/>
              <a:ext cx="489" cy="448"/>
            </a:xfrm>
            <a:custGeom>
              <a:avLst/>
              <a:gdLst/>
              <a:ahLst/>
              <a:cxnLst/>
              <a:rect l="l" t="t" r="r" b="b"/>
              <a:pathLst>
                <a:path w="36" h="33" extrusionOk="0">
                  <a:moveTo>
                    <a:pt x="1" y="32"/>
                  </a:moveTo>
                  <a:lnTo>
                    <a:pt x="36"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515" name="Google Shape;5515;p104"/>
            <p:cNvSpPr/>
            <p:nvPr/>
          </p:nvSpPr>
          <p:spPr>
            <a:xfrm>
              <a:off x="1542310" y="1677706"/>
              <a:ext cx="244" cy="434"/>
            </a:xfrm>
            <a:custGeom>
              <a:avLst/>
              <a:gdLst/>
              <a:ahLst/>
              <a:cxnLst/>
              <a:rect l="l" t="t" r="r" b="b"/>
              <a:pathLst>
                <a:path w="18" h="32" extrusionOk="0">
                  <a:moveTo>
                    <a:pt x="0" y="0"/>
                  </a:moveTo>
                  <a:lnTo>
                    <a:pt x="18" y="32"/>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516" name="Google Shape;5516;p104"/>
            <p:cNvSpPr/>
            <p:nvPr/>
          </p:nvSpPr>
          <p:spPr>
            <a:xfrm>
              <a:off x="1539689" y="1670714"/>
              <a:ext cx="109" cy="353"/>
            </a:xfrm>
            <a:custGeom>
              <a:avLst/>
              <a:gdLst/>
              <a:ahLst/>
              <a:cxnLst/>
              <a:rect l="l" t="t" r="r" b="b"/>
              <a:pathLst>
                <a:path w="8" h="26" extrusionOk="0">
                  <a:moveTo>
                    <a:pt x="1" y="1"/>
                  </a:moveTo>
                  <a:lnTo>
                    <a:pt x="8" y="25"/>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517" name="Google Shape;5517;p104"/>
            <p:cNvSpPr/>
            <p:nvPr/>
          </p:nvSpPr>
          <p:spPr>
            <a:xfrm>
              <a:off x="1539975" y="1671949"/>
              <a:ext cx="163" cy="394"/>
            </a:xfrm>
            <a:custGeom>
              <a:avLst/>
              <a:gdLst/>
              <a:ahLst/>
              <a:cxnLst/>
              <a:rect l="l" t="t" r="r" b="b"/>
              <a:pathLst>
                <a:path w="12" h="29" extrusionOk="0">
                  <a:moveTo>
                    <a:pt x="1" y="1"/>
                  </a:moveTo>
                  <a:lnTo>
                    <a:pt x="11" y="29"/>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518" name="Google Shape;5518;p104"/>
            <p:cNvSpPr/>
            <p:nvPr/>
          </p:nvSpPr>
          <p:spPr>
            <a:xfrm>
              <a:off x="1477667" y="1689111"/>
              <a:ext cx="584" cy="489"/>
            </a:xfrm>
            <a:custGeom>
              <a:avLst/>
              <a:gdLst/>
              <a:ahLst/>
              <a:cxnLst/>
              <a:rect l="l" t="t" r="r" b="b"/>
              <a:pathLst>
                <a:path w="43" h="36" extrusionOk="0">
                  <a:moveTo>
                    <a:pt x="0" y="35"/>
                  </a:moveTo>
                  <a:lnTo>
                    <a:pt x="42"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519" name="Google Shape;5519;p104"/>
            <p:cNvSpPr/>
            <p:nvPr/>
          </p:nvSpPr>
          <p:spPr>
            <a:xfrm>
              <a:off x="1034661" y="1534586"/>
              <a:ext cx="679" cy="109"/>
            </a:xfrm>
            <a:custGeom>
              <a:avLst/>
              <a:gdLst/>
              <a:ahLst/>
              <a:cxnLst/>
              <a:rect l="l" t="t" r="r" b="b"/>
              <a:pathLst>
                <a:path w="50" h="8" extrusionOk="0">
                  <a:moveTo>
                    <a:pt x="0" y="0"/>
                  </a:moveTo>
                  <a:cubicBezTo>
                    <a:pt x="18" y="4"/>
                    <a:pt x="32" y="4"/>
                    <a:pt x="49" y="7"/>
                  </a:cubicBezTo>
                  <a:cubicBezTo>
                    <a:pt x="32" y="4"/>
                    <a:pt x="18" y="4"/>
                    <a:pt x="0"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520" name="Google Shape;5520;p104"/>
            <p:cNvSpPr/>
            <p:nvPr/>
          </p:nvSpPr>
          <p:spPr>
            <a:xfrm>
              <a:off x="1540165" y="1672614"/>
              <a:ext cx="163" cy="394"/>
            </a:xfrm>
            <a:custGeom>
              <a:avLst/>
              <a:gdLst/>
              <a:ahLst/>
              <a:cxnLst/>
              <a:rect l="l" t="t" r="r" b="b"/>
              <a:pathLst>
                <a:path w="12" h="29" extrusionOk="0">
                  <a:moveTo>
                    <a:pt x="1" y="1"/>
                  </a:moveTo>
                  <a:lnTo>
                    <a:pt x="11" y="29"/>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521" name="Google Shape;5521;p104"/>
            <p:cNvSpPr/>
            <p:nvPr/>
          </p:nvSpPr>
          <p:spPr>
            <a:xfrm>
              <a:off x="1035462" y="1534721"/>
              <a:ext cx="638" cy="163"/>
            </a:xfrm>
            <a:custGeom>
              <a:avLst/>
              <a:gdLst/>
              <a:ahLst/>
              <a:cxnLst/>
              <a:rect l="l" t="t" r="r" b="b"/>
              <a:pathLst>
                <a:path w="47" h="12" extrusionOk="0">
                  <a:moveTo>
                    <a:pt x="1" y="1"/>
                  </a:moveTo>
                  <a:cubicBezTo>
                    <a:pt x="18" y="1"/>
                    <a:pt x="32" y="4"/>
                    <a:pt x="46" y="11"/>
                  </a:cubicBezTo>
                  <a:cubicBezTo>
                    <a:pt x="32" y="4"/>
                    <a:pt x="18" y="1"/>
                    <a:pt x="1" y="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522" name="Google Shape;5522;p104"/>
            <p:cNvSpPr/>
            <p:nvPr/>
          </p:nvSpPr>
          <p:spPr>
            <a:xfrm>
              <a:off x="1539839" y="1671338"/>
              <a:ext cx="109" cy="339"/>
            </a:xfrm>
            <a:custGeom>
              <a:avLst/>
              <a:gdLst/>
              <a:ahLst/>
              <a:cxnLst/>
              <a:rect l="l" t="t" r="r" b="b"/>
              <a:pathLst>
                <a:path w="8" h="25" extrusionOk="0">
                  <a:moveTo>
                    <a:pt x="0" y="0"/>
                  </a:moveTo>
                  <a:lnTo>
                    <a:pt x="7" y="25"/>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523" name="Google Shape;5523;p104"/>
            <p:cNvSpPr/>
            <p:nvPr/>
          </p:nvSpPr>
          <p:spPr>
            <a:xfrm>
              <a:off x="1539554" y="1670103"/>
              <a:ext cx="109" cy="339"/>
            </a:xfrm>
            <a:custGeom>
              <a:avLst/>
              <a:gdLst/>
              <a:ahLst/>
              <a:cxnLst/>
              <a:rect l="l" t="t" r="r" b="b"/>
              <a:pathLst>
                <a:path w="8" h="25" extrusionOk="0">
                  <a:moveTo>
                    <a:pt x="0" y="0"/>
                  </a:moveTo>
                  <a:cubicBezTo>
                    <a:pt x="0" y="7"/>
                    <a:pt x="4" y="18"/>
                    <a:pt x="7" y="25"/>
                  </a:cubicBezTo>
                  <a:cubicBezTo>
                    <a:pt x="4" y="18"/>
                    <a:pt x="4" y="7"/>
                    <a:pt x="0"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524" name="Google Shape;5524;p104"/>
            <p:cNvSpPr/>
            <p:nvPr/>
          </p:nvSpPr>
          <p:spPr>
            <a:xfrm>
              <a:off x="1033710" y="1534531"/>
              <a:ext cx="815" cy="68"/>
            </a:xfrm>
            <a:custGeom>
              <a:avLst/>
              <a:gdLst/>
              <a:ahLst/>
              <a:cxnLst/>
              <a:rect l="l" t="t" r="r" b="b"/>
              <a:pathLst>
                <a:path w="60" h="5" extrusionOk="0">
                  <a:moveTo>
                    <a:pt x="0" y="1"/>
                  </a:moveTo>
                  <a:cubicBezTo>
                    <a:pt x="18" y="1"/>
                    <a:pt x="39" y="1"/>
                    <a:pt x="60" y="4"/>
                  </a:cubicBezTo>
                  <a:cubicBezTo>
                    <a:pt x="39" y="1"/>
                    <a:pt x="21" y="1"/>
                    <a:pt x="0" y="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525" name="Google Shape;5525;p104"/>
            <p:cNvSpPr/>
            <p:nvPr/>
          </p:nvSpPr>
          <p:spPr>
            <a:xfrm>
              <a:off x="1541210" y="1675425"/>
              <a:ext cx="204" cy="434"/>
            </a:xfrm>
            <a:custGeom>
              <a:avLst/>
              <a:gdLst/>
              <a:ahLst/>
              <a:cxnLst/>
              <a:rect l="l" t="t" r="r" b="b"/>
              <a:pathLst>
                <a:path w="15" h="32" extrusionOk="0">
                  <a:moveTo>
                    <a:pt x="1" y="0"/>
                  </a:moveTo>
                  <a:lnTo>
                    <a:pt x="15" y="32"/>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526" name="Google Shape;5526;p104"/>
            <p:cNvSpPr/>
            <p:nvPr/>
          </p:nvSpPr>
          <p:spPr>
            <a:xfrm>
              <a:off x="1541550" y="1676185"/>
              <a:ext cx="204" cy="394"/>
            </a:xfrm>
            <a:custGeom>
              <a:avLst/>
              <a:gdLst/>
              <a:ahLst/>
              <a:cxnLst/>
              <a:rect l="l" t="t" r="r" b="b"/>
              <a:pathLst>
                <a:path w="15" h="29" extrusionOk="0">
                  <a:moveTo>
                    <a:pt x="0" y="0"/>
                  </a:moveTo>
                  <a:lnTo>
                    <a:pt x="14" y="28"/>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527" name="Google Shape;5527;p104"/>
            <p:cNvSpPr/>
            <p:nvPr/>
          </p:nvSpPr>
          <p:spPr>
            <a:xfrm>
              <a:off x="1540884" y="1674705"/>
              <a:ext cx="204" cy="394"/>
            </a:xfrm>
            <a:custGeom>
              <a:avLst/>
              <a:gdLst/>
              <a:ahLst/>
              <a:cxnLst/>
              <a:rect l="l" t="t" r="r" b="b"/>
              <a:pathLst>
                <a:path w="15" h="29" extrusionOk="0">
                  <a:moveTo>
                    <a:pt x="0" y="1"/>
                  </a:moveTo>
                  <a:lnTo>
                    <a:pt x="14" y="29"/>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528" name="Google Shape;5528;p104"/>
            <p:cNvSpPr/>
            <p:nvPr/>
          </p:nvSpPr>
          <p:spPr>
            <a:xfrm>
              <a:off x="1540640" y="1673999"/>
              <a:ext cx="163" cy="394"/>
            </a:xfrm>
            <a:custGeom>
              <a:avLst/>
              <a:gdLst/>
              <a:ahLst/>
              <a:cxnLst/>
              <a:rect l="l" t="t" r="r" b="b"/>
              <a:pathLst>
                <a:path w="12" h="29" extrusionOk="0">
                  <a:moveTo>
                    <a:pt x="1" y="0"/>
                  </a:moveTo>
                  <a:lnTo>
                    <a:pt x="11" y="28"/>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529" name="Google Shape;5529;p104"/>
            <p:cNvSpPr/>
            <p:nvPr/>
          </p:nvSpPr>
          <p:spPr>
            <a:xfrm>
              <a:off x="1541930" y="1676946"/>
              <a:ext cx="204" cy="434"/>
            </a:xfrm>
            <a:custGeom>
              <a:avLst/>
              <a:gdLst/>
              <a:ahLst/>
              <a:cxnLst/>
              <a:rect l="l" t="t" r="r" b="b"/>
              <a:pathLst>
                <a:path w="15" h="32" extrusionOk="0">
                  <a:moveTo>
                    <a:pt x="0" y="0"/>
                  </a:moveTo>
                  <a:lnTo>
                    <a:pt x="14" y="32"/>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530" name="Google Shape;5530;p104"/>
            <p:cNvSpPr/>
            <p:nvPr/>
          </p:nvSpPr>
          <p:spPr>
            <a:xfrm>
              <a:off x="1540409" y="1673280"/>
              <a:ext cx="149" cy="394"/>
            </a:xfrm>
            <a:custGeom>
              <a:avLst/>
              <a:gdLst/>
              <a:ahLst/>
              <a:cxnLst/>
              <a:rect l="l" t="t" r="r" b="b"/>
              <a:pathLst>
                <a:path w="11" h="29" extrusionOk="0">
                  <a:moveTo>
                    <a:pt x="0" y="1"/>
                  </a:moveTo>
                  <a:lnTo>
                    <a:pt x="11" y="29"/>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531" name="Google Shape;5531;p104"/>
            <p:cNvSpPr/>
            <p:nvPr/>
          </p:nvSpPr>
          <p:spPr>
            <a:xfrm>
              <a:off x="1015408" y="1537953"/>
              <a:ext cx="964" cy="1303"/>
            </a:xfrm>
            <a:custGeom>
              <a:avLst/>
              <a:gdLst/>
              <a:ahLst/>
              <a:cxnLst/>
              <a:rect l="l" t="t" r="r" b="b"/>
              <a:pathLst>
                <a:path w="71" h="96" extrusionOk="0">
                  <a:moveTo>
                    <a:pt x="0" y="1"/>
                  </a:moveTo>
                  <a:cubicBezTo>
                    <a:pt x="25" y="36"/>
                    <a:pt x="49" y="67"/>
                    <a:pt x="70" y="95"/>
                  </a:cubicBezTo>
                  <a:cubicBezTo>
                    <a:pt x="49" y="67"/>
                    <a:pt x="25" y="36"/>
                    <a:pt x="0" y="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532" name="Google Shape;5532;p104"/>
            <p:cNvSpPr/>
            <p:nvPr/>
          </p:nvSpPr>
          <p:spPr>
            <a:xfrm>
              <a:off x="1036181" y="1534871"/>
              <a:ext cx="964" cy="434"/>
            </a:xfrm>
            <a:custGeom>
              <a:avLst/>
              <a:gdLst/>
              <a:ahLst/>
              <a:cxnLst/>
              <a:rect l="l" t="t" r="r" b="b"/>
              <a:pathLst>
                <a:path w="71" h="32" extrusionOk="0">
                  <a:moveTo>
                    <a:pt x="0" y="0"/>
                  </a:moveTo>
                  <a:lnTo>
                    <a:pt x="0" y="0"/>
                  </a:lnTo>
                  <a:cubicBezTo>
                    <a:pt x="14" y="7"/>
                    <a:pt x="28" y="11"/>
                    <a:pt x="42" y="18"/>
                  </a:cubicBezTo>
                  <a:cubicBezTo>
                    <a:pt x="53" y="21"/>
                    <a:pt x="60" y="28"/>
                    <a:pt x="70" y="32"/>
                  </a:cubicBezTo>
                  <a:cubicBezTo>
                    <a:pt x="49" y="18"/>
                    <a:pt x="25" y="7"/>
                    <a:pt x="0"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533" name="Google Shape;5533;p104"/>
            <p:cNvSpPr/>
            <p:nvPr/>
          </p:nvSpPr>
          <p:spPr>
            <a:xfrm>
              <a:off x="1072257" y="1586153"/>
              <a:ext cx="869" cy="638"/>
            </a:xfrm>
            <a:custGeom>
              <a:avLst/>
              <a:gdLst/>
              <a:ahLst/>
              <a:cxnLst/>
              <a:rect l="l" t="t" r="r" b="b"/>
              <a:pathLst>
                <a:path w="64" h="47" extrusionOk="0">
                  <a:moveTo>
                    <a:pt x="0" y="46"/>
                  </a:moveTo>
                  <a:lnTo>
                    <a:pt x="64"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534" name="Google Shape;5534;p104"/>
            <p:cNvSpPr/>
            <p:nvPr/>
          </p:nvSpPr>
          <p:spPr>
            <a:xfrm>
              <a:off x="1073357" y="1585447"/>
              <a:ext cx="774" cy="530"/>
            </a:xfrm>
            <a:custGeom>
              <a:avLst/>
              <a:gdLst/>
              <a:ahLst/>
              <a:cxnLst/>
              <a:rect l="l" t="t" r="r" b="b"/>
              <a:pathLst>
                <a:path w="57" h="39" extrusionOk="0">
                  <a:moveTo>
                    <a:pt x="56" y="0"/>
                  </a:moveTo>
                  <a:lnTo>
                    <a:pt x="0" y="39"/>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535" name="Google Shape;5535;p104"/>
            <p:cNvSpPr/>
            <p:nvPr/>
          </p:nvSpPr>
          <p:spPr>
            <a:xfrm>
              <a:off x="1075257" y="1584116"/>
              <a:ext cx="774" cy="530"/>
            </a:xfrm>
            <a:custGeom>
              <a:avLst/>
              <a:gdLst/>
              <a:ahLst/>
              <a:cxnLst/>
              <a:rect l="l" t="t" r="r" b="b"/>
              <a:pathLst>
                <a:path w="57" h="39" extrusionOk="0">
                  <a:moveTo>
                    <a:pt x="56" y="0"/>
                  </a:moveTo>
                  <a:lnTo>
                    <a:pt x="0" y="39"/>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536" name="Google Shape;5536;p104"/>
            <p:cNvSpPr/>
            <p:nvPr/>
          </p:nvSpPr>
          <p:spPr>
            <a:xfrm>
              <a:off x="1006379" y="1526928"/>
              <a:ext cx="1385" cy="3055"/>
            </a:xfrm>
            <a:custGeom>
              <a:avLst/>
              <a:gdLst/>
              <a:ahLst/>
              <a:cxnLst/>
              <a:rect l="l" t="t" r="r" b="b"/>
              <a:pathLst>
                <a:path w="102" h="225" extrusionOk="0">
                  <a:moveTo>
                    <a:pt x="0" y="1"/>
                  </a:moveTo>
                  <a:cubicBezTo>
                    <a:pt x="70" y="50"/>
                    <a:pt x="102" y="158"/>
                    <a:pt x="102" y="225"/>
                  </a:cubicBezTo>
                  <a:cubicBezTo>
                    <a:pt x="102" y="158"/>
                    <a:pt x="70" y="46"/>
                    <a:pt x="0" y="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537" name="Google Shape;5537;p104"/>
            <p:cNvSpPr/>
            <p:nvPr/>
          </p:nvSpPr>
          <p:spPr>
            <a:xfrm>
              <a:off x="1074348" y="1584822"/>
              <a:ext cx="679" cy="448"/>
            </a:xfrm>
            <a:custGeom>
              <a:avLst/>
              <a:gdLst/>
              <a:ahLst/>
              <a:cxnLst/>
              <a:rect l="l" t="t" r="r" b="b"/>
              <a:pathLst>
                <a:path w="50" h="33" extrusionOk="0">
                  <a:moveTo>
                    <a:pt x="50" y="1"/>
                  </a:moveTo>
                  <a:lnTo>
                    <a:pt x="1" y="32"/>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538" name="Google Shape;5538;p104"/>
            <p:cNvSpPr/>
            <p:nvPr/>
          </p:nvSpPr>
          <p:spPr>
            <a:xfrm>
              <a:off x="1417248" y="1669913"/>
              <a:ext cx="204" cy="149"/>
            </a:xfrm>
            <a:custGeom>
              <a:avLst/>
              <a:gdLst/>
              <a:ahLst/>
              <a:cxnLst/>
              <a:rect l="l" t="t" r="r" b="b"/>
              <a:pathLst>
                <a:path w="15" h="11" extrusionOk="0">
                  <a:moveTo>
                    <a:pt x="15" y="11"/>
                  </a:moveTo>
                  <a:lnTo>
                    <a:pt x="1"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539" name="Google Shape;5539;p104"/>
            <p:cNvSpPr/>
            <p:nvPr/>
          </p:nvSpPr>
          <p:spPr>
            <a:xfrm>
              <a:off x="1416677" y="1669532"/>
              <a:ext cx="68" cy="14"/>
            </a:xfrm>
            <a:custGeom>
              <a:avLst/>
              <a:gdLst/>
              <a:ahLst/>
              <a:cxnLst/>
              <a:rect l="l" t="t" r="r" b="b"/>
              <a:pathLst>
                <a:path w="5" h="1" extrusionOk="0">
                  <a:moveTo>
                    <a:pt x="4"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540" name="Google Shape;5540;p104"/>
            <p:cNvSpPr/>
            <p:nvPr/>
          </p:nvSpPr>
          <p:spPr>
            <a:xfrm>
              <a:off x="1341010" y="1647374"/>
              <a:ext cx="2485" cy="1208"/>
            </a:xfrm>
            <a:custGeom>
              <a:avLst/>
              <a:gdLst/>
              <a:ahLst/>
              <a:cxnLst/>
              <a:rect l="l" t="t" r="r" b="b"/>
              <a:pathLst>
                <a:path w="183" h="89" extrusionOk="0">
                  <a:moveTo>
                    <a:pt x="182" y="88"/>
                  </a:moveTo>
                  <a:cubicBezTo>
                    <a:pt x="123" y="57"/>
                    <a:pt x="63" y="25"/>
                    <a:pt x="0" y="1"/>
                  </a:cubicBezTo>
                  <a:cubicBezTo>
                    <a:pt x="63" y="25"/>
                    <a:pt x="123" y="57"/>
                    <a:pt x="182" y="88"/>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541" name="Google Shape;5541;p104"/>
            <p:cNvSpPr/>
            <p:nvPr/>
          </p:nvSpPr>
          <p:spPr>
            <a:xfrm>
              <a:off x="992313" y="1527457"/>
              <a:ext cx="5187" cy="2580"/>
            </a:xfrm>
            <a:custGeom>
              <a:avLst/>
              <a:gdLst/>
              <a:ahLst/>
              <a:cxnLst/>
              <a:rect l="l" t="t" r="r" b="b"/>
              <a:pathLst>
                <a:path w="382" h="190" extrusionOk="0">
                  <a:moveTo>
                    <a:pt x="382" y="49"/>
                  </a:moveTo>
                  <a:cubicBezTo>
                    <a:pt x="266" y="189"/>
                    <a:pt x="28" y="21"/>
                    <a:pt x="0" y="0"/>
                  </a:cubicBezTo>
                  <a:cubicBezTo>
                    <a:pt x="28" y="21"/>
                    <a:pt x="266" y="189"/>
                    <a:pt x="382" y="49"/>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542" name="Google Shape;5542;p104"/>
            <p:cNvSpPr/>
            <p:nvPr/>
          </p:nvSpPr>
          <p:spPr>
            <a:xfrm>
              <a:off x="1416012" y="1669057"/>
              <a:ext cx="109" cy="54"/>
            </a:xfrm>
            <a:custGeom>
              <a:avLst/>
              <a:gdLst/>
              <a:ahLst/>
              <a:cxnLst/>
              <a:rect l="l" t="t" r="r" b="b"/>
              <a:pathLst>
                <a:path w="8" h="4" extrusionOk="0">
                  <a:moveTo>
                    <a:pt x="8" y="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543" name="Google Shape;5543;p104"/>
            <p:cNvSpPr/>
            <p:nvPr/>
          </p:nvSpPr>
          <p:spPr>
            <a:xfrm>
              <a:off x="1417872" y="1670333"/>
              <a:ext cx="54" cy="109"/>
            </a:xfrm>
            <a:custGeom>
              <a:avLst/>
              <a:gdLst/>
              <a:ahLst/>
              <a:cxnLst/>
              <a:rect l="l" t="t" r="r" b="b"/>
              <a:pathLst>
                <a:path w="4" h="8" extrusionOk="0">
                  <a:moveTo>
                    <a:pt x="0" y="1"/>
                  </a:moveTo>
                  <a:lnTo>
                    <a:pt x="4" y="8"/>
                  </a:lnTo>
                  <a:lnTo>
                    <a:pt x="4" y="8"/>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544" name="Google Shape;5544;p104"/>
            <p:cNvSpPr/>
            <p:nvPr/>
          </p:nvSpPr>
          <p:spPr>
            <a:xfrm>
              <a:off x="1037458" y="1535536"/>
              <a:ext cx="68" cy="54"/>
            </a:xfrm>
            <a:custGeom>
              <a:avLst/>
              <a:gdLst/>
              <a:ahLst/>
              <a:cxnLst/>
              <a:rect l="l" t="t" r="r" b="b"/>
              <a:pathLst>
                <a:path w="5" h="4" extrusionOk="0">
                  <a:moveTo>
                    <a:pt x="1" y="0"/>
                  </a:moveTo>
                  <a:lnTo>
                    <a:pt x="4" y="4"/>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545" name="Google Shape;5545;p104"/>
            <p:cNvSpPr/>
            <p:nvPr/>
          </p:nvSpPr>
          <p:spPr>
            <a:xfrm>
              <a:off x="1037173" y="1535292"/>
              <a:ext cx="204" cy="163"/>
            </a:xfrm>
            <a:custGeom>
              <a:avLst/>
              <a:gdLst/>
              <a:ahLst/>
              <a:cxnLst/>
              <a:rect l="l" t="t" r="r" b="b"/>
              <a:pathLst>
                <a:path w="15" h="12" extrusionOk="0">
                  <a:moveTo>
                    <a:pt x="1" y="1"/>
                  </a:moveTo>
                  <a:cubicBezTo>
                    <a:pt x="4" y="4"/>
                    <a:pt x="8" y="8"/>
                    <a:pt x="15" y="11"/>
                  </a:cubicBezTo>
                  <a:lnTo>
                    <a:pt x="1"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546" name="Google Shape;5546;p104"/>
            <p:cNvSpPr/>
            <p:nvPr/>
          </p:nvSpPr>
          <p:spPr>
            <a:xfrm>
              <a:off x="1074443" y="1580355"/>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547" name="Google Shape;5547;p104"/>
            <p:cNvSpPr/>
            <p:nvPr/>
          </p:nvSpPr>
          <p:spPr>
            <a:xfrm>
              <a:off x="1370853" y="1652846"/>
              <a:ext cx="4766" cy="1385"/>
            </a:xfrm>
            <a:custGeom>
              <a:avLst/>
              <a:gdLst/>
              <a:ahLst/>
              <a:cxnLst/>
              <a:rect l="l" t="t" r="r" b="b"/>
              <a:pathLst>
                <a:path w="351" h="102" extrusionOk="0">
                  <a:moveTo>
                    <a:pt x="1" y="0"/>
                  </a:moveTo>
                  <a:cubicBezTo>
                    <a:pt x="120" y="25"/>
                    <a:pt x="235" y="60"/>
                    <a:pt x="351" y="102"/>
                  </a:cubicBezTo>
                  <a:lnTo>
                    <a:pt x="351" y="102"/>
                  </a:lnTo>
                  <a:cubicBezTo>
                    <a:pt x="235" y="60"/>
                    <a:pt x="120" y="25"/>
                    <a:pt x="1"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548" name="Google Shape;5548;p104"/>
            <p:cNvSpPr/>
            <p:nvPr/>
          </p:nvSpPr>
          <p:spPr>
            <a:xfrm>
              <a:off x="1132813" y="1645052"/>
              <a:ext cx="202889" cy="1100"/>
            </a:xfrm>
            <a:custGeom>
              <a:avLst/>
              <a:gdLst/>
              <a:ahLst/>
              <a:cxnLst/>
              <a:rect l="l" t="t" r="r" b="b"/>
              <a:pathLst>
                <a:path w="14943" h="81" extrusionOk="0">
                  <a:moveTo>
                    <a:pt x="1" y="81"/>
                  </a:moveTo>
                  <a:lnTo>
                    <a:pt x="14942"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549" name="Google Shape;5549;p104"/>
            <p:cNvSpPr/>
            <p:nvPr/>
          </p:nvSpPr>
          <p:spPr>
            <a:xfrm>
              <a:off x="1415496" y="1668718"/>
              <a:ext cx="54" cy="14"/>
            </a:xfrm>
            <a:custGeom>
              <a:avLst/>
              <a:gdLst/>
              <a:ahLst/>
              <a:cxnLst/>
              <a:rect l="l" t="t" r="r" b="b"/>
              <a:pathLst>
                <a:path w="4" h="1" extrusionOk="0">
                  <a:moveTo>
                    <a:pt x="0" y="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550" name="Google Shape;5550;p104"/>
            <p:cNvSpPr/>
            <p:nvPr/>
          </p:nvSpPr>
          <p:spPr>
            <a:xfrm>
              <a:off x="1075678" y="1581930"/>
              <a:ext cx="1113" cy="1439"/>
            </a:xfrm>
            <a:custGeom>
              <a:avLst/>
              <a:gdLst/>
              <a:ahLst/>
              <a:cxnLst/>
              <a:rect l="l" t="t" r="r" b="b"/>
              <a:pathLst>
                <a:path w="82" h="106" extrusionOk="0">
                  <a:moveTo>
                    <a:pt x="1" y="0"/>
                  </a:moveTo>
                  <a:cubicBezTo>
                    <a:pt x="36" y="35"/>
                    <a:pt x="78" y="81"/>
                    <a:pt x="78" y="105"/>
                  </a:cubicBezTo>
                  <a:cubicBezTo>
                    <a:pt x="81" y="81"/>
                    <a:pt x="36" y="35"/>
                    <a:pt x="1"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551" name="Google Shape;5551;p104"/>
            <p:cNvSpPr/>
            <p:nvPr/>
          </p:nvSpPr>
          <p:spPr>
            <a:xfrm>
              <a:off x="1457410" y="1699376"/>
              <a:ext cx="14" cy="204"/>
            </a:xfrm>
            <a:custGeom>
              <a:avLst/>
              <a:gdLst/>
              <a:ahLst/>
              <a:cxnLst/>
              <a:rect l="l" t="t" r="r" b="b"/>
              <a:pathLst>
                <a:path w="1" h="15" extrusionOk="0">
                  <a:moveTo>
                    <a:pt x="1" y="1"/>
                  </a:moveTo>
                  <a:lnTo>
                    <a:pt x="1" y="15"/>
                  </a:lnTo>
                  <a:cubicBezTo>
                    <a:pt x="1" y="11"/>
                    <a:pt x="1" y="4"/>
                    <a:pt x="1" y="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552" name="Google Shape;5552;p104"/>
            <p:cNvSpPr/>
            <p:nvPr/>
          </p:nvSpPr>
          <p:spPr>
            <a:xfrm>
              <a:off x="1456649" y="1702091"/>
              <a:ext cx="163" cy="149"/>
            </a:xfrm>
            <a:custGeom>
              <a:avLst/>
              <a:gdLst/>
              <a:ahLst/>
              <a:cxnLst/>
              <a:rect l="l" t="t" r="r" b="b"/>
              <a:pathLst>
                <a:path w="12" h="11" extrusionOk="0">
                  <a:moveTo>
                    <a:pt x="11" y="0"/>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553" name="Google Shape;5553;p104"/>
            <p:cNvSpPr/>
            <p:nvPr/>
          </p:nvSpPr>
          <p:spPr>
            <a:xfrm>
              <a:off x="1457152" y="1701467"/>
              <a:ext cx="136" cy="163"/>
            </a:xfrm>
            <a:custGeom>
              <a:avLst/>
              <a:gdLst/>
              <a:ahLst/>
              <a:cxnLst/>
              <a:rect l="l" t="t" r="r" b="b"/>
              <a:pathLst>
                <a:path w="10" h="12" extrusionOk="0">
                  <a:moveTo>
                    <a:pt x="9" y="1"/>
                  </a:moveTo>
                  <a:cubicBezTo>
                    <a:pt x="6" y="4"/>
                    <a:pt x="1" y="12"/>
                    <a:pt x="1" y="12"/>
                  </a:cubicBezTo>
                  <a:cubicBezTo>
                    <a:pt x="2" y="12"/>
                    <a:pt x="2" y="12"/>
                    <a:pt x="2" y="11"/>
                  </a:cubicBezTo>
                  <a:cubicBezTo>
                    <a:pt x="6" y="8"/>
                    <a:pt x="9" y="4"/>
                    <a:pt x="9" y="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554" name="Google Shape;5554;p104"/>
            <p:cNvSpPr/>
            <p:nvPr/>
          </p:nvSpPr>
          <p:spPr>
            <a:xfrm>
              <a:off x="1456935" y="1701806"/>
              <a:ext cx="163" cy="109"/>
            </a:xfrm>
            <a:custGeom>
              <a:avLst/>
              <a:gdLst/>
              <a:ahLst/>
              <a:cxnLst/>
              <a:rect l="l" t="t" r="r" b="b"/>
              <a:pathLst>
                <a:path w="12" h="8" extrusionOk="0">
                  <a:moveTo>
                    <a:pt x="11"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555" name="Google Shape;5555;p104"/>
            <p:cNvSpPr/>
            <p:nvPr/>
          </p:nvSpPr>
          <p:spPr>
            <a:xfrm>
              <a:off x="1457464" y="1700095"/>
              <a:ext cx="14" cy="204"/>
            </a:xfrm>
            <a:custGeom>
              <a:avLst/>
              <a:gdLst/>
              <a:ahLst/>
              <a:cxnLst/>
              <a:rect l="l" t="t" r="r" b="b"/>
              <a:pathLst>
                <a:path w="1" h="15" extrusionOk="0">
                  <a:moveTo>
                    <a:pt x="0" y="0"/>
                  </a:moveTo>
                  <a:lnTo>
                    <a:pt x="0" y="14"/>
                  </a:lnTo>
                  <a:cubicBezTo>
                    <a:pt x="0" y="11"/>
                    <a:pt x="0" y="4"/>
                    <a:pt x="0"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556" name="Google Shape;5556;p104"/>
            <p:cNvSpPr/>
            <p:nvPr/>
          </p:nvSpPr>
          <p:spPr>
            <a:xfrm>
              <a:off x="1457369" y="1701181"/>
              <a:ext cx="54" cy="122"/>
            </a:xfrm>
            <a:custGeom>
              <a:avLst/>
              <a:gdLst/>
              <a:ahLst/>
              <a:cxnLst/>
              <a:rect l="l" t="t" r="r" b="b"/>
              <a:pathLst>
                <a:path w="4" h="9" extrusionOk="0">
                  <a:moveTo>
                    <a:pt x="4" y="1"/>
                  </a:moveTo>
                  <a:cubicBezTo>
                    <a:pt x="2" y="3"/>
                    <a:pt x="1" y="6"/>
                    <a:pt x="1" y="7"/>
                  </a:cubicBezTo>
                  <a:lnTo>
                    <a:pt x="1" y="7"/>
                  </a:lnTo>
                  <a:cubicBezTo>
                    <a:pt x="1" y="6"/>
                    <a:pt x="4" y="3"/>
                    <a:pt x="4" y="1"/>
                  </a:cubicBezTo>
                  <a:close/>
                  <a:moveTo>
                    <a:pt x="1" y="7"/>
                  </a:moveTo>
                  <a:lnTo>
                    <a:pt x="1" y="7"/>
                  </a:lnTo>
                  <a:cubicBezTo>
                    <a:pt x="0" y="8"/>
                    <a:pt x="0" y="8"/>
                    <a:pt x="0" y="8"/>
                  </a:cubicBezTo>
                  <a:cubicBezTo>
                    <a:pt x="0" y="8"/>
                    <a:pt x="0" y="9"/>
                    <a:pt x="0" y="9"/>
                  </a:cubicBezTo>
                  <a:cubicBezTo>
                    <a:pt x="0" y="9"/>
                    <a:pt x="0" y="8"/>
                    <a:pt x="1" y="7"/>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557" name="Google Shape;5557;p104"/>
            <p:cNvSpPr/>
            <p:nvPr/>
          </p:nvSpPr>
          <p:spPr>
            <a:xfrm>
              <a:off x="1539174" y="1665921"/>
              <a:ext cx="14" cy="285"/>
            </a:xfrm>
            <a:custGeom>
              <a:avLst/>
              <a:gdLst/>
              <a:ahLst/>
              <a:cxnLst/>
              <a:rect l="l" t="t" r="r" b="b"/>
              <a:pathLst>
                <a:path w="1" h="21" extrusionOk="0">
                  <a:moveTo>
                    <a:pt x="0" y="21"/>
                  </a:moveTo>
                  <a:lnTo>
                    <a:pt x="0"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558" name="Google Shape;5558;p104"/>
            <p:cNvSpPr/>
            <p:nvPr/>
          </p:nvSpPr>
          <p:spPr>
            <a:xfrm>
              <a:off x="1536512" y="1661494"/>
              <a:ext cx="2865" cy="530"/>
            </a:xfrm>
            <a:custGeom>
              <a:avLst/>
              <a:gdLst/>
              <a:ahLst/>
              <a:cxnLst/>
              <a:rect l="l" t="t" r="r" b="b"/>
              <a:pathLst>
                <a:path w="211" h="39" extrusionOk="0">
                  <a:moveTo>
                    <a:pt x="0" y="0"/>
                  </a:moveTo>
                  <a:lnTo>
                    <a:pt x="0" y="0"/>
                  </a:lnTo>
                  <a:cubicBezTo>
                    <a:pt x="81" y="7"/>
                    <a:pt x="196" y="14"/>
                    <a:pt x="210" y="39"/>
                  </a:cubicBezTo>
                  <a:cubicBezTo>
                    <a:pt x="196" y="14"/>
                    <a:pt x="81" y="4"/>
                    <a:pt x="0"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559" name="Google Shape;5559;p104"/>
            <p:cNvSpPr/>
            <p:nvPr/>
          </p:nvSpPr>
          <p:spPr>
            <a:xfrm>
              <a:off x="1477423" y="1689681"/>
              <a:ext cx="163" cy="109"/>
            </a:xfrm>
            <a:custGeom>
              <a:avLst/>
              <a:gdLst/>
              <a:ahLst/>
              <a:cxnLst/>
              <a:rect l="l" t="t" r="r" b="b"/>
              <a:pathLst>
                <a:path w="12" h="8" extrusionOk="0">
                  <a:moveTo>
                    <a:pt x="1" y="7"/>
                  </a:moveTo>
                  <a:lnTo>
                    <a:pt x="1" y="7"/>
                  </a:lnTo>
                  <a:lnTo>
                    <a:pt x="11"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560" name="Google Shape;5560;p104"/>
            <p:cNvSpPr/>
            <p:nvPr/>
          </p:nvSpPr>
          <p:spPr>
            <a:xfrm>
              <a:off x="1428843" y="1703327"/>
              <a:ext cx="14" cy="54"/>
            </a:xfrm>
            <a:custGeom>
              <a:avLst/>
              <a:gdLst/>
              <a:ahLst/>
              <a:cxnLst/>
              <a:rect l="l" t="t" r="r" b="b"/>
              <a:pathLst>
                <a:path w="1" h="4" extrusionOk="0">
                  <a:moveTo>
                    <a:pt x="1" y="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561" name="Google Shape;5561;p104"/>
            <p:cNvSpPr/>
            <p:nvPr/>
          </p:nvSpPr>
          <p:spPr>
            <a:xfrm>
              <a:off x="1428897" y="1704223"/>
              <a:ext cx="54" cy="258"/>
            </a:xfrm>
            <a:custGeom>
              <a:avLst/>
              <a:gdLst/>
              <a:ahLst/>
              <a:cxnLst/>
              <a:rect l="l" t="t" r="r" b="b"/>
              <a:pathLst>
                <a:path w="4" h="19" extrusionOk="0">
                  <a:moveTo>
                    <a:pt x="4" y="1"/>
                  </a:moveTo>
                  <a:cubicBezTo>
                    <a:pt x="0" y="8"/>
                    <a:pt x="0" y="11"/>
                    <a:pt x="4" y="18"/>
                  </a:cubicBezTo>
                  <a:lnTo>
                    <a:pt x="4"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562" name="Google Shape;5562;p104"/>
            <p:cNvSpPr/>
            <p:nvPr/>
          </p:nvSpPr>
          <p:spPr>
            <a:xfrm>
              <a:off x="1428992" y="1705038"/>
              <a:ext cx="109" cy="244"/>
            </a:xfrm>
            <a:custGeom>
              <a:avLst/>
              <a:gdLst/>
              <a:ahLst/>
              <a:cxnLst/>
              <a:rect l="l" t="t" r="r" b="b"/>
              <a:pathLst>
                <a:path w="8" h="18" extrusionOk="0">
                  <a:moveTo>
                    <a:pt x="0" y="0"/>
                  </a:moveTo>
                  <a:lnTo>
                    <a:pt x="0" y="0"/>
                  </a:lnTo>
                  <a:cubicBezTo>
                    <a:pt x="4" y="7"/>
                    <a:pt x="4" y="14"/>
                    <a:pt x="7" y="18"/>
                  </a:cubicBezTo>
                  <a:cubicBezTo>
                    <a:pt x="7" y="14"/>
                    <a:pt x="4" y="7"/>
                    <a:pt x="0"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563" name="Google Shape;5563;p104"/>
            <p:cNvSpPr/>
            <p:nvPr/>
          </p:nvSpPr>
          <p:spPr>
            <a:xfrm>
              <a:off x="1456269" y="1702376"/>
              <a:ext cx="163" cy="149"/>
            </a:xfrm>
            <a:custGeom>
              <a:avLst/>
              <a:gdLst/>
              <a:ahLst/>
              <a:cxnLst/>
              <a:rect l="l" t="t" r="r" b="b"/>
              <a:pathLst>
                <a:path w="12" h="11" extrusionOk="0">
                  <a:moveTo>
                    <a:pt x="11" y="0"/>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564" name="Google Shape;5564;p104"/>
            <p:cNvSpPr/>
            <p:nvPr/>
          </p:nvSpPr>
          <p:spPr>
            <a:xfrm>
              <a:off x="1429223" y="1705893"/>
              <a:ext cx="68" cy="149"/>
            </a:xfrm>
            <a:custGeom>
              <a:avLst/>
              <a:gdLst/>
              <a:ahLst/>
              <a:cxnLst/>
              <a:rect l="l" t="t" r="r" b="b"/>
              <a:pathLst>
                <a:path w="5" h="11" extrusionOk="0">
                  <a:moveTo>
                    <a:pt x="1" y="0"/>
                  </a:moveTo>
                  <a:lnTo>
                    <a:pt x="1" y="0"/>
                  </a:lnTo>
                  <a:cubicBezTo>
                    <a:pt x="1" y="4"/>
                    <a:pt x="4" y="7"/>
                    <a:pt x="4" y="11"/>
                  </a:cubicBezTo>
                  <a:cubicBezTo>
                    <a:pt x="4" y="7"/>
                    <a:pt x="4" y="4"/>
                    <a:pt x="1"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565" name="Google Shape;5565;p104"/>
            <p:cNvSpPr/>
            <p:nvPr/>
          </p:nvSpPr>
          <p:spPr>
            <a:xfrm>
              <a:off x="1428897" y="1702227"/>
              <a:ext cx="54" cy="258"/>
            </a:xfrm>
            <a:custGeom>
              <a:avLst/>
              <a:gdLst/>
              <a:ahLst/>
              <a:cxnLst/>
              <a:rect l="l" t="t" r="r" b="b"/>
              <a:pathLst>
                <a:path w="4" h="19" extrusionOk="0">
                  <a:moveTo>
                    <a:pt x="0" y="1"/>
                  </a:moveTo>
                  <a:lnTo>
                    <a:pt x="0" y="18"/>
                  </a:lnTo>
                  <a:cubicBezTo>
                    <a:pt x="0" y="15"/>
                    <a:pt x="4" y="8"/>
                    <a:pt x="0" y="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566" name="Google Shape;5566;p104"/>
            <p:cNvSpPr/>
            <p:nvPr/>
          </p:nvSpPr>
          <p:spPr>
            <a:xfrm>
              <a:off x="1455794" y="1702702"/>
              <a:ext cx="204" cy="163"/>
            </a:xfrm>
            <a:custGeom>
              <a:avLst/>
              <a:gdLst/>
              <a:ahLst/>
              <a:cxnLst/>
              <a:rect l="l" t="t" r="r" b="b"/>
              <a:pathLst>
                <a:path w="15" h="12" extrusionOk="0">
                  <a:moveTo>
                    <a:pt x="15" y="1"/>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567" name="Google Shape;5567;p104"/>
            <p:cNvSpPr/>
            <p:nvPr/>
          </p:nvSpPr>
          <p:spPr>
            <a:xfrm>
              <a:off x="1429562" y="1706653"/>
              <a:ext cx="109" cy="204"/>
            </a:xfrm>
            <a:custGeom>
              <a:avLst/>
              <a:gdLst/>
              <a:ahLst/>
              <a:cxnLst/>
              <a:rect l="l" t="t" r="r" b="b"/>
              <a:pathLst>
                <a:path w="8" h="15" extrusionOk="0">
                  <a:moveTo>
                    <a:pt x="0" y="0"/>
                  </a:moveTo>
                  <a:cubicBezTo>
                    <a:pt x="4" y="7"/>
                    <a:pt x="4" y="11"/>
                    <a:pt x="7" y="14"/>
                  </a:cubicBezTo>
                  <a:cubicBezTo>
                    <a:pt x="7" y="11"/>
                    <a:pt x="4" y="4"/>
                    <a:pt x="0"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568" name="Google Shape;5568;p104"/>
            <p:cNvSpPr/>
            <p:nvPr/>
          </p:nvSpPr>
          <p:spPr>
            <a:xfrm>
              <a:off x="1455224" y="1703042"/>
              <a:ext cx="258" cy="149"/>
            </a:xfrm>
            <a:custGeom>
              <a:avLst/>
              <a:gdLst/>
              <a:ahLst/>
              <a:cxnLst/>
              <a:rect l="l" t="t" r="r" b="b"/>
              <a:pathLst>
                <a:path w="19" h="11" extrusionOk="0">
                  <a:moveTo>
                    <a:pt x="18" y="0"/>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569" name="Google Shape;5569;p104"/>
            <p:cNvSpPr/>
            <p:nvPr/>
          </p:nvSpPr>
          <p:spPr>
            <a:xfrm>
              <a:off x="1482080" y="1685595"/>
              <a:ext cx="299" cy="244"/>
            </a:xfrm>
            <a:custGeom>
              <a:avLst/>
              <a:gdLst/>
              <a:ahLst/>
              <a:cxnLst/>
              <a:rect l="l" t="t" r="r" b="b"/>
              <a:pathLst>
                <a:path w="22" h="18" extrusionOk="0">
                  <a:moveTo>
                    <a:pt x="1" y="18"/>
                  </a:moveTo>
                  <a:lnTo>
                    <a:pt x="22"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570" name="Google Shape;5570;p104"/>
            <p:cNvSpPr/>
            <p:nvPr/>
          </p:nvSpPr>
          <p:spPr>
            <a:xfrm>
              <a:off x="1539174" y="1665486"/>
              <a:ext cx="14" cy="244"/>
            </a:xfrm>
            <a:custGeom>
              <a:avLst/>
              <a:gdLst/>
              <a:ahLst/>
              <a:cxnLst/>
              <a:rect l="l" t="t" r="r" b="b"/>
              <a:pathLst>
                <a:path w="1" h="18" extrusionOk="0">
                  <a:moveTo>
                    <a:pt x="0" y="0"/>
                  </a:moveTo>
                  <a:lnTo>
                    <a:pt x="0" y="18"/>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571" name="Google Shape;5571;p104"/>
            <p:cNvSpPr/>
            <p:nvPr/>
          </p:nvSpPr>
          <p:spPr>
            <a:xfrm>
              <a:off x="1539174" y="1666871"/>
              <a:ext cx="54" cy="299"/>
            </a:xfrm>
            <a:custGeom>
              <a:avLst/>
              <a:gdLst/>
              <a:ahLst/>
              <a:cxnLst/>
              <a:rect l="l" t="t" r="r" b="b"/>
              <a:pathLst>
                <a:path w="4" h="22" extrusionOk="0">
                  <a:moveTo>
                    <a:pt x="0" y="0"/>
                  </a:moveTo>
                  <a:lnTo>
                    <a:pt x="0" y="21"/>
                  </a:lnTo>
                  <a:cubicBezTo>
                    <a:pt x="4" y="14"/>
                    <a:pt x="4" y="7"/>
                    <a:pt x="0"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572" name="Google Shape;5572;p104"/>
            <p:cNvSpPr/>
            <p:nvPr/>
          </p:nvSpPr>
          <p:spPr>
            <a:xfrm>
              <a:off x="1539174" y="1666396"/>
              <a:ext cx="14" cy="299"/>
            </a:xfrm>
            <a:custGeom>
              <a:avLst/>
              <a:gdLst/>
              <a:ahLst/>
              <a:cxnLst/>
              <a:rect l="l" t="t" r="r" b="b"/>
              <a:pathLst>
                <a:path w="1" h="22" extrusionOk="0">
                  <a:moveTo>
                    <a:pt x="0" y="0"/>
                  </a:moveTo>
                  <a:lnTo>
                    <a:pt x="0" y="2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573" name="Google Shape;5573;p104"/>
            <p:cNvSpPr/>
            <p:nvPr/>
          </p:nvSpPr>
          <p:spPr>
            <a:xfrm>
              <a:off x="1485217" y="1683409"/>
              <a:ext cx="163" cy="109"/>
            </a:xfrm>
            <a:custGeom>
              <a:avLst/>
              <a:gdLst/>
              <a:ahLst/>
              <a:cxnLst/>
              <a:rect l="l" t="t" r="r" b="b"/>
              <a:pathLst>
                <a:path w="12" h="8" extrusionOk="0">
                  <a:moveTo>
                    <a:pt x="1" y="7"/>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574" name="Google Shape;5574;p104"/>
            <p:cNvSpPr/>
            <p:nvPr/>
          </p:nvSpPr>
          <p:spPr>
            <a:xfrm>
              <a:off x="1485407" y="1683354"/>
              <a:ext cx="109" cy="68"/>
            </a:xfrm>
            <a:custGeom>
              <a:avLst/>
              <a:gdLst/>
              <a:ahLst/>
              <a:cxnLst/>
              <a:rect l="l" t="t" r="r" b="b"/>
              <a:pathLst>
                <a:path w="8" h="5" extrusionOk="0">
                  <a:moveTo>
                    <a:pt x="1" y="4"/>
                  </a:moveTo>
                  <a:lnTo>
                    <a:pt x="8"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575" name="Google Shape;5575;p104"/>
            <p:cNvSpPr/>
            <p:nvPr/>
          </p:nvSpPr>
          <p:spPr>
            <a:xfrm>
              <a:off x="1480139" y="1687115"/>
              <a:ext cx="394" cy="339"/>
            </a:xfrm>
            <a:custGeom>
              <a:avLst/>
              <a:gdLst/>
              <a:ahLst/>
              <a:cxnLst/>
              <a:rect l="l" t="t" r="r" b="b"/>
              <a:pathLst>
                <a:path w="29" h="25" extrusionOk="0">
                  <a:moveTo>
                    <a:pt x="0" y="25"/>
                  </a:moveTo>
                  <a:lnTo>
                    <a:pt x="28"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576" name="Google Shape;5576;p104"/>
            <p:cNvSpPr/>
            <p:nvPr/>
          </p:nvSpPr>
          <p:spPr>
            <a:xfrm>
              <a:off x="1539174" y="1665052"/>
              <a:ext cx="14" cy="299"/>
            </a:xfrm>
            <a:custGeom>
              <a:avLst/>
              <a:gdLst/>
              <a:ahLst/>
              <a:cxnLst/>
              <a:rect l="l" t="t" r="r" b="b"/>
              <a:pathLst>
                <a:path w="1" h="22" extrusionOk="0">
                  <a:moveTo>
                    <a:pt x="0" y="1"/>
                  </a:moveTo>
                  <a:lnTo>
                    <a:pt x="0" y="22"/>
                  </a:lnTo>
                  <a:cubicBezTo>
                    <a:pt x="0" y="15"/>
                    <a:pt x="0" y="8"/>
                    <a:pt x="0" y="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577" name="Google Shape;5577;p104"/>
            <p:cNvSpPr/>
            <p:nvPr/>
          </p:nvSpPr>
          <p:spPr>
            <a:xfrm>
              <a:off x="1485556" y="1683259"/>
              <a:ext cx="109" cy="68"/>
            </a:xfrm>
            <a:custGeom>
              <a:avLst/>
              <a:gdLst/>
              <a:ahLst/>
              <a:cxnLst/>
              <a:rect l="l" t="t" r="r" b="b"/>
              <a:pathLst>
                <a:path w="8" h="5" extrusionOk="0">
                  <a:moveTo>
                    <a:pt x="0" y="4"/>
                  </a:moveTo>
                  <a:lnTo>
                    <a:pt x="7"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578" name="Google Shape;5578;p104"/>
            <p:cNvSpPr/>
            <p:nvPr/>
          </p:nvSpPr>
          <p:spPr>
            <a:xfrm>
              <a:off x="1483845" y="1684264"/>
              <a:ext cx="244" cy="204"/>
            </a:xfrm>
            <a:custGeom>
              <a:avLst/>
              <a:gdLst/>
              <a:ahLst/>
              <a:cxnLst/>
              <a:rect l="l" t="t" r="r" b="b"/>
              <a:pathLst>
                <a:path w="18" h="15" extrusionOk="0">
                  <a:moveTo>
                    <a:pt x="0" y="14"/>
                  </a:moveTo>
                  <a:lnTo>
                    <a:pt x="18"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579" name="Google Shape;5579;p104"/>
            <p:cNvSpPr/>
            <p:nvPr/>
          </p:nvSpPr>
          <p:spPr>
            <a:xfrm>
              <a:off x="1484646" y="1683789"/>
              <a:ext cx="204" cy="109"/>
            </a:xfrm>
            <a:custGeom>
              <a:avLst/>
              <a:gdLst/>
              <a:ahLst/>
              <a:cxnLst/>
              <a:rect l="l" t="t" r="r" b="b"/>
              <a:pathLst>
                <a:path w="15" h="8" extrusionOk="0">
                  <a:moveTo>
                    <a:pt x="1" y="7"/>
                  </a:moveTo>
                  <a:lnTo>
                    <a:pt x="15"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580" name="Google Shape;5580;p104"/>
            <p:cNvSpPr/>
            <p:nvPr/>
          </p:nvSpPr>
          <p:spPr>
            <a:xfrm>
              <a:off x="1484415" y="1683924"/>
              <a:ext cx="204" cy="163"/>
            </a:xfrm>
            <a:custGeom>
              <a:avLst/>
              <a:gdLst/>
              <a:ahLst/>
              <a:cxnLst/>
              <a:rect l="l" t="t" r="r" b="b"/>
              <a:pathLst>
                <a:path w="15" h="12" extrusionOk="0">
                  <a:moveTo>
                    <a:pt x="0" y="11"/>
                  </a:moveTo>
                  <a:lnTo>
                    <a:pt x="14"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581" name="Google Shape;5581;p104"/>
            <p:cNvSpPr/>
            <p:nvPr/>
          </p:nvSpPr>
          <p:spPr>
            <a:xfrm>
              <a:off x="1484130" y="1684115"/>
              <a:ext cx="244" cy="163"/>
            </a:xfrm>
            <a:custGeom>
              <a:avLst/>
              <a:gdLst/>
              <a:ahLst/>
              <a:cxnLst/>
              <a:rect l="l" t="t" r="r" b="b"/>
              <a:pathLst>
                <a:path w="18" h="12" extrusionOk="0">
                  <a:moveTo>
                    <a:pt x="0" y="11"/>
                  </a:moveTo>
                  <a:lnTo>
                    <a:pt x="18"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582" name="Google Shape;5582;p104"/>
            <p:cNvSpPr/>
            <p:nvPr/>
          </p:nvSpPr>
          <p:spPr>
            <a:xfrm>
              <a:off x="1485026" y="1683544"/>
              <a:ext cx="204" cy="109"/>
            </a:xfrm>
            <a:custGeom>
              <a:avLst/>
              <a:gdLst/>
              <a:ahLst/>
              <a:cxnLst/>
              <a:rect l="l" t="t" r="r" b="b"/>
              <a:pathLst>
                <a:path w="15" h="8" extrusionOk="0">
                  <a:moveTo>
                    <a:pt x="1" y="8"/>
                  </a:moveTo>
                  <a:lnTo>
                    <a:pt x="15"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583" name="Google Shape;5583;p104"/>
            <p:cNvSpPr/>
            <p:nvPr/>
          </p:nvSpPr>
          <p:spPr>
            <a:xfrm>
              <a:off x="1539309" y="1668392"/>
              <a:ext cx="68" cy="339"/>
            </a:xfrm>
            <a:custGeom>
              <a:avLst/>
              <a:gdLst/>
              <a:ahLst/>
              <a:cxnLst/>
              <a:rect l="l" t="t" r="r" b="b"/>
              <a:pathLst>
                <a:path w="5" h="25" extrusionOk="0">
                  <a:moveTo>
                    <a:pt x="1" y="0"/>
                  </a:moveTo>
                  <a:cubicBezTo>
                    <a:pt x="1" y="7"/>
                    <a:pt x="1" y="18"/>
                    <a:pt x="4" y="25"/>
                  </a:cubicBezTo>
                  <a:cubicBezTo>
                    <a:pt x="1" y="18"/>
                    <a:pt x="1" y="7"/>
                    <a:pt x="1"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584" name="Google Shape;5584;p104"/>
            <p:cNvSpPr/>
            <p:nvPr/>
          </p:nvSpPr>
          <p:spPr>
            <a:xfrm>
              <a:off x="1539214" y="1667346"/>
              <a:ext cx="14" cy="299"/>
            </a:xfrm>
            <a:custGeom>
              <a:avLst/>
              <a:gdLst/>
              <a:ahLst/>
              <a:cxnLst/>
              <a:rect l="l" t="t" r="r" b="b"/>
              <a:pathLst>
                <a:path w="1" h="22" extrusionOk="0">
                  <a:moveTo>
                    <a:pt x="1" y="0"/>
                  </a:moveTo>
                  <a:lnTo>
                    <a:pt x="1" y="21"/>
                  </a:lnTo>
                  <a:cubicBezTo>
                    <a:pt x="1" y="14"/>
                    <a:pt x="1" y="7"/>
                    <a:pt x="1"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585" name="Google Shape;5585;p104"/>
            <p:cNvSpPr/>
            <p:nvPr/>
          </p:nvSpPr>
          <p:spPr>
            <a:xfrm>
              <a:off x="1484836" y="1683639"/>
              <a:ext cx="204" cy="109"/>
            </a:xfrm>
            <a:custGeom>
              <a:avLst/>
              <a:gdLst/>
              <a:ahLst/>
              <a:cxnLst/>
              <a:rect l="l" t="t" r="r" b="b"/>
              <a:pathLst>
                <a:path w="15" h="8" extrusionOk="0">
                  <a:moveTo>
                    <a:pt x="1" y="8"/>
                  </a:moveTo>
                  <a:lnTo>
                    <a:pt x="15"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586" name="Google Shape;5586;p104"/>
            <p:cNvSpPr/>
            <p:nvPr/>
          </p:nvSpPr>
          <p:spPr>
            <a:xfrm>
              <a:off x="1485692" y="1683164"/>
              <a:ext cx="109" cy="109"/>
            </a:xfrm>
            <a:custGeom>
              <a:avLst/>
              <a:gdLst/>
              <a:ahLst/>
              <a:cxnLst/>
              <a:rect l="l" t="t" r="r" b="b"/>
              <a:pathLst>
                <a:path w="8" h="8" extrusionOk="0">
                  <a:moveTo>
                    <a:pt x="1" y="8"/>
                  </a:moveTo>
                  <a:lnTo>
                    <a:pt x="8"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587" name="Google Shape;5587;p104"/>
            <p:cNvSpPr/>
            <p:nvPr/>
          </p:nvSpPr>
          <p:spPr>
            <a:xfrm>
              <a:off x="1539269" y="1667862"/>
              <a:ext cx="14" cy="299"/>
            </a:xfrm>
            <a:custGeom>
              <a:avLst/>
              <a:gdLst/>
              <a:ahLst/>
              <a:cxnLst/>
              <a:rect l="l" t="t" r="r" b="b"/>
              <a:pathLst>
                <a:path w="1" h="22" extrusionOk="0">
                  <a:moveTo>
                    <a:pt x="0" y="1"/>
                  </a:moveTo>
                  <a:lnTo>
                    <a:pt x="0" y="22"/>
                  </a:lnTo>
                  <a:cubicBezTo>
                    <a:pt x="0" y="15"/>
                    <a:pt x="0" y="8"/>
                    <a:pt x="0" y="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588" name="Google Shape;5588;p104"/>
            <p:cNvSpPr/>
            <p:nvPr/>
          </p:nvSpPr>
          <p:spPr>
            <a:xfrm>
              <a:off x="1485787" y="1683164"/>
              <a:ext cx="109" cy="68"/>
            </a:xfrm>
            <a:custGeom>
              <a:avLst/>
              <a:gdLst/>
              <a:ahLst/>
              <a:cxnLst/>
              <a:rect l="l" t="t" r="r" b="b"/>
              <a:pathLst>
                <a:path w="8" h="5" extrusionOk="0">
                  <a:moveTo>
                    <a:pt x="1" y="4"/>
                  </a:moveTo>
                  <a:lnTo>
                    <a:pt x="8"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589" name="Google Shape;5589;p104"/>
            <p:cNvSpPr/>
            <p:nvPr/>
          </p:nvSpPr>
          <p:spPr>
            <a:xfrm>
              <a:off x="1539269" y="1663300"/>
              <a:ext cx="54" cy="584"/>
            </a:xfrm>
            <a:custGeom>
              <a:avLst/>
              <a:gdLst/>
              <a:ahLst/>
              <a:cxnLst/>
              <a:rect l="l" t="t" r="r" b="b"/>
              <a:pathLst>
                <a:path w="4" h="43" extrusionOk="0">
                  <a:moveTo>
                    <a:pt x="4" y="0"/>
                  </a:moveTo>
                  <a:cubicBezTo>
                    <a:pt x="0" y="14"/>
                    <a:pt x="0" y="28"/>
                    <a:pt x="0" y="42"/>
                  </a:cubicBezTo>
                  <a:cubicBezTo>
                    <a:pt x="0" y="28"/>
                    <a:pt x="4" y="14"/>
                    <a:pt x="4"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590" name="Google Shape;5590;p104"/>
            <p:cNvSpPr/>
            <p:nvPr/>
          </p:nvSpPr>
          <p:spPr>
            <a:xfrm>
              <a:off x="1539269" y="1663911"/>
              <a:ext cx="14" cy="299"/>
            </a:xfrm>
            <a:custGeom>
              <a:avLst/>
              <a:gdLst/>
              <a:ahLst/>
              <a:cxnLst/>
              <a:rect l="l" t="t" r="r" b="b"/>
              <a:pathLst>
                <a:path w="1" h="22" extrusionOk="0">
                  <a:moveTo>
                    <a:pt x="0" y="1"/>
                  </a:moveTo>
                  <a:lnTo>
                    <a:pt x="0" y="22"/>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591" name="Google Shape;5591;p104"/>
            <p:cNvSpPr/>
            <p:nvPr/>
          </p:nvSpPr>
          <p:spPr>
            <a:xfrm>
              <a:off x="1529099" y="1659634"/>
              <a:ext cx="244" cy="68"/>
            </a:xfrm>
            <a:custGeom>
              <a:avLst/>
              <a:gdLst/>
              <a:ahLst/>
              <a:cxnLst/>
              <a:rect l="l" t="t" r="r" b="b"/>
              <a:pathLst>
                <a:path w="18" h="5" extrusionOk="0">
                  <a:moveTo>
                    <a:pt x="0" y="4"/>
                  </a:moveTo>
                  <a:cubicBezTo>
                    <a:pt x="4" y="1"/>
                    <a:pt x="11" y="1"/>
                    <a:pt x="18" y="1"/>
                  </a:cubicBezTo>
                  <a:cubicBezTo>
                    <a:pt x="11" y="1"/>
                    <a:pt x="4" y="1"/>
                    <a:pt x="0" y="4"/>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592" name="Google Shape;5592;p104"/>
            <p:cNvSpPr/>
            <p:nvPr/>
          </p:nvSpPr>
          <p:spPr>
            <a:xfrm>
              <a:off x="1482460" y="1685309"/>
              <a:ext cx="299" cy="204"/>
            </a:xfrm>
            <a:custGeom>
              <a:avLst/>
              <a:gdLst/>
              <a:ahLst/>
              <a:cxnLst/>
              <a:rect l="l" t="t" r="r" b="b"/>
              <a:pathLst>
                <a:path w="22" h="15" extrusionOk="0">
                  <a:moveTo>
                    <a:pt x="1" y="14"/>
                  </a:moveTo>
                  <a:lnTo>
                    <a:pt x="22"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593" name="Google Shape;5593;p104"/>
            <p:cNvSpPr/>
            <p:nvPr/>
          </p:nvSpPr>
          <p:spPr>
            <a:xfrm>
              <a:off x="1482840" y="1685024"/>
              <a:ext cx="299" cy="204"/>
            </a:xfrm>
            <a:custGeom>
              <a:avLst/>
              <a:gdLst/>
              <a:ahLst/>
              <a:cxnLst/>
              <a:rect l="l" t="t" r="r" b="b"/>
              <a:pathLst>
                <a:path w="22" h="15" extrusionOk="0">
                  <a:moveTo>
                    <a:pt x="1" y="14"/>
                  </a:moveTo>
                  <a:lnTo>
                    <a:pt x="22"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594" name="Google Shape;5594;p104"/>
            <p:cNvSpPr/>
            <p:nvPr/>
          </p:nvSpPr>
          <p:spPr>
            <a:xfrm>
              <a:off x="1481605" y="1685975"/>
              <a:ext cx="353" cy="244"/>
            </a:xfrm>
            <a:custGeom>
              <a:avLst/>
              <a:gdLst/>
              <a:ahLst/>
              <a:cxnLst/>
              <a:rect l="l" t="t" r="r" b="b"/>
              <a:pathLst>
                <a:path w="26" h="18" extrusionOk="0">
                  <a:moveTo>
                    <a:pt x="1" y="18"/>
                  </a:moveTo>
                  <a:lnTo>
                    <a:pt x="25"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595" name="Google Shape;5595;p104"/>
            <p:cNvSpPr/>
            <p:nvPr/>
          </p:nvSpPr>
          <p:spPr>
            <a:xfrm>
              <a:off x="1539214" y="1664672"/>
              <a:ext cx="14" cy="258"/>
            </a:xfrm>
            <a:custGeom>
              <a:avLst/>
              <a:gdLst/>
              <a:ahLst/>
              <a:cxnLst/>
              <a:rect l="l" t="t" r="r" b="b"/>
              <a:pathLst>
                <a:path w="1" h="19" extrusionOk="0">
                  <a:moveTo>
                    <a:pt x="1" y="1"/>
                  </a:moveTo>
                  <a:lnTo>
                    <a:pt x="1" y="18"/>
                  </a:lnTo>
                  <a:cubicBezTo>
                    <a:pt x="1" y="11"/>
                    <a:pt x="1" y="8"/>
                    <a:pt x="1" y="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596" name="Google Shape;5596;p104"/>
            <p:cNvSpPr/>
            <p:nvPr/>
          </p:nvSpPr>
          <p:spPr>
            <a:xfrm>
              <a:off x="1539214" y="1664291"/>
              <a:ext cx="14" cy="258"/>
            </a:xfrm>
            <a:custGeom>
              <a:avLst/>
              <a:gdLst/>
              <a:ahLst/>
              <a:cxnLst/>
              <a:rect l="l" t="t" r="r" b="b"/>
              <a:pathLst>
                <a:path w="1" h="19" extrusionOk="0">
                  <a:moveTo>
                    <a:pt x="1" y="1"/>
                  </a:moveTo>
                  <a:lnTo>
                    <a:pt x="1" y="18"/>
                  </a:lnTo>
                  <a:cubicBezTo>
                    <a:pt x="1" y="11"/>
                    <a:pt x="1" y="8"/>
                    <a:pt x="1" y="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597" name="Google Shape;5597;p104"/>
            <p:cNvSpPr/>
            <p:nvPr/>
          </p:nvSpPr>
          <p:spPr>
            <a:xfrm>
              <a:off x="1479568" y="1687536"/>
              <a:ext cx="434" cy="394"/>
            </a:xfrm>
            <a:custGeom>
              <a:avLst/>
              <a:gdLst/>
              <a:ahLst/>
              <a:cxnLst/>
              <a:rect l="l" t="t" r="r" b="b"/>
              <a:pathLst>
                <a:path w="32" h="29" extrusionOk="0">
                  <a:moveTo>
                    <a:pt x="0" y="29"/>
                  </a:moveTo>
                  <a:lnTo>
                    <a:pt x="32"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598" name="Google Shape;5598;p104"/>
            <p:cNvSpPr/>
            <p:nvPr/>
          </p:nvSpPr>
          <p:spPr>
            <a:xfrm>
              <a:off x="1485882" y="1683123"/>
              <a:ext cx="109" cy="54"/>
            </a:xfrm>
            <a:custGeom>
              <a:avLst/>
              <a:gdLst/>
              <a:ahLst/>
              <a:cxnLst/>
              <a:rect l="l" t="t" r="r" b="b"/>
              <a:pathLst>
                <a:path w="8" h="4" extrusionOk="0">
                  <a:moveTo>
                    <a:pt x="1" y="4"/>
                  </a:moveTo>
                  <a:lnTo>
                    <a:pt x="8"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599" name="Google Shape;5599;p104"/>
            <p:cNvSpPr/>
            <p:nvPr/>
          </p:nvSpPr>
          <p:spPr>
            <a:xfrm>
              <a:off x="1486167" y="1683028"/>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600" name="Google Shape;5600;p104"/>
            <p:cNvSpPr/>
            <p:nvPr/>
          </p:nvSpPr>
          <p:spPr>
            <a:xfrm>
              <a:off x="1485977" y="1683123"/>
              <a:ext cx="68" cy="14"/>
            </a:xfrm>
            <a:custGeom>
              <a:avLst/>
              <a:gdLst/>
              <a:ahLst/>
              <a:cxnLst/>
              <a:rect l="l" t="t" r="r" b="b"/>
              <a:pathLst>
                <a:path w="5" h="1" extrusionOk="0">
                  <a:moveTo>
                    <a:pt x="1" y="0"/>
                  </a:moveTo>
                  <a:lnTo>
                    <a:pt x="4"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601" name="Google Shape;5601;p104"/>
            <p:cNvSpPr/>
            <p:nvPr/>
          </p:nvSpPr>
          <p:spPr>
            <a:xfrm>
              <a:off x="1481184" y="1686301"/>
              <a:ext cx="339" cy="299"/>
            </a:xfrm>
            <a:custGeom>
              <a:avLst/>
              <a:gdLst/>
              <a:ahLst/>
              <a:cxnLst/>
              <a:rect l="l" t="t" r="r" b="b"/>
              <a:pathLst>
                <a:path w="25" h="22" extrusionOk="0">
                  <a:moveTo>
                    <a:pt x="0" y="22"/>
                  </a:moveTo>
                  <a:lnTo>
                    <a:pt x="25"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602" name="Google Shape;5602;p104"/>
            <p:cNvSpPr/>
            <p:nvPr/>
          </p:nvSpPr>
          <p:spPr>
            <a:xfrm>
              <a:off x="1486031" y="1683069"/>
              <a:ext cx="54" cy="14"/>
            </a:xfrm>
            <a:custGeom>
              <a:avLst/>
              <a:gdLst/>
              <a:ahLst/>
              <a:cxnLst/>
              <a:rect l="l" t="t" r="r" b="b"/>
              <a:pathLst>
                <a:path w="4" h="1" extrusionOk="0">
                  <a:moveTo>
                    <a:pt x="0" y="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603" name="Google Shape;5603;p104"/>
            <p:cNvSpPr/>
            <p:nvPr/>
          </p:nvSpPr>
          <p:spPr>
            <a:xfrm>
              <a:off x="1486072" y="1683069"/>
              <a:ext cx="109" cy="14"/>
            </a:xfrm>
            <a:custGeom>
              <a:avLst/>
              <a:gdLst/>
              <a:ahLst/>
              <a:cxnLst/>
              <a:rect l="l" t="t" r="r" b="b"/>
              <a:pathLst>
                <a:path w="8" h="1" extrusionOk="0">
                  <a:moveTo>
                    <a:pt x="1" y="1"/>
                  </a:moveTo>
                  <a:lnTo>
                    <a:pt x="8"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604" name="Google Shape;5604;p104"/>
            <p:cNvSpPr/>
            <p:nvPr/>
          </p:nvSpPr>
          <p:spPr>
            <a:xfrm>
              <a:off x="1480654" y="1686681"/>
              <a:ext cx="394" cy="353"/>
            </a:xfrm>
            <a:custGeom>
              <a:avLst/>
              <a:gdLst/>
              <a:ahLst/>
              <a:cxnLst/>
              <a:rect l="l" t="t" r="r" b="b"/>
              <a:pathLst>
                <a:path w="29" h="26" extrusionOk="0">
                  <a:moveTo>
                    <a:pt x="1" y="25"/>
                  </a:moveTo>
                  <a:lnTo>
                    <a:pt x="29"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605" name="Google Shape;5605;p104"/>
            <p:cNvSpPr/>
            <p:nvPr/>
          </p:nvSpPr>
          <p:spPr>
            <a:xfrm>
              <a:off x="1483221" y="1684739"/>
              <a:ext cx="258" cy="204"/>
            </a:xfrm>
            <a:custGeom>
              <a:avLst/>
              <a:gdLst/>
              <a:ahLst/>
              <a:cxnLst/>
              <a:rect l="l" t="t" r="r" b="b"/>
              <a:pathLst>
                <a:path w="19" h="15" extrusionOk="0">
                  <a:moveTo>
                    <a:pt x="1" y="14"/>
                  </a:moveTo>
                  <a:lnTo>
                    <a:pt x="18"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606" name="Google Shape;5606;p104"/>
            <p:cNvSpPr/>
            <p:nvPr/>
          </p:nvSpPr>
          <p:spPr>
            <a:xfrm>
              <a:off x="1539364" y="1668962"/>
              <a:ext cx="54" cy="339"/>
            </a:xfrm>
            <a:custGeom>
              <a:avLst/>
              <a:gdLst/>
              <a:ahLst/>
              <a:cxnLst/>
              <a:rect l="l" t="t" r="r" b="b"/>
              <a:pathLst>
                <a:path w="4" h="25" extrusionOk="0">
                  <a:moveTo>
                    <a:pt x="0" y="0"/>
                  </a:moveTo>
                  <a:cubicBezTo>
                    <a:pt x="0" y="7"/>
                    <a:pt x="4" y="14"/>
                    <a:pt x="4" y="25"/>
                  </a:cubicBezTo>
                  <a:cubicBezTo>
                    <a:pt x="4" y="14"/>
                    <a:pt x="4" y="7"/>
                    <a:pt x="0"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607" name="Google Shape;5607;p104"/>
            <p:cNvSpPr/>
            <p:nvPr/>
          </p:nvSpPr>
          <p:spPr>
            <a:xfrm>
              <a:off x="1483560" y="1684495"/>
              <a:ext cx="244" cy="204"/>
            </a:xfrm>
            <a:custGeom>
              <a:avLst/>
              <a:gdLst/>
              <a:ahLst/>
              <a:cxnLst/>
              <a:rect l="l" t="t" r="r" b="b"/>
              <a:pathLst>
                <a:path w="18" h="15" extrusionOk="0">
                  <a:moveTo>
                    <a:pt x="0" y="15"/>
                  </a:moveTo>
                  <a:lnTo>
                    <a:pt x="18"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608" name="Google Shape;5608;p104"/>
            <p:cNvSpPr/>
            <p:nvPr/>
          </p:nvSpPr>
          <p:spPr>
            <a:xfrm>
              <a:off x="1539459" y="1669532"/>
              <a:ext cx="54" cy="339"/>
            </a:xfrm>
            <a:custGeom>
              <a:avLst/>
              <a:gdLst/>
              <a:ahLst/>
              <a:cxnLst/>
              <a:rect l="l" t="t" r="r" b="b"/>
              <a:pathLst>
                <a:path w="4" h="25" extrusionOk="0">
                  <a:moveTo>
                    <a:pt x="0" y="0"/>
                  </a:moveTo>
                  <a:lnTo>
                    <a:pt x="4" y="25"/>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609" name="Google Shape;5609;p104"/>
            <p:cNvSpPr/>
            <p:nvPr/>
          </p:nvSpPr>
          <p:spPr>
            <a:xfrm>
              <a:off x="1979940" y="1694338"/>
              <a:ext cx="92083" cy="65769"/>
            </a:xfrm>
            <a:custGeom>
              <a:avLst/>
              <a:gdLst/>
              <a:ahLst/>
              <a:cxnLst/>
              <a:rect l="l" t="t" r="r" b="b"/>
              <a:pathLst>
                <a:path w="6782" h="4844" extrusionOk="0">
                  <a:moveTo>
                    <a:pt x="669" y="1"/>
                  </a:moveTo>
                  <a:cubicBezTo>
                    <a:pt x="606" y="1"/>
                    <a:pt x="585" y="25"/>
                    <a:pt x="547" y="88"/>
                  </a:cubicBezTo>
                  <a:cubicBezTo>
                    <a:pt x="498" y="165"/>
                    <a:pt x="428" y="274"/>
                    <a:pt x="218" y="281"/>
                  </a:cubicBezTo>
                  <a:cubicBezTo>
                    <a:pt x="106" y="284"/>
                    <a:pt x="29" y="312"/>
                    <a:pt x="11" y="358"/>
                  </a:cubicBezTo>
                  <a:cubicBezTo>
                    <a:pt x="1" y="396"/>
                    <a:pt x="25" y="470"/>
                    <a:pt x="137" y="561"/>
                  </a:cubicBezTo>
                  <a:cubicBezTo>
                    <a:pt x="277" y="673"/>
                    <a:pt x="281" y="879"/>
                    <a:pt x="267" y="1058"/>
                  </a:cubicBezTo>
                  <a:lnTo>
                    <a:pt x="270" y="1058"/>
                  </a:lnTo>
                  <a:lnTo>
                    <a:pt x="277" y="1054"/>
                  </a:lnTo>
                  <a:cubicBezTo>
                    <a:pt x="281" y="1051"/>
                    <a:pt x="284" y="1047"/>
                    <a:pt x="288" y="1044"/>
                  </a:cubicBezTo>
                  <a:cubicBezTo>
                    <a:pt x="345" y="975"/>
                    <a:pt x="407" y="941"/>
                    <a:pt x="464" y="941"/>
                  </a:cubicBezTo>
                  <a:cubicBezTo>
                    <a:pt x="481" y="941"/>
                    <a:pt x="496" y="944"/>
                    <a:pt x="512" y="949"/>
                  </a:cubicBezTo>
                  <a:cubicBezTo>
                    <a:pt x="571" y="974"/>
                    <a:pt x="610" y="1037"/>
                    <a:pt x="603" y="1107"/>
                  </a:cubicBezTo>
                  <a:cubicBezTo>
                    <a:pt x="613" y="1121"/>
                    <a:pt x="655" y="1124"/>
                    <a:pt x="700" y="1124"/>
                  </a:cubicBezTo>
                  <a:cubicBezTo>
                    <a:pt x="734" y="1124"/>
                    <a:pt x="769" y="1122"/>
                    <a:pt x="792" y="1121"/>
                  </a:cubicBezTo>
                  <a:cubicBezTo>
                    <a:pt x="820" y="1121"/>
                    <a:pt x="848" y="1117"/>
                    <a:pt x="872" y="1117"/>
                  </a:cubicBezTo>
                  <a:cubicBezTo>
                    <a:pt x="914" y="1117"/>
                    <a:pt x="960" y="1131"/>
                    <a:pt x="995" y="1159"/>
                  </a:cubicBezTo>
                  <a:lnTo>
                    <a:pt x="998" y="1159"/>
                  </a:lnTo>
                  <a:cubicBezTo>
                    <a:pt x="1016" y="1152"/>
                    <a:pt x="1033" y="1142"/>
                    <a:pt x="1051" y="1131"/>
                  </a:cubicBezTo>
                  <a:cubicBezTo>
                    <a:pt x="1110" y="1087"/>
                    <a:pt x="1181" y="1064"/>
                    <a:pt x="1253" y="1064"/>
                  </a:cubicBezTo>
                  <a:cubicBezTo>
                    <a:pt x="1300" y="1064"/>
                    <a:pt x="1346" y="1074"/>
                    <a:pt x="1390" y="1093"/>
                  </a:cubicBezTo>
                  <a:cubicBezTo>
                    <a:pt x="1450" y="1117"/>
                    <a:pt x="1488" y="1177"/>
                    <a:pt x="1488" y="1243"/>
                  </a:cubicBezTo>
                  <a:cubicBezTo>
                    <a:pt x="1506" y="1254"/>
                    <a:pt x="1527" y="1261"/>
                    <a:pt x="1544" y="1264"/>
                  </a:cubicBezTo>
                  <a:cubicBezTo>
                    <a:pt x="1593" y="1282"/>
                    <a:pt x="1653" y="1303"/>
                    <a:pt x="1667" y="1362"/>
                  </a:cubicBezTo>
                  <a:cubicBezTo>
                    <a:pt x="1684" y="1422"/>
                    <a:pt x="1639" y="1471"/>
                    <a:pt x="1607" y="1506"/>
                  </a:cubicBezTo>
                  <a:cubicBezTo>
                    <a:pt x="1541" y="1565"/>
                    <a:pt x="1471" y="1618"/>
                    <a:pt x="1394" y="1663"/>
                  </a:cubicBezTo>
                  <a:cubicBezTo>
                    <a:pt x="1327" y="1709"/>
                    <a:pt x="1271" y="1740"/>
                    <a:pt x="1271" y="1775"/>
                  </a:cubicBezTo>
                  <a:cubicBezTo>
                    <a:pt x="1278" y="1817"/>
                    <a:pt x="1289" y="1859"/>
                    <a:pt x="1306" y="1901"/>
                  </a:cubicBezTo>
                  <a:cubicBezTo>
                    <a:pt x="1348" y="2031"/>
                    <a:pt x="1415" y="2210"/>
                    <a:pt x="1292" y="2332"/>
                  </a:cubicBezTo>
                  <a:cubicBezTo>
                    <a:pt x="1247" y="2378"/>
                    <a:pt x="1250" y="2441"/>
                    <a:pt x="1261" y="2525"/>
                  </a:cubicBezTo>
                  <a:cubicBezTo>
                    <a:pt x="1271" y="2584"/>
                    <a:pt x="1278" y="2644"/>
                    <a:pt x="1240" y="2689"/>
                  </a:cubicBezTo>
                  <a:cubicBezTo>
                    <a:pt x="1215" y="2714"/>
                    <a:pt x="1180" y="2728"/>
                    <a:pt x="1145" y="2728"/>
                  </a:cubicBezTo>
                  <a:cubicBezTo>
                    <a:pt x="1058" y="2728"/>
                    <a:pt x="1012" y="2752"/>
                    <a:pt x="1009" y="2763"/>
                  </a:cubicBezTo>
                  <a:cubicBezTo>
                    <a:pt x="1009" y="2763"/>
                    <a:pt x="1009" y="2784"/>
                    <a:pt x="1054" y="2829"/>
                  </a:cubicBezTo>
                  <a:cubicBezTo>
                    <a:pt x="1250" y="3025"/>
                    <a:pt x="1303" y="3109"/>
                    <a:pt x="1275" y="3179"/>
                  </a:cubicBezTo>
                  <a:cubicBezTo>
                    <a:pt x="1259" y="3216"/>
                    <a:pt x="1222" y="3240"/>
                    <a:pt x="1182" y="3240"/>
                  </a:cubicBezTo>
                  <a:cubicBezTo>
                    <a:pt x="1177" y="3240"/>
                    <a:pt x="1172" y="3240"/>
                    <a:pt x="1166" y="3239"/>
                  </a:cubicBezTo>
                  <a:cubicBezTo>
                    <a:pt x="1152" y="3239"/>
                    <a:pt x="1128" y="3260"/>
                    <a:pt x="1110" y="3291"/>
                  </a:cubicBezTo>
                  <a:cubicBezTo>
                    <a:pt x="1086" y="3330"/>
                    <a:pt x="1072" y="3379"/>
                    <a:pt x="1079" y="3424"/>
                  </a:cubicBezTo>
                  <a:cubicBezTo>
                    <a:pt x="1086" y="3431"/>
                    <a:pt x="1103" y="3445"/>
                    <a:pt x="1121" y="3459"/>
                  </a:cubicBezTo>
                  <a:cubicBezTo>
                    <a:pt x="1208" y="3533"/>
                    <a:pt x="1317" y="3620"/>
                    <a:pt x="1292" y="3715"/>
                  </a:cubicBezTo>
                  <a:cubicBezTo>
                    <a:pt x="1282" y="3764"/>
                    <a:pt x="1236" y="3795"/>
                    <a:pt x="1163" y="3809"/>
                  </a:cubicBezTo>
                  <a:cubicBezTo>
                    <a:pt x="1040" y="3830"/>
                    <a:pt x="1009" y="3904"/>
                    <a:pt x="1002" y="4005"/>
                  </a:cubicBezTo>
                  <a:lnTo>
                    <a:pt x="1002" y="4079"/>
                  </a:lnTo>
                  <a:lnTo>
                    <a:pt x="1002" y="4082"/>
                  </a:lnTo>
                  <a:lnTo>
                    <a:pt x="1002" y="4089"/>
                  </a:lnTo>
                  <a:lnTo>
                    <a:pt x="1002" y="4093"/>
                  </a:lnTo>
                  <a:lnTo>
                    <a:pt x="1002" y="4096"/>
                  </a:lnTo>
                  <a:lnTo>
                    <a:pt x="1002" y="4103"/>
                  </a:lnTo>
                  <a:lnTo>
                    <a:pt x="1005" y="4110"/>
                  </a:lnTo>
                  <a:lnTo>
                    <a:pt x="1009" y="4118"/>
                  </a:lnTo>
                  <a:lnTo>
                    <a:pt x="1012" y="4128"/>
                  </a:lnTo>
                  <a:lnTo>
                    <a:pt x="1016" y="4135"/>
                  </a:lnTo>
                  <a:lnTo>
                    <a:pt x="1026" y="4153"/>
                  </a:lnTo>
                  <a:lnTo>
                    <a:pt x="1026" y="4156"/>
                  </a:lnTo>
                  <a:lnTo>
                    <a:pt x="1040" y="4184"/>
                  </a:lnTo>
                  <a:cubicBezTo>
                    <a:pt x="1072" y="4177"/>
                    <a:pt x="1103" y="4177"/>
                    <a:pt x="1131" y="4177"/>
                  </a:cubicBezTo>
                  <a:cubicBezTo>
                    <a:pt x="1138" y="4177"/>
                    <a:pt x="1145" y="4176"/>
                    <a:pt x="1152" y="4176"/>
                  </a:cubicBezTo>
                  <a:cubicBezTo>
                    <a:pt x="1211" y="4176"/>
                    <a:pt x="1271" y="4190"/>
                    <a:pt x="1327" y="4216"/>
                  </a:cubicBezTo>
                  <a:cubicBezTo>
                    <a:pt x="1436" y="4268"/>
                    <a:pt x="1516" y="4394"/>
                    <a:pt x="1604" y="4527"/>
                  </a:cubicBezTo>
                  <a:cubicBezTo>
                    <a:pt x="1704" y="4684"/>
                    <a:pt x="1804" y="4843"/>
                    <a:pt x="1934" y="4843"/>
                  </a:cubicBezTo>
                  <a:cubicBezTo>
                    <a:pt x="1941" y="4843"/>
                    <a:pt x="1947" y="4843"/>
                    <a:pt x="1954" y="4842"/>
                  </a:cubicBezTo>
                  <a:cubicBezTo>
                    <a:pt x="1986" y="4839"/>
                    <a:pt x="1986" y="4839"/>
                    <a:pt x="1989" y="4800"/>
                  </a:cubicBezTo>
                  <a:cubicBezTo>
                    <a:pt x="1996" y="4755"/>
                    <a:pt x="2014" y="4713"/>
                    <a:pt x="2045" y="4681"/>
                  </a:cubicBezTo>
                  <a:cubicBezTo>
                    <a:pt x="2086" y="4641"/>
                    <a:pt x="2136" y="4629"/>
                    <a:pt x="2190" y="4629"/>
                  </a:cubicBezTo>
                  <a:cubicBezTo>
                    <a:pt x="2224" y="4629"/>
                    <a:pt x="2259" y="4634"/>
                    <a:pt x="2294" y="4639"/>
                  </a:cubicBezTo>
                  <a:cubicBezTo>
                    <a:pt x="2332" y="4643"/>
                    <a:pt x="2371" y="4646"/>
                    <a:pt x="2406" y="4646"/>
                  </a:cubicBezTo>
                  <a:cubicBezTo>
                    <a:pt x="2434" y="4646"/>
                    <a:pt x="2465" y="4629"/>
                    <a:pt x="2511" y="4594"/>
                  </a:cubicBezTo>
                  <a:cubicBezTo>
                    <a:pt x="2623" y="4506"/>
                    <a:pt x="2763" y="4454"/>
                    <a:pt x="2906" y="4454"/>
                  </a:cubicBezTo>
                  <a:cubicBezTo>
                    <a:pt x="3032" y="4450"/>
                    <a:pt x="3137" y="4443"/>
                    <a:pt x="3235" y="4440"/>
                  </a:cubicBezTo>
                  <a:cubicBezTo>
                    <a:pt x="3335" y="4432"/>
                    <a:pt x="3427" y="4428"/>
                    <a:pt x="3517" y="4428"/>
                  </a:cubicBezTo>
                  <a:cubicBezTo>
                    <a:pt x="3547" y="4428"/>
                    <a:pt x="3577" y="4428"/>
                    <a:pt x="3606" y="4429"/>
                  </a:cubicBezTo>
                  <a:cubicBezTo>
                    <a:pt x="3616" y="4429"/>
                    <a:pt x="3626" y="4430"/>
                    <a:pt x="3635" y="4430"/>
                  </a:cubicBezTo>
                  <a:cubicBezTo>
                    <a:pt x="3795" y="4430"/>
                    <a:pt x="3902" y="4374"/>
                    <a:pt x="3936" y="4279"/>
                  </a:cubicBezTo>
                  <a:cubicBezTo>
                    <a:pt x="3995" y="4110"/>
                    <a:pt x="4184" y="3977"/>
                    <a:pt x="4419" y="3946"/>
                  </a:cubicBezTo>
                  <a:cubicBezTo>
                    <a:pt x="4538" y="3928"/>
                    <a:pt x="4548" y="3837"/>
                    <a:pt x="4559" y="3690"/>
                  </a:cubicBezTo>
                  <a:cubicBezTo>
                    <a:pt x="4559" y="3662"/>
                    <a:pt x="4562" y="3638"/>
                    <a:pt x="4566" y="3613"/>
                  </a:cubicBezTo>
                  <a:cubicBezTo>
                    <a:pt x="4576" y="3515"/>
                    <a:pt x="4692" y="3424"/>
                    <a:pt x="4818" y="3323"/>
                  </a:cubicBezTo>
                  <a:cubicBezTo>
                    <a:pt x="4874" y="3281"/>
                    <a:pt x="4961" y="3211"/>
                    <a:pt x="4972" y="3183"/>
                  </a:cubicBezTo>
                  <a:cubicBezTo>
                    <a:pt x="4965" y="3144"/>
                    <a:pt x="4954" y="3109"/>
                    <a:pt x="4944" y="3071"/>
                  </a:cubicBezTo>
                  <a:cubicBezTo>
                    <a:pt x="4895" y="2906"/>
                    <a:pt x="4814" y="2623"/>
                    <a:pt x="4986" y="2364"/>
                  </a:cubicBezTo>
                  <a:cubicBezTo>
                    <a:pt x="5073" y="2238"/>
                    <a:pt x="5178" y="2126"/>
                    <a:pt x="5297" y="2034"/>
                  </a:cubicBezTo>
                  <a:cubicBezTo>
                    <a:pt x="5388" y="1964"/>
                    <a:pt x="5430" y="1929"/>
                    <a:pt x="5430" y="1866"/>
                  </a:cubicBezTo>
                  <a:cubicBezTo>
                    <a:pt x="5430" y="1600"/>
                    <a:pt x="5822" y="1555"/>
                    <a:pt x="5991" y="1534"/>
                  </a:cubicBezTo>
                  <a:cubicBezTo>
                    <a:pt x="6134" y="1516"/>
                    <a:pt x="6222" y="1453"/>
                    <a:pt x="6320" y="1376"/>
                  </a:cubicBezTo>
                  <a:cubicBezTo>
                    <a:pt x="6397" y="1313"/>
                    <a:pt x="6481" y="1261"/>
                    <a:pt x="6572" y="1222"/>
                  </a:cubicBezTo>
                  <a:cubicBezTo>
                    <a:pt x="6722" y="1159"/>
                    <a:pt x="6782" y="1061"/>
                    <a:pt x="6764" y="893"/>
                  </a:cubicBezTo>
                  <a:lnTo>
                    <a:pt x="6432" y="893"/>
                  </a:lnTo>
                  <a:lnTo>
                    <a:pt x="6372" y="890"/>
                  </a:lnTo>
                  <a:lnTo>
                    <a:pt x="6358" y="890"/>
                  </a:lnTo>
                  <a:lnTo>
                    <a:pt x="6316" y="886"/>
                  </a:lnTo>
                  <a:lnTo>
                    <a:pt x="6299" y="886"/>
                  </a:lnTo>
                  <a:cubicBezTo>
                    <a:pt x="6281" y="883"/>
                    <a:pt x="6264" y="879"/>
                    <a:pt x="6246" y="876"/>
                  </a:cubicBezTo>
                  <a:cubicBezTo>
                    <a:pt x="6197" y="865"/>
                    <a:pt x="6131" y="855"/>
                    <a:pt x="6061" y="844"/>
                  </a:cubicBezTo>
                  <a:cubicBezTo>
                    <a:pt x="5819" y="809"/>
                    <a:pt x="5644" y="781"/>
                    <a:pt x="5563" y="701"/>
                  </a:cubicBezTo>
                  <a:cubicBezTo>
                    <a:pt x="5525" y="659"/>
                    <a:pt x="5476" y="624"/>
                    <a:pt x="5420" y="603"/>
                  </a:cubicBezTo>
                  <a:cubicBezTo>
                    <a:pt x="5416" y="655"/>
                    <a:pt x="5385" y="701"/>
                    <a:pt x="5336" y="725"/>
                  </a:cubicBezTo>
                  <a:cubicBezTo>
                    <a:pt x="5290" y="751"/>
                    <a:pt x="5228" y="763"/>
                    <a:pt x="5162" y="763"/>
                  </a:cubicBezTo>
                  <a:cubicBezTo>
                    <a:pt x="5068" y="763"/>
                    <a:pt x="4964" y="738"/>
                    <a:pt x="4888" y="690"/>
                  </a:cubicBezTo>
                  <a:cubicBezTo>
                    <a:pt x="4797" y="638"/>
                    <a:pt x="4706" y="596"/>
                    <a:pt x="4608" y="557"/>
                  </a:cubicBezTo>
                  <a:cubicBezTo>
                    <a:pt x="4520" y="522"/>
                    <a:pt x="4436" y="480"/>
                    <a:pt x="4356" y="435"/>
                  </a:cubicBezTo>
                  <a:cubicBezTo>
                    <a:pt x="4296" y="400"/>
                    <a:pt x="4240" y="372"/>
                    <a:pt x="4181" y="347"/>
                  </a:cubicBezTo>
                  <a:lnTo>
                    <a:pt x="4121" y="319"/>
                  </a:lnTo>
                  <a:lnTo>
                    <a:pt x="4104" y="309"/>
                  </a:lnTo>
                  <a:lnTo>
                    <a:pt x="4069" y="295"/>
                  </a:lnTo>
                  <a:cubicBezTo>
                    <a:pt x="4059" y="295"/>
                    <a:pt x="4048" y="296"/>
                    <a:pt x="4038" y="296"/>
                  </a:cubicBezTo>
                  <a:cubicBezTo>
                    <a:pt x="3956" y="296"/>
                    <a:pt x="3844" y="273"/>
                    <a:pt x="3708" y="246"/>
                  </a:cubicBezTo>
                  <a:cubicBezTo>
                    <a:pt x="3554" y="214"/>
                    <a:pt x="3383" y="180"/>
                    <a:pt x="3238" y="180"/>
                  </a:cubicBezTo>
                  <a:cubicBezTo>
                    <a:pt x="3206" y="180"/>
                    <a:pt x="3174" y="182"/>
                    <a:pt x="3144" y="186"/>
                  </a:cubicBezTo>
                  <a:cubicBezTo>
                    <a:pt x="3080" y="194"/>
                    <a:pt x="2991" y="197"/>
                    <a:pt x="2886" y="197"/>
                  </a:cubicBezTo>
                  <a:cubicBezTo>
                    <a:pt x="2704" y="197"/>
                    <a:pt x="2475" y="188"/>
                    <a:pt x="2238" y="179"/>
                  </a:cubicBezTo>
                  <a:cubicBezTo>
                    <a:pt x="2007" y="170"/>
                    <a:pt x="1772" y="162"/>
                    <a:pt x="1583" y="162"/>
                  </a:cubicBezTo>
                  <a:cubicBezTo>
                    <a:pt x="1488" y="162"/>
                    <a:pt x="1404" y="164"/>
                    <a:pt x="1338" y="169"/>
                  </a:cubicBezTo>
                  <a:cubicBezTo>
                    <a:pt x="1305" y="171"/>
                    <a:pt x="1275" y="172"/>
                    <a:pt x="1246" y="172"/>
                  </a:cubicBezTo>
                  <a:cubicBezTo>
                    <a:pt x="1045" y="172"/>
                    <a:pt x="941" y="113"/>
                    <a:pt x="855" y="64"/>
                  </a:cubicBezTo>
                  <a:cubicBezTo>
                    <a:pt x="799" y="25"/>
                    <a:pt x="736" y="1"/>
                    <a:pt x="669" y="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610" name="Google Shape;5610;p104"/>
            <p:cNvSpPr/>
            <p:nvPr/>
          </p:nvSpPr>
          <p:spPr>
            <a:xfrm>
              <a:off x="2067501" y="1729043"/>
              <a:ext cx="4956" cy="3069"/>
            </a:xfrm>
            <a:custGeom>
              <a:avLst/>
              <a:gdLst/>
              <a:ahLst/>
              <a:cxnLst/>
              <a:rect l="l" t="t" r="r" b="b"/>
              <a:pathLst>
                <a:path w="365" h="226" extrusionOk="0">
                  <a:moveTo>
                    <a:pt x="303" y="0"/>
                  </a:moveTo>
                  <a:cubicBezTo>
                    <a:pt x="198" y="0"/>
                    <a:pt x="41" y="106"/>
                    <a:pt x="0" y="158"/>
                  </a:cubicBezTo>
                  <a:cubicBezTo>
                    <a:pt x="74" y="202"/>
                    <a:pt x="151" y="226"/>
                    <a:pt x="215" y="226"/>
                  </a:cubicBezTo>
                  <a:cubicBezTo>
                    <a:pt x="251" y="226"/>
                    <a:pt x="283" y="218"/>
                    <a:pt x="308" y="203"/>
                  </a:cubicBezTo>
                  <a:cubicBezTo>
                    <a:pt x="361" y="168"/>
                    <a:pt x="364" y="98"/>
                    <a:pt x="357" y="46"/>
                  </a:cubicBezTo>
                  <a:cubicBezTo>
                    <a:pt x="354" y="14"/>
                    <a:pt x="340" y="4"/>
                    <a:pt x="308" y="0"/>
                  </a:cubicBezTo>
                  <a:cubicBezTo>
                    <a:pt x="307" y="0"/>
                    <a:pt x="305" y="0"/>
                    <a:pt x="303"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611" name="Google Shape;5611;p104"/>
            <p:cNvSpPr/>
            <p:nvPr/>
          </p:nvSpPr>
          <p:spPr>
            <a:xfrm>
              <a:off x="1993626" y="1750237"/>
              <a:ext cx="68" cy="149"/>
            </a:xfrm>
            <a:custGeom>
              <a:avLst/>
              <a:gdLst/>
              <a:ahLst/>
              <a:cxnLst/>
              <a:rect l="l" t="t" r="r" b="b"/>
              <a:pathLst>
                <a:path w="5" h="11" extrusionOk="0">
                  <a:moveTo>
                    <a:pt x="4" y="1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612" name="Google Shape;5612;p104"/>
            <p:cNvSpPr/>
            <p:nvPr/>
          </p:nvSpPr>
          <p:spPr>
            <a:xfrm>
              <a:off x="1993870" y="1750767"/>
              <a:ext cx="204" cy="394"/>
            </a:xfrm>
            <a:custGeom>
              <a:avLst/>
              <a:gdLst/>
              <a:ahLst/>
              <a:cxnLst/>
              <a:rect l="l" t="t" r="r" b="b"/>
              <a:pathLst>
                <a:path w="15" h="29" extrusionOk="0">
                  <a:moveTo>
                    <a:pt x="14" y="28"/>
                  </a:moveTo>
                  <a:lnTo>
                    <a:pt x="14" y="28"/>
                  </a:lnTo>
                  <a:lnTo>
                    <a:pt x="0"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613" name="Google Shape;5613;p104"/>
            <p:cNvSpPr/>
            <p:nvPr/>
          </p:nvSpPr>
          <p:spPr>
            <a:xfrm>
              <a:off x="1993490" y="1749762"/>
              <a:ext cx="14" cy="109"/>
            </a:xfrm>
            <a:custGeom>
              <a:avLst/>
              <a:gdLst/>
              <a:ahLst/>
              <a:cxnLst/>
              <a:rect l="l" t="t" r="r" b="b"/>
              <a:pathLst>
                <a:path w="1" h="8" extrusionOk="0">
                  <a:moveTo>
                    <a:pt x="0" y="7"/>
                  </a:moveTo>
                  <a:lnTo>
                    <a:pt x="0"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614" name="Google Shape;5614;p104"/>
            <p:cNvSpPr/>
            <p:nvPr/>
          </p:nvSpPr>
          <p:spPr>
            <a:xfrm>
              <a:off x="1993490" y="1749898"/>
              <a:ext cx="14" cy="68"/>
            </a:xfrm>
            <a:custGeom>
              <a:avLst/>
              <a:gdLst/>
              <a:ahLst/>
              <a:cxnLst/>
              <a:rect l="l" t="t" r="r" b="b"/>
              <a:pathLst>
                <a:path w="1" h="5" extrusionOk="0">
                  <a:moveTo>
                    <a:pt x="0"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615" name="Google Shape;5615;p104"/>
            <p:cNvSpPr/>
            <p:nvPr/>
          </p:nvSpPr>
          <p:spPr>
            <a:xfrm>
              <a:off x="1993436" y="1749667"/>
              <a:ext cx="14" cy="109"/>
            </a:xfrm>
            <a:custGeom>
              <a:avLst/>
              <a:gdLst/>
              <a:ahLst/>
              <a:cxnLst/>
              <a:rect l="l" t="t" r="r" b="b"/>
              <a:pathLst>
                <a:path w="1" h="8" extrusionOk="0">
                  <a:moveTo>
                    <a:pt x="1" y="7"/>
                  </a:moveTo>
                  <a:lnTo>
                    <a:pt x="1" y="0"/>
                  </a:lnTo>
                  <a:cubicBezTo>
                    <a:pt x="1" y="4"/>
                    <a:pt x="1" y="4"/>
                    <a:pt x="1" y="7"/>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616" name="Google Shape;5616;p104"/>
            <p:cNvSpPr/>
            <p:nvPr/>
          </p:nvSpPr>
          <p:spPr>
            <a:xfrm>
              <a:off x="1983552" y="1708690"/>
              <a:ext cx="68" cy="68"/>
            </a:xfrm>
            <a:custGeom>
              <a:avLst/>
              <a:gdLst/>
              <a:ahLst/>
              <a:cxnLst/>
              <a:rect l="l" t="t" r="r" b="b"/>
              <a:pathLst>
                <a:path w="5" h="5" extrusionOk="0">
                  <a:moveTo>
                    <a:pt x="1" y="1"/>
                  </a:moveTo>
                  <a:lnTo>
                    <a:pt x="1" y="4"/>
                  </a:lnTo>
                  <a:lnTo>
                    <a:pt x="4"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617" name="Google Shape;5617;p104"/>
            <p:cNvSpPr/>
            <p:nvPr/>
          </p:nvSpPr>
          <p:spPr>
            <a:xfrm>
              <a:off x="1993721" y="1750481"/>
              <a:ext cx="163" cy="244"/>
            </a:xfrm>
            <a:custGeom>
              <a:avLst/>
              <a:gdLst/>
              <a:ahLst/>
              <a:cxnLst/>
              <a:rect l="l" t="t" r="r" b="b"/>
              <a:pathLst>
                <a:path w="12" h="18" extrusionOk="0">
                  <a:moveTo>
                    <a:pt x="11" y="18"/>
                  </a:moveTo>
                  <a:lnTo>
                    <a:pt x="1"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618" name="Google Shape;5618;p104"/>
            <p:cNvSpPr/>
            <p:nvPr/>
          </p:nvSpPr>
          <p:spPr>
            <a:xfrm>
              <a:off x="1993531" y="1750047"/>
              <a:ext cx="68" cy="109"/>
            </a:xfrm>
            <a:custGeom>
              <a:avLst/>
              <a:gdLst/>
              <a:ahLst/>
              <a:cxnLst/>
              <a:rect l="l" t="t" r="r" b="b"/>
              <a:pathLst>
                <a:path w="5" h="8" extrusionOk="0">
                  <a:moveTo>
                    <a:pt x="4" y="7"/>
                  </a:moveTo>
                  <a:lnTo>
                    <a:pt x="1"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619" name="Google Shape;5619;p104"/>
            <p:cNvSpPr/>
            <p:nvPr/>
          </p:nvSpPr>
          <p:spPr>
            <a:xfrm>
              <a:off x="1983647" y="1708500"/>
              <a:ext cx="204" cy="204"/>
            </a:xfrm>
            <a:custGeom>
              <a:avLst/>
              <a:gdLst/>
              <a:ahLst/>
              <a:cxnLst/>
              <a:rect l="l" t="t" r="r" b="b"/>
              <a:pathLst>
                <a:path w="15" h="15" extrusionOk="0">
                  <a:moveTo>
                    <a:pt x="15" y="1"/>
                  </a:moveTo>
                  <a:cubicBezTo>
                    <a:pt x="11" y="4"/>
                    <a:pt x="8" y="11"/>
                    <a:pt x="1" y="15"/>
                  </a:cubicBezTo>
                  <a:cubicBezTo>
                    <a:pt x="8" y="11"/>
                    <a:pt x="11" y="4"/>
                    <a:pt x="15" y="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620" name="Google Shape;5620;p104"/>
            <p:cNvSpPr/>
            <p:nvPr/>
          </p:nvSpPr>
          <p:spPr>
            <a:xfrm>
              <a:off x="2035703" y="1698520"/>
              <a:ext cx="204" cy="109"/>
            </a:xfrm>
            <a:custGeom>
              <a:avLst/>
              <a:gdLst/>
              <a:ahLst/>
              <a:cxnLst/>
              <a:rect l="l" t="t" r="r" b="b"/>
              <a:pathLst>
                <a:path w="15" h="8" extrusionOk="0">
                  <a:moveTo>
                    <a:pt x="0" y="1"/>
                  </a:moveTo>
                  <a:lnTo>
                    <a:pt x="14" y="8"/>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621" name="Google Shape;5621;p104"/>
            <p:cNvSpPr/>
            <p:nvPr/>
          </p:nvSpPr>
          <p:spPr>
            <a:xfrm>
              <a:off x="2065505" y="1706314"/>
              <a:ext cx="204" cy="14"/>
            </a:xfrm>
            <a:custGeom>
              <a:avLst/>
              <a:gdLst/>
              <a:ahLst/>
              <a:cxnLst/>
              <a:rect l="l" t="t" r="r" b="b"/>
              <a:pathLst>
                <a:path w="15" h="1" extrusionOk="0">
                  <a:moveTo>
                    <a:pt x="0" y="1"/>
                  </a:moveTo>
                  <a:lnTo>
                    <a:pt x="14"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622" name="Google Shape;5622;p104"/>
            <p:cNvSpPr/>
            <p:nvPr/>
          </p:nvSpPr>
          <p:spPr>
            <a:xfrm>
              <a:off x="2066266" y="1706409"/>
              <a:ext cx="244" cy="14"/>
            </a:xfrm>
            <a:custGeom>
              <a:avLst/>
              <a:gdLst/>
              <a:ahLst/>
              <a:cxnLst/>
              <a:rect l="l" t="t" r="r" b="b"/>
              <a:pathLst>
                <a:path w="18" h="1" extrusionOk="0">
                  <a:moveTo>
                    <a:pt x="0" y="1"/>
                  </a:moveTo>
                  <a:lnTo>
                    <a:pt x="18"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623" name="Google Shape;5623;p104"/>
            <p:cNvSpPr/>
            <p:nvPr/>
          </p:nvSpPr>
          <p:spPr>
            <a:xfrm>
              <a:off x="2067257" y="1706463"/>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624" name="Google Shape;5624;p104"/>
            <p:cNvSpPr/>
            <p:nvPr/>
          </p:nvSpPr>
          <p:spPr>
            <a:xfrm>
              <a:off x="2068357" y="1706504"/>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625" name="Google Shape;5625;p104"/>
            <p:cNvSpPr/>
            <p:nvPr/>
          </p:nvSpPr>
          <p:spPr>
            <a:xfrm>
              <a:off x="2071819" y="1706409"/>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626" name="Google Shape;5626;p104"/>
            <p:cNvSpPr/>
            <p:nvPr/>
          </p:nvSpPr>
          <p:spPr>
            <a:xfrm>
              <a:off x="2145164" y="1665201"/>
              <a:ext cx="22919" cy="11663"/>
            </a:xfrm>
            <a:custGeom>
              <a:avLst/>
              <a:gdLst/>
              <a:ahLst/>
              <a:cxnLst/>
              <a:rect l="l" t="t" r="r" b="b"/>
              <a:pathLst>
                <a:path w="1688" h="859" extrusionOk="0">
                  <a:moveTo>
                    <a:pt x="1614" y="0"/>
                  </a:moveTo>
                  <a:lnTo>
                    <a:pt x="1600" y="11"/>
                  </a:lnTo>
                  <a:cubicBezTo>
                    <a:pt x="1499" y="74"/>
                    <a:pt x="1380" y="109"/>
                    <a:pt x="1257" y="113"/>
                  </a:cubicBezTo>
                  <a:cubicBezTo>
                    <a:pt x="1145" y="113"/>
                    <a:pt x="1047" y="165"/>
                    <a:pt x="963" y="214"/>
                  </a:cubicBezTo>
                  <a:cubicBezTo>
                    <a:pt x="911" y="253"/>
                    <a:pt x="851" y="274"/>
                    <a:pt x="788" y="284"/>
                  </a:cubicBezTo>
                  <a:cubicBezTo>
                    <a:pt x="704" y="274"/>
                    <a:pt x="627" y="260"/>
                    <a:pt x="547" y="239"/>
                  </a:cubicBezTo>
                  <a:cubicBezTo>
                    <a:pt x="428" y="207"/>
                    <a:pt x="302" y="186"/>
                    <a:pt x="176" y="172"/>
                  </a:cubicBezTo>
                  <a:lnTo>
                    <a:pt x="106" y="169"/>
                  </a:lnTo>
                  <a:lnTo>
                    <a:pt x="95" y="169"/>
                  </a:lnTo>
                  <a:lnTo>
                    <a:pt x="18" y="162"/>
                  </a:lnTo>
                  <a:cubicBezTo>
                    <a:pt x="18" y="179"/>
                    <a:pt x="18" y="197"/>
                    <a:pt x="15" y="214"/>
                  </a:cubicBezTo>
                  <a:lnTo>
                    <a:pt x="15" y="221"/>
                  </a:lnTo>
                  <a:cubicBezTo>
                    <a:pt x="15" y="242"/>
                    <a:pt x="11" y="260"/>
                    <a:pt x="11" y="281"/>
                  </a:cubicBezTo>
                  <a:cubicBezTo>
                    <a:pt x="11" y="302"/>
                    <a:pt x="8" y="319"/>
                    <a:pt x="4" y="340"/>
                  </a:cubicBezTo>
                  <a:lnTo>
                    <a:pt x="4" y="351"/>
                  </a:lnTo>
                  <a:cubicBezTo>
                    <a:pt x="4" y="375"/>
                    <a:pt x="4" y="396"/>
                    <a:pt x="1" y="417"/>
                  </a:cubicBezTo>
                  <a:lnTo>
                    <a:pt x="1" y="424"/>
                  </a:lnTo>
                  <a:cubicBezTo>
                    <a:pt x="1" y="445"/>
                    <a:pt x="1" y="463"/>
                    <a:pt x="1" y="484"/>
                  </a:cubicBezTo>
                  <a:lnTo>
                    <a:pt x="1" y="498"/>
                  </a:lnTo>
                  <a:lnTo>
                    <a:pt x="1" y="564"/>
                  </a:lnTo>
                  <a:lnTo>
                    <a:pt x="1" y="578"/>
                  </a:lnTo>
                  <a:lnTo>
                    <a:pt x="1" y="638"/>
                  </a:lnTo>
                  <a:lnTo>
                    <a:pt x="1" y="652"/>
                  </a:lnTo>
                  <a:lnTo>
                    <a:pt x="1" y="718"/>
                  </a:lnTo>
                  <a:lnTo>
                    <a:pt x="1" y="725"/>
                  </a:lnTo>
                  <a:cubicBezTo>
                    <a:pt x="64" y="704"/>
                    <a:pt x="134" y="694"/>
                    <a:pt x="200" y="694"/>
                  </a:cubicBezTo>
                  <a:cubicBezTo>
                    <a:pt x="207" y="693"/>
                    <a:pt x="213" y="693"/>
                    <a:pt x="220" y="693"/>
                  </a:cubicBezTo>
                  <a:cubicBezTo>
                    <a:pt x="251" y="693"/>
                    <a:pt x="280" y="700"/>
                    <a:pt x="309" y="711"/>
                  </a:cubicBezTo>
                  <a:cubicBezTo>
                    <a:pt x="372" y="739"/>
                    <a:pt x="417" y="795"/>
                    <a:pt x="431" y="858"/>
                  </a:cubicBezTo>
                  <a:lnTo>
                    <a:pt x="463" y="855"/>
                  </a:lnTo>
                  <a:lnTo>
                    <a:pt x="491" y="851"/>
                  </a:lnTo>
                  <a:lnTo>
                    <a:pt x="522" y="844"/>
                  </a:lnTo>
                  <a:lnTo>
                    <a:pt x="547" y="841"/>
                  </a:lnTo>
                  <a:lnTo>
                    <a:pt x="575" y="837"/>
                  </a:lnTo>
                  <a:lnTo>
                    <a:pt x="596" y="834"/>
                  </a:lnTo>
                  <a:lnTo>
                    <a:pt x="620" y="827"/>
                  </a:lnTo>
                  <a:lnTo>
                    <a:pt x="641" y="823"/>
                  </a:lnTo>
                  <a:lnTo>
                    <a:pt x="659" y="820"/>
                  </a:lnTo>
                  <a:lnTo>
                    <a:pt x="680" y="816"/>
                  </a:lnTo>
                  <a:lnTo>
                    <a:pt x="694" y="813"/>
                  </a:lnTo>
                  <a:lnTo>
                    <a:pt x="711" y="809"/>
                  </a:lnTo>
                  <a:lnTo>
                    <a:pt x="722" y="806"/>
                  </a:lnTo>
                  <a:lnTo>
                    <a:pt x="739" y="799"/>
                  </a:lnTo>
                  <a:cubicBezTo>
                    <a:pt x="761" y="791"/>
                    <a:pt x="784" y="788"/>
                    <a:pt x="808" y="788"/>
                  </a:cubicBezTo>
                  <a:cubicBezTo>
                    <a:pt x="858" y="788"/>
                    <a:pt x="911" y="801"/>
                    <a:pt x="963" y="813"/>
                  </a:cubicBezTo>
                  <a:cubicBezTo>
                    <a:pt x="991" y="820"/>
                    <a:pt x="1019" y="827"/>
                    <a:pt x="1051" y="830"/>
                  </a:cubicBezTo>
                  <a:cubicBezTo>
                    <a:pt x="1079" y="750"/>
                    <a:pt x="1156" y="575"/>
                    <a:pt x="1285" y="564"/>
                  </a:cubicBezTo>
                  <a:cubicBezTo>
                    <a:pt x="1292" y="540"/>
                    <a:pt x="1296" y="515"/>
                    <a:pt x="1299" y="491"/>
                  </a:cubicBezTo>
                  <a:cubicBezTo>
                    <a:pt x="1310" y="417"/>
                    <a:pt x="1324" y="309"/>
                    <a:pt x="1422" y="298"/>
                  </a:cubicBezTo>
                  <a:cubicBezTo>
                    <a:pt x="1429" y="295"/>
                    <a:pt x="1436" y="295"/>
                    <a:pt x="1439" y="291"/>
                  </a:cubicBezTo>
                  <a:lnTo>
                    <a:pt x="1453" y="288"/>
                  </a:lnTo>
                  <a:lnTo>
                    <a:pt x="1464" y="281"/>
                  </a:lnTo>
                  <a:lnTo>
                    <a:pt x="1478" y="274"/>
                  </a:lnTo>
                  <a:lnTo>
                    <a:pt x="1495" y="263"/>
                  </a:lnTo>
                  <a:lnTo>
                    <a:pt x="1502" y="260"/>
                  </a:lnTo>
                  <a:cubicBezTo>
                    <a:pt x="1548" y="228"/>
                    <a:pt x="1593" y="193"/>
                    <a:pt x="1639" y="158"/>
                  </a:cubicBezTo>
                  <a:lnTo>
                    <a:pt x="1653" y="148"/>
                  </a:lnTo>
                  <a:lnTo>
                    <a:pt x="1677" y="127"/>
                  </a:lnTo>
                  <a:lnTo>
                    <a:pt x="1688" y="116"/>
                  </a:lnTo>
                  <a:lnTo>
                    <a:pt x="1677" y="99"/>
                  </a:lnTo>
                  <a:lnTo>
                    <a:pt x="1674" y="92"/>
                  </a:lnTo>
                  <a:cubicBezTo>
                    <a:pt x="1656" y="60"/>
                    <a:pt x="1635" y="28"/>
                    <a:pt x="1621" y="7"/>
                  </a:cubicBezTo>
                  <a:lnTo>
                    <a:pt x="1614"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627" name="Google Shape;5627;p104"/>
            <p:cNvSpPr/>
            <p:nvPr/>
          </p:nvSpPr>
          <p:spPr>
            <a:xfrm>
              <a:off x="2165463" y="1668718"/>
              <a:ext cx="54" cy="14"/>
            </a:xfrm>
            <a:custGeom>
              <a:avLst/>
              <a:gdLst/>
              <a:ahLst/>
              <a:cxnLst/>
              <a:rect l="l" t="t" r="r" b="b"/>
              <a:pathLst>
                <a:path w="4" h="1" extrusionOk="0">
                  <a:moveTo>
                    <a:pt x="4"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628" name="Google Shape;5628;p104"/>
            <p:cNvSpPr/>
            <p:nvPr/>
          </p:nvSpPr>
          <p:spPr>
            <a:xfrm>
              <a:off x="2165028" y="1668908"/>
              <a:ext cx="163" cy="109"/>
            </a:xfrm>
            <a:custGeom>
              <a:avLst/>
              <a:gdLst/>
              <a:ahLst/>
              <a:cxnLst/>
              <a:rect l="l" t="t" r="r" b="b"/>
              <a:pathLst>
                <a:path w="12" h="8" extrusionOk="0">
                  <a:moveTo>
                    <a:pt x="11" y="1"/>
                  </a:moveTo>
                  <a:lnTo>
                    <a:pt x="1" y="8"/>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629" name="Google Shape;5629;p104"/>
            <p:cNvSpPr/>
            <p:nvPr/>
          </p:nvSpPr>
          <p:spPr>
            <a:xfrm>
              <a:off x="2167880" y="1666776"/>
              <a:ext cx="204" cy="149"/>
            </a:xfrm>
            <a:custGeom>
              <a:avLst/>
              <a:gdLst/>
              <a:ahLst/>
              <a:cxnLst/>
              <a:rect l="l" t="t" r="r" b="b"/>
              <a:pathLst>
                <a:path w="15" h="11" extrusionOk="0">
                  <a:moveTo>
                    <a:pt x="1" y="11"/>
                  </a:moveTo>
                  <a:lnTo>
                    <a:pt x="15" y="0"/>
                  </a:lnTo>
                  <a:lnTo>
                    <a:pt x="15"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630" name="Google Shape;5630;p104"/>
            <p:cNvSpPr/>
            <p:nvPr/>
          </p:nvSpPr>
          <p:spPr>
            <a:xfrm>
              <a:off x="2167404" y="1667197"/>
              <a:ext cx="163" cy="163"/>
            </a:xfrm>
            <a:custGeom>
              <a:avLst/>
              <a:gdLst/>
              <a:ahLst/>
              <a:cxnLst/>
              <a:rect l="l" t="t" r="r" b="b"/>
              <a:pathLst>
                <a:path w="12" h="12" extrusionOk="0">
                  <a:moveTo>
                    <a:pt x="11" y="1"/>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631" name="Google Shape;5631;p104"/>
            <p:cNvSpPr/>
            <p:nvPr/>
          </p:nvSpPr>
          <p:spPr>
            <a:xfrm>
              <a:off x="2151437" y="1676701"/>
              <a:ext cx="394" cy="68"/>
            </a:xfrm>
            <a:custGeom>
              <a:avLst/>
              <a:gdLst/>
              <a:ahLst/>
              <a:cxnLst/>
              <a:rect l="l" t="t" r="r" b="b"/>
              <a:pathLst>
                <a:path w="29" h="5" extrusionOk="0">
                  <a:moveTo>
                    <a:pt x="29" y="1"/>
                  </a:moveTo>
                  <a:lnTo>
                    <a:pt x="1" y="4"/>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632" name="Google Shape;5632;p104"/>
            <p:cNvSpPr/>
            <p:nvPr/>
          </p:nvSpPr>
          <p:spPr>
            <a:xfrm>
              <a:off x="2152917" y="1676470"/>
              <a:ext cx="339" cy="109"/>
            </a:xfrm>
            <a:custGeom>
              <a:avLst/>
              <a:gdLst/>
              <a:ahLst/>
              <a:cxnLst/>
              <a:rect l="l" t="t" r="r" b="b"/>
              <a:pathLst>
                <a:path w="25" h="8" extrusionOk="0">
                  <a:moveTo>
                    <a:pt x="25"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633" name="Google Shape;5633;p104"/>
            <p:cNvSpPr/>
            <p:nvPr/>
          </p:nvSpPr>
          <p:spPr>
            <a:xfrm>
              <a:off x="2152198" y="1676606"/>
              <a:ext cx="394" cy="68"/>
            </a:xfrm>
            <a:custGeom>
              <a:avLst/>
              <a:gdLst/>
              <a:ahLst/>
              <a:cxnLst/>
              <a:rect l="l" t="t" r="r" b="b"/>
              <a:pathLst>
                <a:path w="29" h="5" extrusionOk="0">
                  <a:moveTo>
                    <a:pt x="29" y="1"/>
                  </a:moveTo>
                  <a:lnTo>
                    <a:pt x="1" y="4"/>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634" name="Google Shape;5634;p104"/>
            <p:cNvSpPr/>
            <p:nvPr/>
          </p:nvSpPr>
          <p:spPr>
            <a:xfrm>
              <a:off x="2150962" y="1676851"/>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635" name="Google Shape;5635;p104"/>
            <p:cNvSpPr/>
            <p:nvPr/>
          </p:nvSpPr>
          <p:spPr>
            <a:xfrm>
              <a:off x="2154913" y="1676036"/>
              <a:ext cx="299" cy="109"/>
            </a:xfrm>
            <a:custGeom>
              <a:avLst/>
              <a:gdLst/>
              <a:ahLst/>
              <a:cxnLst/>
              <a:rect l="l" t="t" r="r" b="b"/>
              <a:pathLst>
                <a:path w="22" h="8" extrusionOk="0">
                  <a:moveTo>
                    <a:pt x="21" y="1"/>
                  </a:moveTo>
                  <a:lnTo>
                    <a:pt x="0" y="8"/>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636" name="Google Shape;5636;p104"/>
            <p:cNvSpPr/>
            <p:nvPr/>
          </p:nvSpPr>
          <p:spPr>
            <a:xfrm>
              <a:off x="2153528" y="1676375"/>
              <a:ext cx="299" cy="54"/>
            </a:xfrm>
            <a:custGeom>
              <a:avLst/>
              <a:gdLst/>
              <a:ahLst/>
              <a:cxnLst/>
              <a:rect l="l" t="t" r="r" b="b"/>
              <a:pathLst>
                <a:path w="22" h="4" extrusionOk="0">
                  <a:moveTo>
                    <a:pt x="22" y="0"/>
                  </a:moveTo>
                  <a:lnTo>
                    <a:pt x="1" y="4"/>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637" name="Google Shape;5637;p104"/>
            <p:cNvSpPr/>
            <p:nvPr/>
          </p:nvSpPr>
          <p:spPr>
            <a:xfrm>
              <a:off x="2154098" y="1676280"/>
              <a:ext cx="258" cy="54"/>
            </a:xfrm>
            <a:custGeom>
              <a:avLst/>
              <a:gdLst/>
              <a:ahLst/>
              <a:cxnLst/>
              <a:rect l="l" t="t" r="r" b="b"/>
              <a:pathLst>
                <a:path w="19" h="4" extrusionOk="0">
                  <a:moveTo>
                    <a:pt x="18" y="0"/>
                  </a:moveTo>
                  <a:lnTo>
                    <a:pt x="1" y="4"/>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638" name="Google Shape;5638;p104"/>
            <p:cNvSpPr/>
            <p:nvPr/>
          </p:nvSpPr>
          <p:spPr>
            <a:xfrm>
              <a:off x="2154533" y="1676131"/>
              <a:ext cx="244" cy="109"/>
            </a:xfrm>
            <a:custGeom>
              <a:avLst/>
              <a:gdLst/>
              <a:ahLst/>
              <a:cxnLst/>
              <a:rect l="l" t="t" r="r" b="b"/>
              <a:pathLst>
                <a:path w="18" h="8" extrusionOk="0">
                  <a:moveTo>
                    <a:pt x="18" y="1"/>
                  </a:moveTo>
                  <a:lnTo>
                    <a:pt x="0" y="8"/>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639" name="Google Shape;5639;p104"/>
            <p:cNvSpPr/>
            <p:nvPr/>
          </p:nvSpPr>
          <p:spPr>
            <a:xfrm>
              <a:off x="2164703" y="1669098"/>
              <a:ext cx="149" cy="68"/>
            </a:xfrm>
            <a:custGeom>
              <a:avLst/>
              <a:gdLst/>
              <a:ahLst/>
              <a:cxnLst/>
              <a:rect l="l" t="t" r="r" b="b"/>
              <a:pathLst>
                <a:path w="11" h="5" extrusionOk="0">
                  <a:moveTo>
                    <a:pt x="11"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640" name="Google Shape;5640;p104"/>
            <p:cNvSpPr/>
            <p:nvPr/>
          </p:nvSpPr>
          <p:spPr>
            <a:xfrm>
              <a:off x="2145450" y="1667387"/>
              <a:ext cx="1018" cy="109"/>
            </a:xfrm>
            <a:custGeom>
              <a:avLst/>
              <a:gdLst/>
              <a:ahLst/>
              <a:cxnLst/>
              <a:rect l="l" t="t" r="r" b="b"/>
              <a:pathLst>
                <a:path w="75" h="8" extrusionOk="0">
                  <a:moveTo>
                    <a:pt x="1" y="1"/>
                  </a:moveTo>
                  <a:lnTo>
                    <a:pt x="74" y="8"/>
                  </a:lnTo>
                  <a:lnTo>
                    <a:pt x="1"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641" name="Google Shape;5641;p104"/>
            <p:cNvSpPr/>
            <p:nvPr/>
          </p:nvSpPr>
          <p:spPr>
            <a:xfrm>
              <a:off x="2166888" y="1665201"/>
              <a:ext cx="299" cy="149"/>
            </a:xfrm>
            <a:custGeom>
              <a:avLst/>
              <a:gdLst/>
              <a:ahLst/>
              <a:cxnLst/>
              <a:rect l="l" t="t" r="r" b="b"/>
              <a:pathLst>
                <a:path w="22" h="11" extrusionOk="0">
                  <a:moveTo>
                    <a:pt x="0" y="11"/>
                  </a:moveTo>
                  <a:lnTo>
                    <a:pt x="18" y="0"/>
                  </a:lnTo>
                  <a:lnTo>
                    <a:pt x="21" y="7"/>
                  </a:lnTo>
                  <a:lnTo>
                    <a:pt x="18"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642" name="Google Shape;5642;p104"/>
            <p:cNvSpPr/>
            <p:nvPr/>
          </p:nvSpPr>
          <p:spPr>
            <a:xfrm>
              <a:off x="2146590" y="1667482"/>
              <a:ext cx="964" cy="68"/>
            </a:xfrm>
            <a:custGeom>
              <a:avLst/>
              <a:gdLst/>
              <a:ahLst/>
              <a:cxnLst/>
              <a:rect l="l" t="t" r="r" b="b"/>
              <a:pathLst>
                <a:path w="71" h="5" extrusionOk="0">
                  <a:moveTo>
                    <a:pt x="71" y="4"/>
                  </a:moveTo>
                  <a:lnTo>
                    <a:pt x="1"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643" name="Google Shape;5643;p104"/>
            <p:cNvSpPr/>
            <p:nvPr/>
          </p:nvSpPr>
          <p:spPr>
            <a:xfrm>
              <a:off x="2167174" y="1665296"/>
              <a:ext cx="720" cy="1154"/>
            </a:xfrm>
            <a:custGeom>
              <a:avLst/>
              <a:gdLst/>
              <a:ahLst/>
              <a:cxnLst/>
              <a:rect l="l" t="t" r="r" b="b"/>
              <a:pathLst>
                <a:path w="53" h="85" extrusionOk="0">
                  <a:moveTo>
                    <a:pt x="0" y="0"/>
                  </a:moveTo>
                  <a:cubicBezTo>
                    <a:pt x="14" y="21"/>
                    <a:pt x="35" y="53"/>
                    <a:pt x="53" y="85"/>
                  </a:cubicBezTo>
                  <a:cubicBezTo>
                    <a:pt x="35" y="53"/>
                    <a:pt x="18" y="21"/>
                    <a:pt x="4"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644" name="Google Shape;5644;p104"/>
            <p:cNvSpPr/>
            <p:nvPr/>
          </p:nvSpPr>
          <p:spPr>
            <a:xfrm>
              <a:off x="2167934" y="1666532"/>
              <a:ext cx="149" cy="258"/>
            </a:xfrm>
            <a:custGeom>
              <a:avLst/>
              <a:gdLst/>
              <a:ahLst/>
              <a:cxnLst/>
              <a:rect l="l" t="t" r="r" b="b"/>
              <a:pathLst>
                <a:path w="11" h="19" extrusionOk="0">
                  <a:moveTo>
                    <a:pt x="11" y="18"/>
                  </a:moveTo>
                  <a:lnTo>
                    <a:pt x="11" y="18"/>
                  </a:lnTo>
                  <a:lnTo>
                    <a:pt x="0"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645" name="Google Shape;5645;p104"/>
            <p:cNvSpPr/>
            <p:nvPr/>
          </p:nvSpPr>
          <p:spPr>
            <a:xfrm>
              <a:off x="2167119" y="1665201"/>
              <a:ext cx="109" cy="109"/>
            </a:xfrm>
            <a:custGeom>
              <a:avLst/>
              <a:gdLst/>
              <a:ahLst/>
              <a:cxnLst/>
              <a:rect l="l" t="t" r="r" b="b"/>
              <a:pathLst>
                <a:path w="8" h="8" extrusionOk="0">
                  <a:moveTo>
                    <a:pt x="1" y="0"/>
                  </a:moveTo>
                  <a:lnTo>
                    <a:pt x="1" y="0"/>
                  </a:lnTo>
                  <a:lnTo>
                    <a:pt x="8" y="7"/>
                  </a:lnTo>
                  <a:lnTo>
                    <a:pt x="8" y="7"/>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646" name="Google Shape;5646;p104"/>
            <p:cNvSpPr/>
            <p:nvPr/>
          </p:nvSpPr>
          <p:spPr>
            <a:xfrm>
              <a:off x="2196637" y="1711826"/>
              <a:ext cx="45172" cy="43706"/>
            </a:xfrm>
            <a:custGeom>
              <a:avLst/>
              <a:gdLst/>
              <a:ahLst/>
              <a:cxnLst/>
              <a:rect l="l" t="t" r="r" b="b"/>
              <a:pathLst>
                <a:path w="3327" h="3219" extrusionOk="0">
                  <a:moveTo>
                    <a:pt x="3299" y="1"/>
                  </a:moveTo>
                  <a:lnTo>
                    <a:pt x="3285" y="25"/>
                  </a:lnTo>
                  <a:lnTo>
                    <a:pt x="3274" y="29"/>
                  </a:lnTo>
                  <a:lnTo>
                    <a:pt x="3257" y="32"/>
                  </a:lnTo>
                  <a:lnTo>
                    <a:pt x="3246" y="32"/>
                  </a:lnTo>
                  <a:lnTo>
                    <a:pt x="3222" y="39"/>
                  </a:lnTo>
                  <a:lnTo>
                    <a:pt x="3215" y="39"/>
                  </a:lnTo>
                  <a:lnTo>
                    <a:pt x="3197" y="43"/>
                  </a:lnTo>
                  <a:lnTo>
                    <a:pt x="3190" y="46"/>
                  </a:lnTo>
                  <a:lnTo>
                    <a:pt x="3180" y="53"/>
                  </a:lnTo>
                  <a:lnTo>
                    <a:pt x="3173" y="53"/>
                  </a:lnTo>
                  <a:lnTo>
                    <a:pt x="3162" y="60"/>
                  </a:lnTo>
                  <a:lnTo>
                    <a:pt x="3159" y="60"/>
                  </a:lnTo>
                  <a:lnTo>
                    <a:pt x="3145" y="67"/>
                  </a:lnTo>
                  <a:cubicBezTo>
                    <a:pt x="3148" y="74"/>
                    <a:pt x="3148" y="85"/>
                    <a:pt x="3152" y="92"/>
                  </a:cubicBezTo>
                  <a:cubicBezTo>
                    <a:pt x="3152" y="120"/>
                    <a:pt x="3145" y="148"/>
                    <a:pt x="3127" y="172"/>
                  </a:cubicBezTo>
                  <a:cubicBezTo>
                    <a:pt x="3092" y="225"/>
                    <a:pt x="3015" y="260"/>
                    <a:pt x="2914" y="267"/>
                  </a:cubicBezTo>
                  <a:lnTo>
                    <a:pt x="2865" y="267"/>
                  </a:lnTo>
                  <a:cubicBezTo>
                    <a:pt x="2816" y="263"/>
                    <a:pt x="2396" y="232"/>
                    <a:pt x="2255" y="162"/>
                  </a:cubicBezTo>
                  <a:lnTo>
                    <a:pt x="2245" y="158"/>
                  </a:lnTo>
                  <a:lnTo>
                    <a:pt x="2231" y="155"/>
                  </a:lnTo>
                  <a:lnTo>
                    <a:pt x="2227" y="155"/>
                  </a:lnTo>
                  <a:lnTo>
                    <a:pt x="2210" y="151"/>
                  </a:lnTo>
                  <a:lnTo>
                    <a:pt x="1692" y="151"/>
                  </a:lnTo>
                  <a:lnTo>
                    <a:pt x="1643" y="155"/>
                  </a:lnTo>
                  <a:lnTo>
                    <a:pt x="1594" y="155"/>
                  </a:lnTo>
                  <a:cubicBezTo>
                    <a:pt x="1546" y="228"/>
                    <a:pt x="1209" y="416"/>
                    <a:pt x="1052" y="416"/>
                  </a:cubicBezTo>
                  <a:cubicBezTo>
                    <a:pt x="1037" y="416"/>
                    <a:pt x="1024" y="414"/>
                    <a:pt x="1013" y="410"/>
                  </a:cubicBezTo>
                  <a:cubicBezTo>
                    <a:pt x="1002" y="421"/>
                    <a:pt x="992" y="431"/>
                    <a:pt x="981" y="445"/>
                  </a:cubicBezTo>
                  <a:cubicBezTo>
                    <a:pt x="936" y="505"/>
                    <a:pt x="869" y="547"/>
                    <a:pt x="796" y="571"/>
                  </a:cubicBezTo>
                  <a:cubicBezTo>
                    <a:pt x="778" y="575"/>
                    <a:pt x="761" y="578"/>
                    <a:pt x="740" y="582"/>
                  </a:cubicBezTo>
                  <a:lnTo>
                    <a:pt x="460" y="582"/>
                  </a:lnTo>
                  <a:cubicBezTo>
                    <a:pt x="460" y="585"/>
                    <a:pt x="456" y="589"/>
                    <a:pt x="456" y="592"/>
                  </a:cubicBezTo>
                  <a:cubicBezTo>
                    <a:pt x="453" y="596"/>
                    <a:pt x="449" y="606"/>
                    <a:pt x="446" y="613"/>
                  </a:cubicBezTo>
                  <a:lnTo>
                    <a:pt x="442" y="627"/>
                  </a:lnTo>
                  <a:cubicBezTo>
                    <a:pt x="439" y="634"/>
                    <a:pt x="432" y="645"/>
                    <a:pt x="428" y="652"/>
                  </a:cubicBezTo>
                  <a:lnTo>
                    <a:pt x="421" y="666"/>
                  </a:lnTo>
                  <a:cubicBezTo>
                    <a:pt x="418" y="676"/>
                    <a:pt x="411" y="687"/>
                    <a:pt x="404" y="697"/>
                  </a:cubicBezTo>
                  <a:lnTo>
                    <a:pt x="397" y="711"/>
                  </a:lnTo>
                  <a:cubicBezTo>
                    <a:pt x="390" y="722"/>
                    <a:pt x="386" y="732"/>
                    <a:pt x="379" y="743"/>
                  </a:cubicBezTo>
                  <a:lnTo>
                    <a:pt x="365" y="764"/>
                  </a:lnTo>
                  <a:lnTo>
                    <a:pt x="348" y="789"/>
                  </a:lnTo>
                  <a:lnTo>
                    <a:pt x="330" y="813"/>
                  </a:lnTo>
                  <a:lnTo>
                    <a:pt x="316" y="831"/>
                  </a:lnTo>
                  <a:cubicBezTo>
                    <a:pt x="309" y="841"/>
                    <a:pt x="302" y="852"/>
                    <a:pt x="295" y="862"/>
                  </a:cubicBezTo>
                  <a:lnTo>
                    <a:pt x="284" y="873"/>
                  </a:lnTo>
                  <a:cubicBezTo>
                    <a:pt x="274" y="883"/>
                    <a:pt x="263" y="897"/>
                    <a:pt x="253" y="908"/>
                  </a:cubicBezTo>
                  <a:cubicBezTo>
                    <a:pt x="235" y="929"/>
                    <a:pt x="225" y="953"/>
                    <a:pt x="221" y="981"/>
                  </a:cubicBezTo>
                  <a:cubicBezTo>
                    <a:pt x="221" y="992"/>
                    <a:pt x="218" y="1002"/>
                    <a:pt x="214" y="1016"/>
                  </a:cubicBezTo>
                  <a:lnTo>
                    <a:pt x="214" y="1023"/>
                  </a:lnTo>
                  <a:cubicBezTo>
                    <a:pt x="214" y="1027"/>
                    <a:pt x="211" y="1030"/>
                    <a:pt x="211" y="1034"/>
                  </a:cubicBezTo>
                  <a:cubicBezTo>
                    <a:pt x="207" y="1037"/>
                    <a:pt x="211" y="1041"/>
                    <a:pt x="207" y="1044"/>
                  </a:cubicBezTo>
                  <a:cubicBezTo>
                    <a:pt x="204" y="1048"/>
                    <a:pt x="204" y="1051"/>
                    <a:pt x="200" y="1058"/>
                  </a:cubicBezTo>
                  <a:cubicBezTo>
                    <a:pt x="200" y="1062"/>
                    <a:pt x="197" y="1062"/>
                    <a:pt x="193" y="1065"/>
                  </a:cubicBezTo>
                  <a:cubicBezTo>
                    <a:pt x="193" y="1069"/>
                    <a:pt x="186" y="1076"/>
                    <a:pt x="183" y="1079"/>
                  </a:cubicBezTo>
                  <a:cubicBezTo>
                    <a:pt x="183" y="1079"/>
                    <a:pt x="179" y="1083"/>
                    <a:pt x="179" y="1086"/>
                  </a:cubicBezTo>
                  <a:cubicBezTo>
                    <a:pt x="172" y="1090"/>
                    <a:pt x="169" y="1093"/>
                    <a:pt x="162" y="1097"/>
                  </a:cubicBezTo>
                  <a:cubicBezTo>
                    <a:pt x="162" y="1097"/>
                    <a:pt x="158" y="1104"/>
                    <a:pt x="155" y="1104"/>
                  </a:cubicBezTo>
                  <a:cubicBezTo>
                    <a:pt x="148" y="1107"/>
                    <a:pt x="141" y="1111"/>
                    <a:pt x="134" y="1114"/>
                  </a:cubicBezTo>
                  <a:lnTo>
                    <a:pt x="127" y="1118"/>
                  </a:lnTo>
                  <a:cubicBezTo>
                    <a:pt x="116" y="1121"/>
                    <a:pt x="109" y="1125"/>
                    <a:pt x="102" y="1125"/>
                  </a:cubicBezTo>
                  <a:lnTo>
                    <a:pt x="88" y="1132"/>
                  </a:lnTo>
                  <a:cubicBezTo>
                    <a:pt x="57" y="1135"/>
                    <a:pt x="22" y="1254"/>
                    <a:pt x="1" y="1317"/>
                  </a:cubicBezTo>
                  <a:lnTo>
                    <a:pt x="1" y="1324"/>
                  </a:lnTo>
                  <a:cubicBezTo>
                    <a:pt x="200" y="1419"/>
                    <a:pt x="323" y="1629"/>
                    <a:pt x="299" y="1849"/>
                  </a:cubicBezTo>
                  <a:cubicBezTo>
                    <a:pt x="291" y="1898"/>
                    <a:pt x="323" y="1947"/>
                    <a:pt x="369" y="1965"/>
                  </a:cubicBezTo>
                  <a:cubicBezTo>
                    <a:pt x="393" y="1976"/>
                    <a:pt x="419" y="1981"/>
                    <a:pt x="445" y="1981"/>
                  </a:cubicBezTo>
                  <a:cubicBezTo>
                    <a:pt x="494" y="1981"/>
                    <a:pt x="541" y="1963"/>
                    <a:pt x="575" y="1926"/>
                  </a:cubicBezTo>
                  <a:cubicBezTo>
                    <a:pt x="614" y="1881"/>
                    <a:pt x="671" y="1857"/>
                    <a:pt x="740" y="1857"/>
                  </a:cubicBezTo>
                  <a:cubicBezTo>
                    <a:pt x="788" y="1857"/>
                    <a:pt x="842" y="1868"/>
                    <a:pt x="901" y="1891"/>
                  </a:cubicBezTo>
                  <a:cubicBezTo>
                    <a:pt x="1016" y="1933"/>
                    <a:pt x="1181" y="2045"/>
                    <a:pt x="1181" y="2150"/>
                  </a:cubicBezTo>
                  <a:cubicBezTo>
                    <a:pt x="1184" y="2175"/>
                    <a:pt x="1170" y="2199"/>
                    <a:pt x="1149" y="2217"/>
                  </a:cubicBezTo>
                  <a:cubicBezTo>
                    <a:pt x="1128" y="2236"/>
                    <a:pt x="1102" y="2243"/>
                    <a:pt x="1069" y="2243"/>
                  </a:cubicBezTo>
                  <a:cubicBezTo>
                    <a:pt x="1036" y="2243"/>
                    <a:pt x="997" y="2236"/>
                    <a:pt x="950" y="2227"/>
                  </a:cubicBezTo>
                  <a:cubicBezTo>
                    <a:pt x="891" y="2217"/>
                    <a:pt x="820" y="2204"/>
                    <a:pt x="752" y="2204"/>
                  </a:cubicBezTo>
                  <a:cubicBezTo>
                    <a:pt x="686" y="2204"/>
                    <a:pt x="621" y="2216"/>
                    <a:pt x="572" y="2252"/>
                  </a:cubicBezTo>
                  <a:cubicBezTo>
                    <a:pt x="558" y="2259"/>
                    <a:pt x="537" y="2280"/>
                    <a:pt x="533" y="2294"/>
                  </a:cubicBezTo>
                  <a:cubicBezTo>
                    <a:pt x="530" y="2322"/>
                    <a:pt x="575" y="2374"/>
                    <a:pt x="610" y="2416"/>
                  </a:cubicBezTo>
                  <a:cubicBezTo>
                    <a:pt x="666" y="2486"/>
                    <a:pt x="740" y="2574"/>
                    <a:pt x="712" y="2675"/>
                  </a:cubicBezTo>
                  <a:cubicBezTo>
                    <a:pt x="694" y="2749"/>
                    <a:pt x="715" y="2826"/>
                    <a:pt x="761" y="2882"/>
                  </a:cubicBezTo>
                  <a:cubicBezTo>
                    <a:pt x="799" y="2935"/>
                    <a:pt x="862" y="2970"/>
                    <a:pt x="929" y="2970"/>
                  </a:cubicBezTo>
                  <a:lnTo>
                    <a:pt x="939" y="2970"/>
                  </a:lnTo>
                  <a:cubicBezTo>
                    <a:pt x="1051" y="2970"/>
                    <a:pt x="1160" y="3054"/>
                    <a:pt x="1254" y="3124"/>
                  </a:cubicBezTo>
                  <a:cubicBezTo>
                    <a:pt x="1300" y="3159"/>
                    <a:pt x="1373" y="3215"/>
                    <a:pt x="1405" y="3218"/>
                  </a:cubicBezTo>
                  <a:cubicBezTo>
                    <a:pt x="1408" y="3173"/>
                    <a:pt x="1359" y="3033"/>
                    <a:pt x="1331" y="2963"/>
                  </a:cubicBezTo>
                  <a:cubicBezTo>
                    <a:pt x="1279" y="2815"/>
                    <a:pt x="1254" y="2742"/>
                    <a:pt x="1289" y="2693"/>
                  </a:cubicBezTo>
                  <a:cubicBezTo>
                    <a:pt x="1310" y="2659"/>
                    <a:pt x="1340" y="2648"/>
                    <a:pt x="1373" y="2648"/>
                  </a:cubicBezTo>
                  <a:cubicBezTo>
                    <a:pt x="1408" y="2648"/>
                    <a:pt x="1448" y="2660"/>
                    <a:pt x="1485" y="2668"/>
                  </a:cubicBezTo>
                  <a:cubicBezTo>
                    <a:pt x="1533" y="2684"/>
                    <a:pt x="1575" y="2695"/>
                    <a:pt x="1609" y="2695"/>
                  </a:cubicBezTo>
                  <a:cubicBezTo>
                    <a:pt x="1636" y="2695"/>
                    <a:pt x="1659" y="2687"/>
                    <a:pt x="1674" y="2668"/>
                  </a:cubicBezTo>
                  <a:cubicBezTo>
                    <a:pt x="1695" y="2644"/>
                    <a:pt x="1692" y="2633"/>
                    <a:pt x="1692" y="2630"/>
                  </a:cubicBezTo>
                  <a:cubicBezTo>
                    <a:pt x="1675" y="2600"/>
                    <a:pt x="1590" y="2560"/>
                    <a:pt x="1488" y="2560"/>
                  </a:cubicBezTo>
                  <a:cubicBezTo>
                    <a:pt x="1483" y="2560"/>
                    <a:pt x="1479" y="2560"/>
                    <a:pt x="1475" y="2560"/>
                  </a:cubicBezTo>
                  <a:cubicBezTo>
                    <a:pt x="1472" y="2560"/>
                    <a:pt x="1469" y="2560"/>
                    <a:pt x="1466" y="2560"/>
                  </a:cubicBezTo>
                  <a:cubicBezTo>
                    <a:pt x="1382" y="2560"/>
                    <a:pt x="1352" y="2514"/>
                    <a:pt x="1345" y="2490"/>
                  </a:cubicBezTo>
                  <a:cubicBezTo>
                    <a:pt x="1328" y="2437"/>
                    <a:pt x="1349" y="2378"/>
                    <a:pt x="1398" y="2343"/>
                  </a:cubicBezTo>
                  <a:cubicBezTo>
                    <a:pt x="1444" y="2306"/>
                    <a:pt x="1500" y="2288"/>
                    <a:pt x="1556" y="2288"/>
                  </a:cubicBezTo>
                  <a:cubicBezTo>
                    <a:pt x="1607" y="2288"/>
                    <a:pt x="1658" y="2303"/>
                    <a:pt x="1702" y="2332"/>
                  </a:cubicBezTo>
                  <a:cubicBezTo>
                    <a:pt x="1748" y="2359"/>
                    <a:pt x="1784" y="2370"/>
                    <a:pt x="1816" y="2370"/>
                  </a:cubicBezTo>
                  <a:cubicBezTo>
                    <a:pt x="1864" y="2370"/>
                    <a:pt x="1902" y="2347"/>
                    <a:pt x="1944" y="2322"/>
                  </a:cubicBezTo>
                  <a:cubicBezTo>
                    <a:pt x="1975" y="2301"/>
                    <a:pt x="2010" y="2287"/>
                    <a:pt x="2049" y="2280"/>
                  </a:cubicBezTo>
                  <a:cubicBezTo>
                    <a:pt x="2066" y="2238"/>
                    <a:pt x="2070" y="2192"/>
                    <a:pt x="2056" y="2147"/>
                  </a:cubicBezTo>
                  <a:cubicBezTo>
                    <a:pt x="2035" y="2056"/>
                    <a:pt x="1961" y="1982"/>
                    <a:pt x="1870" y="1961"/>
                  </a:cubicBezTo>
                  <a:cubicBezTo>
                    <a:pt x="1839" y="1953"/>
                    <a:pt x="1812" y="1949"/>
                    <a:pt x="1790" y="1949"/>
                  </a:cubicBezTo>
                  <a:cubicBezTo>
                    <a:pt x="1732" y="1949"/>
                    <a:pt x="1700" y="1974"/>
                    <a:pt x="1667" y="2000"/>
                  </a:cubicBezTo>
                  <a:cubicBezTo>
                    <a:pt x="1631" y="2028"/>
                    <a:pt x="1593" y="2051"/>
                    <a:pt x="1548" y="2051"/>
                  </a:cubicBezTo>
                  <a:cubicBezTo>
                    <a:pt x="1504" y="2051"/>
                    <a:pt x="1452" y="2028"/>
                    <a:pt x="1387" y="1961"/>
                  </a:cubicBezTo>
                  <a:cubicBezTo>
                    <a:pt x="1345" y="1916"/>
                    <a:pt x="1300" y="1860"/>
                    <a:pt x="1314" y="1797"/>
                  </a:cubicBezTo>
                  <a:cubicBezTo>
                    <a:pt x="1331" y="1734"/>
                    <a:pt x="1394" y="1709"/>
                    <a:pt x="1454" y="1685"/>
                  </a:cubicBezTo>
                  <a:cubicBezTo>
                    <a:pt x="1520" y="1664"/>
                    <a:pt x="1545" y="1650"/>
                    <a:pt x="1545" y="1625"/>
                  </a:cubicBezTo>
                  <a:cubicBezTo>
                    <a:pt x="1545" y="1538"/>
                    <a:pt x="1415" y="1391"/>
                    <a:pt x="1300" y="1265"/>
                  </a:cubicBezTo>
                  <a:cubicBezTo>
                    <a:pt x="1233" y="1195"/>
                    <a:pt x="1170" y="1121"/>
                    <a:pt x="1114" y="1048"/>
                  </a:cubicBezTo>
                  <a:cubicBezTo>
                    <a:pt x="1065" y="988"/>
                    <a:pt x="1051" y="908"/>
                    <a:pt x="1083" y="841"/>
                  </a:cubicBezTo>
                  <a:cubicBezTo>
                    <a:pt x="1128" y="764"/>
                    <a:pt x="1212" y="718"/>
                    <a:pt x="1303" y="718"/>
                  </a:cubicBezTo>
                  <a:lnTo>
                    <a:pt x="1310" y="718"/>
                  </a:lnTo>
                  <a:cubicBezTo>
                    <a:pt x="1314" y="718"/>
                    <a:pt x="1317" y="718"/>
                    <a:pt x="1320" y="718"/>
                  </a:cubicBezTo>
                  <a:cubicBezTo>
                    <a:pt x="1397" y="718"/>
                    <a:pt x="1466" y="756"/>
                    <a:pt x="1506" y="824"/>
                  </a:cubicBezTo>
                  <a:cubicBezTo>
                    <a:pt x="1539" y="879"/>
                    <a:pt x="1602" y="899"/>
                    <a:pt x="1671" y="899"/>
                  </a:cubicBezTo>
                  <a:cubicBezTo>
                    <a:pt x="1736" y="899"/>
                    <a:pt x="1807" y="881"/>
                    <a:pt x="1860" y="859"/>
                  </a:cubicBezTo>
                  <a:cubicBezTo>
                    <a:pt x="1856" y="834"/>
                    <a:pt x="1853" y="806"/>
                    <a:pt x="1842" y="785"/>
                  </a:cubicBezTo>
                  <a:cubicBezTo>
                    <a:pt x="1818" y="694"/>
                    <a:pt x="1769" y="522"/>
                    <a:pt x="1968" y="445"/>
                  </a:cubicBezTo>
                  <a:cubicBezTo>
                    <a:pt x="2028" y="422"/>
                    <a:pt x="2078" y="413"/>
                    <a:pt x="2120" y="413"/>
                  </a:cubicBezTo>
                  <a:cubicBezTo>
                    <a:pt x="2218" y="413"/>
                    <a:pt x="2274" y="465"/>
                    <a:pt x="2318" y="519"/>
                  </a:cubicBezTo>
                  <a:cubicBezTo>
                    <a:pt x="2325" y="529"/>
                    <a:pt x="2332" y="536"/>
                    <a:pt x="2343" y="547"/>
                  </a:cubicBezTo>
                  <a:cubicBezTo>
                    <a:pt x="2357" y="533"/>
                    <a:pt x="2371" y="522"/>
                    <a:pt x="2385" y="508"/>
                  </a:cubicBezTo>
                  <a:cubicBezTo>
                    <a:pt x="2452" y="442"/>
                    <a:pt x="2557" y="344"/>
                    <a:pt x="2739" y="344"/>
                  </a:cubicBezTo>
                  <a:cubicBezTo>
                    <a:pt x="2875" y="344"/>
                    <a:pt x="2994" y="421"/>
                    <a:pt x="3099" y="498"/>
                  </a:cubicBezTo>
                  <a:lnTo>
                    <a:pt x="3106" y="491"/>
                  </a:lnTo>
                  <a:lnTo>
                    <a:pt x="3127" y="466"/>
                  </a:lnTo>
                  <a:lnTo>
                    <a:pt x="3138" y="456"/>
                  </a:lnTo>
                  <a:cubicBezTo>
                    <a:pt x="3141" y="449"/>
                    <a:pt x="3148" y="445"/>
                    <a:pt x="3152" y="438"/>
                  </a:cubicBezTo>
                  <a:cubicBezTo>
                    <a:pt x="3152" y="435"/>
                    <a:pt x="3155" y="431"/>
                    <a:pt x="3159" y="428"/>
                  </a:cubicBezTo>
                  <a:cubicBezTo>
                    <a:pt x="3159" y="424"/>
                    <a:pt x="3162" y="421"/>
                    <a:pt x="3166" y="417"/>
                  </a:cubicBezTo>
                  <a:cubicBezTo>
                    <a:pt x="3166" y="410"/>
                    <a:pt x="3169" y="403"/>
                    <a:pt x="3169" y="396"/>
                  </a:cubicBezTo>
                  <a:cubicBezTo>
                    <a:pt x="3169" y="330"/>
                    <a:pt x="3215" y="288"/>
                    <a:pt x="3257" y="253"/>
                  </a:cubicBezTo>
                  <a:cubicBezTo>
                    <a:pt x="3299" y="214"/>
                    <a:pt x="3327" y="186"/>
                    <a:pt x="3327" y="144"/>
                  </a:cubicBezTo>
                  <a:cubicBezTo>
                    <a:pt x="3327" y="130"/>
                    <a:pt x="3327" y="120"/>
                    <a:pt x="3323" y="106"/>
                  </a:cubicBezTo>
                  <a:cubicBezTo>
                    <a:pt x="3323" y="102"/>
                    <a:pt x="3323" y="99"/>
                    <a:pt x="3323" y="92"/>
                  </a:cubicBezTo>
                  <a:cubicBezTo>
                    <a:pt x="3320" y="88"/>
                    <a:pt x="3320" y="74"/>
                    <a:pt x="3316" y="67"/>
                  </a:cubicBezTo>
                  <a:lnTo>
                    <a:pt x="3313" y="50"/>
                  </a:lnTo>
                  <a:cubicBezTo>
                    <a:pt x="3309" y="39"/>
                    <a:pt x="3309" y="32"/>
                    <a:pt x="3306" y="22"/>
                  </a:cubicBezTo>
                  <a:lnTo>
                    <a:pt x="3302" y="11"/>
                  </a:lnTo>
                  <a:lnTo>
                    <a:pt x="3299"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647" name="Google Shape;5647;p104"/>
            <p:cNvSpPr/>
            <p:nvPr/>
          </p:nvSpPr>
          <p:spPr>
            <a:xfrm>
              <a:off x="2220411" y="1765512"/>
              <a:ext cx="17176" cy="3557"/>
            </a:xfrm>
            <a:custGeom>
              <a:avLst/>
              <a:gdLst/>
              <a:ahLst/>
              <a:cxnLst/>
              <a:rect l="l" t="t" r="r" b="b"/>
              <a:pathLst>
                <a:path w="1265" h="262" extrusionOk="0">
                  <a:moveTo>
                    <a:pt x="149" y="0"/>
                  </a:moveTo>
                  <a:cubicBezTo>
                    <a:pt x="138" y="0"/>
                    <a:pt x="127" y="2"/>
                    <a:pt x="116" y="6"/>
                  </a:cubicBezTo>
                  <a:cubicBezTo>
                    <a:pt x="74" y="17"/>
                    <a:pt x="32" y="34"/>
                    <a:pt x="0" y="62"/>
                  </a:cubicBezTo>
                  <a:cubicBezTo>
                    <a:pt x="70" y="83"/>
                    <a:pt x="144" y="108"/>
                    <a:pt x="214" y="132"/>
                  </a:cubicBezTo>
                  <a:cubicBezTo>
                    <a:pt x="375" y="192"/>
                    <a:pt x="553" y="258"/>
                    <a:pt x="739" y="262"/>
                  </a:cubicBezTo>
                  <a:cubicBezTo>
                    <a:pt x="921" y="262"/>
                    <a:pt x="1096" y="227"/>
                    <a:pt x="1264" y="164"/>
                  </a:cubicBezTo>
                  <a:lnTo>
                    <a:pt x="1264" y="164"/>
                  </a:lnTo>
                  <a:cubicBezTo>
                    <a:pt x="1253" y="165"/>
                    <a:pt x="1241" y="166"/>
                    <a:pt x="1230" y="166"/>
                  </a:cubicBezTo>
                  <a:cubicBezTo>
                    <a:pt x="1186" y="166"/>
                    <a:pt x="1142" y="155"/>
                    <a:pt x="1103" y="136"/>
                  </a:cubicBezTo>
                  <a:cubicBezTo>
                    <a:pt x="1079" y="120"/>
                    <a:pt x="1012" y="117"/>
                    <a:pt x="935" y="117"/>
                  </a:cubicBezTo>
                  <a:cubicBezTo>
                    <a:pt x="892" y="117"/>
                    <a:pt x="845" y="118"/>
                    <a:pt x="802" y="118"/>
                  </a:cubicBezTo>
                  <a:cubicBezTo>
                    <a:pt x="744" y="120"/>
                    <a:pt x="686" y="122"/>
                    <a:pt x="630" y="122"/>
                  </a:cubicBezTo>
                  <a:cubicBezTo>
                    <a:pt x="460" y="122"/>
                    <a:pt x="306" y="106"/>
                    <a:pt x="224" y="27"/>
                  </a:cubicBezTo>
                  <a:cubicBezTo>
                    <a:pt x="203" y="10"/>
                    <a:pt x="176" y="0"/>
                    <a:pt x="149"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648" name="Google Shape;5648;p104"/>
            <p:cNvSpPr/>
            <p:nvPr/>
          </p:nvSpPr>
          <p:spPr>
            <a:xfrm>
              <a:off x="2239039" y="1718289"/>
              <a:ext cx="109" cy="163"/>
            </a:xfrm>
            <a:custGeom>
              <a:avLst/>
              <a:gdLst/>
              <a:ahLst/>
              <a:cxnLst/>
              <a:rect l="l" t="t" r="r" b="b"/>
              <a:pathLst>
                <a:path w="8" h="12" extrusionOk="0">
                  <a:moveTo>
                    <a:pt x="8" y="1"/>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649" name="Google Shape;5649;p104"/>
            <p:cNvSpPr/>
            <p:nvPr/>
          </p:nvSpPr>
          <p:spPr>
            <a:xfrm>
              <a:off x="2241701" y="1713591"/>
              <a:ext cx="68" cy="489"/>
            </a:xfrm>
            <a:custGeom>
              <a:avLst/>
              <a:gdLst/>
              <a:ahLst/>
              <a:cxnLst/>
              <a:rect l="l" t="t" r="r" b="b"/>
              <a:pathLst>
                <a:path w="5" h="36" extrusionOk="0">
                  <a:moveTo>
                    <a:pt x="1" y="0"/>
                  </a:moveTo>
                  <a:cubicBezTo>
                    <a:pt x="1" y="11"/>
                    <a:pt x="1" y="25"/>
                    <a:pt x="4" y="35"/>
                  </a:cubicBezTo>
                  <a:cubicBezTo>
                    <a:pt x="1" y="25"/>
                    <a:pt x="1" y="11"/>
                    <a:pt x="1"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650" name="Google Shape;5650;p104"/>
            <p:cNvSpPr/>
            <p:nvPr/>
          </p:nvSpPr>
          <p:spPr>
            <a:xfrm>
              <a:off x="2239515" y="1717529"/>
              <a:ext cx="68" cy="299"/>
            </a:xfrm>
            <a:custGeom>
              <a:avLst/>
              <a:gdLst/>
              <a:ahLst/>
              <a:cxnLst/>
              <a:rect l="l" t="t" r="r" b="b"/>
              <a:pathLst>
                <a:path w="5" h="22" extrusionOk="0">
                  <a:moveTo>
                    <a:pt x="4" y="1"/>
                  </a:moveTo>
                  <a:cubicBezTo>
                    <a:pt x="4" y="8"/>
                    <a:pt x="1" y="15"/>
                    <a:pt x="1" y="22"/>
                  </a:cubicBezTo>
                  <a:cubicBezTo>
                    <a:pt x="1" y="15"/>
                    <a:pt x="4" y="8"/>
                    <a:pt x="4" y="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651" name="Google Shape;5651;p104"/>
            <p:cNvSpPr/>
            <p:nvPr/>
          </p:nvSpPr>
          <p:spPr>
            <a:xfrm>
              <a:off x="2241415" y="1712397"/>
              <a:ext cx="109" cy="394"/>
            </a:xfrm>
            <a:custGeom>
              <a:avLst/>
              <a:gdLst/>
              <a:ahLst/>
              <a:cxnLst/>
              <a:rect l="l" t="t" r="r" b="b"/>
              <a:pathLst>
                <a:path w="8" h="29" extrusionOk="0">
                  <a:moveTo>
                    <a:pt x="1" y="1"/>
                  </a:moveTo>
                  <a:cubicBezTo>
                    <a:pt x="4" y="11"/>
                    <a:pt x="8" y="22"/>
                    <a:pt x="8" y="29"/>
                  </a:cubicBezTo>
                  <a:cubicBezTo>
                    <a:pt x="8" y="22"/>
                    <a:pt x="4" y="11"/>
                    <a:pt x="1" y="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652" name="Google Shape;5652;p104"/>
            <p:cNvSpPr/>
            <p:nvPr/>
          </p:nvSpPr>
          <p:spPr>
            <a:xfrm>
              <a:off x="2241415" y="1712166"/>
              <a:ext cx="14" cy="109"/>
            </a:xfrm>
            <a:custGeom>
              <a:avLst/>
              <a:gdLst/>
              <a:ahLst/>
              <a:cxnLst/>
              <a:rect l="l" t="t" r="r" b="b"/>
              <a:pathLst>
                <a:path w="1" h="8" extrusionOk="0">
                  <a:moveTo>
                    <a:pt x="1" y="7"/>
                  </a:moveTo>
                  <a:lnTo>
                    <a:pt x="1" y="0"/>
                  </a:lnTo>
                  <a:lnTo>
                    <a:pt x="1"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653" name="Google Shape;5653;p104"/>
            <p:cNvSpPr/>
            <p:nvPr/>
          </p:nvSpPr>
          <p:spPr>
            <a:xfrm>
              <a:off x="2239324" y="1717963"/>
              <a:ext cx="109" cy="149"/>
            </a:xfrm>
            <a:custGeom>
              <a:avLst/>
              <a:gdLst/>
              <a:ahLst/>
              <a:cxnLst/>
              <a:rect l="l" t="t" r="r" b="b"/>
              <a:pathLst>
                <a:path w="8" h="11" extrusionOk="0">
                  <a:moveTo>
                    <a:pt x="8" y="0"/>
                  </a:moveTo>
                  <a:lnTo>
                    <a:pt x="8" y="0"/>
                  </a:lnTo>
                  <a:cubicBezTo>
                    <a:pt x="4" y="4"/>
                    <a:pt x="4" y="7"/>
                    <a:pt x="1" y="11"/>
                  </a:cubicBezTo>
                  <a:cubicBezTo>
                    <a:pt x="4" y="7"/>
                    <a:pt x="8" y="4"/>
                    <a:pt x="8"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654" name="Google Shape;5654;p104"/>
            <p:cNvSpPr/>
            <p:nvPr/>
          </p:nvSpPr>
          <p:spPr>
            <a:xfrm>
              <a:off x="2238618" y="1718764"/>
              <a:ext cx="149" cy="163"/>
            </a:xfrm>
            <a:custGeom>
              <a:avLst/>
              <a:gdLst/>
              <a:ahLst/>
              <a:cxnLst/>
              <a:rect l="l" t="t" r="r" b="b"/>
              <a:pathLst>
                <a:path w="11" h="12" extrusionOk="0">
                  <a:moveTo>
                    <a:pt x="0" y="11"/>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655" name="Google Shape;5655;p104"/>
            <p:cNvSpPr/>
            <p:nvPr/>
          </p:nvSpPr>
          <p:spPr>
            <a:xfrm>
              <a:off x="2241605" y="1713062"/>
              <a:ext cx="68" cy="353"/>
            </a:xfrm>
            <a:custGeom>
              <a:avLst/>
              <a:gdLst/>
              <a:ahLst/>
              <a:cxnLst/>
              <a:rect l="l" t="t" r="r" b="b"/>
              <a:pathLst>
                <a:path w="5" h="26" extrusionOk="0">
                  <a:moveTo>
                    <a:pt x="1" y="1"/>
                  </a:moveTo>
                  <a:cubicBezTo>
                    <a:pt x="1" y="8"/>
                    <a:pt x="4" y="15"/>
                    <a:pt x="4" y="25"/>
                  </a:cubicBezTo>
                  <a:cubicBezTo>
                    <a:pt x="4" y="15"/>
                    <a:pt x="1" y="8"/>
                    <a:pt x="1" y="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656" name="Google Shape;5656;p104"/>
            <p:cNvSpPr/>
            <p:nvPr/>
          </p:nvSpPr>
          <p:spPr>
            <a:xfrm>
              <a:off x="2196637" y="1727427"/>
              <a:ext cx="1398" cy="2620"/>
            </a:xfrm>
            <a:custGeom>
              <a:avLst/>
              <a:gdLst/>
              <a:ahLst/>
              <a:cxnLst/>
              <a:rect l="l" t="t" r="r" b="b"/>
              <a:pathLst>
                <a:path w="103" h="193" extrusionOk="0">
                  <a:moveTo>
                    <a:pt x="102" y="0"/>
                  </a:moveTo>
                  <a:cubicBezTo>
                    <a:pt x="101" y="0"/>
                    <a:pt x="100" y="0"/>
                    <a:pt x="99" y="1"/>
                  </a:cubicBezTo>
                  <a:lnTo>
                    <a:pt x="99" y="1"/>
                  </a:lnTo>
                  <a:lnTo>
                    <a:pt x="102" y="0"/>
                  </a:lnTo>
                  <a:close/>
                  <a:moveTo>
                    <a:pt x="99" y="1"/>
                  </a:moveTo>
                  <a:lnTo>
                    <a:pt x="88" y="4"/>
                  </a:lnTo>
                  <a:cubicBezTo>
                    <a:pt x="93" y="4"/>
                    <a:pt x="96" y="2"/>
                    <a:pt x="99" y="1"/>
                  </a:cubicBezTo>
                  <a:close/>
                  <a:moveTo>
                    <a:pt x="88" y="4"/>
                  </a:moveTo>
                  <a:cubicBezTo>
                    <a:pt x="60" y="11"/>
                    <a:pt x="22" y="126"/>
                    <a:pt x="1" y="193"/>
                  </a:cubicBezTo>
                  <a:cubicBezTo>
                    <a:pt x="22" y="130"/>
                    <a:pt x="60" y="11"/>
                    <a:pt x="88" y="4"/>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657" name="Google Shape;5657;p104"/>
            <p:cNvSpPr/>
            <p:nvPr/>
          </p:nvSpPr>
          <p:spPr>
            <a:xfrm>
              <a:off x="2199054" y="1726762"/>
              <a:ext cx="68" cy="122"/>
            </a:xfrm>
            <a:custGeom>
              <a:avLst/>
              <a:gdLst/>
              <a:ahLst/>
              <a:cxnLst/>
              <a:rect l="l" t="t" r="r" b="b"/>
              <a:pathLst>
                <a:path w="5" h="9" extrusionOk="0">
                  <a:moveTo>
                    <a:pt x="5" y="0"/>
                  </a:moveTo>
                  <a:lnTo>
                    <a:pt x="5" y="0"/>
                  </a:lnTo>
                  <a:cubicBezTo>
                    <a:pt x="5" y="0"/>
                    <a:pt x="3" y="4"/>
                    <a:pt x="2" y="6"/>
                  </a:cubicBezTo>
                  <a:lnTo>
                    <a:pt x="2" y="6"/>
                  </a:lnTo>
                  <a:cubicBezTo>
                    <a:pt x="3" y="4"/>
                    <a:pt x="5" y="2"/>
                    <a:pt x="5" y="0"/>
                  </a:cubicBezTo>
                  <a:close/>
                  <a:moveTo>
                    <a:pt x="2" y="6"/>
                  </a:moveTo>
                  <a:cubicBezTo>
                    <a:pt x="1" y="7"/>
                    <a:pt x="0" y="8"/>
                    <a:pt x="0" y="8"/>
                  </a:cubicBezTo>
                  <a:cubicBezTo>
                    <a:pt x="1" y="8"/>
                    <a:pt x="1" y="8"/>
                    <a:pt x="1" y="7"/>
                  </a:cubicBezTo>
                  <a:cubicBezTo>
                    <a:pt x="1" y="7"/>
                    <a:pt x="2" y="7"/>
                    <a:pt x="2" y="6"/>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658" name="Google Shape;5658;p104"/>
            <p:cNvSpPr/>
            <p:nvPr/>
          </p:nvSpPr>
          <p:spPr>
            <a:xfrm>
              <a:off x="2199447" y="1726178"/>
              <a:ext cx="81" cy="122"/>
            </a:xfrm>
            <a:custGeom>
              <a:avLst/>
              <a:gdLst/>
              <a:ahLst/>
              <a:cxnLst/>
              <a:rect l="l" t="t" r="r" b="b"/>
              <a:pathLst>
                <a:path w="6" h="9" extrusionOk="0">
                  <a:moveTo>
                    <a:pt x="5" y="0"/>
                  </a:moveTo>
                  <a:cubicBezTo>
                    <a:pt x="5" y="0"/>
                    <a:pt x="5" y="0"/>
                    <a:pt x="4" y="1"/>
                  </a:cubicBezTo>
                  <a:cubicBezTo>
                    <a:pt x="0" y="5"/>
                    <a:pt x="0" y="5"/>
                    <a:pt x="0" y="8"/>
                  </a:cubicBezTo>
                  <a:cubicBezTo>
                    <a:pt x="0" y="5"/>
                    <a:pt x="5" y="0"/>
                    <a:pt x="5"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659" name="Google Shape;5659;p104"/>
            <p:cNvSpPr/>
            <p:nvPr/>
          </p:nvSpPr>
          <p:spPr>
            <a:xfrm>
              <a:off x="2199542" y="1725947"/>
              <a:ext cx="14" cy="109"/>
            </a:xfrm>
            <a:custGeom>
              <a:avLst/>
              <a:gdLst/>
              <a:ahLst/>
              <a:cxnLst/>
              <a:rect l="l" t="t" r="r" b="b"/>
              <a:pathLst>
                <a:path w="1" h="8" extrusionOk="0">
                  <a:moveTo>
                    <a:pt x="0" y="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660" name="Google Shape;5660;p104"/>
            <p:cNvSpPr/>
            <p:nvPr/>
          </p:nvSpPr>
          <p:spPr>
            <a:xfrm>
              <a:off x="2199257" y="1726463"/>
              <a:ext cx="109" cy="122"/>
            </a:xfrm>
            <a:custGeom>
              <a:avLst/>
              <a:gdLst/>
              <a:ahLst/>
              <a:cxnLst/>
              <a:rect l="l" t="t" r="r" b="b"/>
              <a:pathLst>
                <a:path w="8" h="9" extrusionOk="0">
                  <a:moveTo>
                    <a:pt x="7" y="0"/>
                  </a:moveTo>
                  <a:cubicBezTo>
                    <a:pt x="7" y="0"/>
                    <a:pt x="6" y="2"/>
                    <a:pt x="5" y="3"/>
                  </a:cubicBezTo>
                  <a:lnTo>
                    <a:pt x="5" y="3"/>
                  </a:lnTo>
                  <a:cubicBezTo>
                    <a:pt x="6" y="3"/>
                    <a:pt x="7" y="2"/>
                    <a:pt x="7" y="1"/>
                  </a:cubicBezTo>
                  <a:cubicBezTo>
                    <a:pt x="7" y="1"/>
                    <a:pt x="7" y="0"/>
                    <a:pt x="7" y="0"/>
                  </a:cubicBezTo>
                  <a:close/>
                  <a:moveTo>
                    <a:pt x="5" y="3"/>
                  </a:moveTo>
                  <a:cubicBezTo>
                    <a:pt x="3" y="6"/>
                    <a:pt x="0" y="8"/>
                    <a:pt x="0" y="8"/>
                  </a:cubicBezTo>
                  <a:cubicBezTo>
                    <a:pt x="2" y="8"/>
                    <a:pt x="4" y="5"/>
                    <a:pt x="5" y="3"/>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661" name="Google Shape;5661;p104"/>
            <p:cNvSpPr/>
            <p:nvPr/>
          </p:nvSpPr>
          <p:spPr>
            <a:xfrm>
              <a:off x="2200534" y="1723815"/>
              <a:ext cx="109" cy="149"/>
            </a:xfrm>
            <a:custGeom>
              <a:avLst/>
              <a:gdLst/>
              <a:ahLst/>
              <a:cxnLst/>
              <a:rect l="l" t="t" r="r" b="b"/>
              <a:pathLst>
                <a:path w="8" h="11" extrusionOk="0">
                  <a:moveTo>
                    <a:pt x="1" y="11"/>
                  </a:moveTo>
                  <a:lnTo>
                    <a:pt x="8"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662" name="Google Shape;5662;p104"/>
            <p:cNvSpPr/>
            <p:nvPr/>
          </p:nvSpPr>
          <p:spPr>
            <a:xfrm>
              <a:off x="2198728" y="1727033"/>
              <a:ext cx="163" cy="68"/>
            </a:xfrm>
            <a:custGeom>
              <a:avLst/>
              <a:gdLst/>
              <a:ahLst/>
              <a:cxnLst/>
              <a:rect l="l" t="t" r="r" b="b"/>
              <a:pathLst>
                <a:path w="12" h="5" extrusionOk="0">
                  <a:moveTo>
                    <a:pt x="11" y="0"/>
                  </a:moveTo>
                  <a:cubicBezTo>
                    <a:pt x="9" y="0"/>
                    <a:pt x="4" y="5"/>
                    <a:pt x="1" y="5"/>
                  </a:cubicBezTo>
                  <a:cubicBezTo>
                    <a:pt x="4" y="5"/>
                    <a:pt x="8" y="1"/>
                    <a:pt x="11" y="1"/>
                  </a:cubicBezTo>
                  <a:cubicBezTo>
                    <a:pt x="11" y="0"/>
                    <a:pt x="11" y="0"/>
                    <a:pt x="11"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663" name="Google Shape;5663;p104"/>
            <p:cNvSpPr/>
            <p:nvPr/>
          </p:nvSpPr>
          <p:spPr>
            <a:xfrm>
              <a:off x="2198348" y="1727277"/>
              <a:ext cx="109" cy="68"/>
            </a:xfrm>
            <a:custGeom>
              <a:avLst/>
              <a:gdLst/>
              <a:ahLst/>
              <a:cxnLst/>
              <a:rect l="l" t="t" r="r" b="b"/>
              <a:pathLst>
                <a:path w="8" h="5" extrusionOk="0">
                  <a:moveTo>
                    <a:pt x="1" y="4"/>
                  </a:moveTo>
                  <a:lnTo>
                    <a:pt x="8"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664" name="Google Shape;5664;p104"/>
            <p:cNvSpPr/>
            <p:nvPr/>
          </p:nvSpPr>
          <p:spPr>
            <a:xfrm>
              <a:off x="2202733" y="1720149"/>
              <a:ext cx="109" cy="299"/>
            </a:xfrm>
            <a:custGeom>
              <a:avLst/>
              <a:gdLst/>
              <a:ahLst/>
              <a:cxnLst/>
              <a:rect l="l" t="t" r="r" b="b"/>
              <a:pathLst>
                <a:path w="8" h="22" extrusionOk="0">
                  <a:moveTo>
                    <a:pt x="7" y="0"/>
                  </a:moveTo>
                  <a:cubicBezTo>
                    <a:pt x="4" y="7"/>
                    <a:pt x="4" y="14"/>
                    <a:pt x="0" y="21"/>
                  </a:cubicBezTo>
                  <a:cubicBezTo>
                    <a:pt x="4" y="14"/>
                    <a:pt x="7" y="7"/>
                    <a:pt x="7"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665" name="Google Shape;5665;p104"/>
            <p:cNvSpPr/>
            <p:nvPr/>
          </p:nvSpPr>
          <p:spPr>
            <a:xfrm>
              <a:off x="2202489" y="1720624"/>
              <a:ext cx="163" cy="394"/>
            </a:xfrm>
            <a:custGeom>
              <a:avLst/>
              <a:gdLst/>
              <a:ahLst/>
              <a:cxnLst/>
              <a:rect l="l" t="t" r="r" b="b"/>
              <a:pathLst>
                <a:path w="12" h="29" extrusionOk="0">
                  <a:moveTo>
                    <a:pt x="1" y="28"/>
                  </a:moveTo>
                  <a:cubicBezTo>
                    <a:pt x="4" y="18"/>
                    <a:pt x="8" y="11"/>
                    <a:pt x="11" y="0"/>
                  </a:cubicBezTo>
                  <a:cubicBezTo>
                    <a:pt x="8" y="11"/>
                    <a:pt x="4" y="18"/>
                    <a:pt x="1" y="28"/>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666" name="Google Shape;5666;p104"/>
            <p:cNvSpPr/>
            <p:nvPr/>
          </p:nvSpPr>
          <p:spPr>
            <a:xfrm>
              <a:off x="2202163" y="1721154"/>
              <a:ext cx="204" cy="434"/>
            </a:xfrm>
            <a:custGeom>
              <a:avLst/>
              <a:gdLst/>
              <a:ahLst/>
              <a:cxnLst/>
              <a:rect l="l" t="t" r="r" b="b"/>
              <a:pathLst>
                <a:path w="15" h="32" extrusionOk="0">
                  <a:moveTo>
                    <a:pt x="14" y="0"/>
                  </a:moveTo>
                  <a:cubicBezTo>
                    <a:pt x="11" y="11"/>
                    <a:pt x="4" y="21"/>
                    <a:pt x="0" y="31"/>
                  </a:cubicBezTo>
                  <a:cubicBezTo>
                    <a:pt x="7" y="21"/>
                    <a:pt x="11" y="11"/>
                    <a:pt x="14"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667" name="Google Shape;5667;p104"/>
            <p:cNvSpPr/>
            <p:nvPr/>
          </p:nvSpPr>
          <p:spPr>
            <a:xfrm>
              <a:off x="2201402" y="1722485"/>
              <a:ext cx="244" cy="339"/>
            </a:xfrm>
            <a:custGeom>
              <a:avLst/>
              <a:gdLst/>
              <a:ahLst/>
              <a:cxnLst/>
              <a:rect l="l" t="t" r="r" b="b"/>
              <a:pathLst>
                <a:path w="18" h="25" extrusionOk="0">
                  <a:moveTo>
                    <a:pt x="0" y="25"/>
                  </a:moveTo>
                  <a:lnTo>
                    <a:pt x="18"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668" name="Google Shape;5668;p104"/>
            <p:cNvSpPr/>
            <p:nvPr/>
          </p:nvSpPr>
          <p:spPr>
            <a:xfrm>
              <a:off x="2201783" y="1721806"/>
              <a:ext cx="244" cy="394"/>
            </a:xfrm>
            <a:custGeom>
              <a:avLst/>
              <a:gdLst/>
              <a:ahLst/>
              <a:cxnLst/>
              <a:rect l="l" t="t" r="r" b="b"/>
              <a:pathLst>
                <a:path w="18" h="29" extrusionOk="0">
                  <a:moveTo>
                    <a:pt x="18" y="1"/>
                  </a:moveTo>
                  <a:cubicBezTo>
                    <a:pt x="14" y="8"/>
                    <a:pt x="7" y="19"/>
                    <a:pt x="0" y="29"/>
                  </a:cubicBezTo>
                  <a:cubicBezTo>
                    <a:pt x="7" y="19"/>
                    <a:pt x="14" y="11"/>
                    <a:pt x="18" y="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669" name="Google Shape;5669;p104"/>
            <p:cNvSpPr/>
            <p:nvPr/>
          </p:nvSpPr>
          <p:spPr>
            <a:xfrm>
              <a:off x="2200968" y="1723150"/>
              <a:ext cx="149" cy="299"/>
            </a:xfrm>
            <a:custGeom>
              <a:avLst/>
              <a:gdLst/>
              <a:ahLst/>
              <a:cxnLst/>
              <a:rect l="l" t="t" r="r" b="b"/>
              <a:pathLst>
                <a:path w="11" h="22" extrusionOk="0">
                  <a:moveTo>
                    <a:pt x="1" y="21"/>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670" name="Google Shape;5670;p104"/>
            <p:cNvSpPr/>
            <p:nvPr/>
          </p:nvSpPr>
          <p:spPr>
            <a:xfrm>
              <a:off x="2226344" y="1713917"/>
              <a:ext cx="258" cy="14"/>
            </a:xfrm>
            <a:custGeom>
              <a:avLst/>
              <a:gdLst/>
              <a:ahLst/>
              <a:cxnLst/>
              <a:rect l="l" t="t" r="r" b="b"/>
              <a:pathLst>
                <a:path w="19" h="1" extrusionOk="0">
                  <a:moveTo>
                    <a:pt x="18"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671" name="Google Shape;5671;p104"/>
            <p:cNvSpPr/>
            <p:nvPr/>
          </p:nvSpPr>
          <p:spPr>
            <a:xfrm>
              <a:off x="2225964" y="1713917"/>
              <a:ext cx="299" cy="14"/>
            </a:xfrm>
            <a:custGeom>
              <a:avLst/>
              <a:gdLst/>
              <a:ahLst/>
              <a:cxnLst/>
              <a:rect l="l" t="t" r="r" b="b"/>
              <a:pathLst>
                <a:path w="22" h="1" extrusionOk="0">
                  <a:moveTo>
                    <a:pt x="22"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672" name="Google Shape;5672;p104"/>
            <p:cNvSpPr/>
            <p:nvPr/>
          </p:nvSpPr>
          <p:spPr>
            <a:xfrm>
              <a:off x="2225543" y="1713876"/>
              <a:ext cx="299" cy="14"/>
            </a:xfrm>
            <a:custGeom>
              <a:avLst/>
              <a:gdLst/>
              <a:ahLst/>
              <a:cxnLst/>
              <a:rect l="l" t="t" r="r" b="b"/>
              <a:pathLst>
                <a:path w="22" h="1" extrusionOk="0">
                  <a:moveTo>
                    <a:pt x="21"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673" name="Google Shape;5673;p104"/>
            <p:cNvSpPr/>
            <p:nvPr/>
          </p:nvSpPr>
          <p:spPr>
            <a:xfrm>
              <a:off x="2222882" y="1713822"/>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674" name="Google Shape;5674;p104"/>
            <p:cNvSpPr/>
            <p:nvPr/>
          </p:nvSpPr>
          <p:spPr>
            <a:xfrm>
              <a:off x="2226915" y="1714012"/>
              <a:ext cx="204" cy="68"/>
            </a:xfrm>
            <a:custGeom>
              <a:avLst/>
              <a:gdLst/>
              <a:ahLst/>
              <a:cxnLst/>
              <a:rect l="l" t="t" r="r" b="b"/>
              <a:pathLst>
                <a:path w="15" h="5" extrusionOk="0">
                  <a:moveTo>
                    <a:pt x="15" y="4"/>
                  </a:moveTo>
                  <a:lnTo>
                    <a:pt x="1"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675" name="Google Shape;5675;p104"/>
            <p:cNvSpPr/>
            <p:nvPr/>
          </p:nvSpPr>
          <p:spPr>
            <a:xfrm>
              <a:off x="2223588" y="1713822"/>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676" name="Google Shape;5676;p104"/>
            <p:cNvSpPr/>
            <p:nvPr/>
          </p:nvSpPr>
          <p:spPr>
            <a:xfrm>
              <a:off x="2225014" y="1713822"/>
              <a:ext cx="353" cy="14"/>
            </a:xfrm>
            <a:custGeom>
              <a:avLst/>
              <a:gdLst/>
              <a:ahLst/>
              <a:cxnLst/>
              <a:rect l="l" t="t" r="r" b="b"/>
              <a:pathLst>
                <a:path w="26" h="1" extrusionOk="0">
                  <a:moveTo>
                    <a:pt x="25"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677" name="Google Shape;5677;p104"/>
            <p:cNvSpPr/>
            <p:nvPr/>
          </p:nvSpPr>
          <p:spPr>
            <a:xfrm>
              <a:off x="2224824" y="1713822"/>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678" name="Google Shape;5678;p104"/>
            <p:cNvSpPr/>
            <p:nvPr/>
          </p:nvSpPr>
          <p:spPr>
            <a:xfrm>
              <a:off x="2226684" y="1713972"/>
              <a:ext cx="204" cy="14"/>
            </a:xfrm>
            <a:custGeom>
              <a:avLst/>
              <a:gdLst/>
              <a:ahLst/>
              <a:cxnLst/>
              <a:rect l="l" t="t" r="r" b="b"/>
              <a:pathLst>
                <a:path w="15" h="1" extrusionOk="0">
                  <a:moveTo>
                    <a:pt x="14"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679" name="Google Shape;5679;p104"/>
            <p:cNvSpPr/>
            <p:nvPr/>
          </p:nvSpPr>
          <p:spPr>
            <a:xfrm>
              <a:off x="2240845" y="1712206"/>
              <a:ext cx="258" cy="68"/>
            </a:xfrm>
            <a:custGeom>
              <a:avLst/>
              <a:gdLst/>
              <a:ahLst/>
              <a:cxnLst/>
              <a:rect l="l" t="t" r="r" b="b"/>
              <a:pathLst>
                <a:path w="19" h="5" extrusionOk="0">
                  <a:moveTo>
                    <a:pt x="18" y="1"/>
                  </a:moveTo>
                  <a:lnTo>
                    <a:pt x="1" y="4"/>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680" name="Google Shape;5680;p104"/>
            <p:cNvSpPr/>
            <p:nvPr/>
          </p:nvSpPr>
          <p:spPr>
            <a:xfrm>
              <a:off x="2240370" y="1712301"/>
              <a:ext cx="353" cy="68"/>
            </a:xfrm>
            <a:custGeom>
              <a:avLst/>
              <a:gdLst/>
              <a:ahLst/>
              <a:cxnLst/>
              <a:rect l="l" t="t" r="r" b="b"/>
              <a:pathLst>
                <a:path w="26" h="5" extrusionOk="0">
                  <a:moveTo>
                    <a:pt x="25" y="1"/>
                  </a:moveTo>
                  <a:lnTo>
                    <a:pt x="1" y="4"/>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681" name="Google Shape;5681;p104"/>
            <p:cNvSpPr/>
            <p:nvPr/>
          </p:nvSpPr>
          <p:spPr>
            <a:xfrm>
              <a:off x="2241225" y="1712166"/>
              <a:ext cx="163" cy="14"/>
            </a:xfrm>
            <a:custGeom>
              <a:avLst/>
              <a:gdLst/>
              <a:ahLst/>
              <a:cxnLst/>
              <a:rect l="l" t="t" r="r" b="b"/>
              <a:pathLst>
                <a:path w="12" h="1" extrusionOk="0">
                  <a:moveTo>
                    <a:pt x="11" y="0"/>
                  </a:moveTo>
                  <a:lnTo>
                    <a:pt x="11" y="0"/>
                  </a:lnTo>
                  <a:lnTo>
                    <a:pt x="1"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682" name="Google Shape;5682;p104"/>
            <p:cNvSpPr/>
            <p:nvPr/>
          </p:nvSpPr>
          <p:spPr>
            <a:xfrm>
              <a:off x="2239379" y="1712682"/>
              <a:ext cx="149" cy="109"/>
            </a:xfrm>
            <a:custGeom>
              <a:avLst/>
              <a:gdLst/>
              <a:ahLst/>
              <a:cxnLst/>
              <a:rect l="l" t="t" r="r" b="b"/>
              <a:pathLst>
                <a:path w="11" h="8" extrusionOk="0">
                  <a:moveTo>
                    <a:pt x="11" y="1"/>
                  </a:moveTo>
                  <a:lnTo>
                    <a:pt x="0" y="8"/>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683" name="Google Shape;5683;p104"/>
            <p:cNvSpPr/>
            <p:nvPr/>
          </p:nvSpPr>
          <p:spPr>
            <a:xfrm>
              <a:off x="2240044" y="1712397"/>
              <a:ext cx="244" cy="68"/>
            </a:xfrm>
            <a:custGeom>
              <a:avLst/>
              <a:gdLst/>
              <a:ahLst/>
              <a:cxnLst/>
              <a:rect l="l" t="t" r="r" b="b"/>
              <a:pathLst>
                <a:path w="18" h="5" extrusionOk="0">
                  <a:moveTo>
                    <a:pt x="18"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684" name="Google Shape;5684;p104"/>
            <p:cNvSpPr/>
            <p:nvPr/>
          </p:nvSpPr>
          <p:spPr>
            <a:xfrm>
              <a:off x="2227159" y="1714067"/>
              <a:ext cx="149" cy="54"/>
            </a:xfrm>
            <a:custGeom>
              <a:avLst/>
              <a:gdLst/>
              <a:ahLst/>
              <a:cxnLst/>
              <a:rect l="l" t="t" r="r" b="b"/>
              <a:pathLst>
                <a:path w="11" h="4" extrusionOk="0">
                  <a:moveTo>
                    <a:pt x="11"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685" name="Google Shape;5685;p104"/>
            <p:cNvSpPr/>
            <p:nvPr/>
          </p:nvSpPr>
          <p:spPr>
            <a:xfrm>
              <a:off x="2239800" y="1712492"/>
              <a:ext cx="163" cy="68"/>
            </a:xfrm>
            <a:custGeom>
              <a:avLst/>
              <a:gdLst/>
              <a:ahLst/>
              <a:cxnLst/>
              <a:rect l="l" t="t" r="r" b="b"/>
              <a:pathLst>
                <a:path w="12" h="5" extrusionOk="0">
                  <a:moveTo>
                    <a:pt x="11" y="1"/>
                  </a:moveTo>
                  <a:lnTo>
                    <a:pt x="1" y="4"/>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686" name="Google Shape;5686;p104"/>
            <p:cNvSpPr/>
            <p:nvPr/>
          </p:nvSpPr>
          <p:spPr>
            <a:xfrm>
              <a:off x="2239569" y="1712587"/>
              <a:ext cx="149" cy="68"/>
            </a:xfrm>
            <a:custGeom>
              <a:avLst/>
              <a:gdLst/>
              <a:ahLst/>
              <a:cxnLst/>
              <a:rect l="l" t="t" r="r" b="b"/>
              <a:pathLst>
                <a:path w="11" h="5" extrusionOk="0">
                  <a:moveTo>
                    <a:pt x="11"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687" name="Google Shape;5687;p104"/>
            <p:cNvSpPr/>
            <p:nvPr/>
          </p:nvSpPr>
          <p:spPr>
            <a:xfrm>
              <a:off x="2223873" y="1713822"/>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688" name="Google Shape;5688;p104"/>
            <p:cNvSpPr/>
            <p:nvPr/>
          </p:nvSpPr>
          <p:spPr>
            <a:xfrm>
              <a:off x="2218320" y="1714067"/>
              <a:ext cx="394" cy="14"/>
            </a:xfrm>
            <a:custGeom>
              <a:avLst/>
              <a:gdLst/>
              <a:ahLst/>
              <a:cxnLst/>
              <a:rect l="l" t="t" r="r" b="b"/>
              <a:pathLst>
                <a:path w="29" h="1" extrusionOk="0">
                  <a:moveTo>
                    <a:pt x="0" y="0"/>
                  </a:moveTo>
                  <a:lnTo>
                    <a:pt x="28"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689" name="Google Shape;5689;p104"/>
            <p:cNvSpPr/>
            <p:nvPr/>
          </p:nvSpPr>
          <p:spPr>
            <a:xfrm>
              <a:off x="2221742" y="1713822"/>
              <a:ext cx="394" cy="14"/>
            </a:xfrm>
            <a:custGeom>
              <a:avLst/>
              <a:gdLst/>
              <a:ahLst/>
              <a:cxnLst/>
              <a:rect l="l" t="t" r="r" b="b"/>
              <a:pathLst>
                <a:path w="29" h="1" extrusionOk="0">
                  <a:moveTo>
                    <a:pt x="28"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690" name="Google Shape;5690;p104"/>
            <p:cNvSpPr/>
            <p:nvPr/>
          </p:nvSpPr>
          <p:spPr>
            <a:xfrm>
              <a:off x="2236188" y="1713157"/>
              <a:ext cx="3245" cy="2349"/>
            </a:xfrm>
            <a:custGeom>
              <a:avLst/>
              <a:gdLst/>
              <a:ahLst/>
              <a:cxnLst/>
              <a:rect l="l" t="t" r="r" b="b"/>
              <a:pathLst>
                <a:path w="239" h="173" extrusionOk="0">
                  <a:moveTo>
                    <a:pt x="1" y="172"/>
                  </a:moveTo>
                  <a:cubicBezTo>
                    <a:pt x="102" y="165"/>
                    <a:pt x="179" y="130"/>
                    <a:pt x="214" y="78"/>
                  </a:cubicBezTo>
                  <a:cubicBezTo>
                    <a:pt x="232" y="53"/>
                    <a:pt x="239" y="29"/>
                    <a:pt x="239" y="1"/>
                  </a:cubicBezTo>
                  <a:cubicBezTo>
                    <a:pt x="239" y="29"/>
                    <a:pt x="232" y="53"/>
                    <a:pt x="214" y="78"/>
                  </a:cubicBezTo>
                  <a:cubicBezTo>
                    <a:pt x="179" y="130"/>
                    <a:pt x="102" y="165"/>
                    <a:pt x="1" y="172"/>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691" name="Google Shape;5691;p104"/>
            <p:cNvSpPr/>
            <p:nvPr/>
          </p:nvSpPr>
          <p:spPr>
            <a:xfrm>
              <a:off x="2218985" y="1713972"/>
              <a:ext cx="625" cy="54"/>
            </a:xfrm>
            <a:custGeom>
              <a:avLst/>
              <a:gdLst/>
              <a:ahLst/>
              <a:cxnLst/>
              <a:rect l="l" t="t" r="r" b="b"/>
              <a:pathLst>
                <a:path w="46" h="4" extrusionOk="0">
                  <a:moveTo>
                    <a:pt x="46" y="0"/>
                  </a:moveTo>
                  <a:lnTo>
                    <a:pt x="0" y="4"/>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692" name="Google Shape;5692;p104"/>
            <p:cNvSpPr/>
            <p:nvPr/>
          </p:nvSpPr>
          <p:spPr>
            <a:xfrm>
              <a:off x="2219977" y="1713917"/>
              <a:ext cx="543" cy="14"/>
            </a:xfrm>
            <a:custGeom>
              <a:avLst/>
              <a:gdLst/>
              <a:ahLst/>
              <a:cxnLst/>
              <a:rect l="l" t="t" r="r" b="b"/>
              <a:pathLst>
                <a:path w="40" h="1" extrusionOk="0">
                  <a:moveTo>
                    <a:pt x="39"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693" name="Google Shape;5693;p104"/>
            <p:cNvSpPr/>
            <p:nvPr/>
          </p:nvSpPr>
          <p:spPr>
            <a:xfrm>
              <a:off x="2220886" y="1713876"/>
              <a:ext cx="489" cy="14"/>
            </a:xfrm>
            <a:custGeom>
              <a:avLst/>
              <a:gdLst/>
              <a:ahLst/>
              <a:cxnLst/>
              <a:rect l="l" t="t" r="r" b="b"/>
              <a:pathLst>
                <a:path w="36" h="1" extrusionOk="0">
                  <a:moveTo>
                    <a:pt x="35"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694" name="Google Shape;5694;p104"/>
            <p:cNvSpPr/>
            <p:nvPr/>
          </p:nvSpPr>
          <p:spPr>
            <a:xfrm>
              <a:off x="2206005" y="1719905"/>
              <a:ext cx="679" cy="68"/>
            </a:xfrm>
            <a:custGeom>
              <a:avLst/>
              <a:gdLst/>
              <a:ahLst/>
              <a:cxnLst/>
              <a:rect l="l" t="t" r="r" b="b"/>
              <a:pathLst>
                <a:path w="50" h="5" extrusionOk="0">
                  <a:moveTo>
                    <a:pt x="15" y="1"/>
                  </a:moveTo>
                  <a:lnTo>
                    <a:pt x="1" y="4"/>
                  </a:lnTo>
                  <a:cubicBezTo>
                    <a:pt x="18" y="4"/>
                    <a:pt x="32" y="1"/>
                    <a:pt x="50" y="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695" name="Google Shape;5695;p104"/>
            <p:cNvSpPr/>
            <p:nvPr/>
          </p:nvSpPr>
          <p:spPr>
            <a:xfrm>
              <a:off x="2202923" y="1719973"/>
              <a:ext cx="1480" cy="41"/>
            </a:xfrm>
            <a:custGeom>
              <a:avLst/>
              <a:gdLst/>
              <a:ahLst/>
              <a:cxnLst/>
              <a:rect l="l" t="t" r="r" b="b"/>
              <a:pathLst>
                <a:path w="109" h="3" extrusionOk="0">
                  <a:moveTo>
                    <a:pt x="54" y="0"/>
                  </a:moveTo>
                  <a:cubicBezTo>
                    <a:pt x="36" y="0"/>
                    <a:pt x="18" y="1"/>
                    <a:pt x="0" y="3"/>
                  </a:cubicBezTo>
                  <a:lnTo>
                    <a:pt x="109" y="3"/>
                  </a:lnTo>
                  <a:cubicBezTo>
                    <a:pt x="91" y="1"/>
                    <a:pt x="73" y="0"/>
                    <a:pt x="54"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696" name="Google Shape;5696;p104"/>
            <p:cNvSpPr/>
            <p:nvPr/>
          </p:nvSpPr>
          <p:spPr>
            <a:xfrm>
              <a:off x="2205204" y="1719959"/>
              <a:ext cx="625" cy="14"/>
            </a:xfrm>
            <a:custGeom>
              <a:avLst/>
              <a:gdLst/>
              <a:ahLst/>
              <a:cxnLst/>
              <a:rect l="l" t="t" r="r" b="b"/>
              <a:pathLst>
                <a:path w="46" h="1" extrusionOk="0">
                  <a:moveTo>
                    <a:pt x="25" y="0"/>
                  </a:moveTo>
                  <a:lnTo>
                    <a:pt x="46" y="0"/>
                  </a:lnTo>
                  <a:lnTo>
                    <a:pt x="0"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697" name="Google Shape;5697;p104"/>
            <p:cNvSpPr/>
            <p:nvPr/>
          </p:nvSpPr>
          <p:spPr>
            <a:xfrm>
              <a:off x="2206725" y="1719715"/>
              <a:ext cx="720" cy="163"/>
            </a:xfrm>
            <a:custGeom>
              <a:avLst/>
              <a:gdLst/>
              <a:ahLst/>
              <a:cxnLst/>
              <a:rect l="l" t="t" r="r" b="b"/>
              <a:pathLst>
                <a:path w="53" h="12" extrusionOk="0">
                  <a:moveTo>
                    <a:pt x="53" y="1"/>
                  </a:moveTo>
                  <a:cubicBezTo>
                    <a:pt x="35" y="4"/>
                    <a:pt x="18" y="8"/>
                    <a:pt x="0" y="11"/>
                  </a:cubicBezTo>
                  <a:cubicBezTo>
                    <a:pt x="18" y="8"/>
                    <a:pt x="35" y="4"/>
                    <a:pt x="53" y="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698" name="Google Shape;5698;p104"/>
            <p:cNvSpPr/>
            <p:nvPr/>
          </p:nvSpPr>
          <p:spPr>
            <a:xfrm>
              <a:off x="2285094" y="1766163"/>
              <a:ext cx="11622" cy="5675"/>
            </a:xfrm>
            <a:custGeom>
              <a:avLst/>
              <a:gdLst/>
              <a:ahLst/>
              <a:cxnLst/>
              <a:rect l="l" t="t" r="r" b="b"/>
              <a:pathLst>
                <a:path w="856" h="418" extrusionOk="0">
                  <a:moveTo>
                    <a:pt x="855" y="0"/>
                  </a:moveTo>
                  <a:cubicBezTo>
                    <a:pt x="680" y="60"/>
                    <a:pt x="502" y="95"/>
                    <a:pt x="320" y="102"/>
                  </a:cubicBezTo>
                  <a:cubicBezTo>
                    <a:pt x="134" y="112"/>
                    <a:pt x="33" y="182"/>
                    <a:pt x="19" y="245"/>
                  </a:cubicBezTo>
                  <a:cubicBezTo>
                    <a:pt x="1" y="305"/>
                    <a:pt x="68" y="350"/>
                    <a:pt x="99" y="368"/>
                  </a:cubicBezTo>
                  <a:cubicBezTo>
                    <a:pt x="162" y="405"/>
                    <a:pt x="233" y="418"/>
                    <a:pt x="301" y="418"/>
                  </a:cubicBezTo>
                  <a:cubicBezTo>
                    <a:pt x="379" y="418"/>
                    <a:pt x="453" y="400"/>
                    <a:pt x="502" y="385"/>
                  </a:cubicBezTo>
                  <a:cubicBezTo>
                    <a:pt x="593" y="361"/>
                    <a:pt x="677" y="315"/>
                    <a:pt x="743" y="252"/>
                  </a:cubicBezTo>
                  <a:cubicBezTo>
                    <a:pt x="736" y="182"/>
                    <a:pt x="778" y="84"/>
                    <a:pt x="855"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699" name="Google Shape;5699;p104"/>
            <p:cNvSpPr/>
            <p:nvPr/>
          </p:nvSpPr>
          <p:spPr>
            <a:xfrm>
              <a:off x="1868957" y="1453664"/>
              <a:ext cx="77052" cy="36456"/>
            </a:xfrm>
            <a:custGeom>
              <a:avLst/>
              <a:gdLst/>
              <a:ahLst/>
              <a:cxnLst/>
              <a:rect l="l" t="t" r="r" b="b"/>
              <a:pathLst>
                <a:path w="5675" h="2685" extrusionOk="0">
                  <a:moveTo>
                    <a:pt x="4170" y="0"/>
                  </a:moveTo>
                  <a:cubicBezTo>
                    <a:pt x="4167" y="0"/>
                    <a:pt x="4165" y="1"/>
                    <a:pt x="4163" y="2"/>
                  </a:cubicBezTo>
                  <a:cubicBezTo>
                    <a:pt x="4135" y="12"/>
                    <a:pt x="4128" y="51"/>
                    <a:pt x="4135" y="142"/>
                  </a:cubicBezTo>
                  <a:cubicBezTo>
                    <a:pt x="4142" y="194"/>
                    <a:pt x="4142" y="247"/>
                    <a:pt x="4128" y="296"/>
                  </a:cubicBezTo>
                  <a:cubicBezTo>
                    <a:pt x="4109" y="351"/>
                    <a:pt x="4065" y="368"/>
                    <a:pt x="4015" y="368"/>
                  </a:cubicBezTo>
                  <a:cubicBezTo>
                    <a:pt x="3970" y="368"/>
                    <a:pt x="3920" y="355"/>
                    <a:pt x="3879" y="345"/>
                  </a:cubicBezTo>
                  <a:cubicBezTo>
                    <a:pt x="3858" y="338"/>
                    <a:pt x="3830" y="331"/>
                    <a:pt x="3806" y="327"/>
                  </a:cubicBezTo>
                  <a:cubicBezTo>
                    <a:pt x="3802" y="383"/>
                    <a:pt x="3767" y="429"/>
                    <a:pt x="3715" y="450"/>
                  </a:cubicBezTo>
                  <a:cubicBezTo>
                    <a:pt x="3699" y="455"/>
                    <a:pt x="3683" y="457"/>
                    <a:pt x="3667" y="457"/>
                  </a:cubicBezTo>
                  <a:cubicBezTo>
                    <a:pt x="3602" y="457"/>
                    <a:pt x="3532" y="418"/>
                    <a:pt x="3473" y="348"/>
                  </a:cubicBezTo>
                  <a:cubicBezTo>
                    <a:pt x="3450" y="322"/>
                    <a:pt x="3417" y="308"/>
                    <a:pt x="3381" y="308"/>
                  </a:cubicBezTo>
                  <a:cubicBezTo>
                    <a:pt x="3369" y="308"/>
                    <a:pt x="3356" y="310"/>
                    <a:pt x="3343" y="313"/>
                  </a:cubicBezTo>
                  <a:cubicBezTo>
                    <a:pt x="3319" y="317"/>
                    <a:pt x="3291" y="331"/>
                    <a:pt x="3273" y="352"/>
                  </a:cubicBezTo>
                  <a:cubicBezTo>
                    <a:pt x="3280" y="390"/>
                    <a:pt x="3263" y="429"/>
                    <a:pt x="3231" y="450"/>
                  </a:cubicBezTo>
                  <a:cubicBezTo>
                    <a:pt x="3216" y="460"/>
                    <a:pt x="3200" y="464"/>
                    <a:pt x="3183" y="464"/>
                  </a:cubicBezTo>
                  <a:cubicBezTo>
                    <a:pt x="3131" y="464"/>
                    <a:pt x="3065" y="424"/>
                    <a:pt x="2965" y="359"/>
                  </a:cubicBezTo>
                  <a:lnTo>
                    <a:pt x="2892" y="317"/>
                  </a:lnTo>
                  <a:cubicBezTo>
                    <a:pt x="2869" y="304"/>
                    <a:pt x="2845" y="298"/>
                    <a:pt x="2821" y="298"/>
                  </a:cubicBezTo>
                  <a:cubicBezTo>
                    <a:pt x="2791" y="298"/>
                    <a:pt x="2763" y="307"/>
                    <a:pt x="2738" y="324"/>
                  </a:cubicBezTo>
                  <a:cubicBezTo>
                    <a:pt x="2664" y="376"/>
                    <a:pt x="2622" y="464"/>
                    <a:pt x="2626" y="499"/>
                  </a:cubicBezTo>
                  <a:cubicBezTo>
                    <a:pt x="2643" y="618"/>
                    <a:pt x="2584" y="649"/>
                    <a:pt x="2559" y="660"/>
                  </a:cubicBezTo>
                  <a:cubicBezTo>
                    <a:pt x="2548" y="664"/>
                    <a:pt x="2537" y="666"/>
                    <a:pt x="2526" y="666"/>
                  </a:cubicBezTo>
                  <a:cubicBezTo>
                    <a:pt x="2454" y="666"/>
                    <a:pt x="2377" y="589"/>
                    <a:pt x="2286" y="429"/>
                  </a:cubicBezTo>
                  <a:cubicBezTo>
                    <a:pt x="2271" y="405"/>
                    <a:pt x="2240" y="355"/>
                    <a:pt x="2210" y="355"/>
                  </a:cubicBezTo>
                  <a:cubicBezTo>
                    <a:pt x="2205" y="355"/>
                    <a:pt x="2200" y="356"/>
                    <a:pt x="2195" y="359"/>
                  </a:cubicBezTo>
                  <a:cubicBezTo>
                    <a:pt x="2143" y="401"/>
                    <a:pt x="2125" y="471"/>
                    <a:pt x="2150" y="534"/>
                  </a:cubicBezTo>
                  <a:cubicBezTo>
                    <a:pt x="2220" y="656"/>
                    <a:pt x="2220" y="800"/>
                    <a:pt x="2153" y="863"/>
                  </a:cubicBezTo>
                  <a:cubicBezTo>
                    <a:pt x="2129" y="885"/>
                    <a:pt x="2098" y="897"/>
                    <a:pt x="2066" y="897"/>
                  </a:cubicBezTo>
                  <a:cubicBezTo>
                    <a:pt x="2038" y="897"/>
                    <a:pt x="2010" y="888"/>
                    <a:pt x="1985" y="870"/>
                  </a:cubicBezTo>
                  <a:cubicBezTo>
                    <a:pt x="1972" y="862"/>
                    <a:pt x="1957" y="858"/>
                    <a:pt x="1941" y="858"/>
                  </a:cubicBezTo>
                  <a:cubicBezTo>
                    <a:pt x="1865" y="858"/>
                    <a:pt x="1768" y="938"/>
                    <a:pt x="1719" y="1013"/>
                  </a:cubicBezTo>
                  <a:cubicBezTo>
                    <a:pt x="1701" y="1043"/>
                    <a:pt x="1665" y="1061"/>
                    <a:pt x="1629" y="1061"/>
                  </a:cubicBezTo>
                  <a:cubicBezTo>
                    <a:pt x="1623" y="1061"/>
                    <a:pt x="1617" y="1060"/>
                    <a:pt x="1611" y="1059"/>
                  </a:cubicBezTo>
                  <a:cubicBezTo>
                    <a:pt x="1512" y="1038"/>
                    <a:pt x="1414" y="866"/>
                    <a:pt x="1393" y="726"/>
                  </a:cubicBezTo>
                  <a:cubicBezTo>
                    <a:pt x="1376" y="618"/>
                    <a:pt x="1407" y="534"/>
                    <a:pt x="1481" y="488"/>
                  </a:cubicBezTo>
                  <a:cubicBezTo>
                    <a:pt x="1432" y="373"/>
                    <a:pt x="889" y="54"/>
                    <a:pt x="690" y="54"/>
                  </a:cubicBezTo>
                  <a:cubicBezTo>
                    <a:pt x="669" y="54"/>
                    <a:pt x="651" y="58"/>
                    <a:pt x="634" y="61"/>
                  </a:cubicBezTo>
                  <a:cubicBezTo>
                    <a:pt x="644" y="86"/>
                    <a:pt x="690" y="149"/>
                    <a:pt x="809" y="247"/>
                  </a:cubicBezTo>
                  <a:cubicBezTo>
                    <a:pt x="833" y="264"/>
                    <a:pt x="896" y="317"/>
                    <a:pt x="882" y="376"/>
                  </a:cubicBezTo>
                  <a:cubicBezTo>
                    <a:pt x="872" y="411"/>
                    <a:pt x="844" y="436"/>
                    <a:pt x="812" y="443"/>
                  </a:cubicBezTo>
                  <a:cubicBezTo>
                    <a:pt x="802" y="445"/>
                    <a:pt x="790" y="446"/>
                    <a:pt x="778" y="446"/>
                  </a:cubicBezTo>
                  <a:cubicBezTo>
                    <a:pt x="694" y="446"/>
                    <a:pt x="573" y="397"/>
                    <a:pt x="515" y="320"/>
                  </a:cubicBezTo>
                  <a:cubicBezTo>
                    <a:pt x="503" y="305"/>
                    <a:pt x="485" y="295"/>
                    <a:pt x="467" y="295"/>
                  </a:cubicBezTo>
                  <a:cubicBezTo>
                    <a:pt x="464" y="295"/>
                    <a:pt x="461" y="295"/>
                    <a:pt x="459" y="296"/>
                  </a:cubicBezTo>
                  <a:cubicBezTo>
                    <a:pt x="399" y="299"/>
                    <a:pt x="319" y="362"/>
                    <a:pt x="266" y="450"/>
                  </a:cubicBezTo>
                  <a:cubicBezTo>
                    <a:pt x="221" y="520"/>
                    <a:pt x="168" y="586"/>
                    <a:pt x="109" y="642"/>
                  </a:cubicBezTo>
                  <a:cubicBezTo>
                    <a:pt x="53" y="698"/>
                    <a:pt x="7" y="747"/>
                    <a:pt x="0" y="789"/>
                  </a:cubicBezTo>
                  <a:cubicBezTo>
                    <a:pt x="0" y="793"/>
                    <a:pt x="7" y="810"/>
                    <a:pt x="39" y="831"/>
                  </a:cubicBezTo>
                  <a:cubicBezTo>
                    <a:pt x="106" y="866"/>
                    <a:pt x="181" y="884"/>
                    <a:pt x="255" y="884"/>
                  </a:cubicBezTo>
                  <a:cubicBezTo>
                    <a:pt x="316" y="884"/>
                    <a:pt x="376" y="872"/>
                    <a:pt x="434" y="849"/>
                  </a:cubicBezTo>
                  <a:cubicBezTo>
                    <a:pt x="564" y="796"/>
                    <a:pt x="714" y="760"/>
                    <a:pt x="850" y="760"/>
                  </a:cubicBezTo>
                  <a:cubicBezTo>
                    <a:pt x="974" y="760"/>
                    <a:pt x="1088" y="790"/>
                    <a:pt x="1166" y="863"/>
                  </a:cubicBezTo>
                  <a:cubicBezTo>
                    <a:pt x="1201" y="887"/>
                    <a:pt x="1218" y="929"/>
                    <a:pt x="1215" y="971"/>
                  </a:cubicBezTo>
                  <a:cubicBezTo>
                    <a:pt x="1211" y="1038"/>
                    <a:pt x="1148" y="1076"/>
                    <a:pt x="1099" y="1112"/>
                  </a:cubicBezTo>
                  <a:cubicBezTo>
                    <a:pt x="1092" y="1119"/>
                    <a:pt x="1078" y="1126"/>
                    <a:pt x="1068" y="1133"/>
                  </a:cubicBezTo>
                  <a:cubicBezTo>
                    <a:pt x="1148" y="1199"/>
                    <a:pt x="1141" y="1259"/>
                    <a:pt x="1131" y="1290"/>
                  </a:cubicBezTo>
                  <a:cubicBezTo>
                    <a:pt x="1102" y="1362"/>
                    <a:pt x="1007" y="1401"/>
                    <a:pt x="845" y="1401"/>
                  </a:cubicBezTo>
                  <a:cubicBezTo>
                    <a:pt x="809" y="1401"/>
                    <a:pt x="770" y="1399"/>
                    <a:pt x="728" y="1395"/>
                  </a:cubicBezTo>
                  <a:cubicBezTo>
                    <a:pt x="693" y="1392"/>
                    <a:pt x="659" y="1391"/>
                    <a:pt x="625" y="1391"/>
                  </a:cubicBezTo>
                  <a:cubicBezTo>
                    <a:pt x="435" y="1391"/>
                    <a:pt x="268" y="1429"/>
                    <a:pt x="200" y="1465"/>
                  </a:cubicBezTo>
                  <a:cubicBezTo>
                    <a:pt x="308" y="1465"/>
                    <a:pt x="417" y="1458"/>
                    <a:pt x="525" y="1444"/>
                  </a:cubicBezTo>
                  <a:cubicBezTo>
                    <a:pt x="650" y="1428"/>
                    <a:pt x="739" y="1419"/>
                    <a:pt x="804" y="1419"/>
                  </a:cubicBezTo>
                  <a:cubicBezTo>
                    <a:pt x="869" y="1419"/>
                    <a:pt x="910" y="1428"/>
                    <a:pt x="938" y="1451"/>
                  </a:cubicBezTo>
                  <a:cubicBezTo>
                    <a:pt x="956" y="1465"/>
                    <a:pt x="966" y="1486"/>
                    <a:pt x="970" y="1511"/>
                  </a:cubicBezTo>
                  <a:lnTo>
                    <a:pt x="970" y="1542"/>
                  </a:lnTo>
                  <a:cubicBezTo>
                    <a:pt x="970" y="1581"/>
                    <a:pt x="977" y="1658"/>
                    <a:pt x="998" y="1672"/>
                  </a:cubicBezTo>
                  <a:cubicBezTo>
                    <a:pt x="1001" y="1674"/>
                    <a:pt x="1006" y="1676"/>
                    <a:pt x="1014" y="1676"/>
                  </a:cubicBezTo>
                  <a:cubicBezTo>
                    <a:pt x="1026" y="1676"/>
                    <a:pt x="1046" y="1672"/>
                    <a:pt x="1071" y="1661"/>
                  </a:cubicBezTo>
                  <a:cubicBezTo>
                    <a:pt x="1098" y="1650"/>
                    <a:pt x="1132" y="1638"/>
                    <a:pt x="1166" y="1638"/>
                  </a:cubicBezTo>
                  <a:cubicBezTo>
                    <a:pt x="1187" y="1638"/>
                    <a:pt x="1207" y="1642"/>
                    <a:pt x="1225" y="1654"/>
                  </a:cubicBezTo>
                  <a:cubicBezTo>
                    <a:pt x="1274" y="1686"/>
                    <a:pt x="1278" y="1749"/>
                    <a:pt x="1281" y="1794"/>
                  </a:cubicBezTo>
                  <a:cubicBezTo>
                    <a:pt x="1278" y="1812"/>
                    <a:pt x="1281" y="1829"/>
                    <a:pt x="1285" y="1847"/>
                  </a:cubicBezTo>
                  <a:cubicBezTo>
                    <a:pt x="1351" y="1875"/>
                    <a:pt x="1386" y="1948"/>
                    <a:pt x="1372" y="2018"/>
                  </a:cubicBezTo>
                  <a:cubicBezTo>
                    <a:pt x="1358" y="2106"/>
                    <a:pt x="1271" y="2211"/>
                    <a:pt x="1075" y="2221"/>
                  </a:cubicBezTo>
                  <a:cubicBezTo>
                    <a:pt x="900" y="2232"/>
                    <a:pt x="844" y="2256"/>
                    <a:pt x="826" y="2267"/>
                  </a:cubicBezTo>
                  <a:cubicBezTo>
                    <a:pt x="830" y="2274"/>
                    <a:pt x="837" y="2281"/>
                    <a:pt x="844" y="2288"/>
                  </a:cubicBezTo>
                  <a:cubicBezTo>
                    <a:pt x="880" y="2325"/>
                    <a:pt x="935" y="2339"/>
                    <a:pt x="1003" y="2339"/>
                  </a:cubicBezTo>
                  <a:cubicBezTo>
                    <a:pt x="1107" y="2339"/>
                    <a:pt x="1239" y="2306"/>
                    <a:pt x="1369" y="2274"/>
                  </a:cubicBezTo>
                  <a:lnTo>
                    <a:pt x="1477" y="2246"/>
                  </a:lnTo>
                  <a:cubicBezTo>
                    <a:pt x="1505" y="2239"/>
                    <a:pt x="1537" y="2235"/>
                    <a:pt x="1565" y="2235"/>
                  </a:cubicBezTo>
                  <a:cubicBezTo>
                    <a:pt x="1754" y="2235"/>
                    <a:pt x="1971" y="2358"/>
                    <a:pt x="2181" y="2477"/>
                  </a:cubicBezTo>
                  <a:cubicBezTo>
                    <a:pt x="2286" y="2540"/>
                    <a:pt x="2398" y="2596"/>
                    <a:pt x="2510" y="2645"/>
                  </a:cubicBezTo>
                  <a:cubicBezTo>
                    <a:pt x="2579" y="2672"/>
                    <a:pt x="2662" y="2684"/>
                    <a:pt x="2748" y="2684"/>
                  </a:cubicBezTo>
                  <a:cubicBezTo>
                    <a:pt x="2903" y="2684"/>
                    <a:pt x="3071" y="2646"/>
                    <a:pt x="3196" y="2592"/>
                  </a:cubicBezTo>
                  <a:cubicBezTo>
                    <a:pt x="3308" y="2543"/>
                    <a:pt x="3361" y="2494"/>
                    <a:pt x="3371" y="2463"/>
                  </a:cubicBezTo>
                  <a:cubicBezTo>
                    <a:pt x="3420" y="2333"/>
                    <a:pt x="3599" y="2309"/>
                    <a:pt x="3774" y="2284"/>
                  </a:cubicBezTo>
                  <a:cubicBezTo>
                    <a:pt x="3890" y="2267"/>
                    <a:pt x="4009" y="2253"/>
                    <a:pt x="4075" y="2207"/>
                  </a:cubicBezTo>
                  <a:cubicBezTo>
                    <a:pt x="4275" y="2071"/>
                    <a:pt x="4520" y="1931"/>
                    <a:pt x="4842" y="1913"/>
                  </a:cubicBezTo>
                  <a:lnTo>
                    <a:pt x="4849" y="1917"/>
                  </a:lnTo>
                  <a:cubicBezTo>
                    <a:pt x="4999" y="1910"/>
                    <a:pt x="5055" y="1808"/>
                    <a:pt x="5111" y="1714"/>
                  </a:cubicBezTo>
                  <a:cubicBezTo>
                    <a:pt x="5150" y="1646"/>
                    <a:pt x="5192" y="1569"/>
                    <a:pt x="5273" y="1569"/>
                  </a:cubicBezTo>
                  <a:cubicBezTo>
                    <a:pt x="5280" y="1569"/>
                    <a:pt x="5286" y="1569"/>
                    <a:pt x="5293" y="1570"/>
                  </a:cubicBezTo>
                  <a:cubicBezTo>
                    <a:pt x="5295" y="1570"/>
                    <a:pt x="5296" y="1570"/>
                    <a:pt x="5297" y="1570"/>
                  </a:cubicBezTo>
                  <a:cubicBezTo>
                    <a:pt x="5373" y="1570"/>
                    <a:pt x="5558" y="1378"/>
                    <a:pt x="5647" y="1199"/>
                  </a:cubicBezTo>
                  <a:cubicBezTo>
                    <a:pt x="5675" y="1147"/>
                    <a:pt x="5661" y="1055"/>
                    <a:pt x="5612" y="975"/>
                  </a:cubicBezTo>
                  <a:cubicBezTo>
                    <a:pt x="5563" y="894"/>
                    <a:pt x="5489" y="845"/>
                    <a:pt x="5423" y="845"/>
                  </a:cubicBezTo>
                  <a:cubicBezTo>
                    <a:pt x="5297" y="845"/>
                    <a:pt x="5174" y="786"/>
                    <a:pt x="5097" y="684"/>
                  </a:cubicBezTo>
                  <a:cubicBezTo>
                    <a:pt x="5055" y="628"/>
                    <a:pt x="5041" y="555"/>
                    <a:pt x="5062" y="488"/>
                  </a:cubicBezTo>
                  <a:cubicBezTo>
                    <a:pt x="5076" y="450"/>
                    <a:pt x="5045" y="387"/>
                    <a:pt x="5013" y="331"/>
                  </a:cubicBezTo>
                  <a:cubicBezTo>
                    <a:pt x="4989" y="289"/>
                    <a:pt x="4971" y="243"/>
                    <a:pt x="4964" y="198"/>
                  </a:cubicBezTo>
                  <a:cubicBezTo>
                    <a:pt x="4877" y="208"/>
                    <a:pt x="4789" y="226"/>
                    <a:pt x="4709" y="250"/>
                  </a:cubicBezTo>
                  <a:lnTo>
                    <a:pt x="4670" y="257"/>
                  </a:lnTo>
                  <a:cubicBezTo>
                    <a:pt x="4659" y="260"/>
                    <a:pt x="4647" y="262"/>
                    <a:pt x="4636" y="262"/>
                  </a:cubicBezTo>
                  <a:cubicBezTo>
                    <a:pt x="4553" y="262"/>
                    <a:pt x="4461" y="191"/>
                    <a:pt x="4366" y="121"/>
                  </a:cubicBezTo>
                  <a:cubicBezTo>
                    <a:pt x="4314" y="79"/>
                    <a:pt x="4208" y="0"/>
                    <a:pt x="4170"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700" name="Google Shape;5700;p104"/>
            <p:cNvSpPr/>
            <p:nvPr/>
          </p:nvSpPr>
          <p:spPr>
            <a:xfrm>
              <a:off x="1971712" y="1589955"/>
              <a:ext cx="30821" cy="28486"/>
            </a:xfrm>
            <a:custGeom>
              <a:avLst/>
              <a:gdLst/>
              <a:ahLst/>
              <a:cxnLst/>
              <a:rect l="l" t="t" r="r" b="b"/>
              <a:pathLst>
                <a:path w="2270" h="2098" extrusionOk="0">
                  <a:moveTo>
                    <a:pt x="1160" y="1"/>
                  </a:moveTo>
                  <a:cubicBezTo>
                    <a:pt x="1111" y="29"/>
                    <a:pt x="1058" y="50"/>
                    <a:pt x="1002" y="60"/>
                  </a:cubicBezTo>
                  <a:cubicBezTo>
                    <a:pt x="918" y="78"/>
                    <a:pt x="838" y="109"/>
                    <a:pt x="764" y="155"/>
                  </a:cubicBezTo>
                  <a:cubicBezTo>
                    <a:pt x="706" y="197"/>
                    <a:pt x="646" y="210"/>
                    <a:pt x="588" y="210"/>
                  </a:cubicBezTo>
                  <a:cubicBezTo>
                    <a:pt x="525" y="210"/>
                    <a:pt x="464" y="194"/>
                    <a:pt x="407" y="179"/>
                  </a:cubicBezTo>
                  <a:cubicBezTo>
                    <a:pt x="353" y="164"/>
                    <a:pt x="303" y="150"/>
                    <a:pt x="256" y="150"/>
                  </a:cubicBezTo>
                  <a:cubicBezTo>
                    <a:pt x="227" y="150"/>
                    <a:pt x="199" y="155"/>
                    <a:pt x="172" y="169"/>
                  </a:cubicBezTo>
                  <a:lnTo>
                    <a:pt x="158" y="176"/>
                  </a:lnTo>
                  <a:cubicBezTo>
                    <a:pt x="172" y="193"/>
                    <a:pt x="186" y="211"/>
                    <a:pt x="200" y="225"/>
                  </a:cubicBezTo>
                  <a:cubicBezTo>
                    <a:pt x="260" y="291"/>
                    <a:pt x="369" y="414"/>
                    <a:pt x="260" y="561"/>
                  </a:cubicBezTo>
                  <a:cubicBezTo>
                    <a:pt x="218" y="624"/>
                    <a:pt x="218" y="645"/>
                    <a:pt x="218" y="652"/>
                  </a:cubicBezTo>
                  <a:cubicBezTo>
                    <a:pt x="221" y="669"/>
                    <a:pt x="274" y="704"/>
                    <a:pt x="323" y="736"/>
                  </a:cubicBezTo>
                  <a:cubicBezTo>
                    <a:pt x="383" y="774"/>
                    <a:pt x="442" y="816"/>
                    <a:pt x="498" y="858"/>
                  </a:cubicBezTo>
                  <a:cubicBezTo>
                    <a:pt x="568" y="914"/>
                    <a:pt x="603" y="967"/>
                    <a:pt x="603" y="1026"/>
                  </a:cubicBezTo>
                  <a:cubicBezTo>
                    <a:pt x="607" y="1107"/>
                    <a:pt x="544" y="1159"/>
                    <a:pt x="488" y="1212"/>
                  </a:cubicBezTo>
                  <a:cubicBezTo>
                    <a:pt x="428" y="1264"/>
                    <a:pt x="379" y="1310"/>
                    <a:pt x="379" y="1373"/>
                  </a:cubicBezTo>
                  <a:cubicBezTo>
                    <a:pt x="379" y="1541"/>
                    <a:pt x="242" y="1608"/>
                    <a:pt x="144" y="1657"/>
                  </a:cubicBezTo>
                  <a:cubicBezTo>
                    <a:pt x="81" y="1688"/>
                    <a:pt x="25" y="1716"/>
                    <a:pt x="8" y="1755"/>
                  </a:cubicBezTo>
                  <a:cubicBezTo>
                    <a:pt x="1" y="1769"/>
                    <a:pt x="4" y="1800"/>
                    <a:pt x="36" y="1846"/>
                  </a:cubicBezTo>
                  <a:cubicBezTo>
                    <a:pt x="116" y="1968"/>
                    <a:pt x="316" y="2098"/>
                    <a:pt x="491" y="2098"/>
                  </a:cubicBezTo>
                  <a:cubicBezTo>
                    <a:pt x="673" y="2098"/>
                    <a:pt x="1128" y="1975"/>
                    <a:pt x="1391" y="1727"/>
                  </a:cubicBezTo>
                  <a:cubicBezTo>
                    <a:pt x="1512" y="1615"/>
                    <a:pt x="1615" y="1587"/>
                    <a:pt x="1706" y="1587"/>
                  </a:cubicBezTo>
                  <a:cubicBezTo>
                    <a:pt x="1752" y="1587"/>
                    <a:pt x="1795" y="1594"/>
                    <a:pt x="1835" y="1601"/>
                  </a:cubicBezTo>
                  <a:cubicBezTo>
                    <a:pt x="1874" y="1607"/>
                    <a:pt x="1909" y="1613"/>
                    <a:pt x="1944" y="1613"/>
                  </a:cubicBezTo>
                  <a:cubicBezTo>
                    <a:pt x="1987" y="1613"/>
                    <a:pt x="2029" y="1604"/>
                    <a:pt x="2077" y="1580"/>
                  </a:cubicBezTo>
                  <a:cubicBezTo>
                    <a:pt x="2269" y="1482"/>
                    <a:pt x="2147" y="596"/>
                    <a:pt x="2049" y="400"/>
                  </a:cubicBezTo>
                  <a:cubicBezTo>
                    <a:pt x="2035" y="372"/>
                    <a:pt x="2028" y="344"/>
                    <a:pt x="2028" y="312"/>
                  </a:cubicBezTo>
                  <a:lnTo>
                    <a:pt x="2014" y="302"/>
                  </a:lnTo>
                  <a:lnTo>
                    <a:pt x="1993" y="284"/>
                  </a:lnTo>
                  <a:lnTo>
                    <a:pt x="1961" y="260"/>
                  </a:lnTo>
                  <a:lnTo>
                    <a:pt x="1944" y="242"/>
                  </a:lnTo>
                  <a:lnTo>
                    <a:pt x="1916" y="218"/>
                  </a:lnTo>
                  <a:lnTo>
                    <a:pt x="1902" y="204"/>
                  </a:lnTo>
                  <a:cubicBezTo>
                    <a:pt x="1891" y="190"/>
                    <a:pt x="1877" y="176"/>
                    <a:pt x="1867" y="162"/>
                  </a:cubicBezTo>
                  <a:cubicBezTo>
                    <a:pt x="1805" y="93"/>
                    <a:pt x="1761" y="70"/>
                    <a:pt x="1739" y="70"/>
                  </a:cubicBezTo>
                  <a:cubicBezTo>
                    <a:pt x="1737" y="70"/>
                    <a:pt x="1735" y="70"/>
                    <a:pt x="1734" y="71"/>
                  </a:cubicBezTo>
                  <a:cubicBezTo>
                    <a:pt x="1713" y="78"/>
                    <a:pt x="1678" y="134"/>
                    <a:pt x="1664" y="228"/>
                  </a:cubicBezTo>
                  <a:cubicBezTo>
                    <a:pt x="1657" y="270"/>
                    <a:pt x="1632" y="309"/>
                    <a:pt x="1597" y="326"/>
                  </a:cubicBezTo>
                  <a:cubicBezTo>
                    <a:pt x="1580" y="334"/>
                    <a:pt x="1563" y="337"/>
                    <a:pt x="1546" y="337"/>
                  </a:cubicBezTo>
                  <a:cubicBezTo>
                    <a:pt x="1490" y="337"/>
                    <a:pt x="1430" y="304"/>
                    <a:pt x="1366" y="267"/>
                  </a:cubicBezTo>
                  <a:cubicBezTo>
                    <a:pt x="1328" y="242"/>
                    <a:pt x="1286" y="225"/>
                    <a:pt x="1244" y="211"/>
                  </a:cubicBezTo>
                  <a:cubicBezTo>
                    <a:pt x="1195" y="204"/>
                    <a:pt x="1156" y="165"/>
                    <a:pt x="1149" y="120"/>
                  </a:cubicBezTo>
                  <a:cubicBezTo>
                    <a:pt x="1146" y="113"/>
                    <a:pt x="1146" y="102"/>
                    <a:pt x="1146" y="95"/>
                  </a:cubicBezTo>
                  <a:lnTo>
                    <a:pt x="1146" y="85"/>
                  </a:lnTo>
                  <a:cubicBezTo>
                    <a:pt x="1146" y="81"/>
                    <a:pt x="1146" y="74"/>
                    <a:pt x="1146" y="67"/>
                  </a:cubicBezTo>
                  <a:lnTo>
                    <a:pt x="1146" y="57"/>
                  </a:lnTo>
                  <a:cubicBezTo>
                    <a:pt x="1146" y="53"/>
                    <a:pt x="1149" y="43"/>
                    <a:pt x="1149" y="36"/>
                  </a:cubicBezTo>
                  <a:lnTo>
                    <a:pt x="1153" y="29"/>
                  </a:lnTo>
                  <a:cubicBezTo>
                    <a:pt x="1156" y="18"/>
                    <a:pt x="1156" y="11"/>
                    <a:pt x="1160" y="4"/>
                  </a:cubicBezTo>
                  <a:lnTo>
                    <a:pt x="1160"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701" name="Google Shape;5701;p104"/>
            <p:cNvSpPr/>
            <p:nvPr/>
          </p:nvSpPr>
          <p:spPr>
            <a:xfrm>
              <a:off x="1984936" y="1583342"/>
              <a:ext cx="6422" cy="5010"/>
            </a:xfrm>
            <a:custGeom>
              <a:avLst/>
              <a:gdLst/>
              <a:ahLst/>
              <a:cxnLst/>
              <a:rect l="l" t="t" r="r" b="b"/>
              <a:pathLst>
                <a:path w="473" h="369" extrusionOk="0">
                  <a:moveTo>
                    <a:pt x="180" y="0"/>
                  </a:moveTo>
                  <a:cubicBezTo>
                    <a:pt x="134" y="0"/>
                    <a:pt x="86" y="11"/>
                    <a:pt x="46" y="36"/>
                  </a:cubicBezTo>
                  <a:cubicBezTo>
                    <a:pt x="18" y="50"/>
                    <a:pt x="4" y="78"/>
                    <a:pt x="4" y="106"/>
                  </a:cubicBezTo>
                  <a:cubicBezTo>
                    <a:pt x="0" y="166"/>
                    <a:pt x="28" y="180"/>
                    <a:pt x="105" y="208"/>
                  </a:cubicBezTo>
                  <a:cubicBezTo>
                    <a:pt x="165" y="229"/>
                    <a:pt x="256" y="260"/>
                    <a:pt x="263" y="358"/>
                  </a:cubicBezTo>
                  <a:lnTo>
                    <a:pt x="263" y="369"/>
                  </a:lnTo>
                  <a:cubicBezTo>
                    <a:pt x="273" y="358"/>
                    <a:pt x="280" y="348"/>
                    <a:pt x="291" y="337"/>
                  </a:cubicBezTo>
                  <a:cubicBezTo>
                    <a:pt x="298" y="327"/>
                    <a:pt x="305" y="316"/>
                    <a:pt x="315" y="309"/>
                  </a:cubicBezTo>
                  <a:lnTo>
                    <a:pt x="319" y="306"/>
                  </a:lnTo>
                  <a:cubicBezTo>
                    <a:pt x="326" y="295"/>
                    <a:pt x="333" y="288"/>
                    <a:pt x="340" y="281"/>
                  </a:cubicBezTo>
                  <a:lnTo>
                    <a:pt x="347" y="278"/>
                  </a:lnTo>
                  <a:cubicBezTo>
                    <a:pt x="354" y="271"/>
                    <a:pt x="361" y="267"/>
                    <a:pt x="364" y="260"/>
                  </a:cubicBezTo>
                  <a:cubicBezTo>
                    <a:pt x="371" y="257"/>
                    <a:pt x="375" y="253"/>
                    <a:pt x="378" y="250"/>
                  </a:cubicBezTo>
                  <a:lnTo>
                    <a:pt x="385" y="243"/>
                  </a:lnTo>
                  <a:lnTo>
                    <a:pt x="392" y="232"/>
                  </a:lnTo>
                  <a:lnTo>
                    <a:pt x="399" y="225"/>
                  </a:lnTo>
                  <a:lnTo>
                    <a:pt x="410" y="208"/>
                  </a:lnTo>
                  <a:lnTo>
                    <a:pt x="413" y="201"/>
                  </a:lnTo>
                  <a:lnTo>
                    <a:pt x="424" y="180"/>
                  </a:lnTo>
                  <a:lnTo>
                    <a:pt x="431" y="169"/>
                  </a:lnTo>
                  <a:cubicBezTo>
                    <a:pt x="434" y="159"/>
                    <a:pt x="438" y="152"/>
                    <a:pt x="441" y="141"/>
                  </a:cubicBezTo>
                  <a:lnTo>
                    <a:pt x="445" y="134"/>
                  </a:lnTo>
                  <a:cubicBezTo>
                    <a:pt x="452" y="124"/>
                    <a:pt x="455" y="110"/>
                    <a:pt x="459" y="96"/>
                  </a:cubicBezTo>
                  <a:lnTo>
                    <a:pt x="462" y="85"/>
                  </a:lnTo>
                  <a:cubicBezTo>
                    <a:pt x="466" y="75"/>
                    <a:pt x="469" y="68"/>
                    <a:pt x="473" y="57"/>
                  </a:cubicBezTo>
                  <a:lnTo>
                    <a:pt x="462" y="54"/>
                  </a:lnTo>
                  <a:cubicBezTo>
                    <a:pt x="378" y="19"/>
                    <a:pt x="291" y="1"/>
                    <a:pt x="200" y="1"/>
                  </a:cubicBezTo>
                  <a:cubicBezTo>
                    <a:pt x="193" y="1"/>
                    <a:pt x="187" y="0"/>
                    <a:pt x="180"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702" name="Google Shape;5702;p104"/>
            <p:cNvSpPr/>
            <p:nvPr/>
          </p:nvSpPr>
          <p:spPr>
            <a:xfrm>
              <a:off x="1999193" y="1543044"/>
              <a:ext cx="61805" cy="90508"/>
            </a:xfrm>
            <a:custGeom>
              <a:avLst/>
              <a:gdLst/>
              <a:ahLst/>
              <a:cxnLst/>
              <a:rect l="l" t="t" r="r" b="b"/>
              <a:pathLst>
                <a:path w="4552" h="6666" extrusionOk="0">
                  <a:moveTo>
                    <a:pt x="1810" y="0"/>
                  </a:moveTo>
                  <a:cubicBezTo>
                    <a:pt x="1796" y="21"/>
                    <a:pt x="1782" y="46"/>
                    <a:pt x="1772" y="70"/>
                  </a:cubicBezTo>
                  <a:cubicBezTo>
                    <a:pt x="1744" y="130"/>
                    <a:pt x="1709" y="182"/>
                    <a:pt x="1660" y="228"/>
                  </a:cubicBezTo>
                  <a:cubicBezTo>
                    <a:pt x="1602" y="272"/>
                    <a:pt x="1519" y="294"/>
                    <a:pt x="1398" y="294"/>
                  </a:cubicBezTo>
                  <a:cubicBezTo>
                    <a:pt x="1298" y="294"/>
                    <a:pt x="1172" y="279"/>
                    <a:pt x="1016" y="249"/>
                  </a:cubicBezTo>
                  <a:cubicBezTo>
                    <a:pt x="1005" y="246"/>
                    <a:pt x="993" y="245"/>
                    <a:pt x="982" y="245"/>
                  </a:cubicBezTo>
                  <a:cubicBezTo>
                    <a:pt x="947" y="245"/>
                    <a:pt x="913" y="257"/>
                    <a:pt x="886" y="284"/>
                  </a:cubicBezTo>
                  <a:cubicBezTo>
                    <a:pt x="795" y="361"/>
                    <a:pt x="750" y="546"/>
                    <a:pt x="753" y="641"/>
                  </a:cubicBezTo>
                  <a:cubicBezTo>
                    <a:pt x="760" y="750"/>
                    <a:pt x="669" y="823"/>
                    <a:pt x="599" y="886"/>
                  </a:cubicBezTo>
                  <a:cubicBezTo>
                    <a:pt x="554" y="921"/>
                    <a:pt x="501" y="970"/>
                    <a:pt x="508" y="991"/>
                  </a:cubicBezTo>
                  <a:cubicBezTo>
                    <a:pt x="547" y="1079"/>
                    <a:pt x="522" y="1177"/>
                    <a:pt x="449" y="1236"/>
                  </a:cubicBezTo>
                  <a:cubicBezTo>
                    <a:pt x="424" y="1253"/>
                    <a:pt x="396" y="1261"/>
                    <a:pt x="368" y="1261"/>
                  </a:cubicBezTo>
                  <a:cubicBezTo>
                    <a:pt x="331" y="1261"/>
                    <a:pt x="294" y="1247"/>
                    <a:pt x="266" y="1219"/>
                  </a:cubicBezTo>
                  <a:cubicBezTo>
                    <a:pt x="245" y="1198"/>
                    <a:pt x="228" y="1180"/>
                    <a:pt x="210" y="1159"/>
                  </a:cubicBezTo>
                  <a:cubicBezTo>
                    <a:pt x="156" y="1098"/>
                    <a:pt x="122" y="1068"/>
                    <a:pt x="86" y="1068"/>
                  </a:cubicBezTo>
                  <a:cubicBezTo>
                    <a:pt x="65" y="1068"/>
                    <a:pt x="44" y="1079"/>
                    <a:pt x="18" y="1100"/>
                  </a:cubicBezTo>
                  <a:cubicBezTo>
                    <a:pt x="0" y="1117"/>
                    <a:pt x="4" y="1124"/>
                    <a:pt x="4" y="1128"/>
                  </a:cubicBezTo>
                  <a:cubicBezTo>
                    <a:pt x="21" y="1187"/>
                    <a:pt x="214" y="1289"/>
                    <a:pt x="382" y="1310"/>
                  </a:cubicBezTo>
                  <a:cubicBezTo>
                    <a:pt x="410" y="1313"/>
                    <a:pt x="480" y="1320"/>
                    <a:pt x="501" y="1380"/>
                  </a:cubicBezTo>
                  <a:cubicBezTo>
                    <a:pt x="522" y="1439"/>
                    <a:pt x="470" y="1495"/>
                    <a:pt x="403" y="1558"/>
                  </a:cubicBezTo>
                  <a:cubicBezTo>
                    <a:pt x="337" y="1621"/>
                    <a:pt x="252" y="1702"/>
                    <a:pt x="238" y="1789"/>
                  </a:cubicBezTo>
                  <a:cubicBezTo>
                    <a:pt x="228" y="1849"/>
                    <a:pt x="238" y="1863"/>
                    <a:pt x="340" y="1894"/>
                  </a:cubicBezTo>
                  <a:cubicBezTo>
                    <a:pt x="417" y="1915"/>
                    <a:pt x="515" y="1947"/>
                    <a:pt x="529" y="2062"/>
                  </a:cubicBezTo>
                  <a:cubicBezTo>
                    <a:pt x="533" y="2122"/>
                    <a:pt x="505" y="2178"/>
                    <a:pt x="459" y="2209"/>
                  </a:cubicBezTo>
                  <a:lnTo>
                    <a:pt x="463" y="2213"/>
                  </a:lnTo>
                  <a:cubicBezTo>
                    <a:pt x="512" y="2241"/>
                    <a:pt x="512" y="2300"/>
                    <a:pt x="512" y="2370"/>
                  </a:cubicBezTo>
                  <a:cubicBezTo>
                    <a:pt x="512" y="2423"/>
                    <a:pt x="512" y="2507"/>
                    <a:pt x="543" y="2531"/>
                  </a:cubicBezTo>
                  <a:cubicBezTo>
                    <a:pt x="557" y="2538"/>
                    <a:pt x="573" y="2542"/>
                    <a:pt x="590" y="2542"/>
                  </a:cubicBezTo>
                  <a:cubicBezTo>
                    <a:pt x="599" y="2542"/>
                    <a:pt x="608" y="2541"/>
                    <a:pt x="617" y="2538"/>
                  </a:cubicBezTo>
                  <a:cubicBezTo>
                    <a:pt x="743" y="2517"/>
                    <a:pt x="774" y="2412"/>
                    <a:pt x="806" y="2279"/>
                  </a:cubicBezTo>
                  <a:cubicBezTo>
                    <a:pt x="825" y="2208"/>
                    <a:pt x="848" y="2109"/>
                    <a:pt x="932" y="2109"/>
                  </a:cubicBezTo>
                  <a:cubicBezTo>
                    <a:pt x="938" y="2109"/>
                    <a:pt x="945" y="2110"/>
                    <a:pt x="953" y="2111"/>
                  </a:cubicBezTo>
                  <a:cubicBezTo>
                    <a:pt x="981" y="2115"/>
                    <a:pt x="1009" y="2129"/>
                    <a:pt x="1026" y="2153"/>
                  </a:cubicBezTo>
                  <a:cubicBezTo>
                    <a:pt x="1058" y="2199"/>
                    <a:pt x="1044" y="2255"/>
                    <a:pt x="1033" y="2314"/>
                  </a:cubicBezTo>
                  <a:cubicBezTo>
                    <a:pt x="1019" y="2381"/>
                    <a:pt x="1005" y="2458"/>
                    <a:pt x="1040" y="2524"/>
                  </a:cubicBezTo>
                  <a:cubicBezTo>
                    <a:pt x="1110" y="2657"/>
                    <a:pt x="1012" y="2815"/>
                    <a:pt x="932" y="2938"/>
                  </a:cubicBezTo>
                  <a:cubicBezTo>
                    <a:pt x="900" y="2983"/>
                    <a:pt x="872" y="3036"/>
                    <a:pt x="851" y="3088"/>
                  </a:cubicBezTo>
                  <a:cubicBezTo>
                    <a:pt x="906" y="3113"/>
                    <a:pt x="964" y="3124"/>
                    <a:pt x="1025" y="3124"/>
                  </a:cubicBezTo>
                  <a:cubicBezTo>
                    <a:pt x="1033" y="3124"/>
                    <a:pt x="1042" y="3124"/>
                    <a:pt x="1051" y="3123"/>
                  </a:cubicBezTo>
                  <a:cubicBezTo>
                    <a:pt x="1215" y="3123"/>
                    <a:pt x="1432" y="3081"/>
                    <a:pt x="1523" y="2987"/>
                  </a:cubicBezTo>
                  <a:cubicBezTo>
                    <a:pt x="1592" y="2915"/>
                    <a:pt x="1655" y="2889"/>
                    <a:pt x="1707" y="2889"/>
                  </a:cubicBezTo>
                  <a:cubicBezTo>
                    <a:pt x="1744" y="2889"/>
                    <a:pt x="1774" y="2903"/>
                    <a:pt x="1796" y="2924"/>
                  </a:cubicBezTo>
                  <a:cubicBezTo>
                    <a:pt x="1870" y="2994"/>
                    <a:pt x="1856" y="3137"/>
                    <a:pt x="1768" y="3239"/>
                  </a:cubicBezTo>
                  <a:cubicBezTo>
                    <a:pt x="1737" y="3274"/>
                    <a:pt x="1702" y="3326"/>
                    <a:pt x="1716" y="3375"/>
                  </a:cubicBezTo>
                  <a:cubicBezTo>
                    <a:pt x="1733" y="3424"/>
                    <a:pt x="1775" y="3459"/>
                    <a:pt x="1828" y="3473"/>
                  </a:cubicBezTo>
                  <a:lnTo>
                    <a:pt x="1838" y="3477"/>
                  </a:lnTo>
                  <a:cubicBezTo>
                    <a:pt x="1947" y="3512"/>
                    <a:pt x="2013" y="3536"/>
                    <a:pt x="2041" y="3603"/>
                  </a:cubicBezTo>
                  <a:cubicBezTo>
                    <a:pt x="2055" y="3659"/>
                    <a:pt x="2045" y="3722"/>
                    <a:pt x="2010" y="3767"/>
                  </a:cubicBezTo>
                  <a:cubicBezTo>
                    <a:pt x="1978" y="3827"/>
                    <a:pt x="1978" y="3928"/>
                    <a:pt x="1982" y="4023"/>
                  </a:cubicBezTo>
                  <a:cubicBezTo>
                    <a:pt x="1989" y="4096"/>
                    <a:pt x="1985" y="4173"/>
                    <a:pt x="1968" y="4250"/>
                  </a:cubicBezTo>
                  <a:cubicBezTo>
                    <a:pt x="1930" y="4366"/>
                    <a:pt x="1726" y="4382"/>
                    <a:pt x="1611" y="4382"/>
                  </a:cubicBezTo>
                  <a:cubicBezTo>
                    <a:pt x="1579" y="4382"/>
                    <a:pt x="1554" y="4381"/>
                    <a:pt x="1541" y="4380"/>
                  </a:cubicBezTo>
                  <a:cubicBezTo>
                    <a:pt x="1338" y="4366"/>
                    <a:pt x="1296" y="4313"/>
                    <a:pt x="1285" y="4282"/>
                  </a:cubicBezTo>
                  <a:cubicBezTo>
                    <a:pt x="1282" y="4281"/>
                    <a:pt x="1279" y="4281"/>
                    <a:pt x="1276" y="4281"/>
                  </a:cubicBezTo>
                  <a:cubicBezTo>
                    <a:pt x="1261" y="4281"/>
                    <a:pt x="1245" y="4288"/>
                    <a:pt x="1236" y="4299"/>
                  </a:cubicBezTo>
                  <a:cubicBezTo>
                    <a:pt x="1233" y="4303"/>
                    <a:pt x="1233" y="4303"/>
                    <a:pt x="1236" y="4313"/>
                  </a:cubicBezTo>
                  <a:cubicBezTo>
                    <a:pt x="1285" y="4415"/>
                    <a:pt x="1205" y="4506"/>
                    <a:pt x="1149" y="4576"/>
                  </a:cubicBezTo>
                  <a:cubicBezTo>
                    <a:pt x="1124" y="4604"/>
                    <a:pt x="1079" y="4656"/>
                    <a:pt x="1082" y="4674"/>
                  </a:cubicBezTo>
                  <a:cubicBezTo>
                    <a:pt x="1114" y="4691"/>
                    <a:pt x="1149" y="4702"/>
                    <a:pt x="1184" y="4712"/>
                  </a:cubicBezTo>
                  <a:cubicBezTo>
                    <a:pt x="1271" y="4740"/>
                    <a:pt x="1397" y="4775"/>
                    <a:pt x="1404" y="4891"/>
                  </a:cubicBezTo>
                  <a:cubicBezTo>
                    <a:pt x="1415" y="5087"/>
                    <a:pt x="1103" y="5248"/>
                    <a:pt x="830" y="5329"/>
                  </a:cubicBezTo>
                  <a:cubicBezTo>
                    <a:pt x="781" y="5343"/>
                    <a:pt x="764" y="5360"/>
                    <a:pt x="760" y="5364"/>
                  </a:cubicBezTo>
                  <a:cubicBezTo>
                    <a:pt x="757" y="5367"/>
                    <a:pt x="781" y="5402"/>
                    <a:pt x="834" y="5427"/>
                  </a:cubicBezTo>
                  <a:cubicBezTo>
                    <a:pt x="866" y="5443"/>
                    <a:pt x="901" y="5451"/>
                    <a:pt x="931" y="5451"/>
                  </a:cubicBezTo>
                  <a:cubicBezTo>
                    <a:pt x="953" y="5451"/>
                    <a:pt x="972" y="5446"/>
                    <a:pt x="984" y="5437"/>
                  </a:cubicBezTo>
                  <a:cubicBezTo>
                    <a:pt x="1031" y="5403"/>
                    <a:pt x="1069" y="5391"/>
                    <a:pt x="1100" y="5391"/>
                  </a:cubicBezTo>
                  <a:cubicBezTo>
                    <a:pt x="1145" y="5391"/>
                    <a:pt x="1178" y="5416"/>
                    <a:pt x="1208" y="5444"/>
                  </a:cubicBezTo>
                  <a:cubicBezTo>
                    <a:pt x="1244" y="5477"/>
                    <a:pt x="1289" y="5497"/>
                    <a:pt x="1334" y="5497"/>
                  </a:cubicBezTo>
                  <a:cubicBezTo>
                    <a:pt x="1338" y="5497"/>
                    <a:pt x="1341" y="5497"/>
                    <a:pt x="1345" y="5497"/>
                  </a:cubicBezTo>
                  <a:cubicBezTo>
                    <a:pt x="1432" y="5500"/>
                    <a:pt x="1516" y="5521"/>
                    <a:pt x="1597" y="5556"/>
                  </a:cubicBezTo>
                  <a:cubicBezTo>
                    <a:pt x="1660" y="5581"/>
                    <a:pt x="1718" y="5603"/>
                    <a:pt x="1783" y="5603"/>
                  </a:cubicBezTo>
                  <a:cubicBezTo>
                    <a:pt x="1818" y="5603"/>
                    <a:pt x="1856" y="5597"/>
                    <a:pt x="1898" y="5581"/>
                  </a:cubicBezTo>
                  <a:cubicBezTo>
                    <a:pt x="1953" y="5560"/>
                    <a:pt x="2012" y="5542"/>
                    <a:pt x="2060" y="5542"/>
                  </a:cubicBezTo>
                  <a:cubicBezTo>
                    <a:pt x="2101" y="5542"/>
                    <a:pt x="2134" y="5554"/>
                    <a:pt x="2153" y="5588"/>
                  </a:cubicBezTo>
                  <a:cubicBezTo>
                    <a:pt x="2188" y="5651"/>
                    <a:pt x="2143" y="5728"/>
                    <a:pt x="2010" y="5833"/>
                  </a:cubicBezTo>
                  <a:cubicBezTo>
                    <a:pt x="1929" y="5894"/>
                    <a:pt x="1837" y="5910"/>
                    <a:pt x="1747" y="5910"/>
                  </a:cubicBezTo>
                  <a:cubicBezTo>
                    <a:pt x="1704" y="5910"/>
                    <a:pt x="1662" y="5906"/>
                    <a:pt x="1621" y="5903"/>
                  </a:cubicBezTo>
                  <a:cubicBezTo>
                    <a:pt x="1583" y="5899"/>
                    <a:pt x="1548" y="5896"/>
                    <a:pt x="1513" y="5896"/>
                  </a:cubicBezTo>
                  <a:cubicBezTo>
                    <a:pt x="1507" y="5895"/>
                    <a:pt x="1502" y="5895"/>
                    <a:pt x="1497" y="5895"/>
                  </a:cubicBezTo>
                  <a:cubicBezTo>
                    <a:pt x="1461" y="5895"/>
                    <a:pt x="1427" y="5905"/>
                    <a:pt x="1394" y="5920"/>
                  </a:cubicBezTo>
                  <a:cubicBezTo>
                    <a:pt x="1212" y="6018"/>
                    <a:pt x="704" y="6543"/>
                    <a:pt x="715" y="6666"/>
                  </a:cubicBezTo>
                  <a:cubicBezTo>
                    <a:pt x="739" y="6648"/>
                    <a:pt x="760" y="6631"/>
                    <a:pt x="781" y="6613"/>
                  </a:cubicBezTo>
                  <a:cubicBezTo>
                    <a:pt x="858" y="6536"/>
                    <a:pt x="946" y="6477"/>
                    <a:pt x="1047" y="6431"/>
                  </a:cubicBezTo>
                  <a:cubicBezTo>
                    <a:pt x="1109" y="6406"/>
                    <a:pt x="1160" y="6396"/>
                    <a:pt x="1204" y="6396"/>
                  </a:cubicBezTo>
                  <a:cubicBezTo>
                    <a:pt x="1293" y="6396"/>
                    <a:pt x="1350" y="6436"/>
                    <a:pt x="1397" y="6466"/>
                  </a:cubicBezTo>
                  <a:cubicBezTo>
                    <a:pt x="1422" y="6487"/>
                    <a:pt x="1450" y="6501"/>
                    <a:pt x="1485" y="6508"/>
                  </a:cubicBezTo>
                  <a:cubicBezTo>
                    <a:pt x="1485" y="6508"/>
                    <a:pt x="1486" y="6509"/>
                    <a:pt x="1486" y="6509"/>
                  </a:cubicBezTo>
                  <a:cubicBezTo>
                    <a:pt x="1504" y="6509"/>
                    <a:pt x="1531" y="6451"/>
                    <a:pt x="1551" y="6414"/>
                  </a:cubicBezTo>
                  <a:cubicBezTo>
                    <a:pt x="1580" y="6351"/>
                    <a:pt x="1622" y="6263"/>
                    <a:pt x="1703" y="6263"/>
                  </a:cubicBezTo>
                  <a:cubicBezTo>
                    <a:pt x="1713" y="6263"/>
                    <a:pt x="1723" y="6264"/>
                    <a:pt x="1733" y="6267"/>
                  </a:cubicBezTo>
                  <a:cubicBezTo>
                    <a:pt x="1768" y="6267"/>
                    <a:pt x="1807" y="6260"/>
                    <a:pt x="1838" y="6246"/>
                  </a:cubicBezTo>
                  <a:cubicBezTo>
                    <a:pt x="1906" y="6217"/>
                    <a:pt x="1978" y="6202"/>
                    <a:pt x="2051" y="6202"/>
                  </a:cubicBezTo>
                  <a:cubicBezTo>
                    <a:pt x="2076" y="6202"/>
                    <a:pt x="2101" y="6204"/>
                    <a:pt x="2125" y="6207"/>
                  </a:cubicBezTo>
                  <a:cubicBezTo>
                    <a:pt x="2152" y="6212"/>
                    <a:pt x="2178" y="6215"/>
                    <a:pt x="2205" y="6215"/>
                  </a:cubicBezTo>
                  <a:cubicBezTo>
                    <a:pt x="2312" y="6215"/>
                    <a:pt x="2419" y="6175"/>
                    <a:pt x="2500" y="6102"/>
                  </a:cubicBezTo>
                  <a:cubicBezTo>
                    <a:pt x="2527" y="6079"/>
                    <a:pt x="2559" y="6070"/>
                    <a:pt x="2593" y="6070"/>
                  </a:cubicBezTo>
                  <a:cubicBezTo>
                    <a:pt x="2663" y="6070"/>
                    <a:pt x="2742" y="6109"/>
                    <a:pt x="2815" y="6144"/>
                  </a:cubicBezTo>
                  <a:cubicBezTo>
                    <a:pt x="2857" y="6169"/>
                    <a:pt x="2899" y="6186"/>
                    <a:pt x="2945" y="6200"/>
                  </a:cubicBezTo>
                  <a:cubicBezTo>
                    <a:pt x="3042" y="6135"/>
                    <a:pt x="3364" y="6077"/>
                    <a:pt x="3553" y="6077"/>
                  </a:cubicBezTo>
                  <a:cubicBezTo>
                    <a:pt x="3568" y="6077"/>
                    <a:pt x="3583" y="6077"/>
                    <a:pt x="3596" y="6078"/>
                  </a:cubicBezTo>
                  <a:cubicBezTo>
                    <a:pt x="3598" y="6078"/>
                    <a:pt x="3601" y="6078"/>
                    <a:pt x="3604" y="6078"/>
                  </a:cubicBezTo>
                  <a:cubicBezTo>
                    <a:pt x="3762" y="6078"/>
                    <a:pt x="4193" y="5887"/>
                    <a:pt x="4310" y="5780"/>
                  </a:cubicBezTo>
                  <a:cubicBezTo>
                    <a:pt x="4278" y="5775"/>
                    <a:pt x="4248" y="5772"/>
                    <a:pt x="4218" y="5772"/>
                  </a:cubicBezTo>
                  <a:cubicBezTo>
                    <a:pt x="4187" y="5772"/>
                    <a:pt x="4158" y="5775"/>
                    <a:pt x="4128" y="5780"/>
                  </a:cubicBezTo>
                  <a:cubicBezTo>
                    <a:pt x="4115" y="5782"/>
                    <a:pt x="4102" y="5783"/>
                    <a:pt x="4091" y="5783"/>
                  </a:cubicBezTo>
                  <a:cubicBezTo>
                    <a:pt x="4006" y="5783"/>
                    <a:pt x="3972" y="5732"/>
                    <a:pt x="3960" y="5710"/>
                  </a:cubicBezTo>
                  <a:cubicBezTo>
                    <a:pt x="3918" y="5619"/>
                    <a:pt x="3977" y="5472"/>
                    <a:pt x="4114" y="5343"/>
                  </a:cubicBezTo>
                  <a:cubicBezTo>
                    <a:pt x="4163" y="5297"/>
                    <a:pt x="4215" y="5255"/>
                    <a:pt x="4268" y="5217"/>
                  </a:cubicBezTo>
                  <a:cubicBezTo>
                    <a:pt x="4404" y="5108"/>
                    <a:pt x="4534" y="5010"/>
                    <a:pt x="4545" y="4863"/>
                  </a:cubicBezTo>
                  <a:cubicBezTo>
                    <a:pt x="4552" y="4786"/>
                    <a:pt x="4461" y="4712"/>
                    <a:pt x="4376" y="4667"/>
                  </a:cubicBezTo>
                  <a:cubicBezTo>
                    <a:pt x="4283" y="4620"/>
                    <a:pt x="4194" y="4603"/>
                    <a:pt x="4141" y="4603"/>
                  </a:cubicBezTo>
                  <a:cubicBezTo>
                    <a:pt x="4119" y="4603"/>
                    <a:pt x="4104" y="4606"/>
                    <a:pt x="4096" y="4611"/>
                  </a:cubicBezTo>
                  <a:cubicBezTo>
                    <a:pt x="4072" y="4681"/>
                    <a:pt x="4012" y="4730"/>
                    <a:pt x="3939" y="4737"/>
                  </a:cubicBezTo>
                  <a:cubicBezTo>
                    <a:pt x="3936" y="4737"/>
                    <a:pt x="3934" y="4737"/>
                    <a:pt x="3931" y="4737"/>
                  </a:cubicBezTo>
                  <a:cubicBezTo>
                    <a:pt x="3853" y="4737"/>
                    <a:pt x="3776" y="4685"/>
                    <a:pt x="3715" y="4586"/>
                  </a:cubicBezTo>
                  <a:cubicBezTo>
                    <a:pt x="3648" y="4478"/>
                    <a:pt x="3687" y="4373"/>
                    <a:pt x="3711" y="4313"/>
                  </a:cubicBezTo>
                  <a:lnTo>
                    <a:pt x="3715" y="4306"/>
                  </a:lnTo>
                  <a:cubicBezTo>
                    <a:pt x="3659" y="4271"/>
                    <a:pt x="3610" y="4226"/>
                    <a:pt x="3582" y="4170"/>
                  </a:cubicBezTo>
                  <a:cubicBezTo>
                    <a:pt x="3561" y="4138"/>
                    <a:pt x="3494" y="4019"/>
                    <a:pt x="3522" y="3935"/>
                  </a:cubicBezTo>
                  <a:cubicBezTo>
                    <a:pt x="3529" y="3869"/>
                    <a:pt x="3382" y="3410"/>
                    <a:pt x="3158" y="3354"/>
                  </a:cubicBezTo>
                  <a:cubicBezTo>
                    <a:pt x="2875" y="3288"/>
                    <a:pt x="2808" y="2952"/>
                    <a:pt x="2763" y="2727"/>
                  </a:cubicBezTo>
                  <a:cubicBezTo>
                    <a:pt x="2756" y="2696"/>
                    <a:pt x="2752" y="2668"/>
                    <a:pt x="2745" y="2640"/>
                  </a:cubicBezTo>
                  <a:cubicBezTo>
                    <a:pt x="2728" y="2563"/>
                    <a:pt x="2696" y="2552"/>
                    <a:pt x="2623" y="2535"/>
                  </a:cubicBezTo>
                  <a:cubicBezTo>
                    <a:pt x="2532" y="2514"/>
                    <a:pt x="2451" y="2465"/>
                    <a:pt x="2392" y="2391"/>
                  </a:cubicBezTo>
                  <a:cubicBezTo>
                    <a:pt x="2341" y="2325"/>
                    <a:pt x="2275" y="2305"/>
                    <a:pt x="2197" y="2305"/>
                  </a:cubicBezTo>
                  <a:cubicBezTo>
                    <a:pt x="2151" y="2305"/>
                    <a:pt x="2100" y="2312"/>
                    <a:pt x="2045" y="2321"/>
                  </a:cubicBezTo>
                  <a:cubicBezTo>
                    <a:pt x="2013" y="2328"/>
                    <a:pt x="1982" y="2332"/>
                    <a:pt x="1954" y="2335"/>
                  </a:cubicBezTo>
                  <a:cubicBezTo>
                    <a:pt x="1949" y="2336"/>
                    <a:pt x="1944" y="2336"/>
                    <a:pt x="1939" y="2336"/>
                  </a:cubicBezTo>
                  <a:cubicBezTo>
                    <a:pt x="1896" y="2336"/>
                    <a:pt x="1858" y="2309"/>
                    <a:pt x="1842" y="2265"/>
                  </a:cubicBezTo>
                  <a:cubicBezTo>
                    <a:pt x="1803" y="2157"/>
                    <a:pt x="1954" y="1964"/>
                    <a:pt x="2108" y="1859"/>
                  </a:cubicBezTo>
                  <a:cubicBezTo>
                    <a:pt x="2272" y="1751"/>
                    <a:pt x="2486" y="1131"/>
                    <a:pt x="2500" y="974"/>
                  </a:cubicBezTo>
                  <a:cubicBezTo>
                    <a:pt x="2446" y="936"/>
                    <a:pt x="2246" y="917"/>
                    <a:pt x="2043" y="917"/>
                  </a:cubicBezTo>
                  <a:cubicBezTo>
                    <a:pt x="1850" y="917"/>
                    <a:pt x="1655" y="934"/>
                    <a:pt x="1583" y="970"/>
                  </a:cubicBezTo>
                  <a:cubicBezTo>
                    <a:pt x="1550" y="987"/>
                    <a:pt x="1513" y="995"/>
                    <a:pt x="1477" y="995"/>
                  </a:cubicBezTo>
                  <a:cubicBezTo>
                    <a:pt x="1429" y="995"/>
                    <a:pt x="1381" y="980"/>
                    <a:pt x="1341" y="953"/>
                  </a:cubicBezTo>
                  <a:cubicBezTo>
                    <a:pt x="1282" y="918"/>
                    <a:pt x="1250" y="855"/>
                    <a:pt x="1254" y="785"/>
                  </a:cubicBezTo>
                  <a:cubicBezTo>
                    <a:pt x="1261" y="732"/>
                    <a:pt x="1296" y="690"/>
                    <a:pt x="1345" y="672"/>
                  </a:cubicBezTo>
                  <a:cubicBezTo>
                    <a:pt x="1481" y="616"/>
                    <a:pt x="1723" y="357"/>
                    <a:pt x="1716" y="291"/>
                  </a:cubicBezTo>
                  <a:cubicBezTo>
                    <a:pt x="1705" y="217"/>
                    <a:pt x="1751" y="154"/>
                    <a:pt x="1789" y="105"/>
                  </a:cubicBezTo>
                  <a:cubicBezTo>
                    <a:pt x="1845" y="28"/>
                    <a:pt x="1838" y="21"/>
                    <a:pt x="1821" y="7"/>
                  </a:cubicBezTo>
                  <a:lnTo>
                    <a:pt x="1810"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703" name="Google Shape;5703;p104"/>
            <p:cNvSpPr/>
            <p:nvPr/>
          </p:nvSpPr>
          <p:spPr>
            <a:xfrm>
              <a:off x="1996287" y="1548177"/>
              <a:ext cx="3965" cy="4861"/>
            </a:xfrm>
            <a:custGeom>
              <a:avLst/>
              <a:gdLst/>
              <a:ahLst/>
              <a:cxnLst/>
              <a:rect l="l" t="t" r="r" b="b"/>
              <a:pathLst>
                <a:path w="292" h="358" extrusionOk="0">
                  <a:moveTo>
                    <a:pt x="288" y="0"/>
                  </a:moveTo>
                  <a:lnTo>
                    <a:pt x="288" y="0"/>
                  </a:lnTo>
                  <a:cubicBezTo>
                    <a:pt x="214" y="28"/>
                    <a:pt x="39" y="252"/>
                    <a:pt x="1" y="358"/>
                  </a:cubicBezTo>
                  <a:cubicBezTo>
                    <a:pt x="109" y="329"/>
                    <a:pt x="228" y="196"/>
                    <a:pt x="274" y="84"/>
                  </a:cubicBezTo>
                  <a:cubicBezTo>
                    <a:pt x="284" y="56"/>
                    <a:pt x="291" y="28"/>
                    <a:pt x="288"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704" name="Google Shape;5704;p104"/>
            <p:cNvSpPr/>
            <p:nvPr/>
          </p:nvSpPr>
          <p:spPr>
            <a:xfrm>
              <a:off x="1989118" y="1581876"/>
              <a:ext cx="16646" cy="10848"/>
            </a:xfrm>
            <a:custGeom>
              <a:avLst/>
              <a:gdLst/>
              <a:ahLst/>
              <a:cxnLst/>
              <a:rect l="l" t="t" r="r" b="b"/>
              <a:pathLst>
                <a:path w="1226" h="799" extrusionOk="0">
                  <a:moveTo>
                    <a:pt x="773" y="1"/>
                  </a:moveTo>
                  <a:cubicBezTo>
                    <a:pt x="708" y="1"/>
                    <a:pt x="632" y="36"/>
                    <a:pt x="536" y="85"/>
                  </a:cubicBezTo>
                  <a:cubicBezTo>
                    <a:pt x="462" y="123"/>
                    <a:pt x="382" y="155"/>
                    <a:pt x="301" y="172"/>
                  </a:cubicBezTo>
                  <a:lnTo>
                    <a:pt x="301" y="176"/>
                  </a:lnTo>
                  <a:cubicBezTo>
                    <a:pt x="298" y="186"/>
                    <a:pt x="294" y="197"/>
                    <a:pt x="291" y="211"/>
                  </a:cubicBezTo>
                  <a:cubicBezTo>
                    <a:pt x="287" y="225"/>
                    <a:pt x="280" y="235"/>
                    <a:pt x="277" y="249"/>
                  </a:cubicBezTo>
                  <a:lnTo>
                    <a:pt x="277" y="256"/>
                  </a:lnTo>
                  <a:cubicBezTo>
                    <a:pt x="270" y="267"/>
                    <a:pt x="266" y="281"/>
                    <a:pt x="263" y="291"/>
                  </a:cubicBezTo>
                  <a:lnTo>
                    <a:pt x="259" y="298"/>
                  </a:lnTo>
                  <a:cubicBezTo>
                    <a:pt x="252" y="312"/>
                    <a:pt x="249" y="323"/>
                    <a:pt x="242" y="337"/>
                  </a:cubicBezTo>
                  <a:lnTo>
                    <a:pt x="242" y="340"/>
                  </a:lnTo>
                  <a:cubicBezTo>
                    <a:pt x="235" y="351"/>
                    <a:pt x="231" y="365"/>
                    <a:pt x="224" y="375"/>
                  </a:cubicBezTo>
                  <a:lnTo>
                    <a:pt x="221" y="379"/>
                  </a:lnTo>
                  <a:cubicBezTo>
                    <a:pt x="214" y="389"/>
                    <a:pt x="207" y="400"/>
                    <a:pt x="200" y="410"/>
                  </a:cubicBezTo>
                  <a:lnTo>
                    <a:pt x="196" y="417"/>
                  </a:lnTo>
                  <a:cubicBezTo>
                    <a:pt x="189" y="428"/>
                    <a:pt x="179" y="435"/>
                    <a:pt x="172" y="445"/>
                  </a:cubicBezTo>
                  <a:lnTo>
                    <a:pt x="168" y="449"/>
                  </a:lnTo>
                  <a:cubicBezTo>
                    <a:pt x="158" y="459"/>
                    <a:pt x="151" y="466"/>
                    <a:pt x="140" y="473"/>
                  </a:cubicBezTo>
                  <a:cubicBezTo>
                    <a:pt x="74" y="526"/>
                    <a:pt x="28" y="596"/>
                    <a:pt x="0" y="676"/>
                  </a:cubicBezTo>
                  <a:cubicBezTo>
                    <a:pt x="53" y="694"/>
                    <a:pt x="105" y="715"/>
                    <a:pt x="154" y="746"/>
                  </a:cubicBezTo>
                  <a:cubicBezTo>
                    <a:pt x="186" y="767"/>
                    <a:pt x="221" y="785"/>
                    <a:pt x="256" y="799"/>
                  </a:cubicBezTo>
                  <a:cubicBezTo>
                    <a:pt x="270" y="711"/>
                    <a:pt x="312" y="568"/>
                    <a:pt x="424" y="536"/>
                  </a:cubicBezTo>
                  <a:cubicBezTo>
                    <a:pt x="438" y="533"/>
                    <a:pt x="452" y="531"/>
                    <a:pt x="466" y="531"/>
                  </a:cubicBezTo>
                  <a:cubicBezTo>
                    <a:pt x="536" y="531"/>
                    <a:pt x="608" y="576"/>
                    <a:pt x="686" y="669"/>
                  </a:cubicBezTo>
                  <a:cubicBezTo>
                    <a:pt x="697" y="680"/>
                    <a:pt x="707" y="690"/>
                    <a:pt x="718" y="704"/>
                  </a:cubicBezTo>
                  <a:lnTo>
                    <a:pt x="725" y="711"/>
                  </a:lnTo>
                  <a:lnTo>
                    <a:pt x="753" y="739"/>
                  </a:lnTo>
                  <a:lnTo>
                    <a:pt x="763" y="746"/>
                  </a:lnTo>
                  <a:cubicBezTo>
                    <a:pt x="777" y="760"/>
                    <a:pt x="788" y="771"/>
                    <a:pt x="805" y="781"/>
                  </a:cubicBezTo>
                  <a:cubicBezTo>
                    <a:pt x="858" y="739"/>
                    <a:pt x="914" y="708"/>
                    <a:pt x="980" y="687"/>
                  </a:cubicBezTo>
                  <a:cubicBezTo>
                    <a:pt x="1058" y="662"/>
                    <a:pt x="1128" y="620"/>
                    <a:pt x="1191" y="571"/>
                  </a:cubicBezTo>
                  <a:cubicBezTo>
                    <a:pt x="1215" y="550"/>
                    <a:pt x="1226" y="522"/>
                    <a:pt x="1226" y="494"/>
                  </a:cubicBezTo>
                  <a:cubicBezTo>
                    <a:pt x="1226" y="375"/>
                    <a:pt x="1036" y="193"/>
                    <a:pt x="886" y="50"/>
                  </a:cubicBezTo>
                  <a:cubicBezTo>
                    <a:pt x="852" y="15"/>
                    <a:pt x="815" y="1"/>
                    <a:pt x="773" y="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705" name="Google Shape;5705;p104"/>
            <p:cNvSpPr/>
            <p:nvPr/>
          </p:nvSpPr>
          <p:spPr>
            <a:xfrm>
              <a:off x="2038310" y="1522800"/>
              <a:ext cx="2009" cy="5621"/>
            </a:xfrm>
            <a:custGeom>
              <a:avLst/>
              <a:gdLst/>
              <a:ahLst/>
              <a:cxnLst/>
              <a:rect l="l" t="t" r="r" b="b"/>
              <a:pathLst>
                <a:path w="148" h="414" extrusionOk="0">
                  <a:moveTo>
                    <a:pt x="114" y="1"/>
                  </a:moveTo>
                  <a:cubicBezTo>
                    <a:pt x="113" y="1"/>
                    <a:pt x="111" y="2"/>
                    <a:pt x="109" y="3"/>
                  </a:cubicBezTo>
                  <a:cubicBezTo>
                    <a:pt x="81" y="10"/>
                    <a:pt x="60" y="45"/>
                    <a:pt x="50" y="73"/>
                  </a:cubicBezTo>
                  <a:cubicBezTo>
                    <a:pt x="11" y="182"/>
                    <a:pt x="1" y="298"/>
                    <a:pt x="18" y="413"/>
                  </a:cubicBezTo>
                  <a:cubicBezTo>
                    <a:pt x="95" y="270"/>
                    <a:pt x="148" y="45"/>
                    <a:pt x="120" y="3"/>
                  </a:cubicBezTo>
                  <a:cubicBezTo>
                    <a:pt x="118" y="2"/>
                    <a:pt x="116" y="1"/>
                    <a:pt x="114" y="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706" name="Google Shape;5706;p104"/>
            <p:cNvSpPr/>
            <p:nvPr/>
          </p:nvSpPr>
          <p:spPr>
            <a:xfrm>
              <a:off x="1993015" y="1584252"/>
              <a:ext cx="149" cy="543"/>
            </a:xfrm>
            <a:custGeom>
              <a:avLst/>
              <a:gdLst/>
              <a:ahLst/>
              <a:cxnLst/>
              <a:rect l="l" t="t" r="r" b="b"/>
              <a:pathLst>
                <a:path w="11" h="40" extrusionOk="0">
                  <a:moveTo>
                    <a:pt x="11" y="1"/>
                  </a:moveTo>
                  <a:cubicBezTo>
                    <a:pt x="7" y="11"/>
                    <a:pt x="4" y="25"/>
                    <a:pt x="0" y="39"/>
                  </a:cubicBezTo>
                  <a:cubicBezTo>
                    <a:pt x="7" y="25"/>
                    <a:pt x="11" y="11"/>
                    <a:pt x="11" y="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707" name="Google Shape;5707;p104"/>
            <p:cNvSpPr/>
            <p:nvPr/>
          </p:nvSpPr>
          <p:spPr>
            <a:xfrm>
              <a:off x="1992105" y="1586533"/>
              <a:ext cx="258" cy="489"/>
            </a:xfrm>
            <a:custGeom>
              <a:avLst/>
              <a:gdLst/>
              <a:ahLst/>
              <a:cxnLst/>
              <a:rect l="l" t="t" r="r" b="b"/>
              <a:pathLst>
                <a:path w="19" h="36" extrusionOk="0">
                  <a:moveTo>
                    <a:pt x="1" y="36"/>
                  </a:moveTo>
                  <a:cubicBezTo>
                    <a:pt x="8" y="22"/>
                    <a:pt x="11" y="11"/>
                    <a:pt x="18" y="1"/>
                  </a:cubicBezTo>
                  <a:cubicBezTo>
                    <a:pt x="11" y="11"/>
                    <a:pt x="8" y="22"/>
                    <a:pt x="1" y="36"/>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708" name="Google Shape;5708;p104"/>
            <p:cNvSpPr/>
            <p:nvPr/>
          </p:nvSpPr>
          <p:spPr>
            <a:xfrm>
              <a:off x="1992866" y="1584782"/>
              <a:ext cx="163" cy="489"/>
            </a:xfrm>
            <a:custGeom>
              <a:avLst/>
              <a:gdLst/>
              <a:ahLst/>
              <a:cxnLst/>
              <a:rect l="l" t="t" r="r" b="b"/>
              <a:pathLst>
                <a:path w="12" h="36" extrusionOk="0">
                  <a:moveTo>
                    <a:pt x="11" y="0"/>
                  </a:moveTo>
                  <a:cubicBezTo>
                    <a:pt x="8" y="11"/>
                    <a:pt x="4" y="25"/>
                    <a:pt x="1" y="35"/>
                  </a:cubicBezTo>
                  <a:cubicBezTo>
                    <a:pt x="4" y="25"/>
                    <a:pt x="11" y="11"/>
                    <a:pt x="11"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709" name="Google Shape;5709;p104"/>
            <p:cNvSpPr/>
            <p:nvPr/>
          </p:nvSpPr>
          <p:spPr>
            <a:xfrm>
              <a:off x="1991820" y="1587063"/>
              <a:ext cx="299" cy="434"/>
            </a:xfrm>
            <a:custGeom>
              <a:avLst/>
              <a:gdLst/>
              <a:ahLst/>
              <a:cxnLst/>
              <a:rect l="l" t="t" r="r" b="b"/>
              <a:pathLst>
                <a:path w="22" h="32" extrusionOk="0">
                  <a:moveTo>
                    <a:pt x="22" y="0"/>
                  </a:moveTo>
                  <a:cubicBezTo>
                    <a:pt x="11" y="11"/>
                    <a:pt x="4" y="21"/>
                    <a:pt x="1" y="32"/>
                  </a:cubicBezTo>
                  <a:cubicBezTo>
                    <a:pt x="8" y="21"/>
                    <a:pt x="15" y="11"/>
                    <a:pt x="22"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710" name="Google Shape;5710;p104"/>
            <p:cNvSpPr/>
            <p:nvPr/>
          </p:nvSpPr>
          <p:spPr>
            <a:xfrm>
              <a:off x="1992390" y="1585963"/>
              <a:ext cx="258" cy="489"/>
            </a:xfrm>
            <a:custGeom>
              <a:avLst/>
              <a:gdLst/>
              <a:ahLst/>
              <a:cxnLst/>
              <a:rect l="l" t="t" r="r" b="b"/>
              <a:pathLst>
                <a:path w="19" h="36" extrusionOk="0">
                  <a:moveTo>
                    <a:pt x="18" y="1"/>
                  </a:moveTo>
                  <a:cubicBezTo>
                    <a:pt x="11" y="11"/>
                    <a:pt x="4" y="25"/>
                    <a:pt x="1" y="36"/>
                  </a:cubicBezTo>
                  <a:cubicBezTo>
                    <a:pt x="8" y="25"/>
                    <a:pt x="11" y="11"/>
                    <a:pt x="18" y="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711" name="Google Shape;5711;p104"/>
            <p:cNvSpPr/>
            <p:nvPr/>
          </p:nvSpPr>
          <p:spPr>
            <a:xfrm>
              <a:off x="1992635" y="1585352"/>
              <a:ext cx="204" cy="530"/>
            </a:xfrm>
            <a:custGeom>
              <a:avLst/>
              <a:gdLst/>
              <a:ahLst/>
              <a:cxnLst/>
              <a:rect l="l" t="t" r="r" b="b"/>
              <a:pathLst>
                <a:path w="15" h="39" extrusionOk="0">
                  <a:moveTo>
                    <a:pt x="0" y="39"/>
                  </a:moveTo>
                  <a:cubicBezTo>
                    <a:pt x="7" y="25"/>
                    <a:pt x="11" y="14"/>
                    <a:pt x="14" y="0"/>
                  </a:cubicBezTo>
                  <a:cubicBezTo>
                    <a:pt x="11" y="14"/>
                    <a:pt x="7" y="25"/>
                    <a:pt x="0" y="39"/>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712" name="Google Shape;5712;p104"/>
            <p:cNvSpPr/>
            <p:nvPr/>
          </p:nvSpPr>
          <p:spPr>
            <a:xfrm>
              <a:off x="1998432" y="1591000"/>
              <a:ext cx="434" cy="489"/>
            </a:xfrm>
            <a:custGeom>
              <a:avLst/>
              <a:gdLst/>
              <a:ahLst/>
              <a:cxnLst/>
              <a:rect l="l" t="t" r="r" b="b"/>
              <a:pathLst>
                <a:path w="32" h="36" extrusionOk="0">
                  <a:moveTo>
                    <a:pt x="0" y="1"/>
                  </a:moveTo>
                  <a:lnTo>
                    <a:pt x="0" y="1"/>
                  </a:lnTo>
                  <a:cubicBezTo>
                    <a:pt x="11" y="11"/>
                    <a:pt x="18" y="25"/>
                    <a:pt x="32" y="36"/>
                  </a:cubicBezTo>
                  <a:cubicBezTo>
                    <a:pt x="21" y="25"/>
                    <a:pt x="11" y="11"/>
                    <a:pt x="0" y="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713" name="Google Shape;5713;p104"/>
            <p:cNvSpPr/>
            <p:nvPr/>
          </p:nvSpPr>
          <p:spPr>
            <a:xfrm>
              <a:off x="1999478" y="1592046"/>
              <a:ext cx="530" cy="489"/>
            </a:xfrm>
            <a:custGeom>
              <a:avLst/>
              <a:gdLst/>
              <a:ahLst/>
              <a:cxnLst/>
              <a:rect l="l" t="t" r="r" b="b"/>
              <a:pathLst>
                <a:path w="39" h="36" extrusionOk="0">
                  <a:moveTo>
                    <a:pt x="39" y="36"/>
                  </a:moveTo>
                  <a:lnTo>
                    <a:pt x="39" y="36"/>
                  </a:lnTo>
                  <a:cubicBezTo>
                    <a:pt x="25" y="25"/>
                    <a:pt x="11" y="15"/>
                    <a:pt x="0" y="1"/>
                  </a:cubicBezTo>
                  <a:cubicBezTo>
                    <a:pt x="11" y="15"/>
                    <a:pt x="25" y="25"/>
                    <a:pt x="39" y="36"/>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714" name="Google Shape;5714;p104"/>
            <p:cNvSpPr/>
            <p:nvPr/>
          </p:nvSpPr>
          <p:spPr>
            <a:xfrm>
              <a:off x="1990965" y="1588013"/>
              <a:ext cx="394" cy="339"/>
            </a:xfrm>
            <a:custGeom>
              <a:avLst/>
              <a:gdLst/>
              <a:ahLst/>
              <a:cxnLst/>
              <a:rect l="l" t="t" r="r" b="b"/>
              <a:pathLst>
                <a:path w="29" h="25" extrusionOk="0">
                  <a:moveTo>
                    <a:pt x="1" y="25"/>
                  </a:moveTo>
                  <a:cubicBezTo>
                    <a:pt x="11" y="18"/>
                    <a:pt x="18" y="7"/>
                    <a:pt x="29" y="0"/>
                  </a:cubicBezTo>
                  <a:cubicBezTo>
                    <a:pt x="18" y="7"/>
                    <a:pt x="11" y="18"/>
                    <a:pt x="1" y="25"/>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715" name="Google Shape;5715;p104"/>
            <p:cNvSpPr/>
            <p:nvPr/>
          </p:nvSpPr>
          <p:spPr>
            <a:xfrm>
              <a:off x="1998948" y="1591570"/>
              <a:ext cx="394" cy="394"/>
            </a:xfrm>
            <a:custGeom>
              <a:avLst/>
              <a:gdLst/>
              <a:ahLst/>
              <a:cxnLst/>
              <a:rect l="l" t="t" r="r" b="b"/>
              <a:pathLst>
                <a:path w="29" h="29" extrusionOk="0">
                  <a:moveTo>
                    <a:pt x="29" y="29"/>
                  </a:moveTo>
                  <a:lnTo>
                    <a:pt x="1"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716" name="Google Shape;5716;p104"/>
            <p:cNvSpPr/>
            <p:nvPr/>
          </p:nvSpPr>
          <p:spPr>
            <a:xfrm>
              <a:off x="1991399" y="1587579"/>
              <a:ext cx="339" cy="394"/>
            </a:xfrm>
            <a:custGeom>
              <a:avLst/>
              <a:gdLst/>
              <a:ahLst/>
              <a:cxnLst/>
              <a:rect l="l" t="t" r="r" b="b"/>
              <a:pathLst>
                <a:path w="25" h="29" extrusionOk="0">
                  <a:moveTo>
                    <a:pt x="25" y="1"/>
                  </a:moveTo>
                  <a:cubicBezTo>
                    <a:pt x="18" y="11"/>
                    <a:pt x="11" y="18"/>
                    <a:pt x="0" y="29"/>
                  </a:cubicBezTo>
                  <a:cubicBezTo>
                    <a:pt x="11" y="18"/>
                    <a:pt x="18" y="11"/>
                    <a:pt x="25" y="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717" name="Google Shape;5717;p104"/>
            <p:cNvSpPr/>
            <p:nvPr/>
          </p:nvSpPr>
          <p:spPr>
            <a:xfrm>
              <a:off x="2108940" y="1555794"/>
              <a:ext cx="19932" cy="28906"/>
            </a:xfrm>
            <a:custGeom>
              <a:avLst/>
              <a:gdLst/>
              <a:ahLst/>
              <a:cxnLst/>
              <a:rect l="l" t="t" r="r" b="b"/>
              <a:pathLst>
                <a:path w="1468" h="2129" extrusionOk="0">
                  <a:moveTo>
                    <a:pt x="1190" y="0"/>
                  </a:moveTo>
                  <a:cubicBezTo>
                    <a:pt x="1168" y="0"/>
                    <a:pt x="1147" y="5"/>
                    <a:pt x="1128" y="14"/>
                  </a:cubicBezTo>
                  <a:cubicBezTo>
                    <a:pt x="1093" y="28"/>
                    <a:pt x="981" y="73"/>
                    <a:pt x="971" y="189"/>
                  </a:cubicBezTo>
                  <a:cubicBezTo>
                    <a:pt x="946" y="395"/>
                    <a:pt x="775" y="399"/>
                    <a:pt x="684" y="402"/>
                  </a:cubicBezTo>
                  <a:lnTo>
                    <a:pt x="652" y="402"/>
                  </a:lnTo>
                  <a:cubicBezTo>
                    <a:pt x="680" y="444"/>
                    <a:pt x="750" y="549"/>
                    <a:pt x="652" y="644"/>
                  </a:cubicBezTo>
                  <a:cubicBezTo>
                    <a:pt x="624" y="668"/>
                    <a:pt x="589" y="682"/>
                    <a:pt x="554" y="682"/>
                  </a:cubicBezTo>
                  <a:cubicBezTo>
                    <a:pt x="494" y="679"/>
                    <a:pt x="456" y="637"/>
                    <a:pt x="417" y="591"/>
                  </a:cubicBezTo>
                  <a:cubicBezTo>
                    <a:pt x="379" y="549"/>
                    <a:pt x="340" y="504"/>
                    <a:pt x="284" y="500"/>
                  </a:cubicBezTo>
                  <a:cubicBezTo>
                    <a:pt x="282" y="500"/>
                    <a:pt x="279" y="500"/>
                    <a:pt x="276" y="500"/>
                  </a:cubicBezTo>
                  <a:cubicBezTo>
                    <a:pt x="228" y="500"/>
                    <a:pt x="194" y="557"/>
                    <a:pt x="148" y="693"/>
                  </a:cubicBezTo>
                  <a:cubicBezTo>
                    <a:pt x="130" y="752"/>
                    <a:pt x="102" y="812"/>
                    <a:pt x="71" y="868"/>
                  </a:cubicBezTo>
                  <a:cubicBezTo>
                    <a:pt x="1" y="973"/>
                    <a:pt x="46" y="1235"/>
                    <a:pt x="74" y="1407"/>
                  </a:cubicBezTo>
                  <a:lnTo>
                    <a:pt x="81" y="1442"/>
                  </a:lnTo>
                  <a:cubicBezTo>
                    <a:pt x="102" y="1515"/>
                    <a:pt x="137" y="1582"/>
                    <a:pt x="190" y="1638"/>
                  </a:cubicBezTo>
                  <a:cubicBezTo>
                    <a:pt x="256" y="1725"/>
                    <a:pt x="333" y="1830"/>
                    <a:pt x="288" y="1953"/>
                  </a:cubicBezTo>
                  <a:cubicBezTo>
                    <a:pt x="277" y="1992"/>
                    <a:pt x="305" y="2048"/>
                    <a:pt x="347" y="2107"/>
                  </a:cubicBezTo>
                  <a:lnTo>
                    <a:pt x="694" y="2107"/>
                  </a:lnTo>
                  <a:lnTo>
                    <a:pt x="712" y="2111"/>
                  </a:lnTo>
                  <a:lnTo>
                    <a:pt x="726" y="2111"/>
                  </a:lnTo>
                  <a:lnTo>
                    <a:pt x="743" y="2114"/>
                  </a:lnTo>
                  <a:lnTo>
                    <a:pt x="754" y="2114"/>
                  </a:lnTo>
                  <a:lnTo>
                    <a:pt x="771" y="2118"/>
                  </a:lnTo>
                  <a:lnTo>
                    <a:pt x="782" y="2118"/>
                  </a:lnTo>
                  <a:lnTo>
                    <a:pt x="799" y="2121"/>
                  </a:lnTo>
                  <a:lnTo>
                    <a:pt x="806" y="2121"/>
                  </a:lnTo>
                  <a:lnTo>
                    <a:pt x="831" y="2128"/>
                  </a:lnTo>
                  <a:lnTo>
                    <a:pt x="880" y="2128"/>
                  </a:lnTo>
                  <a:lnTo>
                    <a:pt x="852" y="2097"/>
                  </a:lnTo>
                  <a:cubicBezTo>
                    <a:pt x="782" y="2062"/>
                    <a:pt x="715" y="1999"/>
                    <a:pt x="726" y="1915"/>
                  </a:cubicBezTo>
                  <a:cubicBezTo>
                    <a:pt x="729" y="1865"/>
                    <a:pt x="761" y="1823"/>
                    <a:pt x="803" y="1809"/>
                  </a:cubicBezTo>
                  <a:cubicBezTo>
                    <a:pt x="819" y="1803"/>
                    <a:pt x="836" y="1801"/>
                    <a:pt x="853" y="1801"/>
                  </a:cubicBezTo>
                  <a:cubicBezTo>
                    <a:pt x="957" y="1801"/>
                    <a:pt x="1079" y="1896"/>
                    <a:pt x="1118" y="1929"/>
                  </a:cubicBezTo>
                  <a:cubicBezTo>
                    <a:pt x="1170" y="1971"/>
                    <a:pt x="1235" y="1991"/>
                    <a:pt x="1301" y="1991"/>
                  </a:cubicBezTo>
                  <a:cubicBezTo>
                    <a:pt x="1323" y="1991"/>
                    <a:pt x="1345" y="1989"/>
                    <a:pt x="1366" y="1985"/>
                  </a:cubicBezTo>
                  <a:cubicBezTo>
                    <a:pt x="1394" y="1974"/>
                    <a:pt x="1398" y="1964"/>
                    <a:pt x="1398" y="1960"/>
                  </a:cubicBezTo>
                  <a:cubicBezTo>
                    <a:pt x="1405" y="1911"/>
                    <a:pt x="1373" y="1729"/>
                    <a:pt x="1321" y="1690"/>
                  </a:cubicBezTo>
                  <a:cubicBezTo>
                    <a:pt x="1319" y="1687"/>
                    <a:pt x="1316" y="1685"/>
                    <a:pt x="1313" y="1685"/>
                  </a:cubicBezTo>
                  <a:cubicBezTo>
                    <a:pt x="1309" y="1685"/>
                    <a:pt x="1305" y="1687"/>
                    <a:pt x="1300" y="1690"/>
                  </a:cubicBezTo>
                  <a:cubicBezTo>
                    <a:pt x="1228" y="1727"/>
                    <a:pt x="1174" y="1743"/>
                    <a:pt x="1129" y="1743"/>
                  </a:cubicBezTo>
                  <a:cubicBezTo>
                    <a:pt x="1057" y="1743"/>
                    <a:pt x="1011" y="1701"/>
                    <a:pt x="964" y="1634"/>
                  </a:cubicBezTo>
                  <a:cubicBezTo>
                    <a:pt x="904" y="1547"/>
                    <a:pt x="971" y="1456"/>
                    <a:pt x="1030" y="1372"/>
                  </a:cubicBezTo>
                  <a:cubicBezTo>
                    <a:pt x="1062" y="1333"/>
                    <a:pt x="1090" y="1288"/>
                    <a:pt x="1107" y="1239"/>
                  </a:cubicBezTo>
                  <a:cubicBezTo>
                    <a:pt x="1142" y="1134"/>
                    <a:pt x="1254" y="1109"/>
                    <a:pt x="1342" y="1088"/>
                  </a:cubicBezTo>
                  <a:cubicBezTo>
                    <a:pt x="1380" y="1081"/>
                    <a:pt x="1450" y="1064"/>
                    <a:pt x="1457" y="1050"/>
                  </a:cubicBezTo>
                  <a:cubicBezTo>
                    <a:pt x="1457" y="1050"/>
                    <a:pt x="1468" y="990"/>
                    <a:pt x="1230" y="875"/>
                  </a:cubicBezTo>
                  <a:cubicBezTo>
                    <a:pt x="1146" y="833"/>
                    <a:pt x="1125" y="703"/>
                    <a:pt x="1121" y="665"/>
                  </a:cubicBezTo>
                  <a:cubicBezTo>
                    <a:pt x="1118" y="623"/>
                    <a:pt x="1107" y="465"/>
                    <a:pt x="1202" y="385"/>
                  </a:cubicBezTo>
                  <a:cubicBezTo>
                    <a:pt x="1233" y="357"/>
                    <a:pt x="1272" y="259"/>
                    <a:pt x="1279" y="147"/>
                  </a:cubicBezTo>
                  <a:cubicBezTo>
                    <a:pt x="1286" y="101"/>
                    <a:pt x="1275" y="52"/>
                    <a:pt x="1254" y="14"/>
                  </a:cubicBezTo>
                  <a:cubicBezTo>
                    <a:pt x="1233" y="5"/>
                    <a:pt x="1211" y="0"/>
                    <a:pt x="1190"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718" name="Google Shape;5718;p104"/>
            <p:cNvSpPr/>
            <p:nvPr/>
          </p:nvSpPr>
          <p:spPr>
            <a:xfrm>
              <a:off x="2132850" y="1574558"/>
              <a:ext cx="8948" cy="12288"/>
            </a:xfrm>
            <a:custGeom>
              <a:avLst/>
              <a:gdLst/>
              <a:ahLst/>
              <a:cxnLst/>
              <a:rect l="l" t="t" r="r" b="b"/>
              <a:pathLst>
                <a:path w="659" h="905" extrusionOk="0">
                  <a:moveTo>
                    <a:pt x="389" y="0"/>
                  </a:moveTo>
                  <a:cubicBezTo>
                    <a:pt x="382" y="18"/>
                    <a:pt x="368" y="32"/>
                    <a:pt x="354" y="42"/>
                  </a:cubicBezTo>
                  <a:cubicBezTo>
                    <a:pt x="329" y="55"/>
                    <a:pt x="303" y="61"/>
                    <a:pt x="276" y="61"/>
                  </a:cubicBezTo>
                  <a:cubicBezTo>
                    <a:pt x="258" y="61"/>
                    <a:pt x="240" y="58"/>
                    <a:pt x="221" y="53"/>
                  </a:cubicBezTo>
                  <a:cubicBezTo>
                    <a:pt x="200" y="48"/>
                    <a:pt x="180" y="44"/>
                    <a:pt x="160" y="44"/>
                  </a:cubicBezTo>
                  <a:cubicBezTo>
                    <a:pt x="123" y="44"/>
                    <a:pt x="88" y="60"/>
                    <a:pt x="46" y="119"/>
                  </a:cubicBezTo>
                  <a:cubicBezTo>
                    <a:pt x="15" y="158"/>
                    <a:pt x="1" y="210"/>
                    <a:pt x="11" y="263"/>
                  </a:cubicBezTo>
                  <a:cubicBezTo>
                    <a:pt x="36" y="382"/>
                    <a:pt x="179" y="487"/>
                    <a:pt x="239" y="526"/>
                  </a:cubicBezTo>
                  <a:cubicBezTo>
                    <a:pt x="302" y="557"/>
                    <a:pt x="330" y="627"/>
                    <a:pt x="305" y="694"/>
                  </a:cubicBezTo>
                  <a:cubicBezTo>
                    <a:pt x="279" y="759"/>
                    <a:pt x="194" y="799"/>
                    <a:pt x="101" y="799"/>
                  </a:cubicBezTo>
                  <a:cubicBezTo>
                    <a:pt x="84" y="799"/>
                    <a:pt x="67" y="798"/>
                    <a:pt x="50" y="795"/>
                  </a:cubicBezTo>
                  <a:lnTo>
                    <a:pt x="50" y="795"/>
                  </a:lnTo>
                  <a:cubicBezTo>
                    <a:pt x="81" y="855"/>
                    <a:pt x="141" y="893"/>
                    <a:pt x="207" y="904"/>
                  </a:cubicBezTo>
                  <a:cubicBezTo>
                    <a:pt x="212" y="904"/>
                    <a:pt x="217" y="905"/>
                    <a:pt x="222" y="905"/>
                  </a:cubicBezTo>
                  <a:cubicBezTo>
                    <a:pt x="262" y="905"/>
                    <a:pt x="312" y="880"/>
                    <a:pt x="361" y="830"/>
                  </a:cubicBezTo>
                  <a:cubicBezTo>
                    <a:pt x="473" y="722"/>
                    <a:pt x="533" y="568"/>
                    <a:pt x="529" y="533"/>
                  </a:cubicBezTo>
                  <a:cubicBezTo>
                    <a:pt x="515" y="473"/>
                    <a:pt x="543" y="382"/>
                    <a:pt x="599" y="224"/>
                  </a:cubicBezTo>
                  <a:cubicBezTo>
                    <a:pt x="617" y="172"/>
                    <a:pt x="641" y="95"/>
                    <a:pt x="659" y="39"/>
                  </a:cubicBezTo>
                  <a:lnTo>
                    <a:pt x="659" y="39"/>
                  </a:lnTo>
                  <a:cubicBezTo>
                    <a:pt x="634" y="77"/>
                    <a:pt x="592" y="105"/>
                    <a:pt x="547" y="119"/>
                  </a:cubicBezTo>
                  <a:cubicBezTo>
                    <a:pt x="539" y="121"/>
                    <a:pt x="532" y="122"/>
                    <a:pt x="525" y="122"/>
                  </a:cubicBezTo>
                  <a:cubicBezTo>
                    <a:pt x="464" y="122"/>
                    <a:pt x="424" y="60"/>
                    <a:pt x="389"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719" name="Google Shape;5719;p104"/>
            <p:cNvSpPr/>
            <p:nvPr/>
          </p:nvSpPr>
          <p:spPr>
            <a:xfrm>
              <a:off x="2116217" y="1584537"/>
              <a:ext cx="244" cy="14"/>
            </a:xfrm>
            <a:custGeom>
              <a:avLst/>
              <a:gdLst/>
              <a:ahLst/>
              <a:cxnLst/>
              <a:rect l="l" t="t" r="r" b="b"/>
              <a:pathLst>
                <a:path w="18" h="1" extrusionOk="0">
                  <a:moveTo>
                    <a:pt x="18"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720" name="Google Shape;5720;p104"/>
            <p:cNvSpPr/>
            <p:nvPr/>
          </p:nvSpPr>
          <p:spPr>
            <a:xfrm>
              <a:off x="2117168" y="1584632"/>
              <a:ext cx="258" cy="14"/>
            </a:xfrm>
            <a:custGeom>
              <a:avLst/>
              <a:gdLst/>
              <a:ahLst/>
              <a:cxnLst/>
              <a:rect l="l" t="t" r="r" b="b"/>
              <a:pathLst>
                <a:path w="19" h="1" extrusionOk="0">
                  <a:moveTo>
                    <a:pt x="18"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721" name="Google Shape;5721;p104"/>
            <p:cNvSpPr/>
            <p:nvPr/>
          </p:nvSpPr>
          <p:spPr>
            <a:xfrm>
              <a:off x="2115267" y="1584496"/>
              <a:ext cx="244" cy="14"/>
            </a:xfrm>
            <a:custGeom>
              <a:avLst/>
              <a:gdLst/>
              <a:ahLst/>
              <a:cxnLst/>
              <a:rect l="l" t="t" r="r" b="b"/>
              <a:pathLst>
                <a:path w="18" h="1" extrusionOk="0">
                  <a:moveTo>
                    <a:pt x="18"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722" name="Google Shape;5722;p104"/>
            <p:cNvSpPr/>
            <p:nvPr/>
          </p:nvSpPr>
          <p:spPr>
            <a:xfrm>
              <a:off x="2115742" y="1584537"/>
              <a:ext cx="244" cy="14"/>
            </a:xfrm>
            <a:custGeom>
              <a:avLst/>
              <a:gdLst/>
              <a:ahLst/>
              <a:cxnLst/>
              <a:rect l="l" t="t" r="r" b="b"/>
              <a:pathLst>
                <a:path w="18" h="1" extrusionOk="0">
                  <a:moveTo>
                    <a:pt x="18"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723" name="Google Shape;5723;p104"/>
            <p:cNvSpPr/>
            <p:nvPr/>
          </p:nvSpPr>
          <p:spPr>
            <a:xfrm>
              <a:off x="2114357" y="1584442"/>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724" name="Google Shape;5724;p104"/>
            <p:cNvSpPr/>
            <p:nvPr/>
          </p:nvSpPr>
          <p:spPr>
            <a:xfrm>
              <a:off x="2115022" y="1584496"/>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725" name="Google Shape;5725;p104"/>
            <p:cNvSpPr/>
            <p:nvPr/>
          </p:nvSpPr>
          <p:spPr>
            <a:xfrm>
              <a:off x="2117643" y="1584687"/>
              <a:ext cx="258" cy="14"/>
            </a:xfrm>
            <a:custGeom>
              <a:avLst/>
              <a:gdLst/>
              <a:ahLst/>
              <a:cxnLst/>
              <a:rect l="l" t="t" r="r" b="b"/>
              <a:pathLst>
                <a:path w="19" h="1" extrusionOk="0">
                  <a:moveTo>
                    <a:pt x="18"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726" name="Google Shape;5726;p104"/>
            <p:cNvSpPr/>
            <p:nvPr/>
          </p:nvSpPr>
          <p:spPr>
            <a:xfrm>
              <a:off x="2120263" y="1585162"/>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727" name="Google Shape;5727;p104"/>
            <p:cNvSpPr/>
            <p:nvPr/>
          </p:nvSpPr>
          <p:spPr>
            <a:xfrm>
              <a:off x="2120874" y="1585162"/>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728" name="Google Shape;5728;p104"/>
            <p:cNvSpPr/>
            <p:nvPr/>
          </p:nvSpPr>
          <p:spPr>
            <a:xfrm>
              <a:off x="2120399" y="1585162"/>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729" name="Google Shape;5729;p104"/>
            <p:cNvSpPr/>
            <p:nvPr/>
          </p:nvSpPr>
          <p:spPr>
            <a:xfrm>
              <a:off x="2118118" y="1584727"/>
              <a:ext cx="204" cy="14"/>
            </a:xfrm>
            <a:custGeom>
              <a:avLst/>
              <a:gdLst/>
              <a:ahLst/>
              <a:cxnLst/>
              <a:rect l="l" t="t" r="r" b="b"/>
              <a:pathLst>
                <a:path w="15" h="1" extrusionOk="0">
                  <a:moveTo>
                    <a:pt x="15"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730" name="Google Shape;5730;p104"/>
            <p:cNvSpPr/>
            <p:nvPr/>
          </p:nvSpPr>
          <p:spPr>
            <a:xfrm>
              <a:off x="2118553" y="1584782"/>
              <a:ext cx="204" cy="14"/>
            </a:xfrm>
            <a:custGeom>
              <a:avLst/>
              <a:gdLst/>
              <a:ahLst/>
              <a:cxnLst/>
              <a:rect l="l" t="t" r="r" b="b"/>
              <a:pathLst>
                <a:path w="15" h="1" extrusionOk="0">
                  <a:moveTo>
                    <a:pt x="14"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731" name="Google Shape;5731;p104"/>
            <p:cNvSpPr/>
            <p:nvPr/>
          </p:nvSpPr>
          <p:spPr>
            <a:xfrm>
              <a:off x="2118973" y="1584877"/>
              <a:ext cx="163" cy="14"/>
            </a:xfrm>
            <a:custGeom>
              <a:avLst/>
              <a:gdLst/>
              <a:ahLst/>
              <a:cxnLst/>
              <a:rect l="l" t="t" r="r" b="b"/>
              <a:pathLst>
                <a:path w="12" h="1" extrusionOk="0">
                  <a:moveTo>
                    <a:pt x="11"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732" name="Google Shape;5732;p104"/>
            <p:cNvSpPr/>
            <p:nvPr/>
          </p:nvSpPr>
          <p:spPr>
            <a:xfrm>
              <a:off x="2119408" y="1584917"/>
              <a:ext cx="149" cy="14"/>
            </a:xfrm>
            <a:custGeom>
              <a:avLst/>
              <a:gdLst/>
              <a:ahLst/>
              <a:cxnLst/>
              <a:rect l="l" t="t" r="r" b="b"/>
              <a:pathLst>
                <a:path w="11" h="1" extrusionOk="0">
                  <a:moveTo>
                    <a:pt x="11"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733" name="Google Shape;5733;p104"/>
            <p:cNvSpPr/>
            <p:nvPr/>
          </p:nvSpPr>
          <p:spPr>
            <a:xfrm>
              <a:off x="2116692" y="1584632"/>
              <a:ext cx="258" cy="14"/>
            </a:xfrm>
            <a:custGeom>
              <a:avLst/>
              <a:gdLst/>
              <a:ahLst/>
              <a:cxnLst/>
              <a:rect l="l" t="t" r="r" b="b"/>
              <a:pathLst>
                <a:path w="19" h="1" extrusionOk="0">
                  <a:moveTo>
                    <a:pt x="18"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734" name="Google Shape;5734;p104"/>
            <p:cNvSpPr/>
            <p:nvPr/>
          </p:nvSpPr>
          <p:spPr>
            <a:xfrm>
              <a:off x="2119734" y="1585012"/>
              <a:ext cx="163" cy="14"/>
            </a:xfrm>
            <a:custGeom>
              <a:avLst/>
              <a:gdLst/>
              <a:ahLst/>
              <a:cxnLst/>
              <a:rect l="l" t="t" r="r" b="b"/>
              <a:pathLst>
                <a:path w="12" h="1" extrusionOk="0">
                  <a:moveTo>
                    <a:pt x="11"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735" name="Google Shape;5735;p104"/>
            <p:cNvSpPr/>
            <p:nvPr/>
          </p:nvSpPr>
          <p:spPr>
            <a:xfrm>
              <a:off x="2113936" y="1584442"/>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736" name="Google Shape;5736;p104"/>
            <p:cNvSpPr/>
            <p:nvPr/>
          </p:nvSpPr>
          <p:spPr>
            <a:xfrm>
              <a:off x="2120644" y="1585162"/>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737" name="Google Shape;5737;p104"/>
            <p:cNvSpPr/>
            <p:nvPr/>
          </p:nvSpPr>
          <p:spPr>
            <a:xfrm>
              <a:off x="2182285" y="1554259"/>
              <a:ext cx="4766" cy="7617"/>
            </a:xfrm>
            <a:custGeom>
              <a:avLst/>
              <a:gdLst/>
              <a:ahLst/>
              <a:cxnLst/>
              <a:rect l="l" t="t" r="r" b="b"/>
              <a:pathLst>
                <a:path w="351" h="561" extrusionOk="0">
                  <a:moveTo>
                    <a:pt x="330" y="1"/>
                  </a:moveTo>
                  <a:cubicBezTo>
                    <a:pt x="225" y="4"/>
                    <a:pt x="151" y="102"/>
                    <a:pt x="102" y="186"/>
                  </a:cubicBezTo>
                  <a:cubicBezTo>
                    <a:pt x="39" y="298"/>
                    <a:pt x="4" y="428"/>
                    <a:pt x="1" y="561"/>
                  </a:cubicBezTo>
                  <a:cubicBezTo>
                    <a:pt x="134" y="428"/>
                    <a:pt x="246" y="274"/>
                    <a:pt x="326" y="102"/>
                  </a:cubicBezTo>
                  <a:cubicBezTo>
                    <a:pt x="340" y="71"/>
                    <a:pt x="351" y="36"/>
                    <a:pt x="347" y="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738" name="Google Shape;5738;p104"/>
            <p:cNvSpPr/>
            <p:nvPr/>
          </p:nvSpPr>
          <p:spPr>
            <a:xfrm>
              <a:off x="2133094" y="1420616"/>
              <a:ext cx="90752" cy="158463"/>
            </a:xfrm>
            <a:custGeom>
              <a:avLst/>
              <a:gdLst/>
              <a:ahLst/>
              <a:cxnLst/>
              <a:rect l="l" t="t" r="r" b="b"/>
              <a:pathLst>
                <a:path w="6684" h="11671" extrusionOk="0">
                  <a:moveTo>
                    <a:pt x="4929" y="0"/>
                  </a:moveTo>
                  <a:cubicBezTo>
                    <a:pt x="4914" y="0"/>
                    <a:pt x="4903" y="5"/>
                    <a:pt x="4894" y="10"/>
                  </a:cubicBezTo>
                  <a:cubicBezTo>
                    <a:pt x="4821" y="55"/>
                    <a:pt x="4779" y="234"/>
                    <a:pt x="4779" y="381"/>
                  </a:cubicBezTo>
                  <a:cubicBezTo>
                    <a:pt x="4786" y="475"/>
                    <a:pt x="4737" y="563"/>
                    <a:pt x="4653" y="605"/>
                  </a:cubicBezTo>
                  <a:cubicBezTo>
                    <a:pt x="4620" y="621"/>
                    <a:pt x="4583" y="629"/>
                    <a:pt x="4545" y="629"/>
                  </a:cubicBezTo>
                  <a:cubicBezTo>
                    <a:pt x="4467" y="629"/>
                    <a:pt x="4383" y="596"/>
                    <a:pt x="4310" y="535"/>
                  </a:cubicBezTo>
                  <a:cubicBezTo>
                    <a:pt x="4263" y="495"/>
                    <a:pt x="4211" y="488"/>
                    <a:pt x="4149" y="488"/>
                  </a:cubicBezTo>
                  <a:cubicBezTo>
                    <a:pt x="4128" y="488"/>
                    <a:pt x="4106" y="488"/>
                    <a:pt x="4082" y="489"/>
                  </a:cubicBezTo>
                  <a:cubicBezTo>
                    <a:pt x="4061" y="491"/>
                    <a:pt x="4040" y="492"/>
                    <a:pt x="4019" y="492"/>
                  </a:cubicBezTo>
                  <a:cubicBezTo>
                    <a:pt x="3928" y="492"/>
                    <a:pt x="3838" y="474"/>
                    <a:pt x="3753" y="440"/>
                  </a:cubicBezTo>
                  <a:cubicBezTo>
                    <a:pt x="3726" y="428"/>
                    <a:pt x="3711" y="426"/>
                    <a:pt x="3704" y="426"/>
                  </a:cubicBezTo>
                  <a:cubicBezTo>
                    <a:pt x="3702" y="426"/>
                    <a:pt x="3701" y="426"/>
                    <a:pt x="3701" y="426"/>
                  </a:cubicBezTo>
                  <a:cubicBezTo>
                    <a:pt x="3683" y="447"/>
                    <a:pt x="3697" y="577"/>
                    <a:pt x="3704" y="636"/>
                  </a:cubicBezTo>
                  <a:cubicBezTo>
                    <a:pt x="3711" y="678"/>
                    <a:pt x="3715" y="724"/>
                    <a:pt x="3715" y="766"/>
                  </a:cubicBezTo>
                  <a:cubicBezTo>
                    <a:pt x="3715" y="990"/>
                    <a:pt x="3403" y="990"/>
                    <a:pt x="3235" y="990"/>
                  </a:cubicBezTo>
                  <a:cubicBezTo>
                    <a:pt x="3102" y="990"/>
                    <a:pt x="2885" y="1105"/>
                    <a:pt x="2885" y="1235"/>
                  </a:cubicBezTo>
                  <a:cubicBezTo>
                    <a:pt x="2885" y="1347"/>
                    <a:pt x="2818" y="1427"/>
                    <a:pt x="2766" y="1494"/>
                  </a:cubicBezTo>
                  <a:cubicBezTo>
                    <a:pt x="2731" y="1540"/>
                    <a:pt x="2706" y="1575"/>
                    <a:pt x="2713" y="1585"/>
                  </a:cubicBezTo>
                  <a:cubicBezTo>
                    <a:pt x="2801" y="1701"/>
                    <a:pt x="2752" y="1827"/>
                    <a:pt x="2573" y="1963"/>
                  </a:cubicBezTo>
                  <a:cubicBezTo>
                    <a:pt x="2524" y="1998"/>
                    <a:pt x="2465" y="2103"/>
                    <a:pt x="2416" y="2187"/>
                  </a:cubicBezTo>
                  <a:cubicBezTo>
                    <a:pt x="2381" y="2254"/>
                    <a:pt x="2342" y="2317"/>
                    <a:pt x="2293" y="2373"/>
                  </a:cubicBezTo>
                  <a:cubicBezTo>
                    <a:pt x="2283" y="2383"/>
                    <a:pt x="2283" y="2397"/>
                    <a:pt x="2286" y="2439"/>
                  </a:cubicBezTo>
                  <a:cubicBezTo>
                    <a:pt x="2293" y="2509"/>
                    <a:pt x="2304" y="2611"/>
                    <a:pt x="2178" y="2691"/>
                  </a:cubicBezTo>
                  <a:cubicBezTo>
                    <a:pt x="2099" y="2741"/>
                    <a:pt x="2005" y="2765"/>
                    <a:pt x="1913" y="2765"/>
                  </a:cubicBezTo>
                  <a:cubicBezTo>
                    <a:pt x="1907" y="2765"/>
                    <a:pt x="1900" y="2765"/>
                    <a:pt x="1894" y="2765"/>
                  </a:cubicBezTo>
                  <a:cubicBezTo>
                    <a:pt x="1856" y="2765"/>
                    <a:pt x="1817" y="2768"/>
                    <a:pt x="1782" y="2782"/>
                  </a:cubicBezTo>
                  <a:cubicBezTo>
                    <a:pt x="1779" y="2782"/>
                    <a:pt x="1775" y="2786"/>
                    <a:pt x="1775" y="2789"/>
                  </a:cubicBezTo>
                  <a:cubicBezTo>
                    <a:pt x="1761" y="2807"/>
                    <a:pt x="1754" y="2831"/>
                    <a:pt x="1758" y="2856"/>
                  </a:cubicBezTo>
                  <a:cubicBezTo>
                    <a:pt x="1758" y="2880"/>
                    <a:pt x="1758" y="2905"/>
                    <a:pt x="1761" y="2936"/>
                  </a:cubicBezTo>
                  <a:lnTo>
                    <a:pt x="1765" y="2964"/>
                  </a:lnTo>
                  <a:cubicBezTo>
                    <a:pt x="1775" y="3059"/>
                    <a:pt x="1775" y="3150"/>
                    <a:pt x="1768" y="3244"/>
                  </a:cubicBezTo>
                  <a:cubicBezTo>
                    <a:pt x="1740" y="3482"/>
                    <a:pt x="1569" y="3735"/>
                    <a:pt x="1390" y="3976"/>
                  </a:cubicBezTo>
                  <a:cubicBezTo>
                    <a:pt x="1355" y="4018"/>
                    <a:pt x="1341" y="4060"/>
                    <a:pt x="1348" y="4081"/>
                  </a:cubicBezTo>
                  <a:cubicBezTo>
                    <a:pt x="1359" y="4120"/>
                    <a:pt x="1436" y="4144"/>
                    <a:pt x="1474" y="4155"/>
                  </a:cubicBezTo>
                  <a:lnTo>
                    <a:pt x="1488" y="4158"/>
                  </a:lnTo>
                  <a:cubicBezTo>
                    <a:pt x="1527" y="4172"/>
                    <a:pt x="1558" y="4204"/>
                    <a:pt x="1576" y="4242"/>
                  </a:cubicBezTo>
                  <a:cubicBezTo>
                    <a:pt x="1607" y="4319"/>
                    <a:pt x="1590" y="4438"/>
                    <a:pt x="1527" y="4564"/>
                  </a:cubicBezTo>
                  <a:cubicBezTo>
                    <a:pt x="1481" y="4657"/>
                    <a:pt x="1408" y="4683"/>
                    <a:pt x="1334" y="4683"/>
                  </a:cubicBezTo>
                  <a:cubicBezTo>
                    <a:pt x="1265" y="4683"/>
                    <a:pt x="1196" y="4660"/>
                    <a:pt x="1149" y="4645"/>
                  </a:cubicBezTo>
                  <a:cubicBezTo>
                    <a:pt x="1124" y="4634"/>
                    <a:pt x="1103" y="4627"/>
                    <a:pt x="1086" y="4624"/>
                  </a:cubicBezTo>
                  <a:cubicBezTo>
                    <a:pt x="1081" y="4623"/>
                    <a:pt x="1075" y="4622"/>
                    <a:pt x="1069" y="4622"/>
                  </a:cubicBezTo>
                  <a:cubicBezTo>
                    <a:pt x="981" y="4622"/>
                    <a:pt x="747" y="4735"/>
                    <a:pt x="613" y="4960"/>
                  </a:cubicBezTo>
                  <a:cubicBezTo>
                    <a:pt x="469" y="5198"/>
                    <a:pt x="522" y="5334"/>
                    <a:pt x="564" y="5446"/>
                  </a:cubicBezTo>
                  <a:cubicBezTo>
                    <a:pt x="595" y="5516"/>
                    <a:pt x="574" y="5590"/>
                    <a:pt x="553" y="5660"/>
                  </a:cubicBezTo>
                  <a:cubicBezTo>
                    <a:pt x="525" y="5755"/>
                    <a:pt x="497" y="5853"/>
                    <a:pt x="564" y="5986"/>
                  </a:cubicBezTo>
                  <a:cubicBezTo>
                    <a:pt x="655" y="6168"/>
                    <a:pt x="613" y="6269"/>
                    <a:pt x="574" y="6360"/>
                  </a:cubicBezTo>
                  <a:cubicBezTo>
                    <a:pt x="550" y="6409"/>
                    <a:pt x="539" y="6469"/>
                    <a:pt x="543" y="6525"/>
                  </a:cubicBezTo>
                  <a:cubicBezTo>
                    <a:pt x="553" y="6595"/>
                    <a:pt x="606" y="6626"/>
                    <a:pt x="693" y="6672"/>
                  </a:cubicBezTo>
                  <a:cubicBezTo>
                    <a:pt x="777" y="6717"/>
                    <a:pt x="890" y="6777"/>
                    <a:pt x="907" y="6917"/>
                  </a:cubicBezTo>
                  <a:cubicBezTo>
                    <a:pt x="925" y="7011"/>
                    <a:pt x="900" y="7109"/>
                    <a:pt x="841" y="7183"/>
                  </a:cubicBezTo>
                  <a:cubicBezTo>
                    <a:pt x="788" y="7242"/>
                    <a:pt x="714" y="7274"/>
                    <a:pt x="637" y="7274"/>
                  </a:cubicBezTo>
                  <a:cubicBezTo>
                    <a:pt x="634" y="7295"/>
                    <a:pt x="634" y="7312"/>
                    <a:pt x="637" y="7330"/>
                  </a:cubicBezTo>
                  <a:cubicBezTo>
                    <a:pt x="644" y="7365"/>
                    <a:pt x="662" y="7393"/>
                    <a:pt x="690" y="7410"/>
                  </a:cubicBezTo>
                  <a:cubicBezTo>
                    <a:pt x="848" y="7491"/>
                    <a:pt x="802" y="7904"/>
                    <a:pt x="746" y="8020"/>
                  </a:cubicBezTo>
                  <a:cubicBezTo>
                    <a:pt x="700" y="8104"/>
                    <a:pt x="592" y="8107"/>
                    <a:pt x="494" y="8111"/>
                  </a:cubicBezTo>
                  <a:cubicBezTo>
                    <a:pt x="459" y="8111"/>
                    <a:pt x="424" y="8114"/>
                    <a:pt x="389" y="8118"/>
                  </a:cubicBezTo>
                  <a:cubicBezTo>
                    <a:pt x="403" y="8209"/>
                    <a:pt x="371" y="8317"/>
                    <a:pt x="347" y="8412"/>
                  </a:cubicBezTo>
                  <a:cubicBezTo>
                    <a:pt x="329" y="8461"/>
                    <a:pt x="319" y="8510"/>
                    <a:pt x="312" y="8562"/>
                  </a:cubicBezTo>
                  <a:cubicBezTo>
                    <a:pt x="312" y="8622"/>
                    <a:pt x="305" y="8933"/>
                    <a:pt x="189" y="8989"/>
                  </a:cubicBezTo>
                  <a:cubicBezTo>
                    <a:pt x="176" y="8998"/>
                    <a:pt x="160" y="9002"/>
                    <a:pt x="145" y="9002"/>
                  </a:cubicBezTo>
                  <a:cubicBezTo>
                    <a:pt x="121" y="9002"/>
                    <a:pt x="96" y="8992"/>
                    <a:pt x="77" y="8975"/>
                  </a:cubicBezTo>
                  <a:lnTo>
                    <a:pt x="70" y="8972"/>
                  </a:lnTo>
                  <a:lnTo>
                    <a:pt x="67" y="8972"/>
                  </a:lnTo>
                  <a:lnTo>
                    <a:pt x="60" y="8968"/>
                  </a:lnTo>
                  <a:lnTo>
                    <a:pt x="56" y="8968"/>
                  </a:lnTo>
                  <a:lnTo>
                    <a:pt x="39" y="8965"/>
                  </a:lnTo>
                  <a:lnTo>
                    <a:pt x="11" y="8965"/>
                  </a:lnTo>
                  <a:cubicBezTo>
                    <a:pt x="0" y="9154"/>
                    <a:pt x="84" y="9336"/>
                    <a:pt x="228" y="9455"/>
                  </a:cubicBezTo>
                  <a:cubicBezTo>
                    <a:pt x="343" y="9549"/>
                    <a:pt x="354" y="9668"/>
                    <a:pt x="361" y="9777"/>
                  </a:cubicBezTo>
                  <a:cubicBezTo>
                    <a:pt x="368" y="9865"/>
                    <a:pt x="371" y="9952"/>
                    <a:pt x="434" y="10033"/>
                  </a:cubicBezTo>
                  <a:cubicBezTo>
                    <a:pt x="494" y="10113"/>
                    <a:pt x="536" y="10201"/>
                    <a:pt x="564" y="10295"/>
                  </a:cubicBezTo>
                  <a:cubicBezTo>
                    <a:pt x="585" y="10379"/>
                    <a:pt x="634" y="10456"/>
                    <a:pt x="697" y="10512"/>
                  </a:cubicBezTo>
                  <a:cubicBezTo>
                    <a:pt x="886" y="10673"/>
                    <a:pt x="914" y="10782"/>
                    <a:pt x="827" y="10999"/>
                  </a:cubicBezTo>
                  <a:cubicBezTo>
                    <a:pt x="809" y="11051"/>
                    <a:pt x="812" y="11055"/>
                    <a:pt x="869" y="11083"/>
                  </a:cubicBezTo>
                  <a:cubicBezTo>
                    <a:pt x="911" y="11104"/>
                    <a:pt x="981" y="11135"/>
                    <a:pt x="988" y="11223"/>
                  </a:cubicBezTo>
                  <a:cubicBezTo>
                    <a:pt x="988" y="11275"/>
                    <a:pt x="984" y="11331"/>
                    <a:pt x="981" y="11384"/>
                  </a:cubicBezTo>
                  <a:cubicBezTo>
                    <a:pt x="970" y="11478"/>
                    <a:pt x="960" y="11601"/>
                    <a:pt x="988" y="11657"/>
                  </a:cubicBezTo>
                  <a:cubicBezTo>
                    <a:pt x="993" y="11666"/>
                    <a:pt x="995" y="11671"/>
                    <a:pt x="1009" y="11671"/>
                  </a:cubicBezTo>
                  <a:cubicBezTo>
                    <a:pt x="1023" y="11671"/>
                    <a:pt x="1047" y="11666"/>
                    <a:pt x="1096" y="11653"/>
                  </a:cubicBezTo>
                  <a:cubicBezTo>
                    <a:pt x="1180" y="11632"/>
                    <a:pt x="1268" y="11618"/>
                    <a:pt x="1355" y="11615"/>
                  </a:cubicBezTo>
                  <a:cubicBezTo>
                    <a:pt x="1359" y="11615"/>
                    <a:pt x="1364" y="11615"/>
                    <a:pt x="1368" y="11615"/>
                  </a:cubicBezTo>
                  <a:cubicBezTo>
                    <a:pt x="1406" y="11615"/>
                    <a:pt x="1443" y="11602"/>
                    <a:pt x="1474" y="11580"/>
                  </a:cubicBezTo>
                  <a:cubicBezTo>
                    <a:pt x="1499" y="11555"/>
                    <a:pt x="1495" y="11503"/>
                    <a:pt x="1495" y="11443"/>
                  </a:cubicBezTo>
                  <a:lnTo>
                    <a:pt x="1495" y="11352"/>
                  </a:lnTo>
                  <a:cubicBezTo>
                    <a:pt x="1492" y="11268"/>
                    <a:pt x="1548" y="11195"/>
                    <a:pt x="1632" y="11177"/>
                  </a:cubicBezTo>
                  <a:cubicBezTo>
                    <a:pt x="1663" y="11167"/>
                    <a:pt x="1663" y="11163"/>
                    <a:pt x="1667" y="11156"/>
                  </a:cubicBezTo>
                  <a:cubicBezTo>
                    <a:pt x="1684" y="11111"/>
                    <a:pt x="1723" y="11072"/>
                    <a:pt x="1768" y="11055"/>
                  </a:cubicBezTo>
                  <a:cubicBezTo>
                    <a:pt x="1819" y="11033"/>
                    <a:pt x="1881" y="11023"/>
                    <a:pt x="1948" y="11023"/>
                  </a:cubicBezTo>
                  <a:cubicBezTo>
                    <a:pt x="2033" y="11023"/>
                    <a:pt x="2125" y="11040"/>
                    <a:pt x="2206" y="11076"/>
                  </a:cubicBezTo>
                  <a:cubicBezTo>
                    <a:pt x="2228" y="11088"/>
                    <a:pt x="2252" y="11094"/>
                    <a:pt x="2276" y="11094"/>
                  </a:cubicBezTo>
                  <a:cubicBezTo>
                    <a:pt x="2294" y="11094"/>
                    <a:pt x="2312" y="11090"/>
                    <a:pt x="2328" y="11083"/>
                  </a:cubicBezTo>
                  <a:cubicBezTo>
                    <a:pt x="2377" y="11058"/>
                    <a:pt x="2416" y="10981"/>
                    <a:pt x="2430" y="10876"/>
                  </a:cubicBezTo>
                  <a:cubicBezTo>
                    <a:pt x="2437" y="10845"/>
                    <a:pt x="2451" y="10764"/>
                    <a:pt x="2517" y="10747"/>
                  </a:cubicBezTo>
                  <a:cubicBezTo>
                    <a:pt x="2525" y="10745"/>
                    <a:pt x="2533" y="10744"/>
                    <a:pt x="2540" y="10744"/>
                  </a:cubicBezTo>
                  <a:cubicBezTo>
                    <a:pt x="2599" y="10744"/>
                    <a:pt x="2645" y="10803"/>
                    <a:pt x="2685" y="10862"/>
                  </a:cubicBezTo>
                  <a:lnTo>
                    <a:pt x="2706" y="10887"/>
                  </a:lnTo>
                  <a:cubicBezTo>
                    <a:pt x="2797" y="10747"/>
                    <a:pt x="2874" y="10600"/>
                    <a:pt x="2931" y="10442"/>
                  </a:cubicBezTo>
                  <a:lnTo>
                    <a:pt x="2931" y="10442"/>
                  </a:lnTo>
                  <a:cubicBezTo>
                    <a:pt x="2910" y="10463"/>
                    <a:pt x="2885" y="10491"/>
                    <a:pt x="2853" y="10526"/>
                  </a:cubicBezTo>
                  <a:cubicBezTo>
                    <a:pt x="2829" y="10551"/>
                    <a:pt x="2780" y="10606"/>
                    <a:pt x="2726" y="10606"/>
                  </a:cubicBezTo>
                  <a:cubicBezTo>
                    <a:pt x="2712" y="10606"/>
                    <a:pt x="2697" y="10602"/>
                    <a:pt x="2682" y="10593"/>
                  </a:cubicBezTo>
                  <a:cubicBezTo>
                    <a:pt x="2556" y="10512"/>
                    <a:pt x="2734" y="10078"/>
                    <a:pt x="2738" y="10075"/>
                  </a:cubicBezTo>
                  <a:cubicBezTo>
                    <a:pt x="2780" y="9977"/>
                    <a:pt x="2794" y="9728"/>
                    <a:pt x="2801" y="9549"/>
                  </a:cubicBezTo>
                  <a:cubicBezTo>
                    <a:pt x="2804" y="9469"/>
                    <a:pt x="2811" y="9392"/>
                    <a:pt x="2822" y="9311"/>
                  </a:cubicBezTo>
                  <a:cubicBezTo>
                    <a:pt x="2843" y="9217"/>
                    <a:pt x="2892" y="8989"/>
                    <a:pt x="3179" y="8930"/>
                  </a:cubicBezTo>
                  <a:cubicBezTo>
                    <a:pt x="3340" y="8898"/>
                    <a:pt x="3540" y="8734"/>
                    <a:pt x="3606" y="8615"/>
                  </a:cubicBezTo>
                  <a:cubicBezTo>
                    <a:pt x="3627" y="8580"/>
                    <a:pt x="3627" y="8562"/>
                    <a:pt x="3624" y="8559"/>
                  </a:cubicBezTo>
                  <a:cubicBezTo>
                    <a:pt x="3582" y="8450"/>
                    <a:pt x="3694" y="8345"/>
                    <a:pt x="3806" y="8244"/>
                  </a:cubicBezTo>
                  <a:cubicBezTo>
                    <a:pt x="3855" y="8198"/>
                    <a:pt x="3942" y="8118"/>
                    <a:pt x="3942" y="8090"/>
                  </a:cubicBezTo>
                  <a:cubicBezTo>
                    <a:pt x="3939" y="8009"/>
                    <a:pt x="3603" y="7662"/>
                    <a:pt x="3456" y="7571"/>
                  </a:cubicBezTo>
                  <a:cubicBezTo>
                    <a:pt x="3410" y="7540"/>
                    <a:pt x="3319" y="7536"/>
                    <a:pt x="3249" y="7533"/>
                  </a:cubicBezTo>
                  <a:cubicBezTo>
                    <a:pt x="3158" y="7526"/>
                    <a:pt x="3088" y="7522"/>
                    <a:pt x="3053" y="7473"/>
                  </a:cubicBezTo>
                  <a:cubicBezTo>
                    <a:pt x="3036" y="7449"/>
                    <a:pt x="3032" y="7421"/>
                    <a:pt x="3039" y="7393"/>
                  </a:cubicBezTo>
                  <a:cubicBezTo>
                    <a:pt x="3050" y="7351"/>
                    <a:pt x="3039" y="7172"/>
                    <a:pt x="2973" y="6808"/>
                  </a:cubicBezTo>
                  <a:cubicBezTo>
                    <a:pt x="2952" y="6686"/>
                    <a:pt x="3022" y="6574"/>
                    <a:pt x="3085" y="6469"/>
                  </a:cubicBezTo>
                  <a:cubicBezTo>
                    <a:pt x="3127" y="6399"/>
                    <a:pt x="3176" y="6322"/>
                    <a:pt x="3176" y="6262"/>
                  </a:cubicBezTo>
                  <a:lnTo>
                    <a:pt x="3176" y="6238"/>
                  </a:lnTo>
                  <a:cubicBezTo>
                    <a:pt x="3176" y="6063"/>
                    <a:pt x="3176" y="5849"/>
                    <a:pt x="3365" y="5779"/>
                  </a:cubicBezTo>
                  <a:cubicBezTo>
                    <a:pt x="3407" y="5765"/>
                    <a:pt x="3414" y="5744"/>
                    <a:pt x="3431" y="5702"/>
                  </a:cubicBezTo>
                  <a:cubicBezTo>
                    <a:pt x="3459" y="5611"/>
                    <a:pt x="3536" y="5541"/>
                    <a:pt x="3631" y="5527"/>
                  </a:cubicBezTo>
                  <a:cubicBezTo>
                    <a:pt x="3697" y="5509"/>
                    <a:pt x="3729" y="5453"/>
                    <a:pt x="3771" y="5362"/>
                  </a:cubicBezTo>
                  <a:cubicBezTo>
                    <a:pt x="3813" y="5271"/>
                    <a:pt x="3869" y="5156"/>
                    <a:pt x="4002" y="5100"/>
                  </a:cubicBezTo>
                  <a:cubicBezTo>
                    <a:pt x="4082" y="5068"/>
                    <a:pt x="4156" y="5023"/>
                    <a:pt x="4226" y="4974"/>
                  </a:cubicBezTo>
                  <a:cubicBezTo>
                    <a:pt x="4317" y="4907"/>
                    <a:pt x="4411" y="4851"/>
                    <a:pt x="4516" y="4802"/>
                  </a:cubicBezTo>
                  <a:cubicBezTo>
                    <a:pt x="4814" y="4655"/>
                    <a:pt x="5259" y="4344"/>
                    <a:pt x="5325" y="4200"/>
                  </a:cubicBezTo>
                  <a:cubicBezTo>
                    <a:pt x="5343" y="4165"/>
                    <a:pt x="5315" y="4120"/>
                    <a:pt x="5269" y="4046"/>
                  </a:cubicBezTo>
                  <a:cubicBezTo>
                    <a:pt x="5206" y="3952"/>
                    <a:pt x="5105" y="3791"/>
                    <a:pt x="5287" y="3651"/>
                  </a:cubicBezTo>
                  <a:cubicBezTo>
                    <a:pt x="5388" y="3574"/>
                    <a:pt x="5392" y="3500"/>
                    <a:pt x="5392" y="3419"/>
                  </a:cubicBezTo>
                  <a:cubicBezTo>
                    <a:pt x="5392" y="3339"/>
                    <a:pt x="5395" y="3244"/>
                    <a:pt x="5514" y="3199"/>
                  </a:cubicBezTo>
                  <a:cubicBezTo>
                    <a:pt x="5644" y="3146"/>
                    <a:pt x="5707" y="3080"/>
                    <a:pt x="5801" y="2978"/>
                  </a:cubicBezTo>
                  <a:lnTo>
                    <a:pt x="5843" y="2929"/>
                  </a:lnTo>
                  <a:cubicBezTo>
                    <a:pt x="5904" y="2864"/>
                    <a:pt x="5974" y="2847"/>
                    <a:pt x="6049" y="2847"/>
                  </a:cubicBezTo>
                  <a:cubicBezTo>
                    <a:pt x="6087" y="2847"/>
                    <a:pt x="6126" y="2851"/>
                    <a:pt x="6165" y="2856"/>
                  </a:cubicBezTo>
                  <a:cubicBezTo>
                    <a:pt x="6213" y="2863"/>
                    <a:pt x="6261" y="2866"/>
                    <a:pt x="6309" y="2866"/>
                  </a:cubicBezTo>
                  <a:cubicBezTo>
                    <a:pt x="6358" y="2866"/>
                    <a:pt x="6407" y="2863"/>
                    <a:pt x="6456" y="2856"/>
                  </a:cubicBezTo>
                  <a:cubicBezTo>
                    <a:pt x="6495" y="2848"/>
                    <a:pt x="6536" y="2845"/>
                    <a:pt x="6577" y="2845"/>
                  </a:cubicBezTo>
                  <a:cubicBezTo>
                    <a:pt x="6612" y="2845"/>
                    <a:pt x="6648" y="2847"/>
                    <a:pt x="6683" y="2852"/>
                  </a:cubicBezTo>
                  <a:lnTo>
                    <a:pt x="6683" y="2849"/>
                  </a:lnTo>
                  <a:lnTo>
                    <a:pt x="6683" y="2838"/>
                  </a:lnTo>
                  <a:cubicBezTo>
                    <a:pt x="6683" y="2831"/>
                    <a:pt x="6680" y="2824"/>
                    <a:pt x="6680" y="2814"/>
                  </a:cubicBezTo>
                  <a:lnTo>
                    <a:pt x="6676" y="2803"/>
                  </a:lnTo>
                  <a:lnTo>
                    <a:pt x="6669" y="2786"/>
                  </a:lnTo>
                  <a:lnTo>
                    <a:pt x="6669" y="2775"/>
                  </a:lnTo>
                  <a:cubicBezTo>
                    <a:pt x="6666" y="2768"/>
                    <a:pt x="6662" y="2761"/>
                    <a:pt x="6662" y="2754"/>
                  </a:cubicBezTo>
                  <a:lnTo>
                    <a:pt x="6662" y="2747"/>
                  </a:lnTo>
                  <a:lnTo>
                    <a:pt x="6655" y="2733"/>
                  </a:lnTo>
                  <a:lnTo>
                    <a:pt x="6655" y="2730"/>
                  </a:lnTo>
                  <a:lnTo>
                    <a:pt x="6648" y="2719"/>
                  </a:lnTo>
                  <a:lnTo>
                    <a:pt x="6648" y="2716"/>
                  </a:lnTo>
                  <a:cubicBezTo>
                    <a:pt x="6648" y="2712"/>
                    <a:pt x="6645" y="2712"/>
                    <a:pt x="6645" y="2709"/>
                  </a:cubicBezTo>
                  <a:cubicBezTo>
                    <a:pt x="6645" y="2709"/>
                    <a:pt x="6634" y="2698"/>
                    <a:pt x="6620" y="2684"/>
                  </a:cubicBezTo>
                  <a:lnTo>
                    <a:pt x="6606" y="2667"/>
                  </a:lnTo>
                  <a:lnTo>
                    <a:pt x="6592" y="2653"/>
                  </a:lnTo>
                  <a:lnTo>
                    <a:pt x="6589" y="2649"/>
                  </a:lnTo>
                  <a:lnTo>
                    <a:pt x="6575" y="2632"/>
                  </a:lnTo>
                  <a:lnTo>
                    <a:pt x="6571" y="2628"/>
                  </a:lnTo>
                  <a:lnTo>
                    <a:pt x="6557" y="2607"/>
                  </a:lnTo>
                  <a:lnTo>
                    <a:pt x="6554" y="2600"/>
                  </a:lnTo>
                  <a:lnTo>
                    <a:pt x="6540" y="2583"/>
                  </a:lnTo>
                  <a:lnTo>
                    <a:pt x="6536" y="2576"/>
                  </a:lnTo>
                  <a:lnTo>
                    <a:pt x="6522" y="2558"/>
                  </a:lnTo>
                  <a:lnTo>
                    <a:pt x="6519" y="2548"/>
                  </a:lnTo>
                  <a:lnTo>
                    <a:pt x="6508" y="2530"/>
                  </a:lnTo>
                  <a:lnTo>
                    <a:pt x="6501" y="2520"/>
                  </a:lnTo>
                  <a:lnTo>
                    <a:pt x="6494" y="2506"/>
                  </a:lnTo>
                  <a:cubicBezTo>
                    <a:pt x="6491" y="2499"/>
                    <a:pt x="6491" y="2495"/>
                    <a:pt x="6491" y="2492"/>
                  </a:cubicBezTo>
                  <a:cubicBezTo>
                    <a:pt x="6487" y="2488"/>
                    <a:pt x="6487" y="2481"/>
                    <a:pt x="6484" y="2478"/>
                  </a:cubicBezTo>
                  <a:cubicBezTo>
                    <a:pt x="6484" y="2474"/>
                    <a:pt x="6480" y="2471"/>
                    <a:pt x="6480" y="2464"/>
                  </a:cubicBezTo>
                  <a:cubicBezTo>
                    <a:pt x="6480" y="2460"/>
                    <a:pt x="6477" y="2457"/>
                    <a:pt x="6477" y="2450"/>
                  </a:cubicBezTo>
                  <a:cubicBezTo>
                    <a:pt x="6477" y="2446"/>
                    <a:pt x="6477" y="2443"/>
                    <a:pt x="6477" y="2436"/>
                  </a:cubicBezTo>
                  <a:lnTo>
                    <a:pt x="6477" y="2425"/>
                  </a:lnTo>
                  <a:cubicBezTo>
                    <a:pt x="6477" y="2422"/>
                    <a:pt x="6477" y="2415"/>
                    <a:pt x="6477" y="2411"/>
                  </a:cubicBezTo>
                  <a:lnTo>
                    <a:pt x="6477" y="2401"/>
                  </a:lnTo>
                  <a:cubicBezTo>
                    <a:pt x="6477" y="2394"/>
                    <a:pt x="6480" y="2383"/>
                    <a:pt x="6484" y="2376"/>
                  </a:cubicBezTo>
                  <a:cubicBezTo>
                    <a:pt x="6500" y="2337"/>
                    <a:pt x="6538" y="2313"/>
                    <a:pt x="6580" y="2313"/>
                  </a:cubicBezTo>
                  <a:cubicBezTo>
                    <a:pt x="6583" y="2313"/>
                    <a:pt x="6586" y="2313"/>
                    <a:pt x="6589" y="2313"/>
                  </a:cubicBezTo>
                  <a:cubicBezTo>
                    <a:pt x="6603" y="2310"/>
                    <a:pt x="6634" y="2264"/>
                    <a:pt x="6645" y="2177"/>
                  </a:cubicBezTo>
                  <a:cubicBezTo>
                    <a:pt x="6655" y="2079"/>
                    <a:pt x="6631" y="1991"/>
                    <a:pt x="6585" y="1970"/>
                  </a:cubicBezTo>
                  <a:cubicBezTo>
                    <a:pt x="6470" y="1911"/>
                    <a:pt x="6473" y="1767"/>
                    <a:pt x="6477" y="1648"/>
                  </a:cubicBezTo>
                  <a:cubicBezTo>
                    <a:pt x="6477" y="1589"/>
                    <a:pt x="6480" y="1512"/>
                    <a:pt x="6463" y="1484"/>
                  </a:cubicBezTo>
                  <a:cubicBezTo>
                    <a:pt x="6459" y="1480"/>
                    <a:pt x="6456" y="1477"/>
                    <a:pt x="6452" y="1473"/>
                  </a:cubicBezTo>
                  <a:cubicBezTo>
                    <a:pt x="6305" y="1385"/>
                    <a:pt x="6344" y="1175"/>
                    <a:pt x="6379" y="990"/>
                  </a:cubicBezTo>
                  <a:cubicBezTo>
                    <a:pt x="6386" y="955"/>
                    <a:pt x="6389" y="920"/>
                    <a:pt x="6396" y="888"/>
                  </a:cubicBezTo>
                  <a:cubicBezTo>
                    <a:pt x="6407" y="797"/>
                    <a:pt x="6057" y="654"/>
                    <a:pt x="5868" y="580"/>
                  </a:cubicBezTo>
                  <a:cubicBezTo>
                    <a:pt x="5791" y="549"/>
                    <a:pt x="5717" y="517"/>
                    <a:pt x="5654" y="493"/>
                  </a:cubicBezTo>
                  <a:cubicBezTo>
                    <a:pt x="5612" y="475"/>
                    <a:pt x="5574" y="454"/>
                    <a:pt x="5535" y="430"/>
                  </a:cubicBezTo>
                  <a:cubicBezTo>
                    <a:pt x="5437" y="367"/>
                    <a:pt x="5343" y="297"/>
                    <a:pt x="5259" y="216"/>
                  </a:cubicBezTo>
                  <a:cubicBezTo>
                    <a:pt x="5189" y="157"/>
                    <a:pt x="5119" y="101"/>
                    <a:pt x="5042" y="52"/>
                  </a:cubicBezTo>
                  <a:lnTo>
                    <a:pt x="5038" y="52"/>
                  </a:lnTo>
                  <a:cubicBezTo>
                    <a:pt x="5024" y="41"/>
                    <a:pt x="5010" y="31"/>
                    <a:pt x="4996" y="20"/>
                  </a:cubicBezTo>
                  <a:cubicBezTo>
                    <a:pt x="4967" y="6"/>
                    <a:pt x="4945" y="0"/>
                    <a:pt x="4929"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739" name="Google Shape;5739;p104"/>
            <p:cNvSpPr/>
            <p:nvPr/>
          </p:nvSpPr>
          <p:spPr>
            <a:xfrm>
              <a:off x="2223833" y="1459339"/>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740" name="Google Shape;5740;p104"/>
            <p:cNvSpPr/>
            <p:nvPr/>
          </p:nvSpPr>
          <p:spPr>
            <a:xfrm>
              <a:off x="2221022" y="1454248"/>
              <a:ext cx="109" cy="204"/>
            </a:xfrm>
            <a:custGeom>
              <a:avLst/>
              <a:gdLst/>
              <a:ahLst/>
              <a:cxnLst/>
              <a:rect l="l" t="t" r="r" b="b"/>
              <a:pathLst>
                <a:path w="8" h="15" extrusionOk="0">
                  <a:moveTo>
                    <a:pt x="1" y="1"/>
                  </a:moveTo>
                  <a:cubicBezTo>
                    <a:pt x="1" y="4"/>
                    <a:pt x="4" y="11"/>
                    <a:pt x="8" y="15"/>
                  </a:cubicBezTo>
                  <a:cubicBezTo>
                    <a:pt x="4" y="11"/>
                    <a:pt x="4" y="4"/>
                    <a:pt x="1" y="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741" name="Google Shape;5741;p104"/>
            <p:cNvSpPr/>
            <p:nvPr/>
          </p:nvSpPr>
          <p:spPr>
            <a:xfrm>
              <a:off x="2221782" y="1455673"/>
              <a:ext cx="204" cy="258"/>
            </a:xfrm>
            <a:custGeom>
              <a:avLst/>
              <a:gdLst/>
              <a:ahLst/>
              <a:cxnLst/>
              <a:rect l="l" t="t" r="r" b="b"/>
              <a:pathLst>
                <a:path w="15" h="19" extrusionOk="0">
                  <a:moveTo>
                    <a:pt x="1" y="1"/>
                  </a:moveTo>
                  <a:lnTo>
                    <a:pt x="15" y="18"/>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742" name="Google Shape;5742;p104"/>
            <p:cNvSpPr/>
            <p:nvPr/>
          </p:nvSpPr>
          <p:spPr>
            <a:xfrm>
              <a:off x="2221552" y="1455347"/>
              <a:ext cx="204" cy="244"/>
            </a:xfrm>
            <a:custGeom>
              <a:avLst/>
              <a:gdLst/>
              <a:ahLst/>
              <a:cxnLst/>
              <a:rect l="l" t="t" r="r" b="b"/>
              <a:pathLst>
                <a:path w="15" h="18" extrusionOk="0">
                  <a:moveTo>
                    <a:pt x="0" y="0"/>
                  </a:moveTo>
                  <a:lnTo>
                    <a:pt x="14" y="18"/>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743" name="Google Shape;5743;p104"/>
            <p:cNvSpPr/>
            <p:nvPr/>
          </p:nvSpPr>
          <p:spPr>
            <a:xfrm>
              <a:off x="2221171" y="1454587"/>
              <a:ext cx="109" cy="244"/>
            </a:xfrm>
            <a:custGeom>
              <a:avLst/>
              <a:gdLst/>
              <a:ahLst/>
              <a:cxnLst/>
              <a:rect l="l" t="t" r="r" b="b"/>
              <a:pathLst>
                <a:path w="8" h="18" extrusionOk="0">
                  <a:moveTo>
                    <a:pt x="0" y="0"/>
                  </a:moveTo>
                  <a:cubicBezTo>
                    <a:pt x="4" y="7"/>
                    <a:pt x="7" y="14"/>
                    <a:pt x="7" y="18"/>
                  </a:cubicBezTo>
                  <a:cubicBezTo>
                    <a:pt x="7" y="11"/>
                    <a:pt x="4" y="7"/>
                    <a:pt x="0"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744" name="Google Shape;5744;p104"/>
            <p:cNvSpPr/>
            <p:nvPr/>
          </p:nvSpPr>
          <p:spPr>
            <a:xfrm>
              <a:off x="2223737" y="1458864"/>
              <a:ext cx="109" cy="339"/>
            </a:xfrm>
            <a:custGeom>
              <a:avLst/>
              <a:gdLst/>
              <a:ahLst/>
              <a:cxnLst/>
              <a:rect l="l" t="t" r="r" b="b"/>
              <a:pathLst>
                <a:path w="8" h="25" extrusionOk="0">
                  <a:moveTo>
                    <a:pt x="0" y="0"/>
                  </a:moveTo>
                  <a:cubicBezTo>
                    <a:pt x="0" y="7"/>
                    <a:pt x="4" y="14"/>
                    <a:pt x="7" y="25"/>
                  </a:cubicBezTo>
                  <a:cubicBezTo>
                    <a:pt x="4" y="14"/>
                    <a:pt x="4" y="7"/>
                    <a:pt x="0"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745" name="Google Shape;5745;p104"/>
            <p:cNvSpPr/>
            <p:nvPr/>
          </p:nvSpPr>
          <p:spPr>
            <a:xfrm>
              <a:off x="2221361" y="1454967"/>
              <a:ext cx="149" cy="244"/>
            </a:xfrm>
            <a:custGeom>
              <a:avLst/>
              <a:gdLst/>
              <a:ahLst/>
              <a:cxnLst/>
              <a:rect l="l" t="t" r="r" b="b"/>
              <a:pathLst>
                <a:path w="11" h="18" extrusionOk="0">
                  <a:moveTo>
                    <a:pt x="0" y="0"/>
                  </a:moveTo>
                  <a:lnTo>
                    <a:pt x="11" y="18"/>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746" name="Google Shape;5746;p104"/>
            <p:cNvSpPr/>
            <p:nvPr/>
          </p:nvSpPr>
          <p:spPr>
            <a:xfrm>
              <a:off x="2223642" y="1458429"/>
              <a:ext cx="109" cy="258"/>
            </a:xfrm>
            <a:custGeom>
              <a:avLst/>
              <a:gdLst/>
              <a:ahLst/>
              <a:cxnLst/>
              <a:rect l="l" t="t" r="r" b="b"/>
              <a:pathLst>
                <a:path w="8" h="19" extrusionOk="0">
                  <a:moveTo>
                    <a:pt x="0" y="1"/>
                  </a:moveTo>
                  <a:lnTo>
                    <a:pt x="7" y="18"/>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747" name="Google Shape;5747;p104"/>
            <p:cNvSpPr/>
            <p:nvPr/>
          </p:nvSpPr>
          <p:spPr>
            <a:xfrm>
              <a:off x="2222692" y="1456868"/>
              <a:ext cx="204" cy="204"/>
            </a:xfrm>
            <a:custGeom>
              <a:avLst/>
              <a:gdLst/>
              <a:ahLst/>
              <a:cxnLst/>
              <a:rect l="l" t="t" r="r" b="b"/>
              <a:pathLst>
                <a:path w="15" h="15" extrusionOk="0">
                  <a:moveTo>
                    <a:pt x="0" y="0"/>
                  </a:moveTo>
                  <a:lnTo>
                    <a:pt x="14" y="14"/>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748" name="Google Shape;5748;p104"/>
            <p:cNvSpPr/>
            <p:nvPr/>
          </p:nvSpPr>
          <p:spPr>
            <a:xfrm>
              <a:off x="2222502" y="1456583"/>
              <a:ext cx="204" cy="244"/>
            </a:xfrm>
            <a:custGeom>
              <a:avLst/>
              <a:gdLst/>
              <a:ahLst/>
              <a:cxnLst/>
              <a:rect l="l" t="t" r="r" b="b"/>
              <a:pathLst>
                <a:path w="15" h="18" extrusionOk="0">
                  <a:moveTo>
                    <a:pt x="0" y="0"/>
                  </a:moveTo>
                  <a:lnTo>
                    <a:pt x="14" y="18"/>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749" name="Google Shape;5749;p104"/>
            <p:cNvSpPr/>
            <p:nvPr/>
          </p:nvSpPr>
          <p:spPr>
            <a:xfrm>
              <a:off x="2223547" y="1458008"/>
              <a:ext cx="109" cy="299"/>
            </a:xfrm>
            <a:custGeom>
              <a:avLst/>
              <a:gdLst/>
              <a:ahLst/>
              <a:cxnLst/>
              <a:rect l="l" t="t" r="r" b="b"/>
              <a:pathLst>
                <a:path w="8" h="22" extrusionOk="0">
                  <a:moveTo>
                    <a:pt x="0" y="0"/>
                  </a:moveTo>
                  <a:cubicBezTo>
                    <a:pt x="0" y="7"/>
                    <a:pt x="4" y="14"/>
                    <a:pt x="7" y="21"/>
                  </a:cubicBezTo>
                  <a:cubicBezTo>
                    <a:pt x="4" y="14"/>
                    <a:pt x="0" y="7"/>
                    <a:pt x="0"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750" name="Google Shape;5750;p104"/>
            <p:cNvSpPr/>
            <p:nvPr/>
          </p:nvSpPr>
          <p:spPr>
            <a:xfrm>
              <a:off x="2223303" y="1457574"/>
              <a:ext cx="68" cy="109"/>
            </a:xfrm>
            <a:custGeom>
              <a:avLst/>
              <a:gdLst/>
              <a:ahLst/>
              <a:cxnLst/>
              <a:rect l="l" t="t" r="r" b="b"/>
              <a:pathLst>
                <a:path w="5" h="8" extrusionOk="0">
                  <a:moveTo>
                    <a:pt x="1" y="1"/>
                  </a:moveTo>
                  <a:lnTo>
                    <a:pt x="4" y="8"/>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751" name="Google Shape;5751;p104"/>
            <p:cNvSpPr/>
            <p:nvPr/>
          </p:nvSpPr>
          <p:spPr>
            <a:xfrm>
              <a:off x="2222258" y="1456338"/>
              <a:ext cx="204" cy="258"/>
            </a:xfrm>
            <a:custGeom>
              <a:avLst/>
              <a:gdLst/>
              <a:ahLst/>
              <a:cxnLst/>
              <a:rect l="l" t="t" r="r" b="b"/>
              <a:pathLst>
                <a:path w="15" h="19" extrusionOk="0">
                  <a:moveTo>
                    <a:pt x="1" y="1"/>
                  </a:moveTo>
                  <a:lnTo>
                    <a:pt x="15" y="18"/>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752" name="Google Shape;5752;p104"/>
            <p:cNvSpPr/>
            <p:nvPr/>
          </p:nvSpPr>
          <p:spPr>
            <a:xfrm>
              <a:off x="2220927" y="1453922"/>
              <a:ext cx="68" cy="204"/>
            </a:xfrm>
            <a:custGeom>
              <a:avLst/>
              <a:gdLst/>
              <a:ahLst/>
              <a:cxnLst/>
              <a:rect l="l" t="t" r="r" b="b"/>
              <a:pathLst>
                <a:path w="5" h="15" extrusionOk="0">
                  <a:moveTo>
                    <a:pt x="1" y="0"/>
                  </a:moveTo>
                  <a:cubicBezTo>
                    <a:pt x="1" y="4"/>
                    <a:pt x="4" y="7"/>
                    <a:pt x="4" y="14"/>
                  </a:cubicBezTo>
                  <a:cubicBezTo>
                    <a:pt x="4" y="7"/>
                    <a:pt x="1" y="0"/>
                    <a:pt x="1"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753" name="Google Shape;5753;p104"/>
            <p:cNvSpPr/>
            <p:nvPr/>
          </p:nvSpPr>
          <p:spPr>
            <a:xfrm>
              <a:off x="2223398" y="1457764"/>
              <a:ext cx="109" cy="163"/>
            </a:xfrm>
            <a:custGeom>
              <a:avLst/>
              <a:gdLst/>
              <a:ahLst/>
              <a:cxnLst/>
              <a:rect l="l" t="t" r="r" b="b"/>
              <a:pathLst>
                <a:path w="8" h="12" extrusionOk="0">
                  <a:moveTo>
                    <a:pt x="1" y="1"/>
                  </a:moveTo>
                  <a:lnTo>
                    <a:pt x="8" y="1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754" name="Google Shape;5754;p104"/>
            <p:cNvSpPr/>
            <p:nvPr/>
          </p:nvSpPr>
          <p:spPr>
            <a:xfrm>
              <a:off x="2222882" y="1457058"/>
              <a:ext cx="339" cy="339"/>
            </a:xfrm>
            <a:custGeom>
              <a:avLst/>
              <a:gdLst/>
              <a:ahLst/>
              <a:cxnLst/>
              <a:rect l="l" t="t" r="r" b="b"/>
              <a:pathLst>
                <a:path w="25" h="25" extrusionOk="0">
                  <a:moveTo>
                    <a:pt x="0" y="0"/>
                  </a:moveTo>
                  <a:cubicBezTo>
                    <a:pt x="14" y="14"/>
                    <a:pt x="21" y="25"/>
                    <a:pt x="25" y="25"/>
                  </a:cubicBezTo>
                  <a:cubicBezTo>
                    <a:pt x="25" y="25"/>
                    <a:pt x="14" y="14"/>
                    <a:pt x="0"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755" name="Google Shape;5755;p104"/>
            <p:cNvSpPr/>
            <p:nvPr/>
          </p:nvSpPr>
          <p:spPr>
            <a:xfrm>
              <a:off x="2220886" y="1453202"/>
              <a:ext cx="14" cy="109"/>
            </a:xfrm>
            <a:custGeom>
              <a:avLst/>
              <a:gdLst/>
              <a:ahLst/>
              <a:cxnLst/>
              <a:rect l="l" t="t" r="r" b="b"/>
              <a:pathLst>
                <a:path w="1" h="8" extrusionOk="0">
                  <a:moveTo>
                    <a:pt x="0" y="1"/>
                  </a:moveTo>
                  <a:lnTo>
                    <a:pt x="0" y="8"/>
                  </a:lnTo>
                  <a:cubicBezTo>
                    <a:pt x="0" y="8"/>
                    <a:pt x="0" y="4"/>
                    <a:pt x="0" y="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756" name="Google Shape;5756;p104"/>
            <p:cNvSpPr/>
            <p:nvPr/>
          </p:nvSpPr>
          <p:spPr>
            <a:xfrm>
              <a:off x="2222027" y="1456013"/>
              <a:ext cx="204" cy="244"/>
            </a:xfrm>
            <a:custGeom>
              <a:avLst/>
              <a:gdLst/>
              <a:ahLst/>
              <a:cxnLst/>
              <a:rect l="l" t="t" r="r" b="b"/>
              <a:pathLst>
                <a:path w="15" h="18" extrusionOk="0">
                  <a:moveTo>
                    <a:pt x="0" y="0"/>
                  </a:moveTo>
                  <a:lnTo>
                    <a:pt x="14" y="18"/>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757" name="Google Shape;5757;p104"/>
            <p:cNvSpPr/>
            <p:nvPr/>
          </p:nvSpPr>
          <p:spPr>
            <a:xfrm>
              <a:off x="2220886" y="1453541"/>
              <a:ext cx="14" cy="149"/>
            </a:xfrm>
            <a:custGeom>
              <a:avLst/>
              <a:gdLst/>
              <a:ahLst/>
              <a:cxnLst/>
              <a:rect l="l" t="t" r="r" b="b"/>
              <a:pathLst>
                <a:path w="1" h="11" extrusionOk="0">
                  <a:moveTo>
                    <a:pt x="0" y="11"/>
                  </a:moveTo>
                  <a:lnTo>
                    <a:pt x="0" y="0"/>
                  </a:lnTo>
                  <a:cubicBezTo>
                    <a:pt x="0" y="4"/>
                    <a:pt x="0" y="7"/>
                    <a:pt x="0" y="1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758" name="Google Shape;5758;p104"/>
            <p:cNvSpPr/>
            <p:nvPr/>
          </p:nvSpPr>
          <p:spPr>
            <a:xfrm>
              <a:off x="2201498" y="1421268"/>
              <a:ext cx="6667" cy="5146"/>
            </a:xfrm>
            <a:custGeom>
              <a:avLst/>
              <a:gdLst/>
              <a:ahLst/>
              <a:cxnLst/>
              <a:rect l="l" t="t" r="r" b="b"/>
              <a:pathLst>
                <a:path w="491" h="379" extrusionOk="0">
                  <a:moveTo>
                    <a:pt x="0" y="0"/>
                  </a:moveTo>
                  <a:lnTo>
                    <a:pt x="0" y="0"/>
                  </a:lnTo>
                  <a:cubicBezTo>
                    <a:pt x="74" y="49"/>
                    <a:pt x="144" y="105"/>
                    <a:pt x="210" y="165"/>
                  </a:cubicBezTo>
                  <a:cubicBezTo>
                    <a:pt x="298" y="245"/>
                    <a:pt x="389" y="315"/>
                    <a:pt x="490" y="378"/>
                  </a:cubicBezTo>
                  <a:cubicBezTo>
                    <a:pt x="392" y="315"/>
                    <a:pt x="298" y="245"/>
                    <a:pt x="214" y="165"/>
                  </a:cubicBezTo>
                  <a:cubicBezTo>
                    <a:pt x="154" y="112"/>
                    <a:pt x="91" y="63"/>
                    <a:pt x="28" y="18"/>
                  </a:cubicBezTo>
                  <a:lnTo>
                    <a:pt x="0"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759" name="Google Shape;5759;p104"/>
            <p:cNvSpPr/>
            <p:nvPr/>
          </p:nvSpPr>
          <p:spPr>
            <a:xfrm>
              <a:off x="2212618" y="1541442"/>
              <a:ext cx="2580" cy="489"/>
            </a:xfrm>
            <a:custGeom>
              <a:avLst/>
              <a:gdLst/>
              <a:ahLst/>
              <a:cxnLst/>
              <a:rect l="l" t="t" r="r" b="b"/>
              <a:pathLst>
                <a:path w="190" h="36" extrusionOk="0">
                  <a:moveTo>
                    <a:pt x="139" y="0"/>
                  </a:moveTo>
                  <a:cubicBezTo>
                    <a:pt x="92" y="0"/>
                    <a:pt x="46" y="7"/>
                    <a:pt x="0" y="17"/>
                  </a:cubicBezTo>
                  <a:cubicBezTo>
                    <a:pt x="30" y="30"/>
                    <a:pt x="62" y="36"/>
                    <a:pt x="93" y="36"/>
                  </a:cubicBezTo>
                  <a:cubicBezTo>
                    <a:pt x="102" y="36"/>
                    <a:pt x="111" y="35"/>
                    <a:pt x="119" y="34"/>
                  </a:cubicBezTo>
                  <a:cubicBezTo>
                    <a:pt x="144" y="27"/>
                    <a:pt x="168" y="17"/>
                    <a:pt x="189" y="3"/>
                  </a:cubicBezTo>
                  <a:cubicBezTo>
                    <a:pt x="172" y="1"/>
                    <a:pt x="155" y="0"/>
                    <a:pt x="139"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760" name="Google Shape;5760;p104"/>
            <p:cNvSpPr/>
            <p:nvPr/>
          </p:nvSpPr>
          <p:spPr>
            <a:xfrm>
              <a:off x="2219746" y="1534599"/>
              <a:ext cx="33333" cy="20244"/>
            </a:xfrm>
            <a:custGeom>
              <a:avLst/>
              <a:gdLst/>
              <a:ahLst/>
              <a:cxnLst/>
              <a:rect l="l" t="t" r="r" b="b"/>
              <a:pathLst>
                <a:path w="2455" h="1491" extrusionOk="0">
                  <a:moveTo>
                    <a:pt x="1429" y="1"/>
                  </a:moveTo>
                  <a:cubicBezTo>
                    <a:pt x="1394" y="1"/>
                    <a:pt x="1361" y="3"/>
                    <a:pt x="1331" y="10"/>
                  </a:cubicBezTo>
                  <a:cubicBezTo>
                    <a:pt x="1236" y="27"/>
                    <a:pt x="1114" y="38"/>
                    <a:pt x="988" y="52"/>
                  </a:cubicBezTo>
                  <a:cubicBezTo>
                    <a:pt x="750" y="76"/>
                    <a:pt x="424" y="108"/>
                    <a:pt x="347" y="192"/>
                  </a:cubicBezTo>
                  <a:cubicBezTo>
                    <a:pt x="277" y="255"/>
                    <a:pt x="200" y="304"/>
                    <a:pt x="116" y="339"/>
                  </a:cubicBezTo>
                  <a:cubicBezTo>
                    <a:pt x="74" y="356"/>
                    <a:pt x="35" y="377"/>
                    <a:pt x="0" y="402"/>
                  </a:cubicBezTo>
                  <a:lnTo>
                    <a:pt x="7" y="412"/>
                  </a:lnTo>
                  <a:cubicBezTo>
                    <a:pt x="84" y="465"/>
                    <a:pt x="119" y="552"/>
                    <a:pt x="102" y="643"/>
                  </a:cubicBezTo>
                  <a:cubicBezTo>
                    <a:pt x="91" y="689"/>
                    <a:pt x="102" y="734"/>
                    <a:pt x="133" y="769"/>
                  </a:cubicBezTo>
                  <a:cubicBezTo>
                    <a:pt x="223" y="895"/>
                    <a:pt x="263" y="938"/>
                    <a:pt x="331" y="938"/>
                  </a:cubicBezTo>
                  <a:cubicBezTo>
                    <a:pt x="348" y="938"/>
                    <a:pt x="367" y="935"/>
                    <a:pt x="389" y="930"/>
                  </a:cubicBezTo>
                  <a:cubicBezTo>
                    <a:pt x="414" y="926"/>
                    <a:pt x="438" y="923"/>
                    <a:pt x="462" y="923"/>
                  </a:cubicBezTo>
                  <a:cubicBezTo>
                    <a:pt x="542" y="923"/>
                    <a:pt x="611" y="951"/>
                    <a:pt x="641" y="1007"/>
                  </a:cubicBezTo>
                  <a:cubicBezTo>
                    <a:pt x="662" y="1049"/>
                    <a:pt x="662" y="1102"/>
                    <a:pt x="641" y="1144"/>
                  </a:cubicBezTo>
                  <a:lnTo>
                    <a:pt x="711" y="1140"/>
                  </a:lnTo>
                  <a:lnTo>
                    <a:pt x="722" y="1140"/>
                  </a:lnTo>
                  <a:lnTo>
                    <a:pt x="774" y="1137"/>
                  </a:lnTo>
                  <a:lnTo>
                    <a:pt x="1096" y="1137"/>
                  </a:lnTo>
                  <a:lnTo>
                    <a:pt x="1107" y="1140"/>
                  </a:lnTo>
                  <a:lnTo>
                    <a:pt x="1110" y="1140"/>
                  </a:lnTo>
                  <a:lnTo>
                    <a:pt x="1117" y="1144"/>
                  </a:lnTo>
                  <a:lnTo>
                    <a:pt x="1121" y="1144"/>
                  </a:lnTo>
                  <a:lnTo>
                    <a:pt x="1128" y="1147"/>
                  </a:lnTo>
                  <a:lnTo>
                    <a:pt x="1131" y="1151"/>
                  </a:lnTo>
                  <a:lnTo>
                    <a:pt x="1156" y="1172"/>
                  </a:lnTo>
                  <a:cubicBezTo>
                    <a:pt x="1506" y="1442"/>
                    <a:pt x="1600" y="1466"/>
                    <a:pt x="1625" y="1466"/>
                  </a:cubicBezTo>
                  <a:lnTo>
                    <a:pt x="1898" y="1466"/>
                  </a:lnTo>
                  <a:lnTo>
                    <a:pt x="1933" y="1470"/>
                  </a:lnTo>
                  <a:lnTo>
                    <a:pt x="1950" y="1470"/>
                  </a:lnTo>
                  <a:lnTo>
                    <a:pt x="1992" y="1477"/>
                  </a:lnTo>
                  <a:lnTo>
                    <a:pt x="2013" y="1477"/>
                  </a:lnTo>
                  <a:lnTo>
                    <a:pt x="2059" y="1484"/>
                  </a:lnTo>
                  <a:lnTo>
                    <a:pt x="2083" y="1484"/>
                  </a:lnTo>
                  <a:cubicBezTo>
                    <a:pt x="2083" y="1484"/>
                    <a:pt x="2094" y="1491"/>
                    <a:pt x="2094" y="1491"/>
                  </a:cubicBezTo>
                  <a:cubicBezTo>
                    <a:pt x="2094" y="1466"/>
                    <a:pt x="2101" y="1445"/>
                    <a:pt x="2108" y="1428"/>
                  </a:cubicBezTo>
                  <a:lnTo>
                    <a:pt x="2108" y="1424"/>
                  </a:lnTo>
                  <a:cubicBezTo>
                    <a:pt x="2111" y="1414"/>
                    <a:pt x="2118" y="1407"/>
                    <a:pt x="2125" y="1400"/>
                  </a:cubicBezTo>
                  <a:lnTo>
                    <a:pt x="2125" y="1393"/>
                  </a:lnTo>
                  <a:cubicBezTo>
                    <a:pt x="2132" y="1386"/>
                    <a:pt x="2139" y="1379"/>
                    <a:pt x="2146" y="1375"/>
                  </a:cubicBezTo>
                  <a:lnTo>
                    <a:pt x="2150" y="1368"/>
                  </a:lnTo>
                  <a:cubicBezTo>
                    <a:pt x="2157" y="1361"/>
                    <a:pt x="2167" y="1358"/>
                    <a:pt x="2174" y="1350"/>
                  </a:cubicBezTo>
                  <a:lnTo>
                    <a:pt x="2185" y="1343"/>
                  </a:lnTo>
                  <a:cubicBezTo>
                    <a:pt x="2206" y="1333"/>
                    <a:pt x="2227" y="1322"/>
                    <a:pt x="2248" y="1315"/>
                  </a:cubicBezTo>
                  <a:cubicBezTo>
                    <a:pt x="2262" y="1308"/>
                    <a:pt x="2279" y="1301"/>
                    <a:pt x="2293" y="1291"/>
                  </a:cubicBezTo>
                  <a:cubicBezTo>
                    <a:pt x="2293" y="1284"/>
                    <a:pt x="2290" y="1280"/>
                    <a:pt x="2283" y="1273"/>
                  </a:cubicBezTo>
                  <a:lnTo>
                    <a:pt x="2265" y="1245"/>
                  </a:lnTo>
                  <a:cubicBezTo>
                    <a:pt x="2202" y="1158"/>
                    <a:pt x="2171" y="1116"/>
                    <a:pt x="2157" y="1004"/>
                  </a:cubicBezTo>
                  <a:cubicBezTo>
                    <a:pt x="2157" y="986"/>
                    <a:pt x="2153" y="969"/>
                    <a:pt x="2153" y="951"/>
                  </a:cubicBezTo>
                  <a:cubicBezTo>
                    <a:pt x="2146" y="902"/>
                    <a:pt x="2139" y="853"/>
                    <a:pt x="2129" y="808"/>
                  </a:cubicBezTo>
                  <a:cubicBezTo>
                    <a:pt x="2125" y="790"/>
                    <a:pt x="2125" y="776"/>
                    <a:pt x="2122" y="759"/>
                  </a:cubicBezTo>
                  <a:cubicBezTo>
                    <a:pt x="2115" y="731"/>
                    <a:pt x="2111" y="699"/>
                    <a:pt x="2111" y="668"/>
                  </a:cubicBezTo>
                  <a:cubicBezTo>
                    <a:pt x="2111" y="654"/>
                    <a:pt x="2115" y="636"/>
                    <a:pt x="2115" y="622"/>
                  </a:cubicBezTo>
                  <a:cubicBezTo>
                    <a:pt x="2118" y="584"/>
                    <a:pt x="2136" y="545"/>
                    <a:pt x="2160" y="514"/>
                  </a:cubicBezTo>
                  <a:cubicBezTo>
                    <a:pt x="2171" y="496"/>
                    <a:pt x="2188" y="482"/>
                    <a:pt x="2202" y="465"/>
                  </a:cubicBezTo>
                  <a:cubicBezTo>
                    <a:pt x="2244" y="426"/>
                    <a:pt x="2279" y="377"/>
                    <a:pt x="2304" y="325"/>
                  </a:cubicBezTo>
                  <a:cubicBezTo>
                    <a:pt x="2328" y="276"/>
                    <a:pt x="2360" y="230"/>
                    <a:pt x="2402" y="192"/>
                  </a:cubicBezTo>
                  <a:lnTo>
                    <a:pt x="2419" y="174"/>
                  </a:lnTo>
                  <a:lnTo>
                    <a:pt x="2423" y="167"/>
                  </a:lnTo>
                  <a:lnTo>
                    <a:pt x="2437" y="153"/>
                  </a:lnTo>
                  <a:lnTo>
                    <a:pt x="2440" y="150"/>
                  </a:lnTo>
                  <a:cubicBezTo>
                    <a:pt x="2444" y="146"/>
                    <a:pt x="2447" y="139"/>
                    <a:pt x="2451" y="136"/>
                  </a:cubicBezTo>
                  <a:cubicBezTo>
                    <a:pt x="2451" y="132"/>
                    <a:pt x="2454" y="125"/>
                    <a:pt x="2454" y="122"/>
                  </a:cubicBezTo>
                  <a:cubicBezTo>
                    <a:pt x="2454" y="122"/>
                    <a:pt x="2454" y="118"/>
                    <a:pt x="2454" y="118"/>
                  </a:cubicBezTo>
                  <a:cubicBezTo>
                    <a:pt x="2454" y="115"/>
                    <a:pt x="2454" y="108"/>
                    <a:pt x="2454" y="104"/>
                  </a:cubicBezTo>
                  <a:lnTo>
                    <a:pt x="2454" y="101"/>
                  </a:lnTo>
                  <a:cubicBezTo>
                    <a:pt x="2454" y="94"/>
                    <a:pt x="2451" y="90"/>
                    <a:pt x="2451" y="83"/>
                  </a:cubicBezTo>
                  <a:cubicBezTo>
                    <a:pt x="2423" y="97"/>
                    <a:pt x="2398" y="104"/>
                    <a:pt x="2370" y="111"/>
                  </a:cubicBezTo>
                  <a:cubicBezTo>
                    <a:pt x="2334" y="122"/>
                    <a:pt x="2294" y="126"/>
                    <a:pt x="2249" y="126"/>
                  </a:cubicBezTo>
                  <a:cubicBezTo>
                    <a:pt x="2133" y="126"/>
                    <a:pt x="1992" y="96"/>
                    <a:pt x="1845" y="66"/>
                  </a:cubicBezTo>
                  <a:cubicBezTo>
                    <a:pt x="1702" y="33"/>
                    <a:pt x="1552" y="1"/>
                    <a:pt x="1429" y="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761" name="Google Shape;5761;p104"/>
            <p:cNvSpPr/>
            <p:nvPr/>
          </p:nvSpPr>
          <p:spPr>
            <a:xfrm>
              <a:off x="2210051" y="1545190"/>
              <a:ext cx="7047" cy="5092"/>
            </a:xfrm>
            <a:custGeom>
              <a:avLst/>
              <a:gdLst/>
              <a:ahLst/>
              <a:cxnLst/>
              <a:rect l="l" t="t" r="r" b="b"/>
              <a:pathLst>
                <a:path w="519" h="375" extrusionOk="0">
                  <a:moveTo>
                    <a:pt x="414" y="0"/>
                  </a:moveTo>
                  <a:cubicBezTo>
                    <a:pt x="368" y="0"/>
                    <a:pt x="308" y="8"/>
                    <a:pt x="235" y="28"/>
                  </a:cubicBezTo>
                  <a:cubicBezTo>
                    <a:pt x="133" y="59"/>
                    <a:pt x="56" y="136"/>
                    <a:pt x="21" y="238"/>
                  </a:cubicBezTo>
                  <a:cubicBezTo>
                    <a:pt x="4" y="280"/>
                    <a:pt x="0" y="325"/>
                    <a:pt x="7" y="374"/>
                  </a:cubicBezTo>
                  <a:cubicBezTo>
                    <a:pt x="130" y="350"/>
                    <a:pt x="417" y="122"/>
                    <a:pt x="518" y="24"/>
                  </a:cubicBezTo>
                  <a:lnTo>
                    <a:pt x="518" y="21"/>
                  </a:lnTo>
                  <a:cubicBezTo>
                    <a:pt x="505" y="11"/>
                    <a:pt x="470" y="0"/>
                    <a:pt x="414"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762" name="Google Shape;5762;p104"/>
            <p:cNvSpPr/>
            <p:nvPr/>
          </p:nvSpPr>
          <p:spPr>
            <a:xfrm>
              <a:off x="2234002" y="1549982"/>
              <a:ext cx="258" cy="14"/>
            </a:xfrm>
            <a:custGeom>
              <a:avLst/>
              <a:gdLst/>
              <a:ahLst/>
              <a:cxnLst/>
              <a:rect l="l" t="t" r="r" b="b"/>
              <a:pathLst>
                <a:path w="19" h="1" extrusionOk="0">
                  <a:moveTo>
                    <a:pt x="18"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763" name="Google Shape;5763;p104"/>
            <p:cNvSpPr/>
            <p:nvPr/>
          </p:nvSpPr>
          <p:spPr>
            <a:xfrm>
              <a:off x="2234342" y="1550023"/>
              <a:ext cx="149" cy="14"/>
            </a:xfrm>
            <a:custGeom>
              <a:avLst/>
              <a:gdLst/>
              <a:ahLst/>
              <a:cxnLst/>
              <a:rect l="l" t="t" r="r" b="b"/>
              <a:pathLst>
                <a:path w="11" h="1" extrusionOk="0">
                  <a:moveTo>
                    <a:pt x="11"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764" name="Google Shape;5764;p104"/>
            <p:cNvSpPr/>
            <p:nvPr/>
          </p:nvSpPr>
          <p:spPr>
            <a:xfrm>
              <a:off x="2234722" y="1550118"/>
              <a:ext cx="149" cy="68"/>
            </a:xfrm>
            <a:custGeom>
              <a:avLst/>
              <a:gdLst/>
              <a:ahLst/>
              <a:cxnLst/>
              <a:rect l="l" t="t" r="r" b="b"/>
              <a:pathLst>
                <a:path w="11" h="5" extrusionOk="0">
                  <a:moveTo>
                    <a:pt x="11"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765" name="Google Shape;5765;p104"/>
            <p:cNvSpPr/>
            <p:nvPr/>
          </p:nvSpPr>
          <p:spPr>
            <a:xfrm>
              <a:off x="2234572" y="1550077"/>
              <a:ext cx="109" cy="14"/>
            </a:xfrm>
            <a:custGeom>
              <a:avLst/>
              <a:gdLst/>
              <a:ahLst/>
              <a:cxnLst/>
              <a:rect l="l" t="t" r="r" b="b"/>
              <a:pathLst>
                <a:path w="8" h="1" extrusionOk="0">
                  <a:moveTo>
                    <a:pt x="8"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766" name="Google Shape;5766;p104"/>
            <p:cNvSpPr/>
            <p:nvPr/>
          </p:nvSpPr>
          <p:spPr>
            <a:xfrm>
              <a:off x="2229630" y="1549982"/>
              <a:ext cx="733" cy="54"/>
            </a:xfrm>
            <a:custGeom>
              <a:avLst/>
              <a:gdLst/>
              <a:ahLst/>
              <a:cxnLst/>
              <a:rect l="l" t="t" r="r" b="b"/>
              <a:pathLst>
                <a:path w="54" h="4" extrusionOk="0">
                  <a:moveTo>
                    <a:pt x="53" y="0"/>
                  </a:moveTo>
                  <a:lnTo>
                    <a:pt x="1" y="4"/>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767" name="Google Shape;5767;p104"/>
            <p:cNvSpPr/>
            <p:nvPr/>
          </p:nvSpPr>
          <p:spPr>
            <a:xfrm>
              <a:off x="2245652" y="1554599"/>
              <a:ext cx="530" cy="54"/>
            </a:xfrm>
            <a:custGeom>
              <a:avLst/>
              <a:gdLst/>
              <a:ahLst/>
              <a:cxnLst/>
              <a:rect l="l" t="t" r="r" b="b"/>
              <a:pathLst>
                <a:path w="39" h="4" extrusionOk="0">
                  <a:moveTo>
                    <a:pt x="39"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768" name="Google Shape;5768;p104"/>
            <p:cNvSpPr/>
            <p:nvPr/>
          </p:nvSpPr>
          <p:spPr>
            <a:xfrm>
              <a:off x="2244986" y="1554544"/>
              <a:ext cx="489" cy="68"/>
            </a:xfrm>
            <a:custGeom>
              <a:avLst/>
              <a:gdLst/>
              <a:ahLst/>
              <a:cxnLst/>
              <a:rect l="l" t="t" r="r" b="b"/>
              <a:pathLst>
                <a:path w="36" h="5" extrusionOk="0">
                  <a:moveTo>
                    <a:pt x="35"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769" name="Google Shape;5769;p104"/>
            <p:cNvSpPr/>
            <p:nvPr/>
          </p:nvSpPr>
          <p:spPr>
            <a:xfrm>
              <a:off x="2235102" y="1550213"/>
              <a:ext cx="109" cy="68"/>
            </a:xfrm>
            <a:custGeom>
              <a:avLst/>
              <a:gdLst/>
              <a:ahLst/>
              <a:cxnLst/>
              <a:rect l="l" t="t" r="r" b="b"/>
              <a:pathLst>
                <a:path w="8" h="5" extrusionOk="0">
                  <a:moveTo>
                    <a:pt x="7"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770" name="Google Shape;5770;p104"/>
            <p:cNvSpPr/>
            <p:nvPr/>
          </p:nvSpPr>
          <p:spPr>
            <a:xfrm>
              <a:off x="2244416" y="1554544"/>
              <a:ext cx="434" cy="14"/>
            </a:xfrm>
            <a:custGeom>
              <a:avLst/>
              <a:gdLst/>
              <a:ahLst/>
              <a:cxnLst/>
              <a:rect l="l" t="t" r="r" b="b"/>
              <a:pathLst>
                <a:path w="32" h="1" extrusionOk="0">
                  <a:moveTo>
                    <a:pt x="32"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771" name="Google Shape;5771;p104"/>
            <p:cNvSpPr/>
            <p:nvPr/>
          </p:nvSpPr>
          <p:spPr>
            <a:xfrm>
              <a:off x="2233622" y="1549982"/>
              <a:ext cx="299" cy="14"/>
            </a:xfrm>
            <a:custGeom>
              <a:avLst/>
              <a:gdLst/>
              <a:ahLst/>
              <a:cxnLst/>
              <a:rect l="l" t="t" r="r" b="b"/>
              <a:pathLst>
                <a:path w="22" h="1" extrusionOk="0">
                  <a:moveTo>
                    <a:pt x="22"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772" name="Google Shape;5772;p104"/>
            <p:cNvSpPr/>
            <p:nvPr/>
          </p:nvSpPr>
          <p:spPr>
            <a:xfrm>
              <a:off x="2247267" y="1554789"/>
              <a:ext cx="584" cy="54"/>
            </a:xfrm>
            <a:custGeom>
              <a:avLst/>
              <a:gdLst/>
              <a:ahLst/>
              <a:cxnLst/>
              <a:rect l="l" t="t" r="r" b="b"/>
              <a:pathLst>
                <a:path w="43" h="4" extrusionOk="0">
                  <a:moveTo>
                    <a:pt x="42"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773" name="Google Shape;5773;p104"/>
            <p:cNvSpPr/>
            <p:nvPr/>
          </p:nvSpPr>
          <p:spPr>
            <a:xfrm>
              <a:off x="2246412" y="1554694"/>
              <a:ext cx="584" cy="54"/>
            </a:xfrm>
            <a:custGeom>
              <a:avLst/>
              <a:gdLst/>
              <a:ahLst/>
              <a:cxnLst/>
              <a:rect l="l" t="t" r="r" b="b"/>
              <a:pathLst>
                <a:path w="43" h="4" extrusionOk="0">
                  <a:moveTo>
                    <a:pt x="42"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774" name="Google Shape;5774;p104"/>
            <p:cNvSpPr/>
            <p:nvPr/>
          </p:nvSpPr>
          <p:spPr>
            <a:xfrm>
              <a:off x="2243941" y="1554504"/>
              <a:ext cx="339" cy="14"/>
            </a:xfrm>
            <a:custGeom>
              <a:avLst/>
              <a:gdLst/>
              <a:ahLst/>
              <a:cxnLst/>
              <a:rect l="l" t="t" r="r" b="b"/>
              <a:pathLst>
                <a:path w="25" h="1" extrusionOk="0">
                  <a:moveTo>
                    <a:pt x="25"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775" name="Google Shape;5775;p104"/>
            <p:cNvSpPr/>
            <p:nvPr/>
          </p:nvSpPr>
          <p:spPr>
            <a:xfrm>
              <a:off x="2242420" y="1554504"/>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776" name="Google Shape;5776;p104"/>
            <p:cNvSpPr/>
            <p:nvPr/>
          </p:nvSpPr>
          <p:spPr>
            <a:xfrm>
              <a:off x="2242230" y="1554504"/>
              <a:ext cx="54" cy="14"/>
            </a:xfrm>
            <a:custGeom>
              <a:avLst/>
              <a:gdLst/>
              <a:ahLst/>
              <a:cxnLst/>
              <a:rect l="l" t="t" r="r" b="b"/>
              <a:pathLst>
                <a:path w="4" h="1" extrusionOk="0">
                  <a:moveTo>
                    <a:pt x="4"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777" name="Google Shape;5777;p104"/>
            <p:cNvSpPr/>
            <p:nvPr/>
          </p:nvSpPr>
          <p:spPr>
            <a:xfrm>
              <a:off x="2228530" y="1550023"/>
              <a:ext cx="964" cy="109"/>
            </a:xfrm>
            <a:custGeom>
              <a:avLst/>
              <a:gdLst/>
              <a:ahLst/>
              <a:cxnLst/>
              <a:rect l="l" t="t" r="r" b="b"/>
              <a:pathLst>
                <a:path w="71" h="8" extrusionOk="0">
                  <a:moveTo>
                    <a:pt x="1" y="8"/>
                  </a:moveTo>
                  <a:lnTo>
                    <a:pt x="71"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778" name="Google Shape;5778;p104"/>
            <p:cNvSpPr/>
            <p:nvPr/>
          </p:nvSpPr>
          <p:spPr>
            <a:xfrm>
              <a:off x="2243506" y="1554449"/>
              <a:ext cx="299" cy="14"/>
            </a:xfrm>
            <a:custGeom>
              <a:avLst/>
              <a:gdLst/>
              <a:ahLst/>
              <a:cxnLst/>
              <a:rect l="l" t="t" r="r" b="b"/>
              <a:pathLst>
                <a:path w="22" h="1" extrusionOk="0">
                  <a:moveTo>
                    <a:pt x="22"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779" name="Google Shape;5779;p104"/>
            <p:cNvSpPr/>
            <p:nvPr/>
          </p:nvSpPr>
          <p:spPr>
            <a:xfrm>
              <a:off x="2242841" y="1554449"/>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780" name="Google Shape;5780;p104"/>
            <p:cNvSpPr/>
            <p:nvPr/>
          </p:nvSpPr>
          <p:spPr>
            <a:xfrm>
              <a:off x="2242610" y="1554449"/>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781" name="Google Shape;5781;p104"/>
            <p:cNvSpPr/>
            <p:nvPr/>
          </p:nvSpPr>
          <p:spPr>
            <a:xfrm>
              <a:off x="2232441" y="1549928"/>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782" name="Google Shape;5782;p104"/>
            <p:cNvSpPr/>
            <p:nvPr/>
          </p:nvSpPr>
          <p:spPr>
            <a:xfrm>
              <a:off x="2242081" y="1554544"/>
              <a:ext cx="68" cy="14"/>
            </a:xfrm>
            <a:custGeom>
              <a:avLst/>
              <a:gdLst/>
              <a:ahLst/>
              <a:cxnLst/>
              <a:rect l="l" t="t" r="r" b="b"/>
              <a:pathLst>
                <a:path w="5" h="1" extrusionOk="0">
                  <a:moveTo>
                    <a:pt x="4"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783" name="Google Shape;5783;p104"/>
            <p:cNvSpPr/>
            <p:nvPr/>
          </p:nvSpPr>
          <p:spPr>
            <a:xfrm>
              <a:off x="2243126" y="1554449"/>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784" name="Google Shape;5784;p104"/>
            <p:cNvSpPr/>
            <p:nvPr/>
          </p:nvSpPr>
          <p:spPr>
            <a:xfrm>
              <a:off x="2230581" y="1549928"/>
              <a:ext cx="584" cy="14"/>
            </a:xfrm>
            <a:custGeom>
              <a:avLst/>
              <a:gdLst/>
              <a:ahLst/>
              <a:cxnLst/>
              <a:rect l="l" t="t" r="r" b="b"/>
              <a:pathLst>
                <a:path w="43" h="1" extrusionOk="0">
                  <a:moveTo>
                    <a:pt x="43"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785" name="Google Shape;5785;p104"/>
            <p:cNvSpPr/>
            <p:nvPr/>
          </p:nvSpPr>
          <p:spPr>
            <a:xfrm>
              <a:off x="2234912" y="1550118"/>
              <a:ext cx="109" cy="68"/>
            </a:xfrm>
            <a:custGeom>
              <a:avLst/>
              <a:gdLst/>
              <a:ahLst/>
              <a:cxnLst/>
              <a:rect l="l" t="t" r="r" b="b"/>
              <a:pathLst>
                <a:path w="8" h="5" extrusionOk="0">
                  <a:moveTo>
                    <a:pt x="7"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786" name="Google Shape;5786;p104"/>
            <p:cNvSpPr/>
            <p:nvPr/>
          </p:nvSpPr>
          <p:spPr>
            <a:xfrm>
              <a:off x="2233011" y="1549928"/>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787" name="Google Shape;5787;p104"/>
            <p:cNvSpPr/>
            <p:nvPr/>
          </p:nvSpPr>
          <p:spPr>
            <a:xfrm>
              <a:off x="2231436" y="1549928"/>
              <a:ext cx="448" cy="14"/>
            </a:xfrm>
            <a:custGeom>
              <a:avLst/>
              <a:gdLst/>
              <a:ahLst/>
              <a:cxnLst/>
              <a:rect l="l" t="t" r="r" b="b"/>
              <a:pathLst>
                <a:path w="33" h="1" extrusionOk="0">
                  <a:moveTo>
                    <a:pt x="32"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788" name="Google Shape;5788;p104"/>
            <p:cNvSpPr/>
            <p:nvPr/>
          </p:nvSpPr>
          <p:spPr>
            <a:xfrm>
              <a:off x="2235197" y="1550308"/>
              <a:ext cx="54" cy="14"/>
            </a:xfrm>
            <a:custGeom>
              <a:avLst/>
              <a:gdLst/>
              <a:ahLst/>
              <a:cxnLst/>
              <a:rect l="l" t="t" r="r" b="b"/>
              <a:pathLst>
                <a:path w="4" h="1" extrusionOk="0">
                  <a:moveTo>
                    <a:pt x="4"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789" name="Google Shape;5789;p104"/>
            <p:cNvSpPr/>
            <p:nvPr/>
          </p:nvSpPr>
          <p:spPr>
            <a:xfrm>
              <a:off x="2242040" y="1554544"/>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790" name="Google Shape;5790;p104"/>
            <p:cNvSpPr/>
            <p:nvPr/>
          </p:nvSpPr>
          <p:spPr>
            <a:xfrm>
              <a:off x="2233486" y="1549928"/>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791" name="Google Shape;5791;p104"/>
            <p:cNvSpPr/>
            <p:nvPr/>
          </p:nvSpPr>
          <p:spPr>
            <a:xfrm>
              <a:off x="2235007" y="1550173"/>
              <a:ext cx="109" cy="54"/>
            </a:xfrm>
            <a:custGeom>
              <a:avLst/>
              <a:gdLst/>
              <a:ahLst/>
              <a:cxnLst/>
              <a:rect l="l" t="t" r="r" b="b"/>
              <a:pathLst>
                <a:path w="8" h="4" extrusionOk="0">
                  <a:moveTo>
                    <a:pt x="7"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792" name="Google Shape;5792;p104"/>
            <p:cNvSpPr/>
            <p:nvPr/>
          </p:nvSpPr>
          <p:spPr>
            <a:xfrm>
              <a:off x="2295603" y="2007327"/>
              <a:ext cx="56822" cy="70087"/>
            </a:xfrm>
            <a:custGeom>
              <a:avLst/>
              <a:gdLst/>
              <a:ahLst/>
              <a:cxnLst/>
              <a:rect l="l" t="t" r="r" b="b"/>
              <a:pathLst>
                <a:path w="4185" h="5162" extrusionOk="0">
                  <a:moveTo>
                    <a:pt x="638" y="1"/>
                  </a:moveTo>
                  <a:cubicBezTo>
                    <a:pt x="602" y="1"/>
                    <a:pt x="556" y="5"/>
                    <a:pt x="498" y="16"/>
                  </a:cubicBezTo>
                  <a:lnTo>
                    <a:pt x="491" y="16"/>
                  </a:lnTo>
                  <a:cubicBezTo>
                    <a:pt x="375" y="40"/>
                    <a:pt x="151" y="187"/>
                    <a:pt x="109" y="250"/>
                  </a:cubicBezTo>
                  <a:cubicBezTo>
                    <a:pt x="109" y="254"/>
                    <a:pt x="106" y="257"/>
                    <a:pt x="106" y="261"/>
                  </a:cubicBezTo>
                  <a:cubicBezTo>
                    <a:pt x="106" y="268"/>
                    <a:pt x="102" y="275"/>
                    <a:pt x="99" y="278"/>
                  </a:cubicBezTo>
                  <a:lnTo>
                    <a:pt x="95" y="289"/>
                  </a:lnTo>
                  <a:cubicBezTo>
                    <a:pt x="95" y="292"/>
                    <a:pt x="92" y="296"/>
                    <a:pt x="92" y="296"/>
                  </a:cubicBezTo>
                  <a:lnTo>
                    <a:pt x="85" y="306"/>
                  </a:lnTo>
                  <a:lnTo>
                    <a:pt x="81" y="313"/>
                  </a:lnTo>
                  <a:lnTo>
                    <a:pt x="74" y="324"/>
                  </a:lnTo>
                  <a:lnTo>
                    <a:pt x="67" y="331"/>
                  </a:lnTo>
                  <a:lnTo>
                    <a:pt x="284" y="527"/>
                  </a:lnTo>
                  <a:lnTo>
                    <a:pt x="340" y="919"/>
                  </a:lnTo>
                  <a:lnTo>
                    <a:pt x="568" y="1118"/>
                  </a:lnTo>
                  <a:lnTo>
                    <a:pt x="568" y="1146"/>
                  </a:lnTo>
                  <a:cubicBezTo>
                    <a:pt x="568" y="1300"/>
                    <a:pt x="557" y="1451"/>
                    <a:pt x="540" y="1601"/>
                  </a:cubicBezTo>
                  <a:cubicBezTo>
                    <a:pt x="508" y="1854"/>
                    <a:pt x="291" y="2148"/>
                    <a:pt x="155" y="2284"/>
                  </a:cubicBezTo>
                  <a:lnTo>
                    <a:pt x="155" y="2288"/>
                  </a:lnTo>
                  <a:lnTo>
                    <a:pt x="151" y="2291"/>
                  </a:lnTo>
                  <a:lnTo>
                    <a:pt x="148" y="2295"/>
                  </a:lnTo>
                  <a:lnTo>
                    <a:pt x="144" y="2302"/>
                  </a:lnTo>
                  <a:lnTo>
                    <a:pt x="141" y="2309"/>
                  </a:lnTo>
                  <a:lnTo>
                    <a:pt x="141" y="2312"/>
                  </a:lnTo>
                  <a:lnTo>
                    <a:pt x="137" y="2319"/>
                  </a:lnTo>
                  <a:lnTo>
                    <a:pt x="137" y="2323"/>
                  </a:lnTo>
                  <a:lnTo>
                    <a:pt x="130" y="2333"/>
                  </a:lnTo>
                  <a:lnTo>
                    <a:pt x="130" y="2337"/>
                  </a:lnTo>
                  <a:lnTo>
                    <a:pt x="123" y="2351"/>
                  </a:lnTo>
                  <a:cubicBezTo>
                    <a:pt x="120" y="2365"/>
                    <a:pt x="113" y="2375"/>
                    <a:pt x="106" y="2393"/>
                  </a:cubicBezTo>
                  <a:lnTo>
                    <a:pt x="106" y="2396"/>
                  </a:lnTo>
                  <a:lnTo>
                    <a:pt x="95" y="2417"/>
                  </a:lnTo>
                  <a:lnTo>
                    <a:pt x="92" y="2424"/>
                  </a:lnTo>
                  <a:lnTo>
                    <a:pt x="85" y="2442"/>
                  </a:lnTo>
                  <a:lnTo>
                    <a:pt x="81" y="2452"/>
                  </a:lnTo>
                  <a:lnTo>
                    <a:pt x="71" y="2473"/>
                  </a:lnTo>
                  <a:lnTo>
                    <a:pt x="67" y="2484"/>
                  </a:lnTo>
                  <a:lnTo>
                    <a:pt x="57" y="2505"/>
                  </a:lnTo>
                  <a:lnTo>
                    <a:pt x="53" y="2519"/>
                  </a:lnTo>
                  <a:lnTo>
                    <a:pt x="50" y="2529"/>
                  </a:lnTo>
                  <a:cubicBezTo>
                    <a:pt x="211" y="2575"/>
                    <a:pt x="410" y="2659"/>
                    <a:pt x="389" y="2785"/>
                  </a:cubicBezTo>
                  <a:cubicBezTo>
                    <a:pt x="372" y="2876"/>
                    <a:pt x="281" y="2907"/>
                    <a:pt x="197" y="2935"/>
                  </a:cubicBezTo>
                  <a:cubicBezTo>
                    <a:pt x="74" y="2981"/>
                    <a:pt x="1" y="3012"/>
                    <a:pt x="1" y="3124"/>
                  </a:cubicBezTo>
                  <a:lnTo>
                    <a:pt x="1" y="3142"/>
                  </a:lnTo>
                  <a:lnTo>
                    <a:pt x="2070" y="4238"/>
                  </a:lnTo>
                  <a:lnTo>
                    <a:pt x="2042" y="4581"/>
                  </a:lnTo>
                  <a:lnTo>
                    <a:pt x="2115" y="4637"/>
                  </a:lnTo>
                  <a:lnTo>
                    <a:pt x="2126" y="4644"/>
                  </a:lnTo>
                  <a:lnTo>
                    <a:pt x="2150" y="4661"/>
                  </a:lnTo>
                  <a:lnTo>
                    <a:pt x="2164" y="4672"/>
                  </a:lnTo>
                  <a:lnTo>
                    <a:pt x="2185" y="4686"/>
                  </a:lnTo>
                  <a:lnTo>
                    <a:pt x="2213" y="4707"/>
                  </a:lnTo>
                  <a:lnTo>
                    <a:pt x="2231" y="4717"/>
                  </a:lnTo>
                  <a:lnTo>
                    <a:pt x="2262" y="4742"/>
                  </a:lnTo>
                  <a:lnTo>
                    <a:pt x="2276" y="4752"/>
                  </a:lnTo>
                  <a:lnTo>
                    <a:pt x="2322" y="4784"/>
                  </a:lnTo>
                  <a:lnTo>
                    <a:pt x="2329" y="4787"/>
                  </a:lnTo>
                  <a:lnTo>
                    <a:pt x="2381" y="4826"/>
                  </a:lnTo>
                  <a:lnTo>
                    <a:pt x="2388" y="4829"/>
                  </a:lnTo>
                  <a:lnTo>
                    <a:pt x="2441" y="4868"/>
                  </a:lnTo>
                  <a:lnTo>
                    <a:pt x="2448" y="4875"/>
                  </a:lnTo>
                  <a:lnTo>
                    <a:pt x="2504" y="4913"/>
                  </a:lnTo>
                  <a:lnTo>
                    <a:pt x="2514" y="4920"/>
                  </a:lnTo>
                  <a:lnTo>
                    <a:pt x="2570" y="4959"/>
                  </a:lnTo>
                  <a:lnTo>
                    <a:pt x="2581" y="4966"/>
                  </a:lnTo>
                  <a:lnTo>
                    <a:pt x="2637" y="5008"/>
                  </a:lnTo>
                  <a:lnTo>
                    <a:pt x="2647" y="5015"/>
                  </a:lnTo>
                  <a:lnTo>
                    <a:pt x="2703" y="5053"/>
                  </a:lnTo>
                  <a:lnTo>
                    <a:pt x="2717" y="5064"/>
                  </a:lnTo>
                  <a:lnTo>
                    <a:pt x="2766" y="5099"/>
                  </a:lnTo>
                  <a:lnTo>
                    <a:pt x="2791" y="5113"/>
                  </a:lnTo>
                  <a:lnTo>
                    <a:pt x="2822" y="5137"/>
                  </a:lnTo>
                  <a:lnTo>
                    <a:pt x="2861" y="5162"/>
                  </a:lnTo>
                  <a:cubicBezTo>
                    <a:pt x="3053" y="4689"/>
                    <a:pt x="3298" y="4150"/>
                    <a:pt x="3372" y="4038"/>
                  </a:cubicBezTo>
                  <a:cubicBezTo>
                    <a:pt x="3428" y="3954"/>
                    <a:pt x="3505" y="3884"/>
                    <a:pt x="3600" y="3842"/>
                  </a:cubicBezTo>
                  <a:cubicBezTo>
                    <a:pt x="3645" y="3821"/>
                    <a:pt x="3691" y="3789"/>
                    <a:pt x="3722" y="3751"/>
                  </a:cubicBezTo>
                  <a:cubicBezTo>
                    <a:pt x="3755" y="3703"/>
                    <a:pt x="3807" y="3675"/>
                    <a:pt x="3860" y="3675"/>
                  </a:cubicBezTo>
                  <a:cubicBezTo>
                    <a:pt x="3869" y="3675"/>
                    <a:pt x="3878" y="3676"/>
                    <a:pt x="3887" y="3677"/>
                  </a:cubicBezTo>
                  <a:cubicBezTo>
                    <a:pt x="3888" y="3677"/>
                    <a:pt x="3890" y="3677"/>
                    <a:pt x="3892" y="3677"/>
                  </a:cubicBezTo>
                  <a:cubicBezTo>
                    <a:pt x="3921" y="3677"/>
                    <a:pt x="3947" y="3674"/>
                    <a:pt x="4020" y="3562"/>
                  </a:cubicBezTo>
                  <a:cubicBezTo>
                    <a:pt x="4027" y="3551"/>
                    <a:pt x="4034" y="3537"/>
                    <a:pt x="4041" y="3527"/>
                  </a:cubicBezTo>
                  <a:lnTo>
                    <a:pt x="3785" y="3121"/>
                  </a:lnTo>
                  <a:lnTo>
                    <a:pt x="3754" y="1122"/>
                  </a:lnTo>
                  <a:lnTo>
                    <a:pt x="4016" y="712"/>
                  </a:lnTo>
                  <a:lnTo>
                    <a:pt x="4184" y="471"/>
                  </a:lnTo>
                  <a:lnTo>
                    <a:pt x="4160" y="481"/>
                  </a:lnTo>
                  <a:lnTo>
                    <a:pt x="4139" y="488"/>
                  </a:lnTo>
                  <a:lnTo>
                    <a:pt x="4128" y="492"/>
                  </a:lnTo>
                  <a:lnTo>
                    <a:pt x="4111" y="495"/>
                  </a:lnTo>
                  <a:lnTo>
                    <a:pt x="4104" y="499"/>
                  </a:lnTo>
                  <a:lnTo>
                    <a:pt x="4090" y="502"/>
                  </a:lnTo>
                  <a:lnTo>
                    <a:pt x="4083" y="502"/>
                  </a:lnTo>
                  <a:lnTo>
                    <a:pt x="4072" y="509"/>
                  </a:lnTo>
                  <a:cubicBezTo>
                    <a:pt x="4044" y="523"/>
                    <a:pt x="4013" y="530"/>
                    <a:pt x="3981" y="530"/>
                  </a:cubicBezTo>
                  <a:cubicBezTo>
                    <a:pt x="3946" y="530"/>
                    <a:pt x="3911" y="527"/>
                    <a:pt x="3880" y="513"/>
                  </a:cubicBezTo>
                  <a:cubicBezTo>
                    <a:pt x="3810" y="488"/>
                    <a:pt x="3750" y="439"/>
                    <a:pt x="3719" y="373"/>
                  </a:cubicBezTo>
                  <a:cubicBezTo>
                    <a:pt x="3713" y="370"/>
                    <a:pt x="3704" y="369"/>
                    <a:pt x="3693" y="369"/>
                  </a:cubicBezTo>
                  <a:cubicBezTo>
                    <a:pt x="3631" y="369"/>
                    <a:pt x="3496" y="404"/>
                    <a:pt x="3333" y="495"/>
                  </a:cubicBezTo>
                  <a:cubicBezTo>
                    <a:pt x="3256" y="544"/>
                    <a:pt x="3190" y="607"/>
                    <a:pt x="3130" y="677"/>
                  </a:cubicBezTo>
                  <a:lnTo>
                    <a:pt x="3113" y="698"/>
                  </a:lnTo>
                  <a:lnTo>
                    <a:pt x="3109" y="702"/>
                  </a:lnTo>
                  <a:lnTo>
                    <a:pt x="3092" y="723"/>
                  </a:lnTo>
                  <a:lnTo>
                    <a:pt x="3074" y="740"/>
                  </a:lnTo>
                  <a:lnTo>
                    <a:pt x="3071" y="744"/>
                  </a:lnTo>
                  <a:lnTo>
                    <a:pt x="3050" y="761"/>
                  </a:lnTo>
                  <a:lnTo>
                    <a:pt x="3046" y="761"/>
                  </a:lnTo>
                  <a:lnTo>
                    <a:pt x="3032" y="775"/>
                  </a:lnTo>
                  <a:lnTo>
                    <a:pt x="3025" y="779"/>
                  </a:lnTo>
                  <a:cubicBezTo>
                    <a:pt x="3022" y="782"/>
                    <a:pt x="3015" y="786"/>
                    <a:pt x="3008" y="789"/>
                  </a:cubicBezTo>
                  <a:lnTo>
                    <a:pt x="3004" y="789"/>
                  </a:lnTo>
                  <a:lnTo>
                    <a:pt x="2987" y="793"/>
                  </a:lnTo>
                  <a:lnTo>
                    <a:pt x="2983" y="793"/>
                  </a:lnTo>
                  <a:cubicBezTo>
                    <a:pt x="2976" y="796"/>
                    <a:pt x="2969" y="796"/>
                    <a:pt x="2962" y="796"/>
                  </a:cubicBezTo>
                  <a:lnTo>
                    <a:pt x="2934" y="796"/>
                  </a:lnTo>
                  <a:lnTo>
                    <a:pt x="2924" y="793"/>
                  </a:lnTo>
                  <a:lnTo>
                    <a:pt x="2920" y="793"/>
                  </a:lnTo>
                  <a:lnTo>
                    <a:pt x="2906" y="786"/>
                  </a:lnTo>
                  <a:lnTo>
                    <a:pt x="2903" y="786"/>
                  </a:lnTo>
                  <a:cubicBezTo>
                    <a:pt x="2868" y="761"/>
                    <a:pt x="2661" y="726"/>
                    <a:pt x="2497" y="705"/>
                  </a:cubicBezTo>
                  <a:cubicBezTo>
                    <a:pt x="2434" y="695"/>
                    <a:pt x="2371" y="691"/>
                    <a:pt x="2311" y="688"/>
                  </a:cubicBezTo>
                  <a:cubicBezTo>
                    <a:pt x="2273" y="684"/>
                    <a:pt x="2234" y="677"/>
                    <a:pt x="2199" y="660"/>
                  </a:cubicBezTo>
                  <a:cubicBezTo>
                    <a:pt x="2171" y="649"/>
                    <a:pt x="2140" y="635"/>
                    <a:pt x="2108" y="618"/>
                  </a:cubicBezTo>
                  <a:cubicBezTo>
                    <a:pt x="1940" y="530"/>
                    <a:pt x="1783" y="425"/>
                    <a:pt x="1636" y="306"/>
                  </a:cubicBezTo>
                  <a:cubicBezTo>
                    <a:pt x="1587" y="261"/>
                    <a:pt x="1461" y="250"/>
                    <a:pt x="1356" y="243"/>
                  </a:cubicBezTo>
                  <a:lnTo>
                    <a:pt x="1314" y="240"/>
                  </a:lnTo>
                  <a:cubicBezTo>
                    <a:pt x="1212" y="236"/>
                    <a:pt x="1138" y="233"/>
                    <a:pt x="1089" y="205"/>
                  </a:cubicBezTo>
                  <a:lnTo>
                    <a:pt x="1065" y="194"/>
                  </a:lnTo>
                  <a:cubicBezTo>
                    <a:pt x="1044" y="184"/>
                    <a:pt x="1023" y="173"/>
                    <a:pt x="995" y="163"/>
                  </a:cubicBezTo>
                  <a:lnTo>
                    <a:pt x="925" y="135"/>
                  </a:lnTo>
                  <a:lnTo>
                    <a:pt x="911" y="128"/>
                  </a:lnTo>
                  <a:lnTo>
                    <a:pt x="869" y="114"/>
                  </a:lnTo>
                  <a:cubicBezTo>
                    <a:pt x="844" y="100"/>
                    <a:pt x="816" y="82"/>
                    <a:pt x="792" y="65"/>
                  </a:cubicBezTo>
                  <a:lnTo>
                    <a:pt x="785" y="61"/>
                  </a:lnTo>
                  <a:cubicBezTo>
                    <a:pt x="774" y="54"/>
                    <a:pt x="764" y="44"/>
                    <a:pt x="757" y="33"/>
                  </a:cubicBezTo>
                  <a:cubicBezTo>
                    <a:pt x="747" y="21"/>
                    <a:pt x="718" y="1"/>
                    <a:pt x="638" y="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793" name="Google Shape;5793;p104"/>
            <p:cNvSpPr/>
            <p:nvPr/>
          </p:nvSpPr>
          <p:spPr>
            <a:xfrm>
              <a:off x="2349886" y="2013858"/>
              <a:ext cx="2254" cy="3286"/>
            </a:xfrm>
            <a:custGeom>
              <a:avLst/>
              <a:gdLst/>
              <a:ahLst/>
              <a:cxnLst/>
              <a:rect l="l" t="t" r="r" b="b"/>
              <a:pathLst>
                <a:path w="166" h="242" extrusionOk="0">
                  <a:moveTo>
                    <a:pt x="1" y="242"/>
                  </a:moveTo>
                  <a:lnTo>
                    <a:pt x="165" y="0"/>
                  </a:lnTo>
                  <a:lnTo>
                    <a:pt x="165"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794" name="Google Shape;5794;p104"/>
            <p:cNvSpPr/>
            <p:nvPr/>
          </p:nvSpPr>
          <p:spPr>
            <a:xfrm>
              <a:off x="2308149" y="2009201"/>
              <a:ext cx="964" cy="394"/>
            </a:xfrm>
            <a:custGeom>
              <a:avLst/>
              <a:gdLst/>
              <a:ahLst/>
              <a:cxnLst/>
              <a:rect l="l" t="t" r="r" b="b"/>
              <a:pathLst>
                <a:path w="71" h="29" extrusionOk="0">
                  <a:moveTo>
                    <a:pt x="1" y="0"/>
                  </a:moveTo>
                  <a:lnTo>
                    <a:pt x="71" y="28"/>
                  </a:lnTo>
                  <a:lnTo>
                    <a:pt x="53" y="21"/>
                  </a:lnTo>
                  <a:lnTo>
                    <a:pt x="1"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795" name="Google Shape;5795;p104"/>
            <p:cNvSpPr/>
            <p:nvPr/>
          </p:nvSpPr>
          <p:spPr>
            <a:xfrm>
              <a:off x="2302310" y="2007341"/>
              <a:ext cx="3530" cy="448"/>
            </a:xfrm>
            <a:custGeom>
              <a:avLst/>
              <a:gdLst/>
              <a:ahLst/>
              <a:cxnLst/>
              <a:rect l="l" t="t" r="r" b="b"/>
              <a:pathLst>
                <a:path w="260" h="33" extrusionOk="0">
                  <a:moveTo>
                    <a:pt x="148" y="1"/>
                  </a:moveTo>
                  <a:cubicBezTo>
                    <a:pt x="112" y="1"/>
                    <a:pt x="64" y="5"/>
                    <a:pt x="0" y="18"/>
                  </a:cubicBezTo>
                  <a:lnTo>
                    <a:pt x="0" y="18"/>
                  </a:lnTo>
                  <a:cubicBezTo>
                    <a:pt x="61" y="6"/>
                    <a:pt x="108" y="1"/>
                    <a:pt x="144" y="1"/>
                  </a:cubicBezTo>
                  <a:cubicBezTo>
                    <a:pt x="222" y="1"/>
                    <a:pt x="250" y="22"/>
                    <a:pt x="259" y="32"/>
                  </a:cubicBezTo>
                  <a:cubicBezTo>
                    <a:pt x="250" y="20"/>
                    <a:pt x="223" y="1"/>
                    <a:pt x="148" y="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796" name="Google Shape;5796;p104"/>
            <p:cNvSpPr/>
            <p:nvPr/>
          </p:nvSpPr>
          <p:spPr>
            <a:xfrm>
              <a:off x="2296513" y="2011767"/>
              <a:ext cx="54" cy="54"/>
            </a:xfrm>
            <a:custGeom>
              <a:avLst/>
              <a:gdLst/>
              <a:ahLst/>
              <a:cxnLst/>
              <a:rect l="l" t="t" r="r" b="b"/>
              <a:pathLst>
                <a:path w="4" h="4" extrusionOk="0">
                  <a:moveTo>
                    <a:pt x="4" y="0"/>
                  </a:moveTo>
                  <a:lnTo>
                    <a:pt x="0" y="4"/>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797" name="Google Shape;5797;p104"/>
            <p:cNvSpPr/>
            <p:nvPr/>
          </p:nvSpPr>
          <p:spPr>
            <a:xfrm>
              <a:off x="2296649" y="2011522"/>
              <a:ext cx="68" cy="109"/>
            </a:xfrm>
            <a:custGeom>
              <a:avLst/>
              <a:gdLst/>
              <a:ahLst/>
              <a:cxnLst/>
              <a:rect l="l" t="t" r="r" b="b"/>
              <a:pathLst>
                <a:path w="5" h="8" extrusionOk="0">
                  <a:moveTo>
                    <a:pt x="4" y="1"/>
                  </a:moveTo>
                  <a:lnTo>
                    <a:pt x="1" y="8"/>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798" name="Google Shape;5798;p104"/>
            <p:cNvSpPr/>
            <p:nvPr/>
          </p:nvSpPr>
          <p:spPr>
            <a:xfrm>
              <a:off x="2296798" y="2011237"/>
              <a:ext cx="109" cy="122"/>
            </a:xfrm>
            <a:custGeom>
              <a:avLst/>
              <a:gdLst/>
              <a:ahLst/>
              <a:cxnLst/>
              <a:rect l="l" t="t" r="r" b="b"/>
              <a:pathLst>
                <a:path w="8" h="9" extrusionOk="0">
                  <a:moveTo>
                    <a:pt x="7" y="1"/>
                  </a:moveTo>
                  <a:lnTo>
                    <a:pt x="7" y="1"/>
                  </a:lnTo>
                  <a:cubicBezTo>
                    <a:pt x="5" y="3"/>
                    <a:pt x="3" y="6"/>
                    <a:pt x="2" y="7"/>
                  </a:cubicBezTo>
                  <a:lnTo>
                    <a:pt x="2" y="7"/>
                  </a:lnTo>
                  <a:cubicBezTo>
                    <a:pt x="5" y="6"/>
                    <a:pt x="7" y="4"/>
                    <a:pt x="7" y="1"/>
                  </a:cubicBezTo>
                  <a:close/>
                  <a:moveTo>
                    <a:pt x="2" y="7"/>
                  </a:moveTo>
                  <a:cubicBezTo>
                    <a:pt x="1" y="8"/>
                    <a:pt x="1" y="8"/>
                    <a:pt x="0" y="8"/>
                  </a:cubicBezTo>
                  <a:cubicBezTo>
                    <a:pt x="0" y="8"/>
                    <a:pt x="0" y="9"/>
                    <a:pt x="1" y="9"/>
                  </a:cubicBezTo>
                  <a:cubicBezTo>
                    <a:pt x="1" y="9"/>
                    <a:pt x="1" y="8"/>
                    <a:pt x="2" y="7"/>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799" name="Google Shape;5799;p104"/>
            <p:cNvSpPr/>
            <p:nvPr/>
          </p:nvSpPr>
          <p:spPr>
            <a:xfrm>
              <a:off x="2296934" y="2010857"/>
              <a:ext cx="68" cy="299"/>
            </a:xfrm>
            <a:custGeom>
              <a:avLst/>
              <a:gdLst/>
              <a:ahLst/>
              <a:cxnLst/>
              <a:rect l="l" t="t" r="r" b="b"/>
              <a:pathLst>
                <a:path w="5" h="22" extrusionOk="0">
                  <a:moveTo>
                    <a:pt x="4" y="1"/>
                  </a:moveTo>
                  <a:cubicBezTo>
                    <a:pt x="4" y="8"/>
                    <a:pt x="1" y="15"/>
                    <a:pt x="1" y="22"/>
                  </a:cubicBezTo>
                  <a:cubicBezTo>
                    <a:pt x="1" y="15"/>
                    <a:pt x="4" y="8"/>
                    <a:pt x="4" y="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800" name="Google Shape;5800;p104"/>
            <p:cNvSpPr/>
            <p:nvPr/>
          </p:nvSpPr>
          <p:spPr>
            <a:xfrm>
              <a:off x="2306248" y="2008196"/>
              <a:ext cx="68" cy="68"/>
            </a:xfrm>
            <a:custGeom>
              <a:avLst/>
              <a:gdLst/>
              <a:ahLst/>
              <a:cxnLst/>
              <a:rect l="l" t="t" r="r" b="b"/>
              <a:pathLst>
                <a:path w="5" h="5" extrusionOk="0">
                  <a:moveTo>
                    <a:pt x="4" y="4"/>
                  </a:moveTo>
                  <a:lnTo>
                    <a:pt x="1"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801" name="Google Shape;5801;p104"/>
            <p:cNvSpPr/>
            <p:nvPr/>
          </p:nvSpPr>
          <p:spPr>
            <a:xfrm>
              <a:off x="2336336" y="2018080"/>
              <a:ext cx="109" cy="14"/>
            </a:xfrm>
            <a:custGeom>
              <a:avLst/>
              <a:gdLst/>
              <a:ahLst/>
              <a:cxnLst/>
              <a:rect l="l" t="t" r="r" b="b"/>
              <a:pathLst>
                <a:path w="8" h="1" extrusionOk="0">
                  <a:moveTo>
                    <a:pt x="8"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802" name="Google Shape;5802;p104"/>
            <p:cNvSpPr/>
            <p:nvPr/>
          </p:nvSpPr>
          <p:spPr>
            <a:xfrm>
              <a:off x="2336675" y="2017890"/>
              <a:ext cx="54" cy="68"/>
            </a:xfrm>
            <a:custGeom>
              <a:avLst/>
              <a:gdLst/>
              <a:ahLst/>
              <a:cxnLst/>
              <a:rect l="l" t="t" r="r" b="b"/>
              <a:pathLst>
                <a:path w="4" h="5" extrusionOk="0">
                  <a:moveTo>
                    <a:pt x="4"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803" name="Google Shape;5803;p104"/>
            <p:cNvSpPr/>
            <p:nvPr/>
          </p:nvSpPr>
          <p:spPr>
            <a:xfrm>
              <a:off x="2348270" y="2014333"/>
              <a:ext cx="1398" cy="244"/>
            </a:xfrm>
            <a:custGeom>
              <a:avLst/>
              <a:gdLst/>
              <a:ahLst/>
              <a:cxnLst/>
              <a:rect l="l" t="t" r="r" b="b"/>
              <a:pathLst>
                <a:path w="103" h="18" extrusionOk="0">
                  <a:moveTo>
                    <a:pt x="102" y="18"/>
                  </a:moveTo>
                  <a:cubicBezTo>
                    <a:pt x="67" y="18"/>
                    <a:pt x="32" y="11"/>
                    <a:pt x="1" y="0"/>
                  </a:cubicBezTo>
                  <a:cubicBezTo>
                    <a:pt x="32" y="11"/>
                    <a:pt x="67" y="18"/>
                    <a:pt x="102" y="18"/>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804" name="Google Shape;5804;p104"/>
            <p:cNvSpPr/>
            <p:nvPr/>
          </p:nvSpPr>
          <p:spPr>
            <a:xfrm>
              <a:off x="2335765" y="2018230"/>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805" name="Google Shape;5805;p104"/>
            <p:cNvSpPr/>
            <p:nvPr/>
          </p:nvSpPr>
          <p:spPr>
            <a:xfrm>
              <a:off x="2335480" y="2018230"/>
              <a:ext cx="163" cy="14"/>
            </a:xfrm>
            <a:custGeom>
              <a:avLst/>
              <a:gdLst/>
              <a:ahLst/>
              <a:cxnLst/>
              <a:rect l="l" t="t" r="r" b="b"/>
              <a:pathLst>
                <a:path w="12" h="1" extrusionOk="0">
                  <a:moveTo>
                    <a:pt x="11"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806" name="Google Shape;5806;p104"/>
            <p:cNvSpPr/>
            <p:nvPr/>
          </p:nvSpPr>
          <p:spPr>
            <a:xfrm>
              <a:off x="2335249" y="2018135"/>
              <a:ext cx="149" cy="54"/>
            </a:xfrm>
            <a:custGeom>
              <a:avLst/>
              <a:gdLst/>
              <a:ahLst/>
              <a:cxnLst/>
              <a:rect l="l" t="t" r="r" b="b"/>
              <a:pathLst>
                <a:path w="11" h="4" extrusionOk="0">
                  <a:moveTo>
                    <a:pt x="11"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807" name="Google Shape;5807;p104"/>
            <p:cNvSpPr/>
            <p:nvPr/>
          </p:nvSpPr>
          <p:spPr>
            <a:xfrm>
              <a:off x="2336051" y="2018175"/>
              <a:ext cx="109" cy="14"/>
            </a:xfrm>
            <a:custGeom>
              <a:avLst/>
              <a:gdLst/>
              <a:ahLst/>
              <a:cxnLst/>
              <a:rect l="l" t="t" r="r" b="b"/>
              <a:pathLst>
                <a:path w="8" h="1" extrusionOk="0">
                  <a:moveTo>
                    <a:pt x="8"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808" name="Google Shape;5808;p104"/>
            <p:cNvSpPr/>
            <p:nvPr/>
          </p:nvSpPr>
          <p:spPr>
            <a:xfrm>
              <a:off x="2335059" y="2017985"/>
              <a:ext cx="204" cy="109"/>
            </a:xfrm>
            <a:custGeom>
              <a:avLst/>
              <a:gdLst/>
              <a:ahLst/>
              <a:cxnLst/>
              <a:rect l="l" t="t" r="r" b="b"/>
              <a:pathLst>
                <a:path w="15" h="8" extrusionOk="0">
                  <a:moveTo>
                    <a:pt x="14" y="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809" name="Google Shape;5809;p104"/>
            <p:cNvSpPr/>
            <p:nvPr/>
          </p:nvSpPr>
          <p:spPr>
            <a:xfrm>
              <a:off x="2337816" y="2016804"/>
              <a:ext cx="54" cy="109"/>
            </a:xfrm>
            <a:custGeom>
              <a:avLst/>
              <a:gdLst/>
              <a:ahLst/>
              <a:cxnLst/>
              <a:rect l="l" t="t" r="r" b="b"/>
              <a:pathLst>
                <a:path w="4" h="8" extrusionOk="0">
                  <a:moveTo>
                    <a:pt x="4"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810" name="Google Shape;5810;p104"/>
            <p:cNvSpPr/>
            <p:nvPr/>
          </p:nvSpPr>
          <p:spPr>
            <a:xfrm>
              <a:off x="2337245" y="2017415"/>
              <a:ext cx="109" cy="68"/>
            </a:xfrm>
            <a:custGeom>
              <a:avLst/>
              <a:gdLst/>
              <a:ahLst/>
              <a:cxnLst/>
              <a:rect l="l" t="t" r="r" b="b"/>
              <a:pathLst>
                <a:path w="8" h="5" extrusionOk="0">
                  <a:moveTo>
                    <a:pt x="7"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811" name="Google Shape;5811;p104"/>
            <p:cNvSpPr/>
            <p:nvPr/>
          </p:nvSpPr>
          <p:spPr>
            <a:xfrm>
              <a:off x="2337571" y="2017184"/>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812" name="Google Shape;5812;p104"/>
            <p:cNvSpPr/>
            <p:nvPr/>
          </p:nvSpPr>
          <p:spPr>
            <a:xfrm>
              <a:off x="2336960" y="2017700"/>
              <a:ext cx="54" cy="68"/>
            </a:xfrm>
            <a:custGeom>
              <a:avLst/>
              <a:gdLst/>
              <a:ahLst/>
              <a:cxnLst/>
              <a:rect l="l" t="t" r="r" b="b"/>
              <a:pathLst>
                <a:path w="4" h="5" extrusionOk="0">
                  <a:moveTo>
                    <a:pt x="4"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813" name="Google Shape;5813;p104"/>
            <p:cNvSpPr/>
            <p:nvPr/>
          </p:nvSpPr>
          <p:spPr>
            <a:xfrm>
              <a:off x="2307388" y="2008861"/>
              <a:ext cx="584" cy="258"/>
            </a:xfrm>
            <a:custGeom>
              <a:avLst/>
              <a:gdLst/>
              <a:ahLst/>
              <a:cxnLst/>
              <a:rect l="l" t="t" r="r" b="b"/>
              <a:pathLst>
                <a:path w="43" h="19" extrusionOk="0">
                  <a:moveTo>
                    <a:pt x="1" y="1"/>
                  </a:moveTo>
                  <a:lnTo>
                    <a:pt x="1" y="4"/>
                  </a:lnTo>
                  <a:lnTo>
                    <a:pt x="43" y="18"/>
                  </a:lnTo>
                  <a:lnTo>
                    <a:pt x="1"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814" name="Google Shape;5814;p104"/>
            <p:cNvSpPr/>
            <p:nvPr/>
          </p:nvSpPr>
          <p:spPr>
            <a:xfrm>
              <a:off x="2324170" y="2015704"/>
              <a:ext cx="1303" cy="584"/>
            </a:xfrm>
            <a:custGeom>
              <a:avLst/>
              <a:gdLst/>
              <a:ahLst/>
              <a:cxnLst/>
              <a:rect l="l" t="t" r="r" b="b"/>
              <a:pathLst>
                <a:path w="96" h="43" extrusionOk="0">
                  <a:moveTo>
                    <a:pt x="1" y="1"/>
                  </a:moveTo>
                  <a:lnTo>
                    <a:pt x="1" y="1"/>
                  </a:lnTo>
                  <a:cubicBezTo>
                    <a:pt x="32" y="22"/>
                    <a:pt x="64" y="32"/>
                    <a:pt x="95" y="43"/>
                  </a:cubicBezTo>
                  <a:cubicBezTo>
                    <a:pt x="64" y="32"/>
                    <a:pt x="36" y="18"/>
                    <a:pt x="1" y="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815" name="Google Shape;5815;p104"/>
            <p:cNvSpPr/>
            <p:nvPr/>
          </p:nvSpPr>
          <p:spPr>
            <a:xfrm>
              <a:off x="2310050" y="2009961"/>
              <a:ext cx="299" cy="149"/>
            </a:xfrm>
            <a:custGeom>
              <a:avLst/>
              <a:gdLst/>
              <a:ahLst/>
              <a:cxnLst/>
              <a:rect l="l" t="t" r="r" b="b"/>
              <a:pathLst>
                <a:path w="22" h="11" extrusionOk="0">
                  <a:moveTo>
                    <a:pt x="22" y="11"/>
                  </a:moveTo>
                  <a:lnTo>
                    <a:pt x="1"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816" name="Google Shape;5816;p104"/>
            <p:cNvSpPr/>
            <p:nvPr/>
          </p:nvSpPr>
          <p:spPr>
            <a:xfrm>
              <a:off x="2351651" y="2013953"/>
              <a:ext cx="149" cy="54"/>
            </a:xfrm>
            <a:custGeom>
              <a:avLst/>
              <a:gdLst/>
              <a:ahLst/>
              <a:cxnLst/>
              <a:rect l="l" t="t" r="r" b="b"/>
              <a:pathLst>
                <a:path w="11" h="4" extrusionOk="0">
                  <a:moveTo>
                    <a:pt x="11" y="0"/>
                  </a:moveTo>
                  <a:lnTo>
                    <a:pt x="0" y="4"/>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817" name="Google Shape;5817;p104"/>
            <p:cNvSpPr/>
            <p:nvPr/>
          </p:nvSpPr>
          <p:spPr>
            <a:xfrm>
              <a:off x="2314001" y="2010626"/>
              <a:ext cx="10183" cy="5092"/>
            </a:xfrm>
            <a:custGeom>
              <a:avLst/>
              <a:gdLst/>
              <a:ahLst/>
              <a:cxnLst/>
              <a:rect l="l" t="t" r="r" b="b"/>
              <a:pathLst>
                <a:path w="750" h="375" extrusionOk="0">
                  <a:moveTo>
                    <a:pt x="1" y="0"/>
                  </a:moveTo>
                  <a:cubicBezTo>
                    <a:pt x="106" y="7"/>
                    <a:pt x="228" y="18"/>
                    <a:pt x="277" y="63"/>
                  </a:cubicBezTo>
                  <a:cubicBezTo>
                    <a:pt x="424" y="182"/>
                    <a:pt x="582" y="287"/>
                    <a:pt x="750" y="375"/>
                  </a:cubicBezTo>
                  <a:cubicBezTo>
                    <a:pt x="582" y="287"/>
                    <a:pt x="424" y="182"/>
                    <a:pt x="277" y="63"/>
                  </a:cubicBezTo>
                  <a:cubicBezTo>
                    <a:pt x="228" y="18"/>
                    <a:pt x="106" y="7"/>
                    <a:pt x="1"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818" name="Google Shape;5818;p104"/>
            <p:cNvSpPr/>
            <p:nvPr/>
          </p:nvSpPr>
          <p:spPr>
            <a:xfrm>
              <a:off x="2352072" y="2013858"/>
              <a:ext cx="68" cy="14"/>
            </a:xfrm>
            <a:custGeom>
              <a:avLst/>
              <a:gdLst/>
              <a:ahLst/>
              <a:cxnLst/>
              <a:rect l="l" t="t" r="r" b="b"/>
              <a:pathLst>
                <a:path w="5" h="1" extrusionOk="0">
                  <a:moveTo>
                    <a:pt x="4" y="0"/>
                  </a:moveTo>
                  <a:lnTo>
                    <a:pt x="4" y="0"/>
                  </a:lnTo>
                  <a:lnTo>
                    <a:pt x="1"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819" name="Google Shape;5819;p104"/>
            <p:cNvSpPr/>
            <p:nvPr/>
          </p:nvSpPr>
          <p:spPr>
            <a:xfrm>
              <a:off x="2351027" y="2014143"/>
              <a:ext cx="109" cy="14"/>
            </a:xfrm>
            <a:custGeom>
              <a:avLst/>
              <a:gdLst/>
              <a:ahLst/>
              <a:cxnLst/>
              <a:rect l="l" t="t" r="r" b="b"/>
              <a:pathLst>
                <a:path w="8" h="1" extrusionOk="0">
                  <a:moveTo>
                    <a:pt x="8"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820" name="Google Shape;5820;p104"/>
            <p:cNvSpPr/>
            <p:nvPr/>
          </p:nvSpPr>
          <p:spPr>
            <a:xfrm>
              <a:off x="2351312" y="2014048"/>
              <a:ext cx="109" cy="54"/>
            </a:xfrm>
            <a:custGeom>
              <a:avLst/>
              <a:gdLst/>
              <a:ahLst/>
              <a:cxnLst/>
              <a:rect l="l" t="t" r="r" b="b"/>
              <a:pathLst>
                <a:path w="8" h="4" extrusionOk="0">
                  <a:moveTo>
                    <a:pt x="8" y="0"/>
                  </a:moveTo>
                  <a:lnTo>
                    <a:pt x="1" y="4"/>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821" name="Google Shape;5821;p104"/>
            <p:cNvSpPr/>
            <p:nvPr/>
          </p:nvSpPr>
          <p:spPr>
            <a:xfrm>
              <a:off x="2263574" y="2013192"/>
              <a:ext cx="38180" cy="39646"/>
            </a:xfrm>
            <a:custGeom>
              <a:avLst/>
              <a:gdLst/>
              <a:ahLst/>
              <a:cxnLst/>
              <a:rect l="l" t="t" r="r" b="b"/>
              <a:pathLst>
                <a:path w="2812" h="2920" extrusionOk="0">
                  <a:moveTo>
                    <a:pt x="2346" y="0"/>
                  </a:moveTo>
                  <a:lnTo>
                    <a:pt x="2325" y="14"/>
                  </a:lnTo>
                  <a:cubicBezTo>
                    <a:pt x="2290" y="39"/>
                    <a:pt x="2255" y="70"/>
                    <a:pt x="2230" y="102"/>
                  </a:cubicBezTo>
                  <a:cubicBezTo>
                    <a:pt x="2223" y="140"/>
                    <a:pt x="2195" y="175"/>
                    <a:pt x="2160" y="189"/>
                  </a:cubicBezTo>
                  <a:cubicBezTo>
                    <a:pt x="2122" y="210"/>
                    <a:pt x="2068" y="219"/>
                    <a:pt x="2012" y="219"/>
                  </a:cubicBezTo>
                  <a:cubicBezTo>
                    <a:pt x="1934" y="219"/>
                    <a:pt x="1851" y="202"/>
                    <a:pt x="1796" y="175"/>
                  </a:cubicBezTo>
                  <a:cubicBezTo>
                    <a:pt x="1787" y="171"/>
                    <a:pt x="1775" y="169"/>
                    <a:pt x="1761" y="169"/>
                  </a:cubicBezTo>
                  <a:cubicBezTo>
                    <a:pt x="1676" y="169"/>
                    <a:pt x="1510" y="239"/>
                    <a:pt x="1477" y="284"/>
                  </a:cubicBezTo>
                  <a:cubicBezTo>
                    <a:pt x="1474" y="291"/>
                    <a:pt x="1470" y="298"/>
                    <a:pt x="1463" y="305"/>
                  </a:cubicBezTo>
                  <a:lnTo>
                    <a:pt x="1460" y="308"/>
                  </a:lnTo>
                  <a:cubicBezTo>
                    <a:pt x="1453" y="312"/>
                    <a:pt x="1449" y="315"/>
                    <a:pt x="1442" y="319"/>
                  </a:cubicBezTo>
                  <a:cubicBezTo>
                    <a:pt x="1435" y="322"/>
                    <a:pt x="1428" y="326"/>
                    <a:pt x="1421" y="326"/>
                  </a:cubicBezTo>
                  <a:lnTo>
                    <a:pt x="1376" y="326"/>
                  </a:lnTo>
                  <a:lnTo>
                    <a:pt x="1362" y="322"/>
                  </a:lnTo>
                  <a:lnTo>
                    <a:pt x="1355" y="322"/>
                  </a:lnTo>
                  <a:lnTo>
                    <a:pt x="1341" y="319"/>
                  </a:lnTo>
                  <a:lnTo>
                    <a:pt x="1334" y="315"/>
                  </a:lnTo>
                  <a:lnTo>
                    <a:pt x="1320" y="308"/>
                  </a:lnTo>
                  <a:lnTo>
                    <a:pt x="1316" y="308"/>
                  </a:lnTo>
                  <a:lnTo>
                    <a:pt x="1299" y="298"/>
                  </a:lnTo>
                  <a:lnTo>
                    <a:pt x="1292" y="298"/>
                  </a:lnTo>
                  <a:lnTo>
                    <a:pt x="1281" y="287"/>
                  </a:lnTo>
                  <a:lnTo>
                    <a:pt x="1274" y="284"/>
                  </a:lnTo>
                  <a:lnTo>
                    <a:pt x="1260" y="277"/>
                  </a:lnTo>
                  <a:lnTo>
                    <a:pt x="1257" y="273"/>
                  </a:lnTo>
                  <a:lnTo>
                    <a:pt x="1239" y="263"/>
                  </a:lnTo>
                  <a:cubicBezTo>
                    <a:pt x="1194" y="231"/>
                    <a:pt x="1127" y="193"/>
                    <a:pt x="1092" y="193"/>
                  </a:cubicBezTo>
                  <a:cubicBezTo>
                    <a:pt x="994" y="214"/>
                    <a:pt x="900" y="238"/>
                    <a:pt x="805" y="273"/>
                  </a:cubicBezTo>
                  <a:lnTo>
                    <a:pt x="788" y="263"/>
                  </a:lnTo>
                  <a:lnTo>
                    <a:pt x="711" y="287"/>
                  </a:lnTo>
                  <a:lnTo>
                    <a:pt x="707" y="322"/>
                  </a:lnTo>
                  <a:lnTo>
                    <a:pt x="707" y="326"/>
                  </a:lnTo>
                  <a:lnTo>
                    <a:pt x="707" y="343"/>
                  </a:lnTo>
                  <a:lnTo>
                    <a:pt x="707" y="350"/>
                  </a:lnTo>
                  <a:lnTo>
                    <a:pt x="707" y="364"/>
                  </a:lnTo>
                  <a:lnTo>
                    <a:pt x="707" y="378"/>
                  </a:lnTo>
                  <a:lnTo>
                    <a:pt x="707" y="385"/>
                  </a:lnTo>
                  <a:lnTo>
                    <a:pt x="704" y="406"/>
                  </a:lnTo>
                  <a:lnTo>
                    <a:pt x="704" y="413"/>
                  </a:lnTo>
                  <a:lnTo>
                    <a:pt x="704" y="438"/>
                  </a:lnTo>
                  <a:lnTo>
                    <a:pt x="704" y="441"/>
                  </a:lnTo>
                  <a:lnTo>
                    <a:pt x="700" y="466"/>
                  </a:lnTo>
                  <a:lnTo>
                    <a:pt x="700" y="473"/>
                  </a:lnTo>
                  <a:lnTo>
                    <a:pt x="697" y="497"/>
                  </a:lnTo>
                  <a:lnTo>
                    <a:pt x="697" y="504"/>
                  </a:lnTo>
                  <a:lnTo>
                    <a:pt x="693" y="529"/>
                  </a:lnTo>
                  <a:lnTo>
                    <a:pt x="693" y="536"/>
                  </a:lnTo>
                  <a:lnTo>
                    <a:pt x="690" y="557"/>
                  </a:lnTo>
                  <a:lnTo>
                    <a:pt x="690" y="564"/>
                  </a:lnTo>
                  <a:lnTo>
                    <a:pt x="690" y="588"/>
                  </a:lnTo>
                  <a:lnTo>
                    <a:pt x="690" y="599"/>
                  </a:lnTo>
                  <a:lnTo>
                    <a:pt x="690" y="616"/>
                  </a:lnTo>
                  <a:lnTo>
                    <a:pt x="690" y="627"/>
                  </a:lnTo>
                  <a:lnTo>
                    <a:pt x="690" y="644"/>
                  </a:lnTo>
                  <a:lnTo>
                    <a:pt x="690" y="655"/>
                  </a:lnTo>
                  <a:lnTo>
                    <a:pt x="690" y="669"/>
                  </a:lnTo>
                  <a:lnTo>
                    <a:pt x="690" y="679"/>
                  </a:lnTo>
                  <a:lnTo>
                    <a:pt x="690" y="693"/>
                  </a:lnTo>
                  <a:lnTo>
                    <a:pt x="690" y="711"/>
                  </a:lnTo>
                  <a:cubicBezTo>
                    <a:pt x="690" y="749"/>
                    <a:pt x="718" y="774"/>
                    <a:pt x="763" y="809"/>
                  </a:cubicBezTo>
                  <a:cubicBezTo>
                    <a:pt x="809" y="844"/>
                    <a:pt x="872" y="896"/>
                    <a:pt x="872" y="980"/>
                  </a:cubicBezTo>
                  <a:cubicBezTo>
                    <a:pt x="872" y="1061"/>
                    <a:pt x="812" y="1138"/>
                    <a:pt x="763" y="1197"/>
                  </a:cubicBezTo>
                  <a:cubicBezTo>
                    <a:pt x="742" y="1218"/>
                    <a:pt x="725" y="1243"/>
                    <a:pt x="711" y="1271"/>
                  </a:cubicBezTo>
                  <a:cubicBezTo>
                    <a:pt x="693" y="1390"/>
                    <a:pt x="546" y="1446"/>
                    <a:pt x="438" y="1481"/>
                  </a:cubicBezTo>
                  <a:cubicBezTo>
                    <a:pt x="403" y="1492"/>
                    <a:pt x="385" y="1534"/>
                    <a:pt x="361" y="1600"/>
                  </a:cubicBezTo>
                  <a:cubicBezTo>
                    <a:pt x="340" y="1667"/>
                    <a:pt x="301" y="1730"/>
                    <a:pt x="252" y="1775"/>
                  </a:cubicBezTo>
                  <a:cubicBezTo>
                    <a:pt x="214" y="1803"/>
                    <a:pt x="200" y="1873"/>
                    <a:pt x="189" y="1950"/>
                  </a:cubicBezTo>
                  <a:cubicBezTo>
                    <a:pt x="179" y="2013"/>
                    <a:pt x="161" y="2080"/>
                    <a:pt x="137" y="2139"/>
                  </a:cubicBezTo>
                  <a:cubicBezTo>
                    <a:pt x="77" y="2279"/>
                    <a:pt x="46" y="2433"/>
                    <a:pt x="46" y="2584"/>
                  </a:cubicBezTo>
                  <a:lnTo>
                    <a:pt x="46" y="2633"/>
                  </a:lnTo>
                  <a:lnTo>
                    <a:pt x="46" y="2647"/>
                  </a:lnTo>
                  <a:cubicBezTo>
                    <a:pt x="46" y="2661"/>
                    <a:pt x="46" y="2675"/>
                    <a:pt x="46" y="2689"/>
                  </a:cubicBezTo>
                  <a:lnTo>
                    <a:pt x="46" y="2703"/>
                  </a:lnTo>
                  <a:cubicBezTo>
                    <a:pt x="46" y="2720"/>
                    <a:pt x="42" y="2738"/>
                    <a:pt x="39" y="2755"/>
                  </a:cubicBezTo>
                  <a:lnTo>
                    <a:pt x="39" y="2762"/>
                  </a:lnTo>
                  <a:cubicBezTo>
                    <a:pt x="35" y="2780"/>
                    <a:pt x="35" y="2794"/>
                    <a:pt x="32" y="2808"/>
                  </a:cubicBezTo>
                  <a:lnTo>
                    <a:pt x="28" y="2822"/>
                  </a:lnTo>
                  <a:cubicBezTo>
                    <a:pt x="25" y="2836"/>
                    <a:pt x="21" y="2853"/>
                    <a:pt x="18" y="2867"/>
                  </a:cubicBezTo>
                  <a:lnTo>
                    <a:pt x="14" y="2878"/>
                  </a:lnTo>
                  <a:cubicBezTo>
                    <a:pt x="11" y="2892"/>
                    <a:pt x="7" y="2906"/>
                    <a:pt x="0" y="2920"/>
                  </a:cubicBezTo>
                  <a:lnTo>
                    <a:pt x="4" y="2920"/>
                  </a:lnTo>
                  <a:cubicBezTo>
                    <a:pt x="14" y="2920"/>
                    <a:pt x="25" y="2920"/>
                    <a:pt x="35" y="2916"/>
                  </a:cubicBezTo>
                  <a:cubicBezTo>
                    <a:pt x="46" y="2916"/>
                    <a:pt x="53" y="2913"/>
                    <a:pt x="63" y="2909"/>
                  </a:cubicBezTo>
                  <a:lnTo>
                    <a:pt x="70" y="2906"/>
                  </a:lnTo>
                  <a:lnTo>
                    <a:pt x="91" y="2899"/>
                  </a:lnTo>
                  <a:lnTo>
                    <a:pt x="98" y="2895"/>
                  </a:lnTo>
                  <a:lnTo>
                    <a:pt x="126" y="2881"/>
                  </a:lnTo>
                  <a:lnTo>
                    <a:pt x="137" y="2878"/>
                  </a:lnTo>
                  <a:lnTo>
                    <a:pt x="161" y="2867"/>
                  </a:lnTo>
                  <a:lnTo>
                    <a:pt x="165" y="2867"/>
                  </a:lnTo>
                  <a:lnTo>
                    <a:pt x="189" y="2857"/>
                  </a:lnTo>
                  <a:lnTo>
                    <a:pt x="224" y="2843"/>
                  </a:lnTo>
                  <a:lnTo>
                    <a:pt x="263" y="2829"/>
                  </a:lnTo>
                  <a:lnTo>
                    <a:pt x="270" y="2829"/>
                  </a:lnTo>
                  <a:lnTo>
                    <a:pt x="301" y="2818"/>
                  </a:lnTo>
                  <a:lnTo>
                    <a:pt x="326" y="2811"/>
                  </a:lnTo>
                  <a:lnTo>
                    <a:pt x="340" y="2808"/>
                  </a:lnTo>
                  <a:lnTo>
                    <a:pt x="378" y="2797"/>
                  </a:lnTo>
                  <a:lnTo>
                    <a:pt x="417" y="2787"/>
                  </a:lnTo>
                  <a:lnTo>
                    <a:pt x="497" y="2762"/>
                  </a:lnTo>
                  <a:lnTo>
                    <a:pt x="504" y="2762"/>
                  </a:lnTo>
                  <a:cubicBezTo>
                    <a:pt x="599" y="2734"/>
                    <a:pt x="676" y="2717"/>
                    <a:pt x="700" y="2710"/>
                  </a:cubicBezTo>
                  <a:lnTo>
                    <a:pt x="718" y="2710"/>
                  </a:lnTo>
                  <a:lnTo>
                    <a:pt x="1131" y="2675"/>
                  </a:lnTo>
                  <a:cubicBezTo>
                    <a:pt x="1211" y="2465"/>
                    <a:pt x="1362" y="2146"/>
                    <a:pt x="1575" y="2083"/>
                  </a:cubicBezTo>
                  <a:cubicBezTo>
                    <a:pt x="1665" y="2056"/>
                    <a:pt x="1772" y="2043"/>
                    <a:pt x="1889" y="2043"/>
                  </a:cubicBezTo>
                  <a:cubicBezTo>
                    <a:pt x="2013" y="2043"/>
                    <a:pt x="2147" y="2058"/>
                    <a:pt x="2283" y="2087"/>
                  </a:cubicBezTo>
                  <a:lnTo>
                    <a:pt x="2293" y="2062"/>
                  </a:lnTo>
                  <a:lnTo>
                    <a:pt x="2297" y="2048"/>
                  </a:lnTo>
                  <a:lnTo>
                    <a:pt x="2314" y="2010"/>
                  </a:lnTo>
                  <a:lnTo>
                    <a:pt x="2328" y="1978"/>
                  </a:lnTo>
                  <a:lnTo>
                    <a:pt x="2332" y="1964"/>
                  </a:lnTo>
                  <a:lnTo>
                    <a:pt x="2342" y="1947"/>
                  </a:lnTo>
                  <a:lnTo>
                    <a:pt x="2346" y="1936"/>
                  </a:lnTo>
                  <a:lnTo>
                    <a:pt x="2353" y="1919"/>
                  </a:lnTo>
                  <a:lnTo>
                    <a:pt x="2360" y="1908"/>
                  </a:lnTo>
                  <a:lnTo>
                    <a:pt x="2363" y="1894"/>
                  </a:lnTo>
                  <a:lnTo>
                    <a:pt x="2370" y="1884"/>
                  </a:lnTo>
                  <a:lnTo>
                    <a:pt x="2377" y="1873"/>
                  </a:lnTo>
                  <a:lnTo>
                    <a:pt x="2381" y="1866"/>
                  </a:lnTo>
                  <a:lnTo>
                    <a:pt x="2384" y="1856"/>
                  </a:lnTo>
                  <a:lnTo>
                    <a:pt x="2391" y="1849"/>
                  </a:lnTo>
                  <a:lnTo>
                    <a:pt x="2395" y="1838"/>
                  </a:lnTo>
                  <a:lnTo>
                    <a:pt x="2398" y="1831"/>
                  </a:lnTo>
                  <a:lnTo>
                    <a:pt x="2402" y="1824"/>
                  </a:lnTo>
                  <a:lnTo>
                    <a:pt x="2405" y="1817"/>
                  </a:lnTo>
                  <a:lnTo>
                    <a:pt x="2412" y="1814"/>
                  </a:lnTo>
                  <a:lnTo>
                    <a:pt x="2416" y="1807"/>
                  </a:lnTo>
                  <a:lnTo>
                    <a:pt x="2419" y="1803"/>
                  </a:lnTo>
                  <a:lnTo>
                    <a:pt x="2423" y="1796"/>
                  </a:lnTo>
                  <a:lnTo>
                    <a:pt x="2426" y="1793"/>
                  </a:lnTo>
                  <a:lnTo>
                    <a:pt x="2426" y="1789"/>
                  </a:lnTo>
                  <a:lnTo>
                    <a:pt x="2430" y="1786"/>
                  </a:lnTo>
                  <a:lnTo>
                    <a:pt x="2433" y="1782"/>
                  </a:lnTo>
                  <a:lnTo>
                    <a:pt x="2440" y="1775"/>
                  </a:lnTo>
                  <a:cubicBezTo>
                    <a:pt x="2587" y="1628"/>
                    <a:pt x="2759" y="1365"/>
                    <a:pt x="2783" y="1169"/>
                  </a:cubicBezTo>
                  <a:cubicBezTo>
                    <a:pt x="2804" y="1001"/>
                    <a:pt x="2811" y="826"/>
                    <a:pt x="2811" y="760"/>
                  </a:cubicBezTo>
                  <a:lnTo>
                    <a:pt x="2594" y="567"/>
                  </a:lnTo>
                  <a:lnTo>
                    <a:pt x="2538" y="175"/>
                  </a:lnTo>
                  <a:lnTo>
                    <a:pt x="2346"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822" name="Google Shape;5822;p104"/>
            <p:cNvSpPr/>
            <p:nvPr/>
          </p:nvSpPr>
          <p:spPr>
            <a:xfrm>
              <a:off x="2263710" y="2052689"/>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823" name="Google Shape;5823;p104"/>
            <p:cNvSpPr/>
            <p:nvPr/>
          </p:nvSpPr>
          <p:spPr>
            <a:xfrm>
              <a:off x="2264144" y="2052540"/>
              <a:ext cx="109" cy="68"/>
            </a:xfrm>
            <a:custGeom>
              <a:avLst/>
              <a:gdLst/>
              <a:ahLst/>
              <a:cxnLst/>
              <a:rect l="l" t="t" r="r" b="b"/>
              <a:pathLst>
                <a:path w="8" h="5" extrusionOk="0">
                  <a:moveTo>
                    <a:pt x="0" y="4"/>
                  </a:moveTo>
                  <a:lnTo>
                    <a:pt x="7"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824" name="Google Shape;5824;p104"/>
            <p:cNvSpPr/>
            <p:nvPr/>
          </p:nvSpPr>
          <p:spPr>
            <a:xfrm>
              <a:off x="2265135" y="2052024"/>
              <a:ext cx="299" cy="149"/>
            </a:xfrm>
            <a:custGeom>
              <a:avLst/>
              <a:gdLst/>
              <a:ahLst/>
              <a:cxnLst/>
              <a:rect l="l" t="t" r="r" b="b"/>
              <a:pathLst>
                <a:path w="22" h="11" extrusionOk="0">
                  <a:moveTo>
                    <a:pt x="1" y="11"/>
                  </a:moveTo>
                  <a:lnTo>
                    <a:pt x="22"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825" name="Google Shape;5825;p104"/>
            <p:cNvSpPr/>
            <p:nvPr/>
          </p:nvSpPr>
          <p:spPr>
            <a:xfrm>
              <a:off x="2264524" y="2052404"/>
              <a:ext cx="109" cy="54"/>
            </a:xfrm>
            <a:custGeom>
              <a:avLst/>
              <a:gdLst/>
              <a:ahLst/>
              <a:cxnLst/>
              <a:rect l="l" t="t" r="r" b="b"/>
              <a:pathLst>
                <a:path w="8" h="4" extrusionOk="0">
                  <a:moveTo>
                    <a:pt x="0" y="4"/>
                  </a:moveTo>
                  <a:lnTo>
                    <a:pt x="7"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826" name="Google Shape;5826;p104"/>
            <p:cNvSpPr/>
            <p:nvPr/>
          </p:nvSpPr>
          <p:spPr>
            <a:xfrm>
              <a:off x="2265475" y="2051834"/>
              <a:ext cx="394" cy="149"/>
            </a:xfrm>
            <a:custGeom>
              <a:avLst/>
              <a:gdLst/>
              <a:ahLst/>
              <a:cxnLst/>
              <a:rect l="l" t="t" r="r" b="b"/>
              <a:pathLst>
                <a:path w="29" h="11" extrusionOk="0">
                  <a:moveTo>
                    <a:pt x="0" y="11"/>
                  </a:moveTo>
                  <a:lnTo>
                    <a:pt x="28"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827" name="Google Shape;5827;p104"/>
            <p:cNvSpPr/>
            <p:nvPr/>
          </p:nvSpPr>
          <p:spPr>
            <a:xfrm>
              <a:off x="2266941" y="2051304"/>
              <a:ext cx="448" cy="163"/>
            </a:xfrm>
            <a:custGeom>
              <a:avLst/>
              <a:gdLst/>
              <a:ahLst/>
              <a:cxnLst/>
              <a:rect l="l" t="t" r="r" b="b"/>
              <a:pathLst>
                <a:path w="33" h="12" extrusionOk="0">
                  <a:moveTo>
                    <a:pt x="1" y="11"/>
                  </a:moveTo>
                  <a:lnTo>
                    <a:pt x="32"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828" name="Google Shape;5828;p104"/>
            <p:cNvSpPr/>
            <p:nvPr/>
          </p:nvSpPr>
          <p:spPr>
            <a:xfrm>
              <a:off x="2270037" y="2050503"/>
              <a:ext cx="149" cy="54"/>
            </a:xfrm>
            <a:custGeom>
              <a:avLst/>
              <a:gdLst/>
              <a:ahLst/>
              <a:cxnLst/>
              <a:rect l="l" t="t" r="r" b="b"/>
              <a:pathLst>
                <a:path w="11" h="4" extrusionOk="0">
                  <a:moveTo>
                    <a:pt x="11" y="0"/>
                  </a:moveTo>
                  <a:lnTo>
                    <a:pt x="0" y="4"/>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829" name="Google Shape;5829;p104"/>
            <p:cNvSpPr/>
            <p:nvPr/>
          </p:nvSpPr>
          <p:spPr>
            <a:xfrm>
              <a:off x="2263329" y="2052730"/>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830" name="Google Shape;5830;p104"/>
            <p:cNvSpPr/>
            <p:nvPr/>
          </p:nvSpPr>
          <p:spPr>
            <a:xfrm>
              <a:off x="2265896" y="2051644"/>
              <a:ext cx="489" cy="204"/>
            </a:xfrm>
            <a:custGeom>
              <a:avLst/>
              <a:gdLst/>
              <a:ahLst/>
              <a:cxnLst/>
              <a:rect l="l" t="t" r="r" b="b"/>
              <a:pathLst>
                <a:path w="36" h="15" extrusionOk="0">
                  <a:moveTo>
                    <a:pt x="1" y="14"/>
                  </a:moveTo>
                  <a:lnTo>
                    <a:pt x="36"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831" name="Google Shape;5831;p104"/>
            <p:cNvSpPr/>
            <p:nvPr/>
          </p:nvSpPr>
          <p:spPr>
            <a:xfrm>
              <a:off x="2266371" y="2051495"/>
              <a:ext cx="543" cy="163"/>
            </a:xfrm>
            <a:custGeom>
              <a:avLst/>
              <a:gdLst/>
              <a:ahLst/>
              <a:cxnLst/>
              <a:rect l="l" t="t" r="r" b="b"/>
              <a:pathLst>
                <a:path w="40" h="12" extrusionOk="0">
                  <a:moveTo>
                    <a:pt x="1" y="11"/>
                  </a:moveTo>
                  <a:lnTo>
                    <a:pt x="39"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832" name="Google Shape;5832;p104"/>
            <p:cNvSpPr/>
            <p:nvPr/>
          </p:nvSpPr>
          <p:spPr>
            <a:xfrm>
              <a:off x="2267756" y="2051169"/>
              <a:ext cx="149" cy="54"/>
            </a:xfrm>
            <a:custGeom>
              <a:avLst/>
              <a:gdLst/>
              <a:ahLst/>
              <a:cxnLst/>
              <a:rect l="l" t="t" r="r" b="b"/>
              <a:pathLst>
                <a:path w="11" h="4" extrusionOk="0">
                  <a:moveTo>
                    <a:pt x="0" y="4"/>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833" name="Google Shape;5833;p104"/>
            <p:cNvSpPr/>
            <p:nvPr/>
          </p:nvSpPr>
          <p:spPr>
            <a:xfrm>
              <a:off x="2280872" y="2017035"/>
              <a:ext cx="54" cy="68"/>
            </a:xfrm>
            <a:custGeom>
              <a:avLst/>
              <a:gdLst/>
              <a:ahLst/>
              <a:cxnLst/>
              <a:rect l="l" t="t" r="r" b="b"/>
              <a:pathLst>
                <a:path w="4" h="5" extrusionOk="0">
                  <a:moveTo>
                    <a:pt x="0" y="1"/>
                  </a:moveTo>
                  <a:lnTo>
                    <a:pt x="4" y="4"/>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834" name="Google Shape;5834;p104"/>
            <p:cNvSpPr/>
            <p:nvPr/>
          </p:nvSpPr>
          <p:spPr>
            <a:xfrm>
              <a:off x="2281958" y="2017510"/>
              <a:ext cx="68" cy="14"/>
            </a:xfrm>
            <a:custGeom>
              <a:avLst/>
              <a:gdLst/>
              <a:ahLst/>
              <a:cxnLst/>
              <a:rect l="l" t="t" r="r" b="b"/>
              <a:pathLst>
                <a:path w="5" h="1" extrusionOk="0">
                  <a:moveTo>
                    <a:pt x="1" y="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835" name="Google Shape;5835;p104"/>
            <p:cNvSpPr/>
            <p:nvPr/>
          </p:nvSpPr>
          <p:spPr>
            <a:xfrm>
              <a:off x="2283098" y="2017184"/>
              <a:ext cx="68" cy="54"/>
            </a:xfrm>
            <a:custGeom>
              <a:avLst/>
              <a:gdLst/>
              <a:ahLst/>
              <a:cxnLst/>
              <a:rect l="l" t="t" r="r" b="b"/>
              <a:pathLst>
                <a:path w="5" h="4" extrusionOk="0">
                  <a:moveTo>
                    <a:pt x="4" y="0"/>
                  </a:moveTo>
                  <a:lnTo>
                    <a:pt x="1" y="4"/>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836" name="Google Shape;5836;p104"/>
            <p:cNvSpPr/>
            <p:nvPr/>
          </p:nvSpPr>
          <p:spPr>
            <a:xfrm>
              <a:off x="2282338" y="2017510"/>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837" name="Google Shape;5837;p104"/>
            <p:cNvSpPr/>
            <p:nvPr/>
          </p:nvSpPr>
          <p:spPr>
            <a:xfrm>
              <a:off x="2282528" y="2017510"/>
              <a:ext cx="109" cy="14"/>
            </a:xfrm>
            <a:custGeom>
              <a:avLst/>
              <a:gdLst/>
              <a:ahLst/>
              <a:cxnLst/>
              <a:rect l="l" t="t" r="r" b="b"/>
              <a:pathLst>
                <a:path w="8" h="1" extrusionOk="0">
                  <a:moveTo>
                    <a:pt x="1" y="1"/>
                  </a:moveTo>
                  <a:lnTo>
                    <a:pt x="8"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838" name="Google Shape;5838;p104"/>
            <p:cNvSpPr/>
            <p:nvPr/>
          </p:nvSpPr>
          <p:spPr>
            <a:xfrm>
              <a:off x="2274219" y="2015664"/>
              <a:ext cx="3910" cy="1059"/>
            </a:xfrm>
            <a:custGeom>
              <a:avLst/>
              <a:gdLst/>
              <a:ahLst/>
              <a:cxnLst/>
              <a:rect l="l" t="t" r="r" b="b"/>
              <a:pathLst>
                <a:path w="288" h="78" extrusionOk="0">
                  <a:moveTo>
                    <a:pt x="287" y="0"/>
                  </a:moveTo>
                  <a:cubicBezTo>
                    <a:pt x="189" y="18"/>
                    <a:pt x="95" y="42"/>
                    <a:pt x="0" y="77"/>
                  </a:cubicBezTo>
                  <a:lnTo>
                    <a:pt x="0" y="77"/>
                  </a:lnTo>
                  <a:cubicBezTo>
                    <a:pt x="95" y="42"/>
                    <a:pt x="189" y="18"/>
                    <a:pt x="287"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839" name="Google Shape;5839;p104"/>
            <p:cNvSpPr/>
            <p:nvPr/>
          </p:nvSpPr>
          <p:spPr>
            <a:xfrm>
              <a:off x="2282867" y="2017374"/>
              <a:ext cx="54" cy="14"/>
            </a:xfrm>
            <a:custGeom>
              <a:avLst/>
              <a:gdLst/>
              <a:ahLst/>
              <a:cxnLst/>
              <a:rect l="l" t="t" r="r" b="b"/>
              <a:pathLst>
                <a:path w="4" h="1" extrusionOk="0">
                  <a:moveTo>
                    <a:pt x="0" y="0"/>
                  </a:moveTo>
                  <a:lnTo>
                    <a:pt x="4"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840" name="Google Shape;5840;p104"/>
            <p:cNvSpPr/>
            <p:nvPr/>
          </p:nvSpPr>
          <p:spPr>
            <a:xfrm>
              <a:off x="2281673" y="2017415"/>
              <a:ext cx="109" cy="14"/>
            </a:xfrm>
            <a:custGeom>
              <a:avLst/>
              <a:gdLst/>
              <a:ahLst/>
              <a:cxnLst/>
              <a:rect l="l" t="t" r="r" b="b"/>
              <a:pathLst>
                <a:path w="8" h="1" extrusionOk="0">
                  <a:moveTo>
                    <a:pt x="1" y="1"/>
                  </a:moveTo>
                  <a:lnTo>
                    <a:pt x="8"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841" name="Google Shape;5841;p104"/>
            <p:cNvSpPr/>
            <p:nvPr/>
          </p:nvSpPr>
          <p:spPr>
            <a:xfrm>
              <a:off x="2280586" y="2016899"/>
              <a:ext cx="54" cy="54"/>
            </a:xfrm>
            <a:custGeom>
              <a:avLst/>
              <a:gdLst/>
              <a:ahLst/>
              <a:cxnLst/>
              <a:rect l="l" t="t" r="r" b="b"/>
              <a:pathLst>
                <a:path w="4" h="4" extrusionOk="0">
                  <a:moveTo>
                    <a:pt x="0" y="0"/>
                  </a:moveTo>
                  <a:lnTo>
                    <a:pt x="4" y="4"/>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842" name="Google Shape;5842;p104"/>
            <p:cNvSpPr/>
            <p:nvPr/>
          </p:nvSpPr>
          <p:spPr>
            <a:xfrm>
              <a:off x="2280342" y="2016750"/>
              <a:ext cx="68" cy="14"/>
            </a:xfrm>
            <a:custGeom>
              <a:avLst/>
              <a:gdLst/>
              <a:ahLst/>
              <a:cxnLst/>
              <a:rect l="l" t="t" r="r" b="b"/>
              <a:pathLst>
                <a:path w="5" h="1" extrusionOk="0">
                  <a:moveTo>
                    <a:pt x="1" y="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843" name="Google Shape;5843;p104"/>
            <p:cNvSpPr/>
            <p:nvPr/>
          </p:nvSpPr>
          <p:spPr>
            <a:xfrm>
              <a:off x="2281442" y="2017320"/>
              <a:ext cx="54" cy="68"/>
            </a:xfrm>
            <a:custGeom>
              <a:avLst/>
              <a:gdLst/>
              <a:ahLst/>
              <a:cxnLst/>
              <a:rect l="l" t="t" r="r" b="b"/>
              <a:pathLst>
                <a:path w="4" h="5" extrusionOk="0">
                  <a:moveTo>
                    <a:pt x="0" y="1"/>
                  </a:moveTo>
                  <a:lnTo>
                    <a:pt x="4" y="4"/>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844" name="Google Shape;5844;p104"/>
            <p:cNvSpPr/>
            <p:nvPr/>
          </p:nvSpPr>
          <p:spPr>
            <a:xfrm>
              <a:off x="2281157" y="2017225"/>
              <a:ext cx="54" cy="14"/>
            </a:xfrm>
            <a:custGeom>
              <a:avLst/>
              <a:gdLst/>
              <a:ahLst/>
              <a:cxnLst/>
              <a:rect l="l" t="t" r="r" b="b"/>
              <a:pathLst>
                <a:path w="4" h="1" extrusionOk="0">
                  <a:moveTo>
                    <a:pt x="0" y="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845" name="Google Shape;5845;p104"/>
            <p:cNvSpPr/>
            <p:nvPr/>
          </p:nvSpPr>
          <p:spPr>
            <a:xfrm>
              <a:off x="2295793" y="2037863"/>
              <a:ext cx="109" cy="109"/>
            </a:xfrm>
            <a:custGeom>
              <a:avLst/>
              <a:gdLst/>
              <a:ahLst/>
              <a:cxnLst/>
              <a:rect l="l" t="t" r="r" b="b"/>
              <a:pathLst>
                <a:path w="8" h="8" extrusionOk="0">
                  <a:moveTo>
                    <a:pt x="8"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846" name="Google Shape;5846;p104"/>
            <p:cNvSpPr/>
            <p:nvPr/>
          </p:nvSpPr>
          <p:spPr>
            <a:xfrm>
              <a:off x="2295562" y="2038284"/>
              <a:ext cx="54" cy="163"/>
            </a:xfrm>
            <a:custGeom>
              <a:avLst/>
              <a:gdLst/>
              <a:ahLst/>
              <a:cxnLst/>
              <a:rect l="l" t="t" r="r" b="b"/>
              <a:pathLst>
                <a:path w="4" h="12" extrusionOk="0">
                  <a:moveTo>
                    <a:pt x="4" y="1"/>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847" name="Google Shape;5847;p104"/>
            <p:cNvSpPr/>
            <p:nvPr/>
          </p:nvSpPr>
          <p:spPr>
            <a:xfrm>
              <a:off x="2295413" y="2038569"/>
              <a:ext cx="68" cy="163"/>
            </a:xfrm>
            <a:custGeom>
              <a:avLst/>
              <a:gdLst/>
              <a:ahLst/>
              <a:cxnLst/>
              <a:rect l="l" t="t" r="r" b="b"/>
              <a:pathLst>
                <a:path w="5" h="12" extrusionOk="0">
                  <a:moveTo>
                    <a:pt x="4" y="1"/>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848" name="Google Shape;5848;p104"/>
            <p:cNvSpPr/>
            <p:nvPr/>
          </p:nvSpPr>
          <p:spPr>
            <a:xfrm>
              <a:off x="2295698" y="2038053"/>
              <a:ext cx="68" cy="149"/>
            </a:xfrm>
            <a:custGeom>
              <a:avLst/>
              <a:gdLst/>
              <a:ahLst/>
              <a:cxnLst/>
              <a:rect l="l" t="t" r="r" b="b"/>
              <a:pathLst>
                <a:path w="5" h="11" extrusionOk="0">
                  <a:moveTo>
                    <a:pt x="4" y="0"/>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849" name="Google Shape;5849;p104"/>
            <p:cNvSpPr/>
            <p:nvPr/>
          </p:nvSpPr>
          <p:spPr>
            <a:xfrm>
              <a:off x="2294897" y="2039669"/>
              <a:ext cx="54" cy="204"/>
            </a:xfrm>
            <a:custGeom>
              <a:avLst/>
              <a:gdLst/>
              <a:ahLst/>
              <a:cxnLst/>
              <a:rect l="l" t="t" r="r" b="b"/>
              <a:pathLst>
                <a:path w="4" h="15" extrusionOk="0">
                  <a:moveTo>
                    <a:pt x="4" y="0"/>
                  </a:moveTo>
                  <a:lnTo>
                    <a:pt x="0" y="14"/>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850" name="Google Shape;5850;p104"/>
            <p:cNvSpPr/>
            <p:nvPr/>
          </p:nvSpPr>
          <p:spPr>
            <a:xfrm>
              <a:off x="2295277" y="2038908"/>
              <a:ext cx="54" cy="149"/>
            </a:xfrm>
            <a:custGeom>
              <a:avLst/>
              <a:gdLst/>
              <a:ahLst/>
              <a:cxnLst/>
              <a:rect l="l" t="t" r="r" b="b"/>
              <a:pathLst>
                <a:path w="4" h="11" extrusionOk="0">
                  <a:moveTo>
                    <a:pt x="4" y="0"/>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851" name="Google Shape;5851;p104"/>
            <p:cNvSpPr/>
            <p:nvPr/>
          </p:nvSpPr>
          <p:spPr>
            <a:xfrm>
              <a:off x="2295087" y="2039234"/>
              <a:ext cx="54" cy="204"/>
            </a:xfrm>
            <a:custGeom>
              <a:avLst/>
              <a:gdLst/>
              <a:ahLst/>
              <a:cxnLst/>
              <a:rect l="l" t="t" r="r" b="b"/>
              <a:pathLst>
                <a:path w="4" h="15" extrusionOk="0">
                  <a:moveTo>
                    <a:pt x="4" y="1"/>
                  </a:moveTo>
                  <a:lnTo>
                    <a:pt x="0" y="15"/>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852" name="Google Shape;5852;p104"/>
            <p:cNvSpPr/>
            <p:nvPr/>
          </p:nvSpPr>
          <p:spPr>
            <a:xfrm>
              <a:off x="2296228" y="2037293"/>
              <a:ext cx="54" cy="54"/>
            </a:xfrm>
            <a:custGeom>
              <a:avLst/>
              <a:gdLst/>
              <a:ahLst/>
              <a:cxnLst/>
              <a:rect l="l" t="t" r="r" b="b"/>
              <a:pathLst>
                <a:path w="4" h="4" extrusionOk="0">
                  <a:moveTo>
                    <a:pt x="4" y="0"/>
                  </a:moveTo>
                  <a:lnTo>
                    <a:pt x="0" y="4"/>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853" name="Google Shape;5853;p104"/>
            <p:cNvSpPr/>
            <p:nvPr/>
          </p:nvSpPr>
          <p:spPr>
            <a:xfrm>
              <a:off x="2296323" y="2037197"/>
              <a:ext cx="14" cy="54"/>
            </a:xfrm>
            <a:custGeom>
              <a:avLst/>
              <a:gdLst/>
              <a:ahLst/>
              <a:cxnLst/>
              <a:rect l="l" t="t" r="r" b="b"/>
              <a:pathLst>
                <a:path w="1" h="4" extrusionOk="0">
                  <a:moveTo>
                    <a:pt x="0" y="0"/>
                  </a:moveTo>
                  <a:lnTo>
                    <a:pt x="0" y="4"/>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854" name="Google Shape;5854;p104"/>
            <p:cNvSpPr/>
            <p:nvPr/>
          </p:nvSpPr>
          <p:spPr>
            <a:xfrm>
              <a:off x="2294707" y="2040280"/>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855" name="Google Shape;5855;p104"/>
            <p:cNvSpPr/>
            <p:nvPr/>
          </p:nvSpPr>
          <p:spPr>
            <a:xfrm>
              <a:off x="2295128" y="2013043"/>
              <a:ext cx="2634" cy="2349"/>
            </a:xfrm>
            <a:custGeom>
              <a:avLst/>
              <a:gdLst/>
              <a:ahLst/>
              <a:cxnLst/>
              <a:rect l="l" t="t" r="r" b="b"/>
              <a:pathLst>
                <a:path w="194" h="173" extrusionOk="0">
                  <a:moveTo>
                    <a:pt x="1" y="1"/>
                  </a:moveTo>
                  <a:lnTo>
                    <a:pt x="1" y="1"/>
                  </a:lnTo>
                  <a:lnTo>
                    <a:pt x="193" y="172"/>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856" name="Google Shape;5856;p104"/>
            <p:cNvSpPr/>
            <p:nvPr/>
          </p:nvSpPr>
          <p:spPr>
            <a:xfrm>
              <a:off x="2296133" y="2037388"/>
              <a:ext cx="54" cy="109"/>
            </a:xfrm>
            <a:custGeom>
              <a:avLst/>
              <a:gdLst/>
              <a:ahLst/>
              <a:cxnLst/>
              <a:rect l="l" t="t" r="r" b="b"/>
              <a:pathLst>
                <a:path w="4" h="8" extrusionOk="0">
                  <a:moveTo>
                    <a:pt x="4"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857" name="Google Shape;5857;p104"/>
            <p:cNvSpPr/>
            <p:nvPr/>
          </p:nvSpPr>
          <p:spPr>
            <a:xfrm>
              <a:off x="2295943" y="2037673"/>
              <a:ext cx="54" cy="109"/>
            </a:xfrm>
            <a:custGeom>
              <a:avLst/>
              <a:gdLst/>
              <a:ahLst/>
              <a:cxnLst/>
              <a:rect l="l" t="t" r="r" b="b"/>
              <a:pathLst>
                <a:path w="4" h="8" extrusionOk="0">
                  <a:moveTo>
                    <a:pt x="4"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858" name="Google Shape;5858;p104"/>
            <p:cNvSpPr/>
            <p:nvPr/>
          </p:nvSpPr>
          <p:spPr>
            <a:xfrm>
              <a:off x="2296038" y="2037523"/>
              <a:ext cx="54" cy="109"/>
            </a:xfrm>
            <a:custGeom>
              <a:avLst/>
              <a:gdLst/>
              <a:ahLst/>
              <a:cxnLst/>
              <a:rect l="l" t="t" r="r" b="b"/>
              <a:pathLst>
                <a:path w="4" h="8" extrusionOk="0">
                  <a:moveTo>
                    <a:pt x="4" y="1"/>
                  </a:moveTo>
                  <a:lnTo>
                    <a:pt x="0" y="8"/>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859" name="Google Shape;5859;p104"/>
            <p:cNvSpPr/>
            <p:nvPr/>
          </p:nvSpPr>
          <p:spPr>
            <a:xfrm>
              <a:off x="2294422" y="2040809"/>
              <a:ext cx="109" cy="149"/>
            </a:xfrm>
            <a:custGeom>
              <a:avLst/>
              <a:gdLst/>
              <a:ahLst/>
              <a:cxnLst/>
              <a:rect l="l" t="t" r="r" b="b"/>
              <a:pathLst>
                <a:path w="8" h="11" extrusionOk="0">
                  <a:moveTo>
                    <a:pt x="7" y="0"/>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860" name="Google Shape;5860;p104"/>
            <p:cNvSpPr/>
            <p:nvPr/>
          </p:nvSpPr>
          <p:spPr>
            <a:xfrm>
              <a:off x="2462729" y="1678276"/>
              <a:ext cx="126732" cy="73834"/>
            </a:xfrm>
            <a:custGeom>
              <a:avLst/>
              <a:gdLst/>
              <a:ahLst/>
              <a:cxnLst/>
              <a:rect l="l" t="t" r="r" b="b"/>
              <a:pathLst>
                <a:path w="9334" h="5438" extrusionOk="0">
                  <a:moveTo>
                    <a:pt x="1285" y="0"/>
                  </a:moveTo>
                  <a:lnTo>
                    <a:pt x="64" y="329"/>
                  </a:lnTo>
                  <a:lnTo>
                    <a:pt x="1" y="2661"/>
                  </a:lnTo>
                  <a:lnTo>
                    <a:pt x="8" y="2661"/>
                  </a:lnTo>
                  <a:cubicBezTo>
                    <a:pt x="25" y="2668"/>
                    <a:pt x="46" y="2675"/>
                    <a:pt x="64" y="2682"/>
                  </a:cubicBezTo>
                  <a:lnTo>
                    <a:pt x="71" y="2682"/>
                  </a:lnTo>
                  <a:cubicBezTo>
                    <a:pt x="92" y="2685"/>
                    <a:pt x="113" y="2692"/>
                    <a:pt x="137" y="2696"/>
                  </a:cubicBezTo>
                  <a:lnTo>
                    <a:pt x="151" y="2699"/>
                  </a:lnTo>
                  <a:cubicBezTo>
                    <a:pt x="172" y="2703"/>
                    <a:pt x="197" y="2710"/>
                    <a:pt x="221" y="2713"/>
                  </a:cubicBezTo>
                  <a:lnTo>
                    <a:pt x="235" y="2713"/>
                  </a:lnTo>
                  <a:cubicBezTo>
                    <a:pt x="263" y="2717"/>
                    <a:pt x="291" y="2717"/>
                    <a:pt x="319" y="2720"/>
                  </a:cubicBezTo>
                  <a:cubicBezTo>
                    <a:pt x="327" y="2722"/>
                    <a:pt x="336" y="2723"/>
                    <a:pt x="344" y="2723"/>
                  </a:cubicBezTo>
                  <a:cubicBezTo>
                    <a:pt x="368" y="2723"/>
                    <a:pt x="393" y="2716"/>
                    <a:pt x="414" y="2703"/>
                  </a:cubicBezTo>
                  <a:cubicBezTo>
                    <a:pt x="442" y="2675"/>
                    <a:pt x="442" y="2605"/>
                    <a:pt x="442" y="2552"/>
                  </a:cubicBezTo>
                  <a:lnTo>
                    <a:pt x="442" y="2528"/>
                  </a:lnTo>
                  <a:cubicBezTo>
                    <a:pt x="442" y="2433"/>
                    <a:pt x="529" y="2342"/>
                    <a:pt x="568" y="2307"/>
                  </a:cubicBezTo>
                  <a:cubicBezTo>
                    <a:pt x="645" y="2240"/>
                    <a:pt x="761" y="2169"/>
                    <a:pt x="872" y="2169"/>
                  </a:cubicBezTo>
                  <a:cubicBezTo>
                    <a:pt x="881" y="2169"/>
                    <a:pt x="891" y="2170"/>
                    <a:pt x="900" y="2171"/>
                  </a:cubicBezTo>
                  <a:cubicBezTo>
                    <a:pt x="903" y="2171"/>
                    <a:pt x="906" y="2171"/>
                    <a:pt x="909" y="2171"/>
                  </a:cubicBezTo>
                  <a:cubicBezTo>
                    <a:pt x="948" y="2171"/>
                    <a:pt x="962" y="2148"/>
                    <a:pt x="988" y="2069"/>
                  </a:cubicBezTo>
                  <a:cubicBezTo>
                    <a:pt x="1005" y="2024"/>
                    <a:pt x="1026" y="1961"/>
                    <a:pt x="1089" y="1961"/>
                  </a:cubicBezTo>
                  <a:cubicBezTo>
                    <a:pt x="1124" y="1961"/>
                    <a:pt x="1229" y="1933"/>
                    <a:pt x="1261" y="1880"/>
                  </a:cubicBezTo>
                  <a:cubicBezTo>
                    <a:pt x="1282" y="1842"/>
                    <a:pt x="1320" y="1821"/>
                    <a:pt x="1362" y="1817"/>
                  </a:cubicBezTo>
                  <a:cubicBezTo>
                    <a:pt x="1373" y="1816"/>
                    <a:pt x="1383" y="1816"/>
                    <a:pt x="1394" y="1816"/>
                  </a:cubicBezTo>
                  <a:cubicBezTo>
                    <a:pt x="1425" y="1816"/>
                    <a:pt x="1457" y="1820"/>
                    <a:pt x="1489" y="1828"/>
                  </a:cubicBezTo>
                  <a:cubicBezTo>
                    <a:pt x="1587" y="1852"/>
                    <a:pt x="1678" y="1898"/>
                    <a:pt x="1751" y="1964"/>
                  </a:cubicBezTo>
                  <a:cubicBezTo>
                    <a:pt x="1807" y="2020"/>
                    <a:pt x="1958" y="2052"/>
                    <a:pt x="2080" y="2076"/>
                  </a:cubicBezTo>
                  <a:lnTo>
                    <a:pt x="2140" y="2090"/>
                  </a:lnTo>
                  <a:cubicBezTo>
                    <a:pt x="2336" y="2136"/>
                    <a:pt x="2378" y="2598"/>
                    <a:pt x="2385" y="2713"/>
                  </a:cubicBezTo>
                  <a:cubicBezTo>
                    <a:pt x="2465" y="2745"/>
                    <a:pt x="2794" y="2755"/>
                    <a:pt x="2938" y="2759"/>
                  </a:cubicBezTo>
                  <a:cubicBezTo>
                    <a:pt x="3032" y="2762"/>
                    <a:pt x="3102" y="2762"/>
                    <a:pt x="3137" y="2769"/>
                  </a:cubicBezTo>
                  <a:cubicBezTo>
                    <a:pt x="3239" y="2783"/>
                    <a:pt x="3277" y="2881"/>
                    <a:pt x="3316" y="2972"/>
                  </a:cubicBezTo>
                  <a:cubicBezTo>
                    <a:pt x="3337" y="3035"/>
                    <a:pt x="3368" y="3095"/>
                    <a:pt x="3407" y="3147"/>
                  </a:cubicBezTo>
                  <a:cubicBezTo>
                    <a:pt x="3421" y="3168"/>
                    <a:pt x="3435" y="3186"/>
                    <a:pt x="3445" y="3207"/>
                  </a:cubicBezTo>
                  <a:cubicBezTo>
                    <a:pt x="3526" y="3330"/>
                    <a:pt x="3596" y="3463"/>
                    <a:pt x="3652" y="3603"/>
                  </a:cubicBezTo>
                  <a:lnTo>
                    <a:pt x="3656" y="3617"/>
                  </a:lnTo>
                  <a:cubicBezTo>
                    <a:pt x="3673" y="3652"/>
                    <a:pt x="3799" y="3725"/>
                    <a:pt x="3883" y="3774"/>
                  </a:cubicBezTo>
                  <a:cubicBezTo>
                    <a:pt x="4009" y="3848"/>
                    <a:pt x="4146" y="3925"/>
                    <a:pt x="4202" y="4009"/>
                  </a:cubicBezTo>
                  <a:cubicBezTo>
                    <a:pt x="4282" y="4131"/>
                    <a:pt x="4559" y="4271"/>
                    <a:pt x="4800" y="4355"/>
                  </a:cubicBezTo>
                  <a:cubicBezTo>
                    <a:pt x="4919" y="4401"/>
                    <a:pt x="5035" y="4499"/>
                    <a:pt x="5133" y="4586"/>
                  </a:cubicBezTo>
                  <a:cubicBezTo>
                    <a:pt x="5201" y="4645"/>
                    <a:pt x="5294" y="4726"/>
                    <a:pt x="5334" y="4726"/>
                  </a:cubicBezTo>
                  <a:cubicBezTo>
                    <a:pt x="5334" y="4726"/>
                    <a:pt x="5335" y="4726"/>
                    <a:pt x="5336" y="4726"/>
                  </a:cubicBezTo>
                  <a:cubicBezTo>
                    <a:pt x="5343" y="4725"/>
                    <a:pt x="5351" y="4725"/>
                    <a:pt x="5360" y="4725"/>
                  </a:cubicBezTo>
                  <a:cubicBezTo>
                    <a:pt x="5509" y="4725"/>
                    <a:pt x="5798" y="4865"/>
                    <a:pt x="5858" y="4894"/>
                  </a:cubicBezTo>
                  <a:lnTo>
                    <a:pt x="5889" y="4908"/>
                  </a:lnTo>
                  <a:lnTo>
                    <a:pt x="5928" y="5230"/>
                  </a:lnTo>
                  <a:cubicBezTo>
                    <a:pt x="5935" y="5230"/>
                    <a:pt x="5945" y="5227"/>
                    <a:pt x="5956" y="5227"/>
                  </a:cubicBezTo>
                  <a:lnTo>
                    <a:pt x="5959" y="5227"/>
                  </a:lnTo>
                  <a:cubicBezTo>
                    <a:pt x="5963" y="5225"/>
                    <a:pt x="5967" y="5224"/>
                    <a:pt x="5972" y="5224"/>
                  </a:cubicBezTo>
                  <a:cubicBezTo>
                    <a:pt x="5977" y="5224"/>
                    <a:pt x="5982" y="5225"/>
                    <a:pt x="5987" y="5227"/>
                  </a:cubicBezTo>
                  <a:cubicBezTo>
                    <a:pt x="6022" y="5227"/>
                    <a:pt x="6057" y="5230"/>
                    <a:pt x="6089" y="5244"/>
                  </a:cubicBezTo>
                  <a:cubicBezTo>
                    <a:pt x="6099" y="5248"/>
                    <a:pt x="6110" y="5251"/>
                    <a:pt x="6117" y="5255"/>
                  </a:cubicBezTo>
                  <a:lnTo>
                    <a:pt x="6145" y="5269"/>
                  </a:lnTo>
                  <a:lnTo>
                    <a:pt x="6148" y="5272"/>
                  </a:lnTo>
                  <a:lnTo>
                    <a:pt x="6173" y="5286"/>
                  </a:lnTo>
                  <a:lnTo>
                    <a:pt x="6176" y="5286"/>
                  </a:lnTo>
                  <a:lnTo>
                    <a:pt x="6197" y="5301"/>
                  </a:lnTo>
                  <a:lnTo>
                    <a:pt x="6204" y="5308"/>
                  </a:lnTo>
                  <a:lnTo>
                    <a:pt x="6225" y="5322"/>
                  </a:lnTo>
                  <a:cubicBezTo>
                    <a:pt x="6264" y="5353"/>
                    <a:pt x="6313" y="5378"/>
                    <a:pt x="6365" y="5385"/>
                  </a:cubicBezTo>
                  <a:cubicBezTo>
                    <a:pt x="6379" y="5385"/>
                    <a:pt x="6390" y="5388"/>
                    <a:pt x="6400" y="5388"/>
                  </a:cubicBezTo>
                  <a:lnTo>
                    <a:pt x="6411" y="5392"/>
                  </a:lnTo>
                  <a:cubicBezTo>
                    <a:pt x="6421" y="5392"/>
                    <a:pt x="6428" y="5395"/>
                    <a:pt x="6435" y="5399"/>
                  </a:cubicBezTo>
                  <a:lnTo>
                    <a:pt x="6449" y="5402"/>
                  </a:lnTo>
                  <a:lnTo>
                    <a:pt x="6477" y="5416"/>
                  </a:lnTo>
                  <a:lnTo>
                    <a:pt x="6484" y="5420"/>
                  </a:lnTo>
                  <a:cubicBezTo>
                    <a:pt x="6495" y="5423"/>
                    <a:pt x="6509" y="5430"/>
                    <a:pt x="6519" y="5437"/>
                  </a:cubicBezTo>
                  <a:cubicBezTo>
                    <a:pt x="6530" y="5423"/>
                    <a:pt x="6533" y="5399"/>
                    <a:pt x="6533" y="5381"/>
                  </a:cubicBezTo>
                  <a:lnTo>
                    <a:pt x="6533" y="5364"/>
                  </a:lnTo>
                  <a:cubicBezTo>
                    <a:pt x="6540" y="5339"/>
                    <a:pt x="6544" y="5311"/>
                    <a:pt x="6551" y="5283"/>
                  </a:cubicBezTo>
                  <a:cubicBezTo>
                    <a:pt x="6551" y="5276"/>
                    <a:pt x="6558" y="5269"/>
                    <a:pt x="6558" y="5258"/>
                  </a:cubicBezTo>
                  <a:cubicBezTo>
                    <a:pt x="6565" y="5241"/>
                    <a:pt x="6568" y="5223"/>
                    <a:pt x="6575" y="5206"/>
                  </a:cubicBezTo>
                  <a:cubicBezTo>
                    <a:pt x="6579" y="5199"/>
                    <a:pt x="6582" y="5188"/>
                    <a:pt x="6589" y="5178"/>
                  </a:cubicBezTo>
                  <a:cubicBezTo>
                    <a:pt x="6593" y="5171"/>
                    <a:pt x="6600" y="5150"/>
                    <a:pt x="6610" y="5136"/>
                  </a:cubicBezTo>
                  <a:cubicBezTo>
                    <a:pt x="6617" y="5122"/>
                    <a:pt x="6617" y="5118"/>
                    <a:pt x="6624" y="5108"/>
                  </a:cubicBezTo>
                  <a:cubicBezTo>
                    <a:pt x="6628" y="5101"/>
                    <a:pt x="6642" y="5083"/>
                    <a:pt x="6649" y="5069"/>
                  </a:cubicBezTo>
                  <a:cubicBezTo>
                    <a:pt x="6659" y="5059"/>
                    <a:pt x="6659" y="5055"/>
                    <a:pt x="6666" y="5045"/>
                  </a:cubicBezTo>
                  <a:cubicBezTo>
                    <a:pt x="6673" y="5038"/>
                    <a:pt x="6687" y="5020"/>
                    <a:pt x="6701" y="5006"/>
                  </a:cubicBezTo>
                  <a:cubicBezTo>
                    <a:pt x="6712" y="4996"/>
                    <a:pt x="6712" y="4996"/>
                    <a:pt x="6719" y="4989"/>
                  </a:cubicBezTo>
                  <a:cubicBezTo>
                    <a:pt x="6736" y="4971"/>
                    <a:pt x="6754" y="4954"/>
                    <a:pt x="6775" y="4936"/>
                  </a:cubicBezTo>
                  <a:cubicBezTo>
                    <a:pt x="6778" y="4936"/>
                    <a:pt x="6782" y="4933"/>
                    <a:pt x="6785" y="4929"/>
                  </a:cubicBezTo>
                  <a:cubicBezTo>
                    <a:pt x="6806" y="4901"/>
                    <a:pt x="6799" y="4866"/>
                    <a:pt x="6750" y="4765"/>
                  </a:cubicBezTo>
                  <a:cubicBezTo>
                    <a:pt x="6712" y="4684"/>
                    <a:pt x="6670" y="4590"/>
                    <a:pt x="6687" y="4492"/>
                  </a:cubicBezTo>
                  <a:cubicBezTo>
                    <a:pt x="6694" y="4443"/>
                    <a:pt x="6610" y="4380"/>
                    <a:pt x="6533" y="4327"/>
                  </a:cubicBezTo>
                  <a:cubicBezTo>
                    <a:pt x="6435" y="4261"/>
                    <a:pt x="6323" y="4184"/>
                    <a:pt x="6348" y="4072"/>
                  </a:cubicBezTo>
                  <a:cubicBezTo>
                    <a:pt x="6379" y="3932"/>
                    <a:pt x="6558" y="3900"/>
                    <a:pt x="6715" y="3872"/>
                  </a:cubicBezTo>
                  <a:cubicBezTo>
                    <a:pt x="6778" y="3865"/>
                    <a:pt x="6841" y="3851"/>
                    <a:pt x="6901" y="3830"/>
                  </a:cubicBezTo>
                  <a:cubicBezTo>
                    <a:pt x="6936" y="3816"/>
                    <a:pt x="6943" y="3781"/>
                    <a:pt x="6953" y="3708"/>
                  </a:cubicBezTo>
                  <a:cubicBezTo>
                    <a:pt x="6960" y="3634"/>
                    <a:pt x="6974" y="3519"/>
                    <a:pt x="7107" y="3519"/>
                  </a:cubicBezTo>
                  <a:cubicBezTo>
                    <a:pt x="7202" y="3519"/>
                    <a:pt x="7254" y="3417"/>
                    <a:pt x="7303" y="3270"/>
                  </a:cubicBezTo>
                  <a:cubicBezTo>
                    <a:pt x="7335" y="3175"/>
                    <a:pt x="7418" y="3158"/>
                    <a:pt x="7495" y="3158"/>
                  </a:cubicBezTo>
                  <a:cubicBezTo>
                    <a:pt x="7521" y="3158"/>
                    <a:pt x="7547" y="3160"/>
                    <a:pt x="7569" y="3161"/>
                  </a:cubicBezTo>
                  <a:cubicBezTo>
                    <a:pt x="7596" y="3163"/>
                    <a:pt x="7623" y="3165"/>
                    <a:pt x="7647" y="3165"/>
                  </a:cubicBezTo>
                  <a:cubicBezTo>
                    <a:pt x="7686" y="3165"/>
                    <a:pt x="7721" y="3160"/>
                    <a:pt x="7745" y="3140"/>
                  </a:cubicBezTo>
                  <a:cubicBezTo>
                    <a:pt x="7834" y="3076"/>
                    <a:pt x="7970" y="3011"/>
                    <a:pt x="8075" y="3011"/>
                  </a:cubicBezTo>
                  <a:cubicBezTo>
                    <a:pt x="8089" y="3011"/>
                    <a:pt x="8103" y="3012"/>
                    <a:pt x="8116" y="3014"/>
                  </a:cubicBezTo>
                  <a:cubicBezTo>
                    <a:pt x="8158" y="3021"/>
                    <a:pt x="8193" y="3046"/>
                    <a:pt x="8214" y="3081"/>
                  </a:cubicBezTo>
                  <a:lnTo>
                    <a:pt x="8217" y="3088"/>
                  </a:lnTo>
                  <a:lnTo>
                    <a:pt x="8221" y="3095"/>
                  </a:lnTo>
                  <a:lnTo>
                    <a:pt x="8221" y="3098"/>
                  </a:lnTo>
                  <a:lnTo>
                    <a:pt x="8221" y="3105"/>
                  </a:lnTo>
                  <a:lnTo>
                    <a:pt x="8221" y="3109"/>
                  </a:lnTo>
                  <a:lnTo>
                    <a:pt x="8221" y="3116"/>
                  </a:lnTo>
                  <a:lnTo>
                    <a:pt x="8221" y="3123"/>
                  </a:lnTo>
                  <a:lnTo>
                    <a:pt x="8221" y="3130"/>
                  </a:lnTo>
                  <a:lnTo>
                    <a:pt x="8221" y="3137"/>
                  </a:lnTo>
                  <a:lnTo>
                    <a:pt x="8221" y="3147"/>
                  </a:lnTo>
                  <a:lnTo>
                    <a:pt x="8221" y="3154"/>
                  </a:lnTo>
                  <a:lnTo>
                    <a:pt x="8221" y="3165"/>
                  </a:lnTo>
                  <a:lnTo>
                    <a:pt x="8221" y="3175"/>
                  </a:lnTo>
                  <a:cubicBezTo>
                    <a:pt x="8221" y="3179"/>
                    <a:pt x="8221" y="3186"/>
                    <a:pt x="8217" y="3189"/>
                  </a:cubicBezTo>
                  <a:lnTo>
                    <a:pt x="8214" y="3200"/>
                  </a:lnTo>
                  <a:cubicBezTo>
                    <a:pt x="8214" y="3207"/>
                    <a:pt x="8210" y="3214"/>
                    <a:pt x="8207" y="3221"/>
                  </a:cubicBezTo>
                  <a:lnTo>
                    <a:pt x="8207" y="3228"/>
                  </a:lnTo>
                  <a:cubicBezTo>
                    <a:pt x="8203" y="3239"/>
                    <a:pt x="8200" y="3249"/>
                    <a:pt x="8193" y="3260"/>
                  </a:cubicBezTo>
                  <a:lnTo>
                    <a:pt x="8193" y="3263"/>
                  </a:lnTo>
                  <a:cubicBezTo>
                    <a:pt x="8189" y="3274"/>
                    <a:pt x="8186" y="3288"/>
                    <a:pt x="8179" y="3298"/>
                  </a:cubicBezTo>
                  <a:lnTo>
                    <a:pt x="8172" y="3312"/>
                  </a:lnTo>
                  <a:lnTo>
                    <a:pt x="8158" y="3344"/>
                  </a:lnTo>
                  <a:lnTo>
                    <a:pt x="8151" y="3361"/>
                  </a:lnTo>
                  <a:lnTo>
                    <a:pt x="8133" y="3393"/>
                  </a:lnTo>
                  <a:lnTo>
                    <a:pt x="8123" y="3414"/>
                  </a:lnTo>
                  <a:lnTo>
                    <a:pt x="8102" y="3449"/>
                  </a:lnTo>
                  <a:lnTo>
                    <a:pt x="8088" y="3473"/>
                  </a:lnTo>
                  <a:lnTo>
                    <a:pt x="8077" y="3491"/>
                  </a:lnTo>
                  <a:lnTo>
                    <a:pt x="8119" y="3487"/>
                  </a:lnTo>
                  <a:cubicBezTo>
                    <a:pt x="8196" y="3480"/>
                    <a:pt x="8277" y="3473"/>
                    <a:pt x="8343" y="3459"/>
                  </a:cubicBezTo>
                  <a:lnTo>
                    <a:pt x="8354" y="3459"/>
                  </a:lnTo>
                  <a:cubicBezTo>
                    <a:pt x="8455" y="3442"/>
                    <a:pt x="8525" y="3424"/>
                    <a:pt x="8543" y="3407"/>
                  </a:cubicBezTo>
                  <a:cubicBezTo>
                    <a:pt x="8546" y="3400"/>
                    <a:pt x="8553" y="3396"/>
                    <a:pt x="8557" y="3393"/>
                  </a:cubicBezTo>
                  <a:cubicBezTo>
                    <a:pt x="8560" y="3393"/>
                    <a:pt x="8564" y="3389"/>
                    <a:pt x="8567" y="3386"/>
                  </a:cubicBezTo>
                  <a:cubicBezTo>
                    <a:pt x="8574" y="3382"/>
                    <a:pt x="8578" y="3379"/>
                    <a:pt x="8588" y="3375"/>
                  </a:cubicBezTo>
                  <a:lnTo>
                    <a:pt x="8592" y="3375"/>
                  </a:lnTo>
                  <a:cubicBezTo>
                    <a:pt x="8599" y="3372"/>
                    <a:pt x="8606" y="3368"/>
                    <a:pt x="8613" y="3368"/>
                  </a:cubicBezTo>
                  <a:lnTo>
                    <a:pt x="8634" y="3368"/>
                  </a:lnTo>
                  <a:cubicBezTo>
                    <a:pt x="8686" y="3368"/>
                    <a:pt x="8735" y="3372"/>
                    <a:pt x="8788" y="3386"/>
                  </a:cubicBezTo>
                  <a:cubicBezTo>
                    <a:pt x="8842" y="3395"/>
                    <a:pt x="8888" y="3402"/>
                    <a:pt x="8926" y="3402"/>
                  </a:cubicBezTo>
                  <a:cubicBezTo>
                    <a:pt x="8984" y="3402"/>
                    <a:pt x="9024" y="3386"/>
                    <a:pt x="9047" y="3340"/>
                  </a:cubicBezTo>
                  <a:cubicBezTo>
                    <a:pt x="9113" y="3210"/>
                    <a:pt x="9250" y="3186"/>
                    <a:pt x="9330" y="3168"/>
                  </a:cubicBezTo>
                  <a:lnTo>
                    <a:pt x="9334" y="3168"/>
                  </a:lnTo>
                  <a:cubicBezTo>
                    <a:pt x="9327" y="3161"/>
                    <a:pt x="9316" y="3151"/>
                    <a:pt x="9302" y="3140"/>
                  </a:cubicBezTo>
                  <a:cubicBezTo>
                    <a:pt x="9078" y="2951"/>
                    <a:pt x="8816" y="2811"/>
                    <a:pt x="8697" y="2780"/>
                  </a:cubicBezTo>
                  <a:cubicBezTo>
                    <a:pt x="8686" y="2776"/>
                    <a:pt x="8676" y="2776"/>
                    <a:pt x="8665" y="2773"/>
                  </a:cubicBezTo>
                  <a:lnTo>
                    <a:pt x="8648" y="2773"/>
                  </a:lnTo>
                  <a:cubicBezTo>
                    <a:pt x="8613" y="2850"/>
                    <a:pt x="8539" y="2902"/>
                    <a:pt x="8455" y="2909"/>
                  </a:cubicBezTo>
                  <a:cubicBezTo>
                    <a:pt x="8429" y="2915"/>
                    <a:pt x="8401" y="2918"/>
                    <a:pt x="8371" y="2918"/>
                  </a:cubicBezTo>
                  <a:cubicBezTo>
                    <a:pt x="8276" y="2918"/>
                    <a:pt x="8173" y="2886"/>
                    <a:pt x="8109" y="2808"/>
                  </a:cubicBezTo>
                  <a:lnTo>
                    <a:pt x="8088" y="2783"/>
                  </a:lnTo>
                  <a:cubicBezTo>
                    <a:pt x="8046" y="2724"/>
                    <a:pt x="7993" y="2678"/>
                    <a:pt x="7930" y="2647"/>
                  </a:cubicBezTo>
                  <a:cubicBezTo>
                    <a:pt x="7911" y="2639"/>
                    <a:pt x="7885" y="2632"/>
                    <a:pt x="7847" y="2632"/>
                  </a:cubicBezTo>
                  <a:cubicBezTo>
                    <a:pt x="7814" y="2632"/>
                    <a:pt x="7772" y="2638"/>
                    <a:pt x="7720" y="2654"/>
                  </a:cubicBezTo>
                  <a:lnTo>
                    <a:pt x="7717" y="2654"/>
                  </a:lnTo>
                  <a:cubicBezTo>
                    <a:pt x="7699" y="2661"/>
                    <a:pt x="7681" y="2668"/>
                    <a:pt x="7664" y="2675"/>
                  </a:cubicBezTo>
                  <a:cubicBezTo>
                    <a:pt x="7342" y="2804"/>
                    <a:pt x="7160" y="2962"/>
                    <a:pt x="7142" y="3056"/>
                  </a:cubicBezTo>
                  <a:cubicBezTo>
                    <a:pt x="7121" y="3154"/>
                    <a:pt x="7048" y="3235"/>
                    <a:pt x="6953" y="3270"/>
                  </a:cubicBezTo>
                  <a:lnTo>
                    <a:pt x="6936" y="3274"/>
                  </a:lnTo>
                  <a:lnTo>
                    <a:pt x="6894" y="3274"/>
                  </a:lnTo>
                  <a:cubicBezTo>
                    <a:pt x="6834" y="3274"/>
                    <a:pt x="6768" y="3235"/>
                    <a:pt x="6757" y="3133"/>
                  </a:cubicBezTo>
                  <a:cubicBezTo>
                    <a:pt x="6740" y="3004"/>
                    <a:pt x="6498" y="2944"/>
                    <a:pt x="6351" y="2909"/>
                  </a:cubicBezTo>
                  <a:cubicBezTo>
                    <a:pt x="6292" y="2899"/>
                    <a:pt x="6232" y="2895"/>
                    <a:pt x="6173" y="2895"/>
                  </a:cubicBezTo>
                  <a:cubicBezTo>
                    <a:pt x="6029" y="2895"/>
                    <a:pt x="5851" y="2895"/>
                    <a:pt x="5826" y="2724"/>
                  </a:cubicBezTo>
                  <a:cubicBezTo>
                    <a:pt x="5819" y="2657"/>
                    <a:pt x="5756" y="2573"/>
                    <a:pt x="5697" y="2493"/>
                  </a:cubicBezTo>
                  <a:cubicBezTo>
                    <a:pt x="5619" y="2388"/>
                    <a:pt x="5539" y="2279"/>
                    <a:pt x="5525" y="2160"/>
                  </a:cubicBezTo>
                  <a:cubicBezTo>
                    <a:pt x="5521" y="2104"/>
                    <a:pt x="5518" y="2045"/>
                    <a:pt x="5518" y="1985"/>
                  </a:cubicBezTo>
                  <a:cubicBezTo>
                    <a:pt x="5518" y="1824"/>
                    <a:pt x="5514" y="1719"/>
                    <a:pt x="5444" y="1698"/>
                  </a:cubicBezTo>
                  <a:cubicBezTo>
                    <a:pt x="5339" y="1674"/>
                    <a:pt x="5262" y="1586"/>
                    <a:pt x="5192" y="1509"/>
                  </a:cubicBezTo>
                  <a:cubicBezTo>
                    <a:pt x="5136" y="1443"/>
                    <a:pt x="5077" y="1376"/>
                    <a:pt x="5028" y="1376"/>
                  </a:cubicBezTo>
                  <a:cubicBezTo>
                    <a:pt x="4363" y="1376"/>
                    <a:pt x="3985" y="1362"/>
                    <a:pt x="3904" y="1327"/>
                  </a:cubicBezTo>
                  <a:cubicBezTo>
                    <a:pt x="3901" y="1326"/>
                    <a:pt x="3896" y="1326"/>
                    <a:pt x="3891" y="1326"/>
                  </a:cubicBezTo>
                  <a:cubicBezTo>
                    <a:pt x="3844" y="1326"/>
                    <a:pt x="3730" y="1350"/>
                    <a:pt x="3649" y="1366"/>
                  </a:cubicBezTo>
                  <a:cubicBezTo>
                    <a:pt x="3524" y="1393"/>
                    <a:pt x="3409" y="1418"/>
                    <a:pt x="3319" y="1418"/>
                  </a:cubicBezTo>
                  <a:cubicBezTo>
                    <a:pt x="3235" y="1418"/>
                    <a:pt x="3174" y="1395"/>
                    <a:pt x="3151" y="1331"/>
                  </a:cubicBezTo>
                  <a:cubicBezTo>
                    <a:pt x="3151" y="1324"/>
                    <a:pt x="3148" y="1320"/>
                    <a:pt x="3144" y="1313"/>
                  </a:cubicBezTo>
                  <a:lnTo>
                    <a:pt x="3141" y="1306"/>
                  </a:lnTo>
                  <a:lnTo>
                    <a:pt x="3130" y="1289"/>
                  </a:lnTo>
                  <a:lnTo>
                    <a:pt x="3123" y="1278"/>
                  </a:lnTo>
                  <a:lnTo>
                    <a:pt x="3109" y="1261"/>
                  </a:lnTo>
                  <a:lnTo>
                    <a:pt x="3099" y="1247"/>
                  </a:lnTo>
                  <a:lnTo>
                    <a:pt x="3081" y="1226"/>
                  </a:lnTo>
                  <a:lnTo>
                    <a:pt x="3071" y="1212"/>
                  </a:lnTo>
                  <a:lnTo>
                    <a:pt x="3050" y="1187"/>
                  </a:lnTo>
                  <a:lnTo>
                    <a:pt x="3036" y="1170"/>
                  </a:lnTo>
                  <a:lnTo>
                    <a:pt x="3015" y="1145"/>
                  </a:lnTo>
                  <a:lnTo>
                    <a:pt x="3001" y="1127"/>
                  </a:lnTo>
                  <a:lnTo>
                    <a:pt x="2976" y="1099"/>
                  </a:lnTo>
                  <a:lnTo>
                    <a:pt x="2962" y="1082"/>
                  </a:lnTo>
                  <a:lnTo>
                    <a:pt x="2931" y="1047"/>
                  </a:lnTo>
                  <a:lnTo>
                    <a:pt x="2917" y="1036"/>
                  </a:lnTo>
                  <a:lnTo>
                    <a:pt x="2875" y="987"/>
                  </a:lnTo>
                  <a:lnTo>
                    <a:pt x="2826" y="938"/>
                  </a:lnTo>
                  <a:lnTo>
                    <a:pt x="2819" y="928"/>
                  </a:lnTo>
                  <a:lnTo>
                    <a:pt x="2780" y="889"/>
                  </a:lnTo>
                  <a:lnTo>
                    <a:pt x="2763" y="875"/>
                  </a:lnTo>
                  <a:lnTo>
                    <a:pt x="2731" y="844"/>
                  </a:lnTo>
                  <a:lnTo>
                    <a:pt x="2714" y="823"/>
                  </a:lnTo>
                  <a:lnTo>
                    <a:pt x="2682" y="795"/>
                  </a:lnTo>
                  <a:lnTo>
                    <a:pt x="2665" y="777"/>
                  </a:lnTo>
                  <a:lnTo>
                    <a:pt x="2637" y="753"/>
                  </a:lnTo>
                  <a:lnTo>
                    <a:pt x="2616" y="735"/>
                  </a:lnTo>
                  <a:lnTo>
                    <a:pt x="2605" y="725"/>
                  </a:lnTo>
                  <a:cubicBezTo>
                    <a:pt x="2570" y="795"/>
                    <a:pt x="2518" y="858"/>
                    <a:pt x="2455" y="903"/>
                  </a:cubicBezTo>
                  <a:cubicBezTo>
                    <a:pt x="2270" y="1034"/>
                    <a:pt x="2083" y="1104"/>
                    <a:pt x="1935" y="1104"/>
                  </a:cubicBezTo>
                  <a:cubicBezTo>
                    <a:pt x="1861" y="1104"/>
                    <a:pt x="1797" y="1087"/>
                    <a:pt x="1748" y="1050"/>
                  </a:cubicBezTo>
                  <a:cubicBezTo>
                    <a:pt x="1695" y="1008"/>
                    <a:pt x="1618" y="914"/>
                    <a:pt x="1692" y="714"/>
                  </a:cubicBezTo>
                  <a:cubicBezTo>
                    <a:pt x="1790" y="441"/>
                    <a:pt x="1811" y="154"/>
                    <a:pt x="1741" y="56"/>
                  </a:cubicBezTo>
                  <a:cubicBezTo>
                    <a:pt x="1731" y="41"/>
                    <a:pt x="1713" y="28"/>
                    <a:pt x="1695" y="28"/>
                  </a:cubicBezTo>
                  <a:cubicBezTo>
                    <a:pt x="1692" y="28"/>
                    <a:pt x="1690" y="28"/>
                    <a:pt x="1688" y="28"/>
                  </a:cubicBezTo>
                  <a:cubicBezTo>
                    <a:pt x="1639" y="28"/>
                    <a:pt x="1625" y="277"/>
                    <a:pt x="1618" y="382"/>
                  </a:cubicBezTo>
                  <a:cubicBezTo>
                    <a:pt x="1608" y="595"/>
                    <a:pt x="1601" y="781"/>
                    <a:pt x="1482" y="816"/>
                  </a:cubicBezTo>
                  <a:cubicBezTo>
                    <a:pt x="1470" y="819"/>
                    <a:pt x="1458" y="821"/>
                    <a:pt x="1446" y="821"/>
                  </a:cubicBezTo>
                  <a:cubicBezTo>
                    <a:pt x="1411" y="821"/>
                    <a:pt x="1376" y="806"/>
                    <a:pt x="1355" y="777"/>
                  </a:cubicBezTo>
                  <a:cubicBezTo>
                    <a:pt x="1250" y="665"/>
                    <a:pt x="1222" y="277"/>
                    <a:pt x="1285"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861" name="Google Shape;5861;p104"/>
            <p:cNvSpPr/>
            <p:nvPr/>
          </p:nvSpPr>
          <p:spPr>
            <a:xfrm>
              <a:off x="2580038" y="1723951"/>
              <a:ext cx="2105" cy="258"/>
            </a:xfrm>
            <a:custGeom>
              <a:avLst/>
              <a:gdLst/>
              <a:ahLst/>
              <a:cxnLst/>
              <a:rect l="l" t="t" r="r" b="b"/>
              <a:pathLst>
                <a:path w="155" h="19" extrusionOk="0">
                  <a:moveTo>
                    <a:pt x="1" y="1"/>
                  </a:moveTo>
                  <a:cubicBezTo>
                    <a:pt x="50" y="1"/>
                    <a:pt x="102" y="4"/>
                    <a:pt x="155" y="18"/>
                  </a:cubicBezTo>
                  <a:cubicBezTo>
                    <a:pt x="102" y="4"/>
                    <a:pt x="50" y="1"/>
                    <a:pt x="1" y="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862" name="Google Shape;5862;p104"/>
            <p:cNvSpPr/>
            <p:nvPr/>
          </p:nvSpPr>
          <p:spPr>
            <a:xfrm>
              <a:off x="2573059" y="1725241"/>
              <a:ext cx="3096" cy="394"/>
            </a:xfrm>
            <a:custGeom>
              <a:avLst/>
              <a:gdLst/>
              <a:ahLst/>
              <a:cxnLst/>
              <a:rect l="l" t="t" r="r" b="b"/>
              <a:pathLst>
                <a:path w="228" h="29" extrusionOk="0">
                  <a:moveTo>
                    <a:pt x="228" y="0"/>
                  </a:moveTo>
                  <a:cubicBezTo>
                    <a:pt x="158" y="14"/>
                    <a:pt x="77" y="21"/>
                    <a:pt x="0" y="28"/>
                  </a:cubicBezTo>
                  <a:cubicBezTo>
                    <a:pt x="84" y="21"/>
                    <a:pt x="165" y="14"/>
                    <a:pt x="228"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863" name="Google Shape;5863;p104"/>
            <p:cNvSpPr/>
            <p:nvPr/>
          </p:nvSpPr>
          <p:spPr>
            <a:xfrm>
              <a:off x="2579807" y="1723951"/>
              <a:ext cx="109" cy="14"/>
            </a:xfrm>
            <a:custGeom>
              <a:avLst/>
              <a:gdLst/>
              <a:ahLst/>
              <a:cxnLst/>
              <a:rect l="l" t="t" r="r" b="b"/>
              <a:pathLst>
                <a:path w="8" h="1" extrusionOk="0">
                  <a:moveTo>
                    <a:pt x="7"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864" name="Google Shape;5864;p104"/>
            <p:cNvSpPr/>
            <p:nvPr/>
          </p:nvSpPr>
          <p:spPr>
            <a:xfrm>
              <a:off x="2580894" y="1715913"/>
              <a:ext cx="8242" cy="4915"/>
            </a:xfrm>
            <a:custGeom>
              <a:avLst/>
              <a:gdLst/>
              <a:ahLst/>
              <a:cxnLst/>
              <a:rect l="l" t="t" r="r" b="b"/>
              <a:pathLst>
                <a:path w="607" h="362" extrusionOk="0">
                  <a:moveTo>
                    <a:pt x="1" y="1"/>
                  </a:moveTo>
                  <a:cubicBezTo>
                    <a:pt x="120" y="33"/>
                    <a:pt x="382" y="176"/>
                    <a:pt x="606" y="361"/>
                  </a:cubicBezTo>
                  <a:cubicBezTo>
                    <a:pt x="382" y="173"/>
                    <a:pt x="120" y="33"/>
                    <a:pt x="1" y="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865" name="Google Shape;5865;p104"/>
            <p:cNvSpPr/>
            <p:nvPr/>
          </p:nvSpPr>
          <p:spPr>
            <a:xfrm>
              <a:off x="2579034" y="1724236"/>
              <a:ext cx="122" cy="122"/>
            </a:xfrm>
            <a:custGeom>
              <a:avLst/>
              <a:gdLst/>
              <a:ahLst/>
              <a:cxnLst/>
              <a:rect l="l" t="t" r="r" b="b"/>
              <a:pathLst>
                <a:path w="9" h="9" extrusionOk="0">
                  <a:moveTo>
                    <a:pt x="8" y="1"/>
                  </a:moveTo>
                  <a:cubicBezTo>
                    <a:pt x="5" y="1"/>
                    <a:pt x="2" y="3"/>
                    <a:pt x="1" y="6"/>
                  </a:cubicBezTo>
                  <a:lnTo>
                    <a:pt x="1" y="6"/>
                  </a:lnTo>
                  <a:cubicBezTo>
                    <a:pt x="3" y="4"/>
                    <a:pt x="6" y="1"/>
                    <a:pt x="8" y="1"/>
                  </a:cubicBezTo>
                  <a:close/>
                  <a:moveTo>
                    <a:pt x="1" y="6"/>
                  </a:moveTo>
                  <a:lnTo>
                    <a:pt x="1" y="6"/>
                  </a:lnTo>
                  <a:cubicBezTo>
                    <a:pt x="1" y="7"/>
                    <a:pt x="0" y="8"/>
                    <a:pt x="0" y="8"/>
                  </a:cubicBezTo>
                  <a:cubicBezTo>
                    <a:pt x="0" y="8"/>
                    <a:pt x="1" y="8"/>
                    <a:pt x="1" y="8"/>
                  </a:cubicBezTo>
                  <a:cubicBezTo>
                    <a:pt x="1" y="7"/>
                    <a:pt x="1" y="7"/>
                    <a:pt x="1" y="6"/>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866" name="Google Shape;5866;p104"/>
            <p:cNvSpPr/>
            <p:nvPr/>
          </p:nvSpPr>
          <p:spPr>
            <a:xfrm>
              <a:off x="2570534" y="1714107"/>
              <a:ext cx="2390" cy="2200"/>
            </a:xfrm>
            <a:custGeom>
              <a:avLst/>
              <a:gdLst/>
              <a:ahLst/>
              <a:cxnLst/>
              <a:rect l="l" t="t" r="r" b="b"/>
              <a:pathLst>
                <a:path w="176" h="162" extrusionOk="0">
                  <a:moveTo>
                    <a:pt x="1" y="1"/>
                  </a:moveTo>
                  <a:cubicBezTo>
                    <a:pt x="60" y="32"/>
                    <a:pt x="116" y="78"/>
                    <a:pt x="155" y="137"/>
                  </a:cubicBezTo>
                  <a:lnTo>
                    <a:pt x="176" y="162"/>
                  </a:lnTo>
                  <a:lnTo>
                    <a:pt x="151" y="130"/>
                  </a:lnTo>
                  <a:cubicBezTo>
                    <a:pt x="116" y="81"/>
                    <a:pt x="74" y="43"/>
                    <a:pt x="25" y="8"/>
                  </a:cubicBezTo>
                  <a:lnTo>
                    <a:pt x="1"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867" name="Google Shape;5867;p104"/>
            <p:cNvSpPr/>
            <p:nvPr/>
          </p:nvSpPr>
          <p:spPr>
            <a:xfrm>
              <a:off x="2576291" y="1725241"/>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868" name="Google Shape;5868;p104"/>
            <p:cNvSpPr/>
            <p:nvPr/>
          </p:nvSpPr>
          <p:spPr>
            <a:xfrm>
              <a:off x="2579427" y="1724046"/>
              <a:ext cx="54" cy="68"/>
            </a:xfrm>
            <a:custGeom>
              <a:avLst/>
              <a:gdLst/>
              <a:ahLst/>
              <a:cxnLst/>
              <a:rect l="l" t="t" r="r" b="b"/>
              <a:pathLst>
                <a:path w="4" h="5" extrusionOk="0">
                  <a:moveTo>
                    <a:pt x="4"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869" name="Google Shape;5869;p104"/>
            <p:cNvSpPr/>
            <p:nvPr/>
          </p:nvSpPr>
          <p:spPr>
            <a:xfrm>
              <a:off x="2086700" y="1392158"/>
              <a:ext cx="189338" cy="157838"/>
            </a:xfrm>
            <a:custGeom>
              <a:avLst/>
              <a:gdLst/>
              <a:ahLst/>
              <a:cxnLst/>
              <a:rect l="l" t="t" r="r" b="b"/>
              <a:pathLst>
                <a:path w="13945" h="11625" extrusionOk="0">
                  <a:moveTo>
                    <a:pt x="11107" y="0"/>
                  </a:moveTo>
                  <a:cubicBezTo>
                    <a:pt x="11045" y="0"/>
                    <a:pt x="11013" y="49"/>
                    <a:pt x="10969" y="138"/>
                  </a:cubicBezTo>
                  <a:cubicBezTo>
                    <a:pt x="10955" y="173"/>
                    <a:pt x="10934" y="205"/>
                    <a:pt x="10909" y="233"/>
                  </a:cubicBezTo>
                  <a:cubicBezTo>
                    <a:pt x="10885" y="257"/>
                    <a:pt x="10852" y="266"/>
                    <a:pt x="10814" y="266"/>
                  </a:cubicBezTo>
                  <a:cubicBezTo>
                    <a:pt x="10754" y="266"/>
                    <a:pt x="10679" y="242"/>
                    <a:pt x="10601" y="219"/>
                  </a:cubicBezTo>
                  <a:cubicBezTo>
                    <a:pt x="10577" y="212"/>
                    <a:pt x="10549" y="201"/>
                    <a:pt x="10524" y="198"/>
                  </a:cubicBezTo>
                  <a:cubicBezTo>
                    <a:pt x="10510" y="219"/>
                    <a:pt x="10489" y="240"/>
                    <a:pt x="10464" y="257"/>
                  </a:cubicBezTo>
                  <a:cubicBezTo>
                    <a:pt x="10450" y="264"/>
                    <a:pt x="10426" y="285"/>
                    <a:pt x="10422" y="292"/>
                  </a:cubicBezTo>
                  <a:cubicBezTo>
                    <a:pt x="10426" y="299"/>
                    <a:pt x="10429" y="306"/>
                    <a:pt x="10433" y="313"/>
                  </a:cubicBezTo>
                  <a:cubicBezTo>
                    <a:pt x="10475" y="366"/>
                    <a:pt x="10482" y="439"/>
                    <a:pt x="10454" y="499"/>
                  </a:cubicBezTo>
                  <a:cubicBezTo>
                    <a:pt x="10433" y="541"/>
                    <a:pt x="10391" y="565"/>
                    <a:pt x="10345" y="565"/>
                  </a:cubicBezTo>
                  <a:cubicBezTo>
                    <a:pt x="10314" y="565"/>
                    <a:pt x="10251" y="551"/>
                    <a:pt x="10202" y="460"/>
                  </a:cubicBezTo>
                  <a:cubicBezTo>
                    <a:pt x="10191" y="443"/>
                    <a:pt x="10174" y="429"/>
                    <a:pt x="10149" y="429"/>
                  </a:cubicBezTo>
                  <a:cubicBezTo>
                    <a:pt x="10086" y="429"/>
                    <a:pt x="9992" y="502"/>
                    <a:pt x="9936" y="593"/>
                  </a:cubicBezTo>
                  <a:cubicBezTo>
                    <a:pt x="9904" y="646"/>
                    <a:pt x="9862" y="695"/>
                    <a:pt x="9810" y="733"/>
                  </a:cubicBezTo>
                  <a:cubicBezTo>
                    <a:pt x="9866" y="789"/>
                    <a:pt x="9890" y="866"/>
                    <a:pt x="9876" y="943"/>
                  </a:cubicBezTo>
                  <a:cubicBezTo>
                    <a:pt x="9869" y="1038"/>
                    <a:pt x="9803" y="1118"/>
                    <a:pt x="9712" y="1146"/>
                  </a:cubicBezTo>
                  <a:cubicBezTo>
                    <a:pt x="9699" y="1150"/>
                    <a:pt x="9686" y="1152"/>
                    <a:pt x="9673" y="1152"/>
                  </a:cubicBezTo>
                  <a:cubicBezTo>
                    <a:pt x="9652" y="1152"/>
                    <a:pt x="9631" y="1147"/>
                    <a:pt x="9614" y="1136"/>
                  </a:cubicBezTo>
                  <a:cubicBezTo>
                    <a:pt x="9547" y="1094"/>
                    <a:pt x="9530" y="996"/>
                    <a:pt x="9512" y="901"/>
                  </a:cubicBezTo>
                  <a:cubicBezTo>
                    <a:pt x="9509" y="866"/>
                    <a:pt x="9498" y="831"/>
                    <a:pt x="9488" y="796"/>
                  </a:cubicBezTo>
                  <a:cubicBezTo>
                    <a:pt x="9481" y="798"/>
                    <a:pt x="9473" y="799"/>
                    <a:pt x="9466" y="799"/>
                  </a:cubicBezTo>
                  <a:cubicBezTo>
                    <a:pt x="9456" y="799"/>
                    <a:pt x="9446" y="797"/>
                    <a:pt x="9435" y="793"/>
                  </a:cubicBezTo>
                  <a:lnTo>
                    <a:pt x="9435" y="793"/>
                  </a:lnTo>
                  <a:cubicBezTo>
                    <a:pt x="9442" y="807"/>
                    <a:pt x="9442" y="821"/>
                    <a:pt x="9442" y="838"/>
                  </a:cubicBezTo>
                  <a:cubicBezTo>
                    <a:pt x="9439" y="884"/>
                    <a:pt x="9407" y="926"/>
                    <a:pt x="9362" y="940"/>
                  </a:cubicBezTo>
                  <a:cubicBezTo>
                    <a:pt x="9329" y="953"/>
                    <a:pt x="9294" y="959"/>
                    <a:pt x="9260" y="959"/>
                  </a:cubicBezTo>
                  <a:cubicBezTo>
                    <a:pt x="9200" y="959"/>
                    <a:pt x="9141" y="939"/>
                    <a:pt x="9092" y="901"/>
                  </a:cubicBezTo>
                  <a:cubicBezTo>
                    <a:pt x="9059" y="871"/>
                    <a:pt x="9014" y="860"/>
                    <a:pt x="8968" y="860"/>
                  </a:cubicBezTo>
                  <a:cubicBezTo>
                    <a:pt x="8909" y="860"/>
                    <a:pt x="8847" y="878"/>
                    <a:pt x="8802" y="898"/>
                  </a:cubicBezTo>
                  <a:cubicBezTo>
                    <a:pt x="8830" y="919"/>
                    <a:pt x="8875" y="940"/>
                    <a:pt x="8903" y="957"/>
                  </a:cubicBezTo>
                  <a:cubicBezTo>
                    <a:pt x="9022" y="1024"/>
                    <a:pt x="9082" y="1062"/>
                    <a:pt x="9096" y="1118"/>
                  </a:cubicBezTo>
                  <a:cubicBezTo>
                    <a:pt x="9103" y="1146"/>
                    <a:pt x="9092" y="1178"/>
                    <a:pt x="9071" y="1199"/>
                  </a:cubicBezTo>
                  <a:cubicBezTo>
                    <a:pt x="9054" y="1212"/>
                    <a:pt x="9036" y="1217"/>
                    <a:pt x="9017" y="1217"/>
                  </a:cubicBezTo>
                  <a:cubicBezTo>
                    <a:pt x="8984" y="1217"/>
                    <a:pt x="8948" y="1202"/>
                    <a:pt x="8907" y="1185"/>
                  </a:cubicBezTo>
                  <a:cubicBezTo>
                    <a:pt x="8875" y="1171"/>
                    <a:pt x="8844" y="1160"/>
                    <a:pt x="8812" y="1153"/>
                  </a:cubicBezTo>
                  <a:cubicBezTo>
                    <a:pt x="8783" y="1174"/>
                    <a:pt x="8750" y="1184"/>
                    <a:pt x="8717" y="1184"/>
                  </a:cubicBezTo>
                  <a:cubicBezTo>
                    <a:pt x="8695" y="1184"/>
                    <a:pt x="8672" y="1179"/>
                    <a:pt x="8651" y="1171"/>
                  </a:cubicBezTo>
                  <a:cubicBezTo>
                    <a:pt x="8585" y="1150"/>
                    <a:pt x="8525" y="1111"/>
                    <a:pt x="8476" y="1059"/>
                  </a:cubicBezTo>
                  <a:lnTo>
                    <a:pt x="8476" y="1059"/>
                  </a:lnTo>
                  <a:cubicBezTo>
                    <a:pt x="8522" y="1122"/>
                    <a:pt x="8511" y="1206"/>
                    <a:pt x="8504" y="1276"/>
                  </a:cubicBezTo>
                  <a:cubicBezTo>
                    <a:pt x="8501" y="1311"/>
                    <a:pt x="8497" y="1349"/>
                    <a:pt x="8497" y="1384"/>
                  </a:cubicBezTo>
                  <a:cubicBezTo>
                    <a:pt x="8504" y="1440"/>
                    <a:pt x="8476" y="1497"/>
                    <a:pt x="8424" y="1521"/>
                  </a:cubicBezTo>
                  <a:cubicBezTo>
                    <a:pt x="8405" y="1527"/>
                    <a:pt x="8387" y="1531"/>
                    <a:pt x="8368" y="1531"/>
                  </a:cubicBezTo>
                  <a:cubicBezTo>
                    <a:pt x="8325" y="1531"/>
                    <a:pt x="8284" y="1514"/>
                    <a:pt x="8252" y="1483"/>
                  </a:cubicBezTo>
                  <a:cubicBezTo>
                    <a:pt x="8185" y="1426"/>
                    <a:pt x="8161" y="1335"/>
                    <a:pt x="8182" y="1251"/>
                  </a:cubicBezTo>
                  <a:cubicBezTo>
                    <a:pt x="8185" y="1244"/>
                    <a:pt x="8189" y="1237"/>
                    <a:pt x="8189" y="1230"/>
                  </a:cubicBezTo>
                  <a:cubicBezTo>
                    <a:pt x="8185" y="1229"/>
                    <a:pt x="8180" y="1229"/>
                    <a:pt x="8174" y="1229"/>
                  </a:cubicBezTo>
                  <a:cubicBezTo>
                    <a:pt x="8137" y="1229"/>
                    <a:pt x="8060" y="1249"/>
                    <a:pt x="7972" y="1304"/>
                  </a:cubicBezTo>
                  <a:cubicBezTo>
                    <a:pt x="7955" y="1314"/>
                    <a:pt x="7922" y="1333"/>
                    <a:pt x="7887" y="1333"/>
                  </a:cubicBezTo>
                  <a:cubicBezTo>
                    <a:pt x="7871" y="1333"/>
                    <a:pt x="7854" y="1329"/>
                    <a:pt x="7839" y="1318"/>
                  </a:cubicBezTo>
                  <a:cubicBezTo>
                    <a:pt x="7790" y="1279"/>
                    <a:pt x="7804" y="1216"/>
                    <a:pt x="7825" y="1143"/>
                  </a:cubicBezTo>
                  <a:cubicBezTo>
                    <a:pt x="7839" y="1083"/>
                    <a:pt x="7860" y="999"/>
                    <a:pt x="7839" y="957"/>
                  </a:cubicBezTo>
                  <a:cubicBezTo>
                    <a:pt x="7834" y="945"/>
                    <a:pt x="7829" y="937"/>
                    <a:pt x="7812" y="937"/>
                  </a:cubicBezTo>
                  <a:cubicBezTo>
                    <a:pt x="7794" y="937"/>
                    <a:pt x="7762" y="946"/>
                    <a:pt x="7699" y="971"/>
                  </a:cubicBezTo>
                  <a:cubicBezTo>
                    <a:pt x="7643" y="996"/>
                    <a:pt x="7587" y="1013"/>
                    <a:pt x="7531" y="1027"/>
                  </a:cubicBezTo>
                  <a:lnTo>
                    <a:pt x="7503" y="1034"/>
                  </a:lnTo>
                  <a:cubicBezTo>
                    <a:pt x="7464" y="1038"/>
                    <a:pt x="7426" y="1048"/>
                    <a:pt x="7398" y="1055"/>
                  </a:cubicBezTo>
                  <a:lnTo>
                    <a:pt x="7415" y="1073"/>
                  </a:lnTo>
                  <a:cubicBezTo>
                    <a:pt x="7496" y="1160"/>
                    <a:pt x="7524" y="1279"/>
                    <a:pt x="7478" y="1356"/>
                  </a:cubicBezTo>
                  <a:cubicBezTo>
                    <a:pt x="7451" y="1406"/>
                    <a:pt x="7401" y="1436"/>
                    <a:pt x="7347" y="1436"/>
                  </a:cubicBezTo>
                  <a:cubicBezTo>
                    <a:pt x="7332" y="1436"/>
                    <a:pt x="7318" y="1434"/>
                    <a:pt x="7303" y="1430"/>
                  </a:cubicBezTo>
                  <a:cubicBezTo>
                    <a:pt x="7275" y="1425"/>
                    <a:pt x="7255" y="1424"/>
                    <a:pt x="7240" y="1424"/>
                  </a:cubicBezTo>
                  <a:cubicBezTo>
                    <a:pt x="7211" y="1424"/>
                    <a:pt x="7205" y="1430"/>
                    <a:pt x="7205" y="1430"/>
                  </a:cubicBezTo>
                  <a:cubicBezTo>
                    <a:pt x="7205" y="1430"/>
                    <a:pt x="7195" y="1440"/>
                    <a:pt x="7202" y="1490"/>
                  </a:cubicBezTo>
                  <a:cubicBezTo>
                    <a:pt x="7216" y="1574"/>
                    <a:pt x="7153" y="1654"/>
                    <a:pt x="7065" y="1665"/>
                  </a:cubicBezTo>
                  <a:cubicBezTo>
                    <a:pt x="7057" y="1666"/>
                    <a:pt x="7048" y="1667"/>
                    <a:pt x="7040" y="1667"/>
                  </a:cubicBezTo>
                  <a:cubicBezTo>
                    <a:pt x="6962" y="1667"/>
                    <a:pt x="6892" y="1610"/>
                    <a:pt x="6876" y="1528"/>
                  </a:cubicBezTo>
                  <a:cubicBezTo>
                    <a:pt x="6863" y="1520"/>
                    <a:pt x="6846" y="1516"/>
                    <a:pt x="6828" y="1516"/>
                  </a:cubicBezTo>
                  <a:cubicBezTo>
                    <a:pt x="6822" y="1516"/>
                    <a:pt x="6816" y="1517"/>
                    <a:pt x="6810" y="1518"/>
                  </a:cubicBezTo>
                  <a:cubicBezTo>
                    <a:pt x="6740" y="1518"/>
                    <a:pt x="6673" y="1549"/>
                    <a:pt x="6628" y="1605"/>
                  </a:cubicBezTo>
                  <a:cubicBezTo>
                    <a:pt x="6586" y="1661"/>
                    <a:pt x="6537" y="1710"/>
                    <a:pt x="6484" y="1756"/>
                  </a:cubicBezTo>
                  <a:cubicBezTo>
                    <a:pt x="6414" y="1815"/>
                    <a:pt x="6351" y="1868"/>
                    <a:pt x="6351" y="1920"/>
                  </a:cubicBezTo>
                  <a:cubicBezTo>
                    <a:pt x="6365" y="1917"/>
                    <a:pt x="6386" y="1906"/>
                    <a:pt x="6404" y="1899"/>
                  </a:cubicBezTo>
                  <a:cubicBezTo>
                    <a:pt x="6453" y="1875"/>
                    <a:pt x="6519" y="1846"/>
                    <a:pt x="6587" y="1846"/>
                  </a:cubicBezTo>
                  <a:cubicBezTo>
                    <a:pt x="6610" y="1846"/>
                    <a:pt x="6633" y="1849"/>
                    <a:pt x="6656" y="1857"/>
                  </a:cubicBezTo>
                  <a:cubicBezTo>
                    <a:pt x="6799" y="1903"/>
                    <a:pt x="6768" y="2001"/>
                    <a:pt x="6754" y="2036"/>
                  </a:cubicBezTo>
                  <a:cubicBezTo>
                    <a:pt x="6754" y="2043"/>
                    <a:pt x="6750" y="2053"/>
                    <a:pt x="6750" y="2060"/>
                  </a:cubicBezTo>
                  <a:lnTo>
                    <a:pt x="6754" y="2064"/>
                  </a:lnTo>
                  <a:cubicBezTo>
                    <a:pt x="6810" y="2116"/>
                    <a:pt x="6834" y="2193"/>
                    <a:pt x="6820" y="2267"/>
                  </a:cubicBezTo>
                  <a:cubicBezTo>
                    <a:pt x="6813" y="2305"/>
                    <a:pt x="6789" y="2337"/>
                    <a:pt x="6750" y="2351"/>
                  </a:cubicBezTo>
                  <a:cubicBezTo>
                    <a:pt x="6740" y="2353"/>
                    <a:pt x="6729" y="2354"/>
                    <a:pt x="6718" y="2354"/>
                  </a:cubicBezTo>
                  <a:cubicBezTo>
                    <a:pt x="6679" y="2354"/>
                    <a:pt x="6641" y="2339"/>
                    <a:pt x="6614" y="2309"/>
                  </a:cubicBezTo>
                  <a:cubicBezTo>
                    <a:pt x="6561" y="2260"/>
                    <a:pt x="6512" y="2237"/>
                    <a:pt x="6482" y="2237"/>
                  </a:cubicBezTo>
                  <a:cubicBezTo>
                    <a:pt x="6477" y="2237"/>
                    <a:pt x="6473" y="2238"/>
                    <a:pt x="6470" y="2239"/>
                  </a:cubicBezTo>
                  <a:cubicBezTo>
                    <a:pt x="6446" y="2249"/>
                    <a:pt x="6446" y="2281"/>
                    <a:pt x="6442" y="2302"/>
                  </a:cubicBezTo>
                  <a:cubicBezTo>
                    <a:pt x="6432" y="2368"/>
                    <a:pt x="6404" y="2410"/>
                    <a:pt x="6358" y="2421"/>
                  </a:cubicBezTo>
                  <a:cubicBezTo>
                    <a:pt x="6350" y="2423"/>
                    <a:pt x="6342" y="2424"/>
                    <a:pt x="6334" y="2424"/>
                  </a:cubicBezTo>
                  <a:cubicBezTo>
                    <a:pt x="6264" y="2424"/>
                    <a:pt x="6203" y="2343"/>
                    <a:pt x="6127" y="2242"/>
                  </a:cubicBezTo>
                  <a:lnTo>
                    <a:pt x="6085" y="2193"/>
                  </a:lnTo>
                  <a:cubicBezTo>
                    <a:pt x="6067" y="2211"/>
                    <a:pt x="6050" y="2228"/>
                    <a:pt x="6032" y="2253"/>
                  </a:cubicBezTo>
                  <a:cubicBezTo>
                    <a:pt x="5998" y="2298"/>
                    <a:pt x="5938" y="2370"/>
                    <a:pt x="5867" y="2370"/>
                  </a:cubicBezTo>
                  <a:cubicBezTo>
                    <a:pt x="5844" y="2370"/>
                    <a:pt x="5819" y="2363"/>
                    <a:pt x="5794" y="2344"/>
                  </a:cubicBezTo>
                  <a:cubicBezTo>
                    <a:pt x="5693" y="2267"/>
                    <a:pt x="5773" y="2144"/>
                    <a:pt x="5836" y="2046"/>
                  </a:cubicBezTo>
                  <a:cubicBezTo>
                    <a:pt x="5868" y="1997"/>
                    <a:pt x="5927" y="1903"/>
                    <a:pt x="5910" y="1875"/>
                  </a:cubicBezTo>
                  <a:lnTo>
                    <a:pt x="5910" y="1875"/>
                  </a:lnTo>
                  <a:cubicBezTo>
                    <a:pt x="5885" y="1903"/>
                    <a:pt x="5864" y="1927"/>
                    <a:pt x="5843" y="1959"/>
                  </a:cubicBezTo>
                  <a:cubicBezTo>
                    <a:pt x="5798" y="2022"/>
                    <a:pt x="5745" y="2085"/>
                    <a:pt x="5689" y="2144"/>
                  </a:cubicBezTo>
                  <a:cubicBezTo>
                    <a:pt x="5605" y="2221"/>
                    <a:pt x="5507" y="2284"/>
                    <a:pt x="5402" y="2323"/>
                  </a:cubicBezTo>
                  <a:lnTo>
                    <a:pt x="5357" y="2340"/>
                  </a:lnTo>
                  <a:cubicBezTo>
                    <a:pt x="5371" y="2361"/>
                    <a:pt x="5378" y="2386"/>
                    <a:pt x="5374" y="2410"/>
                  </a:cubicBezTo>
                  <a:cubicBezTo>
                    <a:pt x="5367" y="2470"/>
                    <a:pt x="5311" y="2508"/>
                    <a:pt x="5252" y="2547"/>
                  </a:cubicBezTo>
                  <a:cubicBezTo>
                    <a:pt x="5192" y="2585"/>
                    <a:pt x="5136" y="2624"/>
                    <a:pt x="5122" y="2676"/>
                  </a:cubicBezTo>
                  <a:lnTo>
                    <a:pt x="5119" y="2683"/>
                  </a:lnTo>
                  <a:cubicBezTo>
                    <a:pt x="5292" y="2591"/>
                    <a:pt x="5395" y="2566"/>
                    <a:pt x="5458" y="2566"/>
                  </a:cubicBezTo>
                  <a:cubicBezTo>
                    <a:pt x="5510" y="2566"/>
                    <a:pt x="5535" y="2583"/>
                    <a:pt x="5549" y="2592"/>
                  </a:cubicBezTo>
                  <a:cubicBezTo>
                    <a:pt x="5577" y="2612"/>
                    <a:pt x="5617" y="2634"/>
                    <a:pt x="5660" y="2634"/>
                  </a:cubicBezTo>
                  <a:cubicBezTo>
                    <a:pt x="5699" y="2634"/>
                    <a:pt x="5742" y="2616"/>
                    <a:pt x="5780" y="2561"/>
                  </a:cubicBezTo>
                  <a:cubicBezTo>
                    <a:pt x="5822" y="2494"/>
                    <a:pt x="5892" y="2449"/>
                    <a:pt x="5973" y="2435"/>
                  </a:cubicBezTo>
                  <a:cubicBezTo>
                    <a:pt x="5981" y="2434"/>
                    <a:pt x="5988" y="2434"/>
                    <a:pt x="5996" y="2434"/>
                  </a:cubicBezTo>
                  <a:cubicBezTo>
                    <a:pt x="6079" y="2434"/>
                    <a:pt x="6157" y="2468"/>
                    <a:pt x="6218" y="2526"/>
                  </a:cubicBezTo>
                  <a:cubicBezTo>
                    <a:pt x="6242" y="2547"/>
                    <a:pt x="6260" y="2578"/>
                    <a:pt x="6263" y="2613"/>
                  </a:cubicBezTo>
                  <a:cubicBezTo>
                    <a:pt x="6260" y="2662"/>
                    <a:pt x="6239" y="2711"/>
                    <a:pt x="6197" y="2743"/>
                  </a:cubicBezTo>
                  <a:cubicBezTo>
                    <a:pt x="6148" y="2799"/>
                    <a:pt x="6151" y="2802"/>
                    <a:pt x="6172" y="2823"/>
                  </a:cubicBezTo>
                  <a:cubicBezTo>
                    <a:pt x="6253" y="2904"/>
                    <a:pt x="6221" y="2977"/>
                    <a:pt x="6207" y="2998"/>
                  </a:cubicBezTo>
                  <a:cubicBezTo>
                    <a:pt x="6171" y="3051"/>
                    <a:pt x="6111" y="3082"/>
                    <a:pt x="6048" y="3082"/>
                  </a:cubicBezTo>
                  <a:cubicBezTo>
                    <a:pt x="6031" y="3082"/>
                    <a:pt x="6014" y="3080"/>
                    <a:pt x="5997" y="3075"/>
                  </a:cubicBezTo>
                  <a:cubicBezTo>
                    <a:pt x="5945" y="3065"/>
                    <a:pt x="5906" y="3016"/>
                    <a:pt x="5906" y="2960"/>
                  </a:cubicBezTo>
                  <a:cubicBezTo>
                    <a:pt x="5903" y="2921"/>
                    <a:pt x="5875" y="2886"/>
                    <a:pt x="5836" y="2876"/>
                  </a:cubicBezTo>
                  <a:cubicBezTo>
                    <a:pt x="5832" y="2875"/>
                    <a:pt x="5829" y="2875"/>
                    <a:pt x="5826" y="2875"/>
                  </a:cubicBezTo>
                  <a:cubicBezTo>
                    <a:pt x="5817" y="2875"/>
                    <a:pt x="5815" y="2878"/>
                    <a:pt x="5812" y="2886"/>
                  </a:cubicBezTo>
                  <a:cubicBezTo>
                    <a:pt x="5780" y="2942"/>
                    <a:pt x="5665" y="3131"/>
                    <a:pt x="5500" y="3149"/>
                  </a:cubicBezTo>
                  <a:cubicBezTo>
                    <a:pt x="5448" y="3152"/>
                    <a:pt x="5343" y="3299"/>
                    <a:pt x="5343" y="3478"/>
                  </a:cubicBezTo>
                  <a:cubicBezTo>
                    <a:pt x="5346" y="3527"/>
                    <a:pt x="5332" y="3573"/>
                    <a:pt x="5297" y="3608"/>
                  </a:cubicBezTo>
                  <a:cubicBezTo>
                    <a:pt x="5269" y="3630"/>
                    <a:pt x="5235" y="3641"/>
                    <a:pt x="5200" y="3641"/>
                  </a:cubicBezTo>
                  <a:cubicBezTo>
                    <a:pt x="5192" y="3641"/>
                    <a:pt x="5183" y="3640"/>
                    <a:pt x="5175" y="3639"/>
                  </a:cubicBezTo>
                  <a:lnTo>
                    <a:pt x="5143" y="3639"/>
                  </a:lnTo>
                  <a:cubicBezTo>
                    <a:pt x="5143" y="3643"/>
                    <a:pt x="5140" y="3650"/>
                    <a:pt x="5140" y="3657"/>
                  </a:cubicBezTo>
                  <a:cubicBezTo>
                    <a:pt x="5119" y="3881"/>
                    <a:pt x="4769" y="4241"/>
                    <a:pt x="4618" y="4385"/>
                  </a:cubicBezTo>
                  <a:cubicBezTo>
                    <a:pt x="4510" y="4490"/>
                    <a:pt x="4527" y="4528"/>
                    <a:pt x="4545" y="4584"/>
                  </a:cubicBezTo>
                  <a:cubicBezTo>
                    <a:pt x="4573" y="4644"/>
                    <a:pt x="4573" y="4714"/>
                    <a:pt x="4541" y="4773"/>
                  </a:cubicBezTo>
                  <a:cubicBezTo>
                    <a:pt x="4497" y="4856"/>
                    <a:pt x="4411" y="4875"/>
                    <a:pt x="4326" y="4875"/>
                  </a:cubicBezTo>
                  <a:cubicBezTo>
                    <a:pt x="4289" y="4875"/>
                    <a:pt x="4252" y="4871"/>
                    <a:pt x="4219" y="4868"/>
                  </a:cubicBezTo>
                  <a:cubicBezTo>
                    <a:pt x="4198" y="4866"/>
                    <a:pt x="4177" y="4865"/>
                    <a:pt x="4156" y="4865"/>
                  </a:cubicBezTo>
                  <a:cubicBezTo>
                    <a:pt x="4136" y="4865"/>
                    <a:pt x="4116" y="4866"/>
                    <a:pt x="4096" y="4868"/>
                  </a:cubicBezTo>
                  <a:cubicBezTo>
                    <a:pt x="4089" y="4917"/>
                    <a:pt x="4089" y="4969"/>
                    <a:pt x="4096" y="5018"/>
                  </a:cubicBezTo>
                  <a:cubicBezTo>
                    <a:pt x="4103" y="5144"/>
                    <a:pt x="4117" y="5288"/>
                    <a:pt x="4026" y="5368"/>
                  </a:cubicBezTo>
                  <a:cubicBezTo>
                    <a:pt x="3981" y="5407"/>
                    <a:pt x="3988" y="5449"/>
                    <a:pt x="4019" y="5543"/>
                  </a:cubicBezTo>
                  <a:cubicBezTo>
                    <a:pt x="4037" y="5589"/>
                    <a:pt x="4047" y="5638"/>
                    <a:pt x="4047" y="5687"/>
                  </a:cubicBezTo>
                  <a:cubicBezTo>
                    <a:pt x="4051" y="5719"/>
                    <a:pt x="4037" y="5750"/>
                    <a:pt x="4012" y="5771"/>
                  </a:cubicBezTo>
                  <a:cubicBezTo>
                    <a:pt x="3989" y="5789"/>
                    <a:pt x="3961" y="5796"/>
                    <a:pt x="3929" y="5796"/>
                  </a:cubicBezTo>
                  <a:cubicBezTo>
                    <a:pt x="3894" y="5796"/>
                    <a:pt x="3854" y="5787"/>
                    <a:pt x="3813" y="5778"/>
                  </a:cubicBezTo>
                  <a:cubicBezTo>
                    <a:pt x="3778" y="5768"/>
                    <a:pt x="3743" y="5761"/>
                    <a:pt x="3704" y="5761"/>
                  </a:cubicBezTo>
                  <a:cubicBezTo>
                    <a:pt x="3673" y="5883"/>
                    <a:pt x="3508" y="5894"/>
                    <a:pt x="3389" y="5904"/>
                  </a:cubicBezTo>
                  <a:lnTo>
                    <a:pt x="3340" y="5911"/>
                  </a:lnTo>
                  <a:cubicBezTo>
                    <a:pt x="3424" y="5995"/>
                    <a:pt x="3515" y="6076"/>
                    <a:pt x="3613" y="6146"/>
                  </a:cubicBezTo>
                  <a:cubicBezTo>
                    <a:pt x="3694" y="6209"/>
                    <a:pt x="3680" y="6279"/>
                    <a:pt x="3669" y="6303"/>
                  </a:cubicBezTo>
                  <a:cubicBezTo>
                    <a:pt x="3646" y="6370"/>
                    <a:pt x="3566" y="6401"/>
                    <a:pt x="3498" y="6401"/>
                  </a:cubicBezTo>
                  <a:cubicBezTo>
                    <a:pt x="3494" y="6401"/>
                    <a:pt x="3491" y="6401"/>
                    <a:pt x="3487" y="6401"/>
                  </a:cubicBezTo>
                  <a:cubicBezTo>
                    <a:pt x="3421" y="6398"/>
                    <a:pt x="3365" y="6359"/>
                    <a:pt x="3340" y="6300"/>
                  </a:cubicBezTo>
                  <a:cubicBezTo>
                    <a:pt x="3291" y="6321"/>
                    <a:pt x="3242" y="6352"/>
                    <a:pt x="3193" y="6384"/>
                  </a:cubicBezTo>
                  <a:cubicBezTo>
                    <a:pt x="3113" y="6436"/>
                    <a:pt x="3029" y="6482"/>
                    <a:pt x="2945" y="6524"/>
                  </a:cubicBezTo>
                  <a:cubicBezTo>
                    <a:pt x="2864" y="6559"/>
                    <a:pt x="2808" y="6625"/>
                    <a:pt x="2784" y="6706"/>
                  </a:cubicBezTo>
                  <a:cubicBezTo>
                    <a:pt x="2756" y="6779"/>
                    <a:pt x="2717" y="6874"/>
                    <a:pt x="2581" y="6877"/>
                  </a:cubicBezTo>
                  <a:cubicBezTo>
                    <a:pt x="2525" y="6881"/>
                    <a:pt x="2504" y="6923"/>
                    <a:pt x="2469" y="7045"/>
                  </a:cubicBezTo>
                  <a:cubicBezTo>
                    <a:pt x="2448" y="7129"/>
                    <a:pt x="2423" y="7224"/>
                    <a:pt x="2350" y="7276"/>
                  </a:cubicBezTo>
                  <a:cubicBezTo>
                    <a:pt x="2324" y="7296"/>
                    <a:pt x="2295" y="7307"/>
                    <a:pt x="2265" y="7307"/>
                  </a:cubicBezTo>
                  <a:cubicBezTo>
                    <a:pt x="2257" y="7307"/>
                    <a:pt x="2249" y="7306"/>
                    <a:pt x="2241" y="7304"/>
                  </a:cubicBezTo>
                  <a:cubicBezTo>
                    <a:pt x="2182" y="7290"/>
                    <a:pt x="2157" y="7234"/>
                    <a:pt x="2132" y="7182"/>
                  </a:cubicBezTo>
                  <a:cubicBezTo>
                    <a:pt x="2094" y="7105"/>
                    <a:pt x="2069" y="7059"/>
                    <a:pt x="2006" y="7056"/>
                  </a:cubicBezTo>
                  <a:cubicBezTo>
                    <a:pt x="1954" y="7056"/>
                    <a:pt x="1929" y="7063"/>
                    <a:pt x="1926" y="7073"/>
                  </a:cubicBezTo>
                  <a:cubicBezTo>
                    <a:pt x="1915" y="7094"/>
                    <a:pt x="1926" y="7157"/>
                    <a:pt x="1999" y="7259"/>
                  </a:cubicBezTo>
                  <a:cubicBezTo>
                    <a:pt x="2013" y="7283"/>
                    <a:pt x="2055" y="7339"/>
                    <a:pt x="2031" y="7399"/>
                  </a:cubicBezTo>
                  <a:cubicBezTo>
                    <a:pt x="2003" y="7455"/>
                    <a:pt x="1940" y="7462"/>
                    <a:pt x="1873" y="7465"/>
                  </a:cubicBezTo>
                  <a:cubicBezTo>
                    <a:pt x="1807" y="7472"/>
                    <a:pt x="1733" y="7479"/>
                    <a:pt x="1698" y="7525"/>
                  </a:cubicBezTo>
                  <a:cubicBezTo>
                    <a:pt x="1621" y="7619"/>
                    <a:pt x="1488" y="7640"/>
                    <a:pt x="1369" y="7654"/>
                  </a:cubicBezTo>
                  <a:cubicBezTo>
                    <a:pt x="1292" y="7665"/>
                    <a:pt x="1212" y="7679"/>
                    <a:pt x="1180" y="7711"/>
                  </a:cubicBezTo>
                  <a:cubicBezTo>
                    <a:pt x="1208" y="7725"/>
                    <a:pt x="1240" y="7735"/>
                    <a:pt x="1271" y="7746"/>
                  </a:cubicBezTo>
                  <a:cubicBezTo>
                    <a:pt x="1352" y="7774"/>
                    <a:pt x="1436" y="7802"/>
                    <a:pt x="1471" y="7865"/>
                  </a:cubicBezTo>
                  <a:cubicBezTo>
                    <a:pt x="1488" y="7896"/>
                    <a:pt x="1485" y="7938"/>
                    <a:pt x="1464" y="7966"/>
                  </a:cubicBezTo>
                  <a:cubicBezTo>
                    <a:pt x="1435" y="8002"/>
                    <a:pt x="1368" y="8015"/>
                    <a:pt x="1286" y="8015"/>
                  </a:cubicBezTo>
                  <a:cubicBezTo>
                    <a:pt x="1171" y="8015"/>
                    <a:pt x="1027" y="7989"/>
                    <a:pt x="928" y="7966"/>
                  </a:cubicBezTo>
                  <a:cubicBezTo>
                    <a:pt x="921" y="7965"/>
                    <a:pt x="915" y="7964"/>
                    <a:pt x="909" y="7964"/>
                  </a:cubicBezTo>
                  <a:cubicBezTo>
                    <a:pt x="886" y="7964"/>
                    <a:pt x="876" y="7979"/>
                    <a:pt x="848" y="8033"/>
                  </a:cubicBezTo>
                  <a:cubicBezTo>
                    <a:pt x="820" y="8083"/>
                    <a:pt x="775" y="8166"/>
                    <a:pt x="676" y="8166"/>
                  </a:cubicBezTo>
                  <a:cubicBezTo>
                    <a:pt x="664" y="8166"/>
                    <a:pt x="651" y="8165"/>
                    <a:pt x="638" y="8162"/>
                  </a:cubicBezTo>
                  <a:cubicBezTo>
                    <a:pt x="629" y="8161"/>
                    <a:pt x="619" y="8160"/>
                    <a:pt x="610" y="8160"/>
                  </a:cubicBezTo>
                  <a:cubicBezTo>
                    <a:pt x="543" y="8160"/>
                    <a:pt x="479" y="8194"/>
                    <a:pt x="442" y="8250"/>
                  </a:cubicBezTo>
                  <a:cubicBezTo>
                    <a:pt x="428" y="8267"/>
                    <a:pt x="431" y="8292"/>
                    <a:pt x="449" y="8302"/>
                  </a:cubicBezTo>
                  <a:cubicBezTo>
                    <a:pt x="533" y="8386"/>
                    <a:pt x="491" y="8453"/>
                    <a:pt x="477" y="8470"/>
                  </a:cubicBezTo>
                  <a:cubicBezTo>
                    <a:pt x="451" y="8502"/>
                    <a:pt x="403" y="8517"/>
                    <a:pt x="349" y="8517"/>
                  </a:cubicBezTo>
                  <a:cubicBezTo>
                    <a:pt x="286" y="8517"/>
                    <a:pt x="214" y="8497"/>
                    <a:pt x="162" y="8463"/>
                  </a:cubicBezTo>
                  <a:cubicBezTo>
                    <a:pt x="156" y="8458"/>
                    <a:pt x="151" y="8455"/>
                    <a:pt x="145" y="8455"/>
                  </a:cubicBezTo>
                  <a:cubicBezTo>
                    <a:pt x="142" y="8455"/>
                    <a:pt x="140" y="8455"/>
                    <a:pt x="137" y="8456"/>
                  </a:cubicBezTo>
                  <a:cubicBezTo>
                    <a:pt x="95" y="8474"/>
                    <a:pt x="42" y="8561"/>
                    <a:pt x="11" y="8666"/>
                  </a:cubicBezTo>
                  <a:cubicBezTo>
                    <a:pt x="0" y="8701"/>
                    <a:pt x="53" y="8743"/>
                    <a:pt x="116" y="8785"/>
                  </a:cubicBezTo>
                  <a:cubicBezTo>
                    <a:pt x="179" y="8831"/>
                    <a:pt x="232" y="8866"/>
                    <a:pt x="225" y="8932"/>
                  </a:cubicBezTo>
                  <a:cubicBezTo>
                    <a:pt x="211" y="8978"/>
                    <a:pt x="183" y="9020"/>
                    <a:pt x="148" y="9048"/>
                  </a:cubicBezTo>
                  <a:lnTo>
                    <a:pt x="130" y="9069"/>
                  </a:lnTo>
                  <a:cubicBezTo>
                    <a:pt x="183" y="9079"/>
                    <a:pt x="225" y="9121"/>
                    <a:pt x="232" y="9177"/>
                  </a:cubicBezTo>
                  <a:cubicBezTo>
                    <a:pt x="239" y="9272"/>
                    <a:pt x="137" y="9356"/>
                    <a:pt x="60" y="9387"/>
                  </a:cubicBezTo>
                  <a:cubicBezTo>
                    <a:pt x="35" y="9398"/>
                    <a:pt x="32" y="9412"/>
                    <a:pt x="32" y="9415"/>
                  </a:cubicBezTo>
                  <a:cubicBezTo>
                    <a:pt x="25" y="9436"/>
                    <a:pt x="39" y="9482"/>
                    <a:pt x="88" y="9545"/>
                  </a:cubicBezTo>
                  <a:cubicBezTo>
                    <a:pt x="165" y="9643"/>
                    <a:pt x="99" y="9720"/>
                    <a:pt x="63" y="9758"/>
                  </a:cubicBezTo>
                  <a:cubicBezTo>
                    <a:pt x="25" y="9804"/>
                    <a:pt x="7" y="9822"/>
                    <a:pt x="49" y="9881"/>
                  </a:cubicBezTo>
                  <a:cubicBezTo>
                    <a:pt x="74" y="9916"/>
                    <a:pt x="90" y="9928"/>
                    <a:pt x="108" y="9928"/>
                  </a:cubicBezTo>
                  <a:cubicBezTo>
                    <a:pt x="121" y="9928"/>
                    <a:pt x="135" y="9921"/>
                    <a:pt x="155" y="9913"/>
                  </a:cubicBezTo>
                  <a:cubicBezTo>
                    <a:pt x="170" y="9906"/>
                    <a:pt x="197" y="9896"/>
                    <a:pt x="227" y="9896"/>
                  </a:cubicBezTo>
                  <a:cubicBezTo>
                    <a:pt x="266" y="9896"/>
                    <a:pt x="310" y="9914"/>
                    <a:pt x="340" y="9983"/>
                  </a:cubicBezTo>
                  <a:cubicBezTo>
                    <a:pt x="344" y="9993"/>
                    <a:pt x="351" y="10000"/>
                    <a:pt x="351" y="10000"/>
                  </a:cubicBezTo>
                  <a:cubicBezTo>
                    <a:pt x="352" y="10000"/>
                    <a:pt x="354" y="10001"/>
                    <a:pt x="356" y="10001"/>
                  </a:cubicBezTo>
                  <a:cubicBezTo>
                    <a:pt x="395" y="10001"/>
                    <a:pt x="484" y="9937"/>
                    <a:pt x="624" y="9811"/>
                  </a:cubicBezTo>
                  <a:cubicBezTo>
                    <a:pt x="673" y="9765"/>
                    <a:pt x="719" y="9751"/>
                    <a:pt x="755" y="9751"/>
                  </a:cubicBezTo>
                  <a:cubicBezTo>
                    <a:pt x="790" y="9751"/>
                    <a:pt x="816" y="9764"/>
                    <a:pt x="830" y="9772"/>
                  </a:cubicBezTo>
                  <a:cubicBezTo>
                    <a:pt x="900" y="9825"/>
                    <a:pt x="925" y="9916"/>
                    <a:pt x="900" y="9997"/>
                  </a:cubicBezTo>
                  <a:cubicBezTo>
                    <a:pt x="883" y="10057"/>
                    <a:pt x="828" y="10098"/>
                    <a:pt x="767" y="10098"/>
                  </a:cubicBezTo>
                  <a:cubicBezTo>
                    <a:pt x="765" y="10098"/>
                    <a:pt x="763" y="10098"/>
                    <a:pt x="760" y="10098"/>
                  </a:cubicBezTo>
                  <a:cubicBezTo>
                    <a:pt x="752" y="10097"/>
                    <a:pt x="744" y="10097"/>
                    <a:pt x="736" y="10097"/>
                  </a:cubicBezTo>
                  <a:cubicBezTo>
                    <a:pt x="671" y="10097"/>
                    <a:pt x="611" y="10121"/>
                    <a:pt x="564" y="10165"/>
                  </a:cubicBezTo>
                  <a:cubicBezTo>
                    <a:pt x="547" y="10186"/>
                    <a:pt x="536" y="10217"/>
                    <a:pt x="543" y="10242"/>
                  </a:cubicBezTo>
                  <a:cubicBezTo>
                    <a:pt x="561" y="10298"/>
                    <a:pt x="540" y="10354"/>
                    <a:pt x="498" y="10389"/>
                  </a:cubicBezTo>
                  <a:cubicBezTo>
                    <a:pt x="468" y="10407"/>
                    <a:pt x="434" y="10417"/>
                    <a:pt x="399" y="10417"/>
                  </a:cubicBezTo>
                  <a:cubicBezTo>
                    <a:pt x="367" y="10417"/>
                    <a:pt x="335" y="10409"/>
                    <a:pt x="305" y="10392"/>
                  </a:cubicBezTo>
                  <a:cubicBezTo>
                    <a:pt x="228" y="10357"/>
                    <a:pt x="183" y="10277"/>
                    <a:pt x="190" y="10193"/>
                  </a:cubicBezTo>
                  <a:lnTo>
                    <a:pt x="190" y="10193"/>
                  </a:lnTo>
                  <a:cubicBezTo>
                    <a:pt x="158" y="10207"/>
                    <a:pt x="130" y="10231"/>
                    <a:pt x="116" y="10263"/>
                  </a:cubicBezTo>
                  <a:cubicBezTo>
                    <a:pt x="102" y="10291"/>
                    <a:pt x="113" y="10305"/>
                    <a:pt x="116" y="10312"/>
                  </a:cubicBezTo>
                  <a:cubicBezTo>
                    <a:pt x="218" y="10424"/>
                    <a:pt x="162" y="10522"/>
                    <a:pt x="127" y="10585"/>
                  </a:cubicBezTo>
                  <a:cubicBezTo>
                    <a:pt x="106" y="10613"/>
                    <a:pt x="95" y="10644"/>
                    <a:pt x="92" y="10676"/>
                  </a:cubicBezTo>
                  <a:cubicBezTo>
                    <a:pt x="92" y="10679"/>
                    <a:pt x="92" y="10679"/>
                    <a:pt x="92" y="10683"/>
                  </a:cubicBezTo>
                  <a:cubicBezTo>
                    <a:pt x="102" y="10690"/>
                    <a:pt x="116" y="10690"/>
                    <a:pt x="127" y="10690"/>
                  </a:cubicBezTo>
                  <a:cubicBezTo>
                    <a:pt x="186" y="10683"/>
                    <a:pt x="242" y="10651"/>
                    <a:pt x="277" y="10602"/>
                  </a:cubicBezTo>
                  <a:cubicBezTo>
                    <a:pt x="316" y="10532"/>
                    <a:pt x="389" y="10487"/>
                    <a:pt x="470" y="10483"/>
                  </a:cubicBezTo>
                  <a:lnTo>
                    <a:pt x="487" y="10483"/>
                  </a:lnTo>
                  <a:cubicBezTo>
                    <a:pt x="578" y="10497"/>
                    <a:pt x="655" y="10557"/>
                    <a:pt x="683" y="10644"/>
                  </a:cubicBezTo>
                  <a:cubicBezTo>
                    <a:pt x="701" y="10679"/>
                    <a:pt x="701" y="10718"/>
                    <a:pt x="690" y="10756"/>
                  </a:cubicBezTo>
                  <a:cubicBezTo>
                    <a:pt x="673" y="10788"/>
                    <a:pt x="638" y="10812"/>
                    <a:pt x="603" y="10819"/>
                  </a:cubicBezTo>
                  <a:cubicBezTo>
                    <a:pt x="564" y="10833"/>
                    <a:pt x="550" y="10837"/>
                    <a:pt x="550" y="10886"/>
                  </a:cubicBezTo>
                  <a:cubicBezTo>
                    <a:pt x="550" y="11033"/>
                    <a:pt x="477" y="11050"/>
                    <a:pt x="403" y="11054"/>
                  </a:cubicBezTo>
                  <a:cubicBezTo>
                    <a:pt x="398" y="11053"/>
                    <a:pt x="393" y="11052"/>
                    <a:pt x="387" y="11052"/>
                  </a:cubicBezTo>
                  <a:cubicBezTo>
                    <a:pt x="357" y="11052"/>
                    <a:pt x="327" y="11069"/>
                    <a:pt x="312" y="11096"/>
                  </a:cubicBezTo>
                  <a:cubicBezTo>
                    <a:pt x="312" y="11096"/>
                    <a:pt x="309" y="11099"/>
                    <a:pt x="312" y="11110"/>
                  </a:cubicBezTo>
                  <a:cubicBezTo>
                    <a:pt x="351" y="11222"/>
                    <a:pt x="704" y="11411"/>
                    <a:pt x="848" y="11449"/>
                  </a:cubicBezTo>
                  <a:cubicBezTo>
                    <a:pt x="907" y="11463"/>
                    <a:pt x="963" y="11488"/>
                    <a:pt x="1016" y="11519"/>
                  </a:cubicBezTo>
                  <a:cubicBezTo>
                    <a:pt x="1110" y="11569"/>
                    <a:pt x="1216" y="11624"/>
                    <a:pt x="1367" y="11624"/>
                  </a:cubicBezTo>
                  <a:cubicBezTo>
                    <a:pt x="1396" y="11624"/>
                    <a:pt x="1427" y="11622"/>
                    <a:pt x="1460" y="11617"/>
                  </a:cubicBezTo>
                  <a:cubicBezTo>
                    <a:pt x="1758" y="11572"/>
                    <a:pt x="2360" y="10987"/>
                    <a:pt x="2437" y="10889"/>
                  </a:cubicBezTo>
                  <a:cubicBezTo>
                    <a:pt x="2485" y="10828"/>
                    <a:pt x="2551" y="10817"/>
                    <a:pt x="2614" y="10817"/>
                  </a:cubicBezTo>
                  <a:cubicBezTo>
                    <a:pt x="2634" y="10817"/>
                    <a:pt x="2653" y="10818"/>
                    <a:pt x="2672" y="10819"/>
                  </a:cubicBezTo>
                  <a:cubicBezTo>
                    <a:pt x="2695" y="10822"/>
                    <a:pt x="2717" y="10824"/>
                    <a:pt x="2738" y="10824"/>
                  </a:cubicBezTo>
                  <a:cubicBezTo>
                    <a:pt x="2772" y="10824"/>
                    <a:pt x="2803" y="10818"/>
                    <a:pt x="2829" y="10798"/>
                  </a:cubicBezTo>
                  <a:cubicBezTo>
                    <a:pt x="2868" y="10767"/>
                    <a:pt x="2878" y="10686"/>
                    <a:pt x="2885" y="10609"/>
                  </a:cubicBezTo>
                  <a:cubicBezTo>
                    <a:pt x="2896" y="10522"/>
                    <a:pt x="2903" y="10434"/>
                    <a:pt x="2973" y="10396"/>
                  </a:cubicBezTo>
                  <a:cubicBezTo>
                    <a:pt x="2988" y="10387"/>
                    <a:pt x="3005" y="10383"/>
                    <a:pt x="3023" y="10383"/>
                  </a:cubicBezTo>
                  <a:cubicBezTo>
                    <a:pt x="3034" y="10383"/>
                    <a:pt x="3046" y="10385"/>
                    <a:pt x="3057" y="10389"/>
                  </a:cubicBezTo>
                  <a:cubicBezTo>
                    <a:pt x="3120" y="10410"/>
                    <a:pt x="3151" y="10487"/>
                    <a:pt x="3186" y="10574"/>
                  </a:cubicBezTo>
                  <a:cubicBezTo>
                    <a:pt x="3204" y="10616"/>
                    <a:pt x="3221" y="10655"/>
                    <a:pt x="3249" y="10693"/>
                  </a:cubicBezTo>
                  <a:cubicBezTo>
                    <a:pt x="3344" y="10728"/>
                    <a:pt x="3396" y="10805"/>
                    <a:pt x="3410" y="10931"/>
                  </a:cubicBezTo>
                  <a:lnTo>
                    <a:pt x="3463" y="10931"/>
                  </a:lnTo>
                  <a:cubicBezTo>
                    <a:pt x="3473" y="10935"/>
                    <a:pt x="3487" y="10938"/>
                    <a:pt x="3498" y="10938"/>
                  </a:cubicBezTo>
                  <a:lnTo>
                    <a:pt x="3508" y="10942"/>
                  </a:lnTo>
                  <a:cubicBezTo>
                    <a:pt x="3522" y="10949"/>
                    <a:pt x="3533" y="10952"/>
                    <a:pt x="3543" y="10959"/>
                  </a:cubicBezTo>
                  <a:cubicBezTo>
                    <a:pt x="3575" y="10861"/>
                    <a:pt x="3589" y="10760"/>
                    <a:pt x="3589" y="10658"/>
                  </a:cubicBezTo>
                  <a:cubicBezTo>
                    <a:pt x="3592" y="10595"/>
                    <a:pt x="3606" y="10536"/>
                    <a:pt x="3627" y="10473"/>
                  </a:cubicBezTo>
                  <a:cubicBezTo>
                    <a:pt x="3652" y="10403"/>
                    <a:pt x="3666" y="10329"/>
                    <a:pt x="3669" y="10256"/>
                  </a:cubicBezTo>
                  <a:cubicBezTo>
                    <a:pt x="3669" y="10249"/>
                    <a:pt x="3669" y="10238"/>
                    <a:pt x="3666" y="10231"/>
                  </a:cubicBezTo>
                  <a:cubicBezTo>
                    <a:pt x="3659" y="10200"/>
                    <a:pt x="3666" y="10165"/>
                    <a:pt x="3687" y="10137"/>
                  </a:cubicBezTo>
                  <a:cubicBezTo>
                    <a:pt x="3732" y="10084"/>
                    <a:pt x="3813" y="10081"/>
                    <a:pt x="3897" y="10077"/>
                  </a:cubicBezTo>
                  <a:cubicBezTo>
                    <a:pt x="3942" y="10077"/>
                    <a:pt x="4023" y="10074"/>
                    <a:pt x="4037" y="10060"/>
                  </a:cubicBezTo>
                  <a:cubicBezTo>
                    <a:pt x="4086" y="9962"/>
                    <a:pt x="4089" y="9660"/>
                    <a:pt x="4037" y="9629"/>
                  </a:cubicBezTo>
                  <a:cubicBezTo>
                    <a:pt x="3942" y="9569"/>
                    <a:pt x="3893" y="9457"/>
                    <a:pt x="3914" y="9349"/>
                  </a:cubicBezTo>
                  <a:cubicBezTo>
                    <a:pt x="3925" y="9289"/>
                    <a:pt x="3977" y="9244"/>
                    <a:pt x="4040" y="9244"/>
                  </a:cubicBezTo>
                  <a:cubicBezTo>
                    <a:pt x="4082" y="9244"/>
                    <a:pt x="4121" y="9226"/>
                    <a:pt x="4149" y="9198"/>
                  </a:cubicBezTo>
                  <a:cubicBezTo>
                    <a:pt x="4184" y="9149"/>
                    <a:pt x="4198" y="9090"/>
                    <a:pt x="4184" y="9030"/>
                  </a:cubicBezTo>
                  <a:cubicBezTo>
                    <a:pt x="4177" y="8964"/>
                    <a:pt x="4121" y="8932"/>
                    <a:pt x="4037" y="8887"/>
                  </a:cubicBezTo>
                  <a:cubicBezTo>
                    <a:pt x="3949" y="8841"/>
                    <a:pt x="3837" y="8778"/>
                    <a:pt x="3820" y="8642"/>
                  </a:cubicBezTo>
                  <a:cubicBezTo>
                    <a:pt x="3813" y="8561"/>
                    <a:pt x="3827" y="8481"/>
                    <a:pt x="3862" y="8407"/>
                  </a:cubicBezTo>
                  <a:cubicBezTo>
                    <a:pt x="3893" y="8330"/>
                    <a:pt x="3918" y="8271"/>
                    <a:pt x="3851" y="8145"/>
                  </a:cubicBezTo>
                  <a:cubicBezTo>
                    <a:pt x="3764" y="7963"/>
                    <a:pt x="3806" y="7826"/>
                    <a:pt x="3834" y="7721"/>
                  </a:cubicBezTo>
                  <a:cubicBezTo>
                    <a:pt x="3851" y="7668"/>
                    <a:pt x="3862" y="7623"/>
                    <a:pt x="3851" y="7591"/>
                  </a:cubicBezTo>
                  <a:cubicBezTo>
                    <a:pt x="3788" y="7437"/>
                    <a:pt x="3743" y="7262"/>
                    <a:pt x="3907" y="6986"/>
                  </a:cubicBezTo>
                  <a:cubicBezTo>
                    <a:pt x="4053" y="6748"/>
                    <a:pt x="4319" y="6588"/>
                    <a:pt x="4480" y="6588"/>
                  </a:cubicBezTo>
                  <a:cubicBezTo>
                    <a:pt x="4497" y="6588"/>
                    <a:pt x="4513" y="6590"/>
                    <a:pt x="4527" y="6594"/>
                  </a:cubicBezTo>
                  <a:cubicBezTo>
                    <a:pt x="4548" y="6597"/>
                    <a:pt x="4569" y="6608"/>
                    <a:pt x="4597" y="6615"/>
                  </a:cubicBezTo>
                  <a:cubicBezTo>
                    <a:pt x="4658" y="6637"/>
                    <a:pt x="4704" y="6650"/>
                    <a:pt x="4738" y="6650"/>
                  </a:cubicBezTo>
                  <a:cubicBezTo>
                    <a:pt x="4774" y="6650"/>
                    <a:pt x="4798" y="6635"/>
                    <a:pt x="4814" y="6601"/>
                  </a:cubicBezTo>
                  <a:cubicBezTo>
                    <a:pt x="4867" y="6499"/>
                    <a:pt x="4874" y="6422"/>
                    <a:pt x="4860" y="6391"/>
                  </a:cubicBezTo>
                  <a:cubicBezTo>
                    <a:pt x="4856" y="6384"/>
                    <a:pt x="4853" y="6380"/>
                    <a:pt x="4853" y="6380"/>
                  </a:cubicBezTo>
                  <a:lnTo>
                    <a:pt x="4839" y="6377"/>
                  </a:lnTo>
                  <a:cubicBezTo>
                    <a:pt x="4776" y="6356"/>
                    <a:pt x="4660" y="6321"/>
                    <a:pt x="4629" y="6219"/>
                  </a:cubicBezTo>
                  <a:cubicBezTo>
                    <a:pt x="4608" y="6153"/>
                    <a:pt x="4629" y="6076"/>
                    <a:pt x="4688" y="5995"/>
                  </a:cubicBezTo>
                  <a:lnTo>
                    <a:pt x="4720" y="5950"/>
                  </a:lnTo>
                  <a:cubicBezTo>
                    <a:pt x="4877" y="5736"/>
                    <a:pt x="5017" y="5519"/>
                    <a:pt x="5042" y="5323"/>
                  </a:cubicBezTo>
                  <a:cubicBezTo>
                    <a:pt x="5049" y="5239"/>
                    <a:pt x="5049" y="5155"/>
                    <a:pt x="5038" y="5071"/>
                  </a:cubicBezTo>
                  <a:cubicBezTo>
                    <a:pt x="5028" y="4955"/>
                    <a:pt x="5017" y="4857"/>
                    <a:pt x="5084" y="4791"/>
                  </a:cubicBezTo>
                  <a:cubicBezTo>
                    <a:pt x="5140" y="4735"/>
                    <a:pt x="5217" y="4731"/>
                    <a:pt x="5294" y="4728"/>
                  </a:cubicBezTo>
                  <a:cubicBezTo>
                    <a:pt x="5300" y="4728"/>
                    <a:pt x="5307" y="4728"/>
                    <a:pt x="5313" y="4728"/>
                  </a:cubicBezTo>
                  <a:cubicBezTo>
                    <a:pt x="5383" y="4728"/>
                    <a:pt x="5450" y="4711"/>
                    <a:pt x="5511" y="4679"/>
                  </a:cubicBezTo>
                  <a:cubicBezTo>
                    <a:pt x="5570" y="4640"/>
                    <a:pt x="5567" y="4605"/>
                    <a:pt x="5563" y="4546"/>
                  </a:cubicBezTo>
                  <a:cubicBezTo>
                    <a:pt x="5549" y="4486"/>
                    <a:pt x="5567" y="4423"/>
                    <a:pt x="5605" y="4374"/>
                  </a:cubicBezTo>
                  <a:cubicBezTo>
                    <a:pt x="5644" y="4325"/>
                    <a:pt x="5679" y="4273"/>
                    <a:pt x="5707" y="4217"/>
                  </a:cubicBezTo>
                  <a:cubicBezTo>
                    <a:pt x="5766" y="4115"/>
                    <a:pt x="5829" y="4007"/>
                    <a:pt x="5899" y="3954"/>
                  </a:cubicBezTo>
                  <a:cubicBezTo>
                    <a:pt x="6067" y="3828"/>
                    <a:pt x="6029" y="3779"/>
                    <a:pt x="6015" y="3762"/>
                  </a:cubicBezTo>
                  <a:cubicBezTo>
                    <a:pt x="6001" y="3741"/>
                    <a:pt x="5990" y="3716"/>
                    <a:pt x="5987" y="3692"/>
                  </a:cubicBezTo>
                  <a:cubicBezTo>
                    <a:pt x="5980" y="3622"/>
                    <a:pt x="6032" y="3559"/>
                    <a:pt x="6071" y="3509"/>
                  </a:cubicBezTo>
                  <a:cubicBezTo>
                    <a:pt x="6106" y="3471"/>
                    <a:pt x="6130" y="3425"/>
                    <a:pt x="6151" y="3380"/>
                  </a:cubicBezTo>
                  <a:cubicBezTo>
                    <a:pt x="6155" y="3362"/>
                    <a:pt x="6158" y="3348"/>
                    <a:pt x="6158" y="3331"/>
                  </a:cubicBezTo>
                  <a:cubicBezTo>
                    <a:pt x="6158" y="3110"/>
                    <a:pt x="6446" y="2953"/>
                    <a:pt x="6642" y="2953"/>
                  </a:cubicBezTo>
                  <a:cubicBezTo>
                    <a:pt x="6754" y="2953"/>
                    <a:pt x="6992" y="2953"/>
                    <a:pt x="6992" y="2862"/>
                  </a:cubicBezTo>
                  <a:cubicBezTo>
                    <a:pt x="6988" y="2823"/>
                    <a:pt x="6985" y="2785"/>
                    <a:pt x="6981" y="2746"/>
                  </a:cubicBezTo>
                  <a:cubicBezTo>
                    <a:pt x="6964" y="2613"/>
                    <a:pt x="6950" y="2473"/>
                    <a:pt x="7030" y="2414"/>
                  </a:cubicBezTo>
                  <a:cubicBezTo>
                    <a:pt x="7053" y="2396"/>
                    <a:pt x="7080" y="2387"/>
                    <a:pt x="7111" y="2387"/>
                  </a:cubicBezTo>
                  <a:cubicBezTo>
                    <a:pt x="7141" y="2387"/>
                    <a:pt x="7175" y="2396"/>
                    <a:pt x="7212" y="2414"/>
                  </a:cubicBezTo>
                  <a:cubicBezTo>
                    <a:pt x="7280" y="2438"/>
                    <a:pt x="7353" y="2452"/>
                    <a:pt x="7424" y="2452"/>
                  </a:cubicBezTo>
                  <a:cubicBezTo>
                    <a:pt x="7445" y="2452"/>
                    <a:pt x="7465" y="2451"/>
                    <a:pt x="7485" y="2449"/>
                  </a:cubicBezTo>
                  <a:cubicBezTo>
                    <a:pt x="7506" y="2448"/>
                    <a:pt x="7527" y="2447"/>
                    <a:pt x="7549" y="2447"/>
                  </a:cubicBezTo>
                  <a:cubicBezTo>
                    <a:pt x="7633" y="2447"/>
                    <a:pt x="7719" y="2459"/>
                    <a:pt x="7800" y="2526"/>
                  </a:cubicBezTo>
                  <a:cubicBezTo>
                    <a:pt x="7849" y="2567"/>
                    <a:pt x="7908" y="2591"/>
                    <a:pt x="7956" y="2591"/>
                  </a:cubicBezTo>
                  <a:cubicBezTo>
                    <a:pt x="7974" y="2591"/>
                    <a:pt x="7990" y="2588"/>
                    <a:pt x="8003" y="2582"/>
                  </a:cubicBezTo>
                  <a:cubicBezTo>
                    <a:pt x="8042" y="2561"/>
                    <a:pt x="8063" y="2515"/>
                    <a:pt x="8056" y="2473"/>
                  </a:cubicBezTo>
                  <a:cubicBezTo>
                    <a:pt x="8056" y="2298"/>
                    <a:pt x="8105" y="2067"/>
                    <a:pt x="8234" y="1994"/>
                  </a:cubicBezTo>
                  <a:lnTo>
                    <a:pt x="8255" y="1983"/>
                  </a:lnTo>
                  <a:lnTo>
                    <a:pt x="8259" y="1983"/>
                  </a:lnTo>
                  <a:lnTo>
                    <a:pt x="8276" y="1976"/>
                  </a:lnTo>
                  <a:lnTo>
                    <a:pt x="8283" y="1976"/>
                  </a:lnTo>
                  <a:lnTo>
                    <a:pt x="8301" y="1973"/>
                  </a:lnTo>
                  <a:lnTo>
                    <a:pt x="8308" y="1973"/>
                  </a:lnTo>
                  <a:cubicBezTo>
                    <a:pt x="8311" y="1971"/>
                    <a:pt x="8315" y="1970"/>
                    <a:pt x="8318" y="1970"/>
                  </a:cubicBezTo>
                  <a:cubicBezTo>
                    <a:pt x="8322" y="1970"/>
                    <a:pt x="8325" y="1971"/>
                    <a:pt x="8329" y="1973"/>
                  </a:cubicBezTo>
                  <a:lnTo>
                    <a:pt x="8339" y="1973"/>
                  </a:lnTo>
                  <a:cubicBezTo>
                    <a:pt x="8343" y="1971"/>
                    <a:pt x="8346" y="1970"/>
                    <a:pt x="8348" y="1970"/>
                  </a:cubicBezTo>
                  <a:cubicBezTo>
                    <a:pt x="8351" y="1970"/>
                    <a:pt x="8353" y="1971"/>
                    <a:pt x="8357" y="1973"/>
                  </a:cubicBezTo>
                  <a:lnTo>
                    <a:pt x="8371" y="1973"/>
                  </a:lnTo>
                  <a:cubicBezTo>
                    <a:pt x="8378" y="1973"/>
                    <a:pt x="8385" y="1973"/>
                    <a:pt x="8392" y="1976"/>
                  </a:cubicBezTo>
                  <a:lnTo>
                    <a:pt x="8406" y="1980"/>
                  </a:lnTo>
                  <a:cubicBezTo>
                    <a:pt x="8413" y="1980"/>
                    <a:pt x="8420" y="1983"/>
                    <a:pt x="8427" y="1987"/>
                  </a:cubicBezTo>
                  <a:lnTo>
                    <a:pt x="8445" y="1994"/>
                  </a:lnTo>
                  <a:cubicBezTo>
                    <a:pt x="8448" y="1997"/>
                    <a:pt x="8455" y="1997"/>
                    <a:pt x="8462" y="2001"/>
                  </a:cubicBezTo>
                  <a:lnTo>
                    <a:pt x="8469" y="1994"/>
                  </a:lnTo>
                  <a:lnTo>
                    <a:pt x="8476" y="1983"/>
                  </a:lnTo>
                  <a:lnTo>
                    <a:pt x="8490" y="1962"/>
                  </a:lnTo>
                  <a:lnTo>
                    <a:pt x="8497" y="1952"/>
                  </a:lnTo>
                  <a:lnTo>
                    <a:pt x="8511" y="1934"/>
                  </a:lnTo>
                  <a:lnTo>
                    <a:pt x="8518" y="1924"/>
                  </a:lnTo>
                  <a:lnTo>
                    <a:pt x="8536" y="1906"/>
                  </a:lnTo>
                  <a:lnTo>
                    <a:pt x="8543" y="1896"/>
                  </a:lnTo>
                  <a:lnTo>
                    <a:pt x="8560" y="1878"/>
                  </a:lnTo>
                  <a:lnTo>
                    <a:pt x="8567" y="1871"/>
                  </a:lnTo>
                  <a:lnTo>
                    <a:pt x="8588" y="1854"/>
                  </a:lnTo>
                  <a:lnTo>
                    <a:pt x="8592" y="1847"/>
                  </a:lnTo>
                  <a:cubicBezTo>
                    <a:pt x="8609" y="1833"/>
                    <a:pt x="8630" y="1822"/>
                    <a:pt x="8648" y="1808"/>
                  </a:cubicBezTo>
                  <a:lnTo>
                    <a:pt x="8655" y="1808"/>
                  </a:lnTo>
                  <a:lnTo>
                    <a:pt x="8676" y="1794"/>
                  </a:lnTo>
                  <a:lnTo>
                    <a:pt x="8686" y="1791"/>
                  </a:lnTo>
                  <a:lnTo>
                    <a:pt x="8704" y="1784"/>
                  </a:lnTo>
                  <a:lnTo>
                    <a:pt x="8714" y="1777"/>
                  </a:lnTo>
                  <a:lnTo>
                    <a:pt x="8732" y="1773"/>
                  </a:lnTo>
                  <a:lnTo>
                    <a:pt x="8746" y="1770"/>
                  </a:lnTo>
                  <a:lnTo>
                    <a:pt x="8763" y="1763"/>
                  </a:lnTo>
                  <a:lnTo>
                    <a:pt x="8774" y="1763"/>
                  </a:lnTo>
                  <a:lnTo>
                    <a:pt x="8791" y="1759"/>
                  </a:lnTo>
                  <a:lnTo>
                    <a:pt x="8865" y="1759"/>
                  </a:lnTo>
                  <a:cubicBezTo>
                    <a:pt x="8987" y="1777"/>
                    <a:pt x="9082" y="1878"/>
                    <a:pt x="9173" y="1980"/>
                  </a:cubicBezTo>
                  <a:cubicBezTo>
                    <a:pt x="9264" y="2081"/>
                    <a:pt x="9351" y="2179"/>
                    <a:pt x="9467" y="2200"/>
                  </a:cubicBezTo>
                  <a:cubicBezTo>
                    <a:pt x="9523" y="2211"/>
                    <a:pt x="9579" y="2225"/>
                    <a:pt x="9635" y="2239"/>
                  </a:cubicBezTo>
                  <a:cubicBezTo>
                    <a:pt x="9734" y="2263"/>
                    <a:pt x="9835" y="2287"/>
                    <a:pt x="9907" y="2287"/>
                  </a:cubicBezTo>
                  <a:cubicBezTo>
                    <a:pt x="9949" y="2287"/>
                    <a:pt x="9981" y="2278"/>
                    <a:pt x="9995" y="2256"/>
                  </a:cubicBezTo>
                  <a:cubicBezTo>
                    <a:pt x="10029" y="2199"/>
                    <a:pt x="10075" y="2181"/>
                    <a:pt x="10123" y="2181"/>
                  </a:cubicBezTo>
                  <a:cubicBezTo>
                    <a:pt x="10175" y="2181"/>
                    <a:pt x="10230" y="2203"/>
                    <a:pt x="10272" y="2221"/>
                  </a:cubicBezTo>
                  <a:cubicBezTo>
                    <a:pt x="10320" y="2240"/>
                    <a:pt x="10368" y="2259"/>
                    <a:pt x="10410" y="2259"/>
                  </a:cubicBezTo>
                  <a:cubicBezTo>
                    <a:pt x="10423" y="2259"/>
                    <a:pt x="10435" y="2257"/>
                    <a:pt x="10447" y="2253"/>
                  </a:cubicBezTo>
                  <a:cubicBezTo>
                    <a:pt x="10465" y="2246"/>
                    <a:pt x="10482" y="2244"/>
                    <a:pt x="10498" y="2244"/>
                  </a:cubicBezTo>
                  <a:cubicBezTo>
                    <a:pt x="10580" y="2244"/>
                    <a:pt x="10631" y="2317"/>
                    <a:pt x="10661" y="2358"/>
                  </a:cubicBezTo>
                  <a:cubicBezTo>
                    <a:pt x="10671" y="2368"/>
                    <a:pt x="10682" y="2382"/>
                    <a:pt x="10689" y="2393"/>
                  </a:cubicBezTo>
                  <a:cubicBezTo>
                    <a:pt x="10703" y="2382"/>
                    <a:pt x="10717" y="2368"/>
                    <a:pt x="10727" y="2354"/>
                  </a:cubicBezTo>
                  <a:cubicBezTo>
                    <a:pt x="10766" y="2302"/>
                    <a:pt x="10787" y="2239"/>
                    <a:pt x="10787" y="2176"/>
                  </a:cubicBezTo>
                  <a:cubicBezTo>
                    <a:pt x="10787" y="2127"/>
                    <a:pt x="10804" y="2081"/>
                    <a:pt x="10836" y="2046"/>
                  </a:cubicBezTo>
                  <a:cubicBezTo>
                    <a:pt x="10864" y="2025"/>
                    <a:pt x="10899" y="2014"/>
                    <a:pt x="10954" y="2014"/>
                  </a:cubicBezTo>
                  <a:cubicBezTo>
                    <a:pt x="10972" y="2014"/>
                    <a:pt x="10993" y="2015"/>
                    <a:pt x="11018" y="2018"/>
                  </a:cubicBezTo>
                  <a:cubicBezTo>
                    <a:pt x="11024" y="2019"/>
                    <a:pt x="11030" y="2019"/>
                    <a:pt x="11036" y="2019"/>
                  </a:cubicBezTo>
                  <a:cubicBezTo>
                    <a:pt x="11054" y="2019"/>
                    <a:pt x="11071" y="2016"/>
                    <a:pt x="11084" y="2008"/>
                  </a:cubicBezTo>
                  <a:cubicBezTo>
                    <a:pt x="11112" y="1980"/>
                    <a:pt x="11088" y="1868"/>
                    <a:pt x="11074" y="1794"/>
                  </a:cubicBezTo>
                  <a:cubicBezTo>
                    <a:pt x="11063" y="1735"/>
                    <a:pt x="11053" y="1675"/>
                    <a:pt x="11049" y="1616"/>
                  </a:cubicBezTo>
                  <a:cubicBezTo>
                    <a:pt x="11049" y="1486"/>
                    <a:pt x="11168" y="1416"/>
                    <a:pt x="11263" y="1360"/>
                  </a:cubicBezTo>
                  <a:cubicBezTo>
                    <a:pt x="11326" y="1325"/>
                    <a:pt x="11389" y="1290"/>
                    <a:pt x="11389" y="1251"/>
                  </a:cubicBezTo>
                  <a:cubicBezTo>
                    <a:pt x="11389" y="1216"/>
                    <a:pt x="11403" y="1185"/>
                    <a:pt x="11424" y="1160"/>
                  </a:cubicBezTo>
                  <a:cubicBezTo>
                    <a:pt x="11487" y="1101"/>
                    <a:pt x="11609" y="1101"/>
                    <a:pt x="11735" y="1101"/>
                  </a:cubicBezTo>
                  <a:cubicBezTo>
                    <a:pt x="11802" y="1101"/>
                    <a:pt x="11924" y="1101"/>
                    <a:pt x="11949" y="1083"/>
                  </a:cubicBezTo>
                  <a:cubicBezTo>
                    <a:pt x="12021" y="995"/>
                    <a:pt x="12130" y="946"/>
                    <a:pt x="12244" y="946"/>
                  </a:cubicBezTo>
                  <a:cubicBezTo>
                    <a:pt x="12252" y="946"/>
                    <a:pt x="12260" y="946"/>
                    <a:pt x="12267" y="947"/>
                  </a:cubicBezTo>
                  <a:cubicBezTo>
                    <a:pt x="12362" y="950"/>
                    <a:pt x="12449" y="1006"/>
                    <a:pt x="12498" y="1090"/>
                  </a:cubicBezTo>
                  <a:cubicBezTo>
                    <a:pt x="12537" y="1160"/>
                    <a:pt x="12667" y="1216"/>
                    <a:pt x="12779" y="1265"/>
                  </a:cubicBezTo>
                  <a:cubicBezTo>
                    <a:pt x="12922" y="1328"/>
                    <a:pt x="13059" y="1388"/>
                    <a:pt x="13076" y="1500"/>
                  </a:cubicBezTo>
                  <a:cubicBezTo>
                    <a:pt x="13080" y="1514"/>
                    <a:pt x="13080" y="1528"/>
                    <a:pt x="13083" y="1546"/>
                  </a:cubicBezTo>
                  <a:lnTo>
                    <a:pt x="13083" y="1563"/>
                  </a:lnTo>
                  <a:lnTo>
                    <a:pt x="13083" y="1595"/>
                  </a:lnTo>
                  <a:lnTo>
                    <a:pt x="13083" y="1612"/>
                  </a:lnTo>
                  <a:lnTo>
                    <a:pt x="13083" y="1647"/>
                  </a:lnTo>
                  <a:lnTo>
                    <a:pt x="13083" y="1668"/>
                  </a:lnTo>
                  <a:lnTo>
                    <a:pt x="13083" y="1679"/>
                  </a:lnTo>
                  <a:cubicBezTo>
                    <a:pt x="13125" y="1654"/>
                    <a:pt x="13171" y="1640"/>
                    <a:pt x="13216" y="1633"/>
                  </a:cubicBezTo>
                  <a:lnTo>
                    <a:pt x="13220" y="1633"/>
                  </a:lnTo>
                  <a:cubicBezTo>
                    <a:pt x="13237" y="1630"/>
                    <a:pt x="13251" y="1630"/>
                    <a:pt x="13265" y="1630"/>
                  </a:cubicBezTo>
                  <a:cubicBezTo>
                    <a:pt x="13321" y="1630"/>
                    <a:pt x="13388" y="1577"/>
                    <a:pt x="13447" y="1532"/>
                  </a:cubicBezTo>
                  <a:cubicBezTo>
                    <a:pt x="13525" y="1473"/>
                    <a:pt x="13606" y="1415"/>
                    <a:pt x="13695" y="1415"/>
                  </a:cubicBezTo>
                  <a:cubicBezTo>
                    <a:pt x="13702" y="1415"/>
                    <a:pt x="13710" y="1415"/>
                    <a:pt x="13717" y="1416"/>
                  </a:cubicBezTo>
                  <a:lnTo>
                    <a:pt x="13731" y="1416"/>
                  </a:lnTo>
                  <a:cubicBezTo>
                    <a:pt x="13738" y="1416"/>
                    <a:pt x="13755" y="1423"/>
                    <a:pt x="13766" y="1423"/>
                  </a:cubicBezTo>
                  <a:cubicBezTo>
                    <a:pt x="13774" y="1425"/>
                    <a:pt x="13783" y="1426"/>
                    <a:pt x="13792" y="1426"/>
                  </a:cubicBezTo>
                  <a:cubicBezTo>
                    <a:pt x="13816" y="1426"/>
                    <a:pt x="13841" y="1419"/>
                    <a:pt x="13864" y="1409"/>
                  </a:cubicBezTo>
                  <a:cubicBezTo>
                    <a:pt x="13871" y="1402"/>
                    <a:pt x="13878" y="1395"/>
                    <a:pt x="13885" y="1388"/>
                  </a:cubicBezTo>
                  <a:lnTo>
                    <a:pt x="13888" y="1381"/>
                  </a:lnTo>
                  <a:cubicBezTo>
                    <a:pt x="13895" y="1374"/>
                    <a:pt x="13899" y="1370"/>
                    <a:pt x="13902" y="1363"/>
                  </a:cubicBezTo>
                  <a:lnTo>
                    <a:pt x="13906" y="1353"/>
                  </a:lnTo>
                  <a:cubicBezTo>
                    <a:pt x="13913" y="1342"/>
                    <a:pt x="13916" y="1332"/>
                    <a:pt x="13920" y="1321"/>
                  </a:cubicBezTo>
                  <a:cubicBezTo>
                    <a:pt x="13872" y="1300"/>
                    <a:pt x="13821" y="1289"/>
                    <a:pt x="13770" y="1289"/>
                  </a:cubicBezTo>
                  <a:cubicBezTo>
                    <a:pt x="13739" y="1289"/>
                    <a:pt x="13708" y="1293"/>
                    <a:pt x="13678" y="1300"/>
                  </a:cubicBezTo>
                  <a:cubicBezTo>
                    <a:pt x="13671" y="1304"/>
                    <a:pt x="13654" y="1311"/>
                    <a:pt x="13650" y="1321"/>
                  </a:cubicBezTo>
                  <a:cubicBezTo>
                    <a:pt x="13626" y="1399"/>
                    <a:pt x="13554" y="1449"/>
                    <a:pt x="13475" y="1449"/>
                  </a:cubicBezTo>
                  <a:cubicBezTo>
                    <a:pt x="13461" y="1449"/>
                    <a:pt x="13447" y="1447"/>
                    <a:pt x="13433" y="1444"/>
                  </a:cubicBezTo>
                  <a:cubicBezTo>
                    <a:pt x="13346" y="1437"/>
                    <a:pt x="13279" y="1363"/>
                    <a:pt x="13283" y="1276"/>
                  </a:cubicBezTo>
                  <a:cubicBezTo>
                    <a:pt x="13276" y="1241"/>
                    <a:pt x="13139" y="1171"/>
                    <a:pt x="13087" y="1143"/>
                  </a:cubicBezTo>
                  <a:cubicBezTo>
                    <a:pt x="12996" y="1101"/>
                    <a:pt x="12943" y="1069"/>
                    <a:pt x="12929" y="1020"/>
                  </a:cubicBezTo>
                  <a:cubicBezTo>
                    <a:pt x="12919" y="985"/>
                    <a:pt x="12929" y="947"/>
                    <a:pt x="12957" y="926"/>
                  </a:cubicBezTo>
                  <a:cubicBezTo>
                    <a:pt x="12981" y="908"/>
                    <a:pt x="13015" y="900"/>
                    <a:pt x="13054" y="900"/>
                  </a:cubicBezTo>
                  <a:cubicBezTo>
                    <a:pt x="13131" y="900"/>
                    <a:pt x="13226" y="930"/>
                    <a:pt x="13300" y="971"/>
                  </a:cubicBezTo>
                  <a:cubicBezTo>
                    <a:pt x="13328" y="987"/>
                    <a:pt x="13352" y="996"/>
                    <a:pt x="13378" y="996"/>
                  </a:cubicBezTo>
                  <a:cubicBezTo>
                    <a:pt x="13428" y="996"/>
                    <a:pt x="13486" y="961"/>
                    <a:pt x="13587" y="866"/>
                  </a:cubicBezTo>
                  <a:cubicBezTo>
                    <a:pt x="13655" y="805"/>
                    <a:pt x="13745" y="771"/>
                    <a:pt x="13838" y="771"/>
                  </a:cubicBezTo>
                  <a:cubicBezTo>
                    <a:pt x="13847" y="771"/>
                    <a:pt x="13855" y="771"/>
                    <a:pt x="13864" y="772"/>
                  </a:cubicBezTo>
                  <a:cubicBezTo>
                    <a:pt x="13888" y="772"/>
                    <a:pt x="13913" y="768"/>
                    <a:pt x="13937" y="761"/>
                  </a:cubicBezTo>
                  <a:lnTo>
                    <a:pt x="13937" y="758"/>
                  </a:lnTo>
                  <a:cubicBezTo>
                    <a:pt x="13944" y="723"/>
                    <a:pt x="13843" y="663"/>
                    <a:pt x="13797" y="635"/>
                  </a:cubicBezTo>
                  <a:cubicBezTo>
                    <a:pt x="13745" y="607"/>
                    <a:pt x="13703" y="572"/>
                    <a:pt x="13664" y="530"/>
                  </a:cubicBezTo>
                  <a:cubicBezTo>
                    <a:pt x="13634" y="485"/>
                    <a:pt x="13510" y="416"/>
                    <a:pt x="13380" y="416"/>
                  </a:cubicBezTo>
                  <a:cubicBezTo>
                    <a:pt x="13359" y="416"/>
                    <a:pt x="13338" y="418"/>
                    <a:pt x="13318" y="422"/>
                  </a:cubicBezTo>
                  <a:cubicBezTo>
                    <a:pt x="13284" y="428"/>
                    <a:pt x="13255" y="431"/>
                    <a:pt x="13229" y="431"/>
                  </a:cubicBezTo>
                  <a:cubicBezTo>
                    <a:pt x="13132" y="431"/>
                    <a:pt x="13085" y="387"/>
                    <a:pt x="13027" y="324"/>
                  </a:cubicBezTo>
                  <a:cubicBezTo>
                    <a:pt x="13010" y="306"/>
                    <a:pt x="12992" y="289"/>
                    <a:pt x="12971" y="268"/>
                  </a:cubicBezTo>
                  <a:cubicBezTo>
                    <a:pt x="12962" y="260"/>
                    <a:pt x="12947" y="256"/>
                    <a:pt x="12928" y="256"/>
                  </a:cubicBezTo>
                  <a:cubicBezTo>
                    <a:pt x="12904" y="256"/>
                    <a:pt x="12873" y="263"/>
                    <a:pt x="12838" y="278"/>
                  </a:cubicBezTo>
                  <a:cubicBezTo>
                    <a:pt x="12751" y="317"/>
                    <a:pt x="12653" y="408"/>
                    <a:pt x="12653" y="513"/>
                  </a:cubicBezTo>
                  <a:cubicBezTo>
                    <a:pt x="12653" y="670"/>
                    <a:pt x="12565" y="716"/>
                    <a:pt x="12540" y="723"/>
                  </a:cubicBezTo>
                  <a:cubicBezTo>
                    <a:pt x="12526" y="728"/>
                    <a:pt x="12512" y="730"/>
                    <a:pt x="12498" y="730"/>
                  </a:cubicBezTo>
                  <a:cubicBezTo>
                    <a:pt x="12463" y="730"/>
                    <a:pt x="12429" y="715"/>
                    <a:pt x="12404" y="688"/>
                  </a:cubicBezTo>
                  <a:cubicBezTo>
                    <a:pt x="12369" y="639"/>
                    <a:pt x="12369" y="576"/>
                    <a:pt x="12404" y="527"/>
                  </a:cubicBezTo>
                  <a:cubicBezTo>
                    <a:pt x="12421" y="499"/>
                    <a:pt x="12414" y="464"/>
                    <a:pt x="12400" y="415"/>
                  </a:cubicBezTo>
                  <a:cubicBezTo>
                    <a:pt x="12390" y="376"/>
                    <a:pt x="12383" y="334"/>
                    <a:pt x="12390" y="292"/>
                  </a:cubicBezTo>
                  <a:cubicBezTo>
                    <a:pt x="12404" y="236"/>
                    <a:pt x="12453" y="198"/>
                    <a:pt x="12509" y="187"/>
                  </a:cubicBezTo>
                  <a:cubicBezTo>
                    <a:pt x="12540" y="180"/>
                    <a:pt x="12540" y="166"/>
                    <a:pt x="12540" y="156"/>
                  </a:cubicBezTo>
                  <a:cubicBezTo>
                    <a:pt x="12533" y="107"/>
                    <a:pt x="12453" y="23"/>
                    <a:pt x="12292" y="9"/>
                  </a:cubicBezTo>
                  <a:cubicBezTo>
                    <a:pt x="12282" y="8"/>
                    <a:pt x="12272" y="8"/>
                    <a:pt x="12262" y="8"/>
                  </a:cubicBezTo>
                  <a:cubicBezTo>
                    <a:pt x="12129" y="8"/>
                    <a:pt x="12048" y="73"/>
                    <a:pt x="12019" y="135"/>
                  </a:cubicBezTo>
                  <a:cubicBezTo>
                    <a:pt x="11998" y="173"/>
                    <a:pt x="12001" y="201"/>
                    <a:pt x="12008" y="208"/>
                  </a:cubicBezTo>
                  <a:cubicBezTo>
                    <a:pt x="12047" y="250"/>
                    <a:pt x="12047" y="313"/>
                    <a:pt x="12012" y="394"/>
                  </a:cubicBezTo>
                  <a:cubicBezTo>
                    <a:pt x="11956" y="516"/>
                    <a:pt x="11770" y="747"/>
                    <a:pt x="11637" y="747"/>
                  </a:cubicBezTo>
                  <a:cubicBezTo>
                    <a:pt x="11602" y="747"/>
                    <a:pt x="11571" y="733"/>
                    <a:pt x="11550" y="705"/>
                  </a:cubicBezTo>
                  <a:cubicBezTo>
                    <a:pt x="11501" y="646"/>
                    <a:pt x="11522" y="548"/>
                    <a:pt x="11550" y="422"/>
                  </a:cubicBezTo>
                  <a:cubicBezTo>
                    <a:pt x="11564" y="355"/>
                    <a:pt x="11574" y="289"/>
                    <a:pt x="11578" y="222"/>
                  </a:cubicBezTo>
                  <a:lnTo>
                    <a:pt x="11578" y="215"/>
                  </a:lnTo>
                  <a:cubicBezTo>
                    <a:pt x="11546" y="236"/>
                    <a:pt x="11480" y="296"/>
                    <a:pt x="11347" y="450"/>
                  </a:cubicBezTo>
                  <a:cubicBezTo>
                    <a:pt x="11298" y="502"/>
                    <a:pt x="11256" y="555"/>
                    <a:pt x="11214" y="604"/>
                  </a:cubicBezTo>
                  <a:cubicBezTo>
                    <a:pt x="11039" y="814"/>
                    <a:pt x="10909" y="964"/>
                    <a:pt x="10783" y="989"/>
                  </a:cubicBezTo>
                  <a:cubicBezTo>
                    <a:pt x="10774" y="991"/>
                    <a:pt x="10766" y="992"/>
                    <a:pt x="10757" y="992"/>
                  </a:cubicBezTo>
                  <a:cubicBezTo>
                    <a:pt x="10703" y="992"/>
                    <a:pt x="10651" y="956"/>
                    <a:pt x="10636" y="901"/>
                  </a:cubicBezTo>
                  <a:cubicBezTo>
                    <a:pt x="10594" y="789"/>
                    <a:pt x="10668" y="607"/>
                    <a:pt x="10839" y="516"/>
                  </a:cubicBezTo>
                  <a:cubicBezTo>
                    <a:pt x="10927" y="467"/>
                    <a:pt x="10976" y="369"/>
                    <a:pt x="11021" y="285"/>
                  </a:cubicBezTo>
                  <a:cubicBezTo>
                    <a:pt x="11067" y="187"/>
                    <a:pt x="11116" y="86"/>
                    <a:pt x="11224" y="86"/>
                  </a:cubicBezTo>
                  <a:cubicBezTo>
                    <a:pt x="11227" y="87"/>
                    <a:pt x="11230" y="87"/>
                    <a:pt x="11233" y="87"/>
                  </a:cubicBezTo>
                  <a:cubicBezTo>
                    <a:pt x="11240" y="87"/>
                    <a:pt x="11248" y="84"/>
                    <a:pt x="11256" y="79"/>
                  </a:cubicBezTo>
                  <a:cubicBezTo>
                    <a:pt x="11256" y="75"/>
                    <a:pt x="11252" y="72"/>
                    <a:pt x="11249" y="68"/>
                  </a:cubicBezTo>
                  <a:cubicBezTo>
                    <a:pt x="11224" y="33"/>
                    <a:pt x="11186" y="12"/>
                    <a:pt x="11144" y="5"/>
                  </a:cubicBezTo>
                  <a:cubicBezTo>
                    <a:pt x="11130" y="2"/>
                    <a:pt x="11118" y="0"/>
                    <a:pt x="11107"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870" name="Google Shape;5870;p104"/>
            <p:cNvSpPr/>
            <p:nvPr/>
          </p:nvSpPr>
          <p:spPr>
            <a:xfrm>
              <a:off x="2127052" y="1276572"/>
              <a:ext cx="5961" cy="5526"/>
            </a:xfrm>
            <a:custGeom>
              <a:avLst/>
              <a:gdLst/>
              <a:ahLst/>
              <a:cxnLst/>
              <a:rect l="l" t="t" r="r" b="b"/>
              <a:pathLst>
                <a:path w="439" h="407" extrusionOk="0">
                  <a:moveTo>
                    <a:pt x="77" y="1"/>
                  </a:moveTo>
                  <a:cubicBezTo>
                    <a:pt x="60" y="1"/>
                    <a:pt x="40" y="4"/>
                    <a:pt x="15" y="11"/>
                  </a:cubicBezTo>
                  <a:cubicBezTo>
                    <a:pt x="11" y="11"/>
                    <a:pt x="4" y="15"/>
                    <a:pt x="1" y="18"/>
                  </a:cubicBezTo>
                  <a:cubicBezTo>
                    <a:pt x="4" y="39"/>
                    <a:pt x="11" y="60"/>
                    <a:pt x="22" y="78"/>
                  </a:cubicBezTo>
                  <a:cubicBezTo>
                    <a:pt x="95" y="204"/>
                    <a:pt x="284" y="354"/>
                    <a:pt x="354" y="372"/>
                  </a:cubicBezTo>
                  <a:cubicBezTo>
                    <a:pt x="382" y="379"/>
                    <a:pt x="410" y="389"/>
                    <a:pt x="438" y="407"/>
                  </a:cubicBezTo>
                  <a:cubicBezTo>
                    <a:pt x="400" y="368"/>
                    <a:pt x="361" y="319"/>
                    <a:pt x="312" y="274"/>
                  </a:cubicBezTo>
                  <a:cubicBezTo>
                    <a:pt x="270" y="221"/>
                    <a:pt x="228" y="169"/>
                    <a:pt x="197" y="109"/>
                  </a:cubicBezTo>
                  <a:cubicBezTo>
                    <a:pt x="149" y="35"/>
                    <a:pt x="129" y="1"/>
                    <a:pt x="77" y="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871" name="Google Shape;5871;p104"/>
            <p:cNvSpPr/>
            <p:nvPr/>
          </p:nvSpPr>
          <p:spPr>
            <a:xfrm>
              <a:off x="2199678" y="1404961"/>
              <a:ext cx="1724" cy="1290"/>
            </a:xfrm>
            <a:custGeom>
              <a:avLst/>
              <a:gdLst/>
              <a:ahLst/>
              <a:cxnLst/>
              <a:rect l="l" t="t" r="r" b="b"/>
              <a:pathLst>
                <a:path w="127" h="95" extrusionOk="0">
                  <a:moveTo>
                    <a:pt x="85" y="0"/>
                  </a:moveTo>
                  <a:cubicBezTo>
                    <a:pt x="53" y="0"/>
                    <a:pt x="25" y="11"/>
                    <a:pt x="1" y="28"/>
                  </a:cubicBezTo>
                  <a:cubicBezTo>
                    <a:pt x="46" y="39"/>
                    <a:pt x="92" y="60"/>
                    <a:pt x="127" y="95"/>
                  </a:cubicBezTo>
                  <a:cubicBezTo>
                    <a:pt x="103" y="67"/>
                    <a:pt x="89" y="35"/>
                    <a:pt x="85"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872" name="Google Shape;5872;p104"/>
            <p:cNvSpPr/>
            <p:nvPr/>
          </p:nvSpPr>
          <p:spPr>
            <a:xfrm>
              <a:off x="2210947" y="1395471"/>
              <a:ext cx="9043" cy="6409"/>
            </a:xfrm>
            <a:custGeom>
              <a:avLst/>
              <a:gdLst/>
              <a:ahLst/>
              <a:cxnLst/>
              <a:rect l="l" t="t" r="r" b="b"/>
              <a:pathLst>
                <a:path w="666" h="472" extrusionOk="0">
                  <a:moveTo>
                    <a:pt x="648" y="0"/>
                  </a:moveTo>
                  <a:cubicBezTo>
                    <a:pt x="644" y="0"/>
                    <a:pt x="641" y="1"/>
                    <a:pt x="641" y="3"/>
                  </a:cubicBezTo>
                  <a:cubicBezTo>
                    <a:pt x="620" y="3"/>
                    <a:pt x="603" y="20"/>
                    <a:pt x="603" y="41"/>
                  </a:cubicBezTo>
                  <a:cubicBezTo>
                    <a:pt x="603" y="80"/>
                    <a:pt x="589" y="115"/>
                    <a:pt x="561" y="143"/>
                  </a:cubicBezTo>
                  <a:cubicBezTo>
                    <a:pt x="509" y="192"/>
                    <a:pt x="417" y="204"/>
                    <a:pt x="310" y="204"/>
                  </a:cubicBezTo>
                  <a:cubicBezTo>
                    <a:pt x="259" y="204"/>
                    <a:pt x="204" y="201"/>
                    <a:pt x="148" y="199"/>
                  </a:cubicBezTo>
                  <a:lnTo>
                    <a:pt x="88" y="195"/>
                  </a:lnTo>
                  <a:lnTo>
                    <a:pt x="81" y="195"/>
                  </a:lnTo>
                  <a:cubicBezTo>
                    <a:pt x="43" y="195"/>
                    <a:pt x="22" y="209"/>
                    <a:pt x="15" y="234"/>
                  </a:cubicBezTo>
                  <a:cubicBezTo>
                    <a:pt x="1" y="276"/>
                    <a:pt x="39" y="370"/>
                    <a:pt x="158" y="437"/>
                  </a:cubicBezTo>
                  <a:cubicBezTo>
                    <a:pt x="176" y="447"/>
                    <a:pt x="193" y="458"/>
                    <a:pt x="207" y="472"/>
                  </a:cubicBezTo>
                  <a:cubicBezTo>
                    <a:pt x="204" y="437"/>
                    <a:pt x="211" y="398"/>
                    <a:pt x="225" y="367"/>
                  </a:cubicBezTo>
                  <a:cubicBezTo>
                    <a:pt x="260" y="276"/>
                    <a:pt x="344" y="216"/>
                    <a:pt x="442" y="213"/>
                  </a:cubicBezTo>
                  <a:cubicBezTo>
                    <a:pt x="543" y="213"/>
                    <a:pt x="655" y="59"/>
                    <a:pt x="666" y="6"/>
                  </a:cubicBezTo>
                  <a:cubicBezTo>
                    <a:pt x="662" y="2"/>
                    <a:pt x="654" y="0"/>
                    <a:pt x="648"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873" name="Google Shape;5873;p104"/>
            <p:cNvSpPr/>
            <p:nvPr/>
          </p:nvSpPr>
          <p:spPr>
            <a:xfrm>
              <a:off x="2181335" y="1248725"/>
              <a:ext cx="67372" cy="20393"/>
            </a:xfrm>
            <a:custGeom>
              <a:avLst/>
              <a:gdLst/>
              <a:ahLst/>
              <a:cxnLst/>
              <a:rect l="l" t="t" r="r" b="b"/>
              <a:pathLst>
                <a:path w="4962" h="1502" extrusionOk="0">
                  <a:moveTo>
                    <a:pt x="981" y="0"/>
                  </a:moveTo>
                  <a:lnTo>
                    <a:pt x="981" y="0"/>
                  </a:lnTo>
                  <a:cubicBezTo>
                    <a:pt x="1012" y="53"/>
                    <a:pt x="1047" y="133"/>
                    <a:pt x="1002" y="207"/>
                  </a:cubicBezTo>
                  <a:cubicBezTo>
                    <a:pt x="976" y="248"/>
                    <a:pt x="939" y="264"/>
                    <a:pt x="897" y="264"/>
                  </a:cubicBezTo>
                  <a:cubicBezTo>
                    <a:pt x="824" y="264"/>
                    <a:pt x="736" y="218"/>
                    <a:pt x="659" y="179"/>
                  </a:cubicBezTo>
                  <a:cubicBezTo>
                    <a:pt x="641" y="168"/>
                    <a:pt x="617" y="158"/>
                    <a:pt x="596" y="147"/>
                  </a:cubicBezTo>
                  <a:lnTo>
                    <a:pt x="596" y="147"/>
                  </a:lnTo>
                  <a:lnTo>
                    <a:pt x="599" y="158"/>
                  </a:lnTo>
                  <a:cubicBezTo>
                    <a:pt x="624" y="231"/>
                    <a:pt x="652" y="322"/>
                    <a:pt x="617" y="392"/>
                  </a:cubicBezTo>
                  <a:cubicBezTo>
                    <a:pt x="606" y="420"/>
                    <a:pt x="582" y="441"/>
                    <a:pt x="550" y="445"/>
                  </a:cubicBezTo>
                  <a:cubicBezTo>
                    <a:pt x="545" y="446"/>
                    <a:pt x="541" y="446"/>
                    <a:pt x="536" y="446"/>
                  </a:cubicBezTo>
                  <a:cubicBezTo>
                    <a:pt x="480" y="446"/>
                    <a:pt x="433" y="389"/>
                    <a:pt x="365" y="312"/>
                  </a:cubicBezTo>
                  <a:cubicBezTo>
                    <a:pt x="302" y="245"/>
                    <a:pt x="207" y="137"/>
                    <a:pt x="148" y="137"/>
                  </a:cubicBezTo>
                  <a:cubicBezTo>
                    <a:pt x="102" y="137"/>
                    <a:pt x="92" y="154"/>
                    <a:pt x="67" y="210"/>
                  </a:cubicBezTo>
                  <a:cubicBezTo>
                    <a:pt x="57" y="252"/>
                    <a:pt x="32" y="287"/>
                    <a:pt x="1" y="315"/>
                  </a:cubicBezTo>
                  <a:cubicBezTo>
                    <a:pt x="32" y="336"/>
                    <a:pt x="71" y="361"/>
                    <a:pt x="99" y="378"/>
                  </a:cubicBezTo>
                  <a:cubicBezTo>
                    <a:pt x="151" y="410"/>
                    <a:pt x="200" y="441"/>
                    <a:pt x="235" y="469"/>
                  </a:cubicBezTo>
                  <a:cubicBezTo>
                    <a:pt x="267" y="490"/>
                    <a:pt x="288" y="525"/>
                    <a:pt x="288" y="564"/>
                  </a:cubicBezTo>
                  <a:cubicBezTo>
                    <a:pt x="284" y="616"/>
                    <a:pt x="239" y="644"/>
                    <a:pt x="204" y="662"/>
                  </a:cubicBezTo>
                  <a:lnTo>
                    <a:pt x="179" y="679"/>
                  </a:lnTo>
                  <a:lnTo>
                    <a:pt x="183" y="679"/>
                  </a:lnTo>
                  <a:cubicBezTo>
                    <a:pt x="284" y="782"/>
                    <a:pt x="494" y="815"/>
                    <a:pt x="738" y="815"/>
                  </a:cubicBezTo>
                  <a:cubicBezTo>
                    <a:pt x="991" y="815"/>
                    <a:pt x="1281" y="780"/>
                    <a:pt x="1524" y="749"/>
                  </a:cubicBezTo>
                  <a:cubicBezTo>
                    <a:pt x="1737" y="722"/>
                    <a:pt x="1890" y="704"/>
                    <a:pt x="1998" y="704"/>
                  </a:cubicBezTo>
                  <a:cubicBezTo>
                    <a:pt x="2070" y="704"/>
                    <a:pt x="2122" y="712"/>
                    <a:pt x="2157" y="732"/>
                  </a:cubicBezTo>
                  <a:cubicBezTo>
                    <a:pt x="2192" y="746"/>
                    <a:pt x="2213" y="784"/>
                    <a:pt x="2210" y="823"/>
                  </a:cubicBezTo>
                  <a:cubicBezTo>
                    <a:pt x="2196" y="907"/>
                    <a:pt x="2087" y="935"/>
                    <a:pt x="1632" y="1029"/>
                  </a:cubicBezTo>
                  <a:cubicBezTo>
                    <a:pt x="1457" y="1064"/>
                    <a:pt x="1177" y="1124"/>
                    <a:pt x="1075" y="1169"/>
                  </a:cubicBezTo>
                  <a:cubicBezTo>
                    <a:pt x="1224" y="1241"/>
                    <a:pt x="1767" y="1318"/>
                    <a:pt x="2056" y="1318"/>
                  </a:cubicBezTo>
                  <a:cubicBezTo>
                    <a:pt x="2136" y="1318"/>
                    <a:pt x="2196" y="1313"/>
                    <a:pt x="2224" y="1299"/>
                  </a:cubicBezTo>
                  <a:cubicBezTo>
                    <a:pt x="2245" y="1274"/>
                    <a:pt x="2276" y="1260"/>
                    <a:pt x="2311" y="1260"/>
                  </a:cubicBezTo>
                  <a:cubicBezTo>
                    <a:pt x="2367" y="1260"/>
                    <a:pt x="2434" y="1302"/>
                    <a:pt x="2500" y="1341"/>
                  </a:cubicBezTo>
                  <a:cubicBezTo>
                    <a:pt x="2602" y="1404"/>
                    <a:pt x="2742" y="1488"/>
                    <a:pt x="2931" y="1498"/>
                  </a:cubicBezTo>
                  <a:cubicBezTo>
                    <a:pt x="2956" y="1500"/>
                    <a:pt x="2979" y="1501"/>
                    <a:pt x="3000" y="1501"/>
                  </a:cubicBezTo>
                  <a:cubicBezTo>
                    <a:pt x="3136" y="1501"/>
                    <a:pt x="3200" y="1465"/>
                    <a:pt x="3263" y="1428"/>
                  </a:cubicBezTo>
                  <a:cubicBezTo>
                    <a:pt x="3347" y="1376"/>
                    <a:pt x="3442" y="1344"/>
                    <a:pt x="3540" y="1341"/>
                  </a:cubicBezTo>
                  <a:cubicBezTo>
                    <a:pt x="3841" y="1327"/>
                    <a:pt x="4174" y="1187"/>
                    <a:pt x="4181" y="1099"/>
                  </a:cubicBezTo>
                  <a:cubicBezTo>
                    <a:pt x="4188" y="994"/>
                    <a:pt x="4328" y="924"/>
                    <a:pt x="4524" y="826"/>
                  </a:cubicBezTo>
                  <a:cubicBezTo>
                    <a:pt x="4699" y="739"/>
                    <a:pt x="4961" y="609"/>
                    <a:pt x="4933" y="501"/>
                  </a:cubicBezTo>
                  <a:cubicBezTo>
                    <a:pt x="4910" y="408"/>
                    <a:pt x="4691" y="394"/>
                    <a:pt x="4488" y="394"/>
                  </a:cubicBezTo>
                  <a:cubicBezTo>
                    <a:pt x="4445" y="394"/>
                    <a:pt x="4402" y="395"/>
                    <a:pt x="4363" y="396"/>
                  </a:cubicBezTo>
                  <a:cubicBezTo>
                    <a:pt x="4321" y="396"/>
                    <a:pt x="4280" y="397"/>
                    <a:pt x="4240" y="397"/>
                  </a:cubicBezTo>
                  <a:cubicBezTo>
                    <a:pt x="4093" y="397"/>
                    <a:pt x="3967" y="389"/>
                    <a:pt x="3890" y="350"/>
                  </a:cubicBezTo>
                  <a:cubicBezTo>
                    <a:pt x="3711" y="261"/>
                    <a:pt x="3457" y="195"/>
                    <a:pt x="3301" y="195"/>
                  </a:cubicBezTo>
                  <a:cubicBezTo>
                    <a:pt x="3231" y="195"/>
                    <a:pt x="3181" y="208"/>
                    <a:pt x="3165" y="238"/>
                  </a:cubicBezTo>
                  <a:cubicBezTo>
                    <a:pt x="3106" y="354"/>
                    <a:pt x="3015" y="434"/>
                    <a:pt x="2917" y="448"/>
                  </a:cubicBezTo>
                  <a:cubicBezTo>
                    <a:pt x="2906" y="450"/>
                    <a:pt x="2895" y="451"/>
                    <a:pt x="2884" y="451"/>
                  </a:cubicBezTo>
                  <a:cubicBezTo>
                    <a:pt x="2838" y="451"/>
                    <a:pt x="2790" y="433"/>
                    <a:pt x="2756" y="399"/>
                  </a:cubicBezTo>
                  <a:cubicBezTo>
                    <a:pt x="2721" y="361"/>
                    <a:pt x="2714" y="305"/>
                    <a:pt x="2703" y="235"/>
                  </a:cubicBezTo>
                  <a:cubicBezTo>
                    <a:pt x="2696" y="165"/>
                    <a:pt x="2689" y="88"/>
                    <a:pt x="2647" y="60"/>
                  </a:cubicBezTo>
                  <a:cubicBezTo>
                    <a:pt x="2632" y="49"/>
                    <a:pt x="2615" y="45"/>
                    <a:pt x="2596" y="45"/>
                  </a:cubicBezTo>
                  <a:cubicBezTo>
                    <a:pt x="2567" y="45"/>
                    <a:pt x="2535" y="55"/>
                    <a:pt x="2507" y="63"/>
                  </a:cubicBezTo>
                  <a:cubicBezTo>
                    <a:pt x="2462" y="74"/>
                    <a:pt x="2423" y="102"/>
                    <a:pt x="2399" y="140"/>
                  </a:cubicBezTo>
                  <a:cubicBezTo>
                    <a:pt x="2367" y="203"/>
                    <a:pt x="2406" y="301"/>
                    <a:pt x="2434" y="382"/>
                  </a:cubicBezTo>
                  <a:cubicBezTo>
                    <a:pt x="2462" y="462"/>
                    <a:pt x="2493" y="546"/>
                    <a:pt x="2427" y="588"/>
                  </a:cubicBezTo>
                  <a:cubicBezTo>
                    <a:pt x="2403" y="605"/>
                    <a:pt x="2373" y="611"/>
                    <a:pt x="2340" y="611"/>
                  </a:cubicBezTo>
                  <a:cubicBezTo>
                    <a:pt x="2257" y="611"/>
                    <a:pt x="2161" y="570"/>
                    <a:pt x="2136" y="560"/>
                  </a:cubicBezTo>
                  <a:cubicBezTo>
                    <a:pt x="2070" y="529"/>
                    <a:pt x="1916" y="448"/>
                    <a:pt x="1891" y="312"/>
                  </a:cubicBezTo>
                  <a:cubicBezTo>
                    <a:pt x="1853" y="319"/>
                    <a:pt x="1818" y="333"/>
                    <a:pt x="1779" y="347"/>
                  </a:cubicBezTo>
                  <a:cubicBezTo>
                    <a:pt x="1715" y="374"/>
                    <a:pt x="1647" y="401"/>
                    <a:pt x="1585" y="401"/>
                  </a:cubicBezTo>
                  <a:cubicBezTo>
                    <a:pt x="1560" y="401"/>
                    <a:pt x="1536" y="396"/>
                    <a:pt x="1513" y="385"/>
                  </a:cubicBezTo>
                  <a:cubicBezTo>
                    <a:pt x="1478" y="364"/>
                    <a:pt x="1450" y="326"/>
                    <a:pt x="1443" y="284"/>
                  </a:cubicBezTo>
                  <a:cubicBezTo>
                    <a:pt x="1408" y="147"/>
                    <a:pt x="1121" y="32"/>
                    <a:pt x="981"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874" name="Google Shape;5874;p104"/>
            <p:cNvSpPr/>
            <p:nvPr/>
          </p:nvSpPr>
          <p:spPr>
            <a:xfrm>
              <a:off x="2129768" y="1256084"/>
              <a:ext cx="99252" cy="55546"/>
            </a:xfrm>
            <a:custGeom>
              <a:avLst/>
              <a:gdLst/>
              <a:ahLst/>
              <a:cxnLst/>
              <a:rect l="l" t="t" r="r" b="b"/>
              <a:pathLst>
                <a:path w="7310" h="4091" extrusionOk="0">
                  <a:moveTo>
                    <a:pt x="2829" y="1"/>
                  </a:moveTo>
                  <a:cubicBezTo>
                    <a:pt x="2829" y="18"/>
                    <a:pt x="2825" y="36"/>
                    <a:pt x="2822" y="50"/>
                  </a:cubicBezTo>
                  <a:cubicBezTo>
                    <a:pt x="2818" y="127"/>
                    <a:pt x="2811" y="239"/>
                    <a:pt x="2710" y="260"/>
                  </a:cubicBezTo>
                  <a:cubicBezTo>
                    <a:pt x="2654" y="270"/>
                    <a:pt x="2608" y="309"/>
                    <a:pt x="2601" y="330"/>
                  </a:cubicBezTo>
                  <a:cubicBezTo>
                    <a:pt x="2601" y="340"/>
                    <a:pt x="2615" y="365"/>
                    <a:pt x="2661" y="396"/>
                  </a:cubicBezTo>
                  <a:cubicBezTo>
                    <a:pt x="2857" y="526"/>
                    <a:pt x="3060" y="1160"/>
                    <a:pt x="3025" y="1289"/>
                  </a:cubicBezTo>
                  <a:cubicBezTo>
                    <a:pt x="3018" y="1328"/>
                    <a:pt x="2984" y="1352"/>
                    <a:pt x="2945" y="1352"/>
                  </a:cubicBezTo>
                  <a:cubicBezTo>
                    <a:pt x="2943" y="1352"/>
                    <a:pt x="2940" y="1352"/>
                    <a:pt x="2937" y="1352"/>
                  </a:cubicBezTo>
                  <a:cubicBezTo>
                    <a:pt x="2797" y="1342"/>
                    <a:pt x="2314" y="841"/>
                    <a:pt x="2290" y="589"/>
                  </a:cubicBezTo>
                  <a:cubicBezTo>
                    <a:pt x="2276" y="438"/>
                    <a:pt x="2157" y="312"/>
                    <a:pt x="2080" y="302"/>
                  </a:cubicBezTo>
                  <a:cubicBezTo>
                    <a:pt x="2066" y="302"/>
                    <a:pt x="2052" y="302"/>
                    <a:pt x="2041" y="330"/>
                  </a:cubicBezTo>
                  <a:cubicBezTo>
                    <a:pt x="2010" y="403"/>
                    <a:pt x="1964" y="466"/>
                    <a:pt x="1908" y="522"/>
                  </a:cubicBezTo>
                  <a:cubicBezTo>
                    <a:pt x="1838" y="606"/>
                    <a:pt x="1803" y="648"/>
                    <a:pt x="1828" y="722"/>
                  </a:cubicBezTo>
                  <a:cubicBezTo>
                    <a:pt x="1859" y="799"/>
                    <a:pt x="1842" y="886"/>
                    <a:pt x="1782" y="946"/>
                  </a:cubicBezTo>
                  <a:cubicBezTo>
                    <a:pt x="1755" y="974"/>
                    <a:pt x="1721" y="987"/>
                    <a:pt x="1687" y="987"/>
                  </a:cubicBezTo>
                  <a:cubicBezTo>
                    <a:pt x="1615" y="987"/>
                    <a:pt x="1545" y="926"/>
                    <a:pt x="1555" y="837"/>
                  </a:cubicBezTo>
                  <a:cubicBezTo>
                    <a:pt x="1555" y="743"/>
                    <a:pt x="1292" y="585"/>
                    <a:pt x="1198" y="575"/>
                  </a:cubicBezTo>
                  <a:cubicBezTo>
                    <a:pt x="1135" y="568"/>
                    <a:pt x="1124" y="526"/>
                    <a:pt x="1121" y="508"/>
                  </a:cubicBezTo>
                  <a:cubicBezTo>
                    <a:pt x="1117" y="445"/>
                    <a:pt x="1163" y="431"/>
                    <a:pt x="1331" y="382"/>
                  </a:cubicBezTo>
                  <a:cubicBezTo>
                    <a:pt x="1432" y="358"/>
                    <a:pt x="1534" y="326"/>
                    <a:pt x="1632" y="284"/>
                  </a:cubicBezTo>
                  <a:cubicBezTo>
                    <a:pt x="1601" y="271"/>
                    <a:pt x="1553" y="261"/>
                    <a:pt x="1504" y="261"/>
                  </a:cubicBezTo>
                  <a:cubicBezTo>
                    <a:pt x="1462" y="261"/>
                    <a:pt x="1419" y="268"/>
                    <a:pt x="1387" y="288"/>
                  </a:cubicBezTo>
                  <a:cubicBezTo>
                    <a:pt x="1332" y="322"/>
                    <a:pt x="1273" y="332"/>
                    <a:pt x="1217" y="332"/>
                  </a:cubicBezTo>
                  <a:cubicBezTo>
                    <a:pt x="1177" y="332"/>
                    <a:pt x="1138" y="327"/>
                    <a:pt x="1103" y="323"/>
                  </a:cubicBezTo>
                  <a:cubicBezTo>
                    <a:pt x="1068" y="317"/>
                    <a:pt x="1040" y="314"/>
                    <a:pt x="1017" y="314"/>
                  </a:cubicBezTo>
                  <a:cubicBezTo>
                    <a:pt x="982" y="314"/>
                    <a:pt x="960" y="322"/>
                    <a:pt x="945" y="344"/>
                  </a:cubicBezTo>
                  <a:cubicBezTo>
                    <a:pt x="898" y="408"/>
                    <a:pt x="845" y="429"/>
                    <a:pt x="791" y="429"/>
                  </a:cubicBezTo>
                  <a:cubicBezTo>
                    <a:pt x="733" y="429"/>
                    <a:pt x="674" y="404"/>
                    <a:pt x="623" y="382"/>
                  </a:cubicBezTo>
                  <a:cubicBezTo>
                    <a:pt x="581" y="361"/>
                    <a:pt x="536" y="344"/>
                    <a:pt x="490" y="333"/>
                  </a:cubicBezTo>
                  <a:cubicBezTo>
                    <a:pt x="484" y="332"/>
                    <a:pt x="478" y="331"/>
                    <a:pt x="471" y="331"/>
                  </a:cubicBezTo>
                  <a:cubicBezTo>
                    <a:pt x="417" y="331"/>
                    <a:pt x="357" y="381"/>
                    <a:pt x="298" y="428"/>
                  </a:cubicBezTo>
                  <a:cubicBezTo>
                    <a:pt x="236" y="478"/>
                    <a:pt x="170" y="533"/>
                    <a:pt x="97" y="533"/>
                  </a:cubicBezTo>
                  <a:cubicBezTo>
                    <a:pt x="79" y="533"/>
                    <a:pt x="61" y="530"/>
                    <a:pt x="42" y="522"/>
                  </a:cubicBezTo>
                  <a:cubicBezTo>
                    <a:pt x="39" y="522"/>
                    <a:pt x="28" y="536"/>
                    <a:pt x="21" y="568"/>
                  </a:cubicBezTo>
                  <a:cubicBezTo>
                    <a:pt x="0" y="648"/>
                    <a:pt x="14" y="802"/>
                    <a:pt x="123" y="974"/>
                  </a:cubicBezTo>
                  <a:cubicBezTo>
                    <a:pt x="144" y="1009"/>
                    <a:pt x="175" y="1051"/>
                    <a:pt x="210" y="1058"/>
                  </a:cubicBezTo>
                  <a:cubicBezTo>
                    <a:pt x="214" y="1059"/>
                    <a:pt x="217" y="1059"/>
                    <a:pt x="221" y="1059"/>
                  </a:cubicBezTo>
                  <a:cubicBezTo>
                    <a:pt x="257" y="1059"/>
                    <a:pt x="302" y="1027"/>
                    <a:pt x="350" y="995"/>
                  </a:cubicBezTo>
                  <a:cubicBezTo>
                    <a:pt x="419" y="947"/>
                    <a:pt x="501" y="892"/>
                    <a:pt x="599" y="892"/>
                  </a:cubicBezTo>
                  <a:cubicBezTo>
                    <a:pt x="616" y="892"/>
                    <a:pt x="633" y="893"/>
                    <a:pt x="651" y="897"/>
                  </a:cubicBezTo>
                  <a:cubicBezTo>
                    <a:pt x="700" y="900"/>
                    <a:pt x="742" y="935"/>
                    <a:pt x="760" y="981"/>
                  </a:cubicBezTo>
                  <a:cubicBezTo>
                    <a:pt x="784" y="1065"/>
                    <a:pt x="707" y="1142"/>
                    <a:pt x="599" y="1247"/>
                  </a:cubicBezTo>
                  <a:cubicBezTo>
                    <a:pt x="515" y="1328"/>
                    <a:pt x="410" y="1429"/>
                    <a:pt x="385" y="1513"/>
                  </a:cubicBezTo>
                  <a:cubicBezTo>
                    <a:pt x="347" y="1636"/>
                    <a:pt x="550" y="1783"/>
                    <a:pt x="714" y="1902"/>
                  </a:cubicBezTo>
                  <a:cubicBezTo>
                    <a:pt x="784" y="1947"/>
                    <a:pt x="847" y="2000"/>
                    <a:pt x="910" y="2056"/>
                  </a:cubicBezTo>
                  <a:cubicBezTo>
                    <a:pt x="992" y="2130"/>
                    <a:pt x="1143" y="2162"/>
                    <a:pt x="1288" y="2162"/>
                  </a:cubicBezTo>
                  <a:cubicBezTo>
                    <a:pt x="1416" y="2162"/>
                    <a:pt x="1540" y="2137"/>
                    <a:pt x="1607" y="2094"/>
                  </a:cubicBezTo>
                  <a:cubicBezTo>
                    <a:pt x="1656" y="2066"/>
                    <a:pt x="1681" y="1989"/>
                    <a:pt x="1705" y="1916"/>
                  </a:cubicBezTo>
                  <a:cubicBezTo>
                    <a:pt x="1743" y="1806"/>
                    <a:pt x="1790" y="1660"/>
                    <a:pt x="1950" y="1660"/>
                  </a:cubicBezTo>
                  <a:cubicBezTo>
                    <a:pt x="1953" y="1660"/>
                    <a:pt x="1957" y="1660"/>
                    <a:pt x="1961" y="1660"/>
                  </a:cubicBezTo>
                  <a:cubicBezTo>
                    <a:pt x="1968" y="1661"/>
                    <a:pt x="1974" y="1661"/>
                    <a:pt x="1980" y="1661"/>
                  </a:cubicBezTo>
                  <a:cubicBezTo>
                    <a:pt x="2025" y="1661"/>
                    <a:pt x="2030" y="1647"/>
                    <a:pt x="2048" y="1597"/>
                  </a:cubicBezTo>
                  <a:cubicBezTo>
                    <a:pt x="2069" y="1517"/>
                    <a:pt x="2125" y="1450"/>
                    <a:pt x="2202" y="1422"/>
                  </a:cubicBezTo>
                  <a:cubicBezTo>
                    <a:pt x="2229" y="1412"/>
                    <a:pt x="2254" y="1407"/>
                    <a:pt x="2278" y="1407"/>
                  </a:cubicBezTo>
                  <a:cubicBezTo>
                    <a:pt x="2331" y="1407"/>
                    <a:pt x="2375" y="1430"/>
                    <a:pt x="2402" y="1471"/>
                  </a:cubicBezTo>
                  <a:cubicBezTo>
                    <a:pt x="2465" y="1562"/>
                    <a:pt x="2433" y="1727"/>
                    <a:pt x="2325" y="1853"/>
                  </a:cubicBezTo>
                  <a:lnTo>
                    <a:pt x="2318" y="1863"/>
                  </a:lnTo>
                  <a:cubicBezTo>
                    <a:pt x="2325" y="1864"/>
                    <a:pt x="2334" y="1865"/>
                    <a:pt x="2344" y="1865"/>
                  </a:cubicBezTo>
                  <a:cubicBezTo>
                    <a:pt x="2424" y="1865"/>
                    <a:pt x="2584" y="1825"/>
                    <a:pt x="2703" y="1716"/>
                  </a:cubicBezTo>
                  <a:cubicBezTo>
                    <a:pt x="2776" y="1645"/>
                    <a:pt x="2843" y="1608"/>
                    <a:pt x="2901" y="1608"/>
                  </a:cubicBezTo>
                  <a:cubicBezTo>
                    <a:pt x="2925" y="1608"/>
                    <a:pt x="2948" y="1615"/>
                    <a:pt x="2969" y="1629"/>
                  </a:cubicBezTo>
                  <a:cubicBezTo>
                    <a:pt x="3060" y="1681"/>
                    <a:pt x="3060" y="1835"/>
                    <a:pt x="3028" y="1961"/>
                  </a:cubicBezTo>
                  <a:cubicBezTo>
                    <a:pt x="2993" y="2101"/>
                    <a:pt x="2843" y="2126"/>
                    <a:pt x="2692" y="2154"/>
                  </a:cubicBezTo>
                  <a:cubicBezTo>
                    <a:pt x="2563" y="2175"/>
                    <a:pt x="2426" y="2199"/>
                    <a:pt x="2363" y="2287"/>
                  </a:cubicBezTo>
                  <a:cubicBezTo>
                    <a:pt x="2269" y="2420"/>
                    <a:pt x="2090" y="2434"/>
                    <a:pt x="1919" y="2451"/>
                  </a:cubicBezTo>
                  <a:cubicBezTo>
                    <a:pt x="1758" y="2465"/>
                    <a:pt x="1593" y="2479"/>
                    <a:pt x="1499" y="2584"/>
                  </a:cubicBezTo>
                  <a:cubicBezTo>
                    <a:pt x="1453" y="2633"/>
                    <a:pt x="1453" y="2658"/>
                    <a:pt x="1453" y="2658"/>
                  </a:cubicBezTo>
                  <a:cubicBezTo>
                    <a:pt x="1468" y="2681"/>
                    <a:pt x="1543" y="2698"/>
                    <a:pt x="1656" y="2698"/>
                  </a:cubicBezTo>
                  <a:cubicBezTo>
                    <a:pt x="1734" y="2698"/>
                    <a:pt x="1830" y="2690"/>
                    <a:pt x="1936" y="2668"/>
                  </a:cubicBezTo>
                  <a:cubicBezTo>
                    <a:pt x="2144" y="2627"/>
                    <a:pt x="2469" y="2597"/>
                    <a:pt x="2729" y="2597"/>
                  </a:cubicBezTo>
                  <a:cubicBezTo>
                    <a:pt x="2862" y="2597"/>
                    <a:pt x="2978" y="2605"/>
                    <a:pt x="3053" y="2623"/>
                  </a:cubicBezTo>
                  <a:cubicBezTo>
                    <a:pt x="3084" y="2630"/>
                    <a:pt x="3183" y="2651"/>
                    <a:pt x="3172" y="2728"/>
                  </a:cubicBezTo>
                  <a:cubicBezTo>
                    <a:pt x="3158" y="2857"/>
                    <a:pt x="2727" y="2871"/>
                    <a:pt x="2542" y="2871"/>
                  </a:cubicBezTo>
                  <a:cubicBezTo>
                    <a:pt x="2255" y="2871"/>
                    <a:pt x="2171" y="2945"/>
                    <a:pt x="2150" y="2966"/>
                  </a:cubicBezTo>
                  <a:cubicBezTo>
                    <a:pt x="2139" y="2976"/>
                    <a:pt x="2132" y="2990"/>
                    <a:pt x="2132" y="3004"/>
                  </a:cubicBezTo>
                  <a:cubicBezTo>
                    <a:pt x="2136" y="3032"/>
                    <a:pt x="2129" y="3057"/>
                    <a:pt x="2111" y="3074"/>
                  </a:cubicBezTo>
                  <a:cubicBezTo>
                    <a:pt x="2088" y="3099"/>
                    <a:pt x="2057" y="3107"/>
                    <a:pt x="2015" y="3107"/>
                  </a:cubicBezTo>
                  <a:cubicBezTo>
                    <a:pt x="1980" y="3107"/>
                    <a:pt x="1938" y="3102"/>
                    <a:pt x="1887" y="3095"/>
                  </a:cubicBezTo>
                  <a:cubicBezTo>
                    <a:pt x="1840" y="3090"/>
                    <a:pt x="1780" y="3084"/>
                    <a:pt x="1726" y="3084"/>
                  </a:cubicBezTo>
                  <a:cubicBezTo>
                    <a:pt x="1676" y="3084"/>
                    <a:pt x="1633" y="3089"/>
                    <a:pt x="1611" y="3106"/>
                  </a:cubicBezTo>
                  <a:cubicBezTo>
                    <a:pt x="1604" y="3113"/>
                    <a:pt x="1600" y="3120"/>
                    <a:pt x="1600" y="3130"/>
                  </a:cubicBezTo>
                  <a:cubicBezTo>
                    <a:pt x="1590" y="3215"/>
                    <a:pt x="1751" y="3288"/>
                    <a:pt x="1880" y="3348"/>
                  </a:cubicBezTo>
                  <a:cubicBezTo>
                    <a:pt x="2003" y="3407"/>
                    <a:pt x="2104" y="3456"/>
                    <a:pt x="2139" y="3530"/>
                  </a:cubicBezTo>
                  <a:cubicBezTo>
                    <a:pt x="2149" y="3551"/>
                    <a:pt x="2198" y="3557"/>
                    <a:pt x="2253" y="3557"/>
                  </a:cubicBezTo>
                  <a:cubicBezTo>
                    <a:pt x="2297" y="3557"/>
                    <a:pt x="2344" y="3554"/>
                    <a:pt x="2381" y="3551"/>
                  </a:cubicBezTo>
                  <a:cubicBezTo>
                    <a:pt x="2430" y="3545"/>
                    <a:pt x="2477" y="3541"/>
                    <a:pt x="2520" y="3541"/>
                  </a:cubicBezTo>
                  <a:cubicBezTo>
                    <a:pt x="2564" y="3541"/>
                    <a:pt x="2603" y="3545"/>
                    <a:pt x="2636" y="3558"/>
                  </a:cubicBezTo>
                  <a:cubicBezTo>
                    <a:pt x="2675" y="3565"/>
                    <a:pt x="2706" y="3600"/>
                    <a:pt x="2710" y="3642"/>
                  </a:cubicBezTo>
                  <a:cubicBezTo>
                    <a:pt x="2713" y="3715"/>
                    <a:pt x="2629" y="3754"/>
                    <a:pt x="2514" y="3806"/>
                  </a:cubicBezTo>
                  <a:lnTo>
                    <a:pt x="2454" y="3834"/>
                  </a:lnTo>
                  <a:cubicBezTo>
                    <a:pt x="2482" y="3845"/>
                    <a:pt x="2514" y="3859"/>
                    <a:pt x="2542" y="3869"/>
                  </a:cubicBezTo>
                  <a:cubicBezTo>
                    <a:pt x="2671" y="3922"/>
                    <a:pt x="2804" y="3978"/>
                    <a:pt x="2853" y="4058"/>
                  </a:cubicBezTo>
                  <a:cubicBezTo>
                    <a:pt x="2867" y="4079"/>
                    <a:pt x="2900" y="4090"/>
                    <a:pt x="2939" y="4090"/>
                  </a:cubicBezTo>
                  <a:cubicBezTo>
                    <a:pt x="2960" y="4090"/>
                    <a:pt x="2984" y="4087"/>
                    <a:pt x="3007" y="4079"/>
                  </a:cubicBezTo>
                  <a:cubicBezTo>
                    <a:pt x="3028" y="4072"/>
                    <a:pt x="3102" y="4044"/>
                    <a:pt x="3095" y="3988"/>
                  </a:cubicBezTo>
                  <a:cubicBezTo>
                    <a:pt x="3077" y="3736"/>
                    <a:pt x="3386" y="3078"/>
                    <a:pt x="3771" y="2938"/>
                  </a:cubicBezTo>
                  <a:cubicBezTo>
                    <a:pt x="3963" y="2864"/>
                    <a:pt x="3956" y="2826"/>
                    <a:pt x="3939" y="2724"/>
                  </a:cubicBezTo>
                  <a:cubicBezTo>
                    <a:pt x="3921" y="2658"/>
                    <a:pt x="3921" y="2588"/>
                    <a:pt x="3935" y="2521"/>
                  </a:cubicBezTo>
                  <a:cubicBezTo>
                    <a:pt x="3970" y="2367"/>
                    <a:pt x="4107" y="2360"/>
                    <a:pt x="4180" y="2357"/>
                  </a:cubicBezTo>
                  <a:lnTo>
                    <a:pt x="4191" y="2357"/>
                  </a:lnTo>
                  <a:cubicBezTo>
                    <a:pt x="4086" y="2136"/>
                    <a:pt x="4187" y="2028"/>
                    <a:pt x="4401" y="1825"/>
                  </a:cubicBezTo>
                  <a:cubicBezTo>
                    <a:pt x="4551" y="1685"/>
                    <a:pt x="4674" y="1681"/>
                    <a:pt x="4796" y="1678"/>
                  </a:cubicBezTo>
                  <a:cubicBezTo>
                    <a:pt x="4891" y="1678"/>
                    <a:pt x="4982" y="1657"/>
                    <a:pt x="5069" y="1618"/>
                  </a:cubicBezTo>
                  <a:cubicBezTo>
                    <a:pt x="5140" y="1584"/>
                    <a:pt x="5202" y="1570"/>
                    <a:pt x="5255" y="1570"/>
                  </a:cubicBezTo>
                  <a:cubicBezTo>
                    <a:pt x="5321" y="1570"/>
                    <a:pt x="5371" y="1591"/>
                    <a:pt x="5402" y="1618"/>
                  </a:cubicBezTo>
                  <a:cubicBezTo>
                    <a:pt x="5437" y="1646"/>
                    <a:pt x="5455" y="1695"/>
                    <a:pt x="5437" y="1741"/>
                  </a:cubicBezTo>
                  <a:cubicBezTo>
                    <a:pt x="5427" y="1783"/>
                    <a:pt x="5378" y="1849"/>
                    <a:pt x="5209" y="1863"/>
                  </a:cubicBezTo>
                  <a:cubicBezTo>
                    <a:pt x="5129" y="1870"/>
                    <a:pt x="5125" y="1905"/>
                    <a:pt x="5122" y="1916"/>
                  </a:cubicBezTo>
                  <a:cubicBezTo>
                    <a:pt x="5111" y="1982"/>
                    <a:pt x="5199" y="2105"/>
                    <a:pt x="5315" y="2150"/>
                  </a:cubicBezTo>
                  <a:cubicBezTo>
                    <a:pt x="5451" y="2203"/>
                    <a:pt x="5472" y="2269"/>
                    <a:pt x="5469" y="2332"/>
                  </a:cubicBezTo>
                  <a:cubicBezTo>
                    <a:pt x="5479" y="2336"/>
                    <a:pt x="5486" y="2339"/>
                    <a:pt x="5497" y="2339"/>
                  </a:cubicBezTo>
                  <a:cubicBezTo>
                    <a:pt x="5563" y="2353"/>
                    <a:pt x="5619" y="2402"/>
                    <a:pt x="5640" y="2469"/>
                  </a:cubicBezTo>
                  <a:cubicBezTo>
                    <a:pt x="5682" y="2598"/>
                    <a:pt x="5598" y="2794"/>
                    <a:pt x="5434" y="2973"/>
                  </a:cubicBezTo>
                  <a:cubicBezTo>
                    <a:pt x="5406" y="2994"/>
                    <a:pt x="5388" y="3025"/>
                    <a:pt x="5378" y="3060"/>
                  </a:cubicBezTo>
                  <a:cubicBezTo>
                    <a:pt x="5386" y="3067"/>
                    <a:pt x="5413" y="3073"/>
                    <a:pt x="5457" y="3073"/>
                  </a:cubicBezTo>
                  <a:cubicBezTo>
                    <a:pt x="5538" y="3073"/>
                    <a:pt x="5678" y="3053"/>
                    <a:pt x="5885" y="2976"/>
                  </a:cubicBezTo>
                  <a:cubicBezTo>
                    <a:pt x="5981" y="2940"/>
                    <a:pt x="6052" y="2923"/>
                    <a:pt x="6106" y="2923"/>
                  </a:cubicBezTo>
                  <a:cubicBezTo>
                    <a:pt x="6146" y="2923"/>
                    <a:pt x="6176" y="2932"/>
                    <a:pt x="6200" y="2952"/>
                  </a:cubicBezTo>
                  <a:cubicBezTo>
                    <a:pt x="6256" y="2994"/>
                    <a:pt x="6249" y="3071"/>
                    <a:pt x="6242" y="3137"/>
                  </a:cubicBezTo>
                  <a:cubicBezTo>
                    <a:pt x="6235" y="3200"/>
                    <a:pt x="6232" y="3246"/>
                    <a:pt x="6260" y="3271"/>
                  </a:cubicBezTo>
                  <a:cubicBezTo>
                    <a:pt x="6273" y="3283"/>
                    <a:pt x="6290" y="3291"/>
                    <a:pt x="6307" y="3291"/>
                  </a:cubicBezTo>
                  <a:cubicBezTo>
                    <a:pt x="6314" y="3291"/>
                    <a:pt x="6320" y="3290"/>
                    <a:pt x="6326" y="3288"/>
                  </a:cubicBezTo>
                  <a:cubicBezTo>
                    <a:pt x="6463" y="3285"/>
                    <a:pt x="6697" y="3130"/>
                    <a:pt x="6851" y="2945"/>
                  </a:cubicBezTo>
                  <a:cubicBezTo>
                    <a:pt x="6946" y="2840"/>
                    <a:pt x="7072" y="2763"/>
                    <a:pt x="7208" y="2724"/>
                  </a:cubicBezTo>
                  <a:cubicBezTo>
                    <a:pt x="7247" y="2714"/>
                    <a:pt x="7278" y="2696"/>
                    <a:pt x="7310" y="2679"/>
                  </a:cubicBezTo>
                  <a:cubicBezTo>
                    <a:pt x="7307" y="2658"/>
                    <a:pt x="7292" y="2640"/>
                    <a:pt x="7275" y="2630"/>
                  </a:cubicBezTo>
                  <a:cubicBezTo>
                    <a:pt x="7249" y="2614"/>
                    <a:pt x="7209" y="2604"/>
                    <a:pt x="7163" y="2604"/>
                  </a:cubicBezTo>
                  <a:cubicBezTo>
                    <a:pt x="7117" y="2604"/>
                    <a:pt x="7065" y="2614"/>
                    <a:pt x="7012" y="2637"/>
                  </a:cubicBezTo>
                  <a:cubicBezTo>
                    <a:pt x="6954" y="2662"/>
                    <a:pt x="6865" y="2676"/>
                    <a:pt x="6774" y="2676"/>
                  </a:cubicBezTo>
                  <a:cubicBezTo>
                    <a:pt x="6640" y="2676"/>
                    <a:pt x="6503" y="2646"/>
                    <a:pt x="6459" y="2577"/>
                  </a:cubicBezTo>
                  <a:cubicBezTo>
                    <a:pt x="6449" y="2560"/>
                    <a:pt x="6417" y="2490"/>
                    <a:pt x="6494" y="2420"/>
                  </a:cubicBezTo>
                  <a:cubicBezTo>
                    <a:pt x="6554" y="2364"/>
                    <a:pt x="6564" y="2329"/>
                    <a:pt x="6564" y="2322"/>
                  </a:cubicBezTo>
                  <a:cubicBezTo>
                    <a:pt x="6542" y="2314"/>
                    <a:pt x="6519" y="2310"/>
                    <a:pt x="6497" y="2310"/>
                  </a:cubicBezTo>
                  <a:cubicBezTo>
                    <a:pt x="6481" y="2310"/>
                    <a:pt x="6465" y="2312"/>
                    <a:pt x="6449" y="2315"/>
                  </a:cubicBezTo>
                  <a:cubicBezTo>
                    <a:pt x="6432" y="2316"/>
                    <a:pt x="6411" y="2317"/>
                    <a:pt x="6388" y="2317"/>
                  </a:cubicBezTo>
                  <a:cubicBezTo>
                    <a:pt x="6222" y="2317"/>
                    <a:pt x="5934" y="2271"/>
                    <a:pt x="5906" y="2154"/>
                  </a:cubicBezTo>
                  <a:cubicBezTo>
                    <a:pt x="5899" y="2129"/>
                    <a:pt x="5896" y="2066"/>
                    <a:pt x="5994" y="2031"/>
                  </a:cubicBezTo>
                  <a:cubicBezTo>
                    <a:pt x="5997" y="2028"/>
                    <a:pt x="6004" y="2024"/>
                    <a:pt x="6008" y="2024"/>
                  </a:cubicBezTo>
                  <a:cubicBezTo>
                    <a:pt x="5997" y="2000"/>
                    <a:pt x="5983" y="1979"/>
                    <a:pt x="5962" y="1961"/>
                  </a:cubicBezTo>
                  <a:cubicBezTo>
                    <a:pt x="5898" y="1900"/>
                    <a:pt x="5791" y="1852"/>
                    <a:pt x="5727" y="1852"/>
                  </a:cubicBezTo>
                  <a:cubicBezTo>
                    <a:pt x="5725" y="1852"/>
                    <a:pt x="5723" y="1853"/>
                    <a:pt x="5721" y="1853"/>
                  </a:cubicBezTo>
                  <a:cubicBezTo>
                    <a:pt x="5713" y="1854"/>
                    <a:pt x="5705" y="1854"/>
                    <a:pt x="5698" y="1854"/>
                  </a:cubicBezTo>
                  <a:cubicBezTo>
                    <a:pt x="5653" y="1854"/>
                    <a:pt x="5610" y="1837"/>
                    <a:pt x="5577" y="1804"/>
                  </a:cubicBezTo>
                  <a:cubicBezTo>
                    <a:pt x="5511" y="1737"/>
                    <a:pt x="5525" y="1622"/>
                    <a:pt x="5535" y="1520"/>
                  </a:cubicBezTo>
                  <a:cubicBezTo>
                    <a:pt x="5535" y="1503"/>
                    <a:pt x="5539" y="1485"/>
                    <a:pt x="5542" y="1468"/>
                  </a:cubicBezTo>
                  <a:cubicBezTo>
                    <a:pt x="5521" y="1436"/>
                    <a:pt x="5378" y="1387"/>
                    <a:pt x="5318" y="1366"/>
                  </a:cubicBezTo>
                  <a:cubicBezTo>
                    <a:pt x="5202" y="1328"/>
                    <a:pt x="5146" y="1310"/>
                    <a:pt x="5143" y="1247"/>
                  </a:cubicBezTo>
                  <a:cubicBezTo>
                    <a:pt x="5143" y="1237"/>
                    <a:pt x="5143" y="1226"/>
                    <a:pt x="5146" y="1216"/>
                  </a:cubicBezTo>
                  <a:cubicBezTo>
                    <a:pt x="5111" y="1202"/>
                    <a:pt x="5073" y="1195"/>
                    <a:pt x="5034" y="1195"/>
                  </a:cubicBezTo>
                  <a:cubicBezTo>
                    <a:pt x="5020" y="1195"/>
                    <a:pt x="5006" y="1198"/>
                    <a:pt x="4992" y="1209"/>
                  </a:cubicBezTo>
                  <a:cubicBezTo>
                    <a:pt x="4958" y="1262"/>
                    <a:pt x="4899" y="1291"/>
                    <a:pt x="4837" y="1291"/>
                  </a:cubicBezTo>
                  <a:cubicBezTo>
                    <a:pt x="4818" y="1291"/>
                    <a:pt x="4798" y="1288"/>
                    <a:pt x="4779" y="1282"/>
                  </a:cubicBezTo>
                  <a:cubicBezTo>
                    <a:pt x="4702" y="1254"/>
                    <a:pt x="4653" y="1177"/>
                    <a:pt x="4656" y="1096"/>
                  </a:cubicBezTo>
                  <a:cubicBezTo>
                    <a:pt x="4656" y="1093"/>
                    <a:pt x="4656" y="1093"/>
                    <a:pt x="4653" y="1086"/>
                  </a:cubicBezTo>
                  <a:cubicBezTo>
                    <a:pt x="4622" y="1059"/>
                    <a:pt x="4536" y="1051"/>
                    <a:pt x="4447" y="1051"/>
                  </a:cubicBezTo>
                  <a:cubicBezTo>
                    <a:pt x="4364" y="1051"/>
                    <a:pt x="4279" y="1058"/>
                    <a:pt x="4236" y="1061"/>
                  </a:cubicBezTo>
                  <a:lnTo>
                    <a:pt x="4219" y="1061"/>
                  </a:lnTo>
                  <a:cubicBezTo>
                    <a:pt x="4214" y="1062"/>
                    <a:pt x="4209" y="1062"/>
                    <a:pt x="4205" y="1062"/>
                  </a:cubicBezTo>
                  <a:cubicBezTo>
                    <a:pt x="4084" y="1062"/>
                    <a:pt x="4057" y="928"/>
                    <a:pt x="4037" y="830"/>
                  </a:cubicBezTo>
                  <a:cubicBezTo>
                    <a:pt x="4023" y="753"/>
                    <a:pt x="4005" y="662"/>
                    <a:pt x="3956" y="624"/>
                  </a:cubicBezTo>
                  <a:cubicBezTo>
                    <a:pt x="3948" y="619"/>
                    <a:pt x="3940" y="616"/>
                    <a:pt x="3930" y="616"/>
                  </a:cubicBezTo>
                  <a:cubicBezTo>
                    <a:pt x="3888" y="616"/>
                    <a:pt x="3828" y="662"/>
                    <a:pt x="3760" y="722"/>
                  </a:cubicBezTo>
                  <a:cubicBezTo>
                    <a:pt x="3692" y="780"/>
                    <a:pt x="3627" y="834"/>
                    <a:pt x="3560" y="834"/>
                  </a:cubicBezTo>
                  <a:cubicBezTo>
                    <a:pt x="3551" y="834"/>
                    <a:pt x="3542" y="833"/>
                    <a:pt x="3533" y="830"/>
                  </a:cubicBezTo>
                  <a:cubicBezTo>
                    <a:pt x="3498" y="823"/>
                    <a:pt x="3470" y="802"/>
                    <a:pt x="3456" y="771"/>
                  </a:cubicBezTo>
                  <a:cubicBezTo>
                    <a:pt x="3428" y="701"/>
                    <a:pt x="3480" y="613"/>
                    <a:pt x="3550" y="501"/>
                  </a:cubicBezTo>
                  <a:cubicBezTo>
                    <a:pt x="3582" y="452"/>
                    <a:pt x="3606" y="403"/>
                    <a:pt x="3631" y="354"/>
                  </a:cubicBezTo>
                  <a:cubicBezTo>
                    <a:pt x="3627" y="333"/>
                    <a:pt x="3543" y="267"/>
                    <a:pt x="3396" y="221"/>
                  </a:cubicBezTo>
                  <a:cubicBezTo>
                    <a:pt x="3333" y="204"/>
                    <a:pt x="3282" y="198"/>
                    <a:pt x="3246" y="198"/>
                  </a:cubicBezTo>
                  <a:cubicBezTo>
                    <a:pt x="3210" y="198"/>
                    <a:pt x="3188" y="204"/>
                    <a:pt x="3183" y="211"/>
                  </a:cubicBezTo>
                  <a:cubicBezTo>
                    <a:pt x="3172" y="249"/>
                    <a:pt x="3137" y="277"/>
                    <a:pt x="3095" y="284"/>
                  </a:cubicBezTo>
                  <a:cubicBezTo>
                    <a:pt x="3093" y="284"/>
                    <a:pt x="3091" y="284"/>
                    <a:pt x="3090" y="284"/>
                  </a:cubicBezTo>
                  <a:cubicBezTo>
                    <a:pt x="3023" y="284"/>
                    <a:pt x="2982" y="219"/>
                    <a:pt x="2927" y="134"/>
                  </a:cubicBezTo>
                  <a:cubicBezTo>
                    <a:pt x="2899" y="85"/>
                    <a:pt x="2864" y="43"/>
                    <a:pt x="2829" y="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875" name="Google Shape;5875;p104"/>
            <p:cNvSpPr/>
            <p:nvPr/>
          </p:nvSpPr>
          <p:spPr>
            <a:xfrm>
              <a:off x="2248883" y="1404961"/>
              <a:ext cx="4331" cy="1914"/>
            </a:xfrm>
            <a:custGeom>
              <a:avLst/>
              <a:gdLst/>
              <a:ahLst/>
              <a:cxnLst/>
              <a:rect l="l" t="t" r="r" b="b"/>
              <a:pathLst>
                <a:path w="319" h="141" extrusionOk="0">
                  <a:moveTo>
                    <a:pt x="0" y="140"/>
                  </a:moveTo>
                  <a:cubicBezTo>
                    <a:pt x="81" y="49"/>
                    <a:pt x="200" y="0"/>
                    <a:pt x="319" y="7"/>
                  </a:cubicBezTo>
                  <a:cubicBezTo>
                    <a:pt x="200" y="0"/>
                    <a:pt x="81" y="49"/>
                    <a:pt x="0" y="14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876" name="Google Shape;5876;p104"/>
            <p:cNvSpPr/>
            <p:nvPr/>
          </p:nvSpPr>
          <p:spPr>
            <a:xfrm>
              <a:off x="2202543" y="1417887"/>
              <a:ext cx="149" cy="163"/>
            </a:xfrm>
            <a:custGeom>
              <a:avLst/>
              <a:gdLst/>
              <a:ahLst/>
              <a:cxnLst/>
              <a:rect l="l" t="t" r="r" b="b"/>
              <a:pathLst>
                <a:path w="11" h="12" extrusionOk="0">
                  <a:moveTo>
                    <a:pt x="11" y="1"/>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877" name="Google Shape;5877;p104"/>
            <p:cNvSpPr/>
            <p:nvPr/>
          </p:nvSpPr>
          <p:spPr>
            <a:xfrm>
              <a:off x="2202258" y="1418267"/>
              <a:ext cx="109" cy="109"/>
            </a:xfrm>
            <a:custGeom>
              <a:avLst/>
              <a:gdLst/>
              <a:ahLst/>
              <a:cxnLst/>
              <a:rect l="l" t="t" r="r" b="b"/>
              <a:pathLst>
                <a:path w="8" h="8" extrusionOk="0">
                  <a:moveTo>
                    <a:pt x="7" y="1"/>
                  </a:moveTo>
                  <a:lnTo>
                    <a:pt x="0" y="8"/>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878" name="Google Shape;5878;p104"/>
            <p:cNvSpPr/>
            <p:nvPr/>
          </p:nvSpPr>
          <p:spPr>
            <a:xfrm>
              <a:off x="2264334" y="1413800"/>
              <a:ext cx="14" cy="258"/>
            </a:xfrm>
            <a:custGeom>
              <a:avLst/>
              <a:gdLst/>
              <a:ahLst/>
              <a:cxnLst/>
              <a:rect l="l" t="t" r="r" b="b"/>
              <a:pathLst>
                <a:path w="1" h="19" extrusionOk="0">
                  <a:moveTo>
                    <a:pt x="0" y="1"/>
                  </a:moveTo>
                  <a:lnTo>
                    <a:pt x="0" y="18"/>
                  </a:lnTo>
                  <a:cubicBezTo>
                    <a:pt x="0" y="15"/>
                    <a:pt x="0" y="8"/>
                    <a:pt x="0" y="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879" name="Google Shape;5879;p104"/>
            <p:cNvSpPr/>
            <p:nvPr/>
          </p:nvSpPr>
          <p:spPr>
            <a:xfrm>
              <a:off x="2201688" y="1419082"/>
              <a:ext cx="109" cy="149"/>
            </a:xfrm>
            <a:custGeom>
              <a:avLst/>
              <a:gdLst/>
              <a:ahLst/>
              <a:cxnLst/>
              <a:rect l="l" t="t" r="r" b="b"/>
              <a:pathLst>
                <a:path w="8" h="11" extrusionOk="0">
                  <a:moveTo>
                    <a:pt x="7" y="0"/>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880" name="Google Shape;5880;p104"/>
            <p:cNvSpPr/>
            <p:nvPr/>
          </p:nvSpPr>
          <p:spPr>
            <a:xfrm>
              <a:off x="2201973" y="1418647"/>
              <a:ext cx="109" cy="163"/>
            </a:xfrm>
            <a:custGeom>
              <a:avLst/>
              <a:gdLst/>
              <a:ahLst/>
              <a:cxnLst/>
              <a:rect l="l" t="t" r="r" b="b"/>
              <a:pathLst>
                <a:path w="8" h="12" extrusionOk="0">
                  <a:moveTo>
                    <a:pt x="7" y="1"/>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881" name="Google Shape;5881;p104"/>
            <p:cNvSpPr/>
            <p:nvPr/>
          </p:nvSpPr>
          <p:spPr>
            <a:xfrm>
              <a:off x="2206480" y="1416040"/>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882" name="Google Shape;5882;p104"/>
            <p:cNvSpPr/>
            <p:nvPr/>
          </p:nvSpPr>
          <p:spPr>
            <a:xfrm>
              <a:off x="2202923" y="1417561"/>
              <a:ext cx="109" cy="109"/>
            </a:xfrm>
            <a:custGeom>
              <a:avLst/>
              <a:gdLst/>
              <a:ahLst/>
              <a:cxnLst/>
              <a:rect l="l" t="t" r="r" b="b"/>
              <a:pathLst>
                <a:path w="8" h="8" extrusionOk="0">
                  <a:moveTo>
                    <a:pt x="0" y="7"/>
                  </a:moveTo>
                  <a:lnTo>
                    <a:pt x="7"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883" name="Google Shape;5883;p104"/>
            <p:cNvSpPr/>
            <p:nvPr/>
          </p:nvSpPr>
          <p:spPr>
            <a:xfrm>
              <a:off x="2203249" y="1417222"/>
              <a:ext cx="109" cy="109"/>
            </a:xfrm>
            <a:custGeom>
              <a:avLst/>
              <a:gdLst/>
              <a:ahLst/>
              <a:cxnLst/>
              <a:rect l="l" t="t" r="r" b="b"/>
              <a:pathLst>
                <a:path w="8" h="8" extrusionOk="0">
                  <a:moveTo>
                    <a:pt x="8" y="1"/>
                  </a:moveTo>
                  <a:lnTo>
                    <a:pt x="1" y="8"/>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884" name="Google Shape;5884;p104"/>
            <p:cNvSpPr/>
            <p:nvPr/>
          </p:nvSpPr>
          <p:spPr>
            <a:xfrm>
              <a:off x="2205625" y="1416081"/>
              <a:ext cx="204" cy="14"/>
            </a:xfrm>
            <a:custGeom>
              <a:avLst/>
              <a:gdLst/>
              <a:ahLst/>
              <a:cxnLst/>
              <a:rect l="l" t="t" r="r" b="b"/>
              <a:pathLst>
                <a:path w="15" h="1" extrusionOk="0">
                  <a:moveTo>
                    <a:pt x="15"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885" name="Google Shape;5885;p104"/>
            <p:cNvSpPr/>
            <p:nvPr/>
          </p:nvSpPr>
          <p:spPr>
            <a:xfrm>
              <a:off x="2206060" y="1416040"/>
              <a:ext cx="204" cy="14"/>
            </a:xfrm>
            <a:custGeom>
              <a:avLst/>
              <a:gdLst/>
              <a:ahLst/>
              <a:cxnLst/>
              <a:rect l="l" t="t" r="r" b="b"/>
              <a:pathLst>
                <a:path w="15" h="1" extrusionOk="0">
                  <a:moveTo>
                    <a:pt x="14"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886" name="Google Shape;5886;p104"/>
            <p:cNvSpPr/>
            <p:nvPr/>
          </p:nvSpPr>
          <p:spPr>
            <a:xfrm>
              <a:off x="2264334" y="1414520"/>
              <a:ext cx="14" cy="299"/>
            </a:xfrm>
            <a:custGeom>
              <a:avLst/>
              <a:gdLst/>
              <a:ahLst/>
              <a:cxnLst/>
              <a:rect l="l" t="t" r="r" b="b"/>
              <a:pathLst>
                <a:path w="1" h="22" extrusionOk="0">
                  <a:moveTo>
                    <a:pt x="0" y="21"/>
                  </a:moveTo>
                  <a:lnTo>
                    <a:pt x="0" y="0"/>
                  </a:lnTo>
                  <a:cubicBezTo>
                    <a:pt x="0" y="7"/>
                    <a:pt x="0" y="14"/>
                    <a:pt x="0" y="2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887" name="Google Shape;5887;p104"/>
            <p:cNvSpPr/>
            <p:nvPr/>
          </p:nvSpPr>
          <p:spPr>
            <a:xfrm>
              <a:off x="2204104" y="1416706"/>
              <a:ext cx="68" cy="14"/>
            </a:xfrm>
            <a:custGeom>
              <a:avLst/>
              <a:gdLst/>
              <a:ahLst/>
              <a:cxnLst/>
              <a:rect l="l" t="t" r="r" b="b"/>
              <a:pathLst>
                <a:path w="5" h="1" extrusionOk="0">
                  <a:moveTo>
                    <a:pt x="4"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888" name="Google Shape;5888;p104"/>
            <p:cNvSpPr/>
            <p:nvPr/>
          </p:nvSpPr>
          <p:spPr>
            <a:xfrm>
              <a:off x="2264334" y="1413135"/>
              <a:ext cx="14" cy="258"/>
            </a:xfrm>
            <a:custGeom>
              <a:avLst/>
              <a:gdLst/>
              <a:ahLst/>
              <a:cxnLst/>
              <a:rect l="l" t="t" r="r" b="b"/>
              <a:pathLst>
                <a:path w="1" h="19" extrusionOk="0">
                  <a:moveTo>
                    <a:pt x="0" y="1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889" name="Google Shape;5889;p104"/>
            <p:cNvSpPr/>
            <p:nvPr/>
          </p:nvSpPr>
          <p:spPr>
            <a:xfrm>
              <a:off x="2204865" y="1416271"/>
              <a:ext cx="163" cy="109"/>
            </a:xfrm>
            <a:custGeom>
              <a:avLst/>
              <a:gdLst/>
              <a:ahLst/>
              <a:cxnLst/>
              <a:rect l="l" t="t" r="r" b="b"/>
              <a:pathLst>
                <a:path w="12" h="8" extrusionOk="0">
                  <a:moveTo>
                    <a:pt x="11" y="1"/>
                  </a:moveTo>
                  <a:lnTo>
                    <a:pt x="1" y="8"/>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890" name="Google Shape;5890;p104"/>
            <p:cNvSpPr/>
            <p:nvPr/>
          </p:nvSpPr>
          <p:spPr>
            <a:xfrm>
              <a:off x="2204485" y="1416461"/>
              <a:ext cx="109" cy="68"/>
            </a:xfrm>
            <a:custGeom>
              <a:avLst/>
              <a:gdLst/>
              <a:ahLst/>
              <a:cxnLst/>
              <a:rect l="l" t="t" r="r" b="b"/>
              <a:pathLst>
                <a:path w="8" h="5" extrusionOk="0">
                  <a:moveTo>
                    <a:pt x="8" y="1"/>
                  </a:moveTo>
                  <a:lnTo>
                    <a:pt x="1" y="4"/>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891" name="Google Shape;5891;p104"/>
            <p:cNvSpPr/>
            <p:nvPr/>
          </p:nvSpPr>
          <p:spPr>
            <a:xfrm>
              <a:off x="2205245" y="1416176"/>
              <a:ext cx="204" cy="68"/>
            </a:xfrm>
            <a:custGeom>
              <a:avLst/>
              <a:gdLst/>
              <a:ahLst/>
              <a:cxnLst/>
              <a:rect l="l" t="t" r="r" b="b"/>
              <a:pathLst>
                <a:path w="15" h="5" extrusionOk="0">
                  <a:moveTo>
                    <a:pt x="15" y="1"/>
                  </a:moveTo>
                  <a:lnTo>
                    <a:pt x="1" y="4"/>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892" name="Google Shape;5892;p104"/>
            <p:cNvSpPr/>
            <p:nvPr/>
          </p:nvSpPr>
          <p:spPr>
            <a:xfrm>
              <a:off x="2199162" y="1418932"/>
              <a:ext cx="54" cy="14"/>
            </a:xfrm>
            <a:custGeom>
              <a:avLst/>
              <a:gdLst/>
              <a:ahLst/>
              <a:cxnLst/>
              <a:rect l="l" t="t" r="r" b="b"/>
              <a:pathLst>
                <a:path w="4" h="1" extrusionOk="0">
                  <a:moveTo>
                    <a:pt x="4"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893" name="Google Shape;5893;p104"/>
            <p:cNvSpPr/>
            <p:nvPr/>
          </p:nvSpPr>
          <p:spPr>
            <a:xfrm>
              <a:off x="2198823" y="1419027"/>
              <a:ext cx="109" cy="14"/>
            </a:xfrm>
            <a:custGeom>
              <a:avLst/>
              <a:gdLst/>
              <a:ahLst/>
              <a:cxnLst/>
              <a:rect l="l" t="t" r="r" b="b"/>
              <a:pathLst>
                <a:path w="8" h="1" extrusionOk="0">
                  <a:moveTo>
                    <a:pt x="8"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894" name="Google Shape;5894;p104"/>
            <p:cNvSpPr/>
            <p:nvPr/>
          </p:nvSpPr>
          <p:spPr>
            <a:xfrm>
              <a:off x="2150921" y="1464471"/>
              <a:ext cx="4331" cy="8527"/>
            </a:xfrm>
            <a:custGeom>
              <a:avLst/>
              <a:gdLst/>
              <a:ahLst/>
              <a:cxnLst/>
              <a:rect l="l" t="t" r="r" b="b"/>
              <a:pathLst>
                <a:path w="319" h="628" extrusionOk="0">
                  <a:moveTo>
                    <a:pt x="319" y="0"/>
                  </a:moveTo>
                  <a:cubicBezTo>
                    <a:pt x="298" y="193"/>
                    <a:pt x="154" y="414"/>
                    <a:pt x="0" y="627"/>
                  </a:cubicBezTo>
                  <a:cubicBezTo>
                    <a:pt x="154" y="414"/>
                    <a:pt x="298" y="193"/>
                    <a:pt x="319"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895" name="Google Shape;5895;p104"/>
            <p:cNvSpPr/>
            <p:nvPr/>
          </p:nvSpPr>
          <p:spPr>
            <a:xfrm>
              <a:off x="2200248" y="1418837"/>
              <a:ext cx="163" cy="14"/>
            </a:xfrm>
            <a:custGeom>
              <a:avLst/>
              <a:gdLst/>
              <a:ahLst/>
              <a:cxnLst/>
              <a:rect l="l" t="t" r="r" b="b"/>
              <a:pathLst>
                <a:path w="12" h="1" extrusionOk="0">
                  <a:moveTo>
                    <a:pt x="11"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896" name="Google Shape;5896;p104"/>
            <p:cNvSpPr/>
            <p:nvPr/>
          </p:nvSpPr>
          <p:spPr>
            <a:xfrm>
              <a:off x="2199488" y="1418837"/>
              <a:ext cx="109" cy="14"/>
            </a:xfrm>
            <a:custGeom>
              <a:avLst/>
              <a:gdLst/>
              <a:ahLst/>
              <a:cxnLst/>
              <a:rect l="l" t="t" r="r" b="b"/>
              <a:pathLst>
                <a:path w="8" h="1" extrusionOk="0">
                  <a:moveTo>
                    <a:pt x="8"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897" name="Google Shape;5897;p104"/>
            <p:cNvSpPr/>
            <p:nvPr/>
          </p:nvSpPr>
          <p:spPr>
            <a:xfrm>
              <a:off x="2136556" y="1531015"/>
              <a:ext cx="68" cy="353"/>
            </a:xfrm>
            <a:custGeom>
              <a:avLst/>
              <a:gdLst/>
              <a:ahLst/>
              <a:cxnLst/>
              <a:rect l="l" t="t" r="r" b="b"/>
              <a:pathLst>
                <a:path w="5" h="26" extrusionOk="0">
                  <a:moveTo>
                    <a:pt x="1" y="1"/>
                  </a:moveTo>
                  <a:cubicBezTo>
                    <a:pt x="1" y="8"/>
                    <a:pt x="4" y="18"/>
                    <a:pt x="4" y="25"/>
                  </a:cubicBezTo>
                  <a:cubicBezTo>
                    <a:pt x="4" y="18"/>
                    <a:pt x="1" y="8"/>
                    <a:pt x="1" y="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898" name="Google Shape;5898;p104"/>
            <p:cNvSpPr/>
            <p:nvPr/>
          </p:nvSpPr>
          <p:spPr>
            <a:xfrm>
              <a:off x="2201158" y="1419082"/>
              <a:ext cx="244" cy="109"/>
            </a:xfrm>
            <a:custGeom>
              <a:avLst/>
              <a:gdLst/>
              <a:ahLst/>
              <a:cxnLst/>
              <a:rect l="l" t="t" r="r" b="b"/>
              <a:pathLst>
                <a:path w="18" h="8" extrusionOk="0">
                  <a:moveTo>
                    <a:pt x="18" y="7"/>
                  </a:moveTo>
                  <a:lnTo>
                    <a:pt x="1"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899" name="Google Shape;5899;p104"/>
            <p:cNvSpPr/>
            <p:nvPr/>
          </p:nvSpPr>
          <p:spPr>
            <a:xfrm>
              <a:off x="2188422" y="1425300"/>
              <a:ext cx="4290" cy="1208"/>
            </a:xfrm>
            <a:custGeom>
              <a:avLst/>
              <a:gdLst/>
              <a:ahLst/>
              <a:cxnLst/>
              <a:rect l="l" t="t" r="r" b="b"/>
              <a:pathLst>
                <a:path w="316" h="89" extrusionOk="0">
                  <a:moveTo>
                    <a:pt x="0" y="11"/>
                  </a:moveTo>
                  <a:cubicBezTo>
                    <a:pt x="105" y="8"/>
                    <a:pt x="214" y="1"/>
                    <a:pt x="315" y="88"/>
                  </a:cubicBezTo>
                  <a:cubicBezTo>
                    <a:pt x="214" y="1"/>
                    <a:pt x="105" y="8"/>
                    <a:pt x="0" y="1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900" name="Google Shape;5900;p104"/>
            <p:cNvSpPr/>
            <p:nvPr/>
          </p:nvSpPr>
          <p:spPr>
            <a:xfrm>
              <a:off x="2199828" y="1418837"/>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901" name="Google Shape;5901;p104"/>
            <p:cNvSpPr/>
            <p:nvPr/>
          </p:nvSpPr>
          <p:spPr>
            <a:xfrm>
              <a:off x="2200683" y="1418932"/>
              <a:ext cx="204" cy="68"/>
            </a:xfrm>
            <a:custGeom>
              <a:avLst/>
              <a:gdLst/>
              <a:ahLst/>
              <a:cxnLst/>
              <a:rect l="l" t="t" r="r" b="b"/>
              <a:pathLst>
                <a:path w="15" h="5" extrusionOk="0">
                  <a:moveTo>
                    <a:pt x="15" y="4"/>
                  </a:moveTo>
                  <a:lnTo>
                    <a:pt x="1"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902" name="Google Shape;5902;p104"/>
            <p:cNvSpPr/>
            <p:nvPr/>
          </p:nvSpPr>
          <p:spPr>
            <a:xfrm>
              <a:off x="2133705" y="1540573"/>
              <a:ext cx="109" cy="14"/>
            </a:xfrm>
            <a:custGeom>
              <a:avLst/>
              <a:gdLst/>
              <a:ahLst/>
              <a:cxnLst/>
              <a:rect l="l" t="t" r="r" b="b"/>
              <a:pathLst>
                <a:path w="8" h="1" extrusionOk="0">
                  <a:moveTo>
                    <a:pt x="8"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903" name="Google Shape;5903;p104"/>
            <p:cNvSpPr/>
            <p:nvPr/>
          </p:nvSpPr>
          <p:spPr>
            <a:xfrm>
              <a:off x="2134275" y="1540668"/>
              <a:ext cx="163" cy="54"/>
            </a:xfrm>
            <a:custGeom>
              <a:avLst/>
              <a:gdLst/>
              <a:ahLst/>
              <a:cxnLst/>
              <a:rect l="l" t="t" r="r" b="b"/>
              <a:pathLst>
                <a:path w="12" h="4" extrusionOk="0">
                  <a:moveTo>
                    <a:pt x="11" y="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904" name="Google Shape;5904;p104"/>
            <p:cNvSpPr/>
            <p:nvPr/>
          </p:nvSpPr>
          <p:spPr>
            <a:xfrm>
              <a:off x="3024851" y="1777922"/>
              <a:ext cx="15655" cy="12165"/>
            </a:xfrm>
            <a:custGeom>
              <a:avLst/>
              <a:gdLst/>
              <a:ahLst/>
              <a:cxnLst/>
              <a:rect l="l" t="t" r="r" b="b"/>
              <a:pathLst>
                <a:path w="1153" h="896" extrusionOk="0">
                  <a:moveTo>
                    <a:pt x="939" y="0"/>
                  </a:moveTo>
                  <a:cubicBezTo>
                    <a:pt x="840" y="0"/>
                    <a:pt x="749" y="35"/>
                    <a:pt x="732" y="83"/>
                  </a:cubicBezTo>
                  <a:cubicBezTo>
                    <a:pt x="673" y="244"/>
                    <a:pt x="533" y="248"/>
                    <a:pt x="386" y="251"/>
                  </a:cubicBezTo>
                  <a:cubicBezTo>
                    <a:pt x="312" y="255"/>
                    <a:pt x="239" y="258"/>
                    <a:pt x="165" y="272"/>
                  </a:cubicBezTo>
                  <a:cubicBezTo>
                    <a:pt x="74" y="290"/>
                    <a:pt x="22" y="433"/>
                    <a:pt x="11" y="570"/>
                  </a:cubicBezTo>
                  <a:cubicBezTo>
                    <a:pt x="1" y="731"/>
                    <a:pt x="46" y="857"/>
                    <a:pt x="92" y="871"/>
                  </a:cubicBezTo>
                  <a:cubicBezTo>
                    <a:pt x="140" y="887"/>
                    <a:pt x="177" y="895"/>
                    <a:pt x="205" y="895"/>
                  </a:cubicBezTo>
                  <a:cubicBezTo>
                    <a:pt x="224" y="895"/>
                    <a:pt x="240" y="892"/>
                    <a:pt x="253" y="885"/>
                  </a:cubicBezTo>
                  <a:cubicBezTo>
                    <a:pt x="288" y="857"/>
                    <a:pt x="309" y="818"/>
                    <a:pt x="316" y="773"/>
                  </a:cubicBezTo>
                  <a:cubicBezTo>
                    <a:pt x="340" y="675"/>
                    <a:pt x="410" y="591"/>
                    <a:pt x="505" y="552"/>
                  </a:cubicBezTo>
                  <a:cubicBezTo>
                    <a:pt x="564" y="524"/>
                    <a:pt x="628" y="510"/>
                    <a:pt x="692" y="510"/>
                  </a:cubicBezTo>
                  <a:cubicBezTo>
                    <a:pt x="755" y="510"/>
                    <a:pt x="818" y="524"/>
                    <a:pt x="876" y="552"/>
                  </a:cubicBezTo>
                  <a:cubicBezTo>
                    <a:pt x="879" y="554"/>
                    <a:pt x="887" y="557"/>
                    <a:pt x="900" y="557"/>
                  </a:cubicBezTo>
                  <a:cubicBezTo>
                    <a:pt x="913" y="557"/>
                    <a:pt x="930" y="554"/>
                    <a:pt x="953" y="542"/>
                  </a:cubicBezTo>
                  <a:cubicBezTo>
                    <a:pt x="1058" y="475"/>
                    <a:pt x="1152" y="279"/>
                    <a:pt x="1152" y="125"/>
                  </a:cubicBezTo>
                  <a:cubicBezTo>
                    <a:pt x="1152" y="41"/>
                    <a:pt x="1051" y="13"/>
                    <a:pt x="1009" y="6"/>
                  </a:cubicBezTo>
                  <a:cubicBezTo>
                    <a:pt x="986" y="2"/>
                    <a:pt x="962" y="0"/>
                    <a:pt x="939"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905" name="Google Shape;5905;p104"/>
            <p:cNvSpPr/>
            <p:nvPr/>
          </p:nvSpPr>
          <p:spPr>
            <a:xfrm>
              <a:off x="3003846" y="1783461"/>
              <a:ext cx="16795" cy="20366"/>
            </a:xfrm>
            <a:custGeom>
              <a:avLst/>
              <a:gdLst/>
              <a:ahLst/>
              <a:cxnLst/>
              <a:rect l="l" t="t" r="r" b="b"/>
              <a:pathLst>
                <a:path w="1237" h="1500" extrusionOk="0">
                  <a:moveTo>
                    <a:pt x="635" y="0"/>
                  </a:moveTo>
                  <a:cubicBezTo>
                    <a:pt x="574" y="0"/>
                    <a:pt x="441" y="49"/>
                    <a:pt x="266" y="176"/>
                  </a:cubicBezTo>
                  <a:lnTo>
                    <a:pt x="200" y="221"/>
                  </a:lnTo>
                  <a:cubicBezTo>
                    <a:pt x="4" y="365"/>
                    <a:pt x="0" y="372"/>
                    <a:pt x="60" y="477"/>
                  </a:cubicBezTo>
                  <a:cubicBezTo>
                    <a:pt x="63" y="487"/>
                    <a:pt x="84" y="522"/>
                    <a:pt x="102" y="522"/>
                  </a:cubicBezTo>
                  <a:cubicBezTo>
                    <a:pt x="133" y="519"/>
                    <a:pt x="203" y="449"/>
                    <a:pt x="245" y="326"/>
                  </a:cubicBezTo>
                  <a:cubicBezTo>
                    <a:pt x="270" y="263"/>
                    <a:pt x="308" y="246"/>
                    <a:pt x="333" y="242"/>
                  </a:cubicBezTo>
                  <a:lnTo>
                    <a:pt x="347" y="242"/>
                  </a:lnTo>
                  <a:cubicBezTo>
                    <a:pt x="382" y="246"/>
                    <a:pt x="413" y="263"/>
                    <a:pt x="434" y="295"/>
                  </a:cubicBezTo>
                  <a:cubicBezTo>
                    <a:pt x="511" y="407"/>
                    <a:pt x="557" y="708"/>
                    <a:pt x="448" y="928"/>
                  </a:cubicBezTo>
                  <a:cubicBezTo>
                    <a:pt x="371" y="1093"/>
                    <a:pt x="385" y="1289"/>
                    <a:pt x="483" y="1439"/>
                  </a:cubicBezTo>
                  <a:cubicBezTo>
                    <a:pt x="503" y="1465"/>
                    <a:pt x="537" y="1500"/>
                    <a:pt x="575" y="1500"/>
                  </a:cubicBezTo>
                  <a:cubicBezTo>
                    <a:pt x="578" y="1500"/>
                    <a:pt x="581" y="1500"/>
                    <a:pt x="585" y="1499"/>
                  </a:cubicBezTo>
                  <a:cubicBezTo>
                    <a:pt x="648" y="1485"/>
                    <a:pt x="774" y="1254"/>
                    <a:pt x="868" y="1082"/>
                  </a:cubicBezTo>
                  <a:cubicBezTo>
                    <a:pt x="952" y="914"/>
                    <a:pt x="1050" y="753"/>
                    <a:pt x="1163" y="599"/>
                  </a:cubicBezTo>
                  <a:cubicBezTo>
                    <a:pt x="1236" y="505"/>
                    <a:pt x="1233" y="477"/>
                    <a:pt x="1233" y="477"/>
                  </a:cubicBezTo>
                  <a:cubicBezTo>
                    <a:pt x="1215" y="466"/>
                    <a:pt x="1198" y="456"/>
                    <a:pt x="1180" y="452"/>
                  </a:cubicBezTo>
                  <a:cubicBezTo>
                    <a:pt x="1124" y="428"/>
                    <a:pt x="1033" y="393"/>
                    <a:pt x="1033" y="284"/>
                  </a:cubicBezTo>
                  <a:cubicBezTo>
                    <a:pt x="1033" y="253"/>
                    <a:pt x="970" y="228"/>
                    <a:pt x="889" y="200"/>
                  </a:cubicBezTo>
                  <a:cubicBezTo>
                    <a:pt x="795" y="169"/>
                    <a:pt x="676" y="130"/>
                    <a:pt x="662" y="18"/>
                  </a:cubicBezTo>
                  <a:cubicBezTo>
                    <a:pt x="662" y="8"/>
                    <a:pt x="658" y="4"/>
                    <a:pt x="658" y="4"/>
                  </a:cubicBezTo>
                  <a:cubicBezTo>
                    <a:pt x="653" y="2"/>
                    <a:pt x="645" y="0"/>
                    <a:pt x="635"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906" name="Google Shape;5906;p104"/>
            <p:cNvSpPr/>
            <p:nvPr/>
          </p:nvSpPr>
          <p:spPr>
            <a:xfrm>
              <a:off x="3013581" y="1718520"/>
              <a:ext cx="82443" cy="64127"/>
            </a:xfrm>
            <a:custGeom>
              <a:avLst/>
              <a:gdLst/>
              <a:ahLst/>
              <a:cxnLst/>
              <a:rect l="l" t="t" r="r" b="b"/>
              <a:pathLst>
                <a:path w="6072" h="4723" extrusionOk="0">
                  <a:moveTo>
                    <a:pt x="5648" y="0"/>
                  </a:moveTo>
                  <a:cubicBezTo>
                    <a:pt x="5557" y="0"/>
                    <a:pt x="5329" y="141"/>
                    <a:pt x="5228" y="204"/>
                  </a:cubicBezTo>
                  <a:cubicBezTo>
                    <a:pt x="5172" y="243"/>
                    <a:pt x="5119" y="275"/>
                    <a:pt x="5084" y="292"/>
                  </a:cubicBezTo>
                  <a:cubicBezTo>
                    <a:pt x="5028" y="320"/>
                    <a:pt x="4955" y="464"/>
                    <a:pt x="4937" y="632"/>
                  </a:cubicBezTo>
                  <a:cubicBezTo>
                    <a:pt x="4923" y="761"/>
                    <a:pt x="4948" y="870"/>
                    <a:pt x="5000" y="912"/>
                  </a:cubicBezTo>
                  <a:cubicBezTo>
                    <a:pt x="5140" y="1027"/>
                    <a:pt x="5025" y="1181"/>
                    <a:pt x="4923" y="1321"/>
                  </a:cubicBezTo>
                  <a:cubicBezTo>
                    <a:pt x="4839" y="1433"/>
                    <a:pt x="4741" y="1563"/>
                    <a:pt x="4748" y="1685"/>
                  </a:cubicBezTo>
                  <a:cubicBezTo>
                    <a:pt x="4759" y="1895"/>
                    <a:pt x="4640" y="1990"/>
                    <a:pt x="4545" y="2063"/>
                  </a:cubicBezTo>
                  <a:cubicBezTo>
                    <a:pt x="4478" y="2116"/>
                    <a:pt x="4422" y="2161"/>
                    <a:pt x="4405" y="2238"/>
                  </a:cubicBezTo>
                  <a:cubicBezTo>
                    <a:pt x="4370" y="2407"/>
                    <a:pt x="4265" y="2456"/>
                    <a:pt x="4142" y="2512"/>
                  </a:cubicBezTo>
                  <a:cubicBezTo>
                    <a:pt x="4051" y="2554"/>
                    <a:pt x="3964" y="2603"/>
                    <a:pt x="3880" y="2666"/>
                  </a:cubicBezTo>
                  <a:cubicBezTo>
                    <a:pt x="3786" y="2738"/>
                    <a:pt x="3707" y="2761"/>
                    <a:pt x="3645" y="2761"/>
                  </a:cubicBezTo>
                  <a:cubicBezTo>
                    <a:pt x="3574" y="2761"/>
                    <a:pt x="3524" y="2732"/>
                    <a:pt x="3498" y="2711"/>
                  </a:cubicBezTo>
                  <a:cubicBezTo>
                    <a:pt x="3428" y="2652"/>
                    <a:pt x="3393" y="2564"/>
                    <a:pt x="3407" y="2477"/>
                  </a:cubicBezTo>
                  <a:lnTo>
                    <a:pt x="3407" y="2477"/>
                  </a:lnTo>
                  <a:cubicBezTo>
                    <a:pt x="3355" y="2501"/>
                    <a:pt x="3309" y="2536"/>
                    <a:pt x="3271" y="2578"/>
                  </a:cubicBezTo>
                  <a:cubicBezTo>
                    <a:pt x="3190" y="2655"/>
                    <a:pt x="3148" y="2760"/>
                    <a:pt x="3148" y="2869"/>
                  </a:cubicBezTo>
                  <a:cubicBezTo>
                    <a:pt x="3159" y="3100"/>
                    <a:pt x="2991" y="3219"/>
                    <a:pt x="2882" y="3296"/>
                  </a:cubicBezTo>
                  <a:cubicBezTo>
                    <a:pt x="2847" y="3320"/>
                    <a:pt x="2795" y="3355"/>
                    <a:pt x="2791" y="3373"/>
                  </a:cubicBezTo>
                  <a:cubicBezTo>
                    <a:pt x="2791" y="3376"/>
                    <a:pt x="2795" y="3380"/>
                    <a:pt x="2795" y="3383"/>
                  </a:cubicBezTo>
                  <a:cubicBezTo>
                    <a:pt x="2837" y="3436"/>
                    <a:pt x="2833" y="3509"/>
                    <a:pt x="2791" y="3562"/>
                  </a:cubicBezTo>
                  <a:cubicBezTo>
                    <a:pt x="2735" y="3631"/>
                    <a:pt x="2614" y="3670"/>
                    <a:pt x="2515" y="3670"/>
                  </a:cubicBezTo>
                  <a:cubicBezTo>
                    <a:pt x="2477" y="3670"/>
                    <a:pt x="2443" y="3664"/>
                    <a:pt x="2416" y="3653"/>
                  </a:cubicBezTo>
                  <a:cubicBezTo>
                    <a:pt x="2364" y="3635"/>
                    <a:pt x="2329" y="3583"/>
                    <a:pt x="2336" y="3527"/>
                  </a:cubicBezTo>
                  <a:cubicBezTo>
                    <a:pt x="2331" y="3525"/>
                    <a:pt x="2320" y="3523"/>
                    <a:pt x="2301" y="3523"/>
                  </a:cubicBezTo>
                  <a:cubicBezTo>
                    <a:pt x="2242" y="3523"/>
                    <a:pt x="2098" y="3545"/>
                    <a:pt x="1762" y="3677"/>
                  </a:cubicBezTo>
                  <a:cubicBezTo>
                    <a:pt x="1678" y="3710"/>
                    <a:pt x="1601" y="3721"/>
                    <a:pt x="1529" y="3721"/>
                  </a:cubicBezTo>
                  <a:cubicBezTo>
                    <a:pt x="1431" y="3721"/>
                    <a:pt x="1343" y="3699"/>
                    <a:pt x="1268" y="3681"/>
                  </a:cubicBezTo>
                  <a:cubicBezTo>
                    <a:pt x="1201" y="3664"/>
                    <a:pt x="1150" y="3653"/>
                    <a:pt x="1107" y="3653"/>
                  </a:cubicBezTo>
                  <a:cubicBezTo>
                    <a:pt x="1058" y="3653"/>
                    <a:pt x="1019" y="3668"/>
                    <a:pt x="978" y="3709"/>
                  </a:cubicBezTo>
                  <a:lnTo>
                    <a:pt x="939" y="3747"/>
                  </a:lnTo>
                  <a:cubicBezTo>
                    <a:pt x="715" y="3971"/>
                    <a:pt x="379" y="4311"/>
                    <a:pt x="102" y="4360"/>
                  </a:cubicBezTo>
                  <a:cubicBezTo>
                    <a:pt x="32" y="4374"/>
                    <a:pt x="1" y="4405"/>
                    <a:pt x="4" y="4458"/>
                  </a:cubicBezTo>
                  <a:cubicBezTo>
                    <a:pt x="8" y="4500"/>
                    <a:pt x="29" y="4535"/>
                    <a:pt x="64" y="4556"/>
                  </a:cubicBezTo>
                  <a:cubicBezTo>
                    <a:pt x="162" y="4507"/>
                    <a:pt x="281" y="4500"/>
                    <a:pt x="386" y="4497"/>
                  </a:cubicBezTo>
                  <a:cubicBezTo>
                    <a:pt x="488" y="4490"/>
                    <a:pt x="600" y="4486"/>
                    <a:pt x="638" y="4430"/>
                  </a:cubicBezTo>
                  <a:cubicBezTo>
                    <a:pt x="764" y="4237"/>
                    <a:pt x="1639" y="4076"/>
                    <a:pt x="2063" y="4062"/>
                  </a:cubicBezTo>
                  <a:lnTo>
                    <a:pt x="2108" y="4062"/>
                  </a:lnTo>
                  <a:cubicBezTo>
                    <a:pt x="2252" y="4062"/>
                    <a:pt x="2336" y="4087"/>
                    <a:pt x="2381" y="4146"/>
                  </a:cubicBezTo>
                  <a:cubicBezTo>
                    <a:pt x="2438" y="4216"/>
                    <a:pt x="2409" y="4307"/>
                    <a:pt x="2385" y="4398"/>
                  </a:cubicBezTo>
                  <a:cubicBezTo>
                    <a:pt x="2364" y="4465"/>
                    <a:pt x="2353" y="4535"/>
                    <a:pt x="2357" y="4605"/>
                  </a:cubicBezTo>
                  <a:cubicBezTo>
                    <a:pt x="2360" y="4658"/>
                    <a:pt x="2395" y="4700"/>
                    <a:pt x="2448" y="4714"/>
                  </a:cubicBezTo>
                  <a:cubicBezTo>
                    <a:pt x="2467" y="4719"/>
                    <a:pt x="2490" y="4722"/>
                    <a:pt x="2514" y="4722"/>
                  </a:cubicBezTo>
                  <a:cubicBezTo>
                    <a:pt x="2627" y="4722"/>
                    <a:pt x="2783" y="4662"/>
                    <a:pt x="2889" y="4539"/>
                  </a:cubicBezTo>
                  <a:cubicBezTo>
                    <a:pt x="2945" y="4472"/>
                    <a:pt x="3012" y="4409"/>
                    <a:pt x="3082" y="4356"/>
                  </a:cubicBezTo>
                  <a:cubicBezTo>
                    <a:pt x="3103" y="4339"/>
                    <a:pt x="3120" y="4325"/>
                    <a:pt x="3138" y="4304"/>
                  </a:cubicBezTo>
                  <a:cubicBezTo>
                    <a:pt x="3124" y="4286"/>
                    <a:pt x="3110" y="4272"/>
                    <a:pt x="3092" y="4258"/>
                  </a:cubicBezTo>
                  <a:cubicBezTo>
                    <a:pt x="2987" y="4174"/>
                    <a:pt x="2994" y="4094"/>
                    <a:pt x="3005" y="4062"/>
                  </a:cubicBezTo>
                  <a:cubicBezTo>
                    <a:pt x="3019" y="4010"/>
                    <a:pt x="3061" y="3971"/>
                    <a:pt x="3117" y="3964"/>
                  </a:cubicBezTo>
                  <a:cubicBezTo>
                    <a:pt x="3125" y="3963"/>
                    <a:pt x="3133" y="3962"/>
                    <a:pt x="3142" y="3962"/>
                  </a:cubicBezTo>
                  <a:cubicBezTo>
                    <a:pt x="3204" y="3962"/>
                    <a:pt x="3287" y="3996"/>
                    <a:pt x="3348" y="4090"/>
                  </a:cubicBezTo>
                  <a:cubicBezTo>
                    <a:pt x="3397" y="4160"/>
                    <a:pt x="3502" y="4206"/>
                    <a:pt x="3614" y="4206"/>
                  </a:cubicBezTo>
                  <a:lnTo>
                    <a:pt x="3621" y="4206"/>
                  </a:lnTo>
                  <a:cubicBezTo>
                    <a:pt x="3624" y="4206"/>
                    <a:pt x="3627" y="4206"/>
                    <a:pt x="3631" y="4206"/>
                  </a:cubicBezTo>
                  <a:cubicBezTo>
                    <a:pt x="3753" y="4206"/>
                    <a:pt x="3868" y="4144"/>
                    <a:pt x="3936" y="4045"/>
                  </a:cubicBezTo>
                  <a:cubicBezTo>
                    <a:pt x="3985" y="3961"/>
                    <a:pt x="4034" y="3919"/>
                    <a:pt x="4090" y="3912"/>
                  </a:cubicBezTo>
                  <a:cubicBezTo>
                    <a:pt x="4097" y="3911"/>
                    <a:pt x="4105" y="3910"/>
                    <a:pt x="4111" y="3910"/>
                  </a:cubicBezTo>
                  <a:cubicBezTo>
                    <a:pt x="4170" y="3910"/>
                    <a:pt x="4214" y="3947"/>
                    <a:pt x="4254" y="3982"/>
                  </a:cubicBezTo>
                  <a:cubicBezTo>
                    <a:pt x="4298" y="4018"/>
                    <a:pt x="4338" y="4049"/>
                    <a:pt x="4381" y="4049"/>
                  </a:cubicBezTo>
                  <a:cubicBezTo>
                    <a:pt x="4383" y="4049"/>
                    <a:pt x="4385" y="4049"/>
                    <a:pt x="4387" y="4048"/>
                  </a:cubicBezTo>
                  <a:cubicBezTo>
                    <a:pt x="4461" y="4041"/>
                    <a:pt x="4542" y="3891"/>
                    <a:pt x="4584" y="3810"/>
                  </a:cubicBezTo>
                  <a:cubicBezTo>
                    <a:pt x="4621" y="3738"/>
                    <a:pt x="4648" y="3686"/>
                    <a:pt x="4696" y="3686"/>
                  </a:cubicBezTo>
                  <a:cubicBezTo>
                    <a:pt x="4701" y="3686"/>
                    <a:pt x="4707" y="3686"/>
                    <a:pt x="4713" y="3688"/>
                  </a:cubicBezTo>
                  <a:cubicBezTo>
                    <a:pt x="4773" y="3698"/>
                    <a:pt x="4780" y="3761"/>
                    <a:pt x="4780" y="3782"/>
                  </a:cubicBezTo>
                  <a:cubicBezTo>
                    <a:pt x="4780" y="3803"/>
                    <a:pt x="4794" y="3821"/>
                    <a:pt x="4815" y="3828"/>
                  </a:cubicBezTo>
                  <a:cubicBezTo>
                    <a:pt x="4828" y="3832"/>
                    <a:pt x="4843" y="3835"/>
                    <a:pt x="4860" y="3835"/>
                  </a:cubicBezTo>
                  <a:cubicBezTo>
                    <a:pt x="4948" y="3835"/>
                    <a:pt x="5083" y="3775"/>
                    <a:pt x="5186" y="3663"/>
                  </a:cubicBezTo>
                  <a:cubicBezTo>
                    <a:pt x="5273" y="3569"/>
                    <a:pt x="5266" y="3425"/>
                    <a:pt x="5263" y="3275"/>
                  </a:cubicBezTo>
                  <a:cubicBezTo>
                    <a:pt x="5259" y="3142"/>
                    <a:pt x="5252" y="3002"/>
                    <a:pt x="5322" y="2897"/>
                  </a:cubicBezTo>
                  <a:cubicBezTo>
                    <a:pt x="5448" y="2708"/>
                    <a:pt x="5564" y="2337"/>
                    <a:pt x="5448" y="2123"/>
                  </a:cubicBezTo>
                  <a:cubicBezTo>
                    <a:pt x="5329" y="1895"/>
                    <a:pt x="5560" y="1738"/>
                    <a:pt x="5763" y="1598"/>
                  </a:cubicBezTo>
                  <a:cubicBezTo>
                    <a:pt x="5833" y="1552"/>
                    <a:pt x="5900" y="1500"/>
                    <a:pt x="5963" y="1447"/>
                  </a:cubicBezTo>
                  <a:cubicBezTo>
                    <a:pt x="6071" y="1349"/>
                    <a:pt x="5917" y="866"/>
                    <a:pt x="5816" y="548"/>
                  </a:cubicBezTo>
                  <a:cubicBezTo>
                    <a:pt x="5749" y="334"/>
                    <a:pt x="5690" y="152"/>
                    <a:pt x="5683" y="43"/>
                  </a:cubicBezTo>
                  <a:cubicBezTo>
                    <a:pt x="5683" y="26"/>
                    <a:pt x="5679" y="8"/>
                    <a:pt x="5672" y="5"/>
                  </a:cubicBezTo>
                  <a:cubicBezTo>
                    <a:pt x="5666" y="2"/>
                    <a:pt x="5658" y="0"/>
                    <a:pt x="5648"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907" name="Google Shape;5907;p104"/>
            <p:cNvSpPr/>
            <p:nvPr/>
          </p:nvSpPr>
          <p:spPr>
            <a:xfrm>
              <a:off x="3080939" y="1680503"/>
              <a:ext cx="45973" cy="34283"/>
            </a:xfrm>
            <a:custGeom>
              <a:avLst/>
              <a:gdLst/>
              <a:ahLst/>
              <a:cxnLst/>
              <a:rect l="l" t="t" r="r" b="b"/>
              <a:pathLst>
                <a:path w="3386" h="2525" extrusionOk="0">
                  <a:moveTo>
                    <a:pt x="1100" y="1"/>
                  </a:moveTo>
                  <a:cubicBezTo>
                    <a:pt x="1058" y="4"/>
                    <a:pt x="1019" y="29"/>
                    <a:pt x="1002" y="71"/>
                  </a:cubicBezTo>
                  <a:cubicBezTo>
                    <a:pt x="984" y="109"/>
                    <a:pt x="991" y="158"/>
                    <a:pt x="1023" y="190"/>
                  </a:cubicBezTo>
                  <a:cubicBezTo>
                    <a:pt x="1142" y="344"/>
                    <a:pt x="1100" y="449"/>
                    <a:pt x="1058" y="550"/>
                  </a:cubicBezTo>
                  <a:cubicBezTo>
                    <a:pt x="1023" y="627"/>
                    <a:pt x="1005" y="711"/>
                    <a:pt x="1002" y="795"/>
                  </a:cubicBezTo>
                  <a:cubicBezTo>
                    <a:pt x="1005" y="914"/>
                    <a:pt x="967" y="1030"/>
                    <a:pt x="890" y="1121"/>
                  </a:cubicBezTo>
                  <a:cubicBezTo>
                    <a:pt x="851" y="1174"/>
                    <a:pt x="830" y="1205"/>
                    <a:pt x="841" y="1268"/>
                  </a:cubicBezTo>
                  <a:cubicBezTo>
                    <a:pt x="851" y="1321"/>
                    <a:pt x="841" y="1373"/>
                    <a:pt x="809" y="1415"/>
                  </a:cubicBezTo>
                  <a:cubicBezTo>
                    <a:pt x="743" y="1503"/>
                    <a:pt x="603" y="1513"/>
                    <a:pt x="466" y="1524"/>
                  </a:cubicBezTo>
                  <a:cubicBezTo>
                    <a:pt x="421" y="1527"/>
                    <a:pt x="375" y="1531"/>
                    <a:pt x="333" y="1538"/>
                  </a:cubicBezTo>
                  <a:cubicBezTo>
                    <a:pt x="295" y="1545"/>
                    <a:pt x="295" y="1548"/>
                    <a:pt x="295" y="1608"/>
                  </a:cubicBezTo>
                  <a:cubicBezTo>
                    <a:pt x="295" y="1678"/>
                    <a:pt x="295" y="1797"/>
                    <a:pt x="137" y="1863"/>
                  </a:cubicBezTo>
                  <a:cubicBezTo>
                    <a:pt x="53" y="1898"/>
                    <a:pt x="4" y="1947"/>
                    <a:pt x="1" y="1993"/>
                  </a:cubicBezTo>
                  <a:cubicBezTo>
                    <a:pt x="1" y="2024"/>
                    <a:pt x="18" y="2056"/>
                    <a:pt x="50" y="2070"/>
                  </a:cubicBezTo>
                  <a:cubicBezTo>
                    <a:pt x="186" y="2147"/>
                    <a:pt x="137" y="2332"/>
                    <a:pt x="99" y="2483"/>
                  </a:cubicBezTo>
                  <a:lnTo>
                    <a:pt x="88" y="2525"/>
                  </a:lnTo>
                  <a:cubicBezTo>
                    <a:pt x="144" y="2486"/>
                    <a:pt x="197" y="2441"/>
                    <a:pt x="242" y="2388"/>
                  </a:cubicBezTo>
                  <a:cubicBezTo>
                    <a:pt x="292" y="2331"/>
                    <a:pt x="346" y="2314"/>
                    <a:pt x="393" y="2314"/>
                  </a:cubicBezTo>
                  <a:cubicBezTo>
                    <a:pt x="439" y="2314"/>
                    <a:pt x="479" y="2329"/>
                    <a:pt x="508" y="2339"/>
                  </a:cubicBezTo>
                  <a:lnTo>
                    <a:pt x="519" y="2343"/>
                  </a:lnTo>
                  <a:cubicBezTo>
                    <a:pt x="508" y="2304"/>
                    <a:pt x="445" y="2259"/>
                    <a:pt x="386" y="2217"/>
                  </a:cubicBezTo>
                  <a:cubicBezTo>
                    <a:pt x="291" y="2150"/>
                    <a:pt x="183" y="2077"/>
                    <a:pt x="193" y="1958"/>
                  </a:cubicBezTo>
                  <a:cubicBezTo>
                    <a:pt x="197" y="1919"/>
                    <a:pt x="214" y="1884"/>
                    <a:pt x="246" y="1860"/>
                  </a:cubicBezTo>
                  <a:cubicBezTo>
                    <a:pt x="270" y="1842"/>
                    <a:pt x="299" y="1835"/>
                    <a:pt x="330" y="1835"/>
                  </a:cubicBezTo>
                  <a:cubicBezTo>
                    <a:pt x="365" y="1835"/>
                    <a:pt x="404" y="1843"/>
                    <a:pt x="445" y="1853"/>
                  </a:cubicBezTo>
                  <a:cubicBezTo>
                    <a:pt x="490" y="1863"/>
                    <a:pt x="541" y="1877"/>
                    <a:pt x="591" y="1877"/>
                  </a:cubicBezTo>
                  <a:cubicBezTo>
                    <a:pt x="623" y="1877"/>
                    <a:pt x="655" y="1871"/>
                    <a:pt x="683" y="1856"/>
                  </a:cubicBezTo>
                  <a:cubicBezTo>
                    <a:pt x="747" y="1824"/>
                    <a:pt x="826" y="1810"/>
                    <a:pt x="913" y="1810"/>
                  </a:cubicBezTo>
                  <a:cubicBezTo>
                    <a:pt x="1133" y="1810"/>
                    <a:pt x="1399" y="1904"/>
                    <a:pt x="1579" y="2059"/>
                  </a:cubicBezTo>
                  <a:cubicBezTo>
                    <a:pt x="1695" y="2159"/>
                    <a:pt x="1741" y="2164"/>
                    <a:pt x="1752" y="2164"/>
                  </a:cubicBezTo>
                  <a:cubicBezTo>
                    <a:pt x="1753" y="2164"/>
                    <a:pt x="1754" y="2164"/>
                    <a:pt x="1755" y="2164"/>
                  </a:cubicBezTo>
                  <a:cubicBezTo>
                    <a:pt x="1769" y="2157"/>
                    <a:pt x="1800" y="2126"/>
                    <a:pt x="1828" y="1968"/>
                  </a:cubicBezTo>
                  <a:cubicBezTo>
                    <a:pt x="1884" y="1657"/>
                    <a:pt x="2308" y="1545"/>
                    <a:pt x="2682" y="1545"/>
                  </a:cubicBezTo>
                  <a:cubicBezTo>
                    <a:pt x="2885" y="1545"/>
                    <a:pt x="2955" y="1489"/>
                    <a:pt x="2966" y="1457"/>
                  </a:cubicBezTo>
                  <a:cubicBezTo>
                    <a:pt x="2973" y="1436"/>
                    <a:pt x="2955" y="1415"/>
                    <a:pt x="2938" y="1401"/>
                  </a:cubicBezTo>
                  <a:cubicBezTo>
                    <a:pt x="2913" y="1384"/>
                    <a:pt x="2899" y="1359"/>
                    <a:pt x="2896" y="1331"/>
                  </a:cubicBezTo>
                  <a:cubicBezTo>
                    <a:pt x="2892" y="1247"/>
                    <a:pt x="2987" y="1156"/>
                    <a:pt x="3221" y="953"/>
                  </a:cubicBezTo>
                  <a:cubicBezTo>
                    <a:pt x="3270" y="914"/>
                    <a:pt x="3330" y="858"/>
                    <a:pt x="3386" y="809"/>
                  </a:cubicBezTo>
                  <a:lnTo>
                    <a:pt x="3386" y="809"/>
                  </a:lnTo>
                  <a:cubicBezTo>
                    <a:pt x="3305" y="861"/>
                    <a:pt x="3214" y="913"/>
                    <a:pt x="3136" y="913"/>
                  </a:cubicBezTo>
                  <a:cubicBezTo>
                    <a:pt x="3091" y="913"/>
                    <a:pt x="3051" y="896"/>
                    <a:pt x="3018" y="855"/>
                  </a:cubicBezTo>
                  <a:cubicBezTo>
                    <a:pt x="3007" y="839"/>
                    <a:pt x="2993" y="831"/>
                    <a:pt x="2974" y="831"/>
                  </a:cubicBezTo>
                  <a:cubicBezTo>
                    <a:pt x="2942" y="831"/>
                    <a:pt x="2894" y="853"/>
                    <a:pt x="2808" y="897"/>
                  </a:cubicBezTo>
                  <a:cubicBezTo>
                    <a:pt x="2721" y="946"/>
                    <a:pt x="2630" y="981"/>
                    <a:pt x="2535" y="1006"/>
                  </a:cubicBezTo>
                  <a:cubicBezTo>
                    <a:pt x="2523" y="1008"/>
                    <a:pt x="2510" y="1009"/>
                    <a:pt x="2497" y="1009"/>
                  </a:cubicBezTo>
                  <a:cubicBezTo>
                    <a:pt x="2177" y="1009"/>
                    <a:pt x="1443" y="364"/>
                    <a:pt x="1271" y="106"/>
                  </a:cubicBezTo>
                  <a:cubicBezTo>
                    <a:pt x="1240" y="46"/>
                    <a:pt x="1180" y="4"/>
                    <a:pt x="1114" y="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908" name="Google Shape;5908;p104"/>
            <p:cNvSpPr/>
            <p:nvPr/>
          </p:nvSpPr>
          <p:spPr>
            <a:xfrm>
              <a:off x="2932062" y="1853304"/>
              <a:ext cx="13143" cy="22009"/>
            </a:xfrm>
            <a:custGeom>
              <a:avLst/>
              <a:gdLst/>
              <a:ahLst/>
              <a:cxnLst/>
              <a:rect l="l" t="t" r="r" b="b"/>
              <a:pathLst>
                <a:path w="968" h="1621" extrusionOk="0">
                  <a:moveTo>
                    <a:pt x="864" y="0"/>
                  </a:moveTo>
                  <a:cubicBezTo>
                    <a:pt x="846" y="0"/>
                    <a:pt x="827" y="2"/>
                    <a:pt x="806" y="6"/>
                  </a:cubicBezTo>
                  <a:cubicBezTo>
                    <a:pt x="586" y="48"/>
                    <a:pt x="222" y="311"/>
                    <a:pt x="95" y="770"/>
                  </a:cubicBezTo>
                  <a:cubicBezTo>
                    <a:pt x="1" y="1120"/>
                    <a:pt x="92" y="1354"/>
                    <a:pt x="159" y="1463"/>
                  </a:cubicBezTo>
                  <a:cubicBezTo>
                    <a:pt x="194" y="1526"/>
                    <a:pt x="243" y="1578"/>
                    <a:pt x="302" y="1620"/>
                  </a:cubicBezTo>
                  <a:cubicBezTo>
                    <a:pt x="435" y="1477"/>
                    <a:pt x="880" y="577"/>
                    <a:pt x="950" y="164"/>
                  </a:cubicBezTo>
                  <a:cubicBezTo>
                    <a:pt x="967" y="55"/>
                    <a:pt x="950" y="31"/>
                    <a:pt x="950" y="31"/>
                  </a:cubicBezTo>
                  <a:cubicBezTo>
                    <a:pt x="935" y="11"/>
                    <a:pt x="905" y="0"/>
                    <a:pt x="864"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909" name="Google Shape;5909;p104"/>
            <p:cNvSpPr/>
            <p:nvPr/>
          </p:nvSpPr>
          <p:spPr>
            <a:xfrm>
              <a:off x="2597485" y="1601971"/>
              <a:ext cx="442776" cy="287924"/>
            </a:xfrm>
            <a:custGeom>
              <a:avLst/>
              <a:gdLst/>
              <a:ahLst/>
              <a:cxnLst/>
              <a:rect l="l" t="t" r="r" b="b"/>
              <a:pathLst>
                <a:path w="32611" h="21206" extrusionOk="0">
                  <a:moveTo>
                    <a:pt x="26155" y="1"/>
                  </a:moveTo>
                  <a:cubicBezTo>
                    <a:pt x="25990" y="1"/>
                    <a:pt x="25773" y="38"/>
                    <a:pt x="25641" y="61"/>
                  </a:cubicBezTo>
                  <a:cubicBezTo>
                    <a:pt x="25585" y="71"/>
                    <a:pt x="25550" y="78"/>
                    <a:pt x="25529" y="82"/>
                  </a:cubicBezTo>
                  <a:lnTo>
                    <a:pt x="25508" y="82"/>
                  </a:lnTo>
                  <a:cubicBezTo>
                    <a:pt x="25501" y="82"/>
                    <a:pt x="25487" y="82"/>
                    <a:pt x="25466" y="78"/>
                  </a:cubicBezTo>
                  <a:cubicBezTo>
                    <a:pt x="25435" y="76"/>
                    <a:pt x="25392" y="72"/>
                    <a:pt x="25341" y="72"/>
                  </a:cubicBezTo>
                  <a:cubicBezTo>
                    <a:pt x="25198" y="72"/>
                    <a:pt x="24996" y="103"/>
                    <a:pt x="24867" y="281"/>
                  </a:cubicBezTo>
                  <a:cubicBezTo>
                    <a:pt x="24787" y="386"/>
                    <a:pt x="24772" y="435"/>
                    <a:pt x="24769" y="456"/>
                  </a:cubicBezTo>
                  <a:cubicBezTo>
                    <a:pt x="24769" y="456"/>
                    <a:pt x="24769" y="460"/>
                    <a:pt x="24769" y="463"/>
                  </a:cubicBezTo>
                  <a:cubicBezTo>
                    <a:pt x="24786" y="466"/>
                    <a:pt x="24805" y="468"/>
                    <a:pt x="24824" y="468"/>
                  </a:cubicBezTo>
                  <a:cubicBezTo>
                    <a:pt x="24831" y="468"/>
                    <a:pt x="24839" y="468"/>
                    <a:pt x="24846" y="467"/>
                  </a:cubicBezTo>
                  <a:lnTo>
                    <a:pt x="24860" y="467"/>
                  </a:lnTo>
                  <a:cubicBezTo>
                    <a:pt x="24997" y="467"/>
                    <a:pt x="25049" y="681"/>
                    <a:pt x="25088" y="912"/>
                  </a:cubicBezTo>
                  <a:cubicBezTo>
                    <a:pt x="25088" y="919"/>
                    <a:pt x="25088" y="929"/>
                    <a:pt x="25088" y="940"/>
                  </a:cubicBezTo>
                  <a:cubicBezTo>
                    <a:pt x="25084" y="1055"/>
                    <a:pt x="24937" y="1185"/>
                    <a:pt x="24843" y="1237"/>
                  </a:cubicBezTo>
                  <a:cubicBezTo>
                    <a:pt x="24829" y="1244"/>
                    <a:pt x="24818" y="1251"/>
                    <a:pt x="24804" y="1258"/>
                  </a:cubicBezTo>
                  <a:cubicBezTo>
                    <a:pt x="24744" y="1290"/>
                    <a:pt x="24534" y="1608"/>
                    <a:pt x="24503" y="1731"/>
                  </a:cubicBezTo>
                  <a:cubicBezTo>
                    <a:pt x="24489" y="1780"/>
                    <a:pt x="24468" y="1825"/>
                    <a:pt x="24440" y="1867"/>
                  </a:cubicBezTo>
                  <a:cubicBezTo>
                    <a:pt x="24422" y="1902"/>
                    <a:pt x="24401" y="1934"/>
                    <a:pt x="24380" y="1972"/>
                  </a:cubicBezTo>
                  <a:cubicBezTo>
                    <a:pt x="24335" y="2042"/>
                    <a:pt x="24296" y="2116"/>
                    <a:pt x="24261" y="2193"/>
                  </a:cubicBezTo>
                  <a:cubicBezTo>
                    <a:pt x="24247" y="2214"/>
                    <a:pt x="24244" y="2238"/>
                    <a:pt x="24244" y="2263"/>
                  </a:cubicBezTo>
                  <a:cubicBezTo>
                    <a:pt x="24258" y="2315"/>
                    <a:pt x="24247" y="2375"/>
                    <a:pt x="24216" y="2420"/>
                  </a:cubicBezTo>
                  <a:cubicBezTo>
                    <a:pt x="24149" y="2508"/>
                    <a:pt x="24055" y="2571"/>
                    <a:pt x="23946" y="2588"/>
                  </a:cubicBezTo>
                  <a:cubicBezTo>
                    <a:pt x="23894" y="2595"/>
                    <a:pt x="23757" y="2680"/>
                    <a:pt x="23656" y="2743"/>
                  </a:cubicBezTo>
                  <a:cubicBezTo>
                    <a:pt x="23589" y="2788"/>
                    <a:pt x="23516" y="2827"/>
                    <a:pt x="23442" y="2862"/>
                  </a:cubicBezTo>
                  <a:cubicBezTo>
                    <a:pt x="23421" y="2869"/>
                    <a:pt x="23388" y="2872"/>
                    <a:pt x="23349" y="2872"/>
                  </a:cubicBezTo>
                  <a:cubicBezTo>
                    <a:pt x="23235" y="2872"/>
                    <a:pt x="23063" y="2842"/>
                    <a:pt x="22945" y="2785"/>
                  </a:cubicBezTo>
                  <a:cubicBezTo>
                    <a:pt x="22893" y="2764"/>
                    <a:pt x="22854" y="2725"/>
                    <a:pt x="22826" y="2680"/>
                  </a:cubicBezTo>
                  <a:cubicBezTo>
                    <a:pt x="22826" y="2676"/>
                    <a:pt x="22823" y="2673"/>
                    <a:pt x="22823" y="2673"/>
                  </a:cubicBezTo>
                  <a:cubicBezTo>
                    <a:pt x="22816" y="2662"/>
                    <a:pt x="22809" y="2655"/>
                    <a:pt x="22805" y="2652"/>
                  </a:cubicBezTo>
                  <a:lnTo>
                    <a:pt x="22399" y="3457"/>
                  </a:lnTo>
                  <a:lnTo>
                    <a:pt x="22360" y="3772"/>
                  </a:lnTo>
                  <a:lnTo>
                    <a:pt x="22318" y="3782"/>
                  </a:lnTo>
                  <a:cubicBezTo>
                    <a:pt x="22283" y="3793"/>
                    <a:pt x="22227" y="3821"/>
                    <a:pt x="22220" y="3849"/>
                  </a:cubicBezTo>
                  <a:cubicBezTo>
                    <a:pt x="22213" y="3873"/>
                    <a:pt x="22234" y="3912"/>
                    <a:pt x="22276" y="3954"/>
                  </a:cubicBezTo>
                  <a:cubicBezTo>
                    <a:pt x="22340" y="4017"/>
                    <a:pt x="22378" y="4039"/>
                    <a:pt x="22419" y="4039"/>
                  </a:cubicBezTo>
                  <a:cubicBezTo>
                    <a:pt x="22447" y="4039"/>
                    <a:pt x="22476" y="4029"/>
                    <a:pt x="22514" y="4017"/>
                  </a:cubicBezTo>
                  <a:cubicBezTo>
                    <a:pt x="22605" y="3985"/>
                    <a:pt x="22700" y="3971"/>
                    <a:pt x="22795" y="3971"/>
                  </a:cubicBezTo>
                  <a:cubicBezTo>
                    <a:pt x="22921" y="3975"/>
                    <a:pt x="23047" y="4006"/>
                    <a:pt x="23159" y="4069"/>
                  </a:cubicBezTo>
                  <a:cubicBezTo>
                    <a:pt x="23187" y="4087"/>
                    <a:pt x="23218" y="4097"/>
                    <a:pt x="23250" y="4104"/>
                  </a:cubicBezTo>
                  <a:cubicBezTo>
                    <a:pt x="23257" y="4097"/>
                    <a:pt x="23260" y="4090"/>
                    <a:pt x="23260" y="4083"/>
                  </a:cubicBezTo>
                  <a:cubicBezTo>
                    <a:pt x="23313" y="3964"/>
                    <a:pt x="23425" y="3880"/>
                    <a:pt x="23554" y="3859"/>
                  </a:cubicBezTo>
                  <a:cubicBezTo>
                    <a:pt x="23574" y="3856"/>
                    <a:pt x="23593" y="3855"/>
                    <a:pt x="23612" y="3855"/>
                  </a:cubicBezTo>
                  <a:cubicBezTo>
                    <a:pt x="23724" y="3855"/>
                    <a:pt x="23829" y="3906"/>
                    <a:pt x="23901" y="3996"/>
                  </a:cubicBezTo>
                  <a:cubicBezTo>
                    <a:pt x="23915" y="4013"/>
                    <a:pt x="23932" y="4034"/>
                    <a:pt x="23953" y="4052"/>
                  </a:cubicBezTo>
                  <a:cubicBezTo>
                    <a:pt x="23992" y="4090"/>
                    <a:pt x="24034" y="4129"/>
                    <a:pt x="24083" y="4167"/>
                  </a:cubicBezTo>
                  <a:lnTo>
                    <a:pt x="24146" y="4220"/>
                  </a:lnTo>
                  <a:lnTo>
                    <a:pt x="24188" y="4255"/>
                  </a:lnTo>
                  <a:cubicBezTo>
                    <a:pt x="24475" y="4496"/>
                    <a:pt x="24646" y="4650"/>
                    <a:pt x="24618" y="4791"/>
                  </a:cubicBezTo>
                  <a:cubicBezTo>
                    <a:pt x="24608" y="4850"/>
                    <a:pt x="24573" y="4899"/>
                    <a:pt x="24520" y="4927"/>
                  </a:cubicBezTo>
                  <a:cubicBezTo>
                    <a:pt x="24463" y="4961"/>
                    <a:pt x="24390" y="4972"/>
                    <a:pt x="24317" y="4972"/>
                  </a:cubicBezTo>
                  <a:cubicBezTo>
                    <a:pt x="24167" y="4972"/>
                    <a:pt x="24013" y="4924"/>
                    <a:pt x="23971" y="4910"/>
                  </a:cubicBezTo>
                  <a:cubicBezTo>
                    <a:pt x="23949" y="4903"/>
                    <a:pt x="23926" y="4900"/>
                    <a:pt x="23901" y="4900"/>
                  </a:cubicBezTo>
                  <a:cubicBezTo>
                    <a:pt x="23845" y="4900"/>
                    <a:pt x="23782" y="4915"/>
                    <a:pt x="23719" y="4934"/>
                  </a:cubicBezTo>
                  <a:cubicBezTo>
                    <a:pt x="23680" y="4948"/>
                    <a:pt x="23642" y="4962"/>
                    <a:pt x="23603" y="4976"/>
                  </a:cubicBezTo>
                  <a:cubicBezTo>
                    <a:pt x="23498" y="5015"/>
                    <a:pt x="23386" y="5057"/>
                    <a:pt x="23288" y="5057"/>
                  </a:cubicBezTo>
                  <a:cubicBezTo>
                    <a:pt x="23284" y="5057"/>
                    <a:pt x="23280" y="5056"/>
                    <a:pt x="23276" y="5056"/>
                  </a:cubicBezTo>
                  <a:cubicBezTo>
                    <a:pt x="23046" y="5056"/>
                    <a:pt x="22827" y="5154"/>
                    <a:pt x="22665" y="5319"/>
                  </a:cubicBezTo>
                  <a:cubicBezTo>
                    <a:pt x="22605" y="5379"/>
                    <a:pt x="22556" y="5445"/>
                    <a:pt x="22518" y="5519"/>
                  </a:cubicBezTo>
                  <a:cubicBezTo>
                    <a:pt x="22441" y="5648"/>
                    <a:pt x="22371" y="5767"/>
                    <a:pt x="22133" y="5795"/>
                  </a:cubicBezTo>
                  <a:cubicBezTo>
                    <a:pt x="22077" y="5802"/>
                    <a:pt x="22024" y="5806"/>
                    <a:pt x="21979" y="5809"/>
                  </a:cubicBezTo>
                  <a:cubicBezTo>
                    <a:pt x="21814" y="5823"/>
                    <a:pt x="21699" y="5830"/>
                    <a:pt x="21534" y="5914"/>
                  </a:cubicBezTo>
                  <a:cubicBezTo>
                    <a:pt x="21471" y="5949"/>
                    <a:pt x="21412" y="5988"/>
                    <a:pt x="21352" y="6030"/>
                  </a:cubicBezTo>
                  <a:cubicBezTo>
                    <a:pt x="21191" y="6140"/>
                    <a:pt x="21004" y="6197"/>
                    <a:pt x="20815" y="6197"/>
                  </a:cubicBezTo>
                  <a:cubicBezTo>
                    <a:pt x="20675" y="6197"/>
                    <a:pt x="20535" y="6166"/>
                    <a:pt x="20403" y="6103"/>
                  </a:cubicBezTo>
                  <a:cubicBezTo>
                    <a:pt x="20379" y="6091"/>
                    <a:pt x="20306" y="6059"/>
                    <a:pt x="20222" y="6059"/>
                  </a:cubicBezTo>
                  <a:cubicBezTo>
                    <a:pt x="20135" y="6059"/>
                    <a:pt x="20035" y="6093"/>
                    <a:pt x="19962" y="6219"/>
                  </a:cubicBezTo>
                  <a:cubicBezTo>
                    <a:pt x="19910" y="6313"/>
                    <a:pt x="19941" y="6373"/>
                    <a:pt x="20004" y="6478"/>
                  </a:cubicBezTo>
                  <a:cubicBezTo>
                    <a:pt x="20060" y="6565"/>
                    <a:pt x="20130" y="6677"/>
                    <a:pt x="20109" y="6828"/>
                  </a:cubicBezTo>
                  <a:cubicBezTo>
                    <a:pt x="20088" y="7017"/>
                    <a:pt x="19948" y="7080"/>
                    <a:pt x="19798" y="7147"/>
                  </a:cubicBezTo>
                  <a:cubicBezTo>
                    <a:pt x="19658" y="7199"/>
                    <a:pt x="19528" y="7283"/>
                    <a:pt x="19427" y="7392"/>
                  </a:cubicBezTo>
                  <a:cubicBezTo>
                    <a:pt x="19167" y="7683"/>
                    <a:pt x="18755" y="7843"/>
                    <a:pt x="18473" y="7843"/>
                  </a:cubicBezTo>
                  <a:cubicBezTo>
                    <a:pt x="18440" y="7843"/>
                    <a:pt x="18409" y="7841"/>
                    <a:pt x="18380" y="7836"/>
                  </a:cubicBezTo>
                  <a:cubicBezTo>
                    <a:pt x="18345" y="7833"/>
                    <a:pt x="18303" y="7826"/>
                    <a:pt x="18257" y="7815"/>
                  </a:cubicBezTo>
                  <a:cubicBezTo>
                    <a:pt x="18118" y="7793"/>
                    <a:pt x="17929" y="7760"/>
                    <a:pt x="17727" y="7760"/>
                  </a:cubicBezTo>
                  <a:cubicBezTo>
                    <a:pt x="17549" y="7760"/>
                    <a:pt x="17360" y="7786"/>
                    <a:pt x="17186" y="7868"/>
                  </a:cubicBezTo>
                  <a:cubicBezTo>
                    <a:pt x="17011" y="7952"/>
                    <a:pt x="16843" y="8046"/>
                    <a:pt x="16682" y="8158"/>
                  </a:cubicBezTo>
                  <a:lnTo>
                    <a:pt x="16623" y="8193"/>
                  </a:lnTo>
                  <a:lnTo>
                    <a:pt x="16609" y="8204"/>
                  </a:lnTo>
                  <a:lnTo>
                    <a:pt x="16556" y="8239"/>
                  </a:lnTo>
                  <a:lnTo>
                    <a:pt x="16546" y="8242"/>
                  </a:lnTo>
                  <a:lnTo>
                    <a:pt x="16493" y="8274"/>
                  </a:lnTo>
                  <a:lnTo>
                    <a:pt x="16486" y="8277"/>
                  </a:lnTo>
                  <a:cubicBezTo>
                    <a:pt x="16469" y="8288"/>
                    <a:pt x="16451" y="8298"/>
                    <a:pt x="16433" y="8309"/>
                  </a:cubicBezTo>
                  <a:cubicBezTo>
                    <a:pt x="16402" y="8326"/>
                    <a:pt x="16367" y="8340"/>
                    <a:pt x="16332" y="8351"/>
                  </a:cubicBezTo>
                  <a:lnTo>
                    <a:pt x="16328" y="8351"/>
                  </a:lnTo>
                  <a:cubicBezTo>
                    <a:pt x="16314" y="8354"/>
                    <a:pt x="16300" y="8358"/>
                    <a:pt x="16283" y="8361"/>
                  </a:cubicBezTo>
                  <a:lnTo>
                    <a:pt x="16279" y="8361"/>
                  </a:lnTo>
                  <a:cubicBezTo>
                    <a:pt x="16265" y="8365"/>
                    <a:pt x="16251" y="8365"/>
                    <a:pt x="16237" y="8365"/>
                  </a:cubicBezTo>
                  <a:lnTo>
                    <a:pt x="16234" y="8365"/>
                  </a:lnTo>
                  <a:cubicBezTo>
                    <a:pt x="16220" y="8365"/>
                    <a:pt x="16206" y="8365"/>
                    <a:pt x="16195" y="8361"/>
                  </a:cubicBezTo>
                  <a:cubicBezTo>
                    <a:pt x="16118" y="8344"/>
                    <a:pt x="16048" y="8298"/>
                    <a:pt x="15999" y="8239"/>
                  </a:cubicBezTo>
                  <a:cubicBezTo>
                    <a:pt x="15955" y="8189"/>
                    <a:pt x="15917" y="8150"/>
                    <a:pt x="15844" y="8150"/>
                  </a:cubicBezTo>
                  <a:cubicBezTo>
                    <a:pt x="15836" y="8150"/>
                    <a:pt x="15827" y="8150"/>
                    <a:pt x="15817" y="8151"/>
                  </a:cubicBezTo>
                  <a:lnTo>
                    <a:pt x="15793" y="8151"/>
                  </a:lnTo>
                  <a:cubicBezTo>
                    <a:pt x="15765" y="8155"/>
                    <a:pt x="15740" y="8158"/>
                    <a:pt x="15716" y="8158"/>
                  </a:cubicBezTo>
                  <a:cubicBezTo>
                    <a:pt x="15700" y="8159"/>
                    <a:pt x="15684" y="8160"/>
                    <a:pt x="15669" y="8160"/>
                  </a:cubicBezTo>
                  <a:cubicBezTo>
                    <a:pt x="15495" y="8160"/>
                    <a:pt x="15372" y="8106"/>
                    <a:pt x="15240" y="8032"/>
                  </a:cubicBezTo>
                  <a:lnTo>
                    <a:pt x="15187" y="8001"/>
                  </a:lnTo>
                  <a:cubicBezTo>
                    <a:pt x="15151" y="7978"/>
                    <a:pt x="15118" y="7972"/>
                    <a:pt x="15081" y="7972"/>
                  </a:cubicBezTo>
                  <a:cubicBezTo>
                    <a:pt x="15060" y="7972"/>
                    <a:pt x="15037" y="7974"/>
                    <a:pt x="15012" y="7976"/>
                  </a:cubicBezTo>
                  <a:cubicBezTo>
                    <a:pt x="14986" y="7980"/>
                    <a:pt x="14960" y="7982"/>
                    <a:pt x="14935" y="7982"/>
                  </a:cubicBezTo>
                  <a:cubicBezTo>
                    <a:pt x="14807" y="7982"/>
                    <a:pt x="14684" y="7939"/>
                    <a:pt x="14585" y="7857"/>
                  </a:cubicBezTo>
                  <a:cubicBezTo>
                    <a:pt x="14389" y="7710"/>
                    <a:pt x="14070" y="7689"/>
                    <a:pt x="13839" y="7675"/>
                  </a:cubicBezTo>
                  <a:cubicBezTo>
                    <a:pt x="13755" y="7672"/>
                    <a:pt x="13685" y="7668"/>
                    <a:pt x="13629" y="7658"/>
                  </a:cubicBezTo>
                  <a:cubicBezTo>
                    <a:pt x="13528" y="7640"/>
                    <a:pt x="13265" y="7640"/>
                    <a:pt x="13017" y="7640"/>
                  </a:cubicBezTo>
                  <a:cubicBezTo>
                    <a:pt x="12751" y="7640"/>
                    <a:pt x="12474" y="7640"/>
                    <a:pt x="12327" y="7623"/>
                  </a:cubicBezTo>
                  <a:cubicBezTo>
                    <a:pt x="12274" y="7617"/>
                    <a:pt x="12221" y="7615"/>
                    <a:pt x="12167" y="7615"/>
                  </a:cubicBezTo>
                  <a:cubicBezTo>
                    <a:pt x="12113" y="7615"/>
                    <a:pt x="12059" y="7617"/>
                    <a:pt x="12005" y="7623"/>
                  </a:cubicBezTo>
                  <a:lnTo>
                    <a:pt x="11931" y="7626"/>
                  </a:lnTo>
                  <a:cubicBezTo>
                    <a:pt x="11900" y="7628"/>
                    <a:pt x="11869" y="7628"/>
                    <a:pt x="11840" y="7628"/>
                  </a:cubicBezTo>
                  <a:cubicBezTo>
                    <a:pt x="11714" y="7628"/>
                    <a:pt x="11615" y="7611"/>
                    <a:pt x="11578" y="7528"/>
                  </a:cubicBezTo>
                  <a:cubicBezTo>
                    <a:pt x="11574" y="7521"/>
                    <a:pt x="11571" y="7514"/>
                    <a:pt x="11571" y="7504"/>
                  </a:cubicBezTo>
                  <a:cubicBezTo>
                    <a:pt x="11550" y="7451"/>
                    <a:pt x="11518" y="7406"/>
                    <a:pt x="11476" y="7364"/>
                  </a:cubicBezTo>
                  <a:cubicBezTo>
                    <a:pt x="11368" y="7245"/>
                    <a:pt x="11291" y="7098"/>
                    <a:pt x="11252" y="6940"/>
                  </a:cubicBezTo>
                  <a:cubicBezTo>
                    <a:pt x="11182" y="6625"/>
                    <a:pt x="11007" y="6555"/>
                    <a:pt x="10881" y="6530"/>
                  </a:cubicBezTo>
                  <a:cubicBezTo>
                    <a:pt x="10790" y="6509"/>
                    <a:pt x="10710" y="6453"/>
                    <a:pt x="10657" y="6380"/>
                  </a:cubicBezTo>
                  <a:cubicBezTo>
                    <a:pt x="10612" y="6327"/>
                    <a:pt x="10580" y="6292"/>
                    <a:pt x="10531" y="6285"/>
                  </a:cubicBezTo>
                  <a:cubicBezTo>
                    <a:pt x="10482" y="6278"/>
                    <a:pt x="10447" y="6240"/>
                    <a:pt x="10409" y="6194"/>
                  </a:cubicBezTo>
                  <a:cubicBezTo>
                    <a:pt x="10346" y="6124"/>
                    <a:pt x="10265" y="6037"/>
                    <a:pt x="10132" y="6037"/>
                  </a:cubicBezTo>
                  <a:cubicBezTo>
                    <a:pt x="9939" y="6037"/>
                    <a:pt x="8994" y="5949"/>
                    <a:pt x="8844" y="5704"/>
                  </a:cubicBezTo>
                  <a:cubicBezTo>
                    <a:pt x="8749" y="5550"/>
                    <a:pt x="8826" y="5452"/>
                    <a:pt x="8882" y="5379"/>
                  </a:cubicBezTo>
                  <a:cubicBezTo>
                    <a:pt x="8924" y="5330"/>
                    <a:pt x="8956" y="5284"/>
                    <a:pt x="8956" y="5221"/>
                  </a:cubicBezTo>
                  <a:cubicBezTo>
                    <a:pt x="8959" y="5134"/>
                    <a:pt x="8973" y="5046"/>
                    <a:pt x="8998" y="4959"/>
                  </a:cubicBezTo>
                  <a:cubicBezTo>
                    <a:pt x="9015" y="4875"/>
                    <a:pt x="9043" y="4749"/>
                    <a:pt x="9015" y="4724"/>
                  </a:cubicBezTo>
                  <a:cubicBezTo>
                    <a:pt x="8917" y="4647"/>
                    <a:pt x="8725" y="4454"/>
                    <a:pt x="8700" y="4269"/>
                  </a:cubicBezTo>
                  <a:cubicBezTo>
                    <a:pt x="8683" y="4143"/>
                    <a:pt x="8441" y="3954"/>
                    <a:pt x="8291" y="3943"/>
                  </a:cubicBezTo>
                  <a:cubicBezTo>
                    <a:pt x="8087" y="3929"/>
                    <a:pt x="7930" y="3807"/>
                    <a:pt x="7758" y="3660"/>
                  </a:cubicBezTo>
                  <a:cubicBezTo>
                    <a:pt x="7723" y="3628"/>
                    <a:pt x="7681" y="3600"/>
                    <a:pt x="7643" y="3576"/>
                  </a:cubicBezTo>
                  <a:cubicBezTo>
                    <a:pt x="7517" y="3495"/>
                    <a:pt x="7401" y="3422"/>
                    <a:pt x="7345" y="3117"/>
                  </a:cubicBezTo>
                  <a:cubicBezTo>
                    <a:pt x="7345" y="3110"/>
                    <a:pt x="7342" y="3107"/>
                    <a:pt x="7342" y="3100"/>
                  </a:cubicBezTo>
                  <a:lnTo>
                    <a:pt x="7286" y="3089"/>
                  </a:lnTo>
                  <a:cubicBezTo>
                    <a:pt x="7258" y="3082"/>
                    <a:pt x="7230" y="3079"/>
                    <a:pt x="7205" y="3075"/>
                  </a:cubicBezTo>
                  <a:lnTo>
                    <a:pt x="7184" y="3075"/>
                  </a:lnTo>
                  <a:cubicBezTo>
                    <a:pt x="7174" y="3075"/>
                    <a:pt x="7167" y="3072"/>
                    <a:pt x="7156" y="3072"/>
                  </a:cubicBezTo>
                  <a:cubicBezTo>
                    <a:pt x="7149" y="3068"/>
                    <a:pt x="7139" y="3068"/>
                    <a:pt x="7132" y="3065"/>
                  </a:cubicBezTo>
                  <a:lnTo>
                    <a:pt x="7128" y="3065"/>
                  </a:lnTo>
                  <a:cubicBezTo>
                    <a:pt x="7121" y="3061"/>
                    <a:pt x="7114" y="3058"/>
                    <a:pt x="7107" y="3054"/>
                  </a:cubicBezTo>
                  <a:lnTo>
                    <a:pt x="7100" y="3054"/>
                  </a:lnTo>
                  <a:lnTo>
                    <a:pt x="7083" y="3044"/>
                  </a:lnTo>
                  <a:lnTo>
                    <a:pt x="7072" y="3040"/>
                  </a:lnTo>
                  <a:lnTo>
                    <a:pt x="7065" y="3033"/>
                  </a:lnTo>
                  <a:cubicBezTo>
                    <a:pt x="7065" y="3037"/>
                    <a:pt x="7062" y="3040"/>
                    <a:pt x="7058" y="3044"/>
                  </a:cubicBezTo>
                  <a:cubicBezTo>
                    <a:pt x="7051" y="3058"/>
                    <a:pt x="7041" y="3072"/>
                    <a:pt x="7034" y="3082"/>
                  </a:cubicBezTo>
                  <a:lnTo>
                    <a:pt x="7023" y="3100"/>
                  </a:lnTo>
                  <a:cubicBezTo>
                    <a:pt x="7013" y="3114"/>
                    <a:pt x="6999" y="3131"/>
                    <a:pt x="6988" y="3145"/>
                  </a:cubicBezTo>
                  <a:cubicBezTo>
                    <a:pt x="6946" y="3198"/>
                    <a:pt x="6915" y="3236"/>
                    <a:pt x="6915" y="3278"/>
                  </a:cubicBezTo>
                  <a:cubicBezTo>
                    <a:pt x="6915" y="3446"/>
                    <a:pt x="6838" y="3646"/>
                    <a:pt x="6617" y="3646"/>
                  </a:cubicBezTo>
                  <a:cubicBezTo>
                    <a:pt x="6488" y="3646"/>
                    <a:pt x="6334" y="3737"/>
                    <a:pt x="6323" y="3996"/>
                  </a:cubicBezTo>
                  <a:cubicBezTo>
                    <a:pt x="6316" y="4080"/>
                    <a:pt x="6337" y="4167"/>
                    <a:pt x="6383" y="4244"/>
                  </a:cubicBezTo>
                  <a:cubicBezTo>
                    <a:pt x="6414" y="4304"/>
                    <a:pt x="6449" y="4370"/>
                    <a:pt x="6393" y="4461"/>
                  </a:cubicBezTo>
                  <a:cubicBezTo>
                    <a:pt x="6316" y="4580"/>
                    <a:pt x="6067" y="4696"/>
                    <a:pt x="5896" y="4696"/>
                  </a:cubicBezTo>
                  <a:cubicBezTo>
                    <a:pt x="5861" y="4696"/>
                    <a:pt x="5822" y="4689"/>
                    <a:pt x="5791" y="4675"/>
                  </a:cubicBezTo>
                  <a:cubicBezTo>
                    <a:pt x="5735" y="4647"/>
                    <a:pt x="5637" y="4647"/>
                    <a:pt x="5528" y="4647"/>
                  </a:cubicBezTo>
                  <a:lnTo>
                    <a:pt x="5472" y="4647"/>
                  </a:lnTo>
                  <a:cubicBezTo>
                    <a:pt x="5420" y="4647"/>
                    <a:pt x="5364" y="4643"/>
                    <a:pt x="5308" y="4636"/>
                  </a:cubicBezTo>
                  <a:cubicBezTo>
                    <a:pt x="5245" y="4626"/>
                    <a:pt x="5185" y="4605"/>
                    <a:pt x="5133" y="4573"/>
                  </a:cubicBezTo>
                  <a:lnTo>
                    <a:pt x="5112" y="4563"/>
                  </a:lnTo>
                  <a:cubicBezTo>
                    <a:pt x="5087" y="4545"/>
                    <a:pt x="5059" y="4531"/>
                    <a:pt x="5031" y="4524"/>
                  </a:cubicBezTo>
                  <a:cubicBezTo>
                    <a:pt x="5021" y="4542"/>
                    <a:pt x="5014" y="4563"/>
                    <a:pt x="5010" y="4587"/>
                  </a:cubicBezTo>
                  <a:cubicBezTo>
                    <a:pt x="4965" y="4735"/>
                    <a:pt x="4912" y="4878"/>
                    <a:pt x="4853" y="5018"/>
                  </a:cubicBezTo>
                  <a:cubicBezTo>
                    <a:pt x="4776" y="5204"/>
                    <a:pt x="4653" y="5508"/>
                    <a:pt x="4660" y="5582"/>
                  </a:cubicBezTo>
                  <a:cubicBezTo>
                    <a:pt x="4737" y="5652"/>
                    <a:pt x="4793" y="5771"/>
                    <a:pt x="4758" y="5858"/>
                  </a:cubicBezTo>
                  <a:cubicBezTo>
                    <a:pt x="4736" y="5913"/>
                    <a:pt x="4684" y="5947"/>
                    <a:pt x="4627" y="5947"/>
                  </a:cubicBezTo>
                  <a:cubicBezTo>
                    <a:pt x="4622" y="5947"/>
                    <a:pt x="4616" y="5946"/>
                    <a:pt x="4611" y="5946"/>
                  </a:cubicBezTo>
                  <a:cubicBezTo>
                    <a:pt x="4394" y="5946"/>
                    <a:pt x="4251" y="5907"/>
                    <a:pt x="4174" y="5827"/>
                  </a:cubicBezTo>
                  <a:cubicBezTo>
                    <a:pt x="4171" y="5825"/>
                    <a:pt x="4167" y="5825"/>
                    <a:pt x="4162" y="5825"/>
                  </a:cubicBezTo>
                  <a:cubicBezTo>
                    <a:pt x="4129" y="5825"/>
                    <a:pt x="4048" y="5854"/>
                    <a:pt x="3998" y="5876"/>
                  </a:cubicBezTo>
                  <a:cubicBezTo>
                    <a:pt x="3908" y="5909"/>
                    <a:pt x="3805" y="5946"/>
                    <a:pt x="3713" y="5946"/>
                  </a:cubicBezTo>
                  <a:cubicBezTo>
                    <a:pt x="3709" y="5946"/>
                    <a:pt x="3705" y="5946"/>
                    <a:pt x="3701" y="5946"/>
                  </a:cubicBezTo>
                  <a:cubicBezTo>
                    <a:pt x="3610" y="5963"/>
                    <a:pt x="3522" y="6002"/>
                    <a:pt x="3449" y="6054"/>
                  </a:cubicBezTo>
                  <a:cubicBezTo>
                    <a:pt x="3561" y="6142"/>
                    <a:pt x="3578" y="6359"/>
                    <a:pt x="3578" y="6565"/>
                  </a:cubicBezTo>
                  <a:cubicBezTo>
                    <a:pt x="3578" y="6604"/>
                    <a:pt x="3631" y="6705"/>
                    <a:pt x="3673" y="6790"/>
                  </a:cubicBezTo>
                  <a:cubicBezTo>
                    <a:pt x="3753" y="6951"/>
                    <a:pt x="3830" y="7101"/>
                    <a:pt x="3792" y="7199"/>
                  </a:cubicBezTo>
                  <a:cubicBezTo>
                    <a:pt x="3757" y="7266"/>
                    <a:pt x="3708" y="7325"/>
                    <a:pt x="3652" y="7374"/>
                  </a:cubicBezTo>
                  <a:cubicBezTo>
                    <a:pt x="3582" y="7441"/>
                    <a:pt x="3505" y="7518"/>
                    <a:pt x="3505" y="7584"/>
                  </a:cubicBezTo>
                  <a:cubicBezTo>
                    <a:pt x="3505" y="7630"/>
                    <a:pt x="3508" y="7668"/>
                    <a:pt x="3512" y="7710"/>
                  </a:cubicBezTo>
                  <a:cubicBezTo>
                    <a:pt x="3512" y="7731"/>
                    <a:pt x="3515" y="7752"/>
                    <a:pt x="3519" y="7773"/>
                  </a:cubicBezTo>
                  <a:lnTo>
                    <a:pt x="3519" y="7805"/>
                  </a:lnTo>
                  <a:lnTo>
                    <a:pt x="3519" y="7945"/>
                  </a:lnTo>
                  <a:lnTo>
                    <a:pt x="3491" y="7924"/>
                  </a:lnTo>
                  <a:cubicBezTo>
                    <a:pt x="3477" y="7952"/>
                    <a:pt x="3456" y="7973"/>
                    <a:pt x="3424" y="7983"/>
                  </a:cubicBezTo>
                  <a:lnTo>
                    <a:pt x="3400" y="7997"/>
                  </a:lnTo>
                  <a:cubicBezTo>
                    <a:pt x="3298" y="8039"/>
                    <a:pt x="3067" y="8134"/>
                    <a:pt x="2952" y="8218"/>
                  </a:cubicBezTo>
                  <a:cubicBezTo>
                    <a:pt x="2892" y="8260"/>
                    <a:pt x="2826" y="8291"/>
                    <a:pt x="2756" y="8312"/>
                  </a:cubicBezTo>
                  <a:cubicBezTo>
                    <a:pt x="2661" y="8344"/>
                    <a:pt x="2581" y="8372"/>
                    <a:pt x="2549" y="8438"/>
                  </a:cubicBezTo>
                  <a:cubicBezTo>
                    <a:pt x="2487" y="8563"/>
                    <a:pt x="2376" y="8721"/>
                    <a:pt x="2118" y="8721"/>
                  </a:cubicBezTo>
                  <a:cubicBezTo>
                    <a:pt x="2100" y="8721"/>
                    <a:pt x="2082" y="8720"/>
                    <a:pt x="2063" y="8718"/>
                  </a:cubicBezTo>
                  <a:lnTo>
                    <a:pt x="2045" y="8718"/>
                  </a:lnTo>
                  <a:lnTo>
                    <a:pt x="1989" y="8711"/>
                  </a:lnTo>
                  <a:cubicBezTo>
                    <a:pt x="1936" y="8705"/>
                    <a:pt x="1892" y="8700"/>
                    <a:pt x="1853" y="8700"/>
                  </a:cubicBezTo>
                  <a:cubicBezTo>
                    <a:pt x="1763" y="8700"/>
                    <a:pt x="1698" y="8729"/>
                    <a:pt x="1607" y="8841"/>
                  </a:cubicBezTo>
                  <a:cubicBezTo>
                    <a:pt x="1499" y="8971"/>
                    <a:pt x="1436" y="8999"/>
                    <a:pt x="1362" y="9020"/>
                  </a:cubicBezTo>
                  <a:cubicBezTo>
                    <a:pt x="1327" y="9030"/>
                    <a:pt x="1296" y="9044"/>
                    <a:pt x="1271" y="9069"/>
                  </a:cubicBezTo>
                  <a:cubicBezTo>
                    <a:pt x="1231" y="9100"/>
                    <a:pt x="1191" y="9112"/>
                    <a:pt x="1154" y="9112"/>
                  </a:cubicBezTo>
                  <a:cubicBezTo>
                    <a:pt x="1073" y="9112"/>
                    <a:pt x="1001" y="9058"/>
                    <a:pt x="946" y="9020"/>
                  </a:cubicBezTo>
                  <a:cubicBezTo>
                    <a:pt x="921" y="8999"/>
                    <a:pt x="893" y="8981"/>
                    <a:pt x="865" y="8967"/>
                  </a:cubicBezTo>
                  <a:cubicBezTo>
                    <a:pt x="863" y="8966"/>
                    <a:pt x="860" y="8966"/>
                    <a:pt x="857" y="8966"/>
                  </a:cubicBezTo>
                  <a:cubicBezTo>
                    <a:pt x="829" y="8966"/>
                    <a:pt x="774" y="8994"/>
                    <a:pt x="736" y="9016"/>
                  </a:cubicBezTo>
                  <a:cubicBezTo>
                    <a:pt x="683" y="9051"/>
                    <a:pt x="624" y="9076"/>
                    <a:pt x="561" y="9083"/>
                  </a:cubicBezTo>
                  <a:cubicBezTo>
                    <a:pt x="536" y="9083"/>
                    <a:pt x="491" y="9121"/>
                    <a:pt x="456" y="9153"/>
                  </a:cubicBezTo>
                  <a:cubicBezTo>
                    <a:pt x="407" y="9205"/>
                    <a:pt x="344" y="9247"/>
                    <a:pt x="277" y="9272"/>
                  </a:cubicBezTo>
                  <a:cubicBezTo>
                    <a:pt x="242" y="9282"/>
                    <a:pt x="207" y="9289"/>
                    <a:pt x="172" y="9293"/>
                  </a:cubicBezTo>
                  <a:cubicBezTo>
                    <a:pt x="81" y="9307"/>
                    <a:pt x="81" y="9310"/>
                    <a:pt x="81" y="9356"/>
                  </a:cubicBezTo>
                  <a:lnTo>
                    <a:pt x="81" y="9384"/>
                  </a:lnTo>
                  <a:lnTo>
                    <a:pt x="81" y="9394"/>
                  </a:lnTo>
                  <a:lnTo>
                    <a:pt x="81" y="9415"/>
                  </a:lnTo>
                  <a:lnTo>
                    <a:pt x="81" y="9429"/>
                  </a:lnTo>
                  <a:cubicBezTo>
                    <a:pt x="81" y="9433"/>
                    <a:pt x="81" y="9443"/>
                    <a:pt x="78" y="9454"/>
                  </a:cubicBezTo>
                  <a:cubicBezTo>
                    <a:pt x="74" y="9461"/>
                    <a:pt x="78" y="9464"/>
                    <a:pt x="74" y="9468"/>
                  </a:cubicBezTo>
                  <a:cubicBezTo>
                    <a:pt x="71" y="9475"/>
                    <a:pt x="71" y="9485"/>
                    <a:pt x="67" y="9492"/>
                  </a:cubicBezTo>
                  <a:cubicBezTo>
                    <a:pt x="67" y="9499"/>
                    <a:pt x="64" y="9503"/>
                    <a:pt x="64" y="9510"/>
                  </a:cubicBezTo>
                  <a:cubicBezTo>
                    <a:pt x="60" y="9517"/>
                    <a:pt x="57" y="9524"/>
                    <a:pt x="57" y="9534"/>
                  </a:cubicBezTo>
                  <a:cubicBezTo>
                    <a:pt x="53" y="9541"/>
                    <a:pt x="50" y="9545"/>
                    <a:pt x="50" y="9552"/>
                  </a:cubicBezTo>
                  <a:cubicBezTo>
                    <a:pt x="46" y="9559"/>
                    <a:pt x="43" y="9566"/>
                    <a:pt x="39" y="9576"/>
                  </a:cubicBezTo>
                  <a:lnTo>
                    <a:pt x="29" y="9594"/>
                  </a:lnTo>
                  <a:cubicBezTo>
                    <a:pt x="25" y="9601"/>
                    <a:pt x="22" y="9608"/>
                    <a:pt x="15" y="9618"/>
                  </a:cubicBezTo>
                  <a:cubicBezTo>
                    <a:pt x="11" y="9625"/>
                    <a:pt x="8" y="9629"/>
                    <a:pt x="4" y="9636"/>
                  </a:cubicBezTo>
                  <a:lnTo>
                    <a:pt x="1" y="9643"/>
                  </a:lnTo>
                  <a:lnTo>
                    <a:pt x="74" y="10052"/>
                  </a:lnTo>
                  <a:cubicBezTo>
                    <a:pt x="106" y="10063"/>
                    <a:pt x="141" y="10077"/>
                    <a:pt x="183" y="10094"/>
                  </a:cubicBezTo>
                  <a:cubicBezTo>
                    <a:pt x="211" y="10105"/>
                    <a:pt x="239" y="10115"/>
                    <a:pt x="267" y="10129"/>
                  </a:cubicBezTo>
                  <a:cubicBezTo>
                    <a:pt x="428" y="10203"/>
                    <a:pt x="606" y="10315"/>
                    <a:pt x="620" y="10441"/>
                  </a:cubicBezTo>
                  <a:lnTo>
                    <a:pt x="624" y="10469"/>
                  </a:lnTo>
                  <a:lnTo>
                    <a:pt x="624" y="10472"/>
                  </a:lnTo>
                  <a:lnTo>
                    <a:pt x="631" y="10511"/>
                  </a:lnTo>
                  <a:cubicBezTo>
                    <a:pt x="659" y="10710"/>
                    <a:pt x="718" y="11092"/>
                    <a:pt x="725" y="11159"/>
                  </a:cubicBezTo>
                  <a:lnTo>
                    <a:pt x="732" y="11162"/>
                  </a:lnTo>
                  <a:lnTo>
                    <a:pt x="809" y="11222"/>
                  </a:lnTo>
                  <a:lnTo>
                    <a:pt x="827" y="11232"/>
                  </a:lnTo>
                  <a:lnTo>
                    <a:pt x="900" y="11288"/>
                  </a:lnTo>
                  <a:cubicBezTo>
                    <a:pt x="1121" y="11446"/>
                    <a:pt x="1201" y="11505"/>
                    <a:pt x="1208" y="11572"/>
                  </a:cubicBezTo>
                  <a:cubicBezTo>
                    <a:pt x="1208" y="11575"/>
                    <a:pt x="1208" y="11582"/>
                    <a:pt x="1208" y="11586"/>
                  </a:cubicBezTo>
                  <a:cubicBezTo>
                    <a:pt x="1212" y="11740"/>
                    <a:pt x="1306" y="11880"/>
                    <a:pt x="1450" y="11939"/>
                  </a:cubicBezTo>
                  <a:lnTo>
                    <a:pt x="1502" y="11964"/>
                  </a:lnTo>
                  <a:lnTo>
                    <a:pt x="1516" y="11971"/>
                  </a:lnTo>
                  <a:lnTo>
                    <a:pt x="1562" y="11992"/>
                  </a:lnTo>
                  <a:lnTo>
                    <a:pt x="1579" y="11999"/>
                  </a:lnTo>
                  <a:lnTo>
                    <a:pt x="1618" y="12020"/>
                  </a:lnTo>
                  <a:lnTo>
                    <a:pt x="1635" y="12027"/>
                  </a:lnTo>
                  <a:lnTo>
                    <a:pt x="1684" y="12055"/>
                  </a:lnTo>
                  <a:lnTo>
                    <a:pt x="1688" y="12055"/>
                  </a:lnTo>
                  <a:lnTo>
                    <a:pt x="1740" y="12083"/>
                  </a:lnTo>
                  <a:lnTo>
                    <a:pt x="1754" y="12090"/>
                  </a:lnTo>
                  <a:lnTo>
                    <a:pt x="1786" y="12107"/>
                  </a:lnTo>
                  <a:lnTo>
                    <a:pt x="1803" y="12118"/>
                  </a:lnTo>
                  <a:lnTo>
                    <a:pt x="1817" y="12125"/>
                  </a:lnTo>
                  <a:lnTo>
                    <a:pt x="1821" y="12111"/>
                  </a:lnTo>
                  <a:lnTo>
                    <a:pt x="2101" y="12083"/>
                  </a:lnTo>
                  <a:lnTo>
                    <a:pt x="2119" y="12093"/>
                  </a:lnTo>
                  <a:lnTo>
                    <a:pt x="2126" y="12100"/>
                  </a:lnTo>
                  <a:cubicBezTo>
                    <a:pt x="2150" y="12114"/>
                    <a:pt x="2171" y="12132"/>
                    <a:pt x="2192" y="12149"/>
                  </a:cubicBezTo>
                  <a:cubicBezTo>
                    <a:pt x="2199" y="12142"/>
                    <a:pt x="2203" y="12135"/>
                    <a:pt x="2210" y="12128"/>
                  </a:cubicBezTo>
                  <a:lnTo>
                    <a:pt x="2217" y="12121"/>
                  </a:lnTo>
                  <a:cubicBezTo>
                    <a:pt x="2252" y="12079"/>
                    <a:pt x="2290" y="12048"/>
                    <a:pt x="2332" y="12016"/>
                  </a:cubicBezTo>
                  <a:cubicBezTo>
                    <a:pt x="2455" y="11929"/>
                    <a:pt x="2591" y="11869"/>
                    <a:pt x="2738" y="11841"/>
                  </a:cubicBezTo>
                  <a:cubicBezTo>
                    <a:pt x="2756" y="11838"/>
                    <a:pt x="2770" y="11838"/>
                    <a:pt x="2784" y="11838"/>
                  </a:cubicBezTo>
                  <a:lnTo>
                    <a:pt x="2787" y="11838"/>
                  </a:lnTo>
                  <a:cubicBezTo>
                    <a:pt x="2794" y="11836"/>
                    <a:pt x="2801" y="11835"/>
                    <a:pt x="2808" y="11835"/>
                  </a:cubicBezTo>
                  <a:cubicBezTo>
                    <a:pt x="2815" y="11835"/>
                    <a:pt x="2822" y="11836"/>
                    <a:pt x="2829" y="11838"/>
                  </a:cubicBezTo>
                  <a:cubicBezTo>
                    <a:pt x="2983" y="11845"/>
                    <a:pt x="3239" y="12013"/>
                    <a:pt x="3393" y="12170"/>
                  </a:cubicBezTo>
                  <a:cubicBezTo>
                    <a:pt x="3424" y="12202"/>
                    <a:pt x="3452" y="12237"/>
                    <a:pt x="3480" y="12275"/>
                  </a:cubicBezTo>
                  <a:cubicBezTo>
                    <a:pt x="3484" y="12282"/>
                    <a:pt x="3491" y="12293"/>
                    <a:pt x="3494" y="12300"/>
                  </a:cubicBezTo>
                  <a:cubicBezTo>
                    <a:pt x="3522" y="12342"/>
                    <a:pt x="3533" y="12394"/>
                    <a:pt x="3519" y="12447"/>
                  </a:cubicBezTo>
                  <a:cubicBezTo>
                    <a:pt x="3470" y="12583"/>
                    <a:pt x="3116" y="13098"/>
                    <a:pt x="2927" y="13144"/>
                  </a:cubicBezTo>
                  <a:lnTo>
                    <a:pt x="2892" y="13151"/>
                  </a:lnTo>
                  <a:lnTo>
                    <a:pt x="2885" y="13151"/>
                  </a:lnTo>
                  <a:lnTo>
                    <a:pt x="2847" y="13154"/>
                  </a:lnTo>
                  <a:lnTo>
                    <a:pt x="2840" y="13154"/>
                  </a:lnTo>
                  <a:lnTo>
                    <a:pt x="2794" y="13158"/>
                  </a:lnTo>
                  <a:lnTo>
                    <a:pt x="2745" y="13161"/>
                  </a:lnTo>
                  <a:lnTo>
                    <a:pt x="2738" y="13161"/>
                  </a:lnTo>
                  <a:lnTo>
                    <a:pt x="2735" y="13182"/>
                  </a:lnTo>
                  <a:cubicBezTo>
                    <a:pt x="2724" y="13221"/>
                    <a:pt x="2717" y="13256"/>
                    <a:pt x="2714" y="13294"/>
                  </a:cubicBezTo>
                  <a:cubicBezTo>
                    <a:pt x="2714" y="13336"/>
                    <a:pt x="2784" y="13424"/>
                    <a:pt x="2843" y="13501"/>
                  </a:cubicBezTo>
                  <a:cubicBezTo>
                    <a:pt x="2903" y="13574"/>
                    <a:pt x="2959" y="13655"/>
                    <a:pt x="3008" y="13739"/>
                  </a:cubicBezTo>
                  <a:cubicBezTo>
                    <a:pt x="3067" y="13830"/>
                    <a:pt x="3046" y="13949"/>
                    <a:pt x="2959" y="14019"/>
                  </a:cubicBezTo>
                  <a:cubicBezTo>
                    <a:pt x="2906" y="14060"/>
                    <a:pt x="2841" y="14081"/>
                    <a:pt x="2775" y="14081"/>
                  </a:cubicBezTo>
                  <a:cubicBezTo>
                    <a:pt x="2708" y="14081"/>
                    <a:pt x="2640" y="14058"/>
                    <a:pt x="2584" y="14012"/>
                  </a:cubicBezTo>
                  <a:cubicBezTo>
                    <a:pt x="2563" y="13994"/>
                    <a:pt x="2553" y="13994"/>
                    <a:pt x="2549" y="13994"/>
                  </a:cubicBezTo>
                  <a:cubicBezTo>
                    <a:pt x="2549" y="13994"/>
                    <a:pt x="2539" y="14005"/>
                    <a:pt x="2532" y="14029"/>
                  </a:cubicBezTo>
                  <a:cubicBezTo>
                    <a:pt x="2518" y="14075"/>
                    <a:pt x="2525" y="14120"/>
                    <a:pt x="2549" y="14162"/>
                  </a:cubicBezTo>
                  <a:cubicBezTo>
                    <a:pt x="2595" y="14218"/>
                    <a:pt x="2609" y="14302"/>
                    <a:pt x="2626" y="14383"/>
                  </a:cubicBezTo>
                  <a:cubicBezTo>
                    <a:pt x="2640" y="14467"/>
                    <a:pt x="2658" y="14565"/>
                    <a:pt x="2703" y="14568"/>
                  </a:cubicBezTo>
                  <a:cubicBezTo>
                    <a:pt x="2794" y="14582"/>
                    <a:pt x="2871" y="14663"/>
                    <a:pt x="2945" y="14743"/>
                  </a:cubicBezTo>
                  <a:cubicBezTo>
                    <a:pt x="3018" y="14824"/>
                    <a:pt x="3081" y="14894"/>
                    <a:pt x="3144" y="14894"/>
                  </a:cubicBezTo>
                  <a:cubicBezTo>
                    <a:pt x="3218" y="14897"/>
                    <a:pt x="3284" y="14925"/>
                    <a:pt x="3337" y="14971"/>
                  </a:cubicBezTo>
                  <a:lnTo>
                    <a:pt x="3344" y="14978"/>
                  </a:lnTo>
                  <a:cubicBezTo>
                    <a:pt x="3358" y="14992"/>
                    <a:pt x="3375" y="15002"/>
                    <a:pt x="3386" y="15020"/>
                  </a:cubicBezTo>
                  <a:lnTo>
                    <a:pt x="3396" y="15030"/>
                  </a:lnTo>
                  <a:lnTo>
                    <a:pt x="3410" y="15044"/>
                  </a:lnTo>
                  <a:cubicBezTo>
                    <a:pt x="3452" y="15090"/>
                    <a:pt x="3487" y="15139"/>
                    <a:pt x="3519" y="15195"/>
                  </a:cubicBezTo>
                  <a:lnTo>
                    <a:pt x="3550" y="15216"/>
                  </a:lnTo>
                  <a:lnTo>
                    <a:pt x="3554" y="15216"/>
                  </a:lnTo>
                  <a:lnTo>
                    <a:pt x="3585" y="15241"/>
                  </a:lnTo>
                  <a:lnTo>
                    <a:pt x="3592" y="15244"/>
                  </a:lnTo>
                  <a:lnTo>
                    <a:pt x="3624" y="15272"/>
                  </a:lnTo>
                  <a:lnTo>
                    <a:pt x="3631" y="15276"/>
                  </a:lnTo>
                  <a:cubicBezTo>
                    <a:pt x="3641" y="15283"/>
                    <a:pt x="3652" y="15293"/>
                    <a:pt x="3662" y="15304"/>
                  </a:cubicBezTo>
                  <a:cubicBezTo>
                    <a:pt x="3673" y="15311"/>
                    <a:pt x="3683" y="15321"/>
                    <a:pt x="3694" y="15332"/>
                  </a:cubicBezTo>
                  <a:lnTo>
                    <a:pt x="3697" y="15335"/>
                  </a:lnTo>
                  <a:cubicBezTo>
                    <a:pt x="3708" y="15346"/>
                    <a:pt x="3715" y="15356"/>
                    <a:pt x="3722" y="15367"/>
                  </a:cubicBezTo>
                  <a:lnTo>
                    <a:pt x="3725" y="15370"/>
                  </a:lnTo>
                  <a:cubicBezTo>
                    <a:pt x="3736" y="15381"/>
                    <a:pt x="3743" y="15391"/>
                    <a:pt x="3746" y="15402"/>
                  </a:cubicBezTo>
                  <a:lnTo>
                    <a:pt x="3750" y="15405"/>
                  </a:lnTo>
                  <a:cubicBezTo>
                    <a:pt x="3757" y="15416"/>
                    <a:pt x="3760" y="15423"/>
                    <a:pt x="3764" y="15433"/>
                  </a:cubicBezTo>
                  <a:lnTo>
                    <a:pt x="3799" y="15430"/>
                  </a:lnTo>
                  <a:lnTo>
                    <a:pt x="3834" y="15426"/>
                  </a:lnTo>
                  <a:lnTo>
                    <a:pt x="3837" y="15426"/>
                  </a:lnTo>
                  <a:lnTo>
                    <a:pt x="3865" y="15423"/>
                  </a:lnTo>
                  <a:lnTo>
                    <a:pt x="3897" y="15419"/>
                  </a:lnTo>
                  <a:lnTo>
                    <a:pt x="3918" y="15412"/>
                  </a:lnTo>
                  <a:lnTo>
                    <a:pt x="3921" y="15412"/>
                  </a:lnTo>
                  <a:lnTo>
                    <a:pt x="3939" y="15405"/>
                  </a:lnTo>
                  <a:lnTo>
                    <a:pt x="3942" y="15405"/>
                  </a:lnTo>
                  <a:cubicBezTo>
                    <a:pt x="3949" y="15405"/>
                    <a:pt x="3953" y="15402"/>
                    <a:pt x="3956" y="15398"/>
                  </a:cubicBezTo>
                  <a:cubicBezTo>
                    <a:pt x="3960" y="15398"/>
                    <a:pt x="3960" y="15395"/>
                    <a:pt x="3963" y="15391"/>
                  </a:cubicBezTo>
                  <a:cubicBezTo>
                    <a:pt x="3981" y="15342"/>
                    <a:pt x="4023" y="15304"/>
                    <a:pt x="4072" y="15297"/>
                  </a:cubicBezTo>
                  <a:cubicBezTo>
                    <a:pt x="4095" y="15290"/>
                    <a:pt x="4120" y="15287"/>
                    <a:pt x="4148" y="15287"/>
                  </a:cubicBezTo>
                  <a:cubicBezTo>
                    <a:pt x="4258" y="15287"/>
                    <a:pt x="4401" y="15338"/>
                    <a:pt x="4510" y="15447"/>
                  </a:cubicBezTo>
                  <a:cubicBezTo>
                    <a:pt x="4604" y="15538"/>
                    <a:pt x="4867" y="15720"/>
                    <a:pt x="5119" y="15895"/>
                  </a:cubicBezTo>
                  <a:cubicBezTo>
                    <a:pt x="5318" y="16032"/>
                    <a:pt x="5511" y="16165"/>
                    <a:pt x="5623" y="16256"/>
                  </a:cubicBezTo>
                  <a:cubicBezTo>
                    <a:pt x="5867" y="16456"/>
                    <a:pt x="6427" y="16666"/>
                    <a:pt x="6622" y="16666"/>
                  </a:cubicBezTo>
                  <a:cubicBezTo>
                    <a:pt x="6625" y="16666"/>
                    <a:pt x="6628" y="16665"/>
                    <a:pt x="6631" y="16665"/>
                  </a:cubicBezTo>
                  <a:cubicBezTo>
                    <a:pt x="6736" y="16665"/>
                    <a:pt x="6841" y="16686"/>
                    <a:pt x="6943" y="16725"/>
                  </a:cubicBezTo>
                  <a:cubicBezTo>
                    <a:pt x="7072" y="16774"/>
                    <a:pt x="7209" y="16798"/>
                    <a:pt x="7349" y="16798"/>
                  </a:cubicBezTo>
                  <a:lnTo>
                    <a:pt x="7450" y="16798"/>
                  </a:lnTo>
                  <a:cubicBezTo>
                    <a:pt x="7471" y="16784"/>
                    <a:pt x="7492" y="16774"/>
                    <a:pt x="7513" y="16763"/>
                  </a:cubicBezTo>
                  <a:cubicBezTo>
                    <a:pt x="7541" y="16749"/>
                    <a:pt x="7569" y="16728"/>
                    <a:pt x="7590" y="16704"/>
                  </a:cubicBezTo>
                  <a:cubicBezTo>
                    <a:pt x="7594" y="16700"/>
                    <a:pt x="7597" y="16697"/>
                    <a:pt x="7601" y="16693"/>
                  </a:cubicBezTo>
                  <a:cubicBezTo>
                    <a:pt x="7611" y="16676"/>
                    <a:pt x="7622" y="16662"/>
                    <a:pt x="7639" y="16651"/>
                  </a:cubicBezTo>
                  <a:cubicBezTo>
                    <a:pt x="7657" y="16637"/>
                    <a:pt x="7678" y="16627"/>
                    <a:pt x="7702" y="16627"/>
                  </a:cubicBezTo>
                  <a:cubicBezTo>
                    <a:pt x="7707" y="16626"/>
                    <a:pt x="7711" y="16626"/>
                    <a:pt x="7716" y="16626"/>
                  </a:cubicBezTo>
                  <a:cubicBezTo>
                    <a:pt x="7730" y="16626"/>
                    <a:pt x="7745" y="16630"/>
                    <a:pt x="7758" y="16637"/>
                  </a:cubicBezTo>
                  <a:cubicBezTo>
                    <a:pt x="7860" y="16679"/>
                    <a:pt x="7930" y="16879"/>
                    <a:pt x="7891" y="17026"/>
                  </a:cubicBezTo>
                  <a:cubicBezTo>
                    <a:pt x="7888" y="17033"/>
                    <a:pt x="7888" y="17043"/>
                    <a:pt x="7884" y="17054"/>
                  </a:cubicBezTo>
                  <a:lnTo>
                    <a:pt x="7884" y="17061"/>
                  </a:lnTo>
                  <a:lnTo>
                    <a:pt x="7884" y="17071"/>
                  </a:lnTo>
                  <a:lnTo>
                    <a:pt x="7888" y="17064"/>
                  </a:lnTo>
                  <a:cubicBezTo>
                    <a:pt x="7898" y="17043"/>
                    <a:pt x="7912" y="17019"/>
                    <a:pt x="7919" y="16994"/>
                  </a:cubicBezTo>
                  <a:cubicBezTo>
                    <a:pt x="7972" y="16847"/>
                    <a:pt x="8091" y="16728"/>
                    <a:pt x="8238" y="16676"/>
                  </a:cubicBezTo>
                  <a:cubicBezTo>
                    <a:pt x="8270" y="16665"/>
                    <a:pt x="8301" y="16648"/>
                    <a:pt x="8329" y="16627"/>
                  </a:cubicBezTo>
                  <a:cubicBezTo>
                    <a:pt x="8340" y="16620"/>
                    <a:pt x="8347" y="16613"/>
                    <a:pt x="8357" y="16606"/>
                  </a:cubicBezTo>
                  <a:cubicBezTo>
                    <a:pt x="8375" y="16595"/>
                    <a:pt x="8396" y="16588"/>
                    <a:pt x="8413" y="16581"/>
                  </a:cubicBezTo>
                  <a:cubicBezTo>
                    <a:pt x="8434" y="16574"/>
                    <a:pt x="8452" y="16571"/>
                    <a:pt x="8473" y="16567"/>
                  </a:cubicBezTo>
                  <a:lnTo>
                    <a:pt x="8501" y="16567"/>
                  </a:lnTo>
                  <a:cubicBezTo>
                    <a:pt x="8602" y="16567"/>
                    <a:pt x="8714" y="16623"/>
                    <a:pt x="8851" y="16693"/>
                  </a:cubicBezTo>
                  <a:cubicBezTo>
                    <a:pt x="8865" y="16704"/>
                    <a:pt x="8879" y="16707"/>
                    <a:pt x="8896" y="16714"/>
                  </a:cubicBezTo>
                  <a:cubicBezTo>
                    <a:pt x="8917" y="16718"/>
                    <a:pt x="8938" y="16721"/>
                    <a:pt x="8959" y="16721"/>
                  </a:cubicBezTo>
                  <a:cubicBezTo>
                    <a:pt x="8984" y="16718"/>
                    <a:pt x="9005" y="16714"/>
                    <a:pt x="9029" y="16711"/>
                  </a:cubicBezTo>
                  <a:lnTo>
                    <a:pt x="9064" y="16707"/>
                  </a:lnTo>
                  <a:lnTo>
                    <a:pt x="9201" y="16707"/>
                  </a:lnTo>
                  <a:lnTo>
                    <a:pt x="9215" y="16711"/>
                  </a:lnTo>
                  <a:lnTo>
                    <a:pt x="9229" y="16714"/>
                  </a:lnTo>
                  <a:lnTo>
                    <a:pt x="9243" y="16718"/>
                  </a:lnTo>
                  <a:lnTo>
                    <a:pt x="9257" y="16725"/>
                  </a:lnTo>
                  <a:lnTo>
                    <a:pt x="9271" y="16728"/>
                  </a:lnTo>
                  <a:lnTo>
                    <a:pt x="9285" y="16735"/>
                  </a:lnTo>
                  <a:lnTo>
                    <a:pt x="9302" y="16742"/>
                  </a:lnTo>
                  <a:lnTo>
                    <a:pt x="9316" y="16749"/>
                  </a:lnTo>
                  <a:lnTo>
                    <a:pt x="9334" y="16760"/>
                  </a:lnTo>
                  <a:lnTo>
                    <a:pt x="9351" y="16767"/>
                  </a:lnTo>
                  <a:lnTo>
                    <a:pt x="9369" y="16781"/>
                  </a:lnTo>
                  <a:lnTo>
                    <a:pt x="9383" y="16788"/>
                  </a:lnTo>
                  <a:lnTo>
                    <a:pt x="9404" y="16802"/>
                  </a:lnTo>
                  <a:lnTo>
                    <a:pt x="9421" y="16816"/>
                  </a:lnTo>
                  <a:lnTo>
                    <a:pt x="9442" y="16830"/>
                  </a:lnTo>
                  <a:lnTo>
                    <a:pt x="9460" y="16847"/>
                  </a:lnTo>
                  <a:lnTo>
                    <a:pt x="9463" y="16847"/>
                  </a:lnTo>
                  <a:lnTo>
                    <a:pt x="9502" y="16833"/>
                  </a:lnTo>
                  <a:lnTo>
                    <a:pt x="9509" y="16830"/>
                  </a:lnTo>
                  <a:lnTo>
                    <a:pt x="9533" y="16823"/>
                  </a:lnTo>
                  <a:cubicBezTo>
                    <a:pt x="9565" y="16805"/>
                    <a:pt x="9603" y="16798"/>
                    <a:pt x="9642" y="16795"/>
                  </a:cubicBezTo>
                  <a:cubicBezTo>
                    <a:pt x="9687" y="16760"/>
                    <a:pt x="9726" y="16721"/>
                    <a:pt x="9761" y="16679"/>
                  </a:cubicBezTo>
                  <a:cubicBezTo>
                    <a:pt x="9789" y="16648"/>
                    <a:pt x="9820" y="16609"/>
                    <a:pt x="9855" y="16578"/>
                  </a:cubicBezTo>
                  <a:cubicBezTo>
                    <a:pt x="9883" y="16546"/>
                    <a:pt x="9908" y="16508"/>
                    <a:pt x="9925" y="16469"/>
                  </a:cubicBezTo>
                  <a:cubicBezTo>
                    <a:pt x="9953" y="16414"/>
                    <a:pt x="9989" y="16339"/>
                    <a:pt x="10086" y="16339"/>
                  </a:cubicBezTo>
                  <a:cubicBezTo>
                    <a:pt x="10099" y="16339"/>
                    <a:pt x="10113" y="16340"/>
                    <a:pt x="10128" y="16343"/>
                  </a:cubicBezTo>
                  <a:cubicBezTo>
                    <a:pt x="10132" y="16344"/>
                    <a:pt x="10135" y="16344"/>
                    <a:pt x="10139" y="16344"/>
                  </a:cubicBezTo>
                  <a:cubicBezTo>
                    <a:pt x="10173" y="16344"/>
                    <a:pt x="10205" y="16313"/>
                    <a:pt x="10272" y="16256"/>
                  </a:cubicBezTo>
                  <a:cubicBezTo>
                    <a:pt x="10360" y="16172"/>
                    <a:pt x="10458" y="16102"/>
                    <a:pt x="10563" y="16046"/>
                  </a:cubicBezTo>
                  <a:cubicBezTo>
                    <a:pt x="10646" y="16000"/>
                    <a:pt x="10726" y="15985"/>
                    <a:pt x="10801" y="15985"/>
                  </a:cubicBezTo>
                  <a:cubicBezTo>
                    <a:pt x="10886" y="15985"/>
                    <a:pt x="10963" y="16004"/>
                    <a:pt x="11028" y="16021"/>
                  </a:cubicBezTo>
                  <a:cubicBezTo>
                    <a:pt x="11083" y="16034"/>
                    <a:pt x="11124" y="16045"/>
                    <a:pt x="11155" y="16045"/>
                  </a:cubicBezTo>
                  <a:cubicBezTo>
                    <a:pt x="11173" y="16045"/>
                    <a:pt x="11188" y="16041"/>
                    <a:pt x="11200" y="16032"/>
                  </a:cubicBezTo>
                  <a:cubicBezTo>
                    <a:pt x="11275" y="15968"/>
                    <a:pt x="11374" y="15911"/>
                    <a:pt x="11457" y="15911"/>
                  </a:cubicBezTo>
                  <a:cubicBezTo>
                    <a:pt x="11479" y="15911"/>
                    <a:pt x="11499" y="15915"/>
                    <a:pt x="11518" y="15923"/>
                  </a:cubicBezTo>
                  <a:cubicBezTo>
                    <a:pt x="11564" y="15944"/>
                    <a:pt x="11588" y="15990"/>
                    <a:pt x="11588" y="16039"/>
                  </a:cubicBezTo>
                  <a:cubicBezTo>
                    <a:pt x="11588" y="16074"/>
                    <a:pt x="11634" y="16137"/>
                    <a:pt x="11679" y="16189"/>
                  </a:cubicBezTo>
                  <a:cubicBezTo>
                    <a:pt x="11728" y="16249"/>
                    <a:pt x="11770" y="16312"/>
                    <a:pt x="11798" y="16385"/>
                  </a:cubicBezTo>
                  <a:cubicBezTo>
                    <a:pt x="11802" y="16389"/>
                    <a:pt x="11802" y="16392"/>
                    <a:pt x="11805" y="16396"/>
                  </a:cubicBezTo>
                  <a:cubicBezTo>
                    <a:pt x="11805" y="16399"/>
                    <a:pt x="11809" y="16403"/>
                    <a:pt x="11812" y="16406"/>
                  </a:cubicBezTo>
                  <a:lnTo>
                    <a:pt x="11823" y="16413"/>
                  </a:lnTo>
                  <a:cubicBezTo>
                    <a:pt x="11865" y="16448"/>
                    <a:pt x="11914" y="16473"/>
                    <a:pt x="11966" y="16487"/>
                  </a:cubicBezTo>
                  <a:lnTo>
                    <a:pt x="11970" y="16487"/>
                  </a:lnTo>
                  <a:lnTo>
                    <a:pt x="11984" y="16490"/>
                  </a:lnTo>
                  <a:cubicBezTo>
                    <a:pt x="12001" y="16494"/>
                    <a:pt x="12019" y="16497"/>
                    <a:pt x="12036" y="16501"/>
                  </a:cubicBezTo>
                  <a:lnTo>
                    <a:pt x="12043" y="16501"/>
                  </a:lnTo>
                  <a:lnTo>
                    <a:pt x="12057" y="16490"/>
                  </a:lnTo>
                  <a:lnTo>
                    <a:pt x="12064" y="16487"/>
                  </a:lnTo>
                  <a:lnTo>
                    <a:pt x="12078" y="16480"/>
                  </a:lnTo>
                  <a:lnTo>
                    <a:pt x="12082" y="16480"/>
                  </a:lnTo>
                  <a:lnTo>
                    <a:pt x="12092" y="16473"/>
                  </a:lnTo>
                  <a:lnTo>
                    <a:pt x="12099" y="16466"/>
                  </a:lnTo>
                  <a:cubicBezTo>
                    <a:pt x="12150" y="16434"/>
                    <a:pt x="12209" y="16417"/>
                    <a:pt x="12268" y="16417"/>
                  </a:cubicBezTo>
                  <a:cubicBezTo>
                    <a:pt x="12319" y="16417"/>
                    <a:pt x="12369" y="16429"/>
                    <a:pt x="12415" y="16455"/>
                  </a:cubicBezTo>
                  <a:cubicBezTo>
                    <a:pt x="12502" y="16494"/>
                    <a:pt x="12562" y="16581"/>
                    <a:pt x="12569" y="16679"/>
                  </a:cubicBezTo>
                  <a:cubicBezTo>
                    <a:pt x="12569" y="16875"/>
                    <a:pt x="12600" y="16914"/>
                    <a:pt x="12625" y="16914"/>
                  </a:cubicBezTo>
                  <a:cubicBezTo>
                    <a:pt x="12768" y="16914"/>
                    <a:pt x="12908" y="16942"/>
                    <a:pt x="12908" y="17247"/>
                  </a:cubicBezTo>
                  <a:cubicBezTo>
                    <a:pt x="12908" y="17306"/>
                    <a:pt x="12912" y="17366"/>
                    <a:pt x="12919" y="17429"/>
                  </a:cubicBezTo>
                  <a:cubicBezTo>
                    <a:pt x="12933" y="17621"/>
                    <a:pt x="12950" y="17835"/>
                    <a:pt x="12821" y="18017"/>
                  </a:cubicBezTo>
                  <a:cubicBezTo>
                    <a:pt x="12800" y="18045"/>
                    <a:pt x="12779" y="18073"/>
                    <a:pt x="12754" y="18094"/>
                  </a:cubicBezTo>
                  <a:cubicBezTo>
                    <a:pt x="12740" y="18111"/>
                    <a:pt x="12723" y="18129"/>
                    <a:pt x="12709" y="18143"/>
                  </a:cubicBezTo>
                  <a:cubicBezTo>
                    <a:pt x="12474" y="18395"/>
                    <a:pt x="12295" y="18724"/>
                    <a:pt x="12320" y="18787"/>
                  </a:cubicBezTo>
                  <a:cubicBezTo>
                    <a:pt x="12341" y="18850"/>
                    <a:pt x="12345" y="18916"/>
                    <a:pt x="12334" y="18979"/>
                  </a:cubicBezTo>
                  <a:cubicBezTo>
                    <a:pt x="12334" y="18993"/>
                    <a:pt x="12331" y="19007"/>
                    <a:pt x="12331" y="19021"/>
                  </a:cubicBezTo>
                  <a:cubicBezTo>
                    <a:pt x="12388" y="18992"/>
                    <a:pt x="12465" y="18979"/>
                    <a:pt x="12544" y="18979"/>
                  </a:cubicBezTo>
                  <a:cubicBezTo>
                    <a:pt x="12689" y="18979"/>
                    <a:pt x="12841" y="19022"/>
                    <a:pt x="12898" y="19081"/>
                  </a:cubicBezTo>
                  <a:cubicBezTo>
                    <a:pt x="12933" y="19116"/>
                    <a:pt x="12940" y="19172"/>
                    <a:pt x="12912" y="19214"/>
                  </a:cubicBezTo>
                  <a:cubicBezTo>
                    <a:pt x="12894" y="19242"/>
                    <a:pt x="12894" y="19375"/>
                    <a:pt x="12947" y="19480"/>
                  </a:cubicBezTo>
                  <a:cubicBezTo>
                    <a:pt x="12975" y="19529"/>
                    <a:pt x="13003" y="19561"/>
                    <a:pt x="13031" y="19561"/>
                  </a:cubicBezTo>
                  <a:cubicBezTo>
                    <a:pt x="13146" y="19571"/>
                    <a:pt x="13230" y="19613"/>
                    <a:pt x="13276" y="19680"/>
                  </a:cubicBezTo>
                  <a:cubicBezTo>
                    <a:pt x="13314" y="19743"/>
                    <a:pt x="13321" y="19823"/>
                    <a:pt x="13293" y="19890"/>
                  </a:cubicBezTo>
                  <a:lnTo>
                    <a:pt x="13283" y="19925"/>
                  </a:lnTo>
                  <a:cubicBezTo>
                    <a:pt x="13262" y="19988"/>
                    <a:pt x="13213" y="20128"/>
                    <a:pt x="13227" y="20166"/>
                  </a:cubicBezTo>
                  <a:lnTo>
                    <a:pt x="13234" y="20166"/>
                  </a:lnTo>
                  <a:cubicBezTo>
                    <a:pt x="13349" y="20166"/>
                    <a:pt x="13496" y="20166"/>
                    <a:pt x="13566" y="20250"/>
                  </a:cubicBezTo>
                  <a:cubicBezTo>
                    <a:pt x="13598" y="20289"/>
                    <a:pt x="13612" y="20341"/>
                    <a:pt x="13601" y="20390"/>
                  </a:cubicBezTo>
                  <a:cubicBezTo>
                    <a:pt x="13591" y="20432"/>
                    <a:pt x="13605" y="20474"/>
                    <a:pt x="13636" y="20502"/>
                  </a:cubicBezTo>
                  <a:cubicBezTo>
                    <a:pt x="13659" y="20519"/>
                    <a:pt x="13688" y="20528"/>
                    <a:pt x="13723" y="20528"/>
                  </a:cubicBezTo>
                  <a:cubicBezTo>
                    <a:pt x="13760" y="20528"/>
                    <a:pt x="13803" y="20519"/>
                    <a:pt x="13850" y="20499"/>
                  </a:cubicBezTo>
                  <a:cubicBezTo>
                    <a:pt x="13881" y="20488"/>
                    <a:pt x="13909" y="20474"/>
                    <a:pt x="13934" y="20464"/>
                  </a:cubicBezTo>
                  <a:lnTo>
                    <a:pt x="13962" y="20453"/>
                  </a:lnTo>
                  <a:lnTo>
                    <a:pt x="13965" y="20453"/>
                  </a:lnTo>
                  <a:cubicBezTo>
                    <a:pt x="14006" y="20435"/>
                    <a:pt x="14047" y="20420"/>
                    <a:pt x="14084" y="20420"/>
                  </a:cubicBezTo>
                  <a:cubicBezTo>
                    <a:pt x="14110" y="20420"/>
                    <a:pt x="14134" y="20427"/>
                    <a:pt x="14154" y="20446"/>
                  </a:cubicBezTo>
                  <a:cubicBezTo>
                    <a:pt x="14214" y="20460"/>
                    <a:pt x="14252" y="20523"/>
                    <a:pt x="14280" y="20572"/>
                  </a:cubicBezTo>
                  <a:cubicBezTo>
                    <a:pt x="14312" y="20632"/>
                    <a:pt x="14343" y="20688"/>
                    <a:pt x="14410" y="20705"/>
                  </a:cubicBezTo>
                  <a:lnTo>
                    <a:pt x="14421" y="20705"/>
                  </a:lnTo>
                  <a:cubicBezTo>
                    <a:pt x="14456" y="20670"/>
                    <a:pt x="14410" y="20425"/>
                    <a:pt x="14368" y="20380"/>
                  </a:cubicBezTo>
                  <a:cubicBezTo>
                    <a:pt x="14284" y="20296"/>
                    <a:pt x="14343" y="20075"/>
                    <a:pt x="14410" y="20012"/>
                  </a:cubicBezTo>
                  <a:cubicBezTo>
                    <a:pt x="14424" y="19995"/>
                    <a:pt x="14449" y="19984"/>
                    <a:pt x="14470" y="19981"/>
                  </a:cubicBezTo>
                  <a:cubicBezTo>
                    <a:pt x="14474" y="19980"/>
                    <a:pt x="14477" y="19980"/>
                    <a:pt x="14481" y="19980"/>
                  </a:cubicBezTo>
                  <a:cubicBezTo>
                    <a:pt x="14508" y="19980"/>
                    <a:pt x="14532" y="19990"/>
                    <a:pt x="14550" y="20009"/>
                  </a:cubicBezTo>
                  <a:lnTo>
                    <a:pt x="14554" y="20009"/>
                  </a:lnTo>
                  <a:cubicBezTo>
                    <a:pt x="14561" y="20012"/>
                    <a:pt x="14571" y="20012"/>
                    <a:pt x="14582" y="20012"/>
                  </a:cubicBezTo>
                  <a:lnTo>
                    <a:pt x="14585" y="20012"/>
                  </a:lnTo>
                  <a:cubicBezTo>
                    <a:pt x="14592" y="20012"/>
                    <a:pt x="14599" y="20012"/>
                    <a:pt x="14606" y="20009"/>
                  </a:cubicBezTo>
                  <a:cubicBezTo>
                    <a:pt x="14617" y="20009"/>
                    <a:pt x="14627" y="20005"/>
                    <a:pt x="14634" y="20002"/>
                  </a:cubicBezTo>
                  <a:lnTo>
                    <a:pt x="14662" y="19991"/>
                  </a:lnTo>
                  <a:lnTo>
                    <a:pt x="14683" y="19984"/>
                  </a:lnTo>
                  <a:lnTo>
                    <a:pt x="14690" y="19981"/>
                  </a:lnTo>
                  <a:cubicBezTo>
                    <a:pt x="14701" y="19974"/>
                    <a:pt x="14711" y="19967"/>
                    <a:pt x="14722" y="19963"/>
                  </a:cubicBezTo>
                  <a:lnTo>
                    <a:pt x="14725" y="19963"/>
                  </a:lnTo>
                  <a:cubicBezTo>
                    <a:pt x="14736" y="19956"/>
                    <a:pt x="14746" y="19949"/>
                    <a:pt x="14753" y="19942"/>
                  </a:cubicBezTo>
                  <a:lnTo>
                    <a:pt x="14757" y="19939"/>
                  </a:lnTo>
                  <a:cubicBezTo>
                    <a:pt x="14764" y="19932"/>
                    <a:pt x="14771" y="19925"/>
                    <a:pt x="14778" y="19921"/>
                  </a:cubicBezTo>
                  <a:cubicBezTo>
                    <a:pt x="14792" y="19907"/>
                    <a:pt x="14802" y="19897"/>
                    <a:pt x="14816" y="19883"/>
                  </a:cubicBezTo>
                  <a:cubicBezTo>
                    <a:pt x="14855" y="19836"/>
                    <a:pt x="14902" y="19820"/>
                    <a:pt x="14949" y="19820"/>
                  </a:cubicBezTo>
                  <a:cubicBezTo>
                    <a:pt x="14986" y="19820"/>
                    <a:pt x="15024" y="19830"/>
                    <a:pt x="15058" y="19841"/>
                  </a:cubicBezTo>
                  <a:lnTo>
                    <a:pt x="15068" y="19841"/>
                  </a:lnTo>
                  <a:lnTo>
                    <a:pt x="15093" y="19851"/>
                  </a:lnTo>
                  <a:cubicBezTo>
                    <a:pt x="15138" y="19865"/>
                    <a:pt x="15166" y="19871"/>
                    <a:pt x="15184" y="19871"/>
                  </a:cubicBezTo>
                  <a:cubicBezTo>
                    <a:pt x="15203" y="19871"/>
                    <a:pt x="15211" y="19864"/>
                    <a:pt x="15219" y="19851"/>
                  </a:cubicBezTo>
                  <a:cubicBezTo>
                    <a:pt x="15243" y="19799"/>
                    <a:pt x="15296" y="19767"/>
                    <a:pt x="15355" y="19767"/>
                  </a:cubicBezTo>
                  <a:cubicBezTo>
                    <a:pt x="15404" y="19774"/>
                    <a:pt x="15450" y="19785"/>
                    <a:pt x="15495" y="19806"/>
                  </a:cubicBezTo>
                  <a:cubicBezTo>
                    <a:pt x="15548" y="19824"/>
                    <a:pt x="15597" y="19844"/>
                    <a:pt x="15644" y="19844"/>
                  </a:cubicBezTo>
                  <a:cubicBezTo>
                    <a:pt x="15670" y="19844"/>
                    <a:pt x="15695" y="19838"/>
                    <a:pt x="15719" y="19823"/>
                  </a:cubicBezTo>
                  <a:cubicBezTo>
                    <a:pt x="15767" y="19796"/>
                    <a:pt x="15822" y="19783"/>
                    <a:pt x="15877" y="19783"/>
                  </a:cubicBezTo>
                  <a:cubicBezTo>
                    <a:pt x="15915" y="19783"/>
                    <a:pt x="15953" y="19789"/>
                    <a:pt x="15989" y="19802"/>
                  </a:cubicBezTo>
                  <a:cubicBezTo>
                    <a:pt x="16010" y="19808"/>
                    <a:pt x="16022" y="19811"/>
                    <a:pt x="16031" y="19811"/>
                  </a:cubicBezTo>
                  <a:cubicBezTo>
                    <a:pt x="16044" y="19811"/>
                    <a:pt x="16048" y="19804"/>
                    <a:pt x="16059" y="19785"/>
                  </a:cubicBezTo>
                  <a:cubicBezTo>
                    <a:pt x="16139" y="19645"/>
                    <a:pt x="16360" y="19480"/>
                    <a:pt x="16490" y="19459"/>
                  </a:cubicBezTo>
                  <a:lnTo>
                    <a:pt x="16525" y="19459"/>
                  </a:lnTo>
                  <a:cubicBezTo>
                    <a:pt x="16549" y="19463"/>
                    <a:pt x="16570" y="19470"/>
                    <a:pt x="16588" y="19484"/>
                  </a:cubicBezTo>
                  <a:lnTo>
                    <a:pt x="16595" y="19491"/>
                  </a:lnTo>
                  <a:cubicBezTo>
                    <a:pt x="16609" y="19505"/>
                    <a:pt x="16619" y="19519"/>
                    <a:pt x="16633" y="19533"/>
                  </a:cubicBezTo>
                  <a:cubicBezTo>
                    <a:pt x="16682" y="19599"/>
                    <a:pt x="16749" y="19676"/>
                    <a:pt x="17011" y="19708"/>
                  </a:cubicBezTo>
                  <a:cubicBezTo>
                    <a:pt x="17039" y="19711"/>
                    <a:pt x="17067" y="19718"/>
                    <a:pt x="17099" y="19725"/>
                  </a:cubicBezTo>
                  <a:cubicBezTo>
                    <a:pt x="17158" y="19736"/>
                    <a:pt x="17214" y="19771"/>
                    <a:pt x="17253" y="19823"/>
                  </a:cubicBezTo>
                  <a:cubicBezTo>
                    <a:pt x="17277" y="19872"/>
                    <a:pt x="17281" y="19932"/>
                    <a:pt x="17256" y="19984"/>
                  </a:cubicBezTo>
                  <a:cubicBezTo>
                    <a:pt x="17253" y="19998"/>
                    <a:pt x="17246" y="20016"/>
                    <a:pt x="17239" y="20030"/>
                  </a:cubicBezTo>
                  <a:cubicBezTo>
                    <a:pt x="17228" y="20051"/>
                    <a:pt x="17221" y="20075"/>
                    <a:pt x="17218" y="20100"/>
                  </a:cubicBezTo>
                  <a:cubicBezTo>
                    <a:pt x="17232" y="20170"/>
                    <a:pt x="17568" y="20425"/>
                    <a:pt x="17701" y="20443"/>
                  </a:cubicBezTo>
                  <a:cubicBezTo>
                    <a:pt x="17708" y="20446"/>
                    <a:pt x="17718" y="20446"/>
                    <a:pt x="17725" y="20450"/>
                  </a:cubicBezTo>
                  <a:lnTo>
                    <a:pt x="17729" y="20450"/>
                  </a:lnTo>
                  <a:cubicBezTo>
                    <a:pt x="17739" y="20453"/>
                    <a:pt x="17746" y="20460"/>
                    <a:pt x="17757" y="20464"/>
                  </a:cubicBezTo>
                  <a:lnTo>
                    <a:pt x="17760" y="20467"/>
                  </a:lnTo>
                  <a:cubicBezTo>
                    <a:pt x="17781" y="20481"/>
                    <a:pt x="17799" y="20499"/>
                    <a:pt x="17820" y="20520"/>
                  </a:cubicBezTo>
                  <a:lnTo>
                    <a:pt x="17823" y="20520"/>
                  </a:lnTo>
                  <a:cubicBezTo>
                    <a:pt x="17854" y="20515"/>
                    <a:pt x="17885" y="20511"/>
                    <a:pt x="17917" y="20511"/>
                  </a:cubicBezTo>
                  <a:cubicBezTo>
                    <a:pt x="17929" y="20511"/>
                    <a:pt x="17941" y="20512"/>
                    <a:pt x="17953" y="20513"/>
                  </a:cubicBezTo>
                  <a:cubicBezTo>
                    <a:pt x="18040" y="20513"/>
                    <a:pt x="18065" y="20509"/>
                    <a:pt x="18075" y="20488"/>
                  </a:cubicBezTo>
                  <a:cubicBezTo>
                    <a:pt x="18093" y="20411"/>
                    <a:pt x="18159" y="20359"/>
                    <a:pt x="18236" y="20348"/>
                  </a:cubicBezTo>
                  <a:cubicBezTo>
                    <a:pt x="18240" y="20348"/>
                    <a:pt x="18243" y="20348"/>
                    <a:pt x="18246" y="20348"/>
                  </a:cubicBezTo>
                  <a:cubicBezTo>
                    <a:pt x="18348" y="20348"/>
                    <a:pt x="18441" y="20400"/>
                    <a:pt x="18492" y="20488"/>
                  </a:cubicBezTo>
                  <a:cubicBezTo>
                    <a:pt x="18516" y="20534"/>
                    <a:pt x="18541" y="20555"/>
                    <a:pt x="18559" y="20558"/>
                  </a:cubicBezTo>
                  <a:cubicBezTo>
                    <a:pt x="18561" y="20559"/>
                    <a:pt x="18563" y="20559"/>
                    <a:pt x="18566" y="20559"/>
                  </a:cubicBezTo>
                  <a:cubicBezTo>
                    <a:pt x="18588" y="20559"/>
                    <a:pt x="18627" y="20543"/>
                    <a:pt x="18706" y="20474"/>
                  </a:cubicBezTo>
                  <a:cubicBezTo>
                    <a:pt x="18741" y="20439"/>
                    <a:pt x="18786" y="20418"/>
                    <a:pt x="18835" y="20418"/>
                  </a:cubicBezTo>
                  <a:cubicBezTo>
                    <a:pt x="18849" y="20418"/>
                    <a:pt x="18863" y="20422"/>
                    <a:pt x="18877" y="20425"/>
                  </a:cubicBezTo>
                  <a:cubicBezTo>
                    <a:pt x="18944" y="20453"/>
                    <a:pt x="18989" y="20513"/>
                    <a:pt x="18996" y="20586"/>
                  </a:cubicBezTo>
                  <a:cubicBezTo>
                    <a:pt x="19017" y="20663"/>
                    <a:pt x="18993" y="20744"/>
                    <a:pt x="18937" y="20800"/>
                  </a:cubicBezTo>
                  <a:cubicBezTo>
                    <a:pt x="18919" y="20817"/>
                    <a:pt x="18912" y="20842"/>
                    <a:pt x="18916" y="20866"/>
                  </a:cubicBezTo>
                  <a:cubicBezTo>
                    <a:pt x="18919" y="20985"/>
                    <a:pt x="18972" y="21097"/>
                    <a:pt x="19063" y="21178"/>
                  </a:cubicBezTo>
                  <a:cubicBezTo>
                    <a:pt x="19070" y="21188"/>
                    <a:pt x="19080" y="21199"/>
                    <a:pt x="19094" y="21206"/>
                  </a:cubicBezTo>
                  <a:cubicBezTo>
                    <a:pt x="19112" y="21139"/>
                    <a:pt x="19115" y="21073"/>
                    <a:pt x="19098" y="21006"/>
                  </a:cubicBezTo>
                  <a:cubicBezTo>
                    <a:pt x="19056" y="20828"/>
                    <a:pt x="19283" y="20677"/>
                    <a:pt x="19910" y="20471"/>
                  </a:cubicBezTo>
                  <a:cubicBezTo>
                    <a:pt x="20403" y="20306"/>
                    <a:pt x="20887" y="19967"/>
                    <a:pt x="20932" y="19893"/>
                  </a:cubicBezTo>
                  <a:cubicBezTo>
                    <a:pt x="20936" y="19872"/>
                    <a:pt x="20950" y="19855"/>
                    <a:pt x="20967" y="19841"/>
                  </a:cubicBezTo>
                  <a:cubicBezTo>
                    <a:pt x="20984" y="19830"/>
                    <a:pt x="21003" y="19825"/>
                    <a:pt x="21025" y="19825"/>
                  </a:cubicBezTo>
                  <a:cubicBezTo>
                    <a:pt x="21060" y="19825"/>
                    <a:pt x="21103" y="19837"/>
                    <a:pt x="21160" y="19855"/>
                  </a:cubicBezTo>
                  <a:cubicBezTo>
                    <a:pt x="21225" y="19875"/>
                    <a:pt x="21313" y="19901"/>
                    <a:pt x="21387" y="19901"/>
                  </a:cubicBezTo>
                  <a:cubicBezTo>
                    <a:pt x="21428" y="19901"/>
                    <a:pt x="21465" y="19893"/>
                    <a:pt x="21492" y="19872"/>
                  </a:cubicBezTo>
                  <a:cubicBezTo>
                    <a:pt x="21643" y="19757"/>
                    <a:pt x="22045" y="19725"/>
                    <a:pt x="22423" y="19708"/>
                  </a:cubicBezTo>
                  <a:lnTo>
                    <a:pt x="22472" y="19704"/>
                  </a:lnTo>
                  <a:cubicBezTo>
                    <a:pt x="22535" y="19704"/>
                    <a:pt x="22556" y="19680"/>
                    <a:pt x="22605" y="19610"/>
                  </a:cubicBezTo>
                  <a:cubicBezTo>
                    <a:pt x="22647" y="19543"/>
                    <a:pt x="22700" y="19487"/>
                    <a:pt x="22760" y="19438"/>
                  </a:cubicBezTo>
                  <a:cubicBezTo>
                    <a:pt x="22802" y="19403"/>
                    <a:pt x="22844" y="19361"/>
                    <a:pt x="22875" y="19319"/>
                  </a:cubicBezTo>
                  <a:cubicBezTo>
                    <a:pt x="22931" y="19242"/>
                    <a:pt x="23012" y="19186"/>
                    <a:pt x="23106" y="19168"/>
                  </a:cubicBezTo>
                  <a:cubicBezTo>
                    <a:pt x="23271" y="19119"/>
                    <a:pt x="23372" y="18965"/>
                    <a:pt x="23372" y="18899"/>
                  </a:cubicBezTo>
                  <a:cubicBezTo>
                    <a:pt x="23372" y="18804"/>
                    <a:pt x="23481" y="18766"/>
                    <a:pt x="23596" y="18724"/>
                  </a:cubicBezTo>
                  <a:cubicBezTo>
                    <a:pt x="23642" y="18706"/>
                    <a:pt x="23726" y="18675"/>
                    <a:pt x="23747" y="18654"/>
                  </a:cubicBezTo>
                  <a:cubicBezTo>
                    <a:pt x="23754" y="18573"/>
                    <a:pt x="23834" y="18528"/>
                    <a:pt x="23908" y="18489"/>
                  </a:cubicBezTo>
                  <a:cubicBezTo>
                    <a:pt x="23957" y="18461"/>
                    <a:pt x="24020" y="18426"/>
                    <a:pt x="24020" y="18398"/>
                  </a:cubicBezTo>
                  <a:cubicBezTo>
                    <a:pt x="24020" y="18279"/>
                    <a:pt x="24114" y="18237"/>
                    <a:pt x="24174" y="18213"/>
                  </a:cubicBezTo>
                  <a:cubicBezTo>
                    <a:pt x="24209" y="18202"/>
                    <a:pt x="24240" y="18181"/>
                    <a:pt x="24268" y="18153"/>
                  </a:cubicBezTo>
                  <a:cubicBezTo>
                    <a:pt x="24286" y="18132"/>
                    <a:pt x="24279" y="18055"/>
                    <a:pt x="24272" y="18003"/>
                  </a:cubicBezTo>
                  <a:cubicBezTo>
                    <a:pt x="24261" y="17894"/>
                    <a:pt x="24251" y="17751"/>
                    <a:pt x="24370" y="17712"/>
                  </a:cubicBezTo>
                  <a:cubicBezTo>
                    <a:pt x="24356" y="17681"/>
                    <a:pt x="24338" y="17653"/>
                    <a:pt x="24317" y="17628"/>
                  </a:cubicBezTo>
                  <a:cubicBezTo>
                    <a:pt x="24293" y="17597"/>
                    <a:pt x="24272" y="17562"/>
                    <a:pt x="24258" y="17527"/>
                  </a:cubicBezTo>
                  <a:cubicBezTo>
                    <a:pt x="24251" y="17502"/>
                    <a:pt x="24251" y="17478"/>
                    <a:pt x="24265" y="17457"/>
                  </a:cubicBezTo>
                  <a:cubicBezTo>
                    <a:pt x="24293" y="17401"/>
                    <a:pt x="24363" y="17380"/>
                    <a:pt x="24461" y="17352"/>
                  </a:cubicBezTo>
                  <a:cubicBezTo>
                    <a:pt x="24531" y="17334"/>
                    <a:pt x="24601" y="17310"/>
                    <a:pt x="24664" y="17275"/>
                  </a:cubicBezTo>
                  <a:cubicBezTo>
                    <a:pt x="24783" y="17198"/>
                    <a:pt x="24864" y="17078"/>
                    <a:pt x="24885" y="16938"/>
                  </a:cubicBezTo>
                  <a:cubicBezTo>
                    <a:pt x="24916" y="16739"/>
                    <a:pt x="25189" y="16592"/>
                    <a:pt x="25284" y="16557"/>
                  </a:cubicBezTo>
                  <a:cubicBezTo>
                    <a:pt x="25340" y="16532"/>
                    <a:pt x="25385" y="16364"/>
                    <a:pt x="25354" y="16186"/>
                  </a:cubicBezTo>
                  <a:cubicBezTo>
                    <a:pt x="25333" y="16105"/>
                    <a:pt x="25368" y="16021"/>
                    <a:pt x="25438" y="15979"/>
                  </a:cubicBezTo>
                  <a:cubicBezTo>
                    <a:pt x="25413" y="15944"/>
                    <a:pt x="25406" y="15902"/>
                    <a:pt x="25413" y="15864"/>
                  </a:cubicBezTo>
                  <a:cubicBezTo>
                    <a:pt x="25431" y="15762"/>
                    <a:pt x="25529" y="15657"/>
                    <a:pt x="25644" y="15601"/>
                  </a:cubicBezTo>
                  <a:cubicBezTo>
                    <a:pt x="25639" y="15601"/>
                    <a:pt x="25634" y="15600"/>
                    <a:pt x="25630" y="15600"/>
                  </a:cubicBezTo>
                  <a:cubicBezTo>
                    <a:pt x="25605" y="15600"/>
                    <a:pt x="25580" y="15607"/>
                    <a:pt x="25557" y="15619"/>
                  </a:cubicBezTo>
                  <a:cubicBezTo>
                    <a:pt x="25531" y="15638"/>
                    <a:pt x="25506" y="15646"/>
                    <a:pt x="25482" y="15646"/>
                  </a:cubicBezTo>
                  <a:cubicBezTo>
                    <a:pt x="25416" y="15646"/>
                    <a:pt x="25356" y="15587"/>
                    <a:pt x="25315" y="15549"/>
                  </a:cubicBezTo>
                  <a:cubicBezTo>
                    <a:pt x="25298" y="15528"/>
                    <a:pt x="25277" y="15510"/>
                    <a:pt x="25256" y="15493"/>
                  </a:cubicBezTo>
                  <a:cubicBezTo>
                    <a:pt x="25222" y="15536"/>
                    <a:pt x="25171" y="15558"/>
                    <a:pt x="25115" y="15558"/>
                  </a:cubicBezTo>
                  <a:cubicBezTo>
                    <a:pt x="25085" y="15558"/>
                    <a:pt x="25053" y="15552"/>
                    <a:pt x="25021" y="15538"/>
                  </a:cubicBezTo>
                  <a:cubicBezTo>
                    <a:pt x="24948" y="15510"/>
                    <a:pt x="24881" y="15451"/>
                    <a:pt x="24885" y="15377"/>
                  </a:cubicBezTo>
                  <a:cubicBezTo>
                    <a:pt x="24885" y="15353"/>
                    <a:pt x="24902" y="15297"/>
                    <a:pt x="24997" y="15276"/>
                  </a:cubicBezTo>
                  <a:cubicBezTo>
                    <a:pt x="25088" y="15255"/>
                    <a:pt x="25224" y="15174"/>
                    <a:pt x="25343" y="15108"/>
                  </a:cubicBezTo>
                  <a:cubicBezTo>
                    <a:pt x="25406" y="15069"/>
                    <a:pt x="25469" y="15034"/>
                    <a:pt x="25539" y="15002"/>
                  </a:cubicBezTo>
                  <a:cubicBezTo>
                    <a:pt x="25498" y="14940"/>
                    <a:pt x="25347" y="14820"/>
                    <a:pt x="25259" y="14820"/>
                  </a:cubicBezTo>
                  <a:cubicBezTo>
                    <a:pt x="25258" y="14820"/>
                    <a:pt x="25257" y="14820"/>
                    <a:pt x="25256" y="14820"/>
                  </a:cubicBezTo>
                  <a:cubicBezTo>
                    <a:pt x="25252" y="14821"/>
                    <a:pt x="25248" y="14821"/>
                    <a:pt x="25245" y="14821"/>
                  </a:cubicBezTo>
                  <a:cubicBezTo>
                    <a:pt x="25141" y="14821"/>
                    <a:pt x="25056" y="14726"/>
                    <a:pt x="24965" y="14624"/>
                  </a:cubicBezTo>
                  <a:cubicBezTo>
                    <a:pt x="24899" y="14554"/>
                    <a:pt x="24818" y="14467"/>
                    <a:pt x="24765" y="14467"/>
                  </a:cubicBezTo>
                  <a:cubicBezTo>
                    <a:pt x="24741" y="14467"/>
                    <a:pt x="24678" y="14467"/>
                    <a:pt x="24657" y="14414"/>
                  </a:cubicBezTo>
                  <a:cubicBezTo>
                    <a:pt x="24646" y="14383"/>
                    <a:pt x="24657" y="14351"/>
                    <a:pt x="24681" y="14334"/>
                  </a:cubicBezTo>
                  <a:cubicBezTo>
                    <a:pt x="24712" y="14305"/>
                    <a:pt x="24798" y="14280"/>
                    <a:pt x="24896" y="14280"/>
                  </a:cubicBezTo>
                  <a:cubicBezTo>
                    <a:pt x="24965" y="14280"/>
                    <a:pt x="25041" y="14293"/>
                    <a:pt x="25105" y="14327"/>
                  </a:cubicBezTo>
                  <a:cubicBezTo>
                    <a:pt x="25290" y="14422"/>
                    <a:pt x="25403" y="14448"/>
                    <a:pt x="25463" y="14448"/>
                  </a:cubicBezTo>
                  <a:cubicBezTo>
                    <a:pt x="25480" y="14448"/>
                    <a:pt x="25492" y="14445"/>
                    <a:pt x="25501" y="14442"/>
                  </a:cubicBezTo>
                  <a:cubicBezTo>
                    <a:pt x="25480" y="14390"/>
                    <a:pt x="25354" y="14246"/>
                    <a:pt x="25060" y="14015"/>
                  </a:cubicBezTo>
                  <a:cubicBezTo>
                    <a:pt x="24948" y="13928"/>
                    <a:pt x="24958" y="13823"/>
                    <a:pt x="24965" y="13753"/>
                  </a:cubicBezTo>
                  <a:cubicBezTo>
                    <a:pt x="24969" y="13718"/>
                    <a:pt x="24972" y="13693"/>
                    <a:pt x="24962" y="13686"/>
                  </a:cubicBezTo>
                  <a:cubicBezTo>
                    <a:pt x="24850" y="13606"/>
                    <a:pt x="24650" y="13158"/>
                    <a:pt x="24590" y="12993"/>
                  </a:cubicBezTo>
                  <a:cubicBezTo>
                    <a:pt x="24562" y="12912"/>
                    <a:pt x="24450" y="12860"/>
                    <a:pt x="24345" y="12818"/>
                  </a:cubicBezTo>
                  <a:cubicBezTo>
                    <a:pt x="24247" y="12772"/>
                    <a:pt x="24160" y="12737"/>
                    <a:pt x="24114" y="12671"/>
                  </a:cubicBezTo>
                  <a:cubicBezTo>
                    <a:pt x="24069" y="12587"/>
                    <a:pt x="24058" y="12489"/>
                    <a:pt x="24093" y="12401"/>
                  </a:cubicBezTo>
                  <a:cubicBezTo>
                    <a:pt x="24139" y="12247"/>
                    <a:pt x="24254" y="12125"/>
                    <a:pt x="24401" y="12062"/>
                  </a:cubicBezTo>
                  <a:cubicBezTo>
                    <a:pt x="24482" y="12034"/>
                    <a:pt x="24538" y="11967"/>
                    <a:pt x="24552" y="11883"/>
                  </a:cubicBezTo>
                  <a:cubicBezTo>
                    <a:pt x="24564" y="11846"/>
                    <a:pt x="24585" y="11764"/>
                    <a:pt x="24667" y="11764"/>
                  </a:cubicBezTo>
                  <a:cubicBezTo>
                    <a:pt x="24676" y="11764"/>
                    <a:pt x="24687" y="11765"/>
                    <a:pt x="24699" y="11768"/>
                  </a:cubicBezTo>
                  <a:cubicBezTo>
                    <a:pt x="24711" y="11770"/>
                    <a:pt x="24724" y="11772"/>
                    <a:pt x="24737" y="11772"/>
                  </a:cubicBezTo>
                  <a:cubicBezTo>
                    <a:pt x="24794" y="11772"/>
                    <a:pt x="24858" y="11738"/>
                    <a:pt x="24927" y="11593"/>
                  </a:cubicBezTo>
                  <a:cubicBezTo>
                    <a:pt x="24993" y="11449"/>
                    <a:pt x="25105" y="11442"/>
                    <a:pt x="25175" y="11435"/>
                  </a:cubicBezTo>
                  <a:cubicBezTo>
                    <a:pt x="25224" y="11432"/>
                    <a:pt x="25249" y="11428"/>
                    <a:pt x="25270" y="11407"/>
                  </a:cubicBezTo>
                  <a:cubicBezTo>
                    <a:pt x="25329" y="11341"/>
                    <a:pt x="25459" y="11320"/>
                    <a:pt x="25609" y="11292"/>
                  </a:cubicBezTo>
                  <a:cubicBezTo>
                    <a:pt x="25721" y="11274"/>
                    <a:pt x="25847" y="11250"/>
                    <a:pt x="25903" y="11211"/>
                  </a:cubicBezTo>
                  <a:cubicBezTo>
                    <a:pt x="25921" y="11201"/>
                    <a:pt x="25910" y="11169"/>
                    <a:pt x="25903" y="11148"/>
                  </a:cubicBezTo>
                  <a:cubicBezTo>
                    <a:pt x="25862" y="11065"/>
                    <a:pt x="25752" y="10977"/>
                    <a:pt x="25669" y="10977"/>
                  </a:cubicBezTo>
                  <a:cubicBezTo>
                    <a:pt x="25660" y="10977"/>
                    <a:pt x="25652" y="10978"/>
                    <a:pt x="25644" y="10980"/>
                  </a:cubicBezTo>
                  <a:cubicBezTo>
                    <a:pt x="25600" y="10991"/>
                    <a:pt x="25556" y="10996"/>
                    <a:pt x="25512" y="10996"/>
                  </a:cubicBezTo>
                  <a:cubicBezTo>
                    <a:pt x="25323" y="10996"/>
                    <a:pt x="25144" y="10900"/>
                    <a:pt x="25039" y="10735"/>
                  </a:cubicBezTo>
                  <a:cubicBezTo>
                    <a:pt x="25032" y="10724"/>
                    <a:pt x="25025" y="10724"/>
                    <a:pt x="25025" y="10724"/>
                  </a:cubicBezTo>
                  <a:cubicBezTo>
                    <a:pt x="25023" y="10724"/>
                    <a:pt x="25022" y="10724"/>
                    <a:pt x="25020" y="10724"/>
                  </a:cubicBezTo>
                  <a:cubicBezTo>
                    <a:pt x="24962" y="10724"/>
                    <a:pt x="24833" y="10856"/>
                    <a:pt x="24737" y="10952"/>
                  </a:cubicBezTo>
                  <a:cubicBezTo>
                    <a:pt x="24622" y="11068"/>
                    <a:pt x="24506" y="11183"/>
                    <a:pt x="24391" y="11236"/>
                  </a:cubicBezTo>
                  <a:cubicBezTo>
                    <a:pt x="24349" y="11257"/>
                    <a:pt x="24304" y="11268"/>
                    <a:pt x="24259" y="11268"/>
                  </a:cubicBezTo>
                  <a:cubicBezTo>
                    <a:pt x="24187" y="11268"/>
                    <a:pt x="24117" y="11240"/>
                    <a:pt x="24065" y="11187"/>
                  </a:cubicBezTo>
                  <a:cubicBezTo>
                    <a:pt x="23943" y="11061"/>
                    <a:pt x="23904" y="10878"/>
                    <a:pt x="23964" y="10717"/>
                  </a:cubicBezTo>
                  <a:cubicBezTo>
                    <a:pt x="23971" y="10700"/>
                    <a:pt x="23981" y="10668"/>
                    <a:pt x="23971" y="10654"/>
                  </a:cubicBezTo>
                  <a:cubicBezTo>
                    <a:pt x="23945" y="10616"/>
                    <a:pt x="23829" y="10606"/>
                    <a:pt x="23700" y="10606"/>
                  </a:cubicBezTo>
                  <a:cubicBezTo>
                    <a:pt x="23620" y="10606"/>
                    <a:pt x="23534" y="10610"/>
                    <a:pt x="23463" y="10612"/>
                  </a:cubicBezTo>
                  <a:cubicBezTo>
                    <a:pt x="23458" y="10613"/>
                    <a:pt x="23453" y="10613"/>
                    <a:pt x="23448" y="10613"/>
                  </a:cubicBezTo>
                  <a:cubicBezTo>
                    <a:pt x="23292" y="10613"/>
                    <a:pt x="23190" y="10509"/>
                    <a:pt x="23173" y="10332"/>
                  </a:cubicBezTo>
                  <a:cubicBezTo>
                    <a:pt x="23152" y="10112"/>
                    <a:pt x="23267" y="9828"/>
                    <a:pt x="23442" y="9804"/>
                  </a:cubicBezTo>
                  <a:cubicBezTo>
                    <a:pt x="23465" y="9802"/>
                    <a:pt x="23489" y="9800"/>
                    <a:pt x="23512" y="9800"/>
                  </a:cubicBezTo>
                  <a:cubicBezTo>
                    <a:pt x="23566" y="9800"/>
                    <a:pt x="23620" y="9807"/>
                    <a:pt x="23673" y="9821"/>
                  </a:cubicBezTo>
                  <a:cubicBezTo>
                    <a:pt x="23733" y="9832"/>
                    <a:pt x="23788" y="9841"/>
                    <a:pt x="23837" y="9841"/>
                  </a:cubicBezTo>
                  <a:cubicBezTo>
                    <a:pt x="23937" y="9841"/>
                    <a:pt x="24014" y="9801"/>
                    <a:pt x="24065" y="9646"/>
                  </a:cubicBezTo>
                  <a:cubicBezTo>
                    <a:pt x="24153" y="9394"/>
                    <a:pt x="24275" y="9377"/>
                    <a:pt x="24391" y="9359"/>
                  </a:cubicBezTo>
                  <a:cubicBezTo>
                    <a:pt x="24489" y="9345"/>
                    <a:pt x="24587" y="9328"/>
                    <a:pt x="24716" y="9177"/>
                  </a:cubicBezTo>
                  <a:cubicBezTo>
                    <a:pt x="24983" y="8869"/>
                    <a:pt x="25243" y="8711"/>
                    <a:pt x="25466" y="8711"/>
                  </a:cubicBezTo>
                  <a:cubicBezTo>
                    <a:pt x="25565" y="8711"/>
                    <a:pt x="25657" y="8742"/>
                    <a:pt x="25739" y="8806"/>
                  </a:cubicBezTo>
                  <a:cubicBezTo>
                    <a:pt x="25795" y="8845"/>
                    <a:pt x="25830" y="8908"/>
                    <a:pt x="25837" y="8978"/>
                  </a:cubicBezTo>
                  <a:cubicBezTo>
                    <a:pt x="25844" y="9128"/>
                    <a:pt x="25700" y="9275"/>
                    <a:pt x="25560" y="9419"/>
                  </a:cubicBezTo>
                  <a:cubicBezTo>
                    <a:pt x="25487" y="9496"/>
                    <a:pt x="25410" y="9573"/>
                    <a:pt x="25385" y="9629"/>
                  </a:cubicBezTo>
                  <a:cubicBezTo>
                    <a:pt x="25361" y="9681"/>
                    <a:pt x="25357" y="9741"/>
                    <a:pt x="25375" y="9800"/>
                  </a:cubicBezTo>
                  <a:cubicBezTo>
                    <a:pt x="25403" y="9898"/>
                    <a:pt x="25371" y="10003"/>
                    <a:pt x="25291" y="10070"/>
                  </a:cubicBezTo>
                  <a:cubicBezTo>
                    <a:pt x="25284" y="10073"/>
                    <a:pt x="25277" y="10080"/>
                    <a:pt x="25273" y="10087"/>
                  </a:cubicBezTo>
                  <a:cubicBezTo>
                    <a:pt x="25326" y="10084"/>
                    <a:pt x="25438" y="10056"/>
                    <a:pt x="25588" y="9958"/>
                  </a:cubicBezTo>
                  <a:cubicBezTo>
                    <a:pt x="25921" y="9744"/>
                    <a:pt x="26302" y="9510"/>
                    <a:pt x="26610" y="9387"/>
                  </a:cubicBezTo>
                  <a:cubicBezTo>
                    <a:pt x="26680" y="9359"/>
                    <a:pt x="26755" y="9345"/>
                    <a:pt x="26830" y="9345"/>
                  </a:cubicBezTo>
                  <a:cubicBezTo>
                    <a:pt x="26839" y="9345"/>
                    <a:pt x="26847" y="9345"/>
                    <a:pt x="26856" y="9345"/>
                  </a:cubicBezTo>
                  <a:lnTo>
                    <a:pt x="26856" y="9342"/>
                  </a:lnTo>
                  <a:lnTo>
                    <a:pt x="26863" y="9324"/>
                  </a:lnTo>
                  <a:cubicBezTo>
                    <a:pt x="26866" y="9314"/>
                    <a:pt x="26873" y="9303"/>
                    <a:pt x="26877" y="9296"/>
                  </a:cubicBezTo>
                  <a:lnTo>
                    <a:pt x="26884" y="9279"/>
                  </a:lnTo>
                  <a:lnTo>
                    <a:pt x="26898" y="9254"/>
                  </a:lnTo>
                  <a:lnTo>
                    <a:pt x="26905" y="9237"/>
                  </a:lnTo>
                  <a:lnTo>
                    <a:pt x="26919" y="9216"/>
                  </a:lnTo>
                  <a:lnTo>
                    <a:pt x="26929" y="9202"/>
                  </a:lnTo>
                  <a:lnTo>
                    <a:pt x="26943" y="9184"/>
                  </a:lnTo>
                  <a:lnTo>
                    <a:pt x="26950" y="9174"/>
                  </a:lnTo>
                  <a:lnTo>
                    <a:pt x="26964" y="9160"/>
                  </a:lnTo>
                  <a:lnTo>
                    <a:pt x="26975" y="9149"/>
                  </a:lnTo>
                  <a:cubicBezTo>
                    <a:pt x="26978" y="9146"/>
                    <a:pt x="26985" y="9142"/>
                    <a:pt x="26989" y="9135"/>
                  </a:cubicBezTo>
                  <a:lnTo>
                    <a:pt x="26999" y="9132"/>
                  </a:lnTo>
                  <a:cubicBezTo>
                    <a:pt x="27006" y="9125"/>
                    <a:pt x="27013" y="9121"/>
                    <a:pt x="27024" y="9114"/>
                  </a:cubicBezTo>
                  <a:cubicBezTo>
                    <a:pt x="27062" y="9097"/>
                    <a:pt x="27118" y="9072"/>
                    <a:pt x="27181" y="9037"/>
                  </a:cubicBezTo>
                  <a:cubicBezTo>
                    <a:pt x="27430" y="8918"/>
                    <a:pt x="27944" y="8673"/>
                    <a:pt x="28021" y="8571"/>
                  </a:cubicBezTo>
                  <a:cubicBezTo>
                    <a:pt x="28046" y="8536"/>
                    <a:pt x="28074" y="8494"/>
                    <a:pt x="28102" y="8449"/>
                  </a:cubicBezTo>
                  <a:cubicBezTo>
                    <a:pt x="28193" y="8305"/>
                    <a:pt x="28284" y="8158"/>
                    <a:pt x="28427" y="8158"/>
                  </a:cubicBezTo>
                  <a:cubicBezTo>
                    <a:pt x="28494" y="8158"/>
                    <a:pt x="28557" y="8186"/>
                    <a:pt x="28602" y="8232"/>
                  </a:cubicBezTo>
                  <a:cubicBezTo>
                    <a:pt x="28648" y="8274"/>
                    <a:pt x="28707" y="8299"/>
                    <a:pt x="28766" y="8299"/>
                  </a:cubicBezTo>
                  <a:cubicBezTo>
                    <a:pt x="28770" y="8299"/>
                    <a:pt x="28773" y="8299"/>
                    <a:pt x="28777" y="8298"/>
                  </a:cubicBezTo>
                  <a:cubicBezTo>
                    <a:pt x="28830" y="8298"/>
                    <a:pt x="28882" y="8302"/>
                    <a:pt x="28935" y="8305"/>
                  </a:cubicBezTo>
                  <a:cubicBezTo>
                    <a:pt x="28964" y="8309"/>
                    <a:pt x="28992" y="8311"/>
                    <a:pt x="29022" y="8311"/>
                  </a:cubicBezTo>
                  <a:cubicBezTo>
                    <a:pt x="29043" y="8311"/>
                    <a:pt x="29064" y="8310"/>
                    <a:pt x="29086" y="8309"/>
                  </a:cubicBezTo>
                  <a:cubicBezTo>
                    <a:pt x="29082" y="8305"/>
                    <a:pt x="29079" y="8298"/>
                    <a:pt x="29075" y="8291"/>
                  </a:cubicBezTo>
                  <a:cubicBezTo>
                    <a:pt x="29065" y="8270"/>
                    <a:pt x="29054" y="8253"/>
                    <a:pt x="29044" y="8235"/>
                  </a:cubicBezTo>
                  <a:cubicBezTo>
                    <a:pt x="29026" y="8204"/>
                    <a:pt x="29019" y="8169"/>
                    <a:pt x="29019" y="8134"/>
                  </a:cubicBezTo>
                  <a:cubicBezTo>
                    <a:pt x="29019" y="8120"/>
                    <a:pt x="29023" y="8106"/>
                    <a:pt x="29030" y="8092"/>
                  </a:cubicBezTo>
                  <a:cubicBezTo>
                    <a:pt x="29054" y="8039"/>
                    <a:pt x="29110" y="8018"/>
                    <a:pt x="29198" y="8004"/>
                  </a:cubicBezTo>
                  <a:cubicBezTo>
                    <a:pt x="29226" y="7997"/>
                    <a:pt x="29261" y="7994"/>
                    <a:pt x="29299" y="7987"/>
                  </a:cubicBezTo>
                  <a:lnTo>
                    <a:pt x="29334" y="7983"/>
                  </a:lnTo>
                  <a:cubicBezTo>
                    <a:pt x="29436" y="7969"/>
                    <a:pt x="29474" y="7913"/>
                    <a:pt x="29516" y="7847"/>
                  </a:cubicBezTo>
                  <a:cubicBezTo>
                    <a:pt x="29558" y="7780"/>
                    <a:pt x="29614" y="7700"/>
                    <a:pt x="29730" y="7700"/>
                  </a:cubicBezTo>
                  <a:cubicBezTo>
                    <a:pt x="29772" y="7700"/>
                    <a:pt x="29800" y="7612"/>
                    <a:pt x="29828" y="7535"/>
                  </a:cubicBezTo>
                  <a:cubicBezTo>
                    <a:pt x="29866" y="7420"/>
                    <a:pt x="29912" y="7280"/>
                    <a:pt x="30045" y="7280"/>
                  </a:cubicBezTo>
                  <a:cubicBezTo>
                    <a:pt x="30146" y="7280"/>
                    <a:pt x="30216" y="7336"/>
                    <a:pt x="30279" y="7388"/>
                  </a:cubicBezTo>
                  <a:cubicBezTo>
                    <a:pt x="30300" y="7409"/>
                    <a:pt x="30328" y="7427"/>
                    <a:pt x="30356" y="7444"/>
                  </a:cubicBezTo>
                  <a:cubicBezTo>
                    <a:pt x="30378" y="7458"/>
                    <a:pt x="30405" y="7467"/>
                    <a:pt x="30432" y="7467"/>
                  </a:cubicBezTo>
                  <a:cubicBezTo>
                    <a:pt x="30439" y="7467"/>
                    <a:pt x="30447" y="7467"/>
                    <a:pt x="30454" y="7465"/>
                  </a:cubicBezTo>
                  <a:cubicBezTo>
                    <a:pt x="30461" y="7465"/>
                    <a:pt x="30468" y="7462"/>
                    <a:pt x="30475" y="7458"/>
                  </a:cubicBezTo>
                  <a:lnTo>
                    <a:pt x="30482" y="7458"/>
                  </a:lnTo>
                  <a:cubicBezTo>
                    <a:pt x="30493" y="7455"/>
                    <a:pt x="30507" y="7451"/>
                    <a:pt x="30521" y="7451"/>
                  </a:cubicBezTo>
                  <a:lnTo>
                    <a:pt x="30563" y="7451"/>
                  </a:lnTo>
                  <a:lnTo>
                    <a:pt x="30580" y="7455"/>
                  </a:lnTo>
                  <a:cubicBezTo>
                    <a:pt x="30591" y="7455"/>
                    <a:pt x="30601" y="7458"/>
                    <a:pt x="30612" y="7462"/>
                  </a:cubicBezTo>
                  <a:lnTo>
                    <a:pt x="30629" y="7465"/>
                  </a:lnTo>
                  <a:lnTo>
                    <a:pt x="30640" y="7469"/>
                  </a:lnTo>
                  <a:cubicBezTo>
                    <a:pt x="30664" y="7451"/>
                    <a:pt x="30692" y="7430"/>
                    <a:pt x="30717" y="7413"/>
                  </a:cubicBezTo>
                  <a:cubicBezTo>
                    <a:pt x="30710" y="7332"/>
                    <a:pt x="30710" y="7259"/>
                    <a:pt x="30710" y="7192"/>
                  </a:cubicBezTo>
                  <a:cubicBezTo>
                    <a:pt x="30710" y="7087"/>
                    <a:pt x="30710" y="6996"/>
                    <a:pt x="30685" y="6947"/>
                  </a:cubicBezTo>
                  <a:cubicBezTo>
                    <a:pt x="30643" y="6839"/>
                    <a:pt x="30633" y="6726"/>
                    <a:pt x="30650" y="6614"/>
                  </a:cubicBezTo>
                  <a:cubicBezTo>
                    <a:pt x="30654" y="6586"/>
                    <a:pt x="30657" y="6565"/>
                    <a:pt x="30657" y="6544"/>
                  </a:cubicBezTo>
                  <a:cubicBezTo>
                    <a:pt x="30657" y="6523"/>
                    <a:pt x="30654" y="6506"/>
                    <a:pt x="30650" y="6485"/>
                  </a:cubicBezTo>
                  <a:cubicBezTo>
                    <a:pt x="30626" y="6397"/>
                    <a:pt x="30598" y="6180"/>
                    <a:pt x="30678" y="6072"/>
                  </a:cubicBezTo>
                  <a:cubicBezTo>
                    <a:pt x="30706" y="6037"/>
                    <a:pt x="30748" y="6016"/>
                    <a:pt x="30794" y="6016"/>
                  </a:cubicBezTo>
                  <a:cubicBezTo>
                    <a:pt x="30822" y="6016"/>
                    <a:pt x="30878" y="5963"/>
                    <a:pt x="30920" y="5925"/>
                  </a:cubicBezTo>
                  <a:cubicBezTo>
                    <a:pt x="30990" y="5860"/>
                    <a:pt x="31080" y="5778"/>
                    <a:pt x="31178" y="5778"/>
                  </a:cubicBezTo>
                  <a:cubicBezTo>
                    <a:pt x="31202" y="5778"/>
                    <a:pt x="31227" y="5783"/>
                    <a:pt x="31253" y="5795"/>
                  </a:cubicBezTo>
                  <a:cubicBezTo>
                    <a:pt x="31263" y="5802"/>
                    <a:pt x="31274" y="5809"/>
                    <a:pt x="31284" y="5816"/>
                  </a:cubicBezTo>
                  <a:cubicBezTo>
                    <a:pt x="31364" y="5871"/>
                    <a:pt x="31483" y="5901"/>
                    <a:pt x="31569" y="5901"/>
                  </a:cubicBezTo>
                  <a:cubicBezTo>
                    <a:pt x="31603" y="5901"/>
                    <a:pt x="31633" y="5896"/>
                    <a:pt x="31652" y="5886"/>
                  </a:cubicBezTo>
                  <a:cubicBezTo>
                    <a:pt x="31666" y="5879"/>
                    <a:pt x="31666" y="5876"/>
                    <a:pt x="31666" y="5869"/>
                  </a:cubicBezTo>
                  <a:cubicBezTo>
                    <a:pt x="31666" y="5767"/>
                    <a:pt x="31739" y="5711"/>
                    <a:pt x="31802" y="5662"/>
                  </a:cubicBezTo>
                  <a:cubicBezTo>
                    <a:pt x="31823" y="5648"/>
                    <a:pt x="31844" y="5631"/>
                    <a:pt x="31865" y="5613"/>
                  </a:cubicBezTo>
                  <a:cubicBezTo>
                    <a:pt x="31897" y="5585"/>
                    <a:pt x="31918" y="5547"/>
                    <a:pt x="31928" y="5501"/>
                  </a:cubicBezTo>
                  <a:cubicBezTo>
                    <a:pt x="31932" y="5473"/>
                    <a:pt x="31939" y="5442"/>
                    <a:pt x="31953" y="5414"/>
                  </a:cubicBezTo>
                  <a:cubicBezTo>
                    <a:pt x="31995" y="5344"/>
                    <a:pt x="32047" y="5284"/>
                    <a:pt x="32114" y="5235"/>
                  </a:cubicBezTo>
                  <a:cubicBezTo>
                    <a:pt x="32180" y="5183"/>
                    <a:pt x="32233" y="5137"/>
                    <a:pt x="32250" y="5074"/>
                  </a:cubicBezTo>
                  <a:cubicBezTo>
                    <a:pt x="32257" y="5050"/>
                    <a:pt x="32264" y="5018"/>
                    <a:pt x="32275" y="4983"/>
                  </a:cubicBezTo>
                  <a:cubicBezTo>
                    <a:pt x="32324" y="4784"/>
                    <a:pt x="32376" y="4598"/>
                    <a:pt x="32450" y="4468"/>
                  </a:cubicBezTo>
                  <a:cubicBezTo>
                    <a:pt x="32478" y="4416"/>
                    <a:pt x="32520" y="4370"/>
                    <a:pt x="32569" y="4339"/>
                  </a:cubicBezTo>
                  <a:cubicBezTo>
                    <a:pt x="32611" y="4314"/>
                    <a:pt x="32611" y="4314"/>
                    <a:pt x="32583" y="4248"/>
                  </a:cubicBezTo>
                  <a:cubicBezTo>
                    <a:pt x="32576" y="4230"/>
                    <a:pt x="32569" y="4213"/>
                    <a:pt x="32558" y="4192"/>
                  </a:cubicBezTo>
                  <a:cubicBezTo>
                    <a:pt x="32530" y="4111"/>
                    <a:pt x="32516" y="4024"/>
                    <a:pt x="32523" y="3940"/>
                  </a:cubicBezTo>
                  <a:cubicBezTo>
                    <a:pt x="32527" y="3905"/>
                    <a:pt x="32520" y="3870"/>
                    <a:pt x="32499" y="3842"/>
                  </a:cubicBezTo>
                  <a:cubicBezTo>
                    <a:pt x="32495" y="3835"/>
                    <a:pt x="32488" y="3831"/>
                    <a:pt x="32481" y="3828"/>
                  </a:cubicBezTo>
                  <a:cubicBezTo>
                    <a:pt x="32463" y="3818"/>
                    <a:pt x="32439" y="3813"/>
                    <a:pt x="32412" y="3813"/>
                  </a:cubicBezTo>
                  <a:cubicBezTo>
                    <a:pt x="32337" y="3813"/>
                    <a:pt x="32240" y="3848"/>
                    <a:pt x="32191" y="3884"/>
                  </a:cubicBezTo>
                  <a:cubicBezTo>
                    <a:pt x="32131" y="3922"/>
                    <a:pt x="32047" y="3933"/>
                    <a:pt x="31960" y="3940"/>
                  </a:cubicBezTo>
                  <a:cubicBezTo>
                    <a:pt x="31844" y="3954"/>
                    <a:pt x="31722" y="3964"/>
                    <a:pt x="31676" y="4052"/>
                  </a:cubicBezTo>
                  <a:cubicBezTo>
                    <a:pt x="31612" y="4182"/>
                    <a:pt x="31520" y="4207"/>
                    <a:pt x="31424" y="4207"/>
                  </a:cubicBezTo>
                  <a:cubicBezTo>
                    <a:pt x="31394" y="4207"/>
                    <a:pt x="31363" y="4205"/>
                    <a:pt x="31333" y="4202"/>
                  </a:cubicBezTo>
                  <a:lnTo>
                    <a:pt x="31288" y="4199"/>
                  </a:lnTo>
                  <a:cubicBezTo>
                    <a:pt x="31267" y="4197"/>
                    <a:pt x="31247" y="4197"/>
                    <a:pt x="31227" y="4197"/>
                  </a:cubicBezTo>
                  <a:cubicBezTo>
                    <a:pt x="31199" y="4197"/>
                    <a:pt x="31171" y="4198"/>
                    <a:pt x="31144" y="4202"/>
                  </a:cubicBezTo>
                  <a:lnTo>
                    <a:pt x="31109" y="4206"/>
                  </a:lnTo>
                  <a:cubicBezTo>
                    <a:pt x="31089" y="4208"/>
                    <a:pt x="31069" y="4208"/>
                    <a:pt x="31047" y="4208"/>
                  </a:cubicBezTo>
                  <a:cubicBezTo>
                    <a:pt x="30887" y="4208"/>
                    <a:pt x="30693" y="4162"/>
                    <a:pt x="30594" y="4069"/>
                  </a:cubicBezTo>
                  <a:cubicBezTo>
                    <a:pt x="30552" y="4031"/>
                    <a:pt x="30528" y="3975"/>
                    <a:pt x="30535" y="3919"/>
                  </a:cubicBezTo>
                  <a:cubicBezTo>
                    <a:pt x="30535" y="3856"/>
                    <a:pt x="30517" y="3793"/>
                    <a:pt x="30486" y="3740"/>
                  </a:cubicBezTo>
                  <a:cubicBezTo>
                    <a:pt x="30479" y="3719"/>
                    <a:pt x="30468" y="3695"/>
                    <a:pt x="30461" y="3674"/>
                  </a:cubicBezTo>
                  <a:cubicBezTo>
                    <a:pt x="30430" y="3604"/>
                    <a:pt x="30416" y="3527"/>
                    <a:pt x="30423" y="3453"/>
                  </a:cubicBezTo>
                  <a:cubicBezTo>
                    <a:pt x="30426" y="3415"/>
                    <a:pt x="30426" y="3408"/>
                    <a:pt x="30318" y="3380"/>
                  </a:cubicBezTo>
                  <a:cubicBezTo>
                    <a:pt x="30220" y="3359"/>
                    <a:pt x="30129" y="3313"/>
                    <a:pt x="30055" y="3247"/>
                  </a:cubicBezTo>
                  <a:cubicBezTo>
                    <a:pt x="29913" y="3107"/>
                    <a:pt x="29660" y="3018"/>
                    <a:pt x="29586" y="3018"/>
                  </a:cubicBezTo>
                  <a:cubicBezTo>
                    <a:pt x="29582" y="3018"/>
                    <a:pt x="29579" y="3019"/>
                    <a:pt x="29576" y="3019"/>
                  </a:cubicBezTo>
                  <a:cubicBezTo>
                    <a:pt x="29563" y="3025"/>
                    <a:pt x="29550" y="3027"/>
                    <a:pt x="29537" y="3027"/>
                  </a:cubicBezTo>
                  <a:cubicBezTo>
                    <a:pt x="29491" y="3027"/>
                    <a:pt x="29441" y="2998"/>
                    <a:pt x="29376" y="2963"/>
                  </a:cubicBezTo>
                  <a:cubicBezTo>
                    <a:pt x="29285" y="2911"/>
                    <a:pt x="29159" y="2837"/>
                    <a:pt x="29012" y="2830"/>
                  </a:cubicBezTo>
                  <a:cubicBezTo>
                    <a:pt x="28998" y="2830"/>
                    <a:pt x="28984" y="2830"/>
                    <a:pt x="28970" y="2827"/>
                  </a:cubicBezTo>
                  <a:cubicBezTo>
                    <a:pt x="28886" y="2823"/>
                    <a:pt x="28812" y="2785"/>
                    <a:pt x="28760" y="2718"/>
                  </a:cubicBezTo>
                  <a:cubicBezTo>
                    <a:pt x="28732" y="2680"/>
                    <a:pt x="28718" y="2631"/>
                    <a:pt x="28721" y="2578"/>
                  </a:cubicBezTo>
                  <a:cubicBezTo>
                    <a:pt x="28721" y="2532"/>
                    <a:pt x="28728" y="2483"/>
                    <a:pt x="28742" y="2438"/>
                  </a:cubicBezTo>
                  <a:cubicBezTo>
                    <a:pt x="28742" y="2417"/>
                    <a:pt x="28739" y="2392"/>
                    <a:pt x="28728" y="2371"/>
                  </a:cubicBezTo>
                  <a:cubicBezTo>
                    <a:pt x="28693" y="2291"/>
                    <a:pt x="28655" y="2214"/>
                    <a:pt x="28613" y="2137"/>
                  </a:cubicBezTo>
                  <a:cubicBezTo>
                    <a:pt x="28567" y="2053"/>
                    <a:pt x="28529" y="1969"/>
                    <a:pt x="28490" y="1885"/>
                  </a:cubicBezTo>
                  <a:cubicBezTo>
                    <a:pt x="28483" y="1860"/>
                    <a:pt x="28473" y="1836"/>
                    <a:pt x="28469" y="1811"/>
                  </a:cubicBezTo>
                  <a:cubicBezTo>
                    <a:pt x="28448" y="1748"/>
                    <a:pt x="28417" y="1696"/>
                    <a:pt x="28371" y="1650"/>
                  </a:cubicBezTo>
                  <a:cubicBezTo>
                    <a:pt x="28291" y="1559"/>
                    <a:pt x="28231" y="1451"/>
                    <a:pt x="28189" y="1339"/>
                  </a:cubicBezTo>
                  <a:cubicBezTo>
                    <a:pt x="28172" y="1279"/>
                    <a:pt x="28154" y="1220"/>
                    <a:pt x="28144" y="1160"/>
                  </a:cubicBezTo>
                  <a:cubicBezTo>
                    <a:pt x="28140" y="1146"/>
                    <a:pt x="28137" y="1136"/>
                    <a:pt x="28137" y="1122"/>
                  </a:cubicBezTo>
                  <a:cubicBezTo>
                    <a:pt x="28130" y="1090"/>
                    <a:pt x="28119" y="1062"/>
                    <a:pt x="28109" y="1031"/>
                  </a:cubicBezTo>
                  <a:cubicBezTo>
                    <a:pt x="28105" y="1020"/>
                    <a:pt x="28102" y="1013"/>
                    <a:pt x="28098" y="1006"/>
                  </a:cubicBezTo>
                  <a:cubicBezTo>
                    <a:pt x="28070" y="943"/>
                    <a:pt x="28028" y="887"/>
                    <a:pt x="27972" y="849"/>
                  </a:cubicBezTo>
                  <a:cubicBezTo>
                    <a:pt x="27958" y="838"/>
                    <a:pt x="27944" y="828"/>
                    <a:pt x="27930" y="817"/>
                  </a:cubicBezTo>
                  <a:cubicBezTo>
                    <a:pt x="27881" y="768"/>
                    <a:pt x="27864" y="695"/>
                    <a:pt x="27888" y="632"/>
                  </a:cubicBezTo>
                  <a:cubicBezTo>
                    <a:pt x="27906" y="555"/>
                    <a:pt x="27822" y="491"/>
                    <a:pt x="27703" y="411"/>
                  </a:cubicBezTo>
                  <a:cubicBezTo>
                    <a:pt x="27640" y="376"/>
                    <a:pt x="27587" y="334"/>
                    <a:pt x="27542" y="281"/>
                  </a:cubicBezTo>
                  <a:cubicBezTo>
                    <a:pt x="27517" y="246"/>
                    <a:pt x="27405" y="229"/>
                    <a:pt x="27307" y="215"/>
                  </a:cubicBezTo>
                  <a:cubicBezTo>
                    <a:pt x="27178" y="197"/>
                    <a:pt x="27031" y="176"/>
                    <a:pt x="26901" y="106"/>
                  </a:cubicBezTo>
                  <a:cubicBezTo>
                    <a:pt x="26816" y="63"/>
                    <a:pt x="26722" y="41"/>
                    <a:pt x="26628" y="41"/>
                  </a:cubicBezTo>
                  <a:cubicBezTo>
                    <a:pt x="26609" y="41"/>
                    <a:pt x="26591" y="42"/>
                    <a:pt x="26572" y="43"/>
                  </a:cubicBezTo>
                  <a:cubicBezTo>
                    <a:pt x="26558" y="44"/>
                    <a:pt x="26543" y="44"/>
                    <a:pt x="26529" y="44"/>
                  </a:cubicBezTo>
                  <a:cubicBezTo>
                    <a:pt x="26452" y="44"/>
                    <a:pt x="26375" y="36"/>
                    <a:pt x="26299" y="15"/>
                  </a:cubicBezTo>
                  <a:cubicBezTo>
                    <a:pt x="26288" y="12"/>
                    <a:pt x="26278" y="8"/>
                    <a:pt x="26267" y="8"/>
                  </a:cubicBezTo>
                  <a:cubicBezTo>
                    <a:pt x="26243" y="5"/>
                    <a:pt x="26218" y="1"/>
                    <a:pt x="26194" y="1"/>
                  </a:cubicBezTo>
                  <a:cubicBezTo>
                    <a:pt x="26181" y="1"/>
                    <a:pt x="26168" y="1"/>
                    <a:pt x="26155" y="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910" name="Google Shape;5910;p104"/>
            <p:cNvSpPr/>
            <p:nvPr/>
          </p:nvSpPr>
          <p:spPr>
            <a:xfrm>
              <a:off x="2846836" y="1894023"/>
              <a:ext cx="15804" cy="11649"/>
            </a:xfrm>
            <a:custGeom>
              <a:avLst/>
              <a:gdLst/>
              <a:ahLst/>
              <a:cxnLst/>
              <a:rect l="l" t="t" r="r" b="b"/>
              <a:pathLst>
                <a:path w="1164" h="858" extrusionOk="0">
                  <a:moveTo>
                    <a:pt x="974" y="1"/>
                  </a:moveTo>
                  <a:cubicBezTo>
                    <a:pt x="894" y="1"/>
                    <a:pt x="792" y="4"/>
                    <a:pt x="729" y="8"/>
                  </a:cubicBezTo>
                  <a:cubicBezTo>
                    <a:pt x="659" y="11"/>
                    <a:pt x="593" y="18"/>
                    <a:pt x="537" y="18"/>
                  </a:cubicBezTo>
                  <a:cubicBezTo>
                    <a:pt x="425" y="18"/>
                    <a:pt x="190" y="130"/>
                    <a:pt x="78" y="302"/>
                  </a:cubicBezTo>
                  <a:cubicBezTo>
                    <a:pt x="8" y="410"/>
                    <a:pt x="1" y="550"/>
                    <a:pt x="60" y="666"/>
                  </a:cubicBezTo>
                  <a:cubicBezTo>
                    <a:pt x="136" y="821"/>
                    <a:pt x="276" y="858"/>
                    <a:pt x="393" y="858"/>
                  </a:cubicBezTo>
                  <a:cubicBezTo>
                    <a:pt x="435" y="858"/>
                    <a:pt x="473" y="853"/>
                    <a:pt x="505" y="848"/>
                  </a:cubicBezTo>
                  <a:cubicBezTo>
                    <a:pt x="715" y="809"/>
                    <a:pt x="855" y="690"/>
                    <a:pt x="859" y="641"/>
                  </a:cubicBezTo>
                  <a:cubicBezTo>
                    <a:pt x="869" y="533"/>
                    <a:pt x="946" y="410"/>
                    <a:pt x="1023" y="291"/>
                  </a:cubicBezTo>
                  <a:cubicBezTo>
                    <a:pt x="1083" y="200"/>
                    <a:pt x="1163" y="74"/>
                    <a:pt x="1153" y="22"/>
                  </a:cubicBezTo>
                  <a:cubicBezTo>
                    <a:pt x="1128" y="4"/>
                    <a:pt x="1058" y="1"/>
                    <a:pt x="974" y="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911" name="Google Shape;5911;p104"/>
            <p:cNvSpPr/>
            <p:nvPr/>
          </p:nvSpPr>
          <p:spPr>
            <a:xfrm>
              <a:off x="2648062" y="1810752"/>
              <a:ext cx="244" cy="434"/>
            </a:xfrm>
            <a:custGeom>
              <a:avLst/>
              <a:gdLst/>
              <a:ahLst/>
              <a:cxnLst/>
              <a:rect l="l" t="t" r="r" b="b"/>
              <a:pathLst>
                <a:path w="18" h="32" extrusionOk="0">
                  <a:moveTo>
                    <a:pt x="0" y="0"/>
                  </a:moveTo>
                  <a:cubicBezTo>
                    <a:pt x="7" y="11"/>
                    <a:pt x="14" y="21"/>
                    <a:pt x="18" y="32"/>
                  </a:cubicBezTo>
                  <a:cubicBezTo>
                    <a:pt x="14" y="21"/>
                    <a:pt x="7" y="11"/>
                    <a:pt x="0"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912" name="Google Shape;5912;p104"/>
            <p:cNvSpPr/>
            <p:nvPr/>
          </p:nvSpPr>
          <p:spPr>
            <a:xfrm>
              <a:off x="2732242" y="1823623"/>
              <a:ext cx="2770" cy="2064"/>
            </a:xfrm>
            <a:custGeom>
              <a:avLst/>
              <a:gdLst/>
              <a:ahLst/>
              <a:cxnLst/>
              <a:rect l="l" t="t" r="r" b="b"/>
              <a:pathLst>
                <a:path w="204" h="152" extrusionOk="0">
                  <a:moveTo>
                    <a:pt x="203" y="22"/>
                  </a:moveTo>
                  <a:cubicBezTo>
                    <a:pt x="74" y="1"/>
                    <a:pt x="32" y="88"/>
                    <a:pt x="0" y="151"/>
                  </a:cubicBezTo>
                  <a:cubicBezTo>
                    <a:pt x="32" y="88"/>
                    <a:pt x="74" y="1"/>
                    <a:pt x="203" y="22"/>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913" name="Google Shape;5913;p104"/>
            <p:cNvSpPr/>
            <p:nvPr/>
          </p:nvSpPr>
          <p:spPr>
            <a:xfrm>
              <a:off x="2647627" y="1810277"/>
              <a:ext cx="353" cy="434"/>
            </a:xfrm>
            <a:custGeom>
              <a:avLst/>
              <a:gdLst/>
              <a:ahLst/>
              <a:cxnLst/>
              <a:rect l="l" t="t" r="r" b="b"/>
              <a:pathLst>
                <a:path w="26" h="32" extrusionOk="0">
                  <a:moveTo>
                    <a:pt x="1" y="0"/>
                  </a:moveTo>
                  <a:cubicBezTo>
                    <a:pt x="11" y="11"/>
                    <a:pt x="18" y="21"/>
                    <a:pt x="25" y="32"/>
                  </a:cubicBezTo>
                  <a:cubicBezTo>
                    <a:pt x="18" y="21"/>
                    <a:pt x="11" y="11"/>
                    <a:pt x="1"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914" name="Google Shape;5914;p104"/>
            <p:cNvSpPr/>
            <p:nvPr/>
          </p:nvSpPr>
          <p:spPr>
            <a:xfrm>
              <a:off x="2648347" y="1811227"/>
              <a:ext cx="204" cy="434"/>
            </a:xfrm>
            <a:custGeom>
              <a:avLst/>
              <a:gdLst/>
              <a:ahLst/>
              <a:cxnLst/>
              <a:rect l="l" t="t" r="r" b="b"/>
              <a:pathLst>
                <a:path w="15" h="32" extrusionOk="0">
                  <a:moveTo>
                    <a:pt x="0" y="0"/>
                  </a:moveTo>
                  <a:cubicBezTo>
                    <a:pt x="7" y="11"/>
                    <a:pt x="11" y="21"/>
                    <a:pt x="14" y="32"/>
                  </a:cubicBezTo>
                  <a:cubicBezTo>
                    <a:pt x="11" y="21"/>
                    <a:pt x="7" y="11"/>
                    <a:pt x="0"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915" name="Google Shape;5915;p104"/>
            <p:cNvSpPr/>
            <p:nvPr/>
          </p:nvSpPr>
          <p:spPr>
            <a:xfrm>
              <a:off x="2698638" y="1829665"/>
              <a:ext cx="815" cy="489"/>
            </a:xfrm>
            <a:custGeom>
              <a:avLst/>
              <a:gdLst/>
              <a:ahLst/>
              <a:cxnLst/>
              <a:rect l="l" t="t" r="r" b="b"/>
              <a:pathLst>
                <a:path w="60" h="36" extrusionOk="0">
                  <a:moveTo>
                    <a:pt x="60" y="0"/>
                  </a:moveTo>
                  <a:lnTo>
                    <a:pt x="60" y="0"/>
                  </a:lnTo>
                  <a:cubicBezTo>
                    <a:pt x="39" y="7"/>
                    <a:pt x="18" y="21"/>
                    <a:pt x="0" y="35"/>
                  </a:cubicBezTo>
                  <a:cubicBezTo>
                    <a:pt x="18" y="21"/>
                    <a:pt x="39" y="11"/>
                    <a:pt x="60"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916" name="Google Shape;5916;p104"/>
            <p:cNvSpPr/>
            <p:nvPr/>
          </p:nvSpPr>
          <p:spPr>
            <a:xfrm>
              <a:off x="2704530" y="1833752"/>
              <a:ext cx="14" cy="149"/>
            </a:xfrm>
            <a:custGeom>
              <a:avLst/>
              <a:gdLst/>
              <a:ahLst/>
              <a:cxnLst/>
              <a:rect l="l" t="t" r="r" b="b"/>
              <a:pathLst>
                <a:path w="1" h="11" extrusionOk="0">
                  <a:moveTo>
                    <a:pt x="0" y="7"/>
                  </a:moveTo>
                  <a:lnTo>
                    <a:pt x="0" y="0"/>
                  </a:lnTo>
                  <a:lnTo>
                    <a:pt x="0" y="1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917" name="Google Shape;5917;p104"/>
            <p:cNvSpPr/>
            <p:nvPr/>
          </p:nvSpPr>
          <p:spPr>
            <a:xfrm>
              <a:off x="2645210" y="1808322"/>
              <a:ext cx="434" cy="299"/>
            </a:xfrm>
            <a:custGeom>
              <a:avLst/>
              <a:gdLst/>
              <a:ahLst/>
              <a:cxnLst/>
              <a:rect l="l" t="t" r="r" b="b"/>
              <a:pathLst>
                <a:path w="32" h="22" extrusionOk="0">
                  <a:moveTo>
                    <a:pt x="0" y="1"/>
                  </a:moveTo>
                  <a:lnTo>
                    <a:pt x="32" y="22"/>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918" name="Google Shape;5918;p104"/>
            <p:cNvSpPr/>
            <p:nvPr/>
          </p:nvSpPr>
          <p:spPr>
            <a:xfrm>
              <a:off x="2646201" y="1809041"/>
              <a:ext cx="448" cy="339"/>
            </a:xfrm>
            <a:custGeom>
              <a:avLst/>
              <a:gdLst/>
              <a:ahLst/>
              <a:cxnLst/>
              <a:rect l="l" t="t" r="r" b="b"/>
              <a:pathLst>
                <a:path w="33" h="25" extrusionOk="0">
                  <a:moveTo>
                    <a:pt x="1" y="0"/>
                  </a:moveTo>
                  <a:lnTo>
                    <a:pt x="32" y="25"/>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919" name="Google Shape;5919;p104"/>
            <p:cNvSpPr/>
            <p:nvPr/>
          </p:nvSpPr>
          <p:spPr>
            <a:xfrm>
              <a:off x="2645685" y="1808661"/>
              <a:ext cx="434" cy="339"/>
            </a:xfrm>
            <a:custGeom>
              <a:avLst/>
              <a:gdLst/>
              <a:ahLst/>
              <a:cxnLst/>
              <a:rect l="l" t="t" r="r" b="b"/>
              <a:pathLst>
                <a:path w="32" h="25" extrusionOk="0">
                  <a:moveTo>
                    <a:pt x="0" y="0"/>
                  </a:moveTo>
                  <a:lnTo>
                    <a:pt x="32" y="25"/>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920" name="Google Shape;5920;p104"/>
            <p:cNvSpPr/>
            <p:nvPr/>
          </p:nvSpPr>
          <p:spPr>
            <a:xfrm>
              <a:off x="2757863" y="1824818"/>
              <a:ext cx="149" cy="149"/>
            </a:xfrm>
            <a:custGeom>
              <a:avLst/>
              <a:gdLst/>
              <a:ahLst/>
              <a:cxnLst/>
              <a:rect l="l" t="t" r="r" b="b"/>
              <a:pathLst>
                <a:path w="11" h="11" extrusionOk="0">
                  <a:moveTo>
                    <a:pt x="11" y="11"/>
                  </a:moveTo>
                  <a:lnTo>
                    <a:pt x="0"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921" name="Google Shape;5921;p104"/>
            <p:cNvSpPr/>
            <p:nvPr/>
          </p:nvSpPr>
          <p:spPr>
            <a:xfrm>
              <a:off x="2622101" y="1766489"/>
              <a:ext cx="109" cy="258"/>
            </a:xfrm>
            <a:custGeom>
              <a:avLst/>
              <a:gdLst/>
              <a:ahLst/>
              <a:cxnLst/>
              <a:rect l="l" t="t" r="r" b="b"/>
              <a:pathLst>
                <a:path w="8" h="19" extrusionOk="0">
                  <a:moveTo>
                    <a:pt x="8" y="1"/>
                  </a:moveTo>
                  <a:lnTo>
                    <a:pt x="8" y="1"/>
                  </a:lnTo>
                  <a:lnTo>
                    <a:pt x="1" y="18"/>
                  </a:lnTo>
                  <a:lnTo>
                    <a:pt x="1" y="18"/>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922" name="Google Shape;5922;p104"/>
            <p:cNvSpPr/>
            <p:nvPr/>
          </p:nvSpPr>
          <p:spPr>
            <a:xfrm>
              <a:off x="2646731" y="1809421"/>
              <a:ext cx="434" cy="394"/>
            </a:xfrm>
            <a:custGeom>
              <a:avLst/>
              <a:gdLst/>
              <a:ahLst/>
              <a:cxnLst/>
              <a:rect l="l" t="t" r="r" b="b"/>
              <a:pathLst>
                <a:path w="32" h="29" extrusionOk="0">
                  <a:moveTo>
                    <a:pt x="0" y="0"/>
                  </a:moveTo>
                  <a:cubicBezTo>
                    <a:pt x="11" y="11"/>
                    <a:pt x="21" y="21"/>
                    <a:pt x="32" y="28"/>
                  </a:cubicBezTo>
                  <a:cubicBezTo>
                    <a:pt x="21" y="21"/>
                    <a:pt x="11" y="11"/>
                    <a:pt x="0"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923" name="Google Shape;5923;p104"/>
            <p:cNvSpPr/>
            <p:nvPr/>
          </p:nvSpPr>
          <p:spPr>
            <a:xfrm>
              <a:off x="2647152" y="1809801"/>
              <a:ext cx="448" cy="394"/>
            </a:xfrm>
            <a:custGeom>
              <a:avLst/>
              <a:gdLst/>
              <a:ahLst/>
              <a:cxnLst/>
              <a:rect l="l" t="t" r="r" b="b"/>
              <a:pathLst>
                <a:path w="33" h="29" extrusionOk="0">
                  <a:moveTo>
                    <a:pt x="1" y="0"/>
                  </a:moveTo>
                  <a:cubicBezTo>
                    <a:pt x="11" y="11"/>
                    <a:pt x="22" y="21"/>
                    <a:pt x="32" y="28"/>
                  </a:cubicBezTo>
                  <a:cubicBezTo>
                    <a:pt x="22" y="21"/>
                    <a:pt x="11" y="11"/>
                    <a:pt x="1"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924" name="Google Shape;5924;p104"/>
            <p:cNvSpPr/>
            <p:nvPr/>
          </p:nvSpPr>
          <p:spPr>
            <a:xfrm>
              <a:off x="2642685" y="1805321"/>
              <a:ext cx="163" cy="109"/>
            </a:xfrm>
            <a:custGeom>
              <a:avLst/>
              <a:gdLst/>
              <a:ahLst/>
              <a:cxnLst/>
              <a:rect l="l" t="t" r="r" b="b"/>
              <a:pathLst>
                <a:path w="12" h="8" extrusionOk="0">
                  <a:moveTo>
                    <a:pt x="1" y="1"/>
                  </a:moveTo>
                  <a:lnTo>
                    <a:pt x="11" y="8"/>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925" name="Google Shape;5925;p104"/>
            <p:cNvSpPr/>
            <p:nvPr/>
          </p:nvSpPr>
          <p:spPr>
            <a:xfrm>
              <a:off x="2643730" y="1806271"/>
              <a:ext cx="1494" cy="2064"/>
            </a:xfrm>
            <a:custGeom>
              <a:avLst/>
              <a:gdLst/>
              <a:ahLst/>
              <a:cxnLst/>
              <a:rect l="l" t="t" r="r" b="b"/>
              <a:pathLst>
                <a:path w="110" h="152" extrusionOk="0">
                  <a:moveTo>
                    <a:pt x="1" y="1"/>
                  </a:moveTo>
                  <a:cubicBezTo>
                    <a:pt x="43" y="50"/>
                    <a:pt x="78" y="99"/>
                    <a:pt x="109" y="152"/>
                  </a:cubicBezTo>
                  <a:cubicBezTo>
                    <a:pt x="78" y="99"/>
                    <a:pt x="43" y="50"/>
                    <a:pt x="1" y="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926" name="Google Shape;5926;p104"/>
            <p:cNvSpPr/>
            <p:nvPr/>
          </p:nvSpPr>
          <p:spPr>
            <a:xfrm>
              <a:off x="2634280" y="1782606"/>
              <a:ext cx="1765" cy="2770"/>
            </a:xfrm>
            <a:custGeom>
              <a:avLst/>
              <a:gdLst/>
              <a:ahLst/>
              <a:cxnLst/>
              <a:rect l="l" t="t" r="r" b="b"/>
              <a:pathLst>
                <a:path w="130" h="204" extrusionOk="0">
                  <a:moveTo>
                    <a:pt x="0" y="1"/>
                  </a:moveTo>
                  <a:cubicBezTo>
                    <a:pt x="0" y="39"/>
                    <a:pt x="70" y="127"/>
                    <a:pt x="130" y="204"/>
                  </a:cubicBezTo>
                  <a:cubicBezTo>
                    <a:pt x="70" y="127"/>
                    <a:pt x="0" y="39"/>
                    <a:pt x="0" y="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927" name="Google Shape;5927;p104"/>
            <p:cNvSpPr/>
            <p:nvPr/>
          </p:nvSpPr>
          <p:spPr>
            <a:xfrm>
              <a:off x="2643404" y="1805945"/>
              <a:ext cx="149" cy="149"/>
            </a:xfrm>
            <a:custGeom>
              <a:avLst/>
              <a:gdLst/>
              <a:ahLst/>
              <a:cxnLst/>
              <a:rect l="l" t="t" r="r" b="b"/>
              <a:pathLst>
                <a:path w="11" h="11" extrusionOk="0">
                  <a:moveTo>
                    <a:pt x="0" y="0"/>
                  </a:moveTo>
                  <a:lnTo>
                    <a:pt x="11" y="1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928" name="Google Shape;5928;p104"/>
            <p:cNvSpPr/>
            <p:nvPr/>
          </p:nvSpPr>
          <p:spPr>
            <a:xfrm>
              <a:off x="2725915" y="1830616"/>
              <a:ext cx="543" cy="204"/>
            </a:xfrm>
            <a:custGeom>
              <a:avLst/>
              <a:gdLst/>
              <a:ahLst/>
              <a:cxnLst/>
              <a:rect l="l" t="t" r="r" b="b"/>
              <a:pathLst>
                <a:path w="40" h="15" extrusionOk="0">
                  <a:moveTo>
                    <a:pt x="39" y="0"/>
                  </a:moveTo>
                  <a:lnTo>
                    <a:pt x="1" y="14"/>
                  </a:lnTo>
                  <a:lnTo>
                    <a:pt x="1" y="14"/>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929" name="Google Shape;5929;p104"/>
            <p:cNvSpPr/>
            <p:nvPr/>
          </p:nvSpPr>
          <p:spPr>
            <a:xfrm>
              <a:off x="2701204" y="1827805"/>
              <a:ext cx="815" cy="353"/>
            </a:xfrm>
            <a:custGeom>
              <a:avLst/>
              <a:gdLst/>
              <a:ahLst/>
              <a:cxnLst/>
              <a:rect l="l" t="t" r="r" b="b"/>
              <a:pathLst>
                <a:path w="60" h="26" extrusionOk="0">
                  <a:moveTo>
                    <a:pt x="0" y="25"/>
                  </a:moveTo>
                  <a:cubicBezTo>
                    <a:pt x="18" y="11"/>
                    <a:pt x="39" y="1"/>
                    <a:pt x="60" y="1"/>
                  </a:cubicBezTo>
                  <a:cubicBezTo>
                    <a:pt x="39" y="1"/>
                    <a:pt x="18" y="11"/>
                    <a:pt x="0" y="25"/>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930" name="Google Shape;5930;p104"/>
            <p:cNvSpPr/>
            <p:nvPr/>
          </p:nvSpPr>
          <p:spPr>
            <a:xfrm>
              <a:off x="2757673" y="1824533"/>
              <a:ext cx="109" cy="149"/>
            </a:xfrm>
            <a:custGeom>
              <a:avLst/>
              <a:gdLst/>
              <a:ahLst/>
              <a:cxnLst/>
              <a:rect l="l" t="t" r="r" b="b"/>
              <a:pathLst>
                <a:path w="8" h="11" extrusionOk="0">
                  <a:moveTo>
                    <a:pt x="0" y="0"/>
                  </a:moveTo>
                  <a:cubicBezTo>
                    <a:pt x="0" y="4"/>
                    <a:pt x="4" y="7"/>
                    <a:pt x="7" y="11"/>
                  </a:cubicBezTo>
                  <a:cubicBezTo>
                    <a:pt x="4" y="7"/>
                    <a:pt x="0" y="4"/>
                    <a:pt x="0"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931" name="Google Shape;5931;p104"/>
            <p:cNvSpPr/>
            <p:nvPr/>
          </p:nvSpPr>
          <p:spPr>
            <a:xfrm>
              <a:off x="2758012" y="1824954"/>
              <a:ext cx="1955" cy="1018"/>
            </a:xfrm>
            <a:custGeom>
              <a:avLst/>
              <a:gdLst/>
              <a:ahLst/>
              <a:cxnLst/>
              <a:rect l="l" t="t" r="r" b="b"/>
              <a:pathLst>
                <a:path w="144" h="75" extrusionOk="0">
                  <a:moveTo>
                    <a:pt x="0" y="1"/>
                  </a:moveTo>
                  <a:lnTo>
                    <a:pt x="0" y="1"/>
                  </a:lnTo>
                  <a:cubicBezTo>
                    <a:pt x="42" y="36"/>
                    <a:pt x="91" y="60"/>
                    <a:pt x="143" y="74"/>
                  </a:cubicBezTo>
                  <a:cubicBezTo>
                    <a:pt x="91" y="57"/>
                    <a:pt x="42" y="36"/>
                    <a:pt x="0" y="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932" name="Google Shape;5932;p104"/>
            <p:cNvSpPr/>
            <p:nvPr/>
          </p:nvSpPr>
          <p:spPr>
            <a:xfrm>
              <a:off x="2626338" y="1766353"/>
              <a:ext cx="869" cy="679"/>
            </a:xfrm>
            <a:custGeom>
              <a:avLst/>
              <a:gdLst/>
              <a:ahLst/>
              <a:cxnLst/>
              <a:rect l="l" t="t" r="r" b="b"/>
              <a:pathLst>
                <a:path w="64" h="50" extrusionOk="0">
                  <a:moveTo>
                    <a:pt x="64" y="49"/>
                  </a:moveTo>
                  <a:cubicBezTo>
                    <a:pt x="43" y="32"/>
                    <a:pt x="22" y="14"/>
                    <a:pt x="1" y="0"/>
                  </a:cubicBezTo>
                  <a:cubicBezTo>
                    <a:pt x="22" y="14"/>
                    <a:pt x="43" y="32"/>
                    <a:pt x="64" y="49"/>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933" name="Google Shape;5933;p104"/>
            <p:cNvSpPr/>
            <p:nvPr/>
          </p:nvSpPr>
          <p:spPr>
            <a:xfrm>
              <a:off x="2757768" y="1824669"/>
              <a:ext cx="109" cy="163"/>
            </a:xfrm>
            <a:custGeom>
              <a:avLst/>
              <a:gdLst/>
              <a:ahLst/>
              <a:cxnLst/>
              <a:rect l="l" t="t" r="r" b="b"/>
              <a:pathLst>
                <a:path w="8" h="12" extrusionOk="0">
                  <a:moveTo>
                    <a:pt x="0" y="1"/>
                  </a:moveTo>
                  <a:cubicBezTo>
                    <a:pt x="0" y="4"/>
                    <a:pt x="4" y="8"/>
                    <a:pt x="7" y="11"/>
                  </a:cubicBezTo>
                  <a:cubicBezTo>
                    <a:pt x="4" y="8"/>
                    <a:pt x="0" y="4"/>
                    <a:pt x="0" y="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934" name="Google Shape;5934;p104"/>
            <p:cNvSpPr/>
            <p:nvPr/>
          </p:nvSpPr>
          <p:spPr>
            <a:xfrm>
              <a:off x="2760049" y="1825959"/>
              <a:ext cx="204" cy="54"/>
            </a:xfrm>
            <a:custGeom>
              <a:avLst/>
              <a:gdLst/>
              <a:ahLst/>
              <a:cxnLst/>
              <a:rect l="l" t="t" r="r" b="b"/>
              <a:pathLst>
                <a:path w="15" h="4" extrusionOk="0">
                  <a:moveTo>
                    <a:pt x="0" y="0"/>
                  </a:moveTo>
                  <a:lnTo>
                    <a:pt x="14" y="4"/>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935" name="Google Shape;5935;p104"/>
            <p:cNvSpPr/>
            <p:nvPr/>
          </p:nvSpPr>
          <p:spPr>
            <a:xfrm>
              <a:off x="2704571" y="1833223"/>
              <a:ext cx="68" cy="394"/>
            </a:xfrm>
            <a:custGeom>
              <a:avLst/>
              <a:gdLst/>
              <a:ahLst/>
              <a:cxnLst/>
              <a:rect l="l" t="t" r="r" b="b"/>
              <a:pathLst>
                <a:path w="5" h="29" extrusionOk="0">
                  <a:moveTo>
                    <a:pt x="4" y="1"/>
                  </a:moveTo>
                  <a:cubicBezTo>
                    <a:pt x="1" y="11"/>
                    <a:pt x="1" y="18"/>
                    <a:pt x="1" y="29"/>
                  </a:cubicBezTo>
                  <a:cubicBezTo>
                    <a:pt x="1" y="18"/>
                    <a:pt x="1" y="11"/>
                    <a:pt x="4" y="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936" name="Google Shape;5936;p104"/>
            <p:cNvSpPr/>
            <p:nvPr/>
          </p:nvSpPr>
          <p:spPr>
            <a:xfrm>
              <a:off x="2634280" y="1780800"/>
              <a:ext cx="339" cy="1819"/>
            </a:xfrm>
            <a:custGeom>
              <a:avLst/>
              <a:gdLst/>
              <a:ahLst/>
              <a:cxnLst/>
              <a:rect l="l" t="t" r="r" b="b"/>
              <a:pathLst>
                <a:path w="25" h="134" extrusionOk="0">
                  <a:moveTo>
                    <a:pt x="25" y="1"/>
                  </a:moveTo>
                  <a:lnTo>
                    <a:pt x="18" y="22"/>
                  </a:lnTo>
                  <a:cubicBezTo>
                    <a:pt x="11" y="57"/>
                    <a:pt x="4" y="95"/>
                    <a:pt x="0" y="134"/>
                  </a:cubicBezTo>
                  <a:cubicBezTo>
                    <a:pt x="4" y="95"/>
                    <a:pt x="11" y="60"/>
                    <a:pt x="18" y="25"/>
                  </a:cubicBezTo>
                  <a:lnTo>
                    <a:pt x="25"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937" name="Google Shape;5937;p104"/>
            <p:cNvSpPr/>
            <p:nvPr/>
          </p:nvSpPr>
          <p:spPr>
            <a:xfrm>
              <a:off x="2726580" y="1830426"/>
              <a:ext cx="299" cy="149"/>
            </a:xfrm>
            <a:custGeom>
              <a:avLst/>
              <a:gdLst/>
              <a:ahLst/>
              <a:cxnLst/>
              <a:rect l="l" t="t" r="r" b="b"/>
              <a:pathLst>
                <a:path w="22" h="11" extrusionOk="0">
                  <a:moveTo>
                    <a:pt x="1" y="11"/>
                  </a:moveTo>
                  <a:lnTo>
                    <a:pt x="22"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938" name="Google Shape;5938;p104"/>
            <p:cNvSpPr/>
            <p:nvPr/>
          </p:nvSpPr>
          <p:spPr>
            <a:xfrm>
              <a:off x="2917955" y="1668962"/>
              <a:ext cx="1575" cy="530"/>
            </a:xfrm>
            <a:custGeom>
              <a:avLst/>
              <a:gdLst/>
              <a:ahLst/>
              <a:cxnLst/>
              <a:rect l="l" t="t" r="r" b="b"/>
              <a:pathLst>
                <a:path w="116" h="39" extrusionOk="0">
                  <a:moveTo>
                    <a:pt x="0" y="39"/>
                  </a:moveTo>
                  <a:cubicBezTo>
                    <a:pt x="39" y="25"/>
                    <a:pt x="77" y="11"/>
                    <a:pt x="116" y="0"/>
                  </a:cubicBezTo>
                  <a:cubicBezTo>
                    <a:pt x="77" y="11"/>
                    <a:pt x="39" y="25"/>
                    <a:pt x="0" y="39"/>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939" name="Google Shape;5939;p104"/>
            <p:cNvSpPr/>
            <p:nvPr/>
          </p:nvSpPr>
          <p:spPr>
            <a:xfrm>
              <a:off x="2754577" y="1704223"/>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940" name="Google Shape;5940;p104"/>
            <p:cNvSpPr/>
            <p:nvPr/>
          </p:nvSpPr>
          <p:spPr>
            <a:xfrm>
              <a:off x="2822125" y="1713781"/>
              <a:ext cx="163" cy="109"/>
            </a:xfrm>
            <a:custGeom>
              <a:avLst/>
              <a:gdLst/>
              <a:ahLst/>
              <a:cxnLst/>
              <a:rect l="l" t="t" r="r" b="b"/>
              <a:pathLst>
                <a:path w="12" h="8" extrusionOk="0">
                  <a:moveTo>
                    <a:pt x="1" y="7"/>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941" name="Google Shape;5941;p104"/>
            <p:cNvSpPr/>
            <p:nvPr/>
          </p:nvSpPr>
          <p:spPr>
            <a:xfrm>
              <a:off x="2821324" y="1714297"/>
              <a:ext cx="95" cy="68"/>
            </a:xfrm>
            <a:custGeom>
              <a:avLst/>
              <a:gdLst/>
              <a:ahLst/>
              <a:cxnLst/>
              <a:rect l="l" t="t" r="r" b="b"/>
              <a:pathLst>
                <a:path w="7" h="5" extrusionOk="0">
                  <a:moveTo>
                    <a:pt x="0" y="4"/>
                  </a:moveTo>
                  <a:lnTo>
                    <a:pt x="7"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942" name="Google Shape;5942;p104"/>
            <p:cNvSpPr/>
            <p:nvPr/>
          </p:nvSpPr>
          <p:spPr>
            <a:xfrm>
              <a:off x="2845370" y="1708079"/>
              <a:ext cx="1670" cy="299"/>
            </a:xfrm>
            <a:custGeom>
              <a:avLst/>
              <a:gdLst/>
              <a:ahLst/>
              <a:cxnLst/>
              <a:rect l="l" t="t" r="r" b="b"/>
              <a:pathLst>
                <a:path w="123" h="22" extrusionOk="0">
                  <a:moveTo>
                    <a:pt x="0" y="0"/>
                  </a:moveTo>
                  <a:lnTo>
                    <a:pt x="0" y="0"/>
                  </a:lnTo>
                  <a:cubicBezTo>
                    <a:pt x="46" y="11"/>
                    <a:pt x="88" y="18"/>
                    <a:pt x="123" y="21"/>
                  </a:cubicBezTo>
                  <a:cubicBezTo>
                    <a:pt x="88" y="18"/>
                    <a:pt x="46" y="7"/>
                    <a:pt x="0"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943" name="Google Shape;5943;p104"/>
            <p:cNvSpPr/>
            <p:nvPr/>
          </p:nvSpPr>
          <p:spPr>
            <a:xfrm>
              <a:off x="2819124" y="1715343"/>
              <a:ext cx="109" cy="14"/>
            </a:xfrm>
            <a:custGeom>
              <a:avLst/>
              <a:gdLst/>
              <a:ahLst/>
              <a:cxnLst/>
              <a:rect l="l" t="t" r="r" b="b"/>
              <a:pathLst>
                <a:path w="8" h="1" extrusionOk="0">
                  <a:moveTo>
                    <a:pt x="1" y="1"/>
                  </a:moveTo>
                  <a:lnTo>
                    <a:pt x="8"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944" name="Google Shape;5944;p104"/>
            <p:cNvSpPr/>
            <p:nvPr/>
          </p:nvSpPr>
          <p:spPr>
            <a:xfrm>
              <a:off x="2822980" y="1713211"/>
              <a:ext cx="204" cy="109"/>
            </a:xfrm>
            <a:custGeom>
              <a:avLst/>
              <a:gdLst/>
              <a:ahLst/>
              <a:cxnLst/>
              <a:rect l="l" t="t" r="r" b="b"/>
              <a:pathLst>
                <a:path w="15" h="8" extrusionOk="0">
                  <a:moveTo>
                    <a:pt x="1" y="7"/>
                  </a:moveTo>
                  <a:lnTo>
                    <a:pt x="15"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945" name="Google Shape;5945;p104"/>
            <p:cNvSpPr/>
            <p:nvPr/>
          </p:nvSpPr>
          <p:spPr>
            <a:xfrm>
              <a:off x="2924459" y="1658548"/>
              <a:ext cx="869" cy="720"/>
            </a:xfrm>
            <a:custGeom>
              <a:avLst/>
              <a:gdLst/>
              <a:ahLst/>
              <a:cxnLst/>
              <a:rect l="l" t="t" r="r" b="b"/>
              <a:pathLst>
                <a:path w="64" h="53" extrusionOk="0">
                  <a:moveTo>
                    <a:pt x="64" y="53"/>
                  </a:moveTo>
                  <a:lnTo>
                    <a:pt x="1"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946" name="Google Shape;5946;p104"/>
            <p:cNvSpPr/>
            <p:nvPr/>
          </p:nvSpPr>
          <p:spPr>
            <a:xfrm>
              <a:off x="2759424" y="1705363"/>
              <a:ext cx="5390" cy="204"/>
            </a:xfrm>
            <a:custGeom>
              <a:avLst/>
              <a:gdLst/>
              <a:ahLst/>
              <a:cxnLst/>
              <a:rect l="l" t="t" r="r" b="b"/>
              <a:pathLst>
                <a:path w="397" h="15" extrusionOk="0">
                  <a:moveTo>
                    <a:pt x="397" y="11"/>
                  </a:moveTo>
                  <a:cubicBezTo>
                    <a:pt x="288" y="1"/>
                    <a:pt x="179" y="1"/>
                    <a:pt x="74" y="11"/>
                  </a:cubicBezTo>
                  <a:lnTo>
                    <a:pt x="1" y="15"/>
                  </a:lnTo>
                  <a:lnTo>
                    <a:pt x="74" y="11"/>
                  </a:lnTo>
                  <a:cubicBezTo>
                    <a:pt x="179" y="1"/>
                    <a:pt x="288" y="1"/>
                    <a:pt x="397" y="1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947" name="Google Shape;5947;p104"/>
            <p:cNvSpPr/>
            <p:nvPr/>
          </p:nvSpPr>
          <p:spPr>
            <a:xfrm>
              <a:off x="2818459" y="1715533"/>
              <a:ext cx="109" cy="14"/>
            </a:xfrm>
            <a:custGeom>
              <a:avLst/>
              <a:gdLst/>
              <a:ahLst/>
              <a:cxnLst/>
              <a:rect l="l" t="t" r="r" b="b"/>
              <a:pathLst>
                <a:path w="8" h="1" extrusionOk="0">
                  <a:moveTo>
                    <a:pt x="1" y="1"/>
                  </a:moveTo>
                  <a:lnTo>
                    <a:pt x="8"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948" name="Google Shape;5948;p104"/>
            <p:cNvSpPr/>
            <p:nvPr/>
          </p:nvSpPr>
          <p:spPr>
            <a:xfrm>
              <a:off x="2820550" y="1714773"/>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949" name="Google Shape;5949;p104"/>
            <p:cNvSpPr/>
            <p:nvPr/>
          </p:nvSpPr>
          <p:spPr>
            <a:xfrm>
              <a:off x="2697063" y="1644102"/>
              <a:ext cx="68" cy="244"/>
            </a:xfrm>
            <a:custGeom>
              <a:avLst/>
              <a:gdLst/>
              <a:ahLst/>
              <a:cxnLst/>
              <a:rect l="l" t="t" r="r" b="b"/>
              <a:pathLst>
                <a:path w="5" h="18" extrusionOk="0">
                  <a:moveTo>
                    <a:pt x="1" y="0"/>
                  </a:moveTo>
                  <a:cubicBezTo>
                    <a:pt x="1" y="4"/>
                    <a:pt x="4" y="11"/>
                    <a:pt x="4" y="18"/>
                  </a:cubicBezTo>
                  <a:cubicBezTo>
                    <a:pt x="4" y="11"/>
                    <a:pt x="4" y="4"/>
                    <a:pt x="1"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950" name="Google Shape;5950;p104"/>
            <p:cNvSpPr/>
            <p:nvPr/>
          </p:nvSpPr>
          <p:spPr>
            <a:xfrm>
              <a:off x="2810815" y="1712641"/>
              <a:ext cx="1385" cy="109"/>
            </a:xfrm>
            <a:custGeom>
              <a:avLst/>
              <a:gdLst/>
              <a:ahLst/>
              <a:cxnLst/>
              <a:rect l="l" t="t" r="r" b="b"/>
              <a:pathLst>
                <a:path w="102" h="8" extrusionOk="0">
                  <a:moveTo>
                    <a:pt x="102" y="0"/>
                  </a:moveTo>
                  <a:lnTo>
                    <a:pt x="81" y="0"/>
                  </a:lnTo>
                  <a:cubicBezTo>
                    <a:pt x="53" y="4"/>
                    <a:pt x="25" y="7"/>
                    <a:pt x="0" y="7"/>
                  </a:cubicBezTo>
                  <a:cubicBezTo>
                    <a:pt x="25" y="7"/>
                    <a:pt x="53" y="4"/>
                    <a:pt x="81" y="0"/>
                  </a:cubicBezTo>
                  <a:cubicBezTo>
                    <a:pt x="88" y="0"/>
                    <a:pt x="95" y="0"/>
                    <a:pt x="102"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951" name="Google Shape;5951;p104"/>
            <p:cNvSpPr/>
            <p:nvPr/>
          </p:nvSpPr>
          <p:spPr>
            <a:xfrm>
              <a:off x="2817943" y="1715587"/>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952" name="Google Shape;5952;p104"/>
            <p:cNvSpPr/>
            <p:nvPr/>
          </p:nvSpPr>
          <p:spPr>
            <a:xfrm>
              <a:off x="2901594" y="1637965"/>
              <a:ext cx="5540" cy="10943"/>
            </a:xfrm>
            <a:custGeom>
              <a:avLst/>
              <a:gdLst/>
              <a:ahLst/>
              <a:cxnLst/>
              <a:rect l="l" t="t" r="r" b="b"/>
              <a:pathLst>
                <a:path w="408" h="806" extrusionOk="0">
                  <a:moveTo>
                    <a:pt x="407" y="1"/>
                  </a:moveTo>
                  <a:lnTo>
                    <a:pt x="1" y="806"/>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953" name="Google Shape;5953;p104"/>
            <p:cNvSpPr/>
            <p:nvPr/>
          </p:nvSpPr>
          <p:spPr>
            <a:xfrm>
              <a:off x="2921988" y="1656213"/>
              <a:ext cx="774" cy="774"/>
            </a:xfrm>
            <a:custGeom>
              <a:avLst/>
              <a:gdLst/>
              <a:ahLst/>
              <a:cxnLst/>
              <a:rect l="l" t="t" r="r" b="b"/>
              <a:pathLst>
                <a:path w="57" h="57" extrusionOk="0">
                  <a:moveTo>
                    <a:pt x="1" y="1"/>
                  </a:moveTo>
                  <a:cubicBezTo>
                    <a:pt x="15" y="18"/>
                    <a:pt x="36" y="36"/>
                    <a:pt x="57" y="57"/>
                  </a:cubicBezTo>
                  <a:cubicBezTo>
                    <a:pt x="36" y="36"/>
                    <a:pt x="18" y="18"/>
                    <a:pt x="1" y="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954" name="Google Shape;5954;p104"/>
            <p:cNvSpPr/>
            <p:nvPr/>
          </p:nvSpPr>
          <p:spPr>
            <a:xfrm>
              <a:off x="2803687" y="1710645"/>
              <a:ext cx="679" cy="394"/>
            </a:xfrm>
            <a:custGeom>
              <a:avLst/>
              <a:gdLst/>
              <a:ahLst/>
              <a:cxnLst/>
              <a:rect l="l" t="t" r="r" b="b"/>
              <a:pathLst>
                <a:path w="50" h="29" extrusionOk="0">
                  <a:moveTo>
                    <a:pt x="0" y="0"/>
                  </a:moveTo>
                  <a:lnTo>
                    <a:pt x="49" y="28"/>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955" name="Google Shape;5955;p104"/>
            <p:cNvSpPr/>
            <p:nvPr/>
          </p:nvSpPr>
          <p:spPr>
            <a:xfrm>
              <a:off x="2598395" y="1730373"/>
              <a:ext cx="54" cy="244"/>
            </a:xfrm>
            <a:custGeom>
              <a:avLst/>
              <a:gdLst/>
              <a:ahLst/>
              <a:cxnLst/>
              <a:rect l="l" t="t" r="r" b="b"/>
              <a:pathLst>
                <a:path w="4" h="18" extrusionOk="0">
                  <a:moveTo>
                    <a:pt x="4" y="0"/>
                  </a:moveTo>
                  <a:lnTo>
                    <a:pt x="4" y="0"/>
                  </a:lnTo>
                  <a:cubicBezTo>
                    <a:pt x="4" y="7"/>
                    <a:pt x="0" y="11"/>
                    <a:pt x="0" y="18"/>
                  </a:cubicBezTo>
                  <a:cubicBezTo>
                    <a:pt x="4" y="11"/>
                    <a:pt x="4" y="7"/>
                    <a:pt x="4"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956" name="Google Shape;5956;p104"/>
            <p:cNvSpPr/>
            <p:nvPr/>
          </p:nvSpPr>
          <p:spPr>
            <a:xfrm>
              <a:off x="2598531" y="1729463"/>
              <a:ext cx="14" cy="109"/>
            </a:xfrm>
            <a:custGeom>
              <a:avLst/>
              <a:gdLst/>
              <a:ahLst/>
              <a:cxnLst/>
              <a:rect l="l" t="t" r="r" b="b"/>
              <a:pathLst>
                <a:path w="1" h="8" extrusionOk="0">
                  <a:moveTo>
                    <a:pt x="1" y="1"/>
                  </a:moveTo>
                  <a:lnTo>
                    <a:pt x="1" y="8"/>
                  </a:lnTo>
                  <a:cubicBezTo>
                    <a:pt x="1" y="8"/>
                    <a:pt x="1" y="1"/>
                    <a:pt x="1" y="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957" name="Google Shape;5957;p104"/>
            <p:cNvSpPr/>
            <p:nvPr/>
          </p:nvSpPr>
          <p:spPr>
            <a:xfrm>
              <a:off x="2609176" y="1723815"/>
              <a:ext cx="1113" cy="679"/>
            </a:xfrm>
            <a:custGeom>
              <a:avLst/>
              <a:gdLst/>
              <a:ahLst/>
              <a:cxnLst/>
              <a:rect l="l" t="t" r="r" b="b"/>
              <a:pathLst>
                <a:path w="82" h="50" extrusionOk="0">
                  <a:moveTo>
                    <a:pt x="81" y="49"/>
                  </a:moveTo>
                  <a:cubicBezTo>
                    <a:pt x="57" y="32"/>
                    <a:pt x="29" y="14"/>
                    <a:pt x="1" y="0"/>
                  </a:cubicBezTo>
                  <a:cubicBezTo>
                    <a:pt x="29" y="14"/>
                    <a:pt x="57" y="32"/>
                    <a:pt x="81" y="49"/>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958" name="Google Shape;5958;p104"/>
            <p:cNvSpPr/>
            <p:nvPr/>
          </p:nvSpPr>
          <p:spPr>
            <a:xfrm>
              <a:off x="2597825" y="1732030"/>
              <a:ext cx="109" cy="258"/>
            </a:xfrm>
            <a:custGeom>
              <a:avLst/>
              <a:gdLst/>
              <a:ahLst/>
              <a:cxnLst/>
              <a:rect l="l" t="t" r="r" b="b"/>
              <a:pathLst>
                <a:path w="8" h="19" extrusionOk="0">
                  <a:moveTo>
                    <a:pt x="7" y="1"/>
                  </a:moveTo>
                  <a:lnTo>
                    <a:pt x="0" y="18"/>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959" name="Google Shape;5959;p104"/>
            <p:cNvSpPr/>
            <p:nvPr/>
          </p:nvSpPr>
          <p:spPr>
            <a:xfrm>
              <a:off x="2643975" y="1710455"/>
              <a:ext cx="14" cy="14"/>
            </a:xfrm>
            <a:custGeom>
              <a:avLst/>
              <a:gdLst/>
              <a:ahLst/>
              <a:cxnLst/>
              <a:rect l="l" t="t" r="r" b="b"/>
              <a:pathLst>
                <a:path w="1" h="1" extrusionOk="0">
                  <a:moveTo>
                    <a:pt x="0"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960" name="Google Shape;5960;p104"/>
            <p:cNvSpPr/>
            <p:nvPr/>
          </p:nvSpPr>
          <p:spPr>
            <a:xfrm>
              <a:off x="2598490" y="1729898"/>
              <a:ext cx="14" cy="204"/>
            </a:xfrm>
            <a:custGeom>
              <a:avLst/>
              <a:gdLst/>
              <a:ahLst/>
              <a:cxnLst/>
              <a:rect l="l" t="t" r="r" b="b"/>
              <a:pathLst>
                <a:path w="1" h="15" extrusionOk="0">
                  <a:moveTo>
                    <a:pt x="0" y="0"/>
                  </a:moveTo>
                  <a:lnTo>
                    <a:pt x="0" y="14"/>
                  </a:lnTo>
                  <a:cubicBezTo>
                    <a:pt x="0" y="11"/>
                    <a:pt x="0" y="4"/>
                    <a:pt x="0"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961" name="Google Shape;5961;p104"/>
            <p:cNvSpPr/>
            <p:nvPr/>
          </p:nvSpPr>
          <p:spPr>
            <a:xfrm>
              <a:off x="2598056" y="1731459"/>
              <a:ext cx="109" cy="299"/>
            </a:xfrm>
            <a:custGeom>
              <a:avLst/>
              <a:gdLst/>
              <a:ahLst/>
              <a:cxnLst/>
              <a:rect l="l" t="t" r="r" b="b"/>
              <a:pathLst>
                <a:path w="8" h="22" extrusionOk="0">
                  <a:moveTo>
                    <a:pt x="8" y="1"/>
                  </a:moveTo>
                  <a:lnTo>
                    <a:pt x="8" y="1"/>
                  </a:lnTo>
                  <a:cubicBezTo>
                    <a:pt x="4" y="8"/>
                    <a:pt x="4" y="15"/>
                    <a:pt x="1" y="22"/>
                  </a:cubicBezTo>
                  <a:cubicBezTo>
                    <a:pt x="4" y="15"/>
                    <a:pt x="8" y="8"/>
                    <a:pt x="8" y="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962" name="Google Shape;5962;p104"/>
            <p:cNvSpPr/>
            <p:nvPr/>
          </p:nvSpPr>
          <p:spPr>
            <a:xfrm>
              <a:off x="2598246" y="1730943"/>
              <a:ext cx="109" cy="244"/>
            </a:xfrm>
            <a:custGeom>
              <a:avLst/>
              <a:gdLst/>
              <a:ahLst/>
              <a:cxnLst/>
              <a:rect l="l" t="t" r="r" b="b"/>
              <a:pathLst>
                <a:path w="8" h="18" extrusionOk="0">
                  <a:moveTo>
                    <a:pt x="8" y="0"/>
                  </a:moveTo>
                  <a:lnTo>
                    <a:pt x="8" y="0"/>
                  </a:lnTo>
                  <a:cubicBezTo>
                    <a:pt x="4" y="4"/>
                    <a:pt x="4" y="11"/>
                    <a:pt x="1" y="18"/>
                  </a:cubicBezTo>
                  <a:cubicBezTo>
                    <a:pt x="4" y="11"/>
                    <a:pt x="8" y="4"/>
                    <a:pt x="8"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963" name="Google Shape;5963;p104"/>
            <p:cNvSpPr/>
            <p:nvPr/>
          </p:nvSpPr>
          <p:spPr>
            <a:xfrm>
              <a:off x="2597485" y="1732600"/>
              <a:ext cx="163" cy="258"/>
            </a:xfrm>
            <a:custGeom>
              <a:avLst/>
              <a:gdLst/>
              <a:ahLst/>
              <a:cxnLst/>
              <a:rect l="l" t="t" r="r" b="b"/>
              <a:pathLst>
                <a:path w="12" h="19" extrusionOk="0">
                  <a:moveTo>
                    <a:pt x="11" y="1"/>
                  </a:moveTo>
                  <a:cubicBezTo>
                    <a:pt x="8" y="8"/>
                    <a:pt x="4" y="15"/>
                    <a:pt x="1" y="18"/>
                  </a:cubicBezTo>
                  <a:cubicBezTo>
                    <a:pt x="4" y="15"/>
                    <a:pt x="8" y="8"/>
                    <a:pt x="11" y="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964" name="Google Shape;5964;p104"/>
            <p:cNvSpPr/>
            <p:nvPr/>
          </p:nvSpPr>
          <p:spPr>
            <a:xfrm>
              <a:off x="2645156" y="1707604"/>
              <a:ext cx="14" cy="434"/>
            </a:xfrm>
            <a:custGeom>
              <a:avLst/>
              <a:gdLst/>
              <a:ahLst/>
              <a:cxnLst/>
              <a:rect l="l" t="t" r="r" b="b"/>
              <a:pathLst>
                <a:path w="1" h="32" extrusionOk="0">
                  <a:moveTo>
                    <a:pt x="1" y="32"/>
                  </a:moveTo>
                  <a:lnTo>
                    <a:pt x="1" y="0"/>
                  </a:lnTo>
                  <a:lnTo>
                    <a:pt x="1" y="0"/>
                  </a:lnTo>
                  <a:lnTo>
                    <a:pt x="1" y="28"/>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965" name="Google Shape;5965;p104"/>
            <p:cNvSpPr/>
            <p:nvPr/>
          </p:nvSpPr>
          <p:spPr>
            <a:xfrm>
              <a:off x="2625441" y="1716633"/>
              <a:ext cx="6612" cy="4141"/>
            </a:xfrm>
            <a:custGeom>
              <a:avLst/>
              <a:gdLst/>
              <a:ahLst/>
              <a:cxnLst/>
              <a:rect l="l" t="t" r="r" b="b"/>
              <a:pathLst>
                <a:path w="487" h="305" extrusionOk="0">
                  <a:moveTo>
                    <a:pt x="0" y="280"/>
                  </a:moveTo>
                  <a:cubicBezTo>
                    <a:pt x="298" y="305"/>
                    <a:pt x="420" y="133"/>
                    <a:pt x="487" y="0"/>
                  </a:cubicBezTo>
                  <a:cubicBezTo>
                    <a:pt x="420" y="133"/>
                    <a:pt x="298" y="305"/>
                    <a:pt x="0" y="28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966" name="Google Shape;5966;p104"/>
            <p:cNvSpPr/>
            <p:nvPr/>
          </p:nvSpPr>
          <p:spPr>
            <a:xfrm>
              <a:off x="2627437" y="1766639"/>
              <a:ext cx="109" cy="109"/>
            </a:xfrm>
            <a:custGeom>
              <a:avLst/>
              <a:gdLst/>
              <a:ahLst/>
              <a:cxnLst/>
              <a:rect l="l" t="t" r="r" b="b"/>
              <a:pathLst>
                <a:path w="8" h="8" extrusionOk="0">
                  <a:moveTo>
                    <a:pt x="0" y="7"/>
                  </a:moveTo>
                  <a:lnTo>
                    <a:pt x="7"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967" name="Google Shape;5967;p104"/>
            <p:cNvSpPr/>
            <p:nvPr/>
          </p:nvSpPr>
          <p:spPr>
            <a:xfrm>
              <a:off x="2629094" y="1765254"/>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968" name="Google Shape;5968;p104"/>
            <p:cNvSpPr/>
            <p:nvPr/>
          </p:nvSpPr>
          <p:spPr>
            <a:xfrm>
              <a:off x="2635896" y="1762742"/>
              <a:ext cx="7658" cy="4576"/>
            </a:xfrm>
            <a:custGeom>
              <a:avLst/>
              <a:gdLst/>
              <a:ahLst/>
              <a:cxnLst/>
              <a:rect l="l" t="t" r="r" b="b"/>
              <a:pathLst>
                <a:path w="564" h="337" extrusionOk="0">
                  <a:moveTo>
                    <a:pt x="0" y="0"/>
                  </a:moveTo>
                  <a:lnTo>
                    <a:pt x="0" y="0"/>
                  </a:lnTo>
                  <a:cubicBezTo>
                    <a:pt x="158" y="11"/>
                    <a:pt x="410" y="175"/>
                    <a:pt x="564" y="336"/>
                  </a:cubicBezTo>
                  <a:cubicBezTo>
                    <a:pt x="410" y="175"/>
                    <a:pt x="158" y="11"/>
                    <a:pt x="0"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969" name="Google Shape;5969;p104"/>
            <p:cNvSpPr/>
            <p:nvPr/>
          </p:nvSpPr>
          <p:spPr>
            <a:xfrm>
              <a:off x="2634701" y="1762837"/>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970" name="Google Shape;5970;p104"/>
            <p:cNvSpPr/>
            <p:nvPr/>
          </p:nvSpPr>
          <p:spPr>
            <a:xfrm>
              <a:off x="2634701" y="1780759"/>
              <a:ext cx="679" cy="54"/>
            </a:xfrm>
            <a:custGeom>
              <a:avLst/>
              <a:gdLst/>
              <a:ahLst/>
              <a:cxnLst/>
              <a:rect l="l" t="t" r="r" b="b"/>
              <a:pathLst>
                <a:path w="50" h="4" extrusionOk="0">
                  <a:moveTo>
                    <a:pt x="50" y="0"/>
                  </a:moveTo>
                  <a:lnTo>
                    <a:pt x="1" y="4"/>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971" name="Google Shape;5971;p104"/>
            <p:cNvSpPr/>
            <p:nvPr/>
          </p:nvSpPr>
          <p:spPr>
            <a:xfrm>
              <a:off x="2644925" y="1769055"/>
              <a:ext cx="530" cy="1969"/>
            </a:xfrm>
            <a:custGeom>
              <a:avLst/>
              <a:gdLst/>
              <a:ahLst/>
              <a:cxnLst/>
              <a:rect l="l" t="t" r="r" b="b"/>
              <a:pathLst>
                <a:path w="39" h="145" extrusionOk="0">
                  <a:moveTo>
                    <a:pt x="25" y="144"/>
                  </a:moveTo>
                  <a:cubicBezTo>
                    <a:pt x="39" y="95"/>
                    <a:pt x="28" y="43"/>
                    <a:pt x="0" y="1"/>
                  </a:cubicBezTo>
                  <a:cubicBezTo>
                    <a:pt x="28" y="43"/>
                    <a:pt x="39" y="95"/>
                    <a:pt x="25" y="144"/>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972" name="Google Shape;5972;p104"/>
            <p:cNvSpPr/>
            <p:nvPr/>
          </p:nvSpPr>
          <p:spPr>
            <a:xfrm>
              <a:off x="2635421" y="1780705"/>
              <a:ext cx="625" cy="68"/>
            </a:xfrm>
            <a:custGeom>
              <a:avLst/>
              <a:gdLst/>
              <a:ahLst/>
              <a:cxnLst/>
              <a:rect l="l" t="t" r="r" b="b"/>
              <a:pathLst>
                <a:path w="46" h="5" extrusionOk="0">
                  <a:moveTo>
                    <a:pt x="46"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973" name="Google Shape;5973;p104"/>
            <p:cNvSpPr/>
            <p:nvPr/>
          </p:nvSpPr>
          <p:spPr>
            <a:xfrm>
              <a:off x="2636127" y="1780610"/>
              <a:ext cx="543" cy="68"/>
            </a:xfrm>
            <a:custGeom>
              <a:avLst/>
              <a:gdLst/>
              <a:ahLst/>
              <a:cxnLst/>
              <a:rect l="l" t="t" r="r" b="b"/>
              <a:pathLst>
                <a:path w="40" h="5" extrusionOk="0">
                  <a:moveTo>
                    <a:pt x="39" y="1"/>
                  </a:moveTo>
                  <a:lnTo>
                    <a:pt x="1" y="4"/>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974" name="Google Shape;5974;p104"/>
            <p:cNvSpPr/>
            <p:nvPr/>
          </p:nvSpPr>
          <p:spPr>
            <a:xfrm>
              <a:off x="2635272" y="1762742"/>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975" name="Google Shape;5975;p104"/>
            <p:cNvSpPr/>
            <p:nvPr/>
          </p:nvSpPr>
          <p:spPr>
            <a:xfrm>
              <a:off x="2636751" y="1780474"/>
              <a:ext cx="489" cy="109"/>
            </a:xfrm>
            <a:custGeom>
              <a:avLst/>
              <a:gdLst/>
              <a:ahLst/>
              <a:cxnLst/>
              <a:rect l="l" t="t" r="r" b="b"/>
              <a:pathLst>
                <a:path w="36" h="8" extrusionOk="0">
                  <a:moveTo>
                    <a:pt x="35"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976" name="Google Shape;5976;p104"/>
            <p:cNvSpPr/>
            <p:nvPr/>
          </p:nvSpPr>
          <p:spPr>
            <a:xfrm>
              <a:off x="2963060" y="1726992"/>
              <a:ext cx="109" cy="204"/>
            </a:xfrm>
            <a:custGeom>
              <a:avLst/>
              <a:gdLst/>
              <a:ahLst/>
              <a:cxnLst/>
              <a:rect l="l" t="t" r="r" b="b"/>
              <a:pathLst>
                <a:path w="8" h="15" extrusionOk="0">
                  <a:moveTo>
                    <a:pt x="8" y="1"/>
                  </a:moveTo>
                  <a:lnTo>
                    <a:pt x="1" y="15"/>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977" name="Google Shape;5977;p104"/>
            <p:cNvSpPr/>
            <p:nvPr/>
          </p:nvSpPr>
          <p:spPr>
            <a:xfrm>
              <a:off x="2962449" y="1728038"/>
              <a:ext cx="149" cy="258"/>
            </a:xfrm>
            <a:custGeom>
              <a:avLst/>
              <a:gdLst/>
              <a:ahLst/>
              <a:cxnLst/>
              <a:rect l="l" t="t" r="r" b="b"/>
              <a:pathLst>
                <a:path w="11" h="19" extrusionOk="0">
                  <a:moveTo>
                    <a:pt x="11" y="1"/>
                  </a:moveTo>
                  <a:lnTo>
                    <a:pt x="0" y="18"/>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978" name="Google Shape;5978;p104"/>
            <p:cNvSpPr/>
            <p:nvPr/>
          </p:nvSpPr>
          <p:spPr>
            <a:xfrm>
              <a:off x="3013201" y="1703272"/>
              <a:ext cx="299" cy="109"/>
            </a:xfrm>
            <a:custGeom>
              <a:avLst/>
              <a:gdLst/>
              <a:ahLst/>
              <a:cxnLst/>
              <a:rect l="l" t="t" r="r" b="b"/>
              <a:pathLst>
                <a:path w="22" h="8" extrusionOk="0">
                  <a:moveTo>
                    <a:pt x="22" y="8"/>
                  </a:moveTo>
                  <a:lnTo>
                    <a:pt x="1"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979" name="Google Shape;5979;p104"/>
            <p:cNvSpPr/>
            <p:nvPr/>
          </p:nvSpPr>
          <p:spPr>
            <a:xfrm>
              <a:off x="2963684" y="1726286"/>
              <a:ext cx="109" cy="149"/>
            </a:xfrm>
            <a:custGeom>
              <a:avLst/>
              <a:gdLst/>
              <a:ahLst/>
              <a:cxnLst/>
              <a:rect l="l" t="t" r="r" b="b"/>
              <a:pathLst>
                <a:path w="8" h="11" extrusionOk="0">
                  <a:moveTo>
                    <a:pt x="0" y="11"/>
                  </a:moveTo>
                  <a:lnTo>
                    <a:pt x="7"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980" name="Google Shape;5980;p104"/>
            <p:cNvSpPr/>
            <p:nvPr/>
          </p:nvSpPr>
          <p:spPr>
            <a:xfrm>
              <a:off x="2962204" y="1728662"/>
              <a:ext cx="109" cy="244"/>
            </a:xfrm>
            <a:custGeom>
              <a:avLst/>
              <a:gdLst/>
              <a:ahLst/>
              <a:cxnLst/>
              <a:rect l="l" t="t" r="r" b="b"/>
              <a:pathLst>
                <a:path w="8" h="18" extrusionOk="0">
                  <a:moveTo>
                    <a:pt x="8" y="0"/>
                  </a:moveTo>
                  <a:lnTo>
                    <a:pt x="1" y="18"/>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981" name="Google Shape;5981;p104"/>
            <p:cNvSpPr/>
            <p:nvPr/>
          </p:nvSpPr>
          <p:spPr>
            <a:xfrm>
              <a:off x="2962774" y="1727468"/>
              <a:ext cx="109" cy="258"/>
            </a:xfrm>
            <a:custGeom>
              <a:avLst/>
              <a:gdLst/>
              <a:ahLst/>
              <a:cxnLst/>
              <a:rect l="l" t="t" r="r" b="b"/>
              <a:pathLst>
                <a:path w="8" h="19" extrusionOk="0">
                  <a:moveTo>
                    <a:pt x="8" y="1"/>
                  </a:moveTo>
                  <a:lnTo>
                    <a:pt x="1" y="18"/>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982" name="Google Shape;5982;p104"/>
            <p:cNvSpPr/>
            <p:nvPr/>
          </p:nvSpPr>
          <p:spPr>
            <a:xfrm>
              <a:off x="3012536" y="1703177"/>
              <a:ext cx="258" cy="68"/>
            </a:xfrm>
            <a:custGeom>
              <a:avLst/>
              <a:gdLst/>
              <a:ahLst/>
              <a:cxnLst/>
              <a:rect l="l" t="t" r="r" b="b"/>
              <a:pathLst>
                <a:path w="19" h="5" extrusionOk="0">
                  <a:moveTo>
                    <a:pt x="18" y="4"/>
                  </a:moveTo>
                  <a:lnTo>
                    <a:pt x="1"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983" name="Google Shape;5983;p104"/>
            <p:cNvSpPr/>
            <p:nvPr/>
          </p:nvSpPr>
          <p:spPr>
            <a:xfrm>
              <a:off x="2963345" y="1726612"/>
              <a:ext cx="163" cy="163"/>
            </a:xfrm>
            <a:custGeom>
              <a:avLst/>
              <a:gdLst/>
              <a:ahLst/>
              <a:cxnLst/>
              <a:rect l="l" t="t" r="r" b="b"/>
              <a:pathLst>
                <a:path w="12" h="12" extrusionOk="0">
                  <a:moveTo>
                    <a:pt x="11" y="1"/>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984" name="Google Shape;5984;p104"/>
            <p:cNvSpPr/>
            <p:nvPr/>
          </p:nvSpPr>
          <p:spPr>
            <a:xfrm>
              <a:off x="2964010" y="1726042"/>
              <a:ext cx="109" cy="68"/>
            </a:xfrm>
            <a:custGeom>
              <a:avLst/>
              <a:gdLst/>
              <a:ahLst/>
              <a:cxnLst/>
              <a:rect l="l" t="t" r="r" b="b"/>
              <a:pathLst>
                <a:path w="8" h="5" extrusionOk="0">
                  <a:moveTo>
                    <a:pt x="8" y="1"/>
                  </a:moveTo>
                  <a:lnTo>
                    <a:pt x="1" y="4"/>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985" name="Google Shape;5985;p104"/>
            <p:cNvSpPr/>
            <p:nvPr/>
          </p:nvSpPr>
          <p:spPr>
            <a:xfrm>
              <a:off x="3009685" y="1703082"/>
              <a:ext cx="1344" cy="394"/>
            </a:xfrm>
            <a:custGeom>
              <a:avLst/>
              <a:gdLst/>
              <a:ahLst/>
              <a:cxnLst/>
              <a:rect l="l" t="t" r="r" b="b"/>
              <a:pathLst>
                <a:path w="99" h="29" extrusionOk="0">
                  <a:moveTo>
                    <a:pt x="1" y="1"/>
                  </a:moveTo>
                  <a:cubicBezTo>
                    <a:pt x="32" y="22"/>
                    <a:pt x="67" y="29"/>
                    <a:pt x="99" y="22"/>
                  </a:cubicBezTo>
                  <a:cubicBezTo>
                    <a:pt x="67" y="29"/>
                    <a:pt x="32" y="22"/>
                    <a:pt x="1" y="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986" name="Google Shape;5986;p104"/>
            <p:cNvSpPr/>
            <p:nvPr/>
          </p:nvSpPr>
          <p:spPr>
            <a:xfrm>
              <a:off x="3011966" y="1703177"/>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987" name="Google Shape;5987;p104"/>
            <p:cNvSpPr/>
            <p:nvPr/>
          </p:nvSpPr>
          <p:spPr>
            <a:xfrm>
              <a:off x="2991532" y="1712492"/>
              <a:ext cx="353" cy="1398"/>
            </a:xfrm>
            <a:custGeom>
              <a:avLst/>
              <a:gdLst/>
              <a:ahLst/>
              <a:cxnLst/>
              <a:rect l="l" t="t" r="r" b="b"/>
              <a:pathLst>
                <a:path w="26" h="103" extrusionOk="0">
                  <a:moveTo>
                    <a:pt x="25" y="102"/>
                  </a:moveTo>
                  <a:cubicBezTo>
                    <a:pt x="11" y="71"/>
                    <a:pt x="1" y="36"/>
                    <a:pt x="1" y="1"/>
                  </a:cubicBezTo>
                  <a:cubicBezTo>
                    <a:pt x="1" y="36"/>
                    <a:pt x="11" y="71"/>
                    <a:pt x="25" y="102"/>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988" name="Google Shape;5988;p104"/>
            <p:cNvSpPr/>
            <p:nvPr/>
          </p:nvSpPr>
          <p:spPr>
            <a:xfrm>
              <a:off x="3011070" y="1703327"/>
              <a:ext cx="339" cy="54"/>
            </a:xfrm>
            <a:custGeom>
              <a:avLst/>
              <a:gdLst/>
              <a:ahLst/>
              <a:cxnLst/>
              <a:rect l="l" t="t" r="r" b="b"/>
              <a:pathLst>
                <a:path w="25" h="4" extrusionOk="0">
                  <a:moveTo>
                    <a:pt x="25" y="0"/>
                  </a:moveTo>
                  <a:cubicBezTo>
                    <a:pt x="14" y="0"/>
                    <a:pt x="7" y="4"/>
                    <a:pt x="0" y="4"/>
                  </a:cubicBezTo>
                  <a:cubicBezTo>
                    <a:pt x="7" y="4"/>
                    <a:pt x="14" y="0"/>
                    <a:pt x="25"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989" name="Google Shape;5989;p104"/>
            <p:cNvSpPr/>
            <p:nvPr/>
          </p:nvSpPr>
          <p:spPr>
            <a:xfrm>
              <a:off x="2650343" y="1811417"/>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990" name="Google Shape;5990;p104"/>
            <p:cNvSpPr/>
            <p:nvPr/>
          </p:nvSpPr>
          <p:spPr>
            <a:xfrm>
              <a:off x="2650723" y="1811322"/>
              <a:ext cx="54" cy="14"/>
            </a:xfrm>
            <a:custGeom>
              <a:avLst/>
              <a:gdLst/>
              <a:ahLst/>
              <a:cxnLst/>
              <a:rect l="l" t="t" r="r" b="b"/>
              <a:pathLst>
                <a:path w="4" h="1" extrusionOk="0">
                  <a:moveTo>
                    <a:pt x="0" y="0"/>
                  </a:moveTo>
                  <a:lnTo>
                    <a:pt x="4"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991" name="Google Shape;5991;p104"/>
            <p:cNvSpPr/>
            <p:nvPr/>
          </p:nvSpPr>
          <p:spPr>
            <a:xfrm>
              <a:off x="2698067" y="1830086"/>
              <a:ext cx="299" cy="14"/>
            </a:xfrm>
            <a:custGeom>
              <a:avLst/>
              <a:gdLst/>
              <a:ahLst/>
              <a:cxnLst/>
              <a:rect l="l" t="t" r="r" b="b"/>
              <a:pathLst>
                <a:path w="22" h="1" extrusionOk="0">
                  <a:moveTo>
                    <a:pt x="0" y="1"/>
                  </a:moveTo>
                  <a:lnTo>
                    <a:pt x="21"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992" name="Google Shape;5992;p104"/>
            <p:cNvSpPr/>
            <p:nvPr/>
          </p:nvSpPr>
          <p:spPr>
            <a:xfrm>
              <a:off x="2651008" y="1811227"/>
              <a:ext cx="14" cy="14"/>
            </a:xfrm>
            <a:custGeom>
              <a:avLst/>
              <a:gdLst/>
              <a:ahLst/>
              <a:cxnLst/>
              <a:rect l="l" t="t" r="r" b="b"/>
              <a:pathLst>
                <a:path w="1" h="1" extrusionOk="0">
                  <a:moveTo>
                    <a:pt x="0"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993" name="Google Shape;5993;p104"/>
            <p:cNvSpPr/>
            <p:nvPr/>
          </p:nvSpPr>
          <p:spPr>
            <a:xfrm>
              <a:off x="2651198" y="1811132"/>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994" name="Google Shape;5994;p104"/>
            <p:cNvSpPr/>
            <p:nvPr/>
          </p:nvSpPr>
          <p:spPr>
            <a:xfrm>
              <a:off x="2649012" y="1811607"/>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995" name="Google Shape;5995;p104"/>
            <p:cNvSpPr/>
            <p:nvPr/>
          </p:nvSpPr>
          <p:spPr>
            <a:xfrm>
              <a:off x="2649487" y="1811553"/>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996" name="Google Shape;5996;p104"/>
            <p:cNvSpPr/>
            <p:nvPr/>
          </p:nvSpPr>
          <p:spPr>
            <a:xfrm>
              <a:off x="2649962" y="1811458"/>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997" name="Google Shape;5997;p104"/>
            <p:cNvSpPr/>
            <p:nvPr/>
          </p:nvSpPr>
          <p:spPr>
            <a:xfrm>
              <a:off x="2787041" y="1879305"/>
              <a:ext cx="2634" cy="421"/>
            </a:xfrm>
            <a:custGeom>
              <a:avLst/>
              <a:gdLst/>
              <a:ahLst/>
              <a:cxnLst/>
              <a:rect l="l" t="t" r="r" b="b"/>
              <a:pathLst>
                <a:path w="194" h="31" extrusionOk="0">
                  <a:moveTo>
                    <a:pt x="119" y="1"/>
                  </a:moveTo>
                  <a:cubicBezTo>
                    <a:pt x="82" y="1"/>
                    <a:pt x="41" y="15"/>
                    <a:pt x="1" y="31"/>
                  </a:cubicBezTo>
                  <a:cubicBezTo>
                    <a:pt x="43" y="15"/>
                    <a:pt x="84" y="1"/>
                    <a:pt x="120" y="1"/>
                  </a:cubicBezTo>
                  <a:lnTo>
                    <a:pt x="120" y="1"/>
                  </a:lnTo>
                  <a:cubicBezTo>
                    <a:pt x="147" y="1"/>
                    <a:pt x="172" y="8"/>
                    <a:pt x="193" y="27"/>
                  </a:cubicBezTo>
                  <a:cubicBezTo>
                    <a:pt x="173" y="8"/>
                    <a:pt x="148" y="1"/>
                    <a:pt x="122" y="1"/>
                  </a:cubicBezTo>
                  <a:cubicBezTo>
                    <a:pt x="121" y="1"/>
                    <a:pt x="121" y="1"/>
                    <a:pt x="120" y="1"/>
                  </a:cubicBezTo>
                  <a:lnTo>
                    <a:pt x="120" y="1"/>
                  </a:lnTo>
                  <a:cubicBezTo>
                    <a:pt x="120" y="1"/>
                    <a:pt x="119" y="1"/>
                    <a:pt x="119" y="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998" name="Google Shape;5998;p104"/>
            <p:cNvSpPr/>
            <p:nvPr/>
          </p:nvSpPr>
          <p:spPr>
            <a:xfrm>
              <a:off x="2774414" y="1867642"/>
              <a:ext cx="3326" cy="1629"/>
            </a:xfrm>
            <a:custGeom>
              <a:avLst/>
              <a:gdLst/>
              <a:ahLst/>
              <a:cxnLst/>
              <a:rect l="l" t="t" r="r" b="b"/>
              <a:pathLst>
                <a:path w="245" h="120" extrusionOk="0">
                  <a:moveTo>
                    <a:pt x="0" y="1"/>
                  </a:moveTo>
                  <a:lnTo>
                    <a:pt x="0" y="1"/>
                  </a:lnTo>
                  <a:cubicBezTo>
                    <a:pt x="115" y="11"/>
                    <a:pt x="199" y="53"/>
                    <a:pt x="245" y="120"/>
                  </a:cubicBezTo>
                  <a:cubicBezTo>
                    <a:pt x="203" y="53"/>
                    <a:pt x="115" y="11"/>
                    <a:pt x="0" y="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999" name="Google Shape;5999;p104"/>
            <p:cNvSpPr/>
            <p:nvPr/>
          </p:nvSpPr>
          <p:spPr>
            <a:xfrm>
              <a:off x="2764774" y="1848443"/>
              <a:ext cx="5322" cy="8757"/>
            </a:xfrm>
            <a:custGeom>
              <a:avLst/>
              <a:gdLst/>
              <a:ahLst/>
              <a:cxnLst/>
              <a:rect l="l" t="t" r="r" b="b"/>
              <a:pathLst>
                <a:path w="392" h="645" extrusionOk="0">
                  <a:moveTo>
                    <a:pt x="391" y="0"/>
                  </a:moveTo>
                  <a:lnTo>
                    <a:pt x="391" y="0"/>
                  </a:lnTo>
                  <a:cubicBezTo>
                    <a:pt x="171" y="233"/>
                    <a:pt x="0" y="538"/>
                    <a:pt x="0" y="629"/>
                  </a:cubicBezTo>
                  <a:lnTo>
                    <a:pt x="0" y="629"/>
                  </a:lnTo>
                  <a:cubicBezTo>
                    <a:pt x="0" y="538"/>
                    <a:pt x="171" y="237"/>
                    <a:pt x="391" y="0"/>
                  </a:cubicBezTo>
                  <a:close/>
                  <a:moveTo>
                    <a:pt x="0" y="629"/>
                  </a:moveTo>
                  <a:cubicBezTo>
                    <a:pt x="0" y="635"/>
                    <a:pt x="1" y="640"/>
                    <a:pt x="3" y="644"/>
                  </a:cubicBezTo>
                  <a:cubicBezTo>
                    <a:pt x="1" y="640"/>
                    <a:pt x="0" y="635"/>
                    <a:pt x="0" y="629"/>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000" name="Google Shape;6000;p104"/>
            <p:cNvSpPr/>
            <p:nvPr/>
          </p:nvSpPr>
          <p:spPr>
            <a:xfrm>
              <a:off x="2771603" y="1838694"/>
              <a:ext cx="1765" cy="8051"/>
            </a:xfrm>
            <a:custGeom>
              <a:avLst/>
              <a:gdLst/>
              <a:ahLst/>
              <a:cxnLst/>
              <a:rect l="l" t="t" r="r" b="b"/>
              <a:pathLst>
                <a:path w="130" h="593" extrusionOk="0">
                  <a:moveTo>
                    <a:pt x="0" y="592"/>
                  </a:moveTo>
                  <a:cubicBezTo>
                    <a:pt x="130" y="407"/>
                    <a:pt x="112" y="193"/>
                    <a:pt x="95" y="1"/>
                  </a:cubicBezTo>
                  <a:cubicBezTo>
                    <a:pt x="112" y="193"/>
                    <a:pt x="130" y="407"/>
                    <a:pt x="0" y="592"/>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001" name="Google Shape;6001;p104"/>
            <p:cNvSpPr/>
            <p:nvPr/>
          </p:nvSpPr>
          <p:spPr>
            <a:xfrm>
              <a:off x="2786661" y="1879766"/>
              <a:ext cx="394" cy="149"/>
            </a:xfrm>
            <a:custGeom>
              <a:avLst/>
              <a:gdLst/>
              <a:ahLst/>
              <a:cxnLst/>
              <a:rect l="l" t="t" r="r" b="b"/>
              <a:pathLst>
                <a:path w="29" h="11" extrusionOk="0">
                  <a:moveTo>
                    <a:pt x="1" y="11"/>
                  </a:moveTo>
                  <a:lnTo>
                    <a:pt x="29"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002" name="Google Shape;6002;p104"/>
            <p:cNvSpPr/>
            <p:nvPr/>
          </p:nvSpPr>
          <p:spPr>
            <a:xfrm>
              <a:off x="2761230" y="1825999"/>
              <a:ext cx="109" cy="14"/>
            </a:xfrm>
            <a:custGeom>
              <a:avLst/>
              <a:gdLst/>
              <a:ahLst/>
              <a:cxnLst/>
              <a:rect l="l" t="t" r="r" b="b"/>
              <a:pathLst>
                <a:path w="8" h="1" extrusionOk="0">
                  <a:moveTo>
                    <a:pt x="1" y="1"/>
                  </a:moveTo>
                  <a:lnTo>
                    <a:pt x="8"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003" name="Google Shape;6003;p104"/>
            <p:cNvSpPr/>
            <p:nvPr/>
          </p:nvSpPr>
          <p:spPr>
            <a:xfrm>
              <a:off x="2761474" y="1825864"/>
              <a:ext cx="54" cy="14"/>
            </a:xfrm>
            <a:custGeom>
              <a:avLst/>
              <a:gdLst/>
              <a:ahLst/>
              <a:cxnLst/>
              <a:rect l="l" t="t" r="r" b="b"/>
              <a:pathLst>
                <a:path w="4" h="1" extrusionOk="0">
                  <a:moveTo>
                    <a:pt x="0" y="0"/>
                  </a:moveTo>
                  <a:lnTo>
                    <a:pt x="4"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004" name="Google Shape;6004;p104"/>
            <p:cNvSpPr/>
            <p:nvPr/>
          </p:nvSpPr>
          <p:spPr>
            <a:xfrm>
              <a:off x="2761705" y="1825769"/>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005" name="Google Shape;6005;p104"/>
            <p:cNvSpPr/>
            <p:nvPr/>
          </p:nvSpPr>
          <p:spPr>
            <a:xfrm>
              <a:off x="2760945" y="1826149"/>
              <a:ext cx="68" cy="54"/>
            </a:xfrm>
            <a:custGeom>
              <a:avLst/>
              <a:gdLst/>
              <a:ahLst/>
              <a:cxnLst/>
              <a:rect l="l" t="t" r="r" b="b"/>
              <a:pathLst>
                <a:path w="5" h="4" extrusionOk="0">
                  <a:moveTo>
                    <a:pt x="4" y="0"/>
                  </a:moveTo>
                  <a:lnTo>
                    <a:pt x="1" y="4"/>
                  </a:lnTo>
                  <a:lnTo>
                    <a:pt x="1" y="4"/>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006" name="Google Shape;6006;p104"/>
            <p:cNvSpPr/>
            <p:nvPr/>
          </p:nvSpPr>
          <p:spPr>
            <a:xfrm>
              <a:off x="2704530" y="1833793"/>
              <a:ext cx="54" cy="68"/>
            </a:xfrm>
            <a:custGeom>
              <a:avLst/>
              <a:gdLst/>
              <a:ahLst/>
              <a:cxnLst/>
              <a:rect l="l" t="t" r="r" b="b"/>
              <a:pathLst>
                <a:path w="4" h="5" extrusionOk="0">
                  <a:moveTo>
                    <a:pt x="4" y="1"/>
                  </a:moveTo>
                  <a:lnTo>
                    <a:pt x="0" y="4"/>
                  </a:lnTo>
                  <a:lnTo>
                    <a:pt x="0" y="4"/>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007" name="Google Shape;6007;p104"/>
            <p:cNvSpPr/>
            <p:nvPr/>
          </p:nvSpPr>
          <p:spPr>
            <a:xfrm>
              <a:off x="2712894" y="1827004"/>
              <a:ext cx="4766" cy="1724"/>
            </a:xfrm>
            <a:custGeom>
              <a:avLst/>
              <a:gdLst/>
              <a:ahLst/>
              <a:cxnLst/>
              <a:rect l="l" t="t" r="r" b="b"/>
              <a:pathLst>
                <a:path w="351" h="127" extrusionOk="0">
                  <a:moveTo>
                    <a:pt x="1" y="0"/>
                  </a:moveTo>
                  <a:cubicBezTo>
                    <a:pt x="102" y="4"/>
                    <a:pt x="214" y="56"/>
                    <a:pt x="351" y="126"/>
                  </a:cubicBezTo>
                  <a:cubicBezTo>
                    <a:pt x="214" y="56"/>
                    <a:pt x="102" y="0"/>
                    <a:pt x="1"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008" name="Google Shape;6008;p104"/>
            <p:cNvSpPr/>
            <p:nvPr/>
          </p:nvSpPr>
          <p:spPr>
            <a:xfrm>
              <a:off x="2719126" y="1828946"/>
              <a:ext cx="964" cy="163"/>
            </a:xfrm>
            <a:custGeom>
              <a:avLst/>
              <a:gdLst/>
              <a:ahLst/>
              <a:cxnLst/>
              <a:rect l="l" t="t" r="r" b="b"/>
              <a:pathLst>
                <a:path w="71" h="12" extrusionOk="0">
                  <a:moveTo>
                    <a:pt x="70" y="1"/>
                  </a:moveTo>
                  <a:cubicBezTo>
                    <a:pt x="46" y="4"/>
                    <a:pt x="25" y="8"/>
                    <a:pt x="0" y="11"/>
                  </a:cubicBezTo>
                  <a:cubicBezTo>
                    <a:pt x="25" y="8"/>
                    <a:pt x="46" y="4"/>
                    <a:pt x="70" y="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009" name="Google Shape;6009;p104"/>
            <p:cNvSpPr/>
            <p:nvPr/>
          </p:nvSpPr>
          <p:spPr>
            <a:xfrm>
              <a:off x="2724204" y="1829570"/>
              <a:ext cx="258" cy="149"/>
            </a:xfrm>
            <a:custGeom>
              <a:avLst/>
              <a:gdLst/>
              <a:ahLst/>
              <a:cxnLst/>
              <a:rect l="l" t="t" r="r" b="b"/>
              <a:pathLst>
                <a:path w="19" h="11" extrusionOk="0">
                  <a:moveTo>
                    <a:pt x="1" y="0"/>
                  </a:moveTo>
                  <a:lnTo>
                    <a:pt x="18" y="1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010" name="Google Shape;6010;p104"/>
            <p:cNvSpPr/>
            <p:nvPr/>
          </p:nvSpPr>
          <p:spPr>
            <a:xfrm>
              <a:off x="2722208" y="1828851"/>
              <a:ext cx="204" cy="68"/>
            </a:xfrm>
            <a:custGeom>
              <a:avLst/>
              <a:gdLst/>
              <a:ahLst/>
              <a:cxnLst/>
              <a:rect l="l" t="t" r="r" b="b"/>
              <a:pathLst>
                <a:path w="15" h="5" extrusionOk="0">
                  <a:moveTo>
                    <a:pt x="1" y="1"/>
                  </a:moveTo>
                  <a:lnTo>
                    <a:pt x="15" y="4"/>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011" name="Google Shape;6011;p104"/>
            <p:cNvSpPr/>
            <p:nvPr/>
          </p:nvSpPr>
          <p:spPr>
            <a:xfrm>
              <a:off x="2724679" y="1829855"/>
              <a:ext cx="204" cy="149"/>
            </a:xfrm>
            <a:custGeom>
              <a:avLst/>
              <a:gdLst/>
              <a:ahLst/>
              <a:cxnLst/>
              <a:rect l="l" t="t" r="r" b="b"/>
              <a:pathLst>
                <a:path w="15" h="11" extrusionOk="0">
                  <a:moveTo>
                    <a:pt x="1" y="0"/>
                  </a:moveTo>
                  <a:lnTo>
                    <a:pt x="15" y="1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012" name="Google Shape;6012;p104"/>
            <p:cNvSpPr/>
            <p:nvPr/>
          </p:nvSpPr>
          <p:spPr>
            <a:xfrm>
              <a:off x="2720593" y="1828905"/>
              <a:ext cx="204" cy="14"/>
            </a:xfrm>
            <a:custGeom>
              <a:avLst/>
              <a:gdLst/>
              <a:ahLst/>
              <a:cxnLst/>
              <a:rect l="l" t="t" r="r" b="b"/>
              <a:pathLst>
                <a:path w="15" h="1" extrusionOk="0">
                  <a:moveTo>
                    <a:pt x="1" y="0"/>
                  </a:moveTo>
                  <a:lnTo>
                    <a:pt x="15"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013" name="Google Shape;6013;p104"/>
            <p:cNvSpPr/>
            <p:nvPr/>
          </p:nvSpPr>
          <p:spPr>
            <a:xfrm>
              <a:off x="2720077" y="1828905"/>
              <a:ext cx="489" cy="54"/>
            </a:xfrm>
            <a:custGeom>
              <a:avLst/>
              <a:gdLst/>
              <a:ahLst/>
              <a:cxnLst/>
              <a:rect l="l" t="t" r="r" b="b"/>
              <a:pathLst>
                <a:path w="36" h="4" extrusionOk="0">
                  <a:moveTo>
                    <a:pt x="0" y="4"/>
                  </a:moveTo>
                  <a:lnTo>
                    <a:pt x="35"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014" name="Google Shape;6014;p104"/>
            <p:cNvSpPr/>
            <p:nvPr/>
          </p:nvSpPr>
          <p:spPr>
            <a:xfrm>
              <a:off x="2722588" y="1828946"/>
              <a:ext cx="204" cy="68"/>
            </a:xfrm>
            <a:custGeom>
              <a:avLst/>
              <a:gdLst/>
              <a:ahLst/>
              <a:cxnLst/>
              <a:rect l="l" t="t" r="r" b="b"/>
              <a:pathLst>
                <a:path w="15" h="5" extrusionOk="0">
                  <a:moveTo>
                    <a:pt x="1" y="1"/>
                  </a:moveTo>
                  <a:lnTo>
                    <a:pt x="15" y="4"/>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015" name="Google Shape;6015;p104"/>
            <p:cNvSpPr/>
            <p:nvPr/>
          </p:nvSpPr>
          <p:spPr>
            <a:xfrm>
              <a:off x="2723349" y="1829190"/>
              <a:ext cx="204" cy="54"/>
            </a:xfrm>
            <a:custGeom>
              <a:avLst/>
              <a:gdLst/>
              <a:ahLst/>
              <a:cxnLst/>
              <a:rect l="l" t="t" r="r" b="b"/>
              <a:pathLst>
                <a:path w="15" h="4" extrusionOk="0">
                  <a:moveTo>
                    <a:pt x="1" y="0"/>
                  </a:moveTo>
                  <a:lnTo>
                    <a:pt x="15" y="4"/>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016" name="Google Shape;6016;p104"/>
            <p:cNvSpPr/>
            <p:nvPr/>
          </p:nvSpPr>
          <p:spPr>
            <a:xfrm>
              <a:off x="2722969" y="1829041"/>
              <a:ext cx="204" cy="68"/>
            </a:xfrm>
            <a:custGeom>
              <a:avLst/>
              <a:gdLst/>
              <a:ahLst/>
              <a:cxnLst/>
              <a:rect l="l" t="t" r="r" b="b"/>
              <a:pathLst>
                <a:path w="15" h="5" extrusionOk="0">
                  <a:moveTo>
                    <a:pt x="1" y="1"/>
                  </a:moveTo>
                  <a:lnTo>
                    <a:pt x="15" y="4"/>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017" name="Google Shape;6017;p104"/>
            <p:cNvSpPr/>
            <p:nvPr/>
          </p:nvSpPr>
          <p:spPr>
            <a:xfrm>
              <a:off x="2723783" y="1829380"/>
              <a:ext cx="204" cy="109"/>
            </a:xfrm>
            <a:custGeom>
              <a:avLst/>
              <a:gdLst/>
              <a:ahLst/>
              <a:cxnLst/>
              <a:rect l="l" t="t" r="r" b="b"/>
              <a:pathLst>
                <a:path w="15" h="8" extrusionOk="0">
                  <a:moveTo>
                    <a:pt x="0" y="0"/>
                  </a:moveTo>
                  <a:lnTo>
                    <a:pt x="14" y="7"/>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018" name="Google Shape;6018;p104"/>
            <p:cNvSpPr/>
            <p:nvPr/>
          </p:nvSpPr>
          <p:spPr>
            <a:xfrm>
              <a:off x="2720878" y="1828851"/>
              <a:ext cx="204" cy="14"/>
            </a:xfrm>
            <a:custGeom>
              <a:avLst/>
              <a:gdLst/>
              <a:ahLst/>
              <a:cxnLst/>
              <a:rect l="l" t="t" r="r" b="b"/>
              <a:pathLst>
                <a:path w="15" h="1" extrusionOk="0">
                  <a:moveTo>
                    <a:pt x="1" y="1"/>
                  </a:moveTo>
                  <a:lnTo>
                    <a:pt x="15"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019" name="Google Shape;6019;p104"/>
            <p:cNvSpPr/>
            <p:nvPr/>
          </p:nvSpPr>
          <p:spPr>
            <a:xfrm>
              <a:off x="2721217" y="1828810"/>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020" name="Google Shape;6020;p104"/>
            <p:cNvSpPr/>
            <p:nvPr/>
          </p:nvSpPr>
          <p:spPr>
            <a:xfrm>
              <a:off x="2721882" y="1828810"/>
              <a:ext cx="149" cy="14"/>
            </a:xfrm>
            <a:custGeom>
              <a:avLst/>
              <a:gdLst/>
              <a:ahLst/>
              <a:cxnLst/>
              <a:rect l="l" t="t" r="r" b="b"/>
              <a:pathLst>
                <a:path w="11" h="1" extrusionOk="0">
                  <a:moveTo>
                    <a:pt x="0" y="0"/>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021" name="Google Shape;6021;p104"/>
            <p:cNvSpPr/>
            <p:nvPr/>
          </p:nvSpPr>
          <p:spPr>
            <a:xfrm>
              <a:off x="2725155" y="1830181"/>
              <a:ext cx="258" cy="163"/>
            </a:xfrm>
            <a:custGeom>
              <a:avLst/>
              <a:gdLst/>
              <a:ahLst/>
              <a:cxnLst/>
              <a:rect l="l" t="t" r="r" b="b"/>
              <a:pathLst>
                <a:path w="19" h="12" extrusionOk="0">
                  <a:moveTo>
                    <a:pt x="1" y="1"/>
                  </a:moveTo>
                  <a:lnTo>
                    <a:pt x="18" y="1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022" name="Google Shape;6022;p104"/>
            <p:cNvSpPr/>
            <p:nvPr/>
          </p:nvSpPr>
          <p:spPr>
            <a:xfrm>
              <a:off x="2721543" y="1828810"/>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023" name="Google Shape;6023;p104"/>
            <p:cNvSpPr/>
            <p:nvPr/>
          </p:nvSpPr>
          <p:spPr>
            <a:xfrm>
              <a:off x="2725630" y="1830616"/>
              <a:ext cx="258" cy="204"/>
            </a:xfrm>
            <a:custGeom>
              <a:avLst/>
              <a:gdLst/>
              <a:ahLst/>
              <a:cxnLst/>
              <a:rect l="l" t="t" r="r" b="b"/>
              <a:pathLst>
                <a:path w="19" h="15" extrusionOk="0">
                  <a:moveTo>
                    <a:pt x="1" y="0"/>
                  </a:moveTo>
                  <a:lnTo>
                    <a:pt x="18" y="14"/>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024" name="Google Shape;6024;p104"/>
            <p:cNvSpPr/>
            <p:nvPr/>
          </p:nvSpPr>
          <p:spPr>
            <a:xfrm>
              <a:off x="2704530" y="1833888"/>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025" name="Google Shape;6025;p104"/>
            <p:cNvSpPr/>
            <p:nvPr/>
          </p:nvSpPr>
          <p:spPr>
            <a:xfrm>
              <a:off x="2801976" y="1871403"/>
              <a:ext cx="109" cy="54"/>
            </a:xfrm>
            <a:custGeom>
              <a:avLst/>
              <a:gdLst/>
              <a:ahLst/>
              <a:cxnLst/>
              <a:rect l="l" t="t" r="r" b="b"/>
              <a:pathLst>
                <a:path w="8" h="4" extrusionOk="0">
                  <a:moveTo>
                    <a:pt x="7"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026" name="Google Shape;6026;p104"/>
            <p:cNvSpPr/>
            <p:nvPr/>
          </p:nvSpPr>
          <p:spPr>
            <a:xfrm>
              <a:off x="2821894" y="1866270"/>
              <a:ext cx="815" cy="339"/>
            </a:xfrm>
            <a:custGeom>
              <a:avLst/>
              <a:gdLst/>
              <a:ahLst/>
              <a:cxnLst/>
              <a:rect l="l" t="t" r="r" b="b"/>
              <a:pathLst>
                <a:path w="60" h="25" extrusionOk="0">
                  <a:moveTo>
                    <a:pt x="60" y="25"/>
                  </a:moveTo>
                  <a:cubicBezTo>
                    <a:pt x="42" y="11"/>
                    <a:pt x="21" y="0"/>
                    <a:pt x="0" y="0"/>
                  </a:cubicBezTo>
                  <a:cubicBezTo>
                    <a:pt x="21" y="0"/>
                    <a:pt x="42" y="11"/>
                    <a:pt x="60" y="25"/>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027" name="Google Shape;6027;p104"/>
            <p:cNvSpPr/>
            <p:nvPr/>
          </p:nvSpPr>
          <p:spPr>
            <a:xfrm>
              <a:off x="2797414" y="1872774"/>
              <a:ext cx="434" cy="299"/>
            </a:xfrm>
            <a:custGeom>
              <a:avLst/>
              <a:gdLst/>
              <a:ahLst/>
              <a:cxnLst/>
              <a:rect l="l" t="t" r="r" b="b"/>
              <a:pathLst>
                <a:path w="32" h="22" extrusionOk="0">
                  <a:moveTo>
                    <a:pt x="32" y="1"/>
                  </a:moveTo>
                  <a:cubicBezTo>
                    <a:pt x="21" y="8"/>
                    <a:pt x="11" y="15"/>
                    <a:pt x="0" y="22"/>
                  </a:cubicBezTo>
                  <a:cubicBezTo>
                    <a:pt x="11" y="18"/>
                    <a:pt x="21" y="11"/>
                    <a:pt x="32" y="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028" name="Google Shape;6028;p104"/>
            <p:cNvSpPr/>
            <p:nvPr/>
          </p:nvSpPr>
          <p:spPr>
            <a:xfrm>
              <a:off x="2804108" y="1870452"/>
              <a:ext cx="1874" cy="1100"/>
            </a:xfrm>
            <a:custGeom>
              <a:avLst/>
              <a:gdLst/>
              <a:ahLst/>
              <a:cxnLst/>
              <a:rect l="l" t="t" r="r" b="b"/>
              <a:pathLst>
                <a:path w="138" h="81" extrusionOk="0">
                  <a:moveTo>
                    <a:pt x="1" y="81"/>
                  </a:moveTo>
                  <a:cubicBezTo>
                    <a:pt x="29" y="32"/>
                    <a:pt x="81" y="0"/>
                    <a:pt x="137" y="0"/>
                  </a:cubicBezTo>
                  <a:cubicBezTo>
                    <a:pt x="81" y="0"/>
                    <a:pt x="29" y="32"/>
                    <a:pt x="1" y="8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029" name="Google Shape;6029;p104"/>
            <p:cNvSpPr/>
            <p:nvPr/>
          </p:nvSpPr>
          <p:spPr>
            <a:xfrm>
              <a:off x="2837902" y="1879617"/>
              <a:ext cx="353" cy="109"/>
            </a:xfrm>
            <a:custGeom>
              <a:avLst/>
              <a:gdLst/>
              <a:ahLst/>
              <a:cxnLst/>
              <a:rect l="l" t="t" r="r" b="b"/>
              <a:pathLst>
                <a:path w="26" h="8" extrusionOk="0">
                  <a:moveTo>
                    <a:pt x="1" y="1"/>
                  </a:moveTo>
                  <a:cubicBezTo>
                    <a:pt x="8" y="4"/>
                    <a:pt x="18" y="4"/>
                    <a:pt x="25" y="8"/>
                  </a:cubicBezTo>
                  <a:cubicBezTo>
                    <a:pt x="18" y="4"/>
                    <a:pt x="8" y="1"/>
                    <a:pt x="1" y="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030" name="Google Shape;6030;p104"/>
            <p:cNvSpPr/>
            <p:nvPr/>
          </p:nvSpPr>
          <p:spPr>
            <a:xfrm>
              <a:off x="2822750" y="1866596"/>
              <a:ext cx="109" cy="109"/>
            </a:xfrm>
            <a:custGeom>
              <a:avLst/>
              <a:gdLst/>
              <a:ahLst/>
              <a:cxnLst/>
              <a:rect l="l" t="t" r="r" b="b"/>
              <a:pathLst>
                <a:path w="8" h="8" extrusionOk="0">
                  <a:moveTo>
                    <a:pt x="7" y="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031" name="Google Shape;6031;p104"/>
            <p:cNvSpPr/>
            <p:nvPr/>
          </p:nvSpPr>
          <p:spPr>
            <a:xfrm>
              <a:off x="2838282" y="1879712"/>
              <a:ext cx="353" cy="204"/>
            </a:xfrm>
            <a:custGeom>
              <a:avLst/>
              <a:gdLst/>
              <a:ahLst/>
              <a:cxnLst/>
              <a:rect l="l" t="t" r="r" b="b"/>
              <a:pathLst>
                <a:path w="26" h="15" extrusionOk="0">
                  <a:moveTo>
                    <a:pt x="25" y="15"/>
                  </a:moveTo>
                  <a:cubicBezTo>
                    <a:pt x="18" y="8"/>
                    <a:pt x="8" y="4"/>
                    <a:pt x="1" y="1"/>
                  </a:cubicBezTo>
                  <a:cubicBezTo>
                    <a:pt x="8" y="4"/>
                    <a:pt x="18" y="8"/>
                    <a:pt x="25" y="15"/>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032" name="Google Shape;6032;p104"/>
            <p:cNvSpPr/>
            <p:nvPr/>
          </p:nvSpPr>
          <p:spPr>
            <a:xfrm>
              <a:off x="2796939" y="1873113"/>
              <a:ext cx="434" cy="244"/>
            </a:xfrm>
            <a:custGeom>
              <a:avLst/>
              <a:gdLst/>
              <a:ahLst/>
              <a:cxnLst/>
              <a:rect l="l" t="t" r="r" b="b"/>
              <a:pathLst>
                <a:path w="32" h="18" extrusionOk="0">
                  <a:moveTo>
                    <a:pt x="32" y="0"/>
                  </a:moveTo>
                  <a:lnTo>
                    <a:pt x="7" y="14"/>
                  </a:lnTo>
                  <a:lnTo>
                    <a:pt x="0" y="18"/>
                  </a:lnTo>
                  <a:cubicBezTo>
                    <a:pt x="11" y="14"/>
                    <a:pt x="21" y="7"/>
                    <a:pt x="32"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033" name="Google Shape;6033;p104"/>
            <p:cNvSpPr/>
            <p:nvPr/>
          </p:nvSpPr>
          <p:spPr>
            <a:xfrm>
              <a:off x="2797889" y="1872543"/>
              <a:ext cx="299" cy="244"/>
            </a:xfrm>
            <a:custGeom>
              <a:avLst/>
              <a:gdLst/>
              <a:ahLst/>
              <a:cxnLst/>
              <a:rect l="l" t="t" r="r" b="b"/>
              <a:pathLst>
                <a:path w="22" h="18" extrusionOk="0">
                  <a:moveTo>
                    <a:pt x="21" y="0"/>
                  </a:moveTo>
                  <a:cubicBezTo>
                    <a:pt x="14" y="4"/>
                    <a:pt x="7" y="11"/>
                    <a:pt x="0" y="18"/>
                  </a:cubicBezTo>
                  <a:cubicBezTo>
                    <a:pt x="7" y="11"/>
                    <a:pt x="14" y="4"/>
                    <a:pt x="21"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034" name="Google Shape;6034;p104"/>
            <p:cNvSpPr/>
            <p:nvPr/>
          </p:nvSpPr>
          <p:spPr>
            <a:xfrm>
              <a:off x="2838662" y="1879956"/>
              <a:ext cx="828" cy="720"/>
            </a:xfrm>
            <a:custGeom>
              <a:avLst/>
              <a:gdLst/>
              <a:ahLst/>
              <a:cxnLst/>
              <a:rect l="l" t="t" r="r" b="b"/>
              <a:pathLst>
                <a:path w="61" h="53" extrusionOk="0">
                  <a:moveTo>
                    <a:pt x="1" y="0"/>
                  </a:moveTo>
                  <a:cubicBezTo>
                    <a:pt x="22" y="14"/>
                    <a:pt x="43" y="32"/>
                    <a:pt x="60" y="53"/>
                  </a:cubicBezTo>
                  <a:cubicBezTo>
                    <a:pt x="43" y="32"/>
                    <a:pt x="22" y="14"/>
                    <a:pt x="1"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035" name="Google Shape;6035;p104"/>
            <p:cNvSpPr/>
            <p:nvPr/>
          </p:nvSpPr>
          <p:spPr>
            <a:xfrm>
              <a:off x="2796178" y="1873684"/>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036" name="Google Shape;6036;p104"/>
            <p:cNvSpPr/>
            <p:nvPr/>
          </p:nvSpPr>
          <p:spPr>
            <a:xfrm>
              <a:off x="2795798" y="1873779"/>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037" name="Google Shape;6037;p104"/>
            <p:cNvSpPr/>
            <p:nvPr/>
          </p:nvSpPr>
          <p:spPr>
            <a:xfrm>
              <a:off x="2795459" y="1873779"/>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038" name="Google Shape;6038;p104"/>
            <p:cNvSpPr/>
            <p:nvPr/>
          </p:nvSpPr>
          <p:spPr>
            <a:xfrm>
              <a:off x="2789661" y="1879671"/>
              <a:ext cx="3476" cy="3476"/>
            </a:xfrm>
            <a:custGeom>
              <a:avLst/>
              <a:gdLst/>
              <a:ahLst/>
              <a:cxnLst/>
              <a:rect l="l" t="t" r="r" b="b"/>
              <a:pathLst>
                <a:path w="256" h="256" extrusionOk="0">
                  <a:moveTo>
                    <a:pt x="0" y="0"/>
                  </a:moveTo>
                  <a:cubicBezTo>
                    <a:pt x="21" y="5"/>
                    <a:pt x="40" y="16"/>
                    <a:pt x="56" y="31"/>
                  </a:cubicBezTo>
                  <a:lnTo>
                    <a:pt x="56" y="31"/>
                  </a:lnTo>
                  <a:cubicBezTo>
                    <a:pt x="41" y="17"/>
                    <a:pt x="24" y="6"/>
                    <a:pt x="4" y="0"/>
                  </a:cubicBezTo>
                  <a:close/>
                  <a:moveTo>
                    <a:pt x="56" y="31"/>
                  </a:moveTo>
                  <a:cubicBezTo>
                    <a:pt x="84" y="57"/>
                    <a:pt x="104" y="94"/>
                    <a:pt x="123" y="126"/>
                  </a:cubicBezTo>
                  <a:cubicBezTo>
                    <a:pt x="107" y="95"/>
                    <a:pt x="85" y="57"/>
                    <a:pt x="56" y="31"/>
                  </a:cubicBezTo>
                  <a:close/>
                  <a:moveTo>
                    <a:pt x="123" y="126"/>
                  </a:moveTo>
                  <a:cubicBezTo>
                    <a:pt x="158" y="186"/>
                    <a:pt x="189" y="242"/>
                    <a:pt x="256" y="256"/>
                  </a:cubicBezTo>
                  <a:cubicBezTo>
                    <a:pt x="193" y="242"/>
                    <a:pt x="161" y="186"/>
                    <a:pt x="123" y="126"/>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039" name="Google Shape;6039;p104"/>
            <p:cNvSpPr/>
            <p:nvPr/>
          </p:nvSpPr>
          <p:spPr>
            <a:xfrm>
              <a:off x="2796559" y="1873399"/>
              <a:ext cx="299" cy="149"/>
            </a:xfrm>
            <a:custGeom>
              <a:avLst/>
              <a:gdLst/>
              <a:ahLst/>
              <a:cxnLst/>
              <a:rect l="l" t="t" r="r" b="b"/>
              <a:pathLst>
                <a:path w="22" h="11" extrusionOk="0">
                  <a:moveTo>
                    <a:pt x="0" y="11"/>
                  </a:moveTo>
                  <a:lnTo>
                    <a:pt x="21"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040" name="Google Shape;6040;p104"/>
            <p:cNvSpPr/>
            <p:nvPr/>
          </p:nvSpPr>
          <p:spPr>
            <a:xfrm>
              <a:off x="2794984" y="1873724"/>
              <a:ext cx="68" cy="14"/>
            </a:xfrm>
            <a:custGeom>
              <a:avLst/>
              <a:gdLst/>
              <a:ahLst/>
              <a:cxnLst/>
              <a:rect l="l" t="t" r="r" b="b"/>
              <a:pathLst>
                <a:path w="5" h="1" extrusionOk="0">
                  <a:moveTo>
                    <a:pt x="1" y="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041" name="Google Shape;6041;p104"/>
            <p:cNvSpPr/>
            <p:nvPr/>
          </p:nvSpPr>
          <p:spPr>
            <a:xfrm>
              <a:off x="2789661" y="1879671"/>
              <a:ext cx="54" cy="14"/>
            </a:xfrm>
            <a:custGeom>
              <a:avLst/>
              <a:gdLst/>
              <a:ahLst/>
              <a:cxnLst/>
              <a:rect l="l" t="t" r="r" b="b"/>
              <a:pathLst>
                <a:path w="4" h="1" extrusionOk="0">
                  <a:moveTo>
                    <a:pt x="4" y="0"/>
                  </a:moveTo>
                  <a:lnTo>
                    <a:pt x="4" y="0"/>
                  </a:lnTo>
                  <a:lnTo>
                    <a:pt x="0" y="0"/>
                  </a:lnTo>
                  <a:lnTo>
                    <a:pt x="0"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042" name="Google Shape;6042;p104"/>
            <p:cNvSpPr/>
            <p:nvPr/>
          </p:nvSpPr>
          <p:spPr>
            <a:xfrm>
              <a:off x="2796980" y="1873303"/>
              <a:ext cx="109" cy="54"/>
            </a:xfrm>
            <a:custGeom>
              <a:avLst/>
              <a:gdLst/>
              <a:ahLst/>
              <a:cxnLst/>
              <a:rect l="l" t="t" r="r" b="b"/>
              <a:pathLst>
                <a:path w="8" h="4" extrusionOk="0">
                  <a:moveTo>
                    <a:pt x="8" y="0"/>
                  </a:moveTo>
                  <a:lnTo>
                    <a:pt x="1" y="4"/>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043" name="Google Shape;6043;p104"/>
            <p:cNvSpPr/>
            <p:nvPr/>
          </p:nvSpPr>
          <p:spPr>
            <a:xfrm>
              <a:off x="2959964" y="1971102"/>
              <a:ext cx="4345" cy="3082"/>
            </a:xfrm>
            <a:custGeom>
              <a:avLst/>
              <a:gdLst/>
              <a:ahLst/>
              <a:cxnLst/>
              <a:rect l="l" t="t" r="r" b="b"/>
              <a:pathLst>
                <a:path w="320" h="227" extrusionOk="0">
                  <a:moveTo>
                    <a:pt x="254" y="0"/>
                  </a:moveTo>
                  <a:cubicBezTo>
                    <a:pt x="228" y="0"/>
                    <a:pt x="200" y="11"/>
                    <a:pt x="176" y="23"/>
                  </a:cubicBezTo>
                  <a:cubicBezTo>
                    <a:pt x="71" y="79"/>
                    <a:pt x="1" y="191"/>
                    <a:pt x="11" y="215"/>
                  </a:cubicBezTo>
                  <a:cubicBezTo>
                    <a:pt x="15" y="222"/>
                    <a:pt x="22" y="226"/>
                    <a:pt x="36" y="226"/>
                  </a:cubicBezTo>
                  <a:cubicBezTo>
                    <a:pt x="39" y="226"/>
                    <a:pt x="43" y="226"/>
                    <a:pt x="46" y="226"/>
                  </a:cubicBezTo>
                  <a:cubicBezTo>
                    <a:pt x="134" y="226"/>
                    <a:pt x="268" y="143"/>
                    <a:pt x="302" y="72"/>
                  </a:cubicBezTo>
                  <a:cubicBezTo>
                    <a:pt x="320" y="44"/>
                    <a:pt x="309" y="30"/>
                    <a:pt x="302" y="23"/>
                  </a:cubicBezTo>
                  <a:cubicBezTo>
                    <a:pt x="290" y="6"/>
                    <a:pt x="273" y="0"/>
                    <a:pt x="254"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044" name="Google Shape;6044;p104"/>
            <p:cNvSpPr/>
            <p:nvPr/>
          </p:nvSpPr>
          <p:spPr>
            <a:xfrm>
              <a:off x="2945287" y="1972446"/>
              <a:ext cx="34378" cy="30916"/>
            </a:xfrm>
            <a:custGeom>
              <a:avLst/>
              <a:gdLst/>
              <a:ahLst/>
              <a:cxnLst/>
              <a:rect l="l" t="t" r="r" b="b"/>
              <a:pathLst>
                <a:path w="2532" h="2277" extrusionOk="0">
                  <a:moveTo>
                    <a:pt x="2130" y="1"/>
                  </a:moveTo>
                  <a:cubicBezTo>
                    <a:pt x="2090" y="1"/>
                    <a:pt x="2051" y="15"/>
                    <a:pt x="2020" y="43"/>
                  </a:cubicBezTo>
                  <a:cubicBezTo>
                    <a:pt x="2010" y="57"/>
                    <a:pt x="1999" y="81"/>
                    <a:pt x="2024" y="123"/>
                  </a:cubicBezTo>
                  <a:cubicBezTo>
                    <a:pt x="2052" y="169"/>
                    <a:pt x="2083" y="232"/>
                    <a:pt x="2055" y="288"/>
                  </a:cubicBezTo>
                  <a:cubicBezTo>
                    <a:pt x="2027" y="348"/>
                    <a:pt x="1954" y="362"/>
                    <a:pt x="1884" y="369"/>
                  </a:cubicBezTo>
                  <a:cubicBezTo>
                    <a:pt x="1772" y="383"/>
                    <a:pt x="1733" y="400"/>
                    <a:pt x="1726" y="456"/>
                  </a:cubicBezTo>
                  <a:cubicBezTo>
                    <a:pt x="1702" y="638"/>
                    <a:pt x="1555" y="649"/>
                    <a:pt x="1474" y="652"/>
                  </a:cubicBezTo>
                  <a:cubicBezTo>
                    <a:pt x="1450" y="652"/>
                    <a:pt x="1425" y="659"/>
                    <a:pt x="1404" y="666"/>
                  </a:cubicBezTo>
                  <a:cubicBezTo>
                    <a:pt x="1404" y="673"/>
                    <a:pt x="1404" y="677"/>
                    <a:pt x="1404" y="684"/>
                  </a:cubicBezTo>
                  <a:cubicBezTo>
                    <a:pt x="1415" y="740"/>
                    <a:pt x="1390" y="792"/>
                    <a:pt x="1345" y="820"/>
                  </a:cubicBezTo>
                  <a:cubicBezTo>
                    <a:pt x="1323" y="832"/>
                    <a:pt x="1298" y="838"/>
                    <a:pt x="1270" y="838"/>
                  </a:cubicBezTo>
                  <a:cubicBezTo>
                    <a:pt x="1135" y="838"/>
                    <a:pt x="935" y="715"/>
                    <a:pt x="816" y="631"/>
                  </a:cubicBezTo>
                  <a:cubicBezTo>
                    <a:pt x="809" y="627"/>
                    <a:pt x="801" y="625"/>
                    <a:pt x="793" y="625"/>
                  </a:cubicBezTo>
                  <a:cubicBezTo>
                    <a:pt x="740" y="625"/>
                    <a:pt x="656" y="703"/>
                    <a:pt x="574" y="782"/>
                  </a:cubicBezTo>
                  <a:cubicBezTo>
                    <a:pt x="476" y="873"/>
                    <a:pt x="361" y="981"/>
                    <a:pt x="238" y="1013"/>
                  </a:cubicBezTo>
                  <a:cubicBezTo>
                    <a:pt x="158" y="1034"/>
                    <a:pt x="77" y="1135"/>
                    <a:pt x="32" y="1268"/>
                  </a:cubicBezTo>
                  <a:cubicBezTo>
                    <a:pt x="7" y="1324"/>
                    <a:pt x="0" y="1387"/>
                    <a:pt x="11" y="1450"/>
                  </a:cubicBezTo>
                  <a:cubicBezTo>
                    <a:pt x="81" y="1443"/>
                    <a:pt x="140" y="1391"/>
                    <a:pt x="200" y="1335"/>
                  </a:cubicBezTo>
                  <a:cubicBezTo>
                    <a:pt x="275" y="1266"/>
                    <a:pt x="360" y="1190"/>
                    <a:pt x="481" y="1190"/>
                  </a:cubicBezTo>
                  <a:cubicBezTo>
                    <a:pt x="489" y="1190"/>
                    <a:pt x="496" y="1191"/>
                    <a:pt x="504" y="1191"/>
                  </a:cubicBezTo>
                  <a:cubicBezTo>
                    <a:pt x="511" y="1192"/>
                    <a:pt x="517" y="1193"/>
                    <a:pt x="523" y="1193"/>
                  </a:cubicBezTo>
                  <a:cubicBezTo>
                    <a:pt x="562" y="1193"/>
                    <a:pt x="579" y="1173"/>
                    <a:pt x="609" y="1142"/>
                  </a:cubicBezTo>
                  <a:cubicBezTo>
                    <a:pt x="658" y="1076"/>
                    <a:pt x="742" y="1037"/>
                    <a:pt x="826" y="1037"/>
                  </a:cubicBezTo>
                  <a:cubicBezTo>
                    <a:pt x="854" y="1037"/>
                    <a:pt x="886" y="1041"/>
                    <a:pt x="914" y="1048"/>
                  </a:cubicBezTo>
                  <a:cubicBezTo>
                    <a:pt x="1089" y="1076"/>
                    <a:pt x="1117" y="1289"/>
                    <a:pt x="1152" y="1513"/>
                  </a:cubicBezTo>
                  <a:cubicBezTo>
                    <a:pt x="1187" y="1776"/>
                    <a:pt x="1225" y="1961"/>
                    <a:pt x="1366" y="1986"/>
                  </a:cubicBezTo>
                  <a:cubicBezTo>
                    <a:pt x="1523" y="2007"/>
                    <a:pt x="1670" y="2084"/>
                    <a:pt x="1782" y="2196"/>
                  </a:cubicBezTo>
                  <a:cubicBezTo>
                    <a:pt x="1842" y="2248"/>
                    <a:pt x="1870" y="2276"/>
                    <a:pt x="1922" y="2276"/>
                  </a:cubicBezTo>
                  <a:cubicBezTo>
                    <a:pt x="1947" y="2231"/>
                    <a:pt x="1905" y="2042"/>
                    <a:pt x="1884" y="1940"/>
                  </a:cubicBezTo>
                  <a:cubicBezTo>
                    <a:pt x="1856" y="1842"/>
                    <a:pt x="1842" y="1741"/>
                    <a:pt x="1838" y="1639"/>
                  </a:cubicBezTo>
                  <a:cubicBezTo>
                    <a:pt x="1852" y="1499"/>
                    <a:pt x="1992" y="1489"/>
                    <a:pt x="2108" y="1478"/>
                  </a:cubicBezTo>
                  <a:cubicBezTo>
                    <a:pt x="2220" y="1468"/>
                    <a:pt x="2353" y="1457"/>
                    <a:pt x="2437" y="1359"/>
                  </a:cubicBezTo>
                  <a:cubicBezTo>
                    <a:pt x="2531" y="1247"/>
                    <a:pt x="2461" y="981"/>
                    <a:pt x="2391" y="722"/>
                  </a:cubicBezTo>
                  <a:cubicBezTo>
                    <a:pt x="2342" y="540"/>
                    <a:pt x="2293" y="351"/>
                    <a:pt x="2293" y="190"/>
                  </a:cubicBezTo>
                  <a:cubicBezTo>
                    <a:pt x="2293" y="99"/>
                    <a:pt x="2255" y="36"/>
                    <a:pt x="2188" y="11"/>
                  </a:cubicBezTo>
                  <a:cubicBezTo>
                    <a:pt x="2170" y="4"/>
                    <a:pt x="2150" y="1"/>
                    <a:pt x="2130" y="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045" name="Google Shape;6045;p104"/>
            <p:cNvSpPr/>
            <p:nvPr/>
          </p:nvSpPr>
          <p:spPr>
            <a:xfrm>
              <a:off x="2934927" y="1945305"/>
              <a:ext cx="6191" cy="6463"/>
            </a:xfrm>
            <a:custGeom>
              <a:avLst/>
              <a:gdLst/>
              <a:ahLst/>
              <a:cxnLst/>
              <a:rect l="l" t="t" r="r" b="b"/>
              <a:pathLst>
                <a:path w="456" h="476" extrusionOk="0">
                  <a:moveTo>
                    <a:pt x="0" y="1"/>
                  </a:moveTo>
                  <a:cubicBezTo>
                    <a:pt x="32" y="144"/>
                    <a:pt x="102" y="372"/>
                    <a:pt x="231" y="449"/>
                  </a:cubicBezTo>
                  <a:cubicBezTo>
                    <a:pt x="263" y="467"/>
                    <a:pt x="299" y="476"/>
                    <a:pt x="335" y="476"/>
                  </a:cubicBezTo>
                  <a:cubicBezTo>
                    <a:pt x="363" y="476"/>
                    <a:pt x="391" y="470"/>
                    <a:pt x="417" y="460"/>
                  </a:cubicBezTo>
                  <a:cubicBezTo>
                    <a:pt x="455" y="449"/>
                    <a:pt x="455" y="435"/>
                    <a:pt x="452" y="425"/>
                  </a:cubicBezTo>
                  <a:cubicBezTo>
                    <a:pt x="438" y="306"/>
                    <a:pt x="144" y="74"/>
                    <a:pt x="0" y="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046" name="Google Shape;6046;p104"/>
            <p:cNvSpPr/>
            <p:nvPr/>
          </p:nvSpPr>
          <p:spPr>
            <a:xfrm>
              <a:off x="2944567" y="1938516"/>
              <a:ext cx="27875" cy="31432"/>
            </a:xfrm>
            <a:custGeom>
              <a:avLst/>
              <a:gdLst/>
              <a:ahLst/>
              <a:cxnLst/>
              <a:rect l="l" t="t" r="r" b="b"/>
              <a:pathLst>
                <a:path w="2053" h="2315" extrusionOk="0">
                  <a:moveTo>
                    <a:pt x="391" y="1"/>
                  </a:moveTo>
                  <a:cubicBezTo>
                    <a:pt x="295" y="1"/>
                    <a:pt x="201" y="20"/>
                    <a:pt x="127" y="63"/>
                  </a:cubicBezTo>
                  <a:cubicBezTo>
                    <a:pt x="88" y="88"/>
                    <a:pt x="46" y="102"/>
                    <a:pt x="1" y="105"/>
                  </a:cubicBezTo>
                  <a:cubicBezTo>
                    <a:pt x="15" y="123"/>
                    <a:pt x="32" y="140"/>
                    <a:pt x="43" y="158"/>
                  </a:cubicBezTo>
                  <a:cubicBezTo>
                    <a:pt x="86" y="204"/>
                    <a:pt x="113" y="236"/>
                    <a:pt x="181" y="236"/>
                  </a:cubicBezTo>
                  <a:cubicBezTo>
                    <a:pt x="196" y="236"/>
                    <a:pt x="213" y="234"/>
                    <a:pt x="232" y="231"/>
                  </a:cubicBezTo>
                  <a:cubicBezTo>
                    <a:pt x="253" y="228"/>
                    <a:pt x="274" y="227"/>
                    <a:pt x="296" y="227"/>
                  </a:cubicBezTo>
                  <a:cubicBezTo>
                    <a:pt x="534" y="227"/>
                    <a:pt x="785" y="412"/>
                    <a:pt x="897" y="557"/>
                  </a:cubicBezTo>
                  <a:cubicBezTo>
                    <a:pt x="974" y="655"/>
                    <a:pt x="995" y="743"/>
                    <a:pt x="967" y="809"/>
                  </a:cubicBezTo>
                  <a:cubicBezTo>
                    <a:pt x="921" y="907"/>
                    <a:pt x="967" y="1180"/>
                    <a:pt x="1019" y="1222"/>
                  </a:cubicBezTo>
                  <a:lnTo>
                    <a:pt x="1023" y="1215"/>
                  </a:lnTo>
                  <a:cubicBezTo>
                    <a:pt x="1068" y="1177"/>
                    <a:pt x="1124" y="1156"/>
                    <a:pt x="1184" y="1156"/>
                  </a:cubicBezTo>
                  <a:cubicBezTo>
                    <a:pt x="1240" y="1156"/>
                    <a:pt x="1293" y="1173"/>
                    <a:pt x="1335" y="1212"/>
                  </a:cubicBezTo>
                  <a:cubicBezTo>
                    <a:pt x="1408" y="1278"/>
                    <a:pt x="1443" y="1408"/>
                    <a:pt x="1349" y="1544"/>
                  </a:cubicBezTo>
                  <a:cubicBezTo>
                    <a:pt x="1296" y="1621"/>
                    <a:pt x="1342" y="1702"/>
                    <a:pt x="1457" y="1852"/>
                  </a:cubicBezTo>
                  <a:cubicBezTo>
                    <a:pt x="1527" y="1947"/>
                    <a:pt x="1611" y="2055"/>
                    <a:pt x="1632" y="2178"/>
                  </a:cubicBezTo>
                  <a:cubicBezTo>
                    <a:pt x="1638" y="2266"/>
                    <a:pt x="1709" y="2315"/>
                    <a:pt x="1780" y="2315"/>
                  </a:cubicBezTo>
                  <a:cubicBezTo>
                    <a:pt x="1836" y="2315"/>
                    <a:pt x="1893" y="2285"/>
                    <a:pt x="1919" y="2220"/>
                  </a:cubicBezTo>
                  <a:cubicBezTo>
                    <a:pt x="1961" y="2111"/>
                    <a:pt x="1874" y="2016"/>
                    <a:pt x="1779" y="2016"/>
                  </a:cubicBezTo>
                  <a:cubicBezTo>
                    <a:pt x="1746" y="2016"/>
                    <a:pt x="1711" y="2028"/>
                    <a:pt x="1681" y="2055"/>
                  </a:cubicBezTo>
                  <a:cubicBezTo>
                    <a:pt x="1650" y="1866"/>
                    <a:pt x="1706" y="1821"/>
                    <a:pt x="1839" y="1737"/>
                  </a:cubicBezTo>
                  <a:cubicBezTo>
                    <a:pt x="1870" y="1719"/>
                    <a:pt x="1909" y="1695"/>
                    <a:pt x="1951" y="1667"/>
                  </a:cubicBezTo>
                  <a:cubicBezTo>
                    <a:pt x="2052" y="1597"/>
                    <a:pt x="2010" y="1499"/>
                    <a:pt x="1884" y="1275"/>
                  </a:cubicBezTo>
                  <a:cubicBezTo>
                    <a:pt x="1849" y="1215"/>
                    <a:pt x="1814" y="1152"/>
                    <a:pt x="1783" y="1086"/>
                  </a:cubicBezTo>
                  <a:cubicBezTo>
                    <a:pt x="1730" y="977"/>
                    <a:pt x="1601" y="939"/>
                    <a:pt x="1475" y="900"/>
                  </a:cubicBezTo>
                  <a:cubicBezTo>
                    <a:pt x="1328" y="855"/>
                    <a:pt x="1159" y="802"/>
                    <a:pt x="1159" y="620"/>
                  </a:cubicBezTo>
                  <a:cubicBezTo>
                    <a:pt x="1159" y="501"/>
                    <a:pt x="1061" y="427"/>
                    <a:pt x="963" y="354"/>
                  </a:cubicBezTo>
                  <a:cubicBezTo>
                    <a:pt x="879" y="291"/>
                    <a:pt x="799" y="231"/>
                    <a:pt x="788" y="144"/>
                  </a:cubicBezTo>
                  <a:cubicBezTo>
                    <a:pt x="788" y="133"/>
                    <a:pt x="767" y="102"/>
                    <a:pt x="701" y="70"/>
                  </a:cubicBezTo>
                  <a:cubicBezTo>
                    <a:pt x="616" y="27"/>
                    <a:pt x="502" y="1"/>
                    <a:pt x="391" y="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047" name="Google Shape;6047;p104"/>
            <p:cNvSpPr/>
            <p:nvPr/>
          </p:nvSpPr>
          <p:spPr>
            <a:xfrm>
              <a:off x="2944187" y="1956588"/>
              <a:ext cx="15030" cy="20258"/>
            </a:xfrm>
            <a:custGeom>
              <a:avLst/>
              <a:gdLst/>
              <a:ahLst/>
              <a:cxnLst/>
              <a:rect l="l" t="t" r="r" b="b"/>
              <a:pathLst>
                <a:path w="1107" h="1492" extrusionOk="0">
                  <a:moveTo>
                    <a:pt x="147" y="1"/>
                  </a:moveTo>
                  <a:cubicBezTo>
                    <a:pt x="139" y="1"/>
                    <a:pt x="131" y="2"/>
                    <a:pt x="123" y="3"/>
                  </a:cubicBezTo>
                  <a:cubicBezTo>
                    <a:pt x="39" y="17"/>
                    <a:pt x="1" y="231"/>
                    <a:pt x="43" y="434"/>
                  </a:cubicBezTo>
                  <a:cubicBezTo>
                    <a:pt x="66" y="563"/>
                    <a:pt x="110" y="616"/>
                    <a:pt x="129" y="616"/>
                  </a:cubicBezTo>
                  <a:cubicBezTo>
                    <a:pt x="129" y="616"/>
                    <a:pt x="130" y="616"/>
                    <a:pt x="130" y="616"/>
                  </a:cubicBezTo>
                  <a:cubicBezTo>
                    <a:pt x="144" y="612"/>
                    <a:pt x="165" y="609"/>
                    <a:pt x="190" y="609"/>
                  </a:cubicBezTo>
                  <a:cubicBezTo>
                    <a:pt x="309" y="595"/>
                    <a:pt x="361" y="577"/>
                    <a:pt x="368" y="511"/>
                  </a:cubicBezTo>
                  <a:cubicBezTo>
                    <a:pt x="375" y="444"/>
                    <a:pt x="407" y="423"/>
                    <a:pt x="435" y="420"/>
                  </a:cubicBezTo>
                  <a:lnTo>
                    <a:pt x="452" y="420"/>
                  </a:lnTo>
                  <a:cubicBezTo>
                    <a:pt x="484" y="420"/>
                    <a:pt x="515" y="441"/>
                    <a:pt x="540" y="490"/>
                  </a:cubicBezTo>
                  <a:cubicBezTo>
                    <a:pt x="589" y="584"/>
                    <a:pt x="662" y="871"/>
                    <a:pt x="529" y="1001"/>
                  </a:cubicBezTo>
                  <a:cubicBezTo>
                    <a:pt x="456" y="1074"/>
                    <a:pt x="424" y="1239"/>
                    <a:pt x="463" y="1365"/>
                  </a:cubicBezTo>
                  <a:cubicBezTo>
                    <a:pt x="473" y="1425"/>
                    <a:pt x="519" y="1474"/>
                    <a:pt x="578" y="1491"/>
                  </a:cubicBezTo>
                  <a:cubicBezTo>
                    <a:pt x="580" y="1492"/>
                    <a:pt x="583" y="1492"/>
                    <a:pt x="586" y="1492"/>
                  </a:cubicBezTo>
                  <a:cubicBezTo>
                    <a:pt x="614" y="1492"/>
                    <a:pt x="674" y="1458"/>
                    <a:pt x="753" y="1372"/>
                  </a:cubicBezTo>
                  <a:cubicBezTo>
                    <a:pt x="953" y="1144"/>
                    <a:pt x="1107" y="773"/>
                    <a:pt x="1086" y="707"/>
                  </a:cubicBezTo>
                  <a:cubicBezTo>
                    <a:pt x="1082" y="703"/>
                    <a:pt x="1082" y="700"/>
                    <a:pt x="1079" y="696"/>
                  </a:cubicBezTo>
                  <a:cubicBezTo>
                    <a:pt x="1058" y="700"/>
                    <a:pt x="1040" y="703"/>
                    <a:pt x="1019" y="714"/>
                  </a:cubicBezTo>
                  <a:cubicBezTo>
                    <a:pt x="1000" y="720"/>
                    <a:pt x="974" y="729"/>
                    <a:pt x="948" y="729"/>
                  </a:cubicBezTo>
                  <a:cubicBezTo>
                    <a:pt x="928" y="729"/>
                    <a:pt x="908" y="724"/>
                    <a:pt x="890" y="707"/>
                  </a:cubicBezTo>
                  <a:cubicBezTo>
                    <a:pt x="844" y="672"/>
                    <a:pt x="862" y="602"/>
                    <a:pt x="869" y="570"/>
                  </a:cubicBezTo>
                  <a:cubicBezTo>
                    <a:pt x="876" y="549"/>
                    <a:pt x="855" y="479"/>
                    <a:pt x="743" y="360"/>
                  </a:cubicBezTo>
                  <a:cubicBezTo>
                    <a:pt x="559" y="167"/>
                    <a:pt x="277" y="1"/>
                    <a:pt x="147" y="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048" name="Google Shape;6048;p104"/>
            <p:cNvSpPr/>
            <p:nvPr/>
          </p:nvSpPr>
          <p:spPr>
            <a:xfrm>
              <a:off x="2930066" y="1906039"/>
              <a:ext cx="18126" cy="34270"/>
            </a:xfrm>
            <a:custGeom>
              <a:avLst/>
              <a:gdLst/>
              <a:ahLst/>
              <a:cxnLst/>
              <a:rect l="l" t="t" r="r" b="b"/>
              <a:pathLst>
                <a:path w="1335" h="2524" extrusionOk="0">
                  <a:moveTo>
                    <a:pt x="501" y="0"/>
                  </a:moveTo>
                  <a:cubicBezTo>
                    <a:pt x="451" y="0"/>
                    <a:pt x="408" y="8"/>
                    <a:pt x="376" y="29"/>
                  </a:cubicBezTo>
                  <a:cubicBezTo>
                    <a:pt x="277" y="89"/>
                    <a:pt x="302" y="544"/>
                    <a:pt x="313" y="789"/>
                  </a:cubicBezTo>
                  <a:cubicBezTo>
                    <a:pt x="330" y="1136"/>
                    <a:pt x="330" y="1251"/>
                    <a:pt x="270" y="1300"/>
                  </a:cubicBezTo>
                  <a:cubicBezTo>
                    <a:pt x="242" y="1323"/>
                    <a:pt x="214" y="1332"/>
                    <a:pt x="186" y="1332"/>
                  </a:cubicBezTo>
                  <a:cubicBezTo>
                    <a:pt x="123" y="1332"/>
                    <a:pt x="66" y="1284"/>
                    <a:pt x="29" y="1255"/>
                  </a:cubicBezTo>
                  <a:lnTo>
                    <a:pt x="22" y="1248"/>
                  </a:lnTo>
                  <a:lnTo>
                    <a:pt x="22" y="1248"/>
                  </a:lnTo>
                  <a:cubicBezTo>
                    <a:pt x="1" y="1419"/>
                    <a:pt x="60" y="1811"/>
                    <a:pt x="120" y="1864"/>
                  </a:cubicBezTo>
                  <a:cubicBezTo>
                    <a:pt x="190" y="1864"/>
                    <a:pt x="253" y="1899"/>
                    <a:pt x="295" y="1955"/>
                  </a:cubicBezTo>
                  <a:cubicBezTo>
                    <a:pt x="365" y="2053"/>
                    <a:pt x="376" y="2203"/>
                    <a:pt x="323" y="2368"/>
                  </a:cubicBezTo>
                  <a:cubicBezTo>
                    <a:pt x="299" y="2445"/>
                    <a:pt x="327" y="2473"/>
                    <a:pt x="337" y="2480"/>
                  </a:cubicBezTo>
                  <a:cubicBezTo>
                    <a:pt x="366" y="2509"/>
                    <a:pt x="423" y="2523"/>
                    <a:pt x="495" y="2523"/>
                  </a:cubicBezTo>
                  <a:cubicBezTo>
                    <a:pt x="580" y="2523"/>
                    <a:pt x="685" y="2504"/>
                    <a:pt x="789" y="2466"/>
                  </a:cubicBezTo>
                  <a:cubicBezTo>
                    <a:pt x="830" y="2448"/>
                    <a:pt x="875" y="2437"/>
                    <a:pt x="921" y="2437"/>
                  </a:cubicBezTo>
                  <a:cubicBezTo>
                    <a:pt x="938" y="2437"/>
                    <a:pt x="954" y="2439"/>
                    <a:pt x="971" y="2441"/>
                  </a:cubicBezTo>
                  <a:cubicBezTo>
                    <a:pt x="943" y="2382"/>
                    <a:pt x="929" y="2315"/>
                    <a:pt x="929" y="2249"/>
                  </a:cubicBezTo>
                  <a:cubicBezTo>
                    <a:pt x="922" y="2140"/>
                    <a:pt x="911" y="2018"/>
                    <a:pt x="841" y="1941"/>
                  </a:cubicBezTo>
                  <a:cubicBezTo>
                    <a:pt x="631" y="1713"/>
                    <a:pt x="901" y="1419"/>
                    <a:pt x="1118" y="1181"/>
                  </a:cubicBezTo>
                  <a:cubicBezTo>
                    <a:pt x="1149" y="1146"/>
                    <a:pt x="1184" y="1111"/>
                    <a:pt x="1212" y="1076"/>
                  </a:cubicBezTo>
                  <a:cubicBezTo>
                    <a:pt x="1335" y="936"/>
                    <a:pt x="1272" y="719"/>
                    <a:pt x="1216" y="526"/>
                  </a:cubicBezTo>
                  <a:cubicBezTo>
                    <a:pt x="1181" y="407"/>
                    <a:pt x="1153" y="302"/>
                    <a:pt x="1163" y="218"/>
                  </a:cubicBezTo>
                  <a:cubicBezTo>
                    <a:pt x="1174" y="176"/>
                    <a:pt x="1177" y="131"/>
                    <a:pt x="1177" y="85"/>
                  </a:cubicBezTo>
                  <a:lnTo>
                    <a:pt x="1177" y="85"/>
                  </a:lnTo>
                  <a:lnTo>
                    <a:pt x="1167" y="92"/>
                  </a:lnTo>
                  <a:cubicBezTo>
                    <a:pt x="1142" y="106"/>
                    <a:pt x="1113" y="112"/>
                    <a:pt x="1080" y="112"/>
                  </a:cubicBezTo>
                  <a:cubicBezTo>
                    <a:pt x="1015" y="112"/>
                    <a:pt x="934" y="90"/>
                    <a:pt x="834" y="64"/>
                  </a:cubicBezTo>
                  <a:cubicBezTo>
                    <a:pt x="726" y="34"/>
                    <a:pt x="601" y="0"/>
                    <a:pt x="501"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049" name="Google Shape;6049;p104"/>
            <p:cNvSpPr/>
            <p:nvPr/>
          </p:nvSpPr>
          <p:spPr>
            <a:xfrm>
              <a:off x="2911587" y="1962426"/>
              <a:ext cx="15410" cy="19171"/>
            </a:xfrm>
            <a:custGeom>
              <a:avLst/>
              <a:gdLst/>
              <a:ahLst/>
              <a:cxnLst/>
              <a:rect l="l" t="t" r="r" b="b"/>
              <a:pathLst>
                <a:path w="1135" h="1412" extrusionOk="0">
                  <a:moveTo>
                    <a:pt x="1019" y="0"/>
                  </a:moveTo>
                  <a:lnTo>
                    <a:pt x="1019" y="0"/>
                  </a:lnTo>
                  <a:cubicBezTo>
                    <a:pt x="980" y="63"/>
                    <a:pt x="945" y="126"/>
                    <a:pt x="917" y="193"/>
                  </a:cubicBezTo>
                  <a:cubicBezTo>
                    <a:pt x="854" y="333"/>
                    <a:pt x="777" y="469"/>
                    <a:pt x="686" y="595"/>
                  </a:cubicBezTo>
                  <a:cubicBezTo>
                    <a:pt x="609" y="693"/>
                    <a:pt x="508" y="805"/>
                    <a:pt x="396" y="924"/>
                  </a:cubicBezTo>
                  <a:cubicBezTo>
                    <a:pt x="259" y="1075"/>
                    <a:pt x="35" y="1313"/>
                    <a:pt x="0" y="1411"/>
                  </a:cubicBezTo>
                  <a:cubicBezTo>
                    <a:pt x="91" y="1359"/>
                    <a:pt x="294" y="1124"/>
                    <a:pt x="431" y="963"/>
                  </a:cubicBezTo>
                  <a:cubicBezTo>
                    <a:pt x="595" y="774"/>
                    <a:pt x="763" y="574"/>
                    <a:pt x="886" y="487"/>
                  </a:cubicBezTo>
                  <a:cubicBezTo>
                    <a:pt x="1134" y="308"/>
                    <a:pt x="1099" y="172"/>
                    <a:pt x="1019"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050" name="Google Shape;6050;p104"/>
            <p:cNvSpPr/>
            <p:nvPr/>
          </p:nvSpPr>
          <p:spPr>
            <a:xfrm>
              <a:off x="3088163" y="2067136"/>
              <a:ext cx="69218" cy="57636"/>
            </a:xfrm>
            <a:custGeom>
              <a:avLst/>
              <a:gdLst/>
              <a:ahLst/>
              <a:cxnLst/>
              <a:rect l="l" t="t" r="r" b="b"/>
              <a:pathLst>
                <a:path w="5098" h="4245" extrusionOk="0">
                  <a:moveTo>
                    <a:pt x="1" y="1"/>
                  </a:moveTo>
                  <a:lnTo>
                    <a:pt x="1" y="3326"/>
                  </a:lnTo>
                  <a:cubicBezTo>
                    <a:pt x="155" y="3424"/>
                    <a:pt x="333" y="3484"/>
                    <a:pt x="519" y="3491"/>
                  </a:cubicBezTo>
                  <a:cubicBezTo>
                    <a:pt x="538" y="3492"/>
                    <a:pt x="556" y="3492"/>
                    <a:pt x="574" y="3492"/>
                  </a:cubicBezTo>
                  <a:cubicBezTo>
                    <a:pt x="975" y="3492"/>
                    <a:pt x="1021" y="3343"/>
                    <a:pt x="1054" y="3242"/>
                  </a:cubicBezTo>
                  <a:cubicBezTo>
                    <a:pt x="1068" y="3190"/>
                    <a:pt x="1093" y="3113"/>
                    <a:pt x="1181" y="3113"/>
                  </a:cubicBezTo>
                  <a:cubicBezTo>
                    <a:pt x="1226" y="3113"/>
                    <a:pt x="1268" y="3032"/>
                    <a:pt x="1317" y="2948"/>
                  </a:cubicBezTo>
                  <a:cubicBezTo>
                    <a:pt x="1356" y="2871"/>
                    <a:pt x="1401" y="2798"/>
                    <a:pt x="1454" y="2731"/>
                  </a:cubicBezTo>
                  <a:cubicBezTo>
                    <a:pt x="1510" y="2663"/>
                    <a:pt x="1615" y="2633"/>
                    <a:pt x="1745" y="2633"/>
                  </a:cubicBezTo>
                  <a:cubicBezTo>
                    <a:pt x="2031" y="2633"/>
                    <a:pt x="2435" y="2780"/>
                    <a:pt x="2693" y="2980"/>
                  </a:cubicBezTo>
                  <a:cubicBezTo>
                    <a:pt x="2833" y="3088"/>
                    <a:pt x="2973" y="3263"/>
                    <a:pt x="3120" y="3449"/>
                  </a:cubicBezTo>
                  <a:cubicBezTo>
                    <a:pt x="3344" y="3729"/>
                    <a:pt x="3593" y="4041"/>
                    <a:pt x="3800" y="4041"/>
                  </a:cubicBezTo>
                  <a:cubicBezTo>
                    <a:pt x="3813" y="4041"/>
                    <a:pt x="3825" y="4040"/>
                    <a:pt x="3838" y="4037"/>
                  </a:cubicBezTo>
                  <a:cubicBezTo>
                    <a:pt x="3887" y="4027"/>
                    <a:pt x="3936" y="4020"/>
                    <a:pt x="3985" y="4020"/>
                  </a:cubicBezTo>
                  <a:cubicBezTo>
                    <a:pt x="4167" y="4020"/>
                    <a:pt x="4345" y="4083"/>
                    <a:pt x="4520" y="4139"/>
                  </a:cubicBezTo>
                  <a:cubicBezTo>
                    <a:pt x="4685" y="4195"/>
                    <a:pt x="4831" y="4244"/>
                    <a:pt x="4970" y="4244"/>
                  </a:cubicBezTo>
                  <a:cubicBezTo>
                    <a:pt x="4979" y="4244"/>
                    <a:pt x="4988" y="4244"/>
                    <a:pt x="4996" y="4244"/>
                  </a:cubicBezTo>
                  <a:cubicBezTo>
                    <a:pt x="5077" y="4240"/>
                    <a:pt x="5094" y="4223"/>
                    <a:pt x="5094" y="4223"/>
                  </a:cubicBezTo>
                  <a:cubicBezTo>
                    <a:pt x="5098" y="4188"/>
                    <a:pt x="4972" y="4065"/>
                    <a:pt x="4891" y="4030"/>
                  </a:cubicBezTo>
                  <a:cubicBezTo>
                    <a:pt x="4832" y="4006"/>
                    <a:pt x="4440" y="3789"/>
                    <a:pt x="4464" y="3592"/>
                  </a:cubicBezTo>
                  <a:cubicBezTo>
                    <a:pt x="4450" y="3571"/>
                    <a:pt x="4356" y="3547"/>
                    <a:pt x="4289" y="3529"/>
                  </a:cubicBezTo>
                  <a:cubicBezTo>
                    <a:pt x="4167" y="3501"/>
                    <a:pt x="4051" y="3459"/>
                    <a:pt x="3943" y="3396"/>
                  </a:cubicBezTo>
                  <a:cubicBezTo>
                    <a:pt x="3813" y="3312"/>
                    <a:pt x="3771" y="3151"/>
                    <a:pt x="3729" y="2997"/>
                  </a:cubicBezTo>
                  <a:cubicBezTo>
                    <a:pt x="3694" y="2854"/>
                    <a:pt x="3659" y="2721"/>
                    <a:pt x="3561" y="2675"/>
                  </a:cubicBezTo>
                  <a:cubicBezTo>
                    <a:pt x="3386" y="2591"/>
                    <a:pt x="3211" y="2374"/>
                    <a:pt x="3250" y="2220"/>
                  </a:cubicBezTo>
                  <a:cubicBezTo>
                    <a:pt x="3260" y="2180"/>
                    <a:pt x="3299" y="2094"/>
                    <a:pt x="3446" y="2094"/>
                  </a:cubicBezTo>
                  <a:cubicBezTo>
                    <a:pt x="3451" y="2094"/>
                    <a:pt x="3457" y="2094"/>
                    <a:pt x="3463" y="2094"/>
                  </a:cubicBezTo>
                  <a:cubicBezTo>
                    <a:pt x="3477" y="2095"/>
                    <a:pt x="3490" y="2095"/>
                    <a:pt x="3503" y="2095"/>
                  </a:cubicBezTo>
                  <a:cubicBezTo>
                    <a:pt x="3595" y="2095"/>
                    <a:pt x="3639" y="2074"/>
                    <a:pt x="3649" y="2052"/>
                  </a:cubicBezTo>
                  <a:cubicBezTo>
                    <a:pt x="3656" y="2028"/>
                    <a:pt x="3645" y="1961"/>
                    <a:pt x="3530" y="1853"/>
                  </a:cubicBezTo>
                  <a:cubicBezTo>
                    <a:pt x="3449" y="1779"/>
                    <a:pt x="3260" y="1716"/>
                    <a:pt x="3081" y="1653"/>
                  </a:cubicBezTo>
                  <a:cubicBezTo>
                    <a:pt x="2770" y="1548"/>
                    <a:pt x="2448" y="1439"/>
                    <a:pt x="2423" y="1215"/>
                  </a:cubicBezTo>
                  <a:cubicBezTo>
                    <a:pt x="2399" y="981"/>
                    <a:pt x="1044" y="253"/>
                    <a:pt x="323" y="92"/>
                  </a:cubicBezTo>
                  <a:cubicBezTo>
                    <a:pt x="235" y="74"/>
                    <a:pt x="130" y="43"/>
                    <a:pt x="1" y="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051" name="Google Shape;6051;p104"/>
            <p:cNvSpPr/>
            <p:nvPr/>
          </p:nvSpPr>
          <p:spPr>
            <a:xfrm>
              <a:off x="2639603" y="1973302"/>
              <a:ext cx="14229" cy="26680"/>
            </a:xfrm>
            <a:custGeom>
              <a:avLst/>
              <a:gdLst/>
              <a:ahLst/>
              <a:cxnLst/>
              <a:rect l="l" t="t" r="r" b="b"/>
              <a:pathLst>
                <a:path w="1048" h="1965" extrusionOk="0">
                  <a:moveTo>
                    <a:pt x="214" y="1"/>
                  </a:moveTo>
                  <a:cubicBezTo>
                    <a:pt x="172" y="11"/>
                    <a:pt x="154" y="123"/>
                    <a:pt x="137" y="218"/>
                  </a:cubicBezTo>
                  <a:cubicBezTo>
                    <a:pt x="126" y="306"/>
                    <a:pt x="105" y="390"/>
                    <a:pt x="77" y="474"/>
                  </a:cubicBezTo>
                  <a:cubicBezTo>
                    <a:pt x="0" y="670"/>
                    <a:pt x="14" y="869"/>
                    <a:pt x="49" y="1170"/>
                  </a:cubicBezTo>
                  <a:cubicBezTo>
                    <a:pt x="53" y="1223"/>
                    <a:pt x="56" y="1279"/>
                    <a:pt x="60" y="1331"/>
                  </a:cubicBezTo>
                  <a:cubicBezTo>
                    <a:pt x="77" y="1583"/>
                    <a:pt x="91" y="1800"/>
                    <a:pt x="294" y="1930"/>
                  </a:cubicBezTo>
                  <a:cubicBezTo>
                    <a:pt x="332" y="1955"/>
                    <a:pt x="372" y="1965"/>
                    <a:pt x="412" y="1965"/>
                  </a:cubicBezTo>
                  <a:cubicBezTo>
                    <a:pt x="472" y="1965"/>
                    <a:pt x="532" y="1943"/>
                    <a:pt x="578" y="1919"/>
                  </a:cubicBezTo>
                  <a:cubicBezTo>
                    <a:pt x="819" y="1793"/>
                    <a:pt x="1023" y="1475"/>
                    <a:pt x="1033" y="1209"/>
                  </a:cubicBezTo>
                  <a:cubicBezTo>
                    <a:pt x="1047" y="810"/>
                    <a:pt x="350" y="46"/>
                    <a:pt x="214" y="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052" name="Google Shape;6052;p104"/>
            <p:cNvSpPr/>
            <p:nvPr/>
          </p:nvSpPr>
          <p:spPr>
            <a:xfrm>
              <a:off x="2363531" y="2134820"/>
              <a:ext cx="53061" cy="102877"/>
            </a:xfrm>
            <a:custGeom>
              <a:avLst/>
              <a:gdLst/>
              <a:ahLst/>
              <a:cxnLst/>
              <a:rect l="l" t="t" r="r" b="b"/>
              <a:pathLst>
                <a:path w="3908" h="7577" extrusionOk="0">
                  <a:moveTo>
                    <a:pt x="3295" y="1"/>
                  </a:moveTo>
                  <a:lnTo>
                    <a:pt x="3281" y="32"/>
                  </a:lnTo>
                  <a:cubicBezTo>
                    <a:pt x="3267" y="88"/>
                    <a:pt x="3239" y="137"/>
                    <a:pt x="3207" y="179"/>
                  </a:cubicBezTo>
                  <a:cubicBezTo>
                    <a:pt x="3165" y="221"/>
                    <a:pt x="3127" y="386"/>
                    <a:pt x="3144" y="515"/>
                  </a:cubicBezTo>
                  <a:cubicBezTo>
                    <a:pt x="3148" y="585"/>
                    <a:pt x="3120" y="655"/>
                    <a:pt x="3067" y="704"/>
                  </a:cubicBezTo>
                  <a:cubicBezTo>
                    <a:pt x="2986" y="786"/>
                    <a:pt x="2876" y="831"/>
                    <a:pt x="2758" y="831"/>
                  </a:cubicBezTo>
                  <a:cubicBezTo>
                    <a:pt x="2754" y="831"/>
                    <a:pt x="2749" y="831"/>
                    <a:pt x="2745" y="831"/>
                  </a:cubicBezTo>
                  <a:cubicBezTo>
                    <a:pt x="2734" y="829"/>
                    <a:pt x="2724" y="828"/>
                    <a:pt x="2713" y="828"/>
                  </a:cubicBezTo>
                  <a:cubicBezTo>
                    <a:pt x="2654" y="828"/>
                    <a:pt x="2597" y="852"/>
                    <a:pt x="2553" y="894"/>
                  </a:cubicBezTo>
                  <a:cubicBezTo>
                    <a:pt x="2531" y="922"/>
                    <a:pt x="2528" y="957"/>
                    <a:pt x="2542" y="985"/>
                  </a:cubicBezTo>
                  <a:cubicBezTo>
                    <a:pt x="2588" y="1107"/>
                    <a:pt x="2546" y="1167"/>
                    <a:pt x="2521" y="1205"/>
                  </a:cubicBezTo>
                  <a:cubicBezTo>
                    <a:pt x="2503" y="1230"/>
                    <a:pt x="2500" y="1230"/>
                    <a:pt x="2521" y="1268"/>
                  </a:cubicBezTo>
                  <a:cubicBezTo>
                    <a:pt x="2553" y="1328"/>
                    <a:pt x="2549" y="1398"/>
                    <a:pt x="2514" y="1457"/>
                  </a:cubicBezTo>
                  <a:cubicBezTo>
                    <a:pt x="2447" y="1583"/>
                    <a:pt x="2248" y="1692"/>
                    <a:pt x="2062" y="1706"/>
                  </a:cubicBezTo>
                  <a:cubicBezTo>
                    <a:pt x="1978" y="1709"/>
                    <a:pt x="1866" y="1797"/>
                    <a:pt x="1754" y="1881"/>
                  </a:cubicBezTo>
                  <a:cubicBezTo>
                    <a:pt x="1617" y="1983"/>
                    <a:pt x="1474" y="2094"/>
                    <a:pt x="1330" y="2094"/>
                  </a:cubicBezTo>
                  <a:cubicBezTo>
                    <a:pt x="1316" y="2094"/>
                    <a:pt x="1302" y="2093"/>
                    <a:pt x="1289" y="2091"/>
                  </a:cubicBezTo>
                  <a:cubicBezTo>
                    <a:pt x="1274" y="2089"/>
                    <a:pt x="1259" y="2088"/>
                    <a:pt x="1245" y="2088"/>
                  </a:cubicBezTo>
                  <a:cubicBezTo>
                    <a:pt x="1149" y="2088"/>
                    <a:pt x="1049" y="2124"/>
                    <a:pt x="949" y="2157"/>
                  </a:cubicBezTo>
                  <a:cubicBezTo>
                    <a:pt x="857" y="2189"/>
                    <a:pt x="755" y="2226"/>
                    <a:pt x="655" y="2226"/>
                  </a:cubicBezTo>
                  <a:cubicBezTo>
                    <a:pt x="634" y="2226"/>
                    <a:pt x="613" y="2224"/>
                    <a:pt x="592" y="2220"/>
                  </a:cubicBezTo>
                  <a:lnTo>
                    <a:pt x="582" y="2220"/>
                  </a:lnTo>
                  <a:cubicBezTo>
                    <a:pt x="578" y="2220"/>
                    <a:pt x="575" y="2220"/>
                    <a:pt x="575" y="2224"/>
                  </a:cubicBezTo>
                  <a:cubicBezTo>
                    <a:pt x="547" y="2245"/>
                    <a:pt x="540" y="2364"/>
                    <a:pt x="533" y="2448"/>
                  </a:cubicBezTo>
                  <a:cubicBezTo>
                    <a:pt x="526" y="2595"/>
                    <a:pt x="512" y="2773"/>
                    <a:pt x="434" y="2917"/>
                  </a:cubicBezTo>
                  <a:cubicBezTo>
                    <a:pt x="273" y="3201"/>
                    <a:pt x="378" y="3547"/>
                    <a:pt x="501" y="3845"/>
                  </a:cubicBezTo>
                  <a:cubicBezTo>
                    <a:pt x="645" y="4195"/>
                    <a:pt x="778" y="4524"/>
                    <a:pt x="361" y="5028"/>
                  </a:cubicBezTo>
                  <a:cubicBezTo>
                    <a:pt x="0" y="5466"/>
                    <a:pt x="21" y="5956"/>
                    <a:pt x="161" y="6267"/>
                  </a:cubicBezTo>
                  <a:cubicBezTo>
                    <a:pt x="217" y="6414"/>
                    <a:pt x="263" y="6568"/>
                    <a:pt x="291" y="6726"/>
                  </a:cubicBezTo>
                  <a:cubicBezTo>
                    <a:pt x="343" y="6950"/>
                    <a:pt x="389" y="7164"/>
                    <a:pt x="505" y="7286"/>
                  </a:cubicBezTo>
                  <a:cubicBezTo>
                    <a:pt x="645" y="7437"/>
                    <a:pt x="967" y="7573"/>
                    <a:pt x="1194" y="7577"/>
                  </a:cubicBezTo>
                  <a:cubicBezTo>
                    <a:pt x="1282" y="7577"/>
                    <a:pt x="1345" y="7563"/>
                    <a:pt x="1380" y="7528"/>
                  </a:cubicBezTo>
                  <a:cubicBezTo>
                    <a:pt x="1481" y="7426"/>
                    <a:pt x="1586" y="7426"/>
                    <a:pt x="1681" y="7423"/>
                  </a:cubicBezTo>
                  <a:cubicBezTo>
                    <a:pt x="1772" y="7423"/>
                    <a:pt x="1856" y="7423"/>
                    <a:pt x="1943" y="7321"/>
                  </a:cubicBezTo>
                  <a:cubicBezTo>
                    <a:pt x="2069" y="7174"/>
                    <a:pt x="2269" y="6516"/>
                    <a:pt x="2461" y="5875"/>
                  </a:cubicBezTo>
                  <a:cubicBezTo>
                    <a:pt x="2549" y="5592"/>
                    <a:pt x="2637" y="5298"/>
                    <a:pt x="2721" y="5046"/>
                  </a:cubicBezTo>
                  <a:cubicBezTo>
                    <a:pt x="2927" y="4433"/>
                    <a:pt x="3351" y="3162"/>
                    <a:pt x="3319" y="2942"/>
                  </a:cubicBezTo>
                  <a:cubicBezTo>
                    <a:pt x="3302" y="2823"/>
                    <a:pt x="3344" y="2721"/>
                    <a:pt x="3382" y="2633"/>
                  </a:cubicBezTo>
                  <a:cubicBezTo>
                    <a:pt x="3428" y="2535"/>
                    <a:pt x="3463" y="2448"/>
                    <a:pt x="3421" y="2339"/>
                  </a:cubicBezTo>
                  <a:cubicBezTo>
                    <a:pt x="3344" y="2154"/>
                    <a:pt x="3382" y="1916"/>
                    <a:pt x="3498" y="1860"/>
                  </a:cubicBezTo>
                  <a:cubicBezTo>
                    <a:pt x="3507" y="1854"/>
                    <a:pt x="3527" y="1846"/>
                    <a:pt x="3551" y="1846"/>
                  </a:cubicBezTo>
                  <a:cubicBezTo>
                    <a:pt x="3589" y="1846"/>
                    <a:pt x="3639" y="1865"/>
                    <a:pt x="3683" y="1944"/>
                  </a:cubicBezTo>
                  <a:cubicBezTo>
                    <a:pt x="3727" y="2017"/>
                    <a:pt x="3773" y="2049"/>
                    <a:pt x="3801" y="2049"/>
                  </a:cubicBezTo>
                  <a:cubicBezTo>
                    <a:pt x="3803" y="2049"/>
                    <a:pt x="3804" y="2049"/>
                    <a:pt x="3806" y="2049"/>
                  </a:cubicBezTo>
                  <a:cubicBezTo>
                    <a:pt x="3830" y="2045"/>
                    <a:pt x="3865" y="2003"/>
                    <a:pt x="3883" y="1898"/>
                  </a:cubicBezTo>
                  <a:cubicBezTo>
                    <a:pt x="3907" y="1779"/>
                    <a:pt x="3851" y="1604"/>
                    <a:pt x="3795" y="1422"/>
                  </a:cubicBezTo>
                  <a:cubicBezTo>
                    <a:pt x="3743" y="1240"/>
                    <a:pt x="3683" y="1062"/>
                    <a:pt x="3676" y="880"/>
                  </a:cubicBezTo>
                  <a:cubicBezTo>
                    <a:pt x="3666" y="655"/>
                    <a:pt x="3529" y="428"/>
                    <a:pt x="3421" y="249"/>
                  </a:cubicBezTo>
                  <a:cubicBezTo>
                    <a:pt x="3372" y="172"/>
                    <a:pt x="3326" y="88"/>
                    <a:pt x="3295" y="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053" name="Google Shape;6053;p104"/>
            <p:cNvSpPr/>
            <p:nvPr/>
          </p:nvSpPr>
          <p:spPr>
            <a:xfrm>
              <a:off x="2441765" y="1949718"/>
              <a:ext cx="5621" cy="1466"/>
            </a:xfrm>
            <a:custGeom>
              <a:avLst/>
              <a:gdLst/>
              <a:ahLst/>
              <a:cxnLst/>
              <a:rect l="l" t="t" r="r" b="b"/>
              <a:pathLst>
                <a:path w="414" h="108" extrusionOk="0">
                  <a:moveTo>
                    <a:pt x="249" y="0"/>
                  </a:moveTo>
                  <a:cubicBezTo>
                    <a:pt x="143" y="0"/>
                    <a:pt x="34" y="12"/>
                    <a:pt x="1" y="37"/>
                  </a:cubicBezTo>
                  <a:cubicBezTo>
                    <a:pt x="4" y="44"/>
                    <a:pt x="8" y="47"/>
                    <a:pt x="11" y="51"/>
                  </a:cubicBezTo>
                  <a:cubicBezTo>
                    <a:pt x="50" y="87"/>
                    <a:pt x="100" y="107"/>
                    <a:pt x="152" y="107"/>
                  </a:cubicBezTo>
                  <a:cubicBezTo>
                    <a:pt x="166" y="107"/>
                    <a:pt x="180" y="106"/>
                    <a:pt x="193" y="103"/>
                  </a:cubicBezTo>
                  <a:cubicBezTo>
                    <a:pt x="274" y="89"/>
                    <a:pt x="347" y="58"/>
                    <a:pt x="414" y="12"/>
                  </a:cubicBezTo>
                  <a:cubicBezTo>
                    <a:pt x="370" y="4"/>
                    <a:pt x="310" y="0"/>
                    <a:pt x="249"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054" name="Google Shape;6054;p104"/>
            <p:cNvSpPr/>
            <p:nvPr/>
          </p:nvSpPr>
          <p:spPr>
            <a:xfrm>
              <a:off x="2361345" y="1900730"/>
              <a:ext cx="77012" cy="46109"/>
            </a:xfrm>
            <a:custGeom>
              <a:avLst/>
              <a:gdLst/>
              <a:ahLst/>
              <a:cxnLst/>
              <a:rect l="l" t="t" r="r" b="b"/>
              <a:pathLst>
                <a:path w="5672" h="3396" extrusionOk="0">
                  <a:moveTo>
                    <a:pt x="5059" y="0"/>
                  </a:moveTo>
                  <a:cubicBezTo>
                    <a:pt x="4825" y="74"/>
                    <a:pt x="4670" y="116"/>
                    <a:pt x="4597" y="137"/>
                  </a:cubicBezTo>
                  <a:lnTo>
                    <a:pt x="4576" y="144"/>
                  </a:lnTo>
                  <a:lnTo>
                    <a:pt x="4569" y="144"/>
                  </a:lnTo>
                  <a:cubicBezTo>
                    <a:pt x="4429" y="168"/>
                    <a:pt x="4285" y="182"/>
                    <a:pt x="4142" y="182"/>
                  </a:cubicBezTo>
                  <a:lnTo>
                    <a:pt x="3900" y="182"/>
                  </a:lnTo>
                  <a:cubicBezTo>
                    <a:pt x="3739" y="182"/>
                    <a:pt x="3540" y="186"/>
                    <a:pt x="3505" y="203"/>
                  </a:cubicBezTo>
                  <a:cubicBezTo>
                    <a:pt x="3414" y="249"/>
                    <a:pt x="2777" y="707"/>
                    <a:pt x="2692" y="903"/>
                  </a:cubicBezTo>
                  <a:cubicBezTo>
                    <a:pt x="2636" y="1033"/>
                    <a:pt x="2559" y="1113"/>
                    <a:pt x="2468" y="1138"/>
                  </a:cubicBezTo>
                  <a:cubicBezTo>
                    <a:pt x="2452" y="1142"/>
                    <a:pt x="2433" y="1145"/>
                    <a:pt x="2411" y="1145"/>
                  </a:cubicBezTo>
                  <a:cubicBezTo>
                    <a:pt x="2358" y="1145"/>
                    <a:pt x="2291" y="1128"/>
                    <a:pt x="2216" y="1068"/>
                  </a:cubicBezTo>
                  <a:cubicBezTo>
                    <a:pt x="2146" y="1015"/>
                    <a:pt x="1898" y="1001"/>
                    <a:pt x="1737" y="991"/>
                  </a:cubicBezTo>
                  <a:cubicBezTo>
                    <a:pt x="1548" y="980"/>
                    <a:pt x="1485" y="973"/>
                    <a:pt x="1450" y="942"/>
                  </a:cubicBezTo>
                  <a:cubicBezTo>
                    <a:pt x="1418" y="931"/>
                    <a:pt x="1387" y="921"/>
                    <a:pt x="1355" y="917"/>
                  </a:cubicBezTo>
                  <a:cubicBezTo>
                    <a:pt x="1236" y="896"/>
                    <a:pt x="1117" y="886"/>
                    <a:pt x="998" y="886"/>
                  </a:cubicBezTo>
                  <a:cubicBezTo>
                    <a:pt x="956" y="886"/>
                    <a:pt x="911" y="886"/>
                    <a:pt x="869" y="889"/>
                  </a:cubicBezTo>
                  <a:lnTo>
                    <a:pt x="830" y="896"/>
                  </a:lnTo>
                  <a:cubicBezTo>
                    <a:pt x="808" y="899"/>
                    <a:pt x="787" y="901"/>
                    <a:pt x="766" y="901"/>
                  </a:cubicBezTo>
                  <a:cubicBezTo>
                    <a:pt x="757" y="901"/>
                    <a:pt x="748" y="901"/>
                    <a:pt x="739" y="900"/>
                  </a:cubicBezTo>
                  <a:cubicBezTo>
                    <a:pt x="666" y="896"/>
                    <a:pt x="595" y="879"/>
                    <a:pt x="529" y="851"/>
                  </a:cubicBezTo>
                  <a:lnTo>
                    <a:pt x="522" y="851"/>
                  </a:lnTo>
                  <a:cubicBezTo>
                    <a:pt x="497" y="837"/>
                    <a:pt x="469" y="830"/>
                    <a:pt x="441" y="830"/>
                  </a:cubicBezTo>
                  <a:lnTo>
                    <a:pt x="434" y="830"/>
                  </a:lnTo>
                  <a:cubicBezTo>
                    <a:pt x="378" y="854"/>
                    <a:pt x="326" y="893"/>
                    <a:pt x="287" y="945"/>
                  </a:cubicBezTo>
                  <a:cubicBezTo>
                    <a:pt x="266" y="963"/>
                    <a:pt x="249" y="987"/>
                    <a:pt x="231" y="1008"/>
                  </a:cubicBezTo>
                  <a:cubicBezTo>
                    <a:pt x="231" y="1047"/>
                    <a:pt x="238" y="1082"/>
                    <a:pt x="249" y="1117"/>
                  </a:cubicBezTo>
                  <a:cubicBezTo>
                    <a:pt x="266" y="1183"/>
                    <a:pt x="280" y="1250"/>
                    <a:pt x="256" y="1295"/>
                  </a:cubicBezTo>
                  <a:lnTo>
                    <a:pt x="252" y="1302"/>
                  </a:lnTo>
                  <a:lnTo>
                    <a:pt x="252" y="1306"/>
                  </a:lnTo>
                  <a:lnTo>
                    <a:pt x="249" y="1309"/>
                  </a:lnTo>
                  <a:lnTo>
                    <a:pt x="245" y="1313"/>
                  </a:lnTo>
                  <a:lnTo>
                    <a:pt x="242" y="1316"/>
                  </a:lnTo>
                  <a:lnTo>
                    <a:pt x="238" y="1320"/>
                  </a:lnTo>
                  <a:lnTo>
                    <a:pt x="235" y="1323"/>
                  </a:lnTo>
                  <a:lnTo>
                    <a:pt x="231" y="1327"/>
                  </a:lnTo>
                  <a:lnTo>
                    <a:pt x="224" y="1330"/>
                  </a:lnTo>
                  <a:lnTo>
                    <a:pt x="217" y="1334"/>
                  </a:lnTo>
                  <a:lnTo>
                    <a:pt x="214" y="1337"/>
                  </a:lnTo>
                  <a:lnTo>
                    <a:pt x="207" y="1344"/>
                  </a:lnTo>
                  <a:lnTo>
                    <a:pt x="196" y="1348"/>
                  </a:lnTo>
                  <a:lnTo>
                    <a:pt x="189" y="1351"/>
                  </a:lnTo>
                  <a:lnTo>
                    <a:pt x="179" y="1358"/>
                  </a:lnTo>
                  <a:lnTo>
                    <a:pt x="172" y="1362"/>
                  </a:lnTo>
                  <a:lnTo>
                    <a:pt x="158" y="1369"/>
                  </a:lnTo>
                  <a:lnTo>
                    <a:pt x="151" y="1373"/>
                  </a:lnTo>
                  <a:lnTo>
                    <a:pt x="77" y="1411"/>
                  </a:lnTo>
                  <a:lnTo>
                    <a:pt x="70" y="1415"/>
                  </a:lnTo>
                  <a:lnTo>
                    <a:pt x="42" y="1429"/>
                  </a:lnTo>
                  <a:lnTo>
                    <a:pt x="35" y="1432"/>
                  </a:lnTo>
                  <a:cubicBezTo>
                    <a:pt x="81" y="1565"/>
                    <a:pt x="91" y="1674"/>
                    <a:pt x="60" y="1758"/>
                  </a:cubicBezTo>
                  <a:cubicBezTo>
                    <a:pt x="0" y="1929"/>
                    <a:pt x="60" y="2349"/>
                    <a:pt x="214" y="2573"/>
                  </a:cubicBezTo>
                  <a:cubicBezTo>
                    <a:pt x="326" y="2734"/>
                    <a:pt x="343" y="2962"/>
                    <a:pt x="361" y="3147"/>
                  </a:cubicBezTo>
                  <a:cubicBezTo>
                    <a:pt x="368" y="3231"/>
                    <a:pt x="375" y="3343"/>
                    <a:pt x="396" y="3364"/>
                  </a:cubicBezTo>
                  <a:cubicBezTo>
                    <a:pt x="419" y="3383"/>
                    <a:pt x="508" y="3396"/>
                    <a:pt x="625" y="3396"/>
                  </a:cubicBezTo>
                  <a:cubicBezTo>
                    <a:pt x="833" y="3396"/>
                    <a:pt x="1131" y="3356"/>
                    <a:pt x="1306" y="3242"/>
                  </a:cubicBezTo>
                  <a:cubicBezTo>
                    <a:pt x="1597" y="3049"/>
                    <a:pt x="1803" y="3011"/>
                    <a:pt x="2045" y="3011"/>
                  </a:cubicBezTo>
                  <a:cubicBezTo>
                    <a:pt x="2241" y="3011"/>
                    <a:pt x="2528" y="2836"/>
                    <a:pt x="2591" y="2748"/>
                  </a:cubicBezTo>
                  <a:cubicBezTo>
                    <a:pt x="2666" y="2648"/>
                    <a:pt x="2896" y="2627"/>
                    <a:pt x="3054" y="2627"/>
                  </a:cubicBezTo>
                  <a:cubicBezTo>
                    <a:pt x="3116" y="2627"/>
                    <a:pt x="3167" y="2630"/>
                    <a:pt x="3193" y="2633"/>
                  </a:cubicBezTo>
                  <a:cubicBezTo>
                    <a:pt x="3198" y="2634"/>
                    <a:pt x="3203" y="2634"/>
                    <a:pt x="3209" y="2634"/>
                  </a:cubicBezTo>
                  <a:cubicBezTo>
                    <a:pt x="3300" y="2634"/>
                    <a:pt x="3410" y="2521"/>
                    <a:pt x="3526" y="2402"/>
                  </a:cubicBezTo>
                  <a:lnTo>
                    <a:pt x="3568" y="2363"/>
                  </a:lnTo>
                  <a:cubicBezTo>
                    <a:pt x="3680" y="2248"/>
                    <a:pt x="3932" y="2185"/>
                    <a:pt x="4250" y="2104"/>
                  </a:cubicBezTo>
                  <a:cubicBezTo>
                    <a:pt x="4401" y="2062"/>
                    <a:pt x="4576" y="2020"/>
                    <a:pt x="4751" y="1964"/>
                  </a:cubicBezTo>
                  <a:cubicBezTo>
                    <a:pt x="5087" y="1859"/>
                    <a:pt x="5126" y="1730"/>
                    <a:pt x="5164" y="1604"/>
                  </a:cubicBezTo>
                  <a:cubicBezTo>
                    <a:pt x="5178" y="1544"/>
                    <a:pt x="5206" y="1485"/>
                    <a:pt x="5245" y="1436"/>
                  </a:cubicBezTo>
                  <a:cubicBezTo>
                    <a:pt x="5322" y="1344"/>
                    <a:pt x="5413" y="1323"/>
                    <a:pt x="5521" y="1306"/>
                  </a:cubicBezTo>
                  <a:cubicBezTo>
                    <a:pt x="5570" y="1295"/>
                    <a:pt x="5623" y="1281"/>
                    <a:pt x="5672" y="1267"/>
                  </a:cubicBezTo>
                  <a:lnTo>
                    <a:pt x="5668" y="1260"/>
                  </a:lnTo>
                  <a:lnTo>
                    <a:pt x="5640" y="1204"/>
                  </a:lnTo>
                  <a:lnTo>
                    <a:pt x="5630" y="1176"/>
                  </a:lnTo>
                  <a:lnTo>
                    <a:pt x="5598" y="1120"/>
                  </a:lnTo>
                  <a:lnTo>
                    <a:pt x="5588" y="1092"/>
                  </a:lnTo>
                  <a:lnTo>
                    <a:pt x="5560" y="1040"/>
                  </a:lnTo>
                  <a:lnTo>
                    <a:pt x="5542" y="1001"/>
                  </a:lnTo>
                  <a:lnTo>
                    <a:pt x="5514" y="945"/>
                  </a:lnTo>
                  <a:lnTo>
                    <a:pt x="5507" y="928"/>
                  </a:lnTo>
                  <a:cubicBezTo>
                    <a:pt x="5346" y="595"/>
                    <a:pt x="5182" y="259"/>
                    <a:pt x="5059"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055" name="Google Shape;6055;p104"/>
            <p:cNvSpPr/>
            <p:nvPr/>
          </p:nvSpPr>
          <p:spPr>
            <a:xfrm>
              <a:off x="2379743" y="1913221"/>
              <a:ext cx="5146" cy="1018"/>
            </a:xfrm>
            <a:custGeom>
              <a:avLst/>
              <a:gdLst/>
              <a:ahLst/>
              <a:cxnLst/>
              <a:rect l="l" t="t" r="r" b="b"/>
              <a:pathLst>
                <a:path w="379" h="75" extrusionOk="0">
                  <a:moveTo>
                    <a:pt x="378" y="74"/>
                  </a:moveTo>
                  <a:cubicBezTo>
                    <a:pt x="193" y="60"/>
                    <a:pt x="130" y="57"/>
                    <a:pt x="95" y="25"/>
                  </a:cubicBezTo>
                  <a:cubicBezTo>
                    <a:pt x="63" y="11"/>
                    <a:pt x="32" y="4"/>
                    <a:pt x="0" y="1"/>
                  </a:cubicBezTo>
                  <a:cubicBezTo>
                    <a:pt x="32" y="4"/>
                    <a:pt x="63" y="11"/>
                    <a:pt x="95" y="25"/>
                  </a:cubicBezTo>
                  <a:cubicBezTo>
                    <a:pt x="130" y="57"/>
                    <a:pt x="193" y="60"/>
                    <a:pt x="378" y="74"/>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056" name="Google Shape;6056;p104"/>
            <p:cNvSpPr/>
            <p:nvPr/>
          </p:nvSpPr>
          <p:spPr>
            <a:xfrm>
              <a:off x="2364237" y="1918829"/>
              <a:ext cx="109" cy="68"/>
            </a:xfrm>
            <a:custGeom>
              <a:avLst/>
              <a:gdLst/>
              <a:ahLst/>
              <a:cxnLst/>
              <a:rect l="l" t="t" r="r" b="b"/>
              <a:pathLst>
                <a:path w="8" h="5" extrusionOk="0">
                  <a:moveTo>
                    <a:pt x="1" y="4"/>
                  </a:moveTo>
                  <a:lnTo>
                    <a:pt x="8"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057" name="Google Shape;6057;p104"/>
            <p:cNvSpPr/>
            <p:nvPr/>
          </p:nvSpPr>
          <p:spPr>
            <a:xfrm>
              <a:off x="2364713" y="1918503"/>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058" name="Google Shape;6058;p104"/>
            <p:cNvSpPr/>
            <p:nvPr/>
          </p:nvSpPr>
          <p:spPr>
            <a:xfrm>
              <a:off x="2364102" y="1918978"/>
              <a:ext cx="109" cy="54"/>
            </a:xfrm>
            <a:custGeom>
              <a:avLst/>
              <a:gdLst/>
              <a:ahLst/>
              <a:cxnLst/>
              <a:rect l="l" t="t" r="r" b="b"/>
              <a:pathLst>
                <a:path w="8" h="4" extrusionOk="0">
                  <a:moveTo>
                    <a:pt x="0" y="4"/>
                  </a:moveTo>
                  <a:lnTo>
                    <a:pt x="7"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059" name="Google Shape;6059;p104"/>
            <p:cNvSpPr/>
            <p:nvPr/>
          </p:nvSpPr>
          <p:spPr>
            <a:xfrm>
              <a:off x="2364672" y="1918544"/>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060" name="Google Shape;6060;p104"/>
            <p:cNvSpPr/>
            <p:nvPr/>
          </p:nvSpPr>
          <p:spPr>
            <a:xfrm>
              <a:off x="2364523" y="1918693"/>
              <a:ext cx="14" cy="14"/>
            </a:xfrm>
            <a:custGeom>
              <a:avLst/>
              <a:gdLst/>
              <a:ahLst/>
              <a:cxnLst/>
              <a:rect l="l" t="t" r="r" b="b"/>
              <a:pathLst>
                <a:path w="1" h="1" extrusionOk="0">
                  <a:moveTo>
                    <a:pt x="1"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061" name="Google Shape;6061;p104"/>
            <p:cNvSpPr/>
            <p:nvPr/>
          </p:nvSpPr>
          <p:spPr>
            <a:xfrm>
              <a:off x="2364387" y="1918734"/>
              <a:ext cx="54" cy="68"/>
            </a:xfrm>
            <a:custGeom>
              <a:avLst/>
              <a:gdLst/>
              <a:ahLst/>
              <a:cxnLst/>
              <a:rect l="l" t="t" r="r" b="b"/>
              <a:pathLst>
                <a:path w="4" h="5" extrusionOk="0">
                  <a:moveTo>
                    <a:pt x="0" y="4"/>
                  </a:moveTo>
                  <a:lnTo>
                    <a:pt x="4"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062" name="Google Shape;6062;p104"/>
            <p:cNvSpPr/>
            <p:nvPr/>
          </p:nvSpPr>
          <p:spPr>
            <a:xfrm>
              <a:off x="2363857" y="1919073"/>
              <a:ext cx="163" cy="54"/>
            </a:xfrm>
            <a:custGeom>
              <a:avLst/>
              <a:gdLst/>
              <a:ahLst/>
              <a:cxnLst/>
              <a:rect l="l" t="t" r="r" b="b"/>
              <a:pathLst>
                <a:path w="12" h="4" extrusionOk="0">
                  <a:moveTo>
                    <a:pt x="1" y="4"/>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063" name="Google Shape;6063;p104"/>
            <p:cNvSpPr/>
            <p:nvPr/>
          </p:nvSpPr>
          <p:spPr>
            <a:xfrm>
              <a:off x="2363341" y="1919358"/>
              <a:ext cx="204" cy="109"/>
            </a:xfrm>
            <a:custGeom>
              <a:avLst/>
              <a:gdLst/>
              <a:ahLst/>
              <a:cxnLst/>
              <a:rect l="l" t="t" r="r" b="b"/>
              <a:pathLst>
                <a:path w="15" h="8" extrusionOk="0">
                  <a:moveTo>
                    <a:pt x="0" y="8"/>
                  </a:moveTo>
                  <a:lnTo>
                    <a:pt x="14"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064" name="Google Shape;6064;p104"/>
            <p:cNvSpPr/>
            <p:nvPr/>
          </p:nvSpPr>
          <p:spPr>
            <a:xfrm>
              <a:off x="2362242" y="1919508"/>
              <a:ext cx="1018" cy="530"/>
            </a:xfrm>
            <a:custGeom>
              <a:avLst/>
              <a:gdLst/>
              <a:ahLst/>
              <a:cxnLst/>
              <a:rect l="l" t="t" r="r" b="b"/>
              <a:pathLst>
                <a:path w="75" h="39" extrusionOk="0">
                  <a:moveTo>
                    <a:pt x="74" y="0"/>
                  </a:moveTo>
                  <a:cubicBezTo>
                    <a:pt x="65" y="5"/>
                    <a:pt x="56" y="10"/>
                    <a:pt x="45" y="15"/>
                  </a:cubicBezTo>
                  <a:lnTo>
                    <a:pt x="45" y="15"/>
                  </a:lnTo>
                  <a:lnTo>
                    <a:pt x="74" y="0"/>
                  </a:lnTo>
                  <a:close/>
                  <a:moveTo>
                    <a:pt x="45" y="15"/>
                  </a:moveTo>
                  <a:lnTo>
                    <a:pt x="1" y="39"/>
                  </a:lnTo>
                  <a:cubicBezTo>
                    <a:pt x="17" y="31"/>
                    <a:pt x="32" y="23"/>
                    <a:pt x="45" y="15"/>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065" name="Google Shape;6065;p104"/>
            <p:cNvSpPr/>
            <p:nvPr/>
          </p:nvSpPr>
          <p:spPr>
            <a:xfrm>
              <a:off x="2363626" y="1919209"/>
              <a:ext cx="149" cy="68"/>
            </a:xfrm>
            <a:custGeom>
              <a:avLst/>
              <a:gdLst/>
              <a:ahLst/>
              <a:cxnLst/>
              <a:rect l="l" t="t" r="r" b="b"/>
              <a:pathLst>
                <a:path w="11" h="5" extrusionOk="0">
                  <a:moveTo>
                    <a:pt x="0" y="5"/>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066" name="Google Shape;6066;p104"/>
            <p:cNvSpPr/>
            <p:nvPr/>
          </p:nvSpPr>
          <p:spPr>
            <a:xfrm>
              <a:off x="2361766" y="1920024"/>
              <a:ext cx="394" cy="204"/>
            </a:xfrm>
            <a:custGeom>
              <a:avLst/>
              <a:gdLst/>
              <a:ahLst/>
              <a:cxnLst/>
              <a:rect l="l" t="t" r="r" b="b"/>
              <a:pathLst>
                <a:path w="29" h="15" extrusionOk="0">
                  <a:moveTo>
                    <a:pt x="1" y="15"/>
                  </a:moveTo>
                  <a:lnTo>
                    <a:pt x="29"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067" name="Google Shape;6067;p104"/>
            <p:cNvSpPr/>
            <p:nvPr/>
          </p:nvSpPr>
          <p:spPr>
            <a:xfrm>
              <a:off x="2423463" y="1902672"/>
              <a:ext cx="163" cy="14"/>
            </a:xfrm>
            <a:custGeom>
              <a:avLst/>
              <a:gdLst/>
              <a:ahLst/>
              <a:cxnLst/>
              <a:rect l="l" t="t" r="r" b="b"/>
              <a:pathLst>
                <a:path w="12" h="1" extrusionOk="0">
                  <a:moveTo>
                    <a:pt x="1" y="1"/>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068" name="Google Shape;6068;p104"/>
            <p:cNvSpPr/>
            <p:nvPr/>
          </p:nvSpPr>
          <p:spPr>
            <a:xfrm>
              <a:off x="2367333" y="1912040"/>
              <a:ext cx="1100" cy="244"/>
            </a:xfrm>
            <a:custGeom>
              <a:avLst/>
              <a:gdLst/>
              <a:ahLst/>
              <a:cxnLst/>
              <a:rect l="l" t="t" r="r" b="b"/>
              <a:pathLst>
                <a:path w="81" h="18" extrusionOk="0">
                  <a:moveTo>
                    <a:pt x="81" y="18"/>
                  </a:moveTo>
                  <a:cubicBezTo>
                    <a:pt x="56" y="7"/>
                    <a:pt x="28" y="0"/>
                    <a:pt x="0" y="0"/>
                  </a:cubicBezTo>
                  <a:cubicBezTo>
                    <a:pt x="28" y="0"/>
                    <a:pt x="56" y="7"/>
                    <a:pt x="81" y="18"/>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069" name="Google Shape;6069;p104"/>
            <p:cNvSpPr/>
            <p:nvPr/>
          </p:nvSpPr>
          <p:spPr>
            <a:xfrm>
              <a:off x="2364618" y="1918598"/>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070" name="Google Shape;6070;p104"/>
            <p:cNvSpPr/>
            <p:nvPr/>
          </p:nvSpPr>
          <p:spPr>
            <a:xfrm>
              <a:off x="2364767" y="1918408"/>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071" name="Google Shape;6071;p104"/>
            <p:cNvSpPr/>
            <p:nvPr/>
          </p:nvSpPr>
          <p:spPr>
            <a:xfrm>
              <a:off x="2414298" y="1903201"/>
              <a:ext cx="3286" cy="54"/>
            </a:xfrm>
            <a:custGeom>
              <a:avLst/>
              <a:gdLst/>
              <a:ahLst/>
              <a:cxnLst/>
              <a:rect l="l" t="t" r="r" b="b"/>
              <a:pathLst>
                <a:path w="242" h="4" extrusionOk="0">
                  <a:moveTo>
                    <a:pt x="0" y="4"/>
                  </a:moveTo>
                  <a:cubicBezTo>
                    <a:pt x="81" y="4"/>
                    <a:pt x="161" y="4"/>
                    <a:pt x="242" y="0"/>
                  </a:cubicBezTo>
                  <a:cubicBezTo>
                    <a:pt x="161" y="4"/>
                    <a:pt x="81" y="4"/>
                    <a:pt x="0" y="4"/>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072" name="Google Shape;6072;p104"/>
            <p:cNvSpPr/>
            <p:nvPr/>
          </p:nvSpPr>
          <p:spPr>
            <a:xfrm>
              <a:off x="2373131" y="1912746"/>
              <a:ext cx="1779" cy="109"/>
            </a:xfrm>
            <a:custGeom>
              <a:avLst/>
              <a:gdLst/>
              <a:ahLst/>
              <a:cxnLst/>
              <a:rect l="l" t="t" r="r" b="b"/>
              <a:pathLst>
                <a:path w="131" h="8" extrusionOk="0">
                  <a:moveTo>
                    <a:pt x="1" y="8"/>
                  </a:moveTo>
                  <a:cubicBezTo>
                    <a:pt x="43" y="4"/>
                    <a:pt x="88" y="1"/>
                    <a:pt x="130" y="4"/>
                  </a:cubicBezTo>
                  <a:cubicBezTo>
                    <a:pt x="88" y="1"/>
                    <a:pt x="43" y="4"/>
                    <a:pt x="1" y="8"/>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073" name="Google Shape;6073;p104"/>
            <p:cNvSpPr/>
            <p:nvPr/>
          </p:nvSpPr>
          <p:spPr>
            <a:xfrm>
              <a:off x="2437773" y="1917172"/>
              <a:ext cx="394" cy="774"/>
            </a:xfrm>
            <a:custGeom>
              <a:avLst/>
              <a:gdLst/>
              <a:ahLst/>
              <a:cxnLst/>
              <a:rect l="l" t="t" r="r" b="b"/>
              <a:pathLst>
                <a:path w="29" h="57" extrusionOk="0">
                  <a:moveTo>
                    <a:pt x="1" y="0"/>
                  </a:moveTo>
                  <a:lnTo>
                    <a:pt x="29" y="56"/>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074" name="Google Shape;6074;p104"/>
            <p:cNvSpPr/>
            <p:nvPr/>
          </p:nvSpPr>
          <p:spPr>
            <a:xfrm>
              <a:off x="2437203" y="1916032"/>
              <a:ext cx="448" cy="774"/>
            </a:xfrm>
            <a:custGeom>
              <a:avLst/>
              <a:gdLst/>
              <a:ahLst/>
              <a:cxnLst/>
              <a:rect l="l" t="t" r="r" b="b"/>
              <a:pathLst>
                <a:path w="33" h="57" extrusionOk="0">
                  <a:moveTo>
                    <a:pt x="1" y="0"/>
                  </a:moveTo>
                  <a:lnTo>
                    <a:pt x="32" y="56"/>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075" name="Google Shape;6075;p104"/>
            <p:cNvSpPr/>
            <p:nvPr/>
          </p:nvSpPr>
          <p:spPr>
            <a:xfrm>
              <a:off x="2436062" y="1913656"/>
              <a:ext cx="394" cy="774"/>
            </a:xfrm>
            <a:custGeom>
              <a:avLst/>
              <a:gdLst/>
              <a:ahLst/>
              <a:cxnLst/>
              <a:rect l="l" t="t" r="r" b="b"/>
              <a:pathLst>
                <a:path w="29" h="57" extrusionOk="0">
                  <a:moveTo>
                    <a:pt x="1" y="0"/>
                  </a:moveTo>
                  <a:lnTo>
                    <a:pt x="29" y="56"/>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076" name="Google Shape;6076;p104"/>
            <p:cNvSpPr/>
            <p:nvPr/>
          </p:nvSpPr>
          <p:spPr>
            <a:xfrm>
              <a:off x="2436687" y="1914932"/>
              <a:ext cx="394" cy="733"/>
            </a:xfrm>
            <a:custGeom>
              <a:avLst/>
              <a:gdLst/>
              <a:ahLst/>
              <a:cxnLst/>
              <a:rect l="l" t="t" r="r" b="b"/>
              <a:pathLst>
                <a:path w="29" h="54" extrusionOk="0">
                  <a:moveTo>
                    <a:pt x="0" y="1"/>
                  </a:moveTo>
                  <a:lnTo>
                    <a:pt x="28" y="53"/>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077" name="Google Shape;6077;p104"/>
            <p:cNvSpPr/>
            <p:nvPr/>
          </p:nvSpPr>
          <p:spPr>
            <a:xfrm>
              <a:off x="2429885" y="1900825"/>
              <a:ext cx="6096" cy="12600"/>
            </a:xfrm>
            <a:custGeom>
              <a:avLst/>
              <a:gdLst/>
              <a:ahLst/>
              <a:cxnLst/>
              <a:rect l="l" t="t" r="r" b="b"/>
              <a:pathLst>
                <a:path w="449" h="928" extrusionOk="0">
                  <a:moveTo>
                    <a:pt x="1" y="0"/>
                  </a:moveTo>
                  <a:lnTo>
                    <a:pt x="1" y="0"/>
                  </a:lnTo>
                  <a:cubicBezTo>
                    <a:pt x="123" y="259"/>
                    <a:pt x="288" y="595"/>
                    <a:pt x="449" y="928"/>
                  </a:cubicBezTo>
                  <a:cubicBezTo>
                    <a:pt x="288" y="595"/>
                    <a:pt x="123" y="259"/>
                    <a:pt x="1"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078" name="Google Shape;6078;p104"/>
            <p:cNvSpPr/>
            <p:nvPr/>
          </p:nvSpPr>
          <p:spPr>
            <a:xfrm>
              <a:off x="3053662" y="2325828"/>
              <a:ext cx="6762" cy="1426"/>
            </a:xfrm>
            <a:custGeom>
              <a:avLst/>
              <a:gdLst/>
              <a:ahLst/>
              <a:cxnLst/>
              <a:rect l="l" t="t" r="r" b="b"/>
              <a:pathLst>
                <a:path w="498" h="105" extrusionOk="0">
                  <a:moveTo>
                    <a:pt x="425" y="0"/>
                  </a:moveTo>
                  <a:cubicBezTo>
                    <a:pt x="299" y="0"/>
                    <a:pt x="91" y="34"/>
                    <a:pt x="0" y="76"/>
                  </a:cubicBezTo>
                  <a:cubicBezTo>
                    <a:pt x="60" y="94"/>
                    <a:pt x="123" y="104"/>
                    <a:pt x="185" y="104"/>
                  </a:cubicBezTo>
                  <a:cubicBezTo>
                    <a:pt x="232" y="104"/>
                    <a:pt x="279" y="99"/>
                    <a:pt x="326" y="87"/>
                  </a:cubicBezTo>
                  <a:cubicBezTo>
                    <a:pt x="389" y="80"/>
                    <a:pt x="448" y="52"/>
                    <a:pt x="497" y="6"/>
                  </a:cubicBezTo>
                  <a:cubicBezTo>
                    <a:pt x="479" y="2"/>
                    <a:pt x="454" y="0"/>
                    <a:pt x="425"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079" name="Google Shape;6079;p104"/>
            <p:cNvSpPr/>
            <p:nvPr/>
          </p:nvSpPr>
          <p:spPr>
            <a:xfrm>
              <a:off x="2878838" y="2126931"/>
              <a:ext cx="301597" cy="226799"/>
            </a:xfrm>
            <a:custGeom>
              <a:avLst/>
              <a:gdLst/>
              <a:ahLst/>
              <a:cxnLst/>
              <a:rect l="l" t="t" r="r" b="b"/>
              <a:pathLst>
                <a:path w="22213" h="16704" extrusionOk="0">
                  <a:moveTo>
                    <a:pt x="16170" y="1"/>
                  </a:moveTo>
                  <a:cubicBezTo>
                    <a:pt x="16125" y="22"/>
                    <a:pt x="16086" y="57"/>
                    <a:pt x="16055" y="95"/>
                  </a:cubicBezTo>
                  <a:cubicBezTo>
                    <a:pt x="15974" y="183"/>
                    <a:pt x="15918" y="288"/>
                    <a:pt x="15922" y="340"/>
                  </a:cubicBezTo>
                  <a:cubicBezTo>
                    <a:pt x="15936" y="501"/>
                    <a:pt x="15901" y="715"/>
                    <a:pt x="15768" y="834"/>
                  </a:cubicBezTo>
                  <a:cubicBezTo>
                    <a:pt x="15743" y="855"/>
                    <a:pt x="15757" y="963"/>
                    <a:pt x="15764" y="1040"/>
                  </a:cubicBezTo>
                  <a:cubicBezTo>
                    <a:pt x="15782" y="1180"/>
                    <a:pt x="15799" y="1345"/>
                    <a:pt x="15694" y="1440"/>
                  </a:cubicBezTo>
                  <a:cubicBezTo>
                    <a:pt x="15628" y="1499"/>
                    <a:pt x="15645" y="1744"/>
                    <a:pt x="15663" y="1944"/>
                  </a:cubicBezTo>
                  <a:cubicBezTo>
                    <a:pt x="15677" y="2084"/>
                    <a:pt x="15677" y="2227"/>
                    <a:pt x="15670" y="2367"/>
                  </a:cubicBezTo>
                  <a:cubicBezTo>
                    <a:pt x="15659" y="2437"/>
                    <a:pt x="15656" y="2507"/>
                    <a:pt x="15649" y="2577"/>
                  </a:cubicBezTo>
                  <a:cubicBezTo>
                    <a:pt x="15631" y="2815"/>
                    <a:pt x="15610" y="3060"/>
                    <a:pt x="15488" y="3235"/>
                  </a:cubicBezTo>
                  <a:cubicBezTo>
                    <a:pt x="15442" y="3302"/>
                    <a:pt x="15407" y="3375"/>
                    <a:pt x="15376" y="3449"/>
                  </a:cubicBezTo>
                  <a:cubicBezTo>
                    <a:pt x="15302" y="3621"/>
                    <a:pt x="15218" y="3817"/>
                    <a:pt x="14994" y="3901"/>
                  </a:cubicBezTo>
                  <a:cubicBezTo>
                    <a:pt x="14935" y="3923"/>
                    <a:pt x="14872" y="3933"/>
                    <a:pt x="14809" y="3933"/>
                  </a:cubicBezTo>
                  <a:cubicBezTo>
                    <a:pt x="14649" y="3933"/>
                    <a:pt x="14487" y="3869"/>
                    <a:pt x="14381" y="3789"/>
                  </a:cubicBezTo>
                  <a:cubicBezTo>
                    <a:pt x="14283" y="3715"/>
                    <a:pt x="14234" y="3635"/>
                    <a:pt x="14241" y="3554"/>
                  </a:cubicBezTo>
                  <a:cubicBezTo>
                    <a:pt x="14238" y="3533"/>
                    <a:pt x="14227" y="3512"/>
                    <a:pt x="14210" y="3498"/>
                  </a:cubicBezTo>
                  <a:cubicBezTo>
                    <a:pt x="14142" y="3433"/>
                    <a:pt x="13993" y="3393"/>
                    <a:pt x="13883" y="3393"/>
                  </a:cubicBezTo>
                  <a:cubicBezTo>
                    <a:pt x="13863" y="3393"/>
                    <a:pt x="13845" y="3394"/>
                    <a:pt x="13828" y="3397"/>
                  </a:cubicBezTo>
                  <a:cubicBezTo>
                    <a:pt x="13818" y="3398"/>
                    <a:pt x="13808" y="3398"/>
                    <a:pt x="13799" y="3398"/>
                  </a:cubicBezTo>
                  <a:cubicBezTo>
                    <a:pt x="13678" y="3398"/>
                    <a:pt x="13589" y="3300"/>
                    <a:pt x="13489" y="3190"/>
                  </a:cubicBezTo>
                  <a:cubicBezTo>
                    <a:pt x="13415" y="3106"/>
                    <a:pt x="13335" y="3025"/>
                    <a:pt x="13247" y="2955"/>
                  </a:cubicBezTo>
                  <a:cubicBezTo>
                    <a:pt x="13166" y="2895"/>
                    <a:pt x="13094" y="2881"/>
                    <a:pt x="13026" y="2881"/>
                  </a:cubicBezTo>
                  <a:cubicBezTo>
                    <a:pt x="13000" y="2881"/>
                    <a:pt x="12975" y="2883"/>
                    <a:pt x="12950" y="2885"/>
                  </a:cubicBezTo>
                  <a:cubicBezTo>
                    <a:pt x="12928" y="2888"/>
                    <a:pt x="12904" y="2890"/>
                    <a:pt x="12880" y="2890"/>
                  </a:cubicBezTo>
                  <a:cubicBezTo>
                    <a:pt x="12798" y="2890"/>
                    <a:pt x="12712" y="2864"/>
                    <a:pt x="12666" y="2731"/>
                  </a:cubicBezTo>
                  <a:cubicBezTo>
                    <a:pt x="12596" y="2535"/>
                    <a:pt x="12537" y="2493"/>
                    <a:pt x="12383" y="2392"/>
                  </a:cubicBezTo>
                  <a:lnTo>
                    <a:pt x="12326" y="2353"/>
                  </a:lnTo>
                  <a:cubicBezTo>
                    <a:pt x="12239" y="2294"/>
                    <a:pt x="12179" y="2245"/>
                    <a:pt x="12179" y="2178"/>
                  </a:cubicBezTo>
                  <a:cubicBezTo>
                    <a:pt x="12179" y="2108"/>
                    <a:pt x="12232" y="2077"/>
                    <a:pt x="12312" y="2024"/>
                  </a:cubicBezTo>
                  <a:cubicBezTo>
                    <a:pt x="12330" y="2010"/>
                    <a:pt x="12351" y="1996"/>
                    <a:pt x="12376" y="1979"/>
                  </a:cubicBezTo>
                  <a:cubicBezTo>
                    <a:pt x="12460" y="1916"/>
                    <a:pt x="12540" y="1818"/>
                    <a:pt x="12407" y="1604"/>
                  </a:cubicBezTo>
                  <a:cubicBezTo>
                    <a:pt x="12379" y="1562"/>
                    <a:pt x="12369" y="1510"/>
                    <a:pt x="12383" y="1461"/>
                  </a:cubicBezTo>
                  <a:cubicBezTo>
                    <a:pt x="12404" y="1398"/>
                    <a:pt x="12477" y="1373"/>
                    <a:pt x="12565" y="1345"/>
                  </a:cubicBezTo>
                  <a:cubicBezTo>
                    <a:pt x="12638" y="1324"/>
                    <a:pt x="12712" y="1296"/>
                    <a:pt x="12782" y="1257"/>
                  </a:cubicBezTo>
                  <a:cubicBezTo>
                    <a:pt x="12876" y="1208"/>
                    <a:pt x="12869" y="1170"/>
                    <a:pt x="12862" y="1103"/>
                  </a:cubicBezTo>
                  <a:cubicBezTo>
                    <a:pt x="12852" y="1037"/>
                    <a:pt x="12841" y="942"/>
                    <a:pt x="12971" y="890"/>
                  </a:cubicBezTo>
                  <a:cubicBezTo>
                    <a:pt x="13006" y="879"/>
                    <a:pt x="13027" y="862"/>
                    <a:pt x="13023" y="848"/>
                  </a:cubicBezTo>
                  <a:cubicBezTo>
                    <a:pt x="13020" y="820"/>
                    <a:pt x="12964" y="767"/>
                    <a:pt x="12862" y="746"/>
                  </a:cubicBezTo>
                  <a:cubicBezTo>
                    <a:pt x="12852" y="744"/>
                    <a:pt x="12843" y="743"/>
                    <a:pt x="12835" y="743"/>
                  </a:cubicBezTo>
                  <a:cubicBezTo>
                    <a:pt x="12805" y="743"/>
                    <a:pt x="12795" y="763"/>
                    <a:pt x="12778" y="830"/>
                  </a:cubicBezTo>
                  <a:cubicBezTo>
                    <a:pt x="12764" y="879"/>
                    <a:pt x="12750" y="942"/>
                    <a:pt x="12691" y="963"/>
                  </a:cubicBezTo>
                  <a:cubicBezTo>
                    <a:pt x="12680" y="967"/>
                    <a:pt x="12669" y="969"/>
                    <a:pt x="12659" y="969"/>
                  </a:cubicBezTo>
                  <a:cubicBezTo>
                    <a:pt x="12584" y="969"/>
                    <a:pt x="12538" y="870"/>
                    <a:pt x="12495" y="771"/>
                  </a:cubicBezTo>
                  <a:cubicBezTo>
                    <a:pt x="12484" y="746"/>
                    <a:pt x="12470" y="715"/>
                    <a:pt x="12456" y="690"/>
                  </a:cubicBezTo>
                  <a:lnTo>
                    <a:pt x="12421" y="725"/>
                  </a:lnTo>
                  <a:cubicBezTo>
                    <a:pt x="12346" y="794"/>
                    <a:pt x="12242" y="888"/>
                    <a:pt x="12141" y="888"/>
                  </a:cubicBezTo>
                  <a:cubicBezTo>
                    <a:pt x="12134" y="888"/>
                    <a:pt x="12127" y="887"/>
                    <a:pt x="12120" y="886"/>
                  </a:cubicBezTo>
                  <a:cubicBezTo>
                    <a:pt x="12071" y="883"/>
                    <a:pt x="12029" y="858"/>
                    <a:pt x="12001" y="820"/>
                  </a:cubicBezTo>
                  <a:cubicBezTo>
                    <a:pt x="11910" y="701"/>
                    <a:pt x="11336" y="564"/>
                    <a:pt x="10975" y="515"/>
                  </a:cubicBezTo>
                  <a:cubicBezTo>
                    <a:pt x="10814" y="494"/>
                    <a:pt x="10716" y="386"/>
                    <a:pt x="10636" y="298"/>
                  </a:cubicBezTo>
                  <a:cubicBezTo>
                    <a:pt x="10576" y="232"/>
                    <a:pt x="10541" y="197"/>
                    <a:pt x="10513" y="197"/>
                  </a:cubicBezTo>
                  <a:cubicBezTo>
                    <a:pt x="10508" y="197"/>
                    <a:pt x="10504" y="198"/>
                    <a:pt x="10499" y="200"/>
                  </a:cubicBezTo>
                  <a:lnTo>
                    <a:pt x="10485" y="204"/>
                  </a:lnTo>
                  <a:cubicBezTo>
                    <a:pt x="10520" y="249"/>
                    <a:pt x="10559" y="291"/>
                    <a:pt x="10601" y="330"/>
                  </a:cubicBezTo>
                  <a:cubicBezTo>
                    <a:pt x="10639" y="368"/>
                    <a:pt x="10685" y="410"/>
                    <a:pt x="10730" y="456"/>
                  </a:cubicBezTo>
                  <a:cubicBezTo>
                    <a:pt x="10779" y="501"/>
                    <a:pt x="10790" y="575"/>
                    <a:pt x="10751" y="631"/>
                  </a:cubicBezTo>
                  <a:cubicBezTo>
                    <a:pt x="10664" y="771"/>
                    <a:pt x="10290" y="843"/>
                    <a:pt x="10029" y="843"/>
                  </a:cubicBezTo>
                  <a:cubicBezTo>
                    <a:pt x="9944" y="843"/>
                    <a:pt x="9871" y="835"/>
                    <a:pt x="9823" y="820"/>
                  </a:cubicBezTo>
                  <a:lnTo>
                    <a:pt x="9820" y="820"/>
                  </a:lnTo>
                  <a:cubicBezTo>
                    <a:pt x="9834" y="862"/>
                    <a:pt x="9830" y="907"/>
                    <a:pt x="9806" y="942"/>
                  </a:cubicBezTo>
                  <a:cubicBezTo>
                    <a:pt x="9777" y="969"/>
                    <a:pt x="9740" y="983"/>
                    <a:pt x="9705" y="983"/>
                  </a:cubicBezTo>
                  <a:cubicBezTo>
                    <a:pt x="9698" y="983"/>
                    <a:pt x="9690" y="982"/>
                    <a:pt x="9683" y="981"/>
                  </a:cubicBezTo>
                  <a:cubicBezTo>
                    <a:pt x="9682" y="981"/>
                    <a:pt x="9680" y="981"/>
                    <a:pt x="9679" y="981"/>
                  </a:cubicBezTo>
                  <a:cubicBezTo>
                    <a:pt x="9608" y="981"/>
                    <a:pt x="9566" y="1064"/>
                    <a:pt x="9501" y="1201"/>
                  </a:cubicBezTo>
                  <a:cubicBezTo>
                    <a:pt x="9463" y="1292"/>
                    <a:pt x="9410" y="1380"/>
                    <a:pt x="9347" y="1457"/>
                  </a:cubicBezTo>
                  <a:cubicBezTo>
                    <a:pt x="9298" y="1510"/>
                    <a:pt x="9267" y="1573"/>
                    <a:pt x="9260" y="1643"/>
                  </a:cubicBezTo>
                  <a:cubicBezTo>
                    <a:pt x="9249" y="1734"/>
                    <a:pt x="9193" y="1821"/>
                    <a:pt x="9113" y="1870"/>
                  </a:cubicBezTo>
                  <a:cubicBezTo>
                    <a:pt x="9032" y="1923"/>
                    <a:pt x="9018" y="1958"/>
                    <a:pt x="9015" y="1982"/>
                  </a:cubicBezTo>
                  <a:cubicBezTo>
                    <a:pt x="9008" y="2038"/>
                    <a:pt x="9053" y="2122"/>
                    <a:pt x="9151" y="2231"/>
                  </a:cubicBezTo>
                  <a:cubicBezTo>
                    <a:pt x="9284" y="2381"/>
                    <a:pt x="9232" y="2462"/>
                    <a:pt x="9200" y="2490"/>
                  </a:cubicBezTo>
                  <a:cubicBezTo>
                    <a:pt x="9172" y="2516"/>
                    <a:pt x="9132" y="2528"/>
                    <a:pt x="9087" y="2528"/>
                  </a:cubicBezTo>
                  <a:cubicBezTo>
                    <a:pt x="8991" y="2528"/>
                    <a:pt x="8869" y="2474"/>
                    <a:pt x="8777" y="2381"/>
                  </a:cubicBezTo>
                  <a:cubicBezTo>
                    <a:pt x="8692" y="2296"/>
                    <a:pt x="8623" y="2269"/>
                    <a:pt x="8585" y="2269"/>
                  </a:cubicBezTo>
                  <a:cubicBezTo>
                    <a:pt x="8576" y="2269"/>
                    <a:pt x="8568" y="2270"/>
                    <a:pt x="8563" y="2273"/>
                  </a:cubicBezTo>
                  <a:cubicBezTo>
                    <a:pt x="8546" y="2280"/>
                    <a:pt x="8535" y="2311"/>
                    <a:pt x="8539" y="2357"/>
                  </a:cubicBezTo>
                  <a:cubicBezTo>
                    <a:pt x="8542" y="2465"/>
                    <a:pt x="8497" y="2507"/>
                    <a:pt x="8469" y="2525"/>
                  </a:cubicBezTo>
                  <a:cubicBezTo>
                    <a:pt x="8448" y="2534"/>
                    <a:pt x="8427" y="2538"/>
                    <a:pt x="8405" y="2538"/>
                  </a:cubicBezTo>
                  <a:cubicBezTo>
                    <a:pt x="8375" y="2538"/>
                    <a:pt x="8346" y="2529"/>
                    <a:pt x="8322" y="2511"/>
                  </a:cubicBezTo>
                  <a:cubicBezTo>
                    <a:pt x="8262" y="2469"/>
                    <a:pt x="8202" y="2371"/>
                    <a:pt x="8224" y="2227"/>
                  </a:cubicBezTo>
                  <a:cubicBezTo>
                    <a:pt x="8234" y="2164"/>
                    <a:pt x="8224" y="2154"/>
                    <a:pt x="8118" y="2133"/>
                  </a:cubicBezTo>
                  <a:cubicBezTo>
                    <a:pt x="8048" y="2115"/>
                    <a:pt x="7957" y="2098"/>
                    <a:pt x="7926" y="2007"/>
                  </a:cubicBezTo>
                  <a:cubicBezTo>
                    <a:pt x="7881" y="1890"/>
                    <a:pt x="7658" y="1709"/>
                    <a:pt x="7537" y="1709"/>
                  </a:cubicBezTo>
                  <a:cubicBezTo>
                    <a:pt x="7535" y="1709"/>
                    <a:pt x="7533" y="1709"/>
                    <a:pt x="7530" y="1709"/>
                  </a:cubicBezTo>
                  <a:cubicBezTo>
                    <a:pt x="7481" y="1713"/>
                    <a:pt x="7457" y="1737"/>
                    <a:pt x="7418" y="1783"/>
                  </a:cubicBezTo>
                  <a:cubicBezTo>
                    <a:pt x="7373" y="1849"/>
                    <a:pt x="7296" y="1891"/>
                    <a:pt x="7212" y="1891"/>
                  </a:cubicBezTo>
                  <a:cubicBezTo>
                    <a:pt x="7207" y="1891"/>
                    <a:pt x="7203" y="1890"/>
                    <a:pt x="7199" y="1890"/>
                  </a:cubicBezTo>
                  <a:cubicBezTo>
                    <a:pt x="7169" y="1890"/>
                    <a:pt x="7142" y="1901"/>
                    <a:pt x="7117" y="1919"/>
                  </a:cubicBezTo>
                  <a:cubicBezTo>
                    <a:pt x="7100" y="1940"/>
                    <a:pt x="7096" y="1993"/>
                    <a:pt x="7107" y="2073"/>
                  </a:cubicBezTo>
                  <a:cubicBezTo>
                    <a:pt x="7117" y="2115"/>
                    <a:pt x="7103" y="2161"/>
                    <a:pt x="7072" y="2192"/>
                  </a:cubicBezTo>
                  <a:cubicBezTo>
                    <a:pt x="7048" y="2213"/>
                    <a:pt x="7019" y="2221"/>
                    <a:pt x="6987" y="2221"/>
                  </a:cubicBezTo>
                  <a:cubicBezTo>
                    <a:pt x="6943" y="2221"/>
                    <a:pt x="6892" y="2206"/>
                    <a:pt x="6837" y="2192"/>
                  </a:cubicBezTo>
                  <a:cubicBezTo>
                    <a:pt x="6767" y="2168"/>
                    <a:pt x="6697" y="2157"/>
                    <a:pt x="6624" y="2157"/>
                  </a:cubicBezTo>
                  <a:cubicBezTo>
                    <a:pt x="6617" y="2157"/>
                    <a:pt x="6606" y="2161"/>
                    <a:pt x="6599" y="2168"/>
                  </a:cubicBezTo>
                  <a:cubicBezTo>
                    <a:pt x="6596" y="2189"/>
                    <a:pt x="6599" y="2210"/>
                    <a:pt x="6606" y="2231"/>
                  </a:cubicBezTo>
                  <a:cubicBezTo>
                    <a:pt x="6620" y="2273"/>
                    <a:pt x="6620" y="2322"/>
                    <a:pt x="6596" y="2364"/>
                  </a:cubicBezTo>
                  <a:cubicBezTo>
                    <a:pt x="6582" y="2385"/>
                    <a:pt x="6554" y="2399"/>
                    <a:pt x="6529" y="2402"/>
                  </a:cubicBezTo>
                  <a:cubicBezTo>
                    <a:pt x="6515" y="2402"/>
                    <a:pt x="6498" y="2427"/>
                    <a:pt x="6484" y="2451"/>
                  </a:cubicBezTo>
                  <a:cubicBezTo>
                    <a:pt x="6449" y="2504"/>
                    <a:pt x="6393" y="2584"/>
                    <a:pt x="6267" y="2584"/>
                  </a:cubicBezTo>
                  <a:cubicBezTo>
                    <a:pt x="6256" y="2584"/>
                    <a:pt x="6249" y="2588"/>
                    <a:pt x="6246" y="2595"/>
                  </a:cubicBezTo>
                  <a:cubicBezTo>
                    <a:pt x="6200" y="2644"/>
                    <a:pt x="6190" y="2822"/>
                    <a:pt x="6221" y="3043"/>
                  </a:cubicBezTo>
                  <a:cubicBezTo>
                    <a:pt x="6232" y="3088"/>
                    <a:pt x="6218" y="3134"/>
                    <a:pt x="6183" y="3165"/>
                  </a:cubicBezTo>
                  <a:cubicBezTo>
                    <a:pt x="6165" y="3178"/>
                    <a:pt x="6145" y="3183"/>
                    <a:pt x="6124" y="3183"/>
                  </a:cubicBezTo>
                  <a:cubicBezTo>
                    <a:pt x="6080" y="3183"/>
                    <a:pt x="6031" y="3160"/>
                    <a:pt x="5976" y="3134"/>
                  </a:cubicBezTo>
                  <a:cubicBezTo>
                    <a:pt x="5919" y="3110"/>
                    <a:pt x="5845" y="3075"/>
                    <a:pt x="5797" y="3075"/>
                  </a:cubicBezTo>
                  <a:cubicBezTo>
                    <a:pt x="5790" y="3075"/>
                    <a:pt x="5783" y="3076"/>
                    <a:pt x="5776" y="3078"/>
                  </a:cubicBezTo>
                  <a:cubicBezTo>
                    <a:pt x="5769" y="3081"/>
                    <a:pt x="5766" y="3081"/>
                    <a:pt x="5762" y="3085"/>
                  </a:cubicBezTo>
                  <a:cubicBezTo>
                    <a:pt x="5773" y="3123"/>
                    <a:pt x="5790" y="3158"/>
                    <a:pt x="5811" y="3190"/>
                  </a:cubicBezTo>
                  <a:cubicBezTo>
                    <a:pt x="5850" y="3260"/>
                    <a:pt x="5881" y="3337"/>
                    <a:pt x="5906" y="3414"/>
                  </a:cubicBezTo>
                  <a:cubicBezTo>
                    <a:pt x="5951" y="3610"/>
                    <a:pt x="5853" y="3666"/>
                    <a:pt x="5780" y="3708"/>
                  </a:cubicBezTo>
                  <a:cubicBezTo>
                    <a:pt x="5759" y="3722"/>
                    <a:pt x="5738" y="3736"/>
                    <a:pt x="5717" y="3754"/>
                  </a:cubicBezTo>
                  <a:cubicBezTo>
                    <a:pt x="5696" y="3775"/>
                    <a:pt x="5668" y="3787"/>
                    <a:pt x="5639" y="3787"/>
                  </a:cubicBezTo>
                  <a:cubicBezTo>
                    <a:pt x="5626" y="3787"/>
                    <a:pt x="5612" y="3784"/>
                    <a:pt x="5598" y="3778"/>
                  </a:cubicBezTo>
                  <a:cubicBezTo>
                    <a:pt x="5479" y="3729"/>
                    <a:pt x="5388" y="3449"/>
                    <a:pt x="5388" y="3295"/>
                  </a:cubicBezTo>
                  <a:lnTo>
                    <a:pt x="5388" y="3291"/>
                  </a:lnTo>
                  <a:cubicBezTo>
                    <a:pt x="5353" y="3305"/>
                    <a:pt x="5269" y="3358"/>
                    <a:pt x="5076" y="3561"/>
                  </a:cubicBezTo>
                  <a:cubicBezTo>
                    <a:pt x="4968" y="3673"/>
                    <a:pt x="5017" y="3831"/>
                    <a:pt x="5055" y="3960"/>
                  </a:cubicBezTo>
                  <a:cubicBezTo>
                    <a:pt x="5090" y="4065"/>
                    <a:pt x="5118" y="4163"/>
                    <a:pt x="5038" y="4212"/>
                  </a:cubicBezTo>
                  <a:cubicBezTo>
                    <a:pt x="4957" y="4261"/>
                    <a:pt x="4520" y="4671"/>
                    <a:pt x="4264" y="4975"/>
                  </a:cubicBezTo>
                  <a:cubicBezTo>
                    <a:pt x="4096" y="5178"/>
                    <a:pt x="3819" y="5189"/>
                    <a:pt x="3599" y="5196"/>
                  </a:cubicBezTo>
                  <a:cubicBezTo>
                    <a:pt x="3466" y="5199"/>
                    <a:pt x="3340" y="5203"/>
                    <a:pt x="3287" y="5248"/>
                  </a:cubicBezTo>
                  <a:cubicBezTo>
                    <a:pt x="3186" y="5336"/>
                    <a:pt x="3077" y="5346"/>
                    <a:pt x="2983" y="5353"/>
                  </a:cubicBezTo>
                  <a:cubicBezTo>
                    <a:pt x="2899" y="5360"/>
                    <a:pt x="2829" y="5367"/>
                    <a:pt x="2762" y="5420"/>
                  </a:cubicBezTo>
                  <a:lnTo>
                    <a:pt x="2745" y="5434"/>
                  </a:lnTo>
                  <a:cubicBezTo>
                    <a:pt x="2545" y="5590"/>
                    <a:pt x="2378" y="5715"/>
                    <a:pt x="2262" y="5715"/>
                  </a:cubicBezTo>
                  <a:cubicBezTo>
                    <a:pt x="2246" y="5715"/>
                    <a:pt x="2230" y="5712"/>
                    <a:pt x="2216" y="5707"/>
                  </a:cubicBezTo>
                  <a:cubicBezTo>
                    <a:pt x="2174" y="5693"/>
                    <a:pt x="2146" y="5655"/>
                    <a:pt x="2136" y="5613"/>
                  </a:cubicBezTo>
                  <a:cubicBezTo>
                    <a:pt x="2136" y="5609"/>
                    <a:pt x="2136" y="5602"/>
                    <a:pt x="2111" y="5599"/>
                  </a:cubicBezTo>
                  <a:cubicBezTo>
                    <a:pt x="2096" y="5594"/>
                    <a:pt x="2079" y="5592"/>
                    <a:pt x="2059" y="5592"/>
                  </a:cubicBezTo>
                  <a:cubicBezTo>
                    <a:pt x="1929" y="5592"/>
                    <a:pt x="1706" y="5680"/>
                    <a:pt x="1593" y="5802"/>
                  </a:cubicBezTo>
                  <a:cubicBezTo>
                    <a:pt x="1390" y="6022"/>
                    <a:pt x="1085" y="6187"/>
                    <a:pt x="872" y="6197"/>
                  </a:cubicBezTo>
                  <a:cubicBezTo>
                    <a:pt x="788" y="6204"/>
                    <a:pt x="749" y="6288"/>
                    <a:pt x="707" y="6411"/>
                  </a:cubicBezTo>
                  <a:cubicBezTo>
                    <a:pt x="683" y="6484"/>
                    <a:pt x="662" y="6547"/>
                    <a:pt x="620" y="6582"/>
                  </a:cubicBezTo>
                  <a:cubicBezTo>
                    <a:pt x="602" y="6600"/>
                    <a:pt x="579" y="6609"/>
                    <a:pt x="556" y="6609"/>
                  </a:cubicBezTo>
                  <a:cubicBezTo>
                    <a:pt x="543" y="6609"/>
                    <a:pt x="530" y="6606"/>
                    <a:pt x="518" y="6600"/>
                  </a:cubicBezTo>
                  <a:cubicBezTo>
                    <a:pt x="459" y="6572"/>
                    <a:pt x="445" y="6495"/>
                    <a:pt x="445" y="6323"/>
                  </a:cubicBezTo>
                  <a:cubicBezTo>
                    <a:pt x="382" y="6414"/>
                    <a:pt x="333" y="6512"/>
                    <a:pt x="298" y="6614"/>
                  </a:cubicBezTo>
                  <a:cubicBezTo>
                    <a:pt x="270" y="6705"/>
                    <a:pt x="298" y="6768"/>
                    <a:pt x="333" y="6845"/>
                  </a:cubicBezTo>
                  <a:cubicBezTo>
                    <a:pt x="378" y="6946"/>
                    <a:pt x="434" y="7072"/>
                    <a:pt x="315" y="7251"/>
                  </a:cubicBezTo>
                  <a:cubicBezTo>
                    <a:pt x="116" y="7545"/>
                    <a:pt x="0" y="7759"/>
                    <a:pt x="217" y="8046"/>
                  </a:cubicBezTo>
                  <a:cubicBezTo>
                    <a:pt x="483" y="8406"/>
                    <a:pt x="641" y="8637"/>
                    <a:pt x="536" y="8844"/>
                  </a:cubicBezTo>
                  <a:cubicBezTo>
                    <a:pt x="522" y="8882"/>
                    <a:pt x="483" y="8910"/>
                    <a:pt x="441" y="8914"/>
                  </a:cubicBezTo>
                  <a:cubicBezTo>
                    <a:pt x="420" y="8914"/>
                    <a:pt x="403" y="8910"/>
                    <a:pt x="385" y="8900"/>
                  </a:cubicBezTo>
                  <a:cubicBezTo>
                    <a:pt x="382" y="8921"/>
                    <a:pt x="375" y="8942"/>
                    <a:pt x="364" y="8959"/>
                  </a:cubicBezTo>
                  <a:cubicBezTo>
                    <a:pt x="347" y="8984"/>
                    <a:pt x="319" y="9001"/>
                    <a:pt x="287" y="9001"/>
                  </a:cubicBezTo>
                  <a:lnTo>
                    <a:pt x="284" y="9001"/>
                  </a:lnTo>
                  <a:cubicBezTo>
                    <a:pt x="210" y="9001"/>
                    <a:pt x="147" y="8928"/>
                    <a:pt x="53" y="8809"/>
                  </a:cubicBezTo>
                  <a:lnTo>
                    <a:pt x="42" y="8795"/>
                  </a:lnTo>
                  <a:lnTo>
                    <a:pt x="42" y="8795"/>
                  </a:lnTo>
                  <a:cubicBezTo>
                    <a:pt x="88" y="8879"/>
                    <a:pt x="144" y="8984"/>
                    <a:pt x="196" y="9075"/>
                  </a:cubicBezTo>
                  <a:cubicBezTo>
                    <a:pt x="354" y="9362"/>
                    <a:pt x="536" y="9684"/>
                    <a:pt x="546" y="9863"/>
                  </a:cubicBezTo>
                  <a:cubicBezTo>
                    <a:pt x="550" y="9978"/>
                    <a:pt x="637" y="10101"/>
                    <a:pt x="732" y="10234"/>
                  </a:cubicBezTo>
                  <a:cubicBezTo>
                    <a:pt x="868" y="10419"/>
                    <a:pt x="1019" y="10633"/>
                    <a:pt x="1005" y="10902"/>
                  </a:cubicBezTo>
                  <a:cubicBezTo>
                    <a:pt x="980" y="11350"/>
                    <a:pt x="1474" y="12103"/>
                    <a:pt x="1481" y="12110"/>
                  </a:cubicBezTo>
                  <a:cubicBezTo>
                    <a:pt x="1530" y="12187"/>
                    <a:pt x="1495" y="12285"/>
                    <a:pt x="1449" y="12415"/>
                  </a:cubicBezTo>
                  <a:cubicBezTo>
                    <a:pt x="1404" y="12541"/>
                    <a:pt x="1344" y="12702"/>
                    <a:pt x="1369" y="12863"/>
                  </a:cubicBezTo>
                  <a:cubicBezTo>
                    <a:pt x="1393" y="13038"/>
                    <a:pt x="1369" y="13174"/>
                    <a:pt x="1288" y="13269"/>
                  </a:cubicBezTo>
                  <a:cubicBezTo>
                    <a:pt x="1217" y="13344"/>
                    <a:pt x="1117" y="13389"/>
                    <a:pt x="1011" y="13389"/>
                  </a:cubicBezTo>
                  <a:cubicBezTo>
                    <a:pt x="1003" y="13389"/>
                    <a:pt x="995" y="13388"/>
                    <a:pt x="987" y="13388"/>
                  </a:cubicBezTo>
                  <a:cubicBezTo>
                    <a:pt x="952" y="13388"/>
                    <a:pt x="949" y="13402"/>
                    <a:pt x="949" y="13419"/>
                  </a:cubicBezTo>
                  <a:cubicBezTo>
                    <a:pt x="959" y="13521"/>
                    <a:pt x="1036" y="13605"/>
                    <a:pt x="1141" y="13622"/>
                  </a:cubicBezTo>
                  <a:cubicBezTo>
                    <a:pt x="1299" y="13636"/>
                    <a:pt x="1344" y="13717"/>
                    <a:pt x="1393" y="13791"/>
                  </a:cubicBezTo>
                  <a:cubicBezTo>
                    <a:pt x="1435" y="13868"/>
                    <a:pt x="1495" y="13934"/>
                    <a:pt x="1572" y="13983"/>
                  </a:cubicBezTo>
                  <a:cubicBezTo>
                    <a:pt x="1705" y="14072"/>
                    <a:pt x="1961" y="14092"/>
                    <a:pt x="2187" y="14092"/>
                  </a:cubicBezTo>
                  <a:cubicBezTo>
                    <a:pt x="2289" y="14092"/>
                    <a:pt x="2385" y="14088"/>
                    <a:pt x="2461" y="14085"/>
                  </a:cubicBezTo>
                  <a:cubicBezTo>
                    <a:pt x="2517" y="14085"/>
                    <a:pt x="2566" y="14081"/>
                    <a:pt x="2601" y="14081"/>
                  </a:cubicBezTo>
                  <a:cubicBezTo>
                    <a:pt x="2668" y="14081"/>
                    <a:pt x="2713" y="14036"/>
                    <a:pt x="2783" y="13959"/>
                  </a:cubicBezTo>
                  <a:cubicBezTo>
                    <a:pt x="2867" y="13871"/>
                    <a:pt x="2969" y="13763"/>
                    <a:pt x="3144" y="13756"/>
                  </a:cubicBezTo>
                  <a:cubicBezTo>
                    <a:pt x="3319" y="13748"/>
                    <a:pt x="3347" y="13713"/>
                    <a:pt x="3406" y="13619"/>
                  </a:cubicBezTo>
                  <a:cubicBezTo>
                    <a:pt x="3427" y="13591"/>
                    <a:pt x="3452" y="13552"/>
                    <a:pt x="3483" y="13514"/>
                  </a:cubicBezTo>
                  <a:cubicBezTo>
                    <a:pt x="3570" y="13403"/>
                    <a:pt x="3788" y="13368"/>
                    <a:pt x="4124" y="13368"/>
                  </a:cubicBezTo>
                  <a:cubicBezTo>
                    <a:pt x="4317" y="13368"/>
                    <a:pt x="4551" y="13380"/>
                    <a:pt x="4821" y="13395"/>
                  </a:cubicBezTo>
                  <a:lnTo>
                    <a:pt x="4943" y="13402"/>
                  </a:lnTo>
                  <a:cubicBezTo>
                    <a:pt x="4995" y="13405"/>
                    <a:pt x="5045" y="13407"/>
                    <a:pt x="5094" y="13407"/>
                  </a:cubicBezTo>
                  <a:cubicBezTo>
                    <a:pt x="5536" y="13407"/>
                    <a:pt x="5804" y="13276"/>
                    <a:pt x="5899" y="13020"/>
                  </a:cubicBezTo>
                  <a:cubicBezTo>
                    <a:pt x="5958" y="12859"/>
                    <a:pt x="6148" y="12793"/>
                    <a:pt x="6337" y="12730"/>
                  </a:cubicBezTo>
                  <a:cubicBezTo>
                    <a:pt x="6456" y="12688"/>
                    <a:pt x="6578" y="12646"/>
                    <a:pt x="6641" y="12583"/>
                  </a:cubicBezTo>
                  <a:cubicBezTo>
                    <a:pt x="6799" y="12438"/>
                    <a:pt x="6942" y="12398"/>
                    <a:pt x="7212" y="12398"/>
                  </a:cubicBezTo>
                  <a:cubicBezTo>
                    <a:pt x="7296" y="12398"/>
                    <a:pt x="7391" y="12402"/>
                    <a:pt x="7502" y="12408"/>
                  </a:cubicBezTo>
                  <a:cubicBezTo>
                    <a:pt x="7522" y="12409"/>
                    <a:pt x="7541" y="12409"/>
                    <a:pt x="7560" y="12409"/>
                  </a:cubicBezTo>
                  <a:cubicBezTo>
                    <a:pt x="7902" y="12409"/>
                    <a:pt x="8224" y="12265"/>
                    <a:pt x="8490" y="12149"/>
                  </a:cubicBezTo>
                  <a:cubicBezTo>
                    <a:pt x="8560" y="12117"/>
                    <a:pt x="8626" y="12086"/>
                    <a:pt x="8689" y="12061"/>
                  </a:cubicBezTo>
                  <a:cubicBezTo>
                    <a:pt x="8871" y="11988"/>
                    <a:pt x="9134" y="11974"/>
                    <a:pt x="9386" y="11960"/>
                  </a:cubicBezTo>
                  <a:cubicBezTo>
                    <a:pt x="9540" y="11956"/>
                    <a:pt x="9697" y="11942"/>
                    <a:pt x="9848" y="11911"/>
                  </a:cubicBezTo>
                  <a:cubicBezTo>
                    <a:pt x="9875" y="11904"/>
                    <a:pt x="9901" y="11901"/>
                    <a:pt x="9925" y="11901"/>
                  </a:cubicBezTo>
                  <a:cubicBezTo>
                    <a:pt x="10064" y="11901"/>
                    <a:pt x="10152" y="11995"/>
                    <a:pt x="10233" y="12079"/>
                  </a:cubicBezTo>
                  <a:cubicBezTo>
                    <a:pt x="10312" y="12164"/>
                    <a:pt x="10380" y="12239"/>
                    <a:pt x="10489" y="12239"/>
                  </a:cubicBezTo>
                  <a:cubicBezTo>
                    <a:pt x="10500" y="12239"/>
                    <a:pt x="10512" y="12238"/>
                    <a:pt x="10524" y="12236"/>
                  </a:cubicBezTo>
                  <a:cubicBezTo>
                    <a:pt x="10559" y="12233"/>
                    <a:pt x="10593" y="12231"/>
                    <a:pt x="10628" y="12231"/>
                  </a:cubicBezTo>
                  <a:cubicBezTo>
                    <a:pt x="10749" y="12231"/>
                    <a:pt x="10869" y="12251"/>
                    <a:pt x="10986" y="12289"/>
                  </a:cubicBezTo>
                  <a:cubicBezTo>
                    <a:pt x="11045" y="12310"/>
                    <a:pt x="11108" y="12324"/>
                    <a:pt x="11171" y="12324"/>
                  </a:cubicBezTo>
                  <a:cubicBezTo>
                    <a:pt x="11181" y="12322"/>
                    <a:pt x="11192" y="12322"/>
                    <a:pt x="11202" y="12322"/>
                  </a:cubicBezTo>
                  <a:cubicBezTo>
                    <a:pt x="11272" y="12322"/>
                    <a:pt x="11342" y="12353"/>
                    <a:pt x="11388" y="12411"/>
                  </a:cubicBezTo>
                  <a:cubicBezTo>
                    <a:pt x="11420" y="12446"/>
                    <a:pt x="11458" y="12471"/>
                    <a:pt x="11504" y="12481"/>
                  </a:cubicBezTo>
                  <a:cubicBezTo>
                    <a:pt x="11577" y="12488"/>
                    <a:pt x="11637" y="12537"/>
                    <a:pt x="11668" y="12600"/>
                  </a:cubicBezTo>
                  <a:cubicBezTo>
                    <a:pt x="11700" y="12684"/>
                    <a:pt x="11672" y="12793"/>
                    <a:pt x="11581" y="12922"/>
                  </a:cubicBezTo>
                  <a:cubicBezTo>
                    <a:pt x="11577" y="12926"/>
                    <a:pt x="11577" y="12933"/>
                    <a:pt x="11574" y="12936"/>
                  </a:cubicBezTo>
                  <a:cubicBezTo>
                    <a:pt x="11609" y="12964"/>
                    <a:pt x="11644" y="12985"/>
                    <a:pt x="11682" y="13003"/>
                  </a:cubicBezTo>
                  <a:cubicBezTo>
                    <a:pt x="11833" y="13073"/>
                    <a:pt x="11966" y="13178"/>
                    <a:pt x="12067" y="13311"/>
                  </a:cubicBezTo>
                  <a:cubicBezTo>
                    <a:pt x="12214" y="13510"/>
                    <a:pt x="12197" y="13622"/>
                    <a:pt x="12179" y="13724"/>
                  </a:cubicBezTo>
                  <a:cubicBezTo>
                    <a:pt x="12162" y="13791"/>
                    <a:pt x="12172" y="13864"/>
                    <a:pt x="12204" y="13927"/>
                  </a:cubicBezTo>
                  <a:cubicBezTo>
                    <a:pt x="12256" y="14029"/>
                    <a:pt x="12284" y="14036"/>
                    <a:pt x="12288" y="14036"/>
                  </a:cubicBezTo>
                  <a:cubicBezTo>
                    <a:pt x="12340" y="14036"/>
                    <a:pt x="12484" y="13836"/>
                    <a:pt x="12540" y="13759"/>
                  </a:cubicBezTo>
                  <a:cubicBezTo>
                    <a:pt x="12628" y="13626"/>
                    <a:pt x="12771" y="13535"/>
                    <a:pt x="12929" y="13507"/>
                  </a:cubicBezTo>
                  <a:cubicBezTo>
                    <a:pt x="13027" y="13486"/>
                    <a:pt x="13058" y="13475"/>
                    <a:pt x="13072" y="13377"/>
                  </a:cubicBezTo>
                  <a:cubicBezTo>
                    <a:pt x="13100" y="13160"/>
                    <a:pt x="13247" y="12884"/>
                    <a:pt x="13429" y="12817"/>
                  </a:cubicBezTo>
                  <a:cubicBezTo>
                    <a:pt x="13455" y="12806"/>
                    <a:pt x="13482" y="12800"/>
                    <a:pt x="13509" y="12800"/>
                  </a:cubicBezTo>
                  <a:cubicBezTo>
                    <a:pt x="13557" y="12800"/>
                    <a:pt x="13605" y="12817"/>
                    <a:pt x="13643" y="12849"/>
                  </a:cubicBezTo>
                  <a:cubicBezTo>
                    <a:pt x="13776" y="12961"/>
                    <a:pt x="13709" y="13066"/>
                    <a:pt x="13639" y="13174"/>
                  </a:cubicBezTo>
                  <a:cubicBezTo>
                    <a:pt x="13538" y="13332"/>
                    <a:pt x="13468" y="13507"/>
                    <a:pt x="13433" y="13689"/>
                  </a:cubicBezTo>
                  <a:cubicBezTo>
                    <a:pt x="13366" y="14036"/>
                    <a:pt x="13261" y="14106"/>
                    <a:pt x="13114" y="14109"/>
                  </a:cubicBezTo>
                  <a:lnTo>
                    <a:pt x="13093" y="14109"/>
                  </a:lnTo>
                  <a:lnTo>
                    <a:pt x="13093" y="14116"/>
                  </a:lnTo>
                  <a:cubicBezTo>
                    <a:pt x="13099" y="14138"/>
                    <a:pt x="13181" y="14178"/>
                    <a:pt x="13282" y="14178"/>
                  </a:cubicBezTo>
                  <a:cubicBezTo>
                    <a:pt x="13296" y="14178"/>
                    <a:pt x="13310" y="14177"/>
                    <a:pt x="13324" y="14176"/>
                  </a:cubicBezTo>
                  <a:cubicBezTo>
                    <a:pt x="13394" y="14169"/>
                    <a:pt x="13475" y="14141"/>
                    <a:pt x="13475" y="14053"/>
                  </a:cubicBezTo>
                  <a:cubicBezTo>
                    <a:pt x="13475" y="13843"/>
                    <a:pt x="13520" y="13724"/>
                    <a:pt x="13611" y="13692"/>
                  </a:cubicBezTo>
                  <a:cubicBezTo>
                    <a:pt x="13627" y="13687"/>
                    <a:pt x="13642" y="13684"/>
                    <a:pt x="13658" y="13684"/>
                  </a:cubicBezTo>
                  <a:cubicBezTo>
                    <a:pt x="13766" y="13684"/>
                    <a:pt x="13861" y="13811"/>
                    <a:pt x="13895" y="13854"/>
                  </a:cubicBezTo>
                  <a:cubicBezTo>
                    <a:pt x="14052" y="14057"/>
                    <a:pt x="13951" y="14242"/>
                    <a:pt x="13881" y="14365"/>
                  </a:cubicBezTo>
                  <a:cubicBezTo>
                    <a:pt x="13860" y="14400"/>
                    <a:pt x="13825" y="14463"/>
                    <a:pt x="13832" y="14477"/>
                  </a:cubicBezTo>
                  <a:cubicBezTo>
                    <a:pt x="13836" y="14479"/>
                    <a:pt x="13842" y="14480"/>
                    <a:pt x="13850" y="14480"/>
                  </a:cubicBezTo>
                  <a:cubicBezTo>
                    <a:pt x="13885" y="14480"/>
                    <a:pt x="13948" y="14460"/>
                    <a:pt x="13982" y="14449"/>
                  </a:cubicBezTo>
                  <a:cubicBezTo>
                    <a:pt x="14045" y="14424"/>
                    <a:pt x="14112" y="14410"/>
                    <a:pt x="14178" y="14410"/>
                  </a:cubicBezTo>
                  <a:cubicBezTo>
                    <a:pt x="14315" y="14424"/>
                    <a:pt x="14438" y="14564"/>
                    <a:pt x="14497" y="14645"/>
                  </a:cubicBezTo>
                  <a:cubicBezTo>
                    <a:pt x="14623" y="14809"/>
                    <a:pt x="14732" y="15058"/>
                    <a:pt x="14697" y="15240"/>
                  </a:cubicBezTo>
                  <a:lnTo>
                    <a:pt x="14690" y="15282"/>
                  </a:lnTo>
                  <a:cubicBezTo>
                    <a:pt x="14644" y="15516"/>
                    <a:pt x="14606" y="15702"/>
                    <a:pt x="14952" y="15874"/>
                  </a:cubicBezTo>
                  <a:cubicBezTo>
                    <a:pt x="15057" y="15923"/>
                    <a:pt x="15155" y="15986"/>
                    <a:pt x="15250" y="16056"/>
                  </a:cubicBezTo>
                  <a:cubicBezTo>
                    <a:pt x="15313" y="16105"/>
                    <a:pt x="15320" y="16108"/>
                    <a:pt x="15481" y="16108"/>
                  </a:cubicBezTo>
                  <a:cubicBezTo>
                    <a:pt x="15792" y="16108"/>
                    <a:pt x="16443" y="16353"/>
                    <a:pt x="16626" y="16514"/>
                  </a:cubicBezTo>
                  <a:cubicBezTo>
                    <a:pt x="16649" y="16534"/>
                    <a:pt x="16679" y="16541"/>
                    <a:pt x="16710" y="16541"/>
                  </a:cubicBezTo>
                  <a:cubicBezTo>
                    <a:pt x="16745" y="16541"/>
                    <a:pt x="16780" y="16532"/>
                    <a:pt x="16804" y="16525"/>
                  </a:cubicBezTo>
                  <a:cubicBezTo>
                    <a:pt x="16962" y="16479"/>
                    <a:pt x="17161" y="16318"/>
                    <a:pt x="17210" y="16143"/>
                  </a:cubicBezTo>
                  <a:cubicBezTo>
                    <a:pt x="17259" y="15982"/>
                    <a:pt x="17368" y="15968"/>
                    <a:pt x="17410" y="15968"/>
                  </a:cubicBezTo>
                  <a:cubicBezTo>
                    <a:pt x="17504" y="15975"/>
                    <a:pt x="17588" y="16038"/>
                    <a:pt x="17616" y="16133"/>
                  </a:cubicBezTo>
                  <a:cubicBezTo>
                    <a:pt x="17620" y="16147"/>
                    <a:pt x="17620" y="16164"/>
                    <a:pt x="17620" y="16182"/>
                  </a:cubicBezTo>
                  <a:cubicBezTo>
                    <a:pt x="17634" y="16168"/>
                    <a:pt x="17655" y="16157"/>
                    <a:pt x="17672" y="16157"/>
                  </a:cubicBezTo>
                  <a:lnTo>
                    <a:pt x="17686" y="16157"/>
                  </a:lnTo>
                  <a:cubicBezTo>
                    <a:pt x="17739" y="16157"/>
                    <a:pt x="17781" y="16199"/>
                    <a:pt x="17809" y="16287"/>
                  </a:cubicBezTo>
                  <a:cubicBezTo>
                    <a:pt x="17837" y="16364"/>
                    <a:pt x="17900" y="16399"/>
                    <a:pt x="17973" y="16441"/>
                  </a:cubicBezTo>
                  <a:cubicBezTo>
                    <a:pt x="18054" y="16476"/>
                    <a:pt x="18120" y="16532"/>
                    <a:pt x="18169" y="16602"/>
                  </a:cubicBezTo>
                  <a:cubicBezTo>
                    <a:pt x="18187" y="16637"/>
                    <a:pt x="18208" y="16672"/>
                    <a:pt x="18232" y="16703"/>
                  </a:cubicBezTo>
                  <a:cubicBezTo>
                    <a:pt x="18253" y="16563"/>
                    <a:pt x="18348" y="16465"/>
                    <a:pt x="18512" y="16406"/>
                  </a:cubicBezTo>
                  <a:cubicBezTo>
                    <a:pt x="18653" y="16353"/>
                    <a:pt x="18754" y="16266"/>
                    <a:pt x="18884" y="16154"/>
                  </a:cubicBezTo>
                  <a:cubicBezTo>
                    <a:pt x="18926" y="16115"/>
                    <a:pt x="18968" y="16080"/>
                    <a:pt x="19017" y="16038"/>
                  </a:cubicBezTo>
                  <a:cubicBezTo>
                    <a:pt x="19234" y="15860"/>
                    <a:pt x="20018" y="15825"/>
                    <a:pt x="20172" y="15821"/>
                  </a:cubicBezTo>
                  <a:cubicBezTo>
                    <a:pt x="20210" y="15730"/>
                    <a:pt x="20252" y="15338"/>
                    <a:pt x="20277" y="15100"/>
                  </a:cubicBezTo>
                  <a:cubicBezTo>
                    <a:pt x="20291" y="14981"/>
                    <a:pt x="20301" y="14865"/>
                    <a:pt x="20312" y="14774"/>
                  </a:cubicBezTo>
                  <a:cubicBezTo>
                    <a:pt x="20340" y="14571"/>
                    <a:pt x="20434" y="14452"/>
                    <a:pt x="20529" y="14337"/>
                  </a:cubicBezTo>
                  <a:cubicBezTo>
                    <a:pt x="20620" y="14218"/>
                    <a:pt x="20704" y="14120"/>
                    <a:pt x="20725" y="13934"/>
                  </a:cubicBezTo>
                  <a:cubicBezTo>
                    <a:pt x="20774" y="13549"/>
                    <a:pt x="21198" y="12754"/>
                    <a:pt x="21352" y="12705"/>
                  </a:cubicBezTo>
                  <a:cubicBezTo>
                    <a:pt x="21415" y="12684"/>
                    <a:pt x="21625" y="12597"/>
                    <a:pt x="21635" y="12387"/>
                  </a:cubicBezTo>
                  <a:cubicBezTo>
                    <a:pt x="21642" y="12264"/>
                    <a:pt x="21709" y="12149"/>
                    <a:pt x="21779" y="12023"/>
                  </a:cubicBezTo>
                  <a:cubicBezTo>
                    <a:pt x="21849" y="11897"/>
                    <a:pt x="21926" y="11760"/>
                    <a:pt x="21926" y="11627"/>
                  </a:cubicBezTo>
                  <a:cubicBezTo>
                    <a:pt x="21926" y="11462"/>
                    <a:pt x="21978" y="11287"/>
                    <a:pt x="22017" y="11147"/>
                  </a:cubicBezTo>
                  <a:cubicBezTo>
                    <a:pt x="22038" y="11084"/>
                    <a:pt x="22055" y="11021"/>
                    <a:pt x="22062" y="10955"/>
                  </a:cubicBezTo>
                  <a:lnTo>
                    <a:pt x="22055" y="10937"/>
                  </a:lnTo>
                  <a:cubicBezTo>
                    <a:pt x="22024" y="10832"/>
                    <a:pt x="21943" y="10556"/>
                    <a:pt x="22139" y="10349"/>
                  </a:cubicBezTo>
                  <a:cubicBezTo>
                    <a:pt x="22213" y="10269"/>
                    <a:pt x="22192" y="10188"/>
                    <a:pt x="22153" y="10073"/>
                  </a:cubicBezTo>
                  <a:cubicBezTo>
                    <a:pt x="22129" y="9985"/>
                    <a:pt x="22097" y="9891"/>
                    <a:pt x="22174" y="9831"/>
                  </a:cubicBezTo>
                  <a:cubicBezTo>
                    <a:pt x="22185" y="9800"/>
                    <a:pt x="22185" y="9765"/>
                    <a:pt x="22174" y="9730"/>
                  </a:cubicBezTo>
                  <a:cubicBezTo>
                    <a:pt x="22160" y="9663"/>
                    <a:pt x="22136" y="9604"/>
                    <a:pt x="22097" y="9547"/>
                  </a:cubicBezTo>
                  <a:cubicBezTo>
                    <a:pt x="22088" y="9552"/>
                    <a:pt x="22077" y="9554"/>
                    <a:pt x="22068" y="9554"/>
                  </a:cubicBezTo>
                  <a:cubicBezTo>
                    <a:pt x="22052" y="9554"/>
                    <a:pt x="22038" y="9549"/>
                    <a:pt x="22027" y="9540"/>
                  </a:cubicBezTo>
                  <a:cubicBezTo>
                    <a:pt x="21898" y="9456"/>
                    <a:pt x="21957" y="8735"/>
                    <a:pt x="21992" y="8560"/>
                  </a:cubicBezTo>
                  <a:cubicBezTo>
                    <a:pt x="21999" y="8525"/>
                    <a:pt x="22003" y="8497"/>
                    <a:pt x="22010" y="8473"/>
                  </a:cubicBezTo>
                  <a:lnTo>
                    <a:pt x="22010" y="8473"/>
                  </a:lnTo>
                  <a:lnTo>
                    <a:pt x="21968" y="8511"/>
                  </a:lnTo>
                  <a:cubicBezTo>
                    <a:pt x="21937" y="8545"/>
                    <a:pt x="21894" y="8563"/>
                    <a:pt x="21849" y="8563"/>
                  </a:cubicBezTo>
                  <a:cubicBezTo>
                    <a:pt x="21839" y="8563"/>
                    <a:pt x="21828" y="8562"/>
                    <a:pt x="21817" y="8560"/>
                  </a:cubicBezTo>
                  <a:cubicBezTo>
                    <a:pt x="21635" y="8515"/>
                    <a:pt x="21513" y="8105"/>
                    <a:pt x="21495" y="8060"/>
                  </a:cubicBezTo>
                  <a:cubicBezTo>
                    <a:pt x="21459" y="7940"/>
                    <a:pt x="21313" y="7690"/>
                    <a:pt x="21172" y="7690"/>
                  </a:cubicBezTo>
                  <a:cubicBezTo>
                    <a:pt x="21164" y="7690"/>
                    <a:pt x="21157" y="7690"/>
                    <a:pt x="21149" y="7692"/>
                  </a:cubicBezTo>
                  <a:cubicBezTo>
                    <a:pt x="21134" y="7697"/>
                    <a:pt x="21118" y="7699"/>
                    <a:pt x="21102" y="7699"/>
                  </a:cubicBezTo>
                  <a:cubicBezTo>
                    <a:pt x="21073" y="7699"/>
                    <a:pt x="21044" y="7692"/>
                    <a:pt x="21019" y="7678"/>
                  </a:cubicBezTo>
                  <a:cubicBezTo>
                    <a:pt x="20960" y="7643"/>
                    <a:pt x="20946" y="7573"/>
                    <a:pt x="20932" y="7517"/>
                  </a:cubicBezTo>
                  <a:cubicBezTo>
                    <a:pt x="20915" y="7452"/>
                    <a:pt x="20910" y="7437"/>
                    <a:pt x="20895" y="7437"/>
                  </a:cubicBezTo>
                  <a:cubicBezTo>
                    <a:pt x="20890" y="7437"/>
                    <a:pt x="20885" y="7438"/>
                    <a:pt x="20879" y="7440"/>
                  </a:cubicBezTo>
                  <a:cubicBezTo>
                    <a:pt x="20865" y="7443"/>
                    <a:pt x="20851" y="7445"/>
                    <a:pt x="20836" y="7445"/>
                  </a:cubicBezTo>
                  <a:cubicBezTo>
                    <a:pt x="20787" y="7445"/>
                    <a:pt x="20739" y="7426"/>
                    <a:pt x="20704" y="7391"/>
                  </a:cubicBezTo>
                  <a:cubicBezTo>
                    <a:pt x="20564" y="7258"/>
                    <a:pt x="20588" y="6932"/>
                    <a:pt x="20606" y="6796"/>
                  </a:cubicBezTo>
                  <a:cubicBezTo>
                    <a:pt x="20609" y="6771"/>
                    <a:pt x="20609" y="6743"/>
                    <a:pt x="20609" y="6715"/>
                  </a:cubicBezTo>
                  <a:lnTo>
                    <a:pt x="20609" y="6715"/>
                  </a:lnTo>
                  <a:lnTo>
                    <a:pt x="20592" y="6719"/>
                  </a:lnTo>
                  <a:cubicBezTo>
                    <a:pt x="20576" y="6723"/>
                    <a:pt x="20554" y="6727"/>
                    <a:pt x="20530" y="6727"/>
                  </a:cubicBezTo>
                  <a:cubicBezTo>
                    <a:pt x="20487" y="6727"/>
                    <a:pt x="20438" y="6713"/>
                    <a:pt x="20399" y="6659"/>
                  </a:cubicBezTo>
                  <a:cubicBezTo>
                    <a:pt x="20386" y="6640"/>
                    <a:pt x="20375" y="6630"/>
                    <a:pt x="20356" y="6630"/>
                  </a:cubicBezTo>
                  <a:cubicBezTo>
                    <a:pt x="20337" y="6630"/>
                    <a:pt x="20308" y="6641"/>
                    <a:pt x="20256" y="6666"/>
                  </a:cubicBezTo>
                  <a:cubicBezTo>
                    <a:pt x="20224" y="6684"/>
                    <a:pt x="20193" y="6698"/>
                    <a:pt x="20158" y="6712"/>
                  </a:cubicBezTo>
                  <a:cubicBezTo>
                    <a:pt x="20143" y="6717"/>
                    <a:pt x="20127" y="6720"/>
                    <a:pt x="20111" y="6720"/>
                  </a:cubicBezTo>
                  <a:cubicBezTo>
                    <a:pt x="20076" y="6720"/>
                    <a:pt x="20041" y="6707"/>
                    <a:pt x="20014" y="6680"/>
                  </a:cubicBezTo>
                  <a:cubicBezTo>
                    <a:pt x="19923" y="6593"/>
                    <a:pt x="19906" y="6365"/>
                    <a:pt x="19941" y="6253"/>
                  </a:cubicBezTo>
                  <a:cubicBezTo>
                    <a:pt x="19972" y="6152"/>
                    <a:pt x="19906" y="6033"/>
                    <a:pt x="19759" y="5924"/>
                  </a:cubicBezTo>
                  <a:cubicBezTo>
                    <a:pt x="19549" y="5770"/>
                    <a:pt x="19538" y="5630"/>
                    <a:pt x="19549" y="5473"/>
                  </a:cubicBezTo>
                  <a:cubicBezTo>
                    <a:pt x="19496" y="5339"/>
                    <a:pt x="18589" y="4849"/>
                    <a:pt x="18341" y="4797"/>
                  </a:cubicBezTo>
                  <a:cubicBezTo>
                    <a:pt x="18141" y="4755"/>
                    <a:pt x="18166" y="4594"/>
                    <a:pt x="18176" y="4506"/>
                  </a:cubicBezTo>
                  <a:cubicBezTo>
                    <a:pt x="18183" y="4468"/>
                    <a:pt x="18190" y="4419"/>
                    <a:pt x="18176" y="4405"/>
                  </a:cubicBezTo>
                  <a:cubicBezTo>
                    <a:pt x="18036" y="4282"/>
                    <a:pt x="18022" y="3866"/>
                    <a:pt x="18022" y="3691"/>
                  </a:cubicBezTo>
                  <a:cubicBezTo>
                    <a:pt x="18022" y="3579"/>
                    <a:pt x="17945" y="3505"/>
                    <a:pt x="17865" y="3425"/>
                  </a:cubicBezTo>
                  <a:cubicBezTo>
                    <a:pt x="17781" y="3344"/>
                    <a:pt x="17690" y="3249"/>
                    <a:pt x="17693" y="3116"/>
                  </a:cubicBezTo>
                  <a:cubicBezTo>
                    <a:pt x="17693" y="3022"/>
                    <a:pt x="17683" y="2924"/>
                    <a:pt x="17658" y="2833"/>
                  </a:cubicBezTo>
                  <a:cubicBezTo>
                    <a:pt x="17627" y="2707"/>
                    <a:pt x="17613" y="2577"/>
                    <a:pt x="17623" y="2448"/>
                  </a:cubicBezTo>
                  <a:cubicBezTo>
                    <a:pt x="17630" y="2353"/>
                    <a:pt x="17553" y="2294"/>
                    <a:pt x="17434" y="2220"/>
                  </a:cubicBezTo>
                  <a:cubicBezTo>
                    <a:pt x="17347" y="2164"/>
                    <a:pt x="17266" y="2112"/>
                    <a:pt x="17259" y="2024"/>
                  </a:cubicBezTo>
                  <a:cubicBezTo>
                    <a:pt x="17210" y="2028"/>
                    <a:pt x="17158" y="2038"/>
                    <a:pt x="17112" y="2052"/>
                  </a:cubicBezTo>
                  <a:cubicBezTo>
                    <a:pt x="17046" y="2073"/>
                    <a:pt x="16976" y="2087"/>
                    <a:pt x="16909" y="2098"/>
                  </a:cubicBezTo>
                  <a:cubicBezTo>
                    <a:pt x="16898" y="2099"/>
                    <a:pt x="16888" y="2100"/>
                    <a:pt x="16877" y="2100"/>
                  </a:cubicBezTo>
                  <a:cubicBezTo>
                    <a:pt x="16826" y="2100"/>
                    <a:pt x="16779" y="2080"/>
                    <a:pt x="16741" y="2045"/>
                  </a:cubicBezTo>
                  <a:cubicBezTo>
                    <a:pt x="16636" y="1944"/>
                    <a:pt x="16647" y="1720"/>
                    <a:pt x="16664" y="1482"/>
                  </a:cubicBezTo>
                  <a:cubicBezTo>
                    <a:pt x="16689" y="1219"/>
                    <a:pt x="16584" y="781"/>
                    <a:pt x="16436" y="666"/>
                  </a:cubicBezTo>
                  <a:cubicBezTo>
                    <a:pt x="16317" y="571"/>
                    <a:pt x="16272" y="372"/>
                    <a:pt x="16230" y="197"/>
                  </a:cubicBezTo>
                  <a:cubicBezTo>
                    <a:pt x="16216" y="130"/>
                    <a:pt x="16198" y="64"/>
                    <a:pt x="16170" y="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080" name="Google Shape;6080;p104"/>
            <p:cNvSpPr/>
            <p:nvPr/>
          </p:nvSpPr>
          <p:spPr>
            <a:xfrm>
              <a:off x="3006548" y="2132321"/>
              <a:ext cx="7861" cy="1765"/>
            </a:xfrm>
            <a:custGeom>
              <a:avLst/>
              <a:gdLst/>
              <a:ahLst/>
              <a:cxnLst/>
              <a:rect l="l" t="t" r="r" b="b"/>
              <a:pathLst>
                <a:path w="579" h="130" extrusionOk="0">
                  <a:moveTo>
                    <a:pt x="463" y="0"/>
                  </a:moveTo>
                  <a:cubicBezTo>
                    <a:pt x="399" y="0"/>
                    <a:pt x="335" y="9"/>
                    <a:pt x="274" y="24"/>
                  </a:cubicBezTo>
                  <a:cubicBezTo>
                    <a:pt x="179" y="34"/>
                    <a:pt x="85" y="66"/>
                    <a:pt x="1" y="115"/>
                  </a:cubicBezTo>
                  <a:cubicBezTo>
                    <a:pt x="23" y="124"/>
                    <a:pt x="64" y="129"/>
                    <a:pt x="117" y="129"/>
                  </a:cubicBezTo>
                  <a:cubicBezTo>
                    <a:pt x="190" y="129"/>
                    <a:pt x="286" y="119"/>
                    <a:pt x="389" y="90"/>
                  </a:cubicBezTo>
                  <a:cubicBezTo>
                    <a:pt x="456" y="76"/>
                    <a:pt x="522" y="48"/>
                    <a:pt x="578" y="10"/>
                  </a:cubicBezTo>
                  <a:cubicBezTo>
                    <a:pt x="540" y="3"/>
                    <a:pt x="501" y="0"/>
                    <a:pt x="463"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081" name="Google Shape;6081;p104"/>
            <p:cNvSpPr/>
            <p:nvPr/>
          </p:nvSpPr>
          <p:spPr>
            <a:xfrm>
              <a:off x="3116594" y="2348014"/>
              <a:ext cx="679" cy="1344"/>
            </a:xfrm>
            <a:custGeom>
              <a:avLst/>
              <a:gdLst/>
              <a:ahLst/>
              <a:cxnLst/>
              <a:rect l="l" t="t" r="r" b="b"/>
              <a:pathLst>
                <a:path w="50" h="99" extrusionOk="0">
                  <a:moveTo>
                    <a:pt x="49" y="0"/>
                  </a:moveTo>
                  <a:lnTo>
                    <a:pt x="49" y="0"/>
                  </a:lnTo>
                  <a:cubicBezTo>
                    <a:pt x="42" y="4"/>
                    <a:pt x="35" y="7"/>
                    <a:pt x="28" y="14"/>
                  </a:cubicBezTo>
                  <a:cubicBezTo>
                    <a:pt x="0" y="28"/>
                    <a:pt x="4" y="42"/>
                    <a:pt x="4" y="53"/>
                  </a:cubicBezTo>
                  <a:cubicBezTo>
                    <a:pt x="7" y="70"/>
                    <a:pt x="18" y="84"/>
                    <a:pt x="32" y="98"/>
                  </a:cubicBezTo>
                  <a:cubicBezTo>
                    <a:pt x="35" y="63"/>
                    <a:pt x="39" y="32"/>
                    <a:pt x="49"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082" name="Google Shape;6082;p104"/>
            <p:cNvSpPr/>
            <p:nvPr/>
          </p:nvSpPr>
          <p:spPr>
            <a:xfrm>
              <a:off x="3114883" y="2370254"/>
              <a:ext cx="25675" cy="24575"/>
            </a:xfrm>
            <a:custGeom>
              <a:avLst/>
              <a:gdLst/>
              <a:ahLst/>
              <a:cxnLst/>
              <a:rect l="l" t="t" r="r" b="b"/>
              <a:pathLst>
                <a:path w="1891" h="1810" extrusionOk="0">
                  <a:moveTo>
                    <a:pt x="0" y="1"/>
                  </a:moveTo>
                  <a:lnTo>
                    <a:pt x="0" y="1"/>
                  </a:lnTo>
                  <a:cubicBezTo>
                    <a:pt x="32" y="95"/>
                    <a:pt x="70" y="190"/>
                    <a:pt x="112" y="281"/>
                  </a:cubicBezTo>
                  <a:cubicBezTo>
                    <a:pt x="238" y="575"/>
                    <a:pt x="382" y="907"/>
                    <a:pt x="259" y="1061"/>
                  </a:cubicBezTo>
                  <a:cubicBezTo>
                    <a:pt x="235" y="1093"/>
                    <a:pt x="249" y="1145"/>
                    <a:pt x="263" y="1184"/>
                  </a:cubicBezTo>
                  <a:cubicBezTo>
                    <a:pt x="361" y="1432"/>
                    <a:pt x="791" y="1782"/>
                    <a:pt x="945" y="1807"/>
                  </a:cubicBezTo>
                  <a:cubicBezTo>
                    <a:pt x="957" y="1808"/>
                    <a:pt x="967" y="1809"/>
                    <a:pt x="976" y="1809"/>
                  </a:cubicBezTo>
                  <a:cubicBezTo>
                    <a:pt x="1026" y="1809"/>
                    <a:pt x="1037" y="1783"/>
                    <a:pt x="1061" y="1726"/>
                  </a:cubicBezTo>
                  <a:cubicBezTo>
                    <a:pt x="1085" y="1672"/>
                    <a:pt x="1124" y="1586"/>
                    <a:pt x="1231" y="1586"/>
                  </a:cubicBezTo>
                  <a:cubicBezTo>
                    <a:pt x="1235" y="1586"/>
                    <a:pt x="1239" y="1586"/>
                    <a:pt x="1243" y="1586"/>
                  </a:cubicBezTo>
                  <a:cubicBezTo>
                    <a:pt x="1247" y="1588"/>
                    <a:pt x="1252" y="1589"/>
                    <a:pt x="1256" y="1589"/>
                  </a:cubicBezTo>
                  <a:cubicBezTo>
                    <a:pt x="1262" y="1589"/>
                    <a:pt x="1268" y="1587"/>
                    <a:pt x="1275" y="1583"/>
                  </a:cubicBezTo>
                  <a:cubicBezTo>
                    <a:pt x="1285" y="1551"/>
                    <a:pt x="1289" y="1516"/>
                    <a:pt x="1285" y="1481"/>
                  </a:cubicBezTo>
                  <a:cubicBezTo>
                    <a:pt x="1285" y="1439"/>
                    <a:pt x="1289" y="1401"/>
                    <a:pt x="1296" y="1362"/>
                  </a:cubicBezTo>
                  <a:cubicBezTo>
                    <a:pt x="1299" y="1327"/>
                    <a:pt x="1320" y="1296"/>
                    <a:pt x="1352" y="1282"/>
                  </a:cubicBezTo>
                  <a:cubicBezTo>
                    <a:pt x="1363" y="1277"/>
                    <a:pt x="1375" y="1275"/>
                    <a:pt x="1387" y="1275"/>
                  </a:cubicBezTo>
                  <a:cubicBezTo>
                    <a:pt x="1426" y="1275"/>
                    <a:pt x="1465" y="1299"/>
                    <a:pt x="1506" y="1324"/>
                  </a:cubicBezTo>
                  <a:cubicBezTo>
                    <a:pt x="1546" y="1352"/>
                    <a:pt x="1590" y="1381"/>
                    <a:pt x="1622" y="1381"/>
                  </a:cubicBezTo>
                  <a:cubicBezTo>
                    <a:pt x="1630" y="1381"/>
                    <a:pt x="1636" y="1380"/>
                    <a:pt x="1642" y="1376"/>
                  </a:cubicBezTo>
                  <a:cubicBezTo>
                    <a:pt x="1674" y="1359"/>
                    <a:pt x="1667" y="1215"/>
                    <a:pt x="1667" y="1149"/>
                  </a:cubicBezTo>
                  <a:cubicBezTo>
                    <a:pt x="1667" y="1012"/>
                    <a:pt x="1660" y="883"/>
                    <a:pt x="1730" y="816"/>
                  </a:cubicBezTo>
                  <a:cubicBezTo>
                    <a:pt x="1754" y="788"/>
                    <a:pt x="1793" y="771"/>
                    <a:pt x="1831" y="771"/>
                  </a:cubicBezTo>
                  <a:cubicBezTo>
                    <a:pt x="1835" y="771"/>
                    <a:pt x="1835" y="771"/>
                    <a:pt x="1838" y="767"/>
                  </a:cubicBezTo>
                  <a:cubicBezTo>
                    <a:pt x="1891" y="701"/>
                    <a:pt x="1849" y="372"/>
                    <a:pt x="1744" y="18"/>
                  </a:cubicBezTo>
                  <a:cubicBezTo>
                    <a:pt x="1744" y="15"/>
                    <a:pt x="1744" y="15"/>
                    <a:pt x="1737" y="11"/>
                  </a:cubicBezTo>
                  <a:cubicBezTo>
                    <a:pt x="1730" y="8"/>
                    <a:pt x="1720" y="6"/>
                    <a:pt x="1709" y="6"/>
                  </a:cubicBezTo>
                  <a:cubicBezTo>
                    <a:pt x="1635" y="6"/>
                    <a:pt x="1473" y="71"/>
                    <a:pt x="1352" y="120"/>
                  </a:cubicBezTo>
                  <a:cubicBezTo>
                    <a:pt x="1194" y="183"/>
                    <a:pt x="1033" y="249"/>
                    <a:pt x="893" y="263"/>
                  </a:cubicBezTo>
                  <a:cubicBezTo>
                    <a:pt x="873" y="265"/>
                    <a:pt x="853" y="266"/>
                    <a:pt x="832" y="266"/>
                  </a:cubicBezTo>
                  <a:cubicBezTo>
                    <a:pt x="634" y="266"/>
                    <a:pt x="404" y="167"/>
                    <a:pt x="214" y="85"/>
                  </a:cubicBezTo>
                  <a:cubicBezTo>
                    <a:pt x="144" y="53"/>
                    <a:pt x="74" y="25"/>
                    <a:pt x="0" y="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083" name="Google Shape;6083;p104"/>
            <p:cNvSpPr/>
            <p:nvPr/>
          </p:nvSpPr>
          <p:spPr>
            <a:xfrm>
              <a:off x="3286190" y="2425120"/>
              <a:ext cx="2770" cy="2322"/>
            </a:xfrm>
            <a:custGeom>
              <a:avLst/>
              <a:gdLst/>
              <a:ahLst/>
              <a:cxnLst/>
              <a:rect l="l" t="t" r="r" b="b"/>
              <a:pathLst>
                <a:path w="204" h="171" extrusionOk="0">
                  <a:moveTo>
                    <a:pt x="118" y="1"/>
                  </a:moveTo>
                  <a:cubicBezTo>
                    <a:pt x="110" y="1"/>
                    <a:pt x="102" y="4"/>
                    <a:pt x="95" y="6"/>
                  </a:cubicBezTo>
                  <a:cubicBezTo>
                    <a:pt x="42" y="27"/>
                    <a:pt x="7" y="80"/>
                    <a:pt x="0" y="136"/>
                  </a:cubicBezTo>
                  <a:cubicBezTo>
                    <a:pt x="0" y="150"/>
                    <a:pt x="7" y="161"/>
                    <a:pt x="28" y="168"/>
                  </a:cubicBezTo>
                  <a:cubicBezTo>
                    <a:pt x="34" y="169"/>
                    <a:pt x="42" y="170"/>
                    <a:pt x="51" y="170"/>
                  </a:cubicBezTo>
                  <a:cubicBezTo>
                    <a:pt x="96" y="170"/>
                    <a:pt x="170" y="150"/>
                    <a:pt x="193" y="115"/>
                  </a:cubicBezTo>
                  <a:cubicBezTo>
                    <a:pt x="203" y="94"/>
                    <a:pt x="196" y="66"/>
                    <a:pt x="165" y="31"/>
                  </a:cubicBezTo>
                  <a:cubicBezTo>
                    <a:pt x="148" y="8"/>
                    <a:pt x="132" y="1"/>
                    <a:pt x="118" y="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084" name="Google Shape;6084;p104"/>
            <p:cNvSpPr/>
            <p:nvPr/>
          </p:nvSpPr>
          <p:spPr>
            <a:xfrm>
              <a:off x="3278682" y="2370688"/>
              <a:ext cx="55858" cy="52287"/>
            </a:xfrm>
            <a:custGeom>
              <a:avLst/>
              <a:gdLst/>
              <a:ahLst/>
              <a:cxnLst/>
              <a:rect l="l" t="t" r="r" b="b"/>
              <a:pathLst>
                <a:path w="4114" h="3851" extrusionOk="0">
                  <a:moveTo>
                    <a:pt x="3200" y="0"/>
                  </a:moveTo>
                  <a:cubicBezTo>
                    <a:pt x="3179" y="0"/>
                    <a:pt x="3154" y="11"/>
                    <a:pt x="3140" y="28"/>
                  </a:cubicBezTo>
                  <a:cubicBezTo>
                    <a:pt x="3046" y="98"/>
                    <a:pt x="3042" y="144"/>
                    <a:pt x="3032" y="203"/>
                  </a:cubicBezTo>
                  <a:cubicBezTo>
                    <a:pt x="3025" y="277"/>
                    <a:pt x="3011" y="371"/>
                    <a:pt x="2860" y="497"/>
                  </a:cubicBezTo>
                  <a:cubicBezTo>
                    <a:pt x="2766" y="574"/>
                    <a:pt x="2696" y="676"/>
                    <a:pt x="2661" y="791"/>
                  </a:cubicBezTo>
                  <a:cubicBezTo>
                    <a:pt x="2598" y="949"/>
                    <a:pt x="2521" y="1103"/>
                    <a:pt x="2426" y="1246"/>
                  </a:cubicBezTo>
                  <a:cubicBezTo>
                    <a:pt x="2241" y="1533"/>
                    <a:pt x="1821" y="1740"/>
                    <a:pt x="1453" y="1918"/>
                  </a:cubicBezTo>
                  <a:cubicBezTo>
                    <a:pt x="1208" y="2038"/>
                    <a:pt x="980" y="2150"/>
                    <a:pt x="924" y="2241"/>
                  </a:cubicBezTo>
                  <a:cubicBezTo>
                    <a:pt x="840" y="2374"/>
                    <a:pt x="686" y="2482"/>
                    <a:pt x="532" y="2591"/>
                  </a:cubicBezTo>
                  <a:cubicBezTo>
                    <a:pt x="399" y="2689"/>
                    <a:pt x="245" y="2797"/>
                    <a:pt x="242" y="2867"/>
                  </a:cubicBezTo>
                  <a:cubicBezTo>
                    <a:pt x="235" y="2958"/>
                    <a:pt x="182" y="3032"/>
                    <a:pt x="130" y="3102"/>
                  </a:cubicBezTo>
                  <a:cubicBezTo>
                    <a:pt x="42" y="3224"/>
                    <a:pt x="0" y="3298"/>
                    <a:pt x="84" y="3420"/>
                  </a:cubicBezTo>
                  <a:cubicBezTo>
                    <a:pt x="144" y="3508"/>
                    <a:pt x="210" y="3511"/>
                    <a:pt x="298" y="3522"/>
                  </a:cubicBezTo>
                  <a:cubicBezTo>
                    <a:pt x="389" y="3529"/>
                    <a:pt x="483" y="3539"/>
                    <a:pt x="574" y="3630"/>
                  </a:cubicBezTo>
                  <a:cubicBezTo>
                    <a:pt x="620" y="3676"/>
                    <a:pt x="685" y="3701"/>
                    <a:pt x="750" y="3701"/>
                  </a:cubicBezTo>
                  <a:cubicBezTo>
                    <a:pt x="755" y="3701"/>
                    <a:pt x="759" y="3701"/>
                    <a:pt x="763" y="3700"/>
                  </a:cubicBezTo>
                  <a:cubicBezTo>
                    <a:pt x="833" y="3700"/>
                    <a:pt x="921" y="3707"/>
                    <a:pt x="973" y="3802"/>
                  </a:cubicBezTo>
                  <a:cubicBezTo>
                    <a:pt x="977" y="3809"/>
                    <a:pt x="1001" y="3830"/>
                    <a:pt x="1071" y="3844"/>
                  </a:cubicBezTo>
                  <a:cubicBezTo>
                    <a:pt x="1096" y="3848"/>
                    <a:pt x="1125" y="3850"/>
                    <a:pt x="1157" y="3850"/>
                  </a:cubicBezTo>
                  <a:cubicBezTo>
                    <a:pt x="1341" y="3850"/>
                    <a:pt x="1633" y="3776"/>
                    <a:pt x="1877" y="3553"/>
                  </a:cubicBezTo>
                  <a:cubicBezTo>
                    <a:pt x="2104" y="3350"/>
                    <a:pt x="2125" y="3214"/>
                    <a:pt x="2139" y="3116"/>
                  </a:cubicBezTo>
                  <a:cubicBezTo>
                    <a:pt x="2153" y="3046"/>
                    <a:pt x="2164" y="2972"/>
                    <a:pt x="2251" y="2916"/>
                  </a:cubicBezTo>
                  <a:cubicBezTo>
                    <a:pt x="2339" y="2864"/>
                    <a:pt x="2374" y="2734"/>
                    <a:pt x="2416" y="2605"/>
                  </a:cubicBezTo>
                  <a:cubicBezTo>
                    <a:pt x="2440" y="2524"/>
                    <a:pt x="2468" y="2447"/>
                    <a:pt x="2503" y="2374"/>
                  </a:cubicBezTo>
                  <a:lnTo>
                    <a:pt x="2521" y="2339"/>
                  </a:lnTo>
                  <a:cubicBezTo>
                    <a:pt x="2615" y="2164"/>
                    <a:pt x="2720" y="1960"/>
                    <a:pt x="3168" y="1960"/>
                  </a:cubicBezTo>
                  <a:cubicBezTo>
                    <a:pt x="3184" y="1961"/>
                    <a:pt x="3200" y="1962"/>
                    <a:pt x="3216" y="1962"/>
                  </a:cubicBezTo>
                  <a:cubicBezTo>
                    <a:pt x="3264" y="1962"/>
                    <a:pt x="3314" y="1958"/>
                    <a:pt x="3361" y="1950"/>
                  </a:cubicBezTo>
                  <a:cubicBezTo>
                    <a:pt x="3357" y="1939"/>
                    <a:pt x="3350" y="1929"/>
                    <a:pt x="3347" y="1918"/>
                  </a:cubicBezTo>
                  <a:cubicBezTo>
                    <a:pt x="3315" y="1866"/>
                    <a:pt x="3294" y="1806"/>
                    <a:pt x="3284" y="1743"/>
                  </a:cubicBezTo>
                  <a:cubicBezTo>
                    <a:pt x="3270" y="1607"/>
                    <a:pt x="3378" y="1530"/>
                    <a:pt x="3473" y="1460"/>
                  </a:cubicBezTo>
                  <a:cubicBezTo>
                    <a:pt x="3567" y="1393"/>
                    <a:pt x="3648" y="1334"/>
                    <a:pt x="3648" y="1229"/>
                  </a:cubicBezTo>
                  <a:cubicBezTo>
                    <a:pt x="3648" y="1075"/>
                    <a:pt x="3778" y="942"/>
                    <a:pt x="3904" y="816"/>
                  </a:cubicBezTo>
                  <a:cubicBezTo>
                    <a:pt x="4009" y="714"/>
                    <a:pt x="4114" y="609"/>
                    <a:pt x="4079" y="543"/>
                  </a:cubicBezTo>
                  <a:cubicBezTo>
                    <a:pt x="4033" y="452"/>
                    <a:pt x="4026" y="343"/>
                    <a:pt x="4061" y="245"/>
                  </a:cubicBezTo>
                  <a:cubicBezTo>
                    <a:pt x="4079" y="168"/>
                    <a:pt x="4082" y="147"/>
                    <a:pt x="4030" y="112"/>
                  </a:cubicBezTo>
                  <a:cubicBezTo>
                    <a:pt x="4001" y="91"/>
                    <a:pt x="3978" y="80"/>
                    <a:pt x="3955" y="80"/>
                  </a:cubicBezTo>
                  <a:cubicBezTo>
                    <a:pt x="3917" y="80"/>
                    <a:pt x="3879" y="107"/>
                    <a:pt x="3816" y="154"/>
                  </a:cubicBezTo>
                  <a:cubicBezTo>
                    <a:pt x="3767" y="193"/>
                    <a:pt x="3715" y="224"/>
                    <a:pt x="3658" y="252"/>
                  </a:cubicBezTo>
                  <a:cubicBezTo>
                    <a:pt x="3634" y="264"/>
                    <a:pt x="3610" y="269"/>
                    <a:pt x="3588" y="269"/>
                  </a:cubicBezTo>
                  <a:cubicBezTo>
                    <a:pt x="3498" y="269"/>
                    <a:pt x="3423" y="186"/>
                    <a:pt x="3361" y="119"/>
                  </a:cubicBezTo>
                  <a:cubicBezTo>
                    <a:pt x="3284" y="39"/>
                    <a:pt x="3242" y="0"/>
                    <a:pt x="3200"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085" name="Google Shape;6085;p104"/>
            <p:cNvSpPr/>
            <p:nvPr/>
          </p:nvSpPr>
          <p:spPr>
            <a:xfrm>
              <a:off x="3327113" y="2318822"/>
              <a:ext cx="40271" cy="57243"/>
            </a:xfrm>
            <a:custGeom>
              <a:avLst/>
              <a:gdLst/>
              <a:ahLst/>
              <a:cxnLst/>
              <a:rect l="l" t="t" r="r" b="b"/>
              <a:pathLst>
                <a:path w="2966" h="4216" extrusionOk="0">
                  <a:moveTo>
                    <a:pt x="56" y="1"/>
                  </a:moveTo>
                  <a:cubicBezTo>
                    <a:pt x="46" y="1"/>
                    <a:pt x="39" y="1"/>
                    <a:pt x="28" y="4"/>
                  </a:cubicBezTo>
                  <a:cubicBezTo>
                    <a:pt x="0" y="46"/>
                    <a:pt x="116" y="288"/>
                    <a:pt x="274" y="473"/>
                  </a:cubicBezTo>
                  <a:cubicBezTo>
                    <a:pt x="330" y="533"/>
                    <a:pt x="386" y="585"/>
                    <a:pt x="449" y="631"/>
                  </a:cubicBezTo>
                  <a:cubicBezTo>
                    <a:pt x="571" y="729"/>
                    <a:pt x="676" y="809"/>
                    <a:pt x="666" y="911"/>
                  </a:cubicBezTo>
                  <a:cubicBezTo>
                    <a:pt x="659" y="988"/>
                    <a:pt x="827" y="1240"/>
                    <a:pt x="949" y="1278"/>
                  </a:cubicBezTo>
                  <a:cubicBezTo>
                    <a:pt x="1089" y="1327"/>
                    <a:pt x="1044" y="1509"/>
                    <a:pt x="984" y="1723"/>
                  </a:cubicBezTo>
                  <a:cubicBezTo>
                    <a:pt x="942" y="1863"/>
                    <a:pt x="918" y="2007"/>
                    <a:pt x="907" y="2154"/>
                  </a:cubicBezTo>
                  <a:cubicBezTo>
                    <a:pt x="907" y="2406"/>
                    <a:pt x="778" y="2479"/>
                    <a:pt x="645" y="2549"/>
                  </a:cubicBezTo>
                  <a:cubicBezTo>
                    <a:pt x="571" y="2584"/>
                    <a:pt x="501" y="2633"/>
                    <a:pt x="445" y="2696"/>
                  </a:cubicBezTo>
                  <a:cubicBezTo>
                    <a:pt x="431" y="2707"/>
                    <a:pt x="428" y="2724"/>
                    <a:pt x="428" y="2738"/>
                  </a:cubicBezTo>
                  <a:cubicBezTo>
                    <a:pt x="445" y="2826"/>
                    <a:pt x="659" y="2948"/>
                    <a:pt x="830" y="3046"/>
                  </a:cubicBezTo>
                  <a:cubicBezTo>
                    <a:pt x="946" y="3106"/>
                    <a:pt x="1058" y="3179"/>
                    <a:pt x="1163" y="3256"/>
                  </a:cubicBezTo>
                  <a:cubicBezTo>
                    <a:pt x="1373" y="3428"/>
                    <a:pt x="1219" y="3725"/>
                    <a:pt x="1110" y="3943"/>
                  </a:cubicBezTo>
                  <a:cubicBezTo>
                    <a:pt x="1072" y="4016"/>
                    <a:pt x="1023" y="4118"/>
                    <a:pt x="1023" y="4149"/>
                  </a:cubicBezTo>
                  <a:cubicBezTo>
                    <a:pt x="1040" y="4172"/>
                    <a:pt x="1121" y="4216"/>
                    <a:pt x="1257" y="4216"/>
                  </a:cubicBezTo>
                  <a:cubicBezTo>
                    <a:pt x="1310" y="4216"/>
                    <a:pt x="1372" y="4209"/>
                    <a:pt x="1443" y="4191"/>
                  </a:cubicBezTo>
                  <a:cubicBezTo>
                    <a:pt x="1579" y="4153"/>
                    <a:pt x="1691" y="3929"/>
                    <a:pt x="1789" y="3729"/>
                  </a:cubicBezTo>
                  <a:cubicBezTo>
                    <a:pt x="1863" y="3578"/>
                    <a:pt x="1936" y="3431"/>
                    <a:pt x="2024" y="3354"/>
                  </a:cubicBezTo>
                  <a:cubicBezTo>
                    <a:pt x="2111" y="3277"/>
                    <a:pt x="2118" y="3165"/>
                    <a:pt x="2125" y="3050"/>
                  </a:cubicBezTo>
                  <a:cubicBezTo>
                    <a:pt x="2129" y="2962"/>
                    <a:pt x="2132" y="2868"/>
                    <a:pt x="2185" y="2794"/>
                  </a:cubicBezTo>
                  <a:cubicBezTo>
                    <a:pt x="2294" y="2647"/>
                    <a:pt x="2441" y="2647"/>
                    <a:pt x="2570" y="2647"/>
                  </a:cubicBezTo>
                  <a:lnTo>
                    <a:pt x="2598" y="2647"/>
                  </a:lnTo>
                  <a:cubicBezTo>
                    <a:pt x="2616" y="2616"/>
                    <a:pt x="2630" y="2584"/>
                    <a:pt x="2633" y="2549"/>
                  </a:cubicBezTo>
                  <a:cubicBezTo>
                    <a:pt x="2654" y="2458"/>
                    <a:pt x="2689" y="2322"/>
                    <a:pt x="2829" y="2322"/>
                  </a:cubicBezTo>
                  <a:cubicBezTo>
                    <a:pt x="2864" y="2322"/>
                    <a:pt x="2875" y="2315"/>
                    <a:pt x="2889" y="2171"/>
                  </a:cubicBezTo>
                  <a:cubicBezTo>
                    <a:pt x="2896" y="2070"/>
                    <a:pt x="2917" y="1972"/>
                    <a:pt x="2952" y="1877"/>
                  </a:cubicBezTo>
                  <a:cubicBezTo>
                    <a:pt x="2966" y="1835"/>
                    <a:pt x="2955" y="1828"/>
                    <a:pt x="2945" y="1821"/>
                  </a:cubicBezTo>
                  <a:cubicBezTo>
                    <a:pt x="2928" y="1813"/>
                    <a:pt x="2904" y="1809"/>
                    <a:pt x="2876" y="1809"/>
                  </a:cubicBezTo>
                  <a:cubicBezTo>
                    <a:pt x="2763" y="1809"/>
                    <a:pt x="2586" y="1873"/>
                    <a:pt x="2535" y="1958"/>
                  </a:cubicBezTo>
                  <a:cubicBezTo>
                    <a:pt x="2488" y="2034"/>
                    <a:pt x="2427" y="2059"/>
                    <a:pt x="2362" y="2059"/>
                  </a:cubicBezTo>
                  <a:cubicBezTo>
                    <a:pt x="2291" y="2059"/>
                    <a:pt x="2216" y="2029"/>
                    <a:pt x="2153" y="2003"/>
                  </a:cubicBezTo>
                  <a:cubicBezTo>
                    <a:pt x="2087" y="1968"/>
                    <a:pt x="2017" y="1951"/>
                    <a:pt x="1943" y="1944"/>
                  </a:cubicBezTo>
                  <a:cubicBezTo>
                    <a:pt x="1937" y="1944"/>
                    <a:pt x="1932" y="1944"/>
                    <a:pt x="1926" y="1944"/>
                  </a:cubicBezTo>
                  <a:cubicBezTo>
                    <a:pt x="1713" y="1944"/>
                    <a:pt x="1541" y="1763"/>
                    <a:pt x="1551" y="1548"/>
                  </a:cubicBezTo>
                  <a:cubicBezTo>
                    <a:pt x="1551" y="1425"/>
                    <a:pt x="1527" y="1271"/>
                    <a:pt x="1457" y="1205"/>
                  </a:cubicBezTo>
                  <a:cubicBezTo>
                    <a:pt x="1438" y="1187"/>
                    <a:pt x="1415" y="1176"/>
                    <a:pt x="1388" y="1176"/>
                  </a:cubicBezTo>
                  <a:cubicBezTo>
                    <a:pt x="1384" y="1176"/>
                    <a:pt x="1380" y="1176"/>
                    <a:pt x="1376" y="1177"/>
                  </a:cubicBezTo>
                  <a:lnTo>
                    <a:pt x="1369" y="1177"/>
                  </a:lnTo>
                  <a:cubicBezTo>
                    <a:pt x="1376" y="1191"/>
                    <a:pt x="1387" y="1212"/>
                    <a:pt x="1394" y="1226"/>
                  </a:cubicBezTo>
                  <a:cubicBezTo>
                    <a:pt x="1425" y="1289"/>
                    <a:pt x="1471" y="1380"/>
                    <a:pt x="1415" y="1453"/>
                  </a:cubicBezTo>
                  <a:cubicBezTo>
                    <a:pt x="1394" y="1485"/>
                    <a:pt x="1362" y="1502"/>
                    <a:pt x="1327" y="1506"/>
                  </a:cubicBezTo>
                  <a:lnTo>
                    <a:pt x="1324" y="1506"/>
                  </a:lnTo>
                  <a:cubicBezTo>
                    <a:pt x="1268" y="1506"/>
                    <a:pt x="1233" y="1460"/>
                    <a:pt x="1201" y="1425"/>
                  </a:cubicBezTo>
                  <a:cubicBezTo>
                    <a:pt x="1187" y="1408"/>
                    <a:pt x="1159" y="1369"/>
                    <a:pt x="1145" y="1369"/>
                  </a:cubicBezTo>
                  <a:cubicBezTo>
                    <a:pt x="1016" y="1369"/>
                    <a:pt x="872" y="1215"/>
                    <a:pt x="872" y="928"/>
                  </a:cubicBezTo>
                  <a:cubicBezTo>
                    <a:pt x="876" y="858"/>
                    <a:pt x="844" y="792"/>
                    <a:pt x="792" y="743"/>
                  </a:cubicBezTo>
                  <a:cubicBezTo>
                    <a:pt x="711" y="662"/>
                    <a:pt x="666" y="550"/>
                    <a:pt x="669" y="431"/>
                  </a:cubicBezTo>
                  <a:cubicBezTo>
                    <a:pt x="669" y="197"/>
                    <a:pt x="263" y="1"/>
                    <a:pt x="56" y="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086" name="Google Shape;6086;p104"/>
            <p:cNvSpPr/>
            <p:nvPr/>
          </p:nvSpPr>
          <p:spPr>
            <a:xfrm>
              <a:off x="2437868" y="1704617"/>
              <a:ext cx="103542" cy="63855"/>
            </a:xfrm>
            <a:custGeom>
              <a:avLst/>
              <a:gdLst/>
              <a:ahLst/>
              <a:cxnLst/>
              <a:rect l="l" t="t" r="r" b="b"/>
              <a:pathLst>
                <a:path w="7626" h="4703" extrusionOk="0">
                  <a:moveTo>
                    <a:pt x="3221" y="0"/>
                  </a:moveTo>
                  <a:cubicBezTo>
                    <a:pt x="3213" y="0"/>
                    <a:pt x="3206" y="1"/>
                    <a:pt x="3200" y="3"/>
                  </a:cubicBezTo>
                  <a:cubicBezTo>
                    <a:pt x="3141" y="94"/>
                    <a:pt x="3025" y="136"/>
                    <a:pt x="2952" y="143"/>
                  </a:cubicBezTo>
                  <a:lnTo>
                    <a:pt x="2945" y="164"/>
                  </a:lnTo>
                  <a:cubicBezTo>
                    <a:pt x="2922" y="227"/>
                    <a:pt x="2880" y="355"/>
                    <a:pt x="2744" y="355"/>
                  </a:cubicBezTo>
                  <a:cubicBezTo>
                    <a:pt x="2735" y="355"/>
                    <a:pt x="2727" y="354"/>
                    <a:pt x="2717" y="353"/>
                  </a:cubicBezTo>
                  <a:cubicBezTo>
                    <a:pt x="2715" y="353"/>
                    <a:pt x="2712" y="353"/>
                    <a:pt x="2710" y="353"/>
                  </a:cubicBezTo>
                  <a:cubicBezTo>
                    <a:pt x="2647" y="353"/>
                    <a:pt x="2557" y="394"/>
                    <a:pt x="2486" y="458"/>
                  </a:cubicBezTo>
                  <a:cubicBezTo>
                    <a:pt x="2444" y="490"/>
                    <a:pt x="2416" y="532"/>
                    <a:pt x="2402" y="581"/>
                  </a:cubicBezTo>
                  <a:lnTo>
                    <a:pt x="2402" y="602"/>
                  </a:lnTo>
                  <a:cubicBezTo>
                    <a:pt x="2402" y="679"/>
                    <a:pt x="2402" y="784"/>
                    <a:pt x="2332" y="850"/>
                  </a:cubicBezTo>
                  <a:cubicBezTo>
                    <a:pt x="2289" y="888"/>
                    <a:pt x="2231" y="909"/>
                    <a:pt x="2172" y="909"/>
                  </a:cubicBezTo>
                  <a:cubicBezTo>
                    <a:pt x="2160" y="909"/>
                    <a:pt x="2148" y="908"/>
                    <a:pt x="2136" y="906"/>
                  </a:cubicBezTo>
                  <a:lnTo>
                    <a:pt x="2080" y="899"/>
                  </a:lnTo>
                  <a:lnTo>
                    <a:pt x="2063" y="896"/>
                  </a:lnTo>
                  <a:lnTo>
                    <a:pt x="2024" y="892"/>
                  </a:lnTo>
                  <a:lnTo>
                    <a:pt x="2003" y="889"/>
                  </a:lnTo>
                  <a:lnTo>
                    <a:pt x="1972" y="882"/>
                  </a:lnTo>
                  <a:lnTo>
                    <a:pt x="1951" y="878"/>
                  </a:lnTo>
                  <a:lnTo>
                    <a:pt x="1919" y="871"/>
                  </a:lnTo>
                  <a:lnTo>
                    <a:pt x="1902" y="868"/>
                  </a:lnTo>
                  <a:lnTo>
                    <a:pt x="1870" y="861"/>
                  </a:lnTo>
                  <a:lnTo>
                    <a:pt x="1853" y="854"/>
                  </a:lnTo>
                  <a:lnTo>
                    <a:pt x="1825" y="847"/>
                  </a:lnTo>
                  <a:lnTo>
                    <a:pt x="1807" y="840"/>
                  </a:lnTo>
                  <a:lnTo>
                    <a:pt x="1783" y="829"/>
                  </a:lnTo>
                  <a:lnTo>
                    <a:pt x="1765" y="826"/>
                  </a:lnTo>
                  <a:lnTo>
                    <a:pt x="1762" y="826"/>
                  </a:lnTo>
                  <a:cubicBezTo>
                    <a:pt x="1717" y="851"/>
                    <a:pt x="1665" y="867"/>
                    <a:pt x="1612" y="867"/>
                  </a:cubicBezTo>
                  <a:cubicBezTo>
                    <a:pt x="1599" y="867"/>
                    <a:pt x="1586" y="866"/>
                    <a:pt x="1573" y="864"/>
                  </a:cubicBezTo>
                  <a:cubicBezTo>
                    <a:pt x="1513" y="857"/>
                    <a:pt x="1457" y="833"/>
                    <a:pt x="1412" y="794"/>
                  </a:cubicBezTo>
                  <a:cubicBezTo>
                    <a:pt x="1401" y="787"/>
                    <a:pt x="1394" y="777"/>
                    <a:pt x="1384" y="766"/>
                  </a:cubicBezTo>
                  <a:cubicBezTo>
                    <a:pt x="1373" y="759"/>
                    <a:pt x="1366" y="749"/>
                    <a:pt x="1356" y="738"/>
                  </a:cubicBezTo>
                  <a:lnTo>
                    <a:pt x="1352" y="735"/>
                  </a:lnTo>
                  <a:cubicBezTo>
                    <a:pt x="1345" y="724"/>
                    <a:pt x="1335" y="714"/>
                    <a:pt x="1324" y="700"/>
                  </a:cubicBezTo>
                  <a:cubicBezTo>
                    <a:pt x="1124" y="434"/>
                    <a:pt x="844" y="206"/>
                    <a:pt x="708" y="206"/>
                  </a:cubicBezTo>
                  <a:lnTo>
                    <a:pt x="522" y="206"/>
                  </a:lnTo>
                  <a:lnTo>
                    <a:pt x="494" y="210"/>
                  </a:lnTo>
                  <a:lnTo>
                    <a:pt x="477" y="210"/>
                  </a:lnTo>
                  <a:lnTo>
                    <a:pt x="449" y="213"/>
                  </a:lnTo>
                  <a:lnTo>
                    <a:pt x="435" y="213"/>
                  </a:lnTo>
                  <a:lnTo>
                    <a:pt x="400" y="220"/>
                  </a:lnTo>
                  <a:lnTo>
                    <a:pt x="393" y="220"/>
                  </a:lnTo>
                  <a:lnTo>
                    <a:pt x="368" y="224"/>
                  </a:lnTo>
                  <a:lnTo>
                    <a:pt x="354" y="227"/>
                  </a:lnTo>
                  <a:lnTo>
                    <a:pt x="337" y="231"/>
                  </a:lnTo>
                  <a:lnTo>
                    <a:pt x="326" y="234"/>
                  </a:lnTo>
                  <a:lnTo>
                    <a:pt x="312" y="238"/>
                  </a:lnTo>
                  <a:lnTo>
                    <a:pt x="302" y="241"/>
                  </a:lnTo>
                  <a:lnTo>
                    <a:pt x="288" y="248"/>
                  </a:lnTo>
                  <a:lnTo>
                    <a:pt x="281" y="252"/>
                  </a:lnTo>
                  <a:lnTo>
                    <a:pt x="263" y="259"/>
                  </a:lnTo>
                  <a:lnTo>
                    <a:pt x="246" y="269"/>
                  </a:lnTo>
                  <a:lnTo>
                    <a:pt x="242" y="269"/>
                  </a:lnTo>
                  <a:lnTo>
                    <a:pt x="232" y="276"/>
                  </a:lnTo>
                  <a:lnTo>
                    <a:pt x="228" y="280"/>
                  </a:lnTo>
                  <a:lnTo>
                    <a:pt x="225" y="283"/>
                  </a:lnTo>
                  <a:cubicBezTo>
                    <a:pt x="266" y="270"/>
                    <a:pt x="312" y="263"/>
                    <a:pt x="357" y="263"/>
                  </a:cubicBezTo>
                  <a:cubicBezTo>
                    <a:pt x="372" y="263"/>
                    <a:pt x="388" y="264"/>
                    <a:pt x="403" y="266"/>
                  </a:cubicBezTo>
                  <a:cubicBezTo>
                    <a:pt x="676" y="287"/>
                    <a:pt x="722" y="490"/>
                    <a:pt x="750" y="626"/>
                  </a:cubicBezTo>
                  <a:cubicBezTo>
                    <a:pt x="774" y="731"/>
                    <a:pt x="788" y="763"/>
                    <a:pt x="823" y="766"/>
                  </a:cubicBezTo>
                  <a:cubicBezTo>
                    <a:pt x="974" y="777"/>
                    <a:pt x="1138" y="917"/>
                    <a:pt x="1194" y="1032"/>
                  </a:cubicBezTo>
                  <a:cubicBezTo>
                    <a:pt x="1223" y="1074"/>
                    <a:pt x="1223" y="1130"/>
                    <a:pt x="1194" y="1172"/>
                  </a:cubicBezTo>
                  <a:cubicBezTo>
                    <a:pt x="1171" y="1205"/>
                    <a:pt x="1131" y="1223"/>
                    <a:pt x="1090" y="1223"/>
                  </a:cubicBezTo>
                  <a:cubicBezTo>
                    <a:pt x="1083" y="1223"/>
                    <a:pt x="1076" y="1222"/>
                    <a:pt x="1068" y="1221"/>
                  </a:cubicBezTo>
                  <a:cubicBezTo>
                    <a:pt x="1062" y="1221"/>
                    <a:pt x="1055" y="1220"/>
                    <a:pt x="1048" y="1220"/>
                  </a:cubicBezTo>
                  <a:cubicBezTo>
                    <a:pt x="985" y="1220"/>
                    <a:pt x="921" y="1249"/>
                    <a:pt x="851" y="1277"/>
                  </a:cubicBezTo>
                  <a:cubicBezTo>
                    <a:pt x="777" y="1311"/>
                    <a:pt x="693" y="1346"/>
                    <a:pt x="604" y="1346"/>
                  </a:cubicBezTo>
                  <a:cubicBezTo>
                    <a:pt x="572" y="1346"/>
                    <a:pt x="539" y="1341"/>
                    <a:pt x="505" y="1330"/>
                  </a:cubicBezTo>
                  <a:cubicBezTo>
                    <a:pt x="463" y="1316"/>
                    <a:pt x="421" y="1299"/>
                    <a:pt x="382" y="1285"/>
                  </a:cubicBezTo>
                  <a:cubicBezTo>
                    <a:pt x="304" y="1251"/>
                    <a:pt x="220" y="1218"/>
                    <a:pt x="164" y="1218"/>
                  </a:cubicBezTo>
                  <a:cubicBezTo>
                    <a:pt x="149" y="1218"/>
                    <a:pt x="137" y="1220"/>
                    <a:pt x="127" y="1225"/>
                  </a:cubicBezTo>
                  <a:cubicBezTo>
                    <a:pt x="120" y="1228"/>
                    <a:pt x="99" y="1235"/>
                    <a:pt x="85" y="1285"/>
                  </a:cubicBezTo>
                  <a:lnTo>
                    <a:pt x="78" y="1316"/>
                  </a:lnTo>
                  <a:cubicBezTo>
                    <a:pt x="46" y="1428"/>
                    <a:pt x="1" y="1586"/>
                    <a:pt x="39" y="1635"/>
                  </a:cubicBezTo>
                  <a:cubicBezTo>
                    <a:pt x="53" y="1651"/>
                    <a:pt x="82" y="1657"/>
                    <a:pt x="109" y="1657"/>
                  </a:cubicBezTo>
                  <a:cubicBezTo>
                    <a:pt x="116" y="1657"/>
                    <a:pt x="123" y="1656"/>
                    <a:pt x="130" y="1656"/>
                  </a:cubicBezTo>
                  <a:cubicBezTo>
                    <a:pt x="142" y="1655"/>
                    <a:pt x="153" y="1655"/>
                    <a:pt x="163" y="1655"/>
                  </a:cubicBezTo>
                  <a:cubicBezTo>
                    <a:pt x="271" y="1655"/>
                    <a:pt x="340" y="1686"/>
                    <a:pt x="368" y="1750"/>
                  </a:cubicBezTo>
                  <a:cubicBezTo>
                    <a:pt x="414" y="1852"/>
                    <a:pt x="330" y="1978"/>
                    <a:pt x="256" y="2065"/>
                  </a:cubicBezTo>
                  <a:cubicBezTo>
                    <a:pt x="285" y="2062"/>
                    <a:pt x="317" y="2060"/>
                    <a:pt x="349" y="2060"/>
                  </a:cubicBezTo>
                  <a:cubicBezTo>
                    <a:pt x="435" y="2060"/>
                    <a:pt x="522" y="2080"/>
                    <a:pt x="540" y="2177"/>
                  </a:cubicBezTo>
                  <a:cubicBezTo>
                    <a:pt x="550" y="2219"/>
                    <a:pt x="568" y="2258"/>
                    <a:pt x="596" y="2289"/>
                  </a:cubicBezTo>
                  <a:cubicBezTo>
                    <a:pt x="645" y="2363"/>
                    <a:pt x="701" y="2450"/>
                    <a:pt x="652" y="2643"/>
                  </a:cubicBezTo>
                  <a:cubicBezTo>
                    <a:pt x="620" y="2765"/>
                    <a:pt x="634" y="3003"/>
                    <a:pt x="648" y="3213"/>
                  </a:cubicBezTo>
                  <a:cubicBezTo>
                    <a:pt x="648" y="3241"/>
                    <a:pt x="652" y="3266"/>
                    <a:pt x="652" y="3290"/>
                  </a:cubicBezTo>
                  <a:lnTo>
                    <a:pt x="848" y="3290"/>
                  </a:lnTo>
                  <a:lnTo>
                    <a:pt x="862" y="3287"/>
                  </a:lnTo>
                  <a:lnTo>
                    <a:pt x="876" y="3283"/>
                  </a:lnTo>
                  <a:lnTo>
                    <a:pt x="890" y="3283"/>
                  </a:lnTo>
                  <a:lnTo>
                    <a:pt x="904" y="3280"/>
                  </a:lnTo>
                  <a:lnTo>
                    <a:pt x="914" y="3276"/>
                  </a:lnTo>
                  <a:lnTo>
                    <a:pt x="925" y="3273"/>
                  </a:lnTo>
                  <a:lnTo>
                    <a:pt x="932" y="3273"/>
                  </a:lnTo>
                  <a:lnTo>
                    <a:pt x="942" y="3269"/>
                  </a:lnTo>
                  <a:lnTo>
                    <a:pt x="949" y="3266"/>
                  </a:lnTo>
                  <a:lnTo>
                    <a:pt x="956" y="3262"/>
                  </a:lnTo>
                  <a:lnTo>
                    <a:pt x="960" y="3262"/>
                  </a:lnTo>
                  <a:lnTo>
                    <a:pt x="967" y="3259"/>
                  </a:lnTo>
                  <a:lnTo>
                    <a:pt x="981" y="3259"/>
                  </a:lnTo>
                  <a:cubicBezTo>
                    <a:pt x="1058" y="3150"/>
                    <a:pt x="1338" y="2891"/>
                    <a:pt x="1520" y="2891"/>
                  </a:cubicBezTo>
                  <a:cubicBezTo>
                    <a:pt x="1562" y="2895"/>
                    <a:pt x="1604" y="2898"/>
                    <a:pt x="1646" y="2902"/>
                  </a:cubicBezTo>
                  <a:cubicBezTo>
                    <a:pt x="1686" y="2907"/>
                    <a:pt x="1720" y="2911"/>
                    <a:pt x="1749" y="2911"/>
                  </a:cubicBezTo>
                  <a:cubicBezTo>
                    <a:pt x="1797" y="2911"/>
                    <a:pt x="1831" y="2901"/>
                    <a:pt x="1853" y="2870"/>
                  </a:cubicBezTo>
                  <a:cubicBezTo>
                    <a:pt x="1860" y="2863"/>
                    <a:pt x="1867" y="2856"/>
                    <a:pt x="1874" y="2849"/>
                  </a:cubicBezTo>
                  <a:cubicBezTo>
                    <a:pt x="1923" y="2804"/>
                    <a:pt x="2010" y="2776"/>
                    <a:pt x="2140" y="2772"/>
                  </a:cubicBezTo>
                  <a:cubicBezTo>
                    <a:pt x="2148" y="2772"/>
                    <a:pt x="2157" y="2772"/>
                    <a:pt x="2166" y="2772"/>
                  </a:cubicBezTo>
                  <a:cubicBezTo>
                    <a:pt x="2307" y="2772"/>
                    <a:pt x="2519" y="2799"/>
                    <a:pt x="2588" y="2884"/>
                  </a:cubicBezTo>
                  <a:cubicBezTo>
                    <a:pt x="2654" y="2965"/>
                    <a:pt x="2892" y="3038"/>
                    <a:pt x="2941" y="3038"/>
                  </a:cubicBezTo>
                  <a:cubicBezTo>
                    <a:pt x="2987" y="3042"/>
                    <a:pt x="3029" y="3066"/>
                    <a:pt x="3057" y="3105"/>
                  </a:cubicBezTo>
                  <a:cubicBezTo>
                    <a:pt x="3089" y="3140"/>
                    <a:pt x="3117" y="3169"/>
                    <a:pt x="3175" y="3169"/>
                  </a:cubicBezTo>
                  <a:cubicBezTo>
                    <a:pt x="3181" y="3169"/>
                    <a:pt x="3187" y="3169"/>
                    <a:pt x="3193" y="3168"/>
                  </a:cubicBezTo>
                  <a:cubicBezTo>
                    <a:pt x="3212" y="3166"/>
                    <a:pt x="3232" y="3165"/>
                    <a:pt x="3254" y="3165"/>
                  </a:cubicBezTo>
                  <a:cubicBezTo>
                    <a:pt x="3396" y="3165"/>
                    <a:pt x="3602" y="3205"/>
                    <a:pt x="3687" y="3283"/>
                  </a:cubicBezTo>
                  <a:cubicBezTo>
                    <a:pt x="3715" y="3304"/>
                    <a:pt x="3733" y="3336"/>
                    <a:pt x="3736" y="3371"/>
                  </a:cubicBezTo>
                  <a:lnTo>
                    <a:pt x="3736" y="3382"/>
                  </a:lnTo>
                  <a:cubicBezTo>
                    <a:pt x="3736" y="3438"/>
                    <a:pt x="3817" y="3508"/>
                    <a:pt x="3911" y="3508"/>
                  </a:cubicBezTo>
                  <a:cubicBezTo>
                    <a:pt x="4002" y="3508"/>
                    <a:pt x="4076" y="3599"/>
                    <a:pt x="4142" y="3690"/>
                  </a:cubicBezTo>
                  <a:cubicBezTo>
                    <a:pt x="4181" y="3735"/>
                    <a:pt x="4240" y="3816"/>
                    <a:pt x="4272" y="3816"/>
                  </a:cubicBezTo>
                  <a:cubicBezTo>
                    <a:pt x="4321" y="3812"/>
                    <a:pt x="4370" y="3809"/>
                    <a:pt x="4415" y="3809"/>
                  </a:cubicBezTo>
                  <a:cubicBezTo>
                    <a:pt x="4503" y="3809"/>
                    <a:pt x="4611" y="3816"/>
                    <a:pt x="4674" y="3851"/>
                  </a:cubicBezTo>
                  <a:cubicBezTo>
                    <a:pt x="4681" y="3854"/>
                    <a:pt x="4688" y="3861"/>
                    <a:pt x="4695" y="3865"/>
                  </a:cubicBezTo>
                  <a:cubicBezTo>
                    <a:pt x="4720" y="3886"/>
                    <a:pt x="4734" y="3914"/>
                    <a:pt x="4734" y="3945"/>
                  </a:cubicBezTo>
                  <a:lnTo>
                    <a:pt x="4734" y="3963"/>
                  </a:lnTo>
                  <a:lnTo>
                    <a:pt x="4734" y="3970"/>
                  </a:lnTo>
                  <a:lnTo>
                    <a:pt x="4734" y="3984"/>
                  </a:lnTo>
                  <a:lnTo>
                    <a:pt x="4734" y="3994"/>
                  </a:lnTo>
                  <a:lnTo>
                    <a:pt x="4734" y="4012"/>
                  </a:lnTo>
                  <a:lnTo>
                    <a:pt x="4734" y="4026"/>
                  </a:lnTo>
                  <a:lnTo>
                    <a:pt x="4734" y="4043"/>
                  </a:lnTo>
                  <a:lnTo>
                    <a:pt x="4734" y="4057"/>
                  </a:lnTo>
                  <a:lnTo>
                    <a:pt x="4734" y="4082"/>
                  </a:lnTo>
                  <a:lnTo>
                    <a:pt x="4734" y="4096"/>
                  </a:lnTo>
                  <a:lnTo>
                    <a:pt x="4734" y="4120"/>
                  </a:lnTo>
                  <a:lnTo>
                    <a:pt x="4734" y="4138"/>
                  </a:lnTo>
                  <a:lnTo>
                    <a:pt x="4737" y="4162"/>
                  </a:lnTo>
                  <a:lnTo>
                    <a:pt x="4737" y="4180"/>
                  </a:lnTo>
                  <a:cubicBezTo>
                    <a:pt x="4737" y="4190"/>
                    <a:pt x="4737" y="4201"/>
                    <a:pt x="4741" y="4211"/>
                  </a:cubicBezTo>
                  <a:lnTo>
                    <a:pt x="4741" y="4225"/>
                  </a:lnTo>
                  <a:cubicBezTo>
                    <a:pt x="4741" y="4236"/>
                    <a:pt x="4744" y="4250"/>
                    <a:pt x="4744" y="4264"/>
                  </a:cubicBezTo>
                  <a:lnTo>
                    <a:pt x="4744" y="4271"/>
                  </a:lnTo>
                  <a:cubicBezTo>
                    <a:pt x="4748" y="4285"/>
                    <a:pt x="4748" y="4302"/>
                    <a:pt x="4751" y="4320"/>
                  </a:cubicBezTo>
                  <a:lnTo>
                    <a:pt x="4751" y="4327"/>
                  </a:lnTo>
                  <a:lnTo>
                    <a:pt x="4758" y="4365"/>
                  </a:lnTo>
                  <a:lnTo>
                    <a:pt x="4758" y="4379"/>
                  </a:lnTo>
                  <a:cubicBezTo>
                    <a:pt x="4758" y="4390"/>
                    <a:pt x="4765" y="4400"/>
                    <a:pt x="4765" y="4411"/>
                  </a:cubicBezTo>
                  <a:lnTo>
                    <a:pt x="4769" y="4428"/>
                  </a:lnTo>
                  <a:lnTo>
                    <a:pt x="4776" y="4460"/>
                  </a:lnTo>
                  <a:lnTo>
                    <a:pt x="4779" y="4477"/>
                  </a:lnTo>
                  <a:lnTo>
                    <a:pt x="4783" y="4502"/>
                  </a:lnTo>
                  <a:lnTo>
                    <a:pt x="4790" y="4519"/>
                  </a:lnTo>
                  <a:lnTo>
                    <a:pt x="4793" y="4533"/>
                  </a:lnTo>
                  <a:cubicBezTo>
                    <a:pt x="4814" y="4525"/>
                    <a:pt x="4837" y="4521"/>
                    <a:pt x="4861" y="4521"/>
                  </a:cubicBezTo>
                  <a:cubicBezTo>
                    <a:pt x="4869" y="4521"/>
                    <a:pt x="4877" y="4522"/>
                    <a:pt x="4884" y="4523"/>
                  </a:cubicBezTo>
                  <a:cubicBezTo>
                    <a:pt x="4891" y="4526"/>
                    <a:pt x="4898" y="4526"/>
                    <a:pt x="4905" y="4530"/>
                  </a:cubicBezTo>
                  <a:lnTo>
                    <a:pt x="4909" y="4530"/>
                  </a:lnTo>
                  <a:cubicBezTo>
                    <a:pt x="4916" y="4533"/>
                    <a:pt x="4923" y="4537"/>
                    <a:pt x="4930" y="4540"/>
                  </a:cubicBezTo>
                  <a:lnTo>
                    <a:pt x="4933" y="4540"/>
                  </a:lnTo>
                  <a:cubicBezTo>
                    <a:pt x="4954" y="4544"/>
                    <a:pt x="4975" y="4544"/>
                    <a:pt x="4996" y="4544"/>
                  </a:cubicBezTo>
                  <a:lnTo>
                    <a:pt x="5178" y="4544"/>
                  </a:lnTo>
                  <a:lnTo>
                    <a:pt x="5192" y="4547"/>
                  </a:lnTo>
                  <a:lnTo>
                    <a:pt x="5199" y="4547"/>
                  </a:lnTo>
                  <a:lnTo>
                    <a:pt x="5220" y="4551"/>
                  </a:lnTo>
                  <a:lnTo>
                    <a:pt x="5234" y="4558"/>
                  </a:lnTo>
                  <a:lnTo>
                    <a:pt x="5241" y="4561"/>
                  </a:lnTo>
                  <a:lnTo>
                    <a:pt x="5255" y="4565"/>
                  </a:lnTo>
                  <a:lnTo>
                    <a:pt x="5262" y="4568"/>
                  </a:lnTo>
                  <a:lnTo>
                    <a:pt x="5273" y="4575"/>
                  </a:lnTo>
                  <a:lnTo>
                    <a:pt x="5280" y="4582"/>
                  </a:lnTo>
                  <a:lnTo>
                    <a:pt x="5290" y="4589"/>
                  </a:lnTo>
                  <a:lnTo>
                    <a:pt x="5297" y="4596"/>
                  </a:lnTo>
                  <a:lnTo>
                    <a:pt x="5308" y="4603"/>
                  </a:lnTo>
                  <a:lnTo>
                    <a:pt x="5315" y="4610"/>
                  </a:lnTo>
                  <a:lnTo>
                    <a:pt x="5322" y="4624"/>
                  </a:lnTo>
                  <a:lnTo>
                    <a:pt x="5329" y="4631"/>
                  </a:lnTo>
                  <a:cubicBezTo>
                    <a:pt x="5332" y="4635"/>
                    <a:pt x="5332" y="4638"/>
                    <a:pt x="5336" y="4645"/>
                  </a:cubicBezTo>
                  <a:lnTo>
                    <a:pt x="5339" y="4652"/>
                  </a:lnTo>
                  <a:cubicBezTo>
                    <a:pt x="5343" y="4659"/>
                    <a:pt x="5346" y="4666"/>
                    <a:pt x="5350" y="4677"/>
                  </a:cubicBezTo>
                  <a:cubicBezTo>
                    <a:pt x="5353" y="4690"/>
                    <a:pt x="5386" y="4703"/>
                    <a:pt x="5438" y="4703"/>
                  </a:cubicBezTo>
                  <a:cubicBezTo>
                    <a:pt x="5456" y="4703"/>
                    <a:pt x="5476" y="4701"/>
                    <a:pt x="5497" y="4698"/>
                  </a:cubicBezTo>
                  <a:cubicBezTo>
                    <a:pt x="5578" y="4684"/>
                    <a:pt x="5704" y="4624"/>
                    <a:pt x="5693" y="4526"/>
                  </a:cubicBezTo>
                  <a:cubicBezTo>
                    <a:pt x="5679" y="4348"/>
                    <a:pt x="5907" y="4281"/>
                    <a:pt x="6127" y="4215"/>
                  </a:cubicBezTo>
                  <a:cubicBezTo>
                    <a:pt x="6274" y="4169"/>
                    <a:pt x="6453" y="4117"/>
                    <a:pt x="6474" y="4050"/>
                  </a:cubicBezTo>
                  <a:cubicBezTo>
                    <a:pt x="6481" y="4026"/>
                    <a:pt x="6488" y="3998"/>
                    <a:pt x="6498" y="3970"/>
                  </a:cubicBezTo>
                  <a:cubicBezTo>
                    <a:pt x="6554" y="3767"/>
                    <a:pt x="6621" y="3539"/>
                    <a:pt x="6750" y="3473"/>
                  </a:cubicBezTo>
                  <a:cubicBezTo>
                    <a:pt x="6774" y="3461"/>
                    <a:pt x="6800" y="3454"/>
                    <a:pt x="6826" y="3454"/>
                  </a:cubicBezTo>
                  <a:cubicBezTo>
                    <a:pt x="6846" y="3454"/>
                    <a:pt x="6865" y="3458"/>
                    <a:pt x="6883" y="3466"/>
                  </a:cubicBezTo>
                  <a:cubicBezTo>
                    <a:pt x="6890" y="3468"/>
                    <a:pt x="6897" y="3469"/>
                    <a:pt x="6903" y="3469"/>
                  </a:cubicBezTo>
                  <a:cubicBezTo>
                    <a:pt x="6946" y="3469"/>
                    <a:pt x="6991" y="3423"/>
                    <a:pt x="7051" y="3353"/>
                  </a:cubicBezTo>
                  <a:cubicBezTo>
                    <a:pt x="7116" y="3279"/>
                    <a:pt x="7187" y="3201"/>
                    <a:pt x="7281" y="3201"/>
                  </a:cubicBezTo>
                  <a:cubicBezTo>
                    <a:pt x="7288" y="3201"/>
                    <a:pt x="7296" y="3202"/>
                    <a:pt x="7303" y="3203"/>
                  </a:cubicBezTo>
                  <a:cubicBezTo>
                    <a:pt x="7359" y="3213"/>
                    <a:pt x="7415" y="3231"/>
                    <a:pt x="7468" y="3259"/>
                  </a:cubicBezTo>
                  <a:cubicBezTo>
                    <a:pt x="7517" y="3283"/>
                    <a:pt x="7573" y="3301"/>
                    <a:pt x="7626" y="3304"/>
                  </a:cubicBezTo>
                  <a:lnTo>
                    <a:pt x="7598" y="3049"/>
                  </a:lnTo>
                  <a:cubicBezTo>
                    <a:pt x="7463" y="2985"/>
                    <a:pt x="7268" y="2908"/>
                    <a:pt x="7190" y="2908"/>
                  </a:cubicBezTo>
                  <a:cubicBezTo>
                    <a:pt x="7187" y="2908"/>
                    <a:pt x="7184" y="2909"/>
                    <a:pt x="7181" y="2909"/>
                  </a:cubicBezTo>
                  <a:cubicBezTo>
                    <a:pt x="7174" y="2910"/>
                    <a:pt x="7167" y="2910"/>
                    <a:pt x="7161" y="2910"/>
                  </a:cubicBezTo>
                  <a:cubicBezTo>
                    <a:pt x="7072" y="2910"/>
                    <a:pt x="6980" y="2828"/>
                    <a:pt x="6876" y="2737"/>
                  </a:cubicBezTo>
                  <a:cubicBezTo>
                    <a:pt x="6785" y="2660"/>
                    <a:pt x="6684" y="2569"/>
                    <a:pt x="6586" y="2534"/>
                  </a:cubicBezTo>
                  <a:cubicBezTo>
                    <a:pt x="6463" y="2489"/>
                    <a:pt x="6050" y="2331"/>
                    <a:pt x="5921" y="2135"/>
                  </a:cubicBezTo>
                  <a:cubicBezTo>
                    <a:pt x="5882" y="2076"/>
                    <a:pt x="5756" y="2006"/>
                    <a:pt x="5648" y="1943"/>
                  </a:cubicBezTo>
                  <a:cubicBezTo>
                    <a:pt x="5494" y="1855"/>
                    <a:pt x="5396" y="1796"/>
                    <a:pt x="5364" y="1722"/>
                  </a:cubicBezTo>
                  <a:lnTo>
                    <a:pt x="5360" y="1708"/>
                  </a:lnTo>
                  <a:cubicBezTo>
                    <a:pt x="5301" y="1558"/>
                    <a:pt x="5224" y="1418"/>
                    <a:pt x="5133" y="1285"/>
                  </a:cubicBezTo>
                  <a:cubicBezTo>
                    <a:pt x="5084" y="1221"/>
                    <a:pt x="5049" y="1151"/>
                    <a:pt x="5024" y="1074"/>
                  </a:cubicBezTo>
                  <a:cubicBezTo>
                    <a:pt x="4993" y="1001"/>
                    <a:pt x="4975" y="955"/>
                    <a:pt x="4947" y="952"/>
                  </a:cubicBezTo>
                  <a:cubicBezTo>
                    <a:pt x="4923" y="948"/>
                    <a:pt x="4846" y="948"/>
                    <a:pt x="4765" y="945"/>
                  </a:cubicBezTo>
                  <a:cubicBezTo>
                    <a:pt x="4244" y="931"/>
                    <a:pt x="4083" y="906"/>
                    <a:pt x="4083" y="791"/>
                  </a:cubicBezTo>
                  <a:cubicBezTo>
                    <a:pt x="4083" y="616"/>
                    <a:pt x="4009" y="290"/>
                    <a:pt x="3939" y="273"/>
                  </a:cubicBezTo>
                  <a:lnTo>
                    <a:pt x="3880" y="259"/>
                  </a:lnTo>
                  <a:cubicBezTo>
                    <a:pt x="3736" y="231"/>
                    <a:pt x="3572" y="192"/>
                    <a:pt x="3488" y="108"/>
                  </a:cubicBezTo>
                  <a:cubicBezTo>
                    <a:pt x="3429" y="53"/>
                    <a:pt x="3284" y="0"/>
                    <a:pt x="3221"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087" name="Google Shape;6087;p104"/>
            <p:cNvSpPr/>
            <p:nvPr/>
          </p:nvSpPr>
          <p:spPr>
            <a:xfrm>
              <a:off x="2461928" y="1715967"/>
              <a:ext cx="204" cy="109"/>
            </a:xfrm>
            <a:custGeom>
              <a:avLst/>
              <a:gdLst/>
              <a:ahLst/>
              <a:cxnLst/>
              <a:rect l="l" t="t" r="r" b="b"/>
              <a:pathLst>
                <a:path w="15" h="8" extrusionOk="0">
                  <a:moveTo>
                    <a:pt x="14" y="7"/>
                  </a:moveTo>
                  <a:lnTo>
                    <a:pt x="0"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088" name="Google Shape;6088;p104"/>
            <p:cNvSpPr/>
            <p:nvPr/>
          </p:nvSpPr>
          <p:spPr>
            <a:xfrm>
              <a:off x="2465159" y="1716823"/>
              <a:ext cx="244" cy="54"/>
            </a:xfrm>
            <a:custGeom>
              <a:avLst/>
              <a:gdLst/>
              <a:ahLst/>
              <a:cxnLst/>
              <a:rect l="l" t="t" r="r" b="b"/>
              <a:pathLst>
                <a:path w="18" h="4" extrusionOk="0">
                  <a:moveTo>
                    <a:pt x="18"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089" name="Google Shape;6089;p104"/>
            <p:cNvSpPr/>
            <p:nvPr/>
          </p:nvSpPr>
          <p:spPr>
            <a:xfrm>
              <a:off x="2462498" y="1716157"/>
              <a:ext cx="244" cy="109"/>
            </a:xfrm>
            <a:custGeom>
              <a:avLst/>
              <a:gdLst/>
              <a:ahLst/>
              <a:cxnLst/>
              <a:rect l="l" t="t" r="r" b="b"/>
              <a:pathLst>
                <a:path w="18" h="8" extrusionOk="0">
                  <a:moveTo>
                    <a:pt x="18" y="7"/>
                  </a:moveTo>
                  <a:lnTo>
                    <a:pt x="0"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090" name="Google Shape;6090;p104"/>
            <p:cNvSpPr/>
            <p:nvPr/>
          </p:nvSpPr>
          <p:spPr>
            <a:xfrm>
              <a:off x="2463733" y="1716538"/>
              <a:ext cx="299" cy="109"/>
            </a:xfrm>
            <a:custGeom>
              <a:avLst/>
              <a:gdLst/>
              <a:ahLst/>
              <a:cxnLst/>
              <a:rect l="l" t="t" r="r" b="b"/>
              <a:pathLst>
                <a:path w="22" h="8" extrusionOk="0">
                  <a:moveTo>
                    <a:pt x="21" y="7"/>
                  </a:moveTo>
                  <a:lnTo>
                    <a:pt x="0"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091" name="Google Shape;6091;p104"/>
            <p:cNvSpPr/>
            <p:nvPr/>
          </p:nvSpPr>
          <p:spPr>
            <a:xfrm>
              <a:off x="2463109" y="1716388"/>
              <a:ext cx="258" cy="68"/>
            </a:xfrm>
            <a:custGeom>
              <a:avLst/>
              <a:gdLst/>
              <a:ahLst/>
              <a:cxnLst/>
              <a:rect l="l" t="t" r="r" b="b"/>
              <a:pathLst>
                <a:path w="19" h="5" extrusionOk="0">
                  <a:moveTo>
                    <a:pt x="18" y="4"/>
                  </a:moveTo>
                  <a:lnTo>
                    <a:pt x="1"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092" name="Google Shape;6092;p104"/>
            <p:cNvSpPr/>
            <p:nvPr/>
          </p:nvSpPr>
          <p:spPr>
            <a:xfrm>
              <a:off x="2464399" y="1716728"/>
              <a:ext cx="299" cy="54"/>
            </a:xfrm>
            <a:custGeom>
              <a:avLst/>
              <a:gdLst/>
              <a:ahLst/>
              <a:cxnLst/>
              <a:rect l="l" t="t" r="r" b="b"/>
              <a:pathLst>
                <a:path w="22" h="4" extrusionOk="0">
                  <a:moveTo>
                    <a:pt x="21"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093" name="Google Shape;6093;p104"/>
            <p:cNvSpPr/>
            <p:nvPr/>
          </p:nvSpPr>
          <p:spPr>
            <a:xfrm>
              <a:off x="2541071" y="1746150"/>
              <a:ext cx="394" cy="3530"/>
            </a:xfrm>
            <a:custGeom>
              <a:avLst/>
              <a:gdLst/>
              <a:ahLst/>
              <a:cxnLst/>
              <a:rect l="l" t="t" r="r" b="b"/>
              <a:pathLst>
                <a:path w="29" h="260" extrusionOk="0">
                  <a:moveTo>
                    <a:pt x="0" y="0"/>
                  </a:moveTo>
                  <a:lnTo>
                    <a:pt x="28" y="259"/>
                  </a:lnTo>
                  <a:lnTo>
                    <a:pt x="28" y="259"/>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094" name="Google Shape;6094;p104"/>
            <p:cNvSpPr/>
            <p:nvPr/>
          </p:nvSpPr>
          <p:spPr>
            <a:xfrm>
              <a:off x="2465919" y="1716959"/>
              <a:ext cx="244" cy="14"/>
            </a:xfrm>
            <a:custGeom>
              <a:avLst/>
              <a:gdLst/>
              <a:ahLst/>
              <a:cxnLst/>
              <a:rect l="l" t="t" r="r" b="b"/>
              <a:pathLst>
                <a:path w="18" h="1" extrusionOk="0">
                  <a:moveTo>
                    <a:pt x="18"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095" name="Google Shape;6095;p104"/>
            <p:cNvSpPr/>
            <p:nvPr/>
          </p:nvSpPr>
          <p:spPr>
            <a:xfrm>
              <a:off x="2373470" y="1729138"/>
              <a:ext cx="143134" cy="121505"/>
            </a:xfrm>
            <a:custGeom>
              <a:avLst/>
              <a:gdLst/>
              <a:ahLst/>
              <a:cxnLst/>
              <a:rect l="l" t="t" r="r" b="b"/>
              <a:pathLst>
                <a:path w="10542" h="8949" extrusionOk="0">
                  <a:moveTo>
                    <a:pt x="161" y="0"/>
                  </a:moveTo>
                  <a:cubicBezTo>
                    <a:pt x="147" y="0"/>
                    <a:pt x="137" y="7"/>
                    <a:pt x="137" y="98"/>
                  </a:cubicBezTo>
                  <a:cubicBezTo>
                    <a:pt x="137" y="151"/>
                    <a:pt x="133" y="259"/>
                    <a:pt x="46" y="280"/>
                  </a:cubicBezTo>
                  <a:lnTo>
                    <a:pt x="21" y="280"/>
                  </a:lnTo>
                  <a:cubicBezTo>
                    <a:pt x="0" y="336"/>
                    <a:pt x="49" y="557"/>
                    <a:pt x="95" y="641"/>
                  </a:cubicBezTo>
                  <a:cubicBezTo>
                    <a:pt x="119" y="693"/>
                    <a:pt x="109" y="784"/>
                    <a:pt x="91" y="945"/>
                  </a:cubicBezTo>
                  <a:cubicBezTo>
                    <a:pt x="84" y="994"/>
                    <a:pt x="74" y="1061"/>
                    <a:pt x="70" y="1117"/>
                  </a:cubicBezTo>
                  <a:lnTo>
                    <a:pt x="70" y="1120"/>
                  </a:lnTo>
                  <a:lnTo>
                    <a:pt x="70" y="1131"/>
                  </a:lnTo>
                  <a:lnTo>
                    <a:pt x="70" y="1152"/>
                  </a:lnTo>
                  <a:cubicBezTo>
                    <a:pt x="70" y="1166"/>
                    <a:pt x="70" y="1183"/>
                    <a:pt x="70" y="1197"/>
                  </a:cubicBezTo>
                  <a:cubicBezTo>
                    <a:pt x="130" y="1225"/>
                    <a:pt x="193" y="1309"/>
                    <a:pt x="238" y="1383"/>
                  </a:cubicBezTo>
                  <a:cubicBezTo>
                    <a:pt x="252" y="1407"/>
                    <a:pt x="266" y="1428"/>
                    <a:pt x="277" y="1449"/>
                  </a:cubicBezTo>
                  <a:cubicBezTo>
                    <a:pt x="287" y="1470"/>
                    <a:pt x="298" y="1488"/>
                    <a:pt x="305" y="1505"/>
                  </a:cubicBezTo>
                  <a:cubicBezTo>
                    <a:pt x="315" y="1523"/>
                    <a:pt x="322" y="1537"/>
                    <a:pt x="326" y="1547"/>
                  </a:cubicBezTo>
                  <a:cubicBezTo>
                    <a:pt x="333" y="1562"/>
                    <a:pt x="336" y="1576"/>
                    <a:pt x="340" y="1586"/>
                  </a:cubicBezTo>
                  <a:lnTo>
                    <a:pt x="340" y="1590"/>
                  </a:lnTo>
                  <a:cubicBezTo>
                    <a:pt x="347" y="1600"/>
                    <a:pt x="347" y="1611"/>
                    <a:pt x="350" y="1618"/>
                  </a:cubicBezTo>
                  <a:lnTo>
                    <a:pt x="350" y="1621"/>
                  </a:lnTo>
                  <a:cubicBezTo>
                    <a:pt x="354" y="1632"/>
                    <a:pt x="354" y="1639"/>
                    <a:pt x="354" y="1646"/>
                  </a:cubicBezTo>
                  <a:lnTo>
                    <a:pt x="354" y="1649"/>
                  </a:lnTo>
                  <a:cubicBezTo>
                    <a:pt x="354" y="1653"/>
                    <a:pt x="354" y="1660"/>
                    <a:pt x="354" y="1667"/>
                  </a:cubicBezTo>
                  <a:cubicBezTo>
                    <a:pt x="354" y="1670"/>
                    <a:pt x="354" y="1674"/>
                    <a:pt x="354" y="1681"/>
                  </a:cubicBezTo>
                  <a:cubicBezTo>
                    <a:pt x="354" y="1684"/>
                    <a:pt x="354" y="1684"/>
                    <a:pt x="354" y="1688"/>
                  </a:cubicBezTo>
                  <a:cubicBezTo>
                    <a:pt x="368" y="1719"/>
                    <a:pt x="385" y="1747"/>
                    <a:pt x="403" y="1775"/>
                  </a:cubicBezTo>
                  <a:lnTo>
                    <a:pt x="417" y="1800"/>
                  </a:lnTo>
                  <a:cubicBezTo>
                    <a:pt x="480" y="1894"/>
                    <a:pt x="550" y="2006"/>
                    <a:pt x="550" y="2104"/>
                  </a:cubicBezTo>
                  <a:cubicBezTo>
                    <a:pt x="550" y="2223"/>
                    <a:pt x="718" y="2363"/>
                    <a:pt x="784" y="2363"/>
                  </a:cubicBezTo>
                  <a:cubicBezTo>
                    <a:pt x="872" y="2363"/>
                    <a:pt x="984" y="2398"/>
                    <a:pt x="1040" y="2475"/>
                  </a:cubicBezTo>
                  <a:cubicBezTo>
                    <a:pt x="1075" y="2524"/>
                    <a:pt x="1085" y="2587"/>
                    <a:pt x="1064" y="2643"/>
                  </a:cubicBezTo>
                  <a:cubicBezTo>
                    <a:pt x="1054" y="2692"/>
                    <a:pt x="1054" y="2738"/>
                    <a:pt x="1064" y="2787"/>
                  </a:cubicBezTo>
                  <a:cubicBezTo>
                    <a:pt x="1071" y="2857"/>
                    <a:pt x="1078" y="2927"/>
                    <a:pt x="1036" y="2972"/>
                  </a:cubicBezTo>
                  <a:cubicBezTo>
                    <a:pt x="1012" y="3000"/>
                    <a:pt x="973" y="3014"/>
                    <a:pt x="938" y="3014"/>
                  </a:cubicBezTo>
                  <a:cubicBezTo>
                    <a:pt x="917" y="3025"/>
                    <a:pt x="893" y="3126"/>
                    <a:pt x="879" y="3179"/>
                  </a:cubicBezTo>
                  <a:cubicBezTo>
                    <a:pt x="854" y="3287"/>
                    <a:pt x="830" y="3392"/>
                    <a:pt x="756" y="3434"/>
                  </a:cubicBezTo>
                  <a:cubicBezTo>
                    <a:pt x="753" y="3438"/>
                    <a:pt x="739" y="3462"/>
                    <a:pt x="739" y="3525"/>
                  </a:cubicBezTo>
                  <a:cubicBezTo>
                    <a:pt x="739" y="3659"/>
                    <a:pt x="791" y="3799"/>
                    <a:pt x="819" y="3820"/>
                  </a:cubicBezTo>
                  <a:cubicBezTo>
                    <a:pt x="1085" y="3949"/>
                    <a:pt x="1124" y="4093"/>
                    <a:pt x="1110" y="4187"/>
                  </a:cubicBezTo>
                  <a:cubicBezTo>
                    <a:pt x="1113" y="4201"/>
                    <a:pt x="1117" y="4212"/>
                    <a:pt x="1124" y="4222"/>
                  </a:cubicBezTo>
                  <a:cubicBezTo>
                    <a:pt x="1180" y="4285"/>
                    <a:pt x="1243" y="4338"/>
                    <a:pt x="1316" y="4376"/>
                  </a:cubicBezTo>
                  <a:cubicBezTo>
                    <a:pt x="1407" y="4429"/>
                    <a:pt x="1502" y="4474"/>
                    <a:pt x="1600" y="4506"/>
                  </a:cubicBezTo>
                  <a:cubicBezTo>
                    <a:pt x="1621" y="4513"/>
                    <a:pt x="1638" y="4520"/>
                    <a:pt x="1659" y="4523"/>
                  </a:cubicBezTo>
                  <a:cubicBezTo>
                    <a:pt x="1792" y="4541"/>
                    <a:pt x="1845" y="4660"/>
                    <a:pt x="1891" y="4754"/>
                  </a:cubicBezTo>
                  <a:cubicBezTo>
                    <a:pt x="1908" y="4793"/>
                    <a:pt x="1929" y="4831"/>
                    <a:pt x="1957" y="4866"/>
                  </a:cubicBezTo>
                  <a:cubicBezTo>
                    <a:pt x="2038" y="4947"/>
                    <a:pt x="1996" y="5055"/>
                    <a:pt x="1961" y="5143"/>
                  </a:cubicBezTo>
                  <a:cubicBezTo>
                    <a:pt x="1943" y="5181"/>
                    <a:pt x="1933" y="5223"/>
                    <a:pt x="1933" y="5265"/>
                  </a:cubicBezTo>
                  <a:cubicBezTo>
                    <a:pt x="1947" y="5300"/>
                    <a:pt x="1968" y="5332"/>
                    <a:pt x="1999" y="5360"/>
                  </a:cubicBezTo>
                  <a:cubicBezTo>
                    <a:pt x="2059" y="5426"/>
                    <a:pt x="2143" y="5521"/>
                    <a:pt x="2125" y="5654"/>
                  </a:cubicBezTo>
                  <a:cubicBezTo>
                    <a:pt x="2125" y="5657"/>
                    <a:pt x="2125" y="5664"/>
                    <a:pt x="2125" y="5668"/>
                  </a:cubicBezTo>
                  <a:lnTo>
                    <a:pt x="2125" y="5675"/>
                  </a:lnTo>
                  <a:cubicBezTo>
                    <a:pt x="2125" y="5678"/>
                    <a:pt x="2129" y="5682"/>
                    <a:pt x="2129" y="5685"/>
                  </a:cubicBezTo>
                  <a:lnTo>
                    <a:pt x="2132" y="5692"/>
                  </a:lnTo>
                  <a:cubicBezTo>
                    <a:pt x="2132" y="5696"/>
                    <a:pt x="2136" y="5699"/>
                    <a:pt x="2136" y="5703"/>
                  </a:cubicBezTo>
                  <a:lnTo>
                    <a:pt x="2143" y="5710"/>
                  </a:lnTo>
                  <a:lnTo>
                    <a:pt x="2146" y="5724"/>
                  </a:lnTo>
                  <a:lnTo>
                    <a:pt x="2153" y="5731"/>
                  </a:lnTo>
                  <a:lnTo>
                    <a:pt x="2160" y="5745"/>
                  </a:lnTo>
                  <a:lnTo>
                    <a:pt x="2167" y="5756"/>
                  </a:lnTo>
                  <a:lnTo>
                    <a:pt x="2178" y="5766"/>
                  </a:lnTo>
                  <a:lnTo>
                    <a:pt x="2188" y="5780"/>
                  </a:lnTo>
                  <a:lnTo>
                    <a:pt x="2195" y="5791"/>
                  </a:lnTo>
                  <a:lnTo>
                    <a:pt x="2206" y="5805"/>
                  </a:lnTo>
                  <a:lnTo>
                    <a:pt x="2213" y="5815"/>
                  </a:lnTo>
                  <a:lnTo>
                    <a:pt x="2227" y="5833"/>
                  </a:lnTo>
                  <a:lnTo>
                    <a:pt x="2234" y="5840"/>
                  </a:lnTo>
                  <a:lnTo>
                    <a:pt x="2251" y="5857"/>
                  </a:lnTo>
                  <a:lnTo>
                    <a:pt x="2258" y="5864"/>
                  </a:lnTo>
                  <a:lnTo>
                    <a:pt x="2276" y="5885"/>
                  </a:lnTo>
                  <a:lnTo>
                    <a:pt x="2279" y="5889"/>
                  </a:lnTo>
                  <a:lnTo>
                    <a:pt x="2300" y="5913"/>
                  </a:lnTo>
                  <a:cubicBezTo>
                    <a:pt x="2332" y="5945"/>
                    <a:pt x="2360" y="5976"/>
                    <a:pt x="2388" y="6001"/>
                  </a:cubicBezTo>
                  <a:cubicBezTo>
                    <a:pt x="2423" y="5994"/>
                    <a:pt x="2461" y="5987"/>
                    <a:pt x="2500" y="5987"/>
                  </a:cubicBezTo>
                  <a:cubicBezTo>
                    <a:pt x="2531" y="5987"/>
                    <a:pt x="2563" y="5969"/>
                    <a:pt x="2584" y="5941"/>
                  </a:cubicBezTo>
                  <a:cubicBezTo>
                    <a:pt x="2603" y="5922"/>
                    <a:pt x="2637" y="5889"/>
                    <a:pt x="2686" y="5889"/>
                  </a:cubicBezTo>
                  <a:cubicBezTo>
                    <a:pt x="2716" y="5889"/>
                    <a:pt x="2752" y="5901"/>
                    <a:pt x="2794" y="5938"/>
                  </a:cubicBezTo>
                  <a:cubicBezTo>
                    <a:pt x="2814" y="5954"/>
                    <a:pt x="2837" y="5961"/>
                    <a:pt x="2865" y="5961"/>
                  </a:cubicBezTo>
                  <a:cubicBezTo>
                    <a:pt x="2900" y="5961"/>
                    <a:pt x="2944" y="5950"/>
                    <a:pt x="2997" y="5934"/>
                  </a:cubicBezTo>
                  <a:cubicBezTo>
                    <a:pt x="3039" y="5917"/>
                    <a:pt x="3084" y="5910"/>
                    <a:pt x="3130" y="5903"/>
                  </a:cubicBezTo>
                  <a:cubicBezTo>
                    <a:pt x="3133" y="5902"/>
                    <a:pt x="3136" y="5902"/>
                    <a:pt x="3139" y="5902"/>
                  </a:cubicBezTo>
                  <a:cubicBezTo>
                    <a:pt x="3191" y="5902"/>
                    <a:pt x="3337" y="5952"/>
                    <a:pt x="3749" y="6799"/>
                  </a:cubicBezTo>
                  <a:cubicBezTo>
                    <a:pt x="3788" y="6876"/>
                    <a:pt x="3816" y="6939"/>
                    <a:pt x="3837" y="6991"/>
                  </a:cubicBezTo>
                  <a:cubicBezTo>
                    <a:pt x="3897" y="7135"/>
                    <a:pt x="3925" y="7194"/>
                    <a:pt x="4044" y="7271"/>
                  </a:cubicBezTo>
                  <a:cubicBezTo>
                    <a:pt x="4103" y="7310"/>
                    <a:pt x="4173" y="7334"/>
                    <a:pt x="4243" y="7348"/>
                  </a:cubicBezTo>
                  <a:cubicBezTo>
                    <a:pt x="4422" y="7387"/>
                    <a:pt x="4590" y="7478"/>
                    <a:pt x="4716" y="7611"/>
                  </a:cubicBezTo>
                  <a:cubicBezTo>
                    <a:pt x="4964" y="7870"/>
                    <a:pt x="5636" y="8056"/>
                    <a:pt x="5916" y="8070"/>
                  </a:cubicBezTo>
                  <a:cubicBezTo>
                    <a:pt x="5923" y="8070"/>
                    <a:pt x="5929" y="8070"/>
                    <a:pt x="5935" y="8070"/>
                  </a:cubicBezTo>
                  <a:cubicBezTo>
                    <a:pt x="6040" y="8070"/>
                    <a:pt x="6143" y="8014"/>
                    <a:pt x="6246" y="7958"/>
                  </a:cubicBezTo>
                  <a:cubicBezTo>
                    <a:pt x="6375" y="7891"/>
                    <a:pt x="6515" y="7818"/>
                    <a:pt x="6690" y="7818"/>
                  </a:cubicBezTo>
                  <a:cubicBezTo>
                    <a:pt x="6729" y="7818"/>
                    <a:pt x="6767" y="7821"/>
                    <a:pt x="6809" y="7828"/>
                  </a:cubicBezTo>
                  <a:cubicBezTo>
                    <a:pt x="7093" y="7884"/>
                    <a:pt x="7145" y="8136"/>
                    <a:pt x="7191" y="8339"/>
                  </a:cubicBezTo>
                  <a:cubicBezTo>
                    <a:pt x="7208" y="8434"/>
                    <a:pt x="7229" y="8525"/>
                    <a:pt x="7268" y="8570"/>
                  </a:cubicBezTo>
                  <a:cubicBezTo>
                    <a:pt x="7341" y="8661"/>
                    <a:pt x="8122" y="8763"/>
                    <a:pt x="8539" y="8815"/>
                  </a:cubicBezTo>
                  <a:cubicBezTo>
                    <a:pt x="8826" y="8850"/>
                    <a:pt x="9050" y="8878"/>
                    <a:pt x="9141" y="8906"/>
                  </a:cubicBezTo>
                  <a:cubicBezTo>
                    <a:pt x="9302" y="8934"/>
                    <a:pt x="9463" y="8948"/>
                    <a:pt x="9624" y="8948"/>
                  </a:cubicBezTo>
                  <a:lnTo>
                    <a:pt x="9620" y="8920"/>
                  </a:lnTo>
                  <a:lnTo>
                    <a:pt x="9617" y="8885"/>
                  </a:lnTo>
                  <a:cubicBezTo>
                    <a:pt x="9610" y="8801"/>
                    <a:pt x="9624" y="8717"/>
                    <a:pt x="9652" y="8640"/>
                  </a:cubicBezTo>
                  <a:lnTo>
                    <a:pt x="9652" y="8633"/>
                  </a:lnTo>
                  <a:lnTo>
                    <a:pt x="9655" y="8630"/>
                  </a:lnTo>
                  <a:cubicBezTo>
                    <a:pt x="9718" y="8483"/>
                    <a:pt x="9823" y="8360"/>
                    <a:pt x="9963" y="8280"/>
                  </a:cubicBezTo>
                  <a:cubicBezTo>
                    <a:pt x="9974" y="8273"/>
                    <a:pt x="9988" y="8266"/>
                    <a:pt x="9998" y="8262"/>
                  </a:cubicBezTo>
                  <a:cubicBezTo>
                    <a:pt x="10160" y="8178"/>
                    <a:pt x="10338" y="8126"/>
                    <a:pt x="10517" y="8101"/>
                  </a:cubicBezTo>
                  <a:cubicBezTo>
                    <a:pt x="10527" y="8101"/>
                    <a:pt x="10531" y="8101"/>
                    <a:pt x="10531" y="8087"/>
                  </a:cubicBezTo>
                  <a:cubicBezTo>
                    <a:pt x="10541" y="8007"/>
                    <a:pt x="10450" y="7860"/>
                    <a:pt x="10387" y="7825"/>
                  </a:cubicBezTo>
                  <a:cubicBezTo>
                    <a:pt x="10384" y="7821"/>
                    <a:pt x="10380" y="7818"/>
                    <a:pt x="10377" y="7818"/>
                  </a:cubicBezTo>
                  <a:cubicBezTo>
                    <a:pt x="10282" y="7786"/>
                    <a:pt x="10268" y="7670"/>
                    <a:pt x="10258" y="7551"/>
                  </a:cubicBezTo>
                  <a:cubicBezTo>
                    <a:pt x="10244" y="7415"/>
                    <a:pt x="10226" y="7261"/>
                    <a:pt x="10110" y="7212"/>
                  </a:cubicBezTo>
                  <a:cubicBezTo>
                    <a:pt x="9809" y="7086"/>
                    <a:pt x="9585" y="6893"/>
                    <a:pt x="9515" y="6697"/>
                  </a:cubicBezTo>
                  <a:cubicBezTo>
                    <a:pt x="9470" y="6659"/>
                    <a:pt x="9389" y="6582"/>
                    <a:pt x="9316" y="6512"/>
                  </a:cubicBezTo>
                  <a:cubicBezTo>
                    <a:pt x="9284" y="6480"/>
                    <a:pt x="9253" y="6452"/>
                    <a:pt x="9228" y="6424"/>
                  </a:cubicBezTo>
                  <a:lnTo>
                    <a:pt x="9130" y="6337"/>
                  </a:lnTo>
                  <a:lnTo>
                    <a:pt x="9151" y="6337"/>
                  </a:lnTo>
                  <a:lnTo>
                    <a:pt x="9144" y="6319"/>
                  </a:lnTo>
                  <a:lnTo>
                    <a:pt x="9137" y="6309"/>
                  </a:lnTo>
                  <a:cubicBezTo>
                    <a:pt x="9134" y="6302"/>
                    <a:pt x="9130" y="6295"/>
                    <a:pt x="9130" y="6288"/>
                  </a:cubicBezTo>
                  <a:lnTo>
                    <a:pt x="9127" y="6277"/>
                  </a:lnTo>
                  <a:cubicBezTo>
                    <a:pt x="9123" y="6267"/>
                    <a:pt x="9123" y="6260"/>
                    <a:pt x="9123" y="6253"/>
                  </a:cubicBezTo>
                  <a:lnTo>
                    <a:pt x="9123" y="6246"/>
                  </a:lnTo>
                  <a:cubicBezTo>
                    <a:pt x="9120" y="6235"/>
                    <a:pt x="9120" y="6225"/>
                    <a:pt x="9123" y="6214"/>
                  </a:cubicBezTo>
                  <a:cubicBezTo>
                    <a:pt x="9130" y="6158"/>
                    <a:pt x="9190" y="6095"/>
                    <a:pt x="9298" y="5990"/>
                  </a:cubicBezTo>
                  <a:lnTo>
                    <a:pt x="9351" y="5941"/>
                  </a:lnTo>
                  <a:cubicBezTo>
                    <a:pt x="9491" y="5805"/>
                    <a:pt x="9729" y="5577"/>
                    <a:pt x="9690" y="5468"/>
                  </a:cubicBezTo>
                  <a:cubicBezTo>
                    <a:pt x="9652" y="5360"/>
                    <a:pt x="9491" y="5321"/>
                    <a:pt x="9365" y="5293"/>
                  </a:cubicBezTo>
                  <a:cubicBezTo>
                    <a:pt x="9263" y="5272"/>
                    <a:pt x="9183" y="5255"/>
                    <a:pt x="9155" y="5195"/>
                  </a:cubicBezTo>
                  <a:cubicBezTo>
                    <a:pt x="9130" y="5146"/>
                    <a:pt x="9130" y="5080"/>
                    <a:pt x="9130" y="4985"/>
                  </a:cubicBezTo>
                  <a:cubicBezTo>
                    <a:pt x="9130" y="4859"/>
                    <a:pt x="9130" y="4698"/>
                    <a:pt x="9067" y="4565"/>
                  </a:cubicBezTo>
                  <a:cubicBezTo>
                    <a:pt x="8997" y="4418"/>
                    <a:pt x="9032" y="4278"/>
                    <a:pt x="9060" y="4166"/>
                  </a:cubicBezTo>
                  <a:cubicBezTo>
                    <a:pt x="9078" y="4093"/>
                    <a:pt x="9095" y="4026"/>
                    <a:pt x="9071" y="3991"/>
                  </a:cubicBezTo>
                  <a:cubicBezTo>
                    <a:pt x="8983" y="3858"/>
                    <a:pt x="9057" y="3666"/>
                    <a:pt x="9106" y="3532"/>
                  </a:cubicBezTo>
                  <a:cubicBezTo>
                    <a:pt x="9116" y="3504"/>
                    <a:pt x="9123" y="3480"/>
                    <a:pt x="9127" y="3462"/>
                  </a:cubicBezTo>
                  <a:cubicBezTo>
                    <a:pt x="9144" y="3413"/>
                    <a:pt x="9176" y="3368"/>
                    <a:pt x="9211" y="3333"/>
                  </a:cubicBezTo>
                  <a:cubicBezTo>
                    <a:pt x="9277" y="3256"/>
                    <a:pt x="9354" y="3168"/>
                    <a:pt x="9344" y="3053"/>
                  </a:cubicBezTo>
                  <a:cubicBezTo>
                    <a:pt x="9340" y="3032"/>
                    <a:pt x="9340" y="3007"/>
                    <a:pt x="9344" y="2986"/>
                  </a:cubicBezTo>
                  <a:cubicBezTo>
                    <a:pt x="9344" y="2976"/>
                    <a:pt x="9344" y="2969"/>
                    <a:pt x="9347" y="2958"/>
                  </a:cubicBezTo>
                  <a:cubicBezTo>
                    <a:pt x="9347" y="2951"/>
                    <a:pt x="9351" y="2941"/>
                    <a:pt x="9351" y="2930"/>
                  </a:cubicBezTo>
                  <a:cubicBezTo>
                    <a:pt x="9354" y="2920"/>
                    <a:pt x="9351" y="2923"/>
                    <a:pt x="9354" y="2920"/>
                  </a:cubicBezTo>
                  <a:cubicBezTo>
                    <a:pt x="9358" y="2906"/>
                    <a:pt x="9361" y="2895"/>
                    <a:pt x="9368" y="2881"/>
                  </a:cubicBezTo>
                  <a:cubicBezTo>
                    <a:pt x="9386" y="2839"/>
                    <a:pt x="9414" y="2801"/>
                    <a:pt x="9452" y="2769"/>
                  </a:cubicBezTo>
                  <a:cubicBezTo>
                    <a:pt x="9449" y="2762"/>
                    <a:pt x="9449" y="2752"/>
                    <a:pt x="9445" y="2741"/>
                  </a:cubicBezTo>
                  <a:lnTo>
                    <a:pt x="9442" y="2727"/>
                  </a:lnTo>
                  <a:cubicBezTo>
                    <a:pt x="9438" y="2713"/>
                    <a:pt x="9435" y="2699"/>
                    <a:pt x="9431" y="2682"/>
                  </a:cubicBezTo>
                  <a:lnTo>
                    <a:pt x="9428" y="2668"/>
                  </a:lnTo>
                  <a:cubicBezTo>
                    <a:pt x="9424" y="2657"/>
                    <a:pt x="9421" y="2647"/>
                    <a:pt x="9421" y="2633"/>
                  </a:cubicBezTo>
                  <a:lnTo>
                    <a:pt x="9417" y="2615"/>
                  </a:lnTo>
                  <a:lnTo>
                    <a:pt x="9410" y="2587"/>
                  </a:lnTo>
                  <a:lnTo>
                    <a:pt x="9407" y="2563"/>
                  </a:lnTo>
                  <a:lnTo>
                    <a:pt x="9403" y="2538"/>
                  </a:lnTo>
                  <a:lnTo>
                    <a:pt x="9400" y="2514"/>
                  </a:lnTo>
                  <a:lnTo>
                    <a:pt x="9396" y="2489"/>
                  </a:lnTo>
                  <a:lnTo>
                    <a:pt x="9393" y="2465"/>
                  </a:lnTo>
                  <a:lnTo>
                    <a:pt x="9389" y="2440"/>
                  </a:lnTo>
                  <a:lnTo>
                    <a:pt x="9386" y="2416"/>
                  </a:lnTo>
                  <a:lnTo>
                    <a:pt x="9386" y="2395"/>
                  </a:lnTo>
                  <a:lnTo>
                    <a:pt x="9382" y="2370"/>
                  </a:lnTo>
                  <a:lnTo>
                    <a:pt x="9382" y="2349"/>
                  </a:lnTo>
                  <a:lnTo>
                    <a:pt x="9382" y="2328"/>
                  </a:lnTo>
                  <a:lnTo>
                    <a:pt x="9382" y="2307"/>
                  </a:lnTo>
                  <a:lnTo>
                    <a:pt x="9382" y="2286"/>
                  </a:lnTo>
                  <a:lnTo>
                    <a:pt x="9382" y="2269"/>
                  </a:lnTo>
                  <a:lnTo>
                    <a:pt x="9382" y="2248"/>
                  </a:lnTo>
                  <a:lnTo>
                    <a:pt x="9382" y="2234"/>
                  </a:lnTo>
                  <a:lnTo>
                    <a:pt x="9382" y="2216"/>
                  </a:lnTo>
                  <a:lnTo>
                    <a:pt x="9382" y="2202"/>
                  </a:lnTo>
                  <a:lnTo>
                    <a:pt x="9382" y="2188"/>
                  </a:lnTo>
                  <a:lnTo>
                    <a:pt x="9382" y="2178"/>
                  </a:lnTo>
                  <a:lnTo>
                    <a:pt x="9382" y="2167"/>
                  </a:lnTo>
                  <a:lnTo>
                    <a:pt x="9382" y="2146"/>
                  </a:lnTo>
                  <a:cubicBezTo>
                    <a:pt x="9355" y="2133"/>
                    <a:pt x="9287" y="2125"/>
                    <a:pt x="9207" y="2125"/>
                  </a:cubicBezTo>
                  <a:cubicBezTo>
                    <a:pt x="9162" y="2125"/>
                    <a:pt x="9114" y="2127"/>
                    <a:pt x="9067" y="2132"/>
                  </a:cubicBezTo>
                  <a:cubicBezTo>
                    <a:pt x="9060" y="2133"/>
                    <a:pt x="9054" y="2133"/>
                    <a:pt x="9047" y="2133"/>
                  </a:cubicBezTo>
                  <a:cubicBezTo>
                    <a:pt x="8953" y="2133"/>
                    <a:pt x="8884" y="2042"/>
                    <a:pt x="8819" y="1954"/>
                  </a:cubicBezTo>
                  <a:cubicBezTo>
                    <a:pt x="8777" y="1905"/>
                    <a:pt x="8717" y="1824"/>
                    <a:pt x="8686" y="1824"/>
                  </a:cubicBezTo>
                  <a:cubicBezTo>
                    <a:pt x="8528" y="1824"/>
                    <a:pt x="8381" y="1705"/>
                    <a:pt x="8381" y="1572"/>
                  </a:cubicBezTo>
                  <a:cubicBezTo>
                    <a:pt x="8353" y="1534"/>
                    <a:pt x="8175" y="1482"/>
                    <a:pt x="8030" y="1482"/>
                  </a:cubicBezTo>
                  <a:cubicBezTo>
                    <a:pt x="8013" y="1482"/>
                    <a:pt x="7997" y="1483"/>
                    <a:pt x="7982" y="1484"/>
                  </a:cubicBezTo>
                  <a:cubicBezTo>
                    <a:pt x="7972" y="1486"/>
                    <a:pt x="7961" y="1486"/>
                    <a:pt x="7951" y="1486"/>
                  </a:cubicBezTo>
                  <a:cubicBezTo>
                    <a:pt x="7868" y="1486"/>
                    <a:pt x="7790" y="1448"/>
                    <a:pt x="7737" y="1383"/>
                  </a:cubicBezTo>
                  <a:cubicBezTo>
                    <a:pt x="7730" y="1372"/>
                    <a:pt x="7719" y="1365"/>
                    <a:pt x="7712" y="1358"/>
                  </a:cubicBezTo>
                  <a:cubicBezTo>
                    <a:pt x="7625" y="1355"/>
                    <a:pt x="7355" y="1271"/>
                    <a:pt x="7264" y="1155"/>
                  </a:cubicBezTo>
                  <a:cubicBezTo>
                    <a:pt x="7242" y="1129"/>
                    <a:pt x="7111" y="1092"/>
                    <a:pt x="6956" y="1092"/>
                  </a:cubicBezTo>
                  <a:cubicBezTo>
                    <a:pt x="6943" y="1092"/>
                    <a:pt x="6931" y="1092"/>
                    <a:pt x="6918" y="1092"/>
                  </a:cubicBezTo>
                  <a:cubicBezTo>
                    <a:pt x="6806" y="1096"/>
                    <a:pt x="6746" y="1120"/>
                    <a:pt x="6736" y="1134"/>
                  </a:cubicBezTo>
                  <a:cubicBezTo>
                    <a:pt x="6682" y="1212"/>
                    <a:pt x="6604" y="1231"/>
                    <a:pt x="6524" y="1231"/>
                  </a:cubicBezTo>
                  <a:cubicBezTo>
                    <a:pt x="6484" y="1231"/>
                    <a:pt x="6445" y="1227"/>
                    <a:pt x="6407" y="1222"/>
                  </a:cubicBezTo>
                  <a:cubicBezTo>
                    <a:pt x="6368" y="1215"/>
                    <a:pt x="6333" y="1211"/>
                    <a:pt x="6295" y="1211"/>
                  </a:cubicBezTo>
                  <a:cubicBezTo>
                    <a:pt x="6186" y="1211"/>
                    <a:pt x="5948" y="1407"/>
                    <a:pt x="5864" y="1523"/>
                  </a:cubicBezTo>
                  <a:lnTo>
                    <a:pt x="5853" y="1533"/>
                  </a:lnTo>
                  <a:lnTo>
                    <a:pt x="5853" y="1537"/>
                  </a:lnTo>
                  <a:lnTo>
                    <a:pt x="5846" y="1544"/>
                  </a:lnTo>
                  <a:lnTo>
                    <a:pt x="5843" y="1547"/>
                  </a:lnTo>
                  <a:lnTo>
                    <a:pt x="5836" y="1551"/>
                  </a:lnTo>
                  <a:lnTo>
                    <a:pt x="5829" y="1555"/>
                  </a:lnTo>
                  <a:lnTo>
                    <a:pt x="5822" y="1562"/>
                  </a:lnTo>
                  <a:lnTo>
                    <a:pt x="5818" y="1565"/>
                  </a:lnTo>
                  <a:lnTo>
                    <a:pt x="5808" y="1572"/>
                  </a:lnTo>
                  <a:lnTo>
                    <a:pt x="5801" y="1576"/>
                  </a:lnTo>
                  <a:lnTo>
                    <a:pt x="5790" y="1579"/>
                  </a:lnTo>
                  <a:lnTo>
                    <a:pt x="5780" y="1583"/>
                  </a:lnTo>
                  <a:lnTo>
                    <a:pt x="5769" y="1590"/>
                  </a:lnTo>
                  <a:lnTo>
                    <a:pt x="5759" y="1593"/>
                  </a:lnTo>
                  <a:lnTo>
                    <a:pt x="5745" y="1597"/>
                  </a:lnTo>
                  <a:lnTo>
                    <a:pt x="5731" y="1600"/>
                  </a:lnTo>
                  <a:lnTo>
                    <a:pt x="5717" y="1604"/>
                  </a:lnTo>
                  <a:lnTo>
                    <a:pt x="5703" y="1607"/>
                  </a:lnTo>
                  <a:lnTo>
                    <a:pt x="5685" y="1611"/>
                  </a:lnTo>
                  <a:lnTo>
                    <a:pt x="5668" y="1614"/>
                  </a:lnTo>
                  <a:lnTo>
                    <a:pt x="5647" y="1618"/>
                  </a:lnTo>
                  <a:lnTo>
                    <a:pt x="5629" y="1621"/>
                  </a:lnTo>
                  <a:lnTo>
                    <a:pt x="5605" y="1625"/>
                  </a:lnTo>
                  <a:lnTo>
                    <a:pt x="5587" y="1625"/>
                  </a:lnTo>
                  <a:lnTo>
                    <a:pt x="5559" y="1628"/>
                  </a:lnTo>
                  <a:lnTo>
                    <a:pt x="5486" y="1628"/>
                  </a:lnTo>
                  <a:lnTo>
                    <a:pt x="5430" y="1632"/>
                  </a:lnTo>
                  <a:lnTo>
                    <a:pt x="5426" y="1632"/>
                  </a:lnTo>
                  <a:cubicBezTo>
                    <a:pt x="5430" y="1782"/>
                    <a:pt x="5423" y="1849"/>
                    <a:pt x="5395" y="1891"/>
                  </a:cubicBezTo>
                  <a:cubicBezTo>
                    <a:pt x="5276" y="2066"/>
                    <a:pt x="4534" y="2164"/>
                    <a:pt x="4163" y="2178"/>
                  </a:cubicBezTo>
                  <a:cubicBezTo>
                    <a:pt x="4155" y="2178"/>
                    <a:pt x="4147" y="2178"/>
                    <a:pt x="4140" y="2178"/>
                  </a:cubicBezTo>
                  <a:cubicBezTo>
                    <a:pt x="3891" y="2178"/>
                    <a:pt x="3749" y="2012"/>
                    <a:pt x="3623" y="1866"/>
                  </a:cubicBezTo>
                  <a:cubicBezTo>
                    <a:pt x="3497" y="1716"/>
                    <a:pt x="3378" y="1579"/>
                    <a:pt x="3158" y="1579"/>
                  </a:cubicBezTo>
                  <a:cubicBezTo>
                    <a:pt x="2762" y="1579"/>
                    <a:pt x="2475" y="1243"/>
                    <a:pt x="2433" y="914"/>
                  </a:cubicBezTo>
                  <a:lnTo>
                    <a:pt x="2419" y="907"/>
                  </a:lnTo>
                  <a:lnTo>
                    <a:pt x="2409" y="903"/>
                  </a:lnTo>
                  <a:lnTo>
                    <a:pt x="2388" y="893"/>
                  </a:lnTo>
                  <a:lnTo>
                    <a:pt x="2377" y="889"/>
                  </a:lnTo>
                  <a:lnTo>
                    <a:pt x="2353" y="875"/>
                  </a:lnTo>
                  <a:lnTo>
                    <a:pt x="2346" y="875"/>
                  </a:lnTo>
                  <a:cubicBezTo>
                    <a:pt x="2325" y="865"/>
                    <a:pt x="2304" y="854"/>
                    <a:pt x="2283" y="840"/>
                  </a:cubicBezTo>
                  <a:lnTo>
                    <a:pt x="2276" y="837"/>
                  </a:lnTo>
                  <a:lnTo>
                    <a:pt x="2251" y="823"/>
                  </a:lnTo>
                  <a:lnTo>
                    <a:pt x="2241" y="816"/>
                  </a:lnTo>
                  <a:lnTo>
                    <a:pt x="2220" y="805"/>
                  </a:lnTo>
                  <a:lnTo>
                    <a:pt x="2209" y="798"/>
                  </a:lnTo>
                  <a:lnTo>
                    <a:pt x="2192" y="784"/>
                  </a:lnTo>
                  <a:lnTo>
                    <a:pt x="2181" y="777"/>
                  </a:lnTo>
                  <a:lnTo>
                    <a:pt x="2164" y="767"/>
                  </a:lnTo>
                  <a:lnTo>
                    <a:pt x="2153" y="756"/>
                  </a:lnTo>
                  <a:lnTo>
                    <a:pt x="2136" y="746"/>
                  </a:lnTo>
                  <a:lnTo>
                    <a:pt x="2129" y="739"/>
                  </a:lnTo>
                  <a:lnTo>
                    <a:pt x="2115" y="725"/>
                  </a:lnTo>
                  <a:lnTo>
                    <a:pt x="2104" y="718"/>
                  </a:lnTo>
                  <a:lnTo>
                    <a:pt x="2090" y="704"/>
                  </a:lnTo>
                  <a:lnTo>
                    <a:pt x="2083" y="697"/>
                  </a:lnTo>
                  <a:lnTo>
                    <a:pt x="2073" y="683"/>
                  </a:lnTo>
                  <a:lnTo>
                    <a:pt x="2066" y="676"/>
                  </a:lnTo>
                  <a:cubicBezTo>
                    <a:pt x="2062" y="672"/>
                    <a:pt x="2059" y="665"/>
                    <a:pt x="2059" y="662"/>
                  </a:cubicBezTo>
                  <a:lnTo>
                    <a:pt x="2052" y="655"/>
                  </a:lnTo>
                  <a:cubicBezTo>
                    <a:pt x="2048" y="651"/>
                    <a:pt x="2045" y="644"/>
                    <a:pt x="2045" y="637"/>
                  </a:cubicBezTo>
                  <a:cubicBezTo>
                    <a:pt x="2031" y="609"/>
                    <a:pt x="2031" y="581"/>
                    <a:pt x="2045" y="553"/>
                  </a:cubicBezTo>
                  <a:cubicBezTo>
                    <a:pt x="2076" y="483"/>
                    <a:pt x="2125" y="189"/>
                    <a:pt x="2073" y="133"/>
                  </a:cubicBezTo>
                  <a:cubicBezTo>
                    <a:pt x="2071" y="132"/>
                    <a:pt x="2068" y="132"/>
                    <a:pt x="2064" y="132"/>
                  </a:cubicBezTo>
                  <a:cubicBezTo>
                    <a:pt x="2054" y="132"/>
                    <a:pt x="2037" y="136"/>
                    <a:pt x="2024" y="144"/>
                  </a:cubicBezTo>
                  <a:cubicBezTo>
                    <a:pt x="1943" y="189"/>
                    <a:pt x="1870" y="238"/>
                    <a:pt x="1799" y="291"/>
                  </a:cubicBezTo>
                  <a:cubicBezTo>
                    <a:pt x="1684" y="378"/>
                    <a:pt x="1558" y="455"/>
                    <a:pt x="1432" y="522"/>
                  </a:cubicBezTo>
                  <a:lnTo>
                    <a:pt x="1407" y="532"/>
                  </a:lnTo>
                  <a:cubicBezTo>
                    <a:pt x="1379" y="546"/>
                    <a:pt x="1351" y="560"/>
                    <a:pt x="1320" y="571"/>
                  </a:cubicBezTo>
                  <a:lnTo>
                    <a:pt x="1309" y="574"/>
                  </a:lnTo>
                  <a:cubicBezTo>
                    <a:pt x="1225" y="606"/>
                    <a:pt x="1134" y="627"/>
                    <a:pt x="1043" y="630"/>
                  </a:cubicBezTo>
                  <a:lnTo>
                    <a:pt x="1033" y="630"/>
                  </a:lnTo>
                  <a:cubicBezTo>
                    <a:pt x="1019" y="632"/>
                    <a:pt x="1004" y="633"/>
                    <a:pt x="989" y="633"/>
                  </a:cubicBezTo>
                  <a:cubicBezTo>
                    <a:pt x="973" y="633"/>
                    <a:pt x="958" y="632"/>
                    <a:pt x="942" y="630"/>
                  </a:cubicBezTo>
                  <a:lnTo>
                    <a:pt x="910" y="630"/>
                  </a:lnTo>
                  <a:lnTo>
                    <a:pt x="882" y="627"/>
                  </a:lnTo>
                  <a:lnTo>
                    <a:pt x="795" y="613"/>
                  </a:lnTo>
                  <a:cubicBezTo>
                    <a:pt x="637" y="588"/>
                    <a:pt x="567" y="557"/>
                    <a:pt x="557" y="487"/>
                  </a:cubicBezTo>
                  <a:cubicBezTo>
                    <a:pt x="553" y="473"/>
                    <a:pt x="553" y="462"/>
                    <a:pt x="557" y="448"/>
                  </a:cubicBezTo>
                  <a:cubicBezTo>
                    <a:pt x="557" y="445"/>
                    <a:pt x="557" y="441"/>
                    <a:pt x="557" y="438"/>
                  </a:cubicBezTo>
                  <a:cubicBezTo>
                    <a:pt x="539" y="424"/>
                    <a:pt x="518" y="413"/>
                    <a:pt x="497" y="406"/>
                  </a:cubicBezTo>
                  <a:cubicBezTo>
                    <a:pt x="410" y="368"/>
                    <a:pt x="343" y="291"/>
                    <a:pt x="319" y="196"/>
                  </a:cubicBezTo>
                  <a:lnTo>
                    <a:pt x="315" y="189"/>
                  </a:lnTo>
                  <a:cubicBezTo>
                    <a:pt x="312" y="172"/>
                    <a:pt x="305" y="154"/>
                    <a:pt x="301" y="137"/>
                  </a:cubicBezTo>
                  <a:cubicBezTo>
                    <a:pt x="298" y="123"/>
                    <a:pt x="291" y="98"/>
                    <a:pt x="284" y="77"/>
                  </a:cubicBezTo>
                  <a:lnTo>
                    <a:pt x="284" y="74"/>
                  </a:lnTo>
                  <a:cubicBezTo>
                    <a:pt x="284" y="70"/>
                    <a:pt x="280" y="67"/>
                    <a:pt x="280" y="63"/>
                  </a:cubicBezTo>
                  <a:lnTo>
                    <a:pt x="277" y="56"/>
                  </a:lnTo>
                  <a:cubicBezTo>
                    <a:pt x="273" y="53"/>
                    <a:pt x="273" y="49"/>
                    <a:pt x="270" y="46"/>
                  </a:cubicBezTo>
                  <a:lnTo>
                    <a:pt x="270" y="42"/>
                  </a:lnTo>
                  <a:cubicBezTo>
                    <a:pt x="266" y="35"/>
                    <a:pt x="263" y="32"/>
                    <a:pt x="256" y="28"/>
                  </a:cubicBezTo>
                  <a:cubicBezTo>
                    <a:pt x="252" y="25"/>
                    <a:pt x="249" y="21"/>
                    <a:pt x="245" y="18"/>
                  </a:cubicBezTo>
                  <a:lnTo>
                    <a:pt x="238" y="14"/>
                  </a:lnTo>
                  <a:lnTo>
                    <a:pt x="228" y="11"/>
                  </a:lnTo>
                  <a:lnTo>
                    <a:pt x="217" y="7"/>
                  </a:lnTo>
                  <a:cubicBezTo>
                    <a:pt x="210" y="4"/>
                    <a:pt x="203" y="4"/>
                    <a:pt x="196"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096" name="Google Shape;6096;p104"/>
            <p:cNvSpPr/>
            <p:nvPr/>
          </p:nvSpPr>
          <p:spPr>
            <a:xfrm>
              <a:off x="2377313" y="1749667"/>
              <a:ext cx="299" cy="584"/>
            </a:xfrm>
            <a:custGeom>
              <a:avLst/>
              <a:gdLst/>
              <a:ahLst/>
              <a:cxnLst/>
              <a:rect l="l" t="t" r="r" b="b"/>
              <a:pathLst>
                <a:path w="22" h="43" extrusionOk="0">
                  <a:moveTo>
                    <a:pt x="1" y="0"/>
                  </a:moveTo>
                  <a:cubicBezTo>
                    <a:pt x="11" y="14"/>
                    <a:pt x="18" y="32"/>
                    <a:pt x="22" y="43"/>
                  </a:cubicBezTo>
                  <a:cubicBezTo>
                    <a:pt x="18" y="32"/>
                    <a:pt x="11" y="14"/>
                    <a:pt x="1"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097" name="Google Shape;6097;p104"/>
            <p:cNvSpPr/>
            <p:nvPr/>
          </p:nvSpPr>
          <p:spPr>
            <a:xfrm>
              <a:off x="2378073" y="1751907"/>
              <a:ext cx="14" cy="204"/>
            </a:xfrm>
            <a:custGeom>
              <a:avLst/>
              <a:gdLst/>
              <a:ahLst/>
              <a:cxnLst/>
              <a:rect l="l" t="t" r="r" b="b"/>
              <a:pathLst>
                <a:path w="1" h="15" extrusionOk="0">
                  <a:moveTo>
                    <a:pt x="1" y="0"/>
                  </a:moveTo>
                  <a:cubicBezTo>
                    <a:pt x="1" y="4"/>
                    <a:pt x="1" y="11"/>
                    <a:pt x="1" y="14"/>
                  </a:cubicBezTo>
                  <a:cubicBezTo>
                    <a:pt x="1" y="11"/>
                    <a:pt x="1" y="4"/>
                    <a:pt x="1"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098" name="Google Shape;6098;p104"/>
            <p:cNvSpPr/>
            <p:nvPr/>
          </p:nvSpPr>
          <p:spPr>
            <a:xfrm>
              <a:off x="2377978" y="1751282"/>
              <a:ext cx="68" cy="353"/>
            </a:xfrm>
            <a:custGeom>
              <a:avLst/>
              <a:gdLst/>
              <a:ahLst/>
              <a:cxnLst/>
              <a:rect l="l" t="t" r="r" b="b"/>
              <a:pathLst>
                <a:path w="5" h="26" extrusionOk="0">
                  <a:moveTo>
                    <a:pt x="1" y="1"/>
                  </a:moveTo>
                  <a:cubicBezTo>
                    <a:pt x="1" y="8"/>
                    <a:pt x="4" y="18"/>
                    <a:pt x="4" y="25"/>
                  </a:cubicBezTo>
                  <a:cubicBezTo>
                    <a:pt x="4" y="18"/>
                    <a:pt x="4" y="8"/>
                    <a:pt x="1" y="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099" name="Google Shape;6099;p104"/>
            <p:cNvSpPr/>
            <p:nvPr/>
          </p:nvSpPr>
          <p:spPr>
            <a:xfrm>
              <a:off x="2373755" y="1729233"/>
              <a:ext cx="1629" cy="3761"/>
            </a:xfrm>
            <a:custGeom>
              <a:avLst/>
              <a:gdLst/>
              <a:ahLst/>
              <a:cxnLst/>
              <a:rect l="l" t="t" r="r" b="b"/>
              <a:pathLst>
                <a:path w="120" h="277" extrusionOk="0">
                  <a:moveTo>
                    <a:pt x="105" y="0"/>
                  </a:moveTo>
                  <a:cubicBezTo>
                    <a:pt x="104" y="3"/>
                    <a:pt x="103" y="5"/>
                    <a:pt x="102" y="8"/>
                  </a:cubicBezTo>
                  <a:lnTo>
                    <a:pt x="102" y="8"/>
                  </a:lnTo>
                  <a:cubicBezTo>
                    <a:pt x="106" y="1"/>
                    <a:pt x="112" y="0"/>
                    <a:pt x="119" y="0"/>
                  </a:cubicBezTo>
                  <a:close/>
                  <a:moveTo>
                    <a:pt x="102" y="8"/>
                  </a:moveTo>
                  <a:lnTo>
                    <a:pt x="102" y="8"/>
                  </a:lnTo>
                  <a:cubicBezTo>
                    <a:pt x="99" y="13"/>
                    <a:pt x="96" y="20"/>
                    <a:pt x="94" y="32"/>
                  </a:cubicBezTo>
                  <a:lnTo>
                    <a:pt x="94" y="32"/>
                  </a:lnTo>
                  <a:cubicBezTo>
                    <a:pt x="96" y="24"/>
                    <a:pt x="99" y="16"/>
                    <a:pt x="102" y="8"/>
                  </a:cubicBezTo>
                  <a:close/>
                  <a:moveTo>
                    <a:pt x="94" y="32"/>
                  </a:moveTo>
                  <a:cubicBezTo>
                    <a:pt x="90" y="53"/>
                    <a:pt x="89" y="74"/>
                    <a:pt x="91" y="95"/>
                  </a:cubicBezTo>
                  <a:cubicBezTo>
                    <a:pt x="91" y="66"/>
                    <a:pt x="92" y="46"/>
                    <a:pt x="94" y="32"/>
                  </a:cubicBezTo>
                  <a:close/>
                  <a:moveTo>
                    <a:pt x="91" y="95"/>
                  </a:moveTo>
                  <a:lnTo>
                    <a:pt x="91" y="95"/>
                  </a:lnTo>
                  <a:cubicBezTo>
                    <a:pt x="91" y="151"/>
                    <a:pt x="87" y="259"/>
                    <a:pt x="0" y="277"/>
                  </a:cubicBezTo>
                  <a:cubicBezTo>
                    <a:pt x="91" y="259"/>
                    <a:pt x="91" y="151"/>
                    <a:pt x="91" y="95"/>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100" name="Google Shape;6100;p104"/>
            <p:cNvSpPr/>
            <p:nvPr/>
          </p:nvSpPr>
          <p:spPr>
            <a:xfrm>
              <a:off x="2378032" y="1751622"/>
              <a:ext cx="14" cy="299"/>
            </a:xfrm>
            <a:custGeom>
              <a:avLst/>
              <a:gdLst/>
              <a:ahLst/>
              <a:cxnLst/>
              <a:rect l="l" t="t" r="r" b="b"/>
              <a:pathLst>
                <a:path w="1" h="22" extrusionOk="0">
                  <a:moveTo>
                    <a:pt x="0" y="0"/>
                  </a:moveTo>
                  <a:cubicBezTo>
                    <a:pt x="0" y="7"/>
                    <a:pt x="0" y="14"/>
                    <a:pt x="0" y="21"/>
                  </a:cubicBezTo>
                  <a:cubicBezTo>
                    <a:pt x="0" y="14"/>
                    <a:pt x="0" y="7"/>
                    <a:pt x="0"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101" name="Google Shape;6101;p104"/>
            <p:cNvSpPr/>
            <p:nvPr/>
          </p:nvSpPr>
          <p:spPr>
            <a:xfrm>
              <a:off x="2374135" y="1744385"/>
              <a:ext cx="14" cy="163"/>
            </a:xfrm>
            <a:custGeom>
              <a:avLst/>
              <a:gdLst/>
              <a:ahLst/>
              <a:cxnLst/>
              <a:rect l="l" t="t" r="r" b="b"/>
              <a:pathLst>
                <a:path w="1" h="12" extrusionOk="0">
                  <a:moveTo>
                    <a:pt x="0" y="1"/>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102" name="Google Shape;6102;p104"/>
            <p:cNvSpPr/>
            <p:nvPr/>
          </p:nvSpPr>
          <p:spPr>
            <a:xfrm>
              <a:off x="2377842" y="1750862"/>
              <a:ext cx="149" cy="394"/>
            </a:xfrm>
            <a:custGeom>
              <a:avLst/>
              <a:gdLst/>
              <a:ahLst/>
              <a:cxnLst/>
              <a:rect l="l" t="t" r="r" b="b"/>
              <a:pathLst>
                <a:path w="11" h="29" extrusionOk="0">
                  <a:moveTo>
                    <a:pt x="0" y="0"/>
                  </a:moveTo>
                  <a:cubicBezTo>
                    <a:pt x="4" y="11"/>
                    <a:pt x="7" y="21"/>
                    <a:pt x="11" y="28"/>
                  </a:cubicBezTo>
                  <a:cubicBezTo>
                    <a:pt x="7" y="21"/>
                    <a:pt x="4" y="11"/>
                    <a:pt x="0"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103" name="Google Shape;6103;p104"/>
            <p:cNvSpPr/>
            <p:nvPr/>
          </p:nvSpPr>
          <p:spPr>
            <a:xfrm>
              <a:off x="2373470" y="1733034"/>
              <a:ext cx="244" cy="14"/>
            </a:xfrm>
            <a:custGeom>
              <a:avLst/>
              <a:gdLst/>
              <a:ahLst/>
              <a:cxnLst/>
              <a:rect l="l" t="t" r="r" b="b"/>
              <a:pathLst>
                <a:path w="18" h="1" extrusionOk="0">
                  <a:moveTo>
                    <a:pt x="18" y="0"/>
                  </a:moveTo>
                  <a:cubicBezTo>
                    <a:pt x="11" y="0"/>
                    <a:pt x="7" y="0"/>
                    <a:pt x="0" y="0"/>
                  </a:cubicBezTo>
                  <a:cubicBezTo>
                    <a:pt x="7" y="0"/>
                    <a:pt x="11" y="0"/>
                    <a:pt x="18"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104" name="Google Shape;6104;p104"/>
            <p:cNvSpPr/>
            <p:nvPr/>
          </p:nvSpPr>
          <p:spPr>
            <a:xfrm>
              <a:off x="2374135" y="1745485"/>
              <a:ext cx="2295" cy="2485"/>
            </a:xfrm>
            <a:custGeom>
              <a:avLst/>
              <a:gdLst/>
              <a:ahLst/>
              <a:cxnLst/>
              <a:rect l="l" t="t" r="r" b="b"/>
              <a:pathLst>
                <a:path w="169" h="183" extrusionOk="0">
                  <a:moveTo>
                    <a:pt x="168" y="182"/>
                  </a:moveTo>
                  <a:cubicBezTo>
                    <a:pt x="123" y="109"/>
                    <a:pt x="60" y="28"/>
                    <a:pt x="0" y="0"/>
                  </a:cubicBezTo>
                  <a:lnTo>
                    <a:pt x="0" y="0"/>
                  </a:lnTo>
                  <a:cubicBezTo>
                    <a:pt x="60" y="28"/>
                    <a:pt x="123" y="109"/>
                    <a:pt x="168" y="182"/>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105" name="Google Shape;6105;p104"/>
            <p:cNvSpPr/>
            <p:nvPr/>
          </p:nvSpPr>
          <p:spPr>
            <a:xfrm>
              <a:off x="2377652" y="1750291"/>
              <a:ext cx="204" cy="530"/>
            </a:xfrm>
            <a:custGeom>
              <a:avLst/>
              <a:gdLst/>
              <a:ahLst/>
              <a:cxnLst/>
              <a:rect l="l" t="t" r="r" b="b"/>
              <a:pathLst>
                <a:path w="15" h="39" extrusionOk="0">
                  <a:moveTo>
                    <a:pt x="0" y="0"/>
                  </a:moveTo>
                  <a:cubicBezTo>
                    <a:pt x="4" y="14"/>
                    <a:pt x="11" y="28"/>
                    <a:pt x="14" y="39"/>
                  </a:cubicBezTo>
                  <a:cubicBezTo>
                    <a:pt x="11" y="28"/>
                    <a:pt x="4" y="14"/>
                    <a:pt x="0"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106" name="Google Shape;6106;p104"/>
            <p:cNvSpPr/>
            <p:nvPr/>
          </p:nvSpPr>
          <p:spPr>
            <a:xfrm>
              <a:off x="2376932" y="1748852"/>
              <a:ext cx="394" cy="774"/>
            </a:xfrm>
            <a:custGeom>
              <a:avLst/>
              <a:gdLst/>
              <a:ahLst/>
              <a:cxnLst/>
              <a:rect l="l" t="t" r="r" b="b"/>
              <a:pathLst>
                <a:path w="29" h="57" extrusionOk="0">
                  <a:moveTo>
                    <a:pt x="1" y="1"/>
                  </a:moveTo>
                  <a:cubicBezTo>
                    <a:pt x="11" y="22"/>
                    <a:pt x="22" y="39"/>
                    <a:pt x="29" y="57"/>
                  </a:cubicBezTo>
                  <a:cubicBezTo>
                    <a:pt x="22" y="39"/>
                    <a:pt x="11" y="22"/>
                    <a:pt x="1" y="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107" name="Google Shape;6107;p104"/>
            <p:cNvSpPr/>
            <p:nvPr/>
          </p:nvSpPr>
          <p:spPr>
            <a:xfrm>
              <a:off x="2374135" y="1742063"/>
              <a:ext cx="244" cy="2335"/>
            </a:xfrm>
            <a:custGeom>
              <a:avLst/>
              <a:gdLst/>
              <a:ahLst/>
              <a:cxnLst/>
              <a:rect l="l" t="t" r="r" b="b"/>
              <a:pathLst>
                <a:path w="18" h="172" extrusionOk="0">
                  <a:moveTo>
                    <a:pt x="18" y="0"/>
                  </a:moveTo>
                  <a:cubicBezTo>
                    <a:pt x="14" y="46"/>
                    <a:pt x="4" y="116"/>
                    <a:pt x="0" y="172"/>
                  </a:cubicBezTo>
                  <a:cubicBezTo>
                    <a:pt x="4" y="116"/>
                    <a:pt x="14" y="49"/>
                    <a:pt x="18"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108" name="Google Shape;6108;p104"/>
            <p:cNvSpPr/>
            <p:nvPr/>
          </p:nvSpPr>
          <p:spPr>
            <a:xfrm>
              <a:off x="2378073" y="1752138"/>
              <a:ext cx="14" cy="109"/>
            </a:xfrm>
            <a:custGeom>
              <a:avLst/>
              <a:gdLst/>
              <a:ahLst/>
              <a:cxnLst/>
              <a:rect l="l" t="t" r="r" b="b"/>
              <a:pathLst>
                <a:path w="1" h="8" extrusionOk="0">
                  <a:moveTo>
                    <a:pt x="1" y="1"/>
                  </a:moveTo>
                  <a:cubicBezTo>
                    <a:pt x="1" y="1"/>
                    <a:pt x="1" y="4"/>
                    <a:pt x="1" y="8"/>
                  </a:cubicBezTo>
                  <a:cubicBezTo>
                    <a:pt x="1" y="4"/>
                    <a:pt x="1" y="1"/>
                    <a:pt x="1" y="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109" name="Google Shape;6109;p104"/>
            <p:cNvSpPr/>
            <p:nvPr/>
          </p:nvSpPr>
          <p:spPr>
            <a:xfrm>
              <a:off x="2374135" y="1744820"/>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110" name="Google Shape;6110;p104"/>
            <p:cNvSpPr/>
            <p:nvPr/>
          </p:nvSpPr>
          <p:spPr>
            <a:xfrm>
              <a:off x="2402173" y="1806665"/>
              <a:ext cx="109" cy="190"/>
            </a:xfrm>
            <a:custGeom>
              <a:avLst/>
              <a:gdLst/>
              <a:ahLst/>
              <a:cxnLst/>
              <a:rect l="l" t="t" r="r" b="b"/>
              <a:pathLst>
                <a:path w="8" h="14" extrusionOk="0">
                  <a:moveTo>
                    <a:pt x="1" y="0"/>
                  </a:moveTo>
                  <a:lnTo>
                    <a:pt x="1" y="0"/>
                  </a:lnTo>
                  <a:cubicBezTo>
                    <a:pt x="2" y="2"/>
                    <a:pt x="3" y="4"/>
                    <a:pt x="4" y="5"/>
                  </a:cubicBezTo>
                  <a:lnTo>
                    <a:pt x="4" y="5"/>
                  </a:lnTo>
                  <a:cubicBezTo>
                    <a:pt x="3" y="3"/>
                    <a:pt x="2" y="2"/>
                    <a:pt x="1" y="0"/>
                  </a:cubicBezTo>
                  <a:close/>
                  <a:moveTo>
                    <a:pt x="4" y="5"/>
                  </a:moveTo>
                  <a:cubicBezTo>
                    <a:pt x="5" y="7"/>
                    <a:pt x="6" y="10"/>
                    <a:pt x="8" y="14"/>
                  </a:cubicBezTo>
                  <a:cubicBezTo>
                    <a:pt x="8" y="9"/>
                    <a:pt x="6" y="8"/>
                    <a:pt x="4" y="5"/>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111" name="Google Shape;6111;p104"/>
            <p:cNvSpPr/>
            <p:nvPr/>
          </p:nvSpPr>
          <p:spPr>
            <a:xfrm>
              <a:off x="2402458" y="1807181"/>
              <a:ext cx="163" cy="204"/>
            </a:xfrm>
            <a:custGeom>
              <a:avLst/>
              <a:gdLst/>
              <a:ahLst/>
              <a:cxnLst/>
              <a:rect l="l" t="t" r="r" b="b"/>
              <a:pathLst>
                <a:path w="12" h="15" extrusionOk="0">
                  <a:moveTo>
                    <a:pt x="11" y="15"/>
                  </a:moveTo>
                  <a:lnTo>
                    <a:pt x="1"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112" name="Google Shape;6112;p104"/>
            <p:cNvSpPr/>
            <p:nvPr/>
          </p:nvSpPr>
          <p:spPr>
            <a:xfrm>
              <a:off x="2403218" y="1808186"/>
              <a:ext cx="109" cy="149"/>
            </a:xfrm>
            <a:custGeom>
              <a:avLst/>
              <a:gdLst/>
              <a:ahLst/>
              <a:cxnLst/>
              <a:rect l="l" t="t" r="r" b="b"/>
              <a:pathLst>
                <a:path w="8" h="11" extrusionOk="0">
                  <a:moveTo>
                    <a:pt x="8" y="11"/>
                  </a:moveTo>
                  <a:lnTo>
                    <a:pt x="1"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113" name="Google Shape;6113;p104"/>
            <p:cNvSpPr/>
            <p:nvPr/>
          </p:nvSpPr>
          <p:spPr>
            <a:xfrm>
              <a:off x="2403504" y="1808566"/>
              <a:ext cx="109" cy="109"/>
            </a:xfrm>
            <a:custGeom>
              <a:avLst/>
              <a:gdLst/>
              <a:ahLst/>
              <a:cxnLst/>
              <a:rect l="l" t="t" r="r" b="b"/>
              <a:pathLst>
                <a:path w="8" h="8" extrusionOk="0">
                  <a:moveTo>
                    <a:pt x="8" y="7"/>
                  </a:moveTo>
                  <a:lnTo>
                    <a:pt x="1"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114" name="Google Shape;6114;p104"/>
            <p:cNvSpPr/>
            <p:nvPr/>
          </p:nvSpPr>
          <p:spPr>
            <a:xfrm>
              <a:off x="2402132" y="1806421"/>
              <a:ext cx="14" cy="149"/>
            </a:xfrm>
            <a:custGeom>
              <a:avLst/>
              <a:gdLst/>
              <a:ahLst/>
              <a:cxnLst/>
              <a:rect l="l" t="t" r="r" b="b"/>
              <a:pathLst>
                <a:path w="1" h="11" extrusionOk="0">
                  <a:moveTo>
                    <a:pt x="0" y="11"/>
                  </a:moveTo>
                  <a:cubicBezTo>
                    <a:pt x="0" y="7"/>
                    <a:pt x="0" y="4"/>
                    <a:pt x="0" y="0"/>
                  </a:cubicBezTo>
                  <a:cubicBezTo>
                    <a:pt x="0" y="4"/>
                    <a:pt x="0" y="7"/>
                    <a:pt x="0" y="1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115" name="Google Shape;6115;p104"/>
            <p:cNvSpPr/>
            <p:nvPr/>
          </p:nvSpPr>
          <p:spPr>
            <a:xfrm>
              <a:off x="2403789" y="1808892"/>
              <a:ext cx="109" cy="109"/>
            </a:xfrm>
            <a:custGeom>
              <a:avLst/>
              <a:gdLst/>
              <a:ahLst/>
              <a:cxnLst/>
              <a:rect l="l" t="t" r="r" b="b"/>
              <a:pathLst>
                <a:path w="8" h="8" extrusionOk="0">
                  <a:moveTo>
                    <a:pt x="8" y="8"/>
                  </a:moveTo>
                  <a:lnTo>
                    <a:pt x="1"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116" name="Google Shape;6116;p104"/>
            <p:cNvSpPr/>
            <p:nvPr/>
          </p:nvSpPr>
          <p:spPr>
            <a:xfrm>
              <a:off x="2402078" y="1806136"/>
              <a:ext cx="14" cy="204"/>
            </a:xfrm>
            <a:custGeom>
              <a:avLst/>
              <a:gdLst/>
              <a:ahLst/>
              <a:cxnLst/>
              <a:rect l="l" t="t" r="r" b="b"/>
              <a:pathLst>
                <a:path w="1" h="15" extrusionOk="0">
                  <a:moveTo>
                    <a:pt x="1" y="14"/>
                  </a:moveTo>
                  <a:cubicBezTo>
                    <a:pt x="1" y="11"/>
                    <a:pt x="1" y="4"/>
                    <a:pt x="1" y="0"/>
                  </a:cubicBezTo>
                  <a:cubicBezTo>
                    <a:pt x="1" y="4"/>
                    <a:pt x="1" y="11"/>
                    <a:pt x="1" y="14"/>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117" name="Google Shape;6117;p104"/>
            <p:cNvSpPr/>
            <p:nvPr/>
          </p:nvSpPr>
          <p:spPr>
            <a:xfrm>
              <a:off x="2404508" y="1809652"/>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118" name="Google Shape;6118;p104"/>
            <p:cNvSpPr/>
            <p:nvPr/>
          </p:nvSpPr>
          <p:spPr>
            <a:xfrm>
              <a:off x="2402703" y="1807520"/>
              <a:ext cx="109" cy="149"/>
            </a:xfrm>
            <a:custGeom>
              <a:avLst/>
              <a:gdLst/>
              <a:ahLst/>
              <a:cxnLst/>
              <a:rect l="l" t="t" r="r" b="b"/>
              <a:pathLst>
                <a:path w="8" h="11" extrusionOk="0">
                  <a:moveTo>
                    <a:pt x="7" y="11"/>
                  </a:moveTo>
                  <a:lnTo>
                    <a:pt x="0"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119" name="Google Shape;6119;p104"/>
            <p:cNvSpPr/>
            <p:nvPr/>
          </p:nvSpPr>
          <p:spPr>
            <a:xfrm>
              <a:off x="2402933" y="1807901"/>
              <a:ext cx="109" cy="149"/>
            </a:xfrm>
            <a:custGeom>
              <a:avLst/>
              <a:gdLst/>
              <a:ahLst/>
              <a:cxnLst/>
              <a:rect l="l" t="t" r="r" b="b"/>
              <a:pathLst>
                <a:path w="8" h="11" extrusionOk="0">
                  <a:moveTo>
                    <a:pt x="8" y="11"/>
                  </a:moveTo>
                  <a:lnTo>
                    <a:pt x="1"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120" name="Google Shape;6120;p104"/>
            <p:cNvSpPr/>
            <p:nvPr/>
          </p:nvSpPr>
          <p:spPr>
            <a:xfrm>
              <a:off x="2404128" y="1809272"/>
              <a:ext cx="54" cy="68"/>
            </a:xfrm>
            <a:custGeom>
              <a:avLst/>
              <a:gdLst/>
              <a:ahLst/>
              <a:cxnLst/>
              <a:rect l="l" t="t" r="r" b="b"/>
              <a:pathLst>
                <a:path w="4" h="5" extrusionOk="0">
                  <a:moveTo>
                    <a:pt x="4"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121" name="Google Shape;6121;p104"/>
            <p:cNvSpPr/>
            <p:nvPr/>
          </p:nvSpPr>
          <p:spPr>
            <a:xfrm>
              <a:off x="2378697" y="1753468"/>
              <a:ext cx="204" cy="299"/>
            </a:xfrm>
            <a:custGeom>
              <a:avLst/>
              <a:gdLst/>
              <a:ahLst/>
              <a:cxnLst/>
              <a:rect l="l" t="t" r="r" b="b"/>
              <a:pathLst>
                <a:path w="15" h="22" extrusionOk="0">
                  <a:moveTo>
                    <a:pt x="14" y="22"/>
                  </a:moveTo>
                  <a:lnTo>
                    <a:pt x="0"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122" name="Google Shape;6122;p104"/>
            <p:cNvSpPr/>
            <p:nvPr/>
          </p:nvSpPr>
          <p:spPr>
            <a:xfrm>
              <a:off x="2388487" y="1786652"/>
              <a:ext cx="6476" cy="3910"/>
            </a:xfrm>
            <a:custGeom>
              <a:avLst/>
              <a:gdLst/>
              <a:ahLst/>
              <a:cxnLst/>
              <a:rect l="l" t="t" r="r" b="b"/>
              <a:pathLst>
                <a:path w="477" h="288" extrusionOk="0">
                  <a:moveTo>
                    <a:pt x="0" y="0"/>
                  </a:moveTo>
                  <a:cubicBezTo>
                    <a:pt x="53" y="67"/>
                    <a:pt x="119" y="119"/>
                    <a:pt x="193" y="158"/>
                  </a:cubicBezTo>
                  <a:cubicBezTo>
                    <a:pt x="280" y="210"/>
                    <a:pt x="375" y="256"/>
                    <a:pt x="476" y="287"/>
                  </a:cubicBezTo>
                  <a:cubicBezTo>
                    <a:pt x="375" y="256"/>
                    <a:pt x="280" y="210"/>
                    <a:pt x="193" y="158"/>
                  </a:cubicBezTo>
                  <a:cubicBezTo>
                    <a:pt x="119" y="119"/>
                    <a:pt x="53" y="67"/>
                    <a:pt x="0"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123" name="Google Shape;6123;p104"/>
            <p:cNvSpPr/>
            <p:nvPr/>
          </p:nvSpPr>
          <p:spPr>
            <a:xfrm>
              <a:off x="2378032" y="1752233"/>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124" name="Google Shape;6124;p104"/>
            <p:cNvSpPr/>
            <p:nvPr/>
          </p:nvSpPr>
          <p:spPr>
            <a:xfrm>
              <a:off x="2402268" y="1806896"/>
              <a:ext cx="109" cy="204"/>
            </a:xfrm>
            <a:custGeom>
              <a:avLst/>
              <a:gdLst/>
              <a:ahLst/>
              <a:cxnLst/>
              <a:rect l="l" t="t" r="r" b="b"/>
              <a:pathLst>
                <a:path w="8" h="15" extrusionOk="0">
                  <a:moveTo>
                    <a:pt x="8" y="15"/>
                  </a:moveTo>
                  <a:lnTo>
                    <a:pt x="1"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125" name="Google Shape;6125;p104"/>
            <p:cNvSpPr/>
            <p:nvPr/>
          </p:nvSpPr>
          <p:spPr>
            <a:xfrm>
              <a:off x="2449043" y="1751187"/>
              <a:ext cx="299" cy="68"/>
            </a:xfrm>
            <a:custGeom>
              <a:avLst/>
              <a:gdLst/>
              <a:ahLst/>
              <a:cxnLst/>
              <a:rect l="l" t="t" r="r" b="b"/>
              <a:pathLst>
                <a:path w="22" h="5" extrusionOk="0">
                  <a:moveTo>
                    <a:pt x="21"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126" name="Google Shape;6126;p104"/>
            <p:cNvSpPr/>
            <p:nvPr/>
          </p:nvSpPr>
          <p:spPr>
            <a:xfrm>
              <a:off x="2452559" y="1750088"/>
              <a:ext cx="54" cy="68"/>
            </a:xfrm>
            <a:custGeom>
              <a:avLst/>
              <a:gdLst/>
              <a:ahLst/>
              <a:cxnLst/>
              <a:rect l="l" t="t" r="r" b="b"/>
              <a:pathLst>
                <a:path w="4" h="5" extrusionOk="0">
                  <a:moveTo>
                    <a:pt x="4"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127" name="Google Shape;6127;p104"/>
            <p:cNvSpPr/>
            <p:nvPr/>
          </p:nvSpPr>
          <p:spPr>
            <a:xfrm>
              <a:off x="2448418" y="1751242"/>
              <a:ext cx="299" cy="14"/>
            </a:xfrm>
            <a:custGeom>
              <a:avLst/>
              <a:gdLst/>
              <a:ahLst/>
              <a:cxnLst/>
              <a:rect l="l" t="t" r="r" b="b"/>
              <a:pathLst>
                <a:path w="22" h="1" extrusionOk="0">
                  <a:moveTo>
                    <a:pt x="22"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128" name="Google Shape;6128;p104"/>
            <p:cNvSpPr/>
            <p:nvPr/>
          </p:nvSpPr>
          <p:spPr>
            <a:xfrm>
              <a:off x="2451419" y="1750712"/>
              <a:ext cx="149" cy="54"/>
            </a:xfrm>
            <a:custGeom>
              <a:avLst/>
              <a:gdLst/>
              <a:ahLst/>
              <a:cxnLst/>
              <a:rect l="l" t="t" r="r" b="b"/>
              <a:pathLst>
                <a:path w="11" h="4" extrusionOk="0">
                  <a:moveTo>
                    <a:pt x="11"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129" name="Google Shape;6129;p104"/>
            <p:cNvSpPr/>
            <p:nvPr/>
          </p:nvSpPr>
          <p:spPr>
            <a:xfrm>
              <a:off x="2451038" y="1750807"/>
              <a:ext cx="204" cy="54"/>
            </a:xfrm>
            <a:custGeom>
              <a:avLst/>
              <a:gdLst/>
              <a:ahLst/>
              <a:cxnLst/>
              <a:rect l="l" t="t" r="r" b="b"/>
              <a:pathLst>
                <a:path w="15" h="4" extrusionOk="0">
                  <a:moveTo>
                    <a:pt x="14"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130" name="Google Shape;6130;p104"/>
            <p:cNvSpPr/>
            <p:nvPr/>
          </p:nvSpPr>
          <p:spPr>
            <a:xfrm>
              <a:off x="2452179" y="1750332"/>
              <a:ext cx="109" cy="54"/>
            </a:xfrm>
            <a:custGeom>
              <a:avLst/>
              <a:gdLst/>
              <a:ahLst/>
              <a:cxnLst/>
              <a:rect l="l" t="t" r="r" b="b"/>
              <a:pathLst>
                <a:path w="8" h="4" extrusionOk="0">
                  <a:moveTo>
                    <a:pt x="7"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131" name="Google Shape;6131;p104"/>
            <p:cNvSpPr/>
            <p:nvPr/>
          </p:nvSpPr>
          <p:spPr>
            <a:xfrm>
              <a:off x="2447658" y="1751282"/>
              <a:ext cx="299" cy="14"/>
            </a:xfrm>
            <a:custGeom>
              <a:avLst/>
              <a:gdLst/>
              <a:ahLst/>
              <a:cxnLst/>
              <a:rect l="l" t="t" r="r" b="b"/>
              <a:pathLst>
                <a:path w="22" h="1" extrusionOk="0">
                  <a:moveTo>
                    <a:pt x="22"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132" name="Google Shape;6132;p104"/>
            <p:cNvSpPr/>
            <p:nvPr/>
          </p:nvSpPr>
          <p:spPr>
            <a:xfrm>
              <a:off x="2446857" y="1751337"/>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133" name="Google Shape;6133;p104"/>
            <p:cNvSpPr/>
            <p:nvPr/>
          </p:nvSpPr>
          <p:spPr>
            <a:xfrm>
              <a:off x="2500610" y="1758560"/>
              <a:ext cx="14" cy="149"/>
            </a:xfrm>
            <a:custGeom>
              <a:avLst/>
              <a:gdLst/>
              <a:ahLst/>
              <a:cxnLst/>
              <a:rect l="l" t="t" r="r" b="b"/>
              <a:pathLst>
                <a:path w="1" h="11" extrusionOk="0">
                  <a:moveTo>
                    <a:pt x="1" y="11"/>
                  </a:moveTo>
                  <a:lnTo>
                    <a:pt x="1" y="0"/>
                  </a:lnTo>
                  <a:cubicBezTo>
                    <a:pt x="1" y="4"/>
                    <a:pt x="1" y="7"/>
                    <a:pt x="1" y="1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134" name="Google Shape;6134;p104"/>
            <p:cNvSpPr/>
            <p:nvPr/>
          </p:nvSpPr>
          <p:spPr>
            <a:xfrm>
              <a:off x="2500610" y="1758886"/>
              <a:ext cx="14" cy="204"/>
            </a:xfrm>
            <a:custGeom>
              <a:avLst/>
              <a:gdLst/>
              <a:ahLst/>
              <a:cxnLst/>
              <a:rect l="l" t="t" r="r" b="b"/>
              <a:pathLst>
                <a:path w="1" h="15" extrusionOk="0">
                  <a:moveTo>
                    <a:pt x="1" y="15"/>
                  </a:moveTo>
                  <a:lnTo>
                    <a:pt x="1"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135" name="Google Shape;6135;p104"/>
            <p:cNvSpPr/>
            <p:nvPr/>
          </p:nvSpPr>
          <p:spPr>
            <a:xfrm>
              <a:off x="2450658" y="1750902"/>
              <a:ext cx="204" cy="54"/>
            </a:xfrm>
            <a:custGeom>
              <a:avLst/>
              <a:gdLst/>
              <a:ahLst/>
              <a:cxnLst/>
              <a:rect l="l" t="t" r="r" b="b"/>
              <a:pathLst>
                <a:path w="15" h="4" extrusionOk="0">
                  <a:moveTo>
                    <a:pt x="14"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136" name="Google Shape;6136;p104"/>
            <p:cNvSpPr/>
            <p:nvPr/>
          </p:nvSpPr>
          <p:spPr>
            <a:xfrm>
              <a:off x="2451989" y="1750481"/>
              <a:ext cx="109" cy="54"/>
            </a:xfrm>
            <a:custGeom>
              <a:avLst/>
              <a:gdLst/>
              <a:ahLst/>
              <a:cxnLst/>
              <a:rect l="l" t="t" r="r" b="b"/>
              <a:pathLst>
                <a:path w="8" h="4" extrusionOk="0">
                  <a:moveTo>
                    <a:pt x="7" y="0"/>
                  </a:moveTo>
                  <a:lnTo>
                    <a:pt x="0" y="4"/>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137" name="Google Shape;6137;p104"/>
            <p:cNvSpPr/>
            <p:nvPr/>
          </p:nvSpPr>
          <p:spPr>
            <a:xfrm>
              <a:off x="2449654" y="1751092"/>
              <a:ext cx="258" cy="68"/>
            </a:xfrm>
            <a:custGeom>
              <a:avLst/>
              <a:gdLst/>
              <a:ahLst/>
              <a:cxnLst/>
              <a:rect l="l" t="t" r="r" b="b"/>
              <a:pathLst>
                <a:path w="19" h="5" extrusionOk="0">
                  <a:moveTo>
                    <a:pt x="18" y="1"/>
                  </a:moveTo>
                  <a:lnTo>
                    <a:pt x="1" y="4"/>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138" name="Google Shape;6138;p104"/>
            <p:cNvSpPr/>
            <p:nvPr/>
          </p:nvSpPr>
          <p:spPr>
            <a:xfrm>
              <a:off x="2500664" y="1759266"/>
              <a:ext cx="14" cy="258"/>
            </a:xfrm>
            <a:custGeom>
              <a:avLst/>
              <a:gdLst/>
              <a:ahLst/>
              <a:cxnLst/>
              <a:rect l="l" t="t" r="r" b="b"/>
              <a:pathLst>
                <a:path w="1" h="19" extrusionOk="0">
                  <a:moveTo>
                    <a:pt x="0" y="1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139" name="Google Shape;6139;p104"/>
            <p:cNvSpPr/>
            <p:nvPr/>
          </p:nvSpPr>
          <p:spPr>
            <a:xfrm>
              <a:off x="2500800" y="1760787"/>
              <a:ext cx="14" cy="299"/>
            </a:xfrm>
            <a:custGeom>
              <a:avLst/>
              <a:gdLst/>
              <a:ahLst/>
              <a:cxnLst/>
              <a:rect l="l" t="t" r="r" b="b"/>
              <a:pathLst>
                <a:path w="1" h="22" extrusionOk="0">
                  <a:moveTo>
                    <a:pt x="1" y="22"/>
                  </a:moveTo>
                  <a:lnTo>
                    <a:pt x="1"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140" name="Google Shape;6140;p104"/>
            <p:cNvSpPr/>
            <p:nvPr/>
          </p:nvSpPr>
          <p:spPr>
            <a:xfrm>
              <a:off x="2500664" y="1759741"/>
              <a:ext cx="54" cy="258"/>
            </a:xfrm>
            <a:custGeom>
              <a:avLst/>
              <a:gdLst/>
              <a:ahLst/>
              <a:cxnLst/>
              <a:rect l="l" t="t" r="r" b="b"/>
              <a:pathLst>
                <a:path w="4" h="19" extrusionOk="0">
                  <a:moveTo>
                    <a:pt x="4" y="1"/>
                  </a:moveTo>
                  <a:cubicBezTo>
                    <a:pt x="0" y="4"/>
                    <a:pt x="4" y="11"/>
                    <a:pt x="4" y="18"/>
                  </a:cubicBezTo>
                  <a:lnTo>
                    <a:pt x="4"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141" name="Google Shape;6141;p104"/>
            <p:cNvSpPr/>
            <p:nvPr/>
          </p:nvSpPr>
          <p:spPr>
            <a:xfrm>
              <a:off x="2500759" y="1760216"/>
              <a:ext cx="14" cy="353"/>
            </a:xfrm>
            <a:custGeom>
              <a:avLst/>
              <a:gdLst/>
              <a:ahLst/>
              <a:cxnLst/>
              <a:rect l="l" t="t" r="r" b="b"/>
              <a:pathLst>
                <a:path w="1" h="26" extrusionOk="0">
                  <a:moveTo>
                    <a:pt x="0" y="25"/>
                  </a:moveTo>
                  <a:lnTo>
                    <a:pt x="0"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142" name="Google Shape;6142;p104"/>
            <p:cNvSpPr/>
            <p:nvPr/>
          </p:nvSpPr>
          <p:spPr>
            <a:xfrm>
              <a:off x="2451704" y="1750576"/>
              <a:ext cx="149" cy="95"/>
            </a:xfrm>
            <a:custGeom>
              <a:avLst/>
              <a:gdLst/>
              <a:ahLst/>
              <a:cxnLst/>
              <a:rect l="l" t="t" r="r" b="b"/>
              <a:pathLst>
                <a:path w="11" h="7" extrusionOk="0">
                  <a:moveTo>
                    <a:pt x="11"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143" name="Google Shape;6143;p104"/>
            <p:cNvSpPr/>
            <p:nvPr/>
          </p:nvSpPr>
          <p:spPr>
            <a:xfrm>
              <a:off x="2450183" y="1750997"/>
              <a:ext cx="204" cy="54"/>
            </a:xfrm>
            <a:custGeom>
              <a:avLst/>
              <a:gdLst/>
              <a:ahLst/>
              <a:cxnLst/>
              <a:rect l="l" t="t" r="r" b="b"/>
              <a:pathLst>
                <a:path w="15" h="4" extrusionOk="0">
                  <a:moveTo>
                    <a:pt x="14"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144" name="Google Shape;6144;p104"/>
            <p:cNvSpPr/>
            <p:nvPr/>
          </p:nvSpPr>
          <p:spPr>
            <a:xfrm>
              <a:off x="2452695" y="1749952"/>
              <a:ext cx="14" cy="54"/>
            </a:xfrm>
            <a:custGeom>
              <a:avLst/>
              <a:gdLst/>
              <a:ahLst/>
              <a:cxnLst/>
              <a:rect l="l" t="t" r="r" b="b"/>
              <a:pathLst>
                <a:path w="1" h="4" extrusionOk="0">
                  <a:moveTo>
                    <a:pt x="1" y="0"/>
                  </a:moveTo>
                  <a:lnTo>
                    <a:pt x="1" y="4"/>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145" name="Google Shape;6145;p104"/>
            <p:cNvSpPr/>
            <p:nvPr/>
          </p:nvSpPr>
          <p:spPr>
            <a:xfrm>
              <a:off x="2501044" y="1763312"/>
              <a:ext cx="54" cy="339"/>
            </a:xfrm>
            <a:custGeom>
              <a:avLst/>
              <a:gdLst/>
              <a:ahLst/>
              <a:cxnLst/>
              <a:rect l="l" t="t" r="r" b="b"/>
              <a:pathLst>
                <a:path w="4" h="25" extrusionOk="0">
                  <a:moveTo>
                    <a:pt x="4" y="25"/>
                  </a:moveTo>
                  <a:lnTo>
                    <a:pt x="0"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146" name="Google Shape;6146;p104"/>
            <p:cNvSpPr/>
            <p:nvPr/>
          </p:nvSpPr>
          <p:spPr>
            <a:xfrm>
              <a:off x="2501275" y="1764683"/>
              <a:ext cx="68" cy="299"/>
            </a:xfrm>
            <a:custGeom>
              <a:avLst/>
              <a:gdLst/>
              <a:ahLst/>
              <a:cxnLst/>
              <a:rect l="l" t="t" r="r" b="b"/>
              <a:pathLst>
                <a:path w="5" h="22" extrusionOk="0">
                  <a:moveTo>
                    <a:pt x="4" y="22"/>
                  </a:moveTo>
                  <a:lnTo>
                    <a:pt x="1"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147" name="Google Shape;6147;p104"/>
            <p:cNvSpPr/>
            <p:nvPr/>
          </p:nvSpPr>
          <p:spPr>
            <a:xfrm>
              <a:off x="2501180" y="1763977"/>
              <a:ext cx="68" cy="339"/>
            </a:xfrm>
            <a:custGeom>
              <a:avLst/>
              <a:gdLst/>
              <a:ahLst/>
              <a:cxnLst/>
              <a:rect l="l" t="t" r="r" b="b"/>
              <a:pathLst>
                <a:path w="5" h="25" extrusionOk="0">
                  <a:moveTo>
                    <a:pt x="4" y="25"/>
                  </a:moveTo>
                  <a:lnTo>
                    <a:pt x="1"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148" name="Google Shape;6148;p104"/>
            <p:cNvSpPr/>
            <p:nvPr/>
          </p:nvSpPr>
          <p:spPr>
            <a:xfrm>
              <a:off x="2452369" y="1750237"/>
              <a:ext cx="109" cy="54"/>
            </a:xfrm>
            <a:custGeom>
              <a:avLst/>
              <a:gdLst/>
              <a:ahLst/>
              <a:cxnLst/>
              <a:rect l="l" t="t" r="r" b="b"/>
              <a:pathLst>
                <a:path w="8" h="4" extrusionOk="0">
                  <a:moveTo>
                    <a:pt x="7"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149" name="Google Shape;6149;p104"/>
            <p:cNvSpPr/>
            <p:nvPr/>
          </p:nvSpPr>
          <p:spPr>
            <a:xfrm>
              <a:off x="2501425" y="1765403"/>
              <a:ext cx="54" cy="244"/>
            </a:xfrm>
            <a:custGeom>
              <a:avLst/>
              <a:gdLst/>
              <a:ahLst/>
              <a:cxnLst/>
              <a:rect l="l" t="t" r="r" b="b"/>
              <a:pathLst>
                <a:path w="4" h="18" extrusionOk="0">
                  <a:moveTo>
                    <a:pt x="4" y="18"/>
                  </a:moveTo>
                  <a:lnTo>
                    <a:pt x="0"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150" name="Google Shape;6150;p104"/>
            <p:cNvSpPr/>
            <p:nvPr/>
          </p:nvSpPr>
          <p:spPr>
            <a:xfrm>
              <a:off x="2500800" y="1761357"/>
              <a:ext cx="68" cy="353"/>
            </a:xfrm>
            <a:custGeom>
              <a:avLst/>
              <a:gdLst/>
              <a:ahLst/>
              <a:cxnLst/>
              <a:rect l="l" t="t" r="r" b="b"/>
              <a:pathLst>
                <a:path w="5" h="26" extrusionOk="0">
                  <a:moveTo>
                    <a:pt x="4" y="25"/>
                  </a:moveTo>
                  <a:lnTo>
                    <a:pt x="1"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151" name="Google Shape;6151;p104"/>
            <p:cNvSpPr/>
            <p:nvPr/>
          </p:nvSpPr>
          <p:spPr>
            <a:xfrm>
              <a:off x="2500895" y="1761982"/>
              <a:ext cx="68" cy="339"/>
            </a:xfrm>
            <a:custGeom>
              <a:avLst/>
              <a:gdLst/>
              <a:ahLst/>
              <a:cxnLst/>
              <a:rect l="l" t="t" r="r" b="b"/>
              <a:pathLst>
                <a:path w="5" h="25" extrusionOk="0">
                  <a:moveTo>
                    <a:pt x="4" y="25"/>
                  </a:moveTo>
                  <a:lnTo>
                    <a:pt x="1"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152" name="Google Shape;6152;p104"/>
            <p:cNvSpPr/>
            <p:nvPr/>
          </p:nvSpPr>
          <p:spPr>
            <a:xfrm>
              <a:off x="2500949" y="1762647"/>
              <a:ext cx="54" cy="339"/>
            </a:xfrm>
            <a:custGeom>
              <a:avLst/>
              <a:gdLst/>
              <a:ahLst/>
              <a:cxnLst/>
              <a:rect l="l" t="t" r="r" b="b"/>
              <a:pathLst>
                <a:path w="4" h="25" extrusionOk="0">
                  <a:moveTo>
                    <a:pt x="4" y="25"/>
                  </a:moveTo>
                  <a:lnTo>
                    <a:pt x="0"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153" name="Google Shape;6153;p104"/>
            <p:cNvSpPr/>
            <p:nvPr/>
          </p:nvSpPr>
          <p:spPr>
            <a:xfrm>
              <a:off x="2501615" y="1766258"/>
              <a:ext cx="54" cy="204"/>
            </a:xfrm>
            <a:custGeom>
              <a:avLst/>
              <a:gdLst/>
              <a:ahLst/>
              <a:cxnLst/>
              <a:rect l="l" t="t" r="r" b="b"/>
              <a:pathLst>
                <a:path w="4" h="15" extrusionOk="0">
                  <a:moveTo>
                    <a:pt x="4" y="1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154" name="Google Shape;6154;p104"/>
            <p:cNvSpPr/>
            <p:nvPr/>
          </p:nvSpPr>
          <p:spPr>
            <a:xfrm>
              <a:off x="2391759" y="1582202"/>
              <a:ext cx="300144" cy="138721"/>
            </a:xfrm>
            <a:custGeom>
              <a:avLst/>
              <a:gdLst/>
              <a:ahLst/>
              <a:cxnLst/>
              <a:rect l="l" t="t" r="r" b="b"/>
              <a:pathLst>
                <a:path w="22106" h="10217" extrusionOk="0">
                  <a:moveTo>
                    <a:pt x="7610" y="6221"/>
                  </a:moveTo>
                  <a:cubicBezTo>
                    <a:pt x="7825" y="6221"/>
                    <a:pt x="8164" y="6301"/>
                    <a:pt x="8266" y="6411"/>
                  </a:cubicBezTo>
                  <a:cubicBezTo>
                    <a:pt x="8319" y="6457"/>
                    <a:pt x="8326" y="6534"/>
                    <a:pt x="8284" y="6586"/>
                  </a:cubicBezTo>
                  <a:cubicBezTo>
                    <a:pt x="8256" y="6621"/>
                    <a:pt x="8210" y="6639"/>
                    <a:pt x="8133" y="6639"/>
                  </a:cubicBezTo>
                  <a:cubicBezTo>
                    <a:pt x="8105" y="6639"/>
                    <a:pt x="8074" y="6635"/>
                    <a:pt x="8042" y="6632"/>
                  </a:cubicBezTo>
                  <a:cubicBezTo>
                    <a:pt x="7857" y="6607"/>
                    <a:pt x="7468" y="6506"/>
                    <a:pt x="7412" y="6366"/>
                  </a:cubicBezTo>
                  <a:cubicBezTo>
                    <a:pt x="7391" y="6324"/>
                    <a:pt x="7409" y="6271"/>
                    <a:pt x="7451" y="6250"/>
                  </a:cubicBezTo>
                  <a:lnTo>
                    <a:pt x="7447" y="6250"/>
                  </a:lnTo>
                  <a:cubicBezTo>
                    <a:pt x="7478" y="6230"/>
                    <a:pt x="7537" y="6221"/>
                    <a:pt x="7610" y="6221"/>
                  </a:cubicBezTo>
                  <a:close/>
                  <a:moveTo>
                    <a:pt x="17938" y="6158"/>
                  </a:moveTo>
                  <a:cubicBezTo>
                    <a:pt x="17962" y="6158"/>
                    <a:pt x="17981" y="6161"/>
                    <a:pt x="17995" y="6166"/>
                  </a:cubicBezTo>
                  <a:cubicBezTo>
                    <a:pt x="18048" y="6177"/>
                    <a:pt x="18079" y="6222"/>
                    <a:pt x="18072" y="6275"/>
                  </a:cubicBezTo>
                  <a:cubicBezTo>
                    <a:pt x="18055" y="6404"/>
                    <a:pt x="17778" y="6551"/>
                    <a:pt x="17411" y="6551"/>
                  </a:cubicBezTo>
                  <a:cubicBezTo>
                    <a:pt x="17306" y="6551"/>
                    <a:pt x="17180" y="6541"/>
                    <a:pt x="17029" y="6527"/>
                  </a:cubicBezTo>
                  <a:cubicBezTo>
                    <a:pt x="16851" y="6511"/>
                    <a:pt x="16649" y="6494"/>
                    <a:pt x="16450" y="6494"/>
                  </a:cubicBezTo>
                  <a:cubicBezTo>
                    <a:pt x="16112" y="6494"/>
                    <a:pt x="15784" y="6544"/>
                    <a:pt x="15601" y="6740"/>
                  </a:cubicBezTo>
                  <a:cubicBezTo>
                    <a:pt x="15373" y="6985"/>
                    <a:pt x="15380" y="7150"/>
                    <a:pt x="15391" y="7258"/>
                  </a:cubicBezTo>
                  <a:cubicBezTo>
                    <a:pt x="15394" y="7328"/>
                    <a:pt x="15401" y="7433"/>
                    <a:pt x="15272" y="7458"/>
                  </a:cubicBezTo>
                  <a:lnTo>
                    <a:pt x="15247" y="7458"/>
                  </a:lnTo>
                  <a:cubicBezTo>
                    <a:pt x="15205" y="7458"/>
                    <a:pt x="15139" y="7437"/>
                    <a:pt x="15083" y="7335"/>
                  </a:cubicBezTo>
                  <a:cubicBezTo>
                    <a:pt x="14974" y="7125"/>
                    <a:pt x="14953" y="6656"/>
                    <a:pt x="15149" y="6457"/>
                  </a:cubicBezTo>
                  <a:cubicBezTo>
                    <a:pt x="15333" y="6275"/>
                    <a:pt x="15770" y="6180"/>
                    <a:pt x="16168" y="6180"/>
                  </a:cubicBezTo>
                  <a:cubicBezTo>
                    <a:pt x="16332" y="6180"/>
                    <a:pt x="16489" y="6196"/>
                    <a:pt x="16619" y="6229"/>
                  </a:cubicBezTo>
                  <a:cubicBezTo>
                    <a:pt x="16712" y="6252"/>
                    <a:pt x="16822" y="6260"/>
                    <a:pt x="16938" y="6260"/>
                  </a:cubicBezTo>
                  <a:cubicBezTo>
                    <a:pt x="17181" y="6260"/>
                    <a:pt x="17450" y="6222"/>
                    <a:pt x="17649" y="6194"/>
                  </a:cubicBezTo>
                  <a:cubicBezTo>
                    <a:pt x="17794" y="6172"/>
                    <a:pt x="17882" y="6158"/>
                    <a:pt x="17938" y="6158"/>
                  </a:cubicBezTo>
                  <a:close/>
                  <a:moveTo>
                    <a:pt x="12780" y="0"/>
                  </a:moveTo>
                  <a:cubicBezTo>
                    <a:pt x="12609" y="0"/>
                    <a:pt x="12323" y="74"/>
                    <a:pt x="12292" y="131"/>
                  </a:cubicBezTo>
                  <a:cubicBezTo>
                    <a:pt x="12271" y="236"/>
                    <a:pt x="12089" y="292"/>
                    <a:pt x="11666" y="390"/>
                  </a:cubicBezTo>
                  <a:cubicBezTo>
                    <a:pt x="11571" y="407"/>
                    <a:pt x="11484" y="428"/>
                    <a:pt x="11452" y="442"/>
                  </a:cubicBezTo>
                  <a:cubicBezTo>
                    <a:pt x="11323" y="495"/>
                    <a:pt x="10815" y="568"/>
                    <a:pt x="10661" y="589"/>
                  </a:cubicBezTo>
                  <a:cubicBezTo>
                    <a:pt x="10647" y="593"/>
                    <a:pt x="10629" y="596"/>
                    <a:pt x="10615" y="600"/>
                  </a:cubicBezTo>
                  <a:cubicBezTo>
                    <a:pt x="10563" y="617"/>
                    <a:pt x="10510" y="638"/>
                    <a:pt x="10461" y="659"/>
                  </a:cubicBezTo>
                  <a:cubicBezTo>
                    <a:pt x="10377" y="701"/>
                    <a:pt x="10286" y="733"/>
                    <a:pt x="10195" y="750"/>
                  </a:cubicBezTo>
                  <a:cubicBezTo>
                    <a:pt x="10164" y="757"/>
                    <a:pt x="10129" y="761"/>
                    <a:pt x="10094" y="761"/>
                  </a:cubicBezTo>
                  <a:cubicBezTo>
                    <a:pt x="9961" y="761"/>
                    <a:pt x="9502" y="771"/>
                    <a:pt x="9310" y="918"/>
                  </a:cubicBezTo>
                  <a:cubicBezTo>
                    <a:pt x="9215" y="989"/>
                    <a:pt x="9097" y="1006"/>
                    <a:pt x="8986" y="1006"/>
                  </a:cubicBezTo>
                  <a:cubicBezTo>
                    <a:pt x="8933" y="1006"/>
                    <a:pt x="8881" y="1002"/>
                    <a:pt x="8834" y="999"/>
                  </a:cubicBezTo>
                  <a:cubicBezTo>
                    <a:pt x="8800" y="994"/>
                    <a:pt x="8767" y="991"/>
                    <a:pt x="8734" y="991"/>
                  </a:cubicBezTo>
                  <a:cubicBezTo>
                    <a:pt x="8701" y="991"/>
                    <a:pt x="8669" y="994"/>
                    <a:pt x="8637" y="999"/>
                  </a:cubicBezTo>
                  <a:cubicBezTo>
                    <a:pt x="8588" y="1013"/>
                    <a:pt x="8543" y="1020"/>
                    <a:pt x="8494" y="1020"/>
                  </a:cubicBezTo>
                  <a:lnTo>
                    <a:pt x="8420" y="1020"/>
                  </a:lnTo>
                  <a:lnTo>
                    <a:pt x="8347" y="1016"/>
                  </a:lnTo>
                  <a:cubicBezTo>
                    <a:pt x="8321" y="1013"/>
                    <a:pt x="8294" y="1011"/>
                    <a:pt x="8268" y="1011"/>
                  </a:cubicBezTo>
                  <a:cubicBezTo>
                    <a:pt x="8242" y="1011"/>
                    <a:pt x="8216" y="1013"/>
                    <a:pt x="8189" y="1016"/>
                  </a:cubicBezTo>
                  <a:cubicBezTo>
                    <a:pt x="8161" y="1051"/>
                    <a:pt x="8172" y="1286"/>
                    <a:pt x="8235" y="1387"/>
                  </a:cubicBezTo>
                  <a:cubicBezTo>
                    <a:pt x="8263" y="1433"/>
                    <a:pt x="8399" y="1482"/>
                    <a:pt x="8490" y="1510"/>
                  </a:cubicBezTo>
                  <a:cubicBezTo>
                    <a:pt x="8525" y="1520"/>
                    <a:pt x="8553" y="1531"/>
                    <a:pt x="8578" y="1541"/>
                  </a:cubicBezTo>
                  <a:cubicBezTo>
                    <a:pt x="8658" y="1569"/>
                    <a:pt x="8711" y="1597"/>
                    <a:pt x="8725" y="1643"/>
                  </a:cubicBezTo>
                  <a:cubicBezTo>
                    <a:pt x="8728" y="1650"/>
                    <a:pt x="8728" y="1657"/>
                    <a:pt x="8728" y="1664"/>
                  </a:cubicBezTo>
                  <a:cubicBezTo>
                    <a:pt x="8732" y="1681"/>
                    <a:pt x="8725" y="1702"/>
                    <a:pt x="8714" y="1716"/>
                  </a:cubicBezTo>
                  <a:cubicBezTo>
                    <a:pt x="8683" y="1762"/>
                    <a:pt x="8613" y="1783"/>
                    <a:pt x="8459" y="1797"/>
                  </a:cubicBezTo>
                  <a:lnTo>
                    <a:pt x="8420" y="1800"/>
                  </a:lnTo>
                  <a:lnTo>
                    <a:pt x="8333" y="1807"/>
                  </a:lnTo>
                  <a:lnTo>
                    <a:pt x="8284" y="1811"/>
                  </a:lnTo>
                  <a:cubicBezTo>
                    <a:pt x="8210" y="1814"/>
                    <a:pt x="8144" y="1821"/>
                    <a:pt x="8091" y="1828"/>
                  </a:cubicBezTo>
                  <a:lnTo>
                    <a:pt x="8077" y="1828"/>
                  </a:lnTo>
                  <a:cubicBezTo>
                    <a:pt x="8053" y="1832"/>
                    <a:pt x="8035" y="1846"/>
                    <a:pt x="8025" y="1863"/>
                  </a:cubicBezTo>
                  <a:cubicBezTo>
                    <a:pt x="7993" y="1916"/>
                    <a:pt x="8007" y="2011"/>
                    <a:pt x="8035" y="2091"/>
                  </a:cubicBezTo>
                  <a:cubicBezTo>
                    <a:pt x="8039" y="2105"/>
                    <a:pt x="8042" y="2116"/>
                    <a:pt x="8046" y="2126"/>
                  </a:cubicBezTo>
                  <a:cubicBezTo>
                    <a:pt x="8063" y="2168"/>
                    <a:pt x="8060" y="2214"/>
                    <a:pt x="8042" y="2252"/>
                  </a:cubicBezTo>
                  <a:cubicBezTo>
                    <a:pt x="7979" y="2385"/>
                    <a:pt x="7748" y="2476"/>
                    <a:pt x="7678" y="2501"/>
                  </a:cubicBezTo>
                  <a:lnTo>
                    <a:pt x="7668" y="2504"/>
                  </a:lnTo>
                  <a:lnTo>
                    <a:pt x="7657" y="2508"/>
                  </a:lnTo>
                  <a:cubicBezTo>
                    <a:pt x="7654" y="2511"/>
                    <a:pt x="7650" y="2515"/>
                    <a:pt x="7650" y="2532"/>
                  </a:cubicBezTo>
                  <a:cubicBezTo>
                    <a:pt x="7668" y="2592"/>
                    <a:pt x="7710" y="2641"/>
                    <a:pt x="7769" y="2665"/>
                  </a:cubicBezTo>
                  <a:lnTo>
                    <a:pt x="7790" y="2665"/>
                  </a:lnTo>
                  <a:cubicBezTo>
                    <a:pt x="7815" y="2669"/>
                    <a:pt x="7836" y="2669"/>
                    <a:pt x="7857" y="2672"/>
                  </a:cubicBezTo>
                  <a:cubicBezTo>
                    <a:pt x="7920" y="2686"/>
                    <a:pt x="7976" y="2711"/>
                    <a:pt x="8032" y="2739"/>
                  </a:cubicBezTo>
                  <a:cubicBezTo>
                    <a:pt x="8070" y="2756"/>
                    <a:pt x="8105" y="2770"/>
                    <a:pt x="8147" y="2781"/>
                  </a:cubicBezTo>
                  <a:cubicBezTo>
                    <a:pt x="8158" y="2784"/>
                    <a:pt x="8168" y="2788"/>
                    <a:pt x="8179" y="2788"/>
                  </a:cubicBezTo>
                  <a:cubicBezTo>
                    <a:pt x="8364" y="2788"/>
                    <a:pt x="8392" y="3071"/>
                    <a:pt x="8392" y="3239"/>
                  </a:cubicBezTo>
                  <a:cubicBezTo>
                    <a:pt x="8392" y="3358"/>
                    <a:pt x="8322" y="3498"/>
                    <a:pt x="7986" y="3498"/>
                  </a:cubicBezTo>
                  <a:cubicBezTo>
                    <a:pt x="7874" y="3495"/>
                    <a:pt x="7769" y="3456"/>
                    <a:pt x="7678" y="3390"/>
                  </a:cubicBezTo>
                  <a:cubicBezTo>
                    <a:pt x="7643" y="3362"/>
                    <a:pt x="7605" y="3341"/>
                    <a:pt x="7563" y="3327"/>
                  </a:cubicBezTo>
                  <a:cubicBezTo>
                    <a:pt x="7549" y="3334"/>
                    <a:pt x="7535" y="3383"/>
                    <a:pt x="7524" y="3411"/>
                  </a:cubicBezTo>
                  <a:cubicBezTo>
                    <a:pt x="7503" y="3481"/>
                    <a:pt x="7479" y="3558"/>
                    <a:pt x="7409" y="3586"/>
                  </a:cubicBezTo>
                  <a:cubicBezTo>
                    <a:pt x="7388" y="3597"/>
                    <a:pt x="7369" y="3601"/>
                    <a:pt x="7351" y="3601"/>
                  </a:cubicBezTo>
                  <a:cubicBezTo>
                    <a:pt x="7288" y="3601"/>
                    <a:pt x="7243" y="3544"/>
                    <a:pt x="7216" y="3505"/>
                  </a:cubicBezTo>
                  <a:cubicBezTo>
                    <a:pt x="7178" y="3456"/>
                    <a:pt x="7153" y="3425"/>
                    <a:pt x="7115" y="3425"/>
                  </a:cubicBezTo>
                  <a:cubicBezTo>
                    <a:pt x="7027" y="3425"/>
                    <a:pt x="6761" y="3425"/>
                    <a:pt x="6687" y="3211"/>
                  </a:cubicBezTo>
                  <a:cubicBezTo>
                    <a:pt x="6663" y="3173"/>
                    <a:pt x="6624" y="3148"/>
                    <a:pt x="6582" y="3145"/>
                  </a:cubicBezTo>
                  <a:cubicBezTo>
                    <a:pt x="6555" y="3138"/>
                    <a:pt x="6524" y="3134"/>
                    <a:pt x="6492" y="3134"/>
                  </a:cubicBezTo>
                  <a:cubicBezTo>
                    <a:pt x="6408" y="3134"/>
                    <a:pt x="6317" y="3158"/>
                    <a:pt x="6264" y="3211"/>
                  </a:cubicBezTo>
                  <a:cubicBezTo>
                    <a:pt x="6187" y="3288"/>
                    <a:pt x="6127" y="3313"/>
                    <a:pt x="6075" y="3313"/>
                  </a:cubicBezTo>
                  <a:cubicBezTo>
                    <a:pt x="6005" y="3313"/>
                    <a:pt x="5949" y="3267"/>
                    <a:pt x="5900" y="3222"/>
                  </a:cubicBezTo>
                  <a:lnTo>
                    <a:pt x="5861" y="3190"/>
                  </a:lnTo>
                  <a:cubicBezTo>
                    <a:pt x="5849" y="3182"/>
                    <a:pt x="5825" y="3176"/>
                    <a:pt x="5788" y="3176"/>
                  </a:cubicBezTo>
                  <a:cubicBezTo>
                    <a:pt x="5760" y="3176"/>
                    <a:pt x="5723" y="3180"/>
                    <a:pt x="5679" y="3190"/>
                  </a:cubicBezTo>
                  <a:cubicBezTo>
                    <a:pt x="5588" y="3211"/>
                    <a:pt x="5508" y="3257"/>
                    <a:pt x="5441" y="3320"/>
                  </a:cubicBezTo>
                  <a:cubicBezTo>
                    <a:pt x="5438" y="3327"/>
                    <a:pt x="5434" y="3330"/>
                    <a:pt x="5431" y="3337"/>
                  </a:cubicBezTo>
                  <a:cubicBezTo>
                    <a:pt x="5399" y="3404"/>
                    <a:pt x="5336" y="3453"/>
                    <a:pt x="5263" y="3474"/>
                  </a:cubicBezTo>
                  <a:cubicBezTo>
                    <a:pt x="5213" y="3488"/>
                    <a:pt x="5163" y="3495"/>
                    <a:pt x="5112" y="3495"/>
                  </a:cubicBezTo>
                  <a:cubicBezTo>
                    <a:pt x="5012" y="3495"/>
                    <a:pt x="4913" y="3468"/>
                    <a:pt x="4825" y="3414"/>
                  </a:cubicBezTo>
                  <a:cubicBezTo>
                    <a:pt x="4697" y="3334"/>
                    <a:pt x="4645" y="3316"/>
                    <a:pt x="4624" y="3316"/>
                  </a:cubicBezTo>
                  <a:cubicBezTo>
                    <a:pt x="4622" y="3316"/>
                    <a:pt x="4620" y="3316"/>
                    <a:pt x="4619" y="3316"/>
                  </a:cubicBezTo>
                  <a:cubicBezTo>
                    <a:pt x="4611" y="3330"/>
                    <a:pt x="4611" y="3344"/>
                    <a:pt x="4611" y="3358"/>
                  </a:cubicBezTo>
                  <a:cubicBezTo>
                    <a:pt x="4611" y="3390"/>
                    <a:pt x="4608" y="3421"/>
                    <a:pt x="4594" y="3449"/>
                  </a:cubicBezTo>
                  <a:cubicBezTo>
                    <a:pt x="4576" y="3484"/>
                    <a:pt x="4545" y="3502"/>
                    <a:pt x="4506" y="3502"/>
                  </a:cubicBezTo>
                  <a:cubicBezTo>
                    <a:pt x="4419" y="3502"/>
                    <a:pt x="4331" y="3379"/>
                    <a:pt x="4331" y="3285"/>
                  </a:cubicBezTo>
                  <a:cubicBezTo>
                    <a:pt x="4317" y="3225"/>
                    <a:pt x="4058" y="3057"/>
                    <a:pt x="3960" y="2991"/>
                  </a:cubicBezTo>
                  <a:lnTo>
                    <a:pt x="3901" y="2952"/>
                  </a:lnTo>
                  <a:cubicBezTo>
                    <a:pt x="3845" y="2914"/>
                    <a:pt x="3712" y="2893"/>
                    <a:pt x="3593" y="2872"/>
                  </a:cubicBezTo>
                  <a:cubicBezTo>
                    <a:pt x="3404" y="2837"/>
                    <a:pt x="3267" y="2812"/>
                    <a:pt x="3243" y="2721"/>
                  </a:cubicBezTo>
                  <a:cubicBezTo>
                    <a:pt x="3207" y="2686"/>
                    <a:pt x="3160" y="2668"/>
                    <a:pt x="3112" y="2668"/>
                  </a:cubicBezTo>
                  <a:cubicBezTo>
                    <a:pt x="3108" y="2668"/>
                    <a:pt x="3104" y="2668"/>
                    <a:pt x="3099" y="2669"/>
                  </a:cubicBezTo>
                  <a:cubicBezTo>
                    <a:pt x="3094" y="2668"/>
                    <a:pt x="3088" y="2667"/>
                    <a:pt x="3083" y="2667"/>
                  </a:cubicBezTo>
                  <a:cubicBezTo>
                    <a:pt x="3039" y="2667"/>
                    <a:pt x="2999" y="2691"/>
                    <a:pt x="2980" y="2732"/>
                  </a:cubicBezTo>
                  <a:cubicBezTo>
                    <a:pt x="2959" y="2784"/>
                    <a:pt x="2917" y="2830"/>
                    <a:pt x="2865" y="2851"/>
                  </a:cubicBezTo>
                  <a:cubicBezTo>
                    <a:pt x="2849" y="2856"/>
                    <a:pt x="2834" y="2858"/>
                    <a:pt x="2819" y="2858"/>
                  </a:cubicBezTo>
                  <a:cubicBezTo>
                    <a:pt x="2758" y="2858"/>
                    <a:pt x="2698" y="2822"/>
                    <a:pt x="2648" y="2791"/>
                  </a:cubicBezTo>
                  <a:cubicBezTo>
                    <a:pt x="2630" y="2781"/>
                    <a:pt x="2616" y="2770"/>
                    <a:pt x="2599" y="2763"/>
                  </a:cubicBezTo>
                  <a:cubicBezTo>
                    <a:pt x="2591" y="2760"/>
                    <a:pt x="2582" y="2758"/>
                    <a:pt x="2572" y="2758"/>
                  </a:cubicBezTo>
                  <a:cubicBezTo>
                    <a:pt x="2493" y="2758"/>
                    <a:pt x="2332" y="2840"/>
                    <a:pt x="2276" y="2868"/>
                  </a:cubicBezTo>
                  <a:lnTo>
                    <a:pt x="2245" y="2886"/>
                  </a:lnTo>
                  <a:cubicBezTo>
                    <a:pt x="2224" y="2893"/>
                    <a:pt x="2189" y="2914"/>
                    <a:pt x="2150" y="2938"/>
                  </a:cubicBezTo>
                  <a:lnTo>
                    <a:pt x="2122" y="2956"/>
                  </a:lnTo>
                  <a:cubicBezTo>
                    <a:pt x="1975" y="3043"/>
                    <a:pt x="1772" y="3159"/>
                    <a:pt x="1632" y="3159"/>
                  </a:cubicBezTo>
                  <a:cubicBezTo>
                    <a:pt x="1601" y="3159"/>
                    <a:pt x="1594" y="3166"/>
                    <a:pt x="1569" y="3225"/>
                  </a:cubicBezTo>
                  <a:cubicBezTo>
                    <a:pt x="1541" y="3327"/>
                    <a:pt x="1461" y="3404"/>
                    <a:pt x="1356" y="3425"/>
                  </a:cubicBezTo>
                  <a:cubicBezTo>
                    <a:pt x="1317" y="3428"/>
                    <a:pt x="1279" y="3449"/>
                    <a:pt x="1251" y="3481"/>
                  </a:cubicBezTo>
                  <a:cubicBezTo>
                    <a:pt x="1230" y="3516"/>
                    <a:pt x="1244" y="3572"/>
                    <a:pt x="1258" y="3621"/>
                  </a:cubicBezTo>
                  <a:lnTo>
                    <a:pt x="1261" y="3635"/>
                  </a:lnTo>
                  <a:cubicBezTo>
                    <a:pt x="1265" y="3656"/>
                    <a:pt x="1272" y="3673"/>
                    <a:pt x="1282" y="3691"/>
                  </a:cubicBezTo>
                  <a:cubicBezTo>
                    <a:pt x="1307" y="3761"/>
                    <a:pt x="1345" y="3852"/>
                    <a:pt x="1307" y="3936"/>
                  </a:cubicBezTo>
                  <a:cubicBezTo>
                    <a:pt x="1279" y="3992"/>
                    <a:pt x="1230" y="4034"/>
                    <a:pt x="1170" y="4051"/>
                  </a:cubicBezTo>
                  <a:cubicBezTo>
                    <a:pt x="1142" y="4062"/>
                    <a:pt x="1116" y="4067"/>
                    <a:pt x="1092" y="4067"/>
                  </a:cubicBezTo>
                  <a:cubicBezTo>
                    <a:pt x="969" y="4067"/>
                    <a:pt x="887" y="3948"/>
                    <a:pt x="817" y="3848"/>
                  </a:cubicBezTo>
                  <a:cubicBezTo>
                    <a:pt x="778" y="3785"/>
                    <a:pt x="729" y="3729"/>
                    <a:pt x="673" y="3680"/>
                  </a:cubicBezTo>
                  <a:cubicBezTo>
                    <a:pt x="651" y="3659"/>
                    <a:pt x="622" y="3648"/>
                    <a:pt x="593" y="3648"/>
                  </a:cubicBezTo>
                  <a:cubicBezTo>
                    <a:pt x="575" y="3648"/>
                    <a:pt x="557" y="3652"/>
                    <a:pt x="540" y="3659"/>
                  </a:cubicBezTo>
                  <a:cubicBezTo>
                    <a:pt x="495" y="3687"/>
                    <a:pt x="463" y="3736"/>
                    <a:pt x="459" y="3792"/>
                  </a:cubicBezTo>
                  <a:cubicBezTo>
                    <a:pt x="459" y="3803"/>
                    <a:pt x="459" y="3810"/>
                    <a:pt x="459" y="3820"/>
                  </a:cubicBezTo>
                  <a:cubicBezTo>
                    <a:pt x="459" y="3950"/>
                    <a:pt x="372" y="4009"/>
                    <a:pt x="302" y="4058"/>
                  </a:cubicBezTo>
                  <a:cubicBezTo>
                    <a:pt x="242" y="4094"/>
                    <a:pt x="197" y="4136"/>
                    <a:pt x="162" y="4192"/>
                  </a:cubicBezTo>
                  <a:cubicBezTo>
                    <a:pt x="137" y="4230"/>
                    <a:pt x="137" y="4244"/>
                    <a:pt x="232" y="4300"/>
                  </a:cubicBezTo>
                  <a:cubicBezTo>
                    <a:pt x="281" y="4328"/>
                    <a:pt x="340" y="4360"/>
                    <a:pt x="340" y="4426"/>
                  </a:cubicBezTo>
                  <a:cubicBezTo>
                    <a:pt x="340" y="4458"/>
                    <a:pt x="330" y="4486"/>
                    <a:pt x="309" y="4510"/>
                  </a:cubicBezTo>
                  <a:cubicBezTo>
                    <a:pt x="256" y="4573"/>
                    <a:pt x="186" y="4619"/>
                    <a:pt x="113" y="4654"/>
                  </a:cubicBezTo>
                  <a:cubicBezTo>
                    <a:pt x="74" y="4689"/>
                    <a:pt x="1" y="4853"/>
                    <a:pt x="15" y="4899"/>
                  </a:cubicBezTo>
                  <a:lnTo>
                    <a:pt x="22" y="4902"/>
                  </a:lnTo>
                  <a:cubicBezTo>
                    <a:pt x="43" y="4913"/>
                    <a:pt x="64" y="4920"/>
                    <a:pt x="88" y="4923"/>
                  </a:cubicBezTo>
                  <a:lnTo>
                    <a:pt x="99" y="4927"/>
                  </a:lnTo>
                  <a:cubicBezTo>
                    <a:pt x="197" y="4955"/>
                    <a:pt x="361" y="4997"/>
                    <a:pt x="340" y="5161"/>
                  </a:cubicBezTo>
                  <a:cubicBezTo>
                    <a:pt x="330" y="5224"/>
                    <a:pt x="323" y="5287"/>
                    <a:pt x="319" y="5347"/>
                  </a:cubicBezTo>
                  <a:cubicBezTo>
                    <a:pt x="319" y="5357"/>
                    <a:pt x="319" y="5364"/>
                    <a:pt x="319" y="5371"/>
                  </a:cubicBezTo>
                  <a:cubicBezTo>
                    <a:pt x="323" y="5375"/>
                    <a:pt x="323" y="5382"/>
                    <a:pt x="326" y="5389"/>
                  </a:cubicBezTo>
                  <a:cubicBezTo>
                    <a:pt x="333" y="5385"/>
                    <a:pt x="340" y="5385"/>
                    <a:pt x="347" y="5382"/>
                  </a:cubicBezTo>
                  <a:cubicBezTo>
                    <a:pt x="424" y="5360"/>
                    <a:pt x="505" y="5348"/>
                    <a:pt x="586" y="5348"/>
                  </a:cubicBezTo>
                  <a:cubicBezTo>
                    <a:pt x="620" y="5348"/>
                    <a:pt x="653" y="5350"/>
                    <a:pt x="687" y="5354"/>
                  </a:cubicBezTo>
                  <a:lnTo>
                    <a:pt x="757" y="5354"/>
                  </a:lnTo>
                  <a:cubicBezTo>
                    <a:pt x="852" y="5354"/>
                    <a:pt x="915" y="5445"/>
                    <a:pt x="992" y="5560"/>
                  </a:cubicBezTo>
                  <a:cubicBezTo>
                    <a:pt x="1041" y="5630"/>
                    <a:pt x="1090" y="5700"/>
                    <a:pt x="1146" y="5767"/>
                  </a:cubicBezTo>
                  <a:cubicBezTo>
                    <a:pt x="1279" y="5914"/>
                    <a:pt x="1352" y="6008"/>
                    <a:pt x="1328" y="6103"/>
                  </a:cubicBezTo>
                  <a:cubicBezTo>
                    <a:pt x="1303" y="6180"/>
                    <a:pt x="1216" y="6205"/>
                    <a:pt x="1188" y="6212"/>
                  </a:cubicBezTo>
                  <a:cubicBezTo>
                    <a:pt x="1174" y="6215"/>
                    <a:pt x="1160" y="6219"/>
                    <a:pt x="1146" y="6226"/>
                  </a:cubicBezTo>
                  <a:cubicBezTo>
                    <a:pt x="1184" y="6264"/>
                    <a:pt x="1230" y="6292"/>
                    <a:pt x="1279" y="6313"/>
                  </a:cubicBezTo>
                  <a:lnTo>
                    <a:pt x="1317" y="6331"/>
                  </a:lnTo>
                  <a:cubicBezTo>
                    <a:pt x="1370" y="6359"/>
                    <a:pt x="1419" y="6387"/>
                    <a:pt x="1468" y="6418"/>
                  </a:cubicBezTo>
                  <a:cubicBezTo>
                    <a:pt x="1485" y="6404"/>
                    <a:pt x="1503" y="6390"/>
                    <a:pt x="1520" y="6376"/>
                  </a:cubicBezTo>
                  <a:cubicBezTo>
                    <a:pt x="1768" y="6155"/>
                    <a:pt x="2173" y="5963"/>
                    <a:pt x="2526" y="5963"/>
                  </a:cubicBezTo>
                  <a:cubicBezTo>
                    <a:pt x="2597" y="5963"/>
                    <a:pt x="2666" y="5970"/>
                    <a:pt x="2732" y="5987"/>
                  </a:cubicBezTo>
                  <a:cubicBezTo>
                    <a:pt x="2832" y="6010"/>
                    <a:pt x="2938" y="6021"/>
                    <a:pt x="3044" y="6021"/>
                  </a:cubicBezTo>
                  <a:cubicBezTo>
                    <a:pt x="3070" y="6021"/>
                    <a:pt x="3097" y="6020"/>
                    <a:pt x="3124" y="6019"/>
                  </a:cubicBezTo>
                  <a:cubicBezTo>
                    <a:pt x="3151" y="6018"/>
                    <a:pt x="3179" y="6018"/>
                    <a:pt x="3206" y="6018"/>
                  </a:cubicBezTo>
                  <a:cubicBezTo>
                    <a:pt x="3363" y="6018"/>
                    <a:pt x="3508" y="6035"/>
                    <a:pt x="3607" y="6173"/>
                  </a:cubicBezTo>
                  <a:cubicBezTo>
                    <a:pt x="3715" y="6331"/>
                    <a:pt x="3694" y="6548"/>
                    <a:pt x="3677" y="6740"/>
                  </a:cubicBezTo>
                  <a:cubicBezTo>
                    <a:pt x="3666" y="6842"/>
                    <a:pt x="3656" y="6947"/>
                    <a:pt x="3677" y="6996"/>
                  </a:cubicBezTo>
                  <a:cubicBezTo>
                    <a:pt x="3698" y="7045"/>
                    <a:pt x="3691" y="7101"/>
                    <a:pt x="3659" y="7143"/>
                  </a:cubicBezTo>
                  <a:cubicBezTo>
                    <a:pt x="3594" y="7226"/>
                    <a:pt x="3431" y="7245"/>
                    <a:pt x="3294" y="7245"/>
                  </a:cubicBezTo>
                  <a:cubicBezTo>
                    <a:pt x="3187" y="7245"/>
                    <a:pt x="3095" y="7233"/>
                    <a:pt x="3075" y="7230"/>
                  </a:cubicBezTo>
                  <a:cubicBezTo>
                    <a:pt x="3048" y="7227"/>
                    <a:pt x="3020" y="7225"/>
                    <a:pt x="2990" y="7225"/>
                  </a:cubicBezTo>
                  <a:cubicBezTo>
                    <a:pt x="2766" y="7225"/>
                    <a:pt x="2477" y="7322"/>
                    <a:pt x="2462" y="7381"/>
                  </a:cubicBezTo>
                  <a:cubicBezTo>
                    <a:pt x="2465" y="7391"/>
                    <a:pt x="2472" y="7405"/>
                    <a:pt x="2479" y="7419"/>
                  </a:cubicBezTo>
                  <a:cubicBezTo>
                    <a:pt x="2560" y="7594"/>
                    <a:pt x="2613" y="7731"/>
                    <a:pt x="2539" y="7801"/>
                  </a:cubicBezTo>
                  <a:cubicBezTo>
                    <a:pt x="2515" y="7822"/>
                    <a:pt x="2488" y="7830"/>
                    <a:pt x="2458" y="7830"/>
                  </a:cubicBezTo>
                  <a:cubicBezTo>
                    <a:pt x="2403" y="7830"/>
                    <a:pt x="2341" y="7802"/>
                    <a:pt x="2287" y="7773"/>
                  </a:cubicBezTo>
                  <a:cubicBezTo>
                    <a:pt x="2238" y="7744"/>
                    <a:pt x="2191" y="7730"/>
                    <a:pt x="2150" y="7730"/>
                  </a:cubicBezTo>
                  <a:cubicBezTo>
                    <a:pt x="2112" y="7730"/>
                    <a:pt x="2080" y="7742"/>
                    <a:pt x="2056" y="7766"/>
                  </a:cubicBezTo>
                  <a:cubicBezTo>
                    <a:pt x="2038" y="7780"/>
                    <a:pt x="2028" y="7804"/>
                    <a:pt x="2031" y="7825"/>
                  </a:cubicBezTo>
                  <a:lnTo>
                    <a:pt x="2045" y="7825"/>
                  </a:lnTo>
                  <a:cubicBezTo>
                    <a:pt x="2259" y="7825"/>
                    <a:pt x="2532" y="8060"/>
                    <a:pt x="2532" y="8246"/>
                  </a:cubicBezTo>
                  <a:cubicBezTo>
                    <a:pt x="2532" y="8470"/>
                    <a:pt x="2567" y="8578"/>
                    <a:pt x="2602" y="8603"/>
                  </a:cubicBezTo>
                  <a:cubicBezTo>
                    <a:pt x="2604" y="8603"/>
                    <a:pt x="2607" y="8606"/>
                    <a:pt x="2613" y="8606"/>
                  </a:cubicBezTo>
                  <a:cubicBezTo>
                    <a:pt x="2616" y="8606"/>
                    <a:pt x="2621" y="8605"/>
                    <a:pt x="2627" y="8603"/>
                  </a:cubicBezTo>
                  <a:cubicBezTo>
                    <a:pt x="2647" y="8596"/>
                    <a:pt x="2665" y="8593"/>
                    <a:pt x="2683" y="8593"/>
                  </a:cubicBezTo>
                  <a:cubicBezTo>
                    <a:pt x="2768" y="8593"/>
                    <a:pt x="2820" y="8663"/>
                    <a:pt x="2861" y="8718"/>
                  </a:cubicBezTo>
                  <a:cubicBezTo>
                    <a:pt x="2912" y="8785"/>
                    <a:pt x="2946" y="8827"/>
                    <a:pt x="3017" y="8827"/>
                  </a:cubicBezTo>
                  <a:cubicBezTo>
                    <a:pt x="3020" y="8827"/>
                    <a:pt x="3023" y="8827"/>
                    <a:pt x="3026" y="8827"/>
                  </a:cubicBezTo>
                  <a:cubicBezTo>
                    <a:pt x="3047" y="8825"/>
                    <a:pt x="3069" y="8824"/>
                    <a:pt x="3089" y="8824"/>
                  </a:cubicBezTo>
                  <a:cubicBezTo>
                    <a:pt x="3249" y="8824"/>
                    <a:pt x="3363" y="8872"/>
                    <a:pt x="3404" y="8953"/>
                  </a:cubicBezTo>
                  <a:cubicBezTo>
                    <a:pt x="3432" y="9005"/>
                    <a:pt x="3442" y="9089"/>
                    <a:pt x="3341" y="9208"/>
                  </a:cubicBezTo>
                  <a:cubicBezTo>
                    <a:pt x="3299" y="9257"/>
                    <a:pt x="3288" y="9345"/>
                    <a:pt x="3309" y="9457"/>
                  </a:cubicBezTo>
                  <a:cubicBezTo>
                    <a:pt x="3327" y="9562"/>
                    <a:pt x="3365" y="9660"/>
                    <a:pt x="3421" y="9747"/>
                  </a:cubicBezTo>
                  <a:cubicBezTo>
                    <a:pt x="3425" y="9723"/>
                    <a:pt x="3425" y="9698"/>
                    <a:pt x="3428" y="9674"/>
                  </a:cubicBezTo>
                  <a:cubicBezTo>
                    <a:pt x="3428" y="9600"/>
                    <a:pt x="3439" y="9527"/>
                    <a:pt x="3467" y="9457"/>
                  </a:cubicBezTo>
                  <a:lnTo>
                    <a:pt x="3467" y="9450"/>
                  </a:lnTo>
                  <a:cubicBezTo>
                    <a:pt x="3467" y="9446"/>
                    <a:pt x="3463" y="9443"/>
                    <a:pt x="3463" y="9439"/>
                  </a:cubicBezTo>
                  <a:cubicBezTo>
                    <a:pt x="3460" y="9432"/>
                    <a:pt x="3460" y="9425"/>
                    <a:pt x="3456" y="9418"/>
                  </a:cubicBezTo>
                  <a:cubicBezTo>
                    <a:pt x="3456" y="9411"/>
                    <a:pt x="3456" y="9408"/>
                    <a:pt x="3456" y="9404"/>
                  </a:cubicBezTo>
                  <a:lnTo>
                    <a:pt x="3456" y="9387"/>
                  </a:lnTo>
                  <a:lnTo>
                    <a:pt x="3456" y="9376"/>
                  </a:lnTo>
                  <a:lnTo>
                    <a:pt x="3456" y="9359"/>
                  </a:lnTo>
                  <a:lnTo>
                    <a:pt x="3456" y="9348"/>
                  </a:lnTo>
                  <a:cubicBezTo>
                    <a:pt x="3456" y="9345"/>
                    <a:pt x="3456" y="9338"/>
                    <a:pt x="3460" y="9331"/>
                  </a:cubicBezTo>
                  <a:cubicBezTo>
                    <a:pt x="3463" y="9327"/>
                    <a:pt x="3460" y="9327"/>
                    <a:pt x="3460" y="9324"/>
                  </a:cubicBezTo>
                  <a:cubicBezTo>
                    <a:pt x="3460" y="9320"/>
                    <a:pt x="3463" y="9313"/>
                    <a:pt x="3463" y="9310"/>
                  </a:cubicBezTo>
                  <a:lnTo>
                    <a:pt x="3467" y="9299"/>
                  </a:lnTo>
                  <a:cubicBezTo>
                    <a:pt x="3467" y="9296"/>
                    <a:pt x="3470" y="9292"/>
                    <a:pt x="3474" y="9289"/>
                  </a:cubicBezTo>
                  <a:lnTo>
                    <a:pt x="3477" y="9282"/>
                  </a:lnTo>
                  <a:cubicBezTo>
                    <a:pt x="3481" y="9275"/>
                    <a:pt x="3484" y="9271"/>
                    <a:pt x="3488" y="9264"/>
                  </a:cubicBezTo>
                  <a:cubicBezTo>
                    <a:pt x="3586" y="9114"/>
                    <a:pt x="3887" y="9096"/>
                    <a:pt x="4104" y="9096"/>
                  </a:cubicBezTo>
                  <a:cubicBezTo>
                    <a:pt x="4307" y="9096"/>
                    <a:pt x="4629" y="9376"/>
                    <a:pt x="4825" y="9642"/>
                  </a:cubicBezTo>
                  <a:cubicBezTo>
                    <a:pt x="4860" y="9702"/>
                    <a:pt x="4920" y="9744"/>
                    <a:pt x="4990" y="9758"/>
                  </a:cubicBezTo>
                  <a:cubicBezTo>
                    <a:pt x="4995" y="9758"/>
                    <a:pt x="4999" y="9759"/>
                    <a:pt x="5004" y="9759"/>
                  </a:cubicBezTo>
                  <a:cubicBezTo>
                    <a:pt x="5037" y="9759"/>
                    <a:pt x="5067" y="9749"/>
                    <a:pt x="5095" y="9733"/>
                  </a:cubicBezTo>
                  <a:lnTo>
                    <a:pt x="5161" y="7297"/>
                  </a:lnTo>
                  <a:lnTo>
                    <a:pt x="6561" y="6926"/>
                  </a:lnTo>
                  <a:cubicBezTo>
                    <a:pt x="6572" y="6898"/>
                    <a:pt x="6586" y="6873"/>
                    <a:pt x="6600" y="6852"/>
                  </a:cubicBezTo>
                  <a:cubicBezTo>
                    <a:pt x="6649" y="6772"/>
                    <a:pt x="6726" y="6719"/>
                    <a:pt x="6817" y="6702"/>
                  </a:cubicBezTo>
                  <a:cubicBezTo>
                    <a:pt x="6833" y="6699"/>
                    <a:pt x="6850" y="6697"/>
                    <a:pt x="6866" y="6697"/>
                  </a:cubicBezTo>
                  <a:cubicBezTo>
                    <a:pt x="6977" y="6697"/>
                    <a:pt x="7079" y="6765"/>
                    <a:pt x="7146" y="6814"/>
                  </a:cubicBezTo>
                  <a:cubicBezTo>
                    <a:pt x="7170" y="6736"/>
                    <a:pt x="7213" y="6578"/>
                    <a:pt x="7368" y="6578"/>
                  </a:cubicBezTo>
                  <a:cubicBezTo>
                    <a:pt x="7374" y="6578"/>
                    <a:pt x="7381" y="6579"/>
                    <a:pt x="7388" y="6579"/>
                  </a:cubicBezTo>
                  <a:cubicBezTo>
                    <a:pt x="7433" y="6583"/>
                    <a:pt x="7475" y="6600"/>
                    <a:pt x="7503" y="6635"/>
                  </a:cubicBezTo>
                  <a:cubicBezTo>
                    <a:pt x="7549" y="6691"/>
                    <a:pt x="7538" y="6772"/>
                    <a:pt x="7528" y="6838"/>
                  </a:cubicBezTo>
                  <a:cubicBezTo>
                    <a:pt x="7524" y="6859"/>
                    <a:pt x="7524" y="6880"/>
                    <a:pt x="7524" y="6901"/>
                  </a:cubicBezTo>
                  <a:cubicBezTo>
                    <a:pt x="7580" y="6908"/>
                    <a:pt x="7636" y="6950"/>
                    <a:pt x="7699" y="7031"/>
                  </a:cubicBezTo>
                  <a:cubicBezTo>
                    <a:pt x="7815" y="7181"/>
                    <a:pt x="7916" y="7437"/>
                    <a:pt x="7878" y="7661"/>
                  </a:cubicBezTo>
                  <a:lnTo>
                    <a:pt x="7881" y="7664"/>
                  </a:lnTo>
                  <a:lnTo>
                    <a:pt x="7902" y="7682"/>
                  </a:lnTo>
                  <a:lnTo>
                    <a:pt x="7923" y="7703"/>
                  </a:lnTo>
                  <a:lnTo>
                    <a:pt x="7944" y="7724"/>
                  </a:lnTo>
                  <a:lnTo>
                    <a:pt x="7969" y="7745"/>
                  </a:lnTo>
                  <a:lnTo>
                    <a:pt x="7993" y="7766"/>
                  </a:lnTo>
                  <a:lnTo>
                    <a:pt x="8018" y="7790"/>
                  </a:lnTo>
                  <a:lnTo>
                    <a:pt x="8042" y="7811"/>
                  </a:lnTo>
                  <a:lnTo>
                    <a:pt x="8067" y="7839"/>
                  </a:lnTo>
                  <a:lnTo>
                    <a:pt x="8091" y="7860"/>
                  </a:lnTo>
                  <a:lnTo>
                    <a:pt x="8116" y="7888"/>
                  </a:lnTo>
                  <a:lnTo>
                    <a:pt x="8140" y="7913"/>
                  </a:lnTo>
                  <a:lnTo>
                    <a:pt x="8165" y="7941"/>
                  </a:lnTo>
                  <a:lnTo>
                    <a:pt x="8189" y="7965"/>
                  </a:lnTo>
                  <a:lnTo>
                    <a:pt x="8214" y="7993"/>
                  </a:lnTo>
                  <a:lnTo>
                    <a:pt x="8238" y="8018"/>
                  </a:lnTo>
                  <a:lnTo>
                    <a:pt x="8263" y="8042"/>
                  </a:lnTo>
                  <a:lnTo>
                    <a:pt x="8287" y="8070"/>
                  </a:lnTo>
                  <a:lnTo>
                    <a:pt x="8308" y="8095"/>
                  </a:lnTo>
                  <a:lnTo>
                    <a:pt x="8329" y="8119"/>
                  </a:lnTo>
                  <a:lnTo>
                    <a:pt x="8350" y="8144"/>
                  </a:lnTo>
                  <a:lnTo>
                    <a:pt x="8371" y="8168"/>
                  </a:lnTo>
                  <a:lnTo>
                    <a:pt x="8392" y="8193"/>
                  </a:lnTo>
                  <a:lnTo>
                    <a:pt x="8410" y="8214"/>
                  </a:lnTo>
                  <a:lnTo>
                    <a:pt x="8424" y="8235"/>
                  </a:lnTo>
                  <a:lnTo>
                    <a:pt x="8441" y="8256"/>
                  </a:lnTo>
                  <a:lnTo>
                    <a:pt x="8455" y="8277"/>
                  </a:lnTo>
                  <a:lnTo>
                    <a:pt x="8469" y="8295"/>
                  </a:lnTo>
                  <a:lnTo>
                    <a:pt x="8480" y="8312"/>
                  </a:lnTo>
                  <a:lnTo>
                    <a:pt x="8490" y="8330"/>
                  </a:lnTo>
                  <a:cubicBezTo>
                    <a:pt x="8494" y="8337"/>
                    <a:pt x="8494" y="8340"/>
                    <a:pt x="8497" y="8347"/>
                  </a:cubicBezTo>
                  <a:cubicBezTo>
                    <a:pt x="8501" y="8351"/>
                    <a:pt x="8501" y="8354"/>
                    <a:pt x="8504" y="8358"/>
                  </a:cubicBezTo>
                  <a:cubicBezTo>
                    <a:pt x="8512" y="8361"/>
                    <a:pt x="8525" y="8362"/>
                    <a:pt x="8541" y="8362"/>
                  </a:cubicBezTo>
                  <a:cubicBezTo>
                    <a:pt x="8616" y="8362"/>
                    <a:pt x="8764" y="8332"/>
                    <a:pt x="8851" y="8312"/>
                  </a:cubicBezTo>
                  <a:lnTo>
                    <a:pt x="8900" y="8302"/>
                  </a:lnTo>
                  <a:lnTo>
                    <a:pt x="8918" y="8298"/>
                  </a:lnTo>
                  <a:lnTo>
                    <a:pt x="8956" y="8291"/>
                  </a:lnTo>
                  <a:lnTo>
                    <a:pt x="8967" y="8288"/>
                  </a:lnTo>
                  <a:lnTo>
                    <a:pt x="9009" y="8281"/>
                  </a:lnTo>
                  <a:lnTo>
                    <a:pt x="9019" y="8281"/>
                  </a:lnTo>
                  <a:lnTo>
                    <a:pt x="9047" y="8277"/>
                  </a:lnTo>
                  <a:lnTo>
                    <a:pt x="9061" y="8277"/>
                  </a:lnTo>
                  <a:lnTo>
                    <a:pt x="9093" y="8274"/>
                  </a:lnTo>
                  <a:lnTo>
                    <a:pt x="9152" y="8274"/>
                  </a:lnTo>
                  <a:cubicBezTo>
                    <a:pt x="9163" y="8277"/>
                    <a:pt x="9170" y="8277"/>
                    <a:pt x="9180" y="8281"/>
                  </a:cubicBezTo>
                  <a:cubicBezTo>
                    <a:pt x="9222" y="8298"/>
                    <a:pt x="9534" y="8319"/>
                    <a:pt x="10258" y="8319"/>
                  </a:cubicBezTo>
                  <a:cubicBezTo>
                    <a:pt x="10363" y="8319"/>
                    <a:pt x="10444" y="8407"/>
                    <a:pt x="10521" y="8494"/>
                  </a:cubicBezTo>
                  <a:cubicBezTo>
                    <a:pt x="10580" y="8561"/>
                    <a:pt x="10640" y="8631"/>
                    <a:pt x="10706" y="8648"/>
                  </a:cubicBezTo>
                  <a:cubicBezTo>
                    <a:pt x="10882" y="8690"/>
                    <a:pt x="10882" y="8897"/>
                    <a:pt x="10882" y="9061"/>
                  </a:cubicBezTo>
                  <a:cubicBezTo>
                    <a:pt x="10878" y="9114"/>
                    <a:pt x="10878" y="9170"/>
                    <a:pt x="10885" y="9222"/>
                  </a:cubicBezTo>
                  <a:cubicBezTo>
                    <a:pt x="10892" y="9303"/>
                    <a:pt x="10962" y="9397"/>
                    <a:pt x="11029" y="9488"/>
                  </a:cubicBezTo>
                  <a:cubicBezTo>
                    <a:pt x="11106" y="9586"/>
                    <a:pt x="11176" y="9681"/>
                    <a:pt x="11186" y="9782"/>
                  </a:cubicBezTo>
                  <a:cubicBezTo>
                    <a:pt x="11193" y="9831"/>
                    <a:pt x="11249" y="9838"/>
                    <a:pt x="11400" y="9838"/>
                  </a:cubicBezTo>
                  <a:cubicBezTo>
                    <a:pt x="11473" y="9838"/>
                    <a:pt x="11543" y="9842"/>
                    <a:pt x="11613" y="9856"/>
                  </a:cubicBezTo>
                  <a:cubicBezTo>
                    <a:pt x="11802" y="9905"/>
                    <a:pt x="12086" y="9975"/>
                    <a:pt x="12114" y="10192"/>
                  </a:cubicBezTo>
                  <a:cubicBezTo>
                    <a:pt x="12114" y="10202"/>
                    <a:pt x="12117" y="10209"/>
                    <a:pt x="12121" y="10216"/>
                  </a:cubicBezTo>
                  <a:cubicBezTo>
                    <a:pt x="12138" y="10216"/>
                    <a:pt x="12152" y="10213"/>
                    <a:pt x="12163" y="10206"/>
                  </a:cubicBezTo>
                  <a:lnTo>
                    <a:pt x="12177" y="10195"/>
                  </a:lnTo>
                  <a:cubicBezTo>
                    <a:pt x="12208" y="10174"/>
                    <a:pt x="12233" y="10139"/>
                    <a:pt x="12243" y="10104"/>
                  </a:cubicBezTo>
                  <a:cubicBezTo>
                    <a:pt x="12271" y="9943"/>
                    <a:pt x="12499" y="9758"/>
                    <a:pt x="12845" y="9621"/>
                  </a:cubicBezTo>
                  <a:cubicBezTo>
                    <a:pt x="12863" y="9614"/>
                    <a:pt x="12884" y="9607"/>
                    <a:pt x="12901" y="9600"/>
                  </a:cubicBezTo>
                  <a:lnTo>
                    <a:pt x="12915" y="9597"/>
                  </a:lnTo>
                  <a:cubicBezTo>
                    <a:pt x="12930" y="9593"/>
                    <a:pt x="12944" y="9586"/>
                    <a:pt x="12958" y="9583"/>
                  </a:cubicBezTo>
                  <a:lnTo>
                    <a:pt x="12965" y="9583"/>
                  </a:lnTo>
                  <a:cubicBezTo>
                    <a:pt x="12982" y="9579"/>
                    <a:pt x="12996" y="9579"/>
                    <a:pt x="13010" y="9576"/>
                  </a:cubicBezTo>
                  <a:lnTo>
                    <a:pt x="13031" y="9572"/>
                  </a:lnTo>
                  <a:lnTo>
                    <a:pt x="13049" y="9572"/>
                  </a:lnTo>
                  <a:cubicBezTo>
                    <a:pt x="13058" y="9571"/>
                    <a:pt x="13067" y="9571"/>
                    <a:pt x="13076" y="9571"/>
                  </a:cubicBezTo>
                  <a:cubicBezTo>
                    <a:pt x="13098" y="9571"/>
                    <a:pt x="13121" y="9573"/>
                    <a:pt x="13143" y="9576"/>
                  </a:cubicBezTo>
                  <a:cubicBezTo>
                    <a:pt x="13161" y="9534"/>
                    <a:pt x="13178" y="9495"/>
                    <a:pt x="13192" y="9464"/>
                  </a:cubicBezTo>
                  <a:lnTo>
                    <a:pt x="13196" y="9457"/>
                  </a:lnTo>
                  <a:lnTo>
                    <a:pt x="13206" y="9432"/>
                  </a:lnTo>
                  <a:lnTo>
                    <a:pt x="13213" y="9425"/>
                  </a:lnTo>
                  <a:lnTo>
                    <a:pt x="13220" y="9408"/>
                  </a:lnTo>
                  <a:lnTo>
                    <a:pt x="13227" y="9397"/>
                  </a:lnTo>
                  <a:lnTo>
                    <a:pt x="13234" y="9383"/>
                  </a:lnTo>
                  <a:lnTo>
                    <a:pt x="13238" y="9376"/>
                  </a:lnTo>
                  <a:lnTo>
                    <a:pt x="13245" y="9366"/>
                  </a:lnTo>
                  <a:lnTo>
                    <a:pt x="13252" y="9359"/>
                  </a:lnTo>
                  <a:lnTo>
                    <a:pt x="13255" y="9348"/>
                  </a:lnTo>
                  <a:lnTo>
                    <a:pt x="13262" y="9345"/>
                  </a:lnTo>
                  <a:lnTo>
                    <a:pt x="13266" y="9334"/>
                  </a:lnTo>
                  <a:lnTo>
                    <a:pt x="13273" y="9331"/>
                  </a:lnTo>
                  <a:lnTo>
                    <a:pt x="13276" y="9324"/>
                  </a:lnTo>
                  <a:lnTo>
                    <a:pt x="13280" y="9320"/>
                  </a:lnTo>
                  <a:lnTo>
                    <a:pt x="13287" y="9313"/>
                  </a:lnTo>
                  <a:lnTo>
                    <a:pt x="13290" y="9313"/>
                  </a:lnTo>
                  <a:lnTo>
                    <a:pt x="13294" y="9306"/>
                  </a:lnTo>
                  <a:lnTo>
                    <a:pt x="13297" y="9306"/>
                  </a:lnTo>
                  <a:lnTo>
                    <a:pt x="13304" y="9303"/>
                  </a:lnTo>
                  <a:lnTo>
                    <a:pt x="13308" y="9303"/>
                  </a:lnTo>
                  <a:lnTo>
                    <a:pt x="13311" y="9299"/>
                  </a:lnTo>
                  <a:lnTo>
                    <a:pt x="13318" y="9296"/>
                  </a:lnTo>
                  <a:cubicBezTo>
                    <a:pt x="13416" y="9250"/>
                    <a:pt x="13605" y="9107"/>
                    <a:pt x="13619" y="8977"/>
                  </a:cubicBezTo>
                  <a:cubicBezTo>
                    <a:pt x="13626" y="8918"/>
                    <a:pt x="13665" y="8869"/>
                    <a:pt x="13717" y="8844"/>
                  </a:cubicBezTo>
                  <a:cubicBezTo>
                    <a:pt x="13778" y="8810"/>
                    <a:pt x="13867" y="8794"/>
                    <a:pt x="13966" y="8794"/>
                  </a:cubicBezTo>
                  <a:cubicBezTo>
                    <a:pt x="14124" y="8794"/>
                    <a:pt x="14309" y="8834"/>
                    <a:pt x="14459" y="8907"/>
                  </a:cubicBezTo>
                  <a:cubicBezTo>
                    <a:pt x="14608" y="8983"/>
                    <a:pt x="14696" y="9003"/>
                    <a:pt x="14747" y="9003"/>
                  </a:cubicBezTo>
                  <a:cubicBezTo>
                    <a:pt x="14774" y="9003"/>
                    <a:pt x="14792" y="8997"/>
                    <a:pt x="14802" y="8991"/>
                  </a:cubicBezTo>
                  <a:cubicBezTo>
                    <a:pt x="14834" y="8974"/>
                    <a:pt x="14848" y="8939"/>
                    <a:pt x="14851" y="8883"/>
                  </a:cubicBezTo>
                  <a:cubicBezTo>
                    <a:pt x="14862" y="8785"/>
                    <a:pt x="14921" y="8697"/>
                    <a:pt x="15013" y="8655"/>
                  </a:cubicBezTo>
                  <a:cubicBezTo>
                    <a:pt x="15106" y="8602"/>
                    <a:pt x="15236" y="8572"/>
                    <a:pt x="15348" y="8572"/>
                  </a:cubicBezTo>
                  <a:cubicBezTo>
                    <a:pt x="15412" y="8572"/>
                    <a:pt x="15471" y="8582"/>
                    <a:pt x="15513" y="8603"/>
                  </a:cubicBezTo>
                  <a:lnTo>
                    <a:pt x="15555" y="8624"/>
                  </a:lnTo>
                  <a:cubicBezTo>
                    <a:pt x="15669" y="8683"/>
                    <a:pt x="15941" y="8822"/>
                    <a:pt x="16109" y="8822"/>
                  </a:cubicBezTo>
                  <a:cubicBezTo>
                    <a:pt x="16138" y="8822"/>
                    <a:pt x="16164" y="8818"/>
                    <a:pt x="16185" y="8809"/>
                  </a:cubicBezTo>
                  <a:cubicBezTo>
                    <a:pt x="16245" y="8785"/>
                    <a:pt x="16364" y="8775"/>
                    <a:pt x="16510" y="8775"/>
                  </a:cubicBezTo>
                  <a:cubicBezTo>
                    <a:pt x="16891" y="8775"/>
                    <a:pt x="17455" y="8842"/>
                    <a:pt x="17635" y="8890"/>
                  </a:cubicBezTo>
                  <a:cubicBezTo>
                    <a:pt x="17671" y="8898"/>
                    <a:pt x="17709" y="8903"/>
                    <a:pt x="17747" y="8903"/>
                  </a:cubicBezTo>
                  <a:cubicBezTo>
                    <a:pt x="17772" y="8903"/>
                    <a:pt x="17797" y="8901"/>
                    <a:pt x="17820" y="8897"/>
                  </a:cubicBezTo>
                  <a:cubicBezTo>
                    <a:pt x="17845" y="8893"/>
                    <a:pt x="17866" y="8893"/>
                    <a:pt x="17890" y="8893"/>
                  </a:cubicBezTo>
                  <a:cubicBezTo>
                    <a:pt x="17985" y="8893"/>
                    <a:pt x="18065" y="8918"/>
                    <a:pt x="18184" y="9054"/>
                  </a:cubicBezTo>
                  <a:cubicBezTo>
                    <a:pt x="18240" y="9117"/>
                    <a:pt x="18279" y="9135"/>
                    <a:pt x="18321" y="9138"/>
                  </a:cubicBezTo>
                  <a:lnTo>
                    <a:pt x="18464" y="9138"/>
                  </a:lnTo>
                  <a:lnTo>
                    <a:pt x="18482" y="9142"/>
                  </a:lnTo>
                  <a:cubicBezTo>
                    <a:pt x="18489" y="9142"/>
                    <a:pt x="18499" y="9149"/>
                    <a:pt x="18506" y="9149"/>
                  </a:cubicBezTo>
                  <a:lnTo>
                    <a:pt x="18517" y="9152"/>
                  </a:lnTo>
                  <a:lnTo>
                    <a:pt x="18517" y="9128"/>
                  </a:lnTo>
                  <a:lnTo>
                    <a:pt x="18517" y="9117"/>
                  </a:lnTo>
                  <a:cubicBezTo>
                    <a:pt x="18517" y="9093"/>
                    <a:pt x="18517" y="9072"/>
                    <a:pt x="18517" y="9047"/>
                  </a:cubicBezTo>
                  <a:cubicBezTo>
                    <a:pt x="18517" y="8928"/>
                    <a:pt x="18615" y="8830"/>
                    <a:pt x="18699" y="8743"/>
                  </a:cubicBezTo>
                  <a:cubicBezTo>
                    <a:pt x="18744" y="8704"/>
                    <a:pt x="18779" y="8662"/>
                    <a:pt x="18811" y="8610"/>
                  </a:cubicBezTo>
                  <a:cubicBezTo>
                    <a:pt x="18828" y="8568"/>
                    <a:pt x="18741" y="8400"/>
                    <a:pt x="18695" y="8309"/>
                  </a:cubicBezTo>
                  <a:cubicBezTo>
                    <a:pt x="18629" y="8179"/>
                    <a:pt x="18587" y="8095"/>
                    <a:pt x="18587" y="8028"/>
                  </a:cubicBezTo>
                  <a:lnTo>
                    <a:pt x="18587" y="7972"/>
                  </a:lnTo>
                  <a:cubicBezTo>
                    <a:pt x="18583" y="7710"/>
                    <a:pt x="18538" y="7633"/>
                    <a:pt x="18503" y="7615"/>
                  </a:cubicBezTo>
                  <a:cubicBezTo>
                    <a:pt x="18457" y="7598"/>
                    <a:pt x="18433" y="7549"/>
                    <a:pt x="18443" y="7500"/>
                  </a:cubicBezTo>
                  <a:cubicBezTo>
                    <a:pt x="18474" y="7386"/>
                    <a:pt x="18757" y="7276"/>
                    <a:pt x="18845" y="7276"/>
                  </a:cubicBezTo>
                  <a:cubicBezTo>
                    <a:pt x="18847" y="7276"/>
                    <a:pt x="18848" y="7276"/>
                    <a:pt x="18849" y="7276"/>
                  </a:cubicBezTo>
                  <a:cubicBezTo>
                    <a:pt x="18853" y="7276"/>
                    <a:pt x="18856" y="7276"/>
                    <a:pt x="18859" y="7276"/>
                  </a:cubicBezTo>
                  <a:cubicBezTo>
                    <a:pt x="18928" y="7276"/>
                    <a:pt x="19018" y="7243"/>
                    <a:pt x="19094" y="7213"/>
                  </a:cubicBezTo>
                  <a:cubicBezTo>
                    <a:pt x="19170" y="7185"/>
                    <a:pt x="19245" y="7156"/>
                    <a:pt x="19308" y="7156"/>
                  </a:cubicBezTo>
                  <a:cubicBezTo>
                    <a:pt x="19347" y="7156"/>
                    <a:pt x="19382" y="7167"/>
                    <a:pt x="19410" y="7195"/>
                  </a:cubicBezTo>
                  <a:cubicBezTo>
                    <a:pt x="19445" y="7230"/>
                    <a:pt x="19525" y="7272"/>
                    <a:pt x="19714" y="7276"/>
                  </a:cubicBezTo>
                  <a:lnTo>
                    <a:pt x="19753" y="7276"/>
                  </a:lnTo>
                  <a:cubicBezTo>
                    <a:pt x="19763" y="7276"/>
                    <a:pt x="19774" y="7276"/>
                    <a:pt x="19781" y="7272"/>
                  </a:cubicBezTo>
                  <a:cubicBezTo>
                    <a:pt x="19788" y="7258"/>
                    <a:pt x="19767" y="7185"/>
                    <a:pt x="19711" y="7132"/>
                  </a:cubicBezTo>
                  <a:cubicBezTo>
                    <a:pt x="19627" y="7062"/>
                    <a:pt x="19690" y="6884"/>
                    <a:pt x="19875" y="6429"/>
                  </a:cubicBezTo>
                  <a:cubicBezTo>
                    <a:pt x="19931" y="6296"/>
                    <a:pt x="19984" y="6159"/>
                    <a:pt x="20026" y="6019"/>
                  </a:cubicBezTo>
                  <a:cubicBezTo>
                    <a:pt x="20036" y="5963"/>
                    <a:pt x="20061" y="5889"/>
                    <a:pt x="20124" y="5861"/>
                  </a:cubicBezTo>
                  <a:cubicBezTo>
                    <a:pt x="20138" y="5854"/>
                    <a:pt x="20155" y="5851"/>
                    <a:pt x="20173" y="5851"/>
                  </a:cubicBezTo>
                  <a:cubicBezTo>
                    <a:pt x="20225" y="5858"/>
                    <a:pt x="20278" y="5875"/>
                    <a:pt x="20323" y="5907"/>
                  </a:cubicBezTo>
                  <a:cubicBezTo>
                    <a:pt x="20355" y="5928"/>
                    <a:pt x="20393" y="5945"/>
                    <a:pt x="20428" y="5959"/>
                  </a:cubicBezTo>
                  <a:cubicBezTo>
                    <a:pt x="20442" y="5963"/>
                    <a:pt x="20453" y="5966"/>
                    <a:pt x="20467" y="5966"/>
                  </a:cubicBezTo>
                  <a:cubicBezTo>
                    <a:pt x="20533" y="5973"/>
                    <a:pt x="20603" y="5977"/>
                    <a:pt x="20670" y="5977"/>
                  </a:cubicBezTo>
                  <a:cubicBezTo>
                    <a:pt x="20792" y="5977"/>
                    <a:pt x="20908" y="5977"/>
                    <a:pt x="20992" y="6019"/>
                  </a:cubicBezTo>
                  <a:cubicBezTo>
                    <a:pt x="21002" y="6024"/>
                    <a:pt x="21017" y="6026"/>
                    <a:pt x="21035" y="6026"/>
                  </a:cubicBezTo>
                  <a:cubicBezTo>
                    <a:pt x="21143" y="6026"/>
                    <a:pt x="21365" y="5941"/>
                    <a:pt x="21423" y="5851"/>
                  </a:cubicBezTo>
                  <a:cubicBezTo>
                    <a:pt x="21437" y="5826"/>
                    <a:pt x="21437" y="5819"/>
                    <a:pt x="21409" y="5763"/>
                  </a:cubicBezTo>
                  <a:cubicBezTo>
                    <a:pt x="21353" y="5669"/>
                    <a:pt x="21325" y="5560"/>
                    <a:pt x="21332" y="5452"/>
                  </a:cubicBezTo>
                  <a:cubicBezTo>
                    <a:pt x="21346" y="5119"/>
                    <a:pt x="21556" y="4972"/>
                    <a:pt x="21755" y="4972"/>
                  </a:cubicBezTo>
                  <a:cubicBezTo>
                    <a:pt x="21913" y="4972"/>
                    <a:pt x="21927" y="4794"/>
                    <a:pt x="21927" y="4738"/>
                  </a:cubicBezTo>
                  <a:cubicBezTo>
                    <a:pt x="21927" y="4650"/>
                    <a:pt x="21976" y="4587"/>
                    <a:pt x="22025" y="4524"/>
                  </a:cubicBezTo>
                  <a:lnTo>
                    <a:pt x="22049" y="4493"/>
                  </a:lnTo>
                  <a:lnTo>
                    <a:pt x="22056" y="4482"/>
                  </a:lnTo>
                  <a:lnTo>
                    <a:pt x="22074" y="4458"/>
                  </a:lnTo>
                  <a:lnTo>
                    <a:pt x="22084" y="4444"/>
                  </a:lnTo>
                  <a:cubicBezTo>
                    <a:pt x="22088" y="4437"/>
                    <a:pt x="22091" y="4426"/>
                    <a:pt x="22098" y="4419"/>
                  </a:cubicBezTo>
                  <a:lnTo>
                    <a:pt x="22105" y="4405"/>
                  </a:lnTo>
                  <a:cubicBezTo>
                    <a:pt x="22105" y="4402"/>
                    <a:pt x="22105" y="4402"/>
                    <a:pt x="22105" y="4398"/>
                  </a:cubicBezTo>
                  <a:cubicBezTo>
                    <a:pt x="22053" y="4339"/>
                    <a:pt x="22018" y="4265"/>
                    <a:pt x="22000" y="4188"/>
                  </a:cubicBezTo>
                  <a:cubicBezTo>
                    <a:pt x="22000" y="4185"/>
                    <a:pt x="22000" y="4181"/>
                    <a:pt x="21997" y="4178"/>
                  </a:cubicBezTo>
                  <a:cubicBezTo>
                    <a:pt x="21965" y="4188"/>
                    <a:pt x="21934" y="4202"/>
                    <a:pt x="21906" y="4220"/>
                  </a:cubicBezTo>
                  <a:cubicBezTo>
                    <a:pt x="21818" y="4272"/>
                    <a:pt x="21594" y="4304"/>
                    <a:pt x="21479" y="4307"/>
                  </a:cubicBezTo>
                  <a:lnTo>
                    <a:pt x="21433" y="4307"/>
                  </a:lnTo>
                  <a:cubicBezTo>
                    <a:pt x="21311" y="4307"/>
                    <a:pt x="21093" y="4160"/>
                    <a:pt x="21093" y="4016"/>
                  </a:cubicBezTo>
                  <a:cubicBezTo>
                    <a:pt x="21093" y="3964"/>
                    <a:pt x="21086" y="3876"/>
                    <a:pt x="21041" y="3876"/>
                  </a:cubicBezTo>
                  <a:cubicBezTo>
                    <a:pt x="20943" y="3876"/>
                    <a:pt x="20757" y="3834"/>
                    <a:pt x="20642" y="3558"/>
                  </a:cubicBezTo>
                  <a:cubicBezTo>
                    <a:pt x="20603" y="3449"/>
                    <a:pt x="20516" y="3369"/>
                    <a:pt x="20407" y="3337"/>
                  </a:cubicBezTo>
                  <a:cubicBezTo>
                    <a:pt x="20376" y="3327"/>
                    <a:pt x="20348" y="3313"/>
                    <a:pt x="20320" y="3299"/>
                  </a:cubicBezTo>
                  <a:cubicBezTo>
                    <a:pt x="20316" y="3295"/>
                    <a:pt x="20313" y="3295"/>
                    <a:pt x="20309" y="3295"/>
                  </a:cubicBezTo>
                  <a:cubicBezTo>
                    <a:pt x="20306" y="3294"/>
                    <a:pt x="20303" y="3293"/>
                    <a:pt x="20301" y="3293"/>
                  </a:cubicBezTo>
                  <a:cubicBezTo>
                    <a:pt x="20298" y="3293"/>
                    <a:pt x="20295" y="3294"/>
                    <a:pt x="20292" y="3295"/>
                  </a:cubicBezTo>
                  <a:cubicBezTo>
                    <a:pt x="20215" y="3295"/>
                    <a:pt x="20043" y="3369"/>
                    <a:pt x="19952" y="3407"/>
                  </a:cubicBezTo>
                  <a:cubicBezTo>
                    <a:pt x="19903" y="3428"/>
                    <a:pt x="19861" y="3449"/>
                    <a:pt x="19826" y="3460"/>
                  </a:cubicBezTo>
                  <a:cubicBezTo>
                    <a:pt x="19792" y="3473"/>
                    <a:pt x="19754" y="3478"/>
                    <a:pt x="19715" y="3478"/>
                  </a:cubicBezTo>
                  <a:cubicBezTo>
                    <a:pt x="19637" y="3478"/>
                    <a:pt x="19550" y="3457"/>
                    <a:pt x="19462" y="3432"/>
                  </a:cubicBezTo>
                  <a:lnTo>
                    <a:pt x="19399" y="3418"/>
                  </a:lnTo>
                  <a:cubicBezTo>
                    <a:pt x="19350" y="3400"/>
                    <a:pt x="19301" y="3390"/>
                    <a:pt x="19259" y="3379"/>
                  </a:cubicBezTo>
                  <a:cubicBezTo>
                    <a:pt x="19203" y="3365"/>
                    <a:pt x="19154" y="3337"/>
                    <a:pt x="19115" y="3295"/>
                  </a:cubicBezTo>
                  <a:cubicBezTo>
                    <a:pt x="19080" y="3264"/>
                    <a:pt x="19049" y="3232"/>
                    <a:pt x="19021" y="3197"/>
                  </a:cubicBezTo>
                  <a:cubicBezTo>
                    <a:pt x="18958" y="3125"/>
                    <a:pt x="18914" y="3074"/>
                    <a:pt x="18875" y="3074"/>
                  </a:cubicBezTo>
                  <a:cubicBezTo>
                    <a:pt x="18872" y="3074"/>
                    <a:pt x="18869" y="3074"/>
                    <a:pt x="18867" y="3075"/>
                  </a:cubicBezTo>
                  <a:lnTo>
                    <a:pt x="18863" y="3075"/>
                  </a:lnTo>
                  <a:cubicBezTo>
                    <a:pt x="18818" y="3085"/>
                    <a:pt x="18779" y="3148"/>
                    <a:pt x="18744" y="3211"/>
                  </a:cubicBezTo>
                  <a:lnTo>
                    <a:pt x="18730" y="3239"/>
                  </a:lnTo>
                  <a:cubicBezTo>
                    <a:pt x="18681" y="3334"/>
                    <a:pt x="18629" y="3428"/>
                    <a:pt x="18531" y="3428"/>
                  </a:cubicBezTo>
                  <a:cubicBezTo>
                    <a:pt x="18426" y="3428"/>
                    <a:pt x="18342" y="3264"/>
                    <a:pt x="18177" y="2924"/>
                  </a:cubicBezTo>
                  <a:lnTo>
                    <a:pt x="18146" y="2861"/>
                  </a:lnTo>
                  <a:cubicBezTo>
                    <a:pt x="18076" y="2707"/>
                    <a:pt x="17995" y="2560"/>
                    <a:pt x="17908" y="2417"/>
                  </a:cubicBezTo>
                  <a:cubicBezTo>
                    <a:pt x="17880" y="2371"/>
                    <a:pt x="17848" y="2329"/>
                    <a:pt x="17817" y="2277"/>
                  </a:cubicBezTo>
                  <a:cubicBezTo>
                    <a:pt x="17582" y="1912"/>
                    <a:pt x="17232" y="1363"/>
                    <a:pt x="16931" y="1254"/>
                  </a:cubicBezTo>
                  <a:cubicBezTo>
                    <a:pt x="16861" y="1230"/>
                    <a:pt x="16791" y="1191"/>
                    <a:pt x="16731" y="1146"/>
                  </a:cubicBezTo>
                  <a:cubicBezTo>
                    <a:pt x="16686" y="1111"/>
                    <a:pt x="16658" y="1062"/>
                    <a:pt x="16644" y="1006"/>
                  </a:cubicBezTo>
                  <a:cubicBezTo>
                    <a:pt x="16626" y="925"/>
                    <a:pt x="16654" y="845"/>
                    <a:pt x="16728" y="761"/>
                  </a:cubicBezTo>
                  <a:cubicBezTo>
                    <a:pt x="16706" y="758"/>
                    <a:pt x="16684" y="757"/>
                    <a:pt x="16663" y="757"/>
                  </a:cubicBezTo>
                  <a:cubicBezTo>
                    <a:pt x="16595" y="757"/>
                    <a:pt x="16530" y="770"/>
                    <a:pt x="16469" y="799"/>
                  </a:cubicBezTo>
                  <a:cubicBezTo>
                    <a:pt x="16423" y="824"/>
                    <a:pt x="16381" y="855"/>
                    <a:pt x="16332" y="887"/>
                  </a:cubicBezTo>
                  <a:cubicBezTo>
                    <a:pt x="16217" y="967"/>
                    <a:pt x="16084" y="1058"/>
                    <a:pt x="15951" y="1086"/>
                  </a:cubicBezTo>
                  <a:cubicBezTo>
                    <a:pt x="15944" y="1086"/>
                    <a:pt x="15937" y="1090"/>
                    <a:pt x="15930" y="1093"/>
                  </a:cubicBezTo>
                  <a:cubicBezTo>
                    <a:pt x="15895" y="1104"/>
                    <a:pt x="15860" y="1121"/>
                    <a:pt x="15828" y="1142"/>
                  </a:cubicBezTo>
                  <a:cubicBezTo>
                    <a:pt x="15804" y="1156"/>
                    <a:pt x="15776" y="1174"/>
                    <a:pt x="15751" y="1191"/>
                  </a:cubicBezTo>
                  <a:cubicBezTo>
                    <a:pt x="15639" y="1263"/>
                    <a:pt x="15518" y="1340"/>
                    <a:pt x="15400" y="1340"/>
                  </a:cubicBezTo>
                  <a:cubicBezTo>
                    <a:pt x="15375" y="1340"/>
                    <a:pt x="15349" y="1336"/>
                    <a:pt x="15324" y="1328"/>
                  </a:cubicBezTo>
                  <a:cubicBezTo>
                    <a:pt x="15313" y="1324"/>
                    <a:pt x="15303" y="1323"/>
                    <a:pt x="15294" y="1323"/>
                  </a:cubicBezTo>
                  <a:cubicBezTo>
                    <a:pt x="15256" y="1323"/>
                    <a:pt x="15224" y="1348"/>
                    <a:pt x="15174" y="1384"/>
                  </a:cubicBezTo>
                  <a:cubicBezTo>
                    <a:pt x="15153" y="1401"/>
                    <a:pt x="15128" y="1419"/>
                    <a:pt x="15104" y="1433"/>
                  </a:cubicBezTo>
                  <a:cubicBezTo>
                    <a:pt x="15076" y="1450"/>
                    <a:pt x="15044" y="1461"/>
                    <a:pt x="15013" y="1461"/>
                  </a:cubicBezTo>
                  <a:cubicBezTo>
                    <a:pt x="14967" y="1461"/>
                    <a:pt x="14921" y="1443"/>
                    <a:pt x="14886" y="1408"/>
                  </a:cubicBezTo>
                  <a:cubicBezTo>
                    <a:pt x="14858" y="1387"/>
                    <a:pt x="14841" y="1356"/>
                    <a:pt x="14834" y="1321"/>
                  </a:cubicBezTo>
                  <a:cubicBezTo>
                    <a:pt x="14830" y="1310"/>
                    <a:pt x="14830" y="1300"/>
                    <a:pt x="14830" y="1289"/>
                  </a:cubicBezTo>
                  <a:cubicBezTo>
                    <a:pt x="14830" y="1272"/>
                    <a:pt x="14834" y="1251"/>
                    <a:pt x="14844" y="1233"/>
                  </a:cubicBezTo>
                  <a:cubicBezTo>
                    <a:pt x="14876" y="1181"/>
                    <a:pt x="14918" y="1135"/>
                    <a:pt x="14970" y="1100"/>
                  </a:cubicBezTo>
                  <a:cubicBezTo>
                    <a:pt x="14984" y="1090"/>
                    <a:pt x="15013" y="1069"/>
                    <a:pt x="15030" y="1051"/>
                  </a:cubicBezTo>
                  <a:cubicBezTo>
                    <a:pt x="15037" y="1044"/>
                    <a:pt x="15044" y="1037"/>
                    <a:pt x="15048" y="1034"/>
                  </a:cubicBezTo>
                  <a:cubicBezTo>
                    <a:pt x="15034" y="1034"/>
                    <a:pt x="15016" y="1041"/>
                    <a:pt x="15006" y="1041"/>
                  </a:cubicBezTo>
                  <a:cubicBezTo>
                    <a:pt x="14969" y="1050"/>
                    <a:pt x="14928" y="1060"/>
                    <a:pt x="14889" y="1060"/>
                  </a:cubicBezTo>
                  <a:cubicBezTo>
                    <a:pt x="14850" y="1060"/>
                    <a:pt x="14813" y="1050"/>
                    <a:pt x="14785" y="1016"/>
                  </a:cubicBezTo>
                  <a:cubicBezTo>
                    <a:pt x="14746" y="978"/>
                    <a:pt x="14697" y="957"/>
                    <a:pt x="14645" y="946"/>
                  </a:cubicBezTo>
                  <a:cubicBezTo>
                    <a:pt x="14645" y="978"/>
                    <a:pt x="14634" y="1006"/>
                    <a:pt x="14613" y="1030"/>
                  </a:cubicBezTo>
                  <a:cubicBezTo>
                    <a:pt x="14589" y="1051"/>
                    <a:pt x="14561" y="1062"/>
                    <a:pt x="14529" y="1062"/>
                  </a:cubicBezTo>
                  <a:cubicBezTo>
                    <a:pt x="14438" y="1062"/>
                    <a:pt x="14365" y="992"/>
                    <a:pt x="14358" y="901"/>
                  </a:cubicBezTo>
                  <a:cubicBezTo>
                    <a:pt x="14354" y="859"/>
                    <a:pt x="14330" y="820"/>
                    <a:pt x="14295" y="799"/>
                  </a:cubicBezTo>
                  <a:cubicBezTo>
                    <a:pt x="14293" y="799"/>
                    <a:pt x="14291" y="798"/>
                    <a:pt x="14289" y="798"/>
                  </a:cubicBezTo>
                  <a:cubicBezTo>
                    <a:pt x="14284" y="798"/>
                    <a:pt x="14277" y="801"/>
                    <a:pt x="14267" y="813"/>
                  </a:cubicBezTo>
                  <a:cubicBezTo>
                    <a:pt x="14185" y="902"/>
                    <a:pt x="14002" y="957"/>
                    <a:pt x="13863" y="957"/>
                  </a:cubicBezTo>
                  <a:cubicBezTo>
                    <a:pt x="13859" y="957"/>
                    <a:pt x="13854" y="957"/>
                    <a:pt x="13850" y="957"/>
                  </a:cubicBezTo>
                  <a:cubicBezTo>
                    <a:pt x="13833" y="957"/>
                    <a:pt x="13812" y="957"/>
                    <a:pt x="13791" y="953"/>
                  </a:cubicBezTo>
                  <a:cubicBezTo>
                    <a:pt x="13745" y="950"/>
                    <a:pt x="13703" y="929"/>
                    <a:pt x="13672" y="894"/>
                  </a:cubicBezTo>
                  <a:cubicBezTo>
                    <a:pt x="13633" y="855"/>
                    <a:pt x="13619" y="799"/>
                    <a:pt x="13644" y="750"/>
                  </a:cubicBezTo>
                  <a:cubicBezTo>
                    <a:pt x="13651" y="729"/>
                    <a:pt x="13665" y="708"/>
                    <a:pt x="13679" y="691"/>
                  </a:cubicBezTo>
                  <a:cubicBezTo>
                    <a:pt x="13696" y="670"/>
                    <a:pt x="13710" y="642"/>
                    <a:pt x="13717" y="614"/>
                  </a:cubicBezTo>
                  <a:cubicBezTo>
                    <a:pt x="13710" y="568"/>
                    <a:pt x="13696" y="523"/>
                    <a:pt x="13675" y="481"/>
                  </a:cubicBezTo>
                  <a:cubicBezTo>
                    <a:pt x="13640" y="404"/>
                    <a:pt x="13602" y="313"/>
                    <a:pt x="13619" y="222"/>
                  </a:cubicBezTo>
                  <a:cubicBezTo>
                    <a:pt x="13619" y="218"/>
                    <a:pt x="13619" y="211"/>
                    <a:pt x="13619" y="204"/>
                  </a:cubicBezTo>
                  <a:cubicBezTo>
                    <a:pt x="13609" y="180"/>
                    <a:pt x="13591" y="155"/>
                    <a:pt x="13570" y="141"/>
                  </a:cubicBezTo>
                  <a:cubicBezTo>
                    <a:pt x="13521" y="103"/>
                    <a:pt x="13462" y="78"/>
                    <a:pt x="13399" y="71"/>
                  </a:cubicBezTo>
                  <a:cubicBezTo>
                    <a:pt x="13385" y="71"/>
                    <a:pt x="13371" y="71"/>
                    <a:pt x="13357" y="78"/>
                  </a:cubicBezTo>
                  <a:cubicBezTo>
                    <a:pt x="13314" y="95"/>
                    <a:pt x="13267" y="103"/>
                    <a:pt x="13219" y="103"/>
                  </a:cubicBezTo>
                  <a:cubicBezTo>
                    <a:pt x="13102" y="103"/>
                    <a:pt x="12977" y="60"/>
                    <a:pt x="12880" y="15"/>
                  </a:cubicBezTo>
                  <a:cubicBezTo>
                    <a:pt x="12858" y="5"/>
                    <a:pt x="12822" y="0"/>
                    <a:pt x="12780"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155" name="Google Shape;6155;p104"/>
            <p:cNvSpPr/>
            <p:nvPr/>
          </p:nvSpPr>
          <p:spPr>
            <a:xfrm>
              <a:off x="2571159" y="1710115"/>
              <a:ext cx="54" cy="163"/>
            </a:xfrm>
            <a:custGeom>
              <a:avLst/>
              <a:gdLst/>
              <a:ahLst/>
              <a:cxnLst/>
              <a:rect l="l" t="t" r="r" b="b"/>
              <a:pathLst>
                <a:path w="4" h="12" extrusionOk="0">
                  <a:moveTo>
                    <a:pt x="0" y="1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156" name="Google Shape;6156;p104"/>
            <p:cNvSpPr/>
            <p:nvPr/>
          </p:nvSpPr>
          <p:spPr>
            <a:xfrm>
              <a:off x="2571960" y="1708839"/>
              <a:ext cx="109" cy="109"/>
            </a:xfrm>
            <a:custGeom>
              <a:avLst/>
              <a:gdLst/>
              <a:ahLst/>
              <a:cxnLst/>
              <a:rect l="l" t="t" r="r" b="b"/>
              <a:pathLst>
                <a:path w="8" h="8" extrusionOk="0">
                  <a:moveTo>
                    <a:pt x="1" y="7"/>
                  </a:moveTo>
                  <a:lnTo>
                    <a:pt x="8"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157" name="Google Shape;6157;p104"/>
            <p:cNvSpPr/>
            <p:nvPr/>
          </p:nvSpPr>
          <p:spPr>
            <a:xfrm>
              <a:off x="2572340" y="1708500"/>
              <a:ext cx="68" cy="14"/>
            </a:xfrm>
            <a:custGeom>
              <a:avLst/>
              <a:gdLst/>
              <a:ahLst/>
              <a:cxnLst/>
              <a:rect l="l" t="t" r="r" b="b"/>
              <a:pathLst>
                <a:path w="5" h="1" extrusionOk="0">
                  <a:moveTo>
                    <a:pt x="1" y="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158" name="Google Shape;6158;p104"/>
            <p:cNvSpPr/>
            <p:nvPr/>
          </p:nvSpPr>
          <p:spPr>
            <a:xfrm>
              <a:off x="2572245" y="1708595"/>
              <a:ext cx="68" cy="68"/>
            </a:xfrm>
            <a:custGeom>
              <a:avLst/>
              <a:gdLst/>
              <a:ahLst/>
              <a:cxnLst/>
              <a:rect l="l" t="t" r="r" b="b"/>
              <a:pathLst>
                <a:path w="5" h="5" extrusionOk="0">
                  <a:moveTo>
                    <a:pt x="1" y="4"/>
                  </a:moveTo>
                  <a:lnTo>
                    <a:pt x="4"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159" name="Google Shape;6159;p104"/>
            <p:cNvSpPr/>
            <p:nvPr/>
          </p:nvSpPr>
          <p:spPr>
            <a:xfrm>
              <a:off x="2571539" y="1709505"/>
              <a:ext cx="54" cy="109"/>
            </a:xfrm>
            <a:custGeom>
              <a:avLst/>
              <a:gdLst/>
              <a:ahLst/>
              <a:cxnLst/>
              <a:rect l="l" t="t" r="r" b="b"/>
              <a:pathLst>
                <a:path w="4" h="8" extrusionOk="0">
                  <a:moveTo>
                    <a:pt x="0" y="7"/>
                  </a:moveTo>
                  <a:lnTo>
                    <a:pt x="4"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160" name="Google Shape;6160;p104"/>
            <p:cNvSpPr/>
            <p:nvPr/>
          </p:nvSpPr>
          <p:spPr>
            <a:xfrm>
              <a:off x="2571729" y="1709219"/>
              <a:ext cx="54" cy="109"/>
            </a:xfrm>
            <a:custGeom>
              <a:avLst/>
              <a:gdLst/>
              <a:ahLst/>
              <a:cxnLst/>
              <a:rect l="l" t="t" r="r" b="b"/>
              <a:pathLst>
                <a:path w="4" h="8" extrusionOk="0">
                  <a:moveTo>
                    <a:pt x="0" y="7"/>
                  </a:moveTo>
                  <a:lnTo>
                    <a:pt x="4"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161" name="Google Shape;6161;p104"/>
            <p:cNvSpPr/>
            <p:nvPr/>
          </p:nvSpPr>
          <p:spPr>
            <a:xfrm>
              <a:off x="2571349" y="1709790"/>
              <a:ext cx="54" cy="109"/>
            </a:xfrm>
            <a:custGeom>
              <a:avLst/>
              <a:gdLst/>
              <a:ahLst/>
              <a:cxnLst/>
              <a:rect l="l" t="t" r="r" b="b"/>
              <a:pathLst>
                <a:path w="4" h="8" extrusionOk="0">
                  <a:moveTo>
                    <a:pt x="0" y="7"/>
                  </a:moveTo>
                  <a:lnTo>
                    <a:pt x="4"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162" name="Google Shape;6162;p104"/>
            <p:cNvSpPr/>
            <p:nvPr/>
          </p:nvSpPr>
          <p:spPr>
            <a:xfrm>
              <a:off x="2572109" y="1708690"/>
              <a:ext cx="54" cy="68"/>
            </a:xfrm>
            <a:custGeom>
              <a:avLst/>
              <a:gdLst/>
              <a:ahLst/>
              <a:cxnLst/>
              <a:rect l="l" t="t" r="r" b="b"/>
              <a:pathLst>
                <a:path w="4" h="5" extrusionOk="0">
                  <a:moveTo>
                    <a:pt x="0" y="4"/>
                  </a:moveTo>
                  <a:lnTo>
                    <a:pt x="4"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163" name="Google Shape;6163;p104"/>
            <p:cNvSpPr/>
            <p:nvPr/>
          </p:nvSpPr>
          <p:spPr>
            <a:xfrm>
              <a:off x="2570968" y="1710550"/>
              <a:ext cx="54" cy="109"/>
            </a:xfrm>
            <a:custGeom>
              <a:avLst/>
              <a:gdLst/>
              <a:ahLst/>
              <a:cxnLst/>
              <a:rect l="l" t="t" r="r" b="b"/>
              <a:pathLst>
                <a:path w="4" h="8" extrusionOk="0">
                  <a:moveTo>
                    <a:pt x="0" y="7"/>
                  </a:moveTo>
                  <a:lnTo>
                    <a:pt x="4"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164" name="Google Shape;6164;p104"/>
            <p:cNvSpPr/>
            <p:nvPr/>
          </p:nvSpPr>
          <p:spPr>
            <a:xfrm>
              <a:off x="2641218" y="1706178"/>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165" name="Google Shape;6165;p104"/>
            <p:cNvSpPr/>
            <p:nvPr/>
          </p:nvSpPr>
          <p:spPr>
            <a:xfrm>
              <a:off x="2572584" y="1708364"/>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166" name="Google Shape;6166;p104"/>
            <p:cNvSpPr/>
            <p:nvPr/>
          </p:nvSpPr>
          <p:spPr>
            <a:xfrm>
              <a:off x="2641829" y="1706178"/>
              <a:ext cx="204" cy="14"/>
            </a:xfrm>
            <a:custGeom>
              <a:avLst/>
              <a:gdLst/>
              <a:ahLst/>
              <a:cxnLst/>
              <a:rect l="l" t="t" r="r" b="b"/>
              <a:pathLst>
                <a:path w="15" h="1" extrusionOk="0">
                  <a:moveTo>
                    <a:pt x="1" y="0"/>
                  </a:moveTo>
                  <a:lnTo>
                    <a:pt x="15"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167" name="Google Shape;6167;p104"/>
            <p:cNvSpPr/>
            <p:nvPr/>
          </p:nvSpPr>
          <p:spPr>
            <a:xfrm>
              <a:off x="2571824" y="1709029"/>
              <a:ext cx="109" cy="109"/>
            </a:xfrm>
            <a:custGeom>
              <a:avLst/>
              <a:gdLst/>
              <a:ahLst/>
              <a:cxnLst/>
              <a:rect l="l" t="t" r="r" b="b"/>
              <a:pathLst>
                <a:path w="8" h="8" extrusionOk="0">
                  <a:moveTo>
                    <a:pt x="0" y="7"/>
                  </a:moveTo>
                  <a:lnTo>
                    <a:pt x="7"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168" name="Google Shape;6168;p104"/>
            <p:cNvSpPr/>
            <p:nvPr/>
          </p:nvSpPr>
          <p:spPr>
            <a:xfrm>
              <a:off x="2642305" y="1706219"/>
              <a:ext cx="258" cy="68"/>
            </a:xfrm>
            <a:custGeom>
              <a:avLst/>
              <a:gdLst/>
              <a:ahLst/>
              <a:cxnLst/>
              <a:rect l="l" t="t" r="r" b="b"/>
              <a:pathLst>
                <a:path w="19" h="5" extrusionOk="0">
                  <a:moveTo>
                    <a:pt x="1" y="1"/>
                  </a:moveTo>
                  <a:lnTo>
                    <a:pt x="18" y="4"/>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169" name="Google Shape;6169;p104"/>
            <p:cNvSpPr/>
            <p:nvPr/>
          </p:nvSpPr>
          <p:spPr>
            <a:xfrm>
              <a:off x="2642780" y="1706273"/>
              <a:ext cx="353" cy="149"/>
            </a:xfrm>
            <a:custGeom>
              <a:avLst/>
              <a:gdLst/>
              <a:ahLst/>
              <a:cxnLst/>
              <a:rect l="l" t="t" r="r" b="b"/>
              <a:pathLst>
                <a:path w="26" h="11" extrusionOk="0">
                  <a:moveTo>
                    <a:pt x="1" y="0"/>
                  </a:moveTo>
                  <a:cubicBezTo>
                    <a:pt x="8" y="4"/>
                    <a:pt x="18" y="7"/>
                    <a:pt x="25" y="11"/>
                  </a:cubicBezTo>
                  <a:cubicBezTo>
                    <a:pt x="18" y="7"/>
                    <a:pt x="8" y="0"/>
                    <a:pt x="1"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170" name="Google Shape;6170;p104"/>
            <p:cNvSpPr/>
            <p:nvPr/>
          </p:nvSpPr>
          <p:spPr>
            <a:xfrm>
              <a:off x="2634756" y="1702852"/>
              <a:ext cx="4005" cy="2200"/>
            </a:xfrm>
            <a:custGeom>
              <a:avLst/>
              <a:gdLst/>
              <a:ahLst/>
              <a:cxnLst/>
              <a:rect l="l" t="t" r="r" b="b"/>
              <a:pathLst>
                <a:path w="295" h="162" extrusionOk="0">
                  <a:moveTo>
                    <a:pt x="0" y="0"/>
                  </a:moveTo>
                  <a:cubicBezTo>
                    <a:pt x="91" y="0"/>
                    <a:pt x="175" y="28"/>
                    <a:pt x="294" y="161"/>
                  </a:cubicBezTo>
                  <a:cubicBezTo>
                    <a:pt x="175" y="28"/>
                    <a:pt x="95" y="0"/>
                    <a:pt x="0"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171" name="Google Shape;6171;p104"/>
            <p:cNvSpPr/>
            <p:nvPr/>
          </p:nvSpPr>
          <p:spPr>
            <a:xfrm>
              <a:off x="2572489" y="1708459"/>
              <a:ext cx="54" cy="14"/>
            </a:xfrm>
            <a:custGeom>
              <a:avLst/>
              <a:gdLst/>
              <a:ahLst/>
              <a:cxnLst/>
              <a:rect l="l" t="t" r="r" b="b"/>
              <a:pathLst>
                <a:path w="4" h="1" extrusionOk="0">
                  <a:moveTo>
                    <a:pt x="0" y="0"/>
                  </a:moveTo>
                  <a:lnTo>
                    <a:pt x="4"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172" name="Google Shape;6172;p104"/>
            <p:cNvSpPr/>
            <p:nvPr/>
          </p:nvSpPr>
          <p:spPr>
            <a:xfrm>
              <a:off x="2506177" y="1694053"/>
              <a:ext cx="244" cy="299"/>
            </a:xfrm>
            <a:custGeom>
              <a:avLst/>
              <a:gdLst/>
              <a:ahLst/>
              <a:cxnLst/>
              <a:rect l="l" t="t" r="r" b="b"/>
              <a:pathLst>
                <a:path w="18" h="22" extrusionOk="0">
                  <a:moveTo>
                    <a:pt x="0" y="1"/>
                  </a:moveTo>
                  <a:lnTo>
                    <a:pt x="18" y="22"/>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173" name="Google Shape;6173;p104"/>
            <p:cNvSpPr/>
            <p:nvPr/>
          </p:nvSpPr>
          <p:spPr>
            <a:xfrm>
              <a:off x="2504602" y="1692152"/>
              <a:ext cx="299" cy="339"/>
            </a:xfrm>
            <a:custGeom>
              <a:avLst/>
              <a:gdLst/>
              <a:ahLst/>
              <a:cxnLst/>
              <a:rect l="l" t="t" r="r" b="b"/>
              <a:pathLst>
                <a:path w="22" h="25" extrusionOk="0">
                  <a:moveTo>
                    <a:pt x="1" y="0"/>
                  </a:moveTo>
                  <a:lnTo>
                    <a:pt x="22" y="25"/>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174" name="Google Shape;6174;p104"/>
            <p:cNvSpPr/>
            <p:nvPr/>
          </p:nvSpPr>
          <p:spPr>
            <a:xfrm>
              <a:off x="2505172" y="1692818"/>
              <a:ext cx="299" cy="339"/>
            </a:xfrm>
            <a:custGeom>
              <a:avLst/>
              <a:gdLst/>
              <a:ahLst/>
              <a:cxnLst/>
              <a:rect l="l" t="t" r="r" b="b"/>
              <a:pathLst>
                <a:path w="22" h="25" extrusionOk="0">
                  <a:moveTo>
                    <a:pt x="1" y="0"/>
                  </a:moveTo>
                  <a:lnTo>
                    <a:pt x="22" y="25"/>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175" name="Google Shape;6175;p104"/>
            <p:cNvSpPr/>
            <p:nvPr/>
          </p:nvSpPr>
          <p:spPr>
            <a:xfrm>
              <a:off x="2503325" y="1690768"/>
              <a:ext cx="339" cy="353"/>
            </a:xfrm>
            <a:custGeom>
              <a:avLst/>
              <a:gdLst/>
              <a:ahLst/>
              <a:cxnLst/>
              <a:rect l="l" t="t" r="r" b="b"/>
              <a:pathLst>
                <a:path w="25" h="26" extrusionOk="0">
                  <a:moveTo>
                    <a:pt x="0" y="1"/>
                  </a:moveTo>
                  <a:lnTo>
                    <a:pt x="25" y="25"/>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176" name="Google Shape;6176;p104"/>
            <p:cNvSpPr/>
            <p:nvPr/>
          </p:nvSpPr>
          <p:spPr>
            <a:xfrm>
              <a:off x="2568497" y="1712166"/>
              <a:ext cx="244" cy="54"/>
            </a:xfrm>
            <a:custGeom>
              <a:avLst/>
              <a:gdLst/>
              <a:ahLst/>
              <a:cxnLst/>
              <a:rect l="l" t="t" r="r" b="b"/>
              <a:pathLst>
                <a:path w="18" h="4" extrusionOk="0">
                  <a:moveTo>
                    <a:pt x="0" y="4"/>
                  </a:moveTo>
                  <a:lnTo>
                    <a:pt x="18"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177" name="Google Shape;6177;p104"/>
            <p:cNvSpPr/>
            <p:nvPr/>
          </p:nvSpPr>
          <p:spPr>
            <a:xfrm>
              <a:off x="2567778" y="1712356"/>
              <a:ext cx="109" cy="14"/>
            </a:xfrm>
            <a:custGeom>
              <a:avLst/>
              <a:gdLst/>
              <a:ahLst/>
              <a:cxnLst/>
              <a:rect l="l" t="t" r="r" b="b"/>
              <a:pathLst>
                <a:path w="8" h="1" extrusionOk="0">
                  <a:moveTo>
                    <a:pt x="1" y="0"/>
                  </a:moveTo>
                  <a:lnTo>
                    <a:pt x="8"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178" name="Google Shape;6178;p104"/>
            <p:cNvSpPr/>
            <p:nvPr/>
          </p:nvSpPr>
          <p:spPr>
            <a:xfrm>
              <a:off x="2461873" y="1676280"/>
              <a:ext cx="19022" cy="5051"/>
            </a:xfrm>
            <a:custGeom>
              <a:avLst/>
              <a:gdLst/>
              <a:ahLst/>
              <a:cxnLst/>
              <a:rect l="l" t="t" r="r" b="b"/>
              <a:pathLst>
                <a:path w="1401" h="372" extrusionOk="0">
                  <a:moveTo>
                    <a:pt x="1401" y="0"/>
                  </a:moveTo>
                  <a:lnTo>
                    <a:pt x="1" y="37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179" name="Google Shape;6179;p104"/>
            <p:cNvSpPr/>
            <p:nvPr/>
          </p:nvSpPr>
          <p:spPr>
            <a:xfrm>
              <a:off x="2516061" y="1694583"/>
              <a:ext cx="394" cy="95"/>
            </a:xfrm>
            <a:custGeom>
              <a:avLst/>
              <a:gdLst/>
              <a:ahLst/>
              <a:cxnLst/>
              <a:rect l="l" t="t" r="r" b="b"/>
              <a:pathLst>
                <a:path w="29" h="7" extrusionOk="0">
                  <a:moveTo>
                    <a:pt x="1" y="0"/>
                  </a:moveTo>
                  <a:cubicBezTo>
                    <a:pt x="11" y="0"/>
                    <a:pt x="18" y="4"/>
                    <a:pt x="29" y="7"/>
                  </a:cubicBezTo>
                  <a:cubicBezTo>
                    <a:pt x="18" y="4"/>
                    <a:pt x="11" y="0"/>
                    <a:pt x="1"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180" name="Google Shape;6180;p104"/>
            <p:cNvSpPr/>
            <p:nvPr/>
          </p:nvSpPr>
          <p:spPr>
            <a:xfrm>
              <a:off x="2515260" y="1694529"/>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181" name="Google Shape;6181;p104"/>
            <p:cNvSpPr/>
            <p:nvPr/>
          </p:nvSpPr>
          <p:spPr>
            <a:xfrm>
              <a:off x="2514690" y="1694624"/>
              <a:ext cx="149" cy="14"/>
            </a:xfrm>
            <a:custGeom>
              <a:avLst/>
              <a:gdLst/>
              <a:ahLst/>
              <a:cxnLst/>
              <a:rect l="l" t="t" r="r" b="b"/>
              <a:pathLst>
                <a:path w="11" h="1" extrusionOk="0">
                  <a:moveTo>
                    <a:pt x="0" y="1"/>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182" name="Google Shape;6182;p104"/>
            <p:cNvSpPr/>
            <p:nvPr/>
          </p:nvSpPr>
          <p:spPr>
            <a:xfrm>
              <a:off x="2514119" y="1694678"/>
              <a:ext cx="149" cy="0"/>
            </a:xfrm>
            <a:custGeom>
              <a:avLst/>
              <a:gdLst/>
              <a:ahLst/>
              <a:cxnLst/>
              <a:rect l="l" t="t" r="r" b="b"/>
              <a:pathLst>
                <a:path w="11" extrusionOk="0">
                  <a:moveTo>
                    <a:pt x="0" y="0"/>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183" name="Google Shape;6183;p104"/>
            <p:cNvSpPr/>
            <p:nvPr/>
          </p:nvSpPr>
          <p:spPr>
            <a:xfrm>
              <a:off x="2499374" y="1686830"/>
              <a:ext cx="299" cy="299"/>
            </a:xfrm>
            <a:custGeom>
              <a:avLst/>
              <a:gdLst/>
              <a:ahLst/>
              <a:cxnLst/>
              <a:rect l="l" t="t" r="r" b="b"/>
              <a:pathLst>
                <a:path w="22" h="22" extrusionOk="0">
                  <a:moveTo>
                    <a:pt x="1" y="0"/>
                  </a:moveTo>
                  <a:lnTo>
                    <a:pt x="22" y="2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184" name="Google Shape;6184;p104"/>
            <p:cNvSpPr/>
            <p:nvPr/>
          </p:nvSpPr>
          <p:spPr>
            <a:xfrm>
              <a:off x="2505742" y="1693483"/>
              <a:ext cx="258" cy="299"/>
            </a:xfrm>
            <a:custGeom>
              <a:avLst/>
              <a:gdLst/>
              <a:ahLst/>
              <a:cxnLst/>
              <a:rect l="l" t="t" r="r" b="b"/>
              <a:pathLst>
                <a:path w="19" h="22" extrusionOk="0">
                  <a:moveTo>
                    <a:pt x="1" y="0"/>
                  </a:moveTo>
                  <a:lnTo>
                    <a:pt x="18" y="2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185" name="Google Shape;6185;p104"/>
            <p:cNvSpPr/>
            <p:nvPr/>
          </p:nvSpPr>
          <p:spPr>
            <a:xfrm>
              <a:off x="2498804" y="1686301"/>
              <a:ext cx="258" cy="258"/>
            </a:xfrm>
            <a:custGeom>
              <a:avLst/>
              <a:gdLst/>
              <a:ahLst/>
              <a:cxnLst/>
              <a:rect l="l" t="t" r="r" b="b"/>
              <a:pathLst>
                <a:path w="19" h="19" extrusionOk="0">
                  <a:moveTo>
                    <a:pt x="1" y="1"/>
                  </a:moveTo>
                  <a:lnTo>
                    <a:pt x="18" y="18"/>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186" name="Google Shape;6186;p104"/>
            <p:cNvSpPr/>
            <p:nvPr/>
          </p:nvSpPr>
          <p:spPr>
            <a:xfrm>
              <a:off x="2507168" y="1695574"/>
              <a:ext cx="109" cy="163"/>
            </a:xfrm>
            <a:custGeom>
              <a:avLst/>
              <a:gdLst/>
              <a:ahLst/>
              <a:cxnLst/>
              <a:rect l="l" t="t" r="r" b="b"/>
              <a:pathLst>
                <a:path w="8" h="12" extrusionOk="0">
                  <a:moveTo>
                    <a:pt x="1" y="1"/>
                  </a:moveTo>
                  <a:cubicBezTo>
                    <a:pt x="1" y="4"/>
                    <a:pt x="4" y="8"/>
                    <a:pt x="8" y="11"/>
                  </a:cubicBezTo>
                  <a:cubicBezTo>
                    <a:pt x="8" y="8"/>
                    <a:pt x="4" y="4"/>
                    <a:pt x="1" y="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187" name="Google Shape;6187;p104"/>
            <p:cNvSpPr/>
            <p:nvPr/>
          </p:nvSpPr>
          <p:spPr>
            <a:xfrm>
              <a:off x="2501329" y="1688677"/>
              <a:ext cx="339" cy="353"/>
            </a:xfrm>
            <a:custGeom>
              <a:avLst/>
              <a:gdLst/>
              <a:ahLst/>
              <a:cxnLst/>
              <a:rect l="l" t="t" r="r" b="b"/>
              <a:pathLst>
                <a:path w="25" h="26" extrusionOk="0">
                  <a:moveTo>
                    <a:pt x="0" y="1"/>
                  </a:moveTo>
                  <a:lnTo>
                    <a:pt x="25" y="25"/>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188" name="Google Shape;6188;p104"/>
            <p:cNvSpPr/>
            <p:nvPr/>
          </p:nvSpPr>
          <p:spPr>
            <a:xfrm>
              <a:off x="2557133" y="1719389"/>
              <a:ext cx="910" cy="1249"/>
            </a:xfrm>
            <a:custGeom>
              <a:avLst/>
              <a:gdLst/>
              <a:ahLst/>
              <a:cxnLst/>
              <a:rect l="l" t="t" r="r" b="b"/>
              <a:pathLst>
                <a:path w="67" h="92" extrusionOk="0">
                  <a:moveTo>
                    <a:pt x="67" y="0"/>
                  </a:moveTo>
                  <a:cubicBezTo>
                    <a:pt x="56" y="39"/>
                    <a:pt x="32" y="70"/>
                    <a:pt x="0" y="91"/>
                  </a:cubicBezTo>
                  <a:cubicBezTo>
                    <a:pt x="32" y="70"/>
                    <a:pt x="56" y="39"/>
                    <a:pt x="67"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189" name="Google Shape;6189;p104"/>
            <p:cNvSpPr/>
            <p:nvPr/>
          </p:nvSpPr>
          <p:spPr>
            <a:xfrm>
              <a:off x="2501995" y="1689342"/>
              <a:ext cx="339" cy="353"/>
            </a:xfrm>
            <a:custGeom>
              <a:avLst/>
              <a:gdLst/>
              <a:ahLst/>
              <a:cxnLst/>
              <a:rect l="l" t="t" r="r" b="b"/>
              <a:pathLst>
                <a:path w="25" h="26" extrusionOk="0">
                  <a:moveTo>
                    <a:pt x="0" y="1"/>
                  </a:moveTo>
                  <a:lnTo>
                    <a:pt x="25" y="25"/>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190" name="Google Shape;6190;p104"/>
            <p:cNvSpPr/>
            <p:nvPr/>
          </p:nvSpPr>
          <p:spPr>
            <a:xfrm>
              <a:off x="2500664" y="1688011"/>
              <a:ext cx="299" cy="299"/>
            </a:xfrm>
            <a:custGeom>
              <a:avLst/>
              <a:gdLst/>
              <a:ahLst/>
              <a:cxnLst/>
              <a:rect l="l" t="t" r="r" b="b"/>
              <a:pathLst>
                <a:path w="22" h="22" extrusionOk="0">
                  <a:moveTo>
                    <a:pt x="0" y="1"/>
                  </a:moveTo>
                  <a:lnTo>
                    <a:pt x="21" y="22"/>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191" name="Google Shape;6191;p104"/>
            <p:cNvSpPr/>
            <p:nvPr/>
          </p:nvSpPr>
          <p:spPr>
            <a:xfrm>
              <a:off x="2506937" y="1695153"/>
              <a:ext cx="149" cy="204"/>
            </a:xfrm>
            <a:custGeom>
              <a:avLst/>
              <a:gdLst/>
              <a:ahLst/>
              <a:cxnLst/>
              <a:rect l="l" t="t" r="r" b="b"/>
              <a:pathLst>
                <a:path w="11" h="15" extrusionOk="0">
                  <a:moveTo>
                    <a:pt x="0" y="0"/>
                  </a:moveTo>
                  <a:lnTo>
                    <a:pt x="11" y="14"/>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192" name="Google Shape;6192;p104"/>
            <p:cNvSpPr/>
            <p:nvPr/>
          </p:nvSpPr>
          <p:spPr>
            <a:xfrm>
              <a:off x="2503991" y="1691487"/>
              <a:ext cx="299" cy="339"/>
            </a:xfrm>
            <a:custGeom>
              <a:avLst/>
              <a:gdLst/>
              <a:ahLst/>
              <a:cxnLst/>
              <a:rect l="l" t="t" r="r" b="b"/>
              <a:pathLst>
                <a:path w="22" h="25" extrusionOk="0">
                  <a:moveTo>
                    <a:pt x="0" y="0"/>
                  </a:moveTo>
                  <a:lnTo>
                    <a:pt x="21" y="25"/>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193" name="Google Shape;6193;p104"/>
            <p:cNvSpPr/>
            <p:nvPr/>
          </p:nvSpPr>
          <p:spPr>
            <a:xfrm>
              <a:off x="2506598" y="1694624"/>
              <a:ext cx="204" cy="258"/>
            </a:xfrm>
            <a:custGeom>
              <a:avLst/>
              <a:gdLst/>
              <a:ahLst/>
              <a:cxnLst/>
              <a:rect l="l" t="t" r="r" b="b"/>
              <a:pathLst>
                <a:path w="15" h="19" extrusionOk="0">
                  <a:moveTo>
                    <a:pt x="1" y="1"/>
                  </a:moveTo>
                  <a:lnTo>
                    <a:pt x="15" y="18"/>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194" name="Google Shape;6194;p104"/>
            <p:cNvSpPr/>
            <p:nvPr/>
          </p:nvSpPr>
          <p:spPr>
            <a:xfrm>
              <a:off x="2515640" y="1694529"/>
              <a:ext cx="299" cy="14"/>
            </a:xfrm>
            <a:custGeom>
              <a:avLst/>
              <a:gdLst/>
              <a:ahLst/>
              <a:cxnLst/>
              <a:rect l="l" t="t" r="r" b="b"/>
              <a:pathLst>
                <a:path w="22" h="1" extrusionOk="0">
                  <a:moveTo>
                    <a:pt x="0" y="1"/>
                  </a:moveTo>
                  <a:lnTo>
                    <a:pt x="21"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195" name="Google Shape;6195;p104"/>
            <p:cNvSpPr/>
            <p:nvPr/>
          </p:nvSpPr>
          <p:spPr>
            <a:xfrm>
              <a:off x="2568973" y="1712111"/>
              <a:ext cx="1344" cy="109"/>
            </a:xfrm>
            <a:custGeom>
              <a:avLst/>
              <a:gdLst/>
              <a:ahLst/>
              <a:cxnLst/>
              <a:rect l="l" t="t" r="r" b="b"/>
              <a:pathLst>
                <a:path w="99" h="8" extrusionOk="0">
                  <a:moveTo>
                    <a:pt x="98" y="8"/>
                  </a:moveTo>
                  <a:lnTo>
                    <a:pt x="98" y="8"/>
                  </a:lnTo>
                  <a:cubicBezTo>
                    <a:pt x="67" y="1"/>
                    <a:pt x="35" y="1"/>
                    <a:pt x="0" y="4"/>
                  </a:cubicBezTo>
                  <a:cubicBezTo>
                    <a:pt x="35" y="1"/>
                    <a:pt x="67" y="1"/>
                    <a:pt x="98" y="8"/>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196" name="Google Shape;6196;p104"/>
            <p:cNvSpPr/>
            <p:nvPr/>
          </p:nvSpPr>
          <p:spPr>
            <a:xfrm>
              <a:off x="2512640" y="1694909"/>
              <a:ext cx="258" cy="68"/>
            </a:xfrm>
            <a:custGeom>
              <a:avLst/>
              <a:gdLst/>
              <a:ahLst/>
              <a:cxnLst/>
              <a:rect l="l" t="t" r="r" b="b"/>
              <a:pathLst>
                <a:path w="19" h="5" extrusionOk="0">
                  <a:moveTo>
                    <a:pt x="1" y="4"/>
                  </a:moveTo>
                  <a:lnTo>
                    <a:pt x="18"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197" name="Google Shape;6197;p104"/>
            <p:cNvSpPr/>
            <p:nvPr/>
          </p:nvSpPr>
          <p:spPr>
            <a:xfrm>
              <a:off x="2499999" y="1687400"/>
              <a:ext cx="299" cy="299"/>
            </a:xfrm>
            <a:custGeom>
              <a:avLst/>
              <a:gdLst/>
              <a:ahLst/>
              <a:cxnLst/>
              <a:rect l="l" t="t" r="r" b="b"/>
              <a:pathLst>
                <a:path w="22" h="22" extrusionOk="0">
                  <a:moveTo>
                    <a:pt x="0" y="0"/>
                  </a:moveTo>
                  <a:lnTo>
                    <a:pt x="21" y="2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198" name="Google Shape;6198;p104"/>
            <p:cNvSpPr/>
            <p:nvPr/>
          </p:nvSpPr>
          <p:spPr>
            <a:xfrm>
              <a:off x="2513400" y="1694773"/>
              <a:ext cx="163" cy="54"/>
            </a:xfrm>
            <a:custGeom>
              <a:avLst/>
              <a:gdLst/>
              <a:ahLst/>
              <a:cxnLst/>
              <a:rect l="l" t="t" r="r" b="b"/>
              <a:pathLst>
                <a:path w="12" h="4" extrusionOk="0">
                  <a:moveTo>
                    <a:pt x="1" y="4"/>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199" name="Google Shape;6199;p104"/>
            <p:cNvSpPr/>
            <p:nvPr/>
          </p:nvSpPr>
          <p:spPr>
            <a:xfrm>
              <a:off x="2566963" y="1712546"/>
              <a:ext cx="163" cy="54"/>
            </a:xfrm>
            <a:custGeom>
              <a:avLst/>
              <a:gdLst/>
              <a:ahLst/>
              <a:cxnLst/>
              <a:rect l="l" t="t" r="r" b="b"/>
              <a:pathLst>
                <a:path w="12" h="4" extrusionOk="0">
                  <a:moveTo>
                    <a:pt x="1" y="4"/>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200" name="Google Shape;6200;p104"/>
            <p:cNvSpPr/>
            <p:nvPr/>
          </p:nvSpPr>
          <p:spPr>
            <a:xfrm>
              <a:off x="2502660" y="1690062"/>
              <a:ext cx="339" cy="339"/>
            </a:xfrm>
            <a:custGeom>
              <a:avLst/>
              <a:gdLst/>
              <a:ahLst/>
              <a:cxnLst/>
              <a:rect l="l" t="t" r="r" b="b"/>
              <a:pathLst>
                <a:path w="25" h="25" extrusionOk="0">
                  <a:moveTo>
                    <a:pt x="0" y="0"/>
                  </a:moveTo>
                  <a:lnTo>
                    <a:pt x="25" y="25"/>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201" name="Google Shape;6201;p104"/>
            <p:cNvSpPr/>
            <p:nvPr/>
          </p:nvSpPr>
          <p:spPr>
            <a:xfrm>
              <a:off x="2690844" y="1643097"/>
              <a:ext cx="339" cy="489"/>
            </a:xfrm>
            <a:custGeom>
              <a:avLst/>
              <a:gdLst/>
              <a:ahLst/>
              <a:cxnLst/>
              <a:rect l="l" t="t" r="r" b="b"/>
              <a:pathLst>
                <a:path w="25" h="36" extrusionOk="0">
                  <a:moveTo>
                    <a:pt x="25" y="1"/>
                  </a:moveTo>
                  <a:lnTo>
                    <a:pt x="0" y="36"/>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202" name="Google Shape;6202;p104"/>
            <p:cNvSpPr/>
            <p:nvPr/>
          </p:nvSpPr>
          <p:spPr>
            <a:xfrm>
              <a:off x="2691319" y="1642622"/>
              <a:ext cx="244" cy="353"/>
            </a:xfrm>
            <a:custGeom>
              <a:avLst/>
              <a:gdLst/>
              <a:ahLst/>
              <a:cxnLst/>
              <a:rect l="l" t="t" r="r" b="b"/>
              <a:pathLst>
                <a:path w="18" h="26" extrusionOk="0">
                  <a:moveTo>
                    <a:pt x="18" y="1"/>
                  </a:moveTo>
                  <a:lnTo>
                    <a:pt x="0" y="25"/>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203" name="Google Shape;6203;p104"/>
            <p:cNvSpPr/>
            <p:nvPr/>
          </p:nvSpPr>
          <p:spPr>
            <a:xfrm>
              <a:off x="2691645" y="1642147"/>
              <a:ext cx="204" cy="353"/>
            </a:xfrm>
            <a:custGeom>
              <a:avLst/>
              <a:gdLst/>
              <a:ahLst/>
              <a:cxnLst/>
              <a:rect l="l" t="t" r="r" b="b"/>
              <a:pathLst>
                <a:path w="15" h="26" extrusionOk="0">
                  <a:moveTo>
                    <a:pt x="15" y="1"/>
                  </a:moveTo>
                  <a:cubicBezTo>
                    <a:pt x="11" y="8"/>
                    <a:pt x="4" y="15"/>
                    <a:pt x="1" y="25"/>
                  </a:cubicBezTo>
                  <a:cubicBezTo>
                    <a:pt x="8" y="15"/>
                    <a:pt x="11" y="8"/>
                    <a:pt x="15" y="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204" name="Google Shape;6204;p104"/>
            <p:cNvSpPr/>
            <p:nvPr/>
          </p:nvSpPr>
          <p:spPr>
            <a:xfrm>
              <a:off x="2655339" y="1679838"/>
              <a:ext cx="4141" cy="1113"/>
            </a:xfrm>
            <a:custGeom>
              <a:avLst/>
              <a:gdLst/>
              <a:ahLst/>
              <a:cxnLst/>
              <a:rect l="l" t="t" r="r" b="b"/>
              <a:pathLst>
                <a:path w="305" h="82" extrusionOk="0">
                  <a:moveTo>
                    <a:pt x="305" y="81"/>
                  </a:moveTo>
                  <a:cubicBezTo>
                    <a:pt x="116" y="78"/>
                    <a:pt x="35" y="36"/>
                    <a:pt x="0" y="1"/>
                  </a:cubicBezTo>
                  <a:cubicBezTo>
                    <a:pt x="35" y="36"/>
                    <a:pt x="116" y="78"/>
                    <a:pt x="305" y="8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205" name="Google Shape;6205;p104"/>
            <p:cNvSpPr/>
            <p:nvPr/>
          </p:nvSpPr>
          <p:spPr>
            <a:xfrm>
              <a:off x="2691930" y="1641861"/>
              <a:ext cx="68" cy="109"/>
            </a:xfrm>
            <a:custGeom>
              <a:avLst/>
              <a:gdLst/>
              <a:ahLst/>
              <a:cxnLst/>
              <a:rect l="l" t="t" r="r" b="b"/>
              <a:pathLst>
                <a:path w="5" h="8" extrusionOk="0">
                  <a:moveTo>
                    <a:pt x="4" y="1"/>
                  </a:moveTo>
                  <a:lnTo>
                    <a:pt x="1" y="8"/>
                  </a:lnTo>
                  <a:cubicBezTo>
                    <a:pt x="4" y="4"/>
                    <a:pt x="4" y="4"/>
                    <a:pt x="4" y="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206" name="Google Shape;6206;p104"/>
            <p:cNvSpPr/>
            <p:nvPr/>
          </p:nvSpPr>
          <p:spPr>
            <a:xfrm>
              <a:off x="2643255" y="1705934"/>
              <a:ext cx="14" cy="163"/>
            </a:xfrm>
            <a:custGeom>
              <a:avLst/>
              <a:gdLst/>
              <a:ahLst/>
              <a:cxnLst/>
              <a:rect l="l" t="t" r="r" b="b"/>
              <a:pathLst>
                <a:path w="1" h="12" extrusionOk="0">
                  <a:moveTo>
                    <a:pt x="1" y="1"/>
                  </a:moveTo>
                  <a:lnTo>
                    <a:pt x="1" y="11"/>
                  </a:lnTo>
                  <a:cubicBezTo>
                    <a:pt x="1" y="8"/>
                    <a:pt x="1" y="4"/>
                    <a:pt x="1" y="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207" name="Google Shape;6207;p104"/>
            <p:cNvSpPr/>
            <p:nvPr/>
          </p:nvSpPr>
          <p:spPr>
            <a:xfrm>
              <a:off x="2438968" y="1708269"/>
              <a:ext cx="54" cy="109"/>
            </a:xfrm>
            <a:custGeom>
              <a:avLst/>
              <a:gdLst/>
              <a:ahLst/>
              <a:cxnLst/>
              <a:rect l="l" t="t" r="r" b="b"/>
              <a:pathLst>
                <a:path w="4" h="8" extrusionOk="0">
                  <a:moveTo>
                    <a:pt x="0" y="7"/>
                  </a:moveTo>
                  <a:lnTo>
                    <a:pt x="4"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208" name="Google Shape;6208;p104"/>
            <p:cNvSpPr/>
            <p:nvPr/>
          </p:nvSpPr>
          <p:spPr>
            <a:xfrm>
              <a:off x="2438873" y="1708554"/>
              <a:ext cx="14" cy="109"/>
            </a:xfrm>
            <a:custGeom>
              <a:avLst/>
              <a:gdLst/>
              <a:ahLst/>
              <a:cxnLst/>
              <a:rect l="l" t="t" r="r" b="b"/>
              <a:pathLst>
                <a:path w="1" h="8" extrusionOk="0">
                  <a:moveTo>
                    <a:pt x="0" y="7"/>
                  </a:moveTo>
                  <a:lnTo>
                    <a:pt x="0"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209" name="Google Shape;6209;p104"/>
            <p:cNvSpPr/>
            <p:nvPr/>
          </p:nvSpPr>
          <p:spPr>
            <a:xfrm>
              <a:off x="2438819" y="1710401"/>
              <a:ext cx="68" cy="204"/>
            </a:xfrm>
            <a:custGeom>
              <a:avLst/>
              <a:gdLst/>
              <a:ahLst/>
              <a:cxnLst/>
              <a:rect l="l" t="t" r="r" b="b"/>
              <a:pathLst>
                <a:path w="5" h="15" extrusionOk="0">
                  <a:moveTo>
                    <a:pt x="1" y="1"/>
                  </a:moveTo>
                  <a:cubicBezTo>
                    <a:pt x="1" y="4"/>
                    <a:pt x="1" y="8"/>
                    <a:pt x="4" y="15"/>
                  </a:cubicBezTo>
                  <a:cubicBezTo>
                    <a:pt x="4" y="8"/>
                    <a:pt x="1" y="4"/>
                    <a:pt x="1" y="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210" name="Google Shape;6210;p104"/>
            <p:cNvSpPr/>
            <p:nvPr/>
          </p:nvSpPr>
          <p:spPr>
            <a:xfrm>
              <a:off x="2438683" y="1709545"/>
              <a:ext cx="14" cy="163"/>
            </a:xfrm>
            <a:custGeom>
              <a:avLst/>
              <a:gdLst/>
              <a:ahLst/>
              <a:cxnLst/>
              <a:rect l="l" t="t" r="r" b="b"/>
              <a:pathLst>
                <a:path w="1" h="12" extrusionOk="0">
                  <a:moveTo>
                    <a:pt x="0" y="1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211" name="Google Shape;6211;p104"/>
            <p:cNvSpPr/>
            <p:nvPr/>
          </p:nvSpPr>
          <p:spPr>
            <a:xfrm>
              <a:off x="2438778" y="1708785"/>
              <a:ext cx="14" cy="204"/>
            </a:xfrm>
            <a:custGeom>
              <a:avLst/>
              <a:gdLst/>
              <a:ahLst/>
              <a:cxnLst/>
              <a:rect l="l" t="t" r="r" b="b"/>
              <a:pathLst>
                <a:path w="1" h="15" extrusionOk="0">
                  <a:moveTo>
                    <a:pt x="0" y="15"/>
                  </a:moveTo>
                  <a:lnTo>
                    <a:pt x="0" y="4"/>
                  </a:lnTo>
                  <a:cubicBezTo>
                    <a:pt x="0" y="1"/>
                    <a:pt x="0" y="11"/>
                    <a:pt x="0" y="15"/>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212" name="Google Shape;6212;p104"/>
            <p:cNvSpPr/>
            <p:nvPr/>
          </p:nvSpPr>
          <p:spPr>
            <a:xfrm>
              <a:off x="2438724" y="1709165"/>
              <a:ext cx="14" cy="163"/>
            </a:xfrm>
            <a:custGeom>
              <a:avLst/>
              <a:gdLst/>
              <a:ahLst/>
              <a:cxnLst/>
              <a:rect l="l" t="t" r="r" b="b"/>
              <a:pathLst>
                <a:path w="1" h="12" extrusionOk="0">
                  <a:moveTo>
                    <a:pt x="1" y="11"/>
                  </a:moveTo>
                  <a:lnTo>
                    <a:pt x="1" y="1"/>
                  </a:lnTo>
                  <a:cubicBezTo>
                    <a:pt x="1" y="4"/>
                    <a:pt x="1" y="8"/>
                    <a:pt x="1" y="1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213" name="Google Shape;6213;p104"/>
            <p:cNvSpPr/>
            <p:nvPr/>
          </p:nvSpPr>
          <p:spPr>
            <a:xfrm>
              <a:off x="2438724" y="1709925"/>
              <a:ext cx="14" cy="204"/>
            </a:xfrm>
            <a:custGeom>
              <a:avLst/>
              <a:gdLst/>
              <a:ahLst/>
              <a:cxnLst/>
              <a:rect l="l" t="t" r="r" b="b"/>
              <a:pathLst>
                <a:path w="1" h="15" extrusionOk="0">
                  <a:moveTo>
                    <a:pt x="1" y="15"/>
                  </a:moveTo>
                  <a:lnTo>
                    <a:pt x="1" y="1"/>
                  </a:lnTo>
                  <a:cubicBezTo>
                    <a:pt x="1" y="8"/>
                    <a:pt x="1" y="11"/>
                    <a:pt x="1" y="15"/>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214" name="Google Shape;6214;p104"/>
            <p:cNvSpPr/>
            <p:nvPr/>
          </p:nvSpPr>
          <p:spPr>
            <a:xfrm>
              <a:off x="3083315" y="1349877"/>
              <a:ext cx="6436" cy="2648"/>
            </a:xfrm>
            <a:custGeom>
              <a:avLst/>
              <a:gdLst/>
              <a:ahLst/>
              <a:cxnLst/>
              <a:rect l="l" t="t" r="r" b="b"/>
              <a:pathLst>
                <a:path w="474" h="195" extrusionOk="0">
                  <a:moveTo>
                    <a:pt x="391" y="0"/>
                  </a:moveTo>
                  <a:cubicBezTo>
                    <a:pt x="242" y="0"/>
                    <a:pt x="32" y="100"/>
                    <a:pt x="1" y="150"/>
                  </a:cubicBezTo>
                  <a:cubicBezTo>
                    <a:pt x="11" y="157"/>
                    <a:pt x="25" y="164"/>
                    <a:pt x="39" y="168"/>
                  </a:cubicBezTo>
                  <a:cubicBezTo>
                    <a:pt x="88" y="185"/>
                    <a:pt x="146" y="194"/>
                    <a:pt x="205" y="194"/>
                  </a:cubicBezTo>
                  <a:cubicBezTo>
                    <a:pt x="282" y="194"/>
                    <a:pt x="359" y="178"/>
                    <a:pt x="410" y="140"/>
                  </a:cubicBezTo>
                  <a:cubicBezTo>
                    <a:pt x="449" y="115"/>
                    <a:pt x="473" y="66"/>
                    <a:pt x="470" y="21"/>
                  </a:cubicBezTo>
                  <a:cubicBezTo>
                    <a:pt x="470" y="17"/>
                    <a:pt x="470" y="7"/>
                    <a:pt x="435" y="3"/>
                  </a:cubicBezTo>
                  <a:cubicBezTo>
                    <a:pt x="421" y="1"/>
                    <a:pt x="406" y="0"/>
                    <a:pt x="391"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215" name="Google Shape;6215;p104"/>
            <p:cNvSpPr/>
            <p:nvPr/>
          </p:nvSpPr>
          <p:spPr>
            <a:xfrm>
              <a:off x="2740470" y="1256152"/>
              <a:ext cx="41452" cy="20869"/>
            </a:xfrm>
            <a:custGeom>
              <a:avLst/>
              <a:gdLst/>
              <a:ahLst/>
              <a:cxnLst/>
              <a:rect l="l" t="t" r="r" b="b"/>
              <a:pathLst>
                <a:path w="3053" h="1537" extrusionOk="0">
                  <a:moveTo>
                    <a:pt x="1655" y="0"/>
                  </a:moveTo>
                  <a:cubicBezTo>
                    <a:pt x="1574" y="0"/>
                    <a:pt x="1454" y="9"/>
                    <a:pt x="1281" y="38"/>
                  </a:cubicBezTo>
                  <a:cubicBezTo>
                    <a:pt x="809" y="115"/>
                    <a:pt x="445" y="255"/>
                    <a:pt x="399" y="318"/>
                  </a:cubicBezTo>
                  <a:cubicBezTo>
                    <a:pt x="392" y="426"/>
                    <a:pt x="273" y="517"/>
                    <a:pt x="154" y="605"/>
                  </a:cubicBezTo>
                  <a:cubicBezTo>
                    <a:pt x="102" y="643"/>
                    <a:pt x="11" y="710"/>
                    <a:pt x="0" y="741"/>
                  </a:cubicBezTo>
                  <a:lnTo>
                    <a:pt x="4" y="745"/>
                  </a:lnTo>
                  <a:cubicBezTo>
                    <a:pt x="81" y="811"/>
                    <a:pt x="147" y="815"/>
                    <a:pt x="238" y="825"/>
                  </a:cubicBezTo>
                  <a:cubicBezTo>
                    <a:pt x="287" y="829"/>
                    <a:pt x="333" y="832"/>
                    <a:pt x="378" y="843"/>
                  </a:cubicBezTo>
                  <a:cubicBezTo>
                    <a:pt x="466" y="860"/>
                    <a:pt x="525" y="941"/>
                    <a:pt x="588" y="1025"/>
                  </a:cubicBezTo>
                  <a:cubicBezTo>
                    <a:pt x="673" y="1140"/>
                    <a:pt x="739" y="1220"/>
                    <a:pt x="836" y="1220"/>
                  </a:cubicBezTo>
                  <a:cubicBezTo>
                    <a:pt x="852" y="1220"/>
                    <a:pt x="868" y="1218"/>
                    <a:pt x="886" y="1214"/>
                  </a:cubicBezTo>
                  <a:cubicBezTo>
                    <a:pt x="914" y="1207"/>
                    <a:pt x="945" y="1207"/>
                    <a:pt x="977" y="1207"/>
                  </a:cubicBezTo>
                  <a:cubicBezTo>
                    <a:pt x="1141" y="1207"/>
                    <a:pt x="1379" y="1277"/>
                    <a:pt x="1645" y="1358"/>
                  </a:cubicBezTo>
                  <a:cubicBezTo>
                    <a:pt x="1933" y="1445"/>
                    <a:pt x="2230" y="1536"/>
                    <a:pt x="2451" y="1536"/>
                  </a:cubicBezTo>
                  <a:cubicBezTo>
                    <a:pt x="2720" y="1536"/>
                    <a:pt x="2825" y="1400"/>
                    <a:pt x="2829" y="1309"/>
                  </a:cubicBezTo>
                  <a:cubicBezTo>
                    <a:pt x="2829" y="1284"/>
                    <a:pt x="2825" y="1263"/>
                    <a:pt x="2815" y="1263"/>
                  </a:cubicBezTo>
                  <a:cubicBezTo>
                    <a:pt x="2769" y="1263"/>
                    <a:pt x="2727" y="1235"/>
                    <a:pt x="2710" y="1193"/>
                  </a:cubicBezTo>
                  <a:cubicBezTo>
                    <a:pt x="2664" y="1095"/>
                    <a:pt x="2734" y="944"/>
                    <a:pt x="3011" y="545"/>
                  </a:cubicBezTo>
                  <a:cubicBezTo>
                    <a:pt x="3053" y="500"/>
                    <a:pt x="3053" y="433"/>
                    <a:pt x="3011" y="388"/>
                  </a:cubicBezTo>
                  <a:cubicBezTo>
                    <a:pt x="2916" y="261"/>
                    <a:pt x="2647" y="172"/>
                    <a:pt x="2469" y="172"/>
                  </a:cubicBezTo>
                  <a:cubicBezTo>
                    <a:pt x="2431" y="172"/>
                    <a:pt x="2397" y="176"/>
                    <a:pt x="2370" y="185"/>
                  </a:cubicBezTo>
                  <a:cubicBezTo>
                    <a:pt x="2325" y="202"/>
                    <a:pt x="2325" y="220"/>
                    <a:pt x="2325" y="230"/>
                  </a:cubicBezTo>
                  <a:cubicBezTo>
                    <a:pt x="2325" y="353"/>
                    <a:pt x="2276" y="391"/>
                    <a:pt x="2230" y="402"/>
                  </a:cubicBezTo>
                  <a:cubicBezTo>
                    <a:pt x="2221" y="404"/>
                    <a:pt x="2212" y="405"/>
                    <a:pt x="2202" y="405"/>
                  </a:cubicBezTo>
                  <a:cubicBezTo>
                    <a:pt x="2047" y="405"/>
                    <a:pt x="1842" y="96"/>
                    <a:pt x="1800" y="20"/>
                  </a:cubicBezTo>
                  <a:cubicBezTo>
                    <a:pt x="1787" y="11"/>
                    <a:pt x="1744" y="0"/>
                    <a:pt x="1655"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216" name="Google Shape;6216;p104"/>
            <p:cNvSpPr/>
            <p:nvPr/>
          </p:nvSpPr>
          <p:spPr>
            <a:xfrm>
              <a:off x="2779112" y="1267720"/>
              <a:ext cx="44453" cy="23136"/>
            </a:xfrm>
            <a:custGeom>
              <a:avLst/>
              <a:gdLst/>
              <a:ahLst/>
              <a:cxnLst/>
              <a:rect l="l" t="t" r="r" b="b"/>
              <a:pathLst>
                <a:path w="3274" h="1704" extrusionOk="0">
                  <a:moveTo>
                    <a:pt x="1671" y="1"/>
                  </a:moveTo>
                  <a:cubicBezTo>
                    <a:pt x="1656" y="1"/>
                    <a:pt x="1640" y="3"/>
                    <a:pt x="1625" y="8"/>
                  </a:cubicBezTo>
                  <a:cubicBezTo>
                    <a:pt x="1611" y="169"/>
                    <a:pt x="1415" y="176"/>
                    <a:pt x="1257" y="183"/>
                  </a:cubicBezTo>
                  <a:cubicBezTo>
                    <a:pt x="1191" y="187"/>
                    <a:pt x="1061" y="194"/>
                    <a:pt x="1044" y="215"/>
                  </a:cubicBezTo>
                  <a:cubicBezTo>
                    <a:pt x="1044" y="327"/>
                    <a:pt x="984" y="404"/>
                    <a:pt x="931" y="471"/>
                  </a:cubicBezTo>
                  <a:cubicBezTo>
                    <a:pt x="879" y="537"/>
                    <a:pt x="844" y="586"/>
                    <a:pt x="851" y="649"/>
                  </a:cubicBezTo>
                  <a:cubicBezTo>
                    <a:pt x="854" y="684"/>
                    <a:pt x="844" y="719"/>
                    <a:pt x="819" y="747"/>
                  </a:cubicBezTo>
                  <a:cubicBezTo>
                    <a:pt x="781" y="789"/>
                    <a:pt x="718" y="789"/>
                    <a:pt x="655" y="789"/>
                  </a:cubicBezTo>
                  <a:cubicBezTo>
                    <a:pt x="651" y="789"/>
                    <a:pt x="646" y="789"/>
                    <a:pt x="642" y="789"/>
                  </a:cubicBezTo>
                  <a:cubicBezTo>
                    <a:pt x="533" y="789"/>
                    <a:pt x="452" y="792"/>
                    <a:pt x="445" y="964"/>
                  </a:cubicBezTo>
                  <a:cubicBezTo>
                    <a:pt x="438" y="1195"/>
                    <a:pt x="263" y="1370"/>
                    <a:pt x="133" y="1500"/>
                  </a:cubicBezTo>
                  <a:cubicBezTo>
                    <a:pt x="84" y="1552"/>
                    <a:pt x="0" y="1636"/>
                    <a:pt x="4" y="1664"/>
                  </a:cubicBezTo>
                  <a:cubicBezTo>
                    <a:pt x="11" y="1671"/>
                    <a:pt x="18" y="1675"/>
                    <a:pt x="25" y="1678"/>
                  </a:cubicBezTo>
                  <a:cubicBezTo>
                    <a:pt x="56" y="1696"/>
                    <a:pt x="102" y="1703"/>
                    <a:pt x="159" y="1703"/>
                  </a:cubicBezTo>
                  <a:cubicBezTo>
                    <a:pt x="296" y="1703"/>
                    <a:pt x="495" y="1662"/>
                    <a:pt x="690" y="1622"/>
                  </a:cubicBezTo>
                  <a:cubicBezTo>
                    <a:pt x="930" y="1573"/>
                    <a:pt x="1179" y="1524"/>
                    <a:pt x="1391" y="1524"/>
                  </a:cubicBezTo>
                  <a:cubicBezTo>
                    <a:pt x="1405" y="1524"/>
                    <a:pt x="1419" y="1524"/>
                    <a:pt x="1432" y="1524"/>
                  </a:cubicBezTo>
                  <a:cubicBezTo>
                    <a:pt x="1441" y="1525"/>
                    <a:pt x="1450" y="1525"/>
                    <a:pt x="1459" y="1525"/>
                  </a:cubicBezTo>
                  <a:cubicBezTo>
                    <a:pt x="1986" y="1525"/>
                    <a:pt x="3225" y="1132"/>
                    <a:pt x="3260" y="947"/>
                  </a:cubicBezTo>
                  <a:cubicBezTo>
                    <a:pt x="3274" y="863"/>
                    <a:pt x="3179" y="821"/>
                    <a:pt x="2972" y="751"/>
                  </a:cubicBezTo>
                  <a:cubicBezTo>
                    <a:pt x="2829" y="702"/>
                    <a:pt x="2668" y="642"/>
                    <a:pt x="2563" y="534"/>
                  </a:cubicBezTo>
                  <a:cubicBezTo>
                    <a:pt x="2506" y="471"/>
                    <a:pt x="2425" y="453"/>
                    <a:pt x="2354" y="453"/>
                  </a:cubicBezTo>
                  <a:cubicBezTo>
                    <a:pt x="2334" y="453"/>
                    <a:pt x="2315" y="454"/>
                    <a:pt x="2297" y="457"/>
                  </a:cubicBezTo>
                  <a:cubicBezTo>
                    <a:pt x="2111" y="478"/>
                    <a:pt x="1929" y="590"/>
                    <a:pt x="1877" y="684"/>
                  </a:cubicBezTo>
                  <a:cubicBezTo>
                    <a:pt x="1820" y="779"/>
                    <a:pt x="1763" y="797"/>
                    <a:pt x="1729" y="797"/>
                  </a:cubicBezTo>
                  <a:cubicBezTo>
                    <a:pt x="1726" y="797"/>
                    <a:pt x="1722" y="796"/>
                    <a:pt x="1719" y="796"/>
                  </a:cubicBezTo>
                  <a:cubicBezTo>
                    <a:pt x="1681" y="793"/>
                    <a:pt x="1646" y="768"/>
                    <a:pt x="1635" y="730"/>
                  </a:cubicBezTo>
                  <a:cubicBezTo>
                    <a:pt x="1600" y="635"/>
                    <a:pt x="1677" y="474"/>
                    <a:pt x="1838" y="313"/>
                  </a:cubicBezTo>
                  <a:cubicBezTo>
                    <a:pt x="1891" y="260"/>
                    <a:pt x="1912" y="208"/>
                    <a:pt x="1901" y="159"/>
                  </a:cubicBezTo>
                  <a:cubicBezTo>
                    <a:pt x="1880" y="89"/>
                    <a:pt x="1793" y="29"/>
                    <a:pt x="1716" y="8"/>
                  </a:cubicBezTo>
                  <a:cubicBezTo>
                    <a:pt x="1702" y="3"/>
                    <a:pt x="1687" y="1"/>
                    <a:pt x="1671" y="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217" name="Google Shape;6217;p104"/>
            <p:cNvSpPr/>
            <p:nvPr/>
          </p:nvSpPr>
          <p:spPr>
            <a:xfrm>
              <a:off x="3087022" y="1356164"/>
              <a:ext cx="21412" cy="7834"/>
            </a:xfrm>
            <a:custGeom>
              <a:avLst/>
              <a:gdLst/>
              <a:ahLst/>
              <a:cxnLst/>
              <a:rect l="l" t="t" r="r" b="b"/>
              <a:pathLst>
                <a:path w="1577" h="577" extrusionOk="0">
                  <a:moveTo>
                    <a:pt x="714" y="0"/>
                  </a:moveTo>
                  <a:cubicBezTo>
                    <a:pt x="345" y="0"/>
                    <a:pt x="36" y="259"/>
                    <a:pt x="1" y="339"/>
                  </a:cubicBezTo>
                  <a:cubicBezTo>
                    <a:pt x="129" y="473"/>
                    <a:pt x="886" y="576"/>
                    <a:pt x="1312" y="576"/>
                  </a:cubicBezTo>
                  <a:cubicBezTo>
                    <a:pt x="1409" y="576"/>
                    <a:pt x="1490" y="571"/>
                    <a:pt x="1541" y="559"/>
                  </a:cubicBezTo>
                  <a:cubicBezTo>
                    <a:pt x="1576" y="552"/>
                    <a:pt x="1576" y="542"/>
                    <a:pt x="1576" y="531"/>
                  </a:cubicBezTo>
                  <a:cubicBezTo>
                    <a:pt x="1573" y="402"/>
                    <a:pt x="1219" y="73"/>
                    <a:pt x="834" y="10"/>
                  </a:cubicBezTo>
                  <a:cubicBezTo>
                    <a:pt x="794" y="3"/>
                    <a:pt x="754" y="0"/>
                    <a:pt x="714"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218" name="Google Shape;6218;p104"/>
            <p:cNvSpPr/>
            <p:nvPr/>
          </p:nvSpPr>
          <p:spPr>
            <a:xfrm>
              <a:off x="2249874" y="1296871"/>
              <a:ext cx="1208533" cy="418540"/>
            </a:xfrm>
            <a:custGeom>
              <a:avLst/>
              <a:gdLst/>
              <a:ahLst/>
              <a:cxnLst/>
              <a:rect l="l" t="t" r="r" b="b"/>
              <a:pathLst>
                <a:path w="89010" h="30826" extrusionOk="0">
                  <a:moveTo>
                    <a:pt x="44495" y="20619"/>
                  </a:moveTo>
                  <a:cubicBezTo>
                    <a:pt x="44507" y="20619"/>
                    <a:pt x="44519" y="20620"/>
                    <a:pt x="44532" y="20624"/>
                  </a:cubicBezTo>
                  <a:cubicBezTo>
                    <a:pt x="44577" y="20641"/>
                    <a:pt x="44609" y="20683"/>
                    <a:pt x="44612" y="20732"/>
                  </a:cubicBezTo>
                  <a:cubicBezTo>
                    <a:pt x="44686" y="21048"/>
                    <a:pt x="44371" y="22301"/>
                    <a:pt x="43950" y="22675"/>
                  </a:cubicBezTo>
                  <a:cubicBezTo>
                    <a:pt x="43733" y="22871"/>
                    <a:pt x="43425" y="22994"/>
                    <a:pt x="43156" y="23106"/>
                  </a:cubicBezTo>
                  <a:cubicBezTo>
                    <a:pt x="42865" y="23222"/>
                    <a:pt x="42589" y="23334"/>
                    <a:pt x="42589" y="23477"/>
                  </a:cubicBezTo>
                  <a:cubicBezTo>
                    <a:pt x="42589" y="23680"/>
                    <a:pt x="42326" y="23803"/>
                    <a:pt x="42106" y="23869"/>
                  </a:cubicBezTo>
                  <a:cubicBezTo>
                    <a:pt x="41920" y="23925"/>
                    <a:pt x="41727" y="23953"/>
                    <a:pt x="41531" y="23960"/>
                  </a:cubicBezTo>
                  <a:cubicBezTo>
                    <a:pt x="41402" y="23960"/>
                    <a:pt x="41293" y="23939"/>
                    <a:pt x="41255" y="23876"/>
                  </a:cubicBezTo>
                  <a:cubicBezTo>
                    <a:pt x="41237" y="23852"/>
                    <a:pt x="41234" y="23820"/>
                    <a:pt x="41244" y="23792"/>
                  </a:cubicBezTo>
                  <a:cubicBezTo>
                    <a:pt x="41265" y="23722"/>
                    <a:pt x="41360" y="23694"/>
                    <a:pt x="41531" y="23638"/>
                  </a:cubicBezTo>
                  <a:cubicBezTo>
                    <a:pt x="41783" y="23558"/>
                    <a:pt x="42169" y="23432"/>
                    <a:pt x="42295" y="23159"/>
                  </a:cubicBezTo>
                  <a:cubicBezTo>
                    <a:pt x="42407" y="22903"/>
                    <a:pt x="42673" y="22714"/>
                    <a:pt x="42953" y="22511"/>
                  </a:cubicBezTo>
                  <a:cubicBezTo>
                    <a:pt x="43247" y="22304"/>
                    <a:pt x="43551" y="22087"/>
                    <a:pt x="43754" y="21769"/>
                  </a:cubicBezTo>
                  <a:cubicBezTo>
                    <a:pt x="43856" y="21604"/>
                    <a:pt x="43950" y="21415"/>
                    <a:pt x="44045" y="21230"/>
                  </a:cubicBezTo>
                  <a:cubicBezTo>
                    <a:pt x="44226" y="20865"/>
                    <a:pt x="44350" y="20619"/>
                    <a:pt x="44495" y="20619"/>
                  </a:cubicBezTo>
                  <a:close/>
                  <a:moveTo>
                    <a:pt x="41372" y="0"/>
                  </a:moveTo>
                  <a:cubicBezTo>
                    <a:pt x="41295" y="0"/>
                    <a:pt x="41205" y="24"/>
                    <a:pt x="41087" y="56"/>
                  </a:cubicBezTo>
                  <a:cubicBezTo>
                    <a:pt x="40982" y="84"/>
                    <a:pt x="40852" y="123"/>
                    <a:pt x="40684" y="154"/>
                  </a:cubicBezTo>
                  <a:cubicBezTo>
                    <a:pt x="40474" y="193"/>
                    <a:pt x="40383" y="305"/>
                    <a:pt x="40299" y="417"/>
                  </a:cubicBezTo>
                  <a:cubicBezTo>
                    <a:pt x="40240" y="491"/>
                    <a:pt x="40184" y="561"/>
                    <a:pt x="40093" y="603"/>
                  </a:cubicBezTo>
                  <a:cubicBezTo>
                    <a:pt x="39945" y="669"/>
                    <a:pt x="39746" y="879"/>
                    <a:pt x="39721" y="956"/>
                  </a:cubicBezTo>
                  <a:cubicBezTo>
                    <a:pt x="39875" y="995"/>
                    <a:pt x="39868" y="1103"/>
                    <a:pt x="39861" y="1166"/>
                  </a:cubicBezTo>
                  <a:cubicBezTo>
                    <a:pt x="39858" y="1191"/>
                    <a:pt x="39858" y="1215"/>
                    <a:pt x="39861" y="1240"/>
                  </a:cubicBezTo>
                  <a:cubicBezTo>
                    <a:pt x="39875" y="1285"/>
                    <a:pt x="39861" y="1334"/>
                    <a:pt x="39830" y="1369"/>
                  </a:cubicBezTo>
                  <a:cubicBezTo>
                    <a:pt x="39786" y="1415"/>
                    <a:pt x="39712" y="1430"/>
                    <a:pt x="39635" y="1430"/>
                  </a:cubicBezTo>
                  <a:cubicBezTo>
                    <a:pt x="39582" y="1430"/>
                    <a:pt x="39528" y="1423"/>
                    <a:pt x="39480" y="1415"/>
                  </a:cubicBezTo>
                  <a:cubicBezTo>
                    <a:pt x="39421" y="1404"/>
                    <a:pt x="39336" y="1399"/>
                    <a:pt x="39244" y="1399"/>
                  </a:cubicBezTo>
                  <a:cubicBezTo>
                    <a:pt x="39031" y="1399"/>
                    <a:pt x="38779" y="1426"/>
                    <a:pt x="38727" y="1467"/>
                  </a:cubicBezTo>
                  <a:cubicBezTo>
                    <a:pt x="38741" y="1506"/>
                    <a:pt x="38853" y="1555"/>
                    <a:pt x="38906" y="1579"/>
                  </a:cubicBezTo>
                  <a:cubicBezTo>
                    <a:pt x="39004" y="1625"/>
                    <a:pt x="39105" y="1670"/>
                    <a:pt x="39077" y="1758"/>
                  </a:cubicBezTo>
                  <a:cubicBezTo>
                    <a:pt x="39067" y="1789"/>
                    <a:pt x="39042" y="1810"/>
                    <a:pt x="39014" y="1821"/>
                  </a:cubicBezTo>
                  <a:cubicBezTo>
                    <a:pt x="38996" y="1828"/>
                    <a:pt x="38973" y="1832"/>
                    <a:pt x="38947" y="1832"/>
                  </a:cubicBezTo>
                  <a:cubicBezTo>
                    <a:pt x="38829" y="1832"/>
                    <a:pt x="38653" y="1762"/>
                    <a:pt x="38570" y="1716"/>
                  </a:cubicBezTo>
                  <a:cubicBezTo>
                    <a:pt x="38537" y="1697"/>
                    <a:pt x="38487" y="1688"/>
                    <a:pt x="38434" y="1688"/>
                  </a:cubicBezTo>
                  <a:cubicBezTo>
                    <a:pt x="38386" y="1688"/>
                    <a:pt x="38334" y="1696"/>
                    <a:pt x="38290" y="1712"/>
                  </a:cubicBezTo>
                  <a:cubicBezTo>
                    <a:pt x="38248" y="1723"/>
                    <a:pt x="38209" y="1751"/>
                    <a:pt x="38185" y="1789"/>
                  </a:cubicBezTo>
                  <a:cubicBezTo>
                    <a:pt x="38164" y="1842"/>
                    <a:pt x="38118" y="1884"/>
                    <a:pt x="38062" y="1905"/>
                  </a:cubicBezTo>
                  <a:cubicBezTo>
                    <a:pt x="38014" y="1921"/>
                    <a:pt x="37965" y="1929"/>
                    <a:pt x="37916" y="1929"/>
                  </a:cubicBezTo>
                  <a:cubicBezTo>
                    <a:pt x="37857" y="1929"/>
                    <a:pt x="37799" y="1917"/>
                    <a:pt x="37743" y="1894"/>
                  </a:cubicBezTo>
                  <a:cubicBezTo>
                    <a:pt x="37708" y="1894"/>
                    <a:pt x="37673" y="1901"/>
                    <a:pt x="37642" y="1912"/>
                  </a:cubicBezTo>
                  <a:cubicBezTo>
                    <a:pt x="37594" y="1923"/>
                    <a:pt x="37539" y="1936"/>
                    <a:pt x="37484" y="1936"/>
                  </a:cubicBezTo>
                  <a:cubicBezTo>
                    <a:pt x="37453" y="1936"/>
                    <a:pt x="37423" y="1932"/>
                    <a:pt x="37393" y="1922"/>
                  </a:cubicBezTo>
                  <a:cubicBezTo>
                    <a:pt x="37358" y="1912"/>
                    <a:pt x="37334" y="1887"/>
                    <a:pt x="37323" y="1852"/>
                  </a:cubicBezTo>
                  <a:cubicBezTo>
                    <a:pt x="37313" y="1789"/>
                    <a:pt x="37365" y="1740"/>
                    <a:pt x="37428" y="1681"/>
                  </a:cubicBezTo>
                  <a:cubicBezTo>
                    <a:pt x="37460" y="1656"/>
                    <a:pt x="37488" y="1625"/>
                    <a:pt x="37512" y="1593"/>
                  </a:cubicBezTo>
                  <a:cubicBezTo>
                    <a:pt x="37481" y="1586"/>
                    <a:pt x="37448" y="1582"/>
                    <a:pt x="37416" y="1582"/>
                  </a:cubicBezTo>
                  <a:cubicBezTo>
                    <a:pt x="37374" y="1582"/>
                    <a:pt x="37332" y="1588"/>
                    <a:pt x="37292" y="1600"/>
                  </a:cubicBezTo>
                  <a:cubicBezTo>
                    <a:pt x="37187" y="1628"/>
                    <a:pt x="37124" y="1677"/>
                    <a:pt x="37113" y="1709"/>
                  </a:cubicBezTo>
                  <a:cubicBezTo>
                    <a:pt x="37106" y="1747"/>
                    <a:pt x="37078" y="1779"/>
                    <a:pt x="37043" y="1793"/>
                  </a:cubicBezTo>
                  <a:cubicBezTo>
                    <a:pt x="37028" y="1800"/>
                    <a:pt x="37011" y="1802"/>
                    <a:pt x="36994" y="1802"/>
                  </a:cubicBezTo>
                  <a:cubicBezTo>
                    <a:pt x="36940" y="1802"/>
                    <a:pt x="36882" y="1772"/>
                    <a:pt x="36826" y="1740"/>
                  </a:cubicBezTo>
                  <a:cubicBezTo>
                    <a:pt x="36791" y="1719"/>
                    <a:pt x="36756" y="1705"/>
                    <a:pt x="36718" y="1695"/>
                  </a:cubicBezTo>
                  <a:lnTo>
                    <a:pt x="36683" y="1712"/>
                  </a:lnTo>
                  <a:cubicBezTo>
                    <a:pt x="36578" y="1772"/>
                    <a:pt x="36469" y="1824"/>
                    <a:pt x="36357" y="1873"/>
                  </a:cubicBezTo>
                  <a:cubicBezTo>
                    <a:pt x="36313" y="1892"/>
                    <a:pt x="36263" y="1898"/>
                    <a:pt x="36213" y="1898"/>
                  </a:cubicBezTo>
                  <a:cubicBezTo>
                    <a:pt x="36158" y="1898"/>
                    <a:pt x="36103" y="1891"/>
                    <a:pt x="36053" y="1884"/>
                  </a:cubicBezTo>
                  <a:cubicBezTo>
                    <a:pt x="36012" y="1878"/>
                    <a:pt x="35967" y="1872"/>
                    <a:pt x="35931" y="1872"/>
                  </a:cubicBezTo>
                  <a:cubicBezTo>
                    <a:pt x="35901" y="1872"/>
                    <a:pt x="35878" y="1876"/>
                    <a:pt x="35871" y="1887"/>
                  </a:cubicBezTo>
                  <a:cubicBezTo>
                    <a:pt x="35892" y="1915"/>
                    <a:pt x="35993" y="1947"/>
                    <a:pt x="36035" y="1964"/>
                  </a:cubicBezTo>
                  <a:cubicBezTo>
                    <a:pt x="36133" y="1996"/>
                    <a:pt x="36196" y="2017"/>
                    <a:pt x="36207" y="2076"/>
                  </a:cubicBezTo>
                  <a:cubicBezTo>
                    <a:pt x="36210" y="2097"/>
                    <a:pt x="36203" y="2118"/>
                    <a:pt x="36189" y="2132"/>
                  </a:cubicBezTo>
                  <a:cubicBezTo>
                    <a:pt x="36158" y="2174"/>
                    <a:pt x="36088" y="2181"/>
                    <a:pt x="35772" y="2206"/>
                  </a:cubicBezTo>
                  <a:cubicBezTo>
                    <a:pt x="35615" y="2216"/>
                    <a:pt x="35356" y="2234"/>
                    <a:pt x="35293" y="2262"/>
                  </a:cubicBezTo>
                  <a:cubicBezTo>
                    <a:pt x="35244" y="2367"/>
                    <a:pt x="35044" y="2378"/>
                    <a:pt x="34621" y="2385"/>
                  </a:cubicBezTo>
                  <a:lnTo>
                    <a:pt x="34551" y="2385"/>
                  </a:lnTo>
                  <a:cubicBezTo>
                    <a:pt x="34379" y="2392"/>
                    <a:pt x="34348" y="2430"/>
                    <a:pt x="34306" y="2479"/>
                  </a:cubicBezTo>
                  <a:cubicBezTo>
                    <a:pt x="34243" y="2563"/>
                    <a:pt x="34152" y="2616"/>
                    <a:pt x="34050" y="2626"/>
                  </a:cubicBezTo>
                  <a:lnTo>
                    <a:pt x="33959" y="2644"/>
                  </a:lnTo>
                  <a:cubicBezTo>
                    <a:pt x="33738" y="2686"/>
                    <a:pt x="33647" y="2703"/>
                    <a:pt x="33577" y="2808"/>
                  </a:cubicBezTo>
                  <a:cubicBezTo>
                    <a:pt x="33514" y="2903"/>
                    <a:pt x="33409" y="2962"/>
                    <a:pt x="33297" y="2966"/>
                  </a:cubicBezTo>
                  <a:cubicBezTo>
                    <a:pt x="33286" y="2967"/>
                    <a:pt x="33275" y="2968"/>
                    <a:pt x="33265" y="2968"/>
                  </a:cubicBezTo>
                  <a:cubicBezTo>
                    <a:pt x="33183" y="2968"/>
                    <a:pt x="33108" y="2933"/>
                    <a:pt x="33052" y="2871"/>
                  </a:cubicBezTo>
                  <a:cubicBezTo>
                    <a:pt x="33041" y="2863"/>
                    <a:pt x="33027" y="2856"/>
                    <a:pt x="33013" y="2856"/>
                  </a:cubicBezTo>
                  <a:cubicBezTo>
                    <a:pt x="33010" y="2856"/>
                    <a:pt x="33006" y="2857"/>
                    <a:pt x="33003" y="2857"/>
                  </a:cubicBezTo>
                  <a:cubicBezTo>
                    <a:pt x="32993" y="2857"/>
                    <a:pt x="32979" y="2861"/>
                    <a:pt x="32965" y="2864"/>
                  </a:cubicBezTo>
                  <a:cubicBezTo>
                    <a:pt x="32986" y="2875"/>
                    <a:pt x="33000" y="2892"/>
                    <a:pt x="33007" y="2913"/>
                  </a:cubicBezTo>
                  <a:cubicBezTo>
                    <a:pt x="33021" y="2962"/>
                    <a:pt x="33003" y="3011"/>
                    <a:pt x="32965" y="3043"/>
                  </a:cubicBezTo>
                  <a:cubicBezTo>
                    <a:pt x="32931" y="3082"/>
                    <a:pt x="32881" y="3102"/>
                    <a:pt x="32830" y="3102"/>
                  </a:cubicBezTo>
                  <a:cubicBezTo>
                    <a:pt x="32813" y="3102"/>
                    <a:pt x="32796" y="3100"/>
                    <a:pt x="32779" y="3095"/>
                  </a:cubicBezTo>
                  <a:cubicBezTo>
                    <a:pt x="32755" y="3095"/>
                    <a:pt x="32730" y="3102"/>
                    <a:pt x="32706" y="3116"/>
                  </a:cubicBezTo>
                  <a:cubicBezTo>
                    <a:pt x="32755" y="3130"/>
                    <a:pt x="32793" y="3162"/>
                    <a:pt x="32818" y="3207"/>
                  </a:cubicBezTo>
                  <a:cubicBezTo>
                    <a:pt x="32853" y="3270"/>
                    <a:pt x="32846" y="3351"/>
                    <a:pt x="32797" y="3407"/>
                  </a:cubicBezTo>
                  <a:cubicBezTo>
                    <a:pt x="32771" y="3436"/>
                    <a:pt x="32737" y="3453"/>
                    <a:pt x="32699" y="3453"/>
                  </a:cubicBezTo>
                  <a:cubicBezTo>
                    <a:pt x="32695" y="3453"/>
                    <a:pt x="32692" y="3453"/>
                    <a:pt x="32688" y="3452"/>
                  </a:cubicBezTo>
                  <a:lnTo>
                    <a:pt x="32688" y="3452"/>
                  </a:lnTo>
                  <a:cubicBezTo>
                    <a:pt x="32793" y="3487"/>
                    <a:pt x="32870" y="3578"/>
                    <a:pt x="32884" y="3687"/>
                  </a:cubicBezTo>
                  <a:cubicBezTo>
                    <a:pt x="32888" y="3715"/>
                    <a:pt x="32881" y="3746"/>
                    <a:pt x="32856" y="3767"/>
                  </a:cubicBezTo>
                  <a:cubicBezTo>
                    <a:pt x="32834" y="3790"/>
                    <a:pt x="32805" y="3798"/>
                    <a:pt x="32770" y="3798"/>
                  </a:cubicBezTo>
                  <a:cubicBezTo>
                    <a:pt x="32733" y="3798"/>
                    <a:pt x="32688" y="3789"/>
                    <a:pt x="32636" y="3778"/>
                  </a:cubicBezTo>
                  <a:cubicBezTo>
                    <a:pt x="32600" y="3770"/>
                    <a:pt x="32535" y="3759"/>
                    <a:pt x="32494" y="3759"/>
                  </a:cubicBezTo>
                  <a:cubicBezTo>
                    <a:pt x="32479" y="3759"/>
                    <a:pt x="32467" y="3760"/>
                    <a:pt x="32461" y="3764"/>
                  </a:cubicBezTo>
                  <a:cubicBezTo>
                    <a:pt x="32513" y="3785"/>
                    <a:pt x="32569" y="3799"/>
                    <a:pt x="32625" y="3799"/>
                  </a:cubicBezTo>
                  <a:cubicBezTo>
                    <a:pt x="32734" y="3813"/>
                    <a:pt x="32762" y="3848"/>
                    <a:pt x="32779" y="3914"/>
                  </a:cubicBezTo>
                  <a:cubicBezTo>
                    <a:pt x="32786" y="3953"/>
                    <a:pt x="32807" y="3988"/>
                    <a:pt x="32839" y="4009"/>
                  </a:cubicBezTo>
                  <a:cubicBezTo>
                    <a:pt x="32849" y="4019"/>
                    <a:pt x="32860" y="4030"/>
                    <a:pt x="32870" y="4044"/>
                  </a:cubicBezTo>
                  <a:cubicBezTo>
                    <a:pt x="32954" y="4142"/>
                    <a:pt x="32888" y="4222"/>
                    <a:pt x="32856" y="4257"/>
                  </a:cubicBezTo>
                  <a:cubicBezTo>
                    <a:pt x="32839" y="4282"/>
                    <a:pt x="32825" y="4296"/>
                    <a:pt x="32828" y="4306"/>
                  </a:cubicBezTo>
                  <a:cubicBezTo>
                    <a:pt x="32839" y="4366"/>
                    <a:pt x="32814" y="4422"/>
                    <a:pt x="32765" y="4454"/>
                  </a:cubicBezTo>
                  <a:cubicBezTo>
                    <a:pt x="32737" y="4475"/>
                    <a:pt x="32703" y="4486"/>
                    <a:pt x="32669" y="4486"/>
                  </a:cubicBezTo>
                  <a:cubicBezTo>
                    <a:pt x="32648" y="4486"/>
                    <a:pt x="32627" y="4482"/>
                    <a:pt x="32608" y="4475"/>
                  </a:cubicBezTo>
                  <a:cubicBezTo>
                    <a:pt x="32573" y="4454"/>
                    <a:pt x="32548" y="4419"/>
                    <a:pt x="32545" y="4380"/>
                  </a:cubicBezTo>
                  <a:cubicBezTo>
                    <a:pt x="32486" y="4355"/>
                    <a:pt x="32422" y="4343"/>
                    <a:pt x="32359" y="4343"/>
                  </a:cubicBezTo>
                  <a:cubicBezTo>
                    <a:pt x="32344" y="4343"/>
                    <a:pt x="32329" y="4344"/>
                    <a:pt x="32314" y="4345"/>
                  </a:cubicBezTo>
                  <a:cubicBezTo>
                    <a:pt x="32212" y="4345"/>
                    <a:pt x="32156" y="4370"/>
                    <a:pt x="32142" y="4384"/>
                  </a:cubicBezTo>
                  <a:lnTo>
                    <a:pt x="32139" y="4391"/>
                  </a:lnTo>
                  <a:cubicBezTo>
                    <a:pt x="32076" y="4464"/>
                    <a:pt x="32016" y="4534"/>
                    <a:pt x="31932" y="4541"/>
                  </a:cubicBezTo>
                  <a:cubicBezTo>
                    <a:pt x="31880" y="4541"/>
                    <a:pt x="31827" y="4520"/>
                    <a:pt x="31789" y="4478"/>
                  </a:cubicBezTo>
                  <a:cubicBezTo>
                    <a:pt x="31774" y="4465"/>
                    <a:pt x="31744" y="4460"/>
                    <a:pt x="31703" y="4460"/>
                  </a:cubicBezTo>
                  <a:cubicBezTo>
                    <a:pt x="31638" y="4460"/>
                    <a:pt x="31546" y="4473"/>
                    <a:pt x="31452" y="4489"/>
                  </a:cubicBezTo>
                  <a:cubicBezTo>
                    <a:pt x="31312" y="4513"/>
                    <a:pt x="31169" y="4531"/>
                    <a:pt x="31029" y="4538"/>
                  </a:cubicBezTo>
                  <a:lnTo>
                    <a:pt x="31015" y="4538"/>
                  </a:lnTo>
                  <a:cubicBezTo>
                    <a:pt x="30626" y="4555"/>
                    <a:pt x="29825" y="4587"/>
                    <a:pt x="29632" y="4653"/>
                  </a:cubicBezTo>
                  <a:cubicBezTo>
                    <a:pt x="29527" y="4695"/>
                    <a:pt x="29443" y="4786"/>
                    <a:pt x="29415" y="4898"/>
                  </a:cubicBezTo>
                  <a:cubicBezTo>
                    <a:pt x="29397" y="4965"/>
                    <a:pt x="29418" y="5038"/>
                    <a:pt x="29467" y="5087"/>
                  </a:cubicBezTo>
                  <a:cubicBezTo>
                    <a:pt x="29629" y="5248"/>
                    <a:pt x="29565" y="5367"/>
                    <a:pt x="29527" y="5444"/>
                  </a:cubicBezTo>
                  <a:cubicBezTo>
                    <a:pt x="29509" y="5469"/>
                    <a:pt x="29499" y="5493"/>
                    <a:pt x="29495" y="5521"/>
                  </a:cubicBezTo>
                  <a:cubicBezTo>
                    <a:pt x="29516" y="5598"/>
                    <a:pt x="29937" y="5829"/>
                    <a:pt x="30182" y="5854"/>
                  </a:cubicBezTo>
                  <a:cubicBezTo>
                    <a:pt x="30357" y="5875"/>
                    <a:pt x="30504" y="5987"/>
                    <a:pt x="30574" y="6148"/>
                  </a:cubicBezTo>
                  <a:cubicBezTo>
                    <a:pt x="30630" y="6260"/>
                    <a:pt x="30616" y="6393"/>
                    <a:pt x="30542" y="6495"/>
                  </a:cubicBezTo>
                  <a:cubicBezTo>
                    <a:pt x="30490" y="6561"/>
                    <a:pt x="30414" y="6588"/>
                    <a:pt x="30326" y="6588"/>
                  </a:cubicBezTo>
                  <a:cubicBezTo>
                    <a:pt x="30078" y="6588"/>
                    <a:pt x="29729" y="6372"/>
                    <a:pt x="29520" y="6204"/>
                  </a:cubicBezTo>
                  <a:cubicBezTo>
                    <a:pt x="29254" y="5996"/>
                    <a:pt x="28639" y="5894"/>
                    <a:pt x="28370" y="5894"/>
                  </a:cubicBezTo>
                  <a:cubicBezTo>
                    <a:pt x="28348" y="5894"/>
                    <a:pt x="28329" y="5895"/>
                    <a:pt x="28312" y="5896"/>
                  </a:cubicBezTo>
                  <a:cubicBezTo>
                    <a:pt x="28303" y="5897"/>
                    <a:pt x="28293" y="5897"/>
                    <a:pt x="28285" y="5897"/>
                  </a:cubicBezTo>
                  <a:cubicBezTo>
                    <a:pt x="28153" y="5897"/>
                    <a:pt x="28111" y="5826"/>
                    <a:pt x="28081" y="5773"/>
                  </a:cubicBezTo>
                  <a:cubicBezTo>
                    <a:pt x="28048" y="5720"/>
                    <a:pt x="28034" y="5693"/>
                    <a:pt x="27932" y="5693"/>
                  </a:cubicBezTo>
                  <a:cubicBezTo>
                    <a:pt x="27926" y="5693"/>
                    <a:pt x="27920" y="5693"/>
                    <a:pt x="27913" y="5693"/>
                  </a:cubicBezTo>
                  <a:cubicBezTo>
                    <a:pt x="27784" y="5696"/>
                    <a:pt x="27661" y="5749"/>
                    <a:pt x="27570" y="5836"/>
                  </a:cubicBezTo>
                  <a:lnTo>
                    <a:pt x="27637" y="5836"/>
                  </a:lnTo>
                  <a:cubicBezTo>
                    <a:pt x="27650" y="5836"/>
                    <a:pt x="27663" y="5836"/>
                    <a:pt x="27676" y="5836"/>
                  </a:cubicBezTo>
                  <a:cubicBezTo>
                    <a:pt x="27795" y="5836"/>
                    <a:pt x="27863" y="5839"/>
                    <a:pt x="27885" y="5899"/>
                  </a:cubicBezTo>
                  <a:cubicBezTo>
                    <a:pt x="27899" y="5941"/>
                    <a:pt x="27885" y="5987"/>
                    <a:pt x="27850" y="6015"/>
                  </a:cubicBezTo>
                  <a:lnTo>
                    <a:pt x="27885" y="6022"/>
                  </a:lnTo>
                  <a:cubicBezTo>
                    <a:pt x="27966" y="6043"/>
                    <a:pt x="28039" y="6071"/>
                    <a:pt x="28113" y="6102"/>
                  </a:cubicBezTo>
                  <a:cubicBezTo>
                    <a:pt x="28183" y="6130"/>
                    <a:pt x="28221" y="6172"/>
                    <a:pt x="28225" y="6221"/>
                  </a:cubicBezTo>
                  <a:cubicBezTo>
                    <a:pt x="28225" y="6270"/>
                    <a:pt x="28193" y="6316"/>
                    <a:pt x="28148" y="6337"/>
                  </a:cubicBezTo>
                  <a:cubicBezTo>
                    <a:pt x="28096" y="6365"/>
                    <a:pt x="28010" y="6386"/>
                    <a:pt x="27915" y="6386"/>
                  </a:cubicBezTo>
                  <a:cubicBezTo>
                    <a:pt x="27810" y="6386"/>
                    <a:pt x="27693" y="6361"/>
                    <a:pt x="27598" y="6295"/>
                  </a:cubicBezTo>
                  <a:cubicBezTo>
                    <a:pt x="27539" y="6254"/>
                    <a:pt x="27472" y="6234"/>
                    <a:pt x="27403" y="6234"/>
                  </a:cubicBezTo>
                  <a:cubicBezTo>
                    <a:pt x="27377" y="6234"/>
                    <a:pt x="27351" y="6237"/>
                    <a:pt x="27325" y="6242"/>
                  </a:cubicBezTo>
                  <a:cubicBezTo>
                    <a:pt x="27234" y="6263"/>
                    <a:pt x="27153" y="6319"/>
                    <a:pt x="27101" y="6396"/>
                  </a:cubicBezTo>
                  <a:cubicBezTo>
                    <a:pt x="27101" y="6396"/>
                    <a:pt x="27097" y="6414"/>
                    <a:pt x="27115" y="6449"/>
                  </a:cubicBezTo>
                  <a:cubicBezTo>
                    <a:pt x="27181" y="6589"/>
                    <a:pt x="27458" y="6817"/>
                    <a:pt x="27780" y="6866"/>
                  </a:cubicBezTo>
                  <a:cubicBezTo>
                    <a:pt x="28057" y="6904"/>
                    <a:pt x="28127" y="6974"/>
                    <a:pt x="28186" y="7062"/>
                  </a:cubicBezTo>
                  <a:cubicBezTo>
                    <a:pt x="28211" y="7100"/>
                    <a:pt x="28246" y="7128"/>
                    <a:pt x="28288" y="7142"/>
                  </a:cubicBezTo>
                  <a:cubicBezTo>
                    <a:pt x="28393" y="7181"/>
                    <a:pt x="28438" y="7230"/>
                    <a:pt x="28431" y="7296"/>
                  </a:cubicBezTo>
                  <a:cubicBezTo>
                    <a:pt x="28417" y="7394"/>
                    <a:pt x="28270" y="7426"/>
                    <a:pt x="28190" y="7433"/>
                  </a:cubicBezTo>
                  <a:cubicBezTo>
                    <a:pt x="28188" y="7433"/>
                    <a:pt x="28185" y="7433"/>
                    <a:pt x="28183" y="7433"/>
                  </a:cubicBezTo>
                  <a:cubicBezTo>
                    <a:pt x="28069" y="7433"/>
                    <a:pt x="27924" y="7343"/>
                    <a:pt x="27749" y="7233"/>
                  </a:cubicBezTo>
                  <a:cubicBezTo>
                    <a:pt x="27672" y="7188"/>
                    <a:pt x="27595" y="7139"/>
                    <a:pt x="27524" y="7104"/>
                  </a:cubicBezTo>
                  <a:cubicBezTo>
                    <a:pt x="27472" y="7075"/>
                    <a:pt x="27384" y="7067"/>
                    <a:pt x="27286" y="7067"/>
                  </a:cubicBezTo>
                  <a:cubicBezTo>
                    <a:pt x="27216" y="7067"/>
                    <a:pt x="27140" y="7071"/>
                    <a:pt x="27069" y="7076"/>
                  </a:cubicBezTo>
                  <a:cubicBezTo>
                    <a:pt x="26997" y="7079"/>
                    <a:pt x="26928" y="7083"/>
                    <a:pt x="26866" y="7083"/>
                  </a:cubicBezTo>
                  <a:cubicBezTo>
                    <a:pt x="26736" y="7083"/>
                    <a:pt x="26632" y="7068"/>
                    <a:pt x="26576" y="7009"/>
                  </a:cubicBezTo>
                  <a:cubicBezTo>
                    <a:pt x="26488" y="6915"/>
                    <a:pt x="26523" y="6813"/>
                    <a:pt x="26544" y="6747"/>
                  </a:cubicBezTo>
                  <a:cubicBezTo>
                    <a:pt x="26569" y="6680"/>
                    <a:pt x="26565" y="6673"/>
                    <a:pt x="26548" y="6659"/>
                  </a:cubicBezTo>
                  <a:cubicBezTo>
                    <a:pt x="26383" y="6516"/>
                    <a:pt x="26537" y="6232"/>
                    <a:pt x="26667" y="6032"/>
                  </a:cubicBezTo>
                  <a:cubicBezTo>
                    <a:pt x="26719" y="5948"/>
                    <a:pt x="26723" y="5822"/>
                    <a:pt x="26677" y="5696"/>
                  </a:cubicBezTo>
                  <a:cubicBezTo>
                    <a:pt x="26632" y="5570"/>
                    <a:pt x="26548" y="5476"/>
                    <a:pt x="26467" y="5451"/>
                  </a:cubicBezTo>
                  <a:cubicBezTo>
                    <a:pt x="26454" y="5447"/>
                    <a:pt x="26433" y="5440"/>
                    <a:pt x="26414" y="5440"/>
                  </a:cubicBezTo>
                  <a:cubicBezTo>
                    <a:pt x="26403" y="5440"/>
                    <a:pt x="26392" y="5443"/>
                    <a:pt x="26387" y="5451"/>
                  </a:cubicBezTo>
                  <a:cubicBezTo>
                    <a:pt x="26373" y="5490"/>
                    <a:pt x="26373" y="5532"/>
                    <a:pt x="26394" y="5567"/>
                  </a:cubicBezTo>
                  <a:cubicBezTo>
                    <a:pt x="26464" y="5661"/>
                    <a:pt x="26432" y="6001"/>
                    <a:pt x="26254" y="6221"/>
                  </a:cubicBezTo>
                  <a:cubicBezTo>
                    <a:pt x="26159" y="6344"/>
                    <a:pt x="25981" y="6396"/>
                    <a:pt x="25823" y="6442"/>
                  </a:cubicBezTo>
                  <a:cubicBezTo>
                    <a:pt x="25746" y="6463"/>
                    <a:pt x="25634" y="6498"/>
                    <a:pt x="25613" y="6523"/>
                  </a:cubicBezTo>
                  <a:cubicBezTo>
                    <a:pt x="25613" y="6617"/>
                    <a:pt x="25526" y="6684"/>
                    <a:pt x="25456" y="6743"/>
                  </a:cubicBezTo>
                  <a:cubicBezTo>
                    <a:pt x="25427" y="6764"/>
                    <a:pt x="25399" y="6785"/>
                    <a:pt x="25378" y="6813"/>
                  </a:cubicBezTo>
                  <a:cubicBezTo>
                    <a:pt x="25501" y="6922"/>
                    <a:pt x="25946" y="7419"/>
                    <a:pt x="26016" y="7583"/>
                  </a:cubicBezTo>
                  <a:cubicBezTo>
                    <a:pt x="26054" y="7685"/>
                    <a:pt x="25977" y="7821"/>
                    <a:pt x="25876" y="8000"/>
                  </a:cubicBezTo>
                  <a:cubicBezTo>
                    <a:pt x="25778" y="8175"/>
                    <a:pt x="25659" y="8385"/>
                    <a:pt x="25694" y="8515"/>
                  </a:cubicBezTo>
                  <a:cubicBezTo>
                    <a:pt x="25725" y="8634"/>
                    <a:pt x="25725" y="8756"/>
                    <a:pt x="25701" y="8879"/>
                  </a:cubicBezTo>
                  <a:cubicBezTo>
                    <a:pt x="25687" y="8959"/>
                    <a:pt x="25680" y="9001"/>
                    <a:pt x="25708" y="9047"/>
                  </a:cubicBezTo>
                  <a:cubicBezTo>
                    <a:pt x="25728" y="9076"/>
                    <a:pt x="25754" y="9085"/>
                    <a:pt x="25795" y="9085"/>
                  </a:cubicBezTo>
                  <a:cubicBezTo>
                    <a:pt x="25819" y="9085"/>
                    <a:pt x="25847" y="9082"/>
                    <a:pt x="25883" y="9078"/>
                  </a:cubicBezTo>
                  <a:cubicBezTo>
                    <a:pt x="25908" y="9073"/>
                    <a:pt x="25933" y="9071"/>
                    <a:pt x="25958" y="9071"/>
                  </a:cubicBezTo>
                  <a:cubicBezTo>
                    <a:pt x="26006" y="9071"/>
                    <a:pt x="26054" y="9080"/>
                    <a:pt x="26100" y="9096"/>
                  </a:cubicBezTo>
                  <a:cubicBezTo>
                    <a:pt x="26112" y="9101"/>
                    <a:pt x="26126" y="9104"/>
                    <a:pt x="26143" y="9104"/>
                  </a:cubicBezTo>
                  <a:cubicBezTo>
                    <a:pt x="26201" y="9104"/>
                    <a:pt x="26284" y="9076"/>
                    <a:pt x="26373" y="9043"/>
                  </a:cubicBezTo>
                  <a:cubicBezTo>
                    <a:pt x="26481" y="9005"/>
                    <a:pt x="26590" y="8973"/>
                    <a:pt x="26698" y="8952"/>
                  </a:cubicBezTo>
                  <a:cubicBezTo>
                    <a:pt x="26726" y="8947"/>
                    <a:pt x="26756" y="8944"/>
                    <a:pt x="26787" y="8944"/>
                  </a:cubicBezTo>
                  <a:cubicBezTo>
                    <a:pt x="27065" y="8944"/>
                    <a:pt x="27446" y="9141"/>
                    <a:pt x="27686" y="9260"/>
                  </a:cubicBezTo>
                  <a:cubicBezTo>
                    <a:pt x="27728" y="9281"/>
                    <a:pt x="27763" y="9299"/>
                    <a:pt x="27791" y="9313"/>
                  </a:cubicBezTo>
                  <a:cubicBezTo>
                    <a:pt x="27945" y="9386"/>
                    <a:pt x="27959" y="9502"/>
                    <a:pt x="27973" y="9593"/>
                  </a:cubicBezTo>
                  <a:cubicBezTo>
                    <a:pt x="27976" y="9649"/>
                    <a:pt x="27990" y="9705"/>
                    <a:pt x="28022" y="9754"/>
                  </a:cubicBezTo>
                  <a:cubicBezTo>
                    <a:pt x="28109" y="9890"/>
                    <a:pt x="27990" y="9971"/>
                    <a:pt x="27920" y="10016"/>
                  </a:cubicBezTo>
                  <a:cubicBezTo>
                    <a:pt x="27836" y="10072"/>
                    <a:pt x="27784" y="10118"/>
                    <a:pt x="27780" y="10198"/>
                  </a:cubicBezTo>
                  <a:cubicBezTo>
                    <a:pt x="27777" y="10314"/>
                    <a:pt x="28036" y="10408"/>
                    <a:pt x="28190" y="10468"/>
                  </a:cubicBezTo>
                  <a:cubicBezTo>
                    <a:pt x="28323" y="10517"/>
                    <a:pt x="28389" y="10541"/>
                    <a:pt x="28407" y="10598"/>
                  </a:cubicBezTo>
                  <a:cubicBezTo>
                    <a:pt x="28417" y="10629"/>
                    <a:pt x="28410" y="10661"/>
                    <a:pt x="28386" y="10682"/>
                  </a:cubicBezTo>
                  <a:cubicBezTo>
                    <a:pt x="28357" y="10709"/>
                    <a:pt x="28296" y="10719"/>
                    <a:pt x="28220" y="10719"/>
                  </a:cubicBezTo>
                  <a:cubicBezTo>
                    <a:pt x="28043" y="10719"/>
                    <a:pt x="27788" y="10662"/>
                    <a:pt x="27707" y="10633"/>
                  </a:cubicBezTo>
                  <a:cubicBezTo>
                    <a:pt x="27563" y="10580"/>
                    <a:pt x="27507" y="10436"/>
                    <a:pt x="27468" y="10342"/>
                  </a:cubicBezTo>
                  <a:cubicBezTo>
                    <a:pt x="27461" y="10317"/>
                    <a:pt x="27451" y="10293"/>
                    <a:pt x="27437" y="10272"/>
                  </a:cubicBezTo>
                  <a:cubicBezTo>
                    <a:pt x="27367" y="10212"/>
                    <a:pt x="27416" y="10118"/>
                    <a:pt x="27468" y="10020"/>
                  </a:cubicBezTo>
                  <a:cubicBezTo>
                    <a:pt x="27507" y="9957"/>
                    <a:pt x="27535" y="9890"/>
                    <a:pt x="27553" y="9820"/>
                  </a:cubicBezTo>
                  <a:cubicBezTo>
                    <a:pt x="27560" y="9754"/>
                    <a:pt x="27482" y="9694"/>
                    <a:pt x="27412" y="9635"/>
                  </a:cubicBezTo>
                  <a:cubicBezTo>
                    <a:pt x="27367" y="9600"/>
                    <a:pt x="27325" y="9561"/>
                    <a:pt x="27290" y="9516"/>
                  </a:cubicBezTo>
                  <a:cubicBezTo>
                    <a:pt x="27222" y="9422"/>
                    <a:pt x="27128" y="9314"/>
                    <a:pt x="27034" y="9314"/>
                  </a:cubicBezTo>
                  <a:cubicBezTo>
                    <a:pt x="27026" y="9314"/>
                    <a:pt x="27018" y="9315"/>
                    <a:pt x="27010" y="9316"/>
                  </a:cubicBezTo>
                  <a:cubicBezTo>
                    <a:pt x="26975" y="9323"/>
                    <a:pt x="26922" y="9334"/>
                    <a:pt x="26859" y="9341"/>
                  </a:cubicBezTo>
                  <a:cubicBezTo>
                    <a:pt x="26667" y="9372"/>
                    <a:pt x="26310" y="9428"/>
                    <a:pt x="26198" y="9526"/>
                  </a:cubicBezTo>
                  <a:cubicBezTo>
                    <a:pt x="26075" y="9638"/>
                    <a:pt x="26247" y="10034"/>
                    <a:pt x="26324" y="10202"/>
                  </a:cubicBezTo>
                  <a:lnTo>
                    <a:pt x="26327" y="10212"/>
                  </a:lnTo>
                  <a:cubicBezTo>
                    <a:pt x="26397" y="10370"/>
                    <a:pt x="26222" y="10527"/>
                    <a:pt x="26068" y="10668"/>
                  </a:cubicBezTo>
                  <a:cubicBezTo>
                    <a:pt x="25995" y="10731"/>
                    <a:pt x="25876" y="10843"/>
                    <a:pt x="25879" y="10878"/>
                  </a:cubicBezTo>
                  <a:cubicBezTo>
                    <a:pt x="25900" y="11067"/>
                    <a:pt x="25732" y="11151"/>
                    <a:pt x="25519" y="11263"/>
                  </a:cubicBezTo>
                  <a:lnTo>
                    <a:pt x="25431" y="11305"/>
                  </a:lnTo>
                  <a:cubicBezTo>
                    <a:pt x="25396" y="11326"/>
                    <a:pt x="25357" y="11343"/>
                    <a:pt x="25322" y="11364"/>
                  </a:cubicBezTo>
                  <a:cubicBezTo>
                    <a:pt x="25126" y="11462"/>
                    <a:pt x="24962" y="11546"/>
                    <a:pt x="24965" y="11683"/>
                  </a:cubicBezTo>
                  <a:cubicBezTo>
                    <a:pt x="24972" y="11746"/>
                    <a:pt x="24941" y="11805"/>
                    <a:pt x="24888" y="11840"/>
                  </a:cubicBezTo>
                  <a:cubicBezTo>
                    <a:pt x="24855" y="11860"/>
                    <a:pt x="24814" y="11868"/>
                    <a:pt x="24770" y="11868"/>
                  </a:cubicBezTo>
                  <a:cubicBezTo>
                    <a:pt x="24600" y="11868"/>
                    <a:pt x="24385" y="11748"/>
                    <a:pt x="24374" y="11742"/>
                  </a:cubicBezTo>
                  <a:cubicBezTo>
                    <a:pt x="24344" y="11725"/>
                    <a:pt x="24311" y="11718"/>
                    <a:pt x="24275" y="11718"/>
                  </a:cubicBezTo>
                  <a:cubicBezTo>
                    <a:pt x="24217" y="11718"/>
                    <a:pt x="24151" y="11735"/>
                    <a:pt x="24080" y="11753"/>
                  </a:cubicBezTo>
                  <a:cubicBezTo>
                    <a:pt x="23978" y="11781"/>
                    <a:pt x="23877" y="11795"/>
                    <a:pt x="23772" y="11798"/>
                  </a:cubicBezTo>
                  <a:cubicBezTo>
                    <a:pt x="23674" y="11795"/>
                    <a:pt x="23579" y="11756"/>
                    <a:pt x="23506" y="11690"/>
                  </a:cubicBezTo>
                  <a:cubicBezTo>
                    <a:pt x="23469" y="11661"/>
                    <a:pt x="23447" y="11644"/>
                    <a:pt x="23414" y="11644"/>
                  </a:cubicBezTo>
                  <a:cubicBezTo>
                    <a:pt x="23399" y="11644"/>
                    <a:pt x="23383" y="11647"/>
                    <a:pt x="23362" y="11655"/>
                  </a:cubicBezTo>
                  <a:cubicBezTo>
                    <a:pt x="23326" y="11671"/>
                    <a:pt x="23289" y="11679"/>
                    <a:pt x="23252" y="11679"/>
                  </a:cubicBezTo>
                  <a:cubicBezTo>
                    <a:pt x="23184" y="11679"/>
                    <a:pt x="23117" y="11652"/>
                    <a:pt x="23064" y="11602"/>
                  </a:cubicBezTo>
                  <a:cubicBezTo>
                    <a:pt x="22994" y="11532"/>
                    <a:pt x="22973" y="11427"/>
                    <a:pt x="23008" y="11336"/>
                  </a:cubicBezTo>
                  <a:cubicBezTo>
                    <a:pt x="23034" y="11267"/>
                    <a:pt x="23099" y="11223"/>
                    <a:pt x="23171" y="11223"/>
                  </a:cubicBezTo>
                  <a:cubicBezTo>
                    <a:pt x="23179" y="11223"/>
                    <a:pt x="23186" y="11223"/>
                    <a:pt x="23194" y="11224"/>
                  </a:cubicBezTo>
                  <a:cubicBezTo>
                    <a:pt x="23292" y="11235"/>
                    <a:pt x="23411" y="11319"/>
                    <a:pt x="23429" y="11420"/>
                  </a:cubicBezTo>
                  <a:cubicBezTo>
                    <a:pt x="23425" y="11424"/>
                    <a:pt x="23425" y="11424"/>
                    <a:pt x="23429" y="11427"/>
                  </a:cubicBezTo>
                  <a:cubicBezTo>
                    <a:pt x="23439" y="11427"/>
                    <a:pt x="23488" y="11427"/>
                    <a:pt x="23646" y="11343"/>
                  </a:cubicBezTo>
                  <a:cubicBezTo>
                    <a:pt x="23686" y="11321"/>
                    <a:pt x="23719" y="11312"/>
                    <a:pt x="23747" y="11312"/>
                  </a:cubicBezTo>
                  <a:cubicBezTo>
                    <a:pt x="23802" y="11312"/>
                    <a:pt x="23835" y="11348"/>
                    <a:pt x="23863" y="11385"/>
                  </a:cubicBezTo>
                  <a:cubicBezTo>
                    <a:pt x="23887" y="11434"/>
                    <a:pt x="23940" y="11462"/>
                    <a:pt x="23996" y="11462"/>
                  </a:cubicBezTo>
                  <a:cubicBezTo>
                    <a:pt x="24011" y="11463"/>
                    <a:pt x="24024" y="11464"/>
                    <a:pt x="24035" y="11464"/>
                  </a:cubicBezTo>
                  <a:cubicBezTo>
                    <a:pt x="24086" y="11464"/>
                    <a:pt x="24093" y="11451"/>
                    <a:pt x="24104" y="11434"/>
                  </a:cubicBezTo>
                  <a:cubicBezTo>
                    <a:pt x="24126" y="11396"/>
                    <a:pt x="24160" y="11356"/>
                    <a:pt x="24251" y="11356"/>
                  </a:cubicBezTo>
                  <a:cubicBezTo>
                    <a:pt x="24261" y="11356"/>
                    <a:pt x="24271" y="11356"/>
                    <a:pt x="24283" y="11357"/>
                  </a:cubicBezTo>
                  <a:cubicBezTo>
                    <a:pt x="24295" y="11359"/>
                    <a:pt x="24309" y="11360"/>
                    <a:pt x="24323" y="11360"/>
                  </a:cubicBezTo>
                  <a:cubicBezTo>
                    <a:pt x="24338" y="11360"/>
                    <a:pt x="24353" y="11359"/>
                    <a:pt x="24367" y="11357"/>
                  </a:cubicBezTo>
                  <a:cubicBezTo>
                    <a:pt x="24360" y="11347"/>
                    <a:pt x="24356" y="11336"/>
                    <a:pt x="24349" y="11329"/>
                  </a:cubicBezTo>
                  <a:cubicBezTo>
                    <a:pt x="24328" y="11298"/>
                    <a:pt x="24321" y="11259"/>
                    <a:pt x="24335" y="11224"/>
                  </a:cubicBezTo>
                  <a:cubicBezTo>
                    <a:pt x="24360" y="11140"/>
                    <a:pt x="24475" y="11091"/>
                    <a:pt x="24584" y="11046"/>
                  </a:cubicBezTo>
                  <a:lnTo>
                    <a:pt x="24622" y="11032"/>
                  </a:lnTo>
                  <a:cubicBezTo>
                    <a:pt x="24654" y="11018"/>
                    <a:pt x="24664" y="10986"/>
                    <a:pt x="24678" y="10923"/>
                  </a:cubicBezTo>
                  <a:cubicBezTo>
                    <a:pt x="24692" y="10857"/>
                    <a:pt x="24710" y="10783"/>
                    <a:pt x="24787" y="10741"/>
                  </a:cubicBezTo>
                  <a:cubicBezTo>
                    <a:pt x="24808" y="10731"/>
                    <a:pt x="24811" y="10717"/>
                    <a:pt x="24822" y="10682"/>
                  </a:cubicBezTo>
                  <a:cubicBezTo>
                    <a:pt x="24829" y="10612"/>
                    <a:pt x="24885" y="10559"/>
                    <a:pt x="24958" y="10555"/>
                  </a:cubicBezTo>
                  <a:cubicBezTo>
                    <a:pt x="24986" y="10555"/>
                    <a:pt x="25018" y="10520"/>
                    <a:pt x="25049" y="10485"/>
                  </a:cubicBezTo>
                  <a:cubicBezTo>
                    <a:pt x="25095" y="10436"/>
                    <a:pt x="25147" y="10377"/>
                    <a:pt x="25228" y="10377"/>
                  </a:cubicBezTo>
                  <a:cubicBezTo>
                    <a:pt x="25252" y="10377"/>
                    <a:pt x="25270" y="10349"/>
                    <a:pt x="25273" y="10342"/>
                  </a:cubicBezTo>
                  <a:cubicBezTo>
                    <a:pt x="25291" y="10303"/>
                    <a:pt x="25291" y="10261"/>
                    <a:pt x="25273" y="10223"/>
                  </a:cubicBezTo>
                  <a:cubicBezTo>
                    <a:pt x="25221" y="10153"/>
                    <a:pt x="25242" y="10048"/>
                    <a:pt x="25259" y="9992"/>
                  </a:cubicBezTo>
                  <a:cubicBezTo>
                    <a:pt x="25291" y="9904"/>
                    <a:pt x="25357" y="9789"/>
                    <a:pt x="25452" y="9757"/>
                  </a:cubicBezTo>
                  <a:cubicBezTo>
                    <a:pt x="25473" y="9754"/>
                    <a:pt x="25487" y="9743"/>
                    <a:pt x="25491" y="9733"/>
                  </a:cubicBezTo>
                  <a:cubicBezTo>
                    <a:pt x="25491" y="9722"/>
                    <a:pt x="25480" y="9694"/>
                    <a:pt x="25448" y="9673"/>
                  </a:cubicBezTo>
                  <a:lnTo>
                    <a:pt x="25417" y="9649"/>
                  </a:lnTo>
                  <a:cubicBezTo>
                    <a:pt x="25182" y="9477"/>
                    <a:pt x="24969" y="9299"/>
                    <a:pt x="24993" y="9141"/>
                  </a:cubicBezTo>
                  <a:cubicBezTo>
                    <a:pt x="25000" y="9061"/>
                    <a:pt x="24993" y="8977"/>
                    <a:pt x="24979" y="8896"/>
                  </a:cubicBezTo>
                  <a:cubicBezTo>
                    <a:pt x="24965" y="8770"/>
                    <a:pt x="24948" y="8651"/>
                    <a:pt x="24979" y="8567"/>
                  </a:cubicBezTo>
                  <a:cubicBezTo>
                    <a:pt x="25014" y="8479"/>
                    <a:pt x="24990" y="8276"/>
                    <a:pt x="24976" y="8143"/>
                  </a:cubicBezTo>
                  <a:cubicBezTo>
                    <a:pt x="24972" y="8122"/>
                    <a:pt x="24969" y="8101"/>
                    <a:pt x="24969" y="8084"/>
                  </a:cubicBezTo>
                  <a:cubicBezTo>
                    <a:pt x="24958" y="7986"/>
                    <a:pt x="24990" y="7891"/>
                    <a:pt x="25025" y="7779"/>
                  </a:cubicBezTo>
                  <a:cubicBezTo>
                    <a:pt x="25060" y="7685"/>
                    <a:pt x="25088" y="7587"/>
                    <a:pt x="25105" y="7489"/>
                  </a:cubicBezTo>
                  <a:cubicBezTo>
                    <a:pt x="25147" y="7272"/>
                    <a:pt x="24857" y="7009"/>
                    <a:pt x="24699" y="6939"/>
                  </a:cubicBezTo>
                  <a:cubicBezTo>
                    <a:pt x="24640" y="6918"/>
                    <a:pt x="24594" y="6866"/>
                    <a:pt x="24584" y="6803"/>
                  </a:cubicBezTo>
                  <a:cubicBezTo>
                    <a:pt x="24570" y="6705"/>
                    <a:pt x="24650" y="6589"/>
                    <a:pt x="24860" y="6418"/>
                  </a:cubicBezTo>
                  <a:cubicBezTo>
                    <a:pt x="25060" y="6253"/>
                    <a:pt x="25091" y="5693"/>
                    <a:pt x="25074" y="5546"/>
                  </a:cubicBezTo>
                  <a:cubicBezTo>
                    <a:pt x="25051" y="5483"/>
                    <a:pt x="24699" y="5373"/>
                    <a:pt x="24498" y="5373"/>
                  </a:cubicBezTo>
                  <a:cubicBezTo>
                    <a:pt x="24486" y="5373"/>
                    <a:pt x="24475" y="5373"/>
                    <a:pt x="24465" y="5374"/>
                  </a:cubicBezTo>
                  <a:cubicBezTo>
                    <a:pt x="24427" y="5378"/>
                    <a:pt x="24370" y="5379"/>
                    <a:pt x="24301" y="5379"/>
                  </a:cubicBezTo>
                  <a:cubicBezTo>
                    <a:pt x="24020" y="5379"/>
                    <a:pt x="23545" y="5353"/>
                    <a:pt x="23404" y="5325"/>
                  </a:cubicBezTo>
                  <a:cubicBezTo>
                    <a:pt x="23395" y="5323"/>
                    <a:pt x="23387" y="5323"/>
                    <a:pt x="23379" y="5323"/>
                  </a:cubicBezTo>
                  <a:cubicBezTo>
                    <a:pt x="23307" y="5323"/>
                    <a:pt x="23264" y="5394"/>
                    <a:pt x="23197" y="5535"/>
                  </a:cubicBezTo>
                  <a:cubicBezTo>
                    <a:pt x="23187" y="5556"/>
                    <a:pt x="23180" y="5577"/>
                    <a:pt x="23166" y="5598"/>
                  </a:cubicBezTo>
                  <a:cubicBezTo>
                    <a:pt x="23145" y="5640"/>
                    <a:pt x="23120" y="5686"/>
                    <a:pt x="23089" y="5742"/>
                  </a:cubicBezTo>
                  <a:cubicBezTo>
                    <a:pt x="22970" y="5938"/>
                    <a:pt x="22875" y="6144"/>
                    <a:pt x="22809" y="6365"/>
                  </a:cubicBezTo>
                  <a:cubicBezTo>
                    <a:pt x="22707" y="6712"/>
                    <a:pt x="22343" y="6848"/>
                    <a:pt x="22126" y="6932"/>
                  </a:cubicBezTo>
                  <a:cubicBezTo>
                    <a:pt x="22095" y="6943"/>
                    <a:pt x="22067" y="6957"/>
                    <a:pt x="22042" y="6967"/>
                  </a:cubicBezTo>
                  <a:cubicBezTo>
                    <a:pt x="21944" y="7013"/>
                    <a:pt x="21871" y="7100"/>
                    <a:pt x="21839" y="7205"/>
                  </a:cubicBezTo>
                  <a:cubicBezTo>
                    <a:pt x="21822" y="7251"/>
                    <a:pt x="21822" y="7300"/>
                    <a:pt x="21846" y="7345"/>
                  </a:cubicBezTo>
                  <a:cubicBezTo>
                    <a:pt x="21866" y="7375"/>
                    <a:pt x="21888" y="7384"/>
                    <a:pt x="21922" y="7384"/>
                  </a:cubicBezTo>
                  <a:cubicBezTo>
                    <a:pt x="21937" y="7384"/>
                    <a:pt x="21953" y="7382"/>
                    <a:pt x="21972" y="7380"/>
                  </a:cubicBezTo>
                  <a:cubicBezTo>
                    <a:pt x="21990" y="7377"/>
                    <a:pt x="22009" y="7375"/>
                    <a:pt x="22027" y="7375"/>
                  </a:cubicBezTo>
                  <a:cubicBezTo>
                    <a:pt x="22063" y="7375"/>
                    <a:pt x="22098" y="7382"/>
                    <a:pt x="22130" y="7398"/>
                  </a:cubicBezTo>
                  <a:cubicBezTo>
                    <a:pt x="22172" y="7422"/>
                    <a:pt x="22200" y="7471"/>
                    <a:pt x="22200" y="7520"/>
                  </a:cubicBezTo>
                  <a:cubicBezTo>
                    <a:pt x="22210" y="7639"/>
                    <a:pt x="22151" y="7856"/>
                    <a:pt x="22088" y="7930"/>
                  </a:cubicBezTo>
                  <a:cubicBezTo>
                    <a:pt x="22091" y="7937"/>
                    <a:pt x="22095" y="7947"/>
                    <a:pt x="22098" y="7954"/>
                  </a:cubicBezTo>
                  <a:cubicBezTo>
                    <a:pt x="22119" y="8007"/>
                    <a:pt x="22165" y="8122"/>
                    <a:pt x="22035" y="8206"/>
                  </a:cubicBezTo>
                  <a:cubicBezTo>
                    <a:pt x="21948" y="8262"/>
                    <a:pt x="21867" y="8364"/>
                    <a:pt x="21857" y="8434"/>
                  </a:cubicBezTo>
                  <a:cubicBezTo>
                    <a:pt x="21853" y="8448"/>
                    <a:pt x="21857" y="8465"/>
                    <a:pt x="21867" y="8479"/>
                  </a:cubicBezTo>
                  <a:cubicBezTo>
                    <a:pt x="21899" y="8515"/>
                    <a:pt x="22049" y="8560"/>
                    <a:pt x="22161" y="8588"/>
                  </a:cubicBezTo>
                  <a:cubicBezTo>
                    <a:pt x="22277" y="8616"/>
                    <a:pt x="22389" y="8655"/>
                    <a:pt x="22494" y="8707"/>
                  </a:cubicBezTo>
                  <a:cubicBezTo>
                    <a:pt x="22616" y="8774"/>
                    <a:pt x="22641" y="8882"/>
                    <a:pt x="22665" y="8973"/>
                  </a:cubicBezTo>
                  <a:cubicBezTo>
                    <a:pt x="22679" y="9043"/>
                    <a:pt x="22707" y="9110"/>
                    <a:pt x="22749" y="9169"/>
                  </a:cubicBezTo>
                  <a:cubicBezTo>
                    <a:pt x="22788" y="9222"/>
                    <a:pt x="22851" y="9253"/>
                    <a:pt x="22914" y="9257"/>
                  </a:cubicBezTo>
                  <a:cubicBezTo>
                    <a:pt x="22917" y="9257"/>
                    <a:pt x="22920" y="9256"/>
                    <a:pt x="22923" y="9256"/>
                  </a:cubicBezTo>
                  <a:cubicBezTo>
                    <a:pt x="22990" y="9256"/>
                    <a:pt x="23049" y="9291"/>
                    <a:pt x="23085" y="9344"/>
                  </a:cubicBezTo>
                  <a:cubicBezTo>
                    <a:pt x="23117" y="9393"/>
                    <a:pt x="23106" y="9470"/>
                    <a:pt x="23061" y="9572"/>
                  </a:cubicBezTo>
                  <a:cubicBezTo>
                    <a:pt x="22998" y="9705"/>
                    <a:pt x="22819" y="9967"/>
                    <a:pt x="22697" y="9985"/>
                  </a:cubicBezTo>
                  <a:cubicBezTo>
                    <a:pt x="22693" y="9985"/>
                    <a:pt x="22688" y="9986"/>
                    <a:pt x="22684" y="9986"/>
                  </a:cubicBezTo>
                  <a:cubicBezTo>
                    <a:pt x="22597" y="9986"/>
                    <a:pt x="22468" y="9883"/>
                    <a:pt x="22165" y="9603"/>
                  </a:cubicBezTo>
                  <a:cubicBezTo>
                    <a:pt x="22091" y="9537"/>
                    <a:pt x="22025" y="9474"/>
                    <a:pt x="21986" y="9446"/>
                  </a:cubicBezTo>
                  <a:cubicBezTo>
                    <a:pt x="21923" y="9397"/>
                    <a:pt x="21738" y="9327"/>
                    <a:pt x="21559" y="9257"/>
                  </a:cubicBezTo>
                  <a:cubicBezTo>
                    <a:pt x="21398" y="9197"/>
                    <a:pt x="21230" y="9131"/>
                    <a:pt x="21114" y="9071"/>
                  </a:cubicBezTo>
                  <a:cubicBezTo>
                    <a:pt x="21023" y="9026"/>
                    <a:pt x="20925" y="8991"/>
                    <a:pt x="20827" y="8963"/>
                  </a:cubicBezTo>
                  <a:cubicBezTo>
                    <a:pt x="20666" y="8924"/>
                    <a:pt x="20516" y="8858"/>
                    <a:pt x="20379" y="8767"/>
                  </a:cubicBezTo>
                  <a:cubicBezTo>
                    <a:pt x="20126" y="8598"/>
                    <a:pt x="19913" y="8511"/>
                    <a:pt x="19459" y="8511"/>
                  </a:cubicBezTo>
                  <a:cubicBezTo>
                    <a:pt x="19442" y="8511"/>
                    <a:pt x="19424" y="8511"/>
                    <a:pt x="19406" y="8511"/>
                  </a:cubicBezTo>
                  <a:cubicBezTo>
                    <a:pt x="19171" y="8511"/>
                    <a:pt x="18937" y="8490"/>
                    <a:pt x="18706" y="8448"/>
                  </a:cubicBezTo>
                  <a:cubicBezTo>
                    <a:pt x="18623" y="8430"/>
                    <a:pt x="18538" y="8419"/>
                    <a:pt x="18453" y="8419"/>
                  </a:cubicBezTo>
                  <a:cubicBezTo>
                    <a:pt x="18440" y="8419"/>
                    <a:pt x="18428" y="8420"/>
                    <a:pt x="18415" y="8420"/>
                  </a:cubicBezTo>
                  <a:cubicBezTo>
                    <a:pt x="18402" y="8422"/>
                    <a:pt x="18390" y="8423"/>
                    <a:pt x="18379" y="8423"/>
                  </a:cubicBezTo>
                  <a:cubicBezTo>
                    <a:pt x="18283" y="8423"/>
                    <a:pt x="18243" y="8361"/>
                    <a:pt x="18205" y="8304"/>
                  </a:cubicBezTo>
                  <a:cubicBezTo>
                    <a:pt x="18149" y="8220"/>
                    <a:pt x="18072" y="8154"/>
                    <a:pt x="17978" y="8115"/>
                  </a:cubicBezTo>
                  <a:cubicBezTo>
                    <a:pt x="17887" y="8077"/>
                    <a:pt x="17806" y="8035"/>
                    <a:pt x="17736" y="7996"/>
                  </a:cubicBezTo>
                  <a:cubicBezTo>
                    <a:pt x="17605" y="7925"/>
                    <a:pt x="17513" y="7878"/>
                    <a:pt x="17440" y="7878"/>
                  </a:cubicBezTo>
                  <a:cubicBezTo>
                    <a:pt x="17415" y="7878"/>
                    <a:pt x="17393" y="7883"/>
                    <a:pt x="17372" y="7895"/>
                  </a:cubicBezTo>
                  <a:cubicBezTo>
                    <a:pt x="17323" y="7926"/>
                    <a:pt x="17299" y="7986"/>
                    <a:pt x="17313" y="8038"/>
                  </a:cubicBezTo>
                  <a:cubicBezTo>
                    <a:pt x="17330" y="8136"/>
                    <a:pt x="17407" y="8210"/>
                    <a:pt x="17505" y="8224"/>
                  </a:cubicBezTo>
                  <a:cubicBezTo>
                    <a:pt x="17649" y="8248"/>
                    <a:pt x="17698" y="8301"/>
                    <a:pt x="17733" y="8339"/>
                  </a:cubicBezTo>
                  <a:cubicBezTo>
                    <a:pt x="17762" y="8372"/>
                    <a:pt x="17774" y="8387"/>
                    <a:pt x="17845" y="8387"/>
                  </a:cubicBezTo>
                  <a:cubicBezTo>
                    <a:pt x="17859" y="8387"/>
                    <a:pt x="17875" y="8386"/>
                    <a:pt x="17894" y="8385"/>
                  </a:cubicBezTo>
                  <a:cubicBezTo>
                    <a:pt x="17916" y="8384"/>
                    <a:pt x="17936" y="8383"/>
                    <a:pt x="17957" y="8383"/>
                  </a:cubicBezTo>
                  <a:cubicBezTo>
                    <a:pt x="18085" y="8383"/>
                    <a:pt x="18179" y="8412"/>
                    <a:pt x="18237" y="8472"/>
                  </a:cubicBezTo>
                  <a:cubicBezTo>
                    <a:pt x="18296" y="8536"/>
                    <a:pt x="18321" y="8620"/>
                    <a:pt x="18310" y="8704"/>
                  </a:cubicBezTo>
                  <a:cubicBezTo>
                    <a:pt x="18303" y="8861"/>
                    <a:pt x="18450" y="9022"/>
                    <a:pt x="18541" y="9106"/>
                  </a:cubicBezTo>
                  <a:cubicBezTo>
                    <a:pt x="18615" y="9169"/>
                    <a:pt x="18639" y="9271"/>
                    <a:pt x="18604" y="9358"/>
                  </a:cubicBezTo>
                  <a:cubicBezTo>
                    <a:pt x="18566" y="9456"/>
                    <a:pt x="18457" y="9519"/>
                    <a:pt x="18328" y="9519"/>
                  </a:cubicBezTo>
                  <a:cubicBezTo>
                    <a:pt x="18034" y="9519"/>
                    <a:pt x="17999" y="9575"/>
                    <a:pt x="17999" y="9575"/>
                  </a:cubicBezTo>
                  <a:cubicBezTo>
                    <a:pt x="17999" y="9579"/>
                    <a:pt x="17999" y="9586"/>
                    <a:pt x="18009" y="9603"/>
                  </a:cubicBezTo>
                  <a:cubicBezTo>
                    <a:pt x="18076" y="9708"/>
                    <a:pt x="18044" y="9771"/>
                    <a:pt x="18023" y="9799"/>
                  </a:cubicBezTo>
                  <a:cubicBezTo>
                    <a:pt x="17991" y="9839"/>
                    <a:pt x="17936" y="9859"/>
                    <a:pt x="17865" y="9859"/>
                  </a:cubicBezTo>
                  <a:cubicBezTo>
                    <a:pt x="17803" y="9859"/>
                    <a:pt x="17730" y="9844"/>
                    <a:pt x="17649" y="9813"/>
                  </a:cubicBezTo>
                  <a:cubicBezTo>
                    <a:pt x="17558" y="9782"/>
                    <a:pt x="17505" y="9729"/>
                    <a:pt x="17491" y="9663"/>
                  </a:cubicBezTo>
                  <a:cubicBezTo>
                    <a:pt x="17467" y="9561"/>
                    <a:pt x="17544" y="9463"/>
                    <a:pt x="17617" y="9390"/>
                  </a:cubicBezTo>
                  <a:cubicBezTo>
                    <a:pt x="17596" y="9365"/>
                    <a:pt x="17519" y="9313"/>
                    <a:pt x="17320" y="9239"/>
                  </a:cubicBezTo>
                  <a:cubicBezTo>
                    <a:pt x="17316" y="9238"/>
                    <a:pt x="17313" y="9238"/>
                    <a:pt x="17309" y="9238"/>
                  </a:cubicBezTo>
                  <a:cubicBezTo>
                    <a:pt x="17220" y="9238"/>
                    <a:pt x="16928" y="9422"/>
                    <a:pt x="16780" y="9512"/>
                  </a:cubicBezTo>
                  <a:cubicBezTo>
                    <a:pt x="16700" y="9565"/>
                    <a:pt x="16612" y="9614"/>
                    <a:pt x="16525" y="9659"/>
                  </a:cubicBezTo>
                  <a:cubicBezTo>
                    <a:pt x="16488" y="9675"/>
                    <a:pt x="16445" y="9681"/>
                    <a:pt x="16397" y="9681"/>
                  </a:cubicBezTo>
                  <a:cubicBezTo>
                    <a:pt x="16335" y="9681"/>
                    <a:pt x="16264" y="9671"/>
                    <a:pt x="16182" y="9659"/>
                  </a:cubicBezTo>
                  <a:cubicBezTo>
                    <a:pt x="16085" y="9647"/>
                    <a:pt x="15974" y="9633"/>
                    <a:pt x="15857" y="9633"/>
                  </a:cubicBezTo>
                  <a:cubicBezTo>
                    <a:pt x="15772" y="9633"/>
                    <a:pt x="15683" y="9641"/>
                    <a:pt x="15594" y="9663"/>
                  </a:cubicBezTo>
                  <a:cubicBezTo>
                    <a:pt x="15454" y="9694"/>
                    <a:pt x="15331" y="9782"/>
                    <a:pt x="15258" y="9908"/>
                  </a:cubicBezTo>
                  <a:cubicBezTo>
                    <a:pt x="15218" y="9969"/>
                    <a:pt x="15173" y="10038"/>
                    <a:pt x="15092" y="10038"/>
                  </a:cubicBezTo>
                  <a:cubicBezTo>
                    <a:pt x="15080" y="10038"/>
                    <a:pt x="15068" y="10037"/>
                    <a:pt x="15054" y="10034"/>
                  </a:cubicBezTo>
                  <a:cubicBezTo>
                    <a:pt x="15005" y="10030"/>
                    <a:pt x="14956" y="10027"/>
                    <a:pt x="14908" y="10027"/>
                  </a:cubicBezTo>
                  <a:cubicBezTo>
                    <a:pt x="14877" y="10027"/>
                    <a:pt x="14847" y="10028"/>
                    <a:pt x="14816" y="10030"/>
                  </a:cubicBezTo>
                  <a:cubicBezTo>
                    <a:pt x="14769" y="10031"/>
                    <a:pt x="14719" y="10032"/>
                    <a:pt x="14670" y="10032"/>
                  </a:cubicBezTo>
                  <a:cubicBezTo>
                    <a:pt x="14528" y="10032"/>
                    <a:pt x="14387" y="10023"/>
                    <a:pt x="14298" y="9971"/>
                  </a:cubicBezTo>
                  <a:cubicBezTo>
                    <a:pt x="14214" y="9918"/>
                    <a:pt x="14179" y="9862"/>
                    <a:pt x="14197" y="9806"/>
                  </a:cubicBezTo>
                  <a:cubicBezTo>
                    <a:pt x="14224" y="9715"/>
                    <a:pt x="14357" y="9700"/>
                    <a:pt x="14440" y="9700"/>
                  </a:cubicBezTo>
                  <a:cubicBezTo>
                    <a:pt x="14452" y="9700"/>
                    <a:pt x="14464" y="9701"/>
                    <a:pt x="14473" y="9701"/>
                  </a:cubicBezTo>
                  <a:cubicBezTo>
                    <a:pt x="14486" y="9704"/>
                    <a:pt x="14498" y="9705"/>
                    <a:pt x="14511" y="9705"/>
                  </a:cubicBezTo>
                  <a:cubicBezTo>
                    <a:pt x="14533" y="9705"/>
                    <a:pt x="14556" y="9701"/>
                    <a:pt x="14578" y="9694"/>
                  </a:cubicBezTo>
                  <a:cubicBezTo>
                    <a:pt x="14571" y="9677"/>
                    <a:pt x="14561" y="9663"/>
                    <a:pt x="14550" y="9649"/>
                  </a:cubicBezTo>
                  <a:cubicBezTo>
                    <a:pt x="14456" y="9540"/>
                    <a:pt x="14547" y="9407"/>
                    <a:pt x="14606" y="9323"/>
                  </a:cubicBezTo>
                  <a:cubicBezTo>
                    <a:pt x="14613" y="9309"/>
                    <a:pt x="14620" y="9299"/>
                    <a:pt x="14631" y="9285"/>
                  </a:cubicBezTo>
                  <a:lnTo>
                    <a:pt x="14631" y="9285"/>
                  </a:lnTo>
                  <a:cubicBezTo>
                    <a:pt x="14473" y="9309"/>
                    <a:pt x="14095" y="9439"/>
                    <a:pt x="14018" y="9505"/>
                  </a:cubicBezTo>
                  <a:cubicBezTo>
                    <a:pt x="13990" y="9526"/>
                    <a:pt x="13990" y="9561"/>
                    <a:pt x="13990" y="9617"/>
                  </a:cubicBezTo>
                  <a:cubicBezTo>
                    <a:pt x="13994" y="9673"/>
                    <a:pt x="13994" y="9771"/>
                    <a:pt x="13899" y="9820"/>
                  </a:cubicBezTo>
                  <a:cubicBezTo>
                    <a:pt x="13871" y="9834"/>
                    <a:pt x="13847" y="9840"/>
                    <a:pt x="13825" y="9840"/>
                  </a:cubicBezTo>
                  <a:cubicBezTo>
                    <a:pt x="13759" y="9840"/>
                    <a:pt x="13719" y="9788"/>
                    <a:pt x="13693" y="9754"/>
                  </a:cubicBezTo>
                  <a:cubicBezTo>
                    <a:pt x="13672" y="9719"/>
                    <a:pt x="13640" y="9694"/>
                    <a:pt x="13605" y="9677"/>
                  </a:cubicBezTo>
                  <a:cubicBezTo>
                    <a:pt x="13597" y="9674"/>
                    <a:pt x="13584" y="9673"/>
                    <a:pt x="13568" y="9673"/>
                  </a:cubicBezTo>
                  <a:cubicBezTo>
                    <a:pt x="13364" y="9673"/>
                    <a:pt x="12568" y="9865"/>
                    <a:pt x="12422" y="10030"/>
                  </a:cubicBezTo>
                  <a:cubicBezTo>
                    <a:pt x="12317" y="10149"/>
                    <a:pt x="12170" y="10205"/>
                    <a:pt x="12051" y="10251"/>
                  </a:cubicBezTo>
                  <a:cubicBezTo>
                    <a:pt x="12002" y="10265"/>
                    <a:pt x="11956" y="10286"/>
                    <a:pt x="11914" y="10314"/>
                  </a:cubicBezTo>
                  <a:cubicBezTo>
                    <a:pt x="11911" y="10436"/>
                    <a:pt x="11743" y="10461"/>
                    <a:pt x="11550" y="10492"/>
                  </a:cubicBezTo>
                  <a:cubicBezTo>
                    <a:pt x="11456" y="10503"/>
                    <a:pt x="11365" y="10524"/>
                    <a:pt x="11277" y="10555"/>
                  </a:cubicBezTo>
                  <a:cubicBezTo>
                    <a:pt x="11211" y="10587"/>
                    <a:pt x="11214" y="10710"/>
                    <a:pt x="11214" y="10832"/>
                  </a:cubicBezTo>
                  <a:cubicBezTo>
                    <a:pt x="11225" y="10920"/>
                    <a:pt x="11214" y="11007"/>
                    <a:pt x="11190" y="11095"/>
                  </a:cubicBezTo>
                  <a:cubicBezTo>
                    <a:pt x="11135" y="11231"/>
                    <a:pt x="10878" y="11257"/>
                    <a:pt x="10533" y="11257"/>
                  </a:cubicBezTo>
                  <a:cubicBezTo>
                    <a:pt x="10479" y="11257"/>
                    <a:pt x="10424" y="11257"/>
                    <a:pt x="10367" y="11256"/>
                  </a:cubicBezTo>
                  <a:lnTo>
                    <a:pt x="10199" y="11256"/>
                  </a:lnTo>
                  <a:cubicBezTo>
                    <a:pt x="10195" y="11256"/>
                    <a:pt x="10192" y="11256"/>
                    <a:pt x="10188" y="11256"/>
                  </a:cubicBezTo>
                  <a:cubicBezTo>
                    <a:pt x="10051" y="11256"/>
                    <a:pt x="9966" y="11123"/>
                    <a:pt x="9894" y="11007"/>
                  </a:cubicBezTo>
                  <a:cubicBezTo>
                    <a:pt x="9849" y="10934"/>
                    <a:pt x="9796" y="10850"/>
                    <a:pt x="9754" y="10843"/>
                  </a:cubicBezTo>
                  <a:cubicBezTo>
                    <a:pt x="9702" y="10839"/>
                    <a:pt x="9653" y="10808"/>
                    <a:pt x="9628" y="10759"/>
                  </a:cubicBezTo>
                  <a:cubicBezTo>
                    <a:pt x="9586" y="10682"/>
                    <a:pt x="9607" y="10562"/>
                    <a:pt x="9688" y="10401"/>
                  </a:cubicBezTo>
                  <a:cubicBezTo>
                    <a:pt x="9726" y="10324"/>
                    <a:pt x="9800" y="10314"/>
                    <a:pt x="9863" y="10307"/>
                  </a:cubicBezTo>
                  <a:cubicBezTo>
                    <a:pt x="9943" y="10300"/>
                    <a:pt x="10024" y="10275"/>
                    <a:pt x="10090" y="10230"/>
                  </a:cubicBezTo>
                  <a:cubicBezTo>
                    <a:pt x="10156" y="10188"/>
                    <a:pt x="10223" y="10174"/>
                    <a:pt x="10284" y="10174"/>
                  </a:cubicBezTo>
                  <a:cubicBezTo>
                    <a:pt x="10350" y="10174"/>
                    <a:pt x="10411" y="10189"/>
                    <a:pt x="10461" y="10202"/>
                  </a:cubicBezTo>
                  <a:cubicBezTo>
                    <a:pt x="10489" y="10212"/>
                    <a:pt x="10521" y="10216"/>
                    <a:pt x="10549" y="10219"/>
                  </a:cubicBezTo>
                  <a:cubicBezTo>
                    <a:pt x="10514" y="10174"/>
                    <a:pt x="10479" y="10128"/>
                    <a:pt x="10437" y="10090"/>
                  </a:cubicBezTo>
                  <a:cubicBezTo>
                    <a:pt x="10339" y="9985"/>
                    <a:pt x="10227" y="9869"/>
                    <a:pt x="10213" y="9747"/>
                  </a:cubicBezTo>
                  <a:cubicBezTo>
                    <a:pt x="10206" y="9712"/>
                    <a:pt x="10185" y="9684"/>
                    <a:pt x="10153" y="9666"/>
                  </a:cubicBezTo>
                  <a:cubicBezTo>
                    <a:pt x="10070" y="9610"/>
                    <a:pt x="9930" y="9584"/>
                    <a:pt x="9798" y="9584"/>
                  </a:cubicBezTo>
                  <a:cubicBezTo>
                    <a:pt x="9726" y="9584"/>
                    <a:pt x="9656" y="9592"/>
                    <a:pt x="9600" y="9607"/>
                  </a:cubicBezTo>
                  <a:cubicBezTo>
                    <a:pt x="9516" y="9626"/>
                    <a:pt x="9430" y="9636"/>
                    <a:pt x="9344" y="9636"/>
                  </a:cubicBezTo>
                  <a:cubicBezTo>
                    <a:pt x="9182" y="9636"/>
                    <a:pt x="9022" y="9601"/>
                    <a:pt x="8876" y="9530"/>
                  </a:cubicBezTo>
                  <a:lnTo>
                    <a:pt x="8869" y="9526"/>
                  </a:lnTo>
                  <a:lnTo>
                    <a:pt x="8869" y="9526"/>
                  </a:lnTo>
                  <a:cubicBezTo>
                    <a:pt x="8904" y="9575"/>
                    <a:pt x="8956" y="9607"/>
                    <a:pt x="9016" y="9617"/>
                  </a:cubicBezTo>
                  <a:cubicBezTo>
                    <a:pt x="9243" y="9677"/>
                    <a:pt x="9229" y="9841"/>
                    <a:pt x="9222" y="9939"/>
                  </a:cubicBezTo>
                  <a:cubicBezTo>
                    <a:pt x="9215" y="9974"/>
                    <a:pt x="9215" y="10006"/>
                    <a:pt x="9222" y="10041"/>
                  </a:cubicBezTo>
                  <a:cubicBezTo>
                    <a:pt x="9275" y="10195"/>
                    <a:pt x="9152" y="10492"/>
                    <a:pt x="9002" y="10706"/>
                  </a:cubicBezTo>
                  <a:cubicBezTo>
                    <a:pt x="8984" y="10734"/>
                    <a:pt x="8967" y="10762"/>
                    <a:pt x="8953" y="10797"/>
                  </a:cubicBezTo>
                  <a:cubicBezTo>
                    <a:pt x="8979" y="10799"/>
                    <a:pt x="9005" y="10800"/>
                    <a:pt x="9032" y="10800"/>
                  </a:cubicBezTo>
                  <a:cubicBezTo>
                    <a:pt x="9058" y="10800"/>
                    <a:pt x="9086" y="10799"/>
                    <a:pt x="9114" y="10797"/>
                  </a:cubicBezTo>
                  <a:lnTo>
                    <a:pt x="9124" y="10797"/>
                  </a:lnTo>
                  <a:cubicBezTo>
                    <a:pt x="9131" y="10796"/>
                    <a:pt x="9138" y="10796"/>
                    <a:pt x="9146" y="10796"/>
                  </a:cubicBezTo>
                  <a:cubicBezTo>
                    <a:pt x="9201" y="10796"/>
                    <a:pt x="9255" y="10819"/>
                    <a:pt x="9296" y="10857"/>
                  </a:cubicBezTo>
                  <a:cubicBezTo>
                    <a:pt x="9397" y="10955"/>
                    <a:pt x="9397" y="11144"/>
                    <a:pt x="9397" y="11308"/>
                  </a:cubicBezTo>
                  <a:lnTo>
                    <a:pt x="9397" y="11347"/>
                  </a:lnTo>
                  <a:cubicBezTo>
                    <a:pt x="9394" y="11452"/>
                    <a:pt x="9355" y="11553"/>
                    <a:pt x="9289" y="11630"/>
                  </a:cubicBezTo>
                  <a:cubicBezTo>
                    <a:pt x="9254" y="11669"/>
                    <a:pt x="9233" y="11718"/>
                    <a:pt x="9226" y="11767"/>
                  </a:cubicBezTo>
                  <a:cubicBezTo>
                    <a:pt x="9233" y="11809"/>
                    <a:pt x="9212" y="11851"/>
                    <a:pt x="9177" y="11875"/>
                  </a:cubicBezTo>
                  <a:cubicBezTo>
                    <a:pt x="9161" y="11884"/>
                    <a:pt x="9145" y="11888"/>
                    <a:pt x="9130" y="11888"/>
                  </a:cubicBezTo>
                  <a:cubicBezTo>
                    <a:pt x="9089" y="11888"/>
                    <a:pt x="9050" y="11864"/>
                    <a:pt x="9012" y="11844"/>
                  </a:cubicBezTo>
                  <a:cubicBezTo>
                    <a:pt x="8998" y="11833"/>
                    <a:pt x="8981" y="11823"/>
                    <a:pt x="8963" y="11816"/>
                  </a:cubicBezTo>
                  <a:cubicBezTo>
                    <a:pt x="8941" y="11835"/>
                    <a:pt x="8912" y="11846"/>
                    <a:pt x="8883" y="11846"/>
                  </a:cubicBezTo>
                  <a:cubicBezTo>
                    <a:pt x="8876" y="11846"/>
                    <a:pt x="8869" y="11845"/>
                    <a:pt x="8862" y="11844"/>
                  </a:cubicBezTo>
                  <a:cubicBezTo>
                    <a:pt x="8760" y="11819"/>
                    <a:pt x="8711" y="11662"/>
                    <a:pt x="8700" y="11613"/>
                  </a:cubicBezTo>
                  <a:cubicBezTo>
                    <a:pt x="8693" y="11581"/>
                    <a:pt x="8536" y="11581"/>
                    <a:pt x="8459" y="11578"/>
                  </a:cubicBezTo>
                  <a:cubicBezTo>
                    <a:pt x="8444" y="11578"/>
                    <a:pt x="8430" y="11579"/>
                    <a:pt x="8415" y="11579"/>
                  </a:cubicBezTo>
                  <a:cubicBezTo>
                    <a:pt x="8342" y="11579"/>
                    <a:pt x="8269" y="11571"/>
                    <a:pt x="8196" y="11557"/>
                  </a:cubicBezTo>
                  <a:cubicBezTo>
                    <a:pt x="8164" y="11548"/>
                    <a:pt x="8137" y="11544"/>
                    <a:pt x="8113" y="11544"/>
                  </a:cubicBezTo>
                  <a:cubicBezTo>
                    <a:pt x="8030" y="11544"/>
                    <a:pt x="7986" y="11596"/>
                    <a:pt x="7923" y="11697"/>
                  </a:cubicBezTo>
                  <a:cubicBezTo>
                    <a:pt x="7808" y="11875"/>
                    <a:pt x="7486" y="11928"/>
                    <a:pt x="7388" y="11938"/>
                  </a:cubicBezTo>
                  <a:cubicBezTo>
                    <a:pt x="7311" y="11945"/>
                    <a:pt x="7178" y="12064"/>
                    <a:pt x="7073" y="12155"/>
                  </a:cubicBezTo>
                  <a:cubicBezTo>
                    <a:pt x="7017" y="12211"/>
                    <a:pt x="6957" y="12260"/>
                    <a:pt x="6891" y="12306"/>
                  </a:cubicBezTo>
                  <a:cubicBezTo>
                    <a:pt x="6845" y="12334"/>
                    <a:pt x="6814" y="12383"/>
                    <a:pt x="6807" y="12435"/>
                  </a:cubicBezTo>
                  <a:cubicBezTo>
                    <a:pt x="6800" y="12509"/>
                    <a:pt x="6845" y="12596"/>
                    <a:pt x="6933" y="12681"/>
                  </a:cubicBezTo>
                  <a:cubicBezTo>
                    <a:pt x="7125" y="12863"/>
                    <a:pt x="7202" y="13017"/>
                    <a:pt x="7178" y="13167"/>
                  </a:cubicBezTo>
                  <a:cubicBezTo>
                    <a:pt x="7171" y="13216"/>
                    <a:pt x="7132" y="13251"/>
                    <a:pt x="7062" y="13269"/>
                  </a:cubicBezTo>
                  <a:cubicBezTo>
                    <a:pt x="7018" y="13281"/>
                    <a:pt x="6955" y="13287"/>
                    <a:pt x="6883" y="13287"/>
                  </a:cubicBezTo>
                  <a:cubicBezTo>
                    <a:pt x="6704" y="13287"/>
                    <a:pt x="6478" y="13247"/>
                    <a:pt x="6407" y="13157"/>
                  </a:cubicBezTo>
                  <a:cubicBezTo>
                    <a:pt x="6355" y="13090"/>
                    <a:pt x="6130" y="13045"/>
                    <a:pt x="5985" y="13045"/>
                  </a:cubicBezTo>
                  <a:cubicBezTo>
                    <a:pt x="5955" y="13045"/>
                    <a:pt x="5928" y="13047"/>
                    <a:pt x="5907" y="13052"/>
                  </a:cubicBezTo>
                  <a:cubicBezTo>
                    <a:pt x="5898" y="13053"/>
                    <a:pt x="5890" y="13054"/>
                    <a:pt x="5882" y="13054"/>
                  </a:cubicBezTo>
                  <a:cubicBezTo>
                    <a:pt x="5800" y="13054"/>
                    <a:pt x="5706" y="12980"/>
                    <a:pt x="5564" y="12870"/>
                  </a:cubicBezTo>
                  <a:cubicBezTo>
                    <a:pt x="5462" y="12786"/>
                    <a:pt x="5333" y="12684"/>
                    <a:pt x="5270" y="12681"/>
                  </a:cubicBezTo>
                  <a:cubicBezTo>
                    <a:pt x="5267" y="12680"/>
                    <a:pt x="5265" y="12680"/>
                    <a:pt x="5263" y="12680"/>
                  </a:cubicBezTo>
                  <a:cubicBezTo>
                    <a:pt x="5143" y="12680"/>
                    <a:pt x="5052" y="12850"/>
                    <a:pt x="5007" y="12940"/>
                  </a:cubicBezTo>
                  <a:lnTo>
                    <a:pt x="5000" y="12954"/>
                  </a:lnTo>
                  <a:cubicBezTo>
                    <a:pt x="4990" y="12971"/>
                    <a:pt x="4986" y="12975"/>
                    <a:pt x="5039" y="13031"/>
                  </a:cubicBezTo>
                  <a:cubicBezTo>
                    <a:pt x="5091" y="13083"/>
                    <a:pt x="5133" y="13146"/>
                    <a:pt x="5161" y="13209"/>
                  </a:cubicBezTo>
                  <a:cubicBezTo>
                    <a:pt x="5231" y="13356"/>
                    <a:pt x="5536" y="13356"/>
                    <a:pt x="5637" y="13356"/>
                  </a:cubicBezTo>
                  <a:cubicBezTo>
                    <a:pt x="5693" y="13356"/>
                    <a:pt x="5742" y="13384"/>
                    <a:pt x="5774" y="13430"/>
                  </a:cubicBezTo>
                  <a:cubicBezTo>
                    <a:pt x="5840" y="13538"/>
                    <a:pt x="5774" y="13720"/>
                    <a:pt x="5742" y="13783"/>
                  </a:cubicBezTo>
                  <a:cubicBezTo>
                    <a:pt x="5700" y="13871"/>
                    <a:pt x="5564" y="13923"/>
                    <a:pt x="5455" y="13934"/>
                  </a:cubicBezTo>
                  <a:cubicBezTo>
                    <a:pt x="5440" y="13935"/>
                    <a:pt x="5426" y="13936"/>
                    <a:pt x="5412" y="13936"/>
                  </a:cubicBezTo>
                  <a:cubicBezTo>
                    <a:pt x="5325" y="13936"/>
                    <a:pt x="5260" y="13909"/>
                    <a:pt x="5221" y="13860"/>
                  </a:cubicBezTo>
                  <a:cubicBezTo>
                    <a:pt x="5203" y="13836"/>
                    <a:pt x="5105" y="13832"/>
                    <a:pt x="5046" y="13829"/>
                  </a:cubicBezTo>
                  <a:cubicBezTo>
                    <a:pt x="4937" y="13825"/>
                    <a:pt x="4787" y="13822"/>
                    <a:pt x="4780" y="13692"/>
                  </a:cubicBezTo>
                  <a:cubicBezTo>
                    <a:pt x="4766" y="13643"/>
                    <a:pt x="4734" y="13598"/>
                    <a:pt x="4689" y="13566"/>
                  </a:cubicBezTo>
                  <a:cubicBezTo>
                    <a:pt x="4608" y="13503"/>
                    <a:pt x="4509" y="13469"/>
                    <a:pt x="4405" y="13469"/>
                  </a:cubicBezTo>
                  <a:cubicBezTo>
                    <a:pt x="4388" y="13469"/>
                    <a:pt x="4370" y="13470"/>
                    <a:pt x="4352" y="13472"/>
                  </a:cubicBezTo>
                  <a:cubicBezTo>
                    <a:pt x="4324" y="13476"/>
                    <a:pt x="4297" y="13478"/>
                    <a:pt x="4272" y="13478"/>
                  </a:cubicBezTo>
                  <a:cubicBezTo>
                    <a:pt x="4193" y="13478"/>
                    <a:pt x="4127" y="13457"/>
                    <a:pt x="4079" y="13412"/>
                  </a:cubicBezTo>
                  <a:cubicBezTo>
                    <a:pt x="4009" y="13346"/>
                    <a:pt x="3981" y="13241"/>
                    <a:pt x="3992" y="13087"/>
                  </a:cubicBezTo>
                  <a:cubicBezTo>
                    <a:pt x="3995" y="13003"/>
                    <a:pt x="3967" y="12919"/>
                    <a:pt x="3918" y="12852"/>
                  </a:cubicBezTo>
                  <a:cubicBezTo>
                    <a:pt x="3883" y="12807"/>
                    <a:pt x="3866" y="12747"/>
                    <a:pt x="3862" y="12691"/>
                  </a:cubicBezTo>
                  <a:cubicBezTo>
                    <a:pt x="3862" y="12663"/>
                    <a:pt x="3855" y="12635"/>
                    <a:pt x="3845" y="12607"/>
                  </a:cubicBezTo>
                  <a:cubicBezTo>
                    <a:pt x="3820" y="12512"/>
                    <a:pt x="3782" y="12372"/>
                    <a:pt x="3908" y="12285"/>
                  </a:cubicBezTo>
                  <a:cubicBezTo>
                    <a:pt x="3957" y="12253"/>
                    <a:pt x="3950" y="12218"/>
                    <a:pt x="3936" y="12124"/>
                  </a:cubicBezTo>
                  <a:cubicBezTo>
                    <a:pt x="3925" y="12078"/>
                    <a:pt x="3918" y="12033"/>
                    <a:pt x="3918" y="11987"/>
                  </a:cubicBezTo>
                  <a:cubicBezTo>
                    <a:pt x="3915" y="11952"/>
                    <a:pt x="3897" y="11917"/>
                    <a:pt x="3866" y="11893"/>
                  </a:cubicBezTo>
                  <a:cubicBezTo>
                    <a:pt x="3789" y="11809"/>
                    <a:pt x="3680" y="11756"/>
                    <a:pt x="3565" y="11749"/>
                  </a:cubicBezTo>
                  <a:cubicBezTo>
                    <a:pt x="3418" y="11749"/>
                    <a:pt x="3362" y="11662"/>
                    <a:pt x="3323" y="11599"/>
                  </a:cubicBezTo>
                  <a:cubicBezTo>
                    <a:pt x="3288" y="11546"/>
                    <a:pt x="3267" y="11518"/>
                    <a:pt x="3218" y="11508"/>
                  </a:cubicBezTo>
                  <a:cubicBezTo>
                    <a:pt x="3033" y="11462"/>
                    <a:pt x="2665" y="11168"/>
                    <a:pt x="2634" y="11011"/>
                  </a:cubicBezTo>
                  <a:cubicBezTo>
                    <a:pt x="2630" y="10979"/>
                    <a:pt x="2556" y="10948"/>
                    <a:pt x="2518" y="10934"/>
                  </a:cubicBezTo>
                  <a:cubicBezTo>
                    <a:pt x="2469" y="10909"/>
                    <a:pt x="2420" y="10892"/>
                    <a:pt x="2420" y="10836"/>
                  </a:cubicBezTo>
                  <a:cubicBezTo>
                    <a:pt x="2423" y="10801"/>
                    <a:pt x="2444" y="10769"/>
                    <a:pt x="2479" y="10759"/>
                  </a:cubicBezTo>
                  <a:cubicBezTo>
                    <a:pt x="2507" y="10746"/>
                    <a:pt x="2540" y="10740"/>
                    <a:pt x="2576" y="10740"/>
                  </a:cubicBezTo>
                  <a:cubicBezTo>
                    <a:pt x="2702" y="10740"/>
                    <a:pt x="2867" y="10814"/>
                    <a:pt x="2987" y="10934"/>
                  </a:cubicBezTo>
                  <a:cubicBezTo>
                    <a:pt x="3152" y="11098"/>
                    <a:pt x="3393" y="11196"/>
                    <a:pt x="3712" y="11242"/>
                  </a:cubicBezTo>
                  <a:cubicBezTo>
                    <a:pt x="3880" y="11266"/>
                    <a:pt x="4044" y="11315"/>
                    <a:pt x="4198" y="11389"/>
                  </a:cubicBezTo>
                  <a:cubicBezTo>
                    <a:pt x="4345" y="11459"/>
                    <a:pt x="4506" y="11511"/>
                    <a:pt x="4667" y="11539"/>
                  </a:cubicBezTo>
                  <a:lnTo>
                    <a:pt x="4899" y="11581"/>
                  </a:lnTo>
                  <a:cubicBezTo>
                    <a:pt x="5200" y="11634"/>
                    <a:pt x="5455" y="11679"/>
                    <a:pt x="5942" y="11749"/>
                  </a:cubicBezTo>
                  <a:cubicBezTo>
                    <a:pt x="5979" y="11755"/>
                    <a:pt x="6018" y="11757"/>
                    <a:pt x="6057" y="11757"/>
                  </a:cubicBezTo>
                  <a:cubicBezTo>
                    <a:pt x="6608" y="11757"/>
                    <a:pt x="7312" y="11237"/>
                    <a:pt x="7472" y="11074"/>
                  </a:cubicBezTo>
                  <a:cubicBezTo>
                    <a:pt x="7559" y="10986"/>
                    <a:pt x="7500" y="10808"/>
                    <a:pt x="7451" y="10664"/>
                  </a:cubicBezTo>
                  <a:cubicBezTo>
                    <a:pt x="7426" y="10601"/>
                    <a:pt x="7412" y="10538"/>
                    <a:pt x="7405" y="10471"/>
                  </a:cubicBezTo>
                  <a:cubicBezTo>
                    <a:pt x="7405" y="10443"/>
                    <a:pt x="7328" y="10412"/>
                    <a:pt x="7272" y="10387"/>
                  </a:cubicBezTo>
                  <a:cubicBezTo>
                    <a:pt x="7199" y="10356"/>
                    <a:pt x="7122" y="10324"/>
                    <a:pt x="7094" y="10258"/>
                  </a:cubicBezTo>
                  <a:cubicBezTo>
                    <a:pt x="7010" y="10118"/>
                    <a:pt x="6863" y="10027"/>
                    <a:pt x="6698" y="10023"/>
                  </a:cubicBezTo>
                  <a:cubicBezTo>
                    <a:pt x="6547" y="10023"/>
                    <a:pt x="6467" y="9936"/>
                    <a:pt x="6400" y="9862"/>
                  </a:cubicBezTo>
                  <a:cubicBezTo>
                    <a:pt x="6344" y="9806"/>
                    <a:pt x="6309" y="9771"/>
                    <a:pt x="6260" y="9771"/>
                  </a:cubicBezTo>
                  <a:cubicBezTo>
                    <a:pt x="6258" y="9771"/>
                    <a:pt x="6256" y="9771"/>
                    <a:pt x="6253" y="9771"/>
                  </a:cubicBezTo>
                  <a:cubicBezTo>
                    <a:pt x="6238" y="9773"/>
                    <a:pt x="6223" y="9773"/>
                    <a:pt x="6208" y="9773"/>
                  </a:cubicBezTo>
                  <a:cubicBezTo>
                    <a:pt x="6034" y="9773"/>
                    <a:pt x="5885" y="9676"/>
                    <a:pt x="5508" y="9421"/>
                  </a:cubicBezTo>
                  <a:lnTo>
                    <a:pt x="5410" y="9358"/>
                  </a:lnTo>
                  <a:cubicBezTo>
                    <a:pt x="4939" y="9043"/>
                    <a:pt x="4368" y="8858"/>
                    <a:pt x="4221" y="8858"/>
                  </a:cubicBezTo>
                  <a:cubicBezTo>
                    <a:pt x="4210" y="8858"/>
                    <a:pt x="4201" y="8859"/>
                    <a:pt x="4195" y="8861"/>
                  </a:cubicBezTo>
                  <a:cubicBezTo>
                    <a:pt x="4140" y="8888"/>
                    <a:pt x="4077" y="8917"/>
                    <a:pt x="4013" y="8917"/>
                  </a:cubicBezTo>
                  <a:cubicBezTo>
                    <a:pt x="3950" y="8917"/>
                    <a:pt x="3888" y="8890"/>
                    <a:pt x="3831" y="8805"/>
                  </a:cubicBezTo>
                  <a:cubicBezTo>
                    <a:pt x="3810" y="8777"/>
                    <a:pt x="3778" y="8756"/>
                    <a:pt x="3743" y="8753"/>
                  </a:cubicBezTo>
                  <a:cubicBezTo>
                    <a:pt x="3731" y="8751"/>
                    <a:pt x="3719" y="8750"/>
                    <a:pt x="3708" y="8750"/>
                  </a:cubicBezTo>
                  <a:cubicBezTo>
                    <a:pt x="3643" y="8750"/>
                    <a:pt x="3580" y="8774"/>
                    <a:pt x="3530" y="8812"/>
                  </a:cubicBezTo>
                  <a:cubicBezTo>
                    <a:pt x="3487" y="8844"/>
                    <a:pt x="3445" y="8854"/>
                    <a:pt x="3404" y="8854"/>
                  </a:cubicBezTo>
                  <a:cubicBezTo>
                    <a:pt x="3353" y="8854"/>
                    <a:pt x="3305" y="8838"/>
                    <a:pt x="3260" y="8823"/>
                  </a:cubicBezTo>
                  <a:cubicBezTo>
                    <a:pt x="3203" y="8798"/>
                    <a:pt x="3140" y="8785"/>
                    <a:pt x="3077" y="8785"/>
                  </a:cubicBezTo>
                  <a:cubicBezTo>
                    <a:pt x="3051" y="8785"/>
                    <a:pt x="3026" y="8787"/>
                    <a:pt x="3001" y="8791"/>
                  </a:cubicBezTo>
                  <a:cubicBezTo>
                    <a:pt x="2961" y="8801"/>
                    <a:pt x="2923" y="8805"/>
                    <a:pt x="2887" y="8805"/>
                  </a:cubicBezTo>
                  <a:cubicBezTo>
                    <a:pt x="2759" y="8805"/>
                    <a:pt x="2664" y="8748"/>
                    <a:pt x="2623" y="8679"/>
                  </a:cubicBezTo>
                  <a:cubicBezTo>
                    <a:pt x="2588" y="8627"/>
                    <a:pt x="2591" y="8557"/>
                    <a:pt x="2630" y="8508"/>
                  </a:cubicBezTo>
                  <a:cubicBezTo>
                    <a:pt x="2676" y="8455"/>
                    <a:pt x="2763" y="8448"/>
                    <a:pt x="2865" y="8441"/>
                  </a:cubicBezTo>
                  <a:cubicBezTo>
                    <a:pt x="2914" y="8441"/>
                    <a:pt x="2959" y="8434"/>
                    <a:pt x="3005" y="8423"/>
                  </a:cubicBezTo>
                  <a:lnTo>
                    <a:pt x="2980" y="8423"/>
                  </a:lnTo>
                  <a:cubicBezTo>
                    <a:pt x="2879" y="8420"/>
                    <a:pt x="2781" y="8385"/>
                    <a:pt x="2700" y="8329"/>
                  </a:cubicBezTo>
                  <a:cubicBezTo>
                    <a:pt x="2637" y="8285"/>
                    <a:pt x="2580" y="8265"/>
                    <a:pt x="2535" y="8265"/>
                  </a:cubicBezTo>
                  <a:cubicBezTo>
                    <a:pt x="2523" y="8265"/>
                    <a:pt x="2511" y="8266"/>
                    <a:pt x="2500" y="8269"/>
                  </a:cubicBezTo>
                  <a:cubicBezTo>
                    <a:pt x="2455" y="8287"/>
                    <a:pt x="2423" y="8325"/>
                    <a:pt x="2406" y="8371"/>
                  </a:cubicBezTo>
                  <a:cubicBezTo>
                    <a:pt x="2385" y="8427"/>
                    <a:pt x="2336" y="8469"/>
                    <a:pt x="2276" y="8483"/>
                  </a:cubicBezTo>
                  <a:cubicBezTo>
                    <a:pt x="2259" y="8486"/>
                    <a:pt x="2242" y="8487"/>
                    <a:pt x="2225" y="8487"/>
                  </a:cubicBezTo>
                  <a:cubicBezTo>
                    <a:pt x="2148" y="8487"/>
                    <a:pt x="2074" y="8462"/>
                    <a:pt x="2014" y="8413"/>
                  </a:cubicBezTo>
                  <a:lnTo>
                    <a:pt x="2014" y="8416"/>
                  </a:lnTo>
                  <a:cubicBezTo>
                    <a:pt x="2010" y="8427"/>
                    <a:pt x="2003" y="8437"/>
                    <a:pt x="1996" y="8448"/>
                  </a:cubicBezTo>
                  <a:lnTo>
                    <a:pt x="1993" y="8455"/>
                  </a:lnTo>
                  <a:cubicBezTo>
                    <a:pt x="1989" y="8462"/>
                    <a:pt x="1982" y="8472"/>
                    <a:pt x="1975" y="8479"/>
                  </a:cubicBezTo>
                  <a:lnTo>
                    <a:pt x="1968" y="8486"/>
                  </a:lnTo>
                  <a:cubicBezTo>
                    <a:pt x="1965" y="8494"/>
                    <a:pt x="1958" y="8501"/>
                    <a:pt x="1954" y="8508"/>
                  </a:cubicBezTo>
                  <a:lnTo>
                    <a:pt x="1947" y="8515"/>
                  </a:lnTo>
                  <a:cubicBezTo>
                    <a:pt x="1937" y="8522"/>
                    <a:pt x="1930" y="8529"/>
                    <a:pt x="1919" y="8536"/>
                  </a:cubicBezTo>
                  <a:cubicBezTo>
                    <a:pt x="1874" y="8562"/>
                    <a:pt x="1824" y="8575"/>
                    <a:pt x="1773" y="8575"/>
                  </a:cubicBezTo>
                  <a:cubicBezTo>
                    <a:pt x="1744" y="8575"/>
                    <a:pt x="1716" y="8571"/>
                    <a:pt x="1688" y="8564"/>
                  </a:cubicBezTo>
                  <a:cubicBezTo>
                    <a:pt x="1684" y="8563"/>
                    <a:pt x="1679" y="8562"/>
                    <a:pt x="1674" y="8562"/>
                  </a:cubicBezTo>
                  <a:cubicBezTo>
                    <a:pt x="1628" y="8562"/>
                    <a:pt x="1570" y="8607"/>
                    <a:pt x="1513" y="8651"/>
                  </a:cubicBezTo>
                  <a:cubicBezTo>
                    <a:pt x="1436" y="8707"/>
                    <a:pt x="1349" y="8774"/>
                    <a:pt x="1251" y="8774"/>
                  </a:cubicBezTo>
                  <a:cubicBezTo>
                    <a:pt x="1170" y="8784"/>
                    <a:pt x="1097" y="8819"/>
                    <a:pt x="1044" y="8879"/>
                  </a:cubicBezTo>
                  <a:cubicBezTo>
                    <a:pt x="999" y="8921"/>
                    <a:pt x="964" y="8970"/>
                    <a:pt x="943" y="9029"/>
                  </a:cubicBezTo>
                  <a:cubicBezTo>
                    <a:pt x="939" y="9036"/>
                    <a:pt x="939" y="9040"/>
                    <a:pt x="936" y="9047"/>
                  </a:cubicBezTo>
                  <a:cubicBezTo>
                    <a:pt x="922" y="9127"/>
                    <a:pt x="859" y="9183"/>
                    <a:pt x="778" y="9194"/>
                  </a:cubicBezTo>
                  <a:lnTo>
                    <a:pt x="757" y="9201"/>
                  </a:lnTo>
                  <a:lnTo>
                    <a:pt x="729" y="9208"/>
                  </a:lnTo>
                  <a:cubicBezTo>
                    <a:pt x="729" y="9306"/>
                    <a:pt x="726" y="9418"/>
                    <a:pt x="631" y="9530"/>
                  </a:cubicBezTo>
                  <a:cubicBezTo>
                    <a:pt x="607" y="9561"/>
                    <a:pt x="603" y="9565"/>
                    <a:pt x="656" y="9652"/>
                  </a:cubicBezTo>
                  <a:cubicBezTo>
                    <a:pt x="677" y="9680"/>
                    <a:pt x="698" y="9719"/>
                    <a:pt x="722" y="9764"/>
                  </a:cubicBezTo>
                  <a:cubicBezTo>
                    <a:pt x="733" y="9785"/>
                    <a:pt x="743" y="9803"/>
                    <a:pt x="761" y="9817"/>
                  </a:cubicBezTo>
                  <a:cubicBezTo>
                    <a:pt x="806" y="9855"/>
                    <a:pt x="862" y="9880"/>
                    <a:pt x="922" y="9890"/>
                  </a:cubicBezTo>
                  <a:cubicBezTo>
                    <a:pt x="953" y="9897"/>
                    <a:pt x="981" y="9908"/>
                    <a:pt x="1009" y="9918"/>
                  </a:cubicBezTo>
                  <a:cubicBezTo>
                    <a:pt x="1020" y="9922"/>
                    <a:pt x="1027" y="9925"/>
                    <a:pt x="1037" y="9932"/>
                  </a:cubicBezTo>
                  <a:cubicBezTo>
                    <a:pt x="1069" y="9950"/>
                    <a:pt x="1457" y="10237"/>
                    <a:pt x="1457" y="10394"/>
                  </a:cubicBezTo>
                  <a:cubicBezTo>
                    <a:pt x="1457" y="10538"/>
                    <a:pt x="1160" y="10804"/>
                    <a:pt x="1086" y="10853"/>
                  </a:cubicBezTo>
                  <a:cubicBezTo>
                    <a:pt x="1020" y="10899"/>
                    <a:pt x="967" y="10965"/>
                    <a:pt x="939" y="11042"/>
                  </a:cubicBezTo>
                  <a:cubicBezTo>
                    <a:pt x="936" y="11056"/>
                    <a:pt x="936" y="11070"/>
                    <a:pt x="943" y="11084"/>
                  </a:cubicBezTo>
                  <a:lnTo>
                    <a:pt x="964" y="11116"/>
                  </a:lnTo>
                  <a:lnTo>
                    <a:pt x="1006" y="11179"/>
                  </a:lnTo>
                  <a:cubicBezTo>
                    <a:pt x="1118" y="11343"/>
                    <a:pt x="1321" y="11655"/>
                    <a:pt x="1464" y="11914"/>
                  </a:cubicBezTo>
                  <a:cubicBezTo>
                    <a:pt x="1531" y="12036"/>
                    <a:pt x="1552" y="12110"/>
                    <a:pt x="1524" y="12166"/>
                  </a:cubicBezTo>
                  <a:cubicBezTo>
                    <a:pt x="1503" y="12211"/>
                    <a:pt x="1457" y="12239"/>
                    <a:pt x="1408" y="12246"/>
                  </a:cubicBezTo>
                  <a:lnTo>
                    <a:pt x="1391" y="12253"/>
                  </a:lnTo>
                  <a:cubicBezTo>
                    <a:pt x="1349" y="12257"/>
                    <a:pt x="1310" y="12278"/>
                    <a:pt x="1279" y="12309"/>
                  </a:cubicBezTo>
                  <a:cubicBezTo>
                    <a:pt x="1261" y="12334"/>
                    <a:pt x="1251" y="12365"/>
                    <a:pt x="1254" y="12397"/>
                  </a:cubicBezTo>
                  <a:cubicBezTo>
                    <a:pt x="1268" y="12460"/>
                    <a:pt x="1289" y="12519"/>
                    <a:pt x="1324" y="12572"/>
                  </a:cubicBezTo>
                  <a:cubicBezTo>
                    <a:pt x="1342" y="12603"/>
                    <a:pt x="1359" y="12635"/>
                    <a:pt x="1370" y="12670"/>
                  </a:cubicBezTo>
                  <a:cubicBezTo>
                    <a:pt x="1408" y="12779"/>
                    <a:pt x="1310" y="12824"/>
                    <a:pt x="1272" y="12842"/>
                  </a:cubicBezTo>
                  <a:lnTo>
                    <a:pt x="1258" y="12849"/>
                  </a:lnTo>
                  <a:cubicBezTo>
                    <a:pt x="1289" y="12863"/>
                    <a:pt x="1321" y="12880"/>
                    <a:pt x="1356" y="12891"/>
                  </a:cubicBezTo>
                  <a:cubicBezTo>
                    <a:pt x="1433" y="12922"/>
                    <a:pt x="1503" y="12950"/>
                    <a:pt x="1520" y="13013"/>
                  </a:cubicBezTo>
                  <a:cubicBezTo>
                    <a:pt x="1520" y="13020"/>
                    <a:pt x="1520" y="13027"/>
                    <a:pt x="1520" y="13034"/>
                  </a:cubicBezTo>
                  <a:cubicBezTo>
                    <a:pt x="1520" y="13080"/>
                    <a:pt x="1499" y="13122"/>
                    <a:pt x="1464" y="13153"/>
                  </a:cubicBezTo>
                  <a:cubicBezTo>
                    <a:pt x="1443" y="13174"/>
                    <a:pt x="1426" y="13202"/>
                    <a:pt x="1419" y="13234"/>
                  </a:cubicBezTo>
                  <a:cubicBezTo>
                    <a:pt x="1419" y="13237"/>
                    <a:pt x="1419" y="13241"/>
                    <a:pt x="1419" y="13244"/>
                  </a:cubicBezTo>
                  <a:cubicBezTo>
                    <a:pt x="1422" y="13255"/>
                    <a:pt x="1426" y="13262"/>
                    <a:pt x="1429" y="13269"/>
                  </a:cubicBezTo>
                  <a:cubicBezTo>
                    <a:pt x="1461" y="13311"/>
                    <a:pt x="1503" y="13342"/>
                    <a:pt x="1548" y="13363"/>
                  </a:cubicBezTo>
                  <a:cubicBezTo>
                    <a:pt x="1625" y="13409"/>
                    <a:pt x="1716" y="13461"/>
                    <a:pt x="1730" y="13587"/>
                  </a:cubicBezTo>
                  <a:cubicBezTo>
                    <a:pt x="1734" y="13619"/>
                    <a:pt x="1730" y="13650"/>
                    <a:pt x="1716" y="13675"/>
                  </a:cubicBezTo>
                  <a:cubicBezTo>
                    <a:pt x="1678" y="13752"/>
                    <a:pt x="1583" y="13794"/>
                    <a:pt x="1510" y="13829"/>
                  </a:cubicBezTo>
                  <a:cubicBezTo>
                    <a:pt x="1478" y="13839"/>
                    <a:pt x="1450" y="13857"/>
                    <a:pt x="1422" y="13871"/>
                  </a:cubicBezTo>
                  <a:cubicBezTo>
                    <a:pt x="1408" y="13878"/>
                    <a:pt x="1398" y="13885"/>
                    <a:pt x="1391" y="13899"/>
                  </a:cubicBezTo>
                  <a:cubicBezTo>
                    <a:pt x="1391" y="13899"/>
                    <a:pt x="1391" y="13902"/>
                    <a:pt x="1394" y="13906"/>
                  </a:cubicBezTo>
                  <a:cubicBezTo>
                    <a:pt x="1419" y="13944"/>
                    <a:pt x="1548" y="14021"/>
                    <a:pt x="1636" y="14074"/>
                  </a:cubicBezTo>
                  <a:cubicBezTo>
                    <a:pt x="1692" y="14105"/>
                    <a:pt x="1751" y="14144"/>
                    <a:pt x="1811" y="14179"/>
                  </a:cubicBezTo>
                  <a:cubicBezTo>
                    <a:pt x="1909" y="14238"/>
                    <a:pt x="1996" y="14312"/>
                    <a:pt x="2070" y="14396"/>
                  </a:cubicBezTo>
                  <a:cubicBezTo>
                    <a:pt x="2182" y="14522"/>
                    <a:pt x="2234" y="14606"/>
                    <a:pt x="2255" y="14679"/>
                  </a:cubicBezTo>
                  <a:cubicBezTo>
                    <a:pt x="2259" y="14697"/>
                    <a:pt x="2262" y="14718"/>
                    <a:pt x="2262" y="14736"/>
                  </a:cubicBezTo>
                  <a:cubicBezTo>
                    <a:pt x="2262" y="14792"/>
                    <a:pt x="2252" y="14844"/>
                    <a:pt x="2227" y="14897"/>
                  </a:cubicBezTo>
                  <a:cubicBezTo>
                    <a:pt x="2185" y="15016"/>
                    <a:pt x="2063" y="15121"/>
                    <a:pt x="1919" y="15226"/>
                  </a:cubicBezTo>
                  <a:cubicBezTo>
                    <a:pt x="1888" y="15250"/>
                    <a:pt x="1853" y="15275"/>
                    <a:pt x="1818" y="15299"/>
                  </a:cubicBezTo>
                  <a:cubicBezTo>
                    <a:pt x="1727" y="15362"/>
                    <a:pt x="1643" y="15429"/>
                    <a:pt x="1559" y="15502"/>
                  </a:cubicBezTo>
                  <a:cubicBezTo>
                    <a:pt x="1503" y="15548"/>
                    <a:pt x="1454" y="15607"/>
                    <a:pt x="1419" y="15677"/>
                  </a:cubicBezTo>
                  <a:cubicBezTo>
                    <a:pt x="1370" y="15779"/>
                    <a:pt x="1296" y="15866"/>
                    <a:pt x="1205" y="15933"/>
                  </a:cubicBezTo>
                  <a:cubicBezTo>
                    <a:pt x="1107" y="16006"/>
                    <a:pt x="1006" y="16076"/>
                    <a:pt x="901" y="16136"/>
                  </a:cubicBezTo>
                  <a:cubicBezTo>
                    <a:pt x="792" y="16199"/>
                    <a:pt x="691" y="16265"/>
                    <a:pt x="596" y="16342"/>
                  </a:cubicBezTo>
                  <a:cubicBezTo>
                    <a:pt x="586" y="16353"/>
                    <a:pt x="575" y="16363"/>
                    <a:pt x="565" y="16374"/>
                  </a:cubicBezTo>
                  <a:cubicBezTo>
                    <a:pt x="554" y="16384"/>
                    <a:pt x="544" y="16395"/>
                    <a:pt x="533" y="16409"/>
                  </a:cubicBezTo>
                  <a:lnTo>
                    <a:pt x="526" y="16416"/>
                  </a:lnTo>
                  <a:lnTo>
                    <a:pt x="498" y="16444"/>
                  </a:lnTo>
                  <a:lnTo>
                    <a:pt x="494" y="16451"/>
                  </a:lnTo>
                  <a:cubicBezTo>
                    <a:pt x="473" y="16475"/>
                    <a:pt x="452" y="16503"/>
                    <a:pt x="428" y="16535"/>
                  </a:cubicBezTo>
                  <a:lnTo>
                    <a:pt x="456" y="16521"/>
                  </a:lnTo>
                  <a:cubicBezTo>
                    <a:pt x="479" y="16509"/>
                    <a:pt x="501" y="16504"/>
                    <a:pt x="521" y="16504"/>
                  </a:cubicBezTo>
                  <a:cubicBezTo>
                    <a:pt x="620" y="16504"/>
                    <a:pt x="693" y="16622"/>
                    <a:pt x="754" y="16720"/>
                  </a:cubicBezTo>
                  <a:cubicBezTo>
                    <a:pt x="785" y="16780"/>
                    <a:pt x="827" y="16836"/>
                    <a:pt x="873" y="16885"/>
                  </a:cubicBezTo>
                  <a:cubicBezTo>
                    <a:pt x="922" y="16924"/>
                    <a:pt x="1009" y="16924"/>
                    <a:pt x="1093" y="16924"/>
                  </a:cubicBezTo>
                  <a:cubicBezTo>
                    <a:pt x="1195" y="16924"/>
                    <a:pt x="1296" y="16924"/>
                    <a:pt x="1359" y="16997"/>
                  </a:cubicBezTo>
                  <a:cubicBezTo>
                    <a:pt x="1415" y="17057"/>
                    <a:pt x="1401" y="17106"/>
                    <a:pt x="1391" y="17130"/>
                  </a:cubicBezTo>
                  <a:cubicBezTo>
                    <a:pt x="1380" y="17148"/>
                    <a:pt x="1356" y="17194"/>
                    <a:pt x="1220" y="17194"/>
                  </a:cubicBezTo>
                  <a:cubicBezTo>
                    <a:pt x="1174" y="17194"/>
                    <a:pt x="1116" y="17189"/>
                    <a:pt x="1041" y="17176"/>
                  </a:cubicBezTo>
                  <a:cubicBezTo>
                    <a:pt x="1024" y="17173"/>
                    <a:pt x="1009" y="17172"/>
                    <a:pt x="995" y="17172"/>
                  </a:cubicBezTo>
                  <a:cubicBezTo>
                    <a:pt x="933" y="17172"/>
                    <a:pt x="887" y="17195"/>
                    <a:pt x="813" y="17235"/>
                  </a:cubicBezTo>
                  <a:cubicBezTo>
                    <a:pt x="729" y="17281"/>
                    <a:pt x="638" y="17323"/>
                    <a:pt x="547" y="17351"/>
                  </a:cubicBezTo>
                  <a:cubicBezTo>
                    <a:pt x="414" y="17396"/>
                    <a:pt x="389" y="17435"/>
                    <a:pt x="361" y="17477"/>
                  </a:cubicBezTo>
                  <a:cubicBezTo>
                    <a:pt x="354" y="17487"/>
                    <a:pt x="347" y="17498"/>
                    <a:pt x="340" y="17508"/>
                  </a:cubicBezTo>
                  <a:lnTo>
                    <a:pt x="344" y="17519"/>
                  </a:lnTo>
                  <a:lnTo>
                    <a:pt x="347" y="17529"/>
                  </a:lnTo>
                  <a:lnTo>
                    <a:pt x="354" y="17547"/>
                  </a:lnTo>
                  <a:lnTo>
                    <a:pt x="358" y="17557"/>
                  </a:lnTo>
                  <a:cubicBezTo>
                    <a:pt x="358" y="17561"/>
                    <a:pt x="361" y="17568"/>
                    <a:pt x="361" y="17571"/>
                  </a:cubicBezTo>
                  <a:cubicBezTo>
                    <a:pt x="365" y="17575"/>
                    <a:pt x="361" y="17578"/>
                    <a:pt x="365" y="17582"/>
                  </a:cubicBezTo>
                  <a:cubicBezTo>
                    <a:pt x="368" y="17585"/>
                    <a:pt x="365" y="17592"/>
                    <a:pt x="368" y="17596"/>
                  </a:cubicBezTo>
                  <a:cubicBezTo>
                    <a:pt x="372" y="17603"/>
                    <a:pt x="368" y="17603"/>
                    <a:pt x="368" y="17603"/>
                  </a:cubicBezTo>
                  <a:cubicBezTo>
                    <a:pt x="368" y="17610"/>
                    <a:pt x="368" y="17617"/>
                    <a:pt x="368" y="17624"/>
                  </a:cubicBezTo>
                  <a:cubicBezTo>
                    <a:pt x="368" y="17631"/>
                    <a:pt x="368" y="17638"/>
                    <a:pt x="368" y="17645"/>
                  </a:cubicBezTo>
                  <a:lnTo>
                    <a:pt x="368" y="17652"/>
                  </a:lnTo>
                  <a:cubicBezTo>
                    <a:pt x="368" y="17652"/>
                    <a:pt x="368" y="17659"/>
                    <a:pt x="365" y="17666"/>
                  </a:cubicBezTo>
                  <a:lnTo>
                    <a:pt x="361" y="17673"/>
                  </a:lnTo>
                  <a:cubicBezTo>
                    <a:pt x="361" y="17676"/>
                    <a:pt x="361" y="17680"/>
                    <a:pt x="358" y="17683"/>
                  </a:cubicBezTo>
                  <a:lnTo>
                    <a:pt x="354" y="17690"/>
                  </a:lnTo>
                  <a:lnTo>
                    <a:pt x="351" y="17701"/>
                  </a:lnTo>
                  <a:lnTo>
                    <a:pt x="347" y="17708"/>
                  </a:lnTo>
                  <a:lnTo>
                    <a:pt x="340" y="17718"/>
                  </a:lnTo>
                  <a:lnTo>
                    <a:pt x="337" y="17722"/>
                  </a:lnTo>
                  <a:lnTo>
                    <a:pt x="330" y="17732"/>
                  </a:lnTo>
                  <a:lnTo>
                    <a:pt x="326" y="17739"/>
                  </a:lnTo>
                  <a:lnTo>
                    <a:pt x="319" y="17746"/>
                  </a:lnTo>
                  <a:lnTo>
                    <a:pt x="316" y="17753"/>
                  </a:lnTo>
                  <a:lnTo>
                    <a:pt x="305" y="17760"/>
                  </a:lnTo>
                  <a:lnTo>
                    <a:pt x="302" y="17767"/>
                  </a:lnTo>
                  <a:lnTo>
                    <a:pt x="295" y="17774"/>
                  </a:lnTo>
                  <a:lnTo>
                    <a:pt x="291" y="17778"/>
                  </a:lnTo>
                  <a:lnTo>
                    <a:pt x="281" y="17792"/>
                  </a:lnTo>
                  <a:cubicBezTo>
                    <a:pt x="260" y="17809"/>
                    <a:pt x="242" y="17830"/>
                    <a:pt x="225" y="17855"/>
                  </a:cubicBezTo>
                  <a:lnTo>
                    <a:pt x="221" y="17858"/>
                  </a:lnTo>
                  <a:lnTo>
                    <a:pt x="221" y="17862"/>
                  </a:lnTo>
                  <a:cubicBezTo>
                    <a:pt x="218" y="17869"/>
                    <a:pt x="211" y="17876"/>
                    <a:pt x="207" y="17886"/>
                  </a:cubicBezTo>
                  <a:cubicBezTo>
                    <a:pt x="200" y="17907"/>
                    <a:pt x="190" y="17925"/>
                    <a:pt x="176" y="17946"/>
                  </a:cubicBezTo>
                  <a:cubicBezTo>
                    <a:pt x="151" y="17988"/>
                    <a:pt x="120" y="18026"/>
                    <a:pt x="85" y="18061"/>
                  </a:cubicBezTo>
                  <a:cubicBezTo>
                    <a:pt x="50" y="18100"/>
                    <a:pt x="36" y="18117"/>
                    <a:pt x="32" y="18145"/>
                  </a:cubicBezTo>
                  <a:cubicBezTo>
                    <a:pt x="29" y="18194"/>
                    <a:pt x="32" y="18243"/>
                    <a:pt x="46" y="18289"/>
                  </a:cubicBezTo>
                  <a:cubicBezTo>
                    <a:pt x="57" y="18341"/>
                    <a:pt x="64" y="18394"/>
                    <a:pt x="71" y="18446"/>
                  </a:cubicBezTo>
                  <a:cubicBezTo>
                    <a:pt x="78" y="18565"/>
                    <a:pt x="92" y="18583"/>
                    <a:pt x="158" y="18681"/>
                  </a:cubicBezTo>
                  <a:lnTo>
                    <a:pt x="179" y="18705"/>
                  </a:lnTo>
                  <a:cubicBezTo>
                    <a:pt x="200" y="18733"/>
                    <a:pt x="214" y="18768"/>
                    <a:pt x="214" y="18803"/>
                  </a:cubicBezTo>
                  <a:cubicBezTo>
                    <a:pt x="214" y="18814"/>
                    <a:pt x="214" y="18824"/>
                    <a:pt x="211" y="18835"/>
                  </a:cubicBezTo>
                  <a:cubicBezTo>
                    <a:pt x="193" y="18898"/>
                    <a:pt x="137" y="18923"/>
                    <a:pt x="85" y="18944"/>
                  </a:cubicBezTo>
                  <a:cubicBezTo>
                    <a:pt x="64" y="18951"/>
                    <a:pt x="43" y="18961"/>
                    <a:pt x="22" y="18975"/>
                  </a:cubicBezTo>
                  <a:cubicBezTo>
                    <a:pt x="1" y="18993"/>
                    <a:pt x="15" y="19035"/>
                    <a:pt x="22" y="19056"/>
                  </a:cubicBezTo>
                  <a:cubicBezTo>
                    <a:pt x="29" y="19073"/>
                    <a:pt x="39" y="19094"/>
                    <a:pt x="50" y="19112"/>
                  </a:cubicBezTo>
                  <a:lnTo>
                    <a:pt x="53" y="19115"/>
                  </a:lnTo>
                  <a:cubicBezTo>
                    <a:pt x="57" y="19122"/>
                    <a:pt x="64" y="19129"/>
                    <a:pt x="71" y="19136"/>
                  </a:cubicBezTo>
                  <a:lnTo>
                    <a:pt x="74" y="19147"/>
                  </a:lnTo>
                  <a:cubicBezTo>
                    <a:pt x="81" y="19154"/>
                    <a:pt x="88" y="19161"/>
                    <a:pt x="99" y="19171"/>
                  </a:cubicBezTo>
                  <a:cubicBezTo>
                    <a:pt x="200" y="19266"/>
                    <a:pt x="228" y="19416"/>
                    <a:pt x="172" y="19546"/>
                  </a:cubicBezTo>
                  <a:cubicBezTo>
                    <a:pt x="162" y="19570"/>
                    <a:pt x="204" y="19661"/>
                    <a:pt x="330" y="19787"/>
                  </a:cubicBezTo>
                  <a:cubicBezTo>
                    <a:pt x="386" y="19847"/>
                    <a:pt x="407" y="19934"/>
                    <a:pt x="424" y="20022"/>
                  </a:cubicBezTo>
                  <a:cubicBezTo>
                    <a:pt x="431" y="20064"/>
                    <a:pt x="445" y="20102"/>
                    <a:pt x="459" y="20141"/>
                  </a:cubicBezTo>
                  <a:cubicBezTo>
                    <a:pt x="463" y="20148"/>
                    <a:pt x="466" y="20155"/>
                    <a:pt x="470" y="20158"/>
                  </a:cubicBezTo>
                  <a:cubicBezTo>
                    <a:pt x="523" y="20203"/>
                    <a:pt x="573" y="20240"/>
                    <a:pt x="642" y="20240"/>
                  </a:cubicBezTo>
                  <a:cubicBezTo>
                    <a:pt x="660" y="20240"/>
                    <a:pt x="680" y="20238"/>
                    <a:pt x="701" y="20232"/>
                  </a:cubicBezTo>
                  <a:cubicBezTo>
                    <a:pt x="733" y="20223"/>
                    <a:pt x="764" y="20218"/>
                    <a:pt x="794" y="20218"/>
                  </a:cubicBezTo>
                  <a:cubicBezTo>
                    <a:pt x="901" y="20218"/>
                    <a:pt x="989" y="20278"/>
                    <a:pt x="1055" y="20396"/>
                  </a:cubicBezTo>
                  <a:cubicBezTo>
                    <a:pt x="1066" y="20416"/>
                    <a:pt x="1076" y="20427"/>
                    <a:pt x="1098" y="20427"/>
                  </a:cubicBezTo>
                  <a:cubicBezTo>
                    <a:pt x="1124" y="20427"/>
                    <a:pt x="1167" y="20411"/>
                    <a:pt x="1251" y="20375"/>
                  </a:cubicBezTo>
                  <a:lnTo>
                    <a:pt x="1261" y="20368"/>
                  </a:lnTo>
                  <a:cubicBezTo>
                    <a:pt x="1290" y="20355"/>
                    <a:pt x="1324" y="20349"/>
                    <a:pt x="1360" y="20349"/>
                  </a:cubicBezTo>
                  <a:cubicBezTo>
                    <a:pt x="1487" y="20349"/>
                    <a:pt x="1650" y="20422"/>
                    <a:pt x="1800" y="20501"/>
                  </a:cubicBezTo>
                  <a:lnTo>
                    <a:pt x="1828" y="20515"/>
                  </a:lnTo>
                  <a:cubicBezTo>
                    <a:pt x="1916" y="20557"/>
                    <a:pt x="1912" y="20683"/>
                    <a:pt x="1909" y="20813"/>
                  </a:cubicBezTo>
                  <a:lnTo>
                    <a:pt x="1909" y="20946"/>
                  </a:lnTo>
                  <a:cubicBezTo>
                    <a:pt x="1912" y="20992"/>
                    <a:pt x="1909" y="21041"/>
                    <a:pt x="1902" y="21090"/>
                  </a:cubicBezTo>
                  <a:cubicBezTo>
                    <a:pt x="1888" y="21198"/>
                    <a:pt x="1888" y="21251"/>
                    <a:pt x="1940" y="21282"/>
                  </a:cubicBezTo>
                  <a:cubicBezTo>
                    <a:pt x="2000" y="21324"/>
                    <a:pt x="2045" y="21387"/>
                    <a:pt x="2070" y="21454"/>
                  </a:cubicBezTo>
                  <a:lnTo>
                    <a:pt x="2077" y="21478"/>
                  </a:lnTo>
                  <a:cubicBezTo>
                    <a:pt x="2091" y="21510"/>
                    <a:pt x="2105" y="21538"/>
                    <a:pt x="2122" y="21566"/>
                  </a:cubicBezTo>
                  <a:cubicBezTo>
                    <a:pt x="2136" y="21590"/>
                    <a:pt x="2157" y="21608"/>
                    <a:pt x="2185" y="21615"/>
                  </a:cubicBezTo>
                  <a:cubicBezTo>
                    <a:pt x="2255" y="21646"/>
                    <a:pt x="2318" y="21699"/>
                    <a:pt x="2364" y="21765"/>
                  </a:cubicBezTo>
                  <a:cubicBezTo>
                    <a:pt x="2378" y="21783"/>
                    <a:pt x="2392" y="21804"/>
                    <a:pt x="2409" y="21821"/>
                  </a:cubicBezTo>
                  <a:cubicBezTo>
                    <a:pt x="2427" y="21853"/>
                    <a:pt x="2451" y="21881"/>
                    <a:pt x="2476" y="21905"/>
                  </a:cubicBezTo>
                  <a:cubicBezTo>
                    <a:pt x="2479" y="21909"/>
                    <a:pt x="2486" y="21916"/>
                    <a:pt x="2493" y="21916"/>
                  </a:cubicBezTo>
                  <a:cubicBezTo>
                    <a:pt x="2606" y="21944"/>
                    <a:pt x="2812" y="22105"/>
                    <a:pt x="2844" y="22245"/>
                  </a:cubicBezTo>
                  <a:cubicBezTo>
                    <a:pt x="2882" y="22416"/>
                    <a:pt x="2613" y="22535"/>
                    <a:pt x="2525" y="22574"/>
                  </a:cubicBezTo>
                  <a:cubicBezTo>
                    <a:pt x="2518" y="22577"/>
                    <a:pt x="2507" y="22581"/>
                    <a:pt x="2497" y="22584"/>
                  </a:cubicBezTo>
                  <a:cubicBezTo>
                    <a:pt x="2486" y="22584"/>
                    <a:pt x="2476" y="22588"/>
                    <a:pt x="2465" y="22588"/>
                  </a:cubicBezTo>
                  <a:lnTo>
                    <a:pt x="2434" y="22588"/>
                  </a:lnTo>
                  <a:cubicBezTo>
                    <a:pt x="2381" y="22577"/>
                    <a:pt x="2325" y="22560"/>
                    <a:pt x="2276" y="22535"/>
                  </a:cubicBezTo>
                  <a:lnTo>
                    <a:pt x="2245" y="22521"/>
                  </a:lnTo>
                  <a:cubicBezTo>
                    <a:pt x="2220" y="22511"/>
                    <a:pt x="2196" y="22504"/>
                    <a:pt x="2168" y="22497"/>
                  </a:cubicBezTo>
                  <a:lnTo>
                    <a:pt x="2161" y="22497"/>
                  </a:lnTo>
                  <a:cubicBezTo>
                    <a:pt x="2136" y="22525"/>
                    <a:pt x="2164" y="22609"/>
                    <a:pt x="2196" y="22717"/>
                  </a:cubicBezTo>
                  <a:cubicBezTo>
                    <a:pt x="2217" y="22784"/>
                    <a:pt x="2241" y="22861"/>
                    <a:pt x="2262" y="22948"/>
                  </a:cubicBezTo>
                  <a:cubicBezTo>
                    <a:pt x="2273" y="23022"/>
                    <a:pt x="2297" y="23092"/>
                    <a:pt x="2332" y="23155"/>
                  </a:cubicBezTo>
                  <a:cubicBezTo>
                    <a:pt x="2350" y="23180"/>
                    <a:pt x="2367" y="23190"/>
                    <a:pt x="2427" y="23190"/>
                  </a:cubicBezTo>
                  <a:cubicBezTo>
                    <a:pt x="2479" y="23187"/>
                    <a:pt x="2532" y="23162"/>
                    <a:pt x="2567" y="23124"/>
                  </a:cubicBezTo>
                  <a:cubicBezTo>
                    <a:pt x="2591" y="23103"/>
                    <a:pt x="2620" y="23082"/>
                    <a:pt x="2648" y="23064"/>
                  </a:cubicBezTo>
                  <a:cubicBezTo>
                    <a:pt x="2665" y="23054"/>
                    <a:pt x="2683" y="23050"/>
                    <a:pt x="2700" y="23047"/>
                  </a:cubicBezTo>
                  <a:cubicBezTo>
                    <a:pt x="2725" y="23041"/>
                    <a:pt x="2750" y="23039"/>
                    <a:pt x="2775" y="23039"/>
                  </a:cubicBezTo>
                  <a:cubicBezTo>
                    <a:pt x="2801" y="23039"/>
                    <a:pt x="2826" y="23041"/>
                    <a:pt x="2851" y="23047"/>
                  </a:cubicBezTo>
                  <a:lnTo>
                    <a:pt x="2882" y="23047"/>
                  </a:lnTo>
                  <a:cubicBezTo>
                    <a:pt x="2905" y="23052"/>
                    <a:pt x="2928" y="23054"/>
                    <a:pt x="2950" y="23054"/>
                  </a:cubicBezTo>
                  <a:cubicBezTo>
                    <a:pt x="2973" y="23054"/>
                    <a:pt x="2996" y="23052"/>
                    <a:pt x="3019" y="23047"/>
                  </a:cubicBezTo>
                  <a:lnTo>
                    <a:pt x="3040" y="23040"/>
                  </a:lnTo>
                  <a:cubicBezTo>
                    <a:pt x="3106" y="23022"/>
                    <a:pt x="3176" y="23015"/>
                    <a:pt x="3246" y="23015"/>
                  </a:cubicBezTo>
                  <a:cubicBezTo>
                    <a:pt x="3369" y="23015"/>
                    <a:pt x="3498" y="23043"/>
                    <a:pt x="3551" y="23124"/>
                  </a:cubicBezTo>
                  <a:cubicBezTo>
                    <a:pt x="3558" y="23138"/>
                    <a:pt x="3568" y="23152"/>
                    <a:pt x="3575" y="23166"/>
                  </a:cubicBezTo>
                  <a:cubicBezTo>
                    <a:pt x="3621" y="23267"/>
                    <a:pt x="3649" y="23379"/>
                    <a:pt x="3649" y="23491"/>
                  </a:cubicBezTo>
                  <a:cubicBezTo>
                    <a:pt x="3649" y="23530"/>
                    <a:pt x="3642" y="23568"/>
                    <a:pt x="3624" y="23600"/>
                  </a:cubicBezTo>
                  <a:cubicBezTo>
                    <a:pt x="3610" y="23624"/>
                    <a:pt x="3645" y="23677"/>
                    <a:pt x="3680" y="23733"/>
                  </a:cubicBezTo>
                  <a:cubicBezTo>
                    <a:pt x="3705" y="23768"/>
                    <a:pt x="3726" y="23803"/>
                    <a:pt x="3747" y="23841"/>
                  </a:cubicBezTo>
                  <a:cubicBezTo>
                    <a:pt x="3768" y="23887"/>
                    <a:pt x="3876" y="23887"/>
                    <a:pt x="3953" y="23887"/>
                  </a:cubicBezTo>
                  <a:lnTo>
                    <a:pt x="3999" y="23887"/>
                  </a:lnTo>
                  <a:cubicBezTo>
                    <a:pt x="4037" y="23887"/>
                    <a:pt x="4079" y="23894"/>
                    <a:pt x="4114" y="23908"/>
                  </a:cubicBezTo>
                  <a:cubicBezTo>
                    <a:pt x="4191" y="23939"/>
                    <a:pt x="4317" y="24090"/>
                    <a:pt x="4373" y="24233"/>
                  </a:cubicBezTo>
                  <a:cubicBezTo>
                    <a:pt x="4377" y="24247"/>
                    <a:pt x="4380" y="24258"/>
                    <a:pt x="4387" y="24272"/>
                  </a:cubicBezTo>
                  <a:cubicBezTo>
                    <a:pt x="4394" y="24296"/>
                    <a:pt x="4398" y="24321"/>
                    <a:pt x="4401" y="24345"/>
                  </a:cubicBezTo>
                  <a:cubicBezTo>
                    <a:pt x="4401" y="24356"/>
                    <a:pt x="4401" y="24370"/>
                    <a:pt x="4401" y="24380"/>
                  </a:cubicBezTo>
                  <a:cubicBezTo>
                    <a:pt x="4398" y="24391"/>
                    <a:pt x="4398" y="24401"/>
                    <a:pt x="4394" y="24412"/>
                  </a:cubicBezTo>
                  <a:cubicBezTo>
                    <a:pt x="4387" y="24429"/>
                    <a:pt x="4394" y="24433"/>
                    <a:pt x="4394" y="24436"/>
                  </a:cubicBezTo>
                  <a:cubicBezTo>
                    <a:pt x="4414" y="24446"/>
                    <a:pt x="4436" y="24451"/>
                    <a:pt x="4458" y="24451"/>
                  </a:cubicBezTo>
                  <a:cubicBezTo>
                    <a:pt x="4476" y="24451"/>
                    <a:pt x="4494" y="24448"/>
                    <a:pt x="4510" y="24440"/>
                  </a:cubicBezTo>
                  <a:cubicBezTo>
                    <a:pt x="4532" y="24430"/>
                    <a:pt x="4554" y="24426"/>
                    <a:pt x="4575" y="24426"/>
                  </a:cubicBezTo>
                  <a:cubicBezTo>
                    <a:pt x="4647" y="24426"/>
                    <a:pt x="4713" y="24474"/>
                    <a:pt x="4773" y="24520"/>
                  </a:cubicBezTo>
                  <a:cubicBezTo>
                    <a:pt x="4794" y="24534"/>
                    <a:pt x="4815" y="24552"/>
                    <a:pt x="4839" y="24566"/>
                  </a:cubicBezTo>
                  <a:cubicBezTo>
                    <a:pt x="4860" y="24580"/>
                    <a:pt x="4885" y="24590"/>
                    <a:pt x="4909" y="24590"/>
                  </a:cubicBezTo>
                  <a:cubicBezTo>
                    <a:pt x="4958" y="24590"/>
                    <a:pt x="5007" y="24573"/>
                    <a:pt x="5046" y="24541"/>
                  </a:cubicBezTo>
                  <a:cubicBezTo>
                    <a:pt x="5111" y="24501"/>
                    <a:pt x="5205" y="24461"/>
                    <a:pt x="5289" y="24461"/>
                  </a:cubicBezTo>
                  <a:cubicBezTo>
                    <a:pt x="5308" y="24461"/>
                    <a:pt x="5326" y="24463"/>
                    <a:pt x="5343" y="24468"/>
                  </a:cubicBezTo>
                  <a:cubicBezTo>
                    <a:pt x="5354" y="24471"/>
                    <a:pt x="5364" y="24475"/>
                    <a:pt x="5375" y="24478"/>
                  </a:cubicBezTo>
                  <a:cubicBezTo>
                    <a:pt x="5403" y="24492"/>
                    <a:pt x="5427" y="24513"/>
                    <a:pt x="5441" y="24541"/>
                  </a:cubicBezTo>
                  <a:cubicBezTo>
                    <a:pt x="5466" y="24576"/>
                    <a:pt x="5494" y="24608"/>
                    <a:pt x="5522" y="24636"/>
                  </a:cubicBezTo>
                  <a:lnTo>
                    <a:pt x="5557" y="24674"/>
                  </a:lnTo>
                  <a:cubicBezTo>
                    <a:pt x="5606" y="24716"/>
                    <a:pt x="5648" y="24765"/>
                    <a:pt x="5683" y="24821"/>
                  </a:cubicBezTo>
                  <a:cubicBezTo>
                    <a:pt x="5707" y="24825"/>
                    <a:pt x="5746" y="24825"/>
                    <a:pt x="5774" y="24825"/>
                  </a:cubicBezTo>
                  <a:cubicBezTo>
                    <a:pt x="5882" y="24828"/>
                    <a:pt x="6015" y="24832"/>
                    <a:pt x="6106" y="24881"/>
                  </a:cubicBezTo>
                  <a:cubicBezTo>
                    <a:pt x="6166" y="24905"/>
                    <a:pt x="6232" y="24923"/>
                    <a:pt x="6299" y="24926"/>
                  </a:cubicBezTo>
                  <a:lnTo>
                    <a:pt x="6362" y="24937"/>
                  </a:lnTo>
                  <a:cubicBezTo>
                    <a:pt x="6435" y="24947"/>
                    <a:pt x="6505" y="24968"/>
                    <a:pt x="6568" y="25000"/>
                  </a:cubicBezTo>
                  <a:cubicBezTo>
                    <a:pt x="6603" y="25021"/>
                    <a:pt x="6638" y="25035"/>
                    <a:pt x="6673" y="25052"/>
                  </a:cubicBezTo>
                  <a:lnTo>
                    <a:pt x="6708" y="25063"/>
                  </a:lnTo>
                  <a:cubicBezTo>
                    <a:pt x="6733" y="25073"/>
                    <a:pt x="6758" y="25084"/>
                    <a:pt x="6782" y="25095"/>
                  </a:cubicBezTo>
                  <a:cubicBezTo>
                    <a:pt x="6852" y="25126"/>
                    <a:pt x="6908" y="25168"/>
                    <a:pt x="6915" y="25245"/>
                  </a:cubicBezTo>
                  <a:cubicBezTo>
                    <a:pt x="6922" y="25284"/>
                    <a:pt x="6912" y="25322"/>
                    <a:pt x="6891" y="25354"/>
                  </a:cubicBezTo>
                  <a:cubicBezTo>
                    <a:pt x="6866" y="25392"/>
                    <a:pt x="6835" y="25427"/>
                    <a:pt x="6796" y="25459"/>
                  </a:cubicBezTo>
                  <a:lnTo>
                    <a:pt x="6772" y="25480"/>
                  </a:lnTo>
                  <a:lnTo>
                    <a:pt x="6789" y="25494"/>
                  </a:lnTo>
                  <a:cubicBezTo>
                    <a:pt x="6831" y="25525"/>
                    <a:pt x="6894" y="25567"/>
                    <a:pt x="6894" y="25641"/>
                  </a:cubicBezTo>
                  <a:cubicBezTo>
                    <a:pt x="6894" y="25728"/>
                    <a:pt x="6807" y="25760"/>
                    <a:pt x="6750" y="25777"/>
                  </a:cubicBezTo>
                  <a:cubicBezTo>
                    <a:pt x="6733" y="25784"/>
                    <a:pt x="6715" y="25791"/>
                    <a:pt x="6698" y="25798"/>
                  </a:cubicBezTo>
                  <a:cubicBezTo>
                    <a:pt x="6715" y="25823"/>
                    <a:pt x="6729" y="25844"/>
                    <a:pt x="6747" y="25861"/>
                  </a:cubicBezTo>
                  <a:cubicBezTo>
                    <a:pt x="6775" y="25889"/>
                    <a:pt x="6800" y="25921"/>
                    <a:pt x="6817" y="25956"/>
                  </a:cubicBezTo>
                  <a:cubicBezTo>
                    <a:pt x="6838" y="26012"/>
                    <a:pt x="6810" y="26089"/>
                    <a:pt x="6761" y="26204"/>
                  </a:cubicBezTo>
                  <a:cubicBezTo>
                    <a:pt x="6747" y="26239"/>
                    <a:pt x="6733" y="26274"/>
                    <a:pt x="6722" y="26309"/>
                  </a:cubicBezTo>
                  <a:cubicBezTo>
                    <a:pt x="6722" y="26334"/>
                    <a:pt x="6712" y="26355"/>
                    <a:pt x="6694" y="26369"/>
                  </a:cubicBezTo>
                  <a:cubicBezTo>
                    <a:pt x="6672" y="26389"/>
                    <a:pt x="6638" y="26398"/>
                    <a:pt x="6579" y="26398"/>
                  </a:cubicBezTo>
                  <a:cubicBezTo>
                    <a:pt x="6546" y="26398"/>
                    <a:pt x="6505" y="26395"/>
                    <a:pt x="6453" y="26390"/>
                  </a:cubicBezTo>
                  <a:lnTo>
                    <a:pt x="6446" y="26390"/>
                  </a:lnTo>
                  <a:lnTo>
                    <a:pt x="6334" y="26376"/>
                  </a:lnTo>
                  <a:cubicBezTo>
                    <a:pt x="6281" y="26369"/>
                    <a:pt x="6229" y="26362"/>
                    <a:pt x="6208" y="26362"/>
                  </a:cubicBezTo>
                  <a:cubicBezTo>
                    <a:pt x="6187" y="26362"/>
                    <a:pt x="6085" y="26449"/>
                    <a:pt x="6026" y="26498"/>
                  </a:cubicBezTo>
                  <a:cubicBezTo>
                    <a:pt x="5928" y="26582"/>
                    <a:pt x="5861" y="26635"/>
                    <a:pt x="5809" y="26649"/>
                  </a:cubicBezTo>
                  <a:cubicBezTo>
                    <a:pt x="5809" y="26656"/>
                    <a:pt x="5809" y="26659"/>
                    <a:pt x="5809" y="26663"/>
                  </a:cubicBezTo>
                  <a:lnTo>
                    <a:pt x="5809" y="26670"/>
                  </a:lnTo>
                  <a:lnTo>
                    <a:pt x="5809" y="26680"/>
                  </a:lnTo>
                  <a:lnTo>
                    <a:pt x="5809" y="26687"/>
                  </a:lnTo>
                  <a:cubicBezTo>
                    <a:pt x="5809" y="26691"/>
                    <a:pt x="5809" y="26698"/>
                    <a:pt x="5812" y="26705"/>
                  </a:cubicBezTo>
                  <a:lnTo>
                    <a:pt x="5812" y="26712"/>
                  </a:lnTo>
                  <a:lnTo>
                    <a:pt x="5812" y="26726"/>
                  </a:lnTo>
                  <a:lnTo>
                    <a:pt x="5812" y="26733"/>
                  </a:lnTo>
                  <a:lnTo>
                    <a:pt x="5812" y="26747"/>
                  </a:lnTo>
                  <a:lnTo>
                    <a:pt x="5816" y="26761"/>
                  </a:lnTo>
                  <a:lnTo>
                    <a:pt x="5819" y="26771"/>
                  </a:lnTo>
                  <a:cubicBezTo>
                    <a:pt x="5975" y="26744"/>
                    <a:pt x="6087" y="26734"/>
                    <a:pt x="6167" y="26734"/>
                  </a:cubicBezTo>
                  <a:cubicBezTo>
                    <a:pt x="6348" y="26734"/>
                    <a:pt x="6373" y="26785"/>
                    <a:pt x="6383" y="26806"/>
                  </a:cubicBezTo>
                  <a:cubicBezTo>
                    <a:pt x="6397" y="26831"/>
                    <a:pt x="6397" y="26859"/>
                    <a:pt x="6383" y="26883"/>
                  </a:cubicBezTo>
                  <a:cubicBezTo>
                    <a:pt x="6330" y="27023"/>
                    <a:pt x="5858" y="27216"/>
                    <a:pt x="5711" y="27276"/>
                  </a:cubicBezTo>
                  <a:cubicBezTo>
                    <a:pt x="5728" y="27293"/>
                    <a:pt x="5749" y="27311"/>
                    <a:pt x="5767" y="27328"/>
                  </a:cubicBezTo>
                  <a:cubicBezTo>
                    <a:pt x="5851" y="27398"/>
                    <a:pt x="5928" y="27465"/>
                    <a:pt x="5921" y="27545"/>
                  </a:cubicBezTo>
                  <a:cubicBezTo>
                    <a:pt x="5914" y="27622"/>
                    <a:pt x="5837" y="27657"/>
                    <a:pt x="5756" y="27696"/>
                  </a:cubicBezTo>
                  <a:cubicBezTo>
                    <a:pt x="5637" y="27752"/>
                    <a:pt x="5588" y="27783"/>
                    <a:pt x="5595" y="27843"/>
                  </a:cubicBezTo>
                  <a:cubicBezTo>
                    <a:pt x="5613" y="27916"/>
                    <a:pt x="5599" y="27993"/>
                    <a:pt x="5553" y="28053"/>
                  </a:cubicBezTo>
                  <a:cubicBezTo>
                    <a:pt x="5480" y="28140"/>
                    <a:pt x="5343" y="28154"/>
                    <a:pt x="5235" y="28154"/>
                  </a:cubicBezTo>
                  <a:cubicBezTo>
                    <a:pt x="5203" y="28154"/>
                    <a:pt x="5172" y="28158"/>
                    <a:pt x="5140" y="28168"/>
                  </a:cubicBezTo>
                  <a:cubicBezTo>
                    <a:pt x="5175" y="28193"/>
                    <a:pt x="5203" y="28228"/>
                    <a:pt x="5221" y="28263"/>
                  </a:cubicBezTo>
                  <a:cubicBezTo>
                    <a:pt x="5284" y="28389"/>
                    <a:pt x="5399" y="28473"/>
                    <a:pt x="5532" y="28501"/>
                  </a:cubicBezTo>
                  <a:cubicBezTo>
                    <a:pt x="5840" y="28578"/>
                    <a:pt x="6194" y="28833"/>
                    <a:pt x="6582" y="29257"/>
                  </a:cubicBezTo>
                  <a:cubicBezTo>
                    <a:pt x="6614" y="29285"/>
                    <a:pt x="6645" y="29313"/>
                    <a:pt x="6680" y="29334"/>
                  </a:cubicBezTo>
                  <a:lnTo>
                    <a:pt x="6684" y="29331"/>
                  </a:lnTo>
                  <a:lnTo>
                    <a:pt x="6705" y="29320"/>
                  </a:lnTo>
                  <a:lnTo>
                    <a:pt x="6726" y="29310"/>
                  </a:lnTo>
                  <a:lnTo>
                    <a:pt x="6743" y="29299"/>
                  </a:lnTo>
                  <a:lnTo>
                    <a:pt x="6761" y="29292"/>
                  </a:lnTo>
                  <a:lnTo>
                    <a:pt x="6775" y="29285"/>
                  </a:lnTo>
                  <a:lnTo>
                    <a:pt x="6793" y="29278"/>
                  </a:lnTo>
                  <a:lnTo>
                    <a:pt x="6803" y="29271"/>
                  </a:lnTo>
                  <a:lnTo>
                    <a:pt x="6817" y="29268"/>
                  </a:lnTo>
                  <a:lnTo>
                    <a:pt x="6828" y="29264"/>
                  </a:lnTo>
                  <a:lnTo>
                    <a:pt x="6838" y="29261"/>
                  </a:lnTo>
                  <a:lnTo>
                    <a:pt x="6845" y="29257"/>
                  </a:lnTo>
                  <a:lnTo>
                    <a:pt x="6856" y="29254"/>
                  </a:lnTo>
                  <a:lnTo>
                    <a:pt x="6873" y="29254"/>
                  </a:lnTo>
                  <a:cubicBezTo>
                    <a:pt x="6895" y="29250"/>
                    <a:pt x="6918" y="29249"/>
                    <a:pt x="6943" y="29249"/>
                  </a:cubicBezTo>
                  <a:cubicBezTo>
                    <a:pt x="7132" y="29249"/>
                    <a:pt x="7406" y="29339"/>
                    <a:pt x="7577" y="29457"/>
                  </a:cubicBezTo>
                  <a:cubicBezTo>
                    <a:pt x="7618" y="29488"/>
                    <a:pt x="7712" y="29497"/>
                    <a:pt x="7816" y="29497"/>
                  </a:cubicBezTo>
                  <a:cubicBezTo>
                    <a:pt x="7887" y="29497"/>
                    <a:pt x="7963" y="29492"/>
                    <a:pt x="8028" y="29488"/>
                  </a:cubicBezTo>
                  <a:cubicBezTo>
                    <a:pt x="8100" y="29485"/>
                    <a:pt x="8161" y="29482"/>
                    <a:pt x="8213" y="29482"/>
                  </a:cubicBezTo>
                  <a:cubicBezTo>
                    <a:pt x="8331" y="29482"/>
                    <a:pt x="8401" y="29495"/>
                    <a:pt x="8438" y="29544"/>
                  </a:cubicBezTo>
                  <a:cubicBezTo>
                    <a:pt x="8487" y="29607"/>
                    <a:pt x="8546" y="29660"/>
                    <a:pt x="8613" y="29702"/>
                  </a:cubicBezTo>
                  <a:cubicBezTo>
                    <a:pt x="8648" y="29723"/>
                    <a:pt x="8686" y="29733"/>
                    <a:pt x="8725" y="29737"/>
                  </a:cubicBezTo>
                  <a:cubicBezTo>
                    <a:pt x="8805" y="29737"/>
                    <a:pt x="8872" y="29796"/>
                    <a:pt x="8932" y="29852"/>
                  </a:cubicBezTo>
                  <a:cubicBezTo>
                    <a:pt x="8960" y="29877"/>
                    <a:pt x="8988" y="29901"/>
                    <a:pt x="9019" y="29919"/>
                  </a:cubicBezTo>
                  <a:lnTo>
                    <a:pt x="9026" y="29919"/>
                  </a:lnTo>
                  <a:cubicBezTo>
                    <a:pt x="9037" y="29912"/>
                    <a:pt x="9051" y="29905"/>
                    <a:pt x="9061" y="29898"/>
                  </a:cubicBezTo>
                  <a:cubicBezTo>
                    <a:pt x="9156" y="29852"/>
                    <a:pt x="9338" y="29831"/>
                    <a:pt x="9625" y="29831"/>
                  </a:cubicBezTo>
                  <a:cubicBezTo>
                    <a:pt x="9674" y="29831"/>
                    <a:pt x="9723" y="29849"/>
                    <a:pt x="9761" y="29880"/>
                  </a:cubicBezTo>
                  <a:cubicBezTo>
                    <a:pt x="9775" y="29898"/>
                    <a:pt x="9796" y="29905"/>
                    <a:pt x="9817" y="29905"/>
                  </a:cubicBezTo>
                  <a:cubicBezTo>
                    <a:pt x="9922" y="29905"/>
                    <a:pt x="9954" y="30038"/>
                    <a:pt x="9978" y="30150"/>
                  </a:cubicBezTo>
                  <a:cubicBezTo>
                    <a:pt x="9985" y="30167"/>
                    <a:pt x="9992" y="30195"/>
                    <a:pt x="9999" y="30216"/>
                  </a:cubicBezTo>
                  <a:lnTo>
                    <a:pt x="9999" y="30223"/>
                  </a:lnTo>
                  <a:cubicBezTo>
                    <a:pt x="9999" y="30230"/>
                    <a:pt x="10003" y="30234"/>
                    <a:pt x="10003" y="30241"/>
                  </a:cubicBezTo>
                  <a:lnTo>
                    <a:pt x="10003" y="30244"/>
                  </a:lnTo>
                  <a:cubicBezTo>
                    <a:pt x="10024" y="30244"/>
                    <a:pt x="10045" y="30251"/>
                    <a:pt x="10062" y="30258"/>
                  </a:cubicBezTo>
                  <a:cubicBezTo>
                    <a:pt x="10122" y="30286"/>
                    <a:pt x="10178" y="30314"/>
                    <a:pt x="10230" y="30349"/>
                  </a:cubicBezTo>
                  <a:cubicBezTo>
                    <a:pt x="10269" y="30377"/>
                    <a:pt x="10311" y="30402"/>
                    <a:pt x="10353" y="30426"/>
                  </a:cubicBezTo>
                  <a:cubicBezTo>
                    <a:pt x="10395" y="30451"/>
                    <a:pt x="10437" y="30468"/>
                    <a:pt x="10482" y="30482"/>
                  </a:cubicBezTo>
                  <a:cubicBezTo>
                    <a:pt x="10489" y="30482"/>
                    <a:pt x="10496" y="30486"/>
                    <a:pt x="10500" y="30486"/>
                  </a:cubicBezTo>
                  <a:cubicBezTo>
                    <a:pt x="10601" y="30500"/>
                    <a:pt x="10692" y="30584"/>
                    <a:pt x="10769" y="30661"/>
                  </a:cubicBezTo>
                  <a:lnTo>
                    <a:pt x="10801" y="30692"/>
                  </a:lnTo>
                  <a:cubicBezTo>
                    <a:pt x="10832" y="30724"/>
                    <a:pt x="10860" y="30752"/>
                    <a:pt x="10895" y="30780"/>
                  </a:cubicBezTo>
                  <a:cubicBezTo>
                    <a:pt x="10902" y="30776"/>
                    <a:pt x="10913" y="30776"/>
                    <a:pt x="10920" y="30776"/>
                  </a:cubicBezTo>
                  <a:lnTo>
                    <a:pt x="10924" y="30776"/>
                  </a:lnTo>
                  <a:cubicBezTo>
                    <a:pt x="10934" y="30776"/>
                    <a:pt x="10941" y="30776"/>
                    <a:pt x="10948" y="30780"/>
                  </a:cubicBezTo>
                  <a:lnTo>
                    <a:pt x="10952" y="30780"/>
                  </a:lnTo>
                  <a:cubicBezTo>
                    <a:pt x="10959" y="30780"/>
                    <a:pt x="10969" y="30783"/>
                    <a:pt x="10976" y="30787"/>
                  </a:cubicBezTo>
                  <a:lnTo>
                    <a:pt x="10980" y="30787"/>
                  </a:lnTo>
                  <a:lnTo>
                    <a:pt x="11004" y="30794"/>
                  </a:lnTo>
                  <a:lnTo>
                    <a:pt x="11008" y="30794"/>
                  </a:lnTo>
                  <a:lnTo>
                    <a:pt x="11029" y="30804"/>
                  </a:lnTo>
                  <a:cubicBezTo>
                    <a:pt x="11043" y="30808"/>
                    <a:pt x="11057" y="30818"/>
                    <a:pt x="11071" y="30822"/>
                  </a:cubicBezTo>
                  <a:lnTo>
                    <a:pt x="11081" y="30825"/>
                  </a:lnTo>
                  <a:cubicBezTo>
                    <a:pt x="11081" y="30822"/>
                    <a:pt x="11085" y="30818"/>
                    <a:pt x="11085" y="30818"/>
                  </a:cubicBezTo>
                  <a:cubicBezTo>
                    <a:pt x="11116" y="30738"/>
                    <a:pt x="11193" y="30713"/>
                    <a:pt x="11263" y="30692"/>
                  </a:cubicBezTo>
                  <a:lnTo>
                    <a:pt x="11291" y="30682"/>
                  </a:lnTo>
                  <a:lnTo>
                    <a:pt x="11302" y="30678"/>
                  </a:lnTo>
                  <a:lnTo>
                    <a:pt x="11319" y="30671"/>
                  </a:lnTo>
                  <a:lnTo>
                    <a:pt x="11330" y="30668"/>
                  </a:lnTo>
                  <a:lnTo>
                    <a:pt x="11347" y="30661"/>
                  </a:lnTo>
                  <a:lnTo>
                    <a:pt x="11354" y="30654"/>
                  </a:lnTo>
                  <a:lnTo>
                    <a:pt x="11368" y="30647"/>
                  </a:lnTo>
                  <a:lnTo>
                    <a:pt x="11375" y="30643"/>
                  </a:lnTo>
                  <a:lnTo>
                    <a:pt x="11389" y="30633"/>
                  </a:lnTo>
                  <a:lnTo>
                    <a:pt x="11396" y="30629"/>
                  </a:lnTo>
                  <a:cubicBezTo>
                    <a:pt x="11403" y="30622"/>
                    <a:pt x="11407" y="30619"/>
                    <a:pt x="11410" y="30612"/>
                  </a:cubicBezTo>
                  <a:lnTo>
                    <a:pt x="11414" y="30608"/>
                  </a:lnTo>
                  <a:cubicBezTo>
                    <a:pt x="11417" y="30601"/>
                    <a:pt x="11421" y="30598"/>
                    <a:pt x="11424" y="30594"/>
                  </a:cubicBezTo>
                  <a:cubicBezTo>
                    <a:pt x="11025" y="30104"/>
                    <a:pt x="10797" y="29786"/>
                    <a:pt x="10804" y="29625"/>
                  </a:cubicBezTo>
                  <a:cubicBezTo>
                    <a:pt x="10808" y="29569"/>
                    <a:pt x="10815" y="29520"/>
                    <a:pt x="10822" y="29471"/>
                  </a:cubicBezTo>
                  <a:cubicBezTo>
                    <a:pt x="10850" y="29275"/>
                    <a:pt x="10867" y="29148"/>
                    <a:pt x="10619" y="28935"/>
                  </a:cubicBezTo>
                  <a:cubicBezTo>
                    <a:pt x="10517" y="28847"/>
                    <a:pt x="10465" y="28760"/>
                    <a:pt x="10461" y="28665"/>
                  </a:cubicBezTo>
                  <a:cubicBezTo>
                    <a:pt x="10451" y="28511"/>
                    <a:pt x="10580" y="28382"/>
                    <a:pt x="10713" y="28242"/>
                  </a:cubicBezTo>
                  <a:cubicBezTo>
                    <a:pt x="10773" y="28182"/>
                    <a:pt x="10832" y="28119"/>
                    <a:pt x="10885" y="28053"/>
                  </a:cubicBezTo>
                  <a:cubicBezTo>
                    <a:pt x="11032" y="27864"/>
                    <a:pt x="11277" y="27748"/>
                    <a:pt x="11512" y="27636"/>
                  </a:cubicBezTo>
                  <a:cubicBezTo>
                    <a:pt x="11606" y="27591"/>
                    <a:pt x="11701" y="27549"/>
                    <a:pt x="11785" y="27500"/>
                  </a:cubicBezTo>
                  <a:cubicBezTo>
                    <a:pt x="11757" y="27486"/>
                    <a:pt x="11729" y="27468"/>
                    <a:pt x="11701" y="27458"/>
                  </a:cubicBezTo>
                  <a:cubicBezTo>
                    <a:pt x="11680" y="27447"/>
                    <a:pt x="11659" y="27437"/>
                    <a:pt x="11641" y="27426"/>
                  </a:cubicBezTo>
                  <a:cubicBezTo>
                    <a:pt x="11505" y="27360"/>
                    <a:pt x="11442" y="27293"/>
                    <a:pt x="11449" y="27220"/>
                  </a:cubicBezTo>
                  <a:cubicBezTo>
                    <a:pt x="11449" y="27213"/>
                    <a:pt x="11449" y="27206"/>
                    <a:pt x="11452" y="27199"/>
                  </a:cubicBezTo>
                  <a:cubicBezTo>
                    <a:pt x="11466" y="27149"/>
                    <a:pt x="11512" y="27111"/>
                    <a:pt x="11589" y="27090"/>
                  </a:cubicBezTo>
                  <a:cubicBezTo>
                    <a:pt x="11606" y="27086"/>
                    <a:pt x="11620" y="27079"/>
                    <a:pt x="11634" y="27072"/>
                  </a:cubicBezTo>
                  <a:cubicBezTo>
                    <a:pt x="11634" y="27069"/>
                    <a:pt x="11638" y="27069"/>
                    <a:pt x="11638" y="27069"/>
                  </a:cubicBezTo>
                  <a:cubicBezTo>
                    <a:pt x="11641" y="27037"/>
                    <a:pt x="11536" y="26915"/>
                    <a:pt x="11484" y="26859"/>
                  </a:cubicBezTo>
                  <a:cubicBezTo>
                    <a:pt x="11424" y="26789"/>
                    <a:pt x="11372" y="26715"/>
                    <a:pt x="11323" y="26638"/>
                  </a:cubicBezTo>
                  <a:lnTo>
                    <a:pt x="11305" y="26614"/>
                  </a:lnTo>
                  <a:cubicBezTo>
                    <a:pt x="11263" y="26554"/>
                    <a:pt x="11218" y="26491"/>
                    <a:pt x="11193" y="26491"/>
                  </a:cubicBezTo>
                  <a:cubicBezTo>
                    <a:pt x="11172" y="26491"/>
                    <a:pt x="11144" y="26491"/>
                    <a:pt x="11116" y="26488"/>
                  </a:cubicBezTo>
                  <a:cubicBezTo>
                    <a:pt x="11087" y="26485"/>
                    <a:pt x="11059" y="26483"/>
                    <a:pt x="11030" y="26483"/>
                  </a:cubicBezTo>
                  <a:cubicBezTo>
                    <a:pt x="10961" y="26483"/>
                    <a:pt x="10892" y="26493"/>
                    <a:pt x="10825" y="26512"/>
                  </a:cubicBezTo>
                  <a:cubicBezTo>
                    <a:pt x="10807" y="26520"/>
                    <a:pt x="10787" y="26524"/>
                    <a:pt x="10767" y="26524"/>
                  </a:cubicBezTo>
                  <a:cubicBezTo>
                    <a:pt x="10735" y="26524"/>
                    <a:pt x="10704" y="26514"/>
                    <a:pt x="10678" y="26495"/>
                  </a:cubicBezTo>
                  <a:cubicBezTo>
                    <a:pt x="10605" y="26432"/>
                    <a:pt x="10622" y="26302"/>
                    <a:pt x="10643" y="26148"/>
                  </a:cubicBezTo>
                  <a:cubicBezTo>
                    <a:pt x="10650" y="26110"/>
                    <a:pt x="10619" y="26089"/>
                    <a:pt x="10500" y="26057"/>
                  </a:cubicBezTo>
                  <a:cubicBezTo>
                    <a:pt x="10433" y="26040"/>
                    <a:pt x="10370" y="26022"/>
                    <a:pt x="10339" y="25977"/>
                  </a:cubicBezTo>
                  <a:cubicBezTo>
                    <a:pt x="10311" y="25938"/>
                    <a:pt x="10311" y="25882"/>
                    <a:pt x="10328" y="25809"/>
                  </a:cubicBezTo>
                  <a:cubicBezTo>
                    <a:pt x="10353" y="25721"/>
                    <a:pt x="10423" y="25574"/>
                    <a:pt x="10486" y="25543"/>
                  </a:cubicBezTo>
                  <a:cubicBezTo>
                    <a:pt x="10591" y="25490"/>
                    <a:pt x="10626" y="25455"/>
                    <a:pt x="10636" y="25441"/>
                  </a:cubicBezTo>
                  <a:cubicBezTo>
                    <a:pt x="10626" y="25434"/>
                    <a:pt x="10612" y="25424"/>
                    <a:pt x="10601" y="25417"/>
                  </a:cubicBezTo>
                  <a:cubicBezTo>
                    <a:pt x="10549" y="25389"/>
                    <a:pt x="10440" y="25326"/>
                    <a:pt x="10451" y="25217"/>
                  </a:cubicBezTo>
                  <a:cubicBezTo>
                    <a:pt x="10454" y="25186"/>
                    <a:pt x="10465" y="25158"/>
                    <a:pt x="10482" y="25130"/>
                  </a:cubicBezTo>
                  <a:cubicBezTo>
                    <a:pt x="10524" y="25059"/>
                    <a:pt x="10587" y="25000"/>
                    <a:pt x="10661" y="24954"/>
                  </a:cubicBezTo>
                  <a:cubicBezTo>
                    <a:pt x="10731" y="24905"/>
                    <a:pt x="10762" y="24884"/>
                    <a:pt x="10762" y="24825"/>
                  </a:cubicBezTo>
                  <a:cubicBezTo>
                    <a:pt x="10762" y="24797"/>
                    <a:pt x="10766" y="24765"/>
                    <a:pt x="10773" y="24737"/>
                  </a:cubicBezTo>
                  <a:cubicBezTo>
                    <a:pt x="10794" y="24657"/>
                    <a:pt x="10843" y="24587"/>
                    <a:pt x="10917" y="24545"/>
                  </a:cubicBezTo>
                  <a:cubicBezTo>
                    <a:pt x="10924" y="24541"/>
                    <a:pt x="10931" y="24541"/>
                    <a:pt x="10938" y="24538"/>
                  </a:cubicBezTo>
                  <a:cubicBezTo>
                    <a:pt x="10966" y="24527"/>
                    <a:pt x="10995" y="24522"/>
                    <a:pt x="11024" y="24522"/>
                  </a:cubicBezTo>
                  <a:cubicBezTo>
                    <a:pt x="11081" y="24522"/>
                    <a:pt x="11136" y="24542"/>
                    <a:pt x="11183" y="24576"/>
                  </a:cubicBezTo>
                  <a:cubicBezTo>
                    <a:pt x="11200" y="24590"/>
                    <a:pt x="11218" y="24604"/>
                    <a:pt x="11235" y="24622"/>
                  </a:cubicBezTo>
                  <a:cubicBezTo>
                    <a:pt x="11281" y="24671"/>
                    <a:pt x="11323" y="24723"/>
                    <a:pt x="11361" y="24779"/>
                  </a:cubicBezTo>
                  <a:cubicBezTo>
                    <a:pt x="11424" y="24874"/>
                    <a:pt x="11466" y="24930"/>
                    <a:pt x="11512" y="24940"/>
                  </a:cubicBezTo>
                  <a:cubicBezTo>
                    <a:pt x="11515" y="24941"/>
                    <a:pt x="11519" y="24942"/>
                    <a:pt x="11524" y="24942"/>
                  </a:cubicBezTo>
                  <a:cubicBezTo>
                    <a:pt x="11535" y="24942"/>
                    <a:pt x="11547" y="24939"/>
                    <a:pt x="11557" y="24933"/>
                  </a:cubicBezTo>
                  <a:cubicBezTo>
                    <a:pt x="11582" y="24930"/>
                    <a:pt x="11606" y="24912"/>
                    <a:pt x="11620" y="24891"/>
                  </a:cubicBezTo>
                  <a:cubicBezTo>
                    <a:pt x="11634" y="24856"/>
                    <a:pt x="11610" y="24797"/>
                    <a:pt x="11592" y="24748"/>
                  </a:cubicBezTo>
                  <a:cubicBezTo>
                    <a:pt x="11582" y="24723"/>
                    <a:pt x="11571" y="24699"/>
                    <a:pt x="11568" y="24674"/>
                  </a:cubicBezTo>
                  <a:lnTo>
                    <a:pt x="11564" y="24660"/>
                  </a:lnTo>
                  <a:cubicBezTo>
                    <a:pt x="11547" y="24590"/>
                    <a:pt x="11522" y="24499"/>
                    <a:pt x="11571" y="24419"/>
                  </a:cubicBezTo>
                  <a:cubicBezTo>
                    <a:pt x="11617" y="24356"/>
                    <a:pt x="11687" y="24314"/>
                    <a:pt x="11760" y="24303"/>
                  </a:cubicBezTo>
                  <a:cubicBezTo>
                    <a:pt x="11813" y="24293"/>
                    <a:pt x="11858" y="24258"/>
                    <a:pt x="11872" y="24205"/>
                  </a:cubicBezTo>
                  <a:lnTo>
                    <a:pt x="11883" y="24184"/>
                  </a:lnTo>
                  <a:cubicBezTo>
                    <a:pt x="11904" y="24125"/>
                    <a:pt x="11942" y="24034"/>
                    <a:pt x="12068" y="24034"/>
                  </a:cubicBezTo>
                  <a:cubicBezTo>
                    <a:pt x="12180" y="24034"/>
                    <a:pt x="12401" y="23901"/>
                    <a:pt x="12516" y="23831"/>
                  </a:cubicBezTo>
                  <a:cubicBezTo>
                    <a:pt x="12562" y="23806"/>
                    <a:pt x="12593" y="23785"/>
                    <a:pt x="12618" y="23775"/>
                  </a:cubicBezTo>
                  <a:lnTo>
                    <a:pt x="12649" y="23761"/>
                  </a:lnTo>
                  <a:cubicBezTo>
                    <a:pt x="12740" y="23708"/>
                    <a:pt x="12842" y="23666"/>
                    <a:pt x="12947" y="23642"/>
                  </a:cubicBezTo>
                  <a:cubicBezTo>
                    <a:pt x="12965" y="23637"/>
                    <a:pt x="12983" y="23634"/>
                    <a:pt x="13001" y="23634"/>
                  </a:cubicBezTo>
                  <a:cubicBezTo>
                    <a:pt x="13032" y="23634"/>
                    <a:pt x="13062" y="23641"/>
                    <a:pt x="13091" y="23652"/>
                  </a:cubicBezTo>
                  <a:cubicBezTo>
                    <a:pt x="13112" y="23663"/>
                    <a:pt x="13129" y="23673"/>
                    <a:pt x="13150" y="23687"/>
                  </a:cubicBezTo>
                  <a:cubicBezTo>
                    <a:pt x="13178" y="23705"/>
                    <a:pt x="13206" y="23719"/>
                    <a:pt x="13238" y="23729"/>
                  </a:cubicBezTo>
                  <a:cubicBezTo>
                    <a:pt x="13241" y="23731"/>
                    <a:pt x="13245" y="23732"/>
                    <a:pt x="13248" y="23732"/>
                  </a:cubicBezTo>
                  <a:cubicBezTo>
                    <a:pt x="13252" y="23732"/>
                    <a:pt x="13255" y="23731"/>
                    <a:pt x="13259" y="23729"/>
                  </a:cubicBezTo>
                  <a:cubicBezTo>
                    <a:pt x="13269" y="23726"/>
                    <a:pt x="13283" y="23708"/>
                    <a:pt x="13294" y="23684"/>
                  </a:cubicBezTo>
                  <a:cubicBezTo>
                    <a:pt x="13332" y="23594"/>
                    <a:pt x="13420" y="23542"/>
                    <a:pt x="13532" y="23542"/>
                  </a:cubicBezTo>
                  <a:cubicBezTo>
                    <a:pt x="13542" y="23542"/>
                    <a:pt x="13553" y="23543"/>
                    <a:pt x="13563" y="23544"/>
                  </a:cubicBezTo>
                  <a:cubicBezTo>
                    <a:pt x="13588" y="23547"/>
                    <a:pt x="13612" y="23551"/>
                    <a:pt x="13637" y="23558"/>
                  </a:cubicBezTo>
                  <a:cubicBezTo>
                    <a:pt x="13714" y="23579"/>
                    <a:pt x="13784" y="23624"/>
                    <a:pt x="13801" y="23687"/>
                  </a:cubicBezTo>
                  <a:cubicBezTo>
                    <a:pt x="13833" y="23708"/>
                    <a:pt x="13962" y="23733"/>
                    <a:pt x="14050" y="23747"/>
                  </a:cubicBezTo>
                  <a:cubicBezTo>
                    <a:pt x="14148" y="23761"/>
                    <a:pt x="14246" y="23785"/>
                    <a:pt x="14337" y="23813"/>
                  </a:cubicBezTo>
                  <a:cubicBezTo>
                    <a:pt x="14361" y="23824"/>
                    <a:pt x="14386" y="23834"/>
                    <a:pt x="14407" y="23848"/>
                  </a:cubicBezTo>
                  <a:lnTo>
                    <a:pt x="14466" y="23887"/>
                  </a:lnTo>
                  <a:cubicBezTo>
                    <a:pt x="14760" y="24079"/>
                    <a:pt x="14900" y="24188"/>
                    <a:pt x="14900" y="24293"/>
                  </a:cubicBezTo>
                  <a:cubicBezTo>
                    <a:pt x="14900" y="24307"/>
                    <a:pt x="14904" y="24324"/>
                    <a:pt x="14914" y="24335"/>
                  </a:cubicBezTo>
                  <a:cubicBezTo>
                    <a:pt x="14914" y="24282"/>
                    <a:pt x="14939" y="24233"/>
                    <a:pt x="14984" y="24205"/>
                  </a:cubicBezTo>
                  <a:cubicBezTo>
                    <a:pt x="15005" y="24194"/>
                    <a:pt x="15027" y="24188"/>
                    <a:pt x="15051" y="24188"/>
                  </a:cubicBezTo>
                  <a:cubicBezTo>
                    <a:pt x="15121" y="24188"/>
                    <a:pt x="15208" y="24234"/>
                    <a:pt x="15328" y="24307"/>
                  </a:cubicBezTo>
                  <a:cubicBezTo>
                    <a:pt x="15394" y="24348"/>
                    <a:pt x="15469" y="24369"/>
                    <a:pt x="15543" y="24369"/>
                  </a:cubicBezTo>
                  <a:cubicBezTo>
                    <a:pt x="15581" y="24369"/>
                    <a:pt x="15620" y="24363"/>
                    <a:pt x="15657" y="24352"/>
                  </a:cubicBezTo>
                  <a:cubicBezTo>
                    <a:pt x="15692" y="24345"/>
                    <a:pt x="15727" y="24324"/>
                    <a:pt x="15744" y="24293"/>
                  </a:cubicBezTo>
                  <a:cubicBezTo>
                    <a:pt x="15786" y="24188"/>
                    <a:pt x="15947" y="24104"/>
                    <a:pt x="16080" y="24069"/>
                  </a:cubicBezTo>
                  <a:cubicBezTo>
                    <a:pt x="16118" y="24058"/>
                    <a:pt x="16170" y="24048"/>
                    <a:pt x="16224" y="24048"/>
                  </a:cubicBezTo>
                  <a:cubicBezTo>
                    <a:pt x="16279" y="24048"/>
                    <a:pt x="16337" y="24059"/>
                    <a:pt x="16381" y="24093"/>
                  </a:cubicBezTo>
                  <a:lnTo>
                    <a:pt x="16416" y="24125"/>
                  </a:lnTo>
                  <a:cubicBezTo>
                    <a:pt x="16465" y="24165"/>
                    <a:pt x="16491" y="24187"/>
                    <a:pt x="16518" y="24187"/>
                  </a:cubicBezTo>
                  <a:cubicBezTo>
                    <a:pt x="16542" y="24187"/>
                    <a:pt x="16567" y="24167"/>
                    <a:pt x="16609" y="24125"/>
                  </a:cubicBezTo>
                  <a:cubicBezTo>
                    <a:pt x="16693" y="24050"/>
                    <a:pt x="16802" y="24008"/>
                    <a:pt x="16915" y="24008"/>
                  </a:cubicBezTo>
                  <a:cubicBezTo>
                    <a:pt x="16924" y="24008"/>
                    <a:pt x="16933" y="24009"/>
                    <a:pt x="16941" y="24009"/>
                  </a:cubicBezTo>
                  <a:cubicBezTo>
                    <a:pt x="16962" y="24009"/>
                    <a:pt x="16983" y="24013"/>
                    <a:pt x="17004" y="24013"/>
                  </a:cubicBezTo>
                  <a:cubicBezTo>
                    <a:pt x="17022" y="24013"/>
                    <a:pt x="17036" y="24020"/>
                    <a:pt x="17050" y="24023"/>
                  </a:cubicBezTo>
                  <a:cubicBezTo>
                    <a:pt x="17155" y="24048"/>
                    <a:pt x="17225" y="24100"/>
                    <a:pt x="17250" y="24174"/>
                  </a:cubicBezTo>
                  <a:cubicBezTo>
                    <a:pt x="17274" y="24233"/>
                    <a:pt x="17323" y="24275"/>
                    <a:pt x="17386" y="24282"/>
                  </a:cubicBezTo>
                  <a:cubicBezTo>
                    <a:pt x="17432" y="24294"/>
                    <a:pt x="17476" y="24301"/>
                    <a:pt x="17522" y="24301"/>
                  </a:cubicBezTo>
                  <a:cubicBezTo>
                    <a:pt x="17531" y="24301"/>
                    <a:pt x="17541" y="24300"/>
                    <a:pt x="17551" y="24300"/>
                  </a:cubicBezTo>
                  <a:cubicBezTo>
                    <a:pt x="17659" y="24300"/>
                    <a:pt x="17719" y="24380"/>
                    <a:pt x="17757" y="24433"/>
                  </a:cubicBezTo>
                  <a:cubicBezTo>
                    <a:pt x="17768" y="24447"/>
                    <a:pt x="17782" y="24461"/>
                    <a:pt x="17792" y="24475"/>
                  </a:cubicBezTo>
                  <a:cubicBezTo>
                    <a:pt x="17813" y="24447"/>
                    <a:pt x="17827" y="24412"/>
                    <a:pt x="17838" y="24377"/>
                  </a:cubicBezTo>
                  <a:cubicBezTo>
                    <a:pt x="17857" y="24310"/>
                    <a:pt x="17893" y="24202"/>
                    <a:pt x="17995" y="24202"/>
                  </a:cubicBezTo>
                  <a:cubicBezTo>
                    <a:pt x="18005" y="24202"/>
                    <a:pt x="18016" y="24203"/>
                    <a:pt x="18027" y="24205"/>
                  </a:cubicBezTo>
                  <a:cubicBezTo>
                    <a:pt x="18083" y="24223"/>
                    <a:pt x="18139" y="24247"/>
                    <a:pt x="18188" y="24286"/>
                  </a:cubicBezTo>
                  <a:lnTo>
                    <a:pt x="18216" y="24300"/>
                  </a:lnTo>
                  <a:cubicBezTo>
                    <a:pt x="18275" y="24345"/>
                    <a:pt x="18349" y="24370"/>
                    <a:pt x="18426" y="24373"/>
                  </a:cubicBezTo>
                  <a:cubicBezTo>
                    <a:pt x="18699" y="24373"/>
                    <a:pt x="18699" y="24279"/>
                    <a:pt x="18699" y="24247"/>
                  </a:cubicBezTo>
                  <a:cubicBezTo>
                    <a:pt x="18699" y="24037"/>
                    <a:pt x="18653" y="23925"/>
                    <a:pt x="18618" y="23925"/>
                  </a:cubicBezTo>
                  <a:cubicBezTo>
                    <a:pt x="18548" y="23918"/>
                    <a:pt x="18478" y="23897"/>
                    <a:pt x="18415" y="23862"/>
                  </a:cubicBezTo>
                  <a:cubicBezTo>
                    <a:pt x="18359" y="23827"/>
                    <a:pt x="18296" y="23810"/>
                    <a:pt x="18230" y="23803"/>
                  </a:cubicBezTo>
                  <a:cubicBezTo>
                    <a:pt x="18188" y="23803"/>
                    <a:pt x="18149" y="23792"/>
                    <a:pt x="18114" y="23771"/>
                  </a:cubicBezTo>
                  <a:cubicBezTo>
                    <a:pt x="18037" y="23726"/>
                    <a:pt x="17981" y="23649"/>
                    <a:pt x="17960" y="23558"/>
                  </a:cubicBezTo>
                  <a:cubicBezTo>
                    <a:pt x="17960" y="23547"/>
                    <a:pt x="17960" y="23533"/>
                    <a:pt x="17960" y="23523"/>
                  </a:cubicBezTo>
                  <a:cubicBezTo>
                    <a:pt x="17964" y="23502"/>
                    <a:pt x="17967" y="23481"/>
                    <a:pt x="17974" y="23463"/>
                  </a:cubicBezTo>
                  <a:cubicBezTo>
                    <a:pt x="17992" y="23425"/>
                    <a:pt x="18027" y="23397"/>
                    <a:pt x="18065" y="23383"/>
                  </a:cubicBezTo>
                  <a:cubicBezTo>
                    <a:pt x="18160" y="23355"/>
                    <a:pt x="18247" y="23309"/>
                    <a:pt x="18328" y="23246"/>
                  </a:cubicBezTo>
                  <a:cubicBezTo>
                    <a:pt x="18342" y="23236"/>
                    <a:pt x="18352" y="23222"/>
                    <a:pt x="18363" y="23204"/>
                  </a:cubicBezTo>
                  <a:cubicBezTo>
                    <a:pt x="18366" y="23197"/>
                    <a:pt x="18370" y="23190"/>
                    <a:pt x="18366" y="23183"/>
                  </a:cubicBezTo>
                  <a:cubicBezTo>
                    <a:pt x="18338" y="23113"/>
                    <a:pt x="18321" y="23040"/>
                    <a:pt x="18317" y="22966"/>
                  </a:cubicBezTo>
                  <a:cubicBezTo>
                    <a:pt x="18314" y="22910"/>
                    <a:pt x="18324" y="22854"/>
                    <a:pt x="18352" y="22805"/>
                  </a:cubicBezTo>
                  <a:cubicBezTo>
                    <a:pt x="18387" y="22745"/>
                    <a:pt x="18447" y="22710"/>
                    <a:pt x="18517" y="22703"/>
                  </a:cubicBezTo>
                  <a:lnTo>
                    <a:pt x="18566" y="22700"/>
                  </a:lnTo>
                  <a:cubicBezTo>
                    <a:pt x="18611" y="22693"/>
                    <a:pt x="18664" y="22689"/>
                    <a:pt x="18716" y="22686"/>
                  </a:cubicBezTo>
                  <a:cubicBezTo>
                    <a:pt x="18769" y="22682"/>
                    <a:pt x="18839" y="22679"/>
                    <a:pt x="18902" y="22672"/>
                  </a:cubicBezTo>
                  <a:lnTo>
                    <a:pt x="18961" y="22665"/>
                  </a:lnTo>
                  <a:lnTo>
                    <a:pt x="18895" y="22644"/>
                  </a:lnTo>
                  <a:cubicBezTo>
                    <a:pt x="18758" y="22598"/>
                    <a:pt x="18618" y="22553"/>
                    <a:pt x="18566" y="22462"/>
                  </a:cubicBezTo>
                  <a:cubicBezTo>
                    <a:pt x="18489" y="22336"/>
                    <a:pt x="18436" y="21996"/>
                    <a:pt x="18559" y="21916"/>
                  </a:cubicBezTo>
                  <a:cubicBezTo>
                    <a:pt x="18599" y="21894"/>
                    <a:pt x="18641" y="21884"/>
                    <a:pt x="18684" y="21884"/>
                  </a:cubicBezTo>
                  <a:cubicBezTo>
                    <a:pt x="18690" y="21884"/>
                    <a:pt x="18696" y="21884"/>
                    <a:pt x="18702" y="21884"/>
                  </a:cubicBezTo>
                  <a:cubicBezTo>
                    <a:pt x="18730" y="21884"/>
                    <a:pt x="18762" y="21888"/>
                    <a:pt x="18797" y="21891"/>
                  </a:cubicBezTo>
                  <a:cubicBezTo>
                    <a:pt x="18827" y="21895"/>
                    <a:pt x="18857" y="21897"/>
                    <a:pt x="18887" y="21897"/>
                  </a:cubicBezTo>
                  <a:cubicBezTo>
                    <a:pt x="18937" y="21897"/>
                    <a:pt x="18987" y="21892"/>
                    <a:pt x="19035" y="21881"/>
                  </a:cubicBezTo>
                  <a:cubicBezTo>
                    <a:pt x="19084" y="21871"/>
                    <a:pt x="19133" y="21865"/>
                    <a:pt x="19181" y="21865"/>
                  </a:cubicBezTo>
                  <a:cubicBezTo>
                    <a:pt x="19216" y="21865"/>
                    <a:pt x="19250" y="21868"/>
                    <a:pt x="19284" y="21874"/>
                  </a:cubicBezTo>
                  <a:cubicBezTo>
                    <a:pt x="19331" y="21877"/>
                    <a:pt x="19380" y="21881"/>
                    <a:pt x="19428" y="21881"/>
                  </a:cubicBezTo>
                  <a:cubicBezTo>
                    <a:pt x="19518" y="21881"/>
                    <a:pt x="19606" y="21868"/>
                    <a:pt x="19672" y="21818"/>
                  </a:cubicBezTo>
                  <a:cubicBezTo>
                    <a:pt x="19893" y="21653"/>
                    <a:pt x="20351" y="21636"/>
                    <a:pt x="20537" y="21636"/>
                  </a:cubicBezTo>
                  <a:cubicBezTo>
                    <a:pt x="20649" y="21636"/>
                    <a:pt x="20750" y="21594"/>
                    <a:pt x="20848" y="21548"/>
                  </a:cubicBezTo>
                  <a:cubicBezTo>
                    <a:pt x="20925" y="21510"/>
                    <a:pt x="21002" y="21485"/>
                    <a:pt x="21086" y="21468"/>
                  </a:cubicBezTo>
                  <a:cubicBezTo>
                    <a:pt x="21377" y="21426"/>
                    <a:pt x="21752" y="21366"/>
                    <a:pt x="21846" y="21328"/>
                  </a:cubicBezTo>
                  <a:cubicBezTo>
                    <a:pt x="21923" y="21303"/>
                    <a:pt x="22000" y="21282"/>
                    <a:pt x="22077" y="21268"/>
                  </a:cubicBezTo>
                  <a:cubicBezTo>
                    <a:pt x="22112" y="21261"/>
                    <a:pt x="22161" y="21251"/>
                    <a:pt x="22214" y="21237"/>
                  </a:cubicBezTo>
                  <a:lnTo>
                    <a:pt x="22298" y="21216"/>
                  </a:lnTo>
                  <a:cubicBezTo>
                    <a:pt x="22434" y="21181"/>
                    <a:pt x="22578" y="21139"/>
                    <a:pt x="22609" y="21104"/>
                  </a:cubicBezTo>
                  <a:cubicBezTo>
                    <a:pt x="22623" y="21058"/>
                    <a:pt x="22655" y="21020"/>
                    <a:pt x="22700" y="20999"/>
                  </a:cubicBezTo>
                  <a:lnTo>
                    <a:pt x="22721" y="20985"/>
                  </a:lnTo>
                  <a:cubicBezTo>
                    <a:pt x="22841" y="20925"/>
                    <a:pt x="23056" y="20879"/>
                    <a:pt x="23218" y="20879"/>
                  </a:cubicBezTo>
                  <a:cubicBezTo>
                    <a:pt x="23284" y="20879"/>
                    <a:pt x="23341" y="20887"/>
                    <a:pt x="23380" y="20904"/>
                  </a:cubicBezTo>
                  <a:cubicBezTo>
                    <a:pt x="23487" y="20953"/>
                    <a:pt x="23586" y="20978"/>
                    <a:pt x="23663" y="20978"/>
                  </a:cubicBezTo>
                  <a:cubicBezTo>
                    <a:pt x="23697" y="20978"/>
                    <a:pt x="23726" y="20973"/>
                    <a:pt x="23751" y="20964"/>
                  </a:cubicBezTo>
                  <a:cubicBezTo>
                    <a:pt x="23778" y="20952"/>
                    <a:pt x="23807" y="20947"/>
                    <a:pt x="23838" y="20947"/>
                  </a:cubicBezTo>
                  <a:cubicBezTo>
                    <a:pt x="23930" y="20947"/>
                    <a:pt x="24032" y="20992"/>
                    <a:pt x="24097" y="21048"/>
                  </a:cubicBezTo>
                  <a:cubicBezTo>
                    <a:pt x="24171" y="21111"/>
                    <a:pt x="24206" y="21184"/>
                    <a:pt x="24192" y="21254"/>
                  </a:cubicBezTo>
                  <a:cubicBezTo>
                    <a:pt x="24185" y="21307"/>
                    <a:pt x="24213" y="21373"/>
                    <a:pt x="24241" y="21436"/>
                  </a:cubicBezTo>
                  <a:cubicBezTo>
                    <a:pt x="24276" y="21499"/>
                    <a:pt x="24293" y="21566"/>
                    <a:pt x="24290" y="21639"/>
                  </a:cubicBezTo>
                  <a:cubicBezTo>
                    <a:pt x="24283" y="21688"/>
                    <a:pt x="24262" y="21737"/>
                    <a:pt x="24230" y="21776"/>
                  </a:cubicBezTo>
                  <a:cubicBezTo>
                    <a:pt x="24220" y="21786"/>
                    <a:pt x="24213" y="21797"/>
                    <a:pt x="24209" y="21811"/>
                  </a:cubicBezTo>
                  <a:lnTo>
                    <a:pt x="24209" y="21814"/>
                  </a:lnTo>
                  <a:lnTo>
                    <a:pt x="24216" y="21818"/>
                  </a:lnTo>
                  <a:cubicBezTo>
                    <a:pt x="24237" y="21829"/>
                    <a:pt x="24259" y="21836"/>
                    <a:pt x="24284" y="21836"/>
                  </a:cubicBezTo>
                  <a:cubicBezTo>
                    <a:pt x="24290" y="21836"/>
                    <a:pt x="24295" y="21836"/>
                    <a:pt x="24300" y="21835"/>
                  </a:cubicBezTo>
                  <a:cubicBezTo>
                    <a:pt x="24416" y="21835"/>
                    <a:pt x="24563" y="21786"/>
                    <a:pt x="24615" y="21734"/>
                  </a:cubicBezTo>
                  <a:cubicBezTo>
                    <a:pt x="24643" y="21696"/>
                    <a:pt x="24687" y="21674"/>
                    <a:pt x="24733" y="21674"/>
                  </a:cubicBezTo>
                  <a:cubicBezTo>
                    <a:pt x="24751" y="21674"/>
                    <a:pt x="24769" y="21678"/>
                    <a:pt x="24787" y="21685"/>
                  </a:cubicBezTo>
                  <a:cubicBezTo>
                    <a:pt x="24874" y="21727"/>
                    <a:pt x="24930" y="21814"/>
                    <a:pt x="24934" y="21909"/>
                  </a:cubicBezTo>
                  <a:cubicBezTo>
                    <a:pt x="24937" y="21916"/>
                    <a:pt x="24941" y="21923"/>
                    <a:pt x="24944" y="21926"/>
                  </a:cubicBezTo>
                  <a:cubicBezTo>
                    <a:pt x="24948" y="21930"/>
                    <a:pt x="24955" y="21933"/>
                    <a:pt x="24962" y="21937"/>
                  </a:cubicBezTo>
                  <a:cubicBezTo>
                    <a:pt x="24962" y="21891"/>
                    <a:pt x="24993" y="21849"/>
                    <a:pt x="25035" y="21832"/>
                  </a:cubicBezTo>
                  <a:cubicBezTo>
                    <a:pt x="25049" y="21828"/>
                    <a:pt x="25060" y="21828"/>
                    <a:pt x="25074" y="21825"/>
                  </a:cubicBezTo>
                  <a:lnTo>
                    <a:pt x="25091" y="21825"/>
                  </a:lnTo>
                  <a:cubicBezTo>
                    <a:pt x="25105" y="21825"/>
                    <a:pt x="25119" y="21828"/>
                    <a:pt x="25133" y="21828"/>
                  </a:cubicBezTo>
                  <a:cubicBezTo>
                    <a:pt x="25207" y="21846"/>
                    <a:pt x="25277" y="21884"/>
                    <a:pt x="25329" y="21937"/>
                  </a:cubicBezTo>
                  <a:lnTo>
                    <a:pt x="25336" y="21937"/>
                  </a:lnTo>
                  <a:cubicBezTo>
                    <a:pt x="25364" y="21933"/>
                    <a:pt x="25389" y="21930"/>
                    <a:pt x="25417" y="21923"/>
                  </a:cubicBezTo>
                  <a:cubicBezTo>
                    <a:pt x="25452" y="21913"/>
                    <a:pt x="25488" y="21905"/>
                    <a:pt x="25520" y="21905"/>
                  </a:cubicBezTo>
                  <a:cubicBezTo>
                    <a:pt x="25549" y="21905"/>
                    <a:pt x="25576" y="21912"/>
                    <a:pt x="25599" y="21930"/>
                  </a:cubicBezTo>
                  <a:cubicBezTo>
                    <a:pt x="25624" y="21951"/>
                    <a:pt x="25638" y="21982"/>
                    <a:pt x="25638" y="22017"/>
                  </a:cubicBezTo>
                  <a:cubicBezTo>
                    <a:pt x="25638" y="22098"/>
                    <a:pt x="25568" y="22154"/>
                    <a:pt x="25498" y="22210"/>
                  </a:cubicBezTo>
                  <a:cubicBezTo>
                    <a:pt x="25473" y="22227"/>
                    <a:pt x="25452" y="22248"/>
                    <a:pt x="25427" y="22269"/>
                  </a:cubicBezTo>
                  <a:cubicBezTo>
                    <a:pt x="25417" y="22276"/>
                    <a:pt x="25410" y="22287"/>
                    <a:pt x="25406" y="22301"/>
                  </a:cubicBezTo>
                  <a:cubicBezTo>
                    <a:pt x="25410" y="22304"/>
                    <a:pt x="25410" y="22308"/>
                    <a:pt x="25413" y="22311"/>
                  </a:cubicBezTo>
                  <a:lnTo>
                    <a:pt x="25420" y="22318"/>
                  </a:lnTo>
                  <a:cubicBezTo>
                    <a:pt x="25434" y="22330"/>
                    <a:pt x="25443" y="22338"/>
                    <a:pt x="25454" y="22338"/>
                  </a:cubicBezTo>
                  <a:cubicBezTo>
                    <a:pt x="25471" y="22338"/>
                    <a:pt x="25493" y="22323"/>
                    <a:pt x="25540" y="22287"/>
                  </a:cubicBezTo>
                  <a:cubicBezTo>
                    <a:pt x="25589" y="22248"/>
                    <a:pt x="25654" y="22197"/>
                    <a:pt x="25737" y="22197"/>
                  </a:cubicBezTo>
                  <a:cubicBezTo>
                    <a:pt x="25759" y="22197"/>
                    <a:pt x="25784" y="22201"/>
                    <a:pt x="25809" y="22210"/>
                  </a:cubicBezTo>
                  <a:cubicBezTo>
                    <a:pt x="25825" y="22213"/>
                    <a:pt x="25840" y="22215"/>
                    <a:pt x="25854" y="22215"/>
                  </a:cubicBezTo>
                  <a:cubicBezTo>
                    <a:pt x="25869" y="22215"/>
                    <a:pt x="25883" y="22213"/>
                    <a:pt x="25897" y="22210"/>
                  </a:cubicBezTo>
                  <a:lnTo>
                    <a:pt x="25904" y="22210"/>
                  </a:lnTo>
                  <a:lnTo>
                    <a:pt x="25918" y="22203"/>
                  </a:lnTo>
                  <a:cubicBezTo>
                    <a:pt x="25960" y="22189"/>
                    <a:pt x="26002" y="22168"/>
                    <a:pt x="26037" y="22147"/>
                  </a:cubicBezTo>
                  <a:cubicBezTo>
                    <a:pt x="26068" y="22129"/>
                    <a:pt x="26096" y="22108"/>
                    <a:pt x="26124" y="22091"/>
                  </a:cubicBezTo>
                  <a:cubicBezTo>
                    <a:pt x="26201" y="22038"/>
                    <a:pt x="26282" y="21996"/>
                    <a:pt x="26369" y="21968"/>
                  </a:cubicBezTo>
                  <a:cubicBezTo>
                    <a:pt x="26478" y="21944"/>
                    <a:pt x="26597" y="21863"/>
                    <a:pt x="26705" y="21790"/>
                  </a:cubicBezTo>
                  <a:cubicBezTo>
                    <a:pt x="26754" y="21755"/>
                    <a:pt x="26803" y="21723"/>
                    <a:pt x="26849" y="21695"/>
                  </a:cubicBezTo>
                  <a:cubicBezTo>
                    <a:pt x="26916" y="21655"/>
                    <a:pt x="27018" y="21633"/>
                    <a:pt x="27111" y="21633"/>
                  </a:cubicBezTo>
                  <a:cubicBezTo>
                    <a:pt x="27198" y="21633"/>
                    <a:pt x="27277" y="21653"/>
                    <a:pt x="27311" y="21695"/>
                  </a:cubicBezTo>
                  <a:cubicBezTo>
                    <a:pt x="27342" y="21741"/>
                    <a:pt x="27335" y="21800"/>
                    <a:pt x="27293" y="21832"/>
                  </a:cubicBezTo>
                  <a:cubicBezTo>
                    <a:pt x="27258" y="21867"/>
                    <a:pt x="27206" y="21930"/>
                    <a:pt x="27220" y="21986"/>
                  </a:cubicBezTo>
                  <a:cubicBezTo>
                    <a:pt x="27234" y="22042"/>
                    <a:pt x="27307" y="22094"/>
                    <a:pt x="27426" y="22136"/>
                  </a:cubicBezTo>
                  <a:cubicBezTo>
                    <a:pt x="27549" y="22192"/>
                    <a:pt x="27658" y="22269"/>
                    <a:pt x="27749" y="22367"/>
                  </a:cubicBezTo>
                  <a:cubicBezTo>
                    <a:pt x="27983" y="22602"/>
                    <a:pt x="28207" y="22952"/>
                    <a:pt x="28375" y="23215"/>
                  </a:cubicBezTo>
                  <a:cubicBezTo>
                    <a:pt x="28407" y="23264"/>
                    <a:pt x="28438" y="23309"/>
                    <a:pt x="28463" y="23351"/>
                  </a:cubicBezTo>
                  <a:cubicBezTo>
                    <a:pt x="28568" y="23523"/>
                    <a:pt x="28659" y="23698"/>
                    <a:pt x="28743" y="23876"/>
                  </a:cubicBezTo>
                  <a:cubicBezTo>
                    <a:pt x="28820" y="24044"/>
                    <a:pt x="28932" y="24272"/>
                    <a:pt x="28981" y="24303"/>
                  </a:cubicBezTo>
                  <a:cubicBezTo>
                    <a:pt x="29016" y="24272"/>
                    <a:pt x="29040" y="24230"/>
                    <a:pt x="29058" y="24188"/>
                  </a:cubicBezTo>
                  <a:cubicBezTo>
                    <a:pt x="29110" y="24090"/>
                    <a:pt x="29166" y="23981"/>
                    <a:pt x="29278" y="23957"/>
                  </a:cubicBezTo>
                  <a:cubicBezTo>
                    <a:pt x="29293" y="23953"/>
                    <a:pt x="29306" y="23952"/>
                    <a:pt x="29320" y="23952"/>
                  </a:cubicBezTo>
                  <a:cubicBezTo>
                    <a:pt x="29421" y="23952"/>
                    <a:pt x="29497" y="24040"/>
                    <a:pt x="29565" y="24118"/>
                  </a:cubicBezTo>
                  <a:cubicBezTo>
                    <a:pt x="29618" y="24181"/>
                    <a:pt x="29674" y="24247"/>
                    <a:pt x="29730" y="24258"/>
                  </a:cubicBezTo>
                  <a:cubicBezTo>
                    <a:pt x="29779" y="24268"/>
                    <a:pt x="29828" y="24282"/>
                    <a:pt x="29884" y="24300"/>
                  </a:cubicBezTo>
                  <a:cubicBezTo>
                    <a:pt x="29980" y="24326"/>
                    <a:pt x="30083" y="24355"/>
                    <a:pt x="30162" y="24355"/>
                  </a:cubicBezTo>
                  <a:cubicBezTo>
                    <a:pt x="30186" y="24355"/>
                    <a:pt x="30209" y="24352"/>
                    <a:pt x="30227" y="24345"/>
                  </a:cubicBezTo>
                  <a:cubicBezTo>
                    <a:pt x="30259" y="24335"/>
                    <a:pt x="30301" y="24317"/>
                    <a:pt x="30346" y="24296"/>
                  </a:cubicBezTo>
                  <a:cubicBezTo>
                    <a:pt x="30501" y="24227"/>
                    <a:pt x="30633" y="24172"/>
                    <a:pt x="30732" y="24172"/>
                  </a:cubicBezTo>
                  <a:cubicBezTo>
                    <a:pt x="30768" y="24172"/>
                    <a:pt x="30799" y="24179"/>
                    <a:pt x="30826" y="24195"/>
                  </a:cubicBezTo>
                  <a:cubicBezTo>
                    <a:pt x="30850" y="24205"/>
                    <a:pt x="30875" y="24216"/>
                    <a:pt x="30899" y="24226"/>
                  </a:cubicBezTo>
                  <a:cubicBezTo>
                    <a:pt x="31043" y="24272"/>
                    <a:pt x="31155" y="24377"/>
                    <a:pt x="31207" y="24517"/>
                  </a:cubicBezTo>
                  <a:cubicBezTo>
                    <a:pt x="31295" y="24723"/>
                    <a:pt x="31417" y="24755"/>
                    <a:pt x="31484" y="24755"/>
                  </a:cubicBezTo>
                  <a:cubicBezTo>
                    <a:pt x="31550" y="24755"/>
                    <a:pt x="31669" y="24790"/>
                    <a:pt x="31669" y="25028"/>
                  </a:cubicBezTo>
                  <a:cubicBezTo>
                    <a:pt x="31669" y="25080"/>
                    <a:pt x="31810" y="25189"/>
                    <a:pt x="31876" y="25189"/>
                  </a:cubicBezTo>
                  <a:cubicBezTo>
                    <a:pt x="31981" y="25189"/>
                    <a:pt x="32219" y="25154"/>
                    <a:pt x="32279" y="25116"/>
                  </a:cubicBezTo>
                  <a:cubicBezTo>
                    <a:pt x="32336" y="25084"/>
                    <a:pt x="32393" y="25055"/>
                    <a:pt x="32446" y="25055"/>
                  </a:cubicBezTo>
                  <a:cubicBezTo>
                    <a:pt x="32464" y="25055"/>
                    <a:pt x="32482" y="25058"/>
                    <a:pt x="32499" y="25066"/>
                  </a:cubicBezTo>
                  <a:cubicBezTo>
                    <a:pt x="32534" y="25084"/>
                    <a:pt x="32559" y="25116"/>
                    <a:pt x="32566" y="25154"/>
                  </a:cubicBezTo>
                  <a:lnTo>
                    <a:pt x="32566" y="25158"/>
                  </a:lnTo>
                  <a:cubicBezTo>
                    <a:pt x="32566" y="25161"/>
                    <a:pt x="32569" y="25172"/>
                    <a:pt x="32569" y="25179"/>
                  </a:cubicBezTo>
                  <a:cubicBezTo>
                    <a:pt x="32587" y="25242"/>
                    <a:pt x="32622" y="25301"/>
                    <a:pt x="32667" y="25347"/>
                  </a:cubicBezTo>
                  <a:cubicBezTo>
                    <a:pt x="32692" y="25375"/>
                    <a:pt x="32723" y="25399"/>
                    <a:pt x="32755" y="25413"/>
                  </a:cubicBezTo>
                  <a:lnTo>
                    <a:pt x="32797" y="25413"/>
                  </a:lnTo>
                  <a:cubicBezTo>
                    <a:pt x="32828" y="25413"/>
                    <a:pt x="32860" y="25420"/>
                    <a:pt x="32891" y="25427"/>
                  </a:cubicBezTo>
                  <a:cubicBezTo>
                    <a:pt x="32923" y="25434"/>
                    <a:pt x="32951" y="25441"/>
                    <a:pt x="32979" y="25445"/>
                  </a:cubicBezTo>
                  <a:lnTo>
                    <a:pt x="33010" y="25445"/>
                  </a:lnTo>
                  <a:lnTo>
                    <a:pt x="33010" y="25438"/>
                  </a:lnTo>
                  <a:lnTo>
                    <a:pt x="33010" y="25434"/>
                  </a:lnTo>
                  <a:lnTo>
                    <a:pt x="33014" y="25427"/>
                  </a:lnTo>
                  <a:lnTo>
                    <a:pt x="33017" y="25420"/>
                  </a:lnTo>
                  <a:lnTo>
                    <a:pt x="33021" y="25417"/>
                  </a:lnTo>
                  <a:lnTo>
                    <a:pt x="33024" y="25410"/>
                  </a:lnTo>
                  <a:lnTo>
                    <a:pt x="33031" y="25403"/>
                  </a:lnTo>
                  <a:lnTo>
                    <a:pt x="33035" y="25399"/>
                  </a:lnTo>
                  <a:lnTo>
                    <a:pt x="33042" y="25392"/>
                  </a:lnTo>
                  <a:lnTo>
                    <a:pt x="33049" y="25385"/>
                  </a:lnTo>
                  <a:lnTo>
                    <a:pt x="33052" y="25382"/>
                  </a:lnTo>
                  <a:lnTo>
                    <a:pt x="33063" y="25375"/>
                  </a:lnTo>
                  <a:lnTo>
                    <a:pt x="33070" y="25371"/>
                  </a:lnTo>
                  <a:lnTo>
                    <a:pt x="33084" y="25364"/>
                  </a:lnTo>
                  <a:lnTo>
                    <a:pt x="33087" y="25361"/>
                  </a:lnTo>
                  <a:lnTo>
                    <a:pt x="33105" y="25350"/>
                  </a:lnTo>
                  <a:lnTo>
                    <a:pt x="33108" y="25347"/>
                  </a:lnTo>
                  <a:lnTo>
                    <a:pt x="33129" y="25340"/>
                  </a:lnTo>
                  <a:lnTo>
                    <a:pt x="33133" y="25340"/>
                  </a:lnTo>
                  <a:lnTo>
                    <a:pt x="33157" y="25329"/>
                  </a:lnTo>
                  <a:lnTo>
                    <a:pt x="33161" y="25329"/>
                  </a:lnTo>
                  <a:cubicBezTo>
                    <a:pt x="33248" y="25301"/>
                    <a:pt x="33336" y="25280"/>
                    <a:pt x="33427" y="25266"/>
                  </a:cubicBezTo>
                  <a:cubicBezTo>
                    <a:pt x="33668" y="25224"/>
                    <a:pt x="33847" y="25151"/>
                    <a:pt x="33879" y="25077"/>
                  </a:cubicBezTo>
                  <a:cubicBezTo>
                    <a:pt x="33928" y="24968"/>
                    <a:pt x="34050" y="24926"/>
                    <a:pt x="34159" y="24888"/>
                  </a:cubicBezTo>
                  <a:cubicBezTo>
                    <a:pt x="34222" y="24867"/>
                    <a:pt x="34285" y="24846"/>
                    <a:pt x="34309" y="24818"/>
                  </a:cubicBezTo>
                  <a:cubicBezTo>
                    <a:pt x="34316" y="24811"/>
                    <a:pt x="34323" y="24804"/>
                    <a:pt x="34327" y="24797"/>
                  </a:cubicBezTo>
                  <a:cubicBezTo>
                    <a:pt x="34383" y="24755"/>
                    <a:pt x="34442" y="24716"/>
                    <a:pt x="34505" y="24688"/>
                  </a:cubicBezTo>
                  <a:cubicBezTo>
                    <a:pt x="34565" y="24657"/>
                    <a:pt x="34642" y="24622"/>
                    <a:pt x="34656" y="24590"/>
                  </a:cubicBezTo>
                  <a:cubicBezTo>
                    <a:pt x="34698" y="24510"/>
                    <a:pt x="34803" y="24489"/>
                    <a:pt x="34904" y="24464"/>
                  </a:cubicBezTo>
                  <a:cubicBezTo>
                    <a:pt x="34946" y="24457"/>
                    <a:pt x="34988" y="24447"/>
                    <a:pt x="35030" y="24426"/>
                  </a:cubicBezTo>
                  <a:cubicBezTo>
                    <a:pt x="35055" y="24366"/>
                    <a:pt x="35132" y="24335"/>
                    <a:pt x="35216" y="24321"/>
                  </a:cubicBezTo>
                  <a:cubicBezTo>
                    <a:pt x="35256" y="24314"/>
                    <a:pt x="35296" y="24311"/>
                    <a:pt x="35336" y="24311"/>
                  </a:cubicBezTo>
                  <a:cubicBezTo>
                    <a:pt x="35382" y="24311"/>
                    <a:pt x="35427" y="24315"/>
                    <a:pt x="35471" y="24324"/>
                  </a:cubicBezTo>
                  <a:lnTo>
                    <a:pt x="35492" y="24328"/>
                  </a:lnTo>
                  <a:cubicBezTo>
                    <a:pt x="35621" y="24365"/>
                    <a:pt x="36122" y="24458"/>
                    <a:pt x="36216" y="24458"/>
                  </a:cubicBezTo>
                  <a:cubicBezTo>
                    <a:pt x="36219" y="24458"/>
                    <a:pt x="36222" y="24458"/>
                    <a:pt x="36224" y="24457"/>
                  </a:cubicBezTo>
                  <a:cubicBezTo>
                    <a:pt x="36231" y="24456"/>
                    <a:pt x="36238" y="24456"/>
                    <a:pt x="36244" y="24456"/>
                  </a:cubicBezTo>
                  <a:cubicBezTo>
                    <a:pt x="36327" y="24456"/>
                    <a:pt x="36359" y="24559"/>
                    <a:pt x="36389" y="24650"/>
                  </a:cubicBezTo>
                  <a:cubicBezTo>
                    <a:pt x="36399" y="24692"/>
                    <a:pt x="36413" y="24730"/>
                    <a:pt x="36434" y="24765"/>
                  </a:cubicBezTo>
                  <a:cubicBezTo>
                    <a:pt x="36487" y="24786"/>
                    <a:pt x="36539" y="24811"/>
                    <a:pt x="36585" y="24842"/>
                  </a:cubicBezTo>
                  <a:cubicBezTo>
                    <a:pt x="36651" y="24881"/>
                    <a:pt x="36784" y="24954"/>
                    <a:pt x="36826" y="24954"/>
                  </a:cubicBezTo>
                  <a:cubicBezTo>
                    <a:pt x="36885" y="24906"/>
                    <a:pt x="36994" y="24859"/>
                    <a:pt x="37114" y="24859"/>
                  </a:cubicBezTo>
                  <a:cubicBezTo>
                    <a:pt x="37186" y="24859"/>
                    <a:pt x="37262" y="24876"/>
                    <a:pt x="37334" y="24919"/>
                  </a:cubicBezTo>
                  <a:cubicBezTo>
                    <a:pt x="37358" y="24933"/>
                    <a:pt x="37383" y="24947"/>
                    <a:pt x="37407" y="24965"/>
                  </a:cubicBezTo>
                  <a:cubicBezTo>
                    <a:pt x="37474" y="25003"/>
                    <a:pt x="37558" y="25059"/>
                    <a:pt x="37603" y="25066"/>
                  </a:cubicBezTo>
                  <a:lnTo>
                    <a:pt x="37621" y="25066"/>
                  </a:lnTo>
                  <a:cubicBezTo>
                    <a:pt x="37621" y="25066"/>
                    <a:pt x="37624" y="25066"/>
                    <a:pt x="37631" y="25056"/>
                  </a:cubicBezTo>
                  <a:cubicBezTo>
                    <a:pt x="37673" y="24979"/>
                    <a:pt x="37782" y="24933"/>
                    <a:pt x="37897" y="24895"/>
                  </a:cubicBezTo>
                  <a:lnTo>
                    <a:pt x="37947" y="24877"/>
                  </a:lnTo>
                  <a:cubicBezTo>
                    <a:pt x="37996" y="24863"/>
                    <a:pt x="38045" y="24846"/>
                    <a:pt x="38090" y="24821"/>
                  </a:cubicBezTo>
                  <a:cubicBezTo>
                    <a:pt x="38125" y="24772"/>
                    <a:pt x="38157" y="24622"/>
                    <a:pt x="38115" y="24590"/>
                  </a:cubicBezTo>
                  <a:cubicBezTo>
                    <a:pt x="38020" y="24513"/>
                    <a:pt x="37943" y="24268"/>
                    <a:pt x="37911" y="24146"/>
                  </a:cubicBezTo>
                  <a:cubicBezTo>
                    <a:pt x="37904" y="24128"/>
                    <a:pt x="37901" y="24114"/>
                    <a:pt x="37897" y="24100"/>
                  </a:cubicBezTo>
                  <a:cubicBezTo>
                    <a:pt x="37869" y="23985"/>
                    <a:pt x="37968" y="23918"/>
                    <a:pt x="38038" y="23873"/>
                  </a:cubicBezTo>
                  <a:cubicBezTo>
                    <a:pt x="38076" y="23848"/>
                    <a:pt x="38118" y="23820"/>
                    <a:pt x="38125" y="23792"/>
                  </a:cubicBezTo>
                  <a:cubicBezTo>
                    <a:pt x="38153" y="23691"/>
                    <a:pt x="38255" y="23652"/>
                    <a:pt x="38339" y="23617"/>
                  </a:cubicBezTo>
                  <a:cubicBezTo>
                    <a:pt x="38370" y="23607"/>
                    <a:pt x="38402" y="23589"/>
                    <a:pt x="38433" y="23572"/>
                  </a:cubicBezTo>
                  <a:cubicBezTo>
                    <a:pt x="38447" y="23551"/>
                    <a:pt x="38461" y="23530"/>
                    <a:pt x="38472" y="23505"/>
                  </a:cubicBezTo>
                  <a:cubicBezTo>
                    <a:pt x="38502" y="23454"/>
                    <a:pt x="38548" y="23369"/>
                    <a:pt x="38643" y="23369"/>
                  </a:cubicBezTo>
                  <a:cubicBezTo>
                    <a:pt x="38658" y="23369"/>
                    <a:pt x="38674" y="23371"/>
                    <a:pt x="38692" y="23376"/>
                  </a:cubicBezTo>
                  <a:cubicBezTo>
                    <a:pt x="38706" y="23379"/>
                    <a:pt x="39049" y="23477"/>
                    <a:pt x="39123" y="23554"/>
                  </a:cubicBezTo>
                  <a:cubicBezTo>
                    <a:pt x="39151" y="23579"/>
                    <a:pt x="39298" y="23614"/>
                    <a:pt x="39417" y="23614"/>
                  </a:cubicBezTo>
                  <a:cubicBezTo>
                    <a:pt x="39536" y="23614"/>
                    <a:pt x="39707" y="23701"/>
                    <a:pt x="39854" y="23785"/>
                  </a:cubicBezTo>
                  <a:cubicBezTo>
                    <a:pt x="39921" y="23813"/>
                    <a:pt x="39991" y="23827"/>
                    <a:pt x="40065" y="23838"/>
                  </a:cubicBezTo>
                  <a:cubicBezTo>
                    <a:pt x="40215" y="23862"/>
                    <a:pt x="40359" y="23887"/>
                    <a:pt x="40411" y="23967"/>
                  </a:cubicBezTo>
                  <a:cubicBezTo>
                    <a:pt x="40453" y="24030"/>
                    <a:pt x="40450" y="24125"/>
                    <a:pt x="40446" y="24226"/>
                  </a:cubicBezTo>
                  <a:cubicBezTo>
                    <a:pt x="40446" y="24303"/>
                    <a:pt x="40443" y="24401"/>
                    <a:pt x="40471" y="24433"/>
                  </a:cubicBezTo>
                  <a:cubicBezTo>
                    <a:pt x="40583" y="24562"/>
                    <a:pt x="40688" y="24660"/>
                    <a:pt x="40733" y="24671"/>
                  </a:cubicBezTo>
                  <a:cubicBezTo>
                    <a:pt x="40749" y="24662"/>
                    <a:pt x="40767" y="24658"/>
                    <a:pt x="40787" y="24658"/>
                  </a:cubicBezTo>
                  <a:cubicBezTo>
                    <a:pt x="40848" y="24658"/>
                    <a:pt x="40927" y="24693"/>
                    <a:pt x="41024" y="24737"/>
                  </a:cubicBezTo>
                  <a:cubicBezTo>
                    <a:pt x="41087" y="24769"/>
                    <a:pt x="41153" y="24793"/>
                    <a:pt x="41220" y="24811"/>
                  </a:cubicBezTo>
                  <a:cubicBezTo>
                    <a:pt x="41223" y="24813"/>
                    <a:pt x="41227" y="24814"/>
                    <a:pt x="41230" y="24814"/>
                  </a:cubicBezTo>
                  <a:cubicBezTo>
                    <a:pt x="41233" y="24814"/>
                    <a:pt x="41236" y="24813"/>
                    <a:pt x="41237" y="24811"/>
                  </a:cubicBezTo>
                  <a:cubicBezTo>
                    <a:pt x="41290" y="24797"/>
                    <a:pt x="41339" y="24769"/>
                    <a:pt x="41384" y="24737"/>
                  </a:cubicBezTo>
                  <a:lnTo>
                    <a:pt x="41405" y="24723"/>
                  </a:lnTo>
                  <a:cubicBezTo>
                    <a:pt x="41489" y="24667"/>
                    <a:pt x="41566" y="24618"/>
                    <a:pt x="41636" y="24618"/>
                  </a:cubicBezTo>
                  <a:cubicBezTo>
                    <a:pt x="41699" y="24611"/>
                    <a:pt x="41762" y="24601"/>
                    <a:pt x="41825" y="24590"/>
                  </a:cubicBezTo>
                  <a:cubicBezTo>
                    <a:pt x="41913" y="24569"/>
                    <a:pt x="42004" y="24559"/>
                    <a:pt x="42092" y="24552"/>
                  </a:cubicBezTo>
                  <a:cubicBezTo>
                    <a:pt x="42109" y="24552"/>
                    <a:pt x="42130" y="24552"/>
                    <a:pt x="42148" y="24555"/>
                  </a:cubicBezTo>
                  <a:cubicBezTo>
                    <a:pt x="42197" y="24566"/>
                    <a:pt x="42246" y="24576"/>
                    <a:pt x="42295" y="24594"/>
                  </a:cubicBezTo>
                  <a:lnTo>
                    <a:pt x="42323" y="24601"/>
                  </a:lnTo>
                  <a:cubicBezTo>
                    <a:pt x="42407" y="24625"/>
                    <a:pt x="42557" y="24671"/>
                    <a:pt x="42605" y="24671"/>
                  </a:cubicBezTo>
                  <a:cubicBezTo>
                    <a:pt x="42607" y="24671"/>
                    <a:pt x="42608" y="24671"/>
                    <a:pt x="42610" y="24671"/>
                  </a:cubicBezTo>
                  <a:cubicBezTo>
                    <a:pt x="42633" y="24660"/>
                    <a:pt x="42665" y="24656"/>
                    <a:pt x="42700" y="24656"/>
                  </a:cubicBezTo>
                  <a:cubicBezTo>
                    <a:pt x="42788" y="24656"/>
                    <a:pt x="42892" y="24682"/>
                    <a:pt x="42897" y="24685"/>
                  </a:cubicBezTo>
                  <a:cubicBezTo>
                    <a:pt x="43016" y="24716"/>
                    <a:pt x="43089" y="24758"/>
                    <a:pt x="43117" y="24814"/>
                  </a:cubicBezTo>
                  <a:cubicBezTo>
                    <a:pt x="43135" y="24835"/>
                    <a:pt x="43233" y="24860"/>
                    <a:pt x="43296" y="24874"/>
                  </a:cubicBezTo>
                  <a:cubicBezTo>
                    <a:pt x="43432" y="24909"/>
                    <a:pt x="43576" y="24944"/>
                    <a:pt x="43576" y="25056"/>
                  </a:cubicBezTo>
                  <a:cubicBezTo>
                    <a:pt x="43576" y="25080"/>
                    <a:pt x="43635" y="25126"/>
                    <a:pt x="43684" y="25161"/>
                  </a:cubicBezTo>
                  <a:cubicBezTo>
                    <a:pt x="43758" y="25203"/>
                    <a:pt x="43817" y="25263"/>
                    <a:pt x="43859" y="25336"/>
                  </a:cubicBezTo>
                  <a:cubicBezTo>
                    <a:pt x="43884" y="25371"/>
                    <a:pt x="44069" y="25378"/>
                    <a:pt x="44178" y="25382"/>
                  </a:cubicBezTo>
                  <a:lnTo>
                    <a:pt x="44196" y="25382"/>
                  </a:lnTo>
                  <a:cubicBezTo>
                    <a:pt x="44371" y="25389"/>
                    <a:pt x="44483" y="25396"/>
                    <a:pt x="44539" y="25441"/>
                  </a:cubicBezTo>
                  <a:cubicBezTo>
                    <a:pt x="44574" y="25459"/>
                    <a:pt x="44612" y="25469"/>
                    <a:pt x="44654" y="25473"/>
                  </a:cubicBezTo>
                  <a:cubicBezTo>
                    <a:pt x="44720" y="25480"/>
                    <a:pt x="44787" y="25483"/>
                    <a:pt x="44853" y="25483"/>
                  </a:cubicBezTo>
                  <a:cubicBezTo>
                    <a:pt x="44951" y="25483"/>
                    <a:pt x="45050" y="25475"/>
                    <a:pt x="45148" y="25459"/>
                  </a:cubicBezTo>
                  <a:cubicBezTo>
                    <a:pt x="45155" y="25459"/>
                    <a:pt x="45165" y="25455"/>
                    <a:pt x="45172" y="25455"/>
                  </a:cubicBezTo>
                  <a:cubicBezTo>
                    <a:pt x="45176" y="25445"/>
                    <a:pt x="45186" y="25434"/>
                    <a:pt x="45197" y="25427"/>
                  </a:cubicBezTo>
                  <a:cubicBezTo>
                    <a:pt x="45207" y="25420"/>
                    <a:pt x="45221" y="25413"/>
                    <a:pt x="45235" y="25406"/>
                  </a:cubicBezTo>
                  <a:cubicBezTo>
                    <a:pt x="45333" y="25378"/>
                    <a:pt x="45431" y="25357"/>
                    <a:pt x="45533" y="25347"/>
                  </a:cubicBezTo>
                  <a:cubicBezTo>
                    <a:pt x="45627" y="25329"/>
                    <a:pt x="45743" y="25312"/>
                    <a:pt x="45820" y="25291"/>
                  </a:cubicBezTo>
                  <a:cubicBezTo>
                    <a:pt x="45848" y="25287"/>
                    <a:pt x="45876" y="25277"/>
                    <a:pt x="45897" y="25263"/>
                  </a:cubicBezTo>
                  <a:cubicBezTo>
                    <a:pt x="45960" y="25217"/>
                    <a:pt x="46051" y="25203"/>
                    <a:pt x="46138" y="25189"/>
                  </a:cubicBezTo>
                  <a:cubicBezTo>
                    <a:pt x="46194" y="25179"/>
                    <a:pt x="46293" y="25165"/>
                    <a:pt x="46310" y="25144"/>
                  </a:cubicBezTo>
                  <a:cubicBezTo>
                    <a:pt x="46324" y="25038"/>
                    <a:pt x="46457" y="24972"/>
                    <a:pt x="46597" y="24905"/>
                  </a:cubicBezTo>
                  <a:cubicBezTo>
                    <a:pt x="46657" y="24877"/>
                    <a:pt x="46716" y="24846"/>
                    <a:pt x="46772" y="24811"/>
                  </a:cubicBezTo>
                  <a:cubicBezTo>
                    <a:pt x="46844" y="24756"/>
                    <a:pt x="46990" y="24733"/>
                    <a:pt x="47132" y="24733"/>
                  </a:cubicBezTo>
                  <a:cubicBezTo>
                    <a:pt x="47245" y="24733"/>
                    <a:pt x="47356" y="24748"/>
                    <a:pt x="47427" y="24772"/>
                  </a:cubicBezTo>
                  <a:cubicBezTo>
                    <a:pt x="47500" y="24797"/>
                    <a:pt x="47542" y="24828"/>
                    <a:pt x="47553" y="24877"/>
                  </a:cubicBezTo>
                  <a:cubicBezTo>
                    <a:pt x="47556" y="24877"/>
                    <a:pt x="47556" y="24881"/>
                    <a:pt x="47556" y="24881"/>
                  </a:cubicBezTo>
                  <a:cubicBezTo>
                    <a:pt x="47567" y="24891"/>
                    <a:pt x="47577" y="24902"/>
                    <a:pt x="47591" y="24905"/>
                  </a:cubicBezTo>
                  <a:cubicBezTo>
                    <a:pt x="47657" y="24934"/>
                    <a:pt x="47726" y="24948"/>
                    <a:pt x="47796" y="24948"/>
                  </a:cubicBezTo>
                  <a:cubicBezTo>
                    <a:pt x="47803" y="24948"/>
                    <a:pt x="47811" y="24948"/>
                    <a:pt x="47819" y="24947"/>
                  </a:cubicBezTo>
                  <a:cubicBezTo>
                    <a:pt x="47857" y="24947"/>
                    <a:pt x="47899" y="24940"/>
                    <a:pt x="47938" y="24930"/>
                  </a:cubicBezTo>
                  <a:cubicBezTo>
                    <a:pt x="47952" y="24926"/>
                    <a:pt x="47966" y="24923"/>
                    <a:pt x="47980" y="24919"/>
                  </a:cubicBezTo>
                  <a:lnTo>
                    <a:pt x="47990" y="24919"/>
                  </a:lnTo>
                  <a:cubicBezTo>
                    <a:pt x="48004" y="24916"/>
                    <a:pt x="48018" y="24912"/>
                    <a:pt x="48032" y="24912"/>
                  </a:cubicBezTo>
                  <a:cubicBezTo>
                    <a:pt x="48044" y="24912"/>
                    <a:pt x="48056" y="24912"/>
                    <a:pt x="48068" y="24912"/>
                  </a:cubicBezTo>
                  <a:cubicBezTo>
                    <a:pt x="48154" y="24912"/>
                    <a:pt x="48240" y="24923"/>
                    <a:pt x="48323" y="24951"/>
                  </a:cubicBezTo>
                  <a:lnTo>
                    <a:pt x="48344" y="24958"/>
                  </a:lnTo>
                  <a:cubicBezTo>
                    <a:pt x="48365" y="24965"/>
                    <a:pt x="48386" y="24975"/>
                    <a:pt x="48404" y="24982"/>
                  </a:cubicBezTo>
                  <a:lnTo>
                    <a:pt x="48442" y="25000"/>
                  </a:lnTo>
                  <a:lnTo>
                    <a:pt x="48442" y="25003"/>
                  </a:lnTo>
                  <a:lnTo>
                    <a:pt x="48449" y="25007"/>
                  </a:lnTo>
                  <a:lnTo>
                    <a:pt x="48467" y="25017"/>
                  </a:lnTo>
                  <a:lnTo>
                    <a:pt x="48474" y="25021"/>
                  </a:lnTo>
                  <a:cubicBezTo>
                    <a:pt x="48491" y="25035"/>
                    <a:pt x="48509" y="25052"/>
                    <a:pt x="48519" y="25070"/>
                  </a:cubicBezTo>
                  <a:cubicBezTo>
                    <a:pt x="48526" y="25077"/>
                    <a:pt x="48533" y="25087"/>
                    <a:pt x="48537" y="25095"/>
                  </a:cubicBezTo>
                  <a:cubicBezTo>
                    <a:pt x="48560" y="25151"/>
                    <a:pt x="48809" y="25213"/>
                    <a:pt x="48935" y="25213"/>
                  </a:cubicBezTo>
                  <a:cubicBezTo>
                    <a:pt x="48957" y="25213"/>
                    <a:pt x="48976" y="25211"/>
                    <a:pt x="48988" y="25207"/>
                  </a:cubicBezTo>
                  <a:lnTo>
                    <a:pt x="49002" y="25200"/>
                  </a:lnTo>
                  <a:cubicBezTo>
                    <a:pt x="49041" y="25182"/>
                    <a:pt x="49111" y="25140"/>
                    <a:pt x="49177" y="25098"/>
                  </a:cubicBezTo>
                  <a:cubicBezTo>
                    <a:pt x="49335" y="25003"/>
                    <a:pt x="49443" y="24937"/>
                    <a:pt x="49517" y="24926"/>
                  </a:cubicBezTo>
                  <a:cubicBezTo>
                    <a:pt x="49587" y="24916"/>
                    <a:pt x="49650" y="24877"/>
                    <a:pt x="49692" y="24821"/>
                  </a:cubicBezTo>
                  <a:cubicBezTo>
                    <a:pt x="49699" y="24814"/>
                    <a:pt x="49702" y="24807"/>
                    <a:pt x="49702" y="24797"/>
                  </a:cubicBezTo>
                  <a:cubicBezTo>
                    <a:pt x="49706" y="24790"/>
                    <a:pt x="49706" y="24779"/>
                    <a:pt x="49702" y="24769"/>
                  </a:cubicBezTo>
                  <a:cubicBezTo>
                    <a:pt x="49678" y="24681"/>
                    <a:pt x="49744" y="24559"/>
                    <a:pt x="49856" y="24373"/>
                  </a:cubicBezTo>
                  <a:cubicBezTo>
                    <a:pt x="49891" y="24314"/>
                    <a:pt x="49926" y="24254"/>
                    <a:pt x="49947" y="24209"/>
                  </a:cubicBezTo>
                  <a:cubicBezTo>
                    <a:pt x="49954" y="24195"/>
                    <a:pt x="49958" y="24184"/>
                    <a:pt x="49961" y="24170"/>
                  </a:cubicBezTo>
                  <a:cubicBezTo>
                    <a:pt x="49993" y="24048"/>
                    <a:pt x="50175" y="23743"/>
                    <a:pt x="50294" y="23638"/>
                  </a:cubicBezTo>
                  <a:cubicBezTo>
                    <a:pt x="50308" y="23624"/>
                    <a:pt x="50322" y="23614"/>
                    <a:pt x="50339" y="23607"/>
                  </a:cubicBezTo>
                  <a:cubicBezTo>
                    <a:pt x="50424" y="23572"/>
                    <a:pt x="50550" y="23446"/>
                    <a:pt x="50543" y="23404"/>
                  </a:cubicBezTo>
                  <a:cubicBezTo>
                    <a:pt x="50532" y="23316"/>
                    <a:pt x="50511" y="23232"/>
                    <a:pt x="50483" y="23148"/>
                  </a:cubicBezTo>
                  <a:cubicBezTo>
                    <a:pt x="50476" y="23117"/>
                    <a:pt x="50462" y="23092"/>
                    <a:pt x="50441" y="23071"/>
                  </a:cubicBezTo>
                  <a:lnTo>
                    <a:pt x="50434" y="23071"/>
                  </a:lnTo>
                  <a:cubicBezTo>
                    <a:pt x="50371" y="23071"/>
                    <a:pt x="50276" y="23071"/>
                    <a:pt x="50234" y="22994"/>
                  </a:cubicBezTo>
                  <a:cubicBezTo>
                    <a:pt x="50196" y="22917"/>
                    <a:pt x="50231" y="22826"/>
                    <a:pt x="50346" y="22675"/>
                  </a:cubicBezTo>
                  <a:cubicBezTo>
                    <a:pt x="50511" y="22451"/>
                    <a:pt x="50758" y="22412"/>
                    <a:pt x="50926" y="22412"/>
                  </a:cubicBezTo>
                  <a:cubicBezTo>
                    <a:pt x="50984" y="22412"/>
                    <a:pt x="51032" y="22416"/>
                    <a:pt x="51064" y="22420"/>
                  </a:cubicBezTo>
                  <a:lnTo>
                    <a:pt x="51092" y="22420"/>
                  </a:lnTo>
                  <a:cubicBezTo>
                    <a:pt x="51099" y="22420"/>
                    <a:pt x="51159" y="22413"/>
                    <a:pt x="51204" y="22402"/>
                  </a:cubicBezTo>
                  <a:cubicBezTo>
                    <a:pt x="51344" y="22377"/>
                    <a:pt x="51556" y="22338"/>
                    <a:pt x="51731" y="22338"/>
                  </a:cubicBezTo>
                  <a:cubicBezTo>
                    <a:pt x="51802" y="22338"/>
                    <a:pt x="51866" y="22344"/>
                    <a:pt x="51918" y="22360"/>
                  </a:cubicBezTo>
                  <a:cubicBezTo>
                    <a:pt x="51978" y="22374"/>
                    <a:pt x="52037" y="22381"/>
                    <a:pt x="52097" y="22381"/>
                  </a:cubicBezTo>
                  <a:lnTo>
                    <a:pt x="52153" y="22381"/>
                  </a:lnTo>
                  <a:cubicBezTo>
                    <a:pt x="52166" y="22381"/>
                    <a:pt x="52179" y="22380"/>
                    <a:pt x="52193" y="22380"/>
                  </a:cubicBezTo>
                  <a:cubicBezTo>
                    <a:pt x="52257" y="22380"/>
                    <a:pt x="52323" y="22387"/>
                    <a:pt x="52384" y="22399"/>
                  </a:cubicBezTo>
                  <a:lnTo>
                    <a:pt x="52412" y="22406"/>
                  </a:lnTo>
                  <a:lnTo>
                    <a:pt x="52436" y="22413"/>
                  </a:lnTo>
                  <a:cubicBezTo>
                    <a:pt x="52450" y="22420"/>
                    <a:pt x="52468" y="22427"/>
                    <a:pt x="52486" y="22434"/>
                  </a:cubicBezTo>
                  <a:lnTo>
                    <a:pt x="52489" y="22434"/>
                  </a:lnTo>
                  <a:cubicBezTo>
                    <a:pt x="52507" y="22441"/>
                    <a:pt x="52528" y="22451"/>
                    <a:pt x="52545" y="22462"/>
                  </a:cubicBezTo>
                  <a:cubicBezTo>
                    <a:pt x="52654" y="22518"/>
                    <a:pt x="52790" y="22539"/>
                    <a:pt x="52909" y="22556"/>
                  </a:cubicBezTo>
                  <a:cubicBezTo>
                    <a:pt x="53053" y="22577"/>
                    <a:pt x="53172" y="22595"/>
                    <a:pt x="53231" y="22675"/>
                  </a:cubicBezTo>
                  <a:cubicBezTo>
                    <a:pt x="53270" y="22714"/>
                    <a:pt x="53312" y="22745"/>
                    <a:pt x="53357" y="22773"/>
                  </a:cubicBezTo>
                  <a:cubicBezTo>
                    <a:pt x="53469" y="22847"/>
                    <a:pt x="53620" y="22948"/>
                    <a:pt x="53602" y="23103"/>
                  </a:cubicBezTo>
                  <a:cubicBezTo>
                    <a:pt x="53602" y="23113"/>
                    <a:pt x="53599" y="23124"/>
                    <a:pt x="53599" y="23134"/>
                  </a:cubicBezTo>
                  <a:cubicBezTo>
                    <a:pt x="53595" y="23141"/>
                    <a:pt x="53595" y="23152"/>
                    <a:pt x="53592" y="23159"/>
                  </a:cubicBezTo>
                  <a:cubicBezTo>
                    <a:pt x="53592" y="23180"/>
                    <a:pt x="53599" y="23187"/>
                    <a:pt x="53637" y="23215"/>
                  </a:cubicBezTo>
                  <a:cubicBezTo>
                    <a:pt x="53704" y="23267"/>
                    <a:pt x="53809" y="23348"/>
                    <a:pt x="53858" y="23607"/>
                  </a:cubicBezTo>
                  <a:cubicBezTo>
                    <a:pt x="53882" y="23764"/>
                    <a:pt x="53952" y="23915"/>
                    <a:pt x="54057" y="24037"/>
                  </a:cubicBezTo>
                  <a:cubicBezTo>
                    <a:pt x="54117" y="24097"/>
                    <a:pt x="54155" y="24170"/>
                    <a:pt x="54180" y="24247"/>
                  </a:cubicBezTo>
                  <a:cubicBezTo>
                    <a:pt x="54183" y="24258"/>
                    <a:pt x="54187" y="24268"/>
                    <a:pt x="54190" y="24279"/>
                  </a:cubicBezTo>
                  <a:cubicBezTo>
                    <a:pt x="54225" y="24370"/>
                    <a:pt x="54267" y="24461"/>
                    <a:pt x="54316" y="24545"/>
                  </a:cubicBezTo>
                  <a:cubicBezTo>
                    <a:pt x="54404" y="24713"/>
                    <a:pt x="54463" y="24828"/>
                    <a:pt x="54460" y="24912"/>
                  </a:cubicBezTo>
                  <a:cubicBezTo>
                    <a:pt x="54460" y="24923"/>
                    <a:pt x="54460" y="24933"/>
                    <a:pt x="54456" y="24944"/>
                  </a:cubicBezTo>
                  <a:cubicBezTo>
                    <a:pt x="54442" y="24982"/>
                    <a:pt x="54439" y="25021"/>
                    <a:pt x="54435" y="25056"/>
                  </a:cubicBezTo>
                  <a:cubicBezTo>
                    <a:pt x="54435" y="25063"/>
                    <a:pt x="54439" y="25070"/>
                    <a:pt x="54439" y="25077"/>
                  </a:cubicBezTo>
                  <a:cubicBezTo>
                    <a:pt x="54442" y="25091"/>
                    <a:pt x="54446" y="25105"/>
                    <a:pt x="54453" y="25116"/>
                  </a:cubicBezTo>
                  <a:cubicBezTo>
                    <a:pt x="54481" y="25154"/>
                    <a:pt x="54551" y="25168"/>
                    <a:pt x="54607" y="25168"/>
                  </a:cubicBezTo>
                  <a:cubicBezTo>
                    <a:pt x="54782" y="25179"/>
                    <a:pt x="54929" y="25263"/>
                    <a:pt x="55027" y="25319"/>
                  </a:cubicBezTo>
                  <a:cubicBezTo>
                    <a:pt x="55055" y="25336"/>
                    <a:pt x="55080" y="25350"/>
                    <a:pt x="55108" y="25364"/>
                  </a:cubicBezTo>
                  <a:lnTo>
                    <a:pt x="55118" y="25368"/>
                  </a:lnTo>
                  <a:cubicBezTo>
                    <a:pt x="55133" y="25362"/>
                    <a:pt x="55150" y="25360"/>
                    <a:pt x="55171" y="25360"/>
                  </a:cubicBezTo>
                  <a:cubicBezTo>
                    <a:pt x="55316" y="25360"/>
                    <a:pt x="55589" y="25485"/>
                    <a:pt x="55731" y="25627"/>
                  </a:cubicBezTo>
                  <a:cubicBezTo>
                    <a:pt x="55769" y="25662"/>
                    <a:pt x="55815" y="25686"/>
                    <a:pt x="55867" y="25700"/>
                  </a:cubicBezTo>
                  <a:cubicBezTo>
                    <a:pt x="55899" y="25711"/>
                    <a:pt x="55927" y="25721"/>
                    <a:pt x="55958" y="25728"/>
                  </a:cubicBezTo>
                  <a:cubicBezTo>
                    <a:pt x="55983" y="25735"/>
                    <a:pt x="56004" y="25742"/>
                    <a:pt x="56028" y="25749"/>
                  </a:cubicBezTo>
                  <a:cubicBezTo>
                    <a:pt x="56102" y="25777"/>
                    <a:pt x="56172" y="25823"/>
                    <a:pt x="56161" y="25942"/>
                  </a:cubicBezTo>
                  <a:cubicBezTo>
                    <a:pt x="56161" y="26019"/>
                    <a:pt x="56182" y="26096"/>
                    <a:pt x="56217" y="26166"/>
                  </a:cubicBezTo>
                  <a:cubicBezTo>
                    <a:pt x="56256" y="26239"/>
                    <a:pt x="56277" y="26327"/>
                    <a:pt x="56273" y="26411"/>
                  </a:cubicBezTo>
                  <a:cubicBezTo>
                    <a:pt x="56277" y="26428"/>
                    <a:pt x="56284" y="26442"/>
                    <a:pt x="56298" y="26453"/>
                  </a:cubicBezTo>
                  <a:cubicBezTo>
                    <a:pt x="56305" y="26463"/>
                    <a:pt x="56319" y="26470"/>
                    <a:pt x="56329" y="26477"/>
                  </a:cubicBezTo>
                  <a:cubicBezTo>
                    <a:pt x="56427" y="26529"/>
                    <a:pt x="56531" y="26555"/>
                    <a:pt x="56639" y="26555"/>
                  </a:cubicBezTo>
                  <a:cubicBezTo>
                    <a:pt x="56663" y="26555"/>
                    <a:pt x="56687" y="26553"/>
                    <a:pt x="56711" y="26551"/>
                  </a:cubicBezTo>
                  <a:lnTo>
                    <a:pt x="56736" y="26551"/>
                  </a:lnTo>
                  <a:cubicBezTo>
                    <a:pt x="56771" y="26546"/>
                    <a:pt x="56806" y="26543"/>
                    <a:pt x="56843" y="26543"/>
                  </a:cubicBezTo>
                  <a:cubicBezTo>
                    <a:pt x="56879" y="26543"/>
                    <a:pt x="56916" y="26546"/>
                    <a:pt x="56953" y="26551"/>
                  </a:cubicBezTo>
                  <a:cubicBezTo>
                    <a:pt x="56984" y="26551"/>
                    <a:pt x="57012" y="26554"/>
                    <a:pt x="57037" y="26554"/>
                  </a:cubicBezTo>
                  <a:cubicBezTo>
                    <a:pt x="57042" y="26555"/>
                    <a:pt x="57047" y="26555"/>
                    <a:pt x="57052" y="26555"/>
                  </a:cubicBezTo>
                  <a:cubicBezTo>
                    <a:pt x="57103" y="26555"/>
                    <a:pt x="57151" y="26525"/>
                    <a:pt x="57170" y="26474"/>
                  </a:cubicBezTo>
                  <a:cubicBezTo>
                    <a:pt x="57229" y="26358"/>
                    <a:pt x="57341" y="26320"/>
                    <a:pt x="57450" y="26302"/>
                  </a:cubicBezTo>
                  <a:cubicBezTo>
                    <a:pt x="57488" y="26295"/>
                    <a:pt x="57523" y="26292"/>
                    <a:pt x="57558" y="26288"/>
                  </a:cubicBezTo>
                  <a:cubicBezTo>
                    <a:pt x="57618" y="26288"/>
                    <a:pt x="57674" y="26278"/>
                    <a:pt x="57723" y="26257"/>
                  </a:cubicBezTo>
                  <a:lnTo>
                    <a:pt x="57740" y="26243"/>
                  </a:lnTo>
                  <a:cubicBezTo>
                    <a:pt x="57824" y="26194"/>
                    <a:pt x="57915" y="26166"/>
                    <a:pt x="58013" y="26159"/>
                  </a:cubicBezTo>
                  <a:cubicBezTo>
                    <a:pt x="58062" y="26159"/>
                    <a:pt x="58111" y="26169"/>
                    <a:pt x="58157" y="26190"/>
                  </a:cubicBezTo>
                  <a:cubicBezTo>
                    <a:pt x="58209" y="26222"/>
                    <a:pt x="58272" y="26285"/>
                    <a:pt x="58265" y="26425"/>
                  </a:cubicBezTo>
                  <a:cubicBezTo>
                    <a:pt x="58262" y="26512"/>
                    <a:pt x="58276" y="26600"/>
                    <a:pt x="58314" y="26677"/>
                  </a:cubicBezTo>
                  <a:cubicBezTo>
                    <a:pt x="58321" y="26691"/>
                    <a:pt x="58328" y="26705"/>
                    <a:pt x="58332" y="26719"/>
                  </a:cubicBezTo>
                  <a:cubicBezTo>
                    <a:pt x="58335" y="26729"/>
                    <a:pt x="58339" y="26740"/>
                    <a:pt x="58342" y="26750"/>
                  </a:cubicBezTo>
                  <a:cubicBezTo>
                    <a:pt x="58342" y="26764"/>
                    <a:pt x="58346" y="26775"/>
                    <a:pt x="58346" y="26785"/>
                  </a:cubicBezTo>
                  <a:cubicBezTo>
                    <a:pt x="58346" y="26834"/>
                    <a:pt x="58325" y="26883"/>
                    <a:pt x="58248" y="26929"/>
                  </a:cubicBezTo>
                  <a:cubicBezTo>
                    <a:pt x="58136" y="26999"/>
                    <a:pt x="58055" y="27321"/>
                    <a:pt x="58013" y="27493"/>
                  </a:cubicBezTo>
                  <a:cubicBezTo>
                    <a:pt x="58003" y="27528"/>
                    <a:pt x="57996" y="27559"/>
                    <a:pt x="57989" y="27587"/>
                  </a:cubicBezTo>
                  <a:cubicBezTo>
                    <a:pt x="57961" y="27692"/>
                    <a:pt x="57880" y="27759"/>
                    <a:pt x="57810" y="27815"/>
                  </a:cubicBezTo>
                  <a:cubicBezTo>
                    <a:pt x="57740" y="27874"/>
                    <a:pt x="57677" y="27923"/>
                    <a:pt x="57667" y="28000"/>
                  </a:cubicBezTo>
                  <a:cubicBezTo>
                    <a:pt x="57646" y="28126"/>
                    <a:pt x="57562" y="28193"/>
                    <a:pt x="57492" y="28242"/>
                  </a:cubicBezTo>
                  <a:cubicBezTo>
                    <a:pt x="57432" y="28287"/>
                    <a:pt x="57408" y="28312"/>
                    <a:pt x="57408" y="28347"/>
                  </a:cubicBezTo>
                  <a:cubicBezTo>
                    <a:pt x="57408" y="28403"/>
                    <a:pt x="57373" y="28455"/>
                    <a:pt x="57324" y="28480"/>
                  </a:cubicBezTo>
                  <a:cubicBezTo>
                    <a:pt x="57284" y="28500"/>
                    <a:pt x="57234" y="28509"/>
                    <a:pt x="57180" y="28509"/>
                  </a:cubicBezTo>
                  <a:cubicBezTo>
                    <a:pt x="57056" y="28509"/>
                    <a:pt x="56910" y="28463"/>
                    <a:pt x="56820" y="28399"/>
                  </a:cubicBezTo>
                  <a:cubicBezTo>
                    <a:pt x="56809" y="28392"/>
                    <a:pt x="56797" y="28388"/>
                    <a:pt x="56785" y="28388"/>
                  </a:cubicBezTo>
                  <a:cubicBezTo>
                    <a:pt x="56746" y="28388"/>
                    <a:pt x="56696" y="28425"/>
                    <a:pt x="56617" y="28497"/>
                  </a:cubicBezTo>
                  <a:cubicBezTo>
                    <a:pt x="56546" y="28560"/>
                    <a:pt x="56480" y="28623"/>
                    <a:pt x="56403" y="28623"/>
                  </a:cubicBezTo>
                  <a:cubicBezTo>
                    <a:pt x="56399" y="28623"/>
                    <a:pt x="56396" y="28623"/>
                    <a:pt x="56392" y="28630"/>
                  </a:cubicBezTo>
                  <a:cubicBezTo>
                    <a:pt x="56357" y="28676"/>
                    <a:pt x="56357" y="28830"/>
                    <a:pt x="56385" y="28928"/>
                  </a:cubicBezTo>
                  <a:cubicBezTo>
                    <a:pt x="56392" y="28956"/>
                    <a:pt x="56396" y="28984"/>
                    <a:pt x="56396" y="29015"/>
                  </a:cubicBezTo>
                  <a:cubicBezTo>
                    <a:pt x="56396" y="29043"/>
                    <a:pt x="56392" y="29071"/>
                    <a:pt x="56389" y="29103"/>
                  </a:cubicBezTo>
                  <a:cubicBezTo>
                    <a:pt x="56389" y="29124"/>
                    <a:pt x="56385" y="29145"/>
                    <a:pt x="56385" y="29166"/>
                  </a:cubicBezTo>
                  <a:lnTo>
                    <a:pt x="56385" y="29197"/>
                  </a:lnTo>
                  <a:cubicBezTo>
                    <a:pt x="56382" y="29257"/>
                    <a:pt x="56396" y="29317"/>
                    <a:pt x="56417" y="29373"/>
                  </a:cubicBezTo>
                  <a:cubicBezTo>
                    <a:pt x="56448" y="29446"/>
                    <a:pt x="56448" y="29551"/>
                    <a:pt x="56452" y="29670"/>
                  </a:cubicBezTo>
                  <a:cubicBezTo>
                    <a:pt x="56452" y="29712"/>
                    <a:pt x="56452" y="29754"/>
                    <a:pt x="56452" y="29800"/>
                  </a:cubicBezTo>
                  <a:cubicBezTo>
                    <a:pt x="56641" y="29674"/>
                    <a:pt x="56774" y="29607"/>
                    <a:pt x="56851" y="29607"/>
                  </a:cubicBezTo>
                  <a:cubicBezTo>
                    <a:pt x="56974" y="29607"/>
                    <a:pt x="57086" y="29702"/>
                    <a:pt x="57194" y="29793"/>
                  </a:cubicBezTo>
                  <a:cubicBezTo>
                    <a:pt x="57289" y="29877"/>
                    <a:pt x="57390" y="29961"/>
                    <a:pt x="57481" y="29964"/>
                  </a:cubicBezTo>
                  <a:lnTo>
                    <a:pt x="57485" y="29964"/>
                  </a:lnTo>
                  <a:cubicBezTo>
                    <a:pt x="57674" y="29964"/>
                    <a:pt x="58605" y="29359"/>
                    <a:pt x="58678" y="29222"/>
                  </a:cubicBezTo>
                  <a:cubicBezTo>
                    <a:pt x="58693" y="29127"/>
                    <a:pt x="58868" y="28935"/>
                    <a:pt x="59333" y="28466"/>
                  </a:cubicBezTo>
                  <a:cubicBezTo>
                    <a:pt x="59424" y="28368"/>
                    <a:pt x="59515" y="28277"/>
                    <a:pt x="59585" y="28207"/>
                  </a:cubicBezTo>
                  <a:cubicBezTo>
                    <a:pt x="59813" y="27962"/>
                    <a:pt x="60219" y="27507"/>
                    <a:pt x="60373" y="27149"/>
                  </a:cubicBezTo>
                  <a:cubicBezTo>
                    <a:pt x="60429" y="27016"/>
                    <a:pt x="60597" y="26817"/>
                    <a:pt x="60744" y="26638"/>
                  </a:cubicBezTo>
                  <a:cubicBezTo>
                    <a:pt x="60821" y="26551"/>
                    <a:pt x="60891" y="26460"/>
                    <a:pt x="60958" y="26365"/>
                  </a:cubicBezTo>
                  <a:cubicBezTo>
                    <a:pt x="60986" y="26320"/>
                    <a:pt x="61017" y="26274"/>
                    <a:pt x="61052" y="26229"/>
                  </a:cubicBezTo>
                  <a:cubicBezTo>
                    <a:pt x="61150" y="26103"/>
                    <a:pt x="61231" y="25963"/>
                    <a:pt x="61294" y="25812"/>
                  </a:cubicBezTo>
                  <a:cubicBezTo>
                    <a:pt x="61399" y="25585"/>
                    <a:pt x="61441" y="25098"/>
                    <a:pt x="61469" y="24776"/>
                  </a:cubicBezTo>
                  <a:cubicBezTo>
                    <a:pt x="61497" y="24471"/>
                    <a:pt x="61504" y="24394"/>
                    <a:pt x="61539" y="24359"/>
                  </a:cubicBezTo>
                  <a:cubicBezTo>
                    <a:pt x="61553" y="24324"/>
                    <a:pt x="61560" y="24289"/>
                    <a:pt x="61563" y="24254"/>
                  </a:cubicBezTo>
                  <a:cubicBezTo>
                    <a:pt x="61567" y="24170"/>
                    <a:pt x="61595" y="24090"/>
                    <a:pt x="61640" y="24023"/>
                  </a:cubicBezTo>
                  <a:cubicBezTo>
                    <a:pt x="61665" y="23985"/>
                    <a:pt x="61679" y="23946"/>
                    <a:pt x="61689" y="23904"/>
                  </a:cubicBezTo>
                  <a:cubicBezTo>
                    <a:pt x="61710" y="23796"/>
                    <a:pt x="61766" y="23698"/>
                    <a:pt x="61850" y="23624"/>
                  </a:cubicBezTo>
                  <a:cubicBezTo>
                    <a:pt x="61980" y="23516"/>
                    <a:pt x="61962" y="23435"/>
                    <a:pt x="61924" y="23334"/>
                  </a:cubicBezTo>
                  <a:cubicBezTo>
                    <a:pt x="61899" y="23253"/>
                    <a:pt x="61892" y="23173"/>
                    <a:pt x="61903" y="23089"/>
                  </a:cubicBezTo>
                  <a:cubicBezTo>
                    <a:pt x="61906" y="23036"/>
                    <a:pt x="61903" y="22983"/>
                    <a:pt x="61892" y="22927"/>
                  </a:cubicBezTo>
                  <a:cubicBezTo>
                    <a:pt x="61826" y="22808"/>
                    <a:pt x="61878" y="22742"/>
                    <a:pt x="61976" y="22682"/>
                  </a:cubicBezTo>
                  <a:cubicBezTo>
                    <a:pt x="61927" y="22616"/>
                    <a:pt x="61864" y="22560"/>
                    <a:pt x="61787" y="22528"/>
                  </a:cubicBezTo>
                  <a:lnTo>
                    <a:pt x="61731" y="22504"/>
                  </a:lnTo>
                  <a:cubicBezTo>
                    <a:pt x="61598" y="22444"/>
                    <a:pt x="61437" y="22371"/>
                    <a:pt x="61416" y="22199"/>
                  </a:cubicBezTo>
                  <a:cubicBezTo>
                    <a:pt x="61406" y="22092"/>
                    <a:pt x="61222" y="21936"/>
                    <a:pt x="61077" y="21936"/>
                  </a:cubicBezTo>
                  <a:cubicBezTo>
                    <a:pt x="61071" y="21936"/>
                    <a:pt x="61065" y="21936"/>
                    <a:pt x="61059" y="21937"/>
                  </a:cubicBezTo>
                  <a:cubicBezTo>
                    <a:pt x="61045" y="21937"/>
                    <a:pt x="61031" y="21938"/>
                    <a:pt x="61017" y="21938"/>
                  </a:cubicBezTo>
                  <a:cubicBezTo>
                    <a:pt x="60946" y="21938"/>
                    <a:pt x="60874" y="21930"/>
                    <a:pt x="60804" y="21916"/>
                  </a:cubicBezTo>
                  <a:cubicBezTo>
                    <a:pt x="60758" y="21912"/>
                    <a:pt x="60695" y="21902"/>
                    <a:pt x="60656" y="21902"/>
                  </a:cubicBezTo>
                  <a:cubicBezTo>
                    <a:pt x="60674" y="21968"/>
                    <a:pt x="60660" y="22042"/>
                    <a:pt x="60614" y="22094"/>
                  </a:cubicBezTo>
                  <a:cubicBezTo>
                    <a:pt x="60585" y="22127"/>
                    <a:pt x="60542" y="22145"/>
                    <a:pt x="60501" y="22145"/>
                  </a:cubicBezTo>
                  <a:cubicBezTo>
                    <a:pt x="60488" y="22145"/>
                    <a:pt x="60476" y="22143"/>
                    <a:pt x="60464" y="22140"/>
                  </a:cubicBezTo>
                  <a:cubicBezTo>
                    <a:pt x="60459" y="22138"/>
                    <a:pt x="60455" y="22137"/>
                    <a:pt x="60450" y="22137"/>
                  </a:cubicBezTo>
                  <a:cubicBezTo>
                    <a:pt x="60423" y="22137"/>
                    <a:pt x="60398" y="22170"/>
                    <a:pt x="60317" y="22294"/>
                  </a:cubicBezTo>
                  <a:lnTo>
                    <a:pt x="60299" y="22322"/>
                  </a:lnTo>
                  <a:cubicBezTo>
                    <a:pt x="60228" y="22431"/>
                    <a:pt x="60073" y="22482"/>
                    <a:pt x="59973" y="22482"/>
                  </a:cubicBezTo>
                  <a:cubicBezTo>
                    <a:pt x="59961" y="22482"/>
                    <a:pt x="59949" y="22481"/>
                    <a:pt x="59939" y="22479"/>
                  </a:cubicBezTo>
                  <a:cubicBezTo>
                    <a:pt x="59890" y="22479"/>
                    <a:pt x="59848" y="22448"/>
                    <a:pt x="59834" y="22402"/>
                  </a:cubicBezTo>
                  <a:cubicBezTo>
                    <a:pt x="59820" y="22360"/>
                    <a:pt x="59841" y="22311"/>
                    <a:pt x="59893" y="22259"/>
                  </a:cubicBezTo>
                  <a:cubicBezTo>
                    <a:pt x="59935" y="22224"/>
                    <a:pt x="59939" y="22210"/>
                    <a:pt x="59939" y="22210"/>
                  </a:cubicBezTo>
                  <a:cubicBezTo>
                    <a:pt x="59932" y="22196"/>
                    <a:pt x="59925" y="22185"/>
                    <a:pt x="59914" y="22175"/>
                  </a:cubicBezTo>
                  <a:cubicBezTo>
                    <a:pt x="59862" y="22122"/>
                    <a:pt x="59837" y="22045"/>
                    <a:pt x="59851" y="21972"/>
                  </a:cubicBezTo>
                  <a:cubicBezTo>
                    <a:pt x="59858" y="21933"/>
                    <a:pt x="59872" y="21895"/>
                    <a:pt x="59886" y="21856"/>
                  </a:cubicBezTo>
                  <a:lnTo>
                    <a:pt x="59886" y="21856"/>
                  </a:lnTo>
                  <a:cubicBezTo>
                    <a:pt x="59841" y="21905"/>
                    <a:pt x="59806" y="21958"/>
                    <a:pt x="59778" y="22017"/>
                  </a:cubicBezTo>
                  <a:cubicBezTo>
                    <a:pt x="59732" y="22105"/>
                    <a:pt x="59683" y="22196"/>
                    <a:pt x="59575" y="22220"/>
                  </a:cubicBezTo>
                  <a:cubicBezTo>
                    <a:pt x="59565" y="22223"/>
                    <a:pt x="59555" y="22224"/>
                    <a:pt x="59545" y="22224"/>
                  </a:cubicBezTo>
                  <a:cubicBezTo>
                    <a:pt x="59510" y="22224"/>
                    <a:pt x="59477" y="22209"/>
                    <a:pt x="59452" y="22182"/>
                  </a:cubicBezTo>
                  <a:cubicBezTo>
                    <a:pt x="59354" y="22070"/>
                    <a:pt x="59396" y="21737"/>
                    <a:pt x="59424" y="21611"/>
                  </a:cubicBezTo>
                  <a:cubicBezTo>
                    <a:pt x="59389" y="21611"/>
                    <a:pt x="59333" y="21618"/>
                    <a:pt x="59284" y="21625"/>
                  </a:cubicBezTo>
                  <a:cubicBezTo>
                    <a:pt x="59182" y="21641"/>
                    <a:pt x="59077" y="21649"/>
                    <a:pt x="58973" y="21649"/>
                  </a:cubicBezTo>
                  <a:cubicBezTo>
                    <a:pt x="58938" y="21649"/>
                    <a:pt x="58903" y="21648"/>
                    <a:pt x="58868" y="21646"/>
                  </a:cubicBezTo>
                  <a:cubicBezTo>
                    <a:pt x="58664" y="21632"/>
                    <a:pt x="58605" y="21548"/>
                    <a:pt x="58591" y="21482"/>
                  </a:cubicBezTo>
                  <a:cubicBezTo>
                    <a:pt x="58566" y="21363"/>
                    <a:pt x="58675" y="21223"/>
                    <a:pt x="58868" y="21121"/>
                  </a:cubicBezTo>
                  <a:cubicBezTo>
                    <a:pt x="58962" y="21076"/>
                    <a:pt x="59039" y="21006"/>
                    <a:pt x="59092" y="20914"/>
                  </a:cubicBezTo>
                  <a:cubicBezTo>
                    <a:pt x="59123" y="20855"/>
                    <a:pt x="59176" y="20806"/>
                    <a:pt x="59235" y="20778"/>
                  </a:cubicBezTo>
                  <a:cubicBezTo>
                    <a:pt x="59386" y="20701"/>
                    <a:pt x="59533" y="20617"/>
                    <a:pt x="59673" y="20526"/>
                  </a:cubicBezTo>
                  <a:cubicBezTo>
                    <a:pt x="59771" y="20466"/>
                    <a:pt x="59858" y="20410"/>
                    <a:pt x="59935" y="20368"/>
                  </a:cubicBezTo>
                  <a:cubicBezTo>
                    <a:pt x="60114" y="20263"/>
                    <a:pt x="60152" y="20155"/>
                    <a:pt x="60198" y="20025"/>
                  </a:cubicBezTo>
                  <a:lnTo>
                    <a:pt x="60201" y="20008"/>
                  </a:lnTo>
                  <a:cubicBezTo>
                    <a:pt x="60236" y="19910"/>
                    <a:pt x="60376" y="19819"/>
                    <a:pt x="60576" y="19693"/>
                  </a:cubicBezTo>
                  <a:cubicBezTo>
                    <a:pt x="60726" y="19598"/>
                    <a:pt x="60870" y="19497"/>
                    <a:pt x="61007" y="19388"/>
                  </a:cubicBezTo>
                  <a:cubicBezTo>
                    <a:pt x="61332" y="19126"/>
                    <a:pt x="61511" y="18961"/>
                    <a:pt x="61588" y="18796"/>
                  </a:cubicBezTo>
                  <a:cubicBezTo>
                    <a:pt x="61637" y="18695"/>
                    <a:pt x="61784" y="18604"/>
                    <a:pt x="61938" y="18502"/>
                  </a:cubicBezTo>
                  <a:cubicBezTo>
                    <a:pt x="62029" y="18446"/>
                    <a:pt x="62179" y="18348"/>
                    <a:pt x="62190" y="18310"/>
                  </a:cubicBezTo>
                  <a:cubicBezTo>
                    <a:pt x="62200" y="18117"/>
                    <a:pt x="62880" y="17795"/>
                    <a:pt x="63268" y="17718"/>
                  </a:cubicBezTo>
                  <a:cubicBezTo>
                    <a:pt x="63372" y="17698"/>
                    <a:pt x="63495" y="17688"/>
                    <a:pt x="63622" y="17688"/>
                  </a:cubicBezTo>
                  <a:cubicBezTo>
                    <a:pt x="63992" y="17688"/>
                    <a:pt x="64403" y="17767"/>
                    <a:pt x="64518" y="17879"/>
                  </a:cubicBezTo>
                  <a:cubicBezTo>
                    <a:pt x="64538" y="17917"/>
                    <a:pt x="64575" y="17935"/>
                    <a:pt x="64611" y="17935"/>
                  </a:cubicBezTo>
                  <a:cubicBezTo>
                    <a:pt x="64648" y="17935"/>
                    <a:pt x="64686" y="17915"/>
                    <a:pt x="64703" y="17876"/>
                  </a:cubicBezTo>
                  <a:cubicBezTo>
                    <a:pt x="64750" y="17824"/>
                    <a:pt x="64813" y="17807"/>
                    <a:pt x="64896" y="17807"/>
                  </a:cubicBezTo>
                  <a:cubicBezTo>
                    <a:pt x="64964" y="17807"/>
                    <a:pt x="65044" y="17818"/>
                    <a:pt x="65138" y="17830"/>
                  </a:cubicBezTo>
                  <a:cubicBezTo>
                    <a:pt x="65180" y="17834"/>
                    <a:pt x="65222" y="17841"/>
                    <a:pt x="65271" y="17844"/>
                  </a:cubicBezTo>
                  <a:cubicBezTo>
                    <a:pt x="65292" y="17847"/>
                    <a:pt x="65313" y="17849"/>
                    <a:pt x="65334" y="17849"/>
                  </a:cubicBezTo>
                  <a:cubicBezTo>
                    <a:pt x="65403" y="17849"/>
                    <a:pt x="65472" y="17832"/>
                    <a:pt x="65537" y="17802"/>
                  </a:cubicBezTo>
                  <a:cubicBezTo>
                    <a:pt x="65590" y="17781"/>
                    <a:pt x="65644" y="17759"/>
                    <a:pt x="65710" y="17759"/>
                  </a:cubicBezTo>
                  <a:cubicBezTo>
                    <a:pt x="65739" y="17759"/>
                    <a:pt x="65771" y="17763"/>
                    <a:pt x="65806" y="17774"/>
                  </a:cubicBezTo>
                  <a:cubicBezTo>
                    <a:pt x="65884" y="17798"/>
                    <a:pt x="65946" y="17814"/>
                    <a:pt x="65998" y="17814"/>
                  </a:cubicBezTo>
                  <a:cubicBezTo>
                    <a:pt x="66076" y="17814"/>
                    <a:pt x="66130" y="17777"/>
                    <a:pt x="66181" y="17676"/>
                  </a:cubicBezTo>
                  <a:cubicBezTo>
                    <a:pt x="66226" y="17596"/>
                    <a:pt x="66317" y="17536"/>
                    <a:pt x="66443" y="17501"/>
                  </a:cubicBezTo>
                  <a:cubicBezTo>
                    <a:pt x="66508" y="17487"/>
                    <a:pt x="66580" y="17480"/>
                    <a:pt x="66653" y="17480"/>
                  </a:cubicBezTo>
                  <a:cubicBezTo>
                    <a:pt x="66812" y="17480"/>
                    <a:pt x="66971" y="17511"/>
                    <a:pt x="67046" y="17564"/>
                  </a:cubicBezTo>
                  <a:cubicBezTo>
                    <a:pt x="67063" y="17578"/>
                    <a:pt x="67081" y="17589"/>
                    <a:pt x="67095" y="17603"/>
                  </a:cubicBezTo>
                  <a:cubicBezTo>
                    <a:pt x="67158" y="17653"/>
                    <a:pt x="67205" y="17690"/>
                    <a:pt x="67262" y="17690"/>
                  </a:cubicBezTo>
                  <a:cubicBezTo>
                    <a:pt x="67296" y="17690"/>
                    <a:pt x="67334" y="17676"/>
                    <a:pt x="67382" y="17645"/>
                  </a:cubicBezTo>
                  <a:cubicBezTo>
                    <a:pt x="67429" y="17613"/>
                    <a:pt x="67470" y="17601"/>
                    <a:pt x="67506" y="17601"/>
                  </a:cubicBezTo>
                  <a:cubicBezTo>
                    <a:pt x="67594" y="17601"/>
                    <a:pt x="67649" y="17675"/>
                    <a:pt x="67686" y="17725"/>
                  </a:cubicBezTo>
                  <a:cubicBezTo>
                    <a:pt x="67728" y="17785"/>
                    <a:pt x="67760" y="17820"/>
                    <a:pt x="67809" y="17827"/>
                  </a:cubicBezTo>
                  <a:cubicBezTo>
                    <a:pt x="67963" y="17848"/>
                    <a:pt x="67959" y="17949"/>
                    <a:pt x="67959" y="17970"/>
                  </a:cubicBezTo>
                  <a:cubicBezTo>
                    <a:pt x="67946" y="18059"/>
                    <a:pt x="67838" y="18129"/>
                    <a:pt x="67721" y="18129"/>
                  </a:cubicBezTo>
                  <a:cubicBezTo>
                    <a:pt x="67713" y="18129"/>
                    <a:pt x="67705" y="18128"/>
                    <a:pt x="67697" y="18128"/>
                  </a:cubicBezTo>
                  <a:cubicBezTo>
                    <a:pt x="67684" y="18126"/>
                    <a:pt x="67672" y="18126"/>
                    <a:pt x="67660" y="18126"/>
                  </a:cubicBezTo>
                  <a:cubicBezTo>
                    <a:pt x="67611" y="18126"/>
                    <a:pt x="67564" y="18138"/>
                    <a:pt x="67522" y="18163"/>
                  </a:cubicBezTo>
                  <a:cubicBezTo>
                    <a:pt x="67532" y="18177"/>
                    <a:pt x="67543" y="18184"/>
                    <a:pt x="67557" y="18191"/>
                  </a:cubicBezTo>
                  <a:cubicBezTo>
                    <a:pt x="67585" y="18207"/>
                    <a:pt x="67615" y="18213"/>
                    <a:pt x="67646" y="18213"/>
                  </a:cubicBezTo>
                  <a:cubicBezTo>
                    <a:pt x="67712" y="18213"/>
                    <a:pt x="67783" y="18184"/>
                    <a:pt x="67854" y="18156"/>
                  </a:cubicBezTo>
                  <a:cubicBezTo>
                    <a:pt x="67924" y="18129"/>
                    <a:pt x="67988" y="18101"/>
                    <a:pt x="68052" y="18101"/>
                  </a:cubicBezTo>
                  <a:cubicBezTo>
                    <a:pt x="68062" y="18101"/>
                    <a:pt x="68072" y="18102"/>
                    <a:pt x="68082" y="18103"/>
                  </a:cubicBezTo>
                  <a:cubicBezTo>
                    <a:pt x="68133" y="18109"/>
                    <a:pt x="68186" y="18113"/>
                    <a:pt x="68240" y="18113"/>
                  </a:cubicBezTo>
                  <a:cubicBezTo>
                    <a:pt x="68365" y="18113"/>
                    <a:pt x="68494" y="18091"/>
                    <a:pt x="68614" y="18016"/>
                  </a:cubicBezTo>
                  <a:cubicBezTo>
                    <a:pt x="68660" y="17981"/>
                    <a:pt x="68715" y="17963"/>
                    <a:pt x="68770" y="17963"/>
                  </a:cubicBezTo>
                  <a:cubicBezTo>
                    <a:pt x="68819" y="17963"/>
                    <a:pt x="68868" y="17977"/>
                    <a:pt x="68911" y="18005"/>
                  </a:cubicBezTo>
                  <a:cubicBezTo>
                    <a:pt x="68940" y="18020"/>
                    <a:pt x="68954" y="18027"/>
                    <a:pt x="68964" y="18027"/>
                  </a:cubicBezTo>
                  <a:cubicBezTo>
                    <a:pt x="68974" y="18027"/>
                    <a:pt x="68981" y="18022"/>
                    <a:pt x="68992" y="18012"/>
                  </a:cubicBezTo>
                  <a:cubicBezTo>
                    <a:pt x="69125" y="17897"/>
                    <a:pt x="69381" y="17858"/>
                    <a:pt x="69549" y="17858"/>
                  </a:cubicBezTo>
                  <a:cubicBezTo>
                    <a:pt x="69496" y="17830"/>
                    <a:pt x="69440" y="17820"/>
                    <a:pt x="69384" y="17820"/>
                  </a:cubicBezTo>
                  <a:cubicBezTo>
                    <a:pt x="69311" y="17820"/>
                    <a:pt x="69206" y="17809"/>
                    <a:pt x="69157" y="17729"/>
                  </a:cubicBezTo>
                  <a:cubicBezTo>
                    <a:pt x="69097" y="17624"/>
                    <a:pt x="69164" y="17473"/>
                    <a:pt x="69286" y="17260"/>
                  </a:cubicBezTo>
                  <a:cubicBezTo>
                    <a:pt x="69430" y="17018"/>
                    <a:pt x="69661" y="16854"/>
                    <a:pt x="69864" y="16710"/>
                  </a:cubicBezTo>
                  <a:cubicBezTo>
                    <a:pt x="69951" y="16650"/>
                    <a:pt x="70032" y="16591"/>
                    <a:pt x="70102" y="16531"/>
                  </a:cubicBezTo>
                  <a:cubicBezTo>
                    <a:pt x="70193" y="16451"/>
                    <a:pt x="70305" y="16395"/>
                    <a:pt x="70427" y="16370"/>
                  </a:cubicBezTo>
                  <a:cubicBezTo>
                    <a:pt x="70445" y="16367"/>
                    <a:pt x="70466" y="16363"/>
                    <a:pt x="70483" y="16356"/>
                  </a:cubicBezTo>
                  <a:lnTo>
                    <a:pt x="70483" y="16346"/>
                  </a:lnTo>
                  <a:cubicBezTo>
                    <a:pt x="70483" y="16206"/>
                    <a:pt x="70606" y="15789"/>
                    <a:pt x="70837" y="15782"/>
                  </a:cubicBezTo>
                  <a:cubicBezTo>
                    <a:pt x="70851" y="15781"/>
                    <a:pt x="70867" y="15781"/>
                    <a:pt x="70883" y="15781"/>
                  </a:cubicBezTo>
                  <a:cubicBezTo>
                    <a:pt x="70923" y="15781"/>
                    <a:pt x="70969" y="15783"/>
                    <a:pt x="71019" y="15786"/>
                  </a:cubicBezTo>
                  <a:cubicBezTo>
                    <a:pt x="71091" y="15789"/>
                    <a:pt x="71173" y="15794"/>
                    <a:pt x="71256" y="15794"/>
                  </a:cubicBezTo>
                  <a:cubicBezTo>
                    <a:pt x="71415" y="15794"/>
                    <a:pt x="71581" y="15778"/>
                    <a:pt x="71705" y="15709"/>
                  </a:cubicBezTo>
                  <a:cubicBezTo>
                    <a:pt x="71777" y="15668"/>
                    <a:pt x="71835" y="15652"/>
                    <a:pt x="71882" y="15652"/>
                  </a:cubicBezTo>
                  <a:cubicBezTo>
                    <a:pt x="71993" y="15652"/>
                    <a:pt x="72044" y="15740"/>
                    <a:pt x="72076" y="15796"/>
                  </a:cubicBezTo>
                  <a:cubicBezTo>
                    <a:pt x="72090" y="15821"/>
                    <a:pt x="72108" y="15852"/>
                    <a:pt x="72125" y="15859"/>
                  </a:cubicBezTo>
                  <a:cubicBezTo>
                    <a:pt x="72126" y="15859"/>
                    <a:pt x="72126" y="15859"/>
                    <a:pt x="72127" y="15859"/>
                  </a:cubicBezTo>
                  <a:cubicBezTo>
                    <a:pt x="72144" y="15859"/>
                    <a:pt x="72207" y="15813"/>
                    <a:pt x="72237" y="15789"/>
                  </a:cubicBezTo>
                  <a:cubicBezTo>
                    <a:pt x="72294" y="15743"/>
                    <a:pt x="72367" y="15686"/>
                    <a:pt x="72445" y="15686"/>
                  </a:cubicBezTo>
                  <a:cubicBezTo>
                    <a:pt x="72473" y="15686"/>
                    <a:pt x="72502" y="15693"/>
                    <a:pt x="72531" y="15712"/>
                  </a:cubicBezTo>
                  <a:cubicBezTo>
                    <a:pt x="72566" y="15730"/>
                    <a:pt x="72587" y="15761"/>
                    <a:pt x="72594" y="15800"/>
                  </a:cubicBezTo>
                  <a:cubicBezTo>
                    <a:pt x="72605" y="15873"/>
                    <a:pt x="72542" y="15947"/>
                    <a:pt x="72465" y="16038"/>
                  </a:cubicBezTo>
                  <a:cubicBezTo>
                    <a:pt x="72398" y="16118"/>
                    <a:pt x="72321" y="16206"/>
                    <a:pt x="72293" y="16297"/>
                  </a:cubicBezTo>
                  <a:cubicBezTo>
                    <a:pt x="72279" y="16339"/>
                    <a:pt x="72283" y="16363"/>
                    <a:pt x="72286" y="16367"/>
                  </a:cubicBezTo>
                  <a:cubicBezTo>
                    <a:pt x="72297" y="16381"/>
                    <a:pt x="72356" y="16388"/>
                    <a:pt x="72395" y="16391"/>
                  </a:cubicBezTo>
                  <a:cubicBezTo>
                    <a:pt x="72454" y="16395"/>
                    <a:pt x="72514" y="16405"/>
                    <a:pt x="72566" y="16430"/>
                  </a:cubicBezTo>
                  <a:cubicBezTo>
                    <a:pt x="72605" y="16444"/>
                    <a:pt x="72633" y="16479"/>
                    <a:pt x="72640" y="16517"/>
                  </a:cubicBezTo>
                  <a:cubicBezTo>
                    <a:pt x="72643" y="16587"/>
                    <a:pt x="72580" y="16629"/>
                    <a:pt x="72517" y="16675"/>
                  </a:cubicBezTo>
                  <a:lnTo>
                    <a:pt x="72507" y="16682"/>
                  </a:lnTo>
                  <a:cubicBezTo>
                    <a:pt x="72598" y="16671"/>
                    <a:pt x="72780" y="16605"/>
                    <a:pt x="73011" y="16374"/>
                  </a:cubicBezTo>
                  <a:cubicBezTo>
                    <a:pt x="73390" y="15995"/>
                    <a:pt x="73712" y="15922"/>
                    <a:pt x="73901" y="15922"/>
                  </a:cubicBezTo>
                  <a:cubicBezTo>
                    <a:pt x="73926" y="15922"/>
                    <a:pt x="73950" y="15924"/>
                    <a:pt x="73970" y="15926"/>
                  </a:cubicBezTo>
                  <a:cubicBezTo>
                    <a:pt x="73981" y="15928"/>
                    <a:pt x="73990" y="15929"/>
                    <a:pt x="73997" y="15929"/>
                  </a:cubicBezTo>
                  <a:cubicBezTo>
                    <a:pt x="74013" y="15929"/>
                    <a:pt x="74020" y="15925"/>
                    <a:pt x="74023" y="15922"/>
                  </a:cubicBezTo>
                  <a:cubicBezTo>
                    <a:pt x="74040" y="15908"/>
                    <a:pt x="74030" y="15817"/>
                    <a:pt x="74023" y="15747"/>
                  </a:cubicBezTo>
                  <a:cubicBezTo>
                    <a:pt x="74012" y="15653"/>
                    <a:pt x="74005" y="15555"/>
                    <a:pt x="74009" y="15457"/>
                  </a:cubicBezTo>
                  <a:cubicBezTo>
                    <a:pt x="74016" y="15345"/>
                    <a:pt x="74082" y="15247"/>
                    <a:pt x="74201" y="15170"/>
                  </a:cubicBezTo>
                  <a:cubicBezTo>
                    <a:pt x="74357" y="15073"/>
                    <a:pt x="74583" y="15027"/>
                    <a:pt x="74774" y="15027"/>
                  </a:cubicBezTo>
                  <a:cubicBezTo>
                    <a:pt x="74879" y="15027"/>
                    <a:pt x="74973" y="15041"/>
                    <a:pt x="75038" y="15068"/>
                  </a:cubicBezTo>
                  <a:cubicBezTo>
                    <a:pt x="75195" y="15135"/>
                    <a:pt x="75262" y="15205"/>
                    <a:pt x="75237" y="15275"/>
                  </a:cubicBezTo>
                  <a:cubicBezTo>
                    <a:pt x="75222" y="15319"/>
                    <a:pt x="75182" y="15341"/>
                    <a:pt x="75119" y="15341"/>
                  </a:cubicBezTo>
                  <a:cubicBezTo>
                    <a:pt x="75083" y="15341"/>
                    <a:pt x="75040" y="15334"/>
                    <a:pt x="74989" y="15320"/>
                  </a:cubicBezTo>
                  <a:cubicBezTo>
                    <a:pt x="74968" y="15314"/>
                    <a:pt x="74947" y="15311"/>
                    <a:pt x="74926" y="15311"/>
                  </a:cubicBezTo>
                  <a:cubicBezTo>
                    <a:pt x="74873" y="15311"/>
                    <a:pt x="74822" y="15330"/>
                    <a:pt x="74782" y="15362"/>
                  </a:cubicBezTo>
                  <a:cubicBezTo>
                    <a:pt x="74695" y="15439"/>
                    <a:pt x="74649" y="15551"/>
                    <a:pt x="74660" y="15663"/>
                  </a:cubicBezTo>
                  <a:cubicBezTo>
                    <a:pt x="74660" y="15779"/>
                    <a:pt x="74632" y="15894"/>
                    <a:pt x="74572" y="15992"/>
                  </a:cubicBezTo>
                  <a:cubicBezTo>
                    <a:pt x="74530" y="16069"/>
                    <a:pt x="74534" y="16073"/>
                    <a:pt x="74551" y="16090"/>
                  </a:cubicBezTo>
                  <a:cubicBezTo>
                    <a:pt x="74579" y="16115"/>
                    <a:pt x="74597" y="16153"/>
                    <a:pt x="74593" y="16195"/>
                  </a:cubicBezTo>
                  <a:cubicBezTo>
                    <a:pt x="74586" y="16255"/>
                    <a:pt x="74530" y="16290"/>
                    <a:pt x="74481" y="16321"/>
                  </a:cubicBezTo>
                  <a:cubicBezTo>
                    <a:pt x="74453" y="16335"/>
                    <a:pt x="74408" y="16363"/>
                    <a:pt x="74408" y="16381"/>
                  </a:cubicBezTo>
                  <a:lnTo>
                    <a:pt x="74408" y="16405"/>
                  </a:lnTo>
                  <a:cubicBezTo>
                    <a:pt x="74401" y="16514"/>
                    <a:pt x="74394" y="16633"/>
                    <a:pt x="74201" y="16689"/>
                  </a:cubicBezTo>
                  <a:cubicBezTo>
                    <a:pt x="74163" y="16703"/>
                    <a:pt x="74110" y="16713"/>
                    <a:pt x="74051" y="16724"/>
                  </a:cubicBezTo>
                  <a:cubicBezTo>
                    <a:pt x="73883" y="16759"/>
                    <a:pt x="73536" y="16833"/>
                    <a:pt x="73529" y="16948"/>
                  </a:cubicBezTo>
                  <a:cubicBezTo>
                    <a:pt x="73515" y="17088"/>
                    <a:pt x="73410" y="17162"/>
                    <a:pt x="73309" y="17235"/>
                  </a:cubicBezTo>
                  <a:cubicBezTo>
                    <a:pt x="73221" y="17295"/>
                    <a:pt x="73133" y="17358"/>
                    <a:pt x="73074" y="17466"/>
                  </a:cubicBezTo>
                  <a:cubicBezTo>
                    <a:pt x="73007" y="17592"/>
                    <a:pt x="72867" y="17690"/>
                    <a:pt x="72703" y="17806"/>
                  </a:cubicBezTo>
                  <a:cubicBezTo>
                    <a:pt x="72500" y="17946"/>
                    <a:pt x="72251" y="18121"/>
                    <a:pt x="72062" y="18401"/>
                  </a:cubicBezTo>
                  <a:cubicBezTo>
                    <a:pt x="71817" y="18765"/>
                    <a:pt x="71471" y="18888"/>
                    <a:pt x="71285" y="18954"/>
                  </a:cubicBezTo>
                  <a:cubicBezTo>
                    <a:pt x="71247" y="18968"/>
                    <a:pt x="71212" y="18982"/>
                    <a:pt x="71173" y="19000"/>
                  </a:cubicBezTo>
                  <a:cubicBezTo>
                    <a:pt x="71152" y="19119"/>
                    <a:pt x="70945" y="19129"/>
                    <a:pt x="70725" y="19143"/>
                  </a:cubicBezTo>
                  <a:cubicBezTo>
                    <a:pt x="70686" y="19143"/>
                    <a:pt x="70651" y="19147"/>
                    <a:pt x="70627" y="19147"/>
                  </a:cubicBezTo>
                  <a:cubicBezTo>
                    <a:pt x="70627" y="19164"/>
                    <a:pt x="70630" y="19192"/>
                    <a:pt x="70630" y="19210"/>
                  </a:cubicBezTo>
                  <a:cubicBezTo>
                    <a:pt x="70648" y="19343"/>
                    <a:pt x="70676" y="19567"/>
                    <a:pt x="70462" y="19794"/>
                  </a:cubicBezTo>
                  <a:cubicBezTo>
                    <a:pt x="70151" y="20127"/>
                    <a:pt x="69972" y="20582"/>
                    <a:pt x="69979" y="21002"/>
                  </a:cubicBezTo>
                  <a:cubicBezTo>
                    <a:pt x="69986" y="21471"/>
                    <a:pt x="70140" y="22770"/>
                    <a:pt x="70270" y="22990"/>
                  </a:cubicBezTo>
                  <a:cubicBezTo>
                    <a:pt x="70347" y="23124"/>
                    <a:pt x="70361" y="23341"/>
                    <a:pt x="70371" y="23547"/>
                  </a:cubicBezTo>
                  <a:cubicBezTo>
                    <a:pt x="70382" y="23691"/>
                    <a:pt x="70392" y="23866"/>
                    <a:pt x="70431" y="23908"/>
                  </a:cubicBezTo>
                  <a:cubicBezTo>
                    <a:pt x="70504" y="23988"/>
                    <a:pt x="70522" y="24097"/>
                    <a:pt x="70539" y="24181"/>
                  </a:cubicBezTo>
                  <a:cubicBezTo>
                    <a:pt x="70543" y="24216"/>
                    <a:pt x="70550" y="24251"/>
                    <a:pt x="70564" y="24286"/>
                  </a:cubicBezTo>
                  <a:cubicBezTo>
                    <a:pt x="70616" y="24254"/>
                    <a:pt x="70739" y="24128"/>
                    <a:pt x="70819" y="24041"/>
                  </a:cubicBezTo>
                  <a:cubicBezTo>
                    <a:pt x="70893" y="23960"/>
                    <a:pt x="70973" y="23880"/>
                    <a:pt x="71057" y="23806"/>
                  </a:cubicBezTo>
                  <a:cubicBezTo>
                    <a:pt x="71120" y="23757"/>
                    <a:pt x="71173" y="23698"/>
                    <a:pt x="71208" y="23631"/>
                  </a:cubicBezTo>
                  <a:cubicBezTo>
                    <a:pt x="71240" y="23572"/>
                    <a:pt x="71285" y="23523"/>
                    <a:pt x="71341" y="23488"/>
                  </a:cubicBezTo>
                  <a:cubicBezTo>
                    <a:pt x="71401" y="23446"/>
                    <a:pt x="71408" y="23271"/>
                    <a:pt x="71411" y="23155"/>
                  </a:cubicBezTo>
                  <a:cubicBezTo>
                    <a:pt x="71411" y="23089"/>
                    <a:pt x="71418" y="23022"/>
                    <a:pt x="71436" y="22959"/>
                  </a:cubicBezTo>
                  <a:cubicBezTo>
                    <a:pt x="71467" y="22885"/>
                    <a:pt x="71555" y="22843"/>
                    <a:pt x="71649" y="22798"/>
                  </a:cubicBezTo>
                  <a:cubicBezTo>
                    <a:pt x="71716" y="22766"/>
                    <a:pt x="71789" y="22731"/>
                    <a:pt x="71817" y="22693"/>
                  </a:cubicBezTo>
                  <a:cubicBezTo>
                    <a:pt x="71887" y="22602"/>
                    <a:pt x="72006" y="22602"/>
                    <a:pt x="72115" y="22602"/>
                  </a:cubicBezTo>
                  <a:cubicBezTo>
                    <a:pt x="72126" y="22603"/>
                    <a:pt x="72137" y="22603"/>
                    <a:pt x="72149" y="22603"/>
                  </a:cubicBezTo>
                  <a:cubicBezTo>
                    <a:pt x="72183" y="22603"/>
                    <a:pt x="72217" y="22599"/>
                    <a:pt x="72251" y="22591"/>
                  </a:cubicBezTo>
                  <a:cubicBezTo>
                    <a:pt x="72272" y="22560"/>
                    <a:pt x="72220" y="22395"/>
                    <a:pt x="72199" y="22325"/>
                  </a:cubicBezTo>
                  <a:cubicBezTo>
                    <a:pt x="72185" y="22280"/>
                    <a:pt x="72171" y="22241"/>
                    <a:pt x="72160" y="22206"/>
                  </a:cubicBezTo>
                  <a:cubicBezTo>
                    <a:pt x="72118" y="22035"/>
                    <a:pt x="72374" y="21863"/>
                    <a:pt x="72598" y="21713"/>
                  </a:cubicBezTo>
                  <a:cubicBezTo>
                    <a:pt x="72640" y="21685"/>
                    <a:pt x="72678" y="21660"/>
                    <a:pt x="72713" y="21636"/>
                  </a:cubicBezTo>
                  <a:cubicBezTo>
                    <a:pt x="72779" y="21589"/>
                    <a:pt x="72849" y="21576"/>
                    <a:pt x="72917" y="21576"/>
                  </a:cubicBezTo>
                  <a:cubicBezTo>
                    <a:pt x="72961" y="21576"/>
                    <a:pt x="73005" y="21581"/>
                    <a:pt x="73046" y="21587"/>
                  </a:cubicBezTo>
                  <a:cubicBezTo>
                    <a:pt x="73091" y="21593"/>
                    <a:pt x="73134" y="21600"/>
                    <a:pt x="73174" y="21600"/>
                  </a:cubicBezTo>
                  <a:cubicBezTo>
                    <a:pt x="73240" y="21600"/>
                    <a:pt x="73300" y="21583"/>
                    <a:pt x="73361" y="21527"/>
                  </a:cubicBezTo>
                  <a:cubicBezTo>
                    <a:pt x="73501" y="21398"/>
                    <a:pt x="73403" y="21258"/>
                    <a:pt x="73284" y="21111"/>
                  </a:cubicBezTo>
                  <a:lnTo>
                    <a:pt x="73256" y="21076"/>
                  </a:lnTo>
                  <a:cubicBezTo>
                    <a:pt x="73221" y="21030"/>
                    <a:pt x="73221" y="20960"/>
                    <a:pt x="73253" y="20862"/>
                  </a:cubicBezTo>
                  <a:cubicBezTo>
                    <a:pt x="73316" y="20669"/>
                    <a:pt x="73515" y="20354"/>
                    <a:pt x="73680" y="20309"/>
                  </a:cubicBezTo>
                  <a:cubicBezTo>
                    <a:pt x="73708" y="20302"/>
                    <a:pt x="73737" y="20298"/>
                    <a:pt x="73767" y="20298"/>
                  </a:cubicBezTo>
                  <a:cubicBezTo>
                    <a:pt x="73811" y="20298"/>
                    <a:pt x="73855" y="20306"/>
                    <a:pt x="73897" y="20323"/>
                  </a:cubicBezTo>
                  <a:cubicBezTo>
                    <a:pt x="73929" y="20334"/>
                    <a:pt x="73954" y="20342"/>
                    <a:pt x="73979" y="20342"/>
                  </a:cubicBezTo>
                  <a:cubicBezTo>
                    <a:pt x="74008" y="20342"/>
                    <a:pt x="74036" y="20331"/>
                    <a:pt x="74072" y="20298"/>
                  </a:cubicBezTo>
                  <a:cubicBezTo>
                    <a:pt x="74100" y="20277"/>
                    <a:pt x="74107" y="20239"/>
                    <a:pt x="74086" y="20211"/>
                  </a:cubicBezTo>
                  <a:cubicBezTo>
                    <a:pt x="74045" y="20118"/>
                    <a:pt x="73910" y="20046"/>
                    <a:pt x="73871" y="20046"/>
                  </a:cubicBezTo>
                  <a:cubicBezTo>
                    <a:pt x="73870" y="20046"/>
                    <a:pt x="73869" y="20046"/>
                    <a:pt x="73869" y="20046"/>
                  </a:cubicBezTo>
                  <a:cubicBezTo>
                    <a:pt x="73865" y="20047"/>
                    <a:pt x="73859" y="20048"/>
                    <a:pt x="73852" y="20048"/>
                  </a:cubicBezTo>
                  <a:cubicBezTo>
                    <a:pt x="73822" y="20048"/>
                    <a:pt x="73766" y="20035"/>
                    <a:pt x="73732" y="19952"/>
                  </a:cubicBezTo>
                  <a:cubicBezTo>
                    <a:pt x="73669" y="19801"/>
                    <a:pt x="73704" y="19486"/>
                    <a:pt x="73932" y="19315"/>
                  </a:cubicBezTo>
                  <a:cubicBezTo>
                    <a:pt x="74037" y="19238"/>
                    <a:pt x="74061" y="19199"/>
                    <a:pt x="74065" y="19185"/>
                  </a:cubicBezTo>
                  <a:cubicBezTo>
                    <a:pt x="74026" y="19164"/>
                    <a:pt x="73981" y="19150"/>
                    <a:pt x="73939" y="19140"/>
                  </a:cubicBezTo>
                  <a:cubicBezTo>
                    <a:pt x="73907" y="19129"/>
                    <a:pt x="73874" y="19124"/>
                    <a:pt x="73841" y="19124"/>
                  </a:cubicBezTo>
                  <a:cubicBezTo>
                    <a:pt x="73807" y="19124"/>
                    <a:pt x="73774" y="19129"/>
                    <a:pt x="73743" y="19140"/>
                  </a:cubicBezTo>
                  <a:cubicBezTo>
                    <a:pt x="73701" y="19154"/>
                    <a:pt x="73659" y="19161"/>
                    <a:pt x="73613" y="19164"/>
                  </a:cubicBezTo>
                  <a:cubicBezTo>
                    <a:pt x="73611" y="19164"/>
                    <a:pt x="73608" y="19164"/>
                    <a:pt x="73605" y="19164"/>
                  </a:cubicBezTo>
                  <a:cubicBezTo>
                    <a:pt x="73531" y="19164"/>
                    <a:pt x="73461" y="19116"/>
                    <a:pt x="73417" y="19031"/>
                  </a:cubicBezTo>
                  <a:cubicBezTo>
                    <a:pt x="73354" y="18916"/>
                    <a:pt x="73337" y="18702"/>
                    <a:pt x="73491" y="18492"/>
                  </a:cubicBezTo>
                  <a:cubicBezTo>
                    <a:pt x="73568" y="18387"/>
                    <a:pt x="73666" y="18299"/>
                    <a:pt x="73778" y="18229"/>
                  </a:cubicBezTo>
                  <a:cubicBezTo>
                    <a:pt x="73865" y="18170"/>
                    <a:pt x="73918" y="18131"/>
                    <a:pt x="73942" y="18030"/>
                  </a:cubicBezTo>
                  <a:cubicBezTo>
                    <a:pt x="73981" y="17844"/>
                    <a:pt x="74145" y="17620"/>
                    <a:pt x="74268" y="17456"/>
                  </a:cubicBezTo>
                  <a:cubicBezTo>
                    <a:pt x="74306" y="17400"/>
                    <a:pt x="74345" y="17354"/>
                    <a:pt x="74362" y="17323"/>
                  </a:cubicBezTo>
                  <a:cubicBezTo>
                    <a:pt x="74401" y="17256"/>
                    <a:pt x="74473" y="17237"/>
                    <a:pt x="74553" y="17237"/>
                  </a:cubicBezTo>
                  <a:cubicBezTo>
                    <a:pt x="74612" y="17237"/>
                    <a:pt x="74676" y="17247"/>
                    <a:pt x="74733" y="17256"/>
                  </a:cubicBezTo>
                  <a:cubicBezTo>
                    <a:pt x="74779" y="17267"/>
                    <a:pt x="74831" y="17270"/>
                    <a:pt x="74880" y="17270"/>
                  </a:cubicBezTo>
                  <a:cubicBezTo>
                    <a:pt x="74893" y="17267"/>
                    <a:pt x="74904" y="17266"/>
                    <a:pt x="74914" y="17266"/>
                  </a:cubicBezTo>
                  <a:cubicBezTo>
                    <a:pt x="74992" y="17266"/>
                    <a:pt x="75026" y="17338"/>
                    <a:pt x="75041" y="17375"/>
                  </a:cubicBezTo>
                  <a:lnTo>
                    <a:pt x="75048" y="17389"/>
                  </a:lnTo>
                  <a:lnTo>
                    <a:pt x="75062" y="17382"/>
                  </a:lnTo>
                  <a:cubicBezTo>
                    <a:pt x="75115" y="17326"/>
                    <a:pt x="75164" y="17267"/>
                    <a:pt x="75209" y="17207"/>
                  </a:cubicBezTo>
                  <a:cubicBezTo>
                    <a:pt x="75343" y="17032"/>
                    <a:pt x="75497" y="16840"/>
                    <a:pt x="75654" y="16840"/>
                  </a:cubicBezTo>
                  <a:cubicBezTo>
                    <a:pt x="75658" y="16839"/>
                    <a:pt x="75662" y="16839"/>
                    <a:pt x="75666" y="16839"/>
                  </a:cubicBezTo>
                  <a:cubicBezTo>
                    <a:pt x="75707" y="16839"/>
                    <a:pt x="75748" y="16856"/>
                    <a:pt x="75777" y="16885"/>
                  </a:cubicBezTo>
                  <a:cubicBezTo>
                    <a:pt x="75836" y="16952"/>
                    <a:pt x="75829" y="17053"/>
                    <a:pt x="75826" y="17165"/>
                  </a:cubicBezTo>
                  <a:cubicBezTo>
                    <a:pt x="75819" y="17232"/>
                    <a:pt x="75819" y="17298"/>
                    <a:pt x="75833" y="17365"/>
                  </a:cubicBezTo>
                  <a:lnTo>
                    <a:pt x="75833" y="17368"/>
                  </a:lnTo>
                  <a:cubicBezTo>
                    <a:pt x="75857" y="17351"/>
                    <a:pt x="75892" y="17316"/>
                    <a:pt x="75927" y="17288"/>
                  </a:cubicBezTo>
                  <a:cubicBezTo>
                    <a:pt x="76025" y="17197"/>
                    <a:pt x="76130" y="17113"/>
                    <a:pt x="76239" y="17036"/>
                  </a:cubicBezTo>
                  <a:cubicBezTo>
                    <a:pt x="76449" y="16893"/>
                    <a:pt x="76793" y="16838"/>
                    <a:pt x="77098" y="16838"/>
                  </a:cubicBezTo>
                  <a:cubicBezTo>
                    <a:pt x="77341" y="16838"/>
                    <a:pt x="77560" y="16873"/>
                    <a:pt x="77671" y="16927"/>
                  </a:cubicBezTo>
                  <a:cubicBezTo>
                    <a:pt x="77779" y="16983"/>
                    <a:pt x="77870" y="17071"/>
                    <a:pt x="77937" y="17176"/>
                  </a:cubicBezTo>
                  <a:cubicBezTo>
                    <a:pt x="77980" y="17233"/>
                    <a:pt x="78008" y="17270"/>
                    <a:pt x="78028" y="17270"/>
                  </a:cubicBezTo>
                  <a:cubicBezTo>
                    <a:pt x="78029" y="17270"/>
                    <a:pt x="78030" y="17270"/>
                    <a:pt x="78031" y="17270"/>
                  </a:cubicBezTo>
                  <a:cubicBezTo>
                    <a:pt x="78084" y="17256"/>
                    <a:pt x="78087" y="17235"/>
                    <a:pt x="78094" y="17165"/>
                  </a:cubicBezTo>
                  <a:cubicBezTo>
                    <a:pt x="78105" y="17095"/>
                    <a:pt x="78115" y="16987"/>
                    <a:pt x="78255" y="16948"/>
                  </a:cubicBezTo>
                  <a:cubicBezTo>
                    <a:pt x="78448" y="16892"/>
                    <a:pt x="78791" y="16685"/>
                    <a:pt x="79029" y="16510"/>
                  </a:cubicBezTo>
                  <a:cubicBezTo>
                    <a:pt x="79158" y="16416"/>
                    <a:pt x="79211" y="16398"/>
                    <a:pt x="79246" y="16388"/>
                  </a:cubicBezTo>
                  <a:cubicBezTo>
                    <a:pt x="79267" y="16381"/>
                    <a:pt x="79277" y="16377"/>
                    <a:pt x="79333" y="16304"/>
                  </a:cubicBezTo>
                  <a:cubicBezTo>
                    <a:pt x="79393" y="16230"/>
                    <a:pt x="79477" y="16178"/>
                    <a:pt x="79572" y="16153"/>
                  </a:cubicBezTo>
                  <a:cubicBezTo>
                    <a:pt x="79624" y="16139"/>
                    <a:pt x="79631" y="16132"/>
                    <a:pt x="79638" y="16115"/>
                  </a:cubicBezTo>
                  <a:cubicBezTo>
                    <a:pt x="79698" y="15943"/>
                    <a:pt x="80174" y="15758"/>
                    <a:pt x="80608" y="15660"/>
                  </a:cubicBezTo>
                  <a:cubicBezTo>
                    <a:pt x="81080" y="15555"/>
                    <a:pt x="81634" y="15268"/>
                    <a:pt x="81697" y="15170"/>
                  </a:cubicBezTo>
                  <a:cubicBezTo>
                    <a:pt x="81690" y="15128"/>
                    <a:pt x="81704" y="15086"/>
                    <a:pt x="81732" y="15054"/>
                  </a:cubicBezTo>
                  <a:cubicBezTo>
                    <a:pt x="81773" y="15015"/>
                    <a:pt x="81828" y="14994"/>
                    <a:pt x="81884" y="14994"/>
                  </a:cubicBezTo>
                  <a:cubicBezTo>
                    <a:pt x="81903" y="14994"/>
                    <a:pt x="81923" y="14996"/>
                    <a:pt x="81942" y="15002"/>
                  </a:cubicBezTo>
                  <a:cubicBezTo>
                    <a:pt x="81994" y="15012"/>
                    <a:pt x="82033" y="15054"/>
                    <a:pt x="82043" y="15103"/>
                  </a:cubicBezTo>
                  <a:cubicBezTo>
                    <a:pt x="82050" y="15124"/>
                    <a:pt x="82145" y="15135"/>
                    <a:pt x="82215" y="15138"/>
                  </a:cubicBezTo>
                  <a:cubicBezTo>
                    <a:pt x="82306" y="15145"/>
                    <a:pt x="82393" y="15159"/>
                    <a:pt x="82477" y="15177"/>
                  </a:cubicBezTo>
                  <a:cubicBezTo>
                    <a:pt x="82537" y="15187"/>
                    <a:pt x="82589" y="15201"/>
                    <a:pt x="82631" y="15215"/>
                  </a:cubicBezTo>
                  <a:cubicBezTo>
                    <a:pt x="82706" y="15235"/>
                    <a:pt x="82763" y="15251"/>
                    <a:pt x="82814" y="15251"/>
                  </a:cubicBezTo>
                  <a:cubicBezTo>
                    <a:pt x="82881" y="15251"/>
                    <a:pt x="82939" y="15224"/>
                    <a:pt x="83016" y="15145"/>
                  </a:cubicBezTo>
                  <a:cubicBezTo>
                    <a:pt x="83114" y="15047"/>
                    <a:pt x="83093" y="15009"/>
                    <a:pt x="83044" y="14932"/>
                  </a:cubicBezTo>
                  <a:cubicBezTo>
                    <a:pt x="83006" y="14876"/>
                    <a:pt x="82981" y="14809"/>
                    <a:pt x="82981" y="14743"/>
                  </a:cubicBezTo>
                  <a:cubicBezTo>
                    <a:pt x="82985" y="14697"/>
                    <a:pt x="82908" y="14620"/>
                    <a:pt x="82845" y="14560"/>
                  </a:cubicBezTo>
                  <a:cubicBezTo>
                    <a:pt x="82747" y="14466"/>
                    <a:pt x="82631" y="14354"/>
                    <a:pt x="82670" y="14228"/>
                  </a:cubicBezTo>
                  <a:cubicBezTo>
                    <a:pt x="82684" y="14182"/>
                    <a:pt x="82649" y="14067"/>
                    <a:pt x="82558" y="13934"/>
                  </a:cubicBezTo>
                  <a:cubicBezTo>
                    <a:pt x="82488" y="13829"/>
                    <a:pt x="82425" y="13776"/>
                    <a:pt x="82397" y="13766"/>
                  </a:cubicBezTo>
                  <a:cubicBezTo>
                    <a:pt x="82363" y="13790"/>
                    <a:pt x="82322" y="13803"/>
                    <a:pt x="82282" y="13803"/>
                  </a:cubicBezTo>
                  <a:cubicBezTo>
                    <a:pt x="82248" y="13803"/>
                    <a:pt x="82214" y="13794"/>
                    <a:pt x="82183" y="13776"/>
                  </a:cubicBezTo>
                  <a:cubicBezTo>
                    <a:pt x="82082" y="13734"/>
                    <a:pt x="81973" y="13622"/>
                    <a:pt x="81973" y="13510"/>
                  </a:cubicBezTo>
                  <a:cubicBezTo>
                    <a:pt x="81973" y="13384"/>
                    <a:pt x="81956" y="13360"/>
                    <a:pt x="81949" y="13356"/>
                  </a:cubicBezTo>
                  <a:cubicBezTo>
                    <a:pt x="81935" y="13360"/>
                    <a:pt x="81917" y="13367"/>
                    <a:pt x="81903" y="13377"/>
                  </a:cubicBezTo>
                  <a:cubicBezTo>
                    <a:pt x="81833" y="13418"/>
                    <a:pt x="81755" y="13439"/>
                    <a:pt x="81676" y="13439"/>
                  </a:cubicBezTo>
                  <a:cubicBezTo>
                    <a:pt x="81625" y="13439"/>
                    <a:pt x="81574" y="13430"/>
                    <a:pt x="81525" y="13412"/>
                  </a:cubicBezTo>
                  <a:cubicBezTo>
                    <a:pt x="81444" y="13388"/>
                    <a:pt x="81378" y="13328"/>
                    <a:pt x="81346" y="13248"/>
                  </a:cubicBezTo>
                  <a:cubicBezTo>
                    <a:pt x="81325" y="13185"/>
                    <a:pt x="81346" y="13118"/>
                    <a:pt x="81395" y="13076"/>
                  </a:cubicBezTo>
                  <a:cubicBezTo>
                    <a:pt x="81467" y="13007"/>
                    <a:pt x="81599" y="12970"/>
                    <a:pt x="81734" y="12970"/>
                  </a:cubicBezTo>
                  <a:cubicBezTo>
                    <a:pt x="81817" y="12970"/>
                    <a:pt x="81901" y="12984"/>
                    <a:pt x="81973" y="13013"/>
                  </a:cubicBezTo>
                  <a:cubicBezTo>
                    <a:pt x="82141" y="13080"/>
                    <a:pt x="82183" y="13153"/>
                    <a:pt x="82215" y="13213"/>
                  </a:cubicBezTo>
                  <a:cubicBezTo>
                    <a:pt x="82225" y="13241"/>
                    <a:pt x="82246" y="13265"/>
                    <a:pt x="82274" y="13283"/>
                  </a:cubicBezTo>
                  <a:cubicBezTo>
                    <a:pt x="82310" y="13304"/>
                    <a:pt x="82378" y="13314"/>
                    <a:pt x="82456" y="13314"/>
                  </a:cubicBezTo>
                  <a:cubicBezTo>
                    <a:pt x="82581" y="13314"/>
                    <a:pt x="82735" y="13288"/>
                    <a:pt x="82834" y="13241"/>
                  </a:cubicBezTo>
                  <a:cubicBezTo>
                    <a:pt x="82883" y="13216"/>
                    <a:pt x="82946" y="13192"/>
                    <a:pt x="83023" y="13160"/>
                  </a:cubicBezTo>
                  <a:cubicBezTo>
                    <a:pt x="83198" y="13090"/>
                    <a:pt x="83485" y="12975"/>
                    <a:pt x="83534" y="12894"/>
                  </a:cubicBezTo>
                  <a:cubicBezTo>
                    <a:pt x="83555" y="12859"/>
                    <a:pt x="83566" y="12821"/>
                    <a:pt x="83569" y="12786"/>
                  </a:cubicBezTo>
                  <a:cubicBezTo>
                    <a:pt x="83580" y="12709"/>
                    <a:pt x="83597" y="12646"/>
                    <a:pt x="83717" y="12586"/>
                  </a:cubicBezTo>
                  <a:cubicBezTo>
                    <a:pt x="83755" y="12565"/>
                    <a:pt x="83755" y="12544"/>
                    <a:pt x="83755" y="12537"/>
                  </a:cubicBezTo>
                  <a:cubicBezTo>
                    <a:pt x="83755" y="12491"/>
                    <a:pt x="83692" y="12418"/>
                    <a:pt x="83619" y="12379"/>
                  </a:cubicBezTo>
                  <a:cubicBezTo>
                    <a:pt x="83527" y="12330"/>
                    <a:pt x="83478" y="12229"/>
                    <a:pt x="83499" y="12131"/>
                  </a:cubicBezTo>
                  <a:cubicBezTo>
                    <a:pt x="83520" y="12046"/>
                    <a:pt x="83597" y="11987"/>
                    <a:pt x="83681" y="11987"/>
                  </a:cubicBezTo>
                  <a:cubicBezTo>
                    <a:pt x="83684" y="11987"/>
                    <a:pt x="83686" y="11987"/>
                    <a:pt x="83689" y="11987"/>
                  </a:cubicBezTo>
                  <a:cubicBezTo>
                    <a:pt x="83724" y="11987"/>
                    <a:pt x="83731" y="11977"/>
                    <a:pt x="83755" y="11924"/>
                  </a:cubicBezTo>
                  <a:cubicBezTo>
                    <a:pt x="83773" y="11882"/>
                    <a:pt x="83804" y="11816"/>
                    <a:pt x="83885" y="11809"/>
                  </a:cubicBezTo>
                  <a:cubicBezTo>
                    <a:pt x="83891" y="11808"/>
                    <a:pt x="83898" y="11808"/>
                    <a:pt x="83904" y="11808"/>
                  </a:cubicBezTo>
                  <a:cubicBezTo>
                    <a:pt x="83935" y="11808"/>
                    <a:pt x="83964" y="11815"/>
                    <a:pt x="83993" y="11826"/>
                  </a:cubicBezTo>
                  <a:cubicBezTo>
                    <a:pt x="84008" y="11831"/>
                    <a:pt x="84022" y="11835"/>
                    <a:pt x="84040" y="11835"/>
                  </a:cubicBezTo>
                  <a:cubicBezTo>
                    <a:pt x="84066" y="11835"/>
                    <a:pt x="84099" y="11827"/>
                    <a:pt x="84154" y="11798"/>
                  </a:cubicBezTo>
                  <a:cubicBezTo>
                    <a:pt x="84171" y="11790"/>
                    <a:pt x="84206" y="11773"/>
                    <a:pt x="84241" y="11773"/>
                  </a:cubicBezTo>
                  <a:cubicBezTo>
                    <a:pt x="84263" y="11773"/>
                    <a:pt x="84286" y="11779"/>
                    <a:pt x="84305" y="11798"/>
                  </a:cubicBezTo>
                  <a:cubicBezTo>
                    <a:pt x="84350" y="11851"/>
                    <a:pt x="84308" y="11938"/>
                    <a:pt x="84228" y="12075"/>
                  </a:cubicBezTo>
                  <a:cubicBezTo>
                    <a:pt x="84207" y="12110"/>
                    <a:pt x="84186" y="12148"/>
                    <a:pt x="84168" y="12180"/>
                  </a:cubicBezTo>
                  <a:cubicBezTo>
                    <a:pt x="84140" y="12236"/>
                    <a:pt x="84193" y="12295"/>
                    <a:pt x="84266" y="12372"/>
                  </a:cubicBezTo>
                  <a:cubicBezTo>
                    <a:pt x="84308" y="12407"/>
                    <a:pt x="84343" y="12453"/>
                    <a:pt x="84364" y="12502"/>
                  </a:cubicBezTo>
                  <a:cubicBezTo>
                    <a:pt x="84388" y="12524"/>
                    <a:pt x="84469" y="12541"/>
                    <a:pt x="84565" y="12541"/>
                  </a:cubicBezTo>
                  <a:cubicBezTo>
                    <a:pt x="84655" y="12541"/>
                    <a:pt x="84758" y="12525"/>
                    <a:pt x="84837" y="12484"/>
                  </a:cubicBezTo>
                  <a:cubicBezTo>
                    <a:pt x="84882" y="12460"/>
                    <a:pt x="84940" y="12450"/>
                    <a:pt x="85004" y="12450"/>
                  </a:cubicBezTo>
                  <a:cubicBezTo>
                    <a:pt x="85167" y="12450"/>
                    <a:pt x="85366" y="12515"/>
                    <a:pt x="85484" y="12565"/>
                  </a:cubicBezTo>
                  <a:cubicBezTo>
                    <a:pt x="85610" y="12617"/>
                    <a:pt x="85765" y="12705"/>
                    <a:pt x="85789" y="12807"/>
                  </a:cubicBezTo>
                  <a:cubicBezTo>
                    <a:pt x="85835" y="12996"/>
                    <a:pt x="85968" y="13153"/>
                    <a:pt x="86146" y="13234"/>
                  </a:cubicBezTo>
                  <a:cubicBezTo>
                    <a:pt x="86244" y="13279"/>
                    <a:pt x="86346" y="13311"/>
                    <a:pt x="86454" y="13325"/>
                  </a:cubicBezTo>
                  <a:cubicBezTo>
                    <a:pt x="86573" y="13346"/>
                    <a:pt x="86678" y="13363"/>
                    <a:pt x="86717" y="13465"/>
                  </a:cubicBezTo>
                  <a:cubicBezTo>
                    <a:pt x="86736" y="13538"/>
                    <a:pt x="86806" y="13586"/>
                    <a:pt x="86879" y="13586"/>
                  </a:cubicBezTo>
                  <a:cubicBezTo>
                    <a:pt x="86897" y="13586"/>
                    <a:pt x="86916" y="13583"/>
                    <a:pt x="86934" y="13577"/>
                  </a:cubicBezTo>
                  <a:cubicBezTo>
                    <a:pt x="86952" y="13573"/>
                    <a:pt x="86970" y="13571"/>
                    <a:pt x="86988" y="13571"/>
                  </a:cubicBezTo>
                  <a:cubicBezTo>
                    <a:pt x="87042" y="13571"/>
                    <a:pt x="87097" y="13587"/>
                    <a:pt x="87144" y="13615"/>
                  </a:cubicBezTo>
                  <a:cubicBezTo>
                    <a:pt x="87176" y="13632"/>
                    <a:pt x="87194" y="13639"/>
                    <a:pt x="87206" y="13639"/>
                  </a:cubicBezTo>
                  <a:cubicBezTo>
                    <a:pt x="87218" y="13639"/>
                    <a:pt x="87225" y="13634"/>
                    <a:pt x="87235" y="13626"/>
                  </a:cubicBezTo>
                  <a:cubicBezTo>
                    <a:pt x="87269" y="13592"/>
                    <a:pt x="87315" y="13573"/>
                    <a:pt x="87362" y="13573"/>
                  </a:cubicBezTo>
                  <a:cubicBezTo>
                    <a:pt x="87383" y="13573"/>
                    <a:pt x="87404" y="13576"/>
                    <a:pt x="87424" y="13584"/>
                  </a:cubicBezTo>
                  <a:cubicBezTo>
                    <a:pt x="87436" y="13589"/>
                    <a:pt x="87450" y="13592"/>
                    <a:pt x="87463" y="13592"/>
                  </a:cubicBezTo>
                  <a:cubicBezTo>
                    <a:pt x="87490" y="13592"/>
                    <a:pt x="87517" y="13580"/>
                    <a:pt x="87536" y="13559"/>
                  </a:cubicBezTo>
                  <a:cubicBezTo>
                    <a:pt x="87501" y="13535"/>
                    <a:pt x="87466" y="13510"/>
                    <a:pt x="87427" y="13493"/>
                  </a:cubicBezTo>
                  <a:cubicBezTo>
                    <a:pt x="87350" y="13451"/>
                    <a:pt x="87284" y="13416"/>
                    <a:pt x="87270" y="13353"/>
                  </a:cubicBezTo>
                  <a:cubicBezTo>
                    <a:pt x="87259" y="13328"/>
                    <a:pt x="87266" y="13300"/>
                    <a:pt x="87280" y="13276"/>
                  </a:cubicBezTo>
                  <a:cubicBezTo>
                    <a:pt x="87294" y="13248"/>
                    <a:pt x="87322" y="13223"/>
                    <a:pt x="87354" y="13216"/>
                  </a:cubicBezTo>
                  <a:cubicBezTo>
                    <a:pt x="87362" y="13215"/>
                    <a:pt x="87369" y="13214"/>
                    <a:pt x="87376" y="13214"/>
                  </a:cubicBezTo>
                  <a:cubicBezTo>
                    <a:pt x="87420" y="13214"/>
                    <a:pt x="87458" y="13238"/>
                    <a:pt x="87494" y="13265"/>
                  </a:cubicBezTo>
                  <a:cubicBezTo>
                    <a:pt x="87522" y="13283"/>
                    <a:pt x="87553" y="13300"/>
                    <a:pt x="87585" y="13307"/>
                  </a:cubicBezTo>
                  <a:cubicBezTo>
                    <a:pt x="87585" y="13286"/>
                    <a:pt x="87581" y="13265"/>
                    <a:pt x="87574" y="13248"/>
                  </a:cubicBezTo>
                  <a:cubicBezTo>
                    <a:pt x="87564" y="13188"/>
                    <a:pt x="87543" y="13083"/>
                    <a:pt x="87627" y="13048"/>
                  </a:cubicBezTo>
                  <a:cubicBezTo>
                    <a:pt x="87655" y="12975"/>
                    <a:pt x="87602" y="12670"/>
                    <a:pt x="87553" y="12624"/>
                  </a:cubicBezTo>
                  <a:cubicBezTo>
                    <a:pt x="87508" y="12610"/>
                    <a:pt x="87476" y="12572"/>
                    <a:pt x="87473" y="12523"/>
                  </a:cubicBezTo>
                  <a:cubicBezTo>
                    <a:pt x="87466" y="12474"/>
                    <a:pt x="87494" y="12425"/>
                    <a:pt x="87539" y="12400"/>
                  </a:cubicBezTo>
                  <a:cubicBezTo>
                    <a:pt x="87554" y="12392"/>
                    <a:pt x="87581" y="12381"/>
                    <a:pt x="87619" y="12381"/>
                  </a:cubicBezTo>
                  <a:cubicBezTo>
                    <a:pt x="87662" y="12381"/>
                    <a:pt x="87719" y="12396"/>
                    <a:pt x="87788" y="12446"/>
                  </a:cubicBezTo>
                  <a:cubicBezTo>
                    <a:pt x="87928" y="12551"/>
                    <a:pt x="88149" y="12561"/>
                    <a:pt x="88292" y="12561"/>
                  </a:cubicBezTo>
                  <a:cubicBezTo>
                    <a:pt x="88268" y="12551"/>
                    <a:pt x="88247" y="12544"/>
                    <a:pt x="88222" y="12537"/>
                  </a:cubicBezTo>
                  <a:cubicBezTo>
                    <a:pt x="88138" y="12523"/>
                    <a:pt x="88121" y="12477"/>
                    <a:pt x="88114" y="12449"/>
                  </a:cubicBezTo>
                  <a:cubicBezTo>
                    <a:pt x="88110" y="12407"/>
                    <a:pt x="88135" y="12365"/>
                    <a:pt x="88177" y="12344"/>
                  </a:cubicBezTo>
                  <a:cubicBezTo>
                    <a:pt x="88205" y="12331"/>
                    <a:pt x="88235" y="12324"/>
                    <a:pt x="88265" y="12324"/>
                  </a:cubicBezTo>
                  <a:cubicBezTo>
                    <a:pt x="88313" y="12324"/>
                    <a:pt x="88361" y="12341"/>
                    <a:pt x="88397" y="12376"/>
                  </a:cubicBezTo>
                  <a:cubicBezTo>
                    <a:pt x="88452" y="12426"/>
                    <a:pt x="88529" y="12447"/>
                    <a:pt x="88568" y="12447"/>
                  </a:cubicBezTo>
                  <a:cubicBezTo>
                    <a:pt x="88578" y="12447"/>
                    <a:pt x="88586" y="12445"/>
                    <a:pt x="88590" y="12442"/>
                  </a:cubicBezTo>
                  <a:cubicBezTo>
                    <a:pt x="88607" y="12333"/>
                    <a:pt x="88718" y="12092"/>
                    <a:pt x="88927" y="12092"/>
                  </a:cubicBezTo>
                  <a:cubicBezTo>
                    <a:pt x="88931" y="12092"/>
                    <a:pt x="88935" y="12092"/>
                    <a:pt x="88940" y="12092"/>
                  </a:cubicBezTo>
                  <a:cubicBezTo>
                    <a:pt x="88964" y="12092"/>
                    <a:pt x="88989" y="12092"/>
                    <a:pt x="89010" y="12085"/>
                  </a:cubicBezTo>
                  <a:cubicBezTo>
                    <a:pt x="89003" y="12082"/>
                    <a:pt x="88992" y="12078"/>
                    <a:pt x="88982" y="12075"/>
                  </a:cubicBezTo>
                  <a:cubicBezTo>
                    <a:pt x="88807" y="12012"/>
                    <a:pt x="88282" y="11676"/>
                    <a:pt x="88138" y="11476"/>
                  </a:cubicBezTo>
                  <a:cubicBezTo>
                    <a:pt x="88058" y="11360"/>
                    <a:pt x="87710" y="11286"/>
                    <a:pt x="87557" y="11286"/>
                  </a:cubicBezTo>
                  <a:cubicBezTo>
                    <a:pt x="87535" y="11286"/>
                    <a:pt x="87517" y="11288"/>
                    <a:pt x="87504" y="11291"/>
                  </a:cubicBezTo>
                  <a:cubicBezTo>
                    <a:pt x="87494" y="11326"/>
                    <a:pt x="87466" y="11350"/>
                    <a:pt x="87431" y="11357"/>
                  </a:cubicBezTo>
                  <a:cubicBezTo>
                    <a:pt x="87424" y="11359"/>
                    <a:pt x="87416" y="11360"/>
                    <a:pt x="87408" y="11360"/>
                  </a:cubicBezTo>
                  <a:cubicBezTo>
                    <a:pt x="87315" y="11360"/>
                    <a:pt x="87178" y="11255"/>
                    <a:pt x="87133" y="11165"/>
                  </a:cubicBezTo>
                  <a:cubicBezTo>
                    <a:pt x="87094" y="11130"/>
                    <a:pt x="86931" y="11110"/>
                    <a:pt x="86783" y="11110"/>
                  </a:cubicBezTo>
                  <a:cubicBezTo>
                    <a:pt x="86680" y="11110"/>
                    <a:pt x="86584" y="11120"/>
                    <a:pt x="86545" y="11140"/>
                  </a:cubicBezTo>
                  <a:cubicBezTo>
                    <a:pt x="86552" y="11154"/>
                    <a:pt x="86570" y="11168"/>
                    <a:pt x="86619" y="11200"/>
                  </a:cubicBezTo>
                  <a:cubicBezTo>
                    <a:pt x="86682" y="11231"/>
                    <a:pt x="86738" y="11280"/>
                    <a:pt x="86783" y="11333"/>
                  </a:cubicBezTo>
                  <a:cubicBezTo>
                    <a:pt x="86864" y="11441"/>
                    <a:pt x="86794" y="11532"/>
                    <a:pt x="86755" y="11588"/>
                  </a:cubicBezTo>
                  <a:cubicBezTo>
                    <a:pt x="86713" y="11644"/>
                    <a:pt x="86699" y="11669"/>
                    <a:pt x="86710" y="11700"/>
                  </a:cubicBezTo>
                  <a:cubicBezTo>
                    <a:pt x="86734" y="11770"/>
                    <a:pt x="86703" y="11805"/>
                    <a:pt x="86685" y="11819"/>
                  </a:cubicBezTo>
                  <a:cubicBezTo>
                    <a:pt x="86671" y="11830"/>
                    <a:pt x="86654" y="11837"/>
                    <a:pt x="86633" y="11837"/>
                  </a:cubicBezTo>
                  <a:cubicBezTo>
                    <a:pt x="86573" y="11837"/>
                    <a:pt x="86474" y="11783"/>
                    <a:pt x="86262" y="11620"/>
                  </a:cubicBezTo>
                  <a:cubicBezTo>
                    <a:pt x="86223" y="11592"/>
                    <a:pt x="86111" y="11504"/>
                    <a:pt x="86213" y="10997"/>
                  </a:cubicBezTo>
                  <a:cubicBezTo>
                    <a:pt x="86220" y="10962"/>
                    <a:pt x="86213" y="10955"/>
                    <a:pt x="86150" y="10916"/>
                  </a:cubicBezTo>
                  <a:cubicBezTo>
                    <a:pt x="86090" y="10878"/>
                    <a:pt x="86020" y="10836"/>
                    <a:pt x="86003" y="10727"/>
                  </a:cubicBezTo>
                  <a:cubicBezTo>
                    <a:pt x="85985" y="10650"/>
                    <a:pt x="85600" y="10415"/>
                    <a:pt x="84980" y="10156"/>
                  </a:cubicBezTo>
                  <a:cubicBezTo>
                    <a:pt x="84910" y="10125"/>
                    <a:pt x="84830" y="10097"/>
                    <a:pt x="84753" y="10065"/>
                  </a:cubicBezTo>
                  <a:cubicBezTo>
                    <a:pt x="84487" y="9964"/>
                    <a:pt x="84235" y="9869"/>
                    <a:pt x="84144" y="9726"/>
                  </a:cubicBezTo>
                  <a:cubicBezTo>
                    <a:pt x="84109" y="9670"/>
                    <a:pt x="83958" y="9628"/>
                    <a:pt x="83811" y="9586"/>
                  </a:cubicBezTo>
                  <a:cubicBezTo>
                    <a:pt x="83622" y="9530"/>
                    <a:pt x="83408" y="9467"/>
                    <a:pt x="83286" y="9341"/>
                  </a:cubicBezTo>
                  <a:cubicBezTo>
                    <a:pt x="83100" y="9145"/>
                    <a:pt x="82194" y="8753"/>
                    <a:pt x="81802" y="8728"/>
                  </a:cubicBezTo>
                  <a:cubicBezTo>
                    <a:pt x="81553" y="8714"/>
                    <a:pt x="81469" y="8623"/>
                    <a:pt x="81413" y="8564"/>
                  </a:cubicBezTo>
                  <a:cubicBezTo>
                    <a:pt x="81382" y="8529"/>
                    <a:pt x="81369" y="8516"/>
                    <a:pt x="81339" y="8516"/>
                  </a:cubicBezTo>
                  <a:cubicBezTo>
                    <a:pt x="81332" y="8516"/>
                    <a:pt x="81324" y="8517"/>
                    <a:pt x="81315" y="8518"/>
                  </a:cubicBezTo>
                  <a:cubicBezTo>
                    <a:pt x="81261" y="8527"/>
                    <a:pt x="81163" y="8531"/>
                    <a:pt x="81044" y="8531"/>
                  </a:cubicBezTo>
                  <a:cubicBezTo>
                    <a:pt x="80707" y="8531"/>
                    <a:pt x="80198" y="8500"/>
                    <a:pt x="80009" y="8469"/>
                  </a:cubicBezTo>
                  <a:cubicBezTo>
                    <a:pt x="79990" y="8466"/>
                    <a:pt x="79971" y="8464"/>
                    <a:pt x="79953" y="8464"/>
                  </a:cubicBezTo>
                  <a:cubicBezTo>
                    <a:pt x="79888" y="8464"/>
                    <a:pt x="79825" y="8483"/>
                    <a:pt x="79771" y="8518"/>
                  </a:cubicBezTo>
                  <a:cubicBezTo>
                    <a:pt x="79722" y="8542"/>
                    <a:pt x="79667" y="8568"/>
                    <a:pt x="79601" y="8568"/>
                  </a:cubicBezTo>
                  <a:cubicBezTo>
                    <a:pt x="79569" y="8568"/>
                    <a:pt x="79533" y="8562"/>
                    <a:pt x="79495" y="8546"/>
                  </a:cubicBezTo>
                  <a:cubicBezTo>
                    <a:pt x="79074" y="8384"/>
                    <a:pt x="78547" y="8231"/>
                    <a:pt x="78362" y="8231"/>
                  </a:cubicBezTo>
                  <a:cubicBezTo>
                    <a:pt x="78335" y="8231"/>
                    <a:pt x="78315" y="8234"/>
                    <a:pt x="78304" y="8241"/>
                  </a:cubicBezTo>
                  <a:cubicBezTo>
                    <a:pt x="78266" y="8290"/>
                    <a:pt x="78238" y="8350"/>
                    <a:pt x="78231" y="8416"/>
                  </a:cubicBezTo>
                  <a:cubicBezTo>
                    <a:pt x="78210" y="8494"/>
                    <a:pt x="78189" y="8581"/>
                    <a:pt x="78098" y="8613"/>
                  </a:cubicBezTo>
                  <a:cubicBezTo>
                    <a:pt x="78108" y="8641"/>
                    <a:pt x="78154" y="8728"/>
                    <a:pt x="78385" y="8938"/>
                  </a:cubicBezTo>
                  <a:cubicBezTo>
                    <a:pt x="78507" y="9050"/>
                    <a:pt x="78560" y="9162"/>
                    <a:pt x="78539" y="9271"/>
                  </a:cubicBezTo>
                  <a:cubicBezTo>
                    <a:pt x="78521" y="9393"/>
                    <a:pt x="78413" y="9502"/>
                    <a:pt x="78227" y="9579"/>
                  </a:cubicBezTo>
                  <a:cubicBezTo>
                    <a:pt x="78172" y="9603"/>
                    <a:pt x="78111" y="9614"/>
                    <a:pt x="78048" y="9614"/>
                  </a:cubicBezTo>
                  <a:cubicBezTo>
                    <a:pt x="77793" y="9614"/>
                    <a:pt x="77501" y="9437"/>
                    <a:pt x="77398" y="9274"/>
                  </a:cubicBezTo>
                  <a:cubicBezTo>
                    <a:pt x="77352" y="9211"/>
                    <a:pt x="77271" y="9187"/>
                    <a:pt x="77184" y="9159"/>
                  </a:cubicBezTo>
                  <a:cubicBezTo>
                    <a:pt x="77054" y="9120"/>
                    <a:pt x="76911" y="9078"/>
                    <a:pt x="76855" y="8910"/>
                  </a:cubicBezTo>
                  <a:cubicBezTo>
                    <a:pt x="76799" y="8735"/>
                    <a:pt x="76862" y="8658"/>
                    <a:pt x="76904" y="8630"/>
                  </a:cubicBezTo>
                  <a:cubicBezTo>
                    <a:pt x="76932" y="8611"/>
                    <a:pt x="76965" y="8601"/>
                    <a:pt x="77001" y="8601"/>
                  </a:cubicBezTo>
                  <a:cubicBezTo>
                    <a:pt x="77069" y="8601"/>
                    <a:pt x="77148" y="8635"/>
                    <a:pt x="77219" y="8697"/>
                  </a:cubicBezTo>
                  <a:cubicBezTo>
                    <a:pt x="77252" y="8725"/>
                    <a:pt x="77294" y="8740"/>
                    <a:pt x="77336" y="8740"/>
                  </a:cubicBezTo>
                  <a:cubicBezTo>
                    <a:pt x="77357" y="8740"/>
                    <a:pt x="77378" y="8736"/>
                    <a:pt x="77398" y="8728"/>
                  </a:cubicBezTo>
                  <a:cubicBezTo>
                    <a:pt x="77461" y="8704"/>
                    <a:pt x="77506" y="8648"/>
                    <a:pt x="77517" y="8585"/>
                  </a:cubicBezTo>
                  <a:cubicBezTo>
                    <a:pt x="77517" y="8578"/>
                    <a:pt x="77520" y="8564"/>
                    <a:pt x="77496" y="8539"/>
                  </a:cubicBezTo>
                  <a:cubicBezTo>
                    <a:pt x="77407" y="8444"/>
                    <a:pt x="77125" y="8373"/>
                    <a:pt x="76937" y="8373"/>
                  </a:cubicBezTo>
                  <a:cubicBezTo>
                    <a:pt x="76925" y="8373"/>
                    <a:pt x="76912" y="8374"/>
                    <a:pt x="76900" y="8374"/>
                  </a:cubicBezTo>
                  <a:cubicBezTo>
                    <a:pt x="76781" y="8385"/>
                    <a:pt x="76687" y="8490"/>
                    <a:pt x="76578" y="8609"/>
                  </a:cubicBezTo>
                  <a:cubicBezTo>
                    <a:pt x="76494" y="8714"/>
                    <a:pt x="76393" y="8805"/>
                    <a:pt x="76281" y="8879"/>
                  </a:cubicBezTo>
                  <a:cubicBezTo>
                    <a:pt x="76209" y="8918"/>
                    <a:pt x="76085" y="8934"/>
                    <a:pt x="75939" y="8934"/>
                  </a:cubicBezTo>
                  <a:cubicBezTo>
                    <a:pt x="75529" y="8934"/>
                    <a:pt x="74944" y="8808"/>
                    <a:pt x="74838" y="8718"/>
                  </a:cubicBezTo>
                  <a:cubicBezTo>
                    <a:pt x="74806" y="8701"/>
                    <a:pt x="74697" y="8694"/>
                    <a:pt x="74551" y="8694"/>
                  </a:cubicBezTo>
                  <a:cubicBezTo>
                    <a:pt x="74121" y="8694"/>
                    <a:pt x="73364" y="8756"/>
                    <a:pt x="73270" y="8819"/>
                  </a:cubicBezTo>
                  <a:cubicBezTo>
                    <a:pt x="73214" y="8854"/>
                    <a:pt x="73214" y="9001"/>
                    <a:pt x="73214" y="9099"/>
                  </a:cubicBezTo>
                  <a:cubicBezTo>
                    <a:pt x="73214" y="9211"/>
                    <a:pt x="73214" y="9302"/>
                    <a:pt x="73147" y="9334"/>
                  </a:cubicBezTo>
                  <a:cubicBezTo>
                    <a:pt x="73136" y="9338"/>
                    <a:pt x="73125" y="9340"/>
                    <a:pt x="73113" y="9340"/>
                  </a:cubicBezTo>
                  <a:cubicBezTo>
                    <a:pt x="73096" y="9340"/>
                    <a:pt x="73078" y="9335"/>
                    <a:pt x="73063" y="9327"/>
                  </a:cubicBezTo>
                  <a:cubicBezTo>
                    <a:pt x="72948" y="9250"/>
                    <a:pt x="72909" y="8753"/>
                    <a:pt x="72909" y="8746"/>
                  </a:cubicBezTo>
                  <a:cubicBezTo>
                    <a:pt x="72909" y="8728"/>
                    <a:pt x="72815" y="8658"/>
                    <a:pt x="72552" y="8658"/>
                  </a:cubicBezTo>
                  <a:cubicBezTo>
                    <a:pt x="72311" y="8658"/>
                    <a:pt x="72202" y="8651"/>
                    <a:pt x="72167" y="8571"/>
                  </a:cubicBezTo>
                  <a:cubicBezTo>
                    <a:pt x="72150" y="8529"/>
                    <a:pt x="72167" y="8483"/>
                    <a:pt x="72216" y="8434"/>
                  </a:cubicBezTo>
                  <a:cubicBezTo>
                    <a:pt x="72234" y="8416"/>
                    <a:pt x="72234" y="8406"/>
                    <a:pt x="72220" y="8357"/>
                  </a:cubicBezTo>
                  <a:cubicBezTo>
                    <a:pt x="72202" y="8290"/>
                    <a:pt x="72174" y="8182"/>
                    <a:pt x="72321" y="8077"/>
                  </a:cubicBezTo>
                  <a:cubicBezTo>
                    <a:pt x="72332" y="8073"/>
                    <a:pt x="72335" y="8063"/>
                    <a:pt x="72332" y="8052"/>
                  </a:cubicBezTo>
                  <a:cubicBezTo>
                    <a:pt x="72318" y="7916"/>
                    <a:pt x="71905" y="7597"/>
                    <a:pt x="71446" y="7415"/>
                  </a:cubicBezTo>
                  <a:cubicBezTo>
                    <a:pt x="71238" y="7335"/>
                    <a:pt x="70923" y="7306"/>
                    <a:pt x="70601" y="7306"/>
                  </a:cubicBezTo>
                  <a:cubicBezTo>
                    <a:pt x="70109" y="7306"/>
                    <a:pt x="69599" y="7373"/>
                    <a:pt x="69419" y="7426"/>
                  </a:cubicBezTo>
                  <a:cubicBezTo>
                    <a:pt x="69206" y="7489"/>
                    <a:pt x="68864" y="7500"/>
                    <a:pt x="68566" y="7500"/>
                  </a:cubicBezTo>
                  <a:cubicBezTo>
                    <a:pt x="68502" y="7500"/>
                    <a:pt x="68441" y="7500"/>
                    <a:pt x="68383" y="7499"/>
                  </a:cubicBezTo>
                  <a:lnTo>
                    <a:pt x="68124" y="7499"/>
                  </a:lnTo>
                  <a:cubicBezTo>
                    <a:pt x="68110" y="7500"/>
                    <a:pt x="68097" y="7500"/>
                    <a:pt x="68085" y="7500"/>
                  </a:cubicBezTo>
                  <a:cubicBezTo>
                    <a:pt x="68006" y="7500"/>
                    <a:pt x="67947" y="7489"/>
                    <a:pt x="67917" y="7447"/>
                  </a:cubicBezTo>
                  <a:cubicBezTo>
                    <a:pt x="67893" y="7401"/>
                    <a:pt x="67893" y="7352"/>
                    <a:pt x="67917" y="7307"/>
                  </a:cubicBezTo>
                  <a:cubicBezTo>
                    <a:pt x="67931" y="7265"/>
                    <a:pt x="67938" y="7233"/>
                    <a:pt x="67921" y="7202"/>
                  </a:cubicBezTo>
                  <a:cubicBezTo>
                    <a:pt x="67879" y="7135"/>
                    <a:pt x="67662" y="7027"/>
                    <a:pt x="67473" y="6999"/>
                  </a:cubicBezTo>
                  <a:cubicBezTo>
                    <a:pt x="67445" y="6994"/>
                    <a:pt x="67422" y="6993"/>
                    <a:pt x="67404" y="6993"/>
                  </a:cubicBezTo>
                  <a:cubicBezTo>
                    <a:pt x="67366" y="6993"/>
                    <a:pt x="67348" y="7000"/>
                    <a:pt x="67343" y="7002"/>
                  </a:cubicBezTo>
                  <a:cubicBezTo>
                    <a:pt x="67317" y="7054"/>
                    <a:pt x="67264" y="7084"/>
                    <a:pt x="67207" y="7084"/>
                  </a:cubicBezTo>
                  <a:cubicBezTo>
                    <a:pt x="67194" y="7084"/>
                    <a:pt x="67181" y="7082"/>
                    <a:pt x="67168" y="7079"/>
                  </a:cubicBezTo>
                  <a:cubicBezTo>
                    <a:pt x="67084" y="7051"/>
                    <a:pt x="67025" y="6978"/>
                    <a:pt x="67014" y="6890"/>
                  </a:cubicBezTo>
                  <a:cubicBezTo>
                    <a:pt x="66963" y="6833"/>
                    <a:pt x="66639" y="6711"/>
                    <a:pt x="66458" y="6711"/>
                  </a:cubicBezTo>
                  <a:cubicBezTo>
                    <a:pt x="66438" y="6711"/>
                    <a:pt x="66420" y="6712"/>
                    <a:pt x="66405" y="6715"/>
                  </a:cubicBezTo>
                  <a:cubicBezTo>
                    <a:pt x="66386" y="6720"/>
                    <a:pt x="66366" y="6722"/>
                    <a:pt x="66347" y="6722"/>
                  </a:cubicBezTo>
                  <a:cubicBezTo>
                    <a:pt x="66279" y="6722"/>
                    <a:pt x="66213" y="6693"/>
                    <a:pt x="66167" y="6642"/>
                  </a:cubicBezTo>
                  <a:cubicBezTo>
                    <a:pt x="66132" y="6600"/>
                    <a:pt x="66125" y="6544"/>
                    <a:pt x="66149" y="6495"/>
                  </a:cubicBezTo>
                  <a:cubicBezTo>
                    <a:pt x="66163" y="6463"/>
                    <a:pt x="66209" y="6407"/>
                    <a:pt x="66335" y="6407"/>
                  </a:cubicBezTo>
                  <a:lnTo>
                    <a:pt x="66433" y="6407"/>
                  </a:lnTo>
                  <a:cubicBezTo>
                    <a:pt x="66458" y="6408"/>
                    <a:pt x="66494" y="6409"/>
                    <a:pt x="66532" y="6409"/>
                  </a:cubicBezTo>
                  <a:cubicBezTo>
                    <a:pt x="66626" y="6409"/>
                    <a:pt x="66738" y="6403"/>
                    <a:pt x="66755" y="6375"/>
                  </a:cubicBezTo>
                  <a:cubicBezTo>
                    <a:pt x="66755" y="6368"/>
                    <a:pt x="66755" y="6347"/>
                    <a:pt x="66723" y="6298"/>
                  </a:cubicBezTo>
                  <a:cubicBezTo>
                    <a:pt x="66606" y="6116"/>
                    <a:pt x="65583" y="6022"/>
                    <a:pt x="65187" y="6022"/>
                  </a:cubicBezTo>
                  <a:cubicBezTo>
                    <a:pt x="65112" y="6022"/>
                    <a:pt x="65060" y="6026"/>
                    <a:pt x="65040" y="6032"/>
                  </a:cubicBezTo>
                  <a:cubicBezTo>
                    <a:pt x="65019" y="6039"/>
                    <a:pt x="65012" y="6046"/>
                    <a:pt x="64994" y="6116"/>
                  </a:cubicBezTo>
                  <a:cubicBezTo>
                    <a:pt x="64970" y="6214"/>
                    <a:pt x="64935" y="6365"/>
                    <a:pt x="64738" y="6551"/>
                  </a:cubicBezTo>
                  <a:cubicBezTo>
                    <a:pt x="64603" y="6677"/>
                    <a:pt x="64468" y="6724"/>
                    <a:pt x="64354" y="6724"/>
                  </a:cubicBezTo>
                  <a:cubicBezTo>
                    <a:pt x="64280" y="6724"/>
                    <a:pt x="64214" y="6704"/>
                    <a:pt x="64164" y="6673"/>
                  </a:cubicBezTo>
                  <a:cubicBezTo>
                    <a:pt x="64070" y="6617"/>
                    <a:pt x="64024" y="6523"/>
                    <a:pt x="64045" y="6439"/>
                  </a:cubicBezTo>
                  <a:cubicBezTo>
                    <a:pt x="64077" y="6333"/>
                    <a:pt x="64203" y="6295"/>
                    <a:pt x="64315" y="6263"/>
                  </a:cubicBezTo>
                  <a:cubicBezTo>
                    <a:pt x="64364" y="6249"/>
                    <a:pt x="64462" y="6218"/>
                    <a:pt x="64472" y="6193"/>
                  </a:cubicBezTo>
                  <a:cubicBezTo>
                    <a:pt x="64441" y="6172"/>
                    <a:pt x="64308" y="6158"/>
                    <a:pt x="64227" y="6151"/>
                  </a:cubicBezTo>
                  <a:cubicBezTo>
                    <a:pt x="64066" y="6137"/>
                    <a:pt x="63923" y="6123"/>
                    <a:pt x="63870" y="6039"/>
                  </a:cubicBezTo>
                  <a:cubicBezTo>
                    <a:pt x="63828" y="5990"/>
                    <a:pt x="63828" y="5917"/>
                    <a:pt x="63867" y="5864"/>
                  </a:cubicBezTo>
                  <a:cubicBezTo>
                    <a:pt x="63910" y="5805"/>
                    <a:pt x="64000" y="5773"/>
                    <a:pt x="64101" y="5773"/>
                  </a:cubicBezTo>
                  <a:cubicBezTo>
                    <a:pt x="64149" y="5773"/>
                    <a:pt x="64199" y="5780"/>
                    <a:pt x="64248" y="5794"/>
                  </a:cubicBezTo>
                  <a:cubicBezTo>
                    <a:pt x="64366" y="5830"/>
                    <a:pt x="64488" y="5845"/>
                    <a:pt x="64611" y="5845"/>
                  </a:cubicBezTo>
                  <a:cubicBezTo>
                    <a:pt x="64635" y="5845"/>
                    <a:pt x="64659" y="5844"/>
                    <a:pt x="64682" y="5843"/>
                  </a:cubicBezTo>
                  <a:cubicBezTo>
                    <a:pt x="64591" y="5819"/>
                    <a:pt x="64497" y="5798"/>
                    <a:pt x="64402" y="5787"/>
                  </a:cubicBezTo>
                  <a:lnTo>
                    <a:pt x="64245" y="5759"/>
                  </a:lnTo>
                  <a:cubicBezTo>
                    <a:pt x="64178" y="5749"/>
                    <a:pt x="64094" y="5731"/>
                    <a:pt x="64000" y="5714"/>
                  </a:cubicBezTo>
                  <a:cubicBezTo>
                    <a:pt x="63670" y="5649"/>
                    <a:pt x="63193" y="5554"/>
                    <a:pt x="62866" y="5554"/>
                  </a:cubicBezTo>
                  <a:cubicBezTo>
                    <a:pt x="62822" y="5554"/>
                    <a:pt x="62781" y="5556"/>
                    <a:pt x="62743" y="5560"/>
                  </a:cubicBezTo>
                  <a:cubicBezTo>
                    <a:pt x="62704" y="5563"/>
                    <a:pt x="62667" y="5565"/>
                    <a:pt x="62632" y="5565"/>
                  </a:cubicBezTo>
                  <a:cubicBezTo>
                    <a:pt x="62416" y="5565"/>
                    <a:pt x="62264" y="5506"/>
                    <a:pt x="62137" y="5455"/>
                  </a:cubicBezTo>
                  <a:cubicBezTo>
                    <a:pt x="62064" y="5420"/>
                    <a:pt x="61987" y="5399"/>
                    <a:pt x="61906" y="5388"/>
                  </a:cubicBezTo>
                  <a:cubicBezTo>
                    <a:pt x="61893" y="5387"/>
                    <a:pt x="61882" y="5387"/>
                    <a:pt x="61871" y="5387"/>
                  </a:cubicBezTo>
                  <a:cubicBezTo>
                    <a:pt x="61816" y="5387"/>
                    <a:pt x="61794" y="5400"/>
                    <a:pt x="61791" y="5409"/>
                  </a:cubicBezTo>
                  <a:cubicBezTo>
                    <a:pt x="61784" y="5420"/>
                    <a:pt x="61791" y="5469"/>
                    <a:pt x="61840" y="5532"/>
                  </a:cubicBezTo>
                  <a:cubicBezTo>
                    <a:pt x="61878" y="5574"/>
                    <a:pt x="61885" y="5633"/>
                    <a:pt x="61857" y="5682"/>
                  </a:cubicBezTo>
                  <a:cubicBezTo>
                    <a:pt x="61806" y="5777"/>
                    <a:pt x="61628" y="5819"/>
                    <a:pt x="61449" y="5819"/>
                  </a:cubicBezTo>
                  <a:cubicBezTo>
                    <a:pt x="61396" y="5819"/>
                    <a:pt x="61343" y="5816"/>
                    <a:pt x="61294" y="5808"/>
                  </a:cubicBezTo>
                  <a:cubicBezTo>
                    <a:pt x="61271" y="5805"/>
                    <a:pt x="61247" y="5803"/>
                    <a:pt x="61223" y="5803"/>
                  </a:cubicBezTo>
                  <a:cubicBezTo>
                    <a:pt x="61062" y="5803"/>
                    <a:pt x="60891" y="5880"/>
                    <a:pt x="60846" y="5959"/>
                  </a:cubicBezTo>
                  <a:cubicBezTo>
                    <a:pt x="60828" y="5983"/>
                    <a:pt x="60832" y="6018"/>
                    <a:pt x="60853" y="6043"/>
                  </a:cubicBezTo>
                  <a:cubicBezTo>
                    <a:pt x="60882" y="6078"/>
                    <a:pt x="60908" y="6092"/>
                    <a:pt x="60937" y="6092"/>
                  </a:cubicBezTo>
                  <a:cubicBezTo>
                    <a:pt x="60966" y="6092"/>
                    <a:pt x="61000" y="6078"/>
                    <a:pt x="61045" y="6057"/>
                  </a:cubicBezTo>
                  <a:cubicBezTo>
                    <a:pt x="61088" y="6038"/>
                    <a:pt x="61139" y="6015"/>
                    <a:pt x="61193" y="6015"/>
                  </a:cubicBezTo>
                  <a:cubicBezTo>
                    <a:pt x="61218" y="6015"/>
                    <a:pt x="61244" y="6020"/>
                    <a:pt x="61269" y="6032"/>
                  </a:cubicBezTo>
                  <a:cubicBezTo>
                    <a:pt x="61301" y="6046"/>
                    <a:pt x="61325" y="6078"/>
                    <a:pt x="61329" y="6113"/>
                  </a:cubicBezTo>
                  <a:cubicBezTo>
                    <a:pt x="61332" y="6176"/>
                    <a:pt x="61269" y="6218"/>
                    <a:pt x="61199" y="6267"/>
                  </a:cubicBezTo>
                  <a:cubicBezTo>
                    <a:pt x="61175" y="6284"/>
                    <a:pt x="61147" y="6302"/>
                    <a:pt x="61122" y="6323"/>
                  </a:cubicBezTo>
                  <a:cubicBezTo>
                    <a:pt x="61322" y="6418"/>
                    <a:pt x="61325" y="6596"/>
                    <a:pt x="61325" y="6701"/>
                  </a:cubicBezTo>
                  <a:lnTo>
                    <a:pt x="61325" y="6750"/>
                  </a:lnTo>
                  <a:cubicBezTo>
                    <a:pt x="61325" y="6775"/>
                    <a:pt x="61322" y="6841"/>
                    <a:pt x="61224" y="6883"/>
                  </a:cubicBezTo>
                  <a:cubicBezTo>
                    <a:pt x="61179" y="6901"/>
                    <a:pt x="61120" y="6912"/>
                    <a:pt x="61058" y="6912"/>
                  </a:cubicBezTo>
                  <a:cubicBezTo>
                    <a:pt x="60952" y="6912"/>
                    <a:pt x="60836" y="6880"/>
                    <a:pt x="60765" y="6796"/>
                  </a:cubicBezTo>
                  <a:cubicBezTo>
                    <a:pt x="60737" y="6761"/>
                    <a:pt x="60705" y="6749"/>
                    <a:pt x="60659" y="6749"/>
                  </a:cubicBezTo>
                  <a:cubicBezTo>
                    <a:pt x="60627" y="6749"/>
                    <a:pt x="60587" y="6755"/>
                    <a:pt x="60537" y="6764"/>
                  </a:cubicBezTo>
                  <a:cubicBezTo>
                    <a:pt x="60470" y="6779"/>
                    <a:pt x="60403" y="6786"/>
                    <a:pt x="60334" y="6786"/>
                  </a:cubicBezTo>
                  <a:cubicBezTo>
                    <a:pt x="60320" y="6786"/>
                    <a:pt x="60306" y="6786"/>
                    <a:pt x="60292" y="6785"/>
                  </a:cubicBezTo>
                  <a:lnTo>
                    <a:pt x="60205" y="6785"/>
                  </a:lnTo>
                  <a:cubicBezTo>
                    <a:pt x="60341" y="6817"/>
                    <a:pt x="60425" y="6883"/>
                    <a:pt x="60425" y="6960"/>
                  </a:cubicBezTo>
                  <a:cubicBezTo>
                    <a:pt x="60425" y="7023"/>
                    <a:pt x="60376" y="7104"/>
                    <a:pt x="60152" y="7125"/>
                  </a:cubicBezTo>
                  <a:cubicBezTo>
                    <a:pt x="60134" y="7127"/>
                    <a:pt x="60116" y="7128"/>
                    <a:pt x="60099" y="7128"/>
                  </a:cubicBezTo>
                  <a:cubicBezTo>
                    <a:pt x="59917" y="7128"/>
                    <a:pt x="59854" y="7013"/>
                    <a:pt x="59809" y="6936"/>
                  </a:cubicBezTo>
                  <a:cubicBezTo>
                    <a:pt x="59773" y="6877"/>
                    <a:pt x="59761" y="6863"/>
                    <a:pt x="59741" y="6863"/>
                  </a:cubicBezTo>
                  <a:cubicBezTo>
                    <a:pt x="59735" y="6863"/>
                    <a:pt x="59729" y="6864"/>
                    <a:pt x="59722" y="6866"/>
                  </a:cubicBezTo>
                  <a:cubicBezTo>
                    <a:pt x="59699" y="6870"/>
                    <a:pt x="59674" y="6872"/>
                    <a:pt x="59647" y="6872"/>
                  </a:cubicBezTo>
                  <a:cubicBezTo>
                    <a:pt x="59536" y="6872"/>
                    <a:pt x="59396" y="6835"/>
                    <a:pt x="59249" y="6796"/>
                  </a:cubicBezTo>
                  <a:cubicBezTo>
                    <a:pt x="59115" y="6759"/>
                    <a:pt x="58978" y="6722"/>
                    <a:pt x="58883" y="6722"/>
                  </a:cubicBezTo>
                  <a:cubicBezTo>
                    <a:pt x="58879" y="6722"/>
                    <a:pt x="58875" y="6722"/>
                    <a:pt x="58871" y="6722"/>
                  </a:cubicBezTo>
                  <a:cubicBezTo>
                    <a:pt x="58784" y="6729"/>
                    <a:pt x="58700" y="6757"/>
                    <a:pt x="58622" y="6806"/>
                  </a:cubicBezTo>
                  <a:cubicBezTo>
                    <a:pt x="58507" y="6876"/>
                    <a:pt x="58377" y="6918"/>
                    <a:pt x="58244" y="6932"/>
                  </a:cubicBezTo>
                  <a:cubicBezTo>
                    <a:pt x="58225" y="6934"/>
                    <a:pt x="58206" y="6934"/>
                    <a:pt x="58186" y="6934"/>
                  </a:cubicBezTo>
                  <a:cubicBezTo>
                    <a:pt x="57867" y="6934"/>
                    <a:pt x="57484" y="6754"/>
                    <a:pt x="57362" y="6589"/>
                  </a:cubicBezTo>
                  <a:cubicBezTo>
                    <a:pt x="57327" y="6544"/>
                    <a:pt x="57275" y="6474"/>
                    <a:pt x="57254" y="6470"/>
                  </a:cubicBezTo>
                  <a:cubicBezTo>
                    <a:pt x="57254" y="6470"/>
                    <a:pt x="57229" y="6474"/>
                    <a:pt x="57159" y="6565"/>
                  </a:cubicBezTo>
                  <a:cubicBezTo>
                    <a:pt x="57100" y="6652"/>
                    <a:pt x="57058" y="6747"/>
                    <a:pt x="57033" y="6848"/>
                  </a:cubicBezTo>
                  <a:cubicBezTo>
                    <a:pt x="56984" y="6995"/>
                    <a:pt x="56939" y="7135"/>
                    <a:pt x="56816" y="7156"/>
                  </a:cubicBezTo>
                  <a:cubicBezTo>
                    <a:pt x="56771" y="7163"/>
                    <a:pt x="56722" y="7251"/>
                    <a:pt x="56680" y="7331"/>
                  </a:cubicBezTo>
                  <a:cubicBezTo>
                    <a:pt x="56631" y="7426"/>
                    <a:pt x="56574" y="7524"/>
                    <a:pt x="56490" y="7569"/>
                  </a:cubicBezTo>
                  <a:cubicBezTo>
                    <a:pt x="56455" y="7590"/>
                    <a:pt x="56424" y="7598"/>
                    <a:pt x="56396" y="7598"/>
                  </a:cubicBezTo>
                  <a:cubicBezTo>
                    <a:pt x="56334" y="7598"/>
                    <a:pt x="56290" y="7557"/>
                    <a:pt x="56256" y="7531"/>
                  </a:cubicBezTo>
                  <a:cubicBezTo>
                    <a:pt x="56227" y="7492"/>
                    <a:pt x="56183" y="7474"/>
                    <a:pt x="56139" y="7474"/>
                  </a:cubicBezTo>
                  <a:cubicBezTo>
                    <a:pt x="56134" y="7474"/>
                    <a:pt x="56130" y="7474"/>
                    <a:pt x="56126" y="7475"/>
                  </a:cubicBezTo>
                  <a:lnTo>
                    <a:pt x="56112" y="7475"/>
                  </a:lnTo>
                  <a:cubicBezTo>
                    <a:pt x="55874" y="7475"/>
                    <a:pt x="55272" y="6866"/>
                    <a:pt x="55237" y="6687"/>
                  </a:cubicBezTo>
                  <a:cubicBezTo>
                    <a:pt x="55213" y="6547"/>
                    <a:pt x="54873" y="6242"/>
                    <a:pt x="54765" y="6169"/>
                  </a:cubicBezTo>
                  <a:cubicBezTo>
                    <a:pt x="54730" y="6151"/>
                    <a:pt x="54709" y="6113"/>
                    <a:pt x="54712" y="6074"/>
                  </a:cubicBezTo>
                  <a:cubicBezTo>
                    <a:pt x="54716" y="6039"/>
                    <a:pt x="54740" y="6011"/>
                    <a:pt x="54772" y="6001"/>
                  </a:cubicBezTo>
                  <a:cubicBezTo>
                    <a:pt x="54791" y="5993"/>
                    <a:pt x="54815" y="5989"/>
                    <a:pt x="54841" y="5989"/>
                  </a:cubicBezTo>
                  <a:cubicBezTo>
                    <a:pt x="54910" y="5989"/>
                    <a:pt x="54996" y="6016"/>
                    <a:pt x="55062" y="6074"/>
                  </a:cubicBezTo>
                  <a:cubicBezTo>
                    <a:pt x="55115" y="6119"/>
                    <a:pt x="55181" y="6143"/>
                    <a:pt x="55248" y="6143"/>
                  </a:cubicBezTo>
                  <a:cubicBezTo>
                    <a:pt x="55296" y="6143"/>
                    <a:pt x="55344" y="6131"/>
                    <a:pt x="55388" y="6106"/>
                  </a:cubicBezTo>
                  <a:cubicBezTo>
                    <a:pt x="55416" y="6088"/>
                    <a:pt x="55437" y="6025"/>
                    <a:pt x="55423" y="5959"/>
                  </a:cubicBezTo>
                  <a:cubicBezTo>
                    <a:pt x="55416" y="5903"/>
                    <a:pt x="55367" y="5861"/>
                    <a:pt x="55311" y="5857"/>
                  </a:cubicBezTo>
                  <a:cubicBezTo>
                    <a:pt x="55150" y="5850"/>
                    <a:pt x="55122" y="5763"/>
                    <a:pt x="55115" y="5724"/>
                  </a:cubicBezTo>
                  <a:cubicBezTo>
                    <a:pt x="55111" y="5640"/>
                    <a:pt x="55157" y="5563"/>
                    <a:pt x="55234" y="5525"/>
                  </a:cubicBezTo>
                  <a:cubicBezTo>
                    <a:pt x="55220" y="5497"/>
                    <a:pt x="55192" y="5458"/>
                    <a:pt x="55174" y="5430"/>
                  </a:cubicBezTo>
                  <a:cubicBezTo>
                    <a:pt x="55115" y="5339"/>
                    <a:pt x="55062" y="5259"/>
                    <a:pt x="55087" y="5189"/>
                  </a:cubicBezTo>
                  <a:cubicBezTo>
                    <a:pt x="55101" y="5161"/>
                    <a:pt x="55129" y="5136"/>
                    <a:pt x="55160" y="5129"/>
                  </a:cubicBezTo>
                  <a:cubicBezTo>
                    <a:pt x="55167" y="5129"/>
                    <a:pt x="55174" y="5126"/>
                    <a:pt x="55181" y="5122"/>
                  </a:cubicBezTo>
                  <a:cubicBezTo>
                    <a:pt x="55174" y="5108"/>
                    <a:pt x="55139" y="5073"/>
                    <a:pt x="55062" y="5063"/>
                  </a:cubicBezTo>
                  <a:cubicBezTo>
                    <a:pt x="54873" y="5038"/>
                    <a:pt x="54670" y="4895"/>
                    <a:pt x="54639" y="4769"/>
                  </a:cubicBezTo>
                  <a:cubicBezTo>
                    <a:pt x="54585" y="4745"/>
                    <a:pt x="54432" y="4731"/>
                    <a:pt x="54291" y="4731"/>
                  </a:cubicBezTo>
                  <a:cubicBezTo>
                    <a:pt x="54182" y="4731"/>
                    <a:pt x="54080" y="4740"/>
                    <a:pt x="54040" y="4758"/>
                  </a:cubicBezTo>
                  <a:cubicBezTo>
                    <a:pt x="54043" y="4800"/>
                    <a:pt x="54022" y="4846"/>
                    <a:pt x="53987" y="4870"/>
                  </a:cubicBezTo>
                  <a:cubicBezTo>
                    <a:pt x="53955" y="4886"/>
                    <a:pt x="53920" y="4895"/>
                    <a:pt x="53885" y="4895"/>
                  </a:cubicBezTo>
                  <a:cubicBezTo>
                    <a:pt x="53837" y="4895"/>
                    <a:pt x="53790" y="4879"/>
                    <a:pt x="53749" y="4849"/>
                  </a:cubicBezTo>
                  <a:cubicBezTo>
                    <a:pt x="53714" y="4821"/>
                    <a:pt x="53697" y="4776"/>
                    <a:pt x="53704" y="4730"/>
                  </a:cubicBezTo>
                  <a:cubicBezTo>
                    <a:pt x="53644" y="4716"/>
                    <a:pt x="53585" y="4706"/>
                    <a:pt x="53525" y="4699"/>
                  </a:cubicBezTo>
                  <a:cubicBezTo>
                    <a:pt x="53392" y="4685"/>
                    <a:pt x="53259" y="4660"/>
                    <a:pt x="53130" y="4625"/>
                  </a:cubicBezTo>
                  <a:cubicBezTo>
                    <a:pt x="52965" y="4583"/>
                    <a:pt x="52818" y="4482"/>
                    <a:pt x="52727" y="4338"/>
                  </a:cubicBezTo>
                  <a:cubicBezTo>
                    <a:pt x="52710" y="4310"/>
                    <a:pt x="52685" y="4285"/>
                    <a:pt x="52661" y="4264"/>
                  </a:cubicBezTo>
                  <a:cubicBezTo>
                    <a:pt x="52647" y="4292"/>
                    <a:pt x="52636" y="4320"/>
                    <a:pt x="52626" y="4349"/>
                  </a:cubicBezTo>
                  <a:cubicBezTo>
                    <a:pt x="52605" y="4419"/>
                    <a:pt x="52577" y="4499"/>
                    <a:pt x="52507" y="4531"/>
                  </a:cubicBezTo>
                  <a:cubicBezTo>
                    <a:pt x="52488" y="4538"/>
                    <a:pt x="52469" y="4542"/>
                    <a:pt x="52450" y="4542"/>
                  </a:cubicBezTo>
                  <a:cubicBezTo>
                    <a:pt x="52424" y="4542"/>
                    <a:pt x="52399" y="4535"/>
                    <a:pt x="52377" y="4524"/>
                  </a:cubicBezTo>
                  <a:cubicBezTo>
                    <a:pt x="52356" y="4513"/>
                    <a:pt x="52333" y="4508"/>
                    <a:pt x="52310" y="4508"/>
                  </a:cubicBezTo>
                  <a:cubicBezTo>
                    <a:pt x="52272" y="4508"/>
                    <a:pt x="52234" y="4522"/>
                    <a:pt x="52205" y="4548"/>
                  </a:cubicBezTo>
                  <a:cubicBezTo>
                    <a:pt x="52163" y="4597"/>
                    <a:pt x="52156" y="4667"/>
                    <a:pt x="52188" y="4720"/>
                  </a:cubicBezTo>
                  <a:cubicBezTo>
                    <a:pt x="52265" y="4884"/>
                    <a:pt x="52240" y="4965"/>
                    <a:pt x="52212" y="5049"/>
                  </a:cubicBezTo>
                  <a:cubicBezTo>
                    <a:pt x="52202" y="5087"/>
                    <a:pt x="52191" y="5126"/>
                    <a:pt x="52188" y="5168"/>
                  </a:cubicBezTo>
                  <a:cubicBezTo>
                    <a:pt x="52188" y="5224"/>
                    <a:pt x="52160" y="5276"/>
                    <a:pt x="52118" y="5311"/>
                  </a:cubicBezTo>
                  <a:cubicBezTo>
                    <a:pt x="52096" y="5324"/>
                    <a:pt x="52073" y="5330"/>
                    <a:pt x="52048" y="5330"/>
                  </a:cubicBezTo>
                  <a:cubicBezTo>
                    <a:pt x="51999" y="5330"/>
                    <a:pt x="51943" y="5308"/>
                    <a:pt x="51873" y="5280"/>
                  </a:cubicBezTo>
                  <a:cubicBezTo>
                    <a:pt x="51841" y="5269"/>
                    <a:pt x="51810" y="5259"/>
                    <a:pt x="51775" y="5245"/>
                  </a:cubicBezTo>
                  <a:cubicBezTo>
                    <a:pt x="51757" y="5238"/>
                    <a:pt x="51741" y="5235"/>
                    <a:pt x="51726" y="5235"/>
                  </a:cubicBezTo>
                  <a:cubicBezTo>
                    <a:pt x="51693" y="5235"/>
                    <a:pt x="51666" y="5250"/>
                    <a:pt x="51624" y="5269"/>
                  </a:cubicBezTo>
                  <a:cubicBezTo>
                    <a:pt x="51562" y="5303"/>
                    <a:pt x="51482" y="5345"/>
                    <a:pt x="51345" y="5345"/>
                  </a:cubicBezTo>
                  <a:cubicBezTo>
                    <a:pt x="51283" y="5345"/>
                    <a:pt x="51209" y="5337"/>
                    <a:pt x="51120" y="5315"/>
                  </a:cubicBezTo>
                  <a:cubicBezTo>
                    <a:pt x="50966" y="5276"/>
                    <a:pt x="50812" y="5259"/>
                    <a:pt x="50655" y="5259"/>
                  </a:cubicBezTo>
                  <a:cubicBezTo>
                    <a:pt x="50515" y="5259"/>
                    <a:pt x="50403" y="5255"/>
                    <a:pt x="50343" y="5147"/>
                  </a:cubicBezTo>
                  <a:cubicBezTo>
                    <a:pt x="50307" y="5082"/>
                    <a:pt x="50262" y="5059"/>
                    <a:pt x="50245" y="5059"/>
                  </a:cubicBezTo>
                  <a:cubicBezTo>
                    <a:pt x="50244" y="5059"/>
                    <a:pt x="50242" y="5059"/>
                    <a:pt x="50241" y="5059"/>
                  </a:cubicBezTo>
                  <a:cubicBezTo>
                    <a:pt x="50234" y="5059"/>
                    <a:pt x="50231" y="5073"/>
                    <a:pt x="50231" y="5080"/>
                  </a:cubicBezTo>
                  <a:cubicBezTo>
                    <a:pt x="50217" y="5185"/>
                    <a:pt x="50066" y="5199"/>
                    <a:pt x="50017" y="5203"/>
                  </a:cubicBezTo>
                  <a:cubicBezTo>
                    <a:pt x="49996" y="5204"/>
                    <a:pt x="49972" y="5205"/>
                    <a:pt x="49944" y="5205"/>
                  </a:cubicBezTo>
                  <a:cubicBezTo>
                    <a:pt x="49740" y="5205"/>
                    <a:pt x="49387" y="5156"/>
                    <a:pt x="49335" y="4989"/>
                  </a:cubicBezTo>
                  <a:cubicBezTo>
                    <a:pt x="49279" y="4807"/>
                    <a:pt x="49401" y="4730"/>
                    <a:pt x="49499" y="4688"/>
                  </a:cubicBezTo>
                  <a:cubicBezTo>
                    <a:pt x="49425" y="4677"/>
                    <a:pt x="49349" y="4672"/>
                    <a:pt x="49273" y="4672"/>
                  </a:cubicBezTo>
                  <a:cubicBezTo>
                    <a:pt x="49227" y="4672"/>
                    <a:pt x="49181" y="4674"/>
                    <a:pt x="49135" y="4678"/>
                  </a:cubicBezTo>
                  <a:cubicBezTo>
                    <a:pt x="49112" y="4679"/>
                    <a:pt x="49089" y="4680"/>
                    <a:pt x="49067" y="4680"/>
                  </a:cubicBezTo>
                  <a:cubicBezTo>
                    <a:pt x="48901" y="4680"/>
                    <a:pt x="48760" y="4637"/>
                    <a:pt x="48624" y="4597"/>
                  </a:cubicBezTo>
                  <a:cubicBezTo>
                    <a:pt x="48495" y="4559"/>
                    <a:pt x="48364" y="4519"/>
                    <a:pt x="48216" y="4519"/>
                  </a:cubicBezTo>
                  <a:cubicBezTo>
                    <a:pt x="48187" y="4519"/>
                    <a:pt x="48157" y="4520"/>
                    <a:pt x="48127" y="4524"/>
                  </a:cubicBezTo>
                  <a:lnTo>
                    <a:pt x="47938" y="4541"/>
                  </a:lnTo>
                  <a:cubicBezTo>
                    <a:pt x="47563" y="4580"/>
                    <a:pt x="46870" y="4650"/>
                    <a:pt x="46772" y="4695"/>
                  </a:cubicBezTo>
                  <a:cubicBezTo>
                    <a:pt x="46776" y="4716"/>
                    <a:pt x="46783" y="4741"/>
                    <a:pt x="46790" y="4762"/>
                  </a:cubicBezTo>
                  <a:cubicBezTo>
                    <a:pt x="46807" y="4814"/>
                    <a:pt x="46828" y="4881"/>
                    <a:pt x="46793" y="4937"/>
                  </a:cubicBezTo>
                  <a:cubicBezTo>
                    <a:pt x="46761" y="4975"/>
                    <a:pt x="46713" y="4994"/>
                    <a:pt x="46666" y="4994"/>
                  </a:cubicBezTo>
                  <a:cubicBezTo>
                    <a:pt x="46626" y="4994"/>
                    <a:pt x="46587" y="4981"/>
                    <a:pt x="46555" y="4954"/>
                  </a:cubicBezTo>
                  <a:cubicBezTo>
                    <a:pt x="46489" y="4884"/>
                    <a:pt x="46499" y="4755"/>
                    <a:pt x="46513" y="4615"/>
                  </a:cubicBezTo>
                  <a:cubicBezTo>
                    <a:pt x="46524" y="4545"/>
                    <a:pt x="46524" y="4475"/>
                    <a:pt x="46517" y="4408"/>
                  </a:cubicBezTo>
                  <a:cubicBezTo>
                    <a:pt x="46510" y="4366"/>
                    <a:pt x="46478" y="4334"/>
                    <a:pt x="46440" y="4320"/>
                  </a:cubicBezTo>
                  <a:cubicBezTo>
                    <a:pt x="46424" y="4313"/>
                    <a:pt x="46406" y="4309"/>
                    <a:pt x="46388" y="4309"/>
                  </a:cubicBezTo>
                  <a:cubicBezTo>
                    <a:pt x="46382" y="4309"/>
                    <a:pt x="46376" y="4309"/>
                    <a:pt x="46370" y="4310"/>
                  </a:cubicBezTo>
                  <a:cubicBezTo>
                    <a:pt x="46387" y="4373"/>
                    <a:pt x="46359" y="4436"/>
                    <a:pt x="46303" y="4464"/>
                  </a:cubicBezTo>
                  <a:cubicBezTo>
                    <a:pt x="46233" y="4509"/>
                    <a:pt x="46106" y="4535"/>
                    <a:pt x="45984" y="4535"/>
                  </a:cubicBezTo>
                  <a:cubicBezTo>
                    <a:pt x="45868" y="4535"/>
                    <a:pt x="45755" y="4512"/>
                    <a:pt x="45697" y="4461"/>
                  </a:cubicBezTo>
                  <a:cubicBezTo>
                    <a:pt x="45526" y="4310"/>
                    <a:pt x="45316" y="4205"/>
                    <a:pt x="45095" y="4152"/>
                  </a:cubicBezTo>
                  <a:cubicBezTo>
                    <a:pt x="45066" y="4145"/>
                    <a:pt x="45037" y="4141"/>
                    <a:pt x="45007" y="4141"/>
                  </a:cubicBezTo>
                  <a:cubicBezTo>
                    <a:pt x="44875" y="4141"/>
                    <a:pt x="44740" y="4210"/>
                    <a:pt x="44654" y="4278"/>
                  </a:cubicBezTo>
                  <a:cubicBezTo>
                    <a:pt x="44609" y="4310"/>
                    <a:pt x="44574" y="4352"/>
                    <a:pt x="44549" y="4405"/>
                  </a:cubicBezTo>
                  <a:cubicBezTo>
                    <a:pt x="44584" y="4433"/>
                    <a:pt x="44658" y="4433"/>
                    <a:pt x="44714" y="4436"/>
                  </a:cubicBezTo>
                  <a:cubicBezTo>
                    <a:pt x="44791" y="4436"/>
                    <a:pt x="44882" y="4440"/>
                    <a:pt x="44892" y="4524"/>
                  </a:cubicBezTo>
                  <a:cubicBezTo>
                    <a:pt x="44896" y="4548"/>
                    <a:pt x="44889" y="4576"/>
                    <a:pt x="44871" y="4597"/>
                  </a:cubicBezTo>
                  <a:cubicBezTo>
                    <a:pt x="44819" y="4664"/>
                    <a:pt x="44689" y="4681"/>
                    <a:pt x="44483" y="4702"/>
                  </a:cubicBezTo>
                  <a:cubicBezTo>
                    <a:pt x="44395" y="4709"/>
                    <a:pt x="44308" y="4723"/>
                    <a:pt x="44220" y="4748"/>
                  </a:cubicBezTo>
                  <a:cubicBezTo>
                    <a:pt x="44210" y="4807"/>
                    <a:pt x="44139" y="4874"/>
                    <a:pt x="43831" y="4968"/>
                  </a:cubicBezTo>
                  <a:cubicBezTo>
                    <a:pt x="43667" y="5017"/>
                    <a:pt x="43502" y="5056"/>
                    <a:pt x="43331" y="5084"/>
                  </a:cubicBezTo>
                  <a:lnTo>
                    <a:pt x="43208" y="5098"/>
                  </a:lnTo>
                  <a:cubicBezTo>
                    <a:pt x="42785" y="5150"/>
                    <a:pt x="42683" y="5161"/>
                    <a:pt x="42470" y="5343"/>
                  </a:cubicBezTo>
                  <a:cubicBezTo>
                    <a:pt x="42437" y="5368"/>
                    <a:pt x="42377" y="5419"/>
                    <a:pt x="42322" y="5419"/>
                  </a:cubicBezTo>
                  <a:cubicBezTo>
                    <a:pt x="42301" y="5419"/>
                    <a:pt x="42281" y="5411"/>
                    <a:pt x="42263" y="5392"/>
                  </a:cubicBezTo>
                  <a:cubicBezTo>
                    <a:pt x="42162" y="5276"/>
                    <a:pt x="42470" y="4912"/>
                    <a:pt x="42519" y="4867"/>
                  </a:cubicBezTo>
                  <a:cubicBezTo>
                    <a:pt x="42606" y="4779"/>
                    <a:pt x="42718" y="4723"/>
                    <a:pt x="42841" y="4699"/>
                  </a:cubicBezTo>
                  <a:cubicBezTo>
                    <a:pt x="42921" y="4678"/>
                    <a:pt x="42981" y="4664"/>
                    <a:pt x="43019" y="4608"/>
                  </a:cubicBezTo>
                  <a:cubicBezTo>
                    <a:pt x="43124" y="4464"/>
                    <a:pt x="43275" y="4447"/>
                    <a:pt x="43481" y="4419"/>
                  </a:cubicBezTo>
                  <a:cubicBezTo>
                    <a:pt x="43537" y="4412"/>
                    <a:pt x="43597" y="4405"/>
                    <a:pt x="43660" y="4394"/>
                  </a:cubicBezTo>
                  <a:cubicBezTo>
                    <a:pt x="43772" y="4387"/>
                    <a:pt x="43873" y="4327"/>
                    <a:pt x="43936" y="4233"/>
                  </a:cubicBezTo>
                  <a:cubicBezTo>
                    <a:pt x="43971" y="4180"/>
                    <a:pt x="44024" y="4138"/>
                    <a:pt x="44080" y="4110"/>
                  </a:cubicBezTo>
                  <a:lnTo>
                    <a:pt x="44139" y="4082"/>
                  </a:lnTo>
                  <a:cubicBezTo>
                    <a:pt x="44276" y="4023"/>
                    <a:pt x="44567" y="3900"/>
                    <a:pt x="44612" y="3795"/>
                  </a:cubicBezTo>
                  <a:cubicBezTo>
                    <a:pt x="44695" y="3612"/>
                    <a:pt x="45434" y="3375"/>
                    <a:pt x="45606" y="3375"/>
                  </a:cubicBezTo>
                  <a:cubicBezTo>
                    <a:pt x="45609" y="3375"/>
                    <a:pt x="45611" y="3375"/>
                    <a:pt x="45613" y="3375"/>
                  </a:cubicBezTo>
                  <a:cubicBezTo>
                    <a:pt x="45614" y="3375"/>
                    <a:pt x="45615" y="3375"/>
                    <a:pt x="45616" y="3375"/>
                  </a:cubicBezTo>
                  <a:cubicBezTo>
                    <a:pt x="45657" y="3375"/>
                    <a:pt x="45694" y="3294"/>
                    <a:pt x="45722" y="3235"/>
                  </a:cubicBezTo>
                  <a:cubicBezTo>
                    <a:pt x="45760" y="3158"/>
                    <a:pt x="45795" y="3085"/>
                    <a:pt x="45869" y="3085"/>
                  </a:cubicBezTo>
                  <a:cubicBezTo>
                    <a:pt x="45907" y="3085"/>
                    <a:pt x="46096" y="3015"/>
                    <a:pt x="46506" y="2833"/>
                  </a:cubicBezTo>
                  <a:cubicBezTo>
                    <a:pt x="46618" y="2780"/>
                    <a:pt x="46699" y="2679"/>
                    <a:pt x="46720" y="2556"/>
                  </a:cubicBezTo>
                  <a:cubicBezTo>
                    <a:pt x="46695" y="2542"/>
                    <a:pt x="46671" y="2532"/>
                    <a:pt x="46643" y="2521"/>
                  </a:cubicBezTo>
                  <a:cubicBezTo>
                    <a:pt x="46580" y="2500"/>
                    <a:pt x="46496" y="2469"/>
                    <a:pt x="46478" y="2392"/>
                  </a:cubicBezTo>
                  <a:cubicBezTo>
                    <a:pt x="46468" y="2360"/>
                    <a:pt x="46471" y="2325"/>
                    <a:pt x="46492" y="2294"/>
                  </a:cubicBezTo>
                  <a:cubicBezTo>
                    <a:pt x="46520" y="2255"/>
                    <a:pt x="46573" y="2251"/>
                    <a:pt x="46625" y="2248"/>
                  </a:cubicBezTo>
                  <a:cubicBezTo>
                    <a:pt x="46681" y="2244"/>
                    <a:pt x="46737" y="2234"/>
                    <a:pt x="46793" y="2216"/>
                  </a:cubicBezTo>
                  <a:cubicBezTo>
                    <a:pt x="46821" y="2206"/>
                    <a:pt x="46825" y="2192"/>
                    <a:pt x="46818" y="2171"/>
                  </a:cubicBezTo>
                  <a:cubicBezTo>
                    <a:pt x="46805" y="2130"/>
                    <a:pt x="46753" y="2089"/>
                    <a:pt x="46712" y="2089"/>
                  </a:cubicBezTo>
                  <a:cubicBezTo>
                    <a:pt x="46707" y="2089"/>
                    <a:pt x="46703" y="2089"/>
                    <a:pt x="46699" y="2090"/>
                  </a:cubicBezTo>
                  <a:cubicBezTo>
                    <a:pt x="46684" y="2097"/>
                    <a:pt x="46669" y="2100"/>
                    <a:pt x="46653" y="2100"/>
                  </a:cubicBezTo>
                  <a:cubicBezTo>
                    <a:pt x="46628" y="2100"/>
                    <a:pt x="46603" y="2092"/>
                    <a:pt x="46583" y="2076"/>
                  </a:cubicBezTo>
                  <a:cubicBezTo>
                    <a:pt x="46548" y="2038"/>
                    <a:pt x="46566" y="1992"/>
                    <a:pt x="46580" y="1957"/>
                  </a:cubicBezTo>
                  <a:cubicBezTo>
                    <a:pt x="46604" y="1898"/>
                    <a:pt x="46618" y="1852"/>
                    <a:pt x="46580" y="1803"/>
                  </a:cubicBezTo>
                  <a:cubicBezTo>
                    <a:pt x="46564" y="1783"/>
                    <a:pt x="46544" y="1775"/>
                    <a:pt x="46521" y="1775"/>
                  </a:cubicBezTo>
                  <a:cubicBezTo>
                    <a:pt x="46492" y="1775"/>
                    <a:pt x="46457" y="1786"/>
                    <a:pt x="46415" y="1800"/>
                  </a:cubicBezTo>
                  <a:cubicBezTo>
                    <a:pt x="46381" y="1808"/>
                    <a:pt x="46348" y="1817"/>
                    <a:pt x="46316" y="1817"/>
                  </a:cubicBezTo>
                  <a:cubicBezTo>
                    <a:pt x="46291" y="1817"/>
                    <a:pt x="46268" y="1812"/>
                    <a:pt x="46247" y="1796"/>
                  </a:cubicBezTo>
                  <a:cubicBezTo>
                    <a:pt x="46219" y="1772"/>
                    <a:pt x="46205" y="1733"/>
                    <a:pt x="46208" y="1695"/>
                  </a:cubicBezTo>
                  <a:cubicBezTo>
                    <a:pt x="46219" y="1555"/>
                    <a:pt x="46198" y="1380"/>
                    <a:pt x="46117" y="1299"/>
                  </a:cubicBezTo>
                  <a:cubicBezTo>
                    <a:pt x="46116" y="1298"/>
                    <a:pt x="46114" y="1298"/>
                    <a:pt x="46111" y="1298"/>
                  </a:cubicBezTo>
                  <a:cubicBezTo>
                    <a:pt x="46094" y="1298"/>
                    <a:pt x="46053" y="1315"/>
                    <a:pt x="46023" y="1327"/>
                  </a:cubicBezTo>
                  <a:cubicBezTo>
                    <a:pt x="45970" y="1354"/>
                    <a:pt x="45900" y="1385"/>
                    <a:pt x="45822" y="1385"/>
                  </a:cubicBezTo>
                  <a:cubicBezTo>
                    <a:pt x="45766" y="1385"/>
                    <a:pt x="45706" y="1369"/>
                    <a:pt x="45645" y="1324"/>
                  </a:cubicBezTo>
                  <a:cubicBezTo>
                    <a:pt x="45496" y="1208"/>
                    <a:pt x="45105" y="1127"/>
                    <a:pt x="44967" y="1127"/>
                  </a:cubicBezTo>
                  <a:cubicBezTo>
                    <a:pt x="44958" y="1127"/>
                    <a:pt x="44951" y="1127"/>
                    <a:pt x="44945" y="1128"/>
                  </a:cubicBezTo>
                  <a:cubicBezTo>
                    <a:pt x="44941" y="1138"/>
                    <a:pt x="44934" y="1142"/>
                    <a:pt x="44927" y="1149"/>
                  </a:cubicBezTo>
                  <a:cubicBezTo>
                    <a:pt x="44910" y="1161"/>
                    <a:pt x="44891" y="1166"/>
                    <a:pt x="44870" y="1166"/>
                  </a:cubicBezTo>
                  <a:cubicBezTo>
                    <a:pt x="44835" y="1166"/>
                    <a:pt x="44793" y="1152"/>
                    <a:pt x="44738" y="1135"/>
                  </a:cubicBezTo>
                  <a:cubicBezTo>
                    <a:pt x="44693" y="1117"/>
                    <a:pt x="44647" y="1107"/>
                    <a:pt x="44598" y="1103"/>
                  </a:cubicBezTo>
                  <a:cubicBezTo>
                    <a:pt x="44544" y="1150"/>
                    <a:pt x="44399" y="1166"/>
                    <a:pt x="44251" y="1166"/>
                  </a:cubicBezTo>
                  <a:cubicBezTo>
                    <a:pt x="44090" y="1166"/>
                    <a:pt x="43925" y="1148"/>
                    <a:pt x="43866" y="1131"/>
                  </a:cubicBezTo>
                  <a:cubicBezTo>
                    <a:pt x="43848" y="1128"/>
                    <a:pt x="43829" y="1126"/>
                    <a:pt x="43811" y="1126"/>
                  </a:cubicBezTo>
                  <a:cubicBezTo>
                    <a:pt x="43756" y="1126"/>
                    <a:pt x="43701" y="1142"/>
                    <a:pt x="43656" y="1173"/>
                  </a:cubicBezTo>
                  <a:cubicBezTo>
                    <a:pt x="43621" y="1198"/>
                    <a:pt x="43600" y="1233"/>
                    <a:pt x="43593" y="1275"/>
                  </a:cubicBezTo>
                  <a:cubicBezTo>
                    <a:pt x="43590" y="1313"/>
                    <a:pt x="43572" y="1348"/>
                    <a:pt x="43541" y="1369"/>
                  </a:cubicBezTo>
                  <a:cubicBezTo>
                    <a:pt x="43475" y="1419"/>
                    <a:pt x="43344" y="1433"/>
                    <a:pt x="43212" y="1433"/>
                  </a:cubicBezTo>
                  <a:cubicBezTo>
                    <a:pt x="43034" y="1433"/>
                    <a:pt x="42855" y="1407"/>
                    <a:pt x="42827" y="1401"/>
                  </a:cubicBezTo>
                  <a:cubicBezTo>
                    <a:pt x="42795" y="1394"/>
                    <a:pt x="42771" y="1373"/>
                    <a:pt x="42764" y="1341"/>
                  </a:cubicBezTo>
                  <a:cubicBezTo>
                    <a:pt x="42743" y="1275"/>
                    <a:pt x="42806" y="1198"/>
                    <a:pt x="43002" y="1002"/>
                  </a:cubicBezTo>
                  <a:cubicBezTo>
                    <a:pt x="43044" y="960"/>
                    <a:pt x="43096" y="904"/>
                    <a:pt x="43131" y="862"/>
                  </a:cubicBezTo>
                  <a:cubicBezTo>
                    <a:pt x="43106" y="860"/>
                    <a:pt x="43074" y="860"/>
                    <a:pt x="43040" y="860"/>
                  </a:cubicBezTo>
                  <a:cubicBezTo>
                    <a:pt x="42971" y="860"/>
                    <a:pt x="42891" y="862"/>
                    <a:pt x="42823" y="862"/>
                  </a:cubicBezTo>
                  <a:cubicBezTo>
                    <a:pt x="42748" y="863"/>
                    <a:pt x="42684" y="864"/>
                    <a:pt x="42628" y="864"/>
                  </a:cubicBezTo>
                  <a:cubicBezTo>
                    <a:pt x="42391" y="864"/>
                    <a:pt x="42312" y="849"/>
                    <a:pt x="42281" y="795"/>
                  </a:cubicBezTo>
                  <a:cubicBezTo>
                    <a:pt x="42247" y="761"/>
                    <a:pt x="41994" y="730"/>
                    <a:pt x="41779" y="730"/>
                  </a:cubicBezTo>
                  <a:cubicBezTo>
                    <a:pt x="41749" y="730"/>
                    <a:pt x="41720" y="731"/>
                    <a:pt x="41692" y="732"/>
                  </a:cubicBezTo>
                  <a:cubicBezTo>
                    <a:pt x="41688" y="732"/>
                    <a:pt x="41682" y="732"/>
                    <a:pt x="41677" y="732"/>
                  </a:cubicBezTo>
                  <a:cubicBezTo>
                    <a:pt x="41622" y="732"/>
                    <a:pt x="41552" y="729"/>
                    <a:pt x="41545" y="662"/>
                  </a:cubicBezTo>
                  <a:cubicBezTo>
                    <a:pt x="41545" y="634"/>
                    <a:pt x="41538" y="564"/>
                    <a:pt x="41846" y="536"/>
                  </a:cubicBezTo>
                  <a:cubicBezTo>
                    <a:pt x="41927" y="519"/>
                    <a:pt x="42007" y="491"/>
                    <a:pt x="42078" y="449"/>
                  </a:cubicBezTo>
                  <a:cubicBezTo>
                    <a:pt x="42165" y="400"/>
                    <a:pt x="42256" y="365"/>
                    <a:pt x="42351" y="340"/>
                  </a:cubicBezTo>
                  <a:cubicBezTo>
                    <a:pt x="42379" y="340"/>
                    <a:pt x="42403" y="333"/>
                    <a:pt x="42428" y="319"/>
                  </a:cubicBezTo>
                  <a:cubicBezTo>
                    <a:pt x="42414" y="291"/>
                    <a:pt x="42396" y="260"/>
                    <a:pt x="42375" y="232"/>
                  </a:cubicBezTo>
                  <a:cubicBezTo>
                    <a:pt x="42344" y="193"/>
                    <a:pt x="42281" y="186"/>
                    <a:pt x="42176" y="179"/>
                  </a:cubicBezTo>
                  <a:cubicBezTo>
                    <a:pt x="42099" y="175"/>
                    <a:pt x="42021" y="165"/>
                    <a:pt x="41948" y="144"/>
                  </a:cubicBezTo>
                  <a:lnTo>
                    <a:pt x="41839" y="112"/>
                  </a:lnTo>
                  <a:cubicBezTo>
                    <a:pt x="41685" y="63"/>
                    <a:pt x="41514" y="7"/>
                    <a:pt x="41388" y="0"/>
                  </a:cubicBezTo>
                  <a:cubicBezTo>
                    <a:pt x="41383" y="0"/>
                    <a:pt x="41378" y="0"/>
                    <a:pt x="41372"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219" name="Google Shape;6219;p104"/>
            <p:cNvSpPr/>
            <p:nvPr/>
          </p:nvSpPr>
          <p:spPr>
            <a:xfrm>
              <a:off x="2192984" y="1581360"/>
              <a:ext cx="21262" cy="7753"/>
            </a:xfrm>
            <a:custGeom>
              <a:avLst/>
              <a:gdLst/>
              <a:ahLst/>
              <a:cxnLst/>
              <a:rect l="l" t="t" r="r" b="b"/>
              <a:pathLst>
                <a:path w="1566" h="571" extrusionOk="0">
                  <a:moveTo>
                    <a:pt x="813" y="0"/>
                  </a:moveTo>
                  <a:cubicBezTo>
                    <a:pt x="876" y="116"/>
                    <a:pt x="753" y="186"/>
                    <a:pt x="694" y="217"/>
                  </a:cubicBezTo>
                  <a:cubicBezTo>
                    <a:pt x="669" y="231"/>
                    <a:pt x="624" y="259"/>
                    <a:pt x="620" y="273"/>
                  </a:cubicBezTo>
                  <a:cubicBezTo>
                    <a:pt x="620" y="277"/>
                    <a:pt x="624" y="284"/>
                    <a:pt x="627" y="287"/>
                  </a:cubicBezTo>
                  <a:cubicBezTo>
                    <a:pt x="669" y="333"/>
                    <a:pt x="676" y="396"/>
                    <a:pt x="641" y="448"/>
                  </a:cubicBezTo>
                  <a:cubicBezTo>
                    <a:pt x="609" y="492"/>
                    <a:pt x="547" y="510"/>
                    <a:pt x="485" y="510"/>
                  </a:cubicBezTo>
                  <a:cubicBezTo>
                    <a:pt x="453" y="510"/>
                    <a:pt x="421" y="505"/>
                    <a:pt x="392" y="497"/>
                  </a:cubicBezTo>
                  <a:cubicBezTo>
                    <a:pt x="312" y="480"/>
                    <a:pt x="252" y="410"/>
                    <a:pt x="252" y="326"/>
                  </a:cubicBezTo>
                  <a:cubicBezTo>
                    <a:pt x="252" y="322"/>
                    <a:pt x="252" y="315"/>
                    <a:pt x="224" y="308"/>
                  </a:cubicBezTo>
                  <a:cubicBezTo>
                    <a:pt x="206" y="305"/>
                    <a:pt x="187" y="303"/>
                    <a:pt x="169" y="303"/>
                  </a:cubicBezTo>
                  <a:cubicBezTo>
                    <a:pt x="113" y="303"/>
                    <a:pt x="58" y="319"/>
                    <a:pt x="11" y="350"/>
                  </a:cubicBezTo>
                  <a:cubicBezTo>
                    <a:pt x="14" y="382"/>
                    <a:pt x="11" y="413"/>
                    <a:pt x="0" y="445"/>
                  </a:cubicBezTo>
                  <a:lnTo>
                    <a:pt x="49" y="462"/>
                  </a:lnTo>
                  <a:lnTo>
                    <a:pt x="53" y="462"/>
                  </a:lnTo>
                  <a:lnTo>
                    <a:pt x="81" y="473"/>
                  </a:lnTo>
                  <a:lnTo>
                    <a:pt x="95" y="476"/>
                  </a:lnTo>
                  <a:lnTo>
                    <a:pt x="123" y="487"/>
                  </a:lnTo>
                  <a:lnTo>
                    <a:pt x="140" y="494"/>
                  </a:lnTo>
                  <a:lnTo>
                    <a:pt x="154" y="497"/>
                  </a:lnTo>
                  <a:lnTo>
                    <a:pt x="168" y="504"/>
                  </a:lnTo>
                  <a:lnTo>
                    <a:pt x="182" y="508"/>
                  </a:lnTo>
                  <a:lnTo>
                    <a:pt x="193" y="511"/>
                  </a:lnTo>
                  <a:lnTo>
                    <a:pt x="214" y="522"/>
                  </a:lnTo>
                  <a:lnTo>
                    <a:pt x="280" y="522"/>
                  </a:lnTo>
                  <a:lnTo>
                    <a:pt x="294" y="525"/>
                  </a:lnTo>
                  <a:lnTo>
                    <a:pt x="305" y="525"/>
                  </a:lnTo>
                  <a:lnTo>
                    <a:pt x="322" y="529"/>
                  </a:lnTo>
                  <a:lnTo>
                    <a:pt x="368" y="529"/>
                  </a:lnTo>
                  <a:lnTo>
                    <a:pt x="389" y="532"/>
                  </a:lnTo>
                  <a:lnTo>
                    <a:pt x="466" y="532"/>
                  </a:lnTo>
                  <a:lnTo>
                    <a:pt x="490" y="536"/>
                  </a:lnTo>
                  <a:lnTo>
                    <a:pt x="508" y="536"/>
                  </a:lnTo>
                  <a:lnTo>
                    <a:pt x="536" y="539"/>
                  </a:lnTo>
                  <a:lnTo>
                    <a:pt x="553" y="539"/>
                  </a:lnTo>
                  <a:lnTo>
                    <a:pt x="585" y="543"/>
                  </a:lnTo>
                  <a:lnTo>
                    <a:pt x="599" y="543"/>
                  </a:lnTo>
                  <a:lnTo>
                    <a:pt x="638" y="546"/>
                  </a:lnTo>
                  <a:lnTo>
                    <a:pt x="648" y="546"/>
                  </a:lnTo>
                  <a:lnTo>
                    <a:pt x="694" y="550"/>
                  </a:lnTo>
                  <a:lnTo>
                    <a:pt x="697" y="550"/>
                  </a:lnTo>
                  <a:cubicBezTo>
                    <a:pt x="837" y="560"/>
                    <a:pt x="991" y="567"/>
                    <a:pt x="1135" y="571"/>
                  </a:cubicBezTo>
                  <a:lnTo>
                    <a:pt x="1509" y="571"/>
                  </a:lnTo>
                  <a:lnTo>
                    <a:pt x="1530" y="567"/>
                  </a:lnTo>
                  <a:lnTo>
                    <a:pt x="1537" y="567"/>
                  </a:lnTo>
                  <a:cubicBezTo>
                    <a:pt x="1541" y="508"/>
                    <a:pt x="1544" y="448"/>
                    <a:pt x="1555" y="385"/>
                  </a:cubicBezTo>
                  <a:cubicBezTo>
                    <a:pt x="1558" y="336"/>
                    <a:pt x="1565" y="291"/>
                    <a:pt x="1565" y="266"/>
                  </a:cubicBezTo>
                  <a:cubicBezTo>
                    <a:pt x="1565" y="263"/>
                    <a:pt x="1555" y="235"/>
                    <a:pt x="1506" y="203"/>
                  </a:cubicBezTo>
                  <a:cubicBezTo>
                    <a:pt x="1495" y="196"/>
                    <a:pt x="1488" y="193"/>
                    <a:pt x="1481" y="186"/>
                  </a:cubicBezTo>
                  <a:lnTo>
                    <a:pt x="1464" y="179"/>
                  </a:lnTo>
                  <a:lnTo>
                    <a:pt x="1457" y="172"/>
                  </a:lnTo>
                  <a:lnTo>
                    <a:pt x="1439" y="165"/>
                  </a:lnTo>
                  <a:lnTo>
                    <a:pt x="1432" y="161"/>
                  </a:lnTo>
                  <a:lnTo>
                    <a:pt x="1418" y="158"/>
                  </a:lnTo>
                  <a:lnTo>
                    <a:pt x="1411" y="154"/>
                  </a:lnTo>
                  <a:lnTo>
                    <a:pt x="1401" y="151"/>
                  </a:lnTo>
                  <a:lnTo>
                    <a:pt x="1355" y="151"/>
                  </a:lnTo>
                  <a:lnTo>
                    <a:pt x="1348" y="154"/>
                  </a:lnTo>
                  <a:cubicBezTo>
                    <a:pt x="1328" y="162"/>
                    <a:pt x="1305" y="166"/>
                    <a:pt x="1279" y="166"/>
                  </a:cubicBezTo>
                  <a:cubicBezTo>
                    <a:pt x="1164" y="166"/>
                    <a:pt x="1006" y="90"/>
                    <a:pt x="946" y="7"/>
                  </a:cubicBezTo>
                  <a:cubicBezTo>
                    <a:pt x="946" y="4"/>
                    <a:pt x="942" y="4"/>
                    <a:pt x="942"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220" name="Google Shape;6220;p104"/>
            <p:cNvSpPr/>
            <p:nvPr/>
          </p:nvSpPr>
          <p:spPr>
            <a:xfrm>
              <a:off x="2688889" y="1342735"/>
              <a:ext cx="3394" cy="828"/>
            </a:xfrm>
            <a:custGeom>
              <a:avLst/>
              <a:gdLst/>
              <a:ahLst/>
              <a:cxnLst/>
              <a:rect l="l" t="t" r="r" b="b"/>
              <a:pathLst>
                <a:path w="250" h="61" extrusionOk="0">
                  <a:moveTo>
                    <a:pt x="1" y="1"/>
                  </a:moveTo>
                  <a:lnTo>
                    <a:pt x="1" y="1"/>
                  </a:lnTo>
                  <a:cubicBezTo>
                    <a:pt x="62" y="40"/>
                    <a:pt x="136" y="61"/>
                    <a:pt x="211" y="61"/>
                  </a:cubicBezTo>
                  <a:cubicBezTo>
                    <a:pt x="217" y="61"/>
                    <a:pt x="222" y="61"/>
                    <a:pt x="228" y="60"/>
                  </a:cubicBezTo>
                  <a:lnTo>
                    <a:pt x="249" y="60"/>
                  </a:lnTo>
                  <a:cubicBezTo>
                    <a:pt x="218" y="53"/>
                    <a:pt x="186" y="46"/>
                    <a:pt x="151" y="36"/>
                  </a:cubicBezTo>
                  <a:cubicBezTo>
                    <a:pt x="102" y="18"/>
                    <a:pt x="50" y="8"/>
                    <a:pt x="1" y="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221" name="Google Shape;6221;p104"/>
            <p:cNvSpPr/>
            <p:nvPr/>
          </p:nvSpPr>
          <p:spPr>
            <a:xfrm>
              <a:off x="3095345" y="1594612"/>
              <a:ext cx="18737" cy="78777"/>
            </a:xfrm>
            <a:custGeom>
              <a:avLst/>
              <a:gdLst/>
              <a:ahLst/>
              <a:cxnLst/>
              <a:rect l="l" t="t" r="r" b="b"/>
              <a:pathLst>
                <a:path w="1380" h="5802" extrusionOk="0">
                  <a:moveTo>
                    <a:pt x="417" y="1"/>
                  </a:moveTo>
                  <a:cubicBezTo>
                    <a:pt x="382" y="32"/>
                    <a:pt x="375" y="116"/>
                    <a:pt x="371" y="197"/>
                  </a:cubicBezTo>
                  <a:cubicBezTo>
                    <a:pt x="357" y="344"/>
                    <a:pt x="340" y="540"/>
                    <a:pt x="144" y="564"/>
                  </a:cubicBezTo>
                  <a:cubicBezTo>
                    <a:pt x="98" y="571"/>
                    <a:pt x="84" y="582"/>
                    <a:pt x="81" y="585"/>
                  </a:cubicBezTo>
                  <a:cubicBezTo>
                    <a:pt x="70" y="603"/>
                    <a:pt x="77" y="666"/>
                    <a:pt x="88" y="722"/>
                  </a:cubicBezTo>
                  <a:cubicBezTo>
                    <a:pt x="119" y="855"/>
                    <a:pt x="116" y="988"/>
                    <a:pt x="84" y="1118"/>
                  </a:cubicBezTo>
                  <a:cubicBezTo>
                    <a:pt x="0" y="1398"/>
                    <a:pt x="119" y="1835"/>
                    <a:pt x="259" y="2154"/>
                  </a:cubicBezTo>
                  <a:cubicBezTo>
                    <a:pt x="333" y="2315"/>
                    <a:pt x="287" y="2770"/>
                    <a:pt x="238" y="3257"/>
                  </a:cubicBezTo>
                  <a:cubicBezTo>
                    <a:pt x="200" y="3670"/>
                    <a:pt x="151" y="4139"/>
                    <a:pt x="210" y="4251"/>
                  </a:cubicBezTo>
                  <a:cubicBezTo>
                    <a:pt x="284" y="4398"/>
                    <a:pt x="238" y="4709"/>
                    <a:pt x="165" y="5168"/>
                  </a:cubicBezTo>
                  <a:cubicBezTo>
                    <a:pt x="126" y="5399"/>
                    <a:pt x="74" y="5721"/>
                    <a:pt x="105" y="5777"/>
                  </a:cubicBezTo>
                  <a:lnTo>
                    <a:pt x="116" y="5788"/>
                  </a:lnTo>
                  <a:cubicBezTo>
                    <a:pt x="119" y="5770"/>
                    <a:pt x="126" y="5753"/>
                    <a:pt x="130" y="5735"/>
                  </a:cubicBezTo>
                  <a:cubicBezTo>
                    <a:pt x="158" y="5620"/>
                    <a:pt x="207" y="5427"/>
                    <a:pt x="399" y="5399"/>
                  </a:cubicBezTo>
                  <a:cubicBezTo>
                    <a:pt x="420" y="5396"/>
                    <a:pt x="438" y="5392"/>
                    <a:pt x="459" y="5392"/>
                  </a:cubicBezTo>
                  <a:cubicBezTo>
                    <a:pt x="638" y="5392"/>
                    <a:pt x="718" y="5539"/>
                    <a:pt x="781" y="5648"/>
                  </a:cubicBezTo>
                  <a:cubicBezTo>
                    <a:pt x="816" y="5714"/>
                    <a:pt x="851" y="5781"/>
                    <a:pt x="900" y="5802"/>
                  </a:cubicBezTo>
                  <a:cubicBezTo>
                    <a:pt x="911" y="5714"/>
                    <a:pt x="897" y="5620"/>
                    <a:pt x="858" y="5539"/>
                  </a:cubicBezTo>
                  <a:cubicBezTo>
                    <a:pt x="827" y="5466"/>
                    <a:pt x="799" y="5448"/>
                    <a:pt x="795" y="5445"/>
                  </a:cubicBezTo>
                  <a:cubicBezTo>
                    <a:pt x="783" y="5447"/>
                    <a:pt x="772" y="5448"/>
                    <a:pt x="761" y="5448"/>
                  </a:cubicBezTo>
                  <a:cubicBezTo>
                    <a:pt x="582" y="5448"/>
                    <a:pt x="469" y="5138"/>
                    <a:pt x="350" y="4765"/>
                  </a:cubicBezTo>
                  <a:lnTo>
                    <a:pt x="347" y="4755"/>
                  </a:lnTo>
                  <a:cubicBezTo>
                    <a:pt x="298" y="4590"/>
                    <a:pt x="354" y="4422"/>
                    <a:pt x="413" y="4244"/>
                  </a:cubicBezTo>
                  <a:cubicBezTo>
                    <a:pt x="459" y="4114"/>
                    <a:pt x="504" y="3978"/>
                    <a:pt x="504" y="3845"/>
                  </a:cubicBezTo>
                  <a:cubicBezTo>
                    <a:pt x="504" y="3712"/>
                    <a:pt x="568" y="3607"/>
                    <a:pt x="680" y="3561"/>
                  </a:cubicBezTo>
                  <a:cubicBezTo>
                    <a:pt x="723" y="3543"/>
                    <a:pt x="771" y="3535"/>
                    <a:pt x="822" y="3535"/>
                  </a:cubicBezTo>
                  <a:cubicBezTo>
                    <a:pt x="971" y="3535"/>
                    <a:pt x="1139" y="3608"/>
                    <a:pt x="1264" y="3736"/>
                  </a:cubicBezTo>
                  <a:cubicBezTo>
                    <a:pt x="1299" y="3771"/>
                    <a:pt x="1338" y="3803"/>
                    <a:pt x="1380" y="3831"/>
                  </a:cubicBezTo>
                  <a:cubicBezTo>
                    <a:pt x="1373" y="3789"/>
                    <a:pt x="1359" y="3750"/>
                    <a:pt x="1338" y="3719"/>
                  </a:cubicBezTo>
                  <a:cubicBezTo>
                    <a:pt x="1285" y="3621"/>
                    <a:pt x="1187" y="3264"/>
                    <a:pt x="1072" y="2847"/>
                  </a:cubicBezTo>
                  <a:cubicBezTo>
                    <a:pt x="963" y="2451"/>
                    <a:pt x="841" y="2000"/>
                    <a:pt x="753" y="1769"/>
                  </a:cubicBezTo>
                  <a:cubicBezTo>
                    <a:pt x="666" y="1534"/>
                    <a:pt x="715" y="1307"/>
                    <a:pt x="760" y="1107"/>
                  </a:cubicBezTo>
                  <a:cubicBezTo>
                    <a:pt x="816" y="869"/>
                    <a:pt x="841" y="732"/>
                    <a:pt x="708" y="634"/>
                  </a:cubicBezTo>
                  <a:cubicBezTo>
                    <a:pt x="508" y="484"/>
                    <a:pt x="466" y="249"/>
                    <a:pt x="438" y="95"/>
                  </a:cubicBezTo>
                  <a:cubicBezTo>
                    <a:pt x="431" y="64"/>
                    <a:pt x="424" y="25"/>
                    <a:pt x="417" y="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222" name="Google Shape;6222;p104"/>
            <p:cNvSpPr/>
            <p:nvPr/>
          </p:nvSpPr>
          <p:spPr>
            <a:xfrm>
              <a:off x="2726485" y="1235772"/>
              <a:ext cx="39185" cy="27603"/>
            </a:xfrm>
            <a:custGeom>
              <a:avLst/>
              <a:gdLst/>
              <a:ahLst/>
              <a:cxnLst/>
              <a:rect l="l" t="t" r="r" b="b"/>
              <a:pathLst>
                <a:path w="2886" h="2033" extrusionOk="0">
                  <a:moveTo>
                    <a:pt x="2063" y="0"/>
                  </a:moveTo>
                  <a:cubicBezTo>
                    <a:pt x="2044" y="0"/>
                    <a:pt x="2016" y="18"/>
                    <a:pt x="1947" y="61"/>
                  </a:cubicBezTo>
                  <a:cubicBezTo>
                    <a:pt x="1769" y="184"/>
                    <a:pt x="1569" y="268"/>
                    <a:pt x="1359" y="306"/>
                  </a:cubicBezTo>
                  <a:cubicBezTo>
                    <a:pt x="887" y="401"/>
                    <a:pt x="740" y="495"/>
                    <a:pt x="718" y="527"/>
                  </a:cubicBezTo>
                  <a:cubicBezTo>
                    <a:pt x="732" y="537"/>
                    <a:pt x="747" y="544"/>
                    <a:pt x="761" y="551"/>
                  </a:cubicBezTo>
                  <a:cubicBezTo>
                    <a:pt x="866" y="604"/>
                    <a:pt x="911" y="695"/>
                    <a:pt x="883" y="797"/>
                  </a:cubicBezTo>
                  <a:cubicBezTo>
                    <a:pt x="850" y="920"/>
                    <a:pt x="693" y="1050"/>
                    <a:pt x="511" y="1050"/>
                  </a:cubicBezTo>
                  <a:cubicBezTo>
                    <a:pt x="502" y="1050"/>
                    <a:pt x="493" y="1049"/>
                    <a:pt x="484" y="1049"/>
                  </a:cubicBezTo>
                  <a:cubicBezTo>
                    <a:pt x="479" y="1048"/>
                    <a:pt x="474" y="1048"/>
                    <a:pt x="470" y="1048"/>
                  </a:cubicBezTo>
                  <a:cubicBezTo>
                    <a:pt x="411" y="1048"/>
                    <a:pt x="368" y="1069"/>
                    <a:pt x="358" y="1108"/>
                  </a:cubicBezTo>
                  <a:cubicBezTo>
                    <a:pt x="347" y="1161"/>
                    <a:pt x="396" y="1241"/>
                    <a:pt x="533" y="1297"/>
                  </a:cubicBezTo>
                  <a:cubicBezTo>
                    <a:pt x="645" y="1343"/>
                    <a:pt x="771" y="1409"/>
                    <a:pt x="750" y="1507"/>
                  </a:cubicBezTo>
                  <a:cubicBezTo>
                    <a:pt x="732" y="1595"/>
                    <a:pt x="620" y="1633"/>
                    <a:pt x="375" y="1633"/>
                  </a:cubicBezTo>
                  <a:cubicBezTo>
                    <a:pt x="366" y="1633"/>
                    <a:pt x="357" y="1633"/>
                    <a:pt x="348" y="1633"/>
                  </a:cubicBezTo>
                  <a:cubicBezTo>
                    <a:pt x="231" y="1633"/>
                    <a:pt x="111" y="1654"/>
                    <a:pt x="1" y="1696"/>
                  </a:cubicBezTo>
                  <a:lnTo>
                    <a:pt x="11" y="1700"/>
                  </a:lnTo>
                  <a:cubicBezTo>
                    <a:pt x="78" y="1731"/>
                    <a:pt x="134" y="1777"/>
                    <a:pt x="176" y="1833"/>
                  </a:cubicBezTo>
                  <a:cubicBezTo>
                    <a:pt x="253" y="1931"/>
                    <a:pt x="365" y="2001"/>
                    <a:pt x="487" y="2022"/>
                  </a:cubicBezTo>
                  <a:cubicBezTo>
                    <a:pt x="524" y="2029"/>
                    <a:pt x="560" y="2033"/>
                    <a:pt x="597" y="2033"/>
                  </a:cubicBezTo>
                  <a:cubicBezTo>
                    <a:pt x="731" y="2033"/>
                    <a:pt x="861" y="1983"/>
                    <a:pt x="964" y="1889"/>
                  </a:cubicBezTo>
                  <a:cubicBezTo>
                    <a:pt x="1027" y="1829"/>
                    <a:pt x="1065" y="1759"/>
                    <a:pt x="1055" y="1707"/>
                  </a:cubicBezTo>
                  <a:cubicBezTo>
                    <a:pt x="1023" y="1528"/>
                    <a:pt x="1405" y="1420"/>
                    <a:pt x="2273" y="1252"/>
                  </a:cubicBezTo>
                  <a:cubicBezTo>
                    <a:pt x="2413" y="1224"/>
                    <a:pt x="2535" y="1199"/>
                    <a:pt x="2609" y="1182"/>
                  </a:cubicBezTo>
                  <a:cubicBezTo>
                    <a:pt x="2644" y="1171"/>
                    <a:pt x="2661" y="1161"/>
                    <a:pt x="2665" y="1154"/>
                  </a:cubicBezTo>
                  <a:cubicBezTo>
                    <a:pt x="2675" y="1133"/>
                    <a:pt x="2647" y="1070"/>
                    <a:pt x="2626" y="1031"/>
                  </a:cubicBezTo>
                  <a:cubicBezTo>
                    <a:pt x="2591" y="961"/>
                    <a:pt x="2553" y="881"/>
                    <a:pt x="2591" y="814"/>
                  </a:cubicBezTo>
                  <a:cubicBezTo>
                    <a:pt x="2619" y="765"/>
                    <a:pt x="2675" y="737"/>
                    <a:pt x="2763" y="730"/>
                  </a:cubicBezTo>
                  <a:cubicBezTo>
                    <a:pt x="2805" y="727"/>
                    <a:pt x="2847" y="720"/>
                    <a:pt x="2886" y="706"/>
                  </a:cubicBezTo>
                  <a:cubicBezTo>
                    <a:pt x="2844" y="678"/>
                    <a:pt x="2731" y="629"/>
                    <a:pt x="2532" y="601"/>
                  </a:cubicBezTo>
                  <a:cubicBezTo>
                    <a:pt x="2203" y="551"/>
                    <a:pt x="2171" y="338"/>
                    <a:pt x="2147" y="180"/>
                  </a:cubicBezTo>
                  <a:cubicBezTo>
                    <a:pt x="2136" y="110"/>
                    <a:pt x="2129" y="47"/>
                    <a:pt x="2094" y="19"/>
                  </a:cubicBezTo>
                  <a:cubicBezTo>
                    <a:pt x="2082" y="7"/>
                    <a:pt x="2074" y="0"/>
                    <a:pt x="2063"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223" name="Google Shape;6223;p104"/>
            <p:cNvSpPr/>
            <p:nvPr/>
          </p:nvSpPr>
          <p:spPr>
            <a:xfrm>
              <a:off x="2452749" y="1237876"/>
              <a:ext cx="24249" cy="7875"/>
            </a:xfrm>
            <a:custGeom>
              <a:avLst/>
              <a:gdLst/>
              <a:ahLst/>
              <a:cxnLst/>
              <a:rect l="l" t="t" r="r" b="b"/>
              <a:pathLst>
                <a:path w="1786" h="580" extrusionOk="0">
                  <a:moveTo>
                    <a:pt x="477" y="1"/>
                  </a:moveTo>
                  <a:cubicBezTo>
                    <a:pt x="501" y="32"/>
                    <a:pt x="529" y="60"/>
                    <a:pt x="561" y="88"/>
                  </a:cubicBezTo>
                  <a:cubicBezTo>
                    <a:pt x="589" y="109"/>
                    <a:pt x="603" y="144"/>
                    <a:pt x="596" y="179"/>
                  </a:cubicBezTo>
                  <a:cubicBezTo>
                    <a:pt x="578" y="256"/>
                    <a:pt x="477" y="291"/>
                    <a:pt x="263" y="354"/>
                  </a:cubicBezTo>
                  <a:cubicBezTo>
                    <a:pt x="176" y="379"/>
                    <a:pt x="88" y="407"/>
                    <a:pt x="0" y="446"/>
                  </a:cubicBezTo>
                  <a:cubicBezTo>
                    <a:pt x="117" y="538"/>
                    <a:pt x="380" y="580"/>
                    <a:pt x="671" y="580"/>
                  </a:cubicBezTo>
                  <a:cubicBezTo>
                    <a:pt x="965" y="580"/>
                    <a:pt x="1288" y="537"/>
                    <a:pt x="1516" y="460"/>
                  </a:cubicBezTo>
                  <a:cubicBezTo>
                    <a:pt x="1698" y="400"/>
                    <a:pt x="1772" y="330"/>
                    <a:pt x="1779" y="288"/>
                  </a:cubicBezTo>
                  <a:cubicBezTo>
                    <a:pt x="1786" y="263"/>
                    <a:pt x="1782" y="235"/>
                    <a:pt x="1768" y="214"/>
                  </a:cubicBezTo>
                  <a:cubicBezTo>
                    <a:pt x="1745" y="186"/>
                    <a:pt x="1678" y="180"/>
                    <a:pt x="1598" y="180"/>
                  </a:cubicBezTo>
                  <a:cubicBezTo>
                    <a:pt x="1558" y="180"/>
                    <a:pt x="1514" y="182"/>
                    <a:pt x="1471" y="183"/>
                  </a:cubicBezTo>
                  <a:cubicBezTo>
                    <a:pt x="1421" y="185"/>
                    <a:pt x="1368" y="187"/>
                    <a:pt x="1313" y="187"/>
                  </a:cubicBezTo>
                  <a:cubicBezTo>
                    <a:pt x="1173" y="187"/>
                    <a:pt x="1020" y="174"/>
                    <a:pt x="879" y="116"/>
                  </a:cubicBezTo>
                  <a:cubicBezTo>
                    <a:pt x="666" y="25"/>
                    <a:pt x="533" y="1"/>
                    <a:pt x="477" y="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224" name="Google Shape;6224;p104"/>
            <p:cNvSpPr/>
            <p:nvPr/>
          </p:nvSpPr>
          <p:spPr>
            <a:xfrm>
              <a:off x="2405554" y="1415592"/>
              <a:ext cx="14406" cy="8065"/>
            </a:xfrm>
            <a:custGeom>
              <a:avLst/>
              <a:gdLst/>
              <a:ahLst/>
              <a:cxnLst/>
              <a:rect l="l" t="t" r="r" b="b"/>
              <a:pathLst>
                <a:path w="1061" h="594" extrusionOk="0">
                  <a:moveTo>
                    <a:pt x="489" y="1"/>
                  </a:moveTo>
                  <a:cubicBezTo>
                    <a:pt x="483" y="1"/>
                    <a:pt x="476" y="1"/>
                    <a:pt x="469" y="2"/>
                  </a:cubicBezTo>
                  <a:cubicBezTo>
                    <a:pt x="294" y="2"/>
                    <a:pt x="112" y="100"/>
                    <a:pt x="49" y="215"/>
                  </a:cubicBezTo>
                  <a:cubicBezTo>
                    <a:pt x="0" y="303"/>
                    <a:pt x="21" y="387"/>
                    <a:pt x="109" y="467"/>
                  </a:cubicBezTo>
                  <a:cubicBezTo>
                    <a:pt x="206" y="558"/>
                    <a:pt x="299" y="593"/>
                    <a:pt x="388" y="593"/>
                  </a:cubicBezTo>
                  <a:cubicBezTo>
                    <a:pt x="544" y="593"/>
                    <a:pt x="688" y="485"/>
                    <a:pt x="819" y="387"/>
                  </a:cubicBezTo>
                  <a:cubicBezTo>
                    <a:pt x="910" y="317"/>
                    <a:pt x="987" y="261"/>
                    <a:pt x="1061" y="243"/>
                  </a:cubicBezTo>
                  <a:cubicBezTo>
                    <a:pt x="1001" y="187"/>
                    <a:pt x="812" y="79"/>
                    <a:pt x="581" y="16"/>
                  </a:cubicBezTo>
                  <a:cubicBezTo>
                    <a:pt x="550" y="7"/>
                    <a:pt x="520" y="1"/>
                    <a:pt x="489" y="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225" name="Google Shape;6225;p104"/>
            <p:cNvSpPr/>
            <p:nvPr/>
          </p:nvSpPr>
          <p:spPr>
            <a:xfrm>
              <a:off x="2399471" y="1241556"/>
              <a:ext cx="30047" cy="12613"/>
            </a:xfrm>
            <a:custGeom>
              <a:avLst/>
              <a:gdLst/>
              <a:ahLst/>
              <a:cxnLst/>
              <a:rect l="l" t="t" r="r" b="b"/>
              <a:pathLst>
                <a:path w="2213" h="929" extrusionOk="0">
                  <a:moveTo>
                    <a:pt x="1672" y="0"/>
                  </a:moveTo>
                  <a:cubicBezTo>
                    <a:pt x="1466" y="0"/>
                    <a:pt x="1275" y="85"/>
                    <a:pt x="1229" y="168"/>
                  </a:cubicBezTo>
                  <a:cubicBezTo>
                    <a:pt x="1218" y="185"/>
                    <a:pt x="1215" y="196"/>
                    <a:pt x="1246" y="220"/>
                  </a:cubicBezTo>
                  <a:cubicBezTo>
                    <a:pt x="1299" y="255"/>
                    <a:pt x="1320" y="297"/>
                    <a:pt x="1309" y="343"/>
                  </a:cubicBezTo>
                  <a:cubicBezTo>
                    <a:pt x="1285" y="427"/>
                    <a:pt x="1152" y="448"/>
                    <a:pt x="928" y="476"/>
                  </a:cubicBezTo>
                  <a:cubicBezTo>
                    <a:pt x="788" y="497"/>
                    <a:pt x="553" y="528"/>
                    <a:pt x="518" y="581"/>
                  </a:cubicBezTo>
                  <a:cubicBezTo>
                    <a:pt x="452" y="675"/>
                    <a:pt x="308" y="707"/>
                    <a:pt x="182" y="735"/>
                  </a:cubicBezTo>
                  <a:cubicBezTo>
                    <a:pt x="119" y="749"/>
                    <a:pt x="18" y="770"/>
                    <a:pt x="0" y="794"/>
                  </a:cubicBezTo>
                  <a:cubicBezTo>
                    <a:pt x="0" y="794"/>
                    <a:pt x="0" y="798"/>
                    <a:pt x="4" y="805"/>
                  </a:cubicBezTo>
                  <a:cubicBezTo>
                    <a:pt x="28" y="850"/>
                    <a:pt x="158" y="906"/>
                    <a:pt x="364" y="924"/>
                  </a:cubicBezTo>
                  <a:cubicBezTo>
                    <a:pt x="407" y="927"/>
                    <a:pt x="448" y="928"/>
                    <a:pt x="486" y="928"/>
                  </a:cubicBezTo>
                  <a:cubicBezTo>
                    <a:pt x="651" y="928"/>
                    <a:pt x="761" y="901"/>
                    <a:pt x="784" y="878"/>
                  </a:cubicBezTo>
                  <a:cubicBezTo>
                    <a:pt x="791" y="738"/>
                    <a:pt x="959" y="735"/>
                    <a:pt x="1071" y="731"/>
                  </a:cubicBezTo>
                  <a:cubicBezTo>
                    <a:pt x="1120" y="731"/>
                    <a:pt x="1208" y="731"/>
                    <a:pt x="1225" y="714"/>
                  </a:cubicBezTo>
                  <a:cubicBezTo>
                    <a:pt x="1232" y="633"/>
                    <a:pt x="1313" y="364"/>
                    <a:pt x="1929" y="318"/>
                  </a:cubicBezTo>
                  <a:cubicBezTo>
                    <a:pt x="2181" y="301"/>
                    <a:pt x="2213" y="248"/>
                    <a:pt x="2213" y="248"/>
                  </a:cubicBezTo>
                  <a:cubicBezTo>
                    <a:pt x="2213" y="248"/>
                    <a:pt x="2202" y="178"/>
                    <a:pt x="1939" y="55"/>
                  </a:cubicBezTo>
                  <a:cubicBezTo>
                    <a:pt x="1854" y="16"/>
                    <a:pt x="1762" y="0"/>
                    <a:pt x="1672"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226" name="Google Shape;6226;p104"/>
            <p:cNvSpPr/>
            <p:nvPr/>
          </p:nvSpPr>
          <p:spPr>
            <a:xfrm>
              <a:off x="2429179" y="1308887"/>
              <a:ext cx="131865" cy="90535"/>
            </a:xfrm>
            <a:custGeom>
              <a:avLst/>
              <a:gdLst/>
              <a:ahLst/>
              <a:cxnLst/>
              <a:rect l="l" t="t" r="r" b="b"/>
              <a:pathLst>
                <a:path w="9712" h="6668" extrusionOk="0">
                  <a:moveTo>
                    <a:pt x="9297" y="0"/>
                  </a:moveTo>
                  <a:cubicBezTo>
                    <a:pt x="8855" y="0"/>
                    <a:pt x="8218" y="261"/>
                    <a:pt x="8034" y="411"/>
                  </a:cubicBezTo>
                  <a:cubicBezTo>
                    <a:pt x="7873" y="540"/>
                    <a:pt x="7688" y="551"/>
                    <a:pt x="7506" y="558"/>
                  </a:cubicBezTo>
                  <a:cubicBezTo>
                    <a:pt x="7369" y="565"/>
                    <a:pt x="7240" y="568"/>
                    <a:pt x="7135" y="628"/>
                  </a:cubicBezTo>
                  <a:cubicBezTo>
                    <a:pt x="6953" y="731"/>
                    <a:pt x="6653" y="818"/>
                    <a:pt x="6383" y="818"/>
                  </a:cubicBezTo>
                  <a:cubicBezTo>
                    <a:pt x="6231" y="818"/>
                    <a:pt x="6089" y="790"/>
                    <a:pt x="5983" y="722"/>
                  </a:cubicBezTo>
                  <a:cubicBezTo>
                    <a:pt x="5945" y="697"/>
                    <a:pt x="5904" y="687"/>
                    <a:pt x="5861" y="687"/>
                  </a:cubicBezTo>
                  <a:cubicBezTo>
                    <a:pt x="5756" y="687"/>
                    <a:pt x="5640" y="750"/>
                    <a:pt x="5528" y="810"/>
                  </a:cubicBezTo>
                  <a:cubicBezTo>
                    <a:pt x="5422" y="869"/>
                    <a:pt x="5319" y="926"/>
                    <a:pt x="5222" y="926"/>
                  </a:cubicBezTo>
                  <a:cubicBezTo>
                    <a:pt x="5217" y="926"/>
                    <a:pt x="5211" y="926"/>
                    <a:pt x="5206" y="925"/>
                  </a:cubicBezTo>
                  <a:cubicBezTo>
                    <a:pt x="5200" y="925"/>
                    <a:pt x="5194" y="925"/>
                    <a:pt x="5188" y="925"/>
                  </a:cubicBezTo>
                  <a:cubicBezTo>
                    <a:pt x="5105" y="925"/>
                    <a:pt x="5013" y="967"/>
                    <a:pt x="4912" y="1013"/>
                  </a:cubicBezTo>
                  <a:cubicBezTo>
                    <a:pt x="4796" y="1065"/>
                    <a:pt x="4679" y="1119"/>
                    <a:pt x="4558" y="1119"/>
                  </a:cubicBezTo>
                  <a:cubicBezTo>
                    <a:pt x="4547" y="1119"/>
                    <a:pt x="4537" y="1119"/>
                    <a:pt x="4527" y="1118"/>
                  </a:cubicBezTo>
                  <a:cubicBezTo>
                    <a:pt x="4519" y="1117"/>
                    <a:pt x="4511" y="1117"/>
                    <a:pt x="4503" y="1117"/>
                  </a:cubicBezTo>
                  <a:cubicBezTo>
                    <a:pt x="4282" y="1117"/>
                    <a:pt x="3903" y="1299"/>
                    <a:pt x="3886" y="1377"/>
                  </a:cubicBezTo>
                  <a:cubicBezTo>
                    <a:pt x="3861" y="1472"/>
                    <a:pt x="3746" y="1503"/>
                    <a:pt x="3637" y="1535"/>
                  </a:cubicBezTo>
                  <a:cubicBezTo>
                    <a:pt x="3564" y="1556"/>
                    <a:pt x="3466" y="1580"/>
                    <a:pt x="3466" y="1619"/>
                  </a:cubicBezTo>
                  <a:cubicBezTo>
                    <a:pt x="3466" y="1717"/>
                    <a:pt x="3389" y="1815"/>
                    <a:pt x="3266" y="1867"/>
                  </a:cubicBezTo>
                  <a:cubicBezTo>
                    <a:pt x="3216" y="1890"/>
                    <a:pt x="3155" y="1906"/>
                    <a:pt x="3093" y="1906"/>
                  </a:cubicBezTo>
                  <a:cubicBezTo>
                    <a:pt x="3021" y="1906"/>
                    <a:pt x="2948" y="1885"/>
                    <a:pt x="2888" y="1829"/>
                  </a:cubicBezTo>
                  <a:cubicBezTo>
                    <a:pt x="2876" y="1815"/>
                    <a:pt x="2859" y="1808"/>
                    <a:pt x="2843" y="1808"/>
                  </a:cubicBezTo>
                  <a:cubicBezTo>
                    <a:pt x="2827" y="1808"/>
                    <a:pt x="2811" y="1815"/>
                    <a:pt x="2801" y="1829"/>
                  </a:cubicBezTo>
                  <a:cubicBezTo>
                    <a:pt x="2752" y="1878"/>
                    <a:pt x="2734" y="2000"/>
                    <a:pt x="2846" y="2102"/>
                  </a:cubicBezTo>
                  <a:cubicBezTo>
                    <a:pt x="2899" y="2154"/>
                    <a:pt x="2923" y="2207"/>
                    <a:pt x="2913" y="2259"/>
                  </a:cubicBezTo>
                  <a:cubicBezTo>
                    <a:pt x="2892" y="2354"/>
                    <a:pt x="2776" y="2396"/>
                    <a:pt x="2664" y="2438"/>
                  </a:cubicBezTo>
                  <a:cubicBezTo>
                    <a:pt x="2626" y="2452"/>
                    <a:pt x="2591" y="2466"/>
                    <a:pt x="2556" y="2483"/>
                  </a:cubicBezTo>
                  <a:cubicBezTo>
                    <a:pt x="2573" y="2508"/>
                    <a:pt x="2584" y="2536"/>
                    <a:pt x="2580" y="2567"/>
                  </a:cubicBezTo>
                  <a:cubicBezTo>
                    <a:pt x="2577" y="2637"/>
                    <a:pt x="2517" y="2683"/>
                    <a:pt x="2465" y="2732"/>
                  </a:cubicBezTo>
                  <a:cubicBezTo>
                    <a:pt x="2395" y="2788"/>
                    <a:pt x="2377" y="2812"/>
                    <a:pt x="2388" y="2830"/>
                  </a:cubicBezTo>
                  <a:cubicBezTo>
                    <a:pt x="2412" y="2872"/>
                    <a:pt x="2416" y="2921"/>
                    <a:pt x="2398" y="2963"/>
                  </a:cubicBezTo>
                  <a:cubicBezTo>
                    <a:pt x="2346" y="3078"/>
                    <a:pt x="2139" y="3117"/>
                    <a:pt x="1926" y="3159"/>
                  </a:cubicBezTo>
                  <a:lnTo>
                    <a:pt x="1873" y="3169"/>
                  </a:lnTo>
                  <a:cubicBezTo>
                    <a:pt x="1761" y="3190"/>
                    <a:pt x="1677" y="3292"/>
                    <a:pt x="1684" y="3362"/>
                  </a:cubicBezTo>
                  <a:cubicBezTo>
                    <a:pt x="1687" y="3411"/>
                    <a:pt x="1750" y="3425"/>
                    <a:pt x="1799" y="3428"/>
                  </a:cubicBezTo>
                  <a:cubicBezTo>
                    <a:pt x="1880" y="3432"/>
                    <a:pt x="1950" y="3435"/>
                    <a:pt x="1964" y="3499"/>
                  </a:cubicBezTo>
                  <a:cubicBezTo>
                    <a:pt x="1978" y="3558"/>
                    <a:pt x="1926" y="3583"/>
                    <a:pt x="1877" y="3611"/>
                  </a:cubicBezTo>
                  <a:cubicBezTo>
                    <a:pt x="1789" y="3656"/>
                    <a:pt x="1705" y="3712"/>
                    <a:pt x="1715" y="3793"/>
                  </a:cubicBezTo>
                  <a:cubicBezTo>
                    <a:pt x="1726" y="3838"/>
                    <a:pt x="1712" y="3887"/>
                    <a:pt x="1684" y="3926"/>
                  </a:cubicBezTo>
                  <a:cubicBezTo>
                    <a:pt x="1621" y="4003"/>
                    <a:pt x="1498" y="4013"/>
                    <a:pt x="1379" y="4020"/>
                  </a:cubicBezTo>
                  <a:cubicBezTo>
                    <a:pt x="1330" y="4020"/>
                    <a:pt x="1281" y="4027"/>
                    <a:pt x="1232" y="4041"/>
                  </a:cubicBezTo>
                  <a:cubicBezTo>
                    <a:pt x="1243" y="4122"/>
                    <a:pt x="1218" y="4199"/>
                    <a:pt x="1166" y="4262"/>
                  </a:cubicBezTo>
                  <a:cubicBezTo>
                    <a:pt x="1092" y="4342"/>
                    <a:pt x="966" y="4381"/>
                    <a:pt x="777" y="4381"/>
                  </a:cubicBezTo>
                  <a:lnTo>
                    <a:pt x="819" y="4416"/>
                  </a:lnTo>
                  <a:cubicBezTo>
                    <a:pt x="907" y="4493"/>
                    <a:pt x="1001" y="4577"/>
                    <a:pt x="1019" y="4675"/>
                  </a:cubicBezTo>
                  <a:cubicBezTo>
                    <a:pt x="1047" y="4815"/>
                    <a:pt x="924" y="4850"/>
                    <a:pt x="854" y="4871"/>
                  </a:cubicBezTo>
                  <a:cubicBezTo>
                    <a:pt x="756" y="4895"/>
                    <a:pt x="704" y="4916"/>
                    <a:pt x="697" y="5014"/>
                  </a:cubicBezTo>
                  <a:cubicBezTo>
                    <a:pt x="686" y="5203"/>
                    <a:pt x="501" y="5214"/>
                    <a:pt x="347" y="5221"/>
                  </a:cubicBezTo>
                  <a:cubicBezTo>
                    <a:pt x="161" y="5235"/>
                    <a:pt x="46" y="5249"/>
                    <a:pt x="14" y="5382"/>
                  </a:cubicBezTo>
                  <a:cubicBezTo>
                    <a:pt x="0" y="5455"/>
                    <a:pt x="4" y="5508"/>
                    <a:pt x="32" y="5543"/>
                  </a:cubicBezTo>
                  <a:cubicBezTo>
                    <a:pt x="91" y="5613"/>
                    <a:pt x="252" y="5617"/>
                    <a:pt x="396" y="5624"/>
                  </a:cubicBezTo>
                  <a:cubicBezTo>
                    <a:pt x="434" y="5624"/>
                    <a:pt x="473" y="5624"/>
                    <a:pt x="511" y="5627"/>
                  </a:cubicBezTo>
                  <a:cubicBezTo>
                    <a:pt x="515" y="5627"/>
                    <a:pt x="518" y="5627"/>
                    <a:pt x="522" y="5627"/>
                  </a:cubicBezTo>
                  <a:cubicBezTo>
                    <a:pt x="573" y="5627"/>
                    <a:pt x="618" y="5651"/>
                    <a:pt x="651" y="5694"/>
                  </a:cubicBezTo>
                  <a:cubicBezTo>
                    <a:pt x="686" y="5750"/>
                    <a:pt x="662" y="5816"/>
                    <a:pt x="637" y="5872"/>
                  </a:cubicBezTo>
                  <a:cubicBezTo>
                    <a:pt x="599" y="5974"/>
                    <a:pt x="595" y="6009"/>
                    <a:pt x="641" y="6044"/>
                  </a:cubicBezTo>
                  <a:cubicBezTo>
                    <a:pt x="712" y="6097"/>
                    <a:pt x="762" y="6112"/>
                    <a:pt x="784" y="6112"/>
                  </a:cubicBezTo>
                  <a:cubicBezTo>
                    <a:pt x="789" y="6112"/>
                    <a:pt x="793" y="6111"/>
                    <a:pt x="795" y="6110"/>
                  </a:cubicBezTo>
                  <a:cubicBezTo>
                    <a:pt x="795" y="6110"/>
                    <a:pt x="812" y="6072"/>
                    <a:pt x="753" y="5946"/>
                  </a:cubicBezTo>
                  <a:cubicBezTo>
                    <a:pt x="700" y="5834"/>
                    <a:pt x="763" y="5785"/>
                    <a:pt x="784" y="5774"/>
                  </a:cubicBezTo>
                  <a:cubicBezTo>
                    <a:pt x="809" y="5760"/>
                    <a:pt x="833" y="5757"/>
                    <a:pt x="861" y="5757"/>
                  </a:cubicBezTo>
                  <a:cubicBezTo>
                    <a:pt x="1001" y="5757"/>
                    <a:pt x="1222" y="5879"/>
                    <a:pt x="1313" y="6005"/>
                  </a:cubicBezTo>
                  <a:cubicBezTo>
                    <a:pt x="1383" y="6103"/>
                    <a:pt x="1376" y="6205"/>
                    <a:pt x="1292" y="6275"/>
                  </a:cubicBezTo>
                  <a:cubicBezTo>
                    <a:pt x="1274" y="6289"/>
                    <a:pt x="1257" y="6310"/>
                    <a:pt x="1260" y="6327"/>
                  </a:cubicBezTo>
                  <a:cubicBezTo>
                    <a:pt x="1292" y="6415"/>
                    <a:pt x="1656" y="6534"/>
                    <a:pt x="1947" y="6548"/>
                  </a:cubicBezTo>
                  <a:cubicBezTo>
                    <a:pt x="2027" y="6551"/>
                    <a:pt x="2150" y="6569"/>
                    <a:pt x="2293" y="6593"/>
                  </a:cubicBezTo>
                  <a:cubicBezTo>
                    <a:pt x="2511" y="6623"/>
                    <a:pt x="2824" y="6667"/>
                    <a:pt x="3047" y="6667"/>
                  </a:cubicBezTo>
                  <a:cubicBezTo>
                    <a:pt x="3161" y="6667"/>
                    <a:pt x="3250" y="6656"/>
                    <a:pt x="3291" y="6625"/>
                  </a:cubicBezTo>
                  <a:cubicBezTo>
                    <a:pt x="3301" y="6618"/>
                    <a:pt x="3301" y="6611"/>
                    <a:pt x="3301" y="6611"/>
                  </a:cubicBezTo>
                  <a:cubicBezTo>
                    <a:pt x="3305" y="6558"/>
                    <a:pt x="3175" y="6471"/>
                    <a:pt x="3049" y="6383"/>
                  </a:cubicBezTo>
                  <a:cubicBezTo>
                    <a:pt x="2878" y="6271"/>
                    <a:pt x="2720" y="6142"/>
                    <a:pt x="2577" y="5998"/>
                  </a:cubicBezTo>
                  <a:cubicBezTo>
                    <a:pt x="2363" y="5774"/>
                    <a:pt x="2129" y="5396"/>
                    <a:pt x="2171" y="5067"/>
                  </a:cubicBezTo>
                  <a:cubicBezTo>
                    <a:pt x="2185" y="4923"/>
                    <a:pt x="2269" y="4794"/>
                    <a:pt x="2395" y="4717"/>
                  </a:cubicBezTo>
                  <a:cubicBezTo>
                    <a:pt x="2563" y="4612"/>
                    <a:pt x="2570" y="4545"/>
                    <a:pt x="2584" y="4461"/>
                  </a:cubicBezTo>
                  <a:cubicBezTo>
                    <a:pt x="2594" y="4363"/>
                    <a:pt x="2612" y="4244"/>
                    <a:pt x="2829" y="4090"/>
                  </a:cubicBezTo>
                  <a:cubicBezTo>
                    <a:pt x="2948" y="4013"/>
                    <a:pt x="3035" y="3891"/>
                    <a:pt x="3070" y="3751"/>
                  </a:cubicBezTo>
                  <a:cubicBezTo>
                    <a:pt x="3102" y="3646"/>
                    <a:pt x="3137" y="3534"/>
                    <a:pt x="3343" y="3513"/>
                  </a:cubicBezTo>
                  <a:cubicBezTo>
                    <a:pt x="3441" y="3502"/>
                    <a:pt x="3438" y="3485"/>
                    <a:pt x="3431" y="3404"/>
                  </a:cubicBezTo>
                  <a:cubicBezTo>
                    <a:pt x="3424" y="3323"/>
                    <a:pt x="3410" y="3173"/>
                    <a:pt x="3634" y="3141"/>
                  </a:cubicBezTo>
                  <a:cubicBezTo>
                    <a:pt x="3732" y="3127"/>
                    <a:pt x="3823" y="3068"/>
                    <a:pt x="3872" y="2980"/>
                  </a:cubicBezTo>
                  <a:cubicBezTo>
                    <a:pt x="3924" y="2893"/>
                    <a:pt x="3942" y="2791"/>
                    <a:pt x="3921" y="2697"/>
                  </a:cubicBezTo>
                  <a:cubicBezTo>
                    <a:pt x="3907" y="2665"/>
                    <a:pt x="3910" y="2627"/>
                    <a:pt x="3928" y="2599"/>
                  </a:cubicBezTo>
                  <a:cubicBezTo>
                    <a:pt x="3963" y="2550"/>
                    <a:pt x="4030" y="2546"/>
                    <a:pt x="4124" y="2543"/>
                  </a:cubicBezTo>
                  <a:cubicBezTo>
                    <a:pt x="4236" y="2539"/>
                    <a:pt x="4373" y="2536"/>
                    <a:pt x="4450" y="2452"/>
                  </a:cubicBezTo>
                  <a:cubicBezTo>
                    <a:pt x="4544" y="2347"/>
                    <a:pt x="4688" y="2322"/>
                    <a:pt x="4824" y="2298"/>
                  </a:cubicBezTo>
                  <a:cubicBezTo>
                    <a:pt x="4978" y="2273"/>
                    <a:pt x="5111" y="2249"/>
                    <a:pt x="5167" y="2126"/>
                  </a:cubicBezTo>
                  <a:cubicBezTo>
                    <a:pt x="5321" y="1804"/>
                    <a:pt x="7278" y="1167"/>
                    <a:pt x="8252" y="943"/>
                  </a:cubicBezTo>
                  <a:cubicBezTo>
                    <a:pt x="9148" y="736"/>
                    <a:pt x="9662" y="428"/>
                    <a:pt x="9704" y="232"/>
                  </a:cubicBezTo>
                  <a:cubicBezTo>
                    <a:pt x="9711" y="201"/>
                    <a:pt x="9711" y="148"/>
                    <a:pt x="9634" y="89"/>
                  </a:cubicBezTo>
                  <a:cubicBezTo>
                    <a:pt x="9554" y="26"/>
                    <a:pt x="9435" y="0"/>
                    <a:pt x="9297"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227" name="Google Shape;6227;p104"/>
            <p:cNvSpPr/>
            <p:nvPr/>
          </p:nvSpPr>
          <p:spPr>
            <a:xfrm>
              <a:off x="2439104" y="1251861"/>
              <a:ext cx="6857" cy="1833"/>
            </a:xfrm>
            <a:custGeom>
              <a:avLst/>
              <a:gdLst/>
              <a:ahLst/>
              <a:cxnLst/>
              <a:rect l="l" t="t" r="r" b="b"/>
              <a:pathLst>
                <a:path w="505" h="135" extrusionOk="0">
                  <a:moveTo>
                    <a:pt x="386" y="0"/>
                  </a:moveTo>
                  <a:cubicBezTo>
                    <a:pt x="266" y="0"/>
                    <a:pt x="98" y="47"/>
                    <a:pt x="1" y="88"/>
                  </a:cubicBezTo>
                  <a:cubicBezTo>
                    <a:pt x="104" y="115"/>
                    <a:pt x="223" y="134"/>
                    <a:pt x="320" y="134"/>
                  </a:cubicBezTo>
                  <a:cubicBezTo>
                    <a:pt x="387" y="134"/>
                    <a:pt x="444" y="125"/>
                    <a:pt x="477" y="102"/>
                  </a:cubicBezTo>
                  <a:cubicBezTo>
                    <a:pt x="494" y="88"/>
                    <a:pt x="505" y="67"/>
                    <a:pt x="501" y="42"/>
                  </a:cubicBezTo>
                  <a:cubicBezTo>
                    <a:pt x="501" y="35"/>
                    <a:pt x="501" y="25"/>
                    <a:pt x="477" y="14"/>
                  </a:cubicBezTo>
                  <a:cubicBezTo>
                    <a:pt x="453" y="5"/>
                    <a:pt x="421" y="0"/>
                    <a:pt x="386"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228" name="Google Shape;6228;p104"/>
            <p:cNvSpPr/>
            <p:nvPr/>
          </p:nvSpPr>
          <p:spPr>
            <a:xfrm>
              <a:off x="2870271" y="1345763"/>
              <a:ext cx="11758" cy="4576"/>
            </a:xfrm>
            <a:custGeom>
              <a:avLst/>
              <a:gdLst/>
              <a:ahLst/>
              <a:cxnLst/>
              <a:rect l="l" t="t" r="r" b="b"/>
              <a:pathLst>
                <a:path w="866" h="337" extrusionOk="0">
                  <a:moveTo>
                    <a:pt x="583" y="0"/>
                  </a:moveTo>
                  <a:cubicBezTo>
                    <a:pt x="457" y="0"/>
                    <a:pt x="342" y="35"/>
                    <a:pt x="323" y="61"/>
                  </a:cubicBezTo>
                  <a:cubicBezTo>
                    <a:pt x="284" y="142"/>
                    <a:pt x="183" y="180"/>
                    <a:pt x="95" y="215"/>
                  </a:cubicBezTo>
                  <a:cubicBezTo>
                    <a:pt x="60" y="229"/>
                    <a:pt x="29" y="243"/>
                    <a:pt x="1" y="261"/>
                  </a:cubicBezTo>
                  <a:cubicBezTo>
                    <a:pt x="46" y="310"/>
                    <a:pt x="164" y="336"/>
                    <a:pt x="302" y="336"/>
                  </a:cubicBezTo>
                  <a:cubicBezTo>
                    <a:pt x="408" y="336"/>
                    <a:pt x="526" y="321"/>
                    <a:pt x="631" y="289"/>
                  </a:cubicBezTo>
                  <a:cubicBezTo>
                    <a:pt x="768" y="247"/>
                    <a:pt x="859" y="184"/>
                    <a:pt x="862" y="128"/>
                  </a:cubicBezTo>
                  <a:cubicBezTo>
                    <a:pt x="862" y="110"/>
                    <a:pt x="866" y="58"/>
                    <a:pt x="757" y="26"/>
                  </a:cubicBezTo>
                  <a:cubicBezTo>
                    <a:pt x="702" y="8"/>
                    <a:pt x="641" y="0"/>
                    <a:pt x="583"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229" name="Google Shape;6229;p104"/>
            <p:cNvSpPr/>
            <p:nvPr/>
          </p:nvSpPr>
          <p:spPr>
            <a:xfrm>
              <a:off x="2384020" y="1243620"/>
              <a:ext cx="22783" cy="4983"/>
            </a:xfrm>
            <a:custGeom>
              <a:avLst/>
              <a:gdLst/>
              <a:ahLst/>
              <a:cxnLst/>
              <a:rect l="l" t="t" r="r" b="b"/>
              <a:pathLst>
                <a:path w="1678" h="367" extrusionOk="0">
                  <a:moveTo>
                    <a:pt x="1256" y="0"/>
                  </a:moveTo>
                  <a:cubicBezTo>
                    <a:pt x="1089" y="0"/>
                    <a:pt x="915" y="22"/>
                    <a:pt x="809" y="79"/>
                  </a:cubicBezTo>
                  <a:cubicBezTo>
                    <a:pt x="669" y="152"/>
                    <a:pt x="462" y="163"/>
                    <a:pt x="280" y="173"/>
                  </a:cubicBezTo>
                  <a:cubicBezTo>
                    <a:pt x="182" y="180"/>
                    <a:pt x="42" y="187"/>
                    <a:pt x="0" y="208"/>
                  </a:cubicBezTo>
                  <a:cubicBezTo>
                    <a:pt x="74" y="285"/>
                    <a:pt x="168" y="334"/>
                    <a:pt x="273" y="352"/>
                  </a:cubicBezTo>
                  <a:cubicBezTo>
                    <a:pt x="316" y="361"/>
                    <a:pt x="359" y="366"/>
                    <a:pt x="402" y="366"/>
                  </a:cubicBezTo>
                  <a:cubicBezTo>
                    <a:pt x="542" y="366"/>
                    <a:pt x="680" y="314"/>
                    <a:pt x="784" y="215"/>
                  </a:cubicBezTo>
                  <a:cubicBezTo>
                    <a:pt x="939" y="69"/>
                    <a:pt x="1115" y="34"/>
                    <a:pt x="1273" y="34"/>
                  </a:cubicBezTo>
                  <a:cubicBezTo>
                    <a:pt x="1361" y="34"/>
                    <a:pt x="1443" y="45"/>
                    <a:pt x="1513" y="54"/>
                  </a:cubicBezTo>
                  <a:cubicBezTo>
                    <a:pt x="1552" y="62"/>
                    <a:pt x="1593" y="66"/>
                    <a:pt x="1635" y="66"/>
                  </a:cubicBezTo>
                  <a:cubicBezTo>
                    <a:pt x="1649" y="66"/>
                    <a:pt x="1663" y="65"/>
                    <a:pt x="1677" y="65"/>
                  </a:cubicBezTo>
                  <a:cubicBezTo>
                    <a:pt x="1628" y="29"/>
                    <a:pt x="1448" y="0"/>
                    <a:pt x="1256"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230" name="Google Shape;6230;p104"/>
            <p:cNvSpPr/>
            <p:nvPr/>
          </p:nvSpPr>
          <p:spPr>
            <a:xfrm>
              <a:off x="2517202" y="1238691"/>
              <a:ext cx="17406" cy="5404"/>
            </a:xfrm>
            <a:custGeom>
              <a:avLst/>
              <a:gdLst/>
              <a:ahLst/>
              <a:cxnLst/>
              <a:rect l="l" t="t" r="r" b="b"/>
              <a:pathLst>
                <a:path w="1282" h="398" extrusionOk="0">
                  <a:moveTo>
                    <a:pt x="1023" y="1"/>
                  </a:moveTo>
                  <a:cubicBezTo>
                    <a:pt x="919" y="1"/>
                    <a:pt x="860" y="48"/>
                    <a:pt x="799" y="98"/>
                  </a:cubicBezTo>
                  <a:cubicBezTo>
                    <a:pt x="748" y="140"/>
                    <a:pt x="688" y="187"/>
                    <a:pt x="609" y="187"/>
                  </a:cubicBezTo>
                  <a:cubicBezTo>
                    <a:pt x="601" y="187"/>
                    <a:pt x="593" y="187"/>
                    <a:pt x="585" y="186"/>
                  </a:cubicBezTo>
                  <a:cubicBezTo>
                    <a:pt x="573" y="184"/>
                    <a:pt x="559" y="184"/>
                    <a:pt x="543" y="184"/>
                  </a:cubicBezTo>
                  <a:cubicBezTo>
                    <a:pt x="376" y="184"/>
                    <a:pt x="55" y="265"/>
                    <a:pt x="1" y="322"/>
                  </a:cubicBezTo>
                  <a:cubicBezTo>
                    <a:pt x="56" y="379"/>
                    <a:pt x="171" y="397"/>
                    <a:pt x="306" y="397"/>
                  </a:cubicBezTo>
                  <a:cubicBezTo>
                    <a:pt x="437" y="397"/>
                    <a:pt x="585" y="380"/>
                    <a:pt x="711" y="365"/>
                  </a:cubicBezTo>
                  <a:lnTo>
                    <a:pt x="844" y="351"/>
                  </a:lnTo>
                  <a:cubicBezTo>
                    <a:pt x="1138" y="319"/>
                    <a:pt x="1275" y="217"/>
                    <a:pt x="1282" y="140"/>
                  </a:cubicBezTo>
                  <a:cubicBezTo>
                    <a:pt x="1282" y="84"/>
                    <a:pt x="1215" y="32"/>
                    <a:pt x="1114" y="11"/>
                  </a:cubicBezTo>
                  <a:cubicBezTo>
                    <a:pt x="1080" y="4"/>
                    <a:pt x="1050" y="1"/>
                    <a:pt x="1023" y="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231" name="Google Shape;6231;p104"/>
            <p:cNvSpPr/>
            <p:nvPr/>
          </p:nvSpPr>
          <p:spPr>
            <a:xfrm>
              <a:off x="2718026" y="1237646"/>
              <a:ext cx="8757" cy="2403"/>
            </a:xfrm>
            <a:custGeom>
              <a:avLst/>
              <a:gdLst/>
              <a:ahLst/>
              <a:cxnLst/>
              <a:rect l="l" t="t" r="r" b="b"/>
              <a:pathLst>
                <a:path w="645" h="177" extrusionOk="0">
                  <a:moveTo>
                    <a:pt x="400" y="0"/>
                  </a:moveTo>
                  <a:cubicBezTo>
                    <a:pt x="179" y="0"/>
                    <a:pt x="11" y="60"/>
                    <a:pt x="1" y="95"/>
                  </a:cubicBezTo>
                  <a:cubicBezTo>
                    <a:pt x="1" y="95"/>
                    <a:pt x="8" y="105"/>
                    <a:pt x="22" y="119"/>
                  </a:cubicBezTo>
                  <a:cubicBezTo>
                    <a:pt x="55" y="145"/>
                    <a:pt x="193" y="176"/>
                    <a:pt x="334" y="176"/>
                  </a:cubicBezTo>
                  <a:cubicBezTo>
                    <a:pt x="401" y="176"/>
                    <a:pt x="469" y="169"/>
                    <a:pt x="526" y="151"/>
                  </a:cubicBezTo>
                  <a:cubicBezTo>
                    <a:pt x="596" y="130"/>
                    <a:pt x="634" y="98"/>
                    <a:pt x="645" y="53"/>
                  </a:cubicBezTo>
                  <a:cubicBezTo>
                    <a:pt x="645" y="53"/>
                    <a:pt x="645" y="53"/>
                    <a:pt x="645" y="49"/>
                  </a:cubicBezTo>
                  <a:cubicBezTo>
                    <a:pt x="641" y="39"/>
                    <a:pt x="575" y="0"/>
                    <a:pt x="407"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232" name="Google Shape;6232;p104"/>
            <p:cNvSpPr/>
            <p:nvPr/>
          </p:nvSpPr>
          <p:spPr>
            <a:xfrm>
              <a:off x="2570534" y="1361377"/>
              <a:ext cx="11229" cy="4209"/>
            </a:xfrm>
            <a:custGeom>
              <a:avLst/>
              <a:gdLst/>
              <a:ahLst/>
              <a:cxnLst/>
              <a:rect l="l" t="t" r="r" b="b"/>
              <a:pathLst>
                <a:path w="827" h="310" extrusionOk="0">
                  <a:moveTo>
                    <a:pt x="284" y="0"/>
                  </a:moveTo>
                  <a:cubicBezTo>
                    <a:pt x="78" y="0"/>
                    <a:pt x="11" y="140"/>
                    <a:pt x="4" y="214"/>
                  </a:cubicBezTo>
                  <a:cubicBezTo>
                    <a:pt x="4" y="221"/>
                    <a:pt x="1" y="298"/>
                    <a:pt x="50" y="305"/>
                  </a:cubicBezTo>
                  <a:cubicBezTo>
                    <a:pt x="73" y="308"/>
                    <a:pt x="101" y="310"/>
                    <a:pt x="131" y="310"/>
                  </a:cubicBezTo>
                  <a:cubicBezTo>
                    <a:pt x="371" y="310"/>
                    <a:pt x="783" y="209"/>
                    <a:pt x="827" y="144"/>
                  </a:cubicBezTo>
                  <a:cubicBezTo>
                    <a:pt x="816" y="102"/>
                    <a:pt x="617" y="0"/>
                    <a:pt x="284"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233" name="Google Shape;6233;p104"/>
            <p:cNvSpPr/>
            <p:nvPr/>
          </p:nvSpPr>
          <p:spPr>
            <a:xfrm>
              <a:off x="2635516" y="1366890"/>
              <a:ext cx="4616" cy="2865"/>
            </a:xfrm>
            <a:custGeom>
              <a:avLst/>
              <a:gdLst/>
              <a:ahLst/>
              <a:cxnLst/>
              <a:rect l="l" t="t" r="r" b="b"/>
              <a:pathLst>
                <a:path w="340" h="211" extrusionOk="0">
                  <a:moveTo>
                    <a:pt x="277" y="0"/>
                  </a:moveTo>
                  <a:cubicBezTo>
                    <a:pt x="165" y="0"/>
                    <a:pt x="18" y="102"/>
                    <a:pt x="0" y="144"/>
                  </a:cubicBezTo>
                  <a:lnTo>
                    <a:pt x="7" y="147"/>
                  </a:lnTo>
                  <a:cubicBezTo>
                    <a:pt x="90" y="189"/>
                    <a:pt x="167" y="211"/>
                    <a:pt x="224" y="211"/>
                  </a:cubicBezTo>
                  <a:cubicBezTo>
                    <a:pt x="254" y="211"/>
                    <a:pt x="278" y="205"/>
                    <a:pt x="294" y="193"/>
                  </a:cubicBezTo>
                  <a:cubicBezTo>
                    <a:pt x="340" y="161"/>
                    <a:pt x="340" y="91"/>
                    <a:pt x="333" y="39"/>
                  </a:cubicBezTo>
                  <a:cubicBezTo>
                    <a:pt x="333" y="21"/>
                    <a:pt x="329" y="0"/>
                    <a:pt x="277"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234" name="Google Shape;6234;p104"/>
            <p:cNvSpPr/>
            <p:nvPr/>
          </p:nvSpPr>
          <p:spPr>
            <a:xfrm>
              <a:off x="2491961" y="1240701"/>
              <a:ext cx="20176" cy="8119"/>
            </a:xfrm>
            <a:custGeom>
              <a:avLst/>
              <a:gdLst/>
              <a:ahLst/>
              <a:cxnLst/>
              <a:rect l="l" t="t" r="r" b="b"/>
              <a:pathLst>
                <a:path w="1486" h="598" extrusionOk="0">
                  <a:moveTo>
                    <a:pt x="750" y="1"/>
                  </a:moveTo>
                  <a:cubicBezTo>
                    <a:pt x="588" y="1"/>
                    <a:pt x="493" y="24"/>
                    <a:pt x="463" y="41"/>
                  </a:cubicBezTo>
                  <a:cubicBezTo>
                    <a:pt x="480" y="153"/>
                    <a:pt x="347" y="234"/>
                    <a:pt x="204" y="322"/>
                  </a:cubicBezTo>
                  <a:cubicBezTo>
                    <a:pt x="134" y="367"/>
                    <a:pt x="4" y="441"/>
                    <a:pt x="1" y="479"/>
                  </a:cubicBezTo>
                  <a:cubicBezTo>
                    <a:pt x="4" y="483"/>
                    <a:pt x="11" y="486"/>
                    <a:pt x="15" y="490"/>
                  </a:cubicBezTo>
                  <a:cubicBezTo>
                    <a:pt x="105" y="562"/>
                    <a:pt x="245" y="598"/>
                    <a:pt x="425" y="598"/>
                  </a:cubicBezTo>
                  <a:cubicBezTo>
                    <a:pt x="490" y="598"/>
                    <a:pt x="560" y="593"/>
                    <a:pt x="634" y="584"/>
                  </a:cubicBezTo>
                  <a:cubicBezTo>
                    <a:pt x="1033" y="535"/>
                    <a:pt x="1422" y="374"/>
                    <a:pt x="1475" y="308"/>
                  </a:cubicBezTo>
                  <a:cubicBezTo>
                    <a:pt x="1478" y="304"/>
                    <a:pt x="1482" y="301"/>
                    <a:pt x="1485" y="294"/>
                  </a:cubicBezTo>
                  <a:cubicBezTo>
                    <a:pt x="1461" y="276"/>
                    <a:pt x="1433" y="262"/>
                    <a:pt x="1408" y="252"/>
                  </a:cubicBezTo>
                  <a:cubicBezTo>
                    <a:pt x="1334" y="213"/>
                    <a:pt x="1243" y="171"/>
                    <a:pt x="1222" y="76"/>
                  </a:cubicBezTo>
                  <a:cubicBezTo>
                    <a:pt x="1194" y="52"/>
                    <a:pt x="1061" y="10"/>
                    <a:pt x="841" y="3"/>
                  </a:cubicBezTo>
                  <a:cubicBezTo>
                    <a:pt x="808" y="1"/>
                    <a:pt x="778" y="1"/>
                    <a:pt x="750" y="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235" name="Google Shape;6235;p104"/>
            <p:cNvSpPr/>
            <p:nvPr/>
          </p:nvSpPr>
          <p:spPr>
            <a:xfrm>
              <a:off x="2465159" y="1249621"/>
              <a:ext cx="23394" cy="6734"/>
            </a:xfrm>
            <a:custGeom>
              <a:avLst/>
              <a:gdLst/>
              <a:ahLst/>
              <a:cxnLst/>
              <a:rect l="l" t="t" r="r" b="b"/>
              <a:pathLst>
                <a:path w="1723" h="496" extrusionOk="0">
                  <a:moveTo>
                    <a:pt x="993" y="0"/>
                  </a:moveTo>
                  <a:cubicBezTo>
                    <a:pt x="912" y="0"/>
                    <a:pt x="846" y="5"/>
                    <a:pt x="809" y="15"/>
                  </a:cubicBezTo>
                  <a:cubicBezTo>
                    <a:pt x="816" y="50"/>
                    <a:pt x="809" y="88"/>
                    <a:pt x="788" y="120"/>
                  </a:cubicBezTo>
                  <a:cubicBezTo>
                    <a:pt x="735" y="197"/>
                    <a:pt x="609" y="211"/>
                    <a:pt x="333" y="211"/>
                  </a:cubicBezTo>
                  <a:cubicBezTo>
                    <a:pt x="151" y="211"/>
                    <a:pt x="32" y="274"/>
                    <a:pt x="11" y="330"/>
                  </a:cubicBezTo>
                  <a:cubicBezTo>
                    <a:pt x="0" y="358"/>
                    <a:pt x="14" y="386"/>
                    <a:pt x="49" y="417"/>
                  </a:cubicBezTo>
                  <a:cubicBezTo>
                    <a:pt x="109" y="467"/>
                    <a:pt x="265" y="495"/>
                    <a:pt x="453" y="495"/>
                  </a:cubicBezTo>
                  <a:cubicBezTo>
                    <a:pt x="530" y="495"/>
                    <a:pt x="613" y="490"/>
                    <a:pt x="697" y="480"/>
                  </a:cubicBezTo>
                  <a:cubicBezTo>
                    <a:pt x="956" y="452"/>
                    <a:pt x="1113" y="386"/>
                    <a:pt x="1152" y="333"/>
                  </a:cubicBezTo>
                  <a:cubicBezTo>
                    <a:pt x="1243" y="211"/>
                    <a:pt x="1397" y="200"/>
                    <a:pt x="1520" y="193"/>
                  </a:cubicBezTo>
                  <a:cubicBezTo>
                    <a:pt x="1642" y="186"/>
                    <a:pt x="1702" y="176"/>
                    <a:pt x="1723" y="134"/>
                  </a:cubicBezTo>
                  <a:cubicBezTo>
                    <a:pt x="1709" y="123"/>
                    <a:pt x="1670" y="95"/>
                    <a:pt x="1548" y="64"/>
                  </a:cubicBezTo>
                  <a:cubicBezTo>
                    <a:pt x="1374" y="20"/>
                    <a:pt x="1154" y="0"/>
                    <a:pt x="993"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236" name="Google Shape;6236;p104"/>
            <p:cNvSpPr/>
            <p:nvPr/>
          </p:nvSpPr>
          <p:spPr>
            <a:xfrm>
              <a:off x="2466530" y="1232500"/>
              <a:ext cx="20597" cy="4358"/>
            </a:xfrm>
            <a:custGeom>
              <a:avLst/>
              <a:gdLst/>
              <a:ahLst/>
              <a:cxnLst/>
              <a:rect l="l" t="t" r="r" b="b"/>
              <a:pathLst>
                <a:path w="1517" h="321" extrusionOk="0">
                  <a:moveTo>
                    <a:pt x="1106" y="0"/>
                  </a:moveTo>
                  <a:cubicBezTo>
                    <a:pt x="908" y="0"/>
                    <a:pt x="721" y="29"/>
                    <a:pt x="655" y="57"/>
                  </a:cubicBezTo>
                  <a:cubicBezTo>
                    <a:pt x="662" y="78"/>
                    <a:pt x="659" y="99"/>
                    <a:pt x="652" y="120"/>
                  </a:cubicBezTo>
                  <a:cubicBezTo>
                    <a:pt x="613" y="197"/>
                    <a:pt x="480" y="215"/>
                    <a:pt x="102" y="229"/>
                  </a:cubicBezTo>
                  <a:lnTo>
                    <a:pt x="1" y="232"/>
                  </a:lnTo>
                  <a:cubicBezTo>
                    <a:pt x="160" y="290"/>
                    <a:pt x="330" y="321"/>
                    <a:pt x="502" y="321"/>
                  </a:cubicBezTo>
                  <a:cubicBezTo>
                    <a:pt x="519" y="321"/>
                    <a:pt x="537" y="321"/>
                    <a:pt x="554" y="320"/>
                  </a:cubicBezTo>
                  <a:cubicBezTo>
                    <a:pt x="732" y="320"/>
                    <a:pt x="781" y="267"/>
                    <a:pt x="834" y="211"/>
                  </a:cubicBezTo>
                  <a:cubicBezTo>
                    <a:pt x="883" y="145"/>
                    <a:pt x="961" y="104"/>
                    <a:pt x="1044" y="104"/>
                  </a:cubicBezTo>
                  <a:cubicBezTo>
                    <a:pt x="1061" y="104"/>
                    <a:pt x="1079" y="106"/>
                    <a:pt x="1096" y="110"/>
                  </a:cubicBezTo>
                  <a:cubicBezTo>
                    <a:pt x="1171" y="119"/>
                    <a:pt x="1239" y="123"/>
                    <a:pt x="1297" y="123"/>
                  </a:cubicBezTo>
                  <a:cubicBezTo>
                    <a:pt x="1414" y="123"/>
                    <a:pt x="1493" y="107"/>
                    <a:pt x="1517" y="89"/>
                  </a:cubicBezTo>
                  <a:cubicBezTo>
                    <a:pt x="1513" y="82"/>
                    <a:pt x="1510" y="78"/>
                    <a:pt x="1503" y="71"/>
                  </a:cubicBezTo>
                  <a:cubicBezTo>
                    <a:pt x="1489" y="54"/>
                    <a:pt x="1415" y="19"/>
                    <a:pt x="1240" y="5"/>
                  </a:cubicBezTo>
                  <a:cubicBezTo>
                    <a:pt x="1196" y="2"/>
                    <a:pt x="1151" y="0"/>
                    <a:pt x="1106"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237" name="Google Shape;6237;p104"/>
            <p:cNvSpPr/>
            <p:nvPr/>
          </p:nvSpPr>
          <p:spPr>
            <a:xfrm>
              <a:off x="2698353" y="1642147"/>
              <a:ext cx="54" cy="109"/>
            </a:xfrm>
            <a:custGeom>
              <a:avLst/>
              <a:gdLst/>
              <a:ahLst/>
              <a:cxnLst/>
              <a:rect l="l" t="t" r="r" b="b"/>
              <a:pathLst>
                <a:path w="4" h="8" extrusionOk="0">
                  <a:moveTo>
                    <a:pt x="0" y="8"/>
                  </a:moveTo>
                  <a:lnTo>
                    <a:pt x="4"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238" name="Google Shape;6238;p104"/>
            <p:cNvSpPr/>
            <p:nvPr/>
          </p:nvSpPr>
          <p:spPr>
            <a:xfrm>
              <a:off x="2818038" y="1630266"/>
              <a:ext cx="3625" cy="530"/>
            </a:xfrm>
            <a:custGeom>
              <a:avLst/>
              <a:gdLst/>
              <a:ahLst/>
              <a:cxnLst/>
              <a:rect l="l" t="t" r="r" b="b"/>
              <a:pathLst>
                <a:path w="267" h="39" extrusionOk="0">
                  <a:moveTo>
                    <a:pt x="0" y="39"/>
                  </a:moveTo>
                  <a:cubicBezTo>
                    <a:pt x="88" y="21"/>
                    <a:pt x="179" y="7"/>
                    <a:pt x="267" y="0"/>
                  </a:cubicBezTo>
                  <a:cubicBezTo>
                    <a:pt x="179" y="7"/>
                    <a:pt x="88" y="21"/>
                    <a:pt x="0" y="39"/>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239" name="Google Shape;6239;p104"/>
            <p:cNvSpPr/>
            <p:nvPr/>
          </p:nvSpPr>
          <p:spPr>
            <a:xfrm>
              <a:off x="2835580" y="1633878"/>
              <a:ext cx="2430" cy="815"/>
            </a:xfrm>
            <a:custGeom>
              <a:avLst/>
              <a:gdLst/>
              <a:ahLst/>
              <a:cxnLst/>
              <a:rect l="l" t="t" r="r" b="b"/>
              <a:pathLst>
                <a:path w="179" h="60" extrusionOk="0">
                  <a:moveTo>
                    <a:pt x="0" y="0"/>
                  </a:moveTo>
                  <a:cubicBezTo>
                    <a:pt x="18" y="18"/>
                    <a:pt x="119" y="42"/>
                    <a:pt x="179" y="60"/>
                  </a:cubicBezTo>
                  <a:cubicBezTo>
                    <a:pt x="119" y="42"/>
                    <a:pt x="18" y="18"/>
                    <a:pt x="0"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240" name="Google Shape;6240;p104"/>
            <p:cNvSpPr/>
            <p:nvPr/>
          </p:nvSpPr>
          <p:spPr>
            <a:xfrm>
              <a:off x="2863808" y="1641861"/>
              <a:ext cx="584" cy="299"/>
            </a:xfrm>
            <a:custGeom>
              <a:avLst/>
              <a:gdLst/>
              <a:ahLst/>
              <a:cxnLst/>
              <a:rect l="l" t="t" r="r" b="b"/>
              <a:pathLst>
                <a:path w="43" h="22" extrusionOk="0">
                  <a:moveTo>
                    <a:pt x="1" y="22"/>
                  </a:moveTo>
                  <a:cubicBezTo>
                    <a:pt x="15" y="15"/>
                    <a:pt x="25" y="8"/>
                    <a:pt x="43" y="1"/>
                  </a:cubicBezTo>
                  <a:cubicBezTo>
                    <a:pt x="25" y="8"/>
                    <a:pt x="15" y="15"/>
                    <a:pt x="1" y="22"/>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241" name="Google Shape;6241;p104"/>
            <p:cNvSpPr/>
            <p:nvPr/>
          </p:nvSpPr>
          <p:spPr>
            <a:xfrm>
              <a:off x="2807149" y="1632778"/>
              <a:ext cx="2729" cy="1059"/>
            </a:xfrm>
            <a:custGeom>
              <a:avLst/>
              <a:gdLst/>
              <a:ahLst/>
              <a:cxnLst/>
              <a:rect l="l" t="t" r="r" b="b"/>
              <a:pathLst>
                <a:path w="201" h="78" extrusionOk="0">
                  <a:moveTo>
                    <a:pt x="1" y="1"/>
                  </a:moveTo>
                  <a:cubicBezTo>
                    <a:pt x="64" y="32"/>
                    <a:pt x="130" y="60"/>
                    <a:pt x="200" y="78"/>
                  </a:cubicBezTo>
                  <a:cubicBezTo>
                    <a:pt x="130" y="60"/>
                    <a:pt x="64" y="32"/>
                    <a:pt x="1" y="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242" name="Google Shape;6242;p104"/>
            <p:cNvSpPr/>
            <p:nvPr/>
          </p:nvSpPr>
          <p:spPr>
            <a:xfrm>
              <a:off x="2901553" y="1635249"/>
              <a:ext cx="204" cy="14"/>
            </a:xfrm>
            <a:custGeom>
              <a:avLst/>
              <a:gdLst/>
              <a:ahLst/>
              <a:cxnLst/>
              <a:rect l="l" t="t" r="r" b="b"/>
              <a:pathLst>
                <a:path w="15" h="1" extrusionOk="0">
                  <a:moveTo>
                    <a:pt x="0" y="1"/>
                  </a:moveTo>
                  <a:lnTo>
                    <a:pt x="14"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243" name="Google Shape;6243;p104"/>
            <p:cNvSpPr/>
            <p:nvPr/>
          </p:nvSpPr>
          <p:spPr>
            <a:xfrm>
              <a:off x="2907351" y="1636064"/>
              <a:ext cx="584" cy="299"/>
            </a:xfrm>
            <a:custGeom>
              <a:avLst/>
              <a:gdLst/>
              <a:ahLst/>
              <a:cxnLst/>
              <a:rect l="l" t="t" r="r" b="b"/>
              <a:pathLst>
                <a:path w="43" h="22" extrusionOk="0">
                  <a:moveTo>
                    <a:pt x="1" y="0"/>
                  </a:moveTo>
                  <a:cubicBezTo>
                    <a:pt x="15" y="7"/>
                    <a:pt x="29" y="14"/>
                    <a:pt x="39" y="21"/>
                  </a:cubicBezTo>
                  <a:lnTo>
                    <a:pt x="43" y="18"/>
                  </a:lnTo>
                  <a:lnTo>
                    <a:pt x="1"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244" name="Google Shape;6244;p104"/>
            <p:cNvSpPr/>
            <p:nvPr/>
          </p:nvSpPr>
          <p:spPr>
            <a:xfrm>
              <a:off x="2902355" y="1635154"/>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245" name="Google Shape;6245;p104"/>
            <p:cNvSpPr/>
            <p:nvPr/>
          </p:nvSpPr>
          <p:spPr>
            <a:xfrm>
              <a:off x="2873367" y="1638915"/>
              <a:ext cx="3286" cy="1018"/>
            </a:xfrm>
            <a:custGeom>
              <a:avLst/>
              <a:gdLst/>
              <a:ahLst/>
              <a:cxnLst/>
              <a:rect l="l" t="t" r="r" b="b"/>
              <a:pathLst>
                <a:path w="242" h="75" extrusionOk="0">
                  <a:moveTo>
                    <a:pt x="242" y="1"/>
                  </a:moveTo>
                  <a:lnTo>
                    <a:pt x="242" y="1"/>
                  </a:lnTo>
                  <a:cubicBezTo>
                    <a:pt x="151" y="15"/>
                    <a:pt x="60" y="29"/>
                    <a:pt x="0" y="74"/>
                  </a:cubicBezTo>
                  <a:cubicBezTo>
                    <a:pt x="60" y="29"/>
                    <a:pt x="154" y="15"/>
                    <a:pt x="242" y="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246" name="Google Shape;6246;p104"/>
            <p:cNvSpPr/>
            <p:nvPr/>
          </p:nvSpPr>
          <p:spPr>
            <a:xfrm>
              <a:off x="2746879" y="1634258"/>
              <a:ext cx="3299" cy="1494"/>
            </a:xfrm>
            <a:custGeom>
              <a:avLst/>
              <a:gdLst/>
              <a:ahLst/>
              <a:cxnLst/>
              <a:rect l="l" t="t" r="r" b="b"/>
              <a:pathLst>
                <a:path w="243" h="110" extrusionOk="0">
                  <a:moveTo>
                    <a:pt x="1" y="1"/>
                  </a:moveTo>
                  <a:cubicBezTo>
                    <a:pt x="66" y="35"/>
                    <a:pt x="191" y="109"/>
                    <a:pt x="239" y="109"/>
                  </a:cubicBezTo>
                  <a:cubicBezTo>
                    <a:pt x="239" y="109"/>
                    <a:pt x="239" y="109"/>
                    <a:pt x="239" y="109"/>
                  </a:cubicBezTo>
                  <a:lnTo>
                    <a:pt x="239" y="109"/>
                  </a:lnTo>
                  <a:cubicBezTo>
                    <a:pt x="194" y="109"/>
                    <a:pt x="66" y="35"/>
                    <a:pt x="1" y="1"/>
                  </a:cubicBezTo>
                  <a:close/>
                  <a:moveTo>
                    <a:pt x="242" y="109"/>
                  </a:moveTo>
                  <a:cubicBezTo>
                    <a:pt x="241" y="109"/>
                    <a:pt x="240" y="109"/>
                    <a:pt x="239" y="109"/>
                  </a:cubicBezTo>
                  <a:lnTo>
                    <a:pt x="239" y="109"/>
                  </a:lnTo>
                  <a:cubicBezTo>
                    <a:pt x="239" y="109"/>
                    <a:pt x="239" y="109"/>
                    <a:pt x="239" y="109"/>
                  </a:cubicBezTo>
                  <a:cubicBezTo>
                    <a:pt x="240" y="109"/>
                    <a:pt x="241" y="109"/>
                    <a:pt x="242" y="109"/>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247" name="Google Shape;6247;p104"/>
            <p:cNvSpPr/>
            <p:nvPr/>
          </p:nvSpPr>
          <p:spPr>
            <a:xfrm>
              <a:off x="2716221" y="1632113"/>
              <a:ext cx="2444" cy="1534"/>
            </a:xfrm>
            <a:custGeom>
              <a:avLst/>
              <a:gdLst/>
              <a:ahLst/>
              <a:cxnLst/>
              <a:rect l="l" t="t" r="r" b="b"/>
              <a:pathLst>
                <a:path w="180" h="113" extrusionOk="0">
                  <a:moveTo>
                    <a:pt x="1" y="113"/>
                  </a:moveTo>
                  <a:cubicBezTo>
                    <a:pt x="57" y="67"/>
                    <a:pt x="116" y="29"/>
                    <a:pt x="179" y="1"/>
                  </a:cubicBezTo>
                  <a:cubicBezTo>
                    <a:pt x="116" y="29"/>
                    <a:pt x="57" y="67"/>
                    <a:pt x="1" y="113"/>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248" name="Google Shape;6248;p104"/>
            <p:cNvSpPr/>
            <p:nvPr/>
          </p:nvSpPr>
          <p:spPr>
            <a:xfrm>
              <a:off x="2699059" y="1641440"/>
              <a:ext cx="109" cy="54"/>
            </a:xfrm>
            <a:custGeom>
              <a:avLst/>
              <a:gdLst/>
              <a:ahLst/>
              <a:cxnLst/>
              <a:rect l="l" t="t" r="r" b="b"/>
              <a:pathLst>
                <a:path w="8" h="4" extrusionOk="0">
                  <a:moveTo>
                    <a:pt x="1" y="4"/>
                  </a:moveTo>
                  <a:lnTo>
                    <a:pt x="8"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249" name="Google Shape;6249;p104"/>
            <p:cNvSpPr/>
            <p:nvPr/>
          </p:nvSpPr>
          <p:spPr>
            <a:xfrm>
              <a:off x="2698869" y="1641576"/>
              <a:ext cx="68" cy="109"/>
            </a:xfrm>
            <a:custGeom>
              <a:avLst/>
              <a:gdLst/>
              <a:ahLst/>
              <a:cxnLst/>
              <a:rect l="l" t="t" r="r" b="b"/>
              <a:pathLst>
                <a:path w="5" h="8" extrusionOk="0">
                  <a:moveTo>
                    <a:pt x="1" y="8"/>
                  </a:moveTo>
                  <a:lnTo>
                    <a:pt x="4"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250" name="Google Shape;6250;p104"/>
            <p:cNvSpPr/>
            <p:nvPr/>
          </p:nvSpPr>
          <p:spPr>
            <a:xfrm>
              <a:off x="2698678" y="1641726"/>
              <a:ext cx="68" cy="109"/>
            </a:xfrm>
            <a:custGeom>
              <a:avLst/>
              <a:gdLst/>
              <a:ahLst/>
              <a:cxnLst/>
              <a:rect l="l" t="t" r="r" b="b"/>
              <a:pathLst>
                <a:path w="5" h="8" extrusionOk="0">
                  <a:moveTo>
                    <a:pt x="1" y="7"/>
                  </a:moveTo>
                  <a:lnTo>
                    <a:pt x="4"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251" name="Google Shape;6251;p104"/>
            <p:cNvSpPr/>
            <p:nvPr/>
          </p:nvSpPr>
          <p:spPr>
            <a:xfrm>
              <a:off x="2698543" y="1641916"/>
              <a:ext cx="54" cy="54"/>
            </a:xfrm>
            <a:custGeom>
              <a:avLst/>
              <a:gdLst/>
              <a:ahLst/>
              <a:cxnLst/>
              <a:rect l="l" t="t" r="r" b="b"/>
              <a:pathLst>
                <a:path w="4" h="4" extrusionOk="0">
                  <a:moveTo>
                    <a:pt x="0" y="4"/>
                  </a:moveTo>
                  <a:lnTo>
                    <a:pt x="4"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252" name="Google Shape;6252;p104"/>
            <p:cNvSpPr/>
            <p:nvPr/>
          </p:nvSpPr>
          <p:spPr>
            <a:xfrm>
              <a:off x="2700348" y="1640870"/>
              <a:ext cx="54" cy="14"/>
            </a:xfrm>
            <a:custGeom>
              <a:avLst/>
              <a:gdLst/>
              <a:ahLst/>
              <a:cxnLst/>
              <a:rect l="l" t="t" r="r" b="b"/>
              <a:pathLst>
                <a:path w="4" h="1" extrusionOk="0">
                  <a:moveTo>
                    <a:pt x="0" y="0"/>
                  </a:moveTo>
                  <a:lnTo>
                    <a:pt x="4"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253" name="Google Shape;6253;p104"/>
            <p:cNvSpPr/>
            <p:nvPr/>
          </p:nvSpPr>
          <p:spPr>
            <a:xfrm>
              <a:off x="2699629" y="1641155"/>
              <a:ext cx="68" cy="14"/>
            </a:xfrm>
            <a:custGeom>
              <a:avLst/>
              <a:gdLst/>
              <a:ahLst/>
              <a:cxnLst/>
              <a:rect l="l" t="t" r="r" b="b"/>
              <a:pathLst>
                <a:path w="5" h="1" extrusionOk="0">
                  <a:moveTo>
                    <a:pt x="1" y="0"/>
                  </a:moveTo>
                  <a:lnTo>
                    <a:pt x="4"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254" name="Google Shape;6254;p104"/>
            <p:cNvSpPr/>
            <p:nvPr/>
          </p:nvSpPr>
          <p:spPr>
            <a:xfrm>
              <a:off x="2698448" y="1642051"/>
              <a:ext cx="54" cy="68"/>
            </a:xfrm>
            <a:custGeom>
              <a:avLst/>
              <a:gdLst/>
              <a:ahLst/>
              <a:cxnLst/>
              <a:rect l="l" t="t" r="r" b="b"/>
              <a:pathLst>
                <a:path w="4" h="5" extrusionOk="0">
                  <a:moveTo>
                    <a:pt x="0" y="4"/>
                  </a:moveTo>
                  <a:lnTo>
                    <a:pt x="4"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255" name="Google Shape;6255;p104"/>
            <p:cNvSpPr/>
            <p:nvPr/>
          </p:nvSpPr>
          <p:spPr>
            <a:xfrm>
              <a:off x="2699968" y="1641006"/>
              <a:ext cx="54" cy="14"/>
            </a:xfrm>
            <a:custGeom>
              <a:avLst/>
              <a:gdLst/>
              <a:ahLst/>
              <a:cxnLst/>
              <a:rect l="l" t="t" r="r" b="b"/>
              <a:pathLst>
                <a:path w="4" h="1" extrusionOk="0">
                  <a:moveTo>
                    <a:pt x="0" y="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256" name="Google Shape;6256;p104"/>
            <p:cNvSpPr/>
            <p:nvPr/>
          </p:nvSpPr>
          <p:spPr>
            <a:xfrm>
              <a:off x="2699303" y="1641291"/>
              <a:ext cx="109" cy="68"/>
            </a:xfrm>
            <a:custGeom>
              <a:avLst/>
              <a:gdLst/>
              <a:ahLst/>
              <a:cxnLst/>
              <a:rect l="l" t="t" r="r" b="b"/>
              <a:pathLst>
                <a:path w="8" h="5" extrusionOk="0">
                  <a:moveTo>
                    <a:pt x="0" y="4"/>
                  </a:moveTo>
                  <a:lnTo>
                    <a:pt x="7"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257" name="Google Shape;6257;p104"/>
            <p:cNvSpPr/>
            <p:nvPr/>
          </p:nvSpPr>
          <p:spPr>
            <a:xfrm>
              <a:off x="2750164" y="1633688"/>
              <a:ext cx="6952" cy="2050"/>
            </a:xfrm>
            <a:custGeom>
              <a:avLst/>
              <a:gdLst/>
              <a:ahLst/>
              <a:cxnLst/>
              <a:rect l="l" t="t" r="r" b="b"/>
              <a:pathLst>
                <a:path w="512" h="151" extrusionOk="0">
                  <a:moveTo>
                    <a:pt x="511" y="116"/>
                  </a:moveTo>
                  <a:cubicBezTo>
                    <a:pt x="319" y="0"/>
                    <a:pt x="98" y="74"/>
                    <a:pt x="0" y="151"/>
                  </a:cubicBezTo>
                  <a:lnTo>
                    <a:pt x="0" y="151"/>
                  </a:lnTo>
                  <a:cubicBezTo>
                    <a:pt x="98" y="74"/>
                    <a:pt x="319" y="0"/>
                    <a:pt x="511" y="116"/>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258" name="Google Shape;6258;p104"/>
            <p:cNvSpPr/>
            <p:nvPr/>
          </p:nvSpPr>
          <p:spPr>
            <a:xfrm>
              <a:off x="2757102" y="1635249"/>
              <a:ext cx="3666" cy="2009"/>
            </a:xfrm>
            <a:custGeom>
              <a:avLst/>
              <a:gdLst/>
              <a:ahLst/>
              <a:cxnLst/>
              <a:rect l="l" t="t" r="r" b="b"/>
              <a:pathLst>
                <a:path w="270" h="148" extrusionOk="0">
                  <a:moveTo>
                    <a:pt x="270" y="148"/>
                  </a:moveTo>
                  <a:cubicBezTo>
                    <a:pt x="224" y="141"/>
                    <a:pt x="137" y="88"/>
                    <a:pt x="74" y="46"/>
                  </a:cubicBezTo>
                  <a:cubicBezTo>
                    <a:pt x="49" y="32"/>
                    <a:pt x="25" y="15"/>
                    <a:pt x="0" y="1"/>
                  </a:cubicBezTo>
                  <a:cubicBezTo>
                    <a:pt x="25" y="15"/>
                    <a:pt x="49" y="32"/>
                    <a:pt x="74" y="46"/>
                  </a:cubicBezTo>
                  <a:cubicBezTo>
                    <a:pt x="137" y="88"/>
                    <a:pt x="224" y="141"/>
                    <a:pt x="270" y="148"/>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259" name="Google Shape;6259;p104"/>
            <p:cNvSpPr/>
            <p:nvPr/>
          </p:nvSpPr>
          <p:spPr>
            <a:xfrm>
              <a:off x="2728291" y="1626980"/>
              <a:ext cx="3489" cy="204"/>
            </a:xfrm>
            <a:custGeom>
              <a:avLst/>
              <a:gdLst/>
              <a:ahLst/>
              <a:cxnLst/>
              <a:rect l="l" t="t" r="r" b="b"/>
              <a:pathLst>
                <a:path w="257" h="15" extrusionOk="0">
                  <a:moveTo>
                    <a:pt x="256" y="15"/>
                  </a:moveTo>
                  <a:cubicBezTo>
                    <a:pt x="172" y="1"/>
                    <a:pt x="85" y="1"/>
                    <a:pt x="1" y="11"/>
                  </a:cubicBezTo>
                  <a:cubicBezTo>
                    <a:pt x="85" y="1"/>
                    <a:pt x="172" y="1"/>
                    <a:pt x="256" y="15"/>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260" name="Google Shape;6260;p104"/>
            <p:cNvSpPr/>
            <p:nvPr/>
          </p:nvSpPr>
          <p:spPr>
            <a:xfrm>
              <a:off x="2720688" y="1629126"/>
              <a:ext cx="3340" cy="1670"/>
            </a:xfrm>
            <a:custGeom>
              <a:avLst/>
              <a:gdLst/>
              <a:ahLst/>
              <a:cxnLst/>
              <a:rect l="l" t="t" r="r" b="b"/>
              <a:pathLst>
                <a:path w="246" h="123" extrusionOk="0">
                  <a:moveTo>
                    <a:pt x="246" y="0"/>
                  </a:moveTo>
                  <a:cubicBezTo>
                    <a:pt x="144" y="21"/>
                    <a:pt x="39" y="42"/>
                    <a:pt x="1" y="123"/>
                  </a:cubicBezTo>
                  <a:cubicBezTo>
                    <a:pt x="39" y="46"/>
                    <a:pt x="144" y="21"/>
                    <a:pt x="246"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261" name="Google Shape;6261;p104"/>
            <p:cNvSpPr/>
            <p:nvPr/>
          </p:nvSpPr>
          <p:spPr>
            <a:xfrm>
              <a:off x="2697877" y="1642337"/>
              <a:ext cx="434" cy="109"/>
            </a:xfrm>
            <a:custGeom>
              <a:avLst/>
              <a:gdLst/>
              <a:ahLst/>
              <a:cxnLst/>
              <a:rect l="l" t="t" r="r" b="b"/>
              <a:pathLst>
                <a:path w="32" h="8" extrusionOk="0">
                  <a:moveTo>
                    <a:pt x="25" y="8"/>
                  </a:moveTo>
                  <a:lnTo>
                    <a:pt x="32" y="8"/>
                  </a:lnTo>
                  <a:lnTo>
                    <a:pt x="32" y="1"/>
                  </a:lnTo>
                  <a:lnTo>
                    <a:pt x="32" y="8"/>
                  </a:lnTo>
                  <a:cubicBezTo>
                    <a:pt x="21" y="8"/>
                    <a:pt x="11" y="8"/>
                    <a:pt x="0" y="8"/>
                  </a:cubicBezTo>
                  <a:lnTo>
                    <a:pt x="0" y="8"/>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262" name="Google Shape;6262;p104"/>
            <p:cNvSpPr/>
            <p:nvPr/>
          </p:nvSpPr>
          <p:spPr>
            <a:xfrm>
              <a:off x="2761094" y="1634923"/>
              <a:ext cx="3666" cy="2200"/>
            </a:xfrm>
            <a:custGeom>
              <a:avLst/>
              <a:gdLst/>
              <a:ahLst/>
              <a:cxnLst/>
              <a:rect l="l" t="t" r="r" b="b"/>
              <a:pathLst>
                <a:path w="270" h="162" extrusionOk="0">
                  <a:moveTo>
                    <a:pt x="270" y="0"/>
                  </a:moveTo>
                  <a:cubicBezTo>
                    <a:pt x="154" y="42"/>
                    <a:pt x="46" y="84"/>
                    <a:pt x="0" y="161"/>
                  </a:cubicBezTo>
                  <a:cubicBezTo>
                    <a:pt x="46" y="84"/>
                    <a:pt x="154" y="42"/>
                    <a:pt x="270"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263" name="Google Shape;6263;p104"/>
            <p:cNvSpPr/>
            <p:nvPr/>
          </p:nvSpPr>
          <p:spPr>
            <a:xfrm>
              <a:off x="2741991" y="1628963"/>
              <a:ext cx="2240" cy="2688"/>
            </a:xfrm>
            <a:custGeom>
              <a:avLst/>
              <a:gdLst/>
              <a:ahLst/>
              <a:cxnLst/>
              <a:rect l="l" t="t" r="r" b="b"/>
              <a:pathLst>
                <a:path w="165" h="198" extrusionOk="0">
                  <a:moveTo>
                    <a:pt x="20" y="0"/>
                  </a:moveTo>
                  <a:cubicBezTo>
                    <a:pt x="14" y="0"/>
                    <a:pt x="7" y="1"/>
                    <a:pt x="0" y="2"/>
                  </a:cubicBezTo>
                  <a:lnTo>
                    <a:pt x="0" y="2"/>
                  </a:lnTo>
                  <a:cubicBezTo>
                    <a:pt x="7" y="1"/>
                    <a:pt x="13" y="0"/>
                    <a:pt x="19" y="0"/>
                  </a:cubicBezTo>
                  <a:cubicBezTo>
                    <a:pt x="67" y="0"/>
                    <a:pt x="99" y="35"/>
                    <a:pt x="122" y="82"/>
                  </a:cubicBezTo>
                  <a:lnTo>
                    <a:pt x="122" y="82"/>
                  </a:lnTo>
                  <a:cubicBezTo>
                    <a:pt x="99" y="34"/>
                    <a:pt x="68" y="0"/>
                    <a:pt x="20" y="0"/>
                  </a:cubicBezTo>
                  <a:close/>
                  <a:moveTo>
                    <a:pt x="122" y="82"/>
                  </a:moveTo>
                  <a:cubicBezTo>
                    <a:pt x="139" y="116"/>
                    <a:pt x="152" y="158"/>
                    <a:pt x="165" y="198"/>
                  </a:cubicBezTo>
                  <a:cubicBezTo>
                    <a:pt x="153" y="160"/>
                    <a:pt x="140" y="117"/>
                    <a:pt x="122" y="82"/>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264" name="Google Shape;6264;p104"/>
            <p:cNvSpPr/>
            <p:nvPr/>
          </p:nvSpPr>
          <p:spPr>
            <a:xfrm>
              <a:off x="2895851" y="1634774"/>
              <a:ext cx="3571" cy="964"/>
            </a:xfrm>
            <a:custGeom>
              <a:avLst/>
              <a:gdLst/>
              <a:ahLst/>
              <a:cxnLst/>
              <a:rect l="l" t="t" r="r" b="b"/>
              <a:pathLst>
                <a:path w="263" h="71" extrusionOk="0">
                  <a:moveTo>
                    <a:pt x="35" y="25"/>
                  </a:moveTo>
                  <a:cubicBezTo>
                    <a:pt x="105" y="57"/>
                    <a:pt x="182" y="71"/>
                    <a:pt x="263" y="67"/>
                  </a:cubicBezTo>
                  <a:cubicBezTo>
                    <a:pt x="182" y="71"/>
                    <a:pt x="105" y="57"/>
                    <a:pt x="35" y="25"/>
                  </a:cubicBezTo>
                  <a:cubicBezTo>
                    <a:pt x="21" y="18"/>
                    <a:pt x="7" y="11"/>
                    <a:pt x="0" y="1"/>
                  </a:cubicBezTo>
                  <a:cubicBezTo>
                    <a:pt x="7" y="11"/>
                    <a:pt x="21" y="18"/>
                    <a:pt x="35" y="25"/>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265" name="Google Shape;6265;p104"/>
            <p:cNvSpPr/>
            <p:nvPr/>
          </p:nvSpPr>
          <p:spPr>
            <a:xfrm>
              <a:off x="2850271" y="1641576"/>
              <a:ext cx="6191" cy="1208"/>
            </a:xfrm>
            <a:custGeom>
              <a:avLst/>
              <a:gdLst/>
              <a:ahLst/>
              <a:cxnLst/>
              <a:rect l="l" t="t" r="r" b="b"/>
              <a:pathLst>
                <a:path w="456" h="89" extrusionOk="0">
                  <a:moveTo>
                    <a:pt x="455" y="88"/>
                  </a:moveTo>
                  <a:cubicBezTo>
                    <a:pt x="417" y="85"/>
                    <a:pt x="378" y="78"/>
                    <a:pt x="343" y="60"/>
                  </a:cubicBezTo>
                  <a:cubicBezTo>
                    <a:pt x="284" y="11"/>
                    <a:pt x="175" y="4"/>
                    <a:pt x="0" y="1"/>
                  </a:cubicBezTo>
                  <a:cubicBezTo>
                    <a:pt x="175" y="4"/>
                    <a:pt x="284" y="11"/>
                    <a:pt x="343" y="60"/>
                  </a:cubicBezTo>
                  <a:cubicBezTo>
                    <a:pt x="378" y="78"/>
                    <a:pt x="417" y="85"/>
                    <a:pt x="455" y="88"/>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266" name="Google Shape;6266;p104"/>
            <p:cNvSpPr/>
            <p:nvPr/>
          </p:nvSpPr>
          <p:spPr>
            <a:xfrm>
              <a:off x="2868370" y="1640300"/>
              <a:ext cx="3965" cy="774"/>
            </a:xfrm>
            <a:custGeom>
              <a:avLst/>
              <a:gdLst/>
              <a:ahLst/>
              <a:cxnLst/>
              <a:rect l="l" t="t" r="r" b="b"/>
              <a:pathLst>
                <a:path w="292" h="57" extrusionOk="0">
                  <a:moveTo>
                    <a:pt x="291" y="0"/>
                  </a:moveTo>
                  <a:cubicBezTo>
                    <a:pt x="211" y="21"/>
                    <a:pt x="95" y="39"/>
                    <a:pt x="1" y="56"/>
                  </a:cubicBezTo>
                  <a:cubicBezTo>
                    <a:pt x="95" y="42"/>
                    <a:pt x="211" y="21"/>
                    <a:pt x="291"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267" name="Google Shape;6267;p104"/>
            <p:cNvSpPr/>
            <p:nvPr/>
          </p:nvSpPr>
          <p:spPr>
            <a:xfrm>
              <a:off x="2799315" y="1625840"/>
              <a:ext cx="394" cy="2824"/>
            </a:xfrm>
            <a:custGeom>
              <a:avLst/>
              <a:gdLst/>
              <a:ahLst/>
              <a:cxnLst/>
              <a:rect l="l" t="t" r="r" b="b"/>
              <a:pathLst>
                <a:path w="29" h="208" extrusionOk="0">
                  <a:moveTo>
                    <a:pt x="28" y="207"/>
                  </a:moveTo>
                  <a:cubicBezTo>
                    <a:pt x="0" y="176"/>
                    <a:pt x="4" y="78"/>
                    <a:pt x="4" y="1"/>
                  </a:cubicBezTo>
                  <a:cubicBezTo>
                    <a:pt x="4" y="78"/>
                    <a:pt x="0" y="176"/>
                    <a:pt x="28" y="207"/>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268" name="Google Shape;6268;p104"/>
            <p:cNvSpPr/>
            <p:nvPr/>
          </p:nvSpPr>
          <p:spPr>
            <a:xfrm>
              <a:off x="2845696" y="1640911"/>
              <a:ext cx="4290" cy="638"/>
            </a:xfrm>
            <a:custGeom>
              <a:avLst/>
              <a:gdLst/>
              <a:ahLst/>
              <a:cxnLst/>
              <a:rect l="l" t="t" r="r" b="b"/>
              <a:pathLst>
                <a:path w="316" h="47" extrusionOk="0">
                  <a:moveTo>
                    <a:pt x="316" y="46"/>
                  </a:moveTo>
                  <a:cubicBezTo>
                    <a:pt x="211" y="43"/>
                    <a:pt x="22" y="36"/>
                    <a:pt x="1" y="1"/>
                  </a:cubicBezTo>
                  <a:cubicBezTo>
                    <a:pt x="22" y="36"/>
                    <a:pt x="211" y="43"/>
                    <a:pt x="316" y="46"/>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269" name="Google Shape;6269;p104"/>
            <p:cNvSpPr/>
            <p:nvPr/>
          </p:nvSpPr>
          <p:spPr>
            <a:xfrm>
              <a:off x="2342147" y="1694393"/>
              <a:ext cx="190" cy="54"/>
            </a:xfrm>
            <a:custGeom>
              <a:avLst/>
              <a:gdLst/>
              <a:ahLst/>
              <a:cxnLst/>
              <a:rect l="l" t="t" r="r" b="b"/>
              <a:pathLst>
                <a:path w="14" h="4" extrusionOk="0">
                  <a:moveTo>
                    <a:pt x="0" y="4"/>
                  </a:moveTo>
                  <a:lnTo>
                    <a:pt x="14"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270" name="Google Shape;6270;p104"/>
            <p:cNvSpPr/>
            <p:nvPr/>
          </p:nvSpPr>
          <p:spPr>
            <a:xfrm>
              <a:off x="2342527" y="1694243"/>
              <a:ext cx="109" cy="54"/>
            </a:xfrm>
            <a:custGeom>
              <a:avLst/>
              <a:gdLst/>
              <a:ahLst/>
              <a:cxnLst/>
              <a:rect l="l" t="t" r="r" b="b"/>
              <a:pathLst>
                <a:path w="8" h="4" extrusionOk="0">
                  <a:moveTo>
                    <a:pt x="0" y="4"/>
                  </a:moveTo>
                  <a:lnTo>
                    <a:pt x="7"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271" name="Google Shape;6271;p104"/>
            <p:cNvSpPr/>
            <p:nvPr/>
          </p:nvSpPr>
          <p:spPr>
            <a:xfrm>
              <a:off x="2342812" y="1694148"/>
              <a:ext cx="109" cy="54"/>
            </a:xfrm>
            <a:custGeom>
              <a:avLst/>
              <a:gdLst/>
              <a:ahLst/>
              <a:cxnLst/>
              <a:rect l="l" t="t" r="r" b="b"/>
              <a:pathLst>
                <a:path w="8" h="4" extrusionOk="0">
                  <a:moveTo>
                    <a:pt x="0" y="4"/>
                  </a:moveTo>
                  <a:lnTo>
                    <a:pt x="7"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272" name="Google Shape;6272;p104"/>
            <p:cNvSpPr/>
            <p:nvPr/>
          </p:nvSpPr>
          <p:spPr>
            <a:xfrm>
              <a:off x="2341767" y="1694529"/>
              <a:ext cx="190" cy="109"/>
            </a:xfrm>
            <a:custGeom>
              <a:avLst/>
              <a:gdLst/>
              <a:ahLst/>
              <a:cxnLst/>
              <a:rect l="l" t="t" r="r" b="b"/>
              <a:pathLst>
                <a:path w="14" h="8" extrusionOk="0">
                  <a:moveTo>
                    <a:pt x="0" y="8"/>
                  </a:moveTo>
                  <a:lnTo>
                    <a:pt x="14"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273" name="Google Shape;6273;p104"/>
            <p:cNvSpPr/>
            <p:nvPr/>
          </p:nvSpPr>
          <p:spPr>
            <a:xfrm>
              <a:off x="2341278" y="1694773"/>
              <a:ext cx="258" cy="109"/>
            </a:xfrm>
            <a:custGeom>
              <a:avLst/>
              <a:gdLst/>
              <a:ahLst/>
              <a:cxnLst/>
              <a:rect l="l" t="t" r="r" b="b"/>
              <a:pathLst>
                <a:path w="19" h="8" extrusionOk="0">
                  <a:moveTo>
                    <a:pt x="1" y="7"/>
                  </a:moveTo>
                  <a:lnTo>
                    <a:pt x="18"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274" name="Google Shape;6274;p104"/>
            <p:cNvSpPr/>
            <p:nvPr/>
          </p:nvSpPr>
          <p:spPr>
            <a:xfrm>
              <a:off x="2371230" y="1702227"/>
              <a:ext cx="1208" cy="923"/>
            </a:xfrm>
            <a:custGeom>
              <a:avLst/>
              <a:gdLst/>
              <a:ahLst/>
              <a:cxnLst/>
              <a:rect l="l" t="t" r="r" b="b"/>
              <a:pathLst>
                <a:path w="89" h="68" extrusionOk="0">
                  <a:moveTo>
                    <a:pt x="1" y="1"/>
                  </a:moveTo>
                  <a:cubicBezTo>
                    <a:pt x="29" y="25"/>
                    <a:pt x="57" y="50"/>
                    <a:pt x="88" y="67"/>
                  </a:cubicBezTo>
                  <a:cubicBezTo>
                    <a:pt x="57" y="50"/>
                    <a:pt x="29" y="25"/>
                    <a:pt x="1" y="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275" name="Google Shape;6275;p104"/>
            <p:cNvSpPr/>
            <p:nvPr/>
          </p:nvSpPr>
          <p:spPr>
            <a:xfrm>
              <a:off x="2343043" y="1694148"/>
              <a:ext cx="68" cy="14"/>
            </a:xfrm>
            <a:custGeom>
              <a:avLst/>
              <a:gdLst/>
              <a:ahLst/>
              <a:cxnLst/>
              <a:rect l="l" t="t" r="r" b="b"/>
              <a:pathLst>
                <a:path w="5" h="1" extrusionOk="0">
                  <a:moveTo>
                    <a:pt x="1" y="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276" name="Google Shape;6276;p104"/>
            <p:cNvSpPr/>
            <p:nvPr/>
          </p:nvSpPr>
          <p:spPr>
            <a:xfrm>
              <a:off x="2385676" y="1707223"/>
              <a:ext cx="14" cy="54"/>
            </a:xfrm>
            <a:custGeom>
              <a:avLst/>
              <a:gdLst/>
              <a:ahLst/>
              <a:cxnLst/>
              <a:rect l="l" t="t" r="r" b="b"/>
              <a:pathLst>
                <a:path w="1" h="4" extrusionOk="0">
                  <a:moveTo>
                    <a:pt x="1" y="0"/>
                  </a:moveTo>
                  <a:lnTo>
                    <a:pt x="1" y="4"/>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277" name="Google Shape;6277;p104"/>
            <p:cNvSpPr/>
            <p:nvPr/>
          </p:nvSpPr>
          <p:spPr>
            <a:xfrm>
              <a:off x="2340708" y="1695058"/>
              <a:ext cx="299" cy="149"/>
            </a:xfrm>
            <a:custGeom>
              <a:avLst/>
              <a:gdLst/>
              <a:ahLst/>
              <a:cxnLst/>
              <a:rect l="l" t="t" r="r" b="b"/>
              <a:pathLst>
                <a:path w="22" h="11" extrusionOk="0">
                  <a:moveTo>
                    <a:pt x="1" y="11"/>
                  </a:moveTo>
                  <a:lnTo>
                    <a:pt x="22"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278" name="Google Shape;6278;p104"/>
            <p:cNvSpPr/>
            <p:nvPr/>
          </p:nvSpPr>
          <p:spPr>
            <a:xfrm>
              <a:off x="2372520" y="1702892"/>
              <a:ext cx="489" cy="299"/>
            </a:xfrm>
            <a:custGeom>
              <a:avLst/>
              <a:gdLst/>
              <a:ahLst/>
              <a:cxnLst/>
              <a:rect l="l" t="t" r="r" b="b"/>
              <a:pathLst>
                <a:path w="36" h="22" extrusionOk="0">
                  <a:moveTo>
                    <a:pt x="0" y="22"/>
                  </a:moveTo>
                  <a:cubicBezTo>
                    <a:pt x="11" y="11"/>
                    <a:pt x="21" y="4"/>
                    <a:pt x="35" y="1"/>
                  </a:cubicBezTo>
                  <a:cubicBezTo>
                    <a:pt x="21" y="4"/>
                    <a:pt x="11" y="11"/>
                    <a:pt x="0" y="22"/>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279" name="Google Shape;6279;p104"/>
            <p:cNvSpPr/>
            <p:nvPr/>
          </p:nvSpPr>
          <p:spPr>
            <a:xfrm>
              <a:off x="2372995" y="1701942"/>
              <a:ext cx="7617" cy="923"/>
            </a:xfrm>
            <a:custGeom>
              <a:avLst/>
              <a:gdLst/>
              <a:ahLst/>
              <a:cxnLst/>
              <a:rect l="l" t="t" r="r" b="b"/>
              <a:pathLst>
                <a:path w="561" h="68" extrusionOk="0">
                  <a:moveTo>
                    <a:pt x="560" y="1"/>
                  </a:moveTo>
                  <a:cubicBezTo>
                    <a:pt x="273" y="1"/>
                    <a:pt x="91" y="25"/>
                    <a:pt x="0" y="67"/>
                  </a:cubicBezTo>
                  <a:cubicBezTo>
                    <a:pt x="91" y="25"/>
                    <a:pt x="273" y="4"/>
                    <a:pt x="560" y="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280" name="Google Shape;6280;p104"/>
            <p:cNvSpPr/>
            <p:nvPr/>
          </p:nvSpPr>
          <p:spPr>
            <a:xfrm>
              <a:off x="2343287" y="1694040"/>
              <a:ext cx="9518" cy="2878"/>
            </a:xfrm>
            <a:custGeom>
              <a:avLst/>
              <a:gdLst/>
              <a:ahLst/>
              <a:cxnLst/>
              <a:rect l="l" t="t" r="r" b="b"/>
              <a:pathLst>
                <a:path w="701" h="212" extrusionOk="0">
                  <a:moveTo>
                    <a:pt x="69" y="0"/>
                  </a:moveTo>
                  <a:cubicBezTo>
                    <a:pt x="44" y="0"/>
                    <a:pt x="21" y="2"/>
                    <a:pt x="0" y="5"/>
                  </a:cubicBezTo>
                  <a:cubicBezTo>
                    <a:pt x="19" y="2"/>
                    <a:pt x="41" y="1"/>
                    <a:pt x="63" y="1"/>
                  </a:cubicBezTo>
                  <a:cubicBezTo>
                    <a:pt x="251" y="1"/>
                    <a:pt x="531" y="90"/>
                    <a:pt x="700" y="212"/>
                  </a:cubicBezTo>
                  <a:cubicBezTo>
                    <a:pt x="533" y="91"/>
                    <a:pt x="256" y="0"/>
                    <a:pt x="69"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281" name="Google Shape;6281;p104"/>
            <p:cNvSpPr/>
            <p:nvPr/>
          </p:nvSpPr>
          <p:spPr>
            <a:xfrm>
              <a:off x="2385771" y="1707509"/>
              <a:ext cx="14" cy="54"/>
            </a:xfrm>
            <a:custGeom>
              <a:avLst/>
              <a:gdLst/>
              <a:ahLst/>
              <a:cxnLst/>
              <a:rect l="l" t="t" r="r" b="b"/>
              <a:pathLst>
                <a:path w="1" h="4" extrusionOk="0">
                  <a:moveTo>
                    <a:pt x="1" y="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282" name="Google Shape;6282;p104"/>
            <p:cNvSpPr/>
            <p:nvPr/>
          </p:nvSpPr>
          <p:spPr>
            <a:xfrm>
              <a:off x="2386667" y="1707807"/>
              <a:ext cx="3870" cy="2227"/>
            </a:xfrm>
            <a:custGeom>
              <a:avLst/>
              <a:gdLst/>
              <a:ahLst/>
              <a:cxnLst/>
              <a:rect l="l" t="t" r="r" b="b"/>
              <a:pathLst>
                <a:path w="285" h="164" extrusionOk="0">
                  <a:moveTo>
                    <a:pt x="1" y="1"/>
                  </a:moveTo>
                  <a:lnTo>
                    <a:pt x="1" y="1"/>
                  </a:lnTo>
                  <a:cubicBezTo>
                    <a:pt x="56" y="25"/>
                    <a:pt x="111" y="56"/>
                    <a:pt x="159" y="90"/>
                  </a:cubicBezTo>
                  <a:cubicBezTo>
                    <a:pt x="187" y="108"/>
                    <a:pt x="215" y="125"/>
                    <a:pt x="243" y="143"/>
                  </a:cubicBezTo>
                  <a:lnTo>
                    <a:pt x="285" y="164"/>
                  </a:lnTo>
                  <a:cubicBezTo>
                    <a:pt x="243" y="143"/>
                    <a:pt x="204" y="115"/>
                    <a:pt x="162" y="90"/>
                  </a:cubicBezTo>
                  <a:cubicBezTo>
                    <a:pt x="111" y="56"/>
                    <a:pt x="56" y="25"/>
                    <a:pt x="1" y="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283" name="Google Shape;6283;p104"/>
            <p:cNvSpPr/>
            <p:nvPr/>
          </p:nvSpPr>
          <p:spPr>
            <a:xfrm>
              <a:off x="2210472" y="1589344"/>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284" name="Google Shape;6284;p104"/>
            <p:cNvSpPr/>
            <p:nvPr/>
          </p:nvSpPr>
          <p:spPr>
            <a:xfrm>
              <a:off x="2211138" y="1589344"/>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285" name="Google Shape;6285;p104"/>
            <p:cNvSpPr/>
            <p:nvPr/>
          </p:nvSpPr>
          <p:spPr>
            <a:xfrm>
              <a:off x="2198728" y="1588678"/>
              <a:ext cx="353" cy="54"/>
            </a:xfrm>
            <a:custGeom>
              <a:avLst/>
              <a:gdLst/>
              <a:ahLst/>
              <a:cxnLst/>
              <a:rect l="l" t="t" r="r" b="b"/>
              <a:pathLst>
                <a:path w="26" h="4" extrusionOk="0">
                  <a:moveTo>
                    <a:pt x="25" y="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286" name="Google Shape;6286;p104"/>
            <p:cNvSpPr/>
            <p:nvPr/>
          </p:nvSpPr>
          <p:spPr>
            <a:xfrm>
              <a:off x="2198253" y="1588678"/>
              <a:ext cx="258" cy="14"/>
            </a:xfrm>
            <a:custGeom>
              <a:avLst/>
              <a:gdLst/>
              <a:ahLst/>
              <a:cxnLst/>
              <a:rect l="l" t="t" r="r" b="b"/>
              <a:pathLst>
                <a:path w="19" h="1" extrusionOk="0">
                  <a:moveTo>
                    <a:pt x="18"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287" name="Google Shape;6287;p104"/>
            <p:cNvSpPr/>
            <p:nvPr/>
          </p:nvSpPr>
          <p:spPr>
            <a:xfrm>
              <a:off x="2194071" y="1587579"/>
              <a:ext cx="163" cy="68"/>
            </a:xfrm>
            <a:custGeom>
              <a:avLst/>
              <a:gdLst/>
              <a:ahLst/>
              <a:cxnLst/>
              <a:rect l="l" t="t" r="r" b="b"/>
              <a:pathLst>
                <a:path w="12" h="5" extrusionOk="0">
                  <a:moveTo>
                    <a:pt x="11" y="4"/>
                  </a:moveTo>
                  <a:lnTo>
                    <a:pt x="1"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288" name="Google Shape;6288;p104"/>
            <p:cNvSpPr/>
            <p:nvPr/>
          </p:nvSpPr>
          <p:spPr>
            <a:xfrm>
              <a:off x="2193650" y="1587443"/>
              <a:ext cx="54" cy="14"/>
            </a:xfrm>
            <a:custGeom>
              <a:avLst/>
              <a:gdLst/>
              <a:ahLst/>
              <a:cxnLst/>
              <a:rect l="l" t="t" r="r" b="b"/>
              <a:pathLst>
                <a:path w="4" h="1" extrusionOk="0">
                  <a:moveTo>
                    <a:pt x="4"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289" name="Google Shape;6289;p104"/>
            <p:cNvSpPr/>
            <p:nvPr/>
          </p:nvSpPr>
          <p:spPr>
            <a:xfrm>
              <a:off x="2197777" y="1588583"/>
              <a:ext cx="204" cy="14"/>
            </a:xfrm>
            <a:custGeom>
              <a:avLst/>
              <a:gdLst/>
              <a:ahLst/>
              <a:cxnLst/>
              <a:rect l="l" t="t" r="r" b="b"/>
              <a:pathLst>
                <a:path w="15" h="1" extrusionOk="0">
                  <a:moveTo>
                    <a:pt x="15"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290" name="Google Shape;6290;p104"/>
            <p:cNvSpPr/>
            <p:nvPr/>
          </p:nvSpPr>
          <p:spPr>
            <a:xfrm>
              <a:off x="2209807" y="1589384"/>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291" name="Google Shape;6291;p104"/>
            <p:cNvSpPr/>
            <p:nvPr/>
          </p:nvSpPr>
          <p:spPr>
            <a:xfrm>
              <a:off x="2199298" y="1588719"/>
              <a:ext cx="353" cy="68"/>
            </a:xfrm>
            <a:custGeom>
              <a:avLst/>
              <a:gdLst/>
              <a:ahLst/>
              <a:cxnLst/>
              <a:rect l="l" t="t" r="r" b="b"/>
              <a:pathLst>
                <a:path w="26" h="5" extrusionOk="0">
                  <a:moveTo>
                    <a:pt x="25" y="4"/>
                  </a:moveTo>
                  <a:lnTo>
                    <a:pt x="1"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292" name="Google Shape;6292;p104"/>
            <p:cNvSpPr/>
            <p:nvPr/>
          </p:nvSpPr>
          <p:spPr>
            <a:xfrm>
              <a:off x="2208436" y="1589344"/>
              <a:ext cx="679" cy="14"/>
            </a:xfrm>
            <a:custGeom>
              <a:avLst/>
              <a:gdLst/>
              <a:ahLst/>
              <a:cxnLst/>
              <a:rect l="l" t="t" r="r" b="b"/>
              <a:pathLst>
                <a:path w="50" h="1" extrusionOk="0">
                  <a:moveTo>
                    <a:pt x="49"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293" name="Google Shape;6293;p104"/>
            <p:cNvSpPr/>
            <p:nvPr/>
          </p:nvSpPr>
          <p:spPr>
            <a:xfrm>
              <a:off x="2202448" y="1589004"/>
              <a:ext cx="5947" cy="353"/>
            </a:xfrm>
            <a:custGeom>
              <a:avLst/>
              <a:gdLst/>
              <a:ahLst/>
              <a:cxnLst/>
              <a:rect l="l" t="t" r="r" b="b"/>
              <a:pathLst>
                <a:path w="438" h="26" extrusionOk="0">
                  <a:moveTo>
                    <a:pt x="438" y="25"/>
                  </a:moveTo>
                  <a:cubicBezTo>
                    <a:pt x="294" y="22"/>
                    <a:pt x="140" y="11"/>
                    <a:pt x="0" y="1"/>
                  </a:cubicBezTo>
                  <a:cubicBezTo>
                    <a:pt x="140" y="11"/>
                    <a:pt x="294" y="22"/>
                    <a:pt x="438" y="25"/>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294" name="Google Shape;6294;p104"/>
            <p:cNvSpPr/>
            <p:nvPr/>
          </p:nvSpPr>
          <p:spPr>
            <a:xfrm>
              <a:off x="2213228" y="1589194"/>
              <a:ext cx="299" cy="14"/>
            </a:xfrm>
            <a:custGeom>
              <a:avLst/>
              <a:gdLst/>
              <a:ahLst/>
              <a:cxnLst/>
              <a:rect l="l" t="t" r="r" b="b"/>
              <a:pathLst>
                <a:path w="22" h="1" extrusionOk="0">
                  <a:moveTo>
                    <a:pt x="22"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295" name="Google Shape;6295;p104"/>
            <p:cNvSpPr/>
            <p:nvPr/>
          </p:nvSpPr>
          <p:spPr>
            <a:xfrm>
              <a:off x="2212047" y="1589289"/>
              <a:ext cx="339" cy="14"/>
            </a:xfrm>
            <a:custGeom>
              <a:avLst/>
              <a:gdLst/>
              <a:ahLst/>
              <a:cxnLst/>
              <a:rect l="l" t="t" r="r" b="b"/>
              <a:pathLst>
                <a:path w="25" h="1" extrusionOk="0">
                  <a:moveTo>
                    <a:pt x="25"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296" name="Google Shape;6296;p104"/>
            <p:cNvSpPr/>
            <p:nvPr/>
          </p:nvSpPr>
          <p:spPr>
            <a:xfrm>
              <a:off x="2211382" y="1589289"/>
              <a:ext cx="394" cy="14"/>
            </a:xfrm>
            <a:custGeom>
              <a:avLst/>
              <a:gdLst/>
              <a:ahLst/>
              <a:cxnLst/>
              <a:rect l="l" t="t" r="r" b="b"/>
              <a:pathLst>
                <a:path w="29" h="1" extrusionOk="0">
                  <a:moveTo>
                    <a:pt x="28"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297" name="Google Shape;6297;p104"/>
            <p:cNvSpPr/>
            <p:nvPr/>
          </p:nvSpPr>
          <p:spPr>
            <a:xfrm>
              <a:off x="2195876" y="1588244"/>
              <a:ext cx="109" cy="68"/>
            </a:xfrm>
            <a:custGeom>
              <a:avLst/>
              <a:gdLst/>
              <a:ahLst/>
              <a:cxnLst/>
              <a:rect l="l" t="t" r="r" b="b"/>
              <a:pathLst>
                <a:path w="8" h="5" extrusionOk="0">
                  <a:moveTo>
                    <a:pt x="8" y="4"/>
                  </a:moveTo>
                  <a:lnTo>
                    <a:pt x="1"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298" name="Google Shape;6298;p104"/>
            <p:cNvSpPr/>
            <p:nvPr/>
          </p:nvSpPr>
          <p:spPr>
            <a:xfrm>
              <a:off x="2195456" y="1588108"/>
              <a:ext cx="149" cy="109"/>
            </a:xfrm>
            <a:custGeom>
              <a:avLst/>
              <a:gdLst/>
              <a:ahLst/>
              <a:cxnLst/>
              <a:rect l="l" t="t" r="r" b="b"/>
              <a:pathLst>
                <a:path w="11" h="8" extrusionOk="0">
                  <a:moveTo>
                    <a:pt x="11" y="7"/>
                  </a:moveTo>
                  <a:lnTo>
                    <a:pt x="0"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299" name="Google Shape;6299;p104"/>
            <p:cNvSpPr/>
            <p:nvPr/>
          </p:nvSpPr>
          <p:spPr>
            <a:xfrm>
              <a:off x="2196067" y="1588339"/>
              <a:ext cx="163" cy="14"/>
            </a:xfrm>
            <a:custGeom>
              <a:avLst/>
              <a:gdLst/>
              <a:ahLst/>
              <a:cxnLst/>
              <a:rect l="l" t="t" r="r" b="b"/>
              <a:pathLst>
                <a:path w="12" h="1" extrusionOk="0">
                  <a:moveTo>
                    <a:pt x="11"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300" name="Google Shape;6300;p104"/>
            <p:cNvSpPr/>
            <p:nvPr/>
          </p:nvSpPr>
          <p:spPr>
            <a:xfrm>
              <a:off x="2212658" y="1589249"/>
              <a:ext cx="299" cy="14"/>
            </a:xfrm>
            <a:custGeom>
              <a:avLst/>
              <a:gdLst/>
              <a:ahLst/>
              <a:cxnLst/>
              <a:rect l="l" t="t" r="r" b="b"/>
              <a:pathLst>
                <a:path w="22" h="1" extrusionOk="0">
                  <a:moveTo>
                    <a:pt x="22"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301" name="Google Shape;6301;p104"/>
            <p:cNvSpPr/>
            <p:nvPr/>
          </p:nvSpPr>
          <p:spPr>
            <a:xfrm>
              <a:off x="2196352" y="1588393"/>
              <a:ext cx="109" cy="14"/>
            </a:xfrm>
            <a:custGeom>
              <a:avLst/>
              <a:gdLst/>
              <a:ahLst/>
              <a:cxnLst/>
              <a:rect l="l" t="t" r="r" b="b"/>
              <a:pathLst>
                <a:path w="8" h="1" extrusionOk="0">
                  <a:moveTo>
                    <a:pt x="8"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302" name="Google Shape;6302;p104"/>
            <p:cNvSpPr/>
            <p:nvPr/>
          </p:nvSpPr>
          <p:spPr>
            <a:xfrm>
              <a:off x="2194641" y="1587769"/>
              <a:ext cx="258" cy="109"/>
            </a:xfrm>
            <a:custGeom>
              <a:avLst/>
              <a:gdLst/>
              <a:ahLst/>
              <a:cxnLst/>
              <a:rect l="l" t="t" r="r" b="b"/>
              <a:pathLst>
                <a:path w="19" h="8" extrusionOk="0">
                  <a:moveTo>
                    <a:pt x="18" y="8"/>
                  </a:moveTo>
                  <a:lnTo>
                    <a:pt x="1"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303" name="Google Shape;6303;p104"/>
            <p:cNvSpPr/>
            <p:nvPr/>
          </p:nvSpPr>
          <p:spPr>
            <a:xfrm>
              <a:off x="2196976" y="1588488"/>
              <a:ext cx="149" cy="14"/>
            </a:xfrm>
            <a:custGeom>
              <a:avLst/>
              <a:gdLst/>
              <a:ahLst/>
              <a:cxnLst/>
              <a:rect l="l" t="t" r="r" b="b"/>
              <a:pathLst>
                <a:path w="11" h="1" extrusionOk="0">
                  <a:moveTo>
                    <a:pt x="11"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304" name="Google Shape;6304;p104"/>
            <p:cNvSpPr/>
            <p:nvPr/>
          </p:nvSpPr>
          <p:spPr>
            <a:xfrm>
              <a:off x="2195075" y="1587959"/>
              <a:ext cx="204" cy="68"/>
            </a:xfrm>
            <a:custGeom>
              <a:avLst/>
              <a:gdLst/>
              <a:ahLst/>
              <a:cxnLst/>
              <a:rect l="l" t="t" r="r" b="b"/>
              <a:pathLst>
                <a:path w="15" h="5" extrusionOk="0">
                  <a:moveTo>
                    <a:pt x="14"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305" name="Google Shape;6305;p104"/>
            <p:cNvSpPr/>
            <p:nvPr/>
          </p:nvSpPr>
          <p:spPr>
            <a:xfrm>
              <a:off x="2197356" y="1588529"/>
              <a:ext cx="204" cy="14"/>
            </a:xfrm>
            <a:custGeom>
              <a:avLst/>
              <a:gdLst/>
              <a:ahLst/>
              <a:cxnLst/>
              <a:rect l="l" t="t" r="r" b="b"/>
              <a:pathLst>
                <a:path w="15" h="1" extrusionOk="0">
                  <a:moveTo>
                    <a:pt x="14"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306" name="Google Shape;6306;p104"/>
            <p:cNvSpPr/>
            <p:nvPr/>
          </p:nvSpPr>
          <p:spPr>
            <a:xfrm>
              <a:off x="2196637" y="1588434"/>
              <a:ext cx="163" cy="14"/>
            </a:xfrm>
            <a:custGeom>
              <a:avLst/>
              <a:gdLst/>
              <a:ahLst/>
              <a:cxnLst/>
              <a:rect l="l" t="t" r="r" b="b"/>
              <a:pathLst>
                <a:path w="12" h="1" extrusionOk="0">
                  <a:moveTo>
                    <a:pt x="11"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307" name="Google Shape;6307;p104"/>
            <p:cNvSpPr/>
            <p:nvPr/>
          </p:nvSpPr>
          <p:spPr>
            <a:xfrm>
              <a:off x="2201783" y="1588963"/>
              <a:ext cx="625" cy="54"/>
            </a:xfrm>
            <a:custGeom>
              <a:avLst/>
              <a:gdLst/>
              <a:ahLst/>
              <a:cxnLst/>
              <a:rect l="l" t="t" r="r" b="b"/>
              <a:pathLst>
                <a:path w="46" h="4" extrusionOk="0">
                  <a:moveTo>
                    <a:pt x="46"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308" name="Google Shape;6308;p104"/>
            <p:cNvSpPr/>
            <p:nvPr/>
          </p:nvSpPr>
          <p:spPr>
            <a:xfrm>
              <a:off x="2201117" y="1588909"/>
              <a:ext cx="530" cy="68"/>
            </a:xfrm>
            <a:custGeom>
              <a:avLst/>
              <a:gdLst/>
              <a:ahLst/>
              <a:cxnLst/>
              <a:rect l="l" t="t" r="r" b="b"/>
              <a:pathLst>
                <a:path w="39" h="5" extrusionOk="0">
                  <a:moveTo>
                    <a:pt x="39"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309" name="Google Shape;6309;p104"/>
            <p:cNvSpPr/>
            <p:nvPr/>
          </p:nvSpPr>
          <p:spPr>
            <a:xfrm>
              <a:off x="2199868" y="1588814"/>
              <a:ext cx="394" cy="14"/>
            </a:xfrm>
            <a:custGeom>
              <a:avLst/>
              <a:gdLst/>
              <a:ahLst/>
              <a:cxnLst/>
              <a:rect l="l" t="t" r="r" b="b"/>
              <a:pathLst>
                <a:path w="29" h="1" extrusionOk="0">
                  <a:moveTo>
                    <a:pt x="29"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310" name="Google Shape;6310;p104"/>
            <p:cNvSpPr/>
            <p:nvPr/>
          </p:nvSpPr>
          <p:spPr>
            <a:xfrm>
              <a:off x="2200493" y="1588868"/>
              <a:ext cx="489" cy="54"/>
            </a:xfrm>
            <a:custGeom>
              <a:avLst/>
              <a:gdLst/>
              <a:ahLst/>
              <a:cxnLst/>
              <a:rect l="l" t="t" r="r" b="b"/>
              <a:pathLst>
                <a:path w="36" h="4" extrusionOk="0">
                  <a:moveTo>
                    <a:pt x="36"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311" name="Google Shape;6311;p104"/>
            <p:cNvSpPr/>
            <p:nvPr/>
          </p:nvSpPr>
          <p:spPr>
            <a:xfrm>
              <a:off x="2213799" y="1589154"/>
              <a:ext cx="68" cy="14"/>
            </a:xfrm>
            <a:custGeom>
              <a:avLst/>
              <a:gdLst/>
              <a:ahLst/>
              <a:cxnLst/>
              <a:rect l="l" t="t" r="r" b="b"/>
              <a:pathLst>
                <a:path w="5" h="1" extrusionOk="0">
                  <a:moveTo>
                    <a:pt x="1" y="0"/>
                  </a:moveTo>
                  <a:lnTo>
                    <a:pt x="4"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312" name="Google Shape;6312;p104"/>
            <p:cNvSpPr/>
            <p:nvPr/>
          </p:nvSpPr>
          <p:spPr>
            <a:xfrm>
              <a:off x="2328882" y="1660259"/>
              <a:ext cx="54" cy="149"/>
            </a:xfrm>
            <a:custGeom>
              <a:avLst/>
              <a:gdLst/>
              <a:ahLst/>
              <a:cxnLst/>
              <a:rect l="l" t="t" r="r" b="b"/>
              <a:pathLst>
                <a:path w="4" h="11" extrusionOk="0">
                  <a:moveTo>
                    <a:pt x="4" y="11"/>
                  </a:moveTo>
                  <a:lnTo>
                    <a:pt x="0"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313" name="Google Shape;6313;p104"/>
            <p:cNvSpPr/>
            <p:nvPr/>
          </p:nvSpPr>
          <p:spPr>
            <a:xfrm>
              <a:off x="2335860" y="1655032"/>
              <a:ext cx="1534" cy="204"/>
            </a:xfrm>
            <a:custGeom>
              <a:avLst/>
              <a:gdLst/>
              <a:ahLst/>
              <a:cxnLst/>
              <a:rect l="l" t="t" r="r" b="b"/>
              <a:pathLst>
                <a:path w="113" h="15" extrusionOk="0">
                  <a:moveTo>
                    <a:pt x="113" y="1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314" name="Google Shape;6314;p104"/>
            <p:cNvSpPr/>
            <p:nvPr/>
          </p:nvSpPr>
          <p:spPr>
            <a:xfrm>
              <a:off x="2341468" y="1648039"/>
              <a:ext cx="964" cy="1344"/>
            </a:xfrm>
            <a:custGeom>
              <a:avLst/>
              <a:gdLst/>
              <a:ahLst/>
              <a:cxnLst/>
              <a:rect l="l" t="t" r="r" b="b"/>
              <a:pathLst>
                <a:path w="71" h="99" extrusionOk="0">
                  <a:moveTo>
                    <a:pt x="1" y="1"/>
                  </a:moveTo>
                  <a:cubicBezTo>
                    <a:pt x="29" y="29"/>
                    <a:pt x="54" y="64"/>
                    <a:pt x="71" y="99"/>
                  </a:cubicBezTo>
                  <a:cubicBezTo>
                    <a:pt x="54" y="64"/>
                    <a:pt x="29" y="29"/>
                    <a:pt x="1" y="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315" name="Google Shape;6315;p104"/>
            <p:cNvSpPr/>
            <p:nvPr/>
          </p:nvSpPr>
          <p:spPr>
            <a:xfrm>
              <a:off x="2309574" y="1627510"/>
              <a:ext cx="14" cy="434"/>
            </a:xfrm>
            <a:custGeom>
              <a:avLst/>
              <a:gdLst/>
              <a:ahLst/>
              <a:cxnLst/>
              <a:rect l="l" t="t" r="r" b="b"/>
              <a:pathLst>
                <a:path w="1" h="32" extrusionOk="0">
                  <a:moveTo>
                    <a:pt x="1" y="0"/>
                  </a:moveTo>
                  <a:cubicBezTo>
                    <a:pt x="1" y="11"/>
                    <a:pt x="1" y="21"/>
                    <a:pt x="1" y="32"/>
                  </a:cubicBezTo>
                  <a:cubicBezTo>
                    <a:pt x="1" y="21"/>
                    <a:pt x="1" y="11"/>
                    <a:pt x="1"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316" name="Google Shape;6316;p104"/>
            <p:cNvSpPr/>
            <p:nvPr/>
          </p:nvSpPr>
          <p:spPr>
            <a:xfrm>
              <a:off x="2281483" y="1611298"/>
              <a:ext cx="1303" cy="475"/>
            </a:xfrm>
            <a:custGeom>
              <a:avLst/>
              <a:gdLst/>
              <a:ahLst/>
              <a:cxnLst/>
              <a:rect l="l" t="t" r="r" b="b"/>
              <a:pathLst>
                <a:path w="96" h="35" extrusionOk="0">
                  <a:moveTo>
                    <a:pt x="1" y="1"/>
                  </a:moveTo>
                  <a:cubicBezTo>
                    <a:pt x="12" y="16"/>
                    <a:pt x="23" y="24"/>
                    <a:pt x="43" y="28"/>
                  </a:cubicBezTo>
                  <a:lnTo>
                    <a:pt x="43" y="28"/>
                  </a:lnTo>
                  <a:cubicBezTo>
                    <a:pt x="31" y="24"/>
                    <a:pt x="19" y="17"/>
                    <a:pt x="8" y="8"/>
                  </a:cubicBezTo>
                  <a:lnTo>
                    <a:pt x="1" y="1"/>
                  </a:lnTo>
                  <a:close/>
                  <a:moveTo>
                    <a:pt x="43" y="28"/>
                  </a:moveTo>
                  <a:cubicBezTo>
                    <a:pt x="54" y="32"/>
                    <a:pt x="65" y="34"/>
                    <a:pt x="76" y="34"/>
                  </a:cubicBezTo>
                  <a:cubicBezTo>
                    <a:pt x="82" y="34"/>
                    <a:pt x="89" y="34"/>
                    <a:pt x="95" y="32"/>
                  </a:cubicBezTo>
                  <a:cubicBezTo>
                    <a:pt x="73" y="32"/>
                    <a:pt x="56" y="31"/>
                    <a:pt x="43" y="28"/>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317" name="Google Shape;6317;p104"/>
            <p:cNvSpPr/>
            <p:nvPr/>
          </p:nvSpPr>
          <p:spPr>
            <a:xfrm>
              <a:off x="2284714" y="1609778"/>
              <a:ext cx="1833" cy="1113"/>
            </a:xfrm>
            <a:custGeom>
              <a:avLst/>
              <a:gdLst/>
              <a:ahLst/>
              <a:cxnLst/>
              <a:rect l="l" t="t" r="r" b="b"/>
              <a:pathLst>
                <a:path w="135" h="82" extrusionOk="0">
                  <a:moveTo>
                    <a:pt x="134" y="1"/>
                  </a:moveTo>
                  <a:cubicBezTo>
                    <a:pt x="113" y="4"/>
                    <a:pt x="96" y="11"/>
                    <a:pt x="82" y="22"/>
                  </a:cubicBezTo>
                  <a:cubicBezTo>
                    <a:pt x="54" y="39"/>
                    <a:pt x="25" y="57"/>
                    <a:pt x="1" y="81"/>
                  </a:cubicBezTo>
                  <a:cubicBezTo>
                    <a:pt x="25" y="57"/>
                    <a:pt x="54" y="39"/>
                    <a:pt x="82" y="22"/>
                  </a:cubicBezTo>
                  <a:cubicBezTo>
                    <a:pt x="96" y="11"/>
                    <a:pt x="113" y="4"/>
                    <a:pt x="134" y="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318" name="Google Shape;6318;p104"/>
            <p:cNvSpPr/>
            <p:nvPr/>
          </p:nvSpPr>
          <p:spPr>
            <a:xfrm>
              <a:off x="2314625" y="1629832"/>
              <a:ext cx="1860" cy="1018"/>
            </a:xfrm>
            <a:custGeom>
              <a:avLst/>
              <a:gdLst/>
              <a:ahLst/>
              <a:cxnLst/>
              <a:rect l="l" t="t" r="r" b="b"/>
              <a:pathLst>
                <a:path w="137" h="75" extrusionOk="0">
                  <a:moveTo>
                    <a:pt x="137" y="74"/>
                  </a:moveTo>
                  <a:cubicBezTo>
                    <a:pt x="112" y="71"/>
                    <a:pt x="88" y="64"/>
                    <a:pt x="67" y="50"/>
                  </a:cubicBezTo>
                  <a:cubicBezTo>
                    <a:pt x="46" y="36"/>
                    <a:pt x="25" y="18"/>
                    <a:pt x="0" y="1"/>
                  </a:cubicBezTo>
                  <a:cubicBezTo>
                    <a:pt x="25" y="18"/>
                    <a:pt x="46" y="36"/>
                    <a:pt x="67" y="50"/>
                  </a:cubicBezTo>
                  <a:cubicBezTo>
                    <a:pt x="88" y="64"/>
                    <a:pt x="112" y="71"/>
                    <a:pt x="137" y="74"/>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319" name="Google Shape;6319;p104"/>
            <p:cNvSpPr/>
            <p:nvPr/>
          </p:nvSpPr>
          <p:spPr>
            <a:xfrm>
              <a:off x="2299079" y="1615860"/>
              <a:ext cx="339" cy="1494"/>
            </a:xfrm>
            <a:custGeom>
              <a:avLst/>
              <a:gdLst/>
              <a:ahLst/>
              <a:cxnLst/>
              <a:rect l="l" t="t" r="r" b="b"/>
              <a:pathLst>
                <a:path w="25" h="110" extrusionOk="0">
                  <a:moveTo>
                    <a:pt x="25" y="1"/>
                  </a:moveTo>
                  <a:cubicBezTo>
                    <a:pt x="25" y="39"/>
                    <a:pt x="14" y="78"/>
                    <a:pt x="0" y="109"/>
                  </a:cubicBezTo>
                  <a:cubicBezTo>
                    <a:pt x="14" y="78"/>
                    <a:pt x="25" y="39"/>
                    <a:pt x="25" y="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320" name="Google Shape;6320;p104"/>
            <p:cNvSpPr/>
            <p:nvPr/>
          </p:nvSpPr>
          <p:spPr>
            <a:xfrm>
              <a:off x="2291136" y="1609398"/>
              <a:ext cx="2824" cy="339"/>
            </a:xfrm>
            <a:custGeom>
              <a:avLst/>
              <a:gdLst/>
              <a:ahLst/>
              <a:cxnLst/>
              <a:rect l="l" t="t" r="r" b="b"/>
              <a:pathLst>
                <a:path w="208" h="25" extrusionOk="0">
                  <a:moveTo>
                    <a:pt x="1" y="25"/>
                  </a:moveTo>
                  <a:cubicBezTo>
                    <a:pt x="67" y="8"/>
                    <a:pt x="137" y="1"/>
                    <a:pt x="207" y="1"/>
                  </a:cubicBezTo>
                  <a:cubicBezTo>
                    <a:pt x="137" y="1"/>
                    <a:pt x="67" y="8"/>
                    <a:pt x="1" y="25"/>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321" name="Google Shape;6321;p104"/>
            <p:cNvSpPr/>
            <p:nvPr/>
          </p:nvSpPr>
          <p:spPr>
            <a:xfrm>
              <a:off x="2341862" y="1642581"/>
              <a:ext cx="339" cy="339"/>
            </a:xfrm>
            <a:custGeom>
              <a:avLst/>
              <a:gdLst/>
              <a:ahLst/>
              <a:cxnLst/>
              <a:rect l="l" t="t" r="r" b="b"/>
              <a:pathLst>
                <a:path w="25" h="25" extrusionOk="0">
                  <a:moveTo>
                    <a:pt x="25" y="0"/>
                  </a:moveTo>
                  <a:lnTo>
                    <a:pt x="0" y="25"/>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322" name="Google Shape;6322;p104"/>
            <p:cNvSpPr/>
            <p:nvPr/>
          </p:nvSpPr>
          <p:spPr>
            <a:xfrm>
              <a:off x="2337476" y="1655222"/>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323" name="Google Shape;6323;p104"/>
            <p:cNvSpPr/>
            <p:nvPr/>
          </p:nvSpPr>
          <p:spPr>
            <a:xfrm>
              <a:off x="2328692" y="1659023"/>
              <a:ext cx="14" cy="149"/>
            </a:xfrm>
            <a:custGeom>
              <a:avLst/>
              <a:gdLst/>
              <a:ahLst/>
              <a:cxnLst/>
              <a:rect l="l" t="t" r="r" b="b"/>
              <a:pathLst>
                <a:path w="1" h="11" extrusionOk="0">
                  <a:moveTo>
                    <a:pt x="0" y="0"/>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324" name="Google Shape;6324;p104"/>
            <p:cNvSpPr/>
            <p:nvPr/>
          </p:nvSpPr>
          <p:spPr>
            <a:xfrm>
              <a:off x="2328787" y="1659594"/>
              <a:ext cx="14" cy="204"/>
            </a:xfrm>
            <a:custGeom>
              <a:avLst/>
              <a:gdLst/>
              <a:ahLst/>
              <a:cxnLst/>
              <a:rect l="l" t="t" r="r" b="b"/>
              <a:pathLst>
                <a:path w="1" h="15" extrusionOk="0">
                  <a:moveTo>
                    <a:pt x="0" y="0"/>
                  </a:moveTo>
                  <a:lnTo>
                    <a:pt x="0" y="14"/>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325" name="Google Shape;6325;p104"/>
            <p:cNvSpPr/>
            <p:nvPr/>
          </p:nvSpPr>
          <p:spPr>
            <a:xfrm>
              <a:off x="2328692" y="1658779"/>
              <a:ext cx="14" cy="163"/>
            </a:xfrm>
            <a:custGeom>
              <a:avLst/>
              <a:gdLst/>
              <a:ahLst/>
              <a:cxnLst/>
              <a:rect l="l" t="t" r="r" b="b"/>
              <a:pathLst>
                <a:path w="1" h="12" extrusionOk="0">
                  <a:moveTo>
                    <a:pt x="0" y="11"/>
                  </a:moveTo>
                  <a:cubicBezTo>
                    <a:pt x="0" y="8"/>
                    <a:pt x="0" y="4"/>
                    <a:pt x="0" y="1"/>
                  </a:cubicBezTo>
                  <a:cubicBezTo>
                    <a:pt x="0" y="4"/>
                    <a:pt x="0" y="8"/>
                    <a:pt x="0" y="1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326" name="Google Shape;6326;p104"/>
            <p:cNvSpPr/>
            <p:nvPr/>
          </p:nvSpPr>
          <p:spPr>
            <a:xfrm>
              <a:off x="2328827" y="1659919"/>
              <a:ext cx="68" cy="163"/>
            </a:xfrm>
            <a:custGeom>
              <a:avLst/>
              <a:gdLst/>
              <a:ahLst/>
              <a:cxnLst/>
              <a:rect l="l" t="t" r="r" b="b"/>
              <a:pathLst>
                <a:path w="5" h="12" extrusionOk="0">
                  <a:moveTo>
                    <a:pt x="1" y="1"/>
                  </a:moveTo>
                  <a:lnTo>
                    <a:pt x="4" y="1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327" name="Google Shape;6327;p104"/>
            <p:cNvSpPr/>
            <p:nvPr/>
          </p:nvSpPr>
          <p:spPr>
            <a:xfrm>
              <a:off x="2328732" y="1659254"/>
              <a:ext cx="14" cy="258"/>
            </a:xfrm>
            <a:custGeom>
              <a:avLst/>
              <a:gdLst/>
              <a:ahLst/>
              <a:cxnLst/>
              <a:rect l="l" t="t" r="r" b="b"/>
              <a:pathLst>
                <a:path w="1" h="19" extrusionOk="0">
                  <a:moveTo>
                    <a:pt x="1" y="1"/>
                  </a:moveTo>
                  <a:cubicBezTo>
                    <a:pt x="1" y="8"/>
                    <a:pt x="1" y="11"/>
                    <a:pt x="1" y="18"/>
                  </a:cubicBezTo>
                  <a:cubicBezTo>
                    <a:pt x="1" y="11"/>
                    <a:pt x="1" y="4"/>
                    <a:pt x="1" y="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328" name="Google Shape;6328;p104"/>
            <p:cNvSpPr/>
            <p:nvPr/>
          </p:nvSpPr>
          <p:spPr>
            <a:xfrm>
              <a:off x="2341957" y="1637680"/>
              <a:ext cx="1914" cy="3489"/>
            </a:xfrm>
            <a:custGeom>
              <a:avLst/>
              <a:gdLst/>
              <a:ahLst/>
              <a:cxnLst/>
              <a:rect l="l" t="t" r="r" b="b"/>
              <a:pathLst>
                <a:path w="141" h="257" extrusionOk="0">
                  <a:moveTo>
                    <a:pt x="137" y="151"/>
                  </a:moveTo>
                  <a:cubicBezTo>
                    <a:pt x="140" y="186"/>
                    <a:pt x="130" y="225"/>
                    <a:pt x="109" y="256"/>
                  </a:cubicBezTo>
                  <a:cubicBezTo>
                    <a:pt x="130" y="225"/>
                    <a:pt x="140" y="186"/>
                    <a:pt x="137" y="151"/>
                  </a:cubicBezTo>
                  <a:cubicBezTo>
                    <a:pt x="126" y="71"/>
                    <a:pt x="70" y="32"/>
                    <a:pt x="0" y="1"/>
                  </a:cubicBezTo>
                  <a:cubicBezTo>
                    <a:pt x="70" y="32"/>
                    <a:pt x="126" y="71"/>
                    <a:pt x="137" y="15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329" name="Google Shape;6329;p104"/>
            <p:cNvSpPr/>
            <p:nvPr/>
          </p:nvSpPr>
          <p:spPr>
            <a:xfrm>
              <a:off x="2282908" y="1603600"/>
              <a:ext cx="448" cy="14"/>
            </a:xfrm>
            <a:custGeom>
              <a:avLst/>
              <a:gdLst/>
              <a:ahLst/>
              <a:cxnLst/>
              <a:rect l="l" t="t" r="r" b="b"/>
              <a:pathLst>
                <a:path w="33" h="1" extrusionOk="0">
                  <a:moveTo>
                    <a:pt x="32" y="0"/>
                  </a:moveTo>
                  <a:cubicBezTo>
                    <a:pt x="22" y="0"/>
                    <a:pt x="8" y="0"/>
                    <a:pt x="1" y="0"/>
                  </a:cubicBezTo>
                  <a:cubicBezTo>
                    <a:pt x="8" y="0"/>
                    <a:pt x="22" y="0"/>
                    <a:pt x="32"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330" name="Google Shape;6330;p104"/>
            <p:cNvSpPr/>
            <p:nvPr/>
          </p:nvSpPr>
          <p:spPr>
            <a:xfrm>
              <a:off x="2279161" y="1602364"/>
              <a:ext cx="109" cy="14"/>
            </a:xfrm>
            <a:custGeom>
              <a:avLst/>
              <a:gdLst/>
              <a:ahLst/>
              <a:cxnLst/>
              <a:rect l="l" t="t" r="r" b="b"/>
              <a:pathLst>
                <a:path w="8" h="1" extrusionOk="0">
                  <a:moveTo>
                    <a:pt x="0" y="0"/>
                  </a:moveTo>
                  <a:cubicBezTo>
                    <a:pt x="4" y="0"/>
                    <a:pt x="7" y="0"/>
                    <a:pt x="7" y="0"/>
                  </a:cubicBezTo>
                  <a:cubicBezTo>
                    <a:pt x="7" y="0"/>
                    <a:pt x="4" y="0"/>
                    <a:pt x="0"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331" name="Google Shape;6331;p104"/>
            <p:cNvSpPr/>
            <p:nvPr/>
          </p:nvSpPr>
          <p:spPr>
            <a:xfrm>
              <a:off x="2283438" y="1594327"/>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332" name="Google Shape;6332;p104"/>
            <p:cNvSpPr/>
            <p:nvPr/>
          </p:nvSpPr>
          <p:spPr>
            <a:xfrm>
              <a:off x="2280342" y="1602690"/>
              <a:ext cx="2580" cy="869"/>
            </a:xfrm>
            <a:custGeom>
              <a:avLst/>
              <a:gdLst/>
              <a:ahLst/>
              <a:cxnLst/>
              <a:rect l="l" t="t" r="r" b="b"/>
              <a:pathLst>
                <a:path w="190" h="64" extrusionOk="0">
                  <a:moveTo>
                    <a:pt x="1" y="1"/>
                  </a:moveTo>
                  <a:lnTo>
                    <a:pt x="32" y="15"/>
                  </a:lnTo>
                  <a:cubicBezTo>
                    <a:pt x="81" y="39"/>
                    <a:pt x="134" y="57"/>
                    <a:pt x="190" y="64"/>
                  </a:cubicBezTo>
                  <a:cubicBezTo>
                    <a:pt x="134" y="57"/>
                    <a:pt x="81" y="39"/>
                    <a:pt x="32" y="15"/>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333" name="Google Shape;6333;p104"/>
            <p:cNvSpPr/>
            <p:nvPr/>
          </p:nvSpPr>
          <p:spPr>
            <a:xfrm>
              <a:off x="2280532" y="1608488"/>
              <a:ext cx="964" cy="2824"/>
            </a:xfrm>
            <a:custGeom>
              <a:avLst/>
              <a:gdLst/>
              <a:ahLst/>
              <a:cxnLst/>
              <a:rect l="l" t="t" r="r" b="b"/>
              <a:pathLst>
                <a:path w="71" h="208" extrusionOk="0">
                  <a:moveTo>
                    <a:pt x="1" y="1"/>
                  </a:moveTo>
                  <a:cubicBezTo>
                    <a:pt x="7" y="40"/>
                    <a:pt x="17" y="79"/>
                    <a:pt x="31" y="118"/>
                  </a:cubicBezTo>
                  <a:lnTo>
                    <a:pt x="31" y="118"/>
                  </a:lnTo>
                  <a:cubicBezTo>
                    <a:pt x="18" y="79"/>
                    <a:pt x="7" y="40"/>
                    <a:pt x="1" y="1"/>
                  </a:cubicBezTo>
                  <a:close/>
                  <a:moveTo>
                    <a:pt x="31" y="118"/>
                  </a:moveTo>
                  <a:cubicBezTo>
                    <a:pt x="39" y="141"/>
                    <a:pt x="48" y="164"/>
                    <a:pt x="57" y="187"/>
                  </a:cubicBezTo>
                  <a:lnTo>
                    <a:pt x="71" y="208"/>
                  </a:lnTo>
                  <a:cubicBezTo>
                    <a:pt x="55" y="178"/>
                    <a:pt x="42" y="148"/>
                    <a:pt x="31" y="118"/>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334" name="Google Shape;6334;p104"/>
            <p:cNvSpPr/>
            <p:nvPr/>
          </p:nvSpPr>
          <p:spPr>
            <a:xfrm>
              <a:off x="2278631" y="1589724"/>
              <a:ext cx="869" cy="679"/>
            </a:xfrm>
            <a:custGeom>
              <a:avLst/>
              <a:gdLst/>
              <a:ahLst/>
              <a:cxnLst/>
              <a:rect l="l" t="t" r="r" b="b"/>
              <a:pathLst>
                <a:path w="64" h="50" extrusionOk="0">
                  <a:moveTo>
                    <a:pt x="1" y="0"/>
                  </a:moveTo>
                  <a:lnTo>
                    <a:pt x="1" y="0"/>
                  </a:lnTo>
                  <a:cubicBezTo>
                    <a:pt x="15" y="25"/>
                    <a:pt x="39" y="42"/>
                    <a:pt x="64" y="49"/>
                  </a:cubicBezTo>
                  <a:cubicBezTo>
                    <a:pt x="39" y="42"/>
                    <a:pt x="18" y="25"/>
                    <a:pt x="1"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335" name="Google Shape;6335;p104"/>
            <p:cNvSpPr/>
            <p:nvPr/>
          </p:nvSpPr>
          <p:spPr>
            <a:xfrm>
              <a:off x="2256066" y="1570376"/>
              <a:ext cx="149" cy="244"/>
            </a:xfrm>
            <a:custGeom>
              <a:avLst/>
              <a:gdLst/>
              <a:ahLst/>
              <a:cxnLst/>
              <a:rect l="l" t="t" r="r" b="b"/>
              <a:pathLst>
                <a:path w="11" h="18" extrusionOk="0">
                  <a:moveTo>
                    <a:pt x="0" y="0"/>
                  </a:moveTo>
                  <a:lnTo>
                    <a:pt x="7" y="14"/>
                  </a:lnTo>
                  <a:cubicBezTo>
                    <a:pt x="7" y="14"/>
                    <a:pt x="7" y="18"/>
                    <a:pt x="10" y="18"/>
                  </a:cubicBezTo>
                  <a:cubicBezTo>
                    <a:pt x="7" y="11"/>
                    <a:pt x="3" y="7"/>
                    <a:pt x="0"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336" name="Google Shape;6336;p104"/>
            <p:cNvSpPr/>
            <p:nvPr/>
          </p:nvSpPr>
          <p:spPr>
            <a:xfrm>
              <a:off x="2276215" y="1585868"/>
              <a:ext cx="1724" cy="2349"/>
            </a:xfrm>
            <a:custGeom>
              <a:avLst/>
              <a:gdLst/>
              <a:ahLst/>
              <a:cxnLst/>
              <a:rect l="l" t="t" r="r" b="b"/>
              <a:pathLst>
                <a:path w="127" h="173" extrusionOk="0">
                  <a:moveTo>
                    <a:pt x="126" y="172"/>
                  </a:moveTo>
                  <a:cubicBezTo>
                    <a:pt x="105" y="102"/>
                    <a:pt x="60" y="43"/>
                    <a:pt x="0" y="1"/>
                  </a:cubicBezTo>
                  <a:cubicBezTo>
                    <a:pt x="60" y="43"/>
                    <a:pt x="105" y="102"/>
                    <a:pt x="126" y="172"/>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337" name="Google Shape;6337;p104"/>
            <p:cNvSpPr/>
            <p:nvPr/>
          </p:nvSpPr>
          <p:spPr>
            <a:xfrm>
              <a:off x="2281293" y="1611013"/>
              <a:ext cx="299" cy="394"/>
            </a:xfrm>
            <a:custGeom>
              <a:avLst/>
              <a:gdLst/>
              <a:ahLst/>
              <a:cxnLst/>
              <a:rect l="l" t="t" r="r" b="b"/>
              <a:pathLst>
                <a:path w="22" h="29" extrusionOk="0">
                  <a:moveTo>
                    <a:pt x="1" y="1"/>
                  </a:moveTo>
                  <a:lnTo>
                    <a:pt x="1" y="1"/>
                  </a:lnTo>
                  <a:cubicBezTo>
                    <a:pt x="8" y="11"/>
                    <a:pt x="15" y="22"/>
                    <a:pt x="22" y="29"/>
                  </a:cubicBezTo>
                  <a:lnTo>
                    <a:pt x="15" y="18"/>
                  </a:lnTo>
                  <a:lnTo>
                    <a:pt x="1"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338" name="Google Shape;6338;p104"/>
            <p:cNvSpPr/>
            <p:nvPr/>
          </p:nvSpPr>
          <p:spPr>
            <a:xfrm>
              <a:off x="2250879" y="1556826"/>
              <a:ext cx="299" cy="353"/>
            </a:xfrm>
            <a:custGeom>
              <a:avLst/>
              <a:gdLst/>
              <a:ahLst/>
              <a:cxnLst/>
              <a:rect l="l" t="t" r="r" b="b"/>
              <a:pathLst>
                <a:path w="22" h="26" extrusionOk="0">
                  <a:moveTo>
                    <a:pt x="0" y="1"/>
                  </a:moveTo>
                  <a:cubicBezTo>
                    <a:pt x="4" y="11"/>
                    <a:pt x="14" y="18"/>
                    <a:pt x="21" y="25"/>
                  </a:cubicBezTo>
                  <a:cubicBezTo>
                    <a:pt x="14" y="18"/>
                    <a:pt x="7" y="11"/>
                    <a:pt x="0" y="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339" name="Google Shape;6339;p104"/>
            <p:cNvSpPr/>
            <p:nvPr/>
          </p:nvSpPr>
          <p:spPr>
            <a:xfrm>
              <a:off x="2250539" y="1556445"/>
              <a:ext cx="258" cy="299"/>
            </a:xfrm>
            <a:custGeom>
              <a:avLst/>
              <a:gdLst/>
              <a:ahLst/>
              <a:cxnLst/>
              <a:rect l="l" t="t" r="r" b="b"/>
              <a:pathLst>
                <a:path w="19" h="22" extrusionOk="0">
                  <a:moveTo>
                    <a:pt x="1" y="1"/>
                  </a:moveTo>
                  <a:cubicBezTo>
                    <a:pt x="4" y="8"/>
                    <a:pt x="11" y="15"/>
                    <a:pt x="18" y="22"/>
                  </a:cubicBezTo>
                  <a:cubicBezTo>
                    <a:pt x="11" y="15"/>
                    <a:pt x="4" y="8"/>
                    <a:pt x="1" y="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340" name="Google Shape;6340;p104"/>
            <p:cNvSpPr/>
            <p:nvPr/>
          </p:nvSpPr>
          <p:spPr>
            <a:xfrm>
              <a:off x="2255577" y="1568760"/>
              <a:ext cx="489" cy="1629"/>
            </a:xfrm>
            <a:custGeom>
              <a:avLst/>
              <a:gdLst/>
              <a:ahLst/>
              <a:cxnLst/>
              <a:rect l="l" t="t" r="r" b="b"/>
              <a:pathLst>
                <a:path w="36" h="120" extrusionOk="0">
                  <a:moveTo>
                    <a:pt x="1" y="0"/>
                  </a:moveTo>
                  <a:cubicBezTo>
                    <a:pt x="8" y="42"/>
                    <a:pt x="18" y="81"/>
                    <a:pt x="36" y="119"/>
                  </a:cubicBezTo>
                  <a:lnTo>
                    <a:pt x="29" y="102"/>
                  </a:lnTo>
                  <a:cubicBezTo>
                    <a:pt x="18" y="70"/>
                    <a:pt x="8" y="35"/>
                    <a:pt x="1"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341" name="Google Shape;6341;p104"/>
            <p:cNvSpPr/>
            <p:nvPr/>
          </p:nvSpPr>
          <p:spPr>
            <a:xfrm>
              <a:off x="2250119" y="1555590"/>
              <a:ext cx="394" cy="828"/>
            </a:xfrm>
            <a:custGeom>
              <a:avLst/>
              <a:gdLst/>
              <a:ahLst/>
              <a:cxnLst/>
              <a:rect l="l" t="t" r="r" b="b"/>
              <a:pathLst>
                <a:path w="29" h="61" extrusionOk="0">
                  <a:moveTo>
                    <a:pt x="0" y="1"/>
                  </a:moveTo>
                  <a:lnTo>
                    <a:pt x="4" y="15"/>
                  </a:lnTo>
                  <a:cubicBezTo>
                    <a:pt x="11" y="32"/>
                    <a:pt x="21" y="46"/>
                    <a:pt x="28" y="60"/>
                  </a:cubicBezTo>
                  <a:cubicBezTo>
                    <a:pt x="18" y="39"/>
                    <a:pt x="7" y="22"/>
                    <a:pt x="0" y="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342" name="Google Shape;6342;p104"/>
            <p:cNvSpPr/>
            <p:nvPr/>
          </p:nvSpPr>
          <p:spPr>
            <a:xfrm>
              <a:off x="2255957" y="1570131"/>
              <a:ext cx="204" cy="448"/>
            </a:xfrm>
            <a:custGeom>
              <a:avLst/>
              <a:gdLst/>
              <a:ahLst/>
              <a:cxnLst/>
              <a:rect l="l" t="t" r="r" b="b"/>
              <a:pathLst>
                <a:path w="15" h="33" extrusionOk="0">
                  <a:moveTo>
                    <a:pt x="1" y="1"/>
                  </a:moveTo>
                  <a:lnTo>
                    <a:pt x="1" y="1"/>
                  </a:lnTo>
                  <a:cubicBezTo>
                    <a:pt x="4" y="11"/>
                    <a:pt x="8" y="22"/>
                    <a:pt x="15" y="32"/>
                  </a:cubicBezTo>
                  <a:lnTo>
                    <a:pt x="8" y="18"/>
                  </a:lnTo>
                  <a:lnTo>
                    <a:pt x="1"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343" name="Google Shape;6343;p104"/>
            <p:cNvSpPr/>
            <p:nvPr/>
          </p:nvSpPr>
          <p:spPr>
            <a:xfrm>
              <a:off x="2211667" y="1583302"/>
              <a:ext cx="109" cy="14"/>
            </a:xfrm>
            <a:custGeom>
              <a:avLst/>
              <a:gdLst/>
              <a:ahLst/>
              <a:cxnLst/>
              <a:rect l="l" t="t" r="r" b="b"/>
              <a:pathLst>
                <a:path w="8" h="1" extrusionOk="0">
                  <a:moveTo>
                    <a:pt x="0" y="1"/>
                  </a:moveTo>
                  <a:lnTo>
                    <a:pt x="7"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344" name="Google Shape;6344;p104"/>
            <p:cNvSpPr/>
            <p:nvPr/>
          </p:nvSpPr>
          <p:spPr>
            <a:xfrm>
              <a:off x="2211898" y="1583356"/>
              <a:ext cx="109" cy="14"/>
            </a:xfrm>
            <a:custGeom>
              <a:avLst/>
              <a:gdLst/>
              <a:ahLst/>
              <a:cxnLst/>
              <a:rect l="l" t="t" r="r" b="b"/>
              <a:pathLst>
                <a:path w="8" h="1" extrusionOk="0">
                  <a:moveTo>
                    <a:pt x="1" y="0"/>
                  </a:moveTo>
                  <a:lnTo>
                    <a:pt x="8"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345" name="Google Shape;6345;p104"/>
            <p:cNvSpPr/>
            <p:nvPr/>
          </p:nvSpPr>
          <p:spPr>
            <a:xfrm>
              <a:off x="2211382" y="1583302"/>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346" name="Google Shape;6346;p104"/>
            <p:cNvSpPr/>
            <p:nvPr/>
          </p:nvSpPr>
          <p:spPr>
            <a:xfrm>
              <a:off x="2211477" y="1583302"/>
              <a:ext cx="109" cy="14"/>
            </a:xfrm>
            <a:custGeom>
              <a:avLst/>
              <a:gdLst/>
              <a:ahLst/>
              <a:cxnLst/>
              <a:rect l="l" t="t" r="r" b="b"/>
              <a:pathLst>
                <a:path w="8" h="1" extrusionOk="0">
                  <a:moveTo>
                    <a:pt x="0" y="1"/>
                  </a:moveTo>
                  <a:lnTo>
                    <a:pt x="7"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347" name="Google Shape;6347;p104"/>
            <p:cNvSpPr/>
            <p:nvPr/>
          </p:nvSpPr>
          <p:spPr>
            <a:xfrm>
              <a:off x="2212753" y="1583736"/>
              <a:ext cx="109" cy="54"/>
            </a:xfrm>
            <a:custGeom>
              <a:avLst/>
              <a:gdLst/>
              <a:ahLst/>
              <a:cxnLst/>
              <a:rect l="l" t="t" r="r" b="b"/>
              <a:pathLst>
                <a:path w="8" h="4" extrusionOk="0">
                  <a:moveTo>
                    <a:pt x="1" y="0"/>
                  </a:moveTo>
                  <a:lnTo>
                    <a:pt x="8" y="4"/>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348" name="Google Shape;6348;p104"/>
            <p:cNvSpPr/>
            <p:nvPr/>
          </p:nvSpPr>
          <p:spPr>
            <a:xfrm>
              <a:off x="2212427" y="1583546"/>
              <a:ext cx="109" cy="54"/>
            </a:xfrm>
            <a:custGeom>
              <a:avLst/>
              <a:gdLst/>
              <a:ahLst/>
              <a:cxnLst/>
              <a:rect l="l" t="t" r="r" b="b"/>
              <a:pathLst>
                <a:path w="8" h="4" extrusionOk="0">
                  <a:moveTo>
                    <a:pt x="0" y="0"/>
                  </a:moveTo>
                  <a:lnTo>
                    <a:pt x="7" y="4"/>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349" name="Google Shape;6349;p104"/>
            <p:cNvSpPr/>
            <p:nvPr/>
          </p:nvSpPr>
          <p:spPr>
            <a:xfrm>
              <a:off x="2212142" y="1583451"/>
              <a:ext cx="109" cy="14"/>
            </a:xfrm>
            <a:custGeom>
              <a:avLst/>
              <a:gdLst/>
              <a:ahLst/>
              <a:cxnLst/>
              <a:rect l="l" t="t" r="r" b="b"/>
              <a:pathLst>
                <a:path w="8" h="1" extrusionOk="0">
                  <a:moveTo>
                    <a:pt x="0" y="0"/>
                  </a:moveTo>
                  <a:lnTo>
                    <a:pt x="7"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350" name="Google Shape;6350;p104"/>
            <p:cNvSpPr/>
            <p:nvPr/>
          </p:nvSpPr>
          <p:spPr>
            <a:xfrm>
              <a:off x="2213093" y="1583872"/>
              <a:ext cx="339" cy="258"/>
            </a:xfrm>
            <a:custGeom>
              <a:avLst/>
              <a:gdLst/>
              <a:ahLst/>
              <a:cxnLst/>
              <a:rect l="l" t="t" r="r" b="b"/>
              <a:pathLst>
                <a:path w="25" h="19" extrusionOk="0">
                  <a:moveTo>
                    <a:pt x="0" y="1"/>
                  </a:moveTo>
                  <a:lnTo>
                    <a:pt x="0" y="1"/>
                  </a:lnTo>
                  <a:cubicBezTo>
                    <a:pt x="7" y="8"/>
                    <a:pt x="14" y="11"/>
                    <a:pt x="25" y="18"/>
                  </a:cubicBezTo>
                  <a:cubicBezTo>
                    <a:pt x="14" y="11"/>
                    <a:pt x="7" y="4"/>
                    <a:pt x="0" y="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351" name="Google Shape;6351;p104"/>
            <p:cNvSpPr/>
            <p:nvPr/>
          </p:nvSpPr>
          <p:spPr>
            <a:xfrm>
              <a:off x="2213853" y="1584972"/>
              <a:ext cx="394" cy="4195"/>
            </a:xfrm>
            <a:custGeom>
              <a:avLst/>
              <a:gdLst/>
              <a:ahLst/>
              <a:cxnLst/>
              <a:rect l="l" t="t" r="r" b="b"/>
              <a:pathLst>
                <a:path w="29" h="309" extrusionOk="0">
                  <a:moveTo>
                    <a:pt x="0" y="308"/>
                  </a:moveTo>
                  <a:lnTo>
                    <a:pt x="0" y="308"/>
                  </a:lnTo>
                  <a:cubicBezTo>
                    <a:pt x="4" y="245"/>
                    <a:pt x="7" y="182"/>
                    <a:pt x="18" y="119"/>
                  </a:cubicBezTo>
                  <a:cubicBezTo>
                    <a:pt x="21" y="70"/>
                    <a:pt x="28" y="25"/>
                    <a:pt x="28" y="0"/>
                  </a:cubicBezTo>
                  <a:cubicBezTo>
                    <a:pt x="28" y="25"/>
                    <a:pt x="21" y="70"/>
                    <a:pt x="18" y="119"/>
                  </a:cubicBezTo>
                  <a:cubicBezTo>
                    <a:pt x="7" y="182"/>
                    <a:pt x="4" y="245"/>
                    <a:pt x="0" y="308"/>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352" name="Google Shape;6352;p104"/>
            <p:cNvSpPr/>
            <p:nvPr/>
          </p:nvSpPr>
          <p:spPr>
            <a:xfrm>
              <a:off x="2204009" y="1581143"/>
              <a:ext cx="774" cy="27"/>
            </a:xfrm>
            <a:custGeom>
              <a:avLst/>
              <a:gdLst/>
              <a:ahLst/>
              <a:cxnLst/>
              <a:rect l="l" t="t" r="r" b="b"/>
              <a:pathLst>
                <a:path w="57" h="2" extrusionOk="0">
                  <a:moveTo>
                    <a:pt x="38" y="0"/>
                  </a:moveTo>
                  <a:cubicBezTo>
                    <a:pt x="25" y="0"/>
                    <a:pt x="12" y="2"/>
                    <a:pt x="1" y="2"/>
                  </a:cubicBezTo>
                  <a:lnTo>
                    <a:pt x="57" y="2"/>
                  </a:lnTo>
                  <a:cubicBezTo>
                    <a:pt x="51" y="1"/>
                    <a:pt x="45" y="0"/>
                    <a:pt x="38"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353" name="Google Shape;6353;p104"/>
            <p:cNvSpPr/>
            <p:nvPr/>
          </p:nvSpPr>
          <p:spPr>
            <a:xfrm>
              <a:off x="2205815" y="1581360"/>
              <a:ext cx="5485" cy="2172"/>
            </a:xfrm>
            <a:custGeom>
              <a:avLst/>
              <a:gdLst/>
              <a:ahLst/>
              <a:cxnLst/>
              <a:rect l="l" t="t" r="r" b="b"/>
              <a:pathLst>
                <a:path w="404" h="160" extrusionOk="0">
                  <a:moveTo>
                    <a:pt x="1" y="0"/>
                  </a:moveTo>
                  <a:cubicBezTo>
                    <a:pt x="61" y="83"/>
                    <a:pt x="217" y="159"/>
                    <a:pt x="333" y="159"/>
                  </a:cubicBezTo>
                  <a:cubicBezTo>
                    <a:pt x="333" y="159"/>
                    <a:pt x="334" y="159"/>
                    <a:pt x="334" y="159"/>
                  </a:cubicBezTo>
                  <a:lnTo>
                    <a:pt x="334" y="159"/>
                  </a:lnTo>
                  <a:cubicBezTo>
                    <a:pt x="334" y="159"/>
                    <a:pt x="334" y="159"/>
                    <a:pt x="334" y="159"/>
                  </a:cubicBezTo>
                  <a:cubicBezTo>
                    <a:pt x="360" y="159"/>
                    <a:pt x="383" y="155"/>
                    <a:pt x="403" y="147"/>
                  </a:cubicBezTo>
                  <a:lnTo>
                    <a:pt x="403" y="147"/>
                  </a:lnTo>
                  <a:cubicBezTo>
                    <a:pt x="383" y="155"/>
                    <a:pt x="359" y="159"/>
                    <a:pt x="334" y="159"/>
                  </a:cubicBezTo>
                  <a:lnTo>
                    <a:pt x="334" y="159"/>
                  </a:lnTo>
                  <a:cubicBezTo>
                    <a:pt x="219" y="159"/>
                    <a:pt x="61" y="83"/>
                    <a:pt x="1"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354" name="Google Shape;6354;p104"/>
            <p:cNvSpPr/>
            <p:nvPr/>
          </p:nvSpPr>
          <p:spPr>
            <a:xfrm>
              <a:off x="2204824" y="1581116"/>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355" name="Google Shape;6355;p104"/>
            <p:cNvSpPr/>
            <p:nvPr/>
          </p:nvSpPr>
          <p:spPr>
            <a:xfrm>
              <a:off x="2205720" y="1581265"/>
              <a:ext cx="14" cy="0"/>
            </a:xfrm>
            <a:custGeom>
              <a:avLst/>
              <a:gdLst/>
              <a:ahLst/>
              <a:cxnLst/>
              <a:rect l="l" t="t" r="r" b="b"/>
              <a:pathLst>
                <a:path w="1" extrusionOk="0">
                  <a:moveTo>
                    <a:pt x="1"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356" name="Google Shape;6356;p104"/>
            <p:cNvSpPr/>
            <p:nvPr/>
          </p:nvSpPr>
          <p:spPr>
            <a:xfrm>
              <a:off x="2205530" y="1581211"/>
              <a:ext cx="109" cy="14"/>
            </a:xfrm>
            <a:custGeom>
              <a:avLst/>
              <a:gdLst/>
              <a:ahLst/>
              <a:cxnLst/>
              <a:rect l="l" t="t" r="r" b="b"/>
              <a:pathLst>
                <a:path w="8" h="1" extrusionOk="0">
                  <a:moveTo>
                    <a:pt x="1" y="1"/>
                  </a:moveTo>
                  <a:lnTo>
                    <a:pt x="8"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357" name="Google Shape;6357;p104"/>
            <p:cNvSpPr/>
            <p:nvPr/>
          </p:nvSpPr>
          <p:spPr>
            <a:xfrm>
              <a:off x="2205055" y="1581156"/>
              <a:ext cx="163" cy="14"/>
            </a:xfrm>
            <a:custGeom>
              <a:avLst/>
              <a:gdLst/>
              <a:ahLst/>
              <a:cxnLst/>
              <a:rect l="l" t="t" r="r" b="b"/>
              <a:pathLst>
                <a:path w="12" h="1" extrusionOk="0">
                  <a:moveTo>
                    <a:pt x="1" y="1"/>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358" name="Google Shape;6358;p104"/>
            <p:cNvSpPr/>
            <p:nvPr/>
          </p:nvSpPr>
          <p:spPr>
            <a:xfrm>
              <a:off x="2205299" y="1581156"/>
              <a:ext cx="149" cy="14"/>
            </a:xfrm>
            <a:custGeom>
              <a:avLst/>
              <a:gdLst/>
              <a:ahLst/>
              <a:cxnLst/>
              <a:rect l="l" t="t" r="r" b="b"/>
              <a:pathLst>
                <a:path w="11" h="1" extrusionOk="0">
                  <a:moveTo>
                    <a:pt x="0" y="1"/>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359" name="Google Shape;6359;p104"/>
            <p:cNvSpPr/>
            <p:nvPr/>
          </p:nvSpPr>
          <p:spPr>
            <a:xfrm>
              <a:off x="2213894" y="1589154"/>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360" name="Google Shape;6360;p104"/>
            <p:cNvSpPr/>
            <p:nvPr/>
          </p:nvSpPr>
          <p:spPr>
            <a:xfrm>
              <a:off x="2269276" y="1477017"/>
              <a:ext cx="1629" cy="1303"/>
            </a:xfrm>
            <a:custGeom>
              <a:avLst/>
              <a:gdLst/>
              <a:ahLst/>
              <a:cxnLst/>
              <a:rect l="l" t="t" r="r" b="b"/>
              <a:pathLst>
                <a:path w="120" h="96" extrusionOk="0">
                  <a:moveTo>
                    <a:pt x="0" y="1"/>
                  </a:moveTo>
                  <a:cubicBezTo>
                    <a:pt x="32" y="43"/>
                    <a:pt x="74" y="74"/>
                    <a:pt x="119" y="95"/>
                  </a:cubicBezTo>
                  <a:cubicBezTo>
                    <a:pt x="74" y="74"/>
                    <a:pt x="32" y="43"/>
                    <a:pt x="0" y="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361" name="Google Shape;6361;p104"/>
            <p:cNvSpPr/>
            <p:nvPr/>
          </p:nvSpPr>
          <p:spPr>
            <a:xfrm>
              <a:off x="2260193" y="1430147"/>
              <a:ext cx="3394" cy="1398"/>
            </a:xfrm>
            <a:custGeom>
              <a:avLst/>
              <a:gdLst/>
              <a:ahLst/>
              <a:cxnLst/>
              <a:rect l="l" t="t" r="r" b="b"/>
              <a:pathLst>
                <a:path w="250" h="103" extrusionOk="0">
                  <a:moveTo>
                    <a:pt x="1" y="1"/>
                  </a:moveTo>
                  <a:cubicBezTo>
                    <a:pt x="46" y="39"/>
                    <a:pt x="102" y="67"/>
                    <a:pt x="162" y="74"/>
                  </a:cubicBezTo>
                  <a:cubicBezTo>
                    <a:pt x="193" y="81"/>
                    <a:pt x="221" y="92"/>
                    <a:pt x="249" y="102"/>
                  </a:cubicBezTo>
                  <a:cubicBezTo>
                    <a:pt x="221" y="92"/>
                    <a:pt x="193" y="81"/>
                    <a:pt x="162" y="74"/>
                  </a:cubicBezTo>
                  <a:cubicBezTo>
                    <a:pt x="102" y="67"/>
                    <a:pt x="46" y="39"/>
                    <a:pt x="1" y="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362" name="Google Shape;6362;p104"/>
            <p:cNvSpPr/>
            <p:nvPr/>
          </p:nvSpPr>
          <p:spPr>
            <a:xfrm>
              <a:off x="2262664" y="1417466"/>
              <a:ext cx="1344" cy="2009"/>
            </a:xfrm>
            <a:custGeom>
              <a:avLst/>
              <a:gdLst/>
              <a:ahLst/>
              <a:cxnLst/>
              <a:rect l="l" t="t" r="r" b="b"/>
              <a:pathLst>
                <a:path w="99" h="148" extrusionOk="0">
                  <a:moveTo>
                    <a:pt x="99" y="0"/>
                  </a:moveTo>
                  <a:lnTo>
                    <a:pt x="81" y="18"/>
                  </a:lnTo>
                  <a:cubicBezTo>
                    <a:pt x="46" y="53"/>
                    <a:pt x="18" y="98"/>
                    <a:pt x="1" y="147"/>
                  </a:cubicBezTo>
                  <a:cubicBezTo>
                    <a:pt x="22" y="91"/>
                    <a:pt x="57" y="42"/>
                    <a:pt x="99"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363" name="Google Shape;6363;p104"/>
            <p:cNvSpPr/>
            <p:nvPr/>
          </p:nvSpPr>
          <p:spPr>
            <a:xfrm>
              <a:off x="2263520" y="1448640"/>
              <a:ext cx="6246" cy="10047"/>
            </a:xfrm>
            <a:custGeom>
              <a:avLst/>
              <a:gdLst/>
              <a:ahLst/>
              <a:cxnLst/>
              <a:rect l="l" t="t" r="r" b="b"/>
              <a:pathLst>
                <a:path w="460" h="740" extrusionOk="0">
                  <a:moveTo>
                    <a:pt x="1" y="1"/>
                  </a:moveTo>
                  <a:lnTo>
                    <a:pt x="1" y="1"/>
                  </a:lnTo>
                  <a:cubicBezTo>
                    <a:pt x="113" y="169"/>
                    <a:pt x="316" y="477"/>
                    <a:pt x="459" y="739"/>
                  </a:cubicBezTo>
                  <a:cubicBezTo>
                    <a:pt x="316" y="477"/>
                    <a:pt x="113" y="165"/>
                    <a:pt x="1" y="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364" name="Google Shape;6364;p104"/>
            <p:cNvSpPr/>
            <p:nvPr/>
          </p:nvSpPr>
          <p:spPr>
            <a:xfrm>
              <a:off x="2269127" y="1476542"/>
              <a:ext cx="14" cy="163"/>
            </a:xfrm>
            <a:custGeom>
              <a:avLst/>
              <a:gdLst/>
              <a:ahLst/>
              <a:cxnLst/>
              <a:rect l="l" t="t" r="r" b="b"/>
              <a:pathLst>
                <a:path w="1" h="12" extrusionOk="0">
                  <a:moveTo>
                    <a:pt x="1" y="11"/>
                  </a:moveTo>
                  <a:cubicBezTo>
                    <a:pt x="1" y="8"/>
                    <a:pt x="1" y="4"/>
                    <a:pt x="1" y="1"/>
                  </a:cubicBezTo>
                  <a:cubicBezTo>
                    <a:pt x="1" y="4"/>
                    <a:pt x="1" y="8"/>
                    <a:pt x="1" y="1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365" name="Google Shape;6365;p104"/>
            <p:cNvSpPr/>
            <p:nvPr/>
          </p:nvSpPr>
          <p:spPr>
            <a:xfrm>
              <a:off x="2257002" y="1519610"/>
              <a:ext cx="109" cy="149"/>
            </a:xfrm>
            <a:custGeom>
              <a:avLst/>
              <a:gdLst/>
              <a:ahLst/>
              <a:cxnLst/>
              <a:rect l="l" t="t" r="r" b="b"/>
              <a:pathLst>
                <a:path w="8" h="11" extrusionOk="0">
                  <a:moveTo>
                    <a:pt x="1" y="11"/>
                  </a:moveTo>
                  <a:lnTo>
                    <a:pt x="8"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366" name="Google Shape;6366;p104"/>
            <p:cNvSpPr/>
            <p:nvPr/>
          </p:nvSpPr>
          <p:spPr>
            <a:xfrm>
              <a:off x="2271082" y="1504593"/>
              <a:ext cx="3476" cy="2716"/>
            </a:xfrm>
            <a:custGeom>
              <a:avLst/>
              <a:gdLst/>
              <a:ahLst/>
              <a:cxnLst/>
              <a:rect l="l" t="t" r="r" b="b"/>
              <a:pathLst>
                <a:path w="256" h="200" extrusionOk="0">
                  <a:moveTo>
                    <a:pt x="0" y="200"/>
                  </a:moveTo>
                  <a:cubicBezTo>
                    <a:pt x="81" y="130"/>
                    <a:pt x="168" y="63"/>
                    <a:pt x="256" y="0"/>
                  </a:cubicBezTo>
                  <a:cubicBezTo>
                    <a:pt x="168" y="63"/>
                    <a:pt x="81" y="130"/>
                    <a:pt x="0" y="20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367" name="Google Shape;6367;p104"/>
            <p:cNvSpPr/>
            <p:nvPr/>
          </p:nvSpPr>
          <p:spPr>
            <a:xfrm>
              <a:off x="2268801" y="1485625"/>
              <a:ext cx="3286" cy="2295"/>
            </a:xfrm>
            <a:custGeom>
              <a:avLst/>
              <a:gdLst/>
              <a:ahLst/>
              <a:cxnLst/>
              <a:rect l="l" t="t" r="r" b="b"/>
              <a:pathLst>
                <a:path w="242" h="169" extrusionOk="0">
                  <a:moveTo>
                    <a:pt x="0" y="0"/>
                  </a:moveTo>
                  <a:cubicBezTo>
                    <a:pt x="25" y="39"/>
                    <a:pt x="154" y="116"/>
                    <a:pt x="242" y="168"/>
                  </a:cubicBezTo>
                  <a:cubicBezTo>
                    <a:pt x="154" y="116"/>
                    <a:pt x="25" y="39"/>
                    <a:pt x="0"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368" name="Google Shape;6368;p104"/>
            <p:cNvSpPr/>
            <p:nvPr/>
          </p:nvSpPr>
          <p:spPr>
            <a:xfrm>
              <a:off x="2257966" y="1513187"/>
              <a:ext cx="8282" cy="5580"/>
            </a:xfrm>
            <a:custGeom>
              <a:avLst/>
              <a:gdLst/>
              <a:ahLst/>
              <a:cxnLst/>
              <a:rect l="l" t="t" r="r" b="b"/>
              <a:pathLst>
                <a:path w="610" h="411" extrusionOk="0">
                  <a:moveTo>
                    <a:pt x="609" y="1"/>
                  </a:moveTo>
                  <a:cubicBezTo>
                    <a:pt x="511" y="74"/>
                    <a:pt x="410" y="141"/>
                    <a:pt x="305" y="204"/>
                  </a:cubicBezTo>
                  <a:cubicBezTo>
                    <a:pt x="196" y="263"/>
                    <a:pt x="95" y="333"/>
                    <a:pt x="0" y="410"/>
                  </a:cubicBezTo>
                  <a:cubicBezTo>
                    <a:pt x="95" y="333"/>
                    <a:pt x="196" y="263"/>
                    <a:pt x="305" y="204"/>
                  </a:cubicBezTo>
                  <a:cubicBezTo>
                    <a:pt x="410" y="141"/>
                    <a:pt x="511" y="74"/>
                    <a:pt x="609" y="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369" name="Google Shape;6369;p104"/>
            <p:cNvSpPr/>
            <p:nvPr/>
          </p:nvSpPr>
          <p:spPr>
            <a:xfrm>
              <a:off x="2256581" y="1520126"/>
              <a:ext cx="54" cy="109"/>
            </a:xfrm>
            <a:custGeom>
              <a:avLst/>
              <a:gdLst/>
              <a:ahLst/>
              <a:cxnLst/>
              <a:rect l="l" t="t" r="r" b="b"/>
              <a:pathLst>
                <a:path w="4" h="8" extrusionOk="0">
                  <a:moveTo>
                    <a:pt x="0" y="8"/>
                  </a:moveTo>
                  <a:lnTo>
                    <a:pt x="4"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370" name="Google Shape;6370;p104"/>
            <p:cNvSpPr/>
            <p:nvPr/>
          </p:nvSpPr>
          <p:spPr>
            <a:xfrm>
              <a:off x="2274449" y="1489372"/>
              <a:ext cx="6056" cy="6816"/>
            </a:xfrm>
            <a:custGeom>
              <a:avLst/>
              <a:gdLst/>
              <a:ahLst/>
              <a:cxnLst/>
              <a:rect l="l" t="t" r="r" b="b"/>
              <a:pathLst>
                <a:path w="446" h="502" extrusionOk="0">
                  <a:moveTo>
                    <a:pt x="1" y="1"/>
                  </a:moveTo>
                  <a:cubicBezTo>
                    <a:pt x="99" y="60"/>
                    <a:pt x="186" y="130"/>
                    <a:pt x="260" y="214"/>
                  </a:cubicBezTo>
                  <a:cubicBezTo>
                    <a:pt x="372" y="340"/>
                    <a:pt x="424" y="428"/>
                    <a:pt x="445" y="501"/>
                  </a:cubicBezTo>
                  <a:cubicBezTo>
                    <a:pt x="424" y="428"/>
                    <a:pt x="372" y="340"/>
                    <a:pt x="260" y="214"/>
                  </a:cubicBezTo>
                  <a:cubicBezTo>
                    <a:pt x="186" y="130"/>
                    <a:pt x="99" y="60"/>
                    <a:pt x="1" y="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371" name="Google Shape;6371;p104"/>
            <p:cNvSpPr/>
            <p:nvPr/>
          </p:nvSpPr>
          <p:spPr>
            <a:xfrm>
              <a:off x="2275929" y="1499121"/>
              <a:ext cx="4195" cy="4481"/>
            </a:xfrm>
            <a:custGeom>
              <a:avLst/>
              <a:gdLst/>
              <a:ahLst/>
              <a:cxnLst/>
              <a:rect l="l" t="t" r="r" b="b"/>
              <a:pathLst>
                <a:path w="309" h="330" extrusionOk="0">
                  <a:moveTo>
                    <a:pt x="308" y="1"/>
                  </a:moveTo>
                  <a:lnTo>
                    <a:pt x="308" y="1"/>
                  </a:lnTo>
                  <a:cubicBezTo>
                    <a:pt x="263" y="120"/>
                    <a:pt x="144" y="225"/>
                    <a:pt x="0" y="330"/>
                  </a:cubicBezTo>
                  <a:cubicBezTo>
                    <a:pt x="144" y="225"/>
                    <a:pt x="266" y="120"/>
                    <a:pt x="308" y="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372" name="Google Shape;6372;p104"/>
            <p:cNvSpPr/>
            <p:nvPr/>
          </p:nvSpPr>
          <p:spPr>
            <a:xfrm>
              <a:off x="2249874" y="1554544"/>
              <a:ext cx="258" cy="1059"/>
            </a:xfrm>
            <a:custGeom>
              <a:avLst/>
              <a:gdLst/>
              <a:ahLst/>
              <a:cxnLst/>
              <a:rect l="l" t="t" r="r" b="b"/>
              <a:pathLst>
                <a:path w="19" h="78" extrusionOk="0">
                  <a:moveTo>
                    <a:pt x="18" y="1"/>
                  </a:moveTo>
                  <a:cubicBezTo>
                    <a:pt x="16" y="2"/>
                    <a:pt x="14" y="5"/>
                    <a:pt x="13" y="7"/>
                  </a:cubicBezTo>
                  <a:lnTo>
                    <a:pt x="13" y="7"/>
                  </a:lnTo>
                  <a:cubicBezTo>
                    <a:pt x="14" y="5"/>
                    <a:pt x="16" y="3"/>
                    <a:pt x="18" y="1"/>
                  </a:cubicBezTo>
                  <a:close/>
                  <a:moveTo>
                    <a:pt x="13" y="7"/>
                  </a:moveTo>
                  <a:lnTo>
                    <a:pt x="13" y="7"/>
                  </a:lnTo>
                  <a:cubicBezTo>
                    <a:pt x="8" y="13"/>
                    <a:pt x="4" y="21"/>
                    <a:pt x="4" y="29"/>
                  </a:cubicBezTo>
                  <a:cubicBezTo>
                    <a:pt x="4" y="39"/>
                    <a:pt x="8" y="50"/>
                    <a:pt x="11" y="60"/>
                  </a:cubicBezTo>
                  <a:lnTo>
                    <a:pt x="18" y="78"/>
                  </a:lnTo>
                  <a:cubicBezTo>
                    <a:pt x="12" y="62"/>
                    <a:pt x="0" y="27"/>
                    <a:pt x="13" y="7"/>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373" name="Google Shape;6373;p104"/>
            <p:cNvSpPr/>
            <p:nvPr/>
          </p:nvSpPr>
          <p:spPr>
            <a:xfrm>
              <a:off x="2251965" y="1550498"/>
              <a:ext cx="774" cy="1724"/>
            </a:xfrm>
            <a:custGeom>
              <a:avLst/>
              <a:gdLst/>
              <a:ahLst/>
              <a:cxnLst/>
              <a:rect l="l" t="t" r="r" b="b"/>
              <a:pathLst>
                <a:path w="57" h="127" extrusionOk="0">
                  <a:moveTo>
                    <a:pt x="1" y="1"/>
                  </a:moveTo>
                  <a:lnTo>
                    <a:pt x="22" y="29"/>
                  </a:lnTo>
                  <a:cubicBezTo>
                    <a:pt x="43" y="57"/>
                    <a:pt x="57" y="88"/>
                    <a:pt x="57" y="127"/>
                  </a:cubicBezTo>
                  <a:cubicBezTo>
                    <a:pt x="57" y="88"/>
                    <a:pt x="43" y="57"/>
                    <a:pt x="22" y="29"/>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374" name="Google Shape;6374;p104"/>
            <p:cNvSpPr/>
            <p:nvPr/>
          </p:nvSpPr>
          <p:spPr>
            <a:xfrm>
              <a:off x="2254871" y="1536147"/>
              <a:ext cx="14" cy="14"/>
            </a:xfrm>
            <a:custGeom>
              <a:avLst/>
              <a:gdLst/>
              <a:ahLst/>
              <a:cxnLst/>
              <a:rect l="l" t="t" r="r" b="b"/>
              <a:pathLst>
                <a:path w="1" h="1" extrusionOk="0">
                  <a:moveTo>
                    <a:pt x="0" y="1"/>
                  </a:moveTo>
                  <a:lnTo>
                    <a:pt x="0" y="1"/>
                  </a:lnTo>
                  <a:cubicBezTo>
                    <a:pt x="0" y="1"/>
                    <a:pt x="0" y="1"/>
                    <a:pt x="0" y="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375" name="Google Shape;6375;p104"/>
            <p:cNvSpPr/>
            <p:nvPr/>
          </p:nvSpPr>
          <p:spPr>
            <a:xfrm>
              <a:off x="2254681" y="1537002"/>
              <a:ext cx="54" cy="109"/>
            </a:xfrm>
            <a:custGeom>
              <a:avLst/>
              <a:gdLst/>
              <a:ahLst/>
              <a:cxnLst/>
              <a:rect l="l" t="t" r="r" b="b"/>
              <a:pathLst>
                <a:path w="4" h="8" extrusionOk="0">
                  <a:moveTo>
                    <a:pt x="0" y="8"/>
                  </a:moveTo>
                  <a:lnTo>
                    <a:pt x="4"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376" name="Google Shape;6376;p104"/>
            <p:cNvSpPr/>
            <p:nvPr/>
          </p:nvSpPr>
          <p:spPr>
            <a:xfrm>
              <a:off x="2253961" y="1538048"/>
              <a:ext cx="68" cy="68"/>
            </a:xfrm>
            <a:custGeom>
              <a:avLst/>
              <a:gdLst/>
              <a:ahLst/>
              <a:cxnLst/>
              <a:rect l="l" t="t" r="r" b="b"/>
              <a:pathLst>
                <a:path w="5" h="5" extrusionOk="0">
                  <a:moveTo>
                    <a:pt x="1" y="4"/>
                  </a:moveTo>
                  <a:lnTo>
                    <a:pt x="4"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377" name="Google Shape;6377;p104"/>
            <p:cNvSpPr/>
            <p:nvPr/>
          </p:nvSpPr>
          <p:spPr>
            <a:xfrm>
              <a:off x="2254110" y="1537858"/>
              <a:ext cx="109" cy="68"/>
            </a:xfrm>
            <a:custGeom>
              <a:avLst/>
              <a:gdLst/>
              <a:ahLst/>
              <a:cxnLst/>
              <a:rect l="l" t="t" r="r" b="b"/>
              <a:pathLst>
                <a:path w="8" h="5" extrusionOk="0">
                  <a:moveTo>
                    <a:pt x="0" y="4"/>
                  </a:moveTo>
                  <a:lnTo>
                    <a:pt x="7"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378" name="Google Shape;6378;p104"/>
            <p:cNvSpPr/>
            <p:nvPr/>
          </p:nvSpPr>
          <p:spPr>
            <a:xfrm>
              <a:off x="2253825" y="1538238"/>
              <a:ext cx="54" cy="68"/>
            </a:xfrm>
            <a:custGeom>
              <a:avLst/>
              <a:gdLst/>
              <a:ahLst/>
              <a:cxnLst/>
              <a:rect l="l" t="t" r="r" b="b"/>
              <a:pathLst>
                <a:path w="4" h="5" extrusionOk="0">
                  <a:moveTo>
                    <a:pt x="0" y="4"/>
                  </a:moveTo>
                  <a:lnTo>
                    <a:pt x="4"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379" name="Google Shape;6379;p104"/>
            <p:cNvSpPr/>
            <p:nvPr/>
          </p:nvSpPr>
          <p:spPr>
            <a:xfrm>
              <a:off x="2250974" y="1540519"/>
              <a:ext cx="1249" cy="1629"/>
            </a:xfrm>
            <a:custGeom>
              <a:avLst/>
              <a:gdLst/>
              <a:ahLst/>
              <a:cxnLst/>
              <a:rect l="l" t="t" r="r" b="b"/>
              <a:pathLst>
                <a:path w="92" h="120" extrusionOk="0">
                  <a:moveTo>
                    <a:pt x="0" y="120"/>
                  </a:moveTo>
                  <a:cubicBezTo>
                    <a:pt x="35" y="85"/>
                    <a:pt x="67" y="43"/>
                    <a:pt x="91" y="1"/>
                  </a:cubicBezTo>
                  <a:cubicBezTo>
                    <a:pt x="67" y="43"/>
                    <a:pt x="35" y="85"/>
                    <a:pt x="0" y="12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380" name="Google Shape;6380;p104"/>
            <p:cNvSpPr/>
            <p:nvPr/>
          </p:nvSpPr>
          <p:spPr>
            <a:xfrm>
              <a:off x="2252875" y="1538428"/>
              <a:ext cx="774" cy="923"/>
            </a:xfrm>
            <a:custGeom>
              <a:avLst/>
              <a:gdLst/>
              <a:ahLst/>
              <a:cxnLst/>
              <a:rect l="l" t="t" r="r" b="b"/>
              <a:pathLst>
                <a:path w="57" h="68" extrusionOk="0">
                  <a:moveTo>
                    <a:pt x="0" y="67"/>
                  </a:moveTo>
                  <a:cubicBezTo>
                    <a:pt x="18" y="43"/>
                    <a:pt x="35" y="22"/>
                    <a:pt x="56" y="1"/>
                  </a:cubicBezTo>
                  <a:cubicBezTo>
                    <a:pt x="35" y="22"/>
                    <a:pt x="18" y="43"/>
                    <a:pt x="0" y="67"/>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381" name="Google Shape;6381;p104"/>
            <p:cNvSpPr/>
            <p:nvPr/>
          </p:nvSpPr>
          <p:spPr>
            <a:xfrm>
              <a:off x="2254300" y="1537668"/>
              <a:ext cx="54" cy="68"/>
            </a:xfrm>
            <a:custGeom>
              <a:avLst/>
              <a:gdLst/>
              <a:ahLst/>
              <a:cxnLst/>
              <a:rect l="l" t="t" r="r" b="b"/>
              <a:pathLst>
                <a:path w="4" h="5" extrusionOk="0">
                  <a:moveTo>
                    <a:pt x="0" y="4"/>
                  </a:moveTo>
                  <a:lnTo>
                    <a:pt x="4"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382" name="Google Shape;6382;p104"/>
            <p:cNvSpPr/>
            <p:nvPr/>
          </p:nvSpPr>
          <p:spPr>
            <a:xfrm>
              <a:off x="2252820" y="1539378"/>
              <a:ext cx="14" cy="68"/>
            </a:xfrm>
            <a:custGeom>
              <a:avLst/>
              <a:gdLst/>
              <a:ahLst/>
              <a:cxnLst/>
              <a:rect l="l" t="t" r="r" b="b"/>
              <a:pathLst>
                <a:path w="1" h="5" extrusionOk="0">
                  <a:moveTo>
                    <a:pt x="1" y="4"/>
                  </a:moveTo>
                  <a:lnTo>
                    <a:pt x="1"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383" name="Google Shape;6383;p104"/>
            <p:cNvSpPr/>
            <p:nvPr/>
          </p:nvSpPr>
          <p:spPr>
            <a:xfrm>
              <a:off x="2254531" y="1534721"/>
              <a:ext cx="68" cy="163"/>
            </a:xfrm>
            <a:custGeom>
              <a:avLst/>
              <a:gdLst/>
              <a:ahLst/>
              <a:cxnLst/>
              <a:rect l="l" t="t" r="r" b="b"/>
              <a:pathLst>
                <a:path w="5" h="12" extrusionOk="0">
                  <a:moveTo>
                    <a:pt x="4" y="1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384" name="Google Shape;6384;p104"/>
            <p:cNvSpPr/>
            <p:nvPr/>
          </p:nvSpPr>
          <p:spPr>
            <a:xfrm>
              <a:off x="2254776" y="1535427"/>
              <a:ext cx="54" cy="163"/>
            </a:xfrm>
            <a:custGeom>
              <a:avLst/>
              <a:gdLst/>
              <a:ahLst/>
              <a:cxnLst/>
              <a:rect l="l" t="t" r="r" b="b"/>
              <a:pathLst>
                <a:path w="4" h="12" extrusionOk="0">
                  <a:moveTo>
                    <a:pt x="1" y="0"/>
                  </a:moveTo>
                  <a:cubicBezTo>
                    <a:pt x="1" y="0"/>
                    <a:pt x="0" y="1"/>
                    <a:pt x="0" y="1"/>
                  </a:cubicBezTo>
                  <a:cubicBezTo>
                    <a:pt x="1" y="2"/>
                    <a:pt x="1" y="2"/>
                    <a:pt x="2" y="3"/>
                  </a:cubicBezTo>
                  <a:lnTo>
                    <a:pt x="2" y="3"/>
                  </a:lnTo>
                  <a:cubicBezTo>
                    <a:pt x="1" y="1"/>
                    <a:pt x="1" y="0"/>
                    <a:pt x="1" y="0"/>
                  </a:cubicBezTo>
                  <a:close/>
                  <a:moveTo>
                    <a:pt x="2" y="3"/>
                  </a:moveTo>
                  <a:lnTo>
                    <a:pt x="2" y="3"/>
                  </a:lnTo>
                  <a:cubicBezTo>
                    <a:pt x="3" y="6"/>
                    <a:pt x="4" y="10"/>
                    <a:pt x="4" y="12"/>
                  </a:cubicBezTo>
                  <a:cubicBezTo>
                    <a:pt x="4" y="9"/>
                    <a:pt x="4" y="6"/>
                    <a:pt x="2" y="3"/>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385" name="Google Shape;6385;p104"/>
            <p:cNvSpPr/>
            <p:nvPr/>
          </p:nvSpPr>
          <p:spPr>
            <a:xfrm>
              <a:off x="2254436" y="1537437"/>
              <a:ext cx="68" cy="109"/>
            </a:xfrm>
            <a:custGeom>
              <a:avLst/>
              <a:gdLst/>
              <a:ahLst/>
              <a:cxnLst/>
              <a:rect l="l" t="t" r="r" b="b"/>
              <a:pathLst>
                <a:path w="5" h="8" extrusionOk="0">
                  <a:moveTo>
                    <a:pt x="1" y="7"/>
                  </a:moveTo>
                  <a:lnTo>
                    <a:pt x="4"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386" name="Google Shape;6386;p104"/>
            <p:cNvSpPr/>
            <p:nvPr/>
          </p:nvSpPr>
          <p:spPr>
            <a:xfrm>
              <a:off x="2254871" y="1535767"/>
              <a:ext cx="14" cy="163"/>
            </a:xfrm>
            <a:custGeom>
              <a:avLst/>
              <a:gdLst/>
              <a:ahLst/>
              <a:cxnLst/>
              <a:rect l="l" t="t" r="r" b="b"/>
              <a:pathLst>
                <a:path w="1" h="12" extrusionOk="0">
                  <a:moveTo>
                    <a:pt x="0" y="1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387" name="Google Shape;6387;p104"/>
            <p:cNvSpPr/>
            <p:nvPr/>
          </p:nvSpPr>
          <p:spPr>
            <a:xfrm>
              <a:off x="2254681" y="1535102"/>
              <a:ext cx="54" cy="163"/>
            </a:xfrm>
            <a:custGeom>
              <a:avLst/>
              <a:gdLst/>
              <a:ahLst/>
              <a:cxnLst/>
              <a:rect l="l" t="t" r="r" b="b"/>
              <a:pathLst>
                <a:path w="4" h="12" extrusionOk="0">
                  <a:moveTo>
                    <a:pt x="4" y="1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388" name="Google Shape;6388;p104"/>
            <p:cNvSpPr/>
            <p:nvPr/>
          </p:nvSpPr>
          <p:spPr>
            <a:xfrm>
              <a:off x="2254816" y="1536432"/>
              <a:ext cx="14" cy="109"/>
            </a:xfrm>
            <a:custGeom>
              <a:avLst/>
              <a:gdLst/>
              <a:ahLst/>
              <a:cxnLst/>
              <a:rect l="l" t="t" r="r" b="b"/>
              <a:pathLst>
                <a:path w="1" h="8" extrusionOk="0">
                  <a:moveTo>
                    <a:pt x="1" y="8"/>
                  </a:moveTo>
                  <a:lnTo>
                    <a:pt x="1" y="4"/>
                  </a:lnTo>
                  <a:cubicBezTo>
                    <a:pt x="1" y="1"/>
                    <a:pt x="1" y="8"/>
                    <a:pt x="1" y="8"/>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389" name="Google Shape;6389;p104"/>
            <p:cNvSpPr/>
            <p:nvPr/>
          </p:nvSpPr>
          <p:spPr>
            <a:xfrm>
              <a:off x="2254531" y="1537192"/>
              <a:ext cx="109" cy="109"/>
            </a:xfrm>
            <a:custGeom>
              <a:avLst/>
              <a:gdLst/>
              <a:ahLst/>
              <a:cxnLst/>
              <a:rect l="l" t="t" r="r" b="b"/>
              <a:pathLst>
                <a:path w="8" h="8" extrusionOk="0">
                  <a:moveTo>
                    <a:pt x="1" y="8"/>
                  </a:moveTo>
                  <a:lnTo>
                    <a:pt x="8"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390" name="Google Shape;6390;p104"/>
            <p:cNvSpPr/>
            <p:nvPr/>
          </p:nvSpPr>
          <p:spPr>
            <a:xfrm>
              <a:off x="2254776" y="1536717"/>
              <a:ext cx="54" cy="109"/>
            </a:xfrm>
            <a:custGeom>
              <a:avLst/>
              <a:gdLst/>
              <a:ahLst/>
              <a:cxnLst/>
              <a:rect l="l" t="t" r="r" b="b"/>
              <a:pathLst>
                <a:path w="4" h="8" extrusionOk="0">
                  <a:moveTo>
                    <a:pt x="0" y="8"/>
                  </a:moveTo>
                  <a:lnTo>
                    <a:pt x="4"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391" name="Google Shape;6391;p104"/>
            <p:cNvSpPr/>
            <p:nvPr/>
          </p:nvSpPr>
          <p:spPr>
            <a:xfrm>
              <a:off x="2250024" y="1555359"/>
              <a:ext cx="149" cy="489"/>
            </a:xfrm>
            <a:custGeom>
              <a:avLst/>
              <a:gdLst/>
              <a:ahLst/>
              <a:cxnLst/>
              <a:rect l="l" t="t" r="r" b="b"/>
              <a:pathLst>
                <a:path w="11" h="36" extrusionOk="0">
                  <a:moveTo>
                    <a:pt x="0" y="0"/>
                  </a:moveTo>
                  <a:cubicBezTo>
                    <a:pt x="4" y="11"/>
                    <a:pt x="7" y="25"/>
                    <a:pt x="11" y="35"/>
                  </a:cubicBezTo>
                  <a:lnTo>
                    <a:pt x="7" y="18"/>
                  </a:lnTo>
                  <a:lnTo>
                    <a:pt x="0"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392" name="Google Shape;6392;p104"/>
            <p:cNvSpPr/>
            <p:nvPr/>
          </p:nvSpPr>
          <p:spPr>
            <a:xfrm>
              <a:off x="2263995" y="1416040"/>
              <a:ext cx="2770" cy="1439"/>
            </a:xfrm>
            <a:custGeom>
              <a:avLst/>
              <a:gdLst/>
              <a:ahLst/>
              <a:cxnLst/>
              <a:rect l="l" t="t" r="r" b="b"/>
              <a:pathLst>
                <a:path w="204" h="106" extrusionOk="0">
                  <a:moveTo>
                    <a:pt x="204" y="0"/>
                  </a:moveTo>
                  <a:lnTo>
                    <a:pt x="204" y="0"/>
                  </a:lnTo>
                  <a:cubicBezTo>
                    <a:pt x="127" y="7"/>
                    <a:pt x="53" y="46"/>
                    <a:pt x="1" y="105"/>
                  </a:cubicBezTo>
                  <a:lnTo>
                    <a:pt x="18" y="88"/>
                  </a:lnTo>
                  <a:cubicBezTo>
                    <a:pt x="67" y="39"/>
                    <a:pt x="134" y="7"/>
                    <a:pt x="204"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393" name="Google Shape;6393;p104"/>
            <p:cNvSpPr/>
            <p:nvPr/>
          </p:nvSpPr>
          <p:spPr>
            <a:xfrm>
              <a:off x="2276350" y="1412130"/>
              <a:ext cx="258" cy="258"/>
            </a:xfrm>
            <a:custGeom>
              <a:avLst/>
              <a:gdLst/>
              <a:ahLst/>
              <a:cxnLst/>
              <a:rect l="l" t="t" r="r" b="b"/>
              <a:pathLst>
                <a:path w="19" h="19" extrusionOk="0">
                  <a:moveTo>
                    <a:pt x="18" y="1"/>
                  </a:moveTo>
                  <a:cubicBezTo>
                    <a:pt x="11" y="8"/>
                    <a:pt x="4" y="15"/>
                    <a:pt x="1" y="19"/>
                  </a:cubicBezTo>
                  <a:cubicBezTo>
                    <a:pt x="4" y="15"/>
                    <a:pt x="11" y="8"/>
                    <a:pt x="18" y="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394" name="Google Shape;6394;p104"/>
            <p:cNvSpPr/>
            <p:nvPr/>
          </p:nvSpPr>
          <p:spPr>
            <a:xfrm>
              <a:off x="2276921" y="1411139"/>
              <a:ext cx="258" cy="489"/>
            </a:xfrm>
            <a:custGeom>
              <a:avLst/>
              <a:gdLst/>
              <a:ahLst/>
              <a:cxnLst/>
              <a:rect l="l" t="t" r="r" b="b"/>
              <a:pathLst>
                <a:path w="19" h="36" extrusionOk="0">
                  <a:moveTo>
                    <a:pt x="1" y="35"/>
                  </a:moveTo>
                  <a:cubicBezTo>
                    <a:pt x="8" y="25"/>
                    <a:pt x="15" y="14"/>
                    <a:pt x="18" y="0"/>
                  </a:cubicBezTo>
                  <a:cubicBezTo>
                    <a:pt x="15" y="14"/>
                    <a:pt x="8" y="25"/>
                    <a:pt x="1" y="35"/>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395" name="Google Shape;6395;p104"/>
            <p:cNvSpPr/>
            <p:nvPr/>
          </p:nvSpPr>
          <p:spPr>
            <a:xfrm>
              <a:off x="2275875" y="1412470"/>
              <a:ext cx="394" cy="299"/>
            </a:xfrm>
            <a:custGeom>
              <a:avLst/>
              <a:gdLst/>
              <a:ahLst/>
              <a:cxnLst/>
              <a:rect l="l" t="t" r="r" b="b"/>
              <a:pathLst>
                <a:path w="29" h="22" extrusionOk="0">
                  <a:moveTo>
                    <a:pt x="1" y="22"/>
                  </a:moveTo>
                  <a:cubicBezTo>
                    <a:pt x="11" y="15"/>
                    <a:pt x="18" y="8"/>
                    <a:pt x="29" y="1"/>
                  </a:cubicBezTo>
                  <a:cubicBezTo>
                    <a:pt x="18" y="8"/>
                    <a:pt x="11" y="15"/>
                    <a:pt x="1" y="22"/>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396" name="Google Shape;6396;p104"/>
            <p:cNvSpPr/>
            <p:nvPr/>
          </p:nvSpPr>
          <p:spPr>
            <a:xfrm>
              <a:off x="2276690" y="1411709"/>
              <a:ext cx="204" cy="339"/>
            </a:xfrm>
            <a:custGeom>
              <a:avLst/>
              <a:gdLst/>
              <a:ahLst/>
              <a:cxnLst/>
              <a:rect l="l" t="t" r="r" b="b"/>
              <a:pathLst>
                <a:path w="15" h="25" extrusionOk="0">
                  <a:moveTo>
                    <a:pt x="0" y="25"/>
                  </a:moveTo>
                  <a:cubicBezTo>
                    <a:pt x="4" y="14"/>
                    <a:pt x="11" y="7"/>
                    <a:pt x="14" y="0"/>
                  </a:cubicBezTo>
                  <a:cubicBezTo>
                    <a:pt x="11" y="7"/>
                    <a:pt x="4" y="14"/>
                    <a:pt x="0" y="25"/>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397" name="Google Shape;6397;p104"/>
            <p:cNvSpPr/>
            <p:nvPr/>
          </p:nvSpPr>
          <p:spPr>
            <a:xfrm>
              <a:off x="2263764" y="1417222"/>
              <a:ext cx="434" cy="448"/>
            </a:xfrm>
            <a:custGeom>
              <a:avLst/>
              <a:gdLst/>
              <a:ahLst/>
              <a:cxnLst/>
              <a:rect l="l" t="t" r="r" b="b"/>
              <a:pathLst>
                <a:path w="32" h="33" extrusionOk="0">
                  <a:moveTo>
                    <a:pt x="32" y="1"/>
                  </a:moveTo>
                  <a:lnTo>
                    <a:pt x="18" y="15"/>
                  </a:lnTo>
                  <a:lnTo>
                    <a:pt x="0" y="32"/>
                  </a:lnTo>
                  <a:cubicBezTo>
                    <a:pt x="14" y="22"/>
                    <a:pt x="21" y="11"/>
                    <a:pt x="32" y="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398" name="Google Shape;6398;p104"/>
            <p:cNvSpPr/>
            <p:nvPr/>
          </p:nvSpPr>
          <p:spPr>
            <a:xfrm>
              <a:off x="3015482" y="1689586"/>
              <a:ext cx="163" cy="1195"/>
            </a:xfrm>
            <a:custGeom>
              <a:avLst/>
              <a:gdLst/>
              <a:ahLst/>
              <a:cxnLst/>
              <a:rect l="l" t="t" r="r" b="b"/>
              <a:pathLst>
                <a:path w="12" h="88" extrusionOk="0">
                  <a:moveTo>
                    <a:pt x="1" y="0"/>
                  </a:moveTo>
                  <a:cubicBezTo>
                    <a:pt x="8" y="28"/>
                    <a:pt x="11" y="56"/>
                    <a:pt x="11" y="88"/>
                  </a:cubicBezTo>
                  <a:cubicBezTo>
                    <a:pt x="11" y="56"/>
                    <a:pt x="8" y="28"/>
                    <a:pt x="1"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399" name="Google Shape;6399;p104"/>
            <p:cNvSpPr/>
            <p:nvPr/>
          </p:nvSpPr>
          <p:spPr>
            <a:xfrm>
              <a:off x="2958307" y="1600694"/>
              <a:ext cx="3150" cy="353"/>
            </a:xfrm>
            <a:custGeom>
              <a:avLst/>
              <a:gdLst/>
              <a:ahLst/>
              <a:cxnLst/>
              <a:rect l="l" t="t" r="r" b="b"/>
              <a:pathLst>
                <a:path w="232" h="26" extrusionOk="0">
                  <a:moveTo>
                    <a:pt x="0" y="8"/>
                  </a:moveTo>
                  <a:cubicBezTo>
                    <a:pt x="77" y="1"/>
                    <a:pt x="154" y="8"/>
                    <a:pt x="231" y="25"/>
                  </a:cubicBezTo>
                  <a:cubicBezTo>
                    <a:pt x="154" y="8"/>
                    <a:pt x="77" y="1"/>
                    <a:pt x="0" y="8"/>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400" name="Google Shape;6400;p104"/>
            <p:cNvSpPr/>
            <p:nvPr/>
          </p:nvSpPr>
          <p:spPr>
            <a:xfrm>
              <a:off x="2924961" y="1625555"/>
              <a:ext cx="3408" cy="7671"/>
            </a:xfrm>
            <a:custGeom>
              <a:avLst/>
              <a:gdLst/>
              <a:ahLst/>
              <a:cxnLst/>
              <a:rect l="l" t="t" r="r" b="b"/>
              <a:pathLst>
                <a:path w="251" h="565" extrusionOk="0">
                  <a:moveTo>
                    <a:pt x="251" y="1"/>
                  </a:moveTo>
                  <a:cubicBezTo>
                    <a:pt x="230" y="46"/>
                    <a:pt x="191" y="109"/>
                    <a:pt x="156" y="169"/>
                  </a:cubicBezTo>
                  <a:cubicBezTo>
                    <a:pt x="195" y="109"/>
                    <a:pt x="230" y="46"/>
                    <a:pt x="251" y="1"/>
                  </a:cubicBezTo>
                  <a:close/>
                  <a:moveTo>
                    <a:pt x="156" y="170"/>
                  </a:moveTo>
                  <a:lnTo>
                    <a:pt x="156" y="170"/>
                  </a:lnTo>
                  <a:cubicBezTo>
                    <a:pt x="63" y="329"/>
                    <a:pt x="1" y="439"/>
                    <a:pt x="1" y="525"/>
                  </a:cubicBezTo>
                  <a:lnTo>
                    <a:pt x="1" y="525"/>
                  </a:lnTo>
                  <a:cubicBezTo>
                    <a:pt x="1" y="441"/>
                    <a:pt x="63" y="329"/>
                    <a:pt x="156" y="170"/>
                  </a:cubicBezTo>
                  <a:close/>
                  <a:moveTo>
                    <a:pt x="1" y="525"/>
                  </a:moveTo>
                  <a:cubicBezTo>
                    <a:pt x="1" y="539"/>
                    <a:pt x="2" y="552"/>
                    <a:pt x="6" y="564"/>
                  </a:cubicBezTo>
                  <a:cubicBezTo>
                    <a:pt x="2" y="552"/>
                    <a:pt x="1" y="539"/>
                    <a:pt x="1" y="525"/>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401" name="Google Shape;6401;p104"/>
            <p:cNvSpPr/>
            <p:nvPr/>
          </p:nvSpPr>
          <p:spPr>
            <a:xfrm>
              <a:off x="2928546" y="1617856"/>
              <a:ext cx="4535" cy="7196"/>
            </a:xfrm>
            <a:custGeom>
              <a:avLst/>
              <a:gdLst/>
              <a:ahLst/>
              <a:cxnLst/>
              <a:rect l="l" t="t" r="r" b="b"/>
              <a:pathLst>
                <a:path w="334" h="530" extrusionOk="0">
                  <a:moveTo>
                    <a:pt x="1" y="529"/>
                  </a:moveTo>
                  <a:cubicBezTo>
                    <a:pt x="32" y="410"/>
                    <a:pt x="214" y="102"/>
                    <a:pt x="333" y="1"/>
                  </a:cubicBezTo>
                  <a:cubicBezTo>
                    <a:pt x="214" y="102"/>
                    <a:pt x="32" y="410"/>
                    <a:pt x="1" y="529"/>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402" name="Google Shape;6402;p104"/>
            <p:cNvSpPr/>
            <p:nvPr/>
          </p:nvSpPr>
          <p:spPr>
            <a:xfrm>
              <a:off x="2906265" y="1635629"/>
              <a:ext cx="339" cy="109"/>
            </a:xfrm>
            <a:custGeom>
              <a:avLst/>
              <a:gdLst/>
              <a:ahLst/>
              <a:cxnLst/>
              <a:rect l="l" t="t" r="r" b="b"/>
              <a:pathLst>
                <a:path w="25" h="8" extrusionOk="0">
                  <a:moveTo>
                    <a:pt x="0" y="1"/>
                  </a:moveTo>
                  <a:lnTo>
                    <a:pt x="0" y="1"/>
                  </a:lnTo>
                  <a:lnTo>
                    <a:pt x="25" y="8"/>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403" name="Google Shape;6403;p104"/>
            <p:cNvSpPr/>
            <p:nvPr/>
          </p:nvSpPr>
          <p:spPr>
            <a:xfrm>
              <a:off x="2908301" y="1636634"/>
              <a:ext cx="638" cy="625"/>
            </a:xfrm>
            <a:custGeom>
              <a:avLst/>
              <a:gdLst/>
              <a:ahLst/>
              <a:cxnLst/>
              <a:rect l="l" t="t" r="r" b="b"/>
              <a:pathLst>
                <a:path w="47" h="46" extrusionOk="0">
                  <a:moveTo>
                    <a:pt x="1" y="1"/>
                  </a:moveTo>
                  <a:cubicBezTo>
                    <a:pt x="18" y="11"/>
                    <a:pt x="32" y="29"/>
                    <a:pt x="46" y="46"/>
                  </a:cubicBezTo>
                  <a:cubicBezTo>
                    <a:pt x="36" y="29"/>
                    <a:pt x="18" y="11"/>
                    <a:pt x="1" y="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404" name="Google Shape;6404;p104"/>
            <p:cNvSpPr/>
            <p:nvPr/>
          </p:nvSpPr>
          <p:spPr>
            <a:xfrm>
              <a:off x="2908967" y="1637299"/>
              <a:ext cx="258" cy="339"/>
            </a:xfrm>
            <a:custGeom>
              <a:avLst/>
              <a:gdLst/>
              <a:ahLst/>
              <a:cxnLst/>
              <a:rect l="l" t="t" r="r" b="b"/>
              <a:pathLst>
                <a:path w="19" h="25" extrusionOk="0">
                  <a:moveTo>
                    <a:pt x="18" y="25"/>
                  </a:moveTo>
                  <a:cubicBezTo>
                    <a:pt x="11" y="14"/>
                    <a:pt x="8" y="7"/>
                    <a:pt x="1" y="0"/>
                  </a:cubicBezTo>
                  <a:cubicBezTo>
                    <a:pt x="8" y="7"/>
                    <a:pt x="11" y="14"/>
                    <a:pt x="18" y="25"/>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405" name="Google Shape;6405;p104"/>
            <p:cNvSpPr/>
            <p:nvPr/>
          </p:nvSpPr>
          <p:spPr>
            <a:xfrm>
              <a:off x="2935633" y="1611163"/>
              <a:ext cx="828" cy="3530"/>
            </a:xfrm>
            <a:custGeom>
              <a:avLst/>
              <a:gdLst/>
              <a:ahLst/>
              <a:cxnLst/>
              <a:rect l="l" t="t" r="r" b="b"/>
              <a:pathLst>
                <a:path w="61" h="260" extrusionOk="0">
                  <a:moveTo>
                    <a:pt x="1" y="0"/>
                  </a:moveTo>
                  <a:cubicBezTo>
                    <a:pt x="29" y="84"/>
                    <a:pt x="50" y="172"/>
                    <a:pt x="60" y="259"/>
                  </a:cubicBezTo>
                  <a:cubicBezTo>
                    <a:pt x="50" y="172"/>
                    <a:pt x="29" y="84"/>
                    <a:pt x="1"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406" name="Google Shape;6406;p104"/>
            <p:cNvSpPr/>
            <p:nvPr/>
          </p:nvSpPr>
          <p:spPr>
            <a:xfrm>
              <a:off x="2907976" y="1636390"/>
              <a:ext cx="244" cy="204"/>
            </a:xfrm>
            <a:custGeom>
              <a:avLst/>
              <a:gdLst/>
              <a:ahLst/>
              <a:cxnLst/>
              <a:rect l="l" t="t" r="r" b="b"/>
              <a:pathLst>
                <a:path w="18" h="15" extrusionOk="0">
                  <a:moveTo>
                    <a:pt x="0" y="1"/>
                  </a:moveTo>
                  <a:lnTo>
                    <a:pt x="18" y="15"/>
                  </a:lnTo>
                  <a:cubicBezTo>
                    <a:pt x="14" y="8"/>
                    <a:pt x="7" y="4"/>
                    <a:pt x="0" y="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407" name="Google Shape;6407;p104"/>
            <p:cNvSpPr/>
            <p:nvPr/>
          </p:nvSpPr>
          <p:spPr>
            <a:xfrm>
              <a:off x="2695420" y="1641956"/>
              <a:ext cx="2417" cy="448"/>
            </a:xfrm>
            <a:custGeom>
              <a:avLst/>
              <a:gdLst/>
              <a:ahLst/>
              <a:cxnLst/>
              <a:rect l="l" t="t" r="r" b="b"/>
              <a:pathLst>
                <a:path w="178" h="33" extrusionOk="0">
                  <a:moveTo>
                    <a:pt x="1" y="1"/>
                  </a:moveTo>
                  <a:cubicBezTo>
                    <a:pt x="29" y="4"/>
                    <a:pt x="63" y="11"/>
                    <a:pt x="90" y="18"/>
                  </a:cubicBezTo>
                  <a:cubicBezTo>
                    <a:pt x="93" y="18"/>
                    <a:pt x="97" y="19"/>
                    <a:pt x="100" y="19"/>
                  </a:cubicBezTo>
                  <a:lnTo>
                    <a:pt x="100" y="19"/>
                  </a:lnTo>
                  <a:cubicBezTo>
                    <a:pt x="98" y="19"/>
                    <a:pt x="96" y="18"/>
                    <a:pt x="94" y="18"/>
                  </a:cubicBezTo>
                  <a:cubicBezTo>
                    <a:pt x="63" y="11"/>
                    <a:pt x="29" y="4"/>
                    <a:pt x="1" y="1"/>
                  </a:cubicBezTo>
                  <a:close/>
                  <a:moveTo>
                    <a:pt x="100" y="19"/>
                  </a:moveTo>
                  <a:lnTo>
                    <a:pt x="100" y="19"/>
                  </a:lnTo>
                  <a:cubicBezTo>
                    <a:pt x="115" y="22"/>
                    <a:pt x="134" y="25"/>
                    <a:pt x="151" y="28"/>
                  </a:cubicBezTo>
                  <a:lnTo>
                    <a:pt x="151" y="28"/>
                  </a:lnTo>
                  <a:cubicBezTo>
                    <a:pt x="135" y="25"/>
                    <a:pt x="117" y="22"/>
                    <a:pt x="100" y="19"/>
                  </a:cubicBezTo>
                  <a:close/>
                  <a:moveTo>
                    <a:pt x="151" y="28"/>
                  </a:moveTo>
                  <a:cubicBezTo>
                    <a:pt x="160" y="29"/>
                    <a:pt x="169" y="31"/>
                    <a:pt x="178" y="32"/>
                  </a:cubicBezTo>
                  <a:lnTo>
                    <a:pt x="157" y="29"/>
                  </a:lnTo>
                  <a:cubicBezTo>
                    <a:pt x="155" y="28"/>
                    <a:pt x="153" y="28"/>
                    <a:pt x="151" y="28"/>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408" name="Google Shape;6408;p104"/>
            <p:cNvSpPr/>
            <p:nvPr/>
          </p:nvSpPr>
          <p:spPr>
            <a:xfrm>
              <a:off x="2693641" y="1641060"/>
              <a:ext cx="1208" cy="869"/>
            </a:xfrm>
            <a:custGeom>
              <a:avLst/>
              <a:gdLst/>
              <a:ahLst/>
              <a:cxnLst/>
              <a:rect l="l" t="t" r="r" b="b"/>
              <a:pathLst>
                <a:path w="89" h="64" extrusionOk="0">
                  <a:moveTo>
                    <a:pt x="1" y="0"/>
                  </a:moveTo>
                  <a:cubicBezTo>
                    <a:pt x="6" y="6"/>
                    <a:pt x="12" y="12"/>
                    <a:pt x="18" y="18"/>
                  </a:cubicBezTo>
                  <a:lnTo>
                    <a:pt x="18" y="18"/>
                  </a:lnTo>
                  <a:cubicBezTo>
                    <a:pt x="16" y="15"/>
                    <a:pt x="13" y="13"/>
                    <a:pt x="11" y="11"/>
                  </a:cubicBezTo>
                  <a:lnTo>
                    <a:pt x="1" y="0"/>
                  </a:lnTo>
                  <a:close/>
                  <a:moveTo>
                    <a:pt x="18" y="18"/>
                  </a:moveTo>
                  <a:cubicBezTo>
                    <a:pt x="37" y="39"/>
                    <a:pt x="60" y="54"/>
                    <a:pt x="88" y="63"/>
                  </a:cubicBezTo>
                  <a:cubicBezTo>
                    <a:pt x="61" y="52"/>
                    <a:pt x="38" y="37"/>
                    <a:pt x="18" y="18"/>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409" name="Google Shape;6409;p104"/>
            <p:cNvSpPr/>
            <p:nvPr/>
          </p:nvSpPr>
          <p:spPr>
            <a:xfrm>
              <a:off x="2974655" y="1606071"/>
              <a:ext cx="3584" cy="4481"/>
            </a:xfrm>
            <a:custGeom>
              <a:avLst/>
              <a:gdLst/>
              <a:ahLst/>
              <a:cxnLst/>
              <a:rect l="l" t="t" r="r" b="b"/>
              <a:pathLst>
                <a:path w="264" h="330" extrusionOk="0">
                  <a:moveTo>
                    <a:pt x="1" y="0"/>
                  </a:moveTo>
                  <a:cubicBezTo>
                    <a:pt x="113" y="77"/>
                    <a:pt x="263" y="175"/>
                    <a:pt x="246" y="330"/>
                  </a:cubicBezTo>
                  <a:cubicBezTo>
                    <a:pt x="263" y="175"/>
                    <a:pt x="113" y="77"/>
                    <a:pt x="1"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410" name="Google Shape;6410;p104"/>
            <p:cNvSpPr/>
            <p:nvPr/>
          </p:nvSpPr>
          <p:spPr>
            <a:xfrm>
              <a:off x="3023194" y="1657313"/>
              <a:ext cx="1100" cy="54"/>
            </a:xfrm>
            <a:custGeom>
              <a:avLst/>
              <a:gdLst/>
              <a:ahLst/>
              <a:cxnLst/>
              <a:rect l="l" t="t" r="r" b="b"/>
              <a:pathLst>
                <a:path w="81" h="4" extrusionOk="0">
                  <a:moveTo>
                    <a:pt x="81" y="4"/>
                  </a:moveTo>
                  <a:cubicBezTo>
                    <a:pt x="56" y="4"/>
                    <a:pt x="32" y="4"/>
                    <a:pt x="0" y="0"/>
                  </a:cubicBezTo>
                  <a:cubicBezTo>
                    <a:pt x="32" y="4"/>
                    <a:pt x="56" y="4"/>
                    <a:pt x="81" y="4"/>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411" name="Google Shape;6411;p104"/>
            <p:cNvSpPr/>
            <p:nvPr/>
          </p:nvSpPr>
          <p:spPr>
            <a:xfrm>
              <a:off x="3010594" y="1646478"/>
              <a:ext cx="1874" cy="2620"/>
            </a:xfrm>
            <a:custGeom>
              <a:avLst/>
              <a:gdLst/>
              <a:ahLst/>
              <a:cxnLst/>
              <a:rect l="l" t="t" r="r" b="b"/>
              <a:pathLst>
                <a:path w="138" h="193" extrusionOk="0">
                  <a:moveTo>
                    <a:pt x="0" y="0"/>
                  </a:moveTo>
                  <a:cubicBezTo>
                    <a:pt x="72" y="26"/>
                    <a:pt x="138" y="68"/>
                    <a:pt x="138" y="170"/>
                  </a:cubicBezTo>
                  <a:lnTo>
                    <a:pt x="138" y="170"/>
                  </a:lnTo>
                  <a:cubicBezTo>
                    <a:pt x="138" y="67"/>
                    <a:pt x="72" y="23"/>
                    <a:pt x="0" y="0"/>
                  </a:cubicBezTo>
                  <a:close/>
                  <a:moveTo>
                    <a:pt x="138" y="170"/>
                  </a:moveTo>
                  <a:lnTo>
                    <a:pt x="138" y="170"/>
                  </a:lnTo>
                  <a:cubicBezTo>
                    <a:pt x="138" y="177"/>
                    <a:pt x="138" y="185"/>
                    <a:pt x="137" y="193"/>
                  </a:cubicBezTo>
                  <a:cubicBezTo>
                    <a:pt x="138" y="185"/>
                    <a:pt x="138" y="177"/>
                    <a:pt x="138" y="17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412" name="Google Shape;6412;p104"/>
            <p:cNvSpPr/>
            <p:nvPr/>
          </p:nvSpPr>
          <p:spPr>
            <a:xfrm>
              <a:off x="3041863" y="1659634"/>
              <a:ext cx="163" cy="448"/>
            </a:xfrm>
            <a:custGeom>
              <a:avLst/>
              <a:gdLst/>
              <a:ahLst/>
              <a:cxnLst/>
              <a:rect l="l" t="t" r="r" b="b"/>
              <a:pathLst>
                <a:path w="12" h="33" extrusionOk="0">
                  <a:moveTo>
                    <a:pt x="11" y="32"/>
                  </a:moveTo>
                  <a:cubicBezTo>
                    <a:pt x="8" y="22"/>
                    <a:pt x="4" y="11"/>
                    <a:pt x="1" y="1"/>
                  </a:cubicBezTo>
                  <a:cubicBezTo>
                    <a:pt x="4" y="11"/>
                    <a:pt x="8" y="22"/>
                    <a:pt x="11" y="32"/>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413" name="Google Shape;6413;p104"/>
            <p:cNvSpPr/>
            <p:nvPr/>
          </p:nvSpPr>
          <p:spPr>
            <a:xfrm>
              <a:off x="3006888" y="1644862"/>
              <a:ext cx="1534" cy="964"/>
            </a:xfrm>
            <a:custGeom>
              <a:avLst/>
              <a:gdLst/>
              <a:ahLst/>
              <a:cxnLst/>
              <a:rect l="l" t="t" r="r" b="b"/>
              <a:pathLst>
                <a:path w="113" h="71" extrusionOk="0">
                  <a:moveTo>
                    <a:pt x="112" y="70"/>
                  </a:moveTo>
                  <a:cubicBezTo>
                    <a:pt x="70" y="56"/>
                    <a:pt x="32" y="32"/>
                    <a:pt x="0" y="0"/>
                  </a:cubicBezTo>
                  <a:cubicBezTo>
                    <a:pt x="32" y="32"/>
                    <a:pt x="70" y="56"/>
                    <a:pt x="112" y="7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414" name="Google Shape;6414;p104"/>
            <p:cNvSpPr/>
            <p:nvPr/>
          </p:nvSpPr>
          <p:spPr>
            <a:xfrm>
              <a:off x="3014722" y="1656362"/>
              <a:ext cx="5159" cy="1154"/>
            </a:xfrm>
            <a:custGeom>
              <a:avLst/>
              <a:gdLst/>
              <a:ahLst/>
              <a:cxnLst/>
              <a:rect l="l" t="t" r="r" b="b"/>
              <a:pathLst>
                <a:path w="380" h="85" extrusionOk="0">
                  <a:moveTo>
                    <a:pt x="1" y="0"/>
                  </a:moveTo>
                  <a:cubicBezTo>
                    <a:pt x="116" y="60"/>
                    <a:pt x="249" y="84"/>
                    <a:pt x="379" y="74"/>
                  </a:cubicBezTo>
                  <a:cubicBezTo>
                    <a:pt x="249" y="84"/>
                    <a:pt x="116" y="60"/>
                    <a:pt x="1"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415" name="Google Shape;6415;p104"/>
            <p:cNvSpPr/>
            <p:nvPr/>
          </p:nvSpPr>
          <p:spPr>
            <a:xfrm>
              <a:off x="3033880" y="1652031"/>
              <a:ext cx="3680" cy="1113"/>
            </a:xfrm>
            <a:custGeom>
              <a:avLst/>
              <a:gdLst/>
              <a:ahLst/>
              <a:cxnLst/>
              <a:rect l="l" t="t" r="r" b="b"/>
              <a:pathLst>
                <a:path w="271" h="82" extrusionOk="0">
                  <a:moveTo>
                    <a:pt x="1" y="81"/>
                  </a:moveTo>
                  <a:cubicBezTo>
                    <a:pt x="81" y="32"/>
                    <a:pt x="176" y="4"/>
                    <a:pt x="270" y="1"/>
                  </a:cubicBezTo>
                  <a:cubicBezTo>
                    <a:pt x="176" y="4"/>
                    <a:pt x="81" y="32"/>
                    <a:pt x="1" y="8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416" name="Google Shape;6416;p104"/>
            <p:cNvSpPr/>
            <p:nvPr/>
          </p:nvSpPr>
          <p:spPr>
            <a:xfrm>
              <a:off x="3018632" y="1682254"/>
              <a:ext cx="2715" cy="1494"/>
            </a:xfrm>
            <a:custGeom>
              <a:avLst/>
              <a:gdLst/>
              <a:ahLst/>
              <a:cxnLst/>
              <a:rect l="l" t="t" r="r" b="b"/>
              <a:pathLst>
                <a:path w="200" h="110" extrusionOk="0">
                  <a:moveTo>
                    <a:pt x="165" y="1"/>
                  </a:moveTo>
                  <a:cubicBezTo>
                    <a:pt x="127" y="1"/>
                    <a:pt x="80" y="38"/>
                    <a:pt x="0" y="110"/>
                  </a:cubicBezTo>
                  <a:cubicBezTo>
                    <a:pt x="79" y="38"/>
                    <a:pt x="129" y="1"/>
                    <a:pt x="166" y="1"/>
                  </a:cubicBezTo>
                  <a:lnTo>
                    <a:pt x="166" y="1"/>
                  </a:lnTo>
                  <a:cubicBezTo>
                    <a:pt x="178" y="1"/>
                    <a:pt x="189" y="4"/>
                    <a:pt x="200" y="12"/>
                  </a:cubicBezTo>
                  <a:cubicBezTo>
                    <a:pt x="189" y="4"/>
                    <a:pt x="179" y="1"/>
                    <a:pt x="167" y="1"/>
                  </a:cubicBezTo>
                  <a:cubicBezTo>
                    <a:pt x="167" y="1"/>
                    <a:pt x="166" y="1"/>
                    <a:pt x="166" y="1"/>
                  </a:cubicBezTo>
                  <a:lnTo>
                    <a:pt x="166" y="1"/>
                  </a:lnTo>
                  <a:cubicBezTo>
                    <a:pt x="166" y="1"/>
                    <a:pt x="166" y="1"/>
                    <a:pt x="165" y="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417" name="Google Shape;6417;p104"/>
            <p:cNvSpPr/>
            <p:nvPr/>
          </p:nvSpPr>
          <p:spPr>
            <a:xfrm>
              <a:off x="2985965" y="1626560"/>
              <a:ext cx="3720" cy="8608"/>
            </a:xfrm>
            <a:custGeom>
              <a:avLst/>
              <a:gdLst/>
              <a:ahLst/>
              <a:cxnLst/>
              <a:rect l="l" t="t" r="r" b="b"/>
              <a:pathLst>
                <a:path w="274" h="634" extrusionOk="0">
                  <a:moveTo>
                    <a:pt x="127" y="266"/>
                  </a:moveTo>
                  <a:cubicBezTo>
                    <a:pt x="78" y="179"/>
                    <a:pt x="36" y="91"/>
                    <a:pt x="1" y="0"/>
                  </a:cubicBezTo>
                  <a:cubicBezTo>
                    <a:pt x="36" y="91"/>
                    <a:pt x="78" y="179"/>
                    <a:pt x="127" y="266"/>
                  </a:cubicBezTo>
                  <a:cubicBezTo>
                    <a:pt x="214" y="434"/>
                    <a:pt x="274" y="550"/>
                    <a:pt x="270" y="634"/>
                  </a:cubicBezTo>
                  <a:cubicBezTo>
                    <a:pt x="274" y="550"/>
                    <a:pt x="214" y="434"/>
                    <a:pt x="127" y="266"/>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418" name="Google Shape;6418;p104"/>
            <p:cNvSpPr/>
            <p:nvPr/>
          </p:nvSpPr>
          <p:spPr>
            <a:xfrm>
              <a:off x="2972944" y="1604741"/>
              <a:ext cx="1724" cy="1344"/>
            </a:xfrm>
            <a:custGeom>
              <a:avLst/>
              <a:gdLst/>
              <a:ahLst/>
              <a:cxnLst/>
              <a:rect l="l" t="t" r="r" b="b"/>
              <a:pathLst>
                <a:path w="127" h="99" extrusionOk="0">
                  <a:moveTo>
                    <a:pt x="1" y="0"/>
                  </a:moveTo>
                  <a:cubicBezTo>
                    <a:pt x="39" y="39"/>
                    <a:pt x="81" y="74"/>
                    <a:pt x="127" y="98"/>
                  </a:cubicBezTo>
                  <a:cubicBezTo>
                    <a:pt x="81" y="74"/>
                    <a:pt x="39" y="39"/>
                    <a:pt x="1"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419" name="Google Shape;6419;p104"/>
            <p:cNvSpPr/>
            <p:nvPr/>
          </p:nvSpPr>
          <p:spPr>
            <a:xfrm>
              <a:off x="3042013" y="1660069"/>
              <a:ext cx="54" cy="434"/>
            </a:xfrm>
            <a:custGeom>
              <a:avLst/>
              <a:gdLst/>
              <a:ahLst/>
              <a:cxnLst/>
              <a:rect l="l" t="t" r="r" b="b"/>
              <a:pathLst>
                <a:path w="4" h="32" extrusionOk="0">
                  <a:moveTo>
                    <a:pt x="0" y="0"/>
                  </a:moveTo>
                  <a:cubicBezTo>
                    <a:pt x="4" y="11"/>
                    <a:pt x="4" y="21"/>
                    <a:pt x="4" y="32"/>
                  </a:cubicBezTo>
                  <a:cubicBezTo>
                    <a:pt x="4" y="21"/>
                    <a:pt x="4" y="11"/>
                    <a:pt x="0"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420" name="Google Shape;6420;p104"/>
            <p:cNvSpPr/>
            <p:nvPr/>
          </p:nvSpPr>
          <p:spPr>
            <a:xfrm>
              <a:off x="3015876" y="1695628"/>
              <a:ext cx="475" cy="4046"/>
            </a:xfrm>
            <a:custGeom>
              <a:avLst/>
              <a:gdLst/>
              <a:ahLst/>
              <a:cxnLst/>
              <a:rect l="l" t="t" r="r" b="b"/>
              <a:pathLst>
                <a:path w="35" h="298" extrusionOk="0">
                  <a:moveTo>
                    <a:pt x="0" y="1"/>
                  </a:moveTo>
                  <a:lnTo>
                    <a:pt x="0" y="1"/>
                  </a:lnTo>
                  <a:cubicBezTo>
                    <a:pt x="31" y="74"/>
                    <a:pt x="31" y="179"/>
                    <a:pt x="35" y="298"/>
                  </a:cubicBezTo>
                  <a:cubicBezTo>
                    <a:pt x="31" y="175"/>
                    <a:pt x="31" y="74"/>
                    <a:pt x="0" y="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421" name="Google Shape;6421;p104"/>
            <p:cNvSpPr/>
            <p:nvPr/>
          </p:nvSpPr>
          <p:spPr>
            <a:xfrm>
              <a:off x="2961824" y="1601129"/>
              <a:ext cx="339" cy="109"/>
            </a:xfrm>
            <a:custGeom>
              <a:avLst/>
              <a:gdLst/>
              <a:ahLst/>
              <a:cxnLst/>
              <a:rect l="l" t="t" r="r" b="b"/>
              <a:pathLst>
                <a:path w="25" h="8" extrusionOk="0">
                  <a:moveTo>
                    <a:pt x="25" y="7"/>
                  </a:moveTo>
                  <a:lnTo>
                    <a:pt x="0"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422" name="Google Shape;6422;p104"/>
            <p:cNvSpPr/>
            <p:nvPr/>
          </p:nvSpPr>
          <p:spPr>
            <a:xfrm>
              <a:off x="2989291" y="1637109"/>
              <a:ext cx="68" cy="299"/>
            </a:xfrm>
            <a:custGeom>
              <a:avLst/>
              <a:gdLst/>
              <a:ahLst/>
              <a:cxnLst/>
              <a:rect l="l" t="t" r="r" b="b"/>
              <a:pathLst>
                <a:path w="5" h="22" extrusionOk="0">
                  <a:moveTo>
                    <a:pt x="4" y="21"/>
                  </a:moveTo>
                  <a:cubicBezTo>
                    <a:pt x="4" y="14"/>
                    <a:pt x="1" y="7"/>
                    <a:pt x="1" y="0"/>
                  </a:cubicBezTo>
                  <a:cubicBezTo>
                    <a:pt x="1" y="7"/>
                    <a:pt x="4" y="14"/>
                    <a:pt x="4" y="2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423" name="Google Shape;6423;p104"/>
            <p:cNvSpPr/>
            <p:nvPr/>
          </p:nvSpPr>
          <p:spPr>
            <a:xfrm>
              <a:off x="2977845" y="1610973"/>
              <a:ext cx="109" cy="394"/>
            </a:xfrm>
            <a:custGeom>
              <a:avLst/>
              <a:gdLst/>
              <a:ahLst/>
              <a:cxnLst/>
              <a:rect l="l" t="t" r="r" b="b"/>
              <a:pathLst>
                <a:path w="8" h="29" extrusionOk="0">
                  <a:moveTo>
                    <a:pt x="0" y="28"/>
                  </a:moveTo>
                  <a:cubicBezTo>
                    <a:pt x="4" y="18"/>
                    <a:pt x="4" y="11"/>
                    <a:pt x="7" y="0"/>
                  </a:cubicBezTo>
                  <a:cubicBezTo>
                    <a:pt x="4" y="11"/>
                    <a:pt x="4" y="18"/>
                    <a:pt x="0" y="28"/>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424" name="Google Shape;6424;p104"/>
            <p:cNvSpPr/>
            <p:nvPr/>
          </p:nvSpPr>
          <p:spPr>
            <a:xfrm>
              <a:off x="2962829" y="1601509"/>
              <a:ext cx="54" cy="14"/>
            </a:xfrm>
            <a:custGeom>
              <a:avLst/>
              <a:gdLst/>
              <a:ahLst/>
              <a:cxnLst/>
              <a:rect l="l" t="t" r="r" b="b"/>
              <a:pathLst>
                <a:path w="4" h="1" extrusionOk="0">
                  <a:moveTo>
                    <a:pt x="4"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425" name="Google Shape;6425;p104"/>
            <p:cNvSpPr/>
            <p:nvPr/>
          </p:nvSpPr>
          <p:spPr>
            <a:xfrm>
              <a:off x="2955117" y="1600464"/>
              <a:ext cx="2444" cy="339"/>
            </a:xfrm>
            <a:custGeom>
              <a:avLst/>
              <a:gdLst/>
              <a:ahLst/>
              <a:cxnLst/>
              <a:rect l="l" t="t" r="r" b="b"/>
              <a:pathLst>
                <a:path w="180" h="25" extrusionOk="0">
                  <a:moveTo>
                    <a:pt x="179" y="25"/>
                  </a:moveTo>
                  <a:cubicBezTo>
                    <a:pt x="120" y="25"/>
                    <a:pt x="60" y="18"/>
                    <a:pt x="1" y="0"/>
                  </a:cubicBezTo>
                  <a:cubicBezTo>
                    <a:pt x="60" y="18"/>
                    <a:pt x="120" y="25"/>
                    <a:pt x="179" y="25"/>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426" name="Google Shape;6426;p104"/>
            <p:cNvSpPr/>
            <p:nvPr/>
          </p:nvSpPr>
          <p:spPr>
            <a:xfrm>
              <a:off x="2998429" y="1641250"/>
              <a:ext cx="149" cy="54"/>
            </a:xfrm>
            <a:custGeom>
              <a:avLst/>
              <a:gdLst/>
              <a:ahLst/>
              <a:cxnLst/>
              <a:rect l="l" t="t" r="r" b="b"/>
              <a:pathLst>
                <a:path w="11" h="4" extrusionOk="0">
                  <a:moveTo>
                    <a:pt x="11" y="4"/>
                  </a:moveTo>
                  <a:lnTo>
                    <a:pt x="11" y="4"/>
                  </a:lnTo>
                  <a:lnTo>
                    <a:pt x="0"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427" name="Google Shape;6427;p104"/>
            <p:cNvSpPr/>
            <p:nvPr/>
          </p:nvSpPr>
          <p:spPr>
            <a:xfrm>
              <a:off x="2694931" y="1641956"/>
              <a:ext cx="434" cy="14"/>
            </a:xfrm>
            <a:custGeom>
              <a:avLst/>
              <a:gdLst/>
              <a:ahLst/>
              <a:cxnLst/>
              <a:rect l="l" t="t" r="r" b="b"/>
              <a:pathLst>
                <a:path w="32" h="1" extrusionOk="0">
                  <a:moveTo>
                    <a:pt x="0" y="1"/>
                  </a:moveTo>
                  <a:lnTo>
                    <a:pt x="32" y="1"/>
                  </a:lnTo>
                  <a:cubicBezTo>
                    <a:pt x="21" y="1"/>
                    <a:pt x="11" y="1"/>
                    <a:pt x="0" y="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428" name="Google Shape;6428;p104"/>
            <p:cNvSpPr/>
            <p:nvPr/>
          </p:nvSpPr>
          <p:spPr>
            <a:xfrm>
              <a:off x="2697538" y="1642337"/>
              <a:ext cx="679" cy="109"/>
            </a:xfrm>
            <a:custGeom>
              <a:avLst/>
              <a:gdLst/>
              <a:ahLst/>
              <a:cxnLst/>
              <a:rect l="l" t="t" r="r" b="b"/>
              <a:pathLst>
                <a:path w="50" h="8" extrusionOk="0">
                  <a:moveTo>
                    <a:pt x="1" y="1"/>
                  </a:moveTo>
                  <a:lnTo>
                    <a:pt x="1" y="1"/>
                  </a:lnTo>
                  <a:cubicBezTo>
                    <a:pt x="15" y="4"/>
                    <a:pt x="32" y="8"/>
                    <a:pt x="50" y="8"/>
                  </a:cubicBezTo>
                  <a:lnTo>
                    <a:pt x="25" y="4"/>
                  </a:lnTo>
                  <a:lnTo>
                    <a:pt x="1"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429" name="Google Shape;6429;p104"/>
            <p:cNvSpPr/>
            <p:nvPr/>
          </p:nvSpPr>
          <p:spPr>
            <a:xfrm>
              <a:off x="2409736" y="1625609"/>
              <a:ext cx="1534" cy="1344"/>
            </a:xfrm>
            <a:custGeom>
              <a:avLst/>
              <a:gdLst/>
              <a:ahLst/>
              <a:cxnLst/>
              <a:rect l="l" t="t" r="r" b="b"/>
              <a:pathLst>
                <a:path w="113" h="99" extrusionOk="0">
                  <a:moveTo>
                    <a:pt x="112" y="0"/>
                  </a:moveTo>
                  <a:cubicBezTo>
                    <a:pt x="95" y="53"/>
                    <a:pt x="53" y="88"/>
                    <a:pt x="0" y="98"/>
                  </a:cubicBezTo>
                  <a:cubicBezTo>
                    <a:pt x="53" y="88"/>
                    <a:pt x="95" y="53"/>
                    <a:pt x="112"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430" name="Google Shape;6430;p104"/>
            <p:cNvSpPr/>
            <p:nvPr/>
          </p:nvSpPr>
          <p:spPr>
            <a:xfrm>
              <a:off x="2425798" y="1617761"/>
              <a:ext cx="2824" cy="828"/>
            </a:xfrm>
            <a:custGeom>
              <a:avLst/>
              <a:gdLst/>
              <a:ahLst/>
              <a:cxnLst/>
              <a:rect l="l" t="t" r="r" b="b"/>
              <a:pathLst>
                <a:path w="208" h="61" extrusionOk="0">
                  <a:moveTo>
                    <a:pt x="148" y="25"/>
                  </a:moveTo>
                  <a:cubicBezTo>
                    <a:pt x="165" y="36"/>
                    <a:pt x="186" y="46"/>
                    <a:pt x="207" y="60"/>
                  </a:cubicBezTo>
                  <a:cubicBezTo>
                    <a:pt x="186" y="46"/>
                    <a:pt x="165" y="36"/>
                    <a:pt x="148" y="25"/>
                  </a:cubicBezTo>
                  <a:cubicBezTo>
                    <a:pt x="102" y="4"/>
                    <a:pt x="50" y="1"/>
                    <a:pt x="0" y="11"/>
                  </a:cubicBezTo>
                  <a:cubicBezTo>
                    <a:pt x="50" y="1"/>
                    <a:pt x="102" y="4"/>
                    <a:pt x="148" y="25"/>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431" name="Google Shape;6431;p104"/>
            <p:cNvSpPr/>
            <p:nvPr/>
          </p:nvSpPr>
          <p:spPr>
            <a:xfrm>
              <a:off x="2458167" y="1627035"/>
              <a:ext cx="4440" cy="828"/>
            </a:xfrm>
            <a:custGeom>
              <a:avLst/>
              <a:gdLst/>
              <a:ahLst/>
              <a:cxnLst/>
              <a:rect l="l" t="t" r="r" b="b"/>
              <a:pathLst>
                <a:path w="327" h="61" extrusionOk="0">
                  <a:moveTo>
                    <a:pt x="1" y="0"/>
                  </a:moveTo>
                  <a:cubicBezTo>
                    <a:pt x="65" y="39"/>
                    <a:pt x="138" y="60"/>
                    <a:pt x="211" y="60"/>
                  </a:cubicBezTo>
                  <a:cubicBezTo>
                    <a:pt x="250" y="60"/>
                    <a:pt x="289" y="54"/>
                    <a:pt x="326" y="42"/>
                  </a:cubicBezTo>
                  <a:lnTo>
                    <a:pt x="326" y="42"/>
                  </a:lnTo>
                  <a:cubicBezTo>
                    <a:pt x="289" y="53"/>
                    <a:pt x="250" y="59"/>
                    <a:pt x="211" y="59"/>
                  </a:cubicBezTo>
                  <a:cubicBezTo>
                    <a:pt x="138" y="59"/>
                    <a:pt x="65" y="39"/>
                    <a:pt x="1"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432" name="Google Shape;6432;p104"/>
            <p:cNvSpPr/>
            <p:nvPr/>
          </p:nvSpPr>
          <p:spPr>
            <a:xfrm>
              <a:off x="2567398" y="1580681"/>
              <a:ext cx="5051" cy="1303"/>
            </a:xfrm>
            <a:custGeom>
              <a:avLst/>
              <a:gdLst/>
              <a:ahLst/>
              <a:cxnLst/>
              <a:rect l="l" t="t" r="r" b="b"/>
              <a:pathLst>
                <a:path w="372" h="96" extrusionOk="0">
                  <a:moveTo>
                    <a:pt x="372" y="61"/>
                  </a:moveTo>
                  <a:cubicBezTo>
                    <a:pt x="291" y="96"/>
                    <a:pt x="155" y="71"/>
                    <a:pt x="1" y="1"/>
                  </a:cubicBezTo>
                  <a:cubicBezTo>
                    <a:pt x="155" y="71"/>
                    <a:pt x="291" y="96"/>
                    <a:pt x="372" y="6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433" name="Google Shape;6433;p104"/>
            <p:cNvSpPr/>
            <p:nvPr/>
          </p:nvSpPr>
          <p:spPr>
            <a:xfrm>
              <a:off x="2468336" y="1623505"/>
              <a:ext cx="4100" cy="638"/>
            </a:xfrm>
            <a:custGeom>
              <a:avLst/>
              <a:gdLst/>
              <a:ahLst/>
              <a:cxnLst/>
              <a:rect l="l" t="t" r="r" b="b"/>
              <a:pathLst>
                <a:path w="302" h="47" extrusionOk="0">
                  <a:moveTo>
                    <a:pt x="146" y="0"/>
                  </a:moveTo>
                  <a:cubicBezTo>
                    <a:pt x="91" y="0"/>
                    <a:pt x="38" y="12"/>
                    <a:pt x="1" y="22"/>
                  </a:cubicBezTo>
                  <a:cubicBezTo>
                    <a:pt x="39" y="12"/>
                    <a:pt x="92" y="0"/>
                    <a:pt x="147" y="0"/>
                  </a:cubicBezTo>
                  <a:lnTo>
                    <a:pt x="147" y="0"/>
                  </a:lnTo>
                  <a:cubicBezTo>
                    <a:pt x="202" y="0"/>
                    <a:pt x="258" y="12"/>
                    <a:pt x="302" y="47"/>
                  </a:cubicBezTo>
                  <a:cubicBezTo>
                    <a:pt x="258" y="12"/>
                    <a:pt x="202" y="0"/>
                    <a:pt x="147" y="0"/>
                  </a:cubicBezTo>
                  <a:cubicBezTo>
                    <a:pt x="147" y="0"/>
                    <a:pt x="147" y="0"/>
                    <a:pt x="147" y="0"/>
                  </a:cubicBezTo>
                  <a:lnTo>
                    <a:pt x="147" y="0"/>
                  </a:lnTo>
                  <a:cubicBezTo>
                    <a:pt x="146" y="0"/>
                    <a:pt x="146" y="0"/>
                    <a:pt x="146"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434" name="Google Shape;6434;p104"/>
            <p:cNvSpPr/>
            <p:nvPr/>
          </p:nvSpPr>
          <p:spPr>
            <a:xfrm>
              <a:off x="2501995" y="1594001"/>
              <a:ext cx="1914" cy="434"/>
            </a:xfrm>
            <a:custGeom>
              <a:avLst/>
              <a:gdLst/>
              <a:ahLst/>
              <a:cxnLst/>
              <a:rect l="l" t="t" r="r" b="b"/>
              <a:pathLst>
                <a:path w="141" h="32" extrusionOk="0">
                  <a:moveTo>
                    <a:pt x="140" y="4"/>
                  </a:moveTo>
                  <a:cubicBezTo>
                    <a:pt x="91" y="0"/>
                    <a:pt x="42" y="11"/>
                    <a:pt x="0" y="32"/>
                  </a:cubicBezTo>
                  <a:cubicBezTo>
                    <a:pt x="42" y="11"/>
                    <a:pt x="91" y="0"/>
                    <a:pt x="140" y="4"/>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435" name="Google Shape;6435;p104"/>
            <p:cNvSpPr/>
            <p:nvPr/>
          </p:nvSpPr>
          <p:spPr>
            <a:xfrm>
              <a:off x="2407020" y="1631787"/>
              <a:ext cx="448" cy="1154"/>
            </a:xfrm>
            <a:custGeom>
              <a:avLst/>
              <a:gdLst/>
              <a:ahLst/>
              <a:cxnLst/>
              <a:rect l="l" t="t" r="r" b="b"/>
              <a:pathLst>
                <a:path w="33" h="85" extrusionOk="0">
                  <a:moveTo>
                    <a:pt x="1" y="0"/>
                  </a:moveTo>
                  <a:lnTo>
                    <a:pt x="4" y="14"/>
                  </a:lnTo>
                  <a:cubicBezTo>
                    <a:pt x="11" y="39"/>
                    <a:pt x="22" y="63"/>
                    <a:pt x="32" y="84"/>
                  </a:cubicBezTo>
                  <a:cubicBezTo>
                    <a:pt x="22" y="63"/>
                    <a:pt x="11" y="39"/>
                    <a:pt x="4" y="14"/>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436" name="Google Shape;6436;p104"/>
            <p:cNvSpPr/>
            <p:nvPr/>
          </p:nvSpPr>
          <p:spPr>
            <a:xfrm>
              <a:off x="2480882" y="1622989"/>
              <a:ext cx="638" cy="109"/>
            </a:xfrm>
            <a:custGeom>
              <a:avLst/>
              <a:gdLst/>
              <a:ahLst/>
              <a:cxnLst/>
              <a:rect l="l" t="t" r="r" b="b"/>
              <a:pathLst>
                <a:path w="47" h="8" extrusionOk="0">
                  <a:moveTo>
                    <a:pt x="1" y="1"/>
                  </a:moveTo>
                  <a:cubicBezTo>
                    <a:pt x="15" y="4"/>
                    <a:pt x="32" y="8"/>
                    <a:pt x="46" y="8"/>
                  </a:cubicBezTo>
                  <a:cubicBezTo>
                    <a:pt x="32" y="4"/>
                    <a:pt x="15" y="1"/>
                    <a:pt x="1" y="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437" name="Google Shape;6437;p104"/>
            <p:cNvSpPr/>
            <p:nvPr/>
          </p:nvSpPr>
          <p:spPr>
            <a:xfrm>
              <a:off x="2472898" y="1624509"/>
              <a:ext cx="2634" cy="1208"/>
            </a:xfrm>
            <a:custGeom>
              <a:avLst/>
              <a:gdLst/>
              <a:ahLst/>
              <a:cxnLst/>
              <a:rect l="l" t="t" r="r" b="b"/>
              <a:pathLst>
                <a:path w="194" h="89" extrusionOk="0">
                  <a:moveTo>
                    <a:pt x="193" y="1"/>
                  </a:moveTo>
                  <a:cubicBezTo>
                    <a:pt x="106" y="88"/>
                    <a:pt x="95" y="81"/>
                    <a:pt x="1" y="1"/>
                  </a:cubicBezTo>
                  <a:cubicBezTo>
                    <a:pt x="95" y="81"/>
                    <a:pt x="106" y="88"/>
                    <a:pt x="193" y="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438" name="Google Shape;6438;p104"/>
            <p:cNvSpPr/>
            <p:nvPr/>
          </p:nvSpPr>
          <p:spPr>
            <a:xfrm>
              <a:off x="2643499" y="1625270"/>
              <a:ext cx="1059" cy="1629"/>
            </a:xfrm>
            <a:custGeom>
              <a:avLst/>
              <a:gdLst/>
              <a:ahLst/>
              <a:cxnLst/>
              <a:rect l="l" t="t" r="r" b="b"/>
              <a:pathLst>
                <a:path w="78" h="120" extrusionOk="0">
                  <a:moveTo>
                    <a:pt x="77" y="1"/>
                  </a:moveTo>
                  <a:cubicBezTo>
                    <a:pt x="56" y="43"/>
                    <a:pt x="32" y="85"/>
                    <a:pt x="0" y="120"/>
                  </a:cubicBezTo>
                  <a:cubicBezTo>
                    <a:pt x="32" y="85"/>
                    <a:pt x="56" y="46"/>
                    <a:pt x="77" y="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439" name="Google Shape;6439;p104"/>
            <p:cNvSpPr/>
            <p:nvPr/>
          </p:nvSpPr>
          <p:spPr>
            <a:xfrm>
              <a:off x="2626772" y="1600559"/>
              <a:ext cx="9708" cy="13415"/>
            </a:xfrm>
            <a:custGeom>
              <a:avLst/>
              <a:gdLst/>
              <a:ahLst/>
              <a:cxnLst/>
              <a:rect l="l" t="t" r="r" b="b"/>
              <a:pathLst>
                <a:path w="715" h="988" extrusionOk="0">
                  <a:moveTo>
                    <a:pt x="0" y="0"/>
                  </a:moveTo>
                  <a:cubicBezTo>
                    <a:pt x="235" y="238"/>
                    <a:pt x="462" y="588"/>
                    <a:pt x="627" y="848"/>
                  </a:cubicBezTo>
                  <a:cubicBezTo>
                    <a:pt x="462" y="588"/>
                    <a:pt x="235" y="235"/>
                    <a:pt x="0" y="0"/>
                  </a:cubicBezTo>
                  <a:close/>
                  <a:moveTo>
                    <a:pt x="627" y="848"/>
                  </a:moveTo>
                  <a:cubicBezTo>
                    <a:pt x="655" y="900"/>
                    <a:pt x="686" y="946"/>
                    <a:pt x="714" y="988"/>
                  </a:cubicBezTo>
                  <a:cubicBezTo>
                    <a:pt x="686" y="942"/>
                    <a:pt x="658" y="900"/>
                    <a:pt x="627" y="848"/>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440" name="Google Shape;6440;p104"/>
            <p:cNvSpPr/>
            <p:nvPr/>
          </p:nvSpPr>
          <p:spPr>
            <a:xfrm>
              <a:off x="2691319" y="1637245"/>
              <a:ext cx="910" cy="1208"/>
            </a:xfrm>
            <a:custGeom>
              <a:avLst/>
              <a:gdLst/>
              <a:ahLst/>
              <a:cxnLst/>
              <a:rect l="l" t="t" r="r" b="b"/>
              <a:pathLst>
                <a:path w="67" h="89" extrusionOk="0">
                  <a:moveTo>
                    <a:pt x="67" y="89"/>
                  </a:moveTo>
                  <a:cubicBezTo>
                    <a:pt x="60" y="50"/>
                    <a:pt x="35" y="15"/>
                    <a:pt x="0" y="1"/>
                  </a:cubicBezTo>
                  <a:cubicBezTo>
                    <a:pt x="35" y="15"/>
                    <a:pt x="60" y="50"/>
                    <a:pt x="67" y="89"/>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441" name="Google Shape;6441;p104"/>
            <p:cNvSpPr/>
            <p:nvPr/>
          </p:nvSpPr>
          <p:spPr>
            <a:xfrm>
              <a:off x="2692216" y="1638494"/>
              <a:ext cx="1398" cy="2580"/>
            </a:xfrm>
            <a:custGeom>
              <a:avLst/>
              <a:gdLst/>
              <a:ahLst/>
              <a:cxnLst/>
              <a:rect l="l" t="t" r="r" b="b"/>
              <a:pathLst>
                <a:path w="103" h="190" extrusionOk="0">
                  <a:moveTo>
                    <a:pt x="1" y="0"/>
                  </a:moveTo>
                  <a:cubicBezTo>
                    <a:pt x="1" y="7"/>
                    <a:pt x="4" y="14"/>
                    <a:pt x="4" y="21"/>
                  </a:cubicBezTo>
                  <a:cubicBezTo>
                    <a:pt x="18" y="81"/>
                    <a:pt x="50" y="137"/>
                    <a:pt x="95" y="182"/>
                  </a:cubicBezTo>
                  <a:lnTo>
                    <a:pt x="102" y="189"/>
                  </a:lnTo>
                  <a:cubicBezTo>
                    <a:pt x="57" y="140"/>
                    <a:pt x="22" y="84"/>
                    <a:pt x="4" y="18"/>
                  </a:cubicBezTo>
                  <a:cubicBezTo>
                    <a:pt x="4" y="11"/>
                    <a:pt x="1" y="7"/>
                    <a:pt x="1"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442" name="Google Shape;6442;p104"/>
            <p:cNvSpPr/>
            <p:nvPr/>
          </p:nvSpPr>
          <p:spPr>
            <a:xfrm>
              <a:off x="2584125" y="1590959"/>
              <a:ext cx="2390" cy="1005"/>
            </a:xfrm>
            <a:custGeom>
              <a:avLst/>
              <a:gdLst/>
              <a:ahLst/>
              <a:cxnLst/>
              <a:rect l="l" t="t" r="r" b="b"/>
              <a:pathLst>
                <a:path w="176" h="74" extrusionOk="0">
                  <a:moveTo>
                    <a:pt x="176" y="25"/>
                  </a:moveTo>
                  <a:cubicBezTo>
                    <a:pt x="113" y="0"/>
                    <a:pt x="43" y="21"/>
                    <a:pt x="1" y="74"/>
                  </a:cubicBezTo>
                  <a:cubicBezTo>
                    <a:pt x="43" y="21"/>
                    <a:pt x="113" y="0"/>
                    <a:pt x="176" y="25"/>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443" name="Google Shape;6443;p104"/>
            <p:cNvSpPr/>
            <p:nvPr/>
          </p:nvSpPr>
          <p:spPr>
            <a:xfrm>
              <a:off x="2673723" y="1629737"/>
              <a:ext cx="3815" cy="3245"/>
            </a:xfrm>
            <a:custGeom>
              <a:avLst/>
              <a:gdLst/>
              <a:ahLst/>
              <a:cxnLst/>
              <a:rect l="l" t="t" r="r" b="b"/>
              <a:pathLst>
                <a:path w="281" h="239" extrusionOk="0">
                  <a:moveTo>
                    <a:pt x="1" y="1"/>
                  </a:moveTo>
                  <a:lnTo>
                    <a:pt x="1" y="1"/>
                  </a:lnTo>
                  <a:cubicBezTo>
                    <a:pt x="88" y="211"/>
                    <a:pt x="214" y="239"/>
                    <a:pt x="281" y="239"/>
                  </a:cubicBezTo>
                  <a:cubicBezTo>
                    <a:pt x="214" y="239"/>
                    <a:pt x="88" y="207"/>
                    <a:pt x="1" y="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444" name="Google Shape;6444;p104"/>
            <p:cNvSpPr/>
            <p:nvPr/>
          </p:nvSpPr>
          <p:spPr>
            <a:xfrm>
              <a:off x="2619345" y="1593335"/>
              <a:ext cx="1208" cy="2050"/>
            </a:xfrm>
            <a:custGeom>
              <a:avLst/>
              <a:gdLst/>
              <a:ahLst/>
              <a:cxnLst/>
              <a:rect l="l" t="t" r="r" b="b"/>
              <a:pathLst>
                <a:path w="89" h="151" extrusionOk="0">
                  <a:moveTo>
                    <a:pt x="15" y="151"/>
                  </a:moveTo>
                  <a:cubicBezTo>
                    <a:pt x="1" y="98"/>
                    <a:pt x="53" y="35"/>
                    <a:pt x="88" y="0"/>
                  </a:cubicBezTo>
                  <a:cubicBezTo>
                    <a:pt x="53" y="35"/>
                    <a:pt x="1" y="98"/>
                    <a:pt x="15" y="15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445" name="Google Shape;6445;p104"/>
            <p:cNvSpPr/>
            <p:nvPr/>
          </p:nvSpPr>
          <p:spPr>
            <a:xfrm>
              <a:off x="2593969" y="1594707"/>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446" name="Google Shape;6446;p104"/>
            <p:cNvSpPr/>
            <p:nvPr/>
          </p:nvSpPr>
          <p:spPr>
            <a:xfrm>
              <a:off x="2594919" y="1599269"/>
              <a:ext cx="299" cy="448"/>
            </a:xfrm>
            <a:custGeom>
              <a:avLst/>
              <a:gdLst/>
              <a:ahLst/>
              <a:cxnLst/>
              <a:rect l="l" t="t" r="r" b="b"/>
              <a:pathLst>
                <a:path w="22" h="33" extrusionOk="0">
                  <a:moveTo>
                    <a:pt x="0" y="32"/>
                  </a:moveTo>
                  <a:cubicBezTo>
                    <a:pt x="4" y="18"/>
                    <a:pt x="11" y="8"/>
                    <a:pt x="21" y="1"/>
                  </a:cubicBezTo>
                  <a:cubicBezTo>
                    <a:pt x="11" y="8"/>
                    <a:pt x="4" y="18"/>
                    <a:pt x="0" y="32"/>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447" name="Google Shape;6447;p104"/>
            <p:cNvSpPr/>
            <p:nvPr/>
          </p:nvSpPr>
          <p:spPr>
            <a:xfrm>
              <a:off x="2600391" y="1598413"/>
              <a:ext cx="1195" cy="163"/>
            </a:xfrm>
            <a:custGeom>
              <a:avLst/>
              <a:gdLst/>
              <a:ahLst/>
              <a:cxnLst/>
              <a:rect l="l" t="t" r="r" b="b"/>
              <a:pathLst>
                <a:path w="88" h="12" extrusionOk="0">
                  <a:moveTo>
                    <a:pt x="88" y="1"/>
                  </a:moveTo>
                  <a:cubicBezTo>
                    <a:pt x="60" y="11"/>
                    <a:pt x="28" y="11"/>
                    <a:pt x="0" y="1"/>
                  </a:cubicBezTo>
                  <a:cubicBezTo>
                    <a:pt x="28" y="11"/>
                    <a:pt x="60" y="11"/>
                    <a:pt x="88" y="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448" name="Google Shape;6448;p104"/>
            <p:cNvSpPr/>
            <p:nvPr/>
          </p:nvSpPr>
          <p:spPr>
            <a:xfrm>
              <a:off x="2607994" y="1592711"/>
              <a:ext cx="4576" cy="2444"/>
            </a:xfrm>
            <a:custGeom>
              <a:avLst/>
              <a:gdLst/>
              <a:ahLst/>
              <a:cxnLst/>
              <a:rect l="l" t="t" r="r" b="b"/>
              <a:pathLst>
                <a:path w="337" h="180" extrusionOk="0">
                  <a:moveTo>
                    <a:pt x="0" y="179"/>
                  </a:moveTo>
                  <a:cubicBezTo>
                    <a:pt x="109" y="155"/>
                    <a:pt x="228" y="74"/>
                    <a:pt x="336" y="1"/>
                  </a:cubicBezTo>
                  <a:cubicBezTo>
                    <a:pt x="228" y="74"/>
                    <a:pt x="109" y="155"/>
                    <a:pt x="0" y="179"/>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449" name="Google Shape;6449;p104"/>
            <p:cNvSpPr/>
            <p:nvPr/>
          </p:nvSpPr>
          <p:spPr>
            <a:xfrm>
              <a:off x="2408921" y="1669763"/>
              <a:ext cx="1113" cy="638"/>
            </a:xfrm>
            <a:custGeom>
              <a:avLst/>
              <a:gdLst/>
              <a:ahLst/>
              <a:cxnLst/>
              <a:rect l="l" t="t" r="r" b="b"/>
              <a:pathLst>
                <a:path w="82" h="47" extrusionOk="0">
                  <a:moveTo>
                    <a:pt x="1" y="1"/>
                  </a:moveTo>
                  <a:cubicBezTo>
                    <a:pt x="25" y="15"/>
                    <a:pt x="53" y="29"/>
                    <a:pt x="81" y="46"/>
                  </a:cubicBezTo>
                  <a:lnTo>
                    <a:pt x="81" y="46"/>
                  </a:lnTo>
                  <a:cubicBezTo>
                    <a:pt x="53" y="29"/>
                    <a:pt x="25" y="15"/>
                    <a:pt x="1" y="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450" name="Google Shape;6450;p104"/>
            <p:cNvSpPr/>
            <p:nvPr/>
          </p:nvSpPr>
          <p:spPr>
            <a:xfrm>
              <a:off x="2397041" y="1656498"/>
              <a:ext cx="3965" cy="489"/>
            </a:xfrm>
            <a:custGeom>
              <a:avLst/>
              <a:gdLst/>
              <a:ahLst/>
              <a:cxnLst/>
              <a:rect l="l" t="t" r="r" b="b"/>
              <a:pathLst>
                <a:path w="292" h="36" extrusionOk="0">
                  <a:moveTo>
                    <a:pt x="0" y="36"/>
                  </a:moveTo>
                  <a:cubicBezTo>
                    <a:pt x="95" y="8"/>
                    <a:pt x="193" y="1"/>
                    <a:pt x="291" y="11"/>
                  </a:cubicBezTo>
                  <a:cubicBezTo>
                    <a:pt x="193" y="1"/>
                    <a:pt x="95" y="8"/>
                    <a:pt x="0" y="36"/>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451" name="Google Shape;6451;p104"/>
            <p:cNvSpPr/>
            <p:nvPr/>
          </p:nvSpPr>
          <p:spPr>
            <a:xfrm>
              <a:off x="2395045" y="1656742"/>
              <a:ext cx="2009" cy="530"/>
            </a:xfrm>
            <a:custGeom>
              <a:avLst/>
              <a:gdLst/>
              <a:ahLst/>
              <a:cxnLst/>
              <a:rect l="l" t="t" r="r" b="b"/>
              <a:pathLst>
                <a:path w="148" h="39" extrusionOk="0">
                  <a:moveTo>
                    <a:pt x="0" y="0"/>
                  </a:moveTo>
                  <a:cubicBezTo>
                    <a:pt x="42" y="32"/>
                    <a:pt x="98" y="39"/>
                    <a:pt x="147" y="18"/>
                  </a:cubicBezTo>
                  <a:cubicBezTo>
                    <a:pt x="98" y="39"/>
                    <a:pt x="42" y="32"/>
                    <a:pt x="0"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452" name="Google Shape;6452;p104"/>
            <p:cNvSpPr/>
            <p:nvPr/>
          </p:nvSpPr>
          <p:spPr>
            <a:xfrm>
              <a:off x="2498668" y="1608732"/>
              <a:ext cx="679" cy="2919"/>
            </a:xfrm>
            <a:custGeom>
              <a:avLst/>
              <a:gdLst/>
              <a:ahLst/>
              <a:cxnLst/>
              <a:rect l="l" t="t" r="r" b="b"/>
              <a:pathLst>
                <a:path w="50" h="215" extrusionOk="0">
                  <a:moveTo>
                    <a:pt x="49" y="214"/>
                  </a:moveTo>
                  <a:cubicBezTo>
                    <a:pt x="21" y="148"/>
                    <a:pt x="7" y="74"/>
                    <a:pt x="0" y="0"/>
                  </a:cubicBezTo>
                  <a:cubicBezTo>
                    <a:pt x="7" y="74"/>
                    <a:pt x="21" y="148"/>
                    <a:pt x="49" y="214"/>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453" name="Google Shape;6453;p104"/>
            <p:cNvSpPr/>
            <p:nvPr/>
          </p:nvSpPr>
          <p:spPr>
            <a:xfrm>
              <a:off x="2403748" y="1658684"/>
              <a:ext cx="2240" cy="2960"/>
            </a:xfrm>
            <a:custGeom>
              <a:avLst/>
              <a:gdLst/>
              <a:ahLst/>
              <a:cxnLst/>
              <a:rect l="l" t="t" r="r" b="b"/>
              <a:pathLst>
                <a:path w="165" h="218" extrusionOk="0">
                  <a:moveTo>
                    <a:pt x="165" y="218"/>
                  </a:moveTo>
                  <a:cubicBezTo>
                    <a:pt x="105" y="148"/>
                    <a:pt x="49" y="74"/>
                    <a:pt x="0" y="1"/>
                  </a:cubicBezTo>
                  <a:cubicBezTo>
                    <a:pt x="49" y="74"/>
                    <a:pt x="105" y="148"/>
                    <a:pt x="165" y="218"/>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454" name="Google Shape;6454;p104"/>
            <p:cNvSpPr/>
            <p:nvPr/>
          </p:nvSpPr>
          <p:spPr>
            <a:xfrm>
              <a:off x="2475519" y="1622853"/>
              <a:ext cx="4521" cy="1670"/>
            </a:xfrm>
            <a:custGeom>
              <a:avLst/>
              <a:gdLst/>
              <a:ahLst/>
              <a:cxnLst/>
              <a:rect l="l" t="t" r="r" b="b"/>
              <a:pathLst>
                <a:path w="333" h="123" extrusionOk="0">
                  <a:moveTo>
                    <a:pt x="0" y="123"/>
                  </a:moveTo>
                  <a:cubicBezTo>
                    <a:pt x="88" y="42"/>
                    <a:pt x="210" y="0"/>
                    <a:pt x="333" y="7"/>
                  </a:cubicBezTo>
                  <a:cubicBezTo>
                    <a:pt x="210" y="0"/>
                    <a:pt x="88" y="42"/>
                    <a:pt x="0" y="123"/>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455" name="Google Shape;6455;p104"/>
            <p:cNvSpPr/>
            <p:nvPr/>
          </p:nvSpPr>
          <p:spPr>
            <a:xfrm>
              <a:off x="2428608" y="1618576"/>
              <a:ext cx="1195" cy="584"/>
            </a:xfrm>
            <a:custGeom>
              <a:avLst/>
              <a:gdLst/>
              <a:ahLst/>
              <a:cxnLst/>
              <a:rect l="l" t="t" r="r" b="b"/>
              <a:pathLst>
                <a:path w="88" h="43" extrusionOk="0">
                  <a:moveTo>
                    <a:pt x="0" y="0"/>
                  </a:moveTo>
                  <a:cubicBezTo>
                    <a:pt x="28" y="18"/>
                    <a:pt x="56" y="32"/>
                    <a:pt x="88" y="42"/>
                  </a:cubicBezTo>
                  <a:cubicBezTo>
                    <a:pt x="56" y="32"/>
                    <a:pt x="28" y="18"/>
                    <a:pt x="0"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456" name="Google Shape;6456;p104"/>
            <p:cNvSpPr/>
            <p:nvPr/>
          </p:nvSpPr>
          <p:spPr>
            <a:xfrm>
              <a:off x="2493862" y="1615480"/>
              <a:ext cx="204" cy="828"/>
            </a:xfrm>
            <a:custGeom>
              <a:avLst/>
              <a:gdLst/>
              <a:ahLst/>
              <a:cxnLst/>
              <a:rect l="l" t="t" r="r" b="b"/>
              <a:pathLst>
                <a:path w="15" h="61" extrusionOk="0">
                  <a:moveTo>
                    <a:pt x="1" y="60"/>
                  </a:moveTo>
                  <a:cubicBezTo>
                    <a:pt x="1" y="39"/>
                    <a:pt x="4" y="22"/>
                    <a:pt x="15" y="1"/>
                  </a:cubicBezTo>
                  <a:cubicBezTo>
                    <a:pt x="4" y="22"/>
                    <a:pt x="1" y="39"/>
                    <a:pt x="1" y="6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457" name="Google Shape;6457;p104"/>
            <p:cNvSpPr/>
            <p:nvPr/>
          </p:nvSpPr>
          <p:spPr>
            <a:xfrm>
              <a:off x="2578667" y="1593050"/>
              <a:ext cx="1249" cy="339"/>
            </a:xfrm>
            <a:custGeom>
              <a:avLst/>
              <a:gdLst/>
              <a:ahLst/>
              <a:cxnLst/>
              <a:rect l="l" t="t" r="r" b="b"/>
              <a:pathLst>
                <a:path w="92" h="25" extrusionOk="0">
                  <a:moveTo>
                    <a:pt x="91" y="21"/>
                  </a:moveTo>
                  <a:lnTo>
                    <a:pt x="91" y="21"/>
                  </a:lnTo>
                  <a:cubicBezTo>
                    <a:pt x="60" y="25"/>
                    <a:pt x="32" y="21"/>
                    <a:pt x="7" y="7"/>
                  </a:cubicBezTo>
                  <a:lnTo>
                    <a:pt x="0" y="0"/>
                  </a:lnTo>
                  <a:lnTo>
                    <a:pt x="7" y="7"/>
                  </a:lnTo>
                  <a:cubicBezTo>
                    <a:pt x="32" y="21"/>
                    <a:pt x="60" y="25"/>
                    <a:pt x="91" y="2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458" name="Google Shape;6458;p104"/>
            <p:cNvSpPr/>
            <p:nvPr/>
          </p:nvSpPr>
          <p:spPr>
            <a:xfrm>
              <a:off x="2601667" y="1598318"/>
              <a:ext cx="204" cy="109"/>
            </a:xfrm>
            <a:custGeom>
              <a:avLst/>
              <a:gdLst/>
              <a:ahLst/>
              <a:cxnLst/>
              <a:rect l="l" t="t" r="r" b="b"/>
              <a:pathLst>
                <a:path w="15" h="8" extrusionOk="0">
                  <a:moveTo>
                    <a:pt x="1" y="8"/>
                  </a:moveTo>
                  <a:lnTo>
                    <a:pt x="15"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459" name="Google Shape;6459;p104"/>
            <p:cNvSpPr/>
            <p:nvPr/>
          </p:nvSpPr>
          <p:spPr>
            <a:xfrm>
              <a:off x="2398561" y="1629913"/>
              <a:ext cx="3340" cy="787"/>
            </a:xfrm>
            <a:custGeom>
              <a:avLst/>
              <a:gdLst/>
              <a:ahLst/>
              <a:cxnLst/>
              <a:rect l="l" t="t" r="r" b="b"/>
              <a:pathLst>
                <a:path w="246" h="58" extrusionOk="0">
                  <a:moveTo>
                    <a:pt x="84" y="0"/>
                  </a:moveTo>
                  <a:cubicBezTo>
                    <a:pt x="56" y="0"/>
                    <a:pt x="27" y="5"/>
                    <a:pt x="1" y="16"/>
                  </a:cubicBezTo>
                  <a:cubicBezTo>
                    <a:pt x="28" y="5"/>
                    <a:pt x="57" y="0"/>
                    <a:pt x="85" y="0"/>
                  </a:cubicBezTo>
                  <a:lnTo>
                    <a:pt x="85" y="0"/>
                  </a:lnTo>
                  <a:cubicBezTo>
                    <a:pt x="142" y="0"/>
                    <a:pt x="199" y="21"/>
                    <a:pt x="246" y="58"/>
                  </a:cubicBezTo>
                  <a:cubicBezTo>
                    <a:pt x="199" y="21"/>
                    <a:pt x="143" y="0"/>
                    <a:pt x="86" y="0"/>
                  </a:cubicBezTo>
                  <a:cubicBezTo>
                    <a:pt x="86" y="0"/>
                    <a:pt x="85" y="0"/>
                    <a:pt x="85" y="0"/>
                  </a:cubicBezTo>
                  <a:lnTo>
                    <a:pt x="85" y="0"/>
                  </a:lnTo>
                  <a:cubicBezTo>
                    <a:pt x="85" y="0"/>
                    <a:pt x="85" y="0"/>
                    <a:pt x="84"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460" name="Google Shape;6460;p104"/>
            <p:cNvSpPr/>
            <p:nvPr/>
          </p:nvSpPr>
          <p:spPr>
            <a:xfrm>
              <a:off x="2603473" y="1596798"/>
              <a:ext cx="1208" cy="774"/>
            </a:xfrm>
            <a:custGeom>
              <a:avLst/>
              <a:gdLst/>
              <a:ahLst/>
              <a:cxnLst/>
              <a:rect l="l" t="t" r="r" b="b"/>
              <a:pathLst>
                <a:path w="89" h="57" extrusionOk="0">
                  <a:moveTo>
                    <a:pt x="1" y="57"/>
                  </a:moveTo>
                  <a:cubicBezTo>
                    <a:pt x="32" y="39"/>
                    <a:pt x="60" y="18"/>
                    <a:pt x="88" y="1"/>
                  </a:cubicBezTo>
                  <a:cubicBezTo>
                    <a:pt x="60" y="18"/>
                    <a:pt x="32" y="39"/>
                    <a:pt x="1" y="57"/>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461" name="Google Shape;6461;p104"/>
            <p:cNvSpPr/>
            <p:nvPr/>
          </p:nvSpPr>
          <p:spPr>
            <a:xfrm>
              <a:off x="2501370" y="1605066"/>
              <a:ext cx="733" cy="109"/>
            </a:xfrm>
            <a:custGeom>
              <a:avLst/>
              <a:gdLst/>
              <a:ahLst/>
              <a:cxnLst/>
              <a:rect l="l" t="t" r="r" b="b"/>
              <a:pathLst>
                <a:path w="54" h="8" extrusionOk="0">
                  <a:moveTo>
                    <a:pt x="1" y="8"/>
                  </a:moveTo>
                  <a:lnTo>
                    <a:pt x="53"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462" name="Google Shape;6462;p104"/>
            <p:cNvSpPr/>
            <p:nvPr/>
          </p:nvSpPr>
          <p:spPr>
            <a:xfrm>
              <a:off x="2590398" y="1593240"/>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463" name="Google Shape;6463;p104"/>
            <p:cNvSpPr/>
            <p:nvPr/>
          </p:nvSpPr>
          <p:spPr>
            <a:xfrm>
              <a:off x="2693587" y="1641047"/>
              <a:ext cx="122" cy="122"/>
            </a:xfrm>
            <a:custGeom>
              <a:avLst/>
              <a:gdLst/>
              <a:ahLst/>
              <a:cxnLst/>
              <a:rect l="l" t="t" r="r" b="b"/>
              <a:pathLst>
                <a:path w="9" h="9" extrusionOk="0">
                  <a:moveTo>
                    <a:pt x="1" y="1"/>
                  </a:moveTo>
                  <a:lnTo>
                    <a:pt x="1" y="1"/>
                  </a:lnTo>
                  <a:lnTo>
                    <a:pt x="8" y="8"/>
                  </a:lnTo>
                  <a:lnTo>
                    <a:pt x="1"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464" name="Google Shape;6464;p104"/>
            <p:cNvSpPr/>
            <p:nvPr/>
          </p:nvSpPr>
          <p:spPr>
            <a:xfrm>
              <a:off x="2139177" y="2004096"/>
              <a:ext cx="134295" cy="138844"/>
            </a:xfrm>
            <a:custGeom>
              <a:avLst/>
              <a:gdLst/>
              <a:ahLst/>
              <a:cxnLst/>
              <a:rect l="l" t="t" r="r" b="b"/>
              <a:pathLst>
                <a:path w="9891" h="10226" extrusionOk="0">
                  <a:moveTo>
                    <a:pt x="7044" y="1"/>
                  </a:moveTo>
                  <a:cubicBezTo>
                    <a:pt x="7023" y="1"/>
                    <a:pt x="7004" y="3"/>
                    <a:pt x="6988" y="9"/>
                  </a:cubicBezTo>
                  <a:cubicBezTo>
                    <a:pt x="6971" y="12"/>
                    <a:pt x="6957" y="23"/>
                    <a:pt x="6950" y="40"/>
                  </a:cubicBezTo>
                  <a:cubicBezTo>
                    <a:pt x="6891" y="157"/>
                    <a:pt x="6822" y="187"/>
                    <a:pt x="6751" y="187"/>
                  </a:cubicBezTo>
                  <a:cubicBezTo>
                    <a:pt x="6711" y="187"/>
                    <a:pt x="6671" y="178"/>
                    <a:pt x="6631" y="170"/>
                  </a:cubicBezTo>
                  <a:cubicBezTo>
                    <a:pt x="6571" y="156"/>
                    <a:pt x="6512" y="145"/>
                    <a:pt x="6449" y="145"/>
                  </a:cubicBezTo>
                  <a:cubicBezTo>
                    <a:pt x="6232" y="145"/>
                    <a:pt x="6036" y="243"/>
                    <a:pt x="5906" y="306"/>
                  </a:cubicBezTo>
                  <a:cubicBezTo>
                    <a:pt x="5866" y="325"/>
                    <a:pt x="5824" y="332"/>
                    <a:pt x="5781" y="332"/>
                  </a:cubicBezTo>
                  <a:cubicBezTo>
                    <a:pt x="5729" y="332"/>
                    <a:pt x="5677" y="321"/>
                    <a:pt x="5626" y="310"/>
                  </a:cubicBezTo>
                  <a:cubicBezTo>
                    <a:pt x="5587" y="303"/>
                    <a:pt x="5545" y="294"/>
                    <a:pt x="5514" y="294"/>
                  </a:cubicBezTo>
                  <a:cubicBezTo>
                    <a:pt x="5497" y="294"/>
                    <a:pt x="5484" y="297"/>
                    <a:pt x="5476" y="303"/>
                  </a:cubicBezTo>
                  <a:cubicBezTo>
                    <a:pt x="5420" y="338"/>
                    <a:pt x="5360" y="520"/>
                    <a:pt x="5332" y="632"/>
                  </a:cubicBezTo>
                  <a:lnTo>
                    <a:pt x="5318" y="695"/>
                  </a:lnTo>
                  <a:lnTo>
                    <a:pt x="4184" y="478"/>
                  </a:lnTo>
                  <a:lnTo>
                    <a:pt x="4170" y="453"/>
                  </a:lnTo>
                  <a:cubicBezTo>
                    <a:pt x="4117" y="376"/>
                    <a:pt x="3949" y="180"/>
                    <a:pt x="3785" y="180"/>
                  </a:cubicBezTo>
                  <a:cubicBezTo>
                    <a:pt x="3641" y="180"/>
                    <a:pt x="3403" y="415"/>
                    <a:pt x="3277" y="572"/>
                  </a:cubicBezTo>
                  <a:lnTo>
                    <a:pt x="3277" y="912"/>
                  </a:lnTo>
                  <a:cubicBezTo>
                    <a:pt x="3277" y="919"/>
                    <a:pt x="3281" y="926"/>
                    <a:pt x="3281" y="933"/>
                  </a:cubicBezTo>
                  <a:cubicBezTo>
                    <a:pt x="3281" y="943"/>
                    <a:pt x="3281" y="947"/>
                    <a:pt x="3284" y="954"/>
                  </a:cubicBezTo>
                  <a:cubicBezTo>
                    <a:pt x="3288" y="961"/>
                    <a:pt x="3284" y="971"/>
                    <a:pt x="3288" y="978"/>
                  </a:cubicBezTo>
                  <a:cubicBezTo>
                    <a:pt x="3288" y="989"/>
                    <a:pt x="3288" y="992"/>
                    <a:pt x="3288" y="999"/>
                  </a:cubicBezTo>
                  <a:lnTo>
                    <a:pt x="3288" y="1024"/>
                  </a:lnTo>
                  <a:lnTo>
                    <a:pt x="3288" y="1045"/>
                  </a:lnTo>
                  <a:lnTo>
                    <a:pt x="3288" y="1069"/>
                  </a:lnTo>
                  <a:lnTo>
                    <a:pt x="3288" y="1087"/>
                  </a:lnTo>
                  <a:lnTo>
                    <a:pt x="3288" y="1111"/>
                  </a:lnTo>
                  <a:lnTo>
                    <a:pt x="3288" y="1132"/>
                  </a:lnTo>
                  <a:lnTo>
                    <a:pt x="3288" y="1157"/>
                  </a:lnTo>
                  <a:lnTo>
                    <a:pt x="3288" y="1174"/>
                  </a:lnTo>
                  <a:cubicBezTo>
                    <a:pt x="3288" y="1181"/>
                    <a:pt x="3288" y="1188"/>
                    <a:pt x="3284" y="1195"/>
                  </a:cubicBezTo>
                  <a:cubicBezTo>
                    <a:pt x="3281" y="1202"/>
                    <a:pt x="3284" y="1209"/>
                    <a:pt x="3281" y="1216"/>
                  </a:cubicBezTo>
                  <a:cubicBezTo>
                    <a:pt x="3281" y="1223"/>
                    <a:pt x="3281" y="1230"/>
                    <a:pt x="3281" y="1237"/>
                  </a:cubicBezTo>
                  <a:cubicBezTo>
                    <a:pt x="3277" y="1244"/>
                    <a:pt x="3281" y="1251"/>
                    <a:pt x="3277" y="1258"/>
                  </a:cubicBezTo>
                  <a:cubicBezTo>
                    <a:pt x="3274" y="1265"/>
                    <a:pt x="3274" y="1269"/>
                    <a:pt x="3274" y="1276"/>
                  </a:cubicBezTo>
                  <a:cubicBezTo>
                    <a:pt x="3270" y="1283"/>
                    <a:pt x="3270" y="1290"/>
                    <a:pt x="3267" y="1297"/>
                  </a:cubicBezTo>
                  <a:cubicBezTo>
                    <a:pt x="3267" y="1304"/>
                    <a:pt x="3267" y="1307"/>
                    <a:pt x="3263" y="1314"/>
                  </a:cubicBezTo>
                  <a:cubicBezTo>
                    <a:pt x="3263" y="1318"/>
                    <a:pt x="3260" y="1328"/>
                    <a:pt x="3260" y="1335"/>
                  </a:cubicBezTo>
                  <a:lnTo>
                    <a:pt x="3256" y="1349"/>
                  </a:lnTo>
                  <a:cubicBezTo>
                    <a:pt x="3256" y="1356"/>
                    <a:pt x="3249" y="1363"/>
                    <a:pt x="3249" y="1370"/>
                  </a:cubicBezTo>
                  <a:lnTo>
                    <a:pt x="3246" y="1384"/>
                  </a:lnTo>
                  <a:cubicBezTo>
                    <a:pt x="3242" y="1391"/>
                    <a:pt x="3239" y="1398"/>
                    <a:pt x="3239" y="1405"/>
                  </a:cubicBezTo>
                  <a:lnTo>
                    <a:pt x="3235" y="1416"/>
                  </a:lnTo>
                  <a:cubicBezTo>
                    <a:pt x="3232" y="1423"/>
                    <a:pt x="3228" y="1430"/>
                    <a:pt x="3225" y="1437"/>
                  </a:cubicBezTo>
                  <a:lnTo>
                    <a:pt x="3221" y="1447"/>
                  </a:lnTo>
                  <a:lnTo>
                    <a:pt x="3214" y="1465"/>
                  </a:lnTo>
                  <a:lnTo>
                    <a:pt x="3207" y="1475"/>
                  </a:lnTo>
                  <a:lnTo>
                    <a:pt x="3200" y="1493"/>
                  </a:lnTo>
                  <a:cubicBezTo>
                    <a:pt x="3197" y="1503"/>
                    <a:pt x="3190" y="1510"/>
                    <a:pt x="3186" y="1517"/>
                  </a:cubicBezTo>
                  <a:cubicBezTo>
                    <a:pt x="3165" y="1552"/>
                    <a:pt x="3144" y="1580"/>
                    <a:pt x="3127" y="1612"/>
                  </a:cubicBezTo>
                  <a:cubicBezTo>
                    <a:pt x="3050" y="1724"/>
                    <a:pt x="2994" y="1808"/>
                    <a:pt x="2994" y="2060"/>
                  </a:cubicBezTo>
                  <a:cubicBezTo>
                    <a:pt x="2994" y="2253"/>
                    <a:pt x="2878" y="2491"/>
                    <a:pt x="2770" y="2722"/>
                  </a:cubicBezTo>
                  <a:cubicBezTo>
                    <a:pt x="2682" y="2907"/>
                    <a:pt x="2588" y="3096"/>
                    <a:pt x="2588" y="3208"/>
                  </a:cubicBezTo>
                  <a:cubicBezTo>
                    <a:pt x="2588" y="3390"/>
                    <a:pt x="2430" y="3520"/>
                    <a:pt x="2286" y="3635"/>
                  </a:cubicBezTo>
                  <a:cubicBezTo>
                    <a:pt x="2209" y="3695"/>
                    <a:pt x="2115" y="3772"/>
                    <a:pt x="2115" y="3817"/>
                  </a:cubicBezTo>
                  <a:cubicBezTo>
                    <a:pt x="2115" y="3887"/>
                    <a:pt x="2111" y="3992"/>
                    <a:pt x="2104" y="4108"/>
                  </a:cubicBezTo>
                  <a:cubicBezTo>
                    <a:pt x="2094" y="4287"/>
                    <a:pt x="2080" y="4511"/>
                    <a:pt x="2080" y="4728"/>
                  </a:cubicBezTo>
                  <a:cubicBezTo>
                    <a:pt x="2080" y="4931"/>
                    <a:pt x="2020" y="4987"/>
                    <a:pt x="1926" y="5008"/>
                  </a:cubicBezTo>
                  <a:cubicBezTo>
                    <a:pt x="1898" y="5018"/>
                    <a:pt x="1880" y="5022"/>
                    <a:pt x="1880" y="5134"/>
                  </a:cubicBezTo>
                  <a:cubicBezTo>
                    <a:pt x="1880" y="5375"/>
                    <a:pt x="1786" y="5407"/>
                    <a:pt x="1674" y="5421"/>
                  </a:cubicBezTo>
                  <a:cubicBezTo>
                    <a:pt x="1618" y="5424"/>
                    <a:pt x="1562" y="5445"/>
                    <a:pt x="1523" y="5484"/>
                  </a:cubicBezTo>
                  <a:cubicBezTo>
                    <a:pt x="1414" y="5593"/>
                    <a:pt x="1345" y="5650"/>
                    <a:pt x="1286" y="5650"/>
                  </a:cubicBezTo>
                  <a:cubicBezTo>
                    <a:pt x="1272" y="5650"/>
                    <a:pt x="1259" y="5647"/>
                    <a:pt x="1247" y="5641"/>
                  </a:cubicBezTo>
                  <a:cubicBezTo>
                    <a:pt x="1173" y="5613"/>
                    <a:pt x="1173" y="5515"/>
                    <a:pt x="1173" y="5473"/>
                  </a:cubicBezTo>
                  <a:cubicBezTo>
                    <a:pt x="1177" y="5445"/>
                    <a:pt x="1159" y="5417"/>
                    <a:pt x="1131" y="5407"/>
                  </a:cubicBezTo>
                  <a:cubicBezTo>
                    <a:pt x="1114" y="5399"/>
                    <a:pt x="1093" y="5395"/>
                    <a:pt x="1069" y="5395"/>
                  </a:cubicBezTo>
                  <a:cubicBezTo>
                    <a:pt x="1005" y="5395"/>
                    <a:pt x="921" y="5423"/>
                    <a:pt x="841" y="5491"/>
                  </a:cubicBezTo>
                  <a:cubicBezTo>
                    <a:pt x="762" y="5557"/>
                    <a:pt x="696" y="5579"/>
                    <a:pt x="640" y="5579"/>
                  </a:cubicBezTo>
                  <a:cubicBezTo>
                    <a:pt x="563" y="5579"/>
                    <a:pt x="507" y="5535"/>
                    <a:pt x="466" y="5505"/>
                  </a:cubicBezTo>
                  <a:cubicBezTo>
                    <a:pt x="449" y="5491"/>
                    <a:pt x="431" y="5480"/>
                    <a:pt x="414" y="5470"/>
                  </a:cubicBezTo>
                  <a:lnTo>
                    <a:pt x="389" y="5470"/>
                  </a:lnTo>
                  <a:lnTo>
                    <a:pt x="379" y="5473"/>
                  </a:lnTo>
                  <a:lnTo>
                    <a:pt x="372" y="5477"/>
                  </a:lnTo>
                  <a:lnTo>
                    <a:pt x="364" y="5480"/>
                  </a:lnTo>
                  <a:lnTo>
                    <a:pt x="354" y="5484"/>
                  </a:lnTo>
                  <a:lnTo>
                    <a:pt x="347" y="5487"/>
                  </a:lnTo>
                  <a:lnTo>
                    <a:pt x="336" y="5491"/>
                  </a:lnTo>
                  <a:lnTo>
                    <a:pt x="326" y="5498"/>
                  </a:lnTo>
                  <a:lnTo>
                    <a:pt x="312" y="5501"/>
                  </a:lnTo>
                  <a:lnTo>
                    <a:pt x="301" y="5508"/>
                  </a:lnTo>
                  <a:lnTo>
                    <a:pt x="287" y="5515"/>
                  </a:lnTo>
                  <a:lnTo>
                    <a:pt x="273" y="5522"/>
                  </a:lnTo>
                  <a:lnTo>
                    <a:pt x="263" y="5529"/>
                  </a:lnTo>
                  <a:lnTo>
                    <a:pt x="245" y="5536"/>
                  </a:lnTo>
                  <a:lnTo>
                    <a:pt x="231" y="5547"/>
                  </a:lnTo>
                  <a:lnTo>
                    <a:pt x="214" y="5554"/>
                  </a:lnTo>
                  <a:lnTo>
                    <a:pt x="200" y="5564"/>
                  </a:lnTo>
                  <a:lnTo>
                    <a:pt x="182" y="5575"/>
                  </a:lnTo>
                  <a:lnTo>
                    <a:pt x="165" y="5585"/>
                  </a:lnTo>
                  <a:lnTo>
                    <a:pt x="144" y="5599"/>
                  </a:lnTo>
                  <a:lnTo>
                    <a:pt x="126" y="5610"/>
                  </a:lnTo>
                  <a:lnTo>
                    <a:pt x="105" y="5624"/>
                  </a:lnTo>
                  <a:lnTo>
                    <a:pt x="88" y="5634"/>
                  </a:lnTo>
                  <a:lnTo>
                    <a:pt x="63" y="5648"/>
                  </a:lnTo>
                  <a:lnTo>
                    <a:pt x="46" y="5662"/>
                  </a:lnTo>
                  <a:lnTo>
                    <a:pt x="14" y="5683"/>
                  </a:lnTo>
                  <a:lnTo>
                    <a:pt x="0" y="5690"/>
                  </a:lnTo>
                  <a:cubicBezTo>
                    <a:pt x="74" y="5862"/>
                    <a:pt x="130" y="6037"/>
                    <a:pt x="168" y="6219"/>
                  </a:cubicBezTo>
                  <a:lnTo>
                    <a:pt x="172" y="6216"/>
                  </a:lnTo>
                  <a:lnTo>
                    <a:pt x="217" y="6187"/>
                  </a:lnTo>
                  <a:lnTo>
                    <a:pt x="259" y="6163"/>
                  </a:lnTo>
                  <a:lnTo>
                    <a:pt x="266" y="6156"/>
                  </a:lnTo>
                  <a:lnTo>
                    <a:pt x="301" y="6138"/>
                  </a:lnTo>
                  <a:lnTo>
                    <a:pt x="308" y="6135"/>
                  </a:lnTo>
                  <a:lnTo>
                    <a:pt x="336" y="6121"/>
                  </a:lnTo>
                  <a:lnTo>
                    <a:pt x="340" y="6121"/>
                  </a:lnTo>
                  <a:lnTo>
                    <a:pt x="361" y="6114"/>
                  </a:lnTo>
                  <a:lnTo>
                    <a:pt x="364" y="6114"/>
                  </a:lnTo>
                  <a:lnTo>
                    <a:pt x="386" y="6107"/>
                  </a:lnTo>
                  <a:lnTo>
                    <a:pt x="389" y="6107"/>
                  </a:lnTo>
                  <a:lnTo>
                    <a:pt x="407" y="6100"/>
                  </a:lnTo>
                  <a:lnTo>
                    <a:pt x="424" y="6100"/>
                  </a:lnTo>
                  <a:cubicBezTo>
                    <a:pt x="482" y="6091"/>
                    <a:pt x="692" y="6088"/>
                    <a:pt x="949" y="6088"/>
                  </a:cubicBezTo>
                  <a:cubicBezTo>
                    <a:pt x="1462" y="6088"/>
                    <a:pt x="2162" y="6100"/>
                    <a:pt x="2206" y="6100"/>
                  </a:cubicBezTo>
                  <a:lnTo>
                    <a:pt x="2241" y="6100"/>
                  </a:lnTo>
                  <a:lnTo>
                    <a:pt x="2258" y="6128"/>
                  </a:lnTo>
                  <a:cubicBezTo>
                    <a:pt x="2265" y="6142"/>
                    <a:pt x="2419" y="6398"/>
                    <a:pt x="2363" y="6639"/>
                  </a:cubicBezTo>
                  <a:cubicBezTo>
                    <a:pt x="2346" y="6720"/>
                    <a:pt x="2353" y="6723"/>
                    <a:pt x="2398" y="6762"/>
                  </a:cubicBezTo>
                  <a:cubicBezTo>
                    <a:pt x="2483" y="6828"/>
                    <a:pt x="2542" y="6916"/>
                    <a:pt x="2581" y="7010"/>
                  </a:cubicBezTo>
                  <a:cubicBezTo>
                    <a:pt x="2677" y="7245"/>
                    <a:pt x="2746" y="7332"/>
                    <a:pt x="2860" y="7332"/>
                  </a:cubicBezTo>
                  <a:cubicBezTo>
                    <a:pt x="2890" y="7332"/>
                    <a:pt x="2924" y="7326"/>
                    <a:pt x="2962" y="7315"/>
                  </a:cubicBezTo>
                  <a:cubicBezTo>
                    <a:pt x="3152" y="7257"/>
                    <a:pt x="3395" y="7207"/>
                    <a:pt x="3542" y="7207"/>
                  </a:cubicBezTo>
                  <a:cubicBezTo>
                    <a:pt x="3563" y="7207"/>
                    <a:pt x="3583" y="7208"/>
                    <a:pt x="3599" y="7210"/>
                  </a:cubicBezTo>
                  <a:cubicBezTo>
                    <a:pt x="3613" y="7168"/>
                    <a:pt x="3624" y="7126"/>
                    <a:pt x="3634" y="7080"/>
                  </a:cubicBezTo>
                  <a:cubicBezTo>
                    <a:pt x="3662" y="6944"/>
                    <a:pt x="3694" y="6786"/>
                    <a:pt x="3799" y="6734"/>
                  </a:cubicBezTo>
                  <a:cubicBezTo>
                    <a:pt x="3859" y="6704"/>
                    <a:pt x="3936" y="6694"/>
                    <a:pt x="4011" y="6694"/>
                  </a:cubicBezTo>
                  <a:cubicBezTo>
                    <a:pt x="4140" y="6694"/>
                    <a:pt x="4262" y="6723"/>
                    <a:pt x="4282" y="6730"/>
                  </a:cubicBezTo>
                  <a:lnTo>
                    <a:pt x="4320" y="6741"/>
                  </a:lnTo>
                  <a:lnTo>
                    <a:pt x="4331" y="6779"/>
                  </a:lnTo>
                  <a:cubicBezTo>
                    <a:pt x="4331" y="6779"/>
                    <a:pt x="4355" y="6849"/>
                    <a:pt x="4531" y="6849"/>
                  </a:cubicBezTo>
                  <a:cubicBezTo>
                    <a:pt x="4594" y="6849"/>
                    <a:pt x="4657" y="6842"/>
                    <a:pt x="4716" y="6832"/>
                  </a:cubicBezTo>
                  <a:cubicBezTo>
                    <a:pt x="4752" y="6827"/>
                    <a:pt x="4785" y="6822"/>
                    <a:pt x="4815" y="6822"/>
                  </a:cubicBezTo>
                  <a:cubicBezTo>
                    <a:pt x="4853" y="6822"/>
                    <a:pt x="4885" y="6829"/>
                    <a:pt x="4912" y="6853"/>
                  </a:cubicBezTo>
                  <a:cubicBezTo>
                    <a:pt x="4947" y="6888"/>
                    <a:pt x="4965" y="6937"/>
                    <a:pt x="4961" y="6986"/>
                  </a:cubicBezTo>
                  <a:cubicBezTo>
                    <a:pt x="4961" y="7178"/>
                    <a:pt x="4993" y="7329"/>
                    <a:pt x="5038" y="7378"/>
                  </a:cubicBezTo>
                  <a:cubicBezTo>
                    <a:pt x="5094" y="7434"/>
                    <a:pt x="5070" y="7539"/>
                    <a:pt x="5017" y="7759"/>
                  </a:cubicBezTo>
                  <a:cubicBezTo>
                    <a:pt x="4989" y="7871"/>
                    <a:pt x="4930" y="8109"/>
                    <a:pt x="4961" y="8148"/>
                  </a:cubicBezTo>
                  <a:cubicBezTo>
                    <a:pt x="5077" y="8242"/>
                    <a:pt x="5283" y="8484"/>
                    <a:pt x="5252" y="8649"/>
                  </a:cubicBezTo>
                  <a:cubicBezTo>
                    <a:pt x="5248" y="8663"/>
                    <a:pt x="5245" y="8677"/>
                    <a:pt x="5241" y="8694"/>
                  </a:cubicBezTo>
                  <a:cubicBezTo>
                    <a:pt x="5206" y="8869"/>
                    <a:pt x="5192" y="8974"/>
                    <a:pt x="5210" y="9009"/>
                  </a:cubicBezTo>
                  <a:cubicBezTo>
                    <a:pt x="5224" y="8999"/>
                    <a:pt x="5238" y="8988"/>
                    <a:pt x="5248" y="8974"/>
                  </a:cubicBezTo>
                  <a:cubicBezTo>
                    <a:pt x="5304" y="8904"/>
                    <a:pt x="5388" y="8866"/>
                    <a:pt x="5479" y="8862"/>
                  </a:cubicBezTo>
                  <a:lnTo>
                    <a:pt x="5581" y="8862"/>
                  </a:lnTo>
                  <a:cubicBezTo>
                    <a:pt x="5613" y="8863"/>
                    <a:pt x="5645" y="8864"/>
                    <a:pt x="5675" y="8864"/>
                  </a:cubicBezTo>
                  <a:cubicBezTo>
                    <a:pt x="5764" y="8864"/>
                    <a:pt x="5847" y="8856"/>
                    <a:pt x="5938" y="8820"/>
                  </a:cubicBezTo>
                  <a:cubicBezTo>
                    <a:pt x="5964" y="8807"/>
                    <a:pt x="5994" y="8800"/>
                    <a:pt x="6023" y="8800"/>
                  </a:cubicBezTo>
                  <a:cubicBezTo>
                    <a:pt x="6033" y="8800"/>
                    <a:pt x="6043" y="8801"/>
                    <a:pt x="6053" y="8803"/>
                  </a:cubicBezTo>
                  <a:lnTo>
                    <a:pt x="6053" y="8785"/>
                  </a:lnTo>
                  <a:lnTo>
                    <a:pt x="6144" y="8834"/>
                  </a:lnTo>
                  <a:lnTo>
                    <a:pt x="6190" y="8855"/>
                  </a:lnTo>
                  <a:lnTo>
                    <a:pt x="6190" y="8859"/>
                  </a:lnTo>
                  <a:cubicBezTo>
                    <a:pt x="6239" y="8894"/>
                    <a:pt x="6281" y="8939"/>
                    <a:pt x="6316" y="8992"/>
                  </a:cubicBezTo>
                  <a:lnTo>
                    <a:pt x="6319" y="9002"/>
                  </a:lnTo>
                  <a:lnTo>
                    <a:pt x="6326" y="9016"/>
                  </a:lnTo>
                  <a:cubicBezTo>
                    <a:pt x="6333" y="9048"/>
                    <a:pt x="6351" y="9076"/>
                    <a:pt x="6375" y="9097"/>
                  </a:cubicBezTo>
                  <a:lnTo>
                    <a:pt x="6379" y="9097"/>
                  </a:lnTo>
                  <a:cubicBezTo>
                    <a:pt x="6382" y="9097"/>
                    <a:pt x="6552" y="9020"/>
                    <a:pt x="6680" y="9020"/>
                  </a:cubicBezTo>
                  <a:cubicBezTo>
                    <a:pt x="6720" y="9020"/>
                    <a:pt x="6756" y="9028"/>
                    <a:pt x="6782" y="9048"/>
                  </a:cubicBezTo>
                  <a:cubicBezTo>
                    <a:pt x="6810" y="9072"/>
                    <a:pt x="6824" y="9111"/>
                    <a:pt x="6813" y="9149"/>
                  </a:cubicBezTo>
                  <a:cubicBezTo>
                    <a:pt x="6810" y="9202"/>
                    <a:pt x="6824" y="9258"/>
                    <a:pt x="6855" y="9303"/>
                  </a:cubicBezTo>
                  <a:cubicBezTo>
                    <a:pt x="6873" y="9331"/>
                    <a:pt x="6890" y="9342"/>
                    <a:pt x="6894" y="9342"/>
                  </a:cubicBezTo>
                  <a:cubicBezTo>
                    <a:pt x="6914" y="9330"/>
                    <a:pt x="6937" y="9325"/>
                    <a:pt x="6961" y="9325"/>
                  </a:cubicBezTo>
                  <a:cubicBezTo>
                    <a:pt x="7032" y="9325"/>
                    <a:pt x="7116" y="9367"/>
                    <a:pt x="7202" y="9412"/>
                  </a:cubicBezTo>
                  <a:cubicBezTo>
                    <a:pt x="7258" y="9443"/>
                    <a:pt x="7317" y="9468"/>
                    <a:pt x="7380" y="9478"/>
                  </a:cubicBezTo>
                  <a:cubicBezTo>
                    <a:pt x="7394" y="9479"/>
                    <a:pt x="7408" y="9480"/>
                    <a:pt x="7422" y="9480"/>
                  </a:cubicBezTo>
                  <a:cubicBezTo>
                    <a:pt x="7468" y="9480"/>
                    <a:pt x="7512" y="9475"/>
                    <a:pt x="7555" y="9464"/>
                  </a:cubicBezTo>
                  <a:cubicBezTo>
                    <a:pt x="7562" y="9380"/>
                    <a:pt x="7650" y="9296"/>
                    <a:pt x="7727" y="9279"/>
                  </a:cubicBezTo>
                  <a:cubicBezTo>
                    <a:pt x="7737" y="9275"/>
                    <a:pt x="7748" y="9275"/>
                    <a:pt x="7758" y="9275"/>
                  </a:cubicBezTo>
                  <a:lnTo>
                    <a:pt x="7765" y="9275"/>
                  </a:lnTo>
                  <a:cubicBezTo>
                    <a:pt x="7776" y="9275"/>
                    <a:pt x="7786" y="9275"/>
                    <a:pt x="7793" y="9279"/>
                  </a:cubicBezTo>
                  <a:lnTo>
                    <a:pt x="7797" y="9279"/>
                  </a:lnTo>
                  <a:cubicBezTo>
                    <a:pt x="7807" y="9282"/>
                    <a:pt x="7814" y="9286"/>
                    <a:pt x="7825" y="9289"/>
                  </a:cubicBezTo>
                  <a:lnTo>
                    <a:pt x="7828" y="9293"/>
                  </a:lnTo>
                  <a:cubicBezTo>
                    <a:pt x="7835" y="9300"/>
                    <a:pt x="7846" y="9307"/>
                    <a:pt x="7853" y="9314"/>
                  </a:cubicBezTo>
                  <a:lnTo>
                    <a:pt x="7856" y="9317"/>
                  </a:lnTo>
                  <a:cubicBezTo>
                    <a:pt x="7863" y="9328"/>
                    <a:pt x="7870" y="9335"/>
                    <a:pt x="7874" y="9345"/>
                  </a:cubicBezTo>
                  <a:cubicBezTo>
                    <a:pt x="7972" y="9538"/>
                    <a:pt x="8059" y="9625"/>
                    <a:pt x="8105" y="9625"/>
                  </a:cubicBezTo>
                  <a:cubicBezTo>
                    <a:pt x="8121" y="9625"/>
                    <a:pt x="8137" y="9624"/>
                    <a:pt x="8153" y="9624"/>
                  </a:cubicBezTo>
                  <a:cubicBezTo>
                    <a:pt x="8227" y="9624"/>
                    <a:pt x="8298" y="9631"/>
                    <a:pt x="8367" y="9639"/>
                  </a:cubicBezTo>
                  <a:cubicBezTo>
                    <a:pt x="8423" y="9643"/>
                    <a:pt x="8476" y="9657"/>
                    <a:pt x="8521" y="9681"/>
                  </a:cubicBezTo>
                  <a:cubicBezTo>
                    <a:pt x="8528" y="9685"/>
                    <a:pt x="8535" y="9688"/>
                    <a:pt x="8539" y="9695"/>
                  </a:cubicBezTo>
                  <a:lnTo>
                    <a:pt x="8546" y="9699"/>
                  </a:lnTo>
                  <a:cubicBezTo>
                    <a:pt x="8549" y="9702"/>
                    <a:pt x="8556" y="9706"/>
                    <a:pt x="8560" y="9713"/>
                  </a:cubicBezTo>
                  <a:cubicBezTo>
                    <a:pt x="8560" y="9716"/>
                    <a:pt x="8563" y="9720"/>
                    <a:pt x="8563" y="9720"/>
                  </a:cubicBezTo>
                  <a:cubicBezTo>
                    <a:pt x="8567" y="9723"/>
                    <a:pt x="8570" y="9727"/>
                    <a:pt x="8570" y="9730"/>
                  </a:cubicBezTo>
                  <a:cubicBezTo>
                    <a:pt x="8574" y="9734"/>
                    <a:pt x="8574" y="9737"/>
                    <a:pt x="8577" y="9741"/>
                  </a:cubicBezTo>
                  <a:cubicBezTo>
                    <a:pt x="8577" y="9744"/>
                    <a:pt x="8581" y="9748"/>
                    <a:pt x="8581" y="9755"/>
                  </a:cubicBezTo>
                  <a:cubicBezTo>
                    <a:pt x="8581" y="9755"/>
                    <a:pt x="8581" y="9758"/>
                    <a:pt x="8581" y="9762"/>
                  </a:cubicBezTo>
                  <a:cubicBezTo>
                    <a:pt x="8584" y="9769"/>
                    <a:pt x="8584" y="9779"/>
                    <a:pt x="8584" y="9786"/>
                  </a:cubicBezTo>
                  <a:cubicBezTo>
                    <a:pt x="8584" y="9867"/>
                    <a:pt x="8675" y="10115"/>
                    <a:pt x="8777" y="10196"/>
                  </a:cubicBezTo>
                  <a:cubicBezTo>
                    <a:pt x="8804" y="10217"/>
                    <a:pt x="8846" y="10225"/>
                    <a:pt x="8892" y="10225"/>
                  </a:cubicBezTo>
                  <a:cubicBezTo>
                    <a:pt x="8960" y="10225"/>
                    <a:pt x="9038" y="10208"/>
                    <a:pt x="9092" y="10189"/>
                  </a:cubicBezTo>
                  <a:cubicBezTo>
                    <a:pt x="9138" y="10136"/>
                    <a:pt x="9162" y="10070"/>
                    <a:pt x="9159" y="10003"/>
                  </a:cubicBezTo>
                  <a:cubicBezTo>
                    <a:pt x="9159" y="9916"/>
                    <a:pt x="9159" y="9748"/>
                    <a:pt x="9138" y="9688"/>
                  </a:cubicBezTo>
                  <a:cubicBezTo>
                    <a:pt x="9124" y="9695"/>
                    <a:pt x="9106" y="9706"/>
                    <a:pt x="9092" y="9716"/>
                  </a:cubicBezTo>
                  <a:cubicBezTo>
                    <a:pt x="9033" y="9756"/>
                    <a:pt x="8951" y="9811"/>
                    <a:pt x="8848" y="9811"/>
                  </a:cubicBezTo>
                  <a:cubicBezTo>
                    <a:pt x="8823" y="9811"/>
                    <a:pt x="8797" y="9808"/>
                    <a:pt x="8770" y="9800"/>
                  </a:cubicBezTo>
                  <a:cubicBezTo>
                    <a:pt x="8630" y="9762"/>
                    <a:pt x="8539" y="9601"/>
                    <a:pt x="8462" y="9471"/>
                  </a:cubicBezTo>
                  <a:cubicBezTo>
                    <a:pt x="8441" y="9429"/>
                    <a:pt x="8416" y="9391"/>
                    <a:pt x="8385" y="9356"/>
                  </a:cubicBezTo>
                  <a:cubicBezTo>
                    <a:pt x="8301" y="9300"/>
                    <a:pt x="8350" y="9177"/>
                    <a:pt x="8409" y="9020"/>
                  </a:cubicBezTo>
                  <a:cubicBezTo>
                    <a:pt x="8444" y="8946"/>
                    <a:pt x="8465" y="8869"/>
                    <a:pt x="8479" y="8792"/>
                  </a:cubicBezTo>
                  <a:cubicBezTo>
                    <a:pt x="8483" y="8719"/>
                    <a:pt x="8493" y="8645"/>
                    <a:pt x="8507" y="8572"/>
                  </a:cubicBezTo>
                  <a:cubicBezTo>
                    <a:pt x="8521" y="8477"/>
                    <a:pt x="8556" y="8285"/>
                    <a:pt x="8535" y="8239"/>
                  </a:cubicBezTo>
                  <a:cubicBezTo>
                    <a:pt x="8486" y="8214"/>
                    <a:pt x="8458" y="8169"/>
                    <a:pt x="8451" y="8116"/>
                  </a:cubicBezTo>
                  <a:cubicBezTo>
                    <a:pt x="8444" y="8029"/>
                    <a:pt x="8500" y="7920"/>
                    <a:pt x="8602" y="7840"/>
                  </a:cubicBezTo>
                  <a:cubicBezTo>
                    <a:pt x="8630" y="7819"/>
                    <a:pt x="8626" y="7759"/>
                    <a:pt x="8623" y="7703"/>
                  </a:cubicBezTo>
                  <a:cubicBezTo>
                    <a:pt x="8619" y="7633"/>
                    <a:pt x="8616" y="7560"/>
                    <a:pt x="8665" y="7507"/>
                  </a:cubicBezTo>
                  <a:cubicBezTo>
                    <a:pt x="8697" y="7479"/>
                    <a:pt x="8734" y="7465"/>
                    <a:pt x="8774" y="7465"/>
                  </a:cubicBezTo>
                  <a:cubicBezTo>
                    <a:pt x="8778" y="7465"/>
                    <a:pt x="8783" y="7465"/>
                    <a:pt x="8788" y="7465"/>
                  </a:cubicBezTo>
                  <a:lnTo>
                    <a:pt x="8861" y="7465"/>
                  </a:lnTo>
                  <a:cubicBezTo>
                    <a:pt x="8873" y="7465"/>
                    <a:pt x="8886" y="7465"/>
                    <a:pt x="8900" y="7465"/>
                  </a:cubicBezTo>
                  <a:cubicBezTo>
                    <a:pt x="9060" y="7465"/>
                    <a:pt x="9329" y="7462"/>
                    <a:pt x="9397" y="7388"/>
                  </a:cubicBezTo>
                  <a:lnTo>
                    <a:pt x="9411" y="7374"/>
                  </a:lnTo>
                  <a:cubicBezTo>
                    <a:pt x="9418" y="7364"/>
                    <a:pt x="9421" y="7357"/>
                    <a:pt x="9425" y="7346"/>
                  </a:cubicBezTo>
                  <a:lnTo>
                    <a:pt x="9428" y="7336"/>
                  </a:lnTo>
                  <a:lnTo>
                    <a:pt x="9432" y="7332"/>
                  </a:lnTo>
                  <a:cubicBezTo>
                    <a:pt x="9407" y="7294"/>
                    <a:pt x="9386" y="7252"/>
                    <a:pt x="9362" y="7210"/>
                  </a:cubicBezTo>
                  <a:cubicBezTo>
                    <a:pt x="9274" y="7056"/>
                    <a:pt x="9173" y="6877"/>
                    <a:pt x="9075" y="6825"/>
                  </a:cubicBezTo>
                  <a:cubicBezTo>
                    <a:pt x="8798" y="6674"/>
                    <a:pt x="8714" y="5351"/>
                    <a:pt x="8746" y="4927"/>
                  </a:cubicBezTo>
                  <a:cubicBezTo>
                    <a:pt x="8760" y="4766"/>
                    <a:pt x="8784" y="4700"/>
                    <a:pt x="8840" y="4679"/>
                  </a:cubicBezTo>
                  <a:lnTo>
                    <a:pt x="8823" y="4427"/>
                  </a:lnTo>
                  <a:lnTo>
                    <a:pt x="8486" y="4287"/>
                  </a:lnTo>
                  <a:lnTo>
                    <a:pt x="8690" y="4294"/>
                  </a:lnTo>
                  <a:cubicBezTo>
                    <a:pt x="8690" y="4290"/>
                    <a:pt x="8690" y="4287"/>
                    <a:pt x="8686" y="4283"/>
                  </a:cubicBezTo>
                  <a:lnTo>
                    <a:pt x="8686" y="4280"/>
                  </a:lnTo>
                  <a:cubicBezTo>
                    <a:pt x="8686" y="4269"/>
                    <a:pt x="8683" y="4262"/>
                    <a:pt x="8683" y="4252"/>
                  </a:cubicBezTo>
                  <a:lnTo>
                    <a:pt x="8683" y="4245"/>
                  </a:lnTo>
                  <a:cubicBezTo>
                    <a:pt x="8679" y="4231"/>
                    <a:pt x="8679" y="4220"/>
                    <a:pt x="8679" y="4206"/>
                  </a:cubicBezTo>
                  <a:cubicBezTo>
                    <a:pt x="8672" y="4118"/>
                    <a:pt x="8721" y="4038"/>
                    <a:pt x="8798" y="4003"/>
                  </a:cubicBezTo>
                  <a:cubicBezTo>
                    <a:pt x="8798" y="3894"/>
                    <a:pt x="8812" y="3688"/>
                    <a:pt x="8952" y="3635"/>
                  </a:cubicBezTo>
                  <a:cubicBezTo>
                    <a:pt x="8970" y="3628"/>
                    <a:pt x="8984" y="3618"/>
                    <a:pt x="8991" y="3604"/>
                  </a:cubicBezTo>
                  <a:cubicBezTo>
                    <a:pt x="9036" y="3551"/>
                    <a:pt x="9061" y="3446"/>
                    <a:pt x="9068" y="3310"/>
                  </a:cubicBezTo>
                  <a:lnTo>
                    <a:pt x="9068" y="3247"/>
                  </a:lnTo>
                  <a:cubicBezTo>
                    <a:pt x="9068" y="3075"/>
                    <a:pt x="9103" y="2907"/>
                    <a:pt x="9169" y="2750"/>
                  </a:cubicBezTo>
                  <a:cubicBezTo>
                    <a:pt x="9190" y="2697"/>
                    <a:pt x="9204" y="2645"/>
                    <a:pt x="9211" y="2592"/>
                  </a:cubicBezTo>
                  <a:cubicBezTo>
                    <a:pt x="9225" y="2494"/>
                    <a:pt x="9243" y="2393"/>
                    <a:pt x="9323" y="2333"/>
                  </a:cubicBezTo>
                  <a:cubicBezTo>
                    <a:pt x="9355" y="2302"/>
                    <a:pt x="9376" y="2263"/>
                    <a:pt x="9386" y="2218"/>
                  </a:cubicBezTo>
                  <a:cubicBezTo>
                    <a:pt x="9418" y="2144"/>
                    <a:pt x="9453" y="2050"/>
                    <a:pt x="9551" y="2021"/>
                  </a:cubicBezTo>
                  <a:cubicBezTo>
                    <a:pt x="9712" y="1972"/>
                    <a:pt x="9733" y="1927"/>
                    <a:pt x="9733" y="1916"/>
                  </a:cubicBezTo>
                  <a:cubicBezTo>
                    <a:pt x="9750" y="1864"/>
                    <a:pt x="9778" y="1818"/>
                    <a:pt x="9813" y="1780"/>
                  </a:cubicBezTo>
                  <a:cubicBezTo>
                    <a:pt x="9852" y="1738"/>
                    <a:pt x="9890" y="1685"/>
                    <a:pt x="9890" y="1650"/>
                  </a:cubicBezTo>
                  <a:cubicBezTo>
                    <a:pt x="9890" y="1629"/>
                    <a:pt x="9869" y="1612"/>
                    <a:pt x="9831" y="1580"/>
                  </a:cubicBezTo>
                  <a:cubicBezTo>
                    <a:pt x="9778" y="1542"/>
                    <a:pt x="9708" y="1486"/>
                    <a:pt x="9708" y="1384"/>
                  </a:cubicBezTo>
                  <a:lnTo>
                    <a:pt x="9708" y="1356"/>
                  </a:lnTo>
                  <a:lnTo>
                    <a:pt x="9708" y="1349"/>
                  </a:lnTo>
                  <a:lnTo>
                    <a:pt x="9708" y="1328"/>
                  </a:lnTo>
                  <a:lnTo>
                    <a:pt x="9708" y="1314"/>
                  </a:lnTo>
                  <a:lnTo>
                    <a:pt x="9708" y="1297"/>
                  </a:lnTo>
                  <a:lnTo>
                    <a:pt x="9708" y="1283"/>
                  </a:lnTo>
                  <a:lnTo>
                    <a:pt x="9708" y="1262"/>
                  </a:lnTo>
                  <a:lnTo>
                    <a:pt x="9708" y="1248"/>
                  </a:lnTo>
                  <a:lnTo>
                    <a:pt x="9712" y="1220"/>
                  </a:lnTo>
                  <a:lnTo>
                    <a:pt x="9712" y="1213"/>
                  </a:lnTo>
                  <a:cubicBezTo>
                    <a:pt x="9712" y="1199"/>
                    <a:pt x="9715" y="1188"/>
                    <a:pt x="9715" y="1174"/>
                  </a:cubicBezTo>
                  <a:lnTo>
                    <a:pt x="9715" y="1171"/>
                  </a:lnTo>
                  <a:lnTo>
                    <a:pt x="9719" y="1139"/>
                  </a:lnTo>
                  <a:lnTo>
                    <a:pt x="9719" y="1125"/>
                  </a:lnTo>
                  <a:lnTo>
                    <a:pt x="9722" y="1101"/>
                  </a:lnTo>
                  <a:lnTo>
                    <a:pt x="9722" y="1087"/>
                  </a:lnTo>
                  <a:lnTo>
                    <a:pt x="9726" y="1066"/>
                  </a:lnTo>
                  <a:lnTo>
                    <a:pt x="9726" y="1052"/>
                  </a:lnTo>
                  <a:lnTo>
                    <a:pt x="9726" y="1034"/>
                  </a:lnTo>
                  <a:lnTo>
                    <a:pt x="9726" y="1020"/>
                  </a:lnTo>
                  <a:lnTo>
                    <a:pt x="9726" y="1006"/>
                  </a:lnTo>
                  <a:cubicBezTo>
                    <a:pt x="9729" y="971"/>
                    <a:pt x="9733" y="947"/>
                    <a:pt x="9736" y="926"/>
                  </a:cubicBezTo>
                  <a:lnTo>
                    <a:pt x="9729" y="919"/>
                  </a:lnTo>
                  <a:lnTo>
                    <a:pt x="9705" y="898"/>
                  </a:lnTo>
                  <a:lnTo>
                    <a:pt x="9680" y="873"/>
                  </a:lnTo>
                  <a:lnTo>
                    <a:pt x="9656" y="852"/>
                  </a:lnTo>
                  <a:lnTo>
                    <a:pt x="9628" y="831"/>
                  </a:lnTo>
                  <a:lnTo>
                    <a:pt x="9607" y="810"/>
                  </a:lnTo>
                  <a:lnTo>
                    <a:pt x="9579" y="786"/>
                  </a:lnTo>
                  <a:lnTo>
                    <a:pt x="9558" y="768"/>
                  </a:lnTo>
                  <a:lnTo>
                    <a:pt x="9530" y="744"/>
                  </a:lnTo>
                  <a:lnTo>
                    <a:pt x="9512" y="726"/>
                  </a:lnTo>
                  <a:lnTo>
                    <a:pt x="9484" y="702"/>
                  </a:lnTo>
                  <a:lnTo>
                    <a:pt x="9463" y="688"/>
                  </a:lnTo>
                  <a:lnTo>
                    <a:pt x="9435" y="663"/>
                  </a:lnTo>
                  <a:lnTo>
                    <a:pt x="9421" y="649"/>
                  </a:lnTo>
                  <a:lnTo>
                    <a:pt x="9390" y="625"/>
                  </a:lnTo>
                  <a:lnTo>
                    <a:pt x="9376" y="614"/>
                  </a:lnTo>
                  <a:lnTo>
                    <a:pt x="9348" y="590"/>
                  </a:lnTo>
                  <a:lnTo>
                    <a:pt x="9337" y="579"/>
                  </a:lnTo>
                  <a:lnTo>
                    <a:pt x="9309" y="555"/>
                  </a:lnTo>
                  <a:lnTo>
                    <a:pt x="9299" y="548"/>
                  </a:lnTo>
                  <a:lnTo>
                    <a:pt x="9271" y="527"/>
                  </a:lnTo>
                  <a:lnTo>
                    <a:pt x="9264" y="520"/>
                  </a:lnTo>
                  <a:lnTo>
                    <a:pt x="9239" y="499"/>
                  </a:lnTo>
                  <a:lnTo>
                    <a:pt x="9232" y="492"/>
                  </a:lnTo>
                  <a:lnTo>
                    <a:pt x="9211" y="478"/>
                  </a:lnTo>
                  <a:lnTo>
                    <a:pt x="9204" y="471"/>
                  </a:lnTo>
                  <a:lnTo>
                    <a:pt x="9183" y="457"/>
                  </a:lnTo>
                  <a:lnTo>
                    <a:pt x="9180" y="453"/>
                  </a:lnTo>
                  <a:lnTo>
                    <a:pt x="9162" y="443"/>
                  </a:lnTo>
                  <a:lnTo>
                    <a:pt x="9159" y="439"/>
                  </a:lnTo>
                  <a:lnTo>
                    <a:pt x="9145" y="429"/>
                  </a:lnTo>
                  <a:cubicBezTo>
                    <a:pt x="9141" y="425"/>
                    <a:pt x="9134" y="422"/>
                    <a:pt x="9127" y="422"/>
                  </a:cubicBezTo>
                  <a:lnTo>
                    <a:pt x="9099" y="422"/>
                  </a:lnTo>
                  <a:cubicBezTo>
                    <a:pt x="9092" y="422"/>
                    <a:pt x="9085" y="422"/>
                    <a:pt x="9078" y="425"/>
                  </a:cubicBezTo>
                  <a:lnTo>
                    <a:pt x="9075" y="425"/>
                  </a:lnTo>
                  <a:cubicBezTo>
                    <a:pt x="9047" y="432"/>
                    <a:pt x="9022" y="446"/>
                    <a:pt x="8998" y="460"/>
                  </a:cubicBezTo>
                  <a:lnTo>
                    <a:pt x="8973" y="474"/>
                  </a:lnTo>
                  <a:lnTo>
                    <a:pt x="8956" y="492"/>
                  </a:lnTo>
                  <a:lnTo>
                    <a:pt x="8952" y="492"/>
                  </a:lnTo>
                  <a:lnTo>
                    <a:pt x="8907" y="523"/>
                  </a:lnTo>
                  <a:lnTo>
                    <a:pt x="8865" y="481"/>
                  </a:lnTo>
                  <a:cubicBezTo>
                    <a:pt x="8857" y="471"/>
                    <a:pt x="8795" y="414"/>
                    <a:pt x="8730" y="414"/>
                  </a:cubicBezTo>
                  <a:cubicBezTo>
                    <a:pt x="8704" y="414"/>
                    <a:pt x="8678" y="423"/>
                    <a:pt x="8654" y="446"/>
                  </a:cubicBezTo>
                  <a:cubicBezTo>
                    <a:pt x="8602" y="499"/>
                    <a:pt x="8528" y="527"/>
                    <a:pt x="8455" y="527"/>
                  </a:cubicBezTo>
                  <a:cubicBezTo>
                    <a:pt x="8378" y="523"/>
                    <a:pt x="8301" y="499"/>
                    <a:pt x="8234" y="457"/>
                  </a:cubicBezTo>
                  <a:cubicBezTo>
                    <a:pt x="8122" y="383"/>
                    <a:pt x="8028" y="278"/>
                    <a:pt x="7972" y="156"/>
                  </a:cubicBezTo>
                  <a:cubicBezTo>
                    <a:pt x="7972" y="149"/>
                    <a:pt x="7968" y="142"/>
                    <a:pt x="7965" y="135"/>
                  </a:cubicBezTo>
                  <a:lnTo>
                    <a:pt x="7961" y="128"/>
                  </a:lnTo>
                  <a:cubicBezTo>
                    <a:pt x="7958" y="124"/>
                    <a:pt x="7954" y="117"/>
                    <a:pt x="7951" y="114"/>
                  </a:cubicBezTo>
                  <a:lnTo>
                    <a:pt x="7947" y="110"/>
                  </a:lnTo>
                  <a:cubicBezTo>
                    <a:pt x="7944" y="103"/>
                    <a:pt x="7937" y="100"/>
                    <a:pt x="7933" y="93"/>
                  </a:cubicBezTo>
                  <a:lnTo>
                    <a:pt x="7926" y="89"/>
                  </a:lnTo>
                  <a:lnTo>
                    <a:pt x="7912" y="79"/>
                  </a:lnTo>
                  <a:lnTo>
                    <a:pt x="7909" y="75"/>
                  </a:lnTo>
                  <a:lnTo>
                    <a:pt x="7485" y="145"/>
                  </a:lnTo>
                  <a:lnTo>
                    <a:pt x="7464" y="135"/>
                  </a:lnTo>
                  <a:cubicBezTo>
                    <a:pt x="7357" y="78"/>
                    <a:pt x="7166" y="1"/>
                    <a:pt x="7044" y="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465" name="Google Shape;6465;p104"/>
            <p:cNvSpPr/>
            <p:nvPr/>
          </p:nvSpPr>
          <p:spPr>
            <a:xfrm>
              <a:off x="2142218" y="2087909"/>
              <a:ext cx="584" cy="339"/>
            </a:xfrm>
            <a:custGeom>
              <a:avLst/>
              <a:gdLst/>
              <a:ahLst/>
              <a:cxnLst/>
              <a:rect l="l" t="t" r="r" b="b"/>
              <a:pathLst>
                <a:path w="43" h="25" extrusionOk="0">
                  <a:moveTo>
                    <a:pt x="42" y="0"/>
                  </a:moveTo>
                  <a:lnTo>
                    <a:pt x="0" y="25"/>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466" name="Google Shape;6466;p104"/>
            <p:cNvSpPr/>
            <p:nvPr/>
          </p:nvSpPr>
          <p:spPr>
            <a:xfrm>
              <a:off x="2143834" y="2087244"/>
              <a:ext cx="339" cy="109"/>
            </a:xfrm>
            <a:custGeom>
              <a:avLst/>
              <a:gdLst/>
              <a:ahLst/>
              <a:cxnLst/>
              <a:rect l="l" t="t" r="r" b="b"/>
              <a:pathLst>
                <a:path w="25" h="8" extrusionOk="0">
                  <a:moveTo>
                    <a:pt x="25"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467" name="Google Shape;6467;p104"/>
            <p:cNvSpPr/>
            <p:nvPr/>
          </p:nvSpPr>
          <p:spPr>
            <a:xfrm>
              <a:off x="2143399" y="2087380"/>
              <a:ext cx="448" cy="204"/>
            </a:xfrm>
            <a:custGeom>
              <a:avLst/>
              <a:gdLst/>
              <a:ahLst/>
              <a:cxnLst/>
              <a:rect l="l" t="t" r="r" b="b"/>
              <a:pathLst>
                <a:path w="33" h="15" extrusionOk="0">
                  <a:moveTo>
                    <a:pt x="32" y="1"/>
                  </a:moveTo>
                  <a:lnTo>
                    <a:pt x="1" y="15"/>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468" name="Google Shape;6468;p104"/>
            <p:cNvSpPr/>
            <p:nvPr/>
          </p:nvSpPr>
          <p:spPr>
            <a:xfrm>
              <a:off x="2141553" y="2088235"/>
              <a:ext cx="679" cy="448"/>
            </a:xfrm>
            <a:custGeom>
              <a:avLst/>
              <a:gdLst/>
              <a:ahLst/>
              <a:cxnLst/>
              <a:rect l="l" t="t" r="r" b="b"/>
              <a:pathLst>
                <a:path w="50" h="33" extrusionOk="0">
                  <a:moveTo>
                    <a:pt x="49" y="1"/>
                  </a:moveTo>
                  <a:lnTo>
                    <a:pt x="0" y="33"/>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469" name="Google Shape;6469;p104"/>
            <p:cNvSpPr/>
            <p:nvPr/>
          </p:nvSpPr>
          <p:spPr>
            <a:xfrm>
              <a:off x="2142829" y="2087624"/>
              <a:ext cx="489" cy="244"/>
            </a:xfrm>
            <a:custGeom>
              <a:avLst/>
              <a:gdLst/>
              <a:ahLst/>
              <a:cxnLst/>
              <a:rect l="l" t="t" r="r" b="b"/>
              <a:pathLst>
                <a:path w="36" h="18" extrusionOk="0">
                  <a:moveTo>
                    <a:pt x="36" y="0"/>
                  </a:moveTo>
                  <a:lnTo>
                    <a:pt x="1" y="18"/>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470" name="Google Shape;6470;p104"/>
            <p:cNvSpPr/>
            <p:nvPr/>
          </p:nvSpPr>
          <p:spPr>
            <a:xfrm>
              <a:off x="2144214" y="2087095"/>
              <a:ext cx="299" cy="109"/>
            </a:xfrm>
            <a:custGeom>
              <a:avLst/>
              <a:gdLst/>
              <a:ahLst/>
              <a:cxnLst/>
              <a:rect l="l" t="t" r="r" b="b"/>
              <a:pathLst>
                <a:path w="22" h="8" extrusionOk="0">
                  <a:moveTo>
                    <a:pt x="22" y="1"/>
                  </a:moveTo>
                  <a:lnTo>
                    <a:pt x="1" y="8"/>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471" name="Google Shape;6471;p104"/>
            <p:cNvSpPr/>
            <p:nvPr/>
          </p:nvSpPr>
          <p:spPr>
            <a:xfrm>
              <a:off x="2144554" y="2087054"/>
              <a:ext cx="244" cy="54"/>
            </a:xfrm>
            <a:custGeom>
              <a:avLst/>
              <a:gdLst/>
              <a:ahLst/>
              <a:cxnLst/>
              <a:rect l="l" t="t" r="r" b="b"/>
              <a:pathLst>
                <a:path w="18" h="4" extrusionOk="0">
                  <a:moveTo>
                    <a:pt x="18" y="0"/>
                  </a:moveTo>
                  <a:lnTo>
                    <a:pt x="0" y="4"/>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472" name="Google Shape;6472;p104"/>
            <p:cNvSpPr/>
            <p:nvPr/>
          </p:nvSpPr>
          <p:spPr>
            <a:xfrm>
              <a:off x="2144839" y="2087000"/>
              <a:ext cx="190" cy="68"/>
            </a:xfrm>
            <a:custGeom>
              <a:avLst/>
              <a:gdLst/>
              <a:ahLst/>
              <a:cxnLst/>
              <a:rect l="l" t="t" r="r" b="b"/>
              <a:pathLst>
                <a:path w="14" h="5" extrusionOk="0">
                  <a:moveTo>
                    <a:pt x="14"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473" name="Google Shape;6473;p104"/>
            <p:cNvSpPr/>
            <p:nvPr/>
          </p:nvSpPr>
          <p:spPr>
            <a:xfrm>
              <a:off x="2222597" y="2124039"/>
              <a:ext cx="584" cy="339"/>
            </a:xfrm>
            <a:custGeom>
              <a:avLst/>
              <a:gdLst/>
              <a:ahLst/>
              <a:cxnLst/>
              <a:rect l="l" t="t" r="r" b="b"/>
              <a:pathLst>
                <a:path w="43" h="25" extrusionOk="0">
                  <a:moveTo>
                    <a:pt x="1" y="0"/>
                  </a:moveTo>
                  <a:cubicBezTo>
                    <a:pt x="15" y="7"/>
                    <a:pt x="29" y="14"/>
                    <a:pt x="42" y="25"/>
                  </a:cubicBezTo>
                  <a:lnTo>
                    <a:pt x="42" y="21"/>
                  </a:lnTo>
                  <a:lnTo>
                    <a:pt x="1"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474" name="Google Shape;6474;p104"/>
            <p:cNvSpPr/>
            <p:nvPr/>
          </p:nvSpPr>
          <p:spPr>
            <a:xfrm>
              <a:off x="2254816" y="2135539"/>
              <a:ext cx="258" cy="204"/>
            </a:xfrm>
            <a:custGeom>
              <a:avLst/>
              <a:gdLst/>
              <a:ahLst/>
              <a:cxnLst/>
              <a:rect l="l" t="t" r="r" b="b"/>
              <a:pathLst>
                <a:path w="19" h="15" extrusionOk="0">
                  <a:moveTo>
                    <a:pt x="1" y="0"/>
                  </a:moveTo>
                  <a:cubicBezTo>
                    <a:pt x="8" y="4"/>
                    <a:pt x="15" y="11"/>
                    <a:pt x="18" y="14"/>
                  </a:cubicBezTo>
                  <a:cubicBezTo>
                    <a:pt x="15" y="11"/>
                    <a:pt x="8" y="4"/>
                    <a:pt x="1"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475" name="Google Shape;6475;p104"/>
            <p:cNvSpPr/>
            <p:nvPr/>
          </p:nvSpPr>
          <p:spPr>
            <a:xfrm>
              <a:off x="2249168" y="2134725"/>
              <a:ext cx="5621" cy="828"/>
            </a:xfrm>
            <a:custGeom>
              <a:avLst/>
              <a:gdLst/>
              <a:ahLst/>
              <a:cxnLst/>
              <a:rect l="l" t="t" r="r" b="b"/>
              <a:pathLst>
                <a:path w="414" h="61" extrusionOk="0">
                  <a:moveTo>
                    <a:pt x="0" y="1"/>
                  </a:moveTo>
                  <a:cubicBezTo>
                    <a:pt x="88" y="1"/>
                    <a:pt x="175" y="4"/>
                    <a:pt x="263" y="15"/>
                  </a:cubicBezTo>
                  <a:cubicBezTo>
                    <a:pt x="315" y="22"/>
                    <a:pt x="368" y="36"/>
                    <a:pt x="413" y="60"/>
                  </a:cubicBezTo>
                  <a:cubicBezTo>
                    <a:pt x="326" y="8"/>
                    <a:pt x="161" y="1"/>
                    <a:pt x="0" y="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476" name="Google Shape;6476;p104"/>
            <p:cNvSpPr/>
            <p:nvPr/>
          </p:nvSpPr>
          <p:spPr>
            <a:xfrm>
              <a:off x="2245787" y="2130597"/>
              <a:ext cx="258" cy="394"/>
            </a:xfrm>
            <a:custGeom>
              <a:avLst/>
              <a:gdLst/>
              <a:ahLst/>
              <a:cxnLst/>
              <a:rect l="l" t="t" r="r" b="b"/>
              <a:pathLst>
                <a:path w="19" h="29" extrusionOk="0">
                  <a:moveTo>
                    <a:pt x="1" y="0"/>
                  </a:moveTo>
                  <a:cubicBezTo>
                    <a:pt x="8" y="7"/>
                    <a:pt x="15" y="18"/>
                    <a:pt x="18" y="28"/>
                  </a:cubicBezTo>
                  <a:cubicBezTo>
                    <a:pt x="15" y="18"/>
                    <a:pt x="8" y="7"/>
                    <a:pt x="1"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477" name="Google Shape;6477;p104"/>
            <p:cNvSpPr/>
            <p:nvPr/>
          </p:nvSpPr>
          <p:spPr>
            <a:xfrm>
              <a:off x="2255387" y="2136110"/>
              <a:ext cx="109" cy="109"/>
            </a:xfrm>
            <a:custGeom>
              <a:avLst/>
              <a:gdLst/>
              <a:ahLst/>
              <a:cxnLst/>
              <a:rect l="l" t="t" r="r" b="b"/>
              <a:pathLst>
                <a:path w="8" h="8" extrusionOk="0">
                  <a:moveTo>
                    <a:pt x="1" y="0"/>
                  </a:moveTo>
                  <a:cubicBezTo>
                    <a:pt x="4" y="0"/>
                    <a:pt x="8" y="4"/>
                    <a:pt x="8" y="7"/>
                  </a:cubicBezTo>
                  <a:cubicBezTo>
                    <a:pt x="8" y="4"/>
                    <a:pt x="4" y="0"/>
                    <a:pt x="1"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478" name="Google Shape;6478;p104"/>
            <p:cNvSpPr/>
            <p:nvPr/>
          </p:nvSpPr>
          <p:spPr>
            <a:xfrm>
              <a:off x="2255577" y="2136340"/>
              <a:ext cx="68" cy="204"/>
            </a:xfrm>
            <a:custGeom>
              <a:avLst/>
              <a:gdLst/>
              <a:ahLst/>
              <a:cxnLst/>
              <a:rect l="l" t="t" r="r" b="b"/>
              <a:pathLst>
                <a:path w="5" h="15" extrusionOk="0">
                  <a:moveTo>
                    <a:pt x="1" y="1"/>
                  </a:moveTo>
                  <a:cubicBezTo>
                    <a:pt x="1" y="4"/>
                    <a:pt x="4" y="8"/>
                    <a:pt x="4" y="15"/>
                  </a:cubicBezTo>
                  <a:cubicBezTo>
                    <a:pt x="4" y="8"/>
                    <a:pt x="1" y="4"/>
                    <a:pt x="1" y="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479" name="Google Shape;6479;p104"/>
            <p:cNvSpPr/>
            <p:nvPr/>
          </p:nvSpPr>
          <p:spPr>
            <a:xfrm>
              <a:off x="2253866" y="2114331"/>
              <a:ext cx="1154" cy="1684"/>
            </a:xfrm>
            <a:custGeom>
              <a:avLst/>
              <a:gdLst/>
              <a:ahLst/>
              <a:cxnLst/>
              <a:rect l="l" t="t" r="r" b="b"/>
              <a:pathLst>
                <a:path w="85" h="124" extrusionOk="0">
                  <a:moveTo>
                    <a:pt x="1" y="1"/>
                  </a:moveTo>
                  <a:cubicBezTo>
                    <a:pt x="8" y="53"/>
                    <a:pt x="36" y="99"/>
                    <a:pt x="85" y="123"/>
                  </a:cubicBezTo>
                  <a:cubicBezTo>
                    <a:pt x="36" y="99"/>
                    <a:pt x="8" y="53"/>
                    <a:pt x="1" y="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480" name="Google Shape;6480;p104"/>
            <p:cNvSpPr/>
            <p:nvPr/>
          </p:nvSpPr>
          <p:spPr>
            <a:xfrm>
              <a:off x="2266710" y="2104216"/>
              <a:ext cx="204" cy="204"/>
            </a:xfrm>
            <a:custGeom>
              <a:avLst/>
              <a:gdLst/>
              <a:ahLst/>
              <a:cxnLst/>
              <a:rect l="l" t="t" r="r" b="b"/>
              <a:pathLst>
                <a:path w="15" h="15" extrusionOk="0">
                  <a:moveTo>
                    <a:pt x="14" y="0"/>
                  </a:moveTo>
                  <a:lnTo>
                    <a:pt x="14" y="0"/>
                  </a:lnTo>
                  <a:lnTo>
                    <a:pt x="0" y="14"/>
                  </a:lnTo>
                  <a:lnTo>
                    <a:pt x="11" y="4"/>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481" name="Google Shape;6481;p104"/>
            <p:cNvSpPr/>
            <p:nvPr/>
          </p:nvSpPr>
          <p:spPr>
            <a:xfrm>
              <a:off x="2254246" y="2120468"/>
              <a:ext cx="394" cy="3014"/>
            </a:xfrm>
            <a:custGeom>
              <a:avLst/>
              <a:gdLst/>
              <a:ahLst/>
              <a:cxnLst/>
              <a:rect l="l" t="t" r="r" b="b"/>
              <a:pathLst>
                <a:path w="29" h="222" extrusionOk="0">
                  <a:moveTo>
                    <a:pt x="1" y="221"/>
                  </a:moveTo>
                  <a:cubicBezTo>
                    <a:pt x="4" y="148"/>
                    <a:pt x="15" y="74"/>
                    <a:pt x="29" y="1"/>
                  </a:cubicBezTo>
                  <a:cubicBezTo>
                    <a:pt x="15" y="74"/>
                    <a:pt x="4" y="148"/>
                    <a:pt x="1" y="22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482" name="Google Shape;6482;p104"/>
            <p:cNvSpPr/>
            <p:nvPr/>
          </p:nvSpPr>
          <p:spPr>
            <a:xfrm>
              <a:off x="2223167" y="2124365"/>
              <a:ext cx="1724" cy="1819"/>
            </a:xfrm>
            <a:custGeom>
              <a:avLst/>
              <a:gdLst/>
              <a:ahLst/>
              <a:cxnLst/>
              <a:rect l="l" t="t" r="r" b="b"/>
              <a:pathLst>
                <a:path w="127" h="134" extrusionOk="0">
                  <a:moveTo>
                    <a:pt x="126" y="134"/>
                  </a:moveTo>
                  <a:cubicBezTo>
                    <a:pt x="95" y="81"/>
                    <a:pt x="49" y="36"/>
                    <a:pt x="0" y="1"/>
                  </a:cubicBezTo>
                  <a:lnTo>
                    <a:pt x="0" y="1"/>
                  </a:lnTo>
                  <a:cubicBezTo>
                    <a:pt x="49" y="36"/>
                    <a:pt x="95" y="81"/>
                    <a:pt x="126" y="134"/>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483" name="Google Shape;6483;p104"/>
            <p:cNvSpPr/>
            <p:nvPr/>
          </p:nvSpPr>
          <p:spPr>
            <a:xfrm>
              <a:off x="2232196" y="2130353"/>
              <a:ext cx="489" cy="543"/>
            </a:xfrm>
            <a:custGeom>
              <a:avLst/>
              <a:gdLst/>
              <a:ahLst/>
              <a:cxnLst/>
              <a:rect l="l" t="t" r="r" b="b"/>
              <a:pathLst>
                <a:path w="36" h="40" extrusionOk="0">
                  <a:moveTo>
                    <a:pt x="1" y="1"/>
                  </a:moveTo>
                  <a:lnTo>
                    <a:pt x="1" y="1"/>
                  </a:lnTo>
                  <a:cubicBezTo>
                    <a:pt x="18" y="32"/>
                    <a:pt x="32" y="39"/>
                    <a:pt x="36" y="39"/>
                  </a:cubicBezTo>
                  <a:cubicBezTo>
                    <a:pt x="36" y="39"/>
                    <a:pt x="18" y="32"/>
                    <a:pt x="1" y="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484" name="Google Shape;6484;p104"/>
            <p:cNvSpPr/>
            <p:nvPr/>
          </p:nvSpPr>
          <p:spPr>
            <a:xfrm>
              <a:off x="2255156" y="2135770"/>
              <a:ext cx="204" cy="204"/>
            </a:xfrm>
            <a:custGeom>
              <a:avLst/>
              <a:gdLst/>
              <a:ahLst/>
              <a:cxnLst/>
              <a:rect l="l" t="t" r="r" b="b"/>
              <a:pathLst>
                <a:path w="15" h="15" extrusionOk="0">
                  <a:moveTo>
                    <a:pt x="0" y="1"/>
                  </a:moveTo>
                  <a:cubicBezTo>
                    <a:pt x="4" y="4"/>
                    <a:pt x="11" y="11"/>
                    <a:pt x="14" y="15"/>
                  </a:cubicBezTo>
                  <a:cubicBezTo>
                    <a:pt x="11" y="11"/>
                    <a:pt x="4" y="4"/>
                    <a:pt x="0" y="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485" name="Google Shape;6485;p104"/>
            <p:cNvSpPr/>
            <p:nvPr/>
          </p:nvSpPr>
          <p:spPr>
            <a:xfrm>
              <a:off x="2245027" y="2130068"/>
              <a:ext cx="353" cy="163"/>
            </a:xfrm>
            <a:custGeom>
              <a:avLst/>
              <a:gdLst/>
              <a:ahLst/>
              <a:cxnLst/>
              <a:rect l="l" t="t" r="r" b="b"/>
              <a:pathLst>
                <a:path w="26" h="12" extrusionOk="0">
                  <a:moveTo>
                    <a:pt x="1" y="1"/>
                  </a:moveTo>
                  <a:cubicBezTo>
                    <a:pt x="8" y="1"/>
                    <a:pt x="18" y="4"/>
                    <a:pt x="25" y="11"/>
                  </a:cubicBezTo>
                  <a:cubicBezTo>
                    <a:pt x="18" y="4"/>
                    <a:pt x="8" y="1"/>
                    <a:pt x="1" y="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486" name="Google Shape;6486;p104"/>
            <p:cNvSpPr/>
            <p:nvPr/>
          </p:nvSpPr>
          <p:spPr>
            <a:xfrm>
              <a:off x="2221497" y="2123510"/>
              <a:ext cx="1208" cy="584"/>
            </a:xfrm>
            <a:custGeom>
              <a:avLst/>
              <a:gdLst/>
              <a:ahLst/>
              <a:cxnLst/>
              <a:rect l="l" t="t" r="r" b="b"/>
              <a:pathLst>
                <a:path w="89" h="43" extrusionOk="0">
                  <a:moveTo>
                    <a:pt x="1" y="1"/>
                  </a:moveTo>
                  <a:lnTo>
                    <a:pt x="1" y="18"/>
                  </a:lnTo>
                  <a:cubicBezTo>
                    <a:pt x="26" y="18"/>
                    <a:pt x="54" y="27"/>
                    <a:pt x="79" y="38"/>
                  </a:cubicBezTo>
                  <a:lnTo>
                    <a:pt x="79" y="38"/>
                  </a:lnTo>
                  <a:lnTo>
                    <a:pt x="1" y="1"/>
                  </a:lnTo>
                  <a:close/>
                  <a:moveTo>
                    <a:pt x="79" y="38"/>
                  </a:moveTo>
                  <a:lnTo>
                    <a:pt x="88" y="43"/>
                  </a:lnTo>
                  <a:cubicBezTo>
                    <a:pt x="85" y="41"/>
                    <a:pt x="82" y="40"/>
                    <a:pt x="79" y="38"/>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487" name="Google Shape;6487;p104"/>
            <p:cNvSpPr/>
            <p:nvPr/>
          </p:nvSpPr>
          <p:spPr>
            <a:xfrm>
              <a:off x="2244552" y="2129973"/>
              <a:ext cx="448" cy="68"/>
            </a:xfrm>
            <a:custGeom>
              <a:avLst/>
              <a:gdLst/>
              <a:ahLst/>
              <a:cxnLst/>
              <a:rect l="l" t="t" r="r" b="b"/>
              <a:pathLst>
                <a:path w="33" h="5" extrusionOk="0">
                  <a:moveTo>
                    <a:pt x="1" y="1"/>
                  </a:moveTo>
                  <a:cubicBezTo>
                    <a:pt x="11" y="1"/>
                    <a:pt x="22" y="4"/>
                    <a:pt x="32" y="4"/>
                  </a:cubicBezTo>
                  <a:cubicBezTo>
                    <a:pt x="22" y="4"/>
                    <a:pt x="11" y="1"/>
                    <a:pt x="1" y="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488" name="Google Shape;6488;p104"/>
            <p:cNvSpPr/>
            <p:nvPr/>
          </p:nvSpPr>
          <p:spPr>
            <a:xfrm>
              <a:off x="2244036" y="2130027"/>
              <a:ext cx="434" cy="54"/>
            </a:xfrm>
            <a:custGeom>
              <a:avLst/>
              <a:gdLst/>
              <a:ahLst/>
              <a:cxnLst/>
              <a:rect l="l" t="t" r="r" b="b"/>
              <a:pathLst>
                <a:path w="32" h="4" extrusionOk="0">
                  <a:moveTo>
                    <a:pt x="0" y="4"/>
                  </a:moveTo>
                  <a:cubicBezTo>
                    <a:pt x="11" y="0"/>
                    <a:pt x="21" y="0"/>
                    <a:pt x="32" y="0"/>
                  </a:cubicBezTo>
                  <a:cubicBezTo>
                    <a:pt x="21" y="0"/>
                    <a:pt x="11" y="0"/>
                    <a:pt x="0" y="4"/>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489" name="Google Shape;6489;p104"/>
            <p:cNvSpPr/>
            <p:nvPr/>
          </p:nvSpPr>
          <p:spPr>
            <a:xfrm>
              <a:off x="2255672" y="2136625"/>
              <a:ext cx="14" cy="353"/>
            </a:xfrm>
            <a:custGeom>
              <a:avLst/>
              <a:gdLst/>
              <a:ahLst/>
              <a:cxnLst/>
              <a:rect l="l" t="t" r="r" b="b"/>
              <a:pathLst>
                <a:path w="1" h="26" extrusionOk="0">
                  <a:moveTo>
                    <a:pt x="1" y="1"/>
                  </a:moveTo>
                  <a:cubicBezTo>
                    <a:pt x="1" y="8"/>
                    <a:pt x="1" y="18"/>
                    <a:pt x="1" y="25"/>
                  </a:cubicBezTo>
                  <a:cubicBezTo>
                    <a:pt x="1" y="18"/>
                    <a:pt x="1" y="8"/>
                    <a:pt x="1" y="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490" name="Google Shape;6490;p104"/>
            <p:cNvSpPr/>
            <p:nvPr/>
          </p:nvSpPr>
          <p:spPr>
            <a:xfrm>
              <a:off x="2245407" y="2130258"/>
              <a:ext cx="353" cy="258"/>
            </a:xfrm>
            <a:custGeom>
              <a:avLst/>
              <a:gdLst/>
              <a:ahLst/>
              <a:cxnLst/>
              <a:rect l="l" t="t" r="r" b="b"/>
              <a:pathLst>
                <a:path w="26" h="19" extrusionOk="0">
                  <a:moveTo>
                    <a:pt x="1" y="1"/>
                  </a:moveTo>
                  <a:cubicBezTo>
                    <a:pt x="11" y="4"/>
                    <a:pt x="18" y="11"/>
                    <a:pt x="25" y="18"/>
                  </a:cubicBezTo>
                  <a:cubicBezTo>
                    <a:pt x="18" y="11"/>
                    <a:pt x="11" y="4"/>
                    <a:pt x="1" y="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491" name="Google Shape;6491;p104"/>
            <p:cNvSpPr/>
            <p:nvPr/>
          </p:nvSpPr>
          <p:spPr>
            <a:xfrm>
              <a:off x="2222638" y="2124039"/>
              <a:ext cx="543" cy="339"/>
            </a:xfrm>
            <a:custGeom>
              <a:avLst/>
              <a:gdLst/>
              <a:ahLst/>
              <a:cxnLst/>
              <a:rect l="l" t="t" r="r" b="b"/>
              <a:pathLst>
                <a:path w="40" h="25" extrusionOk="0">
                  <a:moveTo>
                    <a:pt x="1" y="0"/>
                  </a:moveTo>
                  <a:lnTo>
                    <a:pt x="1" y="0"/>
                  </a:lnTo>
                  <a:cubicBezTo>
                    <a:pt x="15" y="7"/>
                    <a:pt x="29" y="18"/>
                    <a:pt x="39" y="25"/>
                  </a:cubicBezTo>
                  <a:lnTo>
                    <a:pt x="39" y="25"/>
                  </a:lnTo>
                  <a:cubicBezTo>
                    <a:pt x="29" y="18"/>
                    <a:pt x="15" y="7"/>
                    <a:pt x="1"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492" name="Google Shape;6492;p104"/>
            <p:cNvSpPr/>
            <p:nvPr/>
          </p:nvSpPr>
          <p:spPr>
            <a:xfrm>
              <a:off x="2257057" y="2062194"/>
              <a:ext cx="14" cy="68"/>
            </a:xfrm>
            <a:custGeom>
              <a:avLst/>
              <a:gdLst/>
              <a:ahLst/>
              <a:cxnLst/>
              <a:rect l="l" t="t" r="r" b="b"/>
              <a:pathLst>
                <a:path w="1" h="5" extrusionOk="0">
                  <a:moveTo>
                    <a:pt x="1" y="4"/>
                  </a:moveTo>
                  <a:lnTo>
                    <a:pt x="1"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493" name="Google Shape;6493;p104"/>
            <p:cNvSpPr/>
            <p:nvPr/>
          </p:nvSpPr>
          <p:spPr>
            <a:xfrm>
              <a:off x="2256907" y="2061678"/>
              <a:ext cx="14" cy="149"/>
            </a:xfrm>
            <a:custGeom>
              <a:avLst/>
              <a:gdLst/>
              <a:ahLst/>
              <a:cxnLst/>
              <a:rect l="l" t="t" r="r" b="b"/>
              <a:pathLst>
                <a:path w="1" h="11" extrusionOk="0">
                  <a:moveTo>
                    <a:pt x="1" y="11"/>
                  </a:moveTo>
                  <a:lnTo>
                    <a:pt x="1" y="4"/>
                  </a:lnTo>
                  <a:cubicBezTo>
                    <a:pt x="1" y="0"/>
                    <a:pt x="1" y="7"/>
                    <a:pt x="1" y="1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494" name="Google Shape;6494;p104"/>
            <p:cNvSpPr/>
            <p:nvPr/>
          </p:nvSpPr>
          <p:spPr>
            <a:xfrm>
              <a:off x="2215659" y="2008291"/>
              <a:ext cx="3802" cy="380"/>
            </a:xfrm>
            <a:custGeom>
              <a:avLst/>
              <a:gdLst/>
              <a:ahLst/>
              <a:cxnLst/>
              <a:rect l="l" t="t" r="r" b="b"/>
              <a:pathLst>
                <a:path w="280" h="28" extrusionOk="0">
                  <a:moveTo>
                    <a:pt x="280" y="1"/>
                  </a:moveTo>
                  <a:cubicBezTo>
                    <a:pt x="242" y="20"/>
                    <a:pt x="201" y="28"/>
                    <a:pt x="159" y="28"/>
                  </a:cubicBezTo>
                  <a:lnTo>
                    <a:pt x="159" y="28"/>
                  </a:lnTo>
                  <a:cubicBezTo>
                    <a:pt x="106" y="28"/>
                    <a:pt x="51" y="16"/>
                    <a:pt x="0" y="4"/>
                  </a:cubicBezTo>
                  <a:lnTo>
                    <a:pt x="0" y="4"/>
                  </a:lnTo>
                  <a:cubicBezTo>
                    <a:pt x="49" y="16"/>
                    <a:pt x="104" y="28"/>
                    <a:pt x="158" y="28"/>
                  </a:cubicBezTo>
                  <a:cubicBezTo>
                    <a:pt x="158" y="28"/>
                    <a:pt x="159" y="28"/>
                    <a:pt x="159" y="28"/>
                  </a:cubicBezTo>
                  <a:lnTo>
                    <a:pt x="159" y="28"/>
                  </a:lnTo>
                  <a:cubicBezTo>
                    <a:pt x="159" y="28"/>
                    <a:pt x="159" y="28"/>
                    <a:pt x="159" y="28"/>
                  </a:cubicBezTo>
                  <a:cubicBezTo>
                    <a:pt x="201" y="28"/>
                    <a:pt x="242" y="21"/>
                    <a:pt x="280" y="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495" name="Google Shape;6495;p104"/>
            <p:cNvSpPr/>
            <p:nvPr/>
          </p:nvSpPr>
          <p:spPr>
            <a:xfrm>
              <a:off x="2196121" y="2010572"/>
              <a:ext cx="15601" cy="3014"/>
            </a:xfrm>
            <a:custGeom>
              <a:avLst/>
              <a:gdLst/>
              <a:ahLst/>
              <a:cxnLst/>
              <a:rect l="l" t="t" r="r" b="b"/>
              <a:pathLst>
                <a:path w="1149" h="222" extrusionOk="0">
                  <a:moveTo>
                    <a:pt x="0" y="1"/>
                  </a:moveTo>
                  <a:lnTo>
                    <a:pt x="1135" y="221"/>
                  </a:lnTo>
                  <a:lnTo>
                    <a:pt x="1149" y="158"/>
                  </a:lnTo>
                  <a:lnTo>
                    <a:pt x="1135" y="22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496" name="Google Shape;6496;p104"/>
            <p:cNvSpPr/>
            <p:nvPr/>
          </p:nvSpPr>
          <p:spPr>
            <a:xfrm>
              <a:off x="2183955" y="2018040"/>
              <a:ext cx="14" cy="299"/>
            </a:xfrm>
            <a:custGeom>
              <a:avLst/>
              <a:gdLst/>
              <a:ahLst/>
              <a:cxnLst/>
              <a:rect l="l" t="t" r="r" b="b"/>
              <a:pathLst>
                <a:path w="1" h="22" extrusionOk="0">
                  <a:moveTo>
                    <a:pt x="0" y="21"/>
                  </a:moveTo>
                  <a:lnTo>
                    <a:pt x="0" y="0"/>
                  </a:lnTo>
                  <a:cubicBezTo>
                    <a:pt x="0" y="7"/>
                    <a:pt x="0" y="14"/>
                    <a:pt x="0" y="2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497" name="Google Shape;6497;p104"/>
            <p:cNvSpPr/>
            <p:nvPr/>
          </p:nvSpPr>
          <p:spPr>
            <a:xfrm>
              <a:off x="2183806" y="2016845"/>
              <a:ext cx="68" cy="258"/>
            </a:xfrm>
            <a:custGeom>
              <a:avLst/>
              <a:gdLst/>
              <a:ahLst/>
              <a:cxnLst/>
              <a:rect l="l" t="t" r="r" b="b"/>
              <a:pathLst>
                <a:path w="5" h="19" extrusionOk="0">
                  <a:moveTo>
                    <a:pt x="4" y="18"/>
                  </a:moveTo>
                  <a:cubicBezTo>
                    <a:pt x="4" y="11"/>
                    <a:pt x="4" y="4"/>
                    <a:pt x="1" y="1"/>
                  </a:cubicBezTo>
                  <a:cubicBezTo>
                    <a:pt x="4" y="4"/>
                    <a:pt x="4" y="11"/>
                    <a:pt x="4" y="18"/>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498" name="Google Shape;6498;p104"/>
            <p:cNvSpPr/>
            <p:nvPr/>
          </p:nvSpPr>
          <p:spPr>
            <a:xfrm>
              <a:off x="2183901" y="2017469"/>
              <a:ext cx="68" cy="244"/>
            </a:xfrm>
            <a:custGeom>
              <a:avLst/>
              <a:gdLst/>
              <a:ahLst/>
              <a:cxnLst/>
              <a:rect l="l" t="t" r="r" b="b"/>
              <a:pathLst>
                <a:path w="5" h="18" extrusionOk="0">
                  <a:moveTo>
                    <a:pt x="4" y="0"/>
                  </a:moveTo>
                  <a:cubicBezTo>
                    <a:pt x="1" y="4"/>
                    <a:pt x="1" y="11"/>
                    <a:pt x="4" y="18"/>
                  </a:cubicBezTo>
                  <a:lnTo>
                    <a:pt x="4"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499" name="Google Shape;6499;p104"/>
            <p:cNvSpPr/>
            <p:nvPr/>
          </p:nvSpPr>
          <p:spPr>
            <a:xfrm>
              <a:off x="2183955" y="2018651"/>
              <a:ext cx="14" cy="299"/>
            </a:xfrm>
            <a:custGeom>
              <a:avLst/>
              <a:gdLst/>
              <a:ahLst/>
              <a:cxnLst/>
              <a:rect l="l" t="t" r="r" b="b"/>
              <a:pathLst>
                <a:path w="1" h="22" extrusionOk="0">
                  <a:moveTo>
                    <a:pt x="0" y="1"/>
                  </a:moveTo>
                  <a:lnTo>
                    <a:pt x="0" y="22"/>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500" name="Google Shape;6500;p104"/>
            <p:cNvSpPr/>
            <p:nvPr/>
          </p:nvSpPr>
          <p:spPr>
            <a:xfrm>
              <a:off x="2139218" y="2081542"/>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501" name="Google Shape;6501;p104"/>
            <p:cNvSpPr/>
            <p:nvPr/>
          </p:nvSpPr>
          <p:spPr>
            <a:xfrm>
              <a:off x="2144404" y="2078500"/>
              <a:ext cx="109" cy="54"/>
            </a:xfrm>
            <a:custGeom>
              <a:avLst/>
              <a:gdLst/>
              <a:ahLst/>
              <a:cxnLst/>
              <a:rect l="l" t="t" r="r" b="b"/>
              <a:pathLst>
                <a:path w="8" h="4" extrusionOk="0">
                  <a:moveTo>
                    <a:pt x="1" y="4"/>
                  </a:moveTo>
                  <a:lnTo>
                    <a:pt x="8"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502" name="Google Shape;6502;p104"/>
            <p:cNvSpPr/>
            <p:nvPr/>
          </p:nvSpPr>
          <p:spPr>
            <a:xfrm>
              <a:off x="2143644" y="2078785"/>
              <a:ext cx="204" cy="109"/>
            </a:xfrm>
            <a:custGeom>
              <a:avLst/>
              <a:gdLst/>
              <a:ahLst/>
              <a:cxnLst/>
              <a:rect l="l" t="t" r="r" b="b"/>
              <a:pathLst>
                <a:path w="15" h="8" extrusionOk="0">
                  <a:moveTo>
                    <a:pt x="0" y="7"/>
                  </a:moveTo>
                  <a:lnTo>
                    <a:pt x="14"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503" name="Google Shape;6503;p104"/>
            <p:cNvSpPr/>
            <p:nvPr/>
          </p:nvSpPr>
          <p:spPr>
            <a:xfrm>
              <a:off x="2182910" y="2023783"/>
              <a:ext cx="149" cy="299"/>
            </a:xfrm>
            <a:custGeom>
              <a:avLst/>
              <a:gdLst/>
              <a:ahLst/>
              <a:cxnLst/>
              <a:rect l="l" t="t" r="r" b="b"/>
              <a:pathLst>
                <a:path w="11" h="22" extrusionOk="0">
                  <a:moveTo>
                    <a:pt x="0" y="22"/>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504" name="Google Shape;6504;p104"/>
            <p:cNvSpPr/>
            <p:nvPr/>
          </p:nvSpPr>
          <p:spPr>
            <a:xfrm>
              <a:off x="2143929" y="2078690"/>
              <a:ext cx="149" cy="54"/>
            </a:xfrm>
            <a:custGeom>
              <a:avLst/>
              <a:gdLst/>
              <a:ahLst/>
              <a:cxnLst/>
              <a:rect l="l" t="t" r="r" b="b"/>
              <a:pathLst>
                <a:path w="11" h="4" extrusionOk="0">
                  <a:moveTo>
                    <a:pt x="0" y="4"/>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505" name="Google Shape;6505;p104"/>
            <p:cNvSpPr/>
            <p:nvPr/>
          </p:nvSpPr>
          <p:spPr>
            <a:xfrm>
              <a:off x="2182720" y="2024163"/>
              <a:ext cx="149" cy="258"/>
            </a:xfrm>
            <a:custGeom>
              <a:avLst/>
              <a:gdLst/>
              <a:ahLst/>
              <a:cxnLst/>
              <a:rect l="l" t="t" r="r" b="b"/>
              <a:pathLst>
                <a:path w="11" h="19" extrusionOk="0">
                  <a:moveTo>
                    <a:pt x="0" y="18"/>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506" name="Google Shape;6506;p104"/>
            <p:cNvSpPr/>
            <p:nvPr/>
          </p:nvSpPr>
          <p:spPr>
            <a:xfrm>
              <a:off x="2183765" y="2020932"/>
              <a:ext cx="54" cy="299"/>
            </a:xfrm>
            <a:custGeom>
              <a:avLst/>
              <a:gdLst/>
              <a:ahLst/>
              <a:cxnLst/>
              <a:rect l="l" t="t" r="r" b="b"/>
              <a:pathLst>
                <a:path w="4" h="22" extrusionOk="0">
                  <a:moveTo>
                    <a:pt x="0" y="22"/>
                  </a:moveTo>
                  <a:cubicBezTo>
                    <a:pt x="0" y="15"/>
                    <a:pt x="4" y="8"/>
                    <a:pt x="4" y="1"/>
                  </a:cubicBezTo>
                  <a:cubicBezTo>
                    <a:pt x="4" y="8"/>
                    <a:pt x="0" y="15"/>
                    <a:pt x="0" y="22"/>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507" name="Google Shape;6507;p104"/>
            <p:cNvSpPr/>
            <p:nvPr/>
          </p:nvSpPr>
          <p:spPr>
            <a:xfrm>
              <a:off x="2144839" y="2078405"/>
              <a:ext cx="774" cy="489"/>
            </a:xfrm>
            <a:custGeom>
              <a:avLst/>
              <a:gdLst/>
              <a:ahLst/>
              <a:cxnLst/>
              <a:rect l="l" t="t" r="r" b="b"/>
              <a:pathLst>
                <a:path w="57" h="36" extrusionOk="0">
                  <a:moveTo>
                    <a:pt x="0" y="0"/>
                  </a:moveTo>
                  <a:cubicBezTo>
                    <a:pt x="21" y="11"/>
                    <a:pt x="39" y="21"/>
                    <a:pt x="56" y="35"/>
                  </a:cubicBezTo>
                  <a:cubicBezTo>
                    <a:pt x="39" y="21"/>
                    <a:pt x="21" y="11"/>
                    <a:pt x="0"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508" name="Google Shape;6508;p104"/>
            <p:cNvSpPr/>
            <p:nvPr/>
          </p:nvSpPr>
          <p:spPr>
            <a:xfrm>
              <a:off x="2183670" y="2021461"/>
              <a:ext cx="54" cy="299"/>
            </a:xfrm>
            <a:custGeom>
              <a:avLst/>
              <a:gdLst/>
              <a:ahLst/>
              <a:cxnLst/>
              <a:rect l="l" t="t" r="r" b="b"/>
              <a:pathLst>
                <a:path w="4" h="22" extrusionOk="0">
                  <a:moveTo>
                    <a:pt x="0" y="21"/>
                  </a:moveTo>
                  <a:cubicBezTo>
                    <a:pt x="0" y="14"/>
                    <a:pt x="4" y="7"/>
                    <a:pt x="4" y="0"/>
                  </a:cubicBezTo>
                  <a:cubicBezTo>
                    <a:pt x="4" y="7"/>
                    <a:pt x="0" y="14"/>
                    <a:pt x="0" y="2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509" name="Google Shape;6509;p104"/>
            <p:cNvSpPr/>
            <p:nvPr/>
          </p:nvSpPr>
          <p:spPr>
            <a:xfrm>
              <a:off x="2143359" y="2078975"/>
              <a:ext cx="149" cy="54"/>
            </a:xfrm>
            <a:custGeom>
              <a:avLst/>
              <a:gdLst/>
              <a:ahLst/>
              <a:cxnLst/>
              <a:rect l="l" t="t" r="r" b="b"/>
              <a:pathLst>
                <a:path w="11" h="4" extrusionOk="0">
                  <a:moveTo>
                    <a:pt x="0" y="4"/>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510" name="Google Shape;6510;p104"/>
            <p:cNvSpPr/>
            <p:nvPr/>
          </p:nvSpPr>
          <p:spPr>
            <a:xfrm>
              <a:off x="2183236" y="2022928"/>
              <a:ext cx="109" cy="299"/>
            </a:xfrm>
            <a:custGeom>
              <a:avLst/>
              <a:gdLst/>
              <a:ahLst/>
              <a:cxnLst/>
              <a:rect l="l" t="t" r="r" b="b"/>
              <a:pathLst>
                <a:path w="8" h="22" extrusionOk="0">
                  <a:moveTo>
                    <a:pt x="1" y="22"/>
                  </a:moveTo>
                  <a:cubicBezTo>
                    <a:pt x="4" y="15"/>
                    <a:pt x="8" y="8"/>
                    <a:pt x="8" y="1"/>
                  </a:cubicBezTo>
                  <a:cubicBezTo>
                    <a:pt x="8" y="8"/>
                    <a:pt x="4" y="15"/>
                    <a:pt x="1" y="22"/>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511" name="Google Shape;6511;p104"/>
            <p:cNvSpPr/>
            <p:nvPr/>
          </p:nvSpPr>
          <p:spPr>
            <a:xfrm>
              <a:off x="2142979" y="2079111"/>
              <a:ext cx="204" cy="109"/>
            </a:xfrm>
            <a:custGeom>
              <a:avLst/>
              <a:gdLst/>
              <a:ahLst/>
              <a:cxnLst/>
              <a:rect l="l" t="t" r="r" b="b"/>
              <a:pathLst>
                <a:path w="15" h="8" extrusionOk="0">
                  <a:moveTo>
                    <a:pt x="0" y="8"/>
                  </a:moveTo>
                  <a:lnTo>
                    <a:pt x="14"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512" name="Google Shape;6512;p104"/>
            <p:cNvSpPr/>
            <p:nvPr/>
          </p:nvSpPr>
          <p:spPr>
            <a:xfrm>
              <a:off x="2183521" y="2021977"/>
              <a:ext cx="109" cy="299"/>
            </a:xfrm>
            <a:custGeom>
              <a:avLst/>
              <a:gdLst/>
              <a:ahLst/>
              <a:cxnLst/>
              <a:rect l="l" t="t" r="r" b="b"/>
              <a:pathLst>
                <a:path w="8" h="22" extrusionOk="0">
                  <a:moveTo>
                    <a:pt x="8" y="1"/>
                  </a:moveTo>
                  <a:cubicBezTo>
                    <a:pt x="4" y="8"/>
                    <a:pt x="1" y="15"/>
                    <a:pt x="1" y="22"/>
                  </a:cubicBezTo>
                  <a:cubicBezTo>
                    <a:pt x="4" y="15"/>
                    <a:pt x="4" y="8"/>
                    <a:pt x="8" y="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513" name="Google Shape;6513;p104"/>
            <p:cNvSpPr/>
            <p:nvPr/>
          </p:nvSpPr>
          <p:spPr>
            <a:xfrm>
              <a:off x="2183385" y="2022452"/>
              <a:ext cx="109" cy="299"/>
            </a:xfrm>
            <a:custGeom>
              <a:avLst/>
              <a:gdLst/>
              <a:ahLst/>
              <a:cxnLst/>
              <a:rect l="l" t="t" r="r" b="b"/>
              <a:pathLst>
                <a:path w="8" h="22" extrusionOk="0">
                  <a:moveTo>
                    <a:pt x="0" y="22"/>
                  </a:moveTo>
                  <a:cubicBezTo>
                    <a:pt x="4" y="15"/>
                    <a:pt x="7" y="8"/>
                    <a:pt x="7" y="1"/>
                  </a:cubicBezTo>
                  <a:cubicBezTo>
                    <a:pt x="7" y="8"/>
                    <a:pt x="4" y="15"/>
                    <a:pt x="0" y="22"/>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514" name="Google Shape;6514;p104"/>
            <p:cNvSpPr/>
            <p:nvPr/>
          </p:nvSpPr>
          <p:spPr>
            <a:xfrm>
              <a:off x="2183100" y="2023362"/>
              <a:ext cx="109" cy="299"/>
            </a:xfrm>
            <a:custGeom>
              <a:avLst/>
              <a:gdLst/>
              <a:ahLst/>
              <a:cxnLst/>
              <a:rect l="l" t="t" r="r" b="b"/>
              <a:pathLst>
                <a:path w="8" h="22" extrusionOk="0">
                  <a:moveTo>
                    <a:pt x="0" y="21"/>
                  </a:moveTo>
                  <a:cubicBezTo>
                    <a:pt x="4" y="14"/>
                    <a:pt x="4" y="7"/>
                    <a:pt x="7" y="0"/>
                  </a:cubicBezTo>
                  <a:cubicBezTo>
                    <a:pt x="4" y="7"/>
                    <a:pt x="4" y="14"/>
                    <a:pt x="0" y="2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515" name="Google Shape;6515;p104"/>
            <p:cNvSpPr/>
            <p:nvPr/>
          </p:nvSpPr>
          <p:spPr>
            <a:xfrm>
              <a:off x="2139462" y="2081107"/>
              <a:ext cx="394" cy="299"/>
            </a:xfrm>
            <a:custGeom>
              <a:avLst/>
              <a:gdLst/>
              <a:ahLst/>
              <a:cxnLst/>
              <a:rect l="l" t="t" r="r" b="b"/>
              <a:pathLst>
                <a:path w="29" h="22" extrusionOk="0">
                  <a:moveTo>
                    <a:pt x="0" y="22"/>
                  </a:moveTo>
                  <a:lnTo>
                    <a:pt x="28"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516" name="Google Shape;6516;p104"/>
            <p:cNvSpPr/>
            <p:nvPr/>
          </p:nvSpPr>
          <p:spPr>
            <a:xfrm>
              <a:off x="2140127" y="2080727"/>
              <a:ext cx="339" cy="258"/>
            </a:xfrm>
            <a:custGeom>
              <a:avLst/>
              <a:gdLst/>
              <a:ahLst/>
              <a:cxnLst/>
              <a:rect l="l" t="t" r="r" b="b"/>
              <a:pathLst>
                <a:path w="25" h="19" extrusionOk="0">
                  <a:moveTo>
                    <a:pt x="0" y="18"/>
                  </a:moveTo>
                  <a:lnTo>
                    <a:pt x="25"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517" name="Google Shape;6517;p104"/>
            <p:cNvSpPr/>
            <p:nvPr/>
          </p:nvSpPr>
          <p:spPr>
            <a:xfrm>
              <a:off x="2140697" y="2080401"/>
              <a:ext cx="299" cy="204"/>
            </a:xfrm>
            <a:custGeom>
              <a:avLst/>
              <a:gdLst/>
              <a:ahLst/>
              <a:cxnLst/>
              <a:rect l="l" t="t" r="r" b="b"/>
              <a:pathLst>
                <a:path w="22" h="15" extrusionOk="0">
                  <a:moveTo>
                    <a:pt x="0" y="14"/>
                  </a:moveTo>
                  <a:lnTo>
                    <a:pt x="21"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518" name="Google Shape;6518;p104"/>
            <p:cNvSpPr/>
            <p:nvPr/>
          </p:nvSpPr>
          <p:spPr>
            <a:xfrm>
              <a:off x="2183860" y="2020361"/>
              <a:ext cx="14" cy="299"/>
            </a:xfrm>
            <a:custGeom>
              <a:avLst/>
              <a:gdLst/>
              <a:ahLst/>
              <a:cxnLst/>
              <a:rect l="l" t="t" r="r" b="b"/>
              <a:pathLst>
                <a:path w="1" h="22" extrusionOk="0">
                  <a:moveTo>
                    <a:pt x="0" y="22"/>
                  </a:moveTo>
                  <a:cubicBezTo>
                    <a:pt x="0" y="15"/>
                    <a:pt x="0" y="8"/>
                    <a:pt x="0" y="1"/>
                  </a:cubicBezTo>
                  <a:cubicBezTo>
                    <a:pt x="0" y="8"/>
                    <a:pt x="0" y="15"/>
                    <a:pt x="0" y="22"/>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519" name="Google Shape;6519;p104"/>
            <p:cNvSpPr/>
            <p:nvPr/>
          </p:nvSpPr>
          <p:spPr>
            <a:xfrm>
              <a:off x="2141213" y="2080062"/>
              <a:ext cx="299" cy="204"/>
            </a:xfrm>
            <a:custGeom>
              <a:avLst/>
              <a:gdLst/>
              <a:ahLst/>
              <a:cxnLst/>
              <a:rect l="l" t="t" r="r" b="b"/>
              <a:pathLst>
                <a:path w="22" h="15" extrusionOk="0">
                  <a:moveTo>
                    <a:pt x="1" y="15"/>
                  </a:moveTo>
                  <a:lnTo>
                    <a:pt x="22"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520" name="Google Shape;6520;p104"/>
            <p:cNvSpPr/>
            <p:nvPr/>
          </p:nvSpPr>
          <p:spPr>
            <a:xfrm>
              <a:off x="2183955" y="2019275"/>
              <a:ext cx="14" cy="299"/>
            </a:xfrm>
            <a:custGeom>
              <a:avLst/>
              <a:gdLst/>
              <a:ahLst/>
              <a:cxnLst/>
              <a:rect l="l" t="t" r="r" b="b"/>
              <a:pathLst>
                <a:path w="1" h="22" extrusionOk="0">
                  <a:moveTo>
                    <a:pt x="0" y="21"/>
                  </a:moveTo>
                  <a:lnTo>
                    <a:pt x="0" y="0"/>
                  </a:lnTo>
                  <a:cubicBezTo>
                    <a:pt x="0" y="4"/>
                    <a:pt x="0" y="11"/>
                    <a:pt x="0" y="2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521" name="Google Shape;6521;p104"/>
            <p:cNvSpPr/>
            <p:nvPr/>
          </p:nvSpPr>
          <p:spPr>
            <a:xfrm>
              <a:off x="2141743" y="2079777"/>
              <a:ext cx="244" cy="204"/>
            </a:xfrm>
            <a:custGeom>
              <a:avLst/>
              <a:gdLst/>
              <a:ahLst/>
              <a:cxnLst/>
              <a:rect l="l" t="t" r="r" b="b"/>
              <a:pathLst>
                <a:path w="18" h="15" extrusionOk="0">
                  <a:moveTo>
                    <a:pt x="0" y="15"/>
                  </a:moveTo>
                  <a:lnTo>
                    <a:pt x="18"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522" name="Google Shape;6522;p104"/>
            <p:cNvSpPr/>
            <p:nvPr/>
          </p:nvSpPr>
          <p:spPr>
            <a:xfrm>
              <a:off x="2144214" y="2078595"/>
              <a:ext cx="109" cy="54"/>
            </a:xfrm>
            <a:custGeom>
              <a:avLst/>
              <a:gdLst/>
              <a:ahLst/>
              <a:cxnLst/>
              <a:rect l="l" t="t" r="r" b="b"/>
              <a:pathLst>
                <a:path w="8" h="4" extrusionOk="0">
                  <a:moveTo>
                    <a:pt x="1" y="4"/>
                  </a:moveTo>
                  <a:lnTo>
                    <a:pt x="8"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523" name="Google Shape;6523;p104"/>
            <p:cNvSpPr/>
            <p:nvPr/>
          </p:nvSpPr>
          <p:spPr>
            <a:xfrm>
              <a:off x="2142164" y="2079546"/>
              <a:ext cx="258" cy="149"/>
            </a:xfrm>
            <a:custGeom>
              <a:avLst/>
              <a:gdLst/>
              <a:ahLst/>
              <a:cxnLst/>
              <a:rect l="l" t="t" r="r" b="b"/>
              <a:pathLst>
                <a:path w="19" h="11" extrusionOk="0">
                  <a:moveTo>
                    <a:pt x="1" y="11"/>
                  </a:moveTo>
                  <a:lnTo>
                    <a:pt x="18"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524" name="Google Shape;6524;p104"/>
            <p:cNvSpPr/>
            <p:nvPr/>
          </p:nvSpPr>
          <p:spPr>
            <a:xfrm>
              <a:off x="2142598" y="2079301"/>
              <a:ext cx="244" cy="163"/>
            </a:xfrm>
            <a:custGeom>
              <a:avLst/>
              <a:gdLst/>
              <a:ahLst/>
              <a:cxnLst/>
              <a:rect l="l" t="t" r="r" b="b"/>
              <a:pathLst>
                <a:path w="18" h="12" extrusionOk="0">
                  <a:moveTo>
                    <a:pt x="0" y="11"/>
                  </a:moveTo>
                  <a:lnTo>
                    <a:pt x="18"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525" name="Google Shape;6525;p104"/>
            <p:cNvSpPr/>
            <p:nvPr/>
          </p:nvSpPr>
          <p:spPr>
            <a:xfrm>
              <a:off x="2144594" y="2078500"/>
              <a:ext cx="109" cy="14"/>
            </a:xfrm>
            <a:custGeom>
              <a:avLst/>
              <a:gdLst/>
              <a:ahLst/>
              <a:cxnLst/>
              <a:rect l="l" t="t" r="r" b="b"/>
              <a:pathLst>
                <a:path w="8" h="1" extrusionOk="0">
                  <a:moveTo>
                    <a:pt x="1" y="0"/>
                  </a:moveTo>
                  <a:lnTo>
                    <a:pt x="8"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526" name="Google Shape;6526;p104"/>
            <p:cNvSpPr/>
            <p:nvPr/>
          </p:nvSpPr>
          <p:spPr>
            <a:xfrm>
              <a:off x="2144744" y="2078446"/>
              <a:ext cx="95" cy="14"/>
            </a:xfrm>
            <a:custGeom>
              <a:avLst/>
              <a:gdLst/>
              <a:ahLst/>
              <a:cxnLst/>
              <a:rect l="l" t="t" r="r" b="b"/>
              <a:pathLst>
                <a:path w="7" h="1" extrusionOk="0">
                  <a:moveTo>
                    <a:pt x="0" y="1"/>
                  </a:moveTo>
                  <a:lnTo>
                    <a:pt x="7"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527" name="Google Shape;6527;p104"/>
            <p:cNvSpPr/>
            <p:nvPr/>
          </p:nvSpPr>
          <p:spPr>
            <a:xfrm>
              <a:off x="2183901" y="2019845"/>
              <a:ext cx="14" cy="244"/>
            </a:xfrm>
            <a:custGeom>
              <a:avLst/>
              <a:gdLst/>
              <a:ahLst/>
              <a:cxnLst/>
              <a:rect l="l" t="t" r="r" b="b"/>
              <a:pathLst>
                <a:path w="1" h="18" extrusionOk="0">
                  <a:moveTo>
                    <a:pt x="1" y="18"/>
                  </a:moveTo>
                  <a:lnTo>
                    <a:pt x="1" y="0"/>
                  </a:lnTo>
                  <a:cubicBezTo>
                    <a:pt x="1" y="7"/>
                    <a:pt x="1" y="11"/>
                    <a:pt x="1" y="18"/>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528" name="Google Shape;6528;p104"/>
            <p:cNvSpPr/>
            <p:nvPr/>
          </p:nvSpPr>
          <p:spPr>
            <a:xfrm>
              <a:off x="2246887" y="2005399"/>
              <a:ext cx="109" cy="54"/>
            </a:xfrm>
            <a:custGeom>
              <a:avLst/>
              <a:gdLst/>
              <a:ahLst/>
              <a:cxnLst/>
              <a:rect l="l" t="t" r="r" b="b"/>
              <a:pathLst>
                <a:path w="8" h="4" extrusionOk="0">
                  <a:moveTo>
                    <a:pt x="0" y="0"/>
                  </a:moveTo>
                  <a:lnTo>
                    <a:pt x="7" y="4"/>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529" name="Google Shape;6529;p104"/>
            <p:cNvSpPr/>
            <p:nvPr/>
          </p:nvSpPr>
          <p:spPr>
            <a:xfrm>
              <a:off x="2263194" y="2009812"/>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530" name="Google Shape;6530;p104"/>
            <p:cNvSpPr/>
            <p:nvPr/>
          </p:nvSpPr>
          <p:spPr>
            <a:xfrm>
              <a:off x="2260818" y="2010572"/>
              <a:ext cx="299" cy="258"/>
            </a:xfrm>
            <a:custGeom>
              <a:avLst/>
              <a:gdLst/>
              <a:ahLst/>
              <a:cxnLst/>
              <a:rect l="l" t="t" r="r" b="b"/>
              <a:pathLst>
                <a:path w="22" h="19" extrusionOk="0">
                  <a:moveTo>
                    <a:pt x="0" y="18"/>
                  </a:moveTo>
                  <a:lnTo>
                    <a:pt x="0" y="18"/>
                  </a:lnTo>
                  <a:lnTo>
                    <a:pt x="21" y="1"/>
                  </a:lnTo>
                  <a:lnTo>
                    <a:pt x="0" y="18"/>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531" name="Google Shape;6531;p104"/>
            <p:cNvSpPr/>
            <p:nvPr/>
          </p:nvSpPr>
          <p:spPr>
            <a:xfrm>
              <a:off x="2266235" y="2012093"/>
              <a:ext cx="394" cy="353"/>
            </a:xfrm>
            <a:custGeom>
              <a:avLst/>
              <a:gdLst/>
              <a:ahLst/>
              <a:cxnLst/>
              <a:rect l="l" t="t" r="r" b="b"/>
              <a:pathLst>
                <a:path w="29" h="26" extrusionOk="0">
                  <a:moveTo>
                    <a:pt x="28" y="25"/>
                  </a:moveTo>
                  <a:lnTo>
                    <a:pt x="0"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532" name="Google Shape;6532;p104"/>
            <p:cNvSpPr/>
            <p:nvPr/>
          </p:nvSpPr>
          <p:spPr>
            <a:xfrm>
              <a:off x="2265665" y="2011617"/>
              <a:ext cx="394" cy="353"/>
            </a:xfrm>
            <a:custGeom>
              <a:avLst/>
              <a:gdLst/>
              <a:ahLst/>
              <a:cxnLst/>
              <a:rect l="l" t="t" r="r" b="b"/>
              <a:pathLst>
                <a:path w="29" h="26" extrusionOk="0">
                  <a:moveTo>
                    <a:pt x="28" y="25"/>
                  </a:moveTo>
                  <a:lnTo>
                    <a:pt x="0"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533" name="Google Shape;6533;p104"/>
            <p:cNvSpPr/>
            <p:nvPr/>
          </p:nvSpPr>
          <p:spPr>
            <a:xfrm>
              <a:off x="2265190" y="2011197"/>
              <a:ext cx="339" cy="339"/>
            </a:xfrm>
            <a:custGeom>
              <a:avLst/>
              <a:gdLst/>
              <a:ahLst/>
              <a:cxnLst/>
              <a:rect l="l" t="t" r="r" b="b"/>
              <a:pathLst>
                <a:path w="25" h="25" extrusionOk="0">
                  <a:moveTo>
                    <a:pt x="25" y="25"/>
                  </a:moveTo>
                  <a:lnTo>
                    <a:pt x="0"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534" name="Google Shape;6534;p104"/>
            <p:cNvSpPr/>
            <p:nvPr/>
          </p:nvSpPr>
          <p:spPr>
            <a:xfrm>
              <a:off x="2246643" y="2005155"/>
              <a:ext cx="68" cy="68"/>
            </a:xfrm>
            <a:custGeom>
              <a:avLst/>
              <a:gdLst/>
              <a:ahLst/>
              <a:cxnLst/>
              <a:rect l="l" t="t" r="r" b="b"/>
              <a:pathLst>
                <a:path w="5" h="5" extrusionOk="0">
                  <a:moveTo>
                    <a:pt x="1" y="1"/>
                  </a:moveTo>
                  <a:lnTo>
                    <a:pt x="4" y="4"/>
                  </a:lnTo>
                  <a:lnTo>
                    <a:pt x="1"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535" name="Google Shape;6535;p104"/>
            <p:cNvSpPr/>
            <p:nvPr/>
          </p:nvSpPr>
          <p:spPr>
            <a:xfrm>
              <a:off x="2263995" y="2010287"/>
              <a:ext cx="258" cy="204"/>
            </a:xfrm>
            <a:custGeom>
              <a:avLst/>
              <a:gdLst/>
              <a:ahLst/>
              <a:cxnLst/>
              <a:rect l="l" t="t" r="r" b="b"/>
              <a:pathLst>
                <a:path w="19" h="15" extrusionOk="0">
                  <a:moveTo>
                    <a:pt x="18" y="15"/>
                  </a:moveTo>
                  <a:lnTo>
                    <a:pt x="1"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536" name="Google Shape;6536;p104"/>
            <p:cNvSpPr/>
            <p:nvPr/>
          </p:nvSpPr>
          <p:spPr>
            <a:xfrm>
              <a:off x="2266805" y="2012527"/>
              <a:ext cx="394" cy="394"/>
            </a:xfrm>
            <a:custGeom>
              <a:avLst/>
              <a:gdLst/>
              <a:ahLst/>
              <a:cxnLst/>
              <a:rect l="l" t="t" r="r" b="b"/>
              <a:pathLst>
                <a:path w="29" h="29" extrusionOk="0">
                  <a:moveTo>
                    <a:pt x="28" y="28"/>
                  </a:moveTo>
                  <a:lnTo>
                    <a:pt x="0"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537" name="Google Shape;6537;p104"/>
            <p:cNvSpPr/>
            <p:nvPr/>
          </p:nvSpPr>
          <p:spPr>
            <a:xfrm>
              <a:off x="2263710" y="2010056"/>
              <a:ext cx="258" cy="149"/>
            </a:xfrm>
            <a:custGeom>
              <a:avLst/>
              <a:gdLst/>
              <a:ahLst/>
              <a:cxnLst/>
              <a:rect l="l" t="t" r="r" b="b"/>
              <a:pathLst>
                <a:path w="19" h="11" extrusionOk="0">
                  <a:moveTo>
                    <a:pt x="18" y="11"/>
                  </a:moveTo>
                  <a:lnTo>
                    <a:pt x="1"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538" name="Google Shape;6538;p104"/>
            <p:cNvSpPr/>
            <p:nvPr/>
          </p:nvSpPr>
          <p:spPr>
            <a:xfrm>
              <a:off x="2261429" y="2010341"/>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539" name="Google Shape;6539;p104"/>
            <p:cNvSpPr/>
            <p:nvPr/>
          </p:nvSpPr>
          <p:spPr>
            <a:xfrm>
              <a:off x="2264334" y="2010531"/>
              <a:ext cx="299" cy="244"/>
            </a:xfrm>
            <a:custGeom>
              <a:avLst/>
              <a:gdLst/>
              <a:ahLst/>
              <a:cxnLst/>
              <a:rect l="l" t="t" r="r" b="b"/>
              <a:pathLst>
                <a:path w="22" h="18" extrusionOk="0">
                  <a:moveTo>
                    <a:pt x="21" y="18"/>
                  </a:moveTo>
                  <a:lnTo>
                    <a:pt x="0"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540" name="Google Shape;6540;p104"/>
            <p:cNvSpPr/>
            <p:nvPr/>
          </p:nvSpPr>
          <p:spPr>
            <a:xfrm>
              <a:off x="2264714" y="2010857"/>
              <a:ext cx="339" cy="258"/>
            </a:xfrm>
            <a:custGeom>
              <a:avLst/>
              <a:gdLst/>
              <a:ahLst/>
              <a:cxnLst/>
              <a:rect l="l" t="t" r="r" b="b"/>
              <a:pathLst>
                <a:path w="25" h="19" extrusionOk="0">
                  <a:moveTo>
                    <a:pt x="25" y="1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541" name="Google Shape;6541;p104"/>
            <p:cNvSpPr/>
            <p:nvPr/>
          </p:nvSpPr>
          <p:spPr>
            <a:xfrm>
              <a:off x="2263479" y="2009907"/>
              <a:ext cx="204" cy="163"/>
            </a:xfrm>
            <a:custGeom>
              <a:avLst/>
              <a:gdLst/>
              <a:ahLst/>
              <a:cxnLst/>
              <a:rect l="l" t="t" r="r" b="b"/>
              <a:pathLst>
                <a:path w="15" h="12" extrusionOk="0">
                  <a:moveTo>
                    <a:pt x="14" y="1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542" name="Google Shape;6542;p104"/>
            <p:cNvSpPr/>
            <p:nvPr/>
          </p:nvSpPr>
          <p:spPr>
            <a:xfrm>
              <a:off x="2262528" y="2009866"/>
              <a:ext cx="14" cy="14"/>
            </a:xfrm>
            <a:custGeom>
              <a:avLst/>
              <a:gdLst/>
              <a:ahLst/>
              <a:cxnLst/>
              <a:rect l="l" t="t" r="r" b="b"/>
              <a:pathLst>
                <a:path w="1" h="1" extrusionOk="0">
                  <a:moveTo>
                    <a:pt x="0"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543" name="Google Shape;6543;p104"/>
            <p:cNvSpPr/>
            <p:nvPr/>
          </p:nvSpPr>
          <p:spPr>
            <a:xfrm>
              <a:off x="2262814" y="2009812"/>
              <a:ext cx="109" cy="14"/>
            </a:xfrm>
            <a:custGeom>
              <a:avLst/>
              <a:gdLst/>
              <a:ahLst/>
              <a:cxnLst/>
              <a:rect l="l" t="t" r="r" b="b"/>
              <a:pathLst>
                <a:path w="8" h="1" extrusionOk="0">
                  <a:moveTo>
                    <a:pt x="0" y="1"/>
                  </a:moveTo>
                  <a:lnTo>
                    <a:pt x="7"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544" name="Google Shape;6544;p104"/>
            <p:cNvSpPr/>
            <p:nvPr/>
          </p:nvSpPr>
          <p:spPr>
            <a:xfrm>
              <a:off x="2268706" y="2014143"/>
              <a:ext cx="394" cy="339"/>
            </a:xfrm>
            <a:custGeom>
              <a:avLst/>
              <a:gdLst/>
              <a:ahLst/>
              <a:cxnLst/>
              <a:rect l="l" t="t" r="r" b="b"/>
              <a:pathLst>
                <a:path w="29" h="25" extrusionOk="0">
                  <a:moveTo>
                    <a:pt x="28" y="25"/>
                  </a:moveTo>
                  <a:lnTo>
                    <a:pt x="0"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545" name="Google Shape;6545;p104"/>
            <p:cNvSpPr/>
            <p:nvPr/>
          </p:nvSpPr>
          <p:spPr>
            <a:xfrm>
              <a:off x="2251069" y="2010341"/>
              <a:ext cx="3001" cy="964"/>
            </a:xfrm>
            <a:custGeom>
              <a:avLst/>
              <a:gdLst/>
              <a:ahLst/>
              <a:cxnLst/>
              <a:rect l="l" t="t" r="r" b="b"/>
              <a:pathLst>
                <a:path w="221" h="71" extrusionOk="0">
                  <a:moveTo>
                    <a:pt x="221" y="70"/>
                  </a:moveTo>
                  <a:cubicBezTo>
                    <a:pt x="144" y="67"/>
                    <a:pt x="67" y="42"/>
                    <a:pt x="0" y="0"/>
                  </a:cubicBezTo>
                  <a:cubicBezTo>
                    <a:pt x="67" y="42"/>
                    <a:pt x="144" y="67"/>
                    <a:pt x="221" y="7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546" name="Google Shape;6546;p104"/>
            <p:cNvSpPr/>
            <p:nvPr/>
          </p:nvSpPr>
          <p:spPr>
            <a:xfrm>
              <a:off x="2268041" y="2013613"/>
              <a:ext cx="394" cy="353"/>
            </a:xfrm>
            <a:custGeom>
              <a:avLst/>
              <a:gdLst/>
              <a:ahLst/>
              <a:cxnLst/>
              <a:rect l="l" t="t" r="r" b="b"/>
              <a:pathLst>
                <a:path w="29" h="26" extrusionOk="0">
                  <a:moveTo>
                    <a:pt x="28" y="25"/>
                  </a:moveTo>
                  <a:lnTo>
                    <a:pt x="0"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547" name="Google Shape;6547;p104"/>
            <p:cNvSpPr/>
            <p:nvPr/>
          </p:nvSpPr>
          <p:spPr>
            <a:xfrm>
              <a:off x="2271367" y="2016560"/>
              <a:ext cx="149" cy="109"/>
            </a:xfrm>
            <a:custGeom>
              <a:avLst/>
              <a:gdLst/>
              <a:ahLst/>
              <a:cxnLst/>
              <a:rect l="l" t="t" r="r" b="b"/>
              <a:pathLst>
                <a:path w="11" h="8" extrusionOk="0">
                  <a:moveTo>
                    <a:pt x="0" y="1"/>
                  </a:moveTo>
                  <a:lnTo>
                    <a:pt x="11" y="8"/>
                  </a:lnTo>
                  <a:lnTo>
                    <a:pt x="11" y="8"/>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548" name="Google Shape;6548;p104"/>
            <p:cNvSpPr/>
            <p:nvPr/>
          </p:nvSpPr>
          <p:spPr>
            <a:xfrm>
              <a:off x="2269371" y="2014754"/>
              <a:ext cx="339" cy="299"/>
            </a:xfrm>
            <a:custGeom>
              <a:avLst/>
              <a:gdLst/>
              <a:ahLst/>
              <a:cxnLst/>
              <a:rect l="l" t="t" r="r" b="b"/>
              <a:pathLst>
                <a:path w="25" h="22" extrusionOk="0">
                  <a:moveTo>
                    <a:pt x="25" y="22"/>
                  </a:moveTo>
                  <a:lnTo>
                    <a:pt x="0"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549" name="Google Shape;6549;p104"/>
            <p:cNvSpPr/>
            <p:nvPr/>
          </p:nvSpPr>
          <p:spPr>
            <a:xfrm>
              <a:off x="2270743" y="2015949"/>
              <a:ext cx="353" cy="299"/>
            </a:xfrm>
            <a:custGeom>
              <a:avLst/>
              <a:gdLst/>
              <a:ahLst/>
              <a:cxnLst/>
              <a:rect l="l" t="t" r="r" b="b"/>
              <a:pathLst>
                <a:path w="26" h="22" extrusionOk="0">
                  <a:moveTo>
                    <a:pt x="25" y="21"/>
                  </a:moveTo>
                  <a:lnTo>
                    <a:pt x="1"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550" name="Google Shape;6550;p104"/>
            <p:cNvSpPr/>
            <p:nvPr/>
          </p:nvSpPr>
          <p:spPr>
            <a:xfrm>
              <a:off x="2270037" y="2015324"/>
              <a:ext cx="339" cy="353"/>
            </a:xfrm>
            <a:custGeom>
              <a:avLst/>
              <a:gdLst/>
              <a:ahLst/>
              <a:cxnLst/>
              <a:rect l="l" t="t" r="r" b="b"/>
              <a:pathLst>
                <a:path w="25" h="26" extrusionOk="0">
                  <a:moveTo>
                    <a:pt x="25" y="25"/>
                  </a:moveTo>
                  <a:lnTo>
                    <a:pt x="0"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551" name="Google Shape;6551;p104"/>
            <p:cNvSpPr/>
            <p:nvPr/>
          </p:nvSpPr>
          <p:spPr>
            <a:xfrm>
              <a:off x="2247172" y="2005684"/>
              <a:ext cx="54" cy="54"/>
            </a:xfrm>
            <a:custGeom>
              <a:avLst/>
              <a:gdLst/>
              <a:ahLst/>
              <a:cxnLst/>
              <a:rect l="l" t="t" r="r" b="b"/>
              <a:pathLst>
                <a:path w="4" h="4" extrusionOk="0">
                  <a:moveTo>
                    <a:pt x="4"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552" name="Google Shape;6552;p104"/>
            <p:cNvSpPr/>
            <p:nvPr/>
          </p:nvSpPr>
          <p:spPr>
            <a:xfrm>
              <a:off x="2267416" y="2013043"/>
              <a:ext cx="394" cy="353"/>
            </a:xfrm>
            <a:custGeom>
              <a:avLst/>
              <a:gdLst/>
              <a:ahLst/>
              <a:cxnLst/>
              <a:rect l="l" t="t" r="r" b="b"/>
              <a:pathLst>
                <a:path w="29" h="26" extrusionOk="0">
                  <a:moveTo>
                    <a:pt x="29" y="25"/>
                  </a:moveTo>
                  <a:lnTo>
                    <a:pt x="1"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553" name="Google Shape;6553;p104"/>
            <p:cNvSpPr/>
            <p:nvPr/>
          </p:nvSpPr>
          <p:spPr>
            <a:xfrm>
              <a:off x="2247362" y="2005915"/>
              <a:ext cx="54" cy="68"/>
            </a:xfrm>
            <a:custGeom>
              <a:avLst/>
              <a:gdLst/>
              <a:ahLst/>
              <a:cxnLst/>
              <a:rect l="l" t="t" r="r" b="b"/>
              <a:pathLst>
                <a:path w="4" h="5" extrusionOk="0">
                  <a:moveTo>
                    <a:pt x="4"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554" name="Google Shape;6554;p104"/>
            <p:cNvSpPr/>
            <p:nvPr/>
          </p:nvSpPr>
          <p:spPr>
            <a:xfrm>
              <a:off x="2271028" y="2020511"/>
              <a:ext cx="14" cy="149"/>
            </a:xfrm>
            <a:custGeom>
              <a:avLst/>
              <a:gdLst/>
              <a:ahLst/>
              <a:cxnLst/>
              <a:rect l="l" t="t" r="r" b="b"/>
              <a:pathLst>
                <a:path w="1" h="11" extrusionOk="0">
                  <a:moveTo>
                    <a:pt x="1" y="11"/>
                  </a:moveTo>
                  <a:lnTo>
                    <a:pt x="1"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555" name="Google Shape;6555;p104"/>
            <p:cNvSpPr/>
            <p:nvPr/>
          </p:nvSpPr>
          <p:spPr>
            <a:xfrm>
              <a:off x="2271367" y="2016655"/>
              <a:ext cx="149" cy="1059"/>
            </a:xfrm>
            <a:custGeom>
              <a:avLst/>
              <a:gdLst/>
              <a:ahLst/>
              <a:cxnLst/>
              <a:rect l="l" t="t" r="r" b="b"/>
              <a:pathLst>
                <a:path w="11" h="78" extrusionOk="0">
                  <a:moveTo>
                    <a:pt x="11" y="1"/>
                  </a:moveTo>
                  <a:lnTo>
                    <a:pt x="11" y="1"/>
                  </a:lnTo>
                  <a:cubicBezTo>
                    <a:pt x="7" y="18"/>
                    <a:pt x="4" y="43"/>
                    <a:pt x="0" y="78"/>
                  </a:cubicBezTo>
                  <a:cubicBezTo>
                    <a:pt x="4" y="46"/>
                    <a:pt x="7" y="18"/>
                    <a:pt x="11" y="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556" name="Google Shape;6556;p104"/>
            <p:cNvSpPr/>
            <p:nvPr/>
          </p:nvSpPr>
          <p:spPr>
            <a:xfrm>
              <a:off x="2270987" y="2020986"/>
              <a:ext cx="14" cy="204"/>
            </a:xfrm>
            <a:custGeom>
              <a:avLst/>
              <a:gdLst/>
              <a:ahLst/>
              <a:cxnLst/>
              <a:rect l="l" t="t" r="r" b="b"/>
              <a:pathLst>
                <a:path w="1" h="15" extrusionOk="0">
                  <a:moveTo>
                    <a:pt x="0" y="1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557" name="Google Shape;6557;p104"/>
            <p:cNvSpPr/>
            <p:nvPr/>
          </p:nvSpPr>
          <p:spPr>
            <a:xfrm>
              <a:off x="2271082" y="2019981"/>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558" name="Google Shape;6558;p104"/>
            <p:cNvSpPr/>
            <p:nvPr/>
          </p:nvSpPr>
          <p:spPr>
            <a:xfrm>
              <a:off x="2271313" y="2017890"/>
              <a:ext cx="14" cy="204"/>
            </a:xfrm>
            <a:custGeom>
              <a:avLst/>
              <a:gdLst/>
              <a:ahLst/>
              <a:cxnLst/>
              <a:rect l="l" t="t" r="r" b="b"/>
              <a:pathLst>
                <a:path w="1" h="15" extrusionOk="0">
                  <a:moveTo>
                    <a:pt x="1" y="15"/>
                  </a:moveTo>
                  <a:lnTo>
                    <a:pt x="1"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559" name="Google Shape;6559;p104"/>
            <p:cNvSpPr/>
            <p:nvPr/>
          </p:nvSpPr>
          <p:spPr>
            <a:xfrm>
              <a:off x="2270933" y="2021461"/>
              <a:ext cx="14" cy="204"/>
            </a:xfrm>
            <a:custGeom>
              <a:avLst/>
              <a:gdLst/>
              <a:ahLst/>
              <a:cxnLst/>
              <a:rect l="l" t="t" r="r" b="b"/>
              <a:pathLst>
                <a:path w="1" h="15" extrusionOk="0">
                  <a:moveTo>
                    <a:pt x="1" y="1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560" name="Google Shape;6560;p104"/>
            <p:cNvSpPr/>
            <p:nvPr/>
          </p:nvSpPr>
          <p:spPr>
            <a:xfrm>
              <a:off x="2261143" y="2049037"/>
              <a:ext cx="1018" cy="3992"/>
            </a:xfrm>
            <a:custGeom>
              <a:avLst/>
              <a:gdLst/>
              <a:ahLst/>
              <a:cxnLst/>
              <a:rect l="l" t="t" r="r" b="b"/>
              <a:pathLst>
                <a:path w="75" h="294" extrusionOk="0">
                  <a:moveTo>
                    <a:pt x="74" y="0"/>
                  </a:moveTo>
                  <a:cubicBezTo>
                    <a:pt x="67" y="137"/>
                    <a:pt x="39" y="241"/>
                    <a:pt x="1" y="294"/>
                  </a:cubicBezTo>
                  <a:cubicBezTo>
                    <a:pt x="43" y="241"/>
                    <a:pt x="67" y="137"/>
                    <a:pt x="74"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561" name="Google Shape;6561;p104"/>
            <p:cNvSpPr/>
            <p:nvPr/>
          </p:nvSpPr>
          <p:spPr>
            <a:xfrm>
              <a:off x="2271272" y="2018325"/>
              <a:ext cx="14" cy="244"/>
            </a:xfrm>
            <a:custGeom>
              <a:avLst/>
              <a:gdLst/>
              <a:ahLst/>
              <a:cxnLst/>
              <a:rect l="l" t="t" r="r" b="b"/>
              <a:pathLst>
                <a:path w="1" h="18" extrusionOk="0">
                  <a:moveTo>
                    <a:pt x="0" y="18"/>
                  </a:moveTo>
                  <a:lnTo>
                    <a:pt x="0"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562" name="Google Shape;6562;p104"/>
            <p:cNvSpPr/>
            <p:nvPr/>
          </p:nvSpPr>
          <p:spPr>
            <a:xfrm>
              <a:off x="2271123" y="2019370"/>
              <a:ext cx="14" cy="204"/>
            </a:xfrm>
            <a:custGeom>
              <a:avLst/>
              <a:gdLst/>
              <a:ahLst/>
              <a:cxnLst/>
              <a:rect l="l" t="t" r="r" b="b"/>
              <a:pathLst>
                <a:path w="1" h="15" extrusionOk="0">
                  <a:moveTo>
                    <a:pt x="1" y="1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563" name="Google Shape;6563;p104"/>
            <p:cNvSpPr/>
            <p:nvPr/>
          </p:nvSpPr>
          <p:spPr>
            <a:xfrm>
              <a:off x="2270892" y="2021936"/>
              <a:ext cx="14" cy="149"/>
            </a:xfrm>
            <a:custGeom>
              <a:avLst/>
              <a:gdLst/>
              <a:ahLst/>
              <a:cxnLst/>
              <a:rect l="l" t="t" r="r" b="b"/>
              <a:pathLst>
                <a:path w="1" h="11" extrusionOk="0">
                  <a:moveTo>
                    <a:pt x="0" y="11"/>
                  </a:moveTo>
                  <a:lnTo>
                    <a:pt x="0"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564" name="Google Shape;6564;p104"/>
            <p:cNvSpPr/>
            <p:nvPr/>
          </p:nvSpPr>
          <p:spPr>
            <a:xfrm>
              <a:off x="2271177" y="2018800"/>
              <a:ext cx="14" cy="244"/>
            </a:xfrm>
            <a:custGeom>
              <a:avLst/>
              <a:gdLst/>
              <a:ahLst/>
              <a:cxnLst/>
              <a:rect l="l" t="t" r="r" b="b"/>
              <a:pathLst>
                <a:path w="1" h="18" extrusionOk="0">
                  <a:moveTo>
                    <a:pt x="0" y="18"/>
                  </a:moveTo>
                  <a:lnTo>
                    <a:pt x="0"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565" name="Google Shape;6565;p104"/>
            <p:cNvSpPr/>
            <p:nvPr/>
          </p:nvSpPr>
          <p:spPr>
            <a:xfrm>
              <a:off x="2270892" y="2022357"/>
              <a:ext cx="14" cy="163"/>
            </a:xfrm>
            <a:custGeom>
              <a:avLst/>
              <a:gdLst/>
              <a:ahLst/>
              <a:cxnLst/>
              <a:rect l="l" t="t" r="r" b="b"/>
              <a:pathLst>
                <a:path w="1" h="12" extrusionOk="0">
                  <a:moveTo>
                    <a:pt x="0" y="11"/>
                  </a:moveTo>
                  <a:lnTo>
                    <a:pt x="0" y="1"/>
                  </a:lnTo>
                  <a:cubicBezTo>
                    <a:pt x="0" y="1"/>
                    <a:pt x="0" y="8"/>
                    <a:pt x="0" y="1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566" name="Google Shape;6566;p104"/>
            <p:cNvSpPr/>
            <p:nvPr/>
          </p:nvSpPr>
          <p:spPr>
            <a:xfrm>
              <a:off x="2260668" y="2062248"/>
              <a:ext cx="9192" cy="13265"/>
            </a:xfrm>
            <a:custGeom>
              <a:avLst/>
              <a:gdLst/>
              <a:ahLst/>
              <a:cxnLst/>
              <a:rect l="l" t="t" r="r" b="b"/>
              <a:pathLst>
                <a:path w="677" h="977" extrusionOk="0">
                  <a:moveTo>
                    <a:pt x="417" y="0"/>
                  </a:moveTo>
                  <a:cubicBezTo>
                    <a:pt x="417" y="4"/>
                    <a:pt x="414" y="7"/>
                    <a:pt x="410" y="14"/>
                  </a:cubicBezTo>
                  <a:cubicBezTo>
                    <a:pt x="410" y="18"/>
                    <a:pt x="410" y="21"/>
                    <a:pt x="407" y="28"/>
                  </a:cubicBezTo>
                  <a:cubicBezTo>
                    <a:pt x="403" y="32"/>
                    <a:pt x="403" y="35"/>
                    <a:pt x="400" y="42"/>
                  </a:cubicBezTo>
                  <a:cubicBezTo>
                    <a:pt x="400" y="46"/>
                    <a:pt x="400" y="49"/>
                    <a:pt x="396" y="56"/>
                  </a:cubicBezTo>
                  <a:cubicBezTo>
                    <a:pt x="393" y="60"/>
                    <a:pt x="389" y="67"/>
                    <a:pt x="386" y="74"/>
                  </a:cubicBezTo>
                  <a:cubicBezTo>
                    <a:pt x="379" y="81"/>
                    <a:pt x="379" y="81"/>
                    <a:pt x="379" y="84"/>
                  </a:cubicBezTo>
                  <a:cubicBezTo>
                    <a:pt x="372" y="91"/>
                    <a:pt x="365" y="102"/>
                    <a:pt x="354" y="109"/>
                  </a:cubicBezTo>
                  <a:cubicBezTo>
                    <a:pt x="344" y="119"/>
                    <a:pt x="333" y="126"/>
                    <a:pt x="319" y="137"/>
                  </a:cubicBezTo>
                  <a:lnTo>
                    <a:pt x="312" y="140"/>
                  </a:lnTo>
                  <a:cubicBezTo>
                    <a:pt x="302" y="147"/>
                    <a:pt x="291" y="151"/>
                    <a:pt x="277" y="158"/>
                  </a:cubicBezTo>
                  <a:lnTo>
                    <a:pt x="270" y="158"/>
                  </a:lnTo>
                  <a:cubicBezTo>
                    <a:pt x="256" y="165"/>
                    <a:pt x="242" y="168"/>
                    <a:pt x="228" y="168"/>
                  </a:cubicBezTo>
                  <a:lnTo>
                    <a:pt x="214" y="168"/>
                  </a:lnTo>
                  <a:cubicBezTo>
                    <a:pt x="204" y="172"/>
                    <a:pt x="190" y="172"/>
                    <a:pt x="176" y="172"/>
                  </a:cubicBezTo>
                  <a:lnTo>
                    <a:pt x="116" y="172"/>
                  </a:lnTo>
                  <a:cubicBezTo>
                    <a:pt x="99" y="172"/>
                    <a:pt x="81" y="168"/>
                    <a:pt x="64" y="165"/>
                  </a:cubicBezTo>
                  <a:lnTo>
                    <a:pt x="32" y="161"/>
                  </a:lnTo>
                  <a:lnTo>
                    <a:pt x="1" y="161"/>
                  </a:lnTo>
                  <a:lnTo>
                    <a:pt x="22" y="497"/>
                  </a:lnTo>
                  <a:cubicBezTo>
                    <a:pt x="74" y="655"/>
                    <a:pt x="113" y="812"/>
                    <a:pt x="141" y="977"/>
                  </a:cubicBezTo>
                  <a:lnTo>
                    <a:pt x="176" y="952"/>
                  </a:lnTo>
                  <a:lnTo>
                    <a:pt x="179" y="952"/>
                  </a:lnTo>
                  <a:lnTo>
                    <a:pt x="239" y="917"/>
                  </a:lnTo>
                  <a:lnTo>
                    <a:pt x="256" y="907"/>
                  </a:lnTo>
                  <a:lnTo>
                    <a:pt x="284" y="893"/>
                  </a:lnTo>
                  <a:lnTo>
                    <a:pt x="291" y="889"/>
                  </a:lnTo>
                  <a:cubicBezTo>
                    <a:pt x="344" y="872"/>
                    <a:pt x="456" y="711"/>
                    <a:pt x="568" y="525"/>
                  </a:cubicBezTo>
                  <a:lnTo>
                    <a:pt x="596" y="476"/>
                  </a:lnTo>
                  <a:cubicBezTo>
                    <a:pt x="613" y="445"/>
                    <a:pt x="631" y="413"/>
                    <a:pt x="648" y="382"/>
                  </a:cubicBezTo>
                  <a:lnTo>
                    <a:pt x="676" y="333"/>
                  </a:lnTo>
                  <a:lnTo>
                    <a:pt x="554" y="259"/>
                  </a:lnTo>
                  <a:lnTo>
                    <a:pt x="557" y="214"/>
                  </a:lnTo>
                  <a:lnTo>
                    <a:pt x="557" y="210"/>
                  </a:lnTo>
                  <a:lnTo>
                    <a:pt x="557" y="200"/>
                  </a:lnTo>
                  <a:lnTo>
                    <a:pt x="557" y="196"/>
                  </a:lnTo>
                  <a:lnTo>
                    <a:pt x="557" y="182"/>
                  </a:lnTo>
                  <a:lnTo>
                    <a:pt x="557" y="179"/>
                  </a:lnTo>
                  <a:lnTo>
                    <a:pt x="557" y="158"/>
                  </a:lnTo>
                  <a:lnTo>
                    <a:pt x="557" y="130"/>
                  </a:lnTo>
                  <a:lnTo>
                    <a:pt x="557" y="123"/>
                  </a:lnTo>
                  <a:lnTo>
                    <a:pt x="557" y="95"/>
                  </a:lnTo>
                  <a:lnTo>
                    <a:pt x="557" y="88"/>
                  </a:lnTo>
                  <a:cubicBezTo>
                    <a:pt x="557" y="77"/>
                    <a:pt x="557" y="63"/>
                    <a:pt x="554" y="53"/>
                  </a:cubicBezTo>
                  <a:lnTo>
                    <a:pt x="554" y="49"/>
                  </a:lnTo>
                  <a:cubicBezTo>
                    <a:pt x="554" y="35"/>
                    <a:pt x="554" y="21"/>
                    <a:pt x="550" y="11"/>
                  </a:cubicBezTo>
                  <a:cubicBezTo>
                    <a:pt x="512" y="0"/>
                    <a:pt x="459" y="0"/>
                    <a:pt x="417"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567" name="Google Shape;6567;p104"/>
            <p:cNvSpPr/>
            <p:nvPr/>
          </p:nvSpPr>
          <p:spPr>
            <a:xfrm>
              <a:off x="2266140" y="2062628"/>
              <a:ext cx="109" cy="204"/>
            </a:xfrm>
            <a:custGeom>
              <a:avLst/>
              <a:gdLst/>
              <a:ahLst/>
              <a:cxnLst/>
              <a:rect l="l" t="t" r="r" b="b"/>
              <a:pathLst>
                <a:path w="8" h="15" extrusionOk="0">
                  <a:moveTo>
                    <a:pt x="7" y="0"/>
                  </a:moveTo>
                  <a:lnTo>
                    <a:pt x="7" y="0"/>
                  </a:lnTo>
                  <a:cubicBezTo>
                    <a:pt x="4" y="4"/>
                    <a:pt x="0" y="7"/>
                    <a:pt x="0" y="14"/>
                  </a:cubicBezTo>
                  <a:cubicBezTo>
                    <a:pt x="4" y="7"/>
                    <a:pt x="4" y="4"/>
                    <a:pt x="7"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568" name="Google Shape;6568;p104"/>
            <p:cNvSpPr/>
            <p:nvPr/>
          </p:nvSpPr>
          <p:spPr>
            <a:xfrm>
              <a:off x="2263044" y="2064624"/>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569" name="Google Shape;6569;p104"/>
            <p:cNvSpPr/>
            <p:nvPr/>
          </p:nvSpPr>
          <p:spPr>
            <a:xfrm>
              <a:off x="2265515" y="2063388"/>
              <a:ext cx="353" cy="339"/>
            </a:xfrm>
            <a:custGeom>
              <a:avLst/>
              <a:gdLst/>
              <a:ahLst/>
              <a:cxnLst/>
              <a:rect l="l" t="t" r="r" b="b"/>
              <a:pathLst>
                <a:path w="26" h="25" extrusionOk="0">
                  <a:moveTo>
                    <a:pt x="1" y="25"/>
                  </a:moveTo>
                  <a:cubicBezTo>
                    <a:pt x="8" y="18"/>
                    <a:pt x="15" y="7"/>
                    <a:pt x="25" y="0"/>
                  </a:cubicBezTo>
                  <a:cubicBezTo>
                    <a:pt x="15" y="7"/>
                    <a:pt x="8" y="18"/>
                    <a:pt x="1" y="25"/>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570" name="Google Shape;6570;p104"/>
            <p:cNvSpPr/>
            <p:nvPr/>
          </p:nvSpPr>
          <p:spPr>
            <a:xfrm>
              <a:off x="2261103" y="2064380"/>
              <a:ext cx="434" cy="109"/>
            </a:xfrm>
            <a:custGeom>
              <a:avLst/>
              <a:gdLst/>
              <a:ahLst/>
              <a:cxnLst/>
              <a:rect l="l" t="t" r="r" b="b"/>
              <a:pathLst>
                <a:path w="32" h="8" extrusionOk="0">
                  <a:moveTo>
                    <a:pt x="0" y="1"/>
                  </a:moveTo>
                  <a:lnTo>
                    <a:pt x="32" y="8"/>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571" name="Google Shape;6571;p104"/>
            <p:cNvSpPr/>
            <p:nvPr/>
          </p:nvSpPr>
          <p:spPr>
            <a:xfrm>
              <a:off x="2264904" y="2064054"/>
              <a:ext cx="149" cy="109"/>
            </a:xfrm>
            <a:custGeom>
              <a:avLst/>
              <a:gdLst/>
              <a:ahLst/>
              <a:cxnLst/>
              <a:rect l="l" t="t" r="r" b="b"/>
              <a:pathLst>
                <a:path w="11" h="8" extrusionOk="0">
                  <a:moveTo>
                    <a:pt x="0" y="7"/>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572" name="Google Shape;6572;p104"/>
            <p:cNvSpPr/>
            <p:nvPr/>
          </p:nvSpPr>
          <p:spPr>
            <a:xfrm>
              <a:off x="2264375" y="2064339"/>
              <a:ext cx="109" cy="54"/>
            </a:xfrm>
            <a:custGeom>
              <a:avLst/>
              <a:gdLst/>
              <a:ahLst/>
              <a:cxnLst/>
              <a:rect l="l" t="t" r="r" b="b"/>
              <a:pathLst>
                <a:path w="8" h="4" extrusionOk="0">
                  <a:moveTo>
                    <a:pt x="1" y="4"/>
                  </a:moveTo>
                  <a:lnTo>
                    <a:pt x="8"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573" name="Google Shape;6573;p104"/>
            <p:cNvSpPr/>
            <p:nvPr/>
          </p:nvSpPr>
          <p:spPr>
            <a:xfrm>
              <a:off x="2262243" y="2064570"/>
              <a:ext cx="204" cy="14"/>
            </a:xfrm>
            <a:custGeom>
              <a:avLst/>
              <a:gdLst/>
              <a:ahLst/>
              <a:cxnLst/>
              <a:rect l="l" t="t" r="r" b="b"/>
              <a:pathLst>
                <a:path w="15" h="1" extrusionOk="0">
                  <a:moveTo>
                    <a:pt x="0" y="1"/>
                  </a:moveTo>
                  <a:lnTo>
                    <a:pt x="14"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574" name="Google Shape;6574;p104"/>
            <p:cNvSpPr/>
            <p:nvPr/>
          </p:nvSpPr>
          <p:spPr>
            <a:xfrm>
              <a:off x="2263615" y="2064570"/>
              <a:ext cx="163" cy="14"/>
            </a:xfrm>
            <a:custGeom>
              <a:avLst/>
              <a:gdLst/>
              <a:ahLst/>
              <a:cxnLst/>
              <a:rect l="l" t="t" r="r" b="b"/>
              <a:pathLst>
                <a:path w="12" h="1" extrusionOk="0">
                  <a:moveTo>
                    <a:pt x="1" y="1"/>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575" name="Google Shape;6575;p104"/>
            <p:cNvSpPr/>
            <p:nvPr/>
          </p:nvSpPr>
          <p:spPr>
            <a:xfrm>
              <a:off x="2260668" y="2064380"/>
              <a:ext cx="258" cy="14"/>
            </a:xfrm>
            <a:custGeom>
              <a:avLst/>
              <a:gdLst/>
              <a:ahLst/>
              <a:cxnLst/>
              <a:rect l="l" t="t" r="r" b="b"/>
              <a:pathLst>
                <a:path w="19" h="1" extrusionOk="0">
                  <a:moveTo>
                    <a:pt x="18" y="1"/>
                  </a:moveTo>
                  <a:lnTo>
                    <a:pt x="1" y="1"/>
                  </a:lnTo>
                  <a:lnTo>
                    <a:pt x="1"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576" name="Google Shape;6576;p104"/>
            <p:cNvSpPr/>
            <p:nvPr/>
          </p:nvSpPr>
          <p:spPr>
            <a:xfrm>
              <a:off x="2265896" y="2063008"/>
              <a:ext cx="163" cy="244"/>
            </a:xfrm>
            <a:custGeom>
              <a:avLst/>
              <a:gdLst/>
              <a:ahLst/>
              <a:cxnLst/>
              <a:rect l="l" t="t" r="r" b="b"/>
              <a:pathLst>
                <a:path w="12" h="18" extrusionOk="0">
                  <a:moveTo>
                    <a:pt x="1" y="18"/>
                  </a:moveTo>
                  <a:cubicBezTo>
                    <a:pt x="4" y="11"/>
                    <a:pt x="11" y="4"/>
                    <a:pt x="11" y="0"/>
                  </a:cubicBezTo>
                  <a:cubicBezTo>
                    <a:pt x="11" y="4"/>
                    <a:pt x="4" y="11"/>
                    <a:pt x="1" y="18"/>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577" name="Google Shape;6577;p104"/>
            <p:cNvSpPr/>
            <p:nvPr/>
          </p:nvSpPr>
          <p:spPr>
            <a:xfrm>
              <a:off x="2266235" y="2062194"/>
              <a:ext cx="2050" cy="258"/>
            </a:xfrm>
            <a:custGeom>
              <a:avLst/>
              <a:gdLst/>
              <a:ahLst/>
              <a:cxnLst/>
              <a:rect l="l" t="t" r="r" b="b"/>
              <a:pathLst>
                <a:path w="151" h="19" extrusionOk="0">
                  <a:moveTo>
                    <a:pt x="151" y="1"/>
                  </a:moveTo>
                  <a:lnTo>
                    <a:pt x="151" y="1"/>
                  </a:lnTo>
                  <a:cubicBezTo>
                    <a:pt x="98" y="4"/>
                    <a:pt x="46" y="4"/>
                    <a:pt x="7" y="4"/>
                  </a:cubicBezTo>
                  <a:cubicBezTo>
                    <a:pt x="49" y="4"/>
                    <a:pt x="98" y="4"/>
                    <a:pt x="151" y="1"/>
                  </a:cubicBezTo>
                  <a:close/>
                  <a:moveTo>
                    <a:pt x="7" y="4"/>
                  </a:moveTo>
                  <a:cubicBezTo>
                    <a:pt x="4" y="8"/>
                    <a:pt x="0" y="15"/>
                    <a:pt x="0" y="18"/>
                  </a:cubicBezTo>
                  <a:cubicBezTo>
                    <a:pt x="4" y="11"/>
                    <a:pt x="7" y="8"/>
                    <a:pt x="7" y="4"/>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578" name="Google Shape;6578;p104"/>
            <p:cNvSpPr/>
            <p:nvPr/>
          </p:nvSpPr>
          <p:spPr>
            <a:xfrm>
              <a:off x="2260668" y="2064339"/>
              <a:ext cx="353" cy="4616"/>
            </a:xfrm>
            <a:custGeom>
              <a:avLst/>
              <a:gdLst/>
              <a:ahLst/>
              <a:cxnLst/>
              <a:rect l="l" t="t" r="r" b="b"/>
              <a:pathLst>
                <a:path w="26" h="340" extrusionOk="0">
                  <a:moveTo>
                    <a:pt x="1" y="0"/>
                  </a:moveTo>
                  <a:lnTo>
                    <a:pt x="25" y="340"/>
                  </a:lnTo>
                  <a:lnTo>
                    <a:pt x="25" y="34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579" name="Google Shape;6579;p104"/>
            <p:cNvSpPr/>
            <p:nvPr/>
          </p:nvSpPr>
          <p:spPr>
            <a:xfrm>
              <a:off x="2267851" y="2123754"/>
              <a:ext cx="76781" cy="124832"/>
            </a:xfrm>
            <a:custGeom>
              <a:avLst/>
              <a:gdLst/>
              <a:ahLst/>
              <a:cxnLst/>
              <a:rect l="l" t="t" r="r" b="b"/>
              <a:pathLst>
                <a:path w="5655" h="9194" extrusionOk="0">
                  <a:moveTo>
                    <a:pt x="5448" y="0"/>
                  </a:moveTo>
                  <a:lnTo>
                    <a:pt x="5402" y="21"/>
                  </a:lnTo>
                  <a:lnTo>
                    <a:pt x="5384" y="28"/>
                  </a:lnTo>
                  <a:lnTo>
                    <a:pt x="5321" y="60"/>
                  </a:lnTo>
                  <a:lnTo>
                    <a:pt x="5265" y="84"/>
                  </a:lnTo>
                  <a:lnTo>
                    <a:pt x="5251" y="91"/>
                  </a:lnTo>
                  <a:lnTo>
                    <a:pt x="5216" y="109"/>
                  </a:lnTo>
                  <a:lnTo>
                    <a:pt x="5202" y="119"/>
                  </a:lnTo>
                  <a:lnTo>
                    <a:pt x="5174" y="133"/>
                  </a:lnTo>
                  <a:lnTo>
                    <a:pt x="5160" y="140"/>
                  </a:lnTo>
                  <a:lnTo>
                    <a:pt x="5136" y="151"/>
                  </a:lnTo>
                  <a:lnTo>
                    <a:pt x="5122" y="158"/>
                  </a:lnTo>
                  <a:lnTo>
                    <a:pt x="5104" y="168"/>
                  </a:lnTo>
                  <a:lnTo>
                    <a:pt x="5094" y="175"/>
                  </a:lnTo>
                  <a:lnTo>
                    <a:pt x="5076" y="182"/>
                  </a:lnTo>
                  <a:lnTo>
                    <a:pt x="5066" y="189"/>
                  </a:lnTo>
                  <a:lnTo>
                    <a:pt x="5055" y="196"/>
                  </a:lnTo>
                  <a:lnTo>
                    <a:pt x="5045" y="200"/>
                  </a:lnTo>
                  <a:lnTo>
                    <a:pt x="5038" y="207"/>
                  </a:lnTo>
                  <a:lnTo>
                    <a:pt x="5031" y="210"/>
                  </a:lnTo>
                  <a:lnTo>
                    <a:pt x="5020" y="217"/>
                  </a:lnTo>
                  <a:lnTo>
                    <a:pt x="5017" y="221"/>
                  </a:lnTo>
                  <a:lnTo>
                    <a:pt x="5010" y="224"/>
                  </a:lnTo>
                  <a:lnTo>
                    <a:pt x="5006" y="228"/>
                  </a:lnTo>
                  <a:lnTo>
                    <a:pt x="4999" y="231"/>
                  </a:lnTo>
                  <a:lnTo>
                    <a:pt x="4996" y="235"/>
                  </a:lnTo>
                  <a:lnTo>
                    <a:pt x="4992" y="238"/>
                  </a:lnTo>
                  <a:lnTo>
                    <a:pt x="4989" y="242"/>
                  </a:lnTo>
                  <a:cubicBezTo>
                    <a:pt x="4954" y="305"/>
                    <a:pt x="4884" y="316"/>
                    <a:pt x="4819" y="316"/>
                  </a:cubicBezTo>
                  <a:cubicBezTo>
                    <a:pt x="4805" y="316"/>
                    <a:pt x="4792" y="316"/>
                    <a:pt x="4779" y="315"/>
                  </a:cubicBezTo>
                  <a:cubicBezTo>
                    <a:pt x="4768" y="315"/>
                    <a:pt x="4757" y="315"/>
                    <a:pt x="4747" y="315"/>
                  </a:cubicBezTo>
                  <a:cubicBezTo>
                    <a:pt x="4683" y="315"/>
                    <a:pt x="4629" y="318"/>
                    <a:pt x="4590" y="354"/>
                  </a:cubicBezTo>
                  <a:cubicBezTo>
                    <a:pt x="4529" y="406"/>
                    <a:pt x="4474" y="423"/>
                    <a:pt x="4425" y="423"/>
                  </a:cubicBezTo>
                  <a:cubicBezTo>
                    <a:pt x="4368" y="423"/>
                    <a:pt x="4318" y="400"/>
                    <a:pt x="4275" y="382"/>
                  </a:cubicBezTo>
                  <a:cubicBezTo>
                    <a:pt x="4254" y="368"/>
                    <a:pt x="4229" y="361"/>
                    <a:pt x="4205" y="350"/>
                  </a:cubicBezTo>
                  <a:cubicBezTo>
                    <a:pt x="4200" y="349"/>
                    <a:pt x="4196" y="348"/>
                    <a:pt x="4192" y="348"/>
                  </a:cubicBezTo>
                  <a:cubicBezTo>
                    <a:pt x="4186" y="348"/>
                    <a:pt x="4181" y="350"/>
                    <a:pt x="4177" y="354"/>
                  </a:cubicBezTo>
                  <a:cubicBezTo>
                    <a:pt x="4149" y="371"/>
                    <a:pt x="4121" y="434"/>
                    <a:pt x="4110" y="508"/>
                  </a:cubicBezTo>
                  <a:cubicBezTo>
                    <a:pt x="4103" y="543"/>
                    <a:pt x="4086" y="571"/>
                    <a:pt x="4058" y="588"/>
                  </a:cubicBezTo>
                  <a:cubicBezTo>
                    <a:pt x="4023" y="613"/>
                    <a:pt x="3976" y="622"/>
                    <a:pt x="3923" y="622"/>
                  </a:cubicBezTo>
                  <a:cubicBezTo>
                    <a:pt x="3859" y="622"/>
                    <a:pt x="3786" y="609"/>
                    <a:pt x="3718" y="595"/>
                  </a:cubicBezTo>
                  <a:lnTo>
                    <a:pt x="3708" y="595"/>
                  </a:lnTo>
                  <a:cubicBezTo>
                    <a:pt x="3638" y="599"/>
                    <a:pt x="3568" y="609"/>
                    <a:pt x="3501" y="627"/>
                  </a:cubicBezTo>
                  <a:cubicBezTo>
                    <a:pt x="3421" y="644"/>
                    <a:pt x="3336" y="658"/>
                    <a:pt x="3252" y="662"/>
                  </a:cubicBezTo>
                  <a:cubicBezTo>
                    <a:pt x="3248" y="662"/>
                    <a:pt x="3243" y="662"/>
                    <a:pt x="3238" y="662"/>
                  </a:cubicBezTo>
                  <a:cubicBezTo>
                    <a:pt x="3174" y="662"/>
                    <a:pt x="3115" y="619"/>
                    <a:pt x="3105" y="553"/>
                  </a:cubicBezTo>
                  <a:cubicBezTo>
                    <a:pt x="3102" y="525"/>
                    <a:pt x="3081" y="504"/>
                    <a:pt x="3053" y="497"/>
                  </a:cubicBezTo>
                  <a:cubicBezTo>
                    <a:pt x="3035" y="492"/>
                    <a:pt x="3019" y="489"/>
                    <a:pt x="3003" y="489"/>
                  </a:cubicBezTo>
                  <a:cubicBezTo>
                    <a:pt x="2957" y="489"/>
                    <a:pt x="2916" y="508"/>
                    <a:pt x="2874" y="529"/>
                  </a:cubicBezTo>
                  <a:cubicBezTo>
                    <a:pt x="2836" y="550"/>
                    <a:pt x="2794" y="564"/>
                    <a:pt x="2748" y="567"/>
                  </a:cubicBezTo>
                  <a:lnTo>
                    <a:pt x="2650" y="567"/>
                  </a:lnTo>
                  <a:lnTo>
                    <a:pt x="2626" y="564"/>
                  </a:lnTo>
                  <a:lnTo>
                    <a:pt x="2601" y="560"/>
                  </a:lnTo>
                  <a:lnTo>
                    <a:pt x="2573" y="557"/>
                  </a:lnTo>
                  <a:lnTo>
                    <a:pt x="2552" y="553"/>
                  </a:lnTo>
                  <a:lnTo>
                    <a:pt x="2531" y="553"/>
                  </a:lnTo>
                  <a:lnTo>
                    <a:pt x="2510" y="550"/>
                  </a:lnTo>
                  <a:lnTo>
                    <a:pt x="2500" y="550"/>
                  </a:lnTo>
                  <a:cubicBezTo>
                    <a:pt x="2496" y="599"/>
                    <a:pt x="2489" y="648"/>
                    <a:pt x="2472" y="693"/>
                  </a:cubicBezTo>
                  <a:cubicBezTo>
                    <a:pt x="2416" y="840"/>
                    <a:pt x="2517" y="1148"/>
                    <a:pt x="2598" y="1393"/>
                  </a:cubicBezTo>
                  <a:cubicBezTo>
                    <a:pt x="2647" y="1523"/>
                    <a:pt x="2685" y="1656"/>
                    <a:pt x="2710" y="1793"/>
                  </a:cubicBezTo>
                  <a:lnTo>
                    <a:pt x="2724" y="1807"/>
                  </a:lnTo>
                  <a:lnTo>
                    <a:pt x="2759" y="1835"/>
                  </a:lnTo>
                  <a:lnTo>
                    <a:pt x="2780" y="1852"/>
                  </a:lnTo>
                  <a:lnTo>
                    <a:pt x="2811" y="1884"/>
                  </a:lnTo>
                  <a:lnTo>
                    <a:pt x="2829" y="1898"/>
                  </a:lnTo>
                  <a:lnTo>
                    <a:pt x="2857" y="1926"/>
                  </a:lnTo>
                  <a:lnTo>
                    <a:pt x="2874" y="1943"/>
                  </a:lnTo>
                  <a:lnTo>
                    <a:pt x="2902" y="1968"/>
                  </a:lnTo>
                  <a:lnTo>
                    <a:pt x="2916" y="1982"/>
                  </a:lnTo>
                  <a:lnTo>
                    <a:pt x="2941" y="2006"/>
                  </a:lnTo>
                  <a:lnTo>
                    <a:pt x="2955" y="2020"/>
                  </a:lnTo>
                  <a:lnTo>
                    <a:pt x="2972" y="2041"/>
                  </a:lnTo>
                  <a:lnTo>
                    <a:pt x="2986" y="2055"/>
                  </a:lnTo>
                  <a:lnTo>
                    <a:pt x="3004" y="2073"/>
                  </a:lnTo>
                  <a:lnTo>
                    <a:pt x="3014" y="2087"/>
                  </a:lnTo>
                  <a:lnTo>
                    <a:pt x="3028" y="2101"/>
                  </a:lnTo>
                  <a:cubicBezTo>
                    <a:pt x="3039" y="2115"/>
                    <a:pt x="3049" y="2129"/>
                    <a:pt x="3056" y="2139"/>
                  </a:cubicBezTo>
                  <a:cubicBezTo>
                    <a:pt x="3098" y="2192"/>
                    <a:pt x="3116" y="2262"/>
                    <a:pt x="3102" y="2328"/>
                  </a:cubicBezTo>
                  <a:cubicBezTo>
                    <a:pt x="3098" y="2346"/>
                    <a:pt x="3095" y="2363"/>
                    <a:pt x="3091" y="2381"/>
                  </a:cubicBezTo>
                  <a:lnTo>
                    <a:pt x="3084" y="2405"/>
                  </a:lnTo>
                  <a:cubicBezTo>
                    <a:pt x="3060" y="2500"/>
                    <a:pt x="3053" y="2594"/>
                    <a:pt x="3060" y="2689"/>
                  </a:cubicBezTo>
                  <a:cubicBezTo>
                    <a:pt x="3070" y="2979"/>
                    <a:pt x="2976" y="3025"/>
                    <a:pt x="2846" y="3049"/>
                  </a:cubicBezTo>
                  <a:cubicBezTo>
                    <a:pt x="2804" y="3053"/>
                    <a:pt x="2762" y="3070"/>
                    <a:pt x="2727" y="3098"/>
                  </a:cubicBezTo>
                  <a:cubicBezTo>
                    <a:pt x="2661" y="3158"/>
                    <a:pt x="2678" y="3291"/>
                    <a:pt x="2696" y="3399"/>
                  </a:cubicBezTo>
                  <a:cubicBezTo>
                    <a:pt x="2706" y="3473"/>
                    <a:pt x="2717" y="3529"/>
                    <a:pt x="2699" y="3574"/>
                  </a:cubicBezTo>
                  <a:cubicBezTo>
                    <a:pt x="2696" y="3581"/>
                    <a:pt x="2692" y="3588"/>
                    <a:pt x="2685" y="3595"/>
                  </a:cubicBezTo>
                  <a:cubicBezTo>
                    <a:pt x="2682" y="3599"/>
                    <a:pt x="2675" y="3606"/>
                    <a:pt x="2671" y="3609"/>
                  </a:cubicBezTo>
                  <a:cubicBezTo>
                    <a:pt x="2664" y="3613"/>
                    <a:pt x="2661" y="3617"/>
                    <a:pt x="2654" y="3617"/>
                  </a:cubicBezTo>
                  <a:lnTo>
                    <a:pt x="2626" y="3617"/>
                  </a:lnTo>
                  <a:cubicBezTo>
                    <a:pt x="2489" y="3613"/>
                    <a:pt x="2094" y="2962"/>
                    <a:pt x="2073" y="2902"/>
                  </a:cubicBezTo>
                  <a:cubicBezTo>
                    <a:pt x="2055" y="2843"/>
                    <a:pt x="2073" y="2766"/>
                    <a:pt x="2118" y="2619"/>
                  </a:cubicBezTo>
                  <a:cubicBezTo>
                    <a:pt x="2160" y="2475"/>
                    <a:pt x="2209" y="2300"/>
                    <a:pt x="2185" y="2181"/>
                  </a:cubicBezTo>
                  <a:cubicBezTo>
                    <a:pt x="2185" y="2157"/>
                    <a:pt x="2171" y="2136"/>
                    <a:pt x="2150" y="2122"/>
                  </a:cubicBezTo>
                  <a:cubicBezTo>
                    <a:pt x="2134" y="2113"/>
                    <a:pt x="2113" y="2109"/>
                    <a:pt x="2090" y="2109"/>
                  </a:cubicBezTo>
                  <a:cubicBezTo>
                    <a:pt x="2032" y="2109"/>
                    <a:pt x="1960" y="2131"/>
                    <a:pt x="1905" y="2146"/>
                  </a:cubicBezTo>
                  <a:cubicBezTo>
                    <a:pt x="1880" y="2157"/>
                    <a:pt x="1852" y="2164"/>
                    <a:pt x="1824" y="2167"/>
                  </a:cubicBezTo>
                  <a:cubicBezTo>
                    <a:pt x="1818" y="2168"/>
                    <a:pt x="1811" y="2169"/>
                    <a:pt x="1804" y="2169"/>
                  </a:cubicBezTo>
                  <a:cubicBezTo>
                    <a:pt x="1726" y="2169"/>
                    <a:pt x="1639" y="2095"/>
                    <a:pt x="1516" y="1985"/>
                  </a:cubicBezTo>
                  <a:lnTo>
                    <a:pt x="1495" y="1968"/>
                  </a:lnTo>
                  <a:lnTo>
                    <a:pt x="1488" y="1957"/>
                  </a:lnTo>
                  <a:lnTo>
                    <a:pt x="1471" y="1947"/>
                  </a:lnTo>
                  <a:lnTo>
                    <a:pt x="1464" y="1936"/>
                  </a:lnTo>
                  <a:lnTo>
                    <a:pt x="1450" y="1929"/>
                  </a:lnTo>
                  <a:lnTo>
                    <a:pt x="1443" y="1922"/>
                  </a:lnTo>
                  <a:lnTo>
                    <a:pt x="1436" y="1915"/>
                  </a:lnTo>
                  <a:cubicBezTo>
                    <a:pt x="1320" y="1947"/>
                    <a:pt x="595" y="2213"/>
                    <a:pt x="56" y="2416"/>
                  </a:cubicBezTo>
                  <a:lnTo>
                    <a:pt x="53" y="2416"/>
                  </a:lnTo>
                  <a:lnTo>
                    <a:pt x="0" y="2433"/>
                  </a:lnTo>
                  <a:lnTo>
                    <a:pt x="119" y="2860"/>
                  </a:lnTo>
                  <a:lnTo>
                    <a:pt x="102" y="2860"/>
                  </a:lnTo>
                  <a:lnTo>
                    <a:pt x="126" y="2913"/>
                  </a:lnTo>
                  <a:cubicBezTo>
                    <a:pt x="252" y="2923"/>
                    <a:pt x="627" y="2962"/>
                    <a:pt x="823" y="3091"/>
                  </a:cubicBezTo>
                  <a:cubicBezTo>
                    <a:pt x="952" y="3179"/>
                    <a:pt x="1131" y="3217"/>
                    <a:pt x="1264" y="3249"/>
                  </a:cubicBezTo>
                  <a:cubicBezTo>
                    <a:pt x="1331" y="3259"/>
                    <a:pt x="1394" y="3280"/>
                    <a:pt x="1453" y="3308"/>
                  </a:cubicBezTo>
                  <a:cubicBezTo>
                    <a:pt x="1520" y="3354"/>
                    <a:pt x="1523" y="3473"/>
                    <a:pt x="1509" y="3809"/>
                  </a:cubicBezTo>
                  <a:cubicBezTo>
                    <a:pt x="1499" y="3942"/>
                    <a:pt x="1499" y="4075"/>
                    <a:pt x="1506" y="4205"/>
                  </a:cubicBezTo>
                  <a:cubicBezTo>
                    <a:pt x="1520" y="4366"/>
                    <a:pt x="1439" y="4464"/>
                    <a:pt x="1376" y="4537"/>
                  </a:cubicBezTo>
                  <a:cubicBezTo>
                    <a:pt x="1310" y="4618"/>
                    <a:pt x="1313" y="4625"/>
                    <a:pt x="1341" y="4649"/>
                  </a:cubicBezTo>
                  <a:cubicBezTo>
                    <a:pt x="1432" y="4744"/>
                    <a:pt x="1450" y="4866"/>
                    <a:pt x="1464" y="4957"/>
                  </a:cubicBezTo>
                  <a:cubicBezTo>
                    <a:pt x="1467" y="4989"/>
                    <a:pt x="1474" y="5017"/>
                    <a:pt x="1485" y="5048"/>
                  </a:cubicBezTo>
                  <a:cubicBezTo>
                    <a:pt x="1520" y="5059"/>
                    <a:pt x="1544" y="5087"/>
                    <a:pt x="1548" y="5122"/>
                  </a:cubicBezTo>
                  <a:cubicBezTo>
                    <a:pt x="1569" y="5248"/>
                    <a:pt x="1310" y="5517"/>
                    <a:pt x="1204" y="5580"/>
                  </a:cubicBezTo>
                  <a:cubicBezTo>
                    <a:pt x="1180" y="5594"/>
                    <a:pt x="1176" y="5664"/>
                    <a:pt x="1173" y="5735"/>
                  </a:cubicBezTo>
                  <a:cubicBezTo>
                    <a:pt x="1173" y="5843"/>
                    <a:pt x="1166" y="5980"/>
                    <a:pt x="1078" y="6095"/>
                  </a:cubicBezTo>
                  <a:cubicBezTo>
                    <a:pt x="1008" y="6190"/>
                    <a:pt x="844" y="6347"/>
                    <a:pt x="686" y="6498"/>
                  </a:cubicBezTo>
                  <a:lnTo>
                    <a:pt x="609" y="6568"/>
                  </a:lnTo>
                  <a:lnTo>
                    <a:pt x="592" y="6585"/>
                  </a:lnTo>
                  <a:lnTo>
                    <a:pt x="560" y="6613"/>
                  </a:lnTo>
                  <a:cubicBezTo>
                    <a:pt x="571" y="6638"/>
                    <a:pt x="578" y="6662"/>
                    <a:pt x="585" y="6687"/>
                  </a:cubicBezTo>
                  <a:lnTo>
                    <a:pt x="592" y="6718"/>
                  </a:lnTo>
                  <a:lnTo>
                    <a:pt x="595" y="6729"/>
                  </a:lnTo>
                  <a:lnTo>
                    <a:pt x="602" y="6760"/>
                  </a:lnTo>
                  <a:lnTo>
                    <a:pt x="606" y="6774"/>
                  </a:lnTo>
                  <a:lnTo>
                    <a:pt x="616" y="6813"/>
                  </a:lnTo>
                  <a:lnTo>
                    <a:pt x="620" y="6823"/>
                  </a:lnTo>
                  <a:lnTo>
                    <a:pt x="630" y="6879"/>
                  </a:lnTo>
                  <a:cubicBezTo>
                    <a:pt x="679" y="7079"/>
                    <a:pt x="791" y="7544"/>
                    <a:pt x="868" y="7586"/>
                  </a:cubicBezTo>
                  <a:cubicBezTo>
                    <a:pt x="1075" y="7709"/>
                    <a:pt x="949" y="8640"/>
                    <a:pt x="949" y="8651"/>
                  </a:cubicBezTo>
                  <a:lnTo>
                    <a:pt x="949" y="8654"/>
                  </a:lnTo>
                  <a:lnTo>
                    <a:pt x="949" y="8714"/>
                  </a:lnTo>
                  <a:lnTo>
                    <a:pt x="949" y="8738"/>
                  </a:lnTo>
                  <a:lnTo>
                    <a:pt x="952" y="8780"/>
                  </a:lnTo>
                  <a:cubicBezTo>
                    <a:pt x="956" y="8857"/>
                    <a:pt x="970" y="8955"/>
                    <a:pt x="984" y="9085"/>
                  </a:cubicBezTo>
                  <a:lnTo>
                    <a:pt x="998" y="9193"/>
                  </a:lnTo>
                  <a:lnTo>
                    <a:pt x="1005" y="9193"/>
                  </a:lnTo>
                  <a:lnTo>
                    <a:pt x="1029" y="9190"/>
                  </a:lnTo>
                  <a:lnTo>
                    <a:pt x="1033" y="9190"/>
                  </a:lnTo>
                  <a:cubicBezTo>
                    <a:pt x="1099" y="9183"/>
                    <a:pt x="1194" y="9176"/>
                    <a:pt x="1289" y="9172"/>
                  </a:cubicBezTo>
                  <a:cubicBezTo>
                    <a:pt x="1296" y="9099"/>
                    <a:pt x="1303" y="9022"/>
                    <a:pt x="1306" y="8962"/>
                  </a:cubicBezTo>
                  <a:cubicBezTo>
                    <a:pt x="1310" y="8938"/>
                    <a:pt x="1310" y="8913"/>
                    <a:pt x="1303" y="8889"/>
                  </a:cubicBezTo>
                  <a:lnTo>
                    <a:pt x="1274" y="8889"/>
                  </a:lnTo>
                  <a:cubicBezTo>
                    <a:pt x="1265" y="8890"/>
                    <a:pt x="1256" y="8891"/>
                    <a:pt x="1247" y="8891"/>
                  </a:cubicBezTo>
                  <a:cubicBezTo>
                    <a:pt x="1177" y="8891"/>
                    <a:pt x="1114" y="8845"/>
                    <a:pt x="1092" y="8777"/>
                  </a:cubicBezTo>
                  <a:cubicBezTo>
                    <a:pt x="1005" y="8532"/>
                    <a:pt x="1597" y="8210"/>
                    <a:pt x="1989" y="8063"/>
                  </a:cubicBezTo>
                  <a:cubicBezTo>
                    <a:pt x="2447" y="7895"/>
                    <a:pt x="2598" y="7804"/>
                    <a:pt x="2636" y="7677"/>
                  </a:cubicBezTo>
                  <a:cubicBezTo>
                    <a:pt x="2654" y="7611"/>
                    <a:pt x="2654" y="7474"/>
                    <a:pt x="2654" y="7341"/>
                  </a:cubicBezTo>
                  <a:cubicBezTo>
                    <a:pt x="2654" y="7166"/>
                    <a:pt x="2654" y="6988"/>
                    <a:pt x="2692" y="6883"/>
                  </a:cubicBezTo>
                  <a:cubicBezTo>
                    <a:pt x="2724" y="6795"/>
                    <a:pt x="2706" y="6732"/>
                    <a:pt x="2671" y="6603"/>
                  </a:cubicBezTo>
                  <a:cubicBezTo>
                    <a:pt x="2636" y="6480"/>
                    <a:pt x="2612" y="6354"/>
                    <a:pt x="2594" y="6225"/>
                  </a:cubicBezTo>
                  <a:cubicBezTo>
                    <a:pt x="2573" y="6064"/>
                    <a:pt x="2521" y="5910"/>
                    <a:pt x="2433" y="5770"/>
                  </a:cubicBezTo>
                  <a:cubicBezTo>
                    <a:pt x="2388" y="5700"/>
                    <a:pt x="2353" y="5622"/>
                    <a:pt x="2328" y="5538"/>
                  </a:cubicBezTo>
                  <a:cubicBezTo>
                    <a:pt x="2290" y="5409"/>
                    <a:pt x="2262" y="5227"/>
                    <a:pt x="2335" y="5118"/>
                  </a:cubicBezTo>
                  <a:cubicBezTo>
                    <a:pt x="2367" y="5073"/>
                    <a:pt x="2419" y="5045"/>
                    <a:pt x="2475" y="5045"/>
                  </a:cubicBezTo>
                  <a:cubicBezTo>
                    <a:pt x="2545" y="5038"/>
                    <a:pt x="2552" y="5031"/>
                    <a:pt x="2619" y="4898"/>
                  </a:cubicBezTo>
                  <a:cubicBezTo>
                    <a:pt x="2633" y="4866"/>
                    <a:pt x="2650" y="4831"/>
                    <a:pt x="2671" y="4789"/>
                  </a:cubicBezTo>
                  <a:cubicBezTo>
                    <a:pt x="2752" y="4635"/>
                    <a:pt x="2843" y="4607"/>
                    <a:pt x="2941" y="4576"/>
                  </a:cubicBezTo>
                  <a:cubicBezTo>
                    <a:pt x="3018" y="4555"/>
                    <a:pt x="3088" y="4520"/>
                    <a:pt x="3154" y="4474"/>
                  </a:cubicBezTo>
                  <a:cubicBezTo>
                    <a:pt x="3231" y="4411"/>
                    <a:pt x="3301" y="4334"/>
                    <a:pt x="3354" y="4247"/>
                  </a:cubicBezTo>
                  <a:cubicBezTo>
                    <a:pt x="3452" y="4093"/>
                    <a:pt x="3578" y="3956"/>
                    <a:pt x="3725" y="3844"/>
                  </a:cubicBezTo>
                  <a:cubicBezTo>
                    <a:pt x="3928" y="3687"/>
                    <a:pt x="4142" y="3624"/>
                    <a:pt x="4348" y="3560"/>
                  </a:cubicBezTo>
                  <a:cubicBezTo>
                    <a:pt x="4506" y="3518"/>
                    <a:pt x="4656" y="3459"/>
                    <a:pt x="4800" y="3378"/>
                  </a:cubicBezTo>
                  <a:cubicBezTo>
                    <a:pt x="5122" y="3189"/>
                    <a:pt x="5654" y="2444"/>
                    <a:pt x="5637" y="2318"/>
                  </a:cubicBezTo>
                  <a:cubicBezTo>
                    <a:pt x="5577" y="2167"/>
                    <a:pt x="5462" y="1505"/>
                    <a:pt x="5497" y="1222"/>
                  </a:cubicBezTo>
                  <a:cubicBezTo>
                    <a:pt x="5514" y="1068"/>
                    <a:pt x="5497" y="756"/>
                    <a:pt x="5472" y="455"/>
                  </a:cubicBezTo>
                  <a:cubicBezTo>
                    <a:pt x="5462" y="287"/>
                    <a:pt x="5451" y="126"/>
                    <a:pt x="5448"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580" name="Google Shape;6580;p104"/>
            <p:cNvSpPr/>
            <p:nvPr/>
          </p:nvSpPr>
          <p:spPr>
            <a:xfrm>
              <a:off x="2344428" y="2155362"/>
              <a:ext cx="14" cy="14"/>
            </a:xfrm>
            <a:custGeom>
              <a:avLst/>
              <a:gdLst/>
              <a:ahLst/>
              <a:cxnLst/>
              <a:rect l="l" t="t" r="r" b="b"/>
              <a:pathLst>
                <a:path w="1" h="1" extrusionOk="0">
                  <a:moveTo>
                    <a:pt x="0"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581" name="Google Shape;6581;p104"/>
            <p:cNvSpPr/>
            <p:nvPr/>
          </p:nvSpPr>
          <p:spPr>
            <a:xfrm>
              <a:off x="2275454" y="2213298"/>
              <a:ext cx="489" cy="448"/>
            </a:xfrm>
            <a:custGeom>
              <a:avLst/>
              <a:gdLst/>
              <a:ahLst/>
              <a:cxnLst/>
              <a:rect l="l" t="t" r="r" b="b"/>
              <a:pathLst>
                <a:path w="36" h="33" extrusionOk="0">
                  <a:moveTo>
                    <a:pt x="35" y="1"/>
                  </a:moveTo>
                  <a:lnTo>
                    <a:pt x="0" y="32"/>
                  </a:lnTo>
                  <a:lnTo>
                    <a:pt x="4" y="32"/>
                  </a:lnTo>
                  <a:lnTo>
                    <a:pt x="35"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582" name="Google Shape;6582;p104"/>
            <p:cNvSpPr/>
            <p:nvPr/>
          </p:nvSpPr>
          <p:spPr>
            <a:xfrm>
              <a:off x="2276119" y="2212116"/>
              <a:ext cx="1059" cy="964"/>
            </a:xfrm>
            <a:custGeom>
              <a:avLst/>
              <a:gdLst/>
              <a:ahLst/>
              <a:cxnLst/>
              <a:rect l="l" t="t" r="r" b="b"/>
              <a:pathLst>
                <a:path w="78" h="71" extrusionOk="0">
                  <a:moveTo>
                    <a:pt x="77" y="0"/>
                  </a:moveTo>
                  <a:lnTo>
                    <a:pt x="0" y="7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583" name="Google Shape;6583;p104"/>
            <p:cNvSpPr/>
            <p:nvPr/>
          </p:nvSpPr>
          <p:spPr>
            <a:xfrm>
              <a:off x="2280777" y="2242204"/>
              <a:ext cx="14" cy="339"/>
            </a:xfrm>
            <a:custGeom>
              <a:avLst/>
              <a:gdLst/>
              <a:ahLst/>
              <a:cxnLst/>
              <a:rect l="l" t="t" r="r" b="b"/>
              <a:pathLst>
                <a:path w="1" h="25" extrusionOk="0">
                  <a:moveTo>
                    <a:pt x="0" y="25"/>
                  </a:moveTo>
                  <a:lnTo>
                    <a:pt x="0" y="0"/>
                  </a:lnTo>
                  <a:lnTo>
                    <a:pt x="0" y="25"/>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584" name="Google Shape;6584;p104"/>
            <p:cNvSpPr/>
            <p:nvPr/>
          </p:nvSpPr>
          <p:spPr>
            <a:xfrm>
              <a:off x="2280817" y="2243155"/>
              <a:ext cx="448" cy="4141"/>
            </a:xfrm>
            <a:custGeom>
              <a:avLst/>
              <a:gdLst/>
              <a:ahLst/>
              <a:cxnLst/>
              <a:rect l="l" t="t" r="r" b="b"/>
              <a:pathLst>
                <a:path w="33" h="305" extrusionOk="0">
                  <a:moveTo>
                    <a:pt x="1" y="0"/>
                  </a:moveTo>
                  <a:lnTo>
                    <a:pt x="1" y="35"/>
                  </a:lnTo>
                  <a:cubicBezTo>
                    <a:pt x="4" y="54"/>
                    <a:pt x="6" y="74"/>
                    <a:pt x="9" y="95"/>
                  </a:cubicBezTo>
                  <a:lnTo>
                    <a:pt x="9" y="95"/>
                  </a:lnTo>
                  <a:cubicBezTo>
                    <a:pt x="5" y="59"/>
                    <a:pt x="2" y="28"/>
                    <a:pt x="1" y="0"/>
                  </a:cubicBezTo>
                  <a:close/>
                  <a:moveTo>
                    <a:pt x="9" y="95"/>
                  </a:moveTo>
                  <a:cubicBezTo>
                    <a:pt x="15" y="155"/>
                    <a:pt x="24" y="226"/>
                    <a:pt x="32" y="305"/>
                  </a:cubicBezTo>
                  <a:cubicBezTo>
                    <a:pt x="25" y="231"/>
                    <a:pt x="17" y="159"/>
                    <a:pt x="9" y="95"/>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585" name="Google Shape;6585;p104"/>
            <p:cNvSpPr/>
            <p:nvPr/>
          </p:nvSpPr>
          <p:spPr>
            <a:xfrm>
              <a:off x="2281252" y="2247282"/>
              <a:ext cx="204" cy="1494"/>
            </a:xfrm>
            <a:custGeom>
              <a:avLst/>
              <a:gdLst/>
              <a:ahLst/>
              <a:cxnLst/>
              <a:rect l="l" t="t" r="r" b="b"/>
              <a:pathLst>
                <a:path w="15" h="110" extrusionOk="0">
                  <a:moveTo>
                    <a:pt x="0" y="1"/>
                  </a:moveTo>
                  <a:cubicBezTo>
                    <a:pt x="4" y="36"/>
                    <a:pt x="7" y="71"/>
                    <a:pt x="14" y="109"/>
                  </a:cubicBezTo>
                  <a:lnTo>
                    <a:pt x="0"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586" name="Google Shape;6586;p104"/>
            <p:cNvSpPr/>
            <p:nvPr/>
          </p:nvSpPr>
          <p:spPr>
            <a:xfrm>
              <a:off x="2276215" y="2216393"/>
              <a:ext cx="54" cy="149"/>
            </a:xfrm>
            <a:custGeom>
              <a:avLst/>
              <a:gdLst/>
              <a:ahLst/>
              <a:cxnLst/>
              <a:rect l="l" t="t" r="r" b="b"/>
              <a:pathLst>
                <a:path w="4" h="11" extrusionOk="0">
                  <a:moveTo>
                    <a:pt x="0" y="0"/>
                  </a:moveTo>
                  <a:lnTo>
                    <a:pt x="4" y="1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587" name="Google Shape;6587;p104"/>
            <p:cNvSpPr/>
            <p:nvPr/>
          </p:nvSpPr>
          <p:spPr>
            <a:xfrm>
              <a:off x="2280722" y="2241389"/>
              <a:ext cx="14" cy="828"/>
            </a:xfrm>
            <a:custGeom>
              <a:avLst/>
              <a:gdLst/>
              <a:ahLst/>
              <a:cxnLst/>
              <a:rect l="l" t="t" r="r" b="b"/>
              <a:pathLst>
                <a:path w="1" h="61" extrusionOk="0">
                  <a:moveTo>
                    <a:pt x="1" y="53"/>
                  </a:moveTo>
                  <a:lnTo>
                    <a:pt x="1" y="53"/>
                  </a:lnTo>
                  <a:lnTo>
                    <a:pt x="1" y="60"/>
                  </a:lnTo>
                  <a:lnTo>
                    <a:pt x="1" y="1"/>
                  </a:lnTo>
                  <a:cubicBezTo>
                    <a:pt x="1" y="18"/>
                    <a:pt x="1" y="36"/>
                    <a:pt x="1" y="53"/>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588" name="Google Shape;6588;p104"/>
            <p:cNvSpPr/>
            <p:nvPr/>
          </p:nvSpPr>
          <p:spPr>
            <a:xfrm>
              <a:off x="2281917" y="2248708"/>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589" name="Google Shape;6589;p104"/>
            <p:cNvSpPr/>
            <p:nvPr/>
          </p:nvSpPr>
          <p:spPr>
            <a:xfrm>
              <a:off x="2280777" y="2242530"/>
              <a:ext cx="54" cy="638"/>
            </a:xfrm>
            <a:custGeom>
              <a:avLst/>
              <a:gdLst/>
              <a:ahLst/>
              <a:cxnLst/>
              <a:rect l="l" t="t" r="r" b="b"/>
              <a:pathLst>
                <a:path w="4" h="47" extrusionOk="0">
                  <a:moveTo>
                    <a:pt x="0" y="1"/>
                  </a:moveTo>
                  <a:cubicBezTo>
                    <a:pt x="0" y="15"/>
                    <a:pt x="0" y="32"/>
                    <a:pt x="4" y="46"/>
                  </a:cubicBezTo>
                  <a:lnTo>
                    <a:pt x="0"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590" name="Google Shape;6590;p104"/>
            <p:cNvSpPr/>
            <p:nvPr/>
          </p:nvSpPr>
          <p:spPr>
            <a:xfrm>
              <a:off x="2275875" y="2215158"/>
              <a:ext cx="68" cy="109"/>
            </a:xfrm>
            <a:custGeom>
              <a:avLst/>
              <a:gdLst/>
              <a:ahLst/>
              <a:cxnLst/>
              <a:rect l="l" t="t" r="r" b="b"/>
              <a:pathLst>
                <a:path w="5" h="8" extrusionOk="0">
                  <a:moveTo>
                    <a:pt x="1" y="0"/>
                  </a:moveTo>
                  <a:lnTo>
                    <a:pt x="4" y="7"/>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591" name="Google Shape;6591;p104"/>
            <p:cNvSpPr/>
            <p:nvPr/>
          </p:nvSpPr>
          <p:spPr>
            <a:xfrm>
              <a:off x="2275780" y="2214683"/>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592" name="Google Shape;6592;p104"/>
            <p:cNvSpPr/>
            <p:nvPr/>
          </p:nvSpPr>
          <p:spPr>
            <a:xfrm>
              <a:off x="2276024" y="2215728"/>
              <a:ext cx="54" cy="149"/>
            </a:xfrm>
            <a:custGeom>
              <a:avLst/>
              <a:gdLst/>
              <a:ahLst/>
              <a:cxnLst/>
              <a:rect l="l" t="t" r="r" b="b"/>
              <a:pathLst>
                <a:path w="4" h="11" extrusionOk="0">
                  <a:moveTo>
                    <a:pt x="0" y="0"/>
                  </a:moveTo>
                  <a:lnTo>
                    <a:pt x="4" y="1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593" name="Google Shape;6593;p104"/>
            <p:cNvSpPr/>
            <p:nvPr/>
          </p:nvSpPr>
          <p:spPr>
            <a:xfrm>
              <a:off x="2280722" y="2242109"/>
              <a:ext cx="163" cy="1534"/>
            </a:xfrm>
            <a:custGeom>
              <a:avLst/>
              <a:gdLst/>
              <a:ahLst/>
              <a:cxnLst/>
              <a:rect l="l" t="t" r="r" b="b"/>
              <a:pathLst>
                <a:path w="12" h="113" extrusionOk="0">
                  <a:moveTo>
                    <a:pt x="1" y="0"/>
                  </a:moveTo>
                  <a:cubicBezTo>
                    <a:pt x="1" y="28"/>
                    <a:pt x="4" y="67"/>
                    <a:pt x="11" y="112"/>
                  </a:cubicBezTo>
                  <a:lnTo>
                    <a:pt x="8" y="77"/>
                  </a:lnTo>
                  <a:cubicBezTo>
                    <a:pt x="8" y="60"/>
                    <a:pt x="4" y="46"/>
                    <a:pt x="4" y="32"/>
                  </a:cubicBezTo>
                  <a:lnTo>
                    <a:pt x="4" y="7"/>
                  </a:lnTo>
                  <a:lnTo>
                    <a:pt x="4"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594" name="Google Shape;6594;p104"/>
            <p:cNvSpPr/>
            <p:nvPr/>
          </p:nvSpPr>
          <p:spPr>
            <a:xfrm>
              <a:off x="2281252" y="2247296"/>
              <a:ext cx="204" cy="1480"/>
            </a:xfrm>
            <a:custGeom>
              <a:avLst/>
              <a:gdLst/>
              <a:ahLst/>
              <a:cxnLst/>
              <a:rect l="l" t="t" r="r" b="b"/>
              <a:pathLst>
                <a:path w="15" h="109" extrusionOk="0">
                  <a:moveTo>
                    <a:pt x="0" y="0"/>
                  </a:moveTo>
                  <a:lnTo>
                    <a:pt x="0" y="0"/>
                  </a:lnTo>
                  <a:cubicBezTo>
                    <a:pt x="4" y="35"/>
                    <a:pt x="7" y="73"/>
                    <a:pt x="14" y="108"/>
                  </a:cubicBezTo>
                  <a:cubicBezTo>
                    <a:pt x="7" y="70"/>
                    <a:pt x="4" y="35"/>
                    <a:pt x="0"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595" name="Google Shape;6595;p104"/>
            <p:cNvSpPr/>
            <p:nvPr/>
          </p:nvSpPr>
          <p:spPr>
            <a:xfrm>
              <a:off x="2269222" y="2162721"/>
              <a:ext cx="258" cy="68"/>
            </a:xfrm>
            <a:custGeom>
              <a:avLst/>
              <a:gdLst/>
              <a:ahLst/>
              <a:cxnLst/>
              <a:rect l="l" t="t" r="r" b="b"/>
              <a:pathLst>
                <a:path w="19" h="5" extrusionOk="0">
                  <a:moveTo>
                    <a:pt x="1" y="4"/>
                  </a:moveTo>
                  <a:lnTo>
                    <a:pt x="18"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596" name="Google Shape;6596;p104"/>
            <p:cNvSpPr/>
            <p:nvPr/>
          </p:nvSpPr>
          <p:spPr>
            <a:xfrm>
              <a:off x="2268611" y="2149850"/>
              <a:ext cx="18737" cy="6802"/>
            </a:xfrm>
            <a:custGeom>
              <a:avLst/>
              <a:gdLst/>
              <a:ahLst/>
              <a:cxnLst/>
              <a:rect l="l" t="t" r="r" b="b"/>
              <a:pathLst>
                <a:path w="1380" h="501" extrusionOk="0">
                  <a:moveTo>
                    <a:pt x="1380" y="0"/>
                  </a:moveTo>
                  <a:cubicBezTo>
                    <a:pt x="1372" y="2"/>
                    <a:pt x="1363" y="5"/>
                    <a:pt x="1352" y="9"/>
                  </a:cubicBezTo>
                  <a:lnTo>
                    <a:pt x="1352" y="9"/>
                  </a:lnTo>
                  <a:cubicBezTo>
                    <a:pt x="1363" y="5"/>
                    <a:pt x="1372" y="2"/>
                    <a:pt x="1380" y="0"/>
                  </a:cubicBezTo>
                  <a:close/>
                  <a:moveTo>
                    <a:pt x="1352" y="9"/>
                  </a:moveTo>
                  <a:cubicBezTo>
                    <a:pt x="1169" y="68"/>
                    <a:pt x="505" y="313"/>
                    <a:pt x="0" y="501"/>
                  </a:cubicBezTo>
                  <a:cubicBezTo>
                    <a:pt x="507" y="313"/>
                    <a:pt x="1174" y="67"/>
                    <a:pt x="1352" y="9"/>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597" name="Google Shape;6597;p104"/>
            <p:cNvSpPr/>
            <p:nvPr/>
          </p:nvSpPr>
          <p:spPr>
            <a:xfrm>
              <a:off x="2267851" y="2156693"/>
              <a:ext cx="720" cy="244"/>
            </a:xfrm>
            <a:custGeom>
              <a:avLst/>
              <a:gdLst/>
              <a:ahLst/>
              <a:cxnLst/>
              <a:rect l="l" t="t" r="r" b="b"/>
              <a:pathLst>
                <a:path w="53" h="18" extrusionOk="0">
                  <a:moveTo>
                    <a:pt x="53" y="0"/>
                  </a:moveTo>
                  <a:lnTo>
                    <a:pt x="0" y="18"/>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598" name="Google Shape;6598;p104"/>
            <p:cNvSpPr/>
            <p:nvPr/>
          </p:nvSpPr>
          <p:spPr>
            <a:xfrm>
              <a:off x="2262854" y="2051169"/>
              <a:ext cx="78532" cy="79768"/>
            </a:xfrm>
            <a:custGeom>
              <a:avLst/>
              <a:gdLst/>
              <a:ahLst/>
              <a:cxnLst/>
              <a:rect l="l" t="t" r="r" b="b"/>
              <a:pathLst>
                <a:path w="5784" h="5875" extrusionOk="0">
                  <a:moveTo>
                    <a:pt x="1121" y="0"/>
                  </a:moveTo>
                  <a:lnTo>
                    <a:pt x="844" y="25"/>
                  </a:lnTo>
                  <a:lnTo>
                    <a:pt x="767" y="28"/>
                  </a:lnTo>
                  <a:cubicBezTo>
                    <a:pt x="750" y="35"/>
                    <a:pt x="673" y="53"/>
                    <a:pt x="585" y="77"/>
                  </a:cubicBezTo>
                  <a:lnTo>
                    <a:pt x="648" y="245"/>
                  </a:lnTo>
                  <a:lnTo>
                    <a:pt x="655" y="256"/>
                  </a:lnTo>
                  <a:cubicBezTo>
                    <a:pt x="704" y="361"/>
                    <a:pt x="736" y="473"/>
                    <a:pt x="743" y="588"/>
                  </a:cubicBezTo>
                  <a:cubicBezTo>
                    <a:pt x="743" y="609"/>
                    <a:pt x="739" y="630"/>
                    <a:pt x="736" y="648"/>
                  </a:cubicBezTo>
                  <a:cubicBezTo>
                    <a:pt x="732" y="659"/>
                    <a:pt x="729" y="669"/>
                    <a:pt x="725" y="680"/>
                  </a:cubicBezTo>
                  <a:cubicBezTo>
                    <a:pt x="725" y="683"/>
                    <a:pt x="722" y="683"/>
                    <a:pt x="722" y="687"/>
                  </a:cubicBezTo>
                  <a:cubicBezTo>
                    <a:pt x="718" y="694"/>
                    <a:pt x="715" y="701"/>
                    <a:pt x="708" y="708"/>
                  </a:cubicBezTo>
                  <a:lnTo>
                    <a:pt x="704" y="715"/>
                  </a:lnTo>
                  <a:cubicBezTo>
                    <a:pt x="697" y="718"/>
                    <a:pt x="694" y="725"/>
                    <a:pt x="687" y="729"/>
                  </a:cubicBezTo>
                  <a:lnTo>
                    <a:pt x="680" y="736"/>
                  </a:lnTo>
                  <a:cubicBezTo>
                    <a:pt x="673" y="739"/>
                    <a:pt x="666" y="746"/>
                    <a:pt x="659" y="750"/>
                  </a:cubicBezTo>
                  <a:lnTo>
                    <a:pt x="655" y="750"/>
                  </a:lnTo>
                  <a:cubicBezTo>
                    <a:pt x="617" y="771"/>
                    <a:pt x="575" y="785"/>
                    <a:pt x="529" y="795"/>
                  </a:cubicBezTo>
                  <a:lnTo>
                    <a:pt x="529" y="802"/>
                  </a:lnTo>
                  <a:lnTo>
                    <a:pt x="529" y="813"/>
                  </a:lnTo>
                  <a:cubicBezTo>
                    <a:pt x="529" y="823"/>
                    <a:pt x="533" y="830"/>
                    <a:pt x="533" y="837"/>
                  </a:cubicBezTo>
                  <a:lnTo>
                    <a:pt x="533" y="848"/>
                  </a:lnTo>
                  <a:cubicBezTo>
                    <a:pt x="533" y="858"/>
                    <a:pt x="533" y="869"/>
                    <a:pt x="536" y="879"/>
                  </a:cubicBezTo>
                  <a:lnTo>
                    <a:pt x="536" y="911"/>
                  </a:lnTo>
                  <a:lnTo>
                    <a:pt x="536" y="918"/>
                  </a:lnTo>
                  <a:lnTo>
                    <a:pt x="536" y="935"/>
                  </a:lnTo>
                  <a:lnTo>
                    <a:pt x="536" y="946"/>
                  </a:lnTo>
                  <a:lnTo>
                    <a:pt x="536" y="963"/>
                  </a:lnTo>
                  <a:lnTo>
                    <a:pt x="536" y="967"/>
                  </a:lnTo>
                  <a:lnTo>
                    <a:pt x="536" y="988"/>
                  </a:lnTo>
                  <a:lnTo>
                    <a:pt x="697" y="1082"/>
                  </a:lnTo>
                  <a:lnTo>
                    <a:pt x="666" y="1138"/>
                  </a:lnTo>
                  <a:cubicBezTo>
                    <a:pt x="592" y="1282"/>
                    <a:pt x="337" y="1751"/>
                    <a:pt x="186" y="1810"/>
                  </a:cubicBezTo>
                  <a:lnTo>
                    <a:pt x="179" y="1814"/>
                  </a:lnTo>
                  <a:lnTo>
                    <a:pt x="172" y="1817"/>
                  </a:lnTo>
                  <a:lnTo>
                    <a:pt x="169" y="1821"/>
                  </a:lnTo>
                  <a:lnTo>
                    <a:pt x="158" y="1824"/>
                  </a:lnTo>
                  <a:lnTo>
                    <a:pt x="151" y="1828"/>
                  </a:lnTo>
                  <a:lnTo>
                    <a:pt x="141" y="1835"/>
                  </a:lnTo>
                  <a:lnTo>
                    <a:pt x="130" y="1842"/>
                  </a:lnTo>
                  <a:lnTo>
                    <a:pt x="116" y="1849"/>
                  </a:lnTo>
                  <a:lnTo>
                    <a:pt x="106" y="1856"/>
                  </a:lnTo>
                  <a:lnTo>
                    <a:pt x="88" y="1866"/>
                  </a:lnTo>
                  <a:lnTo>
                    <a:pt x="71" y="1877"/>
                  </a:lnTo>
                  <a:lnTo>
                    <a:pt x="53" y="1887"/>
                  </a:lnTo>
                  <a:lnTo>
                    <a:pt x="25" y="1905"/>
                  </a:lnTo>
                  <a:lnTo>
                    <a:pt x="11" y="1915"/>
                  </a:lnTo>
                  <a:lnTo>
                    <a:pt x="1" y="1922"/>
                  </a:lnTo>
                  <a:cubicBezTo>
                    <a:pt x="71" y="2272"/>
                    <a:pt x="172" y="2763"/>
                    <a:pt x="309" y="2885"/>
                  </a:cubicBezTo>
                  <a:cubicBezTo>
                    <a:pt x="526" y="3085"/>
                    <a:pt x="561" y="3309"/>
                    <a:pt x="585" y="3473"/>
                  </a:cubicBezTo>
                  <a:cubicBezTo>
                    <a:pt x="592" y="3526"/>
                    <a:pt x="599" y="3578"/>
                    <a:pt x="617" y="3627"/>
                  </a:cubicBezTo>
                  <a:cubicBezTo>
                    <a:pt x="641" y="3683"/>
                    <a:pt x="673" y="3736"/>
                    <a:pt x="708" y="3785"/>
                  </a:cubicBezTo>
                  <a:cubicBezTo>
                    <a:pt x="771" y="3876"/>
                    <a:pt x="830" y="3967"/>
                    <a:pt x="806" y="4047"/>
                  </a:cubicBezTo>
                  <a:cubicBezTo>
                    <a:pt x="799" y="4079"/>
                    <a:pt x="778" y="4107"/>
                    <a:pt x="753" y="4124"/>
                  </a:cubicBezTo>
                  <a:lnTo>
                    <a:pt x="771" y="4124"/>
                  </a:lnTo>
                  <a:lnTo>
                    <a:pt x="792" y="4131"/>
                  </a:lnTo>
                  <a:lnTo>
                    <a:pt x="806" y="4135"/>
                  </a:lnTo>
                  <a:lnTo>
                    <a:pt x="827" y="4142"/>
                  </a:lnTo>
                  <a:lnTo>
                    <a:pt x="844" y="4145"/>
                  </a:lnTo>
                  <a:lnTo>
                    <a:pt x="865" y="4152"/>
                  </a:lnTo>
                  <a:lnTo>
                    <a:pt x="883" y="4159"/>
                  </a:lnTo>
                  <a:lnTo>
                    <a:pt x="904" y="4170"/>
                  </a:lnTo>
                  <a:lnTo>
                    <a:pt x="921" y="4177"/>
                  </a:lnTo>
                  <a:lnTo>
                    <a:pt x="946" y="4187"/>
                  </a:lnTo>
                  <a:lnTo>
                    <a:pt x="960" y="4194"/>
                  </a:lnTo>
                  <a:lnTo>
                    <a:pt x="984" y="4208"/>
                  </a:lnTo>
                  <a:lnTo>
                    <a:pt x="998" y="4215"/>
                  </a:lnTo>
                  <a:lnTo>
                    <a:pt x="1037" y="4233"/>
                  </a:lnTo>
                  <a:cubicBezTo>
                    <a:pt x="1100" y="4268"/>
                    <a:pt x="1166" y="4299"/>
                    <a:pt x="1236" y="4320"/>
                  </a:cubicBezTo>
                  <a:cubicBezTo>
                    <a:pt x="1359" y="4345"/>
                    <a:pt x="1895" y="4544"/>
                    <a:pt x="1979" y="4653"/>
                  </a:cubicBezTo>
                  <a:cubicBezTo>
                    <a:pt x="1982" y="4660"/>
                    <a:pt x="1989" y="4670"/>
                    <a:pt x="1996" y="4677"/>
                  </a:cubicBezTo>
                  <a:lnTo>
                    <a:pt x="2311" y="4677"/>
                  </a:lnTo>
                  <a:cubicBezTo>
                    <a:pt x="2339" y="4660"/>
                    <a:pt x="2374" y="4649"/>
                    <a:pt x="2409" y="4649"/>
                  </a:cubicBezTo>
                  <a:cubicBezTo>
                    <a:pt x="2462" y="4653"/>
                    <a:pt x="2511" y="4677"/>
                    <a:pt x="2542" y="4716"/>
                  </a:cubicBezTo>
                  <a:cubicBezTo>
                    <a:pt x="2717" y="4895"/>
                    <a:pt x="2861" y="5420"/>
                    <a:pt x="2868" y="5766"/>
                  </a:cubicBezTo>
                  <a:lnTo>
                    <a:pt x="2917" y="5773"/>
                  </a:lnTo>
                  <a:lnTo>
                    <a:pt x="2927" y="5773"/>
                  </a:lnTo>
                  <a:lnTo>
                    <a:pt x="2962" y="5777"/>
                  </a:lnTo>
                  <a:lnTo>
                    <a:pt x="2973" y="5777"/>
                  </a:lnTo>
                  <a:lnTo>
                    <a:pt x="3001" y="5780"/>
                  </a:lnTo>
                  <a:lnTo>
                    <a:pt x="3113" y="5780"/>
                  </a:lnTo>
                  <a:cubicBezTo>
                    <a:pt x="3137" y="5773"/>
                    <a:pt x="3162" y="5766"/>
                    <a:pt x="3183" y="5752"/>
                  </a:cubicBezTo>
                  <a:cubicBezTo>
                    <a:pt x="3236" y="5720"/>
                    <a:pt x="3298" y="5703"/>
                    <a:pt x="3361" y="5703"/>
                  </a:cubicBezTo>
                  <a:cubicBezTo>
                    <a:pt x="3394" y="5703"/>
                    <a:pt x="3427" y="5708"/>
                    <a:pt x="3459" y="5717"/>
                  </a:cubicBezTo>
                  <a:cubicBezTo>
                    <a:pt x="3526" y="5735"/>
                    <a:pt x="3578" y="5791"/>
                    <a:pt x="3596" y="5861"/>
                  </a:cubicBezTo>
                  <a:cubicBezTo>
                    <a:pt x="3596" y="5864"/>
                    <a:pt x="3599" y="5871"/>
                    <a:pt x="3599" y="5875"/>
                  </a:cubicBezTo>
                  <a:lnTo>
                    <a:pt x="3613" y="5875"/>
                  </a:lnTo>
                  <a:cubicBezTo>
                    <a:pt x="3690" y="5868"/>
                    <a:pt x="3764" y="5857"/>
                    <a:pt x="3838" y="5840"/>
                  </a:cubicBezTo>
                  <a:cubicBezTo>
                    <a:pt x="3908" y="5826"/>
                    <a:pt x="3981" y="5812"/>
                    <a:pt x="4051" y="5808"/>
                  </a:cubicBezTo>
                  <a:cubicBezTo>
                    <a:pt x="4065" y="5808"/>
                    <a:pt x="4083" y="5808"/>
                    <a:pt x="4097" y="5812"/>
                  </a:cubicBezTo>
                  <a:lnTo>
                    <a:pt x="4104" y="5812"/>
                  </a:lnTo>
                  <a:cubicBezTo>
                    <a:pt x="4195" y="5830"/>
                    <a:pt x="4251" y="5836"/>
                    <a:pt x="4287" y="5836"/>
                  </a:cubicBezTo>
                  <a:cubicBezTo>
                    <a:pt x="4320" y="5836"/>
                    <a:pt x="4335" y="5831"/>
                    <a:pt x="4342" y="5826"/>
                  </a:cubicBezTo>
                  <a:cubicBezTo>
                    <a:pt x="4352" y="5759"/>
                    <a:pt x="4387" y="5640"/>
                    <a:pt x="4468" y="5588"/>
                  </a:cubicBezTo>
                  <a:cubicBezTo>
                    <a:pt x="4492" y="5570"/>
                    <a:pt x="4521" y="5561"/>
                    <a:pt x="4550" y="5561"/>
                  </a:cubicBezTo>
                  <a:cubicBezTo>
                    <a:pt x="4567" y="5561"/>
                    <a:pt x="4584" y="5564"/>
                    <a:pt x="4601" y="5570"/>
                  </a:cubicBezTo>
                  <a:cubicBezTo>
                    <a:pt x="4632" y="5577"/>
                    <a:pt x="4664" y="5591"/>
                    <a:pt x="4692" y="5605"/>
                  </a:cubicBezTo>
                  <a:cubicBezTo>
                    <a:pt x="4713" y="5612"/>
                    <a:pt x="4727" y="5619"/>
                    <a:pt x="4741" y="5626"/>
                  </a:cubicBezTo>
                  <a:cubicBezTo>
                    <a:pt x="4754" y="5632"/>
                    <a:pt x="4769" y="5635"/>
                    <a:pt x="4783" y="5635"/>
                  </a:cubicBezTo>
                  <a:cubicBezTo>
                    <a:pt x="4814" y="5635"/>
                    <a:pt x="4844" y="5622"/>
                    <a:pt x="4863" y="5598"/>
                  </a:cubicBezTo>
                  <a:cubicBezTo>
                    <a:pt x="4933" y="5537"/>
                    <a:pt x="5017" y="5527"/>
                    <a:pt x="5089" y="5527"/>
                  </a:cubicBezTo>
                  <a:cubicBezTo>
                    <a:pt x="5108" y="5527"/>
                    <a:pt x="5127" y="5527"/>
                    <a:pt x="5143" y="5528"/>
                  </a:cubicBezTo>
                  <a:lnTo>
                    <a:pt x="5185" y="5528"/>
                  </a:lnTo>
                  <a:cubicBezTo>
                    <a:pt x="5203" y="5528"/>
                    <a:pt x="5220" y="5528"/>
                    <a:pt x="5238" y="5521"/>
                  </a:cubicBezTo>
                  <a:lnTo>
                    <a:pt x="5238" y="5518"/>
                  </a:lnTo>
                  <a:lnTo>
                    <a:pt x="5238" y="5514"/>
                  </a:lnTo>
                  <a:lnTo>
                    <a:pt x="5238" y="5511"/>
                  </a:lnTo>
                  <a:lnTo>
                    <a:pt x="5241" y="5507"/>
                  </a:lnTo>
                  <a:lnTo>
                    <a:pt x="5245" y="5504"/>
                  </a:lnTo>
                  <a:lnTo>
                    <a:pt x="5248" y="5500"/>
                  </a:lnTo>
                  <a:lnTo>
                    <a:pt x="5255" y="5497"/>
                  </a:lnTo>
                  <a:lnTo>
                    <a:pt x="5262" y="5493"/>
                  </a:lnTo>
                  <a:lnTo>
                    <a:pt x="5266" y="5493"/>
                  </a:lnTo>
                  <a:lnTo>
                    <a:pt x="5269" y="5490"/>
                  </a:lnTo>
                  <a:lnTo>
                    <a:pt x="5273" y="5486"/>
                  </a:lnTo>
                  <a:lnTo>
                    <a:pt x="5280" y="5479"/>
                  </a:lnTo>
                  <a:lnTo>
                    <a:pt x="5283" y="5479"/>
                  </a:lnTo>
                  <a:lnTo>
                    <a:pt x="5294" y="5476"/>
                  </a:lnTo>
                  <a:lnTo>
                    <a:pt x="5297" y="5472"/>
                  </a:lnTo>
                  <a:lnTo>
                    <a:pt x="5304" y="5465"/>
                  </a:lnTo>
                  <a:lnTo>
                    <a:pt x="5311" y="5465"/>
                  </a:lnTo>
                  <a:lnTo>
                    <a:pt x="5322" y="5458"/>
                  </a:lnTo>
                  <a:lnTo>
                    <a:pt x="5325" y="5455"/>
                  </a:lnTo>
                  <a:lnTo>
                    <a:pt x="5336" y="5448"/>
                  </a:lnTo>
                  <a:lnTo>
                    <a:pt x="5343" y="5444"/>
                  </a:lnTo>
                  <a:lnTo>
                    <a:pt x="5353" y="5437"/>
                  </a:lnTo>
                  <a:lnTo>
                    <a:pt x="5360" y="5434"/>
                  </a:lnTo>
                  <a:lnTo>
                    <a:pt x="5374" y="5427"/>
                  </a:lnTo>
                  <a:lnTo>
                    <a:pt x="5381" y="5423"/>
                  </a:lnTo>
                  <a:lnTo>
                    <a:pt x="5395" y="5416"/>
                  </a:lnTo>
                  <a:lnTo>
                    <a:pt x="5402" y="5413"/>
                  </a:lnTo>
                  <a:lnTo>
                    <a:pt x="5420" y="5402"/>
                  </a:lnTo>
                  <a:lnTo>
                    <a:pt x="5427" y="5399"/>
                  </a:lnTo>
                  <a:lnTo>
                    <a:pt x="5444" y="5388"/>
                  </a:lnTo>
                  <a:lnTo>
                    <a:pt x="5451" y="5385"/>
                  </a:lnTo>
                  <a:lnTo>
                    <a:pt x="5472" y="5374"/>
                  </a:lnTo>
                  <a:lnTo>
                    <a:pt x="5479" y="5371"/>
                  </a:lnTo>
                  <a:lnTo>
                    <a:pt x="5504" y="5360"/>
                  </a:lnTo>
                  <a:lnTo>
                    <a:pt x="5511" y="5353"/>
                  </a:lnTo>
                  <a:lnTo>
                    <a:pt x="5535" y="5343"/>
                  </a:lnTo>
                  <a:lnTo>
                    <a:pt x="5546" y="5339"/>
                  </a:lnTo>
                  <a:lnTo>
                    <a:pt x="5570" y="5325"/>
                  </a:lnTo>
                  <a:lnTo>
                    <a:pt x="5581" y="5322"/>
                  </a:lnTo>
                  <a:lnTo>
                    <a:pt x="5605" y="5308"/>
                  </a:lnTo>
                  <a:lnTo>
                    <a:pt x="5619" y="5301"/>
                  </a:lnTo>
                  <a:lnTo>
                    <a:pt x="5647" y="5290"/>
                  </a:lnTo>
                  <a:lnTo>
                    <a:pt x="5658" y="5283"/>
                  </a:lnTo>
                  <a:lnTo>
                    <a:pt x="5689" y="5269"/>
                  </a:lnTo>
                  <a:lnTo>
                    <a:pt x="5700" y="5266"/>
                  </a:lnTo>
                  <a:lnTo>
                    <a:pt x="5735" y="5248"/>
                  </a:lnTo>
                  <a:lnTo>
                    <a:pt x="5745" y="5245"/>
                  </a:lnTo>
                  <a:lnTo>
                    <a:pt x="5784" y="5224"/>
                  </a:lnTo>
                  <a:cubicBezTo>
                    <a:pt x="5766" y="5143"/>
                    <a:pt x="5714" y="5119"/>
                    <a:pt x="5637" y="5080"/>
                  </a:cubicBezTo>
                  <a:cubicBezTo>
                    <a:pt x="5542" y="5038"/>
                    <a:pt x="5413" y="4975"/>
                    <a:pt x="5402" y="4772"/>
                  </a:cubicBezTo>
                  <a:cubicBezTo>
                    <a:pt x="5402" y="4663"/>
                    <a:pt x="5364" y="4558"/>
                    <a:pt x="5294" y="4474"/>
                  </a:cubicBezTo>
                  <a:cubicBezTo>
                    <a:pt x="5231" y="4401"/>
                    <a:pt x="5199" y="4306"/>
                    <a:pt x="5199" y="4208"/>
                  </a:cubicBezTo>
                  <a:lnTo>
                    <a:pt x="5203" y="4145"/>
                  </a:lnTo>
                  <a:cubicBezTo>
                    <a:pt x="5206" y="4030"/>
                    <a:pt x="5213" y="3851"/>
                    <a:pt x="5189" y="3820"/>
                  </a:cubicBezTo>
                  <a:cubicBezTo>
                    <a:pt x="5154" y="3806"/>
                    <a:pt x="5126" y="3781"/>
                    <a:pt x="5115" y="3746"/>
                  </a:cubicBezTo>
                  <a:cubicBezTo>
                    <a:pt x="5073" y="3634"/>
                    <a:pt x="5164" y="3438"/>
                    <a:pt x="5252" y="3309"/>
                  </a:cubicBezTo>
                  <a:cubicBezTo>
                    <a:pt x="5280" y="3263"/>
                    <a:pt x="5283" y="3253"/>
                    <a:pt x="5171" y="3169"/>
                  </a:cubicBezTo>
                  <a:cubicBezTo>
                    <a:pt x="5087" y="3109"/>
                    <a:pt x="4982" y="3032"/>
                    <a:pt x="4951" y="2899"/>
                  </a:cubicBezTo>
                  <a:cubicBezTo>
                    <a:pt x="4940" y="2854"/>
                    <a:pt x="4916" y="2745"/>
                    <a:pt x="5175" y="2076"/>
                  </a:cubicBezTo>
                  <a:cubicBezTo>
                    <a:pt x="4741" y="1775"/>
                    <a:pt x="4303" y="1457"/>
                    <a:pt x="4300" y="1453"/>
                  </a:cubicBezTo>
                  <a:lnTo>
                    <a:pt x="4272" y="1432"/>
                  </a:lnTo>
                  <a:lnTo>
                    <a:pt x="4300" y="1100"/>
                  </a:lnTo>
                  <a:lnTo>
                    <a:pt x="2357" y="70"/>
                  </a:lnTo>
                  <a:cubicBezTo>
                    <a:pt x="2350" y="287"/>
                    <a:pt x="2241" y="462"/>
                    <a:pt x="2094" y="532"/>
                  </a:cubicBezTo>
                  <a:cubicBezTo>
                    <a:pt x="2108" y="564"/>
                    <a:pt x="2126" y="592"/>
                    <a:pt x="2147" y="620"/>
                  </a:cubicBezTo>
                  <a:cubicBezTo>
                    <a:pt x="2189" y="683"/>
                    <a:pt x="2234" y="746"/>
                    <a:pt x="2210" y="809"/>
                  </a:cubicBezTo>
                  <a:cubicBezTo>
                    <a:pt x="2192" y="848"/>
                    <a:pt x="2157" y="876"/>
                    <a:pt x="2115" y="879"/>
                  </a:cubicBezTo>
                  <a:cubicBezTo>
                    <a:pt x="2096" y="883"/>
                    <a:pt x="2074" y="885"/>
                    <a:pt x="2052" y="885"/>
                  </a:cubicBezTo>
                  <a:cubicBezTo>
                    <a:pt x="1978" y="885"/>
                    <a:pt x="1889" y="866"/>
                    <a:pt x="1790" y="844"/>
                  </a:cubicBezTo>
                  <a:cubicBezTo>
                    <a:pt x="1675" y="820"/>
                    <a:pt x="1550" y="793"/>
                    <a:pt x="1433" y="793"/>
                  </a:cubicBezTo>
                  <a:cubicBezTo>
                    <a:pt x="1365" y="793"/>
                    <a:pt x="1299" y="802"/>
                    <a:pt x="1240" y="827"/>
                  </a:cubicBezTo>
                  <a:cubicBezTo>
                    <a:pt x="1221" y="836"/>
                    <a:pt x="1200" y="841"/>
                    <a:pt x="1178" y="841"/>
                  </a:cubicBezTo>
                  <a:cubicBezTo>
                    <a:pt x="1145" y="841"/>
                    <a:pt x="1112" y="829"/>
                    <a:pt x="1086" y="806"/>
                  </a:cubicBezTo>
                  <a:cubicBezTo>
                    <a:pt x="963" y="687"/>
                    <a:pt x="1030" y="291"/>
                    <a:pt x="1121"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599" name="Google Shape;6599;p104"/>
            <p:cNvSpPr/>
            <p:nvPr/>
          </p:nvSpPr>
          <p:spPr>
            <a:xfrm>
              <a:off x="2274164" y="2107447"/>
              <a:ext cx="258" cy="54"/>
            </a:xfrm>
            <a:custGeom>
              <a:avLst/>
              <a:gdLst/>
              <a:ahLst/>
              <a:cxnLst/>
              <a:rect l="l" t="t" r="r" b="b"/>
              <a:pathLst>
                <a:path w="19" h="4" extrusionOk="0">
                  <a:moveTo>
                    <a:pt x="1" y="0"/>
                  </a:moveTo>
                  <a:lnTo>
                    <a:pt x="18" y="4"/>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600" name="Google Shape;6600;p104"/>
            <p:cNvSpPr/>
            <p:nvPr/>
          </p:nvSpPr>
          <p:spPr>
            <a:xfrm>
              <a:off x="2273173" y="2107203"/>
              <a:ext cx="204" cy="14"/>
            </a:xfrm>
            <a:custGeom>
              <a:avLst/>
              <a:gdLst/>
              <a:ahLst/>
              <a:cxnLst/>
              <a:rect l="l" t="t" r="r" b="b"/>
              <a:pathLst>
                <a:path w="15" h="1" extrusionOk="0">
                  <a:moveTo>
                    <a:pt x="0" y="1"/>
                  </a:moveTo>
                  <a:lnTo>
                    <a:pt x="14"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601" name="Google Shape;6601;p104"/>
            <p:cNvSpPr/>
            <p:nvPr/>
          </p:nvSpPr>
          <p:spPr>
            <a:xfrm>
              <a:off x="2275739" y="2108058"/>
              <a:ext cx="244" cy="109"/>
            </a:xfrm>
            <a:custGeom>
              <a:avLst/>
              <a:gdLst/>
              <a:ahLst/>
              <a:cxnLst/>
              <a:rect l="l" t="t" r="r" b="b"/>
              <a:pathLst>
                <a:path w="18" h="8" extrusionOk="0">
                  <a:moveTo>
                    <a:pt x="0" y="1"/>
                  </a:moveTo>
                  <a:lnTo>
                    <a:pt x="18" y="8"/>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602" name="Google Shape;6602;p104"/>
            <p:cNvSpPr/>
            <p:nvPr/>
          </p:nvSpPr>
          <p:spPr>
            <a:xfrm>
              <a:off x="2274694" y="2107583"/>
              <a:ext cx="244" cy="109"/>
            </a:xfrm>
            <a:custGeom>
              <a:avLst/>
              <a:gdLst/>
              <a:ahLst/>
              <a:cxnLst/>
              <a:rect l="l" t="t" r="r" b="b"/>
              <a:pathLst>
                <a:path w="18" h="8" extrusionOk="0">
                  <a:moveTo>
                    <a:pt x="0" y="1"/>
                  </a:moveTo>
                  <a:lnTo>
                    <a:pt x="18" y="8"/>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603" name="Google Shape;6603;p104"/>
            <p:cNvSpPr/>
            <p:nvPr/>
          </p:nvSpPr>
          <p:spPr>
            <a:xfrm>
              <a:off x="2275210" y="2107828"/>
              <a:ext cx="258" cy="109"/>
            </a:xfrm>
            <a:custGeom>
              <a:avLst/>
              <a:gdLst/>
              <a:ahLst/>
              <a:cxnLst/>
              <a:rect l="l" t="t" r="r" b="b"/>
              <a:pathLst>
                <a:path w="19" h="8" extrusionOk="0">
                  <a:moveTo>
                    <a:pt x="1" y="0"/>
                  </a:moveTo>
                  <a:lnTo>
                    <a:pt x="18" y="7"/>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604" name="Google Shape;6604;p104"/>
            <p:cNvSpPr/>
            <p:nvPr/>
          </p:nvSpPr>
          <p:spPr>
            <a:xfrm>
              <a:off x="2273648" y="2107298"/>
              <a:ext cx="244" cy="68"/>
            </a:xfrm>
            <a:custGeom>
              <a:avLst/>
              <a:gdLst/>
              <a:ahLst/>
              <a:cxnLst/>
              <a:rect l="l" t="t" r="r" b="b"/>
              <a:pathLst>
                <a:path w="18" h="5" extrusionOk="0">
                  <a:moveTo>
                    <a:pt x="0" y="1"/>
                  </a:moveTo>
                  <a:lnTo>
                    <a:pt x="18" y="4"/>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605" name="Google Shape;6605;p104"/>
            <p:cNvSpPr/>
            <p:nvPr/>
          </p:nvSpPr>
          <p:spPr>
            <a:xfrm>
              <a:off x="2276310" y="2108344"/>
              <a:ext cx="204" cy="68"/>
            </a:xfrm>
            <a:custGeom>
              <a:avLst/>
              <a:gdLst/>
              <a:ahLst/>
              <a:cxnLst/>
              <a:rect l="l" t="t" r="r" b="b"/>
              <a:pathLst>
                <a:path w="15" h="5" extrusionOk="0">
                  <a:moveTo>
                    <a:pt x="0" y="1"/>
                  </a:moveTo>
                  <a:lnTo>
                    <a:pt x="14" y="4"/>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606" name="Google Shape;6606;p104"/>
            <p:cNvSpPr/>
            <p:nvPr/>
          </p:nvSpPr>
          <p:spPr>
            <a:xfrm>
              <a:off x="2272168" y="2060822"/>
              <a:ext cx="258" cy="244"/>
            </a:xfrm>
            <a:custGeom>
              <a:avLst/>
              <a:gdLst/>
              <a:ahLst/>
              <a:cxnLst/>
              <a:rect l="l" t="t" r="r" b="b"/>
              <a:pathLst>
                <a:path w="19" h="18" extrusionOk="0">
                  <a:moveTo>
                    <a:pt x="18" y="0"/>
                  </a:moveTo>
                  <a:cubicBezTo>
                    <a:pt x="11" y="7"/>
                    <a:pt x="8" y="14"/>
                    <a:pt x="1" y="18"/>
                  </a:cubicBezTo>
                  <a:cubicBezTo>
                    <a:pt x="8" y="14"/>
                    <a:pt x="11" y="7"/>
                    <a:pt x="18"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607" name="Google Shape;6607;p104"/>
            <p:cNvSpPr/>
            <p:nvPr/>
          </p:nvSpPr>
          <p:spPr>
            <a:xfrm>
              <a:off x="2272454" y="2060483"/>
              <a:ext cx="204" cy="244"/>
            </a:xfrm>
            <a:custGeom>
              <a:avLst/>
              <a:gdLst/>
              <a:ahLst/>
              <a:cxnLst/>
              <a:rect l="l" t="t" r="r" b="b"/>
              <a:pathLst>
                <a:path w="15" h="18" extrusionOk="0">
                  <a:moveTo>
                    <a:pt x="15" y="1"/>
                  </a:moveTo>
                  <a:cubicBezTo>
                    <a:pt x="11" y="8"/>
                    <a:pt x="8" y="15"/>
                    <a:pt x="1" y="18"/>
                  </a:cubicBezTo>
                  <a:cubicBezTo>
                    <a:pt x="8" y="15"/>
                    <a:pt x="11" y="8"/>
                    <a:pt x="15" y="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608" name="Google Shape;6608;p104"/>
            <p:cNvSpPr/>
            <p:nvPr/>
          </p:nvSpPr>
          <p:spPr>
            <a:xfrm>
              <a:off x="2271788" y="2061148"/>
              <a:ext cx="299" cy="204"/>
            </a:xfrm>
            <a:custGeom>
              <a:avLst/>
              <a:gdLst/>
              <a:ahLst/>
              <a:cxnLst/>
              <a:rect l="l" t="t" r="r" b="b"/>
              <a:pathLst>
                <a:path w="22" h="15" extrusionOk="0">
                  <a:moveTo>
                    <a:pt x="22" y="1"/>
                  </a:moveTo>
                  <a:cubicBezTo>
                    <a:pt x="15" y="4"/>
                    <a:pt x="8" y="11"/>
                    <a:pt x="1" y="15"/>
                  </a:cubicBezTo>
                  <a:cubicBezTo>
                    <a:pt x="8" y="11"/>
                    <a:pt x="15" y="4"/>
                    <a:pt x="22" y="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609" name="Google Shape;6609;p104"/>
            <p:cNvSpPr/>
            <p:nvPr/>
          </p:nvSpPr>
          <p:spPr>
            <a:xfrm>
              <a:off x="2271693" y="2054590"/>
              <a:ext cx="1208" cy="4576"/>
            </a:xfrm>
            <a:custGeom>
              <a:avLst/>
              <a:gdLst/>
              <a:ahLst/>
              <a:cxnLst/>
              <a:rect l="l" t="t" r="r" b="b"/>
              <a:pathLst>
                <a:path w="89" h="337" extrusionOk="0">
                  <a:moveTo>
                    <a:pt x="1" y="0"/>
                  </a:moveTo>
                  <a:cubicBezTo>
                    <a:pt x="53" y="105"/>
                    <a:pt x="81" y="217"/>
                    <a:pt x="88" y="336"/>
                  </a:cubicBezTo>
                  <a:cubicBezTo>
                    <a:pt x="81" y="217"/>
                    <a:pt x="53" y="105"/>
                    <a:pt x="1"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610" name="Google Shape;6610;p104"/>
            <p:cNvSpPr/>
            <p:nvPr/>
          </p:nvSpPr>
          <p:spPr>
            <a:xfrm>
              <a:off x="2272698" y="2059953"/>
              <a:ext cx="149" cy="394"/>
            </a:xfrm>
            <a:custGeom>
              <a:avLst/>
              <a:gdLst/>
              <a:ahLst/>
              <a:cxnLst/>
              <a:rect l="l" t="t" r="r" b="b"/>
              <a:pathLst>
                <a:path w="11" h="29" extrusionOk="0">
                  <a:moveTo>
                    <a:pt x="11" y="1"/>
                  </a:moveTo>
                  <a:cubicBezTo>
                    <a:pt x="7" y="12"/>
                    <a:pt x="4" y="19"/>
                    <a:pt x="0" y="29"/>
                  </a:cubicBezTo>
                  <a:cubicBezTo>
                    <a:pt x="4" y="19"/>
                    <a:pt x="7" y="12"/>
                    <a:pt x="11" y="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611" name="Google Shape;6611;p104"/>
            <p:cNvSpPr/>
            <p:nvPr/>
          </p:nvSpPr>
          <p:spPr>
            <a:xfrm>
              <a:off x="2270077" y="2061393"/>
              <a:ext cx="1684" cy="584"/>
            </a:xfrm>
            <a:custGeom>
              <a:avLst/>
              <a:gdLst/>
              <a:ahLst/>
              <a:cxnLst/>
              <a:rect l="l" t="t" r="r" b="b"/>
              <a:pathLst>
                <a:path w="124" h="43" extrusionOk="0">
                  <a:moveTo>
                    <a:pt x="1" y="42"/>
                  </a:moveTo>
                  <a:cubicBezTo>
                    <a:pt x="43" y="35"/>
                    <a:pt x="85" y="21"/>
                    <a:pt x="123" y="0"/>
                  </a:cubicBezTo>
                  <a:cubicBezTo>
                    <a:pt x="85" y="21"/>
                    <a:pt x="43" y="35"/>
                    <a:pt x="1" y="42"/>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612" name="Google Shape;6612;p104"/>
            <p:cNvSpPr/>
            <p:nvPr/>
          </p:nvSpPr>
          <p:spPr>
            <a:xfrm>
              <a:off x="2295223" y="2052024"/>
              <a:ext cx="26354" cy="13985"/>
            </a:xfrm>
            <a:custGeom>
              <a:avLst/>
              <a:gdLst/>
              <a:ahLst/>
              <a:cxnLst/>
              <a:rect l="l" t="t" r="r" b="b"/>
              <a:pathLst>
                <a:path w="1941" h="1030" extrusionOk="0">
                  <a:moveTo>
                    <a:pt x="1" y="0"/>
                  </a:moveTo>
                  <a:lnTo>
                    <a:pt x="1" y="0"/>
                  </a:lnTo>
                  <a:lnTo>
                    <a:pt x="1940" y="103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613" name="Google Shape;6613;p104"/>
            <p:cNvSpPr/>
            <p:nvPr/>
          </p:nvSpPr>
          <p:spPr>
            <a:xfrm>
              <a:off x="2274259" y="2051169"/>
              <a:ext cx="3775" cy="299"/>
            </a:xfrm>
            <a:custGeom>
              <a:avLst/>
              <a:gdLst/>
              <a:ahLst/>
              <a:cxnLst/>
              <a:rect l="l" t="t" r="r" b="b"/>
              <a:pathLst>
                <a:path w="278" h="22" extrusionOk="0">
                  <a:moveTo>
                    <a:pt x="1" y="21"/>
                  </a:moveTo>
                  <a:lnTo>
                    <a:pt x="277" y="0"/>
                  </a:lnTo>
                  <a:lnTo>
                    <a:pt x="277"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614" name="Google Shape;6614;p104"/>
            <p:cNvSpPr/>
            <p:nvPr/>
          </p:nvSpPr>
          <p:spPr>
            <a:xfrm>
              <a:off x="2270227" y="2064285"/>
              <a:ext cx="14" cy="109"/>
            </a:xfrm>
            <a:custGeom>
              <a:avLst/>
              <a:gdLst/>
              <a:ahLst/>
              <a:cxnLst/>
              <a:rect l="l" t="t" r="r" b="b"/>
              <a:pathLst>
                <a:path w="1" h="8" extrusionOk="0">
                  <a:moveTo>
                    <a:pt x="0" y="1"/>
                  </a:moveTo>
                  <a:lnTo>
                    <a:pt x="0" y="8"/>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615" name="Google Shape;6615;p104"/>
            <p:cNvSpPr/>
            <p:nvPr/>
          </p:nvSpPr>
          <p:spPr>
            <a:xfrm>
              <a:off x="2270227" y="2063579"/>
              <a:ext cx="14" cy="109"/>
            </a:xfrm>
            <a:custGeom>
              <a:avLst/>
              <a:gdLst/>
              <a:ahLst/>
              <a:cxnLst/>
              <a:rect l="l" t="t" r="r" b="b"/>
              <a:pathLst>
                <a:path w="1" h="8" extrusionOk="0">
                  <a:moveTo>
                    <a:pt x="0"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616" name="Google Shape;6616;p104"/>
            <p:cNvSpPr/>
            <p:nvPr/>
          </p:nvSpPr>
          <p:spPr>
            <a:xfrm>
              <a:off x="2264375" y="2076314"/>
              <a:ext cx="163" cy="109"/>
            </a:xfrm>
            <a:custGeom>
              <a:avLst/>
              <a:gdLst/>
              <a:ahLst/>
              <a:cxnLst/>
              <a:rect l="l" t="t" r="r" b="b"/>
              <a:pathLst>
                <a:path w="12" h="8" extrusionOk="0">
                  <a:moveTo>
                    <a:pt x="11"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617" name="Google Shape;6617;p104"/>
            <p:cNvSpPr/>
            <p:nvPr/>
          </p:nvSpPr>
          <p:spPr>
            <a:xfrm>
              <a:off x="2270227" y="2063904"/>
              <a:ext cx="14" cy="163"/>
            </a:xfrm>
            <a:custGeom>
              <a:avLst/>
              <a:gdLst/>
              <a:ahLst/>
              <a:cxnLst/>
              <a:rect l="l" t="t" r="r" b="b"/>
              <a:pathLst>
                <a:path w="1" h="12" extrusionOk="0">
                  <a:moveTo>
                    <a:pt x="0" y="1"/>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618" name="Google Shape;6618;p104"/>
            <p:cNvSpPr/>
            <p:nvPr/>
          </p:nvSpPr>
          <p:spPr>
            <a:xfrm>
              <a:off x="2265380" y="2075839"/>
              <a:ext cx="109" cy="54"/>
            </a:xfrm>
            <a:custGeom>
              <a:avLst/>
              <a:gdLst/>
              <a:ahLst/>
              <a:cxnLst/>
              <a:rect l="l" t="t" r="r" b="b"/>
              <a:pathLst>
                <a:path w="8" h="4" extrusionOk="0">
                  <a:moveTo>
                    <a:pt x="7" y="0"/>
                  </a:moveTo>
                  <a:lnTo>
                    <a:pt x="0" y="4"/>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619" name="Google Shape;6619;p104"/>
            <p:cNvSpPr/>
            <p:nvPr/>
          </p:nvSpPr>
          <p:spPr>
            <a:xfrm>
              <a:off x="2265190" y="2075880"/>
              <a:ext cx="109" cy="68"/>
            </a:xfrm>
            <a:custGeom>
              <a:avLst/>
              <a:gdLst/>
              <a:ahLst/>
              <a:cxnLst/>
              <a:rect l="l" t="t" r="r" b="b"/>
              <a:pathLst>
                <a:path w="8" h="5" extrusionOk="0">
                  <a:moveTo>
                    <a:pt x="7"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620" name="Google Shape;6620;p104"/>
            <p:cNvSpPr/>
            <p:nvPr/>
          </p:nvSpPr>
          <p:spPr>
            <a:xfrm>
              <a:off x="2263900" y="2076599"/>
              <a:ext cx="258" cy="109"/>
            </a:xfrm>
            <a:custGeom>
              <a:avLst/>
              <a:gdLst/>
              <a:ahLst/>
              <a:cxnLst/>
              <a:rect l="l" t="t" r="r" b="b"/>
              <a:pathLst>
                <a:path w="19" h="8" extrusionOk="0">
                  <a:moveTo>
                    <a:pt x="18"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621" name="Google Shape;6621;p104"/>
            <p:cNvSpPr/>
            <p:nvPr/>
          </p:nvSpPr>
          <p:spPr>
            <a:xfrm>
              <a:off x="2265000" y="2075975"/>
              <a:ext cx="109" cy="68"/>
            </a:xfrm>
            <a:custGeom>
              <a:avLst/>
              <a:gdLst/>
              <a:ahLst/>
              <a:cxnLst/>
              <a:rect l="l" t="t" r="r" b="b"/>
              <a:pathLst>
                <a:path w="8" h="5" extrusionOk="0">
                  <a:moveTo>
                    <a:pt x="7"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622" name="Google Shape;6622;p104"/>
            <p:cNvSpPr/>
            <p:nvPr/>
          </p:nvSpPr>
          <p:spPr>
            <a:xfrm>
              <a:off x="2264714" y="2076124"/>
              <a:ext cx="149" cy="109"/>
            </a:xfrm>
            <a:custGeom>
              <a:avLst/>
              <a:gdLst/>
              <a:ahLst/>
              <a:cxnLst/>
              <a:rect l="l" t="t" r="r" b="b"/>
              <a:pathLst>
                <a:path w="11" h="8" extrusionOk="0">
                  <a:moveTo>
                    <a:pt x="11"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623" name="Google Shape;6623;p104"/>
            <p:cNvSpPr/>
            <p:nvPr/>
          </p:nvSpPr>
          <p:spPr>
            <a:xfrm>
              <a:off x="2262949" y="2077210"/>
              <a:ext cx="163" cy="109"/>
            </a:xfrm>
            <a:custGeom>
              <a:avLst/>
              <a:gdLst/>
              <a:ahLst/>
              <a:cxnLst/>
              <a:rect l="l" t="t" r="r" b="b"/>
              <a:pathLst>
                <a:path w="12" h="8" extrusionOk="0">
                  <a:moveTo>
                    <a:pt x="1" y="8"/>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624" name="Google Shape;6624;p104"/>
            <p:cNvSpPr/>
            <p:nvPr/>
          </p:nvSpPr>
          <p:spPr>
            <a:xfrm>
              <a:off x="2270077" y="2062058"/>
              <a:ext cx="14" cy="204"/>
            </a:xfrm>
            <a:custGeom>
              <a:avLst/>
              <a:gdLst/>
              <a:ahLst/>
              <a:cxnLst/>
              <a:rect l="l" t="t" r="r" b="b"/>
              <a:pathLst>
                <a:path w="1" h="15" extrusionOk="0">
                  <a:moveTo>
                    <a:pt x="1" y="0"/>
                  </a:moveTo>
                  <a:lnTo>
                    <a:pt x="1" y="14"/>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625" name="Google Shape;6625;p104"/>
            <p:cNvSpPr/>
            <p:nvPr/>
          </p:nvSpPr>
          <p:spPr>
            <a:xfrm>
              <a:off x="2270132" y="2062574"/>
              <a:ext cx="14" cy="163"/>
            </a:xfrm>
            <a:custGeom>
              <a:avLst/>
              <a:gdLst/>
              <a:ahLst/>
              <a:cxnLst/>
              <a:rect l="l" t="t" r="r" b="b"/>
              <a:pathLst>
                <a:path w="1" h="12" extrusionOk="0">
                  <a:moveTo>
                    <a:pt x="0" y="1"/>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626" name="Google Shape;6626;p104"/>
            <p:cNvSpPr/>
            <p:nvPr/>
          </p:nvSpPr>
          <p:spPr>
            <a:xfrm>
              <a:off x="2263289" y="2076830"/>
              <a:ext cx="394" cy="258"/>
            </a:xfrm>
            <a:custGeom>
              <a:avLst/>
              <a:gdLst/>
              <a:ahLst/>
              <a:cxnLst/>
              <a:rect l="l" t="t" r="r" b="b"/>
              <a:pathLst>
                <a:path w="29" h="19" extrusionOk="0">
                  <a:moveTo>
                    <a:pt x="28" y="1"/>
                  </a:moveTo>
                  <a:lnTo>
                    <a:pt x="0" y="18"/>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627" name="Google Shape;6627;p104"/>
            <p:cNvSpPr/>
            <p:nvPr/>
          </p:nvSpPr>
          <p:spPr>
            <a:xfrm>
              <a:off x="2270173" y="2063103"/>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628" name="Google Shape;6628;p104"/>
            <p:cNvSpPr/>
            <p:nvPr/>
          </p:nvSpPr>
          <p:spPr>
            <a:xfrm>
              <a:off x="2334109" y="2126225"/>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629" name="Google Shape;6629;p104"/>
            <p:cNvSpPr/>
            <p:nvPr/>
          </p:nvSpPr>
          <p:spPr>
            <a:xfrm>
              <a:off x="2334204" y="2126076"/>
              <a:ext cx="14" cy="68"/>
            </a:xfrm>
            <a:custGeom>
              <a:avLst/>
              <a:gdLst/>
              <a:ahLst/>
              <a:cxnLst/>
              <a:rect l="l" t="t" r="r" b="b"/>
              <a:pathLst>
                <a:path w="1" h="5" extrusionOk="0">
                  <a:moveTo>
                    <a:pt x="0" y="1"/>
                  </a:moveTo>
                  <a:lnTo>
                    <a:pt x="0" y="4"/>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630" name="Google Shape;6630;p104"/>
            <p:cNvSpPr/>
            <p:nvPr/>
          </p:nvSpPr>
          <p:spPr>
            <a:xfrm>
              <a:off x="2334150" y="2126130"/>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631" name="Google Shape;6631;p104"/>
            <p:cNvSpPr/>
            <p:nvPr/>
          </p:nvSpPr>
          <p:spPr>
            <a:xfrm>
              <a:off x="2334204" y="2126035"/>
              <a:ext cx="54" cy="54"/>
            </a:xfrm>
            <a:custGeom>
              <a:avLst/>
              <a:gdLst/>
              <a:ahLst/>
              <a:cxnLst/>
              <a:rect l="l" t="t" r="r" b="b"/>
              <a:pathLst>
                <a:path w="4" h="4" extrusionOk="0">
                  <a:moveTo>
                    <a:pt x="4" y="0"/>
                  </a:moveTo>
                  <a:lnTo>
                    <a:pt x="0" y="4"/>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632" name="Google Shape;6632;p104"/>
            <p:cNvSpPr/>
            <p:nvPr/>
          </p:nvSpPr>
          <p:spPr>
            <a:xfrm>
              <a:off x="2334055" y="2126320"/>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633" name="Google Shape;6633;p104"/>
            <p:cNvSpPr/>
            <p:nvPr/>
          </p:nvSpPr>
          <p:spPr>
            <a:xfrm>
              <a:off x="2334109" y="2126266"/>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634" name="Google Shape;6634;p104"/>
            <p:cNvSpPr/>
            <p:nvPr/>
          </p:nvSpPr>
          <p:spPr>
            <a:xfrm>
              <a:off x="2336580" y="2124365"/>
              <a:ext cx="204" cy="163"/>
            </a:xfrm>
            <a:custGeom>
              <a:avLst/>
              <a:gdLst/>
              <a:ahLst/>
              <a:cxnLst/>
              <a:rect l="l" t="t" r="r" b="b"/>
              <a:pathLst>
                <a:path w="15" h="12" extrusionOk="0">
                  <a:moveTo>
                    <a:pt x="14" y="1"/>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635" name="Google Shape;6635;p104"/>
            <p:cNvSpPr/>
            <p:nvPr/>
          </p:nvSpPr>
          <p:spPr>
            <a:xfrm>
              <a:off x="2304306" y="2129782"/>
              <a:ext cx="244" cy="14"/>
            </a:xfrm>
            <a:custGeom>
              <a:avLst/>
              <a:gdLst/>
              <a:ahLst/>
              <a:cxnLst/>
              <a:rect l="l" t="t" r="r" b="b"/>
              <a:pathLst>
                <a:path w="18" h="1" extrusionOk="0">
                  <a:moveTo>
                    <a:pt x="18"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636" name="Google Shape;6636;p104"/>
            <p:cNvSpPr/>
            <p:nvPr/>
          </p:nvSpPr>
          <p:spPr>
            <a:xfrm>
              <a:off x="2337245" y="2123985"/>
              <a:ext cx="299" cy="163"/>
            </a:xfrm>
            <a:custGeom>
              <a:avLst/>
              <a:gdLst/>
              <a:ahLst/>
              <a:cxnLst/>
              <a:rect l="l" t="t" r="r" b="b"/>
              <a:pathLst>
                <a:path w="22" h="12" extrusionOk="0">
                  <a:moveTo>
                    <a:pt x="21" y="1"/>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637" name="Google Shape;6637;p104"/>
            <p:cNvSpPr/>
            <p:nvPr/>
          </p:nvSpPr>
          <p:spPr>
            <a:xfrm>
              <a:off x="2317952" y="2130217"/>
              <a:ext cx="584" cy="54"/>
            </a:xfrm>
            <a:custGeom>
              <a:avLst/>
              <a:gdLst/>
              <a:ahLst/>
              <a:cxnLst/>
              <a:rect l="l" t="t" r="r" b="b"/>
              <a:pathLst>
                <a:path w="43" h="4" extrusionOk="0">
                  <a:moveTo>
                    <a:pt x="0" y="0"/>
                  </a:moveTo>
                  <a:cubicBezTo>
                    <a:pt x="14" y="0"/>
                    <a:pt x="28" y="0"/>
                    <a:pt x="42" y="4"/>
                  </a:cubicBezTo>
                  <a:cubicBezTo>
                    <a:pt x="28" y="0"/>
                    <a:pt x="14" y="0"/>
                    <a:pt x="0"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638" name="Google Shape;6638;p104"/>
            <p:cNvSpPr/>
            <p:nvPr/>
          </p:nvSpPr>
          <p:spPr>
            <a:xfrm>
              <a:off x="2304687" y="2129782"/>
              <a:ext cx="204" cy="14"/>
            </a:xfrm>
            <a:custGeom>
              <a:avLst/>
              <a:gdLst/>
              <a:ahLst/>
              <a:cxnLst/>
              <a:rect l="l" t="t" r="r" b="b"/>
              <a:pathLst>
                <a:path w="15" h="1" extrusionOk="0">
                  <a:moveTo>
                    <a:pt x="14"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639" name="Google Shape;6639;p104"/>
            <p:cNvSpPr/>
            <p:nvPr/>
          </p:nvSpPr>
          <p:spPr>
            <a:xfrm>
              <a:off x="2318658" y="2130312"/>
              <a:ext cx="3245" cy="312"/>
            </a:xfrm>
            <a:custGeom>
              <a:avLst/>
              <a:gdLst/>
              <a:ahLst/>
              <a:cxnLst/>
              <a:rect l="l" t="t" r="r" b="b"/>
              <a:pathLst>
                <a:path w="239" h="23" extrusionOk="0">
                  <a:moveTo>
                    <a:pt x="1" y="0"/>
                  </a:moveTo>
                  <a:cubicBezTo>
                    <a:pt x="88" y="18"/>
                    <a:pt x="144" y="23"/>
                    <a:pt x="180" y="23"/>
                  </a:cubicBezTo>
                  <a:cubicBezTo>
                    <a:pt x="216" y="23"/>
                    <a:pt x="232" y="18"/>
                    <a:pt x="239" y="14"/>
                  </a:cubicBezTo>
                  <a:lnTo>
                    <a:pt x="239" y="14"/>
                  </a:lnTo>
                  <a:cubicBezTo>
                    <a:pt x="232" y="18"/>
                    <a:pt x="217" y="22"/>
                    <a:pt x="185" y="22"/>
                  </a:cubicBezTo>
                  <a:cubicBezTo>
                    <a:pt x="149" y="22"/>
                    <a:pt x="92" y="17"/>
                    <a:pt x="1"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640" name="Google Shape;6640;p104"/>
            <p:cNvSpPr/>
            <p:nvPr/>
          </p:nvSpPr>
          <p:spPr>
            <a:xfrm>
              <a:off x="2336241" y="2124555"/>
              <a:ext cx="258" cy="109"/>
            </a:xfrm>
            <a:custGeom>
              <a:avLst/>
              <a:gdLst/>
              <a:ahLst/>
              <a:cxnLst/>
              <a:rect l="l" t="t" r="r" b="b"/>
              <a:pathLst>
                <a:path w="19" h="8" extrusionOk="0">
                  <a:moveTo>
                    <a:pt x="18" y="1"/>
                  </a:moveTo>
                  <a:lnTo>
                    <a:pt x="1" y="8"/>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641" name="Google Shape;6641;p104"/>
            <p:cNvSpPr/>
            <p:nvPr/>
          </p:nvSpPr>
          <p:spPr>
            <a:xfrm>
              <a:off x="2336010" y="2124704"/>
              <a:ext cx="204" cy="109"/>
            </a:xfrm>
            <a:custGeom>
              <a:avLst/>
              <a:gdLst/>
              <a:ahLst/>
              <a:cxnLst/>
              <a:rect l="l" t="t" r="r" b="b"/>
              <a:pathLst>
                <a:path w="15" h="8" extrusionOk="0">
                  <a:moveTo>
                    <a:pt x="14"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642" name="Google Shape;6642;p104"/>
            <p:cNvSpPr/>
            <p:nvPr/>
          </p:nvSpPr>
          <p:spPr>
            <a:xfrm>
              <a:off x="2335725" y="2124895"/>
              <a:ext cx="204" cy="109"/>
            </a:xfrm>
            <a:custGeom>
              <a:avLst/>
              <a:gdLst/>
              <a:ahLst/>
              <a:cxnLst/>
              <a:rect l="l" t="t" r="r" b="b"/>
              <a:pathLst>
                <a:path w="15" h="8" extrusionOk="0">
                  <a:moveTo>
                    <a:pt x="14"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643" name="Google Shape;6643;p104"/>
            <p:cNvSpPr/>
            <p:nvPr/>
          </p:nvSpPr>
          <p:spPr>
            <a:xfrm>
              <a:off x="2341237" y="2121989"/>
              <a:ext cx="530" cy="258"/>
            </a:xfrm>
            <a:custGeom>
              <a:avLst/>
              <a:gdLst/>
              <a:ahLst/>
              <a:cxnLst/>
              <a:rect l="l" t="t" r="r" b="b"/>
              <a:pathLst>
                <a:path w="39" h="19" extrusionOk="0">
                  <a:moveTo>
                    <a:pt x="39" y="1"/>
                  </a:moveTo>
                  <a:lnTo>
                    <a:pt x="0" y="18"/>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644" name="Google Shape;6644;p104"/>
            <p:cNvSpPr/>
            <p:nvPr/>
          </p:nvSpPr>
          <p:spPr>
            <a:xfrm>
              <a:off x="2336865" y="2124229"/>
              <a:ext cx="299" cy="109"/>
            </a:xfrm>
            <a:custGeom>
              <a:avLst/>
              <a:gdLst/>
              <a:ahLst/>
              <a:cxnLst/>
              <a:rect l="l" t="t" r="r" b="b"/>
              <a:pathLst>
                <a:path w="22" h="8" extrusionOk="0">
                  <a:moveTo>
                    <a:pt x="21"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645" name="Google Shape;6645;p104"/>
            <p:cNvSpPr/>
            <p:nvPr/>
          </p:nvSpPr>
          <p:spPr>
            <a:xfrm>
              <a:off x="2339472" y="2122844"/>
              <a:ext cx="448" cy="204"/>
            </a:xfrm>
            <a:custGeom>
              <a:avLst/>
              <a:gdLst/>
              <a:ahLst/>
              <a:cxnLst/>
              <a:rect l="l" t="t" r="r" b="b"/>
              <a:pathLst>
                <a:path w="33" h="15" extrusionOk="0">
                  <a:moveTo>
                    <a:pt x="32" y="1"/>
                  </a:moveTo>
                  <a:lnTo>
                    <a:pt x="1" y="15"/>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646" name="Google Shape;6646;p104"/>
            <p:cNvSpPr/>
            <p:nvPr/>
          </p:nvSpPr>
          <p:spPr>
            <a:xfrm>
              <a:off x="2301876" y="2129457"/>
              <a:ext cx="679" cy="109"/>
            </a:xfrm>
            <a:custGeom>
              <a:avLst/>
              <a:gdLst/>
              <a:ahLst/>
              <a:cxnLst/>
              <a:rect l="l" t="t" r="r" b="b"/>
              <a:pathLst>
                <a:path w="50" h="8" extrusionOk="0">
                  <a:moveTo>
                    <a:pt x="1" y="0"/>
                  </a:moveTo>
                  <a:lnTo>
                    <a:pt x="50" y="7"/>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647" name="Google Shape;6647;p104"/>
            <p:cNvSpPr/>
            <p:nvPr/>
          </p:nvSpPr>
          <p:spPr>
            <a:xfrm>
              <a:off x="2340572" y="2122274"/>
              <a:ext cx="530" cy="258"/>
            </a:xfrm>
            <a:custGeom>
              <a:avLst/>
              <a:gdLst/>
              <a:ahLst/>
              <a:cxnLst/>
              <a:rect l="l" t="t" r="r" b="b"/>
              <a:pathLst>
                <a:path w="39" h="19" extrusionOk="0">
                  <a:moveTo>
                    <a:pt x="39" y="1"/>
                  </a:moveTo>
                  <a:lnTo>
                    <a:pt x="0" y="18"/>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648" name="Google Shape;6648;p104"/>
            <p:cNvSpPr/>
            <p:nvPr/>
          </p:nvSpPr>
          <p:spPr>
            <a:xfrm>
              <a:off x="2334340" y="2125886"/>
              <a:ext cx="68" cy="68"/>
            </a:xfrm>
            <a:custGeom>
              <a:avLst/>
              <a:gdLst/>
              <a:ahLst/>
              <a:cxnLst/>
              <a:rect l="l" t="t" r="r" b="b"/>
              <a:pathLst>
                <a:path w="5" h="5" extrusionOk="0">
                  <a:moveTo>
                    <a:pt x="1" y="4"/>
                  </a:moveTo>
                  <a:lnTo>
                    <a:pt x="4"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649" name="Google Shape;6649;p104"/>
            <p:cNvSpPr/>
            <p:nvPr/>
          </p:nvSpPr>
          <p:spPr>
            <a:xfrm>
              <a:off x="2338956" y="2123129"/>
              <a:ext cx="394" cy="163"/>
            </a:xfrm>
            <a:custGeom>
              <a:avLst/>
              <a:gdLst/>
              <a:ahLst/>
              <a:cxnLst/>
              <a:rect l="l" t="t" r="r" b="b"/>
              <a:pathLst>
                <a:path w="29" h="12" extrusionOk="0">
                  <a:moveTo>
                    <a:pt x="28" y="1"/>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650" name="Google Shape;6650;p104"/>
            <p:cNvSpPr/>
            <p:nvPr/>
          </p:nvSpPr>
          <p:spPr>
            <a:xfrm>
              <a:off x="2327307" y="2127406"/>
              <a:ext cx="1684" cy="638"/>
            </a:xfrm>
            <a:custGeom>
              <a:avLst/>
              <a:gdLst/>
              <a:ahLst/>
              <a:cxnLst/>
              <a:rect l="l" t="t" r="r" b="b"/>
              <a:pathLst>
                <a:path w="124" h="47" extrusionOk="0">
                  <a:moveTo>
                    <a:pt x="1" y="29"/>
                  </a:moveTo>
                  <a:cubicBezTo>
                    <a:pt x="43" y="46"/>
                    <a:pt x="95" y="36"/>
                    <a:pt x="123" y="1"/>
                  </a:cubicBezTo>
                  <a:cubicBezTo>
                    <a:pt x="95" y="36"/>
                    <a:pt x="43" y="46"/>
                    <a:pt x="1" y="29"/>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651" name="Google Shape;6651;p104"/>
            <p:cNvSpPr/>
            <p:nvPr/>
          </p:nvSpPr>
          <p:spPr>
            <a:xfrm>
              <a:off x="2338481" y="2123374"/>
              <a:ext cx="339" cy="149"/>
            </a:xfrm>
            <a:custGeom>
              <a:avLst/>
              <a:gdLst/>
              <a:ahLst/>
              <a:cxnLst/>
              <a:rect l="l" t="t" r="r" b="b"/>
              <a:pathLst>
                <a:path w="25" h="11" extrusionOk="0">
                  <a:moveTo>
                    <a:pt x="25" y="0"/>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652" name="Google Shape;6652;p104"/>
            <p:cNvSpPr/>
            <p:nvPr/>
          </p:nvSpPr>
          <p:spPr>
            <a:xfrm>
              <a:off x="2328977" y="2126361"/>
              <a:ext cx="3815" cy="1059"/>
            </a:xfrm>
            <a:custGeom>
              <a:avLst/>
              <a:gdLst/>
              <a:ahLst/>
              <a:cxnLst/>
              <a:rect l="l" t="t" r="r" b="b"/>
              <a:pathLst>
                <a:path w="281" h="78" extrusionOk="0">
                  <a:moveTo>
                    <a:pt x="0" y="78"/>
                  </a:moveTo>
                  <a:cubicBezTo>
                    <a:pt x="88" y="1"/>
                    <a:pt x="200" y="4"/>
                    <a:pt x="280" y="8"/>
                  </a:cubicBezTo>
                  <a:cubicBezTo>
                    <a:pt x="200" y="4"/>
                    <a:pt x="88" y="1"/>
                    <a:pt x="0" y="78"/>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653" name="Google Shape;6653;p104"/>
            <p:cNvSpPr/>
            <p:nvPr/>
          </p:nvSpPr>
          <p:spPr>
            <a:xfrm>
              <a:off x="2302691" y="2129592"/>
              <a:ext cx="489" cy="68"/>
            </a:xfrm>
            <a:custGeom>
              <a:avLst/>
              <a:gdLst/>
              <a:ahLst/>
              <a:cxnLst/>
              <a:rect l="l" t="t" r="r" b="b"/>
              <a:pathLst>
                <a:path w="36" h="5" extrusionOk="0">
                  <a:moveTo>
                    <a:pt x="35"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654" name="Google Shape;6654;p104"/>
            <p:cNvSpPr/>
            <p:nvPr/>
          </p:nvSpPr>
          <p:spPr>
            <a:xfrm>
              <a:off x="2334245" y="2125981"/>
              <a:ext cx="68" cy="68"/>
            </a:xfrm>
            <a:custGeom>
              <a:avLst/>
              <a:gdLst/>
              <a:ahLst/>
              <a:cxnLst/>
              <a:rect l="l" t="t" r="r" b="b"/>
              <a:pathLst>
                <a:path w="5" h="5" extrusionOk="0">
                  <a:moveTo>
                    <a:pt x="4" y="1"/>
                  </a:moveTo>
                  <a:lnTo>
                    <a:pt x="1" y="4"/>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655" name="Google Shape;6655;p104"/>
            <p:cNvSpPr/>
            <p:nvPr/>
          </p:nvSpPr>
          <p:spPr>
            <a:xfrm>
              <a:off x="2334489" y="2125750"/>
              <a:ext cx="54" cy="54"/>
            </a:xfrm>
            <a:custGeom>
              <a:avLst/>
              <a:gdLst/>
              <a:ahLst/>
              <a:cxnLst/>
              <a:rect l="l" t="t" r="r" b="b"/>
              <a:pathLst>
                <a:path w="4" h="4" extrusionOk="0">
                  <a:moveTo>
                    <a:pt x="4" y="0"/>
                  </a:moveTo>
                  <a:lnTo>
                    <a:pt x="0" y="4"/>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656" name="Google Shape;6656;p104"/>
            <p:cNvSpPr/>
            <p:nvPr/>
          </p:nvSpPr>
          <p:spPr>
            <a:xfrm>
              <a:off x="2303302" y="2129647"/>
              <a:ext cx="394" cy="54"/>
            </a:xfrm>
            <a:custGeom>
              <a:avLst/>
              <a:gdLst/>
              <a:ahLst/>
              <a:cxnLst/>
              <a:rect l="l" t="t" r="r" b="b"/>
              <a:pathLst>
                <a:path w="29" h="4" extrusionOk="0">
                  <a:moveTo>
                    <a:pt x="29" y="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657" name="Google Shape;6657;p104"/>
            <p:cNvSpPr/>
            <p:nvPr/>
          </p:nvSpPr>
          <p:spPr>
            <a:xfrm>
              <a:off x="2333294" y="2126456"/>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658" name="Google Shape;6658;p104"/>
            <p:cNvSpPr/>
            <p:nvPr/>
          </p:nvSpPr>
          <p:spPr>
            <a:xfrm>
              <a:off x="2334394" y="2125845"/>
              <a:ext cx="54" cy="54"/>
            </a:xfrm>
            <a:custGeom>
              <a:avLst/>
              <a:gdLst/>
              <a:ahLst/>
              <a:cxnLst/>
              <a:rect l="l" t="t" r="r" b="b"/>
              <a:pathLst>
                <a:path w="4" h="4" extrusionOk="0">
                  <a:moveTo>
                    <a:pt x="4" y="0"/>
                  </a:moveTo>
                  <a:lnTo>
                    <a:pt x="0" y="4"/>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659" name="Google Shape;6659;p104"/>
            <p:cNvSpPr/>
            <p:nvPr/>
          </p:nvSpPr>
          <p:spPr>
            <a:xfrm>
              <a:off x="2340002" y="2122559"/>
              <a:ext cx="489" cy="258"/>
            </a:xfrm>
            <a:custGeom>
              <a:avLst/>
              <a:gdLst/>
              <a:ahLst/>
              <a:cxnLst/>
              <a:rect l="l" t="t" r="r" b="b"/>
              <a:pathLst>
                <a:path w="36" h="19" extrusionOk="0">
                  <a:moveTo>
                    <a:pt x="35" y="1"/>
                  </a:moveTo>
                  <a:lnTo>
                    <a:pt x="0" y="18"/>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660" name="Google Shape;6660;p104"/>
            <p:cNvSpPr/>
            <p:nvPr/>
          </p:nvSpPr>
          <p:spPr>
            <a:xfrm>
              <a:off x="2334530" y="2125655"/>
              <a:ext cx="109" cy="109"/>
            </a:xfrm>
            <a:custGeom>
              <a:avLst/>
              <a:gdLst/>
              <a:ahLst/>
              <a:cxnLst/>
              <a:rect l="l" t="t" r="r" b="b"/>
              <a:pathLst>
                <a:path w="8" h="8" extrusionOk="0">
                  <a:moveTo>
                    <a:pt x="8"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661" name="Google Shape;6661;p104"/>
            <p:cNvSpPr/>
            <p:nvPr/>
          </p:nvSpPr>
          <p:spPr>
            <a:xfrm>
              <a:off x="2305202" y="2129837"/>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662" name="Google Shape;6662;p104"/>
            <p:cNvSpPr/>
            <p:nvPr/>
          </p:nvSpPr>
          <p:spPr>
            <a:xfrm>
              <a:off x="2335100" y="2125275"/>
              <a:ext cx="163" cy="109"/>
            </a:xfrm>
            <a:custGeom>
              <a:avLst/>
              <a:gdLst/>
              <a:ahLst/>
              <a:cxnLst/>
              <a:rect l="l" t="t" r="r" b="b"/>
              <a:pathLst>
                <a:path w="12" h="8" extrusionOk="0">
                  <a:moveTo>
                    <a:pt x="11"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663" name="Google Shape;6663;p104"/>
            <p:cNvSpPr/>
            <p:nvPr/>
          </p:nvSpPr>
          <p:spPr>
            <a:xfrm>
              <a:off x="2334964" y="2125370"/>
              <a:ext cx="109" cy="109"/>
            </a:xfrm>
            <a:custGeom>
              <a:avLst/>
              <a:gdLst/>
              <a:ahLst/>
              <a:cxnLst/>
              <a:rect l="l" t="t" r="r" b="b"/>
              <a:pathLst>
                <a:path w="8" h="8" extrusionOk="0">
                  <a:moveTo>
                    <a:pt x="7"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664" name="Google Shape;6664;p104"/>
            <p:cNvSpPr/>
            <p:nvPr/>
          </p:nvSpPr>
          <p:spPr>
            <a:xfrm>
              <a:off x="2335535" y="2124990"/>
              <a:ext cx="149" cy="109"/>
            </a:xfrm>
            <a:custGeom>
              <a:avLst/>
              <a:gdLst/>
              <a:ahLst/>
              <a:cxnLst/>
              <a:rect l="l" t="t" r="r" b="b"/>
              <a:pathLst>
                <a:path w="11" h="8" extrusionOk="0">
                  <a:moveTo>
                    <a:pt x="11"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665" name="Google Shape;6665;p104"/>
            <p:cNvSpPr/>
            <p:nvPr/>
          </p:nvSpPr>
          <p:spPr>
            <a:xfrm>
              <a:off x="2338046" y="2123605"/>
              <a:ext cx="299" cy="163"/>
            </a:xfrm>
            <a:custGeom>
              <a:avLst/>
              <a:gdLst/>
              <a:ahLst/>
              <a:cxnLst/>
              <a:rect l="l" t="t" r="r" b="b"/>
              <a:pathLst>
                <a:path w="22" h="12" extrusionOk="0">
                  <a:moveTo>
                    <a:pt x="22" y="1"/>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666" name="Google Shape;6666;p104"/>
            <p:cNvSpPr/>
            <p:nvPr/>
          </p:nvSpPr>
          <p:spPr>
            <a:xfrm>
              <a:off x="2303831" y="2129742"/>
              <a:ext cx="299" cy="14"/>
            </a:xfrm>
            <a:custGeom>
              <a:avLst/>
              <a:gdLst/>
              <a:ahLst/>
              <a:cxnLst/>
              <a:rect l="l" t="t" r="r" b="b"/>
              <a:pathLst>
                <a:path w="22" h="1" extrusionOk="0">
                  <a:moveTo>
                    <a:pt x="21"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667" name="Google Shape;6667;p104"/>
            <p:cNvSpPr/>
            <p:nvPr/>
          </p:nvSpPr>
          <p:spPr>
            <a:xfrm>
              <a:off x="2335290" y="2125125"/>
              <a:ext cx="163" cy="109"/>
            </a:xfrm>
            <a:custGeom>
              <a:avLst/>
              <a:gdLst/>
              <a:ahLst/>
              <a:cxnLst/>
              <a:rect l="l" t="t" r="r" b="b"/>
              <a:pathLst>
                <a:path w="12" h="8" extrusionOk="0">
                  <a:moveTo>
                    <a:pt x="11" y="1"/>
                  </a:moveTo>
                  <a:lnTo>
                    <a:pt x="1" y="8"/>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668" name="Google Shape;6668;p104"/>
            <p:cNvSpPr/>
            <p:nvPr/>
          </p:nvSpPr>
          <p:spPr>
            <a:xfrm>
              <a:off x="2334679" y="2125560"/>
              <a:ext cx="109" cy="109"/>
            </a:xfrm>
            <a:custGeom>
              <a:avLst/>
              <a:gdLst/>
              <a:ahLst/>
              <a:cxnLst/>
              <a:rect l="l" t="t" r="r" b="b"/>
              <a:pathLst>
                <a:path w="8" h="8" extrusionOk="0">
                  <a:moveTo>
                    <a:pt x="7"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669" name="Google Shape;6669;p104"/>
            <p:cNvSpPr/>
            <p:nvPr/>
          </p:nvSpPr>
          <p:spPr>
            <a:xfrm>
              <a:off x="2337626" y="2123795"/>
              <a:ext cx="299" cy="163"/>
            </a:xfrm>
            <a:custGeom>
              <a:avLst/>
              <a:gdLst/>
              <a:ahLst/>
              <a:cxnLst/>
              <a:rect l="l" t="t" r="r" b="b"/>
              <a:pathLst>
                <a:path w="22" h="12" extrusionOk="0">
                  <a:moveTo>
                    <a:pt x="21" y="1"/>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670" name="Google Shape;6670;p104"/>
            <p:cNvSpPr/>
            <p:nvPr/>
          </p:nvSpPr>
          <p:spPr>
            <a:xfrm>
              <a:off x="2334815" y="2125465"/>
              <a:ext cx="109" cy="109"/>
            </a:xfrm>
            <a:custGeom>
              <a:avLst/>
              <a:gdLst/>
              <a:ahLst/>
              <a:cxnLst/>
              <a:rect l="l" t="t" r="r" b="b"/>
              <a:pathLst>
                <a:path w="8" h="8" extrusionOk="0">
                  <a:moveTo>
                    <a:pt x="8"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671" name="Google Shape;6671;p104"/>
            <p:cNvSpPr/>
            <p:nvPr/>
          </p:nvSpPr>
          <p:spPr>
            <a:xfrm>
              <a:off x="2286819" y="2116381"/>
              <a:ext cx="21398" cy="53672"/>
            </a:xfrm>
            <a:custGeom>
              <a:avLst/>
              <a:gdLst/>
              <a:ahLst/>
              <a:cxnLst/>
              <a:rect l="l" t="t" r="r" b="b"/>
              <a:pathLst>
                <a:path w="1576" h="3953" extrusionOk="0">
                  <a:moveTo>
                    <a:pt x="308" y="0"/>
                  </a:moveTo>
                  <a:cubicBezTo>
                    <a:pt x="350" y="85"/>
                    <a:pt x="392" y="172"/>
                    <a:pt x="427" y="260"/>
                  </a:cubicBezTo>
                  <a:lnTo>
                    <a:pt x="434" y="281"/>
                  </a:lnTo>
                  <a:lnTo>
                    <a:pt x="441" y="305"/>
                  </a:lnTo>
                  <a:lnTo>
                    <a:pt x="452" y="333"/>
                  </a:lnTo>
                  <a:lnTo>
                    <a:pt x="455" y="344"/>
                  </a:lnTo>
                  <a:cubicBezTo>
                    <a:pt x="462" y="368"/>
                    <a:pt x="469" y="393"/>
                    <a:pt x="476" y="417"/>
                  </a:cubicBezTo>
                  <a:lnTo>
                    <a:pt x="476" y="421"/>
                  </a:lnTo>
                  <a:cubicBezTo>
                    <a:pt x="476" y="431"/>
                    <a:pt x="480" y="438"/>
                    <a:pt x="480" y="449"/>
                  </a:cubicBezTo>
                  <a:lnTo>
                    <a:pt x="480" y="452"/>
                  </a:lnTo>
                  <a:cubicBezTo>
                    <a:pt x="480" y="463"/>
                    <a:pt x="480" y="470"/>
                    <a:pt x="480" y="480"/>
                  </a:cubicBezTo>
                  <a:cubicBezTo>
                    <a:pt x="483" y="512"/>
                    <a:pt x="469" y="543"/>
                    <a:pt x="448" y="568"/>
                  </a:cubicBezTo>
                  <a:cubicBezTo>
                    <a:pt x="423" y="584"/>
                    <a:pt x="394" y="594"/>
                    <a:pt x="364" y="594"/>
                  </a:cubicBezTo>
                  <a:cubicBezTo>
                    <a:pt x="356" y="594"/>
                    <a:pt x="348" y="594"/>
                    <a:pt x="340" y="592"/>
                  </a:cubicBezTo>
                  <a:cubicBezTo>
                    <a:pt x="330" y="591"/>
                    <a:pt x="323" y="591"/>
                    <a:pt x="316" y="591"/>
                  </a:cubicBezTo>
                  <a:cubicBezTo>
                    <a:pt x="292" y="591"/>
                    <a:pt x="288" y="597"/>
                    <a:pt x="280" y="617"/>
                  </a:cubicBezTo>
                  <a:cubicBezTo>
                    <a:pt x="224" y="753"/>
                    <a:pt x="210" y="1359"/>
                    <a:pt x="291" y="1439"/>
                  </a:cubicBezTo>
                  <a:cubicBezTo>
                    <a:pt x="326" y="1467"/>
                    <a:pt x="340" y="1509"/>
                    <a:pt x="329" y="1551"/>
                  </a:cubicBezTo>
                  <a:cubicBezTo>
                    <a:pt x="308" y="1611"/>
                    <a:pt x="245" y="1614"/>
                    <a:pt x="179" y="1621"/>
                  </a:cubicBezTo>
                  <a:lnTo>
                    <a:pt x="154" y="1625"/>
                  </a:lnTo>
                  <a:cubicBezTo>
                    <a:pt x="133" y="1625"/>
                    <a:pt x="109" y="1632"/>
                    <a:pt x="88" y="1639"/>
                  </a:cubicBezTo>
                  <a:cubicBezTo>
                    <a:pt x="88" y="1779"/>
                    <a:pt x="74" y="1919"/>
                    <a:pt x="46" y="2059"/>
                  </a:cubicBezTo>
                  <a:cubicBezTo>
                    <a:pt x="39" y="2094"/>
                    <a:pt x="28" y="2129"/>
                    <a:pt x="14" y="2161"/>
                  </a:cubicBezTo>
                  <a:cubicBezTo>
                    <a:pt x="11" y="2168"/>
                    <a:pt x="4" y="2178"/>
                    <a:pt x="0" y="2185"/>
                  </a:cubicBezTo>
                  <a:cubicBezTo>
                    <a:pt x="7" y="2206"/>
                    <a:pt x="28" y="2245"/>
                    <a:pt x="42" y="2273"/>
                  </a:cubicBezTo>
                  <a:lnTo>
                    <a:pt x="63" y="2311"/>
                  </a:lnTo>
                  <a:lnTo>
                    <a:pt x="70" y="2325"/>
                  </a:lnTo>
                  <a:lnTo>
                    <a:pt x="81" y="2339"/>
                  </a:lnTo>
                  <a:cubicBezTo>
                    <a:pt x="88" y="2343"/>
                    <a:pt x="95" y="2346"/>
                    <a:pt x="102" y="2350"/>
                  </a:cubicBezTo>
                  <a:lnTo>
                    <a:pt x="105" y="2353"/>
                  </a:lnTo>
                  <a:cubicBezTo>
                    <a:pt x="112" y="2360"/>
                    <a:pt x="119" y="2367"/>
                    <a:pt x="130" y="2374"/>
                  </a:cubicBezTo>
                  <a:lnTo>
                    <a:pt x="137" y="2381"/>
                  </a:lnTo>
                  <a:lnTo>
                    <a:pt x="158" y="2399"/>
                  </a:lnTo>
                  <a:lnTo>
                    <a:pt x="168" y="2409"/>
                  </a:lnTo>
                  <a:lnTo>
                    <a:pt x="203" y="2441"/>
                  </a:lnTo>
                  <a:cubicBezTo>
                    <a:pt x="256" y="2486"/>
                    <a:pt x="364" y="2588"/>
                    <a:pt x="403" y="2588"/>
                  </a:cubicBezTo>
                  <a:cubicBezTo>
                    <a:pt x="413" y="2588"/>
                    <a:pt x="441" y="2577"/>
                    <a:pt x="466" y="2570"/>
                  </a:cubicBezTo>
                  <a:lnTo>
                    <a:pt x="511" y="2556"/>
                  </a:lnTo>
                  <a:lnTo>
                    <a:pt x="522" y="2553"/>
                  </a:lnTo>
                  <a:lnTo>
                    <a:pt x="560" y="2542"/>
                  </a:lnTo>
                  <a:lnTo>
                    <a:pt x="578" y="2539"/>
                  </a:lnTo>
                  <a:cubicBezTo>
                    <a:pt x="588" y="2539"/>
                    <a:pt x="602" y="2535"/>
                    <a:pt x="616" y="2532"/>
                  </a:cubicBezTo>
                  <a:lnTo>
                    <a:pt x="630" y="2532"/>
                  </a:lnTo>
                  <a:cubicBezTo>
                    <a:pt x="648" y="2528"/>
                    <a:pt x="665" y="2528"/>
                    <a:pt x="683" y="2528"/>
                  </a:cubicBezTo>
                  <a:lnTo>
                    <a:pt x="735" y="2528"/>
                  </a:lnTo>
                  <a:cubicBezTo>
                    <a:pt x="746" y="2532"/>
                    <a:pt x="753" y="2532"/>
                    <a:pt x="763" y="2535"/>
                  </a:cubicBezTo>
                  <a:lnTo>
                    <a:pt x="774" y="2539"/>
                  </a:lnTo>
                  <a:cubicBezTo>
                    <a:pt x="788" y="2542"/>
                    <a:pt x="802" y="2549"/>
                    <a:pt x="812" y="2556"/>
                  </a:cubicBezTo>
                  <a:cubicBezTo>
                    <a:pt x="865" y="2588"/>
                    <a:pt x="900" y="2644"/>
                    <a:pt x="910" y="2703"/>
                  </a:cubicBezTo>
                  <a:cubicBezTo>
                    <a:pt x="942" y="2850"/>
                    <a:pt x="886" y="3046"/>
                    <a:pt x="840" y="3204"/>
                  </a:cubicBezTo>
                  <a:cubicBezTo>
                    <a:pt x="819" y="3277"/>
                    <a:pt x="788" y="3382"/>
                    <a:pt x="798" y="3407"/>
                  </a:cubicBezTo>
                  <a:cubicBezTo>
                    <a:pt x="819" y="3473"/>
                    <a:pt x="1008" y="3757"/>
                    <a:pt x="1138" y="3921"/>
                  </a:cubicBezTo>
                  <a:lnTo>
                    <a:pt x="1166" y="3953"/>
                  </a:lnTo>
                  <a:cubicBezTo>
                    <a:pt x="1145" y="3823"/>
                    <a:pt x="1120" y="3648"/>
                    <a:pt x="1239" y="3540"/>
                  </a:cubicBezTo>
                  <a:cubicBezTo>
                    <a:pt x="1292" y="3498"/>
                    <a:pt x="1355" y="3470"/>
                    <a:pt x="1421" y="3463"/>
                  </a:cubicBezTo>
                  <a:cubicBezTo>
                    <a:pt x="1498" y="3445"/>
                    <a:pt x="1533" y="3438"/>
                    <a:pt x="1526" y="3239"/>
                  </a:cubicBezTo>
                  <a:cubicBezTo>
                    <a:pt x="1519" y="3120"/>
                    <a:pt x="1530" y="3004"/>
                    <a:pt x="1561" y="2889"/>
                  </a:cubicBezTo>
                  <a:cubicBezTo>
                    <a:pt x="1568" y="2868"/>
                    <a:pt x="1572" y="2847"/>
                    <a:pt x="1575" y="2826"/>
                  </a:cubicBezTo>
                  <a:cubicBezTo>
                    <a:pt x="1575" y="2794"/>
                    <a:pt x="1561" y="2773"/>
                    <a:pt x="1523" y="2728"/>
                  </a:cubicBezTo>
                  <a:lnTo>
                    <a:pt x="1502" y="2703"/>
                  </a:lnTo>
                  <a:lnTo>
                    <a:pt x="1495" y="2693"/>
                  </a:lnTo>
                  <a:lnTo>
                    <a:pt x="1477" y="2672"/>
                  </a:lnTo>
                  <a:lnTo>
                    <a:pt x="1467" y="2665"/>
                  </a:lnTo>
                  <a:lnTo>
                    <a:pt x="1446" y="2640"/>
                  </a:lnTo>
                  <a:lnTo>
                    <a:pt x="1435" y="2630"/>
                  </a:lnTo>
                  <a:lnTo>
                    <a:pt x="1404" y="2598"/>
                  </a:lnTo>
                  <a:lnTo>
                    <a:pt x="1400" y="2595"/>
                  </a:lnTo>
                  <a:lnTo>
                    <a:pt x="1362" y="2556"/>
                  </a:lnTo>
                  <a:lnTo>
                    <a:pt x="1351" y="2549"/>
                  </a:lnTo>
                  <a:lnTo>
                    <a:pt x="1316" y="2518"/>
                  </a:lnTo>
                  <a:lnTo>
                    <a:pt x="1302" y="2504"/>
                  </a:lnTo>
                  <a:lnTo>
                    <a:pt x="1285" y="2490"/>
                  </a:lnTo>
                  <a:lnTo>
                    <a:pt x="1281" y="2497"/>
                  </a:lnTo>
                  <a:cubicBezTo>
                    <a:pt x="1253" y="2539"/>
                    <a:pt x="1208" y="2565"/>
                    <a:pt x="1158" y="2565"/>
                  </a:cubicBezTo>
                  <a:cubicBezTo>
                    <a:pt x="1146" y="2565"/>
                    <a:pt x="1133" y="2563"/>
                    <a:pt x="1120" y="2560"/>
                  </a:cubicBezTo>
                  <a:cubicBezTo>
                    <a:pt x="900" y="2504"/>
                    <a:pt x="609" y="1968"/>
                    <a:pt x="571" y="1628"/>
                  </a:cubicBezTo>
                  <a:cubicBezTo>
                    <a:pt x="546" y="1439"/>
                    <a:pt x="592" y="1292"/>
                    <a:pt x="630" y="1163"/>
                  </a:cubicBezTo>
                  <a:cubicBezTo>
                    <a:pt x="679" y="1005"/>
                    <a:pt x="721" y="869"/>
                    <a:pt x="637" y="680"/>
                  </a:cubicBezTo>
                  <a:cubicBezTo>
                    <a:pt x="462" y="295"/>
                    <a:pt x="441" y="102"/>
                    <a:pt x="462"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672" name="Google Shape;6672;p104"/>
            <p:cNvSpPr/>
            <p:nvPr/>
          </p:nvSpPr>
          <p:spPr>
            <a:xfrm>
              <a:off x="2291041" y="2116476"/>
              <a:ext cx="1589" cy="3435"/>
            </a:xfrm>
            <a:custGeom>
              <a:avLst/>
              <a:gdLst/>
              <a:ahLst/>
              <a:cxnLst/>
              <a:rect l="l" t="t" r="r" b="b"/>
              <a:pathLst>
                <a:path w="117" h="253" extrusionOk="0">
                  <a:moveTo>
                    <a:pt x="1" y="1"/>
                  </a:moveTo>
                  <a:lnTo>
                    <a:pt x="1" y="1"/>
                  </a:lnTo>
                  <a:cubicBezTo>
                    <a:pt x="43" y="81"/>
                    <a:pt x="81" y="165"/>
                    <a:pt x="116" y="253"/>
                  </a:cubicBezTo>
                  <a:cubicBezTo>
                    <a:pt x="81" y="165"/>
                    <a:pt x="43" y="81"/>
                    <a:pt x="1" y="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673" name="Google Shape;6673;p104"/>
            <p:cNvSpPr/>
            <p:nvPr/>
          </p:nvSpPr>
          <p:spPr>
            <a:xfrm>
              <a:off x="2287484" y="2138431"/>
              <a:ext cx="1534" cy="5906"/>
            </a:xfrm>
            <a:custGeom>
              <a:avLst/>
              <a:gdLst/>
              <a:ahLst/>
              <a:cxnLst/>
              <a:rect l="l" t="t" r="r" b="b"/>
              <a:pathLst>
                <a:path w="113" h="435" extrusionOk="0">
                  <a:moveTo>
                    <a:pt x="112" y="1"/>
                  </a:moveTo>
                  <a:cubicBezTo>
                    <a:pt x="88" y="1"/>
                    <a:pt x="63" y="8"/>
                    <a:pt x="42" y="11"/>
                  </a:cubicBezTo>
                  <a:cubicBezTo>
                    <a:pt x="42" y="155"/>
                    <a:pt x="28" y="295"/>
                    <a:pt x="0" y="435"/>
                  </a:cubicBezTo>
                  <a:cubicBezTo>
                    <a:pt x="28" y="295"/>
                    <a:pt x="42" y="155"/>
                    <a:pt x="42" y="11"/>
                  </a:cubicBezTo>
                  <a:cubicBezTo>
                    <a:pt x="63" y="8"/>
                    <a:pt x="88" y="1"/>
                    <a:pt x="112" y="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674" name="Google Shape;6674;p104"/>
            <p:cNvSpPr/>
            <p:nvPr/>
          </p:nvSpPr>
          <p:spPr>
            <a:xfrm>
              <a:off x="2292942" y="2120903"/>
              <a:ext cx="68" cy="149"/>
            </a:xfrm>
            <a:custGeom>
              <a:avLst/>
              <a:gdLst/>
              <a:ahLst/>
              <a:cxnLst/>
              <a:rect l="l" t="t" r="r" b="b"/>
              <a:pathLst>
                <a:path w="5" h="11" extrusionOk="0">
                  <a:moveTo>
                    <a:pt x="4" y="11"/>
                  </a:moveTo>
                  <a:lnTo>
                    <a:pt x="1"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675" name="Google Shape;6675;p104"/>
            <p:cNvSpPr/>
            <p:nvPr/>
          </p:nvSpPr>
          <p:spPr>
            <a:xfrm>
              <a:off x="2292711" y="2120183"/>
              <a:ext cx="109" cy="353"/>
            </a:xfrm>
            <a:custGeom>
              <a:avLst/>
              <a:gdLst/>
              <a:ahLst/>
              <a:cxnLst/>
              <a:rect l="l" t="t" r="r" b="b"/>
              <a:pathLst>
                <a:path w="8" h="26" extrusionOk="0">
                  <a:moveTo>
                    <a:pt x="7" y="25"/>
                  </a:moveTo>
                  <a:lnTo>
                    <a:pt x="0"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676" name="Google Shape;6676;p104"/>
            <p:cNvSpPr/>
            <p:nvPr/>
          </p:nvSpPr>
          <p:spPr>
            <a:xfrm>
              <a:off x="2293376" y="2122464"/>
              <a:ext cx="14" cy="68"/>
            </a:xfrm>
            <a:custGeom>
              <a:avLst/>
              <a:gdLst/>
              <a:ahLst/>
              <a:cxnLst/>
              <a:rect l="l" t="t" r="r" b="b"/>
              <a:pathLst>
                <a:path w="1" h="5" extrusionOk="0">
                  <a:moveTo>
                    <a:pt x="0"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677" name="Google Shape;6677;p104"/>
            <p:cNvSpPr/>
            <p:nvPr/>
          </p:nvSpPr>
          <p:spPr>
            <a:xfrm>
              <a:off x="2287049" y="2144324"/>
              <a:ext cx="448" cy="1398"/>
            </a:xfrm>
            <a:custGeom>
              <a:avLst/>
              <a:gdLst/>
              <a:ahLst/>
              <a:cxnLst/>
              <a:rect l="l" t="t" r="r" b="b"/>
              <a:pathLst>
                <a:path w="33" h="103" extrusionOk="0">
                  <a:moveTo>
                    <a:pt x="1" y="103"/>
                  </a:moveTo>
                  <a:cubicBezTo>
                    <a:pt x="15" y="71"/>
                    <a:pt x="25" y="36"/>
                    <a:pt x="32" y="1"/>
                  </a:cubicBezTo>
                  <a:cubicBezTo>
                    <a:pt x="25" y="36"/>
                    <a:pt x="15" y="71"/>
                    <a:pt x="1" y="103"/>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678" name="Google Shape;6678;p104"/>
            <p:cNvSpPr/>
            <p:nvPr/>
          </p:nvSpPr>
          <p:spPr>
            <a:xfrm>
              <a:off x="2293281" y="2122043"/>
              <a:ext cx="14" cy="54"/>
            </a:xfrm>
            <a:custGeom>
              <a:avLst/>
              <a:gdLst/>
              <a:ahLst/>
              <a:cxnLst/>
              <a:rect l="l" t="t" r="r" b="b"/>
              <a:pathLst>
                <a:path w="1" h="4" extrusionOk="0">
                  <a:moveTo>
                    <a:pt x="0"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679" name="Google Shape;6679;p104"/>
            <p:cNvSpPr/>
            <p:nvPr/>
          </p:nvSpPr>
          <p:spPr>
            <a:xfrm>
              <a:off x="2287769" y="2147800"/>
              <a:ext cx="54" cy="163"/>
            </a:xfrm>
            <a:custGeom>
              <a:avLst/>
              <a:gdLst/>
              <a:ahLst/>
              <a:cxnLst/>
              <a:rect l="l" t="t" r="r" b="b"/>
              <a:pathLst>
                <a:path w="4" h="12" extrusionOk="0">
                  <a:moveTo>
                    <a:pt x="4" y="1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680" name="Google Shape;6680;p104"/>
            <p:cNvSpPr/>
            <p:nvPr/>
          </p:nvSpPr>
          <p:spPr>
            <a:xfrm>
              <a:off x="2288000" y="2148180"/>
              <a:ext cx="258" cy="163"/>
            </a:xfrm>
            <a:custGeom>
              <a:avLst/>
              <a:gdLst/>
              <a:ahLst/>
              <a:cxnLst/>
              <a:rect l="l" t="t" r="r" b="b"/>
              <a:pathLst>
                <a:path w="19" h="12" extrusionOk="0">
                  <a:moveTo>
                    <a:pt x="18" y="11"/>
                  </a:moveTo>
                  <a:cubicBezTo>
                    <a:pt x="11" y="8"/>
                    <a:pt x="8" y="4"/>
                    <a:pt x="1" y="1"/>
                  </a:cubicBezTo>
                  <a:cubicBezTo>
                    <a:pt x="8" y="4"/>
                    <a:pt x="11" y="8"/>
                    <a:pt x="18" y="1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681" name="Google Shape;6681;p104"/>
            <p:cNvSpPr/>
            <p:nvPr/>
          </p:nvSpPr>
          <p:spPr>
            <a:xfrm>
              <a:off x="2295467" y="2150705"/>
              <a:ext cx="720" cy="109"/>
            </a:xfrm>
            <a:custGeom>
              <a:avLst/>
              <a:gdLst/>
              <a:ahLst/>
              <a:cxnLst/>
              <a:rect l="l" t="t" r="r" b="b"/>
              <a:pathLst>
                <a:path w="53" h="8" extrusionOk="0">
                  <a:moveTo>
                    <a:pt x="0" y="7"/>
                  </a:moveTo>
                  <a:cubicBezTo>
                    <a:pt x="18" y="4"/>
                    <a:pt x="35" y="0"/>
                    <a:pt x="53" y="0"/>
                  </a:cubicBezTo>
                  <a:cubicBezTo>
                    <a:pt x="35" y="0"/>
                    <a:pt x="18" y="4"/>
                    <a:pt x="0" y="7"/>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682" name="Google Shape;6682;p104"/>
            <p:cNvSpPr/>
            <p:nvPr/>
          </p:nvSpPr>
          <p:spPr>
            <a:xfrm>
              <a:off x="2288760" y="2148709"/>
              <a:ext cx="299" cy="299"/>
            </a:xfrm>
            <a:custGeom>
              <a:avLst/>
              <a:gdLst/>
              <a:ahLst/>
              <a:cxnLst/>
              <a:rect l="l" t="t" r="r" b="b"/>
              <a:pathLst>
                <a:path w="22" h="22" extrusionOk="0">
                  <a:moveTo>
                    <a:pt x="22" y="21"/>
                  </a:moveTo>
                  <a:lnTo>
                    <a:pt x="1"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683" name="Google Shape;6683;p104"/>
            <p:cNvSpPr/>
            <p:nvPr/>
          </p:nvSpPr>
          <p:spPr>
            <a:xfrm>
              <a:off x="2288285" y="2148370"/>
              <a:ext cx="353" cy="258"/>
            </a:xfrm>
            <a:custGeom>
              <a:avLst/>
              <a:gdLst/>
              <a:ahLst/>
              <a:cxnLst/>
              <a:rect l="l" t="t" r="r" b="b"/>
              <a:pathLst>
                <a:path w="26" h="19" extrusionOk="0">
                  <a:moveTo>
                    <a:pt x="25" y="18"/>
                  </a:moveTo>
                  <a:cubicBezTo>
                    <a:pt x="18" y="11"/>
                    <a:pt x="8" y="8"/>
                    <a:pt x="1" y="1"/>
                  </a:cubicBezTo>
                  <a:cubicBezTo>
                    <a:pt x="8" y="8"/>
                    <a:pt x="18" y="11"/>
                    <a:pt x="25" y="18"/>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684" name="Google Shape;6684;p104"/>
            <p:cNvSpPr/>
            <p:nvPr/>
          </p:nvSpPr>
          <p:spPr>
            <a:xfrm>
              <a:off x="2294748" y="2150800"/>
              <a:ext cx="543" cy="109"/>
            </a:xfrm>
            <a:custGeom>
              <a:avLst/>
              <a:gdLst/>
              <a:ahLst/>
              <a:cxnLst/>
              <a:rect l="l" t="t" r="r" b="b"/>
              <a:pathLst>
                <a:path w="40" h="8" extrusionOk="0">
                  <a:moveTo>
                    <a:pt x="39" y="0"/>
                  </a:moveTo>
                  <a:cubicBezTo>
                    <a:pt x="25" y="0"/>
                    <a:pt x="11" y="4"/>
                    <a:pt x="1" y="7"/>
                  </a:cubicBezTo>
                  <a:cubicBezTo>
                    <a:pt x="11" y="4"/>
                    <a:pt x="25" y="4"/>
                    <a:pt x="39"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685" name="Google Shape;6685;p104"/>
            <p:cNvSpPr/>
            <p:nvPr/>
          </p:nvSpPr>
          <p:spPr>
            <a:xfrm>
              <a:off x="2293227" y="2151126"/>
              <a:ext cx="638" cy="204"/>
            </a:xfrm>
            <a:custGeom>
              <a:avLst/>
              <a:gdLst/>
              <a:ahLst/>
              <a:cxnLst/>
              <a:rect l="l" t="t" r="r" b="b"/>
              <a:pathLst>
                <a:path w="47" h="15" extrusionOk="0">
                  <a:moveTo>
                    <a:pt x="46" y="1"/>
                  </a:moveTo>
                  <a:lnTo>
                    <a:pt x="1" y="15"/>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686" name="Google Shape;6686;p104"/>
            <p:cNvSpPr/>
            <p:nvPr/>
          </p:nvSpPr>
          <p:spPr>
            <a:xfrm>
              <a:off x="2296703" y="2150800"/>
              <a:ext cx="204" cy="14"/>
            </a:xfrm>
            <a:custGeom>
              <a:avLst/>
              <a:gdLst/>
              <a:ahLst/>
              <a:cxnLst/>
              <a:rect l="l" t="t" r="r" b="b"/>
              <a:pathLst>
                <a:path w="15" h="1" extrusionOk="0">
                  <a:moveTo>
                    <a:pt x="14"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687" name="Google Shape;6687;p104"/>
            <p:cNvSpPr/>
            <p:nvPr/>
          </p:nvSpPr>
          <p:spPr>
            <a:xfrm>
              <a:off x="2289195" y="2149130"/>
              <a:ext cx="489" cy="394"/>
            </a:xfrm>
            <a:custGeom>
              <a:avLst/>
              <a:gdLst/>
              <a:ahLst/>
              <a:cxnLst/>
              <a:rect l="l" t="t" r="r" b="b"/>
              <a:pathLst>
                <a:path w="36" h="29" extrusionOk="0">
                  <a:moveTo>
                    <a:pt x="35" y="29"/>
                  </a:moveTo>
                  <a:lnTo>
                    <a:pt x="0"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688" name="Google Shape;6688;p104"/>
            <p:cNvSpPr/>
            <p:nvPr/>
          </p:nvSpPr>
          <p:spPr>
            <a:xfrm>
              <a:off x="2297273" y="2150895"/>
              <a:ext cx="149" cy="54"/>
            </a:xfrm>
            <a:custGeom>
              <a:avLst/>
              <a:gdLst/>
              <a:ahLst/>
              <a:cxnLst/>
              <a:rect l="l" t="t" r="r" b="b"/>
              <a:pathLst>
                <a:path w="11" h="4" extrusionOk="0">
                  <a:moveTo>
                    <a:pt x="11"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689" name="Google Shape;6689;p104"/>
            <p:cNvSpPr/>
            <p:nvPr/>
          </p:nvSpPr>
          <p:spPr>
            <a:xfrm>
              <a:off x="2293987" y="2150936"/>
              <a:ext cx="543" cy="163"/>
            </a:xfrm>
            <a:custGeom>
              <a:avLst/>
              <a:gdLst/>
              <a:ahLst/>
              <a:cxnLst/>
              <a:rect l="l" t="t" r="r" b="b"/>
              <a:pathLst>
                <a:path w="40" h="12" extrusionOk="0">
                  <a:moveTo>
                    <a:pt x="39" y="1"/>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690" name="Google Shape;6690;p104"/>
            <p:cNvSpPr/>
            <p:nvPr/>
          </p:nvSpPr>
          <p:spPr>
            <a:xfrm>
              <a:off x="2306913" y="2152701"/>
              <a:ext cx="258" cy="299"/>
            </a:xfrm>
            <a:custGeom>
              <a:avLst/>
              <a:gdLst/>
              <a:ahLst/>
              <a:cxnLst/>
              <a:rect l="l" t="t" r="r" b="b"/>
              <a:pathLst>
                <a:path w="19" h="22" extrusionOk="0">
                  <a:moveTo>
                    <a:pt x="1" y="0"/>
                  </a:moveTo>
                  <a:lnTo>
                    <a:pt x="18" y="2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691" name="Google Shape;6691;p104"/>
            <p:cNvSpPr/>
            <p:nvPr/>
          </p:nvSpPr>
          <p:spPr>
            <a:xfrm>
              <a:off x="2307293" y="2153081"/>
              <a:ext cx="299" cy="339"/>
            </a:xfrm>
            <a:custGeom>
              <a:avLst/>
              <a:gdLst/>
              <a:ahLst/>
              <a:cxnLst/>
              <a:rect l="l" t="t" r="r" b="b"/>
              <a:pathLst>
                <a:path w="22" h="25" extrusionOk="0">
                  <a:moveTo>
                    <a:pt x="1" y="0"/>
                  </a:moveTo>
                  <a:lnTo>
                    <a:pt x="22" y="25"/>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692" name="Google Shape;6692;p104"/>
            <p:cNvSpPr/>
            <p:nvPr/>
          </p:nvSpPr>
          <p:spPr>
            <a:xfrm>
              <a:off x="2305352" y="2151126"/>
              <a:ext cx="530" cy="543"/>
            </a:xfrm>
            <a:custGeom>
              <a:avLst/>
              <a:gdLst/>
              <a:ahLst/>
              <a:cxnLst/>
              <a:rect l="l" t="t" r="r" b="b"/>
              <a:pathLst>
                <a:path w="39" h="40" extrusionOk="0">
                  <a:moveTo>
                    <a:pt x="0" y="1"/>
                  </a:moveTo>
                  <a:lnTo>
                    <a:pt x="39" y="39"/>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693" name="Google Shape;6693;p104"/>
            <p:cNvSpPr/>
            <p:nvPr/>
          </p:nvSpPr>
          <p:spPr>
            <a:xfrm>
              <a:off x="2305922" y="2151697"/>
              <a:ext cx="434" cy="448"/>
            </a:xfrm>
            <a:custGeom>
              <a:avLst/>
              <a:gdLst/>
              <a:ahLst/>
              <a:cxnLst/>
              <a:rect l="l" t="t" r="r" b="b"/>
              <a:pathLst>
                <a:path w="32" h="33" extrusionOk="0">
                  <a:moveTo>
                    <a:pt x="0" y="1"/>
                  </a:moveTo>
                  <a:lnTo>
                    <a:pt x="32" y="32"/>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694" name="Google Shape;6694;p104"/>
            <p:cNvSpPr/>
            <p:nvPr/>
          </p:nvSpPr>
          <p:spPr>
            <a:xfrm>
              <a:off x="2308108" y="2154792"/>
              <a:ext cx="149" cy="910"/>
            </a:xfrm>
            <a:custGeom>
              <a:avLst/>
              <a:gdLst/>
              <a:ahLst/>
              <a:cxnLst/>
              <a:rect l="l" t="t" r="r" b="b"/>
              <a:pathLst>
                <a:path w="11" h="67" extrusionOk="0">
                  <a:moveTo>
                    <a:pt x="11" y="0"/>
                  </a:moveTo>
                  <a:cubicBezTo>
                    <a:pt x="11" y="21"/>
                    <a:pt x="7" y="42"/>
                    <a:pt x="0" y="67"/>
                  </a:cubicBezTo>
                  <a:cubicBezTo>
                    <a:pt x="7" y="42"/>
                    <a:pt x="11" y="21"/>
                    <a:pt x="11"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695" name="Google Shape;6695;p104"/>
            <p:cNvSpPr/>
            <p:nvPr/>
          </p:nvSpPr>
          <p:spPr>
            <a:xfrm>
              <a:off x="2306492" y="2152267"/>
              <a:ext cx="299" cy="299"/>
            </a:xfrm>
            <a:custGeom>
              <a:avLst/>
              <a:gdLst/>
              <a:ahLst/>
              <a:cxnLst/>
              <a:rect l="l" t="t" r="r" b="b"/>
              <a:pathLst>
                <a:path w="22" h="22" extrusionOk="0">
                  <a:moveTo>
                    <a:pt x="0" y="1"/>
                  </a:moveTo>
                  <a:lnTo>
                    <a:pt x="21" y="22"/>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696" name="Google Shape;6696;p104"/>
            <p:cNvSpPr/>
            <p:nvPr/>
          </p:nvSpPr>
          <p:spPr>
            <a:xfrm>
              <a:off x="2297694" y="2162681"/>
              <a:ext cx="4671" cy="7047"/>
            </a:xfrm>
            <a:custGeom>
              <a:avLst/>
              <a:gdLst/>
              <a:ahLst/>
              <a:cxnLst/>
              <a:rect l="l" t="t" r="r" b="b"/>
              <a:pathLst>
                <a:path w="344" h="519" extrusionOk="0">
                  <a:moveTo>
                    <a:pt x="344" y="518"/>
                  </a:moveTo>
                  <a:cubicBezTo>
                    <a:pt x="214" y="354"/>
                    <a:pt x="22" y="70"/>
                    <a:pt x="1" y="0"/>
                  </a:cubicBezTo>
                  <a:cubicBezTo>
                    <a:pt x="22" y="70"/>
                    <a:pt x="214" y="354"/>
                    <a:pt x="344" y="518"/>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697" name="Google Shape;6697;p104"/>
            <p:cNvSpPr/>
            <p:nvPr/>
          </p:nvSpPr>
          <p:spPr>
            <a:xfrm>
              <a:off x="2304727" y="2150610"/>
              <a:ext cx="489" cy="434"/>
            </a:xfrm>
            <a:custGeom>
              <a:avLst/>
              <a:gdLst/>
              <a:ahLst/>
              <a:cxnLst/>
              <a:rect l="l" t="t" r="r" b="b"/>
              <a:pathLst>
                <a:path w="36" h="32" extrusionOk="0">
                  <a:moveTo>
                    <a:pt x="1" y="0"/>
                  </a:moveTo>
                  <a:lnTo>
                    <a:pt x="36" y="32"/>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698" name="Google Shape;6698;p104"/>
            <p:cNvSpPr/>
            <p:nvPr/>
          </p:nvSpPr>
          <p:spPr>
            <a:xfrm>
              <a:off x="2304347" y="2150271"/>
              <a:ext cx="204" cy="163"/>
            </a:xfrm>
            <a:custGeom>
              <a:avLst/>
              <a:gdLst/>
              <a:ahLst/>
              <a:cxnLst/>
              <a:rect l="l" t="t" r="r" b="b"/>
              <a:pathLst>
                <a:path w="15" h="12" extrusionOk="0">
                  <a:moveTo>
                    <a:pt x="1" y="1"/>
                  </a:moveTo>
                  <a:lnTo>
                    <a:pt x="1" y="1"/>
                  </a:lnTo>
                  <a:lnTo>
                    <a:pt x="15" y="1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699" name="Google Shape;6699;p104"/>
            <p:cNvSpPr/>
            <p:nvPr/>
          </p:nvSpPr>
          <p:spPr>
            <a:xfrm>
              <a:off x="2291951" y="2116436"/>
              <a:ext cx="14" cy="0"/>
            </a:xfrm>
            <a:custGeom>
              <a:avLst/>
              <a:gdLst/>
              <a:ahLst/>
              <a:cxnLst/>
              <a:rect l="l" t="t" r="r" b="b"/>
              <a:pathLst>
                <a:path w="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700" name="Google Shape;6700;p104"/>
            <p:cNvSpPr/>
            <p:nvPr/>
          </p:nvSpPr>
          <p:spPr>
            <a:xfrm>
              <a:off x="2292562" y="2116436"/>
              <a:ext cx="14" cy="0"/>
            </a:xfrm>
            <a:custGeom>
              <a:avLst/>
              <a:gdLst/>
              <a:ahLst/>
              <a:cxnLst/>
              <a:rect l="l" t="t" r="r" b="b"/>
              <a:pathLst>
                <a:path w="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701" name="Google Shape;6701;p104"/>
            <p:cNvSpPr/>
            <p:nvPr/>
          </p:nvSpPr>
          <p:spPr>
            <a:xfrm>
              <a:off x="2291095" y="2116476"/>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702" name="Google Shape;6702;p104"/>
            <p:cNvSpPr/>
            <p:nvPr/>
          </p:nvSpPr>
          <p:spPr>
            <a:xfrm>
              <a:off x="2293132" y="2116436"/>
              <a:ext cx="14" cy="0"/>
            </a:xfrm>
            <a:custGeom>
              <a:avLst/>
              <a:gdLst/>
              <a:ahLst/>
              <a:cxnLst/>
              <a:rect l="l" t="t" r="r" b="b"/>
              <a:pathLst>
                <a:path w="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703" name="Google Shape;6703;p104"/>
            <p:cNvSpPr/>
            <p:nvPr/>
          </p:nvSpPr>
          <p:spPr>
            <a:xfrm>
              <a:off x="2291326" y="2116476"/>
              <a:ext cx="448" cy="14"/>
            </a:xfrm>
            <a:custGeom>
              <a:avLst/>
              <a:gdLst/>
              <a:ahLst/>
              <a:cxnLst/>
              <a:rect l="l" t="t" r="r" b="b"/>
              <a:pathLst>
                <a:path w="33" h="1" extrusionOk="0">
                  <a:moveTo>
                    <a:pt x="1" y="1"/>
                  </a:moveTo>
                  <a:lnTo>
                    <a:pt x="32"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704" name="Google Shape;6704;p104"/>
            <p:cNvSpPr/>
            <p:nvPr/>
          </p:nvSpPr>
          <p:spPr>
            <a:xfrm>
              <a:off x="2550480" y="1720977"/>
              <a:ext cx="54867" cy="35763"/>
            </a:xfrm>
            <a:custGeom>
              <a:avLst/>
              <a:gdLst/>
              <a:ahLst/>
              <a:cxnLst/>
              <a:rect l="l" t="t" r="r" b="b"/>
              <a:pathLst>
                <a:path w="4041" h="2634" extrusionOk="0">
                  <a:moveTo>
                    <a:pt x="1609" y="0"/>
                  </a:moveTo>
                  <a:cubicBezTo>
                    <a:pt x="1562" y="0"/>
                    <a:pt x="1456" y="27"/>
                    <a:pt x="1355" y="104"/>
                  </a:cubicBezTo>
                  <a:cubicBezTo>
                    <a:pt x="1301" y="144"/>
                    <a:pt x="1237" y="154"/>
                    <a:pt x="1176" y="154"/>
                  </a:cubicBezTo>
                  <a:cubicBezTo>
                    <a:pt x="1147" y="154"/>
                    <a:pt x="1119" y="152"/>
                    <a:pt x="1092" y="150"/>
                  </a:cubicBezTo>
                  <a:cubicBezTo>
                    <a:pt x="1063" y="147"/>
                    <a:pt x="1040" y="146"/>
                    <a:pt x="1022" y="146"/>
                  </a:cubicBezTo>
                  <a:cubicBezTo>
                    <a:pt x="978" y="146"/>
                    <a:pt x="964" y="153"/>
                    <a:pt x="959" y="171"/>
                  </a:cubicBezTo>
                  <a:cubicBezTo>
                    <a:pt x="924" y="279"/>
                    <a:pt x="847" y="507"/>
                    <a:pt x="641" y="507"/>
                  </a:cubicBezTo>
                  <a:cubicBezTo>
                    <a:pt x="639" y="505"/>
                    <a:pt x="637" y="504"/>
                    <a:pt x="636" y="504"/>
                  </a:cubicBezTo>
                  <a:cubicBezTo>
                    <a:pt x="634" y="504"/>
                    <a:pt x="632" y="505"/>
                    <a:pt x="630" y="507"/>
                  </a:cubicBezTo>
                  <a:cubicBezTo>
                    <a:pt x="620" y="528"/>
                    <a:pt x="616" y="552"/>
                    <a:pt x="616" y="580"/>
                  </a:cubicBezTo>
                  <a:cubicBezTo>
                    <a:pt x="606" y="650"/>
                    <a:pt x="595" y="759"/>
                    <a:pt x="487" y="804"/>
                  </a:cubicBezTo>
                  <a:cubicBezTo>
                    <a:pt x="417" y="832"/>
                    <a:pt x="343" y="850"/>
                    <a:pt x="270" y="860"/>
                  </a:cubicBezTo>
                  <a:cubicBezTo>
                    <a:pt x="168" y="874"/>
                    <a:pt x="18" y="902"/>
                    <a:pt x="7" y="955"/>
                  </a:cubicBezTo>
                  <a:cubicBezTo>
                    <a:pt x="0" y="979"/>
                    <a:pt x="91" y="1042"/>
                    <a:pt x="137" y="1074"/>
                  </a:cubicBezTo>
                  <a:cubicBezTo>
                    <a:pt x="242" y="1147"/>
                    <a:pt x="371" y="1238"/>
                    <a:pt x="347" y="1371"/>
                  </a:cubicBezTo>
                  <a:cubicBezTo>
                    <a:pt x="336" y="1427"/>
                    <a:pt x="371" y="1497"/>
                    <a:pt x="399" y="1564"/>
                  </a:cubicBezTo>
                  <a:cubicBezTo>
                    <a:pt x="448" y="1665"/>
                    <a:pt x="511" y="1802"/>
                    <a:pt x="389" y="1896"/>
                  </a:cubicBezTo>
                  <a:lnTo>
                    <a:pt x="371" y="1910"/>
                  </a:lnTo>
                  <a:lnTo>
                    <a:pt x="364" y="1914"/>
                  </a:lnTo>
                  <a:lnTo>
                    <a:pt x="354" y="1924"/>
                  </a:lnTo>
                  <a:lnTo>
                    <a:pt x="347" y="1931"/>
                  </a:lnTo>
                  <a:lnTo>
                    <a:pt x="336" y="1942"/>
                  </a:lnTo>
                  <a:lnTo>
                    <a:pt x="329" y="1949"/>
                  </a:lnTo>
                  <a:lnTo>
                    <a:pt x="319" y="1963"/>
                  </a:lnTo>
                  <a:lnTo>
                    <a:pt x="312" y="1970"/>
                  </a:lnTo>
                  <a:lnTo>
                    <a:pt x="301" y="1984"/>
                  </a:lnTo>
                  <a:lnTo>
                    <a:pt x="294" y="1994"/>
                  </a:lnTo>
                  <a:lnTo>
                    <a:pt x="284" y="2005"/>
                  </a:lnTo>
                  <a:lnTo>
                    <a:pt x="277" y="2019"/>
                  </a:lnTo>
                  <a:lnTo>
                    <a:pt x="266" y="2033"/>
                  </a:lnTo>
                  <a:lnTo>
                    <a:pt x="259" y="2043"/>
                  </a:lnTo>
                  <a:lnTo>
                    <a:pt x="252" y="2061"/>
                  </a:lnTo>
                  <a:lnTo>
                    <a:pt x="245" y="2075"/>
                  </a:lnTo>
                  <a:lnTo>
                    <a:pt x="238" y="2089"/>
                  </a:lnTo>
                  <a:lnTo>
                    <a:pt x="231" y="2106"/>
                  </a:lnTo>
                  <a:lnTo>
                    <a:pt x="224" y="2124"/>
                  </a:lnTo>
                  <a:lnTo>
                    <a:pt x="217" y="2141"/>
                  </a:lnTo>
                  <a:cubicBezTo>
                    <a:pt x="217" y="2148"/>
                    <a:pt x="214" y="2156"/>
                    <a:pt x="214" y="2159"/>
                  </a:cubicBezTo>
                  <a:cubicBezTo>
                    <a:pt x="210" y="2166"/>
                    <a:pt x="210" y="2173"/>
                    <a:pt x="207" y="2180"/>
                  </a:cubicBezTo>
                  <a:cubicBezTo>
                    <a:pt x="207" y="2187"/>
                    <a:pt x="203" y="2194"/>
                    <a:pt x="203" y="2201"/>
                  </a:cubicBezTo>
                  <a:cubicBezTo>
                    <a:pt x="200" y="2208"/>
                    <a:pt x="200" y="2215"/>
                    <a:pt x="200" y="2222"/>
                  </a:cubicBezTo>
                  <a:cubicBezTo>
                    <a:pt x="196" y="2229"/>
                    <a:pt x="196" y="2236"/>
                    <a:pt x="196" y="2243"/>
                  </a:cubicBezTo>
                  <a:cubicBezTo>
                    <a:pt x="193" y="2250"/>
                    <a:pt x="196" y="2257"/>
                    <a:pt x="193" y="2268"/>
                  </a:cubicBezTo>
                  <a:cubicBezTo>
                    <a:pt x="189" y="2275"/>
                    <a:pt x="193" y="2282"/>
                    <a:pt x="189" y="2292"/>
                  </a:cubicBezTo>
                  <a:cubicBezTo>
                    <a:pt x="186" y="2299"/>
                    <a:pt x="189" y="2306"/>
                    <a:pt x="189" y="2313"/>
                  </a:cubicBezTo>
                  <a:lnTo>
                    <a:pt x="189" y="2341"/>
                  </a:lnTo>
                  <a:lnTo>
                    <a:pt x="189" y="2366"/>
                  </a:lnTo>
                  <a:lnTo>
                    <a:pt x="189" y="2380"/>
                  </a:lnTo>
                  <a:lnTo>
                    <a:pt x="210" y="2390"/>
                  </a:lnTo>
                  <a:lnTo>
                    <a:pt x="217" y="2394"/>
                  </a:lnTo>
                  <a:lnTo>
                    <a:pt x="228" y="2401"/>
                  </a:lnTo>
                  <a:lnTo>
                    <a:pt x="238" y="2408"/>
                  </a:lnTo>
                  <a:lnTo>
                    <a:pt x="252" y="2415"/>
                  </a:lnTo>
                  <a:lnTo>
                    <a:pt x="266" y="2422"/>
                  </a:lnTo>
                  <a:lnTo>
                    <a:pt x="273" y="2425"/>
                  </a:lnTo>
                  <a:lnTo>
                    <a:pt x="280" y="2425"/>
                  </a:lnTo>
                  <a:lnTo>
                    <a:pt x="291" y="2429"/>
                  </a:lnTo>
                  <a:lnTo>
                    <a:pt x="308" y="2429"/>
                  </a:lnTo>
                  <a:cubicBezTo>
                    <a:pt x="312" y="2429"/>
                    <a:pt x="319" y="2418"/>
                    <a:pt x="319" y="2411"/>
                  </a:cubicBezTo>
                  <a:cubicBezTo>
                    <a:pt x="368" y="2317"/>
                    <a:pt x="476" y="2296"/>
                    <a:pt x="592" y="2292"/>
                  </a:cubicBezTo>
                  <a:lnTo>
                    <a:pt x="707" y="2292"/>
                  </a:lnTo>
                  <a:cubicBezTo>
                    <a:pt x="722" y="2293"/>
                    <a:pt x="737" y="2293"/>
                    <a:pt x="752" y="2293"/>
                  </a:cubicBezTo>
                  <a:cubicBezTo>
                    <a:pt x="793" y="2293"/>
                    <a:pt x="834" y="2290"/>
                    <a:pt x="875" y="2285"/>
                  </a:cubicBezTo>
                  <a:cubicBezTo>
                    <a:pt x="882" y="2159"/>
                    <a:pt x="1036" y="2127"/>
                    <a:pt x="1187" y="2096"/>
                  </a:cubicBezTo>
                  <a:cubicBezTo>
                    <a:pt x="1254" y="2082"/>
                    <a:pt x="1380" y="2057"/>
                    <a:pt x="1394" y="2029"/>
                  </a:cubicBezTo>
                  <a:cubicBezTo>
                    <a:pt x="1394" y="1910"/>
                    <a:pt x="1520" y="1742"/>
                    <a:pt x="1635" y="1634"/>
                  </a:cubicBezTo>
                  <a:lnTo>
                    <a:pt x="1660" y="1613"/>
                  </a:lnTo>
                  <a:lnTo>
                    <a:pt x="1688" y="1592"/>
                  </a:lnTo>
                  <a:lnTo>
                    <a:pt x="1695" y="1588"/>
                  </a:lnTo>
                  <a:lnTo>
                    <a:pt x="1723" y="1567"/>
                  </a:lnTo>
                  <a:lnTo>
                    <a:pt x="1730" y="1564"/>
                  </a:lnTo>
                  <a:lnTo>
                    <a:pt x="1761" y="1543"/>
                  </a:lnTo>
                  <a:lnTo>
                    <a:pt x="1768" y="1539"/>
                  </a:lnTo>
                  <a:cubicBezTo>
                    <a:pt x="1779" y="1536"/>
                    <a:pt x="1789" y="1529"/>
                    <a:pt x="1803" y="1522"/>
                  </a:cubicBezTo>
                  <a:lnTo>
                    <a:pt x="1810" y="1522"/>
                  </a:lnTo>
                  <a:cubicBezTo>
                    <a:pt x="1821" y="1515"/>
                    <a:pt x="1835" y="1511"/>
                    <a:pt x="1845" y="1508"/>
                  </a:cubicBezTo>
                  <a:lnTo>
                    <a:pt x="1852" y="1508"/>
                  </a:lnTo>
                  <a:cubicBezTo>
                    <a:pt x="1863" y="1501"/>
                    <a:pt x="1877" y="1497"/>
                    <a:pt x="1891" y="1497"/>
                  </a:cubicBezTo>
                  <a:lnTo>
                    <a:pt x="1894" y="1497"/>
                  </a:lnTo>
                  <a:cubicBezTo>
                    <a:pt x="1908" y="1494"/>
                    <a:pt x="1922" y="1494"/>
                    <a:pt x="1936" y="1494"/>
                  </a:cubicBezTo>
                  <a:lnTo>
                    <a:pt x="1961" y="1494"/>
                  </a:lnTo>
                  <a:cubicBezTo>
                    <a:pt x="2111" y="1511"/>
                    <a:pt x="2111" y="1648"/>
                    <a:pt x="2111" y="1739"/>
                  </a:cubicBezTo>
                  <a:cubicBezTo>
                    <a:pt x="2111" y="1847"/>
                    <a:pt x="2115" y="1914"/>
                    <a:pt x="2199" y="1952"/>
                  </a:cubicBezTo>
                  <a:cubicBezTo>
                    <a:pt x="2381" y="2036"/>
                    <a:pt x="2318" y="2236"/>
                    <a:pt x="2272" y="2380"/>
                  </a:cubicBezTo>
                  <a:cubicBezTo>
                    <a:pt x="2241" y="2474"/>
                    <a:pt x="2209" y="2576"/>
                    <a:pt x="2241" y="2618"/>
                  </a:cubicBezTo>
                  <a:cubicBezTo>
                    <a:pt x="2251" y="2628"/>
                    <a:pt x="2270" y="2634"/>
                    <a:pt x="2296" y="2634"/>
                  </a:cubicBezTo>
                  <a:cubicBezTo>
                    <a:pt x="2329" y="2634"/>
                    <a:pt x="2376" y="2625"/>
                    <a:pt x="2437" y="2607"/>
                  </a:cubicBezTo>
                  <a:lnTo>
                    <a:pt x="2454" y="2604"/>
                  </a:lnTo>
                  <a:cubicBezTo>
                    <a:pt x="2500" y="2586"/>
                    <a:pt x="2552" y="2572"/>
                    <a:pt x="2605" y="2551"/>
                  </a:cubicBezTo>
                  <a:lnTo>
                    <a:pt x="2706" y="2516"/>
                  </a:lnTo>
                  <a:lnTo>
                    <a:pt x="2731" y="2495"/>
                  </a:lnTo>
                  <a:cubicBezTo>
                    <a:pt x="2787" y="2446"/>
                    <a:pt x="2836" y="2404"/>
                    <a:pt x="2885" y="2362"/>
                  </a:cubicBezTo>
                  <a:lnTo>
                    <a:pt x="2892" y="2355"/>
                  </a:lnTo>
                  <a:lnTo>
                    <a:pt x="2927" y="2327"/>
                  </a:lnTo>
                  <a:lnTo>
                    <a:pt x="2941" y="2313"/>
                  </a:lnTo>
                  <a:lnTo>
                    <a:pt x="2986" y="2282"/>
                  </a:lnTo>
                  <a:lnTo>
                    <a:pt x="2990" y="2278"/>
                  </a:lnTo>
                  <a:cubicBezTo>
                    <a:pt x="3124" y="2171"/>
                    <a:pt x="3227" y="2109"/>
                    <a:pt x="3305" y="2109"/>
                  </a:cubicBezTo>
                  <a:cubicBezTo>
                    <a:pt x="3330" y="2109"/>
                    <a:pt x="3352" y="2115"/>
                    <a:pt x="3372" y="2127"/>
                  </a:cubicBezTo>
                  <a:lnTo>
                    <a:pt x="3396" y="2141"/>
                  </a:lnTo>
                  <a:cubicBezTo>
                    <a:pt x="3431" y="2163"/>
                    <a:pt x="3459" y="2194"/>
                    <a:pt x="3484" y="2229"/>
                  </a:cubicBezTo>
                  <a:lnTo>
                    <a:pt x="3494" y="2240"/>
                  </a:lnTo>
                  <a:cubicBezTo>
                    <a:pt x="3510" y="2266"/>
                    <a:pt x="3514" y="2273"/>
                    <a:pt x="3527" y="2273"/>
                  </a:cubicBezTo>
                  <a:cubicBezTo>
                    <a:pt x="3531" y="2273"/>
                    <a:pt x="3536" y="2272"/>
                    <a:pt x="3543" y="2271"/>
                  </a:cubicBezTo>
                  <a:cubicBezTo>
                    <a:pt x="3554" y="2271"/>
                    <a:pt x="3568" y="2268"/>
                    <a:pt x="3582" y="2268"/>
                  </a:cubicBezTo>
                  <a:lnTo>
                    <a:pt x="3638" y="2268"/>
                  </a:lnTo>
                  <a:lnTo>
                    <a:pt x="3676" y="2275"/>
                  </a:lnTo>
                  <a:lnTo>
                    <a:pt x="3690" y="2275"/>
                  </a:lnTo>
                  <a:lnTo>
                    <a:pt x="3715" y="2282"/>
                  </a:lnTo>
                  <a:cubicBezTo>
                    <a:pt x="3750" y="2289"/>
                    <a:pt x="3785" y="2299"/>
                    <a:pt x="3820" y="2313"/>
                  </a:cubicBezTo>
                  <a:lnTo>
                    <a:pt x="3841" y="2320"/>
                  </a:lnTo>
                  <a:cubicBezTo>
                    <a:pt x="3855" y="2327"/>
                    <a:pt x="3865" y="2334"/>
                    <a:pt x="3876" y="2338"/>
                  </a:cubicBezTo>
                  <a:lnTo>
                    <a:pt x="3946" y="2369"/>
                  </a:lnTo>
                  <a:lnTo>
                    <a:pt x="4040" y="2362"/>
                  </a:lnTo>
                  <a:lnTo>
                    <a:pt x="4023" y="2226"/>
                  </a:lnTo>
                  <a:lnTo>
                    <a:pt x="4023" y="2212"/>
                  </a:lnTo>
                  <a:lnTo>
                    <a:pt x="4019" y="2194"/>
                  </a:lnTo>
                  <a:lnTo>
                    <a:pt x="4016" y="2166"/>
                  </a:lnTo>
                  <a:lnTo>
                    <a:pt x="4016" y="2152"/>
                  </a:lnTo>
                  <a:lnTo>
                    <a:pt x="4009" y="2120"/>
                  </a:lnTo>
                  <a:cubicBezTo>
                    <a:pt x="3984" y="1959"/>
                    <a:pt x="3960" y="1781"/>
                    <a:pt x="3949" y="1693"/>
                  </a:cubicBezTo>
                  <a:cubicBezTo>
                    <a:pt x="3946" y="1690"/>
                    <a:pt x="3946" y="1683"/>
                    <a:pt x="3942" y="1679"/>
                  </a:cubicBezTo>
                  <a:cubicBezTo>
                    <a:pt x="3907" y="1599"/>
                    <a:pt x="3669" y="1476"/>
                    <a:pt x="3452" y="1403"/>
                  </a:cubicBezTo>
                  <a:lnTo>
                    <a:pt x="3417" y="1389"/>
                  </a:lnTo>
                  <a:lnTo>
                    <a:pt x="3333" y="941"/>
                  </a:lnTo>
                  <a:cubicBezTo>
                    <a:pt x="3231" y="955"/>
                    <a:pt x="3028" y="979"/>
                    <a:pt x="2864" y="986"/>
                  </a:cubicBezTo>
                  <a:lnTo>
                    <a:pt x="2706" y="986"/>
                  </a:lnTo>
                  <a:lnTo>
                    <a:pt x="2685" y="983"/>
                  </a:lnTo>
                  <a:lnTo>
                    <a:pt x="2675" y="983"/>
                  </a:lnTo>
                  <a:cubicBezTo>
                    <a:pt x="2664" y="979"/>
                    <a:pt x="2657" y="976"/>
                    <a:pt x="2650" y="976"/>
                  </a:cubicBezTo>
                  <a:cubicBezTo>
                    <a:pt x="2643" y="972"/>
                    <a:pt x="2633" y="969"/>
                    <a:pt x="2626" y="969"/>
                  </a:cubicBezTo>
                  <a:lnTo>
                    <a:pt x="2521" y="969"/>
                  </a:lnTo>
                  <a:cubicBezTo>
                    <a:pt x="2490" y="972"/>
                    <a:pt x="2456" y="975"/>
                    <a:pt x="2421" y="975"/>
                  </a:cubicBezTo>
                  <a:cubicBezTo>
                    <a:pt x="2330" y="975"/>
                    <a:pt x="2233" y="955"/>
                    <a:pt x="2167" y="864"/>
                  </a:cubicBezTo>
                  <a:cubicBezTo>
                    <a:pt x="2157" y="848"/>
                    <a:pt x="2146" y="840"/>
                    <a:pt x="2126" y="840"/>
                  </a:cubicBezTo>
                  <a:cubicBezTo>
                    <a:pt x="2106" y="840"/>
                    <a:pt x="2076" y="849"/>
                    <a:pt x="2027" y="867"/>
                  </a:cubicBezTo>
                  <a:cubicBezTo>
                    <a:pt x="1974" y="885"/>
                    <a:pt x="1912" y="906"/>
                    <a:pt x="1846" y="906"/>
                  </a:cubicBezTo>
                  <a:cubicBezTo>
                    <a:pt x="1795" y="906"/>
                    <a:pt x="1741" y="893"/>
                    <a:pt x="1688" y="857"/>
                  </a:cubicBezTo>
                  <a:cubicBezTo>
                    <a:pt x="1642" y="827"/>
                    <a:pt x="1563" y="818"/>
                    <a:pt x="1476" y="818"/>
                  </a:cubicBezTo>
                  <a:cubicBezTo>
                    <a:pt x="1397" y="818"/>
                    <a:pt x="1313" y="826"/>
                    <a:pt x="1240" y="832"/>
                  </a:cubicBezTo>
                  <a:cubicBezTo>
                    <a:pt x="1173" y="837"/>
                    <a:pt x="1113" y="842"/>
                    <a:pt x="1062" y="842"/>
                  </a:cubicBezTo>
                  <a:cubicBezTo>
                    <a:pt x="962" y="842"/>
                    <a:pt x="896" y="823"/>
                    <a:pt x="882" y="752"/>
                  </a:cubicBezTo>
                  <a:cubicBezTo>
                    <a:pt x="865" y="664"/>
                    <a:pt x="938" y="573"/>
                    <a:pt x="984" y="524"/>
                  </a:cubicBezTo>
                  <a:cubicBezTo>
                    <a:pt x="1071" y="434"/>
                    <a:pt x="1202" y="347"/>
                    <a:pt x="1315" y="347"/>
                  </a:cubicBezTo>
                  <a:cubicBezTo>
                    <a:pt x="1325" y="347"/>
                    <a:pt x="1335" y="348"/>
                    <a:pt x="1345" y="349"/>
                  </a:cubicBezTo>
                  <a:cubicBezTo>
                    <a:pt x="1383" y="356"/>
                    <a:pt x="1425" y="356"/>
                    <a:pt x="1467" y="356"/>
                  </a:cubicBezTo>
                  <a:lnTo>
                    <a:pt x="1471" y="349"/>
                  </a:lnTo>
                  <a:lnTo>
                    <a:pt x="1481" y="328"/>
                  </a:lnTo>
                  <a:lnTo>
                    <a:pt x="1492" y="311"/>
                  </a:lnTo>
                  <a:lnTo>
                    <a:pt x="1502" y="293"/>
                  </a:lnTo>
                  <a:lnTo>
                    <a:pt x="1513" y="272"/>
                  </a:lnTo>
                  <a:lnTo>
                    <a:pt x="1523" y="258"/>
                  </a:lnTo>
                  <a:lnTo>
                    <a:pt x="1534" y="241"/>
                  </a:lnTo>
                  <a:lnTo>
                    <a:pt x="1541" y="223"/>
                  </a:lnTo>
                  <a:lnTo>
                    <a:pt x="1551" y="209"/>
                  </a:lnTo>
                  <a:lnTo>
                    <a:pt x="1558" y="195"/>
                  </a:lnTo>
                  <a:lnTo>
                    <a:pt x="1565" y="178"/>
                  </a:lnTo>
                  <a:lnTo>
                    <a:pt x="1572" y="167"/>
                  </a:lnTo>
                  <a:lnTo>
                    <a:pt x="1579" y="150"/>
                  </a:lnTo>
                  <a:lnTo>
                    <a:pt x="1586" y="139"/>
                  </a:lnTo>
                  <a:lnTo>
                    <a:pt x="1593" y="125"/>
                  </a:lnTo>
                  <a:lnTo>
                    <a:pt x="1597" y="118"/>
                  </a:lnTo>
                  <a:lnTo>
                    <a:pt x="1604" y="104"/>
                  </a:lnTo>
                  <a:lnTo>
                    <a:pt x="1607" y="97"/>
                  </a:lnTo>
                  <a:lnTo>
                    <a:pt x="1611" y="83"/>
                  </a:lnTo>
                  <a:lnTo>
                    <a:pt x="1614" y="76"/>
                  </a:lnTo>
                  <a:lnTo>
                    <a:pt x="1618" y="65"/>
                  </a:lnTo>
                  <a:lnTo>
                    <a:pt x="1621" y="58"/>
                  </a:lnTo>
                  <a:lnTo>
                    <a:pt x="1625" y="51"/>
                  </a:lnTo>
                  <a:lnTo>
                    <a:pt x="1625" y="44"/>
                  </a:lnTo>
                  <a:lnTo>
                    <a:pt x="1628" y="37"/>
                  </a:lnTo>
                  <a:lnTo>
                    <a:pt x="1628" y="30"/>
                  </a:lnTo>
                  <a:lnTo>
                    <a:pt x="1628" y="23"/>
                  </a:lnTo>
                  <a:lnTo>
                    <a:pt x="1628" y="20"/>
                  </a:lnTo>
                  <a:lnTo>
                    <a:pt x="1628" y="13"/>
                  </a:lnTo>
                  <a:lnTo>
                    <a:pt x="1628" y="2"/>
                  </a:lnTo>
                  <a:cubicBezTo>
                    <a:pt x="1624" y="1"/>
                    <a:pt x="1617" y="0"/>
                    <a:pt x="1609"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705" name="Google Shape;6705;p104"/>
            <p:cNvSpPr/>
            <p:nvPr/>
          </p:nvSpPr>
          <p:spPr>
            <a:xfrm>
              <a:off x="2585741" y="1734080"/>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706" name="Google Shape;6706;p104"/>
            <p:cNvSpPr/>
            <p:nvPr/>
          </p:nvSpPr>
          <p:spPr>
            <a:xfrm>
              <a:off x="2587696" y="1734365"/>
              <a:ext cx="299" cy="14"/>
            </a:xfrm>
            <a:custGeom>
              <a:avLst/>
              <a:gdLst/>
              <a:ahLst/>
              <a:cxnLst/>
              <a:rect l="l" t="t" r="r" b="b"/>
              <a:pathLst>
                <a:path w="22" h="1" extrusionOk="0">
                  <a:moveTo>
                    <a:pt x="0" y="0"/>
                  </a:moveTo>
                  <a:lnTo>
                    <a:pt x="21"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707" name="Google Shape;6707;p104"/>
            <p:cNvSpPr/>
            <p:nvPr/>
          </p:nvSpPr>
          <p:spPr>
            <a:xfrm>
              <a:off x="2588782" y="1734365"/>
              <a:ext cx="489" cy="14"/>
            </a:xfrm>
            <a:custGeom>
              <a:avLst/>
              <a:gdLst/>
              <a:ahLst/>
              <a:cxnLst/>
              <a:rect l="l" t="t" r="r" b="b"/>
              <a:pathLst>
                <a:path w="36" h="1" extrusionOk="0">
                  <a:moveTo>
                    <a:pt x="1" y="0"/>
                  </a:moveTo>
                  <a:lnTo>
                    <a:pt x="36"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708" name="Google Shape;6708;p104"/>
            <p:cNvSpPr/>
            <p:nvPr/>
          </p:nvSpPr>
          <p:spPr>
            <a:xfrm>
              <a:off x="2587221" y="1734365"/>
              <a:ext cx="204" cy="14"/>
            </a:xfrm>
            <a:custGeom>
              <a:avLst/>
              <a:gdLst/>
              <a:ahLst/>
              <a:cxnLst/>
              <a:rect l="l" t="t" r="r" b="b"/>
              <a:pathLst>
                <a:path w="15" h="1" extrusionOk="0">
                  <a:moveTo>
                    <a:pt x="0" y="0"/>
                  </a:moveTo>
                  <a:lnTo>
                    <a:pt x="14"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709" name="Google Shape;6709;p104"/>
            <p:cNvSpPr/>
            <p:nvPr/>
          </p:nvSpPr>
          <p:spPr>
            <a:xfrm>
              <a:off x="2586786" y="1734270"/>
              <a:ext cx="163" cy="14"/>
            </a:xfrm>
            <a:custGeom>
              <a:avLst/>
              <a:gdLst/>
              <a:ahLst/>
              <a:cxnLst/>
              <a:rect l="l" t="t" r="r" b="b"/>
              <a:pathLst>
                <a:path w="12" h="1" extrusionOk="0">
                  <a:moveTo>
                    <a:pt x="1" y="0"/>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710" name="Google Shape;6710;p104"/>
            <p:cNvSpPr/>
            <p:nvPr/>
          </p:nvSpPr>
          <p:spPr>
            <a:xfrm>
              <a:off x="2588646" y="1734365"/>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711" name="Google Shape;6711;p104"/>
            <p:cNvSpPr/>
            <p:nvPr/>
          </p:nvSpPr>
          <p:spPr>
            <a:xfrm>
              <a:off x="2589352" y="1733740"/>
              <a:ext cx="6381" cy="638"/>
            </a:xfrm>
            <a:custGeom>
              <a:avLst/>
              <a:gdLst/>
              <a:ahLst/>
              <a:cxnLst/>
              <a:rect l="l" t="t" r="r" b="b"/>
              <a:pathLst>
                <a:path w="470" h="47" extrusionOk="0">
                  <a:moveTo>
                    <a:pt x="470" y="1"/>
                  </a:moveTo>
                  <a:cubicBezTo>
                    <a:pt x="386" y="12"/>
                    <a:pt x="231" y="31"/>
                    <a:pt x="89" y="41"/>
                  </a:cubicBezTo>
                  <a:lnTo>
                    <a:pt x="89" y="41"/>
                  </a:lnTo>
                  <a:cubicBezTo>
                    <a:pt x="224" y="32"/>
                    <a:pt x="373" y="15"/>
                    <a:pt x="470" y="1"/>
                  </a:cubicBezTo>
                  <a:close/>
                  <a:moveTo>
                    <a:pt x="89" y="41"/>
                  </a:moveTo>
                  <a:cubicBezTo>
                    <a:pt x="59" y="43"/>
                    <a:pt x="29" y="45"/>
                    <a:pt x="1" y="46"/>
                  </a:cubicBezTo>
                  <a:cubicBezTo>
                    <a:pt x="29" y="45"/>
                    <a:pt x="59" y="43"/>
                    <a:pt x="89" y="4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712" name="Google Shape;6712;p104"/>
            <p:cNvSpPr/>
            <p:nvPr/>
          </p:nvSpPr>
          <p:spPr>
            <a:xfrm>
              <a:off x="2586121" y="1734080"/>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713" name="Google Shape;6713;p104"/>
            <p:cNvSpPr/>
            <p:nvPr/>
          </p:nvSpPr>
          <p:spPr>
            <a:xfrm>
              <a:off x="2585075" y="1734080"/>
              <a:ext cx="258" cy="14"/>
            </a:xfrm>
            <a:custGeom>
              <a:avLst/>
              <a:gdLst/>
              <a:ahLst/>
              <a:cxnLst/>
              <a:rect l="l" t="t" r="r" b="b"/>
              <a:pathLst>
                <a:path w="19" h="1" extrusionOk="0">
                  <a:moveTo>
                    <a:pt x="1" y="0"/>
                  </a:moveTo>
                  <a:lnTo>
                    <a:pt x="18"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714" name="Google Shape;6714;p104"/>
            <p:cNvSpPr/>
            <p:nvPr/>
          </p:nvSpPr>
          <p:spPr>
            <a:xfrm>
              <a:off x="2553752" y="1749137"/>
              <a:ext cx="163" cy="204"/>
            </a:xfrm>
            <a:custGeom>
              <a:avLst/>
              <a:gdLst/>
              <a:ahLst/>
              <a:cxnLst/>
              <a:rect l="l" t="t" r="r" b="b"/>
              <a:pathLst>
                <a:path w="12" h="15" extrusionOk="0">
                  <a:moveTo>
                    <a:pt x="11" y="1"/>
                  </a:moveTo>
                  <a:lnTo>
                    <a:pt x="1" y="15"/>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715" name="Google Shape;6715;p104"/>
            <p:cNvSpPr/>
            <p:nvPr/>
          </p:nvSpPr>
          <p:spPr>
            <a:xfrm>
              <a:off x="2553997" y="1748716"/>
              <a:ext cx="109" cy="244"/>
            </a:xfrm>
            <a:custGeom>
              <a:avLst/>
              <a:gdLst/>
              <a:ahLst/>
              <a:cxnLst/>
              <a:rect l="l" t="t" r="r" b="b"/>
              <a:pathLst>
                <a:path w="8" h="18" extrusionOk="0">
                  <a:moveTo>
                    <a:pt x="7" y="0"/>
                  </a:moveTo>
                  <a:lnTo>
                    <a:pt x="0" y="18"/>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716" name="Google Shape;6716;p104"/>
            <p:cNvSpPr/>
            <p:nvPr/>
          </p:nvSpPr>
          <p:spPr>
            <a:xfrm>
              <a:off x="2555612" y="1746720"/>
              <a:ext cx="244" cy="204"/>
            </a:xfrm>
            <a:custGeom>
              <a:avLst/>
              <a:gdLst/>
              <a:ahLst/>
              <a:cxnLst/>
              <a:rect l="l" t="t" r="r" b="b"/>
              <a:pathLst>
                <a:path w="18" h="15" extrusionOk="0">
                  <a:moveTo>
                    <a:pt x="18" y="0"/>
                  </a:moveTo>
                  <a:lnTo>
                    <a:pt x="0" y="14"/>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717" name="Google Shape;6717;p104"/>
            <p:cNvSpPr/>
            <p:nvPr/>
          </p:nvSpPr>
          <p:spPr>
            <a:xfrm>
              <a:off x="2554893" y="1747426"/>
              <a:ext cx="163" cy="204"/>
            </a:xfrm>
            <a:custGeom>
              <a:avLst/>
              <a:gdLst/>
              <a:ahLst/>
              <a:cxnLst/>
              <a:rect l="l" t="t" r="r" b="b"/>
              <a:pathLst>
                <a:path w="12" h="15" extrusionOk="0">
                  <a:moveTo>
                    <a:pt x="11" y="1"/>
                  </a:moveTo>
                  <a:lnTo>
                    <a:pt x="1" y="15"/>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718" name="Google Shape;6718;p104"/>
            <p:cNvSpPr/>
            <p:nvPr/>
          </p:nvSpPr>
          <p:spPr>
            <a:xfrm>
              <a:off x="2554187" y="1748377"/>
              <a:ext cx="149" cy="204"/>
            </a:xfrm>
            <a:custGeom>
              <a:avLst/>
              <a:gdLst/>
              <a:ahLst/>
              <a:cxnLst/>
              <a:rect l="l" t="t" r="r" b="b"/>
              <a:pathLst>
                <a:path w="11" h="15" extrusionOk="0">
                  <a:moveTo>
                    <a:pt x="11" y="1"/>
                  </a:moveTo>
                  <a:lnTo>
                    <a:pt x="0" y="15"/>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719" name="Google Shape;6719;p104"/>
            <p:cNvSpPr/>
            <p:nvPr/>
          </p:nvSpPr>
          <p:spPr>
            <a:xfrm>
              <a:off x="2555368" y="1746951"/>
              <a:ext cx="163" cy="204"/>
            </a:xfrm>
            <a:custGeom>
              <a:avLst/>
              <a:gdLst/>
              <a:ahLst/>
              <a:cxnLst/>
              <a:rect l="l" t="t" r="r" b="b"/>
              <a:pathLst>
                <a:path w="12" h="15" extrusionOk="0">
                  <a:moveTo>
                    <a:pt x="11" y="1"/>
                  </a:moveTo>
                  <a:lnTo>
                    <a:pt x="1" y="15"/>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720" name="Google Shape;6720;p104"/>
            <p:cNvSpPr/>
            <p:nvPr/>
          </p:nvSpPr>
          <p:spPr>
            <a:xfrm>
              <a:off x="2554417" y="1747997"/>
              <a:ext cx="163" cy="204"/>
            </a:xfrm>
            <a:custGeom>
              <a:avLst/>
              <a:gdLst/>
              <a:ahLst/>
              <a:cxnLst/>
              <a:rect l="l" t="t" r="r" b="b"/>
              <a:pathLst>
                <a:path w="12" h="15" extrusionOk="0">
                  <a:moveTo>
                    <a:pt x="11" y="1"/>
                  </a:moveTo>
                  <a:lnTo>
                    <a:pt x="1" y="15"/>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721" name="Google Shape;6721;p104"/>
            <p:cNvSpPr/>
            <p:nvPr/>
          </p:nvSpPr>
          <p:spPr>
            <a:xfrm>
              <a:off x="2553616" y="1749572"/>
              <a:ext cx="109" cy="244"/>
            </a:xfrm>
            <a:custGeom>
              <a:avLst/>
              <a:gdLst/>
              <a:ahLst/>
              <a:cxnLst/>
              <a:rect l="l" t="t" r="r" b="b"/>
              <a:pathLst>
                <a:path w="8" h="18" extrusionOk="0">
                  <a:moveTo>
                    <a:pt x="7" y="0"/>
                  </a:moveTo>
                  <a:lnTo>
                    <a:pt x="0" y="18"/>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722" name="Google Shape;6722;p104"/>
            <p:cNvSpPr/>
            <p:nvPr/>
          </p:nvSpPr>
          <p:spPr>
            <a:xfrm>
              <a:off x="2553141" y="1752423"/>
              <a:ext cx="14" cy="353"/>
            </a:xfrm>
            <a:custGeom>
              <a:avLst/>
              <a:gdLst/>
              <a:ahLst/>
              <a:cxnLst/>
              <a:rect l="l" t="t" r="r" b="b"/>
              <a:pathLst>
                <a:path w="1" h="26" extrusionOk="0">
                  <a:moveTo>
                    <a:pt x="0" y="1"/>
                  </a:moveTo>
                  <a:lnTo>
                    <a:pt x="0" y="25"/>
                  </a:lnTo>
                  <a:cubicBezTo>
                    <a:pt x="0" y="18"/>
                    <a:pt x="0" y="8"/>
                    <a:pt x="0" y="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723" name="Google Shape;6723;p104"/>
            <p:cNvSpPr/>
            <p:nvPr/>
          </p:nvSpPr>
          <p:spPr>
            <a:xfrm>
              <a:off x="2572679" y="1720950"/>
              <a:ext cx="14" cy="163"/>
            </a:xfrm>
            <a:custGeom>
              <a:avLst/>
              <a:gdLst/>
              <a:ahLst/>
              <a:cxnLst/>
              <a:rect l="l" t="t" r="r" b="b"/>
              <a:pathLst>
                <a:path w="1" h="12" extrusionOk="0">
                  <a:moveTo>
                    <a:pt x="0" y="11"/>
                  </a:moveTo>
                  <a:lnTo>
                    <a:pt x="0" y="4"/>
                  </a:lnTo>
                  <a:cubicBezTo>
                    <a:pt x="0" y="1"/>
                    <a:pt x="0" y="8"/>
                    <a:pt x="0" y="1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724" name="Google Shape;6724;p104"/>
            <p:cNvSpPr/>
            <p:nvPr/>
          </p:nvSpPr>
          <p:spPr>
            <a:xfrm>
              <a:off x="2553087" y="1753143"/>
              <a:ext cx="14" cy="149"/>
            </a:xfrm>
            <a:custGeom>
              <a:avLst/>
              <a:gdLst/>
              <a:ahLst/>
              <a:cxnLst/>
              <a:rect l="l" t="t" r="r" b="b"/>
              <a:pathLst>
                <a:path w="1" h="11" extrusionOk="0">
                  <a:moveTo>
                    <a:pt x="1" y="11"/>
                  </a:moveTo>
                  <a:lnTo>
                    <a:pt x="1"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725" name="Google Shape;6725;p104"/>
            <p:cNvSpPr/>
            <p:nvPr/>
          </p:nvSpPr>
          <p:spPr>
            <a:xfrm>
              <a:off x="2553141" y="1751758"/>
              <a:ext cx="54" cy="353"/>
            </a:xfrm>
            <a:custGeom>
              <a:avLst/>
              <a:gdLst/>
              <a:ahLst/>
              <a:cxnLst/>
              <a:rect l="l" t="t" r="r" b="b"/>
              <a:pathLst>
                <a:path w="4" h="26" extrusionOk="0">
                  <a:moveTo>
                    <a:pt x="4" y="1"/>
                  </a:moveTo>
                  <a:cubicBezTo>
                    <a:pt x="4" y="8"/>
                    <a:pt x="0" y="15"/>
                    <a:pt x="0" y="25"/>
                  </a:cubicBezTo>
                  <a:cubicBezTo>
                    <a:pt x="4" y="15"/>
                    <a:pt x="4" y="8"/>
                    <a:pt x="4" y="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726" name="Google Shape;6726;p104"/>
            <p:cNvSpPr/>
            <p:nvPr/>
          </p:nvSpPr>
          <p:spPr>
            <a:xfrm>
              <a:off x="2555137" y="1747196"/>
              <a:ext cx="149" cy="149"/>
            </a:xfrm>
            <a:custGeom>
              <a:avLst/>
              <a:gdLst/>
              <a:ahLst/>
              <a:cxnLst/>
              <a:rect l="l" t="t" r="r" b="b"/>
              <a:pathLst>
                <a:path w="11" h="11" extrusionOk="0">
                  <a:moveTo>
                    <a:pt x="0" y="11"/>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727" name="Google Shape;6727;p104"/>
            <p:cNvSpPr/>
            <p:nvPr/>
          </p:nvSpPr>
          <p:spPr>
            <a:xfrm>
              <a:off x="2553467" y="1750047"/>
              <a:ext cx="68" cy="244"/>
            </a:xfrm>
            <a:custGeom>
              <a:avLst/>
              <a:gdLst/>
              <a:ahLst/>
              <a:cxnLst/>
              <a:rect l="l" t="t" r="r" b="b"/>
              <a:pathLst>
                <a:path w="5" h="18" extrusionOk="0">
                  <a:moveTo>
                    <a:pt x="4" y="0"/>
                  </a:moveTo>
                  <a:cubicBezTo>
                    <a:pt x="4" y="7"/>
                    <a:pt x="1" y="15"/>
                    <a:pt x="1" y="18"/>
                  </a:cubicBezTo>
                  <a:cubicBezTo>
                    <a:pt x="1" y="15"/>
                    <a:pt x="4" y="7"/>
                    <a:pt x="4"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728" name="Google Shape;6728;p104"/>
            <p:cNvSpPr/>
            <p:nvPr/>
          </p:nvSpPr>
          <p:spPr>
            <a:xfrm>
              <a:off x="2553236" y="1751147"/>
              <a:ext cx="54" cy="299"/>
            </a:xfrm>
            <a:custGeom>
              <a:avLst/>
              <a:gdLst/>
              <a:ahLst/>
              <a:cxnLst/>
              <a:rect l="l" t="t" r="r" b="b"/>
              <a:pathLst>
                <a:path w="4" h="22" extrusionOk="0">
                  <a:moveTo>
                    <a:pt x="4" y="0"/>
                  </a:moveTo>
                  <a:cubicBezTo>
                    <a:pt x="4" y="7"/>
                    <a:pt x="0" y="14"/>
                    <a:pt x="0" y="21"/>
                  </a:cubicBezTo>
                  <a:cubicBezTo>
                    <a:pt x="4" y="14"/>
                    <a:pt x="4" y="7"/>
                    <a:pt x="4"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729" name="Google Shape;6729;p104"/>
            <p:cNvSpPr/>
            <p:nvPr/>
          </p:nvSpPr>
          <p:spPr>
            <a:xfrm>
              <a:off x="2553331" y="1750576"/>
              <a:ext cx="54" cy="285"/>
            </a:xfrm>
            <a:custGeom>
              <a:avLst/>
              <a:gdLst/>
              <a:ahLst/>
              <a:cxnLst/>
              <a:rect l="l" t="t" r="r" b="b"/>
              <a:pathLst>
                <a:path w="4" h="21" extrusionOk="0">
                  <a:moveTo>
                    <a:pt x="4" y="0"/>
                  </a:moveTo>
                  <a:cubicBezTo>
                    <a:pt x="4" y="7"/>
                    <a:pt x="0" y="14"/>
                    <a:pt x="0" y="21"/>
                  </a:cubicBezTo>
                  <a:cubicBezTo>
                    <a:pt x="0" y="14"/>
                    <a:pt x="4" y="7"/>
                    <a:pt x="4"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730" name="Google Shape;6730;p104"/>
            <p:cNvSpPr/>
            <p:nvPr/>
          </p:nvSpPr>
          <p:spPr>
            <a:xfrm>
              <a:off x="2570398" y="1725716"/>
              <a:ext cx="54" cy="54"/>
            </a:xfrm>
            <a:custGeom>
              <a:avLst/>
              <a:gdLst/>
              <a:ahLst/>
              <a:cxnLst/>
              <a:rect l="l" t="t" r="r" b="b"/>
              <a:pathLst>
                <a:path w="4" h="4" extrusionOk="0">
                  <a:moveTo>
                    <a:pt x="4" y="0"/>
                  </a:moveTo>
                  <a:lnTo>
                    <a:pt x="0" y="4"/>
                  </a:lnTo>
                  <a:lnTo>
                    <a:pt x="0" y="4"/>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731" name="Google Shape;6731;p104"/>
            <p:cNvSpPr/>
            <p:nvPr/>
          </p:nvSpPr>
          <p:spPr>
            <a:xfrm>
              <a:off x="2554662" y="1747712"/>
              <a:ext cx="149" cy="204"/>
            </a:xfrm>
            <a:custGeom>
              <a:avLst/>
              <a:gdLst/>
              <a:ahLst/>
              <a:cxnLst/>
              <a:rect l="l" t="t" r="r" b="b"/>
              <a:pathLst>
                <a:path w="11" h="15" extrusionOk="0">
                  <a:moveTo>
                    <a:pt x="11" y="1"/>
                  </a:moveTo>
                  <a:lnTo>
                    <a:pt x="0" y="15"/>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732" name="Google Shape;6732;p104"/>
            <p:cNvSpPr/>
            <p:nvPr/>
          </p:nvSpPr>
          <p:spPr>
            <a:xfrm>
              <a:off x="2572014" y="1722675"/>
              <a:ext cx="109" cy="190"/>
            </a:xfrm>
            <a:custGeom>
              <a:avLst/>
              <a:gdLst/>
              <a:ahLst/>
              <a:cxnLst/>
              <a:rect l="l" t="t" r="r" b="b"/>
              <a:pathLst>
                <a:path w="8" h="14" extrusionOk="0">
                  <a:moveTo>
                    <a:pt x="0" y="14"/>
                  </a:moveTo>
                  <a:lnTo>
                    <a:pt x="7"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733" name="Google Shape;6733;p104"/>
            <p:cNvSpPr/>
            <p:nvPr/>
          </p:nvSpPr>
          <p:spPr>
            <a:xfrm>
              <a:off x="2572489" y="1721616"/>
              <a:ext cx="54" cy="163"/>
            </a:xfrm>
            <a:custGeom>
              <a:avLst/>
              <a:gdLst/>
              <a:ahLst/>
              <a:cxnLst/>
              <a:rect l="l" t="t" r="r" b="b"/>
              <a:pathLst>
                <a:path w="4" h="12" extrusionOk="0">
                  <a:moveTo>
                    <a:pt x="0" y="1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734" name="Google Shape;6734;p104"/>
            <p:cNvSpPr/>
            <p:nvPr/>
          </p:nvSpPr>
          <p:spPr>
            <a:xfrm>
              <a:off x="2572299" y="1722050"/>
              <a:ext cx="54" cy="204"/>
            </a:xfrm>
            <a:custGeom>
              <a:avLst/>
              <a:gdLst/>
              <a:ahLst/>
              <a:cxnLst/>
              <a:rect l="l" t="t" r="r" b="b"/>
              <a:pathLst>
                <a:path w="4" h="15" extrusionOk="0">
                  <a:moveTo>
                    <a:pt x="0" y="15"/>
                  </a:moveTo>
                  <a:lnTo>
                    <a:pt x="4"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735" name="Google Shape;6735;p104"/>
            <p:cNvSpPr/>
            <p:nvPr/>
          </p:nvSpPr>
          <p:spPr>
            <a:xfrm>
              <a:off x="2571824" y="1723001"/>
              <a:ext cx="109" cy="204"/>
            </a:xfrm>
            <a:custGeom>
              <a:avLst/>
              <a:gdLst/>
              <a:ahLst/>
              <a:cxnLst/>
              <a:rect l="l" t="t" r="r" b="b"/>
              <a:pathLst>
                <a:path w="8" h="15" extrusionOk="0">
                  <a:moveTo>
                    <a:pt x="0" y="15"/>
                  </a:moveTo>
                  <a:lnTo>
                    <a:pt x="7"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736" name="Google Shape;6736;p104"/>
            <p:cNvSpPr/>
            <p:nvPr/>
          </p:nvSpPr>
          <p:spPr>
            <a:xfrm>
              <a:off x="2572394" y="1721860"/>
              <a:ext cx="54" cy="109"/>
            </a:xfrm>
            <a:custGeom>
              <a:avLst/>
              <a:gdLst/>
              <a:ahLst/>
              <a:cxnLst/>
              <a:rect l="l" t="t" r="r" b="b"/>
              <a:pathLst>
                <a:path w="4" h="8" extrusionOk="0">
                  <a:moveTo>
                    <a:pt x="0" y="7"/>
                  </a:moveTo>
                  <a:lnTo>
                    <a:pt x="4"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737" name="Google Shape;6737;p104"/>
            <p:cNvSpPr/>
            <p:nvPr/>
          </p:nvSpPr>
          <p:spPr>
            <a:xfrm>
              <a:off x="2572150" y="1722335"/>
              <a:ext cx="109" cy="204"/>
            </a:xfrm>
            <a:custGeom>
              <a:avLst/>
              <a:gdLst/>
              <a:ahLst/>
              <a:cxnLst/>
              <a:rect l="l" t="t" r="r" b="b"/>
              <a:pathLst>
                <a:path w="8" h="15" extrusionOk="0">
                  <a:moveTo>
                    <a:pt x="1" y="15"/>
                  </a:moveTo>
                  <a:lnTo>
                    <a:pt x="8"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738" name="Google Shape;6738;p104"/>
            <p:cNvSpPr/>
            <p:nvPr/>
          </p:nvSpPr>
          <p:spPr>
            <a:xfrm>
              <a:off x="2570914" y="1724671"/>
              <a:ext cx="109" cy="244"/>
            </a:xfrm>
            <a:custGeom>
              <a:avLst/>
              <a:gdLst/>
              <a:ahLst/>
              <a:cxnLst/>
              <a:rect l="l" t="t" r="r" b="b"/>
              <a:pathLst>
                <a:path w="8" h="18" extrusionOk="0">
                  <a:moveTo>
                    <a:pt x="1" y="18"/>
                  </a:moveTo>
                  <a:lnTo>
                    <a:pt x="8"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739" name="Google Shape;6739;p104"/>
            <p:cNvSpPr/>
            <p:nvPr/>
          </p:nvSpPr>
          <p:spPr>
            <a:xfrm>
              <a:off x="2570588" y="1725187"/>
              <a:ext cx="149" cy="258"/>
            </a:xfrm>
            <a:custGeom>
              <a:avLst/>
              <a:gdLst/>
              <a:ahLst/>
              <a:cxnLst/>
              <a:rect l="l" t="t" r="r" b="b"/>
              <a:pathLst>
                <a:path w="11" h="19" extrusionOk="0">
                  <a:moveTo>
                    <a:pt x="0" y="18"/>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740" name="Google Shape;6740;p104"/>
            <p:cNvSpPr/>
            <p:nvPr/>
          </p:nvSpPr>
          <p:spPr>
            <a:xfrm>
              <a:off x="2571634" y="1723381"/>
              <a:ext cx="149" cy="204"/>
            </a:xfrm>
            <a:custGeom>
              <a:avLst/>
              <a:gdLst/>
              <a:ahLst/>
              <a:cxnLst/>
              <a:rect l="l" t="t" r="r" b="b"/>
              <a:pathLst>
                <a:path w="11" h="15" extrusionOk="0">
                  <a:moveTo>
                    <a:pt x="0" y="15"/>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741" name="Google Shape;6741;p104"/>
            <p:cNvSpPr/>
            <p:nvPr/>
          </p:nvSpPr>
          <p:spPr>
            <a:xfrm>
              <a:off x="2571159" y="1724195"/>
              <a:ext cx="149" cy="244"/>
            </a:xfrm>
            <a:custGeom>
              <a:avLst/>
              <a:gdLst/>
              <a:ahLst/>
              <a:cxnLst/>
              <a:rect l="l" t="t" r="r" b="b"/>
              <a:pathLst>
                <a:path w="11" h="18" extrusionOk="0">
                  <a:moveTo>
                    <a:pt x="0" y="18"/>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742" name="Google Shape;6742;p104"/>
            <p:cNvSpPr/>
            <p:nvPr/>
          </p:nvSpPr>
          <p:spPr>
            <a:xfrm>
              <a:off x="2571389" y="1723761"/>
              <a:ext cx="163" cy="258"/>
            </a:xfrm>
            <a:custGeom>
              <a:avLst/>
              <a:gdLst/>
              <a:ahLst/>
              <a:cxnLst/>
              <a:rect l="l" t="t" r="r" b="b"/>
              <a:pathLst>
                <a:path w="12" h="19" extrusionOk="0">
                  <a:moveTo>
                    <a:pt x="1" y="18"/>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743" name="Google Shape;6743;p104"/>
            <p:cNvSpPr/>
            <p:nvPr/>
          </p:nvSpPr>
          <p:spPr>
            <a:xfrm>
              <a:off x="2572679" y="1721140"/>
              <a:ext cx="14" cy="68"/>
            </a:xfrm>
            <a:custGeom>
              <a:avLst/>
              <a:gdLst/>
              <a:ahLst/>
              <a:cxnLst/>
              <a:rect l="l" t="t" r="r" b="b"/>
              <a:pathLst>
                <a:path w="1" h="5" extrusionOk="0">
                  <a:moveTo>
                    <a:pt x="0"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744" name="Google Shape;6744;p104"/>
            <p:cNvSpPr/>
            <p:nvPr/>
          </p:nvSpPr>
          <p:spPr>
            <a:xfrm>
              <a:off x="2572584" y="1721426"/>
              <a:ext cx="14" cy="109"/>
            </a:xfrm>
            <a:custGeom>
              <a:avLst/>
              <a:gdLst/>
              <a:ahLst/>
              <a:cxnLst/>
              <a:rect l="l" t="t" r="r" b="b"/>
              <a:pathLst>
                <a:path w="1" h="8" extrusionOk="0">
                  <a:moveTo>
                    <a:pt x="0" y="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745" name="Google Shape;6745;p104"/>
            <p:cNvSpPr/>
            <p:nvPr/>
          </p:nvSpPr>
          <p:spPr>
            <a:xfrm>
              <a:off x="2572625" y="1721235"/>
              <a:ext cx="14" cy="163"/>
            </a:xfrm>
            <a:custGeom>
              <a:avLst/>
              <a:gdLst/>
              <a:ahLst/>
              <a:cxnLst/>
              <a:rect l="l" t="t" r="r" b="b"/>
              <a:pathLst>
                <a:path w="1" h="12" extrusionOk="0">
                  <a:moveTo>
                    <a:pt x="1" y="1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746" name="Google Shape;6746;p104"/>
            <p:cNvSpPr/>
            <p:nvPr/>
          </p:nvSpPr>
          <p:spPr>
            <a:xfrm>
              <a:off x="2604994" y="1750237"/>
              <a:ext cx="14" cy="149"/>
            </a:xfrm>
            <a:custGeom>
              <a:avLst/>
              <a:gdLst/>
              <a:ahLst/>
              <a:cxnLst/>
              <a:rect l="l" t="t" r="r" b="b"/>
              <a:pathLst>
                <a:path w="1" h="11" extrusionOk="0">
                  <a:moveTo>
                    <a:pt x="1" y="1"/>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747" name="Google Shape;6747;p104"/>
            <p:cNvSpPr/>
            <p:nvPr/>
          </p:nvSpPr>
          <p:spPr>
            <a:xfrm>
              <a:off x="2604003" y="1751242"/>
              <a:ext cx="1439" cy="2105"/>
            </a:xfrm>
            <a:custGeom>
              <a:avLst/>
              <a:gdLst/>
              <a:ahLst/>
              <a:cxnLst/>
              <a:rect l="l" t="t" r="r" b="b"/>
              <a:pathLst>
                <a:path w="106" h="155" extrusionOk="0">
                  <a:moveTo>
                    <a:pt x="84" y="0"/>
                  </a:moveTo>
                  <a:lnTo>
                    <a:pt x="102" y="137"/>
                  </a:lnTo>
                  <a:lnTo>
                    <a:pt x="7" y="144"/>
                  </a:lnTo>
                  <a:lnTo>
                    <a:pt x="0" y="147"/>
                  </a:lnTo>
                  <a:lnTo>
                    <a:pt x="7" y="151"/>
                  </a:lnTo>
                  <a:lnTo>
                    <a:pt x="14" y="154"/>
                  </a:lnTo>
                  <a:cubicBezTo>
                    <a:pt x="46" y="147"/>
                    <a:pt x="74" y="144"/>
                    <a:pt x="98" y="140"/>
                  </a:cubicBezTo>
                  <a:lnTo>
                    <a:pt x="105" y="140"/>
                  </a:lnTo>
                  <a:lnTo>
                    <a:pt x="84"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748" name="Google Shape;6748;p104"/>
            <p:cNvSpPr/>
            <p:nvPr/>
          </p:nvSpPr>
          <p:spPr>
            <a:xfrm>
              <a:off x="2605048" y="1750807"/>
              <a:ext cx="54" cy="244"/>
            </a:xfrm>
            <a:custGeom>
              <a:avLst/>
              <a:gdLst/>
              <a:ahLst/>
              <a:cxnLst/>
              <a:rect l="l" t="t" r="r" b="b"/>
              <a:pathLst>
                <a:path w="4" h="18" extrusionOk="0">
                  <a:moveTo>
                    <a:pt x="0" y="1"/>
                  </a:moveTo>
                  <a:lnTo>
                    <a:pt x="4" y="18"/>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749" name="Google Shape;6749;p104"/>
            <p:cNvSpPr/>
            <p:nvPr/>
          </p:nvSpPr>
          <p:spPr>
            <a:xfrm>
              <a:off x="2604003" y="1743774"/>
              <a:ext cx="109" cy="244"/>
            </a:xfrm>
            <a:custGeom>
              <a:avLst/>
              <a:gdLst/>
              <a:ahLst/>
              <a:cxnLst/>
              <a:rect l="l" t="t" r="r" b="b"/>
              <a:pathLst>
                <a:path w="8" h="18" extrusionOk="0">
                  <a:moveTo>
                    <a:pt x="0" y="0"/>
                  </a:moveTo>
                  <a:cubicBezTo>
                    <a:pt x="4" y="7"/>
                    <a:pt x="4" y="11"/>
                    <a:pt x="7" y="18"/>
                  </a:cubicBezTo>
                  <a:cubicBezTo>
                    <a:pt x="4" y="11"/>
                    <a:pt x="4" y="7"/>
                    <a:pt x="0"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750" name="Google Shape;6750;p104"/>
            <p:cNvSpPr/>
            <p:nvPr/>
          </p:nvSpPr>
          <p:spPr>
            <a:xfrm>
              <a:off x="2604043" y="1744005"/>
              <a:ext cx="869" cy="5770"/>
            </a:xfrm>
            <a:custGeom>
              <a:avLst/>
              <a:gdLst/>
              <a:ahLst/>
              <a:cxnLst/>
              <a:rect l="l" t="t" r="r" b="b"/>
              <a:pathLst>
                <a:path w="64" h="425" extrusionOk="0">
                  <a:moveTo>
                    <a:pt x="1" y="1"/>
                  </a:moveTo>
                  <a:cubicBezTo>
                    <a:pt x="15" y="88"/>
                    <a:pt x="39" y="267"/>
                    <a:pt x="64" y="424"/>
                  </a:cubicBezTo>
                  <a:cubicBezTo>
                    <a:pt x="39" y="267"/>
                    <a:pt x="15" y="85"/>
                    <a:pt x="1" y="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751" name="Google Shape;6751;p104"/>
            <p:cNvSpPr/>
            <p:nvPr/>
          </p:nvSpPr>
          <p:spPr>
            <a:xfrm>
              <a:off x="1464633" y="1859509"/>
              <a:ext cx="1344" cy="2009"/>
            </a:xfrm>
            <a:custGeom>
              <a:avLst/>
              <a:gdLst/>
              <a:ahLst/>
              <a:cxnLst/>
              <a:rect l="l" t="t" r="r" b="b"/>
              <a:pathLst>
                <a:path w="99" h="148" extrusionOk="0">
                  <a:moveTo>
                    <a:pt x="1" y="1"/>
                  </a:moveTo>
                  <a:lnTo>
                    <a:pt x="1" y="1"/>
                  </a:lnTo>
                  <a:cubicBezTo>
                    <a:pt x="18" y="60"/>
                    <a:pt x="53" y="109"/>
                    <a:pt x="99" y="148"/>
                  </a:cubicBezTo>
                  <a:cubicBezTo>
                    <a:pt x="81" y="102"/>
                    <a:pt x="57" y="64"/>
                    <a:pt x="25" y="29"/>
                  </a:cubicBezTo>
                  <a:lnTo>
                    <a:pt x="1"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752" name="Google Shape;6752;p104"/>
            <p:cNvSpPr/>
            <p:nvPr/>
          </p:nvSpPr>
          <p:spPr>
            <a:xfrm>
              <a:off x="1462026" y="1851905"/>
              <a:ext cx="2050" cy="5580"/>
            </a:xfrm>
            <a:custGeom>
              <a:avLst/>
              <a:gdLst/>
              <a:ahLst/>
              <a:cxnLst/>
              <a:rect l="l" t="t" r="r" b="b"/>
              <a:pathLst>
                <a:path w="151" h="411" extrusionOk="0">
                  <a:moveTo>
                    <a:pt x="42" y="1"/>
                  </a:moveTo>
                  <a:cubicBezTo>
                    <a:pt x="14" y="57"/>
                    <a:pt x="0" y="120"/>
                    <a:pt x="7" y="183"/>
                  </a:cubicBezTo>
                  <a:cubicBezTo>
                    <a:pt x="7" y="284"/>
                    <a:pt x="49" y="326"/>
                    <a:pt x="98" y="379"/>
                  </a:cubicBezTo>
                  <a:cubicBezTo>
                    <a:pt x="109" y="389"/>
                    <a:pt x="119" y="400"/>
                    <a:pt x="130" y="410"/>
                  </a:cubicBezTo>
                  <a:cubicBezTo>
                    <a:pt x="130" y="382"/>
                    <a:pt x="130" y="354"/>
                    <a:pt x="133" y="330"/>
                  </a:cubicBezTo>
                  <a:cubicBezTo>
                    <a:pt x="151" y="235"/>
                    <a:pt x="133" y="141"/>
                    <a:pt x="84" y="57"/>
                  </a:cubicBezTo>
                  <a:cubicBezTo>
                    <a:pt x="74" y="36"/>
                    <a:pt x="60" y="18"/>
                    <a:pt x="42" y="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753" name="Google Shape;6753;p104"/>
            <p:cNvSpPr/>
            <p:nvPr/>
          </p:nvSpPr>
          <p:spPr>
            <a:xfrm>
              <a:off x="1586043" y="1964015"/>
              <a:ext cx="5146" cy="4100"/>
            </a:xfrm>
            <a:custGeom>
              <a:avLst/>
              <a:gdLst/>
              <a:ahLst/>
              <a:cxnLst/>
              <a:rect l="l" t="t" r="r" b="b"/>
              <a:pathLst>
                <a:path w="379" h="302" extrusionOk="0">
                  <a:moveTo>
                    <a:pt x="214" y="1"/>
                  </a:moveTo>
                  <a:cubicBezTo>
                    <a:pt x="201" y="1"/>
                    <a:pt x="188" y="3"/>
                    <a:pt x="175" y="6"/>
                  </a:cubicBezTo>
                  <a:cubicBezTo>
                    <a:pt x="116" y="13"/>
                    <a:pt x="60" y="30"/>
                    <a:pt x="7" y="55"/>
                  </a:cubicBezTo>
                  <a:cubicBezTo>
                    <a:pt x="74" y="118"/>
                    <a:pt x="35" y="205"/>
                    <a:pt x="18" y="251"/>
                  </a:cubicBezTo>
                  <a:cubicBezTo>
                    <a:pt x="11" y="265"/>
                    <a:pt x="4" y="279"/>
                    <a:pt x="0" y="296"/>
                  </a:cubicBezTo>
                  <a:cubicBezTo>
                    <a:pt x="8" y="300"/>
                    <a:pt x="22" y="302"/>
                    <a:pt x="40" y="302"/>
                  </a:cubicBezTo>
                  <a:cubicBezTo>
                    <a:pt x="106" y="302"/>
                    <a:pt x="229" y="277"/>
                    <a:pt x="340" y="230"/>
                  </a:cubicBezTo>
                  <a:cubicBezTo>
                    <a:pt x="361" y="223"/>
                    <a:pt x="375" y="205"/>
                    <a:pt x="375" y="184"/>
                  </a:cubicBezTo>
                  <a:cubicBezTo>
                    <a:pt x="378" y="121"/>
                    <a:pt x="347" y="62"/>
                    <a:pt x="294" y="23"/>
                  </a:cubicBezTo>
                  <a:cubicBezTo>
                    <a:pt x="270" y="9"/>
                    <a:pt x="242" y="1"/>
                    <a:pt x="214" y="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754" name="Google Shape;6754;p104"/>
            <p:cNvSpPr/>
            <p:nvPr/>
          </p:nvSpPr>
          <p:spPr>
            <a:xfrm>
              <a:off x="2367754" y="1716578"/>
              <a:ext cx="22213" cy="19226"/>
            </a:xfrm>
            <a:custGeom>
              <a:avLst/>
              <a:gdLst/>
              <a:ahLst/>
              <a:cxnLst/>
              <a:rect l="l" t="t" r="r" b="b"/>
              <a:pathLst>
                <a:path w="1636" h="1416" extrusionOk="0">
                  <a:moveTo>
                    <a:pt x="505" y="1"/>
                  </a:moveTo>
                  <a:cubicBezTo>
                    <a:pt x="488" y="1"/>
                    <a:pt x="474" y="1"/>
                    <a:pt x="460" y="4"/>
                  </a:cubicBezTo>
                  <a:cubicBezTo>
                    <a:pt x="362" y="15"/>
                    <a:pt x="264" y="36"/>
                    <a:pt x="166" y="60"/>
                  </a:cubicBezTo>
                  <a:lnTo>
                    <a:pt x="95" y="78"/>
                  </a:lnTo>
                  <a:lnTo>
                    <a:pt x="74" y="85"/>
                  </a:lnTo>
                  <a:lnTo>
                    <a:pt x="15" y="95"/>
                  </a:lnTo>
                  <a:lnTo>
                    <a:pt x="1" y="99"/>
                  </a:lnTo>
                  <a:cubicBezTo>
                    <a:pt x="25" y="148"/>
                    <a:pt x="43" y="200"/>
                    <a:pt x="46" y="253"/>
                  </a:cubicBezTo>
                  <a:cubicBezTo>
                    <a:pt x="50" y="326"/>
                    <a:pt x="67" y="396"/>
                    <a:pt x="95" y="463"/>
                  </a:cubicBezTo>
                  <a:cubicBezTo>
                    <a:pt x="141" y="572"/>
                    <a:pt x="215" y="579"/>
                    <a:pt x="327" y="579"/>
                  </a:cubicBezTo>
                  <a:cubicBezTo>
                    <a:pt x="390" y="579"/>
                    <a:pt x="449" y="579"/>
                    <a:pt x="495" y="614"/>
                  </a:cubicBezTo>
                  <a:lnTo>
                    <a:pt x="505" y="621"/>
                  </a:lnTo>
                  <a:lnTo>
                    <a:pt x="512" y="631"/>
                  </a:lnTo>
                  <a:lnTo>
                    <a:pt x="523" y="645"/>
                  </a:lnTo>
                  <a:lnTo>
                    <a:pt x="523" y="649"/>
                  </a:lnTo>
                  <a:lnTo>
                    <a:pt x="533" y="663"/>
                  </a:lnTo>
                  <a:lnTo>
                    <a:pt x="533" y="666"/>
                  </a:lnTo>
                  <a:cubicBezTo>
                    <a:pt x="537" y="673"/>
                    <a:pt x="540" y="680"/>
                    <a:pt x="544" y="687"/>
                  </a:cubicBezTo>
                  <a:cubicBezTo>
                    <a:pt x="547" y="694"/>
                    <a:pt x="554" y="705"/>
                    <a:pt x="558" y="715"/>
                  </a:cubicBezTo>
                  <a:lnTo>
                    <a:pt x="558" y="719"/>
                  </a:lnTo>
                  <a:cubicBezTo>
                    <a:pt x="561" y="726"/>
                    <a:pt x="565" y="736"/>
                    <a:pt x="572" y="750"/>
                  </a:cubicBezTo>
                  <a:lnTo>
                    <a:pt x="575" y="754"/>
                  </a:lnTo>
                  <a:cubicBezTo>
                    <a:pt x="579" y="768"/>
                    <a:pt x="582" y="778"/>
                    <a:pt x="589" y="792"/>
                  </a:cubicBezTo>
                  <a:lnTo>
                    <a:pt x="589" y="796"/>
                  </a:lnTo>
                  <a:lnTo>
                    <a:pt x="607" y="799"/>
                  </a:lnTo>
                  <a:cubicBezTo>
                    <a:pt x="617" y="799"/>
                    <a:pt x="628" y="803"/>
                    <a:pt x="638" y="806"/>
                  </a:cubicBezTo>
                  <a:lnTo>
                    <a:pt x="649" y="810"/>
                  </a:lnTo>
                  <a:lnTo>
                    <a:pt x="670" y="817"/>
                  </a:lnTo>
                  <a:lnTo>
                    <a:pt x="680" y="820"/>
                  </a:lnTo>
                  <a:lnTo>
                    <a:pt x="698" y="831"/>
                  </a:lnTo>
                  <a:lnTo>
                    <a:pt x="705" y="834"/>
                  </a:lnTo>
                  <a:cubicBezTo>
                    <a:pt x="712" y="838"/>
                    <a:pt x="719" y="845"/>
                    <a:pt x="722" y="848"/>
                  </a:cubicBezTo>
                  <a:lnTo>
                    <a:pt x="736" y="859"/>
                  </a:lnTo>
                  <a:lnTo>
                    <a:pt x="740" y="862"/>
                  </a:lnTo>
                  <a:cubicBezTo>
                    <a:pt x="761" y="883"/>
                    <a:pt x="775" y="904"/>
                    <a:pt x="785" y="929"/>
                  </a:cubicBezTo>
                  <a:lnTo>
                    <a:pt x="806" y="936"/>
                  </a:lnTo>
                  <a:lnTo>
                    <a:pt x="831" y="943"/>
                  </a:lnTo>
                  <a:lnTo>
                    <a:pt x="866" y="960"/>
                  </a:lnTo>
                  <a:lnTo>
                    <a:pt x="887" y="967"/>
                  </a:lnTo>
                  <a:lnTo>
                    <a:pt x="922" y="988"/>
                  </a:lnTo>
                  <a:lnTo>
                    <a:pt x="936" y="995"/>
                  </a:lnTo>
                  <a:lnTo>
                    <a:pt x="981" y="1020"/>
                  </a:lnTo>
                  <a:cubicBezTo>
                    <a:pt x="1002" y="1034"/>
                    <a:pt x="1020" y="1044"/>
                    <a:pt x="1034" y="1048"/>
                  </a:cubicBezTo>
                  <a:cubicBezTo>
                    <a:pt x="1035" y="1049"/>
                    <a:pt x="1037" y="1050"/>
                    <a:pt x="1039" y="1050"/>
                  </a:cubicBezTo>
                  <a:cubicBezTo>
                    <a:pt x="1040" y="1050"/>
                    <a:pt x="1041" y="1049"/>
                    <a:pt x="1041" y="1048"/>
                  </a:cubicBezTo>
                  <a:lnTo>
                    <a:pt x="1062" y="1048"/>
                  </a:lnTo>
                  <a:lnTo>
                    <a:pt x="1083" y="1044"/>
                  </a:lnTo>
                  <a:lnTo>
                    <a:pt x="1132" y="1044"/>
                  </a:lnTo>
                  <a:lnTo>
                    <a:pt x="1149" y="1048"/>
                  </a:lnTo>
                  <a:lnTo>
                    <a:pt x="1153" y="1048"/>
                  </a:lnTo>
                  <a:lnTo>
                    <a:pt x="1174" y="1051"/>
                  </a:lnTo>
                  <a:lnTo>
                    <a:pt x="1177" y="1051"/>
                  </a:lnTo>
                  <a:lnTo>
                    <a:pt x="1195" y="1062"/>
                  </a:lnTo>
                  <a:lnTo>
                    <a:pt x="1202" y="1062"/>
                  </a:lnTo>
                  <a:cubicBezTo>
                    <a:pt x="1209" y="1065"/>
                    <a:pt x="1216" y="1069"/>
                    <a:pt x="1223" y="1072"/>
                  </a:cubicBezTo>
                  <a:lnTo>
                    <a:pt x="1230" y="1076"/>
                  </a:lnTo>
                  <a:cubicBezTo>
                    <a:pt x="1237" y="1083"/>
                    <a:pt x="1244" y="1086"/>
                    <a:pt x="1251" y="1093"/>
                  </a:cubicBezTo>
                  <a:lnTo>
                    <a:pt x="1254" y="1093"/>
                  </a:lnTo>
                  <a:cubicBezTo>
                    <a:pt x="1261" y="1100"/>
                    <a:pt x="1268" y="1107"/>
                    <a:pt x="1279" y="1114"/>
                  </a:cubicBezTo>
                  <a:lnTo>
                    <a:pt x="1286" y="1121"/>
                  </a:lnTo>
                  <a:cubicBezTo>
                    <a:pt x="1293" y="1132"/>
                    <a:pt x="1303" y="1139"/>
                    <a:pt x="1314" y="1149"/>
                  </a:cubicBezTo>
                  <a:lnTo>
                    <a:pt x="1345" y="1188"/>
                  </a:lnTo>
                  <a:lnTo>
                    <a:pt x="1349" y="1195"/>
                  </a:lnTo>
                  <a:cubicBezTo>
                    <a:pt x="1359" y="1205"/>
                    <a:pt x="1366" y="1216"/>
                    <a:pt x="1377" y="1226"/>
                  </a:cubicBezTo>
                  <a:lnTo>
                    <a:pt x="1380" y="1230"/>
                  </a:lnTo>
                  <a:cubicBezTo>
                    <a:pt x="1387" y="1240"/>
                    <a:pt x="1394" y="1247"/>
                    <a:pt x="1398" y="1258"/>
                  </a:cubicBezTo>
                  <a:lnTo>
                    <a:pt x="1401" y="1261"/>
                  </a:lnTo>
                  <a:cubicBezTo>
                    <a:pt x="1408" y="1272"/>
                    <a:pt x="1412" y="1279"/>
                    <a:pt x="1419" y="1289"/>
                  </a:cubicBezTo>
                  <a:lnTo>
                    <a:pt x="1422" y="1296"/>
                  </a:lnTo>
                  <a:cubicBezTo>
                    <a:pt x="1426" y="1303"/>
                    <a:pt x="1429" y="1314"/>
                    <a:pt x="1433" y="1321"/>
                  </a:cubicBezTo>
                  <a:cubicBezTo>
                    <a:pt x="1436" y="1331"/>
                    <a:pt x="1440" y="1338"/>
                    <a:pt x="1440" y="1349"/>
                  </a:cubicBezTo>
                  <a:lnTo>
                    <a:pt x="1440" y="1352"/>
                  </a:lnTo>
                  <a:cubicBezTo>
                    <a:pt x="1443" y="1363"/>
                    <a:pt x="1443" y="1370"/>
                    <a:pt x="1447" y="1380"/>
                  </a:cubicBezTo>
                  <a:lnTo>
                    <a:pt x="1447" y="1387"/>
                  </a:lnTo>
                  <a:lnTo>
                    <a:pt x="1447" y="1412"/>
                  </a:lnTo>
                  <a:lnTo>
                    <a:pt x="1447" y="1415"/>
                  </a:lnTo>
                  <a:cubicBezTo>
                    <a:pt x="1510" y="1408"/>
                    <a:pt x="1573" y="1394"/>
                    <a:pt x="1636" y="1373"/>
                  </a:cubicBezTo>
                  <a:cubicBezTo>
                    <a:pt x="1625" y="1356"/>
                    <a:pt x="1618" y="1342"/>
                    <a:pt x="1611" y="1324"/>
                  </a:cubicBezTo>
                  <a:lnTo>
                    <a:pt x="1608" y="1317"/>
                  </a:lnTo>
                  <a:cubicBezTo>
                    <a:pt x="1601" y="1303"/>
                    <a:pt x="1594" y="1289"/>
                    <a:pt x="1590" y="1279"/>
                  </a:cubicBezTo>
                  <a:lnTo>
                    <a:pt x="1587" y="1272"/>
                  </a:lnTo>
                  <a:cubicBezTo>
                    <a:pt x="1583" y="1258"/>
                    <a:pt x="1580" y="1247"/>
                    <a:pt x="1576" y="1237"/>
                  </a:cubicBezTo>
                  <a:lnTo>
                    <a:pt x="1576" y="1233"/>
                  </a:lnTo>
                  <a:cubicBezTo>
                    <a:pt x="1573" y="1223"/>
                    <a:pt x="1569" y="1216"/>
                    <a:pt x="1566" y="1205"/>
                  </a:cubicBezTo>
                  <a:cubicBezTo>
                    <a:pt x="1562" y="1198"/>
                    <a:pt x="1562" y="1191"/>
                    <a:pt x="1562" y="1184"/>
                  </a:cubicBezTo>
                  <a:lnTo>
                    <a:pt x="1562" y="1181"/>
                  </a:lnTo>
                  <a:cubicBezTo>
                    <a:pt x="1562" y="1174"/>
                    <a:pt x="1562" y="1170"/>
                    <a:pt x="1559" y="1163"/>
                  </a:cubicBezTo>
                  <a:lnTo>
                    <a:pt x="1559" y="1160"/>
                  </a:lnTo>
                  <a:lnTo>
                    <a:pt x="1559" y="1149"/>
                  </a:lnTo>
                  <a:lnTo>
                    <a:pt x="1559" y="1142"/>
                  </a:lnTo>
                  <a:cubicBezTo>
                    <a:pt x="1559" y="1111"/>
                    <a:pt x="1478" y="1051"/>
                    <a:pt x="1426" y="1013"/>
                  </a:cubicBezTo>
                  <a:cubicBezTo>
                    <a:pt x="1328" y="939"/>
                    <a:pt x="1216" y="855"/>
                    <a:pt x="1216" y="736"/>
                  </a:cubicBezTo>
                  <a:cubicBezTo>
                    <a:pt x="1216" y="677"/>
                    <a:pt x="1170" y="614"/>
                    <a:pt x="1121" y="547"/>
                  </a:cubicBezTo>
                  <a:cubicBezTo>
                    <a:pt x="1062" y="467"/>
                    <a:pt x="1002" y="379"/>
                    <a:pt x="1023" y="284"/>
                  </a:cubicBezTo>
                  <a:cubicBezTo>
                    <a:pt x="1034" y="249"/>
                    <a:pt x="978" y="165"/>
                    <a:pt x="936" y="106"/>
                  </a:cubicBezTo>
                  <a:cubicBezTo>
                    <a:pt x="922" y="85"/>
                    <a:pt x="908" y="60"/>
                    <a:pt x="897" y="43"/>
                  </a:cubicBezTo>
                  <a:lnTo>
                    <a:pt x="873" y="36"/>
                  </a:lnTo>
                  <a:lnTo>
                    <a:pt x="841" y="29"/>
                  </a:lnTo>
                  <a:lnTo>
                    <a:pt x="803" y="22"/>
                  </a:lnTo>
                  <a:lnTo>
                    <a:pt x="778" y="18"/>
                  </a:lnTo>
                  <a:lnTo>
                    <a:pt x="740" y="11"/>
                  </a:lnTo>
                  <a:lnTo>
                    <a:pt x="715" y="8"/>
                  </a:lnTo>
                  <a:lnTo>
                    <a:pt x="677" y="4"/>
                  </a:lnTo>
                  <a:lnTo>
                    <a:pt x="659" y="4"/>
                  </a:lnTo>
                  <a:lnTo>
                    <a:pt x="617"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755" name="Google Shape;6755;p104"/>
            <p:cNvSpPr/>
            <p:nvPr/>
          </p:nvSpPr>
          <p:spPr>
            <a:xfrm>
              <a:off x="2376321" y="1716673"/>
              <a:ext cx="584" cy="68"/>
            </a:xfrm>
            <a:custGeom>
              <a:avLst/>
              <a:gdLst/>
              <a:ahLst/>
              <a:cxnLst/>
              <a:rect l="l" t="t" r="r" b="b"/>
              <a:pathLst>
                <a:path w="43" h="5" extrusionOk="0">
                  <a:moveTo>
                    <a:pt x="0" y="1"/>
                  </a:moveTo>
                  <a:lnTo>
                    <a:pt x="42" y="4"/>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756" name="Google Shape;6756;p104"/>
            <p:cNvSpPr/>
            <p:nvPr/>
          </p:nvSpPr>
          <p:spPr>
            <a:xfrm>
              <a:off x="2377122" y="1716728"/>
              <a:ext cx="543" cy="109"/>
            </a:xfrm>
            <a:custGeom>
              <a:avLst/>
              <a:gdLst/>
              <a:ahLst/>
              <a:cxnLst/>
              <a:rect l="l" t="t" r="r" b="b"/>
              <a:pathLst>
                <a:path w="40" h="8" extrusionOk="0">
                  <a:moveTo>
                    <a:pt x="1" y="0"/>
                  </a:moveTo>
                  <a:lnTo>
                    <a:pt x="39" y="7"/>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757" name="Google Shape;6757;p104"/>
            <p:cNvSpPr/>
            <p:nvPr/>
          </p:nvSpPr>
          <p:spPr>
            <a:xfrm>
              <a:off x="2378833" y="1717013"/>
              <a:ext cx="543" cy="109"/>
            </a:xfrm>
            <a:custGeom>
              <a:avLst/>
              <a:gdLst/>
              <a:ahLst/>
              <a:cxnLst/>
              <a:rect l="l" t="t" r="r" b="b"/>
              <a:pathLst>
                <a:path w="40" h="8" extrusionOk="0">
                  <a:moveTo>
                    <a:pt x="1" y="0"/>
                  </a:moveTo>
                  <a:lnTo>
                    <a:pt x="39" y="7"/>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758" name="Google Shape;6758;p104"/>
            <p:cNvSpPr/>
            <p:nvPr/>
          </p:nvSpPr>
          <p:spPr>
            <a:xfrm>
              <a:off x="2377937" y="1716864"/>
              <a:ext cx="584" cy="68"/>
            </a:xfrm>
            <a:custGeom>
              <a:avLst/>
              <a:gdLst/>
              <a:ahLst/>
              <a:cxnLst/>
              <a:rect l="l" t="t" r="r" b="b"/>
              <a:pathLst>
                <a:path w="43" h="5" extrusionOk="0">
                  <a:moveTo>
                    <a:pt x="0" y="1"/>
                  </a:moveTo>
                  <a:lnTo>
                    <a:pt x="42" y="4"/>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759" name="Google Shape;6759;p104"/>
            <p:cNvSpPr/>
            <p:nvPr/>
          </p:nvSpPr>
          <p:spPr>
            <a:xfrm>
              <a:off x="2375561" y="1716633"/>
              <a:ext cx="584" cy="14"/>
            </a:xfrm>
            <a:custGeom>
              <a:avLst/>
              <a:gdLst/>
              <a:ahLst/>
              <a:cxnLst/>
              <a:rect l="l" t="t" r="r" b="b"/>
              <a:pathLst>
                <a:path w="43" h="1" extrusionOk="0">
                  <a:moveTo>
                    <a:pt x="0" y="0"/>
                  </a:moveTo>
                  <a:lnTo>
                    <a:pt x="42"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760" name="Google Shape;6760;p104"/>
            <p:cNvSpPr/>
            <p:nvPr/>
          </p:nvSpPr>
          <p:spPr>
            <a:xfrm>
              <a:off x="2379784" y="1717203"/>
              <a:ext cx="299" cy="54"/>
            </a:xfrm>
            <a:custGeom>
              <a:avLst/>
              <a:gdLst/>
              <a:ahLst/>
              <a:cxnLst/>
              <a:rect l="l" t="t" r="r" b="b"/>
              <a:pathLst>
                <a:path w="22" h="4" extrusionOk="0">
                  <a:moveTo>
                    <a:pt x="22" y="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761" name="Google Shape;6761;p104"/>
            <p:cNvSpPr/>
            <p:nvPr/>
          </p:nvSpPr>
          <p:spPr>
            <a:xfrm>
              <a:off x="2368134" y="1717773"/>
              <a:ext cx="828" cy="149"/>
            </a:xfrm>
            <a:custGeom>
              <a:avLst/>
              <a:gdLst/>
              <a:ahLst/>
              <a:cxnLst/>
              <a:rect l="l" t="t" r="r" b="b"/>
              <a:pathLst>
                <a:path w="61" h="11" extrusionOk="0">
                  <a:moveTo>
                    <a:pt x="1" y="11"/>
                  </a:moveTo>
                  <a:lnTo>
                    <a:pt x="60"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762" name="Google Shape;6762;p104"/>
            <p:cNvSpPr/>
            <p:nvPr/>
          </p:nvSpPr>
          <p:spPr>
            <a:xfrm>
              <a:off x="2374896" y="1716633"/>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763" name="Google Shape;6763;p104"/>
            <p:cNvSpPr/>
            <p:nvPr/>
          </p:nvSpPr>
          <p:spPr>
            <a:xfrm>
              <a:off x="2369234" y="1717488"/>
              <a:ext cx="964" cy="244"/>
            </a:xfrm>
            <a:custGeom>
              <a:avLst/>
              <a:gdLst/>
              <a:ahLst/>
              <a:cxnLst/>
              <a:rect l="l" t="t" r="r" b="b"/>
              <a:pathLst>
                <a:path w="71" h="18" extrusionOk="0">
                  <a:moveTo>
                    <a:pt x="0" y="18"/>
                  </a:moveTo>
                  <a:lnTo>
                    <a:pt x="71"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764" name="Google Shape;6764;p104"/>
            <p:cNvSpPr/>
            <p:nvPr/>
          </p:nvSpPr>
          <p:spPr>
            <a:xfrm>
              <a:off x="2374176" y="1716633"/>
              <a:ext cx="638" cy="54"/>
            </a:xfrm>
            <a:custGeom>
              <a:avLst/>
              <a:gdLst/>
              <a:ahLst/>
              <a:cxnLst/>
              <a:rect l="l" t="t" r="r" b="b"/>
              <a:pathLst>
                <a:path w="47" h="4" extrusionOk="0">
                  <a:moveTo>
                    <a:pt x="46" y="0"/>
                  </a:moveTo>
                  <a:cubicBezTo>
                    <a:pt x="29" y="0"/>
                    <a:pt x="15" y="0"/>
                    <a:pt x="1" y="4"/>
                  </a:cubicBezTo>
                  <a:cubicBezTo>
                    <a:pt x="15" y="4"/>
                    <a:pt x="29" y="0"/>
                    <a:pt x="46"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765" name="Google Shape;6765;p104"/>
            <p:cNvSpPr/>
            <p:nvPr/>
          </p:nvSpPr>
          <p:spPr>
            <a:xfrm>
              <a:off x="2374611" y="1725051"/>
              <a:ext cx="149" cy="109"/>
            </a:xfrm>
            <a:custGeom>
              <a:avLst/>
              <a:gdLst/>
              <a:ahLst/>
              <a:cxnLst/>
              <a:rect l="l" t="t" r="r" b="b"/>
              <a:pathLst>
                <a:path w="11" h="8" extrusionOk="0">
                  <a:moveTo>
                    <a:pt x="0" y="0"/>
                  </a:moveTo>
                  <a:lnTo>
                    <a:pt x="11" y="7"/>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766" name="Google Shape;6766;p104"/>
            <p:cNvSpPr/>
            <p:nvPr/>
          </p:nvSpPr>
          <p:spPr>
            <a:xfrm>
              <a:off x="2375656" y="1726857"/>
              <a:ext cx="244" cy="530"/>
            </a:xfrm>
            <a:custGeom>
              <a:avLst/>
              <a:gdLst/>
              <a:ahLst/>
              <a:cxnLst/>
              <a:rect l="l" t="t" r="r" b="b"/>
              <a:pathLst>
                <a:path w="18" h="39" extrusionOk="0">
                  <a:moveTo>
                    <a:pt x="18" y="39"/>
                  </a:moveTo>
                  <a:cubicBezTo>
                    <a:pt x="11" y="25"/>
                    <a:pt x="7" y="14"/>
                    <a:pt x="0" y="0"/>
                  </a:cubicBezTo>
                  <a:cubicBezTo>
                    <a:pt x="7" y="14"/>
                    <a:pt x="11" y="25"/>
                    <a:pt x="18" y="39"/>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767" name="Google Shape;6767;p104"/>
            <p:cNvSpPr/>
            <p:nvPr/>
          </p:nvSpPr>
          <p:spPr>
            <a:xfrm>
              <a:off x="2374461" y="1724901"/>
              <a:ext cx="163" cy="109"/>
            </a:xfrm>
            <a:custGeom>
              <a:avLst/>
              <a:gdLst/>
              <a:ahLst/>
              <a:cxnLst/>
              <a:rect l="l" t="t" r="r" b="b"/>
              <a:pathLst>
                <a:path w="12" h="8" extrusionOk="0">
                  <a:moveTo>
                    <a:pt x="11" y="8"/>
                  </a:moveTo>
                  <a:lnTo>
                    <a:pt x="1"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768" name="Google Shape;6768;p104"/>
            <p:cNvSpPr/>
            <p:nvPr/>
          </p:nvSpPr>
          <p:spPr>
            <a:xfrm>
              <a:off x="2374896" y="1725377"/>
              <a:ext cx="149" cy="258"/>
            </a:xfrm>
            <a:custGeom>
              <a:avLst/>
              <a:gdLst/>
              <a:ahLst/>
              <a:cxnLst/>
              <a:rect l="l" t="t" r="r" b="b"/>
              <a:pathLst>
                <a:path w="11" h="19" extrusionOk="0">
                  <a:moveTo>
                    <a:pt x="11" y="1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769" name="Google Shape;6769;p104"/>
            <p:cNvSpPr/>
            <p:nvPr/>
          </p:nvSpPr>
          <p:spPr>
            <a:xfrm>
              <a:off x="2374746" y="1725187"/>
              <a:ext cx="163" cy="163"/>
            </a:xfrm>
            <a:custGeom>
              <a:avLst/>
              <a:gdLst/>
              <a:ahLst/>
              <a:cxnLst/>
              <a:rect l="l" t="t" r="r" b="b"/>
              <a:pathLst>
                <a:path w="12" h="12" extrusionOk="0">
                  <a:moveTo>
                    <a:pt x="11" y="1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770" name="Google Shape;6770;p104"/>
            <p:cNvSpPr/>
            <p:nvPr/>
          </p:nvSpPr>
          <p:spPr>
            <a:xfrm>
              <a:off x="2375466" y="1726381"/>
              <a:ext cx="204" cy="434"/>
            </a:xfrm>
            <a:custGeom>
              <a:avLst/>
              <a:gdLst/>
              <a:ahLst/>
              <a:cxnLst/>
              <a:rect l="l" t="t" r="r" b="b"/>
              <a:pathLst>
                <a:path w="15" h="32" extrusionOk="0">
                  <a:moveTo>
                    <a:pt x="14" y="32"/>
                  </a:moveTo>
                  <a:cubicBezTo>
                    <a:pt x="7" y="18"/>
                    <a:pt x="4" y="7"/>
                    <a:pt x="0" y="0"/>
                  </a:cubicBezTo>
                  <a:cubicBezTo>
                    <a:pt x="4" y="7"/>
                    <a:pt x="7" y="18"/>
                    <a:pt x="14" y="32"/>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771" name="Google Shape;6771;p104"/>
            <p:cNvSpPr/>
            <p:nvPr/>
          </p:nvSpPr>
          <p:spPr>
            <a:xfrm>
              <a:off x="2375276" y="1725947"/>
              <a:ext cx="149" cy="394"/>
            </a:xfrm>
            <a:custGeom>
              <a:avLst/>
              <a:gdLst/>
              <a:ahLst/>
              <a:cxnLst/>
              <a:rect l="l" t="t" r="r" b="b"/>
              <a:pathLst>
                <a:path w="11" h="29" extrusionOk="0">
                  <a:moveTo>
                    <a:pt x="11" y="29"/>
                  </a:moveTo>
                  <a:cubicBezTo>
                    <a:pt x="7" y="18"/>
                    <a:pt x="4" y="8"/>
                    <a:pt x="0" y="1"/>
                  </a:cubicBezTo>
                  <a:cubicBezTo>
                    <a:pt x="4" y="8"/>
                    <a:pt x="7" y="18"/>
                    <a:pt x="11" y="29"/>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772" name="Google Shape;6772;p104"/>
            <p:cNvSpPr/>
            <p:nvPr/>
          </p:nvSpPr>
          <p:spPr>
            <a:xfrm>
              <a:off x="2375086" y="1725662"/>
              <a:ext cx="149" cy="299"/>
            </a:xfrm>
            <a:custGeom>
              <a:avLst/>
              <a:gdLst/>
              <a:ahLst/>
              <a:cxnLst/>
              <a:rect l="l" t="t" r="r" b="b"/>
              <a:pathLst>
                <a:path w="11" h="22" extrusionOk="0">
                  <a:moveTo>
                    <a:pt x="11" y="22"/>
                  </a:moveTo>
                  <a:cubicBezTo>
                    <a:pt x="7" y="11"/>
                    <a:pt x="4" y="4"/>
                    <a:pt x="0" y="1"/>
                  </a:cubicBezTo>
                  <a:cubicBezTo>
                    <a:pt x="4" y="4"/>
                    <a:pt x="7" y="11"/>
                    <a:pt x="11" y="22"/>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773" name="Google Shape;6773;p104"/>
            <p:cNvSpPr/>
            <p:nvPr/>
          </p:nvSpPr>
          <p:spPr>
            <a:xfrm>
              <a:off x="2367944" y="1717963"/>
              <a:ext cx="1113" cy="4901"/>
            </a:xfrm>
            <a:custGeom>
              <a:avLst/>
              <a:gdLst/>
              <a:ahLst/>
              <a:cxnLst/>
              <a:rect l="l" t="t" r="r" b="b"/>
              <a:pathLst>
                <a:path w="82" h="361" extrusionOk="0">
                  <a:moveTo>
                    <a:pt x="1" y="0"/>
                  </a:moveTo>
                  <a:cubicBezTo>
                    <a:pt x="18" y="49"/>
                    <a:pt x="32" y="98"/>
                    <a:pt x="32" y="151"/>
                  </a:cubicBezTo>
                  <a:cubicBezTo>
                    <a:pt x="39" y="224"/>
                    <a:pt x="53" y="294"/>
                    <a:pt x="81" y="361"/>
                  </a:cubicBezTo>
                  <a:cubicBezTo>
                    <a:pt x="53" y="294"/>
                    <a:pt x="39" y="224"/>
                    <a:pt x="36" y="151"/>
                  </a:cubicBezTo>
                  <a:cubicBezTo>
                    <a:pt x="32" y="98"/>
                    <a:pt x="22" y="49"/>
                    <a:pt x="1"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774" name="Google Shape;6774;p104"/>
            <p:cNvSpPr/>
            <p:nvPr/>
          </p:nvSpPr>
          <p:spPr>
            <a:xfrm>
              <a:off x="2376702" y="1727617"/>
              <a:ext cx="339" cy="109"/>
            </a:xfrm>
            <a:custGeom>
              <a:avLst/>
              <a:gdLst/>
              <a:ahLst/>
              <a:cxnLst/>
              <a:rect l="l" t="t" r="r" b="b"/>
              <a:pathLst>
                <a:path w="25" h="8" extrusionOk="0">
                  <a:moveTo>
                    <a:pt x="25" y="7"/>
                  </a:moveTo>
                  <a:lnTo>
                    <a:pt x="0"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775" name="Google Shape;6775;p104"/>
            <p:cNvSpPr/>
            <p:nvPr/>
          </p:nvSpPr>
          <p:spPr>
            <a:xfrm>
              <a:off x="2377177" y="1727753"/>
              <a:ext cx="244" cy="163"/>
            </a:xfrm>
            <a:custGeom>
              <a:avLst/>
              <a:gdLst/>
              <a:ahLst/>
              <a:cxnLst/>
              <a:rect l="l" t="t" r="r" b="b"/>
              <a:pathLst>
                <a:path w="18" h="12" extrusionOk="0">
                  <a:moveTo>
                    <a:pt x="18" y="1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776" name="Google Shape;6776;p104"/>
            <p:cNvSpPr/>
            <p:nvPr/>
          </p:nvSpPr>
          <p:spPr>
            <a:xfrm>
              <a:off x="2377462" y="1727943"/>
              <a:ext cx="299" cy="204"/>
            </a:xfrm>
            <a:custGeom>
              <a:avLst/>
              <a:gdLst/>
              <a:ahLst/>
              <a:cxnLst/>
              <a:rect l="l" t="t" r="r" b="b"/>
              <a:pathLst>
                <a:path w="22" h="15" extrusionOk="0">
                  <a:moveTo>
                    <a:pt x="21" y="15"/>
                  </a:moveTo>
                  <a:cubicBezTo>
                    <a:pt x="14" y="11"/>
                    <a:pt x="7" y="8"/>
                    <a:pt x="0" y="1"/>
                  </a:cubicBezTo>
                  <a:cubicBezTo>
                    <a:pt x="7" y="8"/>
                    <a:pt x="14" y="11"/>
                    <a:pt x="21" y="15"/>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777" name="Google Shape;6777;p104"/>
            <p:cNvSpPr/>
            <p:nvPr/>
          </p:nvSpPr>
          <p:spPr>
            <a:xfrm>
              <a:off x="2376131" y="1727468"/>
              <a:ext cx="489" cy="109"/>
            </a:xfrm>
            <a:custGeom>
              <a:avLst/>
              <a:gdLst/>
              <a:ahLst/>
              <a:cxnLst/>
              <a:rect l="l" t="t" r="r" b="b"/>
              <a:pathLst>
                <a:path w="36" h="8" extrusionOk="0">
                  <a:moveTo>
                    <a:pt x="0" y="1"/>
                  </a:moveTo>
                  <a:cubicBezTo>
                    <a:pt x="11" y="1"/>
                    <a:pt x="25" y="4"/>
                    <a:pt x="35" y="8"/>
                  </a:cubicBezTo>
                  <a:cubicBezTo>
                    <a:pt x="25" y="4"/>
                    <a:pt x="11" y="1"/>
                    <a:pt x="0" y="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778" name="Google Shape;6778;p104"/>
            <p:cNvSpPr/>
            <p:nvPr/>
          </p:nvSpPr>
          <p:spPr>
            <a:xfrm>
              <a:off x="2377937" y="1728323"/>
              <a:ext cx="54" cy="14"/>
            </a:xfrm>
            <a:custGeom>
              <a:avLst/>
              <a:gdLst/>
              <a:ahLst/>
              <a:cxnLst/>
              <a:rect l="l" t="t" r="r" b="b"/>
              <a:pathLst>
                <a:path w="4" h="1" extrusionOk="0">
                  <a:moveTo>
                    <a:pt x="0" y="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779" name="Google Shape;6779;p104"/>
            <p:cNvSpPr/>
            <p:nvPr/>
          </p:nvSpPr>
          <p:spPr>
            <a:xfrm>
              <a:off x="2381169" y="1711881"/>
              <a:ext cx="32763" cy="27725"/>
            </a:xfrm>
            <a:custGeom>
              <a:avLst/>
              <a:gdLst/>
              <a:ahLst/>
              <a:cxnLst/>
              <a:rect l="l" t="t" r="r" b="b"/>
              <a:pathLst>
                <a:path w="2413" h="2042" extrusionOk="0">
                  <a:moveTo>
                    <a:pt x="676" y="0"/>
                  </a:moveTo>
                  <a:lnTo>
                    <a:pt x="665" y="14"/>
                  </a:lnTo>
                  <a:lnTo>
                    <a:pt x="662" y="21"/>
                  </a:lnTo>
                  <a:lnTo>
                    <a:pt x="648" y="35"/>
                  </a:lnTo>
                  <a:lnTo>
                    <a:pt x="648" y="39"/>
                  </a:lnTo>
                  <a:lnTo>
                    <a:pt x="637" y="56"/>
                  </a:lnTo>
                  <a:lnTo>
                    <a:pt x="634" y="60"/>
                  </a:lnTo>
                  <a:lnTo>
                    <a:pt x="630" y="67"/>
                  </a:lnTo>
                  <a:lnTo>
                    <a:pt x="627" y="70"/>
                  </a:lnTo>
                  <a:lnTo>
                    <a:pt x="623" y="77"/>
                  </a:lnTo>
                  <a:lnTo>
                    <a:pt x="623" y="81"/>
                  </a:lnTo>
                  <a:lnTo>
                    <a:pt x="620" y="88"/>
                  </a:lnTo>
                  <a:lnTo>
                    <a:pt x="620" y="91"/>
                  </a:lnTo>
                  <a:lnTo>
                    <a:pt x="616" y="95"/>
                  </a:lnTo>
                  <a:cubicBezTo>
                    <a:pt x="637" y="116"/>
                    <a:pt x="662" y="137"/>
                    <a:pt x="690" y="154"/>
                  </a:cubicBezTo>
                  <a:cubicBezTo>
                    <a:pt x="749" y="203"/>
                    <a:pt x="812" y="249"/>
                    <a:pt x="816" y="319"/>
                  </a:cubicBezTo>
                  <a:cubicBezTo>
                    <a:pt x="819" y="354"/>
                    <a:pt x="805" y="385"/>
                    <a:pt x="781" y="410"/>
                  </a:cubicBezTo>
                  <a:cubicBezTo>
                    <a:pt x="725" y="466"/>
                    <a:pt x="637" y="476"/>
                    <a:pt x="571" y="476"/>
                  </a:cubicBezTo>
                  <a:cubicBezTo>
                    <a:pt x="469" y="476"/>
                    <a:pt x="336" y="445"/>
                    <a:pt x="266" y="378"/>
                  </a:cubicBezTo>
                  <a:cubicBezTo>
                    <a:pt x="198" y="310"/>
                    <a:pt x="67" y="249"/>
                    <a:pt x="15" y="249"/>
                  </a:cubicBezTo>
                  <a:cubicBezTo>
                    <a:pt x="13" y="249"/>
                    <a:pt x="12" y="249"/>
                    <a:pt x="11" y="249"/>
                  </a:cubicBezTo>
                  <a:lnTo>
                    <a:pt x="0" y="249"/>
                  </a:lnTo>
                  <a:cubicBezTo>
                    <a:pt x="7" y="266"/>
                    <a:pt x="14" y="287"/>
                    <a:pt x="25" y="301"/>
                  </a:cubicBezTo>
                  <a:cubicBezTo>
                    <a:pt x="39" y="326"/>
                    <a:pt x="56" y="354"/>
                    <a:pt x="74" y="382"/>
                  </a:cubicBezTo>
                  <a:cubicBezTo>
                    <a:pt x="137" y="476"/>
                    <a:pt x="207" y="574"/>
                    <a:pt x="182" y="669"/>
                  </a:cubicBezTo>
                  <a:cubicBezTo>
                    <a:pt x="172" y="704"/>
                    <a:pt x="217" y="767"/>
                    <a:pt x="259" y="823"/>
                  </a:cubicBezTo>
                  <a:cubicBezTo>
                    <a:pt x="315" y="900"/>
                    <a:pt x="378" y="988"/>
                    <a:pt x="378" y="1089"/>
                  </a:cubicBezTo>
                  <a:cubicBezTo>
                    <a:pt x="378" y="1142"/>
                    <a:pt x="466" y="1208"/>
                    <a:pt x="536" y="1261"/>
                  </a:cubicBezTo>
                  <a:cubicBezTo>
                    <a:pt x="630" y="1334"/>
                    <a:pt x="718" y="1401"/>
                    <a:pt x="718" y="1495"/>
                  </a:cubicBezTo>
                  <a:cubicBezTo>
                    <a:pt x="718" y="1495"/>
                    <a:pt x="718" y="1499"/>
                    <a:pt x="718" y="1502"/>
                  </a:cubicBezTo>
                  <a:lnTo>
                    <a:pt x="718" y="1506"/>
                  </a:lnTo>
                  <a:lnTo>
                    <a:pt x="718" y="1513"/>
                  </a:lnTo>
                  <a:lnTo>
                    <a:pt x="718" y="1520"/>
                  </a:lnTo>
                  <a:lnTo>
                    <a:pt x="721" y="1530"/>
                  </a:lnTo>
                  <a:lnTo>
                    <a:pt x="721" y="1537"/>
                  </a:lnTo>
                  <a:lnTo>
                    <a:pt x="725" y="1551"/>
                  </a:lnTo>
                  <a:lnTo>
                    <a:pt x="732" y="1562"/>
                  </a:lnTo>
                  <a:lnTo>
                    <a:pt x="739" y="1579"/>
                  </a:lnTo>
                  <a:lnTo>
                    <a:pt x="742" y="1593"/>
                  </a:lnTo>
                  <a:lnTo>
                    <a:pt x="753" y="1618"/>
                  </a:lnTo>
                  <a:lnTo>
                    <a:pt x="760" y="1632"/>
                  </a:lnTo>
                  <a:cubicBezTo>
                    <a:pt x="767" y="1642"/>
                    <a:pt x="770" y="1656"/>
                    <a:pt x="777" y="1667"/>
                  </a:cubicBezTo>
                  <a:lnTo>
                    <a:pt x="784" y="1677"/>
                  </a:lnTo>
                  <a:lnTo>
                    <a:pt x="784" y="1681"/>
                  </a:lnTo>
                  <a:cubicBezTo>
                    <a:pt x="907" y="1618"/>
                    <a:pt x="1026" y="1541"/>
                    <a:pt x="1138" y="1457"/>
                  </a:cubicBezTo>
                  <a:cubicBezTo>
                    <a:pt x="1197" y="1418"/>
                    <a:pt x="1250" y="1380"/>
                    <a:pt x="1303" y="1345"/>
                  </a:cubicBezTo>
                  <a:cubicBezTo>
                    <a:pt x="1331" y="1331"/>
                    <a:pt x="1355" y="1313"/>
                    <a:pt x="1380" y="1303"/>
                  </a:cubicBezTo>
                  <a:cubicBezTo>
                    <a:pt x="1387" y="1299"/>
                    <a:pt x="1394" y="1296"/>
                    <a:pt x="1401" y="1292"/>
                  </a:cubicBezTo>
                  <a:cubicBezTo>
                    <a:pt x="1424" y="1280"/>
                    <a:pt x="1448" y="1274"/>
                    <a:pt x="1473" y="1274"/>
                  </a:cubicBezTo>
                  <a:cubicBezTo>
                    <a:pt x="1511" y="1274"/>
                    <a:pt x="1549" y="1289"/>
                    <a:pt x="1579" y="1317"/>
                  </a:cubicBezTo>
                  <a:cubicBezTo>
                    <a:pt x="1695" y="1432"/>
                    <a:pt x="1621" y="1772"/>
                    <a:pt x="1583" y="1870"/>
                  </a:cubicBezTo>
                  <a:cubicBezTo>
                    <a:pt x="1586" y="1877"/>
                    <a:pt x="1593" y="1880"/>
                    <a:pt x="1597" y="1887"/>
                  </a:cubicBezTo>
                  <a:lnTo>
                    <a:pt x="1604" y="1891"/>
                  </a:lnTo>
                  <a:lnTo>
                    <a:pt x="1618" y="1905"/>
                  </a:lnTo>
                  <a:lnTo>
                    <a:pt x="1628" y="1915"/>
                  </a:lnTo>
                  <a:lnTo>
                    <a:pt x="1649" y="1929"/>
                  </a:lnTo>
                  <a:lnTo>
                    <a:pt x="1660" y="1940"/>
                  </a:lnTo>
                  <a:lnTo>
                    <a:pt x="1688" y="1957"/>
                  </a:lnTo>
                  <a:lnTo>
                    <a:pt x="1702" y="1964"/>
                  </a:lnTo>
                  <a:lnTo>
                    <a:pt x="1740" y="1989"/>
                  </a:lnTo>
                  <a:lnTo>
                    <a:pt x="1747" y="1992"/>
                  </a:lnTo>
                  <a:cubicBezTo>
                    <a:pt x="1761" y="2003"/>
                    <a:pt x="1779" y="2010"/>
                    <a:pt x="1796" y="2020"/>
                  </a:cubicBezTo>
                  <a:lnTo>
                    <a:pt x="1814" y="2027"/>
                  </a:lnTo>
                  <a:lnTo>
                    <a:pt x="1845" y="2041"/>
                  </a:lnTo>
                  <a:cubicBezTo>
                    <a:pt x="1856" y="1943"/>
                    <a:pt x="1891" y="1852"/>
                    <a:pt x="1954" y="1775"/>
                  </a:cubicBezTo>
                  <a:cubicBezTo>
                    <a:pt x="2216" y="1450"/>
                    <a:pt x="2412" y="942"/>
                    <a:pt x="2269" y="683"/>
                  </a:cubicBezTo>
                  <a:cubicBezTo>
                    <a:pt x="2216" y="585"/>
                    <a:pt x="2052" y="382"/>
                    <a:pt x="1877" y="168"/>
                  </a:cubicBezTo>
                  <a:lnTo>
                    <a:pt x="1849" y="137"/>
                  </a:lnTo>
                  <a:lnTo>
                    <a:pt x="1849" y="140"/>
                  </a:lnTo>
                  <a:cubicBezTo>
                    <a:pt x="1842" y="147"/>
                    <a:pt x="1835" y="154"/>
                    <a:pt x="1831" y="158"/>
                  </a:cubicBezTo>
                  <a:lnTo>
                    <a:pt x="1824" y="165"/>
                  </a:lnTo>
                  <a:cubicBezTo>
                    <a:pt x="1817" y="172"/>
                    <a:pt x="1810" y="175"/>
                    <a:pt x="1803" y="182"/>
                  </a:cubicBezTo>
                  <a:lnTo>
                    <a:pt x="1800" y="186"/>
                  </a:lnTo>
                  <a:lnTo>
                    <a:pt x="1779" y="200"/>
                  </a:lnTo>
                  <a:lnTo>
                    <a:pt x="1775" y="200"/>
                  </a:lnTo>
                  <a:lnTo>
                    <a:pt x="1751" y="214"/>
                  </a:lnTo>
                  <a:lnTo>
                    <a:pt x="1747" y="214"/>
                  </a:lnTo>
                  <a:lnTo>
                    <a:pt x="1726" y="224"/>
                  </a:lnTo>
                  <a:lnTo>
                    <a:pt x="1719" y="228"/>
                  </a:lnTo>
                  <a:lnTo>
                    <a:pt x="1695" y="235"/>
                  </a:lnTo>
                  <a:lnTo>
                    <a:pt x="1674" y="245"/>
                  </a:lnTo>
                  <a:lnTo>
                    <a:pt x="1667" y="245"/>
                  </a:lnTo>
                  <a:lnTo>
                    <a:pt x="1646" y="252"/>
                  </a:lnTo>
                  <a:cubicBezTo>
                    <a:pt x="1604" y="266"/>
                    <a:pt x="1558" y="280"/>
                    <a:pt x="1548" y="301"/>
                  </a:cubicBezTo>
                  <a:cubicBezTo>
                    <a:pt x="1537" y="336"/>
                    <a:pt x="1509" y="364"/>
                    <a:pt x="1474" y="382"/>
                  </a:cubicBezTo>
                  <a:cubicBezTo>
                    <a:pt x="1467" y="385"/>
                    <a:pt x="1460" y="385"/>
                    <a:pt x="1453" y="389"/>
                  </a:cubicBezTo>
                  <a:lnTo>
                    <a:pt x="1397" y="389"/>
                  </a:lnTo>
                  <a:cubicBezTo>
                    <a:pt x="1387" y="385"/>
                    <a:pt x="1380" y="385"/>
                    <a:pt x="1373" y="382"/>
                  </a:cubicBezTo>
                  <a:lnTo>
                    <a:pt x="1366" y="382"/>
                  </a:lnTo>
                  <a:lnTo>
                    <a:pt x="1348" y="375"/>
                  </a:lnTo>
                  <a:lnTo>
                    <a:pt x="1338" y="371"/>
                  </a:lnTo>
                  <a:lnTo>
                    <a:pt x="1317" y="361"/>
                  </a:lnTo>
                  <a:lnTo>
                    <a:pt x="1303" y="357"/>
                  </a:lnTo>
                  <a:cubicBezTo>
                    <a:pt x="1292" y="350"/>
                    <a:pt x="1278" y="343"/>
                    <a:pt x="1264" y="343"/>
                  </a:cubicBezTo>
                  <a:cubicBezTo>
                    <a:pt x="1254" y="346"/>
                    <a:pt x="1245" y="348"/>
                    <a:pt x="1236" y="348"/>
                  </a:cubicBezTo>
                  <a:cubicBezTo>
                    <a:pt x="1177" y="348"/>
                    <a:pt x="1123" y="293"/>
                    <a:pt x="1050" y="221"/>
                  </a:cubicBezTo>
                  <a:cubicBezTo>
                    <a:pt x="984" y="151"/>
                    <a:pt x="896" y="63"/>
                    <a:pt x="823" y="53"/>
                  </a:cubicBezTo>
                  <a:cubicBezTo>
                    <a:pt x="812" y="49"/>
                    <a:pt x="798" y="49"/>
                    <a:pt x="788" y="46"/>
                  </a:cubicBezTo>
                  <a:lnTo>
                    <a:pt x="774" y="42"/>
                  </a:lnTo>
                  <a:lnTo>
                    <a:pt x="749" y="35"/>
                  </a:lnTo>
                  <a:lnTo>
                    <a:pt x="721" y="21"/>
                  </a:lnTo>
                  <a:lnTo>
                    <a:pt x="714" y="18"/>
                  </a:lnTo>
                  <a:cubicBezTo>
                    <a:pt x="704" y="14"/>
                    <a:pt x="690" y="7"/>
                    <a:pt x="676"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780" name="Google Shape;6780;p104"/>
            <p:cNvSpPr/>
            <p:nvPr/>
          </p:nvSpPr>
          <p:spPr>
            <a:xfrm>
              <a:off x="2379363" y="1731459"/>
              <a:ext cx="6517" cy="4535"/>
            </a:xfrm>
            <a:custGeom>
              <a:avLst/>
              <a:gdLst/>
              <a:ahLst/>
              <a:cxnLst/>
              <a:rect l="l" t="t" r="r" b="b"/>
              <a:pathLst>
                <a:path w="480" h="334" extrusionOk="0">
                  <a:moveTo>
                    <a:pt x="0" y="1"/>
                  </a:moveTo>
                  <a:cubicBezTo>
                    <a:pt x="0" y="8"/>
                    <a:pt x="4" y="15"/>
                    <a:pt x="7" y="22"/>
                  </a:cubicBezTo>
                  <a:lnTo>
                    <a:pt x="11" y="25"/>
                  </a:lnTo>
                  <a:cubicBezTo>
                    <a:pt x="11" y="32"/>
                    <a:pt x="14" y="36"/>
                    <a:pt x="18" y="43"/>
                  </a:cubicBezTo>
                  <a:lnTo>
                    <a:pt x="21" y="50"/>
                  </a:lnTo>
                  <a:cubicBezTo>
                    <a:pt x="25" y="53"/>
                    <a:pt x="28" y="60"/>
                    <a:pt x="32" y="64"/>
                  </a:cubicBezTo>
                  <a:lnTo>
                    <a:pt x="35" y="67"/>
                  </a:lnTo>
                  <a:cubicBezTo>
                    <a:pt x="39" y="74"/>
                    <a:pt x="46" y="81"/>
                    <a:pt x="53" y="85"/>
                  </a:cubicBezTo>
                  <a:lnTo>
                    <a:pt x="56" y="92"/>
                  </a:lnTo>
                  <a:lnTo>
                    <a:pt x="74" y="102"/>
                  </a:lnTo>
                  <a:lnTo>
                    <a:pt x="81" y="106"/>
                  </a:lnTo>
                  <a:cubicBezTo>
                    <a:pt x="88" y="113"/>
                    <a:pt x="98" y="116"/>
                    <a:pt x="105" y="120"/>
                  </a:cubicBezTo>
                  <a:cubicBezTo>
                    <a:pt x="158" y="137"/>
                    <a:pt x="203" y="176"/>
                    <a:pt x="228" y="225"/>
                  </a:cubicBezTo>
                  <a:cubicBezTo>
                    <a:pt x="238" y="246"/>
                    <a:pt x="242" y="267"/>
                    <a:pt x="238" y="288"/>
                  </a:cubicBezTo>
                  <a:cubicBezTo>
                    <a:pt x="308" y="309"/>
                    <a:pt x="382" y="326"/>
                    <a:pt x="455" y="330"/>
                  </a:cubicBezTo>
                  <a:lnTo>
                    <a:pt x="480" y="333"/>
                  </a:lnTo>
                  <a:cubicBezTo>
                    <a:pt x="480" y="326"/>
                    <a:pt x="476" y="323"/>
                    <a:pt x="476" y="319"/>
                  </a:cubicBezTo>
                  <a:lnTo>
                    <a:pt x="476" y="316"/>
                  </a:lnTo>
                  <a:cubicBezTo>
                    <a:pt x="473" y="302"/>
                    <a:pt x="469" y="291"/>
                    <a:pt x="466" y="281"/>
                  </a:cubicBezTo>
                  <a:lnTo>
                    <a:pt x="466" y="277"/>
                  </a:lnTo>
                  <a:cubicBezTo>
                    <a:pt x="459" y="267"/>
                    <a:pt x="452" y="253"/>
                    <a:pt x="445" y="242"/>
                  </a:cubicBezTo>
                  <a:lnTo>
                    <a:pt x="441" y="239"/>
                  </a:lnTo>
                  <a:cubicBezTo>
                    <a:pt x="431" y="225"/>
                    <a:pt x="420" y="207"/>
                    <a:pt x="403" y="190"/>
                  </a:cubicBezTo>
                  <a:lnTo>
                    <a:pt x="399" y="183"/>
                  </a:lnTo>
                  <a:lnTo>
                    <a:pt x="371" y="155"/>
                  </a:lnTo>
                  <a:cubicBezTo>
                    <a:pt x="316" y="94"/>
                    <a:pt x="287" y="83"/>
                    <a:pt x="261" y="83"/>
                  </a:cubicBezTo>
                  <a:cubicBezTo>
                    <a:pt x="255" y="83"/>
                    <a:pt x="248" y="84"/>
                    <a:pt x="242" y="85"/>
                  </a:cubicBezTo>
                  <a:cubicBezTo>
                    <a:pt x="228" y="89"/>
                    <a:pt x="214" y="91"/>
                    <a:pt x="201" y="91"/>
                  </a:cubicBezTo>
                  <a:cubicBezTo>
                    <a:pt x="180" y="91"/>
                    <a:pt x="159" y="86"/>
                    <a:pt x="140" y="78"/>
                  </a:cubicBezTo>
                  <a:cubicBezTo>
                    <a:pt x="123" y="71"/>
                    <a:pt x="98" y="57"/>
                    <a:pt x="74" y="43"/>
                  </a:cubicBezTo>
                  <a:lnTo>
                    <a:pt x="35" y="22"/>
                  </a:lnTo>
                  <a:lnTo>
                    <a:pt x="25" y="11"/>
                  </a:lnTo>
                  <a:lnTo>
                    <a:pt x="0"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781" name="Google Shape;6781;p104"/>
            <p:cNvSpPr/>
            <p:nvPr/>
          </p:nvSpPr>
          <p:spPr>
            <a:xfrm>
              <a:off x="2389668" y="1712682"/>
              <a:ext cx="109" cy="109"/>
            </a:xfrm>
            <a:custGeom>
              <a:avLst/>
              <a:gdLst/>
              <a:ahLst/>
              <a:cxnLst/>
              <a:rect l="l" t="t" r="r" b="b"/>
              <a:pathLst>
                <a:path w="8" h="8" extrusionOk="0">
                  <a:moveTo>
                    <a:pt x="1" y="8"/>
                  </a:moveTo>
                  <a:lnTo>
                    <a:pt x="8"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782" name="Google Shape;6782;p104"/>
            <p:cNvSpPr/>
            <p:nvPr/>
          </p:nvSpPr>
          <p:spPr>
            <a:xfrm>
              <a:off x="2389953" y="1712111"/>
              <a:ext cx="204" cy="258"/>
            </a:xfrm>
            <a:custGeom>
              <a:avLst/>
              <a:gdLst/>
              <a:ahLst/>
              <a:cxnLst/>
              <a:rect l="l" t="t" r="r" b="b"/>
              <a:pathLst>
                <a:path w="15" h="19" extrusionOk="0">
                  <a:moveTo>
                    <a:pt x="1" y="18"/>
                  </a:moveTo>
                  <a:lnTo>
                    <a:pt x="15"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783" name="Google Shape;6783;p104"/>
            <p:cNvSpPr/>
            <p:nvPr/>
          </p:nvSpPr>
          <p:spPr>
            <a:xfrm>
              <a:off x="2389532" y="1713021"/>
              <a:ext cx="54" cy="54"/>
            </a:xfrm>
            <a:custGeom>
              <a:avLst/>
              <a:gdLst/>
              <a:ahLst/>
              <a:cxnLst/>
              <a:rect l="l" t="t" r="r" b="b"/>
              <a:pathLst>
                <a:path w="4" h="4" extrusionOk="0">
                  <a:moveTo>
                    <a:pt x="0" y="4"/>
                  </a:moveTo>
                  <a:lnTo>
                    <a:pt x="4"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784" name="Google Shape;6784;p104"/>
            <p:cNvSpPr/>
            <p:nvPr/>
          </p:nvSpPr>
          <p:spPr>
            <a:xfrm>
              <a:off x="2389573" y="1712872"/>
              <a:ext cx="68" cy="109"/>
            </a:xfrm>
            <a:custGeom>
              <a:avLst/>
              <a:gdLst/>
              <a:ahLst/>
              <a:cxnLst/>
              <a:rect l="l" t="t" r="r" b="b"/>
              <a:pathLst>
                <a:path w="5" h="8" extrusionOk="0">
                  <a:moveTo>
                    <a:pt x="1" y="8"/>
                  </a:moveTo>
                  <a:lnTo>
                    <a:pt x="4"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785" name="Google Shape;6785;p104"/>
            <p:cNvSpPr/>
            <p:nvPr/>
          </p:nvSpPr>
          <p:spPr>
            <a:xfrm>
              <a:off x="2389763" y="1712397"/>
              <a:ext cx="204" cy="258"/>
            </a:xfrm>
            <a:custGeom>
              <a:avLst/>
              <a:gdLst/>
              <a:ahLst/>
              <a:cxnLst/>
              <a:rect l="l" t="t" r="r" b="b"/>
              <a:pathLst>
                <a:path w="15" h="19" extrusionOk="0">
                  <a:moveTo>
                    <a:pt x="1" y="18"/>
                  </a:moveTo>
                  <a:lnTo>
                    <a:pt x="15"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786" name="Google Shape;6786;p104"/>
            <p:cNvSpPr/>
            <p:nvPr/>
          </p:nvSpPr>
          <p:spPr>
            <a:xfrm>
              <a:off x="2389478" y="1713116"/>
              <a:ext cx="14" cy="54"/>
            </a:xfrm>
            <a:custGeom>
              <a:avLst/>
              <a:gdLst/>
              <a:ahLst/>
              <a:cxnLst/>
              <a:rect l="l" t="t" r="r" b="b"/>
              <a:pathLst>
                <a:path w="1" h="4" extrusionOk="0">
                  <a:moveTo>
                    <a:pt x="1" y="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787" name="Google Shape;6787;p104"/>
            <p:cNvSpPr/>
            <p:nvPr/>
          </p:nvSpPr>
          <p:spPr>
            <a:xfrm>
              <a:off x="2381114" y="1715248"/>
              <a:ext cx="353" cy="774"/>
            </a:xfrm>
            <a:custGeom>
              <a:avLst/>
              <a:gdLst/>
              <a:ahLst/>
              <a:cxnLst/>
              <a:rect l="l" t="t" r="r" b="b"/>
              <a:pathLst>
                <a:path w="26" h="57" extrusionOk="0">
                  <a:moveTo>
                    <a:pt x="1" y="1"/>
                  </a:moveTo>
                  <a:cubicBezTo>
                    <a:pt x="1" y="11"/>
                    <a:pt x="4" y="22"/>
                    <a:pt x="11" y="32"/>
                  </a:cubicBezTo>
                  <a:lnTo>
                    <a:pt x="13" y="35"/>
                  </a:lnTo>
                  <a:lnTo>
                    <a:pt x="13" y="35"/>
                  </a:lnTo>
                  <a:cubicBezTo>
                    <a:pt x="7" y="25"/>
                    <a:pt x="3" y="13"/>
                    <a:pt x="1" y="1"/>
                  </a:cubicBezTo>
                  <a:close/>
                  <a:moveTo>
                    <a:pt x="13" y="35"/>
                  </a:moveTo>
                  <a:lnTo>
                    <a:pt x="13" y="35"/>
                  </a:lnTo>
                  <a:cubicBezTo>
                    <a:pt x="17" y="43"/>
                    <a:pt x="21" y="50"/>
                    <a:pt x="25" y="57"/>
                  </a:cubicBezTo>
                  <a:lnTo>
                    <a:pt x="13" y="35"/>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788" name="Google Shape;6788;p104"/>
            <p:cNvSpPr/>
            <p:nvPr/>
          </p:nvSpPr>
          <p:spPr>
            <a:xfrm>
              <a:off x="2381114" y="1715248"/>
              <a:ext cx="109" cy="14"/>
            </a:xfrm>
            <a:custGeom>
              <a:avLst/>
              <a:gdLst/>
              <a:ahLst/>
              <a:cxnLst/>
              <a:rect l="l" t="t" r="r" b="b"/>
              <a:pathLst>
                <a:path w="8" h="1" extrusionOk="0">
                  <a:moveTo>
                    <a:pt x="1" y="1"/>
                  </a:moveTo>
                  <a:lnTo>
                    <a:pt x="8"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789" name="Google Shape;6789;p104"/>
            <p:cNvSpPr/>
            <p:nvPr/>
          </p:nvSpPr>
          <p:spPr>
            <a:xfrm>
              <a:off x="2381209" y="1715248"/>
              <a:ext cx="3530" cy="1779"/>
            </a:xfrm>
            <a:custGeom>
              <a:avLst/>
              <a:gdLst/>
              <a:ahLst/>
              <a:cxnLst/>
              <a:rect l="l" t="t" r="r" b="b"/>
              <a:pathLst>
                <a:path w="260" h="131" extrusionOk="0">
                  <a:moveTo>
                    <a:pt x="1" y="1"/>
                  </a:moveTo>
                  <a:cubicBezTo>
                    <a:pt x="53" y="1"/>
                    <a:pt x="193" y="64"/>
                    <a:pt x="260" y="130"/>
                  </a:cubicBezTo>
                  <a:cubicBezTo>
                    <a:pt x="193" y="64"/>
                    <a:pt x="53" y="1"/>
                    <a:pt x="1" y="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790" name="Google Shape;6790;p104"/>
            <p:cNvSpPr/>
            <p:nvPr/>
          </p:nvSpPr>
          <p:spPr>
            <a:xfrm>
              <a:off x="2390198" y="1711921"/>
              <a:ext cx="149" cy="163"/>
            </a:xfrm>
            <a:custGeom>
              <a:avLst/>
              <a:gdLst/>
              <a:ahLst/>
              <a:cxnLst/>
              <a:rect l="l" t="t" r="r" b="b"/>
              <a:pathLst>
                <a:path w="11" h="12" extrusionOk="0">
                  <a:moveTo>
                    <a:pt x="11" y="1"/>
                  </a:moveTo>
                  <a:lnTo>
                    <a:pt x="0" y="11"/>
                  </a:lnTo>
                  <a:lnTo>
                    <a:pt x="11"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791" name="Google Shape;6791;p104"/>
            <p:cNvSpPr/>
            <p:nvPr/>
          </p:nvSpPr>
          <p:spPr>
            <a:xfrm>
              <a:off x="2379404" y="1731799"/>
              <a:ext cx="163" cy="244"/>
            </a:xfrm>
            <a:custGeom>
              <a:avLst/>
              <a:gdLst/>
              <a:ahLst/>
              <a:cxnLst/>
              <a:rect l="l" t="t" r="r" b="b"/>
              <a:pathLst>
                <a:path w="12" h="18" extrusionOk="0">
                  <a:moveTo>
                    <a:pt x="1" y="0"/>
                  </a:moveTo>
                  <a:cubicBezTo>
                    <a:pt x="4" y="7"/>
                    <a:pt x="8" y="14"/>
                    <a:pt x="11" y="18"/>
                  </a:cubicBezTo>
                  <a:cubicBezTo>
                    <a:pt x="8" y="11"/>
                    <a:pt x="4" y="7"/>
                    <a:pt x="1"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792" name="Google Shape;6792;p104"/>
            <p:cNvSpPr/>
            <p:nvPr/>
          </p:nvSpPr>
          <p:spPr>
            <a:xfrm>
              <a:off x="2379268" y="1731459"/>
              <a:ext cx="149" cy="258"/>
            </a:xfrm>
            <a:custGeom>
              <a:avLst/>
              <a:gdLst/>
              <a:ahLst/>
              <a:cxnLst/>
              <a:rect l="l" t="t" r="r" b="b"/>
              <a:pathLst>
                <a:path w="11" h="19" extrusionOk="0">
                  <a:moveTo>
                    <a:pt x="0" y="1"/>
                  </a:moveTo>
                  <a:cubicBezTo>
                    <a:pt x="4" y="8"/>
                    <a:pt x="7" y="15"/>
                    <a:pt x="11" y="18"/>
                  </a:cubicBezTo>
                  <a:cubicBezTo>
                    <a:pt x="7" y="11"/>
                    <a:pt x="4" y="8"/>
                    <a:pt x="0" y="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793" name="Google Shape;6793;p104"/>
            <p:cNvSpPr/>
            <p:nvPr/>
          </p:nvSpPr>
          <p:spPr>
            <a:xfrm>
              <a:off x="2403748" y="1738262"/>
              <a:ext cx="339" cy="244"/>
            </a:xfrm>
            <a:custGeom>
              <a:avLst/>
              <a:gdLst/>
              <a:ahLst/>
              <a:cxnLst/>
              <a:rect l="l" t="t" r="r" b="b"/>
              <a:pathLst>
                <a:path w="25" h="18" extrusionOk="0">
                  <a:moveTo>
                    <a:pt x="25" y="18"/>
                  </a:moveTo>
                  <a:lnTo>
                    <a:pt x="0"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794" name="Google Shape;6794;p104"/>
            <p:cNvSpPr/>
            <p:nvPr/>
          </p:nvSpPr>
          <p:spPr>
            <a:xfrm>
              <a:off x="2404888" y="1738968"/>
              <a:ext cx="720" cy="394"/>
            </a:xfrm>
            <a:custGeom>
              <a:avLst/>
              <a:gdLst/>
              <a:ahLst/>
              <a:cxnLst/>
              <a:rect l="l" t="t" r="r" b="b"/>
              <a:pathLst>
                <a:path w="53" h="29" extrusionOk="0">
                  <a:moveTo>
                    <a:pt x="53" y="29"/>
                  </a:moveTo>
                  <a:cubicBezTo>
                    <a:pt x="35" y="18"/>
                    <a:pt x="18" y="11"/>
                    <a:pt x="0" y="1"/>
                  </a:cubicBezTo>
                  <a:cubicBezTo>
                    <a:pt x="18" y="11"/>
                    <a:pt x="35" y="18"/>
                    <a:pt x="53" y="29"/>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795" name="Google Shape;6795;p104"/>
            <p:cNvSpPr/>
            <p:nvPr/>
          </p:nvSpPr>
          <p:spPr>
            <a:xfrm>
              <a:off x="2403273" y="1737922"/>
              <a:ext cx="299" cy="204"/>
            </a:xfrm>
            <a:custGeom>
              <a:avLst/>
              <a:gdLst/>
              <a:ahLst/>
              <a:cxnLst/>
              <a:rect l="l" t="t" r="r" b="b"/>
              <a:pathLst>
                <a:path w="22" h="15" extrusionOk="0">
                  <a:moveTo>
                    <a:pt x="21" y="15"/>
                  </a:moveTo>
                  <a:lnTo>
                    <a:pt x="0"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796" name="Google Shape;6796;p104"/>
            <p:cNvSpPr/>
            <p:nvPr/>
          </p:nvSpPr>
          <p:spPr>
            <a:xfrm>
              <a:off x="2398901" y="1729613"/>
              <a:ext cx="1005" cy="584"/>
            </a:xfrm>
            <a:custGeom>
              <a:avLst/>
              <a:gdLst/>
              <a:ahLst/>
              <a:cxnLst/>
              <a:rect l="l" t="t" r="r" b="b"/>
              <a:pathLst>
                <a:path w="74" h="43" extrusionOk="0">
                  <a:moveTo>
                    <a:pt x="73" y="0"/>
                  </a:moveTo>
                  <a:cubicBezTo>
                    <a:pt x="49" y="11"/>
                    <a:pt x="25" y="25"/>
                    <a:pt x="0" y="42"/>
                  </a:cubicBezTo>
                  <a:cubicBezTo>
                    <a:pt x="25" y="28"/>
                    <a:pt x="49" y="11"/>
                    <a:pt x="73"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797" name="Google Shape;6797;p104"/>
            <p:cNvSpPr/>
            <p:nvPr/>
          </p:nvSpPr>
          <p:spPr>
            <a:xfrm>
              <a:off x="2405839" y="1739443"/>
              <a:ext cx="394" cy="204"/>
            </a:xfrm>
            <a:custGeom>
              <a:avLst/>
              <a:gdLst/>
              <a:ahLst/>
              <a:cxnLst/>
              <a:rect l="l" t="t" r="r" b="b"/>
              <a:pathLst>
                <a:path w="29" h="15" extrusionOk="0">
                  <a:moveTo>
                    <a:pt x="28" y="15"/>
                  </a:moveTo>
                  <a:lnTo>
                    <a:pt x="28" y="15"/>
                  </a:lnTo>
                  <a:lnTo>
                    <a:pt x="0"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798" name="Google Shape;6798;p104"/>
            <p:cNvSpPr/>
            <p:nvPr/>
          </p:nvSpPr>
          <p:spPr>
            <a:xfrm>
              <a:off x="2385486" y="1735981"/>
              <a:ext cx="353" cy="14"/>
            </a:xfrm>
            <a:custGeom>
              <a:avLst/>
              <a:gdLst/>
              <a:ahLst/>
              <a:cxnLst/>
              <a:rect l="l" t="t" r="r" b="b"/>
              <a:pathLst>
                <a:path w="26" h="1" extrusionOk="0">
                  <a:moveTo>
                    <a:pt x="25" y="0"/>
                  </a:moveTo>
                  <a:lnTo>
                    <a:pt x="1" y="0"/>
                  </a:lnTo>
                  <a:lnTo>
                    <a:pt x="25" y="0"/>
                  </a:lnTo>
                  <a:lnTo>
                    <a:pt x="25"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799" name="Google Shape;6799;p104"/>
            <p:cNvSpPr/>
            <p:nvPr/>
          </p:nvSpPr>
          <p:spPr>
            <a:xfrm>
              <a:off x="2379784" y="1732369"/>
              <a:ext cx="204" cy="244"/>
            </a:xfrm>
            <a:custGeom>
              <a:avLst/>
              <a:gdLst/>
              <a:ahLst/>
              <a:cxnLst/>
              <a:rect l="l" t="t" r="r" b="b"/>
              <a:pathLst>
                <a:path w="15" h="18" extrusionOk="0">
                  <a:moveTo>
                    <a:pt x="15" y="18"/>
                  </a:moveTo>
                  <a:cubicBezTo>
                    <a:pt x="11" y="14"/>
                    <a:pt x="4" y="7"/>
                    <a:pt x="1" y="0"/>
                  </a:cubicBezTo>
                  <a:cubicBezTo>
                    <a:pt x="4" y="7"/>
                    <a:pt x="11" y="14"/>
                    <a:pt x="15" y="18"/>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800" name="Google Shape;6800;p104"/>
            <p:cNvSpPr/>
            <p:nvPr/>
          </p:nvSpPr>
          <p:spPr>
            <a:xfrm>
              <a:off x="2402933" y="1737596"/>
              <a:ext cx="258" cy="204"/>
            </a:xfrm>
            <a:custGeom>
              <a:avLst/>
              <a:gdLst/>
              <a:ahLst/>
              <a:cxnLst/>
              <a:rect l="l" t="t" r="r" b="b"/>
              <a:pathLst>
                <a:path w="19" h="15" extrusionOk="0">
                  <a:moveTo>
                    <a:pt x="18" y="1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801" name="Google Shape;6801;p104"/>
            <p:cNvSpPr/>
            <p:nvPr/>
          </p:nvSpPr>
          <p:spPr>
            <a:xfrm>
              <a:off x="2379594" y="1732125"/>
              <a:ext cx="163" cy="204"/>
            </a:xfrm>
            <a:custGeom>
              <a:avLst/>
              <a:gdLst/>
              <a:ahLst/>
              <a:cxnLst/>
              <a:rect l="l" t="t" r="r" b="b"/>
              <a:pathLst>
                <a:path w="12" h="15" extrusionOk="0">
                  <a:moveTo>
                    <a:pt x="11" y="15"/>
                  </a:moveTo>
                  <a:cubicBezTo>
                    <a:pt x="8" y="11"/>
                    <a:pt x="4" y="4"/>
                    <a:pt x="1" y="1"/>
                  </a:cubicBezTo>
                  <a:cubicBezTo>
                    <a:pt x="4" y="4"/>
                    <a:pt x="8" y="11"/>
                    <a:pt x="11" y="15"/>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802" name="Google Shape;6802;p104"/>
            <p:cNvSpPr/>
            <p:nvPr/>
          </p:nvSpPr>
          <p:spPr>
            <a:xfrm>
              <a:off x="2380069" y="1732695"/>
              <a:ext cx="204" cy="163"/>
            </a:xfrm>
            <a:custGeom>
              <a:avLst/>
              <a:gdLst/>
              <a:ahLst/>
              <a:cxnLst/>
              <a:rect l="l" t="t" r="r" b="b"/>
              <a:pathLst>
                <a:path w="15" h="12" extrusionOk="0">
                  <a:moveTo>
                    <a:pt x="15" y="1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803" name="Google Shape;6803;p104"/>
            <p:cNvSpPr/>
            <p:nvPr/>
          </p:nvSpPr>
          <p:spPr>
            <a:xfrm>
              <a:off x="2402648" y="1737311"/>
              <a:ext cx="204" cy="244"/>
            </a:xfrm>
            <a:custGeom>
              <a:avLst/>
              <a:gdLst/>
              <a:ahLst/>
              <a:cxnLst/>
              <a:rect l="l" t="t" r="r" b="b"/>
              <a:pathLst>
                <a:path w="15" h="18" extrusionOk="0">
                  <a:moveTo>
                    <a:pt x="15" y="18"/>
                  </a:moveTo>
                  <a:cubicBezTo>
                    <a:pt x="11" y="11"/>
                    <a:pt x="8" y="7"/>
                    <a:pt x="1" y="0"/>
                  </a:cubicBezTo>
                  <a:cubicBezTo>
                    <a:pt x="8" y="7"/>
                    <a:pt x="11" y="11"/>
                    <a:pt x="15" y="18"/>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804" name="Google Shape;6804;p104"/>
            <p:cNvSpPr/>
            <p:nvPr/>
          </p:nvSpPr>
          <p:spPr>
            <a:xfrm>
              <a:off x="2380408" y="1732885"/>
              <a:ext cx="339" cy="204"/>
            </a:xfrm>
            <a:custGeom>
              <a:avLst/>
              <a:gdLst/>
              <a:ahLst/>
              <a:cxnLst/>
              <a:rect l="l" t="t" r="r" b="b"/>
              <a:pathLst>
                <a:path w="25" h="15" extrusionOk="0">
                  <a:moveTo>
                    <a:pt x="25" y="15"/>
                  </a:moveTo>
                  <a:cubicBezTo>
                    <a:pt x="14" y="11"/>
                    <a:pt x="7" y="8"/>
                    <a:pt x="0" y="1"/>
                  </a:cubicBezTo>
                  <a:cubicBezTo>
                    <a:pt x="7" y="8"/>
                    <a:pt x="14" y="11"/>
                    <a:pt x="25" y="15"/>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805" name="Google Shape;6805;p104"/>
            <p:cNvSpPr/>
            <p:nvPr/>
          </p:nvSpPr>
          <p:spPr>
            <a:xfrm>
              <a:off x="2404264" y="1738588"/>
              <a:ext cx="543" cy="353"/>
            </a:xfrm>
            <a:custGeom>
              <a:avLst/>
              <a:gdLst/>
              <a:ahLst/>
              <a:cxnLst/>
              <a:rect l="l" t="t" r="r" b="b"/>
              <a:pathLst>
                <a:path w="40" h="26" extrusionOk="0">
                  <a:moveTo>
                    <a:pt x="39" y="25"/>
                  </a:moveTo>
                  <a:lnTo>
                    <a:pt x="1"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806" name="Google Shape;6806;p104"/>
            <p:cNvSpPr/>
            <p:nvPr/>
          </p:nvSpPr>
          <p:spPr>
            <a:xfrm>
              <a:off x="2392329" y="1712641"/>
              <a:ext cx="3109" cy="2295"/>
            </a:xfrm>
            <a:custGeom>
              <a:avLst/>
              <a:gdLst/>
              <a:ahLst/>
              <a:cxnLst/>
              <a:rect l="l" t="t" r="r" b="b"/>
              <a:pathLst>
                <a:path w="229" h="169" extrusionOk="0">
                  <a:moveTo>
                    <a:pt x="228" y="168"/>
                  </a:moveTo>
                  <a:cubicBezTo>
                    <a:pt x="158" y="98"/>
                    <a:pt x="74" y="11"/>
                    <a:pt x="1" y="0"/>
                  </a:cubicBezTo>
                  <a:cubicBezTo>
                    <a:pt x="74" y="11"/>
                    <a:pt x="158" y="98"/>
                    <a:pt x="228" y="168"/>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807" name="Google Shape;6807;p104"/>
            <p:cNvSpPr/>
            <p:nvPr/>
          </p:nvSpPr>
          <p:spPr>
            <a:xfrm>
              <a:off x="2405364" y="1714447"/>
              <a:ext cx="244" cy="204"/>
            </a:xfrm>
            <a:custGeom>
              <a:avLst/>
              <a:gdLst/>
              <a:ahLst/>
              <a:cxnLst/>
              <a:rect l="l" t="t" r="r" b="b"/>
              <a:pathLst>
                <a:path w="18" h="15" extrusionOk="0">
                  <a:moveTo>
                    <a:pt x="0" y="14"/>
                  </a:moveTo>
                  <a:lnTo>
                    <a:pt x="18"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808" name="Google Shape;6808;p104"/>
            <p:cNvSpPr/>
            <p:nvPr/>
          </p:nvSpPr>
          <p:spPr>
            <a:xfrm>
              <a:off x="2400612" y="1717298"/>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809" name="Google Shape;6809;p104"/>
            <p:cNvSpPr/>
            <p:nvPr/>
          </p:nvSpPr>
          <p:spPr>
            <a:xfrm>
              <a:off x="2403884" y="1715153"/>
              <a:ext cx="299" cy="109"/>
            </a:xfrm>
            <a:custGeom>
              <a:avLst/>
              <a:gdLst/>
              <a:ahLst/>
              <a:cxnLst/>
              <a:rect l="l" t="t" r="r" b="b"/>
              <a:pathLst>
                <a:path w="22" h="8" extrusionOk="0">
                  <a:moveTo>
                    <a:pt x="1" y="8"/>
                  </a:moveTo>
                  <a:lnTo>
                    <a:pt x="22"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810" name="Google Shape;6810;p104"/>
            <p:cNvSpPr/>
            <p:nvPr/>
          </p:nvSpPr>
          <p:spPr>
            <a:xfrm>
              <a:off x="2404603" y="1714868"/>
              <a:ext cx="299" cy="109"/>
            </a:xfrm>
            <a:custGeom>
              <a:avLst/>
              <a:gdLst/>
              <a:ahLst/>
              <a:cxnLst/>
              <a:rect l="l" t="t" r="r" b="b"/>
              <a:pathLst>
                <a:path w="22" h="8" extrusionOk="0">
                  <a:moveTo>
                    <a:pt x="0" y="8"/>
                  </a:moveTo>
                  <a:lnTo>
                    <a:pt x="21"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811" name="Google Shape;6811;p104"/>
            <p:cNvSpPr/>
            <p:nvPr/>
          </p:nvSpPr>
          <p:spPr>
            <a:xfrm>
              <a:off x="2403504" y="1715302"/>
              <a:ext cx="299" cy="109"/>
            </a:xfrm>
            <a:custGeom>
              <a:avLst/>
              <a:gdLst/>
              <a:ahLst/>
              <a:cxnLst/>
              <a:rect l="l" t="t" r="r" b="b"/>
              <a:pathLst>
                <a:path w="22" h="8" extrusionOk="0">
                  <a:moveTo>
                    <a:pt x="1" y="7"/>
                  </a:moveTo>
                  <a:lnTo>
                    <a:pt x="22"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812" name="Google Shape;6812;p104"/>
            <p:cNvSpPr/>
            <p:nvPr/>
          </p:nvSpPr>
          <p:spPr>
            <a:xfrm>
              <a:off x="2404929" y="1714637"/>
              <a:ext cx="353" cy="204"/>
            </a:xfrm>
            <a:custGeom>
              <a:avLst/>
              <a:gdLst/>
              <a:ahLst/>
              <a:cxnLst/>
              <a:rect l="l" t="t" r="r" b="b"/>
              <a:pathLst>
                <a:path w="26" h="15" extrusionOk="0">
                  <a:moveTo>
                    <a:pt x="1" y="14"/>
                  </a:moveTo>
                  <a:lnTo>
                    <a:pt x="25"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813" name="Google Shape;6813;p104"/>
            <p:cNvSpPr/>
            <p:nvPr/>
          </p:nvSpPr>
          <p:spPr>
            <a:xfrm>
              <a:off x="2404223" y="1715017"/>
              <a:ext cx="299" cy="149"/>
            </a:xfrm>
            <a:custGeom>
              <a:avLst/>
              <a:gdLst/>
              <a:ahLst/>
              <a:cxnLst/>
              <a:rect l="l" t="t" r="r" b="b"/>
              <a:pathLst>
                <a:path w="22" h="11" extrusionOk="0">
                  <a:moveTo>
                    <a:pt x="0" y="11"/>
                  </a:moveTo>
                  <a:lnTo>
                    <a:pt x="21"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814" name="Google Shape;6814;p104"/>
            <p:cNvSpPr/>
            <p:nvPr/>
          </p:nvSpPr>
          <p:spPr>
            <a:xfrm>
              <a:off x="2390333" y="1711921"/>
              <a:ext cx="543" cy="299"/>
            </a:xfrm>
            <a:custGeom>
              <a:avLst/>
              <a:gdLst/>
              <a:ahLst/>
              <a:cxnLst/>
              <a:rect l="l" t="t" r="r" b="b"/>
              <a:pathLst>
                <a:path w="40" h="22" extrusionOk="0">
                  <a:moveTo>
                    <a:pt x="1" y="1"/>
                  </a:moveTo>
                  <a:cubicBezTo>
                    <a:pt x="11" y="8"/>
                    <a:pt x="25" y="15"/>
                    <a:pt x="39" y="22"/>
                  </a:cubicBezTo>
                  <a:cubicBezTo>
                    <a:pt x="29" y="15"/>
                    <a:pt x="15" y="8"/>
                    <a:pt x="1" y="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815" name="Google Shape;6815;p104"/>
            <p:cNvSpPr/>
            <p:nvPr/>
          </p:nvSpPr>
          <p:spPr>
            <a:xfrm>
              <a:off x="2390958" y="1712261"/>
              <a:ext cx="394" cy="149"/>
            </a:xfrm>
            <a:custGeom>
              <a:avLst/>
              <a:gdLst/>
              <a:ahLst/>
              <a:cxnLst/>
              <a:rect l="l" t="t" r="r" b="b"/>
              <a:pathLst>
                <a:path w="29" h="11" extrusionOk="0">
                  <a:moveTo>
                    <a:pt x="0" y="0"/>
                  </a:moveTo>
                  <a:lnTo>
                    <a:pt x="28" y="1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816" name="Google Shape;6816;p104"/>
            <p:cNvSpPr/>
            <p:nvPr/>
          </p:nvSpPr>
          <p:spPr>
            <a:xfrm>
              <a:off x="2391664" y="1712492"/>
              <a:ext cx="204" cy="68"/>
            </a:xfrm>
            <a:custGeom>
              <a:avLst/>
              <a:gdLst/>
              <a:ahLst/>
              <a:cxnLst/>
              <a:rect l="l" t="t" r="r" b="b"/>
              <a:pathLst>
                <a:path w="15" h="5" extrusionOk="0">
                  <a:moveTo>
                    <a:pt x="1" y="1"/>
                  </a:moveTo>
                  <a:lnTo>
                    <a:pt x="15" y="4"/>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817" name="Google Shape;6817;p104"/>
            <p:cNvSpPr/>
            <p:nvPr/>
          </p:nvSpPr>
          <p:spPr>
            <a:xfrm>
              <a:off x="2400136" y="1717244"/>
              <a:ext cx="109" cy="14"/>
            </a:xfrm>
            <a:custGeom>
              <a:avLst/>
              <a:gdLst/>
              <a:ahLst/>
              <a:cxnLst/>
              <a:rect l="l" t="t" r="r" b="b"/>
              <a:pathLst>
                <a:path w="8" h="1" extrusionOk="0">
                  <a:moveTo>
                    <a:pt x="0" y="1"/>
                  </a:moveTo>
                  <a:lnTo>
                    <a:pt x="7"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818" name="Google Shape;6818;p104"/>
            <p:cNvSpPr/>
            <p:nvPr/>
          </p:nvSpPr>
          <p:spPr>
            <a:xfrm>
              <a:off x="2406029" y="1713822"/>
              <a:ext cx="244" cy="258"/>
            </a:xfrm>
            <a:custGeom>
              <a:avLst/>
              <a:gdLst/>
              <a:ahLst/>
              <a:cxnLst/>
              <a:rect l="l" t="t" r="r" b="b"/>
              <a:pathLst>
                <a:path w="18" h="19" extrusionOk="0">
                  <a:moveTo>
                    <a:pt x="18" y="1"/>
                  </a:moveTo>
                  <a:cubicBezTo>
                    <a:pt x="11" y="8"/>
                    <a:pt x="4" y="15"/>
                    <a:pt x="0" y="18"/>
                  </a:cubicBezTo>
                  <a:cubicBezTo>
                    <a:pt x="4" y="15"/>
                    <a:pt x="11" y="8"/>
                    <a:pt x="18" y="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819" name="Google Shape;6819;p104"/>
            <p:cNvSpPr/>
            <p:nvPr/>
          </p:nvSpPr>
          <p:spPr>
            <a:xfrm>
              <a:off x="2398331" y="1716578"/>
              <a:ext cx="530" cy="204"/>
            </a:xfrm>
            <a:custGeom>
              <a:avLst/>
              <a:gdLst/>
              <a:ahLst/>
              <a:cxnLst/>
              <a:rect l="l" t="t" r="r" b="b"/>
              <a:pathLst>
                <a:path w="39" h="15" extrusionOk="0">
                  <a:moveTo>
                    <a:pt x="0" y="1"/>
                  </a:moveTo>
                  <a:lnTo>
                    <a:pt x="0" y="1"/>
                  </a:lnTo>
                  <a:cubicBezTo>
                    <a:pt x="14" y="4"/>
                    <a:pt x="28" y="8"/>
                    <a:pt x="39" y="15"/>
                  </a:cubicBezTo>
                  <a:cubicBezTo>
                    <a:pt x="28" y="8"/>
                    <a:pt x="14" y="4"/>
                    <a:pt x="0" y="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820" name="Google Shape;6820;p104"/>
            <p:cNvSpPr/>
            <p:nvPr/>
          </p:nvSpPr>
          <p:spPr>
            <a:xfrm>
              <a:off x="2399702" y="1717108"/>
              <a:ext cx="109" cy="14"/>
            </a:xfrm>
            <a:custGeom>
              <a:avLst/>
              <a:gdLst/>
              <a:ahLst/>
              <a:cxnLst/>
              <a:rect l="l" t="t" r="r" b="b"/>
              <a:pathLst>
                <a:path w="8" h="1" extrusionOk="0">
                  <a:moveTo>
                    <a:pt x="1" y="0"/>
                  </a:moveTo>
                  <a:lnTo>
                    <a:pt x="8"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821" name="Google Shape;6821;p104"/>
            <p:cNvSpPr/>
            <p:nvPr/>
          </p:nvSpPr>
          <p:spPr>
            <a:xfrm>
              <a:off x="2405649" y="1714162"/>
              <a:ext cx="339" cy="244"/>
            </a:xfrm>
            <a:custGeom>
              <a:avLst/>
              <a:gdLst/>
              <a:ahLst/>
              <a:cxnLst/>
              <a:rect l="l" t="t" r="r" b="b"/>
              <a:pathLst>
                <a:path w="25" h="18" extrusionOk="0">
                  <a:moveTo>
                    <a:pt x="25" y="0"/>
                  </a:moveTo>
                  <a:cubicBezTo>
                    <a:pt x="14" y="4"/>
                    <a:pt x="7" y="11"/>
                    <a:pt x="0" y="18"/>
                  </a:cubicBezTo>
                  <a:cubicBezTo>
                    <a:pt x="7" y="11"/>
                    <a:pt x="18" y="4"/>
                    <a:pt x="25"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822" name="Google Shape;6822;p104"/>
            <p:cNvSpPr/>
            <p:nvPr/>
          </p:nvSpPr>
          <p:spPr>
            <a:xfrm>
              <a:off x="2400747" y="1717244"/>
              <a:ext cx="163" cy="14"/>
            </a:xfrm>
            <a:custGeom>
              <a:avLst/>
              <a:gdLst/>
              <a:ahLst/>
              <a:cxnLst/>
              <a:rect l="l" t="t" r="r" b="b"/>
              <a:pathLst>
                <a:path w="12" h="1" extrusionOk="0">
                  <a:moveTo>
                    <a:pt x="1" y="1"/>
                  </a:moveTo>
                  <a:lnTo>
                    <a:pt x="11"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823" name="Google Shape;6823;p104"/>
            <p:cNvSpPr/>
            <p:nvPr/>
          </p:nvSpPr>
          <p:spPr>
            <a:xfrm>
              <a:off x="2399322" y="1716959"/>
              <a:ext cx="109" cy="68"/>
            </a:xfrm>
            <a:custGeom>
              <a:avLst/>
              <a:gdLst/>
              <a:ahLst/>
              <a:cxnLst/>
              <a:rect l="l" t="t" r="r" b="b"/>
              <a:pathLst>
                <a:path w="8" h="5" extrusionOk="0">
                  <a:moveTo>
                    <a:pt x="1" y="1"/>
                  </a:moveTo>
                  <a:lnTo>
                    <a:pt x="8" y="4"/>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824" name="Google Shape;6824;p104"/>
            <p:cNvSpPr/>
            <p:nvPr/>
          </p:nvSpPr>
          <p:spPr>
            <a:xfrm>
              <a:off x="2381454" y="1716008"/>
              <a:ext cx="2485" cy="5010"/>
            </a:xfrm>
            <a:custGeom>
              <a:avLst/>
              <a:gdLst/>
              <a:ahLst/>
              <a:cxnLst/>
              <a:rect l="l" t="t" r="r" b="b"/>
              <a:pathLst>
                <a:path w="183" h="369" extrusionOk="0">
                  <a:moveTo>
                    <a:pt x="0" y="1"/>
                  </a:moveTo>
                  <a:lnTo>
                    <a:pt x="18" y="32"/>
                  </a:lnTo>
                  <a:cubicBezTo>
                    <a:pt x="28" y="50"/>
                    <a:pt x="39" y="67"/>
                    <a:pt x="49" y="81"/>
                  </a:cubicBezTo>
                  <a:cubicBezTo>
                    <a:pt x="32" y="53"/>
                    <a:pt x="14" y="25"/>
                    <a:pt x="0" y="1"/>
                  </a:cubicBezTo>
                  <a:close/>
                  <a:moveTo>
                    <a:pt x="49" y="82"/>
                  </a:moveTo>
                  <a:cubicBezTo>
                    <a:pt x="112" y="176"/>
                    <a:pt x="179" y="274"/>
                    <a:pt x="154" y="368"/>
                  </a:cubicBezTo>
                  <a:cubicBezTo>
                    <a:pt x="182" y="274"/>
                    <a:pt x="112" y="176"/>
                    <a:pt x="49" y="82"/>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825" name="Google Shape;6825;p104"/>
            <p:cNvSpPr/>
            <p:nvPr/>
          </p:nvSpPr>
          <p:spPr>
            <a:xfrm>
              <a:off x="2390863" y="1732315"/>
              <a:ext cx="14" cy="204"/>
            </a:xfrm>
            <a:custGeom>
              <a:avLst/>
              <a:gdLst/>
              <a:ahLst/>
              <a:cxnLst/>
              <a:rect l="l" t="t" r="r" b="b"/>
              <a:pathLst>
                <a:path w="1" h="15" extrusionOk="0">
                  <a:moveTo>
                    <a:pt x="0" y="1"/>
                  </a:moveTo>
                  <a:lnTo>
                    <a:pt x="0" y="11"/>
                  </a:lnTo>
                  <a:cubicBezTo>
                    <a:pt x="0" y="15"/>
                    <a:pt x="0" y="4"/>
                    <a:pt x="0" y="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826" name="Google Shape;6826;p104"/>
            <p:cNvSpPr/>
            <p:nvPr/>
          </p:nvSpPr>
          <p:spPr>
            <a:xfrm>
              <a:off x="2390958" y="1732790"/>
              <a:ext cx="54" cy="204"/>
            </a:xfrm>
            <a:custGeom>
              <a:avLst/>
              <a:gdLst/>
              <a:ahLst/>
              <a:cxnLst/>
              <a:rect l="l" t="t" r="r" b="b"/>
              <a:pathLst>
                <a:path w="4" h="15" extrusionOk="0">
                  <a:moveTo>
                    <a:pt x="0" y="1"/>
                  </a:moveTo>
                  <a:lnTo>
                    <a:pt x="4" y="15"/>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827" name="Google Shape;6827;p104"/>
            <p:cNvSpPr/>
            <p:nvPr/>
          </p:nvSpPr>
          <p:spPr>
            <a:xfrm>
              <a:off x="2390809" y="1732179"/>
              <a:ext cx="68" cy="109"/>
            </a:xfrm>
            <a:custGeom>
              <a:avLst/>
              <a:gdLst/>
              <a:ahLst/>
              <a:cxnLst/>
              <a:rect l="l" t="t" r="r" b="b"/>
              <a:pathLst>
                <a:path w="5" h="8" extrusionOk="0">
                  <a:moveTo>
                    <a:pt x="4" y="0"/>
                  </a:moveTo>
                  <a:cubicBezTo>
                    <a:pt x="1" y="4"/>
                    <a:pt x="1" y="7"/>
                    <a:pt x="4" y="7"/>
                  </a:cubicBezTo>
                  <a:cubicBezTo>
                    <a:pt x="1" y="7"/>
                    <a:pt x="1" y="4"/>
                    <a:pt x="4"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828" name="Google Shape;6828;p104"/>
            <p:cNvSpPr/>
            <p:nvPr/>
          </p:nvSpPr>
          <p:spPr>
            <a:xfrm>
              <a:off x="2391243" y="1733550"/>
              <a:ext cx="149" cy="353"/>
            </a:xfrm>
            <a:custGeom>
              <a:avLst/>
              <a:gdLst/>
              <a:ahLst/>
              <a:cxnLst/>
              <a:rect l="l" t="t" r="r" b="b"/>
              <a:pathLst>
                <a:path w="11" h="26" extrusionOk="0">
                  <a:moveTo>
                    <a:pt x="0" y="1"/>
                  </a:moveTo>
                  <a:lnTo>
                    <a:pt x="11" y="25"/>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829" name="Google Shape;6829;p104"/>
            <p:cNvSpPr/>
            <p:nvPr/>
          </p:nvSpPr>
          <p:spPr>
            <a:xfrm>
              <a:off x="2391813" y="1734691"/>
              <a:ext cx="14" cy="68"/>
            </a:xfrm>
            <a:custGeom>
              <a:avLst/>
              <a:gdLst/>
              <a:ahLst/>
              <a:cxnLst/>
              <a:rect l="l" t="t" r="r" b="b"/>
              <a:pathLst>
                <a:path w="1" h="5" extrusionOk="0">
                  <a:moveTo>
                    <a:pt x="0"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830" name="Google Shape;6830;p104"/>
            <p:cNvSpPr/>
            <p:nvPr/>
          </p:nvSpPr>
          <p:spPr>
            <a:xfrm>
              <a:off x="2391474" y="1734080"/>
              <a:ext cx="258" cy="489"/>
            </a:xfrm>
            <a:custGeom>
              <a:avLst/>
              <a:gdLst/>
              <a:ahLst/>
              <a:cxnLst/>
              <a:rect l="l" t="t" r="r" b="b"/>
              <a:pathLst>
                <a:path w="19" h="36" extrusionOk="0">
                  <a:moveTo>
                    <a:pt x="1" y="0"/>
                  </a:moveTo>
                  <a:cubicBezTo>
                    <a:pt x="4" y="11"/>
                    <a:pt x="11" y="21"/>
                    <a:pt x="18" y="35"/>
                  </a:cubicBezTo>
                  <a:cubicBezTo>
                    <a:pt x="11" y="21"/>
                    <a:pt x="4" y="11"/>
                    <a:pt x="1"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831" name="Google Shape;6831;p104"/>
            <p:cNvSpPr/>
            <p:nvPr/>
          </p:nvSpPr>
          <p:spPr>
            <a:xfrm>
              <a:off x="2390904" y="1732559"/>
              <a:ext cx="14" cy="149"/>
            </a:xfrm>
            <a:custGeom>
              <a:avLst/>
              <a:gdLst/>
              <a:ahLst/>
              <a:cxnLst/>
              <a:rect l="l" t="t" r="r" b="b"/>
              <a:pathLst>
                <a:path w="1" h="11" extrusionOk="0">
                  <a:moveTo>
                    <a:pt x="1" y="0"/>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832" name="Google Shape;6832;p104"/>
            <p:cNvSpPr/>
            <p:nvPr/>
          </p:nvSpPr>
          <p:spPr>
            <a:xfrm>
              <a:off x="2391094" y="1733170"/>
              <a:ext cx="109" cy="258"/>
            </a:xfrm>
            <a:custGeom>
              <a:avLst/>
              <a:gdLst/>
              <a:ahLst/>
              <a:cxnLst/>
              <a:rect l="l" t="t" r="r" b="b"/>
              <a:pathLst>
                <a:path w="8" h="19" extrusionOk="0">
                  <a:moveTo>
                    <a:pt x="1" y="1"/>
                  </a:moveTo>
                  <a:lnTo>
                    <a:pt x="8" y="18"/>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833" name="Google Shape;6833;p104"/>
            <p:cNvSpPr/>
            <p:nvPr/>
          </p:nvSpPr>
          <p:spPr>
            <a:xfrm>
              <a:off x="2384726" y="1733930"/>
              <a:ext cx="109" cy="109"/>
            </a:xfrm>
            <a:custGeom>
              <a:avLst/>
              <a:gdLst/>
              <a:ahLst/>
              <a:cxnLst/>
              <a:rect l="l" t="t" r="r" b="b"/>
              <a:pathLst>
                <a:path w="8" h="8" extrusionOk="0">
                  <a:moveTo>
                    <a:pt x="8" y="8"/>
                  </a:moveTo>
                  <a:lnTo>
                    <a:pt x="1"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834" name="Google Shape;6834;p104"/>
            <p:cNvSpPr/>
            <p:nvPr/>
          </p:nvSpPr>
          <p:spPr>
            <a:xfrm>
              <a:off x="2379308" y="1731459"/>
              <a:ext cx="299" cy="163"/>
            </a:xfrm>
            <a:custGeom>
              <a:avLst/>
              <a:gdLst/>
              <a:ahLst/>
              <a:cxnLst/>
              <a:rect l="l" t="t" r="r" b="b"/>
              <a:pathLst>
                <a:path w="22" h="12" extrusionOk="0">
                  <a:moveTo>
                    <a:pt x="1" y="1"/>
                  </a:moveTo>
                  <a:lnTo>
                    <a:pt x="22" y="11"/>
                  </a:lnTo>
                  <a:lnTo>
                    <a:pt x="1"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835" name="Google Shape;6835;p104"/>
            <p:cNvSpPr/>
            <p:nvPr/>
          </p:nvSpPr>
          <p:spPr>
            <a:xfrm>
              <a:off x="2385350" y="1734691"/>
              <a:ext cx="14" cy="68"/>
            </a:xfrm>
            <a:custGeom>
              <a:avLst/>
              <a:gdLst/>
              <a:ahLst/>
              <a:cxnLst/>
              <a:rect l="l" t="t" r="r" b="b"/>
              <a:pathLst>
                <a:path w="1" h="5" extrusionOk="0">
                  <a:moveTo>
                    <a:pt x="0"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836" name="Google Shape;6836;p104"/>
            <p:cNvSpPr/>
            <p:nvPr/>
          </p:nvSpPr>
          <p:spPr>
            <a:xfrm>
              <a:off x="2379784" y="1731744"/>
              <a:ext cx="543" cy="299"/>
            </a:xfrm>
            <a:custGeom>
              <a:avLst/>
              <a:gdLst/>
              <a:ahLst/>
              <a:cxnLst/>
              <a:rect l="l" t="t" r="r" b="b"/>
              <a:pathLst>
                <a:path w="40" h="22" extrusionOk="0">
                  <a:moveTo>
                    <a:pt x="39" y="22"/>
                  </a:moveTo>
                  <a:lnTo>
                    <a:pt x="1"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837" name="Google Shape;6837;p104"/>
            <p:cNvSpPr/>
            <p:nvPr/>
          </p:nvSpPr>
          <p:spPr>
            <a:xfrm>
              <a:off x="2385826" y="1735791"/>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838" name="Google Shape;6838;p104"/>
            <p:cNvSpPr/>
            <p:nvPr/>
          </p:nvSpPr>
          <p:spPr>
            <a:xfrm>
              <a:off x="2385676" y="1735220"/>
              <a:ext cx="14" cy="54"/>
            </a:xfrm>
            <a:custGeom>
              <a:avLst/>
              <a:gdLst/>
              <a:ahLst/>
              <a:cxnLst/>
              <a:rect l="l" t="t" r="r" b="b"/>
              <a:pathLst>
                <a:path w="1" h="4" extrusionOk="0">
                  <a:moveTo>
                    <a:pt x="1" y="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839" name="Google Shape;6839;p104"/>
            <p:cNvSpPr/>
            <p:nvPr/>
          </p:nvSpPr>
          <p:spPr>
            <a:xfrm>
              <a:off x="2381264" y="1715682"/>
              <a:ext cx="434" cy="774"/>
            </a:xfrm>
            <a:custGeom>
              <a:avLst/>
              <a:gdLst/>
              <a:ahLst/>
              <a:cxnLst/>
              <a:rect l="l" t="t" r="r" b="b"/>
              <a:pathLst>
                <a:path w="32" h="57" extrusionOk="0">
                  <a:moveTo>
                    <a:pt x="0" y="0"/>
                  </a:moveTo>
                  <a:cubicBezTo>
                    <a:pt x="7" y="18"/>
                    <a:pt x="21" y="39"/>
                    <a:pt x="32" y="56"/>
                  </a:cubicBezTo>
                  <a:lnTo>
                    <a:pt x="14" y="25"/>
                  </a:lnTo>
                  <a:lnTo>
                    <a:pt x="0"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840" name="Google Shape;6840;p104"/>
            <p:cNvSpPr/>
            <p:nvPr/>
          </p:nvSpPr>
          <p:spPr>
            <a:xfrm>
              <a:off x="2379404" y="1731324"/>
              <a:ext cx="14" cy="54"/>
            </a:xfrm>
            <a:custGeom>
              <a:avLst/>
              <a:gdLst/>
              <a:ahLst/>
              <a:cxnLst/>
              <a:rect l="l" t="t" r="r" b="b"/>
              <a:pathLst>
                <a:path w="1" h="4" extrusionOk="0">
                  <a:moveTo>
                    <a:pt x="1" y="0"/>
                  </a:moveTo>
                  <a:cubicBezTo>
                    <a:pt x="1" y="4"/>
                    <a:pt x="1" y="4"/>
                    <a:pt x="1" y="4"/>
                  </a:cubicBezTo>
                  <a:cubicBezTo>
                    <a:pt x="1" y="4"/>
                    <a:pt x="1" y="4"/>
                    <a:pt x="1" y="0"/>
                  </a:cubicBezTo>
                  <a:cubicBezTo>
                    <a:pt x="1" y="0"/>
                    <a:pt x="1" y="0"/>
                    <a:pt x="1" y="0"/>
                  </a:cubicBezTo>
                  <a:cubicBezTo>
                    <a:pt x="1" y="0"/>
                    <a:pt x="1" y="0"/>
                    <a:pt x="1"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841" name="Google Shape;6841;p104"/>
            <p:cNvSpPr/>
            <p:nvPr/>
          </p:nvSpPr>
          <p:spPr>
            <a:xfrm>
              <a:off x="2385826" y="1735981"/>
              <a:ext cx="14" cy="14"/>
            </a:xfrm>
            <a:custGeom>
              <a:avLst/>
              <a:gdLst/>
              <a:ahLst/>
              <a:cxnLst/>
              <a:rect l="l" t="t" r="r" b="b"/>
              <a:pathLst>
                <a:path w="1" h="1" extrusionOk="0">
                  <a:moveTo>
                    <a:pt x="0" y="0"/>
                  </a:moveTo>
                  <a:lnTo>
                    <a:pt x="0" y="0"/>
                  </a:lnTo>
                  <a:lnTo>
                    <a:pt x="0"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842" name="Google Shape;6842;p104"/>
            <p:cNvSpPr/>
            <p:nvPr/>
          </p:nvSpPr>
          <p:spPr>
            <a:xfrm>
              <a:off x="2497528" y="1743000"/>
              <a:ext cx="87140" cy="73726"/>
            </a:xfrm>
            <a:custGeom>
              <a:avLst/>
              <a:gdLst/>
              <a:ahLst/>
              <a:cxnLst/>
              <a:rect l="l" t="t" r="r" b="b"/>
              <a:pathLst>
                <a:path w="6418" h="5430" extrusionOk="0">
                  <a:moveTo>
                    <a:pt x="5842" y="1"/>
                  </a:moveTo>
                  <a:cubicBezTo>
                    <a:pt x="5789" y="1"/>
                    <a:pt x="5711" y="42"/>
                    <a:pt x="5630" y="113"/>
                  </a:cubicBezTo>
                  <a:cubicBezTo>
                    <a:pt x="5511" y="218"/>
                    <a:pt x="5434" y="351"/>
                    <a:pt x="5434" y="411"/>
                  </a:cubicBezTo>
                  <a:cubicBezTo>
                    <a:pt x="5434" y="537"/>
                    <a:pt x="5273" y="572"/>
                    <a:pt x="5122" y="604"/>
                  </a:cubicBezTo>
                  <a:cubicBezTo>
                    <a:pt x="5052" y="618"/>
                    <a:pt x="4929" y="642"/>
                    <a:pt x="4912" y="670"/>
                  </a:cubicBezTo>
                  <a:cubicBezTo>
                    <a:pt x="4912" y="702"/>
                    <a:pt x="4901" y="733"/>
                    <a:pt x="4877" y="754"/>
                  </a:cubicBezTo>
                  <a:cubicBezTo>
                    <a:pt x="4835" y="796"/>
                    <a:pt x="4765" y="804"/>
                    <a:pt x="4680" y="804"/>
                  </a:cubicBezTo>
                  <a:cubicBezTo>
                    <a:pt x="4658" y="804"/>
                    <a:pt x="4635" y="804"/>
                    <a:pt x="4611" y="803"/>
                  </a:cubicBezTo>
                  <a:cubicBezTo>
                    <a:pt x="4590" y="803"/>
                    <a:pt x="4567" y="803"/>
                    <a:pt x="4543" y="803"/>
                  </a:cubicBezTo>
                  <a:cubicBezTo>
                    <a:pt x="4457" y="803"/>
                    <a:pt x="4367" y="807"/>
                    <a:pt x="4345" y="849"/>
                  </a:cubicBezTo>
                  <a:cubicBezTo>
                    <a:pt x="4341" y="856"/>
                    <a:pt x="4338" y="863"/>
                    <a:pt x="4334" y="870"/>
                  </a:cubicBezTo>
                  <a:cubicBezTo>
                    <a:pt x="4331" y="877"/>
                    <a:pt x="4327" y="880"/>
                    <a:pt x="4324" y="884"/>
                  </a:cubicBezTo>
                  <a:lnTo>
                    <a:pt x="4317" y="894"/>
                  </a:lnTo>
                  <a:lnTo>
                    <a:pt x="4310" y="898"/>
                  </a:lnTo>
                  <a:cubicBezTo>
                    <a:pt x="4296" y="915"/>
                    <a:pt x="4271" y="926"/>
                    <a:pt x="4250" y="933"/>
                  </a:cubicBezTo>
                  <a:cubicBezTo>
                    <a:pt x="4235" y="936"/>
                    <a:pt x="4220" y="937"/>
                    <a:pt x="4205" y="937"/>
                  </a:cubicBezTo>
                  <a:cubicBezTo>
                    <a:pt x="4168" y="937"/>
                    <a:pt x="4132" y="928"/>
                    <a:pt x="4100" y="908"/>
                  </a:cubicBezTo>
                  <a:lnTo>
                    <a:pt x="4100" y="915"/>
                  </a:lnTo>
                  <a:lnTo>
                    <a:pt x="3995" y="849"/>
                  </a:lnTo>
                  <a:lnTo>
                    <a:pt x="3967" y="831"/>
                  </a:lnTo>
                  <a:lnTo>
                    <a:pt x="3939" y="810"/>
                  </a:lnTo>
                  <a:lnTo>
                    <a:pt x="3925" y="803"/>
                  </a:lnTo>
                  <a:lnTo>
                    <a:pt x="3914" y="796"/>
                  </a:lnTo>
                  <a:lnTo>
                    <a:pt x="3907" y="793"/>
                  </a:lnTo>
                  <a:lnTo>
                    <a:pt x="3893" y="786"/>
                  </a:lnTo>
                  <a:lnTo>
                    <a:pt x="3886" y="782"/>
                  </a:lnTo>
                  <a:lnTo>
                    <a:pt x="3872" y="775"/>
                  </a:lnTo>
                  <a:lnTo>
                    <a:pt x="3865" y="775"/>
                  </a:lnTo>
                  <a:lnTo>
                    <a:pt x="3851" y="768"/>
                  </a:lnTo>
                  <a:lnTo>
                    <a:pt x="3844" y="768"/>
                  </a:lnTo>
                  <a:lnTo>
                    <a:pt x="3830" y="765"/>
                  </a:lnTo>
                  <a:lnTo>
                    <a:pt x="3816" y="765"/>
                  </a:lnTo>
                  <a:cubicBezTo>
                    <a:pt x="3732" y="765"/>
                    <a:pt x="3666" y="719"/>
                    <a:pt x="3599" y="677"/>
                  </a:cubicBezTo>
                  <a:cubicBezTo>
                    <a:pt x="3536" y="633"/>
                    <a:pt x="3489" y="603"/>
                    <a:pt x="3434" y="603"/>
                  </a:cubicBezTo>
                  <a:cubicBezTo>
                    <a:pt x="3419" y="603"/>
                    <a:pt x="3403" y="605"/>
                    <a:pt x="3386" y="611"/>
                  </a:cubicBezTo>
                  <a:lnTo>
                    <a:pt x="3347" y="618"/>
                  </a:lnTo>
                  <a:cubicBezTo>
                    <a:pt x="3330" y="625"/>
                    <a:pt x="3312" y="628"/>
                    <a:pt x="3291" y="628"/>
                  </a:cubicBezTo>
                  <a:lnTo>
                    <a:pt x="3260" y="635"/>
                  </a:lnTo>
                  <a:lnTo>
                    <a:pt x="3260" y="632"/>
                  </a:lnTo>
                  <a:cubicBezTo>
                    <a:pt x="3179" y="628"/>
                    <a:pt x="3102" y="607"/>
                    <a:pt x="3032" y="572"/>
                  </a:cubicBezTo>
                  <a:cubicBezTo>
                    <a:pt x="2990" y="551"/>
                    <a:pt x="2948" y="537"/>
                    <a:pt x="2906" y="526"/>
                  </a:cubicBezTo>
                  <a:lnTo>
                    <a:pt x="2899" y="526"/>
                  </a:lnTo>
                  <a:cubicBezTo>
                    <a:pt x="2874" y="526"/>
                    <a:pt x="2836" y="558"/>
                    <a:pt x="2801" y="597"/>
                  </a:cubicBezTo>
                  <a:cubicBezTo>
                    <a:pt x="2790" y="607"/>
                    <a:pt x="2776" y="621"/>
                    <a:pt x="2766" y="635"/>
                  </a:cubicBezTo>
                  <a:cubicBezTo>
                    <a:pt x="2703" y="707"/>
                    <a:pt x="2625" y="796"/>
                    <a:pt x="2524" y="796"/>
                  </a:cubicBezTo>
                  <a:cubicBezTo>
                    <a:pt x="2502" y="796"/>
                    <a:pt x="2479" y="791"/>
                    <a:pt x="2454" y="782"/>
                  </a:cubicBezTo>
                  <a:cubicBezTo>
                    <a:pt x="2451" y="780"/>
                    <a:pt x="2446" y="779"/>
                    <a:pt x="2442" y="779"/>
                  </a:cubicBezTo>
                  <a:cubicBezTo>
                    <a:pt x="2437" y="779"/>
                    <a:pt x="2432" y="780"/>
                    <a:pt x="2426" y="782"/>
                  </a:cubicBezTo>
                  <a:cubicBezTo>
                    <a:pt x="2349" y="824"/>
                    <a:pt x="2279" y="1059"/>
                    <a:pt x="2241" y="1199"/>
                  </a:cubicBezTo>
                  <a:cubicBezTo>
                    <a:pt x="2234" y="1230"/>
                    <a:pt x="2223" y="1255"/>
                    <a:pt x="2216" y="1279"/>
                  </a:cubicBezTo>
                  <a:cubicBezTo>
                    <a:pt x="2178" y="1416"/>
                    <a:pt x="1985" y="1472"/>
                    <a:pt x="1782" y="1535"/>
                  </a:cubicBezTo>
                  <a:cubicBezTo>
                    <a:pt x="1635" y="1577"/>
                    <a:pt x="1436" y="1636"/>
                    <a:pt x="1443" y="1710"/>
                  </a:cubicBezTo>
                  <a:cubicBezTo>
                    <a:pt x="1457" y="1881"/>
                    <a:pt x="1296" y="1990"/>
                    <a:pt x="1135" y="2021"/>
                  </a:cubicBezTo>
                  <a:cubicBezTo>
                    <a:pt x="1121" y="2025"/>
                    <a:pt x="1103" y="2025"/>
                    <a:pt x="1086" y="2028"/>
                  </a:cubicBezTo>
                  <a:lnTo>
                    <a:pt x="1023" y="2028"/>
                  </a:lnTo>
                  <a:cubicBezTo>
                    <a:pt x="1012" y="2025"/>
                    <a:pt x="1002" y="2025"/>
                    <a:pt x="991" y="2021"/>
                  </a:cubicBezTo>
                  <a:lnTo>
                    <a:pt x="981" y="2021"/>
                  </a:lnTo>
                  <a:cubicBezTo>
                    <a:pt x="956" y="2018"/>
                    <a:pt x="931" y="2007"/>
                    <a:pt x="907" y="1993"/>
                  </a:cubicBezTo>
                  <a:lnTo>
                    <a:pt x="900" y="1990"/>
                  </a:lnTo>
                  <a:cubicBezTo>
                    <a:pt x="893" y="1983"/>
                    <a:pt x="886" y="1979"/>
                    <a:pt x="879" y="1972"/>
                  </a:cubicBezTo>
                  <a:lnTo>
                    <a:pt x="872" y="1965"/>
                  </a:lnTo>
                  <a:cubicBezTo>
                    <a:pt x="865" y="1958"/>
                    <a:pt x="861" y="1955"/>
                    <a:pt x="858" y="1948"/>
                  </a:cubicBezTo>
                  <a:cubicBezTo>
                    <a:pt x="858" y="1944"/>
                    <a:pt x="854" y="1941"/>
                    <a:pt x="851" y="1937"/>
                  </a:cubicBezTo>
                  <a:cubicBezTo>
                    <a:pt x="844" y="1927"/>
                    <a:pt x="840" y="1916"/>
                    <a:pt x="837" y="1906"/>
                  </a:cubicBezTo>
                  <a:cubicBezTo>
                    <a:pt x="823" y="1860"/>
                    <a:pt x="742" y="1860"/>
                    <a:pt x="641" y="1860"/>
                  </a:cubicBezTo>
                  <a:cubicBezTo>
                    <a:pt x="571" y="1860"/>
                    <a:pt x="515" y="1860"/>
                    <a:pt x="476" y="1836"/>
                  </a:cubicBezTo>
                  <a:cubicBezTo>
                    <a:pt x="459" y="1836"/>
                    <a:pt x="441" y="1843"/>
                    <a:pt x="427" y="1850"/>
                  </a:cubicBezTo>
                  <a:cubicBezTo>
                    <a:pt x="389" y="1871"/>
                    <a:pt x="357" y="1909"/>
                    <a:pt x="347" y="1951"/>
                  </a:cubicBezTo>
                  <a:lnTo>
                    <a:pt x="347" y="1958"/>
                  </a:lnTo>
                  <a:cubicBezTo>
                    <a:pt x="343" y="1969"/>
                    <a:pt x="343" y="1976"/>
                    <a:pt x="343" y="1986"/>
                  </a:cubicBezTo>
                  <a:lnTo>
                    <a:pt x="343" y="1993"/>
                  </a:lnTo>
                  <a:cubicBezTo>
                    <a:pt x="340" y="2007"/>
                    <a:pt x="340" y="2021"/>
                    <a:pt x="343" y="2035"/>
                  </a:cubicBezTo>
                  <a:cubicBezTo>
                    <a:pt x="350" y="2147"/>
                    <a:pt x="312" y="2256"/>
                    <a:pt x="238" y="2340"/>
                  </a:cubicBezTo>
                  <a:cubicBezTo>
                    <a:pt x="228" y="2354"/>
                    <a:pt x="221" y="2364"/>
                    <a:pt x="210" y="2378"/>
                  </a:cubicBezTo>
                  <a:lnTo>
                    <a:pt x="182" y="2410"/>
                  </a:lnTo>
                  <a:cubicBezTo>
                    <a:pt x="161" y="2434"/>
                    <a:pt x="140" y="2459"/>
                    <a:pt x="126" y="2487"/>
                  </a:cubicBezTo>
                  <a:cubicBezTo>
                    <a:pt x="119" y="2508"/>
                    <a:pt x="109" y="2536"/>
                    <a:pt x="98" y="2567"/>
                  </a:cubicBezTo>
                  <a:cubicBezTo>
                    <a:pt x="63" y="2662"/>
                    <a:pt x="0" y="2834"/>
                    <a:pt x="53" y="2907"/>
                  </a:cubicBezTo>
                  <a:cubicBezTo>
                    <a:pt x="109" y="2991"/>
                    <a:pt x="84" y="3089"/>
                    <a:pt x="60" y="3187"/>
                  </a:cubicBezTo>
                  <a:cubicBezTo>
                    <a:pt x="35" y="3282"/>
                    <a:pt x="7" y="3394"/>
                    <a:pt x="60" y="3502"/>
                  </a:cubicBezTo>
                  <a:cubicBezTo>
                    <a:pt x="130" y="3660"/>
                    <a:pt x="133" y="3842"/>
                    <a:pt x="133" y="3971"/>
                  </a:cubicBezTo>
                  <a:cubicBezTo>
                    <a:pt x="130" y="4024"/>
                    <a:pt x="133" y="4073"/>
                    <a:pt x="144" y="4122"/>
                  </a:cubicBezTo>
                  <a:cubicBezTo>
                    <a:pt x="182" y="4136"/>
                    <a:pt x="224" y="4146"/>
                    <a:pt x="266" y="4153"/>
                  </a:cubicBezTo>
                  <a:cubicBezTo>
                    <a:pt x="413" y="4185"/>
                    <a:pt x="620" y="4230"/>
                    <a:pt x="686" y="4412"/>
                  </a:cubicBezTo>
                  <a:cubicBezTo>
                    <a:pt x="756" y="4601"/>
                    <a:pt x="522" y="4829"/>
                    <a:pt x="312" y="5025"/>
                  </a:cubicBezTo>
                  <a:cubicBezTo>
                    <a:pt x="238" y="5095"/>
                    <a:pt x="137" y="5193"/>
                    <a:pt x="130" y="5225"/>
                  </a:cubicBezTo>
                  <a:cubicBezTo>
                    <a:pt x="126" y="5228"/>
                    <a:pt x="126" y="5232"/>
                    <a:pt x="130" y="5235"/>
                  </a:cubicBezTo>
                  <a:cubicBezTo>
                    <a:pt x="147" y="5270"/>
                    <a:pt x="172" y="5305"/>
                    <a:pt x="200" y="5330"/>
                  </a:cubicBezTo>
                  <a:lnTo>
                    <a:pt x="245" y="5333"/>
                  </a:lnTo>
                  <a:lnTo>
                    <a:pt x="294" y="5337"/>
                  </a:lnTo>
                  <a:lnTo>
                    <a:pt x="350" y="5340"/>
                  </a:lnTo>
                  <a:lnTo>
                    <a:pt x="399" y="5344"/>
                  </a:lnTo>
                  <a:lnTo>
                    <a:pt x="459" y="5347"/>
                  </a:lnTo>
                  <a:lnTo>
                    <a:pt x="508" y="5351"/>
                  </a:lnTo>
                  <a:lnTo>
                    <a:pt x="564" y="5358"/>
                  </a:lnTo>
                  <a:lnTo>
                    <a:pt x="616" y="5361"/>
                  </a:lnTo>
                  <a:lnTo>
                    <a:pt x="672" y="5368"/>
                  </a:lnTo>
                  <a:lnTo>
                    <a:pt x="721" y="5375"/>
                  </a:lnTo>
                  <a:lnTo>
                    <a:pt x="777" y="5382"/>
                  </a:lnTo>
                  <a:lnTo>
                    <a:pt x="826" y="5389"/>
                  </a:lnTo>
                  <a:lnTo>
                    <a:pt x="882" y="5400"/>
                  </a:lnTo>
                  <a:lnTo>
                    <a:pt x="928" y="5403"/>
                  </a:lnTo>
                  <a:lnTo>
                    <a:pt x="1026" y="5421"/>
                  </a:lnTo>
                  <a:cubicBezTo>
                    <a:pt x="1059" y="5427"/>
                    <a:pt x="1106" y="5429"/>
                    <a:pt x="1165" y="5429"/>
                  </a:cubicBezTo>
                  <a:cubicBezTo>
                    <a:pt x="1657" y="5429"/>
                    <a:pt x="2951" y="5237"/>
                    <a:pt x="3155" y="5169"/>
                  </a:cubicBezTo>
                  <a:cubicBezTo>
                    <a:pt x="3148" y="5085"/>
                    <a:pt x="3137" y="5001"/>
                    <a:pt x="3123" y="4917"/>
                  </a:cubicBezTo>
                  <a:cubicBezTo>
                    <a:pt x="3102" y="4777"/>
                    <a:pt x="3092" y="4693"/>
                    <a:pt x="3099" y="4650"/>
                  </a:cubicBezTo>
                  <a:cubicBezTo>
                    <a:pt x="3122" y="4544"/>
                    <a:pt x="3353" y="4338"/>
                    <a:pt x="3575" y="4338"/>
                  </a:cubicBezTo>
                  <a:cubicBezTo>
                    <a:pt x="3585" y="4338"/>
                    <a:pt x="3596" y="4338"/>
                    <a:pt x="3606" y="4339"/>
                  </a:cubicBezTo>
                  <a:lnTo>
                    <a:pt x="3662" y="4342"/>
                  </a:lnTo>
                  <a:cubicBezTo>
                    <a:pt x="3710" y="4348"/>
                    <a:pt x="3764" y="4353"/>
                    <a:pt x="3809" y="4353"/>
                  </a:cubicBezTo>
                  <a:cubicBezTo>
                    <a:pt x="3850" y="4353"/>
                    <a:pt x="3883" y="4349"/>
                    <a:pt x="3897" y="4335"/>
                  </a:cubicBezTo>
                  <a:cubicBezTo>
                    <a:pt x="3897" y="4335"/>
                    <a:pt x="3907" y="4328"/>
                    <a:pt x="3907" y="4307"/>
                  </a:cubicBezTo>
                  <a:cubicBezTo>
                    <a:pt x="3907" y="4146"/>
                    <a:pt x="4208" y="4038"/>
                    <a:pt x="4348" y="4013"/>
                  </a:cubicBezTo>
                  <a:cubicBezTo>
                    <a:pt x="4388" y="4006"/>
                    <a:pt x="4421" y="4002"/>
                    <a:pt x="4450" y="4002"/>
                  </a:cubicBezTo>
                  <a:cubicBezTo>
                    <a:pt x="4556" y="4002"/>
                    <a:pt x="4598" y="4046"/>
                    <a:pt x="4614" y="4090"/>
                  </a:cubicBezTo>
                  <a:cubicBezTo>
                    <a:pt x="4620" y="4105"/>
                    <a:pt x="4628" y="4112"/>
                    <a:pt x="4637" y="4112"/>
                  </a:cubicBezTo>
                  <a:cubicBezTo>
                    <a:pt x="4639" y="4112"/>
                    <a:pt x="4641" y="4112"/>
                    <a:pt x="4642" y="4111"/>
                  </a:cubicBezTo>
                  <a:cubicBezTo>
                    <a:pt x="4677" y="4108"/>
                    <a:pt x="4737" y="4034"/>
                    <a:pt x="4747" y="3866"/>
                  </a:cubicBezTo>
                  <a:cubicBezTo>
                    <a:pt x="4747" y="3814"/>
                    <a:pt x="4751" y="3761"/>
                    <a:pt x="4751" y="3712"/>
                  </a:cubicBezTo>
                  <a:cubicBezTo>
                    <a:pt x="4758" y="3460"/>
                    <a:pt x="4765" y="3240"/>
                    <a:pt x="4985" y="3222"/>
                  </a:cubicBezTo>
                  <a:cubicBezTo>
                    <a:pt x="5118" y="3212"/>
                    <a:pt x="5245" y="3149"/>
                    <a:pt x="5287" y="3096"/>
                  </a:cubicBezTo>
                  <a:cubicBezTo>
                    <a:pt x="5297" y="3082"/>
                    <a:pt x="5297" y="3075"/>
                    <a:pt x="5297" y="3072"/>
                  </a:cubicBezTo>
                  <a:cubicBezTo>
                    <a:pt x="5276" y="3026"/>
                    <a:pt x="5248" y="2984"/>
                    <a:pt x="5217" y="2946"/>
                  </a:cubicBezTo>
                  <a:cubicBezTo>
                    <a:pt x="5143" y="2848"/>
                    <a:pt x="5059" y="2736"/>
                    <a:pt x="5136" y="2659"/>
                  </a:cubicBezTo>
                  <a:cubicBezTo>
                    <a:pt x="5159" y="2636"/>
                    <a:pt x="5190" y="2627"/>
                    <a:pt x="5230" y="2627"/>
                  </a:cubicBezTo>
                  <a:cubicBezTo>
                    <a:pt x="5283" y="2627"/>
                    <a:pt x="5350" y="2642"/>
                    <a:pt x="5434" y="2662"/>
                  </a:cubicBezTo>
                  <a:cubicBezTo>
                    <a:pt x="5559" y="2692"/>
                    <a:pt x="5645" y="2706"/>
                    <a:pt x="5694" y="2706"/>
                  </a:cubicBezTo>
                  <a:cubicBezTo>
                    <a:pt x="5720" y="2706"/>
                    <a:pt x="5734" y="2702"/>
                    <a:pt x="5738" y="2694"/>
                  </a:cubicBezTo>
                  <a:cubicBezTo>
                    <a:pt x="5759" y="2634"/>
                    <a:pt x="5763" y="2571"/>
                    <a:pt x="5752" y="2511"/>
                  </a:cubicBezTo>
                  <a:cubicBezTo>
                    <a:pt x="5745" y="2427"/>
                    <a:pt x="5738" y="2336"/>
                    <a:pt x="5791" y="2249"/>
                  </a:cubicBezTo>
                  <a:cubicBezTo>
                    <a:pt x="5826" y="2196"/>
                    <a:pt x="5868" y="2147"/>
                    <a:pt x="5910" y="2102"/>
                  </a:cubicBezTo>
                  <a:cubicBezTo>
                    <a:pt x="5976" y="2035"/>
                    <a:pt x="6046" y="1958"/>
                    <a:pt x="6043" y="1902"/>
                  </a:cubicBezTo>
                  <a:cubicBezTo>
                    <a:pt x="6039" y="1871"/>
                    <a:pt x="6036" y="1839"/>
                    <a:pt x="6036" y="1811"/>
                  </a:cubicBezTo>
                  <a:cubicBezTo>
                    <a:pt x="6032" y="1731"/>
                    <a:pt x="6032" y="1685"/>
                    <a:pt x="5966" y="1619"/>
                  </a:cubicBezTo>
                  <a:cubicBezTo>
                    <a:pt x="5896" y="1556"/>
                    <a:pt x="5868" y="1461"/>
                    <a:pt x="5892" y="1370"/>
                  </a:cubicBezTo>
                  <a:cubicBezTo>
                    <a:pt x="5924" y="1293"/>
                    <a:pt x="5997" y="1237"/>
                    <a:pt x="6085" y="1234"/>
                  </a:cubicBezTo>
                  <a:cubicBezTo>
                    <a:pt x="6102" y="1227"/>
                    <a:pt x="6123" y="1220"/>
                    <a:pt x="6137" y="1209"/>
                  </a:cubicBezTo>
                  <a:lnTo>
                    <a:pt x="6148" y="1202"/>
                  </a:lnTo>
                  <a:lnTo>
                    <a:pt x="6162" y="1199"/>
                  </a:lnTo>
                  <a:cubicBezTo>
                    <a:pt x="6267" y="1178"/>
                    <a:pt x="6354" y="1157"/>
                    <a:pt x="6417" y="1111"/>
                  </a:cubicBezTo>
                  <a:lnTo>
                    <a:pt x="6372" y="1111"/>
                  </a:lnTo>
                  <a:lnTo>
                    <a:pt x="6340" y="1118"/>
                  </a:lnTo>
                  <a:lnTo>
                    <a:pt x="6326" y="1122"/>
                  </a:lnTo>
                  <a:lnTo>
                    <a:pt x="6298" y="1129"/>
                  </a:lnTo>
                  <a:lnTo>
                    <a:pt x="6284" y="1132"/>
                  </a:lnTo>
                  <a:lnTo>
                    <a:pt x="6253" y="1136"/>
                  </a:lnTo>
                  <a:lnTo>
                    <a:pt x="6246" y="1136"/>
                  </a:lnTo>
                  <a:cubicBezTo>
                    <a:pt x="6232" y="1139"/>
                    <a:pt x="6218" y="1139"/>
                    <a:pt x="6207" y="1139"/>
                  </a:cubicBezTo>
                  <a:cubicBezTo>
                    <a:pt x="6203" y="1139"/>
                    <a:pt x="6198" y="1140"/>
                    <a:pt x="6194" y="1140"/>
                  </a:cubicBezTo>
                  <a:cubicBezTo>
                    <a:pt x="6146" y="1140"/>
                    <a:pt x="6102" y="1123"/>
                    <a:pt x="6067" y="1097"/>
                  </a:cubicBezTo>
                  <a:lnTo>
                    <a:pt x="6057" y="1087"/>
                  </a:lnTo>
                  <a:lnTo>
                    <a:pt x="6050" y="1080"/>
                  </a:lnTo>
                  <a:cubicBezTo>
                    <a:pt x="6018" y="1038"/>
                    <a:pt x="6001" y="985"/>
                    <a:pt x="6004" y="936"/>
                  </a:cubicBezTo>
                  <a:cubicBezTo>
                    <a:pt x="6004" y="912"/>
                    <a:pt x="6008" y="887"/>
                    <a:pt x="6015" y="863"/>
                  </a:cubicBezTo>
                  <a:cubicBezTo>
                    <a:pt x="6015" y="849"/>
                    <a:pt x="6022" y="831"/>
                    <a:pt x="6025" y="817"/>
                  </a:cubicBezTo>
                  <a:cubicBezTo>
                    <a:pt x="6032" y="782"/>
                    <a:pt x="6043" y="751"/>
                    <a:pt x="6053" y="716"/>
                  </a:cubicBezTo>
                  <a:cubicBezTo>
                    <a:pt x="6109" y="544"/>
                    <a:pt x="6116" y="477"/>
                    <a:pt x="6053" y="449"/>
                  </a:cubicBezTo>
                  <a:cubicBezTo>
                    <a:pt x="5889" y="372"/>
                    <a:pt x="5889" y="218"/>
                    <a:pt x="5889" y="113"/>
                  </a:cubicBezTo>
                  <a:cubicBezTo>
                    <a:pt x="5889" y="5"/>
                    <a:pt x="5878" y="1"/>
                    <a:pt x="5854" y="1"/>
                  </a:cubicBezTo>
                  <a:cubicBezTo>
                    <a:pt x="5850" y="1"/>
                    <a:pt x="5846" y="1"/>
                    <a:pt x="5842" y="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843" name="Google Shape;6843;p104"/>
            <p:cNvSpPr/>
            <p:nvPr/>
          </p:nvSpPr>
          <p:spPr>
            <a:xfrm>
              <a:off x="2595449" y="1751378"/>
              <a:ext cx="0" cy="14"/>
            </a:xfrm>
            <a:custGeom>
              <a:avLst/>
              <a:gdLst/>
              <a:ahLst/>
              <a:cxnLst/>
              <a:rect l="l" t="t" r="r" b="b"/>
              <a:pathLst>
                <a:path h="1" extrusionOk="0">
                  <a:moveTo>
                    <a:pt x="0"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844" name="Google Shape;6844;p104"/>
            <p:cNvSpPr/>
            <p:nvPr/>
          </p:nvSpPr>
          <p:spPr>
            <a:xfrm>
              <a:off x="2589692" y="1751432"/>
              <a:ext cx="11134" cy="4046"/>
            </a:xfrm>
            <a:custGeom>
              <a:avLst/>
              <a:gdLst/>
              <a:ahLst/>
              <a:cxnLst/>
              <a:rect l="l" t="t" r="r" b="b"/>
              <a:pathLst>
                <a:path w="820" h="298" extrusionOk="0">
                  <a:moveTo>
                    <a:pt x="420" y="0"/>
                  </a:moveTo>
                  <a:cubicBezTo>
                    <a:pt x="350" y="0"/>
                    <a:pt x="137" y="179"/>
                    <a:pt x="0" y="298"/>
                  </a:cubicBezTo>
                  <a:lnTo>
                    <a:pt x="18" y="294"/>
                  </a:lnTo>
                  <a:lnTo>
                    <a:pt x="42" y="287"/>
                  </a:lnTo>
                  <a:lnTo>
                    <a:pt x="77" y="277"/>
                  </a:lnTo>
                  <a:lnTo>
                    <a:pt x="98" y="270"/>
                  </a:lnTo>
                  <a:lnTo>
                    <a:pt x="133" y="263"/>
                  </a:lnTo>
                  <a:lnTo>
                    <a:pt x="158" y="259"/>
                  </a:lnTo>
                  <a:lnTo>
                    <a:pt x="189" y="252"/>
                  </a:lnTo>
                  <a:lnTo>
                    <a:pt x="210" y="249"/>
                  </a:lnTo>
                  <a:lnTo>
                    <a:pt x="242" y="245"/>
                  </a:lnTo>
                  <a:lnTo>
                    <a:pt x="361" y="245"/>
                  </a:lnTo>
                  <a:lnTo>
                    <a:pt x="382" y="249"/>
                  </a:lnTo>
                  <a:cubicBezTo>
                    <a:pt x="396" y="252"/>
                    <a:pt x="406" y="256"/>
                    <a:pt x="420" y="259"/>
                  </a:cubicBezTo>
                  <a:lnTo>
                    <a:pt x="435" y="266"/>
                  </a:lnTo>
                  <a:lnTo>
                    <a:pt x="582" y="266"/>
                  </a:lnTo>
                  <a:lnTo>
                    <a:pt x="599" y="263"/>
                  </a:lnTo>
                  <a:lnTo>
                    <a:pt x="613" y="263"/>
                  </a:lnTo>
                  <a:lnTo>
                    <a:pt x="631" y="259"/>
                  </a:lnTo>
                  <a:lnTo>
                    <a:pt x="645" y="256"/>
                  </a:lnTo>
                  <a:lnTo>
                    <a:pt x="662" y="249"/>
                  </a:lnTo>
                  <a:lnTo>
                    <a:pt x="676" y="245"/>
                  </a:lnTo>
                  <a:lnTo>
                    <a:pt x="701" y="238"/>
                  </a:lnTo>
                  <a:lnTo>
                    <a:pt x="708" y="235"/>
                  </a:lnTo>
                  <a:lnTo>
                    <a:pt x="739" y="221"/>
                  </a:lnTo>
                  <a:lnTo>
                    <a:pt x="750" y="217"/>
                  </a:lnTo>
                  <a:lnTo>
                    <a:pt x="771" y="207"/>
                  </a:lnTo>
                  <a:lnTo>
                    <a:pt x="785" y="200"/>
                  </a:lnTo>
                  <a:lnTo>
                    <a:pt x="802" y="189"/>
                  </a:lnTo>
                  <a:lnTo>
                    <a:pt x="816" y="182"/>
                  </a:lnTo>
                  <a:lnTo>
                    <a:pt x="820" y="179"/>
                  </a:lnTo>
                  <a:lnTo>
                    <a:pt x="820" y="172"/>
                  </a:lnTo>
                  <a:lnTo>
                    <a:pt x="781" y="165"/>
                  </a:lnTo>
                  <a:lnTo>
                    <a:pt x="771" y="165"/>
                  </a:lnTo>
                  <a:lnTo>
                    <a:pt x="743" y="161"/>
                  </a:lnTo>
                  <a:lnTo>
                    <a:pt x="708" y="161"/>
                  </a:lnTo>
                  <a:cubicBezTo>
                    <a:pt x="702" y="159"/>
                    <a:pt x="697" y="158"/>
                    <a:pt x="692" y="158"/>
                  </a:cubicBezTo>
                  <a:cubicBezTo>
                    <a:pt x="687" y="158"/>
                    <a:pt x="681" y="159"/>
                    <a:pt x="676" y="161"/>
                  </a:cubicBezTo>
                  <a:cubicBezTo>
                    <a:pt x="667" y="162"/>
                    <a:pt x="658" y="163"/>
                    <a:pt x="650" y="163"/>
                  </a:cubicBezTo>
                  <a:cubicBezTo>
                    <a:pt x="589" y="163"/>
                    <a:pt x="532" y="132"/>
                    <a:pt x="501" y="74"/>
                  </a:cubicBezTo>
                  <a:lnTo>
                    <a:pt x="487" y="56"/>
                  </a:lnTo>
                  <a:lnTo>
                    <a:pt x="484" y="53"/>
                  </a:lnTo>
                  <a:cubicBezTo>
                    <a:pt x="480" y="46"/>
                    <a:pt x="477" y="42"/>
                    <a:pt x="473" y="35"/>
                  </a:cubicBezTo>
                  <a:lnTo>
                    <a:pt x="463" y="28"/>
                  </a:lnTo>
                  <a:cubicBezTo>
                    <a:pt x="459" y="25"/>
                    <a:pt x="456" y="21"/>
                    <a:pt x="452" y="18"/>
                  </a:cubicBezTo>
                  <a:lnTo>
                    <a:pt x="438" y="7"/>
                  </a:lnTo>
                  <a:lnTo>
                    <a:pt x="428"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845" name="Google Shape;6845;p104"/>
            <p:cNvSpPr/>
            <p:nvPr/>
          </p:nvSpPr>
          <p:spPr>
            <a:xfrm>
              <a:off x="2541736" y="1751432"/>
              <a:ext cx="434" cy="109"/>
            </a:xfrm>
            <a:custGeom>
              <a:avLst/>
              <a:gdLst/>
              <a:ahLst/>
              <a:cxnLst/>
              <a:rect l="l" t="t" r="r" b="b"/>
              <a:pathLst>
                <a:path w="32" h="8" extrusionOk="0">
                  <a:moveTo>
                    <a:pt x="32" y="0"/>
                  </a:moveTo>
                  <a:cubicBezTo>
                    <a:pt x="21" y="0"/>
                    <a:pt x="11" y="4"/>
                    <a:pt x="0" y="4"/>
                  </a:cubicBezTo>
                  <a:lnTo>
                    <a:pt x="0" y="7"/>
                  </a:lnTo>
                  <a:lnTo>
                    <a:pt x="32"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846" name="Google Shape;6846;p104"/>
            <p:cNvSpPr/>
            <p:nvPr/>
          </p:nvSpPr>
          <p:spPr>
            <a:xfrm>
              <a:off x="2550955" y="1754039"/>
              <a:ext cx="394" cy="258"/>
            </a:xfrm>
            <a:custGeom>
              <a:avLst/>
              <a:gdLst/>
              <a:ahLst/>
              <a:cxnLst/>
              <a:rect l="l" t="t" r="r" b="b"/>
              <a:pathLst>
                <a:path w="29" h="19" extrusionOk="0">
                  <a:moveTo>
                    <a:pt x="0" y="1"/>
                  </a:moveTo>
                  <a:lnTo>
                    <a:pt x="28" y="18"/>
                  </a:lnTo>
                  <a:lnTo>
                    <a:pt x="28" y="18"/>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847" name="Google Shape;6847;p104"/>
            <p:cNvSpPr/>
            <p:nvPr/>
          </p:nvSpPr>
          <p:spPr>
            <a:xfrm>
              <a:off x="2549950" y="1753523"/>
              <a:ext cx="68" cy="14"/>
            </a:xfrm>
            <a:custGeom>
              <a:avLst/>
              <a:gdLst/>
              <a:ahLst/>
              <a:cxnLst/>
              <a:rect l="l" t="t" r="r" b="b"/>
              <a:pathLst>
                <a:path w="5" h="1" extrusionOk="0">
                  <a:moveTo>
                    <a:pt x="4"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848" name="Google Shape;6848;p104"/>
            <p:cNvSpPr/>
            <p:nvPr/>
          </p:nvSpPr>
          <p:spPr>
            <a:xfrm>
              <a:off x="2550236" y="1753618"/>
              <a:ext cx="109" cy="54"/>
            </a:xfrm>
            <a:custGeom>
              <a:avLst/>
              <a:gdLst/>
              <a:ahLst/>
              <a:cxnLst/>
              <a:rect l="l" t="t" r="r" b="b"/>
              <a:pathLst>
                <a:path w="8" h="4" extrusionOk="0">
                  <a:moveTo>
                    <a:pt x="8" y="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849" name="Google Shape;6849;p104"/>
            <p:cNvSpPr/>
            <p:nvPr/>
          </p:nvSpPr>
          <p:spPr>
            <a:xfrm>
              <a:off x="2549244" y="1753278"/>
              <a:ext cx="244" cy="14"/>
            </a:xfrm>
            <a:custGeom>
              <a:avLst/>
              <a:gdLst/>
              <a:ahLst/>
              <a:cxnLst/>
              <a:rect l="l" t="t" r="r" b="b"/>
              <a:pathLst>
                <a:path w="18" h="1" extrusionOk="0">
                  <a:moveTo>
                    <a:pt x="18" y="1"/>
                  </a:moveTo>
                  <a:cubicBezTo>
                    <a:pt x="11" y="1"/>
                    <a:pt x="7" y="1"/>
                    <a:pt x="0" y="1"/>
                  </a:cubicBezTo>
                  <a:cubicBezTo>
                    <a:pt x="7" y="1"/>
                    <a:pt x="11" y="1"/>
                    <a:pt x="18" y="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850" name="Google Shape;6850;p104"/>
            <p:cNvSpPr/>
            <p:nvPr/>
          </p:nvSpPr>
          <p:spPr>
            <a:xfrm>
              <a:off x="2550480" y="1753754"/>
              <a:ext cx="149" cy="68"/>
            </a:xfrm>
            <a:custGeom>
              <a:avLst/>
              <a:gdLst/>
              <a:ahLst/>
              <a:cxnLst/>
              <a:rect l="l" t="t" r="r" b="b"/>
              <a:pathLst>
                <a:path w="11" h="5" extrusionOk="0">
                  <a:moveTo>
                    <a:pt x="11"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851" name="Google Shape;6851;p104"/>
            <p:cNvSpPr/>
            <p:nvPr/>
          </p:nvSpPr>
          <p:spPr>
            <a:xfrm>
              <a:off x="2550711" y="1753903"/>
              <a:ext cx="204" cy="109"/>
            </a:xfrm>
            <a:custGeom>
              <a:avLst/>
              <a:gdLst/>
              <a:ahLst/>
              <a:cxnLst/>
              <a:rect l="l" t="t" r="r" b="b"/>
              <a:pathLst>
                <a:path w="15" h="8" extrusionOk="0">
                  <a:moveTo>
                    <a:pt x="15" y="7"/>
                  </a:moveTo>
                  <a:lnTo>
                    <a:pt x="1"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852" name="Google Shape;6852;p104"/>
            <p:cNvSpPr/>
            <p:nvPr/>
          </p:nvSpPr>
          <p:spPr>
            <a:xfrm>
              <a:off x="2549625" y="1753373"/>
              <a:ext cx="109" cy="14"/>
            </a:xfrm>
            <a:custGeom>
              <a:avLst/>
              <a:gdLst/>
              <a:ahLst/>
              <a:cxnLst/>
              <a:rect l="l" t="t" r="r" b="b"/>
              <a:pathLst>
                <a:path w="8" h="1" extrusionOk="0">
                  <a:moveTo>
                    <a:pt x="7"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853" name="Google Shape;6853;p104"/>
            <p:cNvSpPr/>
            <p:nvPr/>
          </p:nvSpPr>
          <p:spPr>
            <a:xfrm>
              <a:off x="2551756" y="1754568"/>
              <a:ext cx="1439" cy="910"/>
            </a:xfrm>
            <a:custGeom>
              <a:avLst/>
              <a:gdLst/>
              <a:ahLst/>
              <a:cxnLst/>
              <a:rect l="l" t="t" r="r" b="b"/>
              <a:pathLst>
                <a:path w="106" h="67" extrusionOk="0">
                  <a:moveTo>
                    <a:pt x="1" y="0"/>
                  </a:moveTo>
                  <a:lnTo>
                    <a:pt x="106" y="67"/>
                  </a:lnTo>
                  <a:lnTo>
                    <a:pt x="106" y="60"/>
                  </a:lnTo>
                  <a:lnTo>
                    <a:pt x="88" y="53"/>
                  </a:lnTo>
                  <a:cubicBezTo>
                    <a:pt x="57" y="35"/>
                    <a:pt x="29" y="18"/>
                    <a:pt x="1"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854" name="Google Shape;6854;p104"/>
            <p:cNvSpPr/>
            <p:nvPr/>
          </p:nvSpPr>
          <p:spPr>
            <a:xfrm>
              <a:off x="2542917" y="1751147"/>
              <a:ext cx="543" cy="149"/>
            </a:xfrm>
            <a:custGeom>
              <a:avLst/>
              <a:gdLst/>
              <a:ahLst/>
              <a:cxnLst/>
              <a:rect l="l" t="t" r="r" b="b"/>
              <a:pathLst>
                <a:path w="40" h="11" extrusionOk="0">
                  <a:moveTo>
                    <a:pt x="36" y="0"/>
                  </a:moveTo>
                  <a:cubicBezTo>
                    <a:pt x="29" y="3"/>
                    <a:pt x="24" y="5"/>
                    <a:pt x="19" y="7"/>
                  </a:cubicBezTo>
                  <a:lnTo>
                    <a:pt x="19" y="7"/>
                  </a:lnTo>
                  <a:lnTo>
                    <a:pt x="39" y="4"/>
                  </a:lnTo>
                  <a:lnTo>
                    <a:pt x="39" y="0"/>
                  </a:lnTo>
                  <a:close/>
                  <a:moveTo>
                    <a:pt x="19" y="7"/>
                  </a:moveTo>
                  <a:lnTo>
                    <a:pt x="1" y="11"/>
                  </a:lnTo>
                  <a:cubicBezTo>
                    <a:pt x="7" y="11"/>
                    <a:pt x="12" y="9"/>
                    <a:pt x="19" y="7"/>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855" name="Google Shape;6855;p104"/>
            <p:cNvSpPr/>
            <p:nvPr/>
          </p:nvSpPr>
          <p:spPr>
            <a:xfrm>
              <a:off x="2508784" y="1768770"/>
              <a:ext cx="204" cy="394"/>
            </a:xfrm>
            <a:custGeom>
              <a:avLst/>
              <a:gdLst/>
              <a:ahLst/>
              <a:cxnLst/>
              <a:rect l="l" t="t" r="r" b="b"/>
              <a:pathLst>
                <a:path w="15" h="29" extrusionOk="0">
                  <a:moveTo>
                    <a:pt x="15" y="29"/>
                  </a:moveTo>
                  <a:cubicBezTo>
                    <a:pt x="11" y="22"/>
                    <a:pt x="4" y="11"/>
                    <a:pt x="1" y="1"/>
                  </a:cubicBezTo>
                  <a:cubicBezTo>
                    <a:pt x="4" y="11"/>
                    <a:pt x="11" y="22"/>
                    <a:pt x="15" y="29"/>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856" name="Google Shape;6856;p104"/>
            <p:cNvSpPr/>
            <p:nvPr/>
          </p:nvSpPr>
          <p:spPr>
            <a:xfrm>
              <a:off x="2511499" y="1770440"/>
              <a:ext cx="489" cy="14"/>
            </a:xfrm>
            <a:custGeom>
              <a:avLst/>
              <a:gdLst/>
              <a:ahLst/>
              <a:cxnLst/>
              <a:rect l="l" t="t" r="r" b="b"/>
              <a:pathLst>
                <a:path w="36" h="1" extrusionOk="0">
                  <a:moveTo>
                    <a:pt x="15" y="0"/>
                  </a:moveTo>
                  <a:lnTo>
                    <a:pt x="36" y="0"/>
                  </a:lnTo>
                  <a:lnTo>
                    <a:pt x="1"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857" name="Google Shape;6857;p104"/>
            <p:cNvSpPr/>
            <p:nvPr/>
          </p:nvSpPr>
          <p:spPr>
            <a:xfrm>
              <a:off x="2509734" y="1769965"/>
              <a:ext cx="1018" cy="394"/>
            </a:xfrm>
            <a:custGeom>
              <a:avLst/>
              <a:gdLst/>
              <a:ahLst/>
              <a:cxnLst/>
              <a:rect l="l" t="t" r="r" b="b"/>
              <a:pathLst>
                <a:path w="75" h="29" extrusionOk="0">
                  <a:moveTo>
                    <a:pt x="74" y="28"/>
                  </a:moveTo>
                  <a:cubicBezTo>
                    <a:pt x="50" y="21"/>
                    <a:pt x="25" y="11"/>
                    <a:pt x="1" y="0"/>
                  </a:cubicBezTo>
                  <a:cubicBezTo>
                    <a:pt x="25" y="11"/>
                    <a:pt x="50" y="21"/>
                    <a:pt x="74" y="28"/>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858" name="Google Shape;6858;p104"/>
            <p:cNvSpPr/>
            <p:nvPr/>
          </p:nvSpPr>
          <p:spPr>
            <a:xfrm>
              <a:off x="2510888" y="1770345"/>
              <a:ext cx="475" cy="54"/>
            </a:xfrm>
            <a:custGeom>
              <a:avLst/>
              <a:gdLst/>
              <a:ahLst/>
              <a:cxnLst/>
              <a:rect l="l" t="t" r="r" b="b"/>
              <a:pathLst>
                <a:path w="35" h="4" extrusionOk="0">
                  <a:moveTo>
                    <a:pt x="35" y="4"/>
                  </a:moveTo>
                  <a:cubicBezTo>
                    <a:pt x="21" y="4"/>
                    <a:pt x="11" y="4"/>
                    <a:pt x="0" y="0"/>
                  </a:cubicBezTo>
                  <a:cubicBezTo>
                    <a:pt x="11" y="4"/>
                    <a:pt x="21" y="4"/>
                    <a:pt x="35" y="4"/>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859" name="Google Shape;6859;p104"/>
            <p:cNvSpPr/>
            <p:nvPr/>
          </p:nvSpPr>
          <p:spPr>
            <a:xfrm>
              <a:off x="2509354" y="1769680"/>
              <a:ext cx="299" cy="204"/>
            </a:xfrm>
            <a:custGeom>
              <a:avLst/>
              <a:gdLst/>
              <a:ahLst/>
              <a:cxnLst/>
              <a:rect l="l" t="t" r="r" b="b"/>
              <a:pathLst>
                <a:path w="22" h="15" extrusionOk="0">
                  <a:moveTo>
                    <a:pt x="22" y="14"/>
                  </a:moveTo>
                  <a:cubicBezTo>
                    <a:pt x="15" y="11"/>
                    <a:pt x="8" y="4"/>
                    <a:pt x="1" y="0"/>
                  </a:cubicBezTo>
                  <a:cubicBezTo>
                    <a:pt x="8" y="4"/>
                    <a:pt x="15" y="11"/>
                    <a:pt x="22" y="14"/>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860" name="Google Shape;6860;p104"/>
            <p:cNvSpPr/>
            <p:nvPr/>
          </p:nvSpPr>
          <p:spPr>
            <a:xfrm>
              <a:off x="2509069" y="1769300"/>
              <a:ext cx="204" cy="244"/>
            </a:xfrm>
            <a:custGeom>
              <a:avLst/>
              <a:gdLst/>
              <a:ahLst/>
              <a:cxnLst/>
              <a:rect l="l" t="t" r="r" b="b"/>
              <a:pathLst>
                <a:path w="15" h="18" extrusionOk="0">
                  <a:moveTo>
                    <a:pt x="15" y="18"/>
                  </a:moveTo>
                  <a:cubicBezTo>
                    <a:pt x="8" y="11"/>
                    <a:pt x="4" y="7"/>
                    <a:pt x="1" y="0"/>
                  </a:cubicBezTo>
                  <a:cubicBezTo>
                    <a:pt x="4" y="7"/>
                    <a:pt x="8" y="11"/>
                    <a:pt x="15" y="18"/>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861" name="Google Shape;6861;p104"/>
            <p:cNvSpPr/>
            <p:nvPr/>
          </p:nvSpPr>
          <p:spPr>
            <a:xfrm>
              <a:off x="2534975" y="1750997"/>
              <a:ext cx="489" cy="543"/>
            </a:xfrm>
            <a:custGeom>
              <a:avLst/>
              <a:gdLst/>
              <a:ahLst/>
              <a:cxnLst/>
              <a:rect l="l" t="t" r="r" b="b"/>
              <a:pathLst>
                <a:path w="36" h="40" extrusionOk="0">
                  <a:moveTo>
                    <a:pt x="36" y="1"/>
                  </a:moveTo>
                  <a:cubicBezTo>
                    <a:pt x="25" y="11"/>
                    <a:pt x="11" y="25"/>
                    <a:pt x="1" y="39"/>
                  </a:cubicBezTo>
                  <a:cubicBezTo>
                    <a:pt x="11" y="25"/>
                    <a:pt x="25" y="11"/>
                    <a:pt x="36" y="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862" name="Google Shape;6862;p104"/>
            <p:cNvSpPr/>
            <p:nvPr/>
          </p:nvSpPr>
          <p:spPr>
            <a:xfrm>
              <a:off x="2536780" y="1750047"/>
              <a:ext cx="109" cy="14"/>
            </a:xfrm>
            <a:custGeom>
              <a:avLst/>
              <a:gdLst/>
              <a:ahLst/>
              <a:cxnLst/>
              <a:rect l="l" t="t" r="r" b="b"/>
              <a:pathLst>
                <a:path w="8" h="1" extrusionOk="0">
                  <a:moveTo>
                    <a:pt x="1" y="0"/>
                  </a:moveTo>
                  <a:lnTo>
                    <a:pt x="1" y="0"/>
                  </a:lnTo>
                  <a:lnTo>
                    <a:pt x="8" y="0"/>
                  </a:lnTo>
                  <a:lnTo>
                    <a:pt x="1"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863" name="Google Shape;6863;p104"/>
            <p:cNvSpPr/>
            <p:nvPr/>
          </p:nvSpPr>
          <p:spPr>
            <a:xfrm>
              <a:off x="2512219" y="1770291"/>
              <a:ext cx="679" cy="109"/>
            </a:xfrm>
            <a:custGeom>
              <a:avLst/>
              <a:gdLst/>
              <a:ahLst/>
              <a:cxnLst/>
              <a:rect l="l" t="t" r="r" b="b"/>
              <a:pathLst>
                <a:path w="50" h="8" extrusionOk="0">
                  <a:moveTo>
                    <a:pt x="49" y="1"/>
                  </a:moveTo>
                  <a:cubicBezTo>
                    <a:pt x="32" y="4"/>
                    <a:pt x="14" y="8"/>
                    <a:pt x="0" y="8"/>
                  </a:cubicBezTo>
                  <a:cubicBezTo>
                    <a:pt x="14" y="8"/>
                    <a:pt x="32" y="4"/>
                    <a:pt x="49" y="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864" name="Google Shape;6864;p104"/>
            <p:cNvSpPr/>
            <p:nvPr/>
          </p:nvSpPr>
          <p:spPr>
            <a:xfrm>
              <a:off x="2503230" y="1767779"/>
              <a:ext cx="679" cy="204"/>
            </a:xfrm>
            <a:custGeom>
              <a:avLst/>
              <a:gdLst/>
              <a:ahLst/>
              <a:cxnLst/>
              <a:rect l="l" t="t" r="r" b="b"/>
              <a:pathLst>
                <a:path w="50" h="15" extrusionOk="0">
                  <a:moveTo>
                    <a:pt x="49" y="0"/>
                  </a:moveTo>
                  <a:cubicBezTo>
                    <a:pt x="35" y="0"/>
                    <a:pt x="25" y="4"/>
                    <a:pt x="14" y="7"/>
                  </a:cubicBezTo>
                  <a:lnTo>
                    <a:pt x="0" y="14"/>
                  </a:lnTo>
                  <a:cubicBezTo>
                    <a:pt x="14" y="7"/>
                    <a:pt x="32" y="0"/>
                    <a:pt x="49"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865" name="Google Shape;6865;p104"/>
            <p:cNvSpPr/>
            <p:nvPr/>
          </p:nvSpPr>
          <p:spPr>
            <a:xfrm>
              <a:off x="2542917" y="1751187"/>
              <a:ext cx="489" cy="109"/>
            </a:xfrm>
            <a:custGeom>
              <a:avLst/>
              <a:gdLst/>
              <a:ahLst/>
              <a:cxnLst/>
              <a:rect l="l" t="t" r="r" b="b"/>
              <a:pathLst>
                <a:path w="36" h="8" extrusionOk="0">
                  <a:moveTo>
                    <a:pt x="36" y="1"/>
                  </a:moveTo>
                  <a:lnTo>
                    <a:pt x="36" y="1"/>
                  </a:lnTo>
                  <a:cubicBezTo>
                    <a:pt x="22" y="4"/>
                    <a:pt x="11" y="4"/>
                    <a:pt x="1" y="8"/>
                  </a:cubicBezTo>
                  <a:cubicBezTo>
                    <a:pt x="11" y="8"/>
                    <a:pt x="22" y="4"/>
                    <a:pt x="36" y="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866" name="Google Shape;6866;p104"/>
            <p:cNvSpPr/>
            <p:nvPr/>
          </p:nvSpPr>
          <p:spPr>
            <a:xfrm>
              <a:off x="2502035" y="1769436"/>
              <a:ext cx="68" cy="394"/>
            </a:xfrm>
            <a:custGeom>
              <a:avLst/>
              <a:gdLst/>
              <a:ahLst/>
              <a:cxnLst/>
              <a:rect l="l" t="t" r="r" b="b"/>
              <a:pathLst>
                <a:path w="5" h="29" extrusionOk="0">
                  <a:moveTo>
                    <a:pt x="1" y="29"/>
                  </a:moveTo>
                  <a:cubicBezTo>
                    <a:pt x="1" y="18"/>
                    <a:pt x="4" y="11"/>
                    <a:pt x="4" y="1"/>
                  </a:cubicBezTo>
                  <a:cubicBezTo>
                    <a:pt x="4" y="11"/>
                    <a:pt x="1" y="18"/>
                    <a:pt x="1" y="29"/>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867" name="Google Shape;6867;p104"/>
            <p:cNvSpPr/>
            <p:nvPr/>
          </p:nvSpPr>
          <p:spPr>
            <a:xfrm>
              <a:off x="2499143" y="1813793"/>
              <a:ext cx="14" cy="204"/>
            </a:xfrm>
            <a:custGeom>
              <a:avLst/>
              <a:gdLst/>
              <a:ahLst/>
              <a:cxnLst/>
              <a:rect l="l" t="t" r="r" b="b"/>
              <a:pathLst>
                <a:path w="1" h="15" extrusionOk="0">
                  <a:moveTo>
                    <a:pt x="0" y="14"/>
                  </a:moveTo>
                  <a:cubicBezTo>
                    <a:pt x="0" y="7"/>
                    <a:pt x="0" y="4"/>
                    <a:pt x="0" y="0"/>
                  </a:cubicBezTo>
                  <a:cubicBezTo>
                    <a:pt x="0" y="4"/>
                    <a:pt x="0" y="7"/>
                    <a:pt x="0" y="14"/>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868" name="Google Shape;6868;p104"/>
            <p:cNvSpPr/>
            <p:nvPr/>
          </p:nvSpPr>
          <p:spPr>
            <a:xfrm>
              <a:off x="2500230" y="1774663"/>
              <a:ext cx="448" cy="489"/>
            </a:xfrm>
            <a:custGeom>
              <a:avLst/>
              <a:gdLst/>
              <a:ahLst/>
              <a:cxnLst/>
              <a:rect l="l" t="t" r="r" b="b"/>
              <a:pathLst>
                <a:path w="33" h="36" extrusionOk="0">
                  <a:moveTo>
                    <a:pt x="32" y="1"/>
                  </a:moveTo>
                  <a:cubicBezTo>
                    <a:pt x="22" y="15"/>
                    <a:pt x="11" y="25"/>
                    <a:pt x="1" y="36"/>
                  </a:cubicBezTo>
                  <a:cubicBezTo>
                    <a:pt x="15" y="25"/>
                    <a:pt x="22" y="15"/>
                    <a:pt x="32" y="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869" name="Google Shape;6869;p104"/>
            <p:cNvSpPr/>
            <p:nvPr/>
          </p:nvSpPr>
          <p:spPr>
            <a:xfrm>
              <a:off x="2502131" y="1767969"/>
              <a:ext cx="1113" cy="1385"/>
            </a:xfrm>
            <a:custGeom>
              <a:avLst/>
              <a:gdLst/>
              <a:ahLst/>
              <a:cxnLst/>
              <a:rect l="l" t="t" r="r" b="b"/>
              <a:pathLst>
                <a:path w="82" h="102" extrusionOk="0">
                  <a:moveTo>
                    <a:pt x="81" y="0"/>
                  </a:moveTo>
                  <a:cubicBezTo>
                    <a:pt x="76" y="3"/>
                    <a:pt x="70" y="6"/>
                    <a:pt x="65" y="10"/>
                  </a:cubicBezTo>
                  <a:lnTo>
                    <a:pt x="65" y="10"/>
                  </a:lnTo>
                  <a:cubicBezTo>
                    <a:pt x="67" y="9"/>
                    <a:pt x="69" y="8"/>
                    <a:pt x="71" y="7"/>
                  </a:cubicBezTo>
                  <a:lnTo>
                    <a:pt x="81" y="0"/>
                  </a:lnTo>
                  <a:close/>
                  <a:moveTo>
                    <a:pt x="65" y="10"/>
                  </a:moveTo>
                  <a:lnTo>
                    <a:pt x="65" y="10"/>
                  </a:lnTo>
                  <a:cubicBezTo>
                    <a:pt x="62" y="11"/>
                    <a:pt x="59" y="12"/>
                    <a:pt x="57" y="14"/>
                  </a:cubicBezTo>
                  <a:cubicBezTo>
                    <a:pt x="29" y="39"/>
                    <a:pt x="8" y="67"/>
                    <a:pt x="1" y="102"/>
                  </a:cubicBezTo>
                  <a:cubicBezTo>
                    <a:pt x="10" y="66"/>
                    <a:pt x="32" y="32"/>
                    <a:pt x="65" y="1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870" name="Google Shape;6870;p104"/>
            <p:cNvSpPr/>
            <p:nvPr/>
          </p:nvSpPr>
          <p:spPr>
            <a:xfrm>
              <a:off x="2500664" y="1769911"/>
              <a:ext cx="1480" cy="4725"/>
            </a:xfrm>
            <a:custGeom>
              <a:avLst/>
              <a:gdLst/>
              <a:ahLst/>
              <a:cxnLst/>
              <a:rect l="l" t="t" r="r" b="b"/>
              <a:pathLst>
                <a:path w="109" h="348" extrusionOk="0">
                  <a:moveTo>
                    <a:pt x="102" y="43"/>
                  </a:moveTo>
                  <a:cubicBezTo>
                    <a:pt x="102" y="29"/>
                    <a:pt x="102" y="15"/>
                    <a:pt x="102" y="1"/>
                  </a:cubicBezTo>
                  <a:cubicBezTo>
                    <a:pt x="102" y="15"/>
                    <a:pt x="102" y="29"/>
                    <a:pt x="102" y="43"/>
                  </a:cubicBezTo>
                  <a:cubicBezTo>
                    <a:pt x="109" y="155"/>
                    <a:pt x="70" y="263"/>
                    <a:pt x="0" y="347"/>
                  </a:cubicBezTo>
                  <a:cubicBezTo>
                    <a:pt x="70" y="263"/>
                    <a:pt x="109" y="155"/>
                    <a:pt x="102" y="43"/>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871" name="Google Shape;6871;p104"/>
            <p:cNvSpPr/>
            <p:nvPr/>
          </p:nvSpPr>
          <p:spPr>
            <a:xfrm>
              <a:off x="2503081" y="1767874"/>
              <a:ext cx="353" cy="204"/>
            </a:xfrm>
            <a:custGeom>
              <a:avLst/>
              <a:gdLst/>
              <a:ahLst/>
              <a:cxnLst/>
              <a:rect l="l" t="t" r="r" b="b"/>
              <a:pathLst>
                <a:path w="26" h="15" extrusionOk="0">
                  <a:moveTo>
                    <a:pt x="25" y="0"/>
                  </a:moveTo>
                  <a:cubicBezTo>
                    <a:pt x="15" y="4"/>
                    <a:pt x="8" y="7"/>
                    <a:pt x="1" y="14"/>
                  </a:cubicBezTo>
                  <a:lnTo>
                    <a:pt x="11" y="7"/>
                  </a:lnTo>
                  <a:lnTo>
                    <a:pt x="25"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872" name="Google Shape;6872;p104"/>
            <p:cNvSpPr/>
            <p:nvPr/>
          </p:nvSpPr>
          <p:spPr>
            <a:xfrm>
              <a:off x="2579848" y="1757895"/>
              <a:ext cx="68" cy="14"/>
            </a:xfrm>
            <a:custGeom>
              <a:avLst/>
              <a:gdLst/>
              <a:ahLst/>
              <a:cxnLst/>
              <a:rect l="l" t="t" r="r" b="b"/>
              <a:pathLst>
                <a:path w="5" h="1" extrusionOk="0">
                  <a:moveTo>
                    <a:pt x="4"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873" name="Google Shape;6873;p104"/>
            <p:cNvSpPr/>
            <p:nvPr/>
          </p:nvSpPr>
          <p:spPr>
            <a:xfrm>
              <a:off x="2583419" y="1758221"/>
              <a:ext cx="204" cy="68"/>
            </a:xfrm>
            <a:custGeom>
              <a:avLst/>
              <a:gdLst/>
              <a:ahLst/>
              <a:cxnLst/>
              <a:rect l="l" t="t" r="r" b="b"/>
              <a:pathLst>
                <a:path w="15" h="5" extrusionOk="0">
                  <a:moveTo>
                    <a:pt x="0" y="4"/>
                  </a:moveTo>
                  <a:lnTo>
                    <a:pt x="14"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874" name="Google Shape;6874;p104"/>
            <p:cNvSpPr/>
            <p:nvPr/>
          </p:nvSpPr>
          <p:spPr>
            <a:xfrm>
              <a:off x="2556318" y="1754568"/>
              <a:ext cx="204" cy="244"/>
            </a:xfrm>
            <a:custGeom>
              <a:avLst/>
              <a:gdLst/>
              <a:ahLst/>
              <a:cxnLst/>
              <a:rect l="l" t="t" r="r" b="b"/>
              <a:pathLst>
                <a:path w="15" h="18" extrusionOk="0">
                  <a:moveTo>
                    <a:pt x="1" y="18"/>
                  </a:moveTo>
                  <a:cubicBezTo>
                    <a:pt x="8" y="11"/>
                    <a:pt x="11" y="4"/>
                    <a:pt x="15" y="0"/>
                  </a:cubicBezTo>
                  <a:cubicBezTo>
                    <a:pt x="11" y="4"/>
                    <a:pt x="8" y="11"/>
                    <a:pt x="1" y="18"/>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875" name="Google Shape;6875;p104"/>
            <p:cNvSpPr/>
            <p:nvPr/>
          </p:nvSpPr>
          <p:spPr>
            <a:xfrm>
              <a:off x="2582319" y="1758465"/>
              <a:ext cx="109" cy="14"/>
            </a:xfrm>
            <a:custGeom>
              <a:avLst/>
              <a:gdLst/>
              <a:ahLst/>
              <a:cxnLst/>
              <a:rect l="l" t="t" r="r" b="b"/>
              <a:pathLst>
                <a:path w="8" h="1" extrusionOk="0">
                  <a:moveTo>
                    <a:pt x="1" y="0"/>
                  </a:moveTo>
                  <a:lnTo>
                    <a:pt x="8"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876" name="Google Shape;6876;p104"/>
            <p:cNvSpPr/>
            <p:nvPr/>
          </p:nvSpPr>
          <p:spPr>
            <a:xfrm>
              <a:off x="2584030" y="1758126"/>
              <a:ext cx="68" cy="14"/>
            </a:xfrm>
            <a:custGeom>
              <a:avLst/>
              <a:gdLst/>
              <a:ahLst/>
              <a:cxnLst/>
              <a:rect l="l" t="t" r="r" b="b"/>
              <a:pathLst>
                <a:path w="5" h="1" extrusionOk="0">
                  <a:moveTo>
                    <a:pt x="4"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877" name="Google Shape;6877;p104"/>
            <p:cNvSpPr/>
            <p:nvPr/>
          </p:nvSpPr>
          <p:spPr>
            <a:xfrm>
              <a:off x="2551335" y="1754283"/>
              <a:ext cx="394" cy="244"/>
            </a:xfrm>
            <a:custGeom>
              <a:avLst/>
              <a:gdLst/>
              <a:ahLst/>
              <a:cxnLst/>
              <a:rect l="l" t="t" r="r" b="b"/>
              <a:pathLst>
                <a:path w="29" h="18" extrusionOk="0">
                  <a:moveTo>
                    <a:pt x="0" y="0"/>
                  </a:moveTo>
                  <a:lnTo>
                    <a:pt x="28" y="18"/>
                  </a:lnTo>
                  <a:lnTo>
                    <a:pt x="18" y="11"/>
                  </a:lnTo>
                  <a:lnTo>
                    <a:pt x="0"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878" name="Google Shape;6878;p104"/>
            <p:cNvSpPr/>
            <p:nvPr/>
          </p:nvSpPr>
          <p:spPr>
            <a:xfrm>
              <a:off x="2582890" y="1758370"/>
              <a:ext cx="163" cy="54"/>
            </a:xfrm>
            <a:custGeom>
              <a:avLst/>
              <a:gdLst/>
              <a:ahLst/>
              <a:cxnLst/>
              <a:rect l="l" t="t" r="r" b="b"/>
              <a:pathLst>
                <a:path w="12" h="4" extrusionOk="0">
                  <a:moveTo>
                    <a:pt x="1" y="4"/>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879" name="Google Shape;6879;p104"/>
            <p:cNvSpPr/>
            <p:nvPr/>
          </p:nvSpPr>
          <p:spPr>
            <a:xfrm>
              <a:off x="2581803" y="1758506"/>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880" name="Google Shape;6880;p104"/>
            <p:cNvSpPr/>
            <p:nvPr/>
          </p:nvSpPr>
          <p:spPr>
            <a:xfrm>
              <a:off x="2596494" y="1752423"/>
              <a:ext cx="2811" cy="1344"/>
            </a:xfrm>
            <a:custGeom>
              <a:avLst/>
              <a:gdLst/>
              <a:ahLst/>
              <a:cxnLst/>
              <a:rect l="l" t="t" r="r" b="b"/>
              <a:pathLst>
                <a:path w="207" h="99" extrusionOk="0">
                  <a:moveTo>
                    <a:pt x="175" y="85"/>
                  </a:moveTo>
                  <a:cubicBezTo>
                    <a:pt x="186" y="85"/>
                    <a:pt x="196" y="85"/>
                    <a:pt x="207" y="85"/>
                  </a:cubicBezTo>
                  <a:cubicBezTo>
                    <a:pt x="196" y="85"/>
                    <a:pt x="186" y="85"/>
                    <a:pt x="175" y="85"/>
                  </a:cubicBezTo>
                  <a:cubicBezTo>
                    <a:pt x="105" y="99"/>
                    <a:pt x="35" y="64"/>
                    <a:pt x="0" y="1"/>
                  </a:cubicBezTo>
                  <a:cubicBezTo>
                    <a:pt x="35" y="64"/>
                    <a:pt x="105" y="99"/>
                    <a:pt x="175" y="85"/>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881" name="Google Shape;6881;p104"/>
            <p:cNvSpPr/>
            <p:nvPr/>
          </p:nvSpPr>
          <p:spPr>
            <a:xfrm>
              <a:off x="2600147" y="1753618"/>
              <a:ext cx="163" cy="14"/>
            </a:xfrm>
            <a:custGeom>
              <a:avLst/>
              <a:gdLst/>
              <a:ahLst/>
              <a:cxnLst/>
              <a:rect l="l" t="t" r="r" b="b"/>
              <a:pathLst>
                <a:path w="12" h="1" extrusionOk="0">
                  <a:moveTo>
                    <a:pt x="1" y="0"/>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882" name="Google Shape;6882;p104"/>
            <p:cNvSpPr/>
            <p:nvPr/>
          </p:nvSpPr>
          <p:spPr>
            <a:xfrm>
              <a:off x="2596250" y="1752097"/>
              <a:ext cx="54" cy="54"/>
            </a:xfrm>
            <a:custGeom>
              <a:avLst/>
              <a:gdLst/>
              <a:ahLst/>
              <a:cxnLst/>
              <a:rect l="l" t="t" r="r" b="b"/>
              <a:pathLst>
                <a:path w="4" h="4" extrusionOk="0">
                  <a:moveTo>
                    <a:pt x="1" y="0"/>
                  </a:moveTo>
                  <a:lnTo>
                    <a:pt x="4" y="4"/>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883" name="Google Shape;6883;p104"/>
            <p:cNvSpPr/>
            <p:nvPr/>
          </p:nvSpPr>
          <p:spPr>
            <a:xfrm>
              <a:off x="2599536" y="1753563"/>
              <a:ext cx="244" cy="14"/>
            </a:xfrm>
            <a:custGeom>
              <a:avLst/>
              <a:gdLst/>
              <a:ahLst/>
              <a:cxnLst/>
              <a:rect l="l" t="t" r="r" b="b"/>
              <a:pathLst>
                <a:path w="18" h="1" extrusionOk="0">
                  <a:moveTo>
                    <a:pt x="0" y="1"/>
                  </a:moveTo>
                  <a:lnTo>
                    <a:pt x="18"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884" name="Google Shape;6884;p104"/>
            <p:cNvSpPr/>
            <p:nvPr/>
          </p:nvSpPr>
          <p:spPr>
            <a:xfrm>
              <a:off x="2595639" y="1751473"/>
              <a:ext cx="190" cy="163"/>
            </a:xfrm>
            <a:custGeom>
              <a:avLst/>
              <a:gdLst/>
              <a:ahLst/>
              <a:cxnLst/>
              <a:rect l="l" t="t" r="r" b="b"/>
              <a:pathLst>
                <a:path w="14" h="12" extrusionOk="0">
                  <a:moveTo>
                    <a:pt x="0" y="1"/>
                  </a:moveTo>
                  <a:lnTo>
                    <a:pt x="14" y="1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885" name="Google Shape;6885;p104"/>
            <p:cNvSpPr/>
            <p:nvPr/>
          </p:nvSpPr>
          <p:spPr>
            <a:xfrm>
              <a:off x="2595965" y="1751758"/>
              <a:ext cx="149" cy="109"/>
            </a:xfrm>
            <a:custGeom>
              <a:avLst/>
              <a:gdLst/>
              <a:ahLst/>
              <a:cxnLst/>
              <a:rect l="l" t="t" r="r" b="b"/>
              <a:pathLst>
                <a:path w="11" h="8" extrusionOk="0">
                  <a:moveTo>
                    <a:pt x="1" y="1"/>
                  </a:moveTo>
                  <a:lnTo>
                    <a:pt x="11" y="8"/>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886" name="Google Shape;6886;p104"/>
            <p:cNvSpPr/>
            <p:nvPr/>
          </p:nvSpPr>
          <p:spPr>
            <a:xfrm>
              <a:off x="2600812" y="1753754"/>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887" name="Google Shape;6887;p104"/>
            <p:cNvSpPr/>
            <p:nvPr/>
          </p:nvSpPr>
          <p:spPr>
            <a:xfrm>
              <a:off x="2578952" y="1755709"/>
              <a:ext cx="774" cy="2050"/>
            </a:xfrm>
            <a:custGeom>
              <a:avLst/>
              <a:gdLst/>
              <a:ahLst/>
              <a:cxnLst/>
              <a:rect l="l" t="t" r="r" b="b"/>
              <a:pathLst>
                <a:path w="57" h="151" extrusionOk="0">
                  <a:moveTo>
                    <a:pt x="53" y="144"/>
                  </a:moveTo>
                  <a:lnTo>
                    <a:pt x="56" y="151"/>
                  </a:lnTo>
                  <a:lnTo>
                    <a:pt x="53" y="144"/>
                  </a:lnTo>
                  <a:cubicBezTo>
                    <a:pt x="18" y="105"/>
                    <a:pt x="0" y="53"/>
                    <a:pt x="7" y="0"/>
                  </a:cubicBezTo>
                  <a:cubicBezTo>
                    <a:pt x="0" y="53"/>
                    <a:pt x="18" y="105"/>
                    <a:pt x="53" y="144"/>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888" name="Google Shape;6888;p104"/>
            <p:cNvSpPr/>
            <p:nvPr/>
          </p:nvSpPr>
          <p:spPr>
            <a:xfrm>
              <a:off x="2556183" y="1754853"/>
              <a:ext cx="149" cy="204"/>
            </a:xfrm>
            <a:custGeom>
              <a:avLst/>
              <a:gdLst/>
              <a:ahLst/>
              <a:cxnLst/>
              <a:rect l="l" t="t" r="r" b="b"/>
              <a:pathLst>
                <a:path w="11" h="15" extrusionOk="0">
                  <a:moveTo>
                    <a:pt x="11" y="0"/>
                  </a:moveTo>
                  <a:lnTo>
                    <a:pt x="11" y="0"/>
                  </a:lnTo>
                  <a:cubicBezTo>
                    <a:pt x="7" y="4"/>
                    <a:pt x="4" y="11"/>
                    <a:pt x="0" y="14"/>
                  </a:cubicBezTo>
                  <a:cubicBezTo>
                    <a:pt x="7" y="11"/>
                    <a:pt x="7" y="4"/>
                    <a:pt x="11"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889" name="Google Shape;6889;p104"/>
            <p:cNvSpPr/>
            <p:nvPr/>
          </p:nvSpPr>
          <p:spPr>
            <a:xfrm>
              <a:off x="2556033" y="1755138"/>
              <a:ext cx="68" cy="54"/>
            </a:xfrm>
            <a:custGeom>
              <a:avLst/>
              <a:gdLst/>
              <a:ahLst/>
              <a:cxnLst/>
              <a:rect l="l" t="t" r="r" b="b"/>
              <a:pathLst>
                <a:path w="5" h="4" extrusionOk="0">
                  <a:moveTo>
                    <a:pt x="4" y="0"/>
                  </a:moveTo>
                  <a:lnTo>
                    <a:pt x="1" y="4"/>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890" name="Google Shape;6890;p104"/>
            <p:cNvSpPr/>
            <p:nvPr/>
          </p:nvSpPr>
          <p:spPr>
            <a:xfrm>
              <a:off x="2589692" y="1751378"/>
              <a:ext cx="5716" cy="4100"/>
            </a:xfrm>
            <a:custGeom>
              <a:avLst/>
              <a:gdLst/>
              <a:ahLst/>
              <a:cxnLst/>
              <a:rect l="l" t="t" r="r" b="b"/>
              <a:pathLst>
                <a:path w="421" h="302" extrusionOk="0">
                  <a:moveTo>
                    <a:pt x="420" y="1"/>
                  </a:moveTo>
                  <a:cubicBezTo>
                    <a:pt x="350" y="1"/>
                    <a:pt x="140" y="179"/>
                    <a:pt x="0" y="302"/>
                  </a:cubicBezTo>
                  <a:cubicBezTo>
                    <a:pt x="144" y="179"/>
                    <a:pt x="354" y="1"/>
                    <a:pt x="420" y="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891" name="Google Shape;6891;p104"/>
            <p:cNvSpPr/>
            <p:nvPr/>
          </p:nvSpPr>
          <p:spPr>
            <a:xfrm>
              <a:off x="2552951" y="1755274"/>
              <a:ext cx="204" cy="68"/>
            </a:xfrm>
            <a:custGeom>
              <a:avLst/>
              <a:gdLst/>
              <a:ahLst/>
              <a:cxnLst/>
              <a:rect l="l" t="t" r="r" b="b"/>
              <a:pathLst>
                <a:path w="15" h="5" extrusionOk="0">
                  <a:moveTo>
                    <a:pt x="0" y="1"/>
                  </a:moveTo>
                  <a:lnTo>
                    <a:pt x="14" y="4"/>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892" name="Google Shape;6892;p104"/>
            <p:cNvSpPr/>
            <p:nvPr/>
          </p:nvSpPr>
          <p:spPr>
            <a:xfrm>
              <a:off x="2551566" y="1754419"/>
              <a:ext cx="1398" cy="828"/>
            </a:xfrm>
            <a:custGeom>
              <a:avLst/>
              <a:gdLst/>
              <a:ahLst/>
              <a:cxnLst/>
              <a:rect l="l" t="t" r="r" b="b"/>
              <a:pathLst>
                <a:path w="103" h="61" extrusionOk="0">
                  <a:moveTo>
                    <a:pt x="1" y="1"/>
                  </a:moveTo>
                  <a:cubicBezTo>
                    <a:pt x="17" y="11"/>
                    <a:pt x="34" y="22"/>
                    <a:pt x="52" y="32"/>
                  </a:cubicBezTo>
                  <a:lnTo>
                    <a:pt x="52" y="32"/>
                  </a:lnTo>
                  <a:cubicBezTo>
                    <a:pt x="38" y="24"/>
                    <a:pt x="26" y="15"/>
                    <a:pt x="15" y="8"/>
                  </a:cubicBezTo>
                  <a:lnTo>
                    <a:pt x="1" y="1"/>
                  </a:lnTo>
                  <a:close/>
                  <a:moveTo>
                    <a:pt x="52" y="32"/>
                  </a:moveTo>
                  <a:lnTo>
                    <a:pt x="52" y="32"/>
                  </a:lnTo>
                  <a:cubicBezTo>
                    <a:pt x="68" y="43"/>
                    <a:pt x="85" y="52"/>
                    <a:pt x="102" y="60"/>
                  </a:cubicBezTo>
                  <a:cubicBezTo>
                    <a:pt x="85" y="52"/>
                    <a:pt x="68" y="42"/>
                    <a:pt x="52" y="32"/>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893" name="Google Shape;6893;p104"/>
            <p:cNvSpPr/>
            <p:nvPr/>
          </p:nvSpPr>
          <p:spPr>
            <a:xfrm>
              <a:off x="2502185" y="1754514"/>
              <a:ext cx="119265" cy="108620"/>
            </a:xfrm>
            <a:custGeom>
              <a:avLst/>
              <a:gdLst/>
              <a:ahLst/>
              <a:cxnLst/>
              <a:rect l="l" t="t" r="r" b="b"/>
              <a:pathLst>
                <a:path w="8784" h="8000" extrusionOk="0">
                  <a:moveTo>
                    <a:pt x="7405" y="1"/>
                  </a:moveTo>
                  <a:lnTo>
                    <a:pt x="7398" y="8"/>
                  </a:lnTo>
                  <a:cubicBezTo>
                    <a:pt x="7387" y="18"/>
                    <a:pt x="7380" y="25"/>
                    <a:pt x="7370" y="32"/>
                  </a:cubicBezTo>
                  <a:lnTo>
                    <a:pt x="7352" y="43"/>
                  </a:lnTo>
                  <a:lnTo>
                    <a:pt x="7331" y="60"/>
                  </a:lnTo>
                  <a:lnTo>
                    <a:pt x="7310" y="71"/>
                  </a:lnTo>
                  <a:lnTo>
                    <a:pt x="7289" y="85"/>
                  </a:lnTo>
                  <a:lnTo>
                    <a:pt x="7268" y="95"/>
                  </a:lnTo>
                  <a:lnTo>
                    <a:pt x="7247" y="106"/>
                  </a:lnTo>
                  <a:lnTo>
                    <a:pt x="7226" y="113"/>
                  </a:lnTo>
                  <a:lnTo>
                    <a:pt x="7205" y="123"/>
                  </a:lnTo>
                  <a:lnTo>
                    <a:pt x="7184" y="130"/>
                  </a:lnTo>
                  <a:lnTo>
                    <a:pt x="7163" y="137"/>
                  </a:lnTo>
                  <a:lnTo>
                    <a:pt x="7142" y="144"/>
                  </a:lnTo>
                  <a:lnTo>
                    <a:pt x="7121" y="151"/>
                  </a:lnTo>
                  <a:lnTo>
                    <a:pt x="7100" y="155"/>
                  </a:lnTo>
                  <a:lnTo>
                    <a:pt x="7079" y="158"/>
                  </a:lnTo>
                  <a:lnTo>
                    <a:pt x="7058" y="162"/>
                  </a:lnTo>
                  <a:lnTo>
                    <a:pt x="7037" y="165"/>
                  </a:lnTo>
                  <a:lnTo>
                    <a:pt x="7020" y="169"/>
                  </a:lnTo>
                  <a:lnTo>
                    <a:pt x="6908" y="169"/>
                  </a:lnTo>
                  <a:lnTo>
                    <a:pt x="6890" y="165"/>
                  </a:lnTo>
                  <a:lnTo>
                    <a:pt x="6876" y="165"/>
                  </a:lnTo>
                  <a:lnTo>
                    <a:pt x="6855" y="162"/>
                  </a:lnTo>
                  <a:lnTo>
                    <a:pt x="6844" y="158"/>
                  </a:lnTo>
                  <a:cubicBezTo>
                    <a:pt x="6834" y="158"/>
                    <a:pt x="6827" y="155"/>
                    <a:pt x="6816" y="151"/>
                  </a:cubicBezTo>
                  <a:cubicBezTo>
                    <a:pt x="6799" y="145"/>
                    <a:pt x="6777" y="142"/>
                    <a:pt x="6750" y="142"/>
                  </a:cubicBezTo>
                  <a:cubicBezTo>
                    <a:pt x="6595" y="142"/>
                    <a:pt x="6302" y="241"/>
                    <a:pt x="6141" y="361"/>
                  </a:cubicBezTo>
                  <a:cubicBezTo>
                    <a:pt x="6060" y="421"/>
                    <a:pt x="5962" y="445"/>
                    <a:pt x="5843" y="470"/>
                  </a:cubicBezTo>
                  <a:cubicBezTo>
                    <a:pt x="5812" y="491"/>
                    <a:pt x="5780" y="501"/>
                    <a:pt x="5745" y="508"/>
                  </a:cubicBezTo>
                  <a:cubicBezTo>
                    <a:pt x="5707" y="508"/>
                    <a:pt x="5675" y="529"/>
                    <a:pt x="5661" y="561"/>
                  </a:cubicBezTo>
                  <a:cubicBezTo>
                    <a:pt x="5654" y="603"/>
                    <a:pt x="5668" y="645"/>
                    <a:pt x="5703" y="673"/>
                  </a:cubicBezTo>
                  <a:cubicBezTo>
                    <a:pt x="5777" y="743"/>
                    <a:pt x="5819" y="844"/>
                    <a:pt x="5812" y="953"/>
                  </a:cubicBezTo>
                  <a:cubicBezTo>
                    <a:pt x="5812" y="977"/>
                    <a:pt x="5812" y="1005"/>
                    <a:pt x="5819" y="1033"/>
                  </a:cubicBezTo>
                  <a:cubicBezTo>
                    <a:pt x="5833" y="1149"/>
                    <a:pt x="5742" y="1243"/>
                    <a:pt x="5654" y="1338"/>
                  </a:cubicBezTo>
                  <a:cubicBezTo>
                    <a:pt x="5616" y="1376"/>
                    <a:pt x="5581" y="1422"/>
                    <a:pt x="5549" y="1464"/>
                  </a:cubicBezTo>
                  <a:cubicBezTo>
                    <a:pt x="5518" y="1513"/>
                    <a:pt x="5525" y="1576"/>
                    <a:pt x="5532" y="1646"/>
                  </a:cubicBezTo>
                  <a:cubicBezTo>
                    <a:pt x="5542" y="1730"/>
                    <a:pt x="5535" y="1814"/>
                    <a:pt x="5507" y="1895"/>
                  </a:cubicBezTo>
                  <a:cubicBezTo>
                    <a:pt x="5476" y="1960"/>
                    <a:pt x="5410" y="1982"/>
                    <a:pt x="5328" y="1982"/>
                  </a:cubicBezTo>
                  <a:cubicBezTo>
                    <a:pt x="5245" y="1982"/>
                    <a:pt x="5146" y="1960"/>
                    <a:pt x="5052" y="1937"/>
                  </a:cubicBezTo>
                  <a:cubicBezTo>
                    <a:pt x="5000" y="1923"/>
                    <a:pt x="4947" y="1912"/>
                    <a:pt x="4895" y="1905"/>
                  </a:cubicBezTo>
                  <a:lnTo>
                    <a:pt x="4895" y="1905"/>
                  </a:lnTo>
                  <a:cubicBezTo>
                    <a:pt x="4916" y="1944"/>
                    <a:pt x="4944" y="1979"/>
                    <a:pt x="4968" y="2014"/>
                  </a:cubicBezTo>
                  <a:cubicBezTo>
                    <a:pt x="5017" y="2080"/>
                    <a:pt x="5066" y="2140"/>
                    <a:pt x="5073" y="2196"/>
                  </a:cubicBezTo>
                  <a:cubicBezTo>
                    <a:pt x="5080" y="2241"/>
                    <a:pt x="5066" y="2287"/>
                    <a:pt x="5038" y="2322"/>
                  </a:cubicBezTo>
                  <a:cubicBezTo>
                    <a:pt x="4965" y="2413"/>
                    <a:pt x="4804" y="2486"/>
                    <a:pt x="4642" y="2497"/>
                  </a:cubicBezTo>
                  <a:cubicBezTo>
                    <a:pt x="4548" y="2504"/>
                    <a:pt x="4537" y="2602"/>
                    <a:pt x="4530" y="2861"/>
                  </a:cubicBezTo>
                  <a:cubicBezTo>
                    <a:pt x="4530" y="2910"/>
                    <a:pt x="4527" y="2962"/>
                    <a:pt x="4523" y="3018"/>
                  </a:cubicBezTo>
                  <a:cubicBezTo>
                    <a:pt x="4513" y="3267"/>
                    <a:pt x="4401" y="3372"/>
                    <a:pt x="4310" y="3386"/>
                  </a:cubicBezTo>
                  <a:cubicBezTo>
                    <a:pt x="4302" y="3387"/>
                    <a:pt x="4295" y="3387"/>
                    <a:pt x="4287" y="3387"/>
                  </a:cubicBezTo>
                  <a:cubicBezTo>
                    <a:pt x="4222" y="3387"/>
                    <a:pt x="4161" y="3347"/>
                    <a:pt x="4142" y="3284"/>
                  </a:cubicBezTo>
                  <a:cubicBezTo>
                    <a:pt x="4131" y="3277"/>
                    <a:pt x="4117" y="3277"/>
                    <a:pt x="4107" y="3277"/>
                  </a:cubicBezTo>
                  <a:cubicBezTo>
                    <a:pt x="4019" y="3277"/>
                    <a:pt x="3932" y="3298"/>
                    <a:pt x="3855" y="3333"/>
                  </a:cubicBezTo>
                  <a:cubicBezTo>
                    <a:pt x="3729" y="3386"/>
                    <a:pt x="3687" y="3438"/>
                    <a:pt x="3683" y="3449"/>
                  </a:cubicBezTo>
                  <a:cubicBezTo>
                    <a:pt x="3687" y="3498"/>
                    <a:pt x="3669" y="3543"/>
                    <a:pt x="3634" y="3575"/>
                  </a:cubicBezTo>
                  <a:cubicBezTo>
                    <a:pt x="3589" y="3615"/>
                    <a:pt x="3527" y="3627"/>
                    <a:pt x="3452" y="3627"/>
                  </a:cubicBezTo>
                  <a:cubicBezTo>
                    <a:pt x="3404" y="3627"/>
                    <a:pt x="3351" y="3622"/>
                    <a:pt x="3295" y="3617"/>
                  </a:cubicBezTo>
                  <a:lnTo>
                    <a:pt x="3242" y="3613"/>
                  </a:lnTo>
                  <a:cubicBezTo>
                    <a:pt x="3236" y="3613"/>
                    <a:pt x="3230" y="3613"/>
                    <a:pt x="3223" y="3613"/>
                  </a:cubicBezTo>
                  <a:cubicBezTo>
                    <a:pt x="3069" y="3613"/>
                    <a:pt x="2888" y="3770"/>
                    <a:pt x="2875" y="3820"/>
                  </a:cubicBezTo>
                  <a:cubicBezTo>
                    <a:pt x="2878" y="3894"/>
                    <a:pt x="2885" y="3967"/>
                    <a:pt x="2899" y="4037"/>
                  </a:cubicBezTo>
                  <a:cubicBezTo>
                    <a:pt x="2931" y="4240"/>
                    <a:pt x="2945" y="4335"/>
                    <a:pt x="2917" y="4384"/>
                  </a:cubicBezTo>
                  <a:cubicBezTo>
                    <a:pt x="2903" y="4412"/>
                    <a:pt x="2875" y="4471"/>
                    <a:pt x="1891" y="4604"/>
                  </a:cubicBezTo>
                  <a:lnTo>
                    <a:pt x="1852" y="4611"/>
                  </a:lnTo>
                  <a:lnTo>
                    <a:pt x="1849" y="4611"/>
                  </a:lnTo>
                  <a:lnTo>
                    <a:pt x="1803" y="4615"/>
                  </a:lnTo>
                  <a:cubicBezTo>
                    <a:pt x="1614" y="4639"/>
                    <a:pt x="1289" y="4681"/>
                    <a:pt x="1023" y="4695"/>
                  </a:cubicBezTo>
                  <a:lnTo>
                    <a:pt x="1019" y="4695"/>
                  </a:lnTo>
                  <a:cubicBezTo>
                    <a:pt x="970" y="4699"/>
                    <a:pt x="925" y="4702"/>
                    <a:pt x="883" y="4702"/>
                  </a:cubicBezTo>
                  <a:lnTo>
                    <a:pt x="722" y="4702"/>
                  </a:lnTo>
                  <a:lnTo>
                    <a:pt x="690" y="4699"/>
                  </a:lnTo>
                  <a:lnTo>
                    <a:pt x="683" y="4699"/>
                  </a:lnTo>
                  <a:lnTo>
                    <a:pt x="652" y="4695"/>
                  </a:lnTo>
                  <a:lnTo>
                    <a:pt x="564" y="4681"/>
                  </a:lnTo>
                  <a:lnTo>
                    <a:pt x="539" y="4674"/>
                  </a:lnTo>
                  <a:lnTo>
                    <a:pt x="469" y="4667"/>
                  </a:lnTo>
                  <a:lnTo>
                    <a:pt x="441" y="4660"/>
                  </a:lnTo>
                  <a:lnTo>
                    <a:pt x="368" y="4653"/>
                  </a:lnTo>
                  <a:lnTo>
                    <a:pt x="347" y="4650"/>
                  </a:lnTo>
                  <a:lnTo>
                    <a:pt x="249" y="4636"/>
                  </a:lnTo>
                  <a:lnTo>
                    <a:pt x="238" y="4636"/>
                  </a:lnTo>
                  <a:lnTo>
                    <a:pt x="151" y="4629"/>
                  </a:lnTo>
                  <a:lnTo>
                    <a:pt x="123" y="4625"/>
                  </a:lnTo>
                  <a:lnTo>
                    <a:pt x="53" y="4618"/>
                  </a:lnTo>
                  <a:lnTo>
                    <a:pt x="0" y="4618"/>
                  </a:lnTo>
                  <a:cubicBezTo>
                    <a:pt x="39" y="4653"/>
                    <a:pt x="77" y="4695"/>
                    <a:pt x="105" y="4741"/>
                  </a:cubicBezTo>
                  <a:lnTo>
                    <a:pt x="109" y="4744"/>
                  </a:lnTo>
                  <a:cubicBezTo>
                    <a:pt x="116" y="4751"/>
                    <a:pt x="119" y="4762"/>
                    <a:pt x="126" y="4772"/>
                  </a:cubicBezTo>
                  <a:lnTo>
                    <a:pt x="130" y="4779"/>
                  </a:lnTo>
                  <a:cubicBezTo>
                    <a:pt x="133" y="4790"/>
                    <a:pt x="140" y="4800"/>
                    <a:pt x="144" y="4811"/>
                  </a:cubicBezTo>
                  <a:cubicBezTo>
                    <a:pt x="172" y="4877"/>
                    <a:pt x="214" y="4940"/>
                    <a:pt x="266" y="4989"/>
                  </a:cubicBezTo>
                  <a:cubicBezTo>
                    <a:pt x="291" y="5014"/>
                    <a:pt x="315" y="5038"/>
                    <a:pt x="343" y="5059"/>
                  </a:cubicBezTo>
                  <a:cubicBezTo>
                    <a:pt x="357" y="5070"/>
                    <a:pt x="371" y="5080"/>
                    <a:pt x="389" y="5094"/>
                  </a:cubicBezTo>
                  <a:cubicBezTo>
                    <a:pt x="406" y="5105"/>
                    <a:pt x="424" y="5119"/>
                    <a:pt x="441" y="5129"/>
                  </a:cubicBezTo>
                  <a:cubicBezTo>
                    <a:pt x="515" y="5175"/>
                    <a:pt x="588" y="5217"/>
                    <a:pt x="669" y="5248"/>
                  </a:cubicBezTo>
                  <a:cubicBezTo>
                    <a:pt x="690" y="5259"/>
                    <a:pt x="711" y="5269"/>
                    <a:pt x="732" y="5283"/>
                  </a:cubicBezTo>
                  <a:cubicBezTo>
                    <a:pt x="862" y="5378"/>
                    <a:pt x="879" y="5560"/>
                    <a:pt x="893" y="5693"/>
                  </a:cubicBezTo>
                  <a:lnTo>
                    <a:pt x="897" y="5717"/>
                  </a:lnTo>
                  <a:lnTo>
                    <a:pt x="897" y="5738"/>
                  </a:lnTo>
                  <a:cubicBezTo>
                    <a:pt x="897" y="5749"/>
                    <a:pt x="897" y="5756"/>
                    <a:pt x="900" y="5763"/>
                  </a:cubicBezTo>
                  <a:lnTo>
                    <a:pt x="900" y="5766"/>
                  </a:lnTo>
                  <a:cubicBezTo>
                    <a:pt x="900" y="5773"/>
                    <a:pt x="900" y="5780"/>
                    <a:pt x="904" y="5787"/>
                  </a:cubicBezTo>
                  <a:lnTo>
                    <a:pt x="904" y="5794"/>
                  </a:lnTo>
                  <a:cubicBezTo>
                    <a:pt x="904" y="5798"/>
                    <a:pt x="904" y="5805"/>
                    <a:pt x="907" y="5808"/>
                  </a:cubicBezTo>
                  <a:lnTo>
                    <a:pt x="907" y="5815"/>
                  </a:lnTo>
                  <a:cubicBezTo>
                    <a:pt x="907" y="5819"/>
                    <a:pt x="907" y="5822"/>
                    <a:pt x="911" y="5826"/>
                  </a:cubicBezTo>
                  <a:lnTo>
                    <a:pt x="911" y="5833"/>
                  </a:lnTo>
                  <a:cubicBezTo>
                    <a:pt x="911" y="5836"/>
                    <a:pt x="911" y="5840"/>
                    <a:pt x="914" y="5840"/>
                  </a:cubicBezTo>
                  <a:cubicBezTo>
                    <a:pt x="914" y="5843"/>
                    <a:pt x="918" y="5843"/>
                    <a:pt x="918" y="5847"/>
                  </a:cubicBezTo>
                  <a:cubicBezTo>
                    <a:pt x="918" y="5847"/>
                    <a:pt x="918" y="5847"/>
                    <a:pt x="921" y="5850"/>
                  </a:cubicBezTo>
                  <a:cubicBezTo>
                    <a:pt x="928" y="5854"/>
                    <a:pt x="939" y="5857"/>
                    <a:pt x="949" y="5861"/>
                  </a:cubicBezTo>
                  <a:cubicBezTo>
                    <a:pt x="1033" y="5906"/>
                    <a:pt x="1117" y="6026"/>
                    <a:pt x="1149" y="6138"/>
                  </a:cubicBezTo>
                  <a:cubicBezTo>
                    <a:pt x="1152" y="6148"/>
                    <a:pt x="1156" y="6159"/>
                    <a:pt x="1159" y="6166"/>
                  </a:cubicBezTo>
                  <a:cubicBezTo>
                    <a:pt x="1159" y="6176"/>
                    <a:pt x="1159" y="6176"/>
                    <a:pt x="1159" y="6183"/>
                  </a:cubicBezTo>
                  <a:cubicBezTo>
                    <a:pt x="1163" y="6187"/>
                    <a:pt x="1159" y="6190"/>
                    <a:pt x="1163" y="6197"/>
                  </a:cubicBezTo>
                  <a:cubicBezTo>
                    <a:pt x="1166" y="6201"/>
                    <a:pt x="1163" y="6211"/>
                    <a:pt x="1163" y="6218"/>
                  </a:cubicBezTo>
                  <a:lnTo>
                    <a:pt x="1163" y="6225"/>
                  </a:lnTo>
                  <a:cubicBezTo>
                    <a:pt x="1163" y="6232"/>
                    <a:pt x="1163" y="6243"/>
                    <a:pt x="1163" y="6253"/>
                  </a:cubicBezTo>
                  <a:cubicBezTo>
                    <a:pt x="1159" y="6323"/>
                    <a:pt x="1103" y="6379"/>
                    <a:pt x="1033" y="6386"/>
                  </a:cubicBezTo>
                  <a:cubicBezTo>
                    <a:pt x="865" y="6404"/>
                    <a:pt x="704" y="6453"/>
                    <a:pt x="557" y="6530"/>
                  </a:cubicBezTo>
                  <a:cubicBezTo>
                    <a:pt x="420" y="6596"/>
                    <a:pt x="228" y="6785"/>
                    <a:pt x="245" y="7027"/>
                  </a:cubicBezTo>
                  <a:cubicBezTo>
                    <a:pt x="245" y="7037"/>
                    <a:pt x="245" y="7048"/>
                    <a:pt x="249" y="7062"/>
                  </a:cubicBezTo>
                  <a:lnTo>
                    <a:pt x="249" y="7065"/>
                  </a:lnTo>
                  <a:lnTo>
                    <a:pt x="252" y="7104"/>
                  </a:lnTo>
                  <a:cubicBezTo>
                    <a:pt x="302" y="7105"/>
                    <a:pt x="351" y="7105"/>
                    <a:pt x="398" y="7105"/>
                  </a:cubicBezTo>
                  <a:cubicBezTo>
                    <a:pt x="805" y="7105"/>
                    <a:pt x="1116" y="7079"/>
                    <a:pt x="1170" y="7048"/>
                  </a:cubicBezTo>
                  <a:cubicBezTo>
                    <a:pt x="1239" y="6973"/>
                    <a:pt x="1364" y="6922"/>
                    <a:pt x="1486" y="6922"/>
                  </a:cubicBezTo>
                  <a:cubicBezTo>
                    <a:pt x="1553" y="6922"/>
                    <a:pt x="1619" y="6938"/>
                    <a:pt x="1674" y="6974"/>
                  </a:cubicBezTo>
                  <a:cubicBezTo>
                    <a:pt x="1726" y="7010"/>
                    <a:pt x="1897" y="7036"/>
                    <a:pt x="2075" y="7036"/>
                  </a:cubicBezTo>
                  <a:cubicBezTo>
                    <a:pt x="2231" y="7036"/>
                    <a:pt x="2393" y="7016"/>
                    <a:pt x="2486" y="6964"/>
                  </a:cubicBezTo>
                  <a:cubicBezTo>
                    <a:pt x="2556" y="6922"/>
                    <a:pt x="2640" y="6897"/>
                    <a:pt x="2724" y="6894"/>
                  </a:cubicBezTo>
                  <a:cubicBezTo>
                    <a:pt x="2777" y="6894"/>
                    <a:pt x="2829" y="6908"/>
                    <a:pt x="2878" y="6932"/>
                  </a:cubicBezTo>
                  <a:cubicBezTo>
                    <a:pt x="2959" y="6974"/>
                    <a:pt x="3011" y="7055"/>
                    <a:pt x="3018" y="7149"/>
                  </a:cubicBezTo>
                  <a:cubicBezTo>
                    <a:pt x="3022" y="7212"/>
                    <a:pt x="3067" y="7251"/>
                    <a:pt x="3155" y="7324"/>
                  </a:cubicBezTo>
                  <a:cubicBezTo>
                    <a:pt x="3183" y="7345"/>
                    <a:pt x="3218" y="7373"/>
                    <a:pt x="3249" y="7401"/>
                  </a:cubicBezTo>
                  <a:cubicBezTo>
                    <a:pt x="3337" y="7485"/>
                    <a:pt x="3340" y="7576"/>
                    <a:pt x="3344" y="7650"/>
                  </a:cubicBezTo>
                  <a:cubicBezTo>
                    <a:pt x="3340" y="7699"/>
                    <a:pt x="3351" y="7744"/>
                    <a:pt x="3372" y="7790"/>
                  </a:cubicBezTo>
                  <a:cubicBezTo>
                    <a:pt x="3407" y="7842"/>
                    <a:pt x="3459" y="7860"/>
                    <a:pt x="3571" y="7891"/>
                  </a:cubicBezTo>
                  <a:cubicBezTo>
                    <a:pt x="3659" y="7909"/>
                    <a:pt x="3739" y="7937"/>
                    <a:pt x="3820" y="7972"/>
                  </a:cubicBezTo>
                  <a:cubicBezTo>
                    <a:pt x="3837" y="7983"/>
                    <a:pt x="3855" y="7990"/>
                    <a:pt x="3869" y="8000"/>
                  </a:cubicBezTo>
                  <a:lnTo>
                    <a:pt x="3872" y="7997"/>
                  </a:lnTo>
                  <a:cubicBezTo>
                    <a:pt x="3886" y="7979"/>
                    <a:pt x="3897" y="7965"/>
                    <a:pt x="3907" y="7947"/>
                  </a:cubicBezTo>
                  <a:lnTo>
                    <a:pt x="3911" y="7944"/>
                  </a:lnTo>
                  <a:cubicBezTo>
                    <a:pt x="3921" y="7926"/>
                    <a:pt x="3932" y="7905"/>
                    <a:pt x="3942" y="7888"/>
                  </a:cubicBezTo>
                  <a:cubicBezTo>
                    <a:pt x="4012" y="7770"/>
                    <a:pt x="4092" y="7628"/>
                    <a:pt x="4311" y="7628"/>
                  </a:cubicBezTo>
                  <a:cubicBezTo>
                    <a:pt x="4346" y="7628"/>
                    <a:pt x="4384" y="7632"/>
                    <a:pt x="4425" y="7639"/>
                  </a:cubicBezTo>
                  <a:cubicBezTo>
                    <a:pt x="4491" y="7651"/>
                    <a:pt x="4542" y="7655"/>
                    <a:pt x="4582" y="7655"/>
                  </a:cubicBezTo>
                  <a:cubicBezTo>
                    <a:pt x="4652" y="7655"/>
                    <a:pt x="4692" y="7642"/>
                    <a:pt x="4730" y="7629"/>
                  </a:cubicBezTo>
                  <a:cubicBezTo>
                    <a:pt x="4769" y="7614"/>
                    <a:pt x="4811" y="7607"/>
                    <a:pt x="4853" y="7607"/>
                  </a:cubicBezTo>
                  <a:cubicBezTo>
                    <a:pt x="4871" y="7607"/>
                    <a:pt x="4890" y="7608"/>
                    <a:pt x="4909" y="7611"/>
                  </a:cubicBezTo>
                  <a:cubicBezTo>
                    <a:pt x="4919" y="7611"/>
                    <a:pt x="4933" y="7615"/>
                    <a:pt x="4944" y="7615"/>
                  </a:cubicBezTo>
                  <a:cubicBezTo>
                    <a:pt x="5001" y="7627"/>
                    <a:pt x="5049" y="7633"/>
                    <a:pt x="5089" y="7633"/>
                  </a:cubicBezTo>
                  <a:cubicBezTo>
                    <a:pt x="5194" y="7633"/>
                    <a:pt x="5246" y="7594"/>
                    <a:pt x="5287" y="7538"/>
                  </a:cubicBezTo>
                  <a:cubicBezTo>
                    <a:pt x="5339" y="7457"/>
                    <a:pt x="5210" y="7233"/>
                    <a:pt x="5101" y="7121"/>
                  </a:cubicBezTo>
                  <a:cubicBezTo>
                    <a:pt x="5014" y="7034"/>
                    <a:pt x="4863" y="6827"/>
                    <a:pt x="4842" y="6603"/>
                  </a:cubicBezTo>
                  <a:cubicBezTo>
                    <a:pt x="4839" y="6572"/>
                    <a:pt x="4839" y="6540"/>
                    <a:pt x="4842" y="6509"/>
                  </a:cubicBezTo>
                  <a:cubicBezTo>
                    <a:pt x="4849" y="6442"/>
                    <a:pt x="4800" y="6411"/>
                    <a:pt x="4695" y="6351"/>
                  </a:cubicBezTo>
                  <a:cubicBezTo>
                    <a:pt x="4607" y="6306"/>
                    <a:pt x="4495" y="6246"/>
                    <a:pt x="4495" y="6124"/>
                  </a:cubicBezTo>
                  <a:cubicBezTo>
                    <a:pt x="4495" y="5973"/>
                    <a:pt x="4681" y="5784"/>
                    <a:pt x="4881" y="5605"/>
                  </a:cubicBezTo>
                  <a:cubicBezTo>
                    <a:pt x="4902" y="5584"/>
                    <a:pt x="4916" y="5570"/>
                    <a:pt x="4926" y="5560"/>
                  </a:cubicBezTo>
                  <a:cubicBezTo>
                    <a:pt x="4948" y="5538"/>
                    <a:pt x="4975" y="5529"/>
                    <a:pt x="5004" y="5529"/>
                  </a:cubicBezTo>
                  <a:cubicBezTo>
                    <a:pt x="5053" y="5529"/>
                    <a:pt x="5111" y="5553"/>
                    <a:pt x="5168" y="5577"/>
                  </a:cubicBezTo>
                  <a:cubicBezTo>
                    <a:pt x="5208" y="5593"/>
                    <a:pt x="5281" y="5625"/>
                    <a:pt x="5312" y="5625"/>
                  </a:cubicBezTo>
                  <a:cubicBezTo>
                    <a:pt x="5316" y="5625"/>
                    <a:pt x="5319" y="5624"/>
                    <a:pt x="5322" y="5623"/>
                  </a:cubicBezTo>
                  <a:cubicBezTo>
                    <a:pt x="5365" y="5539"/>
                    <a:pt x="5437" y="5515"/>
                    <a:pt x="5512" y="5515"/>
                  </a:cubicBezTo>
                  <a:cubicBezTo>
                    <a:pt x="5578" y="5515"/>
                    <a:pt x="5646" y="5533"/>
                    <a:pt x="5700" y="5546"/>
                  </a:cubicBezTo>
                  <a:cubicBezTo>
                    <a:pt x="5721" y="5553"/>
                    <a:pt x="5742" y="5560"/>
                    <a:pt x="5763" y="5563"/>
                  </a:cubicBezTo>
                  <a:cubicBezTo>
                    <a:pt x="5766" y="5563"/>
                    <a:pt x="5773" y="5563"/>
                    <a:pt x="5777" y="5560"/>
                  </a:cubicBezTo>
                  <a:lnTo>
                    <a:pt x="5787" y="5556"/>
                  </a:lnTo>
                  <a:cubicBezTo>
                    <a:pt x="5794" y="5553"/>
                    <a:pt x="5801" y="5549"/>
                    <a:pt x="5805" y="5546"/>
                  </a:cubicBezTo>
                  <a:cubicBezTo>
                    <a:pt x="5903" y="5458"/>
                    <a:pt x="5969" y="5339"/>
                    <a:pt x="5987" y="5210"/>
                  </a:cubicBezTo>
                  <a:cubicBezTo>
                    <a:pt x="6008" y="5035"/>
                    <a:pt x="6207" y="4975"/>
                    <a:pt x="6347" y="4930"/>
                  </a:cubicBezTo>
                  <a:cubicBezTo>
                    <a:pt x="6386" y="4919"/>
                    <a:pt x="6424" y="4905"/>
                    <a:pt x="6459" y="4888"/>
                  </a:cubicBezTo>
                  <a:cubicBezTo>
                    <a:pt x="6473" y="4863"/>
                    <a:pt x="6487" y="4839"/>
                    <a:pt x="6494" y="4814"/>
                  </a:cubicBezTo>
                  <a:cubicBezTo>
                    <a:pt x="6526" y="4737"/>
                    <a:pt x="6564" y="4615"/>
                    <a:pt x="6589" y="4538"/>
                  </a:cubicBezTo>
                  <a:cubicBezTo>
                    <a:pt x="6620" y="4440"/>
                    <a:pt x="6641" y="4377"/>
                    <a:pt x="6655" y="4338"/>
                  </a:cubicBezTo>
                  <a:lnTo>
                    <a:pt x="6662" y="4321"/>
                  </a:lnTo>
                  <a:cubicBezTo>
                    <a:pt x="6694" y="4265"/>
                    <a:pt x="6757" y="4247"/>
                    <a:pt x="6820" y="4233"/>
                  </a:cubicBezTo>
                  <a:cubicBezTo>
                    <a:pt x="6932" y="4205"/>
                    <a:pt x="6981" y="4184"/>
                    <a:pt x="6981" y="4093"/>
                  </a:cubicBezTo>
                  <a:cubicBezTo>
                    <a:pt x="6981" y="3816"/>
                    <a:pt x="7139" y="3750"/>
                    <a:pt x="7296" y="3725"/>
                  </a:cubicBezTo>
                  <a:cubicBezTo>
                    <a:pt x="7331" y="3718"/>
                    <a:pt x="7338" y="3638"/>
                    <a:pt x="7338" y="3526"/>
                  </a:cubicBezTo>
                  <a:cubicBezTo>
                    <a:pt x="7338" y="3473"/>
                    <a:pt x="7342" y="3424"/>
                    <a:pt x="7349" y="3372"/>
                  </a:cubicBezTo>
                  <a:cubicBezTo>
                    <a:pt x="7370" y="3183"/>
                    <a:pt x="7471" y="2959"/>
                    <a:pt x="7678" y="2906"/>
                  </a:cubicBezTo>
                  <a:lnTo>
                    <a:pt x="7685" y="2903"/>
                  </a:lnTo>
                  <a:cubicBezTo>
                    <a:pt x="7671" y="2882"/>
                    <a:pt x="7653" y="2861"/>
                    <a:pt x="7632" y="2847"/>
                  </a:cubicBezTo>
                  <a:cubicBezTo>
                    <a:pt x="7590" y="2813"/>
                    <a:pt x="7538" y="2795"/>
                    <a:pt x="7484" y="2795"/>
                  </a:cubicBezTo>
                  <a:cubicBezTo>
                    <a:pt x="7472" y="2795"/>
                    <a:pt x="7459" y="2796"/>
                    <a:pt x="7447" y="2798"/>
                  </a:cubicBezTo>
                  <a:cubicBezTo>
                    <a:pt x="7434" y="2801"/>
                    <a:pt x="7422" y="2802"/>
                    <a:pt x="7410" y="2802"/>
                  </a:cubicBezTo>
                  <a:cubicBezTo>
                    <a:pt x="7202" y="2802"/>
                    <a:pt x="7087" y="2394"/>
                    <a:pt x="7051" y="2245"/>
                  </a:cubicBezTo>
                  <a:lnTo>
                    <a:pt x="7048" y="2231"/>
                  </a:lnTo>
                  <a:lnTo>
                    <a:pt x="7048" y="2220"/>
                  </a:lnTo>
                  <a:lnTo>
                    <a:pt x="7048" y="2213"/>
                  </a:lnTo>
                  <a:cubicBezTo>
                    <a:pt x="7055" y="2000"/>
                    <a:pt x="7030" y="1783"/>
                    <a:pt x="6992" y="1754"/>
                  </a:cubicBezTo>
                  <a:cubicBezTo>
                    <a:pt x="6932" y="1716"/>
                    <a:pt x="6908" y="1646"/>
                    <a:pt x="6932" y="1579"/>
                  </a:cubicBezTo>
                  <a:cubicBezTo>
                    <a:pt x="6964" y="1457"/>
                    <a:pt x="7114" y="1327"/>
                    <a:pt x="7307" y="1327"/>
                  </a:cubicBezTo>
                  <a:cubicBezTo>
                    <a:pt x="7415" y="1327"/>
                    <a:pt x="7555" y="1376"/>
                    <a:pt x="7688" y="1422"/>
                  </a:cubicBezTo>
                  <a:cubicBezTo>
                    <a:pt x="7803" y="1459"/>
                    <a:pt x="7941" y="1507"/>
                    <a:pt x="8026" y="1507"/>
                  </a:cubicBezTo>
                  <a:cubicBezTo>
                    <a:pt x="8052" y="1507"/>
                    <a:pt x="8073" y="1503"/>
                    <a:pt x="8087" y="1492"/>
                  </a:cubicBezTo>
                  <a:cubicBezTo>
                    <a:pt x="8196" y="1415"/>
                    <a:pt x="8364" y="1362"/>
                    <a:pt x="8497" y="1317"/>
                  </a:cubicBezTo>
                  <a:cubicBezTo>
                    <a:pt x="8546" y="1303"/>
                    <a:pt x="8591" y="1289"/>
                    <a:pt x="8637" y="1268"/>
                  </a:cubicBezTo>
                  <a:cubicBezTo>
                    <a:pt x="8661" y="1264"/>
                    <a:pt x="8714" y="1187"/>
                    <a:pt x="8784" y="1023"/>
                  </a:cubicBezTo>
                  <a:lnTo>
                    <a:pt x="8745" y="998"/>
                  </a:lnTo>
                  <a:lnTo>
                    <a:pt x="8735" y="991"/>
                  </a:lnTo>
                  <a:lnTo>
                    <a:pt x="8696" y="974"/>
                  </a:lnTo>
                  <a:lnTo>
                    <a:pt x="8679" y="963"/>
                  </a:lnTo>
                  <a:lnTo>
                    <a:pt x="8647" y="946"/>
                  </a:lnTo>
                  <a:lnTo>
                    <a:pt x="8626" y="935"/>
                  </a:lnTo>
                  <a:lnTo>
                    <a:pt x="8595" y="918"/>
                  </a:lnTo>
                  <a:lnTo>
                    <a:pt x="8570" y="907"/>
                  </a:lnTo>
                  <a:lnTo>
                    <a:pt x="8542" y="893"/>
                  </a:lnTo>
                  <a:lnTo>
                    <a:pt x="8518" y="879"/>
                  </a:lnTo>
                  <a:lnTo>
                    <a:pt x="8483" y="865"/>
                  </a:lnTo>
                  <a:lnTo>
                    <a:pt x="8462" y="855"/>
                  </a:lnTo>
                  <a:lnTo>
                    <a:pt x="8409" y="830"/>
                  </a:lnTo>
                  <a:cubicBezTo>
                    <a:pt x="8224" y="750"/>
                    <a:pt x="8101" y="571"/>
                    <a:pt x="8094" y="368"/>
                  </a:cubicBezTo>
                  <a:cubicBezTo>
                    <a:pt x="8070" y="330"/>
                    <a:pt x="7937" y="235"/>
                    <a:pt x="7839" y="165"/>
                  </a:cubicBezTo>
                  <a:lnTo>
                    <a:pt x="7751" y="106"/>
                  </a:lnTo>
                  <a:lnTo>
                    <a:pt x="7737" y="92"/>
                  </a:lnTo>
                  <a:cubicBezTo>
                    <a:pt x="7706" y="71"/>
                    <a:pt x="7678" y="50"/>
                    <a:pt x="7650" y="29"/>
                  </a:cubicBezTo>
                  <a:lnTo>
                    <a:pt x="7643" y="22"/>
                  </a:lnTo>
                  <a:lnTo>
                    <a:pt x="7615" y="29"/>
                  </a:lnTo>
                  <a:cubicBezTo>
                    <a:pt x="7583" y="32"/>
                    <a:pt x="7548" y="39"/>
                    <a:pt x="7510" y="50"/>
                  </a:cubicBezTo>
                  <a:lnTo>
                    <a:pt x="7475" y="60"/>
                  </a:lnTo>
                  <a:lnTo>
                    <a:pt x="7447" y="32"/>
                  </a:lnTo>
                  <a:lnTo>
                    <a:pt x="7443" y="29"/>
                  </a:lnTo>
                  <a:cubicBezTo>
                    <a:pt x="7436" y="22"/>
                    <a:pt x="7429" y="18"/>
                    <a:pt x="7422" y="15"/>
                  </a:cubicBezTo>
                  <a:lnTo>
                    <a:pt x="7405"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894" name="Google Shape;6894;p104"/>
            <p:cNvSpPr/>
            <p:nvPr/>
          </p:nvSpPr>
          <p:spPr>
            <a:xfrm>
              <a:off x="2562306" y="1858137"/>
              <a:ext cx="4155" cy="353"/>
            </a:xfrm>
            <a:custGeom>
              <a:avLst/>
              <a:gdLst/>
              <a:ahLst/>
              <a:cxnLst/>
              <a:rect l="l" t="t" r="r" b="b"/>
              <a:pathLst>
                <a:path w="306" h="26" extrusionOk="0">
                  <a:moveTo>
                    <a:pt x="305" y="0"/>
                  </a:moveTo>
                  <a:cubicBezTo>
                    <a:pt x="268" y="11"/>
                    <a:pt x="228" y="24"/>
                    <a:pt x="160" y="24"/>
                  </a:cubicBezTo>
                  <a:cubicBezTo>
                    <a:pt x="119" y="24"/>
                    <a:pt x="68" y="19"/>
                    <a:pt x="1" y="7"/>
                  </a:cubicBezTo>
                  <a:lnTo>
                    <a:pt x="1" y="7"/>
                  </a:lnTo>
                  <a:cubicBezTo>
                    <a:pt x="67" y="20"/>
                    <a:pt x="118" y="25"/>
                    <a:pt x="159" y="25"/>
                  </a:cubicBezTo>
                  <a:cubicBezTo>
                    <a:pt x="228" y="25"/>
                    <a:pt x="268" y="11"/>
                    <a:pt x="305"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895" name="Google Shape;6895;p104"/>
            <p:cNvSpPr/>
            <p:nvPr/>
          </p:nvSpPr>
          <p:spPr>
            <a:xfrm>
              <a:off x="2597961" y="1785077"/>
              <a:ext cx="5431" cy="8187"/>
            </a:xfrm>
            <a:custGeom>
              <a:avLst/>
              <a:gdLst/>
              <a:ahLst/>
              <a:cxnLst/>
              <a:rect l="l" t="t" r="r" b="b"/>
              <a:pathLst>
                <a:path w="400" h="603" extrusionOk="0">
                  <a:moveTo>
                    <a:pt x="400" y="554"/>
                  </a:moveTo>
                  <a:cubicBezTo>
                    <a:pt x="169" y="603"/>
                    <a:pt x="39" y="158"/>
                    <a:pt x="1" y="1"/>
                  </a:cubicBezTo>
                  <a:cubicBezTo>
                    <a:pt x="39" y="158"/>
                    <a:pt x="169" y="603"/>
                    <a:pt x="400" y="554"/>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896" name="Google Shape;6896;p104"/>
            <p:cNvSpPr/>
            <p:nvPr/>
          </p:nvSpPr>
          <p:spPr>
            <a:xfrm>
              <a:off x="2605903" y="1793210"/>
              <a:ext cx="720" cy="815"/>
            </a:xfrm>
            <a:custGeom>
              <a:avLst/>
              <a:gdLst/>
              <a:ahLst/>
              <a:cxnLst/>
              <a:rect l="l" t="t" r="r" b="b"/>
              <a:pathLst>
                <a:path w="53" h="60" extrusionOk="0">
                  <a:moveTo>
                    <a:pt x="53" y="60"/>
                  </a:moveTo>
                  <a:cubicBezTo>
                    <a:pt x="39" y="35"/>
                    <a:pt x="21" y="14"/>
                    <a:pt x="0" y="0"/>
                  </a:cubicBezTo>
                  <a:cubicBezTo>
                    <a:pt x="21" y="14"/>
                    <a:pt x="39" y="35"/>
                    <a:pt x="53" y="6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897" name="Google Shape;6897;p104"/>
            <p:cNvSpPr/>
            <p:nvPr/>
          </p:nvSpPr>
          <p:spPr>
            <a:xfrm>
              <a:off x="2580663" y="1829951"/>
              <a:ext cx="204" cy="109"/>
            </a:xfrm>
            <a:custGeom>
              <a:avLst/>
              <a:gdLst/>
              <a:ahLst/>
              <a:cxnLst/>
              <a:rect l="l" t="t" r="r" b="b"/>
              <a:pathLst>
                <a:path w="15" h="8" extrusionOk="0">
                  <a:moveTo>
                    <a:pt x="14"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898" name="Google Shape;6898;p104"/>
            <p:cNvSpPr/>
            <p:nvPr/>
          </p:nvSpPr>
          <p:spPr>
            <a:xfrm>
              <a:off x="2555273" y="1862360"/>
              <a:ext cx="68" cy="68"/>
            </a:xfrm>
            <a:custGeom>
              <a:avLst/>
              <a:gdLst/>
              <a:ahLst/>
              <a:cxnLst/>
              <a:rect l="l" t="t" r="r" b="b"/>
              <a:pathLst>
                <a:path w="5" h="5" extrusionOk="0">
                  <a:moveTo>
                    <a:pt x="4" y="1"/>
                  </a:moveTo>
                  <a:lnTo>
                    <a:pt x="1" y="4"/>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899" name="Google Shape;6899;p104"/>
            <p:cNvSpPr/>
            <p:nvPr/>
          </p:nvSpPr>
          <p:spPr>
            <a:xfrm>
              <a:off x="2554798" y="1863080"/>
              <a:ext cx="68" cy="54"/>
            </a:xfrm>
            <a:custGeom>
              <a:avLst/>
              <a:gdLst/>
              <a:ahLst/>
              <a:cxnLst/>
              <a:rect l="l" t="t" r="r" b="b"/>
              <a:pathLst>
                <a:path w="5" h="4" extrusionOk="0">
                  <a:moveTo>
                    <a:pt x="1" y="4"/>
                  </a:moveTo>
                  <a:lnTo>
                    <a:pt x="4" y="1"/>
                  </a:lnTo>
                  <a:lnTo>
                    <a:pt x="1" y="4"/>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900" name="Google Shape;6900;p104"/>
            <p:cNvSpPr/>
            <p:nvPr/>
          </p:nvSpPr>
          <p:spPr>
            <a:xfrm>
              <a:off x="2580853" y="1829801"/>
              <a:ext cx="244" cy="163"/>
            </a:xfrm>
            <a:custGeom>
              <a:avLst/>
              <a:gdLst/>
              <a:ahLst/>
              <a:cxnLst/>
              <a:rect l="l" t="t" r="r" b="b"/>
              <a:pathLst>
                <a:path w="18" h="12" extrusionOk="0">
                  <a:moveTo>
                    <a:pt x="18" y="1"/>
                  </a:moveTo>
                  <a:cubicBezTo>
                    <a:pt x="11" y="4"/>
                    <a:pt x="4" y="8"/>
                    <a:pt x="0" y="11"/>
                  </a:cubicBezTo>
                  <a:cubicBezTo>
                    <a:pt x="4" y="8"/>
                    <a:pt x="11" y="4"/>
                    <a:pt x="18" y="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901" name="Google Shape;6901;p104"/>
            <p:cNvSpPr/>
            <p:nvPr/>
          </p:nvSpPr>
          <p:spPr>
            <a:xfrm>
              <a:off x="2620255" y="1767725"/>
              <a:ext cx="530" cy="258"/>
            </a:xfrm>
            <a:custGeom>
              <a:avLst/>
              <a:gdLst/>
              <a:ahLst/>
              <a:cxnLst/>
              <a:rect l="l" t="t" r="r" b="b"/>
              <a:pathLst>
                <a:path w="39" h="19" extrusionOk="0">
                  <a:moveTo>
                    <a:pt x="0" y="1"/>
                  </a:moveTo>
                  <a:lnTo>
                    <a:pt x="39" y="18"/>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902" name="Google Shape;6902;p104"/>
            <p:cNvSpPr/>
            <p:nvPr/>
          </p:nvSpPr>
          <p:spPr>
            <a:xfrm>
              <a:off x="2619589" y="1767345"/>
              <a:ext cx="434" cy="258"/>
            </a:xfrm>
            <a:custGeom>
              <a:avLst/>
              <a:gdLst/>
              <a:ahLst/>
              <a:cxnLst/>
              <a:rect l="l" t="t" r="r" b="b"/>
              <a:pathLst>
                <a:path w="32" h="19" extrusionOk="0">
                  <a:moveTo>
                    <a:pt x="0" y="1"/>
                  </a:moveTo>
                  <a:lnTo>
                    <a:pt x="32" y="18"/>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903" name="Google Shape;6903;p104"/>
            <p:cNvSpPr/>
            <p:nvPr/>
          </p:nvSpPr>
          <p:spPr>
            <a:xfrm>
              <a:off x="2612081" y="1759510"/>
              <a:ext cx="4290" cy="6286"/>
            </a:xfrm>
            <a:custGeom>
              <a:avLst/>
              <a:gdLst/>
              <a:ahLst/>
              <a:cxnLst/>
              <a:rect l="l" t="t" r="r" b="b"/>
              <a:pathLst>
                <a:path w="316" h="463" extrusionOk="0">
                  <a:moveTo>
                    <a:pt x="315" y="462"/>
                  </a:moveTo>
                  <a:lnTo>
                    <a:pt x="315" y="462"/>
                  </a:lnTo>
                  <a:cubicBezTo>
                    <a:pt x="130" y="382"/>
                    <a:pt x="7" y="203"/>
                    <a:pt x="0" y="0"/>
                  </a:cubicBezTo>
                  <a:cubicBezTo>
                    <a:pt x="7" y="203"/>
                    <a:pt x="130" y="382"/>
                    <a:pt x="315" y="462"/>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904" name="Google Shape;6904;p104"/>
            <p:cNvSpPr/>
            <p:nvPr/>
          </p:nvSpPr>
          <p:spPr>
            <a:xfrm>
              <a:off x="2620920" y="1768064"/>
              <a:ext cx="530" cy="339"/>
            </a:xfrm>
            <a:custGeom>
              <a:avLst/>
              <a:gdLst/>
              <a:ahLst/>
              <a:cxnLst/>
              <a:rect l="l" t="t" r="r" b="b"/>
              <a:pathLst>
                <a:path w="39" h="25" extrusionOk="0">
                  <a:moveTo>
                    <a:pt x="39" y="25"/>
                  </a:moveTo>
                  <a:lnTo>
                    <a:pt x="0"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905" name="Google Shape;6905;p104"/>
            <p:cNvSpPr/>
            <p:nvPr/>
          </p:nvSpPr>
          <p:spPr>
            <a:xfrm>
              <a:off x="2618870" y="1766964"/>
              <a:ext cx="448" cy="258"/>
            </a:xfrm>
            <a:custGeom>
              <a:avLst/>
              <a:gdLst/>
              <a:ahLst/>
              <a:cxnLst/>
              <a:rect l="l" t="t" r="r" b="b"/>
              <a:pathLst>
                <a:path w="33" h="19" extrusionOk="0">
                  <a:moveTo>
                    <a:pt x="1" y="1"/>
                  </a:moveTo>
                  <a:lnTo>
                    <a:pt x="32" y="18"/>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906" name="Google Shape;6906;p104"/>
            <p:cNvSpPr/>
            <p:nvPr/>
          </p:nvSpPr>
          <p:spPr>
            <a:xfrm>
              <a:off x="2608660" y="1756754"/>
              <a:ext cx="3476" cy="2770"/>
            </a:xfrm>
            <a:custGeom>
              <a:avLst/>
              <a:gdLst/>
              <a:ahLst/>
              <a:cxnLst/>
              <a:rect l="l" t="t" r="r" b="b"/>
              <a:pathLst>
                <a:path w="256" h="204" extrusionOk="0">
                  <a:moveTo>
                    <a:pt x="0" y="0"/>
                  </a:moveTo>
                  <a:lnTo>
                    <a:pt x="0" y="0"/>
                  </a:lnTo>
                  <a:cubicBezTo>
                    <a:pt x="95" y="70"/>
                    <a:pt x="228" y="165"/>
                    <a:pt x="256" y="203"/>
                  </a:cubicBezTo>
                  <a:cubicBezTo>
                    <a:pt x="228" y="165"/>
                    <a:pt x="98" y="70"/>
                    <a:pt x="0"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907" name="Google Shape;6907;p104"/>
            <p:cNvSpPr/>
            <p:nvPr/>
          </p:nvSpPr>
          <p:spPr>
            <a:xfrm>
              <a:off x="2606093" y="1754894"/>
              <a:ext cx="1154" cy="869"/>
            </a:xfrm>
            <a:custGeom>
              <a:avLst/>
              <a:gdLst/>
              <a:ahLst/>
              <a:cxnLst/>
              <a:rect l="l" t="t" r="r" b="b"/>
              <a:pathLst>
                <a:path w="85" h="64" extrusionOk="0">
                  <a:moveTo>
                    <a:pt x="0" y="1"/>
                  </a:moveTo>
                  <a:cubicBezTo>
                    <a:pt x="28" y="22"/>
                    <a:pt x="56" y="43"/>
                    <a:pt x="84" y="64"/>
                  </a:cubicBezTo>
                  <a:cubicBezTo>
                    <a:pt x="56" y="43"/>
                    <a:pt x="28" y="22"/>
                    <a:pt x="0" y="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908" name="Google Shape;6908;p104"/>
            <p:cNvSpPr/>
            <p:nvPr/>
          </p:nvSpPr>
          <p:spPr>
            <a:xfrm>
              <a:off x="2616358" y="1765783"/>
              <a:ext cx="720" cy="339"/>
            </a:xfrm>
            <a:custGeom>
              <a:avLst/>
              <a:gdLst/>
              <a:ahLst/>
              <a:cxnLst/>
              <a:rect l="l" t="t" r="r" b="b"/>
              <a:pathLst>
                <a:path w="53" h="25" extrusionOk="0">
                  <a:moveTo>
                    <a:pt x="0" y="0"/>
                  </a:moveTo>
                  <a:lnTo>
                    <a:pt x="53" y="25"/>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909" name="Google Shape;6909;p104"/>
            <p:cNvSpPr/>
            <p:nvPr/>
          </p:nvSpPr>
          <p:spPr>
            <a:xfrm>
              <a:off x="2618164" y="1766639"/>
              <a:ext cx="394" cy="204"/>
            </a:xfrm>
            <a:custGeom>
              <a:avLst/>
              <a:gdLst/>
              <a:ahLst/>
              <a:cxnLst/>
              <a:rect l="l" t="t" r="r" b="b"/>
              <a:pathLst>
                <a:path w="29" h="15" extrusionOk="0">
                  <a:moveTo>
                    <a:pt x="0" y="0"/>
                  </a:moveTo>
                  <a:lnTo>
                    <a:pt x="28" y="14"/>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910" name="Google Shape;6910;p104"/>
            <p:cNvSpPr/>
            <p:nvPr/>
          </p:nvSpPr>
          <p:spPr>
            <a:xfrm>
              <a:off x="2607465" y="1755940"/>
              <a:ext cx="1208" cy="828"/>
            </a:xfrm>
            <a:custGeom>
              <a:avLst/>
              <a:gdLst/>
              <a:ahLst/>
              <a:cxnLst/>
              <a:rect l="l" t="t" r="r" b="b"/>
              <a:pathLst>
                <a:path w="89" h="61" extrusionOk="0">
                  <a:moveTo>
                    <a:pt x="1" y="1"/>
                  </a:moveTo>
                  <a:lnTo>
                    <a:pt x="88" y="6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911" name="Google Shape;6911;p104"/>
            <p:cNvSpPr/>
            <p:nvPr/>
          </p:nvSpPr>
          <p:spPr>
            <a:xfrm>
              <a:off x="2617349" y="1766258"/>
              <a:ext cx="489" cy="204"/>
            </a:xfrm>
            <a:custGeom>
              <a:avLst/>
              <a:gdLst/>
              <a:ahLst/>
              <a:cxnLst/>
              <a:rect l="l" t="t" r="r" b="b"/>
              <a:pathLst>
                <a:path w="36" h="15" extrusionOk="0">
                  <a:moveTo>
                    <a:pt x="1" y="0"/>
                  </a:moveTo>
                  <a:lnTo>
                    <a:pt x="36" y="14"/>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912" name="Google Shape;6912;p104"/>
            <p:cNvSpPr/>
            <p:nvPr/>
          </p:nvSpPr>
          <p:spPr>
            <a:xfrm>
              <a:off x="2514350" y="1832802"/>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913" name="Google Shape;6913;p104"/>
            <p:cNvSpPr/>
            <p:nvPr/>
          </p:nvSpPr>
          <p:spPr>
            <a:xfrm>
              <a:off x="2505742" y="1822252"/>
              <a:ext cx="1059" cy="910"/>
            </a:xfrm>
            <a:custGeom>
              <a:avLst/>
              <a:gdLst/>
              <a:ahLst/>
              <a:cxnLst/>
              <a:rect l="l" t="t" r="r" b="b"/>
              <a:pathLst>
                <a:path w="78" h="67" extrusionOk="0">
                  <a:moveTo>
                    <a:pt x="78" y="67"/>
                  </a:moveTo>
                  <a:cubicBezTo>
                    <a:pt x="50" y="46"/>
                    <a:pt x="22" y="25"/>
                    <a:pt x="1" y="0"/>
                  </a:cubicBezTo>
                  <a:cubicBezTo>
                    <a:pt x="22" y="25"/>
                    <a:pt x="50" y="46"/>
                    <a:pt x="78" y="67"/>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914" name="Google Shape;6914;p104"/>
            <p:cNvSpPr/>
            <p:nvPr/>
          </p:nvSpPr>
          <p:spPr>
            <a:xfrm>
              <a:off x="2514635" y="1833942"/>
              <a:ext cx="394" cy="149"/>
            </a:xfrm>
            <a:custGeom>
              <a:avLst/>
              <a:gdLst/>
              <a:ahLst/>
              <a:cxnLst/>
              <a:rect l="l" t="t" r="r" b="b"/>
              <a:pathLst>
                <a:path w="29" h="11" extrusionOk="0">
                  <a:moveTo>
                    <a:pt x="1" y="0"/>
                  </a:moveTo>
                  <a:cubicBezTo>
                    <a:pt x="11" y="4"/>
                    <a:pt x="22" y="7"/>
                    <a:pt x="29" y="11"/>
                  </a:cubicBezTo>
                  <a:cubicBezTo>
                    <a:pt x="22" y="7"/>
                    <a:pt x="11" y="4"/>
                    <a:pt x="4"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915" name="Google Shape;6915;p104"/>
            <p:cNvSpPr/>
            <p:nvPr/>
          </p:nvSpPr>
          <p:spPr>
            <a:xfrm>
              <a:off x="2517772" y="1837839"/>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916" name="Google Shape;6916;p104"/>
            <p:cNvSpPr/>
            <p:nvPr/>
          </p:nvSpPr>
          <p:spPr>
            <a:xfrm>
              <a:off x="2518016" y="1839034"/>
              <a:ext cx="14" cy="394"/>
            </a:xfrm>
            <a:custGeom>
              <a:avLst/>
              <a:gdLst/>
              <a:ahLst/>
              <a:cxnLst/>
              <a:rect l="l" t="t" r="r" b="b"/>
              <a:pathLst>
                <a:path w="1" h="29" extrusionOk="0">
                  <a:moveTo>
                    <a:pt x="0" y="0"/>
                  </a:moveTo>
                  <a:cubicBezTo>
                    <a:pt x="0" y="11"/>
                    <a:pt x="0" y="18"/>
                    <a:pt x="0" y="28"/>
                  </a:cubicBezTo>
                  <a:cubicBezTo>
                    <a:pt x="0" y="18"/>
                    <a:pt x="0" y="11"/>
                    <a:pt x="0"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917" name="Google Shape;6917;p104"/>
            <p:cNvSpPr/>
            <p:nvPr/>
          </p:nvSpPr>
          <p:spPr>
            <a:xfrm>
              <a:off x="2517962" y="1838654"/>
              <a:ext cx="14" cy="299"/>
            </a:xfrm>
            <a:custGeom>
              <a:avLst/>
              <a:gdLst/>
              <a:ahLst/>
              <a:cxnLst/>
              <a:rect l="l" t="t" r="r" b="b"/>
              <a:pathLst>
                <a:path w="1" h="22" extrusionOk="0">
                  <a:moveTo>
                    <a:pt x="1" y="21"/>
                  </a:moveTo>
                  <a:lnTo>
                    <a:pt x="1" y="0"/>
                  </a:lnTo>
                  <a:cubicBezTo>
                    <a:pt x="1" y="7"/>
                    <a:pt x="1" y="14"/>
                    <a:pt x="1" y="2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918" name="Google Shape;6918;p104"/>
            <p:cNvSpPr/>
            <p:nvPr/>
          </p:nvSpPr>
          <p:spPr>
            <a:xfrm>
              <a:off x="2517867" y="1838219"/>
              <a:ext cx="68" cy="258"/>
            </a:xfrm>
            <a:custGeom>
              <a:avLst/>
              <a:gdLst/>
              <a:ahLst/>
              <a:cxnLst/>
              <a:rect l="l" t="t" r="r" b="b"/>
              <a:pathLst>
                <a:path w="5" h="19" extrusionOk="0">
                  <a:moveTo>
                    <a:pt x="4" y="18"/>
                  </a:moveTo>
                  <a:cubicBezTo>
                    <a:pt x="4" y="11"/>
                    <a:pt x="4" y="8"/>
                    <a:pt x="1" y="1"/>
                  </a:cubicBezTo>
                  <a:cubicBezTo>
                    <a:pt x="4" y="8"/>
                    <a:pt x="4" y="11"/>
                    <a:pt x="4" y="18"/>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919" name="Google Shape;6919;p104"/>
            <p:cNvSpPr/>
            <p:nvPr/>
          </p:nvSpPr>
          <p:spPr>
            <a:xfrm>
              <a:off x="2514500" y="1833603"/>
              <a:ext cx="54" cy="109"/>
            </a:xfrm>
            <a:custGeom>
              <a:avLst/>
              <a:gdLst/>
              <a:ahLst/>
              <a:cxnLst/>
              <a:rect l="l" t="t" r="r" b="b"/>
              <a:pathLst>
                <a:path w="4" h="8" extrusionOk="0">
                  <a:moveTo>
                    <a:pt x="0" y="1"/>
                  </a:moveTo>
                  <a:lnTo>
                    <a:pt x="4" y="8"/>
                  </a:lnTo>
                  <a:cubicBezTo>
                    <a:pt x="4" y="4"/>
                    <a:pt x="4" y="4"/>
                    <a:pt x="0" y="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920" name="Google Shape;6920;p104"/>
            <p:cNvSpPr/>
            <p:nvPr/>
          </p:nvSpPr>
          <p:spPr>
            <a:xfrm>
              <a:off x="2514500" y="1833372"/>
              <a:ext cx="14" cy="109"/>
            </a:xfrm>
            <a:custGeom>
              <a:avLst/>
              <a:gdLst/>
              <a:ahLst/>
              <a:cxnLst/>
              <a:rect l="l" t="t" r="r" b="b"/>
              <a:pathLst>
                <a:path w="1" h="8" extrusionOk="0">
                  <a:moveTo>
                    <a:pt x="0" y="7"/>
                  </a:moveTo>
                  <a:lnTo>
                    <a:pt x="0"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921" name="Google Shape;6921;p104"/>
            <p:cNvSpPr/>
            <p:nvPr/>
          </p:nvSpPr>
          <p:spPr>
            <a:xfrm>
              <a:off x="2503556" y="1818831"/>
              <a:ext cx="14" cy="54"/>
            </a:xfrm>
            <a:custGeom>
              <a:avLst/>
              <a:gdLst/>
              <a:ahLst/>
              <a:cxnLst/>
              <a:rect l="l" t="t" r="r" b="b"/>
              <a:pathLst>
                <a:path w="1" h="4" extrusionOk="0">
                  <a:moveTo>
                    <a:pt x="1" y="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922" name="Google Shape;6922;p104"/>
            <p:cNvSpPr/>
            <p:nvPr/>
          </p:nvSpPr>
          <p:spPr>
            <a:xfrm>
              <a:off x="2514310" y="1832422"/>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923" name="Google Shape;6923;p104"/>
            <p:cNvSpPr/>
            <p:nvPr/>
          </p:nvSpPr>
          <p:spPr>
            <a:xfrm>
              <a:off x="2505606" y="1850439"/>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924" name="Google Shape;6924;p104"/>
            <p:cNvSpPr/>
            <p:nvPr/>
          </p:nvSpPr>
          <p:spPr>
            <a:xfrm>
              <a:off x="2503801" y="1819251"/>
              <a:ext cx="54" cy="109"/>
            </a:xfrm>
            <a:custGeom>
              <a:avLst/>
              <a:gdLst/>
              <a:ahLst/>
              <a:cxnLst/>
              <a:rect l="l" t="t" r="r" b="b"/>
              <a:pathLst>
                <a:path w="4" h="8" extrusionOk="0">
                  <a:moveTo>
                    <a:pt x="4" y="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925" name="Google Shape;6925;p104"/>
            <p:cNvSpPr/>
            <p:nvPr/>
          </p:nvSpPr>
          <p:spPr>
            <a:xfrm>
              <a:off x="2514595" y="1833793"/>
              <a:ext cx="54" cy="109"/>
            </a:xfrm>
            <a:custGeom>
              <a:avLst/>
              <a:gdLst/>
              <a:ahLst/>
              <a:cxnLst/>
              <a:rect l="l" t="t" r="r" b="b"/>
              <a:pathLst>
                <a:path w="4" h="8" extrusionOk="0">
                  <a:moveTo>
                    <a:pt x="4" y="8"/>
                  </a:moveTo>
                  <a:cubicBezTo>
                    <a:pt x="0" y="4"/>
                    <a:pt x="0" y="4"/>
                    <a:pt x="0" y="1"/>
                  </a:cubicBezTo>
                  <a:cubicBezTo>
                    <a:pt x="0" y="4"/>
                    <a:pt x="0" y="4"/>
                    <a:pt x="4" y="8"/>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926" name="Google Shape;6926;p104"/>
            <p:cNvSpPr/>
            <p:nvPr/>
          </p:nvSpPr>
          <p:spPr>
            <a:xfrm>
              <a:off x="2514405" y="1833087"/>
              <a:ext cx="14" cy="109"/>
            </a:xfrm>
            <a:custGeom>
              <a:avLst/>
              <a:gdLst/>
              <a:ahLst/>
              <a:cxnLst/>
              <a:rect l="l" t="t" r="r" b="b"/>
              <a:pathLst>
                <a:path w="1" h="8" extrusionOk="0">
                  <a:moveTo>
                    <a:pt x="0" y="7"/>
                  </a:moveTo>
                  <a:lnTo>
                    <a:pt x="0"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927" name="Google Shape;6927;p104"/>
            <p:cNvSpPr/>
            <p:nvPr/>
          </p:nvSpPr>
          <p:spPr>
            <a:xfrm>
              <a:off x="2514255" y="1832136"/>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928" name="Google Shape;6928;p104"/>
            <p:cNvSpPr/>
            <p:nvPr/>
          </p:nvSpPr>
          <p:spPr>
            <a:xfrm>
              <a:off x="2507412" y="1823623"/>
              <a:ext cx="720" cy="543"/>
            </a:xfrm>
            <a:custGeom>
              <a:avLst/>
              <a:gdLst/>
              <a:ahLst/>
              <a:cxnLst/>
              <a:rect l="l" t="t" r="r" b="b"/>
              <a:pathLst>
                <a:path w="53" h="40" extrusionOk="0">
                  <a:moveTo>
                    <a:pt x="0" y="1"/>
                  </a:moveTo>
                  <a:cubicBezTo>
                    <a:pt x="14" y="15"/>
                    <a:pt x="32" y="25"/>
                    <a:pt x="53" y="39"/>
                  </a:cubicBezTo>
                  <a:cubicBezTo>
                    <a:pt x="35" y="25"/>
                    <a:pt x="18" y="15"/>
                    <a:pt x="0" y="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929" name="Google Shape;6929;p104"/>
            <p:cNvSpPr/>
            <p:nvPr/>
          </p:nvSpPr>
          <p:spPr>
            <a:xfrm>
              <a:off x="2602998" y="1754704"/>
              <a:ext cx="258" cy="204"/>
            </a:xfrm>
            <a:custGeom>
              <a:avLst/>
              <a:gdLst/>
              <a:ahLst/>
              <a:cxnLst/>
              <a:rect l="l" t="t" r="r" b="b"/>
              <a:pathLst>
                <a:path w="19" h="15" extrusionOk="0">
                  <a:moveTo>
                    <a:pt x="18" y="15"/>
                  </a:moveTo>
                  <a:cubicBezTo>
                    <a:pt x="15" y="8"/>
                    <a:pt x="8" y="4"/>
                    <a:pt x="1" y="1"/>
                  </a:cubicBezTo>
                  <a:cubicBezTo>
                    <a:pt x="8" y="4"/>
                    <a:pt x="15" y="8"/>
                    <a:pt x="18" y="15"/>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930" name="Google Shape;6930;p104"/>
            <p:cNvSpPr/>
            <p:nvPr/>
          </p:nvSpPr>
          <p:spPr>
            <a:xfrm>
              <a:off x="2605564" y="1754799"/>
              <a:ext cx="394" cy="109"/>
            </a:xfrm>
            <a:custGeom>
              <a:avLst/>
              <a:gdLst/>
              <a:ahLst/>
              <a:cxnLst/>
              <a:rect l="l" t="t" r="r" b="b"/>
              <a:pathLst>
                <a:path w="29" h="8" extrusionOk="0">
                  <a:moveTo>
                    <a:pt x="1" y="8"/>
                  </a:moveTo>
                  <a:lnTo>
                    <a:pt x="29" y="1"/>
                  </a:lnTo>
                  <a:lnTo>
                    <a:pt x="29"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931" name="Google Shape;6931;p104"/>
            <p:cNvSpPr/>
            <p:nvPr/>
          </p:nvSpPr>
          <p:spPr>
            <a:xfrm>
              <a:off x="2554513" y="1799007"/>
              <a:ext cx="3435" cy="774"/>
            </a:xfrm>
            <a:custGeom>
              <a:avLst/>
              <a:gdLst/>
              <a:ahLst/>
              <a:cxnLst/>
              <a:rect l="l" t="t" r="r" b="b"/>
              <a:pathLst>
                <a:path w="253" h="57" extrusionOk="0">
                  <a:moveTo>
                    <a:pt x="1" y="56"/>
                  </a:moveTo>
                  <a:cubicBezTo>
                    <a:pt x="81" y="21"/>
                    <a:pt x="165" y="0"/>
                    <a:pt x="253" y="0"/>
                  </a:cubicBezTo>
                  <a:cubicBezTo>
                    <a:pt x="165" y="0"/>
                    <a:pt x="81" y="21"/>
                    <a:pt x="1" y="56"/>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932" name="Google Shape;6932;p104"/>
            <p:cNvSpPr/>
            <p:nvPr/>
          </p:nvSpPr>
          <p:spPr>
            <a:xfrm>
              <a:off x="2599196" y="1756374"/>
              <a:ext cx="299" cy="109"/>
            </a:xfrm>
            <a:custGeom>
              <a:avLst/>
              <a:gdLst/>
              <a:ahLst/>
              <a:cxnLst/>
              <a:rect l="l" t="t" r="r" b="b"/>
              <a:pathLst>
                <a:path w="22" h="8" extrusionOk="0">
                  <a:moveTo>
                    <a:pt x="22"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933" name="Google Shape;6933;p104"/>
            <p:cNvSpPr/>
            <p:nvPr/>
          </p:nvSpPr>
          <p:spPr>
            <a:xfrm>
              <a:off x="2502796" y="1817215"/>
              <a:ext cx="964" cy="109"/>
            </a:xfrm>
            <a:custGeom>
              <a:avLst/>
              <a:gdLst/>
              <a:ahLst/>
              <a:cxnLst/>
              <a:rect l="l" t="t" r="r" b="b"/>
              <a:pathLst>
                <a:path w="71" h="8" extrusionOk="0">
                  <a:moveTo>
                    <a:pt x="71" y="7"/>
                  </a:moveTo>
                  <a:lnTo>
                    <a:pt x="1"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934" name="Google Shape;6934;p104"/>
            <p:cNvSpPr/>
            <p:nvPr/>
          </p:nvSpPr>
          <p:spPr>
            <a:xfrm>
              <a:off x="2513264" y="1818396"/>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935" name="Google Shape;6935;p104"/>
            <p:cNvSpPr/>
            <p:nvPr/>
          </p:nvSpPr>
          <p:spPr>
            <a:xfrm>
              <a:off x="2516020" y="1818301"/>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936" name="Google Shape;6936;p104"/>
            <p:cNvSpPr/>
            <p:nvPr/>
          </p:nvSpPr>
          <p:spPr>
            <a:xfrm>
              <a:off x="2514119" y="1818396"/>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937" name="Google Shape;6937;p104"/>
            <p:cNvSpPr/>
            <p:nvPr/>
          </p:nvSpPr>
          <p:spPr>
            <a:xfrm>
              <a:off x="2596725" y="1756849"/>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938" name="Google Shape;6938;p104"/>
            <p:cNvSpPr/>
            <p:nvPr/>
          </p:nvSpPr>
          <p:spPr>
            <a:xfrm>
              <a:off x="2599766" y="1756184"/>
              <a:ext cx="299" cy="109"/>
            </a:xfrm>
            <a:custGeom>
              <a:avLst/>
              <a:gdLst/>
              <a:ahLst/>
              <a:cxnLst/>
              <a:rect l="l" t="t" r="r" b="b"/>
              <a:pathLst>
                <a:path w="22" h="8" extrusionOk="0">
                  <a:moveTo>
                    <a:pt x="22"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939" name="Google Shape;6939;p104"/>
            <p:cNvSpPr/>
            <p:nvPr/>
          </p:nvSpPr>
          <p:spPr>
            <a:xfrm>
              <a:off x="2502131" y="1817161"/>
              <a:ext cx="258" cy="14"/>
            </a:xfrm>
            <a:custGeom>
              <a:avLst/>
              <a:gdLst/>
              <a:ahLst/>
              <a:cxnLst/>
              <a:rect l="l" t="t" r="r" b="b"/>
              <a:pathLst>
                <a:path w="19" h="1" extrusionOk="0">
                  <a:moveTo>
                    <a:pt x="1" y="1"/>
                  </a:moveTo>
                  <a:lnTo>
                    <a:pt x="18"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940" name="Google Shape;6940;p104"/>
            <p:cNvSpPr/>
            <p:nvPr/>
          </p:nvSpPr>
          <p:spPr>
            <a:xfrm>
              <a:off x="2595109" y="1756659"/>
              <a:ext cx="149" cy="54"/>
            </a:xfrm>
            <a:custGeom>
              <a:avLst/>
              <a:gdLst/>
              <a:ahLst/>
              <a:cxnLst/>
              <a:rect l="l" t="t" r="r" b="b"/>
              <a:pathLst>
                <a:path w="11" h="4" extrusionOk="0">
                  <a:moveTo>
                    <a:pt x="11"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941" name="Google Shape;6941;p104"/>
            <p:cNvSpPr/>
            <p:nvPr/>
          </p:nvSpPr>
          <p:spPr>
            <a:xfrm>
              <a:off x="2602672" y="1754568"/>
              <a:ext cx="109" cy="54"/>
            </a:xfrm>
            <a:custGeom>
              <a:avLst/>
              <a:gdLst/>
              <a:ahLst/>
              <a:cxnLst/>
              <a:rect l="l" t="t" r="r" b="b"/>
              <a:pathLst>
                <a:path w="8" h="4" extrusionOk="0">
                  <a:moveTo>
                    <a:pt x="7" y="0"/>
                  </a:moveTo>
                  <a:lnTo>
                    <a:pt x="0" y="4"/>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942" name="Google Shape;6942;p104"/>
            <p:cNvSpPr/>
            <p:nvPr/>
          </p:nvSpPr>
          <p:spPr>
            <a:xfrm>
              <a:off x="2595544" y="1756795"/>
              <a:ext cx="190" cy="14"/>
            </a:xfrm>
            <a:custGeom>
              <a:avLst/>
              <a:gdLst/>
              <a:ahLst/>
              <a:cxnLst/>
              <a:rect l="l" t="t" r="r" b="b"/>
              <a:pathLst>
                <a:path w="14" h="1" extrusionOk="0">
                  <a:moveTo>
                    <a:pt x="14"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943" name="Google Shape;6943;p104"/>
            <p:cNvSpPr/>
            <p:nvPr/>
          </p:nvSpPr>
          <p:spPr>
            <a:xfrm>
              <a:off x="2595965" y="1756849"/>
              <a:ext cx="244" cy="14"/>
            </a:xfrm>
            <a:custGeom>
              <a:avLst/>
              <a:gdLst/>
              <a:ahLst/>
              <a:cxnLst/>
              <a:rect l="l" t="t" r="r" b="b"/>
              <a:pathLst>
                <a:path w="18" h="1" extrusionOk="0">
                  <a:moveTo>
                    <a:pt x="18"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944" name="Google Shape;6944;p104"/>
            <p:cNvSpPr/>
            <p:nvPr/>
          </p:nvSpPr>
          <p:spPr>
            <a:xfrm>
              <a:off x="2602047" y="1754948"/>
              <a:ext cx="204" cy="149"/>
            </a:xfrm>
            <a:custGeom>
              <a:avLst/>
              <a:gdLst/>
              <a:ahLst/>
              <a:cxnLst/>
              <a:rect l="l" t="t" r="r" b="b"/>
              <a:pathLst>
                <a:path w="15" h="11" extrusionOk="0">
                  <a:moveTo>
                    <a:pt x="15" y="0"/>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945" name="Google Shape;6945;p104"/>
            <p:cNvSpPr/>
            <p:nvPr/>
          </p:nvSpPr>
          <p:spPr>
            <a:xfrm>
              <a:off x="2507127" y="1817690"/>
              <a:ext cx="1005" cy="109"/>
            </a:xfrm>
            <a:custGeom>
              <a:avLst/>
              <a:gdLst/>
              <a:ahLst/>
              <a:cxnLst/>
              <a:rect l="l" t="t" r="r" b="b"/>
              <a:pathLst>
                <a:path w="74" h="8" extrusionOk="0">
                  <a:moveTo>
                    <a:pt x="74" y="7"/>
                  </a:moveTo>
                  <a:lnTo>
                    <a:pt x="0"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946" name="Google Shape;6946;p104"/>
            <p:cNvSpPr/>
            <p:nvPr/>
          </p:nvSpPr>
          <p:spPr>
            <a:xfrm>
              <a:off x="2526665" y="1817215"/>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947" name="Google Shape;6947;p104"/>
            <p:cNvSpPr/>
            <p:nvPr/>
          </p:nvSpPr>
          <p:spPr>
            <a:xfrm>
              <a:off x="2597010" y="1756795"/>
              <a:ext cx="258" cy="14"/>
            </a:xfrm>
            <a:custGeom>
              <a:avLst/>
              <a:gdLst/>
              <a:ahLst/>
              <a:cxnLst/>
              <a:rect l="l" t="t" r="r" b="b"/>
              <a:pathLst>
                <a:path w="19" h="1" extrusionOk="0">
                  <a:moveTo>
                    <a:pt x="18" y="1"/>
                  </a:moveTo>
                  <a:lnTo>
                    <a:pt x="1"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948" name="Google Shape;6948;p104"/>
            <p:cNvSpPr/>
            <p:nvPr/>
          </p:nvSpPr>
          <p:spPr>
            <a:xfrm>
              <a:off x="2527330" y="1817120"/>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949" name="Google Shape;6949;p104"/>
            <p:cNvSpPr/>
            <p:nvPr/>
          </p:nvSpPr>
          <p:spPr>
            <a:xfrm>
              <a:off x="2598626" y="1756564"/>
              <a:ext cx="299" cy="54"/>
            </a:xfrm>
            <a:custGeom>
              <a:avLst/>
              <a:gdLst/>
              <a:ahLst/>
              <a:cxnLst/>
              <a:rect l="l" t="t" r="r" b="b"/>
              <a:pathLst>
                <a:path w="22" h="4" extrusionOk="0">
                  <a:moveTo>
                    <a:pt x="22" y="0"/>
                  </a:moveTo>
                  <a:lnTo>
                    <a:pt x="1" y="4"/>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950" name="Google Shape;6950;p104"/>
            <p:cNvSpPr/>
            <p:nvPr/>
          </p:nvSpPr>
          <p:spPr>
            <a:xfrm>
              <a:off x="2600337" y="1755940"/>
              <a:ext cx="299" cy="109"/>
            </a:xfrm>
            <a:custGeom>
              <a:avLst/>
              <a:gdLst/>
              <a:ahLst/>
              <a:cxnLst/>
              <a:rect l="l" t="t" r="r" b="b"/>
              <a:pathLst>
                <a:path w="22" h="8" extrusionOk="0">
                  <a:moveTo>
                    <a:pt x="22" y="1"/>
                  </a:moveTo>
                  <a:lnTo>
                    <a:pt x="1" y="8"/>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951" name="Google Shape;6951;p104"/>
            <p:cNvSpPr/>
            <p:nvPr/>
          </p:nvSpPr>
          <p:spPr>
            <a:xfrm>
              <a:off x="2598056" y="1756659"/>
              <a:ext cx="299" cy="54"/>
            </a:xfrm>
            <a:custGeom>
              <a:avLst/>
              <a:gdLst/>
              <a:ahLst/>
              <a:cxnLst/>
              <a:rect l="l" t="t" r="r" b="b"/>
              <a:pathLst>
                <a:path w="22" h="4" extrusionOk="0">
                  <a:moveTo>
                    <a:pt x="22" y="0"/>
                  </a:moveTo>
                  <a:lnTo>
                    <a:pt x="1" y="4"/>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952" name="Google Shape;6952;p104"/>
            <p:cNvSpPr/>
            <p:nvPr/>
          </p:nvSpPr>
          <p:spPr>
            <a:xfrm>
              <a:off x="2597485" y="1756754"/>
              <a:ext cx="299" cy="54"/>
            </a:xfrm>
            <a:custGeom>
              <a:avLst/>
              <a:gdLst/>
              <a:ahLst/>
              <a:cxnLst/>
              <a:rect l="l" t="t" r="r" b="b"/>
              <a:pathLst>
                <a:path w="22" h="4" extrusionOk="0">
                  <a:moveTo>
                    <a:pt x="22" y="0"/>
                  </a:moveTo>
                  <a:lnTo>
                    <a:pt x="1" y="4"/>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953" name="Google Shape;6953;p104"/>
            <p:cNvSpPr/>
            <p:nvPr/>
          </p:nvSpPr>
          <p:spPr>
            <a:xfrm>
              <a:off x="2601477" y="1755329"/>
              <a:ext cx="258" cy="149"/>
            </a:xfrm>
            <a:custGeom>
              <a:avLst/>
              <a:gdLst/>
              <a:ahLst/>
              <a:cxnLst/>
              <a:rect l="l" t="t" r="r" b="b"/>
              <a:pathLst>
                <a:path w="19" h="11" extrusionOk="0">
                  <a:moveTo>
                    <a:pt x="18" y="0"/>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954" name="Google Shape;6954;p104"/>
            <p:cNvSpPr/>
            <p:nvPr/>
          </p:nvSpPr>
          <p:spPr>
            <a:xfrm>
              <a:off x="2508498" y="1817880"/>
              <a:ext cx="923" cy="109"/>
            </a:xfrm>
            <a:custGeom>
              <a:avLst/>
              <a:gdLst/>
              <a:ahLst/>
              <a:cxnLst/>
              <a:rect l="l" t="t" r="r" b="b"/>
              <a:pathLst>
                <a:path w="68" h="8" extrusionOk="0">
                  <a:moveTo>
                    <a:pt x="67" y="7"/>
                  </a:moveTo>
                  <a:lnTo>
                    <a:pt x="1"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955" name="Google Shape;6955;p104"/>
            <p:cNvSpPr/>
            <p:nvPr/>
          </p:nvSpPr>
          <p:spPr>
            <a:xfrm>
              <a:off x="2600907" y="1755654"/>
              <a:ext cx="258" cy="163"/>
            </a:xfrm>
            <a:custGeom>
              <a:avLst/>
              <a:gdLst/>
              <a:ahLst/>
              <a:cxnLst/>
              <a:rect l="l" t="t" r="r" b="b"/>
              <a:pathLst>
                <a:path w="19" h="12" extrusionOk="0">
                  <a:moveTo>
                    <a:pt x="18" y="1"/>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956" name="Google Shape;6956;p104"/>
            <p:cNvSpPr/>
            <p:nvPr/>
          </p:nvSpPr>
          <p:spPr>
            <a:xfrm>
              <a:off x="2504181" y="1817310"/>
              <a:ext cx="1195" cy="149"/>
            </a:xfrm>
            <a:custGeom>
              <a:avLst/>
              <a:gdLst/>
              <a:ahLst/>
              <a:cxnLst/>
              <a:rect l="l" t="t" r="r" b="b"/>
              <a:pathLst>
                <a:path w="88" h="11" extrusionOk="0">
                  <a:moveTo>
                    <a:pt x="88" y="11"/>
                  </a:moveTo>
                  <a:lnTo>
                    <a:pt x="0"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957" name="Google Shape;6957;p104"/>
            <p:cNvSpPr/>
            <p:nvPr/>
          </p:nvSpPr>
          <p:spPr>
            <a:xfrm>
              <a:off x="2512640" y="1818396"/>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958" name="Google Shape;6958;p104"/>
            <p:cNvSpPr/>
            <p:nvPr/>
          </p:nvSpPr>
          <p:spPr>
            <a:xfrm>
              <a:off x="2505457" y="1817446"/>
              <a:ext cx="1344" cy="204"/>
            </a:xfrm>
            <a:custGeom>
              <a:avLst/>
              <a:gdLst/>
              <a:ahLst/>
              <a:cxnLst/>
              <a:rect l="l" t="t" r="r" b="b"/>
              <a:pathLst>
                <a:path w="99" h="15" extrusionOk="0">
                  <a:moveTo>
                    <a:pt x="99" y="15"/>
                  </a:moveTo>
                  <a:lnTo>
                    <a:pt x="1"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959" name="Google Shape;6959;p104"/>
            <p:cNvSpPr/>
            <p:nvPr/>
          </p:nvSpPr>
          <p:spPr>
            <a:xfrm>
              <a:off x="2509788" y="1818070"/>
              <a:ext cx="1195" cy="204"/>
            </a:xfrm>
            <a:custGeom>
              <a:avLst/>
              <a:gdLst/>
              <a:ahLst/>
              <a:cxnLst/>
              <a:rect l="l" t="t" r="r" b="b"/>
              <a:pathLst>
                <a:path w="88" h="15" extrusionOk="0">
                  <a:moveTo>
                    <a:pt x="88" y="1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960" name="Google Shape;6960;p104"/>
            <p:cNvSpPr/>
            <p:nvPr/>
          </p:nvSpPr>
          <p:spPr>
            <a:xfrm>
              <a:off x="2511404" y="1818355"/>
              <a:ext cx="149" cy="14"/>
            </a:xfrm>
            <a:custGeom>
              <a:avLst/>
              <a:gdLst/>
              <a:ahLst/>
              <a:cxnLst/>
              <a:rect l="l" t="t" r="r" b="b"/>
              <a:pathLst>
                <a:path w="11" h="1" extrusionOk="0">
                  <a:moveTo>
                    <a:pt x="11"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961" name="Google Shape;6961;p104"/>
            <p:cNvSpPr/>
            <p:nvPr/>
          </p:nvSpPr>
          <p:spPr>
            <a:xfrm>
              <a:off x="2512029" y="1818355"/>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962" name="Google Shape;6962;p104"/>
            <p:cNvSpPr/>
            <p:nvPr/>
          </p:nvSpPr>
          <p:spPr>
            <a:xfrm>
              <a:off x="2991016" y="2067204"/>
              <a:ext cx="18968" cy="6409"/>
            </a:xfrm>
            <a:custGeom>
              <a:avLst/>
              <a:gdLst/>
              <a:ahLst/>
              <a:cxnLst/>
              <a:rect l="l" t="t" r="r" b="b"/>
              <a:pathLst>
                <a:path w="1397" h="472" extrusionOk="0">
                  <a:moveTo>
                    <a:pt x="585" y="1"/>
                  </a:moveTo>
                  <a:cubicBezTo>
                    <a:pt x="334" y="1"/>
                    <a:pt x="94" y="53"/>
                    <a:pt x="18" y="129"/>
                  </a:cubicBezTo>
                  <a:cubicBezTo>
                    <a:pt x="0" y="150"/>
                    <a:pt x="4" y="157"/>
                    <a:pt x="4" y="164"/>
                  </a:cubicBezTo>
                  <a:cubicBezTo>
                    <a:pt x="28" y="227"/>
                    <a:pt x="110" y="246"/>
                    <a:pt x="242" y="246"/>
                  </a:cubicBezTo>
                  <a:cubicBezTo>
                    <a:pt x="300" y="246"/>
                    <a:pt x="368" y="243"/>
                    <a:pt x="445" y="237"/>
                  </a:cubicBezTo>
                  <a:cubicBezTo>
                    <a:pt x="525" y="234"/>
                    <a:pt x="606" y="230"/>
                    <a:pt x="686" y="230"/>
                  </a:cubicBezTo>
                  <a:cubicBezTo>
                    <a:pt x="903" y="230"/>
                    <a:pt x="1054" y="318"/>
                    <a:pt x="1180" y="388"/>
                  </a:cubicBezTo>
                  <a:cubicBezTo>
                    <a:pt x="1257" y="433"/>
                    <a:pt x="1327" y="472"/>
                    <a:pt x="1383" y="472"/>
                  </a:cubicBezTo>
                  <a:lnTo>
                    <a:pt x="1390" y="472"/>
                  </a:lnTo>
                  <a:cubicBezTo>
                    <a:pt x="1397" y="451"/>
                    <a:pt x="1397" y="426"/>
                    <a:pt x="1386" y="405"/>
                  </a:cubicBezTo>
                  <a:cubicBezTo>
                    <a:pt x="1351" y="283"/>
                    <a:pt x="1211" y="122"/>
                    <a:pt x="991" y="55"/>
                  </a:cubicBezTo>
                  <a:cubicBezTo>
                    <a:pt x="871" y="17"/>
                    <a:pt x="726" y="1"/>
                    <a:pt x="585" y="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963" name="Google Shape;6963;p104"/>
            <p:cNvSpPr/>
            <p:nvPr/>
          </p:nvSpPr>
          <p:spPr>
            <a:xfrm>
              <a:off x="3012726" y="2048969"/>
              <a:ext cx="73699" cy="62008"/>
            </a:xfrm>
            <a:custGeom>
              <a:avLst/>
              <a:gdLst/>
              <a:ahLst/>
              <a:cxnLst/>
              <a:rect l="l" t="t" r="r" b="b"/>
              <a:pathLst>
                <a:path w="5428" h="4567" extrusionOk="0">
                  <a:moveTo>
                    <a:pt x="760" y="0"/>
                  </a:moveTo>
                  <a:cubicBezTo>
                    <a:pt x="716" y="0"/>
                    <a:pt x="675" y="3"/>
                    <a:pt x="638" y="8"/>
                  </a:cubicBezTo>
                  <a:cubicBezTo>
                    <a:pt x="547" y="22"/>
                    <a:pt x="491" y="50"/>
                    <a:pt x="477" y="89"/>
                  </a:cubicBezTo>
                  <a:cubicBezTo>
                    <a:pt x="414" y="264"/>
                    <a:pt x="270" y="302"/>
                    <a:pt x="162" y="330"/>
                  </a:cubicBezTo>
                  <a:cubicBezTo>
                    <a:pt x="57" y="358"/>
                    <a:pt x="18" y="376"/>
                    <a:pt x="11" y="435"/>
                  </a:cubicBezTo>
                  <a:cubicBezTo>
                    <a:pt x="1" y="495"/>
                    <a:pt x="11" y="512"/>
                    <a:pt x="11" y="512"/>
                  </a:cubicBezTo>
                  <a:cubicBezTo>
                    <a:pt x="21" y="513"/>
                    <a:pt x="30" y="514"/>
                    <a:pt x="40" y="514"/>
                  </a:cubicBezTo>
                  <a:cubicBezTo>
                    <a:pt x="63" y="514"/>
                    <a:pt x="88" y="511"/>
                    <a:pt x="113" y="509"/>
                  </a:cubicBezTo>
                  <a:cubicBezTo>
                    <a:pt x="148" y="505"/>
                    <a:pt x="190" y="505"/>
                    <a:pt x="239" y="505"/>
                  </a:cubicBezTo>
                  <a:cubicBezTo>
                    <a:pt x="446" y="505"/>
                    <a:pt x="498" y="642"/>
                    <a:pt x="551" y="785"/>
                  </a:cubicBezTo>
                  <a:cubicBezTo>
                    <a:pt x="568" y="828"/>
                    <a:pt x="582" y="870"/>
                    <a:pt x="603" y="915"/>
                  </a:cubicBezTo>
                  <a:cubicBezTo>
                    <a:pt x="630" y="970"/>
                    <a:pt x="726" y="988"/>
                    <a:pt x="841" y="988"/>
                  </a:cubicBezTo>
                  <a:cubicBezTo>
                    <a:pt x="981" y="988"/>
                    <a:pt x="1149" y="962"/>
                    <a:pt x="1254" y="947"/>
                  </a:cubicBezTo>
                  <a:cubicBezTo>
                    <a:pt x="1317" y="936"/>
                    <a:pt x="1373" y="929"/>
                    <a:pt x="1412" y="926"/>
                  </a:cubicBezTo>
                  <a:cubicBezTo>
                    <a:pt x="1421" y="924"/>
                    <a:pt x="1430" y="924"/>
                    <a:pt x="1439" y="924"/>
                  </a:cubicBezTo>
                  <a:cubicBezTo>
                    <a:pt x="1513" y="924"/>
                    <a:pt x="1581" y="962"/>
                    <a:pt x="1618" y="1027"/>
                  </a:cubicBezTo>
                  <a:cubicBezTo>
                    <a:pt x="1646" y="1080"/>
                    <a:pt x="1639" y="1143"/>
                    <a:pt x="1604" y="1188"/>
                  </a:cubicBezTo>
                  <a:cubicBezTo>
                    <a:pt x="1583" y="1209"/>
                    <a:pt x="1545" y="1238"/>
                    <a:pt x="1476" y="1238"/>
                  </a:cubicBezTo>
                  <a:cubicBezTo>
                    <a:pt x="1441" y="1238"/>
                    <a:pt x="1400" y="1231"/>
                    <a:pt x="1349" y="1213"/>
                  </a:cubicBezTo>
                  <a:cubicBezTo>
                    <a:pt x="1307" y="1198"/>
                    <a:pt x="1275" y="1193"/>
                    <a:pt x="1248" y="1193"/>
                  </a:cubicBezTo>
                  <a:cubicBezTo>
                    <a:pt x="1194" y="1193"/>
                    <a:pt x="1161" y="1215"/>
                    <a:pt x="1121" y="1241"/>
                  </a:cubicBezTo>
                  <a:cubicBezTo>
                    <a:pt x="1074" y="1282"/>
                    <a:pt x="1012" y="1305"/>
                    <a:pt x="948" y="1305"/>
                  </a:cubicBezTo>
                  <a:cubicBezTo>
                    <a:pt x="926" y="1305"/>
                    <a:pt x="905" y="1302"/>
                    <a:pt x="883" y="1297"/>
                  </a:cubicBezTo>
                  <a:cubicBezTo>
                    <a:pt x="823" y="1281"/>
                    <a:pt x="760" y="1273"/>
                    <a:pt x="698" y="1273"/>
                  </a:cubicBezTo>
                  <a:cubicBezTo>
                    <a:pt x="677" y="1273"/>
                    <a:pt x="656" y="1274"/>
                    <a:pt x="635" y="1276"/>
                  </a:cubicBezTo>
                  <a:cubicBezTo>
                    <a:pt x="652" y="1290"/>
                    <a:pt x="670" y="1304"/>
                    <a:pt x="687" y="1321"/>
                  </a:cubicBezTo>
                  <a:cubicBezTo>
                    <a:pt x="813" y="1419"/>
                    <a:pt x="981" y="1552"/>
                    <a:pt x="981" y="1797"/>
                  </a:cubicBezTo>
                  <a:cubicBezTo>
                    <a:pt x="978" y="1832"/>
                    <a:pt x="988" y="1864"/>
                    <a:pt x="1013" y="1885"/>
                  </a:cubicBezTo>
                  <a:cubicBezTo>
                    <a:pt x="1034" y="1902"/>
                    <a:pt x="1062" y="1913"/>
                    <a:pt x="1086" y="1913"/>
                  </a:cubicBezTo>
                  <a:cubicBezTo>
                    <a:pt x="1142" y="1913"/>
                    <a:pt x="1223" y="1878"/>
                    <a:pt x="1223" y="1801"/>
                  </a:cubicBezTo>
                  <a:cubicBezTo>
                    <a:pt x="1223" y="1773"/>
                    <a:pt x="1223" y="1703"/>
                    <a:pt x="1279" y="1668"/>
                  </a:cubicBezTo>
                  <a:cubicBezTo>
                    <a:pt x="1293" y="1660"/>
                    <a:pt x="1307" y="1656"/>
                    <a:pt x="1323" y="1656"/>
                  </a:cubicBezTo>
                  <a:cubicBezTo>
                    <a:pt x="1371" y="1656"/>
                    <a:pt x="1430" y="1689"/>
                    <a:pt x="1506" y="1731"/>
                  </a:cubicBezTo>
                  <a:cubicBezTo>
                    <a:pt x="1618" y="1804"/>
                    <a:pt x="1741" y="1860"/>
                    <a:pt x="1870" y="1899"/>
                  </a:cubicBezTo>
                  <a:cubicBezTo>
                    <a:pt x="2063" y="1948"/>
                    <a:pt x="2112" y="2014"/>
                    <a:pt x="2150" y="2084"/>
                  </a:cubicBezTo>
                  <a:cubicBezTo>
                    <a:pt x="2171" y="2123"/>
                    <a:pt x="2185" y="2147"/>
                    <a:pt x="2343" y="2154"/>
                  </a:cubicBezTo>
                  <a:cubicBezTo>
                    <a:pt x="2718" y="2172"/>
                    <a:pt x="3579" y="2448"/>
                    <a:pt x="3915" y="2700"/>
                  </a:cubicBezTo>
                  <a:cubicBezTo>
                    <a:pt x="4118" y="2854"/>
                    <a:pt x="4132" y="2988"/>
                    <a:pt x="4139" y="3103"/>
                  </a:cubicBezTo>
                  <a:cubicBezTo>
                    <a:pt x="4139" y="3191"/>
                    <a:pt x="4170" y="3275"/>
                    <a:pt x="4230" y="3341"/>
                  </a:cubicBezTo>
                  <a:cubicBezTo>
                    <a:pt x="4394" y="3516"/>
                    <a:pt x="4464" y="3691"/>
                    <a:pt x="4412" y="3810"/>
                  </a:cubicBezTo>
                  <a:cubicBezTo>
                    <a:pt x="4387" y="3866"/>
                    <a:pt x="4324" y="3936"/>
                    <a:pt x="4167" y="3936"/>
                  </a:cubicBezTo>
                  <a:cubicBezTo>
                    <a:pt x="3988" y="3943"/>
                    <a:pt x="3827" y="4034"/>
                    <a:pt x="3726" y="4181"/>
                  </a:cubicBezTo>
                  <a:cubicBezTo>
                    <a:pt x="3705" y="4206"/>
                    <a:pt x="3698" y="4237"/>
                    <a:pt x="3705" y="4269"/>
                  </a:cubicBezTo>
                  <a:cubicBezTo>
                    <a:pt x="3725" y="4285"/>
                    <a:pt x="3776" y="4291"/>
                    <a:pt x="3846" y="4291"/>
                  </a:cubicBezTo>
                  <a:cubicBezTo>
                    <a:pt x="4032" y="4291"/>
                    <a:pt x="4348" y="4245"/>
                    <a:pt x="4524" y="4220"/>
                  </a:cubicBezTo>
                  <a:cubicBezTo>
                    <a:pt x="4650" y="4199"/>
                    <a:pt x="4780" y="4181"/>
                    <a:pt x="4909" y="4174"/>
                  </a:cubicBezTo>
                  <a:cubicBezTo>
                    <a:pt x="5021" y="4174"/>
                    <a:pt x="5112" y="4265"/>
                    <a:pt x="5231" y="4384"/>
                  </a:cubicBezTo>
                  <a:cubicBezTo>
                    <a:pt x="5287" y="4440"/>
                    <a:pt x="5354" y="4503"/>
                    <a:pt x="5427" y="4566"/>
                  </a:cubicBezTo>
                  <a:lnTo>
                    <a:pt x="5427" y="1290"/>
                  </a:lnTo>
                  <a:cubicBezTo>
                    <a:pt x="5165" y="1202"/>
                    <a:pt x="4874" y="1087"/>
                    <a:pt x="4594" y="978"/>
                  </a:cubicBezTo>
                  <a:cubicBezTo>
                    <a:pt x="4179" y="820"/>
                    <a:pt x="3743" y="652"/>
                    <a:pt x="3627" y="652"/>
                  </a:cubicBezTo>
                  <a:cubicBezTo>
                    <a:pt x="3625" y="652"/>
                    <a:pt x="3623" y="652"/>
                    <a:pt x="3621" y="652"/>
                  </a:cubicBezTo>
                  <a:cubicBezTo>
                    <a:pt x="3530" y="659"/>
                    <a:pt x="3474" y="754"/>
                    <a:pt x="3414" y="852"/>
                  </a:cubicBezTo>
                  <a:cubicBezTo>
                    <a:pt x="3348" y="964"/>
                    <a:pt x="3271" y="1090"/>
                    <a:pt x="3131" y="1090"/>
                  </a:cubicBezTo>
                  <a:cubicBezTo>
                    <a:pt x="3054" y="1090"/>
                    <a:pt x="2935" y="1192"/>
                    <a:pt x="2809" y="1297"/>
                  </a:cubicBezTo>
                  <a:cubicBezTo>
                    <a:pt x="2651" y="1430"/>
                    <a:pt x="2472" y="1580"/>
                    <a:pt x="2262" y="1654"/>
                  </a:cubicBezTo>
                  <a:cubicBezTo>
                    <a:pt x="2240" y="1662"/>
                    <a:pt x="2216" y="1666"/>
                    <a:pt x="2192" y="1666"/>
                  </a:cubicBezTo>
                  <a:cubicBezTo>
                    <a:pt x="2153" y="1666"/>
                    <a:pt x="2115" y="1656"/>
                    <a:pt x="2080" y="1636"/>
                  </a:cubicBezTo>
                  <a:cubicBezTo>
                    <a:pt x="1898" y="1531"/>
                    <a:pt x="1821" y="1150"/>
                    <a:pt x="1748" y="782"/>
                  </a:cubicBezTo>
                  <a:cubicBezTo>
                    <a:pt x="1706" y="568"/>
                    <a:pt x="1660" y="344"/>
                    <a:pt x="1608" y="271"/>
                  </a:cubicBezTo>
                  <a:cubicBezTo>
                    <a:pt x="1507" y="133"/>
                    <a:pt x="1069" y="0"/>
                    <a:pt x="760"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964" name="Google Shape;6964;p104"/>
            <p:cNvSpPr/>
            <p:nvPr/>
          </p:nvSpPr>
          <p:spPr>
            <a:xfrm>
              <a:off x="2746593" y="2003634"/>
              <a:ext cx="83583" cy="84330"/>
            </a:xfrm>
            <a:custGeom>
              <a:avLst/>
              <a:gdLst/>
              <a:ahLst/>
              <a:cxnLst/>
              <a:rect l="l" t="t" r="r" b="b"/>
              <a:pathLst>
                <a:path w="6156" h="6211" extrusionOk="0">
                  <a:moveTo>
                    <a:pt x="116" y="0"/>
                  </a:moveTo>
                  <a:cubicBezTo>
                    <a:pt x="116" y="0"/>
                    <a:pt x="109" y="7"/>
                    <a:pt x="102" y="22"/>
                  </a:cubicBezTo>
                  <a:cubicBezTo>
                    <a:pt x="1" y="235"/>
                    <a:pt x="533" y="820"/>
                    <a:pt x="820" y="988"/>
                  </a:cubicBezTo>
                  <a:cubicBezTo>
                    <a:pt x="953" y="1065"/>
                    <a:pt x="1051" y="1222"/>
                    <a:pt x="1149" y="1373"/>
                  </a:cubicBezTo>
                  <a:cubicBezTo>
                    <a:pt x="1264" y="1555"/>
                    <a:pt x="1384" y="1740"/>
                    <a:pt x="1538" y="1754"/>
                  </a:cubicBezTo>
                  <a:cubicBezTo>
                    <a:pt x="1755" y="1779"/>
                    <a:pt x="1849" y="2098"/>
                    <a:pt x="1940" y="2409"/>
                  </a:cubicBezTo>
                  <a:cubicBezTo>
                    <a:pt x="1996" y="2591"/>
                    <a:pt x="2070" y="2843"/>
                    <a:pt x="2143" y="2857"/>
                  </a:cubicBezTo>
                  <a:cubicBezTo>
                    <a:pt x="2423" y="2913"/>
                    <a:pt x="2952" y="3743"/>
                    <a:pt x="3036" y="4170"/>
                  </a:cubicBezTo>
                  <a:cubicBezTo>
                    <a:pt x="3078" y="4398"/>
                    <a:pt x="3277" y="4562"/>
                    <a:pt x="3474" y="4727"/>
                  </a:cubicBezTo>
                  <a:cubicBezTo>
                    <a:pt x="3610" y="4842"/>
                    <a:pt x="3743" y="4954"/>
                    <a:pt x="3824" y="5087"/>
                  </a:cubicBezTo>
                  <a:cubicBezTo>
                    <a:pt x="3929" y="5269"/>
                    <a:pt x="4258" y="5511"/>
                    <a:pt x="4496" y="5686"/>
                  </a:cubicBezTo>
                  <a:cubicBezTo>
                    <a:pt x="4667" y="5812"/>
                    <a:pt x="4765" y="5885"/>
                    <a:pt x="4804" y="5938"/>
                  </a:cubicBezTo>
                  <a:cubicBezTo>
                    <a:pt x="4835" y="5983"/>
                    <a:pt x="4863" y="6029"/>
                    <a:pt x="4891" y="6081"/>
                  </a:cubicBezTo>
                  <a:cubicBezTo>
                    <a:pt x="4912" y="6127"/>
                    <a:pt x="4940" y="6169"/>
                    <a:pt x="4972" y="6211"/>
                  </a:cubicBezTo>
                  <a:cubicBezTo>
                    <a:pt x="5014" y="6143"/>
                    <a:pt x="5088" y="6120"/>
                    <a:pt x="5174" y="6120"/>
                  </a:cubicBezTo>
                  <a:cubicBezTo>
                    <a:pt x="5264" y="6120"/>
                    <a:pt x="5367" y="6146"/>
                    <a:pt x="5458" y="6169"/>
                  </a:cubicBezTo>
                  <a:cubicBezTo>
                    <a:pt x="5511" y="6179"/>
                    <a:pt x="5560" y="6193"/>
                    <a:pt x="5613" y="6200"/>
                  </a:cubicBezTo>
                  <a:cubicBezTo>
                    <a:pt x="5683" y="6183"/>
                    <a:pt x="5756" y="5749"/>
                    <a:pt x="5735" y="5465"/>
                  </a:cubicBezTo>
                  <a:cubicBezTo>
                    <a:pt x="5732" y="5329"/>
                    <a:pt x="5749" y="5189"/>
                    <a:pt x="5788" y="5056"/>
                  </a:cubicBezTo>
                  <a:cubicBezTo>
                    <a:pt x="5802" y="5003"/>
                    <a:pt x="5812" y="4951"/>
                    <a:pt x="5816" y="4895"/>
                  </a:cubicBezTo>
                  <a:cubicBezTo>
                    <a:pt x="5812" y="4835"/>
                    <a:pt x="5837" y="4776"/>
                    <a:pt x="5886" y="4737"/>
                  </a:cubicBezTo>
                  <a:cubicBezTo>
                    <a:pt x="5923" y="4707"/>
                    <a:pt x="5970" y="4692"/>
                    <a:pt x="6029" y="4692"/>
                  </a:cubicBezTo>
                  <a:cubicBezTo>
                    <a:pt x="6058" y="4692"/>
                    <a:pt x="6089" y="4695"/>
                    <a:pt x="6124" y="4702"/>
                  </a:cubicBezTo>
                  <a:lnTo>
                    <a:pt x="6127" y="4702"/>
                  </a:lnTo>
                  <a:cubicBezTo>
                    <a:pt x="6148" y="4667"/>
                    <a:pt x="6155" y="4629"/>
                    <a:pt x="6145" y="4590"/>
                  </a:cubicBezTo>
                  <a:cubicBezTo>
                    <a:pt x="6145" y="4552"/>
                    <a:pt x="6131" y="4517"/>
                    <a:pt x="6106" y="4489"/>
                  </a:cubicBezTo>
                  <a:cubicBezTo>
                    <a:pt x="6040" y="4471"/>
                    <a:pt x="5998" y="4394"/>
                    <a:pt x="5949" y="4310"/>
                  </a:cubicBezTo>
                  <a:cubicBezTo>
                    <a:pt x="5882" y="4191"/>
                    <a:pt x="5805" y="4054"/>
                    <a:pt x="5672" y="4054"/>
                  </a:cubicBezTo>
                  <a:cubicBezTo>
                    <a:pt x="5585" y="4054"/>
                    <a:pt x="5543" y="4082"/>
                    <a:pt x="5539" y="4107"/>
                  </a:cubicBezTo>
                  <a:cubicBezTo>
                    <a:pt x="5539" y="4131"/>
                    <a:pt x="5564" y="4163"/>
                    <a:pt x="5613" y="4167"/>
                  </a:cubicBezTo>
                  <a:cubicBezTo>
                    <a:pt x="5714" y="4174"/>
                    <a:pt x="5805" y="4230"/>
                    <a:pt x="5861" y="4314"/>
                  </a:cubicBezTo>
                  <a:cubicBezTo>
                    <a:pt x="5900" y="4377"/>
                    <a:pt x="5903" y="4450"/>
                    <a:pt x="5875" y="4517"/>
                  </a:cubicBezTo>
                  <a:cubicBezTo>
                    <a:pt x="5865" y="4548"/>
                    <a:pt x="5840" y="4576"/>
                    <a:pt x="5805" y="4587"/>
                  </a:cubicBezTo>
                  <a:cubicBezTo>
                    <a:pt x="5798" y="4588"/>
                    <a:pt x="5792" y="4589"/>
                    <a:pt x="5786" y="4589"/>
                  </a:cubicBezTo>
                  <a:cubicBezTo>
                    <a:pt x="5746" y="4589"/>
                    <a:pt x="5713" y="4562"/>
                    <a:pt x="5683" y="4538"/>
                  </a:cubicBezTo>
                  <a:cubicBezTo>
                    <a:pt x="5630" y="4485"/>
                    <a:pt x="5557" y="4457"/>
                    <a:pt x="5483" y="4457"/>
                  </a:cubicBezTo>
                  <a:cubicBezTo>
                    <a:pt x="5474" y="4458"/>
                    <a:pt x="5464" y="4458"/>
                    <a:pt x="5456" y="4458"/>
                  </a:cubicBezTo>
                  <a:cubicBezTo>
                    <a:pt x="5314" y="4458"/>
                    <a:pt x="5282" y="4355"/>
                    <a:pt x="5259" y="4282"/>
                  </a:cubicBezTo>
                  <a:cubicBezTo>
                    <a:pt x="5234" y="4209"/>
                    <a:pt x="5220" y="4170"/>
                    <a:pt x="5133" y="4167"/>
                  </a:cubicBezTo>
                  <a:cubicBezTo>
                    <a:pt x="4968" y="4156"/>
                    <a:pt x="4898" y="4005"/>
                    <a:pt x="4846" y="3886"/>
                  </a:cubicBezTo>
                  <a:cubicBezTo>
                    <a:pt x="4786" y="3760"/>
                    <a:pt x="4744" y="3680"/>
                    <a:pt x="4653" y="3680"/>
                  </a:cubicBezTo>
                  <a:cubicBezTo>
                    <a:pt x="4510" y="3680"/>
                    <a:pt x="4408" y="3624"/>
                    <a:pt x="4370" y="3529"/>
                  </a:cubicBezTo>
                  <a:cubicBezTo>
                    <a:pt x="4331" y="3421"/>
                    <a:pt x="4380" y="3284"/>
                    <a:pt x="4496" y="3179"/>
                  </a:cubicBezTo>
                  <a:cubicBezTo>
                    <a:pt x="4503" y="3169"/>
                    <a:pt x="4517" y="3158"/>
                    <a:pt x="4513" y="3148"/>
                  </a:cubicBezTo>
                  <a:cubicBezTo>
                    <a:pt x="4513" y="3116"/>
                    <a:pt x="4443" y="3053"/>
                    <a:pt x="4391" y="3008"/>
                  </a:cubicBezTo>
                  <a:cubicBezTo>
                    <a:pt x="4300" y="2931"/>
                    <a:pt x="4198" y="2840"/>
                    <a:pt x="4198" y="2724"/>
                  </a:cubicBezTo>
                  <a:cubicBezTo>
                    <a:pt x="4198" y="2682"/>
                    <a:pt x="4184" y="2675"/>
                    <a:pt x="4093" y="2654"/>
                  </a:cubicBezTo>
                  <a:cubicBezTo>
                    <a:pt x="4023" y="2640"/>
                    <a:pt x="3908" y="2612"/>
                    <a:pt x="3908" y="2483"/>
                  </a:cubicBezTo>
                  <a:cubicBezTo>
                    <a:pt x="3908" y="2441"/>
                    <a:pt x="3904" y="2437"/>
                    <a:pt x="3852" y="2413"/>
                  </a:cubicBezTo>
                  <a:cubicBezTo>
                    <a:pt x="3771" y="2378"/>
                    <a:pt x="3698" y="2322"/>
                    <a:pt x="3645" y="2248"/>
                  </a:cubicBezTo>
                  <a:cubicBezTo>
                    <a:pt x="3594" y="2177"/>
                    <a:pt x="3566" y="2174"/>
                    <a:pt x="3527" y="2174"/>
                  </a:cubicBezTo>
                  <a:cubicBezTo>
                    <a:pt x="3523" y="2174"/>
                    <a:pt x="3519" y="2175"/>
                    <a:pt x="3516" y="2175"/>
                  </a:cubicBezTo>
                  <a:cubicBezTo>
                    <a:pt x="3505" y="2176"/>
                    <a:pt x="3495" y="2177"/>
                    <a:pt x="3485" y="2177"/>
                  </a:cubicBezTo>
                  <a:cubicBezTo>
                    <a:pt x="3416" y="2177"/>
                    <a:pt x="3352" y="2146"/>
                    <a:pt x="3309" y="2091"/>
                  </a:cubicBezTo>
                  <a:cubicBezTo>
                    <a:pt x="3216" y="1986"/>
                    <a:pt x="3098" y="1920"/>
                    <a:pt x="3012" y="1920"/>
                  </a:cubicBezTo>
                  <a:cubicBezTo>
                    <a:pt x="2994" y="1920"/>
                    <a:pt x="2977" y="1923"/>
                    <a:pt x="2962" y="1929"/>
                  </a:cubicBezTo>
                  <a:cubicBezTo>
                    <a:pt x="2943" y="1937"/>
                    <a:pt x="2922" y="1941"/>
                    <a:pt x="2902" y="1941"/>
                  </a:cubicBezTo>
                  <a:cubicBezTo>
                    <a:pt x="2875" y="1941"/>
                    <a:pt x="2848" y="1934"/>
                    <a:pt x="2822" y="1922"/>
                  </a:cubicBezTo>
                  <a:cubicBezTo>
                    <a:pt x="2672" y="1856"/>
                    <a:pt x="2486" y="1635"/>
                    <a:pt x="2406" y="1422"/>
                  </a:cubicBezTo>
                  <a:cubicBezTo>
                    <a:pt x="2378" y="1348"/>
                    <a:pt x="2192" y="1215"/>
                    <a:pt x="2028" y="1100"/>
                  </a:cubicBezTo>
                  <a:cubicBezTo>
                    <a:pt x="1790" y="935"/>
                    <a:pt x="1545" y="764"/>
                    <a:pt x="1485" y="596"/>
                  </a:cubicBezTo>
                  <a:cubicBezTo>
                    <a:pt x="1407" y="375"/>
                    <a:pt x="1202" y="268"/>
                    <a:pt x="842" y="268"/>
                  </a:cubicBezTo>
                  <a:cubicBezTo>
                    <a:pt x="815" y="268"/>
                    <a:pt x="786" y="269"/>
                    <a:pt x="757" y="270"/>
                  </a:cubicBezTo>
                  <a:cubicBezTo>
                    <a:pt x="750" y="270"/>
                    <a:pt x="744" y="270"/>
                    <a:pt x="737" y="270"/>
                  </a:cubicBezTo>
                  <a:cubicBezTo>
                    <a:pt x="499" y="270"/>
                    <a:pt x="334" y="149"/>
                    <a:pt x="221" y="67"/>
                  </a:cubicBezTo>
                  <a:cubicBezTo>
                    <a:pt x="190" y="39"/>
                    <a:pt x="155" y="15"/>
                    <a:pt x="116"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965" name="Google Shape;6965;p104"/>
            <p:cNvSpPr/>
            <p:nvPr/>
          </p:nvSpPr>
          <p:spPr>
            <a:xfrm>
              <a:off x="2846320" y="2013450"/>
              <a:ext cx="74445" cy="60949"/>
            </a:xfrm>
            <a:custGeom>
              <a:avLst/>
              <a:gdLst/>
              <a:ahLst/>
              <a:cxnLst/>
              <a:rect l="l" t="t" r="r" b="b"/>
              <a:pathLst>
                <a:path w="5483" h="4489" extrusionOk="0">
                  <a:moveTo>
                    <a:pt x="4422" y="1"/>
                  </a:moveTo>
                  <a:cubicBezTo>
                    <a:pt x="4235" y="1"/>
                    <a:pt x="4018" y="15"/>
                    <a:pt x="3921" y="118"/>
                  </a:cubicBezTo>
                  <a:cubicBezTo>
                    <a:pt x="3879" y="167"/>
                    <a:pt x="3858" y="226"/>
                    <a:pt x="3869" y="289"/>
                  </a:cubicBezTo>
                  <a:cubicBezTo>
                    <a:pt x="3890" y="580"/>
                    <a:pt x="3732" y="643"/>
                    <a:pt x="3627" y="688"/>
                  </a:cubicBezTo>
                  <a:cubicBezTo>
                    <a:pt x="3543" y="723"/>
                    <a:pt x="3540" y="730"/>
                    <a:pt x="3543" y="772"/>
                  </a:cubicBezTo>
                  <a:cubicBezTo>
                    <a:pt x="3564" y="905"/>
                    <a:pt x="3508" y="979"/>
                    <a:pt x="3456" y="1045"/>
                  </a:cubicBezTo>
                  <a:cubicBezTo>
                    <a:pt x="3396" y="1108"/>
                    <a:pt x="3368" y="1199"/>
                    <a:pt x="3382" y="1290"/>
                  </a:cubicBezTo>
                  <a:cubicBezTo>
                    <a:pt x="3389" y="1339"/>
                    <a:pt x="3386" y="1389"/>
                    <a:pt x="3375" y="1438"/>
                  </a:cubicBezTo>
                  <a:cubicBezTo>
                    <a:pt x="3344" y="1550"/>
                    <a:pt x="3242" y="1567"/>
                    <a:pt x="3141" y="1592"/>
                  </a:cubicBezTo>
                  <a:cubicBezTo>
                    <a:pt x="3071" y="1602"/>
                    <a:pt x="3004" y="1620"/>
                    <a:pt x="2938" y="1644"/>
                  </a:cubicBezTo>
                  <a:cubicBezTo>
                    <a:pt x="2913" y="1655"/>
                    <a:pt x="2889" y="1665"/>
                    <a:pt x="2861" y="1679"/>
                  </a:cubicBezTo>
                  <a:cubicBezTo>
                    <a:pt x="2773" y="1722"/>
                    <a:pt x="2711" y="1739"/>
                    <a:pt x="2662" y="1739"/>
                  </a:cubicBezTo>
                  <a:cubicBezTo>
                    <a:pt x="2596" y="1739"/>
                    <a:pt x="2555" y="1707"/>
                    <a:pt x="2511" y="1665"/>
                  </a:cubicBezTo>
                  <a:cubicBezTo>
                    <a:pt x="2466" y="1615"/>
                    <a:pt x="2403" y="1587"/>
                    <a:pt x="2334" y="1587"/>
                  </a:cubicBezTo>
                  <a:cubicBezTo>
                    <a:pt x="2327" y="1587"/>
                    <a:pt x="2319" y="1587"/>
                    <a:pt x="2311" y="1588"/>
                  </a:cubicBezTo>
                  <a:cubicBezTo>
                    <a:pt x="2302" y="1588"/>
                    <a:pt x="2293" y="1587"/>
                    <a:pt x="2285" y="1587"/>
                  </a:cubicBezTo>
                  <a:cubicBezTo>
                    <a:pt x="2171" y="1587"/>
                    <a:pt x="2059" y="1629"/>
                    <a:pt x="1971" y="1707"/>
                  </a:cubicBezTo>
                  <a:cubicBezTo>
                    <a:pt x="1915" y="1753"/>
                    <a:pt x="1852" y="1788"/>
                    <a:pt x="1782" y="1812"/>
                  </a:cubicBezTo>
                  <a:cubicBezTo>
                    <a:pt x="1715" y="1834"/>
                    <a:pt x="1630" y="1839"/>
                    <a:pt x="1541" y="1839"/>
                  </a:cubicBezTo>
                  <a:cubicBezTo>
                    <a:pt x="1499" y="1839"/>
                    <a:pt x="1457" y="1838"/>
                    <a:pt x="1415" y="1837"/>
                  </a:cubicBezTo>
                  <a:cubicBezTo>
                    <a:pt x="1372" y="1835"/>
                    <a:pt x="1327" y="1834"/>
                    <a:pt x="1284" y="1834"/>
                  </a:cubicBezTo>
                  <a:cubicBezTo>
                    <a:pt x="1200" y="1834"/>
                    <a:pt x="1124" y="1840"/>
                    <a:pt x="1089" y="1868"/>
                  </a:cubicBezTo>
                  <a:cubicBezTo>
                    <a:pt x="1082" y="1872"/>
                    <a:pt x="1075" y="1875"/>
                    <a:pt x="1068" y="1882"/>
                  </a:cubicBezTo>
                  <a:lnTo>
                    <a:pt x="1058" y="1886"/>
                  </a:lnTo>
                  <a:lnTo>
                    <a:pt x="1044" y="1889"/>
                  </a:lnTo>
                  <a:lnTo>
                    <a:pt x="1033" y="1893"/>
                  </a:lnTo>
                  <a:lnTo>
                    <a:pt x="1023" y="1896"/>
                  </a:lnTo>
                  <a:lnTo>
                    <a:pt x="995" y="1896"/>
                  </a:lnTo>
                  <a:cubicBezTo>
                    <a:pt x="984" y="1896"/>
                    <a:pt x="977" y="1896"/>
                    <a:pt x="970" y="1893"/>
                  </a:cubicBezTo>
                  <a:lnTo>
                    <a:pt x="960" y="1893"/>
                  </a:lnTo>
                  <a:cubicBezTo>
                    <a:pt x="953" y="1893"/>
                    <a:pt x="942" y="1889"/>
                    <a:pt x="932" y="1886"/>
                  </a:cubicBezTo>
                  <a:lnTo>
                    <a:pt x="928" y="1886"/>
                  </a:lnTo>
                  <a:cubicBezTo>
                    <a:pt x="921" y="1882"/>
                    <a:pt x="911" y="1879"/>
                    <a:pt x="904" y="1875"/>
                  </a:cubicBezTo>
                  <a:lnTo>
                    <a:pt x="897" y="1872"/>
                  </a:lnTo>
                  <a:cubicBezTo>
                    <a:pt x="886" y="1865"/>
                    <a:pt x="876" y="1861"/>
                    <a:pt x="869" y="1854"/>
                  </a:cubicBezTo>
                  <a:lnTo>
                    <a:pt x="862" y="1851"/>
                  </a:lnTo>
                  <a:lnTo>
                    <a:pt x="837" y="1833"/>
                  </a:lnTo>
                  <a:lnTo>
                    <a:pt x="830" y="1830"/>
                  </a:lnTo>
                  <a:lnTo>
                    <a:pt x="806" y="1809"/>
                  </a:lnTo>
                  <a:lnTo>
                    <a:pt x="802" y="1805"/>
                  </a:lnTo>
                  <a:lnTo>
                    <a:pt x="778" y="1784"/>
                  </a:lnTo>
                  <a:lnTo>
                    <a:pt x="771" y="1777"/>
                  </a:lnTo>
                  <a:lnTo>
                    <a:pt x="746" y="1756"/>
                  </a:lnTo>
                  <a:cubicBezTo>
                    <a:pt x="697" y="1718"/>
                    <a:pt x="627" y="1655"/>
                    <a:pt x="599" y="1655"/>
                  </a:cubicBezTo>
                  <a:cubicBezTo>
                    <a:pt x="596" y="1656"/>
                    <a:pt x="593" y="1657"/>
                    <a:pt x="590" y="1657"/>
                  </a:cubicBezTo>
                  <a:cubicBezTo>
                    <a:pt x="588" y="1657"/>
                    <a:pt x="585" y="1656"/>
                    <a:pt x="582" y="1655"/>
                  </a:cubicBezTo>
                  <a:lnTo>
                    <a:pt x="564" y="1655"/>
                  </a:lnTo>
                  <a:lnTo>
                    <a:pt x="557" y="1651"/>
                  </a:lnTo>
                  <a:lnTo>
                    <a:pt x="550" y="1648"/>
                  </a:lnTo>
                  <a:lnTo>
                    <a:pt x="543" y="1644"/>
                  </a:lnTo>
                  <a:lnTo>
                    <a:pt x="533" y="1637"/>
                  </a:lnTo>
                  <a:lnTo>
                    <a:pt x="526" y="1634"/>
                  </a:lnTo>
                  <a:lnTo>
                    <a:pt x="519" y="1627"/>
                  </a:lnTo>
                  <a:lnTo>
                    <a:pt x="512" y="1620"/>
                  </a:lnTo>
                  <a:lnTo>
                    <a:pt x="505" y="1609"/>
                  </a:lnTo>
                  <a:lnTo>
                    <a:pt x="498" y="1602"/>
                  </a:lnTo>
                  <a:lnTo>
                    <a:pt x="491" y="1592"/>
                  </a:lnTo>
                  <a:lnTo>
                    <a:pt x="484" y="1581"/>
                  </a:lnTo>
                  <a:lnTo>
                    <a:pt x="477" y="1571"/>
                  </a:lnTo>
                  <a:lnTo>
                    <a:pt x="470" y="1560"/>
                  </a:lnTo>
                  <a:lnTo>
                    <a:pt x="463" y="1546"/>
                  </a:lnTo>
                  <a:lnTo>
                    <a:pt x="456" y="1532"/>
                  </a:lnTo>
                  <a:lnTo>
                    <a:pt x="452" y="1518"/>
                  </a:lnTo>
                  <a:lnTo>
                    <a:pt x="445" y="1504"/>
                  </a:lnTo>
                  <a:lnTo>
                    <a:pt x="438" y="1487"/>
                  </a:lnTo>
                  <a:lnTo>
                    <a:pt x="431" y="1469"/>
                  </a:lnTo>
                  <a:lnTo>
                    <a:pt x="424" y="1452"/>
                  </a:lnTo>
                  <a:lnTo>
                    <a:pt x="417" y="1434"/>
                  </a:lnTo>
                  <a:lnTo>
                    <a:pt x="414" y="1417"/>
                  </a:lnTo>
                  <a:lnTo>
                    <a:pt x="407" y="1396"/>
                  </a:lnTo>
                  <a:lnTo>
                    <a:pt x="400" y="1375"/>
                  </a:lnTo>
                  <a:lnTo>
                    <a:pt x="393" y="1353"/>
                  </a:lnTo>
                  <a:lnTo>
                    <a:pt x="389" y="1329"/>
                  </a:lnTo>
                  <a:lnTo>
                    <a:pt x="382" y="1304"/>
                  </a:lnTo>
                  <a:lnTo>
                    <a:pt x="386" y="1294"/>
                  </a:lnTo>
                  <a:lnTo>
                    <a:pt x="386" y="1294"/>
                  </a:lnTo>
                  <a:cubicBezTo>
                    <a:pt x="298" y="1301"/>
                    <a:pt x="126" y="1483"/>
                    <a:pt x="56" y="1686"/>
                  </a:cubicBezTo>
                  <a:cubicBezTo>
                    <a:pt x="39" y="1742"/>
                    <a:pt x="0" y="1879"/>
                    <a:pt x="70" y="1942"/>
                  </a:cubicBezTo>
                  <a:cubicBezTo>
                    <a:pt x="235" y="2096"/>
                    <a:pt x="270" y="2302"/>
                    <a:pt x="302" y="2467"/>
                  </a:cubicBezTo>
                  <a:cubicBezTo>
                    <a:pt x="319" y="2565"/>
                    <a:pt x="333" y="2656"/>
                    <a:pt x="372" y="2712"/>
                  </a:cubicBezTo>
                  <a:cubicBezTo>
                    <a:pt x="417" y="2768"/>
                    <a:pt x="473" y="2813"/>
                    <a:pt x="540" y="2848"/>
                  </a:cubicBezTo>
                  <a:cubicBezTo>
                    <a:pt x="676" y="2936"/>
                    <a:pt x="851" y="3044"/>
                    <a:pt x="851" y="3296"/>
                  </a:cubicBezTo>
                  <a:cubicBezTo>
                    <a:pt x="851" y="3538"/>
                    <a:pt x="1023" y="3888"/>
                    <a:pt x="1177" y="3969"/>
                  </a:cubicBezTo>
                  <a:cubicBezTo>
                    <a:pt x="1189" y="3977"/>
                    <a:pt x="1204" y="3982"/>
                    <a:pt x="1219" y="3982"/>
                  </a:cubicBezTo>
                  <a:cubicBezTo>
                    <a:pt x="1234" y="3982"/>
                    <a:pt x="1250" y="3977"/>
                    <a:pt x="1264" y="3969"/>
                  </a:cubicBezTo>
                  <a:cubicBezTo>
                    <a:pt x="1315" y="3931"/>
                    <a:pt x="1378" y="3909"/>
                    <a:pt x="1440" y="3909"/>
                  </a:cubicBezTo>
                  <a:cubicBezTo>
                    <a:pt x="1465" y="3909"/>
                    <a:pt x="1489" y="3913"/>
                    <a:pt x="1513" y="3920"/>
                  </a:cubicBezTo>
                  <a:cubicBezTo>
                    <a:pt x="1677" y="3962"/>
                    <a:pt x="1772" y="4151"/>
                    <a:pt x="1796" y="4207"/>
                  </a:cubicBezTo>
                  <a:cubicBezTo>
                    <a:pt x="1803" y="4212"/>
                    <a:pt x="1816" y="4214"/>
                    <a:pt x="1833" y="4214"/>
                  </a:cubicBezTo>
                  <a:cubicBezTo>
                    <a:pt x="1905" y="4214"/>
                    <a:pt x="2052" y="4173"/>
                    <a:pt x="2129" y="4147"/>
                  </a:cubicBezTo>
                  <a:cubicBezTo>
                    <a:pt x="2227" y="4116"/>
                    <a:pt x="2329" y="4095"/>
                    <a:pt x="2434" y="4084"/>
                  </a:cubicBezTo>
                  <a:cubicBezTo>
                    <a:pt x="2448" y="4084"/>
                    <a:pt x="2462" y="4084"/>
                    <a:pt x="2476" y="4088"/>
                  </a:cubicBezTo>
                  <a:lnTo>
                    <a:pt x="2486" y="4088"/>
                  </a:lnTo>
                  <a:cubicBezTo>
                    <a:pt x="2812" y="4154"/>
                    <a:pt x="3190" y="4256"/>
                    <a:pt x="3225" y="4462"/>
                  </a:cubicBezTo>
                  <a:cubicBezTo>
                    <a:pt x="3225" y="4476"/>
                    <a:pt x="3228" y="4476"/>
                    <a:pt x="3232" y="4480"/>
                  </a:cubicBezTo>
                  <a:cubicBezTo>
                    <a:pt x="3243" y="4486"/>
                    <a:pt x="3260" y="4489"/>
                    <a:pt x="3280" y="4489"/>
                  </a:cubicBezTo>
                  <a:cubicBezTo>
                    <a:pt x="3393" y="4489"/>
                    <a:pt x="3624" y="4399"/>
                    <a:pt x="3785" y="4336"/>
                  </a:cubicBezTo>
                  <a:cubicBezTo>
                    <a:pt x="3834" y="4319"/>
                    <a:pt x="3883" y="4301"/>
                    <a:pt x="3928" y="4284"/>
                  </a:cubicBezTo>
                  <a:cubicBezTo>
                    <a:pt x="4047" y="4238"/>
                    <a:pt x="4079" y="3972"/>
                    <a:pt x="4103" y="3738"/>
                  </a:cubicBezTo>
                  <a:cubicBezTo>
                    <a:pt x="4135" y="3465"/>
                    <a:pt x="4166" y="3181"/>
                    <a:pt x="4338" y="3076"/>
                  </a:cubicBezTo>
                  <a:cubicBezTo>
                    <a:pt x="4625" y="2901"/>
                    <a:pt x="4653" y="2554"/>
                    <a:pt x="4629" y="2299"/>
                  </a:cubicBezTo>
                  <a:cubicBezTo>
                    <a:pt x="4601" y="2036"/>
                    <a:pt x="4937" y="1945"/>
                    <a:pt x="5206" y="1872"/>
                  </a:cubicBezTo>
                  <a:cubicBezTo>
                    <a:pt x="5311" y="1844"/>
                    <a:pt x="5441" y="1809"/>
                    <a:pt x="5469" y="1781"/>
                  </a:cubicBezTo>
                  <a:cubicBezTo>
                    <a:pt x="5479" y="1770"/>
                    <a:pt x="5483" y="1756"/>
                    <a:pt x="5479" y="1742"/>
                  </a:cubicBezTo>
                  <a:cubicBezTo>
                    <a:pt x="5462" y="1662"/>
                    <a:pt x="5301" y="1529"/>
                    <a:pt x="5119" y="1445"/>
                  </a:cubicBezTo>
                  <a:cubicBezTo>
                    <a:pt x="4965" y="1375"/>
                    <a:pt x="4968" y="1248"/>
                    <a:pt x="4968" y="1157"/>
                  </a:cubicBezTo>
                  <a:cubicBezTo>
                    <a:pt x="4968" y="1084"/>
                    <a:pt x="4968" y="1035"/>
                    <a:pt x="4923" y="1000"/>
                  </a:cubicBezTo>
                  <a:cubicBezTo>
                    <a:pt x="4832" y="916"/>
                    <a:pt x="4597" y="650"/>
                    <a:pt x="4650" y="492"/>
                  </a:cubicBezTo>
                  <a:cubicBezTo>
                    <a:pt x="4671" y="433"/>
                    <a:pt x="4723" y="398"/>
                    <a:pt x="4786" y="398"/>
                  </a:cubicBezTo>
                  <a:lnTo>
                    <a:pt x="4793" y="398"/>
                  </a:lnTo>
                  <a:cubicBezTo>
                    <a:pt x="4783" y="373"/>
                    <a:pt x="4772" y="345"/>
                    <a:pt x="4758" y="321"/>
                  </a:cubicBezTo>
                  <a:cubicBezTo>
                    <a:pt x="4723" y="244"/>
                    <a:pt x="4660" y="107"/>
                    <a:pt x="4758" y="27"/>
                  </a:cubicBezTo>
                  <a:lnTo>
                    <a:pt x="4755" y="27"/>
                  </a:lnTo>
                  <a:lnTo>
                    <a:pt x="4720" y="13"/>
                  </a:lnTo>
                  <a:lnTo>
                    <a:pt x="4713" y="13"/>
                  </a:lnTo>
                  <a:lnTo>
                    <a:pt x="4688" y="6"/>
                  </a:lnTo>
                  <a:lnTo>
                    <a:pt x="4681" y="6"/>
                  </a:lnTo>
                  <a:lnTo>
                    <a:pt x="4664" y="2"/>
                  </a:lnTo>
                  <a:lnTo>
                    <a:pt x="4545" y="2"/>
                  </a:lnTo>
                  <a:cubicBezTo>
                    <a:pt x="4506" y="2"/>
                    <a:pt x="4465" y="1"/>
                    <a:pt x="4422" y="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966" name="Google Shape;6966;p104"/>
            <p:cNvSpPr/>
            <p:nvPr/>
          </p:nvSpPr>
          <p:spPr>
            <a:xfrm>
              <a:off x="2823415" y="2090109"/>
              <a:ext cx="73061" cy="19457"/>
            </a:xfrm>
            <a:custGeom>
              <a:avLst/>
              <a:gdLst/>
              <a:ahLst/>
              <a:cxnLst/>
              <a:rect l="l" t="t" r="r" b="b"/>
              <a:pathLst>
                <a:path w="5381" h="1433" extrusionOk="0">
                  <a:moveTo>
                    <a:pt x="626" y="1"/>
                  </a:moveTo>
                  <a:cubicBezTo>
                    <a:pt x="563" y="1"/>
                    <a:pt x="503" y="6"/>
                    <a:pt x="448" y="17"/>
                  </a:cubicBezTo>
                  <a:cubicBezTo>
                    <a:pt x="357" y="38"/>
                    <a:pt x="294" y="73"/>
                    <a:pt x="266" y="126"/>
                  </a:cubicBezTo>
                  <a:cubicBezTo>
                    <a:pt x="165" y="301"/>
                    <a:pt x="56" y="318"/>
                    <a:pt x="0" y="325"/>
                  </a:cubicBezTo>
                  <a:cubicBezTo>
                    <a:pt x="4" y="350"/>
                    <a:pt x="7" y="378"/>
                    <a:pt x="14" y="402"/>
                  </a:cubicBezTo>
                  <a:cubicBezTo>
                    <a:pt x="25" y="445"/>
                    <a:pt x="44" y="463"/>
                    <a:pt x="96" y="463"/>
                  </a:cubicBezTo>
                  <a:cubicBezTo>
                    <a:pt x="125" y="463"/>
                    <a:pt x="164" y="458"/>
                    <a:pt x="217" y="448"/>
                  </a:cubicBezTo>
                  <a:cubicBezTo>
                    <a:pt x="263" y="441"/>
                    <a:pt x="308" y="434"/>
                    <a:pt x="354" y="434"/>
                  </a:cubicBezTo>
                  <a:cubicBezTo>
                    <a:pt x="469" y="434"/>
                    <a:pt x="504" y="528"/>
                    <a:pt x="529" y="598"/>
                  </a:cubicBezTo>
                  <a:cubicBezTo>
                    <a:pt x="560" y="679"/>
                    <a:pt x="581" y="731"/>
                    <a:pt x="655" y="738"/>
                  </a:cubicBezTo>
                  <a:cubicBezTo>
                    <a:pt x="704" y="749"/>
                    <a:pt x="770" y="763"/>
                    <a:pt x="854" y="780"/>
                  </a:cubicBezTo>
                  <a:cubicBezTo>
                    <a:pt x="990" y="810"/>
                    <a:pt x="1302" y="876"/>
                    <a:pt x="1463" y="876"/>
                  </a:cubicBezTo>
                  <a:cubicBezTo>
                    <a:pt x="1510" y="876"/>
                    <a:pt x="1544" y="871"/>
                    <a:pt x="1558" y="857"/>
                  </a:cubicBezTo>
                  <a:cubicBezTo>
                    <a:pt x="1579" y="812"/>
                    <a:pt x="1624" y="780"/>
                    <a:pt x="1673" y="773"/>
                  </a:cubicBezTo>
                  <a:cubicBezTo>
                    <a:pt x="1702" y="767"/>
                    <a:pt x="1737" y="763"/>
                    <a:pt x="1775" y="763"/>
                  </a:cubicBezTo>
                  <a:cubicBezTo>
                    <a:pt x="2021" y="763"/>
                    <a:pt x="2444" y="893"/>
                    <a:pt x="2692" y="1095"/>
                  </a:cubicBezTo>
                  <a:cubicBezTo>
                    <a:pt x="2903" y="1265"/>
                    <a:pt x="3347" y="1327"/>
                    <a:pt x="3687" y="1327"/>
                  </a:cubicBezTo>
                  <a:cubicBezTo>
                    <a:pt x="3810" y="1327"/>
                    <a:pt x="3918" y="1319"/>
                    <a:pt x="3998" y="1305"/>
                  </a:cubicBezTo>
                  <a:cubicBezTo>
                    <a:pt x="4026" y="1301"/>
                    <a:pt x="4055" y="1299"/>
                    <a:pt x="4084" y="1299"/>
                  </a:cubicBezTo>
                  <a:cubicBezTo>
                    <a:pt x="4199" y="1299"/>
                    <a:pt x="4314" y="1329"/>
                    <a:pt x="4415" y="1354"/>
                  </a:cubicBezTo>
                  <a:cubicBezTo>
                    <a:pt x="4500" y="1379"/>
                    <a:pt x="4566" y="1397"/>
                    <a:pt x="4613" y="1397"/>
                  </a:cubicBezTo>
                  <a:cubicBezTo>
                    <a:pt x="4645" y="1397"/>
                    <a:pt x="4668" y="1388"/>
                    <a:pt x="4681" y="1368"/>
                  </a:cubicBezTo>
                  <a:cubicBezTo>
                    <a:pt x="4705" y="1326"/>
                    <a:pt x="4751" y="1302"/>
                    <a:pt x="4800" y="1302"/>
                  </a:cubicBezTo>
                  <a:cubicBezTo>
                    <a:pt x="4856" y="1305"/>
                    <a:pt x="4915" y="1326"/>
                    <a:pt x="4964" y="1361"/>
                  </a:cubicBezTo>
                  <a:cubicBezTo>
                    <a:pt x="5030" y="1397"/>
                    <a:pt x="5097" y="1433"/>
                    <a:pt x="5172" y="1433"/>
                  </a:cubicBezTo>
                  <a:cubicBezTo>
                    <a:pt x="5223" y="1433"/>
                    <a:pt x="5279" y="1416"/>
                    <a:pt x="5342" y="1368"/>
                  </a:cubicBezTo>
                  <a:cubicBezTo>
                    <a:pt x="5356" y="1358"/>
                    <a:pt x="5370" y="1347"/>
                    <a:pt x="5381" y="1337"/>
                  </a:cubicBezTo>
                  <a:cubicBezTo>
                    <a:pt x="5311" y="1312"/>
                    <a:pt x="5237" y="1298"/>
                    <a:pt x="5167" y="1288"/>
                  </a:cubicBezTo>
                  <a:cubicBezTo>
                    <a:pt x="4975" y="1256"/>
                    <a:pt x="4779" y="1225"/>
                    <a:pt x="4768" y="1085"/>
                  </a:cubicBezTo>
                  <a:cubicBezTo>
                    <a:pt x="4766" y="1053"/>
                    <a:pt x="4631" y="1049"/>
                    <a:pt x="4517" y="1049"/>
                  </a:cubicBezTo>
                  <a:cubicBezTo>
                    <a:pt x="4478" y="1049"/>
                    <a:pt x="4443" y="1050"/>
                    <a:pt x="4415" y="1050"/>
                  </a:cubicBezTo>
                  <a:cubicBezTo>
                    <a:pt x="4360" y="1052"/>
                    <a:pt x="4304" y="1053"/>
                    <a:pt x="4248" y="1053"/>
                  </a:cubicBezTo>
                  <a:cubicBezTo>
                    <a:pt x="4105" y="1053"/>
                    <a:pt x="3962" y="1042"/>
                    <a:pt x="3854" y="997"/>
                  </a:cubicBezTo>
                  <a:cubicBezTo>
                    <a:pt x="3823" y="983"/>
                    <a:pt x="3728" y="945"/>
                    <a:pt x="3732" y="861"/>
                  </a:cubicBezTo>
                  <a:cubicBezTo>
                    <a:pt x="3735" y="759"/>
                    <a:pt x="3868" y="707"/>
                    <a:pt x="4110" y="623"/>
                  </a:cubicBezTo>
                  <a:cubicBezTo>
                    <a:pt x="4205" y="595"/>
                    <a:pt x="4296" y="556"/>
                    <a:pt x="4383" y="511"/>
                  </a:cubicBezTo>
                  <a:cubicBezTo>
                    <a:pt x="4371" y="510"/>
                    <a:pt x="4356" y="509"/>
                    <a:pt x="4340" y="509"/>
                  </a:cubicBezTo>
                  <a:cubicBezTo>
                    <a:pt x="4239" y="509"/>
                    <a:pt x="4058" y="530"/>
                    <a:pt x="3802" y="609"/>
                  </a:cubicBezTo>
                  <a:cubicBezTo>
                    <a:pt x="3721" y="634"/>
                    <a:pt x="3639" y="645"/>
                    <a:pt x="3558" y="645"/>
                  </a:cubicBezTo>
                  <a:cubicBezTo>
                    <a:pt x="3329" y="645"/>
                    <a:pt x="3110" y="560"/>
                    <a:pt x="2934" y="493"/>
                  </a:cubicBezTo>
                  <a:cubicBezTo>
                    <a:pt x="2864" y="462"/>
                    <a:pt x="2794" y="441"/>
                    <a:pt x="2717" y="423"/>
                  </a:cubicBezTo>
                  <a:cubicBezTo>
                    <a:pt x="2713" y="476"/>
                    <a:pt x="2682" y="518"/>
                    <a:pt x="2636" y="535"/>
                  </a:cubicBezTo>
                  <a:cubicBezTo>
                    <a:pt x="2601" y="552"/>
                    <a:pt x="2554" y="559"/>
                    <a:pt x="2498" y="559"/>
                  </a:cubicBezTo>
                  <a:cubicBezTo>
                    <a:pt x="2190" y="559"/>
                    <a:pt x="1621" y="335"/>
                    <a:pt x="1449" y="213"/>
                  </a:cubicBezTo>
                  <a:cubicBezTo>
                    <a:pt x="1324" y="123"/>
                    <a:pt x="939" y="1"/>
                    <a:pt x="626" y="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967" name="Google Shape;6967;p104"/>
            <p:cNvSpPr/>
            <p:nvPr/>
          </p:nvSpPr>
          <p:spPr>
            <a:xfrm>
              <a:off x="2838907" y="2066647"/>
              <a:ext cx="2675" cy="2281"/>
            </a:xfrm>
            <a:custGeom>
              <a:avLst/>
              <a:gdLst/>
              <a:ahLst/>
              <a:cxnLst/>
              <a:rect l="l" t="t" r="r" b="b"/>
              <a:pathLst>
                <a:path w="197" h="168" extrusionOk="0">
                  <a:moveTo>
                    <a:pt x="157" y="0"/>
                  </a:moveTo>
                  <a:cubicBezTo>
                    <a:pt x="153" y="0"/>
                    <a:pt x="148" y="1"/>
                    <a:pt x="144" y="2"/>
                  </a:cubicBezTo>
                  <a:cubicBezTo>
                    <a:pt x="105" y="2"/>
                    <a:pt x="70" y="12"/>
                    <a:pt x="35" y="33"/>
                  </a:cubicBezTo>
                  <a:cubicBezTo>
                    <a:pt x="11" y="51"/>
                    <a:pt x="0" y="68"/>
                    <a:pt x="25" y="107"/>
                  </a:cubicBezTo>
                  <a:cubicBezTo>
                    <a:pt x="44" y="132"/>
                    <a:pt x="71" y="168"/>
                    <a:pt x="99" y="168"/>
                  </a:cubicBezTo>
                  <a:cubicBezTo>
                    <a:pt x="102" y="168"/>
                    <a:pt x="105" y="167"/>
                    <a:pt x="109" y="166"/>
                  </a:cubicBezTo>
                  <a:cubicBezTo>
                    <a:pt x="151" y="156"/>
                    <a:pt x="196" y="75"/>
                    <a:pt x="196" y="12"/>
                  </a:cubicBezTo>
                  <a:cubicBezTo>
                    <a:pt x="183" y="4"/>
                    <a:pt x="170" y="0"/>
                    <a:pt x="157"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968" name="Google Shape;6968;p104"/>
            <p:cNvSpPr/>
            <p:nvPr/>
          </p:nvSpPr>
          <p:spPr>
            <a:xfrm>
              <a:off x="2928980" y="2107991"/>
              <a:ext cx="29246" cy="3842"/>
            </a:xfrm>
            <a:custGeom>
              <a:avLst/>
              <a:gdLst/>
              <a:ahLst/>
              <a:cxnLst/>
              <a:rect l="l" t="t" r="r" b="b"/>
              <a:pathLst>
                <a:path w="2154" h="283" extrusionOk="0">
                  <a:moveTo>
                    <a:pt x="1999" y="1"/>
                  </a:moveTo>
                  <a:cubicBezTo>
                    <a:pt x="1864" y="1"/>
                    <a:pt x="1740" y="37"/>
                    <a:pt x="1611" y="76"/>
                  </a:cubicBezTo>
                  <a:cubicBezTo>
                    <a:pt x="1482" y="113"/>
                    <a:pt x="1352" y="151"/>
                    <a:pt x="1209" y="151"/>
                  </a:cubicBezTo>
                  <a:cubicBezTo>
                    <a:pt x="1122" y="151"/>
                    <a:pt x="1031" y="137"/>
                    <a:pt x="932" y="100"/>
                  </a:cubicBezTo>
                  <a:cubicBezTo>
                    <a:pt x="808" y="56"/>
                    <a:pt x="672" y="39"/>
                    <a:pt x="543" y="39"/>
                  </a:cubicBezTo>
                  <a:cubicBezTo>
                    <a:pt x="276" y="39"/>
                    <a:pt x="38" y="111"/>
                    <a:pt x="0" y="163"/>
                  </a:cubicBezTo>
                  <a:cubicBezTo>
                    <a:pt x="67" y="254"/>
                    <a:pt x="505" y="268"/>
                    <a:pt x="827" y="282"/>
                  </a:cubicBezTo>
                  <a:cubicBezTo>
                    <a:pt x="837" y="283"/>
                    <a:pt x="848" y="283"/>
                    <a:pt x="858" y="283"/>
                  </a:cubicBezTo>
                  <a:cubicBezTo>
                    <a:pt x="1092" y="283"/>
                    <a:pt x="1315" y="210"/>
                    <a:pt x="1513" y="146"/>
                  </a:cubicBezTo>
                  <a:cubicBezTo>
                    <a:pt x="1663" y="93"/>
                    <a:pt x="1807" y="48"/>
                    <a:pt x="1936" y="41"/>
                  </a:cubicBezTo>
                  <a:cubicBezTo>
                    <a:pt x="2010" y="34"/>
                    <a:pt x="2083" y="27"/>
                    <a:pt x="2153" y="16"/>
                  </a:cubicBezTo>
                  <a:lnTo>
                    <a:pt x="2111" y="9"/>
                  </a:lnTo>
                  <a:cubicBezTo>
                    <a:pt x="2073" y="3"/>
                    <a:pt x="2036" y="1"/>
                    <a:pt x="1999" y="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969" name="Google Shape;6969;p104"/>
            <p:cNvSpPr/>
            <p:nvPr/>
          </p:nvSpPr>
          <p:spPr>
            <a:xfrm>
              <a:off x="2771508" y="2053260"/>
              <a:ext cx="2240" cy="3666"/>
            </a:xfrm>
            <a:custGeom>
              <a:avLst/>
              <a:gdLst/>
              <a:ahLst/>
              <a:cxnLst/>
              <a:rect l="l" t="t" r="r" b="b"/>
              <a:pathLst>
                <a:path w="165" h="270" extrusionOk="0">
                  <a:moveTo>
                    <a:pt x="21" y="0"/>
                  </a:moveTo>
                  <a:cubicBezTo>
                    <a:pt x="11" y="11"/>
                    <a:pt x="4" y="21"/>
                    <a:pt x="0" y="35"/>
                  </a:cubicBezTo>
                  <a:cubicBezTo>
                    <a:pt x="14" y="112"/>
                    <a:pt x="49" y="182"/>
                    <a:pt x="105" y="242"/>
                  </a:cubicBezTo>
                  <a:cubicBezTo>
                    <a:pt x="119" y="256"/>
                    <a:pt x="133" y="266"/>
                    <a:pt x="151" y="270"/>
                  </a:cubicBezTo>
                  <a:cubicBezTo>
                    <a:pt x="165" y="259"/>
                    <a:pt x="165" y="203"/>
                    <a:pt x="126" y="123"/>
                  </a:cubicBezTo>
                  <a:cubicBezTo>
                    <a:pt x="88" y="42"/>
                    <a:pt x="35" y="0"/>
                    <a:pt x="21"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970" name="Google Shape;6970;p104"/>
            <p:cNvSpPr/>
            <p:nvPr/>
          </p:nvSpPr>
          <p:spPr>
            <a:xfrm>
              <a:off x="2920182" y="2034251"/>
              <a:ext cx="46788" cy="53482"/>
            </a:xfrm>
            <a:custGeom>
              <a:avLst/>
              <a:gdLst/>
              <a:ahLst/>
              <a:cxnLst/>
              <a:rect l="l" t="t" r="r" b="b"/>
              <a:pathLst>
                <a:path w="3446" h="3939" extrusionOk="0">
                  <a:moveTo>
                    <a:pt x="3446" y="0"/>
                  </a:moveTo>
                  <a:cubicBezTo>
                    <a:pt x="3316" y="70"/>
                    <a:pt x="3190" y="147"/>
                    <a:pt x="3071" y="231"/>
                  </a:cubicBezTo>
                  <a:lnTo>
                    <a:pt x="2962" y="301"/>
                  </a:lnTo>
                  <a:cubicBezTo>
                    <a:pt x="2872" y="360"/>
                    <a:pt x="2742" y="383"/>
                    <a:pt x="2596" y="383"/>
                  </a:cubicBezTo>
                  <a:cubicBezTo>
                    <a:pt x="2190" y="383"/>
                    <a:pt x="1662" y="207"/>
                    <a:pt x="1531" y="161"/>
                  </a:cubicBezTo>
                  <a:cubicBezTo>
                    <a:pt x="1481" y="145"/>
                    <a:pt x="1441" y="137"/>
                    <a:pt x="1407" y="137"/>
                  </a:cubicBezTo>
                  <a:cubicBezTo>
                    <a:pt x="1318" y="137"/>
                    <a:pt x="1271" y="187"/>
                    <a:pt x="1205" y="256"/>
                  </a:cubicBezTo>
                  <a:cubicBezTo>
                    <a:pt x="1135" y="329"/>
                    <a:pt x="1051" y="417"/>
                    <a:pt x="897" y="441"/>
                  </a:cubicBezTo>
                  <a:cubicBezTo>
                    <a:pt x="760" y="462"/>
                    <a:pt x="711" y="704"/>
                    <a:pt x="676" y="893"/>
                  </a:cubicBezTo>
                  <a:cubicBezTo>
                    <a:pt x="641" y="1061"/>
                    <a:pt x="617" y="1194"/>
                    <a:pt x="533" y="1243"/>
                  </a:cubicBezTo>
                  <a:cubicBezTo>
                    <a:pt x="487" y="1267"/>
                    <a:pt x="449" y="1407"/>
                    <a:pt x="410" y="1544"/>
                  </a:cubicBezTo>
                  <a:cubicBezTo>
                    <a:pt x="358" y="1743"/>
                    <a:pt x="281" y="2013"/>
                    <a:pt x="123" y="2272"/>
                  </a:cubicBezTo>
                  <a:cubicBezTo>
                    <a:pt x="60" y="2367"/>
                    <a:pt x="1" y="2503"/>
                    <a:pt x="43" y="2587"/>
                  </a:cubicBezTo>
                  <a:cubicBezTo>
                    <a:pt x="102" y="2699"/>
                    <a:pt x="333" y="2717"/>
                    <a:pt x="410" y="2720"/>
                  </a:cubicBezTo>
                  <a:cubicBezTo>
                    <a:pt x="484" y="2720"/>
                    <a:pt x="550" y="2759"/>
                    <a:pt x="596" y="2818"/>
                  </a:cubicBezTo>
                  <a:cubicBezTo>
                    <a:pt x="704" y="2965"/>
                    <a:pt x="666" y="3235"/>
                    <a:pt x="631" y="3382"/>
                  </a:cubicBezTo>
                  <a:cubicBezTo>
                    <a:pt x="536" y="3791"/>
                    <a:pt x="571" y="3924"/>
                    <a:pt x="589" y="3938"/>
                  </a:cubicBezTo>
                  <a:cubicBezTo>
                    <a:pt x="596" y="3938"/>
                    <a:pt x="603" y="3938"/>
                    <a:pt x="610" y="3935"/>
                  </a:cubicBezTo>
                  <a:cubicBezTo>
                    <a:pt x="767" y="3875"/>
                    <a:pt x="876" y="3725"/>
                    <a:pt x="893" y="3613"/>
                  </a:cubicBezTo>
                  <a:cubicBezTo>
                    <a:pt x="904" y="3578"/>
                    <a:pt x="893" y="3539"/>
                    <a:pt x="869" y="3515"/>
                  </a:cubicBezTo>
                  <a:cubicBezTo>
                    <a:pt x="680" y="3368"/>
                    <a:pt x="718" y="2608"/>
                    <a:pt x="781" y="2437"/>
                  </a:cubicBezTo>
                  <a:cubicBezTo>
                    <a:pt x="806" y="2370"/>
                    <a:pt x="872" y="2321"/>
                    <a:pt x="946" y="2314"/>
                  </a:cubicBezTo>
                  <a:cubicBezTo>
                    <a:pt x="957" y="2313"/>
                    <a:pt x="967" y="2313"/>
                    <a:pt x="978" y="2313"/>
                  </a:cubicBezTo>
                  <a:cubicBezTo>
                    <a:pt x="1085" y="2313"/>
                    <a:pt x="1187" y="2361"/>
                    <a:pt x="1251" y="2447"/>
                  </a:cubicBezTo>
                  <a:cubicBezTo>
                    <a:pt x="1307" y="2528"/>
                    <a:pt x="1307" y="2636"/>
                    <a:pt x="1254" y="2720"/>
                  </a:cubicBezTo>
                  <a:cubicBezTo>
                    <a:pt x="1209" y="2811"/>
                    <a:pt x="1233" y="2836"/>
                    <a:pt x="1335" y="2909"/>
                  </a:cubicBezTo>
                  <a:cubicBezTo>
                    <a:pt x="1422" y="2972"/>
                    <a:pt x="1538" y="3060"/>
                    <a:pt x="1538" y="3238"/>
                  </a:cubicBezTo>
                  <a:cubicBezTo>
                    <a:pt x="1538" y="3319"/>
                    <a:pt x="1555" y="3340"/>
                    <a:pt x="1566" y="3347"/>
                  </a:cubicBezTo>
                  <a:cubicBezTo>
                    <a:pt x="1573" y="3352"/>
                    <a:pt x="1583" y="3354"/>
                    <a:pt x="1595" y="3354"/>
                  </a:cubicBezTo>
                  <a:cubicBezTo>
                    <a:pt x="1645" y="3354"/>
                    <a:pt x="1734" y="3319"/>
                    <a:pt x="1807" y="3291"/>
                  </a:cubicBezTo>
                  <a:cubicBezTo>
                    <a:pt x="1856" y="3273"/>
                    <a:pt x="1905" y="3256"/>
                    <a:pt x="1954" y="3242"/>
                  </a:cubicBezTo>
                  <a:cubicBezTo>
                    <a:pt x="2031" y="3217"/>
                    <a:pt x="2077" y="3186"/>
                    <a:pt x="2084" y="3154"/>
                  </a:cubicBezTo>
                  <a:cubicBezTo>
                    <a:pt x="2094" y="3119"/>
                    <a:pt x="2077" y="3060"/>
                    <a:pt x="1958" y="2927"/>
                  </a:cubicBezTo>
                  <a:cubicBezTo>
                    <a:pt x="1849" y="2811"/>
                    <a:pt x="1881" y="2671"/>
                    <a:pt x="1905" y="2559"/>
                  </a:cubicBezTo>
                  <a:cubicBezTo>
                    <a:pt x="1933" y="2433"/>
                    <a:pt x="1944" y="2363"/>
                    <a:pt x="1856" y="2307"/>
                  </a:cubicBezTo>
                  <a:cubicBezTo>
                    <a:pt x="1695" y="2199"/>
                    <a:pt x="1513" y="2020"/>
                    <a:pt x="1545" y="1873"/>
                  </a:cubicBezTo>
                  <a:cubicBezTo>
                    <a:pt x="1552" y="1831"/>
                    <a:pt x="1583" y="1761"/>
                    <a:pt x="1699" y="1736"/>
                  </a:cubicBezTo>
                  <a:cubicBezTo>
                    <a:pt x="1947" y="1680"/>
                    <a:pt x="2493" y="1327"/>
                    <a:pt x="2479" y="1229"/>
                  </a:cubicBezTo>
                  <a:cubicBezTo>
                    <a:pt x="2469" y="1219"/>
                    <a:pt x="2424" y="1208"/>
                    <a:pt x="2348" y="1208"/>
                  </a:cubicBezTo>
                  <a:cubicBezTo>
                    <a:pt x="2269" y="1208"/>
                    <a:pt x="2157" y="1219"/>
                    <a:pt x="2014" y="1253"/>
                  </a:cubicBezTo>
                  <a:cubicBezTo>
                    <a:pt x="1737" y="1320"/>
                    <a:pt x="1513" y="1439"/>
                    <a:pt x="1485" y="1540"/>
                  </a:cubicBezTo>
                  <a:cubicBezTo>
                    <a:pt x="1457" y="1643"/>
                    <a:pt x="1372" y="1700"/>
                    <a:pt x="1258" y="1700"/>
                  </a:cubicBezTo>
                  <a:cubicBezTo>
                    <a:pt x="1232" y="1700"/>
                    <a:pt x="1205" y="1697"/>
                    <a:pt x="1177" y="1691"/>
                  </a:cubicBezTo>
                  <a:cubicBezTo>
                    <a:pt x="935" y="1638"/>
                    <a:pt x="617" y="1355"/>
                    <a:pt x="680" y="980"/>
                  </a:cubicBezTo>
                  <a:cubicBezTo>
                    <a:pt x="701" y="844"/>
                    <a:pt x="799" y="728"/>
                    <a:pt x="970" y="634"/>
                  </a:cubicBezTo>
                  <a:cubicBezTo>
                    <a:pt x="1225" y="499"/>
                    <a:pt x="1630" y="434"/>
                    <a:pt x="1984" y="434"/>
                  </a:cubicBezTo>
                  <a:cubicBezTo>
                    <a:pt x="2229" y="434"/>
                    <a:pt x="2449" y="465"/>
                    <a:pt x="2581" y="525"/>
                  </a:cubicBezTo>
                  <a:cubicBezTo>
                    <a:pt x="2631" y="548"/>
                    <a:pt x="2683" y="558"/>
                    <a:pt x="2734" y="558"/>
                  </a:cubicBezTo>
                  <a:cubicBezTo>
                    <a:pt x="3034" y="558"/>
                    <a:pt x="3332" y="206"/>
                    <a:pt x="3446"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971" name="Google Shape;6971;p104"/>
            <p:cNvSpPr/>
            <p:nvPr/>
          </p:nvSpPr>
          <p:spPr>
            <a:xfrm>
              <a:off x="2975850" y="2069105"/>
              <a:ext cx="7658" cy="4046"/>
            </a:xfrm>
            <a:custGeom>
              <a:avLst/>
              <a:gdLst/>
              <a:ahLst/>
              <a:cxnLst/>
              <a:rect l="l" t="t" r="r" b="b"/>
              <a:pathLst>
                <a:path w="564" h="298" extrusionOk="0">
                  <a:moveTo>
                    <a:pt x="103" y="1"/>
                  </a:moveTo>
                  <a:cubicBezTo>
                    <a:pt x="67" y="1"/>
                    <a:pt x="37" y="6"/>
                    <a:pt x="18" y="17"/>
                  </a:cubicBezTo>
                  <a:cubicBezTo>
                    <a:pt x="7" y="24"/>
                    <a:pt x="0" y="27"/>
                    <a:pt x="7" y="59"/>
                  </a:cubicBezTo>
                  <a:cubicBezTo>
                    <a:pt x="39" y="181"/>
                    <a:pt x="196" y="276"/>
                    <a:pt x="329" y="293"/>
                  </a:cubicBezTo>
                  <a:cubicBezTo>
                    <a:pt x="344" y="295"/>
                    <a:pt x="363" y="297"/>
                    <a:pt x="384" y="297"/>
                  </a:cubicBezTo>
                  <a:cubicBezTo>
                    <a:pt x="441" y="297"/>
                    <a:pt x="514" y="283"/>
                    <a:pt x="550" y="220"/>
                  </a:cubicBezTo>
                  <a:cubicBezTo>
                    <a:pt x="553" y="213"/>
                    <a:pt x="564" y="195"/>
                    <a:pt x="525" y="153"/>
                  </a:cubicBezTo>
                  <a:cubicBezTo>
                    <a:pt x="433" y="63"/>
                    <a:pt x="229" y="1"/>
                    <a:pt x="103" y="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972" name="Google Shape;6972;p104"/>
            <p:cNvSpPr/>
            <p:nvPr/>
          </p:nvSpPr>
          <p:spPr>
            <a:xfrm>
              <a:off x="2759899" y="2034536"/>
              <a:ext cx="923" cy="204"/>
            </a:xfrm>
            <a:custGeom>
              <a:avLst/>
              <a:gdLst/>
              <a:ahLst/>
              <a:cxnLst/>
              <a:rect l="l" t="t" r="r" b="b"/>
              <a:pathLst>
                <a:path w="68" h="15" extrusionOk="0">
                  <a:moveTo>
                    <a:pt x="67" y="14"/>
                  </a:moveTo>
                  <a:lnTo>
                    <a:pt x="1" y="0"/>
                  </a:lnTo>
                  <a:lnTo>
                    <a:pt x="1" y="0"/>
                  </a:lnTo>
                  <a:lnTo>
                    <a:pt x="67" y="14"/>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973" name="Google Shape;6973;p104"/>
            <p:cNvSpPr/>
            <p:nvPr/>
          </p:nvSpPr>
          <p:spPr>
            <a:xfrm>
              <a:off x="2760660" y="2035011"/>
              <a:ext cx="3870" cy="5227"/>
            </a:xfrm>
            <a:custGeom>
              <a:avLst/>
              <a:gdLst/>
              <a:ahLst/>
              <a:cxnLst/>
              <a:rect l="l" t="t" r="r" b="b"/>
              <a:pathLst>
                <a:path w="285" h="385" extrusionOk="0">
                  <a:moveTo>
                    <a:pt x="8" y="0"/>
                  </a:moveTo>
                  <a:lnTo>
                    <a:pt x="8" y="0"/>
                  </a:lnTo>
                  <a:cubicBezTo>
                    <a:pt x="1" y="105"/>
                    <a:pt x="78" y="329"/>
                    <a:pt x="169" y="378"/>
                  </a:cubicBezTo>
                  <a:cubicBezTo>
                    <a:pt x="174" y="381"/>
                    <a:pt x="180" y="385"/>
                    <a:pt x="189" y="385"/>
                  </a:cubicBezTo>
                  <a:cubicBezTo>
                    <a:pt x="201" y="385"/>
                    <a:pt x="217" y="379"/>
                    <a:pt x="239" y="357"/>
                  </a:cubicBezTo>
                  <a:cubicBezTo>
                    <a:pt x="249" y="347"/>
                    <a:pt x="284" y="312"/>
                    <a:pt x="246" y="224"/>
                  </a:cubicBezTo>
                  <a:cubicBezTo>
                    <a:pt x="193" y="126"/>
                    <a:pt x="109" y="46"/>
                    <a:pt x="8"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974" name="Google Shape;6974;p104"/>
            <p:cNvSpPr/>
            <p:nvPr/>
          </p:nvSpPr>
          <p:spPr>
            <a:xfrm>
              <a:off x="2956787" y="2113666"/>
              <a:ext cx="11093" cy="8595"/>
            </a:xfrm>
            <a:custGeom>
              <a:avLst/>
              <a:gdLst/>
              <a:ahLst/>
              <a:cxnLst/>
              <a:rect l="l" t="t" r="r" b="b"/>
              <a:pathLst>
                <a:path w="817" h="633" extrusionOk="0">
                  <a:moveTo>
                    <a:pt x="732" y="1"/>
                  </a:moveTo>
                  <a:cubicBezTo>
                    <a:pt x="694" y="22"/>
                    <a:pt x="655" y="39"/>
                    <a:pt x="613" y="50"/>
                  </a:cubicBezTo>
                  <a:lnTo>
                    <a:pt x="610" y="50"/>
                  </a:lnTo>
                  <a:cubicBezTo>
                    <a:pt x="603" y="64"/>
                    <a:pt x="599" y="78"/>
                    <a:pt x="592" y="92"/>
                  </a:cubicBezTo>
                  <a:lnTo>
                    <a:pt x="592" y="95"/>
                  </a:lnTo>
                  <a:cubicBezTo>
                    <a:pt x="585" y="109"/>
                    <a:pt x="578" y="120"/>
                    <a:pt x="575" y="134"/>
                  </a:cubicBezTo>
                  <a:lnTo>
                    <a:pt x="571" y="141"/>
                  </a:lnTo>
                  <a:cubicBezTo>
                    <a:pt x="564" y="151"/>
                    <a:pt x="557" y="162"/>
                    <a:pt x="550" y="172"/>
                  </a:cubicBezTo>
                  <a:lnTo>
                    <a:pt x="547" y="176"/>
                  </a:lnTo>
                  <a:cubicBezTo>
                    <a:pt x="540" y="186"/>
                    <a:pt x="529" y="197"/>
                    <a:pt x="519" y="204"/>
                  </a:cubicBezTo>
                  <a:cubicBezTo>
                    <a:pt x="512" y="208"/>
                    <a:pt x="505" y="215"/>
                    <a:pt x="498" y="218"/>
                  </a:cubicBezTo>
                  <a:lnTo>
                    <a:pt x="491" y="218"/>
                  </a:lnTo>
                  <a:cubicBezTo>
                    <a:pt x="484" y="222"/>
                    <a:pt x="477" y="225"/>
                    <a:pt x="470" y="225"/>
                  </a:cubicBezTo>
                  <a:lnTo>
                    <a:pt x="438" y="225"/>
                  </a:lnTo>
                  <a:lnTo>
                    <a:pt x="421" y="222"/>
                  </a:lnTo>
                  <a:lnTo>
                    <a:pt x="414" y="222"/>
                  </a:lnTo>
                  <a:cubicBezTo>
                    <a:pt x="403" y="218"/>
                    <a:pt x="396" y="215"/>
                    <a:pt x="389" y="211"/>
                  </a:cubicBezTo>
                  <a:lnTo>
                    <a:pt x="385" y="211"/>
                  </a:lnTo>
                  <a:cubicBezTo>
                    <a:pt x="375" y="204"/>
                    <a:pt x="364" y="200"/>
                    <a:pt x="357" y="193"/>
                  </a:cubicBezTo>
                  <a:lnTo>
                    <a:pt x="347" y="186"/>
                  </a:lnTo>
                  <a:lnTo>
                    <a:pt x="326" y="169"/>
                  </a:lnTo>
                  <a:lnTo>
                    <a:pt x="315" y="162"/>
                  </a:lnTo>
                  <a:lnTo>
                    <a:pt x="291" y="141"/>
                  </a:lnTo>
                  <a:lnTo>
                    <a:pt x="284" y="134"/>
                  </a:lnTo>
                  <a:cubicBezTo>
                    <a:pt x="119" y="222"/>
                    <a:pt x="14" y="379"/>
                    <a:pt x="7" y="495"/>
                  </a:cubicBezTo>
                  <a:cubicBezTo>
                    <a:pt x="0" y="544"/>
                    <a:pt x="25" y="593"/>
                    <a:pt x="70" y="617"/>
                  </a:cubicBezTo>
                  <a:cubicBezTo>
                    <a:pt x="91" y="628"/>
                    <a:pt x="114" y="633"/>
                    <a:pt x="139" y="633"/>
                  </a:cubicBezTo>
                  <a:cubicBezTo>
                    <a:pt x="292" y="633"/>
                    <a:pt x="510" y="441"/>
                    <a:pt x="676" y="239"/>
                  </a:cubicBezTo>
                  <a:cubicBezTo>
                    <a:pt x="704" y="208"/>
                    <a:pt x="729" y="176"/>
                    <a:pt x="750" y="148"/>
                  </a:cubicBezTo>
                  <a:cubicBezTo>
                    <a:pt x="767" y="127"/>
                    <a:pt x="792" y="106"/>
                    <a:pt x="816" y="88"/>
                  </a:cubicBezTo>
                  <a:lnTo>
                    <a:pt x="813" y="85"/>
                  </a:lnTo>
                  <a:cubicBezTo>
                    <a:pt x="802" y="71"/>
                    <a:pt x="788" y="57"/>
                    <a:pt x="774" y="43"/>
                  </a:cubicBezTo>
                  <a:lnTo>
                    <a:pt x="771" y="36"/>
                  </a:lnTo>
                  <a:cubicBezTo>
                    <a:pt x="757" y="25"/>
                    <a:pt x="746" y="11"/>
                    <a:pt x="732" y="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975" name="Google Shape;6975;p104"/>
            <p:cNvSpPr/>
            <p:nvPr/>
          </p:nvSpPr>
          <p:spPr>
            <a:xfrm>
              <a:off x="2901173" y="2106945"/>
              <a:ext cx="20312" cy="6490"/>
            </a:xfrm>
            <a:custGeom>
              <a:avLst/>
              <a:gdLst/>
              <a:ahLst/>
              <a:cxnLst/>
              <a:rect l="l" t="t" r="r" b="b"/>
              <a:pathLst>
                <a:path w="1496" h="478" extrusionOk="0">
                  <a:moveTo>
                    <a:pt x="887" y="1"/>
                  </a:moveTo>
                  <a:cubicBezTo>
                    <a:pt x="843" y="1"/>
                    <a:pt x="810" y="6"/>
                    <a:pt x="795" y="16"/>
                  </a:cubicBezTo>
                  <a:cubicBezTo>
                    <a:pt x="757" y="93"/>
                    <a:pt x="683" y="149"/>
                    <a:pt x="599" y="167"/>
                  </a:cubicBezTo>
                  <a:cubicBezTo>
                    <a:pt x="555" y="179"/>
                    <a:pt x="510" y="186"/>
                    <a:pt x="465" y="186"/>
                  </a:cubicBezTo>
                  <a:cubicBezTo>
                    <a:pt x="372" y="186"/>
                    <a:pt x="280" y="158"/>
                    <a:pt x="200" y="104"/>
                  </a:cubicBezTo>
                  <a:cubicBezTo>
                    <a:pt x="186" y="97"/>
                    <a:pt x="172" y="90"/>
                    <a:pt x="154" y="90"/>
                  </a:cubicBezTo>
                  <a:cubicBezTo>
                    <a:pt x="123" y="93"/>
                    <a:pt x="91" y="111"/>
                    <a:pt x="70" y="135"/>
                  </a:cubicBezTo>
                  <a:cubicBezTo>
                    <a:pt x="28" y="181"/>
                    <a:pt x="0" y="258"/>
                    <a:pt x="32" y="303"/>
                  </a:cubicBezTo>
                  <a:cubicBezTo>
                    <a:pt x="153" y="418"/>
                    <a:pt x="311" y="477"/>
                    <a:pt x="469" y="477"/>
                  </a:cubicBezTo>
                  <a:cubicBezTo>
                    <a:pt x="562" y="477"/>
                    <a:pt x="656" y="457"/>
                    <a:pt x="743" y="415"/>
                  </a:cubicBezTo>
                  <a:cubicBezTo>
                    <a:pt x="904" y="338"/>
                    <a:pt x="1079" y="300"/>
                    <a:pt x="1257" y="300"/>
                  </a:cubicBezTo>
                  <a:cubicBezTo>
                    <a:pt x="1408" y="293"/>
                    <a:pt x="1457" y="286"/>
                    <a:pt x="1488" y="219"/>
                  </a:cubicBezTo>
                  <a:cubicBezTo>
                    <a:pt x="1495" y="198"/>
                    <a:pt x="1457" y="167"/>
                    <a:pt x="1446" y="160"/>
                  </a:cubicBezTo>
                  <a:cubicBezTo>
                    <a:pt x="1312" y="58"/>
                    <a:pt x="1036" y="1"/>
                    <a:pt x="887" y="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976" name="Google Shape;6976;p104"/>
            <p:cNvSpPr/>
            <p:nvPr/>
          </p:nvSpPr>
          <p:spPr>
            <a:xfrm>
              <a:off x="2923413" y="2117536"/>
              <a:ext cx="11527" cy="4711"/>
            </a:xfrm>
            <a:custGeom>
              <a:avLst/>
              <a:gdLst/>
              <a:ahLst/>
              <a:cxnLst/>
              <a:rect l="l" t="t" r="r" b="b"/>
              <a:pathLst>
                <a:path w="849" h="347" extrusionOk="0">
                  <a:moveTo>
                    <a:pt x="52" y="1"/>
                  </a:moveTo>
                  <a:cubicBezTo>
                    <a:pt x="33" y="1"/>
                    <a:pt x="16" y="2"/>
                    <a:pt x="1" y="3"/>
                  </a:cubicBezTo>
                  <a:cubicBezTo>
                    <a:pt x="64" y="42"/>
                    <a:pt x="137" y="73"/>
                    <a:pt x="211" y="91"/>
                  </a:cubicBezTo>
                  <a:cubicBezTo>
                    <a:pt x="291" y="108"/>
                    <a:pt x="368" y="143"/>
                    <a:pt x="438" y="192"/>
                  </a:cubicBezTo>
                  <a:cubicBezTo>
                    <a:pt x="517" y="261"/>
                    <a:pt x="688" y="346"/>
                    <a:pt x="784" y="346"/>
                  </a:cubicBezTo>
                  <a:cubicBezTo>
                    <a:pt x="799" y="346"/>
                    <a:pt x="813" y="344"/>
                    <a:pt x="824" y="339"/>
                  </a:cubicBezTo>
                  <a:cubicBezTo>
                    <a:pt x="831" y="336"/>
                    <a:pt x="848" y="329"/>
                    <a:pt x="848" y="276"/>
                  </a:cubicBezTo>
                  <a:cubicBezTo>
                    <a:pt x="848" y="245"/>
                    <a:pt x="813" y="210"/>
                    <a:pt x="750" y="171"/>
                  </a:cubicBezTo>
                  <a:cubicBezTo>
                    <a:pt x="558" y="58"/>
                    <a:pt x="224" y="1"/>
                    <a:pt x="52" y="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977" name="Google Shape;6977;p104"/>
            <p:cNvSpPr/>
            <p:nvPr/>
          </p:nvSpPr>
          <p:spPr>
            <a:xfrm>
              <a:off x="2984729" y="2031441"/>
              <a:ext cx="10713" cy="16320"/>
            </a:xfrm>
            <a:custGeom>
              <a:avLst/>
              <a:gdLst/>
              <a:ahLst/>
              <a:cxnLst/>
              <a:rect l="l" t="t" r="r" b="b"/>
              <a:pathLst>
                <a:path w="789" h="1202" extrusionOk="0">
                  <a:moveTo>
                    <a:pt x="295" y="0"/>
                  </a:moveTo>
                  <a:cubicBezTo>
                    <a:pt x="263" y="0"/>
                    <a:pt x="218" y="39"/>
                    <a:pt x="169" y="106"/>
                  </a:cubicBezTo>
                  <a:cubicBezTo>
                    <a:pt x="1" y="337"/>
                    <a:pt x="120" y="837"/>
                    <a:pt x="274" y="1082"/>
                  </a:cubicBezTo>
                  <a:cubicBezTo>
                    <a:pt x="330" y="1172"/>
                    <a:pt x="377" y="1202"/>
                    <a:pt x="391" y="1202"/>
                  </a:cubicBezTo>
                  <a:cubicBezTo>
                    <a:pt x="392" y="1202"/>
                    <a:pt x="392" y="1201"/>
                    <a:pt x="393" y="1201"/>
                  </a:cubicBezTo>
                  <a:cubicBezTo>
                    <a:pt x="400" y="1163"/>
                    <a:pt x="396" y="1124"/>
                    <a:pt x="386" y="1086"/>
                  </a:cubicBezTo>
                  <a:cubicBezTo>
                    <a:pt x="372" y="995"/>
                    <a:pt x="354" y="890"/>
                    <a:pt x="421" y="820"/>
                  </a:cubicBezTo>
                  <a:cubicBezTo>
                    <a:pt x="459" y="782"/>
                    <a:pt x="509" y="761"/>
                    <a:pt x="577" y="761"/>
                  </a:cubicBezTo>
                  <a:cubicBezTo>
                    <a:pt x="590" y="761"/>
                    <a:pt x="605" y="762"/>
                    <a:pt x="621" y="764"/>
                  </a:cubicBezTo>
                  <a:cubicBezTo>
                    <a:pt x="644" y="766"/>
                    <a:pt x="663" y="767"/>
                    <a:pt x="680" y="767"/>
                  </a:cubicBezTo>
                  <a:cubicBezTo>
                    <a:pt x="750" y="767"/>
                    <a:pt x="769" y="752"/>
                    <a:pt x="775" y="746"/>
                  </a:cubicBezTo>
                  <a:cubicBezTo>
                    <a:pt x="789" y="729"/>
                    <a:pt x="778" y="662"/>
                    <a:pt x="768" y="606"/>
                  </a:cubicBezTo>
                  <a:cubicBezTo>
                    <a:pt x="754" y="543"/>
                    <a:pt x="747" y="484"/>
                    <a:pt x="747" y="421"/>
                  </a:cubicBezTo>
                  <a:cubicBezTo>
                    <a:pt x="747" y="407"/>
                    <a:pt x="743" y="393"/>
                    <a:pt x="736" y="382"/>
                  </a:cubicBezTo>
                  <a:cubicBezTo>
                    <a:pt x="727" y="373"/>
                    <a:pt x="707" y="371"/>
                    <a:pt x="684" y="371"/>
                  </a:cubicBezTo>
                  <a:cubicBezTo>
                    <a:pt x="661" y="371"/>
                    <a:pt x="635" y="373"/>
                    <a:pt x="614" y="375"/>
                  </a:cubicBezTo>
                  <a:cubicBezTo>
                    <a:pt x="590" y="378"/>
                    <a:pt x="567" y="381"/>
                    <a:pt x="545" y="381"/>
                  </a:cubicBezTo>
                  <a:cubicBezTo>
                    <a:pt x="510" y="381"/>
                    <a:pt x="478" y="374"/>
                    <a:pt x="453" y="351"/>
                  </a:cubicBezTo>
                  <a:cubicBezTo>
                    <a:pt x="432" y="333"/>
                    <a:pt x="421" y="305"/>
                    <a:pt x="421" y="277"/>
                  </a:cubicBezTo>
                  <a:cubicBezTo>
                    <a:pt x="421" y="197"/>
                    <a:pt x="368" y="21"/>
                    <a:pt x="305"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978" name="Google Shape;6978;p104"/>
            <p:cNvSpPr/>
            <p:nvPr/>
          </p:nvSpPr>
          <p:spPr>
            <a:xfrm>
              <a:off x="2859015" y="2039003"/>
              <a:ext cx="109" cy="14"/>
            </a:xfrm>
            <a:custGeom>
              <a:avLst/>
              <a:gdLst/>
              <a:ahLst/>
              <a:cxnLst/>
              <a:rect l="l" t="t" r="r" b="b"/>
              <a:pathLst>
                <a:path w="8" h="1" extrusionOk="0">
                  <a:moveTo>
                    <a:pt x="0" y="0"/>
                  </a:moveTo>
                  <a:lnTo>
                    <a:pt x="7"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979" name="Google Shape;6979;p104"/>
            <p:cNvSpPr/>
            <p:nvPr/>
          </p:nvSpPr>
          <p:spPr>
            <a:xfrm>
              <a:off x="2860481" y="2039098"/>
              <a:ext cx="163" cy="54"/>
            </a:xfrm>
            <a:custGeom>
              <a:avLst/>
              <a:gdLst/>
              <a:ahLst/>
              <a:cxnLst/>
              <a:rect l="l" t="t" r="r" b="b"/>
              <a:pathLst>
                <a:path w="12" h="4" extrusionOk="0">
                  <a:moveTo>
                    <a:pt x="1" y="4"/>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980" name="Google Shape;6980;p104"/>
            <p:cNvSpPr/>
            <p:nvPr/>
          </p:nvSpPr>
          <p:spPr>
            <a:xfrm>
              <a:off x="2860156" y="2039193"/>
              <a:ext cx="149" cy="14"/>
            </a:xfrm>
            <a:custGeom>
              <a:avLst/>
              <a:gdLst/>
              <a:ahLst/>
              <a:cxnLst/>
              <a:rect l="l" t="t" r="r" b="b"/>
              <a:pathLst>
                <a:path w="11" h="1" extrusionOk="0">
                  <a:moveTo>
                    <a:pt x="0" y="0"/>
                  </a:moveTo>
                  <a:lnTo>
                    <a:pt x="11"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981" name="Google Shape;6981;p104"/>
            <p:cNvSpPr/>
            <p:nvPr/>
          </p:nvSpPr>
          <p:spPr>
            <a:xfrm>
              <a:off x="2858160" y="2038569"/>
              <a:ext cx="54" cy="14"/>
            </a:xfrm>
            <a:custGeom>
              <a:avLst/>
              <a:gdLst/>
              <a:ahLst/>
              <a:cxnLst/>
              <a:rect l="l" t="t" r="r" b="b"/>
              <a:pathLst>
                <a:path w="4" h="1" extrusionOk="0">
                  <a:moveTo>
                    <a:pt x="0" y="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982" name="Google Shape;6982;p104"/>
            <p:cNvSpPr/>
            <p:nvPr/>
          </p:nvSpPr>
          <p:spPr>
            <a:xfrm>
              <a:off x="2858581" y="2038759"/>
              <a:ext cx="109" cy="109"/>
            </a:xfrm>
            <a:custGeom>
              <a:avLst/>
              <a:gdLst/>
              <a:ahLst/>
              <a:cxnLst/>
              <a:rect l="l" t="t" r="r" b="b"/>
              <a:pathLst>
                <a:path w="8" h="8" extrusionOk="0">
                  <a:moveTo>
                    <a:pt x="1" y="1"/>
                  </a:moveTo>
                  <a:lnTo>
                    <a:pt x="8" y="8"/>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983" name="Google Shape;6983;p104"/>
            <p:cNvSpPr/>
            <p:nvPr/>
          </p:nvSpPr>
          <p:spPr>
            <a:xfrm>
              <a:off x="2860821" y="2038949"/>
              <a:ext cx="109" cy="68"/>
            </a:xfrm>
            <a:custGeom>
              <a:avLst/>
              <a:gdLst/>
              <a:ahLst/>
              <a:cxnLst/>
              <a:rect l="l" t="t" r="r" b="b"/>
              <a:pathLst>
                <a:path w="8" h="5" extrusionOk="0">
                  <a:moveTo>
                    <a:pt x="0" y="4"/>
                  </a:moveTo>
                  <a:lnTo>
                    <a:pt x="7"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984" name="Google Shape;6984;p104"/>
            <p:cNvSpPr/>
            <p:nvPr/>
          </p:nvSpPr>
          <p:spPr>
            <a:xfrm>
              <a:off x="2852457" y="2033776"/>
              <a:ext cx="109" cy="204"/>
            </a:xfrm>
            <a:custGeom>
              <a:avLst/>
              <a:gdLst/>
              <a:ahLst/>
              <a:cxnLst/>
              <a:rect l="l" t="t" r="r" b="b"/>
              <a:pathLst>
                <a:path w="8" h="15" extrusionOk="0">
                  <a:moveTo>
                    <a:pt x="0" y="0"/>
                  </a:moveTo>
                  <a:lnTo>
                    <a:pt x="7" y="14"/>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985" name="Google Shape;6985;p104"/>
            <p:cNvSpPr/>
            <p:nvPr/>
          </p:nvSpPr>
          <p:spPr>
            <a:xfrm>
              <a:off x="2852267" y="2033301"/>
              <a:ext cx="109" cy="244"/>
            </a:xfrm>
            <a:custGeom>
              <a:avLst/>
              <a:gdLst/>
              <a:ahLst/>
              <a:cxnLst/>
              <a:rect l="l" t="t" r="r" b="b"/>
              <a:pathLst>
                <a:path w="8" h="18" extrusionOk="0">
                  <a:moveTo>
                    <a:pt x="0" y="0"/>
                  </a:moveTo>
                  <a:lnTo>
                    <a:pt x="7" y="18"/>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986" name="Google Shape;6986;p104"/>
            <p:cNvSpPr/>
            <p:nvPr/>
          </p:nvSpPr>
          <p:spPr>
            <a:xfrm>
              <a:off x="2852647" y="2034156"/>
              <a:ext cx="109" cy="204"/>
            </a:xfrm>
            <a:custGeom>
              <a:avLst/>
              <a:gdLst/>
              <a:ahLst/>
              <a:cxnLst/>
              <a:rect l="l" t="t" r="r" b="b"/>
              <a:pathLst>
                <a:path w="8" h="15" extrusionOk="0">
                  <a:moveTo>
                    <a:pt x="0" y="0"/>
                  </a:moveTo>
                  <a:lnTo>
                    <a:pt x="7" y="14"/>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987" name="Google Shape;6987;p104"/>
            <p:cNvSpPr/>
            <p:nvPr/>
          </p:nvSpPr>
          <p:spPr>
            <a:xfrm>
              <a:off x="2852118" y="2032826"/>
              <a:ext cx="109" cy="244"/>
            </a:xfrm>
            <a:custGeom>
              <a:avLst/>
              <a:gdLst/>
              <a:ahLst/>
              <a:cxnLst/>
              <a:rect l="l" t="t" r="r" b="b"/>
              <a:pathLst>
                <a:path w="8" h="18" extrusionOk="0">
                  <a:moveTo>
                    <a:pt x="1" y="0"/>
                  </a:moveTo>
                  <a:lnTo>
                    <a:pt x="8" y="18"/>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988" name="Google Shape;6988;p104"/>
            <p:cNvSpPr/>
            <p:nvPr/>
          </p:nvSpPr>
          <p:spPr>
            <a:xfrm>
              <a:off x="2851602" y="2031060"/>
              <a:ext cx="109" cy="339"/>
            </a:xfrm>
            <a:custGeom>
              <a:avLst/>
              <a:gdLst/>
              <a:ahLst/>
              <a:cxnLst/>
              <a:rect l="l" t="t" r="r" b="b"/>
              <a:pathLst>
                <a:path w="8" h="25" extrusionOk="0">
                  <a:moveTo>
                    <a:pt x="0" y="0"/>
                  </a:moveTo>
                  <a:lnTo>
                    <a:pt x="7" y="25"/>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989" name="Google Shape;6989;p104"/>
            <p:cNvSpPr/>
            <p:nvPr/>
          </p:nvSpPr>
          <p:spPr>
            <a:xfrm>
              <a:off x="2851928" y="2032296"/>
              <a:ext cx="109" cy="244"/>
            </a:xfrm>
            <a:custGeom>
              <a:avLst/>
              <a:gdLst/>
              <a:ahLst/>
              <a:cxnLst/>
              <a:rect l="l" t="t" r="r" b="b"/>
              <a:pathLst>
                <a:path w="8" h="18" extrusionOk="0">
                  <a:moveTo>
                    <a:pt x="1" y="1"/>
                  </a:moveTo>
                  <a:lnTo>
                    <a:pt x="8" y="18"/>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990" name="Google Shape;6990;p104"/>
            <p:cNvSpPr/>
            <p:nvPr/>
          </p:nvSpPr>
          <p:spPr>
            <a:xfrm>
              <a:off x="2857725" y="2038189"/>
              <a:ext cx="109" cy="109"/>
            </a:xfrm>
            <a:custGeom>
              <a:avLst/>
              <a:gdLst/>
              <a:ahLst/>
              <a:cxnLst/>
              <a:rect l="l" t="t" r="r" b="b"/>
              <a:pathLst>
                <a:path w="8" h="8" extrusionOk="0">
                  <a:moveTo>
                    <a:pt x="1" y="1"/>
                  </a:moveTo>
                  <a:lnTo>
                    <a:pt x="8" y="8"/>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991" name="Google Shape;6991;p104"/>
            <p:cNvSpPr/>
            <p:nvPr/>
          </p:nvSpPr>
          <p:spPr>
            <a:xfrm>
              <a:off x="2851792" y="2031671"/>
              <a:ext cx="109" cy="299"/>
            </a:xfrm>
            <a:custGeom>
              <a:avLst/>
              <a:gdLst/>
              <a:ahLst/>
              <a:cxnLst/>
              <a:rect l="l" t="t" r="r" b="b"/>
              <a:pathLst>
                <a:path w="8" h="22" extrusionOk="0">
                  <a:moveTo>
                    <a:pt x="0" y="1"/>
                  </a:moveTo>
                  <a:lnTo>
                    <a:pt x="7" y="22"/>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992" name="Google Shape;6992;p104"/>
            <p:cNvSpPr/>
            <p:nvPr/>
          </p:nvSpPr>
          <p:spPr>
            <a:xfrm>
              <a:off x="2852837" y="2034482"/>
              <a:ext cx="54" cy="204"/>
            </a:xfrm>
            <a:custGeom>
              <a:avLst/>
              <a:gdLst/>
              <a:ahLst/>
              <a:cxnLst/>
              <a:rect l="l" t="t" r="r" b="b"/>
              <a:pathLst>
                <a:path w="4" h="15" extrusionOk="0">
                  <a:moveTo>
                    <a:pt x="0" y="1"/>
                  </a:moveTo>
                  <a:lnTo>
                    <a:pt x="4" y="15"/>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993" name="Google Shape;6993;p104"/>
            <p:cNvSpPr/>
            <p:nvPr/>
          </p:nvSpPr>
          <p:spPr>
            <a:xfrm>
              <a:off x="2856870" y="2037523"/>
              <a:ext cx="109" cy="109"/>
            </a:xfrm>
            <a:custGeom>
              <a:avLst/>
              <a:gdLst/>
              <a:ahLst/>
              <a:cxnLst/>
              <a:rect l="l" t="t" r="r" b="b"/>
              <a:pathLst>
                <a:path w="8" h="8" extrusionOk="0">
                  <a:moveTo>
                    <a:pt x="1" y="1"/>
                  </a:moveTo>
                  <a:lnTo>
                    <a:pt x="8" y="8"/>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994" name="Google Shape;6994;p104"/>
            <p:cNvSpPr/>
            <p:nvPr/>
          </p:nvSpPr>
          <p:spPr>
            <a:xfrm>
              <a:off x="2852973" y="2034821"/>
              <a:ext cx="109" cy="149"/>
            </a:xfrm>
            <a:custGeom>
              <a:avLst/>
              <a:gdLst/>
              <a:ahLst/>
              <a:cxnLst/>
              <a:rect l="l" t="t" r="r" b="b"/>
              <a:pathLst>
                <a:path w="8" h="11" extrusionOk="0">
                  <a:moveTo>
                    <a:pt x="1" y="0"/>
                  </a:moveTo>
                  <a:lnTo>
                    <a:pt x="8" y="1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995" name="Google Shape;6995;p104"/>
            <p:cNvSpPr/>
            <p:nvPr/>
          </p:nvSpPr>
          <p:spPr>
            <a:xfrm>
              <a:off x="2854019" y="2035772"/>
              <a:ext cx="109" cy="54"/>
            </a:xfrm>
            <a:custGeom>
              <a:avLst/>
              <a:gdLst/>
              <a:ahLst/>
              <a:cxnLst/>
              <a:rect l="l" t="t" r="r" b="b"/>
              <a:pathLst>
                <a:path w="8" h="4" extrusionOk="0">
                  <a:moveTo>
                    <a:pt x="1" y="0"/>
                  </a:moveTo>
                  <a:lnTo>
                    <a:pt x="8" y="4"/>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996" name="Google Shape;6996;p104"/>
            <p:cNvSpPr/>
            <p:nvPr/>
          </p:nvSpPr>
          <p:spPr>
            <a:xfrm>
              <a:off x="2857304" y="2037903"/>
              <a:ext cx="54" cy="14"/>
            </a:xfrm>
            <a:custGeom>
              <a:avLst/>
              <a:gdLst/>
              <a:ahLst/>
              <a:cxnLst/>
              <a:rect l="l" t="t" r="r" b="b"/>
              <a:pathLst>
                <a:path w="4" h="1" extrusionOk="0">
                  <a:moveTo>
                    <a:pt x="0" y="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997" name="Google Shape;6997;p104"/>
            <p:cNvSpPr/>
            <p:nvPr/>
          </p:nvSpPr>
          <p:spPr>
            <a:xfrm>
              <a:off x="2854263" y="2035813"/>
              <a:ext cx="54" cy="14"/>
            </a:xfrm>
            <a:custGeom>
              <a:avLst/>
              <a:gdLst/>
              <a:ahLst/>
              <a:cxnLst/>
              <a:rect l="l" t="t" r="r" b="b"/>
              <a:pathLst>
                <a:path w="4" h="1" extrusionOk="0">
                  <a:moveTo>
                    <a:pt x="0" y="1"/>
                  </a:moveTo>
                  <a:lnTo>
                    <a:pt x="4"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998" name="Google Shape;6998;p104"/>
            <p:cNvSpPr/>
            <p:nvPr/>
          </p:nvSpPr>
          <p:spPr>
            <a:xfrm>
              <a:off x="2853163" y="2035107"/>
              <a:ext cx="109" cy="109"/>
            </a:xfrm>
            <a:custGeom>
              <a:avLst/>
              <a:gdLst/>
              <a:ahLst/>
              <a:cxnLst/>
              <a:rect l="l" t="t" r="r" b="b"/>
              <a:pathLst>
                <a:path w="8" h="8" extrusionOk="0">
                  <a:moveTo>
                    <a:pt x="1" y="0"/>
                  </a:moveTo>
                  <a:lnTo>
                    <a:pt x="8" y="7"/>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999" name="Google Shape;6999;p104"/>
            <p:cNvSpPr/>
            <p:nvPr/>
          </p:nvSpPr>
          <p:spPr>
            <a:xfrm>
              <a:off x="2853598" y="2035487"/>
              <a:ext cx="109" cy="109"/>
            </a:xfrm>
            <a:custGeom>
              <a:avLst/>
              <a:gdLst/>
              <a:ahLst/>
              <a:cxnLst/>
              <a:rect l="l" t="t" r="r" b="b"/>
              <a:pathLst>
                <a:path w="8" h="8" extrusionOk="0">
                  <a:moveTo>
                    <a:pt x="0" y="0"/>
                  </a:moveTo>
                  <a:lnTo>
                    <a:pt x="7" y="7"/>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000" name="Google Shape;7000;p104"/>
            <p:cNvSpPr/>
            <p:nvPr/>
          </p:nvSpPr>
          <p:spPr>
            <a:xfrm>
              <a:off x="2853788" y="2035622"/>
              <a:ext cx="109" cy="109"/>
            </a:xfrm>
            <a:custGeom>
              <a:avLst/>
              <a:gdLst/>
              <a:ahLst/>
              <a:cxnLst/>
              <a:rect l="l" t="t" r="r" b="b"/>
              <a:pathLst>
                <a:path w="8" h="8" extrusionOk="0">
                  <a:moveTo>
                    <a:pt x="0" y="1"/>
                  </a:moveTo>
                  <a:lnTo>
                    <a:pt x="7" y="8"/>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001" name="Google Shape;7001;p104"/>
            <p:cNvSpPr/>
            <p:nvPr/>
          </p:nvSpPr>
          <p:spPr>
            <a:xfrm>
              <a:off x="2859490" y="2039139"/>
              <a:ext cx="109" cy="14"/>
            </a:xfrm>
            <a:custGeom>
              <a:avLst/>
              <a:gdLst/>
              <a:ahLst/>
              <a:cxnLst/>
              <a:rect l="l" t="t" r="r" b="b"/>
              <a:pathLst>
                <a:path w="8" h="1" extrusionOk="0">
                  <a:moveTo>
                    <a:pt x="0" y="1"/>
                  </a:moveTo>
                  <a:lnTo>
                    <a:pt x="7"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002" name="Google Shape;7002;p104"/>
            <p:cNvSpPr/>
            <p:nvPr/>
          </p:nvSpPr>
          <p:spPr>
            <a:xfrm>
              <a:off x="2889049" y="2032921"/>
              <a:ext cx="3204" cy="2105"/>
            </a:xfrm>
            <a:custGeom>
              <a:avLst/>
              <a:gdLst/>
              <a:ahLst/>
              <a:cxnLst/>
              <a:rect l="l" t="t" r="r" b="b"/>
              <a:pathLst>
                <a:path w="236" h="155" extrusionOk="0">
                  <a:moveTo>
                    <a:pt x="235" y="0"/>
                  </a:moveTo>
                  <a:cubicBezTo>
                    <a:pt x="204" y="112"/>
                    <a:pt x="102" y="130"/>
                    <a:pt x="1" y="154"/>
                  </a:cubicBezTo>
                  <a:cubicBezTo>
                    <a:pt x="106" y="133"/>
                    <a:pt x="204" y="112"/>
                    <a:pt x="235"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003" name="Google Shape;7003;p104"/>
            <p:cNvSpPr/>
            <p:nvPr/>
          </p:nvSpPr>
          <p:spPr>
            <a:xfrm>
              <a:off x="2861242" y="2038243"/>
              <a:ext cx="4440" cy="530"/>
            </a:xfrm>
            <a:custGeom>
              <a:avLst/>
              <a:gdLst/>
              <a:ahLst/>
              <a:cxnLst/>
              <a:rect l="l" t="t" r="r" b="b"/>
              <a:pathLst>
                <a:path w="327" h="39" extrusionOk="0">
                  <a:moveTo>
                    <a:pt x="326" y="7"/>
                  </a:moveTo>
                  <a:cubicBezTo>
                    <a:pt x="197" y="4"/>
                    <a:pt x="53" y="0"/>
                    <a:pt x="1" y="39"/>
                  </a:cubicBezTo>
                  <a:cubicBezTo>
                    <a:pt x="53" y="0"/>
                    <a:pt x="197" y="4"/>
                    <a:pt x="326" y="7"/>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004" name="Google Shape;7004;p104"/>
            <p:cNvSpPr/>
            <p:nvPr/>
          </p:nvSpPr>
          <p:spPr>
            <a:xfrm>
              <a:off x="2910922" y="2013858"/>
              <a:ext cx="54" cy="14"/>
            </a:xfrm>
            <a:custGeom>
              <a:avLst/>
              <a:gdLst/>
              <a:ahLst/>
              <a:cxnLst/>
              <a:rect l="l" t="t" r="r" b="b"/>
              <a:pathLst>
                <a:path w="4" h="1" extrusionOk="0">
                  <a:moveTo>
                    <a:pt x="4" y="0"/>
                  </a:moveTo>
                  <a:lnTo>
                    <a:pt x="0" y="0"/>
                  </a:lnTo>
                  <a:lnTo>
                    <a:pt x="4"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005" name="Google Shape;7005;p104"/>
            <p:cNvSpPr/>
            <p:nvPr/>
          </p:nvSpPr>
          <p:spPr>
            <a:xfrm>
              <a:off x="2853353" y="2035297"/>
              <a:ext cx="109" cy="109"/>
            </a:xfrm>
            <a:custGeom>
              <a:avLst/>
              <a:gdLst/>
              <a:ahLst/>
              <a:cxnLst/>
              <a:rect l="l" t="t" r="r" b="b"/>
              <a:pathLst>
                <a:path w="8" h="8" extrusionOk="0">
                  <a:moveTo>
                    <a:pt x="8" y="7"/>
                  </a:moveTo>
                  <a:lnTo>
                    <a:pt x="1"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006" name="Google Shape;7006;p104"/>
            <p:cNvSpPr/>
            <p:nvPr/>
          </p:nvSpPr>
          <p:spPr>
            <a:xfrm>
              <a:off x="2860006" y="2039193"/>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007" name="Google Shape;7007;p104"/>
            <p:cNvSpPr/>
            <p:nvPr/>
          </p:nvSpPr>
          <p:spPr>
            <a:xfrm>
              <a:off x="2899598" y="2013287"/>
              <a:ext cx="8486" cy="1765"/>
            </a:xfrm>
            <a:custGeom>
              <a:avLst/>
              <a:gdLst/>
              <a:ahLst/>
              <a:cxnLst/>
              <a:rect l="l" t="t" r="r" b="b"/>
              <a:pathLst>
                <a:path w="625" h="130" extrusionOk="0">
                  <a:moveTo>
                    <a:pt x="624" y="11"/>
                  </a:moveTo>
                  <a:cubicBezTo>
                    <a:pt x="424" y="7"/>
                    <a:pt x="120" y="0"/>
                    <a:pt x="1" y="130"/>
                  </a:cubicBezTo>
                  <a:cubicBezTo>
                    <a:pt x="120" y="0"/>
                    <a:pt x="424" y="7"/>
                    <a:pt x="624" y="1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008" name="Google Shape;7008;p104"/>
            <p:cNvSpPr/>
            <p:nvPr/>
          </p:nvSpPr>
          <p:spPr>
            <a:xfrm>
              <a:off x="2909971" y="2013518"/>
              <a:ext cx="109" cy="14"/>
            </a:xfrm>
            <a:custGeom>
              <a:avLst/>
              <a:gdLst/>
              <a:ahLst/>
              <a:cxnLst/>
              <a:rect l="l" t="t" r="r" b="b"/>
              <a:pathLst>
                <a:path w="8" h="1" extrusionOk="0">
                  <a:moveTo>
                    <a:pt x="0" y="1"/>
                  </a:moveTo>
                  <a:lnTo>
                    <a:pt x="7"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009" name="Google Shape;7009;p104"/>
            <p:cNvSpPr/>
            <p:nvPr/>
          </p:nvSpPr>
          <p:spPr>
            <a:xfrm>
              <a:off x="2909632" y="2013478"/>
              <a:ext cx="109" cy="14"/>
            </a:xfrm>
            <a:custGeom>
              <a:avLst/>
              <a:gdLst/>
              <a:ahLst/>
              <a:cxnLst/>
              <a:rect l="l" t="t" r="r" b="b"/>
              <a:pathLst>
                <a:path w="8" h="1" extrusionOk="0">
                  <a:moveTo>
                    <a:pt x="1" y="0"/>
                  </a:moveTo>
                  <a:lnTo>
                    <a:pt x="8"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010" name="Google Shape;7010;p104"/>
            <p:cNvSpPr/>
            <p:nvPr/>
          </p:nvSpPr>
          <p:spPr>
            <a:xfrm>
              <a:off x="2910392" y="2013668"/>
              <a:ext cx="68" cy="14"/>
            </a:xfrm>
            <a:custGeom>
              <a:avLst/>
              <a:gdLst/>
              <a:ahLst/>
              <a:cxnLst/>
              <a:rect l="l" t="t" r="r" b="b"/>
              <a:pathLst>
                <a:path w="5" h="1" extrusionOk="0">
                  <a:moveTo>
                    <a:pt x="1" y="0"/>
                  </a:moveTo>
                  <a:lnTo>
                    <a:pt x="4"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011" name="Google Shape;7011;p104"/>
            <p:cNvSpPr/>
            <p:nvPr/>
          </p:nvSpPr>
          <p:spPr>
            <a:xfrm>
              <a:off x="2962544" y="2114711"/>
              <a:ext cx="394" cy="204"/>
            </a:xfrm>
            <a:custGeom>
              <a:avLst/>
              <a:gdLst/>
              <a:ahLst/>
              <a:cxnLst/>
              <a:rect l="l" t="t" r="r" b="b"/>
              <a:pathLst>
                <a:path w="29" h="15" extrusionOk="0">
                  <a:moveTo>
                    <a:pt x="28" y="1"/>
                  </a:moveTo>
                  <a:lnTo>
                    <a:pt x="0" y="8"/>
                  </a:lnTo>
                  <a:lnTo>
                    <a:pt x="4" y="8"/>
                  </a:lnTo>
                  <a:lnTo>
                    <a:pt x="11" y="11"/>
                  </a:lnTo>
                  <a:lnTo>
                    <a:pt x="14" y="11"/>
                  </a:lnTo>
                  <a:lnTo>
                    <a:pt x="21" y="15"/>
                  </a:lnTo>
                  <a:cubicBezTo>
                    <a:pt x="21" y="11"/>
                    <a:pt x="25" y="4"/>
                    <a:pt x="28" y="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012" name="Google Shape;7012;p104"/>
            <p:cNvSpPr/>
            <p:nvPr/>
          </p:nvSpPr>
          <p:spPr>
            <a:xfrm>
              <a:off x="2968192" y="2108113"/>
              <a:ext cx="14895" cy="5757"/>
            </a:xfrm>
            <a:custGeom>
              <a:avLst/>
              <a:gdLst/>
              <a:ahLst/>
              <a:cxnLst/>
              <a:rect l="l" t="t" r="r" b="b"/>
              <a:pathLst>
                <a:path w="1097" h="424" extrusionOk="0">
                  <a:moveTo>
                    <a:pt x="1096" y="0"/>
                  </a:moveTo>
                  <a:cubicBezTo>
                    <a:pt x="1030" y="4"/>
                    <a:pt x="946" y="14"/>
                    <a:pt x="876" y="25"/>
                  </a:cubicBezTo>
                  <a:cubicBezTo>
                    <a:pt x="722" y="53"/>
                    <a:pt x="564" y="63"/>
                    <a:pt x="407" y="63"/>
                  </a:cubicBezTo>
                  <a:cubicBezTo>
                    <a:pt x="401" y="63"/>
                    <a:pt x="396" y="63"/>
                    <a:pt x="391" y="63"/>
                  </a:cubicBezTo>
                  <a:cubicBezTo>
                    <a:pt x="274" y="63"/>
                    <a:pt x="203" y="137"/>
                    <a:pt x="113" y="228"/>
                  </a:cubicBezTo>
                  <a:cubicBezTo>
                    <a:pt x="78" y="263"/>
                    <a:pt x="43" y="298"/>
                    <a:pt x="1" y="333"/>
                  </a:cubicBezTo>
                  <a:cubicBezTo>
                    <a:pt x="15" y="347"/>
                    <a:pt x="29" y="361"/>
                    <a:pt x="39" y="371"/>
                  </a:cubicBezTo>
                  <a:lnTo>
                    <a:pt x="46" y="378"/>
                  </a:lnTo>
                  <a:cubicBezTo>
                    <a:pt x="57" y="392"/>
                    <a:pt x="71" y="406"/>
                    <a:pt x="85" y="424"/>
                  </a:cubicBezTo>
                  <a:cubicBezTo>
                    <a:pt x="267" y="336"/>
                    <a:pt x="456" y="256"/>
                    <a:pt x="648" y="186"/>
                  </a:cubicBezTo>
                  <a:cubicBezTo>
                    <a:pt x="802" y="126"/>
                    <a:pt x="995" y="53"/>
                    <a:pt x="1096"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013" name="Google Shape;7013;p104"/>
            <p:cNvSpPr/>
            <p:nvPr/>
          </p:nvSpPr>
          <p:spPr>
            <a:xfrm>
              <a:off x="2962679" y="2114861"/>
              <a:ext cx="54" cy="14"/>
            </a:xfrm>
            <a:custGeom>
              <a:avLst/>
              <a:gdLst/>
              <a:ahLst/>
              <a:cxnLst/>
              <a:rect l="l" t="t" r="r" b="b"/>
              <a:pathLst>
                <a:path w="4" h="1" extrusionOk="0">
                  <a:moveTo>
                    <a:pt x="4"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014" name="Google Shape;7014;p104"/>
            <p:cNvSpPr/>
            <p:nvPr/>
          </p:nvSpPr>
          <p:spPr>
            <a:xfrm>
              <a:off x="2968246" y="2112675"/>
              <a:ext cx="530" cy="530"/>
            </a:xfrm>
            <a:custGeom>
              <a:avLst/>
              <a:gdLst/>
              <a:ahLst/>
              <a:cxnLst/>
              <a:rect l="l" t="t" r="r" b="b"/>
              <a:pathLst>
                <a:path w="39" h="39" extrusionOk="0">
                  <a:moveTo>
                    <a:pt x="0" y="0"/>
                  </a:moveTo>
                  <a:cubicBezTo>
                    <a:pt x="11" y="11"/>
                    <a:pt x="25" y="25"/>
                    <a:pt x="39" y="39"/>
                  </a:cubicBezTo>
                  <a:cubicBezTo>
                    <a:pt x="25" y="25"/>
                    <a:pt x="11" y="11"/>
                    <a:pt x="0"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015" name="Google Shape;7015;p104"/>
            <p:cNvSpPr/>
            <p:nvPr/>
          </p:nvSpPr>
          <p:spPr>
            <a:xfrm>
              <a:off x="2962544" y="2114806"/>
              <a:ext cx="0" cy="14"/>
            </a:xfrm>
            <a:custGeom>
              <a:avLst/>
              <a:gdLst/>
              <a:ahLst/>
              <a:cxnLst/>
              <a:rect l="l" t="t" r="r" b="b"/>
              <a:pathLst>
                <a:path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016" name="Google Shape;7016;p104"/>
            <p:cNvSpPr/>
            <p:nvPr/>
          </p:nvSpPr>
          <p:spPr>
            <a:xfrm>
              <a:off x="2962924" y="2114711"/>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017" name="Google Shape;7017;p104"/>
            <p:cNvSpPr/>
            <p:nvPr/>
          </p:nvSpPr>
          <p:spPr>
            <a:xfrm>
              <a:off x="2968816" y="2113286"/>
              <a:ext cx="530" cy="584"/>
            </a:xfrm>
            <a:custGeom>
              <a:avLst/>
              <a:gdLst/>
              <a:ahLst/>
              <a:cxnLst/>
              <a:rect l="l" t="t" r="r" b="b"/>
              <a:pathLst>
                <a:path w="39" h="43" extrusionOk="0">
                  <a:moveTo>
                    <a:pt x="39" y="43"/>
                  </a:moveTo>
                  <a:cubicBezTo>
                    <a:pt x="25" y="29"/>
                    <a:pt x="14" y="15"/>
                    <a:pt x="0" y="1"/>
                  </a:cubicBezTo>
                  <a:cubicBezTo>
                    <a:pt x="14" y="15"/>
                    <a:pt x="25" y="29"/>
                    <a:pt x="39" y="43"/>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018" name="Google Shape;7018;p104"/>
            <p:cNvSpPr/>
            <p:nvPr/>
          </p:nvSpPr>
          <p:spPr>
            <a:xfrm>
              <a:off x="2109605" y="1718303"/>
              <a:ext cx="11147" cy="17827"/>
            </a:xfrm>
            <a:custGeom>
              <a:avLst/>
              <a:gdLst/>
              <a:ahLst/>
              <a:cxnLst/>
              <a:rect l="l" t="t" r="r" b="b"/>
              <a:pathLst>
                <a:path w="821" h="1313" extrusionOk="0">
                  <a:moveTo>
                    <a:pt x="571" y="0"/>
                  </a:moveTo>
                  <a:cubicBezTo>
                    <a:pt x="510" y="0"/>
                    <a:pt x="450" y="16"/>
                    <a:pt x="407" y="52"/>
                  </a:cubicBezTo>
                  <a:cubicBezTo>
                    <a:pt x="344" y="107"/>
                    <a:pt x="265" y="137"/>
                    <a:pt x="183" y="137"/>
                  </a:cubicBezTo>
                  <a:cubicBezTo>
                    <a:pt x="155" y="137"/>
                    <a:pt x="127" y="133"/>
                    <a:pt x="99" y="126"/>
                  </a:cubicBezTo>
                  <a:cubicBezTo>
                    <a:pt x="81" y="122"/>
                    <a:pt x="64" y="119"/>
                    <a:pt x="46" y="119"/>
                  </a:cubicBezTo>
                  <a:cubicBezTo>
                    <a:pt x="36" y="119"/>
                    <a:pt x="25" y="122"/>
                    <a:pt x="22" y="133"/>
                  </a:cubicBezTo>
                  <a:cubicBezTo>
                    <a:pt x="1" y="171"/>
                    <a:pt x="46" y="245"/>
                    <a:pt x="95" y="326"/>
                  </a:cubicBezTo>
                  <a:cubicBezTo>
                    <a:pt x="176" y="459"/>
                    <a:pt x="277" y="620"/>
                    <a:pt x="232" y="819"/>
                  </a:cubicBezTo>
                  <a:cubicBezTo>
                    <a:pt x="179" y="1043"/>
                    <a:pt x="232" y="1274"/>
                    <a:pt x="295" y="1309"/>
                  </a:cubicBezTo>
                  <a:cubicBezTo>
                    <a:pt x="298" y="1311"/>
                    <a:pt x="301" y="1312"/>
                    <a:pt x="304" y="1312"/>
                  </a:cubicBezTo>
                  <a:cubicBezTo>
                    <a:pt x="318" y="1312"/>
                    <a:pt x="336" y="1296"/>
                    <a:pt x="347" y="1285"/>
                  </a:cubicBezTo>
                  <a:cubicBezTo>
                    <a:pt x="417" y="1208"/>
                    <a:pt x="505" y="1155"/>
                    <a:pt x="603" y="1131"/>
                  </a:cubicBezTo>
                  <a:cubicBezTo>
                    <a:pt x="652" y="1120"/>
                    <a:pt x="694" y="1096"/>
                    <a:pt x="722" y="1057"/>
                  </a:cubicBezTo>
                  <a:cubicBezTo>
                    <a:pt x="764" y="998"/>
                    <a:pt x="764" y="809"/>
                    <a:pt x="764" y="644"/>
                  </a:cubicBezTo>
                  <a:cubicBezTo>
                    <a:pt x="764" y="476"/>
                    <a:pt x="764" y="308"/>
                    <a:pt x="803" y="189"/>
                  </a:cubicBezTo>
                  <a:cubicBezTo>
                    <a:pt x="820" y="133"/>
                    <a:pt x="792" y="70"/>
                    <a:pt x="740" y="45"/>
                  </a:cubicBezTo>
                  <a:cubicBezTo>
                    <a:pt x="695" y="17"/>
                    <a:pt x="633" y="0"/>
                    <a:pt x="571"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019" name="Google Shape;7019;p104"/>
            <p:cNvSpPr/>
            <p:nvPr/>
          </p:nvSpPr>
          <p:spPr>
            <a:xfrm>
              <a:off x="2142544" y="1743706"/>
              <a:ext cx="19171" cy="11066"/>
            </a:xfrm>
            <a:custGeom>
              <a:avLst/>
              <a:gdLst/>
              <a:ahLst/>
              <a:cxnLst/>
              <a:rect l="l" t="t" r="r" b="b"/>
              <a:pathLst>
                <a:path w="1412" h="815" extrusionOk="0">
                  <a:moveTo>
                    <a:pt x="1338" y="1"/>
                  </a:moveTo>
                  <a:cubicBezTo>
                    <a:pt x="1278" y="1"/>
                    <a:pt x="1194" y="8"/>
                    <a:pt x="1079" y="33"/>
                  </a:cubicBezTo>
                  <a:cubicBezTo>
                    <a:pt x="902" y="72"/>
                    <a:pt x="774" y="98"/>
                    <a:pt x="661" y="98"/>
                  </a:cubicBezTo>
                  <a:cubicBezTo>
                    <a:pt x="561" y="98"/>
                    <a:pt x="473" y="78"/>
                    <a:pt x="372" y="26"/>
                  </a:cubicBezTo>
                  <a:cubicBezTo>
                    <a:pt x="349" y="15"/>
                    <a:pt x="321" y="8"/>
                    <a:pt x="294" y="8"/>
                  </a:cubicBezTo>
                  <a:cubicBezTo>
                    <a:pt x="288" y="8"/>
                    <a:pt x="283" y="8"/>
                    <a:pt x="278" y="9"/>
                  </a:cubicBezTo>
                  <a:cubicBezTo>
                    <a:pt x="194" y="9"/>
                    <a:pt x="109" y="40"/>
                    <a:pt x="43" y="96"/>
                  </a:cubicBezTo>
                  <a:cubicBezTo>
                    <a:pt x="11" y="124"/>
                    <a:pt x="1" y="152"/>
                    <a:pt x="4" y="163"/>
                  </a:cubicBezTo>
                  <a:cubicBezTo>
                    <a:pt x="22" y="215"/>
                    <a:pt x="116" y="324"/>
                    <a:pt x="523" y="429"/>
                  </a:cubicBezTo>
                  <a:cubicBezTo>
                    <a:pt x="705" y="474"/>
                    <a:pt x="866" y="576"/>
                    <a:pt x="992" y="716"/>
                  </a:cubicBezTo>
                  <a:cubicBezTo>
                    <a:pt x="1055" y="779"/>
                    <a:pt x="1090" y="814"/>
                    <a:pt x="1132" y="814"/>
                  </a:cubicBezTo>
                  <a:cubicBezTo>
                    <a:pt x="1137" y="814"/>
                    <a:pt x="1141" y="815"/>
                    <a:pt x="1145" y="815"/>
                  </a:cubicBezTo>
                  <a:cubicBezTo>
                    <a:pt x="1180" y="815"/>
                    <a:pt x="1192" y="802"/>
                    <a:pt x="1202" y="793"/>
                  </a:cubicBezTo>
                  <a:cubicBezTo>
                    <a:pt x="1219" y="772"/>
                    <a:pt x="1244" y="706"/>
                    <a:pt x="1212" y="520"/>
                  </a:cubicBezTo>
                  <a:cubicBezTo>
                    <a:pt x="1174" y="317"/>
                    <a:pt x="1331" y="107"/>
                    <a:pt x="1412" y="5"/>
                  </a:cubicBezTo>
                  <a:cubicBezTo>
                    <a:pt x="1394" y="3"/>
                    <a:pt x="1369" y="1"/>
                    <a:pt x="1338" y="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020" name="Google Shape;7020;p104"/>
            <p:cNvSpPr/>
            <p:nvPr/>
          </p:nvSpPr>
          <p:spPr>
            <a:xfrm>
              <a:off x="2099300" y="1663436"/>
              <a:ext cx="82904" cy="79917"/>
            </a:xfrm>
            <a:custGeom>
              <a:avLst/>
              <a:gdLst/>
              <a:ahLst/>
              <a:cxnLst/>
              <a:rect l="l" t="t" r="r" b="b"/>
              <a:pathLst>
                <a:path w="6106" h="5886" extrusionOk="0">
                  <a:moveTo>
                    <a:pt x="3259" y="267"/>
                  </a:moveTo>
                  <a:lnTo>
                    <a:pt x="3258" y="277"/>
                  </a:lnTo>
                  <a:lnTo>
                    <a:pt x="3258" y="277"/>
                  </a:lnTo>
                  <a:lnTo>
                    <a:pt x="3259" y="278"/>
                  </a:lnTo>
                  <a:lnTo>
                    <a:pt x="3259" y="267"/>
                  </a:lnTo>
                  <a:close/>
                  <a:moveTo>
                    <a:pt x="2881" y="1"/>
                  </a:moveTo>
                  <a:cubicBezTo>
                    <a:pt x="2703" y="4"/>
                    <a:pt x="2584" y="22"/>
                    <a:pt x="2559" y="43"/>
                  </a:cubicBezTo>
                  <a:cubicBezTo>
                    <a:pt x="2513" y="92"/>
                    <a:pt x="2372" y="190"/>
                    <a:pt x="2244" y="190"/>
                  </a:cubicBezTo>
                  <a:cubicBezTo>
                    <a:pt x="2207" y="190"/>
                    <a:pt x="2171" y="182"/>
                    <a:pt x="2139" y="162"/>
                  </a:cubicBezTo>
                  <a:lnTo>
                    <a:pt x="2118" y="148"/>
                  </a:lnTo>
                  <a:lnTo>
                    <a:pt x="2062" y="197"/>
                  </a:lnTo>
                  <a:cubicBezTo>
                    <a:pt x="2045" y="281"/>
                    <a:pt x="2003" y="362"/>
                    <a:pt x="1919" y="362"/>
                  </a:cubicBezTo>
                  <a:cubicBezTo>
                    <a:pt x="1901" y="362"/>
                    <a:pt x="1880" y="358"/>
                    <a:pt x="1863" y="355"/>
                  </a:cubicBezTo>
                  <a:cubicBezTo>
                    <a:pt x="1849" y="355"/>
                    <a:pt x="1838" y="351"/>
                    <a:pt x="1824" y="351"/>
                  </a:cubicBezTo>
                  <a:lnTo>
                    <a:pt x="1824" y="362"/>
                  </a:lnTo>
                  <a:cubicBezTo>
                    <a:pt x="1828" y="400"/>
                    <a:pt x="1807" y="442"/>
                    <a:pt x="1775" y="467"/>
                  </a:cubicBezTo>
                  <a:cubicBezTo>
                    <a:pt x="1739" y="497"/>
                    <a:pt x="1688" y="508"/>
                    <a:pt x="1632" y="508"/>
                  </a:cubicBezTo>
                  <a:cubicBezTo>
                    <a:pt x="1585" y="508"/>
                    <a:pt x="1536" y="501"/>
                    <a:pt x="1488" y="491"/>
                  </a:cubicBezTo>
                  <a:cubicBezTo>
                    <a:pt x="1477" y="488"/>
                    <a:pt x="1466" y="486"/>
                    <a:pt x="1455" y="486"/>
                  </a:cubicBezTo>
                  <a:cubicBezTo>
                    <a:pt x="1430" y="486"/>
                    <a:pt x="1406" y="494"/>
                    <a:pt x="1387" y="509"/>
                  </a:cubicBezTo>
                  <a:cubicBezTo>
                    <a:pt x="1376" y="516"/>
                    <a:pt x="1373" y="526"/>
                    <a:pt x="1373" y="537"/>
                  </a:cubicBezTo>
                  <a:cubicBezTo>
                    <a:pt x="1373" y="775"/>
                    <a:pt x="1296" y="810"/>
                    <a:pt x="1271" y="820"/>
                  </a:cubicBezTo>
                  <a:cubicBezTo>
                    <a:pt x="1259" y="825"/>
                    <a:pt x="1243" y="830"/>
                    <a:pt x="1225" y="830"/>
                  </a:cubicBezTo>
                  <a:cubicBezTo>
                    <a:pt x="1195" y="830"/>
                    <a:pt x="1158" y="818"/>
                    <a:pt x="1117" y="782"/>
                  </a:cubicBezTo>
                  <a:cubicBezTo>
                    <a:pt x="1047" y="712"/>
                    <a:pt x="984" y="631"/>
                    <a:pt x="931" y="544"/>
                  </a:cubicBezTo>
                  <a:cubicBezTo>
                    <a:pt x="914" y="516"/>
                    <a:pt x="889" y="477"/>
                    <a:pt x="872" y="453"/>
                  </a:cubicBezTo>
                  <a:cubicBezTo>
                    <a:pt x="861" y="470"/>
                    <a:pt x="851" y="495"/>
                    <a:pt x="840" y="512"/>
                  </a:cubicBezTo>
                  <a:cubicBezTo>
                    <a:pt x="770" y="652"/>
                    <a:pt x="693" y="813"/>
                    <a:pt x="578" y="813"/>
                  </a:cubicBezTo>
                  <a:lnTo>
                    <a:pt x="392" y="813"/>
                  </a:lnTo>
                  <a:lnTo>
                    <a:pt x="186" y="831"/>
                  </a:lnTo>
                  <a:lnTo>
                    <a:pt x="165" y="831"/>
                  </a:lnTo>
                  <a:cubicBezTo>
                    <a:pt x="158" y="866"/>
                    <a:pt x="158" y="901"/>
                    <a:pt x="172" y="932"/>
                  </a:cubicBezTo>
                  <a:cubicBezTo>
                    <a:pt x="175" y="936"/>
                    <a:pt x="179" y="939"/>
                    <a:pt x="179" y="946"/>
                  </a:cubicBezTo>
                  <a:lnTo>
                    <a:pt x="186" y="950"/>
                  </a:lnTo>
                  <a:lnTo>
                    <a:pt x="193" y="957"/>
                  </a:lnTo>
                  <a:cubicBezTo>
                    <a:pt x="196" y="964"/>
                    <a:pt x="200" y="967"/>
                    <a:pt x="207" y="971"/>
                  </a:cubicBezTo>
                  <a:cubicBezTo>
                    <a:pt x="231" y="985"/>
                    <a:pt x="249" y="1006"/>
                    <a:pt x="252" y="1034"/>
                  </a:cubicBezTo>
                  <a:cubicBezTo>
                    <a:pt x="256" y="1044"/>
                    <a:pt x="256" y="1058"/>
                    <a:pt x="256" y="1069"/>
                  </a:cubicBezTo>
                  <a:cubicBezTo>
                    <a:pt x="252" y="1156"/>
                    <a:pt x="165" y="1265"/>
                    <a:pt x="91" y="1303"/>
                  </a:cubicBezTo>
                  <a:cubicBezTo>
                    <a:pt x="67" y="1314"/>
                    <a:pt x="39" y="1324"/>
                    <a:pt x="7" y="1328"/>
                  </a:cubicBezTo>
                  <a:lnTo>
                    <a:pt x="0" y="1328"/>
                  </a:lnTo>
                  <a:lnTo>
                    <a:pt x="11" y="1342"/>
                  </a:lnTo>
                  <a:cubicBezTo>
                    <a:pt x="35" y="1377"/>
                    <a:pt x="67" y="1408"/>
                    <a:pt x="102" y="1433"/>
                  </a:cubicBezTo>
                  <a:cubicBezTo>
                    <a:pt x="161" y="1482"/>
                    <a:pt x="252" y="1555"/>
                    <a:pt x="168" y="1692"/>
                  </a:cubicBezTo>
                  <a:cubicBezTo>
                    <a:pt x="144" y="1723"/>
                    <a:pt x="137" y="1765"/>
                    <a:pt x="154" y="1800"/>
                  </a:cubicBezTo>
                  <a:cubicBezTo>
                    <a:pt x="172" y="1832"/>
                    <a:pt x="203" y="1853"/>
                    <a:pt x="242" y="1856"/>
                  </a:cubicBezTo>
                  <a:cubicBezTo>
                    <a:pt x="266" y="1860"/>
                    <a:pt x="294" y="1860"/>
                    <a:pt x="322" y="1860"/>
                  </a:cubicBezTo>
                  <a:cubicBezTo>
                    <a:pt x="330" y="1859"/>
                    <a:pt x="338" y="1859"/>
                    <a:pt x="346" y="1859"/>
                  </a:cubicBezTo>
                  <a:cubicBezTo>
                    <a:pt x="400" y="1859"/>
                    <a:pt x="452" y="1870"/>
                    <a:pt x="504" y="1891"/>
                  </a:cubicBezTo>
                  <a:cubicBezTo>
                    <a:pt x="553" y="1916"/>
                    <a:pt x="574" y="1979"/>
                    <a:pt x="550" y="2031"/>
                  </a:cubicBezTo>
                  <a:cubicBezTo>
                    <a:pt x="543" y="2045"/>
                    <a:pt x="539" y="2059"/>
                    <a:pt x="532" y="2077"/>
                  </a:cubicBezTo>
                  <a:lnTo>
                    <a:pt x="522" y="2101"/>
                  </a:lnTo>
                  <a:cubicBezTo>
                    <a:pt x="567" y="2094"/>
                    <a:pt x="616" y="2080"/>
                    <a:pt x="662" y="2059"/>
                  </a:cubicBezTo>
                  <a:cubicBezTo>
                    <a:pt x="704" y="2035"/>
                    <a:pt x="742" y="1996"/>
                    <a:pt x="763" y="1951"/>
                  </a:cubicBezTo>
                  <a:cubicBezTo>
                    <a:pt x="805" y="1877"/>
                    <a:pt x="861" y="1786"/>
                    <a:pt x="1054" y="1730"/>
                  </a:cubicBezTo>
                  <a:cubicBezTo>
                    <a:pt x="1096" y="1716"/>
                    <a:pt x="1145" y="1713"/>
                    <a:pt x="1190" y="1713"/>
                  </a:cubicBezTo>
                  <a:cubicBezTo>
                    <a:pt x="1471" y="1713"/>
                    <a:pt x="1782" y="1912"/>
                    <a:pt x="1891" y="2080"/>
                  </a:cubicBezTo>
                  <a:cubicBezTo>
                    <a:pt x="1915" y="2119"/>
                    <a:pt x="1936" y="2147"/>
                    <a:pt x="1954" y="2175"/>
                  </a:cubicBezTo>
                  <a:cubicBezTo>
                    <a:pt x="2017" y="2245"/>
                    <a:pt x="2055" y="2336"/>
                    <a:pt x="2073" y="2431"/>
                  </a:cubicBezTo>
                  <a:cubicBezTo>
                    <a:pt x="2090" y="2532"/>
                    <a:pt x="2174" y="2798"/>
                    <a:pt x="2559" y="3047"/>
                  </a:cubicBezTo>
                  <a:cubicBezTo>
                    <a:pt x="2738" y="3166"/>
                    <a:pt x="2899" y="3306"/>
                    <a:pt x="3042" y="3463"/>
                  </a:cubicBezTo>
                  <a:cubicBezTo>
                    <a:pt x="3140" y="3561"/>
                    <a:pt x="3217" y="3642"/>
                    <a:pt x="3298" y="3680"/>
                  </a:cubicBezTo>
                  <a:cubicBezTo>
                    <a:pt x="3372" y="3715"/>
                    <a:pt x="3445" y="3743"/>
                    <a:pt x="3526" y="3761"/>
                  </a:cubicBezTo>
                  <a:cubicBezTo>
                    <a:pt x="3645" y="3792"/>
                    <a:pt x="3757" y="3820"/>
                    <a:pt x="3844" y="3925"/>
                  </a:cubicBezTo>
                  <a:cubicBezTo>
                    <a:pt x="3956" y="4058"/>
                    <a:pt x="4110" y="4135"/>
                    <a:pt x="4299" y="4223"/>
                  </a:cubicBezTo>
                  <a:cubicBezTo>
                    <a:pt x="4383" y="4265"/>
                    <a:pt x="4457" y="4332"/>
                    <a:pt x="4509" y="4416"/>
                  </a:cubicBezTo>
                  <a:cubicBezTo>
                    <a:pt x="4565" y="4489"/>
                    <a:pt x="4597" y="4531"/>
                    <a:pt x="4667" y="4542"/>
                  </a:cubicBezTo>
                  <a:cubicBezTo>
                    <a:pt x="4824" y="4563"/>
                    <a:pt x="4835" y="4671"/>
                    <a:pt x="4842" y="4748"/>
                  </a:cubicBezTo>
                  <a:cubicBezTo>
                    <a:pt x="4842" y="4797"/>
                    <a:pt x="4856" y="4846"/>
                    <a:pt x="4887" y="4888"/>
                  </a:cubicBezTo>
                  <a:cubicBezTo>
                    <a:pt x="5013" y="5042"/>
                    <a:pt x="5052" y="5368"/>
                    <a:pt x="4912" y="5560"/>
                  </a:cubicBezTo>
                  <a:cubicBezTo>
                    <a:pt x="4849" y="5655"/>
                    <a:pt x="4838" y="5777"/>
                    <a:pt x="4887" y="5886"/>
                  </a:cubicBezTo>
                  <a:cubicBezTo>
                    <a:pt x="4947" y="5840"/>
                    <a:pt x="5073" y="5627"/>
                    <a:pt x="5094" y="5494"/>
                  </a:cubicBezTo>
                  <a:cubicBezTo>
                    <a:pt x="5111" y="5371"/>
                    <a:pt x="5188" y="5322"/>
                    <a:pt x="5265" y="5273"/>
                  </a:cubicBezTo>
                  <a:cubicBezTo>
                    <a:pt x="5325" y="5242"/>
                    <a:pt x="5377" y="5196"/>
                    <a:pt x="5423" y="5140"/>
                  </a:cubicBezTo>
                  <a:cubicBezTo>
                    <a:pt x="5448" y="5105"/>
                    <a:pt x="5455" y="5098"/>
                    <a:pt x="5353" y="5014"/>
                  </a:cubicBezTo>
                  <a:cubicBezTo>
                    <a:pt x="5279" y="4958"/>
                    <a:pt x="5192" y="4885"/>
                    <a:pt x="5160" y="4769"/>
                  </a:cubicBezTo>
                  <a:cubicBezTo>
                    <a:pt x="5132" y="4650"/>
                    <a:pt x="5178" y="4524"/>
                    <a:pt x="5279" y="4458"/>
                  </a:cubicBezTo>
                  <a:cubicBezTo>
                    <a:pt x="5349" y="4407"/>
                    <a:pt x="5433" y="4382"/>
                    <a:pt x="5520" y="4382"/>
                  </a:cubicBezTo>
                  <a:cubicBezTo>
                    <a:pt x="5609" y="4382"/>
                    <a:pt x="5701" y="4408"/>
                    <a:pt x="5784" y="4461"/>
                  </a:cubicBezTo>
                  <a:cubicBezTo>
                    <a:pt x="5826" y="4486"/>
                    <a:pt x="5861" y="4510"/>
                    <a:pt x="5896" y="4535"/>
                  </a:cubicBezTo>
                  <a:cubicBezTo>
                    <a:pt x="5952" y="4577"/>
                    <a:pt x="6015" y="4612"/>
                    <a:pt x="6078" y="4636"/>
                  </a:cubicBezTo>
                  <a:cubicBezTo>
                    <a:pt x="6092" y="4605"/>
                    <a:pt x="6095" y="4573"/>
                    <a:pt x="6095" y="4538"/>
                  </a:cubicBezTo>
                  <a:cubicBezTo>
                    <a:pt x="6106" y="4367"/>
                    <a:pt x="5546" y="4086"/>
                    <a:pt x="5276" y="3953"/>
                  </a:cubicBezTo>
                  <a:cubicBezTo>
                    <a:pt x="5174" y="3901"/>
                    <a:pt x="5094" y="3859"/>
                    <a:pt x="5045" y="3831"/>
                  </a:cubicBezTo>
                  <a:cubicBezTo>
                    <a:pt x="4968" y="3782"/>
                    <a:pt x="4908" y="3708"/>
                    <a:pt x="4880" y="3624"/>
                  </a:cubicBezTo>
                  <a:cubicBezTo>
                    <a:pt x="4848" y="3551"/>
                    <a:pt x="4834" y="3515"/>
                    <a:pt x="4713" y="3515"/>
                  </a:cubicBezTo>
                  <a:cubicBezTo>
                    <a:pt x="4702" y="3515"/>
                    <a:pt x="4690" y="3515"/>
                    <a:pt x="4677" y="3516"/>
                  </a:cubicBezTo>
                  <a:cubicBezTo>
                    <a:pt x="4669" y="3516"/>
                    <a:pt x="4660" y="3517"/>
                    <a:pt x="4652" y="3517"/>
                  </a:cubicBezTo>
                  <a:cubicBezTo>
                    <a:pt x="4297" y="3517"/>
                    <a:pt x="3887" y="3091"/>
                    <a:pt x="3760" y="2592"/>
                  </a:cubicBezTo>
                  <a:cubicBezTo>
                    <a:pt x="3697" y="2340"/>
                    <a:pt x="3512" y="2227"/>
                    <a:pt x="3330" y="2119"/>
                  </a:cubicBezTo>
                  <a:cubicBezTo>
                    <a:pt x="3189" y="2035"/>
                    <a:pt x="3060" y="1958"/>
                    <a:pt x="2997" y="1821"/>
                  </a:cubicBezTo>
                  <a:cubicBezTo>
                    <a:pt x="2937" y="1709"/>
                    <a:pt x="2937" y="1573"/>
                    <a:pt x="2997" y="1464"/>
                  </a:cubicBezTo>
                  <a:cubicBezTo>
                    <a:pt x="3025" y="1398"/>
                    <a:pt x="3046" y="1356"/>
                    <a:pt x="3004" y="1272"/>
                  </a:cubicBezTo>
                  <a:cubicBezTo>
                    <a:pt x="2979" y="1219"/>
                    <a:pt x="2976" y="1156"/>
                    <a:pt x="2997" y="1104"/>
                  </a:cubicBezTo>
                  <a:cubicBezTo>
                    <a:pt x="3039" y="999"/>
                    <a:pt x="3151" y="929"/>
                    <a:pt x="3238" y="890"/>
                  </a:cubicBezTo>
                  <a:lnTo>
                    <a:pt x="3238" y="859"/>
                  </a:lnTo>
                  <a:lnTo>
                    <a:pt x="3238" y="820"/>
                  </a:lnTo>
                  <a:lnTo>
                    <a:pt x="3238" y="757"/>
                  </a:lnTo>
                  <a:lnTo>
                    <a:pt x="3238" y="729"/>
                  </a:lnTo>
                  <a:lnTo>
                    <a:pt x="3238" y="638"/>
                  </a:lnTo>
                  <a:lnTo>
                    <a:pt x="3238" y="621"/>
                  </a:lnTo>
                  <a:cubicBezTo>
                    <a:pt x="3238" y="596"/>
                    <a:pt x="3238" y="572"/>
                    <a:pt x="3242" y="547"/>
                  </a:cubicBezTo>
                  <a:lnTo>
                    <a:pt x="3242" y="516"/>
                  </a:lnTo>
                  <a:cubicBezTo>
                    <a:pt x="3242" y="498"/>
                    <a:pt x="3242" y="477"/>
                    <a:pt x="3242" y="460"/>
                  </a:cubicBezTo>
                  <a:cubicBezTo>
                    <a:pt x="3242" y="449"/>
                    <a:pt x="3242" y="439"/>
                    <a:pt x="3245" y="428"/>
                  </a:cubicBezTo>
                  <a:cubicBezTo>
                    <a:pt x="3249" y="414"/>
                    <a:pt x="3249" y="393"/>
                    <a:pt x="3249" y="376"/>
                  </a:cubicBezTo>
                  <a:cubicBezTo>
                    <a:pt x="3252" y="362"/>
                    <a:pt x="3249" y="355"/>
                    <a:pt x="3252" y="344"/>
                  </a:cubicBezTo>
                  <a:cubicBezTo>
                    <a:pt x="3256" y="334"/>
                    <a:pt x="3256" y="313"/>
                    <a:pt x="3256" y="295"/>
                  </a:cubicBezTo>
                  <a:lnTo>
                    <a:pt x="3258" y="277"/>
                  </a:lnTo>
                  <a:lnTo>
                    <a:pt x="3258" y="277"/>
                  </a:lnTo>
                  <a:lnTo>
                    <a:pt x="3200" y="267"/>
                  </a:lnTo>
                  <a:cubicBezTo>
                    <a:pt x="3140" y="264"/>
                    <a:pt x="3081" y="246"/>
                    <a:pt x="3025" y="222"/>
                  </a:cubicBezTo>
                  <a:cubicBezTo>
                    <a:pt x="2972" y="187"/>
                    <a:pt x="2948" y="109"/>
                    <a:pt x="2930" y="39"/>
                  </a:cubicBezTo>
                  <a:cubicBezTo>
                    <a:pt x="2927" y="29"/>
                    <a:pt x="2923" y="11"/>
                    <a:pt x="2916" y="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021" name="Google Shape;7021;p104"/>
            <p:cNvSpPr/>
            <p:nvPr/>
          </p:nvSpPr>
          <p:spPr>
            <a:xfrm>
              <a:off x="2139082" y="1663966"/>
              <a:ext cx="1344" cy="2485"/>
            </a:xfrm>
            <a:custGeom>
              <a:avLst/>
              <a:gdLst/>
              <a:ahLst/>
              <a:cxnLst/>
              <a:rect l="l" t="t" r="r" b="b"/>
              <a:pathLst>
                <a:path w="99" h="183" extrusionOk="0">
                  <a:moveTo>
                    <a:pt x="98" y="183"/>
                  </a:moveTo>
                  <a:lnTo>
                    <a:pt x="98" y="183"/>
                  </a:lnTo>
                  <a:cubicBezTo>
                    <a:pt x="42" y="148"/>
                    <a:pt x="21" y="70"/>
                    <a:pt x="0" y="0"/>
                  </a:cubicBezTo>
                  <a:cubicBezTo>
                    <a:pt x="21" y="70"/>
                    <a:pt x="42" y="148"/>
                    <a:pt x="98" y="183"/>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022" name="Google Shape;7022;p104"/>
            <p:cNvSpPr/>
            <p:nvPr/>
          </p:nvSpPr>
          <p:spPr>
            <a:xfrm>
              <a:off x="2128057" y="1665391"/>
              <a:ext cx="299" cy="204"/>
            </a:xfrm>
            <a:custGeom>
              <a:avLst/>
              <a:gdLst/>
              <a:ahLst/>
              <a:cxnLst/>
              <a:rect l="l" t="t" r="r" b="b"/>
              <a:pathLst>
                <a:path w="22" h="15" extrusionOk="0">
                  <a:moveTo>
                    <a:pt x="21" y="14"/>
                  </a:moveTo>
                  <a:lnTo>
                    <a:pt x="0" y="0"/>
                  </a:lnTo>
                  <a:lnTo>
                    <a:pt x="0"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023" name="Google Shape;7023;p104"/>
            <p:cNvSpPr/>
            <p:nvPr/>
          </p:nvSpPr>
          <p:spPr>
            <a:xfrm>
              <a:off x="2142734" y="1667061"/>
              <a:ext cx="923" cy="149"/>
            </a:xfrm>
            <a:custGeom>
              <a:avLst/>
              <a:gdLst/>
              <a:ahLst/>
              <a:cxnLst/>
              <a:rect l="l" t="t" r="r" b="b"/>
              <a:pathLst>
                <a:path w="68" h="11" extrusionOk="0">
                  <a:moveTo>
                    <a:pt x="67" y="11"/>
                  </a:moveTo>
                  <a:lnTo>
                    <a:pt x="1"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024" name="Google Shape;7024;p104"/>
            <p:cNvSpPr/>
            <p:nvPr/>
          </p:nvSpPr>
          <p:spPr>
            <a:xfrm>
              <a:off x="2105477" y="1674515"/>
              <a:ext cx="299" cy="14"/>
            </a:xfrm>
            <a:custGeom>
              <a:avLst/>
              <a:gdLst/>
              <a:ahLst/>
              <a:cxnLst/>
              <a:rect l="l" t="t" r="r" b="b"/>
              <a:pathLst>
                <a:path w="22" h="1" extrusionOk="0">
                  <a:moveTo>
                    <a:pt x="21"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025" name="Google Shape;7025;p104"/>
            <p:cNvSpPr/>
            <p:nvPr/>
          </p:nvSpPr>
          <p:spPr>
            <a:xfrm>
              <a:off x="2105097" y="1674570"/>
              <a:ext cx="299" cy="14"/>
            </a:xfrm>
            <a:custGeom>
              <a:avLst/>
              <a:gdLst/>
              <a:ahLst/>
              <a:cxnLst/>
              <a:rect l="l" t="t" r="r" b="b"/>
              <a:pathLst>
                <a:path w="22" h="1" extrusionOk="0">
                  <a:moveTo>
                    <a:pt x="21"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026" name="Google Shape;7026;p104"/>
            <p:cNvSpPr/>
            <p:nvPr/>
          </p:nvSpPr>
          <p:spPr>
            <a:xfrm>
              <a:off x="2101866" y="1674610"/>
              <a:ext cx="2770" cy="204"/>
            </a:xfrm>
            <a:custGeom>
              <a:avLst/>
              <a:gdLst/>
              <a:ahLst/>
              <a:cxnLst/>
              <a:rect l="l" t="t" r="r" b="b"/>
              <a:pathLst>
                <a:path w="204" h="15" extrusionOk="0">
                  <a:moveTo>
                    <a:pt x="203" y="1"/>
                  </a:moveTo>
                  <a:lnTo>
                    <a:pt x="0" y="15"/>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027" name="Google Shape;7027;p104"/>
            <p:cNvSpPr/>
            <p:nvPr/>
          </p:nvSpPr>
          <p:spPr>
            <a:xfrm>
              <a:off x="2104622" y="1674570"/>
              <a:ext cx="394" cy="14"/>
            </a:xfrm>
            <a:custGeom>
              <a:avLst/>
              <a:gdLst/>
              <a:ahLst/>
              <a:cxnLst/>
              <a:rect l="l" t="t" r="r" b="b"/>
              <a:pathLst>
                <a:path w="29" h="1" extrusionOk="0">
                  <a:moveTo>
                    <a:pt x="28" y="0"/>
                  </a:moveTo>
                  <a:lnTo>
                    <a:pt x="0"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028" name="Google Shape;7028;p104"/>
            <p:cNvSpPr/>
            <p:nvPr/>
          </p:nvSpPr>
          <p:spPr>
            <a:xfrm>
              <a:off x="2101526" y="1674855"/>
              <a:ext cx="299" cy="14"/>
            </a:xfrm>
            <a:custGeom>
              <a:avLst/>
              <a:gdLst/>
              <a:ahLst/>
              <a:cxnLst/>
              <a:rect l="l" t="t" r="r" b="b"/>
              <a:pathLst>
                <a:path w="22" h="1" extrusionOk="0">
                  <a:moveTo>
                    <a:pt x="1" y="0"/>
                  </a:moveTo>
                  <a:lnTo>
                    <a:pt x="22"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029" name="Google Shape;7029;p104"/>
            <p:cNvSpPr/>
            <p:nvPr/>
          </p:nvSpPr>
          <p:spPr>
            <a:xfrm>
              <a:off x="2127296" y="1665391"/>
              <a:ext cx="774" cy="720"/>
            </a:xfrm>
            <a:custGeom>
              <a:avLst/>
              <a:gdLst/>
              <a:ahLst/>
              <a:cxnLst/>
              <a:rect l="l" t="t" r="r" b="b"/>
              <a:pathLst>
                <a:path w="57" h="53" extrusionOk="0">
                  <a:moveTo>
                    <a:pt x="0" y="53"/>
                  </a:moveTo>
                  <a:lnTo>
                    <a:pt x="56" y="0"/>
                  </a:lnTo>
                  <a:lnTo>
                    <a:pt x="56"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030" name="Google Shape;7030;p104"/>
            <p:cNvSpPr/>
            <p:nvPr/>
          </p:nvSpPr>
          <p:spPr>
            <a:xfrm>
              <a:off x="2106903" y="1674475"/>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031" name="Google Shape;7031;p104"/>
            <p:cNvSpPr/>
            <p:nvPr/>
          </p:nvSpPr>
          <p:spPr>
            <a:xfrm>
              <a:off x="2106659" y="1674475"/>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032" name="Google Shape;7032;p104"/>
            <p:cNvSpPr/>
            <p:nvPr/>
          </p:nvSpPr>
          <p:spPr>
            <a:xfrm>
              <a:off x="2105858" y="1674515"/>
              <a:ext cx="244" cy="14"/>
            </a:xfrm>
            <a:custGeom>
              <a:avLst/>
              <a:gdLst/>
              <a:ahLst/>
              <a:cxnLst/>
              <a:rect l="l" t="t" r="r" b="b"/>
              <a:pathLst>
                <a:path w="18" h="1" extrusionOk="0">
                  <a:moveTo>
                    <a:pt x="18" y="1"/>
                  </a:moveTo>
                  <a:lnTo>
                    <a:pt x="0"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033" name="Google Shape;7033;p104"/>
            <p:cNvSpPr/>
            <p:nvPr/>
          </p:nvSpPr>
          <p:spPr>
            <a:xfrm>
              <a:off x="2107134" y="1674475"/>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034" name="Google Shape;7034;p104"/>
            <p:cNvSpPr/>
            <p:nvPr/>
          </p:nvSpPr>
          <p:spPr>
            <a:xfrm>
              <a:off x="2106183" y="1674475"/>
              <a:ext cx="204" cy="14"/>
            </a:xfrm>
            <a:custGeom>
              <a:avLst/>
              <a:gdLst/>
              <a:ahLst/>
              <a:cxnLst/>
              <a:rect l="l" t="t" r="r" b="b"/>
              <a:pathLst>
                <a:path w="15" h="1" extrusionOk="0">
                  <a:moveTo>
                    <a:pt x="15"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035" name="Google Shape;7035;p104"/>
            <p:cNvSpPr/>
            <p:nvPr/>
          </p:nvSpPr>
          <p:spPr>
            <a:xfrm>
              <a:off x="2102762" y="1677652"/>
              <a:ext cx="68" cy="448"/>
            </a:xfrm>
            <a:custGeom>
              <a:avLst/>
              <a:gdLst/>
              <a:ahLst/>
              <a:cxnLst/>
              <a:rect l="l" t="t" r="r" b="b"/>
              <a:pathLst>
                <a:path w="5" h="33" extrusionOk="0">
                  <a:moveTo>
                    <a:pt x="4" y="32"/>
                  </a:moveTo>
                  <a:cubicBezTo>
                    <a:pt x="4" y="22"/>
                    <a:pt x="4" y="11"/>
                    <a:pt x="1" y="1"/>
                  </a:cubicBezTo>
                  <a:cubicBezTo>
                    <a:pt x="4" y="11"/>
                    <a:pt x="4" y="22"/>
                    <a:pt x="4" y="32"/>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036" name="Google Shape;7036;p104"/>
            <p:cNvSpPr/>
            <p:nvPr/>
          </p:nvSpPr>
          <p:spPr>
            <a:xfrm>
              <a:off x="2101771" y="1676416"/>
              <a:ext cx="54" cy="109"/>
            </a:xfrm>
            <a:custGeom>
              <a:avLst/>
              <a:gdLst/>
              <a:ahLst/>
              <a:cxnLst/>
              <a:rect l="l" t="t" r="r" b="b"/>
              <a:pathLst>
                <a:path w="4" h="8" extrusionOk="0">
                  <a:moveTo>
                    <a:pt x="4" y="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037" name="Google Shape;7037;p104"/>
            <p:cNvSpPr/>
            <p:nvPr/>
          </p:nvSpPr>
          <p:spPr>
            <a:xfrm>
              <a:off x="2102572" y="1688826"/>
              <a:ext cx="3584" cy="434"/>
            </a:xfrm>
            <a:custGeom>
              <a:avLst/>
              <a:gdLst/>
              <a:ahLst/>
              <a:cxnLst/>
              <a:rect l="l" t="t" r="r" b="b"/>
              <a:pathLst>
                <a:path w="264" h="32" extrusionOk="0">
                  <a:moveTo>
                    <a:pt x="1" y="0"/>
                  </a:moveTo>
                  <a:cubicBezTo>
                    <a:pt x="25" y="4"/>
                    <a:pt x="53" y="4"/>
                    <a:pt x="81" y="4"/>
                  </a:cubicBezTo>
                  <a:cubicBezTo>
                    <a:pt x="144" y="0"/>
                    <a:pt x="207" y="11"/>
                    <a:pt x="263" y="32"/>
                  </a:cubicBezTo>
                  <a:cubicBezTo>
                    <a:pt x="207" y="11"/>
                    <a:pt x="144" y="0"/>
                    <a:pt x="81" y="4"/>
                  </a:cubicBezTo>
                  <a:cubicBezTo>
                    <a:pt x="53" y="4"/>
                    <a:pt x="25" y="4"/>
                    <a:pt x="1"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038" name="Google Shape;7038;p104"/>
            <p:cNvSpPr/>
            <p:nvPr/>
          </p:nvSpPr>
          <p:spPr>
            <a:xfrm>
              <a:off x="2106374" y="1691813"/>
              <a:ext cx="163" cy="353"/>
            </a:xfrm>
            <a:custGeom>
              <a:avLst/>
              <a:gdLst/>
              <a:ahLst/>
              <a:cxnLst/>
              <a:rect l="l" t="t" r="r" b="b"/>
              <a:pathLst>
                <a:path w="12" h="26" extrusionOk="0">
                  <a:moveTo>
                    <a:pt x="1" y="25"/>
                  </a:moveTo>
                  <a:lnTo>
                    <a:pt x="1" y="25"/>
                  </a:lnTo>
                  <a:lnTo>
                    <a:pt x="11"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039" name="Google Shape;7039;p104"/>
            <p:cNvSpPr/>
            <p:nvPr/>
          </p:nvSpPr>
          <p:spPr>
            <a:xfrm>
              <a:off x="2101676" y="1676280"/>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040" name="Google Shape;7040;p104"/>
            <p:cNvSpPr/>
            <p:nvPr/>
          </p:nvSpPr>
          <p:spPr>
            <a:xfrm>
              <a:off x="2101907" y="1676606"/>
              <a:ext cx="543" cy="394"/>
            </a:xfrm>
            <a:custGeom>
              <a:avLst/>
              <a:gdLst/>
              <a:ahLst/>
              <a:cxnLst/>
              <a:rect l="l" t="t" r="r" b="b"/>
              <a:pathLst>
                <a:path w="40" h="29" extrusionOk="0">
                  <a:moveTo>
                    <a:pt x="15" y="11"/>
                  </a:moveTo>
                  <a:cubicBezTo>
                    <a:pt x="11" y="8"/>
                    <a:pt x="4" y="4"/>
                    <a:pt x="1" y="1"/>
                  </a:cubicBezTo>
                  <a:cubicBezTo>
                    <a:pt x="4" y="4"/>
                    <a:pt x="11" y="8"/>
                    <a:pt x="15" y="11"/>
                  </a:cubicBezTo>
                  <a:cubicBezTo>
                    <a:pt x="25" y="18"/>
                    <a:pt x="32" y="22"/>
                    <a:pt x="39" y="29"/>
                  </a:cubicBezTo>
                  <a:cubicBezTo>
                    <a:pt x="32" y="22"/>
                    <a:pt x="25" y="18"/>
                    <a:pt x="15" y="1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041" name="Google Shape;7041;p104"/>
            <p:cNvSpPr/>
            <p:nvPr/>
          </p:nvSpPr>
          <p:spPr>
            <a:xfrm>
              <a:off x="2143359" y="1670619"/>
              <a:ext cx="54" cy="448"/>
            </a:xfrm>
            <a:custGeom>
              <a:avLst/>
              <a:gdLst/>
              <a:ahLst/>
              <a:cxnLst/>
              <a:rect l="l" t="t" r="r" b="b"/>
              <a:pathLst>
                <a:path w="4" h="33" extrusionOk="0">
                  <a:moveTo>
                    <a:pt x="4" y="1"/>
                  </a:moveTo>
                  <a:cubicBezTo>
                    <a:pt x="4" y="11"/>
                    <a:pt x="0" y="22"/>
                    <a:pt x="4" y="32"/>
                  </a:cubicBezTo>
                  <a:lnTo>
                    <a:pt x="4"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042" name="Google Shape;7042;p104"/>
            <p:cNvSpPr/>
            <p:nvPr/>
          </p:nvSpPr>
          <p:spPr>
            <a:xfrm>
              <a:off x="2143304" y="1674760"/>
              <a:ext cx="14" cy="489"/>
            </a:xfrm>
            <a:custGeom>
              <a:avLst/>
              <a:gdLst/>
              <a:ahLst/>
              <a:cxnLst/>
              <a:rect l="l" t="t" r="r" b="b"/>
              <a:pathLst>
                <a:path w="1" h="36" extrusionOk="0">
                  <a:moveTo>
                    <a:pt x="1" y="0"/>
                  </a:moveTo>
                  <a:lnTo>
                    <a:pt x="1" y="35"/>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043" name="Google Shape;7043;p104"/>
            <p:cNvSpPr/>
            <p:nvPr/>
          </p:nvSpPr>
          <p:spPr>
            <a:xfrm>
              <a:off x="2143454" y="1669383"/>
              <a:ext cx="14" cy="489"/>
            </a:xfrm>
            <a:custGeom>
              <a:avLst/>
              <a:gdLst/>
              <a:ahLst/>
              <a:cxnLst/>
              <a:rect l="l" t="t" r="r" b="b"/>
              <a:pathLst>
                <a:path w="1" h="36" extrusionOk="0">
                  <a:moveTo>
                    <a:pt x="0" y="1"/>
                  </a:moveTo>
                  <a:cubicBezTo>
                    <a:pt x="0" y="15"/>
                    <a:pt x="0" y="25"/>
                    <a:pt x="0" y="36"/>
                  </a:cubicBezTo>
                  <a:cubicBezTo>
                    <a:pt x="0" y="25"/>
                    <a:pt x="0" y="15"/>
                    <a:pt x="0" y="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044" name="Google Shape;7044;p104"/>
            <p:cNvSpPr/>
            <p:nvPr/>
          </p:nvSpPr>
          <p:spPr>
            <a:xfrm>
              <a:off x="2143304" y="1672044"/>
              <a:ext cx="14" cy="258"/>
            </a:xfrm>
            <a:custGeom>
              <a:avLst/>
              <a:gdLst/>
              <a:ahLst/>
              <a:cxnLst/>
              <a:rect l="l" t="t" r="r" b="b"/>
              <a:pathLst>
                <a:path w="1" h="19" extrusionOk="0">
                  <a:moveTo>
                    <a:pt x="1" y="1"/>
                  </a:moveTo>
                  <a:lnTo>
                    <a:pt x="1" y="18"/>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045" name="Google Shape;7045;p104"/>
            <p:cNvSpPr/>
            <p:nvPr/>
          </p:nvSpPr>
          <p:spPr>
            <a:xfrm>
              <a:off x="2143304" y="1673524"/>
              <a:ext cx="14" cy="394"/>
            </a:xfrm>
            <a:custGeom>
              <a:avLst/>
              <a:gdLst/>
              <a:ahLst/>
              <a:cxnLst/>
              <a:rect l="l" t="t" r="r" b="b"/>
              <a:pathLst>
                <a:path w="1" h="29" extrusionOk="0">
                  <a:moveTo>
                    <a:pt x="1" y="28"/>
                  </a:moveTo>
                  <a:lnTo>
                    <a:pt x="1"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046" name="Google Shape;7046;p104"/>
            <p:cNvSpPr/>
            <p:nvPr/>
          </p:nvSpPr>
          <p:spPr>
            <a:xfrm>
              <a:off x="2143494" y="1668297"/>
              <a:ext cx="68" cy="434"/>
            </a:xfrm>
            <a:custGeom>
              <a:avLst/>
              <a:gdLst/>
              <a:ahLst/>
              <a:cxnLst/>
              <a:rect l="l" t="t" r="r" b="b"/>
              <a:pathLst>
                <a:path w="5" h="32" extrusionOk="0">
                  <a:moveTo>
                    <a:pt x="4" y="0"/>
                  </a:moveTo>
                  <a:cubicBezTo>
                    <a:pt x="4" y="11"/>
                    <a:pt x="4" y="21"/>
                    <a:pt x="1" y="32"/>
                  </a:cubicBezTo>
                  <a:cubicBezTo>
                    <a:pt x="4" y="21"/>
                    <a:pt x="4" y="11"/>
                    <a:pt x="4"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047" name="Google Shape;7047;p104"/>
            <p:cNvSpPr/>
            <p:nvPr/>
          </p:nvSpPr>
          <p:spPr>
            <a:xfrm>
              <a:off x="2143589" y="1667251"/>
              <a:ext cx="68" cy="394"/>
            </a:xfrm>
            <a:custGeom>
              <a:avLst/>
              <a:gdLst/>
              <a:ahLst/>
              <a:cxnLst/>
              <a:rect l="l" t="t" r="r" b="b"/>
              <a:pathLst>
                <a:path w="5" h="29" extrusionOk="0">
                  <a:moveTo>
                    <a:pt x="4" y="0"/>
                  </a:moveTo>
                  <a:lnTo>
                    <a:pt x="1" y="28"/>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048" name="Google Shape;7048;p104"/>
            <p:cNvSpPr/>
            <p:nvPr/>
          </p:nvSpPr>
          <p:spPr>
            <a:xfrm>
              <a:off x="2184186" y="1698140"/>
              <a:ext cx="6626" cy="9138"/>
            </a:xfrm>
            <a:custGeom>
              <a:avLst/>
              <a:gdLst/>
              <a:ahLst/>
              <a:cxnLst/>
              <a:rect l="l" t="t" r="r" b="b"/>
              <a:pathLst>
                <a:path w="488" h="673" extrusionOk="0">
                  <a:moveTo>
                    <a:pt x="162" y="1"/>
                  </a:moveTo>
                  <a:lnTo>
                    <a:pt x="137" y="36"/>
                  </a:lnTo>
                  <a:cubicBezTo>
                    <a:pt x="127" y="53"/>
                    <a:pt x="116" y="71"/>
                    <a:pt x="109" y="85"/>
                  </a:cubicBezTo>
                  <a:lnTo>
                    <a:pt x="99" y="99"/>
                  </a:lnTo>
                  <a:lnTo>
                    <a:pt x="92" y="113"/>
                  </a:lnTo>
                  <a:cubicBezTo>
                    <a:pt x="53" y="165"/>
                    <a:pt x="25" y="228"/>
                    <a:pt x="11" y="295"/>
                  </a:cubicBezTo>
                  <a:lnTo>
                    <a:pt x="11" y="298"/>
                  </a:lnTo>
                  <a:lnTo>
                    <a:pt x="11" y="302"/>
                  </a:lnTo>
                  <a:lnTo>
                    <a:pt x="11" y="316"/>
                  </a:lnTo>
                  <a:lnTo>
                    <a:pt x="11" y="330"/>
                  </a:lnTo>
                  <a:lnTo>
                    <a:pt x="11" y="347"/>
                  </a:lnTo>
                  <a:lnTo>
                    <a:pt x="11" y="351"/>
                  </a:lnTo>
                  <a:lnTo>
                    <a:pt x="11" y="368"/>
                  </a:lnTo>
                  <a:lnTo>
                    <a:pt x="11" y="379"/>
                  </a:lnTo>
                  <a:cubicBezTo>
                    <a:pt x="11" y="382"/>
                    <a:pt x="11" y="389"/>
                    <a:pt x="8" y="396"/>
                  </a:cubicBezTo>
                  <a:lnTo>
                    <a:pt x="8" y="407"/>
                  </a:lnTo>
                  <a:cubicBezTo>
                    <a:pt x="8" y="414"/>
                    <a:pt x="4" y="421"/>
                    <a:pt x="4" y="428"/>
                  </a:cubicBezTo>
                  <a:lnTo>
                    <a:pt x="1" y="445"/>
                  </a:lnTo>
                  <a:lnTo>
                    <a:pt x="18" y="459"/>
                  </a:lnTo>
                  <a:cubicBezTo>
                    <a:pt x="109" y="536"/>
                    <a:pt x="204" y="606"/>
                    <a:pt x="302" y="673"/>
                  </a:cubicBezTo>
                  <a:cubicBezTo>
                    <a:pt x="333" y="557"/>
                    <a:pt x="400" y="449"/>
                    <a:pt x="487" y="368"/>
                  </a:cubicBezTo>
                  <a:lnTo>
                    <a:pt x="477" y="351"/>
                  </a:lnTo>
                  <a:lnTo>
                    <a:pt x="438" y="316"/>
                  </a:lnTo>
                  <a:lnTo>
                    <a:pt x="417" y="291"/>
                  </a:lnTo>
                  <a:lnTo>
                    <a:pt x="386" y="256"/>
                  </a:lnTo>
                  <a:lnTo>
                    <a:pt x="368" y="232"/>
                  </a:lnTo>
                  <a:lnTo>
                    <a:pt x="319" y="176"/>
                  </a:lnTo>
                  <a:lnTo>
                    <a:pt x="305" y="162"/>
                  </a:lnTo>
                  <a:lnTo>
                    <a:pt x="267" y="116"/>
                  </a:lnTo>
                  <a:lnTo>
                    <a:pt x="253" y="99"/>
                  </a:lnTo>
                  <a:lnTo>
                    <a:pt x="214" y="57"/>
                  </a:lnTo>
                  <a:lnTo>
                    <a:pt x="204" y="46"/>
                  </a:lnTo>
                  <a:lnTo>
                    <a:pt x="162"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049" name="Google Shape;7049;p104"/>
            <p:cNvSpPr/>
            <p:nvPr/>
          </p:nvSpPr>
          <p:spPr>
            <a:xfrm>
              <a:off x="2184336" y="1702281"/>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050" name="Google Shape;7050;p104"/>
            <p:cNvSpPr/>
            <p:nvPr/>
          </p:nvSpPr>
          <p:spPr>
            <a:xfrm>
              <a:off x="2184376" y="1702661"/>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051" name="Google Shape;7051;p104"/>
            <p:cNvSpPr/>
            <p:nvPr/>
          </p:nvSpPr>
          <p:spPr>
            <a:xfrm>
              <a:off x="2184376" y="1702417"/>
              <a:ext cx="14" cy="14"/>
            </a:xfrm>
            <a:custGeom>
              <a:avLst/>
              <a:gdLst/>
              <a:ahLst/>
              <a:cxnLst/>
              <a:rect l="l" t="t" r="r" b="b"/>
              <a:pathLst>
                <a:path w="1" h="1" extrusionOk="0">
                  <a:moveTo>
                    <a:pt x="1" y="1"/>
                  </a:move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052" name="Google Shape;7052;p104"/>
            <p:cNvSpPr/>
            <p:nvPr/>
          </p:nvSpPr>
          <p:spPr>
            <a:xfrm>
              <a:off x="2184336" y="1702132"/>
              <a:ext cx="14" cy="68"/>
            </a:xfrm>
            <a:custGeom>
              <a:avLst/>
              <a:gdLst/>
              <a:ahLst/>
              <a:cxnLst/>
              <a:rect l="l" t="t" r="r" b="b"/>
              <a:pathLst>
                <a:path w="1" h="5" extrusionOk="0">
                  <a:moveTo>
                    <a:pt x="0" y="1"/>
                  </a:moveTo>
                  <a:lnTo>
                    <a:pt x="0" y="4"/>
                  </a:lnTo>
                  <a:lnTo>
                    <a:pt x="0"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053" name="Google Shape;7053;p104"/>
            <p:cNvSpPr/>
            <p:nvPr/>
          </p:nvSpPr>
          <p:spPr>
            <a:xfrm>
              <a:off x="2185666" y="1698615"/>
              <a:ext cx="394" cy="679"/>
            </a:xfrm>
            <a:custGeom>
              <a:avLst/>
              <a:gdLst/>
              <a:ahLst/>
              <a:cxnLst/>
              <a:rect l="l" t="t" r="r" b="b"/>
              <a:pathLst>
                <a:path w="29" h="50" extrusionOk="0">
                  <a:moveTo>
                    <a:pt x="28" y="1"/>
                  </a:moveTo>
                  <a:lnTo>
                    <a:pt x="28" y="1"/>
                  </a:lnTo>
                  <a:cubicBezTo>
                    <a:pt x="18" y="18"/>
                    <a:pt x="7" y="32"/>
                    <a:pt x="0" y="50"/>
                  </a:cubicBezTo>
                  <a:cubicBezTo>
                    <a:pt x="7" y="36"/>
                    <a:pt x="18" y="18"/>
                    <a:pt x="28" y="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054" name="Google Shape;7054;p104"/>
            <p:cNvSpPr/>
            <p:nvPr/>
          </p:nvSpPr>
          <p:spPr>
            <a:xfrm>
              <a:off x="2184241" y="1703558"/>
              <a:ext cx="14" cy="204"/>
            </a:xfrm>
            <a:custGeom>
              <a:avLst/>
              <a:gdLst/>
              <a:ahLst/>
              <a:cxnLst/>
              <a:rect l="l" t="t" r="r" b="b"/>
              <a:pathLst>
                <a:path w="1" h="15" extrusionOk="0">
                  <a:moveTo>
                    <a:pt x="0" y="15"/>
                  </a:moveTo>
                  <a:lnTo>
                    <a:pt x="0"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055" name="Google Shape;7055;p104"/>
            <p:cNvSpPr/>
            <p:nvPr/>
          </p:nvSpPr>
          <p:spPr>
            <a:xfrm>
              <a:off x="2184145" y="1704033"/>
              <a:ext cx="54" cy="204"/>
            </a:xfrm>
            <a:custGeom>
              <a:avLst/>
              <a:gdLst/>
              <a:ahLst/>
              <a:cxnLst/>
              <a:rect l="l" t="t" r="r" b="b"/>
              <a:pathLst>
                <a:path w="4" h="15" extrusionOk="0">
                  <a:moveTo>
                    <a:pt x="0" y="15"/>
                  </a:moveTo>
                  <a:lnTo>
                    <a:pt x="4"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056" name="Google Shape;7056;p104"/>
            <p:cNvSpPr/>
            <p:nvPr/>
          </p:nvSpPr>
          <p:spPr>
            <a:xfrm>
              <a:off x="2185422" y="1699525"/>
              <a:ext cx="109" cy="149"/>
            </a:xfrm>
            <a:custGeom>
              <a:avLst/>
              <a:gdLst/>
              <a:ahLst/>
              <a:cxnLst/>
              <a:rect l="l" t="t" r="r" b="b"/>
              <a:pathLst>
                <a:path w="8" h="11" extrusionOk="0">
                  <a:moveTo>
                    <a:pt x="1" y="11"/>
                  </a:moveTo>
                  <a:lnTo>
                    <a:pt x="8"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057" name="Google Shape;7057;p104"/>
            <p:cNvSpPr/>
            <p:nvPr/>
          </p:nvSpPr>
          <p:spPr>
            <a:xfrm>
              <a:off x="2184336" y="1702987"/>
              <a:ext cx="14" cy="14"/>
            </a:xfrm>
            <a:custGeom>
              <a:avLst/>
              <a:gdLst/>
              <a:ahLst/>
              <a:cxnLst/>
              <a:rect l="l" t="t" r="r" b="b"/>
              <a:pathLst>
                <a:path w="1" h="1" extrusionOk="0">
                  <a:moveTo>
                    <a:pt x="0" y="1"/>
                  </a:move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058" name="Google Shape;7058;p104"/>
            <p:cNvSpPr/>
            <p:nvPr/>
          </p:nvSpPr>
          <p:spPr>
            <a:xfrm>
              <a:off x="2184336" y="1703232"/>
              <a:ext cx="14" cy="109"/>
            </a:xfrm>
            <a:custGeom>
              <a:avLst/>
              <a:gdLst/>
              <a:ahLst/>
              <a:cxnLst/>
              <a:rect l="l" t="t" r="r" b="b"/>
              <a:pathLst>
                <a:path w="1" h="8" extrusionOk="0">
                  <a:moveTo>
                    <a:pt x="0" y="7"/>
                  </a:moveTo>
                  <a:lnTo>
                    <a:pt x="0"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059" name="Google Shape;7059;p104"/>
            <p:cNvSpPr/>
            <p:nvPr/>
          </p:nvSpPr>
          <p:spPr>
            <a:xfrm>
              <a:off x="2188178" y="1703177"/>
              <a:ext cx="2580" cy="4195"/>
            </a:xfrm>
            <a:custGeom>
              <a:avLst/>
              <a:gdLst/>
              <a:ahLst/>
              <a:cxnLst/>
              <a:rect l="l" t="t" r="r" b="b"/>
              <a:pathLst>
                <a:path w="190" h="309" extrusionOk="0">
                  <a:moveTo>
                    <a:pt x="1" y="309"/>
                  </a:moveTo>
                  <a:cubicBezTo>
                    <a:pt x="36" y="190"/>
                    <a:pt x="102" y="85"/>
                    <a:pt x="190" y="1"/>
                  </a:cubicBezTo>
                  <a:lnTo>
                    <a:pt x="190" y="1"/>
                  </a:lnTo>
                  <a:cubicBezTo>
                    <a:pt x="102" y="85"/>
                    <a:pt x="36" y="190"/>
                    <a:pt x="1" y="309"/>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060" name="Google Shape;7060;p104"/>
            <p:cNvSpPr/>
            <p:nvPr/>
          </p:nvSpPr>
          <p:spPr>
            <a:xfrm>
              <a:off x="2186372" y="1671338"/>
              <a:ext cx="27820" cy="35044"/>
            </a:xfrm>
            <a:custGeom>
              <a:avLst/>
              <a:gdLst/>
              <a:ahLst/>
              <a:cxnLst/>
              <a:rect l="l" t="t" r="r" b="b"/>
              <a:pathLst>
                <a:path w="2049" h="2581" extrusionOk="0">
                  <a:moveTo>
                    <a:pt x="498" y="0"/>
                  </a:moveTo>
                  <a:cubicBezTo>
                    <a:pt x="424" y="21"/>
                    <a:pt x="190" y="98"/>
                    <a:pt x="1" y="158"/>
                  </a:cubicBezTo>
                  <a:lnTo>
                    <a:pt x="1" y="161"/>
                  </a:lnTo>
                  <a:cubicBezTo>
                    <a:pt x="1" y="168"/>
                    <a:pt x="4" y="175"/>
                    <a:pt x="4" y="182"/>
                  </a:cubicBezTo>
                  <a:cubicBezTo>
                    <a:pt x="4" y="189"/>
                    <a:pt x="8" y="203"/>
                    <a:pt x="11" y="214"/>
                  </a:cubicBezTo>
                  <a:cubicBezTo>
                    <a:pt x="15" y="224"/>
                    <a:pt x="15" y="228"/>
                    <a:pt x="15" y="235"/>
                  </a:cubicBezTo>
                  <a:cubicBezTo>
                    <a:pt x="18" y="238"/>
                    <a:pt x="18" y="252"/>
                    <a:pt x="22" y="259"/>
                  </a:cubicBezTo>
                  <a:lnTo>
                    <a:pt x="29" y="277"/>
                  </a:lnTo>
                  <a:cubicBezTo>
                    <a:pt x="29" y="284"/>
                    <a:pt x="32" y="291"/>
                    <a:pt x="36" y="298"/>
                  </a:cubicBezTo>
                  <a:lnTo>
                    <a:pt x="39" y="312"/>
                  </a:lnTo>
                  <a:cubicBezTo>
                    <a:pt x="43" y="315"/>
                    <a:pt x="46" y="322"/>
                    <a:pt x="46" y="326"/>
                  </a:cubicBezTo>
                  <a:lnTo>
                    <a:pt x="53" y="336"/>
                  </a:lnTo>
                  <a:cubicBezTo>
                    <a:pt x="57" y="343"/>
                    <a:pt x="60" y="347"/>
                    <a:pt x="60" y="350"/>
                  </a:cubicBezTo>
                  <a:lnTo>
                    <a:pt x="67" y="357"/>
                  </a:lnTo>
                  <a:cubicBezTo>
                    <a:pt x="71" y="361"/>
                    <a:pt x="71" y="364"/>
                    <a:pt x="74" y="368"/>
                  </a:cubicBezTo>
                  <a:lnTo>
                    <a:pt x="81" y="371"/>
                  </a:lnTo>
                  <a:cubicBezTo>
                    <a:pt x="85" y="375"/>
                    <a:pt x="88" y="378"/>
                    <a:pt x="92" y="378"/>
                  </a:cubicBezTo>
                  <a:cubicBezTo>
                    <a:pt x="246" y="434"/>
                    <a:pt x="260" y="560"/>
                    <a:pt x="274" y="662"/>
                  </a:cubicBezTo>
                  <a:cubicBezTo>
                    <a:pt x="277" y="711"/>
                    <a:pt x="288" y="760"/>
                    <a:pt x="305" y="805"/>
                  </a:cubicBezTo>
                  <a:cubicBezTo>
                    <a:pt x="305" y="812"/>
                    <a:pt x="309" y="816"/>
                    <a:pt x="312" y="823"/>
                  </a:cubicBezTo>
                  <a:cubicBezTo>
                    <a:pt x="319" y="851"/>
                    <a:pt x="326" y="882"/>
                    <a:pt x="330" y="910"/>
                  </a:cubicBezTo>
                  <a:lnTo>
                    <a:pt x="333" y="938"/>
                  </a:lnTo>
                  <a:lnTo>
                    <a:pt x="351" y="1085"/>
                  </a:lnTo>
                  <a:lnTo>
                    <a:pt x="344" y="1078"/>
                  </a:lnTo>
                  <a:lnTo>
                    <a:pt x="344" y="1078"/>
                  </a:lnTo>
                  <a:cubicBezTo>
                    <a:pt x="351" y="1246"/>
                    <a:pt x="344" y="1411"/>
                    <a:pt x="316" y="1572"/>
                  </a:cubicBezTo>
                  <a:lnTo>
                    <a:pt x="316" y="1575"/>
                  </a:lnTo>
                  <a:cubicBezTo>
                    <a:pt x="309" y="1617"/>
                    <a:pt x="298" y="1659"/>
                    <a:pt x="277" y="1698"/>
                  </a:cubicBezTo>
                  <a:cubicBezTo>
                    <a:pt x="277" y="1702"/>
                    <a:pt x="274" y="1702"/>
                    <a:pt x="270" y="1705"/>
                  </a:cubicBezTo>
                  <a:cubicBezTo>
                    <a:pt x="267" y="1709"/>
                    <a:pt x="267" y="1709"/>
                    <a:pt x="267" y="1712"/>
                  </a:cubicBezTo>
                  <a:lnTo>
                    <a:pt x="260" y="1716"/>
                  </a:lnTo>
                  <a:lnTo>
                    <a:pt x="256" y="1719"/>
                  </a:lnTo>
                  <a:cubicBezTo>
                    <a:pt x="253" y="1726"/>
                    <a:pt x="249" y="1726"/>
                    <a:pt x="242" y="1730"/>
                  </a:cubicBezTo>
                  <a:lnTo>
                    <a:pt x="239" y="1733"/>
                  </a:lnTo>
                  <a:cubicBezTo>
                    <a:pt x="235" y="1737"/>
                    <a:pt x="228" y="1737"/>
                    <a:pt x="225" y="1740"/>
                  </a:cubicBezTo>
                  <a:cubicBezTo>
                    <a:pt x="218" y="1740"/>
                    <a:pt x="214" y="1744"/>
                    <a:pt x="207" y="1744"/>
                  </a:cubicBezTo>
                  <a:cubicBezTo>
                    <a:pt x="158" y="1782"/>
                    <a:pt x="116" y="1824"/>
                    <a:pt x="81" y="1873"/>
                  </a:cubicBezTo>
                  <a:lnTo>
                    <a:pt x="85" y="1880"/>
                  </a:lnTo>
                  <a:lnTo>
                    <a:pt x="99" y="1894"/>
                  </a:lnTo>
                  <a:lnTo>
                    <a:pt x="134" y="1929"/>
                  </a:lnTo>
                  <a:lnTo>
                    <a:pt x="155" y="1950"/>
                  </a:lnTo>
                  <a:lnTo>
                    <a:pt x="186" y="1989"/>
                  </a:lnTo>
                  <a:lnTo>
                    <a:pt x="207" y="2010"/>
                  </a:lnTo>
                  <a:lnTo>
                    <a:pt x="239" y="2048"/>
                  </a:lnTo>
                  <a:lnTo>
                    <a:pt x="260" y="2073"/>
                  </a:lnTo>
                  <a:lnTo>
                    <a:pt x="295" y="2118"/>
                  </a:lnTo>
                  <a:lnTo>
                    <a:pt x="319" y="2146"/>
                  </a:lnTo>
                  <a:lnTo>
                    <a:pt x="365" y="2195"/>
                  </a:lnTo>
                  <a:lnTo>
                    <a:pt x="386" y="2223"/>
                  </a:lnTo>
                  <a:lnTo>
                    <a:pt x="414" y="2258"/>
                  </a:lnTo>
                  <a:lnTo>
                    <a:pt x="435" y="2283"/>
                  </a:lnTo>
                  <a:lnTo>
                    <a:pt x="452" y="2304"/>
                  </a:lnTo>
                  <a:cubicBezTo>
                    <a:pt x="459" y="2300"/>
                    <a:pt x="463" y="2300"/>
                    <a:pt x="470" y="2297"/>
                  </a:cubicBezTo>
                  <a:lnTo>
                    <a:pt x="480" y="2300"/>
                  </a:lnTo>
                  <a:lnTo>
                    <a:pt x="508" y="2307"/>
                  </a:lnTo>
                  <a:lnTo>
                    <a:pt x="529" y="2318"/>
                  </a:lnTo>
                  <a:lnTo>
                    <a:pt x="543" y="2321"/>
                  </a:lnTo>
                  <a:cubicBezTo>
                    <a:pt x="557" y="2328"/>
                    <a:pt x="575" y="2339"/>
                    <a:pt x="592" y="2346"/>
                  </a:cubicBezTo>
                  <a:lnTo>
                    <a:pt x="603" y="2353"/>
                  </a:lnTo>
                  <a:lnTo>
                    <a:pt x="652" y="2377"/>
                  </a:lnTo>
                  <a:lnTo>
                    <a:pt x="683" y="2395"/>
                  </a:lnTo>
                  <a:lnTo>
                    <a:pt x="704" y="2409"/>
                  </a:lnTo>
                  <a:cubicBezTo>
                    <a:pt x="802" y="2468"/>
                    <a:pt x="904" y="2538"/>
                    <a:pt x="960" y="2580"/>
                  </a:cubicBezTo>
                  <a:lnTo>
                    <a:pt x="1016" y="2566"/>
                  </a:lnTo>
                  <a:lnTo>
                    <a:pt x="1198" y="2531"/>
                  </a:lnTo>
                  <a:lnTo>
                    <a:pt x="1202" y="2531"/>
                  </a:lnTo>
                  <a:lnTo>
                    <a:pt x="1247" y="2524"/>
                  </a:lnTo>
                  <a:lnTo>
                    <a:pt x="1261" y="2524"/>
                  </a:lnTo>
                  <a:lnTo>
                    <a:pt x="1307" y="2514"/>
                  </a:lnTo>
                  <a:lnTo>
                    <a:pt x="1321" y="2510"/>
                  </a:lnTo>
                  <a:lnTo>
                    <a:pt x="1370" y="2503"/>
                  </a:lnTo>
                  <a:lnTo>
                    <a:pt x="1384" y="2500"/>
                  </a:lnTo>
                  <a:lnTo>
                    <a:pt x="1433" y="2489"/>
                  </a:lnTo>
                  <a:lnTo>
                    <a:pt x="1450" y="2486"/>
                  </a:lnTo>
                  <a:lnTo>
                    <a:pt x="1496" y="2479"/>
                  </a:lnTo>
                  <a:lnTo>
                    <a:pt x="1517" y="2475"/>
                  </a:lnTo>
                  <a:lnTo>
                    <a:pt x="1562" y="2468"/>
                  </a:lnTo>
                  <a:lnTo>
                    <a:pt x="1583" y="2461"/>
                  </a:lnTo>
                  <a:lnTo>
                    <a:pt x="1629" y="2454"/>
                  </a:lnTo>
                  <a:lnTo>
                    <a:pt x="1653" y="2451"/>
                  </a:lnTo>
                  <a:lnTo>
                    <a:pt x="1695" y="2444"/>
                  </a:lnTo>
                  <a:lnTo>
                    <a:pt x="1723" y="2440"/>
                  </a:lnTo>
                  <a:lnTo>
                    <a:pt x="1758" y="2433"/>
                  </a:lnTo>
                  <a:lnTo>
                    <a:pt x="1790" y="2430"/>
                  </a:lnTo>
                  <a:lnTo>
                    <a:pt x="1825" y="2423"/>
                  </a:lnTo>
                  <a:lnTo>
                    <a:pt x="1828" y="2423"/>
                  </a:lnTo>
                  <a:cubicBezTo>
                    <a:pt x="1835" y="2391"/>
                    <a:pt x="1835" y="2360"/>
                    <a:pt x="1835" y="2328"/>
                  </a:cubicBezTo>
                  <a:cubicBezTo>
                    <a:pt x="1835" y="2318"/>
                    <a:pt x="1835" y="2311"/>
                    <a:pt x="1835" y="2304"/>
                  </a:cubicBezTo>
                  <a:cubicBezTo>
                    <a:pt x="1835" y="2258"/>
                    <a:pt x="1849" y="2213"/>
                    <a:pt x="1874" y="2171"/>
                  </a:cubicBezTo>
                  <a:cubicBezTo>
                    <a:pt x="1884" y="2153"/>
                    <a:pt x="1895" y="2136"/>
                    <a:pt x="1909" y="2122"/>
                  </a:cubicBezTo>
                  <a:cubicBezTo>
                    <a:pt x="1944" y="2076"/>
                    <a:pt x="1993" y="2048"/>
                    <a:pt x="2049" y="2034"/>
                  </a:cubicBezTo>
                  <a:cubicBezTo>
                    <a:pt x="2003" y="1943"/>
                    <a:pt x="1944" y="1863"/>
                    <a:pt x="1870" y="1793"/>
                  </a:cubicBezTo>
                  <a:cubicBezTo>
                    <a:pt x="1793" y="1726"/>
                    <a:pt x="1755" y="1628"/>
                    <a:pt x="1762" y="1526"/>
                  </a:cubicBezTo>
                  <a:cubicBezTo>
                    <a:pt x="1765" y="1442"/>
                    <a:pt x="1807" y="1362"/>
                    <a:pt x="1877" y="1313"/>
                  </a:cubicBezTo>
                  <a:cubicBezTo>
                    <a:pt x="1884" y="1309"/>
                    <a:pt x="1891" y="1302"/>
                    <a:pt x="1895" y="1292"/>
                  </a:cubicBezTo>
                  <a:cubicBezTo>
                    <a:pt x="1898" y="1264"/>
                    <a:pt x="1895" y="1236"/>
                    <a:pt x="1884" y="1211"/>
                  </a:cubicBezTo>
                  <a:cubicBezTo>
                    <a:pt x="1870" y="1169"/>
                    <a:pt x="1863" y="1127"/>
                    <a:pt x="1860" y="1085"/>
                  </a:cubicBezTo>
                  <a:cubicBezTo>
                    <a:pt x="1814" y="1036"/>
                    <a:pt x="1527" y="994"/>
                    <a:pt x="1433" y="980"/>
                  </a:cubicBezTo>
                  <a:cubicBezTo>
                    <a:pt x="1387" y="977"/>
                    <a:pt x="1345" y="970"/>
                    <a:pt x="1300" y="959"/>
                  </a:cubicBezTo>
                  <a:cubicBezTo>
                    <a:pt x="1209" y="931"/>
                    <a:pt x="1223" y="823"/>
                    <a:pt x="1233" y="735"/>
                  </a:cubicBezTo>
                  <a:cubicBezTo>
                    <a:pt x="1237" y="697"/>
                    <a:pt x="1240" y="658"/>
                    <a:pt x="1237" y="623"/>
                  </a:cubicBezTo>
                  <a:cubicBezTo>
                    <a:pt x="1093" y="616"/>
                    <a:pt x="998" y="518"/>
                    <a:pt x="998" y="361"/>
                  </a:cubicBezTo>
                  <a:cubicBezTo>
                    <a:pt x="998" y="336"/>
                    <a:pt x="935" y="263"/>
                    <a:pt x="904" y="221"/>
                  </a:cubicBezTo>
                  <a:lnTo>
                    <a:pt x="883" y="200"/>
                  </a:lnTo>
                  <a:lnTo>
                    <a:pt x="876" y="193"/>
                  </a:lnTo>
                  <a:lnTo>
                    <a:pt x="865" y="175"/>
                  </a:lnTo>
                  <a:lnTo>
                    <a:pt x="858" y="168"/>
                  </a:lnTo>
                  <a:lnTo>
                    <a:pt x="844" y="151"/>
                  </a:lnTo>
                  <a:lnTo>
                    <a:pt x="841" y="147"/>
                  </a:lnTo>
                  <a:cubicBezTo>
                    <a:pt x="837" y="140"/>
                    <a:pt x="834" y="130"/>
                    <a:pt x="827" y="126"/>
                  </a:cubicBezTo>
                  <a:lnTo>
                    <a:pt x="823" y="119"/>
                  </a:lnTo>
                  <a:cubicBezTo>
                    <a:pt x="820" y="112"/>
                    <a:pt x="820" y="109"/>
                    <a:pt x="816" y="105"/>
                  </a:cubicBezTo>
                  <a:lnTo>
                    <a:pt x="813" y="98"/>
                  </a:lnTo>
                  <a:cubicBezTo>
                    <a:pt x="809" y="91"/>
                    <a:pt x="809" y="88"/>
                    <a:pt x="809" y="81"/>
                  </a:cubicBezTo>
                  <a:lnTo>
                    <a:pt x="809" y="77"/>
                  </a:lnTo>
                  <a:lnTo>
                    <a:pt x="788" y="77"/>
                  </a:lnTo>
                  <a:lnTo>
                    <a:pt x="774" y="74"/>
                  </a:lnTo>
                  <a:lnTo>
                    <a:pt x="753" y="70"/>
                  </a:lnTo>
                  <a:lnTo>
                    <a:pt x="732" y="70"/>
                  </a:lnTo>
                  <a:lnTo>
                    <a:pt x="718" y="67"/>
                  </a:lnTo>
                  <a:cubicBezTo>
                    <a:pt x="645" y="49"/>
                    <a:pt x="568" y="25"/>
                    <a:pt x="498"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061" name="Google Shape;7061;p104"/>
            <p:cNvSpPr/>
            <p:nvPr/>
          </p:nvSpPr>
          <p:spPr>
            <a:xfrm>
              <a:off x="2189889" y="1694393"/>
              <a:ext cx="109" cy="149"/>
            </a:xfrm>
            <a:custGeom>
              <a:avLst/>
              <a:gdLst/>
              <a:ahLst/>
              <a:cxnLst/>
              <a:rect l="l" t="t" r="r" b="b"/>
              <a:pathLst>
                <a:path w="8" h="11" extrusionOk="0">
                  <a:moveTo>
                    <a:pt x="8" y="0"/>
                  </a:moveTo>
                  <a:cubicBezTo>
                    <a:pt x="8" y="4"/>
                    <a:pt x="4" y="7"/>
                    <a:pt x="1" y="11"/>
                  </a:cubicBezTo>
                  <a:lnTo>
                    <a:pt x="4" y="7"/>
                  </a:lnTo>
                  <a:cubicBezTo>
                    <a:pt x="4" y="7"/>
                    <a:pt x="8" y="4"/>
                    <a:pt x="8"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062" name="Google Shape;7062;p104"/>
            <p:cNvSpPr/>
            <p:nvPr/>
          </p:nvSpPr>
          <p:spPr>
            <a:xfrm>
              <a:off x="2189373" y="1694773"/>
              <a:ext cx="244" cy="109"/>
            </a:xfrm>
            <a:custGeom>
              <a:avLst/>
              <a:gdLst/>
              <a:ahLst/>
              <a:cxnLst/>
              <a:rect l="l" t="t" r="r" b="b"/>
              <a:pathLst>
                <a:path w="18" h="8" extrusionOk="0">
                  <a:moveTo>
                    <a:pt x="0" y="7"/>
                  </a:moveTo>
                  <a:cubicBezTo>
                    <a:pt x="7" y="4"/>
                    <a:pt x="11" y="4"/>
                    <a:pt x="18" y="0"/>
                  </a:cubicBezTo>
                  <a:cubicBezTo>
                    <a:pt x="11" y="4"/>
                    <a:pt x="7" y="4"/>
                    <a:pt x="0" y="7"/>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063" name="Google Shape;7063;p104"/>
            <p:cNvSpPr/>
            <p:nvPr/>
          </p:nvSpPr>
          <p:spPr>
            <a:xfrm>
              <a:off x="2189658" y="1694583"/>
              <a:ext cx="204" cy="149"/>
            </a:xfrm>
            <a:custGeom>
              <a:avLst/>
              <a:gdLst/>
              <a:ahLst/>
              <a:cxnLst/>
              <a:rect l="l" t="t" r="r" b="b"/>
              <a:pathLst>
                <a:path w="15" h="11" extrusionOk="0">
                  <a:moveTo>
                    <a:pt x="0" y="11"/>
                  </a:moveTo>
                  <a:cubicBezTo>
                    <a:pt x="4" y="7"/>
                    <a:pt x="11" y="4"/>
                    <a:pt x="14" y="0"/>
                  </a:cubicBezTo>
                  <a:cubicBezTo>
                    <a:pt x="11" y="4"/>
                    <a:pt x="4" y="7"/>
                    <a:pt x="0" y="1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064" name="Google Shape;7064;p104"/>
            <p:cNvSpPr/>
            <p:nvPr/>
          </p:nvSpPr>
          <p:spPr>
            <a:xfrm>
              <a:off x="2190798" y="1683599"/>
              <a:ext cx="54" cy="434"/>
            </a:xfrm>
            <a:custGeom>
              <a:avLst/>
              <a:gdLst/>
              <a:ahLst/>
              <a:cxnLst/>
              <a:rect l="l" t="t" r="r" b="b"/>
              <a:pathLst>
                <a:path w="4" h="32" extrusionOk="0">
                  <a:moveTo>
                    <a:pt x="0" y="0"/>
                  </a:moveTo>
                  <a:cubicBezTo>
                    <a:pt x="0" y="8"/>
                    <a:pt x="2" y="16"/>
                    <a:pt x="3" y="24"/>
                  </a:cubicBezTo>
                  <a:lnTo>
                    <a:pt x="0" y="0"/>
                  </a:lnTo>
                  <a:close/>
                  <a:moveTo>
                    <a:pt x="3" y="24"/>
                  </a:moveTo>
                  <a:lnTo>
                    <a:pt x="3" y="24"/>
                  </a:lnTo>
                  <a:cubicBezTo>
                    <a:pt x="4" y="27"/>
                    <a:pt x="4" y="29"/>
                    <a:pt x="4" y="32"/>
                  </a:cubicBezTo>
                  <a:lnTo>
                    <a:pt x="4" y="28"/>
                  </a:lnTo>
                  <a:lnTo>
                    <a:pt x="3" y="24"/>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065" name="Google Shape;7065;p104"/>
            <p:cNvSpPr/>
            <p:nvPr/>
          </p:nvSpPr>
          <p:spPr>
            <a:xfrm>
              <a:off x="2190649" y="1692628"/>
              <a:ext cx="14" cy="14"/>
            </a:xfrm>
            <a:custGeom>
              <a:avLst/>
              <a:gdLst/>
              <a:ahLst/>
              <a:cxnLst/>
              <a:rect l="l" t="t" r="r" b="b"/>
              <a:pathLst>
                <a:path w="1" h="1" extrusionOk="0">
                  <a:moveTo>
                    <a:pt x="1" y="0"/>
                  </a:move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066" name="Google Shape;7066;p104"/>
            <p:cNvSpPr/>
            <p:nvPr/>
          </p:nvSpPr>
          <p:spPr>
            <a:xfrm>
              <a:off x="2190894" y="1684020"/>
              <a:ext cx="204" cy="1969"/>
            </a:xfrm>
            <a:custGeom>
              <a:avLst/>
              <a:gdLst/>
              <a:ahLst/>
              <a:cxnLst/>
              <a:rect l="l" t="t" r="r" b="b"/>
              <a:pathLst>
                <a:path w="15" h="145" extrusionOk="0">
                  <a:moveTo>
                    <a:pt x="0" y="1"/>
                  </a:moveTo>
                  <a:lnTo>
                    <a:pt x="0" y="1"/>
                  </a:lnTo>
                  <a:cubicBezTo>
                    <a:pt x="0" y="22"/>
                    <a:pt x="4" y="46"/>
                    <a:pt x="7" y="78"/>
                  </a:cubicBezTo>
                  <a:lnTo>
                    <a:pt x="7" y="81"/>
                  </a:lnTo>
                  <a:cubicBezTo>
                    <a:pt x="7" y="102"/>
                    <a:pt x="7" y="120"/>
                    <a:pt x="7" y="137"/>
                  </a:cubicBezTo>
                  <a:lnTo>
                    <a:pt x="14" y="144"/>
                  </a:lnTo>
                  <a:lnTo>
                    <a:pt x="0"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067" name="Google Shape;7067;p104"/>
            <p:cNvSpPr/>
            <p:nvPr/>
          </p:nvSpPr>
          <p:spPr>
            <a:xfrm>
              <a:off x="2190554" y="1682404"/>
              <a:ext cx="258" cy="1208"/>
            </a:xfrm>
            <a:custGeom>
              <a:avLst/>
              <a:gdLst/>
              <a:ahLst/>
              <a:cxnLst/>
              <a:rect l="l" t="t" r="r" b="b"/>
              <a:pathLst>
                <a:path w="19" h="89" extrusionOk="0">
                  <a:moveTo>
                    <a:pt x="1" y="1"/>
                  </a:moveTo>
                  <a:cubicBezTo>
                    <a:pt x="8" y="29"/>
                    <a:pt x="15" y="57"/>
                    <a:pt x="18" y="88"/>
                  </a:cubicBezTo>
                  <a:lnTo>
                    <a:pt x="18" y="88"/>
                  </a:lnTo>
                  <a:cubicBezTo>
                    <a:pt x="15" y="57"/>
                    <a:pt x="8" y="29"/>
                    <a:pt x="1" y="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068" name="Google Shape;7068;p104"/>
            <p:cNvSpPr/>
            <p:nvPr/>
          </p:nvSpPr>
          <p:spPr>
            <a:xfrm>
              <a:off x="2186331" y="1673334"/>
              <a:ext cx="14" cy="109"/>
            </a:xfrm>
            <a:custGeom>
              <a:avLst/>
              <a:gdLst/>
              <a:ahLst/>
              <a:cxnLst/>
              <a:rect l="l" t="t" r="r" b="b"/>
              <a:pathLst>
                <a:path w="1" h="8" extrusionOk="0">
                  <a:moveTo>
                    <a:pt x="0" y="0"/>
                  </a:moveTo>
                  <a:lnTo>
                    <a:pt x="0" y="7"/>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069" name="Google Shape;7069;p104"/>
            <p:cNvSpPr/>
            <p:nvPr/>
          </p:nvSpPr>
          <p:spPr>
            <a:xfrm>
              <a:off x="2187418" y="1676280"/>
              <a:ext cx="204" cy="109"/>
            </a:xfrm>
            <a:custGeom>
              <a:avLst/>
              <a:gdLst/>
              <a:ahLst/>
              <a:cxnLst/>
              <a:rect l="l" t="t" r="r" b="b"/>
              <a:pathLst>
                <a:path w="15" h="8" extrusionOk="0">
                  <a:moveTo>
                    <a:pt x="15" y="7"/>
                  </a:moveTo>
                  <a:cubicBezTo>
                    <a:pt x="8" y="4"/>
                    <a:pt x="4" y="4"/>
                    <a:pt x="1" y="0"/>
                  </a:cubicBezTo>
                  <a:cubicBezTo>
                    <a:pt x="4" y="4"/>
                    <a:pt x="8" y="4"/>
                    <a:pt x="15" y="7"/>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070" name="Google Shape;7070;p104"/>
            <p:cNvSpPr/>
            <p:nvPr/>
          </p:nvSpPr>
          <p:spPr>
            <a:xfrm>
              <a:off x="2186522" y="1674380"/>
              <a:ext cx="109" cy="394"/>
            </a:xfrm>
            <a:custGeom>
              <a:avLst/>
              <a:gdLst/>
              <a:ahLst/>
              <a:cxnLst/>
              <a:rect l="l" t="t" r="r" b="b"/>
              <a:pathLst>
                <a:path w="8" h="29" extrusionOk="0">
                  <a:moveTo>
                    <a:pt x="7" y="28"/>
                  </a:moveTo>
                  <a:cubicBezTo>
                    <a:pt x="7" y="18"/>
                    <a:pt x="4" y="11"/>
                    <a:pt x="0" y="0"/>
                  </a:cubicBezTo>
                  <a:cubicBezTo>
                    <a:pt x="4" y="11"/>
                    <a:pt x="7" y="18"/>
                    <a:pt x="7" y="28"/>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071" name="Google Shape;7071;p104"/>
            <p:cNvSpPr/>
            <p:nvPr/>
          </p:nvSpPr>
          <p:spPr>
            <a:xfrm>
              <a:off x="2187228" y="1676090"/>
              <a:ext cx="163" cy="109"/>
            </a:xfrm>
            <a:custGeom>
              <a:avLst/>
              <a:gdLst/>
              <a:ahLst/>
              <a:cxnLst/>
              <a:rect l="l" t="t" r="r" b="b"/>
              <a:pathLst>
                <a:path w="12" h="8" extrusionOk="0">
                  <a:moveTo>
                    <a:pt x="11" y="7"/>
                  </a:moveTo>
                  <a:cubicBezTo>
                    <a:pt x="8" y="7"/>
                    <a:pt x="4" y="4"/>
                    <a:pt x="1" y="0"/>
                  </a:cubicBezTo>
                  <a:cubicBezTo>
                    <a:pt x="4" y="4"/>
                    <a:pt x="8" y="7"/>
                    <a:pt x="11" y="7"/>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072" name="Google Shape;7072;p104"/>
            <p:cNvSpPr/>
            <p:nvPr/>
          </p:nvSpPr>
          <p:spPr>
            <a:xfrm>
              <a:off x="2187037" y="1675805"/>
              <a:ext cx="163" cy="204"/>
            </a:xfrm>
            <a:custGeom>
              <a:avLst/>
              <a:gdLst/>
              <a:ahLst/>
              <a:cxnLst/>
              <a:rect l="l" t="t" r="r" b="b"/>
              <a:pathLst>
                <a:path w="12" h="15" extrusionOk="0">
                  <a:moveTo>
                    <a:pt x="11" y="14"/>
                  </a:moveTo>
                  <a:cubicBezTo>
                    <a:pt x="8" y="11"/>
                    <a:pt x="4" y="4"/>
                    <a:pt x="1" y="0"/>
                  </a:cubicBezTo>
                  <a:cubicBezTo>
                    <a:pt x="4" y="4"/>
                    <a:pt x="8" y="11"/>
                    <a:pt x="11" y="14"/>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073" name="Google Shape;7073;p104"/>
            <p:cNvSpPr/>
            <p:nvPr/>
          </p:nvSpPr>
          <p:spPr>
            <a:xfrm>
              <a:off x="2186372" y="1673714"/>
              <a:ext cx="109" cy="434"/>
            </a:xfrm>
            <a:custGeom>
              <a:avLst/>
              <a:gdLst/>
              <a:ahLst/>
              <a:cxnLst/>
              <a:rect l="l" t="t" r="r" b="b"/>
              <a:pathLst>
                <a:path w="8" h="32" extrusionOk="0">
                  <a:moveTo>
                    <a:pt x="8" y="32"/>
                  </a:moveTo>
                  <a:cubicBezTo>
                    <a:pt x="8" y="21"/>
                    <a:pt x="4" y="11"/>
                    <a:pt x="1" y="0"/>
                  </a:cubicBezTo>
                  <a:cubicBezTo>
                    <a:pt x="4" y="11"/>
                    <a:pt x="8" y="21"/>
                    <a:pt x="8" y="32"/>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074" name="Google Shape;7074;p104"/>
            <p:cNvSpPr/>
            <p:nvPr/>
          </p:nvSpPr>
          <p:spPr>
            <a:xfrm>
              <a:off x="2186902" y="1675425"/>
              <a:ext cx="109" cy="244"/>
            </a:xfrm>
            <a:custGeom>
              <a:avLst/>
              <a:gdLst/>
              <a:ahLst/>
              <a:cxnLst/>
              <a:rect l="l" t="t" r="r" b="b"/>
              <a:pathLst>
                <a:path w="8" h="18" extrusionOk="0">
                  <a:moveTo>
                    <a:pt x="7" y="18"/>
                  </a:moveTo>
                  <a:cubicBezTo>
                    <a:pt x="4" y="14"/>
                    <a:pt x="0" y="7"/>
                    <a:pt x="0" y="0"/>
                  </a:cubicBezTo>
                  <a:cubicBezTo>
                    <a:pt x="0" y="7"/>
                    <a:pt x="4" y="14"/>
                    <a:pt x="7" y="18"/>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075" name="Google Shape;7075;p104"/>
            <p:cNvSpPr/>
            <p:nvPr/>
          </p:nvSpPr>
          <p:spPr>
            <a:xfrm>
              <a:off x="2186712" y="1674950"/>
              <a:ext cx="109" cy="299"/>
            </a:xfrm>
            <a:custGeom>
              <a:avLst/>
              <a:gdLst/>
              <a:ahLst/>
              <a:cxnLst/>
              <a:rect l="l" t="t" r="r" b="b"/>
              <a:pathLst>
                <a:path w="8" h="22" extrusionOk="0">
                  <a:moveTo>
                    <a:pt x="0" y="0"/>
                  </a:moveTo>
                  <a:cubicBezTo>
                    <a:pt x="0" y="11"/>
                    <a:pt x="4" y="18"/>
                    <a:pt x="7" y="21"/>
                  </a:cubicBezTo>
                  <a:cubicBezTo>
                    <a:pt x="4" y="18"/>
                    <a:pt x="4" y="11"/>
                    <a:pt x="0"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076" name="Google Shape;7076;p104"/>
            <p:cNvSpPr/>
            <p:nvPr/>
          </p:nvSpPr>
          <p:spPr>
            <a:xfrm>
              <a:off x="2190989" y="1685119"/>
              <a:ext cx="14" cy="14"/>
            </a:xfrm>
            <a:custGeom>
              <a:avLst/>
              <a:gdLst/>
              <a:ahLst/>
              <a:cxnLst/>
              <a:rect l="l" t="t" r="r" b="b"/>
              <a:pathLst>
                <a:path w="1" h="1" extrusionOk="0">
                  <a:moveTo>
                    <a:pt x="0" y="0"/>
                  </a:move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077" name="Google Shape;7077;p104"/>
            <p:cNvSpPr/>
            <p:nvPr/>
          </p:nvSpPr>
          <p:spPr>
            <a:xfrm>
              <a:off x="2190839" y="1683599"/>
              <a:ext cx="163" cy="1480"/>
            </a:xfrm>
            <a:custGeom>
              <a:avLst/>
              <a:gdLst/>
              <a:ahLst/>
              <a:cxnLst/>
              <a:rect l="l" t="t" r="r" b="b"/>
              <a:pathLst>
                <a:path w="12" h="109" extrusionOk="0">
                  <a:moveTo>
                    <a:pt x="1" y="0"/>
                  </a:moveTo>
                  <a:cubicBezTo>
                    <a:pt x="1" y="11"/>
                    <a:pt x="1" y="18"/>
                    <a:pt x="4" y="31"/>
                  </a:cubicBezTo>
                  <a:lnTo>
                    <a:pt x="4" y="31"/>
                  </a:lnTo>
                  <a:cubicBezTo>
                    <a:pt x="3" y="20"/>
                    <a:pt x="2" y="10"/>
                    <a:pt x="1" y="0"/>
                  </a:cubicBezTo>
                  <a:close/>
                  <a:moveTo>
                    <a:pt x="4" y="31"/>
                  </a:moveTo>
                  <a:cubicBezTo>
                    <a:pt x="7" y="54"/>
                    <a:pt x="9" y="80"/>
                    <a:pt x="11" y="109"/>
                  </a:cubicBezTo>
                  <a:cubicBezTo>
                    <a:pt x="11" y="77"/>
                    <a:pt x="8" y="53"/>
                    <a:pt x="4" y="32"/>
                  </a:cubicBezTo>
                  <a:cubicBezTo>
                    <a:pt x="4" y="32"/>
                    <a:pt x="4" y="31"/>
                    <a:pt x="4" y="3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078" name="Google Shape;7078;p104"/>
            <p:cNvSpPr/>
            <p:nvPr/>
          </p:nvSpPr>
          <p:spPr>
            <a:xfrm>
              <a:off x="2193745" y="1702892"/>
              <a:ext cx="679" cy="299"/>
            </a:xfrm>
            <a:custGeom>
              <a:avLst/>
              <a:gdLst/>
              <a:ahLst/>
              <a:cxnLst/>
              <a:rect l="l" t="t" r="r" b="b"/>
              <a:pathLst>
                <a:path w="50" h="22" extrusionOk="0">
                  <a:moveTo>
                    <a:pt x="49" y="22"/>
                  </a:moveTo>
                  <a:cubicBezTo>
                    <a:pt x="32" y="15"/>
                    <a:pt x="14" y="4"/>
                    <a:pt x="0" y="1"/>
                  </a:cubicBezTo>
                  <a:cubicBezTo>
                    <a:pt x="14" y="4"/>
                    <a:pt x="32" y="15"/>
                    <a:pt x="49" y="22"/>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079" name="Google Shape;7079;p104"/>
            <p:cNvSpPr/>
            <p:nvPr/>
          </p:nvSpPr>
          <p:spPr>
            <a:xfrm>
              <a:off x="2192740" y="1702512"/>
              <a:ext cx="163" cy="68"/>
            </a:xfrm>
            <a:custGeom>
              <a:avLst/>
              <a:gdLst/>
              <a:ahLst/>
              <a:cxnLst/>
              <a:rect l="l" t="t" r="r" b="b"/>
              <a:pathLst>
                <a:path w="12" h="5" extrusionOk="0">
                  <a:moveTo>
                    <a:pt x="11" y="4"/>
                  </a:moveTo>
                  <a:lnTo>
                    <a:pt x="1"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080" name="Google Shape;7080;p104"/>
            <p:cNvSpPr/>
            <p:nvPr/>
          </p:nvSpPr>
          <p:spPr>
            <a:xfrm>
              <a:off x="2194546" y="1703272"/>
              <a:ext cx="679" cy="353"/>
            </a:xfrm>
            <a:custGeom>
              <a:avLst/>
              <a:gdLst/>
              <a:ahLst/>
              <a:cxnLst/>
              <a:rect l="l" t="t" r="r" b="b"/>
              <a:pathLst>
                <a:path w="50" h="26" extrusionOk="0">
                  <a:moveTo>
                    <a:pt x="50" y="25"/>
                  </a:moveTo>
                  <a:lnTo>
                    <a:pt x="1"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081" name="Google Shape;7081;p104"/>
            <p:cNvSpPr/>
            <p:nvPr/>
          </p:nvSpPr>
          <p:spPr>
            <a:xfrm>
              <a:off x="2193270" y="1702661"/>
              <a:ext cx="299" cy="149"/>
            </a:xfrm>
            <a:custGeom>
              <a:avLst/>
              <a:gdLst/>
              <a:ahLst/>
              <a:cxnLst/>
              <a:rect l="l" t="t" r="r" b="b"/>
              <a:pathLst>
                <a:path w="22" h="11" extrusionOk="0">
                  <a:moveTo>
                    <a:pt x="21" y="11"/>
                  </a:moveTo>
                  <a:lnTo>
                    <a:pt x="0"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082" name="Google Shape;7082;p104"/>
            <p:cNvSpPr/>
            <p:nvPr/>
          </p:nvSpPr>
          <p:spPr>
            <a:xfrm>
              <a:off x="2195646" y="1703843"/>
              <a:ext cx="299" cy="204"/>
            </a:xfrm>
            <a:custGeom>
              <a:avLst/>
              <a:gdLst/>
              <a:ahLst/>
              <a:cxnLst/>
              <a:rect l="l" t="t" r="r" b="b"/>
              <a:pathLst>
                <a:path w="22" h="15" extrusionOk="0">
                  <a:moveTo>
                    <a:pt x="21" y="15"/>
                  </a:moveTo>
                  <a:lnTo>
                    <a:pt x="0"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083" name="Google Shape;7083;p104"/>
            <p:cNvSpPr/>
            <p:nvPr/>
          </p:nvSpPr>
          <p:spPr>
            <a:xfrm>
              <a:off x="2196067" y="1672098"/>
              <a:ext cx="204" cy="54"/>
            </a:xfrm>
            <a:custGeom>
              <a:avLst/>
              <a:gdLst/>
              <a:ahLst/>
              <a:cxnLst/>
              <a:rect l="l" t="t" r="r" b="b"/>
              <a:pathLst>
                <a:path w="15" h="4" extrusionOk="0">
                  <a:moveTo>
                    <a:pt x="15" y="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084" name="Google Shape;7084;p104"/>
            <p:cNvSpPr/>
            <p:nvPr/>
          </p:nvSpPr>
          <p:spPr>
            <a:xfrm>
              <a:off x="2197017" y="1672289"/>
              <a:ext cx="163" cy="14"/>
            </a:xfrm>
            <a:custGeom>
              <a:avLst/>
              <a:gdLst/>
              <a:ahLst/>
              <a:cxnLst/>
              <a:rect l="l" t="t" r="r" b="b"/>
              <a:pathLst>
                <a:path w="12" h="1" extrusionOk="0">
                  <a:moveTo>
                    <a:pt x="11" y="0"/>
                  </a:moveTo>
                  <a:lnTo>
                    <a:pt x="1"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085" name="Google Shape;7085;p104"/>
            <p:cNvSpPr/>
            <p:nvPr/>
          </p:nvSpPr>
          <p:spPr>
            <a:xfrm>
              <a:off x="2196596" y="1672194"/>
              <a:ext cx="244" cy="54"/>
            </a:xfrm>
            <a:custGeom>
              <a:avLst/>
              <a:gdLst/>
              <a:ahLst/>
              <a:cxnLst/>
              <a:rect l="l" t="t" r="r" b="b"/>
              <a:pathLst>
                <a:path w="18" h="4" extrusionOk="0">
                  <a:moveTo>
                    <a:pt x="18" y="4"/>
                  </a:moveTo>
                  <a:lnTo>
                    <a:pt x="0"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086" name="Google Shape;7086;p104"/>
            <p:cNvSpPr/>
            <p:nvPr/>
          </p:nvSpPr>
          <p:spPr>
            <a:xfrm>
              <a:off x="2186331" y="1671189"/>
              <a:ext cx="6762" cy="2159"/>
            </a:xfrm>
            <a:custGeom>
              <a:avLst/>
              <a:gdLst/>
              <a:ahLst/>
              <a:cxnLst/>
              <a:rect l="l" t="t" r="r" b="b"/>
              <a:pathLst>
                <a:path w="498" h="159" extrusionOk="0">
                  <a:moveTo>
                    <a:pt x="497" y="1"/>
                  </a:moveTo>
                  <a:cubicBezTo>
                    <a:pt x="424" y="25"/>
                    <a:pt x="189" y="99"/>
                    <a:pt x="0" y="158"/>
                  </a:cubicBezTo>
                  <a:cubicBezTo>
                    <a:pt x="193" y="102"/>
                    <a:pt x="424" y="25"/>
                    <a:pt x="497" y="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087" name="Google Shape;7087;p104"/>
            <p:cNvSpPr/>
            <p:nvPr/>
          </p:nvSpPr>
          <p:spPr>
            <a:xfrm>
              <a:off x="2196311" y="1672139"/>
              <a:ext cx="204" cy="68"/>
            </a:xfrm>
            <a:custGeom>
              <a:avLst/>
              <a:gdLst/>
              <a:ahLst/>
              <a:cxnLst/>
              <a:rect l="l" t="t" r="r" b="b"/>
              <a:pathLst>
                <a:path w="15" h="5" extrusionOk="0">
                  <a:moveTo>
                    <a:pt x="14" y="4"/>
                  </a:moveTo>
                  <a:lnTo>
                    <a:pt x="0"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088" name="Google Shape;7088;p104"/>
            <p:cNvSpPr/>
            <p:nvPr/>
          </p:nvSpPr>
          <p:spPr>
            <a:xfrm>
              <a:off x="2197397" y="1672614"/>
              <a:ext cx="68" cy="109"/>
            </a:xfrm>
            <a:custGeom>
              <a:avLst/>
              <a:gdLst/>
              <a:ahLst/>
              <a:cxnLst/>
              <a:rect l="l" t="t" r="r" b="b"/>
              <a:pathLst>
                <a:path w="5" h="8" extrusionOk="0">
                  <a:moveTo>
                    <a:pt x="4" y="8"/>
                  </a:moveTo>
                  <a:lnTo>
                    <a:pt x="1"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089" name="Google Shape;7089;p104"/>
            <p:cNvSpPr/>
            <p:nvPr/>
          </p:nvSpPr>
          <p:spPr>
            <a:xfrm>
              <a:off x="2197546" y="1672900"/>
              <a:ext cx="54" cy="109"/>
            </a:xfrm>
            <a:custGeom>
              <a:avLst/>
              <a:gdLst/>
              <a:ahLst/>
              <a:cxnLst/>
              <a:rect l="l" t="t" r="r" b="b"/>
              <a:pathLst>
                <a:path w="4" h="8" extrusionOk="0">
                  <a:moveTo>
                    <a:pt x="4" y="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090" name="Google Shape;7090;p104"/>
            <p:cNvSpPr/>
            <p:nvPr/>
          </p:nvSpPr>
          <p:spPr>
            <a:xfrm>
              <a:off x="2197302" y="1672329"/>
              <a:ext cx="14" cy="68"/>
            </a:xfrm>
            <a:custGeom>
              <a:avLst/>
              <a:gdLst/>
              <a:ahLst/>
              <a:cxnLst/>
              <a:rect l="l" t="t" r="r" b="b"/>
              <a:pathLst>
                <a:path w="1" h="5" extrusionOk="0">
                  <a:moveTo>
                    <a:pt x="1" y="4"/>
                  </a:moveTo>
                  <a:lnTo>
                    <a:pt x="1"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091" name="Google Shape;7091;p104"/>
            <p:cNvSpPr/>
            <p:nvPr/>
          </p:nvSpPr>
          <p:spPr>
            <a:xfrm>
              <a:off x="2211572" y="1686029"/>
              <a:ext cx="584" cy="2811"/>
            </a:xfrm>
            <a:custGeom>
              <a:avLst/>
              <a:gdLst/>
              <a:ahLst/>
              <a:cxnLst/>
              <a:rect l="l" t="t" r="r" b="b"/>
              <a:pathLst>
                <a:path w="43" h="207" extrusionOk="0">
                  <a:moveTo>
                    <a:pt x="0" y="0"/>
                  </a:moveTo>
                  <a:cubicBezTo>
                    <a:pt x="1" y="13"/>
                    <a:pt x="3" y="25"/>
                    <a:pt x="4" y="38"/>
                  </a:cubicBezTo>
                  <a:lnTo>
                    <a:pt x="4" y="38"/>
                  </a:lnTo>
                  <a:cubicBezTo>
                    <a:pt x="3" y="25"/>
                    <a:pt x="1" y="13"/>
                    <a:pt x="0" y="0"/>
                  </a:cubicBezTo>
                  <a:close/>
                  <a:moveTo>
                    <a:pt x="4" y="38"/>
                  </a:moveTo>
                  <a:lnTo>
                    <a:pt x="4" y="38"/>
                  </a:lnTo>
                  <a:cubicBezTo>
                    <a:pt x="9" y="67"/>
                    <a:pt x="15" y="97"/>
                    <a:pt x="25" y="126"/>
                  </a:cubicBezTo>
                  <a:cubicBezTo>
                    <a:pt x="35" y="150"/>
                    <a:pt x="42" y="178"/>
                    <a:pt x="39" y="206"/>
                  </a:cubicBezTo>
                  <a:lnTo>
                    <a:pt x="42" y="203"/>
                  </a:lnTo>
                  <a:cubicBezTo>
                    <a:pt x="42" y="175"/>
                    <a:pt x="35" y="150"/>
                    <a:pt x="28" y="126"/>
                  </a:cubicBezTo>
                  <a:cubicBezTo>
                    <a:pt x="16" y="99"/>
                    <a:pt x="9" y="68"/>
                    <a:pt x="4" y="38"/>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092" name="Google Shape;7092;p104"/>
            <p:cNvSpPr/>
            <p:nvPr/>
          </p:nvSpPr>
          <p:spPr>
            <a:xfrm>
              <a:off x="2198253" y="1673904"/>
              <a:ext cx="109" cy="109"/>
            </a:xfrm>
            <a:custGeom>
              <a:avLst/>
              <a:gdLst/>
              <a:ahLst/>
              <a:cxnLst/>
              <a:rect l="l" t="t" r="r" b="b"/>
              <a:pathLst>
                <a:path w="8" h="8" extrusionOk="0">
                  <a:moveTo>
                    <a:pt x="8" y="7"/>
                  </a:moveTo>
                  <a:lnTo>
                    <a:pt x="1"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093" name="Google Shape;7093;p104"/>
            <p:cNvSpPr/>
            <p:nvPr/>
          </p:nvSpPr>
          <p:spPr>
            <a:xfrm>
              <a:off x="2198022" y="1673565"/>
              <a:ext cx="54" cy="109"/>
            </a:xfrm>
            <a:custGeom>
              <a:avLst/>
              <a:gdLst/>
              <a:ahLst/>
              <a:cxnLst/>
              <a:rect l="l" t="t" r="r" b="b"/>
              <a:pathLst>
                <a:path w="4" h="8" extrusionOk="0">
                  <a:moveTo>
                    <a:pt x="4" y="8"/>
                  </a:moveTo>
                  <a:lnTo>
                    <a:pt x="0"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094" name="Google Shape;7094;p104"/>
            <p:cNvSpPr/>
            <p:nvPr/>
          </p:nvSpPr>
          <p:spPr>
            <a:xfrm>
              <a:off x="2197777" y="1673280"/>
              <a:ext cx="14" cy="68"/>
            </a:xfrm>
            <a:custGeom>
              <a:avLst/>
              <a:gdLst/>
              <a:ahLst/>
              <a:cxnLst/>
              <a:rect l="l" t="t" r="r" b="b"/>
              <a:pathLst>
                <a:path w="1" h="5" extrusionOk="0">
                  <a:moveTo>
                    <a:pt x="1" y="4"/>
                  </a:moveTo>
                  <a:lnTo>
                    <a:pt x="1"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095" name="Google Shape;7095;p104"/>
            <p:cNvSpPr/>
            <p:nvPr/>
          </p:nvSpPr>
          <p:spPr>
            <a:xfrm>
              <a:off x="2211803" y="1688826"/>
              <a:ext cx="258" cy="299"/>
            </a:xfrm>
            <a:custGeom>
              <a:avLst/>
              <a:gdLst/>
              <a:ahLst/>
              <a:cxnLst/>
              <a:rect l="l" t="t" r="r" b="b"/>
              <a:pathLst>
                <a:path w="19" h="22" extrusionOk="0">
                  <a:moveTo>
                    <a:pt x="18" y="0"/>
                  </a:moveTo>
                  <a:cubicBezTo>
                    <a:pt x="15" y="11"/>
                    <a:pt x="8" y="18"/>
                    <a:pt x="1" y="21"/>
                  </a:cubicBezTo>
                  <a:cubicBezTo>
                    <a:pt x="8" y="18"/>
                    <a:pt x="15" y="14"/>
                    <a:pt x="18" y="7"/>
                  </a:cubicBezTo>
                  <a:lnTo>
                    <a:pt x="18"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096" name="Google Shape;7096;p104"/>
            <p:cNvSpPr/>
            <p:nvPr/>
          </p:nvSpPr>
          <p:spPr>
            <a:xfrm>
              <a:off x="2211762" y="1700095"/>
              <a:ext cx="489" cy="679"/>
            </a:xfrm>
            <a:custGeom>
              <a:avLst/>
              <a:gdLst/>
              <a:ahLst/>
              <a:cxnLst/>
              <a:rect l="l" t="t" r="r" b="b"/>
              <a:pathLst>
                <a:path w="36" h="50" extrusionOk="0">
                  <a:moveTo>
                    <a:pt x="0" y="49"/>
                  </a:moveTo>
                  <a:cubicBezTo>
                    <a:pt x="11" y="32"/>
                    <a:pt x="21" y="14"/>
                    <a:pt x="35" y="0"/>
                  </a:cubicBezTo>
                  <a:cubicBezTo>
                    <a:pt x="21" y="14"/>
                    <a:pt x="11" y="32"/>
                    <a:pt x="0" y="49"/>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097" name="Google Shape;7097;p104"/>
            <p:cNvSpPr/>
            <p:nvPr/>
          </p:nvSpPr>
          <p:spPr>
            <a:xfrm>
              <a:off x="2211233" y="1700761"/>
              <a:ext cx="543" cy="1819"/>
            </a:xfrm>
            <a:custGeom>
              <a:avLst/>
              <a:gdLst/>
              <a:ahLst/>
              <a:cxnLst/>
              <a:rect l="l" t="t" r="r" b="b"/>
              <a:pathLst>
                <a:path w="40" h="134" extrusionOk="0">
                  <a:moveTo>
                    <a:pt x="1" y="133"/>
                  </a:moveTo>
                  <a:cubicBezTo>
                    <a:pt x="1" y="84"/>
                    <a:pt x="15" y="39"/>
                    <a:pt x="39" y="0"/>
                  </a:cubicBezTo>
                  <a:cubicBezTo>
                    <a:pt x="15" y="39"/>
                    <a:pt x="1" y="84"/>
                    <a:pt x="1" y="133"/>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098" name="Google Shape;7098;p104"/>
            <p:cNvSpPr/>
            <p:nvPr/>
          </p:nvSpPr>
          <p:spPr>
            <a:xfrm>
              <a:off x="2211192" y="1702852"/>
              <a:ext cx="109" cy="1344"/>
            </a:xfrm>
            <a:custGeom>
              <a:avLst/>
              <a:gdLst/>
              <a:ahLst/>
              <a:cxnLst/>
              <a:rect l="l" t="t" r="r" b="b"/>
              <a:pathLst>
                <a:path w="8" h="99" extrusionOk="0">
                  <a:moveTo>
                    <a:pt x="7" y="0"/>
                  </a:moveTo>
                  <a:cubicBezTo>
                    <a:pt x="7" y="32"/>
                    <a:pt x="7" y="63"/>
                    <a:pt x="0" y="98"/>
                  </a:cubicBezTo>
                  <a:lnTo>
                    <a:pt x="0" y="98"/>
                  </a:lnTo>
                  <a:cubicBezTo>
                    <a:pt x="7" y="63"/>
                    <a:pt x="7" y="32"/>
                    <a:pt x="7"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099" name="Google Shape;7099;p104"/>
            <p:cNvSpPr/>
            <p:nvPr/>
          </p:nvSpPr>
          <p:spPr>
            <a:xfrm>
              <a:off x="2212047" y="1688772"/>
              <a:ext cx="109" cy="163"/>
            </a:xfrm>
            <a:custGeom>
              <a:avLst/>
              <a:gdLst/>
              <a:ahLst/>
              <a:cxnLst/>
              <a:rect l="l" t="t" r="r" b="b"/>
              <a:pathLst>
                <a:path w="8" h="12" extrusionOk="0">
                  <a:moveTo>
                    <a:pt x="7" y="1"/>
                  </a:moveTo>
                  <a:lnTo>
                    <a:pt x="4" y="4"/>
                  </a:lnTo>
                  <a:lnTo>
                    <a:pt x="0" y="11"/>
                  </a:lnTo>
                  <a:cubicBezTo>
                    <a:pt x="4" y="8"/>
                    <a:pt x="4" y="4"/>
                    <a:pt x="7" y="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100" name="Google Shape;7100;p104"/>
            <p:cNvSpPr/>
            <p:nvPr/>
          </p:nvSpPr>
          <p:spPr>
            <a:xfrm>
              <a:off x="2200208" y="1705703"/>
              <a:ext cx="2444" cy="489"/>
            </a:xfrm>
            <a:custGeom>
              <a:avLst/>
              <a:gdLst/>
              <a:ahLst/>
              <a:cxnLst/>
              <a:rect l="l" t="t" r="r" b="b"/>
              <a:pathLst>
                <a:path w="180" h="36" extrusionOk="0">
                  <a:moveTo>
                    <a:pt x="179" y="0"/>
                  </a:moveTo>
                  <a:lnTo>
                    <a:pt x="0" y="35"/>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101" name="Google Shape;7101;p104"/>
            <p:cNvSpPr/>
            <p:nvPr/>
          </p:nvSpPr>
          <p:spPr>
            <a:xfrm>
              <a:off x="2207906" y="1704657"/>
              <a:ext cx="584" cy="109"/>
            </a:xfrm>
            <a:custGeom>
              <a:avLst/>
              <a:gdLst/>
              <a:ahLst/>
              <a:cxnLst/>
              <a:rect l="l" t="t" r="r" b="b"/>
              <a:pathLst>
                <a:path w="43" h="8" extrusionOk="0">
                  <a:moveTo>
                    <a:pt x="43"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102" name="Google Shape;7102;p104"/>
            <p:cNvSpPr/>
            <p:nvPr/>
          </p:nvSpPr>
          <p:spPr>
            <a:xfrm>
              <a:off x="2208857" y="1704467"/>
              <a:ext cx="543" cy="109"/>
            </a:xfrm>
            <a:custGeom>
              <a:avLst/>
              <a:gdLst/>
              <a:ahLst/>
              <a:cxnLst/>
              <a:rect l="l" t="t" r="r" b="b"/>
              <a:pathLst>
                <a:path w="40" h="8" extrusionOk="0">
                  <a:moveTo>
                    <a:pt x="39"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103" name="Google Shape;7103;p104"/>
            <p:cNvSpPr/>
            <p:nvPr/>
          </p:nvSpPr>
          <p:spPr>
            <a:xfrm>
              <a:off x="2206100" y="1704942"/>
              <a:ext cx="584" cy="109"/>
            </a:xfrm>
            <a:custGeom>
              <a:avLst/>
              <a:gdLst/>
              <a:ahLst/>
              <a:cxnLst/>
              <a:rect l="l" t="t" r="r" b="b"/>
              <a:pathLst>
                <a:path w="43" h="8" extrusionOk="0">
                  <a:moveTo>
                    <a:pt x="43"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104" name="Google Shape;7104;p104"/>
            <p:cNvSpPr/>
            <p:nvPr/>
          </p:nvSpPr>
          <p:spPr>
            <a:xfrm>
              <a:off x="2209766" y="1704318"/>
              <a:ext cx="489" cy="109"/>
            </a:xfrm>
            <a:custGeom>
              <a:avLst/>
              <a:gdLst/>
              <a:ahLst/>
              <a:cxnLst/>
              <a:rect l="l" t="t" r="r" b="b"/>
              <a:pathLst>
                <a:path w="36" h="8" extrusionOk="0">
                  <a:moveTo>
                    <a:pt x="35" y="1"/>
                  </a:moveTo>
                  <a:lnTo>
                    <a:pt x="0" y="8"/>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105" name="Google Shape;7105;p104"/>
            <p:cNvSpPr/>
            <p:nvPr/>
          </p:nvSpPr>
          <p:spPr>
            <a:xfrm>
              <a:off x="2203493" y="1705418"/>
              <a:ext cx="625" cy="149"/>
            </a:xfrm>
            <a:custGeom>
              <a:avLst/>
              <a:gdLst/>
              <a:ahLst/>
              <a:cxnLst/>
              <a:rect l="l" t="t" r="r" b="b"/>
              <a:pathLst>
                <a:path w="46" h="11" extrusionOk="0">
                  <a:moveTo>
                    <a:pt x="46" y="0"/>
                  </a:moveTo>
                  <a:lnTo>
                    <a:pt x="0" y="1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106" name="Google Shape;7106;p104"/>
            <p:cNvSpPr/>
            <p:nvPr/>
          </p:nvSpPr>
          <p:spPr>
            <a:xfrm>
              <a:off x="2210662" y="1704182"/>
              <a:ext cx="489" cy="109"/>
            </a:xfrm>
            <a:custGeom>
              <a:avLst/>
              <a:gdLst/>
              <a:ahLst/>
              <a:cxnLst/>
              <a:rect l="l" t="t" r="r" b="b"/>
              <a:pathLst>
                <a:path w="36" h="8" extrusionOk="0">
                  <a:moveTo>
                    <a:pt x="36" y="0"/>
                  </a:moveTo>
                  <a:lnTo>
                    <a:pt x="1" y="7"/>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107" name="Google Shape;7107;p104"/>
            <p:cNvSpPr/>
            <p:nvPr/>
          </p:nvSpPr>
          <p:spPr>
            <a:xfrm>
              <a:off x="2205150" y="1705078"/>
              <a:ext cx="679" cy="163"/>
            </a:xfrm>
            <a:custGeom>
              <a:avLst/>
              <a:gdLst/>
              <a:ahLst/>
              <a:cxnLst/>
              <a:rect l="l" t="t" r="r" b="b"/>
              <a:pathLst>
                <a:path w="50" h="12" extrusionOk="0">
                  <a:moveTo>
                    <a:pt x="50" y="1"/>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108" name="Google Shape;7108;p104"/>
            <p:cNvSpPr/>
            <p:nvPr/>
          </p:nvSpPr>
          <p:spPr>
            <a:xfrm>
              <a:off x="2202679" y="1705553"/>
              <a:ext cx="679" cy="163"/>
            </a:xfrm>
            <a:custGeom>
              <a:avLst/>
              <a:gdLst/>
              <a:ahLst/>
              <a:cxnLst/>
              <a:rect l="l" t="t" r="r" b="b"/>
              <a:pathLst>
                <a:path w="50" h="12" extrusionOk="0">
                  <a:moveTo>
                    <a:pt x="50" y="1"/>
                  </a:moveTo>
                  <a:lnTo>
                    <a:pt x="1" y="1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109" name="Google Shape;7109;p104"/>
            <p:cNvSpPr/>
            <p:nvPr/>
          </p:nvSpPr>
          <p:spPr>
            <a:xfrm>
              <a:off x="2204295" y="1705268"/>
              <a:ext cx="679" cy="109"/>
            </a:xfrm>
            <a:custGeom>
              <a:avLst/>
              <a:gdLst/>
              <a:ahLst/>
              <a:cxnLst/>
              <a:rect l="l" t="t" r="r" b="b"/>
              <a:pathLst>
                <a:path w="50" h="8" extrusionOk="0">
                  <a:moveTo>
                    <a:pt x="50" y="1"/>
                  </a:moveTo>
                  <a:lnTo>
                    <a:pt x="1" y="8"/>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110" name="Google Shape;7110;p104"/>
            <p:cNvSpPr/>
            <p:nvPr/>
          </p:nvSpPr>
          <p:spPr>
            <a:xfrm>
              <a:off x="2207010" y="1704793"/>
              <a:ext cx="584" cy="109"/>
            </a:xfrm>
            <a:custGeom>
              <a:avLst/>
              <a:gdLst/>
              <a:ahLst/>
              <a:cxnLst/>
              <a:rect l="l" t="t" r="r" b="b"/>
              <a:pathLst>
                <a:path w="43" h="8" extrusionOk="0">
                  <a:moveTo>
                    <a:pt x="42" y="1"/>
                  </a:moveTo>
                  <a:lnTo>
                    <a:pt x="0" y="8"/>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111" name="Google Shape;7111;p104"/>
            <p:cNvSpPr/>
            <p:nvPr/>
          </p:nvSpPr>
          <p:spPr>
            <a:xfrm>
              <a:off x="2189604" y="1699050"/>
              <a:ext cx="299" cy="339"/>
            </a:xfrm>
            <a:custGeom>
              <a:avLst/>
              <a:gdLst/>
              <a:ahLst/>
              <a:cxnLst/>
              <a:rect l="l" t="t" r="r" b="b"/>
              <a:pathLst>
                <a:path w="22" h="25" extrusionOk="0">
                  <a:moveTo>
                    <a:pt x="22" y="25"/>
                  </a:moveTo>
                  <a:lnTo>
                    <a:pt x="1"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112" name="Google Shape;7112;p104"/>
            <p:cNvSpPr/>
            <p:nvPr/>
          </p:nvSpPr>
          <p:spPr>
            <a:xfrm>
              <a:off x="2190364" y="1699946"/>
              <a:ext cx="353" cy="394"/>
            </a:xfrm>
            <a:custGeom>
              <a:avLst/>
              <a:gdLst/>
              <a:ahLst/>
              <a:cxnLst/>
              <a:rect l="l" t="t" r="r" b="b"/>
              <a:pathLst>
                <a:path w="26" h="29" extrusionOk="0">
                  <a:moveTo>
                    <a:pt x="25" y="29"/>
                  </a:moveTo>
                  <a:lnTo>
                    <a:pt x="1"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113" name="Google Shape;7113;p104"/>
            <p:cNvSpPr/>
            <p:nvPr/>
          </p:nvSpPr>
          <p:spPr>
            <a:xfrm>
              <a:off x="2191314" y="1701046"/>
              <a:ext cx="299" cy="394"/>
            </a:xfrm>
            <a:custGeom>
              <a:avLst/>
              <a:gdLst/>
              <a:ahLst/>
              <a:cxnLst/>
              <a:rect l="l" t="t" r="r" b="b"/>
              <a:pathLst>
                <a:path w="22" h="29" extrusionOk="0">
                  <a:moveTo>
                    <a:pt x="22" y="28"/>
                  </a:moveTo>
                  <a:lnTo>
                    <a:pt x="1"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114" name="Google Shape;7114;p104"/>
            <p:cNvSpPr/>
            <p:nvPr/>
          </p:nvSpPr>
          <p:spPr>
            <a:xfrm>
              <a:off x="2188178" y="1697475"/>
              <a:ext cx="258" cy="299"/>
            </a:xfrm>
            <a:custGeom>
              <a:avLst/>
              <a:gdLst/>
              <a:ahLst/>
              <a:cxnLst/>
              <a:rect l="l" t="t" r="r" b="b"/>
              <a:pathLst>
                <a:path w="19" h="22" extrusionOk="0">
                  <a:moveTo>
                    <a:pt x="18" y="22"/>
                  </a:moveTo>
                  <a:lnTo>
                    <a:pt x="1"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115" name="Google Shape;7115;p104"/>
            <p:cNvSpPr/>
            <p:nvPr/>
          </p:nvSpPr>
          <p:spPr>
            <a:xfrm>
              <a:off x="2188843" y="1698235"/>
              <a:ext cx="299" cy="353"/>
            </a:xfrm>
            <a:custGeom>
              <a:avLst/>
              <a:gdLst/>
              <a:ahLst/>
              <a:cxnLst/>
              <a:rect l="l" t="t" r="r" b="b"/>
              <a:pathLst>
                <a:path w="22" h="26" extrusionOk="0">
                  <a:moveTo>
                    <a:pt x="22" y="25"/>
                  </a:moveTo>
                  <a:lnTo>
                    <a:pt x="1"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116" name="Google Shape;7116;p104"/>
            <p:cNvSpPr/>
            <p:nvPr/>
          </p:nvSpPr>
          <p:spPr>
            <a:xfrm>
              <a:off x="2191980" y="1701901"/>
              <a:ext cx="299" cy="394"/>
            </a:xfrm>
            <a:custGeom>
              <a:avLst/>
              <a:gdLst/>
              <a:ahLst/>
              <a:cxnLst/>
              <a:rect l="l" t="t" r="r" b="b"/>
              <a:pathLst>
                <a:path w="22" h="29" extrusionOk="0">
                  <a:moveTo>
                    <a:pt x="22" y="28"/>
                  </a:moveTo>
                  <a:lnTo>
                    <a:pt x="1"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117" name="Google Shape;7117;p104"/>
            <p:cNvSpPr/>
            <p:nvPr/>
          </p:nvSpPr>
          <p:spPr>
            <a:xfrm>
              <a:off x="2187513" y="1696769"/>
              <a:ext cx="204" cy="204"/>
            </a:xfrm>
            <a:custGeom>
              <a:avLst/>
              <a:gdLst/>
              <a:ahLst/>
              <a:cxnLst/>
              <a:rect l="l" t="t" r="r" b="b"/>
              <a:pathLst>
                <a:path w="15" h="15" extrusionOk="0">
                  <a:moveTo>
                    <a:pt x="15" y="14"/>
                  </a:moveTo>
                  <a:lnTo>
                    <a:pt x="1"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7118" name="Google Shape;7118;p104"/>
          <p:cNvGrpSpPr/>
          <p:nvPr/>
        </p:nvGrpSpPr>
        <p:grpSpPr>
          <a:xfrm>
            <a:off x="4797047" y="4087843"/>
            <a:ext cx="2988459" cy="1774208"/>
            <a:chOff x="3597785" y="3065882"/>
            <a:chExt cx="2241344" cy="1330656"/>
          </a:xfrm>
        </p:grpSpPr>
        <p:grpSp>
          <p:nvGrpSpPr>
            <p:cNvPr id="7119" name="Google Shape;7119;p104"/>
            <p:cNvGrpSpPr/>
            <p:nvPr/>
          </p:nvGrpSpPr>
          <p:grpSpPr>
            <a:xfrm>
              <a:off x="5296908" y="3937355"/>
              <a:ext cx="143198" cy="32380"/>
              <a:chOff x="5296908" y="3937355"/>
              <a:chExt cx="143198" cy="32380"/>
            </a:xfrm>
          </p:grpSpPr>
          <p:sp>
            <p:nvSpPr>
              <p:cNvPr id="7120" name="Google Shape;7120;p104"/>
              <p:cNvSpPr/>
              <p:nvPr/>
            </p:nvSpPr>
            <p:spPr>
              <a:xfrm>
                <a:off x="5319457" y="3952794"/>
                <a:ext cx="111895" cy="8"/>
              </a:xfrm>
              <a:custGeom>
                <a:avLst/>
                <a:gdLst/>
                <a:ahLst/>
                <a:cxnLst/>
                <a:rect l="l" t="t" r="r" b="b"/>
                <a:pathLst>
                  <a:path w="14227" h="1" fill="none" extrusionOk="0">
                    <a:moveTo>
                      <a:pt x="1" y="0"/>
                    </a:moveTo>
                    <a:lnTo>
                      <a:pt x="14227" y="0"/>
                    </a:lnTo>
                  </a:path>
                </a:pathLst>
              </a:custGeom>
              <a:noFill/>
              <a:ln w="1825" cap="flat" cmpd="sng">
                <a:solidFill>
                  <a:srgbClr val="A5B7C5"/>
                </a:solidFill>
                <a:prstDash val="solid"/>
                <a:miter lim="12096"/>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nvGrpSpPr>
              <p:cNvPr id="7121" name="Google Shape;7121;p104"/>
              <p:cNvGrpSpPr/>
              <p:nvPr/>
            </p:nvGrpSpPr>
            <p:grpSpPr>
              <a:xfrm>
                <a:off x="5402331" y="3937355"/>
                <a:ext cx="37776" cy="32380"/>
                <a:chOff x="5402331" y="3937355"/>
                <a:chExt cx="37776" cy="32380"/>
              </a:xfrm>
            </p:grpSpPr>
            <p:sp>
              <p:nvSpPr>
                <p:cNvPr id="7122" name="Google Shape;7122;p104"/>
                <p:cNvSpPr/>
                <p:nvPr/>
              </p:nvSpPr>
              <p:spPr>
                <a:xfrm>
                  <a:off x="5402331" y="3937355"/>
                  <a:ext cx="37776" cy="32380"/>
                </a:xfrm>
                <a:custGeom>
                  <a:avLst/>
                  <a:gdLst/>
                  <a:ahLst/>
                  <a:cxnLst/>
                  <a:rect l="l" t="t" r="r" b="b"/>
                  <a:pathLst>
                    <a:path w="4803" h="4117" extrusionOk="0">
                      <a:moveTo>
                        <a:pt x="2737" y="1"/>
                      </a:moveTo>
                      <a:cubicBezTo>
                        <a:pt x="2231" y="1"/>
                        <a:pt x="1714" y="189"/>
                        <a:pt x="1294" y="609"/>
                      </a:cubicBezTo>
                      <a:cubicBezTo>
                        <a:pt x="0" y="1903"/>
                        <a:pt x="919" y="4117"/>
                        <a:pt x="2746" y="4117"/>
                      </a:cubicBezTo>
                      <a:cubicBezTo>
                        <a:pt x="3883" y="4117"/>
                        <a:pt x="4802" y="3185"/>
                        <a:pt x="4802" y="2060"/>
                      </a:cubicBezTo>
                      <a:cubicBezTo>
                        <a:pt x="4802" y="818"/>
                        <a:pt x="3792" y="1"/>
                        <a:pt x="2737" y="1"/>
                      </a:cubicBez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123" name="Google Shape;7123;p104"/>
                <p:cNvSpPr/>
                <p:nvPr/>
              </p:nvSpPr>
              <p:spPr>
                <a:xfrm>
                  <a:off x="5415174" y="3946990"/>
                  <a:ext cx="15321" cy="13064"/>
                </a:xfrm>
                <a:custGeom>
                  <a:avLst/>
                  <a:gdLst/>
                  <a:ahLst/>
                  <a:cxnLst/>
                  <a:rect l="l" t="t" r="r" b="b"/>
                  <a:pathLst>
                    <a:path w="1948" h="1661" extrusionOk="0">
                      <a:moveTo>
                        <a:pt x="1113" y="1"/>
                      </a:moveTo>
                      <a:cubicBezTo>
                        <a:pt x="375" y="1"/>
                        <a:pt x="0" y="896"/>
                        <a:pt x="532" y="1416"/>
                      </a:cubicBezTo>
                      <a:cubicBezTo>
                        <a:pt x="701" y="1585"/>
                        <a:pt x="910" y="1661"/>
                        <a:pt x="1114" y="1661"/>
                      </a:cubicBezTo>
                      <a:cubicBezTo>
                        <a:pt x="1540" y="1661"/>
                        <a:pt x="1948" y="1333"/>
                        <a:pt x="1948" y="835"/>
                      </a:cubicBezTo>
                      <a:cubicBezTo>
                        <a:pt x="1948" y="376"/>
                        <a:pt x="1573" y="1"/>
                        <a:pt x="1113" y="1"/>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7124" name="Google Shape;7124;p104"/>
              <p:cNvGrpSpPr/>
              <p:nvPr/>
            </p:nvGrpSpPr>
            <p:grpSpPr>
              <a:xfrm>
                <a:off x="5296908" y="3937355"/>
                <a:ext cx="37783" cy="32380"/>
                <a:chOff x="5296908" y="3937355"/>
                <a:chExt cx="37783" cy="32380"/>
              </a:xfrm>
            </p:grpSpPr>
            <p:sp>
              <p:nvSpPr>
                <p:cNvPr id="7125" name="Google Shape;7125;p104"/>
                <p:cNvSpPr/>
                <p:nvPr/>
              </p:nvSpPr>
              <p:spPr>
                <a:xfrm>
                  <a:off x="5296908" y="3937355"/>
                  <a:ext cx="37783" cy="32380"/>
                </a:xfrm>
                <a:custGeom>
                  <a:avLst/>
                  <a:gdLst/>
                  <a:ahLst/>
                  <a:cxnLst/>
                  <a:rect l="l" t="t" r="r" b="b"/>
                  <a:pathLst>
                    <a:path w="4804" h="4117" extrusionOk="0">
                      <a:moveTo>
                        <a:pt x="2738" y="1"/>
                      </a:moveTo>
                      <a:cubicBezTo>
                        <a:pt x="2231" y="1"/>
                        <a:pt x="1715" y="189"/>
                        <a:pt x="1295" y="609"/>
                      </a:cubicBezTo>
                      <a:cubicBezTo>
                        <a:pt x="1" y="1903"/>
                        <a:pt x="920" y="4117"/>
                        <a:pt x="2747" y="4117"/>
                      </a:cubicBezTo>
                      <a:cubicBezTo>
                        <a:pt x="3884" y="4117"/>
                        <a:pt x="4803" y="3185"/>
                        <a:pt x="4803" y="2060"/>
                      </a:cubicBezTo>
                      <a:cubicBezTo>
                        <a:pt x="4803" y="818"/>
                        <a:pt x="3792" y="1"/>
                        <a:pt x="2738" y="1"/>
                      </a:cubicBez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126" name="Google Shape;7126;p104"/>
                <p:cNvSpPr/>
                <p:nvPr/>
              </p:nvSpPr>
              <p:spPr>
                <a:xfrm>
                  <a:off x="5309846" y="3946990"/>
                  <a:ext cx="15235" cy="13064"/>
                </a:xfrm>
                <a:custGeom>
                  <a:avLst/>
                  <a:gdLst/>
                  <a:ahLst/>
                  <a:cxnLst/>
                  <a:rect l="l" t="t" r="r" b="b"/>
                  <a:pathLst>
                    <a:path w="1937" h="1661" extrusionOk="0">
                      <a:moveTo>
                        <a:pt x="1102" y="1"/>
                      </a:moveTo>
                      <a:cubicBezTo>
                        <a:pt x="364" y="1"/>
                        <a:pt x="1" y="896"/>
                        <a:pt x="521" y="1416"/>
                      </a:cubicBezTo>
                      <a:cubicBezTo>
                        <a:pt x="690" y="1585"/>
                        <a:pt x="899" y="1661"/>
                        <a:pt x="1103" y="1661"/>
                      </a:cubicBezTo>
                      <a:cubicBezTo>
                        <a:pt x="1528" y="1661"/>
                        <a:pt x="1936" y="1333"/>
                        <a:pt x="1936" y="835"/>
                      </a:cubicBezTo>
                      <a:cubicBezTo>
                        <a:pt x="1936" y="376"/>
                        <a:pt x="1561" y="1"/>
                        <a:pt x="1102" y="1"/>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grpSp>
          <p:nvGrpSpPr>
            <p:cNvPr id="7127" name="Google Shape;7127;p104"/>
            <p:cNvGrpSpPr/>
            <p:nvPr/>
          </p:nvGrpSpPr>
          <p:grpSpPr>
            <a:xfrm>
              <a:off x="4724163" y="3119631"/>
              <a:ext cx="120838" cy="84218"/>
              <a:chOff x="4724163" y="3119631"/>
              <a:chExt cx="120838" cy="84218"/>
            </a:xfrm>
          </p:grpSpPr>
          <p:grpSp>
            <p:nvGrpSpPr>
              <p:cNvPr id="7128" name="Google Shape;7128;p104"/>
              <p:cNvGrpSpPr/>
              <p:nvPr/>
            </p:nvGrpSpPr>
            <p:grpSpPr>
              <a:xfrm>
                <a:off x="4746712" y="3132773"/>
                <a:ext cx="86869" cy="56424"/>
                <a:chOff x="4746712" y="3132773"/>
                <a:chExt cx="86869" cy="56424"/>
              </a:xfrm>
            </p:grpSpPr>
            <p:sp>
              <p:nvSpPr>
                <p:cNvPr id="7129" name="Google Shape;7129;p104"/>
                <p:cNvSpPr/>
                <p:nvPr/>
              </p:nvSpPr>
              <p:spPr>
                <a:xfrm>
                  <a:off x="4746712" y="3132773"/>
                  <a:ext cx="86869" cy="56424"/>
                </a:xfrm>
                <a:custGeom>
                  <a:avLst/>
                  <a:gdLst/>
                  <a:ahLst/>
                  <a:cxnLst/>
                  <a:rect l="l" t="t" r="r" b="b"/>
                  <a:pathLst>
                    <a:path w="11045" h="7174" fill="none" extrusionOk="0">
                      <a:moveTo>
                        <a:pt x="0" y="1597"/>
                      </a:moveTo>
                      <a:cubicBezTo>
                        <a:pt x="242" y="1743"/>
                        <a:pt x="3532" y="7174"/>
                        <a:pt x="3532" y="7174"/>
                      </a:cubicBezTo>
                      <a:lnTo>
                        <a:pt x="6290" y="3315"/>
                      </a:lnTo>
                      <a:lnTo>
                        <a:pt x="11044" y="1"/>
                      </a:lnTo>
                      <a:close/>
                    </a:path>
                  </a:pathLst>
                </a:custGeom>
                <a:noFill/>
                <a:ln w="1825" cap="flat" cmpd="sng">
                  <a:solidFill>
                    <a:srgbClr val="A5B7C5"/>
                  </a:solidFill>
                  <a:prstDash val="solid"/>
                  <a:miter lim="12096"/>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130" name="Google Shape;7130;p104"/>
                <p:cNvSpPr/>
                <p:nvPr/>
              </p:nvSpPr>
              <p:spPr>
                <a:xfrm>
                  <a:off x="4746712" y="3145334"/>
                  <a:ext cx="49479" cy="13520"/>
                </a:xfrm>
                <a:custGeom>
                  <a:avLst/>
                  <a:gdLst/>
                  <a:ahLst/>
                  <a:cxnLst/>
                  <a:rect l="l" t="t" r="r" b="b"/>
                  <a:pathLst>
                    <a:path w="6291" h="1719" fill="none" extrusionOk="0">
                      <a:moveTo>
                        <a:pt x="0" y="0"/>
                      </a:moveTo>
                      <a:lnTo>
                        <a:pt x="6290" y="1718"/>
                      </a:lnTo>
                    </a:path>
                  </a:pathLst>
                </a:custGeom>
                <a:noFill/>
                <a:ln w="1825" cap="flat" cmpd="sng">
                  <a:solidFill>
                    <a:srgbClr val="A5B7C5"/>
                  </a:solidFill>
                  <a:prstDash val="solid"/>
                  <a:miter lim="12096"/>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7131" name="Google Shape;7131;p104"/>
              <p:cNvGrpSpPr/>
              <p:nvPr/>
            </p:nvGrpSpPr>
            <p:grpSpPr>
              <a:xfrm>
                <a:off x="4773634" y="3143336"/>
                <a:ext cx="37776" cy="32451"/>
                <a:chOff x="4773634" y="3143336"/>
                <a:chExt cx="37776" cy="32451"/>
              </a:xfrm>
            </p:grpSpPr>
            <p:sp>
              <p:nvSpPr>
                <p:cNvPr id="7132" name="Google Shape;7132;p104"/>
                <p:cNvSpPr/>
                <p:nvPr/>
              </p:nvSpPr>
              <p:spPr>
                <a:xfrm>
                  <a:off x="4773634" y="3143336"/>
                  <a:ext cx="37776" cy="32451"/>
                </a:xfrm>
                <a:custGeom>
                  <a:avLst/>
                  <a:gdLst/>
                  <a:ahLst/>
                  <a:cxnLst/>
                  <a:rect l="l" t="t" r="r" b="b"/>
                  <a:pathLst>
                    <a:path w="4803" h="4126" extrusionOk="0">
                      <a:moveTo>
                        <a:pt x="2730" y="0"/>
                      </a:moveTo>
                      <a:cubicBezTo>
                        <a:pt x="2226" y="0"/>
                        <a:pt x="1713" y="187"/>
                        <a:pt x="1295" y="605"/>
                      </a:cubicBezTo>
                      <a:cubicBezTo>
                        <a:pt x="1" y="1900"/>
                        <a:pt x="920" y="4125"/>
                        <a:pt x="2746" y="4125"/>
                      </a:cubicBezTo>
                      <a:cubicBezTo>
                        <a:pt x="3884" y="4125"/>
                        <a:pt x="4803" y="3206"/>
                        <a:pt x="4803" y="2069"/>
                      </a:cubicBezTo>
                      <a:cubicBezTo>
                        <a:pt x="4803" y="824"/>
                        <a:pt x="3788" y="0"/>
                        <a:pt x="2730" y="0"/>
                      </a:cubicBez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133" name="Google Shape;7133;p104"/>
                <p:cNvSpPr/>
                <p:nvPr/>
              </p:nvSpPr>
              <p:spPr>
                <a:xfrm>
                  <a:off x="4788664" y="3153041"/>
                  <a:ext cx="13048" cy="13040"/>
                </a:xfrm>
                <a:custGeom>
                  <a:avLst/>
                  <a:gdLst/>
                  <a:ahLst/>
                  <a:cxnLst/>
                  <a:rect l="l" t="t" r="r" b="b"/>
                  <a:pathLst>
                    <a:path w="1659" h="1658" extrusionOk="0">
                      <a:moveTo>
                        <a:pt x="835" y="0"/>
                      </a:moveTo>
                      <a:cubicBezTo>
                        <a:pt x="376" y="0"/>
                        <a:pt x="1" y="375"/>
                        <a:pt x="1" y="835"/>
                      </a:cubicBezTo>
                      <a:cubicBezTo>
                        <a:pt x="1" y="1295"/>
                        <a:pt x="376" y="1657"/>
                        <a:pt x="835" y="1657"/>
                      </a:cubicBezTo>
                      <a:cubicBezTo>
                        <a:pt x="1295" y="1657"/>
                        <a:pt x="1658" y="1295"/>
                        <a:pt x="1658" y="835"/>
                      </a:cubicBezTo>
                      <a:cubicBezTo>
                        <a:pt x="1658" y="375"/>
                        <a:pt x="1295" y="0"/>
                        <a:pt x="835" y="0"/>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7134" name="Google Shape;7134;p104"/>
              <p:cNvGrpSpPr/>
              <p:nvPr/>
            </p:nvGrpSpPr>
            <p:grpSpPr>
              <a:xfrm>
                <a:off x="4724163" y="3131248"/>
                <a:ext cx="37776" cy="32459"/>
                <a:chOff x="4724163" y="3131248"/>
                <a:chExt cx="37776" cy="32459"/>
              </a:xfrm>
            </p:grpSpPr>
            <p:sp>
              <p:nvSpPr>
                <p:cNvPr id="7135" name="Google Shape;7135;p104"/>
                <p:cNvSpPr/>
                <p:nvPr/>
              </p:nvSpPr>
              <p:spPr>
                <a:xfrm>
                  <a:off x="4724163" y="3131248"/>
                  <a:ext cx="37776" cy="32459"/>
                </a:xfrm>
                <a:custGeom>
                  <a:avLst/>
                  <a:gdLst/>
                  <a:ahLst/>
                  <a:cxnLst/>
                  <a:rect l="l" t="t" r="r" b="b"/>
                  <a:pathLst>
                    <a:path w="4803" h="4127" extrusionOk="0">
                      <a:moveTo>
                        <a:pt x="2730" y="1"/>
                      </a:moveTo>
                      <a:cubicBezTo>
                        <a:pt x="2226" y="1"/>
                        <a:pt x="1712" y="188"/>
                        <a:pt x="1295" y="606"/>
                      </a:cubicBezTo>
                      <a:cubicBezTo>
                        <a:pt x="0" y="1900"/>
                        <a:pt x="920" y="4114"/>
                        <a:pt x="2746" y="4126"/>
                      </a:cubicBezTo>
                      <a:cubicBezTo>
                        <a:pt x="3883" y="4114"/>
                        <a:pt x="4803" y="3195"/>
                        <a:pt x="4803" y="2070"/>
                      </a:cubicBezTo>
                      <a:cubicBezTo>
                        <a:pt x="4803" y="824"/>
                        <a:pt x="3787" y="1"/>
                        <a:pt x="2730" y="1"/>
                      </a:cubicBez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136" name="Google Shape;7136;p104"/>
                <p:cNvSpPr/>
                <p:nvPr/>
              </p:nvSpPr>
              <p:spPr>
                <a:xfrm>
                  <a:off x="4739288" y="3140953"/>
                  <a:ext cx="13040" cy="13048"/>
                </a:xfrm>
                <a:custGeom>
                  <a:avLst/>
                  <a:gdLst/>
                  <a:ahLst/>
                  <a:cxnLst/>
                  <a:rect l="l" t="t" r="r" b="b"/>
                  <a:pathLst>
                    <a:path w="1658" h="1659" extrusionOk="0">
                      <a:moveTo>
                        <a:pt x="823" y="1"/>
                      </a:moveTo>
                      <a:cubicBezTo>
                        <a:pt x="363" y="1"/>
                        <a:pt x="1" y="376"/>
                        <a:pt x="1" y="823"/>
                      </a:cubicBezTo>
                      <a:cubicBezTo>
                        <a:pt x="1" y="1283"/>
                        <a:pt x="363" y="1658"/>
                        <a:pt x="823" y="1658"/>
                      </a:cubicBezTo>
                      <a:cubicBezTo>
                        <a:pt x="1283" y="1658"/>
                        <a:pt x="1658" y="1283"/>
                        <a:pt x="1658" y="823"/>
                      </a:cubicBezTo>
                      <a:cubicBezTo>
                        <a:pt x="1658" y="376"/>
                        <a:pt x="1283" y="1"/>
                        <a:pt x="823" y="1"/>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7137" name="Google Shape;7137;p104"/>
              <p:cNvGrpSpPr/>
              <p:nvPr/>
            </p:nvGrpSpPr>
            <p:grpSpPr>
              <a:xfrm>
                <a:off x="4755081" y="3176054"/>
                <a:ext cx="32357" cy="27795"/>
                <a:chOff x="4755081" y="3176054"/>
                <a:chExt cx="32357" cy="27795"/>
              </a:xfrm>
            </p:grpSpPr>
            <p:sp>
              <p:nvSpPr>
                <p:cNvPr id="7138" name="Google Shape;7138;p104"/>
                <p:cNvSpPr/>
                <p:nvPr/>
              </p:nvSpPr>
              <p:spPr>
                <a:xfrm>
                  <a:off x="4755081" y="3176054"/>
                  <a:ext cx="32357" cy="27795"/>
                </a:xfrm>
                <a:custGeom>
                  <a:avLst/>
                  <a:gdLst/>
                  <a:ahLst/>
                  <a:cxnLst/>
                  <a:rect l="l" t="t" r="r" b="b"/>
                  <a:pathLst>
                    <a:path w="4114" h="3534" extrusionOk="0">
                      <a:moveTo>
                        <a:pt x="2338" y="0"/>
                      </a:moveTo>
                      <a:cubicBezTo>
                        <a:pt x="1904" y="0"/>
                        <a:pt x="1462" y="162"/>
                        <a:pt x="1101" y="522"/>
                      </a:cubicBezTo>
                      <a:cubicBezTo>
                        <a:pt x="1" y="1635"/>
                        <a:pt x="787" y="3534"/>
                        <a:pt x="2360" y="3534"/>
                      </a:cubicBezTo>
                      <a:cubicBezTo>
                        <a:pt x="3327" y="3534"/>
                        <a:pt x="4114" y="2735"/>
                        <a:pt x="4114" y="1768"/>
                      </a:cubicBezTo>
                      <a:cubicBezTo>
                        <a:pt x="4114" y="704"/>
                        <a:pt x="3245" y="0"/>
                        <a:pt x="2338" y="0"/>
                      </a:cubicBez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139" name="Google Shape;7139;p104"/>
                <p:cNvSpPr/>
                <p:nvPr/>
              </p:nvSpPr>
              <p:spPr>
                <a:xfrm>
                  <a:off x="4767924" y="3185768"/>
                  <a:ext cx="9902" cy="8392"/>
                </a:xfrm>
                <a:custGeom>
                  <a:avLst/>
                  <a:gdLst/>
                  <a:ahLst/>
                  <a:cxnLst/>
                  <a:rect l="l" t="t" r="r" b="b"/>
                  <a:pathLst>
                    <a:path w="1259" h="1067" extrusionOk="0">
                      <a:moveTo>
                        <a:pt x="714" y="0"/>
                      </a:moveTo>
                      <a:cubicBezTo>
                        <a:pt x="243" y="0"/>
                        <a:pt x="1" y="569"/>
                        <a:pt x="339" y="908"/>
                      </a:cubicBezTo>
                      <a:cubicBezTo>
                        <a:pt x="449" y="1017"/>
                        <a:pt x="584" y="1066"/>
                        <a:pt x="716" y="1066"/>
                      </a:cubicBezTo>
                      <a:cubicBezTo>
                        <a:pt x="993" y="1066"/>
                        <a:pt x="1259" y="852"/>
                        <a:pt x="1259" y="533"/>
                      </a:cubicBezTo>
                      <a:cubicBezTo>
                        <a:pt x="1259" y="230"/>
                        <a:pt x="1017" y="0"/>
                        <a:pt x="714" y="0"/>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7140" name="Google Shape;7140;p104"/>
              <p:cNvGrpSpPr/>
              <p:nvPr/>
            </p:nvGrpSpPr>
            <p:grpSpPr>
              <a:xfrm>
                <a:off x="4812550" y="3119631"/>
                <a:ext cx="32451" cy="27803"/>
                <a:chOff x="4812550" y="3119631"/>
                <a:chExt cx="32451" cy="27803"/>
              </a:xfrm>
            </p:grpSpPr>
            <p:sp>
              <p:nvSpPr>
                <p:cNvPr id="7141" name="Google Shape;7141;p104"/>
                <p:cNvSpPr/>
                <p:nvPr/>
              </p:nvSpPr>
              <p:spPr>
                <a:xfrm>
                  <a:off x="4812550" y="3119631"/>
                  <a:ext cx="32451" cy="27803"/>
                </a:xfrm>
                <a:custGeom>
                  <a:avLst/>
                  <a:gdLst/>
                  <a:ahLst/>
                  <a:cxnLst/>
                  <a:rect l="l" t="t" r="r" b="b"/>
                  <a:pathLst>
                    <a:path w="4126" h="3535" extrusionOk="0">
                      <a:moveTo>
                        <a:pt x="2350" y="1"/>
                      </a:moveTo>
                      <a:cubicBezTo>
                        <a:pt x="1916" y="1"/>
                        <a:pt x="1473" y="162"/>
                        <a:pt x="1113" y="522"/>
                      </a:cubicBezTo>
                      <a:cubicBezTo>
                        <a:pt x="0" y="1635"/>
                        <a:pt x="798" y="3534"/>
                        <a:pt x="2371" y="3534"/>
                      </a:cubicBezTo>
                      <a:cubicBezTo>
                        <a:pt x="3339" y="3534"/>
                        <a:pt x="4125" y="2748"/>
                        <a:pt x="4125" y="1768"/>
                      </a:cubicBezTo>
                      <a:cubicBezTo>
                        <a:pt x="4125" y="705"/>
                        <a:pt x="3256" y="1"/>
                        <a:pt x="2350" y="1"/>
                      </a:cubicBez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142" name="Google Shape;7142;p104"/>
                <p:cNvSpPr/>
                <p:nvPr/>
              </p:nvSpPr>
              <p:spPr>
                <a:xfrm>
                  <a:off x="4826912" y="3129352"/>
                  <a:ext cx="8478" cy="8376"/>
                </a:xfrm>
                <a:custGeom>
                  <a:avLst/>
                  <a:gdLst/>
                  <a:ahLst/>
                  <a:cxnLst/>
                  <a:rect l="l" t="t" r="r" b="b"/>
                  <a:pathLst>
                    <a:path w="1078" h="1065" extrusionOk="0">
                      <a:moveTo>
                        <a:pt x="533" y="0"/>
                      </a:moveTo>
                      <a:cubicBezTo>
                        <a:pt x="243" y="0"/>
                        <a:pt x="1" y="242"/>
                        <a:pt x="1" y="532"/>
                      </a:cubicBezTo>
                      <a:cubicBezTo>
                        <a:pt x="1" y="835"/>
                        <a:pt x="243" y="1065"/>
                        <a:pt x="533" y="1065"/>
                      </a:cubicBezTo>
                      <a:cubicBezTo>
                        <a:pt x="835" y="1065"/>
                        <a:pt x="1077" y="835"/>
                        <a:pt x="1077" y="532"/>
                      </a:cubicBezTo>
                      <a:cubicBezTo>
                        <a:pt x="1077" y="242"/>
                        <a:pt x="835" y="0"/>
                        <a:pt x="533" y="0"/>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grpSp>
          <p:nvGrpSpPr>
            <p:cNvPr id="7143" name="Google Shape;7143;p104"/>
            <p:cNvGrpSpPr/>
            <p:nvPr/>
          </p:nvGrpSpPr>
          <p:grpSpPr>
            <a:xfrm>
              <a:off x="5382826" y="4027197"/>
              <a:ext cx="268967" cy="250422"/>
              <a:chOff x="5382826" y="4027197"/>
              <a:chExt cx="268967" cy="250422"/>
            </a:xfrm>
          </p:grpSpPr>
          <p:grpSp>
            <p:nvGrpSpPr>
              <p:cNvPr id="7144" name="Google Shape;7144;p104"/>
              <p:cNvGrpSpPr/>
              <p:nvPr/>
            </p:nvGrpSpPr>
            <p:grpSpPr>
              <a:xfrm>
                <a:off x="5405280" y="4042510"/>
                <a:ext cx="237570" cy="218647"/>
                <a:chOff x="5405280" y="4042510"/>
                <a:chExt cx="237570" cy="218647"/>
              </a:xfrm>
            </p:grpSpPr>
            <p:sp>
              <p:nvSpPr>
                <p:cNvPr id="7145" name="Google Shape;7145;p104"/>
                <p:cNvSpPr/>
                <p:nvPr/>
              </p:nvSpPr>
              <p:spPr>
                <a:xfrm>
                  <a:off x="5405280" y="4042510"/>
                  <a:ext cx="144999" cy="173832"/>
                </a:xfrm>
                <a:custGeom>
                  <a:avLst/>
                  <a:gdLst/>
                  <a:ahLst/>
                  <a:cxnLst/>
                  <a:rect l="l" t="t" r="r" b="b"/>
                  <a:pathLst>
                    <a:path w="18436" h="22102" fill="none" extrusionOk="0">
                      <a:moveTo>
                        <a:pt x="0" y="12037"/>
                      </a:moveTo>
                      <a:cubicBezTo>
                        <a:pt x="702" y="12073"/>
                        <a:pt x="12302" y="22101"/>
                        <a:pt x="12302" y="22101"/>
                      </a:cubicBezTo>
                      <a:lnTo>
                        <a:pt x="11819" y="13005"/>
                      </a:lnTo>
                      <a:lnTo>
                        <a:pt x="18435" y="1"/>
                      </a:lnTo>
                      <a:lnTo>
                        <a:pt x="0" y="12521"/>
                      </a:lnTo>
                    </a:path>
                  </a:pathLst>
                </a:custGeom>
                <a:noFill/>
                <a:ln w="1825" cap="flat" cmpd="sng">
                  <a:solidFill>
                    <a:srgbClr val="A5B7C5"/>
                  </a:solidFill>
                  <a:prstDash val="solid"/>
                  <a:miter lim="12096"/>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146" name="Google Shape;7146;p104"/>
                <p:cNvSpPr/>
                <p:nvPr/>
              </p:nvSpPr>
              <p:spPr>
                <a:xfrm>
                  <a:off x="5502036" y="4125093"/>
                  <a:ext cx="134350" cy="135585"/>
                </a:xfrm>
                <a:custGeom>
                  <a:avLst/>
                  <a:gdLst/>
                  <a:ahLst/>
                  <a:cxnLst/>
                  <a:rect l="l" t="t" r="r" b="b"/>
                  <a:pathLst>
                    <a:path w="17082" h="17239" fill="none" extrusionOk="0">
                      <a:moveTo>
                        <a:pt x="13513" y="17239"/>
                      </a:moveTo>
                      <a:lnTo>
                        <a:pt x="12690" y="8614"/>
                      </a:lnTo>
                      <a:lnTo>
                        <a:pt x="17081" y="1"/>
                      </a:lnTo>
                      <a:lnTo>
                        <a:pt x="0" y="2021"/>
                      </a:lnTo>
                      <a:close/>
                    </a:path>
                  </a:pathLst>
                </a:custGeom>
                <a:noFill/>
                <a:ln w="1825" cap="flat" cmpd="sng">
                  <a:solidFill>
                    <a:srgbClr val="A5B7C5"/>
                  </a:solidFill>
                  <a:prstDash val="solid"/>
                  <a:miter lim="12096"/>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147" name="Google Shape;7147;p104"/>
                <p:cNvSpPr/>
                <p:nvPr/>
              </p:nvSpPr>
              <p:spPr>
                <a:xfrm>
                  <a:off x="5543704" y="4042990"/>
                  <a:ext cx="99146" cy="81639"/>
                </a:xfrm>
                <a:custGeom>
                  <a:avLst/>
                  <a:gdLst/>
                  <a:ahLst/>
                  <a:cxnLst/>
                  <a:rect l="l" t="t" r="r" b="b"/>
                  <a:pathLst>
                    <a:path w="12606" h="10380" fill="none" extrusionOk="0">
                      <a:moveTo>
                        <a:pt x="1" y="0"/>
                      </a:moveTo>
                      <a:lnTo>
                        <a:pt x="12606" y="10379"/>
                      </a:lnTo>
                    </a:path>
                  </a:pathLst>
                </a:custGeom>
                <a:noFill/>
                <a:ln w="1825" cap="flat" cmpd="sng">
                  <a:solidFill>
                    <a:srgbClr val="A5B7C5"/>
                  </a:solidFill>
                  <a:prstDash val="solid"/>
                  <a:miter lim="12096"/>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148" name="Google Shape;7148;p104"/>
                <p:cNvSpPr/>
                <p:nvPr/>
              </p:nvSpPr>
              <p:spPr>
                <a:xfrm>
                  <a:off x="5501941" y="4140980"/>
                  <a:ext cx="103708" cy="51862"/>
                </a:xfrm>
                <a:custGeom>
                  <a:avLst/>
                  <a:gdLst/>
                  <a:ahLst/>
                  <a:cxnLst/>
                  <a:rect l="l" t="t" r="r" b="b"/>
                  <a:pathLst>
                    <a:path w="13186" h="6594" fill="none" extrusionOk="0">
                      <a:moveTo>
                        <a:pt x="13186" y="6594"/>
                      </a:moveTo>
                      <a:lnTo>
                        <a:pt x="0" y="1"/>
                      </a:lnTo>
                    </a:path>
                  </a:pathLst>
                </a:custGeom>
                <a:noFill/>
                <a:ln w="1825" cap="flat" cmpd="sng">
                  <a:solidFill>
                    <a:srgbClr val="A5B7C5"/>
                  </a:solidFill>
                  <a:prstDash val="solid"/>
                  <a:miter lim="12096"/>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149" name="Google Shape;7149;p104"/>
                <p:cNvSpPr/>
                <p:nvPr/>
              </p:nvSpPr>
              <p:spPr>
                <a:xfrm>
                  <a:off x="5495854" y="4211010"/>
                  <a:ext cx="105989" cy="50147"/>
                </a:xfrm>
                <a:custGeom>
                  <a:avLst/>
                  <a:gdLst/>
                  <a:ahLst/>
                  <a:cxnLst/>
                  <a:rect l="l" t="t" r="r" b="b"/>
                  <a:pathLst>
                    <a:path w="13476" h="6376" fill="none" extrusionOk="0">
                      <a:moveTo>
                        <a:pt x="0" y="0"/>
                      </a:moveTo>
                      <a:lnTo>
                        <a:pt x="13476" y="6375"/>
                      </a:lnTo>
                    </a:path>
                  </a:pathLst>
                </a:custGeom>
                <a:noFill/>
                <a:ln w="1825" cap="flat" cmpd="sng">
                  <a:solidFill>
                    <a:srgbClr val="A5B7C5"/>
                  </a:solidFill>
                  <a:prstDash val="solid"/>
                  <a:miter lim="12096"/>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150" name="Google Shape;7150;p104"/>
                <p:cNvSpPr/>
                <p:nvPr/>
              </p:nvSpPr>
              <p:spPr>
                <a:xfrm>
                  <a:off x="5405280" y="4134420"/>
                  <a:ext cx="96669" cy="6567"/>
                </a:xfrm>
                <a:custGeom>
                  <a:avLst/>
                  <a:gdLst/>
                  <a:ahLst/>
                  <a:cxnLst/>
                  <a:rect l="l" t="t" r="r" b="b"/>
                  <a:pathLst>
                    <a:path w="12291" h="835" fill="none" extrusionOk="0">
                      <a:moveTo>
                        <a:pt x="12290" y="835"/>
                      </a:moveTo>
                      <a:lnTo>
                        <a:pt x="0" y="0"/>
                      </a:lnTo>
                    </a:path>
                  </a:pathLst>
                </a:custGeom>
                <a:noFill/>
                <a:ln w="1825" cap="flat" cmpd="sng">
                  <a:solidFill>
                    <a:srgbClr val="A5B7C5"/>
                  </a:solidFill>
                  <a:prstDash val="solid"/>
                  <a:miter lim="12096"/>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7151" name="Google Shape;7151;p104"/>
              <p:cNvGrpSpPr/>
              <p:nvPr/>
            </p:nvGrpSpPr>
            <p:grpSpPr>
              <a:xfrm>
                <a:off x="5382826" y="4125549"/>
                <a:ext cx="37776" cy="32380"/>
                <a:chOff x="5382826" y="4125549"/>
                <a:chExt cx="37776" cy="32380"/>
              </a:xfrm>
            </p:grpSpPr>
            <p:sp>
              <p:nvSpPr>
                <p:cNvPr id="7152" name="Google Shape;7152;p104"/>
                <p:cNvSpPr/>
                <p:nvPr/>
              </p:nvSpPr>
              <p:spPr>
                <a:xfrm>
                  <a:off x="5382826" y="4125549"/>
                  <a:ext cx="37776" cy="32380"/>
                </a:xfrm>
                <a:custGeom>
                  <a:avLst/>
                  <a:gdLst/>
                  <a:ahLst/>
                  <a:cxnLst/>
                  <a:rect l="l" t="t" r="r" b="b"/>
                  <a:pathLst>
                    <a:path w="4803" h="4117" extrusionOk="0">
                      <a:moveTo>
                        <a:pt x="2734" y="0"/>
                      </a:moveTo>
                      <a:cubicBezTo>
                        <a:pt x="2229" y="0"/>
                        <a:pt x="1714" y="188"/>
                        <a:pt x="1295" y="608"/>
                      </a:cubicBezTo>
                      <a:cubicBezTo>
                        <a:pt x="0" y="1902"/>
                        <a:pt x="907" y="4116"/>
                        <a:pt x="2746" y="4116"/>
                      </a:cubicBezTo>
                      <a:cubicBezTo>
                        <a:pt x="3871" y="4116"/>
                        <a:pt x="4790" y="3197"/>
                        <a:pt x="4803" y="2060"/>
                      </a:cubicBezTo>
                      <a:cubicBezTo>
                        <a:pt x="4794" y="817"/>
                        <a:pt x="3787" y="0"/>
                        <a:pt x="2734" y="0"/>
                      </a:cubicBez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153" name="Google Shape;7153;p104"/>
                <p:cNvSpPr/>
                <p:nvPr/>
              </p:nvSpPr>
              <p:spPr>
                <a:xfrm>
                  <a:off x="5395669" y="4135176"/>
                  <a:ext cx="15227" cy="13072"/>
                </a:xfrm>
                <a:custGeom>
                  <a:avLst/>
                  <a:gdLst/>
                  <a:ahLst/>
                  <a:cxnLst/>
                  <a:rect l="l" t="t" r="r" b="b"/>
                  <a:pathLst>
                    <a:path w="1936" h="1662" extrusionOk="0">
                      <a:moveTo>
                        <a:pt x="1113" y="1"/>
                      </a:moveTo>
                      <a:cubicBezTo>
                        <a:pt x="375" y="1"/>
                        <a:pt x="0" y="896"/>
                        <a:pt x="520" y="1416"/>
                      </a:cubicBezTo>
                      <a:cubicBezTo>
                        <a:pt x="689" y="1585"/>
                        <a:pt x="898" y="1661"/>
                        <a:pt x="1103" y="1661"/>
                      </a:cubicBezTo>
                      <a:cubicBezTo>
                        <a:pt x="1528" y="1661"/>
                        <a:pt x="1936" y="1334"/>
                        <a:pt x="1936" y="836"/>
                      </a:cubicBezTo>
                      <a:cubicBezTo>
                        <a:pt x="1936" y="376"/>
                        <a:pt x="1561" y="1"/>
                        <a:pt x="1113" y="1"/>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7154" name="Google Shape;7154;p104"/>
              <p:cNvGrpSpPr/>
              <p:nvPr/>
            </p:nvGrpSpPr>
            <p:grpSpPr>
              <a:xfrm>
                <a:off x="5475680" y="4195587"/>
                <a:ext cx="37783" cy="32364"/>
                <a:chOff x="5475680" y="4195587"/>
                <a:chExt cx="37783" cy="32364"/>
              </a:xfrm>
            </p:grpSpPr>
            <p:sp>
              <p:nvSpPr>
                <p:cNvPr id="7155" name="Google Shape;7155;p104"/>
                <p:cNvSpPr/>
                <p:nvPr/>
              </p:nvSpPr>
              <p:spPr>
                <a:xfrm>
                  <a:off x="5475680" y="4195587"/>
                  <a:ext cx="37783" cy="32364"/>
                </a:xfrm>
                <a:custGeom>
                  <a:avLst/>
                  <a:gdLst/>
                  <a:ahLst/>
                  <a:cxnLst/>
                  <a:rect l="l" t="t" r="r" b="b"/>
                  <a:pathLst>
                    <a:path w="4804" h="4115" extrusionOk="0">
                      <a:moveTo>
                        <a:pt x="2732" y="1"/>
                      </a:moveTo>
                      <a:cubicBezTo>
                        <a:pt x="2228" y="1"/>
                        <a:pt x="1713" y="188"/>
                        <a:pt x="1295" y="606"/>
                      </a:cubicBezTo>
                      <a:cubicBezTo>
                        <a:pt x="1" y="1901"/>
                        <a:pt x="920" y="4114"/>
                        <a:pt x="2747" y="4114"/>
                      </a:cubicBezTo>
                      <a:cubicBezTo>
                        <a:pt x="3884" y="4114"/>
                        <a:pt x="4803" y="3195"/>
                        <a:pt x="4803" y="2058"/>
                      </a:cubicBezTo>
                      <a:cubicBezTo>
                        <a:pt x="4803" y="821"/>
                        <a:pt x="3789" y="1"/>
                        <a:pt x="2732" y="1"/>
                      </a:cubicBez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156" name="Google Shape;7156;p104"/>
                <p:cNvSpPr/>
                <p:nvPr/>
              </p:nvSpPr>
              <p:spPr>
                <a:xfrm>
                  <a:off x="5488523" y="4205300"/>
                  <a:ext cx="15329" cy="13040"/>
                </a:xfrm>
                <a:custGeom>
                  <a:avLst/>
                  <a:gdLst/>
                  <a:ahLst/>
                  <a:cxnLst/>
                  <a:rect l="l" t="t" r="r" b="b"/>
                  <a:pathLst>
                    <a:path w="1949" h="1658" extrusionOk="0">
                      <a:moveTo>
                        <a:pt x="1114" y="0"/>
                      </a:moveTo>
                      <a:cubicBezTo>
                        <a:pt x="376" y="0"/>
                        <a:pt x="1" y="883"/>
                        <a:pt x="533" y="1416"/>
                      </a:cubicBezTo>
                      <a:cubicBezTo>
                        <a:pt x="700" y="1583"/>
                        <a:pt x="905" y="1657"/>
                        <a:pt x="1106" y="1657"/>
                      </a:cubicBezTo>
                      <a:cubicBezTo>
                        <a:pt x="1531" y="1657"/>
                        <a:pt x="1940" y="1324"/>
                        <a:pt x="1948" y="823"/>
                      </a:cubicBezTo>
                      <a:cubicBezTo>
                        <a:pt x="1948" y="363"/>
                        <a:pt x="1573" y="0"/>
                        <a:pt x="1114" y="0"/>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7157" name="Google Shape;7157;p104"/>
              <p:cNvGrpSpPr/>
              <p:nvPr/>
            </p:nvGrpSpPr>
            <p:grpSpPr>
              <a:xfrm>
                <a:off x="5532575" y="4027197"/>
                <a:ext cx="33308" cy="32262"/>
                <a:chOff x="5532575" y="4027197"/>
                <a:chExt cx="33308" cy="32262"/>
              </a:xfrm>
            </p:grpSpPr>
            <p:sp>
              <p:nvSpPr>
                <p:cNvPr id="7158" name="Google Shape;7158;p104"/>
                <p:cNvSpPr/>
                <p:nvPr/>
              </p:nvSpPr>
              <p:spPr>
                <a:xfrm>
                  <a:off x="5532575" y="4027197"/>
                  <a:ext cx="33308" cy="32262"/>
                </a:xfrm>
                <a:custGeom>
                  <a:avLst/>
                  <a:gdLst/>
                  <a:ahLst/>
                  <a:cxnLst/>
                  <a:rect l="l" t="t" r="r" b="b"/>
                  <a:pathLst>
                    <a:path w="4235" h="4102" extrusionOk="0">
                      <a:moveTo>
                        <a:pt x="1984" y="0"/>
                      </a:moveTo>
                      <a:cubicBezTo>
                        <a:pt x="871" y="49"/>
                        <a:pt x="0" y="1004"/>
                        <a:pt x="37" y="2117"/>
                      </a:cubicBezTo>
                      <a:cubicBezTo>
                        <a:pt x="73" y="3227"/>
                        <a:pt x="980" y="4101"/>
                        <a:pt x="2084" y="4101"/>
                      </a:cubicBezTo>
                      <a:cubicBezTo>
                        <a:pt x="2099" y="4101"/>
                        <a:pt x="2114" y="4101"/>
                        <a:pt x="2130" y="4101"/>
                      </a:cubicBezTo>
                      <a:lnTo>
                        <a:pt x="2275" y="4101"/>
                      </a:lnTo>
                      <a:cubicBezTo>
                        <a:pt x="3375" y="4028"/>
                        <a:pt x="4234" y="3085"/>
                        <a:pt x="4186" y="1984"/>
                      </a:cubicBezTo>
                      <a:cubicBezTo>
                        <a:pt x="4150" y="871"/>
                        <a:pt x="3242" y="0"/>
                        <a:pt x="2130" y="0"/>
                      </a:cubicBez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159" name="Google Shape;7159;p104"/>
                <p:cNvSpPr/>
                <p:nvPr/>
              </p:nvSpPr>
              <p:spPr>
                <a:xfrm>
                  <a:off x="5540661" y="4036792"/>
                  <a:ext cx="15502" cy="13064"/>
                </a:xfrm>
                <a:custGeom>
                  <a:avLst/>
                  <a:gdLst/>
                  <a:ahLst/>
                  <a:cxnLst/>
                  <a:rect l="l" t="t" r="r" b="b"/>
                  <a:pathLst>
                    <a:path w="1971" h="1661" extrusionOk="0">
                      <a:moveTo>
                        <a:pt x="1098" y="1"/>
                      </a:moveTo>
                      <a:cubicBezTo>
                        <a:pt x="1083" y="1"/>
                        <a:pt x="1068" y="1"/>
                        <a:pt x="1053" y="2"/>
                      </a:cubicBezTo>
                      <a:cubicBezTo>
                        <a:pt x="315" y="50"/>
                        <a:pt x="1" y="970"/>
                        <a:pt x="557" y="1453"/>
                      </a:cubicBezTo>
                      <a:cubicBezTo>
                        <a:pt x="721" y="1596"/>
                        <a:pt x="913" y="1660"/>
                        <a:pt x="1100" y="1660"/>
                      </a:cubicBezTo>
                      <a:cubicBezTo>
                        <a:pt x="1548" y="1660"/>
                        <a:pt x="1970" y="1296"/>
                        <a:pt x="1936" y="776"/>
                      </a:cubicBezTo>
                      <a:cubicBezTo>
                        <a:pt x="1901" y="332"/>
                        <a:pt x="1527" y="1"/>
                        <a:pt x="1098" y="1"/>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7160" name="Google Shape;7160;p104"/>
              <p:cNvGrpSpPr/>
              <p:nvPr/>
            </p:nvGrpSpPr>
            <p:grpSpPr>
              <a:xfrm>
                <a:off x="5590706" y="4245348"/>
                <a:ext cx="33497" cy="32270"/>
                <a:chOff x="5590706" y="4245348"/>
                <a:chExt cx="33497" cy="32270"/>
              </a:xfrm>
            </p:grpSpPr>
            <p:sp>
              <p:nvSpPr>
                <p:cNvPr id="7161" name="Google Shape;7161;p104"/>
                <p:cNvSpPr/>
                <p:nvPr/>
              </p:nvSpPr>
              <p:spPr>
                <a:xfrm>
                  <a:off x="5590706" y="4245348"/>
                  <a:ext cx="33497" cy="32270"/>
                </a:xfrm>
                <a:custGeom>
                  <a:avLst/>
                  <a:gdLst/>
                  <a:ahLst/>
                  <a:cxnLst/>
                  <a:rect l="l" t="t" r="r" b="b"/>
                  <a:pathLst>
                    <a:path w="4259" h="4103" extrusionOk="0">
                      <a:moveTo>
                        <a:pt x="2175" y="0"/>
                      </a:moveTo>
                      <a:cubicBezTo>
                        <a:pt x="2160" y="0"/>
                        <a:pt x="2145" y="1"/>
                        <a:pt x="2130" y="1"/>
                      </a:cubicBezTo>
                      <a:lnTo>
                        <a:pt x="1984" y="1"/>
                      </a:lnTo>
                      <a:cubicBezTo>
                        <a:pt x="872" y="49"/>
                        <a:pt x="1" y="993"/>
                        <a:pt x="37" y="2118"/>
                      </a:cubicBezTo>
                      <a:cubicBezTo>
                        <a:pt x="73" y="3228"/>
                        <a:pt x="980" y="4102"/>
                        <a:pt x="2085" y="4102"/>
                      </a:cubicBezTo>
                      <a:cubicBezTo>
                        <a:pt x="2100" y="4102"/>
                        <a:pt x="2115" y="4102"/>
                        <a:pt x="2130" y="4102"/>
                      </a:cubicBezTo>
                      <a:lnTo>
                        <a:pt x="2275" y="4102"/>
                      </a:lnTo>
                      <a:cubicBezTo>
                        <a:pt x="3388" y="4041"/>
                        <a:pt x="4259" y="3098"/>
                        <a:pt x="4222" y="1985"/>
                      </a:cubicBezTo>
                      <a:cubicBezTo>
                        <a:pt x="4175" y="875"/>
                        <a:pt x="3279" y="0"/>
                        <a:pt x="2175" y="0"/>
                      </a:cubicBez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162" name="Google Shape;7162;p104"/>
                <p:cNvSpPr/>
                <p:nvPr/>
              </p:nvSpPr>
              <p:spPr>
                <a:xfrm>
                  <a:off x="5598791" y="4254944"/>
                  <a:ext cx="15408" cy="13048"/>
                </a:xfrm>
                <a:custGeom>
                  <a:avLst/>
                  <a:gdLst/>
                  <a:ahLst/>
                  <a:cxnLst/>
                  <a:rect l="l" t="t" r="r" b="b"/>
                  <a:pathLst>
                    <a:path w="1959" h="1659" extrusionOk="0">
                      <a:moveTo>
                        <a:pt x="1106" y="0"/>
                      </a:moveTo>
                      <a:cubicBezTo>
                        <a:pt x="1085" y="0"/>
                        <a:pt x="1063" y="1"/>
                        <a:pt x="1041" y="3"/>
                      </a:cubicBezTo>
                      <a:cubicBezTo>
                        <a:pt x="303" y="51"/>
                        <a:pt x="1" y="970"/>
                        <a:pt x="557" y="1454"/>
                      </a:cubicBezTo>
                      <a:cubicBezTo>
                        <a:pt x="720" y="1596"/>
                        <a:pt x="909" y="1659"/>
                        <a:pt x="1093" y="1659"/>
                      </a:cubicBezTo>
                      <a:cubicBezTo>
                        <a:pt x="1538" y="1659"/>
                        <a:pt x="1958" y="1290"/>
                        <a:pt x="1924" y="777"/>
                      </a:cubicBezTo>
                      <a:cubicBezTo>
                        <a:pt x="1901" y="339"/>
                        <a:pt x="1538" y="0"/>
                        <a:pt x="1106" y="0"/>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7163" name="Google Shape;7163;p104"/>
              <p:cNvGrpSpPr/>
              <p:nvPr/>
            </p:nvGrpSpPr>
            <p:grpSpPr>
              <a:xfrm>
                <a:off x="5618681" y="4109677"/>
                <a:ext cx="33112" cy="32357"/>
                <a:chOff x="5618681" y="4109677"/>
                <a:chExt cx="33112" cy="32357"/>
              </a:xfrm>
            </p:grpSpPr>
            <p:sp>
              <p:nvSpPr>
                <p:cNvPr id="7164" name="Google Shape;7164;p104"/>
                <p:cNvSpPr/>
                <p:nvPr/>
              </p:nvSpPr>
              <p:spPr>
                <a:xfrm>
                  <a:off x="5618681" y="4109677"/>
                  <a:ext cx="33112" cy="32357"/>
                </a:xfrm>
                <a:custGeom>
                  <a:avLst/>
                  <a:gdLst/>
                  <a:ahLst/>
                  <a:cxnLst/>
                  <a:rect l="l" t="t" r="r" b="b"/>
                  <a:pathLst>
                    <a:path w="4210" h="4114" extrusionOk="0">
                      <a:moveTo>
                        <a:pt x="1984" y="1"/>
                      </a:moveTo>
                      <a:cubicBezTo>
                        <a:pt x="871" y="61"/>
                        <a:pt x="0" y="1005"/>
                        <a:pt x="36" y="2130"/>
                      </a:cubicBezTo>
                      <a:cubicBezTo>
                        <a:pt x="84" y="3235"/>
                        <a:pt x="992" y="4114"/>
                        <a:pt x="2106" y="4114"/>
                      </a:cubicBezTo>
                      <a:cubicBezTo>
                        <a:pt x="2114" y="4114"/>
                        <a:pt x="2121" y="4114"/>
                        <a:pt x="2129" y="4114"/>
                      </a:cubicBezTo>
                      <a:lnTo>
                        <a:pt x="2274" y="4114"/>
                      </a:lnTo>
                      <a:cubicBezTo>
                        <a:pt x="3375" y="4029"/>
                        <a:pt x="4210" y="3086"/>
                        <a:pt x="4173" y="1985"/>
                      </a:cubicBezTo>
                      <a:cubicBezTo>
                        <a:pt x="4137" y="884"/>
                        <a:pt x="3230" y="13"/>
                        <a:pt x="2129" y="1"/>
                      </a:cubicBez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165" name="Google Shape;7165;p104"/>
                <p:cNvSpPr/>
                <p:nvPr/>
              </p:nvSpPr>
              <p:spPr>
                <a:xfrm>
                  <a:off x="5626767" y="4119280"/>
                  <a:ext cx="15494" cy="13056"/>
                </a:xfrm>
                <a:custGeom>
                  <a:avLst/>
                  <a:gdLst/>
                  <a:ahLst/>
                  <a:cxnLst/>
                  <a:rect l="l" t="t" r="r" b="b"/>
                  <a:pathLst>
                    <a:path w="1970" h="1660" extrusionOk="0">
                      <a:moveTo>
                        <a:pt x="1098" y="1"/>
                      </a:moveTo>
                      <a:cubicBezTo>
                        <a:pt x="1083" y="1"/>
                        <a:pt x="1068" y="1"/>
                        <a:pt x="1053" y="2"/>
                      </a:cubicBezTo>
                      <a:cubicBezTo>
                        <a:pt x="315" y="62"/>
                        <a:pt x="0" y="970"/>
                        <a:pt x="557" y="1453"/>
                      </a:cubicBezTo>
                      <a:cubicBezTo>
                        <a:pt x="721" y="1596"/>
                        <a:pt x="913" y="1660"/>
                        <a:pt x="1100" y="1660"/>
                      </a:cubicBezTo>
                      <a:cubicBezTo>
                        <a:pt x="1547" y="1660"/>
                        <a:pt x="1970" y="1296"/>
                        <a:pt x="1936" y="776"/>
                      </a:cubicBezTo>
                      <a:cubicBezTo>
                        <a:pt x="1901" y="332"/>
                        <a:pt x="1527" y="1"/>
                        <a:pt x="1098" y="1"/>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7166" name="Google Shape;7166;p104"/>
              <p:cNvGrpSpPr/>
              <p:nvPr/>
            </p:nvGrpSpPr>
            <p:grpSpPr>
              <a:xfrm>
                <a:off x="5479298" y="4128262"/>
                <a:ext cx="31405" cy="26906"/>
                <a:chOff x="5479298" y="4128262"/>
                <a:chExt cx="31405" cy="26906"/>
              </a:xfrm>
            </p:grpSpPr>
            <p:sp>
              <p:nvSpPr>
                <p:cNvPr id="7167" name="Google Shape;7167;p104"/>
                <p:cNvSpPr/>
                <p:nvPr/>
              </p:nvSpPr>
              <p:spPr>
                <a:xfrm>
                  <a:off x="5479298" y="4128262"/>
                  <a:ext cx="31405" cy="26906"/>
                </a:xfrm>
                <a:custGeom>
                  <a:avLst/>
                  <a:gdLst/>
                  <a:ahLst/>
                  <a:cxnLst/>
                  <a:rect l="l" t="t" r="r" b="b"/>
                  <a:pathLst>
                    <a:path w="3993" h="3421" extrusionOk="0">
                      <a:moveTo>
                        <a:pt x="2273" y="1"/>
                      </a:moveTo>
                      <a:cubicBezTo>
                        <a:pt x="1853" y="1"/>
                        <a:pt x="1425" y="157"/>
                        <a:pt x="1077" y="505"/>
                      </a:cubicBezTo>
                      <a:cubicBezTo>
                        <a:pt x="0" y="1582"/>
                        <a:pt x="762" y="3420"/>
                        <a:pt x="2287" y="3420"/>
                      </a:cubicBezTo>
                      <a:cubicBezTo>
                        <a:pt x="3230" y="3420"/>
                        <a:pt x="3992" y="2658"/>
                        <a:pt x="3992" y="1715"/>
                      </a:cubicBezTo>
                      <a:cubicBezTo>
                        <a:pt x="3992" y="683"/>
                        <a:pt x="3150" y="1"/>
                        <a:pt x="2273" y="1"/>
                      </a:cubicBez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168" name="Google Shape;7168;p104"/>
                <p:cNvSpPr/>
                <p:nvPr/>
              </p:nvSpPr>
              <p:spPr>
                <a:xfrm>
                  <a:off x="5493471" y="4137936"/>
                  <a:ext cx="7621" cy="7621"/>
                </a:xfrm>
                <a:custGeom>
                  <a:avLst/>
                  <a:gdLst/>
                  <a:ahLst/>
                  <a:cxnLst/>
                  <a:rect l="l" t="t" r="r" b="b"/>
                  <a:pathLst>
                    <a:path w="969" h="969" extrusionOk="0">
                      <a:moveTo>
                        <a:pt x="485" y="1"/>
                      </a:moveTo>
                      <a:cubicBezTo>
                        <a:pt x="218" y="1"/>
                        <a:pt x="1" y="218"/>
                        <a:pt x="1" y="485"/>
                      </a:cubicBezTo>
                      <a:cubicBezTo>
                        <a:pt x="1" y="751"/>
                        <a:pt x="218" y="968"/>
                        <a:pt x="485" y="968"/>
                      </a:cubicBezTo>
                      <a:cubicBezTo>
                        <a:pt x="751" y="968"/>
                        <a:pt x="968" y="751"/>
                        <a:pt x="968" y="485"/>
                      </a:cubicBezTo>
                      <a:cubicBezTo>
                        <a:pt x="968" y="218"/>
                        <a:pt x="751" y="1"/>
                        <a:pt x="485" y="1"/>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7169" name="Google Shape;7169;p104"/>
              <p:cNvGrpSpPr/>
              <p:nvPr/>
            </p:nvGrpSpPr>
            <p:grpSpPr>
              <a:xfrm>
                <a:off x="5582903" y="4180116"/>
                <a:ext cx="31499" cy="26898"/>
                <a:chOff x="5582903" y="4180116"/>
                <a:chExt cx="31499" cy="26898"/>
              </a:xfrm>
            </p:grpSpPr>
            <p:sp>
              <p:nvSpPr>
                <p:cNvPr id="7170" name="Google Shape;7170;p104"/>
                <p:cNvSpPr/>
                <p:nvPr/>
              </p:nvSpPr>
              <p:spPr>
                <a:xfrm>
                  <a:off x="5582903" y="4180116"/>
                  <a:ext cx="31499" cy="26898"/>
                </a:xfrm>
                <a:custGeom>
                  <a:avLst/>
                  <a:gdLst/>
                  <a:ahLst/>
                  <a:cxnLst/>
                  <a:rect l="l" t="t" r="r" b="b"/>
                  <a:pathLst>
                    <a:path w="4005" h="3420" extrusionOk="0">
                      <a:moveTo>
                        <a:pt x="2276" y="1"/>
                      </a:moveTo>
                      <a:cubicBezTo>
                        <a:pt x="1855" y="1"/>
                        <a:pt x="1425" y="156"/>
                        <a:pt x="1077" y="505"/>
                      </a:cubicBezTo>
                      <a:cubicBezTo>
                        <a:pt x="1" y="1581"/>
                        <a:pt x="763" y="3420"/>
                        <a:pt x="2287" y="3420"/>
                      </a:cubicBezTo>
                      <a:cubicBezTo>
                        <a:pt x="3231" y="3420"/>
                        <a:pt x="4005" y="2658"/>
                        <a:pt x="4005" y="1714"/>
                      </a:cubicBezTo>
                      <a:cubicBezTo>
                        <a:pt x="4005" y="683"/>
                        <a:pt x="3157" y="1"/>
                        <a:pt x="2276" y="1"/>
                      </a:cubicBez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171" name="Google Shape;7171;p104"/>
                <p:cNvSpPr/>
                <p:nvPr/>
              </p:nvSpPr>
              <p:spPr>
                <a:xfrm>
                  <a:off x="5597084" y="4189790"/>
                  <a:ext cx="7613" cy="7621"/>
                </a:xfrm>
                <a:custGeom>
                  <a:avLst/>
                  <a:gdLst/>
                  <a:ahLst/>
                  <a:cxnLst/>
                  <a:rect l="l" t="t" r="r" b="b"/>
                  <a:pathLst>
                    <a:path w="968" h="969" extrusionOk="0">
                      <a:moveTo>
                        <a:pt x="484" y="0"/>
                      </a:moveTo>
                      <a:cubicBezTo>
                        <a:pt x="218" y="0"/>
                        <a:pt x="0" y="218"/>
                        <a:pt x="0" y="484"/>
                      </a:cubicBezTo>
                      <a:cubicBezTo>
                        <a:pt x="0" y="750"/>
                        <a:pt x="218" y="968"/>
                        <a:pt x="484" y="968"/>
                      </a:cubicBezTo>
                      <a:cubicBezTo>
                        <a:pt x="750" y="968"/>
                        <a:pt x="968" y="750"/>
                        <a:pt x="968" y="484"/>
                      </a:cubicBezTo>
                      <a:cubicBezTo>
                        <a:pt x="968" y="218"/>
                        <a:pt x="750" y="0"/>
                        <a:pt x="484" y="0"/>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grpSp>
          <p:nvGrpSpPr>
            <p:cNvPr id="7172" name="Google Shape;7172;p104"/>
            <p:cNvGrpSpPr/>
            <p:nvPr/>
          </p:nvGrpSpPr>
          <p:grpSpPr>
            <a:xfrm>
              <a:off x="3977681" y="3230323"/>
              <a:ext cx="94584" cy="84085"/>
              <a:chOff x="3977681" y="3230323"/>
              <a:chExt cx="94584" cy="84085"/>
            </a:xfrm>
          </p:grpSpPr>
          <p:grpSp>
            <p:nvGrpSpPr>
              <p:cNvPr id="7173" name="Google Shape;7173;p104"/>
              <p:cNvGrpSpPr/>
              <p:nvPr/>
            </p:nvGrpSpPr>
            <p:grpSpPr>
              <a:xfrm>
                <a:off x="4000135" y="3243041"/>
                <a:ext cx="59570" cy="57186"/>
                <a:chOff x="4000135" y="3243041"/>
                <a:chExt cx="59570" cy="57186"/>
              </a:xfrm>
            </p:grpSpPr>
            <p:sp>
              <p:nvSpPr>
                <p:cNvPr id="7174" name="Google Shape;7174;p104"/>
                <p:cNvSpPr/>
                <p:nvPr/>
              </p:nvSpPr>
              <p:spPr>
                <a:xfrm>
                  <a:off x="4000135" y="3243041"/>
                  <a:ext cx="59570" cy="57092"/>
                </a:xfrm>
                <a:custGeom>
                  <a:avLst/>
                  <a:gdLst/>
                  <a:ahLst/>
                  <a:cxnLst/>
                  <a:rect l="l" t="t" r="r" b="b"/>
                  <a:pathLst>
                    <a:path w="7574" h="7259" fill="none" extrusionOk="0">
                      <a:moveTo>
                        <a:pt x="1" y="2323"/>
                      </a:moveTo>
                      <a:lnTo>
                        <a:pt x="2577" y="7259"/>
                      </a:lnTo>
                      <a:lnTo>
                        <a:pt x="7573" y="4114"/>
                      </a:lnTo>
                      <a:lnTo>
                        <a:pt x="5541" y="1"/>
                      </a:lnTo>
                      <a:lnTo>
                        <a:pt x="352" y="2323"/>
                      </a:lnTo>
                    </a:path>
                  </a:pathLst>
                </a:custGeom>
                <a:noFill/>
                <a:ln w="1825" cap="flat" cmpd="sng">
                  <a:solidFill>
                    <a:srgbClr val="A5B7C5"/>
                  </a:solidFill>
                  <a:prstDash val="solid"/>
                  <a:miter lim="12096"/>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175" name="Google Shape;7175;p104"/>
                <p:cNvSpPr/>
                <p:nvPr/>
              </p:nvSpPr>
              <p:spPr>
                <a:xfrm>
                  <a:off x="4024210" y="3246847"/>
                  <a:ext cx="15706" cy="53380"/>
                </a:xfrm>
                <a:custGeom>
                  <a:avLst/>
                  <a:gdLst/>
                  <a:ahLst/>
                  <a:cxnLst/>
                  <a:rect l="l" t="t" r="r" b="b"/>
                  <a:pathLst>
                    <a:path w="1997" h="6787" fill="none" extrusionOk="0">
                      <a:moveTo>
                        <a:pt x="0" y="6787"/>
                      </a:moveTo>
                      <a:lnTo>
                        <a:pt x="1996" y="1"/>
                      </a:lnTo>
                    </a:path>
                  </a:pathLst>
                </a:custGeom>
                <a:noFill/>
                <a:ln w="1825" cap="flat" cmpd="sng">
                  <a:solidFill>
                    <a:srgbClr val="A5B7C5"/>
                  </a:solidFill>
                  <a:prstDash val="solid"/>
                  <a:miter lim="12096"/>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176" name="Google Shape;7176;p104"/>
                <p:cNvSpPr/>
                <p:nvPr/>
              </p:nvSpPr>
              <p:spPr>
                <a:xfrm>
                  <a:off x="4002896" y="3261311"/>
                  <a:ext cx="56809" cy="14086"/>
                </a:xfrm>
                <a:custGeom>
                  <a:avLst/>
                  <a:gdLst/>
                  <a:ahLst/>
                  <a:cxnLst/>
                  <a:rect l="l" t="t" r="r" b="b"/>
                  <a:pathLst>
                    <a:path w="7223" h="1791" fill="none" extrusionOk="0">
                      <a:moveTo>
                        <a:pt x="7222" y="1791"/>
                      </a:moveTo>
                      <a:lnTo>
                        <a:pt x="1" y="0"/>
                      </a:lnTo>
                    </a:path>
                  </a:pathLst>
                </a:custGeom>
                <a:noFill/>
                <a:ln w="1825" cap="flat" cmpd="sng">
                  <a:solidFill>
                    <a:srgbClr val="A5B7C5"/>
                  </a:solidFill>
                  <a:prstDash val="solid"/>
                  <a:miter lim="12096"/>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7177" name="Google Shape;7177;p104"/>
              <p:cNvGrpSpPr/>
              <p:nvPr/>
            </p:nvGrpSpPr>
            <p:grpSpPr>
              <a:xfrm>
                <a:off x="3977681" y="3245872"/>
                <a:ext cx="37783" cy="32380"/>
                <a:chOff x="3977681" y="3245872"/>
                <a:chExt cx="37783" cy="32380"/>
              </a:xfrm>
            </p:grpSpPr>
            <p:sp>
              <p:nvSpPr>
                <p:cNvPr id="7178" name="Google Shape;7178;p104"/>
                <p:cNvSpPr/>
                <p:nvPr/>
              </p:nvSpPr>
              <p:spPr>
                <a:xfrm>
                  <a:off x="3977681" y="3245872"/>
                  <a:ext cx="37783" cy="32380"/>
                </a:xfrm>
                <a:custGeom>
                  <a:avLst/>
                  <a:gdLst/>
                  <a:ahLst/>
                  <a:cxnLst/>
                  <a:rect l="l" t="t" r="r" b="b"/>
                  <a:pathLst>
                    <a:path w="4804" h="4117" extrusionOk="0">
                      <a:moveTo>
                        <a:pt x="2726" y="1"/>
                      </a:moveTo>
                      <a:cubicBezTo>
                        <a:pt x="2219" y="1"/>
                        <a:pt x="1703" y="189"/>
                        <a:pt x="1283" y="608"/>
                      </a:cubicBezTo>
                      <a:cubicBezTo>
                        <a:pt x="1" y="1903"/>
                        <a:pt x="908" y="4117"/>
                        <a:pt x="2747" y="4117"/>
                      </a:cubicBezTo>
                      <a:cubicBezTo>
                        <a:pt x="3872" y="4104"/>
                        <a:pt x="4791" y="3185"/>
                        <a:pt x="4803" y="2060"/>
                      </a:cubicBezTo>
                      <a:cubicBezTo>
                        <a:pt x="4795" y="818"/>
                        <a:pt x="3782" y="1"/>
                        <a:pt x="2726" y="1"/>
                      </a:cubicBez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179" name="Google Shape;7179;p104"/>
                <p:cNvSpPr/>
                <p:nvPr/>
              </p:nvSpPr>
              <p:spPr>
                <a:xfrm>
                  <a:off x="3992718" y="3255507"/>
                  <a:ext cx="13040" cy="13040"/>
                </a:xfrm>
                <a:custGeom>
                  <a:avLst/>
                  <a:gdLst/>
                  <a:ahLst/>
                  <a:cxnLst/>
                  <a:rect l="l" t="t" r="r" b="b"/>
                  <a:pathLst>
                    <a:path w="1658" h="1658" extrusionOk="0">
                      <a:moveTo>
                        <a:pt x="835" y="0"/>
                      </a:moveTo>
                      <a:cubicBezTo>
                        <a:pt x="375" y="0"/>
                        <a:pt x="0" y="375"/>
                        <a:pt x="0" y="835"/>
                      </a:cubicBezTo>
                      <a:cubicBezTo>
                        <a:pt x="0" y="1295"/>
                        <a:pt x="375" y="1658"/>
                        <a:pt x="835" y="1658"/>
                      </a:cubicBezTo>
                      <a:cubicBezTo>
                        <a:pt x="1282" y="1658"/>
                        <a:pt x="1657" y="1295"/>
                        <a:pt x="1657" y="835"/>
                      </a:cubicBezTo>
                      <a:cubicBezTo>
                        <a:pt x="1657" y="375"/>
                        <a:pt x="1282" y="0"/>
                        <a:pt x="835" y="0"/>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7180" name="Google Shape;7180;p104"/>
              <p:cNvGrpSpPr/>
              <p:nvPr/>
            </p:nvGrpSpPr>
            <p:grpSpPr>
              <a:xfrm>
                <a:off x="4040860" y="3262672"/>
                <a:ext cx="31405" cy="27001"/>
                <a:chOff x="4040860" y="3262672"/>
                <a:chExt cx="31405" cy="27001"/>
              </a:xfrm>
            </p:grpSpPr>
            <p:sp>
              <p:nvSpPr>
                <p:cNvPr id="7181" name="Google Shape;7181;p104"/>
                <p:cNvSpPr/>
                <p:nvPr/>
              </p:nvSpPr>
              <p:spPr>
                <a:xfrm>
                  <a:off x="4040860" y="3262672"/>
                  <a:ext cx="31405" cy="27001"/>
                </a:xfrm>
                <a:custGeom>
                  <a:avLst/>
                  <a:gdLst/>
                  <a:ahLst/>
                  <a:cxnLst/>
                  <a:rect l="l" t="t" r="r" b="b"/>
                  <a:pathLst>
                    <a:path w="3993" h="3433" extrusionOk="0">
                      <a:moveTo>
                        <a:pt x="2272" y="1"/>
                      </a:moveTo>
                      <a:cubicBezTo>
                        <a:pt x="1853" y="1"/>
                        <a:pt x="1425" y="157"/>
                        <a:pt x="1077" y="505"/>
                      </a:cubicBezTo>
                      <a:cubicBezTo>
                        <a:pt x="0" y="1581"/>
                        <a:pt x="762" y="3420"/>
                        <a:pt x="2286" y="3432"/>
                      </a:cubicBezTo>
                      <a:cubicBezTo>
                        <a:pt x="3230" y="3420"/>
                        <a:pt x="3992" y="2658"/>
                        <a:pt x="3992" y="1714"/>
                      </a:cubicBezTo>
                      <a:cubicBezTo>
                        <a:pt x="3992" y="683"/>
                        <a:pt x="3150" y="1"/>
                        <a:pt x="2272" y="1"/>
                      </a:cubicBez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182" name="Google Shape;7182;p104"/>
                <p:cNvSpPr/>
                <p:nvPr/>
              </p:nvSpPr>
              <p:spPr>
                <a:xfrm>
                  <a:off x="4054938" y="3272346"/>
                  <a:ext cx="7621" cy="7621"/>
                </a:xfrm>
                <a:custGeom>
                  <a:avLst/>
                  <a:gdLst/>
                  <a:ahLst/>
                  <a:cxnLst/>
                  <a:rect l="l" t="t" r="r" b="b"/>
                  <a:pathLst>
                    <a:path w="969" h="969" extrusionOk="0">
                      <a:moveTo>
                        <a:pt x="484" y="1"/>
                      </a:moveTo>
                      <a:cubicBezTo>
                        <a:pt x="218" y="1"/>
                        <a:pt x="0" y="218"/>
                        <a:pt x="0" y="484"/>
                      </a:cubicBezTo>
                      <a:cubicBezTo>
                        <a:pt x="0" y="751"/>
                        <a:pt x="218" y="968"/>
                        <a:pt x="484" y="968"/>
                      </a:cubicBezTo>
                      <a:cubicBezTo>
                        <a:pt x="763" y="968"/>
                        <a:pt x="968" y="751"/>
                        <a:pt x="968" y="484"/>
                      </a:cubicBezTo>
                      <a:cubicBezTo>
                        <a:pt x="968" y="218"/>
                        <a:pt x="763" y="1"/>
                        <a:pt x="484" y="1"/>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7183" name="Google Shape;7183;p104"/>
              <p:cNvGrpSpPr/>
              <p:nvPr/>
            </p:nvGrpSpPr>
            <p:grpSpPr>
              <a:xfrm>
                <a:off x="4021072" y="3230323"/>
                <a:ext cx="31397" cy="26906"/>
                <a:chOff x="4021072" y="3230323"/>
                <a:chExt cx="31397" cy="26906"/>
              </a:xfrm>
            </p:grpSpPr>
            <p:sp>
              <p:nvSpPr>
                <p:cNvPr id="7184" name="Google Shape;7184;p104"/>
                <p:cNvSpPr/>
                <p:nvPr/>
              </p:nvSpPr>
              <p:spPr>
                <a:xfrm>
                  <a:off x="4021072" y="3230323"/>
                  <a:ext cx="31397" cy="26906"/>
                </a:xfrm>
                <a:custGeom>
                  <a:avLst/>
                  <a:gdLst/>
                  <a:ahLst/>
                  <a:cxnLst/>
                  <a:rect l="l" t="t" r="r" b="b"/>
                  <a:pathLst>
                    <a:path w="3992" h="3421" extrusionOk="0">
                      <a:moveTo>
                        <a:pt x="2272" y="1"/>
                      </a:moveTo>
                      <a:cubicBezTo>
                        <a:pt x="1853" y="1"/>
                        <a:pt x="1425" y="157"/>
                        <a:pt x="1077" y="505"/>
                      </a:cubicBezTo>
                      <a:cubicBezTo>
                        <a:pt x="0" y="1581"/>
                        <a:pt x="762" y="3420"/>
                        <a:pt x="2286" y="3420"/>
                      </a:cubicBezTo>
                      <a:cubicBezTo>
                        <a:pt x="3230" y="3420"/>
                        <a:pt x="3992" y="2658"/>
                        <a:pt x="3992" y="1714"/>
                      </a:cubicBezTo>
                      <a:cubicBezTo>
                        <a:pt x="3992" y="683"/>
                        <a:pt x="3150" y="1"/>
                        <a:pt x="2272" y="1"/>
                      </a:cubicBez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185" name="Google Shape;7185;p104"/>
                <p:cNvSpPr/>
                <p:nvPr/>
              </p:nvSpPr>
              <p:spPr>
                <a:xfrm>
                  <a:off x="4035245" y="3239997"/>
                  <a:ext cx="7621" cy="7621"/>
                </a:xfrm>
                <a:custGeom>
                  <a:avLst/>
                  <a:gdLst/>
                  <a:ahLst/>
                  <a:cxnLst/>
                  <a:rect l="l" t="t" r="r" b="b"/>
                  <a:pathLst>
                    <a:path w="969" h="969" extrusionOk="0">
                      <a:moveTo>
                        <a:pt x="484" y="1"/>
                      </a:moveTo>
                      <a:cubicBezTo>
                        <a:pt x="218" y="1"/>
                        <a:pt x="0" y="218"/>
                        <a:pt x="0" y="484"/>
                      </a:cubicBezTo>
                      <a:cubicBezTo>
                        <a:pt x="0" y="751"/>
                        <a:pt x="218" y="968"/>
                        <a:pt x="484" y="968"/>
                      </a:cubicBezTo>
                      <a:cubicBezTo>
                        <a:pt x="750" y="968"/>
                        <a:pt x="968" y="751"/>
                        <a:pt x="968" y="484"/>
                      </a:cubicBezTo>
                      <a:cubicBezTo>
                        <a:pt x="968" y="218"/>
                        <a:pt x="750" y="1"/>
                        <a:pt x="484" y="1"/>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7186" name="Google Shape;7186;p104"/>
              <p:cNvGrpSpPr/>
              <p:nvPr/>
            </p:nvGrpSpPr>
            <p:grpSpPr>
              <a:xfrm>
                <a:off x="4001472" y="3287462"/>
                <a:ext cx="31499" cy="26945"/>
                <a:chOff x="4001472" y="3287462"/>
                <a:chExt cx="31499" cy="26945"/>
              </a:xfrm>
            </p:grpSpPr>
            <p:sp>
              <p:nvSpPr>
                <p:cNvPr id="7187" name="Google Shape;7187;p104"/>
                <p:cNvSpPr/>
                <p:nvPr/>
              </p:nvSpPr>
              <p:spPr>
                <a:xfrm>
                  <a:off x="4001472" y="3287462"/>
                  <a:ext cx="31499" cy="26945"/>
                </a:xfrm>
                <a:custGeom>
                  <a:avLst/>
                  <a:gdLst/>
                  <a:ahLst/>
                  <a:cxnLst/>
                  <a:rect l="l" t="t" r="r" b="b"/>
                  <a:pathLst>
                    <a:path w="4005" h="3426" extrusionOk="0">
                      <a:moveTo>
                        <a:pt x="2276" y="1"/>
                      </a:moveTo>
                      <a:cubicBezTo>
                        <a:pt x="1854" y="1"/>
                        <a:pt x="1425" y="158"/>
                        <a:pt x="1077" y="510"/>
                      </a:cubicBezTo>
                      <a:cubicBezTo>
                        <a:pt x="0" y="1587"/>
                        <a:pt x="762" y="3425"/>
                        <a:pt x="2286" y="3425"/>
                      </a:cubicBezTo>
                      <a:cubicBezTo>
                        <a:pt x="3230" y="3425"/>
                        <a:pt x="3992" y="2663"/>
                        <a:pt x="4004" y="1720"/>
                      </a:cubicBezTo>
                      <a:cubicBezTo>
                        <a:pt x="4004" y="688"/>
                        <a:pt x="3157" y="1"/>
                        <a:pt x="2276" y="1"/>
                      </a:cubicBez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188" name="Google Shape;7188;p104"/>
                <p:cNvSpPr/>
                <p:nvPr/>
              </p:nvSpPr>
              <p:spPr>
                <a:xfrm>
                  <a:off x="4014410" y="3297175"/>
                  <a:ext cx="8856" cy="7590"/>
                </a:xfrm>
                <a:custGeom>
                  <a:avLst/>
                  <a:gdLst/>
                  <a:ahLst/>
                  <a:cxnLst/>
                  <a:rect l="l" t="t" r="r" b="b"/>
                  <a:pathLst>
                    <a:path w="1126" h="965" extrusionOk="0">
                      <a:moveTo>
                        <a:pt x="641" y="1"/>
                      </a:moveTo>
                      <a:cubicBezTo>
                        <a:pt x="218" y="1"/>
                        <a:pt x="0" y="521"/>
                        <a:pt x="303" y="823"/>
                      </a:cubicBezTo>
                      <a:cubicBezTo>
                        <a:pt x="400" y="921"/>
                        <a:pt x="520" y="964"/>
                        <a:pt x="638" y="964"/>
                      </a:cubicBezTo>
                      <a:cubicBezTo>
                        <a:pt x="886" y="964"/>
                        <a:pt x="1125" y="772"/>
                        <a:pt x="1125" y="485"/>
                      </a:cubicBezTo>
                      <a:cubicBezTo>
                        <a:pt x="1125" y="206"/>
                        <a:pt x="908" y="1"/>
                        <a:pt x="641" y="1"/>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grpSp>
          <p:nvGrpSpPr>
            <p:cNvPr id="7189" name="Google Shape;7189;p104"/>
            <p:cNvGrpSpPr/>
            <p:nvPr/>
          </p:nvGrpSpPr>
          <p:grpSpPr>
            <a:xfrm>
              <a:off x="4084715" y="3258865"/>
              <a:ext cx="184961" cy="137268"/>
              <a:chOff x="4084715" y="3258865"/>
              <a:chExt cx="184961" cy="137268"/>
            </a:xfrm>
          </p:grpSpPr>
          <p:grpSp>
            <p:nvGrpSpPr>
              <p:cNvPr id="7190" name="Google Shape;7190;p104"/>
              <p:cNvGrpSpPr/>
              <p:nvPr/>
            </p:nvGrpSpPr>
            <p:grpSpPr>
              <a:xfrm>
                <a:off x="4107453" y="3271583"/>
                <a:ext cx="153470" cy="110275"/>
                <a:chOff x="4107453" y="3271583"/>
                <a:chExt cx="153470" cy="110275"/>
              </a:xfrm>
            </p:grpSpPr>
            <p:sp>
              <p:nvSpPr>
                <p:cNvPr id="7191" name="Google Shape;7191;p104"/>
                <p:cNvSpPr/>
                <p:nvPr/>
              </p:nvSpPr>
              <p:spPr>
                <a:xfrm>
                  <a:off x="4107453" y="3271583"/>
                  <a:ext cx="153470" cy="110275"/>
                </a:xfrm>
                <a:custGeom>
                  <a:avLst/>
                  <a:gdLst/>
                  <a:ahLst/>
                  <a:cxnLst/>
                  <a:rect l="l" t="t" r="r" b="b"/>
                  <a:pathLst>
                    <a:path w="19513" h="14021" fill="none" extrusionOk="0">
                      <a:moveTo>
                        <a:pt x="19513" y="14021"/>
                      </a:moveTo>
                      <a:lnTo>
                        <a:pt x="14844" y="968"/>
                      </a:lnTo>
                      <a:lnTo>
                        <a:pt x="5674" y="1"/>
                      </a:lnTo>
                      <a:lnTo>
                        <a:pt x="1" y="968"/>
                      </a:lnTo>
                      <a:lnTo>
                        <a:pt x="8977" y="2674"/>
                      </a:lnTo>
                      <a:lnTo>
                        <a:pt x="14360" y="10102"/>
                      </a:lnTo>
                      <a:lnTo>
                        <a:pt x="19029" y="14021"/>
                      </a:lnTo>
                    </a:path>
                  </a:pathLst>
                </a:custGeom>
                <a:noFill/>
                <a:ln w="1825" cap="flat" cmpd="sng">
                  <a:solidFill>
                    <a:srgbClr val="A5B7C5"/>
                  </a:solidFill>
                  <a:prstDash val="solid"/>
                  <a:miter lim="12096"/>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192" name="Google Shape;7192;p104"/>
                <p:cNvSpPr/>
                <p:nvPr/>
              </p:nvSpPr>
              <p:spPr>
                <a:xfrm>
                  <a:off x="4155886" y="3271968"/>
                  <a:ext cx="22171" cy="20559"/>
                </a:xfrm>
                <a:custGeom>
                  <a:avLst/>
                  <a:gdLst/>
                  <a:ahLst/>
                  <a:cxnLst/>
                  <a:rect l="l" t="t" r="r" b="b"/>
                  <a:pathLst>
                    <a:path w="2819" h="2614" fill="none" extrusionOk="0">
                      <a:moveTo>
                        <a:pt x="2819" y="2613"/>
                      </a:moveTo>
                      <a:lnTo>
                        <a:pt x="0" y="0"/>
                      </a:lnTo>
                    </a:path>
                  </a:pathLst>
                </a:custGeom>
                <a:noFill/>
                <a:ln w="1825" cap="flat" cmpd="sng">
                  <a:solidFill>
                    <a:srgbClr val="A5B7C5"/>
                  </a:solidFill>
                  <a:prstDash val="solid"/>
                  <a:miter lim="12096"/>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193" name="Google Shape;7193;p104"/>
                <p:cNvSpPr/>
                <p:nvPr/>
              </p:nvSpPr>
              <p:spPr>
                <a:xfrm>
                  <a:off x="4178049" y="3279196"/>
                  <a:ext cx="42345" cy="13331"/>
                </a:xfrm>
                <a:custGeom>
                  <a:avLst/>
                  <a:gdLst/>
                  <a:ahLst/>
                  <a:cxnLst/>
                  <a:rect l="l" t="t" r="r" b="b"/>
                  <a:pathLst>
                    <a:path w="5384" h="1695" fill="none" extrusionOk="0">
                      <a:moveTo>
                        <a:pt x="1" y="1694"/>
                      </a:moveTo>
                      <a:lnTo>
                        <a:pt x="5384" y="0"/>
                      </a:lnTo>
                    </a:path>
                  </a:pathLst>
                </a:custGeom>
                <a:noFill/>
                <a:ln w="1825" cap="flat" cmpd="sng">
                  <a:solidFill>
                    <a:srgbClr val="A5B7C5"/>
                  </a:solidFill>
                  <a:prstDash val="solid"/>
                  <a:miter lim="12096"/>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194" name="Google Shape;7194;p104"/>
                <p:cNvSpPr/>
                <p:nvPr/>
              </p:nvSpPr>
              <p:spPr>
                <a:xfrm>
                  <a:off x="4220387" y="3279196"/>
                  <a:ext cx="8" cy="71745"/>
                </a:xfrm>
                <a:custGeom>
                  <a:avLst/>
                  <a:gdLst/>
                  <a:ahLst/>
                  <a:cxnLst/>
                  <a:rect l="l" t="t" r="r" b="b"/>
                  <a:pathLst>
                    <a:path w="1" h="9122" fill="none" extrusionOk="0">
                      <a:moveTo>
                        <a:pt x="1" y="0"/>
                      </a:moveTo>
                      <a:lnTo>
                        <a:pt x="1" y="9121"/>
                      </a:lnTo>
                    </a:path>
                  </a:pathLst>
                </a:custGeom>
                <a:noFill/>
                <a:ln w="1825" cap="flat" cmpd="sng">
                  <a:solidFill>
                    <a:srgbClr val="A5B7C5"/>
                  </a:solidFill>
                  <a:prstDash val="solid"/>
                  <a:miter lim="12096"/>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7195" name="Google Shape;7195;p104"/>
              <p:cNvGrpSpPr/>
              <p:nvPr/>
            </p:nvGrpSpPr>
            <p:grpSpPr>
              <a:xfrm>
                <a:off x="4136947" y="3258865"/>
                <a:ext cx="31499" cy="27001"/>
                <a:chOff x="4136947" y="3258865"/>
                <a:chExt cx="31499" cy="27001"/>
              </a:xfrm>
            </p:grpSpPr>
            <p:sp>
              <p:nvSpPr>
                <p:cNvPr id="7196" name="Google Shape;7196;p104"/>
                <p:cNvSpPr/>
                <p:nvPr/>
              </p:nvSpPr>
              <p:spPr>
                <a:xfrm>
                  <a:off x="4136947" y="3258865"/>
                  <a:ext cx="31499" cy="27001"/>
                </a:xfrm>
                <a:custGeom>
                  <a:avLst/>
                  <a:gdLst/>
                  <a:ahLst/>
                  <a:cxnLst/>
                  <a:rect l="l" t="t" r="r" b="b"/>
                  <a:pathLst>
                    <a:path w="4005" h="3433" extrusionOk="0">
                      <a:moveTo>
                        <a:pt x="2285" y="1"/>
                      </a:moveTo>
                      <a:cubicBezTo>
                        <a:pt x="1866" y="1"/>
                        <a:pt x="1438" y="157"/>
                        <a:pt x="1090" y="505"/>
                      </a:cubicBezTo>
                      <a:cubicBezTo>
                        <a:pt x="1" y="1581"/>
                        <a:pt x="775" y="3432"/>
                        <a:pt x="2299" y="3432"/>
                      </a:cubicBezTo>
                      <a:cubicBezTo>
                        <a:pt x="3243" y="3420"/>
                        <a:pt x="4005" y="2658"/>
                        <a:pt x="4005" y="1715"/>
                      </a:cubicBezTo>
                      <a:cubicBezTo>
                        <a:pt x="4005" y="683"/>
                        <a:pt x="3163" y="1"/>
                        <a:pt x="2285" y="1"/>
                      </a:cubicBez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197" name="Google Shape;7197;p104"/>
                <p:cNvSpPr/>
                <p:nvPr/>
              </p:nvSpPr>
              <p:spPr>
                <a:xfrm>
                  <a:off x="4151222" y="3268539"/>
                  <a:ext cx="7621" cy="7621"/>
                </a:xfrm>
                <a:custGeom>
                  <a:avLst/>
                  <a:gdLst/>
                  <a:ahLst/>
                  <a:cxnLst/>
                  <a:rect l="l" t="t" r="r" b="b"/>
                  <a:pathLst>
                    <a:path w="969" h="969" extrusionOk="0">
                      <a:moveTo>
                        <a:pt x="484" y="1"/>
                      </a:moveTo>
                      <a:cubicBezTo>
                        <a:pt x="206" y="1"/>
                        <a:pt x="0" y="218"/>
                        <a:pt x="0" y="485"/>
                      </a:cubicBezTo>
                      <a:cubicBezTo>
                        <a:pt x="0" y="751"/>
                        <a:pt x="206" y="968"/>
                        <a:pt x="484" y="968"/>
                      </a:cubicBezTo>
                      <a:cubicBezTo>
                        <a:pt x="750" y="968"/>
                        <a:pt x="968" y="751"/>
                        <a:pt x="968" y="485"/>
                      </a:cubicBezTo>
                      <a:cubicBezTo>
                        <a:pt x="968" y="218"/>
                        <a:pt x="750" y="1"/>
                        <a:pt x="484" y="1"/>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7198" name="Google Shape;7198;p104"/>
              <p:cNvGrpSpPr/>
              <p:nvPr/>
            </p:nvGrpSpPr>
            <p:grpSpPr>
              <a:xfrm>
                <a:off x="4084715" y="3266478"/>
                <a:ext cx="31468" cy="26898"/>
                <a:chOff x="4084715" y="3266478"/>
                <a:chExt cx="31468" cy="26898"/>
              </a:xfrm>
            </p:grpSpPr>
            <p:sp>
              <p:nvSpPr>
                <p:cNvPr id="7199" name="Google Shape;7199;p104"/>
                <p:cNvSpPr/>
                <p:nvPr/>
              </p:nvSpPr>
              <p:spPr>
                <a:xfrm>
                  <a:off x="4084715" y="3266478"/>
                  <a:ext cx="31468" cy="26898"/>
                </a:xfrm>
                <a:custGeom>
                  <a:avLst/>
                  <a:gdLst/>
                  <a:ahLst/>
                  <a:cxnLst/>
                  <a:rect l="l" t="t" r="r" b="b"/>
                  <a:pathLst>
                    <a:path w="4001" h="3420" extrusionOk="0">
                      <a:moveTo>
                        <a:pt x="2279" y="1"/>
                      </a:moveTo>
                      <a:cubicBezTo>
                        <a:pt x="1859" y="1"/>
                        <a:pt x="1429" y="157"/>
                        <a:pt x="1077" y="505"/>
                      </a:cubicBezTo>
                      <a:cubicBezTo>
                        <a:pt x="1" y="1581"/>
                        <a:pt x="763" y="3420"/>
                        <a:pt x="2287" y="3420"/>
                      </a:cubicBezTo>
                      <a:cubicBezTo>
                        <a:pt x="3231" y="3420"/>
                        <a:pt x="3993" y="2658"/>
                        <a:pt x="3993" y="1726"/>
                      </a:cubicBezTo>
                      <a:cubicBezTo>
                        <a:pt x="4001" y="686"/>
                        <a:pt x="3161" y="1"/>
                        <a:pt x="2279" y="1"/>
                      </a:cubicBez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200" name="Google Shape;7200;p104"/>
                <p:cNvSpPr/>
                <p:nvPr/>
              </p:nvSpPr>
              <p:spPr>
                <a:xfrm>
                  <a:off x="4098896" y="3276152"/>
                  <a:ext cx="7613" cy="7621"/>
                </a:xfrm>
                <a:custGeom>
                  <a:avLst/>
                  <a:gdLst/>
                  <a:ahLst/>
                  <a:cxnLst/>
                  <a:rect l="l" t="t" r="r" b="b"/>
                  <a:pathLst>
                    <a:path w="968" h="969" extrusionOk="0">
                      <a:moveTo>
                        <a:pt x="484" y="0"/>
                      </a:moveTo>
                      <a:cubicBezTo>
                        <a:pt x="218" y="0"/>
                        <a:pt x="0" y="218"/>
                        <a:pt x="0" y="484"/>
                      </a:cubicBezTo>
                      <a:cubicBezTo>
                        <a:pt x="0" y="750"/>
                        <a:pt x="218" y="968"/>
                        <a:pt x="484" y="968"/>
                      </a:cubicBezTo>
                      <a:cubicBezTo>
                        <a:pt x="750" y="968"/>
                        <a:pt x="968" y="750"/>
                        <a:pt x="968" y="484"/>
                      </a:cubicBezTo>
                      <a:cubicBezTo>
                        <a:pt x="968" y="218"/>
                        <a:pt x="750" y="0"/>
                        <a:pt x="484" y="0"/>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7201" name="Google Shape;7201;p104"/>
              <p:cNvGrpSpPr/>
              <p:nvPr/>
            </p:nvGrpSpPr>
            <p:grpSpPr>
              <a:xfrm>
                <a:off x="4159213" y="3279849"/>
                <a:ext cx="31405" cy="26945"/>
                <a:chOff x="4159213" y="3279849"/>
                <a:chExt cx="31405" cy="26945"/>
              </a:xfrm>
            </p:grpSpPr>
            <p:sp>
              <p:nvSpPr>
                <p:cNvPr id="7202" name="Google Shape;7202;p104"/>
                <p:cNvSpPr/>
                <p:nvPr/>
              </p:nvSpPr>
              <p:spPr>
                <a:xfrm>
                  <a:off x="4159213" y="3279849"/>
                  <a:ext cx="31405" cy="26945"/>
                </a:xfrm>
                <a:custGeom>
                  <a:avLst/>
                  <a:gdLst/>
                  <a:ahLst/>
                  <a:cxnLst/>
                  <a:rect l="l" t="t" r="r" b="b"/>
                  <a:pathLst>
                    <a:path w="3993" h="3426" extrusionOk="0">
                      <a:moveTo>
                        <a:pt x="2273" y="1"/>
                      </a:moveTo>
                      <a:cubicBezTo>
                        <a:pt x="1853" y="1"/>
                        <a:pt x="1425" y="158"/>
                        <a:pt x="1077" y="510"/>
                      </a:cubicBezTo>
                      <a:cubicBezTo>
                        <a:pt x="1" y="1587"/>
                        <a:pt x="763" y="3426"/>
                        <a:pt x="2287" y="3426"/>
                      </a:cubicBezTo>
                      <a:cubicBezTo>
                        <a:pt x="3230" y="3426"/>
                        <a:pt x="3992" y="2663"/>
                        <a:pt x="3992" y="1720"/>
                      </a:cubicBezTo>
                      <a:cubicBezTo>
                        <a:pt x="3992" y="689"/>
                        <a:pt x="3151" y="1"/>
                        <a:pt x="2273" y="1"/>
                      </a:cubicBez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203" name="Google Shape;7203;p104"/>
                <p:cNvSpPr/>
                <p:nvPr/>
              </p:nvSpPr>
              <p:spPr>
                <a:xfrm>
                  <a:off x="4173385" y="3289570"/>
                  <a:ext cx="7621" cy="7613"/>
                </a:xfrm>
                <a:custGeom>
                  <a:avLst/>
                  <a:gdLst/>
                  <a:ahLst/>
                  <a:cxnLst/>
                  <a:rect l="l" t="t" r="r" b="b"/>
                  <a:pathLst>
                    <a:path w="969" h="968" extrusionOk="0">
                      <a:moveTo>
                        <a:pt x="485" y="0"/>
                      </a:moveTo>
                      <a:cubicBezTo>
                        <a:pt x="219" y="0"/>
                        <a:pt x="1" y="218"/>
                        <a:pt x="1" y="484"/>
                      </a:cubicBezTo>
                      <a:cubicBezTo>
                        <a:pt x="1" y="750"/>
                        <a:pt x="219" y="968"/>
                        <a:pt x="485" y="968"/>
                      </a:cubicBezTo>
                      <a:cubicBezTo>
                        <a:pt x="751" y="968"/>
                        <a:pt x="969" y="750"/>
                        <a:pt x="969" y="484"/>
                      </a:cubicBezTo>
                      <a:cubicBezTo>
                        <a:pt x="969" y="218"/>
                        <a:pt x="751" y="0"/>
                        <a:pt x="485" y="0"/>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7204" name="Google Shape;7204;p104"/>
              <p:cNvGrpSpPr/>
              <p:nvPr/>
            </p:nvGrpSpPr>
            <p:grpSpPr>
              <a:xfrm>
                <a:off x="4201550" y="3266502"/>
                <a:ext cx="31405" cy="26883"/>
                <a:chOff x="4201550" y="3266502"/>
                <a:chExt cx="31405" cy="26883"/>
              </a:xfrm>
            </p:grpSpPr>
            <p:sp>
              <p:nvSpPr>
                <p:cNvPr id="7205" name="Google Shape;7205;p104"/>
                <p:cNvSpPr/>
                <p:nvPr/>
              </p:nvSpPr>
              <p:spPr>
                <a:xfrm>
                  <a:off x="4201550" y="3266502"/>
                  <a:ext cx="31405" cy="26883"/>
                </a:xfrm>
                <a:custGeom>
                  <a:avLst/>
                  <a:gdLst/>
                  <a:ahLst/>
                  <a:cxnLst/>
                  <a:rect l="l" t="t" r="r" b="b"/>
                  <a:pathLst>
                    <a:path w="3993" h="3418" extrusionOk="0">
                      <a:moveTo>
                        <a:pt x="2266" y="1"/>
                      </a:moveTo>
                      <a:cubicBezTo>
                        <a:pt x="1849" y="1"/>
                        <a:pt x="1423" y="155"/>
                        <a:pt x="1077" y="502"/>
                      </a:cubicBezTo>
                      <a:cubicBezTo>
                        <a:pt x="1" y="1566"/>
                        <a:pt x="751" y="3417"/>
                        <a:pt x="2275" y="3417"/>
                      </a:cubicBezTo>
                      <a:cubicBezTo>
                        <a:pt x="2282" y="3417"/>
                        <a:pt x="2290" y="3417"/>
                        <a:pt x="2297" y="3417"/>
                      </a:cubicBezTo>
                      <a:cubicBezTo>
                        <a:pt x="3230" y="3417"/>
                        <a:pt x="3993" y="2660"/>
                        <a:pt x="3993" y="1723"/>
                      </a:cubicBezTo>
                      <a:cubicBezTo>
                        <a:pt x="3993" y="689"/>
                        <a:pt x="3146" y="1"/>
                        <a:pt x="2266" y="1"/>
                      </a:cubicBez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206" name="Google Shape;7206;p104"/>
                <p:cNvSpPr/>
                <p:nvPr/>
              </p:nvSpPr>
              <p:spPr>
                <a:xfrm>
                  <a:off x="4214331" y="3276247"/>
                  <a:ext cx="8919" cy="7582"/>
                </a:xfrm>
                <a:custGeom>
                  <a:avLst/>
                  <a:gdLst/>
                  <a:ahLst/>
                  <a:cxnLst/>
                  <a:rect l="l" t="t" r="r" b="b"/>
                  <a:pathLst>
                    <a:path w="1134" h="964" extrusionOk="0">
                      <a:moveTo>
                        <a:pt x="635" y="0"/>
                      </a:moveTo>
                      <a:cubicBezTo>
                        <a:pt x="209" y="0"/>
                        <a:pt x="0" y="512"/>
                        <a:pt x="311" y="823"/>
                      </a:cubicBezTo>
                      <a:cubicBezTo>
                        <a:pt x="408" y="920"/>
                        <a:pt x="528" y="964"/>
                        <a:pt x="646" y="964"/>
                      </a:cubicBezTo>
                      <a:cubicBezTo>
                        <a:pt x="895" y="964"/>
                        <a:pt x="1134" y="771"/>
                        <a:pt x="1134" y="484"/>
                      </a:cubicBezTo>
                      <a:cubicBezTo>
                        <a:pt x="1134" y="206"/>
                        <a:pt x="916" y="0"/>
                        <a:pt x="650" y="0"/>
                      </a:cubicBezTo>
                      <a:cubicBezTo>
                        <a:pt x="645" y="0"/>
                        <a:pt x="640" y="0"/>
                        <a:pt x="635" y="0"/>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7207" name="Google Shape;7207;p104"/>
              <p:cNvGrpSpPr/>
              <p:nvPr/>
            </p:nvGrpSpPr>
            <p:grpSpPr>
              <a:xfrm>
                <a:off x="4201550" y="3338278"/>
                <a:ext cx="31405" cy="26930"/>
                <a:chOff x="4201550" y="3338278"/>
                <a:chExt cx="31405" cy="26930"/>
              </a:xfrm>
            </p:grpSpPr>
            <p:sp>
              <p:nvSpPr>
                <p:cNvPr id="7208" name="Google Shape;7208;p104"/>
                <p:cNvSpPr/>
                <p:nvPr/>
              </p:nvSpPr>
              <p:spPr>
                <a:xfrm>
                  <a:off x="4201550" y="3338278"/>
                  <a:ext cx="31405" cy="26930"/>
                </a:xfrm>
                <a:custGeom>
                  <a:avLst/>
                  <a:gdLst/>
                  <a:ahLst/>
                  <a:cxnLst/>
                  <a:rect l="l" t="t" r="r" b="b"/>
                  <a:pathLst>
                    <a:path w="3993" h="3424" extrusionOk="0">
                      <a:moveTo>
                        <a:pt x="2266" y="1"/>
                      </a:moveTo>
                      <a:cubicBezTo>
                        <a:pt x="1848" y="1"/>
                        <a:pt x="1423" y="154"/>
                        <a:pt x="1077" y="497"/>
                      </a:cubicBezTo>
                      <a:cubicBezTo>
                        <a:pt x="1" y="1573"/>
                        <a:pt x="751" y="3412"/>
                        <a:pt x="2275" y="3424"/>
                      </a:cubicBezTo>
                      <a:cubicBezTo>
                        <a:pt x="3218" y="3424"/>
                        <a:pt x="3993" y="2662"/>
                        <a:pt x="3993" y="1718"/>
                      </a:cubicBezTo>
                      <a:cubicBezTo>
                        <a:pt x="3993" y="684"/>
                        <a:pt x="3146" y="1"/>
                        <a:pt x="2266" y="1"/>
                      </a:cubicBez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209" name="Google Shape;7209;p104"/>
                <p:cNvSpPr/>
                <p:nvPr/>
              </p:nvSpPr>
              <p:spPr>
                <a:xfrm>
                  <a:off x="4214331" y="3347976"/>
                  <a:ext cx="8919" cy="7590"/>
                </a:xfrm>
                <a:custGeom>
                  <a:avLst/>
                  <a:gdLst/>
                  <a:ahLst/>
                  <a:cxnLst/>
                  <a:rect l="l" t="t" r="r" b="b"/>
                  <a:pathLst>
                    <a:path w="1134" h="965" extrusionOk="0">
                      <a:moveTo>
                        <a:pt x="671" y="1"/>
                      </a:moveTo>
                      <a:cubicBezTo>
                        <a:pt x="664" y="1"/>
                        <a:pt x="657" y="1"/>
                        <a:pt x="650" y="1"/>
                      </a:cubicBezTo>
                      <a:cubicBezTo>
                        <a:pt x="645" y="1"/>
                        <a:pt x="640" y="1"/>
                        <a:pt x="635" y="1"/>
                      </a:cubicBezTo>
                      <a:cubicBezTo>
                        <a:pt x="209" y="1"/>
                        <a:pt x="0" y="513"/>
                        <a:pt x="311" y="824"/>
                      </a:cubicBezTo>
                      <a:cubicBezTo>
                        <a:pt x="408" y="921"/>
                        <a:pt x="528" y="965"/>
                        <a:pt x="646" y="965"/>
                      </a:cubicBezTo>
                      <a:cubicBezTo>
                        <a:pt x="895" y="965"/>
                        <a:pt x="1134" y="772"/>
                        <a:pt x="1134" y="485"/>
                      </a:cubicBezTo>
                      <a:cubicBezTo>
                        <a:pt x="1134" y="214"/>
                        <a:pt x="927" y="1"/>
                        <a:pt x="671" y="1"/>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7210" name="Google Shape;7210;p104"/>
              <p:cNvGrpSpPr/>
              <p:nvPr/>
            </p:nvGrpSpPr>
            <p:grpSpPr>
              <a:xfrm>
                <a:off x="4238272" y="3369132"/>
                <a:ext cx="31405" cy="27001"/>
                <a:chOff x="4238272" y="3369132"/>
                <a:chExt cx="31405" cy="27001"/>
              </a:xfrm>
            </p:grpSpPr>
            <p:sp>
              <p:nvSpPr>
                <p:cNvPr id="7211" name="Google Shape;7211;p104"/>
                <p:cNvSpPr/>
                <p:nvPr/>
              </p:nvSpPr>
              <p:spPr>
                <a:xfrm>
                  <a:off x="4238272" y="3369132"/>
                  <a:ext cx="31405" cy="27001"/>
                </a:xfrm>
                <a:custGeom>
                  <a:avLst/>
                  <a:gdLst/>
                  <a:ahLst/>
                  <a:cxnLst/>
                  <a:rect l="l" t="t" r="r" b="b"/>
                  <a:pathLst>
                    <a:path w="3993" h="3433" extrusionOk="0">
                      <a:moveTo>
                        <a:pt x="2273" y="1"/>
                      </a:moveTo>
                      <a:cubicBezTo>
                        <a:pt x="1854" y="1"/>
                        <a:pt x="1426" y="157"/>
                        <a:pt x="1078" y="505"/>
                      </a:cubicBezTo>
                      <a:cubicBezTo>
                        <a:pt x="1" y="1582"/>
                        <a:pt x="763" y="3432"/>
                        <a:pt x="2287" y="3432"/>
                      </a:cubicBezTo>
                      <a:cubicBezTo>
                        <a:pt x="3231" y="3432"/>
                        <a:pt x="3993" y="2658"/>
                        <a:pt x="3993" y="1715"/>
                      </a:cubicBezTo>
                      <a:cubicBezTo>
                        <a:pt x="3993" y="683"/>
                        <a:pt x="3151" y="1"/>
                        <a:pt x="2273" y="1"/>
                      </a:cubicBez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212" name="Google Shape;7212;p104"/>
                <p:cNvSpPr/>
                <p:nvPr/>
              </p:nvSpPr>
              <p:spPr>
                <a:xfrm>
                  <a:off x="4251217" y="3378806"/>
                  <a:ext cx="8856" cy="7605"/>
                </a:xfrm>
                <a:custGeom>
                  <a:avLst/>
                  <a:gdLst/>
                  <a:ahLst/>
                  <a:cxnLst/>
                  <a:rect l="l" t="t" r="r" b="b"/>
                  <a:pathLst>
                    <a:path w="1126" h="967" extrusionOk="0">
                      <a:moveTo>
                        <a:pt x="641" y="1"/>
                      </a:moveTo>
                      <a:cubicBezTo>
                        <a:pt x="206" y="1"/>
                        <a:pt x="0" y="521"/>
                        <a:pt x="303" y="823"/>
                      </a:cubicBezTo>
                      <a:cubicBezTo>
                        <a:pt x="401" y="922"/>
                        <a:pt x="524" y="967"/>
                        <a:pt x="643" y="967"/>
                      </a:cubicBezTo>
                      <a:cubicBezTo>
                        <a:pt x="889" y="967"/>
                        <a:pt x="1125" y="778"/>
                        <a:pt x="1125" y="485"/>
                      </a:cubicBezTo>
                      <a:cubicBezTo>
                        <a:pt x="1125" y="219"/>
                        <a:pt x="907" y="1"/>
                        <a:pt x="641" y="1"/>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grpSp>
          <p:nvGrpSpPr>
            <p:cNvPr id="7213" name="Google Shape;7213;p104"/>
            <p:cNvGrpSpPr/>
            <p:nvPr/>
          </p:nvGrpSpPr>
          <p:grpSpPr>
            <a:xfrm>
              <a:off x="4068639" y="3200169"/>
              <a:ext cx="77643" cy="37272"/>
              <a:chOff x="4068639" y="3200169"/>
              <a:chExt cx="77643" cy="37272"/>
            </a:xfrm>
          </p:grpSpPr>
          <p:sp>
            <p:nvSpPr>
              <p:cNvPr id="7214" name="Google Shape;7214;p104"/>
              <p:cNvSpPr/>
              <p:nvPr/>
            </p:nvSpPr>
            <p:spPr>
              <a:xfrm>
                <a:off x="4087570" y="3212886"/>
                <a:ext cx="49958" cy="10374"/>
              </a:xfrm>
              <a:custGeom>
                <a:avLst/>
                <a:gdLst/>
                <a:ahLst/>
                <a:cxnLst/>
                <a:rect l="l" t="t" r="r" b="b"/>
                <a:pathLst>
                  <a:path w="6352" h="1319" fill="none" extrusionOk="0">
                    <a:moveTo>
                      <a:pt x="1" y="1319"/>
                    </a:moveTo>
                    <a:lnTo>
                      <a:pt x="6351" y="0"/>
                    </a:lnTo>
                  </a:path>
                </a:pathLst>
              </a:custGeom>
              <a:noFill/>
              <a:ln w="1825" cap="flat" cmpd="sng">
                <a:solidFill>
                  <a:srgbClr val="A5B7C5"/>
                </a:solidFill>
                <a:prstDash val="solid"/>
                <a:miter lim="12096"/>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nvGrpSpPr>
              <p:cNvPr id="7215" name="Google Shape;7215;p104"/>
              <p:cNvGrpSpPr/>
              <p:nvPr/>
            </p:nvGrpSpPr>
            <p:grpSpPr>
              <a:xfrm>
                <a:off x="4114878" y="3200169"/>
                <a:ext cx="31405" cy="26993"/>
                <a:chOff x="4114878" y="3200169"/>
                <a:chExt cx="31405" cy="26993"/>
              </a:xfrm>
            </p:grpSpPr>
            <p:sp>
              <p:nvSpPr>
                <p:cNvPr id="7216" name="Google Shape;7216;p104"/>
                <p:cNvSpPr/>
                <p:nvPr/>
              </p:nvSpPr>
              <p:spPr>
                <a:xfrm>
                  <a:off x="4114878" y="3200169"/>
                  <a:ext cx="31405" cy="26993"/>
                </a:xfrm>
                <a:custGeom>
                  <a:avLst/>
                  <a:gdLst/>
                  <a:ahLst/>
                  <a:cxnLst/>
                  <a:rect l="l" t="t" r="r" b="b"/>
                  <a:pathLst>
                    <a:path w="3993" h="3432" extrusionOk="0">
                      <a:moveTo>
                        <a:pt x="2273" y="0"/>
                      </a:moveTo>
                      <a:cubicBezTo>
                        <a:pt x="1853" y="0"/>
                        <a:pt x="1425" y="156"/>
                        <a:pt x="1077" y="504"/>
                      </a:cubicBezTo>
                      <a:cubicBezTo>
                        <a:pt x="0" y="1581"/>
                        <a:pt x="763" y="3432"/>
                        <a:pt x="2287" y="3432"/>
                      </a:cubicBezTo>
                      <a:cubicBezTo>
                        <a:pt x="3230" y="3432"/>
                        <a:pt x="3992" y="2657"/>
                        <a:pt x="3992" y="1714"/>
                      </a:cubicBezTo>
                      <a:cubicBezTo>
                        <a:pt x="3992" y="683"/>
                        <a:pt x="3151" y="0"/>
                        <a:pt x="2273" y="0"/>
                      </a:cubicBez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217" name="Google Shape;7217;p104"/>
                <p:cNvSpPr/>
                <p:nvPr/>
              </p:nvSpPr>
              <p:spPr>
                <a:xfrm>
                  <a:off x="4127721" y="3209835"/>
                  <a:ext cx="8950" cy="7684"/>
                </a:xfrm>
                <a:custGeom>
                  <a:avLst/>
                  <a:gdLst/>
                  <a:ahLst/>
                  <a:cxnLst/>
                  <a:rect l="l" t="t" r="r" b="b"/>
                  <a:pathLst>
                    <a:path w="1138" h="977" extrusionOk="0">
                      <a:moveTo>
                        <a:pt x="654" y="1"/>
                      </a:moveTo>
                      <a:cubicBezTo>
                        <a:pt x="218" y="1"/>
                        <a:pt x="1" y="521"/>
                        <a:pt x="303" y="836"/>
                      </a:cubicBezTo>
                      <a:cubicBezTo>
                        <a:pt x="400" y="933"/>
                        <a:pt x="519" y="976"/>
                        <a:pt x="637" y="976"/>
                      </a:cubicBezTo>
                      <a:cubicBezTo>
                        <a:pt x="887" y="976"/>
                        <a:pt x="1129" y="781"/>
                        <a:pt x="1138" y="485"/>
                      </a:cubicBezTo>
                      <a:cubicBezTo>
                        <a:pt x="1138" y="219"/>
                        <a:pt x="920" y="1"/>
                        <a:pt x="654" y="1"/>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7218" name="Google Shape;7218;p104"/>
              <p:cNvGrpSpPr/>
              <p:nvPr/>
            </p:nvGrpSpPr>
            <p:grpSpPr>
              <a:xfrm>
                <a:off x="4068639" y="3210535"/>
                <a:ext cx="31499" cy="26906"/>
                <a:chOff x="4068639" y="3210535"/>
                <a:chExt cx="31499" cy="26906"/>
              </a:xfrm>
            </p:grpSpPr>
            <p:sp>
              <p:nvSpPr>
                <p:cNvPr id="7219" name="Google Shape;7219;p104"/>
                <p:cNvSpPr/>
                <p:nvPr/>
              </p:nvSpPr>
              <p:spPr>
                <a:xfrm>
                  <a:off x="4068639" y="3210535"/>
                  <a:ext cx="31499" cy="26906"/>
                </a:xfrm>
                <a:custGeom>
                  <a:avLst/>
                  <a:gdLst/>
                  <a:ahLst/>
                  <a:cxnLst/>
                  <a:rect l="l" t="t" r="r" b="b"/>
                  <a:pathLst>
                    <a:path w="4005" h="3421" extrusionOk="0">
                      <a:moveTo>
                        <a:pt x="2285" y="1"/>
                      </a:moveTo>
                      <a:cubicBezTo>
                        <a:pt x="1865" y="1"/>
                        <a:pt x="1437" y="157"/>
                        <a:pt x="1089" y="505"/>
                      </a:cubicBezTo>
                      <a:cubicBezTo>
                        <a:pt x="0" y="1581"/>
                        <a:pt x="775" y="3420"/>
                        <a:pt x="2299" y="3420"/>
                      </a:cubicBezTo>
                      <a:cubicBezTo>
                        <a:pt x="3242" y="3420"/>
                        <a:pt x="4004" y="2658"/>
                        <a:pt x="4004" y="1714"/>
                      </a:cubicBezTo>
                      <a:cubicBezTo>
                        <a:pt x="4004" y="683"/>
                        <a:pt x="3163" y="1"/>
                        <a:pt x="2285" y="1"/>
                      </a:cubicBez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220" name="Google Shape;7220;p104"/>
                <p:cNvSpPr/>
                <p:nvPr/>
              </p:nvSpPr>
              <p:spPr>
                <a:xfrm>
                  <a:off x="4081577" y="3220209"/>
                  <a:ext cx="8856" cy="7582"/>
                </a:xfrm>
                <a:custGeom>
                  <a:avLst/>
                  <a:gdLst/>
                  <a:ahLst/>
                  <a:cxnLst/>
                  <a:rect l="l" t="t" r="r" b="b"/>
                  <a:pathLst>
                    <a:path w="1126" h="964" extrusionOk="0">
                      <a:moveTo>
                        <a:pt x="642" y="1"/>
                      </a:moveTo>
                      <a:cubicBezTo>
                        <a:pt x="218" y="1"/>
                        <a:pt x="1" y="521"/>
                        <a:pt x="303" y="823"/>
                      </a:cubicBezTo>
                      <a:cubicBezTo>
                        <a:pt x="400" y="920"/>
                        <a:pt x="520" y="964"/>
                        <a:pt x="638" y="964"/>
                      </a:cubicBezTo>
                      <a:cubicBezTo>
                        <a:pt x="887" y="964"/>
                        <a:pt x="1126" y="771"/>
                        <a:pt x="1126" y="484"/>
                      </a:cubicBezTo>
                      <a:cubicBezTo>
                        <a:pt x="1126" y="218"/>
                        <a:pt x="908" y="1"/>
                        <a:pt x="642" y="1"/>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grpSp>
          <p:nvGrpSpPr>
            <p:cNvPr id="7221" name="Google Shape;7221;p104"/>
            <p:cNvGrpSpPr/>
            <p:nvPr/>
          </p:nvGrpSpPr>
          <p:grpSpPr>
            <a:xfrm>
              <a:off x="3869702" y="3066935"/>
              <a:ext cx="382664" cy="190294"/>
              <a:chOff x="3869702" y="3066935"/>
              <a:chExt cx="382664" cy="190294"/>
            </a:xfrm>
          </p:grpSpPr>
          <p:grpSp>
            <p:nvGrpSpPr>
              <p:cNvPr id="7222" name="Google Shape;7222;p104"/>
              <p:cNvGrpSpPr/>
              <p:nvPr/>
            </p:nvGrpSpPr>
            <p:grpSpPr>
              <a:xfrm>
                <a:off x="3888633" y="3082351"/>
                <a:ext cx="351172" cy="160698"/>
                <a:chOff x="3888633" y="3082351"/>
                <a:chExt cx="351172" cy="160698"/>
              </a:xfrm>
            </p:grpSpPr>
            <p:sp>
              <p:nvSpPr>
                <p:cNvPr id="7223" name="Google Shape;7223;p104"/>
                <p:cNvSpPr/>
                <p:nvPr/>
              </p:nvSpPr>
              <p:spPr>
                <a:xfrm>
                  <a:off x="3892440" y="3082351"/>
                  <a:ext cx="347366" cy="160698"/>
                </a:xfrm>
                <a:custGeom>
                  <a:avLst/>
                  <a:gdLst/>
                  <a:ahLst/>
                  <a:cxnLst/>
                  <a:rect l="l" t="t" r="r" b="b"/>
                  <a:pathLst>
                    <a:path w="44166" h="20432" fill="none" extrusionOk="0">
                      <a:moveTo>
                        <a:pt x="7041" y="11529"/>
                      </a:moveTo>
                      <a:lnTo>
                        <a:pt x="22440" y="4162"/>
                      </a:lnTo>
                      <a:lnTo>
                        <a:pt x="34815" y="0"/>
                      </a:lnTo>
                      <a:lnTo>
                        <a:pt x="44166" y="484"/>
                      </a:lnTo>
                      <a:lnTo>
                        <a:pt x="38964" y="8565"/>
                      </a:lnTo>
                      <a:lnTo>
                        <a:pt x="33012" y="10065"/>
                      </a:lnTo>
                      <a:lnTo>
                        <a:pt x="22440" y="4839"/>
                      </a:lnTo>
                      <a:lnTo>
                        <a:pt x="18750" y="15424"/>
                      </a:lnTo>
                      <a:cubicBezTo>
                        <a:pt x="18750" y="15424"/>
                        <a:pt x="6206" y="11154"/>
                        <a:pt x="6557" y="11516"/>
                      </a:cubicBezTo>
                      <a:lnTo>
                        <a:pt x="0" y="20432"/>
                      </a:lnTo>
                    </a:path>
                  </a:pathLst>
                </a:custGeom>
                <a:noFill/>
                <a:ln w="1825" cap="flat" cmpd="sng">
                  <a:solidFill>
                    <a:srgbClr val="A5B7C5"/>
                  </a:solidFill>
                  <a:prstDash val="solid"/>
                  <a:miter lim="12096"/>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224" name="Google Shape;7224;p104"/>
                <p:cNvSpPr/>
                <p:nvPr/>
              </p:nvSpPr>
              <p:spPr>
                <a:xfrm>
                  <a:off x="3888633" y="3172924"/>
                  <a:ext cx="72979" cy="70124"/>
                </a:xfrm>
                <a:custGeom>
                  <a:avLst/>
                  <a:gdLst/>
                  <a:ahLst/>
                  <a:cxnLst/>
                  <a:rect l="l" t="t" r="r" b="b"/>
                  <a:pathLst>
                    <a:path w="9279" h="8916" fill="none" extrusionOk="0">
                      <a:moveTo>
                        <a:pt x="0" y="8916"/>
                      </a:moveTo>
                      <a:lnTo>
                        <a:pt x="9279" y="6883"/>
                      </a:lnTo>
                      <a:lnTo>
                        <a:pt x="7041" y="0"/>
                      </a:lnTo>
                    </a:path>
                  </a:pathLst>
                </a:custGeom>
                <a:noFill/>
                <a:ln w="1825" cap="flat" cmpd="sng">
                  <a:solidFill>
                    <a:srgbClr val="A5B7C5"/>
                  </a:solidFill>
                  <a:prstDash val="solid"/>
                  <a:miter lim="12096"/>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225" name="Google Shape;7225;p104"/>
                <p:cNvSpPr/>
                <p:nvPr/>
              </p:nvSpPr>
              <p:spPr>
                <a:xfrm>
                  <a:off x="3960370" y="3203653"/>
                  <a:ext cx="79547" cy="19607"/>
                </a:xfrm>
                <a:custGeom>
                  <a:avLst/>
                  <a:gdLst/>
                  <a:ahLst/>
                  <a:cxnLst/>
                  <a:rect l="l" t="t" r="r" b="b"/>
                  <a:pathLst>
                    <a:path w="10114" h="2493" fill="none" extrusionOk="0">
                      <a:moveTo>
                        <a:pt x="0" y="2493"/>
                      </a:moveTo>
                      <a:lnTo>
                        <a:pt x="10113" y="1"/>
                      </a:lnTo>
                    </a:path>
                  </a:pathLst>
                </a:custGeom>
                <a:noFill/>
                <a:ln w="1825" cap="flat" cmpd="sng">
                  <a:solidFill>
                    <a:srgbClr val="A5B7C5"/>
                  </a:solidFill>
                  <a:prstDash val="solid"/>
                  <a:miter lim="12096"/>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226" name="Google Shape;7226;p104"/>
                <p:cNvSpPr/>
                <p:nvPr/>
              </p:nvSpPr>
              <p:spPr>
                <a:xfrm>
                  <a:off x="4043613" y="3161504"/>
                  <a:ext cx="108474" cy="42156"/>
                </a:xfrm>
                <a:custGeom>
                  <a:avLst/>
                  <a:gdLst/>
                  <a:ahLst/>
                  <a:cxnLst/>
                  <a:rect l="l" t="t" r="r" b="b"/>
                  <a:pathLst>
                    <a:path w="13792" h="5360" fill="none" extrusionOk="0">
                      <a:moveTo>
                        <a:pt x="1" y="5360"/>
                      </a:moveTo>
                      <a:lnTo>
                        <a:pt x="13791" y="1"/>
                      </a:lnTo>
                    </a:path>
                  </a:pathLst>
                </a:custGeom>
                <a:noFill/>
                <a:ln w="1825" cap="flat" cmpd="sng">
                  <a:solidFill>
                    <a:srgbClr val="A5B7C5"/>
                  </a:solidFill>
                  <a:prstDash val="solid"/>
                  <a:miter lim="12096"/>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227" name="Google Shape;7227;p104"/>
                <p:cNvSpPr/>
                <p:nvPr/>
              </p:nvSpPr>
              <p:spPr>
                <a:xfrm>
                  <a:off x="4152079" y="3082351"/>
                  <a:ext cx="17224" cy="82968"/>
                </a:xfrm>
                <a:custGeom>
                  <a:avLst/>
                  <a:gdLst/>
                  <a:ahLst/>
                  <a:cxnLst/>
                  <a:rect l="l" t="t" r="r" b="b"/>
                  <a:pathLst>
                    <a:path w="2190" h="10549" fill="none" extrusionOk="0">
                      <a:moveTo>
                        <a:pt x="0" y="10549"/>
                      </a:moveTo>
                      <a:lnTo>
                        <a:pt x="2190" y="0"/>
                      </a:lnTo>
                    </a:path>
                  </a:pathLst>
                </a:custGeom>
                <a:noFill/>
                <a:ln w="1825" cap="flat" cmpd="sng">
                  <a:solidFill>
                    <a:srgbClr val="A5B7C5"/>
                  </a:solidFill>
                  <a:prstDash val="solid"/>
                  <a:miter lim="12096"/>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228" name="Google Shape;7228;p104"/>
                <p:cNvSpPr/>
                <p:nvPr/>
              </p:nvSpPr>
              <p:spPr>
                <a:xfrm>
                  <a:off x="4169296" y="3082351"/>
                  <a:ext cx="25797" cy="63557"/>
                </a:xfrm>
                <a:custGeom>
                  <a:avLst/>
                  <a:gdLst/>
                  <a:ahLst/>
                  <a:cxnLst/>
                  <a:rect l="l" t="t" r="r" b="b"/>
                  <a:pathLst>
                    <a:path w="3280" h="8081" fill="none" extrusionOk="0">
                      <a:moveTo>
                        <a:pt x="1" y="0"/>
                      </a:moveTo>
                      <a:lnTo>
                        <a:pt x="3279" y="8081"/>
                      </a:lnTo>
                    </a:path>
                  </a:pathLst>
                </a:custGeom>
                <a:noFill/>
                <a:ln w="1825" cap="flat" cmpd="sng">
                  <a:solidFill>
                    <a:srgbClr val="A5B7C5"/>
                  </a:solidFill>
                  <a:prstDash val="solid"/>
                  <a:miter lim="12096"/>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7229" name="Google Shape;7229;p104"/>
              <p:cNvGrpSpPr/>
              <p:nvPr/>
            </p:nvGrpSpPr>
            <p:grpSpPr>
              <a:xfrm>
                <a:off x="4143703" y="3066935"/>
                <a:ext cx="37783" cy="32357"/>
                <a:chOff x="4143703" y="3066935"/>
                <a:chExt cx="37783" cy="32357"/>
              </a:xfrm>
            </p:grpSpPr>
            <p:sp>
              <p:nvSpPr>
                <p:cNvPr id="7230" name="Google Shape;7230;p104"/>
                <p:cNvSpPr/>
                <p:nvPr/>
              </p:nvSpPr>
              <p:spPr>
                <a:xfrm>
                  <a:off x="4143703" y="3066935"/>
                  <a:ext cx="37783" cy="32357"/>
                </a:xfrm>
                <a:custGeom>
                  <a:avLst/>
                  <a:gdLst/>
                  <a:ahLst/>
                  <a:cxnLst/>
                  <a:rect l="l" t="t" r="r" b="b"/>
                  <a:pathLst>
                    <a:path w="4804" h="4114" extrusionOk="0">
                      <a:moveTo>
                        <a:pt x="2731" y="0"/>
                      </a:moveTo>
                      <a:cubicBezTo>
                        <a:pt x="2227" y="0"/>
                        <a:pt x="1713" y="188"/>
                        <a:pt x="1295" y="605"/>
                      </a:cubicBezTo>
                      <a:cubicBezTo>
                        <a:pt x="1" y="1900"/>
                        <a:pt x="920" y="4114"/>
                        <a:pt x="2747" y="4114"/>
                      </a:cubicBezTo>
                      <a:cubicBezTo>
                        <a:pt x="3884" y="4114"/>
                        <a:pt x="4803" y="3194"/>
                        <a:pt x="4803" y="2069"/>
                      </a:cubicBezTo>
                      <a:cubicBezTo>
                        <a:pt x="4803" y="824"/>
                        <a:pt x="3788" y="0"/>
                        <a:pt x="2731" y="0"/>
                      </a:cubicBez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231" name="Google Shape;7231;p104"/>
                <p:cNvSpPr/>
                <p:nvPr/>
              </p:nvSpPr>
              <p:spPr>
                <a:xfrm>
                  <a:off x="4158741" y="3076641"/>
                  <a:ext cx="13040" cy="13040"/>
                </a:xfrm>
                <a:custGeom>
                  <a:avLst/>
                  <a:gdLst/>
                  <a:ahLst/>
                  <a:cxnLst/>
                  <a:rect l="l" t="t" r="r" b="b"/>
                  <a:pathLst>
                    <a:path w="1658" h="1658" extrusionOk="0">
                      <a:moveTo>
                        <a:pt x="835" y="1"/>
                      </a:moveTo>
                      <a:cubicBezTo>
                        <a:pt x="375" y="1"/>
                        <a:pt x="0" y="376"/>
                        <a:pt x="0" y="823"/>
                      </a:cubicBezTo>
                      <a:cubicBezTo>
                        <a:pt x="0" y="1283"/>
                        <a:pt x="375" y="1658"/>
                        <a:pt x="835" y="1658"/>
                      </a:cubicBezTo>
                      <a:cubicBezTo>
                        <a:pt x="1294" y="1658"/>
                        <a:pt x="1657" y="1283"/>
                        <a:pt x="1657" y="823"/>
                      </a:cubicBezTo>
                      <a:cubicBezTo>
                        <a:pt x="1657" y="376"/>
                        <a:pt x="1294" y="1"/>
                        <a:pt x="835" y="1"/>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7232" name="Google Shape;7232;p104"/>
              <p:cNvGrpSpPr/>
              <p:nvPr/>
            </p:nvGrpSpPr>
            <p:grpSpPr>
              <a:xfrm>
                <a:off x="4044565" y="3103563"/>
                <a:ext cx="37783" cy="32451"/>
                <a:chOff x="4044565" y="3103563"/>
                <a:chExt cx="37783" cy="32451"/>
              </a:xfrm>
            </p:grpSpPr>
            <p:sp>
              <p:nvSpPr>
                <p:cNvPr id="7233" name="Google Shape;7233;p104"/>
                <p:cNvSpPr/>
                <p:nvPr/>
              </p:nvSpPr>
              <p:spPr>
                <a:xfrm>
                  <a:off x="4044565" y="3103563"/>
                  <a:ext cx="37783" cy="32451"/>
                </a:xfrm>
                <a:custGeom>
                  <a:avLst/>
                  <a:gdLst/>
                  <a:ahLst/>
                  <a:cxnLst/>
                  <a:rect l="l" t="t" r="r" b="b"/>
                  <a:pathLst>
                    <a:path w="4804" h="4126" extrusionOk="0">
                      <a:moveTo>
                        <a:pt x="2731" y="1"/>
                      </a:moveTo>
                      <a:cubicBezTo>
                        <a:pt x="2227" y="1"/>
                        <a:pt x="1713" y="188"/>
                        <a:pt x="1295" y="606"/>
                      </a:cubicBezTo>
                      <a:cubicBezTo>
                        <a:pt x="1" y="1900"/>
                        <a:pt x="908" y="4114"/>
                        <a:pt x="2747" y="4126"/>
                      </a:cubicBezTo>
                      <a:cubicBezTo>
                        <a:pt x="3884" y="4114"/>
                        <a:pt x="4803" y="3194"/>
                        <a:pt x="4803" y="2069"/>
                      </a:cubicBezTo>
                      <a:cubicBezTo>
                        <a:pt x="4803" y="824"/>
                        <a:pt x="3788" y="1"/>
                        <a:pt x="2731" y="1"/>
                      </a:cubicBez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234" name="Google Shape;7234;p104"/>
                <p:cNvSpPr/>
                <p:nvPr/>
              </p:nvSpPr>
              <p:spPr>
                <a:xfrm>
                  <a:off x="4059602" y="3113268"/>
                  <a:ext cx="13040" cy="13048"/>
                </a:xfrm>
                <a:custGeom>
                  <a:avLst/>
                  <a:gdLst/>
                  <a:ahLst/>
                  <a:cxnLst/>
                  <a:rect l="l" t="t" r="r" b="b"/>
                  <a:pathLst>
                    <a:path w="1658" h="1659" extrusionOk="0">
                      <a:moveTo>
                        <a:pt x="835" y="1"/>
                      </a:moveTo>
                      <a:cubicBezTo>
                        <a:pt x="375" y="1"/>
                        <a:pt x="0" y="376"/>
                        <a:pt x="0" y="835"/>
                      </a:cubicBezTo>
                      <a:cubicBezTo>
                        <a:pt x="0" y="1283"/>
                        <a:pt x="375" y="1658"/>
                        <a:pt x="835" y="1658"/>
                      </a:cubicBezTo>
                      <a:cubicBezTo>
                        <a:pt x="1295" y="1658"/>
                        <a:pt x="1657" y="1283"/>
                        <a:pt x="1657" y="835"/>
                      </a:cubicBezTo>
                      <a:cubicBezTo>
                        <a:pt x="1657" y="376"/>
                        <a:pt x="1295" y="1"/>
                        <a:pt x="835" y="1"/>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7235" name="Google Shape;7235;p104"/>
              <p:cNvGrpSpPr/>
              <p:nvPr/>
            </p:nvGrpSpPr>
            <p:grpSpPr>
              <a:xfrm>
                <a:off x="4017454" y="3188237"/>
                <a:ext cx="37776" cy="32357"/>
                <a:chOff x="4017454" y="3188237"/>
                <a:chExt cx="37776" cy="32357"/>
              </a:xfrm>
            </p:grpSpPr>
            <p:sp>
              <p:nvSpPr>
                <p:cNvPr id="7236" name="Google Shape;7236;p104"/>
                <p:cNvSpPr/>
                <p:nvPr/>
              </p:nvSpPr>
              <p:spPr>
                <a:xfrm>
                  <a:off x="4017454" y="3188237"/>
                  <a:ext cx="37776" cy="32357"/>
                </a:xfrm>
                <a:custGeom>
                  <a:avLst/>
                  <a:gdLst/>
                  <a:ahLst/>
                  <a:cxnLst/>
                  <a:rect l="l" t="t" r="r" b="b"/>
                  <a:pathLst>
                    <a:path w="4803" h="4114" extrusionOk="0">
                      <a:moveTo>
                        <a:pt x="2732" y="0"/>
                      </a:moveTo>
                      <a:cubicBezTo>
                        <a:pt x="2227" y="0"/>
                        <a:pt x="1713" y="188"/>
                        <a:pt x="1295" y="606"/>
                      </a:cubicBezTo>
                      <a:cubicBezTo>
                        <a:pt x="0" y="1900"/>
                        <a:pt x="908" y="4114"/>
                        <a:pt x="2746" y="4114"/>
                      </a:cubicBezTo>
                      <a:cubicBezTo>
                        <a:pt x="3883" y="4114"/>
                        <a:pt x="4803" y="3195"/>
                        <a:pt x="4803" y="2057"/>
                      </a:cubicBezTo>
                      <a:cubicBezTo>
                        <a:pt x="4803" y="821"/>
                        <a:pt x="3789" y="0"/>
                        <a:pt x="2732" y="0"/>
                      </a:cubicBez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237" name="Google Shape;7237;p104"/>
                <p:cNvSpPr/>
                <p:nvPr/>
              </p:nvSpPr>
              <p:spPr>
                <a:xfrm>
                  <a:off x="4032484" y="3197943"/>
                  <a:ext cx="13040" cy="13048"/>
                </a:xfrm>
                <a:custGeom>
                  <a:avLst/>
                  <a:gdLst/>
                  <a:ahLst/>
                  <a:cxnLst/>
                  <a:rect l="l" t="t" r="r" b="b"/>
                  <a:pathLst>
                    <a:path w="1658" h="1659" extrusionOk="0">
                      <a:moveTo>
                        <a:pt x="835" y="1"/>
                      </a:moveTo>
                      <a:cubicBezTo>
                        <a:pt x="376" y="1"/>
                        <a:pt x="1" y="376"/>
                        <a:pt x="1" y="823"/>
                      </a:cubicBezTo>
                      <a:cubicBezTo>
                        <a:pt x="1" y="1283"/>
                        <a:pt x="376" y="1658"/>
                        <a:pt x="835" y="1658"/>
                      </a:cubicBezTo>
                      <a:cubicBezTo>
                        <a:pt x="1295" y="1658"/>
                        <a:pt x="1658" y="1283"/>
                        <a:pt x="1658" y="823"/>
                      </a:cubicBezTo>
                      <a:cubicBezTo>
                        <a:pt x="1658" y="376"/>
                        <a:pt x="1295" y="1"/>
                        <a:pt x="835" y="1"/>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7238" name="Google Shape;7238;p104"/>
              <p:cNvGrpSpPr/>
              <p:nvPr/>
            </p:nvGrpSpPr>
            <p:grpSpPr>
              <a:xfrm>
                <a:off x="3921548" y="3157509"/>
                <a:ext cx="37783" cy="32357"/>
                <a:chOff x="3921548" y="3157509"/>
                <a:chExt cx="37783" cy="32357"/>
              </a:xfrm>
            </p:grpSpPr>
            <p:sp>
              <p:nvSpPr>
                <p:cNvPr id="7239" name="Google Shape;7239;p104"/>
                <p:cNvSpPr/>
                <p:nvPr/>
              </p:nvSpPr>
              <p:spPr>
                <a:xfrm>
                  <a:off x="3921548" y="3157509"/>
                  <a:ext cx="37783" cy="32357"/>
                </a:xfrm>
                <a:custGeom>
                  <a:avLst/>
                  <a:gdLst/>
                  <a:ahLst/>
                  <a:cxnLst/>
                  <a:rect l="l" t="t" r="r" b="b"/>
                  <a:pathLst>
                    <a:path w="4804" h="4114" extrusionOk="0">
                      <a:moveTo>
                        <a:pt x="2732" y="0"/>
                      </a:moveTo>
                      <a:cubicBezTo>
                        <a:pt x="2228" y="0"/>
                        <a:pt x="1713" y="187"/>
                        <a:pt x="1295" y="606"/>
                      </a:cubicBezTo>
                      <a:cubicBezTo>
                        <a:pt x="1" y="1900"/>
                        <a:pt x="908" y="4114"/>
                        <a:pt x="2747" y="4114"/>
                      </a:cubicBezTo>
                      <a:cubicBezTo>
                        <a:pt x="3872" y="4114"/>
                        <a:pt x="4803" y="3194"/>
                        <a:pt x="4803" y="2057"/>
                      </a:cubicBezTo>
                      <a:cubicBezTo>
                        <a:pt x="4803" y="821"/>
                        <a:pt x="3789" y="0"/>
                        <a:pt x="2732" y="0"/>
                      </a:cubicBez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240" name="Google Shape;7240;p104"/>
                <p:cNvSpPr/>
                <p:nvPr/>
              </p:nvSpPr>
              <p:spPr>
                <a:xfrm>
                  <a:off x="3936586" y="3167214"/>
                  <a:ext cx="13040" cy="13040"/>
                </a:xfrm>
                <a:custGeom>
                  <a:avLst/>
                  <a:gdLst/>
                  <a:ahLst/>
                  <a:cxnLst/>
                  <a:rect l="l" t="t" r="r" b="b"/>
                  <a:pathLst>
                    <a:path w="1658" h="1658" extrusionOk="0">
                      <a:moveTo>
                        <a:pt x="835" y="1"/>
                      </a:moveTo>
                      <a:cubicBezTo>
                        <a:pt x="375" y="1"/>
                        <a:pt x="0" y="364"/>
                        <a:pt x="0" y="823"/>
                      </a:cubicBezTo>
                      <a:cubicBezTo>
                        <a:pt x="0" y="1283"/>
                        <a:pt x="375" y="1658"/>
                        <a:pt x="835" y="1658"/>
                      </a:cubicBezTo>
                      <a:cubicBezTo>
                        <a:pt x="1282" y="1658"/>
                        <a:pt x="1657" y="1283"/>
                        <a:pt x="1657" y="823"/>
                      </a:cubicBezTo>
                      <a:cubicBezTo>
                        <a:pt x="1657" y="364"/>
                        <a:pt x="1282" y="1"/>
                        <a:pt x="835" y="1"/>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7241" name="Google Shape;7241;p104"/>
              <p:cNvGrpSpPr/>
              <p:nvPr/>
            </p:nvGrpSpPr>
            <p:grpSpPr>
              <a:xfrm>
                <a:off x="3939056" y="3211620"/>
                <a:ext cx="37783" cy="32380"/>
                <a:chOff x="3939056" y="3211620"/>
                <a:chExt cx="37783" cy="32380"/>
              </a:xfrm>
            </p:grpSpPr>
            <p:sp>
              <p:nvSpPr>
                <p:cNvPr id="7242" name="Google Shape;7242;p104"/>
                <p:cNvSpPr/>
                <p:nvPr/>
              </p:nvSpPr>
              <p:spPr>
                <a:xfrm>
                  <a:off x="3939056" y="3211620"/>
                  <a:ext cx="37783" cy="32380"/>
                </a:xfrm>
                <a:custGeom>
                  <a:avLst/>
                  <a:gdLst/>
                  <a:ahLst/>
                  <a:cxnLst/>
                  <a:rect l="l" t="t" r="r" b="b"/>
                  <a:pathLst>
                    <a:path w="4804" h="4117" extrusionOk="0">
                      <a:moveTo>
                        <a:pt x="2737" y="1"/>
                      </a:moveTo>
                      <a:cubicBezTo>
                        <a:pt x="2231" y="1"/>
                        <a:pt x="1715" y="189"/>
                        <a:pt x="1295" y="609"/>
                      </a:cubicBezTo>
                      <a:cubicBezTo>
                        <a:pt x="1" y="1903"/>
                        <a:pt x="920" y="4117"/>
                        <a:pt x="2759" y="4117"/>
                      </a:cubicBezTo>
                      <a:cubicBezTo>
                        <a:pt x="3884" y="4117"/>
                        <a:pt x="4803" y="3197"/>
                        <a:pt x="4803" y="2060"/>
                      </a:cubicBezTo>
                      <a:cubicBezTo>
                        <a:pt x="4803" y="818"/>
                        <a:pt x="3792" y="1"/>
                        <a:pt x="2737" y="1"/>
                      </a:cubicBez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243" name="Google Shape;7243;p104"/>
                <p:cNvSpPr/>
                <p:nvPr/>
              </p:nvSpPr>
              <p:spPr>
                <a:xfrm>
                  <a:off x="3954188" y="3221255"/>
                  <a:ext cx="13040" cy="13040"/>
                </a:xfrm>
                <a:custGeom>
                  <a:avLst/>
                  <a:gdLst/>
                  <a:ahLst/>
                  <a:cxnLst/>
                  <a:rect l="l" t="t" r="r" b="b"/>
                  <a:pathLst>
                    <a:path w="1658" h="1658" extrusionOk="0">
                      <a:moveTo>
                        <a:pt x="823" y="1"/>
                      </a:moveTo>
                      <a:cubicBezTo>
                        <a:pt x="375" y="1"/>
                        <a:pt x="0" y="376"/>
                        <a:pt x="0" y="835"/>
                      </a:cubicBezTo>
                      <a:cubicBezTo>
                        <a:pt x="0" y="1295"/>
                        <a:pt x="375" y="1658"/>
                        <a:pt x="823" y="1658"/>
                      </a:cubicBezTo>
                      <a:cubicBezTo>
                        <a:pt x="1282" y="1658"/>
                        <a:pt x="1657" y="1295"/>
                        <a:pt x="1657" y="835"/>
                      </a:cubicBezTo>
                      <a:cubicBezTo>
                        <a:pt x="1657" y="376"/>
                        <a:pt x="1282" y="1"/>
                        <a:pt x="823" y="1"/>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7244" name="Google Shape;7244;p104"/>
              <p:cNvGrpSpPr/>
              <p:nvPr/>
            </p:nvGrpSpPr>
            <p:grpSpPr>
              <a:xfrm>
                <a:off x="4176240" y="3136965"/>
                <a:ext cx="31405" cy="26930"/>
                <a:chOff x="4176240" y="3136965"/>
                <a:chExt cx="31405" cy="26930"/>
              </a:xfrm>
            </p:grpSpPr>
            <p:sp>
              <p:nvSpPr>
                <p:cNvPr id="7245" name="Google Shape;7245;p104"/>
                <p:cNvSpPr/>
                <p:nvPr/>
              </p:nvSpPr>
              <p:spPr>
                <a:xfrm>
                  <a:off x="4176240" y="3136965"/>
                  <a:ext cx="31405" cy="26930"/>
                </a:xfrm>
                <a:custGeom>
                  <a:avLst/>
                  <a:gdLst/>
                  <a:ahLst/>
                  <a:cxnLst/>
                  <a:rect l="l" t="t" r="r" b="b"/>
                  <a:pathLst>
                    <a:path w="3993" h="3424" extrusionOk="0">
                      <a:moveTo>
                        <a:pt x="2268" y="1"/>
                      </a:moveTo>
                      <a:cubicBezTo>
                        <a:pt x="1846" y="1"/>
                        <a:pt x="1415" y="158"/>
                        <a:pt x="1065" y="508"/>
                      </a:cubicBezTo>
                      <a:cubicBezTo>
                        <a:pt x="1" y="1585"/>
                        <a:pt x="763" y="3423"/>
                        <a:pt x="2275" y="3423"/>
                      </a:cubicBezTo>
                      <a:cubicBezTo>
                        <a:pt x="3231" y="3423"/>
                        <a:pt x="3993" y="2649"/>
                        <a:pt x="3993" y="1705"/>
                      </a:cubicBezTo>
                      <a:cubicBezTo>
                        <a:pt x="3985" y="677"/>
                        <a:pt x="3145" y="1"/>
                        <a:pt x="2268" y="1"/>
                      </a:cubicBez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246" name="Google Shape;7246;p104"/>
                <p:cNvSpPr/>
                <p:nvPr/>
              </p:nvSpPr>
              <p:spPr>
                <a:xfrm>
                  <a:off x="4190327" y="3146663"/>
                  <a:ext cx="7613" cy="7621"/>
                </a:xfrm>
                <a:custGeom>
                  <a:avLst/>
                  <a:gdLst/>
                  <a:ahLst/>
                  <a:cxnLst/>
                  <a:rect l="l" t="t" r="r" b="b"/>
                  <a:pathLst>
                    <a:path w="968" h="969" extrusionOk="0">
                      <a:moveTo>
                        <a:pt x="484" y="1"/>
                      </a:moveTo>
                      <a:cubicBezTo>
                        <a:pt x="218" y="1"/>
                        <a:pt x="0" y="218"/>
                        <a:pt x="0" y="485"/>
                      </a:cubicBezTo>
                      <a:cubicBezTo>
                        <a:pt x="0" y="751"/>
                        <a:pt x="218" y="968"/>
                        <a:pt x="484" y="968"/>
                      </a:cubicBezTo>
                      <a:cubicBezTo>
                        <a:pt x="750" y="968"/>
                        <a:pt x="968" y="751"/>
                        <a:pt x="968" y="485"/>
                      </a:cubicBezTo>
                      <a:cubicBezTo>
                        <a:pt x="968" y="218"/>
                        <a:pt x="750" y="1"/>
                        <a:pt x="484" y="1"/>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7247" name="Google Shape;7247;p104"/>
              <p:cNvGrpSpPr/>
              <p:nvPr/>
            </p:nvGrpSpPr>
            <p:grpSpPr>
              <a:xfrm>
                <a:off x="4133148" y="3152593"/>
                <a:ext cx="31499" cy="27001"/>
                <a:chOff x="4133148" y="3152593"/>
                <a:chExt cx="31499" cy="27001"/>
              </a:xfrm>
            </p:grpSpPr>
            <p:sp>
              <p:nvSpPr>
                <p:cNvPr id="7248" name="Google Shape;7248;p104"/>
                <p:cNvSpPr/>
                <p:nvPr/>
              </p:nvSpPr>
              <p:spPr>
                <a:xfrm>
                  <a:off x="4133148" y="3152593"/>
                  <a:ext cx="31499" cy="27001"/>
                </a:xfrm>
                <a:custGeom>
                  <a:avLst/>
                  <a:gdLst/>
                  <a:ahLst/>
                  <a:cxnLst/>
                  <a:rect l="l" t="t" r="r" b="b"/>
                  <a:pathLst>
                    <a:path w="4005" h="3433" extrusionOk="0">
                      <a:moveTo>
                        <a:pt x="2284" y="1"/>
                      </a:moveTo>
                      <a:cubicBezTo>
                        <a:pt x="1865" y="1"/>
                        <a:pt x="1437" y="157"/>
                        <a:pt x="1089" y="505"/>
                      </a:cubicBezTo>
                      <a:cubicBezTo>
                        <a:pt x="0" y="1581"/>
                        <a:pt x="774" y="3432"/>
                        <a:pt x="2298" y="3432"/>
                      </a:cubicBezTo>
                      <a:cubicBezTo>
                        <a:pt x="3242" y="3432"/>
                        <a:pt x="4004" y="2658"/>
                        <a:pt x="4004" y="1714"/>
                      </a:cubicBezTo>
                      <a:cubicBezTo>
                        <a:pt x="4004" y="683"/>
                        <a:pt x="3162" y="1"/>
                        <a:pt x="2284" y="1"/>
                      </a:cubicBez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249" name="Google Shape;7249;p104"/>
                <p:cNvSpPr/>
                <p:nvPr/>
              </p:nvSpPr>
              <p:spPr>
                <a:xfrm>
                  <a:off x="4147321" y="3162267"/>
                  <a:ext cx="7621" cy="7621"/>
                </a:xfrm>
                <a:custGeom>
                  <a:avLst/>
                  <a:gdLst/>
                  <a:ahLst/>
                  <a:cxnLst/>
                  <a:rect l="l" t="t" r="r" b="b"/>
                  <a:pathLst>
                    <a:path w="969" h="969" extrusionOk="0">
                      <a:moveTo>
                        <a:pt x="484" y="1"/>
                      </a:moveTo>
                      <a:cubicBezTo>
                        <a:pt x="218" y="1"/>
                        <a:pt x="0" y="218"/>
                        <a:pt x="0" y="484"/>
                      </a:cubicBezTo>
                      <a:cubicBezTo>
                        <a:pt x="0" y="751"/>
                        <a:pt x="218" y="968"/>
                        <a:pt x="484" y="968"/>
                      </a:cubicBezTo>
                      <a:cubicBezTo>
                        <a:pt x="763" y="968"/>
                        <a:pt x="968" y="751"/>
                        <a:pt x="968" y="484"/>
                      </a:cubicBezTo>
                      <a:cubicBezTo>
                        <a:pt x="968" y="218"/>
                        <a:pt x="763" y="1"/>
                        <a:pt x="484" y="1"/>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7250" name="Google Shape;7250;p104"/>
              <p:cNvGrpSpPr/>
              <p:nvPr/>
            </p:nvGrpSpPr>
            <p:grpSpPr>
              <a:xfrm>
                <a:off x="4220866" y="3073534"/>
                <a:ext cx="31499" cy="26898"/>
                <a:chOff x="4220866" y="3073534"/>
                <a:chExt cx="31499" cy="26898"/>
              </a:xfrm>
            </p:grpSpPr>
            <p:sp>
              <p:nvSpPr>
                <p:cNvPr id="7251" name="Google Shape;7251;p104"/>
                <p:cNvSpPr/>
                <p:nvPr/>
              </p:nvSpPr>
              <p:spPr>
                <a:xfrm>
                  <a:off x="4220866" y="3073534"/>
                  <a:ext cx="31499" cy="26898"/>
                </a:xfrm>
                <a:custGeom>
                  <a:avLst/>
                  <a:gdLst/>
                  <a:ahLst/>
                  <a:cxnLst/>
                  <a:rect l="l" t="t" r="r" b="b"/>
                  <a:pathLst>
                    <a:path w="4005" h="3420" extrusionOk="0">
                      <a:moveTo>
                        <a:pt x="2285" y="0"/>
                      </a:moveTo>
                      <a:cubicBezTo>
                        <a:pt x="1865" y="0"/>
                        <a:pt x="1437" y="156"/>
                        <a:pt x="1089" y="504"/>
                      </a:cubicBezTo>
                      <a:cubicBezTo>
                        <a:pt x="0" y="1581"/>
                        <a:pt x="774" y="3420"/>
                        <a:pt x="2299" y="3420"/>
                      </a:cubicBezTo>
                      <a:cubicBezTo>
                        <a:pt x="3242" y="3420"/>
                        <a:pt x="4004" y="2658"/>
                        <a:pt x="4004" y="1714"/>
                      </a:cubicBezTo>
                      <a:cubicBezTo>
                        <a:pt x="4004" y="683"/>
                        <a:pt x="3163" y="0"/>
                        <a:pt x="2285" y="0"/>
                      </a:cubicBez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252" name="Google Shape;7252;p104"/>
                <p:cNvSpPr/>
                <p:nvPr/>
              </p:nvSpPr>
              <p:spPr>
                <a:xfrm>
                  <a:off x="4235039" y="3083114"/>
                  <a:ext cx="7621" cy="7613"/>
                </a:xfrm>
                <a:custGeom>
                  <a:avLst/>
                  <a:gdLst/>
                  <a:ahLst/>
                  <a:cxnLst/>
                  <a:rect l="l" t="t" r="r" b="b"/>
                  <a:pathLst>
                    <a:path w="969" h="968" extrusionOk="0">
                      <a:moveTo>
                        <a:pt x="485" y="0"/>
                      </a:moveTo>
                      <a:cubicBezTo>
                        <a:pt x="218" y="0"/>
                        <a:pt x="1" y="218"/>
                        <a:pt x="1" y="484"/>
                      </a:cubicBezTo>
                      <a:cubicBezTo>
                        <a:pt x="1" y="750"/>
                        <a:pt x="218" y="968"/>
                        <a:pt x="485" y="968"/>
                      </a:cubicBezTo>
                      <a:cubicBezTo>
                        <a:pt x="751" y="968"/>
                        <a:pt x="968" y="750"/>
                        <a:pt x="968" y="484"/>
                      </a:cubicBezTo>
                      <a:cubicBezTo>
                        <a:pt x="968" y="218"/>
                        <a:pt x="751" y="0"/>
                        <a:pt x="485" y="0"/>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7253" name="Google Shape;7253;p104"/>
              <p:cNvGrpSpPr/>
              <p:nvPr/>
            </p:nvGrpSpPr>
            <p:grpSpPr>
              <a:xfrm>
                <a:off x="3869702" y="3230323"/>
                <a:ext cx="31499" cy="26906"/>
                <a:chOff x="3869702" y="3230323"/>
                <a:chExt cx="31499" cy="26906"/>
              </a:xfrm>
            </p:grpSpPr>
            <p:sp>
              <p:nvSpPr>
                <p:cNvPr id="7254" name="Google Shape;7254;p104"/>
                <p:cNvSpPr/>
                <p:nvPr/>
              </p:nvSpPr>
              <p:spPr>
                <a:xfrm>
                  <a:off x="3869702" y="3230323"/>
                  <a:ext cx="31499" cy="26906"/>
                </a:xfrm>
                <a:custGeom>
                  <a:avLst/>
                  <a:gdLst/>
                  <a:ahLst/>
                  <a:cxnLst/>
                  <a:rect l="l" t="t" r="r" b="b"/>
                  <a:pathLst>
                    <a:path w="4005" h="3421" extrusionOk="0">
                      <a:moveTo>
                        <a:pt x="2275" y="1"/>
                      </a:moveTo>
                      <a:cubicBezTo>
                        <a:pt x="1854" y="1"/>
                        <a:pt x="1425" y="157"/>
                        <a:pt x="1077" y="505"/>
                      </a:cubicBezTo>
                      <a:cubicBezTo>
                        <a:pt x="0" y="1581"/>
                        <a:pt x="762" y="3420"/>
                        <a:pt x="2286" y="3420"/>
                      </a:cubicBezTo>
                      <a:cubicBezTo>
                        <a:pt x="3230" y="3420"/>
                        <a:pt x="3992" y="2658"/>
                        <a:pt x="4004" y="1714"/>
                      </a:cubicBezTo>
                      <a:cubicBezTo>
                        <a:pt x="4004" y="683"/>
                        <a:pt x="3157" y="1"/>
                        <a:pt x="2275" y="1"/>
                      </a:cubicBez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255" name="Google Shape;7255;p104"/>
                <p:cNvSpPr/>
                <p:nvPr/>
              </p:nvSpPr>
              <p:spPr>
                <a:xfrm>
                  <a:off x="3883875" y="3239997"/>
                  <a:ext cx="7621" cy="7621"/>
                </a:xfrm>
                <a:custGeom>
                  <a:avLst/>
                  <a:gdLst/>
                  <a:ahLst/>
                  <a:cxnLst/>
                  <a:rect l="l" t="t" r="r" b="b"/>
                  <a:pathLst>
                    <a:path w="969" h="969" extrusionOk="0">
                      <a:moveTo>
                        <a:pt x="484" y="1"/>
                      </a:moveTo>
                      <a:cubicBezTo>
                        <a:pt x="218" y="1"/>
                        <a:pt x="0" y="218"/>
                        <a:pt x="0" y="484"/>
                      </a:cubicBezTo>
                      <a:cubicBezTo>
                        <a:pt x="0" y="751"/>
                        <a:pt x="218" y="968"/>
                        <a:pt x="484" y="968"/>
                      </a:cubicBezTo>
                      <a:cubicBezTo>
                        <a:pt x="750" y="968"/>
                        <a:pt x="968" y="751"/>
                        <a:pt x="968" y="484"/>
                      </a:cubicBezTo>
                      <a:cubicBezTo>
                        <a:pt x="968" y="218"/>
                        <a:pt x="750" y="1"/>
                        <a:pt x="484" y="1"/>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grpSp>
          <p:nvGrpSpPr>
            <p:cNvPr id="7256" name="Google Shape;7256;p104"/>
            <p:cNvGrpSpPr/>
            <p:nvPr/>
          </p:nvGrpSpPr>
          <p:grpSpPr>
            <a:xfrm>
              <a:off x="4271383" y="3065882"/>
              <a:ext cx="304556" cy="341663"/>
              <a:chOff x="4271383" y="3065882"/>
              <a:chExt cx="304556" cy="341663"/>
            </a:xfrm>
          </p:grpSpPr>
          <p:grpSp>
            <p:nvGrpSpPr>
              <p:cNvPr id="7257" name="Google Shape;7257;p104"/>
              <p:cNvGrpSpPr/>
              <p:nvPr/>
            </p:nvGrpSpPr>
            <p:grpSpPr>
              <a:xfrm>
                <a:off x="4293838" y="3078639"/>
                <a:ext cx="269353" cy="311973"/>
                <a:chOff x="4293838" y="3078639"/>
                <a:chExt cx="269353" cy="311973"/>
              </a:xfrm>
            </p:grpSpPr>
            <p:sp>
              <p:nvSpPr>
                <p:cNvPr id="7258" name="Google Shape;7258;p104"/>
                <p:cNvSpPr/>
                <p:nvPr/>
              </p:nvSpPr>
              <p:spPr>
                <a:xfrm>
                  <a:off x="4293838" y="3078639"/>
                  <a:ext cx="269353" cy="311973"/>
                </a:xfrm>
                <a:custGeom>
                  <a:avLst/>
                  <a:gdLst/>
                  <a:ahLst/>
                  <a:cxnLst/>
                  <a:rect l="l" t="t" r="r" b="b"/>
                  <a:pathLst>
                    <a:path w="34247" h="39666" fill="none" extrusionOk="0">
                      <a:moveTo>
                        <a:pt x="13" y="16730"/>
                      </a:moveTo>
                      <a:lnTo>
                        <a:pt x="7162" y="27690"/>
                      </a:lnTo>
                      <a:lnTo>
                        <a:pt x="8480" y="39666"/>
                      </a:lnTo>
                      <a:lnTo>
                        <a:pt x="18182" y="34138"/>
                      </a:lnTo>
                      <a:lnTo>
                        <a:pt x="26371" y="29807"/>
                      </a:lnTo>
                      <a:cubicBezTo>
                        <a:pt x="26371" y="29807"/>
                        <a:pt x="33605" y="34694"/>
                        <a:pt x="33932" y="35456"/>
                      </a:cubicBezTo>
                      <a:cubicBezTo>
                        <a:pt x="34246" y="36218"/>
                        <a:pt x="32263" y="18388"/>
                        <a:pt x="32263" y="18388"/>
                      </a:cubicBezTo>
                      <a:lnTo>
                        <a:pt x="28428" y="2928"/>
                      </a:lnTo>
                      <a:lnTo>
                        <a:pt x="12932" y="1"/>
                      </a:lnTo>
                      <a:lnTo>
                        <a:pt x="1670" y="2650"/>
                      </a:lnTo>
                      <a:lnTo>
                        <a:pt x="0" y="17142"/>
                      </a:lnTo>
                    </a:path>
                  </a:pathLst>
                </a:custGeom>
                <a:noFill/>
                <a:ln w="1825" cap="flat" cmpd="sng">
                  <a:solidFill>
                    <a:srgbClr val="A5B7C5"/>
                  </a:solidFill>
                  <a:prstDash val="solid"/>
                  <a:miter lim="12096"/>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259" name="Google Shape;7259;p104"/>
                <p:cNvSpPr/>
                <p:nvPr/>
              </p:nvSpPr>
              <p:spPr>
                <a:xfrm>
                  <a:off x="4306965" y="3099473"/>
                  <a:ext cx="62519" cy="69652"/>
                </a:xfrm>
                <a:custGeom>
                  <a:avLst/>
                  <a:gdLst/>
                  <a:ahLst/>
                  <a:cxnLst/>
                  <a:rect l="l" t="t" r="r" b="b"/>
                  <a:pathLst>
                    <a:path w="7949" h="8856" fill="none" extrusionOk="0">
                      <a:moveTo>
                        <a:pt x="1" y="1"/>
                      </a:moveTo>
                      <a:lnTo>
                        <a:pt x="7948" y="8856"/>
                      </a:lnTo>
                    </a:path>
                  </a:pathLst>
                </a:custGeom>
                <a:noFill/>
                <a:ln w="1825" cap="flat" cmpd="sng">
                  <a:solidFill>
                    <a:srgbClr val="A5B7C5"/>
                  </a:solidFill>
                  <a:prstDash val="solid"/>
                  <a:miter lim="12096"/>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260" name="Google Shape;7260;p104"/>
                <p:cNvSpPr/>
                <p:nvPr/>
              </p:nvSpPr>
              <p:spPr>
                <a:xfrm>
                  <a:off x="4369476" y="3169118"/>
                  <a:ext cx="26072" cy="98666"/>
                </a:xfrm>
                <a:custGeom>
                  <a:avLst/>
                  <a:gdLst/>
                  <a:ahLst/>
                  <a:cxnLst/>
                  <a:rect l="l" t="t" r="r" b="b"/>
                  <a:pathLst>
                    <a:path w="3315" h="12545" fill="none" extrusionOk="0">
                      <a:moveTo>
                        <a:pt x="0" y="1"/>
                      </a:moveTo>
                      <a:lnTo>
                        <a:pt x="3315" y="12545"/>
                      </a:lnTo>
                    </a:path>
                  </a:pathLst>
                </a:custGeom>
                <a:noFill/>
                <a:ln w="1825" cap="flat" cmpd="sng">
                  <a:solidFill>
                    <a:srgbClr val="A5B7C5"/>
                  </a:solidFill>
                  <a:prstDash val="solid"/>
                  <a:miter lim="12096"/>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261" name="Google Shape;7261;p104"/>
                <p:cNvSpPr/>
                <p:nvPr/>
              </p:nvSpPr>
              <p:spPr>
                <a:xfrm>
                  <a:off x="4399347" y="3078639"/>
                  <a:ext cx="60041" cy="110558"/>
                </a:xfrm>
                <a:custGeom>
                  <a:avLst/>
                  <a:gdLst/>
                  <a:ahLst/>
                  <a:cxnLst/>
                  <a:rect l="l" t="t" r="r" b="b"/>
                  <a:pathLst>
                    <a:path w="7634" h="14057" fill="none" extrusionOk="0">
                      <a:moveTo>
                        <a:pt x="7634" y="14057"/>
                      </a:moveTo>
                      <a:lnTo>
                        <a:pt x="1" y="1"/>
                      </a:lnTo>
                    </a:path>
                  </a:pathLst>
                </a:custGeom>
                <a:noFill/>
                <a:ln w="1825" cap="flat" cmpd="sng">
                  <a:solidFill>
                    <a:srgbClr val="A5B7C5"/>
                  </a:solidFill>
                  <a:prstDash val="solid"/>
                  <a:miter lim="12096"/>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262" name="Google Shape;7262;p104"/>
                <p:cNvSpPr/>
                <p:nvPr/>
              </p:nvSpPr>
              <p:spPr>
                <a:xfrm>
                  <a:off x="4373282" y="3169118"/>
                  <a:ext cx="82299" cy="20079"/>
                </a:xfrm>
                <a:custGeom>
                  <a:avLst/>
                  <a:gdLst/>
                  <a:ahLst/>
                  <a:cxnLst/>
                  <a:rect l="l" t="t" r="r" b="b"/>
                  <a:pathLst>
                    <a:path w="10464" h="2553" fill="none" extrusionOk="0">
                      <a:moveTo>
                        <a:pt x="0" y="1"/>
                      </a:moveTo>
                      <a:lnTo>
                        <a:pt x="10464" y="2553"/>
                      </a:lnTo>
                    </a:path>
                  </a:pathLst>
                </a:custGeom>
                <a:noFill/>
                <a:ln w="1825" cap="flat" cmpd="sng">
                  <a:solidFill>
                    <a:srgbClr val="A5B7C5"/>
                  </a:solidFill>
                  <a:prstDash val="solid"/>
                  <a:miter lim="12096"/>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263" name="Google Shape;7263;p104"/>
                <p:cNvSpPr/>
                <p:nvPr/>
              </p:nvSpPr>
              <p:spPr>
                <a:xfrm>
                  <a:off x="4369476" y="3078639"/>
                  <a:ext cx="29879" cy="90487"/>
                </a:xfrm>
                <a:custGeom>
                  <a:avLst/>
                  <a:gdLst/>
                  <a:ahLst/>
                  <a:cxnLst/>
                  <a:rect l="l" t="t" r="r" b="b"/>
                  <a:pathLst>
                    <a:path w="3799" h="11505" fill="none" extrusionOk="0">
                      <a:moveTo>
                        <a:pt x="0" y="11505"/>
                      </a:moveTo>
                      <a:lnTo>
                        <a:pt x="3799" y="1"/>
                      </a:lnTo>
                    </a:path>
                  </a:pathLst>
                </a:custGeom>
                <a:noFill/>
                <a:ln w="1825" cap="flat" cmpd="sng">
                  <a:solidFill>
                    <a:srgbClr val="A5B7C5"/>
                  </a:solidFill>
                  <a:prstDash val="solid"/>
                  <a:miter lim="12096"/>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264" name="Google Shape;7264;p104"/>
                <p:cNvSpPr/>
                <p:nvPr/>
              </p:nvSpPr>
              <p:spPr>
                <a:xfrm>
                  <a:off x="4293932" y="3169118"/>
                  <a:ext cx="75551" cy="41110"/>
                </a:xfrm>
                <a:custGeom>
                  <a:avLst/>
                  <a:gdLst/>
                  <a:ahLst/>
                  <a:cxnLst/>
                  <a:rect l="l" t="t" r="r" b="b"/>
                  <a:pathLst>
                    <a:path w="9606" h="5227" fill="none" extrusionOk="0">
                      <a:moveTo>
                        <a:pt x="1" y="5226"/>
                      </a:moveTo>
                      <a:lnTo>
                        <a:pt x="9605" y="1"/>
                      </a:lnTo>
                    </a:path>
                  </a:pathLst>
                </a:custGeom>
                <a:noFill/>
                <a:ln w="1825" cap="flat" cmpd="sng">
                  <a:solidFill>
                    <a:srgbClr val="A5B7C5"/>
                  </a:solidFill>
                  <a:prstDash val="solid"/>
                  <a:miter lim="12096"/>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265" name="Google Shape;7265;p104"/>
                <p:cNvSpPr/>
                <p:nvPr/>
              </p:nvSpPr>
              <p:spPr>
                <a:xfrm>
                  <a:off x="4350159" y="3267776"/>
                  <a:ext cx="45389" cy="27032"/>
                </a:xfrm>
                <a:custGeom>
                  <a:avLst/>
                  <a:gdLst/>
                  <a:ahLst/>
                  <a:cxnLst/>
                  <a:rect l="l" t="t" r="r" b="b"/>
                  <a:pathLst>
                    <a:path w="5771" h="3437" fill="none" extrusionOk="0">
                      <a:moveTo>
                        <a:pt x="1" y="3436"/>
                      </a:moveTo>
                      <a:lnTo>
                        <a:pt x="5771" y="1"/>
                      </a:lnTo>
                    </a:path>
                  </a:pathLst>
                </a:custGeom>
                <a:noFill/>
                <a:ln w="1825" cap="flat" cmpd="sng">
                  <a:solidFill>
                    <a:srgbClr val="A5B7C5"/>
                  </a:solidFill>
                  <a:prstDash val="solid"/>
                  <a:miter lim="12096"/>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266" name="Google Shape;7266;p104"/>
                <p:cNvSpPr/>
                <p:nvPr/>
              </p:nvSpPr>
              <p:spPr>
                <a:xfrm>
                  <a:off x="4395540" y="3267776"/>
                  <a:ext cx="38830" cy="76031"/>
                </a:xfrm>
                <a:custGeom>
                  <a:avLst/>
                  <a:gdLst/>
                  <a:ahLst/>
                  <a:cxnLst/>
                  <a:rect l="l" t="t" r="r" b="b"/>
                  <a:pathLst>
                    <a:path w="4937" h="9667" fill="none" extrusionOk="0">
                      <a:moveTo>
                        <a:pt x="1" y="1"/>
                      </a:moveTo>
                      <a:lnTo>
                        <a:pt x="4936" y="9666"/>
                      </a:lnTo>
                    </a:path>
                  </a:pathLst>
                </a:custGeom>
                <a:noFill/>
                <a:ln w="1825" cap="flat" cmpd="sng">
                  <a:solidFill>
                    <a:srgbClr val="A5B7C5"/>
                  </a:solidFill>
                  <a:prstDash val="solid"/>
                  <a:miter lim="12096"/>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267" name="Google Shape;7267;p104"/>
                <p:cNvSpPr/>
                <p:nvPr/>
              </p:nvSpPr>
              <p:spPr>
                <a:xfrm>
                  <a:off x="4360439" y="3267776"/>
                  <a:ext cx="35109" cy="121978"/>
                </a:xfrm>
                <a:custGeom>
                  <a:avLst/>
                  <a:gdLst/>
                  <a:ahLst/>
                  <a:cxnLst/>
                  <a:rect l="l" t="t" r="r" b="b"/>
                  <a:pathLst>
                    <a:path w="4464" h="15509" fill="none" extrusionOk="0">
                      <a:moveTo>
                        <a:pt x="0" y="15509"/>
                      </a:moveTo>
                      <a:lnTo>
                        <a:pt x="4464" y="1"/>
                      </a:lnTo>
                    </a:path>
                  </a:pathLst>
                </a:custGeom>
                <a:noFill/>
                <a:ln w="1825" cap="flat" cmpd="sng">
                  <a:solidFill>
                    <a:srgbClr val="A5B7C5"/>
                  </a:solidFill>
                  <a:prstDash val="solid"/>
                  <a:miter lim="12096"/>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268" name="Google Shape;7268;p104"/>
                <p:cNvSpPr/>
                <p:nvPr/>
              </p:nvSpPr>
              <p:spPr>
                <a:xfrm>
                  <a:off x="4293932" y="3210220"/>
                  <a:ext cx="101616" cy="57564"/>
                </a:xfrm>
                <a:custGeom>
                  <a:avLst/>
                  <a:gdLst/>
                  <a:ahLst/>
                  <a:cxnLst/>
                  <a:rect l="l" t="t" r="r" b="b"/>
                  <a:pathLst>
                    <a:path w="12920" h="7319" fill="none" extrusionOk="0">
                      <a:moveTo>
                        <a:pt x="1" y="0"/>
                      </a:moveTo>
                      <a:lnTo>
                        <a:pt x="12920" y="7319"/>
                      </a:lnTo>
                    </a:path>
                  </a:pathLst>
                </a:custGeom>
                <a:noFill/>
                <a:ln w="1825" cap="flat" cmpd="sng">
                  <a:solidFill>
                    <a:srgbClr val="A5B7C5"/>
                  </a:solidFill>
                  <a:prstDash val="solid"/>
                  <a:miter lim="12096"/>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269" name="Google Shape;7269;p104"/>
                <p:cNvSpPr/>
                <p:nvPr/>
              </p:nvSpPr>
              <p:spPr>
                <a:xfrm>
                  <a:off x="4395540" y="3186436"/>
                  <a:ext cx="66420" cy="79735"/>
                </a:xfrm>
                <a:custGeom>
                  <a:avLst/>
                  <a:gdLst/>
                  <a:ahLst/>
                  <a:cxnLst/>
                  <a:rect l="l" t="t" r="r" b="b"/>
                  <a:pathLst>
                    <a:path w="8445" h="10138" fill="none" extrusionOk="0">
                      <a:moveTo>
                        <a:pt x="8444" y="0"/>
                      </a:moveTo>
                      <a:lnTo>
                        <a:pt x="1" y="10137"/>
                      </a:lnTo>
                    </a:path>
                  </a:pathLst>
                </a:custGeom>
                <a:noFill/>
                <a:ln w="1825" cap="flat" cmpd="sng">
                  <a:solidFill>
                    <a:srgbClr val="A5B7C5"/>
                  </a:solidFill>
                  <a:prstDash val="solid"/>
                  <a:miter lim="12096"/>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270" name="Google Shape;7270;p104"/>
                <p:cNvSpPr/>
                <p:nvPr/>
              </p:nvSpPr>
              <p:spPr>
                <a:xfrm>
                  <a:off x="4459380" y="3189669"/>
                  <a:ext cx="41873" cy="123402"/>
                </a:xfrm>
                <a:custGeom>
                  <a:avLst/>
                  <a:gdLst/>
                  <a:ahLst/>
                  <a:cxnLst/>
                  <a:rect l="l" t="t" r="r" b="b"/>
                  <a:pathLst>
                    <a:path w="5324" h="15690" fill="none" extrusionOk="0">
                      <a:moveTo>
                        <a:pt x="1" y="0"/>
                      </a:moveTo>
                      <a:lnTo>
                        <a:pt x="5323" y="15690"/>
                      </a:lnTo>
                    </a:path>
                  </a:pathLst>
                </a:custGeom>
                <a:noFill/>
                <a:ln w="1825" cap="flat" cmpd="sng">
                  <a:solidFill>
                    <a:srgbClr val="A5B7C5"/>
                  </a:solidFill>
                  <a:prstDash val="solid"/>
                  <a:miter lim="12096"/>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271" name="Google Shape;7271;p104"/>
                <p:cNvSpPr/>
                <p:nvPr/>
              </p:nvSpPr>
              <p:spPr>
                <a:xfrm>
                  <a:off x="4395540" y="3267776"/>
                  <a:ext cx="105713" cy="45295"/>
                </a:xfrm>
                <a:custGeom>
                  <a:avLst/>
                  <a:gdLst/>
                  <a:ahLst/>
                  <a:cxnLst/>
                  <a:rect l="l" t="t" r="r" b="b"/>
                  <a:pathLst>
                    <a:path w="13441" h="5759" fill="none" extrusionOk="0">
                      <a:moveTo>
                        <a:pt x="1" y="1"/>
                      </a:moveTo>
                      <a:lnTo>
                        <a:pt x="13440" y="5759"/>
                      </a:lnTo>
                    </a:path>
                  </a:pathLst>
                </a:custGeom>
                <a:noFill/>
                <a:ln w="1825" cap="flat" cmpd="sng">
                  <a:solidFill>
                    <a:srgbClr val="A5B7C5"/>
                  </a:solidFill>
                  <a:prstDash val="solid"/>
                  <a:miter lim="12096"/>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272" name="Google Shape;7272;p104"/>
                <p:cNvSpPr/>
                <p:nvPr/>
              </p:nvSpPr>
              <p:spPr>
                <a:xfrm>
                  <a:off x="4501246" y="3223252"/>
                  <a:ext cx="46435" cy="89818"/>
                </a:xfrm>
                <a:custGeom>
                  <a:avLst/>
                  <a:gdLst/>
                  <a:ahLst/>
                  <a:cxnLst/>
                  <a:rect l="l" t="t" r="r" b="b"/>
                  <a:pathLst>
                    <a:path w="5904" h="11420" fill="none" extrusionOk="0">
                      <a:moveTo>
                        <a:pt x="0" y="11420"/>
                      </a:moveTo>
                      <a:lnTo>
                        <a:pt x="5904" y="1"/>
                      </a:lnTo>
                    </a:path>
                  </a:pathLst>
                </a:custGeom>
                <a:noFill/>
                <a:ln w="1825" cap="flat" cmpd="sng">
                  <a:solidFill>
                    <a:srgbClr val="A5B7C5"/>
                  </a:solidFill>
                  <a:prstDash val="solid"/>
                  <a:miter lim="12096"/>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273" name="Google Shape;7273;p104"/>
                <p:cNvSpPr/>
                <p:nvPr/>
              </p:nvSpPr>
              <p:spPr>
                <a:xfrm>
                  <a:off x="4459671" y="3104231"/>
                  <a:ext cx="58421" cy="84966"/>
                </a:xfrm>
                <a:custGeom>
                  <a:avLst/>
                  <a:gdLst/>
                  <a:ahLst/>
                  <a:cxnLst/>
                  <a:rect l="l" t="t" r="r" b="b"/>
                  <a:pathLst>
                    <a:path w="7428" h="10803" fill="none" extrusionOk="0">
                      <a:moveTo>
                        <a:pt x="0" y="10803"/>
                      </a:moveTo>
                      <a:lnTo>
                        <a:pt x="7428" y="1"/>
                      </a:lnTo>
                    </a:path>
                  </a:pathLst>
                </a:custGeom>
                <a:noFill/>
                <a:ln w="1825" cap="flat" cmpd="sng">
                  <a:solidFill>
                    <a:srgbClr val="A5B7C5"/>
                  </a:solidFill>
                  <a:prstDash val="solid"/>
                  <a:miter lim="12096"/>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274" name="Google Shape;7274;p104"/>
                <p:cNvSpPr/>
                <p:nvPr/>
              </p:nvSpPr>
              <p:spPr>
                <a:xfrm>
                  <a:off x="4459671" y="3189189"/>
                  <a:ext cx="86586" cy="36737"/>
                </a:xfrm>
                <a:custGeom>
                  <a:avLst/>
                  <a:gdLst/>
                  <a:ahLst/>
                  <a:cxnLst/>
                  <a:rect l="l" t="t" r="r" b="b"/>
                  <a:pathLst>
                    <a:path w="11009" h="4671" fill="none" extrusionOk="0">
                      <a:moveTo>
                        <a:pt x="0" y="1"/>
                      </a:moveTo>
                      <a:lnTo>
                        <a:pt x="11008" y="4670"/>
                      </a:lnTo>
                    </a:path>
                  </a:pathLst>
                </a:custGeom>
                <a:noFill/>
                <a:ln w="1825" cap="flat" cmpd="sng">
                  <a:solidFill>
                    <a:srgbClr val="A5B7C5"/>
                  </a:solidFill>
                  <a:prstDash val="solid"/>
                  <a:miter lim="12096"/>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7275" name="Google Shape;7275;p104"/>
              <p:cNvGrpSpPr/>
              <p:nvPr/>
            </p:nvGrpSpPr>
            <p:grpSpPr>
              <a:xfrm>
                <a:off x="4538164" y="3342061"/>
                <a:ext cx="37776" cy="32380"/>
                <a:chOff x="4538164" y="3342061"/>
                <a:chExt cx="37776" cy="32380"/>
              </a:xfrm>
            </p:grpSpPr>
            <p:sp>
              <p:nvSpPr>
                <p:cNvPr id="7276" name="Google Shape;7276;p104"/>
                <p:cNvSpPr/>
                <p:nvPr/>
              </p:nvSpPr>
              <p:spPr>
                <a:xfrm>
                  <a:off x="4538164" y="3342061"/>
                  <a:ext cx="37776" cy="32380"/>
                </a:xfrm>
                <a:custGeom>
                  <a:avLst/>
                  <a:gdLst/>
                  <a:ahLst/>
                  <a:cxnLst/>
                  <a:rect l="l" t="t" r="r" b="b"/>
                  <a:pathLst>
                    <a:path w="4803" h="4117" extrusionOk="0">
                      <a:moveTo>
                        <a:pt x="2737" y="0"/>
                      </a:moveTo>
                      <a:cubicBezTo>
                        <a:pt x="2231" y="0"/>
                        <a:pt x="1714" y="189"/>
                        <a:pt x="1294" y="608"/>
                      </a:cubicBezTo>
                      <a:cubicBezTo>
                        <a:pt x="0" y="1903"/>
                        <a:pt x="919" y="4116"/>
                        <a:pt x="2746" y="4116"/>
                      </a:cubicBezTo>
                      <a:cubicBezTo>
                        <a:pt x="3883" y="4116"/>
                        <a:pt x="4802" y="3197"/>
                        <a:pt x="4802" y="2060"/>
                      </a:cubicBezTo>
                      <a:cubicBezTo>
                        <a:pt x="4802" y="817"/>
                        <a:pt x="3792" y="0"/>
                        <a:pt x="2737" y="0"/>
                      </a:cubicBez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277" name="Google Shape;7277;p104"/>
                <p:cNvSpPr/>
                <p:nvPr/>
              </p:nvSpPr>
              <p:spPr>
                <a:xfrm>
                  <a:off x="4553194" y="3351790"/>
                  <a:ext cx="13040" cy="13040"/>
                </a:xfrm>
                <a:custGeom>
                  <a:avLst/>
                  <a:gdLst/>
                  <a:ahLst/>
                  <a:cxnLst/>
                  <a:rect l="l" t="t" r="r" b="b"/>
                  <a:pathLst>
                    <a:path w="1658" h="1658" extrusionOk="0">
                      <a:moveTo>
                        <a:pt x="835" y="0"/>
                      </a:moveTo>
                      <a:cubicBezTo>
                        <a:pt x="375" y="0"/>
                        <a:pt x="0" y="363"/>
                        <a:pt x="0" y="823"/>
                      </a:cubicBezTo>
                      <a:cubicBezTo>
                        <a:pt x="0" y="1283"/>
                        <a:pt x="375" y="1658"/>
                        <a:pt x="835" y="1658"/>
                      </a:cubicBezTo>
                      <a:cubicBezTo>
                        <a:pt x="1295" y="1658"/>
                        <a:pt x="1658" y="1283"/>
                        <a:pt x="1658" y="823"/>
                      </a:cubicBezTo>
                      <a:cubicBezTo>
                        <a:pt x="1658" y="363"/>
                        <a:pt x="1295" y="0"/>
                        <a:pt x="835" y="0"/>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7278" name="Google Shape;7278;p104"/>
              <p:cNvGrpSpPr/>
              <p:nvPr/>
            </p:nvGrpSpPr>
            <p:grpSpPr>
              <a:xfrm>
                <a:off x="4271383" y="3194742"/>
                <a:ext cx="37783" cy="32420"/>
                <a:chOff x="4271383" y="3194742"/>
                <a:chExt cx="37783" cy="32420"/>
              </a:xfrm>
            </p:grpSpPr>
            <p:sp>
              <p:nvSpPr>
                <p:cNvPr id="7279" name="Google Shape;7279;p104"/>
                <p:cNvSpPr/>
                <p:nvPr/>
              </p:nvSpPr>
              <p:spPr>
                <a:xfrm>
                  <a:off x="4271383" y="3194742"/>
                  <a:ext cx="37783" cy="32420"/>
                </a:xfrm>
                <a:custGeom>
                  <a:avLst/>
                  <a:gdLst/>
                  <a:ahLst/>
                  <a:cxnLst/>
                  <a:rect l="l" t="t" r="r" b="b"/>
                  <a:pathLst>
                    <a:path w="4804" h="4122" extrusionOk="0">
                      <a:moveTo>
                        <a:pt x="2738" y="0"/>
                      </a:moveTo>
                      <a:cubicBezTo>
                        <a:pt x="2231" y="0"/>
                        <a:pt x="1715" y="190"/>
                        <a:pt x="1295" y="614"/>
                      </a:cubicBezTo>
                      <a:cubicBezTo>
                        <a:pt x="1" y="1908"/>
                        <a:pt x="920" y="4122"/>
                        <a:pt x="2747" y="4122"/>
                      </a:cubicBezTo>
                      <a:cubicBezTo>
                        <a:pt x="3884" y="4122"/>
                        <a:pt x="4803" y="3202"/>
                        <a:pt x="4803" y="2065"/>
                      </a:cubicBezTo>
                      <a:cubicBezTo>
                        <a:pt x="4803" y="823"/>
                        <a:pt x="3793" y="0"/>
                        <a:pt x="2738" y="0"/>
                      </a:cubicBez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280" name="Google Shape;7280;p104"/>
                <p:cNvSpPr/>
                <p:nvPr/>
              </p:nvSpPr>
              <p:spPr>
                <a:xfrm>
                  <a:off x="4286516" y="3204416"/>
                  <a:ext cx="13040" cy="13040"/>
                </a:xfrm>
                <a:custGeom>
                  <a:avLst/>
                  <a:gdLst/>
                  <a:ahLst/>
                  <a:cxnLst/>
                  <a:rect l="l" t="t" r="r" b="b"/>
                  <a:pathLst>
                    <a:path w="1658" h="1658" extrusionOk="0">
                      <a:moveTo>
                        <a:pt x="823" y="0"/>
                      </a:moveTo>
                      <a:cubicBezTo>
                        <a:pt x="363" y="0"/>
                        <a:pt x="0" y="375"/>
                        <a:pt x="0" y="835"/>
                      </a:cubicBezTo>
                      <a:cubicBezTo>
                        <a:pt x="0" y="1295"/>
                        <a:pt x="363" y="1658"/>
                        <a:pt x="823" y="1658"/>
                      </a:cubicBezTo>
                      <a:cubicBezTo>
                        <a:pt x="1282" y="1658"/>
                        <a:pt x="1657" y="1295"/>
                        <a:pt x="1657" y="835"/>
                      </a:cubicBezTo>
                      <a:cubicBezTo>
                        <a:pt x="1657" y="375"/>
                        <a:pt x="1282" y="0"/>
                        <a:pt x="823" y="0"/>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7281" name="Google Shape;7281;p104"/>
              <p:cNvGrpSpPr/>
              <p:nvPr/>
            </p:nvGrpSpPr>
            <p:grpSpPr>
              <a:xfrm>
                <a:off x="4284416" y="3084058"/>
                <a:ext cx="37783" cy="32357"/>
                <a:chOff x="4284416" y="3084058"/>
                <a:chExt cx="37783" cy="32357"/>
              </a:xfrm>
            </p:grpSpPr>
            <p:sp>
              <p:nvSpPr>
                <p:cNvPr id="7282" name="Google Shape;7282;p104"/>
                <p:cNvSpPr/>
                <p:nvPr/>
              </p:nvSpPr>
              <p:spPr>
                <a:xfrm>
                  <a:off x="4284416" y="3084058"/>
                  <a:ext cx="37783" cy="32357"/>
                </a:xfrm>
                <a:custGeom>
                  <a:avLst/>
                  <a:gdLst/>
                  <a:ahLst/>
                  <a:cxnLst/>
                  <a:rect l="l" t="t" r="r" b="b"/>
                  <a:pathLst>
                    <a:path w="4804" h="4114" extrusionOk="0">
                      <a:moveTo>
                        <a:pt x="2732" y="1"/>
                      </a:moveTo>
                      <a:cubicBezTo>
                        <a:pt x="2228" y="1"/>
                        <a:pt x="1714" y="188"/>
                        <a:pt x="1295" y="606"/>
                      </a:cubicBezTo>
                      <a:cubicBezTo>
                        <a:pt x="1" y="1900"/>
                        <a:pt x="920" y="4114"/>
                        <a:pt x="2747" y="4114"/>
                      </a:cubicBezTo>
                      <a:cubicBezTo>
                        <a:pt x="3884" y="4114"/>
                        <a:pt x="4803" y="3195"/>
                        <a:pt x="4803" y="2058"/>
                      </a:cubicBezTo>
                      <a:cubicBezTo>
                        <a:pt x="4803" y="821"/>
                        <a:pt x="3789" y="1"/>
                        <a:pt x="2732" y="1"/>
                      </a:cubicBez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283" name="Google Shape;7283;p104"/>
                <p:cNvSpPr/>
                <p:nvPr/>
              </p:nvSpPr>
              <p:spPr>
                <a:xfrm>
                  <a:off x="4299548" y="3093763"/>
                  <a:ext cx="13040" cy="13048"/>
                </a:xfrm>
                <a:custGeom>
                  <a:avLst/>
                  <a:gdLst/>
                  <a:ahLst/>
                  <a:cxnLst/>
                  <a:rect l="l" t="t" r="r" b="b"/>
                  <a:pathLst>
                    <a:path w="1658" h="1659" extrusionOk="0">
                      <a:moveTo>
                        <a:pt x="823" y="1"/>
                      </a:moveTo>
                      <a:cubicBezTo>
                        <a:pt x="363" y="1"/>
                        <a:pt x="0" y="364"/>
                        <a:pt x="0" y="824"/>
                      </a:cubicBezTo>
                      <a:cubicBezTo>
                        <a:pt x="0" y="1283"/>
                        <a:pt x="363" y="1658"/>
                        <a:pt x="823" y="1658"/>
                      </a:cubicBezTo>
                      <a:cubicBezTo>
                        <a:pt x="1283" y="1658"/>
                        <a:pt x="1658" y="1283"/>
                        <a:pt x="1658" y="824"/>
                      </a:cubicBezTo>
                      <a:cubicBezTo>
                        <a:pt x="1658" y="364"/>
                        <a:pt x="1283" y="1"/>
                        <a:pt x="823" y="1"/>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7284" name="Google Shape;7284;p104"/>
              <p:cNvGrpSpPr/>
              <p:nvPr/>
            </p:nvGrpSpPr>
            <p:grpSpPr>
              <a:xfrm>
                <a:off x="4478697" y="3297561"/>
                <a:ext cx="37776" cy="32451"/>
                <a:chOff x="4478697" y="3297561"/>
                <a:chExt cx="37776" cy="32451"/>
              </a:xfrm>
            </p:grpSpPr>
            <p:sp>
              <p:nvSpPr>
                <p:cNvPr id="7285" name="Google Shape;7285;p104"/>
                <p:cNvSpPr/>
                <p:nvPr/>
              </p:nvSpPr>
              <p:spPr>
                <a:xfrm>
                  <a:off x="4478697" y="3297561"/>
                  <a:ext cx="37776" cy="32451"/>
                </a:xfrm>
                <a:custGeom>
                  <a:avLst/>
                  <a:gdLst/>
                  <a:ahLst/>
                  <a:cxnLst/>
                  <a:rect l="l" t="t" r="r" b="b"/>
                  <a:pathLst>
                    <a:path w="4803" h="4126" extrusionOk="0">
                      <a:moveTo>
                        <a:pt x="2730" y="0"/>
                      </a:moveTo>
                      <a:cubicBezTo>
                        <a:pt x="2226" y="0"/>
                        <a:pt x="1713" y="187"/>
                        <a:pt x="1295" y="605"/>
                      </a:cubicBezTo>
                      <a:cubicBezTo>
                        <a:pt x="1" y="1899"/>
                        <a:pt x="920" y="4125"/>
                        <a:pt x="2746" y="4125"/>
                      </a:cubicBezTo>
                      <a:cubicBezTo>
                        <a:pt x="3884" y="4113"/>
                        <a:pt x="4803" y="3194"/>
                        <a:pt x="4803" y="2069"/>
                      </a:cubicBezTo>
                      <a:cubicBezTo>
                        <a:pt x="4803" y="824"/>
                        <a:pt x="3788" y="0"/>
                        <a:pt x="2730" y="0"/>
                      </a:cubicBez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286" name="Google Shape;7286;p104"/>
                <p:cNvSpPr/>
                <p:nvPr/>
              </p:nvSpPr>
              <p:spPr>
                <a:xfrm>
                  <a:off x="4493727" y="3307361"/>
                  <a:ext cx="13048" cy="13040"/>
                </a:xfrm>
                <a:custGeom>
                  <a:avLst/>
                  <a:gdLst/>
                  <a:ahLst/>
                  <a:cxnLst/>
                  <a:rect l="l" t="t" r="r" b="b"/>
                  <a:pathLst>
                    <a:path w="1659" h="1658" extrusionOk="0">
                      <a:moveTo>
                        <a:pt x="835" y="0"/>
                      </a:moveTo>
                      <a:cubicBezTo>
                        <a:pt x="376" y="0"/>
                        <a:pt x="1" y="363"/>
                        <a:pt x="1" y="823"/>
                      </a:cubicBezTo>
                      <a:cubicBezTo>
                        <a:pt x="1" y="1282"/>
                        <a:pt x="376" y="1657"/>
                        <a:pt x="835" y="1657"/>
                      </a:cubicBezTo>
                      <a:cubicBezTo>
                        <a:pt x="1295" y="1657"/>
                        <a:pt x="1658" y="1282"/>
                        <a:pt x="1658" y="823"/>
                      </a:cubicBezTo>
                      <a:cubicBezTo>
                        <a:pt x="1658" y="363"/>
                        <a:pt x="1295" y="0"/>
                        <a:pt x="835" y="0"/>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7287" name="Google Shape;7287;p104"/>
              <p:cNvGrpSpPr/>
              <p:nvPr/>
            </p:nvGrpSpPr>
            <p:grpSpPr>
              <a:xfrm>
                <a:off x="4411813" y="3331711"/>
                <a:ext cx="37776" cy="32451"/>
                <a:chOff x="4411813" y="3331711"/>
                <a:chExt cx="37776" cy="32451"/>
              </a:xfrm>
            </p:grpSpPr>
            <p:sp>
              <p:nvSpPr>
                <p:cNvPr id="7288" name="Google Shape;7288;p104"/>
                <p:cNvSpPr/>
                <p:nvPr/>
              </p:nvSpPr>
              <p:spPr>
                <a:xfrm>
                  <a:off x="4411813" y="3331711"/>
                  <a:ext cx="37776" cy="32451"/>
                </a:xfrm>
                <a:custGeom>
                  <a:avLst/>
                  <a:gdLst/>
                  <a:ahLst/>
                  <a:cxnLst/>
                  <a:rect l="l" t="t" r="r" b="b"/>
                  <a:pathLst>
                    <a:path w="4803" h="4126" extrusionOk="0">
                      <a:moveTo>
                        <a:pt x="2730" y="1"/>
                      </a:moveTo>
                      <a:cubicBezTo>
                        <a:pt x="2226" y="1"/>
                        <a:pt x="1713" y="188"/>
                        <a:pt x="1295" y="606"/>
                      </a:cubicBezTo>
                      <a:cubicBezTo>
                        <a:pt x="0" y="1900"/>
                        <a:pt x="920" y="4126"/>
                        <a:pt x="2759" y="4126"/>
                      </a:cubicBezTo>
                      <a:cubicBezTo>
                        <a:pt x="3884" y="4114"/>
                        <a:pt x="4803" y="3194"/>
                        <a:pt x="4803" y="2069"/>
                      </a:cubicBezTo>
                      <a:cubicBezTo>
                        <a:pt x="4803" y="824"/>
                        <a:pt x="3788" y="1"/>
                        <a:pt x="2730" y="1"/>
                      </a:cubicBez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289" name="Google Shape;7289;p104"/>
                <p:cNvSpPr/>
                <p:nvPr/>
              </p:nvSpPr>
              <p:spPr>
                <a:xfrm>
                  <a:off x="4426937" y="3341416"/>
                  <a:ext cx="13048" cy="13048"/>
                </a:xfrm>
                <a:custGeom>
                  <a:avLst/>
                  <a:gdLst/>
                  <a:ahLst/>
                  <a:cxnLst/>
                  <a:rect l="l" t="t" r="r" b="b"/>
                  <a:pathLst>
                    <a:path w="1659" h="1659" extrusionOk="0">
                      <a:moveTo>
                        <a:pt x="823" y="1"/>
                      </a:moveTo>
                      <a:cubicBezTo>
                        <a:pt x="376" y="1"/>
                        <a:pt x="1" y="376"/>
                        <a:pt x="1" y="823"/>
                      </a:cubicBezTo>
                      <a:cubicBezTo>
                        <a:pt x="1" y="1283"/>
                        <a:pt x="376" y="1658"/>
                        <a:pt x="823" y="1658"/>
                      </a:cubicBezTo>
                      <a:cubicBezTo>
                        <a:pt x="1283" y="1658"/>
                        <a:pt x="1658" y="1283"/>
                        <a:pt x="1658" y="823"/>
                      </a:cubicBezTo>
                      <a:cubicBezTo>
                        <a:pt x="1658" y="376"/>
                        <a:pt x="1283" y="1"/>
                        <a:pt x="823" y="1"/>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7290" name="Google Shape;7290;p104"/>
              <p:cNvGrpSpPr/>
              <p:nvPr/>
            </p:nvGrpSpPr>
            <p:grpSpPr>
              <a:xfrm>
                <a:off x="4337984" y="3375188"/>
                <a:ext cx="37776" cy="32357"/>
                <a:chOff x="4337984" y="3375188"/>
                <a:chExt cx="37776" cy="32357"/>
              </a:xfrm>
            </p:grpSpPr>
            <p:sp>
              <p:nvSpPr>
                <p:cNvPr id="7291" name="Google Shape;7291;p104"/>
                <p:cNvSpPr/>
                <p:nvPr/>
              </p:nvSpPr>
              <p:spPr>
                <a:xfrm>
                  <a:off x="4337984" y="3375188"/>
                  <a:ext cx="37776" cy="32357"/>
                </a:xfrm>
                <a:custGeom>
                  <a:avLst/>
                  <a:gdLst/>
                  <a:ahLst/>
                  <a:cxnLst/>
                  <a:rect l="l" t="t" r="r" b="b"/>
                  <a:pathLst>
                    <a:path w="4803" h="4114" extrusionOk="0">
                      <a:moveTo>
                        <a:pt x="2732" y="1"/>
                      </a:moveTo>
                      <a:cubicBezTo>
                        <a:pt x="2227" y="1"/>
                        <a:pt x="1713" y="188"/>
                        <a:pt x="1295" y="606"/>
                      </a:cubicBezTo>
                      <a:cubicBezTo>
                        <a:pt x="0" y="1900"/>
                        <a:pt x="920" y="4114"/>
                        <a:pt x="2746" y="4114"/>
                      </a:cubicBezTo>
                      <a:cubicBezTo>
                        <a:pt x="3883" y="4114"/>
                        <a:pt x="4803" y="3195"/>
                        <a:pt x="4803" y="2058"/>
                      </a:cubicBezTo>
                      <a:cubicBezTo>
                        <a:pt x="4803" y="821"/>
                        <a:pt x="3789" y="1"/>
                        <a:pt x="2732" y="1"/>
                      </a:cubicBez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292" name="Google Shape;7292;p104"/>
                <p:cNvSpPr/>
                <p:nvPr/>
              </p:nvSpPr>
              <p:spPr>
                <a:xfrm>
                  <a:off x="4353108" y="3384894"/>
                  <a:ext cx="13048" cy="13048"/>
                </a:xfrm>
                <a:custGeom>
                  <a:avLst/>
                  <a:gdLst/>
                  <a:ahLst/>
                  <a:cxnLst/>
                  <a:rect l="l" t="t" r="r" b="b"/>
                  <a:pathLst>
                    <a:path w="1659" h="1659" extrusionOk="0">
                      <a:moveTo>
                        <a:pt x="823" y="1"/>
                      </a:moveTo>
                      <a:cubicBezTo>
                        <a:pt x="364" y="1"/>
                        <a:pt x="1" y="364"/>
                        <a:pt x="1" y="824"/>
                      </a:cubicBezTo>
                      <a:cubicBezTo>
                        <a:pt x="1" y="1283"/>
                        <a:pt x="364" y="1658"/>
                        <a:pt x="823" y="1658"/>
                      </a:cubicBezTo>
                      <a:cubicBezTo>
                        <a:pt x="1283" y="1658"/>
                        <a:pt x="1658" y="1283"/>
                        <a:pt x="1658" y="824"/>
                      </a:cubicBezTo>
                      <a:cubicBezTo>
                        <a:pt x="1658" y="364"/>
                        <a:pt x="1283" y="1"/>
                        <a:pt x="823" y="1"/>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7293" name="Google Shape;7293;p104"/>
              <p:cNvGrpSpPr/>
              <p:nvPr/>
            </p:nvGrpSpPr>
            <p:grpSpPr>
              <a:xfrm>
                <a:off x="4494867" y="3090530"/>
                <a:ext cx="37878" cy="32451"/>
                <a:chOff x="4494867" y="3090530"/>
                <a:chExt cx="37878" cy="32451"/>
              </a:xfrm>
            </p:grpSpPr>
            <p:sp>
              <p:nvSpPr>
                <p:cNvPr id="7294" name="Google Shape;7294;p104"/>
                <p:cNvSpPr/>
                <p:nvPr/>
              </p:nvSpPr>
              <p:spPr>
                <a:xfrm>
                  <a:off x="4494867" y="3090530"/>
                  <a:ext cx="37878" cy="32451"/>
                </a:xfrm>
                <a:custGeom>
                  <a:avLst/>
                  <a:gdLst/>
                  <a:ahLst/>
                  <a:cxnLst/>
                  <a:rect l="l" t="t" r="r" b="b"/>
                  <a:pathLst>
                    <a:path w="4816" h="4126" extrusionOk="0">
                      <a:moveTo>
                        <a:pt x="2739" y="0"/>
                      </a:moveTo>
                      <a:cubicBezTo>
                        <a:pt x="2233" y="0"/>
                        <a:pt x="1717" y="188"/>
                        <a:pt x="1295" y="605"/>
                      </a:cubicBezTo>
                      <a:cubicBezTo>
                        <a:pt x="1" y="1900"/>
                        <a:pt x="920" y="4126"/>
                        <a:pt x="2759" y="4126"/>
                      </a:cubicBezTo>
                      <a:cubicBezTo>
                        <a:pt x="3896" y="4114"/>
                        <a:pt x="4803" y="3194"/>
                        <a:pt x="4815" y="2069"/>
                      </a:cubicBezTo>
                      <a:cubicBezTo>
                        <a:pt x="4815" y="824"/>
                        <a:pt x="3800" y="0"/>
                        <a:pt x="2739" y="0"/>
                      </a:cubicBez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295" name="Google Shape;7295;p104"/>
                <p:cNvSpPr/>
                <p:nvPr/>
              </p:nvSpPr>
              <p:spPr>
                <a:xfrm>
                  <a:off x="4510000" y="3100236"/>
                  <a:ext cx="13040" cy="13040"/>
                </a:xfrm>
                <a:custGeom>
                  <a:avLst/>
                  <a:gdLst/>
                  <a:ahLst/>
                  <a:cxnLst/>
                  <a:rect l="l" t="t" r="r" b="b"/>
                  <a:pathLst>
                    <a:path w="1658" h="1658" extrusionOk="0">
                      <a:moveTo>
                        <a:pt x="835" y="1"/>
                      </a:moveTo>
                      <a:cubicBezTo>
                        <a:pt x="375" y="1"/>
                        <a:pt x="0" y="376"/>
                        <a:pt x="0" y="835"/>
                      </a:cubicBezTo>
                      <a:cubicBezTo>
                        <a:pt x="0" y="1283"/>
                        <a:pt x="375" y="1658"/>
                        <a:pt x="835" y="1658"/>
                      </a:cubicBezTo>
                      <a:cubicBezTo>
                        <a:pt x="1295" y="1658"/>
                        <a:pt x="1658" y="1283"/>
                        <a:pt x="1658" y="835"/>
                      </a:cubicBezTo>
                      <a:cubicBezTo>
                        <a:pt x="1658" y="376"/>
                        <a:pt x="1295" y="1"/>
                        <a:pt x="835" y="1"/>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7296" name="Google Shape;7296;p104"/>
              <p:cNvGrpSpPr/>
              <p:nvPr/>
            </p:nvGrpSpPr>
            <p:grpSpPr>
              <a:xfrm>
                <a:off x="4525124" y="3207774"/>
                <a:ext cx="37783" cy="32420"/>
                <a:chOff x="4525124" y="3207774"/>
                <a:chExt cx="37783" cy="32420"/>
              </a:xfrm>
            </p:grpSpPr>
            <p:sp>
              <p:nvSpPr>
                <p:cNvPr id="7297" name="Google Shape;7297;p104"/>
                <p:cNvSpPr/>
                <p:nvPr/>
              </p:nvSpPr>
              <p:spPr>
                <a:xfrm>
                  <a:off x="4525124" y="3207774"/>
                  <a:ext cx="37783" cy="32420"/>
                </a:xfrm>
                <a:custGeom>
                  <a:avLst/>
                  <a:gdLst/>
                  <a:ahLst/>
                  <a:cxnLst/>
                  <a:rect l="l" t="t" r="r" b="b"/>
                  <a:pathLst>
                    <a:path w="4804" h="4122" extrusionOk="0">
                      <a:moveTo>
                        <a:pt x="2738" y="0"/>
                      </a:moveTo>
                      <a:cubicBezTo>
                        <a:pt x="2231" y="0"/>
                        <a:pt x="1715" y="190"/>
                        <a:pt x="1295" y="614"/>
                      </a:cubicBezTo>
                      <a:cubicBezTo>
                        <a:pt x="1" y="1908"/>
                        <a:pt x="920" y="4122"/>
                        <a:pt x="2747" y="4122"/>
                      </a:cubicBezTo>
                      <a:cubicBezTo>
                        <a:pt x="3884" y="4122"/>
                        <a:pt x="4803" y="3202"/>
                        <a:pt x="4803" y="2065"/>
                      </a:cubicBezTo>
                      <a:cubicBezTo>
                        <a:pt x="4803" y="823"/>
                        <a:pt x="3793" y="0"/>
                        <a:pt x="2738" y="0"/>
                      </a:cubicBez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298" name="Google Shape;7298;p104"/>
                <p:cNvSpPr/>
                <p:nvPr/>
              </p:nvSpPr>
              <p:spPr>
                <a:xfrm>
                  <a:off x="4540256" y="3217448"/>
                  <a:ext cx="13040" cy="13040"/>
                </a:xfrm>
                <a:custGeom>
                  <a:avLst/>
                  <a:gdLst/>
                  <a:ahLst/>
                  <a:cxnLst/>
                  <a:rect l="l" t="t" r="r" b="b"/>
                  <a:pathLst>
                    <a:path w="1658" h="1658" extrusionOk="0">
                      <a:moveTo>
                        <a:pt x="823" y="1"/>
                      </a:moveTo>
                      <a:cubicBezTo>
                        <a:pt x="363" y="1"/>
                        <a:pt x="0" y="376"/>
                        <a:pt x="0" y="835"/>
                      </a:cubicBezTo>
                      <a:cubicBezTo>
                        <a:pt x="0" y="1295"/>
                        <a:pt x="363" y="1658"/>
                        <a:pt x="823" y="1658"/>
                      </a:cubicBezTo>
                      <a:cubicBezTo>
                        <a:pt x="1282" y="1658"/>
                        <a:pt x="1657" y="1295"/>
                        <a:pt x="1657" y="835"/>
                      </a:cubicBezTo>
                      <a:cubicBezTo>
                        <a:pt x="1657" y="376"/>
                        <a:pt x="1282" y="1"/>
                        <a:pt x="823" y="1"/>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7299" name="Google Shape;7299;p104"/>
              <p:cNvGrpSpPr/>
              <p:nvPr/>
            </p:nvGrpSpPr>
            <p:grpSpPr>
              <a:xfrm>
                <a:off x="4440544" y="3176479"/>
                <a:ext cx="31499" cy="26898"/>
                <a:chOff x="4440544" y="3176479"/>
                <a:chExt cx="31499" cy="26898"/>
              </a:xfrm>
            </p:grpSpPr>
            <p:sp>
              <p:nvSpPr>
                <p:cNvPr id="7300" name="Google Shape;7300;p104"/>
                <p:cNvSpPr/>
                <p:nvPr/>
              </p:nvSpPr>
              <p:spPr>
                <a:xfrm>
                  <a:off x="4440544" y="3176479"/>
                  <a:ext cx="31499" cy="26898"/>
                </a:xfrm>
                <a:custGeom>
                  <a:avLst/>
                  <a:gdLst/>
                  <a:ahLst/>
                  <a:cxnLst/>
                  <a:rect l="l" t="t" r="r" b="b"/>
                  <a:pathLst>
                    <a:path w="4005" h="3420" extrusionOk="0">
                      <a:moveTo>
                        <a:pt x="2281" y="0"/>
                      </a:moveTo>
                      <a:cubicBezTo>
                        <a:pt x="1860" y="0"/>
                        <a:pt x="1429" y="156"/>
                        <a:pt x="1077" y="504"/>
                      </a:cubicBezTo>
                      <a:cubicBezTo>
                        <a:pt x="1" y="1581"/>
                        <a:pt x="763" y="3419"/>
                        <a:pt x="2287" y="3419"/>
                      </a:cubicBezTo>
                      <a:cubicBezTo>
                        <a:pt x="3231" y="3419"/>
                        <a:pt x="3993" y="2657"/>
                        <a:pt x="4005" y="1714"/>
                      </a:cubicBezTo>
                      <a:cubicBezTo>
                        <a:pt x="4005" y="682"/>
                        <a:pt x="3163" y="0"/>
                        <a:pt x="2281" y="0"/>
                      </a:cubicBez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301" name="Google Shape;7301;p104"/>
                <p:cNvSpPr/>
                <p:nvPr/>
              </p:nvSpPr>
              <p:spPr>
                <a:xfrm>
                  <a:off x="4454724" y="3186145"/>
                  <a:ext cx="7613" cy="7621"/>
                </a:xfrm>
                <a:custGeom>
                  <a:avLst/>
                  <a:gdLst/>
                  <a:ahLst/>
                  <a:cxnLst/>
                  <a:rect l="l" t="t" r="r" b="b"/>
                  <a:pathLst>
                    <a:path w="968" h="969" extrusionOk="0">
                      <a:moveTo>
                        <a:pt x="484" y="1"/>
                      </a:moveTo>
                      <a:cubicBezTo>
                        <a:pt x="218" y="1"/>
                        <a:pt x="0" y="219"/>
                        <a:pt x="0" y="485"/>
                      </a:cubicBezTo>
                      <a:cubicBezTo>
                        <a:pt x="0" y="751"/>
                        <a:pt x="218" y="969"/>
                        <a:pt x="484" y="969"/>
                      </a:cubicBezTo>
                      <a:cubicBezTo>
                        <a:pt x="750" y="969"/>
                        <a:pt x="968" y="751"/>
                        <a:pt x="968" y="485"/>
                      </a:cubicBezTo>
                      <a:cubicBezTo>
                        <a:pt x="968" y="219"/>
                        <a:pt x="750" y="1"/>
                        <a:pt x="484" y="1"/>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7302" name="Google Shape;7302;p104"/>
              <p:cNvGrpSpPr/>
              <p:nvPr/>
            </p:nvGrpSpPr>
            <p:grpSpPr>
              <a:xfrm>
                <a:off x="4350545" y="3156400"/>
                <a:ext cx="31405" cy="27001"/>
                <a:chOff x="4350545" y="3156400"/>
                <a:chExt cx="31405" cy="27001"/>
              </a:xfrm>
            </p:grpSpPr>
            <p:sp>
              <p:nvSpPr>
                <p:cNvPr id="7303" name="Google Shape;7303;p104"/>
                <p:cNvSpPr/>
                <p:nvPr/>
              </p:nvSpPr>
              <p:spPr>
                <a:xfrm>
                  <a:off x="4350545" y="3156400"/>
                  <a:ext cx="31405" cy="27001"/>
                </a:xfrm>
                <a:custGeom>
                  <a:avLst/>
                  <a:gdLst/>
                  <a:ahLst/>
                  <a:cxnLst/>
                  <a:rect l="l" t="t" r="r" b="b"/>
                  <a:pathLst>
                    <a:path w="3993" h="3433" extrusionOk="0">
                      <a:moveTo>
                        <a:pt x="2272" y="1"/>
                      </a:moveTo>
                      <a:cubicBezTo>
                        <a:pt x="1853" y="1"/>
                        <a:pt x="1425" y="156"/>
                        <a:pt x="1077" y="505"/>
                      </a:cubicBezTo>
                      <a:cubicBezTo>
                        <a:pt x="0" y="1581"/>
                        <a:pt x="762" y="3432"/>
                        <a:pt x="2286" y="3432"/>
                      </a:cubicBezTo>
                      <a:cubicBezTo>
                        <a:pt x="3230" y="3420"/>
                        <a:pt x="3992" y="2658"/>
                        <a:pt x="3992" y="1714"/>
                      </a:cubicBezTo>
                      <a:cubicBezTo>
                        <a:pt x="3992" y="683"/>
                        <a:pt x="3150" y="1"/>
                        <a:pt x="2272" y="1"/>
                      </a:cubicBez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304" name="Google Shape;7304;p104"/>
                <p:cNvSpPr/>
                <p:nvPr/>
              </p:nvSpPr>
              <p:spPr>
                <a:xfrm>
                  <a:off x="4364717" y="3166074"/>
                  <a:ext cx="7621" cy="7621"/>
                </a:xfrm>
                <a:custGeom>
                  <a:avLst/>
                  <a:gdLst/>
                  <a:ahLst/>
                  <a:cxnLst/>
                  <a:rect l="l" t="t" r="r" b="b"/>
                  <a:pathLst>
                    <a:path w="969" h="969" extrusionOk="0">
                      <a:moveTo>
                        <a:pt x="484" y="0"/>
                      </a:moveTo>
                      <a:cubicBezTo>
                        <a:pt x="218" y="0"/>
                        <a:pt x="1" y="218"/>
                        <a:pt x="1" y="484"/>
                      </a:cubicBezTo>
                      <a:cubicBezTo>
                        <a:pt x="1" y="750"/>
                        <a:pt x="218" y="968"/>
                        <a:pt x="484" y="968"/>
                      </a:cubicBezTo>
                      <a:cubicBezTo>
                        <a:pt x="751" y="968"/>
                        <a:pt x="968" y="750"/>
                        <a:pt x="968" y="484"/>
                      </a:cubicBezTo>
                      <a:cubicBezTo>
                        <a:pt x="968" y="218"/>
                        <a:pt x="751" y="0"/>
                        <a:pt x="484" y="0"/>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7305" name="Google Shape;7305;p104"/>
              <p:cNvGrpSpPr/>
              <p:nvPr/>
            </p:nvGrpSpPr>
            <p:grpSpPr>
              <a:xfrm>
                <a:off x="4376703" y="3255058"/>
                <a:ext cx="31405" cy="27001"/>
                <a:chOff x="4376703" y="3255058"/>
                <a:chExt cx="31405" cy="27001"/>
              </a:xfrm>
            </p:grpSpPr>
            <p:sp>
              <p:nvSpPr>
                <p:cNvPr id="7306" name="Google Shape;7306;p104"/>
                <p:cNvSpPr/>
                <p:nvPr/>
              </p:nvSpPr>
              <p:spPr>
                <a:xfrm>
                  <a:off x="4376703" y="3255058"/>
                  <a:ext cx="31405" cy="27001"/>
                </a:xfrm>
                <a:custGeom>
                  <a:avLst/>
                  <a:gdLst/>
                  <a:ahLst/>
                  <a:cxnLst/>
                  <a:rect l="l" t="t" r="r" b="b"/>
                  <a:pathLst>
                    <a:path w="3993" h="3433" extrusionOk="0">
                      <a:moveTo>
                        <a:pt x="2273" y="1"/>
                      </a:moveTo>
                      <a:cubicBezTo>
                        <a:pt x="1853" y="1"/>
                        <a:pt x="1426" y="157"/>
                        <a:pt x="1077" y="505"/>
                      </a:cubicBezTo>
                      <a:cubicBezTo>
                        <a:pt x="1" y="1582"/>
                        <a:pt x="763" y="3432"/>
                        <a:pt x="2287" y="3432"/>
                      </a:cubicBezTo>
                      <a:cubicBezTo>
                        <a:pt x="3231" y="3432"/>
                        <a:pt x="3993" y="2658"/>
                        <a:pt x="3993" y="1715"/>
                      </a:cubicBezTo>
                      <a:cubicBezTo>
                        <a:pt x="3993" y="683"/>
                        <a:pt x="3151" y="1"/>
                        <a:pt x="2273" y="1"/>
                      </a:cubicBez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307" name="Google Shape;7307;p104"/>
                <p:cNvSpPr/>
                <p:nvPr/>
              </p:nvSpPr>
              <p:spPr>
                <a:xfrm>
                  <a:off x="4390884" y="3264732"/>
                  <a:ext cx="7613" cy="7621"/>
                </a:xfrm>
                <a:custGeom>
                  <a:avLst/>
                  <a:gdLst/>
                  <a:ahLst/>
                  <a:cxnLst/>
                  <a:rect l="l" t="t" r="r" b="b"/>
                  <a:pathLst>
                    <a:path w="968" h="969" extrusionOk="0">
                      <a:moveTo>
                        <a:pt x="484" y="1"/>
                      </a:moveTo>
                      <a:cubicBezTo>
                        <a:pt x="218" y="1"/>
                        <a:pt x="0" y="219"/>
                        <a:pt x="0" y="485"/>
                      </a:cubicBezTo>
                      <a:cubicBezTo>
                        <a:pt x="0" y="751"/>
                        <a:pt x="218" y="969"/>
                        <a:pt x="484" y="969"/>
                      </a:cubicBezTo>
                      <a:cubicBezTo>
                        <a:pt x="750" y="969"/>
                        <a:pt x="968" y="751"/>
                        <a:pt x="968" y="485"/>
                      </a:cubicBezTo>
                      <a:cubicBezTo>
                        <a:pt x="968" y="219"/>
                        <a:pt x="750" y="1"/>
                        <a:pt x="484" y="1"/>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7308" name="Google Shape;7308;p104"/>
              <p:cNvGrpSpPr/>
              <p:nvPr/>
            </p:nvGrpSpPr>
            <p:grpSpPr>
              <a:xfrm>
                <a:off x="4331322" y="3283656"/>
                <a:ext cx="31405" cy="26945"/>
                <a:chOff x="4331322" y="3283656"/>
                <a:chExt cx="31405" cy="26945"/>
              </a:xfrm>
            </p:grpSpPr>
            <p:sp>
              <p:nvSpPr>
                <p:cNvPr id="7309" name="Google Shape;7309;p104"/>
                <p:cNvSpPr/>
                <p:nvPr/>
              </p:nvSpPr>
              <p:spPr>
                <a:xfrm>
                  <a:off x="4331322" y="3283656"/>
                  <a:ext cx="31405" cy="26945"/>
                </a:xfrm>
                <a:custGeom>
                  <a:avLst/>
                  <a:gdLst/>
                  <a:ahLst/>
                  <a:cxnLst/>
                  <a:rect l="l" t="t" r="r" b="b"/>
                  <a:pathLst>
                    <a:path w="3993" h="3426" extrusionOk="0">
                      <a:moveTo>
                        <a:pt x="2273" y="1"/>
                      </a:moveTo>
                      <a:cubicBezTo>
                        <a:pt x="1853" y="1"/>
                        <a:pt x="1425" y="158"/>
                        <a:pt x="1077" y="510"/>
                      </a:cubicBezTo>
                      <a:cubicBezTo>
                        <a:pt x="1" y="1587"/>
                        <a:pt x="763" y="3425"/>
                        <a:pt x="2287" y="3425"/>
                      </a:cubicBezTo>
                      <a:cubicBezTo>
                        <a:pt x="3230" y="3425"/>
                        <a:pt x="3993" y="2663"/>
                        <a:pt x="3993" y="1720"/>
                      </a:cubicBezTo>
                      <a:cubicBezTo>
                        <a:pt x="3993" y="689"/>
                        <a:pt x="3151" y="1"/>
                        <a:pt x="2273" y="1"/>
                      </a:cubicBez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310" name="Google Shape;7310;p104"/>
                <p:cNvSpPr/>
                <p:nvPr/>
              </p:nvSpPr>
              <p:spPr>
                <a:xfrm>
                  <a:off x="4345503" y="3293274"/>
                  <a:ext cx="7613" cy="7621"/>
                </a:xfrm>
                <a:custGeom>
                  <a:avLst/>
                  <a:gdLst/>
                  <a:ahLst/>
                  <a:cxnLst/>
                  <a:rect l="l" t="t" r="r" b="b"/>
                  <a:pathLst>
                    <a:path w="968" h="969" extrusionOk="0">
                      <a:moveTo>
                        <a:pt x="484" y="1"/>
                      </a:moveTo>
                      <a:cubicBezTo>
                        <a:pt x="218" y="1"/>
                        <a:pt x="0" y="219"/>
                        <a:pt x="0" y="485"/>
                      </a:cubicBezTo>
                      <a:cubicBezTo>
                        <a:pt x="0" y="763"/>
                        <a:pt x="218" y="969"/>
                        <a:pt x="484" y="969"/>
                      </a:cubicBezTo>
                      <a:cubicBezTo>
                        <a:pt x="750" y="969"/>
                        <a:pt x="968" y="763"/>
                        <a:pt x="968" y="485"/>
                      </a:cubicBezTo>
                      <a:cubicBezTo>
                        <a:pt x="968" y="219"/>
                        <a:pt x="750" y="1"/>
                        <a:pt x="484" y="1"/>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7311" name="Google Shape;7311;p104"/>
              <p:cNvGrpSpPr/>
              <p:nvPr/>
            </p:nvGrpSpPr>
            <p:grpSpPr>
              <a:xfrm>
                <a:off x="4380510" y="3065882"/>
                <a:ext cx="31405" cy="26938"/>
                <a:chOff x="4380510" y="3065882"/>
                <a:chExt cx="31405" cy="26938"/>
              </a:xfrm>
            </p:grpSpPr>
            <p:sp>
              <p:nvSpPr>
                <p:cNvPr id="7312" name="Google Shape;7312;p104"/>
                <p:cNvSpPr/>
                <p:nvPr/>
              </p:nvSpPr>
              <p:spPr>
                <a:xfrm>
                  <a:off x="4380510" y="3065882"/>
                  <a:ext cx="31405" cy="26938"/>
                </a:xfrm>
                <a:custGeom>
                  <a:avLst/>
                  <a:gdLst/>
                  <a:ahLst/>
                  <a:cxnLst/>
                  <a:rect l="l" t="t" r="r" b="b"/>
                  <a:pathLst>
                    <a:path w="3993" h="3425" extrusionOk="0">
                      <a:moveTo>
                        <a:pt x="2273" y="0"/>
                      </a:moveTo>
                      <a:cubicBezTo>
                        <a:pt x="1853" y="0"/>
                        <a:pt x="1426" y="157"/>
                        <a:pt x="1077" y="510"/>
                      </a:cubicBezTo>
                      <a:cubicBezTo>
                        <a:pt x="1" y="1586"/>
                        <a:pt x="763" y="3425"/>
                        <a:pt x="2287" y="3425"/>
                      </a:cubicBezTo>
                      <a:cubicBezTo>
                        <a:pt x="3230" y="3425"/>
                        <a:pt x="3993" y="2663"/>
                        <a:pt x="3993" y="1719"/>
                      </a:cubicBezTo>
                      <a:cubicBezTo>
                        <a:pt x="3993" y="688"/>
                        <a:pt x="3151" y="0"/>
                        <a:pt x="2273" y="0"/>
                      </a:cubicBez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313" name="Google Shape;7313;p104"/>
                <p:cNvSpPr/>
                <p:nvPr/>
              </p:nvSpPr>
              <p:spPr>
                <a:xfrm>
                  <a:off x="4393354" y="3075500"/>
                  <a:ext cx="8950" cy="7676"/>
                </a:xfrm>
                <a:custGeom>
                  <a:avLst/>
                  <a:gdLst/>
                  <a:ahLst/>
                  <a:cxnLst/>
                  <a:rect l="l" t="t" r="r" b="b"/>
                  <a:pathLst>
                    <a:path w="1138" h="976" extrusionOk="0">
                      <a:moveTo>
                        <a:pt x="654" y="0"/>
                      </a:moveTo>
                      <a:cubicBezTo>
                        <a:pt x="218" y="0"/>
                        <a:pt x="1" y="521"/>
                        <a:pt x="303" y="835"/>
                      </a:cubicBezTo>
                      <a:cubicBezTo>
                        <a:pt x="401" y="932"/>
                        <a:pt x="522" y="976"/>
                        <a:pt x="641" y="976"/>
                      </a:cubicBezTo>
                      <a:cubicBezTo>
                        <a:pt x="893" y="976"/>
                        <a:pt x="1138" y="783"/>
                        <a:pt x="1138" y="496"/>
                      </a:cubicBezTo>
                      <a:cubicBezTo>
                        <a:pt x="1138" y="218"/>
                        <a:pt x="920" y="12"/>
                        <a:pt x="654" y="0"/>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grpSp>
          <p:nvGrpSpPr>
            <p:cNvPr id="7314" name="Google Shape;7314;p104"/>
            <p:cNvGrpSpPr/>
            <p:nvPr/>
          </p:nvGrpSpPr>
          <p:grpSpPr>
            <a:xfrm>
              <a:off x="4558998" y="3188237"/>
              <a:ext cx="1280131" cy="1052746"/>
              <a:chOff x="4558998" y="3188237"/>
              <a:chExt cx="1280131" cy="1052746"/>
            </a:xfrm>
          </p:grpSpPr>
          <p:sp>
            <p:nvSpPr>
              <p:cNvPr id="7315" name="Google Shape;7315;p104"/>
              <p:cNvSpPr/>
              <p:nvPr/>
            </p:nvSpPr>
            <p:spPr>
              <a:xfrm>
                <a:off x="4916156" y="3750813"/>
                <a:ext cx="8" cy="8"/>
              </a:xfrm>
              <a:custGeom>
                <a:avLst/>
                <a:gdLst/>
                <a:ahLst/>
                <a:cxnLst/>
                <a:rect l="l" t="t" r="r" b="b"/>
                <a:pathLst>
                  <a:path w="1" h="1" fill="none" extrusionOk="0">
                    <a:moveTo>
                      <a:pt x="0" y="0"/>
                    </a:moveTo>
                    <a:close/>
                  </a:path>
                </a:pathLst>
              </a:custGeom>
              <a:noFill/>
              <a:ln w="1825" cap="flat" cmpd="sng">
                <a:solidFill>
                  <a:srgbClr val="A5B7C5"/>
                </a:solidFill>
                <a:prstDash val="solid"/>
                <a:miter lim="12096"/>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nvGrpSpPr>
              <p:cNvPr id="7316" name="Google Shape;7316;p104"/>
              <p:cNvGrpSpPr/>
              <p:nvPr/>
            </p:nvGrpSpPr>
            <p:grpSpPr>
              <a:xfrm>
                <a:off x="4579164" y="3203653"/>
                <a:ext cx="1244833" cy="1020397"/>
                <a:chOff x="4579164" y="3203653"/>
                <a:chExt cx="1244833" cy="1020397"/>
              </a:xfrm>
            </p:grpSpPr>
            <p:sp>
              <p:nvSpPr>
                <p:cNvPr id="7317" name="Google Shape;7317;p104"/>
                <p:cNvSpPr/>
                <p:nvPr/>
              </p:nvSpPr>
              <p:spPr>
                <a:xfrm>
                  <a:off x="5490144" y="3482892"/>
                  <a:ext cx="58995" cy="4955"/>
                </a:xfrm>
                <a:custGeom>
                  <a:avLst/>
                  <a:gdLst/>
                  <a:ahLst/>
                  <a:cxnLst/>
                  <a:rect l="l" t="t" r="r" b="b"/>
                  <a:pathLst>
                    <a:path w="7501" h="630" fill="none" extrusionOk="0">
                      <a:moveTo>
                        <a:pt x="0" y="630"/>
                      </a:moveTo>
                      <a:lnTo>
                        <a:pt x="7500" y="1"/>
                      </a:lnTo>
                    </a:path>
                  </a:pathLst>
                </a:custGeom>
                <a:noFill/>
                <a:ln w="1825" cap="flat" cmpd="sng">
                  <a:solidFill>
                    <a:srgbClr val="A5B7C5"/>
                  </a:solidFill>
                  <a:prstDash val="solid"/>
                  <a:miter lim="12096"/>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318" name="Google Shape;7318;p104"/>
                <p:cNvSpPr/>
                <p:nvPr/>
              </p:nvSpPr>
              <p:spPr>
                <a:xfrm>
                  <a:off x="5490616" y="3482892"/>
                  <a:ext cx="66137" cy="77360"/>
                </a:xfrm>
                <a:custGeom>
                  <a:avLst/>
                  <a:gdLst/>
                  <a:ahLst/>
                  <a:cxnLst/>
                  <a:rect l="l" t="t" r="r" b="b"/>
                  <a:pathLst>
                    <a:path w="8409" h="9836" fill="none" extrusionOk="0">
                      <a:moveTo>
                        <a:pt x="1" y="1"/>
                      </a:moveTo>
                      <a:lnTo>
                        <a:pt x="8408" y="9835"/>
                      </a:lnTo>
                    </a:path>
                  </a:pathLst>
                </a:custGeom>
                <a:noFill/>
                <a:ln w="1825" cap="flat" cmpd="sng">
                  <a:solidFill>
                    <a:srgbClr val="A5B7C5"/>
                  </a:solidFill>
                  <a:prstDash val="solid"/>
                  <a:miter lim="12096"/>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nvGrpSpPr>
                <p:cNvPr id="7319" name="Google Shape;7319;p104"/>
                <p:cNvGrpSpPr/>
                <p:nvPr/>
              </p:nvGrpSpPr>
              <p:grpSpPr>
                <a:xfrm>
                  <a:off x="4579164" y="3203653"/>
                  <a:ext cx="1244833" cy="1020397"/>
                  <a:chOff x="4579164" y="3203653"/>
                  <a:chExt cx="1244833" cy="1020397"/>
                </a:xfrm>
              </p:grpSpPr>
              <p:sp>
                <p:nvSpPr>
                  <p:cNvPr id="7320" name="Google Shape;7320;p104"/>
                  <p:cNvSpPr/>
                  <p:nvPr/>
                </p:nvSpPr>
                <p:spPr>
                  <a:xfrm>
                    <a:off x="4787909" y="3833395"/>
                    <a:ext cx="69267" cy="22266"/>
                  </a:xfrm>
                  <a:custGeom>
                    <a:avLst/>
                    <a:gdLst/>
                    <a:ahLst/>
                    <a:cxnLst/>
                    <a:rect l="l" t="t" r="r" b="b"/>
                    <a:pathLst>
                      <a:path w="8807" h="2831" fill="none" extrusionOk="0">
                        <a:moveTo>
                          <a:pt x="8806" y="0"/>
                        </a:moveTo>
                        <a:lnTo>
                          <a:pt x="0" y="2831"/>
                        </a:lnTo>
                      </a:path>
                    </a:pathLst>
                  </a:custGeom>
                  <a:noFill/>
                  <a:ln w="1825" cap="flat" cmpd="sng">
                    <a:solidFill>
                      <a:srgbClr val="A5B7C5"/>
                    </a:solidFill>
                    <a:prstDash val="solid"/>
                    <a:miter lim="12096"/>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321" name="Google Shape;7321;p104"/>
                  <p:cNvSpPr/>
                  <p:nvPr/>
                </p:nvSpPr>
                <p:spPr>
                  <a:xfrm>
                    <a:off x="4857263" y="3819695"/>
                    <a:ext cx="69936" cy="14181"/>
                  </a:xfrm>
                  <a:custGeom>
                    <a:avLst/>
                    <a:gdLst/>
                    <a:ahLst/>
                    <a:cxnLst/>
                    <a:rect l="l" t="t" r="r" b="b"/>
                    <a:pathLst>
                      <a:path w="8892" h="1803" fill="none" extrusionOk="0">
                        <a:moveTo>
                          <a:pt x="1" y="1803"/>
                        </a:moveTo>
                        <a:lnTo>
                          <a:pt x="8892" y="0"/>
                        </a:lnTo>
                      </a:path>
                    </a:pathLst>
                  </a:custGeom>
                  <a:noFill/>
                  <a:ln w="1825" cap="flat" cmpd="sng">
                    <a:solidFill>
                      <a:srgbClr val="A5B7C5"/>
                    </a:solidFill>
                    <a:prstDash val="solid"/>
                    <a:miter lim="12096"/>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nvGrpSpPr>
                  <p:cNvPr id="7322" name="Google Shape;7322;p104"/>
                  <p:cNvGrpSpPr/>
                  <p:nvPr/>
                </p:nvGrpSpPr>
                <p:grpSpPr>
                  <a:xfrm>
                    <a:off x="4579164" y="3203653"/>
                    <a:ext cx="1244833" cy="1020397"/>
                    <a:chOff x="4579164" y="3203653"/>
                    <a:chExt cx="1244833" cy="1020397"/>
                  </a:xfrm>
                </p:grpSpPr>
                <p:sp>
                  <p:nvSpPr>
                    <p:cNvPr id="7323" name="Google Shape;7323;p104"/>
                    <p:cNvSpPr/>
                    <p:nvPr/>
                  </p:nvSpPr>
                  <p:spPr>
                    <a:xfrm>
                      <a:off x="4930329" y="3363965"/>
                      <a:ext cx="23894" cy="102764"/>
                    </a:xfrm>
                    <a:custGeom>
                      <a:avLst/>
                      <a:gdLst/>
                      <a:ahLst/>
                      <a:cxnLst/>
                      <a:rect l="l" t="t" r="r" b="b"/>
                      <a:pathLst>
                        <a:path w="3038" h="13066" fill="none" extrusionOk="0">
                          <a:moveTo>
                            <a:pt x="3037" y="13065"/>
                          </a:moveTo>
                          <a:lnTo>
                            <a:pt x="1" y="1"/>
                          </a:lnTo>
                        </a:path>
                      </a:pathLst>
                    </a:custGeom>
                    <a:noFill/>
                    <a:ln w="1825" cap="flat" cmpd="sng">
                      <a:solidFill>
                        <a:srgbClr val="A5B7C5"/>
                      </a:solidFill>
                      <a:prstDash val="solid"/>
                      <a:miter lim="12096"/>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324" name="Google Shape;7324;p104"/>
                    <p:cNvSpPr/>
                    <p:nvPr/>
                  </p:nvSpPr>
                  <p:spPr>
                    <a:xfrm>
                      <a:off x="4849846" y="3385948"/>
                      <a:ext cx="104085" cy="79256"/>
                    </a:xfrm>
                    <a:custGeom>
                      <a:avLst/>
                      <a:gdLst/>
                      <a:ahLst/>
                      <a:cxnLst/>
                      <a:rect l="l" t="t" r="r" b="b"/>
                      <a:pathLst>
                        <a:path w="13234" h="10077" fill="none" extrusionOk="0">
                          <a:moveTo>
                            <a:pt x="0" y="0"/>
                          </a:moveTo>
                          <a:lnTo>
                            <a:pt x="13234" y="10077"/>
                          </a:lnTo>
                        </a:path>
                      </a:pathLst>
                    </a:custGeom>
                    <a:noFill/>
                    <a:ln w="1825" cap="flat" cmpd="sng">
                      <a:solidFill>
                        <a:srgbClr val="A5B7C5"/>
                      </a:solidFill>
                      <a:prstDash val="solid"/>
                      <a:miter lim="12096"/>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325" name="Google Shape;7325;p104"/>
                    <p:cNvSpPr/>
                    <p:nvPr/>
                  </p:nvSpPr>
                  <p:spPr>
                    <a:xfrm>
                      <a:off x="4849650" y="3306598"/>
                      <a:ext cx="45869" cy="79358"/>
                    </a:xfrm>
                    <a:custGeom>
                      <a:avLst/>
                      <a:gdLst/>
                      <a:ahLst/>
                      <a:cxnLst/>
                      <a:rect l="l" t="t" r="r" b="b"/>
                      <a:pathLst>
                        <a:path w="5832" h="10090" fill="none" extrusionOk="0">
                          <a:moveTo>
                            <a:pt x="5831" y="0"/>
                          </a:moveTo>
                          <a:lnTo>
                            <a:pt x="1" y="10089"/>
                          </a:lnTo>
                        </a:path>
                      </a:pathLst>
                    </a:custGeom>
                    <a:noFill/>
                    <a:ln w="1825" cap="flat" cmpd="sng">
                      <a:solidFill>
                        <a:srgbClr val="A5B7C5"/>
                      </a:solidFill>
                      <a:prstDash val="solid"/>
                      <a:miter lim="12096"/>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326" name="Google Shape;7326;p104"/>
                    <p:cNvSpPr/>
                    <p:nvPr/>
                  </p:nvSpPr>
                  <p:spPr>
                    <a:xfrm>
                      <a:off x="4849650" y="3361299"/>
                      <a:ext cx="84305" cy="24657"/>
                    </a:xfrm>
                    <a:custGeom>
                      <a:avLst/>
                      <a:gdLst/>
                      <a:ahLst/>
                      <a:cxnLst/>
                      <a:rect l="l" t="t" r="r" b="b"/>
                      <a:pathLst>
                        <a:path w="10719" h="3135" fill="none" extrusionOk="0">
                          <a:moveTo>
                            <a:pt x="1" y="3134"/>
                          </a:moveTo>
                          <a:lnTo>
                            <a:pt x="10719" y="1"/>
                          </a:lnTo>
                        </a:path>
                      </a:pathLst>
                    </a:custGeom>
                    <a:noFill/>
                    <a:ln w="1825" cap="flat" cmpd="sng">
                      <a:solidFill>
                        <a:srgbClr val="A5B7C5"/>
                      </a:solidFill>
                      <a:prstDash val="solid"/>
                      <a:miter lim="12096"/>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327" name="Google Shape;7327;p104"/>
                    <p:cNvSpPr/>
                    <p:nvPr/>
                  </p:nvSpPr>
                  <p:spPr>
                    <a:xfrm>
                      <a:off x="4789616" y="3306598"/>
                      <a:ext cx="19702" cy="54709"/>
                    </a:xfrm>
                    <a:custGeom>
                      <a:avLst/>
                      <a:gdLst/>
                      <a:ahLst/>
                      <a:cxnLst/>
                      <a:rect l="l" t="t" r="r" b="b"/>
                      <a:pathLst>
                        <a:path w="2505" h="6956" fill="none" extrusionOk="0">
                          <a:moveTo>
                            <a:pt x="2505" y="6956"/>
                          </a:moveTo>
                          <a:lnTo>
                            <a:pt x="1" y="0"/>
                          </a:lnTo>
                        </a:path>
                      </a:pathLst>
                    </a:custGeom>
                    <a:noFill/>
                    <a:ln w="1825" cap="flat" cmpd="sng">
                      <a:solidFill>
                        <a:srgbClr val="A5B7C5"/>
                      </a:solidFill>
                      <a:prstDash val="solid"/>
                      <a:miter lim="12096"/>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328" name="Google Shape;7328;p104"/>
                    <p:cNvSpPr/>
                    <p:nvPr/>
                  </p:nvSpPr>
                  <p:spPr>
                    <a:xfrm>
                      <a:off x="4738242" y="3357500"/>
                      <a:ext cx="74883" cy="10280"/>
                    </a:xfrm>
                    <a:custGeom>
                      <a:avLst/>
                      <a:gdLst/>
                      <a:ahLst/>
                      <a:cxnLst/>
                      <a:rect l="l" t="t" r="r" b="b"/>
                      <a:pathLst>
                        <a:path w="9521" h="1307" fill="none" extrusionOk="0">
                          <a:moveTo>
                            <a:pt x="1" y="1307"/>
                          </a:moveTo>
                          <a:lnTo>
                            <a:pt x="9521" y="0"/>
                          </a:lnTo>
                        </a:path>
                      </a:pathLst>
                    </a:custGeom>
                    <a:noFill/>
                    <a:ln w="1825" cap="flat" cmpd="sng">
                      <a:solidFill>
                        <a:srgbClr val="A5B7C5"/>
                      </a:solidFill>
                      <a:prstDash val="solid"/>
                      <a:miter lim="12096"/>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329" name="Google Shape;7329;p104"/>
                    <p:cNvSpPr/>
                    <p:nvPr/>
                  </p:nvSpPr>
                  <p:spPr>
                    <a:xfrm>
                      <a:off x="4710274" y="3357500"/>
                      <a:ext cx="99044" cy="63557"/>
                    </a:xfrm>
                    <a:custGeom>
                      <a:avLst/>
                      <a:gdLst/>
                      <a:ahLst/>
                      <a:cxnLst/>
                      <a:rect l="l" t="t" r="r" b="b"/>
                      <a:pathLst>
                        <a:path w="12593" h="8081" fill="none" extrusionOk="0">
                          <a:moveTo>
                            <a:pt x="0" y="8081"/>
                          </a:moveTo>
                          <a:lnTo>
                            <a:pt x="12593" y="0"/>
                          </a:lnTo>
                        </a:path>
                      </a:pathLst>
                    </a:custGeom>
                    <a:noFill/>
                    <a:ln w="1825" cap="flat" cmpd="sng">
                      <a:solidFill>
                        <a:srgbClr val="A5B7C5"/>
                      </a:solidFill>
                      <a:prstDash val="solid"/>
                      <a:miter lim="12096"/>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330" name="Google Shape;7330;p104"/>
                    <p:cNvSpPr/>
                    <p:nvPr/>
                  </p:nvSpPr>
                  <p:spPr>
                    <a:xfrm>
                      <a:off x="4809310" y="3306598"/>
                      <a:ext cx="87443" cy="50910"/>
                    </a:xfrm>
                    <a:custGeom>
                      <a:avLst/>
                      <a:gdLst/>
                      <a:ahLst/>
                      <a:cxnLst/>
                      <a:rect l="l" t="t" r="r" b="b"/>
                      <a:pathLst>
                        <a:path w="11118" h="6473" fill="none" extrusionOk="0">
                          <a:moveTo>
                            <a:pt x="1" y="6472"/>
                          </a:moveTo>
                          <a:lnTo>
                            <a:pt x="11118" y="0"/>
                          </a:lnTo>
                        </a:path>
                      </a:pathLst>
                    </a:custGeom>
                    <a:noFill/>
                    <a:ln w="1825" cap="flat" cmpd="sng">
                      <a:solidFill>
                        <a:srgbClr val="A5B7C5"/>
                      </a:solidFill>
                      <a:prstDash val="solid"/>
                      <a:miter lim="12096"/>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nvGrpSpPr>
                    <p:cNvPr id="7331" name="Google Shape;7331;p104"/>
                    <p:cNvGrpSpPr/>
                    <p:nvPr/>
                  </p:nvGrpSpPr>
                  <p:grpSpPr>
                    <a:xfrm>
                      <a:off x="4579164" y="3203653"/>
                      <a:ext cx="1244833" cy="1020397"/>
                      <a:chOff x="4579164" y="3203653"/>
                      <a:chExt cx="1244833" cy="1020397"/>
                    </a:xfrm>
                  </p:grpSpPr>
                  <p:sp>
                    <p:nvSpPr>
                      <p:cNvPr id="7332" name="Google Shape;7332;p104"/>
                      <p:cNvSpPr/>
                      <p:nvPr/>
                    </p:nvSpPr>
                    <p:spPr>
                      <a:xfrm>
                        <a:off x="4617986" y="3614284"/>
                        <a:ext cx="53002" cy="21031"/>
                      </a:xfrm>
                      <a:custGeom>
                        <a:avLst/>
                        <a:gdLst/>
                        <a:ahLst/>
                        <a:cxnLst/>
                        <a:rect l="l" t="t" r="r" b="b"/>
                        <a:pathLst>
                          <a:path w="6739" h="2674" fill="none" extrusionOk="0">
                            <a:moveTo>
                              <a:pt x="0" y="0"/>
                            </a:moveTo>
                            <a:lnTo>
                              <a:pt x="6738" y="2674"/>
                            </a:lnTo>
                          </a:path>
                        </a:pathLst>
                      </a:custGeom>
                      <a:noFill/>
                      <a:ln w="1825" cap="flat" cmpd="sng">
                        <a:solidFill>
                          <a:srgbClr val="A5B7C5"/>
                        </a:solidFill>
                        <a:prstDash val="solid"/>
                        <a:miter lim="12096"/>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333" name="Google Shape;7333;p104"/>
                      <p:cNvSpPr/>
                      <p:nvPr/>
                    </p:nvSpPr>
                    <p:spPr>
                      <a:xfrm>
                        <a:off x="4624545" y="3589069"/>
                        <a:ext cx="43682" cy="63180"/>
                      </a:xfrm>
                      <a:custGeom>
                        <a:avLst/>
                        <a:gdLst/>
                        <a:ahLst/>
                        <a:cxnLst/>
                        <a:rect l="l" t="t" r="r" b="b"/>
                        <a:pathLst>
                          <a:path w="5554" h="8033" fill="none" extrusionOk="0">
                            <a:moveTo>
                              <a:pt x="1" y="8033"/>
                            </a:moveTo>
                            <a:lnTo>
                              <a:pt x="5553" y="1"/>
                            </a:lnTo>
                          </a:path>
                        </a:pathLst>
                      </a:custGeom>
                      <a:noFill/>
                      <a:ln w="1825" cap="flat" cmpd="sng">
                        <a:solidFill>
                          <a:srgbClr val="A5B7C5"/>
                        </a:solidFill>
                        <a:prstDash val="solid"/>
                        <a:miter lim="12096"/>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334" name="Google Shape;7334;p104"/>
                      <p:cNvSpPr/>
                      <p:nvPr/>
                    </p:nvSpPr>
                    <p:spPr>
                      <a:xfrm>
                        <a:off x="4668220" y="3517907"/>
                        <a:ext cx="112178" cy="71170"/>
                      </a:xfrm>
                      <a:custGeom>
                        <a:avLst/>
                        <a:gdLst/>
                        <a:ahLst/>
                        <a:cxnLst/>
                        <a:rect l="l" t="t" r="r" b="b"/>
                        <a:pathLst>
                          <a:path w="14263" h="9049" fill="none" extrusionOk="0">
                            <a:moveTo>
                              <a:pt x="0" y="9049"/>
                            </a:moveTo>
                            <a:lnTo>
                              <a:pt x="14262" y="0"/>
                            </a:lnTo>
                          </a:path>
                        </a:pathLst>
                      </a:custGeom>
                      <a:noFill/>
                      <a:ln w="1825" cap="flat" cmpd="sng">
                        <a:solidFill>
                          <a:srgbClr val="A5B7C5"/>
                        </a:solidFill>
                        <a:prstDash val="solid"/>
                        <a:miter lim="12096"/>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335" name="Google Shape;7335;p104"/>
                      <p:cNvSpPr/>
                      <p:nvPr/>
                    </p:nvSpPr>
                    <p:spPr>
                      <a:xfrm>
                        <a:off x="4706562" y="3516766"/>
                        <a:ext cx="77455" cy="79924"/>
                      </a:xfrm>
                      <a:custGeom>
                        <a:avLst/>
                        <a:gdLst/>
                        <a:ahLst/>
                        <a:cxnLst/>
                        <a:rect l="l" t="t" r="r" b="b"/>
                        <a:pathLst>
                          <a:path w="9848" h="10162" fill="none" extrusionOk="0">
                            <a:moveTo>
                              <a:pt x="0" y="10161"/>
                            </a:moveTo>
                            <a:lnTo>
                              <a:pt x="9847" y="0"/>
                            </a:lnTo>
                          </a:path>
                        </a:pathLst>
                      </a:custGeom>
                      <a:noFill/>
                      <a:ln w="1825" cap="flat" cmpd="sng">
                        <a:solidFill>
                          <a:srgbClr val="A5B7C5"/>
                        </a:solidFill>
                        <a:prstDash val="solid"/>
                        <a:miter lim="12096"/>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336" name="Google Shape;7336;p104"/>
                      <p:cNvSpPr/>
                      <p:nvPr/>
                    </p:nvSpPr>
                    <p:spPr>
                      <a:xfrm>
                        <a:off x="4763646" y="3516766"/>
                        <a:ext cx="20370" cy="52806"/>
                      </a:xfrm>
                      <a:custGeom>
                        <a:avLst/>
                        <a:gdLst/>
                        <a:ahLst/>
                        <a:cxnLst/>
                        <a:rect l="l" t="t" r="r" b="b"/>
                        <a:pathLst>
                          <a:path w="2590" h="6714" fill="none" extrusionOk="0">
                            <a:moveTo>
                              <a:pt x="0" y="6714"/>
                            </a:moveTo>
                            <a:lnTo>
                              <a:pt x="2589" y="0"/>
                            </a:lnTo>
                          </a:path>
                        </a:pathLst>
                      </a:custGeom>
                      <a:noFill/>
                      <a:ln w="1825" cap="flat" cmpd="sng">
                        <a:solidFill>
                          <a:srgbClr val="A5B7C5"/>
                        </a:solidFill>
                        <a:prstDash val="solid"/>
                        <a:miter lim="12096"/>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337" name="Google Shape;7337;p104"/>
                      <p:cNvSpPr/>
                      <p:nvPr/>
                    </p:nvSpPr>
                    <p:spPr>
                      <a:xfrm>
                        <a:off x="4783151" y="3520565"/>
                        <a:ext cx="45861" cy="97432"/>
                      </a:xfrm>
                      <a:custGeom>
                        <a:avLst/>
                        <a:gdLst/>
                        <a:ahLst/>
                        <a:cxnLst/>
                        <a:rect l="l" t="t" r="r" b="b"/>
                        <a:pathLst>
                          <a:path w="5831" h="12388" fill="none" extrusionOk="0">
                            <a:moveTo>
                              <a:pt x="5831" y="12388"/>
                            </a:moveTo>
                            <a:lnTo>
                              <a:pt x="0" y="1"/>
                            </a:lnTo>
                          </a:path>
                        </a:pathLst>
                      </a:custGeom>
                      <a:noFill/>
                      <a:ln w="1825" cap="flat" cmpd="sng">
                        <a:solidFill>
                          <a:srgbClr val="A5B7C5"/>
                        </a:solidFill>
                        <a:prstDash val="solid"/>
                        <a:miter lim="12096"/>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338" name="Google Shape;7338;p104"/>
                      <p:cNvSpPr/>
                      <p:nvPr/>
                    </p:nvSpPr>
                    <p:spPr>
                      <a:xfrm>
                        <a:off x="4738242" y="3483175"/>
                        <a:ext cx="44917" cy="37398"/>
                      </a:xfrm>
                      <a:custGeom>
                        <a:avLst/>
                        <a:gdLst/>
                        <a:ahLst/>
                        <a:cxnLst/>
                        <a:rect l="l" t="t" r="r" b="b"/>
                        <a:pathLst>
                          <a:path w="5711" h="4755" fill="none" extrusionOk="0">
                            <a:moveTo>
                              <a:pt x="1" y="1"/>
                            </a:moveTo>
                            <a:lnTo>
                              <a:pt x="5710" y="4755"/>
                            </a:lnTo>
                          </a:path>
                        </a:pathLst>
                      </a:custGeom>
                      <a:noFill/>
                      <a:ln w="1825" cap="flat" cmpd="sng">
                        <a:solidFill>
                          <a:srgbClr val="A5B7C5"/>
                        </a:solidFill>
                        <a:prstDash val="solid"/>
                        <a:miter lim="12096"/>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339" name="Google Shape;7339;p104"/>
                      <p:cNvSpPr/>
                      <p:nvPr/>
                    </p:nvSpPr>
                    <p:spPr>
                      <a:xfrm>
                        <a:off x="4704941" y="3501823"/>
                        <a:ext cx="78217" cy="18750"/>
                      </a:xfrm>
                      <a:custGeom>
                        <a:avLst/>
                        <a:gdLst/>
                        <a:ahLst/>
                        <a:cxnLst/>
                        <a:rect l="l" t="t" r="r" b="b"/>
                        <a:pathLst>
                          <a:path w="9945" h="2384" fill="none" extrusionOk="0">
                            <a:moveTo>
                              <a:pt x="1" y="1"/>
                            </a:moveTo>
                            <a:lnTo>
                              <a:pt x="9944" y="2384"/>
                            </a:lnTo>
                          </a:path>
                        </a:pathLst>
                      </a:custGeom>
                      <a:noFill/>
                      <a:ln w="1825" cap="flat" cmpd="sng">
                        <a:solidFill>
                          <a:srgbClr val="A5B7C5"/>
                        </a:solidFill>
                        <a:prstDash val="solid"/>
                        <a:miter lim="12096"/>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340" name="Google Shape;7340;p104"/>
                      <p:cNvSpPr/>
                      <p:nvPr/>
                    </p:nvSpPr>
                    <p:spPr>
                      <a:xfrm>
                        <a:off x="4668220" y="3520565"/>
                        <a:ext cx="115796" cy="19324"/>
                      </a:xfrm>
                      <a:custGeom>
                        <a:avLst/>
                        <a:gdLst/>
                        <a:ahLst/>
                        <a:cxnLst/>
                        <a:rect l="l" t="t" r="r" b="b"/>
                        <a:pathLst>
                          <a:path w="14723" h="2457" fill="none" extrusionOk="0">
                            <a:moveTo>
                              <a:pt x="0" y="2457"/>
                            </a:moveTo>
                            <a:lnTo>
                              <a:pt x="14722" y="1"/>
                            </a:lnTo>
                          </a:path>
                        </a:pathLst>
                      </a:custGeom>
                      <a:noFill/>
                      <a:ln w="1825" cap="flat" cmpd="sng">
                        <a:solidFill>
                          <a:srgbClr val="A5B7C5"/>
                        </a:solidFill>
                        <a:prstDash val="solid"/>
                        <a:miter lim="12096"/>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341" name="Google Shape;7341;p104"/>
                      <p:cNvSpPr/>
                      <p:nvPr/>
                    </p:nvSpPr>
                    <p:spPr>
                      <a:xfrm>
                        <a:off x="4813117" y="3462915"/>
                        <a:ext cx="40347" cy="51193"/>
                      </a:xfrm>
                      <a:custGeom>
                        <a:avLst/>
                        <a:gdLst/>
                        <a:ahLst/>
                        <a:cxnLst/>
                        <a:rect l="l" t="t" r="r" b="b"/>
                        <a:pathLst>
                          <a:path w="5130" h="6509" fill="none" extrusionOk="0">
                            <a:moveTo>
                              <a:pt x="5130" y="6508"/>
                            </a:moveTo>
                            <a:lnTo>
                              <a:pt x="1" y="0"/>
                            </a:lnTo>
                          </a:path>
                        </a:pathLst>
                      </a:custGeom>
                      <a:noFill/>
                      <a:ln w="1825" cap="flat" cmpd="sng">
                        <a:solidFill>
                          <a:srgbClr val="A5B7C5"/>
                        </a:solidFill>
                        <a:prstDash val="solid"/>
                        <a:miter lim="12096"/>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342" name="Google Shape;7342;p104"/>
                      <p:cNvSpPr/>
                      <p:nvPr/>
                    </p:nvSpPr>
                    <p:spPr>
                      <a:xfrm>
                        <a:off x="4787807" y="3462915"/>
                        <a:ext cx="25317" cy="55000"/>
                      </a:xfrm>
                      <a:custGeom>
                        <a:avLst/>
                        <a:gdLst/>
                        <a:ahLst/>
                        <a:cxnLst/>
                        <a:rect l="l" t="t" r="r" b="b"/>
                        <a:pathLst>
                          <a:path w="3219" h="6993" fill="none" extrusionOk="0">
                            <a:moveTo>
                              <a:pt x="1" y="6992"/>
                            </a:moveTo>
                            <a:lnTo>
                              <a:pt x="3219" y="0"/>
                            </a:lnTo>
                          </a:path>
                        </a:pathLst>
                      </a:custGeom>
                      <a:noFill/>
                      <a:ln w="1825" cap="flat" cmpd="sng">
                        <a:solidFill>
                          <a:srgbClr val="A5B7C5"/>
                        </a:solidFill>
                        <a:prstDash val="solid"/>
                        <a:miter lim="12096"/>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343" name="Google Shape;7343;p104"/>
                      <p:cNvSpPr/>
                      <p:nvPr/>
                    </p:nvSpPr>
                    <p:spPr>
                      <a:xfrm>
                        <a:off x="4781342" y="3514100"/>
                        <a:ext cx="72311" cy="6953"/>
                      </a:xfrm>
                      <a:custGeom>
                        <a:avLst/>
                        <a:gdLst/>
                        <a:ahLst/>
                        <a:cxnLst/>
                        <a:rect l="l" t="t" r="r" b="b"/>
                        <a:pathLst>
                          <a:path w="9194" h="884" fill="none" extrusionOk="0">
                            <a:moveTo>
                              <a:pt x="0" y="883"/>
                            </a:moveTo>
                            <a:lnTo>
                              <a:pt x="9194" y="0"/>
                            </a:lnTo>
                          </a:path>
                        </a:pathLst>
                      </a:custGeom>
                      <a:noFill/>
                      <a:ln w="1825" cap="flat" cmpd="sng">
                        <a:solidFill>
                          <a:srgbClr val="A5B7C5"/>
                        </a:solidFill>
                        <a:prstDash val="solid"/>
                        <a:miter lim="12096"/>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344" name="Google Shape;7344;p104"/>
                      <p:cNvSpPr/>
                      <p:nvPr/>
                    </p:nvSpPr>
                    <p:spPr>
                      <a:xfrm>
                        <a:off x="4853645" y="3514100"/>
                        <a:ext cx="26175" cy="59184"/>
                      </a:xfrm>
                      <a:custGeom>
                        <a:avLst/>
                        <a:gdLst/>
                        <a:ahLst/>
                        <a:cxnLst/>
                        <a:rect l="l" t="t" r="r" b="b"/>
                        <a:pathLst>
                          <a:path w="3328" h="7525" fill="none" extrusionOk="0">
                            <a:moveTo>
                              <a:pt x="1" y="0"/>
                            </a:moveTo>
                            <a:lnTo>
                              <a:pt x="3328" y="7525"/>
                            </a:lnTo>
                          </a:path>
                        </a:pathLst>
                      </a:custGeom>
                      <a:noFill/>
                      <a:ln w="1825" cap="flat" cmpd="sng">
                        <a:solidFill>
                          <a:srgbClr val="A5B7C5"/>
                        </a:solidFill>
                        <a:prstDash val="solid"/>
                        <a:miter lim="12096"/>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345" name="Google Shape;7345;p104"/>
                      <p:cNvSpPr/>
                      <p:nvPr/>
                    </p:nvSpPr>
                    <p:spPr>
                      <a:xfrm>
                        <a:off x="4827392" y="3514100"/>
                        <a:ext cx="26261" cy="100381"/>
                      </a:xfrm>
                      <a:custGeom>
                        <a:avLst/>
                        <a:gdLst/>
                        <a:ahLst/>
                        <a:cxnLst/>
                        <a:rect l="l" t="t" r="r" b="b"/>
                        <a:pathLst>
                          <a:path w="3339" h="12763" fill="none" extrusionOk="0">
                            <a:moveTo>
                              <a:pt x="3339" y="0"/>
                            </a:moveTo>
                            <a:lnTo>
                              <a:pt x="0" y="12762"/>
                            </a:lnTo>
                          </a:path>
                        </a:pathLst>
                      </a:custGeom>
                      <a:noFill/>
                      <a:ln w="1825" cap="flat" cmpd="sng">
                        <a:solidFill>
                          <a:srgbClr val="A5B7C5"/>
                        </a:solidFill>
                        <a:prstDash val="solid"/>
                        <a:miter lim="12096"/>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nvGrpSpPr>
                      <p:cNvPr id="7346" name="Google Shape;7346;p104"/>
                      <p:cNvGrpSpPr/>
                      <p:nvPr/>
                    </p:nvGrpSpPr>
                    <p:grpSpPr>
                      <a:xfrm>
                        <a:off x="4579164" y="3203653"/>
                        <a:ext cx="1244833" cy="1020397"/>
                        <a:chOff x="4579164" y="3203653"/>
                        <a:chExt cx="1244833" cy="1020397"/>
                      </a:xfrm>
                    </p:grpSpPr>
                    <p:sp>
                      <p:nvSpPr>
                        <p:cNvPr id="7347" name="Google Shape;7347;p104"/>
                        <p:cNvSpPr/>
                        <p:nvPr/>
                      </p:nvSpPr>
                      <p:spPr>
                        <a:xfrm>
                          <a:off x="4879812" y="3466721"/>
                          <a:ext cx="74411" cy="106563"/>
                        </a:xfrm>
                        <a:custGeom>
                          <a:avLst/>
                          <a:gdLst/>
                          <a:ahLst/>
                          <a:cxnLst/>
                          <a:rect l="l" t="t" r="r" b="b"/>
                          <a:pathLst>
                            <a:path w="9461" h="13549" fill="none" extrusionOk="0">
                              <a:moveTo>
                                <a:pt x="1" y="13549"/>
                              </a:moveTo>
                              <a:lnTo>
                                <a:pt x="9460" y="0"/>
                              </a:lnTo>
                            </a:path>
                          </a:pathLst>
                        </a:custGeom>
                        <a:noFill/>
                        <a:ln w="1825" cap="flat" cmpd="sng">
                          <a:solidFill>
                            <a:srgbClr val="A5B7C5"/>
                          </a:solidFill>
                          <a:prstDash val="solid"/>
                          <a:miter lim="12096"/>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348" name="Google Shape;7348;p104"/>
                        <p:cNvSpPr/>
                        <p:nvPr/>
                      </p:nvSpPr>
                      <p:spPr>
                        <a:xfrm>
                          <a:off x="4954215" y="3408017"/>
                          <a:ext cx="105989" cy="58712"/>
                        </a:xfrm>
                        <a:custGeom>
                          <a:avLst/>
                          <a:gdLst/>
                          <a:ahLst/>
                          <a:cxnLst/>
                          <a:rect l="l" t="t" r="r" b="b"/>
                          <a:pathLst>
                            <a:path w="13476" h="7465" fill="none" extrusionOk="0">
                              <a:moveTo>
                                <a:pt x="0" y="7464"/>
                              </a:moveTo>
                              <a:lnTo>
                                <a:pt x="13476" y="0"/>
                              </a:lnTo>
                            </a:path>
                          </a:pathLst>
                        </a:custGeom>
                        <a:noFill/>
                        <a:ln w="1825" cap="flat" cmpd="sng">
                          <a:solidFill>
                            <a:srgbClr val="A5B7C5"/>
                          </a:solidFill>
                          <a:prstDash val="solid"/>
                          <a:miter lim="12096"/>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349" name="Google Shape;7349;p104"/>
                        <p:cNvSpPr/>
                        <p:nvPr/>
                      </p:nvSpPr>
                      <p:spPr>
                        <a:xfrm>
                          <a:off x="4953924" y="3465195"/>
                          <a:ext cx="119792" cy="54811"/>
                        </a:xfrm>
                        <a:custGeom>
                          <a:avLst/>
                          <a:gdLst/>
                          <a:ahLst/>
                          <a:cxnLst/>
                          <a:rect l="l" t="t" r="r" b="b"/>
                          <a:pathLst>
                            <a:path w="15231" h="6969" fill="none" extrusionOk="0">
                              <a:moveTo>
                                <a:pt x="1" y="1"/>
                              </a:moveTo>
                              <a:lnTo>
                                <a:pt x="15231" y="6968"/>
                              </a:lnTo>
                            </a:path>
                          </a:pathLst>
                        </a:custGeom>
                        <a:noFill/>
                        <a:ln w="1825" cap="flat" cmpd="sng">
                          <a:solidFill>
                            <a:srgbClr val="A5B7C5"/>
                          </a:solidFill>
                          <a:prstDash val="solid"/>
                          <a:miter lim="12096"/>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350" name="Google Shape;7350;p104"/>
                        <p:cNvSpPr/>
                        <p:nvPr/>
                      </p:nvSpPr>
                      <p:spPr>
                        <a:xfrm>
                          <a:off x="5073708" y="3521045"/>
                          <a:ext cx="26938" cy="71839"/>
                        </a:xfrm>
                        <a:custGeom>
                          <a:avLst/>
                          <a:gdLst/>
                          <a:ahLst/>
                          <a:cxnLst/>
                          <a:rect l="l" t="t" r="r" b="b"/>
                          <a:pathLst>
                            <a:path w="3425" h="9134" fill="none" extrusionOk="0">
                              <a:moveTo>
                                <a:pt x="1" y="0"/>
                              </a:moveTo>
                              <a:lnTo>
                                <a:pt x="3424" y="9133"/>
                              </a:lnTo>
                            </a:path>
                          </a:pathLst>
                        </a:custGeom>
                        <a:noFill/>
                        <a:ln w="1825" cap="flat" cmpd="sng">
                          <a:solidFill>
                            <a:srgbClr val="A5B7C5"/>
                          </a:solidFill>
                          <a:prstDash val="solid"/>
                          <a:miter lim="12096"/>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351" name="Google Shape;7351;p104"/>
                        <p:cNvSpPr/>
                        <p:nvPr/>
                      </p:nvSpPr>
                      <p:spPr>
                        <a:xfrm>
                          <a:off x="5100637" y="3586309"/>
                          <a:ext cx="26741" cy="81167"/>
                        </a:xfrm>
                        <a:custGeom>
                          <a:avLst/>
                          <a:gdLst/>
                          <a:ahLst/>
                          <a:cxnLst/>
                          <a:rect l="l" t="t" r="r" b="b"/>
                          <a:pathLst>
                            <a:path w="3400" h="10320" fill="none" extrusionOk="0">
                              <a:moveTo>
                                <a:pt x="3399" y="10319"/>
                              </a:moveTo>
                              <a:lnTo>
                                <a:pt x="0" y="1"/>
                              </a:lnTo>
                            </a:path>
                          </a:pathLst>
                        </a:custGeom>
                        <a:noFill/>
                        <a:ln w="1825" cap="flat" cmpd="sng">
                          <a:solidFill>
                            <a:srgbClr val="A5B7C5"/>
                          </a:solidFill>
                          <a:prstDash val="solid"/>
                          <a:miter lim="12096"/>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352" name="Google Shape;7352;p104"/>
                        <p:cNvSpPr/>
                        <p:nvPr/>
                      </p:nvSpPr>
                      <p:spPr>
                        <a:xfrm>
                          <a:off x="5088549" y="3252840"/>
                          <a:ext cx="693968" cy="520624"/>
                        </a:xfrm>
                        <a:custGeom>
                          <a:avLst/>
                          <a:gdLst/>
                          <a:ahLst/>
                          <a:cxnLst/>
                          <a:rect l="l" t="t" r="r" b="b"/>
                          <a:pathLst>
                            <a:path w="88235" h="66195" fill="none" extrusionOk="0">
                              <a:moveTo>
                                <a:pt x="1" y="63509"/>
                              </a:moveTo>
                              <a:lnTo>
                                <a:pt x="1537" y="42400"/>
                              </a:lnTo>
                              <a:lnTo>
                                <a:pt x="10077" y="22210"/>
                              </a:lnTo>
                              <a:cubicBezTo>
                                <a:pt x="10077" y="22210"/>
                                <a:pt x="14202" y="33218"/>
                                <a:pt x="14202" y="32384"/>
                              </a:cubicBezTo>
                              <a:cubicBezTo>
                                <a:pt x="14202" y="31561"/>
                                <a:pt x="26009" y="8976"/>
                                <a:pt x="26009" y="8976"/>
                              </a:cubicBezTo>
                              <a:lnTo>
                                <a:pt x="33618" y="31077"/>
                              </a:lnTo>
                              <a:lnTo>
                                <a:pt x="15025" y="46779"/>
                              </a:lnTo>
                              <a:lnTo>
                                <a:pt x="36037" y="48944"/>
                              </a:lnTo>
                              <a:lnTo>
                                <a:pt x="27557" y="58863"/>
                              </a:lnTo>
                              <a:lnTo>
                                <a:pt x="40803" y="66194"/>
                              </a:lnTo>
                              <a:lnTo>
                                <a:pt x="43586" y="48448"/>
                              </a:lnTo>
                              <a:lnTo>
                                <a:pt x="51122" y="29734"/>
                              </a:lnTo>
                              <a:lnTo>
                                <a:pt x="49670" y="16694"/>
                              </a:lnTo>
                              <a:lnTo>
                                <a:pt x="65263" y="21376"/>
                              </a:lnTo>
                              <a:lnTo>
                                <a:pt x="68819" y="9448"/>
                              </a:lnTo>
                              <a:lnTo>
                                <a:pt x="66098" y="1"/>
                              </a:lnTo>
                              <a:lnTo>
                                <a:pt x="88235" y="20069"/>
                              </a:lnTo>
                            </a:path>
                          </a:pathLst>
                        </a:custGeom>
                        <a:noFill/>
                        <a:ln w="1825" cap="flat" cmpd="sng">
                          <a:solidFill>
                            <a:srgbClr val="A5B7C5"/>
                          </a:solidFill>
                          <a:prstDash val="solid"/>
                          <a:miter lim="12096"/>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353" name="Google Shape;7353;p104"/>
                        <p:cNvSpPr/>
                        <p:nvPr/>
                      </p:nvSpPr>
                      <p:spPr>
                        <a:xfrm>
                          <a:off x="5060203" y="3203653"/>
                          <a:ext cx="544588" cy="316354"/>
                        </a:xfrm>
                        <a:custGeom>
                          <a:avLst/>
                          <a:gdLst/>
                          <a:ahLst/>
                          <a:cxnLst/>
                          <a:rect l="l" t="t" r="r" b="b"/>
                          <a:pathLst>
                            <a:path w="69242" h="40223" fill="none" extrusionOk="0">
                              <a:moveTo>
                                <a:pt x="69242" y="6255"/>
                              </a:moveTo>
                              <a:lnTo>
                                <a:pt x="53274" y="22948"/>
                              </a:lnTo>
                              <a:lnTo>
                                <a:pt x="45532" y="5432"/>
                              </a:lnTo>
                              <a:lnTo>
                                <a:pt x="29613" y="14747"/>
                              </a:lnTo>
                              <a:lnTo>
                                <a:pt x="28790" y="1"/>
                              </a:lnTo>
                              <a:lnTo>
                                <a:pt x="13500" y="28912"/>
                              </a:lnTo>
                              <a:lnTo>
                                <a:pt x="4306" y="13089"/>
                              </a:lnTo>
                              <a:lnTo>
                                <a:pt x="0" y="25984"/>
                              </a:lnTo>
                              <a:lnTo>
                                <a:pt x="1718" y="40222"/>
                              </a:lnTo>
                            </a:path>
                          </a:pathLst>
                        </a:custGeom>
                        <a:noFill/>
                        <a:ln w="1825" cap="flat" cmpd="sng">
                          <a:solidFill>
                            <a:srgbClr val="A5B7C5"/>
                          </a:solidFill>
                          <a:prstDash val="solid"/>
                          <a:miter lim="12096"/>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354" name="Google Shape;7354;p104"/>
                        <p:cNvSpPr/>
                        <p:nvPr/>
                      </p:nvSpPr>
                      <p:spPr>
                        <a:xfrm>
                          <a:off x="5127371" y="3507533"/>
                          <a:ext cx="124739" cy="267835"/>
                        </a:xfrm>
                        <a:custGeom>
                          <a:avLst/>
                          <a:gdLst/>
                          <a:ahLst/>
                          <a:cxnLst/>
                          <a:rect l="l" t="t" r="r" b="b"/>
                          <a:pathLst>
                            <a:path w="15860" h="34054" fill="none" extrusionOk="0">
                              <a:moveTo>
                                <a:pt x="9266" y="1"/>
                              </a:moveTo>
                              <a:lnTo>
                                <a:pt x="10101" y="14396"/>
                              </a:lnTo>
                              <a:lnTo>
                                <a:pt x="15859" y="34053"/>
                              </a:lnTo>
                              <a:lnTo>
                                <a:pt x="0" y="19851"/>
                              </a:lnTo>
                              <a:lnTo>
                                <a:pt x="1234" y="33642"/>
                              </a:lnTo>
                            </a:path>
                          </a:pathLst>
                        </a:custGeom>
                        <a:noFill/>
                        <a:ln w="1825" cap="flat" cmpd="sng">
                          <a:solidFill>
                            <a:srgbClr val="A5B7C5"/>
                          </a:solidFill>
                          <a:prstDash val="solid"/>
                          <a:miter lim="12096"/>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355" name="Google Shape;7355;p104"/>
                        <p:cNvSpPr/>
                        <p:nvPr/>
                      </p:nvSpPr>
                      <p:spPr>
                        <a:xfrm>
                          <a:off x="5100637" y="3507533"/>
                          <a:ext cx="99618" cy="78784"/>
                        </a:xfrm>
                        <a:custGeom>
                          <a:avLst/>
                          <a:gdLst/>
                          <a:ahLst/>
                          <a:cxnLst/>
                          <a:rect l="l" t="t" r="r" b="b"/>
                          <a:pathLst>
                            <a:path w="12666" h="10017" fill="none" extrusionOk="0">
                              <a:moveTo>
                                <a:pt x="0" y="10017"/>
                              </a:moveTo>
                              <a:lnTo>
                                <a:pt x="12665" y="1"/>
                              </a:lnTo>
                            </a:path>
                          </a:pathLst>
                        </a:custGeom>
                        <a:noFill/>
                        <a:ln w="1825" cap="flat" cmpd="sng">
                          <a:solidFill>
                            <a:srgbClr val="A5B7C5"/>
                          </a:solidFill>
                          <a:prstDash val="solid"/>
                          <a:miter lim="12096"/>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356" name="Google Shape;7356;p104"/>
                        <p:cNvSpPr/>
                        <p:nvPr/>
                      </p:nvSpPr>
                      <p:spPr>
                        <a:xfrm>
                          <a:off x="5200248" y="3501068"/>
                          <a:ext cx="156514" cy="6473"/>
                        </a:xfrm>
                        <a:custGeom>
                          <a:avLst/>
                          <a:gdLst/>
                          <a:ahLst/>
                          <a:cxnLst/>
                          <a:rect l="l" t="t" r="r" b="b"/>
                          <a:pathLst>
                            <a:path w="19900" h="823" fill="none" extrusionOk="0">
                              <a:moveTo>
                                <a:pt x="0" y="823"/>
                              </a:moveTo>
                              <a:lnTo>
                                <a:pt x="19900" y="0"/>
                              </a:lnTo>
                            </a:path>
                          </a:pathLst>
                        </a:custGeom>
                        <a:noFill/>
                        <a:ln w="1825" cap="flat" cmpd="sng">
                          <a:solidFill>
                            <a:srgbClr val="A5B7C5"/>
                          </a:solidFill>
                          <a:prstDash val="solid"/>
                          <a:miter lim="12096"/>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357" name="Google Shape;7357;p104"/>
                        <p:cNvSpPr/>
                        <p:nvPr/>
                      </p:nvSpPr>
                      <p:spPr>
                        <a:xfrm>
                          <a:off x="5127371" y="3507533"/>
                          <a:ext cx="72885" cy="155853"/>
                        </a:xfrm>
                        <a:custGeom>
                          <a:avLst/>
                          <a:gdLst/>
                          <a:ahLst/>
                          <a:cxnLst/>
                          <a:rect l="l" t="t" r="r" b="b"/>
                          <a:pathLst>
                            <a:path w="9267" h="19816" fill="none" extrusionOk="0">
                              <a:moveTo>
                                <a:pt x="9266" y="1"/>
                              </a:moveTo>
                              <a:lnTo>
                                <a:pt x="0" y="19815"/>
                              </a:lnTo>
                            </a:path>
                          </a:pathLst>
                        </a:custGeom>
                        <a:noFill/>
                        <a:ln w="1825" cap="flat" cmpd="sng">
                          <a:solidFill>
                            <a:srgbClr val="A5B7C5"/>
                          </a:solidFill>
                          <a:prstDash val="solid"/>
                          <a:miter lim="12096"/>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358" name="Google Shape;7358;p104"/>
                        <p:cNvSpPr/>
                        <p:nvPr/>
                      </p:nvSpPr>
                      <p:spPr>
                        <a:xfrm>
                          <a:off x="5352947" y="3384139"/>
                          <a:ext cx="126265" cy="117692"/>
                        </a:xfrm>
                        <a:custGeom>
                          <a:avLst/>
                          <a:gdLst/>
                          <a:ahLst/>
                          <a:cxnLst/>
                          <a:rect l="l" t="t" r="r" b="b"/>
                          <a:pathLst>
                            <a:path w="16054" h="14964" fill="none" extrusionOk="0">
                              <a:moveTo>
                                <a:pt x="1" y="14964"/>
                              </a:moveTo>
                              <a:lnTo>
                                <a:pt x="16053" y="0"/>
                              </a:lnTo>
                            </a:path>
                          </a:pathLst>
                        </a:custGeom>
                        <a:noFill/>
                        <a:ln w="1825" cap="flat" cmpd="sng">
                          <a:solidFill>
                            <a:srgbClr val="A5B7C5"/>
                          </a:solidFill>
                          <a:prstDash val="solid"/>
                          <a:miter lim="12096"/>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359" name="Google Shape;7359;p104"/>
                        <p:cNvSpPr/>
                        <p:nvPr/>
                      </p:nvSpPr>
                      <p:spPr>
                        <a:xfrm>
                          <a:off x="5356753" y="3246375"/>
                          <a:ext cx="61567" cy="254700"/>
                        </a:xfrm>
                        <a:custGeom>
                          <a:avLst/>
                          <a:gdLst/>
                          <a:ahLst/>
                          <a:cxnLst/>
                          <a:rect l="l" t="t" r="r" b="b"/>
                          <a:pathLst>
                            <a:path w="7828" h="32384" fill="none" extrusionOk="0">
                              <a:moveTo>
                                <a:pt x="1" y="32383"/>
                              </a:moveTo>
                              <a:lnTo>
                                <a:pt x="7827" y="0"/>
                              </a:lnTo>
                            </a:path>
                          </a:pathLst>
                        </a:custGeom>
                        <a:noFill/>
                        <a:ln w="1825" cap="flat" cmpd="sng">
                          <a:solidFill>
                            <a:srgbClr val="A5B7C5"/>
                          </a:solidFill>
                          <a:prstDash val="solid"/>
                          <a:miter lim="12096"/>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360" name="Google Shape;7360;p104"/>
                        <p:cNvSpPr/>
                        <p:nvPr/>
                      </p:nvSpPr>
                      <p:spPr>
                        <a:xfrm>
                          <a:off x="5352947" y="3486698"/>
                          <a:ext cx="141483" cy="10571"/>
                        </a:xfrm>
                        <a:custGeom>
                          <a:avLst/>
                          <a:gdLst/>
                          <a:ahLst/>
                          <a:cxnLst/>
                          <a:rect l="l" t="t" r="r" b="b"/>
                          <a:pathLst>
                            <a:path w="17989" h="1344" fill="none" extrusionOk="0">
                              <a:moveTo>
                                <a:pt x="1" y="1343"/>
                              </a:moveTo>
                              <a:lnTo>
                                <a:pt x="17989" y="0"/>
                              </a:lnTo>
                            </a:path>
                          </a:pathLst>
                        </a:custGeom>
                        <a:noFill/>
                        <a:ln w="1825" cap="flat" cmpd="sng">
                          <a:solidFill>
                            <a:srgbClr val="A5B7C5"/>
                          </a:solidFill>
                          <a:prstDash val="solid"/>
                          <a:miter lim="12096"/>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361" name="Google Shape;7361;p104"/>
                        <p:cNvSpPr/>
                        <p:nvPr/>
                      </p:nvSpPr>
                      <p:spPr>
                        <a:xfrm>
                          <a:off x="5353898" y="3501068"/>
                          <a:ext cx="18089" cy="136725"/>
                        </a:xfrm>
                        <a:custGeom>
                          <a:avLst/>
                          <a:gdLst/>
                          <a:ahLst/>
                          <a:cxnLst/>
                          <a:rect l="l" t="t" r="r" b="b"/>
                          <a:pathLst>
                            <a:path w="2300" h="17384" fill="none" extrusionOk="0">
                              <a:moveTo>
                                <a:pt x="1" y="0"/>
                              </a:moveTo>
                              <a:lnTo>
                                <a:pt x="2299" y="17383"/>
                              </a:lnTo>
                            </a:path>
                          </a:pathLst>
                        </a:custGeom>
                        <a:noFill/>
                        <a:ln w="1825" cap="flat" cmpd="sng">
                          <a:solidFill>
                            <a:srgbClr val="A5B7C5"/>
                          </a:solidFill>
                          <a:prstDash val="solid"/>
                          <a:miter lim="12096"/>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362" name="Google Shape;7362;p104"/>
                        <p:cNvSpPr/>
                        <p:nvPr/>
                      </p:nvSpPr>
                      <p:spPr>
                        <a:xfrm>
                          <a:off x="5206721" y="3620749"/>
                          <a:ext cx="102379" cy="98863"/>
                        </a:xfrm>
                        <a:custGeom>
                          <a:avLst/>
                          <a:gdLst/>
                          <a:ahLst/>
                          <a:cxnLst/>
                          <a:rect l="l" t="t" r="r" b="b"/>
                          <a:pathLst>
                            <a:path w="13017" h="12570" fill="none" extrusionOk="0">
                              <a:moveTo>
                                <a:pt x="0" y="1"/>
                              </a:moveTo>
                              <a:lnTo>
                                <a:pt x="13016" y="12569"/>
                              </a:lnTo>
                            </a:path>
                          </a:pathLst>
                        </a:custGeom>
                        <a:noFill/>
                        <a:ln w="1825" cap="flat" cmpd="sng">
                          <a:solidFill>
                            <a:srgbClr val="A5B7C5"/>
                          </a:solidFill>
                          <a:prstDash val="solid"/>
                          <a:miter lim="12096"/>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363" name="Google Shape;7363;p104"/>
                        <p:cNvSpPr/>
                        <p:nvPr/>
                      </p:nvSpPr>
                      <p:spPr>
                        <a:xfrm>
                          <a:off x="5293102" y="3715798"/>
                          <a:ext cx="15997" cy="101238"/>
                        </a:xfrm>
                        <a:custGeom>
                          <a:avLst/>
                          <a:gdLst/>
                          <a:ahLst/>
                          <a:cxnLst/>
                          <a:rect l="l" t="t" r="r" b="b"/>
                          <a:pathLst>
                            <a:path w="2034" h="12872" fill="none" extrusionOk="0">
                              <a:moveTo>
                                <a:pt x="2033" y="0"/>
                              </a:moveTo>
                              <a:lnTo>
                                <a:pt x="1" y="12871"/>
                              </a:lnTo>
                            </a:path>
                          </a:pathLst>
                        </a:custGeom>
                        <a:noFill/>
                        <a:ln w="1825" cap="flat" cmpd="sng">
                          <a:solidFill>
                            <a:srgbClr val="A5B7C5"/>
                          </a:solidFill>
                          <a:prstDash val="solid"/>
                          <a:miter lim="12096"/>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364" name="Google Shape;7364;p104"/>
                        <p:cNvSpPr/>
                        <p:nvPr/>
                      </p:nvSpPr>
                      <p:spPr>
                        <a:xfrm>
                          <a:off x="5127371" y="3659854"/>
                          <a:ext cx="92862" cy="134539"/>
                        </a:xfrm>
                        <a:custGeom>
                          <a:avLst/>
                          <a:gdLst/>
                          <a:ahLst/>
                          <a:cxnLst/>
                          <a:rect l="l" t="t" r="r" b="b"/>
                          <a:pathLst>
                            <a:path w="11807" h="17106" fill="none" extrusionOk="0">
                              <a:moveTo>
                                <a:pt x="11807" y="17105"/>
                              </a:moveTo>
                              <a:lnTo>
                                <a:pt x="0" y="1"/>
                              </a:lnTo>
                            </a:path>
                          </a:pathLst>
                        </a:custGeom>
                        <a:noFill/>
                        <a:ln w="1825" cap="flat" cmpd="sng">
                          <a:solidFill>
                            <a:srgbClr val="A5B7C5"/>
                          </a:solidFill>
                          <a:prstDash val="solid"/>
                          <a:miter lim="12096"/>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365" name="Google Shape;7365;p104"/>
                        <p:cNvSpPr/>
                        <p:nvPr/>
                      </p:nvSpPr>
                      <p:spPr>
                        <a:xfrm>
                          <a:off x="5479203" y="3327149"/>
                          <a:ext cx="150615" cy="56998"/>
                        </a:xfrm>
                        <a:custGeom>
                          <a:avLst/>
                          <a:gdLst/>
                          <a:ahLst/>
                          <a:cxnLst/>
                          <a:rect l="l" t="t" r="r" b="b"/>
                          <a:pathLst>
                            <a:path w="19150" h="7247" fill="none" extrusionOk="0">
                              <a:moveTo>
                                <a:pt x="19149" y="0"/>
                              </a:moveTo>
                              <a:lnTo>
                                <a:pt x="0" y="7246"/>
                              </a:lnTo>
                            </a:path>
                          </a:pathLst>
                        </a:custGeom>
                        <a:noFill/>
                        <a:ln w="1825" cap="flat" cmpd="sng">
                          <a:solidFill>
                            <a:srgbClr val="A5B7C5"/>
                          </a:solidFill>
                          <a:prstDash val="solid"/>
                          <a:miter lim="12096"/>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366" name="Google Shape;7366;p104"/>
                        <p:cNvSpPr/>
                        <p:nvPr/>
                      </p:nvSpPr>
                      <p:spPr>
                        <a:xfrm>
                          <a:off x="5371980" y="3633790"/>
                          <a:ext cx="59373" cy="4003"/>
                        </a:xfrm>
                        <a:custGeom>
                          <a:avLst/>
                          <a:gdLst/>
                          <a:ahLst/>
                          <a:cxnLst/>
                          <a:rect l="l" t="t" r="r" b="b"/>
                          <a:pathLst>
                            <a:path w="7549" h="509" fill="none" extrusionOk="0">
                              <a:moveTo>
                                <a:pt x="0" y="508"/>
                              </a:moveTo>
                              <a:lnTo>
                                <a:pt x="7549" y="0"/>
                              </a:lnTo>
                            </a:path>
                          </a:pathLst>
                        </a:custGeom>
                        <a:noFill/>
                        <a:ln w="1825" cap="flat" cmpd="sng">
                          <a:solidFill>
                            <a:srgbClr val="A5B7C5"/>
                          </a:solidFill>
                          <a:prstDash val="solid"/>
                          <a:miter lim="12096"/>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367" name="Google Shape;7367;p104"/>
                        <p:cNvSpPr/>
                        <p:nvPr/>
                      </p:nvSpPr>
                      <p:spPr>
                        <a:xfrm>
                          <a:off x="5352947" y="3497261"/>
                          <a:ext cx="78406" cy="136536"/>
                        </a:xfrm>
                        <a:custGeom>
                          <a:avLst/>
                          <a:gdLst/>
                          <a:ahLst/>
                          <a:cxnLst/>
                          <a:rect l="l" t="t" r="r" b="b"/>
                          <a:pathLst>
                            <a:path w="9969" h="17360" fill="none" extrusionOk="0">
                              <a:moveTo>
                                <a:pt x="9969" y="17359"/>
                              </a:moveTo>
                              <a:lnTo>
                                <a:pt x="1" y="0"/>
                              </a:lnTo>
                            </a:path>
                          </a:pathLst>
                        </a:custGeom>
                        <a:noFill/>
                        <a:ln w="1825" cap="flat" cmpd="sng">
                          <a:solidFill>
                            <a:srgbClr val="A5B7C5"/>
                          </a:solidFill>
                          <a:prstDash val="solid"/>
                          <a:miter lim="12096"/>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368" name="Google Shape;7368;p104"/>
                        <p:cNvSpPr/>
                        <p:nvPr/>
                      </p:nvSpPr>
                      <p:spPr>
                        <a:xfrm>
                          <a:off x="4917296" y="3466721"/>
                          <a:ext cx="40733" cy="122356"/>
                        </a:xfrm>
                        <a:custGeom>
                          <a:avLst/>
                          <a:gdLst/>
                          <a:ahLst/>
                          <a:cxnLst/>
                          <a:rect l="l" t="t" r="r" b="b"/>
                          <a:pathLst>
                            <a:path w="5179" h="15557" fill="none" extrusionOk="0">
                              <a:moveTo>
                                <a:pt x="1" y="15557"/>
                              </a:moveTo>
                              <a:lnTo>
                                <a:pt x="5178" y="0"/>
                              </a:lnTo>
                            </a:path>
                          </a:pathLst>
                        </a:custGeom>
                        <a:noFill/>
                        <a:ln w="1825" cap="flat" cmpd="sng">
                          <a:solidFill>
                            <a:srgbClr val="A5B7C5"/>
                          </a:solidFill>
                          <a:prstDash val="solid"/>
                          <a:miter lim="12096"/>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369" name="Google Shape;7369;p104"/>
                        <p:cNvSpPr/>
                        <p:nvPr/>
                      </p:nvSpPr>
                      <p:spPr>
                        <a:xfrm>
                          <a:off x="5060203" y="3408017"/>
                          <a:ext cx="111416" cy="19513"/>
                        </a:xfrm>
                        <a:custGeom>
                          <a:avLst/>
                          <a:gdLst/>
                          <a:ahLst/>
                          <a:cxnLst/>
                          <a:rect l="l" t="t" r="r" b="b"/>
                          <a:pathLst>
                            <a:path w="14166" h="2481" fill="none" extrusionOk="0">
                              <a:moveTo>
                                <a:pt x="0" y="0"/>
                              </a:moveTo>
                              <a:lnTo>
                                <a:pt x="14165" y="2480"/>
                              </a:lnTo>
                            </a:path>
                          </a:pathLst>
                        </a:custGeom>
                        <a:noFill/>
                        <a:ln w="1825" cap="flat" cmpd="sng">
                          <a:solidFill>
                            <a:srgbClr val="A5B7C5"/>
                          </a:solidFill>
                          <a:prstDash val="solid"/>
                          <a:miter lim="12096"/>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370" name="Google Shape;7370;p104"/>
                        <p:cNvSpPr/>
                        <p:nvPr/>
                      </p:nvSpPr>
                      <p:spPr>
                        <a:xfrm>
                          <a:off x="5127371" y="3620749"/>
                          <a:ext cx="79358" cy="42636"/>
                        </a:xfrm>
                        <a:custGeom>
                          <a:avLst/>
                          <a:gdLst/>
                          <a:ahLst/>
                          <a:cxnLst/>
                          <a:rect l="l" t="t" r="r" b="b"/>
                          <a:pathLst>
                            <a:path w="10090" h="5421" fill="none" extrusionOk="0">
                              <a:moveTo>
                                <a:pt x="0" y="5420"/>
                              </a:moveTo>
                              <a:lnTo>
                                <a:pt x="10089" y="1"/>
                              </a:lnTo>
                            </a:path>
                          </a:pathLst>
                        </a:custGeom>
                        <a:noFill/>
                        <a:ln w="1825" cap="flat" cmpd="sng">
                          <a:solidFill>
                            <a:srgbClr val="A5B7C5"/>
                          </a:solidFill>
                          <a:prstDash val="solid"/>
                          <a:miter lim="12096"/>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nvGrpSpPr>
                        <p:cNvPr id="7371" name="Google Shape;7371;p104"/>
                        <p:cNvGrpSpPr/>
                        <p:nvPr/>
                      </p:nvGrpSpPr>
                      <p:grpSpPr>
                        <a:xfrm>
                          <a:off x="4579164" y="3203653"/>
                          <a:ext cx="1244833" cy="1020397"/>
                          <a:chOff x="4579164" y="3203653"/>
                          <a:chExt cx="1244833" cy="1020397"/>
                        </a:xfrm>
                      </p:grpSpPr>
                      <p:sp>
                        <p:nvSpPr>
                          <p:cNvPr id="7372" name="Google Shape;7372;p104"/>
                          <p:cNvSpPr/>
                          <p:nvPr/>
                        </p:nvSpPr>
                        <p:spPr>
                          <a:xfrm>
                            <a:off x="4949551" y="3708185"/>
                            <a:ext cx="37972" cy="3815"/>
                          </a:xfrm>
                          <a:custGeom>
                            <a:avLst/>
                            <a:gdLst/>
                            <a:ahLst/>
                            <a:cxnLst/>
                            <a:rect l="l" t="t" r="r" b="b"/>
                            <a:pathLst>
                              <a:path w="4828" h="485" fill="none" extrusionOk="0">
                                <a:moveTo>
                                  <a:pt x="0" y="1"/>
                                </a:moveTo>
                                <a:lnTo>
                                  <a:pt x="4827" y="485"/>
                                </a:lnTo>
                              </a:path>
                            </a:pathLst>
                          </a:custGeom>
                          <a:noFill/>
                          <a:ln w="1825" cap="flat" cmpd="sng">
                            <a:solidFill>
                              <a:srgbClr val="A5B7C5"/>
                            </a:solidFill>
                            <a:prstDash val="solid"/>
                            <a:miter lim="12096"/>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nvGrpSpPr>
                          <p:cNvPr id="7373" name="Google Shape;7373;p104"/>
                          <p:cNvGrpSpPr/>
                          <p:nvPr/>
                        </p:nvGrpSpPr>
                        <p:grpSpPr>
                          <a:xfrm>
                            <a:off x="4579164" y="3203653"/>
                            <a:ext cx="1244833" cy="1020397"/>
                            <a:chOff x="4579164" y="3203653"/>
                            <a:chExt cx="1244833" cy="1020397"/>
                          </a:xfrm>
                        </p:grpSpPr>
                        <p:sp>
                          <p:nvSpPr>
                            <p:cNvPr id="7374" name="Google Shape;7374;p104"/>
                            <p:cNvSpPr/>
                            <p:nvPr/>
                          </p:nvSpPr>
                          <p:spPr>
                            <a:xfrm>
                              <a:off x="4953357" y="3586309"/>
                              <a:ext cx="147288" cy="121884"/>
                            </a:xfrm>
                            <a:custGeom>
                              <a:avLst/>
                              <a:gdLst/>
                              <a:ahLst/>
                              <a:cxnLst/>
                              <a:rect l="l" t="t" r="r" b="b"/>
                              <a:pathLst>
                                <a:path w="18727" h="15497" fill="none" extrusionOk="0">
                                  <a:moveTo>
                                    <a:pt x="18726" y="1"/>
                                  </a:moveTo>
                                  <a:lnTo>
                                    <a:pt x="0" y="15497"/>
                                  </a:lnTo>
                                </a:path>
                              </a:pathLst>
                            </a:custGeom>
                            <a:noFill/>
                            <a:ln w="1825" cap="flat" cmpd="sng">
                              <a:solidFill>
                                <a:srgbClr val="A5B7C5"/>
                              </a:solidFill>
                              <a:prstDash val="solid"/>
                              <a:miter lim="12096"/>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375" name="Google Shape;7375;p104"/>
                            <p:cNvSpPr/>
                            <p:nvPr/>
                          </p:nvSpPr>
                          <p:spPr>
                            <a:xfrm>
                              <a:off x="4987515" y="3592876"/>
                              <a:ext cx="113130" cy="119123"/>
                            </a:xfrm>
                            <a:custGeom>
                              <a:avLst/>
                              <a:gdLst/>
                              <a:ahLst/>
                              <a:cxnLst/>
                              <a:rect l="l" t="t" r="r" b="b"/>
                              <a:pathLst>
                                <a:path w="14384" h="15146" fill="none" extrusionOk="0">
                                  <a:moveTo>
                                    <a:pt x="0" y="15146"/>
                                  </a:moveTo>
                                  <a:lnTo>
                                    <a:pt x="14383" y="0"/>
                                  </a:lnTo>
                                </a:path>
                              </a:pathLst>
                            </a:custGeom>
                            <a:noFill/>
                            <a:ln w="1825" cap="flat" cmpd="sng">
                              <a:solidFill>
                                <a:srgbClr val="A5B7C5"/>
                              </a:solidFill>
                              <a:prstDash val="solid"/>
                              <a:miter lim="12096"/>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376" name="Google Shape;7376;p104"/>
                            <p:cNvSpPr/>
                            <p:nvPr/>
                          </p:nvSpPr>
                          <p:spPr>
                            <a:xfrm>
                              <a:off x="4913395" y="3708185"/>
                              <a:ext cx="39970" cy="45389"/>
                            </a:xfrm>
                            <a:custGeom>
                              <a:avLst/>
                              <a:gdLst/>
                              <a:ahLst/>
                              <a:cxnLst/>
                              <a:rect l="l" t="t" r="r" b="b"/>
                              <a:pathLst>
                                <a:path w="5082" h="5771" fill="none" extrusionOk="0">
                                  <a:moveTo>
                                    <a:pt x="1" y="5771"/>
                                  </a:moveTo>
                                  <a:lnTo>
                                    <a:pt x="5081" y="1"/>
                                  </a:lnTo>
                                </a:path>
                              </a:pathLst>
                            </a:custGeom>
                            <a:noFill/>
                            <a:ln w="1825" cap="flat" cmpd="sng">
                              <a:solidFill>
                                <a:srgbClr val="A5B7C5"/>
                              </a:solidFill>
                              <a:prstDash val="solid"/>
                              <a:miter lim="12096"/>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377" name="Google Shape;7377;p104"/>
                            <p:cNvSpPr/>
                            <p:nvPr/>
                          </p:nvSpPr>
                          <p:spPr>
                            <a:xfrm>
                              <a:off x="4888943" y="3704378"/>
                              <a:ext cx="60616" cy="26080"/>
                            </a:xfrm>
                            <a:custGeom>
                              <a:avLst/>
                              <a:gdLst/>
                              <a:ahLst/>
                              <a:cxnLst/>
                              <a:rect l="l" t="t" r="r" b="b"/>
                              <a:pathLst>
                                <a:path w="7707" h="3316" fill="none" extrusionOk="0">
                                  <a:moveTo>
                                    <a:pt x="1" y="3315"/>
                                  </a:moveTo>
                                  <a:lnTo>
                                    <a:pt x="7706" y="1"/>
                                  </a:lnTo>
                                </a:path>
                              </a:pathLst>
                            </a:custGeom>
                            <a:noFill/>
                            <a:ln w="1825" cap="flat" cmpd="sng">
                              <a:solidFill>
                                <a:srgbClr val="A5B7C5"/>
                              </a:solidFill>
                              <a:prstDash val="solid"/>
                              <a:miter lim="12096"/>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378" name="Google Shape;7378;p104"/>
                            <p:cNvSpPr/>
                            <p:nvPr/>
                          </p:nvSpPr>
                          <p:spPr>
                            <a:xfrm>
                              <a:off x="4917296" y="3589069"/>
                              <a:ext cx="32262" cy="119123"/>
                            </a:xfrm>
                            <a:custGeom>
                              <a:avLst/>
                              <a:gdLst/>
                              <a:ahLst/>
                              <a:cxnLst/>
                              <a:rect l="l" t="t" r="r" b="b"/>
                              <a:pathLst>
                                <a:path w="4102" h="15146" fill="none" extrusionOk="0">
                                  <a:moveTo>
                                    <a:pt x="1" y="1"/>
                                  </a:moveTo>
                                  <a:lnTo>
                                    <a:pt x="4101" y="15146"/>
                                  </a:lnTo>
                                </a:path>
                              </a:pathLst>
                            </a:custGeom>
                            <a:noFill/>
                            <a:ln w="1825" cap="flat" cmpd="sng">
                              <a:solidFill>
                                <a:srgbClr val="A5B7C5"/>
                              </a:solidFill>
                              <a:prstDash val="solid"/>
                              <a:miter lim="12096"/>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379" name="Google Shape;7379;p104"/>
                            <p:cNvSpPr/>
                            <p:nvPr/>
                          </p:nvSpPr>
                          <p:spPr>
                            <a:xfrm>
                              <a:off x="4949551" y="3708185"/>
                              <a:ext cx="22840" cy="72885"/>
                            </a:xfrm>
                            <a:custGeom>
                              <a:avLst/>
                              <a:gdLst/>
                              <a:ahLst/>
                              <a:cxnLst/>
                              <a:rect l="l" t="t" r="r" b="b"/>
                              <a:pathLst>
                                <a:path w="2904" h="9267" fill="none" extrusionOk="0">
                                  <a:moveTo>
                                    <a:pt x="0" y="1"/>
                                  </a:moveTo>
                                  <a:lnTo>
                                    <a:pt x="2904" y="9267"/>
                                  </a:lnTo>
                                </a:path>
                              </a:pathLst>
                            </a:custGeom>
                            <a:noFill/>
                            <a:ln w="1825" cap="flat" cmpd="sng">
                              <a:solidFill>
                                <a:srgbClr val="A5B7C5"/>
                              </a:solidFill>
                              <a:prstDash val="solid"/>
                              <a:miter lim="12096"/>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380" name="Google Shape;7380;p104"/>
                            <p:cNvSpPr/>
                            <p:nvPr/>
                          </p:nvSpPr>
                          <p:spPr>
                            <a:xfrm>
                              <a:off x="4912066" y="3752237"/>
                              <a:ext cx="60325" cy="28833"/>
                            </a:xfrm>
                            <a:custGeom>
                              <a:avLst/>
                              <a:gdLst/>
                              <a:ahLst/>
                              <a:cxnLst/>
                              <a:rect l="l" t="t" r="r" b="b"/>
                              <a:pathLst>
                                <a:path w="7670" h="3666" fill="none" extrusionOk="0">
                                  <a:moveTo>
                                    <a:pt x="0" y="1"/>
                                  </a:moveTo>
                                  <a:lnTo>
                                    <a:pt x="7670" y="3666"/>
                                  </a:lnTo>
                                </a:path>
                              </a:pathLst>
                            </a:custGeom>
                            <a:noFill/>
                            <a:ln w="1825" cap="flat" cmpd="sng">
                              <a:solidFill>
                                <a:srgbClr val="A5B7C5"/>
                              </a:solidFill>
                              <a:prstDash val="solid"/>
                              <a:miter lim="12096"/>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nvGrpSpPr>
                            <p:cNvPr id="7381" name="Google Shape;7381;p104"/>
                            <p:cNvGrpSpPr/>
                            <p:nvPr/>
                          </p:nvGrpSpPr>
                          <p:grpSpPr>
                            <a:xfrm>
                              <a:off x="4579164" y="3203653"/>
                              <a:ext cx="1244833" cy="1020397"/>
                              <a:chOff x="4579164" y="3203653"/>
                              <a:chExt cx="1244833" cy="1020397"/>
                            </a:xfrm>
                          </p:grpSpPr>
                          <p:sp>
                            <p:nvSpPr>
                              <p:cNvPr id="7382" name="Google Shape;7382;p104"/>
                              <p:cNvSpPr/>
                              <p:nvPr/>
                            </p:nvSpPr>
                            <p:spPr>
                              <a:xfrm>
                                <a:off x="4590301" y="3738347"/>
                                <a:ext cx="92956" cy="91722"/>
                              </a:xfrm>
                              <a:custGeom>
                                <a:avLst/>
                                <a:gdLst/>
                                <a:ahLst/>
                                <a:cxnLst/>
                                <a:rect l="l" t="t" r="r" b="b"/>
                                <a:pathLst>
                                  <a:path w="11819" h="11662" fill="none" extrusionOk="0">
                                    <a:moveTo>
                                      <a:pt x="0" y="0"/>
                                    </a:moveTo>
                                    <a:lnTo>
                                      <a:pt x="11819" y="11662"/>
                                    </a:lnTo>
                                  </a:path>
                                </a:pathLst>
                              </a:custGeom>
                              <a:noFill/>
                              <a:ln w="1825" cap="flat" cmpd="sng">
                                <a:solidFill>
                                  <a:srgbClr val="A5B7C5"/>
                                </a:solidFill>
                                <a:prstDash val="solid"/>
                                <a:miter lim="12096"/>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383" name="Google Shape;7383;p104"/>
                              <p:cNvSpPr/>
                              <p:nvPr/>
                            </p:nvSpPr>
                            <p:spPr>
                              <a:xfrm>
                                <a:off x="4683250" y="3652241"/>
                                <a:ext cx="33591" cy="177828"/>
                              </a:xfrm>
                              <a:custGeom>
                                <a:avLst/>
                                <a:gdLst/>
                                <a:ahLst/>
                                <a:cxnLst/>
                                <a:rect l="l" t="t" r="r" b="b"/>
                                <a:pathLst>
                                  <a:path w="4271" h="22610" fill="none" extrusionOk="0">
                                    <a:moveTo>
                                      <a:pt x="1" y="22610"/>
                                    </a:moveTo>
                                    <a:lnTo>
                                      <a:pt x="4271" y="1"/>
                                    </a:lnTo>
                                  </a:path>
                                </a:pathLst>
                              </a:custGeom>
                              <a:noFill/>
                              <a:ln w="1825" cap="flat" cmpd="sng">
                                <a:solidFill>
                                  <a:srgbClr val="A5B7C5"/>
                                </a:solidFill>
                                <a:prstDash val="solid"/>
                                <a:miter lim="12096"/>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384" name="Google Shape;7384;p104"/>
                              <p:cNvSpPr/>
                              <p:nvPr/>
                            </p:nvSpPr>
                            <p:spPr>
                              <a:xfrm>
                                <a:off x="4716833" y="3652241"/>
                                <a:ext cx="70982" cy="207707"/>
                              </a:xfrm>
                              <a:custGeom>
                                <a:avLst/>
                                <a:gdLst/>
                                <a:ahLst/>
                                <a:cxnLst/>
                                <a:rect l="l" t="t" r="r" b="b"/>
                                <a:pathLst>
                                  <a:path w="9025" h="26409" fill="none" extrusionOk="0">
                                    <a:moveTo>
                                      <a:pt x="1" y="1"/>
                                    </a:moveTo>
                                    <a:lnTo>
                                      <a:pt x="9025" y="26408"/>
                                    </a:lnTo>
                                  </a:path>
                                </a:pathLst>
                              </a:custGeom>
                              <a:noFill/>
                              <a:ln w="1825" cap="flat" cmpd="sng">
                                <a:solidFill>
                                  <a:srgbClr val="A5B7C5"/>
                                </a:solidFill>
                                <a:prstDash val="solid"/>
                                <a:miter lim="12096"/>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385" name="Google Shape;7385;p104"/>
                              <p:cNvSpPr/>
                              <p:nvPr/>
                            </p:nvSpPr>
                            <p:spPr>
                              <a:xfrm>
                                <a:off x="4813117" y="3694578"/>
                                <a:ext cx="44154" cy="139297"/>
                              </a:xfrm>
                              <a:custGeom>
                                <a:avLst/>
                                <a:gdLst/>
                                <a:ahLst/>
                                <a:cxnLst/>
                                <a:rect l="l" t="t" r="r" b="b"/>
                                <a:pathLst>
                                  <a:path w="5614" h="17711" fill="none" extrusionOk="0">
                                    <a:moveTo>
                                      <a:pt x="5614" y="17711"/>
                                    </a:moveTo>
                                    <a:lnTo>
                                      <a:pt x="1" y="1"/>
                                    </a:lnTo>
                                  </a:path>
                                </a:pathLst>
                              </a:custGeom>
                              <a:noFill/>
                              <a:ln w="1825" cap="flat" cmpd="sng">
                                <a:solidFill>
                                  <a:srgbClr val="A5B7C5"/>
                                </a:solidFill>
                                <a:prstDash val="solid"/>
                                <a:miter lim="12096"/>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386" name="Google Shape;7386;p104"/>
                              <p:cNvSpPr/>
                              <p:nvPr/>
                            </p:nvSpPr>
                            <p:spPr>
                              <a:xfrm>
                                <a:off x="4787807" y="3694578"/>
                                <a:ext cx="25317" cy="165369"/>
                              </a:xfrm>
                              <a:custGeom>
                                <a:avLst/>
                                <a:gdLst/>
                                <a:ahLst/>
                                <a:cxnLst/>
                                <a:rect l="l" t="t" r="r" b="b"/>
                                <a:pathLst>
                                  <a:path w="3219" h="21026" fill="none" extrusionOk="0">
                                    <a:moveTo>
                                      <a:pt x="3219" y="1"/>
                                    </a:moveTo>
                                    <a:lnTo>
                                      <a:pt x="1" y="21025"/>
                                    </a:lnTo>
                                  </a:path>
                                </a:pathLst>
                              </a:custGeom>
                              <a:noFill/>
                              <a:ln w="1825" cap="flat" cmpd="sng">
                                <a:solidFill>
                                  <a:srgbClr val="A5B7C5"/>
                                </a:solidFill>
                                <a:prstDash val="solid"/>
                                <a:miter lim="12096"/>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387" name="Google Shape;7387;p104"/>
                              <p:cNvSpPr/>
                              <p:nvPr/>
                            </p:nvSpPr>
                            <p:spPr>
                              <a:xfrm>
                                <a:off x="4683250" y="3830061"/>
                                <a:ext cx="106374" cy="25223"/>
                              </a:xfrm>
                              <a:custGeom>
                                <a:avLst/>
                                <a:gdLst/>
                                <a:ahLst/>
                                <a:cxnLst/>
                                <a:rect l="l" t="t" r="r" b="b"/>
                                <a:pathLst>
                                  <a:path w="13525" h="3207" fill="none" extrusionOk="0">
                                    <a:moveTo>
                                      <a:pt x="1" y="1"/>
                                    </a:moveTo>
                                    <a:lnTo>
                                      <a:pt x="13525" y="3206"/>
                                    </a:lnTo>
                                  </a:path>
                                </a:pathLst>
                              </a:custGeom>
                              <a:noFill/>
                              <a:ln w="1825" cap="flat" cmpd="sng">
                                <a:solidFill>
                                  <a:srgbClr val="A5B7C5"/>
                                </a:solidFill>
                                <a:prstDash val="solid"/>
                                <a:miter lim="12096"/>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388" name="Google Shape;7388;p104"/>
                              <p:cNvSpPr/>
                              <p:nvPr/>
                            </p:nvSpPr>
                            <p:spPr>
                              <a:xfrm>
                                <a:off x="4670980" y="3830061"/>
                                <a:ext cx="12277" cy="79263"/>
                              </a:xfrm>
                              <a:custGeom>
                                <a:avLst/>
                                <a:gdLst/>
                                <a:ahLst/>
                                <a:cxnLst/>
                                <a:rect l="l" t="t" r="r" b="b"/>
                                <a:pathLst>
                                  <a:path w="1561" h="10078" fill="none" extrusionOk="0">
                                    <a:moveTo>
                                      <a:pt x="1561" y="1"/>
                                    </a:moveTo>
                                    <a:lnTo>
                                      <a:pt x="0" y="10077"/>
                                    </a:lnTo>
                                  </a:path>
                                </a:pathLst>
                              </a:custGeom>
                              <a:noFill/>
                              <a:ln w="1825" cap="flat" cmpd="sng">
                                <a:solidFill>
                                  <a:srgbClr val="A5B7C5"/>
                                </a:solidFill>
                                <a:prstDash val="solid"/>
                                <a:miter lim="12096"/>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389" name="Google Shape;7389;p104"/>
                              <p:cNvSpPr/>
                              <p:nvPr/>
                            </p:nvSpPr>
                            <p:spPr>
                              <a:xfrm>
                                <a:off x="4583828" y="3830061"/>
                                <a:ext cx="99429" cy="34543"/>
                              </a:xfrm>
                              <a:custGeom>
                                <a:avLst/>
                                <a:gdLst/>
                                <a:ahLst/>
                                <a:cxnLst/>
                                <a:rect l="l" t="t" r="r" b="b"/>
                                <a:pathLst>
                                  <a:path w="12642" h="4392" fill="none" extrusionOk="0">
                                    <a:moveTo>
                                      <a:pt x="0" y="4392"/>
                                    </a:moveTo>
                                    <a:lnTo>
                                      <a:pt x="12642" y="1"/>
                                    </a:lnTo>
                                  </a:path>
                                </a:pathLst>
                              </a:custGeom>
                              <a:noFill/>
                              <a:ln w="1825" cap="flat" cmpd="sng">
                                <a:solidFill>
                                  <a:srgbClr val="A5B7C5"/>
                                </a:solidFill>
                                <a:prstDash val="solid"/>
                                <a:miter lim="12096"/>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390" name="Google Shape;7390;p104"/>
                              <p:cNvSpPr/>
                              <p:nvPr/>
                            </p:nvSpPr>
                            <p:spPr>
                              <a:xfrm>
                                <a:off x="4683250" y="3830061"/>
                                <a:ext cx="50336" cy="117983"/>
                              </a:xfrm>
                              <a:custGeom>
                                <a:avLst/>
                                <a:gdLst/>
                                <a:ahLst/>
                                <a:cxnLst/>
                                <a:rect l="l" t="t" r="r" b="b"/>
                                <a:pathLst>
                                  <a:path w="6400" h="15001" fill="none" extrusionOk="0">
                                    <a:moveTo>
                                      <a:pt x="1" y="1"/>
                                    </a:moveTo>
                                    <a:lnTo>
                                      <a:pt x="6400" y="15001"/>
                                    </a:lnTo>
                                  </a:path>
                                </a:pathLst>
                              </a:custGeom>
                              <a:noFill/>
                              <a:ln w="1825" cap="flat" cmpd="sng">
                                <a:solidFill>
                                  <a:srgbClr val="A5B7C5"/>
                                </a:solidFill>
                                <a:prstDash val="solid"/>
                                <a:miter lim="12096"/>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391" name="Google Shape;7391;p104"/>
                              <p:cNvSpPr/>
                              <p:nvPr/>
                            </p:nvSpPr>
                            <p:spPr>
                              <a:xfrm>
                                <a:off x="4733578" y="3855276"/>
                                <a:ext cx="56046" cy="92768"/>
                              </a:xfrm>
                              <a:custGeom>
                                <a:avLst/>
                                <a:gdLst/>
                                <a:ahLst/>
                                <a:cxnLst/>
                                <a:rect l="l" t="t" r="r" b="b"/>
                                <a:pathLst>
                                  <a:path w="7126" h="11795" fill="none" extrusionOk="0">
                                    <a:moveTo>
                                      <a:pt x="1" y="11795"/>
                                    </a:moveTo>
                                    <a:lnTo>
                                      <a:pt x="7126" y="0"/>
                                    </a:lnTo>
                                  </a:path>
                                </a:pathLst>
                              </a:custGeom>
                              <a:noFill/>
                              <a:ln w="1825" cap="flat" cmpd="sng">
                                <a:solidFill>
                                  <a:srgbClr val="A5B7C5"/>
                                </a:solidFill>
                                <a:prstDash val="solid"/>
                                <a:miter lim="12096"/>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392" name="Google Shape;7392;p104"/>
                              <p:cNvSpPr/>
                              <p:nvPr/>
                            </p:nvSpPr>
                            <p:spPr>
                              <a:xfrm>
                                <a:off x="4888943" y="3730450"/>
                                <a:ext cx="34928" cy="89252"/>
                              </a:xfrm>
                              <a:custGeom>
                                <a:avLst/>
                                <a:gdLst/>
                                <a:ahLst/>
                                <a:cxnLst/>
                                <a:rect l="l" t="t" r="r" b="b"/>
                                <a:pathLst>
                                  <a:path w="4441" h="11348" fill="none" extrusionOk="0">
                                    <a:moveTo>
                                      <a:pt x="4440" y="11347"/>
                                    </a:moveTo>
                                    <a:lnTo>
                                      <a:pt x="1" y="0"/>
                                    </a:lnTo>
                                  </a:path>
                                </a:pathLst>
                              </a:custGeom>
                              <a:noFill/>
                              <a:ln w="1825" cap="flat" cmpd="sng">
                                <a:solidFill>
                                  <a:srgbClr val="A5B7C5"/>
                                </a:solidFill>
                                <a:prstDash val="solid"/>
                                <a:miter lim="12096"/>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393" name="Google Shape;7393;p104"/>
                              <p:cNvSpPr/>
                              <p:nvPr/>
                            </p:nvSpPr>
                            <p:spPr>
                              <a:xfrm>
                                <a:off x="4590301" y="3667468"/>
                                <a:ext cx="49762" cy="70887"/>
                              </a:xfrm>
                              <a:custGeom>
                                <a:avLst/>
                                <a:gdLst/>
                                <a:ahLst/>
                                <a:cxnLst/>
                                <a:rect l="l" t="t" r="r" b="b"/>
                                <a:pathLst>
                                  <a:path w="6327" h="9013" fill="none" extrusionOk="0">
                                    <a:moveTo>
                                      <a:pt x="0" y="9012"/>
                                    </a:moveTo>
                                    <a:lnTo>
                                      <a:pt x="6327" y="0"/>
                                    </a:lnTo>
                                  </a:path>
                                </a:pathLst>
                              </a:custGeom>
                              <a:noFill/>
                              <a:ln w="1825" cap="flat" cmpd="sng">
                                <a:solidFill>
                                  <a:srgbClr val="A5B7C5"/>
                                </a:solidFill>
                                <a:prstDash val="solid"/>
                                <a:miter lim="12096"/>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394" name="Google Shape;7394;p104"/>
                              <p:cNvSpPr/>
                              <p:nvPr/>
                            </p:nvSpPr>
                            <p:spPr>
                              <a:xfrm>
                                <a:off x="4640338" y="3648536"/>
                                <a:ext cx="80593" cy="20268"/>
                              </a:xfrm>
                              <a:custGeom>
                                <a:avLst/>
                                <a:gdLst/>
                                <a:ahLst/>
                                <a:cxnLst/>
                                <a:rect l="l" t="t" r="r" b="b"/>
                                <a:pathLst>
                                  <a:path w="10247" h="2577" fill="none" extrusionOk="0">
                                    <a:moveTo>
                                      <a:pt x="1" y="2577"/>
                                    </a:moveTo>
                                    <a:lnTo>
                                      <a:pt x="10247" y="0"/>
                                    </a:lnTo>
                                  </a:path>
                                </a:pathLst>
                              </a:custGeom>
                              <a:noFill/>
                              <a:ln w="1825" cap="flat" cmpd="sng">
                                <a:solidFill>
                                  <a:srgbClr val="A5B7C5"/>
                                </a:solidFill>
                                <a:prstDash val="solid"/>
                                <a:miter lim="12096"/>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nvGrpSpPr>
                              <p:cNvPr id="7395" name="Google Shape;7395;p104"/>
                              <p:cNvGrpSpPr/>
                              <p:nvPr/>
                            </p:nvGrpSpPr>
                            <p:grpSpPr>
                              <a:xfrm>
                                <a:off x="4579164" y="3203653"/>
                                <a:ext cx="1244833" cy="1020397"/>
                                <a:chOff x="4579164" y="3203653"/>
                                <a:chExt cx="1244833" cy="1020397"/>
                              </a:xfrm>
                            </p:grpSpPr>
                            <p:sp>
                              <p:nvSpPr>
                                <p:cNvPr id="7396" name="Google Shape;7396;p104"/>
                                <p:cNvSpPr/>
                                <p:nvPr/>
                              </p:nvSpPr>
                              <p:spPr>
                                <a:xfrm>
                                  <a:off x="4753083" y="3966015"/>
                                  <a:ext cx="92964" cy="53765"/>
                                </a:xfrm>
                                <a:custGeom>
                                  <a:avLst/>
                                  <a:gdLst/>
                                  <a:ahLst/>
                                  <a:cxnLst/>
                                  <a:rect l="l" t="t" r="r" b="b"/>
                                  <a:pathLst>
                                    <a:path w="11820" h="6836" fill="none" extrusionOk="0">
                                      <a:moveTo>
                                        <a:pt x="1" y="6836"/>
                                      </a:moveTo>
                                      <a:lnTo>
                                        <a:pt x="11819" y="1"/>
                                      </a:lnTo>
                                    </a:path>
                                  </a:pathLst>
                                </a:custGeom>
                                <a:noFill/>
                                <a:ln w="1825" cap="flat" cmpd="sng">
                                  <a:solidFill>
                                    <a:srgbClr val="A5B7C5"/>
                                  </a:solidFill>
                                  <a:prstDash val="solid"/>
                                  <a:miter lim="12096"/>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397" name="Google Shape;7397;p104"/>
                                <p:cNvSpPr/>
                                <p:nvPr/>
                              </p:nvSpPr>
                              <p:spPr>
                                <a:xfrm>
                                  <a:off x="4846040" y="3952794"/>
                                  <a:ext cx="103519" cy="13135"/>
                                </a:xfrm>
                                <a:custGeom>
                                  <a:avLst/>
                                  <a:gdLst/>
                                  <a:ahLst/>
                                  <a:cxnLst/>
                                  <a:rect l="l" t="t" r="r" b="b"/>
                                  <a:pathLst>
                                    <a:path w="13162" h="1670" fill="none" extrusionOk="0">
                                      <a:moveTo>
                                        <a:pt x="13161" y="0"/>
                                      </a:moveTo>
                                      <a:lnTo>
                                        <a:pt x="0" y="1670"/>
                                      </a:lnTo>
                                    </a:path>
                                  </a:pathLst>
                                </a:custGeom>
                                <a:noFill/>
                                <a:ln w="1825" cap="flat" cmpd="sng">
                                  <a:solidFill>
                                    <a:srgbClr val="A5B7C5"/>
                                  </a:solidFill>
                                  <a:prstDash val="solid"/>
                                  <a:miter lim="12096"/>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398" name="Google Shape;7398;p104"/>
                                <p:cNvSpPr/>
                                <p:nvPr/>
                              </p:nvSpPr>
                              <p:spPr>
                                <a:xfrm>
                                  <a:off x="4846040" y="3962216"/>
                                  <a:ext cx="64800" cy="128066"/>
                                </a:xfrm>
                                <a:custGeom>
                                  <a:avLst/>
                                  <a:gdLst/>
                                  <a:ahLst/>
                                  <a:cxnLst/>
                                  <a:rect l="l" t="t" r="r" b="b"/>
                                  <a:pathLst>
                                    <a:path w="8239" h="16283" fill="none" extrusionOk="0">
                                      <a:moveTo>
                                        <a:pt x="0" y="0"/>
                                      </a:moveTo>
                                      <a:lnTo>
                                        <a:pt x="8238" y="16282"/>
                                      </a:lnTo>
                                    </a:path>
                                  </a:pathLst>
                                </a:custGeom>
                                <a:noFill/>
                                <a:ln w="1825" cap="flat" cmpd="sng">
                                  <a:solidFill>
                                    <a:srgbClr val="A5B7C5"/>
                                  </a:solidFill>
                                  <a:prstDash val="solid"/>
                                  <a:miter lim="12096"/>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399" name="Google Shape;7399;p104"/>
                                <p:cNvSpPr/>
                                <p:nvPr/>
                              </p:nvSpPr>
                              <p:spPr>
                                <a:xfrm>
                                  <a:off x="4842233" y="3962216"/>
                                  <a:ext cx="3815" cy="164787"/>
                                </a:xfrm>
                                <a:custGeom>
                                  <a:avLst/>
                                  <a:gdLst/>
                                  <a:ahLst/>
                                  <a:cxnLst/>
                                  <a:rect l="l" t="t" r="r" b="b"/>
                                  <a:pathLst>
                                    <a:path w="485" h="20952" fill="none" extrusionOk="0">
                                      <a:moveTo>
                                        <a:pt x="0" y="20952"/>
                                      </a:moveTo>
                                      <a:lnTo>
                                        <a:pt x="484" y="0"/>
                                      </a:lnTo>
                                    </a:path>
                                  </a:pathLst>
                                </a:custGeom>
                                <a:noFill/>
                                <a:ln w="1825" cap="flat" cmpd="sng">
                                  <a:solidFill>
                                    <a:srgbClr val="A5B7C5"/>
                                  </a:solidFill>
                                  <a:prstDash val="solid"/>
                                  <a:miter lim="12096"/>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400" name="Google Shape;7400;p104"/>
                                <p:cNvSpPr/>
                                <p:nvPr/>
                              </p:nvSpPr>
                              <p:spPr>
                                <a:xfrm>
                                  <a:off x="4842233" y="4123189"/>
                                  <a:ext cx="37587" cy="53002"/>
                                </a:xfrm>
                                <a:custGeom>
                                  <a:avLst/>
                                  <a:gdLst/>
                                  <a:ahLst/>
                                  <a:cxnLst/>
                                  <a:rect l="l" t="t" r="r" b="b"/>
                                  <a:pathLst>
                                    <a:path w="4779" h="6739" fill="none" extrusionOk="0">
                                      <a:moveTo>
                                        <a:pt x="4779" y="6739"/>
                                      </a:moveTo>
                                      <a:lnTo>
                                        <a:pt x="0" y="1"/>
                                      </a:lnTo>
                                    </a:path>
                                  </a:pathLst>
                                </a:custGeom>
                                <a:noFill/>
                                <a:ln w="1825" cap="flat" cmpd="sng">
                                  <a:solidFill>
                                    <a:srgbClr val="A5B7C5"/>
                                  </a:solidFill>
                                  <a:prstDash val="solid"/>
                                  <a:miter lim="12096"/>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401" name="Google Shape;7401;p104"/>
                                <p:cNvSpPr/>
                                <p:nvPr/>
                              </p:nvSpPr>
                              <p:spPr>
                                <a:xfrm>
                                  <a:off x="4770779" y="4118525"/>
                                  <a:ext cx="71461" cy="4672"/>
                                </a:xfrm>
                                <a:custGeom>
                                  <a:avLst/>
                                  <a:gdLst/>
                                  <a:ahLst/>
                                  <a:cxnLst/>
                                  <a:rect l="l" t="t" r="r" b="b"/>
                                  <a:pathLst>
                                    <a:path w="9086" h="594" fill="none" extrusionOk="0">
                                      <a:moveTo>
                                        <a:pt x="9085" y="594"/>
                                      </a:moveTo>
                                      <a:lnTo>
                                        <a:pt x="1" y="1"/>
                                      </a:lnTo>
                                    </a:path>
                                  </a:pathLst>
                                </a:custGeom>
                                <a:noFill/>
                                <a:ln w="1825" cap="flat" cmpd="sng">
                                  <a:solidFill>
                                    <a:srgbClr val="A5B7C5"/>
                                  </a:solidFill>
                                  <a:prstDash val="solid"/>
                                  <a:miter lim="12096"/>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402" name="Google Shape;7402;p104"/>
                                <p:cNvSpPr/>
                                <p:nvPr/>
                              </p:nvSpPr>
                              <p:spPr>
                                <a:xfrm>
                                  <a:off x="4842233" y="4090274"/>
                                  <a:ext cx="68606" cy="32923"/>
                                </a:xfrm>
                                <a:custGeom>
                                  <a:avLst/>
                                  <a:gdLst/>
                                  <a:ahLst/>
                                  <a:cxnLst/>
                                  <a:rect l="l" t="t" r="r" b="b"/>
                                  <a:pathLst>
                                    <a:path w="8723" h="4186" fill="none" extrusionOk="0">
                                      <a:moveTo>
                                        <a:pt x="0" y="4186"/>
                                      </a:moveTo>
                                      <a:lnTo>
                                        <a:pt x="8722" y="0"/>
                                      </a:lnTo>
                                    </a:path>
                                  </a:pathLst>
                                </a:custGeom>
                                <a:noFill/>
                                <a:ln w="1825" cap="flat" cmpd="sng">
                                  <a:solidFill>
                                    <a:srgbClr val="A5B7C5"/>
                                  </a:solidFill>
                                  <a:prstDash val="solid"/>
                                  <a:miter lim="12096"/>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nvGrpSpPr>
                                <p:cNvPr id="7403" name="Google Shape;7403;p104"/>
                                <p:cNvGrpSpPr/>
                                <p:nvPr/>
                              </p:nvGrpSpPr>
                              <p:grpSpPr>
                                <a:xfrm>
                                  <a:off x="4579164" y="3203653"/>
                                  <a:ext cx="1244833" cy="1020397"/>
                                  <a:chOff x="4579164" y="3203653"/>
                                  <a:chExt cx="1244833" cy="1020397"/>
                                </a:xfrm>
                              </p:grpSpPr>
                              <p:sp>
                                <p:nvSpPr>
                                  <p:cNvPr id="7404" name="Google Shape;7404;p104"/>
                                  <p:cNvSpPr/>
                                  <p:nvPr/>
                                </p:nvSpPr>
                                <p:spPr>
                                  <a:xfrm>
                                    <a:off x="4788476" y="3855276"/>
                                    <a:ext cx="57572" cy="110747"/>
                                  </a:xfrm>
                                  <a:custGeom>
                                    <a:avLst/>
                                    <a:gdLst/>
                                    <a:ahLst/>
                                    <a:cxnLst/>
                                    <a:rect l="l" t="t" r="r" b="b"/>
                                    <a:pathLst>
                                      <a:path w="7320" h="14081" fill="none" extrusionOk="0">
                                        <a:moveTo>
                                          <a:pt x="7319" y="14081"/>
                                        </a:moveTo>
                                        <a:lnTo>
                                          <a:pt x="1" y="0"/>
                                        </a:lnTo>
                                      </a:path>
                                    </a:pathLst>
                                  </a:custGeom>
                                  <a:noFill/>
                                  <a:ln w="1825" cap="flat" cmpd="sng">
                                    <a:solidFill>
                                      <a:srgbClr val="A5B7C5"/>
                                    </a:solidFill>
                                    <a:prstDash val="solid"/>
                                    <a:miter lim="12096"/>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405" name="Google Shape;7405;p104"/>
                                  <p:cNvSpPr/>
                                  <p:nvPr/>
                                </p:nvSpPr>
                                <p:spPr>
                                  <a:xfrm>
                                    <a:off x="4846040" y="3833867"/>
                                    <a:ext cx="11231" cy="132156"/>
                                  </a:xfrm>
                                  <a:custGeom>
                                    <a:avLst/>
                                    <a:gdLst/>
                                    <a:ahLst/>
                                    <a:cxnLst/>
                                    <a:rect l="l" t="t" r="r" b="b"/>
                                    <a:pathLst>
                                      <a:path w="1428" h="16803" fill="none" extrusionOk="0">
                                        <a:moveTo>
                                          <a:pt x="0" y="16803"/>
                                        </a:moveTo>
                                        <a:lnTo>
                                          <a:pt x="1428" y="1"/>
                                        </a:lnTo>
                                      </a:path>
                                    </a:pathLst>
                                  </a:custGeom>
                                  <a:noFill/>
                                  <a:ln w="1825" cap="flat" cmpd="sng">
                                    <a:solidFill>
                                      <a:srgbClr val="A5B7C5"/>
                                    </a:solidFill>
                                    <a:prstDash val="solid"/>
                                    <a:miter lim="12096"/>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406" name="Google Shape;7406;p104"/>
                                  <p:cNvSpPr/>
                                  <p:nvPr/>
                                </p:nvSpPr>
                                <p:spPr>
                                  <a:xfrm>
                                    <a:off x="4761554" y="3854796"/>
                                    <a:ext cx="26261" cy="164984"/>
                                  </a:xfrm>
                                  <a:custGeom>
                                    <a:avLst/>
                                    <a:gdLst/>
                                    <a:ahLst/>
                                    <a:cxnLst/>
                                    <a:rect l="l" t="t" r="r" b="b"/>
                                    <a:pathLst>
                                      <a:path w="3339" h="20977" fill="none" extrusionOk="0">
                                        <a:moveTo>
                                          <a:pt x="0" y="20977"/>
                                        </a:moveTo>
                                        <a:lnTo>
                                          <a:pt x="3339" y="1"/>
                                        </a:lnTo>
                                      </a:path>
                                    </a:pathLst>
                                  </a:custGeom>
                                  <a:noFill/>
                                  <a:ln w="1825" cap="flat" cmpd="sng">
                                    <a:solidFill>
                                      <a:srgbClr val="A5B7C5"/>
                                    </a:solidFill>
                                    <a:prstDash val="solid"/>
                                    <a:miter lim="12096"/>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407" name="Google Shape;7407;p104"/>
                                  <p:cNvSpPr/>
                                  <p:nvPr/>
                                </p:nvSpPr>
                                <p:spPr>
                                  <a:xfrm>
                                    <a:off x="4846991" y="3818263"/>
                                    <a:ext cx="74025" cy="146242"/>
                                  </a:xfrm>
                                  <a:custGeom>
                                    <a:avLst/>
                                    <a:gdLst/>
                                    <a:ahLst/>
                                    <a:cxnLst/>
                                    <a:rect l="l" t="t" r="r" b="b"/>
                                    <a:pathLst>
                                      <a:path w="9412" h="18594" fill="none" extrusionOk="0">
                                        <a:moveTo>
                                          <a:pt x="0" y="18593"/>
                                        </a:moveTo>
                                        <a:lnTo>
                                          <a:pt x="9411" y="1"/>
                                        </a:lnTo>
                                      </a:path>
                                    </a:pathLst>
                                  </a:custGeom>
                                  <a:noFill/>
                                  <a:ln w="1825" cap="flat" cmpd="sng">
                                    <a:solidFill>
                                      <a:srgbClr val="A5B7C5"/>
                                    </a:solidFill>
                                    <a:prstDash val="solid"/>
                                    <a:miter lim="12096"/>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408" name="Google Shape;7408;p104"/>
                                  <p:cNvSpPr/>
                                  <p:nvPr/>
                                </p:nvSpPr>
                                <p:spPr>
                                  <a:xfrm>
                                    <a:off x="4927191" y="3823305"/>
                                    <a:ext cx="22368" cy="129497"/>
                                  </a:xfrm>
                                  <a:custGeom>
                                    <a:avLst/>
                                    <a:gdLst/>
                                    <a:ahLst/>
                                    <a:cxnLst/>
                                    <a:rect l="l" t="t" r="r" b="b"/>
                                    <a:pathLst>
                                      <a:path w="2844" h="16465" fill="none" extrusionOk="0">
                                        <a:moveTo>
                                          <a:pt x="1" y="1"/>
                                        </a:moveTo>
                                        <a:lnTo>
                                          <a:pt x="2843" y="16464"/>
                                        </a:lnTo>
                                      </a:path>
                                    </a:pathLst>
                                  </a:custGeom>
                                  <a:noFill/>
                                  <a:ln w="1825" cap="flat" cmpd="sng">
                                    <a:solidFill>
                                      <a:srgbClr val="A5B7C5"/>
                                    </a:solidFill>
                                    <a:prstDash val="solid"/>
                                    <a:miter lim="12096"/>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nvGrpSpPr>
                                  <p:cNvPr id="7409" name="Google Shape;7409;p104"/>
                                  <p:cNvGrpSpPr/>
                                  <p:nvPr/>
                                </p:nvGrpSpPr>
                                <p:grpSpPr>
                                  <a:xfrm>
                                    <a:off x="4579164" y="3203653"/>
                                    <a:ext cx="1244833" cy="1020397"/>
                                    <a:chOff x="4579164" y="3203653"/>
                                    <a:chExt cx="1244833" cy="1020397"/>
                                  </a:xfrm>
                                </p:grpSpPr>
                                <p:sp>
                                  <p:nvSpPr>
                                    <p:cNvPr id="7410" name="Google Shape;7410;p104"/>
                                    <p:cNvSpPr/>
                                    <p:nvPr/>
                                  </p:nvSpPr>
                                  <p:spPr>
                                    <a:xfrm>
                                      <a:off x="4579164" y="3652241"/>
                                      <a:ext cx="422626" cy="571809"/>
                                    </a:xfrm>
                                    <a:custGeom>
                                      <a:avLst/>
                                      <a:gdLst/>
                                      <a:ahLst/>
                                      <a:cxnLst/>
                                      <a:rect l="l" t="t" r="r" b="b"/>
                                      <a:pathLst>
                                        <a:path w="53735" h="72703" fill="none" extrusionOk="0">
                                          <a:moveTo>
                                            <a:pt x="27593" y="71880"/>
                                          </a:moveTo>
                                          <a:lnTo>
                                            <a:pt x="23771" y="58694"/>
                                          </a:lnTo>
                                          <a:lnTo>
                                            <a:pt x="22936" y="46731"/>
                                          </a:lnTo>
                                          <a:lnTo>
                                            <a:pt x="19972" y="37380"/>
                                          </a:lnTo>
                                          <a:lnTo>
                                            <a:pt x="11674" y="32686"/>
                                          </a:lnTo>
                                          <a:lnTo>
                                            <a:pt x="1" y="27001"/>
                                          </a:lnTo>
                                          <a:lnTo>
                                            <a:pt x="1392" y="10610"/>
                                          </a:lnTo>
                                          <a:lnTo>
                                            <a:pt x="17517" y="1"/>
                                          </a:lnTo>
                                          <a:lnTo>
                                            <a:pt x="29747" y="5384"/>
                                          </a:lnTo>
                                          <a:lnTo>
                                            <a:pt x="43827" y="21291"/>
                                          </a:lnTo>
                                          <a:lnTo>
                                            <a:pt x="49343" y="27122"/>
                                          </a:lnTo>
                                          <a:lnTo>
                                            <a:pt x="53735" y="25815"/>
                                          </a:lnTo>
                                          <a:lnTo>
                                            <a:pt x="50347" y="35940"/>
                                          </a:lnTo>
                                          <a:lnTo>
                                            <a:pt x="47093" y="38214"/>
                                          </a:lnTo>
                                          <a:lnTo>
                                            <a:pt x="44069" y="44275"/>
                                          </a:lnTo>
                                          <a:lnTo>
                                            <a:pt x="45073" y="51944"/>
                                          </a:lnTo>
                                          <a:lnTo>
                                            <a:pt x="42170" y="55694"/>
                                          </a:lnTo>
                                          <a:lnTo>
                                            <a:pt x="38227" y="66025"/>
                                          </a:lnTo>
                                          <a:lnTo>
                                            <a:pt x="27593" y="72702"/>
                                          </a:lnTo>
                                        </a:path>
                                      </a:pathLst>
                                    </a:custGeom>
                                    <a:noFill/>
                                    <a:ln w="1825" cap="flat" cmpd="sng">
                                      <a:solidFill>
                                        <a:srgbClr val="A5B7C5"/>
                                      </a:solidFill>
                                      <a:prstDash val="solid"/>
                                      <a:miter lim="12096"/>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411" name="Google Shape;7411;p104"/>
                                    <p:cNvSpPr/>
                                    <p:nvPr/>
                                  </p:nvSpPr>
                                  <p:spPr>
                                    <a:xfrm>
                                      <a:off x="4617986" y="3203653"/>
                                      <a:ext cx="1206011" cy="684357"/>
                                    </a:xfrm>
                                    <a:custGeom>
                                      <a:avLst/>
                                      <a:gdLst/>
                                      <a:ahLst/>
                                      <a:cxnLst/>
                                      <a:rect l="l" t="t" r="r" b="b"/>
                                      <a:pathLst>
                                        <a:path w="153339" h="87013" fill="none" extrusionOk="0">
                                          <a:moveTo>
                                            <a:pt x="24811" y="62214"/>
                                          </a:moveTo>
                                          <a:lnTo>
                                            <a:pt x="34452" y="66980"/>
                                          </a:lnTo>
                                          <a:lnTo>
                                            <a:pt x="37549" y="69920"/>
                                          </a:lnTo>
                                          <a:lnTo>
                                            <a:pt x="41274" y="77698"/>
                                          </a:lnTo>
                                          <a:lnTo>
                                            <a:pt x="46270" y="79222"/>
                                          </a:lnTo>
                                          <a:lnTo>
                                            <a:pt x="55899" y="72775"/>
                                          </a:lnTo>
                                          <a:lnTo>
                                            <a:pt x="52645" y="69085"/>
                                          </a:lnTo>
                                          <a:lnTo>
                                            <a:pt x="48291" y="70234"/>
                                          </a:lnTo>
                                          <a:lnTo>
                                            <a:pt x="46585" y="64634"/>
                                          </a:lnTo>
                                          <a:lnTo>
                                            <a:pt x="48774" y="66097"/>
                                          </a:lnTo>
                                          <a:lnTo>
                                            <a:pt x="59698" y="70234"/>
                                          </a:lnTo>
                                          <a:lnTo>
                                            <a:pt x="65988" y="72279"/>
                                          </a:lnTo>
                                          <a:lnTo>
                                            <a:pt x="66315" y="75944"/>
                                          </a:lnTo>
                                          <a:lnTo>
                                            <a:pt x="70960" y="87013"/>
                                          </a:lnTo>
                                          <a:lnTo>
                                            <a:pt x="76573" y="75944"/>
                                          </a:lnTo>
                                          <a:lnTo>
                                            <a:pt x="80831" y="72932"/>
                                          </a:lnTo>
                                          <a:lnTo>
                                            <a:pt x="86069" y="78146"/>
                                          </a:lnTo>
                                          <a:lnTo>
                                            <a:pt x="88355" y="83928"/>
                                          </a:lnTo>
                                          <a:lnTo>
                                            <a:pt x="94633" y="84037"/>
                                          </a:lnTo>
                                          <a:lnTo>
                                            <a:pt x="94270" y="74299"/>
                                          </a:lnTo>
                                          <a:lnTo>
                                            <a:pt x="100936" y="72690"/>
                                          </a:lnTo>
                                          <a:lnTo>
                                            <a:pt x="106682" y="64307"/>
                                          </a:lnTo>
                                          <a:lnTo>
                                            <a:pt x="106319" y="56553"/>
                                          </a:lnTo>
                                          <a:lnTo>
                                            <a:pt x="103416" y="54690"/>
                                          </a:lnTo>
                                          <a:lnTo>
                                            <a:pt x="106827" y="53105"/>
                                          </a:lnTo>
                                          <a:lnTo>
                                            <a:pt x="120194" y="45339"/>
                                          </a:lnTo>
                                          <a:lnTo>
                                            <a:pt x="122528" y="36859"/>
                                          </a:lnTo>
                                          <a:lnTo>
                                            <a:pt x="118851" y="35493"/>
                                          </a:lnTo>
                                          <a:lnTo>
                                            <a:pt x="125093" y="28464"/>
                                          </a:lnTo>
                                          <a:lnTo>
                                            <a:pt x="148536" y="25972"/>
                                          </a:lnTo>
                                          <a:lnTo>
                                            <a:pt x="153339" y="12255"/>
                                          </a:lnTo>
                                          <a:lnTo>
                                            <a:pt x="125468" y="6255"/>
                                          </a:lnTo>
                                          <a:lnTo>
                                            <a:pt x="101758" y="5432"/>
                                          </a:lnTo>
                                          <a:lnTo>
                                            <a:pt x="85016" y="1"/>
                                          </a:lnTo>
                                          <a:lnTo>
                                            <a:pt x="60532" y="12255"/>
                                          </a:lnTo>
                                          <a:lnTo>
                                            <a:pt x="39714" y="20214"/>
                                          </a:lnTo>
                                          <a:lnTo>
                                            <a:pt x="35444" y="13089"/>
                                          </a:lnTo>
                                          <a:lnTo>
                                            <a:pt x="22186" y="13464"/>
                                          </a:lnTo>
                                          <a:lnTo>
                                            <a:pt x="15291" y="21351"/>
                                          </a:lnTo>
                                          <a:lnTo>
                                            <a:pt x="11831" y="27484"/>
                                          </a:lnTo>
                                          <a:lnTo>
                                            <a:pt x="21581" y="26614"/>
                                          </a:lnTo>
                                          <a:lnTo>
                                            <a:pt x="24532" y="19561"/>
                                          </a:lnTo>
                                          <a:lnTo>
                                            <a:pt x="29480" y="22694"/>
                                          </a:lnTo>
                                          <a:lnTo>
                                            <a:pt x="24811" y="32964"/>
                                          </a:lnTo>
                                          <a:lnTo>
                                            <a:pt x="20262" y="35541"/>
                                          </a:lnTo>
                                          <a:lnTo>
                                            <a:pt x="15569" y="31368"/>
                                          </a:lnTo>
                                          <a:lnTo>
                                            <a:pt x="15061" y="35650"/>
                                          </a:lnTo>
                                          <a:lnTo>
                                            <a:pt x="11057" y="37924"/>
                                          </a:lnTo>
                                          <a:lnTo>
                                            <a:pt x="6024" y="43089"/>
                                          </a:lnTo>
                                          <a:lnTo>
                                            <a:pt x="6387" y="49210"/>
                                          </a:lnTo>
                                          <a:lnTo>
                                            <a:pt x="992" y="49210"/>
                                          </a:lnTo>
                                          <a:lnTo>
                                            <a:pt x="0" y="52198"/>
                                          </a:lnTo>
                                          <a:lnTo>
                                            <a:pt x="835" y="57037"/>
                                          </a:lnTo>
                                          <a:lnTo>
                                            <a:pt x="6726" y="55198"/>
                                          </a:lnTo>
                                          <a:lnTo>
                                            <a:pt x="10924" y="50069"/>
                                          </a:lnTo>
                                          <a:lnTo>
                                            <a:pt x="16367" y="50686"/>
                                          </a:lnTo>
                                          <a:lnTo>
                                            <a:pt x="18049" y="46670"/>
                                          </a:lnTo>
                                          <a:lnTo>
                                            <a:pt x="23093" y="54363"/>
                                          </a:lnTo>
                                          <a:lnTo>
                                            <a:pt x="26528" y="56105"/>
                                          </a:lnTo>
                                          <a:lnTo>
                                            <a:pt x="26734" y="52210"/>
                                          </a:lnTo>
                                          <a:lnTo>
                                            <a:pt x="33835" y="47069"/>
                                          </a:lnTo>
                                          <a:lnTo>
                                            <a:pt x="38069" y="49488"/>
                                          </a:lnTo>
                                          <a:lnTo>
                                            <a:pt x="36278" y="53045"/>
                                          </a:lnTo>
                                          <a:lnTo>
                                            <a:pt x="28343" y="55392"/>
                                          </a:lnTo>
                                          <a:cubicBezTo>
                                            <a:pt x="28343" y="55392"/>
                                            <a:pt x="31041" y="58888"/>
                                            <a:pt x="31319" y="58984"/>
                                          </a:cubicBezTo>
                                          <a:cubicBezTo>
                                            <a:pt x="31597" y="59069"/>
                                            <a:pt x="36278" y="58150"/>
                                            <a:pt x="36278" y="58150"/>
                                          </a:cubicBezTo>
                                          <a:lnTo>
                                            <a:pt x="35456" y="61948"/>
                                          </a:lnTo>
                                          <a:lnTo>
                                            <a:pt x="30920" y="63255"/>
                                          </a:lnTo>
                                          <a:lnTo>
                                            <a:pt x="24823" y="62142"/>
                                          </a:lnTo>
                                        </a:path>
                                      </a:pathLst>
                                    </a:custGeom>
                                    <a:noFill/>
                                    <a:ln w="1825" cap="flat" cmpd="sng">
                                      <a:solidFill>
                                        <a:srgbClr val="A5B7C5"/>
                                      </a:solidFill>
                                      <a:prstDash val="solid"/>
                                      <a:miter lim="12096"/>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412" name="Google Shape;7412;p104"/>
                                    <p:cNvSpPr/>
                                    <p:nvPr/>
                                  </p:nvSpPr>
                                  <p:spPr>
                                    <a:xfrm>
                                      <a:off x="4906356" y="3466721"/>
                                      <a:ext cx="194289" cy="358880"/>
                                    </a:xfrm>
                                    <a:custGeom>
                                      <a:avLst/>
                                      <a:gdLst/>
                                      <a:ahLst/>
                                      <a:cxnLst/>
                                      <a:rect l="l" t="t" r="r" b="b"/>
                                      <a:pathLst>
                                        <a:path w="24703" h="45630" fill="none" extrusionOk="0">
                                          <a:moveTo>
                                            <a:pt x="8396" y="39968"/>
                                          </a:moveTo>
                                          <a:lnTo>
                                            <a:pt x="9835" y="45629"/>
                                          </a:lnTo>
                                          <a:lnTo>
                                            <a:pt x="11626" y="36786"/>
                                          </a:lnTo>
                                          <a:lnTo>
                                            <a:pt x="5492" y="30218"/>
                                          </a:lnTo>
                                          <a:lnTo>
                                            <a:pt x="1" y="25016"/>
                                          </a:lnTo>
                                          <a:lnTo>
                                            <a:pt x="1392" y="16040"/>
                                          </a:lnTo>
                                          <a:lnTo>
                                            <a:pt x="24702" y="15206"/>
                                          </a:lnTo>
                                          <a:lnTo>
                                            <a:pt x="6472" y="0"/>
                                          </a:lnTo>
                                        </a:path>
                                      </a:pathLst>
                                    </a:custGeom>
                                    <a:noFill/>
                                    <a:ln w="1825" cap="flat" cmpd="sng">
                                      <a:solidFill>
                                        <a:srgbClr val="A5B7C5"/>
                                      </a:solidFill>
                                      <a:prstDash val="solid"/>
                                      <a:miter lim="12096"/>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413" name="Google Shape;7413;p104"/>
                                    <p:cNvSpPr/>
                                    <p:nvPr/>
                                  </p:nvSpPr>
                                  <p:spPr>
                                    <a:xfrm>
                                      <a:off x="4972383" y="3756043"/>
                                      <a:ext cx="25412" cy="25026"/>
                                    </a:xfrm>
                                    <a:custGeom>
                                      <a:avLst/>
                                      <a:gdLst/>
                                      <a:ahLst/>
                                      <a:cxnLst/>
                                      <a:rect l="l" t="t" r="r" b="b"/>
                                      <a:pathLst>
                                        <a:path w="3231" h="3182" fill="none" extrusionOk="0">
                                          <a:moveTo>
                                            <a:pt x="1" y="3182"/>
                                          </a:moveTo>
                                          <a:lnTo>
                                            <a:pt x="3231" y="0"/>
                                          </a:lnTo>
                                        </a:path>
                                      </a:pathLst>
                                    </a:custGeom>
                                    <a:noFill/>
                                    <a:ln w="1825" cap="flat" cmpd="sng">
                                      <a:solidFill>
                                        <a:srgbClr val="A5B7C5"/>
                                      </a:solidFill>
                                      <a:prstDash val="solid"/>
                                      <a:miter lim="12096"/>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grpSp>
                        </p:grpSp>
                        <p:sp>
                          <p:nvSpPr>
                            <p:cNvPr id="7414" name="Google Shape;7414;p104"/>
                            <p:cNvSpPr/>
                            <p:nvPr/>
                          </p:nvSpPr>
                          <p:spPr>
                            <a:xfrm>
                              <a:off x="4890375" y="3688019"/>
                              <a:ext cx="5144" cy="43769"/>
                            </a:xfrm>
                            <a:custGeom>
                              <a:avLst/>
                              <a:gdLst/>
                              <a:ahLst/>
                              <a:cxnLst/>
                              <a:rect l="l" t="t" r="r" b="b"/>
                              <a:pathLst>
                                <a:path w="654" h="5565" fill="none" extrusionOk="0">
                                  <a:moveTo>
                                    <a:pt x="653" y="0"/>
                                  </a:moveTo>
                                  <a:lnTo>
                                    <a:pt x="0" y="5565"/>
                                  </a:lnTo>
                                </a:path>
                              </a:pathLst>
                            </a:custGeom>
                            <a:noFill/>
                            <a:ln w="1825" cap="flat" cmpd="sng">
                              <a:solidFill>
                                <a:srgbClr val="A5B7C5"/>
                              </a:solidFill>
                              <a:prstDash val="solid"/>
                              <a:miter lim="12096"/>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415" name="Google Shape;7415;p104"/>
                            <p:cNvSpPr/>
                            <p:nvPr/>
                          </p:nvSpPr>
                          <p:spPr>
                            <a:xfrm>
                              <a:off x="4899317" y="3688019"/>
                              <a:ext cx="54048" cy="20174"/>
                            </a:xfrm>
                            <a:custGeom>
                              <a:avLst/>
                              <a:gdLst/>
                              <a:ahLst/>
                              <a:cxnLst/>
                              <a:rect l="l" t="t" r="r" b="b"/>
                              <a:pathLst>
                                <a:path w="6872" h="2565" fill="none" extrusionOk="0">
                                  <a:moveTo>
                                    <a:pt x="0" y="0"/>
                                  </a:moveTo>
                                  <a:lnTo>
                                    <a:pt x="6871" y="2565"/>
                                  </a:lnTo>
                                </a:path>
                              </a:pathLst>
                            </a:custGeom>
                            <a:noFill/>
                            <a:ln w="1825" cap="flat" cmpd="sng">
                              <a:solidFill>
                                <a:srgbClr val="A5B7C5"/>
                              </a:solidFill>
                              <a:prstDash val="solid"/>
                              <a:miter lim="12096"/>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416" name="Google Shape;7416;p104"/>
                            <p:cNvSpPr/>
                            <p:nvPr/>
                          </p:nvSpPr>
                          <p:spPr>
                            <a:xfrm>
                              <a:off x="4862690" y="3700571"/>
                              <a:ext cx="27693" cy="31216"/>
                            </a:xfrm>
                            <a:custGeom>
                              <a:avLst/>
                              <a:gdLst/>
                              <a:ahLst/>
                              <a:cxnLst/>
                              <a:rect l="l" t="t" r="r" b="b"/>
                              <a:pathLst>
                                <a:path w="3521" h="3969" fill="none" extrusionOk="0">
                                  <a:moveTo>
                                    <a:pt x="0" y="1"/>
                                  </a:moveTo>
                                  <a:lnTo>
                                    <a:pt x="3520" y="3969"/>
                                  </a:lnTo>
                                </a:path>
                              </a:pathLst>
                            </a:custGeom>
                            <a:noFill/>
                            <a:ln w="1825" cap="flat" cmpd="sng">
                              <a:solidFill>
                                <a:srgbClr val="A5B7C5"/>
                              </a:solidFill>
                              <a:prstDash val="solid"/>
                              <a:miter lim="12096"/>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sp>
                      <p:nvSpPr>
                        <p:cNvPr id="7417" name="Google Shape;7417;p104"/>
                        <p:cNvSpPr/>
                        <p:nvPr/>
                      </p:nvSpPr>
                      <p:spPr>
                        <a:xfrm>
                          <a:off x="4953924" y="3297081"/>
                          <a:ext cx="146053" cy="168122"/>
                        </a:xfrm>
                        <a:custGeom>
                          <a:avLst/>
                          <a:gdLst/>
                          <a:ahLst/>
                          <a:cxnLst/>
                          <a:rect l="l" t="t" r="r" b="b"/>
                          <a:pathLst>
                            <a:path w="18570" h="21376" fill="none" extrusionOk="0">
                              <a:moveTo>
                                <a:pt x="1" y="21376"/>
                              </a:moveTo>
                              <a:lnTo>
                                <a:pt x="18569" y="1"/>
                              </a:lnTo>
                            </a:path>
                          </a:pathLst>
                        </a:custGeom>
                        <a:noFill/>
                        <a:ln w="1825" cap="flat" cmpd="sng">
                          <a:solidFill>
                            <a:srgbClr val="A5B7C5"/>
                          </a:solidFill>
                          <a:prstDash val="solid"/>
                          <a:miter lim="12096"/>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grpSp>
            </p:grpSp>
          </p:grpSp>
          <p:grpSp>
            <p:nvGrpSpPr>
              <p:cNvPr id="7418" name="Google Shape;7418;p104"/>
              <p:cNvGrpSpPr/>
              <p:nvPr/>
            </p:nvGrpSpPr>
            <p:grpSpPr>
              <a:xfrm>
                <a:off x="4595437" y="3598775"/>
                <a:ext cx="37776" cy="32451"/>
                <a:chOff x="4595437" y="3598775"/>
                <a:chExt cx="37776" cy="32451"/>
              </a:xfrm>
            </p:grpSpPr>
            <p:sp>
              <p:nvSpPr>
                <p:cNvPr id="7419" name="Google Shape;7419;p104"/>
                <p:cNvSpPr/>
                <p:nvPr/>
              </p:nvSpPr>
              <p:spPr>
                <a:xfrm>
                  <a:off x="4595437" y="3598775"/>
                  <a:ext cx="37776" cy="32451"/>
                </a:xfrm>
                <a:custGeom>
                  <a:avLst/>
                  <a:gdLst/>
                  <a:ahLst/>
                  <a:cxnLst/>
                  <a:rect l="l" t="t" r="r" b="b"/>
                  <a:pathLst>
                    <a:path w="4803" h="4126" extrusionOk="0">
                      <a:moveTo>
                        <a:pt x="2730" y="0"/>
                      </a:moveTo>
                      <a:cubicBezTo>
                        <a:pt x="2226" y="0"/>
                        <a:pt x="1712" y="187"/>
                        <a:pt x="1295" y="605"/>
                      </a:cubicBezTo>
                      <a:cubicBezTo>
                        <a:pt x="0" y="1900"/>
                        <a:pt x="920" y="4125"/>
                        <a:pt x="2758" y="4125"/>
                      </a:cubicBezTo>
                      <a:cubicBezTo>
                        <a:pt x="3883" y="4113"/>
                        <a:pt x="4803" y="3194"/>
                        <a:pt x="4803" y="2069"/>
                      </a:cubicBezTo>
                      <a:cubicBezTo>
                        <a:pt x="4803" y="824"/>
                        <a:pt x="3788" y="0"/>
                        <a:pt x="2730" y="0"/>
                      </a:cubicBez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420" name="Google Shape;7420;p104"/>
                <p:cNvSpPr/>
                <p:nvPr/>
              </p:nvSpPr>
              <p:spPr>
                <a:xfrm>
                  <a:off x="4610561" y="3608480"/>
                  <a:ext cx="13040" cy="13040"/>
                </a:xfrm>
                <a:custGeom>
                  <a:avLst/>
                  <a:gdLst/>
                  <a:ahLst/>
                  <a:cxnLst/>
                  <a:rect l="l" t="t" r="r" b="b"/>
                  <a:pathLst>
                    <a:path w="1658" h="1658" extrusionOk="0">
                      <a:moveTo>
                        <a:pt x="835" y="0"/>
                      </a:moveTo>
                      <a:cubicBezTo>
                        <a:pt x="376" y="0"/>
                        <a:pt x="1" y="375"/>
                        <a:pt x="1" y="835"/>
                      </a:cubicBezTo>
                      <a:cubicBezTo>
                        <a:pt x="1" y="1283"/>
                        <a:pt x="376" y="1658"/>
                        <a:pt x="835" y="1658"/>
                      </a:cubicBezTo>
                      <a:cubicBezTo>
                        <a:pt x="1283" y="1658"/>
                        <a:pt x="1658" y="1283"/>
                        <a:pt x="1658" y="835"/>
                      </a:cubicBezTo>
                      <a:cubicBezTo>
                        <a:pt x="1658" y="375"/>
                        <a:pt x="1283" y="0"/>
                        <a:pt x="835" y="0"/>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7421" name="Google Shape;7421;p104"/>
              <p:cNvGrpSpPr/>
              <p:nvPr/>
            </p:nvGrpSpPr>
            <p:grpSpPr>
              <a:xfrm>
                <a:off x="4641864" y="3524443"/>
                <a:ext cx="37776" cy="32380"/>
                <a:chOff x="4641864" y="3524443"/>
                <a:chExt cx="37776" cy="32380"/>
              </a:xfrm>
            </p:grpSpPr>
            <p:sp>
              <p:nvSpPr>
                <p:cNvPr id="7422" name="Google Shape;7422;p104"/>
                <p:cNvSpPr/>
                <p:nvPr/>
              </p:nvSpPr>
              <p:spPr>
                <a:xfrm>
                  <a:off x="4641864" y="3524443"/>
                  <a:ext cx="37776" cy="32380"/>
                </a:xfrm>
                <a:custGeom>
                  <a:avLst/>
                  <a:gdLst/>
                  <a:ahLst/>
                  <a:cxnLst/>
                  <a:rect l="l" t="t" r="r" b="b"/>
                  <a:pathLst>
                    <a:path w="4803" h="4117" extrusionOk="0">
                      <a:moveTo>
                        <a:pt x="2737" y="1"/>
                      </a:moveTo>
                      <a:cubicBezTo>
                        <a:pt x="2231" y="1"/>
                        <a:pt x="1715" y="189"/>
                        <a:pt x="1295" y="609"/>
                      </a:cubicBezTo>
                      <a:cubicBezTo>
                        <a:pt x="0" y="1903"/>
                        <a:pt x="908" y="4117"/>
                        <a:pt x="2746" y="4117"/>
                      </a:cubicBezTo>
                      <a:cubicBezTo>
                        <a:pt x="3884" y="4117"/>
                        <a:pt x="4803" y="3197"/>
                        <a:pt x="4803" y="2060"/>
                      </a:cubicBezTo>
                      <a:cubicBezTo>
                        <a:pt x="4803" y="818"/>
                        <a:pt x="3792" y="1"/>
                        <a:pt x="2737" y="1"/>
                      </a:cubicBez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423" name="Google Shape;7423;p104"/>
                <p:cNvSpPr/>
                <p:nvPr/>
              </p:nvSpPr>
              <p:spPr>
                <a:xfrm>
                  <a:off x="4656988" y="3534077"/>
                  <a:ext cx="13048" cy="13040"/>
                </a:xfrm>
                <a:custGeom>
                  <a:avLst/>
                  <a:gdLst/>
                  <a:ahLst/>
                  <a:cxnLst/>
                  <a:rect l="l" t="t" r="r" b="b"/>
                  <a:pathLst>
                    <a:path w="1659" h="1658" extrusionOk="0">
                      <a:moveTo>
                        <a:pt x="823" y="1"/>
                      </a:moveTo>
                      <a:cubicBezTo>
                        <a:pt x="376" y="1"/>
                        <a:pt x="1" y="376"/>
                        <a:pt x="1" y="835"/>
                      </a:cubicBezTo>
                      <a:cubicBezTo>
                        <a:pt x="1" y="1295"/>
                        <a:pt x="376" y="1658"/>
                        <a:pt x="823" y="1658"/>
                      </a:cubicBezTo>
                      <a:cubicBezTo>
                        <a:pt x="1283" y="1658"/>
                        <a:pt x="1658" y="1295"/>
                        <a:pt x="1658" y="835"/>
                      </a:cubicBezTo>
                      <a:cubicBezTo>
                        <a:pt x="1658" y="376"/>
                        <a:pt x="1283" y="1"/>
                        <a:pt x="823" y="1"/>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7424" name="Google Shape;7424;p104"/>
              <p:cNvGrpSpPr/>
              <p:nvPr/>
            </p:nvGrpSpPr>
            <p:grpSpPr>
              <a:xfrm>
                <a:off x="4648431" y="3893901"/>
                <a:ext cx="37776" cy="32357"/>
                <a:chOff x="4648431" y="3893901"/>
                <a:chExt cx="37776" cy="32357"/>
              </a:xfrm>
            </p:grpSpPr>
            <p:sp>
              <p:nvSpPr>
                <p:cNvPr id="7425" name="Google Shape;7425;p104"/>
                <p:cNvSpPr/>
                <p:nvPr/>
              </p:nvSpPr>
              <p:spPr>
                <a:xfrm>
                  <a:off x="4648431" y="3893901"/>
                  <a:ext cx="37776" cy="32357"/>
                </a:xfrm>
                <a:custGeom>
                  <a:avLst/>
                  <a:gdLst/>
                  <a:ahLst/>
                  <a:cxnLst/>
                  <a:rect l="l" t="t" r="r" b="b"/>
                  <a:pathLst>
                    <a:path w="4803" h="4114" extrusionOk="0">
                      <a:moveTo>
                        <a:pt x="2732" y="0"/>
                      </a:moveTo>
                      <a:cubicBezTo>
                        <a:pt x="2227" y="0"/>
                        <a:pt x="1713" y="187"/>
                        <a:pt x="1295" y="605"/>
                      </a:cubicBezTo>
                      <a:cubicBezTo>
                        <a:pt x="0" y="1900"/>
                        <a:pt x="920" y="4113"/>
                        <a:pt x="2746" y="4113"/>
                      </a:cubicBezTo>
                      <a:cubicBezTo>
                        <a:pt x="3883" y="4113"/>
                        <a:pt x="4803" y="3194"/>
                        <a:pt x="4803" y="2057"/>
                      </a:cubicBezTo>
                      <a:cubicBezTo>
                        <a:pt x="4803" y="821"/>
                        <a:pt x="3788" y="0"/>
                        <a:pt x="2732" y="0"/>
                      </a:cubicBez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426" name="Google Shape;7426;p104"/>
                <p:cNvSpPr/>
                <p:nvPr/>
              </p:nvSpPr>
              <p:spPr>
                <a:xfrm>
                  <a:off x="4663556" y="3903606"/>
                  <a:ext cx="13040" cy="13040"/>
                </a:xfrm>
                <a:custGeom>
                  <a:avLst/>
                  <a:gdLst/>
                  <a:ahLst/>
                  <a:cxnLst/>
                  <a:rect l="l" t="t" r="r" b="b"/>
                  <a:pathLst>
                    <a:path w="1658" h="1658" extrusionOk="0">
                      <a:moveTo>
                        <a:pt x="823" y="0"/>
                      </a:moveTo>
                      <a:cubicBezTo>
                        <a:pt x="363" y="0"/>
                        <a:pt x="1" y="375"/>
                        <a:pt x="1" y="823"/>
                      </a:cubicBezTo>
                      <a:cubicBezTo>
                        <a:pt x="1" y="1283"/>
                        <a:pt x="363" y="1658"/>
                        <a:pt x="823" y="1658"/>
                      </a:cubicBezTo>
                      <a:cubicBezTo>
                        <a:pt x="1283" y="1658"/>
                        <a:pt x="1658" y="1283"/>
                        <a:pt x="1658" y="823"/>
                      </a:cubicBezTo>
                      <a:cubicBezTo>
                        <a:pt x="1658" y="375"/>
                        <a:pt x="1283" y="0"/>
                        <a:pt x="823" y="0"/>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7427" name="Google Shape;7427;p104"/>
              <p:cNvGrpSpPr/>
              <p:nvPr/>
            </p:nvGrpSpPr>
            <p:grpSpPr>
              <a:xfrm>
                <a:off x="4567752" y="3722908"/>
                <a:ext cx="37870" cy="32380"/>
                <a:chOff x="4567752" y="3722908"/>
                <a:chExt cx="37870" cy="32380"/>
              </a:xfrm>
            </p:grpSpPr>
            <p:sp>
              <p:nvSpPr>
                <p:cNvPr id="7428" name="Google Shape;7428;p104"/>
                <p:cNvSpPr/>
                <p:nvPr/>
              </p:nvSpPr>
              <p:spPr>
                <a:xfrm>
                  <a:off x="4567752" y="3722908"/>
                  <a:ext cx="37870" cy="32380"/>
                </a:xfrm>
                <a:custGeom>
                  <a:avLst/>
                  <a:gdLst/>
                  <a:ahLst/>
                  <a:cxnLst/>
                  <a:rect l="l" t="t" r="r" b="b"/>
                  <a:pathLst>
                    <a:path w="4815" h="4117" extrusionOk="0">
                      <a:moveTo>
                        <a:pt x="2749" y="1"/>
                      </a:moveTo>
                      <a:cubicBezTo>
                        <a:pt x="2243" y="1"/>
                        <a:pt x="1726" y="189"/>
                        <a:pt x="1307" y="609"/>
                      </a:cubicBezTo>
                      <a:cubicBezTo>
                        <a:pt x="0" y="1903"/>
                        <a:pt x="919" y="4117"/>
                        <a:pt x="2758" y="4117"/>
                      </a:cubicBezTo>
                      <a:cubicBezTo>
                        <a:pt x="3895" y="4117"/>
                        <a:pt x="4815" y="3197"/>
                        <a:pt x="4815" y="2060"/>
                      </a:cubicBezTo>
                      <a:cubicBezTo>
                        <a:pt x="4815" y="818"/>
                        <a:pt x="3804" y="1"/>
                        <a:pt x="2749" y="1"/>
                      </a:cubicBez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429" name="Google Shape;7429;p104"/>
                <p:cNvSpPr/>
                <p:nvPr/>
              </p:nvSpPr>
              <p:spPr>
                <a:xfrm>
                  <a:off x="4580690" y="3732543"/>
                  <a:ext cx="15227" cy="13064"/>
                </a:xfrm>
                <a:custGeom>
                  <a:avLst/>
                  <a:gdLst/>
                  <a:ahLst/>
                  <a:cxnLst/>
                  <a:rect l="l" t="t" r="r" b="b"/>
                  <a:pathLst>
                    <a:path w="1936" h="1661" extrusionOk="0">
                      <a:moveTo>
                        <a:pt x="1113" y="0"/>
                      </a:moveTo>
                      <a:cubicBezTo>
                        <a:pt x="375" y="0"/>
                        <a:pt x="0" y="896"/>
                        <a:pt x="520" y="1416"/>
                      </a:cubicBezTo>
                      <a:cubicBezTo>
                        <a:pt x="689" y="1585"/>
                        <a:pt x="898" y="1661"/>
                        <a:pt x="1103" y="1661"/>
                      </a:cubicBezTo>
                      <a:cubicBezTo>
                        <a:pt x="1528" y="1661"/>
                        <a:pt x="1936" y="1333"/>
                        <a:pt x="1936" y="835"/>
                      </a:cubicBezTo>
                      <a:cubicBezTo>
                        <a:pt x="1936" y="375"/>
                        <a:pt x="1573" y="0"/>
                        <a:pt x="1113" y="0"/>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7430" name="Google Shape;7430;p104"/>
              <p:cNvGrpSpPr/>
              <p:nvPr/>
            </p:nvGrpSpPr>
            <p:grpSpPr>
              <a:xfrm>
                <a:off x="4617506" y="3652052"/>
                <a:ext cx="37783" cy="32357"/>
                <a:chOff x="4617506" y="3652052"/>
                <a:chExt cx="37783" cy="32357"/>
              </a:xfrm>
            </p:grpSpPr>
            <p:sp>
              <p:nvSpPr>
                <p:cNvPr id="7431" name="Google Shape;7431;p104"/>
                <p:cNvSpPr/>
                <p:nvPr/>
              </p:nvSpPr>
              <p:spPr>
                <a:xfrm>
                  <a:off x="4617506" y="3652052"/>
                  <a:ext cx="37783" cy="32357"/>
                </a:xfrm>
                <a:custGeom>
                  <a:avLst/>
                  <a:gdLst/>
                  <a:ahLst/>
                  <a:cxnLst/>
                  <a:rect l="l" t="t" r="r" b="b"/>
                  <a:pathLst>
                    <a:path w="4804" h="4114" extrusionOk="0">
                      <a:moveTo>
                        <a:pt x="2732" y="0"/>
                      </a:moveTo>
                      <a:cubicBezTo>
                        <a:pt x="2228" y="0"/>
                        <a:pt x="1713" y="187"/>
                        <a:pt x="1295" y="605"/>
                      </a:cubicBezTo>
                      <a:cubicBezTo>
                        <a:pt x="1" y="1900"/>
                        <a:pt x="920" y="4114"/>
                        <a:pt x="2747" y="4114"/>
                      </a:cubicBezTo>
                      <a:cubicBezTo>
                        <a:pt x="3884" y="4114"/>
                        <a:pt x="4803" y="3194"/>
                        <a:pt x="4803" y="2057"/>
                      </a:cubicBezTo>
                      <a:cubicBezTo>
                        <a:pt x="4803" y="821"/>
                        <a:pt x="3789" y="0"/>
                        <a:pt x="2732" y="0"/>
                      </a:cubicBez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432" name="Google Shape;7432;p104"/>
                <p:cNvSpPr/>
                <p:nvPr/>
              </p:nvSpPr>
              <p:spPr>
                <a:xfrm>
                  <a:off x="4632638" y="3661758"/>
                  <a:ext cx="13040" cy="13040"/>
                </a:xfrm>
                <a:custGeom>
                  <a:avLst/>
                  <a:gdLst/>
                  <a:ahLst/>
                  <a:cxnLst/>
                  <a:rect l="l" t="t" r="r" b="b"/>
                  <a:pathLst>
                    <a:path w="1658" h="1658" extrusionOk="0">
                      <a:moveTo>
                        <a:pt x="823" y="1"/>
                      </a:moveTo>
                      <a:cubicBezTo>
                        <a:pt x="363" y="1"/>
                        <a:pt x="0" y="363"/>
                        <a:pt x="0" y="823"/>
                      </a:cubicBezTo>
                      <a:cubicBezTo>
                        <a:pt x="0" y="1283"/>
                        <a:pt x="363" y="1658"/>
                        <a:pt x="823" y="1658"/>
                      </a:cubicBezTo>
                      <a:cubicBezTo>
                        <a:pt x="1282" y="1658"/>
                        <a:pt x="1657" y="1283"/>
                        <a:pt x="1657" y="823"/>
                      </a:cubicBezTo>
                      <a:cubicBezTo>
                        <a:pt x="1657" y="363"/>
                        <a:pt x="1282" y="1"/>
                        <a:pt x="823" y="1"/>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7433" name="Google Shape;7433;p104"/>
              <p:cNvGrpSpPr/>
              <p:nvPr/>
            </p:nvGrpSpPr>
            <p:grpSpPr>
              <a:xfrm>
                <a:off x="4739005" y="3554149"/>
                <a:ext cx="37870" cy="32357"/>
                <a:chOff x="4739005" y="3554149"/>
                <a:chExt cx="37870" cy="32357"/>
              </a:xfrm>
            </p:grpSpPr>
            <p:sp>
              <p:nvSpPr>
                <p:cNvPr id="7434" name="Google Shape;7434;p104"/>
                <p:cNvSpPr/>
                <p:nvPr/>
              </p:nvSpPr>
              <p:spPr>
                <a:xfrm>
                  <a:off x="4739005" y="3554149"/>
                  <a:ext cx="37870" cy="32357"/>
                </a:xfrm>
                <a:custGeom>
                  <a:avLst/>
                  <a:gdLst/>
                  <a:ahLst/>
                  <a:cxnLst/>
                  <a:rect l="l" t="t" r="r" b="b"/>
                  <a:pathLst>
                    <a:path w="4815" h="4114" extrusionOk="0">
                      <a:moveTo>
                        <a:pt x="2744" y="1"/>
                      </a:moveTo>
                      <a:cubicBezTo>
                        <a:pt x="2239" y="1"/>
                        <a:pt x="1725" y="188"/>
                        <a:pt x="1307" y="606"/>
                      </a:cubicBezTo>
                      <a:cubicBezTo>
                        <a:pt x="0" y="1900"/>
                        <a:pt x="920" y="4114"/>
                        <a:pt x="2758" y="4114"/>
                      </a:cubicBezTo>
                      <a:cubicBezTo>
                        <a:pt x="3895" y="4114"/>
                        <a:pt x="4815" y="3195"/>
                        <a:pt x="4815" y="2058"/>
                      </a:cubicBezTo>
                      <a:cubicBezTo>
                        <a:pt x="4815" y="821"/>
                        <a:pt x="3801" y="1"/>
                        <a:pt x="2744" y="1"/>
                      </a:cubicBez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435" name="Google Shape;7435;p104"/>
                <p:cNvSpPr/>
                <p:nvPr/>
              </p:nvSpPr>
              <p:spPr>
                <a:xfrm>
                  <a:off x="4751943" y="3563854"/>
                  <a:ext cx="15227" cy="13048"/>
                </a:xfrm>
                <a:custGeom>
                  <a:avLst/>
                  <a:gdLst/>
                  <a:ahLst/>
                  <a:cxnLst/>
                  <a:rect l="l" t="t" r="r" b="b"/>
                  <a:pathLst>
                    <a:path w="1936" h="1659" extrusionOk="0">
                      <a:moveTo>
                        <a:pt x="1113" y="1"/>
                      </a:moveTo>
                      <a:cubicBezTo>
                        <a:pt x="375" y="1"/>
                        <a:pt x="0" y="896"/>
                        <a:pt x="521" y="1416"/>
                      </a:cubicBezTo>
                      <a:cubicBezTo>
                        <a:pt x="692" y="1583"/>
                        <a:pt x="899" y="1658"/>
                        <a:pt x="1101" y="1658"/>
                      </a:cubicBezTo>
                      <a:cubicBezTo>
                        <a:pt x="1529" y="1658"/>
                        <a:pt x="1936" y="1324"/>
                        <a:pt x="1936" y="824"/>
                      </a:cubicBezTo>
                      <a:cubicBezTo>
                        <a:pt x="1936" y="364"/>
                        <a:pt x="1573" y="1"/>
                        <a:pt x="1113" y="1"/>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7436" name="Google Shape;7436;p104"/>
              <p:cNvGrpSpPr/>
              <p:nvPr/>
            </p:nvGrpSpPr>
            <p:grpSpPr>
              <a:xfrm>
                <a:off x="4806557" y="3630258"/>
                <a:ext cx="37776" cy="32364"/>
                <a:chOff x="4806557" y="3630258"/>
                <a:chExt cx="37776" cy="32364"/>
              </a:xfrm>
            </p:grpSpPr>
            <p:sp>
              <p:nvSpPr>
                <p:cNvPr id="7437" name="Google Shape;7437;p104"/>
                <p:cNvSpPr/>
                <p:nvPr/>
              </p:nvSpPr>
              <p:spPr>
                <a:xfrm>
                  <a:off x="4806557" y="3630258"/>
                  <a:ext cx="37776" cy="32364"/>
                </a:xfrm>
                <a:custGeom>
                  <a:avLst/>
                  <a:gdLst/>
                  <a:ahLst/>
                  <a:cxnLst/>
                  <a:rect l="l" t="t" r="r" b="b"/>
                  <a:pathLst>
                    <a:path w="4803" h="4115" extrusionOk="0">
                      <a:moveTo>
                        <a:pt x="2732" y="1"/>
                      </a:moveTo>
                      <a:cubicBezTo>
                        <a:pt x="2227" y="1"/>
                        <a:pt x="1713" y="188"/>
                        <a:pt x="1294" y="606"/>
                      </a:cubicBezTo>
                      <a:cubicBezTo>
                        <a:pt x="0" y="1901"/>
                        <a:pt x="907" y="4114"/>
                        <a:pt x="2746" y="4114"/>
                      </a:cubicBezTo>
                      <a:cubicBezTo>
                        <a:pt x="3883" y="4114"/>
                        <a:pt x="4802" y="3195"/>
                        <a:pt x="4802" y="2058"/>
                      </a:cubicBezTo>
                      <a:cubicBezTo>
                        <a:pt x="4802" y="822"/>
                        <a:pt x="3788" y="1"/>
                        <a:pt x="2732" y="1"/>
                      </a:cubicBez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438" name="Google Shape;7438;p104"/>
                <p:cNvSpPr/>
                <p:nvPr/>
              </p:nvSpPr>
              <p:spPr>
                <a:xfrm>
                  <a:off x="4819495" y="3639972"/>
                  <a:ext cx="15227" cy="13040"/>
                </a:xfrm>
                <a:custGeom>
                  <a:avLst/>
                  <a:gdLst/>
                  <a:ahLst/>
                  <a:cxnLst/>
                  <a:rect l="l" t="t" r="r" b="b"/>
                  <a:pathLst>
                    <a:path w="1936" h="1658" extrusionOk="0">
                      <a:moveTo>
                        <a:pt x="1113" y="0"/>
                      </a:moveTo>
                      <a:cubicBezTo>
                        <a:pt x="363" y="0"/>
                        <a:pt x="0" y="896"/>
                        <a:pt x="520" y="1416"/>
                      </a:cubicBezTo>
                      <a:cubicBezTo>
                        <a:pt x="687" y="1583"/>
                        <a:pt x="893" y="1657"/>
                        <a:pt x="1096" y="1657"/>
                      </a:cubicBezTo>
                      <a:cubicBezTo>
                        <a:pt x="1523" y="1657"/>
                        <a:pt x="1936" y="1324"/>
                        <a:pt x="1936" y="823"/>
                      </a:cubicBezTo>
                      <a:cubicBezTo>
                        <a:pt x="1936" y="363"/>
                        <a:pt x="1561" y="0"/>
                        <a:pt x="1113" y="0"/>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7439" name="Google Shape;7439;p104"/>
              <p:cNvGrpSpPr/>
              <p:nvPr/>
            </p:nvGrpSpPr>
            <p:grpSpPr>
              <a:xfrm>
                <a:off x="4737007" y="4004357"/>
                <a:ext cx="37870" cy="32357"/>
                <a:chOff x="4737007" y="4004357"/>
                <a:chExt cx="37870" cy="32357"/>
              </a:xfrm>
            </p:grpSpPr>
            <p:sp>
              <p:nvSpPr>
                <p:cNvPr id="7440" name="Google Shape;7440;p104"/>
                <p:cNvSpPr/>
                <p:nvPr/>
              </p:nvSpPr>
              <p:spPr>
                <a:xfrm>
                  <a:off x="4737007" y="4004357"/>
                  <a:ext cx="37870" cy="32357"/>
                </a:xfrm>
                <a:custGeom>
                  <a:avLst/>
                  <a:gdLst/>
                  <a:ahLst/>
                  <a:cxnLst/>
                  <a:rect l="l" t="t" r="r" b="b"/>
                  <a:pathLst>
                    <a:path w="4815" h="4114" extrusionOk="0">
                      <a:moveTo>
                        <a:pt x="2740" y="0"/>
                      </a:moveTo>
                      <a:cubicBezTo>
                        <a:pt x="2234" y="0"/>
                        <a:pt x="1717" y="187"/>
                        <a:pt x="1295" y="606"/>
                      </a:cubicBezTo>
                      <a:cubicBezTo>
                        <a:pt x="0" y="1900"/>
                        <a:pt x="920" y="4114"/>
                        <a:pt x="2758" y="4114"/>
                      </a:cubicBezTo>
                      <a:cubicBezTo>
                        <a:pt x="3895" y="4114"/>
                        <a:pt x="4803" y="3194"/>
                        <a:pt x="4815" y="2057"/>
                      </a:cubicBezTo>
                      <a:cubicBezTo>
                        <a:pt x="4815" y="821"/>
                        <a:pt x="3801" y="0"/>
                        <a:pt x="2740" y="0"/>
                      </a:cubicBez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441" name="Google Shape;7441;p104"/>
                <p:cNvSpPr/>
                <p:nvPr/>
              </p:nvSpPr>
              <p:spPr>
                <a:xfrm>
                  <a:off x="4752131" y="4014062"/>
                  <a:ext cx="13040" cy="13048"/>
                </a:xfrm>
                <a:custGeom>
                  <a:avLst/>
                  <a:gdLst/>
                  <a:ahLst/>
                  <a:cxnLst/>
                  <a:rect l="l" t="t" r="r" b="b"/>
                  <a:pathLst>
                    <a:path w="1658" h="1659" extrusionOk="0">
                      <a:moveTo>
                        <a:pt x="835" y="1"/>
                      </a:moveTo>
                      <a:cubicBezTo>
                        <a:pt x="376" y="1"/>
                        <a:pt x="1" y="364"/>
                        <a:pt x="1" y="823"/>
                      </a:cubicBezTo>
                      <a:cubicBezTo>
                        <a:pt x="1" y="1283"/>
                        <a:pt x="376" y="1658"/>
                        <a:pt x="835" y="1658"/>
                      </a:cubicBezTo>
                      <a:cubicBezTo>
                        <a:pt x="1295" y="1658"/>
                        <a:pt x="1658" y="1283"/>
                        <a:pt x="1658" y="823"/>
                      </a:cubicBezTo>
                      <a:cubicBezTo>
                        <a:pt x="1658" y="364"/>
                        <a:pt x="1295" y="1"/>
                        <a:pt x="835" y="1"/>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7442" name="Google Shape;7442;p104"/>
              <p:cNvGrpSpPr/>
              <p:nvPr/>
            </p:nvGrpSpPr>
            <p:grpSpPr>
              <a:xfrm>
                <a:off x="4773634" y="4208627"/>
                <a:ext cx="37776" cy="32357"/>
                <a:chOff x="4773634" y="4208627"/>
                <a:chExt cx="37776" cy="32357"/>
              </a:xfrm>
            </p:grpSpPr>
            <p:sp>
              <p:nvSpPr>
                <p:cNvPr id="7443" name="Google Shape;7443;p104"/>
                <p:cNvSpPr/>
                <p:nvPr/>
              </p:nvSpPr>
              <p:spPr>
                <a:xfrm>
                  <a:off x="4773634" y="4208627"/>
                  <a:ext cx="37776" cy="32357"/>
                </a:xfrm>
                <a:custGeom>
                  <a:avLst/>
                  <a:gdLst/>
                  <a:ahLst/>
                  <a:cxnLst/>
                  <a:rect l="l" t="t" r="r" b="b"/>
                  <a:pathLst>
                    <a:path w="4803" h="4114" extrusionOk="0">
                      <a:moveTo>
                        <a:pt x="2732" y="0"/>
                      </a:moveTo>
                      <a:cubicBezTo>
                        <a:pt x="2227" y="0"/>
                        <a:pt x="1713" y="187"/>
                        <a:pt x="1295" y="605"/>
                      </a:cubicBezTo>
                      <a:cubicBezTo>
                        <a:pt x="1" y="1900"/>
                        <a:pt x="920" y="4114"/>
                        <a:pt x="2746" y="4114"/>
                      </a:cubicBezTo>
                      <a:cubicBezTo>
                        <a:pt x="3884" y="4114"/>
                        <a:pt x="4803" y="3194"/>
                        <a:pt x="4803" y="2057"/>
                      </a:cubicBezTo>
                      <a:cubicBezTo>
                        <a:pt x="4803" y="821"/>
                        <a:pt x="3789" y="0"/>
                        <a:pt x="2732" y="0"/>
                      </a:cubicBez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444" name="Google Shape;7444;p104"/>
                <p:cNvSpPr/>
                <p:nvPr/>
              </p:nvSpPr>
              <p:spPr>
                <a:xfrm>
                  <a:off x="4788664" y="4218332"/>
                  <a:ext cx="13048" cy="13040"/>
                </a:xfrm>
                <a:custGeom>
                  <a:avLst/>
                  <a:gdLst/>
                  <a:ahLst/>
                  <a:cxnLst/>
                  <a:rect l="l" t="t" r="r" b="b"/>
                  <a:pathLst>
                    <a:path w="1659" h="1658" extrusionOk="0">
                      <a:moveTo>
                        <a:pt x="835" y="0"/>
                      </a:moveTo>
                      <a:cubicBezTo>
                        <a:pt x="376" y="0"/>
                        <a:pt x="1" y="363"/>
                        <a:pt x="1" y="823"/>
                      </a:cubicBezTo>
                      <a:cubicBezTo>
                        <a:pt x="1" y="1283"/>
                        <a:pt x="376" y="1658"/>
                        <a:pt x="835" y="1658"/>
                      </a:cubicBezTo>
                      <a:cubicBezTo>
                        <a:pt x="1295" y="1658"/>
                        <a:pt x="1658" y="1283"/>
                        <a:pt x="1658" y="823"/>
                      </a:cubicBezTo>
                      <a:cubicBezTo>
                        <a:pt x="1658" y="363"/>
                        <a:pt x="1295" y="0"/>
                        <a:pt x="835" y="0"/>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7445" name="Google Shape;7445;p104"/>
              <p:cNvGrpSpPr/>
              <p:nvPr/>
            </p:nvGrpSpPr>
            <p:grpSpPr>
              <a:xfrm>
                <a:off x="4888282" y="4074764"/>
                <a:ext cx="37776" cy="32451"/>
                <a:chOff x="4888282" y="4074764"/>
                <a:chExt cx="37776" cy="32451"/>
              </a:xfrm>
            </p:grpSpPr>
            <p:sp>
              <p:nvSpPr>
                <p:cNvPr id="7446" name="Google Shape;7446;p104"/>
                <p:cNvSpPr/>
                <p:nvPr/>
              </p:nvSpPr>
              <p:spPr>
                <a:xfrm>
                  <a:off x="4888282" y="4074764"/>
                  <a:ext cx="37776" cy="32451"/>
                </a:xfrm>
                <a:custGeom>
                  <a:avLst/>
                  <a:gdLst/>
                  <a:ahLst/>
                  <a:cxnLst/>
                  <a:rect l="l" t="t" r="r" b="b"/>
                  <a:pathLst>
                    <a:path w="4803" h="4126" extrusionOk="0">
                      <a:moveTo>
                        <a:pt x="2730" y="0"/>
                      </a:moveTo>
                      <a:cubicBezTo>
                        <a:pt x="2226" y="0"/>
                        <a:pt x="1712" y="187"/>
                        <a:pt x="1294" y="605"/>
                      </a:cubicBezTo>
                      <a:cubicBezTo>
                        <a:pt x="0" y="1912"/>
                        <a:pt x="919" y="4125"/>
                        <a:pt x="2746" y="4125"/>
                      </a:cubicBezTo>
                      <a:cubicBezTo>
                        <a:pt x="3883" y="4125"/>
                        <a:pt x="4803" y="3206"/>
                        <a:pt x="4803" y="2069"/>
                      </a:cubicBezTo>
                      <a:cubicBezTo>
                        <a:pt x="4803" y="824"/>
                        <a:pt x="3787" y="0"/>
                        <a:pt x="2730" y="0"/>
                      </a:cubicBez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447" name="Google Shape;7447;p104"/>
                <p:cNvSpPr/>
                <p:nvPr/>
              </p:nvSpPr>
              <p:spPr>
                <a:xfrm>
                  <a:off x="4901220" y="4084470"/>
                  <a:ext cx="15227" cy="13064"/>
                </a:xfrm>
                <a:custGeom>
                  <a:avLst/>
                  <a:gdLst/>
                  <a:ahLst/>
                  <a:cxnLst/>
                  <a:rect l="l" t="t" r="r" b="b"/>
                  <a:pathLst>
                    <a:path w="1936" h="1661" extrusionOk="0">
                      <a:moveTo>
                        <a:pt x="1101" y="0"/>
                      </a:moveTo>
                      <a:cubicBezTo>
                        <a:pt x="363" y="0"/>
                        <a:pt x="0" y="896"/>
                        <a:pt x="520" y="1416"/>
                      </a:cubicBezTo>
                      <a:cubicBezTo>
                        <a:pt x="689" y="1585"/>
                        <a:pt x="898" y="1660"/>
                        <a:pt x="1103" y="1660"/>
                      </a:cubicBezTo>
                      <a:cubicBezTo>
                        <a:pt x="1528" y="1660"/>
                        <a:pt x="1936" y="1333"/>
                        <a:pt x="1936" y="835"/>
                      </a:cubicBezTo>
                      <a:cubicBezTo>
                        <a:pt x="1936" y="375"/>
                        <a:pt x="1561" y="0"/>
                        <a:pt x="1101" y="0"/>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7448" name="Google Shape;7448;p104"/>
              <p:cNvGrpSpPr/>
              <p:nvPr/>
            </p:nvGrpSpPr>
            <p:grpSpPr>
              <a:xfrm>
                <a:off x="4901315" y="3804271"/>
                <a:ext cx="37776" cy="32364"/>
                <a:chOff x="4901315" y="3804271"/>
                <a:chExt cx="37776" cy="32364"/>
              </a:xfrm>
            </p:grpSpPr>
            <p:sp>
              <p:nvSpPr>
                <p:cNvPr id="7449" name="Google Shape;7449;p104"/>
                <p:cNvSpPr/>
                <p:nvPr/>
              </p:nvSpPr>
              <p:spPr>
                <a:xfrm>
                  <a:off x="4901315" y="3804271"/>
                  <a:ext cx="37776" cy="32364"/>
                </a:xfrm>
                <a:custGeom>
                  <a:avLst/>
                  <a:gdLst/>
                  <a:ahLst/>
                  <a:cxnLst/>
                  <a:rect l="l" t="t" r="r" b="b"/>
                  <a:pathLst>
                    <a:path w="4803" h="4115" extrusionOk="0">
                      <a:moveTo>
                        <a:pt x="2732" y="1"/>
                      </a:moveTo>
                      <a:cubicBezTo>
                        <a:pt x="2227" y="1"/>
                        <a:pt x="1713" y="188"/>
                        <a:pt x="1295" y="606"/>
                      </a:cubicBezTo>
                      <a:cubicBezTo>
                        <a:pt x="0" y="1901"/>
                        <a:pt x="920" y="4114"/>
                        <a:pt x="2746" y="4114"/>
                      </a:cubicBezTo>
                      <a:cubicBezTo>
                        <a:pt x="3883" y="4114"/>
                        <a:pt x="4803" y="3195"/>
                        <a:pt x="4803" y="2058"/>
                      </a:cubicBezTo>
                      <a:cubicBezTo>
                        <a:pt x="4803" y="822"/>
                        <a:pt x="3789" y="1"/>
                        <a:pt x="2732" y="1"/>
                      </a:cubicBez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450" name="Google Shape;7450;p104"/>
                <p:cNvSpPr/>
                <p:nvPr/>
              </p:nvSpPr>
              <p:spPr>
                <a:xfrm>
                  <a:off x="4914253" y="3813985"/>
                  <a:ext cx="15235" cy="13040"/>
                </a:xfrm>
                <a:custGeom>
                  <a:avLst/>
                  <a:gdLst/>
                  <a:ahLst/>
                  <a:cxnLst/>
                  <a:rect l="l" t="t" r="r" b="b"/>
                  <a:pathLst>
                    <a:path w="1937" h="1658" extrusionOk="0">
                      <a:moveTo>
                        <a:pt x="1101" y="0"/>
                      </a:moveTo>
                      <a:cubicBezTo>
                        <a:pt x="363" y="0"/>
                        <a:pt x="1" y="895"/>
                        <a:pt x="521" y="1416"/>
                      </a:cubicBezTo>
                      <a:cubicBezTo>
                        <a:pt x="688" y="1583"/>
                        <a:pt x="894" y="1657"/>
                        <a:pt x="1096" y="1657"/>
                      </a:cubicBezTo>
                      <a:cubicBezTo>
                        <a:pt x="1524" y="1657"/>
                        <a:pt x="1936" y="1324"/>
                        <a:pt x="1936" y="823"/>
                      </a:cubicBezTo>
                      <a:cubicBezTo>
                        <a:pt x="1936" y="363"/>
                        <a:pt x="1561" y="0"/>
                        <a:pt x="1101" y="0"/>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7451" name="Google Shape;7451;p104"/>
              <p:cNvGrpSpPr/>
              <p:nvPr/>
            </p:nvGrpSpPr>
            <p:grpSpPr>
              <a:xfrm>
                <a:off x="4866394" y="3715035"/>
                <a:ext cx="37846" cy="32357"/>
                <a:chOff x="4866394" y="3715035"/>
                <a:chExt cx="37846" cy="32357"/>
              </a:xfrm>
            </p:grpSpPr>
            <p:sp>
              <p:nvSpPr>
                <p:cNvPr id="7452" name="Google Shape;7452;p104"/>
                <p:cNvSpPr/>
                <p:nvPr/>
              </p:nvSpPr>
              <p:spPr>
                <a:xfrm>
                  <a:off x="4866394" y="3715035"/>
                  <a:ext cx="37846" cy="32357"/>
                </a:xfrm>
                <a:custGeom>
                  <a:avLst/>
                  <a:gdLst/>
                  <a:ahLst/>
                  <a:cxnLst/>
                  <a:rect l="l" t="t" r="r" b="b"/>
                  <a:pathLst>
                    <a:path w="4812" h="4114" extrusionOk="0">
                      <a:moveTo>
                        <a:pt x="2735" y="0"/>
                      </a:moveTo>
                      <a:cubicBezTo>
                        <a:pt x="2229" y="0"/>
                        <a:pt x="1714" y="187"/>
                        <a:pt x="1295" y="606"/>
                      </a:cubicBezTo>
                      <a:cubicBezTo>
                        <a:pt x="1" y="1900"/>
                        <a:pt x="920" y="4114"/>
                        <a:pt x="2747" y="4114"/>
                      </a:cubicBezTo>
                      <a:cubicBezTo>
                        <a:pt x="3884" y="4114"/>
                        <a:pt x="4803" y="3194"/>
                        <a:pt x="4803" y="2057"/>
                      </a:cubicBezTo>
                      <a:cubicBezTo>
                        <a:pt x="4811" y="821"/>
                        <a:pt x="3794" y="0"/>
                        <a:pt x="2735" y="0"/>
                      </a:cubicBez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453" name="Google Shape;7453;p104"/>
                <p:cNvSpPr/>
                <p:nvPr/>
              </p:nvSpPr>
              <p:spPr>
                <a:xfrm>
                  <a:off x="4879340" y="3724646"/>
                  <a:ext cx="15227" cy="13103"/>
                </a:xfrm>
                <a:custGeom>
                  <a:avLst/>
                  <a:gdLst/>
                  <a:ahLst/>
                  <a:cxnLst/>
                  <a:rect l="l" t="t" r="r" b="b"/>
                  <a:pathLst>
                    <a:path w="1936" h="1666" extrusionOk="0">
                      <a:moveTo>
                        <a:pt x="1101" y="0"/>
                      </a:moveTo>
                      <a:cubicBezTo>
                        <a:pt x="363" y="0"/>
                        <a:pt x="0" y="896"/>
                        <a:pt x="520" y="1416"/>
                      </a:cubicBezTo>
                      <a:cubicBezTo>
                        <a:pt x="689" y="1589"/>
                        <a:pt x="898" y="1666"/>
                        <a:pt x="1103" y="1666"/>
                      </a:cubicBezTo>
                      <a:cubicBezTo>
                        <a:pt x="1528" y="1666"/>
                        <a:pt x="1936" y="1333"/>
                        <a:pt x="1936" y="835"/>
                      </a:cubicBezTo>
                      <a:cubicBezTo>
                        <a:pt x="1936" y="375"/>
                        <a:pt x="1561" y="0"/>
                        <a:pt x="1101" y="0"/>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7454" name="Google Shape;7454;p104"/>
              <p:cNvGrpSpPr/>
              <p:nvPr/>
            </p:nvGrpSpPr>
            <p:grpSpPr>
              <a:xfrm>
                <a:off x="4979233" y="3839798"/>
                <a:ext cx="37878" cy="32420"/>
                <a:chOff x="4979233" y="3839798"/>
                <a:chExt cx="37878" cy="32420"/>
              </a:xfrm>
            </p:grpSpPr>
            <p:sp>
              <p:nvSpPr>
                <p:cNvPr id="7455" name="Google Shape;7455;p104"/>
                <p:cNvSpPr/>
                <p:nvPr/>
              </p:nvSpPr>
              <p:spPr>
                <a:xfrm>
                  <a:off x="4979233" y="3839798"/>
                  <a:ext cx="37878" cy="32420"/>
                </a:xfrm>
                <a:custGeom>
                  <a:avLst/>
                  <a:gdLst/>
                  <a:ahLst/>
                  <a:cxnLst/>
                  <a:rect l="l" t="t" r="r" b="b"/>
                  <a:pathLst>
                    <a:path w="4816" h="4122" extrusionOk="0">
                      <a:moveTo>
                        <a:pt x="2738" y="0"/>
                      </a:moveTo>
                      <a:cubicBezTo>
                        <a:pt x="2231" y="0"/>
                        <a:pt x="1715" y="190"/>
                        <a:pt x="1295" y="613"/>
                      </a:cubicBezTo>
                      <a:cubicBezTo>
                        <a:pt x="1" y="1908"/>
                        <a:pt x="920" y="4122"/>
                        <a:pt x="2759" y="4122"/>
                      </a:cubicBezTo>
                      <a:cubicBezTo>
                        <a:pt x="3884" y="4122"/>
                        <a:pt x="4803" y="3202"/>
                        <a:pt x="4815" y="2065"/>
                      </a:cubicBezTo>
                      <a:cubicBezTo>
                        <a:pt x="4807" y="823"/>
                        <a:pt x="3794" y="0"/>
                        <a:pt x="2738" y="0"/>
                      </a:cubicBez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456" name="Google Shape;7456;p104"/>
                <p:cNvSpPr/>
                <p:nvPr/>
              </p:nvSpPr>
              <p:spPr>
                <a:xfrm>
                  <a:off x="4994366" y="3849472"/>
                  <a:ext cx="13040" cy="13040"/>
                </a:xfrm>
                <a:custGeom>
                  <a:avLst/>
                  <a:gdLst/>
                  <a:ahLst/>
                  <a:cxnLst/>
                  <a:rect l="l" t="t" r="r" b="b"/>
                  <a:pathLst>
                    <a:path w="1658" h="1658" extrusionOk="0">
                      <a:moveTo>
                        <a:pt x="835" y="0"/>
                      </a:moveTo>
                      <a:cubicBezTo>
                        <a:pt x="375" y="0"/>
                        <a:pt x="0" y="375"/>
                        <a:pt x="0" y="835"/>
                      </a:cubicBezTo>
                      <a:cubicBezTo>
                        <a:pt x="0" y="1295"/>
                        <a:pt x="375" y="1658"/>
                        <a:pt x="835" y="1658"/>
                      </a:cubicBezTo>
                      <a:cubicBezTo>
                        <a:pt x="1282" y="1658"/>
                        <a:pt x="1657" y="1295"/>
                        <a:pt x="1657" y="835"/>
                      </a:cubicBezTo>
                      <a:cubicBezTo>
                        <a:pt x="1657" y="375"/>
                        <a:pt x="1282" y="0"/>
                        <a:pt x="835" y="0"/>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7457" name="Google Shape;7457;p104"/>
              <p:cNvGrpSpPr/>
              <p:nvPr/>
            </p:nvGrpSpPr>
            <p:grpSpPr>
              <a:xfrm>
                <a:off x="4790662" y="3679147"/>
                <a:ext cx="37783" cy="32380"/>
                <a:chOff x="4790662" y="3679147"/>
                <a:chExt cx="37783" cy="32380"/>
              </a:xfrm>
            </p:grpSpPr>
            <p:sp>
              <p:nvSpPr>
                <p:cNvPr id="7458" name="Google Shape;7458;p104"/>
                <p:cNvSpPr/>
                <p:nvPr/>
              </p:nvSpPr>
              <p:spPr>
                <a:xfrm>
                  <a:off x="4790662" y="3679147"/>
                  <a:ext cx="37783" cy="32380"/>
                </a:xfrm>
                <a:custGeom>
                  <a:avLst/>
                  <a:gdLst/>
                  <a:ahLst/>
                  <a:cxnLst/>
                  <a:rect l="l" t="t" r="r" b="b"/>
                  <a:pathLst>
                    <a:path w="4804" h="4117" extrusionOk="0">
                      <a:moveTo>
                        <a:pt x="2738" y="0"/>
                      </a:moveTo>
                      <a:cubicBezTo>
                        <a:pt x="2231" y="0"/>
                        <a:pt x="1715" y="188"/>
                        <a:pt x="1295" y="608"/>
                      </a:cubicBezTo>
                      <a:cubicBezTo>
                        <a:pt x="1" y="1902"/>
                        <a:pt x="908" y="4116"/>
                        <a:pt x="2747" y="4116"/>
                      </a:cubicBezTo>
                      <a:cubicBezTo>
                        <a:pt x="3884" y="4116"/>
                        <a:pt x="4803" y="3197"/>
                        <a:pt x="4803" y="2060"/>
                      </a:cubicBezTo>
                      <a:cubicBezTo>
                        <a:pt x="4803" y="817"/>
                        <a:pt x="3793" y="0"/>
                        <a:pt x="2738" y="0"/>
                      </a:cubicBez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459" name="Google Shape;7459;p104"/>
                <p:cNvSpPr/>
                <p:nvPr/>
              </p:nvSpPr>
              <p:spPr>
                <a:xfrm>
                  <a:off x="4803506" y="3688774"/>
                  <a:ext cx="15235" cy="13072"/>
                </a:xfrm>
                <a:custGeom>
                  <a:avLst/>
                  <a:gdLst/>
                  <a:ahLst/>
                  <a:cxnLst/>
                  <a:rect l="l" t="t" r="r" b="b"/>
                  <a:pathLst>
                    <a:path w="1937" h="1662" extrusionOk="0">
                      <a:moveTo>
                        <a:pt x="1114" y="1"/>
                      </a:moveTo>
                      <a:cubicBezTo>
                        <a:pt x="376" y="1"/>
                        <a:pt x="1" y="896"/>
                        <a:pt x="521" y="1416"/>
                      </a:cubicBezTo>
                      <a:cubicBezTo>
                        <a:pt x="694" y="1585"/>
                        <a:pt x="904" y="1661"/>
                        <a:pt x="1109" y="1661"/>
                      </a:cubicBezTo>
                      <a:cubicBezTo>
                        <a:pt x="1534" y="1661"/>
                        <a:pt x="1936" y="1334"/>
                        <a:pt x="1936" y="836"/>
                      </a:cubicBezTo>
                      <a:cubicBezTo>
                        <a:pt x="1936" y="376"/>
                        <a:pt x="1573" y="1"/>
                        <a:pt x="1114" y="1"/>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7460" name="Google Shape;7460;p104"/>
              <p:cNvGrpSpPr/>
              <p:nvPr/>
            </p:nvGrpSpPr>
            <p:grpSpPr>
              <a:xfrm>
                <a:off x="4857263" y="3557861"/>
                <a:ext cx="37776" cy="32357"/>
                <a:chOff x="4857263" y="3557861"/>
                <a:chExt cx="37776" cy="32357"/>
              </a:xfrm>
            </p:grpSpPr>
            <p:sp>
              <p:nvSpPr>
                <p:cNvPr id="7461" name="Google Shape;7461;p104"/>
                <p:cNvSpPr/>
                <p:nvPr/>
              </p:nvSpPr>
              <p:spPr>
                <a:xfrm>
                  <a:off x="4857263" y="3557861"/>
                  <a:ext cx="37776" cy="32357"/>
                </a:xfrm>
                <a:custGeom>
                  <a:avLst/>
                  <a:gdLst/>
                  <a:ahLst/>
                  <a:cxnLst/>
                  <a:rect l="l" t="t" r="r" b="b"/>
                  <a:pathLst>
                    <a:path w="4803" h="4114" extrusionOk="0">
                      <a:moveTo>
                        <a:pt x="2732" y="0"/>
                      </a:moveTo>
                      <a:cubicBezTo>
                        <a:pt x="2228" y="0"/>
                        <a:pt x="1713" y="187"/>
                        <a:pt x="1295" y="606"/>
                      </a:cubicBezTo>
                      <a:cubicBezTo>
                        <a:pt x="1" y="1900"/>
                        <a:pt x="908" y="4114"/>
                        <a:pt x="2747" y="4114"/>
                      </a:cubicBezTo>
                      <a:cubicBezTo>
                        <a:pt x="3884" y="4114"/>
                        <a:pt x="4803" y="3194"/>
                        <a:pt x="4803" y="2057"/>
                      </a:cubicBezTo>
                      <a:cubicBezTo>
                        <a:pt x="4803" y="821"/>
                        <a:pt x="3789" y="0"/>
                        <a:pt x="2732" y="0"/>
                      </a:cubicBez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462" name="Google Shape;7462;p104"/>
                <p:cNvSpPr/>
                <p:nvPr/>
              </p:nvSpPr>
              <p:spPr>
                <a:xfrm>
                  <a:off x="4870106" y="3567566"/>
                  <a:ext cx="15329" cy="13040"/>
                </a:xfrm>
                <a:custGeom>
                  <a:avLst/>
                  <a:gdLst/>
                  <a:ahLst/>
                  <a:cxnLst/>
                  <a:rect l="l" t="t" r="r" b="b"/>
                  <a:pathLst>
                    <a:path w="1949" h="1658" extrusionOk="0">
                      <a:moveTo>
                        <a:pt x="1114" y="1"/>
                      </a:moveTo>
                      <a:cubicBezTo>
                        <a:pt x="376" y="1"/>
                        <a:pt x="1" y="896"/>
                        <a:pt x="533" y="1416"/>
                      </a:cubicBezTo>
                      <a:cubicBezTo>
                        <a:pt x="700" y="1583"/>
                        <a:pt x="905" y="1658"/>
                        <a:pt x="1105" y="1658"/>
                      </a:cubicBezTo>
                      <a:cubicBezTo>
                        <a:pt x="1529" y="1658"/>
                        <a:pt x="1936" y="1324"/>
                        <a:pt x="1936" y="823"/>
                      </a:cubicBezTo>
                      <a:cubicBezTo>
                        <a:pt x="1948" y="364"/>
                        <a:pt x="1573" y="1"/>
                        <a:pt x="1114" y="1"/>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7463" name="Google Shape;7463;p104"/>
              <p:cNvGrpSpPr/>
              <p:nvPr/>
            </p:nvGrpSpPr>
            <p:grpSpPr>
              <a:xfrm>
                <a:off x="4883902" y="3648033"/>
                <a:ext cx="37783" cy="32380"/>
                <a:chOff x="4883902" y="3648033"/>
                <a:chExt cx="37783" cy="32380"/>
              </a:xfrm>
            </p:grpSpPr>
            <p:sp>
              <p:nvSpPr>
                <p:cNvPr id="7464" name="Google Shape;7464;p104"/>
                <p:cNvSpPr/>
                <p:nvPr/>
              </p:nvSpPr>
              <p:spPr>
                <a:xfrm>
                  <a:off x="4883902" y="3648033"/>
                  <a:ext cx="37783" cy="32380"/>
                </a:xfrm>
                <a:custGeom>
                  <a:avLst/>
                  <a:gdLst/>
                  <a:ahLst/>
                  <a:cxnLst/>
                  <a:rect l="l" t="t" r="r" b="b"/>
                  <a:pathLst>
                    <a:path w="4804" h="4117" extrusionOk="0">
                      <a:moveTo>
                        <a:pt x="2731" y="0"/>
                      </a:moveTo>
                      <a:cubicBezTo>
                        <a:pt x="2226" y="0"/>
                        <a:pt x="1711" y="188"/>
                        <a:pt x="1295" y="608"/>
                      </a:cubicBezTo>
                      <a:cubicBezTo>
                        <a:pt x="1" y="1903"/>
                        <a:pt x="920" y="4104"/>
                        <a:pt x="2747" y="4116"/>
                      </a:cubicBezTo>
                      <a:cubicBezTo>
                        <a:pt x="3884" y="4104"/>
                        <a:pt x="4803" y="3185"/>
                        <a:pt x="4803" y="2048"/>
                      </a:cubicBezTo>
                      <a:cubicBezTo>
                        <a:pt x="4795" y="814"/>
                        <a:pt x="3783" y="0"/>
                        <a:pt x="2731" y="0"/>
                      </a:cubicBez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465" name="Google Shape;7465;p104"/>
                <p:cNvSpPr/>
                <p:nvPr/>
              </p:nvSpPr>
              <p:spPr>
                <a:xfrm>
                  <a:off x="4896745" y="3657668"/>
                  <a:ext cx="15329" cy="13009"/>
                </a:xfrm>
                <a:custGeom>
                  <a:avLst/>
                  <a:gdLst/>
                  <a:ahLst/>
                  <a:cxnLst/>
                  <a:rect l="l" t="t" r="r" b="b"/>
                  <a:pathLst>
                    <a:path w="1949" h="1654" extrusionOk="0">
                      <a:moveTo>
                        <a:pt x="1114" y="0"/>
                      </a:moveTo>
                      <a:cubicBezTo>
                        <a:pt x="376" y="0"/>
                        <a:pt x="1" y="883"/>
                        <a:pt x="533" y="1404"/>
                      </a:cubicBezTo>
                      <a:cubicBezTo>
                        <a:pt x="702" y="1577"/>
                        <a:pt x="911" y="1654"/>
                        <a:pt x="1115" y="1654"/>
                      </a:cubicBezTo>
                      <a:cubicBezTo>
                        <a:pt x="1541" y="1654"/>
                        <a:pt x="1948" y="1321"/>
                        <a:pt x="1948" y="823"/>
                      </a:cubicBezTo>
                      <a:cubicBezTo>
                        <a:pt x="1948" y="363"/>
                        <a:pt x="1573" y="0"/>
                        <a:pt x="1114" y="0"/>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7466" name="Google Shape;7466;p104"/>
              <p:cNvGrpSpPr/>
              <p:nvPr/>
            </p:nvGrpSpPr>
            <p:grpSpPr>
              <a:xfrm>
                <a:off x="4907780" y="3347220"/>
                <a:ext cx="37878" cy="32357"/>
                <a:chOff x="4907780" y="3347220"/>
                <a:chExt cx="37878" cy="32357"/>
              </a:xfrm>
            </p:grpSpPr>
            <p:sp>
              <p:nvSpPr>
                <p:cNvPr id="7467" name="Google Shape;7467;p104"/>
                <p:cNvSpPr/>
                <p:nvPr/>
              </p:nvSpPr>
              <p:spPr>
                <a:xfrm>
                  <a:off x="4907780" y="3347220"/>
                  <a:ext cx="37878" cy="32357"/>
                </a:xfrm>
                <a:custGeom>
                  <a:avLst/>
                  <a:gdLst/>
                  <a:ahLst/>
                  <a:cxnLst/>
                  <a:rect l="l" t="t" r="r" b="b"/>
                  <a:pathLst>
                    <a:path w="4816" h="4114" extrusionOk="0">
                      <a:moveTo>
                        <a:pt x="2733" y="0"/>
                      </a:moveTo>
                      <a:cubicBezTo>
                        <a:pt x="2228" y="0"/>
                        <a:pt x="1714" y="187"/>
                        <a:pt x="1295" y="606"/>
                      </a:cubicBezTo>
                      <a:cubicBezTo>
                        <a:pt x="1" y="1900"/>
                        <a:pt x="920" y="4114"/>
                        <a:pt x="2759" y="4114"/>
                      </a:cubicBezTo>
                      <a:cubicBezTo>
                        <a:pt x="3884" y="4114"/>
                        <a:pt x="4803" y="3194"/>
                        <a:pt x="4815" y="2057"/>
                      </a:cubicBezTo>
                      <a:cubicBezTo>
                        <a:pt x="4807" y="821"/>
                        <a:pt x="3791" y="0"/>
                        <a:pt x="2733" y="0"/>
                      </a:cubicBez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468" name="Google Shape;7468;p104"/>
                <p:cNvSpPr/>
                <p:nvPr/>
              </p:nvSpPr>
              <p:spPr>
                <a:xfrm>
                  <a:off x="4922912" y="3356926"/>
                  <a:ext cx="13040" cy="13040"/>
                </a:xfrm>
                <a:custGeom>
                  <a:avLst/>
                  <a:gdLst/>
                  <a:ahLst/>
                  <a:cxnLst/>
                  <a:rect l="l" t="t" r="r" b="b"/>
                  <a:pathLst>
                    <a:path w="1658" h="1658" extrusionOk="0">
                      <a:moveTo>
                        <a:pt x="835" y="1"/>
                      </a:moveTo>
                      <a:cubicBezTo>
                        <a:pt x="375" y="1"/>
                        <a:pt x="0" y="363"/>
                        <a:pt x="0" y="823"/>
                      </a:cubicBezTo>
                      <a:cubicBezTo>
                        <a:pt x="0" y="1283"/>
                        <a:pt x="375" y="1658"/>
                        <a:pt x="835" y="1658"/>
                      </a:cubicBezTo>
                      <a:cubicBezTo>
                        <a:pt x="1283" y="1658"/>
                        <a:pt x="1658" y="1283"/>
                        <a:pt x="1658" y="823"/>
                      </a:cubicBezTo>
                      <a:cubicBezTo>
                        <a:pt x="1658" y="363"/>
                        <a:pt x="1283" y="1"/>
                        <a:pt x="835" y="1"/>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7469" name="Google Shape;7469;p104"/>
              <p:cNvGrpSpPr/>
              <p:nvPr/>
            </p:nvGrpSpPr>
            <p:grpSpPr>
              <a:xfrm>
                <a:off x="5065048" y="3738150"/>
                <a:ext cx="37783" cy="32364"/>
                <a:chOff x="5065048" y="3738150"/>
                <a:chExt cx="37783" cy="32364"/>
              </a:xfrm>
            </p:grpSpPr>
            <p:sp>
              <p:nvSpPr>
                <p:cNvPr id="7470" name="Google Shape;7470;p104"/>
                <p:cNvSpPr/>
                <p:nvPr/>
              </p:nvSpPr>
              <p:spPr>
                <a:xfrm>
                  <a:off x="5065048" y="3738150"/>
                  <a:ext cx="37783" cy="32364"/>
                </a:xfrm>
                <a:custGeom>
                  <a:avLst/>
                  <a:gdLst/>
                  <a:ahLst/>
                  <a:cxnLst/>
                  <a:rect l="l" t="t" r="r" b="b"/>
                  <a:pathLst>
                    <a:path w="4804" h="4115" extrusionOk="0">
                      <a:moveTo>
                        <a:pt x="2732" y="1"/>
                      </a:moveTo>
                      <a:cubicBezTo>
                        <a:pt x="2228" y="1"/>
                        <a:pt x="1714" y="188"/>
                        <a:pt x="1295" y="606"/>
                      </a:cubicBezTo>
                      <a:cubicBezTo>
                        <a:pt x="1" y="1900"/>
                        <a:pt x="920" y="4114"/>
                        <a:pt x="2747" y="4114"/>
                      </a:cubicBezTo>
                      <a:cubicBezTo>
                        <a:pt x="3884" y="4114"/>
                        <a:pt x="4803" y="3195"/>
                        <a:pt x="4803" y="2058"/>
                      </a:cubicBezTo>
                      <a:cubicBezTo>
                        <a:pt x="4803" y="821"/>
                        <a:pt x="3789" y="1"/>
                        <a:pt x="2732" y="1"/>
                      </a:cubicBez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471" name="Google Shape;7471;p104"/>
                <p:cNvSpPr/>
                <p:nvPr/>
              </p:nvSpPr>
              <p:spPr>
                <a:xfrm>
                  <a:off x="5077994" y="3747761"/>
                  <a:ext cx="15227" cy="13072"/>
                </a:xfrm>
                <a:custGeom>
                  <a:avLst/>
                  <a:gdLst/>
                  <a:ahLst/>
                  <a:cxnLst/>
                  <a:rect l="l" t="t" r="r" b="b"/>
                  <a:pathLst>
                    <a:path w="1936" h="1662" extrusionOk="0">
                      <a:moveTo>
                        <a:pt x="1101" y="1"/>
                      </a:moveTo>
                      <a:cubicBezTo>
                        <a:pt x="363" y="1"/>
                        <a:pt x="0" y="896"/>
                        <a:pt x="520" y="1416"/>
                      </a:cubicBezTo>
                      <a:cubicBezTo>
                        <a:pt x="689" y="1585"/>
                        <a:pt x="898" y="1661"/>
                        <a:pt x="1102" y="1661"/>
                      </a:cubicBezTo>
                      <a:cubicBezTo>
                        <a:pt x="1528" y="1661"/>
                        <a:pt x="1936" y="1334"/>
                        <a:pt x="1936" y="836"/>
                      </a:cubicBezTo>
                      <a:cubicBezTo>
                        <a:pt x="1936" y="376"/>
                        <a:pt x="1561" y="1"/>
                        <a:pt x="1101" y="1"/>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7472" name="Google Shape;7472;p104"/>
              <p:cNvGrpSpPr/>
              <p:nvPr/>
            </p:nvGrpSpPr>
            <p:grpSpPr>
              <a:xfrm>
                <a:off x="5071616" y="3284615"/>
                <a:ext cx="37783" cy="32357"/>
                <a:chOff x="5071616" y="3284615"/>
                <a:chExt cx="37783" cy="32357"/>
              </a:xfrm>
            </p:grpSpPr>
            <p:sp>
              <p:nvSpPr>
                <p:cNvPr id="7473" name="Google Shape;7473;p104"/>
                <p:cNvSpPr/>
                <p:nvPr/>
              </p:nvSpPr>
              <p:spPr>
                <a:xfrm>
                  <a:off x="5071616" y="3284615"/>
                  <a:ext cx="37783" cy="32357"/>
                </a:xfrm>
                <a:custGeom>
                  <a:avLst/>
                  <a:gdLst/>
                  <a:ahLst/>
                  <a:cxnLst/>
                  <a:rect l="l" t="t" r="r" b="b"/>
                  <a:pathLst>
                    <a:path w="4804" h="4114" extrusionOk="0">
                      <a:moveTo>
                        <a:pt x="2732" y="0"/>
                      </a:moveTo>
                      <a:cubicBezTo>
                        <a:pt x="2228" y="0"/>
                        <a:pt x="1713" y="188"/>
                        <a:pt x="1295" y="606"/>
                      </a:cubicBezTo>
                      <a:cubicBezTo>
                        <a:pt x="1" y="1900"/>
                        <a:pt x="908" y="4114"/>
                        <a:pt x="2747" y="4114"/>
                      </a:cubicBezTo>
                      <a:cubicBezTo>
                        <a:pt x="3872" y="4114"/>
                        <a:pt x="4791" y="3195"/>
                        <a:pt x="4803" y="2057"/>
                      </a:cubicBezTo>
                      <a:cubicBezTo>
                        <a:pt x="4803" y="821"/>
                        <a:pt x="3789" y="0"/>
                        <a:pt x="2732" y="0"/>
                      </a:cubicBez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474" name="Google Shape;7474;p104"/>
                <p:cNvSpPr/>
                <p:nvPr/>
              </p:nvSpPr>
              <p:spPr>
                <a:xfrm>
                  <a:off x="5086646" y="3294320"/>
                  <a:ext cx="13048" cy="13048"/>
                </a:xfrm>
                <a:custGeom>
                  <a:avLst/>
                  <a:gdLst/>
                  <a:ahLst/>
                  <a:cxnLst/>
                  <a:rect l="l" t="t" r="r" b="b"/>
                  <a:pathLst>
                    <a:path w="1659" h="1659" extrusionOk="0">
                      <a:moveTo>
                        <a:pt x="836" y="1"/>
                      </a:moveTo>
                      <a:cubicBezTo>
                        <a:pt x="376" y="1"/>
                        <a:pt x="1" y="364"/>
                        <a:pt x="1" y="823"/>
                      </a:cubicBezTo>
                      <a:cubicBezTo>
                        <a:pt x="1" y="1283"/>
                        <a:pt x="376" y="1658"/>
                        <a:pt x="836" y="1658"/>
                      </a:cubicBezTo>
                      <a:cubicBezTo>
                        <a:pt x="1283" y="1658"/>
                        <a:pt x="1658" y="1283"/>
                        <a:pt x="1658" y="823"/>
                      </a:cubicBezTo>
                      <a:cubicBezTo>
                        <a:pt x="1658" y="364"/>
                        <a:pt x="1283" y="1"/>
                        <a:pt x="836" y="1"/>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7475" name="Google Shape;7475;p104"/>
              <p:cNvGrpSpPr/>
              <p:nvPr/>
            </p:nvGrpSpPr>
            <p:grpSpPr>
              <a:xfrm>
                <a:off x="5389291" y="3759921"/>
                <a:ext cx="37783" cy="32380"/>
                <a:chOff x="5389291" y="3759921"/>
                <a:chExt cx="37783" cy="32380"/>
              </a:xfrm>
            </p:grpSpPr>
            <p:sp>
              <p:nvSpPr>
                <p:cNvPr id="7476" name="Google Shape;7476;p104"/>
                <p:cNvSpPr/>
                <p:nvPr/>
              </p:nvSpPr>
              <p:spPr>
                <a:xfrm>
                  <a:off x="5389291" y="3759921"/>
                  <a:ext cx="37783" cy="32380"/>
                </a:xfrm>
                <a:custGeom>
                  <a:avLst/>
                  <a:gdLst/>
                  <a:ahLst/>
                  <a:cxnLst/>
                  <a:rect l="l" t="t" r="r" b="b"/>
                  <a:pathLst>
                    <a:path w="4804" h="4117" extrusionOk="0">
                      <a:moveTo>
                        <a:pt x="2738" y="0"/>
                      </a:moveTo>
                      <a:cubicBezTo>
                        <a:pt x="2231" y="0"/>
                        <a:pt x="1715" y="188"/>
                        <a:pt x="1295" y="608"/>
                      </a:cubicBezTo>
                      <a:cubicBezTo>
                        <a:pt x="1" y="1903"/>
                        <a:pt x="920" y="4116"/>
                        <a:pt x="2747" y="4116"/>
                      </a:cubicBezTo>
                      <a:cubicBezTo>
                        <a:pt x="3884" y="4116"/>
                        <a:pt x="4803" y="3197"/>
                        <a:pt x="4803" y="2060"/>
                      </a:cubicBezTo>
                      <a:cubicBezTo>
                        <a:pt x="4803" y="817"/>
                        <a:pt x="3792" y="0"/>
                        <a:pt x="2738" y="0"/>
                      </a:cubicBez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477" name="Google Shape;7477;p104"/>
                <p:cNvSpPr/>
                <p:nvPr/>
              </p:nvSpPr>
              <p:spPr>
                <a:xfrm>
                  <a:off x="5402229" y="3769555"/>
                  <a:ext cx="15235" cy="13064"/>
                </a:xfrm>
                <a:custGeom>
                  <a:avLst/>
                  <a:gdLst/>
                  <a:ahLst/>
                  <a:cxnLst/>
                  <a:rect l="l" t="t" r="r" b="b"/>
                  <a:pathLst>
                    <a:path w="1937" h="1661" extrusionOk="0">
                      <a:moveTo>
                        <a:pt x="1114" y="0"/>
                      </a:moveTo>
                      <a:cubicBezTo>
                        <a:pt x="364" y="0"/>
                        <a:pt x="1" y="895"/>
                        <a:pt x="521" y="1415"/>
                      </a:cubicBezTo>
                      <a:cubicBezTo>
                        <a:pt x="690" y="1584"/>
                        <a:pt x="899" y="1660"/>
                        <a:pt x="1103" y="1660"/>
                      </a:cubicBezTo>
                      <a:cubicBezTo>
                        <a:pt x="1528" y="1660"/>
                        <a:pt x="1936" y="1333"/>
                        <a:pt x="1936" y="835"/>
                      </a:cubicBezTo>
                      <a:cubicBezTo>
                        <a:pt x="1936" y="375"/>
                        <a:pt x="1561" y="0"/>
                        <a:pt x="1114" y="0"/>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7478" name="Google Shape;7478;p104"/>
              <p:cNvGrpSpPr/>
              <p:nvPr/>
            </p:nvGrpSpPr>
            <p:grpSpPr>
              <a:xfrm>
                <a:off x="5431534" y="3632932"/>
                <a:ext cx="37878" cy="32451"/>
                <a:chOff x="5431534" y="3632932"/>
                <a:chExt cx="37878" cy="32451"/>
              </a:xfrm>
            </p:grpSpPr>
            <p:sp>
              <p:nvSpPr>
                <p:cNvPr id="7479" name="Google Shape;7479;p104"/>
                <p:cNvSpPr/>
                <p:nvPr/>
              </p:nvSpPr>
              <p:spPr>
                <a:xfrm>
                  <a:off x="5431534" y="3632932"/>
                  <a:ext cx="37878" cy="32451"/>
                </a:xfrm>
                <a:custGeom>
                  <a:avLst/>
                  <a:gdLst/>
                  <a:ahLst/>
                  <a:cxnLst/>
                  <a:rect l="l" t="t" r="r" b="b"/>
                  <a:pathLst>
                    <a:path w="4816" h="4126" extrusionOk="0">
                      <a:moveTo>
                        <a:pt x="2734" y="0"/>
                      </a:moveTo>
                      <a:cubicBezTo>
                        <a:pt x="2228" y="0"/>
                        <a:pt x="1713" y="187"/>
                        <a:pt x="1295" y="605"/>
                      </a:cubicBezTo>
                      <a:cubicBezTo>
                        <a:pt x="1" y="1899"/>
                        <a:pt x="920" y="4125"/>
                        <a:pt x="2759" y="4125"/>
                      </a:cubicBezTo>
                      <a:cubicBezTo>
                        <a:pt x="3896" y="4113"/>
                        <a:pt x="4815" y="3194"/>
                        <a:pt x="4815" y="2069"/>
                      </a:cubicBezTo>
                      <a:cubicBezTo>
                        <a:pt x="4815" y="824"/>
                        <a:pt x="3795" y="0"/>
                        <a:pt x="2734" y="0"/>
                      </a:cubicBez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480" name="Google Shape;7480;p104"/>
                <p:cNvSpPr/>
                <p:nvPr/>
              </p:nvSpPr>
              <p:spPr>
                <a:xfrm>
                  <a:off x="5444472" y="3642638"/>
                  <a:ext cx="15235" cy="13064"/>
                </a:xfrm>
                <a:custGeom>
                  <a:avLst/>
                  <a:gdLst/>
                  <a:ahLst/>
                  <a:cxnLst/>
                  <a:rect l="l" t="t" r="r" b="b"/>
                  <a:pathLst>
                    <a:path w="1937" h="1661" extrusionOk="0">
                      <a:moveTo>
                        <a:pt x="1114" y="0"/>
                      </a:moveTo>
                      <a:cubicBezTo>
                        <a:pt x="376" y="0"/>
                        <a:pt x="1" y="895"/>
                        <a:pt x="521" y="1415"/>
                      </a:cubicBezTo>
                      <a:cubicBezTo>
                        <a:pt x="690" y="1584"/>
                        <a:pt x="899" y="1660"/>
                        <a:pt x="1103" y="1660"/>
                      </a:cubicBezTo>
                      <a:cubicBezTo>
                        <a:pt x="1528" y="1660"/>
                        <a:pt x="1936" y="1333"/>
                        <a:pt x="1936" y="835"/>
                      </a:cubicBezTo>
                      <a:cubicBezTo>
                        <a:pt x="1936" y="375"/>
                        <a:pt x="1573" y="0"/>
                        <a:pt x="1114" y="0"/>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7481" name="Google Shape;7481;p104"/>
              <p:cNvGrpSpPr/>
              <p:nvPr/>
            </p:nvGrpSpPr>
            <p:grpSpPr>
              <a:xfrm>
                <a:off x="5540755" y="3544829"/>
                <a:ext cx="37783" cy="32357"/>
                <a:chOff x="5540755" y="3544829"/>
                <a:chExt cx="37783" cy="32357"/>
              </a:xfrm>
            </p:grpSpPr>
            <p:sp>
              <p:nvSpPr>
                <p:cNvPr id="7482" name="Google Shape;7482;p104"/>
                <p:cNvSpPr/>
                <p:nvPr/>
              </p:nvSpPr>
              <p:spPr>
                <a:xfrm>
                  <a:off x="5540755" y="3544829"/>
                  <a:ext cx="37783" cy="32357"/>
                </a:xfrm>
                <a:custGeom>
                  <a:avLst/>
                  <a:gdLst/>
                  <a:ahLst/>
                  <a:cxnLst/>
                  <a:rect l="l" t="t" r="r" b="b"/>
                  <a:pathLst>
                    <a:path w="4804" h="4114" extrusionOk="0">
                      <a:moveTo>
                        <a:pt x="2732" y="0"/>
                      </a:moveTo>
                      <a:cubicBezTo>
                        <a:pt x="2228" y="0"/>
                        <a:pt x="1713" y="187"/>
                        <a:pt x="1295" y="605"/>
                      </a:cubicBezTo>
                      <a:cubicBezTo>
                        <a:pt x="1" y="1900"/>
                        <a:pt x="920" y="4114"/>
                        <a:pt x="2747" y="4114"/>
                      </a:cubicBezTo>
                      <a:cubicBezTo>
                        <a:pt x="3884" y="4114"/>
                        <a:pt x="4803" y="3194"/>
                        <a:pt x="4803" y="2057"/>
                      </a:cubicBezTo>
                      <a:cubicBezTo>
                        <a:pt x="4803" y="821"/>
                        <a:pt x="3789" y="0"/>
                        <a:pt x="2732" y="0"/>
                      </a:cubicBez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483" name="Google Shape;7483;p104"/>
                <p:cNvSpPr/>
                <p:nvPr/>
              </p:nvSpPr>
              <p:spPr>
                <a:xfrm>
                  <a:off x="5553693" y="3554534"/>
                  <a:ext cx="15235" cy="13040"/>
                </a:xfrm>
                <a:custGeom>
                  <a:avLst/>
                  <a:gdLst/>
                  <a:ahLst/>
                  <a:cxnLst/>
                  <a:rect l="l" t="t" r="r" b="b"/>
                  <a:pathLst>
                    <a:path w="1937" h="1658" extrusionOk="0">
                      <a:moveTo>
                        <a:pt x="1102" y="0"/>
                      </a:moveTo>
                      <a:cubicBezTo>
                        <a:pt x="364" y="0"/>
                        <a:pt x="1" y="896"/>
                        <a:pt x="521" y="1416"/>
                      </a:cubicBezTo>
                      <a:cubicBezTo>
                        <a:pt x="688" y="1583"/>
                        <a:pt x="894" y="1658"/>
                        <a:pt x="1096" y="1658"/>
                      </a:cubicBezTo>
                      <a:cubicBezTo>
                        <a:pt x="1524" y="1658"/>
                        <a:pt x="1936" y="1324"/>
                        <a:pt x="1936" y="823"/>
                      </a:cubicBezTo>
                      <a:cubicBezTo>
                        <a:pt x="1936" y="363"/>
                        <a:pt x="1561" y="0"/>
                        <a:pt x="1102" y="0"/>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7484" name="Google Shape;7484;p104"/>
              <p:cNvGrpSpPr/>
              <p:nvPr/>
            </p:nvGrpSpPr>
            <p:grpSpPr>
              <a:xfrm>
                <a:off x="5579293" y="3412107"/>
                <a:ext cx="37776" cy="32357"/>
                <a:chOff x="5579293" y="3412107"/>
                <a:chExt cx="37776" cy="32357"/>
              </a:xfrm>
            </p:grpSpPr>
            <p:sp>
              <p:nvSpPr>
                <p:cNvPr id="7485" name="Google Shape;7485;p104"/>
                <p:cNvSpPr/>
                <p:nvPr/>
              </p:nvSpPr>
              <p:spPr>
                <a:xfrm>
                  <a:off x="5579293" y="3412107"/>
                  <a:ext cx="37776" cy="32357"/>
                </a:xfrm>
                <a:custGeom>
                  <a:avLst/>
                  <a:gdLst/>
                  <a:ahLst/>
                  <a:cxnLst/>
                  <a:rect l="l" t="t" r="r" b="b"/>
                  <a:pathLst>
                    <a:path w="4803" h="4114" extrusionOk="0">
                      <a:moveTo>
                        <a:pt x="2732" y="0"/>
                      </a:moveTo>
                      <a:cubicBezTo>
                        <a:pt x="2227" y="0"/>
                        <a:pt x="1713" y="187"/>
                        <a:pt x="1294" y="605"/>
                      </a:cubicBezTo>
                      <a:cubicBezTo>
                        <a:pt x="0" y="1900"/>
                        <a:pt x="919" y="4114"/>
                        <a:pt x="2746" y="4114"/>
                      </a:cubicBezTo>
                      <a:cubicBezTo>
                        <a:pt x="3883" y="4114"/>
                        <a:pt x="4802" y="3194"/>
                        <a:pt x="4802" y="2057"/>
                      </a:cubicBezTo>
                      <a:cubicBezTo>
                        <a:pt x="4802" y="821"/>
                        <a:pt x="3788" y="0"/>
                        <a:pt x="2732" y="0"/>
                      </a:cubicBez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486" name="Google Shape;7486;p104"/>
                <p:cNvSpPr/>
                <p:nvPr/>
              </p:nvSpPr>
              <p:spPr>
                <a:xfrm>
                  <a:off x="5594418" y="3421812"/>
                  <a:ext cx="13040" cy="13040"/>
                </a:xfrm>
                <a:custGeom>
                  <a:avLst/>
                  <a:gdLst/>
                  <a:ahLst/>
                  <a:cxnLst/>
                  <a:rect l="l" t="t" r="r" b="b"/>
                  <a:pathLst>
                    <a:path w="1658" h="1658" extrusionOk="0">
                      <a:moveTo>
                        <a:pt x="823" y="1"/>
                      </a:moveTo>
                      <a:cubicBezTo>
                        <a:pt x="375" y="1"/>
                        <a:pt x="0" y="363"/>
                        <a:pt x="0" y="823"/>
                      </a:cubicBezTo>
                      <a:cubicBezTo>
                        <a:pt x="0" y="1283"/>
                        <a:pt x="375" y="1658"/>
                        <a:pt x="823" y="1658"/>
                      </a:cubicBezTo>
                      <a:cubicBezTo>
                        <a:pt x="1283" y="1658"/>
                        <a:pt x="1658" y="1283"/>
                        <a:pt x="1658" y="823"/>
                      </a:cubicBezTo>
                      <a:cubicBezTo>
                        <a:pt x="1658" y="363"/>
                        <a:pt x="1283" y="1"/>
                        <a:pt x="823" y="1"/>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7487" name="Google Shape;7487;p104"/>
              <p:cNvGrpSpPr/>
              <p:nvPr/>
            </p:nvGrpSpPr>
            <p:grpSpPr>
              <a:xfrm>
                <a:off x="5801346" y="3284615"/>
                <a:ext cx="37783" cy="32357"/>
                <a:chOff x="5801346" y="3284615"/>
                <a:chExt cx="37783" cy="32357"/>
              </a:xfrm>
            </p:grpSpPr>
            <p:sp>
              <p:nvSpPr>
                <p:cNvPr id="7488" name="Google Shape;7488;p104"/>
                <p:cNvSpPr/>
                <p:nvPr/>
              </p:nvSpPr>
              <p:spPr>
                <a:xfrm>
                  <a:off x="5801346" y="3284615"/>
                  <a:ext cx="37783" cy="32357"/>
                </a:xfrm>
                <a:custGeom>
                  <a:avLst/>
                  <a:gdLst/>
                  <a:ahLst/>
                  <a:cxnLst/>
                  <a:rect l="l" t="t" r="r" b="b"/>
                  <a:pathLst>
                    <a:path w="4804" h="4114" extrusionOk="0">
                      <a:moveTo>
                        <a:pt x="2732" y="0"/>
                      </a:moveTo>
                      <a:cubicBezTo>
                        <a:pt x="2228" y="0"/>
                        <a:pt x="1714" y="188"/>
                        <a:pt x="1295" y="606"/>
                      </a:cubicBezTo>
                      <a:cubicBezTo>
                        <a:pt x="1" y="1900"/>
                        <a:pt x="920" y="4114"/>
                        <a:pt x="2759" y="4114"/>
                      </a:cubicBezTo>
                      <a:cubicBezTo>
                        <a:pt x="3884" y="4114"/>
                        <a:pt x="4803" y="3195"/>
                        <a:pt x="4803" y="2057"/>
                      </a:cubicBezTo>
                      <a:cubicBezTo>
                        <a:pt x="4803" y="821"/>
                        <a:pt x="3789" y="0"/>
                        <a:pt x="2732" y="0"/>
                      </a:cubicBez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489" name="Google Shape;7489;p104"/>
                <p:cNvSpPr/>
                <p:nvPr/>
              </p:nvSpPr>
              <p:spPr>
                <a:xfrm>
                  <a:off x="5816478" y="3294320"/>
                  <a:ext cx="13040" cy="13048"/>
                </a:xfrm>
                <a:custGeom>
                  <a:avLst/>
                  <a:gdLst/>
                  <a:ahLst/>
                  <a:cxnLst/>
                  <a:rect l="l" t="t" r="r" b="b"/>
                  <a:pathLst>
                    <a:path w="1658" h="1659" extrusionOk="0">
                      <a:moveTo>
                        <a:pt x="835" y="1"/>
                      </a:moveTo>
                      <a:cubicBezTo>
                        <a:pt x="375" y="1"/>
                        <a:pt x="0" y="364"/>
                        <a:pt x="0" y="823"/>
                      </a:cubicBezTo>
                      <a:cubicBezTo>
                        <a:pt x="0" y="1283"/>
                        <a:pt x="375" y="1658"/>
                        <a:pt x="835" y="1658"/>
                      </a:cubicBezTo>
                      <a:cubicBezTo>
                        <a:pt x="1283" y="1658"/>
                        <a:pt x="1658" y="1283"/>
                        <a:pt x="1658" y="823"/>
                      </a:cubicBezTo>
                      <a:cubicBezTo>
                        <a:pt x="1658" y="364"/>
                        <a:pt x="1283" y="1"/>
                        <a:pt x="835" y="1"/>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7490" name="Google Shape;7490;p104"/>
              <p:cNvGrpSpPr/>
              <p:nvPr/>
            </p:nvGrpSpPr>
            <p:grpSpPr>
              <a:xfrm>
                <a:off x="5763578" y="3399067"/>
                <a:ext cx="37776" cy="32364"/>
                <a:chOff x="5763578" y="3399067"/>
                <a:chExt cx="37776" cy="32364"/>
              </a:xfrm>
            </p:grpSpPr>
            <p:sp>
              <p:nvSpPr>
                <p:cNvPr id="7491" name="Google Shape;7491;p104"/>
                <p:cNvSpPr/>
                <p:nvPr/>
              </p:nvSpPr>
              <p:spPr>
                <a:xfrm>
                  <a:off x="5763578" y="3399067"/>
                  <a:ext cx="37776" cy="32364"/>
                </a:xfrm>
                <a:custGeom>
                  <a:avLst/>
                  <a:gdLst/>
                  <a:ahLst/>
                  <a:cxnLst/>
                  <a:rect l="l" t="t" r="r" b="b"/>
                  <a:pathLst>
                    <a:path w="4803" h="4115" extrusionOk="0">
                      <a:moveTo>
                        <a:pt x="2732" y="1"/>
                      </a:moveTo>
                      <a:cubicBezTo>
                        <a:pt x="2227" y="1"/>
                        <a:pt x="1713" y="188"/>
                        <a:pt x="1295" y="606"/>
                      </a:cubicBezTo>
                      <a:cubicBezTo>
                        <a:pt x="0" y="1901"/>
                        <a:pt x="920" y="4114"/>
                        <a:pt x="2746" y="4114"/>
                      </a:cubicBezTo>
                      <a:cubicBezTo>
                        <a:pt x="3884" y="4114"/>
                        <a:pt x="4803" y="3195"/>
                        <a:pt x="4803" y="2058"/>
                      </a:cubicBezTo>
                      <a:cubicBezTo>
                        <a:pt x="4803" y="822"/>
                        <a:pt x="3789" y="1"/>
                        <a:pt x="2732" y="1"/>
                      </a:cubicBez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492" name="Google Shape;7492;p104"/>
                <p:cNvSpPr/>
                <p:nvPr/>
              </p:nvSpPr>
              <p:spPr>
                <a:xfrm>
                  <a:off x="5776516" y="3408780"/>
                  <a:ext cx="15235" cy="13040"/>
                </a:xfrm>
                <a:custGeom>
                  <a:avLst/>
                  <a:gdLst/>
                  <a:ahLst/>
                  <a:cxnLst/>
                  <a:rect l="l" t="t" r="r" b="b"/>
                  <a:pathLst>
                    <a:path w="1937" h="1658" extrusionOk="0">
                      <a:moveTo>
                        <a:pt x="1101" y="0"/>
                      </a:moveTo>
                      <a:cubicBezTo>
                        <a:pt x="364" y="0"/>
                        <a:pt x="1" y="895"/>
                        <a:pt x="521" y="1416"/>
                      </a:cubicBezTo>
                      <a:cubicBezTo>
                        <a:pt x="688" y="1583"/>
                        <a:pt x="894" y="1657"/>
                        <a:pt x="1096" y="1657"/>
                      </a:cubicBezTo>
                      <a:cubicBezTo>
                        <a:pt x="1524" y="1657"/>
                        <a:pt x="1936" y="1324"/>
                        <a:pt x="1936" y="823"/>
                      </a:cubicBezTo>
                      <a:cubicBezTo>
                        <a:pt x="1936" y="363"/>
                        <a:pt x="1561" y="0"/>
                        <a:pt x="1101" y="0"/>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7493" name="Google Shape;7493;p104"/>
              <p:cNvGrpSpPr/>
              <p:nvPr/>
            </p:nvGrpSpPr>
            <p:grpSpPr>
              <a:xfrm>
                <a:off x="5395858" y="3230952"/>
                <a:ext cx="37776" cy="32364"/>
                <a:chOff x="5395858" y="3230952"/>
                <a:chExt cx="37776" cy="32364"/>
              </a:xfrm>
            </p:grpSpPr>
            <p:sp>
              <p:nvSpPr>
                <p:cNvPr id="7494" name="Google Shape;7494;p104"/>
                <p:cNvSpPr/>
                <p:nvPr/>
              </p:nvSpPr>
              <p:spPr>
                <a:xfrm>
                  <a:off x="5395858" y="3230952"/>
                  <a:ext cx="37776" cy="32364"/>
                </a:xfrm>
                <a:custGeom>
                  <a:avLst/>
                  <a:gdLst/>
                  <a:ahLst/>
                  <a:cxnLst/>
                  <a:rect l="l" t="t" r="r" b="b"/>
                  <a:pathLst>
                    <a:path w="4803" h="4115" extrusionOk="0">
                      <a:moveTo>
                        <a:pt x="2732" y="1"/>
                      </a:moveTo>
                      <a:cubicBezTo>
                        <a:pt x="2227" y="1"/>
                        <a:pt x="1713" y="188"/>
                        <a:pt x="1295" y="606"/>
                      </a:cubicBezTo>
                      <a:cubicBezTo>
                        <a:pt x="0" y="1901"/>
                        <a:pt x="920" y="4114"/>
                        <a:pt x="2746" y="4114"/>
                      </a:cubicBezTo>
                      <a:cubicBezTo>
                        <a:pt x="3883" y="4114"/>
                        <a:pt x="4803" y="3195"/>
                        <a:pt x="4803" y="2058"/>
                      </a:cubicBezTo>
                      <a:cubicBezTo>
                        <a:pt x="4803" y="822"/>
                        <a:pt x="3789" y="1"/>
                        <a:pt x="2732" y="1"/>
                      </a:cubicBez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495" name="Google Shape;7495;p104"/>
                <p:cNvSpPr/>
                <p:nvPr/>
              </p:nvSpPr>
              <p:spPr>
                <a:xfrm>
                  <a:off x="5408702" y="3240571"/>
                  <a:ext cx="15227" cy="13064"/>
                </a:xfrm>
                <a:custGeom>
                  <a:avLst/>
                  <a:gdLst/>
                  <a:ahLst/>
                  <a:cxnLst/>
                  <a:rect l="l" t="t" r="r" b="b"/>
                  <a:pathLst>
                    <a:path w="1936" h="1661" extrusionOk="0">
                      <a:moveTo>
                        <a:pt x="1113" y="0"/>
                      </a:moveTo>
                      <a:cubicBezTo>
                        <a:pt x="375" y="0"/>
                        <a:pt x="0" y="895"/>
                        <a:pt x="521" y="1416"/>
                      </a:cubicBezTo>
                      <a:cubicBezTo>
                        <a:pt x="690" y="1585"/>
                        <a:pt x="898" y="1660"/>
                        <a:pt x="1103" y="1660"/>
                      </a:cubicBezTo>
                      <a:cubicBezTo>
                        <a:pt x="1528" y="1660"/>
                        <a:pt x="1936" y="1333"/>
                        <a:pt x="1936" y="835"/>
                      </a:cubicBezTo>
                      <a:cubicBezTo>
                        <a:pt x="1936" y="375"/>
                        <a:pt x="1561" y="0"/>
                        <a:pt x="1113" y="0"/>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7496" name="Google Shape;7496;p104"/>
              <p:cNvGrpSpPr/>
              <p:nvPr/>
            </p:nvGrpSpPr>
            <p:grpSpPr>
              <a:xfrm>
                <a:off x="5264088" y="3188237"/>
                <a:ext cx="37776" cy="32357"/>
                <a:chOff x="5264088" y="3188237"/>
                <a:chExt cx="37776" cy="32357"/>
              </a:xfrm>
            </p:grpSpPr>
            <p:sp>
              <p:nvSpPr>
                <p:cNvPr id="7497" name="Google Shape;7497;p104"/>
                <p:cNvSpPr/>
                <p:nvPr/>
              </p:nvSpPr>
              <p:spPr>
                <a:xfrm>
                  <a:off x="5264088" y="3188237"/>
                  <a:ext cx="37776" cy="32357"/>
                </a:xfrm>
                <a:custGeom>
                  <a:avLst/>
                  <a:gdLst/>
                  <a:ahLst/>
                  <a:cxnLst/>
                  <a:rect l="l" t="t" r="r" b="b"/>
                  <a:pathLst>
                    <a:path w="4803" h="4114" extrusionOk="0">
                      <a:moveTo>
                        <a:pt x="2732" y="0"/>
                      </a:moveTo>
                      <a:cubicBezTo>
                        <a:pt x="2227" y="0"/>
                        <a:pt x="1713" y="188"/>
                        <a:pt x="1295" y="606"/>
                      </a:cubicBezTo>
                      <a:cubicBezTo>
                        <a:pt x="0" y="1900"/>
                        <a:pt x="920" y="4114"/>
                        <a:pt x="2746" y="4114"/>
                      </a:cubicBezTo>
                      <a:cubicBezTo>
                        <a:pt x="3883" y="4114"/>
                        <a:pt x="4803" y="3195"/>
                        <a:pt x="4803" y="2057"/>
                      </a:cubicBezTo>
                      <a:cubicBezTo>
                        <a:pt x="4803" y="821"/>
                        <a:pt x="3789" y="0"/>
                        <a:pt x="2732" y="0"/>
                      </a:cubicBez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498" name="Google Shape;7498;p104"/>
                <p:cNvSpPr/>
                <p:nvPr/>
              </p:nvSpPr>
              <p:spPr>
                <a:xfrm>
                  <a:off x="5279212" y="3197943"/>
                  <a:ext cx="13048" cy="13048"/>
                </a:xfrm>
                <a:custGeom>
                  <a:avLst/>
                  <a:gdLst/>
                  <a:ahLst/>
                  <a:cxnLst/>
                  <a:rect l="l" t="t" r="r" b="b"/>
                  <a:pathLst>
                    <a:path w="1659" h="1659" extrusionOk="0">
                      <a:moveTo>
                        <a:pt x="823" y="1"/>
                      </a:moveTo>
                      <a:cubicBezTo>
                        <a:pt x="364" y="1"/>
                        <a:pt x="1" y="376"/>
                        <a:pt x="1" y="823"/>
                      </a:cubicBezTo>
                      <a:cubicBezTo>
                        <a:pt x="1" y="1283"/>
                        <a:pt x="364" y="1658"/>
                        <a:pt x="823" y="1658"/>
                      </a:cubicBezTo>
                      <a:cubicBezTo>
                        <a:pt x="1283" y="1658"/>
                        <a:pt x="1658" y="1283"/>
                        <a:pt x="1658" y="823"/>
                      </a:cubicBezTo>
                      <a:cubicBezTo>
                        <a:pt x="1658" y="376"/>
                        <a:pt x="1283" y="1"/>
                        <a:pt x="823" y="1"/>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7499" name="Google Shape;7499;p104"/>
              <p:cNvGrpSpPr/>
              <p:nvPr/>
            </p:nvGrpSpPr>
            <p:grpSpPr>
              <a:xfrm>
                <a:off x="5585758" y="3237425"/>
                <a:ext cx="37878" cy="32357"/>
                <a:chOff x="5585758" y="3237425"/>
                <a:chExt cx="37878" cy="32357"/>
              </a:xfrm>
            </p:grpSpPr>
            <p:sp>
              <p:nvSpPr>
                <p:cNvPr id="7500" name="Google Shape;7500;p104"/>
                <p:cNvSpPr/>
                <p:nvPr/>
              </p:nvSpPr>
              <p:spPr>
                <a:xfrm>
                  <a:off x="5585758" y="3237425"/>
                  <a:ext cx="37878" cy="32357"/>
                </a:xfrm>
                <a:custGeom>
                  <a:avLst/>
                  <a:gdLst/>
                  <a:ahLst/>
                  <a:cxnLst/>
                  <a:rect l="l" t="t" r="r" b="b"/>
                  <a:pathLst>
                    <a:path w="4816" h="4114" extrusionOk="0">
                      <a:moveTo>
                        <a:pt x="2744" y="0"/>
                      </a:moveTo>
                      <a:cubicBezTo>
                        <a:pt x="2240" y="0"/>
                        <a:pt x="1725" y="188"/>
                        <a:pt x="1307" y="606"/>
                      </a:cubicBezTo>
                      <a:cubicBezTo>
                        <a:pt x="1" y="1900"/>
                        <a:pt x="920" y="4114"/>
                        <a:pt x="2759" y="4114"/>
                      </a:cubicBezTo>
                      <a:cubicBezTo>
                        <a:pt x="3896" y="4114"/>
                        <a:pt x="4815" y="3195"/>
                        <a:pt x="4815" y="2057"/>
                      </a:cubicBezTo>
                      <a:cubicBezTo>
                        <a:pt x="4815" y="821"/>
                        <a:pt x="3801" y="0"/>
                        <a:pt x="2744" y="0"/>
                      </a:cubicBez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501" name="Google Shape;7501;p104"/>
                <p:cNvSpPr/>
                <p:nvPr/>
              </p:nvSpPr>
              <p:spPr>
                <a:xfrm>
                  <a:off x="5598696" y="3247130"/>
                  <a:ext cx="15235" cy="13048"/>
                </a:xfrm>
                <a:custGeom>
                  <a:avLst/>
                  <a:gdLst/>
                  <a:ahLst/>
                  <a:cxnLst/>
                  <a:rect l="l" t="t" r="r" b="b"/>
                  <a:pathLst>
                    <a:path w="1937" h="1659" extrusionOk="0">
                      <a:moveTo>
                        <a:pt x="1114" y="1"/>
                      </a:moveTo>
                      <a:cubicBezTo>
                        <a:pt x="376" y="1"/>
                        <a:pt x="1" y="896"/>
                        <a:pt x="521" y="1416"/>
                      </a:cubicBezTo>
                      <a:cubicBezTo>
                        <a:pt x="692" y="1583"/>
                        <a:pt x="899" y="1658"/>
                        <a:pt x="1102" y="1658"/>
                      </a:cubicBezTo>
                      <a:cubicBezTo>
                        <a:pt x="1529" y="1658"/>
                        <a:pt x="1936" y="1324"/>
                        <a:pt x="1936" y="823"/>
                      </a:cubicBezTo>
                      <a:cubicBezTo>
                        <a:pt x="1936" y="376"/>
                        <a:pt x="1573" y="1"/>
                        <a:pt x="1114" y="1"/>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7502" name="Google Shape;7502;p104"/>
              <p:cNvGrpSpPr/>
              <p:nvPr/>
            </p:nvGrpSpPr>
            <p:grpSpPr>
              <a:xfrm>
                <a:off x="4874196" y="3291088"/>
                <a:ext cx="37878" cy="32451"/>
                <a:chOff x="4874196" y="3291088"/>
                <a:chExt cx="37878" cy="32451"/>
              </a:xfrm>
            </p:grpSpPr>
            <p:sp>
              <p:nvSpPr>
                <p:cNvPr id="7503" name="Google Shape;7503;p104"/>
                <p:cNvSpPr/>
                <p:nvPr/>
              </p:nvSpPr>
              <p:spPr>
                <a:xfrm>
                  <a:off x="4874196" y="3291088"/>
                  <a:ext cx="37878" cy="32451"/>
                </a:xfrm>
                <a:custGeom>
                  <a:avLst/>
                  <a:gdLst/>
                  <a:ahLst/>
                  <a:cxnLst/>
                  <a:rect l="l" t="t" r="r" b="b"/>
                  <a:pathLst>
                    <a:path w="4816" h="4126" extrusionOk="0">
                      <a:moveTo>
                        <a:pt x="2739" y="0"/>
                      </a:moveTo>
                      <a:cubicBezTo>
                        <a:pt x="2233" y="0"/>
                        <a:pt x="1717" y="188"/>
                        <a:pt x="1295" y="605"/>
                      </a:cubicBezTo>
                      <a:cubicBezTo>
                        <a:pt x="1" y="1900"/>
                        <a:pt x="920" y="4126"/>
                        <a:pt x="2759" y="4126"/>
                      </a:cubicBezTo>
                      <a:cubicBezTo>
                        <a:pt x="3884" y="4113"/>
                        <a:pt x="4803" y="3206"/>
                        <a:pt x="4815" y="2069"/>
                      </a:cubicBezTo>
                      <a:cubicBezTo>
                        <a:pt x="4815" y="824"/>
                        <a:pt x="3800" y="0"/>
                        <a:pt x="2739" y="0"/>
                      </a:cubicBez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504" name="Google Shape;7504;p104"/>
                <p:cNvSpPr/>
                <p:nvPr/>
              </p:nvSpPr>
              <p:spPr>
                <a:xfrm>
                  <a:off x="4889328" y="3300793"/>
                  <a:ext cx="13040" cy="13040"/>
                </a:xfrm>
                <a:custGeom>
                  <a:avLst/>
                  <a:gdLst/>
                  <a:ahLst/>
                  <a:cxnLst/>
                  <a:rect l="l" t="t" r="r" b="b"/>
                  <a:pathLst>
                    <a:path w="1658" h="1658" extrusionOk="0">
                      <a:moveTo>
                        <a:pt x="835" y="0"/>
                      </a:moveTo>
                      <a:cubicBezTo>
                        <a:pt x="375" y="0"/>
                        <a:pt x="0" y="375"/>
                        <a:pt x="0" y="835"/>
                      </a:cubicBezTo>
                      <a:cubicBezTo>
                        <a:pt x="0" y="1283"/>
                        <a:pt x="375" y="1658"/>
                        <a:pt x="835" y="1658"/>
                      </a:cubicBezTo>
                      <a:cubicBezTo>
                        <a:pt x="1295" y="1658"/>
                        <a:pt x="1657" y="1283"/>
                        <a:pt x="1657" y="835"/>
                      </a:cubicBezTo>
                      <a:cubicBezTo>
                        <a:pt x="1657" y="375"/>
                        <a:pt x="1295" y="0"/>
                        <a:pt x="835" y="0"/>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7505" name="Google Shape;7505;p104"/>
              <p:cNvGrpSpPr/>
              <p:nvPr/>
            </p:nvGrpSpPr>
            <p:grpSpPr>
              <a:xfrm>
                <a:off x="5197770" y="3785466"/>
                <a:ext cx="37783" cy="32427"/>
                <a:chOff x="5197770" y="3785466"/>
                <a:chExt cx="37783" cy="32427"/>
              </a:xfrm>
            </p:grpSpPr>
            <p:sp>
              <p:nvSpPr>
                <p:cNvPr id="7506" name="Google Shape;7506;p104"/>
                <p:cNvSpPr/>
                <p:nvPr/>
              </p:nvSpPr>
              <p:spPr>
                <a:xfrm>
                  <a:off x="5197770" y="3785466"/>
                  <a:ext cx="37783" cy="32427"/>
                </a:xfrm>
                <a:custGeom>
                  <a:avLst/>
                  <a:gdLst/>
                  <a:ahLst/>
                  <a:cxnLst/>
                  <a:rect l="l" t="t" r="r" b="b"/>
                  <a:pathLst>
                    <a:path w="4804" h="4123" extrusionOk="0">
                      <a:moveTo>
                        <a:pt x="2738" y="1"/>
                      </a:moveTo>
                      <a:cubicBezTo>
                        <a:pt x="2232" y="1"/>
                        <a:pt x="1715" y="190"/>
                        <a:pt x="1295" y="614"/>
                      </a:cubicBezTo>
                      <a:cubicBezTo>
                        <a:pt x="1" y="1909"/>
                        <a:pt x="908" y="4122"/>
                        <a:pt x="2747" y="4122"/>
                      </a:cubicBezTo>
                      <a:cubicBezTo>
                        <a:pt x="3884" y="4122"/>
                        <a:pt x="4803" y="3203"/>
                        <a:pt x="4803" y="2066"/>
                      </a:cubicBezTo>
                      <a:cubicBezTo>
                        <a:pt x="4803" y="824"/>
                        <a:pt x="3793" y="1"/>
                        <a:pt x="2738" y="1"/>
                      </a:cubicBez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507" name="Google Shape;7507;p104"/>
                <p:cNvSpPr/>
                <p:nvPr/>
              </p:nvSpPr>
              <p:spPr>
                <a:xfrm>
                  <a:off x="5212808" y="3795148"/>
                  <a:ext cx="13040" cy="13040"/>
                </a:xfrm>
                <a:custGeom>
                  <a:avLst/>
                  <a:gdLst/>
                  <a:ahLst/>
                  <a:cxnLst/>
                  <a:rect l="l" t="t" r="r" b="b"/>
                  <a:pathLst>
                    <a:path w="1658" h="1658" extrusionOk="0">
                      <a:moveTo>
                        <a:pt x="835" y="0"/>
                      </a:moveTo>
                      <a:cubicBezTo>
                        <a:pt x="375" y="0"/>
                        <a:pt x="0" y="375"/>
                        <a:pt x="0" y="835"/>
                      </a:cubicBezTo>
                      <a:cubicBezTo>
                        <a:pt x="0" y="1294"/>
                        <a:pt x="375" y="1657"/>
                        <a:pt x="835" y="1657"/>
                      </a:cubicBezTo>
                      <a:cubicBezTo>
                        <a:pt x="1295" y="1657"/>
                        <a:pt x="1657" y="1294"/>
                        <a:pt x="1657" y="835"/>
                      </a:cubicBezTo>
                      <a:cubicBezTo>
                        <a:pt x="1657" y="375"/>
                        <a:pt x="1295" y="0"/>
                        <a:pt x="835" y="0"/>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7508" name="Google Shape;7508;p104"/>
              <p:cNvGrpSpPr/>
              <p:nvPr/>
            </p:nvGrpSpPr>
            <p:grpSpPr>
              <a:xfrm>
                <a:off x="5177699" y="3492117"/>
                <a:ext cx="37776" cy="32357"/>
                <a:chOff x="5177699" y="3492117"/>
                <a:chExt cx="37776" cy="32357"/>
              </a:xfrm>
            </p:grpSpPr>
            <p:sp>
              <p:nvSpPr>
                <p:cNvPr id="7509" name="Google Shape;7509;p104"/>
                <p:cNvSpPr/>
                <p:nvPr/>
              </p:nvSpPr>
              <p:spPr>
                <a:xfrm>
                  <a:off x="5177699" y="3492117"/>
                  <a:ext cx="37776" cy="32357"/>
                </a:xfrm>
                <a:custGeom>
                  <a:avLst/>
                  <a:gdLst/>
                  <a:ahLst/>
                  <a:cxnLst/>
                  <a:rect l="l" t="t" r="r" b="b"/>
                  <a:pathLst>
                    <a:path w="4803" h="4114" extrusionOk="0">
                      <a:moveTo>
                        <a:pt x="2736" y="1"/>
                      </a:moveTo>
                      <a:cubicBezTo>
                        <a:pt x="2232" y="1"/>
                        <a:pt x="1717" y="188"/>
                        <a:pt x="1295" y="606"/>
                      </a:cubicBezTo>
                      <a:cubicBezTo>
                        <a:pt x="1" y="1900"/>
                        <a:pt x="920" y="4114"/>
                        <a:pt x="2746" y="4114"/>
                      </a:cubicBezTo>
                      <a:cubicBezTo>
                        <a:pt x="3884" y="4114"/>
                        <a:pt x="4803" y="3195"/>
                        <a:pt x="4803" y="2070"/>
                      </a:cubicBezTo>
                      <a:cubicBezTo>
                        <a:pt x="4803" y="824"/>
                        <a:pt x="3793" y="1"/>
                        <a:pt x="2736" y="1"/>
                      </a:cubicBez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510" name="Google Shape;7510;p104"/>
                <p:cNvSpPr/>
                <p:nvPr/>
              </p:nvSpPr>
              <p:spPr>
                <a:xfrm>
                  <a:off x="5192823" y="3501823"/>
                  <a:ext cx="13048" cy="13048"/>
                </a:xfrm>
                <a:custGeom>
                  <a:avLst/>
                  <a:gdLst/>
                  <a:ahLst/>
                  <a:cxnLst/>
                  <a:rect l="l" t="t" r="r" b="b"/>
                  <a:pathLst>
                    <a:path w="1659" h="1659" extrusionOk="0">
                      <a:moveTo>
                        <a:pt x="823" y="1"/>
                      </a:moveTo>
                      <a:cubicBezTo>
                        <a:pt x="376" y="1"/>
                        <a:pt x="1" y="364"/>
                        <a:pt x="1" y="823"/>
                      </a:cubicBezTo>
                      <a:cubicBezTo>
                        <a:pt x="1" y="1283"/>
                        <a:pt x="376" y="1658"/>
                        <a:pt x="823" y="1658"/>
                      </a:cubicBezTo>
                      <a:cubicBezTo>
                        <a:pt x="1283" y="1658"/>
                        <a:pt x="1658" y="1283"/>
                        <a:pt x="1658" y="823"/>
                      </a:cubicBezTo>
                      <a:cubicBezTo>
                        <a:pt x="1658" y="364"/>
                        <a:pt x="1283" y="1"/>
                        <a:pt x="823" y="1"/>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7511" name="Google Shape;7511;p104"/>
              <p:cNvGrpSpPr/>
              <p:nvPr/>
            </p:nvGrpSpPr>
            <p:grpSpPr>
              <a:xfrm>
                <a:off x="5349431" y="3622346"/>
                <a:ext cx="37870" cy="32380"/>
                <a:chOff x="5349431" y="3622346"/>
                <a:chExt cx="37870" cy="32380"/>
              </a:xfrm>
            </p:grpSpPr>
            <p:sp>
              <p:nvSpPr>
                <p:cNvPr id="7512" name="Google Shape;7512;p104"/>
                <p:cNvSpPr/>
                <p:nvPr/>
              </p:nvSpPr>
              <p:spPr>
                <a:xfrm>
                  <a:off x="5349431" y="3622346"/>
                  <a:ext cx="37870" cy="32380"/>
                </a:xfrm>
                <a:custGeom>
                  <a:avLst/>
                  <a:gdLst/>
                  <a:ahLst/>
                  <a:cxnLst/>
                  <a:rect l="l" t="t" r="r" b="b"/>
                  <a:pathLst>
                    <a:path w="4815" h="4117" extrusionOk="0">
                      <a:moveTo>
                        <a:pt x="2740" y="0"/>
                      </a:moveTo>
                      <a:cubicBezTo>
                        <a:pt x="2232" y="0"/>
                        <a:pt x="1714" y="189"/>
                        <a:pt x="1295" y="608"/>
                      </a:cubicBezTo>
                      <a:cubicBezTo>
                        <a:pt x="0" y="1903"/>
                        <a:pt x="920" y="4116"/>
                        <a:pt x="2758" y="4116"/>
                      </a:cubicBezTo>
                      <a:cubicBezTo>
                        <a:pt x="3883" y="4116"/>
                        <a:pt x="4815" y="3197"/>
                        <a:pt x="4815" y="2060"/>
                      </a:cubicBezTo>
                      <a:cubicBezTo>
                        <a:pt x="4815" y="817"/>
                        <a:pt x="3798" y="0"/>
                        <a:pt x="2740" y="0"/>
                      </a:cubicBez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513" name="Google Shape;7513;p104"/>
                <p:cNvSpPr/>
                <p:nvPr/>
              </p:nvSpPr>
              <p:spPr>
                <a:xfrm>
                  <a:off x="5362369" y="3632075"/>
                  <a:ext cx="15227" cy="13040"/>
                </a:xfrm>
                <a:custGeom>
                  <a:avLst/>
                  <a:gdLst/>
                  <a:ahLst/>
                  <a:cxnLst/>
                  <a:rect l="l" t="t" r="r" b="b"/>
                  <a:pathLst>
                    <a:path w="1936" h="1658" extrusionOk="0">
                      <a:moveTo>
                        <a:pt x="1134" y="0"/>
                      </a:moveTo>
                      <a:cubicBezTo>
                        <a:pt x="1127" y="0"/>
                        <a:pt x="1120" y="0"/>
                        <a:pt x="1113" y="0"/>
                      </a:cubicBezTo>
                      <a:cubicBezTo>
                        <a:pt x="363" y="0"/>
                        <a:pt x="0" y="883"/>
                        <a:pt x="521" y="1416"/>
                      </a:cubicBezTo>
                      <a:cubicBezTo>
                        <a:pt x="691" y="1583"/>
                        <a:pt x="899" y="1657"/>
                        <a:pt x="1101" y="1657"/>
                      </a:cubicBezTo>
                      <a:cubicBezTo>
                        <a:pt x="1529" y="1657"/>
                        <a:pt x="1936" y="1324"/>
                        <a:pt x="1936" y="823"/>
                      </a:cubicBezTo>
                      <a:cubicBezTo>
                        <a:pt x="1936" y="370"/>
                        <a:pt x="1573" y="0"/>
                        <a:pt x="1134" y="0"/>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7514" name="Google Shape;7514;p104"/>
              <p:cNvGrpSpPr/>
              <p:nvPr/>
            </p:nvGrpSpPr>
            <p:grpSpPr>
              <a:xfrm>
                <a:off x="5068855" y="3563980"/>
                <a:ext cx="53954" cy="46223"/>
                <a:chOff x="5068855" y="3563980"/>
                <a:chExt cx="53954" cy="46223"/>
              </a:xfrm>
            </p:grpSpPr>
            <p:sp>
              <p:nvSpPr>
                <p:cNvPr id="7515" name="Google Shape;7515;p104"/>
                <p:cNvSpPr/>
                <p:nvPr/>
              </p:nvSpPr>
              <p:spPr>
                <a:xfrm>
                  <a:off x="5068855" y="3563980"/>
                  <a:ext cx="53954" cy="46223"/>
                </a:xfrm>
                <a:custGeom>
                  <a:avLst/>
                  <a:gdLst/>
                  <a:ahLst/>
                  <a:cxnLst/>
                  <a:rect l="l" t="t" r="r" b="b"/>
                  <a:pathLst>
                    <a:path w="6860" h="5877" extrusionOk="0">
                      <a:moveTo>
                        <a:pt x="3909" y="0"/>
                      </a:moveTo>
                      <a:cubicBezTo>
                        <a:pt x="3187" y="0"/>
                        <a:pt x="2451" y="269"/>
                        <a:pt x="1852" y="868"/>
                      </a:cubicBezTo>
                      <a:cubicBezTo>
                        <a:pt x="1" y="2719"/>
                        <a:pt x="1307" y="5876"/>
                        <a:pt x="3920" y="5876"/>
                      </a:cubicBezTo>
                      <a:cubicBezTo>
                        <a:pt x="5541" y="5876"/>
                        <a:pt x="6848" y="4558"/>
                        <a:pt x="6860" y="2937"/>
                      </a:cubicBezTo>
                      <a:cubicBezTo>
                        <a:pt x="6860" y="1170"/>
                        <a:pt x="5416" y="0"/>
                        <a:pt x="3909" y="0"/>
                      </a:cubicBez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516" name="Google Shape;7516;p104"/>
                <p:cNvSpPr/>
                <p:nvPr/>
              </p:nvSpPr>
              <p:spPr>
                <a:xfrm>
                  <a:off x="5086268" y="3573654"/>
                  <a:ext cx="26835" cy="26843"/>
                </a:xfrm>
                <a:custGeom>
                  <a:avLst/>
                  <a:gdLst/>
                  <a:ahLst/>
                  <a:cxnLst/>
                  <a:rect l="l" t="t" r="r" b="b"/>
                  <a:pathLst>
                    <a:path w="3412" h="3413" extrusionOk="0">
                      <a:moveTo>
                        <a:pt x="1706" y="1"/>
                      </a:moveTo>
                      <a:cubicBezTo>
                        <a:pt x="763" y="1"/>
                        <a:pt x="1" y="763"/>
                        <a:pt x="1" y="1707"/>
                      </a:cubicBezTo>
                      <a:cubicBezTo>
                        <a:pt x="1" y="2650"/>
                        <a:pt x="763" y="3412"/>
                        <a:pt x="1706" y="3412"/>
                      </a:cubicBezTo>
                      <a:cubicBezTo>
                        <a:pt x="2650" y="3412"/>
                        <a:pt x="3412" y="2650"/>
                        <a:pt x="3412" y="1707"/>
                      </a:cubicBezTo>
                      <a:cubicBezTo>
                        <a:pt x="3412" y="763"/>
                        <a:pt x="2650" y="1"/>
                        <a:pt x="1706" y="1"/>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7517" name="Google Shape;7517;p104"/>
              <p:cNvGrpSpPr/>
              <p:nvPr/>
            </p:nvGrpSpPr>
            <p:grpSpPr>
              <a:xfrm>
                <a:off x="5037654" y="3392507"/>
                <a:ext cx="37870" cy="32451"/>
                <a:chOff x="5037654" y="3392507"/>
                <a:chExt cx="37870" cy="32451"/>
              </a:xfrm>
            </p:grpSpPr>
            <p:sp>
              <p:nvSpPr>
                <p:cNvPr id="7518" name="Google Shape;7518;p104"/>
                <p:cNvSpPr/>
                <p:nvPr/>
              </p:nvSpPr>
              <p:spPr>
                <a:xfrm>
                  <a:off x="5037654" y="3392507"/>
                  <a:ext cx="37870" cy="32451"/>
                </a:xfrm>
                <a:custGeom>
                  <a:avLst/>
                  <a:gdLst/>
                  <a:ahLst/>
                  <a:cxnLst/>
                  <a:rect l="l" t="t" r="r" b="b"/>
                  <a:pathLst>
                    <a:path w="4815" h="4126" extrusionOk="0">
                      <a:moveTo>
                        <a:pt x="2742" y="1"/>
                      </a:moveTo>
                      <a:cubicBezTo>
                        <a:pt x="2238" y="1"/>
                        <a:pt x="1724" y="188"/>
                        <a:pt x="1307" y="606"/>
                      </a:cubicBezTo>
                      <a:cubicBezTo>
                        <a:pt x="0" y="1912"/>
                        <a:pt x="919" y="4126"/>
                        <a:pt x="2758" y="4126"/>
                      </a:cubicBezTo>
                      <a:cubicBezTo>
                        <a:pt x="3895" y="4114"/>
                        <a:pt x="4815" y="3194"/>
                        <a:pt x="4815" y="2069"/>
                      </a:cubicBezTo>
                      <a:cubicBezTo>
                        <a:pt x="4815" y="824"/>
                        <a:pt x="3799" y="1"/>
                        <a:pt x="2742" y="1"/>
                      </a:cubicBez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519" name="Google Shape;7519;p104"/>
                <p:cNvSpPr/>
                <p:nvPr/>
              </p:nvSpPr>
              <p:spPr>
                <a:xfrm>
                  <a:off x="5050592" y="3402213"/>
                  <a:ext cx="15227" cy="13064"/>
                </a:xfrm>
                <a:custGeom>
                  <a:avLst/>
                  <a:gdLst/>
                  <a:ahLst/>
                  <a:cxnLst/>
                  <a:rect l="l" t="t" r="r" b="b"/>
                  <a:pathLst>
                    <a:path w="1936" h="1661" extrusionOk="0">
                      <a:moveTo>
                        <a:pt x="1113" y="1"/>
                      </a:moveTo>
                      <a:cubicBezTo>
                        <a:pt x="375" y="1"/>
                        <a:pt x="0" y="896"/>
                        <a:pt x="520" y="1416"/>
                      </a:cubicBezTo>
                      <a:cubicBezTo>
                        <a:pt x="689" y="1585"/>
                        <a:pt x="898" y="1661"/>
                        <a:pt x="1103" y="1661"/>
                      </a:cubicBezTo>
                      <a:cubicBezTo>
                        <a:pt x="1528" y="1661"/>
                        <a:pt x="1936" y="1333"/>
                        <a:pt x="1936" y="835"/>
                      </a:cubicBezTo>
                      <a:cubicBezTo>
                        <a:pt x="1936" y="376"/>
                        <a:pt x="1573" y="1"/>
                        <a:pt x="1113" y="1"/>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7520" name="Google Shape;7520;p104"/>
              <p:cNvGrpSpPr/>
              <p:nvPr/>
            </p:nvGrpSpPr>
            <p:grpSpPr>
              <a:xfrm>
                <a:off x="5456560" y="3368629"/>
                <a:ext cx="37870" cy="32451"/>
                <a:chOff x="5456560" y="3368629"/>
                <a:chExt cx="37870" cy="32451"/>
              </a:xfrm>
            </p:grpSpPr>
            <p:sp>
              <p:nvSpPr>
                <p:cNvPr id="7521" name="Google Shape;7521;p104"/>
                <p:cNvSpPr/>
                <p:nvPr/>
              </p:nvSpPr>
              <p:spPr>
                <a:xfrm>
                  <a:off x="5456560" y="3368629"/>
                  <a:ext cx="37870" cy="32451"/>
                </a:xfrm>
                <a:custGeom>
                  <a:avLst/>
                  <a:gdLst/>
                  <a:ahLst/>
                  <a:cxnLst/>
                  <a:rect l="l" t="t" r="r" b="b"/>
                  <a:pathLst>
                    <a:path w="4815" h="4126" extrusionOk="0">
                      <a:moveTo>
                        <a:pt x="2742" y="0"/>
                      </a:moveTo>
                      <a:cubicBezTo>
                        <a:pt x="2238" y="0"/>
                        <a:pt x="1724" y="187"/>
                        <a:pt x="1307" y="605"/>
                      </a:cubicBezTo>
                      <a:cubicBezTo>
                        <a:pt x="0" y="1912"/>
                        <a:pt x="920" y="4125"/>
                        <a:pt x="2758" y="4125"/>
                      </a:cubicBezTo>
                      <a:cubicBezTo>
                        <a:pt x="3895" y="4113"/>
                        <a:pt x="4815" y="3194"/>
                        <a:pt x="4815" y="2069"/>
                      </a:cubicBezTo>
                      <a:cubicBezTo>
                        <a:pt x="4815" y="824"/>
                        <a:pt x="3800" y="0"/>
                        <a:pt x="2742" y="0"/>
                      </a:cubicBez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522" name="Google Shape;7522;p104"/>
                <p:cNvSpPr/>
                <p:nvPr/>
              </p:nvSpPr>
              <p:spPr>
                <a:xfrm>
                  <a:off x="5469498" y="3378334"/>
                  <a:ext cx="15227" cy="13064"/>
                </a:xfrm>
                <a:custGeom>
                  <a:avLst/>
                  <a:gdLst/>
                  <a:ahLst/>
                  <a:cxnLst/>
                  <a:rect l="l" t="t" r="r" b="b"/>
                  <a:pathLst>
                    <a:path w="1936" h="1661" extrusionOk="0">
                      <a:moveTo>
                        <a:pt x="1113" y="0"/>
                      </a:moveTo>
                      <a:cubicBezTo>
                        <a:pt x="375" y="0"/>
                        <a:pt x="0" y="895"/>
                        <a:pt x="520" y="1416"/>
                      </a:cubicBezTo>
                      <a:cubicBezTo>
                        <a:pt x="693" y="1585"/>
                        <a:pt x="903" y="1660"/>
                        <a:pt x="1108" y="1660"/>
                      </a:cubicBezTo>
                      <a:cubicBezTo>
                        <a:pt x="1533" y="1660"/>
                        <a:pt x="1936" y="1333"/>
                        <a:pt x="1936" y="835"/>
                      </a:cubicBezTo>
                      <a:cubicBezTo>
                        <a:pt x="1936" y="375"/>
                        <a:pt x="1573" y="0"/>
                        <a:pt x="1113" y="0"/>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7523" name="Google Shape;7523;p104"/>
              <p:cNvGrpSpPr/>
              <p:nvPr/>
            </p:nvGrpSpPr>
            <p:grpSpPr>
              <a:xfrm>
                <a:off x="4755749" y="3501516"/>
                <a:ext cx="46246" cy="39608"/>
                <a:chOff x="4755749" y="3501516"/>
                <a:chExt cx="46246" cy="39608"/>
              </a:xfrm>
            </p:grpSpPr>
            <p:sp>
              <p:nvSpPr>
                <p:cNvPr id="7524" name="Google Shape;7524;p104"/>
                <p:cNvSpPr/>
                <p:nvPr/>
              </p:nvSpPr>
              <p:spPr>
                <a:xfrm>
                  <a:off x="4755749" y="3501516"/>
                  <a:ext cx="46246" cy="39608"/>
                </a:xfrm>
                <a:custGeom>
                  <a:avLst/>
                  <a:gdLst/>
                  <a:ahLst/>
                  <a:cxnLst/>
                  <a:rect l="l" t="t" r="r" b="b"/>
                  <a:pathLst>
                    <a:path w="5880" h="5036" extrusionOk="0">
                      <a:moveTo>
                        <a:pt x="3345" y="0"/>
                      </a:moveTo>
                      <a:cubicBezTo>
                        <a:pt x="2727" y="0"/>
                        <a:pt x="2097" y="229"/>
                        <a:pt x="1585" y="741"/>
                      </a:cubicBezTo>
                      <a:cubicBezTo>
                        <a:pt x="0" y="2326"/>
                        <a:pt x="1125" y="5036"/>
                        <a:pt x="3363" y="5036"/>
                      </a:cubicBezTo>
                      <a:cubicBezTo>
                        <a:pt x="4754" y="5036"/>
                        <a:pt x="5879" y="3911"/>
                        <a:pt x="5879" y="2520"/>
                      </a:cubicBezTo>
                      <a:cubicBezTo>
                        <a:pt x="5879" y="1005"/>
                        <a:pt x="4638" y="0"/>
                        <a:pt x="3345" y="0"/>
                      </a:cubicBez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525" name="Google Shape;7525;p104"/>
                <p:cNvSpPr/>
                <p:nvPr/>
              </p:nvSpPr>
              <p:spPr>
                <a:xfrm>
                  <a:off x="4768687" y="3511245"/>
                  <a:ext cx="23697" cy="20221"/>
                </a:xfrm>
                <a:custGeom>
                  <a:avLst/>
                  <a:gdLst/>
                  <a:ahLst/>
                  <a:cxnLst/>
                  <a:rect l="l" t="t" r="r" b="b"/>
                  <a:pathLst>
                    <a:path w="3013" h="2571" extrusionOk="0">
                      <a:moveTo>
                        <a:pt x="1718" y="0"/>
                      </a:moveTo>
                      <a:cubicBezTo>
                        <a:pt x="569" y="0"/>
                        <a:pt x="0" y="1379"/>
                        <a:pt x="811" y="2190"/>
                      </a:cubicBezTo>
                      <a:cubicBezTo>
                        <a:pt x="1074" y="2453"/>
                        <a:pt x="1398" y="2571"/>
                        <a:pt x="1715" y="2571"/>
                      </a:cubicBezTo>
                      <a:cubicBezTo>
                        <a:pt x="2377" y="2571"/>
                        <a:pt x="3013" y="2059"/>
                        <a:pt x="3013" y="1283"/>
                      </a:cubicBezTo>
                      <a:cubicBezTo>
                        <a:pt x="3013" y="581"/>
                        <a:pt x="2432" y="0"/>
                        <a:pt x="1718" y="0"/>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7526" name="Google Shape;7526;p104"/>
              <p:cNvGrpSpPr/>
              <p:nvPr/>
            </p:nvGrpSpPr>
            <p:grpSpPr>
              <a:xfrm>
                <a:off x="4681346" y="3485582"/>
                <a:ext cx="37783" cy="32427"/>
                <a:chOff x="4681346" y="3485582"/>
                <a:chExt cx="37783" cy="32427"/>
              </a:xfrm>
            </p:grpSpPr>
            <p:sp>
              <p:nvSpPr>
                <p:cNvPr id="7527" name="Google Shape;7527;p104"/>
                <p:cNvSpPr/>
                <p:nvPr/>
              </p:nvSpPr>
              <p:spPr>
                <a:xfrm>
                  <a:off x="4681346" y="3485582"/>
                  <a:ext cx="37783" cy="32427"/>
                </a:xfrm>
                <a:custGeom>
                  <a:avLst/>
                  <a:gdLst/>
                  <a:ahLst/>
                  <a:cxnLst/>
                  <a:rect l="l" t="t" r="r" b="b"/>
                  <a:pathLst>
                    <a:path w="4804" h="4123" extrusionOk="0">
                      <a:moveTo>
                        <a:pt x="2738" y="1"/>
                      </a:moveTo>
                      <a:cubicBezTo>
                        <a:pt x="2231" y="1"/>
                        <a:pt x="1715" y="191"/>
                        <a:pt x="1295" y="614"/>
                      </a:cubicBezTo>
                      <a:cubicBezTo>
                        <a:pt x="1" y="1909"/>
                        <a:pt x="920" y="4122"/>
                        <a:pt x="2747" y="4122"/>
                      </a:cubicBezTo>
                      <a:cubicBezTo>
                        <a:pt x="3884" y="4122"/>
                        <a:pt x="4803" y="3203"/>
                        <a:pt x="4803" y="2066"/>
                      </a:cubicBezTo>
                      <a:cubicBezTo>
                        <a:pt x="4803" y="824"/>
                        <a:pt x="3793" y="1"/>
                        <a:pt x="2738" y="1"/>
                      </a:cubicBez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528" name="Google Shape;7528;p104"/>
                <p:cNvSpPr/>
                <p:nvPr/>
              </p:nvSpPr>
              <p:spPr>
                <a:xfrm>
                  <a:off x="4696479" y="3495263"/>
                  <a:ext cx="13040" cy="13040"/>
                </a:xfrm>
                <a:custGeom>
                  <a:avLst/>
                  <a:gdLst/>
                  <a:ahLst/>
                  <a:cxnLst/>
                  <a:rect l="l" t="t" r="r" b="b"/>
                  <a:pathLst>
                    <a:path w="1658" h="1658" extrusionOk="0">
                      <a:moveTo>
                        <a:pt x="823" y="0"/>
                      </a:moveTo>
                      <a:cubicBezTo>
                        <a:pt x="363" y="0"/>
                        <a:pt x="0" y="375"/>
                        <a:pt x="0" y="835"/>
                      </a:cubicBezTo>
                      <a:cubicBezTo>
                        <a:pt x="0" y="1295"/>
                        <a:pt x="363" y="1657"/>
                        <a:pt x="823" y="1657"/>
                      </a:cubicBezTo>
                      <a:cubicBezTo>
                        <a:pt x="1282" y="1657"/>
                        <a:pt x="1657" y="1295"/>
                        <a:pt x="1657" y="835"/>
                      </a:cubicBezTo>
                      <a:cubicBezTo>
                        <a:pt x="1657" y="375"/>
                        <a:pt x="1282" y="0"/>
                        <a:pt x="823" y="0"/>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7529" name="Google Shape;7529;p104"/>
              <p:cNvGrpSpPr/>
              <p:nvPr/>
            </p:nvGrpSpPr>
            <p:grpSpPr>
              <a:xfrm>
                <a:off x="4767067" y="3291088"/>
                <a:ext cx="37878" cy="32451"/>
                <a:chOff x="4767067" y="3291088"/>
                <a:chExt cx="37878" cy="32451"/>
              </a:xfrm>
            </p:grpSpPr>
            <p:sp>
              <p:nvSpPr>
                <p:cNvPr id="7530" name="Google Shape;7530;p104"/>
                <p:cNvSpPr/>
                <p:nvPr/>
              </p:nvSpPr>
              <p:spPr>
                <a:xfrm>
                  <a:off x="4767067" y="3291088"/>
                  <a:ext cx="37878" cy="32451"/>
                </a:xfrm>
                <a:custGeom>
                  <a:avLst/>
                  <a:gdLst/>
                  <a:ahLst/>
                  <a:cxnLst/>
                  <a:rect l="l" t="t" r="r" b="b"/>
                  <a:pathLst>
                    <a:path w="4816" h="4126" extrusionOk="0">
                      <a:moveTo>
                        <a:pt x="2739" y="0"/>
                      </a:moveTo>
                      <a:cubicBezTo>
                        <a:pt x="2233" y="0"/>
                        <a:pt x="1717" y="188"/>
                        <a:pt x="1295" y="605"/>
                      </a:cubicBezTo>
                      <a:cubicBezTo>
                        <a:pt x="1" y="1900"/>
                        <a:pt x="920" y="4126"/>
                        <a:pt x="2759" y="4126"/>
                      </a:cubicBezTo>
                      <a:cubicBezTo>
                        <a:pt x="3884" y="4113"/>
                        <a:pt x="4803" y="3206"/>
                        <a:pt x="4815" y="2069"/>
                      </a:cubicBezTo>
                      <a:cubicBezTo>
                        <a:pt x="4815" y="824"/>
                        <a:pt x="3800" y="0"/>
                        <a:pt x="2739" y="0"/>
                      </a:cubicBez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531" name="Google Shape;7531;p104"/>
                <p:cNvSpPr/>
                <p:nvPr/>
              </p:nvSpPr>
              <p:spPr>
                <a:xfrm>
                  <a:off x="4780036" y="3300888"/>
                  <a:ext cx="15203" cy="13009"/>
                </a:xfrm>
                <a:custGeom>
                  <a:avLst/>
                  <a:gdLst/>
                  <a:ahLst/>
                  <a:cxnLst/>
                  <a:rect l="l" t="t" r="r" b="b"/>
                  <a:pathLst>
                    <a:path w="1933" h="1654" extrusionOk="0">
                      <a:moveTo>
                        <a:pt x="1131" y="0"/>
                      </a:moveTo>
                      <a:cubicBezTo>
                        <a:pt x="1124" y="0"/>
                        <a:pt x="1117" y="0"/>
                        <a:pt x="1110" y="1"/>
                      </a:cubicBezTo>
                      <a:cubicBezTo>
                        <a:pt x="1105" y="0"/>
                        <a:pt x="1100" y="0"/>
                        <a:pt x="1095" y="0"/>
                      </a:cubicBezTo>
                      <a:cubicBezTo>
                        <a:pt x="367" y="0"/>
                        <a:pt x="0" y="887"/>
                        <a:pt x="517" y="1404"/>
                      </a:cubicBezTo>
                      <a:cubicBezTo>
                        <a:pt x="686" y="1577"/>
                        <a:pt x="895" y="1654"/>
                        <a:pt x="1100" y="1654"/>
                      </a:cubicBezTo>
                      <a:cubicBezTo>
                        <a:pt x="1525" y="1654"/>
                        <a:pt x="1932" y="1321"/>
                        <a:pt x="1932" y="823"/>
                      </a:cubicBezTo>
                      <a:cubicBezTo>
                        <a:pt x="1932" y="371"/>
                        <a:pt x="1569" y="0"/>
                        <a:pt x="1131" y="0"/>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7532" name="Google Shape;7532;p104"/>
              <p:cNvGrpSpPr/>
              <p:nvPr/>
            </p:nvGrpSpPr>
            <p:grpSpPr>
              <a:xfrm>
                <a:off x="4687819" y="3405539"/>
                <a:ext cx="37776" cy="32451"/>
                <a:chOff x="4687819" y="3405539"/>
                <a:chExt cx="37776" cy="32451"/>
              </a:xfrm>
            </p:grpSpPr>
            <p:sp>
              <p:nvSpPr>
                <p:cNvPr id="7533" name="Google Shape;7533;p104"/>
                <p:cNvSpPr/>
                <p:nvPr/>
              </p:nvSpPr>
              <p:spPr>
                <a:xfrm>
                  <a:off x="4687819" y="3405539"/>
                  <a:ext cx="37776" cy="32451"/>
                </a:xfrm>
                <a:custGeom>
                  <a:avLst/>
                  <a:gdLst/>
                  <a:ahLst/>
                  <a:cxnLst/>
                  <a:rect l="l" t="t" r="r" b="b"/>
                  <a:pathLst>
                    <a:path w="4803" h="4126" extrusionOk="0">
                      <a:moveTo>
                        <a:pt x="2730" y="1"/>
                      </a:moveTo>
                      <a:cubicBezTo>
                        <a:pt x="2226" y="1"/>
                        <a:pt x="1712" y="188"/>
                        <a:pt x="1295" y="606"/>
                      </a:cubicBezTo>
                      <a:cubicBezTo>
                        <a:pt x="0" y="1912"/>
                        <a:pt x="920" y="4126"/>
                        <a:pt x="2758" y="4126"/>
                      </a:cubicBezTo>
                      <a:cubicBezTo>
                        <a:pt x="3883" y="4114"/>
                        <a:pt x="4803" y="3195"/>
                        <a:pt x="4803" y="2070"/>
                      </a:cubicBezTo>
                      <a:cubicBezTo>
                        <a:pt x="4803" y="824"/>
                        <a:pt x="3787" y="1"/>
                        <a:pt x="2730" y="1"/>
                      </a:cubicBez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534" name="Google Shape;7534;p104"/>
                <p:cNvSpPr/>
                <p:nvPr/>
              </p:nvSpPr>
              <p:spPr>
                <a:xfrm>
                  <a:off x="4702944" y="3415245"/>
                  <a:ext cx="13040" cy="13048"/>
                </a:xfrm>
                <a:custGeom>
                  <a:avLst/>
                  <a:gdLst/>
                  <a:ahLst/>
                  <a:cxnLst/>
                  <a:rect l="l" t="t" r="r" b="b"/>
                  <a:pathLst>
                    <a:path w="1658" h="1659" extrusionOk="0">
                      <a:moveTo>
                        <a:pt x="823" y="1"/>
                      </a:moveTo>
                      <a:cubicBezTo>
                        <a:pt x="376" y="1"/>
                        <a:pt x="1" y="376"/>
                        <a:pt x="1" y="836"/>
                      </a:cubicBezTo>
                      <a:cubicBezTo>
                        <a:pt x="1" y="1295"/>
                        <a:pt x="376" y="1658"/>
                        <a:pt x="823" y="1658"/>
                      </a:cubicBezTo>
                      <a:cubicBezTo>
                        <a:pt x="1283" y="1658"/>
                        <a:pt x="1658" y="1295"/>
                        <a:pt x="1658" y="836"/>
                      </a:cubicBezTo>
                      <a:cubicBezTo>
                        <a:pt x="1658" y="376"/>
                        <a:pt x="1283" y="1"/>
                        <a:pt x="823" y="1"/>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7535" name="Google Shape;7535;p104"/>
              <p:cNvGrpSpPr/>
              <p:nvPr/>
            </p:nvGrpSpPr>
            <p:grpSpPr>
              <a:xfrm>
                <a:off x="4923101" y="3444809"/>
                <a:ext cx="52813" cy="45318"/>
                <a:chOff x="4923101" y="3444809"/>
                <a:chExt cx="52813" cy="45318"/>
              </a:xfrm>
            </p:grpSpPr>
            <p:sp>
              <p:nvSpPr>
                <p:cNvPr id="7536" name="Google Shape;7536;p104"/>
                <p:cNvSpPr/>
                <p:nvPr/>
              </p:nvSpPr>
              <p:spPr>
                <a:xfrm>
                  <a:off x="4923101" y="3444809"/>
                  <a:ext cx="52813" cy="45318"/>
                </a:xfrm>
                <a:custGeom>
                  <a:avLst/>
                  <a:gdLst/>
                  <a:ahLst/>
                  <a:cxnLst/>
                  <a:rect l="l" t="t" r="r" b="b"/>
                  <a:pathLst>
                    <a:path w="6715" h="5762" extrusionOk="0">
                      <a:moveTo>
                        <a:pt x="3823" y="1"/>
                      </a:moveTo>
                      <a:cubicBezTo>
                        <a:pt x="3117" y="1"/>
                        <a:pt x="2398" y="263"/>
                        <a:pt x="1815" y="851"/>
                      </a:cubicBezTo>
                      <a:cubicBezTo>
                        <a:pt x="1" y="2665"/>
                        <a:pt x="1283" y="5762"/>
                        <a:pt x="3847" y="5762"/>
                      </a:cubicBezTo>
                      <a:cubicBezTo>
                        <a:pt x="5432" y="5762"/>
                        <a:pt x="6714" y="4468"/>
                        <a:pt x="6714" y="2883"/>
                      </a:cubicBezTo>
                      <a:cubicBezTo>
                        <a:pt x="6714" y="1148"/>
                        <a:pt x="5298" y="1"/>
                        <a:pt x="3823" y="1"/>
                      </a:cubicBez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537" name="Google Shape;7537;p104"/>
                <p:cNvSpPr/>
                <p:nvPr/>
              </p:nvSpPr>
              <p:spPr>
                <a:xfrm>
                  <a:off x="4936039" y="3454538"/>
                  <a:ext cx="30265" cy="25915"/>
                </a:xfrm>
                <a:custGeom>
                  <a:avLst/>
                  <a:gdLst/>
                  <a:ahLst/>
                  <a:cxnLst/>
                  <a:rect l="l" t="t" r="r" b="b"/>
                  <a:pathLst>
                    <a:path w="3848" h="3295" extrusionOk="0">
                      <a:moveTo>
                        <a:pt x="2202" y="1"/>
                      </a:moveTo>
                      <a:cubicBezTo>
                        <a:pt x="727" y="1"/>
                        <a:pt x="1" y="1779"/>
                        <a:pt x="1029" y="2807"/>
                      </a:cubicBezTo>
                      <a:cubicBezTo>
                        <a:pt x="1365" y="3144"/>
                        <a:pt x="1779" y="3294"/>
                        <a:pt x="2185" y="3294"/>
                      </a:cubicBezTo>
                      <a:cubicBezTo>
                        <a:pt x="3034" y="3294"/>
                        <a:pt x="3847" y="2636"/>
                        <a:pt x="3847" y="1646"/>
                      </a:cubicBezTo>
                      <a:cubicBezTo>
                        <a:pt x="3847" y="739"/>
                        <a:pt x="3110" y="1"/>
                        <a:pt x="2202" y="1"/>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7538" name="Google Shape;7538;p104"/>
              <p:cNvGrpSpPr/>
              <p:nvPr/>
            </p:nvGrpSpPr>
            <p:grpSpPr>
              <a:xfrm>
                <a:off x="4846040" y="3654750"/>
                <a:ext cx="31405" cy="26993"/>
                <a:chOff x="4846040" y="3654750"/>
                <a:chExt cx="31405" cy="26993"/>
              </a:xfrm>
            </p:grpSpPr>
            <p:sp>
              <p:nvSpPr>
                <p:cNvPr id="7539" name="Google Shape;7539;p104"/>
                <p:cNvSpPr/>
                <p:nvPr/>
              </p:nvSpPr>
              <p:spPr>
                <a:xfrm>
                  <a:off x="4846040" y="3654750"/>
                  <a:ext cx="31405" cy="26993"/>
                </a:xfrm>
                <a:custGeom>
                  <a:avLst/>
                  <a:gdLst/>
                  <a:ahLst/>
                  <a:cxnLst/>
                  <a:rect l="l" t="t" r="r" b="b"/>
                  <a:pathLst>
                    <a:path w="3993" h="3432" extrusionOk="0">
                      <a:moveTo>
                        <a:pt x="2272" y="0"/>
                      </a:moveTo>
                      <a:cubicBezTo>
                        <a:pt x="1853" y="0"/>
                        <a:pt x="1425" y="156"/>
                        <a:pt x="1077" y="504"/>
                      </a:cubicBezTo>
                      <a:cubicBezTo>
                        <a:pt x="0" y="1581"/>
                        <a:pt x="750" y="3432"/>
                        <a:pt x="2274" y="3432"/>
                      </a:cubicBezTo>
                      <a:cubicBezTo>
                        <a:pt x="3218" y="3432"/>
                        <a:pt x="3992" y="2658"/>
                        <a:pt x="3992" y="1714"/>
                      </a:cubicBezTo>
                      <a:cubicBezTo>
                        <a:pt x="3992" y="683"/>
                        <a:pt x="3150" y="0"/>
                        <a:pt x="2272" y="0"/>
                      </a:cubicBez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540" name="Google Shape;7540;p104"/>
                <p:cNvSpPr/>
                <p:nvPr/>
              </p:nvSpPr>
              <p:spPr>
                <a:xfrm>
                  <a:off x="4858883" y="3664424"/>
                  <a:ext cx="8856" cy="7676"/>
                </a:xfrm>
                <a:custGeom>
                  <a:avLst/>
                  <a:gdLst/>
                  <a:ahLst/>
                  <a:cxnLst/>
                  <a:rect l="l" t="t" r="r" b="b"/>
                  <a:pathLst>
                    <a:path w="1126" h="976" extrusionOk="0">
                      <a:moveTo>
                        <a:pt x="641" y="0"/>
                      </a:moveTo>
                      <a:cubicBezTo>
                        <a:pt x="218" y="0"/>
                        <a:pt x="0" y="520"/>
                        <a:pt x="303" y="835"/>
                      </a:cubicBezTo>
                      <a:cubicBezTo>
                        <a:pt x="400" y="932"/>
                        <a:pt x="519" y="975"/>
                        <a:pt x="636" y="975"/>
                      </a:cubicBezTo>
                      <a:cubicBezTo>
                        <a:pt x="885" y="975"/>
                        <a:pt x="1125" y="780"/>
                        <a:pt x="1125" y="484"/>
                      </a:cubicBezTo>
                      <a:cubicBezTo>
                        <a:pt x="1125" y="218"/>
                        <a:pt x="907" y="0"/>
                        <a:pt x="641" y="0"/>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7541" name="Google Shape;7541;p104"/>
              <p:cNvGrpSpPr/>
              <p:nvPr/>
            </p:nvGrpSpPr>
            <p:grpSpPr>
              <a:xfrm>
                <a:off x="4925673" y="3691700"/>
                <a:ext cx="40253" cy="34472"/>
                <a:chOff x="4925673" y="3691700"/>
                <a:chExt cx="40253" cy="34472"/>
              </a:xfrm>
            </p:grpSpPr>
            <p:sp>
              <p:nvSpPr>
                <p:cNvPr id="7542" name="Google Shape;7542;p104"/>
                <p:cNvSpPr/>
                <p:nvPr/>
              </p:nvSpPr>
              <p:spPr>
                <a:xfrm>
                  <a:off x="4925673" y="3691700"/>
                  <a:ext cx="40253" cy="34472"/>
                </a:xfrm>
                <a:custGeom>
                  <a:avLst/>
                  <a:gdLst/>
                  <a:ahLst/>
                  <a:cxnLst/>
                  <a:rect l="l" t="t" r="r" b="b"/>
                  <a:pathLst>
                    <a:path w="5118" h="4383" extrusionOk="0">
                      <a:moveTo>
                        <a:pt x="2908" y="0"/>
                      </a:moveTo>
                      <a:cubicBezTo>
                        <a:pt x="2371" y="0"/>
                        <a:pt x="1825" y="200"/>
                        <a:pt x="1379" y="645"/>
                      </a:cubicBezTo>
                      <a:cubicBezTo>
                        <a:pt x="0" y="2024"/>
                        <a:pt x="968" y="4383"/>
                        <a:pt x="2915" y="4383"/>
                      </a:cubicBezTo>
                      <a:cubicBezTo>
                        <a:pt x="4125" y="4383"/>
                        <a:pt x="5105" y="3403"/>
                        <a:pt x="5117" y="2193"/>
                      </a:cubicBezTo>
                      <a:cubicBezTo>
                        <a:pt x="5109" y="875"/>
                        <a:pt x="4031" y="0"/>
                        <a:pt x="2908" y="0"/>
                      </a:cubicBez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543" name="Google Shape;7543;p104"/>
                <p:cNvSpPr/>
                <p:nvPr/>
              </p:nvSpPr>
              <p:spPr>
                <a:xfrm>
                  <a:off x="4938516" y="3701334"/>
                  <a:ext cx="17704" cy="15187"/>
                </a:xfrm>
                <a:custGeom>
                  <a:avLst/>
                  <a:gdLst/>
                  <a:ahLst/>
                  <a:cxnLst/>
                  <a:rect l="l" t="t" r="r" b="b"/>
                  <a:pathLst>
                    <a:path w="2251" h="1931" extrusionOk="0">
                      <a:moveTo>
                        <a:pt x="1295" y="1"/>
                      </a:moveTo>
                      <a:cubicBezTo>
                        <a:pt x="436" y="1"/>
                        <a:pt x="0" y="1041"/>
                        <a:pt x="605" y="1646"/>
                      </a:cubicBezTo>
                      <a:cubicBezTo>
                        <a:pt x="801" y="1842"/>
                        <a:pt x="1043" y="1930"/>
                        <a:pt x="1281" y="1930"/>
                      </a:cubicBezTo>
                      <a:cubicBezTo>
                        <a:pt x="1775" y="1930"/>
                        <a:pt x="2250" y="1549"/>
                        <a:pt x="2250" y="968"/>
                      </a:cubicBezTo>
                      <a:cubicBezTo>
                        <a:pt x="2250" y="436"/>
                        <a:pt x="1827" y="1"/>
                        <a:pt x="1295" y="1"/>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7544" name="Google Shape;7544;p104"/>
              <p:cNvGrpSpPr/>
              <p:nvPr/>
            </p:nvGrpSpPr>
            <p:grpSpPr>
              <a:xfrm>
                <a:off x="4894653" y="3740848"/>
                <a:ext cx="31405" cy="26906"/>
                <a:chOff x="4894653" y="3740848"/>
                <a:chExt cx="31405" cy="26906"/>
              </a:xfrm>
            </p:grpSpPr>
            <p:sp>
              <p:nvSpPr>
                <p:cNvPr id="7545" name="Google Shape;7545;p104"/>
                <p:cNvSpPr/>
                <p:nvPr/>
              </p:nvSpPr>
              <p:spPr>
                <a:xfrm>
                  <a:off x="4894653" y="3740848"/>
                  <a:ext cx="31405" cy="26906"/>
                </a:xfrm>
                <a:custGeom>
                  <a:avLst/>
                  <a:gdLst/>
                  <a:ahLst/>
                  <a:cxnLst/>
                  <a:rect l="l" t="t" r="r" b="b"/>
                  <a:pathLst>
                    <a:path w="3993" h="3421" extrusionOk="0">
                      <a:moveTo>
                        <a:pt x="2273" y="1"/>
                      </a:moveTo>
                      <a:cubicBezTo>
                        <a:pt x="1853" y="1"/>
                        <a:pt x="1425" y="157"/>
                        <a:pt x="1077" y="505"/>
                      </a:cubicBezTo>
                      <a:cubicBezTo>
                        <a:pt x="1" y="1582"/>
                        <a:pt x="763" y="3420"/>
                        <a:pt x="2287" y="3420"/>
                      </a:cubicBezTo>
                      <a:cubicBezTo>
                        <a:pt x="3230" y="3420"/>
                        <a:pt x="3993" y="2658"/>
                        <a:pt x="3993" y="1715"/>
                      </a:cubicBezTo>
                      <a:cubicBezTo>
                        <a:pt x="3993" y="683"/>
                        <a:pt x="3151" y="1"/>
                        <a:pt x="2273" y="1"/>
                      </a:cubicBez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546" name="Google Shape;7546;p104"/>
                <p:cNvSpPr/>
                <p:nvPr/>
              </p:nvSpPr>
              <p:spPr>
                <a:xfrm>
                  <a:off x="4907497" y="3750522"/>
                  <a:ext cx="8950" cy="7605"/>
                </a:xfrm>
                <a:custGeom>
                  <a:avLst/>
                  <a:gdLst/>
                  <a:ahLst/>
                  <a:cxnLst/>
                  <a:rect l="l" t="t" r="r" b="b"/>
                  <a:pathLst>
                    <a:path w="1138" h="967" extrusionOk="0">
                      <a:moveTo>
                        <a:pt x="654" y="1"/>
                      </a:moveTo>
                      <a:cubicBezTo>
                        <a:pt x="218" y="1"/>
                        <a:pt x="1" y="521"/>
                        <a:pt x="303" y="823"/>
                      </a:cubicBezTo>
                      <a:cubicBezTo>
                        <a:pt x="406" y="922"/>
                        <a:pt x="531" y="967"/>
                        <a:pt x="652" y="967"/>
                      </a:cubicBezTo>
                      <a:cubicBezTo>
                        <a:pt x="902" y="967"/>
                        <a:pt x="1138" y="778"/>
                        <a:pt x="1138" y="485"/>
                      </a:cubicBezTo>
                      <a:cubicBezTo>
                        <a:pt x="1138" y="219"/>
                        <a:pt x="920" y="1"/>
                        <a:pt x="654" y="1"/>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7547" name="Google Shape;7547;p104"/>
              <p:cNvGrpSpPr/>
              <p:nvPr/>
            </p:nvGrpSpPr>
            <p:grpSpPr>
              <a:xfrm>
                <a:off x="4962300" y="3696348"/>
                <a:ext cx="38255" cy="32773"/>
                <a:chOff x="4962300" y="3696348"/>
                <a:chExt cx="38255" cy="32773"/>
              </a:xfrm>
            </p:grpSpPr>
            <p:sp>
              <p:nvSpPr>
                <p:cNvPr id="7548" name="Google Shape;7548;p104"/>
                <p:cNvSpPr/>
                <p:nvPr/>
              </p:nvSpPr>
              <p:spPr>
                <a:xfrm>
                  <a:off x="4962300" y="3696348"/>
                  <a:ext cx="38255" cy="32773"/>
                </a:xfrm>
                <a:custGeom>
                  <a:avLst/>
                  <a:gdLst/>
                  <a:ahLst/>
                  <a:cxnLst/>
                  <a:rect l="l" t="t" r="r" b="b"/>
                  <a:pathLst>
                    <a:path w="4864" h="4167" extrusionOk="0">
                      <a:moveTo>
                        <a:pt x="2767" y="1"/>
                      </a:moveTo>
                      <a:cubicBezTo>
                        <a:pt x="2259" y="1"/>
                        <a:pt x="1740" y="189"/>
                        <a:pt x="1319" y="611"/>
                      </a:cubicBezTo>
                      <a:cubicBezTo>
                        <a:pt x="0" y="1929"/>
                        <a:pt x="932" y="4167"/>
                        <a:pt x="2783" y="4167"/>
                      </a:cubicBezTo>
                      <a:cubicBezTo>
                        <a:pt x="3932" y="4167"/>
                        <a:pt x="4863" y="3236"/>
                        <a:pt x="4863" y="2086"/>
                      </a:cubicBezTo>
                      <a:cubicBezTo>
                        <a:pt x="4863" y="833"/>
                        <a:pt x="3836" y="1"/>
                        <a:pt x="2767" y="1"/>
                      </a:cubicBez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549" name="Google Shape;7549;p104"/>
                <p:cNvSpPr/>
                <p:nvPr/>
              </p:nvSpPr>
              <p:spPr>
                <a:xfrm>
                  <a:off x="4975238" y="3706093"/>
                  <a:ext cx="15612" cy="13386"/>
                </a:xfrm>
                <a:custGeom>
                  <a:avLst/>
                  <a:gdLst/>
                  <a:ahLst/>
                  <a:cxnLst/>
                  <a:rect l="l" t="t" r="r" b="b"/>
                  <a:pathLst>
                    <a:path w="1985" h="1702" extrusionOk="0">
                      <a:moveTo>
                        <a:pt x="1138" y="1"/>
                      </a:moveTo>
                      <a:cubicBezTo>
                        <a:pt x="388" y="1"/>
                        <a:pt x="1" y="908"/>
                        <a:pt x="533" y="1452"/>
                      </a:cubicBezTo>
                      <a:cubicBezTo>
                        <a:pt x="709" y="1624"/>
                        <a:pt x="923" y="1702"/>
                        <a:pt x="1132" y="1702"/>
                      </a:cubicBezTo>
                      <a:cubicBezTo>
                        <a:pt x="1569" y="1702"/>
                        <a:pt x="1984" y="1363"/>
                        <a:pt x="1984" y="847"/>
                      </a:cubicBezTo>
                      <a:cubicBezTo>
                        <a:pt x="1984" y="376"/>
                        <a:pt x="1609" y="1"/>
                        <a:pt x="1138" y="1"/>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7550" name="Google Shape;7550;p104"/>
              <p:cNvGrpSpPr/>
              <p:nvPr/>
            </p:nvGrpSpPr>
            <p:grpSpPr>
              <a:xfrm>
                <a:off x="4980185" y="3743349"/>
                <a:ext cx="31499" cy="26969"/>
                <a:chOff x="4980185" y="3743349"/>
                <a:chExt cx="31499" cy="26969"/>
              </a:xfrm>
            </p:grpSpPr>
            <p:sp>
              <p:nvSpPr>
                <p:cNvPr id="7551" name="Google Shape;7551;p104"/>
                <p:cNvSpPr/>
                <p:nvPr/>
              </p:nvSpPr>
              <p:spPr>
                <a:xfrm>
                  <a:off x="4980185" y="3743349"/>
                  <a:ext cx="31499" cy="26969"/>
                </a:xfrm>
                <a:custGeom>
                  <a:avLst/>
                  <a:gdLst/>
                  <a:ahLst/>
                  <a:cxnLst/>
                  <a:rect l="l" t="t" r="r" b="b"/>
                  <a:pathLst>
                    <a:path w="4005" h="3429" extrusionOk="0">
                      <a:moveTo>
                        <a:pt x="2274" y="0"/>
                      </a:moveTo>
                      <a:cubicBezTo>
                        <a:pt x="1855" y="0"/>
                        <a:pt x="1427" y="155"/>
                        <a:pt x="1077" y="501"/>
                      </a:cubicBezTo>
                      <a:cubicBezTo>
                        <a:pt x="1" y="1578"/>
                        <a:pt x="763" y="3429"/>
                        <a:pt x="2287" y="3429"/>
                      </a:cubicBezTo>
                      <a:cubicBezTo>
                        <a:pt x="3230" y="3429"/>
                        <a:pt x="3993" y="2667"/>
                        <a:pt x="4005" y="1723"/>
                      </a:cubicBezTo>
                      <a:cubicBezTo>
                        <a:pt x="4005" y="689"/>
                        <a:pt x="3158" y="0"/>
                        <a:pt x="2274" y="0"/>
                      </a:cubicBez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552" name="Google Shape;7552;p104"/>
                <p:cNvSpPr/>
                <p:nvPr/>
              </p:nvSpPr>
              <p:spPr>
                <a:xfrm>
                  <a:off x="4993123" y="3753094"/>
                  <a:ext cx="8856" cy="7605"/>
                </a:xfrm>
                <a:custGeom>
                  <a:avLst/>
                  <a:gdLst/>
                  <a:ahLst/>
                  <a:cxnLst/>
                  <a:rect l="l" t="t" r="r" b="b"/>
                  <a:pathLst>
                    <a:path w="1126" h="967" extrusionOk="0">
                      <a:moveTo>
                        <a:pt x="642" y="0"/>
                      </a:moveTo>
                      <a:cubicBezTo>
                        <a:pt x="206" y="0"/>
                        <a:pt x="1" y="521"/>
                        <a:pt x="303" y="823"/>
                      </a:cubicBezTo>
                      <a:cubicBezTo>
                        <a:pt x="402" y="922"/>
                        <a:pt x="524" y="966"/>
                        <a:pt x="644" y="966"/>
                      </a:cubicBezTo>
                      <a:cubicBezTo>
                        <a:pt x="890" y="966"/>
                        <a:pt x="1126" y="777"/>
                        <a:pt x="1126" y="484"/>
                      </a:cubicBezTo>
                      <a:cubicBezTo>
                        <a:pt x="1126" y="218"/>
                        <a:pt x="908" y="0"/>
                        <a:pt x="642" y="0"/>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7553" name="Google Shape;7553;p104"/>
              <p:cNvGrpSpPr/>
              <p:nvPr/>
            </p:nvGrpSpPr>
            <p:grpSpPr>
              <a:xfrm>
                <a:off x="5013768" y="3734312"/>
                <a:ext cx="31499" cy="26969"/>
                <a:chOff x="5013768" y="3734312"/>
                <a:chExt cx="31499" cy="26969"/>
              </a:xfrm>
            </p:grpSpPr>
            <p:sp>
              <p:nvSpPr>
                <p:cNvPr id="7554" name="Google Shape;7554;p104"/>
                <p:cNvSpPr/>
                <p:nvPr/>
              </p:nvSpPr>
              <p:spPr>
                <a:xfrm>
                  <a:off x="5013768" y="3734312"/>
                  <a:ext cx="31499" cy="26969"/>
                </a:xfrm>
                <a:custGeom>
                  <a:avLst/>
                  <a:gdLst/>
                  <a:ahLst/>
                  <a:cxnLst/>
                  <a:rect l="l" t="t" r="r" b="b"/>
                  <a:pathLst>
                    <a:path w="4005" h="3429" extrusionOk="0">
                      <a:moveTo>
                        <a:pt x="2281" y="1"/>
                      </a:moveTo>
                      <a:cubicBezTo>
                        <a:pt x="1858" y="1"/>
                        <a:pt x="1428" y="159"/>
                        <a:pt x="1077" y="513"/>
                      </a:cubicBezTo>
                      <a:cubicBezTo>
                        <a:pt x="1" y="1590"/>
                        <a:pt x="775" y="3429"/>
                        <a:pt x="2299" y="3429"/>
                      </a:cubicBezTo>
                      <a:cubicBezTo>
                        <a:pt x="3231" y="3417"/>
                        <a:pt x="3993" y="2655"/>
                        <a:pt x="4005" y="1711"/>
                      </a:cubicBezTo>
                      <a:cubicBezTo>
                        <a:pt x="3997" y="682"/>
                        <a:pt x="3157" y="1"/>
                        <a:pt x="2281" y="1"/>
                      </a:cubicBez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555" name="Google Shape;7555;p104"/>
                <p:cNvSpPr/>
                <p:nvPr/>
              </p:nvSpPr>
              <p:spPr>
                <a:xfrm>
                  <a:off x="5028043" y="3743963"/>
                  <a:ext cx="7621" cy="7613"/>
                </a:xfrm>
                <a:custGeom>
                  <a:avLst/>
                  <a:gdLst/>
                  <a:ahLst/>
                  <a:cxnLst/>
                  <a:rect l="l" t="t" r="r" b="b"/>
                  <a:pathLst>
                    <a:path w="969" h="968" extrusionOk="0">
                      <a:moveTo>
                        <a:pt x="484" y="0"/>
                      </a:moveTo>
                      <a:cubicBezTo>
                        <a:pt x="218" y="0"/>
                        <a:pt x="0" y="218"/>
                        <a:pt x="0" y="484"/>
                      </a:cubicBezTo>
                      <a:cubicBezTo>
                        <a:pt x="0" y="750"/>
                        <a:pt x="218" y="968"/>
                        <a:pt x="484" y="968"/>
                      </a:cubicBezTo>
                      <a:cubicBezTo>
                        <a:pt x="750" y="968"/>
                        <a:pt x="968" y="750"/>
                        <a:pt x="968" y="484"/>
                      </a:cubicBezTo>
                      <a:cubicBezTo>
                        <a:pt x="968" y="218"/>
                        <a:pt x="750" y="0"/>
                        <a:pt x="484" y="0"/>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7556" name="Google Shape;7556;p104"/>
              <p:cNvGrpSpPr/>
              <p:nvPr/>
            </p:nvGrpSpPr>
            <p:grpSpPr>
              <a:xfrm>
                <a:off x="5036703" y="3764545"/>
                <a:ext cx="31499" cy="26898"/>
                <a:chOff x="5036703" y="3764545"/>
                <a:chExt cx="31499" cy="26898"/>
              </a:xfrm>
            </p:grpSpPr>
            <p:sp>
              <p:nvSpPr>
                <p:cNvPr id="7557" name="Google Shape;7557;p104"/>
                <p:cNvSpPr/>
                <p:nvPr/>
              </p:nvSpPr>
              <p:spPr>
                <a:xfrm>
                  <a:off x="5036703" y="3764545"/>
                  <a:ext cx="31499" cy="26898"/>
                </a:xfrm>
                <a:custGeom>
                  <a:avLst/>
                  <a:gdLst/>
                  <a:ahLst/>
                  <a:cxnLst/>
                  <a:rect l="l" t="t" r="r" b="b"/>
                  <a:pathLst>
                    <a:path w="4005" h="3420" extrusionOk="0">
                      <a:moveTo>
                        <a:pt x="2284" y="0"/>
                      </a:moveTo>
                      <a:cubicBezTo>
                        <a:pt x="1865" y="0"/>
                        <a:pt x="1437" y="156"/>
                        <a:pt x="1089" y="504"/>
                      </a:cubicBezTo>
                      <a:cubicBezTo>
                        <a:pt x="0" y="1581"/>
                        <a:pt x="774" y="3419"/>
                        <a:pt x="2298" y="3419"/>
                      </a:cubicBezTo>
                      <a:cubicBezTo>
                        <a:pt x="3242" y="3419"/>
                        <a:pt x="4004" y="2657"/>
                        <a:pt x="4004" y="1714"/>
                      </a:cubicBezTo>
                      <a:cubicBezTo>
                        <a:pt x="4004" y="682"/>
                        <a:pt x="3162" y="0"/>
                        <a:pt x="2284" y="0"/>
                      </a:cubicBez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558" name="Google Shape;7558;p104"/>
                <p:cNvSpPr/>
                <p:nvPr/>
              </p:nvSpPr>
              <p:spPr>
                <a:xfrm>
                  <a:off x="5049641" y="3774211"/>
                  <a:ext cx="8856" cy="7605"/>
                </a:xfrm>
                <a:custGeom>
                  <a:avLst/>
                  <a:gdLst/>
                  <a:ahLst/>
                  <a:cxnLst/>
                  <a:rect l="l" t="t" r="r" b="b"/>
                  <a:pathLst>
                    <a:path w="1126" h="967" extrusionOk="0">
                      <a:moveTo>
                        <a:pt x="653" y="1"/>
                      </a:moveTo>
                      <a:cubicBezTo>
                        <a:pt x="218" y="1"/>
                        <a:pt x="0" y="521"/>
                        <a:pt x="303" y="823"/>
                      </a:cubicBezTo>
                      <a:cubicBezTo>
                        <a:pt x="402" y="922"/>
                        <a:pt x="524" y="967"/>
                        <a:pt x="643" y="967"/>
                      </a:cubicBezTo>
                      <a:cubicBezTo>
                        <a:pt x="890" y="967"/>
                        <a:pt x="1125" y="778"/>
                        <a:pt x="1125" y="485"/>
                      </a:cubicBezTo>
                      <a:cubicBezTo>
                        <a:pt x="1125" y="219"/>
                        <a:pt x="920" y="1"/>
                        <a:pt x="653" y="1"/>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7559" name="Google Shape;7559;p104"/>
              <p:cNvGrpSpPr/>
              <p:nvPr/>
            </p:nvGrpSpPr>
            <p:grpSpPr>
              <a:xfrm>
                <a:off x="4953546" y="3768352"/>
                <a:ext cx="31405" cy="26898"/>
                <a:chOff x="4953546" y="3768352"/>
                <a:chExt cx="31405" cy="26898"/>
              </a:xfrm>
            </p:grpSpPr>
            <p:sp>
              <p:nvSpPr>
                <p:cNvPr id="7560" name="Google Shape;7560;p104"/>
                <p:cNvSpPr/>
                <p:nvPr/>
              </p:nvSpPr>
              <p:spPr>
                <a:xfrm>
                  <a:off x="4953546" y="3768352"/>
                  <a:ext cx="31405" cy="26898"/>
                </a:xfrm>
                <a:custGeom>
                  <a:avLst/>
                  <a:gdLst/>
                  <a:ahLst/>
                  <a:cxnLst/>
                  <a:rect l="l" t="t" r="r" b="b"/>
                  <a:pathLst>
                    <a:path w="3993" h="3420" extrusionOk="0">
                      <a:moveTo>
                        <a:pt x="2271" y="0"/>
                      </a:moveTo>
                      <a:cubicBezTo>
                        <a:pt x="1852" y="0"/>
                        <a:pt x="1425" y="156"/>
                        <a:pt x="1077" y="504"/>
                      </a:cubicBezTo>
                      <a:cubicBezTo>
                        <a:pt x="1" y="1581"/>
                        <a:pt x="751" y="3419"/>
                        <a:pt x="2287" y="3419"/>
                      </a:cubicBezTo>
                      <a:cubicBezTo>
                        <a:pt x="3218" y="3419"/>
                        <a:pt x="3992" y="2657"/>
                        <a:pt x="3992" y="1726"/>
                      </a:cubicBezTo>
                      <a:cubicBezTo>
                        <a:pt x="3992" y="686"/>
                        <a:pt x="3150" y="0"/>
                        <a:pt x="2271" y="0"/>
                      </a:cubicBez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561" name="Google Shape;7561;p104"/>
                <p:cNvSpPr/>
                <p:nvPr/>
              </p:nvSpPr>
              <p:spPr>
                <a:xfrm>
                  <a:off x="4966390" y="3778018"/>
                  <a:ext cx="8950" cy="7684"/>
                </a:xfrm>
                <a:custGeom>
                  <a:avLst/>
                  <a:gdLst/>
                  <a:ahLst/>
                  <a:cxnLst/>
                  <a:rect l="l" t="t" r="r" b="b"/>
                  <a:pathLst>
                    <a:path w="1138" h="977" extrusionOk="0">
                      <a:moveTo>
                        <a:pt x="654" y="1"/>
                      </a:moveTo>
                      <a:cubicBezTo>
                        <a:pt x="218" y="1"/>
                        <a:pt x="1" y="533"/>
                        <a:pt x="303" y="835"/>
                      </a:cubicBezTo>
                      <a:cubicBezTo>
                        <a:pt x="404" y="933"/>
                        <a:pt x="527" y="976"/>
                        <a:pt x="647" y="976"/>
                      </a:cubicBezTo>
                      <a:cubicBezTo>
                        <a:pt x="899" y="976"/>
                        <a:pt x="1138" y="784"/>
                        <a:pt x="1138" y="497"/>
                      </a:cubicBezTo>
                      <a:cubicBezTo>
                        <a:pt x="1138" y="218"/>
                        <a:pt x="920" y="1"/>
                        <a:pt x="654" y="1"/>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7562" name="Google Shape;7562;p104"/>
              <p:cNvGrpSpPr/>
              <p:nvPr/>
            </p:nvGrpSpPr>
            <p:grpSpPr>
              <a:xfrm>
                <a:off x="4964770" y="3814016"/>
                <a:ext cx="31499" cy="26993"/>
                <a:chOff x="4964770" y="3814016"/>
                <a:chExt cx="31499" cy="26993"/>
              </a:xfrm>
            </p:grpSpPr>
            <p:sp>
              <p:nvSpPr>
                <p:cNvPr id="7563" name="Google Shape;7563;p104"/>
                <p:cNvSpPr/>
                <p:nvPr/>
              </p:nvSpPr>
              <p:spPr>
                <a:xfrm>
                  <a:off x="4964770" y="3814016"/>
                  <a:ext cx="31499" cy="26993"/>
                </a:xfrm>
                <a:custGeom>
                  <a:avLst/>
                  <a:gdLst/>
                  <a:ahLst/>
                  <a:cxnLst/>
                  <a:rect l="l" t="t" r="r" b="b"/>
                  <a:pathLst>
                    <a:path w="4005" h="3432" extrusionOk="0">
                      <a:moveTo>
                        <a:pt x="2276" y="0"/>
                      </a:moveTo>
                      <a:cubicBezTo>
                        <a:pt x="1855" y="0"/>
                        <a:pt x="1426" y="156"/>
                        <a:pt x="1078" y="504"/>
                      </a:cubicBezTo>
                      <a:cubicBezTo>
                        <a:pt x="1" y="1581"/>
                        <a:pt x="763" y="3432"/>
                        <a:pt x="2287" y="3432"/>
                      </a:cubicBezTo>
                      <a:cubicBezTo>
                        <a:pt x="3231" y="3432"/>
                        <a:pt x="3993" y="2658"/>
                        <a:pt x="4005" y="1714"/>
                      </a:cubicBezTo>
                      <a:cubicBezTo>
                        <a:pt x="4005" y="683"/>
                        <a:pt x="3158" y="0"/>
                        <a:pt x="2276" y="0"/>
                      </a:cubicBez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564" name="Google Shape;7564;p104"/>
                <p:cNvSpPr/>
                <p:nvPr/>
              </p:nvSpPr>
              <p:spPr>
                <a:xfrm>
                  <a:off x="4977715" y="3823690"/>
                  <a:ext cx="8856" cy="7676"/>
                </a:xfrm>
                <a:custGeom>
                  <a:avLst/>
                  <a:gdLst/>
                  <a:ahLst/>
                  <a:cxnLst/>
                  <a:rect l="l" t="t" r="r" b="b"/>
                  <a:pathLst>
                    <a:path w="1126" h="976" extrusionOk="0">
                      <a:moveTo>
                        <a:pt x="641" y="0"/>
                      </a:moveTo>
                      <a:cubicBezTo>
                        <a:pt x="206" y="0"/>
                        <a:pt x="0" y="520"/>
                        <a:pt x="303" y="835"/>
                      </a:cubicBezTo>
                      <a:cubicBezTo>
                        <a:pt x="399" y="932"/>
                        <a:pt x="519" y="975"/>
                        <a:pt x="636" y="975"/>
                      </a:cubicBezTo>
                      <a:cubicBezTo>
                        <a:pt x="885" y="975"/>
                        <a:pt x="1125" y="780"/>
                        <a:pt x="1125" y="484"/>
                      </a:cubicBezTo>
                      <a:cubicBezTo>
                        <a:pt x="1125" y="218"/>
                        <a:pt x="907" y="0"/>
                        <a:pt x="641" y="0"/>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7565" name="Google Shape;7565;p104"/>
              <p:cNvGrpSpPr/>
              <p:nvPr/>
            </p:nvGrpSpPr>
            <p:grpSpPr>
              <a:xfrm>
                <a:off x="4923290" y="3800504"/>
                <a:ext cx="31468" cy="26898"/>
                <a:chOff x="4923290" y="3800504"/>
                <a:chExt cx="31468" cy="26898"/>
              </a:xfrm>
            </p:grpSpPr>
            <p:sp>
              <p:nvSpPr>
                <p:cNvPr id="7566" name="Google Shape;7566;p104"/>
                <p:cNvSpPr/>
                <p:nvPr/>
              </p:nvSpPr>
              <p:spPr>
                <a:xfrm>
                  <a:off x="4923290" y="3800504"/>
                  <a:ext cx="31468" cy="26898"/>
                </a:xfrm>
                <a:custGeom>
                  <a:avLst/>
                  <a:gdLst/>
                  <a:ahLst/>
                  <a:cxnLst/>
                  <a:rect l="l" t="t" r="r" b="b"/>
                  <a:pathLst>
                    <a:path w="4001" h="3420" extrusionOk="0">
                      <a:moveTo>
                        <a:pt x="2276" y="1"/>
                      </a:moveTo>
                      <a:cubicBezTo>
                        <a:pt x="1855" y="1"/>
                        <a:pt x="1426" y="156"/>
                        <a:pt x="1077" y="505"/>
                      </a:cubicBezTo>
                      <a:cubicBezTo>
                        <a:pt x="1" y="1581"/>
                        <a:pt x="763" y="3420"/>
                        <a:pt x="2287" y="3420"/>
                      </a:cubicBezTo>
                      <a:cubicBezTo>
                        <a:pt x="3231" y="3420"/>
                        <a:pt x="3993" y="2658"/>
                        <a:pt x="3993" y="1714"/>
                      </a:cubicBezTo>
                      <a:cubicBezTo>
                        <a:pt x="4001" y="683"/>
                        <a:pt x="3156" y="1"/>
                        <a:pt x="2276" y="1"/>
                      </a:cubicBez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567" name="Google Shape;7567;p104"/>
                <p:cNvSpPr/>
                <p:nvPr/>
              </p:nvSpPr>
              <p:spPr>
                <a:xfrm>
                  <a:off x="4937470" y="3810178"/>
                  <a:ext cx="7613" cy="7621"/>
                </a:xfrm>
                <a:custGeom>
                  <a:avLst/>
                  <a:gdLst/>
                  <a:ahLst/>
                  <a:cxnLst/>
                  <a:rect l="l" t="t" r="r" b="b"/>
                  <a:pathLst>
                    <a:path w="968" h="969" extrusionOk="0">
                      <a:moveTo>
                        <a:pt x="484" y="0"/>
                      </a:moveTo>
                      <a:cubicBezTo>
                        <a:pt x="218" y="0"/>
                        <a:pt x="0" y="218"/>
                        <a:pt x="0" y="484"/>
                      </a:cubicBezTo>
                      <a:cubicBezTo>
                        <a:pt x="0" y="750"/>
                        <a:pt x="218" y="968"/>
                        <a:pt x="484" y="968"/>
                      </a:cubicBezTo>
                      <a:cubicBezTo>
                        <a:pt x="750" y="968"/>
                        <a:pt x="968" y="750"/>
                        <a:pt x="968" y="484"/>
                      </a:cubicBezTo>
                      <a:cubicBezTo>
                        <a:pt x="968" y="218"/>
                        <a:pt x="750" y="0"/>
                        <a:pt x="484" y="0"/>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7568" name="Google Shape;7568;p104"/>
              <p:cNvGrpSpPr/>
              <p:nvPr/>
            </p:nvGrpSpPr>
            <p:grpSpPr>
              <a:xfrm>
                <a:off x="5108534" y="3650943"/>
                <a:ext cx="31405" cy="26993"/>
                <a:chOff x="5108534" y="3650943"/>
                <a:chExt cx="31405" cy="26993"/>
              </a:xfrm>
            </p:grpSpPr>
            <p:sp>
              <p:nvSpPr>
                <p:cNvPr id="7569" name="Google Shape;7569;p104"/>
                <p:cNvSpPr/>
                <p:nvPr/>
              </p:nvSpPr>
              <p:spPr>
                <a:xfrm>
                  <a:off x="5108534" y="3650943"/>
                  <a:ext cx="31405" cy="26993"/>
                </a:xfrm>
                <a:custGeom>
                  <a:avLst/>
                  <a:gdLst/>
                  <a:ahLst/>
                  <a:cxnLst/>
                  <a:rect l="l" t="t" r="r" b="b"/>
                  <a:pathLst>
                    <a:path w="3993" h="3432" extrusionOk="0">
                      <a:moveTo>
                        <a:pt x="2272" y="1"/>
                      </a:moveTo>
                      <a:cubicBezTo>
                        <a:pt x="1853" y="1"/>
                        <a:pt x="1425" y="156"/>
                        <a:pt x="1077" y="505"/>
                      </a:cubicBezTo>
                      <a:cubicBezTo>
                        <a:pt x="0" y="1581"/>
                        <a:pt x="762" y="3432"/>
                        <a:pt x="2286" y="3432"/>
                      </a:cubicBezTo>
                      <a:cubicBezTo>
                        <a:pt x="3230" y="3432"/>
                        <a:pt x="3992" y="2658"/>
                        <a:pt x="3992" y="1714"/>
                      </a:cubicBezTo>
                      <a:cubicBezTo>
                        <a:pt x="3992" y="683"/>
                        <a:pt x="3150" y="1"/>
                        <a:pt x="2272" y="1"/>
                      </a:cubicBez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570" name="Google Shape;7570;p104"/>
                <p:cNvSpPr/>
                <p:nvPr/>
              </p:nvSpPr>
              <p:spPr>
                <a:xfrm>
                  <a:off x="5122707" y="3660617"/>
                  <a:ext cx="7621" cy="7621"/>
                </a:xfrm>
                <a:custGeom>
                  <a:avLst/>
                  <a:gdLst/>
                  <a:ahLst/>
                  <a:cxnLst/>
                  <a:rect l="l" t="t" r="r" b="b"/>
                  <a:pathLst>
                    <a:path w="969" h="969" extrusionOk="0">
                      <a:moveTo>
                        <a:pt x="484" y="0"/>
                      </a:moveTo>
                      <a:cubicBezTo>
                        <a:pt x="218" y="0"/>
                        <a:pt x="1" y="218"/>
                        <a:pt x="1" y="484"/>
                      </a:cubicBezTo>
                      <a:cubicBezTo>
                        <a:pt x="1" y="750"/>
                        <a:pt x="218" y="968"/>
                        <a:pt x="484" y="968"/>
                      </a:cubicBezTo>
                      <a:cubicBezTo>
                        <a:pt x="751" y="968"/>
                        <a:pt x="968" y="750"/>
                        <a:pt x="968" y="484"/>
                      </a:cubicBezTo>
                      <a:cubicBezTo>
                        <a:pt x="968" y="218"/>
                        <a:pt x="751" y="0"/>
                        <a:pt x="484" y="0"/>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7571" name="Google Shape;7571;p104"/>
              <p:cNvGrpSpPr/>
              <p:nvPr/>
            </p:nvGrpSpPr>
            <p:grpSpPr>
              <a:xfrm>
                <a:off x="5119380" y="3760739"/>
                <a:ext cx="31499" cy="26993"/>
                <a:chOff x="5119380" y="3760739"/>
                <a:chExt cx="31499" cy="26993"/>
              </a:xfrm>
            </p:grpSpPr>
            <p:sp>
              <p:nvSpPr>
                <p:cNvPr id="7572" name="Google Shape;7572;p104"/>
                <p:cNvSpPr/>
                <p:nvPr/>
              </p:nvSpPr>
              <p:spPr>
                <a:xfrm>
                  <a:off x="5119380" y="3760739"/>
                  <a:ext cx="31499" cy="26993"/>
                </a:xfrm>
                <a:custGeom>
                  <a:avLst/>
                  <a:gdLst/>
                  <a:ahLst/>
                  <a:cxnLst/>
                  <a:rect l="l" t="t" r="r" b="b"/>
                  <a:pathLst>
                    <a:path w="4005" h="3432" extrusionOk="0">
                      <a:moveTo>
                        <a:pt x="2275" y="0"/>
                      </a:moveTo>
                      <a:cubicBezTo>
                        <a:pt x="1854" y="0"/>
                        <a:pt x="1425" y="156"/>
                        <a:pt x="1077" y="504"/>
                      </a:cubicBezTo>
                      <a:cubicBezTo>
                        <a:pt x="0" y="1581"/>
                        <a:pt x="762" y="3432"/>
                        <a:pt x="2286" y="3432"/>
                      </a:cubicBezTo>
                      <a:cubicBezTo>
                        <a:pt x="3230" y="3420"/>
                        <a:pt x="3992" y="2657"/>
                        <a:pt x="4004" y="1714"/>
                      </a:cubicBezTo>
                      <a:cubicBezTo>
                        <a:pt x="4004" y="683"/>
                        <a:pt x="3157" y="0"/>
                        <a:pt x="2275" y="0"/>
                      </a:cubicBez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573" name="Google Shape;7573;p104"/>
                <p:cNvSpPr/>
                <p:nvPr/>
              </p:nvSpPr>
              <p:spPr>
                <a:xfrm>
                  <a:off x="5132318" y="3770405"/>
                  <a:ext cx="8856" cy="7653"/>
                </a:xfrm>
                <a:custGeom>
                  <a:avLst/>
                  <a:gdLst/>
                  <a:ahLst/>
                  <a:cxnLst/>
                  <a:rect l="l" t="t" r="r" b="b"/>
                  <a:pathLst>
                    <a:path w="1126" h="973" extrusionOk="0">
                      <a:moveTo>
                        <a:pt x="641" y="1"/>
                      </a:moveTo>
                      <a:cubicBezTo>
                        <a:pt x="206" y="1"/>
                        <a:pt x="0" y="521"/>
                        <a:pt x="303" y="824"/>
                      </a:cubicBezTo>
                      <a:cubicBezTo>
                        <a:pt x="402" y="926"/>
                        <a:pt x="524" y="972"/>
                        <a:pt x="644" y="972"/>
                      </a:cubicBezTo>
                      <a:cubicBezTo>
                        <a:pt x="890" y="972"/>
                        <a:pt x="1125" y="778"/>
                        <a:pt x="1125" y="485"/>
                      </a:cubicBezTo>
                      <a:cubicBezTo>
                        <a:pt x="1125" y="219"/>
                        <a:pt x="908" y="1"/>
                        <a:pt x="641" y="1"/>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7574" name="Google Shape;7574;p104"/>
              <p:cNvGrpSpPr/>
              <p:nvPr/>
            </p:nvGrpSpPr>
            <p:grpSpPr>
              <a:xfrm>
                <a:off x="5119380" y="3788235"/>
                <a:ext cx="31499" cy="26993"/>
                <a:chOff x="5119380" y="3788235"/>
                <a:chExt cx="31499" cy="26993"/>
              </a:xfrm>
            </p:grpSpPr>
            <p:sp>
              <p:nvSpPr>
                <p:cNvPr id="7575" name="Google Shape;7575;p104"/>
                <p:cNvSpPr/>
                <p:nvPr/>
              </p:nvSpPr>
              <p:spPr>
                <a:xfrm>
                  <a:off x="5119380" y="3788235"/>
                  <a:ext cx="31499" cy="26993"/>
                </a:xfrm>
                <a:custGeom>
                  <a:avLst/>
                  <a:gdLst/>
                  <a:ahLst/>
                  <a:cxnLst/>
                  <a:rect l="l" t="t" r="r" b="b"/>
                  <a:pathLst>
                    <a:path w="4005" h="3432" extrusionOk="0">
                      <a:moveTo>
                        <a:pt x="2275" y="0"/>
                      </a:moveTo>
                      <a:cubicBezTo>
                        <a:pt x="1854" y="0"/>
                        <a:pt x="1425" y="156"/>
                        <a:pt x="1077" y="504"/>
                      </a:cubicBezTo>
                      <a:cubicBezTo>
                        <a:pt x="0" y="1581"/>
                        <a:pt x="762" y="3432"/>
                        <a:pt x="2286" y="3432"/>
                      </a:cubicBezTo>
                      <a:cubicBezTo>
                        <a:pt x="3230" y="3419"/>
                        <a:pt x="3992" y="2657"/>
                        <a:pt x="4004" y="1714"/>
                      </a:cubicBezTo>
                      <a:cubicBezTo>
                        <a:pt x="4004" y="683"/>
                        <a:pt x="3157" y="0"/>
                        <a:pt x="2275" y="0"/>
                      </a:cubicBez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576" name="Google Shape;7576;p104"/>
                <p:cNvSpPr/>
                <p:nvPr/>
              </p:nvSpPr>
              <p:spPr>
                <a:xfrm>
                  <a:off x="5132318" y="3797901"/>
                  <a:ext cx="8856" cy="7605"/>
                </a:xfrm>
                <a:custGeom>
                  <a:avLst/>
                  <a:gdLst/>
                  <a:ahLst/>
                  <a:cxnLst/>
                  <a:rect l="l" t="t" r="r" b="b"/>
                  <a:pathLst>
                    <a:path w="1126" h="967" extrusionOk="0">
                      <a:moveTo>
                        <a:pt x="641" y="1"/>
                      </a:moveTo>
                      <a:cubicBezTo>
                        <a:pt x="206" y="1"/>
                        <a:pt x="0" y="521"/>
                        <a:pt x="303" y="824"/>
                      </a:cubicBezTo>
                      <a:cubicBezTo>
                        <a:pt x="402" y="922"/>
                        <a:pt x="524" y="967"/>
                        <a:pt x="643" y="967"/>
                      </a:cubicBezTo>
                      <a:cubicBezTo>
                        <a:pt x="890" y="967"/>
                        <a:pt x="1125" y="778"/>
                        <a:pt x="1125" y="485"/>
                      </a:cubicBezTo>
                      <a:cubicBezTo>
                        <a:pt x="1125" y="219"/>
                        <a:pt x="908" y="1"/>
                        <a:pt x="641" y="1"/>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7577" name="Google Shape;7577;p104"/>
              <p:cNvGrpSpPr/>
              <p:nvPr/>
            </p:nvGrpSpPr>
            <p:grpSpPr>
              <a:xfrm>
                <a:off x="5158005" y="3875284"/>
                <a:ext cx="31405" cy="27001"/>
                <a:chOff x="5158005" y="3875284"/>
                <a:chExt cx="31405" cy="27001"/>
              </a:xfrm>
            </p:grpSpPr>
            <p:sp>
              <p:nvSpPr>
                <p:cNvPr id="7578" name="Google Shape;7578;p104"/>
                <p:cNvSpPr/>
                <p:nvPr/>
              </p:nvSpPr>
              <p:spPr>
                <a:xfrm>
                  <a:off x="5158005" y="3875284"/>
                  <a:ext cx="31405" cy="27001"/>
                </a:xfrm>
                <a:custGeom>
                  <a:avLst/>
                  <a:gdLst/>
                  <a:ahLst/>
                  <a:cxnLst/>
                  <a:rect l="l" t="t" r="r" b="b"/>
                  <a:pathLst>
                    <a:path w="3993" h="3433" extrusionOk="0">
                      <a:moveTo>
                        <a:pt x="2273" y="1"/>
                      </a:moveTo>
                      <a:cubicBezTo>
                        <a:pt x="1853" y="1"/>
                        <a:pt x="1425" y="157"/>
                        <a:pt x="1077" y="505"/>
                      </a:cubicBezTo>
                      <a:cubicBezTo>
                        <a:pt x="0" y="1581"/>
                        <a:pt x="763" y="3432"/>
                        <a:pt x="2287" y="3432"/>
                      </a:cubicBezTo>
                      <a:cubicBezTo>
                        <a:pt x="3230" y="3432"/>
                        <a:pt x="3992" y="2658"/>
                        <a:pt x="3992" y="1714"/>
                      </a:cubicBezTo>
                      <a:cubicBezTo>
                        <a:pt x="3992" y="683"/>
                        <a:pt x="3151" y="1"/>
                        <a:pt x="2273" y="1"/>
                      </a:cubicBez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579" name="Google Shape;7579;p104"/>
                <p:cNvSpPr/>
                <p:nvPr/>
              </p:nvSpPr>
              <p:spPr>
                <a:xfrm>
                  <a:off x="5170848" y="3884958"/>
                  <a:ext cx="8950" cy="7645"/>
                </a:xfrm>
                <a:custGeom>
                  <a:avLst/>
                  <a:gdLst/>
                  <a:ahLst/>
                  <a:cxnLst/>
                  <a:rect l="l" t="t" r="r" b="b"/>
                  <a:pathLst>
                    <a:path w="1138" h="972" extrusionOk="0">
                      <a:moveTo>
                        <a:pt x="654" y="0"/>
                      </a:moveTo>
                      <a:cubicBezTo>
                        <a:pt x="218" y="0"/>
                        <a:pt x="1" y="521"/>
                        <a:pt x="303" y="823"/>
                      </a:cubicBezTo>
                      <a:cubicBezTo>
                        <a:pt x="406" y="926"/>
                        <a:pt x="531" y="972"/>
                        <a:pt x="652" y="972"/>
                      </a:cubicBezTo>
                      <a:cubicBezTo>
                        <a:pt x="902" y="972"/>
                        <a:pt x="1138" y="777"/>
                        <a:pt x="1138" y="484"/>
                      </a:cubicBezTo>
                      <a:cubicBezTo>
                        <a:pt x="1138" y="218"/>
                        <a:pt x="920" y="0"/>
                        <a:pt x="654" y="0"/>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7580" name="Google Shape;7580;p104"/>
              <p:cNvGrpSpPr/>
              <p:nvPr/>
            </p:nvGrpSpPr>
            <p:grpSpPr>
              <a:xfrm>
                <a:off x="5233163" y="3764545"/>
                <a:ext cx="31499" cy="26898"/>
                <a:chOff x="5233163" y="3764545"/>
                <a:chExt cx="31499" cy="26898"/>
              </a:xfrm>
            </p:grpSpPr>
            <p:sp>
              <p:nvSpPr>
                <p:cNvPr id="7581" name="Google Shape;7581;p104"/>
                <p:cNvSpPr/>
                <p:nvPr/>
              </p:nvSpPr>
              <p:spPr>
                <a:xfrm>
                  <a:off x="5233163" y="3764545"/>
                  <a:ext cx="31499" cy="26898"/>
                </a:xfrm>
                <a:custGeom>
                  <a:avLst/>
                  <a:gdLst/>
                  <a:ahLst/>
                  <a:cxnLst/>
                  <a:rect l="l" t="t" r="r" b="b"/>
                  <a:pathLst>
                    <a:path w="4005" h="3420" extrusionOk="0">
                      <a:moveTo>
                        <a:pt x="2276" y="0"/>
                      </a:moveTo>
                      <a:cubicBezTo>
                        <a:pt x="1855" y="0"/>
                        <a:pt x="1426" y="156"/>
                        <a:pt x="1078" y="504"/>
                      </a:cubicBezTo>
                      <a:cubicBezTo>
                        <a:pt x="1" y="1581"/>
                        <a:pt x="763" y="3419"/>
                        <a:pt x="2287" y="3419"/>
                      </a:cubicBezTo>
                      <a:cubicBezTo>
                        <a:pt x="3231" y="3419"/>
                        <a:pt x="4005" y="2657"/>
                        <a:pt x="4005" y="1714"/>
                      </a:cubicBezTo>
                      <a:cubicBezTo>
                        <a:pt x="4005" y="682"/>
                        <a:pt x="3158" y="0"/>
                        <a:pt x="2276" y="0"/>
                      </a:cubicBez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582" name="Google Shape;7582;p104"/>
                <p:cNvSpPr/>
                <p:nvPr/>
              </p:nvSpPr>
              <p:spPr>
                <a:xfrm>
                  <a:off x="5246108" y="3774211"/>
                  <a:ext cx="8856" cy="7590"/>
                </a:xfrm>
                <a:custGeom>
                  <a:avLst/>
                  <a:gdLst/>
                  <a:ahLst/>
                  <a:cxnLst/>
                  <a:rect l="l" t="t" r="r" b="b"/>
                  <a:pathLst>
                    <a:path w="1126" h="965" extrusionOk="0">
                      <a:moveTo>
                        <a:pt x="641" y="1"/>
                      </a:moveTo>
                      <a:cubicBezTo>
                        <a:pt x="218" y="1"/>
                        <a:pt x="0" y="521"/>
                        <a:pt x="303" y="823"/>
                      </a:cubicBezTo>
                      <a:cubicBezTo>
                        <a:pt x="400" y="921"/>
                        <a:pt x="520" y="964"/>
                        <a:pt x="638" y="964"/>
                      </a:cubicBezTo>
                      <a:cubicBezTo>
                        <a:pt x="886" y="964"/>
                        <a:pt x="1125" y="772"/>
                        <a:pt x="1125" y="485"/>
                      </a:cubicBezTo>
                      <a:cubicBezTo>
                        <a:pt x="1125" y="219"/>
                        <a:pt x="907" y="1"/>
                        <a:pt x="641" y="1"/>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7583" name="Google Shape;7583;p104"/>
              <p:cNvGrpSpPr/>
              <p:nvPr/>
            </p:nvGrpSpPr>
            <p:grpSpPr>
              <a:xfrm>
                <a:off x="5276168" y="3805545"/>
                <a:ext cx="31499" cy="26906"/>
                <a:chOff x="5276168" y="3805545"/>
                <a:chExt cx="31499" cy="26906"/>
              </a:xfrm>
            </p:grpSpPr>
            <p:sp>
              <p:nvSpPr>
                <p:cNvPr id="7584" name="Google Shape;7584;p104"/>
                <p:cNvSpPr/>
                <p:nvPr/>
              </p:nvSpPr>
              <p:spPr>
                <a:xfrm>
                  <a:off x="5276168" y="3805545"/>
                  <a:ext cx="31499" cy="26906"/>
                </a:xfrm>
                <a:custGeom>
                  <a:avLst/>
                  <a:gdLst/>
                  <a:ahLst/>
                  <a:cxnLst/>
                  <a:rect l="l" t="t" r="r" b="b"/>
                  <a:pathLst>
                    <a:path w="4005" h="3421" extrusionOk="0">
                      <a:moveTo>
                        <a:pt x="2281" y="1"/>
                      </a:moveTo>
                      <a:cubicBezTo>
                        <a:pt x="1860" y="1"/>
                        <a:pt x="1429" y="157"/>
                        <a:pt x="1077" y="505"/>
                      </a:cubicBezTo>
                      <a:cubicBezTo>
                        <a:pt x="1" y="1581"/>
                        <a:pt x="763" y="3420"/>
                        <a:pt x="2287" y="3420"/>
                      </a:cubicBezTo>
                      <a:cubicBezTo>
                        <a:pt x="3231" y="3420"/>
                        <a:pt x="4005" y="2658"/>
                        <a:pt x="4005" y="1714"/>
                      </a:cubicBezTo>
                      <a:cubicBezTo>
                        <a:pt x="4005" y="683"/>
                        <a:pt x="3163" y="1"/>
                        <a:pt x="2281" y="1"/>
                      </a:cubicBez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585" name="Google Shape;7585;p104"/>
                <p:cNvSpPr/>
                <p:nvPr/>
              </p:nvSpPr>
              <p:spPr>
                <a:xfrm>
                  <a:off x="5289106" y="3815219"/>
                  <a:ext cx="8856" cy="7605"/>
                </a:xfrm>
                <a:custGeom>
                  <a:avLst/>
                  <a:gdLst/>
                  <a:ahLst/>
                  <a:cxnLst/>
                  <a:rect l="l" t="t" r="r" b="b"/>
                  <a:pathLst>
                    <a:path w="1126" h="967" extrusionOk="0">
                      <a:moveTo>
                        <a:pt x="642" y="1"/>
                      </a:moveTo>
                      <a:cubicBezTo>
                        <a:pt x="219" y="1"/>
                        <a:pt x="1" y="521"/>
                        <a:pt x="303" y="823"/>
                      </a:cubicBezTo>
                      <a:cubicBezTo>
                        <a:pt x="402" y="922"/>
                        <a:pt x="524" y="967"/>
                        <a:pt x="644" y="967"/>
                      </a:cubicBezTo>
                      <a:cubicBezTo>
                        <a:pt x="890" y="967"/>
                        <a:pt x="1126" y="778"/>
                        <a:pt x="1126" y="484"/>
                      </a:cubicBezTo>
                      <a:cubicBezTo>
                        <a:pt x="1126" y="218"/>
                        <a:pt x="908" y="1"/>
                        <a:pt x="642" y="1"/>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7586" name="Google Shape;7586;p104"/>
              <p:cNvGrpSpPr/>
              <p:nvPr/>
            </p:nvGrpSpPr>
            <p:grpSpPr>
              <a:xfrm>
                <a:off x="5294053" y="3851933"/>
                <a:ext cx="31405" cy="26945"/>
                <a:chOff x="5294053" y="3851933"/>
                <a:chExt cx="31405" cy="26945"/>
              </a:xfrm>
            </p:grpSpPr>
            <p:sp>
              <p:nvSpPr>
                <p:cNvPr id="7587" name="Google Shape;7587;p104"/>
                <p:cNvSpPr/>
                <p:nvPr/>
              </p:nvSpPr>
              <p:spPr>
                <a:xfrm>
                  <a:off x="5294053" y="3851933"/>
                  <a:ext cx="31405" cy="26945"/>
                </a:xfrm>
                <a:custGeom>
                  <a:avLst/>
                  <a:gdLst/>
                  <a:ahLst/>
                  <a:cxnLst/>
                  <a:rect l="l" t="t" r="r" b="b"/>
                  <a:pathLst>
                    <a:path w="3993" h="3426" extrusionOk="0">
                      <a:moveTo>
                        <a:pt x="2273" y="1"/>
                      </a:moveTo>
                      <a:cubicBezTo>
                        <a:pt x="1854" y="1"/>
                        <a:pt x="1426" y="158"/>
                        <a:pt x="1077" y="510"/>
                      </a:cubicBezTo>
                      <a:cubicBezTo>
                        <a:pt x="1" y="1587"/>
                        <a:pt x="763" y="3425"/>
                        <a:pt x="2287" y="3425"/>
                      </a:cubicBezTo>
                      <a:cubicBezTo>
                        <a:pt x="3231" y="3425"/>
                        <a:pt x="3993" y="2663"/>
                        <a:pt x="3993" y="1720"/>
                      </a:cubicBezTo>
                      <a:cubicBezTo>
                        <a:pt x="3993" y="688"/>
                        <a:pt x="3151" y="1"/>
                        <a:pt x="2273" y="1"/>
                      </a:cubicBez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588" name="Google Shape;7588;p104"/>
                <p:cNvSpPr/>
                <p:nvPr/>
              </p:nvSpPr>
              <p:spPr>
                <a:xfrm>
                  <a:off x="5308234" y="3861552"/>
                  <a:ext cx="7621" cy="7621"/>
                </a:xfrm>
                <a:custGeom>
                  <a:avLst/>
                  <a:gdLst/>
                  <a:ahLst/>
                  <a:cxnLst/>
                  <a:rect l="l" t="t" r="r" b="b"/>
                  <a:pathLst>
                    <a:path w="969" h="969" extrusionOk="0">
                      <a:moveTo>
                        <a:pt x="484" y="1"/>
                      </a:moveTo>
                      <a:cubicBezTo>
                        <a:pt x="218" y="1"/>
                        <a:pt x="0" y="218"/>
                        <a:pt x="0" y="485"/>
                      </a:cubicBezTo>
                      <a:cubicBezTo>
                        <a:pt x="0" y="763"/>
                        <a:pt x="218" y="968"/>
                        <a:pt x="484" y="968"/>
                      </a:cubicBezTo>
                      <a:cubicBezTo>
                        <a:pt x="750" y="968"/>
                        <a:pt x="968" y="763"/>
                        <a:pt x="968" y="485"/>
                      </a:cubicBezTo>
                      <a:cubicBezTo>
                        <a:pt x="968" y="218"/>
                        <a:pt x="750" y="1"/>
                        <a:pt x="484" y="1"/>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7589" name="Google Shape;7589;p104"/>
              <p:cNvGrpSpPr/>
              <p:nvPr/>
            </p:nvGrpSpPr>
            <p:grpSpPr>
              <a:xfrm>
                <a:off x="5341723" y="3851902"/>
                <a:ext cx="31405" cy="26977"/>
                <a:chOff x="5341723" y="3851902"/>
                <a:chExt cx="31405" cy="26977"/>
              </a:xfrm>
            </p:grpSpPr>
            <p:sp>
              <p:nvSpPr>
                <p:cNvPr id="7590" name="Google Shape;7590;p104"/>
                <p:cNvSpPr/>
                <p:nvPr/>
              </p:nvSpPr>
              <p:spPr>
                <a:xfrm>
                  <a:off x="5341723" y="3851902"/>
                  <a:ext cx="31405" cy="26977"/>
                </a:xfrm>
                <a:custGeom>
                  <a:avLst/>
                  <a:gdLst/>
                  <a:ahLst/>
                  <a:cxnLst/>
                  <a:rect l="l" t="t" r="r" b="b"/>
                  <a:pathLst>
                    <a:path w="3993" h="3430" extrusionOk="0">
                      <a:moveTo>
                        <a:pt x="2266" y="1"/>
                      </a:moveTo>
                      <a:cubicBezTo>
                        <a:pt x="1848" y="1"/>
                        <a:pt x="1423" y="156"/>
                        <a:pt x="1077" y="502"/>
                      </a:cubicBezTo>
                      <a:cubicBezTo>
                        <a:pt x="0" y="1578"/>
                        <a:pt x="762" y="3429"/>
                        <a:pt x="2287" y="3429"/>
                      </a:cubicBezTo>
                      <a:cubicBezTo>
                        <a:pt x="3230" y="3429"/>
                        <a:pt x="3992" y="2667"/>
                        <a:pt x="3992" y="1724"/>
                      </a:cubicBezTo>
                      <a:cubicBezTo>
                        <a:pt x="3992" y="690"/>
                        <a:pt x="3146" y="1"/>
                        <a:pt x="2266" y="1"/>
                      </a:cubicBez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591" name="Google Shape;7591;p104"/>
                <p:cNvSpPr/>
                <p:nvPr/>
              </p:nvSpPr>
              <p:spPr>
                <a:xfrm>
                  <a:off x="5354567" y="3861647"/>
                  <a:ext cx="8950" cy="7590"/>
                </a:xfrm>
                <a:custGeom>
                  <a:avLst/>
                  <a:gdLst/>
                  <a:ahLst/>
                  <a:cxnLst/>
                  <a:rect l="l" t="t" r="r" b="b"/>
                  <a:pathLst>
                    <a:path w="1138" h="965" extrusionOk="0">
                      <a:moveTo>
                        <a:pt x="654" y="1"/>
                      </a:moveTo>
                      <a:cubicBezTo>
                        <a:pt x="218" y="1"/>
                        <a:pt x="0" y="521"/>
                        <a:pt x="303" y="823"/>
                      </a:cubicBezTo>
                      <a:cubicBezTo>
                        <a:pt x="404" y="921"/>
                        <a:pt x="527" y="964"/>
                        <a:pt x="646" y="964"/>
                      </a:cubicBezTo>
                      <a:cubicBezTo>
                        <a:pt x="898" y="964"/>
                        <a:pt x="1138" y="772"/>
                        <a:pt x="1138" y="485"/>
                      </a:cubicBezTo>
                      <a:cubicBezTo>
                        <a:pt x="1138" y="206"/>
                        <a:pt x="920" y="1"/>
                        <a:pt x="654" y="1"/>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7592" name="Google Shape;7592;p104"/>
              <p:cNvGrpSpPr/>
              <p:nvPr/>
            </p:nvGrpSpPr>
            <p:grpSpPr>
              <a:xfrm>
                <a:off x="5054871" y="3507855"/>
                <a:ext cx="31405" cy="26993"/>
                <a:chOff x="5054871" y="3507855"/>
                <a:chExt cx="31405" cy="26993"/>
              </a:xfrm>
            </p:grpSpPr>
            <p:sp>
              <p:nvSpPr>
                <p:cNvPr id="7593" name="Google Shape;7593;p104"/>
                <p:cNvSpPr/>
                <p:nvPr/>
              </p:nvSpPr>
              <p:spPr>
                <a:xfrm>
                  <a:off x="5054871" y="3507855"/>
                  <a:ext cx="31405" cy="26993"/>
                </a:xfrm>
                <a:custGeom>
                  <a:avLst/>
                  <a:gdLst/>
                  <a:ahLst/>
                  <a:cxnLst/>
                  <a:rect l="l" t="t" r="r" b="b"/>
                  <a:pathLst>
                    <a:path w="3993" h="3432" extrusionOk="0">
                      <a:moveTo>
                        <a:pt x="2273" y="0"/>
                      </a:moveTo>
                      <a:cubicBezTo>
                        <a:pt x="1853" y="0"/>
                        <a:pt x="1425" y="156"/>
                        <a:pt x="1077" y="504"/>
                      </a:cubicBezTo>
                      <a:cubicBezTo>
                        <a:pt x="1" y="1581"/>
                        <a:pt x="763" y="3431"/>
                        <a:pt x="2287" y="3431"/>
                      </a:cubicBezTo>
                      <a:cubicBezTo>
                        <a:pt x="3230" y="3431"/>
                        <a:pt x="3993" y="2657"/>
                        <a:pt x="3993" y="1714"/>
                      </a:cubicBezTo>
                      <a:cubicBezTo>
                        <a:pt x="3993" y="682"/>
                        <a:pt x="3151" y="0"/>
                        <a:pt x="2273" y="0"/>
                      </a:cubicBez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594" name="Google Shape;7594;p104"/>
                <p:cNvSpPr/>
                <p:nvPr/>
              </p:nvSpPr>
              <p:spPr>
                <a:xfrm>
                  <a:off x="5067715" y="3517521"/>
                  <a:ext cx="8950" cy="7605"/>
                </a:xfrm>
                <a:custGeom>
                  <a:avLst/>
                  <a:gdLst/>
                  <a:ahLst/>
                  <a:cxnLst/>
                  <a:rect l="l" t="t" r="r" b="b"/>
                  <a:pathLst>
                    <a:path w="1138" h="967" extrusionOk="0">
                      <a:moveTo>
                        <a:pt x="654" y="1"/>
                      </a:moveTo>
                      <a:cubicBezTo>
                        <a:pt x="218" y="1"/>
                        <a:pt x="1" y="521"/>
                        <a:pt x="315" y="823"/>
                      </a:cubicBezTo>
                      <a:cubicBezTo>
                        <a:pt x="414" y="922"/>
                        <a:pt x="536" y="967"/>
                        <a:pt x="656" y="967"/>
                      </a:cubicBezTo>
                      <a:cubicBezTo>
                        <a:pt x="902" y="967"/>
                        <a:pt x="1138" y="778"/>
                        <a:pt x="1138" y="485"/>
                      </a:cubicBezTo>
                      <a:cubicBezTo>
                        <a:pt x="1138" y="219"/>
                        <a:pt x="920" y="1"/>
                        <a:pt x="654" y="1"/>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7595" name="Google Shape;7595;p104"/>
              <p:cNvGrpSpPr/>
              <p:nvPr/>
            </p:nvGrpSpPr>
            <p:grpSpPr>
              <a:xfrm>
                <a:off x="4876579" y="3675325"/>
                <a:ext cx="31405" cy="26969"/>
                <a:chOff x="4876579" y="3675325"/>
                <a:chExt cx="31405" cy="26969"/>
              </a:xfrm>
            </p:grpSpPr>
            <p:sp>
              <p:nvSpPr>
                <p:cNvPr id="7596" name="Google Shape;7596;p104"/>
                <p:cNvSpPr/>
                <p:nvPr/>
              </p:nvSpPr>
              <p:spPr>
                <a:xfrm>
                  <a:off x="4876579" y="3675325"/>
                  <a:ext cx="31405" cy="26969"/>
                </a:xfrm>
                <a:custGeom>
                  <a:avLst/>
                  <a:gdLst/>
                  <a:ahLst/>
                  <a:cxnLst/>
                  <a:rect l="l" t="t" r="r" b="b"/>
                  <a:pathLst>
                    <a:path w="3993" h="3429" extrusionOk="0">
                      <a:moveTo>
                        <a:pt x="2266" y="0"/>
                      </a:moveTo>
                      <a:cubicBezTo>
                        <a:pt x="1848" y="0"/>
                        <a:pt x="1423" y="155"/>
                        <a:pt x="1077" y="501"/>
                      </a:cubicBezTo>
                      <a:cubicBezTo>
                        <a:pt x="0" y="1578"/>
                        <a:pt x="762" y="3429"/>
                        <a:pt x="2287" y="3429"/>
                      </a:cubicBezTo>
                      <a:cubicBezTo>
                        <a:pt x="3230" y="3429"/>
                        <a:pt x="3992" y="2667"/>
                        <a:pt x="3992" y="1723"/>
                      </a:cubicBezTo>
                      <a:cubicBezTo>
                        <a:pt x="3992" y="689"/>
                        <a:pt x="3146" y="0"/>
                        <a:pt x="2266" y="0"/>
                      </a:cubicBez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597" name="Google Shape;7597;p104"/>
                <p:cNvSpPr/>
                <p:nvPr/>
              </p:nvSpPr>
              <p:spPr>
                <a:xfrm>
                  <a:off x="4889517" y="3684975"/>
                  <a:ext cx="8856" cy="7676"/>
                </a:xfrm>
                <a:custGeom>
                  <a:avLst/>
                  <a:gdLst/>
                  <a:ahLst/>
                  <a:cxnLst/>
                  <a:rect l="l" t="t" r="r" b="b"/>
                  <a:pathLst>
                    <a:path w="1126" h="976" extrusionOk="0">
                      <a:moveTo>
                        <a:pt x="642" y="0"/>
                      </a:moveTo>
                      <a:cubicBezTo>
                        <a:pt x="218" y="12"/>
                        <a:pt x="0" y="520"/>
                        <a:pt x="303" y="835"/>
                      </a:cubicBezTo>
                      <a:cubicBezTo>
                        <a:pt x="400" y="932"/>
                        <a:pt x="520" y="976"/>
                        <a:pt x="638" y="976"/>
                      </a:cubicBezTo>
                      <a:cubicBezTo>
                        <a:pt x="886" y="976"/>
                        <a:pt x="1125" y="783"/>
                        <a:pt x="1125" y="496"/>
                      </a:cubicBezTo>
                      <a:cubicBezTo>
                        <a:pt x="1125" y="218"/>
                        <a:pt x="908" y="0"/>
                        <a:pt x="642" y="0"/>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7598" name="Google Shape;7598;p104"/>
              <p:cNvGrpSpPr/>
              <p:nvPr/>
            </p:nvGrpSpPr>
            <p:grpSpPr>
              <a:xfrm>
                <a:off x="4842233" y="3688333"/>
                <a:ext cx="31405" cy="26993"/>
                <a:chOff x="4842233" y="3688333"/>
                <a:chExt cx="31405" cy="26993"/>
              </a:xfrm>
            </p:grpSpPr>
            <p:sp>
              <p:nvSpPr>
                <p:cNvPr id="7599" name="Google Shape;7599;p104"/>
                <p:cNvSpPr/>
                <p:nvPr/>
              </p:nvSpPr>
              <p:spPr>
                <a:xfrm>
                  <a:off x="4842233" y="3688333"/>
                  <a:ext cx="31405" cy="26993"/>
                </a:xfrm>
                <a:custGeom>
                  <a:avLst/>
                  <a:gdLst/>
                  <a:ahLst/>
                  <a:cxnLst/>
                  <a:rect l="l" t="t" r="r" b="b"/>
                  <a:pathLst>
                    <a:path w="3993" h="3432" extrusionOk="0">
                      <a:moveTo>
                        <a:pt x="2273" y="1"/>
                      </a:moveTo>
                      <a:cubicBezTo>
                        <a:pt x="1853" y="1"/>
                        <a:pt x="1425" y="156"/>
                        <a:pt x="1077" y="505"/>
                      </a:cubicBezTo>
                      <a:cubicBezTo>
                        <a:pt x="0" y="1581"/>
                        <a:pt x="762" y="3420"/>
                        <a:pt x="2287" y="3432"/>
                      </a:cubicBezTo>
                      <a:cubicBezTo>
                        <a:pt x="3230" y="3432"/>
                        <a:pt x="3992" y="2658"/>
                        <a:pt x="3992" y="1714"/>
                      </a:cubicBezTo>
                      <a:cubicBezTo>
                        <a:pt x="3992" y="683"/>
                        <a:pt x="3150" y="1"/>
                        <a:pt x="2273" y="1"/>
                      </a:cubicBez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600" name="Google Shape;7600;p104"/>
                <p:cNvSpPr/>
                <p:nvPr/>
              </p:nvSpPr>
              <p:spPr>
                <a:xfrm>
                  <a:off x="4855076" y="3698094"/>
                  <a:ext cx="8856" cy="7590"/>
                </a:xfrm>
                <a:custGeom>
                  <a:avLst/>
                  <a:gdLst/>
                  <a:ahLst/>
                  <a:cxnLst/>
                  <a:rect l="l" t="t" r="r" b="b"/>
                  <a:pathLst>
                    <a:path w="1126" h="965" extrusionOk="0">
                      <a:moveTo>
                        <a:pt x="664" y="1"/>
                      </a:moveTo>
                      <a:cubicBezTo>
                        <a:pt x="656" y="1"/>
                        <a:pt x="649" y="1"/>
                        <a:pt x="641" y="1"/>
                      </a:cubicBezTo>
                      <a:cubicBezTo>
                        <a:pt x="218" y="1"/>
                        <a:pt x="0" y="522"/>
                        <a:pt x="303" y="824"/>
                      </a:cubicBezTo>
                      <a:cubicBezTo>
                        <a:pt x="400" y="921"/>
                        <a:pt x="520" y="965"/>
                        <a:pt x="638" y="965"/>
                      </a:cubicBezTo>
                      <a:cubicBezTo>
                        <a:pt x="886" y="965"/>
                        <a:pt x="1125" y="772"/>
                        <a:pt x="1125" y="485"/>
                      </a:cubicBezTo>
                      <a:cubicBezTo>
                        <a:pt x="1125" y="215"/>
                        <a:pt x="931" y="1"/>
                        <a:pt x="664" y="1"/>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7601" name="Google Shape;7601;p104"/>
              <p:cNvGrpSpPr/>
              <p:nvPr/>
            </p:nvGrpSpPr>
            <p:grpSpPr>
              <a:xfrm>
                <a:off x="5187876" y="3608032"/>
                <a:ext cx="31405" cy="27001"/>
                <a:chOff x="5187876" y="3608032"/>
                <a:chExt cx="31405" cy="27001"/>
              </a:xfrm>
            </p:grpSpPr>
            <p:sp>
              <p:nvSpPr>
                <p:cNvPr id="7602" name="Google Shape;7602;p104"/>
                <p:cNvSpPr/>
                <p:nvPr/>
              </p:nvSpPr>
              <p:spPr>
                <a:xfrm>
                  <a:off x="5187876" y="3608032"/>
                  <a:ext cx="31405" cy="27001"/>
                </a:xfrm>
                <a:custGeom>
                  <a:avLst/>
                  <a:gdLst/>
                  <a:ahLst/>
                  <a:cxnLst/>
                  <a:rect l="l" t="t" r="r" b="b"/>
                  <a:pathLst>
                    <a:path w="3993" h="3433" extrusionOk="0">
                      <a:moveTo>
                        <a:pt x="2273" y="1"/>
                      </a:moveTo>
                      <a:cubicBezTo>
                        <a:pt x="1853" y="1"/>
                        <a:pt x="1426" y="157"/>
                        <a:pt x="1077" y="505"/>
                      </a:cubicBezTo>
                      <a:cubicBezTo>
                        <a:pt x="1" y="1582"/>
                        <a:pt x="763" y="3432"/>
                        <a:pt x="2287" y="3432"/>
                      </a:cubicBezTo>
                      <a:cubicBezTo>
                        <a:pt x="3231" y="3420"/>
                        <a:pt x="3993" y="2658"/>
                        <a:pt x="3993" y="1715"/>
                      </a:cubicBezTo>
                      <a:cubicBezTo>
                        <a:pt x="3993" y="683"/>
                        <a:pt x="3151" y="1"/>
                        <a:pt x="2273" y="1"/>
                      </a:cubicBez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603" name="Google Shape;7603;p104"/>
                <p:cNvSpPr/>
                <p:nvPr/>
              </p:nvSpPr>
              <p:spPr>
                <a:xfrm>
                  <a:off x="5202057" y="3617706"/>
                  <a:ext cx="7621" cy="7621"/>
                </a:xfrm>
                <a:custGeom>
                  <a:avLst/>
                  <a:gdLst/>
                  <a:ahLst/>
                  <a:cxnLst/>
                  <a:rect l="l" t="t" r="r" b="b"/>
                  <a:pathLst>
                    <a:path w="969" h="969" extrusionOk="0">
                      <a:moveTo>
                        <a:pt x="484" y="1"/>
                      </a:moveTo>
                      <a:cubicBezTo>
                        <a:pt x="218" y="1"/>
                        <a:pt x="0" y="218"/>
                        <a:pt x="0" y="485"/>
                      </a:cubicBezTo>
                      <a:cubicBezTo>
                        <a:pt x="0" y="751"/>
                        <a:pt x="218" y="968"/>
                        <a:pt x="484" y="968"/>
                      </a:cubicBezTo>
                      <a:cubicBezTo>
                        <a:pt x="750" y="968"/>
                        <a:pt x="968" y="751"/>
                        <a:pt x="968" y="485"/>
                      </a:cubicBezTo>
                      <a:cubicBezTo>
                        <a:pt x="968" y="218"/>
                        <a:pt x="750" y="1"/>
                        <a:pt x="484" y="1"/>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sp>
            <p:nvSpPr>
              <p:cNvPr id="7604" name="Google Shape;7604;p104"/>
              <p:cNvSpPr/>
              <p:nvPr/>
            </p:nvSpPr>
            <p:spPr>
              <a:xfrm>
                <a:off x="5142589" y="3410030"/>
                <a:ext cx="42542" cy="36525"/>
              </a:xfrm>
              <a:custGeom>
                <a:avLst/>
                <a:gdLst/>
                <a:ahLst/>
                <a:cxnLst/>
                <a:rect l="l" t="t" r="r" b="b"/>
                <a:pathLst>
                  <a:path w="5409" h="4644" extrusionOk="0">
                    <a:moveTo>
                      <a:pt x="3085" y="1"/>
                    </a:moveTo>
                    <a:cubicBezTo>
                      <a:pt x="2516" y="1"/>
                      <a:pt x="1935" y="213"/>
                      <a:pt x="1465" y="688"/>
                    </a:cubicBezTo>
                    <a:cubicBezTo>
                      <a:pt x="1" y="2140"/>
                      <a:pt x="1029" y="4632"/>
                      <a:pt x="3098" y="4644"/>
                    </a:cubicBezTo>
                    <a:cubicBezTo>
                      <a:pt x="4380" y="4632"/>
                      <a:pt x="5408" y="3603"/>
                      <a:pt x="5408" y="2321"/>
                    </a:cubicBezTo>
                    <a:cubicBezTo>
                      <a:pt x="5408" y="923"/>
                      <a:pt x="4270" y="1"/>
                      <a:pt x="3085" y="1"/>
                    </a:cubicBez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605" name="Google Shape;7605;p104"/>
              <p:cNvSpPr/>
              <p:nvPr/>
            </p:nvSpPr>
            <p:spPr>
              <a:xfrm>
                <a:off x="5158382" y="3419720"/>
                <a:ext cx="17138" cy="17130"/>
              </a:xfrm>
              <a:custGeom>
                <a:avLst/>
                <a:gdLst/>
                <a:ahLst/>
                <a:cxnLst/>
                <a:rect l="l" t="t" r="r" b="b"/>
                <a:pathLst>
                  <a:path w="2179" h="2178" extrusionOk="0">
                    <a:moveTo>
                      <a:pt x="1090" y="0"/>
                    </a:moveTo>
                    <a:cubicBezTo>
                      <a:pt x="485" y="0"/>
                      <a:pt x="1" y="484"/>
                      <a:pt x="1" y="1089"/>
                    </a:cubicBezTo>
                    <a:cubicBezTo>
                      <a:pt x="1" y="1694"/>
                      <a:pt x="485" y="2178"/>
                      <a:pt x="1090" y="2178"/>
                    </a:cubicBezTo>
                    <a:cubicBezTo>
                      <a:pt x="1694" y="2178"/>
                      <a:pt x="2178" y="1694"/>
                      <a:pt x="2178" y="1089"/>
                    </a:cubicBezTo>
                    <a:cubicBezTo>
                      <a:pt x="2178" y="484"/>
                      <a:pt x="1694" y="0"/>
                      <a:pt x="1090" y="0"/>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nvGrpSpPr>
              <p:cNvPr id="7606" name="Google Shape;7606;p104"/>
              <p:cNvGrpSpPr/>
              <p:nvPr/>
            </p:nvGrpSpPr>
            <p:grpSpPr>
              <a:xfrm>
                <a:off x="5269224" y="3304167"/>
                <a:ext cx="40253" cy="34402"/>
                <a:chOff x="5269224" y="3304167"/>
                <a:chExt cx="40253" cy="34402"/>
              </a:xfrm>
            </p:grpSpPr>
            <p:sp>
              <p:nvSpPr>
                <p:cNvPr id="7607" name="Google Shape;7607;p104"/>
                <p:cNvSpPr/>
                <p:nvPr/>
              </p:nvSpPr>
              <p:spPr>
                <a:xfrm>
                  <a:off x="5269224" y="3304167"/>
                  <a:ext cx="40253" cy="34402"/>
                </a:xfrm>
                <a:custGeom>
                  <a:avLst/>
                  <a:gdLst/>
                  <a:ahLst/>
                  <a:cxnLst/>
                  <a:rect l="l" t="t" r="r" b="b"/>
                  <a:pathLst>
                    <a:path w="5118" h="4374" extrusionOk="0">
                      <a:moveTo>
                        <a:pt x="2915" y="0"/>
                      </a:moveTo>
                      <a:cubicBezTo>
                        <a:pt x="2376" y="0"/>
                        <a:pt x="1827" y="201"/>
                        <a:pt x="1380" y="648"/>
                      </a:cubicBezTo>
                      <a:cubicBezTo>
                        <a:pt x="1" y="2015"/>
                        <a:pt x="980" y="4374"/>
                        <a:pt x="2928" y="4374"/>
                      </a:cubicBezTo>
                      <a:cubicBezTo>
                        <a:pt x="4126" y="4374"/>
                        <a:pt x="5105" y="3394"/>
                        <a:pt x="5118" y="2184"/>
                      </a:cubicBezTo>
                      <a:cubicBezTo>
                        <a:pt x="5109" y="869"/>
                        <a:pt x="4036" y="0"/>
                        <a:pt x="2915" y="0"/>
                      </a:cubicBez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608" name="Google Shape;7608;p104"/>
                <p:cNvSpPr/>
                <p:nvPr/>
              </p:nvSpPr>
              <p:spPr>
                <a:xfrm>
                  <a:off x="5284639" y="3313826"/>
                  <a:ext cx="15132" cy="15140"/>
                </a:xfrm>
                <a:custGeom>
                  <a:avLst/>
                  <a:gdLst/>
                  <a:ahLst/>
                  <a:cxnLst/>
                  <a:rect l="l" t="t" r="r" b="b"/>
                  <a:pathLst>
                    <a:path w="1924" h="1925" extrusionOk="0">
                      <a:moveTo>
                        <a:pt x="968" y="1"/>
                      </a:moveTo>
                      <a:cubicBezTo>
                        <a:pt x="436" y="1"/>
                        <a:pt x="0" y="436"/>
                        <a:pt x="0" y="956"/>
                      </a:cubicBezTo>
                      <a:cubicBezTo>
                        <a:pt x="0" y="1489"/>
                        <a:pt x="436" y="1924"/>
                        <a:pt x="968" y="1924"/>
                      </a:cubicBezTo>
                      <a:cubicBezTo>
                        <a:pt x="1500" y="1924"/>
                        <a:pt x="1924" y="1489"/>
                        <a:pt x="1924" y="956"/>
                      </a:cubicBezTo>
                      <a:cubicBezTo>
                        <a:pt x="1924" y="436"/>
                        <a:pt x="1500" y="1"/>
                        <a:pt x="968" y="1"/>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7609" name="Google Shape;7609;p104"/>
              <p:cNvGrpSpPr/>
              <p:nvPr/>
            </p:nvGrpSpPr>
            <p:grpSpPr>
              <a:xfrm>
                <a:off x="5327354" y="3476615"/>
                <a:ext cx="49864" cy="42723"/>
                <a:chOff x="5327354" y="3476615"/>
                <a:chExt cx="49864" cy="42723"/>
              </a:xfrm>
            </p:grpSpPr>
            <p:sp>
              <p:nvSpPr>
                <p:cNvPr id="7610" name="Google Shape;7610;p104"/>
                <p:cNvSpPr/>
                <p:nvPr/>
              </p:nvSpPr>
              <p:spPr>
                <a:xfrm>
                  <a:off x="5327354" y="3476615"/>
                  <a:ext cx="49864" cy="42723"/>
                </a:xfrm>
                <a:custGeom>
                  <a:avLst/>
                  <a:gdLst/>
                  <a:ahLst/>
                  <a:cxnLst/>
                  <a:rect l="l" t="t" r="r" b="b"/>
                  <a:pathLst>
                    <a:path w="6340" h="5432" extrusionOk="0">
                      <a:moveTo>
                        <a:pt x="3602" y="1"/>
                      </a:moveTo>
                      <a:cubicBezTo>
                        <a:pt x="2936" y="1"/>
                        <a:pt x="2257" y="248"/>
                        <a:pt x="1706" y="799"/>
                      </a:cubicBezTo>
                      <a:cubicBezTo>
                        <a:pt x="1" y="2504"/>
                        <a:pt x="1210" y="5432"/>
                        <a:pt x="3630" y="5432"/>
                      </a:cubicBezTo>
                      <a:cubicBezTo>
                        <a:pt x="5118" y="5432"/>
                        <a:pt x="6339" y="4222"/>
                        <a:pt x="6339" y="2722"/>
                      </a:cubicBezTo>
                      <a:cubicBezTo>
                        <a:pt x="6339" y="1084"/>
                        <a:pt x="4998" y="1"/>
                        <a:pt x="3602" y="1"/>
                      </a:cubicBez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611" name="Google Shape;7611;p104"/>
                <p:cNvSpPr/>
                <p:nvPr/>
              </p:nvSpPr>
              <p:spPr>
                <a:xfrm>
                  <a:off x="5340197" y="3486321"/>
                  <a:ext cx="27315" cy="23406"/>
                </a:xfrm>
                <a:custGeom>
                  <a:avLst/>
                  <a:gdLst/>
                  <a:ahLst/>
                  <a:cxnLst/>
                  <a:rect l="l" t="t" r="r" b="b"/>
                  <a:pathLst>
                    <a:path w="3473" h="2976" extrusionOk="0">
                      <a:moveTo>
                        <a:pt x="1985" y="0"/>
                      </a:moveTo>
                      <a:cubicBezTo>
                        <a:pt x="666" y="0"/>
                        <a:pt x="1" y="1597"/>
                        <a:pt x="944" y="2540"/>
                      </a:cubicBezTo>
                      <a:cubicBezTo>
                        <a:pt x="1245" y="2841"/>
                        <a:pt x="1614" y="2975"/>
                        <a:pt x="1977" y="2975"/>
                      </a:cubicBezTo>
                      <a:cubicBezTo>
                        <a:pt x="2739" y="2975"/>
                        <a:pt x="3473" y="2381"/>
                        <a:pt x="3473" y="1488"/>
                      </a:cubicBezTo>
                      <a:cubicBezTo>
                        <a:pt x="3473" y="665"/>
                        <a:pt x="2807" y="0"/>
                        <a:pt x="1985" y="0"/>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sp>
            <p:nvSpPr>
              <p:cNvPr id="7612" name="Google Shape;7612;p104"/>
              <p:cNvSpPr/>
              <p:nvPr/>
            </p:nvSpPr>
            <p:spPr>
              <a:xfrm>
                <a:off x="5290255" y="3703080"/>
                <a:ext cx="31397" cy="26898"/>
              </a:xfrm>
              <a:custGeom>
                <a:avLst/>
                <a:gdLst/>
                <a:ahLst/>
                <a:cxnLst/>
                <a:rect l="l" t="t" r="r" b="b"/>
                <a:pathLst>
                  <a:path w="3992" h="3420" extrusionOk="0">
                    <a:moveTo>
                      <a:pt x="2272" y="1"/>
                    </a:moveTo>
                    <a:cubicBezTo>
                      <a:pt x="1853" y="1"/>
                      <a:pt x="1425" y="156"/>
                      <a:pt x="1077" y="505"/>
                    </a:cubicBezTo>
                    <a:cubicBezTo>
                      <a:pt x="0" y="1581"/>
                      <a:pt x="762" y="3420"/>
                      <a:pt x="2286" y="3420"/>
                    </a:cubicBezTo>
                    <a:cubicBezTo>
                      <a:pt x="3230" y="3420"/>
                      <a:pt x="3992" y="2658"/>
                      <a:pt x="3992" y="1714"/>
                    </a:cubicBezTo>
                    <a:cubicBezTo>
                      <a:pt x="3992" y="683"/>
                      <a:pt x="3150" y="1"/>
                      <a:pt x="2272" y="1"/>
                    </a:cubicBez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613" name="Google Shape;7613;p104"/>
              <p:cNvSpPr/>
              <p:nvPr/>
            </p:nvSpPr>
            <p:spPr>
              <a:xfrm>
                <a:off x="5304427" y="3712754"/>
                <a:ext cx="7621" cy="7621"/>
              </a:xfrm>
              <a:custGeom>
                <a:avLst/>
                <a:gdLst/>
                <a:ahLst/>
                <a:cxnLst/>
                <a:rect l="l" t="t" r="r" b="b"/>
                <a:pathLst>
                  <a:path w="969" h="969" extrusionOk="0">
                    <a:moveTo>
                      <a:pt x="484" y="0"/>
                    </a:moveTo>
                    <a:cubicBezTo>
                      <a:pt x="218" y="0"/>
                      <a:pt x="0" y="218"/>
                      <a:pt x="0" y="484"/>
                    </a:cubicBezTo>
                    <a:cubicBezTo>
                      <a:pt x="0" y="750"/>
                      <a:pt x="218" y="968"/>
                      <a:pt x="484" y="968"/>
                    </a:cubicBezTo>
                    <a:cubicBezTo>
                      <a:pt x="750" y="968"/>
                      <a:pt x="968" y="750"/>
                      <a:pt x="968" y="484"/>
                    </a:cubicBezTo>
                    <a:cubicBezTo>
                      <a:pt x="968" y="218"/>
                      <a:pt x="750" y="0"/>
                      <a:pt x="484" y="0"/>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nvGrpSpPr>
              <p:cNvPr id="7614" name="Google Shape;7614;p104"/>
              <p:cNvGrpSpPr/>
              <p:nvPr/>
            </p:nvGrpSpPr>
            <p:grpSpPr>
              <a:xfrm>
                <a:off x="5341723" y="3775957"/>
                <a:ext cx="31405" cy="26898"/>
                <a:chOff x="5341723" y="3775957"/>
                <a:chExt cx="31405" cy="26898"/>
              </a:xfrm>
            </p:grpSpPr>
            <p:sp>
              <p:nvSpPr>
                <p:cNvPr id="7615" name="Google Shape;7615;p104"/>
                <p:cNvSpPr/>
                <p:nvPr/>
              </p:nvSpPr>
              <p:spPr>
                <a:xfrm>
                  <a:off x="5341723" y="3775957"/>
                  <a:ext cx="31405" cy="26898"/>
                </a:xfrm>
                <a:custGeom>
                  <a:avLst/>
                  <a:gdLst/>
                  <a:ahLst/>
                  <a:cxnLst/>
                  <a:rect l="l" t="t" r="r" b="b"/>
                  <a:pathLst>
                    <a:path w="3993" h="3420" extrusionOk="0">
                      <a:moveTo>
                        <a:pt x="2273" y="1"/>
                      </a:moveTo>
                      <a:cubicBezTo>
                        <a:pt x="1853" y="1"/>
                        <a:pt x="1425" y="157"/>
                        <a:pt x="1077" y="505"/>
                      </a:cubicBezTo>
                      <a:cubicBezTo>
                        <a:pt x="0" y="1581"/>
                        <a:pt x="762" y="3420"/>
                        <a:pt x="2287" y="3420"/>
                      </a:cubicBezTo>
                      <a:cubicBezTo>
                        <a:pt x="3230" y="3420"/>
                        <a:pt x="3992" y="2658"/>
                        <a:pt x="3992" y="1714"/>
                      </a:cubicBezTo>
                      <a:cubicBezTo>
                        <a:pt x="3992" y="683"/>
                        <a:pt x="3151" y="1"/>
                        <a:pt x="2273" y="1"/>
                      </a:cubicBez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616" name="Google Shape;7616;p104"/>
                <p:cNvSpPr/>
                <p:nvPr/>
              </p:nvSpPr>
              <p:spPr>
                <a:xfrm>
                  <a:off x="5354567" y="3785631"/>
                  <a:ext cx="8950" cy="7605"/>
                </a:xfrm>
                <a:custGeom>
                  <a:avLst/>
                  <a:gdLst/>
                  <a:ahLst/>
                  <a:cxnLst/>
                  <a:rect l="l" t="t" r="r" b="b"/>
                  <a:pathLst>
                    <a:path w="1138" h="967" extrusionOk="0">
                      <a:moveTo>
                        <a:pt x="654" y="0"/>
                      </a:moveTo>
                      <a:cubicBezTo>
                        <a:pt x="218" y="0"/>
                        <a:pt x="0" y="521"/>
                        <a:pt x="303" y="823"/>
                      </a:cubicBezTo>
                      <a:cubicBezTo>
                        <a:pt x="402" y="922"/>
                        <a:pt x="525" y="966"/>
                        <a:pt x="646" y="966"/>
                      </a:cubicBezTo>
                      <a:cubicBezTo>
                        <a:pt x="896" y="966"/>
                        <a:pt x="1138" y="777"/>
                        <a:pt x="1138" y="484"/>
                      </a:cubicBezTo>
                      <a:cubicBezTo>
                        <a:pt x="1138" y="218"/>
                        <a:pt x="920" y="0"/>
                        <a:pt x="654" y="0"/>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7617" name="Google Shape;7617;p104"/>
              <p:cNvGrpSpPr/>
              <p:nvPr/>
            </p:nvGrpSpPr>
            <p:grpSpPr>
              <a:xfrm>
                <a:off x="5439053" y="3699274"/>
                <a:ext cx="31405" cy="26898"/>
                <a:chOff x="5439053" y="3699274"/>
                <a:chExt cx="31405" cy="26898"/>
              </a:xfrm>
            </p:grpSpPr>
            <p:sp>
              <p:nvSpPr>
                <p:cNvPr id="7618" name="Google Shape;7618;p104"/>
                <p:cNvSpPr/>
                <p:nvPr/>
              </p:nvSpPr>
              <p:spPr>
                <a:xfrm>
                  <a:off x="5439053" y="3699274"/>
                  <a:ext cx="31405" cy="26898"/>
                </a:xfrm>
                <a:custGeom>
                  <a:avLst/>
                  <a:gdLst/>
                  <a:ahLst/>
                  <a:cxnLst/>
                  <a:rect l="l" t="t" r="r" b="b"/>
                  <a:pathLst>
                    <a:path w="3993" h="3420" extrusionOk="0">
                      <a:moveTo>
                        <a:pt x="2273" y="1"/>
                      </a:moveTo>
                      <a:cubicBezTo>
                        <a:pt x="1853" y="1"/>
                        <a:pt x="1425" y="157"/>
                        <a:pt x="1077" y="505"/>
                      </a:cubicBezTo>
                      <a:cubicBezTo>
                        <a:pt x="0" y="1581"/>
                        <a:pt x="762" y="3420"/>
                        <a:pt x="2287" y="3420"/>
                      </a:cubicBezTo>
                      <a:cubicBezTo>
                        <a:pt x="3230" y="3420"/>
                        <a:pt x="3992" y="2658"/>
                        <a:pt x="3992" y="1714"/>
                      </a:cubicBezTo>
                      <a:cubicBezTo>
                        <a:pt x="3992" y="683"/>
                        <a:pt x="3151" y="1"/>
                        <a:pt x="2273" y="1"/>
                      </a:cubicBez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619" name="Google Shape;7619;p104"/>
                <p:cNvSpPr/>
                <p:nvPr/>
              </p:nvSpPr>
              <p:spPr>
                <a:xfrm>
                  <a:off x="5453225" y="3708948"/>
                  <a:ext cx="7621" cy="7621"/>
                </a:xfrm>
                <a:custGeom>
                  <a:avLst/>
                  <a:gdLst/>
                  <a:ahLst/>
                  <a:cxnLst/>
                  <a:rect l="l" t="t" r="r" b="b"/>
                  <a:pathLst>
                    <a:path w="969" h="969" extrusionOk="0">
                      <a:moveTo>
                        <a:pt x="485" y="0"/>
                      </a:moveTo>
                      <a:cubicBezTo>
                        <a:pt x="219" y="0"/>
                        <a:pt x="1" y="218"/>
                        <a:pt x="1" y="484"/>
                      </a:cubicBezTo>
                      <a:cubicBezTo>
                        <a:pt x="1" y="750"/>
                        <a:pt x="219" y="968"/>
                        <a:pt x="485" y="968"/>
                      </a:cubicBezTo>
                      <a:cubicBezTo>
                        <a:pt x="751" y="968"/>
                        <a:pt x="969" y="750"/>
                        <a:pt x="969" y="484"/>
                      </a:cubicBezTo>
                      <a:cubicBezTo>
                        <a:pt x="969" y="218"/>
                        <a:pt x="751" y="0"/>
                        <a:pt x="485" y="0"/>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7620" name="Google Shape;7620;p104"/>
              <p:cNvGrpSpPr/>
              <p:nvPr/>
            </p:nvGrpSpPr>
            <p:grpSpPr>
              <a:xfrm>
                <a:off x="5412414" y="3622307"/>
                <a:ext cx="31499" cy="26993"/>
                <a:chOff x="5412414" y="3622307"/>
                <a:chExt cx="31499" cy="26993"/>
              </a:xfrm>
            </p:grpSpPr>
            <p:sp>
              <p:nvSpPr>
                <p:cNvPr id="7621" name="Google Shape;7621;p104"/>
                <p:cNvSpPr/>
                <p:nvPr/>
              </p:nvSpPr>
              <p:spPr>
                <a:xfrm>
                  <a:off x="5412414" y="3622307"/>
                  <a:ext cx="31499" cy="26993"/>
                </a:xfrm>
                <a:custGeom>
                  <a:avLst/>
                  <a:gdLst/>
                  <a:ahLst/>
                  <a:cxnLst/>
                  <a:rect l="l" t="t" r="r" b="b"/>
                  <a:pathLst>
                    <a:path w="4005" h="3432" extrusionOk="0">
                      <a:moveTo>
                        <a:pt x="2285" y="0"/>
                      </a:moveTo>
                      <a:cubicBezTo>
                        <a:pt x="1865" y="0"/>
                        <a:pt x="1437" y="156"/>
                        <a:pt x="1089" y="504"/>
                      </a:cubicBezTo>
                      <a:cubicBezTo>
                        <a:pt x="0" y="1581"/>
                        <a:pt x="774" y="3432"/>
                        <a:pt x="2299" y="3432"/>
                      </a:cubicBezTo>
                      <a:cubicBezTo>
                        <a:pt x="3242" y="3432"/>
                        <a:pt x="4004" y="2658"/>
                        <a:pt x="4004" y="1714"/>
                      </a:cubicBezTo>
                      <a:cubicBezTo>
                        <a:pt x="4004" y="683"/>
                        <a:pt x="3163" y="0"/>
                        <a:pt x="2285" y="0"/>
                      </a:cubicBez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622" name="Google Shape;7622;p104"/>
                <p:cNvSpPr/>
                <p:nvPr/>
              </p:nvSpPr>
              <p:spPr>
                <a:xfrm>
                  <a:off x="5426681" y="3632075"/>
                  <a:ext cx="7527" cy="7519"/>
                </a:xfrm>
                <a:custGeom>
                  <a:avLst/>
                  <a:gdLst/>
                  <a:ahLst/>
                  <a:cxnLst/>
                  <a:rect l="l" t="t" r="r" b="b"/>
                  <a:pathLst>
                    <a:path w="957" h="956" extrusionOk="0">
                      <a:moveTo>
                        <a:pt x="485" y="0"/>
                      </a:moveTo>
                      <a:cubicBezTo>
                        <a:pt x="206" y="0"/>
                        <a:pt x="1" y="206"/>
                        <a:pt x="1" y="472"/>
                      </a:cubicBezTo>
                      <a:cubicBezTo>
                        <a:pt x="1" y="738"/>
                        <a:pt x="206" y="956"/>
                        <a:pt x="485" y="956"/>
                      </a:cubicBezTo>
                      <a:cubicBezTo>
                        <a:pt x="751" y="956"/>
                        <a:pt x="956" y="738"/>
                        <a:pt x="956" y="472"/>
                      </a:cubicBezTo>
                      <a:cubicBezTo>
                        <a:pt x="956" y="206"/>
                        <a:pt x="751" y="0"/>
                        <a:pt x="485" y="0"/>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7623" name="Google Shape;7623;p104"/>
              <p:cNvGrpSpPr/>
              <p:nvPr/>
            </p:nvGrpSpPr>
            <p:grpSpPr>
              <a:xfrm>
                <a:off x="5476254" y="3473949"/>
                <a:ext cx="26835" cy="26930"/>
                <a:chOff x="5476254" y="3473949"/>
                <a:chExt cx="26835" cy="26930"/>
              </a:xfrm>
            </p:grpSpPr>
            <p:sp>
              <p:nvSpPr>
                <p:cNvPr id="7624" name="Google Shape;7624;p104"/>
                <p:cNvSpPr/>
                <p:nvPr/>
              </p:nvSpPr>
              <p:spPr>
                <a:xfrm>
                  <a:off x="5476254" y="3473949"/>
                  <a:ext cx="26835" cy="26930"/>
                </a:xfrm>
                <a:custGeom>
                  <a:avLst/>
                  <a:gdLst/>
                  <a:ahLst/>
                  <a:cxnLst/>
                  <a:rect l="l" t="t" r="r" b="b"/>
                  <a:pathLst>
                    <a:path w="3412" h="3424" extrusionOk="0">
                      <a:moveTo>
                        <a:pt x="1706" y="1"/>
                      </a:moveTo>
                      <a:cubicBezTo>
                        <a:pt x="762" y="1"/>
                        <a:pt x="0" y="775"/>
                        <a:pt x="0" y="1718"/>
                      </a:cubicBezTo>
                      <a:cubicBezTo>
                        <a:pt x="0" y="2662"/>
                        <a:pt x="762" y="3424"/>
                        <a:pt x="1706" y="3424"/>
                      </a:cubicBezTo>
                      <a:cubicBezTo>
                        <a:pt x="2649" y="3424"/>
                        <a:pt x="3411" y="2662"/>
                        <a:pt x="3411" y="1718"/>
                      </a:cubicBezTo>
                      <a:cubicBezTo>
                        <a:pt x="3411" y="775"/>
                        <a:pt x="2649" y="1"/>
                        <a:pt x="1706" y="1"/>
                      </a:cubicBez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625" name="Google Shape;7625;p104"/>
                <p:cNvSpPr/>
                <p:nvPr/>
              </p:nvSpPr>
              <p:spPr>
                <a:xfrm>
                  <a:off x="5485857" y="3483655"/>
                  <a:ext cx="7621" cy="7621"/>
                </a:xfrm>
                <a:custGeom>
                  <a:avLst/>
                  <a:gdLst/>
                  <a:ahLst/>
                  <a:cxnLst/>
                  <a:rect l="l" t="t" r="r" b="b"/>
                  <a:pathLst>
                    <a:path w="969" h="969" extrusionOk="0">
                      <a:moveTo>
                        <a:pt x="485" y="0"/>
                      </a:moveTo>
                      <a:cubicBezTo>
                        <a:pt x="219" y="0"/>
                        <a:pt x="1" y="218"/>
                        <a:pt x="1" y="484"/>
                      </a:cubicBezTo>
                      <a:cubicBezTo>
                        <a:pt x="1" y="750"/>
                        <a:pt x="219" y="968"/>
                        <a:pt x="485" y="968"/>
                      </a:cubicBezTo>
                      <a:cubicBezTo>
                        <a:pt x="751" y="968"/>
                        <a:pt x="969" y="750"/>
                        <a:pt x="969" y="484"/>
                      </a:cubicBezTo>
                      <a:cubicBezTo>
                        <a:pt x="969" y="218"/>
                        <a:pt x="751" y="0"/>
                        <a:pt x="485" y="0"/>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7626" name="Google Shape;7626;p104"/>
              <p:cNvGrpSpPr/>
              <p:nvPr/>
            </p:nvGrpSpPr>
            <p:grpSpPr>
              <a:xfrm>
                <a:off x="5564547" y="3481594"/>
                <a:ext cx="31397" cy="26898"/>
                <a:chOff x="5564547" y="3481594"/>
                <a:chExt cx="31397" cy="26898"/>
              </a:xfrm>
            </p:grpSpPr>
            <p:sp>
              <p:nvSpPr>
                <p:cNvPr id="7627" name="Google Shape;7627;p104"/>
                <p:cNvSpPr/>
                <p:nvPr/>
              </p:nvSpPr>
              <p:spPr>
                <a:xfrm>
                  <a:off x="5564547" y="3481594"/>
                  <a:ext cx="31397" cy="26898"/>
                </a:xfrm>
                <a:custGeom>
                  <a:avLst/>
                  <a:gdLst/>
                  <a:ahLst/>
                  <a:cxnLst/>
                  <a:rect l="l" t="t" r="r" b="b"/>
                  <a:pathLst>
                    <a:path w="3992" h="3420" extrusionOk="0">
                      <a:moveTo>
                        <a:pt x="2272" y="0"/>
                      </a:moveTo>
                      <a:cubicBezTo>
                        <a:pt x="1853" y="0"/>
                        <a:pt x="1425" y="156"/>
                        <a:pt x="1077" y="504"/>
                      </a:cubicBezTo>
                      <a:cubicBezTo>
                        <a:pt x="0" y="1581"/>
                        <a:pt x="762" y="3420"/>
                        <a:pt x="2286" y="3420"/>
                      </a:cubicBezTo>
                      <a:cubicBezTo>
                        <a:pt x="3230" y="3420"/>
                        <a:pt x="3992" y="2658"/>
                        <a:pt x="3992" y="1714"/>
                      </a:cubicBezTo>
                      <a:cubicBezTo>
                        <a:pt x="3992" y="683"/>
                        <a:pt x="3150" y="0"/>
                        <a:pt x="2272" y="0"/>
                      </a:cubicBez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628" name="Google Shape;7628;p104"/>
                <p:cNvSpPr/>
                <p:nvPr/>
              </p:nvSpPr>
              <p:spPr>
                <a:xfrm>
                  <a:off x="5578719" y="3491268"/>
                  <a:ext cx="7621" cy="7613"/>
                </a:xfrm>
                <a:custGeom>
                  <a:avLst/>
                  <a:gdLst/>
                  <a:ahLst/>
                  <a:cxnLst/>
                  <a:rect l="l" t="t" r="r" b="b"/>
                  <a:pathLst>
                    <a:path w="969" h="968" extrusionOk="0">
                      <a:moveTo>
                        <a:pt x="484" y="0"/>
                      </a:moveTo>
                      <a:cubicBezTo>
                        <a:pt x="218" y="0"/>
                        <a:pt x="0" y="218"/>
                        <a:pt x="0" y="484"/>
                      </a:cubicBezTo>
                      <a:cubicBezTo>
                        <a:pt x="0" y="750"/>
                        <a:pt x="218" y="968"/>
                        <a:pt x="484" y="968"/>
                      </a:cubicBezTo>
                      <a:cubicBezTo>
                        <a:pt x="750" y="968"/>
                        <a:pt x="968" y="750"/>
                        <a:pt x="968" y="484"/>
                      </a:cubicBezTo>
                      <a:cubicBezTo>
                        <a:pt x="968" y="218"/>
                        <a:pt x="750" y="0"/>
                        <a:pt x="484" y="0"/>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7629" name="Google Shape;7629;p104"/>
              <p:cNvGrpSpPr/>
              <p:nvPr/>
            </p:nvGrpSpPr>
            <p:grpSpPr>
              <a:xfrm>
                <a:off x="5534101" y="3470174"/>
                <a:ext cx="31397" cy="26906"/>
                <a:chOff x="5534101" y="3470174"/>
                <a:chExt cx="31397" cy="26906"/>
              </a:xfrm>
            </p:grpSpPr>
            <p:sp>
              <p:nvSpPr>
                <p:cNvPr id="7630" name="Google Shape;7630;p104"/>
                <p:cNvSpPr/>
                <p:nvPr/>
              </p:nvSpPr>
              <p:spPr>
                <a:xfrm>
                  <a:off x="5534101" y="3470174"/>
                  <a:ext cx="31397" cy="26906"/>
                </a:xfrm>
                <a:custGeom>
                  <a:avLst/>
                  <a:gdLst/>
                  <a:ahLst/>
                  <a:cxnLst/>
                  <a:rect l="l" t="t" r="r" b="b"/>
                  <a:pathLst>
                    <a:path w="3992" h="3421" extrusionOk="0">
                      <a:moveTo>
                        <a:pt x="2272" y="1"/>
                      </a:moveTo>
                      <a:cubicBezTo>
                        <a:pt x="1853" y="1"/>
                        <a:pt x="1425" y="157"/>
                        <a:pt x="1077" y="505"/>
                      </a:cubicBezTo>
                      <a:cubicBezTo>
                        <a:pt x="0" y="1581"/>
                        <a:pt x="762" y="3420"/>
                        <a:pt x="2286" y="3420"/>
                      </a:cubicBezTo>
                      <a:cubicBezTo>
                        <a:pt x="3230" y="3420"/>
                        <a:pt x="3992" y="2658"/>
                        <a:pt x="3992" y="1714"/>
                      </a:cubicBezTo>
                      <a:cubicBezTo>
                        <a:pt x="3992" y="683"/>
                        <a:pt x="3150" y="1"/>
                        <a:pt x="2272" y="1"/>
                      </a:cubicBez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631" name="Google Shape;7631;p104"/>
                <p:cNvSpPr/>
                <p:nvPr/>
              </p:nvSpPr>
              <p:spPr>
                <a:xfrm>
                  <a:off x="5546945" y="3479848"/>
                  <a:ext cx="8950" cy="7582"/>
                </a:xfrm>
                <a:custGeom>
                  <a:avLst/>
                  <a:gdLst/>
                  <a:ahLst/>
                  <a:cxnLst/>
                  <a:rect l="l" t="t" r="r" b="b"/>
                  <a:pathLst>
                    <a:path w="1138" h="964" extrusionOk="0">
                      <a:moveTo>
                        <a:pt x="653" y="1"/>
                      </a:moveTo>
                      <a:cubicBezTo>
                        <a:pt x="218" y="1"/>
                        <a:pt x="0" y="521"/>
                        <a:pt x="303" y="823"/>
                      </a:cubicBezTo>
                      <a:cubicBezTo>
                        <a:pt x="404" y="921"/>
                        <a:pt x="526" y="964"/>
                        <a:pt x="646" y="964"/>
                      </a:cubicBezTo>
                      <a:cubicBezTo>
                        <a:pt x="898" y="964"/>
                        <a:pt x="1137" y="771"/>
                        <a:pt x="1137" y="484"/>
                      </a:cubicBezTo>
                      <a:cubicBezTo>
                        <a:pt x="1137" y="218"/>
                        <a:pt x="919" y="1"/>
                        <a:pt x="653" y="1"/>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7632" name="Google Shape;7632;p104"/>
              <p:cNvGrpSpPr/>
              <p:nvPr/>
            </p:nvGrpSpPr>
            <p:grpSpPr>
              <a:xfrm>
                <a:off x="5610879" y="3314486"/>
                <a:ext cx="31499" cy="26938"/>
                <a:chOff x="5610879" y="3314486"/>
                <a:chExt cx="31499" cy="26938"/>
              </a:xfrm>
            </p:grpSpPr>
            <p:sp>
              <p:nvSpPr>
                <p:cNvPr id="7633" name="Google Shape;7633;p104"/>
                <p:cNvSpPr/>
                <p:nvPr/>
              </p:nvSpPr>
              <p:spPr>
                <a:xfrm>
                  <a:off x="5610879" y="3314486"/>
                  <a:ext cx="31499" cy="26938"/>
                </a:xfrm>
                <a:custGeom>
                  <a:avLst/>
                  <a:gdLst/>
                  <a:ahLst/>
                  <a:cxnLst/>
                  <a:rect l="l" t="t" r="r" b="b"/>
                  <a:pathLst>
                    <a:path w="4005" h="3425" extrusionOk="0">
                      <a:moveTo>
                        <a:pt x="2285" y="0"/>
                      </a:moveTo>
                      <a:cubicBezTo>
                        <a:pt x="1865" y="0"/>
                        <a:pt x="1437" y="157"/>
                        <a:pt x="1089" y="509"/>
                      </a:cubicBezTo>
                      <a:cubicBezTo>
                        <a:pt x="0" y="1586"/>
                        <a:pt x="774" y="3425"/>
                        <a:pt x="2299" y="3425"/>
                      </a:cubicBezTo>
                      <a:cubicBezTo>
                        <a:pt x="3242" y="3425"/>
                        <a:pt x="4004" y="2663"/>
                        <a:pt x="4004" y="1719"/>
                      </a:cubicBezTo>
                      <a:cubicBezTo>
                        <a:pt x="4004" y="688"/>
                        <a:pt x="3163" y="0"/>
                        <a:pt x="2285" y="0"/>
                      </a:cubicBez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634" name="Google Shape;7634;p104"/>
                <p:cNvSpPr/>
                <p:nvPr/>
              </p:nvSpPr>
              <p:spPr>
                <a:xfrm>
                  <a:off x="5623817" y="3324192"/>
                  <a:ext cx="8950" cy="7590"/>
                </a:xfrm>
                <a:custGeom>
                  <a:avLst/>
                  <a:gdLst/>
                  <a:ahLst/>
                  <a:cxnLst/>
                  <a:rect l="l" t="t" r="r" b="b"/>
                  <a:pathLst>
                    <a:path w="1138" h="965" extrusionOk="0">
                      <a:moveTo>
                        <a:pt x="675" y="1"/>
                      </a:moveTo>
                      <a:cubicBezTo>
                        <a:pt x="668" y="1"/>
                        <a:pt x="661" y="1"/>
                        <a:pt x="654" y="1"/>
                      </a:cubicBezTo>
                      <a:cubicBezTo>
                        <a:pt x="218" y="1"/>
                        <a:pt x="0" y="509"/>
                        <a:pt x="303" y="824"/>
                      </a:cubicBezTo>
                      <a:cubicBezTo>
                        <a:pt x="404" y="921"/>
                        <a:pt x="525" y="965"/>
                        <a:pt x="644" y="965"/>
                      </a:cubicBezTo>
                      <a:cubicBezTo>
                        <a:pt x="893" y="965"/>
                        <a:pt x="1129" y="772"/>
                        <a:pt x="1137" y="485"/>
                      </a:cubicBezTo>
                      <a:cubicBezTo>
                        <a:pt x="1137" y="214"/>
                        <a:pt x="931" y="1"/>
                        <a:pt x="675" y="1"/>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7635" name="Google Shape;7635;p104"/>
              <p:cNvGrpSpPr/>
              <p:nvPr/>
            </p:nvGrpSpPr>
            <p:grpSpPr>
              <a:xfrm>
                <a:off x="4834525" y="3501382"/>
                <a:ext cx="31499" cy="26898"/>
                <a:chOff x="4834525" y="3501382"/>
                <a:chExt cx="31499" cy="26898"/>
              </a:xfrm>
            </p:grpSpPr>
            <p:sp>
              <p:nvSpPr>
                <p:cNvPr id="7636" name="Google Shape;7636;p104"/>
                <p:cNvSpPr/>
                <p:nvPr/>
              </p:nvSpPr>
              <p:spPr>
                <a:xfrm>
                  <a:off x="4834525" y="3501382"/>
                  <a:ext cx="31499" cy="26898"/>
                </a:xfrm>
                <a:custGeom>
                  <a:avLst/>
                  <a:gdLst/>
                  <a:ahLst/>
                  <a:cxnLst/>
                  <a:rect l="l" t="t" r="r" b="b"/>
                  <a:pathLst>
                    <a:path w="4005" h="3420" extrusionOk="0">
                      <a:moveTo>
                        <a:pt x="2285" y="0"/>
                      </a:moveTo>
                      <a:cubicBezTo>
                        <a:pt x="1865" y="0"/>
                        <a:pt x="1437" y="156"/>
                        <a:pt x="1089" y="504"/>
                      </a:cubicBezTo>
                      <a:cubicBezTo>
                        <a:pt x="0" y="1581"/>
                        <a:pt x="775" y="3420"/>
                        <a:pt x="2299" y="3420"/>
                      </a:cubicBezTo>
                      <a:cubicBezTo>
                        <a:pt x="3242" y="3420"/>
                        <a:pt x="4004" y="2658"/>
                        <a:pt x="4004" y="1714"/>
                      </a:cubicBezTo>
                      <a:cubicBezTo>
                        <a:pt x="4004" y="683"/>
                        <a:pt x="3163" y="0"/>
                        <a:pt x="2285" y="0"/>
                      </a:cubicBez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637" name="Google Shape;7637;p104"/>
                <p:cNvSpPr/>
                <p:nvPr/>
              </p:nvSpPr>
              <p:spPr>
                <a:xfrm>
                  <a:off x="4847463" y="3511056"/>
                  <a:ext cx="8950" cy="7605"/>
                </a:xfrm>
                <a:custGeom>
                  <a:avLst/>
                  <a:gdLst/>
                  <a:ahLst/>
                  <a:cxnLst/>
                  <a:rect l="l" t="t" r="r" b="b"/>
                  <a:pathLst>
                    <a:path w="1138" h="967" extrusionOk="0">
                      <a:moveTo>
                        <a:pt x="654" y="0"/>
                      </a:moveTo>
                      <a:cubicBezTo>
                        <a:pt x="218" y="0"/>
                        <a:pt x="1" y="520"/>
                        <a:pt x="303" y="823"/>
                      </a:cubicBezTo>
                      <a:cubicBezTo>
                        <a:pt x="402" y="922"/>
                        <a:pt x="524" y="966"/>
                        <a:pt x="644" y="966"/>
                      </a:cubicBezTo>
                      <a:cubicBezTo>
                        <a:pt x="891" y="966"/>
                        <a:pt x="1130" y="777"/>
                        <a:pt x="1138" y="484"/>
                      </a:cubicBezTo>
                      <a:cubicBezTo>
                        <a:pt x="1138" y="218"/>
                        <a:pt x="920" y="0"/>
                        <a:pt x="654" y="0"/>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7638" name="Google Shape;7638;p104"/>
              <p:cNvGrpSpPr/>
              <p:nvPr/>
            </p:nvGrpSpPr>
            <p:grpSpPr>
              <a:xfrm>
                <a:off x="4898460" y="3580158"/>
                <a:ext cx="31405" cy="26898"/>
                <a:chOff x="4898460" y="3580158"/>
                <a:chExt cx="31405" cy="26898"/>
              </a:xfrm>
            </p:grpSpPr>
            <p:sp>
              <p:nvSpPr>
                <p:cNvPr id="7639" name="Google Shape;7639;p104"/>
                <p:cNvSpPr/>
                <p:nvPr/>
              </p:nvSpPr>
              <p:spPr>
                <a:xfrm>
                  <a:off x="4898460" y="3580158"/>
                  <a:ext cx="31405" cy="26898"/>
                </a:xfrm>
                <a:custGeom>
                  <a:avLst/>
                  <a:gdLst/>
                  <a:ahLst/>
                  <a:cxnLst/>
                  <a:rect l="l" t="t" r="r" b="b"/>
                  <a:pathLst>
                    <a:path w="3993" h="3420" extrusionOk="0">
                      <a:moveTo>
                        <a:pt x="2273" y="1"/>
                      </a:moveTo>
                      <a:cubicBezTo>
                        <a:pt x="1853" y="1"/>
                        <a:pt x="1425" y="156"/>
                        <a:pt x="1077" y="505"/>
                      </a:cubicBezTo>
                      <a:cubicBezTo>
                        <a:pt x="0" y="1581"/>
                        <a:pt x="763" y="3420"/>
                        <a:pt x="2287" y="3420"/>
                      </a:cubicBezTo>
                      <a:cubicBezTo>
                        <a:pt x="3230" y="3420"/>
                        <a:pt x="3992" y="2658"/>
                        <a:pt x="3992" y="1714"/>
                      </a:cubicBezTo>
                      <a:cubicBezTo>
                        <a:pt x="3992" y="683"/>
                        <a:pt x="3151" y="1"/>
                        <a:pt x="2273" y="1"/>
                      </a:cubicBez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640" name="Google Shape;7640;p104"/>
                <p:cNvSpPr/>
                <p:nvPr/>
              </p:nvSpPr>
              <p:spPr>
                <a:xfrm>
                  <a:off x="4911303" y="3589832"/>
                  <a:ext cx="8950" cy="7605"/>
                </a:xfrm>
                <a:custGeom>
                  <a:avLst/>
                  <a:gdLst/>
                  <a:ahLst/>
                  <a:cxnLst/>
                  <a:rect l="l" t="t" r="r" b="b"/>
                  <a:pathLst>
                    <a:path w="1138" h="967" extrusionOk="0">
                      <a:moveTo>
                        <a:pt x="654" y="0"/>
                      </a:moveTo>
                      <a:cubicBezTo>
                        <a:pt x="218" y="0"/>
                        <a:pt x="1" y="521"/>
                        <a:pt x="303" y="823"/>
                      </a:cubicBezTo>
                      <a:cubicBezTo>
                        <a:pt x="402" y="922"/>
                        <a:pt x="524" y="966"/>
                        <a:pt x="644" y="966"/>
                      </a:cubicBezTo>
                      <a:cubicBezTo>
                        <a:pt x="891" y="966"/>
                        <a:pt x="1130" y="777"/>
                        <a:pt x="1138" y="484"/>
                      </a:cubicBezTo>
                      <a:cubicBezTo>
                        <a:pt x="1138" y="218"/>
                        <a:pt x="920" y="0"/>
                        <a:pt x="654" y="0"/>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7641" name="Google Shape;7641;p104"/>
              <p:cNvGrpSpPr/>
              <p:nvPr/>
            </p:nvGrpSpPr>
            <p:grpSpPr>
              <a:xfrm>
                <a:off x="4882667" y="3608032"/>
                <a:ext cx="31499" cy="27001"/>
                <a:chOff x="4882667" y="3608032"/>
                <a:chExt cx="31499" cy="27001"/>
              </a:xfrm>
            </p:grpSpPr>
            <p:sp>
              <p:nvSpPr>
                <p:cNvPr id="7642" name="Google Shape;7642;p104"/>
                <p:cNvSpPr/>
                <p:nvPr/>
              </p:nvSpPr>
              <p:spPr>
                <a:xfrm>
                  <a:off x="4882667" y="3608032"/>
                  <a:ext cx="31499" cy="27001"/>
                </a:xfrm>
                <a:custGeom>
                  <a:avLst/>
                  <a:gdLst/>
                  <a:ahLst/>
                  <a:cxnLst/>
                  <a:rect l="l" t="t" r="r" b="b"/>
                  <a:pathLst>
                    <a:path w="4005" h="3433" extrusionOk="0">
                      <a:moveTo>
                        <a:pt x="2276" y="1"/>
                      </a:moveTo>
                      <a:cubicBezTo>
                        <a:pt x="1854" y="1"/>
                        <a:pt x="1425" y="157"/>
                        <a:pt x="1077" y="505"/>
                      </a:cubicBezTo>
                      <a:cubicBezTo>
                        <a:pt x="0" y="1582"/>
                        <a:pt x="763" y="3432"/>
                        <a:pt x="2287" y="3432"/>
                      </a:cubicBezTo>
                      <a:cubicBezTo>
                        <a:pt x="3230" y="3420"/>
                        <a:pt x="4004" y="2658"/>
                        <a:pt x="4004" y="1715"/>
                      </a:cubicBezTo>
                      <a:cubicBezTo>
                        <a:pt x="4004" y="683"/>
                        <a:pt x="3157" y="1"/>
                        <a:pt x="2276" y="1"/>
                      </a:cubicBez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643" name="Google Shape;7643;p104"/>
                <p:cNvSpPr/>
                <p:nvPr/>
              </p:nvSpPr>
              <p:spPr>
                <a:xfrm>
                  <a:off x="4895605" y="3617706"/>
                  <a:ext cx="8950" cy="7653"/>
                </a:xfrm>
                <a:custGeom>
                  <a:avLst/>
                  <a:gdLst/>
                  <a:ahLst/>
                  <a:cxnLst/>
                  <a:rect l="l" t="t" r="r" b="b"/>
                  <a:pathLst>
                    <a:path w="1138" h="973" extrusionOk="0">
                      <a:moveTo>
                        <a:pt x="642" y="1"/>
                      </a:moveTo>
                      <a:cubicBezTo>
                        <a:pt x="218" y="1"/>
                        <a:pt x="1" y="521"/>
                        <a:pt x="303" y="823"/>
                      </a:cubicBezTo>
                      <a:cubicBezTo>
                        <a:pt x="402" y="926"/>
                        <a:pt x="524" y="972"/>
                        <a:pt x="644" y="972"/>
                      </a:cubicBezTo>
                      <a:cubicBezTo>
                        <a:pt x="891" y="972"/>
                        <a:pt x="1130" y="778"/>
                        <a:pt x="1138" y="485"/>
                      </a:cubicBezTo>
                      <a:cubicBezTo>
                        <a:pt x="1138" y="218"/>
                        <a:pt x="920" y="1"/>
                        <a:pt x="642" y="1"/>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7644" name="Google Shape;7644;p104"/>
              <p:cNvGrpSpPr/>
              <p:nvPr/>
            </p:nvGrpSpPr>
            <p:grpSpPr>
              <a:xfrm>
                <a:off x="4843373" y="3631407"/>
                <a:ext cx="16273" cy="16186"/>
                <a:chOff x="4843373" y="3631407"/>
                <a:chExt cx="16273" cy="16186"/>
              </a:xfrm>
            </p:grpSpPr>
            <p:sp>
              <p:nvSpPr>
                <p:cNvPr id="7645" name="Google Shape;7645;p104"/>
                <p:cNvSpPr/>
                <p:nvPr/>
              </p:nvSpPr>
              <p:spPr>
                <a:xfrm>
                  <a:off x="4843373" y="3631407"/>
                  <a:ext cx="16273" cy="16186"/>
                </a:xfrm>
                <a:custGeom>
                  <a:avLst/>
                  <a:gdLst/>
                  <a:ahLst/>
                  <a:cxnLst/>
                  <a:rect l="l" t="t" r="r" b="b"/>
                  <a:pathLst>
                    <a:path w="2069" h="2058" extrusionOk="0">
                      <a:moveTo>
                        <a:pt x="1029" y="1"/>
                      </a:moveTo>
                      <a:cubicBezTo>
                        <a:pt x="460" y="1"/>
                        <a:pt x="0" y="460"/>
                        <a:pt x="0" y="1029"/>
                      </a:cubicBezTo>
                      <a:cubicBezTo>
                        <a:pt x="0" y="1597"/>
                        <a:pt x="460" y="2057"/>
                        <a:pt x="1029" y="2057"/>
                      </a:cubicBezTo>
                      <a:cubicBezTo>
                        <a:pt x="1609" y="2057"/>
                        <a:pt x="2069" y="1597"/>
                        <a:pt x="2069" y="1029"/>
                      </a:cubicBezTo>
                      <a:cubicBezTo>
                        <a:pt x="2069" y="460"/>
                        <a:pt x="1609" y="1"/>
                        <a:pt x="1029" y="1"/>
                      </a:cubicBez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646" name="Google Shape;7646;p104"/>
                <p:cNvSpPr/>
                <p:nvPr/>
              </p:nvSpPr>
              <p:spPr>
                <a:xfrm>
                  <a:off x="4849178" y="3637211"/>
                  <a:ext cx="4672" cy="4577"/>
                </a:xfrm>
                <a:custGeom>
                  <a:avLst/>
                  <a:gdLst/>
                  <a:ahLst/>
                  <a:cxnLst/>
                  <a:rect l="l" t="t" r="r" b="b"/>
                  <a:pathLst>
                    <a:path w="594" h="582" extrusionOk="0">
                      <a:moveTo>
                        <a:pt x="291" y="1"/>
                      </a:moveTo>
                      <a:cubicBezTo>
                        <a:pt x="133" y="1"/>
                        <a:pt x="0" y="134"/>
                        <a:pt x="0" y="291"/>
                      </a:cubicBezTo>
                      <a:cubicBezTo>
                        <a:pt x="0" y="460"/>
                        <a:pt x="133" y="581"/>
                        <a:pt x="291" y="581"/>
                      </a:cubicBezTo>
                      <a:cubicBezTo>
                        <a:pt x="460" y="581"/>
                        <a:pt x="593" y="460"/>
                        <a:pt x="593" y="291"/>
                      </a:cubicBezTo>
                      <a:cubicBezTo>
                        <a:pt x="593" y="134"/>
                        <a:pt x="460" y="1"/>
                        <a:pt x="291" y="1"/>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7647" name="Google Shape;7647;p104"/>
              <p:cNvGrpSpPr/>
              <p:nvPr/>
            </p:nvGrpSpPr>
            <p:grpSpPr>
              <a:xfrm>
                <a:off x="4727773" y="3591578"/>
                <a:ext cx="31499" cy="26898"/>
                <a:chOff x="4727773" y="3591578"/>
                <a:chExt cx="31499" cy="26898"/>
              </a:xfrm>
            </p:grpSpPr>
            <p:sp>
              <p:nvSpPr>
                <p:cNvPr id="7648" name="Google Shape;7648;p104"/>
                <p:cNvSpPr/>
                <p:nvPr/>
              </p:nvSpPr>
              <p:spPr>
                <a:xfrm>
                  <a:off x="4727773" y="3591578"/>
                  <a:ext cx="31499" cy="26898"/>
                </a:xfrm>
                <a:custGeom>
                  <a:avLst/>
                  <a:gdLst/>
                  <a:ahLst/>
                  <a:cxnLst/>
                  <a:rect l="l" t="t" r="r" b="b"/>
                  <a:pathLst>
                    <a:path w="4005" h="3420" extrusionOk="0">
                      <a:moveTo>
                        <a:pt x="2276" y="0"/>
                      </a:moveTo>
                      <a:cubicBezTo>
                        <a:pt x="1855" y="0"/>
                        <a:pt x="1426" y="156"/>
                        <a:pt x="1077" y="504"/>
                      </a:cubicBezTo>
                      <a:cubicBezTo>
                        <a:pt x="1" y="1581"/>
                        <a:pt x="763" y="3419"/>
                        <a:pt x="2287" y="3419"/>
                      </a:cubicBezTo>
                      <a:cubicBezTo>
                        <a:pt x="3231" y="3419"/>
                        <a:pt x="3993" y="2657"/>
                        <a:pt x="4005" y="1714"/>
                      </a:cubicBezTo>
                      <a:cubicBezTo>
                        <a:pt x="4005" y="683"/>
                        <a:pt x="3158" y="0"/>
                        <a:pt x="2276" y="0"/>
                      </a:cubicBez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649" name="Google Shape;7649;p104"/>
                <p:cNvSpPr/>
                <p:nvPr/>
              </p:nvSpPr>
              <p:spPr>
                <a:xfrm>
                  <a:off x="4740719" y="3601244"/>
                  <a:ext cx="8856" cy="7590"/>
                </a:xfrm>
                <a:custGeom>
                  <a:avLst/>
                  <a:gdLst/>
                  <a:ahLst/>
                  <a:cxnLst/>
                  <a:rect l="l" t="t" r="r" b="b"/>
                  <a:pathLst>
                    <a:path w="1126" h="965" extrusionOk="0">
                      <a:moveTo>
                        <a:pt x="641" y="1"/>
                      </a:moveTo>
                      <a:cubicBezTo>
                        <a:pt x="206" y="1"/>
                        <a:pt x="0" y="521"/>
                        <a:pt x="302" y="824"/>
                      </a:cubicBezTo>
                      <a:cubicBezTo>
                        <a:pt x="400" y="921"/>
                        <a:pt x="520" y="964"/>
                        <a:pt x="638" y="964"/>
                      </a:cubicBezTo>
                      <a:cubicBezTo>
                        <a:pt x="886" y="964"/>
                        <a:pt x="1125" y="772"/>
                        <a:pt x="1125" y="485"/>
                      </a:cubicBezTo>
                      <a:cubicBezTo>
                        <a:pt x="1125" y="219"/>
                        <a:pt x="907" y="1"/>
                        <a:pt x="641" y="1"/>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sp>
            <p:nvSpPr>
              <p:cNvPr id="7650" name="Google Shape;7650;p104"/>
              <p:cNvSpPr/>
              <p:nvPr/>
            </p:nvSpPr>
            <p:spPr>
              <a:xfrm>
                <a:off x="4652041" y="3622590"/>
                <a:ext cx="31405" cy="26906"/>
              </a:xfrm>
              <a:custGeom>
                <a:avLst/>
                <a:gdLst/>
                <a:ahLst/>
                <a:cxnLst/>
                <a:rect l="l" t="t" r="r" b="b"/>
                <a:pathLst>
                  <a:path w="3993" h="3421" extrusionOk="0">
                    <a:moveTo>
                      <a:pt x="2273" y="1"/>
                    </a:moveTo>
                    <a:cubicBezTo>
                      <a:pt x="1853" y="1"/>
                      <a:pt x="1426" y="157"/>
                      <a:pt x="1077" y="505"/>
                    </a:cubicBezTo>
                    <a:cubicBezTo>
                      <a:pt x="1" y="1581"/>
                      <a:pt x="763" y="3420"/>
                      <a:pt x="2287" y="3420"/>
                    </a:cubicBezTo>
                    <a:cubicBezTo>
                      <a:pt x="3231" y="3420"/>
                      <a:pt x="3993" y="2658"/>
                      <a:pt x="3993" y="1714"/>
                    </a:cubicBezTo>
                    <a:cubicBezTo>
                      <a:pt x="3993" y="683"/>
                      <a:pt x="3151" y="1"/>
                      <a:pt x="2273" y="1"/>
                    </a:cubicBez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651" name="Google Shape;7651;p104"/>
              <p:cNvSpPr/>
              <p:nvPr/>
            </p:nvSpPr>
            <p:spPr>
              <a:xfrm>
                <a:off x="4666222" y="3632264"/>
                <a:ext cx="7613" cy="7621"/>
              </a:xfrm>
              <a:custGeom>
                <a:avLst/>
                <a:gdLst/>
                <a:ahLst/>
                <a:cxnLst/>
                <a:rect l="l" t="t" r="r" b="b"/>
                <a:pathLst>
                  <a:path w="968" h="969" extrusionOk="0">
                    <a:moveTo>
                      <a:pt x="484" y="1"/>
                    </a:moveTo>
                    <a:cubicBezTo>
                      <a:pt x="218" y="1"/>
                      <a:pt x="0" y="218"/>
                      <a:pt x="0" y="484"/>
                    </a:cubicBezTo>
                    <a:cubicBezTo>
                      <a:pt x="0" y="751"/>
                      <a:pt x="218" y="968"/>
                      <a:pt x="484" y="968"/>
                    </a:cubicBezTo>
                    <a:cubicBezTo>
                      <a:pt x="750" y="968"/>
                      <a:pt x="968" y="751"/>
                      <a:pt x="968" y="484"/>
                    </a:cubicBezTo>
                    <a:cubicBezTo>
                      <a:pt x="968" y="218"/>
                      <a:pt x="750" y="1"/>
                      <a:pt x="484" y="1"/>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nvGrpSpPr>
              <p:cNvPr id="7652" name="Google Shape;7652;p104"/>
              <p:cNvGrpSpPr/>
              <p:nvPr/>
            </p:nvGrpSpPr>
            <p:grpSpPr>
              <a:xfrm>
                <a:off x="4609421" y="3577398"/>
                <a:ext cx="31499" cy="27001"/>
                <a:chOff x="4609421" y="3577398"/>
                <a:chExt cx="31499" cy="27001"/>
              </a:xfrm>
            </p:grpSpPr>
            <p:sp>
              <p:nvSpPr>
                <p:cNvPr id="7653" name="Google Shape;7653;p104"/>
                <p:cNvSpPr/>
                <p:nvPr/>
              </p:nvSpPr>
              <p:spPr>
                <a:xfrm>
                  <a:off x="4609421" y="3577398"/>
                  <a:ext cx="31499" cy="27001"/>
                </a:xfrm>
                <a:custGeom>
                  <a:avLst/>
                  <a:gdLst/>
                  <a:ahLst/>
                  <a:cxnLst/>
                  <a:rect l="l" t="t" r="r" b="b"/>
                  <a:pathLst>
                    <a:path w="4005" h="3433" extrusionOk="0">
                      <a:moveTo>
                        <a:pt x="2273" y="1"/>
                      </a:moveTo>
                      <a:cubicBezTo>
                        <a:pt x="1853" y="1"/>
                        <a:pt x="1425" y="157"/>
                        <a:pt x="1077" y="505"/>
                      </a:cubicBezTo>
                      <a:cubicBezTo>
                        <a:pt x="0" y="1581"/>
                        <a:pt x="763" y="3432"/>
                        <a:pt x="2287" y="3432"/>
                      </a:cubicBezTo>
                      <a:cubicBezTo>
                        <a:pt x="3230" y="3432"/>
                        <a:pt x="3992" y="2658"/>
                        <a:pt x="4005" y="1714"/>
                      </a:cubicBezTo>
                      <a:cubicBezTo>
                        <a:pt x="3996" y="683"/>
                        <a:pt x="3152" y="1"/>
                        <a:pt x="2273" y="1"/>
                      </a:cubicBez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654" name="Google Shape;7654;p104"/>
                <p:cNvSpPr/>
                <p:nvPr/>
              </p:nvSpPr>
              <p:spPr>
                <a:xfrm>
                  <a:off x="4623594" y="3587072"/>
                  <a:ext cx="7621" cy="7621"/>
                </a:xfrm>
                <a:custGeom>
                  <a:avLst/>
                  <a:gdLst/>
                  <a:ahLst/>
                  <a:cxnLst/>
                  <a:rect l="l" t="t" r="r" b="b"/>
                  <a:pathLst>
                    <a:path w="969" h="969" extrusionOk="0">
                      <a:moveTo>
                        <a:pt x="485" y="1"/>
                      </a:moveTo>
                      <a:cubicBezTo>
                        <a:pt x="219" y="1"/>
                        <a:pt x="1" y="218"/>
                        <a:pt x="1" y="484"/>
                      </a:cubicBezTo>
                      <a:cubicBezTo>
                        <a:pt x="1" y="751"/>
                        <a:pt x="219" y="968"/>
                        <a:pt x="485" y="968"/>
                      </a:cubicBezTo>
                      <a:cubicBezTo>
                        <a:pt x="751" y="968"/>
                        <a:pt x="969" y="751"/>
                        <a:pt x="969" y="484"/>
                      </a:cubicBezTo>
                      <a:cubicBezTo>
                        <a:pt x="969" y="218"/>
                        <a:pt x="751" y="1"/>
                        <a:pt x="485" y="1"/>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7655" name="Google Shape;7655;p104"/>
              <p:cNvGrpSpPr/>
              <p:nvPr/>
            </p:nvGrpSpPr>
            <p:grpSpPr>
              <a:xfrm>
                <a:off x="4649289" y="3577398"/>
                <a:ext cx="31499" cy="27001"/>
                <a:chOff x="4649289" y="3577398"/>
                <a:chExt cx="31499" cy="27001"/>
              </a:xfrm>
            </p:grpSpPr>
            <p:sp>
              <p:nvSpPr>
                <p:cNvPr id="7656" name="Google Shape;7656;p104"/>
                <p:cNvSpPr/>
                <p:nvPr/>
              </p:nvSpPr>
              <p:spPr>
                <a:xfrm>
                  <a:off x="4649289" y="3577398"/>
                  <a:ext cx="31499" cy="27001"/>
                </a:xfrm>
                <a:custGeom>
                  <a:avLst/>
                  <a:gdLst/>
                  <a:ahLst/>
                  <a:cxnLst/>
                  <a:rect l="l" t="t" r="r" b="b"/>
                  <a:pathLst>
                    <a:path w="4005" h="3433" extrusionOk="0">
                      <a:moveTo>
                        <a:pt x="2275" y="1"/>
                      </a:moveTo>
                      <a:cubicBezTo>
                        <a:pt x="1854" y="1"/>
                        <a:pt x="1425" y="157"/>
                        <a:pt x="1077" y="505"/>
                      </a:cubicBezTo>
                      <a:cubicBezTo>
                        <a:pt x="0" y="1581"/>
                        <a:pt x="762" y="3432"/>
                        <a:pt x="2286" y="3432"/>
                      </a:cubicBezTo>
                      <a:cubicBezTo>
                        <a:pt x="3230" y="3432"/>
                        <a:pt x="4004" y="2658"/>
                        <a:pt x="4004" y="1714"/>
                      </a:cubicBezTo>
                      <a:cubicBezTo>
                        <a:pt x="4004" y="683"/>
                        <a:pt x="3157" y="1"/>
                        <a:pt x="2275" y="1"/>
                      </a:cubicBez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657" name="Google Shape;7657;p104"/>
                <p:cNvSpPr/>
                <p:nvPr/>
              </p:nvSpPr>
              <p:spPr>
                <a:xfrm>
                  <a:off x="4662227" y="3587072"/>
                  <a:ext cx="8856" cy="7676"/>
                </a:xfrm>
                <a:custGeom>
                  <a:avLst/>
                  <a:gdLst/>
                  <a:ahLst/>
                  <a:cxnLst/>
                  <a:rect l="l" t="t" r="r" b="b"/>
                  <a:pathLst>
                    <a:path w="1126" h="976" extrusionOk="0">
                      <a:moveTo>
                        <a:pt x="641" y="1"/>
                      </a:moveTo>
                      <a:cubicBezTo>
                        <a:pt x="218" y="1"/>
                        <a:pt x="0" y="521"/>
                        <a:pt x="303" y="835"/>
                      </a:cubicBezTo>
                      <a:cubicBezTo>
                        <a:pt x="400" y="932"/>
                        <a:pt x="519" y="976"/>
                        <a:pt x="636" y="976"/>
                      </a:cubicBezTo>
                      <a:cubicBezTo>
                        <a:pt x="885" y="976"/>
                        <a:pt x="1125" y="780"/>
                        <a:pt x="1125" y="484"/>
                      </a:cubicBezTo>
                      <a:cubicBezTo>
                        <a:pt x="1125" y="218"/>
                        <a:pt x="907" y="1"/>
                        <a:pt x="641" y="1"/>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7658" name="Google Shape;7658;p104"/>
              <p:cNvGrpSpPr/>
              <p:nvPr/>
            </p:nvGrpSpPr>
            <p:grpSpPr>
              <a:xfrm>
                <a:off x="4605614" y="3639523"/>
                <a:ext cx="31499" cy="26906"/>
                <a:chOff x="4605614" y="3639523"/>
                <a:chExt cx="31499" cy="26906"/>
              </a:xfrm>
            </p:grpSpPr>
            <p:sp>
              <p:nvSpPr>
                <p:cNvPr id="7659" name="Google Shape;7659;p104"/>
                <p:cNvSpPr/>
                <p:nvPr/>
              </p:nvSpPr>
              <p:spPr>
                <a:xfrm>
                  <a:off x="4605614" y="3639523"/>
                  <a:ext cx="31499" cy="26906"/>
                </a:xfrm>
                <a:custGeom>
                  <a:avLst/>
                  <a:gdLst/>
                  <a:ahLst/>
                  <a:cxnLst/>
                  <a:rect l="l" t="t" r="r" b="b"/>
                  <a:pathLst>
                    <a:path w="4005" h="3421" extrusionOk="0">
                      <a:moveTo>
                        <a:pt x="2276" y="1"/>
                      </a:moveTo>
                      <a:cubicBezTo>
                        <a:pt x="1855" y="1"/>
                        <a:pt x="1425" y="157"/>
                        <a:pt x="1077" y="505"/>
                      </a:cubicBezTo>
                      <a:cubicBezTo>
                        <a:pt x="1" y="1582"/>
                        <a:pt x="763" y="3420"/>
                        <a:pt x="2287" y="3420"/>
                      </a:cubicBezTo>
                      <a:cubicBezTo>
                        <a:pt x="3230" y="3420"/>
                        <a:pt x="3993" y="2658"/>
                        <a:pt x="4005" y="1715"/>
                      </a:cubicBezTo>
                      <a:cubicBezTo>
                        <a:pt x="4005" y="683"/>
                        <a:pt x="3157" y="1"/>
                        <a:pt x="2276" y="1"/>
                      </a:cubicBez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660" name="Google Shape;7660;p104"/>
                <p:cNvSpPr/>
                <p:nvPr/>
              </p:nvSpPr>
              <p:spPr>
                <a:xfrm>
                  <a:off x="4619795" y="3649197"/>
                  <a:ext cx="7613" cy="7621"/>
                </a:xfrm>
                <a:custGeom>
                  <a:avLst/>
                  <a:gdLst/>
                  <a:ahLst/>
                  <a:cxnLst/>
                  <a:rect l="l" t="t" r="r" b="b"/>
                  <a:pathLst>
                    <a:path w="968" h="969" extrusionOk="0">
                      <a:moveTo>
                        <a:pt x="484" y="1"/>
                      </a:moveTo>
                      <a:cubicBezTo>
                        <a:pt x="218" y="1"/>
                        <a:pt x="0" y="218"/>
                        <a:pt x="0" y="485"/>
                      </a:cubicBezTo>
                      <a:cubicBezTo>
                        <a:pt x="0" y="751"/>
                        <a:pt x="218" y="968"/>
                        <a:pt x="484" y="968"/>
                      </a:cubicBezTo>
                      <a:cubicBezTo>
                        <a:pt x="750" y="968"/>
                        <a:pt x="968" y="751"/>
                        <a:pt x="968" y="485"/>
                      </a:cubicBezTo>
                      <a:cubicBezTo>
                        <a:pt x="968" y="218"/>
                        <a:pt x="750" y="1"/>
                        <a:pt x="484" y="1"/>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7661" name="Google Shape;7661;p104"/>
              <p:cNvGrpSpPr/>
              <p:nvPr/>
            </p:nvGrpSpPr>
            <p:grpSpPr>
              <a:xfrm>
                <a:off x="4785149" y="3618846"/>
                <a:ext cx="26930" cy="26843"/>
                <a:chOff x="4785149" y="3618846"/>
                <a:chExt cx="26930" cy="26843"/>
              </a:xfrm>
            </p:grpSpPr>
            <p:sp>
              <p:nvSpPr>
                <p:cNvPr id="7662" name="Google Shape;7662;p104"/>
                <p:cNvSpPr/>
                <p:nvPr/>
              </p:nvSpPr>
              <p:spPr>
                <a:xfrm>
                  <a:off x="4785149" y="3618846"/>
                  <a:ext cx="26930" cy="26843"/>
                </a:xfrm>
                <a:custGeom>
                  <a:avLst/>
                  <a:gdLst/>
                  <a:ahLst/>
                  <a:cxnLst/>
                  <a:rect l="l" t="t" r="r" b="b"/>
                  <a:pathLst>
                    <a:path w="3424" h="3413" extrusionOk="0">
                      <a:moveTo>
                        <a:pt x="1718" y="1"/>
                      </a:moveTo>
                      <a:cubicBezTo>
                        <a:pt x="774" y="1"/>
                        <a:pt x="0" y="763"/>
                        <a:pt x="0" y="1707"/>
                      </a:cubicBezTo>
                      <a:cubicBezTo>
                        <a:pt x="0" y="2650"/>
                        <a:pt x="774" y="3412"/>
                        <a:pt x="1718" y="3412"/>
                      </a:cubicBezTo>
                      <a:cubicBezTo>
                        <a:pt x="2662" y="3412"/>
                        <a:pt x="3424" y="2650"/>
                        <a:pt x="3424" y="1707"/>
                      </a:cubicBezTo>
                      <a:cubicBezTo>
                        <a:pt x="3424" y="763"/>
                        <a:pt x="2662" y="1"/>
                        <a:pt x="1718" y="1"/>
                      </a:cubicBez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663" name="Google Shape;7663;p104"/>
                <p:cNvSpPr/>
                <p:nvPr/>
              </p:nvSpPr>
              <p:spPr>
                <a:xfrm>
                  <a:off x="4793611" y="3628457"/>
                  <a:ext cx="8856" cy="7590"/>
                </a:xfrm>
                <a:custGeom>
                  <a:avLst/>
                  <a:gdLst/>
                  <a:ahLst/>
                  <a:cxnLst/>
                  <a:rect l="l" t="t" r="r" b="b"/>
                  <a:pathLst>
                    <a:path w="1126" h="965" extrusionOk="0">
                      <a:moveTo>
                        <a:pt x="642" y="1"/>
                      </a:moveTo>
                      <a:cubicBezTo>
                        <a:pt x="206" y="1"/>
                        <a:pt x="1" y="521"/>
                        <a:pt x="303" y="823"/>
                      </a:cubicBezTo>
                      <a:cubicBezTo>
                        <a:pt x="401" y="921"/>
                        <a:pt x="521" y="964"/>
                        <a:pt x="639" y="964"/>
                      </a:cubicBezTo>
                      <a:cubicBezTo>
                        <a:pt x="887" y="964"/>
                        <a:pt x="1126" y="772"/>
                        <a:pt x="1126" y="485"/>
                      </a:cubicBezTo>
                      <a:cubicBezTo>
                        <a:pt x="1126" y="218"/>
                        <a:pt x="908" y="1"/>
                        <a:pt x="642" y="1"/>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7664" name="Google Shape;7664;p104"/>
              <p:cNvGrpSpPr/>
              <p:nvPr/>
            </p:nvGrpSpPr>
            <p:grpSpPr>
              <a:xfrm>
                <a:off x="4810167" y="3601567"/>
                <a:ext cx="31405" cy="26898"/>
                <a:chOff x="4810167" y="3601567"/>
                <a:chExt cx="31405" cy="26898"/>
              </a:xfrm>
            </p:grpSpPr>
            <p:sp>
              <p:nvSpPr>
                <p:cNvPr id="7665" name="Google Shape;7665;p104"/>
                <p:cNvSpPr/>
                <p:nvPr/>
              </p:nvSpPr>
              <p:spPr>
                <a:xfrm>
                  <a:off x="4810167" y="3601567"/>
                  <a:ext cx="31405" cy="26898"/>
                </a:xfrm>
                <a:custGeom>
                  <a:avLst/>
                  <a:gdLst/>
                  <a:ahLst/>
                  <a:cxnLst/>
                  <a:rect l="l" t="t" r="r" b="b"/>
                  <a:pathLst>
                    <a:path w="3993" h="3420" extrusionOk="0">
                      <a:moveTo>
                        <a:pt x="2273" y="0"/>
                      </a:moveTo>
                      <a:cubicBezTo>
                        <a:pt x="1853" y="0"/>
                        <a:pt x="1425" y="156"/>
                        <a:pt x="1077" y="504"/>
                      </a:cubicBezTo>
                      <a:cubicBezTo>
                        <a:pt x="1" y="1581"/>
                        <a:pt x="763" y="3420"/>
                        <a:pt x="2287" y="3420"/>
                      </a:cubicBezTo>
                      <a:cubicBezTo>
                        <a:pt x="3231" y="3420"/>
                        <a:pt x="3993" y="2658"/>
                        <a:pt x="3993" y="1714"/>
                      </a:cubicBezTo>
                      <a:cubicBezTo>
                        <a:pt x="3993" y="683"/>
                        <a:pt x="3151" y="0"/>
                        <a:pt x="2273" y="0"/>
                      </a:cubicBez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666" name="Google Shape;7666;p104"/>
                <p:cNvSpPr/>
                <p:nvPr/>
              </p:nvSpPr>
              <p:spPr>
                <a:xfrm>
                  <a:off x="4824348" y="3611241"/>
                  <a:ext cx="7613" cy="7613"/>
                </a:xfrm>
                <a:custGeom>
                  <a:avLst/>
                  <a:gdLst/>
                  <a:ahLst/>
                  <a:cxnLst/>
                  <a:rect l="l" t="t" r="r" b="b"/>
                  <a:pathLst>
                    <a:path w="968" h="968" extrusionOk="0">
                      <a:moveTo>
                        <a:pt x="484" y="0"/>
                      </a:moveTo>
                      <a:cubicBezTo>
                        <a:pt x="218" y="0"/>
                        <a:pt x="0" y="218"/>
                        <a:pt x="0" y="484"/>
                      </a:cubicBezTo>
                      <a:cubicBezTo>
                        <a:pt x="0" y="750"/>
                        <a:pt x="218" y="968"/>
                        <a:pt x="484" y="968"/>
                      </a:cubicBezTo>
                      <a:cubicBezTo>
                        <a:pt x="750" y="968"/>
                        <a:pt x="968" y="750"/>
                        <a:pt x="968" y="484"/>
                      </a:cubicBezTo>
                      <a:cubicBezTo>
                        <a:pt x="968" y="218"/>
                        <a:pt x="750" y="0"/>
                        <a:pt x="484" y="0"/>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7667" name="Google Shape;7667;p104"/>
              <p:cNvGrpSpPr/>
              <p:nvPr/>
            </p:nvGrpSpPr>
            <p:grpSpPr>
              <a:xfrm>
                <a:off x="4831002" y="3373230"/>
                <a:ext cx="31405" cy="26898"/>
                <a:chOff x="4831002" y="3373230"/>
                <a:chExt cx="31405" cy="26898"/>
              </a:xfrm>
            </p:grpSpPr>
            <p:sp>
              <p:nvSpPr>
                <p:cNvPr id="7668" name="Google Shape;7668;p104"/>
                <p:cNvSpPr/>
                <p:nvPr/>
              </p:nvSpPr>
              <p:spPr>
                <a:xfrm>
                  <a:off x="4831002" y="3373230"/>
                  <a:ext cx="31405" cy="26898"/>
                </a:xfrm>
                <a:custGeom>
                  <a:avLst/>
                  <a:gdLst/>
                  <a:ahLst/>
                  <a:cxnLst/>
                  <a:rect l="l" t="t" r="r" b="b"/>
                  <a:pathLst>
                    <a:path w="3993" h="3420" extrusionOk="0">
                      <a:moveTo>
                        <a:pt x="2273" y="0"/>
                      </a:moveTo>
                      <a:cubicBezTo>
                        <a:pt x="1853" y="0"/>
                        <a:pt x="1426" y="156"/>
                        <a:pt x="1077" y="504"/>
                      </a:cubicBezTo>
                      <a:cubicBezTo>
                        <a:pt x="1" y="1581"/>
                        <a:pt x="763" y="3419"/>
                        <a:pt x="2287" y="3419"/>
                      </a:cubicBezTo>
                      <a:cubicBezTo>
                        <a:pt x="3231" y="3419"/>
                        <a:pt x="3993" y="2657"/>
                        <a:pt x="3993" y="1714"/>
                      </a:cubicBezTo>
                      <a:cubicBezTo>
                        <a:pt x="3993" y="683"/>
                        <a:pt x="3151" y="0"/>
                        <a:pt x="2273" y="0"/>
                      </a:cubicBez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669" name="Google Shape;7669;p104"/>
                <p:cNvSpPr/>
                <p:nvPr/>
              </p:nvSpPr>
              <p:spPr>
                <a:xfrm>
                  <a:off x="4845182" y="3382896"/>
                  <a:ext cx="7519" cy="7621"/>
                </a:xfrm>
                <a:custGeom>
                  <a:avLst/>
                  <a:gdLst/>
                  <a:ahLst/>
                  <a:cxnLst/>
                  <a:rect l="l" t="t" r="r" b="b"/>
                  <a:pathLst>
                    <a:path w="956" h="969" extrusionOk="0">
                      <a:moveTo>
                        <a:pt x="472" y="1"/>
                      </a:moveTo>
                      <a:cubicBezTo>
                        <a:pt x="206" y="1"/>
                        <a:pt x="0" y="219"/>
                        <a:pt x="0" y="485"/>
                      </a:cubicBezTo>
                      <a:cubicBezTo>
                        <a:pt x="0" y="751"/>
                        <a:pt x="206" y="969"/>
                        <a:pt x="472" y="969"/>
                      </a:cubicBezTo>
                      <a:cubicBezTo>
                        <a:pt x="750" y="969"/>
                        <a:pt x="956" y="751"/>
                        <a:pt x="956" y="485"/>
                      </a:cubicBezTo>
                      <a:cubicBezTo>
                        <a:pt x="956" y="219"/>
                        <a:pt x="750" y="1"/>
                        <a:pt x="472" y="1"/>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7670" name="Google Shape;7670;p104"/>
              <p:cNvGrpSpPr/>
              <p:nvPr/>
            </p:nvGrpSpPr>
            <p:grpSpPr>
              <a:xfrm>
                <a:off x="4719311" y="3355054"/>
                <a:ext cx="31499" cy="27001"/>
                <a:chOff x="4719311" y="3355054"/>
                <a:chExt cx="31499" cy="27001"/>
              </a:xfrm>
            </p:grpSpPr>
            <p:sp>
              <p:nvSpPr>
                <p:cNvPr id="7671" name="Google Shape;7671;p104"/>
                <p:cNvSpPr/>
                <p:nvPr/>
              </p:nvSpPr>
              <p:spPr>
                <a:xfrm>
                  <a:off x="4719311" y="3355054"/>
                  <a:ext cx="31499" cy="27001"/>
                </a:xfrm>
                <a:custGeom>
                  <a:avLst/>
                  <a:gdLst/>
                  <a:ahLst/>
                  <a:cxnLst/>
                  <a:rect l="l" t="t" r="r" b="b"/>
                  <a:pathLst>
                    <a:path w="4005" h="3433" extrusionOk="0">
                      <a:moveTo>
                        <a:pt x="2275" y="1"/>
                      </a:moveTo>
                      <a:cubicBezTo>
                        <a:pt x="1854" y="1"/>
                        <a:pt x="1425" y="157"/>
                        <a:pt x="1077" y="505"/>
                      </a:cubicBezTo>
                      <a:cubicBezTo>
                        <a:pt x="0" y="1581"/>
                        <a:pt x="762" y="3432"/>
                        <a:pt x="2287" y="3432"/>
                      </a:cubicBezTo>
                      <a:cubicBezTo>
                        <a:pt x="3230" y="3432"/>
                        <a:pt x="4004" y="2658"/>
                        <a:pt x="4004" y="1714"/>
                      </a:cubicBezTo>
                      <a:cubicBezTo>
                        <a:pt x="4004" y="683"/>
                        <a:pt x="3157" y="1"/>
                        <a:pt x="2275" y="1"/>
                      </a:cubicBez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672" name="Google Shape;7672;p104"/>
                <p:cNvSpPr/>
                <p:nvPr/>
              </p:nvSpPr>
              <p:spPr>
                <a:xfrm>
                  <a:off x="4733578" y="3364822"/>
                  <a:ext cx="7527" cy="7527"/>
                </a:xfrm>
                <a:custGeom>
                  <a:avLst/>
                  <a:gdLst/>
                  <a:ahLst/>
                  <a:cxnLst/>
                  <a:rect l="l" t="t" r="r" b="b"/>
                  <a:pathLst>
                    <a:path w="957" h="957" extrusionOk="0">
                      <a:moveTo>
                        <a:pt x="473" y="1"/>
                      </a:moveTo>
                      <a:cubicBezTo>
                        <a:pt x="206" y="1"/>
                        <a:pt x="1" y="206"/>
                        <a:pt x="1" y="472"/>
                      </a:cubicBezTo>
                      <a:cubicBezTo>
                        <a:pt x="1" y="738"/>
                        <a:pt x="206" y="956"/>
                        <a:pt x="473" y="956"/>
                      </a:cubicBezTo>
                      <a:cubicBezTo>
                        <a:pt x="751" y="956"/>
                        <a:pt x="956" y="738"/>
                        <a:pt x="956" y="472"/>
                      </a:cubicBezTo>
                      <a:cubicBezTo>
                        <a:pt x="956" y="206"/>
                        <a:pt x="751" y="1"/>
                        <a:pt x="473" y="1"/>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7673" name="Google Shape;7673;p104"/>
              <p:cNvGrpSpPr/>
              <p:nvPr/>
            </p:nvGrpSpPr>
            <p:grpSpPr>
              <a:xfrm>
                <a:off x="4798755" y="3450260"/>
                <a:ext cx="26930" cy="26930"/>
                <a:chOff x="4798755" y="3450260"/>
                <a:chExt cx="26930" cy="26930"/>
              </a:xfrm>
            </p:grpSpPr>
            <p:sp>
              <p:nvSpPr>
                <p:cNvPr id="7674" name="Google Shape;7674;p104"/>
                <p:cNvSpPr/>
                <p:nvPr/>
              </p:nvSpPr>
              <p:spPr>
                <a:xfrm>
                  <a:off x="4798755" y="3450260"/>
                  <a:ext cx="26930" cy="26930"/>
                </a:xfrm>
                <a:custGeom>
                  <a:avLst/>
                  <a:gdLst/>
                  <a:ahLst/>
                  <a:cxnLst/>
                  <a:rect l="l" t="t" r="r" b="b"/>
                  <a:pathLst>
                    <a:path w="3424" h="3424" extrusionOk="0">
                      <a:moveTo>
                        <a:pt x="1718" y="0"/>
                      </a:moveTo>
                      <a:cubicBezTo>
                        <a:pt x="774" y="0"/>
                        <a:pt x="0" y="763"/>
                        <a:pt x="0" y="1706"/>
                      </a:cubicBezTo>
                      <a:cubicBezTo>
                        <a:pt x="0" y="2650"/>
                        <a:pt x="774" y="3424"/>
                        <a:pt x="1718" y="3424"/>
                      </a:cubicBezTo>
                      <a:cubicBezTo>
                        <a:pt x="2661" y="3424"/>
                        <a:pt x="3423" y="2650"/>
                        <a:pt x="3423" y="1706"/>
                      </a:cubicBezTo>
                      <a:cubicBezTo>
                        <a:pt x="3423" y="763"/>
                        <a:pt x="2661" y="0"/>
                        <a:pt x="1718" y="0"/>
                      </a:cubicBez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675" name="Google Shape;7675;p104"/>
                <p:cNvSpPr/>
                <p:nvPr/>
              </p:nvSpPr>
              <p:spPr>
                <a:xfrm>
                  <a:off x="4807218" y="3459871"/>
                  <a:ext cx="8856" cy="7605"/>
                </a:xfrm>
                <a:custGeom>
                  <a:avLst/>
                  <a:gdLst/>
                  <a:ahLst/>
                  <a:cxnLst/>
                  <a:rect l="l" t="t" r="r" b="b"/>
                  <a:pathLst>
                    <a:path w="1126" h="967" extrusionOk="0">
                      <a:moveTo>
                        <a:pt x="642" y="0"/>
                      </a:moveTo>
                      <a:cubicBezTo>
                        <a:pt x="206" y="0"/>
                        <a:pt x="1" y="520"/>
                        <a:pt x="303" y="823"/>
                      </a:cubicBezTo>
                      <a:cubicBezTo>
                        <a:pt x="402" y="922"/>
                        <a:pt x="524" y="966"/>
                        <a:pt x="644" y="966"/>
                      </a:cubicBezTo>
                      <a:cubicBezTo>
                        <a:pt x="890" y="966"/>
                        <a:pt x="1126" y="777"/>
                        <a:pt x="1126" y="484"/>
                      </a:cubicBezTo>
                      <a:cubicBezTo>
                        <a:pt x="1126" y="218"/>
                        <a:pt x="908" y="0"/>
                        <a:pt x="642" y="0"/>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7676" name="Google Shape;7676;p104"/>
              <p:cNvGrpSpPr/>
              <p:nvPr/>
            </p:nvGrpSpPr>
            <p:grpSpPr>
              <a:xfrm>
                <a:off x="4645576" y="3467555"/>
                <a:ext cx="31405" cy="26953"/>
                <a:chOff x="4645576" y="3467555"/>
                <a:chExt cx="31405" cy="26953"/>
              </a:xfrm>
            </p:grpSpPr>
            <p:sp>
              <p:nvSpPr>
                <p:cNvPr id="7677" name="Google Shape;7677;p104"/>
                <p:cNvSpPr/>
                <p:nvPr/>
              </p:nvSpPr>
              <p:spPr>
                <a:xfrm>
                  <a:off x="4645576" y="3467555"/>
                  <a:ext cx="31405" cy="26953"/>
                </a:xfrm>
                <a:custGeom>
                  <a:avLst/>
                  <a:gdLst/>
                  <a:ahLst/>
                  <a:cxnLst/>
                  <a:rect l="l" t="t" r="r" b="b"/>
                  <a:pathLst>
                    <a:path w="3993" h="3427" extrusionOk="0">
                      <a:moveTo>
                        <a:pt x="2272" y="0"/>
                      </a:moveTo>
                      <a:cubicBezTo>
                        <a:pt x="1853" y="0"/>
                        <a:pt x="1425" y="155"/>
                        <a:pt x="1077" y="499"/>
                      </a:cubicBezTo>
                      <a:cubicBezTo>
                        <a:pt x="0" y="1576"/>
                        <a:pt x="750" y="3414"/>
                        <a:pt x="2274" y="3426"/>
                      </a:cubicBezTo>
                      <a:cubicBezTo>
                        <a:pt x="3218" y="3426"/>
                        <a:pt x="3992" y="2652"/>
                        <a:pt x="3992" y="1709"/>
                      </a:cubicBezTo>
                      <a:cubicBezTo>
                        <a:pt x="3992" y="677"/>
                        <a:pt x="3150" y="0"/>
                        <a:pt x="2272" y="0"/>
                      </a:cubicBez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678" name="Google Shape;7678;p104"/>
                <p:cNvSpPr/>
                <p:nvPr/>
              </p:nvSpPr>
              <p:spPr>
                <a:xfrm>
                  <a:off x="4659749" y="3477182"/>
                  <a:ext cx="7527" cy="7621"/>
                </a:xfrm>
                <a:custGeom>
                  <a:avLst/>
                  <a:gdLst/>
                  <a:ahLst/>
                  <a:cxnLst/>
                  <a:rect l="l" t="t" r="r" b="b"/>
                  <a:pathLst>
                    <a:path w="957" h="969" extrusionOk="0">
                      <a:moveTo>
                        <a:pt x="472" y="1"/>
                      </a:moveTo>
                      <a:cubicBezTo>
                        <a:pt x="206" y="1"/>
                        <a:pt x="1" y="219"/>
                        <a:pt x="1" y="485"/>
                      </a:cubicBezTo>
                      <a:cubicBezTo>
                        <a:pt x="1" y="751"/>
                        <a:pt x="206" y="969"/>
                        <a:pt x="472" y="969"/>
                      </a:cubicBezTo>
                      <a:cubicBezTo>
                        <a:pt x="751" y="969"/>
                        <a:pt x="956" y="751"/>
                        <a:pt x="956" y="485"/>
                      </a:cubicBezTo>
                      <a:cubicBezTo>
                        <a:pt x="956" y="219"/>
                        <a:pt x="751" y="1"/>
                        <a:pt x="472" y="1"/>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7679" name="Google Shape;7679;p104"/>
              <p:cNvGrpSpPr/>
              <p:nvPr/>
            </p:nvGrpSpPr>
            <p:grpSpPr>
              <a:xfrm>
                <a:off x="4687631" y="3583965"/>
                <a:ext cx="31499" cy="26898"/>
                <a:chOff x="4687631" y="3583965"/>
                <a:chExt cx="31499" cy="26898"/>
              </a:xfrm>
            </p:grpSpPr>
            <p:sp>
              <p:nvSpPr>
                <p:cNvPr id="7680" name="Google Shape;7680;p104"/>
                <p:cNvSpPr/>
                <p:nvPr/>
              </p:nvSpPr>
              <p:spPr>
                <a:xfrm>
                  <a:off x="4687631" y="3583965"/>
                  <a:ext cx="31499" cy="26898"/>
                </a:xfrm>
                <a:custGeom>
                  <a:avLst/>
                  <a:gdLst/>
                  <a:ahLst/>
                  <a:cxnLst/>
                  <a:rect l="l" t="t" r="r" b="b"/>
                  <a:pathLst>
                    <a:path w="4005" h="3420" extrusionOk="0">
                      <a:moveTo>
                        <a:pt x="2284" y="0"/>
                      </a:moveTo>
                      <a:cubicBezTo>
                        <a:pt x="1865" y="0"/>
                        <a:pt x="1437" y="156"/>
                        <a:pt x="1089" y="504"/>
                      </a:cubicBezTo>
                      <a:cubicBezTo>
                        <a:pt x="0" y="1581"/>
                        <a:pt x="774" y="3420"/>
                        <a:pt x="2298" y="3420"/>
                      </a:cubicBezTo>
                      <a:cubicBezTo>
                        <a:pt x="3242" y="3420"/>
                        <a:pt x="4004" y="2658"/>
                        <a:pt x="4004" y="1714"/>
                      </a:cubicBezTo>
                      <a:cubicBezTo>
                        <a:pt x="4004" y="683"/>
                        <a:pt x="3162" y="0"/>
                        <a:pt x="2284" y="0"/>
                      </a:cubicBez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681" name="Google Shape;7681;p104"/>
                <p:cNvSpPr/>
                <p:nvPr/>
              </p:nvSpPr>
              <p:spPr>
                <a:xfrm>
                  <a:off x="4700568" y="3593639"/>
                  <a:ext cx="8950" cy="7582"/>
                </a:xfrm>
                <a:custGeom>
                  <a:avLst/>
                  <a:gdLst/>
                  <a:ahLst/>
                  <a:cxnLst/>
                  <a:rect l="l" t="t" r="r" b="b"/>
                  <a:pathLst>
                    <a:path w="1138" h="964" extrusionOk="0">
                      <a:moveTo>
                        <a:pt x="641" y="0"/>
                      </a:moveTo>
                      <a:cubicBezTo>
                        <a:pt x="218" y="0"/>
                        <a:pt x="0" y="520"/>
                        <a:pt x="303" y="823"/>
                      </a:cubicBezTo>
                      <a:cubicBezTo>
                        <a:pt x="404" y="920"/>
                        <a:pt x="525" y="964"/>
                        <a:pt x="644" y="964"/>
                      </a:cubicBezTo>
                      <a:cubicBezTo>
                        <a:pt x="893" y="964"/>
                        <a:pt x="1129" y="771"/>
                        <a:pt x="1137" y="484"/>
                      </a:cubicBezTo>
                      <a:cubicBezTo>
                        <a:pt x="1137" y="218"/>
                        <a:pt x="920" y="0"/>
                        <a:pt x="641" y="0"/>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7682" name="Google Shape;7682;p104"/>
              <p:cNvGrpSpPr/>
              <p:nvPr/>
            </p:nvGrpSpPr>
            <p:grpSpPr>
              <a:xfrm>
                <a:off x="4719311" y="3471314"/>
                <a:ext cx="31499" cy="27001"/>
                <a:chOff x="4719311" y="3471314"/>
                <a:chExt cx="31499" cy="27001"/>
              </a:xfrm>
            </p:grpSpPr>
            <p:sp>
              <p:nvSpPr>
                <p:cNvPr id="7683" name="Google Shape;7683;p104"/>
                <p:cNvSpPr/>
                <p:nvPr/>
              </p:nvSpPr>
              <p:spPr>
                <a:xfrm>
                  <a:off x="4719311" y="3471314"/>
                  <a:ext cx="31499" cy="27001"/>
                </a:xfrm>
                <a:custGeom>
                  <a:avLst/>
                  <a:gdLst/>
                  <a:ahLst/>
                  <a:cxnLst/>
                  <a:rect l="l" t="t" r="r" b="b"/>
                  <a:pathLst>
                    <a:path w="4005" h="3433" extrusionOk="0">
                      <a:moveTo>
                        <a:pt x="2285" y="1"/>
                      </a:moveTo>
                      <a:cubicBezTo>
                        <a:pt x="1865" y="1"/>
                        <a:pt x="1437" y="157"/>
                        <a:pt x="1089" y="505"/>
                      </a:cubicBezTo>
                      <a:cubicBezTo>
                        <a:pt x="0" y="1581"/>
                        <a:pt x="774" y="3432"/>
                        <a:pt x="2299" y="3432"/>
                      </a:cubicBezTo>
                      <a:cubicBezTo>
                        <a:pt x="3242" y="3432"/>
                        <a:pt x="4004" y="2658"/>
                        <a:pt x="4004" y="1715"/>
                      </a:cubicBezTo>
                      <a:cubicBezTo>
                        <a:pt x="4004" y="683"/>
                        <a:pt x="3163" y="1"/>
                        <a:pt x="2285" y="1"/>
                      </a:cubicBez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684" name="Google Shape;7684;p104"/>
                <p:cNvSpPr/>
                <p:nvPr/>
              </p:nvSpPr>
              <p:spPr>
                <a:xfrm>
                  <a:off x="4732249" y="3480988"/>
                  <a:ext cx="8856" cy="7605"/>
                </a:xfrm>
                <a:custGeom>
                  <a:avLst/>
                  <a:gdLst/>
                  <a:ahLst/>
                  <a:cxnLst/>
                  <a:rect l="l" t="t" r="r" b="b"/>
                  <a:pathLst>
                    <a:path w="1126" h="967" extrusionOk="0">
                      <a:moveTo>
                        <a:pt x="642" y="1"/>
                      </a:moveTo>
                      <a:cubicBezTo>
                        <a:pt x="218" y="1"/>
                        <a:pt x="0" y="521"/>
                        <a:pt x="303" y="823"/>
                      </a:cubicBezTo>
                      <a:cubicBezTo>
                        <a:pt x="402" y="922"/>
                        <a:pt x="524" y="967"/>
                        <a:pt x="643" y="967"/>
                      </a:cubicBezTo>
                      <a:cubicBezTo>
                        <a:pt x="890" y="967"/>
                        <a:pt x="1125" y="778"/>
                        <a:pt x="1125" y="485"/>
                      </a:cubicBezTo>
                      <a:cubicBezTo>
                        <a:pt x="1125" y="218"/>
                        <a:pt x="920" y="1"/>
                        <a:pt x="642" y="1"/>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7685" name="Google Shape;7685;p104"/>
              <p:cNvGrpSpPr/>
              <p:nvPr/>
            </p:nvGrpSpPr>
            <p:grpSpPr>
              <a:xfrm>
                <a:off x="4719311" y="3434404"/>
                <a:ext cx="31499" cy="26898"/>
                <a:chOff x="4719311" y="3434404"/>
                <a:chExt cx="31499" cy="26898"/>
              </a:xfrm>
            </p:grpSpPr>
            <p:sp>
              <p:nvSpPr>
                <p:cNvPr id="7686" name="Google Shape;7686;p104"/>
                <p:cNvSpPr/>
                <p:nvPr/>
              </p:nvSpPr>
              <p:spPr>
                <a:xfrm>
                  <a:off x="4719311" y="3434404"/>
                  <a:ext cx="31499" cy="26898"/>
                </a:xfrm>
                <a:custGeom>
                  <a:avLst/>
                  <a:gdLst/>
                  <a:ahLst/>
                  <a:cxnLst/>
                  <a:rect l="l" t="t" r="r" b="b"/>
                  <a:pathLst>
                    <a:path w="4005" h="3420" extrusionOk="0">
                      <a:moveTo>
                        <a:pt x="2285" y="0"/>
                      </a:moveTo>
                      <a:cubicBezTo>
                        <a:pt x="1865" y="0"/>
                        <a:pt x="1437" y="156"/>
                        <a:pt x="1089" y="504"/>
                      </a:cubicBezTo>
                      <a:cubicBezTo>
                        <a:pt x="0" y="1581"/>
                        <a:pt x="774" y="3420"/>
                        <a:pt x="2299" y="3420"/>
                      </a:cubicBezTo>
                      <a:cubicBezTo>
                        <a:pt x="3242" y="3420"/>
                        <a:pt x="4004" y="2658"/>
                        <a:pt x="4004" y="1714"/>
                      </a:cubicBezTo>
                      <a:cubicBezTo>
                        <a:pt x="4004" y="683"/>
                        <a:pt x="3163" y="0"/>
                        <a:pt x="2285" y="0"/>
                      </a:cubicBez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687" name="Google Shape;7687;p104"/>
                <p:cNvSpPr/>
                <p:nvPr/>
              </p:nvSpPr>
              <p:spPr>
                <a:xfrm>
                  <a:off x="4732249" y="3444078"/>
                  <a:ext cx="8856" cy="7582"/>
                </a:xfrm>
                <a:custGeom>
                  <a:avLst/>
                  <a:gdLst/>
                  <a:ahLst/>
                  <a:cxnLst/>
                  <a:rect l="l" t="t" r="r" b="b"/>
                  <a:pathLst>
                    <a:path w="1126" h="964" extrusionOk="0">
                      <a:moveTo>
                        <a:pt x="642" y="0"/>
                      </a:moveTo>
                      <a:cubicBezTo>
                        <a:pt x="218" y="0"/>
                        <a:pt x="0" y="520"/>
                        <a:pt x="303" y="823"/>
                      </a:cubicBezTo>
                      <a:cubicBezTo>
                        <a:pt x="400" y="920"/>
                        <a:pt x="520" y="964"/>
                        <a:pt x="638" y="964"/>
                      </a:cubicBezTo>
                      <a:cubicBezTo>
                        <a:pt x="886" y="964"/>
                        <a:pt x="1125" y="771"/>
                        <a:pt x="1125" y="484"/>
                      </a:cubicBezTo>
                      <a:cubicBezTo>
                        <a:pt x="1125" y="218"/>
                        <a:pt x="920" y="0"/>
                        <a:pt x="642" y="0"/>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7688" name="Google Shape;7688;p104"/>
              <p:cNvGrpSpPr/>
              <p:nvPr/>
            </p:nvGrpSpPr>
            <p:grpSpPr>
              <a:xfrm>
                <a:off x="4768876" y="3401772"/>
                <a:ext cx="31499" cy="26898"/>
                <a:chOff x="4768876" y="3401772"/>
                <a:chExt cx="31499" cy="26898"/>
              </a:xfrm>
            </p:grpSpPr>
            <p:sp>
              <p:nvSpPr>
                <p:cNvPr id="7689" name="Google Shape;7689;p104"/>
                <p:cNvSpPr/>
                <p:nvPr/>
              </p:nvSpPr>
              <p:spPr>
                <a:xfrm>
                  <a:off x="4768876" y="3401772"/>
                  <a:ext cx="31499" cy="26898"/>
                </a:xfrm>
                <a:custGeom>
                  <a:avLst/>
                  <a:gdLst/>
                  <a:ahLst/>
                  <a:cxnLst/>
                  <a:rect l="l" t="t" r="r" b="b"/>
                  <a:pathLst>
                    <a:path w="4005" h="3420" extrusionOk="0">
                      <a:moveTo>
                        <a:pt x="2276" y="0"/>
                      </a:moveTo>
                      <a:cubicBezTo>
                        <a:pt x="1855" y="0"/>
                        <a:pt x="1425" y="156"/>
                        <a:pt x="1077" y="504"/>
                      </a:cubicBezTo>
                      <a:cubicBezTo>
                        <a:pt x="1" y="1581"/>
                        <a:pt x="763" y="3419"/>
                        <a:pt x="2287" y="3419"/>
                      </a:cubicBezTo>
                      <a:cubicBezTo>
                        <a:pt x="3231" y="3419"/>
                        <a:pt x="4005" y="2657"/>
                        <a:pt x="4005" y="1714"/>
                      </a:cubicBezTo>
                      <a:cubicBezTo>
                        <a:pt x="4005" y="683"/>
                        <a:pt x="3157" y="0"/>
                        <a:pt x="2276" y="0"/>
                      </a:cubicBez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690" name="Google Shape;7690;p104"/>
                <p:cNvSpPr/>
                <p:nvPr/>
              </p:nvSpPr>
              <p:spPr>
                <a:xfrm>
                  <a:off x="4783057" y="3411438"/>
                  <a:ext cx="7613" cy="7621"/>
                </a:xfrm>
                <a:custGeom>
                  <a:avLst/>
                  <a:gdLst/>
                  <a:ahLst/>
                  <a:cxnLst/>
                  <a:rect l="l" t="t" r="r" b="b"/>
                  <a:pathLst>
                    <a:path w="968" h="969" extrusionOk="0">
                      <a:moveTo>
                        <a:pt x="484" y="1"/>
                      </a:moveTo>
                      <a:cubicBezTo>
                        <a:pt x="218" y="1"/>
                        <a:pt x="0" y="219"/>
                        <a:pt x="0" y="485"/>
                      </a:cubicBezTo>
                      <a:cubicBezTo>
                        <a:pt x="0" y="751"/>
                        <a:pt x="218" y="969"/>
                        <a:pt x="484" y="969"/>
                      </a:cubicBezTo>
                      <a:cubicBezTo>
                        <a:pt x="750" y="969"/>
                        <a:pt x="968" y="751"/>
                        <a:pt x="968" y="485"/>
                      </a:cubicBezTo>
                      <a:cubicBezTo>
                        <a:pt x="968" y="219"/>
                        <a:pt x="750" y="1"/>
                        <a:pt x="484" y="1"/>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7691" name="Google Shape;7691;p104"/>
              <p:cNvGrpSpPr/>
              <p:nvPr/>
            </p:nvGrpSpPr>
            <p:grpSpPr>
              <a:xfrm>
                <a:off x="4762214" y="3471377"/>
                <a:ext cx="26938" cy="26938"/>
                <a:chOff x="4762214" y="3471377"/>
                <a:chExt cx="26938" cy="26938"/>
              </a:xfrm>
            </p:grpSpPr>
            <p:sp>
              <p:nvSpPr>
                <p:cNvPr id="7692" name="Google Shape;7692;p104"/>
                <p:cNvSpPr/>
                <p:nvPr/>
              </p:nvSpPr>
              <p:spPr>
                <a:xfrm>
                  <a:off x="4762214" y="3471377"/>
                  <a:ext cx="26938" cy="26938"/>
                </a:xfrm>
                <a:custGeom>
                  <a:avLst/>
                  <a:gdLst/>
                  <a:ahLst/>
                  <a:cxnLst/>
                  <a:rect l="l" t="t" r="r" b="b"/>
                  <a:pathLst>
                    <a:path w="3425" h="3425" extrusionOk="0">
                      <a:moveTo>
                        <a:pt x="1707" y="1"/>
                      </a:moveTo>
                      <a:cubicBezTo>
                        <a:pt x="763" y="1"/>
                        <a:pt x="1" y="763"/>
                        <a:pt x="1" y="1707"/>
                      </a:cubicBezTo>
                      <a:cubicBezTo>
                        <a:pt x="1" y="2650"/>
                        <a:pt x="763" y="3424"/>
                        <a:pt x="1707" y="3424"/>
                      </a:cubicBezTo>
                      <a:cubicBezTo>
                        <a:pt x="2662" y="3424"/>
                        <a:pt x="3424" y="2650"/>
                        <a:pt x="3424" y="1707"/>
                      </a:cubicBezTo>
                      <a:cubicBezTo>
                        <a:pt x="3424" y="763"/>
                        <a:pt x="2662" y="1"/>
                        <a:pt x="1707" y="1"/>
                      </a:cubicBez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693" name="Google Shape;7693;p104"/>
                <p:cNvSpPr/>
                <p:nvPr/>
              </p:nvSpPr>
              <p:spPr>
                <a:xfrm>
                  <a:off x="4770591" y="3480988"/>
                  <a:ext cx="8856" cy="7605"/>
                </a:xfrm>
                <a:custGeom>
                  <a:avLst/>
                  <a:gdLst/>
                  <a:ahLst/>
                  <a:cxnLst/>
                  <a:rect l="l" t="t" r="r" b="b"/>
                  <a:pathLst>
                    <a:path w="1126" h="967" extrusionOk="0">
                      <a:moveTo>
                        <a:pt x="642" y="1"/>
                      </a:moveTo>
                      <a:cubicBezTo>
                        <a:pt x="218" y="1"/>
                        <a:pt x="0" y="521"/>
                        <a:pt x="303" y="823"/>
                      </a:cubicBezTo>
                      <a:cubicBezTo>
                        <a:pt x="402" y="922"/>
                        <a:pt x="524" y="967"/>
                        <a:pt x="643" y="967"/>
                      </a:cubicBezTo>
                      <a:cubicBezTo>
                        <a:pt x="890" y="967"/>
                        <a:pt x="1125" y="778"/>
                        <a:pt x="1125" y="485"/>
                      </a:cubicBezTo>
                      <a:cubicBezTo>
                        <a:pt x="1125" y="218"/>
                        <a:pt x="920" y="1"/>
                        <a:pt x="642" y="1"/>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7694" name="Google Shape;7694;p104"/>
              <p:cNvGrpSpPr/>
              <p:nvPr/>
            </p:nvGrpSpPr>
            <p:grpSpPr>
              <a:xfrm>
                <a:off x="4790473" y="3344782"/>
                <a:ext cx="31405" cy="26898"/>
                <a:chOff x="4790473" y="3344782"/>
                <a:chExt cx="31405" cy="26898"/>
              </a:xfrm>
            </p:grpSpPr>
            <p:sp>
              <p:nvSpPr>
                <p:cNvPr id="7695" name="Google Shape;7695;p104"/>
                <p:cNvSpPr/>
                <p:nvPr/>
              </p:nvSpPr>
              <p:spPr>
                <a:xfrm>
                  <a:off x="4790473" y="3344782"/>
                  <a:ext cx="31405" cy="26898"/>
                </a:xfrm>
                <a:custGeom>
                  <a:avLst/>
                  <a:gdLst/>
                  <a:ahLst/>
                  <a:cxnLst/>
                  <a:rect l="l" t="t" r="r" b="b"/>
                  <a:pathLst>
                    <a:path w="3993" h="3420" extrusionOk="0">
                      <a:moveTo>
                        <a:pt x="2273" y="0"/>
                      </a:moveTo>
                      <a:cubicBezTo>
                        <a:pt x="1853" y="0"/>
                        <a:pt x="1425" y="156"/>
                        <a:pt x="1077" y="504"/>
                      </a:cubicBezTo>
                      <a:cubicBezTo>
                        <a:pt x="1" y="1581"/>
                        <a:pt x="763" y="3420"/>
                        <a:pt x="2287" y="3420"/>
                      </a:cubicBezTo>
                      <a:cubicBezTo>
                        <a:pt x="3230" y="3420"/>
                        <a:pt x="3993" y="2657"/>
                        <a:pt x="3993" y="1714"/>
                      </a:cubicBezTo>
                      <a:cubicBezTo>
                        <a:pt x="3993" y="683"/>
                        <a:pt x="3151" y="0"/>
                        <a:pt x="2273" y="0"/>
                      </a:cubicBez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696" name="Google Shape;7696;p104"/>
                <p:cNvSpPr/>
                <p:nvPr/>
              </p:nvSpPr>
              <p:spPr>
                <a:xfrm>
                  <a:off x="4804654" y="3354456"/>
                  <a:ext cx="7613" cy="7613"/>
                </a:xfrm>
                <a:custGeom>
                  <a:avLst/>
                  <a:gdLst/>
                  <a:ahLst/>
                  <a:cxnLst/>
                  <a:rect l="l" t="t" r="r" b="b"/>
                  <a:pathLst>
                    <a:path w="968" h="968" extrusionOk="0">
                      <a:moveTo>
                        <a:pt x="484" y="0"/>
                      </a:moveTo>
                      <a:cubicBezTo>
                        <a:pt x="218" y="0"/>
                        <a:pt x="0" y="218"/>
                        <a:pt x="0" y="484"/>
                      </a:cubicBezTo>
                      <a:cubicBezTo>
                        <a:pt x="0" y="750"/>
                        <a:pt x="218" y="968"/>
                        <a:pt x="484" y="968"/>
                      </a:cubicBezTo>
                      <a:cubicBezTo>
                        <a:pt x="750" y="968"/>
                        <a:pt x="968" y="750"/>
                        <a:pt x="968" y="484"/>
                      </a:cubicBezTo>
                      <a:cubicBezTo>
                        <a:pt x="968" y="218"/>
                        <a:pt x="750" y="0"/>
                        <a:pt x="484" y="0"/>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7697" name="Google Shape;7697;p104"/>
              <p:cNvGrpSpPr/>
              <p:nvPr/>
            </p:nvGrpSpPr>
            <p:grpSpPr>
              <a:xfrm>
                <a:off x="4823774" y="3950733"/>
                <a:ext cx="37398" cy="32034"/>
                <a:chOff x="4823774" y="3950733"/>
                <a:chExt cx="37398" cy="32034"/>
              </a:xfrm>
            </p:grpSpPr>
            <p:sp>
              <p:nvSpPr>
                <p:cNvPr id="7698" name="Google Shape;7698;p104"/>
                <p:cNvSpPr/>
                <p:nvPr/>
              </p:nvSpPr>
              <p:spPr>
                <a:xfrm>
                  <a:off x="4823774" y="3950733"/>
                  <a:ext cx="37398" cy="32034"/>
                </a:xfrm>
                <a:custGeom>
                  <a:avLst/>
                  <a:gdLst/>
                  <a:ahLst/>
                  <a:cxnLst/>
                  <a:rect l="l" t="t" r="r" b="b"/>
                  <a:pathLst>
                    <a:path w="4755" h="4073" extrusionOk="0">
                      <a:moveTo>
                        <a:pt x="2707" y="1"/>
                      </a:moveTo>
                      <a:cubicBezTo>
                        <a:pt x="2207" y="1"/>
                        <a:pt x="1698" y="186"/>
                        <a:pt x="1283" y="601"/>
                      </a:cubicBezTo>
                      <a:cubicBezTo>
                        <a:pt x="1" y="1883"/>
                        <a:pt x="908" y="4073"/>
                        <a:pt x="2722" y="4073"/>
                      </a:cubicBezTo>
                      <a:cubicBezTo>
                        <a:pt x="3835" y="4073"/>
                        <a:pt x="4755" y="3166"/>
                        <a:pt x="4755" y="2041"/>
                      </a:cubicBezTo>
                      <a:cubicBezTo>
                        <a:pt x="4755" y="813"/>
                        <a:pt x="3752" y="1"/>
                        <a:pt x="2707" y="1"/>
                      </a:cubicBez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699" name="Google Shape;7699;p104"/>
                <p:cNvSpPr/>
                <p:nvPr/>
              </p:nvSpPr>
              <p:spPr>
                <a:xfrm>
                  <a:off x="4836617" y="3960407"/>
                  <a:ext cx="14849" cy="12718"/>
                </a:xfrm>
                <a:custGeom>
                  <a:avLst/>
                  <a:gdLst/>
                  <a:ahLst/>
                  <a:cxnLst/>
                  <a:rect l="l" t="t" r="r" b="b"/>
                  <a:pathLst>
                    <a:path w="1888" h="1617" extrusionOk="0">
                      <a:moveTo>
                        <a:pt x="1089" y="0"/>
                      </a:moveTo>
                      <a:cubicBezTo>
                        <a:pt x="363" y="0"/>
                        <a:pt x="1" y="871"/>
                        <a:pt x="509" y="1379"/>
                      </a:cubicBezTo>
                      <a:cubicBezTo>
                        <a:pt x="673" y="1543"/>
                        <a:pt x="874" y="1616"/>
                        <a:pt x="1073" y="1616"/>
                      </a:cubicBezTo>
                      <a:cubicBezTo>
                        <a:pt x="1488" y="1616"/>
                        <a:pt x="1888" y="1294"/>
                        <a:pt x="1888" y="811"/>
                      </a:cubicBezTo>
                      <a:cubicBezTo>
                        <a:pt x="1888" y="363"/>
                        <a:pt x="1537" y="0"/>
                        <a:pt x="1089" y="0"/>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7700" name="Google Shape;7700;p104"/>
              <p:cNvGrpSpPr/>
              <p:nvPr/>
            </p:nvGrpSpPr>
            <p:grpSpPr>
              <a:xfrm>
                <a:off x="4823396" y="4110566"/>
                <a:ext cx="31405" cy="26906"/>
                <a:chOff x="4823396" y="4110566"/>
                <a:chExt cx="31405" cy="26906"/>
              </a:xfrm>
            </p:grpSpPr>
            <p:sp>
              <p:nvSpPr>
                <p:cNvPr id="7701" name="Google Shape;7701;p104"/>
                <p:cNvSpPr/>
                <p:nvPr/>
              </p:nvSpPr>
              <p:spPr>
                <a:xfrm>
                  <a:off x="4823396" y="4110566"/>
                  <a:ext cx="31405" cy="26906"/>
                </a:xfrm>
                <a:custGeom>
                  <a:avLst/>
                  <a:gdLst/>
                  <a:ahLst/>
                  <a:cxnLst/>
                  <a:rect l="l" t="t" r="r" b="b"/>
                  <a:pathLst>
                    <a:path w="3993" h="3421" extrusionOk="0">
                      <a:moveTo>
                        <a:pt x="2272" y="1"/>
                      </a:moveTo>
                      <a:cubicBezTo>
                        <a:pt x="1853" y="1"/>
                        <a:pt x="1425" y="157"/>
                        <a:pt x="1077" y="505"/>
                      </a:cubicBezTo>
                      <a:cubicBezTo>
                        <a:pt x="0" y="1582"/>
                        <a:pt x="762" y="3420"/>
                        <a:pt x="2286" y="3420"/>
                      </a:cubicBezTo>
                      <a:cubicBezTo>
                        <a:pt x="3230" y="3420"/>
                        <a:pt x="3992" y="2658"/>
                        <a:pt x="3992" y="1715"/>
                      </a:cubicBezTo>
                      <a:cubicBezTo>
                        <a:pt x="3992" y="683"/>
                        <a:pt x="3150" y="1"/>
                        <a:pt x="2272" y="1"/>
                      </a:cubicBez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702" name="Google Shape;7702;p104"/>
                <p:cNvSpPr/>
                <p:nvPr/>
              </p:nvSpPr>
              <p:spPr>
                <a:xfrm>
                  <a:off x="4836240" y="4120145"/>
                  <a:ext cx="8950" cy="7684"/>
                </a:xfrm>
                <a:custGeom>
                  <a:avLst/>
                  <a:gdLst/>
                  <a:ahLst/>
                  <a:cxnLst/>
                  <a:rect l="l" t="t" r="r" b="b"/>
                  <a:pathLst>
                    <a:path w="1138" h="977" extrusionOk="0">
                      <a:moveTo>
                        <a:pt x="653" y="1"/>
                      </a:moveTo>
                      <a:cubicBezTo>
                        <a:pt x="218" y="1"/>
                        <a:pt x="0" y="533"/>
                        <a:pt x="303" y="835"/>
                      </a:cubicBezTo>
                      <a:cubicBezTo>
                        <a:pt x="404" y="933"/>
                        <a:pt x="527" y="976"/>
                        <a:pt x="646" y="976"/>
                      </a:cubicBezTo>
                      <a:cubicBezTo>
                        <a:pt x="898" y="976"/>
                        <a:pt x="1137" y="784"/>
                        <a:pt x="1137" y="497"/>
                      </a:cubicBezTo>
                      <a:cubicBezTo>
                        <a:pt x="1137" y="218"/>
                        <a:pt x="920" y="1"/>
                        <a:pt x="653" y="1"/>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7703" name="Google Shape;7703;p104"/>
              <p:cNvGrpSpPr/>
              <p:nvPr/>
            </p:nvGrpSpPr>
            <p:grpSpPr>
              <a:xfrm>
                <a:off x="4838332" y="3821150"/>
                <a:ext cx="31499" cy="26898"/>
                <a:chOff x="4838332" y="3821150"/>
                <a:chExt cx="31499" cy="26898"/>
              </a:xfrm>
            </p:grpSpPr>
            <p:sp>
              <p:nvSpPr>
                <p:cNvPr id="7704" name="Google Shape;7704;p104"/>
                <p:cNvSpPr/>
                <p:nvPr/>
              </p:nvSpPr>
              <p:spPr>
                <a:xfrm>
                  <a:off x="4838332" y="3821150"/>
                  <a:ext cx="31499" cy="26898"/>
                </a:xfrm>
                <a:custGeom>
                  <a:avLst/>
                  <a:gdLst/>
                  <a:ahLst/>
                  <a:cxnLst/>
                  <a:rect l="l" t="t" r="r" b="b"/>
                  <a:pathLst>
                    <a:path w="4005" h="3420" extrusionOk="0">
                      <a:moveTo>
                        <a:pt x="2285" y="1"/>
                      </a:moveTo>
                      <a:cubicBezTo>
                        <a:pt x="1865" y="1"/>
                        <a:pt x="1437" y="156"/>
                        <a:pt x="1089" y="505"/>
                      </a:cubicBezTo>
                      <a:cubicBezTo>
                        <a:pt x="0" y="1581"/>
                        <a:pt x="775" y="3420"/>
                        <a:pt x="2299" y="3420"/>
                      </a:cubicBezTo>
                      <a:cubicBezTo>
                        <a:pt x="3242" y="3420"/>
                        <a:pt x="4004" y="2658"/>
                        <a:pt x="4004" y="1714"/>
                      </a:cubicBezTo>
                      <a:cubicBezTo>
                        <a:pt x="4004" y="683"/>
                        <a:pt x="3163" y="1"/>
                        <a:pt x="2285" y="1"/>
                      </a:cubicBez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705" name="Google Shape;7705;p104"/>
                <p:cNvSpPr/>
                <p:nvPr/>
              </p:nvSpPr>
              <p:spPr>
                <a:xfrm>
                  <a:off x="4851270" y="3830824"/>
                  <a:ext cx="8950" cy="7582"/>
                </a:xfrm>
                <a:custGeom>
                  <a:avLst/>
                  <a:gdLst/>
                  <a:ahLst/>
                  <a:cxnLst/>
                  <a:rect l="l" t="t" r="r" b="b"/>
                  <a:pathLst>
                    <a:path w="1138" h="964" extrusionOk="0">
                      <a:moveTo>
                        <a:pt x="654" y="0"/>
                      </a:moveTo>
                      <a:cubicBezTo>
                        <a:pt x="218" y="0"/>
                        <a:pt x="0" y="521"/>
                        <a:pt x="303" y="823"/>
                      </a:cubicBezTo>
                      <a:cubicBezTo>
                        <a:pt x="404" y="920"/>
                        <a:pt x="526" y="964"/>
                        <a:pt x="644" y="964"/>
                      </a:cubicBezTo>
                      <a:cubicBezTo>
                        <a:pt x="893" y="964"/>
                        <a:pt x="1129" y="771"/>
                        <a:pt x="1138" y="484"/>
                      </a:cubicBezTo>
                      <a:cubicBezTo>
                        <a:pt x="1125" y="218"/>
                        <a:pt x="920" y="0"/>
                        <a:pt x="654" y="0"/>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7706" name="Google Shape;7706;p104"/>
              <p:cNvGrpSpPr/>
              <p:nvPr/>
            </p:nvGrpSpPr>
            <p:grpSpPr>
              <a:xfrm>
                <a:off x="4661275" y="3815007"/>
                <a:ext cx="36824" cy="31523"/>
                <a:chOff x="4661275" y="3815007"/>
                <a:chExt cx="36824" cy="31523"/>
              </a:xfrm>
            </p:grpSpPr>
            <p:sp>
              <p:nvSpPr>
                <p:cNvPr id="7707" name="Google Shape;7707;p104"/>
                <p:cNvSpPr/>
                <p:nvPr/>
              </p:nvSpPr>
              <p:spPr>
                <a:xfrm>
                  <a:off x="4661275" y="3815007"/>
                  <a:ext cx="36824" cy="31523"/>
                </a:xfrm>
                <a:custGeom>
                  <a:avLst/>
                  <a:gdLst/>
                  <a:ahLst/>
                  <a:cxnLst/>
                  <a:rect l="l" t="t" r="r" b="b"/>
                  <a:pathLst>
                    <a:path w="4682" h="4008" extrusionOk="0">
                      <a:moveTo>
                        <a:pt x="2663" y="0"/>
                      </a:moveTo>
                      <a:cubicBezTo>
                        <a:pt x="2169" y="0"/>
                        <a:pt x="1666" y="184"/>
                        <a:pt x="1258" y="596"/>
                      </a:cubicBezTo>
                      <a:cubicBezTo>
                        <a:pt x="0" y="1854"/>
                        <a:pt x="895" y="4007"/>
                        <a:pt x="2674" y="4007"/>
                      </a:cubicBezTo>
                      <a:cubicBezTo>
                        <a:pt x="3774" y="4007"/>
                        <a:pt x="4682" y="3112"/>
                        <a:pt x="4682" y="2011"/>
                      </a:cubicBezTo>
                      <a:cubicBezTo>
                        <a:pt x="4682" y="801"/>
                        <a:pt x="3692" y="0"/>
                        <a:pt x="2663" y="0"/>
                      </a:cubicBez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708" name="Google Shape;7708;p104"/>
                <p:cNvSpPr/>
                <p:nvPr/>
              </p:nvSpPr>
              <p:spPr>
                <a:xfrm>
                  <a:off x="4676211" y="3824736"/>
                  <a:ext cx="12183" cy="12183"/>
                </a:xfrm>
                <a:custGeom>
                  <a:avLst/>
                  <a:gdLst/>
                  <a:ahLst/>
                  <a:cxnLst/>
                  <a:rect l="l" t="t" r="r" b="b"/>
                  <a:pathLst>
                    <a:path w="1549" h="1549" extrusionOk="0">
                      <a:moveTo>
                        <a:pt x="775" y="0"/>
                      </a:moveTo>
                      <a:cubicBezTo>
                        <a:pt x="351" y="0"/>
                        <a:pt x="0" y="339"/>
                        <a:pt x="0" y="774"/>
                      </a:cubicBezTo>
                      <a:cubicBezTo>
                        <a:pt x="0" y="1198"/>
                        <a:pt x="351" y="1549"/>
                        <a:pt x="775" y="1549"/>
                      </a:cubicBezTo>
                      <a:cubicBezTo>
                        <a:pt x="1210" y="1549"/>
                        <a:pt x="1549" y="1198"/>
                        <a:pt x="1549" y="774"/>
                      </a:cubicBezTo>
                      <a:cubicBezTo>
                        <a:pt x="1549" y="339"/>
                        <a:pt x="1210" y="0"/>
                        <a:pt x="775" y="0"/>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7709" name="Google Shape;7709;p104"/>
              <p:cNvGrpSpPr/>
              <p:nvPr/>
            </p:nvGrpSpPr>
            <p:grpSpPr>
              <a:xfrm>
                <a:off x="4558998" y="3851037"/>
                <a:ext cx="33591" cy="28699"/>
                <a:chOff x="4558998" y="3851037"/>
                <a:chExt cx="33591" cy="28699"/>
              </a:xfrm>
            </p:grpSpPr>
            <p:sp>
              <p:nvSpPr>
                <p:cNvPr id="7710" name="Google Shape;7710;p104"/>
                <p:cNvSpPr/>
                <p:nvPr/>
              </p:nvSpPr>
              <p:spPr>
                <a:xfrm>
                  <a:off x="4558998" y="3851037"/>
                  <a:ext cx="33591" cy="28699"/>
                </a:xfrm>
                <a:custGeom>
                  <a:avLst/>
                  <a:gdLst/>
                  <a:ahLst/>
                  <a:cxnLst/>
                  <a:rect l="l" t="t" r="r" b="b"/>
                  <a:pathLst>
                    <a:path w="4271" h="3649" extrusionOk="0">
                      <a:moveTo>
                        <a:pt x="2430" y="0"/>
                      </a:moveTo>
                      <a:cubicBezTo>
                        <a:pt x="1980" y="0"/>
                        <a:pt x="1522" y="167"/>
                        <a:pt x="1149" y="539"/>
                      </a:cubicBezTo>
                      <a:cubicBezTo>
                        <a:pt x="0" y="1688"/>
                        <a:pt x="823" y="3648"/>
                        <a:pt x="2444" y="3648"/>
                      </a:cubicBezTo>
                      <a:cubicBezTo>
                        <a:pt x="3448" y="3648"/>
                        <a:pt x="4270" y="2838"/>
                        <a:pt x="4270" y="1822"/>
                      </a:cubicBezTo>
                      <a:cubicBezTo>
                        <a:pt x="4270" y="726"/>
                        <a:pt x="3369" y="0"/>
                        <a:pt x="2430" y="0"/>
                      </a:cubicBez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711" name="Google Shape;7711;p104"/>
                <p:cNvSpPr/>
                <p:nvPr/>
              </p:nvSpPr>
              <p:spPr>
                <a:xfrm>
                  <a:off x="4573557" y="3860695"/>
                  <a:ext cx="9328" cy="9430"/>
                </a:xfrm>
                <a:custGeom>
                  <a:avLst/>
                  <a:gdLst/>
                  <a:ahLst/>
                  <a:cxnLst/>
                  <a:rect l="l" t="t" r="r" b="b"/>
                  <a:pathLst>
                    <a:path w="1186" h="1199" extrusionOk="0">
                      <a:moveTo>
                        <a:pt x="593" y="1"/>
                      </a:moveTo>
                      <a:cubicBezTo>
                        <a:pt x="266" y="1"/>
                        <a:pt x="0" y="267"/>
                        <a:pt x="0" y="594"/>
                      </a:cubicBezTo>
                      <a:cubicBezTo>
                        <a:pt x="0" y="932"/>
                        <a:pt x="266" y="1198"/>
                        <a:pt x="593" y="1198"/>
                      </a:cubicBezTo>
                      <a:cubicBezTo>
                        <a:pt x="919" y="1198"/>
                        <a:pt x="1185" y="932"/>
                        <a:pt x="1185" y="594"/>
                      </a:cubicBezTo>
                      <a:cubicBezTo>
                        <a:pt x="1185" y="267"/>
                        <a:pt x="919" y="1"/>
                        <a:pt x="593" y="1"/>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7712" name="Google Shape;7712;p104"/>
              <p:cNvGrpSpPr/>
              <p:nvPr/>
            </p:nvGrpSpPr>
            <p:grpSpPr>
              <a:xfrm>
                <a:off x="4696762" y="3638587"/>
                <a:ext cx="33591" cy="28794"/>
                <a:chOff x="4696762" y="3638587"/>
                <a:chExt cx="33591" cy="28794"/>
              </a:xfrm>
            </p:grpSpPr>
            <p:sp>
              <p:nvSpPr>
                <p:cNvPr id="7713" name="Google Shape;7713;p104"/>
                <p:cNvSpPr/>
                <p:nvPr/>
              </p:nvSpPr>
              <p:spPr>
                <a:xfrm>
                  <a:off x="4696762" y="3638587"/>
                  <a:ext cx="33591" cy="28794"/>
                </a:xfrm>
                <a:custGeom>
                  <a:avLst/>
                  <a:gdLst/>
                  <a:ahLst/>
                  <a:cxnLst/>
                  <a:rect l="l" t="t" r="r" b="b"/>
                  <a:pathLst>
                    <a:path w="4271" h="3661" extrusionOk="0">
                      <a:moveTo>
                        <a:pt x="2426" y="1"/>
                      </a:moveTo>
                      <a:cubicBezTo>
                        <a:pt x="1978" y="1"/>
                        <a:pt x="1521" y="167"/>
                        <a:pt x="1150" y="539"/>
                      </a:cubicBezTo>
                      <a:cubicBezTo>
                        <a:pt x="0" y="1688"/>
                        <a:pt x="823" y="3660"/>
                        <a:pt x="2444" y="3660"/>
                      </a:cubicBezTo>
                      <a:cubicBezTo>
                        <a:pt x="3448" y="3648"/>
                        <a:pt x="4258" y="2838"/>
                        <a:pt x="4270" y="1834"/>
                      </a:cubicBezTo>
                      <a:cubicBezTo>
                        <a:pt x="4262" y="729"/>
                        <a:pt x="3363" y="1"/>
                        <a:pt x="2426" y="1"/>
                      </a:cubicBez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714" name="Google Shape;7714;p104"/>
                <p:cNvSpPr/>
                <p:nvPr/>
              </p:nvSpPr>
              <p:spPr>
                <a:xfrm>
                  <a:off x="4711320" y="3648245"/>
                  <a:ext cx="9328" cy="9430"/>
                </a:xfrm>
                <a:custGeom>
                  <a:avLst/>
                  <a:gdLst/>
                  <a:ahLst/>
                  <a:cxnLst/>
                  <a:rect l="l" t="t" r="r" b="b"/>
                  <a:pathLst>
                    <a:path w="1186" h="1199" extrusionOk="0">
                      <a:moveTo>
                        <a:pt x="593" y="1"/>
                      </a:moveTo>
                      <a:cubicBezTo>
                        <a:pt x="266" y="1"/>
                        <a:pt x="0" y="279"/>
                        <a:pt x="0" y="606"/>
                      </a:cubicBezTo>
                      <a:cubicBezTo>
                        <a:pt x="0" y="932"/>
                        <a:pt x="266" y="1198"/>
                        <a:pt x="593" y="1198"/>
                      </a:cubicBezTo>
                      <a:cubicBezTo>
                        <a:pt x="919" y="1198"/>
                        <a:pt x="1186" y="932"/>
                        <a:pt x="1186" y="606"/>
                      </a:cubicBezTo>
                      <a:cubicBezTo>
                        <a:pt x="1186" y="279"/>
                        <a:pt x="919" y="1"/>
                        <a:pt x="593" y="1"/>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7715" name="Google Shape;7715;p104"/>
              <p:cNvGrpSpPr/>
              <p:nvPr/>
            </p:nvGrpSpPr>
            <p:grpSpPr>
              <a:xfrm>
                <a:off x="4929479" y="3939140"/>
                <a:ext cx="33497" cy="28692"/>
                <a:chOff x="4929479" y="3939140"/>
                <a:chExt cx="33497" cy="28692"/>
              </a:xfrm>
            </p:grpSpPr>
            <p:sp>
              <p:nvSpPr>
                <p:cNvPr id="7716" name="Google Shape;7716;p104"/>
                <p:cNvSpPr/>
                <p:nvPr/>
              </p:nvSpPr>
              <p:spPr>
                <a:xfrm>
                  <a:off x="4929479" y="3939140"/>
                  <a:ext cx="33497" cy="28692"/>
                </a:xfrm>
                <a:custGeom>
                  <a:avLst/>
                  <a:gdLst/>
                  <a:ahLst/>
                  <a:cxnLst/>
                  <a:rect l="l" t="t" r="r" b="b"/>
                  <a:pathLst>
                    <a:path w="4259" h="3648" extrusionOk="0">
                      <a:moveTo>
                        <a:pt x="2426" y="0"/>
                      </a:moveTo>
                      <a:cubicBezTo>
                        <a:pt x="1978" y="0"/>
                        <a:pt x="1521" y="167"/>
                        <a:pt x="1149" y="539"/>
                      </a:cubicBezTo>
                      <a:cubicBezTo>
                        <a:pt x="0" y="1688"/>
                        <a:pt x="811" y="3648"/>
                        <a:pt x="2431" y="3648"/>
                      </a:cubicBezTo>
                      <a:cubicBezTo>
                        <a:pt x="3448" y="3648"/>
                        <a:pt x="4258" y="2837"/>
                        <a:pt x="4258" y="1833"/>
                      </a:cubicBezTo>
                      <a:cubicBezTo>
                        <a:pt x="4258" y="729"/>
                        <a:pt x="3361" y="0"/>
                        <a:pt x="2426" y="0"/>
                      </a:cubicBez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717" name="Google Shape;7717;p104"/>
                <p:cNvSpPr/>
                <p:nvPr/>
              </p:nvSpPr>
              <p:spPr>
                <a:xfrm>
                  <a:off x="4943935" y="3948893"/>
                  <a:ext cx="9430" cy="9328"/>
                </a:xfrm>
                <a:custGeom>
                  <a:avLst/>
                  <a:gdLst/>
                  <a:ahLst/>
                  <a:cxnLst/>
                  <a:rect l="l" t="t" r="r" b="b"/>
                  <a:pathLst>
                    <a:path w="1199" h="1186" extrusionOk="0">
                      <a:moveTo>
                        <a:pt x="593" y="0"/>
                      </a:moveTo>
                      <a:cubicBezTo>
                        <a:pt x="267" y="0"/>
                        <a:pt x="1" y="267"/>
                        <a:pt x="1" y="593"/>
                      </a:cubicBezTo>
                      <a:cubicBezTo>
                        <a:pt x="1" y="920"/>
                        <a:pt x="267" y="1186"/>
                        <a:pt x="593" y="1186"/>
                      </a:cubicBezTo>
                      <a:cubicBezTo>
                        <a:pt x="932" y="1186"/>
                        <a:pt x="1198" y="920"/>
                        <a:pt x="1198" y="593"/>
                      </a:cubicBezTo>
                      <a:cubicBezTo>
                        <a:pt x="1198" y="267"/>
                        <a:pt x="932" y="0"/>
                        <a:pt x="593" y="0"/>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7718" name="Google Shape;7718;p104"/>
              <p:cNvGrpSpPr/>
              <p:nvPr/>
            </p:nvGrpSpPr>
            <p:grpSpPr>
              <a:xfrm>
                <a:off x="4907119" y="3986039"/>
                <a:ext cx="33497" cy="28699"/>
                <a:chOff x="4907119" y="3986039"/>
                <a:chExt cx="33497" cy="28699"/>
              </a:xfrm>
            </p:grpSpPr>
            <p:sp>
              <p:nvSpPr>
                <p:cNvPr id="7719" name="Google Shape;7719;p104"/>
                <p:cNvSpPr/>
                <p:nvPr/>
              </p:nvSpPr>
              <p:spPr>
                <a:xfrm>
                  <a:off x="4907119" y="3986039"/>
                  <a:ext cx="33497" cy="28699"/>
                </a:xfrm>
                <a:custGeom>
                  <a:avLst/>
                  <a:gdLst/>
                  <a:ahLst/>
                  <a:cxnLst/>
                  <a:rect l="l" t="t" r="r" b="b"/>
                  <a:pathLst>
                    <a:path w="4259" h="3649" extrusionOk="0">
                      <a:moveTo>
                        <a:pt x="2427" y="1"/>
                      </a:moveTo>
                      <a:cubicBezTo>
                        <a:pt x="1979" y="1"/>
                        <a:pt x="1522" y="167"/>
                        <a:pt x="1149" y="540"/>
                      </a:cubicBezTo>
                      <a:cubicBezTo>
                        <a:pt x="0" y="1689"/>
                        <a:pt x="811" y="3648"/>
                        <a:pt x="2444" y="3648"/>
                      </a:cubicBezTo>
                      <a:cubicBezTo>
                        <a:pt x="3448" y="3648"/>
                        <a:pt x="4258" y="2826"/>
                        <a:pt x="4258" y="1822"/>
                      </a:cubicBezTo>
                      <a:cubicBezTo>
                        <a:pt x="4258" y="726"/>
                        <a:pt x="3363" y="1"/>
                        <a:pt x="2427" y="1"/>
                      </a:cubicBez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720" name="Google Shape;7720;p104"/>
                <p:cNvSpPr/>
                <p:nvPr/>
              </p:nvSpPr>
              <p:spPr>
                <a:xfrm>
                  <a:off x="4921583" y="3995705"/>
                  <a:ext cx="9422" cy="9328"/>
                </a:xfrm>
                <a:custGeom>
                  <a:avLst/>
                  <a:gdLst/>
                  <a:ahLst/>
                  <a:cxnLst/>
                  <a:rect l="l" t="t" r="r" b="b"/>
                  <a:pathLst>
                    <a:path w="1198" h="1186" extrusionOk="0">
                      <a:moveTo>
                        <a:pt x="605" y="0"/>
                      </a:moveTo>
                      <a:cubicBezTo>
                        <a:pt x="266" y="0"/>
                        <a:pt x="0" y="266"/>
                        <a:pt x="0" y="593"/>
                      </a:cubicBezTo>
                      <a:cubicBezTo>
                        <a:pt x="0" y="919"/>
                        <a:pt x="266" y="1186"/>
                        <a:pt x="605" y="1186"/>
                      </a:cubicBezTo>
                      <a:cubicBezTo>
                        <a:pt x="931" y="1186"/>
                        <a:pt x="1198" y="919"/>
                        <a:pt x="1198" y="593"/>
                      </a:cubicBezTo>
                      <a:cubicBezTo>
                        <a:pt x="1198" y="266"/>
                        <a:pt x="931" y="0"/>
                        <a:pt x="605" y="0"/>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7721" name="Google Shape;7721;p104"/>
              <p:cNvGrpSpPr/>
              <p:nvPr/>
            </p:nvGrpSpPr>
            <p:grpSpPr>
              <a:xfrm>
                <a:off x="4911783" y="4048102"/>
                <a:ext cx="33591" cy="28762"/>
                <a:chOff x="4911783" y="4048102"/>
                <a:chExt cx="33591" cy="28762"/>
              </a:xfrm>
            </p:grpSpPr>
            <p:sp>
              <p:nvSpPr>
                <p:cNvPr id="7722" name="Google Shape;7722;p104"/>
                <p:cNvSpPr/>
                <p:nvPr/>
              </p:nvSpPr>
              <p:spPr>
                <a:xfrm>
                  <a:off x="4911783" y="4048102"/>
                  <a:ext cx="33591" cy="28762"/>
                </a:xfrm>
                <a:custGeom>
                  <a:avLst/>
                  <a:gdLst/>
                  <a:ahLst/>
                  <a:cxnLst/>
                  <a:rect l="l" t="t" r="r" b="b"/>
                  <a:pathLst>
                    <a:path w="4271" h="3657" extrusionOk="0">
                      <a:moveTo>
                        <a:pt x="2422" y="0"/>
                      </a:moveTo>
                      <a:cubicBezTo>
                        <a:pt x="1974" y="0"/>
                        <a:pt x="1519" y="166"/>
                        <a:pt x="1149" y="536"/>
                      </a:cubicBezTo>
                      <a:cubicBezTo>
                        <a:pt x="0" y="1685"/>
                        <a:pt x="823" y="3657"/>
                        <a:pt x="2456" y="3657"/>
                      </a:cubicBezTo>
                      <a:cubicBezTo>
                        <a:pt x="3448" y="3645"/>
                        <a:pt x="4258" y="2834"/>
                        <a:pt x="4270" y="1842"/>
                      </a:cubicBezTo>
                      <a:cubicBezTo>
                        <a:pt x="4270" y="735"/>
                        <a:pt x="3364" y="0"/>
                        <a:pt x="2422" y="0"/>
                      </a:cubicBez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723" name="Google Shape;7723;p104"/>
                <p:cNvSpPr/>
                <p:nvPr/>
              </p:nvSpPr>
              <p:spPr>
                <a:xfrm>
                  <a:off x="4926333" y="4057831"/>
                  <a:ext cx="9336" cy="9328"/>
                </a:xfrm>
                <a:custGeom>
                  <a:avLst/>
                  <a:gdLst/>
                  <a:ahLst/>
                  <a:cxnLst/>
                  <a:rect l="l" t="t" r="r" b="b"/>
                  <a:pathLst>
                    <a:path w="1187" h="1186" extrusionOk="0">
                      <a:moveTo>
                        <a:pt x="594" y="0"/>
                      </a:moveTo>
                      <a:cubicBezTo>
                        <a:pt x="267" y="0"/>
                        <a:pt x="1" y="266"/>
                        <a:pt x="1" y="593"/>
                      </a:cubicBezTo>
                      <a:cubicBezTo>
                        <a:pt x="1" y="920"/>
                        <a:pt x="267" y="1186"/>
                        <a:pt x="594" y="1186"/>
                      </a:cubicBezTo>
                      <a:cubicBezTo>
                        <a:pt x="920" y="1186"/>
                        <a:pt x="1186" y="920"/>
                        <a:pt x="1186" y="593"/>
                      </a:cubicBezTo>
                      <a:cubicBezTo>
                        <a:pt x="1186" y="266"/>
                        <a:pt x="920" y="0"/>
                        <a:pt x="594" y="0"/>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sp>
            <p:nvSpPr>
              <p:cNvPr id="7724" name="Google Shape;7724;p104"/>
              <p:cNvSpPr/>
              <p:nvPr/>
            </p:nvSpPr>
            <p:spPr>
              <a:xfrm>
                <a:off x="4713506" y="3934476"/>
                <a:ext cx="33497" cy="28692"/>
              </a:xfrm>
              <a:custGeom>
                <a:avLst/>
                <a:gdLst/>
                <a:ahLst/>
                <a:cxnLst/>
                <a:rect l="l" t="t" r="r" b="b"/>
                <a:pathLst>
                  <a:path w="4259" h="3648" extrusionOk="0">
                    <a:moveTo>
                      <a:pt x="2422" y="0"/>
                    </a:moveTo>
                    <a:cubicBezTo>
                      <a:pt x="1974" y="0"/>
                      <a:pt x="1518" y="167"/>
                      <a:pt x="1150" y="539"/>
                    </a:cubicBezTo>
                    <a:cubicBezTo>
                      <a:pt x="0" y="1688"/>
                      <a:pt x="811" y="3648"/>
                      <a:pt x="2432" y="3648"/>
                    </a:cubicBezTo>
                    <a:cubicBezTo>
                      <a:pt x="3436" y="3648"/>
                      <a:pt x="4258" y="2838"/>
                      <a:pt x="4258" y="1821"/>
                    </a:cubicBezTo>
                    <a:cubicBezTo>
                      <a:pt x="4258" y="726"/>
                      <a:pt x="3357" y="0"/>
                      <a:pt x="2422" y="0"/>
                    </a:cubicBez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725" name="Google Shape;7725;p104"/>
              <p:cNvSpPr/>
              <p:nvPr/>
            </p:nvSpPr>
            <p:spPr>
              <a:xfrm>
                <a:off x="4727970" y="3944135"/>
                <a:ext cx="9328" cy="9430"/>
              </a:xfrm>
              <a:custGeom>
                <a:avLst/>
                <a:gdLst/>
                <a:ahLst/>
                <a:cxnLst/>
                <a:rect l="l" t="t" r="r" b="b"/>
                <a:pathLst>
                  <a:path w="1186" h="1199" extrusionOk="0">
                    <a:moveTo>
                      <a:pt x="593" y="1"/>
                    </a:moveTo>
                    <a:cubicBezTo>
                      <a:pt x="266" y="1"/>
                      <a:pt x="0" y="267"/>
                      <a:pt x="0" y="593"/>
                    </a:cubicBezTo>
                    <a:cubicBezTo>
                      <a:pt x="0" y="932"/>
                      <a:pt x="266" y="1198"/>
                      <a:pt x="593" y="1198"/>
                    </a:cubicBezTo>
                    <a:cubicBezTo>
                      <a:pt x="919" y="1198"/>
                      <a:pt x="1186" y="932"/>
                      <a:pt x="1186" y="593"/>
                    </a:cubicBezTo>
                    <a:cubicBezTo>
                      <a:pt x="1186" y="267"/>
                      <a:pt x="919" y="1"/>
                      <a:pt x="593" y="1"/>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nvGrpSpPr>
              <p:cNvPr id="7726" name="Google Shape;7726;p104"/>
              <p:cNvGrpSpPr/>
              <p:nvPr/>
            </p:nvGrpSpPr>
            <p:grpSpPr>
              <a:xfrm>
                <a:off x="4762623" y="3837847"/>
                <a:ext cx="42416" cy="36273"/>
                <a:chOff x="4762623" y="3837847"/>
                <a:chExt cx="42416" cy="36273"/>
              </a:xfrm>
            </p:grpSpPr>
            <p:sp>
              <p:nvSpPr>
                <p:cNvPr id="7727" name="Google Shape;7727;p104"/>
                <p:cNvSpPr/>
                <p:nvPr/>
              </p:nvSpPr>
              <p:spPr>
                <a:xfrm>
                  <a:off x="4762623" y="3837847"/>
                  <a:ext cx="42416" cy="36273"/>
                </a:xfrm>
                <a:custGeom>
                  <a:avLst/>
                  <a:gdLst/>
                  <a:ahLst/>
                  <a:cxnLst/>
                  <a:rect l="l" t="t" r="r" b="b"/>
                  <a:pathLst>
                    <a:path w="5393" h="4612" extrusionOk="0">
                      <a:moveTo>
                        <a:pt x="3064" y="1"/>
                      </a:moveTo>
                      <a:cubicBezTo>
                        <a:pt x="2496" y="1"/>
                        <a:pt x="1918" y="211"/>
                        <a:pt x="1449" y="680"/>
                      </a:cubicBezTo>
                      <a:cubicBezTo>
                        <a:pt x="1" y="2128"/>
                        <a:pt x="1033" y="4611"/>
                        <a:pt x="3067" y="4611"/>
                      </a:cubicBezTo>
                      <a:cubicBezTo>
                        <a:pt x="3072" y="4611"/>
                        <a:pt x="3077" y="4611"/>
                        <a:pt x="3082" y="4611"/>
                      </a:cubicBezTo>
                      <a:cubicBezTo>
                        <a:pt x="4352" y="4611"/>
                        <a:pt x="5380" y="3583"/>
                        <a:pt x="5392" y="2313"/>
                      </a:cubicBezTo>
                      <a:cubicBezTo>
                        <a:pt x="5392" y="921"/>
                        <a:pt x="4251" y="1"/>
                        <a:pt x="3064" y="1"/>
                      </a:cubicBez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728" name="Google Shape;7728;p104"/>
                <p:cNvSpPr/>
                <p:nvPr/>
              </p:nvSpPr>
              <p:spPr>
                <a:xfrm>
                  <a:off x="4775538" y="3847568"/>
                  <a:ext cx="19796" cy="16957"/>
                </a:xfrm>
                <a:custGeom>
                  <a:avLst/>
                  <a:gdLst/>
                  <a:ahLst/>
                  <a:cxnLst/>
                  <a:rect l="l" t="t" r="r" b="b"/>
                  <a:pathLst>
                    <a:path w="2517" h="2156" extrusionOk="0">
                      <a:moveTo>
                        <a:pt x="1440" y="0"/>
                      </a:moveTo>
                      <a:cubicBezTo>
                        <a:pt x="484" y="0"/>
                        <a:pt x="0" y="1162"/>
                        <a:pt x="678" y="1839"/>
                      </a:cubicBezTo>
                      <a:cubicBezTo>
                        <a:pt x="896" y="2058"/>
                        <a:pt x="1165" y="2155"/>
                        <a:pt x="1429" y="2155"/>
                      </a:cubicBezTo>
                      <a:cubicBezTo>
                        <a:pt x="1984" y="2155"/>
                        <a:pt x="2517" y="1724"/>
                        <a:pt x="2517" y="1077"/>
                      </a:cubicBezTo>
                      <a:cubicBezTo>
                        <a:pt x="2517" y="484"/>
                        <a:pt x="2045" y="0"/>
                        <a:pt x="1440" y="0"/>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7729" name="Google Shape;7729;p104"/>
              <p:cNvGrpSpPr/>
              <p:nvPr/>
            </p:nvGrpSpPr>
            <p:grpSpPr>
              <a:xfrm>
                <a:off x="4746044" y="4104966"/>
                <a:ext cx="33497" cy="28699"/>
                <a:chOff x="4746044" y="4104966"/>
                <a:chExt cx="33497" cy="28699"/>
              </a:xfrm>
            </p:grpSpPr>
            <p:sp>
              <p:nvSpPr>
                <p:cNvPr id="7730" name="Google Shape;7730;p104"/>
                <p:cNvSpPr/>
                <p:nvPr/>
              </p:nvSpPr>
              <p:spPr>
                <a:xfrm>
                  <a:off x="4746044" y="4104966"/>
                  <a:ext cx="33497" cy="28699"/>
                </a:xfrm>
                <a:custGeom>
                  <a:avLst/>
                  <a:gdLst/>
                  <a:ahLst/>
                  <a:cxnLst/>
                  <a:rect l="l" t="t" r="r" b="b"/>
                  <a:pathLst>
                    <a:path w="4259" h="3649" extrusionOk="0">
                      <a:moveTo>
                        <a:pt x="2428" y="1"/>
                      </a:moveTo>
                      <a:cubicBezTo>
                        <a:pt x="1979" y="1"/>
                        <a:pt x="1522" y="167"/>
                        <a:pt x="1150" y="540"/>
                      </a:cubicBezTo>
                      <a:cubicBezTo>
                        <a:pt x="0" y="1677"/>
                        <a:pt x="811" y="3648"/>
                        <a:pt x="2432" y="3648"/>
                      </a:cubicBezTo>
                      <a:cubicBezTo>
                        <a:pt x="3436" y="3648"/>
                        <a:pt x="4259" y="2826"/>
                        <a:pt x="4259" y="1822"/>
                      </a:cubicBezTo>
                      <a:cubicBezTo>
                        <a:pt x="4259" y="726"/>
                        <a:pt x="3363" y="1"/>
                        <a:pt x="2428" y="1"/>
                      </a:cubicBez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731" name="Google Shape;7731;p104"/>
                <p:cNvSpPr/>
                <p:nvPr/>
              </p:nvSpPr>
              <p:spPr>
                <a:xfrm>
                  <a:off x="4758887" y="4114632"/>
                  <a:ext cx="11042" cy="9375"/>
                </a:xfrm>
                <a:custGeom>
                  <a:avLst/>
                  <a:gdLst/>
                  <a:ahLst/>
                  <a:cxnLst/>
                  <a:rect l="l" t="t" r="r" b="b"/>
                  <a:pathLst>
                    <a:path w="1404" h="1192" extrusionOk="0">
                      <a:moveTo>
                        <a:pt x="799" y="0"/>
                      </a:moveTo>
                      <a:cubicBezTo>
                        <a:pt x="267" y="0"/>
                        <a:pt x="1" y="641"/>
                        <a:pt x="376" y="1016"/>
                      </a:cubicBezTo>
                      <a:cubicBezTo>
                        <a:pt x="497" y="1137"/>
                        <a:pt x="645" y="1191"/>
                        <a:pt x="792" y="1191"/>
                      </a:cubicBezTo>
                      <a:cubicBezTo>
                        <a:pt x="1099" y="1191"/>
                        <a:pt x="1396" y="953"/>
                        <a:pt x="1404" y="593"/>
                      </a:cubicBezTo>
                      <a:cubicBezTo>
                        <a:pt x="1404" y="266"/>
                        <a:pt x="1126" y="0"/>
                        <a:pt x="799" y="0"/>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7732" name="Google Shape;7732;p104"/>
              <p:cNvGrpSpPr/>
              <p:nvPr/>
            </p:nvGrpSpPr>
            <p:grpSpPr>
              <a:xfrm>
                <a:off x="4859646" y="4162554"/>
                <a:ext cx="33591" cy="28762"/>
                <a:chOff x="4859646" y="4162554"/>
                <a:chExt cx="33591" cy="28762"/>
              </a:xfrm>
            </p:grpSpPr>
            <p:sp>
              <p:nvSpPr>
                <p:cNvPr id="7733" name="Google Shape;7733;p104"/>
                <p:cNvSpPr/>
                <p:nvPr/>
              </p:nvSpPr>
              <p:spPr>
                <a:xfrm>
                  <a:off x="4859646" y="4162554"/>
                  <a:ext cx="33591" cy="28762"/>
                </a:xfrm>
                <a:custGeom>
                  <a:avLst/>
                  <a:gdLst/>
                  <a:ahLst/>
                  <a:cxnLst/>
                  <a:rect l="l" t="t" r="r" b="b"/>
                  <a:pathLst>
                    <a:path w="4271" h="3657" extrusionOk="0">
                      <a:moveTo>
                        <a:pt x="2423" y="0"/>
                      </a:moveTo>
                      <a:cubicBezTo>
                        <a:pt x="1975" y="0"/>
                        <a:pt x="1520" y="166"/>
                        <a:pt x="1149" y="536"/>
                      </a:cubicBezTo>
                      <a:cubicBezTo>
                        <a:pt x="0" y="1685"/>
                        <a:pt x="823" y="3657"/>
                        <a:pt x="2444" y="3657"/>
                      </a:cubicBezTo>
                      <a:cubicBezTo>
                        <a:pt x="3448" y="3657"/>
                        <a:pt x="4258" y="2834"/>
                        <a:pt x="4270" y="1830"/>
                      </a:cubicBezTo>
                      <a:cubicBezTo>
                        <a:pt x="4270" y="732"/>
                        <a:pt x="3365" y="0"/>
                        <a:pt x="2423" y="0"/>
                      </a:cubicBez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734" name="Google Shape;7734;p104"/>
                <p:cNvSpPr/>
                <p:nvPr/>
              </p:nvSpPr>
              <p:spPr>
                <a:xfrm>
                  <a:off x="4874196" y="4172283"/>
                  <a:ext cx="9336" cy="9336"/>
                </a:xfrm>
                <a:custGeom>
                  <a:avLst/>
                  <a:gdLst/>
                  <a:ahLst/>
                  <a:cxnLst/>
                  <a:rect l="l" t="t" r="r" b="b"/>
                  <a:pathLst>
                    <a:path w="1187" h="1187" extrusionOk="0">
                      <a:moveTo>
                        <a:pt x="594" y="1"/>
                      </a:moveTo>
                      <a:cubicBezTo>
                        <a:pt x="267" y="1"/>
                        <a:pt x="1" y="267"/>
                        <a:pt x="1" y="593"/>
                      </a:cubicBezTo>
                      <a:cubicBezTo>
                        <a:pt x="1" y="920"/>
                        <a:pt x="267" y="1186"/>
                        <a:pt x="594" y="1186"/>
                      </a:cubicBezTo>
                      <a:cubicBezTo>
                        <a:pt x="920" y="1186"/>
                        <a:pt x="1186" y="920"/>
                        <a:pt x="1186" y="593"/>
                      </a:cubicBezTo>
                      <a:cubicBezTo>
                        <a:pt x="1186" y="267"/>
                        <a:pt x="920" y="1"/>
                        <a:pt x="594" y="1"/>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grpSp>
          <p:nvGrpSpPr>
            <p:cNvPr id="7735" name="Google Shape;7735;p104"/>
            <p:cNvGrpSpPr/>
            <p:nvPr/>
          </p:nvGrpSpPr>
          <p:grpSpPr>
            <a:xfrm>
              <a:off x="3597785" y="3274438"/>
              <a:ext cx="855610" cy="1122100"/>
              <a:chOff x="3597785" y="3274438"/>
              <a:chExt cx="855610" cy="1122100"/>
            </a:xfrm>
          </p:grpSpPr>
          <p:grpSp>
            <p:nvGrpSpPr>
              <p:cNvPr id="7736" name="Google Shape;7736;p104"/>
              <p:cNvGrpSpPr/>
              <p:nvPr/>
            </p:nvGrpSpPr>
            <p:grpSpPr>
              <a:xfrm>
                <a:off x="3617857" y="3284717"/>
                <a:ext cx="826785" cy="1099165"/>
                <a:chOff x="3617857" y="3284717"/>
                <a:chExt cx="826785" cy="1099165"/>
              </a:xfrm>
            </p:grpSpPr>
            <p:sp>
              <p:nvSpPr>
                <p:cNvPr id="7737" name="Google Shape;7737;p104"/>
                <p:cNvSpPr/>
                <p:nvPr/>
              </p:nvSpPr>
              <p:spPr>
                <a:xfrm>
                  <a:off x="4155028" y="3869354"/>
                  <a:ext cx="289613" cy="514528"/>
                </a:xfrm>
                <a:custGeom>
                  <a:avLst/>
                  <a:gdLst/>
                  <a:ahLst/>
                  <a:cxnLst/>
                  <a:rect l="l" t="t" r="r" b="b"/>
                  <a:pathLst>
                    <a:path w="36823" h="65420" fill="none" extrusionOk="0">
                      <a:moveTo>
                        <a:pt x="5928" y="64827"/>
                      </a:moveTo>
                      <a:lnTo>
                        <a:pt x="6158" y="49755"/>
                      </a:lnTo>
                      <a:lnTo>
                        <a:pt x="8202" y="42327"/>
                      </a:lnTo>
                      <a:lnTo>
                        <a:pt x="8795" y="36351"/>
                      </a:lnTo>
                      <a:lnTo>
                        <a:pt x="8795" y="28912"/>
                      </a:lnTo>
                      <a:lnTo>
                        <a:pt x="3049" y="23347"/>
                      </a:lnTo>
                      <a:lnTo>
                        <a:pt x="0" y="12291"/>
                      </a:lnTo>
                      <a:lnTo>
                        <a:pt x="11601" y="1"/>
                      </a:lnTo>
                      <a:lnTo>
                        <a:pt x="19319" y="4259"/>
                      </a:lnTo>
                      <a:lnTo>
                        <a:pt x="27266" y="11747"/>
                      </a:lnTo>
                      <a:lnTo>
                        <a:pt x="36823" y="15472"/>
                      </a:lnTo>
                      <a:lnTo>
                        <a:pt x="34827" y="25803"/>
                      </a:lnTo>
                      <a:lnTo>
                        <a:pt x="26722" y="36944"/>
                      </a:lnTo>
                      <a:lnTo>
                        <a:pt x="19924" y="49198"/>
                      </a:lnTo>
                      <a:lnTo>
                        <a:pt x="11008" y="60690"/>
                      </a:lnTo>
                      <a:lnTo>
                        <a:pt x="5335" y="65420"/>
                      </a:lnTo>
                    </a:path>
                  </a:pathLst>
                </a:custGeom>
                <a:noFill/>
                <a:ln w="1825" cap="flat" cmpd="sng">
                  <a:solidFill>
                    <a:srgbClr val="A5B7C5"/>
                  </a:solidFill>
                  <a:prstDash val="solid"/>
                  <a:miter lim="12096"/>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738" name="Google Shape;7738;p104"/>
                <p:cNvSpPr/>
                <p:nvPr/>
              </p:nvSpPr>
              <p:spPr>
                <a:xfrm>
                  <a:off x="3617857" y="3284717"/>
                  <a:ext cx="662957" cy="685970"/>
                </a:xfrm>
                <a:custGeom>
                  <a:avLst/>
                  <a:gdLst/>
                  <a:ahLst/>
                  <a:cxnLst/>
                  <a:rect l="l" t="t" r="r" b="b"/>
                  <a:pathLst>
                    <a:path w="84292" h="87218" fill="none" extrusionOk="0">
                      <a:moveTo>
                        <a:pt x="79900" y="75157"/>
                      </a:moveTo>
                      <a:lnTo>
                        <a:pt x="77916" y="83262"/>
                      </a:lnTo>
                      <a:lnTo>
                        <a:pt x="68299" y="87218"/>
                      </a:lnTo>
                      <a:lnTo>
                        <a:pt x="61610" y="72314"/>
                      </a:lnTo>
                      <a:lnTo>
                        <a:pt x="48376" y="64524"/>
                      </a:lnTo>
                      <a:lnTo>
                        <a:pt x="37489" y="50685"/>
                      </a:lnTo>
                      <a:lnTo>
                        <a:pt x="32771" y="39181"/>
                      </a:lnTo>
                      <a:lnTo>
                        <a:pt x="28525" y="27000"/>
                      </a:lnTo>
                      <a:lnTo>
                        <a:pt x="19779" y="19379"/>
                      </a:lnTo>
                      <a:lnTo>
                        <a:pt x="1" y="14057"/>
                      </a:lnTo>
                      <a:lnTo>
                        <a:pt x="5227" y="0"/>
                      </a:lnTo>
                      <a:lnTo>
                        <a:pt x="40380" y="3605"/>
                      </a:lnTo>
                      <a:lnTo>
                        <a:pt x="53662" y="9254"/>
                      </a:lnTo>
                      <a:lnTo>
                        <a:pt x="56711" y="17734"/>
                      </a:lnTo>
                      <a:lnTo>
                        <a:pt x="69727" y="26177"/>
                      </a:lnTo>
                      <a:lnTo>
                        <a:pt x="84291" y="20649"/>
                      </a:lnTo>
                      <a:lnTo>
                        <a:pt x="79465" y="38165"/>
                      </a:lnTo>
                      <a:lnTo>
                        <a:pt x="72207" y="46960"/>
                      </a:lnTo>
                      <a:lnTo>
                        <a:pt x="64791" y="54677"/>
                      </a:lnTo>
                      <a:lnTo>
                        <a:pt x="54497" y="63206"/>
                      </a:lnTo>
                      <a:lnTo>
                        <a:pt x="62094" y="63556"/>
                      </a:lnTo>
                      <a:lnTo>
                        <a:pt x="66098" y="74335"/>
                      </a:lnTo>
                      <a:close/>
                    </a:path>
                  </a:pathLst>
                </a:custGeom>
                <a:noFill/>
                <a:ln w="1825" cap="flat" cmpd="sng">
                  <a:solidFill>
                    <a:srgbClr val="A5B7C5"/>
                  </a:solidFill>
                  <a:prstDash val="solid"/>
                  <a:miter lim="12096"/>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739" name="Google Shape;7739;p104"/>
                <p:cNvSpPr/>
                <p:nvPr/>
              </p:nvSpPr>
              <p:spPr>
                <a:xfrm>
                  <a:off x="4230666" y="3943372"/>
                  <a:ext cx="15612" cy="77934"/>
                </a:xfrm>
                <a:custGeom>
                  <a:avLst/>
                  <a:gdLst/>
                  <a:ahLst/>
                  <a:cxnLst/>
                  <a:rect l="l" t="t" r="r" b="b"/>
                  <a:pathLst>
                    <a:path w="1985" h="9909" fill="none" extrusionOk="0">
                      <a:moveTo>
                        <a:pt x="1984" y="9908"/>
                      </a:moveTo>
                      <a:lnTo>
                        <a:pt x="0" y="1"/>
                      </a:lnTo>
                    </a:path>
                  </a:pathLst>
                </a:custGeom>
                <a:noFill/>
                <a:ln w="1825" cap="flat" cmpd="sng">
                  <a:solidFill>
                    <a:srgbClr val="A5B7C5"/>
                  </a:solidFill>
                  <a:prstDash val="solid"/>
                  <a:miter lim="12096"/>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740" name="Google Shape;7740;p104"/>
                <p:cNvSpPr/>
                <p:nvPr/>
              </p:nvSpPr>
              <p:spPr>
                <a:xfrm>
                  <a:off x="4230666" y="3902843"/>
                  <a:ext cx="138817" cy="116937"/>
                </a:xfrm>
                <a:custGeom>
                  <a:avLst/>
                  <a:gdLst/>
                  <a:ahLst/>
                  <a:cxnLst/>
                  <a:rect l="l" t="t" r="r" b="b"/>
                  <a:pathLst>
                    <a:path w="17650" h="14868" fill="none" extrusionOk="0">
                      <a:moveTo>
                        <a:pt x="11952" y="14868"/>
                      </a:moveTo>
                      <a:lnTo>
                        <a:pt x="0" y="4670"/>
                      </a:lnTo>
                      <a:lnTo>
                        <a:pt x="9702" y="1"/>
                      </a:lnTo>
                      <a:lnTo>
                        <a:pt x="17649" y="7489"/>
                      </a:lnTo>
                      <a:close/>
                    </a:path>
                  </a:pathLst>
                </a:custGeom>
                <a:noFill/>
                <a:ln w="1825" cap="flat" cmpd="sng">
                  <a:solidFill>
                    <a:srgbClr val="A5B7C5"/>
                  </a:solidFill>
                  <a:prstDash val="solid"/>
                  <a:miter lim="12096"/>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741" name="Google Shape;7741;p104"/>
                <p:cNvSpPr/>
                <p:nvPr/>
              </p:nvSpPr>
              <p:spPr>
                <a:xfrm>
                  <a:off x="4234473" y="3939573"/>
                  <a:ext cx="143953" cy="22171"/>
                </a:xfrm>
                <a:custGeom>
                  <a:avLst/>
                  <a:gdLst/>
                  <a:ahLst/>
                  <a:cxnLst/>
                  <a:rect l="l" t="t" r="r" b="b"/>
                  <a:pathLst>
                    <a:path w="18303" h="2819" fill="none" extrusionOk="0">
                      <a:moveTo>
                        <a:pt x="0" y="0"/>
                      </a:moveTo>
                      <a:lnTo>
                        <a:pt x="18303" y="2819"/>
                      </a:lnTo>
                    </a:path>
                  </a:pathLst>
                </a:custGeom>
                <a:noFill/>
                <a:ln w="1825" cap="flat" cmpd="sng">
                  <a:solidFill>
                    <a:srgbClr val="A5B7C5"/>
                  </a:solidFill>
                  <a:prstDash val="solid"/>
                  <a:miter lim="12096"/>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742" name="Google Shape;7742;p104"/>
                <p:cNvSpPr/>
                <p:nvPr/>
              </p:nvSpPr>
              <p:spPr>
                <a:xfrm>
                  <a:off x="4300405" y="4023579"/>
                  <a:ext cx="24264" cy="112650"/>
                </a:xfrm>
                <a:custGeom>
                  <a:avLst/>
                  <a:gdLst/>
                  <a:ahLst/>
                  <a:cxnLst/>
                  <a:rect l="l" t="t" r="r" b="b"/>
                  <a:pathLst>
                    <a:path w="3085" h="14323" fill="none" extrusionOk="0">
                      <a:moveTo>
                        <a:pt x="0" y="14323"/>
                      </a:moveTo>
                      <a:lnTo>
                        <a:pt x="3085" y="0"/>
                      </a:lnTo>
                    </a:path>
                  </a:pathLst>
                </a:custGeom>
                <a:noFill/>
                <a:ln w="1825" cap="flat" cmpd="sng">
                  <a:solidFill>
                    <a:srgbClr val="A5B7C5"/>
                  </a:solidFill>
                  <a:prstDash val="solid"/>
                  <a:miter lim="12096"/>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743" name="Google Shape;7743;p104"/>
                <p:cNvSpPr/>
                <p:nvPr/>
              </p:nvSpPr>
              <p:spPr>
                <a:xfrm>
                  <a:off x="4324661" y="4019772"/>
                  <a:ext cx="40544" cy="140154"/>
                </a:xfrm>
                <a:custGeom>
                  <a:avLst/>
                  <a:gdLst/>
                  <a:ahLst/>
                  <a:cxnLst/>
                  <a:rect l="l" t="t" r="r" b="b"/>
                  <a:pathLst>
                    <a:path w="5155" h="17820" fill="none" extrusionOk="0">
                      <a:moveTo>
                        <a:pt x="1" y="1"/>
                      </a:moveTo>
                      <a:lnTo>
                        <a:pt x="5154" y="17819"/>
                      </a:lnTo>
                    </a:path>
                  </a:pathLst>
                </a:custGeom>
                <a:noFill/>
                <a:ln w="1825" cap="flat" cmpd="sng">
                  <a:solidFill>
                    <a:srgbClr val="A5B7C5"/>
                  </a:solidFill>
                  <a:prstDash val="solid"/>
                  <a:miter lim="12096"/>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744" name="Google Shape;7744;p104"/>
                <p:cNvSpPr/>
                <p:nvPr/>
              </p:nvSpPr>
              <p:spPr>
                <a:xfrm>
                  <a:off x="4324661" y="4019772"/>
                  <a:ext cx="104282" cy="52522"/>
                </a:xfrm>
                <a:custGeom>
                  <a:avLst/>
                  <a:gdLst/>
                  <a:ahLst/>
                  <a:cxnLst/>
                  <a:rect l="l" t="t" r="r" b="b"/>
                  <a:pathLst>
                    <a:path w="13259" h="6678" fill="none" extrusionOk="0">
                      <a:moveTo>
                        <a:pt x="1" y="1"/>
                      </a:moveTo>
                      <a:lnTo>
                        <a:pt x="13259" y="6678"/>
                      </a:lnTo>
                    </a:path>
                  </a:pathLst>
                </a:custGeom>
                <a:noFill/>
                <a:ln w="1825" cap="flat" cmpd="sng">
                  <a:solidFill>
                    <a:srgbClr val="A5B7C5"/>
                  </a:solidFill>
                  <a:prstDash val="solid"/>
                  <a:miter lim="12096"/>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745" name="Google Shape;7745;p104"/>
                <p:cNvSpPr/>
                <p:nvPr/>
              </p:nvSpPr>
              <p:spPr>
                <a:xfrm>
                  <a:off x="4328467" y="3989901"/>
                  <a:ext cx="113421" cy="29879"/>
                </a:xfrm>
                <a:custGeom>
                  <a:avLst/>
                  <a:gdLst/>
                  <a:ahLst/>
                  <a:cxnLst/>
                  <a:rect l="l" t="t" r="r" b="b"/>
                  <a:pathLst>
                    <a:path w="14421" h="3799" fill="none" extrusionOk="0">
                      <a:moveTo>
                        <a:pt x="14420" y="0"/>
                      </a:moveTo>
                      <a:lnTo>
                        <a:pt x="1" y="3799"/>
                      </a:lnTo>
                    </a:path>
                  </a:pathLst>
                </a:custGeom>
                <a:noFill/>
                <a:ln w="1825" cap="flat" cmpd="sng">
                  <a:solidFill>
                    <a:srgbClr val="A5B7C5"/>
                  </a:solidFill>
                  <a:prstDash val="solid"/>
                  <a:miter lim="12096"/>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746" name="Google Shape;7746;p104"/>
                <p:cNvSpPr/>
                <p:nvPr/>
              </p:nvSpPr>
              <p:spPr>
                <a:xfrm>
                  <a:off x="4224193" y="4019772"/>
                  <a:ext cx="23886" cy="76975"/>
                </a:xfrm>
                <a:custGeom>
                  <a:avLst/>
                  <a:gdLst/>
                  <a:ahLst/>
                  <a:cxnLst/>
                  <a:rect l="l" t="t" r="r" b="b"/>
                  <a:pathLst>
                    <a:path w="3037" h="9787" fill="none" extrusionOk="0">
                      <a:moveTo>
                        <a:pt x="1" y="9787"/>
                      </a:moveTo>
                      <a:lnTo>
                        <a:pt x="3037" y="1"/>
                      </a:lnTo>
                    </a:path>
                  </a:pathLst>
                </a:custGeom>
                <a:noFill/>
                <a:ln w="1825" cap="flat" cmpd="sng">
                  <a:solidFill>
                    <a:srgbClr val="A5B7C5"/>
                  </a:solidFill>
                  <a:prstDash val="solid"/>
                  <a:miter lim="12096"/>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747" name="Google Shape;7747;p104"/>
                <p:cNvSpPr/>
                <p:nvPr/>
              </p:nvSpPr>
              <p:spPr>
                <a:xfrm>
                  <a:off x="4248071" y="4019772"/>
                  <a:ext cx="52342" cy="116457"/>
                </a:xfrm>
                <a:custGeom>
                  <a:avLst/>
                  <a:gdLst/>
                  <a:ahLst/>
                  <a:cxnLst/>
                  <a:rect l="l" t="t" r="r" b="b"/>
                  <a:pathLst>
                    <a:path w="6655" h="14807" fill="none" extrusionOk="0">
                      <a:moveTo>
                        <a:pt x="1" y="1"/>
                      </a:moveTo>
                      <a:lnTo>
                        <a:pt x="6654" y="14807"/>
                      </a:lnTo>
                    </a:path>
                  </a:pathLst>
                </a:custGeom>
                <a:noFill/>
                <a:ln w="1825" cap="flat" cmpd="sng">
                  <a:solidFill>
                    <a:srgbClr val="A5B7C5"/>
                  </a:solidFill>
                  <a:prstDash val="solid"/>
                  <a:miter lim="12096"/>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748" name="Google Shape;7748;p104"/>
                <p:cNvSpPr/>
                <p:nvPr/>
              </p:nvSpPr>
              <p:spPr>
                <a:xfrm>
                  <a:off x="4300405" y="4138982"/>
                  <a:ext cx="6567" cy="119029"/>
                </a:xfrm>
                <a:custGeom>
                  <a:avLst/>
                  <a:gdLst/>
                  <a:ahLst/>
                  <a:cxnLst/>
                  <a:rect l="l" t="t" r="r" b="b"/>
                  <a:pathLst>
                    <a:path w="835" h="15134" fill="none" extrusionOk="0">
                      <a:moveTo>
                        <a:pt x="0" y="1"/>
                      </a:moveTo>
                      <a:lnTo>
                        <a:pt x="835" y="15134"/>
                      </a:lnTo>
                    </a:path>
                  </a:pathLst>
                </a:custGeom>
                <a:noFill/>
                <a:ln w="1825" cap="flat" cmpd="sng">
                  <a:solidFill>
                    <a:srgbClr val="A5B7C5"/>
                  </a:solidFill>
                  <a:prstDash val="solid"/>
                  <a:miter lim="12096"/>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749" name="Google Shape;7749;p104"/>
                <p:cNvSpPr/>
                <p:nvPr/>
              </p:nvSpPr>
              <p:spPr>
                <a:xfrm>
                  <a:off x="4219726" y="4200164"/>
                  <a:ext cx="85343" cy="60513"/>
                </a:xfrm>
                <a:custGeom>
                  <a:avLst/>
                  <a:gdLst/>
                  <a:ahLst/>
                  <a:cxnLst/>
                  <a:rect l="l" t="t" r="r" b="b"/>
                  <a:pathLst>
                    <a:path w="10851" h="7694" fill="none" extrusionOk="0">
                      <a:moveTo>
                        <a:pt x="0" y="0"/>
                      </a:moveTo>
                      <a:lnTo>
                        <a:pt x="10851" y="7694"/>
                      </a:lnTo>
                    </a:path>
                  </a:pathLst>
                </a:custGeom>
                <a:noFill/>
                <a:ln w="1825" cap="flat" cmpd="sng">
                  <a:solidFill>
                    <a:srgbClr val="A5B7C5"/>
                  </a:solidFill>
                  <a:prstDash val="solid"/>
                  <a:miter lim="12096"/>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750" name="Google Shape;7750;p104"/>
                <p:cNvSpPr/>
                <p:nvPr/>
              </p:nvSpPr>
              <p:spPr>
                <a:xfrm>
                  <a:off x="4223430" y="4137275"/>
                  <a:ext cx="81930" cy="15132"/>
                </a:xfrm>
                <a:custGeom>
                  <a:avLst/>
                  <a:gdLst/>
                  <a:ahLst/>
                  <a:cxnLst/>
                  <a:rect l="l" t="t" r="r" b="b"/>
                  <a:pathLst>
                    <a:path w="10417" h="1924" fill="none" extrusionOk="0">
                      <a:moveTo>
                        <a:pt x="1" y="1923"/>
                      </a:moveTo>
                      <a:lnTo>
                        <a:pt x="10416" y="0"/>
                      </a:lnTo>
                    </a:path>
                  </a:pathLst>
                </a:custGeom>
                <a:noFill/>
                <a:ln w="1825" cap="flat" cmpd="sng">
                  <a:solidFill>
                    <a:srgbClr val="A5B7C5"/>
                  </a:solidFill>
                  <a:prstDash val="solid"/>
                  <a:miter lim="12096"/>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751" name="Google Shape;7751;p104"/>
                <p:cNvSpPr/>
                <p:nvPr/>
              </p:nvSpPr>
              <p:spPr>
                <a:xfrm>
                  <a:off x="4303638" y="4138982"/>
                  <a:ext cx="59947" cy="23894"/>
                </a:xfrm>
                <a:custGeom>
                  <a:avLst/>
                  <a:gdLst/>
                  <a:ahLst/>
                  <a:cxnLst/>
                  <a:rect l="l" t="t" r="r" b="b"/>
                  <a:pathLst>
                    <a:path w="7622" h="3038" fill="none" extrusionOk="0">
                      <a:moveTo>
                        <a:pt x="7621" y="3037"/>
                      </a:moveTo>
                      <a:lnTo>
                        <a:pt x="0" y="1"/>
                      </a:lnTo>
                    </a:path>
                  </a:pathLst>
                </a:custGeom>
                <a:noFill/>
                <a:ln w="1825" cap="flat" cmpd="sng">
                  <a:solidFill>
                    <a:srgbClr val="A5B7C5"/>
                  </a:solidFill>
                  <a:prstDash val="solid"/>
                  <a:miter lim="12096"/>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752" name="Google Shape;7752;p104"/>
                <p:cNvSpPr/>
                <p:nvPr/>
              </p:nvSpPr>
              <p:spPr>
                <a:xfrm>
                  <a:off x="4201644" y="4267237"/>
                  <a:ext cx="39970" cy="77164"/>
                </a:xfrm>
                <a:custGeom>
                  <a:avLst/>
                  <a:gdLst/>
                  <a:ahLst/>
                  <a:cxnLst/>
                  <a:rect l="l" t="t" r="r" b="b"/>
                  <a:pathLst>
                    <a:path w="5082" h="9811" fill="none" extrusionOk="0">
                      <a:moveTo>
                        <a:pt x="1" y="0"/>
                      </a:moveTo>
                      <a:lnTo>
                        <a:pt x="5081" y="9811"/>
                      </a:lnTo>
                    </a:path>
                  </a:pathLst>
                </a:custGeom>
                <a:noFill/>
                <a:ln w="1825" cap="flat" cmpd="sng">
                  <a:solidFill>
                    <a:srgbClr val="A5B7C5"/>
                  </a:solidFill>
                  <a:prstDash val="solid"/>
                  <a:miter lim="12096"/>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753" name="Google Shape;7753;p104"/>
                <p:cNvSpPr/>
                <p:nvPr/>
              </p:nvSpPr>
              <p:spPr>
                <a:xfrm>
                  <a:off x="4203831" y="4258003"/>
                  <a:ext cx="103142" cy="9241"/>
                </a:xfrm>
                <a:custGeom>
                  <a:avLst/>
                  <a:gdLst/>
                  <a:ahLst/>
                  <a:cxnLst/>
                  <a:rect l="l" t="t" r="r" b="b"/>
                  <a:pathLst>
                    <a:path w="13114" h="1175" fill="none" extrusionOk="0">
                      <a:moveTo>
                        <a:pt x="1" y="1174"/>
                      </a:moveTo>
                      <a:lnTo>
                        <a:pt x="13114" y="1"/>
                      </a:lnTo>
                    </a:path>
                  </a:pathLst>
                </a:custGeom>
                <a:noFill/>
                <a:ln w="1825" cap="flat" cmpd="sng">
                  <a:solidFill>
                    <a:srgbClr val="A5B7C5"/>
                  </a:solidFill>
                  <a:prstDash val="solid"/>
                  <a:miter lim="12096"/>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754" name="Google Shape;7754;p104"/>
                <p:cNvSpPr/>
                <p:nvPr/>
              </p:nvSpPr>
              <p:spPr>
                <a:xfrm>
                  <a:off x="4179001" y="3943372"/>
                  <a:ext cx="51673" cy="104951"/>
                </a:xfrm>
                <a:custGeom>
                  <a:avLst/>
                  <a:gdLst/>
                  <a:ahLst/>
                  <a:cxnLst/>
                  <a:rect l="l" t="t" r="r" b="b"/>
                  <a:pathLst>
                    <a:path w="6570" h="13344" fill="none" extrusionOk="0">
                      <a:moveTo>
                        <a:pt x="1" y="13344"/>
                      </a:moveTo>
                      <a:lnTo>
                        <a:pt x="6569" y="1"/>
                      </a:lnTo>
                    </a:path>
                  </a:pathLst>
                </a:custGeom>
                <a:noFill/>
                <a:ln w="1825" cap="flat" cmpd="sng">
                  <a:solidFill>
                    <a:srgbClr val="A5B7C5"/>
                  </a:solidFill>
                  <a:prstDash val="solid"/>
                  <a:miter lim="12096"/>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755" name="Google Shape;7755;p104"/>
                <p:cNvSpPr/>
                <p:nvPr/>
              </p:nvSpPr>
              <p:spPr>
                <a:xfrm>
                  <a:off x="4248071" y="4019772"/>
                  <a:ext cx="76597" cy="8"/>
                </a:xfrm>
                <a:custGeom>
                  <a:avLst/>
                  <a:gdLst/>
                  <a:ahLst/>
                  <a:cxnLst/>
                  <a:rect l="l" t="t" r="r" b="b"/>
                  <a:pathLst>
                    <a:path w="9739" h="1" fill="none" extrusionOk="0">
                      <a:moveTo>
                        <a:pt x="1" y="1"/>
                      </a:moveTo>
                      <a:lnTo>
                        <a:pt x="9739" y="1"/>
                      </a:lnTo>
                    </a:path>
                  </a:pathLst>
                </a:custGeom>
                <a:noFill/>
                <a:ln w="1825" cap="flat" cmpd="sng">
                  <a:solidFill>
                    <a:srgbClr val="A5B7C5"/>
                  </a:solidFill>
                  <a:prstDash val="solid"/>
                  <a:miter lim="12096"/>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756" name="Google Shape;7756;p104"/>
                <p:cNvSpPr/>
                <p:nvPr/>
              </p:nvSpPr>
              <p:spPr>
                <a:xfrm>
                  <a:off x="4219529" y="4138982"/>
                  <a:ext cx="84116" cy="63282"/>
                </a:xfrm>
                <a:custGeom>
                  <a:avLst/>
                  <a:gdLst/>
                  <a:ahLst/>
                  <a:cxnLst/>
                  <a:rect l="l" t="t" r="r" b="b"/>
                  <a:pathLst>
                    <a:path w="10695" h="8046" fill="none" extrusionOk="0">
                      <a:moveTo>
                        <a:pt x="1" y="8045"/>
                      </a:moveTo>
                      <a:lnTo>
                        <a:pt x="10694" y="1"/>
                      </a:lnTo>
                    </a:path>
                  </a:pathLst>
                </a:custGeom>
                <a:noFill/>
                <a:ln w="1825" cap="flat" cmpd="sng">
                  <a:solidFill>
                    <a:srgbClr val="A5B7C5"/>
                  </a:solidFill>
                  <a:prstDash val="solid"/>
                  <a:miter lim="12096"/>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757" name="Google Shape;7757;p104"/>
                <p:cNvSpPr/>
                <p:nvPr/>
              </p:nvSpPr>
              <p:spPr>
                <a:xfrm>
                  <a:off x="3654964" y="3289853"/>
                  <a:ext cx="46820" cy="63848"/>
                </a:xfrm>
                <a:custGeom>
                  <a:avLst/>
                  <a:gdLst/>
                  <a:ahLst/>
                  <a:cxnLst/>
                  <a:rect l="l" t="t" r="r" b="b"/>
                  <a:pathLst>
                    <a:path w="5953" h="8118" fill="none" extrusionOk="0">
                      <a:moveTo>
                        <a:pt x="1" y="0"/>
                      </a:moveTo>
                      <a:lnTo>
                        <a:pt x="5952" y="8117"/>
                      </a:lnTo>
                    </a:path>
                  </a:pathLst>
                </a:custGeom>
                <a:noFill/>
                <a:ln w="1825" cap="flat" cmpd="sng">
                  <a:solidFill>
                    <a:srgbClr val="A5B7C5"/>
                  </a:solidFill>
                  <a:prstDash val="solid"/>
                  <a:miter lim="12096"/>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758" name="Google Shape;7758;p104"/>
                <p:cNvSpPr/>
                <p:nvPr/>
              </p:nvSpPr>
              <p:spPr>
                <a:xfrm>
                  <a:off x="3619760" y="3353693"/>
                  <a:ext cx="85736" cy="36730"/>
                </a:xfrm>
                <a:custGeom>
                  <a:avLst/>
                  <a:gdLst/>
                  <a:ahLst/>
                  <a:cxnLst/>
                  <a:rect l="l" t="t" r="r" b="b"/>
                  <a:pathLst>
                    <a:path w="10901" h="4670" fill="none" extrusionOk="0">
                      <a:moveTo>
                        <a:pt x="1" y="4670"/>
                      </a:moveTo>
                      <a:lnTo>
                        <a:pt x="10900" y="0"/>
                      </a:lnTo>
                    </a:path>
                  </a:pathLst>
                </a:custGeom>
                <a:noFill/>
                <a:ln w="1825" cap="flat" cmpd="sng">
                  <a:solidFill>
                    <a:srgbClr val="A5B7C5"/>
                  </a:solidFill>
                  <a:prstDash val="solid"/>
                  <a:miter lim="12096"/>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759" name="Google Shape;7759;p104"/>
                <p:cNvSpPr/>
                <p:nvPr/>
              </p:nvSpPr>
              <p:spPr>
                <a:xfrm>
                  <a:off x="3703011" y="3354739"/>
                  <a:ext cx="70415" cy="79350"/>
                </a:xfrm>
                <a:custGeom>
                  <a:avLst/>
                  <a:gdLst/>
                  <a:ahLst/>
                  <a:cxnLst/>
                  <a:rect l="l" t="t" r="r" b="b"/>
                  <a:pathLst>
                    <a:path w="8953" h="10089" fill="none" extrusionOk="0">
                      <a:moveTo>
                        <a:pt x="1" y="0"/>
                      </a:moveTo>
                      <a:lnTo>
                        <a:pt x="8952" y="10089"/>
                      </a:lnTo>
                    </a:path>
                  </a:pathLst>
                </a:custGeom>
                <a:noFill/>
                <a:ln w="1825" cap="flat" cmpd="sng">
                  <a:solidFill>
                    <a:srgbClr val="A5B7C5"/>
                  </a:solidFill>
                  <a:prstDash val="solid"/>
                  <a:miter lim="12096"/>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760" name="Google Shape;7760;p104"/>
                <p:cNvSpPr/>
                <p:nvPr/>
              </p:nvSpPr>
              <p:spPr>
                <a:xfrm>
                  <a:off x="3779884" y="3366443"/>
                  <a:ext cx="34449" cy="67647"/>
                </a:xfrm>
                <a:custGeom>
                  <a:avLst/>
                  <a:gdLst/>
                  <a:ahLst/>
                  <a:cxnLst/>
                  <a:rect l="l" t="t" r="r" b="b"/>
                  <a:pathLst>
                    <a:path w="4380" h="8601" fill="none" extrusionOk="0">
                      <a:moveTo>
                        <a:pt x="1" y="8601"/>
                      </a:moveTo>
                      <a:lnTo>
                        <a:pt x="4380" y="0"/>
                      </a:lnTo>
                    </a:path>
                  </a:pathLst>
                </a:custGeom>
                <a:noFill/>
                <a:ln w="1825" cap="flat" cmpd="sng">
                  <a:solidFill>
                    <a:srgbClr val="A5B7C5"/>
                  </a:solidFill>
                  <a:prstDash val="solid"/>
                  <a:miter lim="12096"/>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761" name="Google Shape;7761;p104"/>
                <p:cNvSpPr/>
                <p:nvPr/>
              </p:nvSpPr>
              <p:spPr>
                <a:xfrm>
                  <a:off x="3701776" y="3353693"/>
                  <a:ext cx="116363" cy="12757"/>
                </a:xfrm>
                <a:custGeom>
                  <a:avLst/>
                  <a:gdLst/>
                  <a:ahLst/>
                  <a:cxnLst/>
                  <a:rect l="l" t="t" r="r" b="b"/>
                  <a:pathLst>
                    <a:path w="14795" h="1622" fill="none" extrusionOk="0">
                      <a:moveTo>
                        <a:pt x="14795" y="1621"/>
                      </a:moveTo>
                      <a:lnTo>
                        <a:pt x="0" y="0"/>
                      </a:lnTo>
                    </a:path>
                  </a:pathLst>
                </a:custGeom>
                <a:noFill/>
                <a:ln w="1825" cap="flat" cmpd="sng">
                  <a:solidFill>
                    <a:srgbClr val="A5B7C5"/>
                  </a:solidFill>
                  <a:prstDash val="solid"/>
                  <a:miter lim="12096"/>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762" name="Google Shape;7762;p104"/>
                <p:cNvSpPr/>
                <p:nvPr/>
              </p:nvSpPr>
              <p:spPr>
                <a:xfrm>
                  <a:off x="3701776" y="3313063"/>
                  <a:ext cx="227204" cy="40638"/>
                </a:xfrm>
                <a:custGeom>
                  <a:avLst/>
                  <a:gdLst/>
                  <a:ahLst/>
                  <a:cxnLst/>
                  <a:rect l="l" t="t" r="r" b="b"/>
                  <a:pathLst>
                    <a:path w="28888" h="5167" fill="none" extrusionOk="0">
                      <a:moveTo>
                        <a:pt x="28887" y="1"/>
                      </a:moveTo>
                      <a:lnTo>
                        <a:pt x="0" y="5166"/>
                      </a:lnTo>
                    </a:path>
                  </a:pathLst>
                </a:custGeom>
                <a:noFill/>
                <a:ln w="1825" cap="flat" cmpd="sng">
                  <a:solidFill>
                    <a:srgbClr val="A5B7C5"/>
                  </a:solidFill>
                  <a:prstDash val="solid"/>
                  <a:miter lim="12096"/>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763" name="Google Shape;7763;p104"/>
                <p:cNvSpPr/>
                <p:nvPr/>
              </p:nvSpPr>
              <p:spPr>
                <a:xfrm>
                  <a:off x="3888633" y="3313063"/>
                  <a:ext cx="40347" cy="114467"/>
                </a:xfrm>
                <a:custGeom>
                  <a:avLst/>
                  <a:gdLst/>
                  <a:ahLst/>
                  <a:cxnLst/>
                  <a:rect l="l" t="t" r="r" b="b"/>
                  <a:pathLst>
                    <a:path w="5130" h="14554" fill="none" extrusionOk="0">
                      <a:moveTo>
                        <a:pt x="5129" y="1"/>
                      </a:moveTo>
                      <a:lnTo>
                        <a:pt x="0" y="14553"/>
                      </a:lnTo>
                    </a:path>
                  </a:pathLst>
                </a:custGeom>
                <a:noFill/>
                <a:ln w="1825" cap="flat" cmpd="sng">
                  <a:solidFill>
                    <a:srgbClr val="A5B7C5"/>
                  </a:solidFill>
                  <a:prstDash val="solid"/>
                  <a:miter lim="12096"/>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764" name="Google Shape;7764;p104"/>
                <p:cNvSpPr/>
                <p:nvPr/>
              </p:nvSpPr>
              <p:spPr>
                <a:xfrm>
                  <a:off x="3814325" y="3366443"/>
                  <a:ext cx="74316" cy="61087"/>
                </a:xfrm>
                <a:custGeom>
                  <a:avLst/>
                  <a:gdLst/>
                  <a:ahLst/>
                  <a:cxnLst/>
                  <a:rect l="l" t="t" r="r" b="b"/>
                  <a:pathLst>
                    <a:path w="9449" h="7767" fill="none" extrusionOk="0">
                      <a:moveTo>
                        <a:pt x="1" y="0"/>
                      </a:moveTo>
                      <a:lnTo>
                        <a:pt x="9448" y="7766"/>
                      </a:lnTo>
                    </a:path>
                  </a:pathLst>
                </a:custGeom>
                <a:noFill/>
                <a:ln w="1825" cap="flat" cmpd="sng">
                  <a:solidFill>
                    <a:srgbClr val="A5B7C5"/>
                  </a:solidFill>
                  <a:prstDash val="solid"/>
                  <a:miter lim="12096"/>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765" name="Google Shape;7765;p104"/>
                <p:cNvSpPr/>
                <p:nvPr/>
              </p:nvSpPr>
              <p:spPr>
                <a:xfrm>
                  <a:off x="3838399" y="3427522"/>
                  <a:ext cx="50242" cy="67749"/>
                </a:xfrm>
                <a:custGeom>
                  <a:avLst/>
                  <a:gdLst/>
                  <a:ahLst/>
                  <a:cxnLst/>
                  <a:rect l="l" t="t" r="r" b="b"/>
                  <a:pathLst>
                    <a:path w="6388" h="8614" fill="none" extrusionOk="0">
                      <a:moveTo>
                        <a:pt x="0" y="8613"/>
                      </a:moveTo>
                      <a:lnTo>
                        <a:pt x="6387" y="0"/>
                      </a:lnTo>
                    </a:path>
                  </a:pathLst>
                </a:custGeom>
                <a:noFill/>
                <a:ln w="1825" cap="flat" cmpd="sng">
                  <a:solidFill>
                    <a:srgbClr val="A5B7C5"/>
                  </a:solidFill>
                  <a:prstDash val="solid"/>
                  <a:miter lim="12096"/>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766" name="Google Shape;7766;p104"/>
                <p:cNvSpPr/>
                <p:nvPr/>
              </p:nvSpPr>
              <p:spPr>
                <a:xfrm>
                  <a:off x="3814325" y="3313063"/>
                  <a:ext cx="114656" cy="53388"/>
                </a:xfrm>
                <a:custGeom>
                  <a:avLst/>
                  <a:gdLst/>
                  <a:ahLst/>
                  <a:cxnLst/>
                  <a:rect l="l" t="t" r="r" b="b"/>
                  <a:pathLst>
                    <a:path w="14578" h="6788" fill="none" extrusionOk="0">
                      <a:moveTo>
                        <a:pt x="1" y="6787"/>
                      </a:moveTo>
                      <a:lnTo>
                        <a:pt x="14577" y="1"/>
                      </a:lnTo>
                    </a:path>
                  </a:pathLst>
                </a:custGeom>
                <a:noFill/>
                <a:ln w="1825" cap="flat" cmpd="sng">
                  <a:solidFill>
                    <a:srgbClr val="A5B7C5"/>
                  </a:solidFill>
                  <a:prstDash val="solid"/>
                  <a:miter lim="12096"/>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767" name="Google Shape;7767;p104"/>
                <p:cNvSpPr/>
                <p:nvPr/>
              </p:nvSpPr>
              <p:spPr>
                <a:xfrm>
                  <a:off x="3888633" y="3427522"/>
                  <a:ext cx="55377" cy="76212"/>
                </a:xfrm>
                <a:custGeom>
                  <a:avLst/>
                  <a:gdLst/>
                  <a:ahLst/>
                  <a:cxnLst/>
                  <a:rect l="l" t="t" r="r" b="b"/>
                  <a:pathLst>
                    <a:path w="7041" h="9690" fill="none" extrusionOk="0">
                      <a:moveTo>
                        <a:pt x="0" y="0"/>
                      </a:moveTo>
                      <a:lnTo>
                        <a:pt x="7041" y="9690"/>
                      </a:lnTo>
                    </a:path>
                  </a:pathLst>
                </a:custGeom>
                <a:noFill/>
                <a:ln w="1825" cap="flat" cmpd="sng">
                  <a:solidFill>
                    <a:srgbClr val="A5B7C5"/>
                  </a:solidFill>
                  <a:prstDash val="solid"/>
                  <a:miter lim="12096"/>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768" name="Google Shape;7768;p104"/>
                <p:cNvSpPr/>
                <p:nvPr/>
              </p:nvSpPr>
              <p:spPr>
                <a:xfrm>
                  <a:off x="3944003" y="3406208"/>
                  <a:ext cx="40631" cy="97526"/>
                </a:xfrm>
                <a:custGeom>
                  <a:avLst/>
                  <a:gdLst/>
                  <a:ahLst/>
                  <a:cxnLst/>
                  <a:rect l="l" t="t" r="r" b="b"/>
                  <a:pathLst>
                    <a:path w="5166" h="12400" fill="none" extrusionOk="0">
                      <a:moveTo>
                        <a:pt x="1" y="12400"/>
                      </a:moveTo>
                      <a:lnTo>
                        <a:pt x="5166" y="1"/>
                      </a:lnTo>
                    </a:path>
                  </a:pathLst>
                </a:custGeom>
                <a:noFill/>
                <a:ln w="1825" cap="flat" cmpd="sng">
                  <a:solidFill>
                    <a:srgbClr val="A5B7C5"/>
                  </a:solidFill>
                  <a:prstDash val="solid"/>
                  <a:miter lim="12096"/>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769" name="Google Shape;7769;p104"/>
                <p:cNvSpPr/>
                <p:nvPr/>
              </p:nvSpPr>
              <p:spPr>
                <a:xfrm>
                  <a:off x="3984625" y="3357500"/>
                  <a:ext cx="55291" cy="48716"/>
                </a:xfrm>
                <a:custGeom>
                  <a:avLst/>
                  <a:gdLst/>
                  <a:ahLst/>
                  <a:cxnLst/>
                  <a:rect l="l" t="t" r="r" b="b"/>
                  <a:pathLst>
                    <a:path w="7030" h="6194" fill="none" extrusionOk="0">
                      <a:moveTo>
                        <a:pt x="1" y="6194"/>
                      </a:moveTo>
                      <a:lnTo>
                        <a:pt x="7029" y="0"/>
                      </a:lnTo>
                    </a:path>
                  </a:pathLst>
                </a:custGeom>
                <a:noFill/>
                <a:ln w="1825" cap="flat" cmpd="sng">
                  <a:solidFill>
                    <a:srgbClr val="A5B7C5"/>
                  </a:solidFill>
                  <a:prstDash val="solid"/>
                  <a:miter lim="12096"/>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770" name="Google Shape;7770;p104"/>
                <p:cNvSpPr/>
                <p:nvPr/>
              </p:nvSpPr>
              <p:spPr>
                <a:xfrm>
                  <a:off x="3888633" y="3406208"/>
                  <a:ext cx="96000" cy="21322"/>
                </a:xfrm>
                <a:custGeom>
                  <a:avLst/>
                  <a:gdLst/>
                  <a:ahLst/>
                  <a:cxnLst/>
                  <a:rect l="l" t="t" r="r" b="b"/>
                  <a:pathLst>
                    <a:path w="12206" h="2711" fill="none" extrusionOk="0">
                      <a:moveTo>
                        <a:pt x="0" y="2710"/>
                      </a:moveTo>
                      <a:lnTo>
                        <a:pt x="12206" y="1"/>
                      </a:lnTo>
                    </a:path>
                  </a:pathLst>
                </a:custGeom>
                <a:noFill/>
                <a:ln w="1825" cap="flat" cmpd="sng">
                  <a:solidFill>
                    <a:srgbClr val="A5B7C5"/>
                  </a:solidFill>
                  <a:prstDash val="solid"/>
                  <a:miter lim="12096"/>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771" name="Google Shape;7771;p104"/>
                <p:cNvSpPr/>
                <p:nvPr/>
              </p:nvSpPr>
              <p:spPr>
                <a:xfrm>
                  <a:off x="3984625" y="3406208"/>
                  <a:ext cx="42251" cy="136348"/>
                </a:xfrm>
                <a:custGeom>
                  <a:avLst/>
                  <a:gdLst/>
                  <a:ahLst/>
                  <a:cxnLst/>
                  <a:rect l="l" t="t" r="r" b="b"/>
                  <a:pathLst>
                    <a:path w="5372" h="17336" fill="none" extrusionOk="0">
                      <a:moveTo>
                        <a:pt x="1" y="1"/>
                      </a:moveTo>
                      <a:lnTo>
                        <a:pt x="5372" y="17335"/>
                      </a:lnTo>
                    </a:path>
                  </a:pathLst>
                </a:custGeom>
                <a:noFill/>
                <a:ln w="1825" cap="flat" cmpd="sng">
                  <a:solidFill>
                    <a:srgbClr val="A5B7C5"/>
                  </a:solidFill>
                  <a:prstDash val="solid"/>
                  <a:miter lim="12096"/>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772" name="Google Shape;7772;p104"/>
                <p:cNvSpPr/>
                <p:nvPr/>
              </p:nvSpPr>
              <p:spPr>
                <a:xfrm>
                  <a:off x="4026868" y="3427522"/>
                  <a:ext cx="35597" cy="115033"/>
                </a:xfrm>
                <a:custGeom>
                  <a:avLst/>
                  <a:gdLst/>
                  <a:ahLst/>
                  <a:cxnLst/>
                  <a:rect l="l" t="t" r="r" b="b"/>
                  <a:pathLst>
                    <a:path w="4526" h="14626" fill="none" extrusionOk="0">
                      <a:moveTo>
                        <a:pt x="1" y="14625"/>
                      </a:moveTo>
                      <a:lnTo>
                        <a:pt x="4525" y="0"/>
                      </a:lnTo>
                    </a:path>
                  </a:pathLst>
                </a:custGeom>
                <a:noFill/>
                <a:ln w="1825" cap="flat" cmpd="sng">
                  <a:solidFill>
                    <a:srgbClr val="A5B7C5"/>
                  </a:solidFill>
                  <a:prstDash val="solid"/>
                  <a:miter lim="12096"/>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773" name="Google Shape;7773;p104"/>
                <p:cNvSpPr/>
                <p:nvPr/>
              </p:nvSpPr>
              <p:spPr>
                <a:xfrm>
                  <a:off x="3876261" y="3542548"/>
                  <a:ext cx="150615" cy="52051"/>
                </a:xfrm>
                <a:custGeom>
                  <a:avLst/>
                  <a:gdLst/>
                  <a:ahLst/>
                  <a:cxnLst/>
                  <a:rect l="l" t="t" r="r" b="b"/>
                  <a:pathLst>
                    <a:path w="19150" h="6618" fill="none" extrusionOk="0">
                      <a:moveTo>
                        <a:pt x="1" y="6617"/>
                      </a:moveTo>
                      <a:lnTo>
                        <a:pt x="19150" y="0"/>
                      </a:lnTo>
                    </a:path>
                  </a:pathLst>
                </a:custGeom>
                <a:noFill/>
                <a:ln w="1825" cap="flat" cmpd="sng">
                  <a:solidFill>
                    <a:srgbClr val="A5B7C5"/>
                  </a:solidFill>
                  <a:prstDash val="solid"/>
                  <a:miter lim="12096"/>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774" name="Google Shape;7774;p104"/>
                <p:cNvSpPr/>
                <p:nvPr/>
              </p:nvSpPr>
              <p:spPr>
                <a:xfrm>
                  <a:off x="4006702" y="3542548"/>
                  <a:ext cx="20174" cy="99044"/>
                </a:xfrm>
                <a:custGeom>
                  <a:avLst/>
                  <a:gdLst/>
                  <a:ahLst/>
                  <a:cxnLst/>
                  <a:rect l="l" t="t" r="r" b="b"/>
                  <a:pathLst>
                    <a:path w="2565" h="12593" fill="none" extrusionOk="0">
                      <a:moveTo>
                        <a:pt x="2565" y="0"/>
                      </a:moveTo>
                      <a:lnTo>
                        <a:pt x="0" y="12593"/>
                      </a:lnTo>
                    </a:path>
                  </a:pathLst>
                </a:custGeom>
                <a:noFill/>
                <a:ln w="1825" cap="flat" cmpd="sng">
                  <a:solidFill>
                    <a:srgbClr val="A5B7C5"/>
                  </a:solidFill>
                  <a:prstDash val="solid"/>
                  <a:miter lim="12096"/>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775" name="Google Shape;7775;p104"/>
                <p:cNvSpPr/>
                <p:nvPr/>
              </p:nvSpPr>
              <p:spPr>
                <a:xfrm>
                  <a:off x="3912700" y="3641584"/>
                  <a:ext cx="97817" cy="41779"/>
                </a:xfrm>
                <a:custGeom>
                  <a:avLst/>
                  <a:gdLst/>
                  <a:ahLst/>
                  <a:cxnLst/>
                  <a:rect l="l" t="t" r="r" b="b"/>
                  <a:pathLst>
                    <a:path w="12437" h="5312" fill="none" extrusionOk="0">
                      <a:moveTo>
                        <a:pt x="1" y="5311"/>
                      </a:moveTo>
                      <a:lnTo>
                        <a:pt x="12436" y="1"/>
                      </a:lnTo>
                    </a:path>
                  </a:pathLst>
                </a:custGeom>
                <a:noFill/>
                <a:ln w="1825" cap="flat" cmpd="sng">
                  <a:solidFill>
                    <a:srgbClr val="A5B7C5"/>
                  </a:solidFill>
                  <a:prstDash val="solid"/>
                  <a:miter lim="12096"/>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776" name="Google Shape;7776;p104"/>
                <p:cNvSpPr/>
                <p:nvPr/>
              </p:nvSpPr>
              <p:spPr>
                <a:xfrm>
                  <a:off x="3875601" y="3503726"/>
                  <a:ext cx="68410" cy="89158"/>
                </a:xfrm>
                <a:custGeom>
                  <a:avLst/>
                  <a:gdLst/>
                  <a:ahLst/>
                  <a:cxnLst/>
                  <a:rect l="l" t="t" r="r" b="b"/>
                  <a:pathLst>
                    <a:path w="8698" h="11336" fill="none" extrusionOk="0">
                      <a:moveTo>
                        <a:pt x="8698" y="1"/>
                      </a:moveTo>
                      <a:lnTo>
                        <a:pt x="0" y="11335"/>
                      </a:lnTo>
                    </a:path>
                  </a:pathLst>
                </a:custGeom>
                <a:noFill/>
                <a:ln w="1825" cap="flat" cmpd="sng">
                  <a:solidFill>
                    <a:srgbClr val="A5B7C5"/>
                  </a:solidFill>
                  <a:prstDash val="solid"/>
                  <a:miter lim="12096"/>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777" name="Google Shape;7777;p104"/>
                <p:cNvSpPr/>
                <p:nvPr/>
              </p:nvSpPr>
              <p:spPr>
                <a:xfrm>
                  <a:off x="3944003" y="3503726"/>
                  <a:ext cx="89441" cy="36163"/>
                </a:xfrm>
                <a:custGeom>
                  <a:avLst/>
                  <a:gdLst/>
                  <a:ahLst/>
                  <a:cxnLst/>
                  <a:rect l="l" t="t" r="r" b="b"/>
                  <a:pathLst>
                    <a:path w="11372" h="4598" fill="none" extrusionOk="0">
                      <a:moveTo>
                        <a:pt x="1" y="1"/>
                      </a:moveTo>
                      <a:lnTo>
                        <a:pt x="11372" y="4598"/>
                      </a:lnTo>
                    </a:path>
                  </a:pathLst>
                </a:custGeom>
                <a:noFill/>
                <a:ln w="1825" cap="flat" cmpd="sng">
                  <a:solidFill>
                    <a:srgbClr val="A5B7C5"/>
                  </a:solidFill>
                  <a:prstDash val="solid"/>
                  <a:miter lim="12096"/>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778" name="Google Shape;7778;p104"/>
                <p:cNvSpPr/>
                <p:nvPr/>
              </p:nvSpPr>
              <p:spPr>
                <a:xfrm>
                  <a:off x="4033436" y="3490599"/>
                  <a:ext cx="132824" cy="49290"/>
                </a:xfrm>
                <a:custGeom>
                  <a:avLst/>
                  <a:gdLst/>
                  <a:ahLst/>
                  <a:cxnLst/>
                  <a:rect l="l" t="t" r="r" b="b"/>
                  <a:pathLst>
                    <a:path w="16888" h="6267" fill="none" extrusionOk="0">
                      <a:moveTo>
                        <a:pt x="1" y="6267"/>
                      </a:moveTo>
                      <a:lnTo>
                        <a:pt x="16888" y="0"/>
                      </a:lnTo>
                    </a:path>
                  </a:pathLst>
                </a:custGeom>
                <a:noFill/>
                <a:ln w="1825" cap="flat" cmpd="sng">
                  <a:solidFill>
                    <a:srgbClr val="A5B7C5"/>
                  </a:solidFill>
                  <a:prstDash val="solid"/>
                  <a:miter lim="12096"/>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779" name="Google Shape;7779;p104"/>
                <p:cNvSpPr/>
                <p:nvPr/>
              </p:nvSpPr>
              <p:spPr>
                <a:xfrm>
                  <a:off x="4166252" y="3490599"/>
                  <a:ext cx="73459" cy="95528"/>
                </a:xfrm>
                <a:custGeom>
                  <a:avLst/>
                  <a:gdLst/>
                  <a:ahLst/>
                  <a:cxnLst/>
                  <a:rect l="l" t="t" r="r" b="b"/>
                  <a:pathLst>
                    <a:path w="9340" h="12146" fill="none" extrusionOk="0">
                      <a:moveTo>
                        <a:pt x="1" y="0"/>
                      </a:moveTo>
                      <a:lnTo>
                        <a:pt x="9339" y="12146"/>
                      </a:lnTo>
                    </a:path>
                  </a:pathLst>
                </a:custGeom>
                <a:noFill/>
                <a:ln w="1825" cap="flat" cmpd="sng">
                  <a:solidFill>
                    <a:srgbClr val="A5B7C5"/>
                  </a:solidFill>
                  <a:prstDash val="solid"/>
                  <a:miter lim="12096"/>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780" name="Google Shape;7780;p104"/>
                <p:cNvSpPr/>
                <p:nvPr/>
              </p:nvSpPr>
              <p:spPr>
                <a:xfrm>
                  <a:off x="4027726" y="3539882"/>
                  <a:ext cx="211985" cy="39970"/>
                </a:xfrm>
                <a:custGeom>
                  <a:avLst/>
                  <a:gdLst/>
                  <a:ahLst/>
                  <a:cxnLst/>
                  <a:rect l="l" t="t" r="r" b="b"/>
                  <a:pathLst>
                    <a:path w="26953" h="5082" fill="none" extrusionOk="0">
                      <a:moveTo>
                        <a:pt x="26952" y="5081"/>
                      </a:moveTo>
                      <a:lnTo>
                        <a:pt x="1" y="1"/>
                      </a:lnTo>
                    </a:path>
                  </a:pathLst>
                </a:custGeom>
                <a:noFill/>
                <a:ln w="1825" cap="flat" cmpd="sng">
                  <a:solidFill>
                    <a:srgbClr val="A5B7C5"/>
                  </a:solidFill>
                  <a:prstDash val="solid"/>
                  <a:miter lim="12096"/>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781" name="Google Shape;7781;p104"/>
                <p:cNvSpPr/>
                <p:nvPr/>
              </p:nvSpPr>
              <p:spPr>
                <a:xfrm>
                  <a:off x="4027726" y="3539882"/>
                  <a:ext cx="99720" cy="174878"/>
                </a:xfrm>
                <a:custGeom>
                  <a:avLst/>
                  <a:gdLst/>
                  <a:ahLst/>
                  <a:cxnLst/>
                  <a:rect l="l" t="t" r="r" b="b"/>
                  <a:pathLst>
                    <a:path w="12679" h="22235" fill="none" extrusionOk="0">
                      <a:moveTo>
                        <a:pt x="1" y="1"/>
                      </a:moveTo>
                      <a:lnTo>
                        <a:pt x="12678" y="22234"/>
                      </a:lnTo>
                    </a:path>
                  </a:pathLst>
                </a:custGeom>
                <a:noFill/>
                <a:ln w="1825" cap="flat" cmpd="sng">
                  <a:solidFill>
                    <a:srgbClr val="A5B7C5"/>
                  </a:solidFill>
                  <a:prstDash val="solid"/>
                  <a:miter lim="12096"/>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782" name="Google Shape;7782;p104"/>
                <p:cNvSpPr/>
                <p:nvPr/>
              </p:nvSpPr>
              <p:spPr>
                <a:xfrm>
                  <a:off x="4027726" y="3539882"/>
                  <a:ext cx="159754" cy="111707"/>
                </a:xfrm>
                <a:custGeom>
                  <a:avLst/>
                  <a:gdLst/>
                  <a:ahLst/>
                  <a:cxnLst/>
                  <a:rect l="l" t="t" r="r" b="b"/>
                  <a:pathLst>
                    <a:path w="20312" h="14203" fill="none" extrusionOk="0">
                      <a:moveTo>
                        <a:pt x="1" y="1"/>
                      </a:moveTo>
                      <a:lnTo>
                        <a:pt x="20311" y="14202"/>
                      </a:lnTo>
                    </a:path>
                  </a:pathLst>
                </a:custGeom>
                <a:noFill/>
                <a:ln w="1825" cap="flat" cmpd="sng">
                  <a:solidFill>
                    <a:srgbClr val="A5B7C5"/>
                  </a:solidFill>
                  <a:prstDash val="solid"/>
                  <a:miter lim="12096"/>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783" name="Google Shape;7783;p104"/>
                <p:cNvSpPr/>
                <p:nvPr/>
              </p:nvSpPr>
              <p:spPr>
                <a:xfrm>
                  <a:off x="4006702" y="3641584"/>
                  <a:ext cx="120743" cy="73176"/>
                </a:xfrm>
                <a:custGeom>
                  <a:avLst/>
                  <a:gdLst/>
                  <a:ahLst/>
                  <a:cxnLst/>
                  <a:rect l="l" t="t" r="r" b="b"/>
                  <a:pathLst>
                    <a:path w="15352" h="9304" fill="none" extrusionOk="0">
                      <a:moveTo>
                        <a:pt x="0" y="1"/>
                      </a:moveTo>
                      <a:lnTo>
                        <a:pt x="15351" y="9303"/>
                      </a:lnTo>
                    </a:path>
                  </a:pathLst>
                </a:custGeom>
                <a:noFill/>
                <a:ln w="1825" cap="flat" cmpd="sng">
                  <a:solidFill>
                    <a:srgbClr val="A5B7C5"/>
                  </a:solidFill>
                  <a:prstDash val="solid"/>
                  <a:miter lim="12096"/>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784" name="Google Shape;7784;p104"/>
                <p:cNvSpPr/>
                <p:nvPr/>
              </p:nvSpPr>
              <p:spPr>
                <a:xfrm>
                  <a:off x="4006702" y="3641584"/>
                  <a:ext cx="39773" cy="140249"/>
                </a:xfrm>
                <a:custGeom>
                  <a:avLst/>
                  <a:gdLst/>
                  <a:ahLst/>
                  <a:cxnLst/>
                  <a:rect l="l" t="t" r="r" b="b"/>
                  <a:pathLst>
                    <a:path w="5057" h="17832" fill="none" extrusionOk="0">
                      <a:moveTo>
                        <a:pt x="5057" y="17832"/>
                      </a:moveTo>
                      <a:lnTo>
                        <a:pt x="0" y="1"/>
                      </a:lnTo>
                    </a:path>
                  </a:pathLst>
                </a:custGeom>
                <a:noFill/>
                <a:ln w="1825" cap="flat" cmpd="sng">
                  <a:solidFill>
                    <a:srgbClr val="A5B7C5"/>
                  </a:solidFill>
                  <a:prstDash val="solid"/>
                  <a:miter lim="12096"/>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785" name="Google Shape;7785;p104"/>
                <p:cNvSpPr/>
                <p:nvPr/>
              </p:nvSpPr>
              <p:spPr>
                <a:xfrm>
                  <a:off x="3996423" y="3784585"/>
                  <a:ext cx="51862" cy="10280"/>
                </a:xfrm>
                <a:custGeom>
                  <a:avLst/>
                  <a:gdLst/>
                  <a:ahLst/>
                  <a:cxnLst/>
                  <a:rect l="l" t="t" r="r" b="b"/>
                  <a:pathLst>
                    <a:path w="6594" h="1307" fill="none" extrusionOk="0">
                      <a:moveTo>
                        <a:pt x="1" y="1307"/>
                      </a:moveTo>
                      <a:lnTo>
                        <a:pt x="6594" y="0"/>
                      </a:lnTo>
                    </a:path>
                  </a:pathLst>
                </a:custGeom>
                <a:noFill/>
                <a:ln w="1825" cap="flat" cmpd="sng">
                  <a:solidFill>
                    <a:srgbClr val="A5B7C5"/>
                  </a:solidFill>
                  <a:prstDash val="solid"/>
                  <a:miter lim="12096"/>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786" name="Google Shape;7786;p104"/>
                <p:cNvSpPr/>
                <p:nvPr/>
              </p:nvSpPr>
              <p:spPr>
                <a:xfrm>
                  <a:off x="4048277" y="3784585"/>
                  <a:ext cx="47583" cy="68890"/>
                </a:xfrm>
                <a:custGeom>
                  <a:avLst/>
                  <a:gdLst/>
                  <a:ahLst/>
                  <a:cxnLst/>
                  <a:rect l="l" t="t" r="r" b="b"/>
                  <a:pathLst>
                    <a:path w="6050" h="8759" fill="none" extrusionOk="0">
                      <a:moveTo>
                        <a:pt x="1" y="0"/>
                      </a:moveTo>
                      <a:lnTo>
                        <a:pt x="6049" y="8758"/>
                      </a:lnTo>
                    </a:path>
                  </a:pathLst>
                </a:custGeom>
                <a:noFill/>
                <a:ln w="1825" cap="flat" cmpd="sng">
                  <a:solidFill>
                    <a:srgbClr val="A5B7C5"/>
                  </a:solidFill>
                  <a:prstDash val="solid"/>
                  <a:miter lim="12096"/>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787" name="Google Shape;7787;p104"/>
                <p:cNvSpPr/>
                <p:nvPr/>
              </p:nvSpPr>
              <p:spPr>
                <a:xfrm>
                  <a:off x="4095947" y="3788392"/>
                  <a:ext cx="10280" cy="64894"/>
                </a:xfrm>
                <a:custGeom>
                  <a:avLst/>
                  <a:gdLst/>
                  <a:ahLst/>
                  <a:cxnLst/>
                  <a:rect l="l" t="t" r="r" b="b"/>
                  <a:pathLst>
                    <a:path w="1307" h="8251" fill="none" extrusionOk="0">
                      <a:moveTo>
                        <a:pt x="0" y="8250"/>
                      </a:moveTo>
                      <a:lnTo>
                        <a:pt x="1307" y="0"/>
                      </a:lnTo>
                    </a:path>
                  </a:pathLst>
                </a:custGeom>
                <a:noFill/>
                <a:ln w="1825" cap="flat" cmpd="sng">
                  <a:solidFill>
                    <a:srgbClr val="A5B7C5"/>
                  </a:solidFill>
                  <a:prstDash val="solid"/>
                  <a:miter lim="12096"/>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788" name="Google Shape;7788;p104"/>
                <p:cNvSpPr/>
                <p:nvPr/>
              </p:nvSpPr>
              <p:spPr>
                <a:xfrm>
                  <a:off x="4095852" y="3853467"/>
                  <a:ext cx="45672" cy="15895"/>
                </a:xfrm>
                <a:custGeom>
                  <a:avLst/>
                  <a:gdLst/>
                  <a:ahLst/>
                  <a:cxnLst/>
                  <a:rect l="l" t="t" r="r" b="b"/>
                  <a:pathLst>
                    <a:path w="5807" h="2021" fill="none" extrusionOk="0">
                      <a:moveTo>
                        <a:pt x="0" y="0"/>
                      </a:moveTo>
                      <a:lnTo>
                        <a:pt x="5807" y="2021"/>
                      </a:lnTo>
                    </a:path>
                  </a:pathLst>
                </a:custGeom>
                <a:noFill/>
                <a:ln w="1825" cap="flat" cmpd="sng">
                  <a:solidFill>
                    <a:srgbClr val="A5B7C5"/>
                  </a:solidFill>
                  <a:prstDash val="solid"/>
                  <a:miter lim="12096"/>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789" name="Google Shape;7789;p104"/>
                <p:cNvSpPr/>
                <p:nvPr/>
              </p:nvSpPr>
              <p:spPr>
                <a:xfrm>
                  <a:off x="4138567" y="3868308"/>
                  <a:ext cx="16469" cy="101710"/>
                </a:xfrm>
                <a:custGeom>
                  <a:avLst/>
                  <a:gdLst/>
                  <a:ahLst/>
                  <a:cxnLst/>
                  <a:rect l="l" t="t" r="r" b="b"/>
                  <a:pathLst>
                    <a:path w="2094" h="12932" fill="none" extrusionOk="0">
                      <a:moveTo>
                        <a:pt x="1" y="1"/>
                      </a:moveTo>
                      <a:lnTo>
                        <a:pt x="2093" y="12932"/>
                      </a:lnTo>
                    </a:path>
                  </a:pathLst>
                </a:custGeom>
                <a:noFill/>
                <a:ln w="1825" cap="flat" cmpd="sng">
                  <a:solidFill>
                    <a:srgbClr val="A5B7C5"/>
                  </a:solidFill>
                  <a:prstDash val="solid"/>
                  <a:miter lim="12096"/>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790" name="Google Shape;7790;p104"/>
                <p:cNvSpPr/>
                <p:nvPr/>
              </p:nvSpPr>
              <p:spPr>
                <a:xfrm>
                  <a:off x="3875601" y="3592876"/>
                  <a:ext cx="131110" cy="48716"/>
                </a:xfrm>
                <a:custGeom>
                  <a:avLst/>
                  <a:gdLst/>
                  <a:ahLst/>
                  <a:cxnLst/>
                  <a:rect l="l" t="t" r="r" b="b"/>
                  <a:pathLst>
                    <a:path w="16670" h="6194" fill="none" extrusionOk="0">
                      <a:moveTo>
                        <a:pt x="0" y="0"/>
                      </a:moveTo>
                      <a:lnTo>
                        <a:pt x="16669" y="6194"/>
                      </a:lnTo>
                    </a:path>
                  </a:pathLst>
                </a:custGeom>
                <a:noFill/>
                <a:ln w="1825" cap="flat" cmpd="sng">
                  <a:solidFill>
                    <a:srgbClr val="A5B7C5"/>
                  </a:solidFill>
                  <a:prstDash val="solid"/>
                  <a:miter lim="12096"/>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791" name="Google Shape;7791;p104"/>
                <p:cNvSpPr/>
                <p:nvPr/>
              </p:nvSpPr>
              <p:spPr>
                <a:xfrm>
                  <a:off x="4164828" y="3394410"/>
                  <a:ext cx="26458" cy="93153"/>
                </a:xfrm>
                <a:custGeom>
                  <a:avLst/>
                  <a:gdLst/>
                  <a:ahLst/>
                  <a:cxnLst/>
                  <a:rect l="l" t="t" r="r" b="b"/>
                  <a:pathLst>
                    <a:path w="3364" h="11844" fill="none" extrusionOk="0">
                      <a:moveTo>
                        <a:pt x="0" y="11843"/>
                      </a:moveTo>
                      <a:lnTo>
                        <a:pt x="3363" y="1"/>
                      </a:lnTo>
                    </a:path>
                  </a:pathLst>
                </a:custGeom>
                <a:noFill/>
                <a:ln w="1825" cap="flat" cmpd="sng">
                  <a:solidFill>
                    <a:srgbClr val="A5B7C5"/>
                  </a:solidFill>
                  <a:prstDash val="solid"/>
                  <a:miter lim="12096"/>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792" name="Google Shape;7792;p104"/>
                <p:cNvSpPr/>
                <p:nvPr/>
              </p:nvSpPr>
              <p:spPr>
                <a:xfrm>
                  <a:off x="4191278" y="3394410"/>
                  <a:ext cx="86586" cy="52719"/>
                </a:xfrm>
                <a:custGeom>
                  <a:avLst/>
                  <a:gdLst/>
                  <a:ahLst/>
                  <a:cxnLst/>
                  <a:rect l="l" t="t" r="r" b="b"/>
                  <a:pathLst>
                    <a:path w="11009" h="6703" fill="none" extrusionOk="0">
                      <a:moveTo>
                        <a:pt x="0" y="1"/>
                      </a:moveTo>
                      <a:lnTo>
                        <a:pt x="11008" y="6702"/>
                      </a:lnTo>
                    </a:path>
                  </a:pathLst>
                </a:custGeom>
                <a:noFill/>
                <a:ln w="1825" cap="flat" cmpd="sng">
                  <a:solidFill>
                    <a:srgbClr val="A5B7C5"/>
                  </a:solidFill>
                  <a:prstDash val="solid"/>
                  <a:miter lim="12096"/>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7793" name="Google Shape;7793;p104"/>
              <p:cNvGrpSpPr/>
              <p:nvPr/>
            </p:nvGrpSpPr>
            <p:grpSpPr>
              <a:xfrm>
                <a:off x="4180904" y="4251758"/>
                <a:ext cx="37783" cy="32420"/>
                <a:chOff x="4180904" y="4251758"/>
                <a:chExt cx="37783" cy="32420"/>
              </a:xfrm>
            </p:grpSpPr>
            <p:sp>
              <p:nvSpPr>
                <p:cNvPr id="7794" name="Google Shape;7794;p104"/>
                <p:cNvSpPr/>
                <p:nvPr/>
              </p:nvSpPr>
              <p:spPr>
                <a:xfrm>
                  <a:off x="4180904" y="4251758"/>
                  <a:ext cx="37783" cy="32420"/>
                </a:xfrm>
                <a:custGeom>
                  <a:avLst/>
                  <a:gdLst/>
                  <a:ahLst/>
                  <a:cxnLst/>
                  <a:rect l="l" t="t" r="r" b="b"/>
                  <a:pathLst>
                    <a:path w="4804" h="4122" extrusionOk="0">
                      <a:moveTo>
                        <a:pt x="2738" y="0"/>
                      </a:moveTo>
                      <a:cubicBezTo>
                        <a:pt x="2231" y="0"/>
                        <a:pt x="1715" y="190"/>
                        <a:pt x="1295" y="613"/>
                      </a:cubicBezTo>
                      <a:cubicBezTo>
                        <a:pt x="1" y="1908"/>
                        <a:pt x="920" y="4121"/>
                        <a:pt x="2759" y="4121"/>
                      </a:cubicBezTo>
                      <a:cubicBezTo>
                        <a:pt x="3884" y="4109"/>
                        <a:pt x="4803" y="3190"/>
                        <a:pt x="4803" y="2065"/>
                      </a:cubicBezTo>
                      <a:cubicBezTo>
                        <a:pt x="4803" y="823"/>
                        <a:pt x="3792" y="0"/>
                        <a:pt x="2738" y="0"/>
                      </a:cubicBez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795" name="Google Shape;7795;p104"/>
                <p:cNvSpPr/>
                <p:nvPr/>
              </p:nvSpPr>
              <p:spPr>
                <a:xfrm>
                  <a:off x="4196037" y="4261432"/>
                  <a:ext cx="13040" cy="13040"/>
                </a:xfrm>
                <a:custGeom>
                  <a:avLst/>
                  <a:gdLst/>
                  <a:ahLst/>
                  <a:cxnLst/>
                  <a:rect l="l" t="t" r="r" b="b"/>
                  <a:pathLst>
                    <a:path w="1658" h="1658" extrusionOk="0">
                      <a:moveTo>
                        <a:pt x="835" y="0"/>
                      </a:moveTo>
                      <a:cubicBezTo>
                        <a:pt x="375" y="0"/>
                        <a:pt x="0" y="375"/>
                        <a:pt x="0" y="835"/>
                      </a:cubicBezTo>
                      <a:cubicBezTo>
                        <a:pt x="0" y="1295"/>
                        <a:pt x="375" y="1658"/>
                        <a:pt x="835" y="1658"/>
                      </a:cubicBezTo>
                      <a:cubicBezTo>
                        <a:pt x="1282" y="1658"/>
                        <a:pt x="1657" y="1295"/>
                        <a:pt x="1657" y="835"/>
                      </a:cubicBezTo>
                      <a:cubicBezTo>
                        <a:pt x="1657" y="375"/>
                        <a:pt x="1282" y="0"/>
                        <a:pt x="835" y="0"/>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7796" name="Google Shape;7796;p104"/>
              <p:cNvGrpSpPr/>
              <p:nvPr/>
            </p:nvGrpSpPr>
            <p:grpSpPr>
              <a:xfrm>
                <a:off x="4201644" y="4081324"/>
                <a:ext cx="37783" cy="32364"/>
                <a:chOff x="4201644" y="4081324"/>
                <a:chExt cx="37783" cy="32364"/>
              </a:xfrm>
            </p:grpSpPr>
            <p:sp>
              <p:nvSpPr>
                <p:cNvPr id="7797" name="Google Shape;7797;p104"/>
                <p:cNvSpPr/>
                <p:nvPr/>
              </p:nvSpPr>
              <p:spPr>
                <a:xfrm>
                  <a:off x="4201644" y="4081324"/>
                  <a:ext cx="37783" cy="32364"/>
                </a:xfrm>
                <a:custGeom>
                  <a:avLst/>
                  <a:gdLst/>
                  <a:ahLst/>
                  <a:cxnLst/>
                  <a:rect l="l" t="t" r="r" b="b"/>
                  <a:pathLst>
                    <a:path w="4804" h="4115" extrusionOk="0">
                      <a:moveTo>
                        <a:pt x="2732" y="1"/>
                      </a:moveTo>
                      <a:cubicBezTo>
                        <a:pt x="2228" y="1"/>
                        <a:pt x="1713" y="188"/>
                        <a:pt x="1295" y="606"/>
                      </a:cubicBezTo>
                      <a:cubicBezTo>
                        <a:pt x="1" y="1900"/>
                        <a:pt x="920" y="4114"/>
                        <a:pt x="2747" y="4114"/>
                      </a:cubicBezTo>
                      <a:cubicBezTo>
                        <a:pt x="3884" y="4114"/>
                        <a:pt x="4803" y="3195"/>
                        <a:pt x="4803" y="2058"/>
                      </a:cubicBezTo>
                      <a:cubicBezTo>
                        <a:pt x="4803" y="821"/>
                        <a:pt x="3789" y="1"/>
                        <a:pt x="2732" y="1"/>
                      </a:cubicBez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798" name="Google Shape;7798;p104"/>
                <p:cNvSpPr/>
                <p:nvPr/>
              </p:nvSpPr>
              <p:spPr>
                <a:xfrm>
                  <a:off x="4214582" y="4091037"/>
                  <a:ext cx="15235" cy="13040"/>
                </a:xfrm>
                <a:custGeom>
                  <a:avLst/>
                  <a:gdLst/>
                  <a:ahLst/>
                  <a:cxnLst/>
                  <a:rect l="l" t="t" r="r" b="b"/>
                  <a:pathLst>
                    <a:path w="1937" h="1658" extrusionOk="0">
                      <a:moveTo>
                        <a:pt x="1102" y="0"/>
                      </a:moveTo>
                      <a:cubicBezTo>
                        <a:pt x="364" y="0"/>
                        <a:pt x="1" y="883"/>
                        <a:pt x="521" y="1415"/>
                      </a:cubicBezTo>
                      <a:cubicBezTo>
                        <a:pt x="688" y="1582"/>
                        <a:pt x="894" y="1657"/>
                        <a:pt x="1096" y="1657"/>
                      </a:cubicBezTo>
                      <a:cubicBezTo>
                        <a:pt x="1524" y="1657"/>
                        <a:pt x="1936" y="1323"/>
                        <a:pt x="1936" y="823"/>
                      </a:cubicBezTo>
                      <a:cubicBezTo>
                        <a:pt x="1936" y="363"/>
                        <a:pt x="1561" y="0"/>
                        <a:pt x="1102" y="0"/>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7799" name="Google Shape;7799;p104"/>
              <p:cNvGrpSpPr/>
              <p:nvPr/>
            </p:nvGrpSpPr>
            <p:grpSpPr>
              <a:xfrm>
                <a:off x="4284416" y="3887428"/>
                <a:ext cx="37783" cy="32451"/>
                <a:chOff x="4284416" y="3887428"/>
                <a:chExt cx="37783" cy="32451"/>
              </a:xfrm>
            </p:grpSpPr>
            <p:sp>
              <p:nvSpPr>
                <p:cNvPr id="7800" name="Google Shape;7800;p104"/>
                <p:cNvSpPr/>
                <p:nvPr/>
              </p:nvSpPr>
              <p:spPr>
                <a:xfrm>
                  <a:off x="4284416" y="3887428"/>
                  <a:ext cx="37783" cy="32451"/>
                </a:xfrm>
                <a:custGeom>
                  <a:avLst/>
                  <a:gdLst/>
                  <a:ahLst/>
                  <a:cxnLst/>
                  <a:rect l="l" t="t" r="r" b="b"/>
                  <a:pathLst>
                    <a:path w="4804" h="4126" extrusionOk="0">
                      <a:moveTo>
                        <a:pt x="2731" y="1"/>
                      </a:moveTo>
                      <a:cubicBezTo>
                        <a:pt x="2227" y="1"/>
                        <a:pt x="1713" y="188"/>
                        <a:pt x="1295" y="606"/>
                      </a:cubicBezTo>
                      <a:cubicBezTo>
                        <a:pt x="1" y="1900"/>
                        <a:pt x="920" y="4126"/>
                        <a:pt x="2747" y="4126"/>
                      </a:cubicBezTo>
                      <a:cubicBezTo>
                        <a:pt x="3884" y="4114"/>
                        <a:pt x="4803" y="3195"/>
                        <a:pt x="4803" y="2070"/>
                      </a:cubicBezTo>
                      <a:cubicBezTo>
                        <a:pt x="4803" y="824"/>
                        <a:pt x="3788" y="1"/>
                        <a:pt x="2731" y="1"/>
                      </a:cubicBez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801" name="Google Shape;7801;p104"/>
                <p:cNvSpPr/>
                <p:nvPr/>
              </p:nvSpPr>
              <p:spPr>
                <a:xfrm>
                  <a:off x="4299548" y="3897039"/>
                  <a:ext cx="13040" cy="13048"/>
                </a:xfrm>
                <a:custGeom>
                  <a:avLst/>
                  <a:gdLst/>
                  <a:ahLst/>
                  <a:cxnLst/>
                  <a:rect l="l" t="t" r="r" b="b"/>
                  <a:pathLst>
                    <a:path w="1658" h="1659" extrusionOk="0">
                      <a:moveTo>
                        <a:pt x="823" y="1"/>
                      </a:moveTo>
                      <a:cubicBezTo>
                        <a:pt x="363" y="1"/>
                        <a:pt x="0" y="376"/>
                        <a:pt x="0" y="835"/>
                      </a:cubicBezTo>
                      <a:cubicBezTo>
                        <a:pt x="0" y="1295"/>
                        <a:pt x="363" y="1658"/>
                        <a:pt x="823" y="1658"/>
                      </a:cubicBezTo>
                      <a:cubicBezTo>
                        <a:pt x="1283" y="1658"/>
                        <a:pt x="1658" y="1295"/>
                        <a:pt x="1658" y="835"/>
                      </a:cubicBezTo>
                      <a:cubicBezTo>
                        <a:pt x="1658" y="376"/>
                        <a:pt x="1283" y="1"/>
                        <a:pt x="823" y="1"/>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7802" name="Google Shape;7802;p104"/>
              <p:cNvGrpSpPr/>
              <p:nvPr/>
            </p:nvGrpSpPr>
            <p:grpSpPr>
              <a:xfrm>
                <a:off x="4223721" y="3860404"/>
                <a:ext cx="37870" cy="32364"/>
                <a:chOff x="4223721" y="3860404"/>
                <a:chExt cx="37870" cy="32364"/>
              </a:xfrm>
            </p:grpSpPr>
            <p:sp>
              <p:nvSpPr>
                <p:cNvPr id="7803" name="Google Shape;7803;p104"/>
                <p:cNvSpPr/>
                <p:nvPr/>
              </p:nvSpPr>
              <p:spPr>
                <a:xfrm>
                  <a:off x="4223721" y="3860404"/>
                  <a:ext cx="37870" cy="32364"/>
                </a:xfrm>
                <a:custGeom>
                  <a:avLst/>
                  <a:gdLst/>
                  <a:ahLst/>
                  <a:cxnLst/>
                  <a:rect l="l" t="t" r="r" b="b"/>
                  <a:pathLst>
                    <a:path w="4815" h="4115" extrusionOk="0">
                      <a:moveTo>
                        <a:pt x="2735" y="1"/>
                      </a:moveTo>
                      <a:cubicBezTo>
                        <a:pt x="2228" y="1"/>
                        <a:pt x="1713" y="188"/>
                        <a:pt x="1295" y="606"/>
                      </a:cubicBezTo>
                      <a:cubicBezTo>
                        <a:pt x="0" y="1901"/>
                        <a:pt x="920" y="4114"/>
                        <a:pt x="2758" y="4114"/>
                      </a:cubicBezTo>
                      <a:cubicBezTo>
                        <a:pt x="3883" y="4114"/>
                        <a:pt x="4803" y="3195"/>
                        <a:pt x="4815" y="2058"/>
                      </a:cubicBezTo>
                      <a:cubicBezTo>
                        <a:pt x="4815" y="822"/>
                        <a:pt x="3795" y="1"/>
                        <a:pt x="2735" y="1"/>
                      </a:cubicBez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804" name="Google Shape;7804;p104"/>
                <p:cNvSpPr/>
                <p:nvPr/>
              </p:nvSpPr>
              <p:spPr>
                <a:xfrm>
                  <a:off x="4238846" y="3870117"/>
                  <a:ext cx="13040" cy="13040"/>
                </a:xfrm>
                <a:custGeom>
                  <a:avLst/>
                  <a:gdLst/>
                  <a:ahLst/>
                  <a:cxnLst/>
                  <a:rect l="l" t="t" r="r" b="b"/>
                  <a:pathLst>
                    <a:path w="1658" h="1658" extrusionOk="0">
                      <a:moveTo>
                        <a:pt x="835" y="0"/>
                      </a:moveTo>
                      <a:cubicBezTo>
                        <a:pt x="376" y="0"/>
                        <a:pt x="1" y="363"/>
                        <a:pt x="1" y="823"/>
                      </a:cubicBezTo>
                      <a:cubicBezTo>
                        <a:pt x="1" y="1283"/>
                        <a:pt x="376" y="1658"/>
                        <a:pt x="835" y="1658"/>
                      </a:cubicBezTo>
                      <a:cubicBezTo>
                        <a:pt x="1283" y="1658"/>
                        <a:pt x="1658" y="1283"/>
                        <a:pt x="1658" y="823"/>
                      </a:cubicBezTo>
                      <a:cubicBezTo>
                        <a:pt x="1658" y="363"/>
                        <a:pt x="1283" y="0"/>
                        <a:pt x="835" y="0"/>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7805" name="Google Shape;7805;p104"/>
              <p:cNvGrpSpPr/>
              <p:nvPr/>
            </p:nvGrpSpPr>
            <p:grpSpPr>
              <a:xfrm>
                <a:off x="4104889" y="3699242"/>
                <a:ext cx="37776" cy="32357"/>
                <a:chOff x="4104889" y="3699242"/>
                <a:chExt cx="37776" cy="32357"/>
              </a:xfrm>
            </p:grpSpPr>
            <p:sp>
              <p:nvSpPr>
                <p:cNvPr id="7806" name="Google Shape;7806;p104"/>
                <p:cNvSpPr/>
                <p:nvPr/>
              </p:nvSpPr>
              <p:spPr>
                <a:xfrm>
                  <a:off x="4104889" y="3699242"/>
                  <a:ext cx="37776" cy="32357"/>
                </a:xfrm>
                <a:custGeom>
                  <a:avLst/>
                  <a:gdLst/>
                  <a:ahLst/>
                  <a:cxnLst/>
                  <a:rect l="l" t="t" r="r" b="b"/>
                  <a:pathLst>
                    <a:path w="4803" h="4114" extrusionOk="0">
                      <a:moveTo>
                        <a:pt x="2730" y="0"/>
                      </a:moveTo>
                      <a:cubicBezTo>
                        <a:pt x="2226" y="0"/>
                        <a:pt x="1712" y="188"/>
                        <a:pt x="1295" y="605"/>
                      </a:cubicBezTo>
                      <a:cubicBezTo>
                        <a:pt x="0" y="1900"/>
                        <a:pt x="920" y="4114"/>
                        <a:pt x="2746" y="4114"/>
                      </a:cubicBezTo>
                      <a:cubicBezTo>
                        <a:pt x="3883" y="4114"/>
                        <a:pt x="4803" y="3194"/>
                        <a:pt x="4803" y="2069"/>
                      </a:cubicBezTo>
                      <a:cubicBezTo>
                        <a:pt x="4803" y="824"/>
                        <a:pt x="3788" y="0"/>
                        <a:pt x="2730" y="0"/>
                      </a:cubicBez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807" name="Google Shape;7807;p104"/>
                <p:cNvSpPr/>
                <p:nvPr/>
              </p:nvSpPr>
              <p:spPr>
                <a:xfrm>
                  <a:off x="4120013" y="3708948"/>
                  <a:ext cx="13040" cy="13040"/>
                </a:xfrm>
                <a:custGeom>
                  <a:avLst/>
                  <a:gdLst/>
                  <a:ahLst/>
                  <a:cxnLst/>
                  <a:rect l="l" t="t" r="r" b="b"/>
                  <a:pathLst>
                    <a:path w="1658" h="1658" extrusionOk="0">
                      <a:moveTo>
                        <a:pt x="823" y="0"/>
                      </a:moveTo>
                      <a:cubicBezTo>
                        <a:pt x="376" y="0"/>
                        <a:pt x="1" y="375"/>
                        <a:pt x="1" y="823"/>
                      </a:cubicBezTo>
                      <a:cubicBezTo>
                        <a:pt x="1" y="1283"/>
                        <a:pt x="376" y="1658"/>
                        <a:pt x="823" y="1658"/>
                      </a:cubicBezTo>
                      <a:cubicBezTo>
                        <a:pt x="1283" y="1658"/>
                        <a:pt x="1658" y="1283"/>
                        <a:pt x="1658" y="823"/>
                      </a:cubicBezTo>
                      <a:cubicBezTo>
                        <a:pt x="1658" y="375"/>
                        <a:pt x="1283" y="0"/>
                        <a:pt x="823" y="0"/>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7808" name="Google Shape;7808;p104"/>
              <p:cNvGrpSpPr/>
              <p:nvPr/>
            </p:nvGrpSpPr>
            <p:grpSpPr>
              <a:xfrm>
                <a:off x="4143608" y="3475121"/>
                <a:ext cx="37878" cy="32420"/>
                <a:chOff x="4143608" y="3475121"/>
                <a:chExt cx="37878" cy="32420"/>
              </a:xfrm>
            </p:grpSpPr>
            <p:sp>
              <p:nvSpPr>
                <p:cNvPr id="7809" name="Google Shape;7809;p104"/>
                <p:cNvSpPr/>
                <p:nvPr/>
              </p:nvSpPr>
              <p:spPr>
                <a:xfrm>
                  <a:off x="4143608" y="3475121"/>
                  <a:ext cx="37878" cy="32420"/>
                </a:xfrm>
                <a:custGeom>
                  <a:avLst/>
                  <a:gdLst/>
                  <a:ahLst/>
                  <a:cxnLst/>
                  <a:rect l="l" t="t" r="r" b="b"/>
                  <a:pathLst>
                    <a:path w="4816" h="4122" extrusionOk="0">
                      <a:moveTo>
                        <a:pt x="2750" y="0"/>
                      </a:moveTo>
                      <a:cubicBezTo>
                        <a:pt x="2244" y="0"/>
                        <a:pt x="1727" y="190"/>
                        <a:pt x="1307" y="614"/>
                      </a:cubicBezTo>
                      <a:cubicBezTo>
                        <a:pt x="1" y="1908"/>
                        <a:pt x="920" y="4122"/>
                        <a:pt x="2759" y="4122"/>
                      </a:cubicBezTo>
                      <a:cubicBezTo>
                        <a:pt x="3896" y="4122"/>
                        <a:pt x="4815" y="3202"/>
                        <a:pt x="4815" y="2065"/>
                      </a:cubicBezTo>
                      <a:cubicBezTo>
                        <a:pt x="4815" y="823"/>
                        <a:pt x="3805" y="0"/>
                        <a:pt x="2750" y="0"/>
                      </a:cubicBez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810" name="Google Shape;7810;p104"/>
                <p:cNvSpPr/>
                <p:nvPr/>
              </p:nvSpPr>
              <p:spPr>
                <a:xfrm>
                  <a:off x="4158741" y="3484795"/>
                  <a:ext cx="13040" cy="13040"/>
                </a:xfrm>
                <a:custGeom>
                  <a:avLst/>
                  <a:gdLst/>
                  <a:ahLst/>
                  <a:cxnLst/>
                  <a:rect l="l" t="t" r="r" b="b"/>
                  <a:pathLst>
                    <a:path w="1658" h="1658" extrusionOk="0">
                      <a:moveTo>
                        <a:pt x="835" y="1"/>
                      </a:moveTo>
                      <a:cubicBezTo>
                        <a:pt x="375" y="1"/>
                        <a:pt x="0" y="376"/>
                        <a:pt x="0" y="835"/>
                      </a:cubicBezTo>
                      <a:cubicBezTo>
                        <a:pt x="0" y="1295"/>
                        <a:pt x="375" y="1658"/>
                        <a:pt x="835" y="1658"/>
                      </a:cubicBezTo>
                      <a:cubicBezTo>
                        <a:pt x="1294" y="1658"/>
                        <a:pt x="1657" y="1295"/>
                        <a:pt x="1657" y="835"/>
                      </a:cubicBezTo>
                      <a:cubicBezTo>
                        <a:pt x="1657" y="376"/>
                        <a:pt x="1294" y="1"/>
                        <a:pt x="835" y="1"/>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7811" name="Google Shape;7811;p104"/>
              <p:cNvGrpSpPr/>
              <p:nvPr/>
            </p:nvGrpSpPr>
            <p:grpSpPr>
              <a:xfrm>
                <a:off x="4217248" y="3570893"/>
                <a:ext cx="37776" cy="32364"/>
                <a:chOff x="4217248" y="3570893"/>
                <a:chExt cx="37776" cy="32364"/>
              </a:xfrm>
            </p:grpSpPr>
            <p:sp>
              <p:nvSpPr>
                <p:cNvPr id="7812" name="Google Shape;7812;p104"/>
                <p:cNvSpPr/>
                <p:nvPr/>
              </p:nvSpPr>
              <p:spPr>
                <a:xfrm>
                  <a:off x="4217248" y="3570893"/>
                  <a:ext cx="37776" cy="32364"/>
                </a:xfrm>
                <a:custGeom>
                  <a:avLst/>
                  <a:gdLst/>
                  <a:ahLst/>
                  <a:cxnLst/>
                  <a:rect l="l" t="t" r="r" b="b"/>
                  <a:pathLst>
                    <a:path w="4803" h="4115" extrusionOk="0">
                      <a:moveTo>
                        <a:pt x="2732" y="1"/>
                      </a:moveTo>
                      <a:cubicBezTo>
                        <a:pt x="2228" y="1"/>
                        <a:pt x="1713" y="188"/>
                        <a:pt x="1295" y="606"/>
                      </a:cubicBezTo>
                      <a:cubicBezTo>
                        <a:pt x="1" y="1900"/>
                        <a:pt x="920" y="4114"/>
                        <a:pt x="2759" y="4114"/>
                      </a:cubicBezTo>
                      <a:cubicBezTo>
                        <a:pt x="3884" y="4114"/>
                        <a:pt x="4803" y="3195"/>
                        <a:pt x="4803" y="2058"/>
                      </a:cubicBezTo>
                      <a:cubicBezTo>
                        <a:pt x="4803" y="821"/>
                        <a:pt x="3789" y="1"/>
                        <a:pt x="2732" y="1"/>
                      </a:cubicBez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813" name="Google Shape;7813;p104"/>
                <p:cNvSpPr/>
                <p:nvPr/>
              </p:nvSpPr>
              <p:spPr>
                <a:xfrm>
                  <a:off x="4232373" y="3580599"/>
                  <a:ext cx="13048" cy="13048"/>
                </a:xfrm>
                <a:custGeom>
                  <a:avLst/>
                  <a:gdLst/>
                  <a:ahLst/>
                  <a:cxnLst/>
                  <a:rect l="l" t="t" r="r" b="b"/>
                  <a:pathLst>
                    <a:path w="1659" h="1659" extrusionOk="0">
                      <a:moveTo>
                        <a:pt x="824" y="1"/>
                      </a:moveTo>
                      <a:cubicBezTo>
                        <a:pt x="364" y="1"/>
                        <a:pt x="1" y="376"/>
                        <a:pt x="1" y="824"/>
                      </a:cubicBezTo>
                      <a:cubicBezTo>
                        <a:pt x="1" y="1283"/>
                        <a:pt x="364" y="1658"/>
                        <a:pt x="824" y="1658"/>
                      </a:cubicBezTo>
                      <a:cubicBezTo>
                        <a:pt x="1283" y="1658"/>
                        <a:pt x="1658" y="1283"/>
                        <a:pt x="1658" y="824"/>
                      </a:cubicBezTo>
                      <a:cubicBezTo>
                        <a:pt x="1658" y="376"/>
                        <a:pt x="1283" y="1"/>
                        <a:pt x="824" y="1"/>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7814" name="Google Shape;7814;p104"/>
              <p:cNvGrpSpPr/>
              <p:nvPr/>
            </p:nvGrpSpPr>
            <p:grpSpPr>
              <a:xfrm>
                <a:off x="4255307" y="3431612"/>
                <a:ext cx="37776" cy="32451"/>
                <a:chOff x="4255307" y="3431612"/>
                <a:chExt cx="37776" cy="32451"/>
              </a:xfrm>
            </p:grpSpPr>
            <p:sp>
              <p:nvSpPr>
                <p:cNvPr id="7815" name="Google Shape;7815;p104"/>
                <p:cNvSpPr/>
                <p:nvPr/>
              </p:nvSpPr>
              <p:spPr>
                <a:xfrm>
                  <a:off x="4255307" y="3431612"/>
                  <a:ext cx="37776" cy="32451"/>
                </a:xfrm>
                <a:custGeom>
                  <a:avLst/>
                  <a:gdLst/>
                  <a:ahLst/>
                  <a:cxnLst/>
                  <a:rect l="l" t="t" r="r" b="b"/>
                  <a:pathLst>
                    <a:path w="4803" h="4126" extrusionOk="0">
                      <a:moveTo>
                        <a:pt x="2730" y="0"/>
                      </a:moveTo>
                      <a:cubicBezTo>
                        <a:pt x="2226" y="0"/>
                        <a:pt x="1712" y="187"/>
                        <a:pt x="1295" y="605"/>
                      </a:cubicBezTo>
                      <a:cubicBezTo>
                        <a:pt x="0" y="1912"/>
                        <a:pt x="920" y="4125"/>
                        <a:pt x="2758" y="4125"/>
                      </a:cubicBezTo>
                      <a:cubicBezTo>
                        <a:pt x="3883" y="4113"/>
                        <a:pt x="4803" y="3194"/>
                        <a:pt x="4803" y="2069"/>
                      </a:cubicBezTo>
                      <a:cubicBezTo>
                        <a:pt x="4803" y="824"/>
                        <a:pt x="3788" y="0"/>
                        <a:pt x="2730" y="0"/>
                      </a:cubicBez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816" name="Google Shape;7816;p104"/>
                <p:cNvSpPr/>
                <p:nvPr/>
              </p:nvSpPr>
              <p:spPr>
                <a:xfrm>
                  <a:off x="4270432" y="3441317"/>
                  <a:ext cx="13040" cy="13040"/>
                </a:xfrm>
                <a:custGeom>
                  <a:avLst/>
                  <a:gdLst/>
                  <a:ahLst/>
                  <a:cxnLst/>
                  <a:rect l="l" t="t" r="r" b="b"/>
                  <a:pathLst>
                    <a:path w="1658" h="1658" extrusionOk="0">
                      <a:moveTo>
                        <a:pt x="835" y="0"/>
                      </a:moveTo>
                      <a:cubicBezTo>
                        <a:pt x="376" y="0"/>
                        <a:pt x="1" y="375"/>
                        <a:pt x="1" y="835"/>
                      </a:cubicBezTo>
                      <a:cubicBezTo>
                        <a:pt x="1" y="1295"/>
                        <a:pt x="376" y="1658"/>
                        <a:pt x="835" y="1658"/>
                      </a:cubicBezTo>
                      <a:cubicBezTo>
                        <a:pt x="1295" y="1658"/>
                        <a:pt x="1658" y="1295"/>
                        <a:pt x="1658" y="835"/>
                      </a:cubicBezTo>
                      <a:cubicBezTo>
                        <a:pt x="1658" y="375"/>
                        <a:pt x="1295" y="0"/>
                        <a:pt x="835" y="0"/>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7817" name="Google Shape;7817;p104"/>
              <p:cNvGrpSpPr/>
              <p:nvPr/>
            </p:nvGrpSpPr>
            <p:grpSpPr>
              <a:xfrm>
                <a:off x="3853052" y="3577398"/>
                <a:ext cx="37776" cy="32420"/>
                <a:chOff x="3853052" y="3577398"/>
                <a:chExt cx="37776" cy="32420"/>
              </a:xfrm>
            </p:grpSpPr>
            <p:sp>
              <p:nvSpPr>
                <p:cNvPr id="7818" name="Google Shape;7818;p104"/>
                <p:cNvSpPr/>
                <p:nvPr/>
              </p:nvSpPr>
              <p:spPr>
                <a:xfrm>
                  <a:off x="3853052" y="3577398"/>
                  <a:ext cx="37776" cy="32420"/>
                </a:xfrm>
                <a:custGeom>
                  <a:avLst/>
                  <a:gdLst/>
                  <a:ahLst/>
                  <a:cxnLst/>
                  <a:rect l="l" t="t" r="r" b="b"/>
                  <a:pathLst>
                    <a:path w="4803" h="4122" extrusionOk="0">
                      <a:moveTo>
                        <a:pt x="2737" y="0"/>
                      </a:moveTo>
                      <a:cubicBezTo>
                        <a:pt x="2231" y="0"/>
                        <a:pt x="1714" y="190"/>
                        <a:pt x="1294" y="614"/>
                      </a:cubicBezTo>
                      <a:cubicBezTo>
                        <a:pt x="0" y="1908"/>
                        <a:pt x="919" y="4122"/>
                        <a:pt x="2746" y="4122"/>
                      </a:cubicBezTo>
                      <a:cubicBezTo>
                        <a:pt x="3883" y="4122"/>
                        <a:pt x="4803" y="3202"/>
                        <a:pt x="4803" y="2065"/>
                      </a:cubicBezTo>
                      <a:cubicBezTo>
                        <a:pt x="4803" y="823"/>
                        <a:pt x="3792" y="0"/>
                        <a:pt x="2737" y="0"/>
                      </a:cubicBez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819" name="Google Shape;7819;p104"/>
                <p:cNvSpPr/>
                <p:nvPr/>
              </p:nvSpPr>
              <p:spPr>
                <a:xfrm>
                  <a:off x="3868176" y="3587072"/>
                  <a:ext cx="13040" cy="13040"/>
                </a:xfrm>
                <a:custGeom>
                  <a:avLst/>
                  <a:gdLst/>
                  <a:ahLst/>
                  <a:cxnLst/>
                  <a:rect l="l" t="t" r="r" b="b"/>
                  <a:pathLst>
                    <a:path w="1658" h="1658" extrusionOk="0">
                      <a:moveTo>
                        <a:pt x="823" y="1"/>
                      </a:moveTo>
                      <a:cubicBezTo>
                        <a:pt x="363" y="1"/>
                        <a:pt x="1" y="376"/>
                        <a:pt x="1" y="835"/>
                      </a:cubicBezTo>
                      <a:cubicBezTo>
                        <a:pt x="1" y="1295"/>
                        <a:pt x="363" y="1658"/>
                        <a:pt x="823" y="1658"/>
                      </a:cubicBezTo>
                      <a:cubicBezTo>
                        <a:pt x="1283" y="1658"/>
                        <a:pt x="1658" y="1295"/>
                        <a:pt x="1658" y="835"/>
                      </a:cubicBezTo>
                      <a:cubicBezTo>
                        <a:pt x="1658" y="376"/>
                        <a:pt x="1283" y="1"/>
                        <a:pt x="823" y="1"/>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7820" name="Google Shape;7820;p104"/>
              <p:cNvGrpSpPr/>
              <p:nvPr/>
            </p:nvGrpSpPr>
            <p:grpSpPr>
              <a:xfrm>
                <a:off x="4039908" y="3412107"/>
                <a:ext cx="37776" cy="32357"/>
                <a:chOff x="4039908" y="3412107"/>
                <a:chExt cx="37776" cy="32357"/>
              </a:xfrm>
            </p:grpSpPr>
            <p:sp>
              <p:nvSpPr>
                <p:cNvPr id="7821" name="Google Shape;7821;p104"/>
                <p:cNvSpPr/>
                <p:nvPr/>
              </p:nvSpPr>
              <p:spPr>
                <a:xfrm>
                  <a:off x="4039908" y="3412107"/>
                  <a:ext cx="37776" cy="32357"/>
                </a:xfrm>
                <a:custGeom>
                  <a:avLst/>
                  <a:gdLst/>
                  <a:ahLst/>
                  <a:cxnLst/>
                  <a:rect l="l" t="t" r="r" b="b"/>
                  <a:pathLst>
                    <a:path w="4803" h="4114" extrusionOk="0">
                      <a:moveTo>
                        <a:pt x="2732" y="0"/>
                      </a:moveTo>
                      <a:cubicBezTo>
                        <a:pt x="2227" y="0"/>
                        <a:pt x="1713" y="187"/>
                        <a:pt x="1295" y="605"/>
                      </a:cubicBezTo>
                      <a:cubicBezTo>
                        <a:pt x="0" y="1900"/>
                        <a:pt x="920" y="4114"/>
                        <a:pt x="2746" y="4114"/>
                      </a:cubicBezTo>
                      <a:cubicBezTo>
                        <a:pt x="3883" y="4114"/>
                        <a:pt x="4803" y="3194"/>
                        <a:pt x="4803" y="2057"/>
                      </a:cubicBezTo>
                      <a:cubicBezTo>
                        <a:pt x="4803" y="821"/>
                        <a:pt x="3789" y="0"/>
                        <a:pt x="2732" y="0"/>
                      </a:cubicBez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822" name="Google Shape;7822;p104"/>
                <p:cNvSpPr/>
                <p:nvPr/>
              </p:nvSpPr>
              <p:spPr>
                <a:xfrm>
                  <a:off x="4055033" y="3421812"/>
                  <a:ext cx="13040" cy="13040"/>
                </a:xfrm>
                <a:custGeom>
                  <a:avLst/>
                  <a:gdLst/>
                  <a:ahLst/>
                  <a:cxnLst/>
                  <a:rect l="l" t="t" r="r" b="b"/>
                  <a:pathLst>
                    <a:path w="1658" h="1658" extrusionOk="0">
                      <a:moveTo>
                        <a:pt x="823" y="1"/>
                      </a:moveTo>
                      <a:cubicBezTo>
                        <a:pt x="363" y="1"/>
                        <a:pt x="1" y="363"/>
                        <a:pt x="1" y="823"/>
                      </a:cubicBezTo>
                      <a:cubicBezTo>
                        <a:pt x="1" y="1283"/>
                        <a:pt x="363" y="1658"/>
                        <a:pt x="823" y="1658"/>
                      </a:cubicBezTo>
                      <a:cubicBezTo>
                        <a:pt x="1283" y="1658"/>
                        <a:pt x="1658" y="1283"/>
                        <a:pt x="1658" y="823"/>
                      </a:cubicBezTo>
                      <a:cubicBezTo>
                        <a:pt x="1658" y="363"/>
                        <a:pt x="1283" y="1"/>
                        <a:pt x="823" y="1"/>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7823" name="Google Shape;7823;p104"/>
              <p:cNvGrpSpPr/>
              <p:nvPr/>
            </p:nvGrpSpPr>
            <p:grpSpPr>
              <a:xfrm>
                <a:off x="4017360" y="3342061"/>
                <a:ext cx="37870" cy="32380"/>
                <a:chOff x="4017360" y="3342061"/>
                <a:chExt cx="37870" cy="32380"/>
              </a:xfrm>
            </p:grpSpPr>
            <p:sp>
              <p:nvSpPr>
                <p:cNvPr id="7824" name="Google Shape;7824;p104"/>
                <p:cNvSpPr/>
                <p:nvPr/>
              </p:nvSpPr>
              <p:spPr>
                <a:xfrm>
                  <a:off x="4017360" y="3342061"/>
                  <a:ext cx="37870" cy="32380"/>
                </a:xfrm>
                <a:custGeom>
                  <a:avLst/>
                  <a:gdLst/>
                  <a:ahLst/>
                  <a:cxnLst/>
                  <a:rect l="l" t="t" r="r" b="b"/>
                  <a:pathLst>
                    <a:path w="4815" h="4117" extrusionOk="0">
                      <a:moveTo>
                        <a:pt x="2749" y="0"/>
                      </a:moveTo>
                      <a:cubicBezTo>
                        <a:pt x="2243" y="0"/>
                        <a:pt x="1726" y="189"/>
                        <a:pt x="1307" y="608"/>
                      </a:cubicBezTo>
                      <a:cubicBezTo>
                        <a:pt x="0" y="1903"/>
                        <a:pt x="920" y="4116"/>
                        <a:pt x="2758" y="4116"/>
                      </a:cubicBezTo>
                      <a:cubicBezTo>
                        <a:pt x="3895" y="4116"/>
                        <a:pt x="4815" y="3197"/>
                        <a:pt x="4815" y="2060"/>
                      </a:cubicBezTo>
                      <a:cubicBezTo>
                        <a:pt x="4815" y="817"/>
                        <a:pt x="3804" y="0"/>
                        <a:pt x="2749" y="0"/>
                      </a:cubicBez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825" name="Google Shape;7825;p104"/>
                <p:cNvSpPr/>
                <p:nvPr/>
              </p:nvSpPr>
              <p:spPr>
                <a:xfrm>
                  <a:off x="4032484" y="3351790"/>
                  <a:ext cx="13040" cy="13040"/>
                </a:xfrm>
                <a:custGeom>
                  <a:avLst/>
                  <a:gdLst/>
                  <a:ahLst/>
                  <a:cxnLst/>
                  <a:rect l="l" t="t" r="r" b="b"/>
                  <a:pathLst>
                    <a:path w="1658" h="1658" extrusionOk="0">
                      <a:moveTo>
                        <a:pt x="835" y="0"/>
                      </a:moveTo>
                      <a:cubicBezTo>
                        <a:pt x="376" y="0"/>
                        <a:pt x="1" y="363"/>
                        <a:pt x="1" y="823"/>
                      </a:cubicBezTo>
                      <a:cubicBezTo>
                        <a:pt x="1" y="1283"/>
                        <a:pt x="376" y="1658"/>
                        <a:pt x="835" y="1658"/>
                      </a:cubicBezTo>
                      <a:cubicBezTo>
                        <a:pt x="1295" y="1658"/>
                        <a:pt x="1658" y="1283"/>
                        <a:pt x="1658" y="823"/>
                      </a:cubicBezTo>
                      <a:cubicBezTo>
                        <a:pt x="1658" y="363"/>
                        <a:pt x="1295" y="0"/>
                        <a:pt x="835" y="0"/>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sp>
            <p:nvSpPr>
              <p:cNvPr id="7826" name="Google Shape;7826;p104"/>
              <p:cNvSpPr/>
              <p:nvPr/>
            </p:nvSpPr>
            <p:spPr>
              <a:xfrm>
                <a:off x="3998712" y="3520180"/>
                <a:ext cx="47764" cy="40929"/>
              </a:xfrm>
              <a:custGeom>
                <a:avLst/>
                <a:gdLst/>
                <a:ahLst/>
                <a:cxnLst/>
                <a:rect l="l" t="t" r="r" b="b"/>
                <a:pathLst>
                  <a:path w="6073" h="5204" extrusionOk="0">
                    <a:moveTo>
                      <a:pt x="3457" y="0"/>
                    </a:moveTo>
                    <a:cubicBezTo>
                      <a:pt x="2821" y="0"/>
                      <a:pt x="2173" y="236"/>
                      <a:pt x="1645" y="764"/>
                    </a:cubicBezTo>
                    <a:cubicBezTo>
                      <a:pt x="0" y="2397"/>
                      <a:pt x="1162" y="5191"/>
                      <a:pt x="3472" y="5203"/>
                    </a:cubicBezTo>
                    <a:cubicBezTo>
                      <a:pt x="4899" y="5191"/>
                      <a:pt x="6061" y="4030"/>
                      <a:pt x="6073" y="2602"/>
                    </a:cubicBezTo>
                    <a:cubicBezTo>
                      <a:pt x="6073" y="1038"/>
                      <a:pt x="4792" y="0"/>
                      <a:pt x="3457" y="0"/>
                    </a:cubicBez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827" name="Google Shape;7827;p104"/>
              <p:cNvSpPr/>
              <p:nvPr/>
            </p:nvSpPr>
            <p:spPr>
              <a:xfrm>
                <a:off x="4011744" y="3529893"/>
                <a:ext cx="25026" cy="21448"/>
              </a:xfrm>
              <a:custGeom>
                <a:avLst/>
                <a:gdLst/>
                <a:ahLst/>
                <a:cxnLst/>
                <a:rect l="l" t="t" r="r" b="b"/>
                <a:pathLst>
                  <a:path w="3182" h="2727" extrusionOk="0">
                    <a:moveTo>
                      <a:pt x="1815" y="0"/>
                    </a:moveTo>
                    <a:cubicBezTo>
                      <a:pt x="605" y="0"/>
                      <a:pt x="1" y="1464"/>
                      <a:pt x="847" y="2323"/>
                    </a:cubicBezTo>
                    <a:cubicBezTo>
                      <a:pt x="1126" y="2601"/>
                      <a:pt x="1468" y="2726"/>
                      <a:pt x="1803" y="2726"/>
                    </a:cubicBezTo>
                    <a:cubicBezTo>
                      <a:pt x="2503" y="2726"/>
                      <a:pt x="3174" y="2185"/>
                      <a:pt x="3182" y="1367"/>
                    </a:cubicBezTo>
                    <a:cubicBezTo>
                      <a:pt x="3182" y="605"/>
                      <a:pt x="2565" y="0"/>
                      <a:pt x="1815" y="0"/>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nvGrpSpPr>
              <p:cNvPr id="7828" name="Google Shape;7828;p104"/>
              <p:cNvGrpSpPr/>
              <p:nvPr/>
            </p:nvGrpSpPr>
            <p:grpSpPr>
              <a:xfrm>
                <a:off x="3750870" y="3418650"/>
                <a:ext cx="37776" cy="32380"/>
                <a:chOff x="3750870" y="3418650"/>
                <a:chExt cx="37776" cy="32380"/>
              </a:xfrm>
            </p:grpSpPr>
            <p:sp>
              <p:nvSpPr>
                <p:cNvPr id="7829" name="Google Shape;7829;p104"/>
                <p:cNvSpPr/>
                <p:nvPr/>
              </p:nvSpPr>
              <p:spPr>
                <a:xfrm>
                  <a:off x="3750870" y="3418650"/>
                  <a:ext cx="37776" cy="32380"/>
                </a:xfrm>
                <a:custGeom>
                  <a:avLst/>
                  <a:gdLst/>
                  <a:ahLst/>
                  <a:cxnLst/>
                  <a:rect l="l" t="t" r="r" b="b"/>
                  <a:pathLst>
                    <a:path w="4803" h="4117" extrusionOk="0">
                      <a:moveTo>
                        <a:pt x="2737" y="0"/>
                      </a:moveTo>
                      <a:cubicBezTo>
                        <a:pt x="2231" y="0"/>
                        <a:pt x="1714" y="188"/>
                        <a:pt x="1295" y="608"/>
                      </a:cubicBezTo>
                      <a:cubicBezTo>
                        <a:pt x="0" y="1903"/>
                        <a:pt x="920" y="4116"/>
                        <a:pt x="2746" y="4116"/>
                      </a:cubicBezTo>
                      <a:cubicBezTo>
                        <a:pt x="3883" y="4104"/>
                        <a:pt x="4803" y="3185"/>
                        <a:pt x="4803" y="2060"/>
                      </a:cubicBezTo>
                      <a:cubicBezTo>
                        <a:pt x="4803" y="817"/>
                        <a:pt x="3792" y="0"/>
                        <a:pt x="2737" y="0"/>
                      </a:cubicBez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830" name="Google Shape;7830;p104"/>
                <p:cNvSpPr/>
                <p:nvPr/>
              </p:nvSpPr>
              <p:spPr>
                <a:xfrm>
                  <a:off x="3765994" y="3428285"/>
                  <a:ext cx="13040" cy="13040"/>
                </a:xfrm>
                <a:custGeom>
                  <a:avLst/>
                  <a:gdLst/>
                  <a:ahLst/>
                  <a:cxnLst/>
                  <a:rect l="l" t="t" r="r" b="b"/>
                  <a:pathLst>
                    <a:path w="1658" h="1658" extrusionOk="0">
                      <a:moveTo>
                        <a:pt x="823" y="0"/>
                      </a:moveTo>
                      <a:cubicBezTo>
                        <a:pt x="363" y="0"/>
                        <a:pt x="1" y="375"/>
                        <a:pt x="1" y="835"/>
                      </a:cubicBezTo>
                      <a:cubicBezTo>
                        <a:pt x="1" y="1294"/>
                        <a:pt x="363" y="1657"/>
                        <a:pt x="823" y="1657"/>
                      </a:cubicBezTo>
                      <a:cubicBezTo>
                        <a:pt x="1283" y="1657"/>
                        <a:pt x="1658" y="1294"/>
                        <a:pt x="1658" y="835"/>
                      </a:cubicBezTo>
                      <a:cubicBezTo>
                        <a:pt x="1658" y="375"/>
                        <a:pt x="1283" y="0"/>
                        <a:pt x="823" y="0"/>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7831" name="Google Shape;7831;p104"/>
              <p:cNvGrpSpPr/>
              <p:nvPr/>
            </p:nvGrpSpPr>
            <p:grpSpPr>
              <a:xfrm>
                <a:off x="3632509" y="3274438"/>
                <a:ext cx="37783" cy="32357"/>
                <a:chOff x="3632509" y="3274438"/>
                <a:chExt cx="37783" cy="32357"/>
              </a:xfrm>
            </p:grpSpPr>
            <p:sp>
              <p:nvSpPr>
                <p:cNvPr id="7832" name="Google Shape;7832;p104"/>
                <p:cNvSpPr/>
                <p:nvPr/>
              </p:nvSpPr>
              <p:spPr>
                <a:xfrm>
                  <a:off x="3632509" y="3274438"/>
                  <a:ext cx="37783" cy="32357"/>
                </a:xfrm>
                <a:custGeom>
                  <a:avLst/>
                  <a:gdLst/>
                  <a:ahLst/>
                  <a:cxnLst/>
                  <a:rect l="l" t="t" r="r" b="b"/>
                  <a:pathLst>
                    <a:path w="4804" h="4114" extrusionOk="0">
                      <a:moveTo>
                        <a:pt x="2732" y="0"/>
                      </a:moveTo>
                      <a:cubicBezTo>
                        <a:pt x="2228" y="0"/>
                        <a:pt x="1713" y="187"/>
                        <a:pt x="1295" y="605"/>
                      </a:cubicBezTo>
                      <a:cubicBezTo>
                        <a:pt x="1" y="1900"/>
                        <a:pt x="908" y="4114"/>
                        <a:pt x="2747" y="4114"/>
                      </a:cubicBezTo>
                      <a:cubicBezTo>
                        <a:pt x="3872" y="4114"/>
                        <a:pt x="4791" y="3194"/>
                        <a:pt x="4803" y="2057"/>
                      </a:cubicBezTo>
                      <a:cubicBezTo>
                        <a:pt x="4803" y="821"/>
                        <a:pt x="3789" y="0"/>
                        <a:pt x="2732" y="0"/>
                      </a:cubicBez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833" name="Google Shape;7833;p104"/>
                <p:cNvSpPr/>
                <p:nvPr/>
              </p:nvSpPr>
              <p:spPr>
                <a:xfrm>
                  <a:off x="3647547" y="3284049"/>
                  <a:ext cx="13040" cy="13040"/>
                </a:xfrm>
                <a:custGeom>
                  <a:avLst/>
                  <a:gdLst/>
                  <a:ahLst/>
                  <a:cxnLst/>
                  <a:rect l="l" t="t" r="r" b="b"/>
                  <a:pathLst>
                    <a:path w="1658" h="1658" extrusionOk="0">
                      <a:moveTo>
                        <a:pt x="835" y="0"/>
                      </a:moveTo>
                      <a:cubicBezTo>
                        <a:pt x="375" y="0"/>
                        <a:pt x="0" y="375"/>
                        <a:pt x="0" y="835"/>
                      </a:cubicBezTo>
                      <a:cubicBezTo>
                        <a:pt x="0" y="1295"/>
                        <a:pt x="375" y="1658"/>
                        <a:pt x="835" y="1658"/>
                      </a:cubicBezTo>
                      <a:cubicBezTo>
                        <a:pt x="1282" y="1658"/>
                        <a:pt x="1657" y="1295"/>
                        <a:pt x="1657" y="835"/>
                      </a:cubicBezTo>
                      <a:cubicBezTo>
                        <a:pt x="1657" y="375"/>
                        <a:pt x="1282" y="0"/>
                        <a:pt x="835" y="0"/>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7834" name="Google Shape;7834;p104"/>
              <p:cNvGrpSpPr/>
              <p:nvPr/>
            </p:nvGrpSpPr>
            <p:grpSpPr>
              <a:xfrm>
                <a:off x="3906424" y="3297561"/>
                <a:ext cx="37776" cy="32451"/>
                <a:chOff x="3906424" y="3297561"/>
                <a:chExt cx="37776" cy="32451"/>
              </a:xfrm>
            </p:grpSpPr>
            <p:sp>
              <p:nvSpPr>
                <p:cNvPr id="7835" name="Google Shape;7835;p104"/>
                <p:cNvSpPr/>
                <p:nvPr/>
              </p:nvSpPr>
              <p:spPr>
                <a:xfrm>
                  <a:off x="3906424" y="3297561"/>
                  <a:ext cx="37776" cy="32451"/>
                </a:xfrm>
                <a:custGeom>
                  <a:avLst/>
                  <a:gdLst/>
                  <a:ahLst/>
                  <a:cxnLst/>
                  <a:rect l="l" t="t" r="r" b="b"/>
                  <a:pathLst>
                    <a:path w="4803" h="4126" extrusionOk="0">
                      <a:moveTo>
                        <a:pt x="2730" y="0"/>
                      </a:moveTo>
                      <a:cubicBezTo>
                        <a:pt x="2226" y="0"/>
                        <a:pt x="1713" y="187"/>
                        <a:pt x="1295" y="605"/>
                      </a:cubicBezTo>
                      <a:cubicBezTo>
                        <a:pt x="0" y="1899"/>
                        <a:pt x="920" y="4125"/>
                        <a:pt x="2746" y="4125"/>
                      </a:cubicBezTo>
                      <a:cubicBezTo>
                        <a:pt x="3883" y="4113"/>
                        <a:pt x="4803" y="3194"/>
                        <a:pt x="4803" y="2069"/>
                      </a:cubicBezTo>
                      <a:cubicBezTo>
                        <a:pt x="4803" y="824"/>
                        <a:pt x="3788" y="0"/>
                        <a:pt x="2730" y="0"/>
                      </a:cubicBez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836" name="Google Shape;7836;p104"/>
                <p:cNvSpPr/>
                <p:nvPr/>
              </p:nvSpPr>
              <p:spPr>
                <a:xfrm>
                  <a:off x="3921548" y="3307361"/>
                  <a:ext cx="13048" cy="13040"/>
                </a:xfrm>
                <a:custGeom>
                  <a:avLst/>
                  <a:gdLst/>
                  <a:ahLst/>
                  <a:cxnLst/>
                  <a:rect l="l" t="t" r="r" b="b"/>
                  <a:pathLst>
                    <a:path w="1659" h="1658" extrusionOk="0">
                      <a:moveTo>
                        <a:pt x="823" y="0"/>
                      </a:moveTo>
                      <a:cubicBezTo>
                        <a:pt x="364" y="0"/>
                        <a:pt x="1" y="363"/>
                        <a:pt x="1" y="823"/>
                      </a:cubicBezTo>
                      <a:cubicBezTo>
                        <a:pt x="1" y="1282"/>
                        <a:pt x="364" y="1657"/>
                        <a:pt x="823" y="1657"/>
                      </a:cubicBezTo>
                      <a:cubicBezTo>
                        <a:pt x="1283" y="1657"/>
                        <a:pt x="1658" y="1282"/>
                        <a:pt x="1658" y="823"/>
                      </a:cubicBezTo>
                      <a:cubicBezTo>
                        <a:pt x="1658" y="363"/>
                        <a:pt x="1283" y="0"/>
                        <a:pt x="823" y="0"/>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7837" name="Google Shape;7837;p104"/>
              <p:cNvGrpSpPr/>
              <p:nvPr/>
            </p:nvGrpSpPr>
            <p:grpSpPr>
              <a:xfrm>
                <a:off x="3866084" y="3412107"/>
                <a:ext cx="37776" cy="32357"/>
                <a:chOff x="3866084" y="3412107"/>
                <a:chExt cx="37776" cy="32357"/>
              </a:xfrm>
            </p:grpSpPr>
            <p:sp>
              <p:nvSpPr>
                <p:cNvPr id="7838" name="Google Shape;7838;p104"/>
                <p:cNvSpPr/>
                <p:nvPr/>
              </p:nvSpPr>
              <p:spPr>
                <a:xfrm>
                  <a:off x="3866084" y="3412107"/>
                  <a:ext cx="37776" cy="32357"/>
                </a:xfrm>
                <a:custGeom>
                  <a:avLst/>
                  <a:gdLst/>
                  <a:ahLst/>
                  <a:cxnLst/>
                  <a:rect l="l" t="t" r="r" b="b"/>
                  <a:pathLst>
                    <a:path w="4803" h="4114" extrusionOk="0">
                      <a:moveTo>
                        <a:pt x="2732" y="0"/>
                      </a:moveTo>
                      <a:cubicBezTo>
                        <a:pt x="2227" y="0"/>
                        <a:pt x="1713" y="187"/>
                        <a:pt x="1295" y="605"/>
                      </a:cubicBezTo>
                      <a:cubicBezTo>
                        <a:pt x="0" y="1900"/>
                        <a:pt x="920" y="4114"/>
                        <a:pt x="2746" y="4114"/>
                      </a:cubicBezTo>
                      <a:cubicBezTo>
                        <a:pt x="3883" y="4114"/>
                        <a:pt x="4803" y="3194"/>
                        <a:pt x="4803" y="2057"/>
                      </a:cubicBezTo>
                      <a:cubicBezTo>
                        <a:pt x="4803" y="821"/>
                        <a:pt x="3789" y="0"/>
                        <a:pt x="2732" y="0"/>
                      </a:cubicBez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839" name="Google Shape;7839;p104"/>
                <p:cNvSpPr/>
                <p:nvPr/>
              </p:nvSpPr>
              <p:spPr>
                <a:xfrm>
                  <a:off x="3881208" y="3421812"/>
                  <a:ext cx="13048" cy="13040"/>
                </a:xfrm>
                <a:custGeom>
                  <a:avLst/>
                  <a:gdLst/>
                  <a:ahLst/>
                  <a:cxnLst/>
                  <a:rect l="l" t="t" r="r" b="b"/>
                  <a:pathLst>
                    <a:path w="1659" h="1658" extrusionOk="0">
                      <a:moveTo>
                        <a:pt x="823" y="1"/>
                      </a:moveTo>
                      <a:cubicBezTo>
                        <a:pt x="364" y="1"/>
                        <a:pt x="1" y="363"/>
                        <a:pt x="1" y="823"/>
                      </a:cubicBezTo>
                      <a:cubicBezTo>
                        <a:pt x="1" y="1283"/>
                        <a:pt x="364" y="1658"/>
                        <a:pt x="823" y="1658"/>
                      </a:cubicBezTo>
                      <a:cubicBezTo>
                        <a:pt x="1283" y="1658"/>
                        <a:pt x="1658" y="1283"/>
                        <a:pt x="1658" y="823"/>
                      </a:cubicBezTo>
                      <a:cubicBezTo>
                        <a:pt x="1658" y="363"/>
                        <a:pt x="1283" y="1"/>
                        <a:pt x="823" y="1"/>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7840" name="Google Shape;7840;p104"/>
              <p:cNvGrpSpPr/>
              <p:nvPr/>
            </p:nvGrpSpPr>
            <p:grpSpPr>
              <a:xfrm>
                <a:off x="4023919" y="3766409"/>
                <a:ext cx="37783" cy="32357"/>
                <a:chOff x="4023919" y="3766409"/>
                <a:chExt cx="37783" cy="32357"/>
              </a:xfrm>
            </p:grpSpPr>
            <p:sp>
              <p:nvSpPr>
                <p:cNvPr id="7841" name="Google Shape;7841;p104"/>
                <p:cNvSpPr/>
                <p:nvPr/>
              </p:nvSpPr>
              <p:spPr>
                <a:xfrm>
                  <a:off x="4023919" y="3766409"/>
                  <a:ext cx="37783" cy="32357"/>
                </a:xfrm>
                <a:custGeom>
                  <a:avLst/>
                  <a:gdLst/>
                  <a:ahLst/>
                  <a:cxnLst/>
                  <a:rect l="l" t="t" r="r" b="b"/>
                  <a:pathLst>
                    <a:path w="4804" h="4114" extrusionOk="0">
                      <a:moveTo>
                        <a:pt x="2732" y="0"/>
                      </a:moveTo>
                      <a:cubicBezTo>
                        <a:pt x="2228" y="0"/>
                        <a:pt x="1714" y="187"/>
                        <a:pt x="1295" y="606"/>
                      </a:cubicBezTo>
                      <a:cubicBezTo>
                        <a:pt x="1" y="1900"/>
                        <a:pt x="920" y="4114"/>
                        <a:pt x="2747" y="4114"/>
                      </a:cubicBezTo>
                      <a:cubicBezTo>
                        <a:pt x="3884" y="4114"/>
                        <a:pt x="4803" y="3194"/>
                        <a:pt x="4803" y="2057"/>
                      </a:cubicBezTo>
                      <a:cubicBezTo>
                        <a:pt x="4803" y="821"/>
                        <a:pt x="3789" y="0"/>
                        <a:pt x="2732" y="0"/>
                      </a:cubicBez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842" name="Google Shape;7842;p104"/>
                <p:cNvSpPr/>
                <p:nvPr/>
              </p:nvSpPr>
              <p:spPr>
                <a:xfrm>
                  <a:off x="4039051" y="3776115"/>
                  <a:ext cx="13040" cy="13048"/>
                </a:xfrm>
                <a:custGeom>
                  <a:avLst/>
                  <a:gdLst/>
                  <a:ahLst/>
                  <a:cxnLst/>
                  <a:rect l="l" t="t" r="r" b="b"/>
                  <a:pathLst>
                    <a:path w="1658" h="1659" extrusionOk="0">
                      <a:moveTo>
                        <a:pt x="823" y="1"/>
                      </a:moveTo>
                      <a:cubicBezTo>
                        <a:pt x="363" y="1"/>
                        <a:pt x="0" y="376"/>
                        <a:pt x="0" y="823"/>
                      </a:cubicBezTo>
                      <a:cubicBezTo>
                        <a:pt x="0" y="1283"/>
                        <a:pt x="363" y="1658"/>
                        <a:pt x="823" y="1658"/>
                      </a:cubicBezTo>
                      <a:cubicBezTo>
                        <a:pt x="1283" y="1658"/>
                        <a:pt x="1658" y="1283"/>
                        <a:pt x="1658" y="823"/>
                      </a:cubicBezTo>
                      <a:cubicBezTo>
                        <a:pt x="1658" y="376"/>
                        <a:pt x="1283" y="1"/>
                        <a:pt x="823" y="1"/>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7843" name="Google Shape;7843;p104"/>
              <p:cNvGrpSpPr/>
              <p:nvPr/>
            </p:nvGrpSpPr>
            <p:grpSpPr>
              <a:xfrm>
                <a:off x="3973882" y="3779449"/>
                <a:ext cx="37776" cy="32357"/>
                <a:chOff x="3973882" y="3779449"/>
                <a:chExt cx="37776" cy="32357"/>
              </a:xfrm>
            </p:grpSpPr>
            <p:sp>
              <p:nvSpPr>
                <p:cNvPr id="7844" name="Google Shape;7844;p104"/>
                <p:cNvSpPr/>
                <p:nvPr/>
              </p:nvSpPr>
              <p:spPr>
                <a:xfrm>
                  <a:off x="3973882" y="3779449"/>
                  <a:ext cx="37776" cy="32357"/>
                </a:xfrm>
                <a:custGeom>
                  <a:avLst/>
                  <a:gdLst/>
                  <a:ahLst/>
                  <a:cxnLst/>
                  <a:rect l="l" t="t" r="r" b="b"/>
                  <a:pathLst>
                    <a:path w="4803" h="4114" extrusionOk="0">
                      <a:moveTo>
                        <a:pt x="2730" y="0"/>
                      </a:moveTo>
                      <a:cubicBezTo>
                        <a:pt x="2226" y="0"/>
                        <a:pt x="1712" y="187"/>
                        <a:pt x="1294" y="605"/>
                      </a:cubicBezTo>
                      <a:cubicBezTo>
                        <a:pt x="0" y="1899"/>
                        <a:pt x="919" y="4113"/>
                        <a:pt x="2746" y="4113"/>
                      </a:cubicBezTo>
                      <a:cubicBezTo>
                        <a:pt x="3883" y="4113"/>
                        <a:pt x="4802" y="3194"/>
                        <a:pt x="4802" y="2069"/>
                      </a:cubicBezTo>
                      <a:cubicBezTo>
                        <a:pt x="4802" y="824"/>
                        <a:pt x="3787" y="0"/>
                        <a:pt x="2730" y="0"/>
                      </a:cubicBez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845" name="Google Shape;7845;p104"/>
                <p:cNvSpPr/>
                <p:nvPr/>
              </p:nvSpPr>
              <p:spPr>
                <a:xfrm>
                  <a:off x="3989006" y="3789155"/>
                  <a:ext cx="13040" cy="13040"/>
                </a:xfrm>
                <a:custGeom>
                  <a:avLst/>
                  <a:gdLst/>
                  <a:ahLst/>
                  <a:cxnLst/>
                  <a:rect l="l" t="t" r="r" b="b"/>
                  <a:pathLst>
                    <a:path w="1658" h="1658" extrusionOk="0">
                      <a:moveTo>
                        <a:pt x="823" y="0"/>
                      </a:moveTo>
                      <a:cubicBezTo>
                        <a:pt x="363" y="0"/>
                        <a:pt x="0" y="375"/>
                        <a:pt x="0" y="823"/>
                      </a:cubicBezTo>
                      <a:cubicBezTo>
                        <a:pt x="0" y="1282"/>
                        <a:pt x="363" y="1657"/>
                        <a:pt x="823" y="1657"/>
                      </a:cubicBezTo>
                      <a:cubicBezTo>
                        <a:pt x="1283" y="1657"/>
                        <a:pt x="1658" y="1282"/>
                        <a:pt x="1658" y="823"/>
                      </a:cubicBezTo>
                      <a:cubicBezTo>
                        <a:pt x="1658" y="375"/>
                        <a:pt x="1283" y="0"/>
                        <a:pt x="823" y="0"/>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7846" name="Google Shape;7846;p104"/>
              <p:cNvGrpSpPr/>
              <p:nvPr/>
            </p:nvGrpSpPr>
            <p:grpSpPr>
              <a:xfrm>
                <a:off x="4073398" y="3838028"/>
                <a:ext cx="37776" cy="32380"/>
                <a:chOff x="4073398" y="3838028"/>
                <a:chExt cx="37776" cy="32380"/>
              </a:xfrm>
            </p:grpSpPr>
            <p:sp>
              <p:nvSpPr>
                <p:cNvPr id="7847" name="Google Shape;7847;p104"/>
                <p:cNvSpPr/>
                <p:nvPr/>
              </p:nvSpPr>
              <p:spPr>
                <a:xfrm>
                  <a:off x="4073398" y="3838028"/>
                  <a:ext cx="37776" cy="32380"/>
                </a:xfrm>
                <a:custGeom>
                  <a:avLst/>
                  <a:gdLst/>
                  <a:ahLst/>
                  <a:cxnLst/>
                  <a:rect l="l" t="t" r="r" b="b"/>
                  <a:pathLst>
                    <a:path w="4803" h="4117" extrusionOk="0">
                      <a:moveTo>
                        <a:pt x="2737" y="1"/>
                      </a:moveTo>
                      <a:cubicBezTo>
                        <a:pt x="2231" y="1"/>
                        <a:pt x="1714" y="189"/>
                        <a:pt x="1295" y="609"/>
                      </a:cubicBezTo>
                      <a:cubicBezTo>
                        <a:pt x="0" y="1891"/>
                        <a:pt x="920" y="4105"/>
                        <a:pt x="2746" y="4117"/>
                      </a:cubicBezTo>
                      <a:cubicBezTo>
                        <a:pt x="3883" y="4105"/>
                        <a:pt x="4803" y="3185"/>
                        <a:pt x="4803" y="2060"/>
                      </a:cubicBezTo>
                      <a:cubicBezTo>
                        <a:pt x="4803" y="818"/>
                        <a:pt x="3792" y="1"/>
                        <a:pt x="2737" y="1"/>
                      </a:cubicBez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848" name="Google Shape;7848;p104"/>
                <p:cNvSpPr/>
                <p:nvPr/>
              </p:nvSpPr>
              <p:spPr>
                <a:xfrm>
                  <a:off x="4088428" y="3847663"/>
                  <a:ext cx="13040" cy="13040"/>
                </a:xfrm>
                <a:custGeom>
                  <a:avLst/>
                  <a:gdLst/>
                  <a:ahLst/>
                  <a:cxnLst/>
                  <a:rect l="l" t="t" r="r" b="b"/>
                  <a:pathLst>
                    <a:path w="1658" h="1658" extrusionOk="0">
                      <a:moveTo>
                        <a:pt x="835" y="1"/>
                      </a:moveTo>
                      <a:cubicBezTo>
                        <a:pt x="376" y="1"/>
                        <a:pt x="1" y="376"/>
                        <a:pt x="1" y="835"/>
                      </a:cubicBezTo>
                      <a:cubicBezTo>
                        <a:pt x="1" y="1283"/>
                        <a:pt x="376" y="1658"/>
                        <a:pt x="835" y="1658"/>
                      </a:cubicBezTo>
                      <a:cubicBezTo>
                        <a:pt x="1295" y="1658"/>
                        <a:pt x="1658" y="1283"/>
                        <a:pt x="1658" y="835"/>
                      </a:cubicBezTo>
                      <a:cubicBezTo>
                        <a:pt x="1658" y="376"/>
                        <a:pt x="1295" y="1"/>
                        <a:pt x="835" y="1"/>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7849" name="Google Shape;7849;p104"/>
              <p:cNvGrpSpPr/>
              <p:nvPr/>
            </p:nvGrpSpPr>
            <p:grpSpPr>
              <a:xfrm>
                <a:off x="4342672" y="4144496"/>
                <a:ext cx="37752" cy="32364"/>
                <a:chOff x="4342672" y="4144496"/>
                <a:chExt cx="37752" cy="32364"/>
              </a:xfrm>
            </p:grpSpPr>
            <p:sp>
              <p:nvSpPr>
                <p:cNvPr id="7850" name="Google Shape;7850;p104"/>
                <p:cNvSpPr/>
                <p:nvPr/>
              </p:nvSpPr>
              <p:spPr>
                <a:xfrm>
                  <a:off x="4342672" y="4144496"/>
                  <a:ext cx="37752" cy="32364"/>
                </a:xfrm>
                <a:custGeom>
                  <a:avLst/>
                  <a:gdLst/>
                  <a:ahLst/>
                  <a:cxnLst/>
                  <a:rect l="l" t="t" r="r" b="b"/>
                  <a:pathLst>
                    <a:path w="4800" h="4115" extrusionOk="0">
                      <a:moveTo>
                        <a:pt x="2729" y="1"/>
                      </a:moveTo>
                      <a:cubicBezTo>
                        <a:pt x="2224" y="1"/>
                        <a:pt x="1710" y="188"/>
                        <a:pt x="1291" y="606"/>
                      </a:cubicBezTo>
                      <a:cubicBezTo>
                        <a:pt x="1" y="1897"/>
                        <a:pt x="912" y="4114"/>
                        <a:pt x="2740" y="4114"/>
                      </a:cubicBezTo>
                      <a:cubicBezTo>
                        <a:pt x="2745" y="4114"/>
                        <a:pt x="2750" y="4114"/>
                        <a:pt x="2755" y="4114"/>
                      </a:cubicBezTo>
                      <a:cubicBezTo>
                        <a:pt x="3880" y="4114"/>
                        <a:pt x="4800" y="3195"/>
                        <a:pt x="4800" y="2058"/>
                      </a:cubicBezTo>
                      <a:cubicBezTo>
                        <a:pt x="4800" y="822"/>
                        <a:pt x="3785" y="1"/>
                        <a:pt x="2729" y="1"/>
                      </a:cubicBez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851" name="Google Shape;7851;p104"/>
                <p:cNvSpPr/>
                <p:nvPr/>
              </p:nvSpPr>
              <p:spPr>
                <a:xfrm>
                  <a:off x="4355586" y="4154209"/>
                  <a:ext cx="15227" cy="13040"/>
                </a:xfrm>
                <a:custGeom>
                  <a:avLst/>
                  <a:gdLst/>
                  <a:ahLst/>
                  <a:cxnLst/>
                  <a:rect l="l" t="t" r="r" b="b"/>
                  <a:pathLst>
                    <a:path w="1936" h="1658" extrusionOk="0">
                      <a:moveTo>
                        <a:pt x="1101" y="0"/>
                      </a:moveTo>
                      <a:cubicBezTo>
                        <a:pt x="363" y="0"/>
                        <a:pt x="0" y="895"/>
                        <a:pt x="520" y="1416"/>
                      </a:cubicBezTo>
                      <a:cubicBezTo>
                        <a:pt x="688" y="1583"/>
                        <a:pt x="893" y="1657"/>
                        <a:pt x="1096" y="1657"/>
                      </a:cubicBezTo>
                      <a:cubicBezTo>
                        <a:pt x="1523" y="1657"/>
                        <a:pt x="1936" y="1324"/>
                        <a:pt x="1936" y="823"/>
                      </a:cubicBezTo>
                      <a:cubicBezTo>
                        <a:pt x="1936" y="375"/>
                        <a:pt x="1561" y="0"/>
                        <a:pt x="1101" y="0"/>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7852" name="Google Shape;7852;p104"/>
              <p:cNvGrpSpPr/>
              <p:nvPr/>
            </p:nvGrpSpPr>
            <p:grpSpPr>
              <a:xfrm>
                <a:off x="4406386" y="4056872"/>
                <a:ext cx="37783" cy="32364"/>
                <a:chOff x="4406386" y="4056872"/>
                <a:chExt cx="37783" cy="32364"/>
              </a:xfrm>
            </p:grpSpPr>
            <p:sp>
              <p:nvSpPr>
                <p:cNvPr id="7853" name="Google Shape;7853;p104"/>
                <p:cNvSpPr/>
                <p:nvPr/>
              </p:nvSpPr>
              <p:spPr>
                <a:xfrm>
                  <a:off x="4406386" y="4056872"/>
                  <a:ext cx="37783" cy="32364"/>
                </a:xfrm>
                <a:custGeom>
                  <a:avLst/>
                  <a:gdLst/>
                  <a:ahLst/>
                  <a:cxnLst/>
                  <a:rect l="l" t="t" r="r" b="b"/>
                  <a:pathLst>
                    <a:path w="4804" h="4115" extrusionOk="0">
                      <a:moveTo>
                        <a:pt x="2733" y="1"/>
                      </a:moveTo>
                      <a:cubicBezTo>
                        <a:pt x="2228" y="1"/>
                        <a:pt x="1714" y="188"/>
                        <a:pt x="1295" y="606"/>
                      </a:cubicBezTo>
                      <a:cubicBezTo>
                        <a:pt x="1" y="1900"/>
                        <a:pt x="920" y="4114"/>
                        <a:pt x="2747" y="4114"/>
                      </a:cubicBezTo>
                      <a:cubicBezTo>
                        <a:pt x="3884" y="4114"/>
                        <a:pt x="4803" y="3195"/>
                        <a:pt x="4803" y="2058"/>
                      </a:cubicBezTo>
                      <a:cubicBezTo>
                        <a:pt x="4803" y="821"/>
                        <a:pt x="3789" y="1"/>
                        <a:pt x="2733" y="1"/>
                      </a:cubicBez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854" name="Google Shape;7854;p104"/>
                <p:cNvSpPr/>
                <p:nvPr/>
              </p:nvSpPr>
              <p:spPr>
                <a:xfrm>
                  <a:off x="4419332" y="4066577"/>
                  <a:ext cx="15227" cy="13017"/>
                </a:xfrm>
                <a:custGeom>
                  <a:avLst/>
                  <a:gdLst/>
                  <a:ahLst/>
                  <a:cxnLst/>
                  <a:rect l="l" t="t" r="r" b="b"/>
                  <a:pathLst>
                    <a:path w="1936" h="1655" extrusionOk="0">
                      <a:moveTo>
                        <a:pt x="1123" y="1"/>
                      </a:moveTo>
                      <a:cubicBezTo>
                        <a:pt x="1115" y="1"/>
                        <a:pt x="1108" y="1"/>
                        <a:pt x="1101" y="1"/>
                      </a:cubicBezTo>
                      <a:cubicBezTo>
                        <a:pt x="363" y="1"/>
                        <a:pt x="0" y="884"/>
                        <a:pt x="520" y="1404"/>
                      </a:cubicBezTo>
                      <a:cubicBezTo>
                        <a:pt x="689" y="1577"/>
                        <a:pt x="898" y="1655"/>
                        <a:pt x="1103" y="1655"/>
                      </a:cubicBezTo>
                      <a:cubicBezTo>
                        <a:pt x="1528" y="1655"/>
                        <a:pt x="1936" y="1322"/>
                        <a:pt x="1936" y="824"/>
                      </a:cubicBezTo>
                      <a:cubicBezTo>
                        <a:pt x="1936" y="371"/>
                        <a:pt x="1572" y="1"/>
                        <a:pt x="1123" y="1"/>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7855" name="Google Shape;7855;p104"/>
              <p:cNvGrpSpPr/>
              <p:nvPr/>
            </p:nvGrpSpPr>
            <p:grpSpPr>
              <a:xfrm>
                <a:off x="4284416" y="4245254"/>
                <a:ext cx="37783" cy="32357"/>
                <a:chOff x="4284416" y="4245254"/>
                <a:chExt cx="37783" cy="32357"/>
              </a:xfrm>
            </p:grpSpPr>
            <p:sp>
              <p:nvSpPr>
                <p:cNvPr id="7856" name="Google Shape;7856;p104"/>
                <p:cNvSpPr/>
                <p:nvPr/>
              </p:nvSpPr>
              <p:spPr>
                <a:xfrm>
                  <a:off x="4284416" y="4245254"/>
                  <a:ext cx="37783" cy="32357"/>
                </a:xfrm>
                <a:custGeom>
                  <a:avLst/>
                  <a:gdLst/>
                  <a:ahLst/>
                  <a:cxnLst/>
                  <a:rect l="l" t="t" r="r" b="b"/>
                  <a:pathLst>
                    <a:path w="4804" h="4114" extrusionOk="0">
                      <a:moveTo>
                        <a:pt x="2732" y="0"/>
                      </a:moveTo>
                      <a:cubicBezTo>
                        <a:pt x="2228" y="0"/>
                        <a:pt x="1714" y="187"/>
                        <a:pt x="1295" y="606"/>
                      </a:cubicBezTo>
                      <a:cubicBezTo>
                        <a:pt x="1" y="1900"/>
                        <a:pt x="920" y="4114"/>
                        <a:pt x="2747" y="4114"/>
                      </a:cubicBezTo>
                      <a:cubicBezTo>
                        <a:pt x="3884" y="4114"/>
                        <a:pt x="4803" y="3194"/>
                        <a:pt x="4803" y="2057"/>
                      </a:cubicBezTo>
                      <a:cubicBezTo>
                        <a:pt x="4803" y="821"/>
                        <a:pt x="3789" y="0"/>
                        <a:pt x="2732" y="0"/>
                      </a:cubicBez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857" name="Google Shape;7857;p104"/>
                <p:cNvSpPr/>
                <p:nvPr/>
              </p:nvSpPr>
              <p:spPr>
                <a:xfrm>
                  <a:off x="4299548" y="4254959"/>
                  <a:ext cx="13040" cy="13040"/>
                </a:xfrm>
                <a:custGeom>
                  <a:avLst/>
                  <a:gdLst/>
                  <a:ahLst/>
                  <a:cxnLst/>
                  <a:rect l="l" t="t" r="r" b="b"/>
                  <a:pathLst>
                    <a:path w="1658" h="1658" extrusionOk="0">
                      <a:moveTo>
                        <a:pt x="823" y="1"/>
                      </a:moveTo>
                      <a:cubicBezTo>
                        <a:pt x="363" y="1"/>
                        <a:pt x="0" y="364"/>
                        <a:pt x="0" y="823"/>
                      </a:cubicBezTo>
                      <a:cubicBezTo>
                        <a:pt x="0" y="1283"/>
                        <a:pt x="363" y="1658"/>
                        <a:pt x="823" y="1658"/>
                      </a:cubicBezTo>
                      <a:cubicBezTo>
                        <a:pt x="1283" y="1658"/>
                        <a:pt x="1658" y="1283"/>
                        <a:pt x="1658" y="823"/>
                      </a:cubicBezTo>
                      <a:cubicBezTo>
                        <a:pt x="1658" y="364"/>
                        <a:pt x="1283" y="1"/>
                        <a:pt x="823" y="1"/>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7858" name="Google Shape;7858;p104"/>
              <p:cNvGrpSpPr/>
              <p:nvPr/>
            </p:nvGrpSpPr>
            <p:grpSpPr>
              <a:xfrm>
                <a:off x="4219057" y="4331258"/>
                <a:ext cx="37776" cy="32364"/>
                <a:chOff x="4219057" y="4331258"/>
                <a:chExt cx="37776" cy="32364"/>
              </a:xfrm>
            </p:grpSpPr>
            <p:sp>
              <p:nvSpPr>
                <p:cNvPr id="7859" name="Google Shape;7859;p104"/>
                <p:cNvSpPr/>
                <p:nvPr/>
              </p:nvSpPr>
              <p:spPr>
                <a:xfrm>
                  <a:off x="4219057" y="4331258"/>
                  <a:ext cx="37776" cy="32364"/>
                </a:xfrm>
                <a:custGeom>
                  <a:avLst/>
                  <a:gdLst/>
                  <a:ahLst/>
                  <a:cxnLst/>
                  <a:rect l="l" t="t" r="r" b="b"/>
                  <a:pathLst>
                    <a:path w="4803" h="4115" extrusionOk="0">
                      <a:moveTo>
                        <a:pt x="2732" y="1"/>
                      </a:moveTo>
                      <a:cubicBezTo>
                        <a:pt x="2227" y="1"/>
                        <a:pt x="1713" y="188"/>
                        <a:pt x="1295" y="606"/>
                      </a:cubicBezTo>
                      <a:cubicBezTo>
                        <a:pt x="0" y="1901"/>
                        <a:pt x="920" y="4114"/>
                        <a:pt x="2746" y="4114"/>
                      </a:cubicBezTo>
                      <a:cubicBezTo>
                        <a:pt x="3883" y="4114"/>
                        <a:pt x="4803" y="3195"/>
                        <a:pt x="4803" y="2058"/>
                      </a:cubicBezTo>
                      <a:cubicBezTo>
                        <a:pt x="4803" y="821"/>
                        <a:pt x="3789" y="1"/>
                        <a:pt x="2732" y="1"/>
                      </a:cubicBez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860" name="Google Shape;7860;p104"/>
                <p:cNvSpPr/>
                <p:nvPr/>
              </p:nvSpPr>
              <p:spPr>
                <a:xfrm>
                  <a:off x="4231995" y="4340971"/>
                  <a:ext cx="15235" cy="13040"/>
                </a:xfrm>
                <a:custGeom>
                  <a:avLst/>
                  <a:gdLst/>
                  <a:ahLst/>
                  <a:cxnLst/>
                  <a:rect l="l" t="t" r="r" b="b"/>
                  <a:pathLst>
                    <a:path w="1937" h="1658" extrusionOk="0">
                      <a:moveTo>
                        <a:pt x="1113" y="0"/>
                      </a:moveTo>
                      <a:cubicBezTo>
                        <a:pt x="363" y="0"/>
                        <a:pt x="1" y="895"/>
                        <a:pt x="521" y="1416"/>
                      </a:cubicBezTo>
                      <a:cubicBezTo>
                        <a:pt x="688" y="1583"/>
                        <a:pt x="894" y="1657"/>
                        <a:pt x="1096" y="1657"/>
                      </a:cubicBezTo>
                      <a:cubicBezTo>
                        <a:pt x="1524" y="1657"/>
                        <a:pt x="1936" y="1324"/>
                        <a:pt x="1936" y="823"/>
                      </a:cubicBezTo>
                      <a:cubicBezTo>
                        <a:pt x="1936" y="375"/>
                        <a:pt x="1561" y="0"/>
                        <a:pt x="1113" y="0"/>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7861" name="Google Shape;7861;p104"/>
              <p:cNvGrpSpPr/>
              <p:nvPr/>
            </p:nvGrpSpPr>
            <p:grpSpPr>
              <a:xfrm>
                <a:off x="4204122" y="4141688"/>
                <a:ext cx="33497" cy="28699"/>
                <a:chOff x="4204122" y="4141688"/>
                <a:chExt cx="33497" cy="28699"/>
              </a:xfrm>
            </p:grpSpPr>
            <p:sp>
              <p:nvSpPr>
                <p:cNvPr id="7862" name="Google Shape;7862;p104"/>
                <p:cNvSpPr/>
                <p:nvPr/>
              </p:nvSpPr>
              <p:spPr>
                <a:xfrm>
                  <a:off x="4204122" y="4141688"/>
                  <a:ext cx="33497" cy="28699"/>
                </a:xfrm>
                <a:custGeom>
                  <a:avLst/>
                  <a:gdLst/>
                  <a:ahLst/>
                  <a:cxnLst/>
                  <a:rect l="l" t="t" r="r" b="b"/>
                  <a:pathLst>
                    <a:path w="4259" h="3649" extrusionOk="0">
                      <a:moveTo>
                        <a:pt x="2427" y="1"/>
                      </a:moveTo>
                      <a:cubicBezTo>
                        <a:pt x="1979" y="1"/>
                        <a:pt x="1522" y="168"/>
                        <a:pt x="1149" y="540"/>
                      </a:cubicBezTo>
                      <a:cubicBezTo>
                        <a:pt x="0" y="1677"/>
                        <a:pt x="811" y="3649"/>
                        <a:pt x="2432" y="3649"/>
                      </a:cubicBezTo>
                      <a:cubicBezTo>
                        <a:pt x="3448" y="3649"/>
                        <a:pt x="4258" y="2826"/>
                        <a:pt x="4258" y="1822"/>
                      </a:cubicBezTo>
                      <a:cubicBezTo>
                        <a:pt x="4258" y="726"/>
                        <a:pt x="3363" y="1"/>
                        <a:pt x="2427" y="1"/>
                      </a:cubicBez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863" name="Google Shape;7863;p104"/>
                <p:cNvSpPr/>
                <p:nvPr/>
              </p:nvSpPr>
              <p:spPr>
                <a:xfrm>
                  <a:off x="4216965" y="4151259"/>
                  <a:ext cx="11042" cy="9399"/>
                </a:xfrm>
                <a:custGeom>
                  <a:avLst/>
                  <a:gdLst/>
                  <a:ahLst/>
                  <a:cxnLst/>
                  <a:rect l="l" t="t" r="r" b="b"/>
                  <a:pathLst>
                    <a:path w="1404" h="1195" extrusionOk="0">
                      <a:moveTo>
                        <a:pt x="799" y="0"/>
                      </a:moveTo>
                      <a:cubicBezTo>
                        <a:pt x="266" y="0"/>
                        <a:pt x="0" y="641"/>
                        <a:pt x="375" y="1016"/>
                      </a:cubicBezTo>
                      <a:cubicBezTo>
                        <a:pt x="498" y="1139"/>
                        <a:pt x="650" y="1195"/>
                        <a:pt x="799" y="1195"/>
                      </a:cubicBezTo>
                      <a:cubicBezTo>
                        <a:pt x="1103" y="1195"/>
                        <a:pt x="1395" y="963"/>
                        <a:pt x="1404" y="605"/>
                      </a:cubicBezTo>
                      <a:cubicBezTo>
                        <a:pt x="1404" y="278"/>
                        <a:pt x="1137" y="0"/>
                        <a:pt x="799" y="0"/>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7864" name="Google Shape;7864;p104"/>
              <p:cNvGrpSpPr/>
              <p:nvPr/>
            </p:nvGrpSpPr>
            <p:grpSpPr>
              <a:xfrm>
                <a:off x="4301546" y="4003869"/>
                <a:ext cx="38916" cy="33324"/>
                <a:chOff x="4301546" y="4003869"/>
                <a:chExt cx="38916" cy="33324"/>
              </a:xfrm>
            </p:grpSpPr>
            <p:sp>
              <p:nvSpPr>
                <p:cNvPr id="7865" name="Google Shape;7865;p104"/>
                <p:cNvSpPr/>
                <p:nvPr/>
              </p:nvSpPr>
              <p:spPr>
                <a:xfrm>
                  <a:off x="4301546" y="4003869"/>
                  <a:ext cx="38916" cy="33324"/>
                </a:xfrm>
                <a:custGeom>
                  <a:avLst/>
                  <a:gdLst/>
                  <a:ahLst/>
                  <a:cxnLst/>
                  <a:rect l="l" t="t" r="r" b="b"/>
                  <a:pathLst>
                    <a:path w="4948" h="4237" extrusionOk="0">
                      <a:moveTo>
                        <a:pt x="2818" y="1"/>
                      </a:moveTo>
                      <a:cubicBezTo>
                        <a:pt x="2295" y="1"/>
                        <a:pt x="1763" y="196"/>
                        <a:pt x="1331" y="631"/>
                      </a:cubicBezTo>
                      <a:cubicBezTo>
                        <a:pt x="0" y="1962"/>
                        <a:pt x="944" y="4236"/>
                        <a:pt x="2831" y="4236"/>
                      </a:cubicBezTo>
                      <a:cubicBezTo>
                        <a:pt x="3992" y="4236"/>
                        <a:pt x="4948" y="3293"/>
                        <a:pt x="4948" y="2119"/>
                      </a:cubicBezTo>
                      <a:cubicBezTo>
                        <a:pt x="4948" y="845"/>
                        <a:pt x="3905" y="1"/>
                        <a:pt x="2818" y="1"/>
                      </a:cubicBez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866" name="Google Shape;7866;p104"/>
                <p:cNvSpPr/>
                <p:nvPr/>
              </p:nvSpPr>
              <p:spPr>
                <a:xfrm>
                  <a:off x="4314389" y="4013590"/>
                  <a:ext cx="16469" cy="14000"/>
                </a:xfrm>
                <a:custGeom>
                  <a:avLst/>
                  <a:gdLst/>
                  <a:ahLst/>
                  <a:cxnLst/>
                  <a:rect l="l" t="t" r="r" b="b"/>
                  <a:pathLst>
                    <a:path w="2094" h="1780" extrusionOk="0">
                      <a:moveTo>
                        <a:pt x="1220" y="0"/>
                      </a:moveTo>
                      <a:cubicBezTo>
                        <a:pt x="1213" y="0"/>
                        <a:pt x="1205" y="0"/>
                        <a:pt x="1198" y="0"/>
                      </a:cubicBezTo>
                      <a:cubicBezTo>
                        <a:pt x="400" y="0"/>
                        <a:pt x="0" y="956"/>
                        <a:pt x="569" y="1512"/>
                      </a:cubicBezTo>
                      <a:cubicBezTo>
                        <a:pt x="750" y="1697"/>
                        <a:pt x="974" y="1780"/>
                        <a:pt x="1194" y="1780"/>
                      </a:cubicBezTo>
                      <a:cubicBezTo>
                        <a:pt x="1652" y="1780"/>
                        <a:pt x="2093" y="1422"/>
                        <a:pt x="2093" y="883"/>
                      </a:cubicBezTo>
                      <a:cubicBezTo>
                        <a:pt x="2093" y="395"/>
                        <a:pt x="1706" y="0"/>
                        <a:pt x="1220" y="0"/>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7867" name="Google Shape;7867;p104"/>
              <p:cNvGrpSpPr/>
              <p:nvPr/>
            </p:nvGrpSpPr>
            <p:grpSpPr>
              <a:xfrm>
                <a:off x="4210681" y="3924669"/>
                <a:ext cx="36549" cy="31366"/>
                <a:chOff x="4210681" y="3924669"/>
                <a:chExt cx="36549" cy="31366"/>
              </a:xfrm>
            </p:grpSpPr>
            <p:sp>
              <p:nvSpPr>
                <p:cNvPr id="7868" name="Google Shape;7868;p104"/>
                <p:cNvSpPr/>
                <p:nvPr/>
              </p:nvSpPr>
              <p:spPr>
                <a:xfrm>
                  <a:off x="4210681" y="3924669"/>
                  <a:ext cx="36549" cy="31366"/>
                </a:xfrm>
                <a:custGeom>
                  <a:avLst/>
                  <a:gdLst/>
                  <a:ahLst/>
                  <a:cxnLst/>
                  <a:rect l="l" t="t" r="r" b="b"/>
                  <a:pathLst>
                    <a:path w="4647" h="3988" extrusionOk="0">
                      <a:moveTo>
                        <a:pt x="2642" y="0"/>
                      </a:moveTo>
                      <a:cubicBezTo>
                        <a:pt x="2152" y="0"/>
                        <a:pt x="1654" y="182"/>
                        <a:pt x="1247" y="589"/>
                      </a:cubicBezTo>
                      <a:cubicBezTo>
                        <a:pt x="1" y="1847"/>
                        <a:pt x="884" y="3988"/>
                        <a:pt x="2662" y="3988"/>
                      </a:cubicBezTo>
                      <a:cubicBezTo>
                        <a:pt x="3751" y="3976"/>
                        <a:pt x="4646" y="3093"/>
                        <a:pt x="4646" y="1992"/>
                      </a:cubicBezTo>
                      <a:cubicBezTo>
                        <a:pt x="4646" y="797"/>
                        <a:pt x="3665" y="0"/>
                        <a:pt x="2642" y="0"/>
                      </a:cubicBez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869" name="Google Shape;7869;p104"/>
                <p:cNvSpPr/>
                <p:nvPr/>
              </p:nvSpPr>
              <p:spPr>
                <a:xfrm>
                  <a:off x="4225625" y="3934335"/>
                  <a:ext cx="11994" cy="11994"/>
                </a:xfrm>
                <a:custGeom>
                  <a:avLst/>
                  <a:gdLst/>
                  <a:ahLst/>
                  <a:cxnLst/>
                  <a:rect l="l" t="t" r="r" b="b"/>
                  <a:pathLst>
                    <a:path w="1525" h="1525" extrusionOk="0">
                      <a:moveTo>
                        <a:pt x="762" y="1"/>
                      </a:moveTo>
                      <a:cubicBezTo>
                        <a:pt x="339" y="1"/>
                        <a:pt x="0" y="339"/>
                        <a:pt x="0" y="763"/>
                      </a:cubicBezTo>
                      <a:cubicBezTo>
                        <a:pt x="0" y="1186"/>
                        <a:pt x="339" y="1525"/>
                        <a:pt x="762" y="1525"/>
                      </a:cubicBezTo>
                      <a:cubicBezTo>
                        <a:pt x="1173" y="1525"/>
                        <a:pt x="1524" y="1186"/>
                        <a:pt x="1524" y="763"/>
                      </a:cubicBezTo>
                      <a:cubicBezTo>
                        <a:pt x="1524" y="339"/>
                        <a:pt x="1173" y="1"/>
                        <a:pt x="762" y="1"/>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7870" name="Google Shape;7870;p104"/>
              <p:cNvGrpSpPr/>
              <p:nvPr/>
            </p:nvGrpSpPr>
            <p:grpSpPr>
              <a:xfrm>
                <a:off x="3987771" y="3628874"/>
                <a:ext cx="31499" cy="26993"/>
                <a:chOff x="3987771" y="3628874"/>
                <a:chExt cx="31499" cy="26993"/>
              </a:xfrm>
            </p:grpSpPr>
            <p:sp>
              <p:nvSpPr>
                <p:cNvPr id="7871" name="Google Shape;7871;p104"/>
                <p:cNvSpPr/>
                <p:nvPr/>
              </p:nvSpPr>
              <p:spPr>
                <a:xfrm>
                  <a:off x="3987771" y="3628874"/>
                  <a:ext cx="31499" cy="26993"/>
                </a:xfrm>
                <a:custGeom>
                  <a:avLst/>
                  <a:gdLst/>
                  <a:ahLst/>
                  <a:cxnLst/>
                  <a:rect l="l" t="t" r="r" b="b"/>
                  <a:pathLst>
                    <a:path w="4005" h="3432" extrusionOk="0">
                      <a:moveTo>
                        <a:pt x="2284" y="0"/>
                      </a:moveTo>
                      <a:cubicBezTo>
                        <a:pt x="1865" y="0"/>
                        <a:pt x="1437" y="156"/>
                        <a:pt x="1089" y="504"/>
                      </a:cubicBezTo>
                      <a:cubicBezTo>
                        <a:pt x="0" y="1581"/>
                        <a:pt x="774" y="3432"/>
                        <a:pt x="2299" y="3432"/>
                      </a:cubicBezTo>
                      <a:cubicBezTo>
                        <a:pt x="3242" y="3419"/>
                        <a:pt x="4004" y="2657"/>
                        <a:pt x="4004" y="1714"/>
                      </a:cubicBezTo>
                      <a:cubicBezTo>
                        <a:pt x="4004" y="682"/>
                        <a:pt x="3162" y="0"/>
                        <a:pt x="2284" y="0"/>
                      </a:cubicBez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872" name="Google Shape;7872;p104"/>
                <p:cNvSpPr/>
                <p:nvPr/>
              </p:nvSpPr>
              <p:spPr>
                <a:xfrm>
                  <a:off x="4000709" y="3638540"/>
                  <a:ext cx="8856" cy="7605"/>
                </a:xfrm>
                <a:custGeom>
                  <a:avLst/>
                  <a:gdLst/>
                  <a:ahLst/>
                  <a:cxnLst/>
                  <a:rect l="l" t="t" r="r" b="b"/>
                  <a:pathLst>
                    <a:path w="1126" h="967" extrusionOk="0">
                      <a:moveTo>
                        <a:pt x="641" y="1"/>
                      </a:moveTo>
                      <a:cubicBezTo>
                        <a:pt x="218" y="1"/>
                        <a:pt x="0" y="521"/>
                        <a:pt x="303" y="823"/>
                      </a:cubicBezTo>
                      <a:cubicBezTo>
                        <a:pt x="402" y="922"/>
                        <a:pt x="524" y="967"/>
                        <a:pt x="643" y="967"/>
                      </a:cubicBezTo>
                      <a:cubicBezTo>
                        <a:pt x="890" y="967"/>
                        <a:pt x="1125" y="778"/>
                        <a:pt x="1125" y="485"/>
                      </a:cubicBezTo>
                      <a:cubicBezTo>
                        <a:pt x="1125" y="219"/>
                        <a:pt x="908" y="1"/>
                        <a:pt x="641" y="1"/>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7873" name="Google Shape;7873;p104"/>
              <p:cNvGrpSpPr/>
              <p:nvPr/>
            </p:nvGrpSpPr>
            <p:grpSpPr>
              <a:xfrm>
                <a:off x="4087382" y="3775674"/>
                <a:ext cx="31405" cy="26898"/>
                <a:chOff x="4087382" y="3775674"/>
                <a:chExt cx="31405" cy="26898"/>
              </a:xfrm>
            </p:grpSpPr>
            <p:sp>
              <p:nvSpPr>
                <p:cNvPr id="7874" name="Google Shape;7874;p104"/>
                <p:cNvSpPr/>
                <p:nvPr/>
              </p:nvSpPr>
              <p:spPr>
                <a:xfrm>
                  <a:off x="4087382" y="3775674"/>
                  <a:ext cx="31405" cy="26898"/>
                </a:xfrm>
                <a:custGeom>
                  <a:avLst/>
                  <a:gdLst/>
                  <a:ahLst/>
                  <a:cxnLst/>
                  <a:rect l="l" t="t" r="r" b="b"/>
                  <a:pathLst>
                    <a:path w="3993" h="3420" extrusionOk="0">
                      <a:moveTo>
                        <a:pt x="2273" y="0"/>
                      </a:moveTo>
                      <a:cubicBezTo>
                        <a:pt x="1853" y="0"/>
                        <a:pt x="1425" y="156"/>
                        <a:pt x="1077" y="504"/>
                      </a:cubicBezTo>
                      <a:cubicBezTo>
                        <a:pt x="0" y="1581"/>
                        <a:pt x="750" y="3420"/>
                        <a:pt x="2275" y="3420"/>
                      </a:cubicBezTo>
                      <a:cubicBezTo>
                        <a:pt x="3230" y="3420"/>
                        <a:pt x="3992" y="2658"/>
                        <a:pt x="3992" y="1714"/>
                      </a:cubicBezTo>
                      <a:cubicBezTo>
                        <a:pt x="3992" y="683"/>
                        <a:pt x="3151" y="0"/>
                        <a:pt x="2273" y="0"/>
                      </a:cubicBez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875" name="Google Shape;7875;p104"/>
                <p:cNvSpPr/>
                <p:nvPr/>
              </p:nvSpPr>
              <p:spPr>
                <a:xfrm>
                  <a:off x="4101460" y="3785348"/>
                  <a:ext cx="7621" cy="7613"/>
                </a:xfrm>
                <a:custGeom>
                  <a:avLst/>
                  <a:gdLst/>
                  <a:ahLst/>
                  <a:cxnLst/>
                  <a:rect l="l" t="t" r="r" b="b"/>
                  <a:pathLst>
                    <a:path w="969" h="968" extrusionOk="0">
                      <a:moveTo>
                        <a:pt x="485" y="0"/>
                      </a:moveTo>
                      <a:cubicBezTo>
                        <a:pt x="219" y="0"/>
                        <a:pt x="1" y="218"/>
                        <a:pt x="1" y="484"/>
                      </a:cubicBezTo>
                      <a:cubicBezTo>
                        <a:pt x="1" y="750"/>
                        <a:pt x="219" y="968"/>
                        <a:pt x="485" y="968"/>
                      </a:cubicBezTo>
                      <a:cubicBezTo>
                        <a:pt x="751" y="968"/>
                        <a:pt x="969" y="750"/>
                        <a:pt x="969" y="484"/>
                      </a:cubicBezTo>
                      <a:cubicBezTo>
                        <a:pt x="969" y="218"/>
                        <a:pt x="751" y="0"/>
                        <a:pt x="485" y="0"/>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7876" name="Google Shape;7876;p104"/>
              <p:cNvGrpSpPr/>
              <p:nvPr/>
            </p:nvGrpSpPr>
            <p:grpSpPr>
              <a:xfrm>
                <a:off x="4118873" y="3856637"/>
                <a:ext cx="31405" cy="26906"/>
                <a:chOff x="4118873" y="3856637"/>
                <a:chExt cx="31405" cy="26906"/>
              </a:xfrm>
            </p:grpSpPr>
            <p:sp>
              <p:nvSpPr>
                <p:cNvPr id="7877" name="Google Shape;7877;p104"/>
                <p:cNvSpPr/>
                <p:nvPr/>
              </p:nvSpPr>
              <p:spPr>
                <a:xfrm>
                  <a:off x="4118873" y="3856637"/>
                  <a:ext cx="31405" cy="26906"/>
                </a:xfrm>
                <a:custGeom>
                  <a:avLst/>
                  <a:gdLst/>
                  <a:ahLst/>
                  <a:cxnLst/>
                  <a:rect l="l" t="t" r="r" b="b"/>
                  <a:pathLst>
                    <a:path w="3993" h="3421" extrusionOk="0">
                      <a:moveTo>
                        <a:pt x="2273" y="1"/>
                      </a:moveTo>
                      <a:cubicBezTo>
                        <a:pt x="1853" y="1"/>
                        <a:pt x="1425" y="157"/>
                        <a:pt x="1077" y="505"/>
                      </a:cubicBezTo>
                      <a:cubicBezTo>
                        <a:pt x="1" y="1581"/>
                        <a:pt x="763" y="3420"/>
                        <a:pt x="2287" y="3420"/>
                      </a:cubicBezTo>
                      <a:cubicBezTo>
                        <a:pt x="3230" y="3420"/>
                        <a:pt x="3992" y="2658"/>
                        <a:pt x="3992" y="1714"/>
                      </a:cubicBezTo>
                      <a:cubicBezTo>
                        <a:pt x="3992" y="683"/>
                        <a:pt x="3151" y="1"/>
                        <a:pt x="2273" y="1"/>
                      </a:cubicBez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878" name="Google Shape;7878;p104"/>
                <p:cNvSpPr/>
                <p:nvPr/>
              </p:nvSpPr>
              <p:spPr>
                <a:xfrm>
                  <a:off x="4133046" y="3866310"/>
                  <a:ext cx="7621" cy="7621"/>
                </a:xfrm>
                <a:custGeom>
                  <a:avLst/>
                  <a:gdLst/>
                  <a:ahLst/>
                  <a:cxnLst/>
                  <a:rect l="l" t="t" r="r" b="b"/>
                  <a:pathLst>
                    <a:path w="969" h="969" extrusionOk="0">
                      <a:moveTo>
                        <a:pt x="485" y="1"/>
                      </a:moveTo>
                      <a:cubicBezTo>
                        <a:pt x="219" y="1"/>
                        <a:pt x="1" y="218"/>
                        <a:pt x="1" y="484"/>
                      </a:cubicBezTo>
                      <a:cubicBezTo>
                        <a:pt x="1" y="751"/>
                        <a:pt x="219" y="968"/>
                        <a:pt x="485" y="968"/>
                      </a:cubicBezTo>
                      <a:cubicBezTo>
                        <a:pt x="751" y="968"/>
                        <a:pt x="969" y="751"/>
                        <a:pt x="969" y="484"/>
                      </a:cubicBezTo>
                      <a:cubicBezTo>
                        <a:pt x="969" y="218"/>
                        <a:pt x="751" y="1"/>
                        <a:pt x="485" y="1"/>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7879" name="Google Shape;7879;p104"/>
              <p:cNvGrpSpPr/>
              <p:nvPr/>
            </p:nvGrpSpPr>
            <p:grpSpPr>
              <a:xfrm>
                <a:off x="4168541" y="3639523"/>
                <a:ext cx="31499" cy="26906"/>
                <a:chOff x="4168541" y="3639523"/>
                <a:chExt cx="31499" cy="26906"/>
              </a:xfrm>
            </p:grpSpPr>
            <p:sp>
              <p:nvSpPr>
                <p:cNvPr id="7880" name="Google Shape;7880;p104"/>
                <p:cNvSpPr/>
                <p:nvPr/>
              </p:nvSpPr>
              <p:spPr>
                <a:xfrm>
                  <a:off x="4168541" y="3639523"/>
                  <a:ext cx="31499" cy="26906"/>
                </a:xfrm>
                <a:custGeom>
                  <a:avLst/>
                  <a:gdLst/>
                  <a:ahLst/>
                  <a:cxnLst/>
                  <a:rect l="l" t="t" r="r" b="b"/>
                  <a:pathLst>
                    <a:path w="4005" h="3421" extrusionOk="0">
                      <a:moveTo>
                        <a:pt x="2284" y="1"/>
                      </a:moveTo>
                      <a:cubicBezTo>
                        <a:pt x="1865" y="1"/>
                        <a:pt x="1437" y="157"/>
                        <a:pt x="1089" y="505"/>
                      </a:cubicBezTo>
                      <a:cubicBezTo>
                        <a:pt x="0" y="1582"/>
                        <a:pt x="774" y="3420"/>
                        <a:pt x="2298" y="3420"/>
                      </a:cubicBezTo>
                      <a:cubicBezTo>
                        <a:pt x="3242" y="3420"/>
                        <a:pt x="4004" y="2658"/>
                        <a:pt x="4004" y="1715"/>
                      </a:cubicBezTo>
                      <a:cubicBezTo>
                        <a:pt x="4004" y="683"/>
                        <a:pt x="3162" y="1"/>
                        <a:pt x="2284" y="1"/>
                      </a:cubicBez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881" name="Google Shape;7881;p104"/>
                <p:cNvSpPr/>
                <p:nvPr/>
              </p:nvSpPr>
              <p:spPr>
                <a:xfrm>
                  <a:off x="4182713" y="3649197"/>
                  <a:ext cx="7716" cy="7621"/>
                </a:xfrm>
                <a:custGeom>
                  <a:avLst/>
                  <a:gdLst/>
                  <a:ahLst/>
                  <a:cxnLst/>
                  <a:rect l="l" t="t" r="r" b="b"/>
                  <a:pathLst>
                    <a:path w="981" h="969" extrusionOk="0">
                      <a:moveTo>
                        <a:pt x="496" y="1"/>
                      </a:moveTo>
                      <a:cubicBezTo>
                        <a:pt x="218" y="1"/>
                        <a:pt x="0" y="218"/>
                        <a:pt x="0" y="485"/>
                      </a:cubicBezTo>
                      <a:cubicBezTo>
                        <a:pt x="0" y="751"/>
                        <a:pt x="218" y="968"/>
                        <a:pt x="496" y="968"/>
                      </a:cubicBezTo>
                      <a:cubicBezTo>
                        <a:pt x="763" y="968"/>
                        <a:pt x="980" y="751"/>
                        <a:pt x="980" y="485"/>
                      </a:cubicBezTo>
                      <a:cubicBezTo>
                        <a:pt x="980" y="218"/>
                        <a:pt x="763" y="1"/>
                        <a:pt x="496" y="1"/>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7882" name="Google Shape;7882;p104"/>
              <p:cNvGrpSpPr/>
              <p:nvPr/>
            </p:nvGrpSpPr>
            <p:grpSpPr>
              <a:xfrm>
                <a:off x="3965789" y="3393545"/>
                <a:ext cx="31405" cy="26945"/>
                <a:chOff x="3965789" y="3393545"/>
                <a:chExt cx="31405" cy="26945"/>
              </a:xfrm>
            </p:grpSpPr>
            <p:sp>
              <p:nvSpPr>
                <p:cNvPr id="7883" name="Google Shape;7883;p104"/>
                <p:cNvSpPr/>
                <p:nvPr/>
              </p:nvSpPr>
              <p:spPr>
                <a:xfrm>
                  <a:off x="3965789" y="3393545"/>
                  <a:ext cx="31405" cy="26945"/>
                </a:xfrm>
                <a:custGeom>
                  <a:avLst/>
                  <a:gdLst/>
                  <a:ahLst/>
                  <a:cxnLst/>
                  <a:rect l="l" t="t" r="r" b="b"/>
                  <a:pathLst>
                    <a:path w="3993" h="3426" extrusionOk="0">
                      <a:moveTo>
                        <a:pt x="2273" y="0"/>
                      </a:moveTo>
                      <a:cubicBezTo>
                        <a:pt x="1854" y="0"/>
                        <a:pt x="1426" y="158"/>
                        <a:pt x="1077" y="510"/>
                      </a:cubicBezTo>
                      <a:cubicBezTo>
                        <a:pt x="1" y="1586"/>
                        <a:pt x="763" y="3425"/>
                        <a:pt x="2287" y="3425"/>
                      </a:cubicBezTo>
                      <a:cubicBezTo>
                        <a:pt x="3231" y="3425"/>
                        <a:pt x="3993" y="2663"/>
                        <a:pt x="3993" y="1720"/>
                      </a:cubicBezTo>
                      <a:cubicBezTo>
                        <a:pt x="3993" y="688"/>
                        <a:pt x="3151" y="0"/>
                        <a:pt x="2273" y="0"/>
                      </a:cubicBez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884" name="Google Shape;7884;p104"/>
                <p:cNvSpPr/>
                <p:nvPr/>
              </p:nvSpPr>
              <p:spPr>
                <a:xfrm>
                  <a:off x="3978632" y="3403259"/>
                  <a:ext cx="8950" cy="7590"/>
                </a:xfrm>
                <a:custGeom>
                  <a:avLst/>
                  <a:gdLst/>
                  <a:ahLst/>
                  <a:cxnLst/>
                  <a:rect l="l" t="t" r="r" b="b"/>
                  <a:pathLst>
                    <a:path w="1138" h="965" extrusionOk="0">
                      <a:moveTo>
                        <a:pt x="654" y="1"/>
                      </a:moveTo>
                      <a:cubicBezTo>
                        <a:pt x="219" y="1"/>
                        <a:pt x="1" y="509"/>
                        <a:pt x="315" y="823"/>
                      </a:cubicBezTo>
                      <a:cubicBezTo>
                        <a:pt x="413" y="921"/>
                        <a:pt x="533" y="964"/>
                        <a:pt x="651" y="964"/>
                      </a:cubicBezTo>
                      <a:cubicBezTo>
                        <a:pt x="899" y="964"/>
                        <a:pt x="1138" y="772"/>
                        <a:pt x="1138" y="485"/>
                      </a:cubicBezTo>
                      <a:cubicBezTo>
                        <a:pt x="1138" y="206"/>
                        <a:pt x="920" y="1"/>
                        <a:pt x="654" y="1"/>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7885" name="Google Shape;7885;p104"/>
              <p:cNvGrpSpPr/>
              <p:nvPr/>
            </p:nvGrpSpPr>
            <p:grpSpPr>
              <a:xfrm>
                <a:off x="3925166" y="3491008"/>
                <a:ext cx="31405" cy="27001"/>
                <a:chOff x="3925166" y="3491008"/>
                <a:chExt cx="31405" cy="27001"/>
              </a:xfrm>
            </p:grpSpPr>
            <p:sp>
              <p:nvSpPr>
                <p:cNvPr id="7886" name="Google Shape;7886;p104"/>
                <p:cNvSpPr/>
                <p:nvPr/>
              </p:nvSpPr>
              <p:spPr>
                <a:xfrm>
                  <a:off x="3925166" y="3491008"/>
                  <a:ext cx="31405" cy="27001"/>
                </a:xfrm>
                <a:custGeom>
                  <a:avLst/>
                  <a:gdLst/>
                  <a:ahLst/>
                  <a:cxnLst/>
                  <a:rect l="l" t="t" r="r" b="b"/>
                  <a:pathLst>
                    <a:path w="3993" h="3433" extrusionOk="0">
                      <a:moveTo>
                        <a:pt x="2273" y="1"/>
                      </a:moveTo>
                      <a:cubicBezTo>
                        <a:pt x="1853" y="1"/>
                        <a:pt x="1425" y="157"/>
                        <a:pt x="1077" y="505"/>
                      </a:cubicBezTo>
                      <a:cubicBezTo>
                        <a:pt x="0" y="1582"/>
                        <a:pt x="763" y="3432"/>
                        <a:pt x="2287" y="3432"/>
                      </a:cubicBezTo>
                      <a:cubicBezTo>
                        <a:pt x="3230" y="3432"/>
                        <a:pt x="3992" y="2658"/>
                        <a:pt x="3992" y="1715"/>
                      </a:cubicBezTo>
                      <a:cubicBezTo>
                        <a:pt x="3992" y="683"/>
                        <a:pt x="3151" y="1"/>
                        <a:pt x="2273" y="1"/>
                      </a:cubicBez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887" name="Google Shape;7887;p104"/>
                <p:cNvSpPr/>
                <p:nvPr/>
              </p:nvSpPr>
              <p:spPr>
                <a:xfrm>
                  <a:off x="3939339" y="3500682"/>
                  <a:ext cx="7621" cy="7621"/>
                </a:xfrm>
                <a:custGeom>
                  <a:avLst/>
                  <a:gdLst/>
                  <a:ahLst/>
                  <a:cxnLst/>
                  <a:rect l="l" t="t" r="r" b="b"/>
                  <a:pathLst>
                    <a:path w="969" h="969" extrusionOk="0">
                      <a:moveTo>
                        <a:pt x="485" y="1"/>
                      </a:moveTo>
                      <a:cubicBezTo>
                        <a:pt x="219" y="1"/>
                        <a:pt x="1" y="218"/>
                        <a:pt x="1" y="485"/>
                      </a:cubicBezTo>
                      <a:cubicBezTo>
                        <a:pt x="1" y="751"/>
                        <a:pt x="219" y="968"/>
                        <a:pt x="485" y="968"/>
                      </a:cubicBezTo>
                      <a:cubicBezTo>
                        <a:pt x="751" y="968"/>
                        <a:pt x="969" y="751"/>
                        <a:pt x="969" y="485"/>
                      </a:cubicBezTo>
                      <a:cubicBezTo>
                        <a:pt x="969" y="218"/>
                        <a:pt x="751" y="1"/>
                        <a:pt x="485" y="1"/>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7888" name="Google Shape;7888;p104"/>
              <p:cNvGrpSpPr/>
              <p:nvPr/>
            </p:nvGrpSpPr>
            <p:grpSpPr>
              <a:xfrm>
                <a:off x="3682845" y="3340976"/>
                <a:ext cx="31397" cy="26898"/>
                <a:chOff x="3682845" y="3340976"/>
                <a:chExt cx="31397" cy="26898"/>
              </a:xfrm>
            </p:grpSpPr>
            <p:sp>
              <p:nvSpPr>
                <p:cNvPr id="7889" name="Google Shape;7889;p104"/>
                <p:cNvSpPr/>
                <p:nvPr/>
              </p:nvSpPr>
              <p:spPr>
                <a:xfrm>
                  <a:off x="3682845" y="3340976"/>
                  <a:ext cx="31397" cy="26898"/>
                </a:xfrm>
                <a:custGeom>
                  <a:avLst/>
                  <a:gdLst/>
                  <a:ahLst/>
                  <a:cxnLst/>
                  <a:rect l="l" t="t" r="r" b="b"/>
                  <a:pathLst>
                    <a:path w="3992" h="3420" extrusionOk="0">
                      <a:moveTo>
                        <a:pt x="2272" y="0"/>
                      </a:moveTo>
                      <a:cubicBezTo>
                        <a:pt x="1853" y="0"/>
                        <a:pt x="1425" y="156"/>
                        <a:pt x="1077" y="504"/>
                      </a:cubicBezTo>
                      <a:cubicBezTo>
                        <a:pt x="0" y="1581"/>
                        <a:pt x="762" y="3420"/>
                        <a:pt x="2286" y="3420"/>
                      </a:cubicBezTo>
                      <a:cubicBezTo>
                        <a:pt x="3230" y="3420"/>
                        <a:pt x="3992" y="2658"/>
                        <a:pt x="3992" y="1714"/>
                      </a:cubicBezTo>
                      <a:cubicBezTo>
                        <a:pt x="3992" y="683"/>
                        <a:pt x="3150" y="0"/>
                        <a:pt x="2272" y="0"/>
                      </a:cubicBez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890" name="Google Shape;7890;p104"/>
                <p:cNvSpPr/>
                <p:nvPr/>
              </p:nvSpPr>
              <p:spPr>
                <a:xfrm>
                  <a:off x="3695783" y="3350650"/>
                  <a:ext cx="8856" cy="7645"/>
                </a:xfrm>
                <a:custGeom>
                  <a:avLst/>
                  <a:gdLst/>
                  <a:ahLst/>
                  <a:cxnLst/>
                  <a:rect l="l" t="t" r="r" b="b"/>
                  <a:pathLst>
                    <a:path w="1126" h="972" extrusionOk="0">
                      <a:moveTo>
                        <a:pt x="641" y="0"/>
                      </a:moveTo>
                      <a:cubicBezTo>
                        <a:pt x="206" y="0"/>
                        <a:pt x="0" y="520"/>
                        <a:pt x="303" y="823"/>
                      </a:cubicBezTo>
                      <a:cubicBezTo>
                        <a:pt x="401" y="926"/>
                        <a:pt x="524" y="972"/>
                        <a:pt x="643" y="972"/>
                      </a:cubicBezTo>
                      <a:cubicBezTo>
                        <a:pt x="890" y="972"/>
                        <a:pt x="1125" y="777"/>
                        <a:pt x="1125" y="484"/>
                      </a:cubicBezTo>
                      <a:cubicBezTo>
                        <a:pt x="1125" y="218"/>
                        <a:pt x="907" y="0"/>
                        <a:pt x="641" y="0"/>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7891" name="Google Shape;7891;p104"/>
              <p:cNvGrpSpPr/>
              <p:nvPr/>
            </p:nvGrpSpPr>
            <p:grpSpPr>
              <a:xfrm>
                <a:off x="3795393" y="3353725"/>
                <a:ext cx="31499" cy="26993"/>
                <a:chOff x="3795393" y="3353725"/>
                <a:chExt cx="31499" cy="26993"/>
              </a:xfrm>
            </p:grpSpPr>
            <p:sp>
              <p:nvSpPr>
                <p:cNvPr id="7892" name="Google Shape;7892;p104"/>
                <p:cNvSpPr/>
                <p:nvPr/>
              </p:nvSpPr>
              <p:spPr>
                <a:xfrm>
                  <a:off x="3795393" y="3353725"/>
                  <a:ext cx="31499" cy="26993"/>
                </a:xfrm>
                <a:custGeom>
                  <a:avLst/>
                  <a:gdLst/>
                  <a:ahLst/>
                  <a:cxnLst/>
                  <a:rect l="l" t="t" r="r" b="b"/>
                  <a:pathLst>
                    <a:path w="4005" h="3432" extrusionOk="0">
                      <a:moveTo>
                        <a:pt x="2285" y="0"/>
                      </a:moveTo>
                      <a:cubicBezTo>
                        <a:pt x="1865" y="0"/>
                        <a:pt x="1437" y="156"/>
                        <a:pt x="1089" y="504"/>
                      </a:cubicBezTo>
                      <a:cubicBezTo>
                        <a:pt x="0" y="1581"/>
                        <a:pt x="775" y="3432"/>
                        <a:pt x="2299" y="3432"/>
                      </a:cubicBezTo>
                      <a:cubicBezTo>
                        <a:pt x="3242" y="3432"/>
                        <a:pt x="4005" y="2658"/>
                        <a:pt x="4005" y="1714"/>
                      </a:cubicBezTo>
                      <a:cubicBezTo>
                        <a:pt x="4005" y="683"/>
                        <a:pt x="3163" y="0"/>
                        <a:pt x="2285" y="0"/>
                      </a:cubicBez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893" name="Google Shape;7893;p104"/>
                <p:cNvSpPr/>
                <p:nvPr/>
              </p:nvSpPr>
              <p:spPr>
                <a:xfrm>
                  <a:off x="3809668" y="3363399"/>
                  <a:ext cx="7613" cy="7613"/>
                </a:xfrm>
                <a:custGeom>
                  <a:avLst/>
                  <a:gdLst/>
                  <a:ahLst/>
                  <a:cxnLst/>
                  <a:rect l="l" t="t" r="r" b="b"/>
                  <a:pathLst>
                    <a:path w="968" h="968" extrusionOk="0">
                      <a:moveTo>
                        <a:pt x="484" y="0"/>
                      </a:moveTo>
                      <a:cubicBezTo>
                        <a:pt x="206" y="0"/>
                        <a:pt x="0" y="218"/>
                        <a:pt x="0" y="484"/>
                      </a:cubicBezTo>
                      <a:cubicBezTo>
                        <a:pt x="0" y="750"/>
                        <a:pt x="206" y="968"/>
                        <a:pt x="484" y="968"/>
                      </a:cubicBezTo>
                      <a:cubicBezTo>
                        <a:pt x="750" y="968"/>
                        <a:pt x="968" y="750"/>
                        <a:pt x="968" y="484"/>
                      </a:cubicBezTo>
                      <a:cubicBezTo>
                        <a:pt x="968" y="218"/>
                        <a:pt x="750" y="0"/>
                        <a:pt x="484" y="0"/>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7894" name="Google Shape;7894;p104"/>
              <p:cNvGrpSpPr/>
              <p:nvPr/>
            </p:nvGrpSpPr>
            <p:grpSpPr>
              <a:xfrm>
                <a:off x="4176909" y="4363221"/>
                <a:ext cx="38924" cy="33316"/>
                <a:chOff x="4176909" y="4363221"/>
                <a:chExt cx="38924" cy="33316"/>
              </a:xfrm>
            </p:grpSpPr>
            <p:sp>
              <p:nvSpPr>
                <p:cNvPr id="7895" name="Google Shape;7895;p104"/>
                <p:cNvSpPr/>
                <p:nvPr/>
              </p:nvSpPr>
              <p:spPr>
                <a:xfrm>
                  <a:off x="4176909" y="4363221"/>
                  <a:ext cx="38924" cy="33316"/>
                </a:xfrm>
                <a:custGeom>
                  <a:avLst/>
                  <a:gdLst/>
                  <a:ahLst/>
                  <a:cxnLst/>
                  <a:rect l="l" t="t" r="r" b="b"/>
                  <a:pathLst>
                    <a:path w="4949" h="4236" extrusionOk="0">
                      <a:moveTo>
                        <a:pt x="2823" y="0"/>
                      </a:moveTo>
                      <a:cubicBezTo>
                        <a:pt x="2301" y="0"/>
                        <a:pt x="1767" y="195"/>
                        <a:pt x="1331" y="631"/>
                      </a:cubicBezTo>
                      <a:cubicBezTo>
                        <a:pt x="1" y="1961"/>
                        <a:pt x="944" y="4236"/>
                        <a:pt x="2831" y="4236"/>
                      </a:cubicBezTo>
                      <a:cubicBezTo>
                        <a:pt x="4005" y="4236"/>
                        <a:pt x="4948" y="3292"/>
                        <a:pt x="4948" y="2119"/>
                      </a:cubicBezTo>
                      <a:cubicBezTo>
                        <a:pt x="4948" y="844"/>
                        <a:pt x="3911" y="0"/>
                        <a:pt x="2823" y="0"/>
                      </a:cubicBez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896" name="Google Shape;7896;p104"/>
                <p:cNvSpPr/>
                <p:nvPr/>
              </p:nvSpPr>
              <p:spPr>
                <a:xfrm>
                  <a:off x="4192230" y="4372934"/>
                  <a:ext cx="13897" cy="13992"/>
                </a:xfrm>
                <a:custGeom>
                  <a:avLst/>
                  <a:gdLst/>
                  <a:ahLst/>
                  <a:cxnLst/>
                  <a:rect l="l" t="t" r="r" b="b"/>
                  <a:pathLst>
                    <a:path w="1767" h="1779" extrusionOk="0">
                      <a:moveTo>
                        <a:pt x="883" y="1"/>
                      </a:moveTo>
                      <a:cubicBezTo>
                        <a:pt x="399" y="1"/>
                        <a:pt x="0" y="400"/>
                        <a:pt x="0" y="896"/>
                      </a:cubicBezTo>
                      <a:cubicBezTo>
                        <a:pt x="0" y="1380"/>
                        <a:pt x="399" y="1779"/>
                        <a:pt x="883" y="1779"/>
                      </a:cubicBezTo>
                      <a:cubicBezTo>
                        <a:pt x="1379" y="1779"/>
                        <a:pt x="1766" y="1380"/>
                        <a:pt x="1766" y="896"/>
                      </a:cubicBezTo>
                      <a:cubicBezTo>
                        <a:pt x="1766" y="400"/>
                        <a:pt x="1379" y="1"/>
                        <a:pt x="883" y="1"/>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7897" name="Google Shape;7897;p104"/>
              <p:cNvGrpSpPr/>
              <p:nvPr/>
            </p:nvGrpSpPr>
            <p:grpSpPr>
              <a:xfrm>
                <a:off x="4226191" y="4007660"/>
                <a:ext cx="33560" cy="28770"/>
                <a:chOff x="4226191" y="4007660"/>
                <a:chExt cx="33560" cy="28770"/>
              </a:xfrm>
            </p:grpSpPr>
            <p:sp>
              <p:nvSpPr>
                <p:cNvPr id="7898" name="Google Shape;7898;p104"/>
                <p:cNvSpPr/>
                <p:nvPr/>
              </p:nvSpPr>
              <p:spPr>
                <a:xfrm>
                  <a:off x="4226191" y="4007660"/>
                  <a:ext cx="33560" cy="28770"/>
                </a:xfrm>
                <a:custGeom>
                  <a:avLst/>
                  <a:gdLst/>
                  <a:ahLst/>
                  <a:cxnLst/>
                  <a:rect l="l" t="t" r="r" b="b"/>
                  <a:pathLst>
                    <a:path w="4267" h="3658" extrusionOk="0">
                      <a:moveTo>
                        <a:pt x="2427" y="1"/>
                      </a:moveTo>
                      <a:cubicBezTo>
                        <a:pt x="1980" y="1"/>
                        <a:pt x="1524" y="167"/>
                        <a:pt x="1150" y="537"/>
                      </a:cubicBezTo>
                      <a:cubicBezTo>
                        <a:pt x="1" y="1686"/>
                        <a:pt x="811" y="3645"/>
                        <a:pt x="2444" y="3658"/>
                      </a:cubicBezTo>
                      <a:cubicBezTo>
                        <a:pt x="3436" y="3645"/>
                        <a:pt x="4259" y="2835"/>
                        <a:pt x="4259" y="1843"/>
                      </a:cubicBezTo>
                      <a:cubicBezTo>
                        <a:pt x="4267" y="736"/>
                        <a:pt x="3369" y="1"/>
                        <a:pt x="2427" y="1"/>
                      </a:cubicBez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899" name="Google Shape;7899;p104"/>
                <p:cNvSpPr/>
                <p:nvPr/>
              </p:nvSpPr>
              <p:spPr>
                <a:xfrm>
                  <a:off x="4239129" y="4017397"/>
                  <a:ext cx="10948" cy="9383"/>
                </a:xfrm>
                <a:custGeom>
                  <a:avLst/>
                  <a:gdLst/>
                  <a:ahLst/>
                  <a:cxnLst/>
                  <a:rect l="l" t="t" r="r" b="b"/>
                  <a:pathLst>
                    <a:path w="1392" h="1193" extrusionOk="0">
                      <a:moveTo>
                        <a:pt x="787" y="0"/>
                      </a:moveTo>
                      <a:cubicBezTo>
                        <a:pt x="267" y="0"/>
                        <a:pt x="1" y="641"/>
                        <a:pt x="376" y="1016"/>
                      </a:cubicBezTo>
                      <a:cubicBezTo>
                        <a:pt x="497" y="1138"/>
                        <a:pt x="647" y="1192"/>
                        <a:pt x="794" y="1192"/>
                      </a:cubicBezTo>
                      <a:cubicBezTo>
                        <a:pt x="1099" y="1192"/>
                        <a:pt x="1392" y="957"/>
                        <a:pt x="1392" y="605"/>
                      </a:cubicBezTo>
                      <a:cubicBezTo>
                        <a:pt x="1392" y="266"/>
                        <a:pt x="1126" y="0"/>
                        <a:pt x="787" y="0"/>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7900" name="Google Shape;7900;p104"/>
              <p:cNvGrpSpPr/>
              <p:nvPr/>
            </p:nvGrpSpPr>
            <p:grpSpPr>
              <a:xfrm>
                <a:off x="3597785" y="3377045"/>
                <a:ext cx="33591" cy="28699"/>
                <a:chOff x="3597785" y="3377045"/>
                <a:chExt cx="33591" cy="28699"/>
              </a:xfrm>
            </p:grpSpPr>
            <p:sp>
              <p:nvSpPr>
                <p:cNvPr id="7901" name="Google Shape;7901;p104"/>
                <p:cNvSpPr/>
                <p:nvPr/>
              </p:nvSpPr>
              <p:spPr>
                <a:xfrm>
                  <a:off x="3597785" y="3377045"/>
                  <a:ext cx="33591" cy="28699"/>
                </a:xfrm>
                <a:custGeom>
                  <a:avLst/>
                  <a:gdLst/>
                  <a:ahLst/>
                  <a:cxnLst/>
                  <a:rect l="l" t="t" r="r" b="b"/>
                  <a:pathLst>
                    <a:path w="4271" h="3649" extrusionOk="0">
                      <a:moveTo>
                        <a:pt x="2428" y="0"/>
                      </a:moveTo>
                      <a:cubicBezTo>
                        <a:pt x="1979" y="0"/>
                        <a:pt x="1522" y="167"/>
                        <a:pt x="1150" y="539"/>
                      </a:cubicBezTo>
                      <a:cubicBezTo>
                        <a:pt x="0" y="1676"/>
                        <a:pt x="811" y="3648"/>
                        <a:pt x="2444" y="3648"/>
                      </a:cubicBezTo>
                      <a:cubicBezTo>
                        <a:pt x="3448" y="3648"/>
                        <a:pt x="4259" y="2826"/>
                        <a:pt x="4271" y="1822"/>
                      </a:cubicBezTo>
                      <a:cubicBezTo>
                        <a:pt x="4262" y="726"/>
                        <a:pt x="3364" y="0"/>
                        <a:pt x="2428" y="0"/>
                      </a:cubicBez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902" name="Google Shape;7902;p104"/>
                <p:cNvSpPr/>
                <p:nvPr/>
              </p:nvSpPr>
              <p:spPr>
                <a:xfrm>
                  <a:off x="3612343" y="3386703"/>
                  <a:ext cx="9328" cy="9336"/>
                </a:xfrm>
                <a:custGeom>
                  <a:avLst/>
                  <a:gdLst/>
                  <a:ahLst/>
                  <a:cxnLst/>
                  <a:rect l="l" t="t" r="r" b="b"/>
                  <a:pathLst>
                    <a:path w="1186" h="1187" extrusionOk="0">
                      <a:moveTo>
                        <a:pt x="593" y="1"/>
                      </a:moveTo>
                      <a:cubicBezTo>
                        <a:pt x="266" y="1"/>
                        <a:pt x="0" y="267"/>
                        <a:pt x="0" y="594"/>
                      </a:cubicBezTo>
                      <a:cubicBezTo>
                        <a:pt x="0" y="920"/>
                        <a:pt x="266" y="1186"/>
                        <a:pt x="593" y="1186"/>
                      </a:cubicBezTo>
                      <a:cubicBezTo>
                        <a:pt x="920" y="1186"/>
                        <a:pt x="1186" y="920"/>
                        <a:pt x="1186" y="594"/>
                      </a:cubicBezTo>
                      <a:cubicBezTo>
                        <a:pt x="1186" y="267"/>
                        <a:pt x="920" y="1"/>
                        <a:pt x="593" y="1"/>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7903" name="Google Shape;7903;p104"/>
              <p:cNvGrpSpPr/>
              <p:nvPr/>
            </p:nvGrpSpPr>
            <p:grpSpPr>
              <a:xfrm>
                <a:off x="3887870" y="3669796"/>
                <a:ext cx="33591" cy="28692"/>
                <a:chOff x="3887870" y="3669796"/>
                <a:chExt cx="33591" cy="28692"/>
              </a:xfrm>
            </p:grpSpPr>
            <p:sp>
              <p:nvSpPr>
                <p:cNvPr id="7904" name="Google Shape;7904;p104"/>
                <p:cNvSpPr/>
                <p:nvPr/>
              </p:nvSpPr>
              <p:spPr>
                <a:xfrm>
                  <a:off x="3887870" y="3669796"/>
                  <a:ext cx="33591" cy="28692"/>
                </a:xfrm>
                <a:custGeom>
                  <a:avLst/>
                  <a:gdLst/>
                  <a:ahLst/>
                  <a:cxnLst/>
                  <a:rect l="l" t="t" r="r" b="b"/>
                  <a:pathLst>
                    <a:path w="4271" h="3648" extrusionOk="0">
                      <a:moveTo>
                        <a:pt x="2431" y="0"/>
                      </a:moveTo>
                      <a:cubicBezTo>
                        <a:pt x="1981" y="0"/>
                        <a:pt x="1522" y="167"/>
                        <a:pt x="1150" y="539"/>
                      </a:cubicBezTo>
                      <a:cubicBezTo>
                        <a:pt x="1" y="1676"/>
                        <a:pt x="823" y="3648"/>
                        <a:pt x="2444" y="3648"/>
                      </a:cubicBezTo>
                      <a:cubicBezTo>
                        <a:pt x="3448" y="3648"/>
                        <a:pt x="4271" y="2825"/>
                        <a:pt x="4271" y="1821"/>
                      </a:cubicBezTo>
                      <a:cubicBezTo>
                        <a:pt x="4271" y="725"/>
                        <a:pt x="3370" y="0"/>
                        <a:pt x="2431" y="0"/>
                      </a:cubicBez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905" name="Google Shape;7905;p104"/>
                <p:cNvSpPr/>
                <p:nvPr/>
              </p:nvSpPr>
              <p:spPr>
                <a:xfrm>
                  <a:off x="3902428" y="3679454"/>
                  <a:ext cx="9422" cy="9328"/>
                </a:xfrm>
                <a:custGeom>
                  <a:avLst/>
                  <a:gdLst/>
                  <a:ahLst/>
                  <a:cxnLst/>
                  <a:rect l="l" t="t" r="r" b="b"/>
                  <a:pathLst>
                    <a:path w="1198" h="1186" extrusionOk="0">
                      <a:moveTo>
                        <a:pt x="593" y="1"/>
                      </a:moveTo>
                      <a:cubicBezTo>
                        <a:pt x="266" y="1"/>
                        <a:pt x="0" y="267"/>
                        <a:pt x="0" y="593"/>
                      </a:cubicBezTo>
                      <a:cubicBezTo>
                        <a:pt x="0" y="920"/>
                        <a:pt x="266" y="1186"/>
                        <a:pt x="593" y="1186"/>
                      </a:cubicBezTo>
                      <a:cubicBezTo>
                        <a:pt x="932" y="1186"/>
                        <a:pt x="1198" y="920"/>
                        <a:pt x="1198" y="593"/>
                      </a:cubicBezTo>
                      <a:cubicBezTo>
                        <a:pt x="1198" y="267"/>
                        <a:pt x="932" y="1"/>
                        <a:pt x="593" y="1"/>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7906" name="Google Shape;7906;p104"/>
              <p:cNvGrpSpPr/>
              <p:nvPr/>
            </p:nvGrpSpPr>
            <p:grpSpPr>
              <a:xfrm>
                <a:off x="3818320" y="3481625"/>
                <a:ext cx="33497" cy="28770"/>
                <a:chOff x="3818320" y="3481625"/>
                <a:chExt cx="33497" cy="28770"/>
              </a:xfrm>
            </p:grpSpPr>
            <p:sp>
              <p:nvSpPr>
                <p:cNvPr id="7907" name="Google Shape;7907;p104"/>
                <p:cNvSpPr/>
                <p:nvPr/>
              </p:nvSpPr>
              <p:spPr>
                <a:xfrm>
                  <a:off x="3818320" y="3481625"/>
                  <a:ext cx="33497" cy="28770"/>
                </a:xfrm>
                <a:custGeom>
                  <a:avLst/>
                  <a:gdLst/>
                  <a:ahLst/>
                  <a:cxnLst/>
                  <a:rect l="l" t="t" r="r" b="b"/>
                  <a:pathLst>
                    <a:path w="4259" h="3658" extrusionOk="0">
                      <a:moveTo>
                        <a:pt x="2421" y="1"/>
                      </a:moveTo>
                      <a:cubicBezTo>
                        <a:pt x="1975" y="1"/>
                        <a:pt x="1520" y="166"/>
                        <a:pt x="1150" y="537"/>
                      </a:cubicBezTo>
                      <a:cubicBezTo>
                        <a:pt x="1" y="1686"/>
                        <a:pt x="811" y="3658"/>
                        <a:pt x="2432" y="3658"/>
                      </a:cubicBezTo>
                      <a:cubicBezTo>
                        <a:pt x="3448" y="3658"/>
                        <a:pt x="4259" y="2835"/>
                        <a:pt x="4259" y="1831"/>
                      </a:cubicBezTo>
                      <a:cubicBezTo>
                        <a:pt x="4259" y="732"/>
                        <a:pt x="3359" y="1"/>
                        <a:pt x="2421" y="1"/>
                      </a:cubicBez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908" name="Google Shape;7908;p104"/>
                <p:cNvSpPr/>
                <p:nvPr/>
              </p:nvSpPr>
              <p:spPr>
                <a:xfrm>
                  <a:off x="3831258" y="3491362"/>
                  <a:ext cx="10956" cy="9375"/>
                </a:xfrm>
                <a:custGeom>
                  <a:avLst/>
                  <a:gdLst/>
                  <a:ahLst/>
                  <a:cxnLst/>
                  <a:rect l="l" t="t" r="r" b="b"/>
                  <a:pathLst>
                    <a:path w="1393" h="1192" extrusionOk="0">
                      <a:moveTo>
                        <a:pt x="787" y="0"/>
                      </a:moveTo>
                      <a:cubicBezTo>
                        <a:pt x="267" y="0"/>
                        <a:pt x="1" y="641"/>
                        <a:pt x="376" y="1016"/>
                      </a:cubicBezTo>
                      <a:cubicBezTo>
                        <a:pt x="497" y="1137"/>
                        <a:pt x="646" y="1192"/>
                        <a:pt x="792" y="1192"/>
                      </a:cubicBezTo>
                      <a:cubicBezTo>
                        <a:pt x="1098" y="1192"/>
                        <a:pt x="1392" y="953"/>
                        <a:pt x="1392" y="593"/>
                      </a:cubicBezTo>
                      <a:cubicBezTo>
                        <a:pt x="1392" y="266"/>
                        <a:pt x="1126" y="0"/>
                        <a:pt x="787" y="0"/>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7909" name="Google Shape;7909;p104"/>
              <p:cNvGrpSpPr/>
              <p:nvPr/>
            </p:nvGrpSpPr>
            <p:grpSpPr>
              <a:xfrm>
                <a:off x="4278139" y="4120948"/>
                <a:ext cx="37492" cy="32129"/>
                <a:chOff x="4278139" y="4120948"/>
                <a:chExt cx="37492" cy="32129"/>
              </a:xfrm>
            </p:grpSpPr>
            <p:sp>
              <p:nvSpPr>
                <p:cNvPr id="7910" name="Google Shape;7910;p104"/>
                <p:cNvSpPr/>
                <p:nvPr/>
              </p:nvSpPr>
              <p:spPr>
                <a:xfrm>
                  <a:off x="4278139" y="4120948"/>
                  <a:ext cx="37492" cy="32129"/>
                </a:xfrm>
                <a:custGeom>
                  <a:avLst/>
                  <a:gdLst/>
                  <a:ahLst/>
                  <a:cxnLst/>
                  <a:rect l="l" t="t" r="r" b="b"/>
                  <a:pathLst>
                    <a:path w="4767" h="4085" extrusionOk="0">
                      <a:moveTo>
                        <a:pt x="2708" y="0"/>
                      </a:moveTo>
                      <a:cubicBezTo>
                        <a:pt x="2207" y="0"/>
                        <a:pt x="1697" y="186"/>
                        <a:pt x="1283" y="600"/>
                      </a:cubicBezTo>
                      <a:cubicBezTo>
                        <a:pt x="1" y="1895"/>
                        <a:pt x="908" y="4084"/>
                        <a:pt x="2722" y="4084"/>
                      </a:cubicBezTo>
                      <a:cubicBezTo>
                        <a:pt x="3847" y="4084"/>
                        <a:pt x="4755" y="3177"/>
                        <a:pt x="4767" y="2052"/>
                      </a:cubicBezTo>
                      <a:cubicBezTo>
                        <a:pt x="4767" y="815"/>
                        <a:pt x="3758" y="0"/>
                        <a:pt x="2708" y="0"/>
                      </a:cubicBez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911" name="Google Shape;7911;p104"/>
                <p:cNvSpPr/>
                <p:nvPr/>
              </p:nvSpPr>
              <p:spPr>
                <a:xfrm>
                  <a:off x="4290983" y="4130614"/>
                  <a:ext cx="14943" cy="12812"/>
                </a:xfrm>
                <a:custGeom>
                  <a:avLst/>
                  <a:gdLst/>
                  <a:ahLst/>
                  <a:cxnLst/>
                  <a:rect l="l" t="t" r="r" b="b"/>
                  <a:pathLst>
                    <a:path w="1900" h="1629" extrusionOk="0">
                      <a:moveTo>
                        <a:pt x="1089" y="0"/>
                      </a:moveTo>
                      <a:cubicBezTo>
                        <a:pt x="363" y="0"/>
                        <a:pt x="1" y="883"/>
                        <a:pt x="509" y="1391"/>
                      </a:cubicBezTo>
                      <a:cubicBezTo>
                        <a:pt x="673" y="1555"/>
                        <a:pt x="876" y="1629"/>
                        <a:pt x="1076" y="1629"/>
                      </a:cubicBezTo>
                      <a:cubicBezTo>
                        <a:pt x="1495" y="1629"/>
                        <a:pt x="1900" y="1306"/>
                        <a:pt x="1900" y="823"/>
                      </a:cubicBezTo>
                      <a:cubicBezTo>
                        <a:pt x="1900" y="363"/>
                        <a:pt x="1537" y="0"/>
                        <a:pt x="1089" y="0"/>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7912" name="Google Shape;7912;p104"/>
              <p:cNvGrpSpPr/>
              <p:nvPr/>
            </p:nvGrpSpPr>
            <p:grpSpPr>
              <a:xfrm>
                <a:off x="4419898" y="3977388"/>
                <a:ext cx="33497" cy="28692"/>
                <a:chOff x="4419898" y="3977388"/>
                <a:chExt cx="33497" cy="28692"/>
              </a:xfrm>
            </p:grpSpPr>
            <p:sp>
              <p:nvSpPr>
                <p:cNvPr id="7913" name="Google Shape;7913;p104"/>
                <p:cNvSpPr/>
                <p:nvPr/>
              </p:nvSpPr>
              <p:spPr>
                <a:xfrm>
                  <a:off x="4419898" y="3977388"/>
                  <a:ext cx="33497" cy="28692"/>
                </a:xfrm>
                <a:custGeom>
                  <a:avLst/>
                  <a:gdLst/>
                  <a:ahLst/>
                  <a:cxnLst/>
                  <a:rect l="l" t="t" r="r" b="b"/>
                  <a:pathLst>
                    <a:path w="4259" h="3648" extrusionOk="0">
                      <a:moveTo>
                        <a:pt x="2426" y="0"/>
                      </a:moveTo>
                      <a:cubicBezTo>
                        <a:pt x="1979" y="0"/>
                        <a:pt x="1522" y="167"/>
                        <a:pt x="1150" y="539"/>
                      </a:cubicBezTo>
                      <a:cubicBezTo>
                        <a:pt x="1" y="1688"/>
                        <a:pt x="811" y="3648"/>
                        <a:pt x="2432" y="3648"/>
                      </a:cubicBezTo>
                      <a:cubicBezTo>
                        <a:pt x="3448" y="3648"/>
                        <a:pt x="4259" y="2837"/>
                        <a:pt x="4259" y="1833"/>
                      </a:cubicBezTo>
                      <a:cubicBezTo>
                        <a:pt x="4259" y="729"/>
                        <a:pt x="3362" y="0"/>
                        <a:pt x="2426" y="0"/>
                      </a:cubicBez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914" name="Google Shape;7914;p104"/>
                <p:cNvSpPr/>
                <p:nvPr/>
              </p:nvSpPr>
              <p:spPr>
                <a:xfrm>
                  <a:off x="4432742" y="3987046"/>
                  <a:ext cx="11042" cy="9399"/>
                </a:xfrm>
                <a:custGeom>
                  <a:avLst/>
                  <a:gdLst/>
                  <a:ahLst/>
                  <a:cxnLst/>
                  <a:rect l="l" t="t" r="r" b="b"/>
                  <a:pathLst>
                    <a:path w="1404" h="1195" extrusionOk="0">
                      <a:moveTo>
                        <a:pt x="799" y="0"/>
                      </a:moveTo>
                      <a:cubicBezTo>
                        <a:pt x="267" y="0"/>
                        <a:pt x="1" y="641"/>
                        <a:pt x="376" y="1016"/>
                      </a:cubicBezTo>
                      <a:cubicBezTo>
                        <a:pt x="499" y="1139"/>
                        <a:pt x="650" y="1195"/>
                        <a:pt x="799" y="1195"/>
                      </a:cubicBezTo>
                      <a:cubicBezTo>
                        <a:pt x="1104" y="1195"/>
                        <a:pt x="1396" y="963"/>
                        <a:pt x="1404" y="605"/>
                      </a:cubicBezTo>
                      <a:cubicBezTo>
                        <a:pt x="1404" y="266"/>
                        <a:pt x="1138" y="0"/>
                        <a:pt x="799" y="0"/>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7915" name="Google Shape;7915;p104"/>
              <p:cNvGrpSpPr/>
              <p:nvPr/>
            </p:nvGrpSpPr>
            <p:grpSpPr>
              <a:xfrm>
                <a:off x="4158930" y="4034684"/>
                <a:ext cx="33497" cy="28762"/>
                <a:chOff x="4158930" y="4034684"/>
                <a:chExt cx="33497" cy="28762"/>
              </a:xfrm>
            </p:grpSpPr>
            <p:sp>
              <p:nvSpPr>
                <p:cNvPr id="7916" name="Google Shape;7916;p104"/>
                <p:cNvSpPr/>
                <p:nvPr/>
              </p:nvSpPr>
              <p:spPr>
                <a:xfrm>
                  <a:off x="4158930" y="4034684"/>
                  <a:ext cx="33497" cy="28762"/>
                </a:xfrm>
                <a:custGeom>
                  <a:avLst/>
                  <a:gdLst/>
                  <a:ahLst/>
                  <a:cxnLst/>
                  <a:rect l="l" t="t" r="r" b="b"/>
                  <a:pathLst>
                    <a:path w="4259" h="3657" extrusionOk="0">
                      <a:moveTo>
                        <a:pt x="2421" y="0"/>
                      </a:moveTo>
                      <a:cubicBezTo>
                        <a:pt x="1974" y="0"/>
                        <a:pt x="1520" y="166"/>
                        <a:pt x="1149" y="536"/>
                      </a:cubicBezTo>
                      <a:cubicBezTo>
                        <a:pt x="0" y="1685"/>
                        <a:pt x="811" y="3645"/>
                        <a:pt x="2432" y="3657"/>
                      </a:cubicBezTo>
                      <a:cubicBezTo>
                        <a:pt x="3436" y="3645"/>
                        <a:pt x="4258" y="2834"/>
                        <a:pt x="4258" y="1830"/>
                      </a:cubicBezTo>
                      <a:cubicBezTo>
                        <a:pt x="4258" y="732"/>
                        <a:pt x="3358" y="0"/>
                        <a:pt x="2421" y="0"/>
                      </a:cubicBez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917" name="Google Shape;7917;p104"/>
                <p:cNvSpPr/>
                <p:nvPr/>
              </p:nvSpPr>
              <p:spPr>
                <a:xfrm>
                  <a:off x="4173385" y="4044319"/>
                  <a:ext cx="9336" cy="9430"/>
                </a:xfrm>
                <a:custGeom>
                  <a:avLst/>
                  <a:gdLst/>
                  <a:ahLst/>
                  <a:cxnLst/>
                  <a:rect l="l" t="t" r="r" b="b"/>
                  <a:pathLst>
                    <a:path w="1187" h="1199" extrusionOk="0">
                      <a:moveTo>
                        <a:pt x="594" y="1"/>
                      </a:moveTo>
                      <a:cubicBezTo>
                        <a:pt x="267" y="1"/>
                        <a:pt x="1" y="279"/>
                        <a:pt x="1" y="605"/>
                      </a:cubicBezTo>
                      <a:cubicBezTo>
                        <a:pt x="1" y="932"/>
                        <a:pt x="267" y="1198"/>
                        <a:pt x="594" y="1198"/>
                      </a:cubicBezTo>
                      <a:cubicBezTo>
                        <a:pt x="920" y="1198"/>
                        <a:pt x="1186" y="932"/>
                        <a:pt x="1186" y="605"/>
                      </a:cubicBezTo>
                      <a:cubicBezTo>
                        <a:pt x="1186" y="279"/>
                        <a:pt x="920" y="1"/>
                        <a:pt x="594" y="1"/>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7918" name="Google Shape;7918;p104"/>
              <p:cNvGrpSpPr/>
              <p:nvPr/>
            </p:nvGrpSpPr>
            <p:grpSpPr>
              <a:xfrm>
                <a:off x="4134949" y="3957049"/>
                <a:ext cx="33497" cy="28770"/>
                <a:chOff x="4134949" y="3957049"/>
                <a:chExt cx="33497" cy="28770"/>
              </a:xfrm>
            </p:grpSpPr>
            <p:sp>
              <p:nvSpPr>
                <p:cNvPr id="7919" name="Google Shape;7919;p104"/>
                <p:cNvSpPr/>
                <p:nvPr/>
              </p:nvSpPr>
              <p:spPr>
                <a:xfrm>
                  <a:off x="4134949" y="3957049"/>
                  <a:ext cx="33497" cy="28770"/>
                </a:xfrm>
                <a:custGeom>
                  <a:avLst/>
                  <a:gdLst/>
                  <a:ahLst/>
                  <a:cxnLst/>
                  <a:rect l="l" t="t" r="r" b="b"/>
                  <a:pathLst>
                    <a:path w="4259" h="3658" extrusionOk="0">
                      <a:moveTo>
                        <a:pt x="2421" y="0"/>
                      </a:moveTo>
                      <a:cubicBezTo>
                        <a:pt x="1975" y="0"/>
                        <a:pt x="1520" y="166"/>
                        <a:pt x="1150" y="536"/>
                      </a:cubicBezTo>
                      <a:cubicBezTo>
                        <a:pt x="1" y="1685"/>
                        <a:pt x="811" y="3657"/>
                        <a:pt x="2432" y="3657"/>
                      </a:cubicBezTo>
                      <a:cubicBezTo>
                        <a:pt x="3436" y="3657"/>
                        <a:pt x="4259" y="2834"/>
                        <a:pt x="4259" y="1830"/>
                      </a:cubicBezTo>
                      <a:cubicBezTo>
                        <a:pt x="4259" y="732"/>
                        <a:pt x="3359" y="0"/>
                        <a:pt x="2421" y="0"/>
                      </a:cubicBez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920" name="Google Shape;7920;p104"/>
                <p:cNvSpPr/>
                <p:nvPr/>
              </p:nvSpPr>
              <p:spPr>
                <a:xfrm>
                  <a:off x="4147793" y="3966778"/>
                  <a:ext cx="10956" cy="9383"/>
                </a:xfrm>
                <a:custGeom>
                  <a:avLst/>
                  <a:gdLst/>
                  <a:ahLst/>
                  <a:cxnLst/>
                  <a:rect l="l" t="t" r="r" b="b"/>
                  <a:pathLst>
                    <a:path w="1393" h="1193" extrusionOk="0">
                      <a:moveTo>
                        <a:pt x="799" y="1"/>
                      </a:moveTo>
                      <a:cubicBezTo>
                        <a:pt x="267" y="1"/>
                        <a:pt x="1" y="642"/>
                        <a:pt x="376" y="1017"/>
                      </a:cubicBezTo>
                      <a:cubicBezTo>
                        <a:pt x="497" y="1138"/>
                        <a:pt x="646" y="1192"/>
                        <a:pt x="792" y="1192"/>
                      </a:cubicBezTo>
                      <a:cubicBezTo>
                        <a:pt x="1098" y="1192"/>
                        <a:pt x="1392" y="954"/>
                        <a:pt x="1392" y="593"/>
                      </a:cubicBezTo>
                      <a:cubicBezTo>
                        <a:pt x="1392" y="267"/>
                        <a:pt x="1126" y="1"/>
                        <a:pt x="799" y="1"/>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7921" name="Google Shape;7921;p104"/>
              <p:cNvGrpSpPr/>
              <p:nvPr/>
            </p:nvGrpSpPr>
            <p:grpSpPr>
              <a:xfrm>
                <a:off x="4193653" y="4184403"/>
                <a:ext cx="43580" cy="37264"/>
                <a:chOff x="4193653" y="4184403"/>
                <a:chExt cx="43580" cy="37264"/>
              </a:xfrm>
            </p:grpSpPr>
            <p:sp>
              <p:nvSpPr>
                <p:cNvPr id="7922" name="Google Shape;7922;p104"/>
                <p:cNvSpPr/>
                <p:nvPr/>
              </p:nvSpPr>
              <p:spPr>
                <a:xfrm>
                  <a:off x="4193653" y="4184403"/>
                  <a:ext cx="43580" cy="37264"/>
                </a:xfrm>
                <a:custGeom>
                  <a:avLst/>
                  <a:gdLst/>
                  <a:ahLst/>
                  <a:cxnLst/>
                  <a:rect l="l" t="t" r="r" b="b"/>
                  <a:pathLst>
                    <a:path w="5541" h="4738" extrusionOk="0">
                      <a:moveTo>
                        <a:pt x="3156" y="1"/>
                      </a:moveTo>
                      <a:cubicBezTo>
                        <a:pt x="2575" y="1"/>
                        <a:pt x="1982" y="216"/>
                        <a:pt x="1501" y="698"/>
                      </a:cubicBezTo>
                      <a:cubicBezTo>
                        <a:pt x="1" y="2185"/>
                        <a:pt x="1065" y="4738"/>
                        <a:pt x="3170" y="4738"/>
                      </a:cubicBezTo>
                      <a:cubicBezTo>
                        <a:pt x="4476" y="4738"/>
                        <a:pt x="5529" y="3673"/>
                        <a:pt x="5541" y="2367"/>
                      </a:cubicBezTo>
                      <a:cubicBezTo>
                        <a:pt x="5541" y="943"/>
                        <a:pt x="4373" y="1"/>
                        <a:pt x="3156" y="1"/>
                      </a:cubicBez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923" name="Google Shape;7923;p104"/>
                <p:cNvSpPr/>
                <p:nvPr/>
              </p:nvSpPr>
              <p:spPr>
                <a:xfrm>
                  <a:off x="4206591" y="4194069"/>
                  <a:ext cx="20944" cy="17948"/>
                </a:xfrm>
                <a:custGeom>
                  <a:avLst/>
                  <a:gdLst/>
                  <a:ahLst/>
                  <a:cxnLst/>
                  <a:rect l="l" t="t" r="r" b="b"/>
                  <a:pathLst>
                    <a:path w="2663" h="2282" extrusionOk="0">
                      <a:moveTo>
                        <a:pt x="1525" y="1"/>
                      </a:moveTo>
                      <a:cubicBezTo>
                        <a:pt x="509" y="1"/>
                        <a:pt x="1" y="1223"/>
                        <a:pt x="714" y="1948"/>
                      </a:cubicBezTo>
                      <a:cubicBezTo>
                        <a:pt x="948" y="2179"/>
                        <a:pt x="1234" y="2282"/>
                        <a:pt x="1514" y="2282"/>
                      </a:cubicBezTo>
                      <a:cubicBezTo>
                        <a:pt x="2101" y="2282"/>
                        <a:pt x="2662" y="1826"/>
                        <a:pt x="2662" y="1138"/>
                      </a:cubicBezTo>
                      <a:cubicBezTo>
                        <a:pt x="2662" y="509"/>
                        <a:pt x="2154" y="1"/>
                        <a:pt x="1525" y="1"/>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7924" name="Google Shape;7924;p104"/>
              <p:cNvGrpSpPr/>
              <p:nvPr/>
            </p:nvGrpSpPr>
            <p:grpSpPr>
              <a:xfrm>
                <a:off x="4343600" y="3943844"/>
                <a:ext cx="43580" cy="37312"/>
                <a:chOff x="4343600" y="3943844"/>
                <a:chExt cx="43580" cy="37312"/>
              </a:xfrm>
            </p:grpSpPr>
            <p:sp>
              <p:nvSpPr>
                <p:cNvPr id="7925" name="Google Shape;7925;p104"/>
                <p:cNvSpPr/>
                <p:nvPr/>
              </p:nvSpPr>
              <p:spPr>
                <a:xfrm>
                  <a:off x="4343600" y="3943844"/>
                  <a:ext cx="43580" cy="37312"/>
                </a:xfrm>
                <a:custGeom>
                  <a:avLst/>
                  <a:gdLst/>
                  <a:ahLst/>
                  <a:cxnLst/>
                  <a:rect l="l" t="t" r="r" b="b"/>
                  <a:pathLst>
                    <a:path w="5541" h="4744" extrusionOk="0">
                      <a:moveTo>
                        <a:pt x="3156" y="1"/>
                      </a:moveTo>
                      <a:cubicBezTo>
                        <a:pt x="2574" y="1"/>
                        <a:pt x="1982" y="218"/>
                        <a:pt x="1500" y="703"/>
                      </a:cubicBezTo>
                      <a:cubicBezTo>
                        <a:pt x="0" y="2191"/>
                        <a:pt x="1065" y="4743"/>
                        <a:pt x="3169" y="4743"/>
                      </a:cubicBezTo>
                      <a:cubicBezTo>
                        <a:pt x="4476" y="4731"/>
                        <a:pt x="5528" y="3679"/>
                        <a:pt x="5540" y="2372"/>
                      </a:cubicBezTo>
                      <a:cubicBezTo>
                        <a:pt x="5540" y="949"/>
                        <a:pt x="4373" y="1"/>
                        <a:pt x="3156" y="1"/>
                      </a:cubicBez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926" name="Google Shape;7926;p104"/>
                <p:cNvSpPr/>
                <p:nvPr/>
              </p:nvSpPr>
              <p:spPr>
                <a:xfrm>
                  <a:off x="4359581" y="3953557"/>
                  <a:ext cx="17893" cy="17893"/>
                </a:xfrm>
                <a:custGeom>
                  <a:avLst/>
                  <a:gdLst/>
                  <a:ahLst/>
                  <a:cxnLst/>
                  <a:rect l="l" t="t" r="r" b="b"/>
                  <a:pathLst>
                    <a:path w="2275" h="2275" extrusionOk="0">
                      <a:moveTo>
                        <a:pt x="1137" y="0"/>
                      </a:moveTo>
                      <a:cubicBezTo>
                        <a:pt x="508" y="0"/>
                        <a:pt x="0" y="508"/>
                        <a:pt x="0" y="1137"/>
                      </a:cubicBezTo>
                      <a:cubicBezTo>
                        <a:pt x="0" y="1766"/>
                        <a:pt x="508" y="2274"/>
                        <a:pt x="1137" y="2274"/>
                      </a:cubicBezTo>
                      <a:cubicBezTo>
                        <a:pt x="1766" y="2274"/>
                        <a:pt x="2275" y="1766"/>
                        <a:pt x="2275" y="1137"/>
                      </a:cubicBezTo>
                      <a:cubicBezTo>
                        <a:pt x="2275" y="508"/>
                        <a:pt x="1766" y="0"/>
                        <a:pt x="1137" y="0"/>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7927" name="Google Shape;7927;p104"/>
              <p:cNvGrpSpPr/>
              <p:nvPr/>
            </p:nvGrpSpPr>
            <p:grpSpPr>
              <a:xfrm>
                <a:off x="4172339" y="3381693"/>
                <a:ext cx="31499" cy="27001"/>
                <a:chOff x="4172339" y="3381693"/>
                <a:chExt cx="31499" cy="27001"/>
              </a:xfrm>
            </p:grpSpPr>
            <p:sp>
              <p:nvSpPr>
                <p:cNvPr id="7928" name="Google Shape;7928;p104"/>
                <p:cNvSpPr/>
                <p:nvPr/>
              </p:nvSpPr>
              <p:spPr>
                <a:xfrm>
                  <a:off x="4172339" y="3381693"/>
                  <a:ext cx="31499" cy="27001"/>
                </a:xfrm>
                <a:custGeom>
                  <a:avLst/>
                  <a:gdLst/>
                  <a:ahLst/>
                  <a:cxnLst/>
                  <a:rect l="l" t="t" r="r" b="b"/>
                  <a:pathLst>
                    <a:path w="4005" h="3433" extrusionOk="0">
                      <a:moveTo>
                        <a:pt x="2285" y="1"/>
                      </a:moveTo>
                      <a:cubicBezTo>
                        <a:pt x="1866" y="1"/>
                        <a:pt x="1438" y="157"/>
                        <a:pt x="1090" y="505"/>
                      </a:cubicBezTo>
                      <a:cubicBezTo>
                        <a:pt x="1" y="1581"/>
                        <a:pt x="775" y="3420"/>
                        <a:pt x="2299" y="3432"/>
                      </a:cubicBezTo>
                      <a:cubicBezTo>
                        <a:pt x="3243" y="3420"/>
                        <a:pt x="4005" y="2658"/>
                        <a:pt x="4005" y="1714"/>
                      </a:cubicBezTo>
                      <a:cubicBezTo>
                        <a:pt x="4005" y="683"/>
                        <a:pt x="3163" y="1"/>
                        <a:pt x="2285" y="1"/>
                      </a:cubicBez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929" name="Google Shape;7929;p104"/>
                <p:cNvSpPr/>
                <p:nvPr/>
              </p:nvSpPr>
              <p:spPr>
                <a:xfrm>
                  <a:off x="4185285" y="3391367"/>
                  <a:ext cx="8856" cy="7605"/>
                </a:xfrm>
                <a:custGeom>
                  <a:avLst/>
                  <a:gdLst/>
                  <a:ahLst/>
                  <a:cxnLst/>
                  <a:rect l="l" t="t" r="r" b="b"/>
                  <a:pathLst>
                    <a:path w="1126" h="967" extrusionOk="0">
                      <a:moveTo>
                        <a:pt x="653" y="1"/>
                      </a:moveTo>
                      <a:cubicBezTo>
                        <a:pt x="218" y="1"/>
                        <a:pt x="0" y="521"/>
                        <a:pt x="302" y="823"/>
                      </a:cubicBezTo>
                      <a:cubicBezTo>
                        <a:pt x="401" y="922"/>
                        <a:pt x="523" y="967"/>
                        <a:pt x="643" y="967"/>
                      </a:cubicBezTo>
                      <a:cubicBezTo>
                        <a:pt x="889" y="967"/>
                        <a:pt x="1125" y="778"/>
                        <a:pt x="1125" y="484"/>
                      </a:cubicBezTo>
                      <a:cubicBezTo>
                        <a:pt x="1125" y="218"/>
                        <a:pt x="919" y="1"/>
                        <a:pt x="653" y="1"/>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grpSp>
    </p:spTree>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Shape 7933"/>
        <p:cNvGrpSpPr/>
        <p:nvPr/>
      </p:nvGrpSpPr>
      <p:grpSpPr>
        <a:xfrm>
          <a:off x="0" y="0"/>
          <a:ext cx="0" cy="0"/>
          <a:chOff x="0" y="0"/>
          <a:chExt cx="0" cy="0"/>
        </a:xfrm>
      </p:grpSpPr>
      <p:grpSp>
        <p:nvGrpSpPr>
          <p:cNvPr id="7934" name="Google Shape;7934;p105"/>
          <p:cNvGrpSpPr/>
          <p:nvPr/>
        </p:nvGrpSpPr>
        <p:grpSpPr>
          <a:xfrm>
            <a:off x="2835498" y="4810545"/>
            <a:ext cx="1470521" cy="1013783"/>
            <a:chOff x="4967783" y="2151471"/>
            <a:chExt cx="3920692" cy="2702940"/>
          </a:xfrm>
        </p:grpSpPr>
        <p:grpSp>
          <p:nvGrpSpPr>
            <p:cNvPr id="7935" name="Google Shape;7935;p105"/>
            <p:cNvGrpSpPr/>
            <p:nvPr/>
          </p:nvGrpSpPr>
          <p:grpSpPr>
            <a:xfrm>
              <a:off x="5045709" y="2252109"/>
              <a:ext cx="3761071" cy="2501708"/>
              <a:chOff x="2691784" y="1805334"/>
              <a:chExt cx="3761071" cy="2501708"/>
            </a:xfrm>
          </p:grpSpPr>
          <p:sp>
            <p:nvSpPr>
              <p:cNvPr id="7936" name="Google Shape;7936;p105"/>
              <p:cNvSpPr/>
              <p:nvPr/>
            </p:nvSpPr>
            <p:spPr>
              <a:xfrm>
                <a:off x="4306153" y="4266675"/>
                <a:ext cx="932050" cy="40353"/>
              </a:xfrm>
              <a:custGeom>
                <a:avLst/>
                <a:gdLst/>
                <a:ahLst/>
                <a:cxnLst/>
                <a:rect l="l" t="t" r="r" b="b"/>
                <a:pathLst>
                  <a:path w="106520" h="2706" extrusionOk="0">
                    <a:moveTo>
                      <a:pt x="0" y="0"/>
                    </a:moveTo>
                    <a:lnTo>
                      <a:pt x="0" y="2705"/>
                    </a:lnTo>
                    <a:lnTo>
                      <a:pt x="106520" y="2705"/>
                    </a:lnTo>
                    <a:lnTo>
                      <a:pt x="106520" y="0"/>
                    </a:lnTo>
                    <a:close/>
                  </a:path>
                </a:pathLst>
              </a:custGeom>
              <a:solidFill>
                <a:srgbClr val="A5B7C6"/>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937" name="Google Shape;7937;p105"/>
              <p:cNvSpPr/>
              <p:nvPr/>
            </p:nvSpPr>
            <p:spPr>
              <a:xfrm>
                <a:off x="2691784" y="3762285"/>
                <a:ext cx="1916675" cy="544757"/>
              </a:xfrm>
              <a:custGeom>
                <a:avLst/>
                <a:gdLst/>
                <a:ahLst/>
                <a:cxnLst/>
                <a:rect l="l" t="t" r="r" b="b"/>
                <a:pathLst>
                  <a:path w="128485" h="36518" extrusionOk="0">
                    <a:moveTo>
                      <a:pt x="2706" y="1"/>
                    </a:moveTo>
                    <a:lnTo>
                      <a:pt x="1" y="326"/>
                    </a:lnTo>
                    <a:cubicBezTo>
                      <a:pt x="1461" y="10577"/>
                      <a:pt x="6547" y="19612"/>
                      <a:pt x="13850" y="26130"/>
                    </a:cubicBezTo>
                    <a:cubicBezTo>
                      <a:pt x="21288" y="32568"/>
                      <a:pt x="30999" y="36517"/>
                      <a:pt x="41575" y="36517"/>
                    </a:cubicBezTo>
                    <a:lnTo>
                      <a:pt x="128484" y="36517"/>
                    </a:lnTo>
                    <a:lnTo>
                      <a:pt x="128484" y="33812"/>
                    </a:lnTo>
                    <a:lnTo>
                      <a:pt x="41575" y="33812"/>
                    </a:lnTo>
                    <a:cubicBezTo>
                      <a:pt x="31675" y="33812"/>
                      <a:pt x="22641" y="30188"/>
                      <a:pt x="15662" y="24102"/>
                    </a:cubicBezTo>
                    <a:cubicBezTo>
                      <a:pt x="8792" y="18016"/>
                      <a:pt x="4058" y="9468"/>
                      <a:pt x="2706" y="1"/>
                    </a:cubicBezTo>
                    <a:close/>
                  </a:path>
                </a:pathLst>
              </a:custGeom>
              <a:solidFill>
                <a:srgbClr val="A5B7C6"/>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938" name="Google Shape;7938;p105"/>
              <p:cNvSpPr/>
              <p:nvPr/>
            </p:nvSpPr>
            <p:spPr>
              <a:xfrm>
                <a:off x="2695021" y="3035999"/>
                <a:ext cx="754960" cy="529407"/>
              </a:xfrm>
              <a:custGeom>
                <a:avLst/>
                <a:gdLst/>
                <a:ahLst/>
                <a:cxnLst/>
                <a:rect l="l" t="t" r="r" b="b"/>
                <a:pathLst>
                  <a:path w="50609" h="35489" extrusionOk="0">
                    <a:moveTo>
                      <a:pt x="41358" y="0"/>
                    </a:moveTo>
                    <a:cubicBezTo>
                      <a:pt x="30998" y="0"/>
                      <a:pt x="21423" y="3814"/>
                      <a:pt x="14093" y="10144"/>
                    </a:cubicBezTo>
                    <a:cubicBezTo>
                      <a:pt x="6762" y="16338"/>
                      <a:pt x="1596" y="25129"/>
                      <a:pt x="0" y="35029"/>
                    </a:cubicBezTo>
                    <a:lnTo>
                      <a:pt x="2597" y="35489"/>
                    </a:lnTo>
                    <a:cubicBezTo>
                      <a:pt x="4166" y="26238"/>
                      <a:pt x="9034" y="18015"/>
                      <a:pt x="15905" y="12173"/>
                    </a:cubicBezTo>
                    <a:cubicBezTo>
                      <a:pt x="22775" y="6303"/>
                      <a:pt x="31675" y="2705"/>
                      <a:pt x="41358" y="2705"/>
                    </a:cubicBezTo>
                    <a:lnTo>
                      <a:pt x="50609" y="2705"/>
                    </a:lnTo>
                    <a:lnTo>
                      <a:pt x="50609" y="0"/>
                    </a:lnTo>
                    <a:close/>
                  </a:path>
                </a:pathLst>
              </a:custGeom>
              <a:solidFill>
                <a:srgbClr val="A5B7C6"/>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939" name="Google Shape;7939;p105"/>
              <p:cNvSpPr/>
              <p:nvPr/>
            </p:nvSpPr>
            <p:spPr>
              <a:xfrm>
                <a:off x="3661791" y="2531620"/>
                <a:ext cx="2791064" cy="544757"/>
              </a:xfrm>
              <a:custGeom>
                <a:avLst/>
                <a:gdLst/>
                <a:ahLst/>
                <a:cxnLst/>
                <a:rect l="l" t="t" r="r" b="b"/>
                <a:pathLst>
                  <a:path w="187100" h="36518" extrusionOk="0">
                    <a:moveTo>
                      <a:pt x="184395" y="1"/>
                    </a:moveTo>
                    <a:cubicBezTo>
                      <a:pt x="183150" y="9468"/>
                      <a:pt x="178309" y="17908"/>
                      <a:pt x="171438" y="23994"/>
                    </a:cubicBezTo>
                    <a:cubicBezTo>
                      <a:pt x="164432" y="30080"/>
                      <a:pt x="155425" y="33812"/>
                      <a:pt x="145498" y="33812"/>
                    </a:cubicBezTo>
                    <a:lnTo>
                      <a:pt x="1" y="33812"/>
                    </a:lnTo>
                    <a:lnTo>
                      <a:pt x="1" y="36517"/>
                    </a:lnTo>
                    <a:lnTo>
                      <a:pt x="145498" y="36517"/>
                    </a:lnTo>
                    <a:cubicBezTo>
                      <a:pt x="156101" y="36517"/>
                      <a:pt x="165785" y="32568"/>
                      <a:pt x="173223" y="26022"/>
                    </a:cubicBezTo>
                    <a:cubicBezTo>
                      <a:pt x="180554" y="19612"/>
                      <a:pt x="185747" y="10469"/>
                      <a:pt x="187100" y="326"/>
                    </a:cubicBezTo>
                    <a:lnTo>
                      <a:pt x="184395" y="1"/>
                    </a:lnTo>
                    <a:close/>
                  </a:path>
                </a:pathLst>
              </a:custGeom>
              <a:solidFill>
                <a:srgbClr val="A5B7C6"/>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940" name="Google Shape;7940;p105"/>
              <p:cNvSpPr/>
              <p:nvPr/>
            </p:nvSpPr>
            <p:spPr>
              <a:xfrm>
                <a:off x="5153124" y="1805334"/>
                <a:ext cx="1294451" cy="512461"/>
              </a:xfrm>
              <a:custGeom>
                <a:avLst/>
                <a:gdLst/>
                <a:ahLst/>
                <a:cxnLst/>
                <a:rect l="l" t="t" r="r" b="b"/>
                <a:pathLst>
                  <a:path w="86774" h="34353" extrusionOk="0">
                    <a:moveTo>
                      <a:pt x="0" y="0"/>
                    </a:moveTo>
                    <a:lnTo>
                      <a:pt x="0" y="2705"/>
                    </a:lnTo>
                    <a:lnTo>
                      <a:pt x="45524" y="2705"/>
                    </a:lnTo>
                    <a:cubicBezTo>
                      <a:pt x="54991" y="2705"/>
                      <a:pt x="63674" y="6195"/>
                      <a:pt x="70545" y="11821"/>
                    </a:cubicBezTo>
                    <a:cubicBezTo>
                      <a:pt x="77415" y="17582"/>
                      <a:pt x="82284" y="25454"/>
                      <a:pt x="84177" y="34353"/>
                    </a:cubicBezTo>
                    <a:lnTo>
                      <a:pt x="86774" y="33920"/>
                    </a:lnTo>
                    <a:cubicBezTo>
                      <a:pt x="84854" y="24345"/>
                      <a:pt x="79579" y="15878"/>
                      <a:pt x="72249" y="9792"/>
                    </a:cubicBezTo>
                    <a:cubicBezTo>
                      <a:pt x="65027" y="3706"/>
                      <a:pt x="55668" y="0"/>
                      <a:pt x="45524" y="0"/>
                    </a:cubicBezTo>
                    <a:close/>
                  </a:path>
                </a:pathLst>
              </a:custGeom>
              <a:solidFill>
                <a:srgbClr val="A5B7C6"/>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941" name="Google Shape;7941;p105"/>
              <p:cNvSpPr/>
              <p:nvPr/>
            </p:nvSpPr>
            <p:spPr>
              <a:xfrm>
                <a:off x="2785807" y="1805334"/>
                <a:ext cx="2143839" cy="40367"/>
              </a:xfrm>
              <a:custGeom>
                <a:avLst/>
                <a:gdLst/>
                <a:ahLst/>
                <a:cxnLst/>
                <a:rect l="l" t="t" r="r" b="b"/>
                <a:pathLst>
                  <a:path w="143713" h="2706" extrusionOk="0">
                    <a:moveTo>
                      <a:pt x="0" y="0"/>
                    </a:moveTo>
                    <a:lnTo>
                      <a:pt x="0" y="2705"/>
                    </a:lnTo>
                    <a:lnTo>
                      <a:pt x="143712" y="2705"/>
                    </a:lnTo>
                    <a:lnTo>
                      <a:pt x="143712" y="0"/>
                    </a:lnTo>
                    <a:close/>
                  </a:path>
                </a:pathLst>
              </a:custGeom>
              <a:solidFill>
                <a:srgbClr val="A5B7C6"/>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942" name="Google Shape;7942;p105"/>
              <p:cNvSpPr/>
              <p:nvPr/>
            </p:nvSpPr>
            <p:spPr>
              <a:xfrm>
                <a:off x="5447728" y="4266675"/>
                <a:ext cx="932050" cy="40353"/>
              </a:xfrm>
              <a:custGeom>
                <a:avLst/>
                <a:gdLst/>
                <a:ahLst/>
                <a:cxnLst/>
                <a:rect l="l" t="t" r="r" b="b"/>
                <a:pathLst>
                  <a:path w="106520" h="2706" extrusionOk="0">
                    <a:moveTo>
                      <a:pt x="0" y="0"/>
                    </a:moveTo>
                    <a:lnTo>
                      <a:pt x="0" y="2705"/>
                    </a:lnTo>
                    <a:lnTo>
                      <a:pt x="106520" y="2705"/>
                    </a:lnTo>
                    <a:lnTo>
                      <a:pt x="106520" y="0"/>
                    </a:lnTo>
                    <a:close/>
                  </a:path>
                </a:pathLst>
              </a:custGeom>
              <a:solidFill>
                <a:srgbClr val="A5B7C6"/>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7943" name="Google Shape;7943;p105"/>
            <p:cNvGrpSpPr/>
            <p:nvPr/>
          </p:nvGrpSpPr>
          <p:grpSpPr>
            <a:xfrm>
              <a:off x="4967783" y="2151471"/>
              <a:ext cx="3920692" cy="2702940"/>
              <a:chOff x="2613858" y="1704696"/>
              <a:chExt cx="3920692" cy="2702940"/>
            </a:xfrm>
          </p:grpSpPr>
          <p:sp>
            <p:nvSpPr>
              <p:cNvPr id="7944" name="Google Shape;7944;p105"/>
              <p:cNvSpPr/>
              <p:nvPr/>
            </p:nvSpPr>
            <p:spPr>
              <a:xfrm rot="5400000">
                <a:off x="4924676" y="1720789"/>
                <a:ext cx="241614" cy="209428"/>
              </a:xfrm>
              <a:custGeom>
                <a:avLst/>
                <a:gdLst/>
                <a:ahLst/>
                <a:cxnLst/>
                <a:rect l="l" t="t" r="r" b="b"/>
                <a:pathLst>
                  <a:path w="31949" h="27693" extrusionOk="0">
                    <a:moveTo>
                      <a:pt x="7959" y="1"/>
                    </a:moveTo>
                    <a:lnTo>
                      <a:pt x="1" y="13847"/>
                    </a:lnTo>
                    <a:lnTo>
                      <a:pt x="7959" y="27693"/>
                    </a:lnTo>
                    <a:lnTo>
                      <a:pt x="23991" y="27693"/>
                    </a:lnTo>
                    <a:lnTo>
                      <a:pt x="31949" y="13847"/>
                    </a:lnTo>
                    <a:lnTo>
                      <a:pt x="23991" y="1"/>
                    </a:lnTo>
                    <a:close/>
                  </a:path>
                </a:pathLst>
              </a:custGeom>
              <a:noFill/>
              <a:ln w="9525" cap="flat" cmpd="sng">
                <a:solidFill>
                  <a:srgbClr val="869FB2"/>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945" name="Google Shape;7945;p105"/>
              <p:cNvSpPr/>
              <p:nvPr/>
            </p:nvSpPr>
            <p:spPr>
              <a:xfrm rot="5400000">
                <a:off x="6309028" y="2311963"/>
                <a:ext cx="241614" cy="209428"/>
              </a:xfrm>
              <a:custGeom>
                <a:avLst/>
                <a:gdLst/>
                <a:ahLst/>
                <a:cxnLst/>
                <a:rect l="l" t="t" r="r" b="b"/>
                <a:pathLst>
                  <a:path w="31949" h="27693" extrusionOk="0">
                    <a:moveTo>
                      <a:pt x="7959" y="1"/>
                    </a:moveTo>
                    <a:lnTo>
                      <a:pt x="1" y="13847"/>
                    </a:lnTo>
                    <a:lnTo>
                      <a:pt x="7959" y="27693"/>
                    </a:lnTo>
                    <a:lnTo>
                      <a:pt x="23991" y="27693"/>
                    </a:lnTo>
                    <a:lnTo>
                      <a:pt x="31949" y="13847"/>
                    </a:lnTo>
                    <a:lnTo>
                      <a:pt x="23991" y="1"/>
                    </a:lnTo>
                    <a:close/>
                  </a:path>
                </a:pathLst>
              </a:custGeom>
              <a:noFill/>
              <a:ln w="9525" cap="flat" cmpd="sng">
                <a:solidFill>
                  <a:srgbClr val="869FB2"/>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946" name="Google Shape;7946;p105"/>
              <p:cNvSpPr/>
              <p:nvPr/>
            </p:nvSpPr>
            <p:spPr>
              <a:xfrm rot="5400000">
                <a:off x="5222154" y="4182115"/>
                <a:ext cx="241614" cy="209428"/>
              </a:xfrm>
              <a:custGeom>
                <a:avLst/>
                <a:gdLst/>
                <a:ahLst/>
                <a:cxnLst/>
                <a:rect l="l" t="t" r="r" b="b"/>
                <a:pathLst>
                  <a:path w="31949" h="27693" extrusionOk="0">
                    <a:moveTo>
                      <a:pt x="7959" y="1"/>
                    </a:moveTo>
                    <a:lnTo>
                      <a:pt x="1" y="13847"/>
                    </a:lnTo>
                    <a:lnTo>
                      <a:pt x="7959" y="27693"/>
                    </a:lnTo>
                    <a:lnTo>
                      <a:pt x="23991" y="27693"/>
                    </a:lnTo>
                    <a:lnTo>
                      <a:pt x="31949" y="13847"/>
                    </a:lnTo>
                    <a:lnTo>
                      <a:pt x="23991" y="1"/>
                    </a:lnTo>
                    <a:close/>
                  </a:path>
                </a:pathLst>
              </a:custGeom>
              <a:noFill/>
              <a:ln w="9525" cap="flat" cmpd="sng">
                <a:solidFill>
                  <a:srgbClr val="869FB2"/>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947" name="Google Shape;7947;p105"/>
              <p:cNvSpPr/>
              <p:nvPr/>
            </p:nvSpPr>
            <p:spPr>
              <a:xfrm rot="5400000">
                <a:off x="2597765" y="3554395"/>
                <a:ext cx="241614" cy="209428"/>
              </a:xfrm>
              <a:custGeom>
                <a:avLst/>
                <a:gdLst/>
                <a:ahLst/>
                <a:cxnLst/>
                <a:rect l="l" t="t" r="r" b="b"/>
                <a:pathLst>
                  <a:path w="31949" h="27693" extrusionOk="0">
                    <a:moveTo>
                      <a:pt x="7959" y="1"/>
                    </a:moveTo>
                    <a:lnTo>
                      <a:pt x="1" y="13847"/>
                    </a:lnTo>
                    <a:lnTo>
                      <a:pt x="7959" y="27693"/>
                    </a:lnTo>
                    <a:lnTo>
                      <a:pt x="23991" y="27693"/>
                    </a:lnTo>
                    <a:lnTo>
                      <a:pt x="31949" y="13847"/>
                    </a:lnTo>
                    <a:lnTo>
                      <a:pt x="23991" y="1"/>
                    </a:lnTo>
                    <a:close/>
                  </a:path>
                </a:pathLst>
              </a:custGeom>
              <a:noFill/>
              <a:ln w="9525" cap="flat" cmpd="sng">
                <a:solidFill>
                  <a:srgbClr val="869FB2"/>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948" name="Google Shape;7948;p105"/>
              <p:cNvSpPr/>
              <p:nvPr/>
            </p:nvSpPr>
            <p:spPr>
              <a:xfrm rot="5400000">
                <a:off x="3433899" y="2945028"/>
                <a:ext cx="241614" cy="209428"/>
              </a:xfrm>
              <a:custGeom>
                <a:avLst/>
                <a:gdLst/>
                <a:ahLst/>
                <a:cxnLst/>
                <a:rect l="l" t="t" r="r" b="b"/>
                <a:pathLst>
                  <a:path w="31949" h="27693" extrusionOk="0">
                    <a:moveTo>
                      <a:pt x="7959" y="1"/>
                    </a:moveTo>
                    <a:lnTo>
                      <a:pt x="1" y="13847"/>
                    </a:lnTo>
                    <a:lnTo>
                      <a:pt x="7959" y="27693"/>
                    </a:lnTo>
                    <a:lnTo>
                      <a:pt x="23991" y="27693"/>
                    </a:lnTo>
                    <a:lnTo>
                      <a:pt x="31949" y="13847"/>
                    </a:lnTo>
                    <a:lnTo>
                      <a:pt x="23991" y="1"/>
                    </a:lnTo>
                    <a:close/>
                  </a:path>
                </a:pathLst>
              </a:custGeom>
              <a:noFill/>
              <a:ln w="9525" cap="flat" cmpd="sng">
                <a:solidFill>
                  <a:srgbClr val="869FB2"/>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grpSp>
        <p:nvGrpSpPr>
          <p:cNvPr id="7949" name="Google Shape;7949;p105"/>
          <p:cNvGrpSpPr/>
          <p:nvPr/>
        </p:nvGrpSpPr>
        <p:grpSpPr>
          <a:xfrm>
            <a:off x="4707377" y="1994914"/>
            <a:ext cx="2082548" cy="944773"/>
            <a:chOff x="3530532" y="1496185"/>
            <a:chExt cx="1561911" cy="708580"/>
          </a:xfrm>
        </p:grpSpPr>
        <p:grpSp>
          <p:nvGrpSpPr>
            <p:cNvPr id="7950" name="Google Shape;7950;p105"/>
            <p:cNvGrpSpPr/>
            <p:nvPr/>
          </p:nvGrpSpPr>
          <p:grpSpPr>
            <a:xfrm>
              <a:off x="3720318" y="1857562"/>
              <a:ext cx="1372125" cy="54"/>
              <a:chOff x="3720318" y="1857562"/>
              <a:chExt cx="1372125" cy="54"/>
            </a:xfrm>
          </p:grpSpPr>
          <p:cxnSp>
            <p:nvCxnSpPr>
              <p:cNvPr id="7951" name="Google Shape;7951;p105"/>
              <p:cNvCxnSpPr>
                <a:endCxn id="7952" idx="2"/>
              </p:cNvCxnSpPr>
              <p:nvPr/>
            </p:nvCxnSpPr>
            <p:spPr>
              <a:xfrm>
                <a:off x="4440243" y="1857616"/>
                <a:ext cx="173400" cy="0"/>
              </a:xfrm>
              <a:prstGeom prst="straightConnector1">
                <a:avLst/>
              </a:prstGeom>
              <a:noFill/>
              <a:ln w="9525" cap="flat" cmpd="sng">
                <a:solidFill>
                  <a:srgbClr val="A5B7C6"/>
                </a:solidFill>
                <a:prstDash val="solid"/>
                <a:round/>
                <a:headEnd type="none" w="med" len="med"/>
                <a:tailEnd type="none" w="med" len="med"/>
              </a:ln>
            </p:spPr>
          </p:cxnSp>
          <p:cxnSp>
            <p:nvCxnSpPr>
              <p:cNvPr id="7953" name="Google Shape;7953;p105"/>
              <p:cNvCxnSpPr/>
              <p:nvPr/>
            </p:nvCxnSpPr>
            <p:spPr>
              <a:xfrm>
                <a:off x="4074943" y="1857562"/>
                <a:ext cx="173400" cy="0"/>
              </a:xfrm>
              <a:prstGeom prst="straightConnector1">
                <a:avLst/>
              </a:prstGeom>
              <a:noFill/>
              <a:ln w="9525" cap="flat" cmpd="sng">
                <a:solidFill>
                  <a:srgbClr val="A5B7C6"/>
                </a:solidFill>
                <a:prstDash val="solid"/>
                <a:round/>
                <a:headEnd type="none" w="med" len="med"/>
                <a:tailEnd type="none" w="med" len="med"/>
              </a:ln>
            </p:spPr>
          </p:cxnSp>
          <p:cxnSp>
            <p:nvCxnSpPr>
              <p:cNvPr id="7954" name="Google Shape;7954;p105"/>
              <p:cNvCxnSpPr/>
              <p:nvPr/>
            </p:nvCxnSpPr>
            <p:spPr>
              <a:xfrm>
                <a:off x="3720318" y="1857562"/>
                <a:ext cx="173400" cy="0"/>
              </a:xfrm>
              <a:prstGeom prst="straightConnector1">
                <a:avLst/>
              </a:prstGeom>
              <a:noFill/>
              <a:ln w="9525" cap="flat" cmpd="sng">
                <a:solidFill>
                  <a:srgbClr val="A5B7C6"/>
                </a:solidFill>
                <a:prstDash val="solid"/>
                <a:round/>
                <a:headEnd type="none" w="med" len="med"/>
                <a:tailEnd type="none" w="med" len="med"/>
              </a:ln>
            </p:spPr>
          </p:cxnSp>
          <p:cxnSp>
            <p:nvCxnSpPr>
              <p:cNvPr id="7955" name="Google Shape;7955;p105"/>
              <p:cNvCxnSpPr>
                <a:stCxn id="7952" idx="6"/>
              </p:cNvCxnSpPr>
              <p:nvPr/>
            </p:nvCxnSpPr>
            <p:spPr>
              <a:xfrm>
                <a:off x="4801443" y="1857616"/>
                <a:ext cx="291000" cy="0"/>
              </a:xfrm>
              <a:prstGeom prst="straightConnector1">
                <a:avLst/>
              </a:prstGeom>
              <a:noFill/>
              <a:ln w="9525" cap="flat" cmpd="sng">
                <a:solidFill>
                  <a:srgbClr val="A5B7C6"/>
                </a:solidFill>
                <a:prstDash val="solid"/>
                <a:round/>
                <a:headEnd type="none" w="med" len="med"/>
                <a:tailEnd type="triangle" w="med" len="med"/>
              </a:ln>
            </p:spPr>
          </p:cxnSp>
        </p:grpSp>
        <p:grpSp>
          <p:nvGrpSpPr>
            <p:cNvPr id="7956" name="Google Shape;7956;p105"/>
            <p:cNvGrpSpPr/>
            <p:nvPr/>
          </p:nvGrpSpPr>
          <p:grpSpPr>
            <a:xfrm>
              <a:off x="3567462" y="1496185"/>
              <a:ext cx="286500" cy="272914"/>
              <a:chOff x="3567462" y="1496185"/>
              <a:chExt cx="286500" cy="272914"/>
            </a:xfrm>
          </p:grpSpPr>
          <p:cxnSp>
            <p:nvCxnSpPr>
              <p:cNvPr id="7957" name="Google Shape;7957;p105"/>
              <p:cNvCxnSpPr/>
              <p:nvPr/>
            </p:nvCxnSpPr>
            <p:spPr>
              <a:xfrm rot="10800000">
                <a:off x="3626625" y="1596000"/>
                <a:ext cx="0" cy="173100"/>
              </a:xfrm>
              <a:prstGeom prst="straightConnector1">
                <a:avLst/>
              </a:prstGeom>
              <a:noFill/>
              <a:ln w="9525" cap="flat" cmpd="sng">
                <a:solidFill>
                  <a:srgbClr val="A5B7C6"/>
                </a:solidFill>
                <a:prstDash val="solid"/>
                <a:round/>
                <a:headEnd type="none" w="med" len="med"/>
                <a:tailEnd type="none" w="med" len="med"/>
              </a:ln>
            </p:spPr>
          </p:cxnSp>
          <p:sp>
            <p:nvSpPr>
              <p:cNvPr id="7958" name="Google Shape;7958;p105"/>
              <p:cNvSpPr/>
              <p:nvPr/>
            </p:nvSpPr>
            <p:spPr>
              <a:xfrm>
                <a:off x="3567462" y="1496185"/>
                <a:ext cx="286500" cy="99900"/>
              </a:xfrm>
              <a:prstGeom prst="rect">
                <a:avLst/>
              </a:pr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sp>
          <p:nvSpPr>
            <p:cNvPr id="7959" name="Google Shape;7959;p105"/>
            <p:cNvSpPr/>
            <p:nvPr/>
          </p:nvSpPr>
          <p:spPr>
            <a:xfrm>
              <a:off x="3530532" y="1771972"/>
              <a:ext cx="187800" cy="187800"/>
            </a:xfrm>
            <a:prstGeom prst="ellipse">
              <a:avLst/>
            </a:pr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960" name="Google Shape;7960;p105"/>
            <p:cNvSpPr/>
            <p:nvPr/>
          </p:nvSpPr>
          <p:spPr>
            <a:xfrm>
              <a:off x="3891569" y="1779209"/>
              <a:ext cx="187800" cy="187800"/>
            </a:xfrm>
            <a:prstGeom prst="ellipse">
              <a:avLst/>
            </a:pr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nvGrpSpPr>
            <p:cNvPr id="7961" name="Google Shape;7961;p105"/>
            <p:cNvGrpSpPr/>
            <p:nvPr/>
          </p:nvGrpSpPr>
          <p:grpSpPr>
            <a:xfrm>
              <a:off x="3929014" y="1960574"/>
              <a:ext cx="286500" cy="242342"/>
              <a:chOff x="3929014" y="1960574"/>
              <a:chExt cx="286500" cy="242342"/>
            </a:xfrm>
          </p:grpSpPr>
          <p:cxnSp>
            <p:nvCxnSpPr>
              <p:cNvPr id="7962" name="Google Shape;7962;p105"/>
              <p:cNvCxnSpPr/>
              <p:nvPr/>
            </p:nvCxnSpPr>
            <p:spPr>
              <a:xfrm rot="10800000">
                <a:off x="3988400" y="1960574"/>
                <a:ext cx="0" cy="144300"/>
              </a:xfrm>
              <a:prstGeom prst="straightConnector1">
                <a:avLst/>
              </a:prstGeom>
              <a:noFill/>
              <a:ln w="9525" cap="flat" cmpd="sng">
                <a:solidFill>
                  <a:srgbClr val="A5B7C6"/>
                </a:solidFill>
                <a:prstDash val="solid"/>
                <a:round/>
                <a:headEnd type="none" w="med" len="med"/>
                <a:tailEnd type="none" w="med" len="med"/>
              </a:ln>
            </p:spPr>
          </p:cxnSp>
          <p:sp>
            <p:nvSpPr>
              <p:cNvPr id="7963" name="Google Shape;7963;p105"/>
              <p:cNvSpPr/>
              <p:nvPr/>
            </p:nvSpPr>
            <p:spPr>
              <a:xfrm>
                <a:off x="3929014" y="2103016"/>
                <a:ext cx="286500" cy="99900"/>
              </a:xfrm>
              <a:prstGeom prst="rect">
                <a:avLst/>
              </a:pr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7964" name="Google Shape;7964;p105"/>
            <p:cNvGrpSpPr/>
            <p:nvPr/>
          </p:nvGrpSpPr>
          <p:grpSpPr>
            <a:xfrm>
              <a:off x="4290828" y="1496185"/>
              <a:ext cx="286500" cy="272914"/>
              <a:chOff x="4290828" y="1496185"/>
              <a:chExt cx="286500" cy="272914"/>
            </a:xfrm>
          </p:grpSpPr>
          <p:cxnSp>
            <p:nvCxnSpPr>
              <p:cNvPr id="7965" name="Google Shape;7965;p105"/>
              <p:cNvCxnSpPr/>
              <p:nvPr/>
            </p:nvCxnSpPr>
            <p:spPr>
              <a:xfrm rot="10800000">
                <a:off x="4350000" y="1596000"/>
                <a:ext cx="0" cy="173100"/>
              </a:xfrm>
              <a:prstGeom prst="straightConnector1">
                <a:avLst/>
              </a:prstGeom>
              <a:noFill/>
              <a:ln w="9525" cap="flat" cmpd="sng">
                <a:solidFill>
                  <a:srgbClr val="A5B7C6"/>
                </a:solidFill>
                <a:prstDash val="solid"/>
                <a:round/>
                <a:headEnd type="none" w="med" len="med"/>
                <a:tailEnd type="none" w="med" len="med"/>
              </a:ln>
            </p:spPr>
          </p:cxnSp>
          <p:sp>
            <p:nvSpPr>
              <p:cNvPr id="7966" name="Google Shape;7966;p105"/>
              <p:cNvSpPr/>
              <p:nvPr/>
            </p:nvSpPr>
            <p:spPr>
              <a:xfrm>
                <a:off x="4290828" y="1496185"/>
                <a:ext cx="286500" cy="99900"/>
              </a:xfrm>
              <a:prstGeom prst="rect">
                <a:avLst/>
              </a:pr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sp>
          <p:nvSpPr>
            <p:cNvPr id="7967" name="Google Shape;7967;p105"/>
            <p:cNvSpPr/>
            <p:nvPr/>
          </p:nvSpPr>
          <p:spPr>
            <a:xfrm>
              <a:off x="4252606" y="1771972"/>
              <a:ext cx="187800" cy="187800"/>
            </a:xfrm>
            <a:prstGeom prst="ellipse">
              <a:avLst/>
            </a:pr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952" name="Google Shape;7952;p105"/>
            <p:cNvSpPr/>
            <p:nvPr/>
          </p:nvSpPr>
          <p:spPr>
            <a:xfrm>
              <a:off x="4613643" y="1763716"/>
              <a:ext cx="187800" cy="187800"/>
            </a:xfrm>
            <a:prstGeom prst="ellipse">
              <a:avLst/>
            </a:pr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nvGrpSpPr>
            <p:cNvPr id="7968" name="Google Shape;7968;p105"/>
            <p:cNvGrpSpPr/>
            <p:nvPr/>
          </p:nvGrpSpPr>
          <p:grpSpPr>
            <a:xfrm>
              <a:off x="4657726" y="1959674"/>
              <a:ext cx="286500" cy="245092"/>
              <a:chOff x="4657726" y="1959674"/>
              <a:chExt cx="286500" cy="245092"/>
            </a:xfrm>
          </p:grpSpPr>
          <p:cxnSp>
            <p:nvCxnSpPr>
              <p:cNvPr id="7969" name="Google Shape;7969;p105"/>
              <p:cNvCxnSpPr/>
              <p:nvPr/>
            </p:nvCxnSpPr>
            <p:spPr>
              <a:xfrm rot="10800000">
                <a:off x="4707475" y="1959674"/>
                <a:ext cx="0" cy="145200"/>
              </a:xfrm>
              <a:prstGeom prst="straightConnector1">
                <a:avLst/>
              </a:prstGeom>
              <a:noFill/>
              <a:ln w="9525" cap="flat" cmpd="sng">
                <a:solidFill>
                  <a:srgbClr val="A5B7C6"/>
                </a:solidFill>
                <a:prstDash val="solid"/>
                <a:round/>
                <a:headEnd type="none" w="med" len="med"/>
                <a:tailEnd type="none" w="med" len="med"/>
              </a:ln>
            </p:spPr>
          </p:cxnSp>
          <p:sp>
            <p:nvSpPr>
              <p:cNvPr id="7970" name="Google Shape;7970;p105"/>
              <p:cNvSpPr/>
              <p:nvPr/>
            </p:nvSpPr>
            <p:spPr>
              <a:xfrm>
                <a:off x="4657726" y="2104866"/>
                <a:ext cx="286500" cy="99900"/>
              </a:xfrm>
              <a:prstGeom prst="rect">
                <a:avLst/>
              </a:pr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grpSp>
        <p:nvGrpSpPr>
          <p:cNvPr id="7971" name="Google Shape;7971;p105"/>
          <p:cNvGrpSpPr/>
          <p:nvPr/>
        </p:nvGrpSpPr>
        <p:grpSpPr>
          <a:xfrm>
            <a:off x="4683401" y="3144377"/>
            <a:ext cx="2129376" cy="504865"/>
            <a:chOff x="3512551" y="2358282"/>
            <a:chExt cx="1597032" cy="378649"/>
          </a:xfrm>
        </p:grpSpPr>
        <p:grpSp>
          <p:nvGrpSpPr>
            <p:cNvPr id="7972" name="Google Shape;7972;p105"/>
            <p:cNvGrpSpPr/>
            <p:nvPr/>
          </p:nvGrpSpPr>
          <p:grpSpPr>
            <a:xfrm>
              <a:off x="3738198" y="2553002"/>
              <a:ext cx="1145834" cy="117"/>
              <a:chOff x="3738198" y="2553002"/>
              <a:chExt cx="1145834" cy="117"/>
            </a:xfrm>
          </p:grpSpPr>
          <p:cxnSp>
            <p:nvCxnSpPr>
              <p:cNvPr id="7973" name="Google Shape;7973;p105"/>
              <p:cNvCxnSpPr/>
              <p:nvPr/>
            </p:nvCxnSpPr>
            <p:spPr>
              <a:xfrm>
                <a:off x="4195395" y="2553002"/>
                <a:ext cx="231600" cy="0"/>
              </a:xfrm>
              <a:prstGeom prst="straightConnector1">
                <a:avLst/>
              </a:prstGeom>
              <a:noFill/>
              <a:ln w="9525" cap="flat" cmpd="sng">
                <a:solidFill>
                  <a:srgbClr val="435D74"/>
                </a:solidFill>
                <a:prstDash val="solid"/>
                <a:round/>
                <a:headEnd type="none" w="med" len="med"/>
                <a:tailEnd type="none" w="med" len="med"/>
              </a:ln>
            </p:spPr>
          </p:cxnSp>
          <p:cxnSp>
            <p:nvCxnSpPr>
              <p:cNvPr id="7974" name="Google Shape;7974;p105"/>
              <p:cNvCxnSpPr/>
              <p:nvPr/>
            </p:nvCxnSpPr>
            <p:spPr>
              <a:xfrm>
                <a:off x="4652432" y="2553002"/>
                <a:ext cx="231600" cy="0"/>
              </a:xfrm>
              <a:prstGeom prst="straightConnector1">
                <a:avLst/>
              </a:prstGeom>
              <a:noFill/>
              <a:ln w="9525" cap="flat" cmpd="sng">
                <a:solidFill>
                  <a:srgbClr val="435D74"/>
                </a:solidFill>
                <a:prstDash val="solid"/>
                <a:round/>
                <a:headEnd type="none" w="med" len="med"/>
                <a:tailEnd type="none" w="med" len="med"/>
              </a:ln>
            </p:spPr>
          </p:cxnSp>
          <p:cxnSp>
            <p:nvCxnSpPr>
              <p:cNvPr id="7975" name="Google Shape;7975;p105"/>
              <p:cNvCxnSpPr>
                <a:stCxn id="7976" idx="6"/>
                <a:endCxn id="7977" idx="2"/>
              </p:cNvCxnSpPr>
              <p:nvPr/>
            </p:nvCxnSpPr>
            <p:spPr>
              <a:xfrm>
                <a:off x="3738198" y="2553118"/>
                <a:ext cx="231300" cy="0"/>
              </a:xfrm>
              <a:prstGeom prst="straightConnector1">
                <a:avLst/>
              </a:prstGeom>
              <a:noFill/>
              <a:ln w="9525" cap="flat" cmpd="sng">
                <a:solidFill>
                  <a:srgbClr val="435D74"/>
                </a:solidFill>
                <a:prstDash val="solid"/>
                <a:round/>
                <a:headEnd type="none" w="med" len="med"/>
                <a:tailEnd type="none" w="med" len="med"/>
              </a:ln>
            </p:spPr>
          </p:cxnSp>
        </p:grpSp>
        <p:grpSp>
          <p:nvGrpSpPr>
            <p:cNvPr id="7978" name="Google Shape;7978;p105"/>
            <p:cNvGrpSpPr/>
            <p:nvPr/>
          </p:nvGrpSpPr>
          <p:grpSpPr>
            <a:xfrm>
              <a:off x="3969644" y="2440153"/>
              <a:ext cx="225900" cy="296779"/>
              <a:chOff x="3969644" y="2440153"/>
              <a:chExt cx="225900" cy="296779"/>
            </a:xfrm>
          </p:grpSpPr>
          <p:cxnSp>
            <p:nvCxnSpPr>
              <p:cNvPr id="7979" name="Google Shape;7979;p105"/>
              <p:cNvCxnSpPr/>
              <p:nvPr/>
            </p:nvCxnSpPr>
            <p:spPr>
              <a:xfrm>
                <a:off x="4082390" y="2637031"/>
                <a:ext cx="0" cy="99900"/>
              </a:xfrm>
              <a:prstGeom prst="straightConnector1">
                <a:avLst/>
              </a:prstGeom>
              <a:noFill/>
              <a:ln w="9525" cap="flat" cmpd="sng">
                <a:solidFill>
                  <a:srgbClr val="435D74"/>
                </a:solidFill>
                <a:prstDash val="solid"/>
                <a:round/>
                <a:headEnd type="none" w="med" len="med"/>
                <a:tailEnd type="none" w="med" len="med"/>
              </a:ln>
            </p:spPr>
          </p:cxnSp>
          <p:sp>
            <p:nvSpPr>
              <p:cNvPr id="7977" name="Google Shape;7977;p105"/>
              <p:cNvSpPr/>
              <p:nvPr/>
            </p:nvSpPr>
            <p:spPr>
              <a:xfrm>
                <a:off x="3969644" y="2440153"/>
                <a:ext cx="225900" cy="225900"/>
              </a:xfrm>
              <a:prstGeom prst="ellipse">
                <a:avLst/>
              </a:prstGeom>
              <a:noFill/>
              <a:ln w="9525" cap="flat" cmpd="sng">
                <a:solidFill>
                  <a:srgbClr val="BAC8D3"/>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980" name="Google Shape;7980;p105"/>
              <p:cNvSpPr/>
              <p:nvPr/>
            </p:nvSpPr>
            <p:spPr>
              <a:xfrm>
                <a:off x="3998471" y="2468982"/>
                <a:ext cx="168300" cy="168300"/>
              </a:xfrm>
              <a:prstGeom prst="ellipse">
                <a:avLst/>
              </a:prstGeom>
              <a:noFill/>
              <a:ln w="9525" cap="flat" cmpd="sng">
                <a:solidFill>
                  <a:srgbClr val="435D74"/>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7981" name="Google Shape;7981;p105"/>
            <p:cNvGrpSpPr/>
            <p:nvPr/>
          </p:nvGrpSpPr>
          <p:grpSpPr>
            <a:xfrm>
              <a:off x="4426818" y="2358282"/>
              <a:ext cx="225600" cy="307471"/>
              <a:chOff x="4426818" y="2358282"/>
              <a:chExt cx="225600" cy="307471"/>
            </a:xfrm>
          </p:grpSpPr>
          <p:cxnSp>
            <p:nvCxnSpPr>
              <p:cNvPr id="7982" name="Google Shape;7982;p105"/>
              <p:cNvCxnSpPr>
                <a:stCxn id="7983" idx="0"/>
              </p:cNvCxnSpPr>
              <p:nvPr/>
            </p:nvCxnSpPr>
            <p:spPr>
              <a:xfrm rot="10800000">
                <a:off x="4539644" y="2358282"/>
                <a:ext cx="0" cy="110700"/>
              </a:xfrm>
              <a:prstGeom prst="straightConnector1">
                <a:avLst/>
              </a:prstGeom>
              <a:noFill/>
              <a:ln w="9525" cap="flat" cmpd="sng">
                <a:solidFill>
                  <a:srgbClr val="435D74"/>
                </a:solidFill>
                <a:prstDash val="solid"/>
                <a:round/>
                <a:headEnd type="none" w="med" len="med"/>
                <a:tailEnd type="none" w="med" len="med"/>
              </a:ln>
            </p:spPr>
          </p:cxnSp>
          <p:sp>
            <p:nvSpPr>
              <p:cNvPr id="7984" name="Google Shape;7984;p105"/>
              <p:cNvSpPr/>
              <p:nvPr/>
            </p:nvSpPr>
            <p:spPr>
              <a:xfrm>
                <a:off x="4426818" y="2440153"/>
                <a:ext cx="225600" cy="225600"/>
              </a:xfrm>
              <a:prstGeom prst="ellipse">
                <a:avLst/>
              </a:prstGeom>
              <a:noFill/>
              <a:ln w="9525" cap="flat" cmpd="sng">
                <a:solidFill>
                  <a:srgbClr val="BAC8D3"/>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983" name="Google Shape;7983;p105"/>
              <p:cNvSpPr/>
              <p:nvPr/>
            </p:nvSpPr>
            <p:spPr>
              <a:xfrm>
                <a:off x="4455644" y="2468982"/>
                <a:ext cx="168000" cy="168000"/>
              </a:xfrm>
              <a:prstGeom prst="ellipse">
                <a:avLst/>
              </a:prstGeom>
              <a:noFill/>
              <a:ln w="9525" cap="flat" cmpd="sng">
                <a:solidFill>
                  <a:srgbClr val="435D74"/>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7985" name="Google Shape;7985;p105"/>
            <p:cNvGrpSpPr/>
            <p:nvPr/>
          </p:nvGrpSpPr>
          <p:grpSpPr>
            <a:xfrm>
              <a:off x="4883984" y="2440153"/>
              <a:ext cx="225600" cy="296479"/>
              <a:chOff x="4883984" y="2440153"/>
              <a:chExt cx="225600" cy="296479"/>
            </a:xfrm>
          </p:grpSpPr>
          <p:cxnSp>
            <p:nvCxnSpPr>
              <p:cNvPr id="7986" name="Google Shape;7986;p105"/>
              <p:cNvCxnSpPr/>
              <p:nvPr/>
            </p:nvCxnSpPr>
            <p:spPr>
              <a:xfrm>
                <a:off x="4996858" y="2637031"/>
                <a:ext cx="0" cy="99600"/>
              </a:xfrm>
              <a:prstGeom prst="straightConnector1">
                <a:avLst/>
              </a:prstGeom>
              <a:noFill/>
              <a:ln w="9525" cap="flat" cmpd="sng">
                <a:solidFill>
                  <a:srgbClr val="435D74"/>
                </a:solidFill>
                <a:prstDash val="solid"/>
                <a:round/>
                <a:headEnd type="none" w="med" len="med"/>
                <a:tailEnd type="none" w="med" len="med"/>
              </a:ln>
            </p:spPr>
          </p:cxnSp>
          <p:sp>
            <p:nvSpPr>
              <p:cNvPr id="7987" name="Google Shape;7987;p105"/>
              <p:cNvSpPr/>
              <p:nvPr/>
            </p:nvSpPr>
            <p:spPr>
              <a:xfrm>
                <a:off x="4883984" y="2440153"/>
                <a:ext cx="225600" cy="225600"/>
              </a:xfrm>
              <a:prstGeom prst="ellipse">
                <a:avLst/>
              </a:prstGeom>
              <a:noFill/>
              <a:ln w="9525" cap="flat" cmpd="sng">
                <a:solidFill>
                  <a:srgbClr val="BAC8D3"/>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988" name="Google Shape;7988;p105"/>
              <p:cNvSpPr/>
              <p:nvPr/>
            </p:nvSpPr>
            <p:spPr>
              <a:xfrm>
                <a:off x="4912810" y="2468982"/>
                <a:ext cx="168000" cy="168000"/>
              </a:xfrm>
              <a:prstGeom prst="ellipse">
                <a:avLst/>
              </a:prstGeom>
              <a:noFill/>
              <a:ln w="9525" cap="flat" cmpd="sng">
                <a:solidFill>
                  <a:srgbClr val="435D74"/>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7989" name="Google Shape;7989;p105"/>
            <p:cNvGrpSpPr/>
            <p:nvPr/>
          </p:nvGrpSpPr>
          <p:grpSpPr>
            <a:xfrm>
              <a:off x="3512551" y="2358356"/>
              <a:ext cx="225647" cy="307629"/>
              <a:chOff x="2182679" y="2005014"/>
              <a:chExt cx="792300" cy="1080158"/>
            </a:xfrm>
          </p:grpSpPr>
          <p:cxnSp>
            <p:nvCxnSpPr>
              <p:cNvPr id="7990" name="Google Shape;7990;p105"/>
              <p:cNvCxnSpPr>
                <a:stCxn id="7991" idx="0"/>
              </p:cNvCxnSpPr>
              <p:nvPr/>
            </p:nvCxnSpPr>
            <p:spPr>
              <a:xfrm rot="10800000">
                <a:off x="2578961" y="2005014"/>
                <a:ext cx="0" cy="388800"/>
              </a:xfrm>
              <a:prstGeom prst="straightConnector1">
                <a:avLst/>
              </a:prstGeom>
              <a:noFill/>
              <a:ln w="9525" cap="flat" cmpd="sng">
                <a:solidFill>
                  <a:srgbClr val="435D74"/>
                </a:solidFill>
                <a:prstDash val="solid"/>
                <a:round/>
                <a:headEnd type="none" w="med" len="med"/>
                <a:tailEnd type="none" w="med" len="med"/>
              </a:ln>
            </p:spPr>
          </p:cxnSp>
          <p:sp>
            <p:nvSpPr>
              <p:cNvPr id="7976" name="Google Shape;7976;p105"/>
              <p:cNvSpPr/>
              <p:nvPr/>
            </p:nvSpPr>
            <p:spPr>
              <a:xfrm>
                <a:off x="2182679" y="2292572"/>
                <a:ext cx="792300" cy="792600"/>
              </a:xfrm>
              <a:prstGeom prst="ellipse">
                <a:avLst/>
              </a:prstGeom>
              <a:noFill/>
              <a:ln w="9525" cap="flat" cmpd="sng">
                <a:solidFill>
                  <a:srgbClr val="BAC8D3"/>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991" name="Google Shape;7991;p105"/>
              <p:cNvSpPr/>
              <p:nvPr/>
            </p:nvSpPr>
            <p:spPr>
              <a:xfrm>
                <a:off x="2283911" y="2393814"/>
                <a:ext cx="590100" cy="590100"/>
              </a:xfrm>
              <a:prstGeom prst="ellipse">
                <a:avLst/>
              </a:prstGeom>
              <a:noFill/>
              <a:ln w="9525" cap="flat" cmpd="sng">
                <a:solidFill>
                  <a:srgbClr val="435D74"/>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grpSp>
        <p:nvGrpSpPr>
          <p:cNvPr id="7992" name="Google Shape;7992;p105"/>
          <p:cNvGrpSpPr/>
          <p:nvPr/>
        </p:nvGrpSpPr>
        <p:grpSpPr>
          <a:xfrm>
            <a:off x="9163512" y="1576105"/>
            <a:ext cx="2079745" cy="963480"/>
            <a:chOff x="634175" y="2986275"/>
            <a:chExt cx="3147949" cy="1458344"/>
          </a:xfrm>
        </p:grpSpPr>
        <p:cxnSp>
          <p:nvCxnSpPr>
            <p:cNvPr id="7993" name="Google Shape;7993;p105"/>
            <p:cNvCxnSpPr>
              <a:stCxn id="7994" idx="4"/>
              <a:endCxn id="7995" idx="0"/>
            </p:cNvCxnSpPr>
            <p:nvPr/>
          </p:nvCxnSpPr>
          <p:spPr>
            <a:xfrm>
              <a:off x="929975" y="3577875"/>
              <a:ext cx="591300" cy="275100"/>
            </a:xfrm>
            <a:prstGeom prst="straightConnector1">
              <a:avLst/>
            </a:prstGeom>
            <a:noFill/>
            <a:ln w="9525" cap="flat" cmpd="sng">
              <a:solidFill>
                <a:srgbClr val="435D74"/>
              </a:solidFill>
              <a:prstDash val="solid"/>
              <a:round/>
              <a:headEnd type="none" w="med" len="med"/>
              <a:tailEnd type="none" w="med" len="med"/>
            </a:ln>
          </p:spPr>
        </p:cxnSp>
        <p:cxnSp>
          <p:nvCxnSpPr>
            <p:cNvPr id="7996" name="Google Shape;7996;p105"/>
            <p:cNvCxnSpPr>
              <a:stCxn id="7995" idx="0"/>
              <a:endCxn id="7997" idx="4"/>
            </p:cNvCxnSpPr>
            <p:nvPr/>
          </p:nvCxnSpPr>
          <p:spPr>
            <a:xfrm rot="10800000" flipH="1">
              <a:off x="1521366" y="3577919"/>
              <a:ext cx="686700" cy="275100"/>
            </a:xfrm>
            <a:prstGeom prst="straightConnector1">
              <a:avLst/>
            </a:prstGeom>
            <a:noFill/>
            <a:ln w="9525" cap="flat" cmpd="sng">
              <a:solidFill>
                <a:srgbClr val="435D74"/>
              </a:solidFill>
              <a:prstDash val="solid"/>
              <a:round/>
              <a:headEnd type="none" w="med" len="med"/>
              <a:tailEnd type="none" w="med" len="med"/>
            </a:ln>
          </p:spPr>
        </p:cxnSp>
        <p:cxnSp>
          <p:nvCxnSpPr>
            <p:cNvPr id="7998" name="Google Shape;7998;p105"/>
            <p:cNvCxnSpPr>
              <a:stCxn id="7997" idx="4"/>
              <a:endCxn id="7999" idx="0"/>
            </p:cNvCxnSpPr>
            <p:nvPr/>
          </p:nvCxnSpPr>
          <p:spPr>
            <a:xfrm>
              <a:off x="2208152" y="3577875"/>
              <a:ext cx="686700" cy="275100"/>
            </a:xfrm>
            <a:prstGeom prst="straightConnector1">
              <a:avLst/>
            </a:prstGeom>
            <a:noFill/>
            <a:ln w="9525" cap="flat" cmpd="sng">
              <a:solidFill>
                <a:srgbClr val="435D74"/>
              </a:solidFill>
              <a:prstDash val="solid"/>
              <a:round/>
              <a:headEnd type="none" w="med" len="med"/>
              <a:tailEnd type="none" w="med" len="med"/>
            </a:ln>
          </p:spPr>
        </p:cxnSp>
        <p:cxnSp>
          <p:nvCxnSpPr>
            <p:cNvPr id="8000" name="Google Shape;8000;p105"/>
            <p:cNvCxnSpPr>
              <a:stCxn id="7999" idx="0"/>
              <a:endCxn id="8001" idx="4"/>
            </p:cNvCxnSpPr>
            <p:nvPr/>
          </p:nvCxnSpPr>
          <p:spPr>
            <a:xfrm rot="10800000" flipH="1">
              <a:off x="2894933" y="3577918"/>
              <a:ext cx="591300" cy="275100"/>
            </a:xfrm>
            <a:prstGeom prst="straightConnector1">
              <a:avLst/>
            </a:prstGeom>
            <a:noFill/>
            <a:ln w="9525" cap="flat" cmpd="sng">
              <a:solidFill>
                <a:srgbClr val="435D74"/>
              </a:solidFill>
              <a:prstDash val="solid"/>
              <a:round/>
              <a:headEnd type="none" w="med" len="med"/>
              <a:tailEnd type="none" w="med" len="med"/>
            </a:ln>
          </p:spPr>
        </p:cxnSp>
        <p:sp>
          <p:nvSpPr>
            <p:cNvPr id="8001" name="Google Shape;8001;p105"/>
            <p:cNvSpPr/>
            <p:nvPr/>
          </p:nvSpPr>
          <p:spPr>
            <a:xfrm>
              <a:off x="3190524" y="2986275"/>
              <a:ext cx="591600" cy="591600"/>
            </a:xfrm>
            <a:prstGeom prst="ellipse">
              <a:avLst/>
            </a:prstGeom>
            <a:noFill/>
            <a:ln w="9525" cap="flat" cmpd="sng">
              <a:solidFill>
                <a:srgbClr val="435D74"/>
              </a:solidFill>
              <a:prstDash val="solid"/>
              <a:round/>
              <a:headEnd type="none" w="sm" len="sm"/>
              <a:tailEnd type="none" w="sm" len="sm"/>
            </a:ln>
          </p:spPr>
          <p:txBody>
            <a:bodyPr spcFirstLastPara="1" wrap="square" lIns="91433" tIns="45700" rIns="91433" bIns="45700" anchor="ctr" anchorCtr="0">
              <a:noAutofit/>
            </a:bodyPr>
            <a:lstStyle/>
            <a:p>
              <a:pPr algn="ctr" defTabSz="1219170">
                <a:buClr>
                  <a:srgbClr val="000000"/>
                </a:buClr>
              </a:pPr>
              <a:endParaRPr sz="1867" kern="0">
                <a:solidFill>
                  <a:srgbClr val="00C3B1"/>
                </a:solidFill>
                <a:latin typeface="Calibri"/>
                <a:ea typeface="Calibri"/>
                <a:cs typeface="Calibri"/>
                <a:sym typeface="Calibri"/>
              </a:endParaRPr>
            </a:p>
          </p:txBody>
        </p:sp>
        <p:sp>
          <p:nvSpPr>
            <p:cNvPr id="7997" name="Google Shape;7997;p105"/>
            <p:cNvSpPr/>
            <p:nvPr/>
          </p:nvSpPr>
          <p:spPr>
            <a:xfrm>
              <a:off x="1912352" y="2986275"/>
              <a:ext cx="591600" cy="591600"/>
            </a:xfrm>
            <a:prstGeom prst="ellipse">
              <a:avLst/>
            </a:prstGeom>
            <a:noFill/>
            <a:ln w="9525" cap="flat" cmpd="sng">
              <a:solidFill>
                <a:srgbClr val="435D74"/>
              </a:solidFill>
              <a:prstDash val="solid"/>
              <a:round/>
              <a:headEnd type="none" w="sm" len="sm"/>
              <a:tailEnd type="none" w="sm" len="sm"/>
            </a:ln>
          </p:spPr>
          <p:txBody>
            <a:bodyPr spcFirstLastPara="1" wrap="square" lIns="91433" tIns="45700" rIns="91433" bIns="45700" anchor="ctr" anchorCtr="0">
              <a:noAutofit/>
            </a:bodyPr>
            <a:lstStyle/>
            <a:p>
              <a:pPr algn="ctr" defTabSz="1219170">
                <a:buClr>
                  <a:srgbClr val="000000"/>
                </a:buClr>
              </a:pPr>
              <a:endParaRPr sz="1867" kern="0">
                <a:solidFill>
                  <a:srgbClr val="00C3B1"/>
                </a:solidFill>
                <a:latin typeface="Calibri"/>
                <a:ea typeface="Calibri"/>
                <a:cs typeface="Calibri"/>
                <a:sym typeface="Calibri"/>
              </a:endParaRPr>
            </a:p>
          </p:txBody>
        </p:sp>
        <p:sp>
          <p:nvSpPr>
            <p:cNvPr id="7994" name="Google Shape;7994;p105"/>
            <p:cNvSpPr/>
            <p:nvPr/>
          </p:nvSpPr>
          <p:spPr>
            <a:xfrm>
              <a:off x="634175" y="2986275"/>
              <a:ext cx="591600" cy="591600"/>
            </a:xfrm>
            <a:prstGeom prst="ellipse">
              <a:avLst/>
            </a:prstGeom>
            <a:noFill/>
            <a:ln w="9525" cap="flat" cmpd="sng">
              <a:solidFill>
                <a:srgbClr val="435D74"/>
              </a:solidFill>
              <a:prstDash val="solid"/>
              <a:round/>
              <a:headEnd type="none" w="sm" len="sm"/>
              <a:tailEnd type="none" w="sm" len="sm"/>
            </a:ln>
          </p:spPr>
          <p:txBody>
            <a:bodyPr spcFirstLastPara="1" wrap="square" lIns="91433" tIns="45700" rIns="91433" bIns="45700" anchor="ctr" anchorCtr="0">
              <a:noAutofit/>
            </a:bodyPr>
            <a:lstStyle/>
            <a:p>
              <a:pPr algn="ctr" defTabSz="1219170">
                <a:buClr>
                  <a:srgbClr val="000000"/>
                </a:buClr>
              </a:pPr>
              <a:endParaRPr sz="1867" kern="0">
                <a:solidFill>
                  <a:srgbClr val="00C3B1"/>
                </a:solidFill>
                <a:latin typeface="Calibri"/>
                <a:ea typeface="Calibri"/>
                <a:cs typeface="Calibri"/>
                <a:sym typeface="Calibri"/>
              </a:endParaRPr>
            </a:p>
          </p:txBody>
        </p:sp>
        <p:sp>
          <p:nvSpPr>
            <p:cNvPr id="7999" name="Google Shape;7999;p105"/>
            <p:cNvSpPr/>
            <p:nvPr/>
          </p:nvSpPr>
          <p:spPr>
            <a:xfrm>
              <a:off x="2599133" y="3853018"/>
              <a:ext cx="591600" cy="591600"/>
            </a:xfrm>
            <a:prstGeom prst="ellipse">
              <a:avLst/>
            </a:prstGeom>
            <a:noFill/>
            <a:ln w="9525" cap="flat" cmpd="sng">
              <a:solidFill>
                <a:srgbClr val="435D74"/>
              </a:solidFill>
              <a:prstDash val="solid"/>
              <a:round/>
              <a:headEnd type="none" w="sm" len="sm"/>
              <a:tailEnd type="none" w="sm" len="sm"/>
            </a:ln>
          </p:spPr>
          <p:txBody>
            <a:bodyPr spcFirstLastPara="1" wrap="square" lIns="91433" tIns="45700" rIns="91433" bIns="45700" anchor="ctr" anchorCtr="0">
              <a:noAutofit/>
            </a:bodyPr>
            <a:lstStyle/>
            <a:p>
              <a:pPr algn="ctr" defTabSz="1219170">
                <a:buClr>
                  <a:srgbClr val="000000"/>
                </a:buClr>
              </a:pPr>
              <a:endParaRPr sz="1867" kern="0">
                <a:solidFill>
                  <a:srgbClr val="00C3B1"/>
                </a:solidFill>
                <a:latin typeface="Calibri"/>
                <a:ea typeface="Calibri"/>
                <a:cs typeface="Calibri"/>
                <a:sym typeface="Calibri"/>
              </a:endParaRPr>
            </a:p>
          </p:txBody>
        </p:sp>
        <p:sp>
          <p:nvSpPr>
            <p:cNvPr id="7995" name="Google Shape;7995;p105"/>
            <p:cNvSpPr/>
            <p:nvPr/>
          </p:nvSpPr>
          <p:spPr>
            <a:xfrm>
              <a:off x="1225566" y="3853019"/>
              <a:ext cx="591600" cy="591600"/>
            </a:xfrm>
            <a:prstGeom prst="ellipse">
              <a:avLst/>
            </a:prstGeom>
            <a:noFill/>
            <a:ln w="9525" cap="flat" cmpd="sng">
              <a:solidFill>
                <a:srgbClr val="435D74"/>
              </a:solidFill>
              <a:prstDash val="solid"/>
              <a:round/>
              <a:headEnd type="none" w="sm" len="sm"/>
              <a:tailEnd type="none" w="sm" len="sm"/>
            </a:ln>
          </p:spPr>
          <p:txBody>
            <a:bodyPr spcFirstLastPara="1" wrap="square" lIns="91433" tIns="45700" rIns="91433" bIns="45700" anchor="ctr" anchorCtr="0">
              <a:noAutofit/>
            </a:bodyPr>
            <a:lstStyle/>
            <a:p>
              <a:pPr algn="ctr" defTabSz="1219170">
                <a:buClr>
                  <a:srgbClr val="000000"/>
                </a:buClr>
              </a:pPr>
              <a:endParaRPr sz="1867" kern="0">
                <a:solidFill>
                  <a:srgbClr val="FFFFFF"/>
                </a:solidFill>
                <a:latin typeface="Calibri"/>
                <a:ea typeface="Calibri"/>
                <a:cs typeface="Calibri"/>
                <a:sym typeface="Calibri"/>
              </a:endParaRPr>
            </a:p>
          </p:txBody>
        </p:sp>
      </p:grpSp>
      <p:grpSp>
        <p:nvGrpSpPr>
          <p:cNvPr id="8002" name="Google Shape;8002;p105"/>
          <p:cNvGrpSpPr/>
          <p:nvPr/>
        </p:nvGrpSpPr>
        <p:grpSpPr>
          <a:xfrm>
            <a:off x="4701899" y="3855983"/>
            <a:ext cx="2094292" cy="392164"/>
            <a:chOff x="998425" y="1182125"/>
            <a:chExt cx="1065400" cy="199500"/>
          </a:xfrm>
        </p:grpSpPr>
        <p:sp>
          <p:nvSpPr>
            <p:cNvPr id="8003" name="Google Shape;8003;p105"/>
            <p:cNvSpPr/>
            <p:nvPr/>
          </p:nvSpPr>
          <p:spPr>
            <a:xfrm>
              <a:off x="998425" y="1182125"/>
              <a:ext cx="1065400" cy="199500"/>
            </a:xfrm>
            <a:custGeom>
              <a:avLst/>
              <a:gdLst/>
              <a:ahLst/>
              <a:cxnLst/>
              <a:rect l="l" t="t" r="r" b="b"/>
              <a:pathLst>
                <a:path w="42616" h="7980" extrusionOk="0">
                  <a:moveTo>
                    <a:pt x="4324" y="1"/>
                  </a:moveTo>
                  <a:cubicBezTo>
                    <a:pt x="3159" y="1"/>
                    <a:pt x="1997" y="512"/>
                    <a:pt x="1246" y="1424"/>
                  </a:cubicBezTo>
                  <a:cubicBezTo>
                    <a:pt x="180" y="2720"/>
                    <a:pt x="1" y="4577"/>
                    <a:pt x="867" y="6031"/>
                  </a:cubicBezTo>
                  <a:cubicBezTo>
                    <a:pt x="1600" y="7262"/>
                    <a:pt x="2935" y="7980"/>
                    <a:pt x="4331" y="7980"/>
                  </a:cubicBezTo>
                  <a:cubicBezTo>
                    <a:pt x="4576" y="7980"/>
                    <a:pt x="4822" y="7958"/>
                    <a:pt x="5067" y="7913"/>
                  </a:cubicBezTo>
                  <a:cubicBezTo>
                    <a:pt x="6219" y="7700"/>
                    <a:pt x="7170" y="6971"/>
                    <a:pt x="7733" y="6006"/>
                  </a:cubicBezTo>
                  <a:cubicBezTo>
                    <a:pt x="8105" y="5370"/>
                    <a:pt x="8773" y="4970"/>
                    <a:pt x="9508" y="4970"/>
                  </a:cubicBezTo>
                  <a:lnTo>
                    <a:pt x="10488" y="4970"/>
                  </a:lnTo>
                  <a:cubicBezTo>
                    <a:pt x="11237" y="4970"/>
                    <a:pt x="11919" y="5376"/>
                    <a:pt x="12300" y="6020"/>
                  </a:cubicBezTo>
                  <a:lnTo>
                    <a:pt x="12307" y="6031"/>
                  </a:lnTo>
                  <a:cubicBezTo>
                    <a:pt x="13039" y="7262"/>
                    <a:pt x="14375" y="7980"/>
                    <a:pt x="15771" y="7980"/>
                  </a:cubicBezTo>
                  <a:cubicBezTo>
                    <a:pt x="16016" y="7980"/>
                    <a:pt x="16262" y="7958"/>
                    <a:pt x="16507" y="7913"/>
                  </a:cubicBezTo>
                  <a:cubicBezTo>
                    <a:pt x="17658" y="7700"/>
                    <a:pt x="18610" y="6971"/>
                    <a:pt x="19173" y="6006"/>
                  </a:cubicBezTo>
                  <a:cubicBezTo>
                    <a:pt x="19545" y="5370"/>
                    <a:pt x="20213" y="4970"/>
                    <a:pt x="20946" y="4970"/>
                  </a:cubicBezTo>
                  <a:lnTo>
                    <a:pt x="21928" y="4970"/>
                  </a:lnTo>
                  <a:cubicBezTo>
                    <a:pt x="22677" y="4970"/>
                    <a:pt x="23359" y="5376"/>
                    <a:pt x="23740" y="6020"/>
                  </a:cubicBezTo>
                  <a:lnTo>
                    <a:pt x="23747" y="6031"/>
                  </a:lnTo>
                  <a:cubicBezTo>
                    <a:pt x="24479" y="7262"/>
                    <a:pt x="25815" y="7980"/>
                    <a:pt x="27210" y="7980"/>
                  </a:cubicBezTo>
                  <a:cubicBezTo>
                    <a:pt x="27454" y="7980"/>
                    <a:pt x="27700" y="7958"/>
                    <a:pt x="27945" y="7913"/>
                  </a:cubicBezTo>
                  <a:cubicBezTo>
                    <a:pt x="29098" y="7700"/>
                    <a:pt x="30048" y="6971"/>
                    <a:pt x="30613" y="6006"/>
                  </a:cubicBezTo>
                  <a:cubicBezTo>
                    <a:pt x="30985" y="5370"/>
                    <a:pt x="31652" y="4970"/>
                    <a:pt x="32388" y="4970"/>
                  </a:cubicBezTo>
                  <a:lnTo>
                    <a:pt x="33368" y="4970"/>
                  </a:lnTo>
                  <a:cubicBezTo>
                    <a:pt x="34117" y="4970"/>
                    <a:pt x="34799" y="5376"/>
                    <a:pt x="35180" y="6020"/>
                  </a:cubicBezTo>
                  <a:lnTo>
                    <a:pt x="35187" y="6031"/>
                  </a:lnTo>
                  <a:cubicBezTo>
                    <a:pt x="35920" y="7262"/>
                    <a:pt x="37255" y="7980"/>
                    <a:pt x="38651" y="7980"/>
                  </a:cubicBezTo>
                  <a:cubicBezTo>
                    <a:pt x="38896" y="7980"/>
                    <a:pt x="39142" y="7958"/>
                    <a:pt x="39387" y="7913"/>
                  </a:cubicBezTo>
                  <a:cubicBezTo>
                    <a:pt x="41256" y="7567"/>
                    <a:pt x="42594" y="5866"/>
                    <a:pt x="42615" y="3993"/>
                  </a:cubicBezTo>
                  <a:cubicBezTo>
                    <a:pt x="42599" y="2323"/>
                    <a:pt x="41557" y="833"/>
                    <a:pt x="39994" y="246"/>
                  </a:cubicBezTo>
                  <a:cubicBezTo>
                    <a:pt x="39559" y="81"/>
                    <a:pt x="39100" y="2"/>
                    <a:pt x="38642" y="2"/>
                  </a:cubicBezTo>
                  <a:cubicBezTo>
                    <a:pt x="37477" y="2"/>
                    <a:pt x="36315" y="513"/>
                    <a:pt x="35565" y="1426"/>
                  </a:cubicBezTo>
                  <a:cubicBezTo>
                    <a:pt x="35428" y="1592"/>
                    <a:pt x="35304" y="1770"/>
                    <a:pt x="35195" y="1957"/>
                  </a:cubicBezTo>
                  <a:cubicBezTo>
                    <a:pt x="34817" y="2606"/>
                    <a:pt x="34133" y="3018"/>
                    <a:pt x="33382" y="3018"/>
                  </a:cubicBezTo>
                  <a:lnTo>
                    <a:pt x="32420" y="3018"/>
                  </a:lnTo>
                  <a:cubicBezTo>
                    <a:pt x="31683" y="3018"/>
                    <a:pt x="30996" y="2632"/>
                    <a:pt x="30624" y="1994"/>
                  </a:cubicBezTo>
                  <a:cubicBezTo>
                    <a:pt x="30157" y="1190"/>
                    <a:pt x="29425" y="572"/>
                    <a:pt x="28556" y="244"/>
                  </a:cubicBezTo>
                  <a:cubicBezTo>
                    <a:pt x="28121" y="80"/>
                    <a:pt x="27663" y="1"/>
                    <a:pt x="27205" y="1"/>
                  </a:cubicBezTo>
                  <a:cubicBezTo>
                    <a:pt x="26039" y="1"/>
                    <a:pt x="24877" y="513"/>
                    <a:pt x="24125" y="1426"/>
                  </a:cubicBezTo>
                  <a:cubicBezTo>
                    <a:pt x="23989" y="1592"/>
                    <a:pt x="23865" y="1770"/>
                    <a:pt x="23755" y="1957"/>
                  </a:cubicBezTo>
                  <a:cubicBezTo>
                    <a:pt x="23377" y="2606"/>
                    <a:pt x="22695" y="3018"/>
                    <a:pt x="21944" y="3018"/>
                  </a:cubicBezTo>
                  <a:lnTo>
                    <a:pt x="20981" y="3018"/>
                  </a:lnTo>
                  <a:cubicBezTo>
                    <a:pt x="20243" y="3018"/>
                    <a:pt x="19556" y="2632"/>
                    <a:pt x="19185" y="1994"/>
                  </a:cubicBezTo>
                  <a:cubicBezTo>
                    <a:pt x="18717" y="1190"/>
                    <a:pt x="17987" y="572"/>
                    <a:pt x="17116" y="244"/>
                  </a:cubicBezTo>
                  <a:cubicBezTo>
                    <a:pt x="16681" y="80"/>
                    <a:pt x="16223" y="1"/>
                    <a:pt x="15766" y="1"/>
                  </a:cubicBezTo>
                  <a:cubicBezTo>
                    <a:pt x="14600" y="1"/>
                    <a:pt x="13437" y="513"/>
                    <a:pt x="12686" y="1426"/>
                  </a:cubicBezTo>
                  <a:cubicBezTo>
                    <a:pt x="12549" y="1592"/>
                    <a:pt x="12425" y="1770"/>
                    <a:pt x="12316" y="1957"/>
                  </a:cubicBezTo>
                  <a:cubicBezTo>
                    <a:pt x="11937" y="2606"/>
                    <a:pt x="11255" y="3016"/>
                    <a:pt x="10504" y="3016"/>
                  </a:cubicBezTo>
                  <a:lnTo>
                    <a:pt x="9541" y="3016"/>
                  </a:lnTo>
                  <a:cubicBezTo>
                    <a:pt x="8805" y="3016"/>
                    <a:pt x="8116" y="2632"/>
                    <a:pt x="7745" y="1994"/>
                  </a:cubicBezTo>
                  <a:cubicBezTo>
                    <a:pt x="7277" y="1190"/>
                    <a:pt x="6547" y="572"/>
                    <a:pt x="5676" y="244"/>
                  </a:cubicBezTo>
                  <a:cubicBezTo>
                    <a:pt x="5241" y="80"/>
                    <a:pt x="4782" y="1"/>
                    <a:pt x="4324" y="1"/>
                  </a:cubicBezTo>
                  <a:close/>
                </a:path>
              </a:pathLst>
            </a:custGeom>
            <a:noFill/>
            <a:ln w="9525" cap="flat" cmpd="sng">
              <a:solidFill>
                <a:srgbClr val="869FB1"/>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004" name="Google Shape;8004;p105"/>
            <p:cNvSpPr/>
            <p:nvPr/>
          </p:nvSpPr>
          <p:spPr>
            <a:xfrm>
              <a:off x="1017250" y="1193175"/>
              <a:ext cx="177475" cy="177500"/>
            </a:xfrm>
            <a:custGeom>
              <a:avLst/>
              <a:gdLst/>
              <a:ahLst/>
              <a:cxnLst/>
              <a:rect l="l" t="t" r="r" b="b"/>
              <a:pathLst>
                <a:path w="7099" h="7100" extrusionOk="0">
                  <a:moveTo>
                    <a:pt x="3550" y="1"/>
                  </a:moveTo>
                  <a:cubicBezTo>
                    <a:pt x="1589" y="1"/>
                    <a:pt x="0" y="1589"/>
                    <a:pt x="0" y="3551"/>
                  </a:cubicBezTo>
                  <a:cubicBezTo>
                    <a:pt x="0" y="5511"/>
                    <a:pt x="1589" y="7099"/>
                    <a:pt x="3550" y="7099"/>
                  </a:cubicBezTo>
                  <a:cubicBezTo>
                    <a:pt x="5510" y="7099"/>
                    <a:pt x="7099" y="5511"/>
                    <a:pt x="7099" y="3551"/>
                  </a:cubicBezTo>
                  <a:cubicBezTo>
                    <a:pt x="7099" y="1589"/>
                    <a:pt x="5510" y="1"/>
                    <a:pt x="3550" y="1"/>
                  </a:cubicBezTo>
                  <a:close/>
                </a:path>
              </a:pathLst>
            </a:custGeom>
            <a:noFill/>
            <a:ln w="9525" cap="flat" cmpd="sng">
              <a:solidFill>
                <a:srgbClr val="E3E9ED"/>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005" name="Google Shape;8005;p105"/>
            <p:cNvSpPr/>
            <p:nvPr/>
          </p:nvSpPr>
          <p:spPr>
            <a:xfrm>
              <a:off x="1303250" y="1193175"/>
              <a:ext cx="177475" cy="177500"/>
            </a:xfrm>
            <a:custGeom>
              <a:avLst/>
              <a:gdLst/>
              <a:ahLst/>
              <a:cxnLst/>
              <a:rect l="l" t="t" r="r" b="b"/>
              <a:pathLst>
                <a:path w="7099" h="7100" extrusionOk="0">
                  <a:moveTo>
                    <a:pt x="3550" y="1"/>
                  </a:moveTo>
                  <a:cubicBezTo>
                    <a:pt x="1589" y="1"/>
                    <a:pt x="0" y="1589"/>
                    <a:pt x="0" y="3551"/>
                  </a:cubicBezTo>
                  <a:cubicBezTo>
                    <a:pt x="0" y="5511"/>
                    <a:pt x="1589" y="7099"/>
                    <a:pt x="3550" y="7099"/>
                  </a:cubicBezTo>
                  <a:cubicBezTo>
                    <a:pt x="5510" y="7099"/>
                    <a:pt x="7099" y="5511"/>
                    <a:pt x="7099" y="3551"/>
                  </a:cubicBezTo>
                  <a:cubicBezTo>
                    <a:pt x="7099" y="1589"/>
                    <a:pt x="5510" y="1"/>
                    <a:pt x="3550" y="1"/>
                  </a:cubicBezTo>
                  <a:close/>
                </a:path>
              </a:pathLst>
            </a:custGeom>
            <a:noFill/>
            <a:ln w="9525" cap="flat" cmpd="sng">
              <a:solidFill>
                <a:srgbClr val="E3E9ED"/>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006" name="Google Shape;8006;p105"/>
            <p:cNvSpPr/>
            <p:nvPr/>
          </p:nvSpPr>
          <p:spPr>
            <a:xfrm>
              <a:off x="1589250" y="1193175"/>
              <a:ext cx="177475" cy="177500"/>
            </a:xfrm>
            <a:custGeom>
              <a:avLst/>
              <a:gdLst/>
              <a:ahLst/>
              <a:cxnLst/>
              <a:rect l="l" t="t" r="r" b="b"/>
              <a:pathLst>
                <a:path w="7099" h="7100" extrusionOk="0">
                  <a:moveTo>
                    <a:pt x="3549" y="1"/>
                  </a:moveTo>
                  <a:cubicBezTo>
                    <a:pt x="1589" y="1"/>
                    <a:pt x="0" y="1589"/>
                    <a:pt x="0" y="3551"/>
                  </a:cubicBezTo>
                  <a:cubicBezTo>
                    <a:pt x="0" y="5511"/>
                    <a:pt x="1589" y="7099"/>
                    <a:pt x="3549" y="7099"/>
                  </a:cubicBezTo>
                  <a:cubicBezTo>
                    <a:pt x="5510" y="7099"/>
                    <a:pt x="7099" y="5511"/>
                    <a:pt x="7099" y="3551"/>
                  </a:cubicBezTo>
                  <a:cubicBezTo>
                    <a:pt x="7099" y="1589"/>
                    <a:pt x="5510" y="1"/>
                    <a:pt x="3549" y="1"/>
                  </a:cubicBezTo>
                  <a:close/>
                </a:path>
              </a:pathLst>
            </a:custGeom>
            <a:noFill/>
            <a:ln w="9525" cap="flat" cmpd="sng">
              <a:solidFill>
                <a:srgbClr val="E3E9ED"/>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007" name="Google Shape;8007;p105"/>
            <p:cNvSpPr/>
            <p:nvPr/>
          </p:nvSpPr>
          <p:spPr>
            <a:xfrm>
              <a:off x="1875200" y="1193175"/>
              <a:ext cx="177525" cy="177500"/>
            </a:xfrm>
            <a:custGeom>
              <a:avLst/>
              <a:gdLst/>
              <a:ahLst/>
              <a:cxnLst/>
              <a:rect l="l" t="t" r="r" b="b"/>
              <a:pathLst>
                <a:path w="7101" h="7100" extrusionOk="0">
                  <a:moveTo>
                    <a:pt x="3551" y="1"/>
                  </a:moveTo>
                  <a:cubicBezTo>
                    <a:pt x="1590" y="1"/>
                    <a:pt x="0" y="1589"/>
                    <a:pt x="0" y="3551"/>
                  </a:cubicBezTo>
                  <a:cubicBezTo>
                    <a:pt x="0" y="5511"/>
                    <a:pt x="1590" y="7099"/>
                    <a:pt x="3551" y="7099"/>
                  </a:cubicBezTo>
                  <a:cubicBezTo>
                    <a:pt x="5511" y="7099"/>
                    <a:pt x="7101" y="5511"/>
                    <a:pt x="7101" y="3551"/>
                  </a:cubicBezTo>
                  <a:cubicBezTo>
                    <a:pt x="7101" y="1589"/>
                    <a:pt x="5511" y="1"/>
                    <a:pt x="3551" y="1"/>
                  </a:cubicBezTo>
                  <a:close/>
                </a:path>
              </a:pathLst>
            </a:custGeom>
            <a:noFill/>
            <a:ln w="9525" cap="flat" cmpd="sng">
              <a:solidFill>
                <a:srgbClr val="E3E9ED"/>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8008" name="Google Shape;8008;p105"/>
          <p:cNvGrpSpPr/>
          <p:nvPr/>
        </p:nvGrpSpPr>
        <p:grpSpPr>
          <a:xfrm>
            <a:off x="9159574" y="2679299"/>
            <a:ext cx="2087621" cy="488972"/>
            <a:chOff x="1247650" y="2075423"/>
            <a:chExt cx="6648477" cy="1557238"/>
          </a:xfrm>
        </p:grpSpPr>
        <p:sp>
          <p:nvSpPr>
            <p:cNvPr id="8009" name="Google Shape;8009;p105"/>
            <p:cNvSpPr/>
            <p:nvPr/>
          </p:nvSpPr>
          <p:spPr>
            <a:xfrm>
              <a:off x="6633862" y="2075423"/>
              <a:ext cx="953444" cy="825696"/>
            </a:xfrm>
            <a:custGeom>
              <a:avLst/>
              <a:gdLst/>
              <a:ahLst/>
              <a:cxnLst/>
              <a:rect l="l" t="t" r="r" b="b"/>
              <a:pathLst>
                <a:path w="57767" h="50027" extrusionOk="0">
                  <a:moveTo>
                    <a:pt x="14439" y="0"/>
                  </a:moveTo>
                  <a:lnTo>
                    <a:pt x="0" y="25014"/>
                  </a:lnTo>
                  <a:lnTo>
                    <a:pt x="14439" y="50027"/>
                  </a:lnTo>
                  <a:lnTo>
                    <a:pt x="43329" y="50027"/>
                  </a:lnTo>
                  <a:lnTo>
                    <a:pt x="57767" y="25014"/>
                  </a:lnTo>
                  <a:lnTo>
                    <a:pt x="43329" y="0"/>
                  </a:lnTo>
                  <a:close/>
                </a:path>
              </a:pathLst>
            </a:custGeom>
            <a:noFill/>
            <a:ln w="9525" cap="flat" cmpd="sng">
              <a:solidFill>
                <a:srgbClr val="BAC8D3"/>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010" name="Google Shape;8010;p105"/>
            <p:cNvSpPr/>
            <p:nvPr/>
          </p:nvSpPr>
          <p:spPr>
            <a:xfrm>
              <a:off x="5359252" y="2806965"/>
              <a:ext cx="953461" cy="825696"/>
            </a:xfrm>
            <a:custGeom>
              <a:avLst/>
              <a:gdLst/>
              <a:ahLst/>
              <a:cxnLst/>
              <a:rect l="l" t="t" r="r" b="b"/>
              <a:pathLst>
                <a:path w="57768" h="50027" extrusionOk="0">
                  <a:moveTo>
                    <a:pt x="14439" y="0"/>
                  </a:moveTo>
                  <a:lnTo>
                    <a:pt x="1" y="25013"/>
                  </a:lnTo>
                  <a:lnTo>
                    <a:pt x="14439" y="50027"/>
                  </a:lnTo>
                  <a:lnTo>
                    <a:pt x="43329" y="50027"/>
                  </a:lnTo>
                  <a:lnTo>
                    <a:pt x="57767" y="25013"/>
                  </a:lnTo>
                  <a:lnTo>
                    <a:pt x="43329" y="0"/>
                  </a:lnTo>
                  <a:close/>
                </a:path>
              </a:pathLst>
            </a:custGeom>
            <a:noFill/>
            <a:ln w="9525" cap="flat" cmpd="sng">
              <a:solidFill>
                <a:srgbClr val="BAC8D3"/>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011" name="Google Shape;8011;p105"/>
            <p:cNvSpPr/>
            <p:nvPr/>
          </p:nvSpPr>
          <p:spPr>
            <a:xfrm>
              <a:off x="1601478" y="2075425"/>
              <a:ext cx="953316" cy="825696"/>
            </a:xfrm>
            <a:custGeom>
              <a:avLst/>
              <a:gdLst/>
              <a:ahLst/>
              <a:cxnLst/>
              <a:rect l="l" t="t" r="r" b="b"/>
              <a:pathLst>
                <a:path w="57768" h="50027" extrusionOk="0">
                  <a:moveTo>
                    <a:pt x="14439" y="0"/>
                  </a:moveTo>
                  <a:lnTo>
                    <a:pt x="1" y="25013"/>
                  </a:lnTo>
                  <a:lnTo>
                    <a:pt x="14439" y="50027"/>
                  </a:lnTo>
                  <a:lnTo>
                    <a:pt x="43329" y="50027"/>
                  </a:lnTo>
                  <a:lnTo>
                    <a:pt x="57768" y="25013"/>
                  </a:lnTo>
                  <a:lnTo>
                    <a:pt x="43329" y="0"/>
                  </a:lnTo>
                  <a:close/>
                </a:path>
              </a:pathLst>
            </a:custGeom>
            <a:noFill/>
            <a:ln w="9525" cap="flat" cmpd="sng">
              <a:solidFill>
                <a:srgbClr val="BAC8D3"/>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012" name="Google Shape;8012;p105"/>
            <p:cNvSpPr/>
            <p:nvPr/>
          </p:nvSpPr>
          <p:spPr>
            <a:xfrm>
              <a:off x="2857827" y="2807112"/>
              <a:ext cx="953370" cy="825320"/>
            </a:xfrm>
            <a:custGeom>
              <a:avLst/>
              <a:gdLst/>
              <a:ahLst/>
              <a:cxnLst/>
              <a:rect l="l" t="t" r="r" b="b"/>
              <a:pathLst>
                <a:path w="57780" h="50027" extrusionOk="0">
                  <a:moveTo>
                    <a:pt x="14452" y="0"/>
                  </a:moveTo>
                  <a:lnTo>
                    <a:pt x="0" y="25013"/>
                  </a:lnTo>
                  <a:lnTo>
                    <a:pt x="14452" y="50027"/>
                  </a:lnTo>
                  <a:lnTo>
                    <a:pt x="43328" y="50027"/>
                  </a:lnTo>
                  <a:lnTo>
                    <a:pt x="57780" y="25013"/>
                  </a:lnTo>
                  <a:lnTo>
                    <a:pt x="43328" y="0"/>
                  </a:lnTo>
                  <a:close/>
                </a:path>
              </a:pathLst>
            </a:custGeom>
            <a:noFill/>
            <a:ln w="9525" cap="flat" cmpd="sng">
              <a:solidFill>
                <a:srgbClr val="BAC8D3"/>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013" name="Google Shape;8013;p105"/>
            <p:cNvSpPr/>
            <p:nvPr/>
          </p:nvSpPr>
          <p:spPr>
            <a:xfrm>
              <a:off x="4097386" y="2075425"/>
              <a:ext cx="953444" cy="825696"/>
            </a:xfrm>
            <a:custGeom>
              <a:avLst/>
              <a:gdLst/>
              <a:ahLst/>
              <a:cxnLst/>
              <a:rect l="l" t="t" r="r" b="b"/>
              <a:pathLst>
                <a:path w="57767" h="50027" extrusionOk="0">
                  <a:moveTo>
                    <a:pt x="14439" y="0"/>
                  </a:moveTo>
                  <a:lnTo>
                    <a:pt x="0" y="25013"/>
                  </a:lnTo>
                  <a:lnTo>
                    <a:pt x="14439" y="50027"/>
                  </a:lnTo>
                  <a:lnTo>
                    <a:pt x="43328" y="50027"/>
                  </a:lnTo>
                  <a:lnTo>
                    <a:pt x="57767" y="25013"/>
                  </a:lnTo>
                  <a:lnTo>
                    <a:pt x="43328" y="0"/>
                  </a:lnTo>
                  <a:close/>
                </a:path>
              </a:pathLst>
            </a:custGeom>
            <a:noFill/>
            <a:ln w="9525" cap="flat" cmpd="sng">
              <a:solidFill>
                <a:srgbClr val="BAC8D3"/>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014" name="Google Shape;8014;p105"/>
            <p:cNvSpPr/>
            <p:nvPr/>
          </p:nvSpPr>
          <p:spPr>
            <a:xfrm>
              <a:off x="1247650" y="2490334"/>
              <a:ext cx="6648477" cy="729445"/>
            </a:xfrm>
            <a:custGeom>
              <a:avLst/>
              <a:gdLst/>
              <a:ahLst/>
              <a:cxnLst/>
              <a:rect l="l" t="t" r="r" b="b"/>
              <a:pathLst>
                <a:path w="285373" h="31310" fill="none" extrusionOk="0">
                  <a:moveTo>
                    <a:pt x="285373" y="3317"/>
                  </a:moveTo>
                  <a:lnTo>
                    <a:pt x="269256" y="31309"/>
                  </a:lnTo>
                  <a:lnTo>
                    <a:pt x="233095" y="31309"/>
                  </a:lnTo>
                  <a:lnTo>
                    <a:pt x="215067" y="352"/>
                  </a:lnTo>
                  <a:lnTo>
                    <a:pt x="179426" y="352"/>
                  </a:lnTo>
                  <a:lnTo>
                    <a:pt x="161606" y="31218"/>
                  </a:lnTo>
                  <a:lnTo>
                    <a:pt x="125718" y="31309"/>
                  </a:lnTo>
                  <a:lnTo>
                    <a:pt x="107651" y="0"/>
                  </a:lnTo>
                  <a:lnTo>
                    <a:pt x="71490" y="0"/>
                  </a:lnTo>
                  <a:lnTo>
                    <a:pt x="53669" y="31075"/>
                  </a:lnTo>
                  <a:lnTo>
                    <a:pt x="18042" y="31075"/>
                  </a:lnTo>
                  <a:lnTo>
                    <a:pt x="0" y="118"/>
                  </a:lnTo>
                </a:path>
              </a:pathLst>
            </a:custGeom>
            <a:noFill/>
            <a:ln w="9525" cap="flat" cmpd="sng">
              <a:solidFill>
                <a:srgbClr val="869FB2"/>
              </a:solidFill>
              <a:prstDash val="solid"/>
              <a:miter lim="13007"/>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8015" name="Google Shape;8015;p105"/>
          <p:cNvGrpSpPr/>
          <p:nvPr/>
        </p:nvGrpSpPr>
        <p:grpSpPr>
          <a:xfrm>
            <a:off x="9138657" y="4211052"/>
            <a:ext cx="2129415" cy="884587"/>
            <a:chOff x="6796238" y="3158297"/>
            <a:chExt cx="1630319" cy="677257"/>
          </a:xfrm>
        </p:grpSpPr>
        <p:cxnSp>
          <p:nvCxnSpPr>
            <p:cNvPr id="8016" name="Google Shape;8016;p105"/>
            <p:cNvCxnSpPr/>
            <p:nvPr/>
          </p:nvCxnSpPr>
          <p:spPr>
            <a:xfrm>
              <a:off x="7012244" y="3664854"/>
              <a:ext cx="0" cy="170700"/>
            </a:xfrm>
            <a:prstGeom prst="straightConnector1">
              <a:avLst/>
            </a:prstGeom>
            <a:noFill/>
            <a:ln w="9525" cap="flat" cmpd="sng">
              <a:solidFill>
                <a:srgbClr val="A5B7C6"/>
              </a:solidFill>
              <a:prstDash val="solid"/>
              <a:round/>
              <a:headEnd type="none" w="med" len="med"/>
              <a:tailEnd type="diamond" w="med" len="med"/>
            </a:ln>
          </p:spPr>
        </p:cxnSp>
        <p:cxnSp>
          <p:nvCxnSpPr>
            <p:cNvPr id="8017" name="Google Shape;8017;p105"/>
            <p:cNvCxnSpPr/>
            <p:nvPr/>
          </p:nvCxnSpPr>
          <p:spPr>
            <a:xfrm>
              <a:off x="7810957" y="3664854"/>
              <a:ext cx="0" cy="170700"/>
            </a:xfrm>
            <a:prstGeom prst="straightConnector1">
              <a:avLst/>
            </a:prstGeom>
            <a:noFill/>
            <a:ln w="9525" cap="flat" cmpd="sng">
              <a:solidFill>
                <a:srgbClr val="A5B7C6"/>
              </a:solidFill>
              <a:prstDash val="solid"/>
              <a:round/>
              <a:headEnd type="none" w="med" len="med"/>
              <a:tailEnd type="diamond" w="med" len="med"/>
            </a:ln>
          </p:spPr>
        </p:cxnSp>
        <p:cxnSp>
          <p:nvCxnSpPr>
            <p:cNvPr id="8018" name="Google Shape;8018;p105"/>
            <p:cNvCxnSpPr/>
            <p:nvPr/>
          </p:nvCxnSpPr>
          <p:spPr>
            <a:xfrm rot="10800000">
              <a:off x="8196652" y="3170826"/>
              <a:ext cx="0" cy="169800"/>
            </a:xfrm>
            <a:prstGeom prst="straightConnector1">
              <a:avLst/>
            </a:prstGeom>
            <a:noFill/>
            <a:ln w="9525" cap="flat" cmpd="sng">
              <a:solidFill>
                <a:srgbClr val="A5B7C6"/>
              </a:solidFill>
              <a:prstDash val="solid"/>
              <a:round/>
              <a:headEnd type="none" w="med" len="med"/>
              <a:tailEnd type="diamond" w="med" len="med"/>
            </a:ln>
          </p:spPr>
        </p:cxnSp>
        <p:cxnSp>
          <p:nvCxnSpPr>
            <p:cNvPr id="8019" name="Google Shape;8019;p105"/>
            <p:cNvCxnSpPr/>
            <p:nvPr/>
          </p:nvCxnSpPr>
          <p:spPr>
            <a:xfrm rot="10800000">
              <a:off x="7411601" y="3158297"/>
              <a:ext cx="0" cy="170700"/>
            </a:xfrm>
            <a:prstGeom prst="straightConnector1">
              <a:avLst/>
            </a:prstGeom>
            <a:noFill/>
            <a:ln w="9525" cap="flat" cmpd="sng">
              <a:solidFill>
                <a:srgbClr val="A5B7C6"/>
              </a:solidFill>
              <a:prstDash val="solid"/>
              <a:round/>
              <a:headEnd type="none" w="med" len="med"/>
              <a:tailEnd type="diamond" w="med" len="med"/>
            </a:ln>
          </p:spPr>
        </p:cxnSp>
        <p:grpSp>
          <p:nvGrpSpPr>
            <p:cNvPr id="8020" name="Google Shape;8020;p105"/>
            <p:cNvGrpSpPr/>
            <p:nvPr/>
          </p:nvGrpSpPr>
          <p:grpSpPr>
            <a:xfrm>
              <a:off x="6796238" y="3311904"/>
              <a:ext cx="1630319" cy="377697"/>
              <a:chOff x="6796238" y="3311904"/>
              <a:chExt cx="1630319" cy="377697"/>
            </a:xfrm>
          </p:grpSpPr>
          <p:sp>
            <p:nvSpPr>
              <p:cNvPr id="8021" name="Google Shape;8021;p105"/>
              <p:cNvSpPr/>
              <p:nvPr/>
            </p:nvSpPr>
            <p:spPr>
              <a:xfrm>
                <a:off x="6796238" y="3311904"/>
                <a:ext cx="798025" cy="377697"/>
              </a:xfrm>
              <a:custGeom>
                <a:avLst/>
                <a:gdLst/>
                <a:ahLst/>
                <a:cxnLst/>
                <a:rect l="l" t="t" r="r" b="b"/>
                <a:pathLst>
                  <a:path w="34368" h="16266" extrusionOk="0">
                    <a:moveTo>
                      <a:pt x="4679" y="0"/>
                    </a:moveTo>
                    <a:lnTo>
                      <a:pt x="0" y="8133"/>
                    </a:lnTo>
                    <a:lnTo>
                      <a:pt x="4679" y="16265"/>
                    </a:lnTo>
                    <a:lnTo>
                      <a:pt x="14094" y="16265"/>
                    </a:lnTo>
                    <a:lnTo>
                      <a:pt x="17913" y="9590"/>
                    </a:lnTo>
                    <a:lnTo>
                      <a:pt x="22591" y="1458"/>
                    </a:lnTo>
                    <a:lnTo>
                      <a:pt x="30301" y="1458"/>
                    </a:lnTo>
                    <a:lnTo>
                      <a:pt x="33522" y="7098"/>
                    </a:lnTo>
                    <a:lnTo>
                      <a:pt x="34367" y="5640"/>
                    </a:lnTo>
                    <a:lnTo>
                      <a:pt x="33522" y="4183"/>
                    </a:lnTo>
                    <a:lnTo>
                      <a:pt x="31146" y="0"/>
                    </a:lnTo>
                    <a:lnTo>
                      <a:pt x="21746" y="0"/>
                    </a:lnTo>
                    <a:lnTo>
                      <a:pt x="17067" y="8133"/>
                    </a:lnTo>
                    <a:lnTo>
                      <a:pt x="13234" y="14808"/>
                    </a:lnTo>
                    <a:lnTo>
                      <a:pt x="5524" y="14808"/>
                    </a:lnTo>
                    <a:lnTo>
                      <a:pt x="1706" y="8133"/>
                    </a:lnTo>
                    <a:lnTo>
                      <a:pt x="5524" y="1458"/>
                    </a:lnTo>
                    <a:lnTo>
                      <a:pt x="13234" y="1458"/>
                    </a:lnTo>
                    <a:lnTo>
                      <a:pt x="16455" y="7098"/>
                    </a:lnTo>
                    <a:lnTo>
                      <a:pt x="17301" y="5640"/>
                    </a:lnTo>
                    <a:lnTo>
                      <a:pt x="16455" y="4183"/>
                    </a:lnTo>
                    <a:lnTo>
                      <a:pt x="14094" y="0"/>
                    </a:lnTo>
                    <a:close/>
                  </a:path>
                </a:pathLst>
              </a:custGeom>
              <a:solidFill>
                <a:srgbClr val="435D74"/>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022" name="Google Shape;8022;p105"/>
              <p:cNvSpPr/>
              <p:nvPr/>
            </p:nvSpPr>
            <p:spPr>
              <a:xfrm>
                <a:off x="7628207" y="3311904"/>
                <a:ext cx="798350" cy="377697"/>
              </a:xfrm>
              <a:custGeom>
                <a:avLst/>
                <a:gdLst/>
                <a:ahLst/>
                <a:cxnLst/>
                <a:rect l="l" t="t" r="r" b="b"/>
                <a:pathLst>
                  <a:path w="34382" h="16266" extrusionOk="0">
                    <a:moveTo>
                      <a:pt x="20288" y="0"/>
                    </a:moveTo>
                    <a:lnTo>
                      <a:pt x="16470" y="6675"/>
                    </a:lnTo>
                    <a:lnTo>
                      <a:pt x="11791" y="14808"/>
                    </a:lnTo>
                    <a:lnTo>
                      <a:pt x="4081" y="14808"/>
                    </a:lnTo>
                    <a:lnTo>
                      <a:pt x="860" y="9167"/>
                    </a:lnTo>
                    <a:lnTo>
                      <a:pt x="0" y="10625"/>
                    </a:lnTo>
                    <a:lnTo>
                      <a:pt x="860" y="12082"/>
                    </a:lnTo>
                    <a:lnTo>
                      <a:pt x="3221" y="16265"/>
                    </a:lnTo>
                    <a:lnTo>
                      <a:pt x="12637" y="16265"/>
                    </a:lnTo>
                    <a:lnTo>
                      <a:pt x="17315" y="8133"/>
                    </a:lnTo>
                    <a:lnTo>
                      <a:pt x="21134" y="1458"/>
                    </a:lnTo>
                    <a:lnTo>
                      <a:pt x="28858" y="1458"/>
                    </a:lnTo>
                    <a:lnTo>
                      <a:pt x="32677" y="8133"/>
                    </a:lnTo>
                    <a:lnTo>
                      <a:pt x="28858" y="14808"/>
                    </a:lnTo>
                    <a:lnTo>
                      <a:pt x="21134" y="14808"/>
                    </a:lnTo>
                    <a:lnTo>
                      <a:pt x="17927" y="9167"/>
                    </a:lnTo>
                    <a:lnTo>
                      <a:pt x="17067" y="10625"/>
                    </a:lnTo>
                    <a:lnTo>
                      <a:pt x="17927" y="12082"/>
                    </a:lnTo>
                    <a:lnTo>
                      <a:pt x="20288" y="16265"/>
                    </a:lnTo>
                    <a:lnTo>
                      <a:pt x="29703" y="16265"/>
                    </a:lnTo>
                    <a:lnTo>
                      <a:pt x="34382" y="8133"/>
                    </a:lnTo>
                    <a:lnTo>
                      <a:pt x="29703" y="0"/>
                    </a:lnTo>
                    <a:close/>
                  </a:path>
                </a:pathLst>
              </a:custGeom>
              <a:solidFill>
                <a:srgbClr val="435D74"/>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023" name="Google Shape;8023;p105"/>
              <p:cNvSpPr/>
              <p:nvPr/>
            </p:nvSpPr>
            <p:spPr>
              <a:xfrm>
                <a:off x="7229098" y="3311904"/>
                <a:ext cx="762823" cy="377697"/>
              </a:xfrm>
              <a:custGeom>
                <a:avLst/>
                <a:gdLst/>
                <a:ahLst/>
                <a:cxnLst/>
                <a:rect l="l" t="t" r="r" b="b"/>
                <a:pathLst>
                  <a:path w="32852" h="16266" extrusionOk="0">
                    <a:moveTo>
                      <a:pt x="20347" y="0"/>
                    </a:moveTo>
                    <a:lnTo>
                      <a:pt x="16455" y="6675"/>
                    </a:lnTo>
                    <a:lnTo>
                      <a:pt x="11850" y="14808"/>
                    </a:lnTo>
                    <a:lnTo>
                      <a:pt x="4125" y="14808"/>
                    </a:lnTo>
                    <a:lnTo>
                      <a:pt x="846" y="9167"/>
                    </a:lnTo>
                    <a:lnTo>
                      <a:pt x="0" y="10625"/>
                    </a:lnTo>
                    <a:lnTo>
                      <a:pt x="846" y="12082"/>
                    </a:lnTo>
                    <a:lnTo>
                      <a:pt x="3280" y="16265"/>
                    </a:lnTo>
                    <a:lnTo>
                      <a:pt x="12695" y="16265"/>
                    </a:lnTo>
                    <a:lnTo>
                      <a:pt x="17315" y="8133"/>
                    </a:lnTo>
                    <a:lnTo>
                      <a:pt x="21134" y="1458"/>
                    </a:lnTo>
                    <a:lnTo>
                      <a:pt x="28902" y="1458"/>
                    </a:lnTo>
                    <a:lnTo>
                      <a:pt x="32065" y="6981"/>
                    </a:lnTo>
                    <a:lnTo>
                      <a:pt x="32852" y="5524"/>
                    </a:lnTo>
                    <a:lnTo>
                      <a:pt x="29703" y="0"/>
                    </a:lnTo>
                    <a:close/>
                  </a:path>
                </a:pathLst>
              </a:custGeom>
              <a:solidFill>
                <a:srgbClr val="435D74"/>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grpSp>
        <p:nvGrpSpPr>
          <p:cNvPr id="8024" name="Google Shape;8024;p105"/>
          <p:cNvGrpSpPr/>
          <p:nvPr/>
        </p:nvGrpSpPr>
        <p:grpSpPr>
          <a:xfrm>
            <a:off x="7166840" y="1572909"/>
            <a:ext cx="1824808" cy="2125073"/>
            <a:chOff x="1839112" y="2209163"/>
            <a:chExt cx="1918159" cy="2233784"/>
          </a:xfrm>
        </p:grpSpPr>
        <p:sp>
          <p:nvSpPr>
            <p:cNvPr id="8025" name="Google Shape;8025;p105"/>
            <p:cNvSpPr/>
            <p:nvPr/>
          </p:nvSpPr>
          <p:spPr>
            <a:xfrm>
              <a:off x="1839112" y="2209163"/>
              <a:ext cx="575100" cy="575100"/>
            </a:xfrm>
            <a:prstGeom prst="flowChartConnector">
              <a:avLst/>
            </a:prstGeom>
            <a:noFill/>
            <a:ln w="9525" cap="flat" cmpd="sng">
              <a:solidFill>
                <a:srgbClr val="869FB2"/>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026" name="Google Shape;8026;p105"/>
            <p:cNvSpPr/>
            <p:nvPr/>
          </p:nvSpPr>
          <p:spPr>
            <a:xfrm>
              <a:off x="3182171" y="2209163"/>
              <a:ext cx="575100" cy="575100"/>
            </a:xfrm>
            <a:prstGeom prst="flowChartConnector">
              <a:avLst/>
            </a:prstGeom>
            <a:noFill/>
            <a:ln w="9525" cap="flat" cmpd="sng">
              <a:solidFill>
                <a:srgbClr val="869FB2"/>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027" name="Google Shape;8027;p105"/>
            <p:cNvSpPr/>
            <p:nvPr/>
          </p:nvSpPr>
          <p:spPr>
            <a:xfrm>
              <a:off x="3182171" y="3040766"/>
              <a:ext cx="575100" cy="575100"/>
            </a:xfrm>
            <a:prstGeom prst="flowChartConnector">
              <a:avLst/>
            </a:prstGeom>
            <a:noFill/>
            <a:ln w="9525" cap="flat" cmpd="sng">
              <a:solidFill>
                <a:srgbClr val="869FB2"/>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cxnSp>
          <p:nvCxnSpPr>
            <p:cNvPr id="8028" name="Google Shape;8028;p105"/>
            <p:cNvCxnSpPr>
              <a:stCxn id="8025" idx="6"/>
              <a:endCxn id="8026" idx="2"/>
            </p:cNvCxnSpPr>
            <p:nvPr/>
          </p:nvCxnSpPr>
          <p:spPr>
            <a:xfrm>
              <a:off x="2414212" y="2496713"/>
              <a:ext cx="768000" cy="600"/>
            </a:xfrm>
            <a:prstGeom prst="bentConnector3">
              <a:avLst>
                <a:gd name="adj1" fmla="val 50017"/>
              </a:avLst>
            </a:prstGeom>
            <a:noFill/>
            <a:ln w="9525" cap="flat" cmpd="sng">
              <a:solidFill>
                <a:srgbClr val="325D79"/>
              </a:solidFill>
              <a:prstDash val="solid"/>
              <a:round/>
              <a:headEnd type="none" w="med" len="med"/>
              <a:tailEnd type="none" w="med" len="med"/>
            </a:ln>
          </p:spPr>
        </p:cxnSp>
        <p:cxnSp>
          <p:nvCxnSpPr>
            <p:cNvPr id="8029" name="Google Shape;8029;p105"/>
            <p:cNvCxnSpPr>
              <a:stCxn id="8026" idx="4"/>
              <a:endCxn id="8030" idx="0"/>
            </p:cNvCxnSpPr>
            <p:nvPr/>
          </p:nvCxnSpPr>
          <p:spPr>
            <a:xfrm rot="5400000">
              <a:off x="2669921" y="2240963"/>
              <a:ext cx="256500" cy="1343100"/>
            </a:xfrm>
            <a:prstGeom prst="bentConnector3">
              <a:avLst>
                <a:gd name="adj1" fmla="val 50000"/>
              </a:avLst>
            </a:prstGeom>
            <a:noFill/>
            <a:ln w="9525" cap="flat" cmpd="sng">
              <a:solidFill>
                <a:srgbClr val="325D79"/>
              </a:solidFill>
              <a:prstDash val="solid"/>
              <a:round/>
              <a:headEnd type="none" w="med" len="med"/>
              <a:tailEnd type="none" w="med" len="med"/>
            </a:ln>
          </p:spPr>
        </p:cxnSp>
        <p:cxnSp>
          <p:nvCxnSpPr>
            <p:cNvPr id="8031" name="Google Shape;8031;p105"/>
            <p:cNvCxnSpPr>
              <a:stCxn id="8030" idx="6"/>
              <a:endCxn id="8027" idx="2"/>
            </p:cNvCxnSpPr>
            <p:nvPr/>
          </p:nvCxnSpPr>
          <p:spPr>
            <a:xfrm>
              <a:off x="2414212" y="3328316"/>
              <a:ext cx="768000" cy="600"/>
            </a:xfrm>
            <a:prstGeom prst="bentConnector3">
              <a:avLst>
                <a:gd name="adj1" fmla="val 50017"/>
              </a:avLst>
            </a:prstGeom>
            <a:noFill/>
            <a:ln w="9525" cap="flat" cmpd="sng">
              <a:solidFill>
                <a:srgbClr val="325D79"/>
              </a:solidFill>
              <a:prstDash val="solid"/>
              <a:round/>
              <a:headEnd type="none" w="med" len="med"/>
              <a:tailEnd type="none" w="med" len="med"/>
            </a:ln>
          </p:spPr>
        </p:cxnSp>
        <p:cxnSp>
          <p:nvCxnSpPr>
            <p:cNvPr id="8032" name="Google Shape;8032;p105"/>
            <p:cNvCxnSpPr>
              <a:stCxn id="8027" idx="4"/>
              <a:endCxn id="8033" idx="0"/>
            </p:cNvCxnSpPr>
            <p:nvPr/>
          </p:nvCxnSpPr>
          <p:spPr>
            <a:xfrm rot="5400000">
              <a:off x="2672171" y="3070316"/>
              <a:ext cx="252000" cy="1343100"/>
            </a:xfrm>
            <a:prstGeom prst="bentConnector3">
              <a:avLst>
                <a:gd name="adj1" fmla="val 49996"/>
              </a:avLst>
            </a:prstGeom>
            <a:noFill/>
            <a:ln w="9525" cap="flat" cmpd="sng">
              <a:solidFill>
                <a:srgbClr val="325D79"/>
              </a:solidFill>
              <a:prstDash val="solid"/>
              <a:round/>
              <a:headEnd type="none" w="med" len="med"/>
              <a:tailEnd type="none" w="med" len="med"/>
            </a:ln>
          </p:spPr>
        </p:cxnSp>
        <p:sp>
          <p:nvSpPr>
            <p:cNvPr id="8030" name="Google Shape;8030;p105"/>
            <p:cNvSpPr/>
            <p:nvPr/>
          </p:nvSpPr>
          <p:spPr>
            <a:xfrm>
              <a:off x="1839112" y="3040766"/>
              <a:ext cx="575100" cy="575100"/>
            </a:xfrm>
            <a:prstGeom prst="flowChartConnector">
              <a:avLst/>
            </a:prstGeom>
            <a:noFill/>
            <a:ln w="9525" cap="flat" cmpd="sng">
              <a:solidFill>
                <a:srgbClr val="869FB2"/>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033" name="Google Shape;8033;p105"/>
            <p:cNvSpPr/>
            <p:nvPr/>
          </p:nvSpPr>
          <p:spPr>
            <a:xfrm>
              <a:off x="1839112" y="3867848"/>
              <a:ext cx="575100" cy="575100"/>
            </a:xfrm>
            <a:prstGeom prst="flowChartConnector">
              <a:avLst/>
            </a:prstGeom>
            <a:noFill/>
            <a:ln w="9525" cap="flat" cmpd="sng">
              <a:solidFill>
                <a:srgbClr val="869FB2"/>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034" name="Google Shape;8034;p105"/>
            <p:cNvSpPr/>
            <p:nvPr/>
          </p:nvSpPr>
          <p:spPr>
            <a:xfrm>
              <a:off x="3182171" y="3867848"/>
              <a:ext cx="575100" cy="575100"/>
            </a:xfrm>
            <a:prstGeom prst="flowChartConnector">
              <a:avLst/>
            </a:prstGeom>
            <a:noFill/>
            <a:ln w="9525" cap="flat" cmpd="sng">
              <a:solidFill>
                <a:srgbClr val="869FB2"/>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cxnSp>
          <p:nvCxnSpPr>
            <p:cNvPr id="8035" name="Google Shape;8035;p105"/>
            <p:cNvCxnSpPr>
              <a:endCxn id="8034" idx="2"/>
            </p:cNvCxnSpPr>
            <p:nvPr/>
          </p:nvCxnSpPr>
          <p:spPr>
            <a:xfrm>
              <a:off x="2413871" y="4154498"/>
              <a:ext cx="768300" cy="900"/>
            </a:xfrm>
            <a:prstGeom prst="bentConnector3">
              <a:avLst>
                <a:gd name="adj1" fmla="val 50000"/>
              </a:avLst>
            </a:prstGeom>
            <a:noFill/>
            <a:ln w="9525" cap="flat" cmpd="sng">
              <a:solidFill>
                <a:srgbClr val="325D79"/>
              </a:solidFill>
              <a:prstDash val="solid"/>
              <a:round/>
              <a:headEnd type="none" w="med" len="med"/>
              <a:tailEnd type="none" w="med" len="med"/>
            </a:ln>
          </p:spPr>
        </p:cxnSp>
      </p:grpSp>
      <p:grpSp>
        <p:nvGrpSpPr>
          <p:cNvPr id="8036" name="Google Shape;8036;p105"/>
          <p:cNvGrpSpPr/>
          <p:nvPr/>
        </p:nvGrpSpPr>
        <p:grpSpPr>
          <a:xfrm>
            <a:off x="4676671" y="1581223"/>
            <a:ext cx="2183957" cy="206589"/>
            <a:chOff x="238125" y="2506075"/>
            <a:chExt cx="7115411" cy="673075"/>
          </a:xfrm>
        </p:grpSpPr>
        <p:sp>
          <p:nvSpPr>
            <p:cNvPr id="8037" name="Google Shape;8037;p105"/>
            <p:cNvSpPr/>
            <p:nvPr/>
          </p:nvSpPr>
          <p:spPr>
            <a:xfrm>
              <a:off x="238125" y="2506075"/>
              <a:ext cx="1643150" cy="673075"/>
            </a:xfrm>
            <a:custGeom>
              <a:avLst/>
              <a:gdLst/>
              <a:ahLst/>
              <a:cxnLst/>
              <a:rect l="l" t="t" r="r" b="b"/>
              <a:pathLst>
                <a:path w="65726" h="26923" extrusionOk="0">
                  <a:moveTo>
                    <a:pt x="0" y="0"/>
                  </a:moveTo>
                  <a:lnTo>
                    <a:pt x="10782" y="13477"/>
                  </a:lnTo>
                  <a:lnTo>
                    <a:pt x="0" y="26923"/>
                  </a:lnTo>
                  <a:lnTo>
                    <a:pt x="54943" y="26923"/>
                  </a:lnTo>
                  <a:lnTo>
                    <a:pt x="65725" y="13477"/>
                  </a:lnTo>
                  <a:lnTo>
                    <a:pt x="54943" y="0"/>
                  </a:lnTo>
                  <a:close/>
                </a:path>
              </a:pathLst>
            </a:custGeom>
            <a:noFill/>
            <a:ln w="9525" cap="flat" cmpd="sng">
              <a:solidFill>
                <a:srgbClr val="A5B7C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038" name="Google Shape;8038;p105"/>
            <p:cNvSpPr/>
            <p:nvPr/>
          </p:nvSpPr>
          <p:spPr>
            <a:xfrm>
              <a:off x="1606190" y="2506075"/>
              <a:ext cx="1643925" cy="673075"/>
            </a:xfrm>
            <a:custGeom>
              <a:avLst/>
              <a:gdLst/>
              <a:ahLst/>
              <a:cxnLst/>
              <a:rect l="l" t="t" r="r" b="b"/>
              <a:pathLst>
                <a:path w="65757" h="26923" extrusionOk="0">
                  <a:moveTo>
                    <a:pt x="0" y="0"/>
                  </a:moveTo>
                  <a:lnTo>
                    <a:pt x="10782" y="13477"/>
                  </a:lnTo>
                  <a:lnTo>
                    <a:pt x="0" y="26923"/>
                  </a:lnTo>
                  <a:lnTo>
                    <a:pt x="54975" y="26923"/>
                  </a:lnTo>
                  <a:lnTo>
                    <a:pt x="65757" y="13477"/>
                  </a:lnTo>
                  <a:lnTo>
                    <a:pt x="54975" y="0"/>
                  </a:lnTo>
                  <a:close/>
                </a:path>
              </a:pathLst>
            </a:custGeom>
            <a:noFill/>
            <a:ln w="9525" cap="flat" cmpd="sng">
              <a:solidFill>
                <a:srgbClr val="445D73"/>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039" name="Google Shape;8039;p105"/>
            <p:cNvSpPr/>
            <p:nvPr/>
          </p:nvSpPr>
          <p:spPr>
            <a:xfrm>
              <a:off x="2973481" y="2506075"/>
              <a:ext cx="1643925" cy="673075"/>
            </a:xfrm>
            <a:custGeom>
              <a:avLst/>
              <a:gdLst/>
              <a:ahLst/>
              <a:cxnLst/>
              <a:rect l="l" t="t" r="r" b="b"/>
              <a:pathLst>
                <a:path w="65757" h="26923" extrusionOk="0">
                  <a:moveTo>
                    <a:pt x="0" y="0"/>
                  </a:moveTo>
                  <a:lnTo>
                    <a:pt x="10782" y="13477"/>
                  </a:lnTo>
                  <a:lnTo>
                    <a:pt x="0" y="26923"/>
                  </a:lnTo>
                  <a:lnTo>
                    <a:pt x="54975" y="26923"/>
                  </a:lnTo>
                  <a:lnTo>
                    <a:pt x="65757" y="13477"/>
                  </a:lnTo>
                  <a:lnTo>
                    <a:pt x="54975" y="0"/>
                  </a:lnTo>
                  <a:close/>
                </a:path>
              </a:pathLst>
            </a:custGeom>
            <a:noFill/>
            <a:ln w="9525" cap="flat" cmpd="sng">
              <a:solidFill>
                <a:srgbClr val="667E92"/>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040" name="Google Shape;8040;p105"/>
            <p:cNvSpPr/>
            <p:nvPr/>
          </p:nvSpPr>
          <p:spPr>
            <a:xfrm>
              <a:off x="5709611" y="2506075"/>
              <a:ext cx="1643925" cy="673075"/>
            </a:xfrm>
            <a:custGeom>
              <a:avLst/>
              <a:gdLst/>
              <a:ahLst/>
              <a:cxnLst/>
              <a:rect l="l" t="t" r="r" b="b"/>
              <a:pathLst>
                <a:path w="65757" h="26923" extrusionOk="0">
                  <a:moveTo>
                    <a:pt x="0" y="0"/>
                  </a:moveTo>
                  <a:lnTo>
                    <a:pt x="10782" y="13477"/>
                  </a:lnTo>
                  <a:lnTo>
                    <a:pt x="0" y="26923"/>
                  </a:lnTo>
                  <a:lnTo>
                    <a:pt x="54975" y="26923"/>
                  </a:lnTo>
                  <a:lnTo>
                    <a:pt x="65757" y="13477"/>
                  </a:lnTo>
                  <a:lnTo>
                    <a:pt x="54975" y="0"/>
                  </a:lnTo>
                  <a:close/>
                </a:path>
              </a:pathLst>
            </a:custGeom>
            <a:noFill/>
            <a:ln w="9525" cap="flat" cmpd="sng">
              <a:solidFill>
                <a:srgbClr val="869FB1"/>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041" name="Google Shape;8041;p105"/>
            <p:cNvSpPr/>
            <p:nvPr/>
          </p:nvSpPr>
          <p:spPr>
            <a:xfrm>
              <a:off x="4342321" y="2506075"/>
              <a:ext cx="1643150" cy="673075"/>
            </a:xfrm>
            <a:custGeom>
              <a:avLst/>
              <a:gdLst/>
              <a:ahLst/>
              <a:cxnLst/>
              <a:rect l="l" t="t" r="r" b="b"/>
              <a:pathLst>
                <a:path w="65726" h="26923" extrusionOk="0">
                  <a:moveTo>
                    <a:pt x="1" y="0"/>
                  </a:moveTo>
                  <a:lnTo>
                    <a:pt x="10751" y="13477"/>
                  </a:lnTo>
                  <a:lnTo>
                    <a:pt x="1" y="26923"/>
                  </a:lnTo>
                  <a:lnTo>
                    <a:pt x="54944" y="26923"/>
                  </a:lnTo>
                  <a:lnTo>
                    <a:pt x="65726" y="13477"/>
                  </a:lnTo>
                  <a:lnTo>
                    <a:pt x="54944" y="0"/>
                  </a:lnTo>
                  <a:close/>
                </a:path>
              </a:pathLst>
            </a:custGeom>
            <a:noFill/>
            <a:ln w="9525" cap="flat" cmpd="sng">
              <a:solidFill>
                <a:srgbClr val="A5B7C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8042" name="Google Shape;8042;p105"/>
          <p:cNvGrpSpPr/>
          <p:nvPr/>
        </p:nvGrpSpPr>
        <p:grpSpPr>
          <a:xfrm>
            <a:off x="994916" y="2010019"/>
            <a:ext cx="3302349" cy="122324"/>
            <a:chOff x="1464850" y="436376"/>
            <a:chExt cx="6001362" cy="222300"/>
          </a:xfrm>
        </p:grpSpPr>
        <p:sp>
          <p:nvSpPr>
            <p:cNvPr id="8043" name="Google Shape;8043;p105"/>
            <p:cNvSpPr/>
            <p:nvPr/>
          </p:nvSpPr>
          <p:spPr>
            <a:xfrm>
              <a:off x="1464850" y="436376"/>
              <a:ext cx="222300" cy="222300"/>
            </a:xfrm>
            <a:prstGeom prst="diamond">
              <a:avLst/>
            </a:prstGeom>
            <a:noFill/>
            <a:ln w="9525" cap="flat" cmpd="sng">
              <a:solidFill>
                <a:srgbClr val="374957"/>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044" name="Google Shape;8044;p105"/>
            <p:cNvSpPr/>
            <p:nvPr/>
          </p:nvSpPr>
          <p:spPr>
            <a:xfrm>
              <a:off x="4410215" y="436376"/>
              <a:ext cx="222300" cy="222300"/>
            </a:xfrm>
            <a:prstGeom prst="diamond">
              <a:avLst/>
            </a:prstGeom>
            <a:noFill/>
            <a:ln w="9525" cap="flat" cmpd="sng">
              <a:solidFill>
                <a:srgbClr val="374957"/>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045" name="Google Shape;8045;p105"/>
            <p:cNvSpPr/>
            <p:nvPr/>
          </p:nvSpPr>
          <p:spPr>
            <a:xfrm>
              <a:off x="7243912" y="436376"/>
              <a:ext cx="222300" cy="222300"/>
            </a:xfrm>
            <a:prstGeom prst="diamond">
              <a:avLst/>
            </a:prstGeom>
            <a:noFill/>
            <a:ln w="9525" cap="flat" cmpd="sng">
              <a:solidFill>
                <a:srgbClr val="374957"/>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046" name="Google Shape;8046;p105"/>
            <p:cNvSpPr/>
            <p:nvPr/>
          </p:nvSpPr>
          <p:spPr>
            <a:xfrm>
              <a:off x="2920366" y="436376"/>
              <a:ext cx="222300" cy="222300"/>
            </a:xfrm>
            <a:prstGeom prst="diamond">
              <a:avLst/>
            </a:prstGeom>
            <a:noFill/>
            <a:ln w="9525" cap="flat" cmpd="sng">
              <a:solidFill>
                <a:srgbClr val="374957"/>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047" name="Google Shape;8047;p105"/>
            <p:cNvSpPr/>
            <p:nvPr/>
          </p:nvSpPr>
          <p:spPr>
            <a:xfrm>
              <a:off x="5831847" y="436376"/>
              <a:ext cx="222300" cy="222300"/>
            </a:xfrm>
            <a:prstGeom prst="diamond">
              <a:avLst/>
            </a:prstGeom>
            <a:noFill/>
            <a:ln w="9525" cap="flat" cmpd="sng">
              <a:solidFill>
                <a:srgbClr val="374957"/>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cxnSp>
          <p:nvCxnSpPr>
            <p:cNvPr id="8048" name="Google Shape;8048;p105"/>
            <p:cNvCxnSpPr/>
            <p:nvPr/>
          </p:nvCxnSpPr>
          <p:spPr>
            <a:xfrm>
              <a:off x="1798637" y="547513"/>
              <a:ext cx="988200" cy="0"/>
            </a:xfrm>
            <a:prstGeom prst="straightConnector1">
              <a:avLst/>
            </a:prstGeom>
            <a:noFill/>
            <a:ln w="9525" cap="flat" cmpd="sng">
              <a:solidFill>
                <a:srgbClr val="5F7D95"/>
              </a:solidFill>
              <a:prstDash val="solid"/>
              <a:round/>
              <a:headEnd type="none" w="med" len="med"/>
              <a:tailEnd type="none" w="med" len="med"/>
            </a:ln>
          </p:spPr>
        </p:cxnSp>
        <p:cxnSp>
          <p:nvCxnSpPr>
            <p:cNvPr id="8049" name="Google Shape;8049;p105"/>
            <p:cNvCxnSpPr/>
            <p:nvPr/>
          </p:nvCxnSpPr>
          <p:spPr>
            <a:xfrm>
              <a:off x="3276248" y="547513"/>
              <a:ext cx="988200" cy="0"/>
            </a:xfrm>
            <a:prstGeom prst="straightConnector1">
              <a:avLst/>
            </a:prstGeom>
            <a:noFill/>
            <a:ln w="9525" cap="flat" cmpd="sng">
              <a:solidFill>
                <a:srgbClr val="5F7D95"/>
              </a:solidFill>
              <a:prstDash val="solid"/>
              <a:round/>
              <a:headEnd type="none" w="med" len="med"/>
              <a:tailEnd type="none" w="med" len="med"/>
            </a:ln>
          </p:spPr>
        </p:cxnSp>
        <p:cxnSp>
          <p:nvCxnSpPr>
            <p:cNvPr id="8050" name="Google Shape;8050;p105"/>
            <p:cNvCxnSpPr/>
            <p:nvPr/>
          </p:nvCxnSpPr>
          <p:spPr>
            <a:xfrm>
              <a:off x="4753898" y="547513"/>
              <a:ext cx="988200" cy="0"/>
            </a:xfrm>
            <a:prstGeom prst="straightConnector1">
              <a:avLst/>
            </a:prstGeom>
            <a:noFill/>
            <a:ln w="9525" cap="flat" cmpd="sng">
              <a:solidFill>
                <a:srgbClr val="5F7D95"/>
              </a:solidFill>
              <a:prstDash val="solid"/>
              <a:round/>
              <a:headEnd type="none" w="med" len="med"/>
              <a:tailEnd type="none" w="med" len="med"/>
            </a:ln>
          </p:spPr>
        </p:cxnSp>
        <p:cxnSp>
          <p:nvCxnSpPr>
            <p:cNvPr id="8051" name="Google Shape;8051;p105"/>
            <p:cNvCxnSpPr/>
            <p:nvPr/>
          </p:nvCxnSpPr>
          <p:spPr>
            <a:xfrm>
              <a:off x="6143961" y="547513"/>
              <a:ext cx="988200" cy="0"/>
            </a:xfrm>
            <a:prstGeom prst="straightConnector1">
              <a:avLst/>
            </a:prstGeom>
            <a:noFill/>
            <a:ln w="9525" cap="flat" cmpd="sng">
              <a:solidFill>
                <a:srgbClr val="5F7D95"/>
              </a:solidFill>
              <a:prstDash val="solid"/>
              <a:round/>
              <a:headEnd type="none" w="med" len="med"/>
              <a:tailEnd type="none" w="med" len="med"/>
            </a:ln>
          </p:spPr>
        </p:cxnSp>
      </p:grpSp>
      <p:grpSp>
        <p:nvGrpSpPr>
          <p:cNvPr id="8052" name="Google Shape;8052;p105"/>
          <p:cNvGrpSpPr/>
          <p:nvPr/>
        </p:nvGrpSpPr>
        <p:grpSpPr>
          <a:xfrm>
            <a:off x="976607" y="3657307"/>
            <a:ext cx="1936947" cy="869231"/>
            <a:chOff x="803162" y="2667727"/>
            <a:chExt cx="1411906" cy="633611"/>
          </a:xfrm>
        </p:grpSpPr>
        <p:cxnSp>
          <p:nvCxnSpPr>
            <p:cNvPr id="8053" name="Google Shape;8053;p105"/>
            <p:cNvCxnSpPr>
              <a:stCxn id="8054" idx="2"/>
              <a:endCxn id="8055" idx="0"/>
            </p:cNvCxnSpPr>
            <p:nvPr/>
          </p:nvCxnSpPr>
          <p:spPr>
            <a:xfrm rot="-5400000" flipH="1">
              <a:off x="1629114" y="2672827"/>
              <a:ext cx="129300" cy="369300"/>
            </a:xfrm>
            <a:prstGeom prst="bentConnector3">
              <a:avLst>
                <a:gd name="adj1" fmla="val 49963"/>
              </a:avLst>
            </a:prstGeom>
            <a:noFill/>
            <a:ln w="9525" cap="flat" cmpd="sng">
              <a:solidFill>
                <a:srgbClr val="C2C2C2"/>
              </a:solidFill>
              <a:prstDash val="solid"/>
              <a:round/>
              <a:headEnd type="none" w="sm" len="sm"/>
              <a:tailEnd type="none" w="sm" len="sm"/>
            </a:ln>
          </p:spPr>
        </p:cxnSp>
        <p:cxnSp>
          <p:nvCxnSpPr>
            <p:cNvPr id="8056" name="Google Shape;8056;p105"/>
            <p:cNvCxnSpPr>
              <a:stCxn id="8057" idx="0"/>
              <a:endCxn id="8054" idx="2"/>
            </p:cNvCxnSpPr>
            <p:nvPr/>
          </p:nvCxnSpPr>
          <p:spPr>
            <a:xfrm rot="-5400000">
              <a:off x="1259830" y="2672682"/>
              <a:ext cx="129300" cy="369300"/>
            </a:xfrm>
            <a:prstGeom prst="bentConnector3">
              <a:avLst>
                <a:gd name="adj1" fmla="val 49963"/>
              </a:avLst>
            </a:prstGeom>
            <a:noFill/>
            <a:ln w="9525" cap="flat" cmpd="sng">
              <a:solidFill>
                <a:srgbClr val="C2C2C2"/>
              </a:solidFill>
              <a:prstDash val="solid"/>
              <a:round/>
              <a:headEnd type="none" w="sm" len="sm"/>
              <a:tailEnd type="none" w="sm" len="sm"/>
            </a:ln>
          </p:spPr>
        </p:cxnSp>
        <p:cxnSp>
          <p:nvCxnSpPr>
            <p:cNvPr id="8058" name="Google Shape;8058;p105"/>
            <p:cNvCxnSpPr>
              <a:stCxn id="8057" idx="2"/>
              <a:endCxn id="8059" idx="0"/>
            </p:cNvCxnSpPr>
            <p:nvPr/>
          </p:nvCxnSpPr>
          <p:spPr>
            <a:xfrm rot="-5400000" flipH="1">
              <a:off x="1163380" y="3023532"/>
              <a:ext cx="129300" cy="176400"/>
            </a:xfrm>
            <a:prstGeom prst="bentConnector3">
              <a:avLst>
                <a:gd name="adj1" fmla="val 49963"/>
              </a:avLst>
            </a:prstGeom>
            <a:noFill/>
            <a:ln w="9525" cap="flat" cmpd="sng">
              <a:solidFill>
                <a:srgbClr val="C2C2C2"/>
              </a:solidFill>
              <a:prstDash val="solid"/>
              <a:round/>
              <a:headEnd type="none" w="sm" len="sm"/>
              <a:tailEnd type="none" w="sm" len="sm"/>
            </a:ln>
          </p:spPr>
        </p:cxnSp>
        <p:cxnSp>
          <p:nvCxnSpPr>
            <p:cNvPr id="8060" name="Google Shape;8060;p105"/>
            <p:cNvCxnSpPr>
              <a:stCxn id="8061" idx="0"/>
              <a:endCxn id="8057" idx="2"/>
            </p:cNvCxnSpPr>
            <p:nvPr/>
          </p:nvCxnSpPr>
          <p:spPr>
            <a:xfrm rot="-5400000">
              <a:off x="987062" y="3023388"/>
              <a:ext cx="129300" cy="176400"/>
            </a:xfrm>
            <a:prstGeom prst="bentConnector3">
              <a:avLst>
                <a:gd name="adj1" fmla="val 49963"/>
              </a:avLst>
            </a:prstGeom>
            <a:noFill/>
            <a:ln w="9525" cap="flat" cmpd="sng">
              <a:solidFill>
                <a:srgbClr val="C2C2C2"/>
              </a:solidFill>
              <a:prstDash val="solid"/>
              <a:round/>
              <a:headEnd type="none" w="sm" len="sm"/>
              <a:tailEnd type="none" w="sm" len="sm"/>
            </a:ln>
          </p:spPr>
        </p:cxnSp>
        <p:cxnSp>
          <p:nvCxnSpPr>
            <p:cNvPr id="8062" name="Google Shape;8062;p105"/>
            <p:cNvCxnSpPr>
              <a:stCxn id="8055" idx="2"/>
              <a:endCxn id="8063" idx="0"/>
            </p:cNvCxnSpPr>
            <p:nvPr/>
          </p:nvCxnSpPr>
          <p:spPr>
            <a:xfrm rot="-5400000" flipH="1">
              <a:off x="1901948" y="3023532"/>
              <a:ext cx="129300" cy="176400"/>
            </a:xfrm>
            <a:prstGeom prst="bentConnector3">
              <a:avLst>
                <a:gd name="adj1" fmla="val 49963"/>
              </a:avLst>
            </a:prstGeom>
            <a:noFill/>
            <a:ln w="9525" cap="flat" cmpd="sng">
              <a:solidFill>
                <a:srgbClr val="C2C2C2"/>
              </a:solidFill>
              <a:prstDash val="solid"/>
              <a:round/>
              <a:headEnd type="none" w="sm" len="sm"/>
              <a:tailEnd type="none" w="sm" len="sm"/>
            </a:ln>
          </p:spPr>
        </p:cxnSp>
        <p:cxnSp>
          <p:nvCxnSpPr>
            <p:cNvPr id="8064" name="Google Shape;8064;p105"/>
            <p:cNvCxnSpPr>
              <a:stCxn id="8065" idx="0"/>
              <a:endCxn id="8055" idx="2"/>
            </p:cNvCxnSpPr>
            <p:nvPr/>
          </p:nvCxnSpPr>
          <p:spPr>
            <a:xfrm rot="-5400000">
              <a:off x="1725631" y="3023388"/>
              <a:ext cx="129300" cy="176400"/>
            </a:xfrm>
            <a:prstGeom prst="bentConnector3">
              <a:avLst>
                <a:gd name="adj1" fmla="val 49963"/>
              </a:avLst>
            </a:prstGeom>
            <a:noFill/>
            <a:ln w="9525" cap="flat" cmpd="sng">
              <a:solidFill>
                <a:srgbClr val="C2C2C2"/>
              </a:solidFill>
              <a:prstDash val="solid"/>
              <a:round/>
              <a:headEnd type="none" w="sm" len="sm"/>
              <a:tailEnd type="none" w="sm" len="sm"/>
            </a:ln>
          </p:spPr>
        </p:cxnSp>
        <p:sp>
          <p:nvSpPr>
            <p:cNvPr id="8061" name="Google Shape;8061;p105"/>
            <p:cNvSpPr/>
            <p:nvPr/>
          </p:nvSpPr>
          <p:spPr>
            <a:xfrm>
              <a:off x="803162" y="3176238"/>
              <a:ext cx="320700" cy="125100"/>
            </a:xfrm>
            <a:prstGeom prst="roundRect">
              <a:avLst>
                <a:gd name="adj" fmla="val 50000"/>
              </a:avLst>
            </a:prstGeom>
            <a:noFill/>
            <a:ln w="9525" cap="flat" cmpd="sng">
              <a:solidFill>
                <a:srgbClr val="CFD9E0"/>
              </a:solidFill>
              <a:prstDash val="solid"/>
              <a:round/>
              <a:headEnd type="none" w="sm" len="sm"/>
              <a:tailEnd type="none" w="sm" len="sm"/>
            </a:ln>
          </p:spPr>
          <p:txBody>
            <a:bodyPr spcFirstLastPara="1" wrap="square" lIns="121900" tIns="121900" rIns="121900" bIns="121900" anchor="ctr" anchorCtr="0">
              <a:noAutofit/>
            </a:bodyPr>
            <a:lstStyle/>
            <a:p>
              <a:pPr algn="ctr" defTabSz="1219170">
                <a:buClr>
                  <a:srgbClr val="000000"/>
                </a:buClr>
              </a:pPr>
              <a:endParaRPr sz="1867" kern="0">
                <a:solidFill>
                  <a:srgbClr val="FFFFFF"/>
                </a:solidFill>
                <a:latin typeface="Arial"/>
                <a:cs typeface="Arial"/>
                <a:sym typeface="Arial"/>
              </a:endParaRPr>
            </a:p>
          </p:txBody>
        </p:sp>
        <p:sp>
          <p:nvSpPr>
            <p:cNvPr id="8059" name="Google Shape;8059;p105"/>
            <p:cNvSpPr/>
            <p:nvPr/>
          </p:nvSpPr>
          <p:spPr>
            <a:xfrm>
              <a:off x="1155799" y="3176238"/>
              <a:ext cx="320700" cy="125100"/>
            </a:xfrm>
            <a:prstGeom prst="roundRect">
              <a:avLst>
                <a:gd name="adj" fmla="val 50000"/>
              </a:avLst>
            </a:prstGeom>
            <a:noFill/>
            <a:ln w="9525" cap="flat" cmpd="sng">
              <a:solidFill>
                <a:srgbClr val="CFD9E0"/>
              </a:solidFill>
              <a:prstDash val="solid"/>
              <a:round/>
              <a:headEnd type="none" w="sm" len="sm"/>
              <a:tailEnd type="none" w="sm" len="sm"/>
            </a:ln>
          </p:spPr>
          <p:txBody>
            <a:bodyPr spcFirstLastPara="1" wrap="square" lIns="121900" tIns="121900" rIns="121900" bIns="121900" anchor="ctr" anchorCtr="0">
              <a:noAutofit/>
            </a:bodyPr>
            <a:lstStyle/>
            <a:p>
              <a:pPr algn="ctr" defTabSz="1219170">
                <a:buClr>
                  <a:srgbClr val="000000"/>
                </a:buClr>
              </a:pPr>
              <a:endParaRPr sz="1867" kern="0">
                <a:solidFill>
                  <a:srgbClr val="FFFFFF"/>
                </a:solidFill>
                <a:latin typeface="Arial"/>
                <a:cs typeface="Arial"/>
                <a:sym typeface="Arial"/>
              </a:endParaRPr>
            </a:p>
          </p:txBody>
        </p:sp>
        <p:sp>
          <p:nvSpPr>
            <p:cNvPr id="8065" name="Google Shape;8065;p105"/>
            <p:cNvSpPr/>
            <p:nvPr/>
          </p:nvSpPr>
          <p:spPr>
            <a:xfrm>
              <a:off x="1541731" y="3176238"/>
              <a:ext cx="320700" cy="125100"/>
            </a:xfrm>
            <a:prstGeom prst="roundRect">
              <a:avLst>
                <a:gd name="adj" fmla="val 50000"/>
              </a:avLst>
            </a:prstGeom>
            <a:noFill/>
            <a:ln w="9525" cap="flat" cmpd="sng">
              <a:solidFill>
                <a:srgbClr val="CFD9E0"/>
              </a:solidFill>
              <a:prstDash val="solid"/>
              <a:round/>
              <a:headEnd type="none" w="sm" len="sm"/>
              <a:tailEnd type="none" w="sm" len="sm"/>
            </a:ln>
          </p:spPr>
          <p:txBody>
            <a:bodyPr spcFirstLastPara="1" wrap="square" lIns="121900" tIns="121900" rIns="121900" bIns="121900" anchor="ctr" anchorCtr="0">
              <a:noAutofit/>
            </a:bodyPr>
            <a:lstStyle/>
            <a:p>
              <a:pPr algn="ctr" defTabSz="1219170">
                <a:buClr>
                  <a:srgbClr val="000000"/>
                </a:buClr>
              </a:pPr>
              <a:endParaRPr sz="1867" kern="0">
                <a:solidFill>
                  <a:srgbClr val="FFFFFF"/>
                </a:solidFill>
                <a:latin typeface="Arial"/>
                <a:cs typeface="Arial"/>
                <a:sym typeface="Arial"/>
              </a:endParaRPr>
            </a:p>
          </p:txBody>
        </p:sp>
        <p:sp>
          <p:nvSpPr>
            <p:cNvPr id="8063" name="Google Shape;8063;p105"/>
            <p:cNvSpPr/>
            <p:nvPr/>
          </p:nvSpPr>
          <p:spPr>
            <a:xfrm>
              <a:off x="1894368" y="3176238"/>
              <a:ext cx="320700" cy="125100"/>
            </a:xfrm>
            <a:prstGeom prst="roundRect">
              <a:avLst>
                <a:gd name="adj" fmla="val 50000"/>
              </a:avLst>
            </a:prstGeom>
            <a:noFill/>
            <a:ln w="9525" cap="flat" cmpd="sng">
              <a:solidFill>
                <a:srgbClr val="CFD9E0"/>
              </a:solidFill>
              <a:prstDash val="solid"/>
              <a:round/>
              <a:headEnd type="none" w="sm" len="sm"/>
              <a:tailEnd type="none" w="sm" len="sm"/>
            </a:ln>
          </p:spPr>
          <p:txBody>
            <a:bodyPr spcFirstLastPara="1" wrap="square" lIns="121900" tIns="121900" rIns="121900" bIns="121900" anchor="ctr" anchorCtr="0">
              <a:noAutofit/>
            </a:bodyPr>
            <a:lstStyle/>
            <a:p>
              <a:pPr algn="ctr" defTabSz="1219170">
                <a:buClr>
                  <a:srgbClr val="000000"/>
                </a:buClr>
              </a:pPr>
              <a:endParaRPr sz="1867" kern="0">
                <a:solidFill>
                  <a:srgbClr val="FFFFFF"/>
                </a:solidFill>
                <a:latin typeface="Arial"/>
                <a:cs typeface="Arial"/>
                <a:sym typeface="Arial"/>
              </a:endParaRPr>
            </a:p>
          </p:txBody>
        </p:sp>
        <p:sp>
          <p:nvSpPr>
            <p:cNvPr id="8055" name="Google Shape;8055;p105"/>
            <p:cNvSpPr/>
            <p:nvPr/>
          </p:nvSpPr>
          <p:spPr>
            <a:xfrm>
              <a:off x="1718048" y="2921982"/>
              <a:ext cx="320700" cy="125100"/>
            </a:xfrm>
            <a:prstGeom prst="roundRect">
              <a:avLst>
                <a:gd name="adj" fmla="val 50000"/>
              </a:avLst>
            </a:prstGeom>
            <a:noFill/>
            <a:ln w="9525" cap="flat" cmpd="sng">
              <a:solidFill>
                <a:srgbClr val="869FB1"/>
              </a:solidFill>
              <a:prstDash val="solid"/>
              <a:round/>
              <a:headEnd type="none" w="sm" len="sm"/>
              <a:tailEnd type="none" w="sm" len="sm"/>
            </a:ln>
          </p:spPr>
          <p:txBody>
            <a:bodyPr spcFirstLastPara="1" wrap="square" lIns="121900" tIns="121900" rIns="121900" bIns="121900" anchor="ctr" anchorCtr="0">
              <a:noAutofit/>
            </a:bodyPr>
            <a:lstStyle/>
            <a:p>
              <a:pPr algn="ctr" defTabSz="1219170">
                <a:buClr>
                  <a:srgbClr val="000000"/>
                </a:buClr>
              </a:pPr>
              <a:endParaRPr sz="1867" kern="0">
                <a:solidFill>
                  <a:srgbClr val="FFFFFF"/>
                </a:solidFill>
                <a:latin typeface="Arial"/>
                <a:cs typeface="Arial"/>
                <a:sym typeface="Arial"/>
              </a:endParaRPr>
            </a:p>
          </p:txBody>
        </p:sp>
        <p:sp>
          <p:nvSpPr>
            <p:cNvPr id="8057" name="Google Shape;8057;p105"/>
            <p:cNvSpPr/>
            <p:nvPr/>
          </p:nvSpPr>
          <p:spPr>
            <a:xfrm>
              <a:off x="979480" y="2921982"/>
              <a:ext cx="320700" cy="125100"/>
            </a:xfrm>
            <a:prstGeom prst="roundRect">
              <a:avLst>
                <a:gd name="adj" fmla="val 50000"/>
              </a:avLst>
            </a:prstGeom>
            <a:noFill/>
            <a:ln w="9525" cap="flat" cmpd="sng">
              <a:solidFill>
                <a:srgbClr val="869FB1"/>
              </a:solidFill>
              <a:prstDash val="solid"/>
              <a:round/>
              <a:headEnd type="none" w="sm" len="sm"/>
              <a:tailEnd type="none" w="sm" len="sm"/>
            </a:ln>
          </p:spPr>
          <p:txBody>
            <a:bodyPr spcFirstLastPara="1" wrap="square" lIns="121900" tIns="121900" rIns="121900" bIns="121900" anchor="ctr" anchorCtr="0">
              <a:noAutofit/>
            </a:bodyPr>
            <a:lstStyle/>
            <a:p>
              <a:pPr algn="ctr" defTabSz="1219170">
                <a:buClr>
                  <a:srgbClr val="000000"/>
                </a:buClr>
              </a:pPr>
              <a:endParaRPr sz="1867" kern="0">
                <a:solidFill>
                  <a:srgbClr val="FFFFFF"/>
                </a:solidFill>
                <a:latin typeface="Arial"/>
                <a:cs typeface="Arial"/>
                <a:sym typeface="Arial"/>
              </a:endParaRPr>
            </a:p>
          </p:txBody>
        </p:sp>
        <p:sp>
          <p:nvSpPr>
            <p:cNvPr id="8054" name="Google Shape;8054;p105"/>
            <p:cNvSpPr/>
            <p:nvPr/>
          </p:nvSpPr>
          <p:spPr>
            <a:xfrm>
              <a:off x="1348764" y="2667727"/>
              <a:ext cx="320700" cy="125100"/>
            </a:xfrm>
            <a:prstGeom prst="roundRect">
              <a:avLst>
                <a:gd name="adj" fmla="val 50000"/>
              </a:avLst>
            </a:prstGeom>
            <a:noFill/>
            <a:ln w="9525" cap="flat" cmpd="sng">
              <a:solidFill>
                <a:srgbClr val="667E92"/>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FFFFFF"/>
                </a:solidFill>
                <a:latin typeface="Arial"/>
                <a:cs typeface="Arial"/>
                <a:sym typeface="Arial"/>
              </a:endParaRPr>
            </a:p>
          </p:txBody>
        </p:sp>
      </p:grpSp>
      <p:grpSp>
        <p:nvGrpSpPr>
          <p:cNvPr id="8066" name="Google Shape;8066;p105"/>
          <p:cNvGrpSpPr/>
          <p:nvPr/>
        </p:nvGrpSpPr>
        <p:grpSpPr>
          <a:xfrm>
            <a:off x="976609" y="1571358"/>
            <a:ext cx="3358055" cy="279079"/>
            <a:chOff x="803163" y="1111966"/>
            <a:chExt cx="2447800" cy="203430"/>
          </a:xfrm>
        </p:grpSpPr>
        <p:grpSp>
          <p:nvGrpSpPr>
            <p:cNvPr id="8067" name="Google Shape;8067;p105"/>
            <p:cNvGrpSpPr/>
            <p:nvPr/>
          </p:nvGrpSpPr>
          <p:grpSpPr>
            <a:xfrm>
              <a:off x="1958180" y="1111966"/>
              <a:ext cx="588019" cy="121396"/>
              <a:chOff x="4808316" y="2800065"/>
              <a:chExt cx="1999386" cy="412910"/>
            </a:xfrm>
          </p:grpSpPr>
          <p:sp>
            <p:nvSpPr>
              <p:cNvPr id="8068" name="Google Shape;8068;p105"/>
              <p:cNvSpPr/>
              <p:nvPr/>
            </p:nvSpPr>
            <p:spPr>
              <a:xfrm>
                <a:off x="4849302" y="3079475"/>
                <a:ext cx="1958400" cy="133500"/>
              </a:xfrm>
              <a:prstGeom prst="rect">
                <a:avLst/>
              </a:prstGeom>
              <a:noFill/>
              <a:ln w="9525" cap="flat" cmpd="sng">
                <a:solidFill>
                  <a:srgbClr val="BAC8D3"/>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nvGrpSpPr>
              <p:cNvPr id="8069" name="Google Shape;8069;p105"/>
              <p:cNvGrpSpPr/>
              <p:nvPr/>
            </p:nvGrpSpPr>
            <p:grpSpPr>
              <a:xfrm>
                <a:off x="4808316" y="2800065"/>
                <a:ext cx="92400" cy="411825"/>
                <a:chOff x="845575" y="2563700"/>
                <a:chExt cx="92400" cy="411825"/>
              </a:xfrm>
            </p:grpSpPr>
            <p:cxnSp>
              <p:nvCxnSpPr>
                <p:cNvPr id="8070" name="Google Shape;8070;p105"/>
                <p:cNvCxnSpPr/>
                <p:nvPr/>
              </p:nvCxnSpPr>
              <p:spPr>
                <a:xfrm>
                  <a:off x="891775" y="2616125"/>
                  <a:ext cx="0" cy="359400"/>
                </a:xfrm>
                <a:prstGeom prst="straightConnector1">
                  <a:avLst/>
                </a:prstGeom>
                <a:noFill/>
                <a:ln w="9525" cap="flat" cmpd="sng">
                  <a:solidFill>
                    <a:srgbClr val="667E92"/>
                  </a:solidFill>
                  <a:prstDash val="solid"/>
                  <a:round/>
                  <a:headEnd type="none" w="sm" len="sm"/>
                  <a:tailEnd type="none" w="sm" len="sm"/>
                </a:ln>
              </p:spPr>
            </p:cxnSp>
            <p:sp>
              <p:nvSpPr>
                <p:cNvPr id="8071" name="Google Shape;8071;p105"/>
                <p:cNvSpPr/>
                <p:nvPr/>
              </p:nvSpPr>
              <p:spPr>
                <a:xfrm>
                  <a:off x="845575" y="2563700"/>
                  <a:ext cx="92400" cy="92400"/>
                </a:xfrm>
                <a:prstGeom prst="ellipse">
                  <a:avLst/>
                </a:prstGeom>
                <a:solidFill>
                  <a:srgbClr val="667E92"/>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cxnSp>
          <p:nvCxnSpPr>
            <p:cNvPr id="8072" name="Google Shape;8072;p105"/>
            <p:cNvCxnSpPr/>
            <p:nvPr/>
          </p:nvCxnSpPr>
          <p:spPr>
            <a:xfrm>
              <a:off x="3237251" y="1127387"/>
              <a:ext cx="0" cy="105600"/>
            </a:xfrm>
            <a:prstGeom prst="straightConnector1">
              <a:avLst/>
            </a:prstGeom>
            <a:noFill/>
            <a:ln w="9525" cap="flat" cmpd="sng">
              <a:solidFill>
                <a:srgbClr val="667E92"/>
              </a:solidFill>
              <a:prstDash val="solid"/>
              <a:round/>
              <a:headEnd type="none" w="sm" len="sm"/>
              <a:tailEnd type="none" w="sm" len="sm"/>
            </a:ln>
          </p:spPr>
        </p:cxnSp>
        <p:sp>
          <p:nvSpPr>
            <p:cNvPr id="8073" name="Google Shape;8073;p105"/>
            <p:cNvSpPr/>
            <p:nvPr/>
          </p:nvSpPr>
          <p:spPr>
            <a:xfrm>
              <a:off x="3223663" y="1111974"/>
              <a:ext cx="27300" cy="27300"/>
            </a:xfrm>
            <a:prstGeom prst="ellipse">
              <a:avLst/>
            </a:prstGeom>
            <a:solidFill>
              <a:srgbClr val="667E92"/>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nvGrpSpPr>
            <p:cNvPr id="8074" name="Google Shape;8074;p105"/>
            <p:cNvGrpSpPr/>
            <p:nvPr/>
          </p:nvGrpSpPr>
          <p:grpSpPr>
            <a:xfrm>
              <a:off x="803163" y="1111974"/>
              <a:ext cx="591158" cy="121545"/>
              <a:chOff x="803163" y="1111974"/>
              <a:chExt cx="591158" cy="121545"/>
            </a:xfrm>
          </p:grpSpPr>
          <p:grpSp>
            <p:nvGrpSpPr>
              <p:cNvPr id="8075" name="Google Shape;8075;p105"/>
              <p:cNvGrpSpPr/>
              <p:nvPr/>
            </p:nvGrpSpPr>
            <p:grpSpPr>
              <a:xfrm>
                <a:off x="803163" y="1111974"/>
                <a:ext cx="27175" cy="121077"/>
                <a:chOff x="845575" y="2563700"/>
                <a:chExt cx="92400" cy="411825"/>
              </a:xfrm>
            </p:grpSpPr>
            <p:cxnSp>
              <p:nvCxnSpPr>
                <p:cNvPr id="8076" name="Google Shape;8076;p105"/>
                <p:cNvCxnSpPr/>
                <p:nvPr/>
              </p:nvCxnSpPr>
              <p:spPr>
                <a:xfrm>
                  <a:off x="891775" y="2616125"/>
                  <a:ext cx="0" cy="359400"/>
                </a:xfrm>
                <a:prstGeom prst="straightConnector1">
                  <a:avLst/>
                </a:prstGeom>
                <a:noFill/>
                <a:ln w="9525" cap="flat" cmpd="sng">
                  <a:solidFill>
                    <a:srgbClr val="667E92"/>
                  </a:solidFill>
                  <a:prstDash val="solid"/>
                  <a:round/>
                  <a:headEnd type="none" w="sm" len="sm"/>
                  <a:tailEnd type="none" w="sm" len="sm"/>
                </a:ln>
              </p:spPr>
            </p:cxnSp>
            <p:sp>
              <p:nvSpPr>
                <p:cNvPr id="8077" name="Google Shape;8077;p105"/>
                <p:cNvSpPr/>
                <p:nvPr/>
              </p:nvSpPr>
              <p:spPr>
                <a:xfrm>
                  <a:off x="845575" y="2563700"/>
                  <a:ext cx="92400" cy="92400"/>
                </a:xfrm>
                <a:prstGeom prst="ellipse">
                  <a:avLst/>
                </a:prstGeom>
                <a:solidFill>
                  <a:srgbClr val="667E92"/>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sp>
            <p:nvSpPr>
              <p:cNvPr id="8078" name="Google Shape;8078;p105"/>
              <p:cNvSpPr/>
              <p:nvPr/>
            </p:nvSpPr>
            <p:spPr>
              <a:xfrm>
                <a:off x="818321" y="1194219"/>
                <a:ext cx="576000" cy="39300"/>
              </a:xfrm>
              <a:prstGeom prst="rect">
                <a:avLst/>
              </a:prstGeom>
              <a:noFill/>
              <a:ln w="9525" cap="flat" cmpd="sng">
                <a:solidFill>
                  <a:srgbClr val="BAC8D3"/>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8079" name="Google Shape;8079;p105"/>
            <p:cNvGrpSpPr/>
            <p:nvPr/>
          </p:nvGrpSpPr>
          <p:grpSpPr>
            <a:xfrm>
              <a:off x="1381910" y="1194219"/>
              <a:ext cx="588341" cy="121177"/>
              <a:chOff x="1381910" y="1194219"/>
              <a:chExt cx="588341" cy="121177"/>
            </a:xfrm>
          </p:grpSpPr>
          <p:grpSp>
            <p:nvGrpSpPr>
              <p:cNvPr id="8080" name="Google Shape;8080;p105"/>
              <p:cNvGrpSpPr/>
              <p:nvPr/>
            </p:nvGrpSpPr>
            <p:grpSpPr>
              <a:xfrm rot="10800000">
                <a:off x="1381910" y="1194319"/>
                <a:ext cx="27175" cy="121077"/>
                <a:chOff x="2070100" y="2563700"/>
                <a:chExt cx="92400" cy="411825"/>
              </a:xfrm>
            </p:grpSpPr>
            <p:cxnSp>
              <p:nvCxnSpPr>
                <p:cNvPr id="8081" name="Google Shape;8081;p105"/>
                <p:cNvCxnSpPr/>
                <p:nvPr/>
              </p:nvCxnSpPr>
              <p:spPr>
                <a:xfrm>
                  <a:off x="2116300" y="2616125"/>
                  <a:ext cx="0" cy="359400"/>
                </a:xfrm>
                <a:prstGeom prst="straightConnector1">
                  <a:avLst/>
                </a:prstGeom>
                <a:noFill/>
                <a:ln w="9525" cap="flat" cmpd="sng">
                  <a:solidFill>
                    <a:srgbClr val="667E92"/>
                  </a:solidFill>
                  <a:prstDash val="solid"/>
                  <a:round/>
                  <a:headEnd type="none" w="sm" len="sm"/>
                  <a:tailEnd type="none" w="sm" len="sm"/>
                </a:ln>
              </p:spPr>
            </p:cxnSp>
            <p:sp>
              <p:nvSpPr>
                <p:cNvPr id="8082" name="Google Shape;8082;p105"/>
                <p:cNvSpPr/>
                <p:nvPr/>
              </p:nvSpPr>
              <p:spPr>
                <a:xfrm>
                  <a:off x="2070100" y="2563700"/>
                  <a:ext cx="92400" cy="92400"/>
                </a:xfrm>
                <a:prstGeom prst="ellipse">
                  <a:avLst/>
                </a:prstGeom>
                <a:solidFill>
                  <a:srgbClr val="667E92"/>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sp>
            <p:nvSpPr>
              <p:cNvPr id="8083" name="Google Shape;8083;p105"/>
              <p:cNvSpPr/>
              <p:nvPr/>
            </p:nvSpPr>
            <p:spPr>
              <a:xfrm>
                <a:off x="1394250" y="1194219"/>
                <a:ext cx="576000" cy="39300"/>
              </a:xfrm>
              <a:prstGeom prst="rect">
                <a:avLst/>
              </a:prstGeom>
              <a:noFill/>
              <a:ln w="9525" cap="flat" cmpd="sng">
                <a:solidFill>
                  <a:srgbClr val="869FB2"/>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8084" name="Google Shape;8084;p105"/>
            <p:cNvGrpSpPr/>
            <p:nvPr/>
          </p:nvGrpSpPr>
          <p:grpSpPr>
            <a:xfrm>
              <a:off x="2532079" y="1194219"/>
              <a:ext cx="704927" cy="121177"/>
              <a:chOff x="2532079" y="1194219"/>
              <a:chExt cx="704927" cy="121177"/>
            </a:xfrm>
          </p:grpSpPr>
          <p:grpSp>
            <p:nvGrpSpPr>
              <p:cNvPr id="8085" name="Google Shape;8085;p105"/>
              <p:cNvGrpSpPr/>
              <p:nvPr/>
            </p:nvGrpSpPr>
            <p:grpSpPr>
              <a:xfrm rot="10800000">
                <a:off x="2532079" y="1194319"/>
                <a:ext cx="27175" cy="121077"/>
                <a:chOff x="2070100" y="2563700"/>
                <a:chExt cx="92400" cy="411825"/>
              </a:xfrm>
            </p:grpSpPr>
            <p:cxnSp>
              <p:nvCxnSpPr>
                <p:cNvPr id="8086" name="Google Shape;8086;p105"/>
                <p:cNvCxnSpPr/>
                <p:nvPr/>
              </p:nvCxnSpPr>
              <p:spPr>
                <a:xfrm>
                  <a:off x="2116300" y="2616125"/>
                  <a:ext cx="0" cy="359400"/>
                </a:xfrm>
                <a:prstGeom prst="straightConnector1">
                  <a:avLst/>
                </a:prstGeom>
                <a:noFill/>
                <a:ln w="9525" cap="flat" cmpd="sng">
                  <a:solidFill>
                    <a:srgbClr val="667E92"/>
                  </a:solidFill>
                  <a:prstDash val="solid"/>
                  <a:round/>
                  <a:headEnd type="none" w="sm" len="sm"/>
                  <a:tailEnd type="none" w="sm" len="sm"/>
                </a:ln>
              </p:spPr>
            </p:cxnSp>
            <p:sp>
              <p:nvSpPr>
                <p:cNvPr id="8087" name="Google Shape;8087;p105"/>
                <p:cNvSpPr/>
                <p:nvPr/>
              </p:nvSpPr>
              <p:spPr>
                <a:xfrm>
                  <a:off x="2070100" y="2563700"/>
                  <a:ext cx="92400" cy="92400"/>
                </a:xfrm>
                <a:prstGeom prst="ellipse">
                  <a:avLst/>
                </a:prstGeom>
                <a:solidFill>
                  <a:srgbClr val="667E92"/>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sp>
            <p:nvSpPr>
              <p:cNvPr id="8088" name="Google Shape;8088;p105"/>
              <p:cNvSpPr/>
              <p:nvPr/>
            </p:nvSpPr>
            <p:spPr>
              <a:xfrm>
                <a:off x="2546107" y="1194219"/>
                <a:ext cx="690900" cy="39300"/>
              </a:xfrm>
              <a:prstGeom prst="rect">
                <a:avLst/>
              </a:prstGeom>
              <a:noFill/>
              <a:ln w="9525" cap="flat" cmpd="sng">
                <a:solidFill>
                  <a:srgbClr val="869FB2"/>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grpSp>
        <p:nvGrpSpPr>
          <p:cNvPr id="8089" name="Google Shape;8089;p105"/>
          <p:cNvGrpSpPr/>
          <p:nvPr/>
        </p:nvGrpSpPr>
        <p:grpSpPr>
          <a:xfrm>
            <a:off x="4700623" y="5166868"/>
            <a:ext cx="2090371" cy="655569"/>
            <a:chOff x="5194708" y="3484366"/>
            <a:chExt cx="3148148" cy="987304"/>
          </a:xfrm>
        </p:grpSpPr>
        <p:grpSp>
          <p:nvGrpSpPr>
            <p:cNvPr id="8090" name="Google Shape;8090;p105"/>
            <p:cNvGrpSpPr/>
            <p:nvPr/>
          </p:nvGrpSpPr>
          <p:grpSpPr>
            <a:xfrm>
              <a:off x="7531521" y="3484366"/>
              <a:ext cx="811335" cy="987304"/>
              <a:chOff x="3379425" y="1617275"/>
              <a:chExt cx="1090650" cy="1327200"/>
            </a:xfrm>
          </p:grpSpPr>
          <p:sp>
            <p:nvSpPr>
              <p:cNvPr id="8091" name="Google Shape;8091;p105"/>
              <p:cNvSpPr/>
              <p:nvPr/>
            </p:nvSpPr>
            <p:spPr>
              <a:xfrm>
                <a:off x="3554475" y="1792400"/>
                <a:ext cx="740475" cy="740375"/>
              </a:xfrm>
              <a:custGeom>
                <a:avLst/>
                <a:gdLst/>
                <a:ahLst/>
                <a:cxnLst/>
                <a:rect l="l" t="t" r="r" b="b"/>
                <a:pathLst>
                  <a:path w="29619" h="29615" extrusionOk="0">
                    <a:moveTo>
                      <a:pt x="14809" y="1"/>
                    </a:moveTo>
                    <a:cubicBezTo>
                      <a:pt x="6631" y="1"/>
                      <a:pt x="0" y="6631"/>
                      <a:pt x="0" y="14809"/>
                    </a:cubicBezTo>
                    <a:cubicBezTo>
                      <a:pt x="0" y="22988"/>
                      <a:pt x="6631" y="29615"/>
                      <a:pt x="14809" y="29615"/>
                    </a:cubicBezTo>
                    <a:cubicBezTo>
                      <a:pt x="22987" y="29615"/>
                      <a:pt x="29618" y="22988"/>
                      <a:pt x="29618" y="14809"/>
                    </a:cubicBezTo>
                    <a:cubicBezTo>
                      <a:pt x="29618" y="6631"/>
                      <a:pt x="22987" y="1"/>
                      <a:pt x="14809" y="1"/>
                    </a:cubicBezTo>
                    <a:close/>
                  </a:path>
                </a:pathLst>
              </a:custGeom>
              <a:noFill/>
              <a:ln w="19050" cap="flat" cmpd="sng">
                <a:solidFill>
                  <a:srgbClr val="A5B7C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092" name="Google Shape;8092;p105"/>
              <p:cNvSpPr/>
              <p:nvPr/>
            </p:nvSpPr>
            <p:spPr>
              <a:xfrm>
                <a:off x="3379425" y="1617275"/>
                <a:ext cx="1090650" cy="1273950"/>
              </a:xfrm>
              <a:custGeom>
                <a:avLst/>
                <a:gdLst/>
                <a:ahLst/>
                <a:cxnLst/>
                <a:rect l="l" t="t" r="r" b="b"/>
                <a:pathLst>
                  <a:path w="43626" h="50958" extrusionOk="0">
                    <a:moveTo>
                      <a:pt x="21811" y="0"/>
                    </a:moveTo>
                    <a:cubicBezTo>
                      <a:pt x="9785" y="0"/>
                      <a:pt x="0" y="9788"/>
                      <a:pt x="0" y="21814"/>
                    </a:cubicBezTo>
                    <a:cubicBezTo>
                      <a:pt x="8" y="22289"/>
                      <a:pt x="401" y="22672"/>
                      <a:pt x="876" y="22672"/>
                    </a:cubicBezTo>
                    <a:cubicBezTo>
                      <a:pt x="1355" y="22672"/>
                      <a:pt x="1744" y="22289"/>
                      <a:pt x="1755" y="21814"/>
                    </a:cubicBezTo>
                    <a:cubicBezTo>
                      <a:pt x="1755" y="10757"/>
                      <a:pt x="10754" y="1755"/>
                      <a:pt x="21811" y="1755"/>
                    </a:cubicBezTo>
                    <a:cubicBezTo>
                      <a:pt x="32869" y="1755"/>
                      <a:pt x="41867" y="10753"/>
                      <a:pt x="41867" y="21814"/>
                    </a:cubicBezTo>
                    <a:cubicBezTo>
                      <a:pt x="41871" y="32872"/>
                      <a:pt x="32869" y="41870"/>
                      <a:pt x="21811" y="41870"/>
                    </a:cubicBezTo>
                    <a:cubicBezTo>
                      <a:pt x="21329" y="41870"/>
                      <a:pt x="20932" y="42263"/>
                      <a:pt x="20935" y="42750"/>
                    </a:cubicBezTo>
                    <a:lnTo>
                      <a:pt x="20935" y="50957"/>
                    </a:lnTo>
                    <a:lnTo>
                      <a:pt x="22691" y="50942"/>
                    </a:lnTo>
                    <a:lnTo>
                      <a:pt x="22691" y="43610"/>
                    </a:lnTo>
                    <a:cubicBezTo>
                      <a:pt x="34312" y="43147"/>
                      <a:pt x="43626" y="33547"/>
                      <a:pt x="43626" y="21814"/>
                    </a:cubicBezTo>
                    <a:cubicBezTo>
                      <a:pt x="43626" y="9785"/>
                      <a:pt x="33841" y="0"/>
                      <a:pt x="21811" y="0"/>
                    </a:cubicBezTo>
                    <a:close/>
                  </a:path>
                </a:pathLst>
              </a:custGeom>
              <a:solidFill>
                <a:srgbClr val="A5B7C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093" name="Google Shape;8093;p105"/>
              <p:cNvSpPr/>
              <p:nvPr/>
            </p:nvSpPr>
            <p:spPr>
              <a:xfrm>
                <a:off x="3775050" y="2771175"/>
                <a:ext cx="300875" cy="173300"/>
              </a:xfrm>
              <a:custGeom>
                <a:avLst/>
                <a:gdLst/>
                <a:ahLst/>
                <a:cxnLst/>
                <a:rect l="l" t="t" r="r" b="b"/>
                <a:pathLst>
                  <a:path w="12035" h="6932" extrusionOk="0">
                    <a:moveTo>
                      <a:pt x="11087" y="1"/>
                    </a:moveTo>
                    <a:cubicBezTo>
                      <a:pt x="10861" y="1"/>
                      <a:pt x="10636" y="87"/>
                      <a:pt x="10465" y="260"/>
                    </a:cubicBezTo>
                    <a:lnTo>
                      <a:pt x="6866" y="3859"/>
                    </a:lnTo>
                    <a:lnTo>
                      <a:pt x="5979" y="4742"/>
                    </a:lnTo>
                    <a:lnTo>
                      <a:pt x="5110" y="3874"/>
                    </a:lnTo>
                    <a:lnTo>
                      <a:pt x="1496" y="260"/>
                    </a:lnTo>
                    <a:cubicBezTo>
                      <a:pt x="1342" y="153"/>
                      <a:pt x="1166" y="102"/>
                      <a:pt x="990" y="102"/>
                    </a:cubicBezTo>
                    <a:cubicBezTo>
                      <a:pt x="731" y="102"/>
                      <a:pt x="475" y="214"/>
                      <a:pt x="298" y="427"/>
                    </a:cubicBezTo>
                    <a:cubicBezTo>
                      <a:pt x="1" y="783"/>
                      <a:pt x="23" y="1306"/>
                      <a:pt x="350" y="1636"/>
                    </a:cubicBezTo>
                    <a:lnTo>
                      <a:pt x="5389" y="6675"/>
                    </a:lnTo>
                    <a:cubicBezTo>
                      <a:pt x="5559" y="6846"/>
                      <a:pt x="5784" y="6931"/>
                      <a:pt x="6009" y="6931"/>
                    </a:cubicBezTo>
                    <a:cubicBezTo>
                      <a:pt x="6234" y="6931"/>
                      <a:pt x="6459" y="6846"/>
                      <a:pt x="6632" y="6675"/>
                    </a:cubicBezTo>
                    <a:lnTo>
                      <a:pt x="11667" y="1636"/>
                    </a:lnTo>
                    <a:cubicBezTo>
                      <a:pt x="12016" y="1250"/>
                      <a:pt x="12034" y="668"/>
                      <a:pt x="11712" y="260"/>
                    </a:cubicBezTo>
                    <a:cubicBezTo>
                      <a:pt x="11539" y="87"/>
                      <a:pt x="11313" y="1"/>
                      <a:pt x="11087" y="1"/>
                    </a:cubicBezTo>
                    <a:close/>
                  </a:path>
                </a:pathLst>
              </a:custGeom>
              <a:solidFill>
                <a:srgbClr val="A5B7C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8094" name="Google Shape;8094;p105"/>
            <p:cNvGrpSpPr/>
            <p:nvPr/>
          </p:nvGrpSpPr>
          <p:grpSpPr>
            <a:xfrm>
              <a:off x="6752546" y="3484366"/>
              <a:ext cx="811428" cy="987304"/>
              <a:chOff x="2332275" y="1617275"/>
              <a:chExt cx="1090775" cy="1327200"/>
            </a:xfrm>
          </p:grpSpPr>
          <p:sp>
            <p:nvSpPr>
              <p:cNvPr id="8095" name="Google Shape;8095;p105"/>
              <p:cNvSpPr/>
              <p:nvPr/>
            </p:nvSpPr>
            <p:spPr>
              <a:xfrm>
                <a:off x="2507425" y="1792400"/>
                <a:ext cx="740375" cy="740375"/>
              </a:xfrm>
              <a:custGeom>
                <a:avLst/>
                <a:gdLst/>
                <a:ahLst/>
                <a:cxnLst/>
                <a:rect l="l" t="t" r="r" b="b"/>
                <a:pathLst>
                  <a:path w="29615" h="29615" extrusionOk="0">
                    <a:moveTo>
                      <a:pt x="14810" y="1"/>
                    </a:moveTo>
                    <a:cubicBezTo>
                      <a:pt x="6631" y="1"/>
                      <a:pt x="1" y="6631"/>
                      <a:pt x="1" y="14809"/>
                    </a:cubicBezTo>
                    <a:cubicBezTo>
                      <a:pt x="1" y="22988"/>
                      <a:pt x="6631" y="29615"/>
                      <a:pt x="14810" y="29615"/>
                    </a:cubicBezTo>
                    <a:cubicBezTo>
                      <a:pt x="22988" y="29615"/>
                      <a:pt x="29615" y="22988"/>
                      <a:pt x="29615" y="14809"/>
                    </a:cubicBezTo>
                    <a:cubicBezTo>
                      <a:pt x="29615" y="6631"/>
                      <a:pt x="22988" y="1"/>
                      <a:pt x="14810" y="1"/>
                    </a:cubicBezTo>
                    <a:close/>
                  </a:path>
                </a:pathLst>
              </a:custGeom>
              <a:noFill/>
              <a:ln w="19050" cap="flat" cmpd="sng">
                <a:solidFill>
                  <a:srgbClr val="667E92"/>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096" name="Google Shape;8096;p105"/>
              <p:cNvSpPr/>
              <p:nvPr/>
            </p:nvSpPr>
            <p:spPr>
              <a:xfrm>
                <a:off x="2332275" y="1617275"/>
                <a:ext cx="1090775" cy="1273950"/>
              </a:xfrm>
              <a:custGeom>
                <a:avLst/>
                <a:gdLst/>
                <a:ahLst/>
                <a:cxnLst/>
                <a:rect l="l" t="t" r="r" b="b"/>
                <a:pathLst>
                  <a:path w="43631" h="50958" extrusionOk="0">
                    <a:moveTo>
                      <a:pt x="21816" y="0"/>
                    </a:moveTo>
                    <a:cubicBezTo>
                      <a:pt x="9786" y="0"/>
                      <a:pt x="1" y="9788"/>
                      <a:pt x="1" y="21814"/>
                    </a:cubicBezTo>
                    <a:cubicBezTo>
                      <a:pt x="12" y="22289"/>
                      <a:pt x="402" y="22672"/>
                      <a:pt x="880" y="22672"/>
                    </a:cubicBezTo>
                    <a:cubicBezTo>
                      <a:pt x="1355" y="22672"/>
                      <a:pt x="1745" y="22289"/>
                      <a:pt x="1756" y="21814"/>
                    </a:cubicBezTo>
                    <a:cubicBezTo>
                      <a:pt x="1756" y="10757"/>
                      <a:pt x="10754" y="1755"/>
                      <a:pt x="21812" y="1755"/>
                    </a:cubicBezTo>
                    <a:cubicBezTo>
                      <a:pt x="32869" y="1755"/>
                      <a:pt x="41871" y="10753"/>
                      <a:pt x="41871" y="21814"/>
                    </a:cubicBezTo>
                    <a:cubicBezTo>
                      <a:pt x="41871" y="32872"/>
                      <a:pt x="32873" y="41870"/>
                      <a:pt x="21816" y="41870"/>
                    </a:cubicBezTo>
                    <a:cubicBezTo>
                      <a:pt x="21329" y="41870"/>
                      <a:pt x="20936" y="42263"/>
                      <a:pt x="20936" y="42750"/>
                    </a:cubicBezTo>
                    <a:lnTo>
                      <a:pt x="20936" y="50957"/>
                    </a:lnTo>
                    <a:lnTo>
                      <a:pt x="22691" y="50942"/>
                    </a:lnTo>
                    <a:lnTo>
                      <a:pt x="22691" y="43610"/>
                    </a:lnTo>
                    <a:cubicBezTo>
                      <a:pt x="34317" y="43147"/>
                      <a:pt x="43630" y="33547"/>
                      <a:pt x="43627" y="21814"/>
                    </a:cubicBezTo>
                    <a:cubicBezTo>
                      <a:pt x="43627" y="9785"/>
                      <a:pt x="33842" y="0"/>
                      <a:pt x="21816" y="0"/>
                    </a:cubicBezTo>
                    <a:close/>
                  </a:path>
                </a:pathLst>
              </a:custGeom>
              <a:solidFill>
                <a:srgbClr val="667E92"/>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097" name="Google Shape;8097;p105"/>
              <p:cNvSpPr/>
              <p:nvPr/>
            </p:nvSpPr>
            <p:spPr>
              <a:xfrm>
                <a:off x="2727925" y="2771175"/>
                <a:ext cx="300950" cy="173300"/>
              </a:xfrm>
              <a:custGeom>
                <a:avLst/>
                <a:gdLst/>
                <a:ahLst/>
                <a:cxnLst/>
                <a:rect l="l" t="t" r="r" b="b"/>
                <a:pathLst>
                  <a:path w="12038" h="6932" extrusionOk="0">
                    <a:moveTo>
                      <a:pt x="11088" y="1"/>
                    </a:moveTo>
                    <a:cubicBezTo>
                      <a:pt x="10863" y="1"/>
                      <a:pt x="10637" y="87"/>
                      <a:pt x="10465" y="260"/>
                    </a:cubicBezTo>
                    <a:lnTo>
                      <a:pt x="6869" y="3859"/>
                    </a:lnTo>
                    <a:lnTo>
                      <a:pt x="5982" y="4742"/>
                    </a:lnTo>
                    <a:lnTo>
                      <a:pt x="5110" y="3874"/>
                    </a:lnTo>
                    <a:lnTo>
                      <a:pt x="1496" y="260"/>
                    </a:lnTo>
                    <a:cubicBezTo>
                      <a:pt x="1342" y="153"/>
                      <a:pt x="1165" y="102"/>
                      <a:pt x="990" y="102"/>
                    </a:cubicBezTo>
                    <a:cubicBezTo>
                      <a:pt x="731" y="102"/>
                      <a:pt x="475" y="214"/>
                      <a:pt x="297" y="427"/>
                    </a:cubicBezTo>
                    <a:cubicBezTo>
                      <a:pt x="1" y="783"/>
                      <a:pt x="27" y="1306"/>
                      <a:pt x="353" y="1636"/>
                    </a:cubicBezTo>
                    <a:lnTo>
                      <a:pt x="5388" y="6675"/>
                    </a:lnTo>
                    <a:cubicBezTo>
                      <a:pt x="5561" y="6846"/>
                      <a:pt x="5785" y="6931"/>
                      <a:pt x="6010" y="6931"/>
                    </a:cubicBezTo>
                    <a:cubicBezTo>
                      <a:pt x="6234" y="6931"/>
                      <a:pt x="6459" y="6846"/>
                      <a:pt x="6632" y="6675"/>
                    </a:cubicBezTo>
                    <a:lnTo>
                      <a:pt x="11667" y="1636"/>
                    </a:lnTo>
                    <a:cubicBezTo>
                      <a:pt x="12019" y="1250"/>
                      <a:pt x="12038" y="668"/>
                      <a:pt x="11711" y="260"/>
                    </a:cubicBezTo>
                    <a:cubicBezTo>
                      <a:pt x="11539" y="87"/>
                      <a:pt x="11313" y="1"/>
                      <a:pt x="11088" y="1"/>
                    </a:cubicBezTo>
                    <a:close/>
                  </a:path>
                </a:pathLst>
              </a:custGeom>
              <a:solidFill>
                <a:srgbClr val="667E92"/>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8098" name="Google Shape;8098;p105"/>
            <p:cNvGrpSpPr/>
            <p:nvPr/>
          </p:nvGrpSpPr>
          <p:grpSpPr>
            <a:xfrm>
              <a:off x="5973664" y="3484366"/>
              <a:ext cx="811335" cy="987304"/>
              <a:chOff x="1285250" y="1617275"/>
              <a:chExt cx="1090650" cy="1327200"/>
            </a:xfrm>
          </p:grpSpPr>
          <p:sp>
            <p:nvSpPr>
              <p:cNvPr id="8099" name="Google Shape;8099;p105"/>
              <p:cNvSpPr/>
              <p:nvPr/>
            </p:nvSpPr>
            <p:spPr>
              <a:xfrm>
                <a:off x="1460300" y="1792400"/>
                <a:ext cx="740475" cy="740375"/>
              </a:xfrm>
              <a:custGeom>
                <a:avLst/>
                <a:gdLst/>
                <a:ahLst/>
                <a:cxnLst/>
                <a:rect l="l" t="t" r="r" b="b"/>
                <a:pathLst>
                  <a:path w="29619" h="29615" extrusionOk="0">
                    <a:moveTo>
                      <a:pt x="14809" y="1"/>
                    </a:moveTo>
                    <a:cubicBezTo>
                      <a:pt x="6631" y="1"/>
                      <a:pt x="0" y="6631"/>
                      <a:pt x="0" y="14809"/>
                    </a:cubicBezTo>
                    <a:cubicBezTo>
                      <a:pt x="0" y="22988"/>
                      <a:pt x="6631" y="29615"/>
                      <a:pt x="14809" y="29615"/>
                    </a:cubicBezTo>
                    <a:cubicBezTo>
                      <a:pt x="22987" y="29615"/>
                      <a:pt x="29618" y="22988"/>
                      <a:pt x="29618" y="14809"/>
                    </a:cubicBezTo>
                    <a:cubicBezTo>
                      <a:pt x="29618" y="6631"/>
                      <a:pt x="22987" y="1"/>
                      <a:pt x="14809" y="1"/>
                    </a:cubicBezTo>
                    <a:close/>
                  </a:path>
                </a:pathLst>
              </a:custGeom>
              <a:noFill/>
              <a:ln w="19050" cap="flat" cmpd="sng">
                <a:solidFill>
                  <a:srgbClr val="445D73"/>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100" name="Google Shape;8100;p105"/>
              <p:cNvSpPr/>
              <p:nvPr/>
            </p:nvSpPr>
            <p:spPr>
              <a:xfrm>
                <a:off x="1285250" y="1617275"/>
                <a:ext cx="1090650" cy="1273950"/>
              </a:xfrm>
              <a:custGeom>
                <a:avLst/>
                <a:gdLst/>
                <a:ahLst/>
                <a:cxnLst/>
                <a:rect l="l" t="t" r="r" b="b"/>
                <a:pathLst>
                  <a:path w="43626" h="50958" extrusionOk="0">
                    <a:moveTo>
                      <a:pt x="21811" y="0"/>
                    </a:moveTo>
                    <a:cubicBezTo>
                      <a:pt x="9785" y="0"/>
                      <a:pt x="0" y="9788"/>
                      <a:pt x="0" y="21814"/>
                    </a:cubicBezTo>
                    <a:cubicBezTo>
                      <a:pt x="8" y="22289"/>
                      <a:pt x="401" y="22672"/>
                      <a:pt x="876" y="22672"/>
                    </a:cubicBezTo>
                    <a:cubicBezTo>
                      <a:pt x="1355" y="22672"/>
                      <a:pt x="1744" y="22289"/>
                      <a:pt x="1755" y="21814"/>
                    </a:cubicBezTo>
                    <a:cubicBezTo>
                      <a:pt x="1755" y="10757"/>
                      <a:pt x="10754" y="1755"/>
                      <a:pt x="21811" y="1755"/>
                    </a:cubicBezTo>
                    <a:cubicBezTo>
                      <a:pt x="32869" y="1755"/>
                      <a:pt x="41867" y="10753"/>
                      <a:pt x="41867" y="21814"/>
                    </a:cubicBezTo>
                    <a:cubicBezTo>
                      <a:pt x="41871" y="32872"/>
                      <a:pt x="32869" y="41870"/>
                      <a:pt x="21811" y="41870"/>
                    </a:cubicBezTo>
                    <a:cubicBezTo>
                      <a:pt x="21329" y="41870"/>
                      <a:pt x="20932" y="42263"/>
                      <a:pt x="20936" y="42750"/>
                    </a:cubicBezTo>
                    <a:lnTo>
                      <a:pt x="20936" y="50957"/>
                    </a:lnTo>
                    <a:lnTo>
                      <a:pt x="22691" y="50942"/>
                    </a:lnTo>
                    <a:lnTo>
                      <a:pt x="22691" y="43610"/>
                    </a:lnTo>
                    <a:cubicBezTo>
                      <a:pt x="34312" y="43147"/>
                      <a:pt x="43626" y="33547"/>
                      <a:pt x="43626" y="21814"/>
                    </a:cubicBezTo>
                    <a:cubicBezTo>
                      <a:pt x="43626" y="9785"/>
                      <a:pt x="33841" y="0"/>
                      <a:pt x="21811" y="0"/>
                    </a:cubicBezTo>
                    <a:close/>
                  </a:path>
                </a:pathLst>
              </a:custGeom>
              <a:solidFill>
                <a:srgbClr val="445D73"/>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101" name="Google Shape;8101;p105"/>
              <p:cNvSpPr/>
              <p:nvPr/>
            </p:nvSpPr>
            <p:spPr>
              <a:xfrm>
                <a:off x="1680900" y="2771175"/>
                <a:ext cx="300850" cy="173300"/>
              </a:xfrm>
              <a:custGeom>
                <a:avLst/>
                <a:gdLst/>
                <a:ahLst/>
                <a:cxnLst/>
                <a:rect l="l" t="t" r="r" b="b"/>
                <a:pathLst>
                  <a:path w="12034" h="6932" extrusionOk="0">
                    <a:moveTo>
                      <a:pt x="11086" y="1"/>
                    </a:moveTo>
                    <a:cubicBezTo>
                      <a:pt x="10860" y="1"/>
                      <a:pt x="10635" y="87"/>
                      <a:pt x="10464" y="260"/>
                    </a:cubicBezTo>
                    <a:lnTo>
                      <a:pt x="6865" y="3859"/>
                    </a:lnTo>
                    <a:lnTo>
                      <a:pt x="5978" y="4742"/>
                    </a:lnTo>
                    <a:lnTo>
                      <a:pt x="5110" y="3874"/>
                    </a:lnTo>
                    <a:lnTo>
                      <a:pt x="1495" y="260"/>
                    </a:lnTo>
                    <a:cubicBezTo>
                      <a:pt x="1341" y="153"/>
                      <a:pt x="1165" y="102"/>
                      <a:pt x="989" y="102"/>
                    </a:cubicBezTo>
                    <a:cubicBezTo>
                      <a:pt x="730" y="102"/>
                      <a:pt x="474" y="214"/>
                      <a:pt x="297" y="427"/>
                    </a:cubicBezTo>
                    <a:cubicBezTo>
                      <a:pt x="0" y="783"/>
                      <a:pt x="22" y="1306"/>
                      <a:pt x="349" y="1636"/>
                    </a:cubicBezTo>
                    <a:lnTo>
                      <a:pt x="5388" y="6675"/>
                    </a:lnTo>
                    <a:cubicBezTo>
                      <a:pt x="5559" y="6846"/>
                      <a:pt x="5783" y="6931"/>
                      <a:pt x="6008" y="6931"/>
                    </a:cubicBezTo>
                    <a:cubicBezTo>
                      <a:pt x="6233" y="6931"/>
                      <a:pt x="6458" y="6846"/>
                      <a:pt x="6631" y="6675"/>
                    </a:cubicBezTo>
                    <a:lnTo>
                      <a:pt x="11666" y="1636"/>
                    </a:lnTo>
                    <a:cubicBezTo>
                      <a:pt x="12015" y="1250"/>
                      <a:pt x="12034" y="668"/>
                      <a:pt x="11711" y="260"/>
                    </a:cubicBezTo>
                    <a:cubicBezTo>
                      <a:pt x="11538" y="87"/>
                      <a:pt x="11312" y="1"/>
                      <a:pt x="11086" y="1"/>
                    </a:cubicBezTo>
                    <a:close/>
                  </a:path>
                </a:pathLst>
              </a:custGeom>
              <a:solidFill>
                <a:srgbClr val="445D73"/>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8102" name="Google Shape;8102;p105"/>
            <p:cNvGrpSpPr/>
            <p:nvPr/>
          </p:nvGrpSpPr>
          <p:grpSpPr>
            <a:xfrm>
              <a:off x="5194708" y="3484366"/>
              <a:ext cx="811409" cy="987304"/>
              <a:chOff x="238125" y="1617275"/>
              <a:chExt cx="1090750" cy="1327200"/>
            </a:xfrm>
          </p:grpSpPr>
          <p:sp>
            <p:nvSpPr>
              <p:cNvPr id="8103" name="Google Shape;8103;p105"/>
              <p:cNvSpPr/>
              <p:nvPr/>
            </p:nvSpPr>
            <p:spPr>
              <a:xfrm>
                <a:off x="413250" y="1792400"/>
                <a:ext cx="740375" cy="740375"/>
              </a:xfrm>
              <a:custGeom>
                <a:avLst/>
                <a:gdLst/>
                <a:ahLst/>
                <a:cxnLst/>
                <a:rect l="l" t="t" r="r" b="b"/>
                <a:pathLst>
                  <a:path w="29615" h="29615" extrusionOk="0">
                    <a:moveTo>
                      <a:pt x="14810" y="1"/>
                    </a:moveTo>
                    <a:cubicBezTo>
                      <a:pt x="6631" y="1"/>
                      <a:pt x="1" y="6631"/>
                      <a:pt x="1" y="14809"/>
                    </a:cubicBezTo>
                    <a:cubicBezTo>
                      <a:pt x="1" y="22988"/>
                      <a:pt x="6631" y="29615"/>
                      <a:pt x="14810" y="29615"/>
                    </a:cubicBezTo>
                    <a:cubicBezTo>
                      <a:pt x="22988" y="29615"/>
                      <a:pt x="29615" y="22988"/>
                      <a:pt x="29615" y="14809"/>
                    </a:cubicBezTo>
                    <a:cubicBezTo>
                      <a:pt x="29615" y="6631"/>
                      <a:pt x="22988" y="1"/>
                      <a:pt x="14810" y="1"/>
                    </a:cubicBezTo>
                    <a:close/>
                  </a:path>
                </a:pathLst>
              </a:custGeom>
              <a:noFill/>
              <a:ln w="19050" cap="flat" cmpd="sng">
                <a:solidFill>
                  <a:srgbClr val="869FB1"/>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104" name="Google Shape;8104;p105"/>
              <p:cNvSpPr/>
              <p:nvPr/>
            </p:nvSpPr>
            <p:spPr>
              <a:xfrm>
                <a:off x="238125" y="1617275"/>
                <a:ext cx="1090750" cy="1273950"/>
              </a:xfrm>
              <a:custGeom>
                <a:avLst/>
                <a:gdLst/>
                <a:ahLst/>
                <a:cxnLst/>
                <a:rect l="l" t="t" r="r" b="b"/>
                <a:pathLst>
                  <a:path w="43630" h="50958" extrusionOk="0">
                    <a:moveTo>
                      <a:pt x="21815" y="0"/>
                    </a:moveTo>
                    <a:cubicBezTo>
                      <a:pt x="9785" y="0"/>
                      <a:pt x="0" y="9788"/>
                      <a:pt x="0" y="21814"/>
                    </a:cubicBezTo>
                    <a:cubicBezTo>
                      <a:pt x="11" y="22289"/>
                      <a:pt x="401" y="22672"/>
                      <a:pt x="879" y="22672"/>
                    </a:cubicBezTo>
                    <a:cubicBezTo>
                      <a:pt x="1354" y="22672"/>
                      <a:pt x="1744" y="22289"/>
                      <a:pt x="1755" y="21814"/>
                    </a:cubicBezTo>
                    <a:cubicBezTo>
                      <a:pt x="1755" y="10757"/>
                      <a:pt x="10753" y="1755"/>
                      <a:pt x="21811" y="1755"/>
                    </a:cubicBezTo>
                    <a:cubicBezTo>
                      <a:pt x="32869" y="1755"/>
                      <a:pt x="41870" y="10753"/>
                      <a:pt x="41870" y="21814"/>
                    </a:cubicBezTo>
                    <a:cubicBezTo>
                      <a:pt x="41870" y="32872"/>
                      <a:pt x="32872" y="41870"/>
                      <a:pt x="21815" y="41870"/>
                    </a:cubicBezTo>
                    <a:cubicBezTo>
                      <a:pt x="21329" y="41870"/>
                      <a:pt x="20935" y="42263"/>
                      <a:pt x="20935" y="42750"/>
                    </a:cubicBezTo>
                    <a:lnTo>
                      <a:pt x="20935" y="50957"/>
                    </a:lnTo>
                    <a:lnTo>
                      <a:pt x="22694" y="50942"/>
                    </a:lnTo>
                    <a:lnTo>
                      <a:pt x="22694" y="43610"/>
                    </a:lnTo>
                    <a:cubicBezTo>
                      <a:pt x="34316" y="43147"/>
                      <a:pt x="43629" y="33547"/>
                      <a:pt x="43626" y="21814"/>
                    </a:cubicBezTo>
                    <a:cubicBezTo>
                      <a:pt x="43626" y="9785"/>
                      <a:pt x="33841" y="0"/>
                      <a:pt x="21815" y="0"/>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105" name="Google Shape;8105;p105"/>
              <p:cNvSpPr/>
              <p:nvPr/>
            </p:nvSpPr>
            <p:spPr>
              <a:xfrm>
                <a:off x="633750" y="2771175"/>
                <a:ext cx="300950" cy="173300"/>
              </a:xfrm>
              <a:custGeom>
                <a:avLst/>
                <a:gdLst/>
                <a:ahLst/>
                <a:cxnLst/>
                <a:rect l="l" t="t" r="r" b="b"/>
                <a:pathLst>
                  <a:path w="12038" h="6932" extrusionOk="0">
                    <a:moveTo>
                      <a:pt x="11088" y="1"/>
                    </a:moveTo>
                    <a:cubicBezTo>
                      <a:pt x="10863" y="1"/>
                      <a:pt x="10637" y="87"/>
                      <a:pt x="10465" y="260"/>
                    </a:cubicBezTo>
                    <a:lnTo>
                      <a:pt x="6869" y="3859"/>
                    </a:lnTo>
                    <a:lnTo>
                      <a:pt x="5982" y="4742"/>
                    </a:lnTo>
                    <a:lnTo>
                      <a:pt x="5110" y="3874"/>
                    </a:lnTo>
                    <a:lnTo>
                      <a:pt x="1496" y="260"/>
                    </a:lnTo>
                    <a:cubicBezTo>
                      <a:pt x="1342" y="153"/>
                      <a:pt x="1165" y="102"/>
                      <a:pt x="990" y="102"/>
                    </a:cubicBezTo>
                    <a:cubicBezTo>
                      <a:pt x="731" y="102"/>
                      <a:pt x="475" y="214"/>
                      <a:pt x="298" y="427"/>
                    </a:cubicBezTo>
                    <a:cubicBezTo>
                      <a:pt x="1" y="783"/>
                      <a:pt x="27" y="1306"/>
                      <a:pt x="353" y="1636"/>
                    </a:cubicBezTo>
                    <a:lnTo>
                      <a:pt x="5389" y="6675"/>
                    </a:lnTo>
                    <a:cubicBezTo>
                      <a:pt x="5561" y="6846"/>
                      <a:pt x="5786" y="6931"/>
                      <a:pt x="6010" y="6931"/>
                    </a:cubicBezTo>
                    <a:cubicBezTo>
                      <a:pt x="6235" y="6931"/>
                      <a:pt x="6459" y="6846"/>
                      <a:pt x="6632" y="6675"/>
                    </a:cubicBezTo>
                    <a:lnTo>
                      <a:pt x="11667" y="1636"/>
                    </a:lnTo>
                    <a:cubicBezTo>
                      <a:pt x="12019" y="1250"/>
                      <a:pt x="12038" y="668"/>
                      <a:pt x="11711" y="260"/>
                    </a:cubicBezTo>
                    <a:cubicBezTo>
                      <a:pt x="11539" y="87"/>
                      <a:pt x="11313" y="1"/>
                      <a:pt x="11088" y="1"/>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grpSp>
        <p:nvGrpSpPr>
          <p:cNvPr id="8106" name="Google Shape;8106;p105"/>
          <p:cNvGrpSpPr/>
          <p:nvPr/>
        </p:nvGrpSpPr>
        <p:grpSpPr>
          <a:xfrm>
            <a:off x="4648101" y="4474081"/>
            <a:ext cx="2155952" cy="461675"/>
            <a:chOff x="1808063" y="4294338"/>
            <a:chExt cx="3370782" cy="721817"/>
          </a:xfrm>
        </p:grpSpPr>
        <p:sp>
          <p:nvSpPr>
            <p:cNvPr id="8107" name="Google Shape;8107;p105"/>
            <p:cNvSpPr/>
            <p:nvPr/>
          </p:nvSpPr>
          <p:spPr>
            <a:xfrm>
              <a:off x="1906300" y="4423127"/>
              <a:ext cx="526025" cy="525979"/>
            </a:xfrm>
            <a:custGeom>
              <a:avLst/>
              <a:gdLst/>
              <a:ahLst/>
              <a:cxnLst/>
              <a:rect l="l" t="t" r="r" b="b"/>
              <a:pathLst>
                <a:path w="22903" h="22901" extrusionOk="0">
                  <a:moveTo>
                    <a:pt x="11452" y="4551"/>
                  </a:moveTo>
                  <a:cubicBezTo>
                    <a:pt x="15263" y="4551"/>
                    <a:pt x="18352" y="7640"/>
                    <a:pt x="18352" y="11451"/>
                  </a:cubicBezTo>
                  <a:cubicBezTo>
                    <a:pt x="18352" y="15262"/>
                    <a:pt x="15263" y="18350"/>
                    <a:pt x="11452" y="18350"/>
                  </a:cubicBezTo>
                  <a:lnTo>
                    <a:pt x="11452" y="18351"/>
                  </a:lnTo>
                  <a:cubicBezTo>
                    <a:pt x="7640" y="18351"/>
                    <a:pt x="4552" y="15262"/>
                    <a:pt x="4552" y="11451"/>
                  </a:cubicBezTo>
                  <a:cubicBezTo>
                    <a:pt x="4552" y="7640"/>
                    <a:pt x="7640" y="4551"/>
                    <a:pt x="11452" y="4551"/>
                  </a:cubicBezTo>
                  <a:close/>
                  <a:moveTo>
                    <a:pt x="9850" y="0"/>
                  </a:moveTo>
                  <a:cubicBezTo>
                    <a:pt x="9464" y="0"/>
                    <a:pt x="9152" y="312"/>
                    <a:pt x="9152" y="698"/>
                  </a:cubicBezTo>
                  <a:lnTo>
                    <a:pt x="9152" y="2564"/>
                  </a:lnTo>
                  <a:cubicBezTo>
                    <a:pt x="8324" y="2777"/>
                    <a:pt x="7530" y="3105"/>
                    <a:pt x="6793" y="3539"/>
                  </a:cubicBezTo>
                  <a:lnTo>
                    <a:pt x="5474" y="2221"/>
                  </a:lnTo>
                  <a:cubicBezTo>
                    <a:pt x="5338" y="2085"/>
                    <a:pt x="5159" y="2017"/>
                    <a:pt x="4981" y="2017"/>
                  </a:cubicBezTo>
                  <a:cubicBezTo>
                    <a:pt x="4802" y="2017"/>
                    <a:pt x="4624" y="2085"/>
                    <a:pt x="4487" y="2221"/>
                  </a:cubicBezTo>
                  <a:lnTo>
                    <a:pt x="2222" y="4487"/>
                  </a:lnTo>
                  <a:cubicBezTo>
                    <a:pt x="1949" y="4759"/>
                    <a:pt x="1949" y="5201"/>
                    <a:pt x="2222" y="5473"/>
                  </a:cubicBezTo>
                  <a:lnTo>
                    <a:pt x="3541" y="6791"/>
                  </a:lnTo>
                  <a:cubicBezTo>
                    <a:pt x="3107" y="7528"/>
                    <a:pt x="2777" y="8322"/>
                    <a:pt x="2564" y="9150"/>
                  </a:cubicBezTo>
                  <a:lnTo>
                    <a:pt x="699" y="9150"/>
                  </a:lnTo>
                  <a:cubicBezTo>
                    <a:pt x="313" y="9150"/>
                    <a:pt x="1" y="9462"/>
                    <a:pt x="1" y="9848"/>
                  </a:cubicBezTo>
                  <a:lnTo>
                    <a:pt x="1" y="13053"/>
                  </a:lnTo>
                  <a:cubicBezTo>
                    <a:pt x="1" y="13438"/>
                    <a:pt x="313" y="13751"/>
                    <a:pt x="699" y="13751"/>
                  </a:cubicBezTo>
                  <a:lnTo>
                    <a:pt x="2564" y="13751"/>
                  </a:lnTo>
                  <a:cubicBezTo>
                    <a:pt x="2777" y="14579"/>
                    <a:pt x="3106" y="15373"/>
                    <a:pt x="3541" y="16109"/>
                  </a:cubicBezTo>
                  <a:lnTo>
                    <a:pt x="2222" y="17427"/>
                  </a:lnTo>
                  <a:cubicBezTo>
                    <a:pt x="1949" y="17701"/>
                    <a:pt x="1949" y="18142"/>
                    <a:pt x="2222" y="18415"/>
                  </a:cubicBezTo>
                  <a:lnTo>
                    <a:pt x="4487" y="20681"/>
                  </a:lnTo>
                  <a:cubicBezTo>
                    <a:pt x="4624" y="20817"/>
                    <a:pt x="4802" y="20885"/>
                    <a:pt x="4981" y="20885"/>
                  </a:cubicBezTo>
                  <a:cubicBezTo>
                    <a:pt x="5159" y="20885"/>
                    <a:pt x="5338" y="20817"/>
                    <a:pt x="5474" y="20681"/>
                  </a:cubicBezTo>
                  <a:lnTo>
                    <a:pt x="6793" y="19362"/>
                  </a:lnTo>
                  <a:cubicBezTo>
                    <a:pt x="7530" y="19796"/>
                    <a:pt x="8324" y="20124"/>
                    <a:pt x="9152" y="20339"/>
                  </a:cubicBezTo>
                  <a:lnTo>
                    <a:pt x="9152" y="22204"/>
                  </a:lnTo>
                  <a:cubicBezTo>
                    <a:pt x="9152" y="22588"/>
                    <a:pt x="9464" y="22901"/>
                    <a:pt x="9850" y="22901"/>
                  </a:cubicBezTo>
                  <a:lnTo>
                    <a:pt x="13055" y="22901"/>
                  </a:lnTo>
                  <a:cubicBezTo>
                    <a:pt x="13439" y="22901"/>
                    <a:pt x="13751" y="22588"/>
                    <a:pt x="13751" y="22204"/>
                  </a:cubicBezTo>
                  <a:lnTo>
                    <a:pt x="13751" y="20339"/>
                  </a:lnTo>
                  <a:cubicBezTo>
                    <a:pt x="14581" y="20124"/>
                    <a:pt x="15373" y="19796"/>
                    <a:pt x="16110" y="19362"/>
                  </a:cubicBezTo>
                  <a:lnTo>
                    <a:pt x="17429" y="20680"/>
                  </a:lnTo>
                  <a:cubicBezTo>
                    <a:pt x="17566" y="20816"/>
                    <a:pt x="17744" y="20884"/>
                    <a:pt x="17923" y="20884"/>
                  </a:cubicBezTo>
                  <a:cubicBezTo>
                    <a:pt x="18101" y="20884"/>
                    <a:pt x="18280" y="20816"/>
                    <a:pt x="18416" y="20680"/>
                  </a:cubicBezTo>
                  <a:lnTo>
                    <a:pt x="20682" y="18414"/>
                  </a:lnTo>
                  <a:cubicBezTo>
                    <a:pt x="20954" y="18142"/>
                    <a:pt x="20954" y="17700"/>
                    <a:pt x="20682" y="17427"/>
                  </a:cubicBezTo>
                  <a:lnTo>
                    <a:pt x="19364" y="16109"/>
                  </a:lnTo>
                  <a:cubicBezTo>
                    <a:pt x="19798" y="15373"/>
                    <a:pt x="20126" y="14579"/>
                    <a:pt x="20339" y="13751"/>
                  </a:cubicBezTo>
                  <a:lnTo>
                    <a:pt x="22205" y="13751"/>
                  </a:lnTo>
                  <a:cubicBezTo>
                    <a:pt x="22591" y="13751"/>
                    <a:pt x="22903" y="13438"/>
                    <a:pt x="22903" y="13053"/>
                  </a:cubicBezTo>
                  <a:lnTo>
                    <a:pt x="22903" y="9850"/>
                  </a:lnTo>
                  <a:cubicBezTo>
                    <a:pt x="22903" y="9465"/>
                    <a:pt x="22592" y="9152"/>
                    <a:pt x="22208" y="9152"/>
                  </a:cubicBezTo>
                  <a:cubicBezTo>
                    <a:pt x="22207" y="9152"/>
                    <a:pt x="22206" y="9152"/>
                    <a:pt x="22205" y="9152"/>
                  </a:cubicBezTo>
                  <a:lnTo>
                    <a:pt x="20339" y="9152"/>
                  </a:lnTo>
                  <a:cubicBezTo>
                    <a:pt x="20126" y="8322"/>
                    <a:pt x="19798" y="7530"/>
                    <a:pt x="19364" y="6793"/>
                  </a:cubicBezTo>
                  <a:lnTo>
                    <a:pt x="20682" y="5473"/>
                  </a:lnTo>
                  <a:cubicBezTo>
                    <a:pt x="20954" y="5201"/>
                    <a:pt x="20954" y="4759"/>
                    <a:pt x="20682" y="4487"/>
                  </a:cubicBezTo>
                  <a:lnTo>
                    <a:pt x="18416" y="2221"/>
                  </a:lnTo>
                  <a:cubicBezTo>
                    <a:pt x="18280" y="2085"/>
                    <a:pt x="18101" y="2017"/>
                    <a:pt x="17923" y="2017"/>
                  </a:cubicBezTo>
                  <a:cubicBezTo>
                    <a:pt x="17744" y="2017"/>
                    <a:pt x="17566" y="2085"/>
                    <a:pt x="17429" y="2221"/>
                  </a:cubicBezTo>
                  <a:lnTo>
                    <a:pt x="16110" y="3541"/>
                  </a:lnTo>
                  <a:cubicBezTo>
                    <a:pt x="15373" y="3105"/>
                    <a:pt x="14581" y="2777"/>
                    <a:pt x="13751" y="2564"/>
                  </a:cubicBezTo>
                  <a:lnTo>
                    <a:pt x="13751" y="698"/>
                  </a:lnTo>
                  <a:cubicBezTo>
                    <a:pt x="13751" y="312"/>
                    <a:pt x="13439" y="0"/>
                    <a:pt x="13055" y="0"/>
                  </a:cubicBezTo>
                  <a:close/>
                </a:path>
              </a:pathLst>
            </a:custGeom>
            <a:noFill/>
            <a:ln w="9525" cap="flat" cmpd="sng">
              <a:solidFill>
                <a:srgbClr val="D7DFE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108" name="Google Shape;8108;p105"/>
            <p:cNvSpPr/>
            <p:nvPr/>
          </p:nvSpPr>
          <p:spPr>
            <a:xfrm>
              <a:off x="3795035" y="4655290"/>
              <a:ext cx="721912" cy="360865"/>
            </a:xfrm>
            <a:custGeom>
              <a:avLst/>
              <a:gdLst/>
              <a:ahLst/>
              <a:cxnLst/>
              <a:rect l="l" t="t" r="r" b="b"/>
              <a:pathLst>
                <a:path w="7904" h="3951" extrusionOk="0">
                  <a:moveTo>
                    <a:pt x="1" y="0"/>
                  </a:moveTo>
                  <a:cubicBezTo>
                    <a:pt x="1" y="540"/>
                    <a:pt x="113" y="1075"/>
                    <a:pt x="327" y="1571"/>
                  </a:cubicBezTo>
                  <a:cubicBezTo>
                    <a:pt x="938" y="2971"/>
                    <a:pt x="2332" y="3951"/>
                    <a:pt x="3953" y="3951"/>
                  </a:cubicBezTo>
                  <a:cubicBezTo>
                    <a:pt x="6132" y="3951"/>
                    <a:pt x="7903" y="2178"/>
                    <a:pt x="7903" y="0"/>
                  </a:cubicBezTo>
                  <a:lnTo>
                    <a:pt x="7248" y="0"/>
                  </a:lnTo>
                  <a:cubicBezTo>
                    <a:pt x="7248" y="1818"/>
                    <a:pt x="5770" y="3296"/>
                    <a:pt x="3953" y="3296"/>
                  </a:cubicBezTo>
                  <a:cubicBezTo>
                    <a:pt x="2135" y="3296"/>
                    <a:pt x="657" y="1818"/>
                    <a:pt x="657" y="0"/>
                  </a:cubicBezTo>
                  <a:close/>
                </a:path>
              </a:pathLst>
            </a:custGeom>
            <a:noFill/>
            <a:ln w="9525" cap="flat" cmpd="sng">
              <a:solidFill>
                <a:srgbClr val="A5B7C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109" name="Google Shape;8109;p105"/>
            <p:cNvSpPr/>
            <p:nvPr/>
          </p:nvSpPr>
          <p:spPr>
            <a:xfrm>
              <a:off x="3133137" y="4294338"/>
              <a:ext cx="721729" cy="360865"/>
            </a:xfrm>
            <a:custGeom>
              <a:avLst/>
              <a:gdLst/>
              <a:ahLst/>
              <a:cxnLst/>
              <a:rect l="l" t="t" r="r" b="b"/>
              <a:pathLst>
                <a:path w="7902" h="3951" extrusionOk="0">
                  <a:moveTo>
                    <a:pt x="3951" y="0"/>
                  </a:moveTo>
                  <a:cubicBezTo>
                    <a:pt x="2330" y="0"/>
                    <a:pt x="935" y="982"/>
                    <a:pt x="327" y="2380"/>
                  </a:cubicBezTo>
                  <a:cubicBezTo>
                    <a:pt x="111" y="2874"/>
                    <a:pt x="0" y="3409"/>
                    <a:pt x="0" y="3951"/>
                  </a:cubicBezTo>
                  <a:lnTo>
                    <a:pt x="653" y="3951"/>
                  </a:lnTo>
                  <a:cubicBezTo>
                    <a:pt x="653" y="2135"/>
                    <a:pt x="2133" y="657"/>
                    <a:pt x="3951" y="657"/>
                  </a:cubicBezTo>
                  <a:cubicBezTo>
                    <a:pt x="5767" y="657"/>
                    <a:pt x="7246" y="2135"/>
                    <a:pt x="7246" y="3951"/>
                  </a:cubicBezTo>
                  <a:lnTo>
                    <a:pt x="7901" y="3951"/>
                  </a:lnTo>
                  <a:cubicBezTo>
                    <a:pt x="7901" y="3411"/>
                    <a:pt x="7791" y="2876"/>
                    <a:pt x="7574" y="2381"/>
                  </a:cubicBezTo>
                  <a:cubicBezTo>
                    <a:pt x="6966" y="982"/>
                    <a:pt x="5571" y="0"/>
                    <a:pt x="3951" y="0"/>
                  </a:cubicBezTo>
                  <a:close/>
                </a:path>
              </a:pathLst>
            </a:custGeom>
            <a:noFill/>
            <a:ln w="9525" cap="flat" cmpd="sng">
              <a:solidFill>
                <a:srgbClr val="869FB1"/>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110" name="Google Shape;8110;p105"/>
            <p:cNvSpPr/>
            <p:nvPr/>
          </p:nvSpPr>
          <p:spPr>
            <a:xfrm>
              <a:off x="1808063" y="4294338"/>
              <a:ext cx="722460" cy="362052"/>
            </a:xfrm>
            <a:custGeom>
              <a:avLst/>
              <a:gdLst/>
              <a:ahLst/>
              <a:cxnLst/>
              <a:rect l="l" t="t" r="r" b="b"/>
              <a:pathLst>
                <a:path w="7910" h="3964" extrusionOk="0">
                  <a:moveTo>
                    <a:pt x="3958" y="0"/>
                  </a:moveTo>
                  <a:cubicBezTo>
                    <a:pt x="3954" y="0"/>
                    <a:pt x="3950" y="0"/>
                    <a:pt x="3946" y="0"/>
                  </a:cubicBezTo>
                  <a:cubicBezTo>
                    <a:pt x="1768" y="6"/>
                    <a:pt x="0" y="1784"/>
                    <a:pt x="6" y="3963"/>
                  </a:cubicBezTo>
                  <a:lnTo>
                    <a:pt x="661" y="3962"/>
                  </a:lnTo>
                  <a:cubicBezTo>
                    <a:pt x="657" y="2144"/>
                    <a:pt x="2131" y="661"/>
                    <a:pt x="3947" y="655"/>
                  </a:cubicBezTo>
                  <a:cubicBezTo>
                    <a:pt x="3951" y="655"/>
                    <a:pt x="3955" y="655"/>
                    <a:pt x="3959" y="655"/>
                  </a:cubicBezTo>
                  <a:cubicBezTo>
                    <a:pt x="5771" y="655"/>
                    <a:pt x="7248" y="2127"/>
                    <a:pt x="7254" y="3939"/>
                  </a:cubicBezTo>
                  <a:lnTo>
                    <a:pt x="7256" y="3939"/>
                  </a:lnTo>
                  <a:lnTo>
                    <a:pt x="7909" y="3938"/>
                  </a:lnTo>
                  <a:cubicBezTo>
                    <a:pt x="7907" y="3398"/>
                    <a:pt x="7795" y="2863"/>
                    <a:pt x="7578" y="2368"/>
                  </a:cubicBezTo>
                  <a:cubicBezTo>
                    <a:pt x="6966" y="976"/>
                    <a:pt x="5573" y="0"/>
                    <a:pt x="3958" y="0"/>
                  </a:cubicBezTo>
                  <a:close/>
                </a:path>
              </a:pathLst>
            </a:custGeom>
            <a:noFill/>
            <a:ln w="9525" cap="flat" cmpd="sng">
              <a:solidFill>
                <a:srgbClr val="869FB2"/>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111" name="Google Shape;8111;p105"/>
            <p:cNvSpPr/>
            <p:nvPr/>
          </p:nvSpPr>
          <p:spPr>
            <a:xfrm>
              <a:off x="2470965" y="4655290"/>
              <a:ext cx="721912" cy="360865"/>
            </a:xfrm>
            <a:custGeom>
              <a:avLst/>
              <a:gdLst/>
              <a:ahLst/>
              <a:cxnLst/>
              <a:rect l="l" t="t" r="r" b="b"/>
              <a:pathLst>
                <a:path w="7904" h="3951" extrusionOk="0">
                  <a:moveTo>
                    <a:pt x="1" y="0"/>
                  </a:moveTo>
                  <a:cubicBezTo>
                    <a:pt x="1" y="540"/>
                    <a:pt x="111" y="1075"/>
                    <a:pt x="328" y="1571"/>
                  </a:cubicBezTo>
                  <a:cubicBezTo>
                    <a:pt x="938" y="2971"/>
                    <a:pt x="2332" y="3951"/>
                    <a:pt x="3953" y="3951"/>
                  </a:cubicBezTo>
                  <a:cubicBezTo>
                    <a:pt x="5574" y="3951"/>
                    <a:pt x="6967" y="2971"/>
                    <a:pt x="7575" y="1573"/>
                  </a:cubicBezTo>
                  <a:cubicBezTo>
                    <a:pt x="7791" y="1076"/>
                    <a:pt x="7903" y="541"/>
                    <a:pt x="7903" y="0"/>
                  </a:cubicBezTo>
                  <a:lnTo>
                    <a:pt x="7249" y="0"/>
                  </a:lnTo>
                  <a:cubicBezTo>
                    <a:pt x="7249" y="1818"/>
                    <a:pt x="5770" y="3296"/>
                    <a:pt x="3953" y="3296"/>
                  </a:cubicBezTo>
                  <a:cubicBezTo>
                    <a:pt x="2135" y="3296"/>
                    <a:pt x="657" y="1818"/>
                    <a:pt x="657" y="0"/>
                  </a:cubicBezTo>
                  <a:close/>
                </a:path>
              </a:pathLst>
            </a:custGeom>
            <a:noFill/>
            <a:ln w="9525" cap="flat" cmpd="sng">
              <a:solidFill>
                <a:srgbClr val="CFD9E0"/>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112" name="Google Shape;8112;p105"/>
            <p:cNvSpPr/>
            <p:nvPr/>
          </p:nvSpPr>
          <p:spPr>
            <a:xfrm>
              <a:off x="4456385" y="4294338"/>
              <a:ext cx="722460" cy="362052"/>
            </a:xfrm>
            <a:custGeom>
              <a:avLst/>
              <a:gdLst/>
              <a:ahLst/>
              <a:cxnLst/>
              <a:rect l="l" t="t" r="r" b="b"/>
              <a:pathLst>
                <a:path w="7910" h="3964" extrusionOk="0">
                  <a:moveTo>
                    <a:pt x="3959" y="0"/>
                  </a:moveTo>
                  <a:cubicBezTo>
                    <a:pt x="3955" y="0"/>
                    <a:pt x="3951" y="0"/>
                    <a:pt x="3947" y="0"/>
                  </a:cubicBezTo>
                  <a:cubicBezTo>
                    <a:pt x="1769" y="8"/>
                    <a:pt x="1" y="1786"/>
                    <a:pt x="7" y="3963"/>
                  </a:cubicBezTo>
                  <a:lnTo>
                    <a:pt x="664" y="3962"/>
                  </a:lnTo>
                  <a:cubicBezTo>
                    <a:pt x="658" y="2144"/>
                    <a:pt x="2132" y="661"/>
                    <a:pt x="3948" y="657"/>
                  </a:cubicBezTo>
                  <a:cubicBezTo>
                    <a:pt x="3952" y="657"/>
                    <a:pt x="3956" y="657"/>
                    <a:pt x="3960" y="657"/>
                  </a:cubicBezTo>
                  <a:cubicBezTo>
                    <a:pt x="5772" y="657"/>
                    <a:pt x="7249" y="2127"/>
                    <a:pt x="7255" y="3941"/>
                  </a:cubicBezTo>
                  <a:lnTo>
                    <a:pt x="7257" y="3941"/>
                  </a:lnTo>
                  <a:lnTo>
                    <a:pt x="7910" y="3939"/>
                  </a:lnTo>
                  <a:cubicBezTo>
                    <a:pt x="7908" y="3398"/>
                    <a:pt x="7796" y="2865"/>
                    <a:pt x="7578" y="2370"/>
                  </a:cubicBezTo>
                  <a:cubicBezTo>
                    <a:pt x="6967" y="976"/>
                    <a:pt x="5574" y="0"/>
                    <a:pt x="3959" y="0"/>
                  </a:cubicBezTo>
                  <a:close/>
                </a:path>
              </a:pathLst>
            </a:custGeom>
            <a:noFill/>
            <a:ln w="9525" cap="flat" cmpd="sng">
              <a:solidFill>
                <a:srgbClr val="667E92"/>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113" name="Google Shape;8113;p105"/>
            <p:cNvSpPr/>
            <p:nvPr/>
          </p:nvSpPr>
          <p:spPr>
            <a:xfrm>
              <a:off x="2568813" y="4351427"/>
              <a:ext cx="526025" cy="525979"/>
            </a:xfrm>
            <a:custGeom>
              <a:avLst/>
              <a:gdLst/>
              <a:ahLst/>
              <a:cxnLst/>
              <a:rect l="l" t="t" r="r" b="b"/>
              <a:pathLst>
                <a:path w="22903" h="22901" extrusionOk="0">
                  <a:moveTo>
                    <a:pt x="11452" y="4551"/>
                  </a:moveTo>
                  <a:cubicBezTo>
                    <a:pt x="15263" y="4551"/>
                    <a:pt x="18352" y="7640"/>
                    <a:pt x="18352" y="11451"/>
                  </a:cubicBezTo>
                  <a:cubicBezTo>
                    <a:pt x="18352" y="15262"/>
                    <a:pt x="15263" y="18350"/>
                    <a:pt x="11452" y="18350"/>
                  </a:cubicBezTo>
                  <a:lnTo>
                    <a:pt x="11452" y="18351"/>
                  </a:lnTo>
                  <a:cubicBezTo>
                    <a:pt x="7640" y="18351"/>
                    <a:pt x="4552" y="15262"/>
                    <a:pt x="4552" y="11451"/>
                  </a:cubicBezTo>
                  <a:cubicBezTo>
                    <a:pt x="4552" y="7640"/>
                    <a:pt x="7640" y="4551"/>
                    <a:pt x="11452" y="4551"/>
                  </a:cubicBezTo>
                  <a:close/>
                  <a:moveTo>
                    <a:pt x="9850" y="0"/>
                  </a:moveTo>
                  <a:cubicBezTo>
                    <a:pt x="9464" y="0"/>
                    <a:pt x="9152" y="312"/>
                    <a:pt x="9152" y="698"/>
                  </a:cubicBezTo>
                  <a:lnTo>
                    <a:pt x="9152" y="2564"/>
                  </a:lnTo>
                  <a:cubicBezTo>
                    <a:pt x="8324" y="2777"/>
                    <a:pt x="7530" y="3105"/>
                    <a:pt x="6793" y="3539"/>
                  </a:cubicBezTo>
                  <a:lnTo>
                    <a:pt x="5474" y="2221"/>
                  </a:lnTo>
                  <a:cubicBezTo>
                    <a:pt x="5338" y="2085"/>
                    <a:pt x="5159" y="2017"/>
                    <a:pt x="4981" y="2017"/>
                  </a:cubicBezTo>
                  <a:cubicBezTo>
                    <a:pt x="4802" y="2017"/>
                    <a:pt x="4624" y="2085"/>
                    <a:pt x="4487" y="2221"/>
                  </a:cubicBezTo>
                  <a:lnTo>
                    <a:pt x="2222" y="4487"/>
                  </a:lnTo>
                  <a:cubicBezTo>
                    <a:pt x="1949" y="4759"/>
                    <a:pt x="1949" y="5201"/>
                    <a:pt x="2222" y="5473"/>
                  </a:cubicBezTo>
                  <a:lnTo>
                    <a:pt x="3541" y="6791"/>
                  </a:lnTo>
                  <a:cubicBezTo>
                    <a:pt x="3107" y="7528"/>
                    <a:pt x="2777" y="8322"/>
                    <a:pt x="2564" y="9150"/>
                  </a:cubicBezTo>
                  <a:lnTo>
                    <a:pt x="699" y="9150"/>
                  </a:lnTo>
                  <a:cubicBezTo>
                    <a:pt x="313" y="9150"/>
                    <a:pt x="1" y="9462"/>
                    <a:pt x="1" y="9848"/>
                  </a:cubicBezTo>
                  <a:lnTo>
                    <a:pt x="1" y="13053"/>
                  </a:lnTo>
                  <a:cubicBezTo>
                    <a:pt x="1" y="13438"/>
                    <a:pt x="313" y="13751"/>
                    <a:pt x="699" y="13751"/>
                  </a:cubicBezTo>
                  <a:lnTo>
                    <a:pt x="2564" y="13751"/>
                  </a:lnTo>
                  <a:cubicBezTo>
                    <a:pt x="2777" y="14579"/>
                    <a:pt x="3106" y="15373"/>
                    <a:pt x="3541" y="16109"/>
                  </a:cubicBezTo>
                  <a:lnTo>
                    <a:pt x="2222" y="17427"/>
                  </a:lnTo>
                  <a:cubicBezTo>
                    <a:pt x="1949" y="17701"/>
                    <a:pt x="1949" y="18142"/>
                    <a:pt x="2222" y="18415"/>
                  </a:cubicBezTo>
                  <a:lnTo>
                    <a:pt x="4487" y="20681"/>
                  </a:lnTo>
                  <a:cubicBezTo>
                    <a:pt x="4624" y="20817"/>
                    <a:pt x="4802" y="20885"/>
                    <a:pt x="4981" y="20885"/>
                  </a:cubicBezTo>
                  <a:cubicBezTo>
                    <a:pt x="5159" y="20885"/>
                    <a:pt x="5338" y="20817"/>
                    <a:pt x="5474" y="20681"/>
                  </a:cubicBezTo>
                  <a:lnTo>
                    <a:pt x="6793" y="19362"/>
                  </a:lnTo>
                  <a:cubicBezTo>
                    <a:pt x="7530" y="19796"/>
                    <a:pt x="8324" y="20124"/>
                    <a:pt x="9152" y="20339"/>
                  </a:cubicBezTo>
                  <a:lnTo>
                    <a:pt x="9152" y="22204"/>
                  </a:lnTo>
                  <a:cubicBezTo>
                    <a:pt x="9152" y="22588"/>
                    <a:pt x="9464" y="22901"/>
                    <a:pt x="9850" y="22901"/>
                  </a:cubicBezTo>
                  <a:lnTo>
                    <a:pt x="13055" y="22901"/>
                  </a:lnTo>
                  <a:cubicBezTo>
                    <a:pt x="13439" y="22901"/>
                    <a:pt x="13751" y="22588"/>
                    <a:pt x="13751" y="22204"/>
                  </a:cubicBezTo>
                  <a:lnTo>
                    <a:pt x="13751" y="20339"/>
                  </a:lnTo>
                  <a:cubicBezTo>
                    <a:pt x="14581" y="20124"/>
                    <a:pt x="15373" y="19796"/>
                    <a:pt x="16110" y="19362"/>
                  </a:cubicBezTo>
                  <a:lnTo>
                    <a:pt x="17429" y="20680"/>
                  </a:lnTo>
                  <a:cubicBezTo>
                    <a:pt x="17566" y="20816"/>
                    <a:pt x="17744" y="20884"/>
                    <a:pt x="17923" y="20884"/>
                  </a:cubicBezTo>
                  <a:cubicBezTo>
                    <a:pt x="18101" y="20884"/>
                    <a:pt x="18280" y="20816"/>
                    <a:pt x="18416" y="20680"/>
                  </a:cubicBezTo>
                  <a:lnTo>
                    <a:pt x="20682" y="18414"/>
                  </a:lnTo>
                  <a:cubicBezTo>
                    <a:pt x="20954" y="18142"/>
                    <a:pt x="20954" y="17700"/>
                    <a:pt x="20682" y="17427"/>
                  </a:cubicBezTo>
                  <a:lnTo>
                    <a:pt x="19364" y="16109"/>
                  </a:lnTo>
                  <a:cubicBezTo>
                    <a:pt x="19798" y="15373"/>
                    <a:pt x="20126" y="14579"/>
                    <a:pt x="20339" y="13751"/>
                  </a:cubicBezTo>
                  <a:lnTo>
                    <a:pt x="22205" y="13751"/>
                  </a:lnTo>
                  <a:cubicBezTo>
                    <a:pt x="22591" y="13751"/>
                    <a:pt x="22903" y="13438"/>
                    <a:pt x="22903" y="13053"/>
                  </a:cubicBezTo>
                  <a:lnTo>
                    <a:pt x="22903" y="9850"/>
                  </a:lnTo>
                  <a:cubicBezTo>
                    <a:pt x="22903" y="9465"/>
                    <a:pt x="22592" y="9152"/>
                    <a:pt x="22208" y="9152"/>
                  </a:cubicBezTo>
                  <a:cubicBezTo>
                    <a:pt x="22207" y="9152"/>
                    <a:pt x="22206" y="9152"/>
                    <a:pt x="22205" y="9152"/>
                  </a:cubicBezTo>
                  <a:lnTo>
                    <a:pt x="20339" y="9152"/>
                  </a:lnTo>
                  <a:cubicBezTo>
                    <a:pt x="20126" y="8322"/>
                    <a:pt x="19798" y="7530"/>
                    <a:pt x="19364" y="6793"/>
                  </a:cubicBezTo>
                  <a:lnTo>
                    <a:pt x="20682" y="5473"/>
                  </a:lnTo>
                  <a:cubicBezTo>
                    <a:pt x="20954" y="5201"/>
                    <a:pt x="20954" y="4759"/>
                    <a:pt x="20682" y="4487"/>
                  </a:cubicBezTo>
                  <a:lnTo>
                    <a:pt x="18416" y="2221"/>
                  </a:lnTo>
                  <a:cubicBezTo>
                    <a:pt x="18280" y="2085"/>
                    <a:pt x="18101" y="2017"/>
                    <a:pt x="17923" y="2017"/>
                  </a:cubicBezTo>
                  <a:cubicBezTo>
                    <a:pt x="17744" y="2017"/>
                    <a:pt x="17566" y="2085"/>
                    <a:pt x="17429" y="2221"/>
                  </a:cubicBezTo>
                  <a:lnTo>
                    <a:pt x="16110" y="3541"/>
                  </a:lnTo>
                  <a:cubicBezTo>
                    <a:pt x="15373" y="3105"/>
                    <a:pt x="14581" y="2777"/>
                    <a:pt x="13751" y="2564"/>
                  </a:cubicBezTo>
                  <a:lnTo>
                    <a:pt x="13751" y="698"/>
                  </a:lnTo>
                  <a:cubicBezTo>
                    <a:pt x="13751" y="312"/>
                    <a:pt x="13439" y="0"/>
                    <a:pt x="13055" y="0"/>
                  </a:cubicBezTo>
                  <a:close/>
                </a:path>
              </a:pathLst>
            </a:custGeom>
            <a:noFill/>
            <a:ln w="9525" cap="flat" cmpd="sng">
              <a:solidFill>
                <a:srgbClr val="D7DFE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114" name="Google Shape;8114;p105"/>
            <p:cNvSpPr/>
            <p:nvPr/>
          </p:nvSpPr>
          <p:spPr>
            <a:xfrm>
              <a:off x="3231883" y="4423127"/>
              <a:ext cx="526025" cy="525979"/>
            </a:xfrm>
            <a:custGeom>
              <a:avLst/>
              <a:gdLst/>
              <a:ahLst/>
              <a:cxnLst/>
              <a:rect l="l" t="t" r="r" b="b"/>
              <a:pathLst>
                <a:path w="22903" h="22901" extrusionOk="0">
                  <a:moveTo>
                    <a:pt x="11452" y="4551"/>
                  </a:moveTo>
                  <a:cubicBezTo>
                    <a:pt x="15263" y="4551"/>
                    <a:pt x="18352" y="7640"/>
                    <a:pt x="18352" y="11451"/>
                  </a:cubicBezTo>
                  <a:cubicBezTo>
                    <a:pt x="18352" y="15262"/>
                    <a:pt x="15263" y="18350"/>
                    <a:pt x="11452" y="18350"/>
                  </a:cubicBezTo>
                  <a:lnTo>
                    <a:pt x="11452" y="18351"/>
                  </a:lnTo>
                  <a:cubicBezTo>
                    <a:pt x="7640" y="18351"/>
                    <a:pt x="4552" y="15262"/>
                    <a:pt x="4552" y="11451"/>
                  </a:cubicBezTo>
                  <a:cubicBezTo>
                    <a:pt x="4552" y="7640"/>
                    <a:pt x="7640" y="4551"/>
                    <a:pt x="11452" y="4551"/>
                  </a:cubicBezTo>
                  <a:close/>
                  <a:moveTo>
                    <a:pt x="9850" y="0"/>
                  </a:moveTo>
                  <a:cubicBezTo>
                    <a:pt x="9464" y="0"/>
                    <a:pt x="9152" y="312"/>
                    <a:pt x="9152" y="698"/>
                  </a:cubicBezTo>
                  <a:lnTo>
                    <a:pt x="9152" y="2564"/>
                  </a:lnTo>
                  <a:cubicBezTo>
                    <a:pt x="8324" y="2777"/>
                    <a:pt x="7530" y="3105"/>
                    <a:pt x="6793" y="3539"/>
                  </a:cubicBezTo>
                  <a:lnTo>
                    <a:pt x="5474" y="2221"/>
                  </a:lnTo>
                  <a:cubicBezTo>
                    <a:pt x="5338" y="2085"/>
                    <a:pt x="5159" y="2017"/>
                    <a:pt x="4981" y="2017"/>
                  </a:cubicBezTo>
                  <a:cubicBezTo>
                    <a:pt x="4802" y="2017"/>
                    <a:pt x="4624" y="2085"/>
                    <a:pt x="4487" y="2221"/>
                  </a:cubicBezTo>
                  <a:lnTo>
                    <a:pt x="2222" y="4487"/>
                  </a:lnTo>
                  <a:cubicBezTo>
                    <a:pt x="1949" y="4759"/>
                    <a:pt x="1949" y="5201"/>
                    <a:pt x="2222" y="5473"/>
                  </a:cubicBezTo>
                  <a:lnTo>
                    <a:pt x="3541" y="6791"/>
                  </a:lnTo>
                  <a:cubicBezTo>
                    <a:pt x="3107" y="7528"/>
                    <a:pt x="2777" y="8322"/>
                    <a:pt x="2564" y="9150"/>
                  </a:cubicBezTo>
                  <a:lnTo>
                    <a:pt x="699" y="9150"/>
                  </a:lnTo>
                  <a:cubicBezTo>
                    <a:pt x="313" y="9150"/>
                    <a:pt x="1" y="9462"/>
                    <a:pt x="1" y="9848"/>
                  </a:cubicBezTo>
                  <a:lnTo>
                    <a:pt x="1" y="13053"/>
                  </a:lnTo>
                  <a:cubicBezTo>
                    <a:pt x="1" y="13438"/>
                    <a:pt x="313" y="13751"/>
                    <a:pt x="699" y="13751"/>
                  </a:cubicBezTo>
                  <a:lnTo>
                    <a:pt x="2564" y="13751"/>
                  </a:lnTo>
                  <a:cubicBezTo>
                    <a:pt x="2777" y="14579"/>
                    <a:pt x="3106" y="15373"/>
                    <a:pt x="3541" y="16109"/>
                  </a:cubicBezTo>
                  <a:lnTo>
                    <a:pt x="2222" y="17427"/>
                  </a:lnTo>
                  <a:cubicBezTo>
                    <a:pt x="1949" y="17701"/>
                    <a:pt x="1949" y="18142"/>
                    <a:pt x="2222" y="18415"/>
                  </a:cubicBezTo>
                  <a:lnTo>
                    <a:pt x="4487" y="20681"/>
                  </a:lnTo>
                  <a:cubicBezTo>
                    <a:pt x="4624" y="20817"/>
                    <a:pt x="4802" y="20885"/>
                    <a:pt x="4981" y="20885"/>
                  </a:cubicBezTo>
                  <a:cubicBezTo>
                    <a:pt x="5159" y="20885"/>
                    <a:pt x="5338" y="20817"/>
                    <a:pt x="5474" y="20681"/>
                  </a:cubicBezTo>
                  <a:lnTo>
                    <a:pt x="6793" y="19362"/>
                  </a:lnTo>
                  <a:cubicBezTo>
                    <a:pt x="7530" y="19796"/>
                    <a:pt x="8324" y="20124"/>
                    <a:pt x="9152" y="20339"/>
                  </a:cubicBezTo>
                  <a:lnTo>
                    <a:pt x="9152" y="22204"/>
                  </a:lnTo>
                  <a:cubicBezTo>
                    <a:pt x="9152" y="22588"/>
                    <a:pt x="9464" y="22901"/>
                    <a:pt x="9850" y="22901"/>
                  </a:cubicBezTo>
                  <a:lnTo>
                    <a:pt x="13055" y="22901"/>
                  </a:lnTo>
                  <a:cubicBezTo>
                    <a:pt x="13439" y="22901"/>
                    <a:pt x="13751" y="22588"/>
                    <a:pt x="13751" y="22204"/>
                  </a:cubicBezTo>
                  <a:lnTo>
                    <a:pt x="13751" y="20339"/>
                  </a:lnTo>
                  <a:cubicBezTo>
                    <a:pt x="14581" y="20124"/>
                    <a:pt x="15373" y="19796"/>
                    <a:pt x="16110" y="19362"/>
                  </a:cubicBezTo>
                  <a:lnTo>
                    <a:pt x="17429" y="20680"/>
                  </a:lnTo>
                  <a:cubicBezTo>
                    <a:pt x="17566" y="20816"/>
                    <a:pt x="17744" y="20884"/>
                    <a:pt x="17923" y="20884"/>
                  </a:cubicBezTo>
                  <a:cubicBezTo>
                    <a:pt x="18101" y="20884"/>
                    <a:pt x="18280" y="20816"/>
                    <a:pt x="18416" y="20680"/>
                  </a:cubicBezTo>
                  <a:lnTo>
                    <a:pt x="20682" y="18414"/>
                  </a:lnTo>
                  <a:cubicBezTo>
                    <a:pt x="20954" y="18142"/>
                    <a:pt x="20954" y="17700"/>
                    <a:pt x="20682" y="17427"/>
                  </a:cubicBezTo>
                  <a:lnTo>
                    <a:pt x="19364" y="16109"/>
                  </a:lnTo>
                  <a:cubicBezTo>
                    <a:pt x="19798" y="15373"/>
                    <a:pt x="20126" y="14579"/>
                    <a:pt x="20339" y="13751"/>
                  </a:cubicBezTo>
                  <a:lnTo>
                    <a:pt x="22205" y="13751"/>
                  </a:lnTo>
                  <a:cubicBezTo>
                    <a:pt x="22591" y="13751"/>
                    <a:pt x="22903" y="13438"/>
                    <a:pt x="22903" y="13053"/>
                  </a:cubicBezTo>
                  <a:lnTo>
                    <a:pt x="22903" y="9850"/>
                  </a:lnTo>
                  <a:cubicBezTo>
                    <a:pt x="22903" y="9465"/>
                    <a:pt x="22592" y="9152"/>
                    <a:pt x="22208" y="9152"/>
                  </a:cubicBezTo>
                  <a:cubicBezTo>
                    <a:pt x="22207" y="9152"/>
                    <a:pt x="22206" y="9152"/>
                    <a:pt x="22205" y="9152"/>
                  </a:cubicBezTo>
                  <a:lnTo>
                    <a:pt x="20339" y="9152"/>
                  </a:lnTo>
                  <a:cubicBezTo>
                    <a:pt x="20126" y="8322"/>
                    <a:pt x="19798" y="7530"/>
                    <a:pt x="19364" y="6793"/>
                  </a:cubicBezTo>
                  <a:lnTo>
                    <a:pt x="20682" y="5473"/>
                  </a:lnTo>
                  <a:cubicBezTo>
                    <a:pt x="20954" y="5201"/>
                    <a:pt x="20954" y="4759"/>
                    <a:pt x="20682" y="4487"/>
                  </a:cubicBezTo>
                  <a:lnTo>
                    <a:pt x="18416" y="2221"/>
                  </a:lnTo>
                  <a:cubicBezTo>
                    <a:pt x="18280" y="2085"/>
                    <a:pt x="18101" y="2017"/>
                    <a:pt x="17923" y="2017"/>
                  </a:cubicBezTo>
                  <a:cubicBezTo>
                    <a:pt x="17744" y="2017"/>
                    <a:pt x="17566" y="2085"/>
                    <a:pt x="17429" y="2221"/>
                  </a:cubicBezTo>
                  <a:lnTo>
                    <a:pt x="16110" y="3541"/>
                  </a:lnTo>
                  <a:cubicBezTo>
                    <a:pt x="15373" y="3105"/>
                    <a:pt x="14581" y="2777"/>
                    <a:pt x="13751" y="2564"/>
                  </a:cubicBezTo>
                  <a:lnTo>
                    <a:pt x="13751" y="698"/>
                  </a:lnTo>
                  <a:cubicBezTo>
                    <a:pt x="13751" y="312"/>
                    <a:pt x="13439" y="0"/>
                    <a:pt x="13055" y="0"/>
                  </a:cubicBezTo>
                  <a:close/>
                </a:path>
              </a:pathLst>
            </a:custGeom>
            <a:noFill/>
            <a:ln w="9525" cap="flat" cmpd="sng">
              <a:solidFill>
                <a:srgbClr val="D7DFE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115" name="Google Shape;8115;p105"/>
            <p:cNvSpPr/>
            <p:nvPr/>
          </p:nvSpPr>
          <p:spPr>
            <a:xfrm>
              <a:off x="3894395" y="4351427"/>
              <a:ext cx="526025" cy="525979"/>
            </a:xfrm>
            <a:custGeom>
              <a:avLst/>
              <a:gdLst/>
              <a:ahLst/>
              <a:cxnLst/>
              <a:rect l="l" t="t" r="r" b="b"/>
              <a:pathLst>
                <a:path w="22903" h="22901" extrusionOk="0">
                  <a:moveTo>
                    <a:pt x="11452" y="4551"/>
                  </a:moveTo>
                  <a:cubicBezTo>
                    <a:pt x="15263" y="4551"/>
                    <a:pt x="18352" y="7640"/>
                    <a:pt x="18352" y="11451"/>
                  </a:cubicBezTo>
                  <a:cubicBezTo>
                    <a:pt x="18352" y="15262"/>
                    <a:pt x="15263" y="18350"/>
                    <a:pt x="11452" y="18350"/>
                  </a:cubicBezTo>
                  <a:lnTo>
                    <a:pt x="11452" y="18351"/>
                  </a:lnTo>
                  <a:cubicBezTo>
                    <a:pt x="7640" y="18351"/>
                    <a:pt x="4552" y="15262"/>
                    <a:pt x="4552" y="11451"/>
                  </a:cubicBezTo>
                  <a:cubicBezTo>
                    <a:pt x="4552" y="7640"/>
                    <a:pt x="7640" y="4551"/>
                    <a:pt x="11452" y="4551"/>
                  </a:cubicBezTo>
                  <a:close/>
                  <a:moveTo>
                    <a:pt x="9850" y="0"/>
                  </a:moveTo>
                  <a:cubicBezTo>
                    <a:pt x="9464" y="0"/>
                    <a:pt x="9152" y="312"/>
                    <a:pt x="9152" y="698"/>
                  </a:cubicBezTo>
                  <a:lnTo>
                    <a:pt x="9152" y="2564"/>
                  </a:lnTo>
                  <a:cubicBezTo>
                    <a:pt x="8324" y="2777"/>
                    <a:pt x="7530" y="3105"/>
                    <a:pt x="6793" y="3539"/>
                  </a:cubicBezTo>
                  <a:lnTo>
                    <a:pt x="5474" y="2221"/>
                  </a:lnTo>
                  <a:cubicBezTo>
                    <a:pt x="5338" y="2085"/>
                    <a:pt x="5159" y="2017"/>
                    <a:pt x="4981" y="2017"/>
                  </a:cubicBezTo>
                  <a:cubicBezTo>
                    <a:pt x="4802" y="2017"/>
                    <a:pt x="4624" y="2085"/>
                    <a:pt x="4487" y="2221"/>
                  </a:cubicBezTo>
                  <a:lnTo>
                    <a:pt x="2222" y="4487"/>
                  </a:lnTo>
                  <a:cubicBezTo>
                    <a:pt x="1949" y="4759"/>
                    <a:pt x="1949" y="5201"/>
                    <a:pt x="2222" y="5473"/>
                  </a:cubicBezTo>
                  <a:lnTo>
                    <a:pt x="3541" y="6791"/>
                  </a:lnTo>
                  <a:cubicBezTo>
                    <a:pt x="3107" y="7528"/>
                    <a:pt x="2777" y="8322"/>
                    <a:pt x="2564" y="9150"/>
                  </a:cubicBezTo>
                  <a:lnTo>
                    <a:pt x="699" y="9150"/>
                  </a:lnTo>
                  <a:cubicBezTo>
                    <a:pt x="313" y="9150"/>
                    <a:pt x="1" y="9462"/>
                    <a:pt x="1" y="9848"/>
                  </a:cubicBezTo>
                  <a:lnTo>
                    <a:pt x="1" y="13053"/>
                  </a:lnTo>
                  <a:cubicBezTo>
                    <a:pt x="1" y="13438"/>
                    <a:pt x="313" y="13751"/>
                    <a:pt x="699" y="13751"/>
                  </a:cubicBezTo>
                  <a:lnTo>
                    <a:pt x="2564" y="13751"/>
                  </a:lnTo>
                  <a:cubicBezTo>
                    <a:pt x="2777" y="14579"/>
                    <a:pt x="3106" y="15373"/>
                    <a:pt x="3541" y="16109"/>
                  </a:cubicBezTo>
                  <a:lnTo>
                    <a:pt x="2222" y="17427"/>
                  </a:lnTo>
                  <a:cubicBezTo>
                    <a:pt x="1949" y="17701"/>
                    <a:pt x="1949" y="18142"/>
                    <a:pt x="2222" y="18415"/>
                  </a:cubicBezTo>
                  <a:lnTo>
                    <a:pt x="4487" y="20681"/>
                  </a:lnTo>
                  <a:cubicBezTo>
                    <a:pt x="4624" y="20817"/>
                    <a:pt x="4802" y="20885"/>
                    <a:pt x="4981" y="20885"/>
                  </a:cubicBezTo>
                  <a:cubicBezTo>
                    <a:pt x="5159" y="20885"/>
                    <a:pt x="5338" y="20817"/>
                    <a:pt x="5474" y="20681"/>
                  </a:cubicBezTo>
                  <a:lnTo>
                    <a:pt x="6793" y="19362"/>
                  </a:lnTo>
                  <a:cubicBezTo>
                    <a:pt x="7530" y="19796"/>
                    <a:pt x="8324" y="20124"/>
                    <a:pt x="9152" y="20339"/>
                  </a:cubicBezTo>
                  <a:lnTo>
                    <a:pt x="9152" y="22204"/>
                  </a:lnTo>
                  <a:cubicBezTo>
                    <a:pt x="9152" y="22588"/>
                    <a:pt x="9464" y="22901"/>
                    <a:pt x="9850" y="22901"/>
                  </a:cubicBezTo>
                  <a:lnTo>
                    <a:pt x="13055" y="22901"/>
                  </a:lnTo>
                  <a:cubicBezTo>
                    <a:pt x="13439" y="22901"/>
                    <a:pt x="13751" y="22588"/>
                    <a:pt x="13751" y="22204"/>
                  </a:cubicBezTo>
                  <a:lnTo>
                    <a:pt x="13751" y="20339"/>
                  </a:lnTo>
                  <a:cubicBezTo>
                    <a:pt x="14581" y="20124"/>
                    <a:pt x="15373" y="19796"/>
                    <a:pt x="16110" y="19362"/>
                  </a:cubicBezTo>
                  <a:lnTo>
                    <a:pt x="17429" y="20680"/>
                  </a:lnTo>
                  <a:cubicBezTo>
                    <a:pt x="17566" y="20816"/>
                    <a:pt x="17744" y="20884"/>
                    <a:pt x="17923" y="20884"/>
                  </a:cubicBezTo>
                  <a:cubicBezTo>
                    <a:pt x="18101" y="20884"/>
                    <a:pt x="18280" y="20816"/>
                    <a:pt x="18416" y="20680"/>
                  </a:cubicBezTo>
                  <a:lnTo>
                    <a:pt x="20682" y="18414"/>
                  </a:lnTo>
                  <a:cubicBezTo>
                    <a:pt x="20954" y="18142"/>
                    <a:pt x="20954" y="17700"/>
                    <a:pt x="20682" y="17427"/>
                  </a:cubicBezTo>
                  <a:lnTo>
                    <a:pt x="19364" y="16109"/>
                  </a:lnTo>
                  <a:cubicBezTo>
                    <a:pt x="19798" y="15373"/>
                    <a:pt x="20126" y="14579"/>
                    <a:pt x="20339" y="13751"/>
                  </a:cubicBezTo>
                  <a:lnTo>
                    <a:pt x="22205" y="13751"/>
                  </a:lnTo>
                  <a:cubicBezTo>
                    <a:pt x="22591" y="13751"/>
                    <a:pt x="22903" y="13438"/>
                    <a:pt x="22903" y="13053"/>
                  </a:cubicBezTo>
                  <a:lnTo>
                    <a:pt x="22903" y="9850"/>
                  </a:lnTo>
                  <a:cubicBezTo>
                    <a:pt x="22903" y="9465"/>
                    <a:pt x="22592" y="9152"/>
                    <a:pt x="22208" y="9152"/>
                  </a:cubicBezTo>
                  <a:cubicBezTo>
                    <a:pt x="22207" y="9152"/>
                    <a:pt x="22206" y="9152"/>
                    <a:pt x="22205" y="9152"/>
                  </a:cubicBezTo>
                  <a:lnTo>
                    <a:pt x="20339" y="9152"/>
                  </a:lnTo>
                  <a:cubicBezTo>
                    <a:pt x="20126" y="8322"/>
                    <a:pt x="19798" y="7530"/>
                    <a:pt x="19364" y="6793"/>
                  </a:cubicBezTo>
                  <a:lnTo>
                    <a:pt x="20682" y="5473"/>
                  </a:lnTo>
                  <a:cubicBezTo>
                    <a:pt x="20954" y="5201"/>
                    <a:pt x="20954" y="4759"/>
                    <a:pt x="20682" y="4487"/>
                  </a:cubicBezTo>
                  <a:lnTo>
                    <a:pt x="18416" y="2221"/>
                  </a:lnTo>
                  <a:cubicBezTo>
                    <a:pt x="18280" y="2085"/>
                    <a:pt x="18101" y="2017"/>
                    <a:pt x="17923" y="2017"/>
                  </a:cubicBezTo>
                  <a:cubicBezTo>
                    <a:pt x="17744" y="2017"/>
                    <a:pt x="17566" y="2085"/>
                    <a:pt x="17429" y="2221"/>
                  </a:cubicBezTo>
                  <a:lnTo>
                    <a:pt x="16110" y="3541"/>
                  </a:lnTo>
                  <a:cubicBezTo>
                    <a:pt x="15373" y="3105"/>
                    <a:pt x="14581" y="2777"/>
                    <a:pt x="13751" y="2564"/>
                  </a:cubicBezTo>
                  <a:lnTo>
                    <a:pt x="13751" y="698"/>
                  </a:lnTo>
                  <a:cubicBezTo>
                    <a:pt x="13751" y="312"/>
                    <a:pt x="13439" y="0"/>
                    <a:pt x="13055" y="0"/>
                  </a:cubicBezTo>
                  <a:close/>
                </a:path>
              </a:pathLst>
            </a:custGeom>
            <a:noFill/>
            <a:ln w="9525" cap="flat" cmpd="sng">
              <a:solidFill>
                <a:srgbClr val="D7DFE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116" name="Google Shape;8116;p105"/>
            <p:cNvSpPr/>
            <p:nvPr/>
          </p:nvSpPr>
          <p:spPr>
            <a:xfrm>
              <a:off x="4560958" y="4423127"/>
              <a:ext cx="526025" cy="525979"/>
            </a:xfrm>
            <a:custGeom>
              <a:avLst/>
              <a:gdLst/>
              <a:ahLst/>
              <a:cxnLst/>
              <a:rect l="l" t="t" r="r" b="b"/>
              <a:pathLst>
                <a:path w="22903" h="22901" extrusionOk="0">
                  <a:moveTo>
                    <a:pt x="11452" y="4551"/>
                  </a:moveTo>
                  <a:cubicBezTo>
                    <a:pt x="15263" y="4551"/>
                    <a:pt x="18352" y="7640"/>
                    <a:pt x="18352" y="11451"/>
                  </a:cubicBezTo>
                  <a:cubicBezTo>
                    <a:pt x="18352" y="15262"/>
                    <a:pt x="15263" y="18350"/>
                    <a:pt x="11452" y="18350"/>
                  </a:cubicBezTo>
                  <a:lnTo>
                    <a:pt x="11452" y="18351"/>
                  </a:lnTo>
                  <a:cubicBezTo>
                    <a:pt x="7640" y="18351"/>
                    <a:pt x="4552" y="15262"/>
                    <a:pt x="4552" y="11451"/>
                  </a:cubicBezTo>
                  <a:cubicBezTo>
                    <a:pt x="4552" y="7640"/>
                    <a:pt x="7640" y="4551"/>
                    <a:pt x="11452" y="4551"/>
                  </a:cubicBezTo>
                  <a:close/>
                  <a:moveTo>
                    <a:pt x="9850" y="0"/>
                  </a:moveTo>
                  <a:cubicBezTo>
                    <a:pt x="9464" y="0"/>
                    <a:pt x="9152" y="312"/>
                    <a:pt x="9152" y="698"/>
                  </a:cubicBezTo>
                  <a:lnTo>
                    <a:pt x="9152" y="2564"/>
                  </a:lnTo>
                  <a:cubicBezTo>
                    <a:pt x="8324" y="2777"/>
                    <a:pt x="7530" y="3105"/>
                    <a:pt x="6793" y="3539"/>
                  </a:cubicBezTo>
                  <a:lnTo>
                    <a:pt x="5474" y="2221"/>
                  </a:lnTo>
                  <a:cubicBezTo>
                    <a:pt x="5338" y="2085"/>
                    <a:pt x="5159" y="2017"/>
                    <a:pt x="4981" y="2017"/>
                  </a:cubicBezTo>
                  <a:cubicBezTo>
                    <a:pt x="4802" y="2017"/>
                    <a:pt x="4624" y="2085"/>
                    <a:pt x="4487" y="2221"/>
                  </a:cubicBezTo>
                  <a:lnTo>
                    <a:pt x="2222" y="4487"/>
                  </a:lnTo>
                  <a:cubicBezTo>
                    <a:pt x="1949" y="4759"/>
                    <a:pt x="1949" y="5201"/>
                    <a:pt x="2222" y="5473"/>
                  </a:cubicBezTo>
                  <a:lnTo>
                    <a:pt x="3541" y="6791"/>
                  </a:lnTo>
                  <a:cubicBezTo>
                    <a:pt x="3107" y="7528"/>
                    <a:pt x="2777" y="8322"/>
                    <a:pt x="2564" y="9150"/>
                  </a:cubicBezTo>
                  <a:lnTo>
                    <a:pt x="699" y="9150"/>
                  </a:lnTo>
                  <a:cubicBezTo>
                    <a:pt x="313" y="9150"/>
                    <a:pt x="1" y="9462"/>
                    <a:pt x="1" y="9848"/>
                  </a:cubicBezTo>
                  <a:lnTo>
                    <a:pt x="1" y="13053"/>
                  </a:lnTo>
                  <a:cubicBezTo>
                    <a:pt x="1" y="13438"/>
                    <a:pt x="313" y="13751"/>
                    <a:pt x="699" y="13751"/>
                  </a:cubicBezTo>
                  <a:lnTo>
                    <a:pt x="2564" y="13751"/>
                  </a:lnTo>
                  <a:cubicBezTo>
                    <a:pt x="2777" y="14579"/>
                    <a:pt x="3106" y="15373"/>
                    <a:pt x="3541" y="16109"/>
                  </a:cubicBezTo>
                  <a:lnTo>
                    <a:pt x="2222" y="17427"/>
                  </a:lnTo>
                  <a:cubicBezTo>
                    <a:pt x="1949" y="17701"/>
                    <a:pt x="1949" y="18142"/>
                    <a:pt x="2222" y="18415"/>
                  </a:cubicBezTo>
                  <a:lnTo>
                    <a:pt x="4487" y="20681"/>
                  </a:lnTo>
                  <a:cubicBezTo>
                    <a:pt x="4624" y="20817"/>
                    <a:pt x="4802" y="20885"/>
                    <a:pt x="4981" y="20885"/>
                  </a:cubicBezTo>
                  <a:cubicBezTo>
                    <a:pt x="5159" y="20885"/>
                    <a:pt x="5338" y="20817"/>
                    <a:pt x="5474" y="20681"/>
                  </a:cubicBezTo>
                  <a:lnTo>
                    <a:pt x="6793" y="19362"/>
                  </a:lnTo>
                  <a:cubicBezTo>
                    <a:pt x="7530" y="19796"/>
                    <a:pt x="8324" y="20124"/>
                    <a:pt x="9152" y="20339"/>
                  </a:cubicBezTo>
                  <a:lnTo>
                    <a:pt x="9152" y="22204"/>
                  </a:lnTo>
                  <a:cubicBezTo>
                    <a:pt x="9152" y="22588"/>
                    <a:pt x="9464" y="22901"/>
                    <a:pt x="9850" y="22901"/>
                  </a:cubicBezTo>
                  <a:lnTo>
                    <a:pt x="13055" y="22901"/>
                  </a:lnTo>
                  <a:cubicBezTo>
                    <a:pt x="13439" y="22901"/>
                    <a:pt x="13751" y="22588"/>
                    <a:pt x="13751" y="22204"/>
                  </a:cubicBezTo>
                  <a:lnTo>
                    <a:pt x="13751" y="20339"/>
                  </a:lnTo>
                  <a:cubicBezTo>
                    <a:pt x="14581" y="20124"/>
                    <a:pt x="15373" y="19796"/>
                    <a:pt x="16110" y="19362"/>
                  </a:cubicBezTo>
                  <a:lnTo>
                    <a:pt x="17429" y="20680"/>
                  </a:lnTo>
                  <a:cubicBezTo>
                    <a:pt x="17566" y="20816"/>
                    <a:pt x="17744" y="20884"/>
                    <a:pt x="17923" y="20884"/>
                  </a:cubicBezTo>
                  <a:cubicBezTo>
                    <a:pt x="18101" y="20884"/>
                    <a:pt x="18280" y="20816"/>
                    <a:pt x="18416" y="20680"/>
                  </a:cubicBezTo>
                  <a:lnTo>
                    <a:pt x="20682" y="18414"/>
                  </a:lnTo>
                  <a:cubicBezTo>
                    <a:pt x="20954" y="18142"/>
                    <a:pt x="20954" y="17700"/>
                    <a:pt x="20682" y="17427"/>
                  </a:cubicBezTo>
                  <a:lnTo>
                    <a:pt x="19364" y="16109"/>
                  </a:lnTo>
                  <a:cubicBezTo>
                    <a:pt x="19798" y="15373"/>
                    <a:pt x="20126" y="14579"/>
                    <a:pt x="20339" y="13751"/>
                  </a:cubicBezTo>
                  <a:lnTo>
                    <a:pt x="22205" y="13751"/>
                  </a:lnTo>
                  <a:cubicBezTo>
                    <a:pt x="22591" y="13751"/>
                    <a:pt x="22903" y="13438"/>
                    <a:pt x="22903" y="13053"/>
                  </a:cubicBezTo>
                  <a:lnTo>
                    <a:pt x="22903" y="9850"/>
                  </a:lnTo>
                  <a:cubicBezTo>
                    <a:pt x="22903" y="9465"/>
                    <a:pt x="22592" y="9152"/>
                    <a:pt x="22208" y="9152"/>
                  </a:cubicBezTo>
                  <a:cubicBezTo>
                    <a:pt x="22207" y="9152"/>
                    <a:pt x="22206" y="9152"/>
                    <a:pt x="22205" y="9152"/>
                  </a:cubicBezTo>
                  <a:lnTo>
                    <a:pt x="20339" y="9152"/>
                  </a:lnTo>
                  <a:cubicBezTo>
                    <a:pt x="20126" y="8322"/>
                    <a:pt x="19798" y="7530"/>
                    <a:pt x="19364" y="6793"/>
                  </a:cubicBezTo>
                  <a:lnTo>
                    <a:pt x="20682" y="5473"/>
                  </a:lnTo>
                  <a:cubicBezTo>
                    <a:pt x="20954" y="5201"/>
                    <a:pt x="20954" y="4759"/>
                    <a:pt x="20682" y="4487"/>
                  </a:cubicBezTo>
                  <a:lnTo>
                    <a:pt x="18416" y="2221"/>
                  </a:lnTo>
                  <a:cubicBezTo>
                    <a:pt x="18280" y="2085"/>
                    <a:pt x="18101" y="2017"/>
                    <a:pt x="17923" y="2017"/>
                  </a:cubicBezTo>
                  <a:cubicBezTo>
                    <a:pt x="17744" y="2017"/>
                    <a:pt x="17566" y="2085"/>
                    <a:pt x="17429" y="2221"/>
                  </a:cubicBezTo>
                  <a:lnTo>
                    <a:pt x="16110" y="3541"/>
                  </a:lnTo>
                  <a:cubicBezTo>
                    <a:pt x="15373" y="3105"/>
                    <a:pt x="14581" y="2777"/>
                    <a:pt x="13751" y="2564"/>
                  </a:cubicBezTo>
                  <a:lnTo>
                    <a:pt x="13751" y="698"/>
                  </a:lnTo>
                  <a:cubicBezTo>
                    <a:pt x="13751" y="312"/>
                    <a:pt x="13439" y="0"/>
                    <a:pt x="13055" y="0"/>
                  </a:cubicBezTo>
                  <a:close/>
                </a:path>
              </a:pathLst>
            </a:custGeom>
            <a:noFill/>
            <a:ln w="9525" cap="flat" cmpd="sng">
              <a:solidFill>
                <a:srgbClr val="D7DFE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8117" name="Google Shape;8117;p105"/>
          <p:cNvGrpSpPr/>
          <p:nvPr/>
        </p:nvGrpSpPr>
        <p:grpSpPr>
          <a:xfrm>
            <a:off x="1019051" y="4855454"/>
            <a:ext cx="1727843" cy="862116"/>
            <a:chOff x="834100" y="3642869"/>
            <a:chExt cx="1259483" cy="628426"/>
          </a:xfrm>
        </p:grpSpPr>
        <p:sp>
          <p:nvSpPr>
            <p:cNvPr id="8118" name="Google Shape;8118;p105"/>
            <p:cNvSpPr/>
            <p:nvPr/>
          </p:nvSpPr>
          <p:spPr>
            <a:xfrm>
              <a:off x="1557115" y="4061516"/>
              <a:ext cx="127079" cy="163426"/>
            </a:xfrm>
            <a:custGeom>
              <a:avLst/>
              <a:gdLst/>
              <a:ahLst/>
              <a:cxnLst/>
              <a:rect l="l" t="t" r="r" b="b"/>
              <a:pathLst>
                <a:path w="28816" h="37079" fill="none" extrusionOk="0">
                  <a:moveTo>
                    <a:pt x="28815" y="37078"/>
                  </a:moveTo>
                  <a:lnTo>
                    <a:pt x="17922" y="37078"/>
                  </a:lnTo>
                  <a:cubicBezTo>
                    <a:pt x="14829" y="37078"/>
                    <a:pt x="14212" y="33613"/>
                    <a:pt x="14212" y="33613"/>
                  </a:cubicBezTo>
                  <a:lnTo>
                    <a:pt x="14212" y="10631"/>
                  </a:lnTo>
                  <a:lnTo>
                    <a:pt x="0" y="10631"/>
                  </a:lnTo>
                  <a:lnTo>
                    <a:pt x="0" y="1"/>
                  </a:lnTo>
                </a:path>
              </a:pathLst>
            </a:custGeom>
            <a:noFill/>
            <a:ln w="9525" cap="rnd" cmpd="sng">
              <a:solidFill>
                <a:srgbClr val="CFD9E0"/>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119" name="Google Shape;8119;p105"/>
            <p:cNvSpPr/>
            <p:nvPr/>
          </p:nvSpPr>
          <p:spPr>
            <a:xfrm>
              <a:off x="1847875" y="4224937"/>
              <a:ext cx="161119" cy="4"/>
            </a:xfrm>
            <a:custGeom>
              <a:avLst/>
              <a:gdLst/>
              <a:ahLst/>
              <a:cxnLst/>
              <a:rect l="l" t="t" r="r" b="b"/>
              <a:pathLst>
                <a:path w="36535" h="1" fill="none" extrusionOk="0">
                  <a:moveTo>
                    <a:pt x="1" y="0"/>
                  </a:moveTo>
                  <a:lnTo>
                    <a:pt x="36535" y="0"/>
                  </a:lnTo>
                </a:path>
              </a:pathLst>
            </a:custGeom>
            <a:noFill/>
            <a:ln w="9525" cap="rnd" cmpd="sng">
              <a:solidFill>
                <a:srgbClr val="CFD9E0"/>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120" name="Google Shape;8120;p105"/>
            <p:cNvSpPr/>
            <p:nvPr/>
          </p:nvSpPr>
          <p:spPr>
            <a:xfrm>
              <a:off x="1684189" y="4176763"/>
              <a:ext cx="163690" cy="94532"/>
            </a:xfrm>
            <a:custGeom>
              <a:avLst/>
              <a:gdLst/>
              <a:ahLst/>
              <a:cxnLst/>
              <a:rect l="l" t="t" r="r" b="b"/>
              <a:pathLst>
                <a:path w="37118" h="21448" extrusionOk="0">
                  <a:moveTo>
                    <a:pt x="4950" y="1"/>
                  </a:moveTo>
                  <a:cubicBezTo>
                    <a:pt x="2218" y="1"/>
                    <a:pt x="0" y="2679"/>
                    <a:pt x="0" y="5984"/>
                  </a:cubicBezTo>
                  <a:lnTo>
                    <a:pt x="0" y="15461"/>
                  </a:lnTo>
                  <a:cubicBezTo>
                    <a:pt x="0" y="18766"/>
                    <a:pt x="2218" y="21447"/>
                    <a:pt x="4950" y="21447"/>
                  </a:cubicBezTo>
                  <a:lnTo>
                    <a:pt x="32168" y="21447"/>
                  </a:lnTo>
                  <a:cubicBezTo>
                    <a:pt x="34904" y="21447"/>
                    <a:pt x="37118" y="18766"/>
                    <a:pt x="37118" y="15461"/>
                  </a:cubicBezTo>
                  <a:lnTo>
                    <a:pt x="37118" y="5984"/>
                  </a:lnTo>
                  <a:cubicBezTo>
                    <a:pt x="37118" y="2679"/>
                    <a:pt x="34904" y="1"/>
                    <a:pt x="32168" y="1"/>
                  </a:cubicBezTo>
                  <a:close/>
                </a:path>
              </a:pathLst>
            </a:custGeom>
            <a:noFill/>
            <a:ln w="9525" cap="flat" cmpd="sng">
              <a:solidFill>
                <a:srgbClr val="CFD9E0"/>
              </a:solidFill>
              <a:prstDash val="solid"/>
              <a:miter lim="3647"/>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121" name="Google Shape;8121;p105"/>
            <p:cNvSpPr/>
            <p:nvPr/>
          </p:nvSpPr>
          <p:spPr>
            <a:xfrm>
              <a:off x="1246916" y="3961205"/>
              <a:ext cx="77612" cy="4"/>
            </a:xfrm>
            <a:custGeom>
              <a:avLst/>
              <a:gdLst/>
              <a:ahLst/>
              <a:cxnLst/>
              <a:rect l="l" t="t" r="r" b="b"/>
              <a:pathLst>
                <a:path w="17599" h="1" fill="none" extrusionOk="0">
                  <a:moveTo>
                    <a:pt x="17598" y="0"/>
                  </a:moveTo>
                  <a:lnTo>
                    <a:pt x="1" y="0"/>
                  </a:lnTo>
                </a:path>
              </a:pathLst>
            </a:custGeom>
            <a:noFill/>
            <a:ln w="9525" cap="rnd" cmpd="sng">
              <a:solidFill>
                <a:srgbClr val="CFD9E0"/>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122" name="Google Shape;8122;p105"/>
            <p:cNvSpPr/>
            <p:nvPr/>
          </p:nvSpPr>
          <p:spPr>
            <a:xfrm>
              <a:off x="854078" y="3861292"/>
              <a:ext cx="154429" cy="4"/>
            </a:xfrm>
            <a:custGeom>
              <a:avLst/>
              <a:gdLst/>
              <a:ahLst/>
              <a:cxnLst/>
              <a:rect l="l" t="t" r="r" b="b"/>
              <a:pathLst>
                <a:path w="35018" h="1" fill="none" extrusionOk="0">
                  <a:moveTo>
                    <a:pt x="35017" y="1"/>
                  </a:moveTo>
                  <a:lnTo>
                    <a:pt x="1" y="1"/>
                  </a:lnTo>
                </a:path>
              </a:pathLst>
            </a:custGeom>
            <a:noFill/>
            <a:ln w="9525" cap="rnd" cmpd="sng">
              <a:solidFill>
                <a:srgbClr val="CFD9E0"/>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123" name="Google Shape;8123;p105"/>
            <p:cNvSpPr/>
            <p:nvPr/>
          </p:nvSpPr>
          <p:spPr>
            <a:xfrm>
              <a:off x="1164630" y="3861309"/>
              <a:ext cx="79574" cy="199792"/>
            </a:xfrm>
            <a:custGeom>
              <a:avLst/>
              <a:gdLst/>
              <a:ahLst/>
              <a:cxnLst/>
              <a:rect l="l" t="t" r="r" b="b"/>
              <a:pathLst>
                <a:path w="18044" h="45330" fill="none" extrusionOk="0">
                  <a:moveTo>
                    <a:pt x="0" y="45330"/>
                  </a:moveTo>
                  <a:lnTo>
                    <a:pt x="12418" y="45330"/>
                  </a:lnTo>
                  <a:cubicBezTo>
                    <a:pt x="15150" y="45330"/>
                    <a:pt x="18043" y="42619"/>
                    <a:pt x="18043" y="35634"/>
                  </a:cubicBezTo>
                  <a:lnTo>
                    <a:pt x="18043" y="9697"/>
                  </a:lnTo>
                  <a:cubicBezTo>
                    <a:pt x="18043" y="2711"/>
                    <a:pt x="15150" y="1"/>
                    <a:pt x="12418" y="1"/>
                  </a:cubicBezTo>
                  <a:lnTo>
                    <a:pt x="1715" y="1"/>
                  </a:lnTo>
                </a:path>
              </a:pathLst>
            </a:custGeom>
            <a:noFill/>
            <a:ln w="9525" cap="rnd" cmpd="sng">
              <a:solidFill>
                <a:srgbClr val="CFD9E0"/>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124" name="Google Shape;8124;p105"/>
            <p:cNvSpPr/>
            <p:nvPr/>
          </p:nvSpPr>
          <p:spPr>
            <a:xfrm>
              <a:off x="854078" y="4061097"/>
              <a:ext cx="146866" cy="4"/>
            </a:xfrm>
            <a:custGeom>
              <a:avLst/>
              <a:gdLst/>
              <a:ahLst/>
              <a:cxnLst/>
              <a:rect l="l" t="t" r="r" b="b"/>
              <a:pathLst>
                <a:path w="33303" h="1" fill="none" extrusionOk="0">
                  <a:moveTo>
                    <a:pt x="1" y="1"/>
                  </a:moveTo>
                  <a:lnTo>
                    <a:pt x="33303" y="1"/>
                  </a:lnTo>
                </a:path>
              </a:pathLst>
            </a:custGeom>
            <a:noFill/>
            <a:ln w="9525" cap="rnd" cmpd="sng">
              <a:solidFill>
                <a:srgbClr val="CFD9E0"/>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125" name="Google Shape;8125;p105"/>
            <p:cNvSpPr/>
            <p:nvPr/>
          </p:nvSpPr>
          <p:spPr>
            <a:xfrm>
              <a:off x="1000939" y="4005884"/>
              <a:ext cx="163695" cy="94514"/>
            </a:xfrm>
            <a:custGeom>
              <a:avLst/>
              <a:gdLst/>
              <a:ahLst/>
              <a:cxnLst/>
              <a:rect l="l" t="t" r="r" b="b"/>
              <a:pathLst>
                <a:path w="37119" h="21444" extrusionOk="0">
                  <a:moveTo>
                    <a:pt x="4947" y="1"/>
                  </a:moveTo>
                  <a:cubicBezTo>
                    <a:pt x="2215" y="1"/>
                    <a:pt x="1" y="2678"/>
                    <a:pt x="1" y="5983"/>
                  </a:cubicBezTo>
                  <a:lnTo>
                    <a:pt x="1" y="15461"/>
                  </a:lnTo>
                  <a:cubicBezTo>
                    <a:pt x="1" y="18766"/>
                    <a:pt x="2215" y="21443"/>
                    <a:pt x="4947" y="21443"/>
                  </a:cubicBezTo>
                  <a:lnTo>
                    <a:pt x="32168" y="21443"/>
                  </a:lnTo>
                  <a:cubicBezTo>
                    <a:pt x="34901" y="21443"/>
                    <a:pt x="37118" y="18766"/>
                    <a:pt x="37118" y="15461"/>
                  </a:cubicBezTo>
                  <a:lnTo>
                    <a:pt x="37118" y="5983"/>
                  </a:lnTo>
                  <a:cubicBezTo>
                    <a:pt x="37118" y="2678"/>
                    <a:pt x="34901" y="1"/>
                    <a:pt x="32168" y="1"/>
                  </a:cubicBezTo>
                  <a:close/>
                </a:path>
              </a:pathLst>
            </a:custGeom>
            <a:noFill/>
            <a:ln w="9525" cap="flat" cmpd="sng">
              <a:solidFill>
                <a:srgbClr val="CFD9E0"/>
              </a:solidFill>
              <a:prstDash val="solid"/>
              <a:miter lim="3647"/>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126" name="Google Shape;8126;p105"/>
            <p:cNvSpPr/>
            <p:nvPr/>
          </p:nvSpPr>
          <p:spPr>
            <a:xfrm>
              <a:off x="1008502" y="3822418"/>
              <a:ext cx="163690" cy="94528"/>
            </a:xfrm>
            <a:custGeom>
              <a:avLst/>
              <a:gdLst/>
              <a:ahLst/>
              <a:cxnLst/>
              <a:rect l="l" t="t" r="r" b="b"/>
              <a:pathLst>
                <a:path w="37118" h="21447" extrusionOk="0">
                  <a:moveTo>
                    <a:pt x="4951" y="0"/>
                  </a:moveTo>
                  <a:cubicBezTo>
                    <a:pt x="2218" y="0"/>
                    <a:pt x="0" y="2678"/>
                    <a:pt x="0" y="5983"/>
                  </a:cubicBezTo>
                  <a:lnTo>
                    <a:pt x="0" y="15460"/>
                  </a:lnTo>
                  <a:cubicBezTo>
                    <a:pt x="0" y="18765"/>
                    <a:pt x="2215" y="21446"/>
                    <a:pt x="4951" y="21446"/>
                  </a:cubicBezTo>
                  <a:lnTo>
                    <a:pt x="32168" y="21446"/>
                  </a:lnTo>
                  <a:cubicBezTo>
                    <a:pt x="34900" y="21446"/>
                    <a:pt x="37118" y="18765"/>
                    <a:pt x="37118" y="15460"/>
                  </a:cubicBezTo>
                  <a:lnTo>
                    <a:pt x="37118" y="5983"/>
                  </a:lnTo>
                  <a:cubicBezTo>
                    <a:pt x="37118" y="2678"/>
                    <a:pt x="34900" y="0"/>
                    <a:pt x="32168" y="0"/>
                  </a:cubicBezTo>
                  <a:close/>
                </a:path>
              </a:pathLst>
            </a:custGeom>
            <a:noFill/>
            <a:ln w="9525" cap="flat" cmpd="sng">
              <a:solidFill>
                <a:srgbClr val="CFD9E0"/>
              </a:solidFill>
              <a:prstDash val="solid"/>
              <a:miter lim="3647"/>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127" name="Google Shape;8127;p105"/>
            <p:cNvSpPr/>
            <p:nvPr/>
          </p:nvSpPr>
          <p:spPr>
            <a:xfrm>
              <a:off x="1603156" y="3961205"/>
              <a:ext cx="77612" cy="4"/>
            </a:xfrm>
            <a:custGeom>
              <a:avLst/>
              <a:gdLst/>
              <a:ahLst/>
              <a:cxnLst/>
              <a:rect l="l" t="t" r="r" b="b"/>
              <a:pathLst>
                <a:path w="17599" h="1" fill="none" extrusionOk="0">
                  <a:moveTo>
                    <a:pt x="1" y="0"/>
                  </a:moveTo>
                  <a:lnTo>
                    <a:pt x="17598" y="0"/>
                  </a:lnTo>
                </a:path>
              </a:pathLst>
            </a:custGeom>
            <a:noFill/>
            <a:ln w="9525" cap="rnd" cmpd="sng">
              <a:solidFill>
                <a:srgbClr val="CFD9E0"/>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128" name="Google Shape;8128;p105"/>
            <p:cNvSpPr/>
            <p:nvPr/>
          </p:nvSpPr>
          <p:spPr>
            <a:xfrm>
              <a:off x="1926576" y="3861292"/>
              <a:ext cx="144308" cy="4"/>
            </a:xfrm>
            <a:custGeom>
              <a:avLst/>
              <a:gdLst/>
              <a:ahLst/>
              <a:cxnLst/>
              <a:rect l="l" t="t" r="r" b="b"/>
              <a:pathLst>
                <a:path w="32723" h="1" fill="none" extrusionOk="0">
                  <a:moveTo>
                    <a:pt x="1" y="1"/>
                  </a:moveTo>
                  <a:lnTo>
                    <a:pt x="32723" y="1"/>
                  </a:lnTo>
                </a:path>
              </a:pathLst>
            </a:custGeom>
            <a:noFill/>
            <a:ln w="9525" cap="rnd" cmpd="sng">
              <a:solidFill>
                <a:srgbClr val="CFD9E0"/>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129" name="Google Shape;8129;p105"/>
            <p:cNvSpPr/>
            <p:nvPr/>
          </p:nvSpPr>
          <p:spPr>
            <a:xfrm>
              <a:off x="1680763" y="3861309"/>
              <a:ext cx="82127" cy="199792"/>
            </a:xfrm>
            <a:custGeom>
              <a:avLst/>
              <a:gdLst/>
              <a:ahLst/>
              <a:cxnLst/>
              <a:rect l="l" t="t" r="r" b="b"/>
              <a:pathLst>
                <a:path w="18623" h="45330" fill="none" extrusionOk="0">
                  <a:moveTo>
                    <a:pt x="18623" y="45330"/>
                  </a:moveTo>
                  <a:lnTo>
                    <a:pt x="5625" y="45330"/>
                  </a:lnTo>
                  <a:cubicBezTo>
                    <a:pt x="2889" y="45330"/>
                    <a:pt x="0" y="42619"/>
                    <a:pt x="0" y="35634"/>
                  </a:cubicBezTo>
                  <a:lnTo>
                    <a:pt x="0" y="9697"/>
                  </a:lnTo>
                  <a:cubicBezTo>
                    <a:pt x="0" y="2711"/>
                    <a:pt x="2889" y="1"/>
                    <a:pt x="5625" y="1"/>
                  </a:cubicBezTo>
                  <a:lnTo>
                    <a:pt x="18623" y="1"/>
                  </a:lnTo>
                </a:path>
              </a:pathLst>
            </a:custGeom>
            <a:noFill/>
            <a:ln w="9525" cap="rnd" cmpd="sng">
              <a:solidFill>
                <a:srgbClr val="CFD9E0"/>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130" name="Google Shape;8130;p105"/>
            <p:cNvSpPr/>
            <p:nvPr/>
          </p:nvSpPr>
          <p:spPr>
            <a:xfrm>
              <a:off x="1926576" y="4061097"/>
              <a:ext cx="144308" cy="4"/>
            </a:xfrm>
            <a:custGeom>
              <a:avLst/>
              <a:gdLst/>
              <a:ahLst/>
              <a:cxnLst/>
              <a:rect l="l" t="t" r="r" b="b"/>
              <a:pathLst>
                <a:path w="32723" h="1" fill="none" extrusionOk="0">
                  <a:moveTo>
                    <a:pt x="32723" y="1"/>
                  </a:moveTo>
                  <a:lnTo>
                    <a:pt x="1" y="1"/>
                  </a:lnTo>
                </a:path>
              </a:pathLst>
            </a:custGeom>
            <a:noFill/>
            <a:ln w="9525" cap="rnd" cmpd="sng">
              <a:solidFill>
                <a:srgbClr val="CFD9E0"/>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131" name="Google Shape;8131;p105"/>
            <p:cNvSpPr/>
            <p:nvPr/>
          </p:nvSpPr>
          <p:spPr>
            <a:xfrm>
              <a:off x="1762436" y="3822418"/>
              <a:ext cx="163677" cy="94528"/>
            </a:xfrm>
            <a:custGeom>
              <a:avLst/>
              <a:gdLst/>
              <a:ahLst/>
              <a:cxnLst/>
              <a:rect l="l" t="t" r="r" b="b"/>
              <a:pathLst>
                <a:path w="37115" h="21447" extrusionOk="0">
                  <a:moveTo>
                    <a:pt x="4951" y="0"/>
                  </a:moveTo>
                  <a:cubicBezTo>
                    <a:pt x="2215" y="0"/>
                    <a:pt x="1" y="2678"/>
                    <a:pt x="1" y="5983"/>
                  </a:cubicBezTo>
                  <a:lnTo>
                    <a:pt x="1" y="15460"/>
                  </a:lnTo>
                  <a:cubicBezTo>
                    <a:pt x="1" y="18765"/>
                    <a:pt x="2215" y="21446"/>
                    <a:pt x="4951" y="21446"/>
                  </a:cubicBezTo>
                  <a:lnTo>
                    <a:pt x="32168" y="21446"/>
                  </a:lnTo>
                  <a:cubicBezTo>
                    <a:pt x="34901" y="21446"/>
                    <a:pt x="37115" y="18765"/>
                    <a:pt x="37115" y="15460"/>
                  </a:cubicBezTo>
                  <a:lnTo>
                    <a:pt x="37115" y="5983"/>
                  </a:lnTo>
                  <a:cubicBezTo>
                    <a:pt x="37115" y="2678"/>
                    <a:pt x="34901" y="0"/>
                    <a:pt x="32168" y="0"/>
                  </a:cubicBezTo>
                  <a:close/>
                </a:path>
              </a:pathLst>
            </a:custGeom>
            <a:noFill/>
            <a:ln w="9525" cap="flat" cmpd="sng">
              <a:solidFill>
                <a:srgbClr val="CFD9E0"/>
              </a:solidFill>
              <a:prstDash val="solid"/>
              <a:miter lim="3647"/>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132" name="Google Shape;8132;p105"/>
            <p:cNvSpPr/>
            <p:nvPr/>
          </p:nvSpPr>
          <p:spPr>
            <a:xfrm>
              <a:off x="1762886" y="4005884"/>
              <a:ext cx="163695" cy="94514"/>
            </a:xfrm>
            <a:custGeom>
              <a:avLst/>
              <a:gdLst/>
              <a:ahLst/>
              <a:cxnLst/>
              <a:rect l="l" t="t" r="r" b="b"/>
              <a:pathLst>
                <a:path w="37119" h="21444" extrusionOk="0">
                  <a:moveTo>
                    <a:pt x="4951" y="1"/>
                  </a:moveTo>
                  <a:cubicBezTo>
                    <a:pt x="2219" y="1"/>
                    <a:pt x="1" y="2678"/>
                    <a:pt x="1" y="5983"/>
                  </a:cubicBezTo>
                  <a:lnTo>
                    <a:pt x="1" y="15461"/>
                  </a:lnTo>
                  <a:cubicBezTo>
                    <a:pt x="1" y="18766"/>
                    <a:pt x="2219" y="21443"/>
                    <a:pt x="4951" y="21443"/>
                  </a:cubicBezTo>
                  <a:lnTo>
                    <a:pt x="32168" y="21443"/>
                  </a:lnTo>
                  <a:cubicBezTo>
                    <a:pt x="34901" y="21443"/>
                    <a:pt x="37119" y="18766"/>
                    <a:pt x="37119" y="15461"/>
                  </a:cubicBezTo>
                  <a:lnTo>
                    <a:pt x="37119" y="5983"/>
                  </a:lnTo>
                  <a:cubicBezTo>
                    <a:pt x="37119" y="2678"/>
                    <a:pt x="34901" y="1"/>
                    <a:pt x="32168" y="1"/>
                  </a:cubicBezTo>
                  <a:close/>
                </a:path>
              </a:pathLst>
            </a:custGeom>
            <a:noFill/>
            <a:ln w="9525" cap="flat" cmpd="sng">
              <a:solidFill>
                <a:srgbClr val="CFD9E0"/>
              </a:solidFill>
              <a:prstDash val="solid"/>
              <a:miter lim="3647"/>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133" name="Google Shape;8133;p105"/>
            <p:cNvSpPr/>
            <p:nvPr/>
          </p:nvSpPr>
          <p:spPr>
            <a:xfrm>
              <a:off x="1325004" y="3820086"/>
              <a:ext cx="278558" cy="278382"/>
            </a:xfrm>
            <a:custGeom>
              <a:avLst/>
              <a:gdLst/>
              <a:ahLst/>
              <a:cxnLst/>
              <a:rect l="l" t="t" r="r" b="b"/>
              <a:pathLst>
                <a:path w="63165" h="63161" fill="none" extrusionOk="0">
                  <a:moveTo>
                    <a:pt x="63165" y="31580"/>
                  </a:moveTo>
                  <a:cubicBezTo>
                    <a:pt x="63165" y="49021"/>
                    <a:pt x="49025" y="63161"/>
                    <a:pt x="31585" y="63161"/>
                  </a:cubicBezTo>
                  <a:cubicBezTo>
                    <a:pt x="14140" y="63161"/>
                    <a:pt x="1" y="49021"/>
                    <a:pt x="1" y="31580"/>
                  </a:cubicBezTo>
                  <a:cubicBezTo>
                    <a:pt x="1" y="14140"/>
                    <a:pt x="14140" y="0"/>
                    <a:pt x="31585" y="0"/>
                  </a:cubicBezTo>
                  <a:cubicBezTo>
                    <a:pt x="49025" y="0"/>
                    <a:pt x="63165" y="14140"/>
                    <a:pt x="63165" y="31580"/>
                  </a:cubicBezTo>
                  <a:close/>
                </a:path>
              </a:pathLst>
            </a:custGeom>
            <a:noFill/>
            <a:ln w="9525" cap="flat" cmpd="sng">
              <a:solidFill>
                <a:srgbClr val="CFD9E0"/>
              </a:solidFill>
              <a:prstDash val="solid"/>
              <a:miter lim="3647"/>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134" name="Google Shape;8134;p105"/>
            <p:cNvSpPr/>
            <p:nvPr/>
          </p:nvSpPr>
          <p:spPr>
            <a:xfrm>
              <a:off x="1235816" y="3689223"/>
              <a:ext cx="134752" cy="171223"/>
            </a:xfrm>
            <a:custGeom>
              <a:avLst/>
              <a:gdLst/>
              <a:ahLst/>
              <a:cxnLst/>
              <a:rect l="l" t="t" r="r" b="b"/>
              <a:pathLst>
                <a:path w="30556" h="38848" fill="none" extrusionOk="0">
                  <a:moveTo>
                    <a:pt x="1" y="1"/>
                  </a:moveTo>
                  <a:lnTo>
                    <a:pt x="12633" y="1"/>
                  </a:lnTo>
                  <a:cubicBezTo>
                    <a:pt x="15723" y="1"/>
                    <a:pt x="16343" y="3466"/>
                    <a:pt x="16343" y="3466"/>
                  </a:cubicBezTo>
                  <a:lnTo>
                    <a:pt x="16343" y="26448"/>
                  </a:lnTo>
                  <a:lnTo>
                    <a:pt x="30556" y="26448"/>
                  </a:lnTo>
                  <a:lnTo>
                    <a:pt x="30556" y="38848"/>
                  </a:lnTo>
                </a:path>
              </a:pathLst>
            </a:custGeom>
            <a:noFill/>
            <a:ln w="9525" cap="rnd" cmpd="sng">
              <a:solidFill>
                <a:srgbClr val="CFD9E0"/>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135" name="Google Shape;8135;p105"/>
            <p:cNvSpPr/>
            <p:nvPr/>
          </p:nvSpPr>
          <p:spPr>
            <a:xfrm>
              <a:off x="910512" y="3689223"/>
              <a:ext cx="161618" cy="4"/>
            </a:xfrm>
            <a:custGeom>
              <a:avLst/>
              <a:gdLst/>
              <a:ahLst/>
              <a:cxnLst/>
              <a:rect l="l" t="t" r="r" b="b"/>
              <a:pathLst>
                <a:path w="36648" h="1" fill="none" extrusionOk="0">
                  <a:moveTo>
                    <a:pt x="36648" y="1"/>
                  </a:moveTo>
                  <a:lnTo>
                    <a:pt x="1" y="1"/>
                  </a:lnTo>
                </a:path>
              </a:pathLst>
            </a:custGeom>
            <a:noFill/>
            <a:ln w="9525" cap="rnd" cmpd="sng">
              <a:solidFill>
                <a:srgbClr val="CFD9E0"/>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136" name="Google Shape;8136;p105"/>
            <p:cNvSpPr/>
            <p:nvPr/>
          </p:nvSpPr>
          <p:spPr>
            <a:xfrm>
              <a:off x="1072126" y="3642869"/>
              <a:ext cx="163695" cy="94532"/>
            </a:xfrm>
            <a:custGeom>
              <a:avLst/>
              <a:gdLst/>
              <a:ahLst/>
              <a:cxnLst/>
              <a:rect l="l" t="t" r="r" b="b"/>
              <a:pathLst>
                <a:path w="37119" h="21448" extrusionOk="0">
                  <a:moveTo>
                    <a:pt x="4951" y="1"/>
                  </a:moveTo>
                  <a:cubicBezTo>
                    <a:pt x="2219" y="1"/>
                    <a:pt x="1" y="2682"/>
                    <a:pt x="1" y="5987"/>
                  </a:cubicBezTo>
                  <a:lnTo>
                    <a:pt x="1" y="15464"/>
                  </a:lnTo>
                  <a:cubicBezTo>
                    <a:pt x="1" y="18769"/>
                    <a:pt x="2219" y="21447"/>
                    <a:pt x="4951" y="21447"/>
                  </a:cubicBezTo>
                  <a:lnTo>
                    <a:pt x="32172" y="21447"/>
                  </a:lnTo>
                  <a:cubicBezTo>
                    <a:pt x="34904" y="21447"/>
                    <a:pt x="37119" y="18769"/>
                    <a:pt x="37119" y="15464"/>
                  </a:cubicBezTo>
                  <a:lnTo>
                    <a:pt x="37119" y="5987"/>
                  </a:lnTo>
                  <a:cubicBezTo>
                    <a:pt x="37119" y="2682"/>
                    <a:pt x="34904" y="1"/>
                    <a:pt x="32172" y="1"/>
                  </a:cubicBezTo>
                  <a:close/>
                </a:path>
              </a:pathLst>
            </a:custGeom>
            <a:noFill/>
            <a:ln w="9525" cap="flat" cmpd="sng">
              <a:solidFill>
                <a:srgbClr val="CFD9E0"/>
              </a:solidFill>
              <a:prstDash val="solid"/>
              <a:miter lim="3647"/>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137" name="Google Shape;8137;p105"/>
            <p:cNvSpPr/>
            <p:nvPr/>
          </p:nvSpPr>
          <p:spPr>
            <a:xfrm>
              <a:off x="1235913" y="4073301"/>
              <a:ext cx="134655" cy="151640"/>
            </a:xfrm>
            <a:custGeom>
              <a:avLst/>
              <a:gdLst/>
              <a:ahLst/>
              <a:cxnLst/>
              <a:rect l="l" t="t" r="r" b="b"/>
              <a:pathLst>
                <a:path w="30534" h="34405" fill="none" extrusionOk="0">
                  <a:moveTo>
                    <a:pt x="0" y="34404"/>
                  </a:moveTo>
                  <a:lnTo>
                    <a:pt x="12611" y="34404"/>
                  </a:lnTo>
                  <a:cubicBezTo>
                    <a:pt x="15705" y="34404"/>
                    <a:pt x="16325" y="30939"/>
                    <a:pt x="16325" y="30939"/>
                  </a:cubicBezTo>
                  <a:lnTo>
                    <a:pt x="16325" y="7957"/>
                  </a:lnTo>
                  <a:lnTo>
                    <a:pt x="30534" y="7957"/>
                  </a:lnTo>
                  <a:lnTo>
                    <a:pt x="30534" y="1"/>
                  </a:lnTo>
                </a:path>
              </a:pathLst>
            </a:custGeom>
            <a:noFill/>
            <a:ln w="9525" cap="rnd" cmpd="sng">
              <a:solidFill>
                <a:srgbClr val="CFD9E0"/>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138" name="Google Shape;8138;p105"/>
            <p:cNvSpPr/>
            <p:nvPr/>
          </p:nvSpPr>
          <p:spPr>
            <a:xfrm>
              <a:off x="910512" y="4224937"/>
              <a:ext cx="161618" cy="4"/>
            </a:xfrm>
            <a:custGeom>
              <a:avLst/>
              <a:gdLst/>
              <a:ahLst/>
              <a:cxnLst/>
              <a:rect l="l" t="t" r="r" b="b"/>
              <a:pathLst>
                <a:path w="36648" h="1" fill="none" extrusionOk="0">
                  <a:moveTo>
                    <a:pt x="36648" y="0"/>
                  </a:moveTo>
                  <a:lnTo>
                    <a:pt x="1" y="0"/>
                  </a:lnTo>
                </a:path>
              </a:pathLst>
            </a:custGeom>
            <a:noFill/>
            <a:ln w="9525" cap="rnd" cmpd="sng">
              <a:solidFill>
                <a:srgbClr val="CFD9E0"/>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139" name="Google Shape;8139;p105"/>
            <p:cNvSpPr/>
            <p:nvPr/>
          </p:nvSpPr>
          <p:spPr>
            <a:xfrm>
              <a:off x="1072126" y="4176763"/>
              <a:ext cx="163695" cy="94532"/>
            </a:xfrm>
            <a:custGeom>
              <a:avLst/>
              <a:gdLst/>
              <a:ahLst/>
              <a:cxnLst/>
              <a:rect l="l" t="t" r="r" b="b"/>
              <a:pathLst>
                <a:path w="37119" h="21448" extrusionOk="0">
                  <a:moveTo>
                    <a:pt x="4951" y="1"/>
                  </a:moveTo>
                  <a:cubicBezTo>
                    <a:pt x="2219" y="1"/>
                    <a:pt x="1" y="2679"/>
                    <a:pt x="1" y="5984"/>
                  </a:cubicBezTo>
                  <a:lnTo>
                    <a:pt x="1" y="15461"/>
                  </a:lnTo>
                  <a:cubicBezTo>
                    <a:pt x="1" y="18766"/>
                    <a:pt x="2219" y="21447"/>
                    <a:pt x="4951" y="21447"/>
                  </a:cubicBezTo>
                  <a:lnTo>
                    <a:pt x="32172" y="21447"/>
                  </a:lnTo>
                  <a:cubicBezTo>
                    <a:pt x="34904" y="21447"/>
                    <a:pt x="37119" y="18766"/>
                    <a:pt x="37119" y="15461"/>
                  </a:cubicBezTo>
                  <a:lnTo>
                    <a:pt x="37119" y="5984"/>
                  </a:lnTo>
                  <a:cubicBezTo>
                    <a:pt x="37119" y="2679"/>
                    <a:pt x="34904" y="1"/>
                    <a:pt x="32172" y="1"/>
                  </a:cubicBezTo>
                  <a:close/>
                </a:path>
              </a:pathLst>
            </a:custGeom>
            <a:noFill/>
            <a:ln w="9525" cap="flat" cmpd="sng">
              <a:solidFill>
                <a:srgbClr val="CFD9E0"/>
              </a:solidFill>
              <a:prstDash val="solid"/>
              <a:miter lim="3647"/>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140" name="Google Shape;8140;p105"/>
            <p:cNvSpPr/>
            <p:nvPr/>
          </p:nvSpPr>
          <p:spPr>
            <a:xfrm>
              <a:off x="1562328" y="3689223"/>
              <a:ext cx="128816" cy="171223"/>
            </a:xfrm>
            <a:custGeom>
              <a:avLst/>
              <a:gdLst/>
              <a:ahLst/>
              <a:cxnLst/>
              <a:rect l="l" t="t" r="r" b="b"/>
              <a:pathLst>
                <a:path w="29210" h="38848" fill="none" extrusionOk="0">
                  <a:moveTo>
                    <a:pt x="29209" y="1"/>
                  </a:moveTo>
                  <a:lnTo>
                    <a:pt x="17922" y="1"/>
                  </a:lnTo>
                  <a:cubicBezTo>
                    <a:pt x="14829" y="1"/>
                    <a:pt x="14209" y="3466"/>
                    <a:pt x="14209" y="3466"/>
                  </a:cubicBezTo>
                  <a:lnTo>
                    <a:pt x="14209" y="26448"/>
                  </a:lnTo>
                  <a:lnTo>
                    <a:pt x="0" y="26448"/>
                  </a:lnTo>
                  <a:lnTo>
                    <a:pt x="0" y="38848"/>
                  </a:lnTo>
                </a:path>
              </a:pathLst>
            </a:custGeom>
            <a:noFill/>
            <a:ln w="9525" cap="rnd" cmpd="sng">
              <a:solidFill>
                <a:srgbClr val="CFD9E0"/>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141" name="Google Shape;8141;p105"/>
            <p:cNvSpPr/>
            <p:nvPr/>
          </p:nvSpPr>
          <p:spPr>
            <a:xfrm>
              <a:off x="1854826" y="3689223"/>
              <a:ext cx="154169" cy="4"/>
            </a:xfrm>
            <a:custGeom>
              <a:avLst/>
              <a:gdLst/>
              <a:ahLst/>
              <a:cxnLst/>
              <a:rect l="l" t="t" r="r" b="b"/>
              <a:pathLst>
                <a:path w="34959" h="1" fill="none" extrusionOk="0">
                  <a:moveTo>
                    <a:pt x="1" y="1"/>
                  </a:moveTo>
                  <a:lnTo>
                    <a:pt x="34959" y="1"/>
                  </a:lnTo>
                </a:path>
              </a:pathLst>
            </a:custGeom>
            <a:noFill/>
            <a:ln w="9525" cap="rnd" cmpd="sng">
              <a:solidFill>
                <a:srgbClr val="CFD9E0"/>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142" name="Google Shape;8142;p105"/>
            <p:cNvSpPr/>
            <p:nvPr/>
          </p:nvSpPr>
          <p:spPr>
            <a:xfrm>
              <a:off x="1691140" y="3642869"/>
              <a:ext cx="163690" cy="94532"/>
            </a:xfrm>
            <a:custGeom>
              <a:avLst/>
              <a:gdLst/>
              <a:ahLst/>
              <a:cxnLst/>
              <a:rect l="l" t="t" r="r" b="b"/>
              <a:pathLst>
                <a:path w="37118" h="21448" extrusionOk="0">
                  <a:moveTo>
                    <a:pt x="4947" y="1"/>
                  </a:moveTo>
                  <a:cubicBezTo>
                    <a:pt x="2214" y="1"/>
                    <a:pt x="0" y="2682"/>
                    <a:pt x="0" y="5987"/>
                  </a:cubicBezTo>
                  <a:lnTo>
                    <a:pt x="0" y="15464"/>
                  </a:lnTo>
                  <a:cubicBezTo>
                    <a:pt x="0" y="18769"/>
                    <a:pt x="2214" y="21447"/>
                    <a:pt x="4950" y="21447"/>
                  </a:cubicBezTo>
                  <a:lnTo>
                    <a:pt x="32168" y="21447"/>
                  </a:lnTo>
                  <a:cubicBezTo>
                    <a:pt x="34900" y="21447"/>
                    <a:pt x="37118" y="18769"/>
                    <a:pt x="37118" y="15464"/>
                  </a:cubicBezTo>
                  <a:lnTo>
                    <a:pt x="37118" y="5987"/>
                  </a:lnTo>
                  <a:cubicBezTo>
                    <a:pt x="37118" y="2682"/>
                    <a:pt x="34900" y="1"/>
                    <a:pt x="32168" y="1"/>
                  </a:cubicBezTo>
                  <a:close/>
                </a:path>
              </a:pathLst>
            </a:custGeom>
            <a:noFill/>
            <a:ln w="9525" cap="flat" cmpd="sng">
              <a:solidFill>
                <a:srgbClr val="CFD9E0"/>
              </a:solidFill>
              <a:prstDash val="solid"/>
              <a:miter lim="3647"/>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nvGrpSpPr>
            <p:cNvPr id="8143" name="Google Shape;8143;p105"/>
            <p:cNvGrpSpPr/>
            <p:nvPr/>
          </p:nvGrpSpPr>
          <p:grpSpPr>
            <a:xfrm>
              <a:off x="1360364" y="3847835"/>
              <a:ext cx="208119" cy="224359"/>
              <a:chOff x="1360769" y="3847100"/>
              <a:chExt cx="208119" cy="224359"/>
            </a:xfrm>
          </p:grpSpPr>
          <p:sp>
            <p:nvSpPr>
              <p:cNvPr id="8144" name="Google Shape;8144;p105"/>
              <p:cNvSpPr/>
              <p:nvPr/>
            </p:nvSpPr>
            <p:spPr>
              <a:xfrm>
                <a:off x="1360769" y="3847113"/>
                <a:ext cx="99163" cy="224346"/>
              </a:xfrm>
              <a:custGeom>
                <a:avLst/>
                <a:gdLst/>
                <a:ahLst/>
                <a:cxnLst/>
                <a:rect l="l" t="t" r="r" b="b"/>
                <a:pathLst>
                  <a:path w="22486" h="50901" fill="none" extrusionOk="0">
                    <a:moveTo>
                      <a:pt x="22384" y="2729"/>
                    </a:moveTo>
                    <a:cubicBezTo>
                      <a:pt x="22333" y="2383"/>
                      <a:pt x="22249" y="2040"/>
                      <a:pt x="22128" y="1711"/>
                    </a:cubicBezTo>
                    <a:cubicBezTo>
                      <a:pt x="21742" y="675"/>
                      <a:pt x="20979" y="1"/>
                      <a:pt x="19582" y="1"/>
                    </a:cubicBezTo>
                    <a:cubicBezTo>
                      <a:pt x="17966" y="1"/>
                      <a:pt x="17204" y="913"/>
                      <a:pt x="16883" y="2229"/>
                    </a:cubicBezTo>
                    <a:cubicBezTo>
                      <a:pt x="13443" y="1682"/>
                      <a:pt x="10331" y="4356"/>
                      <a:pt x="10353" y="7840"/>
                    </a:cubicBezTo>
                    <a:cubicBezTo>
                      <a:pt x="10353" y="7997"/>
                      <a:pt x="10364" y="8150"/>
                      <a:pt x="10378" y="8300"/>
                    </a:cubicBezTo>
                    <a:cubicBezTo>
                      <a:pt x="7945" y="7307"/>
                      <a:pt x="5147" y="7957"/>
                      <a:pt x="3404" y="9923"/>
                    </a:cubicBezTo>
                    <a:cubicBezTo>
                      <a:pt x="1660" y="11889"/>
                      <a:pt x="1343" y="14742"/>
                      <a:pt x="2616" y="17040"/>
                    </a:cubicBezTo>
                    <a:cubicBezTo>
                      <a:pt x="930" y="18382"/>
                      <a:pt x="0" y="20454"/>
                      <a:pt x="120" y="22607"/>
                    </a:cubicBezTo>
                    <a:cubicBezTo>
                      <a:pt x="241" y="24755"/>
                      <a:pt x="1394" y="26714"/>
                      <a:pt x="3218" y="27860"/>
                    </a:cubicBezTo>
                    <a:cubicBezTo>
                      <a:pt x="748" y="30913"/>
                      <a:pt x="1707" y="35462"/>
                      <a:pt x="5202" y="37260"/>
                    </a:cubicBezTo>
                    <a:cubicBezTo>
                      <a:pt x="5173" y="37490"/>
                      <a:pt x="5162" y="37720"/>
                      <a:pt x="5162" y="37954"/>
                    </a:cubicBezTo>
                    <a:cubicBezTo>
                      <a:pt x="5162" y="40832"/>
                      <a:pt x="7125" y="43243"/>
                      <a:pt x="9784" y="43943"/>
                    </a:cubicBezTo>
                    <a:cubicBezTo>
                      <a:pt x="10776" y="46782"/>
                      <a:pt x="13818" y="48350"/>
                      <a:pt x="16708" y="47511"/>
                    </a:cubicBezTo>
                    <a:cubicBezTo>
                      <a:pt x="16835" y="49437"/>
                      <a:pt x="17525" y="50900"/>
                      <a:pt x="19582" y="50900"/>
                    </a:cubicBezTo>
                    <a:cubicBezTo>
                      <a:pt x="22482" y="50900"/>
                      <a:pt x="22439" y="48390"/>
                      <a:pt x="22482" y="48401"/>
                    </a:cubicBezTo>
                    <a:cubicBezTo>
                      <a:pt x="22486" y="48401"/>
                      <a:pt x="22417" y="2722"/>
                      <a:pt x="22384" y="2729"/>
                    </a:cubicBezTo>
                    <a:close/>
                  </a:path>
                </a:pathLst>
              </a:custGeom>
              <a:noFill/>
              <a:ln w="9525" cap="flat" cmpd="sng">
                <a:solidFill>
                  <a:srgbClr val="E4E9ED"/>
                </a:solidFill>
                <a:prstDash val="solid"/>
                <a:miter lim="3647"/>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145" name="Google Shape;8145;p105"/>
              <p:cNvSpPr/>
              <p:nvPr/>
            </p:nvSpPr>
            <p:spPr>
              <a:xfrm>
                <a:off x="1418941" y="3907967"/>
                <a:ext cx="40718" cy="51312"/>
              </a:xfrm>
              <a:custGeom>
                <a:avLst/>
                <a:gdLst/>
                <a:ahLst/>
                <a:cxnLst/>
                <a:rect l="l" t="t" r="r" b="b"/>
                <a:pathLst>
                  <a:path w="9233" h="11642" fill="none" extrusionOk="0">
                    <a:moveTo>
                      <a:pt x="9233" y="1"/>
                    </a:moveTo>
                    <a:cubicBezTo>
                      <a:pt x="9233" y="1"/>
                      <a:pt x="0" y="570"/>
                      <a:pt x="2586" y="11641"/>
                    </a:cubicBezTo>
                  </a:path>
                </a:pathLst>
              </a:custGeom>
              <a:noFill/>
              <a:ln w="9525" cap="rnd" cmpd="sng">
                <a:solidFill>
                  <a:srgbClr val="FFFFFF"/>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146" name="Google Shape;8146;p105"/>
              <p:cNvSpPr/>
              <p:nvPr/>
            </p:nvSpPr>
            <p:spPr>
              <a:xfrm>
                <a:off x="1432983" y="3877824"/>
                <a:ext cx="26566" cy="25035"/>
              </a:xfrm>
              <a:custGeom>
                <a:avLst/>
                <a:gdLst/>
                <a:ahLst/>
                <a:cxnLst/>
                <a:rect l="l" t="t" r="r" b="b"/>
                <a:pathLst>
                  <a:path w="6024" h="5680" fill="none" extrusionOk="0">
                    <a:moveTo>
                      <a:pt x="1" y="1795"/>
                    </a:moveTo>
                    <a:cubicBezTo>
                      <a:pt x="1" y="1795"/>
                      <a:pt x="6023" y="0"/>
                      <a:pt x="6023" y="5680"/>
                    </a:cubicBezTo>
                  </a:path>
                </a:pathLst>
              </a:custGeom>
              <a:noFill/>
              <a:ln w="9525" cap="rnd" cmpd="sng">
                <a:solidFill>
                  <a:srgbClr val="FFFFFF"/>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147" name="Google Shape;8147;p105"/>
              <p:cNvSpPr/>
              <p:nvPr/>
            </p:nvSpPr>
            <p:spPr>
              <a:xfrm>
                <a:off x="1406421" y="3881663"/>
                <a:ext cx="8727" cy="21196"/>
              </a:xfrm>
              <a:custGeom>
                <a:avLst/>
                <a:gdLst/>
                <a:ahLst/>
                <a:cxnLst/>
                <a:rect l="l" t="t" r="r" b="b"/>
                <a:pathLst>
                  <a:path w="1979" h="4809" fill="none" extrusionOk="0">
                    <a:moveTo>
                      <a:pt x="1" y="1"/>
                    </a:moveTo>
                    <a:cubicBezTo>
                      <a:pt x="1" y="1"/>
                      <a:pt x="1" y="2730"/>
                      <a:pt x="1978" y="4809"/>
                    </a:cubicBezTo>
                  </a:path>
                </a:pathLst>
              </a:custGeom>
              <a:noFill/>
              <a:ln w="9525" cap="rnd" cmpd="sng">
                <a:solidFill>
                  <a:srgbClr val="FFFFFF"/>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148" name="Google Shape;8148;p105"/>
              <p:cNvSpPr/>
              <p:nvPr/>
            </p:nvSpPr>
            <p:spPr>
              <a:xfrm>
                <a:off x="1372301" y="3910479"/>
                <a:ext cx="51967" cy="15131"/>
              </a:xfrm>
              <a:custGeom>
                <a:avLst/>
                <a:gdLst/>
                <a:ahLst/>
                <a:cxnLst/>
                <a:rect l="l" t="t" r="r" b="b"/>
                <a:pathLst>
                  <a:path w="11784" h="3433" fill="none" extrusionOk="0">
                    <a:moveTo>
                      <a:pt x="1" y="2663"/>
                    </a:moveTo>
                    <a:cubicBezTo>
                      <a:pt x="3364" y="0"/>
                      <a:pt x="6622" y="3433"/>
                      <a:pt x="6622" y="3433"/>
                    </a:cubicBezTo>
                    <a:cubicBezTo>
                      <a:pt x="6622" y="3433"/>
                      <a:pt x="7307" y="387"/>
                      <a:pt x="11783" y="1653"/>
                    </a:cubicBezTo>
                  </a:path>
                </a:pathLst>
              </a:custGeom>
              <a:noFill/>
              <a:ln w="9525" cap="rnd" cmpd="sng">
                <a:solidFill>
                  <a:srgbClr val="FFFFFF"/>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149" name="Google Shape;8149;p105"/>
              <p:cNvSpPr/>
              <p:nvPr/>
            </p:nvSpPr>
            <p:spPr>
              <a:xfrm>
                <a:off x="1383436" y="3963823"/>
                <a:ext cx="27351" cy="50572"/>
              </a:xfrm>
              <a:custGeom>
                <a:avLst/>
                <a:gdLst/>
                <a:ahLst/>
                <a:cxnLst/>
                <a:rect l="l" t="t" r="r" b="b"/>
                <a:pathLst>
                  <a:path w="6202" h="11474" fill="none" extrusionOk="0">
                    <a:moveTo>
                      <a:pt x="22" y="11474"/>
                    </a:moveTo>
                    <a:cubicBezTo>
                      <a:pt x="22" y="11474"/>
                      <a:pt x="0" y="5735"/>
                      <a:pt x="4440" y="6297"/>
                    </a:cubicBezTo>
                    <a:cubicBezTo>
                      <a:pt x="4440" y="6297"/>
                      <a:pt x="2134" y="3149"/>
                      <a:pt x="6202" y="1"/>
                    </a:cubicBezTo>
                  </a:path>
                </a:pathLst>
              </a:custGeom>
              <a:noFill/>
              <a:ln w="9525" cap="rnd" cmpd="sng">
                <a:solidFill>
                  <a:srgbClr val="FFFFFF"/>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150" name="Google Shape;8150;p105"/>
              <p:cNvSpPr/>
              <p:nvPr/>
            </p:nvSpPr>
            <p:spPr>
              <a:xfrm>
                <a:off x="1398461" y="4014391"/>
                <a:ext cx="12132" cy="31518"/>
              </a:xfrm>
              <a:custGeom>
                <a:avLst/>
                <a:gdLst/>
                <a:ahLst/>
                <a:cxnLst/>
                <a:rect l="l" t="t" r="r" b="b"/>
                <a:pathLst>
                  <a:path w="2751" h="7151" fill="none" extrusionOk="0">
                    <a:moveTo>
                      <a:pt x="2751" y="1"/>
                    </a:moveTo>
                    <a:cubicBezTo>
                      <a:pt x="2751" y="1"/>
                      <a:pt x="0" y="2963"/>
                      <a:pt x="1806" y="7151"/>
                    </a:cubicBezTo>
                  </a:path>
                </a:pathLst>
              </a:custGeom>
              <a:noFill/>
              <a:ln w="9525" cap="rnd" cmpd="sng">
                <a:solidFill>
                  <a:srgbClr val="FFFFFF"/>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151" name="Google Shape;8151;p105"/>
              <p:cNvSpPr/>
              <p:nvPr/>
            </p:nvSpPr>
            <p:spPr>
              <a:xfrm>
                <a:off x="1424264" y="4012138"/>
                <a:ext cx="35284" cy="21165"/>
              </a:xfrm>
              <a:custGeom>
                <a:avLst/>
                <a:gdLst/>
                <a:ahLst/>
                <a:cxnLst/>
                <a:rect l="l" t="t" r="r" b="b"/>
                <a:pathLst>
                  <a:path w="8001" h="4802" fill="none" extrusionOk="0">
                    <a:moveTo>
                      <a:pt x="8000" y="512"/>
                    </a:moveTo>
                    <a:cubicBezTo>
                      <a:pt x="3783" y="1"/>
                      <a:pt x="1978" y="4087"/>
                      <a:pt x="1978" y="4087"/>
                    </a:cubicBezTo>
                    <a:cubicBezTo>
                      <a:pt x="1978" y="4087"/>
                      <a:pt x="858" y="3598"/>
                      <a:pt x="0" y="4802"/>
                    </a:cubicBezTo>
                  </a:path>
                </a:pathLst>
              </a:custGeom>
              <a:noFill/>
              <a:ln w="9525" cap="rnd" cmpd="sng">
                <a:solidFill>
                  <a:srgbClr val="FFFFFF"/>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152" name="Google Shape;8152;p105"/>
              <p:cNvSpPr/>
              <p:nvPr/>
            </p:nvSpPr>
            <p:spPr>
              <a:xfrm>
                <a:off x="1397156" y="3942280"/>
                <a:ext cx="31183" cy="17449"/>
              </a:xfrm>
              <a:custGeom>
                <a:avLst/>
                <a:gdLst/>
                <a:ahLst/>
                <a:cxnLst/>
                <a:rect l="l" t="t" r="r" b="b"/>
                <a:pathLst>
                  <a:path w="7071" h="3959" fill="none" extrusionOk="0">
                    <a:moveTo>
                      <a:pt x="7070" y="1"/>
                    </a:moveTo>
                    <a:cubicBezTo>
                      <a:pt x="7070" y="1"/>
                      <a:pt x="2802" y="3959"/>
                      <a:pt x="1" y="1"/>
                    </a:cubicBezTo>
                  </a:path>
                </a:pathLst>
              </a:custGeom>
              <a:noFill/>
              <a:ln w="9525" cap="rnd" cmpd="sng">
                <a:solidFill>
                  <a:srgbClr val="FFFFFF"/>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153" name="Google Shape;8153;p105"/>
              <p:cNvSpPr/>
              <p:nvPr/>
            </p:nvSpPr>
            <p:spPr>
              <a:xfrm>
                <a:off x="1428334" y="3973727"/>
                <a:ext cx="31214" cy="15378"/>
              </a:xfrm>
              <a:custGeom>
                <a:avLst/>
                <a:gdLst/>
                <a:ahLst/>
                <a:cxnLst/>
                <a:rect l="l" t="t" r="r" b="b"/>
                <a:pathLst>
                  <a:path w="7078" h="3489" fill="none" extrusionOk="0">
                    <a:moveTo>
                      <a:pt x="0" y="1125"/>
                    </a:moveTo>
                    <a:cubicBezTo>
                      <a:pt x="0" y="1125"/>
                      <a:pt x="4411" y="1"/>
                      <a:pt x="7077" y="3488"/>
                    </a:cubicBezTo>
                  </a:path>
                </a:pathLst>
              </a:custGeom>
              <a:noFill/>
              <a:ln w="9525" cap="rnd" cmpd="sng">
                <a:solidFill>
                  <a:srgbClr val="FFFFFF"/>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154" name="Google Shape;8154;p105"/>
              <p:cNvSpPr/>
              <p:nvPr/>
            </p:nvSpPr>
            <p:spPr>
              <a:xfrm>
                <a:off x="1468924" y="3907967"/>
                <a:ext cx="40704" cy="51312"/>
              </a:xfrm>
              <a:custGeom>
                <a:avLst/>
                <a:gdLst/>
                <a:ahLst/>
                <a:cxnLst/>
                <a:rect l="l" t="t" r="r" b="b"/>
                <a:pathLst>
                  <a:path w="9230" h="11642" fill="none" extrusionOk="0">
                    <a:moveTo>
                      <a:pt x="0" y="1"/>
                    </a:moveTo>
                    <a:cubicBezTo>
                      <a:pt x="0" y="1"/>
                      <a:pt x="9229" y="570"/>
                      <a:pt x="6647" y="11641"/>
                    </a:cubicBezTo>
                  </a:path>
                </a:pathLst>
              </a:custGeom>
              <a:noFill/>
              <a:ln w="9525" cap="flat" cmpd="sng">
                <a:solidFill>
                  <a:srgbClr val="40566D"/>
                </a:solidFill>
                <a:prstDash val="solid"/>
                <a:miter lim="3647"/>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155" name="Google Shape;8155;p105"/>
              <p:cNvSpPr/>
              <p:nvPr/>
            </p:nvSpPr>
            <p:spPr>
              <a:xfrm>
                <a:off x="1469021" y="3877824"/>
                <a:ext cx="26561" cy="25035"/>
              </a:xfrm>
              <a:custGeom>
                <a:avLst/>
                <a:gdLst/>
                <a:ahLst/>
                <a:cxnLst/>
                <a:rect l="l" t="t" r="r" b="b"/>
                <a:pathLst>
                  <a:path w="6023" h="5680" fill="none" extrusionOk="0">
                    <a:moveTo>
                      <a:pt x="6023" y="1795"/>
                    </a:moveTo>
                    <a:cubicBezTo>
                      <a:pt x="6023" y="1795"/>
                      <a:pt x="0" y="0"/>
                      <a:pt x="0" y="5680"/>
                    </a:cubicBezTo>
                  </a:path>
                </a:pathLst>
              </a:custGeom>
              <a:noFill/>
              <a:ln w="9525" cap="flat" cmpd="sng">
                <a:solidFill>
                  <a:srgbClr val="40566D"/>
                </a:solidFill>
                <a:prstDash val="solid"/>
                <a:miter lim="3647"/>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156" name="Google Shape;8156;p105"/>
              <p:cNvSpPr/>
              <p:nvPr/>
            </p:nvSpPr>
            <p:spPr>
              <a:xfrm>
                <a:off x="1513434" y="3881663"/>
                <a:ext cx="8710" cy="21196"/>
              </a:xfrm>
              <a:custGeom>
                <a:avLst/>
                <a:gdLst/>
                <a:ahLst/>
                <a:cxnLst/>
                <a:rect l="l" t="t" r="r" b="b"/>
                <a:pathLst>
                  <a:path w="1975" h="4809" fill="none" extrusionOk="0">
                    <a:moveTo>
                      <a:pt x="1975" y="1"/>
                    </a:moveTo>
                    <a:cubicBezTo>
                      <a:pt x="1975" y="1"/>
                      <a:pt x="1975" y="2730"/>
                      <a:pt x="1" y="4809"/>
                    </a:cubicBezTo>
                  </a:path>
                </a:pathLst>
              </a:custGeom>
              <a:noFill/>
              <a:ln w="9525" cap="flat" cmpd="sng">
                <a:solidFill>
                  <a:srgbClr val="40566D"/>
                </a:solidFill>
                <a:prstDash val="solid"/>
                <a:miter lim="3647"/>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157" name="Google Shape;8157;p105"/>
              <p:cNvSpPr/>
              <p:nvPr/>
            </p:nvSpPr>
            <p:spPr>
              <a:xfrm>
                <a:off x="1517778" y="3963823"/>
                <a:ext cx="27355" cy="50572"/>
              </a:xfrm>
              <a:custGeom>
                <a:avLst/>
                <a:gdLst/>
                <a:ahLst/>
                <a:cxnLst/>
                <a:rect l="l" t="t" r="r" b="b"/>
                <a:pathLst>
                  <a:path w="6203" h="11474" fill="none" extrusionOk="0">
                    <a:moveTo>
                      <a:pt x="6181" y="11474"/>
                    </a:moveTo>
                    <a:cubicBezTo>
                      <a:pt x="6181" y="11474"/>
                      <a:pt x="6202" y="5735"/>
                      <a:pt x="1767" y="6297"/>
                    </a:cubicBezTo>
                    <a:cubicBezTo>
                      <a:pt x="1767" y="6297"/>
                      <a:pt x="4068" y="3149"/>
                      <a:pt x="1" y="1"/>
                    </a:cubicBezTo>
                  </a:path>
                </a:pathLst>
              </a:custGeom>
              <a:noFill/>
              <a:ln w="9525" cap="flat" cmpd="sng">
                <a:solidFill>
                  <a:srgbClr val="40566D"/>
                </a:solidFill>
                <a:prstDash val="solid"/>
                <a:miter lim="3647"/>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158" name="Google Shape;8158;p105"/>
              <p:cNvSpPr/>
              <p:nvPr/>
            </p:nvSpPr>
            <p:spPr>
              <a:xfrm>
                <a:off x="1517990" y="4014391"/>
                <a:ext cx="12119" cy="31518"/>
              </a:xfrm>
              <a:custGeom>
                <a:avLst/>
                <a:gdLst/>
                <a:ahLst/>
                <a:cxnLst/>
                <a:rect l="l" t="t" r="r" b="b"/>
                <a:pathLst>
                  <a:path w="2748" h="7151" fill="none" extrusionOk="0">
                    <a:moveTo>
                      <a:pt x="0" y="1"/>
                    </a:moveTo>
                    <a:cubicBezTo>
                      <a:pt x="0" y="1"/>
                      <a:pt x="2747" y="2963"/>
                      <a:pt x="942" y="7151"/>
                    </a:cubicBezTo>
                  </a:path>
                </a:pathLst>
              </a:custGeom>
              <a:noFill/>
              <a:ln w="9525" cap="flat" cmpd="sng">
                <a:solidFill>
                  <a:srgbClr val="40566D"/>
                </a:solidFill>
                <a:prstDash val="solid"/>
                <a:miter lim="3647"/>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159" name="Google Shape;8159;p105"/>
              <p:cNvSpPr/>
              <p:nvPr/>
            </p:nvSpPr>
            <p:spPr>
              <a:xfrm>
                <a:off x="1469021" y="4012138"/>
                <a:ext cx="35298" cy="21165"/>
              </a:xfrm>
              <a:custGeom>
                <a:avLst/>
                <a:gdLst/>
                <a:ahLst/>
                <a:cxnLst/>
                <a:rect l="l" t="t" r="r" b="b"/>
                <a:pathLst>
                  <a:path w="8004" h="4802" fill="none" extrusionOk="0">
                    <a:moveTo>
                      <a:pt x="0" y="512"/>
                    </a:moveTo>
                    <a:cubicBezTo>
                      <a:pt x="4217" y="1"/>
                      <a:pt x="6023" y="4087"/>
                      <a:pt x="6023" y="4087"/>
                    </a:cubicBezTo>
                    <a:cubicBezTo>
                      <a:pt x="6023" y="4087"/>
                      <a:pt x="7143" y="3598"/>
                      <a:pt x="8004" y="4802"/>
                    </a:cubicBezTo>
                  </a:path>
                </a:pathLst>
              </a:custGeom>
              <a:noFill/>
              <a:ln w="9525" cap="flat" cmpd="sng">
                <a:solidFill>
                  <a:srgbClr val="40566D"/>
                </a:solidFill>
                <a:prstDash val="solid"/>
                <a:miter lim="3647"/>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160" name="Google Shape;8160;p105"/>
              <p:cNvSpPr/>
              <p:nvPr/>
            </p:nvSpPr>
            <p:spPr>
              <a:xfrm>
                <a:off x="1500244" y="3942280"/>
                <a:ext cx="31183" cy="17449"/>
              </a:xfrm>
              <a:custGeom>
                <a:avLst/>
                <a:gdLst/>
                <a:ahLst/>
                <a:cxnLst/>
                <a:rect l="l" t="t" r="r" b="b"/>
                <a:pathLst>
                  <a:path w="7071" h="3959" fill="none" extrusionOk="0">
                    <a:moveTo>
                      <a:pt x="1" y="1"/>
                    </a:moveTo>
                    <a:cubicBezTo>
                      <a:pt x="1" y="1"/>
                      <a:pt x="4265" y="3959"/>
                      <a:pt x="7070" y="1"/>
                    </a:cubicBezTo>
                  </a:path>
                </a:pathLst>
              </a:custGeom>
              <a:noFill/>
              <a:ln w="9525" cap="flat" cmpd="sng">
                <a:solidFill>
                  <a:srgbClr val="40566D"/>
                </a:solidFill>
                <a:prstDash val="solid"/>
                <a:miter lim="3647"/>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161" name="Google Shape;8161;p105"/>
              <p:cNvSpPr/>
              <p:nvPr/>
            </p:nvSpPr>
            <p:spPr>
              <a:xfrm>
                <a:off x="1469021" y="3973727"/>
                <a:ext cx="31227" cy="15378"/>
              </a:xfrm>
              <a:custGeom>
                <a:avLst/>
                <a:gdLst/>
                <a:ahLst/>
                <a:cxnLst/>
                <a:rect l="l" t="t" r="r" b="b"/>
                <a:pathLst>
                  <a:path w="7081" h="3489" fill="none" extrusionOk="0">
                    <a:moveTo>
                      <a:pt x="7081" y="1125"/>
                    </a:moveTo>
                    <a:cubicBezTo>
                      <a:pt x="7081" y="1125"/>
                      <a:pt x="2670" y="1"/>
                      <a:pt x="0" y="3488"/>
                    </a:cubicBezTo>
                  </a:path>
                </a:pathLst>
              </a:custGeom>
              <a:noFill/>
              <a:ln w="9525" cap="flat" cmpd="sng">
                <a:solidFill>
                  <a:srgbClr val="40566D"/>
                </a:solidFill>
                <a:prstDash val="solid"/>
                <a:miter lim="3647"/>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162" name="Google Shape;8162;p105"/>
              <p:cNvSpPr/>
              <p:nvPr/>
            </p:nvSpPr>
            <p:spPr>
              <a:xfrm>
                <a:off x="1504314" y="3910479"/>
                <a:ext cx="51950" cy="15131"/>
              </a:xfrm>
              <a:custGeom>
                <a:avLst/>
                <a:gdLst/>
                <a:ahLst/>
                <a:cxnLst/>
                <a:rect l="l" t="t" r="r" b="b"/>
                <a:pathLst>
                  <a:path w="11780" h="3433" fill="none" extrusionOk="0">
                    <a:moveTo>
                      <a:pt x="11780" y="2663"/>
                    </a:moveTo>
                    <a:cubicBezTo>
                      <a:pt x="8420" y="0"/>
                      <a:pt x="5162" y="3433"/>
                      <a:pt x="5162" y="3433"/>
                    </a:cubicBezTo>
                    <a:cubicBezTo>
                      <a:pt x="5162" y="3433"/>
                      <a:pt x="4473" y="387"/>
                      <a:pt x="1" y="1653"/>
                    </a:cubicBezTo>
                  </a:path>
                </a:pathLst>
              </a:custGeom>
              <a:noFill/>
              <a:ln w="9525" cap="flat" cmpd="sng">
                <a:solidFill>
                  <a:srgbClr val="40566D"/>
                </a:solidFill>
                <a:prstDash val="solid"/>
                <a:miter lim="3647"/>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163" name="Google Shape;8163;p105"/>
              <p:cNvSpPr/>
              <p:nvPr/>
            </p:nvSpPr>
            <p:spPr>
              <a:xfrm>
                <a:off x="1469738" y="3847100"/>
                <a:ext cx="99150" cy="224346"/>
              </a:xfrm>
              <a:custGeom>
                <a:avLst/>
                <a:gdLst/>
                <a:ahLst/>
                <a:cxnLst/>
                <a:rect l="l" t="t" r="r" b="b"/>
                <a:pathLst>
                  <a:path w="22483" h="50901" fill="none" extrusionOk="0">
                    <a:moveTo>
                      <a:pt x="99" y="2729"/>
                    </a:moveTo>
                    <a:cubicBezTo>
                      <a:pt x="150" y="2383"/>
                      <a:pt x="237" y="2040"/>
                      <a:pt x="354" y="1711"/>
                    </a:cubicBezTo>
                    <a:cubicBezTo>
                      <a:pt x="744" y="675"/>
                      <a:pt x="1503" y="1"/>
                      <a:pt x="2900" y="1"/>
                    </a:cubicBezTo>
                    <a:cubicBezTo>
                      <a:pt x="4516" y="1"/>
                      <a:pt x="5282" y="913"/>
                      <a:pt x="5600" y="2229"/>
                    </a:cubicBezTo>
                    <a:cubicBezTo>
                      <a:pt x="9040" y="1682"/>
                      <a:pt x="12151" y="4356"/>
                      <a:pt x="12130" y="7840"/>
                    </a:cubicBezTo>
                    <a:cubicBezTo>
                      <a:pt x="12130" y="7997"/>
                      <a:pt x="12119" y="8150"/>
                      <a:pt x="12108" y="8300"/>
                    </a:cubicBezTo>
                    <a:cubicBezTo>
                      <a:pt x="14541" y="7307"/>
                      <a:pt x="17335" y="7957"/>
                      <a:pt x="19082" y="9923"/>
                    </a:cubicBezTo>
                    <a:cubicBezTo>
                      <a:pt x="20826" y="11889"/>
                      <a:pt x="21140" y="14742"/>
                      <a:pt x="19867" y="17040"/>
                    </a:cubicBezTo>
                    <a:cubicBezTo>
                      <a:pt x="21552" y="18379"/>
                      <a:pt x="22482" y="20454"/>
                      <a:pt x="22362" y="22603"/>
                    </a:cubicBezTo>
                    <a:cubicBezTo>
                      <a:pt x="22242" y="24755"/>
                      <a:pt x="21089" y="26714"/>
                      <a:pt x="19265" y="27860"/>
                    </a:cubicBezTo>
                    <a:cubicBezTo>
                      <a:pt x="20440" y="29308"/>
                      <a:pt x="20896" y="31205"/>
                      <a:pt x="20512" y="33029"/>
                    </a:cubicBezTo>
                    <a:cubicBezTo>
                      <a:pt x="20126" y="34853"/>
                      <a:pt x="18940" y="36407"/>
                      <a:pt x="17284" y="37257"/>
                    </a:cubicBezTo>
                    <a:cubicBezTo>
                      <a:pt x="17310" y="37487"/>
                      <a:pt x="17321" y="37720"/>
                      <a:pt x="17324" y="37950"/>
                    </a:cubicBezTo>
                    <a:cubicBezTo>
                      <a:pt x="17321" y="40766"/>
                      <a:pt x="15420" y="43225"/>
                      <a:pt x="12699" y="43940"/>
                    </a:cubicBezTo>
                    <a:cubicBezTo>
                      <a:pt x="11710" y="46782"/>
                      <a:pt x="8664" y="48350"/>
                      <a:pt x="5778" y="47507"/>
                    </a:cubicBezTo>
                    <a:cubicBezTo>
                      <a:pt x="5647" y="49434"/>
                      <a:pt x="4958" y="50900"/>
                      <a:pt x="2900" y="50900"/>
                    </a:cubicBezTo>
                    <a:cubicBezTo>
                      <a:pt x="0" y="50900"/>
                      <a:pt x="40" y="48390"/>
                      <a:pt x="0" y="48401"/>
                    </a:cubicBezTo>
                    <a:cubicBezTo>
                      <a:pt x="0" y="48401"/>
                      <a:pt x="69" y="2722"/>
                      <a:pt x="99" y="2729"/>
                    </a:cubicBezTo>
                    <a:close/>
                  </a:path>
                </a:pathLst>
              </a:custGeom>
              <a:noFill/>
              <a:ln w="9525" cap="flat" cmpd="sng">
                <a:solidFill>
                  <a:srgbClr val="40566D"/>
                </a:solidFill>
                <a:prstDash val="solid"/>
                <a:miter lim="3647"/>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sp>
          <p:nvSpPr>
            <p:cNvPr id="8164" name="Google Shape;8164;p105"/>
            <p:cNvSpPr/>
            <p:nvPr/>
          </p:nvSpPr>
          <p:spPr>
            <a:xfrm>
              <a:off x="2008060" y="4212384"/>
              <a:ext cx="24537" cy="23585"/>
            </a:xfrm>
            <a:custGeom>
              <a:avLst/>
              <a:gdLst/>
              <a:ahLst/>
              <a:cxnLst/>
              <a:rect l="l" t="t" r="r" b="b"/>
              <a:pathLst>
                <a:path w="5564" h="5351" extrusionOk="0">
                  <a:moveTo>
                    <a:pt x="2887" y="0"/>
                  </a:moveTo>
                  <a:cubicBezTo>
                    <a:pt x="2190" y="0"/>
                    <a:pt x="1506" y="271"/>
                    <a:pt x="996" y="783"/>
                  </a:cubicBezTo>
                  <a:cubicBezTo>
                    <a:pt x="230" y="1550"/>
                    <a:pt x="0" y="2699"/>
                    <a:pt x="416" y="3698"/>
                  </a:cubicBezTo>
                  <a:cubicBezTo>
                    <a:pt x="828" y="4698"/>
                    <a:pt x="1806" y="5351"/>
                    <a:pt x="2886" y="5351"/>
                  </a:cubicBezTo>
                  <a:cubicBezTo>
                    <a:pt x="4363" y="5351"/>
                    <a:pt x="5560" y="4150"/>
                    <a:pt x="5563" y="2677"/>
                  </a:cubicBezTo>
                  <a:cubicBezTo>
                    <a:pt x="5560" y="1593"/>
                    <a:pt x="4911" y="619"/>
                    <a:pt x="3911" y="203"/>
                  </a:cubicBezTo>
                  <a:cubicBezTo>
                    <a:pt x="3580" y="67"/>
                    <a:pt x="3232" y="0"/>
                    <a:pt x="2887" y="0"/>
                  </a:cubicBezTo>
                  <a:close/>
                </a:path>
              </a:pathLst>
            </a:custGeom>
            <a:solidFill>
              <a:srgbClr val="213B5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165" name="Google Shape;8165;p105"/>
            <p:cNvSpPr/>
            <p:nvPr/>
          </p:nvSpPr>
          <p:spPr>
            <a:xfrm>
              <a:off x="1545645" y="4049730"/>
              <a:ext cx="24520" cy="23576"/>
            </a:xfrm>
            <a:custGeom>
              <a:avLst/>
              <a:gdLst/>
              <a:ahLst/>
              <a:cxnLst/>
              <a:rect l="l" t="t" r="r" b="b"/>
              <a:pathLst>
                <a:path w="5560" h="5349" extrusionOk="0">
                  <a:moveTo>
                    <a:pt x="2886" y="1"/>
                  </a:moveTo>
                  <a:cubicBezTo>
                    <a:pt x="1806" y="1"/>
                    <a:pt x="828" y="654"/>
                    <a:pt x="416" y="1653"/>
                  </a:cubicBezTo>
                  <a:cubicBezTo>
                    <a:pt x="0" y="2649"/>
                    <a:pt x="230" y="3802"/>
                    <a:pt x="996" y="4564"/>
                  </a:cubicBezTo>
                  <a:cubicBezTo>
                    <a:pt x="1506" y="5077"/>
                    <a:pt x="2190" y="5349"/>
                    <a:pt x="2886" y="5349"/>
                  </a:cubicBezTo>
                  <a:cubicBezTo>
                    <a:pt x="3232" y="5349"/>
                    <a:pt x="3580" y="5282"/>
                    <a:pt x="3911" y="5144"/>
                  </a:cubicBezTo>
                  <a:cubicBezTo>
                    <a:pt x="4910" y="4732"/>
                    <a:pt x="5560" y="3758"/>
                    <a:pt x="5560" y="2675"/>
                  </a:cubicBezTo>
                  <a:cubicBezTo>
                    <a:pt x="5560" y="1197"/>
                    <a:pt x="4363" y="1"/>
                    <a:pt x="2886" y="1"/>
                  </a:cubicBez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166" name="Google Shape;8166;p105"/>
            <p:cNvSpPr/>
            <p:nvPr/>
          </p:nvSpPr>
          <p:spPr>
            <a:xfrm>
              <a:off x="1231521" y="3947489"/>
              <a:ext cx="24524" cy="23576"/>
            </a:xfrm>
            <a:custGeom>
              <a:avLst/>
              <a:gdLst/>
              <a:ahLst/>
              <a:cxnLst/>
              <a:rect l="l" t="t" r="r" b="b"/>
              <a:pathLst>
                <a:path w="5561" h="5349" extrusionOk="0">
                  <a:moveTo>
                    <a:pt x="2886" y="1"/>
                  </a:moveTo>
                  <a:cubicBezTo>
                    <a:pt x="1803" y="1"/>
                    <a:pt x="829" y="650"/>
                    <a:pt x="413" y="1649"/>
                  </a:cubicBezTo>
                  <a:cubicBezTo>
                    <a:pt x="1" y="2649"/>
                    <a:pt x="227" y="3798"/>
                    <a:pt x="993" y="4564"/>
                  </a:cubicBezTo>
                  <a:cubicBezTo>
                    <a:pt x="1505" y="5076"/>
                    <a:pt x="2189" y="5349"/>
                    <a:pt x="2884" y="5349"/>
                  </a:cubicBezTo>
                  <a:cubicBezTo>
                    <a:pt x="3229" y="5349"/>
                    <a:pt x="3576" y="5282"/>
                    <a:pt x="3908" y="5144"/>
                  </a:cubicBezTo>
                  <a:cubicBezTo>
                    <a:pt x="4907" y="4732"/>
                    <a:pt x="5560" y="3758"/>
                    <a:pt x="5560" y="2674"/>
                  </a:cubicBezTo>
                  <a:cubicBezTo>
                    <a:pt x="5560" y="1197"/>
                    <a:pt x="4364" y="1"/>
                    <a:pt x="2886" y="1"/>
                  </a:cubicBez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167" name="Google Shape;8167;p105"/>
            <p:cNvSpPr/>
            <p:nvPr/>
          </p:nvSpPr>
          <p:spPr>
            <a:xfrm>
              <a:off x="834100" y="4046742"/>
              <a:ext cx="24520" cy="23580"/>
            </a:xfrm>
            <a:custGeom>
              <a:avLst/>
              <a:gdLst/>
              <a:ahLst/>
              <a:cxnLst/>
              <a:rect l="l" t="t" r="r" b="b"/>
              <a:pathLst>
                <a:path w="5560" h="5350" extrusionOk="0">
                  <a:moveTo>
                    <a:pt x="2674" y="0"/>
                  </a:moveTo>
                  <a:cubicBezTo>
                    <a:pt x="1197" y="0"/>
                    <a:pt x="0" y="1197"/>
                    <a:pt x="0" y="2674"/>
                  </a:cubicBezTo>
                  <a:cubicBezTo>
                    <a:pt x="0" y="3758"/>
                    <a:pt x="653" y="4732"/>
                    <a:pt x="1653" y="5147"/>
                  </a:cubicBezTo>
                  <a:cubicBezTo>
                    <a:pt x="1983" y="5284"/>
                    <a:pt x="2329" y="5350"/>
                    <a:pt x="2673" y="5350"/>
                  </a:cubicBezTo>
                  <a:cubicBezTo>
                    <a:pt x="3369" y="5350"/>
                    <a:pt x="4054" y="5078"/>
                    <a:pt x="4567" y="4567"/>
                  </a:cubicBezTo>
                  <a:cubicBezTo>
                    <a:pt x="5330" y="3801"/>
                    <a:pt x="5559" y="2649"/>
                    <a:pt x="5147" y="1653"/>
                  </a:cubicBezTo>
                  <a:cubicBezTo>
                    <a:pt x="4731" y="653"/>
                    <a:pt x="3757" y="0"/>
                    <a:pt x="2674" y="0"/>
                  </a:cubicBezTo>
                  <a:close/>
                </a:path>
              </a:pathLst>
            </a:custGeom>
            <a:solidFill>
              <a:srgbClr val="667E92"/>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168" name="Google Shape;8168;p105"/>
            <p:cNvSpPr/>
            <p:nvPr/>
          </p:nvSpPr>
          <p:spPr>
            <a:xfrm>
              <a:off x="834100" y="3849652"/>
              <a:ext cx="24520" cy="23580"/>
            </a:xfrm>
            <a:custGeom>
              <a:avLst/>
              <a:gdLst/>
              <a:ahLst/>
              <a:cxnLst/>
              <a:rect l="l" t="t" r="r" b="b"/>
              <a:pathLst>
                <a:path w="5560" h="5350" extrusionOk="0">
                  <a:moveTo>
                    <a:pt x="2674" y="1"/>
                  </a:moveTo>
                  <a:cubicBezTo>
                    <a:pt x="1197" y="1"/>
                    <a:pt x="0" y="1197"/>
                    <a:pt x="0" y="2675"/>
                  </a:cubicBezTo>
                  <a:cubicBezTo>
                    <a:pt x="0" y="3758"/>
                    <a:pt x="653" y="4732"/>
                    <a:pt x="1653" y="5144"/>
                  </a:cubicBezTo>
                  <a:cubicBezTo>
                    <a:pt x="1984" y="5282"/>
                    <a:pt x="2331" y="5349"/>
                    <a:pt x="2676" y="5349"/>
                  </a:cubicBezTo>
                  <a:cubicBezTo>
                    <a:pt x="3371" y="5349"/>
                    <a:pt x="4055" y="5077"/>
                    <a:pt x="4567" y="4564"/>
                  </a:cubicBezTo>
                  <a:cubicBezTo>
                    <a:pt x="5330" y="3802"/>
                    <a:pt x="5559" y="2649"/>
                    <a:pt x="5147" y="1650"/>
                  </a:cubicBezTo>
                  <a:cubicBezTo>
                    <a:pt x="4731" y="650"/>
                    <a:pt x="3757" y="1"/>
                    <a:pt x="2674" y="1"/>
                  </a:cubicBezTo>
                  <a:close/>
                </a:path>
              </a:pathLst>
            </a:custGeom>
            <a:solidFill>
              <a:srgbClr val="E6EBEF"/>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169" name="Google Shape;8169;p105"/>
            <p:cNvSpPr/>
            <p:nvPr/>
          </p:nvSpPr>
          <p:spPr>
            <a:xfrm>
              <a:off x="1668053" y="3947489"/>
              <a:ext cx="24520" cy="23576"/>
            </a:xfrm>
            <a:custGeom>
              <a:avLst/>
              <a:gdLst/>
              <a:ahLst/>
              <a:cxnLst/>
              <a:rect l="l" t="t" r="r" b="b"/>
              <a:pathLst>
                <a:path w="5560" h="5349" extrusionOk="0">
                  <a:moveTo>
                    <a:pt x="2882" y="1"/>
                  </a:moveTo>
                  <a:cubicBezTo>
                    <a:pt x="1802" y="1"/>
                    <a:pt x="828" y="650"/>
                    <a:pt x="412" y="1649"/>
                  </a:cubicBezTo>
                  <a:cubicBezTo>
                    <a:pt x="0" y="2649"/>
                    <a:pt x="226" y="3798"/>
                    <a:pt x="993" y="4564"/>
                  </a:cubicBezTo>
                  <a:cubicBezTo>
                    <a:pt x="1502" y="5076"/>
                    <a:pt x="2187" y="5349"/>
                    <a:pt x="2883" y="5349"/>
                  </a:cubicBezTo>
                  <a:cubicBezTo>
                    <a:pt x="3228" y="5349"/>
                    <a:pt x="3576" y="5282"/>
                    <a:pt x="3907" y="5144"/>
                  </a:cubicBezTo>
                  <a:cubicBezTo>
                    <a:pt x="4907" y="4732"/>
                    <a:pt x="5556" y="3758"/>
                    <a:pt x="5560" y="2674"/>
                  </a:cubicBezTo>
                  <a:cubicBezTo>
                    <a:pt x="5560" y="1197"/>
                    <a:pt x="4360" y="1"/>
                    <a:pt x="2882" y="1"/>
                  </a:cubicBez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170" name="Google Shape;8170;p105"/>
            <p:cNvSpPr/>
            <p:nvPr/>
          </p:nvSpPr>
          <p:spPr>
            <a:xfrm>
              <a:off x="889649" y="3678195"/>
              <a:ext cx="23589" cy="23576"/>
            </a:xfrm>
            <a:custGeom>
              <a:avLst/>
              <a:gdLst/>
              <a:ahLst/>
              <a:cxnLst/>
              <a:rect l="l" t="t" r="r" b="b"/>
              <a:pathLst>
                <a:path w="5349" h="5349" extrusionOk="0">
                  <a:moveTo>
                    <a:pt x="2674" y="0"/>
                  </a:moveTo>
                  <a:cubicBezTo>
                    <a:pt x="1197" y="0"/>
                    <a:pt x="0" y="1197"/>
                    <a:pt x="0" y="2674"/>
                  </a:cubicBezTo>
                  <a:cubicBezTo>
                    <a:pt x="0" y="4152"/>
                    <a:pt x="1197" y="5348"/>
                    <a:pt x="2674" y="5348"/>
                  </a:cubicBezTo>
                  <a:cubicBezTo>
                    <a:pt x="4152" y="5348"/>
                    <a:pt x="5348" y="4152"/>
                    <a:pt x="5348" y="2674"/>
                  </a:cubicBezTo>
                  <a:cubicBezTo>
                    <a:pt x="5348" y="1197"/>
                    <a:pt x="4152" y="0"/>
                    <a:pt x="2674" y="0"/>
                  </a:cubicBezTo>
                  <a:close/>
                </a:path>
              </a:pathLst>
            </a:custGeom>
            <a:solidFill>
              <a:srgbClr val="E3E9ED"/>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171" name="Google Shape;8171;p105"/>
            <p:cNvSpPr/>
            <p:nvPr/>
          </p:nvSpPr>
          <p:spPr>
            <a:xfrm>
              <a:off x="1357708" y="3848642"/>
              <a:ext cx="24542" cy="23585"/>
            </a:xfrm>
            <a:custGeom>
              <a:avLst/>
              <a:gdLst/>
              <a:ahLst/>
              <a:cxnLst/>
              <a:rect l="l" t="t" r="r" b="b"/>
              <a:pathLst>
                <a:path w="5565" h="5351" extrusionOk="0">
                  <a:moveTo>
                    <a:pt x="2890" y="0"/>
                  </a:moveTo>
                  <a:cubicBezTo>
                    <a:pt x="1807" y="0"/>
                    <a:pt x="833" y="653"/>
                    <a:pt x="417" y="1653"/>
                  </a:cubicBezTo>
                  <a:cubicBezTo>
                    <a:pt x="1" y="2652"/>
                    <a:pt x="231" y="3801"/>
                    <a:pt x="997" y="4567"/>
                  </a:cubicBezTo>
                  <a:cubicBezTo>
                    <a:pt x="1509" y="5080"/>
                    <a:pt x="2193" y="5350"/>
                    <a:pt x="2888" y="5350"/>
                  </a:cubicBezTo>
                  <a:cubicBezTo>
                    <a:pt x="3233" y="5350"/>
                    <a:pt x="3580" y="5284"/>
                    <a:pt x="3912" y="5147"/>
                  </a:cubicBezTo>
                  <a:cubicBezTo>
                    <a:pt x="4911" y="4731"/>
                    <a:pt x="5564" y="3757"/>
                    <a:pt x="5564" y="2678"/>
                  </a:cubicBezTo>
                  <a:cubicBezTo>
                    <a:pt x="5564" y="1200"/>
                    <a:pt x="4364" y="0"/>
                    <a:pt x="2890" y="0"/>
                  </a:cubicBez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172" name="Google Shape;8172;p105"/>
            <p:cNvSpPr/>
            <p:nvPr/>
          </p:nvSpPr>
          <p:spPr>
            <a:xfrm>
              <a:off x="1357708" y="4049730"/>
              <a:ext cx="24542" cy="23585"/>
            </a:xfrm>
            <a:custGeom>
              <a:avLst/>
              <a:gdLst/>
              <a:ahLst/>
              <a:cxnLst/>
              <a:rect l="l" t="t" r="r" b="b"/>
              <a:pathLst>
                <a:path w="5565" h="5351" extrusionOk="0">
                  <a:moveTo>
                    <a:pt x="2890" y="1"/>
                  </a:moveTo>
                  <a:cubicBezTo>
                    <a:pt x="1807" y="1"/>
                    <a:pt x="833" y="654"/>
                    <a:pt x="417" y="1653"/>
                  </a:cubicBezTo>
                  <a:cubicBezTo>
                    <a:pt x="1" y="2653"/>
                    <a:pt x="231" y="3802"/>
                    <a:pt x="997" y="4568"/>
                  </a:cubicBezTo>
                  <a:cubicBezTo>
                    <a:pt x="1510" y="5078"/>
                    <a:pt x="2195" y="5350"/>
                    <a:pt x="2891" y="5350"/>
                  </a:cubicBezTo>
                  <a:cubicBezTo>
                    <a:pt x="3235" y="5350"/>
                    <a:pt x="3581" y="5284"/>
                    <a:pt x="3912" y="5148"/>
                  </a:cubicBezTo>
                  <a:cubicBezTo>
                    <a:pt x="4911" y="4732"/>
                    <a:pt x="5564" y="3758"/>
                    <a:pt x="5564" y="2675"/>
                  </a:cubicBezTo>
                  <a:cubicBezTo>
                    <a:pt x="5564" y="1197"/>
                    <a:pt x="4364" y="1"/>
                    <a:pt x="2890" y="1"/>
                  </a:cubicBez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173" name="Google Shape;8173;p105"/>
            <p:cNvSpPr/>
            <p:nvPr/>
          </p:nvSpPr>
          <p:spPr>
            <a:xfrm>
              <a:off x="889649" y="4212384"/>
              <a:ext cx="24520" cy="23585"/>
            </a:xfrm>
            <a:custGeom>
              <a:avLst/>
              <a:gdLst/>
              <a:ahLst/>
              <a:cxnLst/>
              <a:rect l="l" t="t" r="r" b="b"/>
              <a:pathLst>
                <a:path w="5560" h="5351" extrusionOk="0">
                  <a:moveTo>
                    <a:pt x="2674" y="0"/>
                  </a:moveTo>
                  <a:cubicBezTo>
                    <a:pt x="2328" y="0"/>
                    <a:pt x="1980" y="67"/>
                    <a:pt x="1649" y="203"/>
                  </a:cubicBezTo>
                  <a:cubicBezTo>
                    <a:pt x="650" y="619"/>
                    <a:pt x="0" y="1593"/>
                    <a:pt x="0" y="2677"/>
                  </a:cubicBezTo>
                  <a:cubicBezTo>
                    <a:pt x="0" y="4150"/>
                    <a:pt x="1197" y="5351"/>
                    <a:pt x="2674" y="5351"/>
                  </a:cubicBezTo>
                  <a:cubicBezTo>
                    <a:pt x="3754" y="5351"/>
                    <a:pt x="4732" y="4698"/>
                    <a:pt x="5144" y="3698"/>
                  </a:cubicBezTo>
                  <a:cubicBezTo>
                    <a:pt x="5560" y="2699"/>
                    <a:pt x="5330" y="1550"/>
                    <a:pt x="4568" y="783"/>
                  </a:cubicBezTo>
                  <a:cubicBezTo>
                    <a:pt x="4055" y="271"/>
                    <a:pt x="3370" y="0"/>
                    <a:pt x="2674" y="0"/>
                  </a:cubicBezTo>
                  <a:close/>
                </a:path>
              </a:pathLst>
            </a:custGeom>
            <a:solidFill>
              <a:srgbClr val="E4E9ED"/>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174" name="Google Shape;8174;p105"/>
            <p:cNvSpPr/>
            <p:nvPr/>
          </p:nvSpPr>
          <p:spPr>
            <a:xfrm>
              <a:off x="2008060" y="3678195"/>
              <a:ext cx="24537" cy="23576"/>
            </a:xfrm>
            <a:custGeom>
              <a:avLst/>
              <a:gdLst/>
              <a:ahLst/>
              <a:cxnLst/>
              <a:rect l="l" t="t" r="r" b="b"/>
              <a:pathLst>
                <a:path w="5564" h="5349" extrusionOk="0">
                  <a:moveTo>
                    <a:pt x="2886" y="0"/>
                  </a:moveTo>
                  <a:cubicBezTo>
                    <a:pt x="1806" y="0"/>
                    <a:pt x="828" y="650"/>
                    <a:pt x="416" y="1649"/>
                  </a:cubicBezTo>
                  <a:cubicBezTo>
                    <a:pt x="0" y="2649"/>
                    <a:pt x="230" y="3802"/>
                    <a:pt x="996" y="4564"/>
                  </a:cubicBezTo>
                  <a:cubicBezTo>
                    <a:pt x="1506" y="5076"/>
                    <a:pt x="2190" y="5349"/>
                    <a:pt x="2887" y="5349"/>
                  </a:cubicBezTo>
                  <a:cubicBezTo>
                    <a:pt x="3232" y="5349"/>
                    <a:pt x="3580" y="5282"/>
                    <a:pt x="3911" y="5144"/>
                  </a:cubicBezTo>
                  <a:cubicBezTo>
                    <a:pt x="4911" y="4732"/>
                    <a:pt x="5560" y="3758"/>
                    <a:pt x="5563" y="2674"/>
                  </a:cubicBezTo>
                  <a:cubicBezTo>
                    <a:pt x="5560" y="1197"/>
                    <a:pt x="4363" y="0"/>
                    <a:pt x="2886" y="0"/>
                  </a:cubicBezTo>
                  <a:close/>
                </a:path>
              </a:pathLst>
            </a:custGeom>
            <a:solidFill>
              <a:srgbClr val="A5B7C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175" name="Google Shape;8175;p105"/>
            <p:cNvSpPr/>
            <p:nvPr/>
          </p:nvSpPr>
          <p:spPr>
            <a:xfrm>
              <a:off x="1548251" y="3848642"/>
              <a:ext cx="24520" cy="23580"/>
            </a:xfrm>
            <a:custGeom>
              <a:avLst/>
              <a:gdLst/>
              <a:ahLst/>
              <a:cxnLst/>
              <a:rect l="l" t="t" r="r" b="b"/>
              <a:pathLst>
                <a:path w="5560" h="5350" extrusionOk="0">
                  <a:moveTo>
                    <a:pt x="2886" y="0"/>
                  </a:moveTo>
                  <a:cubicBezTo>
                    <a:pt x="1806" y="0"/>
                    <a:pt x="828" y="653"/>
                    <a:pt x="416" y="1653"/>
                  </a:cubicBezTo>
                  <a:cubicBezTo>
                    <a:pt x="0" y="2652"/>
                    <a:pt x="230" y="3801"/>
                    <a:pt x="996" y="4567"/>
                  </a:cubicBezTo>
                  <a:cubicBezTo>
                    <a:pt x="1507" y="5078"/>
                    <a:pt x="2192" y="5350"/>
                    <a:pt x="2890" y="5350"/>
                  </a:cubicBezTo>
                  <a:cubicBezTo>
                    <a:pt x="3234" y="5350"/>
                    <a:pt x="3581" y="5283"/>
                    <a:pt x="3911" y="5147"/>
                  </a:cubicBezTo>
                  <a:cubicBezTo>
                    <a:pt x="4910" y="4731"/>
                    <a:pt x="5560" y="3757"/>
                    <a:pt x="5560" y="2678"/>
                  </a:cubicBezTo>
                  <a:cubicBezTo>
                    <a:pt x="5560" y="1200"/>
                    <a:pt x="4363" y="0"/>
                    <a:pt x="2886" y="0"/>
                  </a:cubicBez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176" name="Google Shape;8176;p105"/>
            <p:cNvSpPr/>
            <p:nvPr/>
          </p:nvSpPr>
          <p:spPr>
            <a:xfrm>
              <a:off x="2069063" y="3847033"/>
              <a:ext cx="24520" cy="23585"/>
            </a:xfrm>
            <a:custGeom>
              <a:avLst/>
              <a:gdLst/>
              <a:ahLst/>
              <a:cxnLst/>
              <a:rect l="l" t="t" r="r" b="b"/>
              <a:pathLst>
                <a:path w="5560" h="5351" extrusionOk="0">
                  <a:moveTo>
                    <a:pt x="2886" y="0"/>
                  </a:moveTo>
                  <a:cubicBezTo>
                    <a:pt x="1806" y="0"/>
                    <a:pt x="828" y="653"/>
                    <a:pt x="416" y="1653"/>
                  </a:cubicBezTo>
                  <a:cubicBezTo>
                    <a:pt x="0" y="2652"/>
                    <a:pt x="230" y="3801"/>
                    <a:pt x="993" y="4567"/>
                  </a:cubicBezTo>
                  <a:cubicBezTo>
                    <a:pt x="1505" y="5080"/>
                    <a:pt x="2190" y="5351"/>
                    <a:pt x="2887" y="5351"/>
                  </a:cubicBezTo>
                  <a:cubicBezTo>
                    <a:pt x="3232" y="5351"/>
                    <a:pt x="3580" y="5284"/>
                    <a:pt x="3911" y="5148"/>
                  </a:cubicBezTo>
                  <a:cubicBezTo>
                    <a:pt x="4910" y="4732"/>
                    <a:pt x="5560" y="3758"/>
                    <a:pt x="5560" y="2678"/>
                  </a:cubicBezTo>
                  <a:cubicBezTo>
                    <a:pt x="5560" y="1200"/>
                    <a:pt x="4363" y="0"/>
                    <a:pt x="2886" y="0"/>
                  </a:cubicBezTo>
                  <a:close/>
                </a:path>
              </a:pathLst>
            </a:custGeom>
            <a:solidFill>
              <a:srgbClr val="445D73"/>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177" name="Google Shape;8177;p105"/>
            <p:cNvSpPr/>
            <p:nvPr/>
          </p:nvSpPr>
          <p:spPr>
            <a:xfrm>
              <a:off x="2069063" y="4046870"/>
              <a:ext cx="24520" cy="23576"/>
            </a:xfrm>
            <a:custGeom>
              <a:avLst/>
              <a:gdLst/>
              <a:ahLst/>
              <a:cxnLst/>
              <a:rect l="l" t="t" r="r" b="b"/>
              <a:pathLst>
                <a:path w="5560" h="5349" extrusionOk="0">
                  <a:moveTo>
                    <a:pt x="2886" y="0"/>
                  </a:moveTo>
                  <a:cubicBezTo>
                    <a:pt x="1806" y="0"/>
                    <a:pt x="828" y="650"/>
                    <a:pt x="416" y="1649"/>
                  </a:cubicBezTo>
                  <a:cubicBezTo>
                    <a:pt x="0" y="2649"/>
                    <a:pt x="230" y="3802"/>
                    <a:pt x="993" y="4564"/>
                  </a:cubicBezTo>
                  <a:cubicBezTo>
                    <a:pt x="1505" y="5076"/>
                    <a:pt x="2190" y="5349"/>
                    <a:pt x="2887" y="5349"/>
                  </a:cubicBezTo>
                  <a:cubicBezTo>
                    <a:pt x="3232" y="5349"/>
                    <a:pt x="3580" y="5282"/>
                    <a:pt x="3911" y="5144"/>
                  </a:cubicBezTo>
                  <a:cubicBezTo>
                    <a:pt x="4910" y="4732"/>
                    <a:pt x="5560" y="3758"/>
                    <a:pt x="5560" y="2674"/>
                  </a:cubicBezTo>
                  <a:cubicBezTo>
                    <a:pt x="5560" y="1197"/>
                    <a:pt x="4363" y="0"/>
                    <a:pt x="2886" y="0"/>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8178" name="Google Shape;8178;p105"/>
          <p:cNvGrpSpPr/>
          <p:nvPr/>
        </p:nvGrpSpPr>
        <p:grpSpPr>
          <a:xfrm rot="5400000">
            <a:off x="7969868" y="4584116"/>
            <a:ext cx="218752" cy="1886555"/>
            <a:chOff x="4428249" y="1369375"/>
            <a:chExt cx="36905" cy="429569"/>
          </a:xfrm>
        </p:grpSpPr>
        <p:sp>
          <p:nvSpPr>
            <p:cNvPr id="8179" name="Google Shape;8179;p105"/>
            <p:cNvSpPr/>
            <p:nvPr/>
          </p:nvSpPr>
          <p:spPr>
            <a:xfrm>
              <a:off x="4428249" y="1369375"/>
              <a:ext cx="2375" cy="429104"/>
            </a:xfrm>
            <a:custGeom>
              <a:avLst/>
              <a:gdLst/>
              <a:ahLst/>
              <a:cxnLst/>
              <a:rect l="l" t="t" r="r" b="b"/>
              <a:pathLst>
                <a:path w="95" h="18328" extrusionOk="0">
                  <a:moveTo>
                    <a:pt x="48" y="1"/>
                  </a:moveTo>
                  <a:cubicBezTo>
                    <a:pt x="24" y="1"/>
                    <a:pt x="1" y="15"/>
                    <a:pt x="1" y="44"/>
                  </a:cubicBezTo>
                  <a:lnTo>
                    <a:pt x="1" y="18284"/>
                  </a:lnTo>
                  <a:cubicBezTo>
                    <a:pt x="1" y="18306"/>
                    <a:pt x="22" y="18328"/>
                    <a:pt x="51" y="18328"/>
                  </a:cubicBezTo>
                  <a:cubicBezTo>
                    <a:pt x="73" y="18328"/>
                    <a:pt x="95" y="18306"/>
                    <a:pt x="95" y="18284"/>
                  </a:cubicBezTo>
                  <a:lnTo>
                    <a:pt x="95" y="44"/>
                  </a:lnTo>
                  <a:cubicBezTo>
                    <a:pt x="95" y="15"/>
                    <a:pt x="71" y="1"/>
                    <a:pt x="48" y="1"/>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180" name="Google Shape;8180;p105"/>
            <p:cNvSpPr/>
            <p:nvPr/>
          </p:nvSpPr>
          <p:spPr>
            <a:xfrm>
              <a:off x="4428354" y="1369375"/>
              <a:ext cx="36800" cy="2200"/>
            </a:xfrm>
            <a:custGeom>
              <a:avLst/>
              <a:gdLst/>
              <a:ahLst/>
              <a:cxnLst/>
              <a:rect l="l" t="t" r="r" b="b"/>
              <a:pathLst>
                <a:path w="1472" h="88" extrusionOk="0">
                  <a:moveTo>
                    <a:pt x="65" y="1"/>
                  </a:moveTo>
                  <a:cubicBezTo>
                    <a:pt x="0" y="1"/>
                    <a:pt x="0" y="87"/>
                    <a:pt x="65" y="87"/>
                  </a:cubicBezTo>
                  <a:lnTo>
                    <a:pt x="1414" y="87"/>
                  </a:lnTo>
                  <a:cubicBezTo>
                    <a:pt x="1472" y="87"/>
                    <a:pt x="1472" y="1"/>
                    <a:pt x="1414" y="1"/>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181" name="Google Shape;8181;p105"/>
            <p:cNvSpPr/>
            <p:nvPr/>
          </p:nvSpPr>
          <p:spPr>
            <a:xfrm>
              <a:off x="4428704" y="1383625"/>
              <a:ext cx="17350" cy="2200"/>
            </a:xfrm>
            <a:custGeom>
              <a:avLst/>
              <a:gdLst/>
              <a:ahLst/>
              <a:cxnLst/>
              <a:rect l="l" t="t" r="r" b="b"/>
              <a:pathLst>
                <a:path w="694" h="88" extrusionOk="0">
                  <a:moveTo>
                    <a:pt x="51" y="1"/>
                  </a:moveTo>
                  <a:cubicBezTo>
                    <a:pt x="22" y="1"/>
                    <a:pt x="1" y="22"/>
                    <a:pt x="1" y="44"/>
                  </a:cubicBezTo>
                  <a:cubicBezTo>
                    <a:pt x="1" y="65"/>
                    <a:pt x="22" y="87"/>
                    <a:pt x="51" y="87"/>
                  </a:cubicBezTo>
                  <a:lnTo>
                    <a:pt x="650" y="87"/>
                  </a:lnTo>
                  <a:cubicBezTo>
                    <a:pt x="672" y="87"/>
                    <a:pt x="693" y="65"/>
                    <a:pt x="693" y="44"/>
                  </a:cubicBezTo>
                  <a:cubicBezTo>
                    <a:pt x="693" y="22"/>
                    <a:pt x="672" y="1"/>
                    <a:pt x="650" y="1"/>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182" name="Google Shape;8182;p105"/>
            <p:cNvSpPr/>
            <p:nvPr/>
          </p:nvSpPr>
          <p:spPr>
            <a:xfrm>
              <a:off x="4428704" y="1397875"/>
              <a:ext cx="17350" cy="2175"/>
            </a:xfrm>
            <a:custGeom>
              <a:avLst/>
              <a:gdLst/>
              <a:ahLst/>
              <a:cxnLst/>
              <a:rect l="l" t="t" r="r" b="b"/>
              <a:pathLst>
                <a:path w="694" h="87" extrusionOk="0">
                  <a:moveTo>
                    <a:pt x="51" y="0"/>
                  </a:moveTo>
                  <a:cubicBezTo>
                    <a:pt x="22" y="0"/>
                    <a:pt x="1" y="22"/>
                    <a:pt x="1" y="44"/>
                  </a:cubicBezTo>
                  <a:cubicBezTo>
                    <a:pt x="1" y="72"/>
                    <a:pt x="22" y="87"/>
                    <a:pt x="51" y="87"/>
                  </a:cubicBezTo>
                  <a:lnTo>
                    <a:pt x="650" y="87"/>
                  </a:lnTo>
                  <a:cubicBezTo>
                    <a:pt x="672" y="87"/>
                    <a:pt x="693" y="72"/>
                    <a:pt x="693" y="44"/>
                  </a:cubicBezTo>
                  <a:cubicBezTo>
                    <a:pt x="693" y="22"/>
                    <a:pt x="672" y="0"/>
                    <a:pt x="650" y="0"/>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183" name="Google Shape;8183;p105"/>
            <p:cNvSpPr/>
            <p:nvPr/>
          </p:nvSpPr>
          <p:spPr>
            <a:xfrm>
              <a:off x="4428704" y="1412125"/>
              <a:ext cx="36100" cy="2175"/>
            </a:xfrm>
            <a:custGeom>
              <a:avLst/>
              <a:gdLst/>
              <a:ahLst/>
              <a:cxnLst/>
              <a:rect l="l" t="t" r="r" b="b"/>
              <a:pathLst>
                <a:path w="1444" h="87" extrusionOk="0">
                  <a:moveTo>
                    <a:pt x="51" y="0"/>
                  </a:moveTo>
                  <a:cubicBezTo>
                    <a:pt x="22" y="0"/>
                    <a:pt x="1" y="22"/>
                    <a:pt x="1" y="43"/>
                  </a:cubicBezTo>
                  <a:cubicBezTo>
                    <a:pt x="1" y="72"/>
                    <a:pt x="22" y="87"/>
                    <a:pt x="51" y="87"/>
                  </a:cubicBezTo>
                  <a:lnTo>
                    <a:pt x="1400" y="87"/>
                  </a:lnTo>
                  <a:cubicBezTo>
                    <a:pt x="1422" y="87"/>
                    <a:pt x="1443" y="72"/>
                    <a:pt x="1443" y="43"/>
                  </a:cubicBezTo>
                  <a:cubicBezTo>
                    <a:pt x="1443" y="22"/>
                    <a:pt x="1422" y="0"/>
                    <a:pt x="1400" y="0"/>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184" name="Google Shape;8184;p105"/>
            <p:cNvSpPr/>
            <p:nvPr/>
          </p:nvSpPr>
          <p:spPr>
            <a:xfrm>
              <a:off x="4428354" y="1426350"/>
              <a:ext cx="18050" cy="2200"/>
            </a:xfrm>
            <a:custGeom>
              <a:avLst/>
              <a:gdLst/>
              <a:ahLst/>
              <a:cxnLst/>
              <a:rect l="l" t="t" r="r" b="b"/>
              <a:pathLst>
                <a:path w="722" h="88" extrusionOk="0">
                  <a:moveTo>
                    <a:pt x="65" y="1"/>
                  </a:moveTo>
                  <a:cubicBezTo>
                    <a:pt x="0" y="1"/>
                    <a:pt x="0" y="87"/>
                    <a:pt x="65" y="87"/>
                  </a:cubicBezTo>
                  <a:lnTo>
                    <a:pt x="664" y="87"/>
                  </a:lnTo>
                  <a:cubicBezTo>
                    <a:pt x="722" y="87"/>
                    <a:pt x="722" y="1"/>
                    <a:pt x="664" y="1"/>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185" name="Google Shape;8185;p105"/>
            <p:cNvSpPr/>
            <p:nvPr/>
          </p:nvSpPr>
          <p:spPr>
            <a:xfrm>
              <a:off x="4428704" y="1440600"/>
              <a:ext cx="17350" cy="2200"/>
            </a:xfrm>
            <a:custGeom>
              <a:avLst/>
              <a:gdLst/>
              <a:ahLst/>
              <a:cxnLst/>
              <a:rect l="l" t="t" r="r" b="b"/>
              <a:pathLst>
                <a:path w="694" h="88" extrusionOk="0">
                  <a:moveTo>
                    <a:pt x="51" y="1"/>
                  </a:moveTo>
                  <a:cubicBezTo>
                    <a:pt x="22" y="1"/>
                    <a:pt x="1" y="22"/>
                    <a:pt x="1" y="44"/>
                  </a:cubicBezTo>
                  <a:cubicBezTo>
                    <a:pt x="1" y="73"/>
                    <a:pt x="22" y="87"/>
                    <a:pt x="51" y="87"/>
                  </a:cubicBezTo>
                  <a:lnTo>
                    <a:pt x="650" y="87"/>
                  </a:lnTo>
                  <a:cubicBezTo>
                    <a:pt x="672" y="87"/>
                    <a:pt x="693" y="73"/>
                    <a:pt x="693" y="44"/>
                  </a:cubicBezTo>
                  <a:cubicBezTo>
                    <a:pt x="693" y="22"/>
                    <a:pt x="672" y="1"/>
                    <a:pt x="650" y="1"/>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186" name="Google Shape;8186;p105"/>
            <p:cNvSpPr/>
            <p:nvPr/>
          </p:nvSpPr>
          <p:spPr>
            <a:xfrm>
              <a:off x="4428704" y="1454850"/>
              <a:ext cx="36100" cy="2375"/>
            </a:xfrm>
            <a:custGeom>
              <a:avLst/>
              <a:gdLst/>
              <a:ahLst/>
              <a:cxnLst/>
              <a:rect l="l" t="t" r="r" b="b"/>
              <a:pathLst>
                <a:path w="1444" h="95" extrusionOk="0">
                  <a:moveTo>
                    <a:pt x="51" y="0"/>
                  </a:moveTo>
                  <a:cubicBezTo>
                    <a:pt x="22" y="0"/>
                    <a:pt x="1" y="22"/>
                    <a:pt x="1" y="44"/>
                  </a:cubicBezTo>
                  <a:cubicBezTo>
                    <a:pt x="1" y="73"/>
                    <a:pt x="22" y="94"/>
                    <a:pt x="51" y="94"/>
                  </a:cubicBezTo>
                  <a:lnTo>
                    <a:pt x="1400" y="94"/>
                  </a:lnTo>
                  <a:cubicBezTo>
                    <a:pt x="1422" y="94"/>
                    <a:pt x="1443" y="73"/>
                    <a:pt x="1443" y="44"/>
                  </a:cubicBezTo>
                  <a:cubicBezTo>
                    <a:pt x="1443" y="22"/>
                    <a:pt x="1422" y="0"/>
                    <a:pt x="1400" y="0"/>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187" name="Google Shape;8187;p105"/>
            <p:cNvSpPr/>
            <p:nvPr/>
          </p:nvSpPr>
          <p:spPr>
            <a:xfrm>
              <a:off x="4428354" y="1469100"/>
              <a:ext cx="18050" cy="2375"/>
            </a:xfrm>
            <a:custGeom>
              <a:avLst/>
              <a:gdLst/>
              <a:ahLst/>
              <a:cxnLst/>
              <a:rect l="l" t="t" r="r" b="b"/>
              <a:pathLst>
                <a:path w="722" h="95" extrusionOk="0">
                  <a:moveTo>
                    <a:pt x="65" y="0"/>
                  </a:moveTo>
                  <a:cubicBezTo>
                    <a:pt x="0" y="0"/>
                    <a:pt x="0" y="94"/>
                    <a:pt x="65" y="94"/>
                  </a:cubicBezTo>
                  <a:lnTo>
                    <a:pt x="664" y="94"/>
                  </a:lnTo>
                  <a:cubicBezTo>
                    <a:pt x="722" y="94"/>
                    <a:pt x="722" y="0"/>
                    <a:pt x="664" y="0"/>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188" name="Google Shape;8188;p105"/>
            <p:cNvSpPr/>
            <p:nvPr/>
          </p:nvSpPr>
          <p:spPr>
            <a:xfrm>
              <a:off x="4428354" y="1483350"/>
              <a:ext cx="18050" cy="2350"/>
            </a:xfrm>
            <a:custGeom>
              <a:avLst/>
              <a:gdLst/>
              <a:ahLst/>
              <a:cxnLst/>
              <a:rect l="l" t="t" r="r" b="b"/>
              <a:pathLst>
                <a:path w="722" h="94" extrusionOk="0">
                  <a:moveTo>
                    <a:pt x="65" y="0"/>
                  </a:moveTo>
                  <a:cubicBezTo>
                    <a:pt x="0" y="0"/>
                    <a:pt x="0" y="94"/>
                    <a:pt x="65" y="94"/>
                  </a:cubicBezTo>
                  <a:lnTo>
                    <a:pt x="664" y="94"/>
                  </a:lnTo>
                  <a:cubicBezTo>
                    <a:pt x="722" y="94"/>
                    <a:pt x="722" y="0"/>
                    <a:pt x="664" y="0"/>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189" name="Google Shape;8189;p105"/>
            <p:cNvSpPr/>
            <p:nvPr/>
          </p:nvSpPr>
          <p:spPr>
            <a:xfrm>
              <a:off x="4428704" y="1497575"/>
              <a:ext cx="36100" cy="2200"/>
            </a:xfrm>
            <a:custGeom>
              <a:avLst/>
              <a:gdLst/>
              <a:ahLst/>
              <a:cxnLst/>
              <a:rect l="l" t="t" r="r" b="b"/>
              <a:pathLst>
                <a:path w="1444" h="88" extrusionOk="0">
                  <a:moveTo>
                    <a:pt x="51" y="1"/>
                  </a:moveTo>
                  <a:cubicBezTo>
                    <a:pt x="22" y="1"/>
                    <a:pt x="1" y="22"/>
                    <a:pt x="1" y="44"/>
                  </a:cubicBezTo>
                  <a:cubicBezTo>
                    <a:pt x="1" y="73"/>
                    <a:pt x="22" y="87"/>
                    <a:pt x="51" y="87"/>
                  </a:cubicBezTo>
                  <a:lnTo>
                    <a:pt x="1400" y="87"/>
                  </a:lnTo>
                  <a:cubicBezTo>
                    <a:pt x="1422" y="87"/>
                    <a:pt x="1443" y="73"/>
                    <a:pt x="1443" y="44"/>
                  </a:cubicBezTo>
                  <a:cubicBezTo>
                    <a:pt x="1443" y="22"/>
                    <a:pt x="1422" y="1"/>
                    <a:pt x="1400" y="1"/>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190" name="Google Shape;8190;p105"/>
            <p:cNvSpPr/>
            <p:nvPr/>
          </p:nvSpPr>
          <p:spPr>
            <a:xfrm>
              <a:off x="4428704" y="1511825"/>
              <a:ext cx="17350" cy="2375"/>
            </a:xfrm>
            <a:custGeom>
              <a:avLst/>
              <a:gdLst/>
              <a:ahLst/>
              <a:cxnLst/>
              <a:rect l="l" t="t" r="r" b="b"/>
              <a:pathLst>
                <a:path w="694" h="95" extrusionOk="0">
                  <a:moveTo>
                    <a:pt x="51" y="1"/>
                  </a:moveTo>
                  <a:cubicBezTo>
                    <a:pt x="22" y="1"/>
                    <a:pt x="1" y="22"/>
                    <a:pt x="1" y="44"/>
                  </a:cubicBezTo>
                  <a:cubicBezTo>
                    <a:pt x="1" y="73"/>
                    <a:pt x="22" y="94"/>
                    <a:pt x="51" y="94"/>
                  </a:cubicBezTo>
                  <a:lnTo>
                    <a:pt x="650" y="94"/>
                  </a:lnTo>
                  <a:cubicBezTo>
                    <a:pt x="672" y="94"/>
                    <a:pt x="693" y="73"/>
                    <a:pt x="693" y="44"/>
                  </a:cubicBezTo>
                  <a:cubicBezTo>
                    <a:pt x="693" y="22"/>
                    <a:pt x="672" y="1"/>
                    <a:pt x="650" y="1"/>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191" name="Google Shape;8191;p105"/>
            <p:cNvSpPr/>
            <p:nvPr/>
          </p:nvSpPr>
          <p:spPr>
            <a:xfrm>
              <a:off x="4428354" y="1526075"/>
              <a:ext cx="18050" cy="2375"/>
            </a:xfrm>
            <a:custGeom>
              <a:avLst/>
              <a:gdLst/>
              <a:ahLst/>
              <a:cxnLst/>
              <a:rect l="l" t="t" r="r" b="b"/>
              <a:pathLst>
                <a:path w="722" h="95" extrusionOk="0">
                  <a:moveTo>
                    <a:pt x="65" y="0"/>
                  </a:moveTo>
                  <a:cubicBezTo>
                    <a:pt x="0" y="0"/>
                    <a:pt x="0" y="94"/>
                    <a:pt x="65" y="94"/>
                  </a:cubicBezTo>
                  <a:lnTo>
                    <a:pt x="664" y="94"/>
                  </a:lnTo>
                  <a:cubicBezTo>
                    <a:pt x="722" y="94"/>
                    <a:pt x="722" y="0"/>
                    <a:pt x="664" y="0"/>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192" name="Google Shape;8192;p105"/>
            <p:cNvSpPr/>
            <p:nvPr/>
          </p:nvSpPr>
          <p:spPr>
            <a:xfrm>
              <a:off x="4428704" y="1540325"/>
              <a:ext cx="36100" cy="2350"/>
            </a:xfrm>
            <a:custGeom>
              <a:avLst/>
              <a:gdLst/>
              <a:ahLst/>
              <a:cxnLst/>
              <a:rect l="l" t="t" r="r" b="b"/>
              <a:pathLst>
                <a:path w="1444" h="94" extrusionOk="0">
                  <a:moveTo>
                    <a:pt x="51" y="0"/>
                  </a:moveTo>
                  <a:cubicBezTo>
                    <a:pt x="22" y="0"/>
                    <a:pt x="1" y="22"/>
                    <a:pt x="1" y="43"/>
                  </a:cubicBezTo>
                  <a:cubicBezTo>
                    <a:pt x="1" y="72"/>
                    <a:pt x="22" y="94"/>
                    <a:pt x="51" y="94"/>
                  </a:cubicBezTo>
                  <a:lnTo>
                    <a:pt x="1400" y="94"/>
                  </a:lnTo>
                  <a:cubicBezTo>
                    <a:pt x="1422" y="94"/>
                    <a:pt x="1443" y="72"/>
                    <a:pt x="1443" y="43"/>
                  </a:cubicBezTo>
                  <a:cubicBezTo>
                    <a:pt x="1443" y="22"/>
                    <a:pt x="1422" y="0"/>
                    <a:pt x="1400" y="0"/>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193" name="Google Shape;8193;p105"/>
            <p:cNvSpPr/>
            <p:nvPr/>
          </p:nvSpPr>
          <p:spPr>
            <a:xfrm>
              <a:off x="4428704" y="1554550"/>
              <a:ext cx="17350" cy="2375"/>
            </a:xfrm>
            <a:custGeom>
              <a:avLst/>
              <a:gdLst/>
              <a:ahLst/>
              <a:cxnLst/>
              <a:rect l="l" t="t" r="r" b="b"/>
              <a:pathLst>
                <a:path w="694" h="95" extrusionOk="0">
                  <a:moveTo>
                    <a:pt x="51" y="1"/>
                  </a:moveTo>
                  <a:cubicBezTo>
                    <a:pt x="22" y="1"/>
                    <a:pt x="1" y="23"/>
                    <a:pt x="1" y="44"/>
                  </a:cubicBezTo>
                  <a:cubicBezTo>
                    <a:pt x="1" y="73"/>
                    <a:pt x="22" y="95"/>
                    <a:pt x="51" y="95"/>
                  </a:cubicBezTo>
                  <a:lnTo>
                    <a:pt x="650" y="95"/>
                  </a:lnTo>
                  <a:cubicBezTo>
                    <a:pt x="672" y="95"/>
                    <a:pt x="693" y="73"/>
                    <a:pt x="693" y="44"/>
                  </a:cubicBezTo>
                  <a:cubicBezTo>
                    <a:pt x="693" y="23"/>
                    <a:pt x="672" y="1"/>
                    <a:pt x="650" y="1"/>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194" name="Google Shape;8194;p105"/>
            <p:cNvSpPr/>
            <p:nvPr/>
          </p:nvSpPr>
          <p:spPr>
            <a:xfrm>
              <a:off x="4428704" y="1568800"/>
              <a:ext cx="17350" cy="2375"/>
            </a:xfrm>
            <a:custGeom>
              <a:avLst/>
              <a:gdLst/>
              <a:ahLst/>
              <a:cxnLst/>
              <a:rect l="l" t="t" r="r" b="b"/>
              <a:pathLst>
                <a:path w="694" h="95" extrusionOk="0">
                  <a:moveTo>
                    <a:pt x="51" y="1"/>
                  </a:moveTo>
                  <a:cubicBezTo>
                    <a:pt x="22" y="1"/>
                    <a:pt x="1" y="22"/>
                    <a:pt x="1" y="44"/>
                  </a:cubicBezTo>
                  <a:cubicBezTo>
                    <a:pt x="1" y="73"/>
                    <a:pt x="22" y="95"/>
                    <a:pt x="51" y="95"/>
                  </a:cubicBezTo>
                  <a:lnTo>
                    <a:pt x="650" y="95"/>
                  </a:lnTo>
                  <a:cubicBezTo>
                    <a:pt x="672" y="95"/>
                    <a:pt x="693" y="73"/>
                    <a:pt x="693" y="44"/>
                  </a:cubicBezTo>
                  <a:cubicBezTo>
                    <a:pt x="693" y="22"/>
                    <a:pt x="672" y="1"/>
                    <a:pt x="650" y="1"/>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195" name="Google Shape;8195;p105"/>
            <p:cNvSpPr/>
            <p:nvPr/>
          </p:nvSpPr>
          <p:spPr>
            <a:xfrm>
              <a:off x="4428354" y="1583050"/>
              <a:ext cx="36800" cy="2375"/>
            </a:xfrm>
            <a:custGeom>
              <a:avLst/>
              <a:gdLst/>
              <a:ahLst/>
              <a:cxnLst/>
              <a:rect l="l" t="t" r="r" b="b"/>
              <a:pathLst>
                <a:path w="1472" h="95" extrusionOk="0">
                  <a:moveTo>
                    <a:pt x="65" y="1"/>
                  </a:moveTo>
                  <a:cubicBezTo>
                    <a:pt x="0" y="1"/>
                    <a:pt x="0" y="94"/>
                    <a:pt x="65" y="94"/>
                  </a:cubicBezTo>
                  <a:lnTo>
                    <a:pt x="1414" y="94"/>
                  </a:lnTo>
                  <a:cubicBezTo>
                    <a:pt x="1472" y="94"/>
                    <a:pt x="1472" y="1"/>
                    <a:pt x="1414" y="1"/>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196" name="Google Shape;8196;p105"/>
            <p:cNvSpPr/>
            <p:nvPr/>
          </p:nvSpPr>
          <p:spPr>
            <a:xfrm>
              <a:off x="4428704" y="1597300"/>
              <a:ext cx="17350" cy="2375"/>
            </a:xfrm>
            <a:custGeom>
              <a:avLst/>
              <a:gdLst/>
              <a:ahLst/>
              <a:cxnLst/>
              <a:rect l="l" t="t" r="r" b="b"/>
              <a:pathLst>
                <a:path w="694" h="95" extrusionOk="0">
                  <a:moveTo>
                    <a:pt x="51" y="0"/>
                  </a:moveTo>
                  <a:cubicBezTo>
                    <a:pt x="22" y="0"/>
                    <a:pt x="1" y="22"/>
                    <a:pt x="1" y="44"/>
                  </a:cubicBezTo>
                  <a:cubicBezTo>
                    <a:pt x="1" y="72"/>
                    <a:pt x="22" y="94"/>
                    <a:pt x="51" y="94"/>
                  </a:cubicBezTo>
                  <a:lnTo>
                    <a:pt x="650" y="94"/>
                  </a:lnTo>
                  <a:cubicBezTo>
                    <a:pt x="672" y="94"/>
                    <a:pt x="693" y="72"/>
                    <a:pt x="693" y="44"/>
                  </a:cubicBezTo>
                  <a:cubicBezTo>
                    <a:pt x="693" y="22"/>
                    <a:pt x="672" y="0"/>
                    <a:pt x="650" y="0"/>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197" name="Google Shape;8197;p105"/>
            <p:cNvSpPr/>
            <p:nvPr/>
          </p:nvSpPr>
          <p:spPr>
            <a:xfrm>
              <a:off x="4428704" y="1611550"/>
              <a:ext cx="17350" cy="2350"/>
            </a:xfrm>
            <a:custGeom>
              <a:avLst/>
              <a:gdLst/>
              <a:ahLst/>
              <a:cxnLst/>
              <a:rect l="l" t="t" r="r" b="b"/>
              <a:pathLst>
                <a:path w="694" h="94" extrusionOk="0">
                  <a:moveTo>
                    <a:pt x="51" y="0"/>
                  </a:moveTo>
                  <a:cubicBezTo>
                    <a:pt x="22" y="0"/>
                    <a:pt x="1" y="22"/>
                    <a:pt x="1" y="51"/>
                  </a:cubicBezTo>
                  <a:cubicBezTo>
                    <a:pt x="1" y="72"/>
                    <a:pt x="22" y="94"/>
                    <a:pt x="51" y="94"/>
                  </a:cubicBezTo>
                  <a:lnTo>
                    <a:pt x="650" y="94"/>
                  </a:lnTo>
                  <a:cubicBezTo>
                    <a:pt x="672" y="94"/>
                    <a:pt x="693" y="72"/>
                    <a:pt x="693" y="51"/>
                  </a:cubicBezTo>
                  <a:cubicBezTo>
                    <a:pt x="693" y="22"/>
                    <a:pt x="672" y="0"/>
                    <a:pt x="650" y="0"/>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198" name="Google Shape;8198;p105"/>
            <p:cNvSpPr/>
            <p:nvPr/>
          </p:nvSpPr>
          <p:spPr>
            <a:xfrm>
              <a:off x="4428704" y="1625775"/>
              <a:ext cx="36100" cy="2375"/>
            </a:xfrm>
            <a:custGeom>
              <a:avLst/>
              <a:gdLst/>
              <a:ahLst/>
              <a:cxnLst/>
              <a:rect l="l" t="t" r="r" b="b"/>
              <a:pathLst>
                <a:path w="1444" h="95" extrusionOk="0">
                  <a:moveTo>
                    <a:pt x="51" y="1"/>
                  </a:moveTo>
                  <a:cubicBezTo>
                    <a:pt x="22" y="1"/>
                    <a:pt x="1" y="23"/>
                    <a:pt x="1" y="51"/>
                  </a:cubicBezTo>
                  <a:cubicBezTo>
                    <a:pt x="1" y="73"/>
                    <a:pt x="22" y="95"/>
                    <a:pt x="51" y="95"/>
                  </a:cubicBezTo>
                  <a:lnTo>
                    <a:pt x="1400" y="95"/>
                  </a:lnTo>
                  <a:cubicBezTo>
                    <a:pt x="1422" y="95"/>
                    <a:pt x="1443" y="73"/>
                    <a:pt x="1443" y="51"/>
                  </a:cubicBezTo>
                  <a:cubicBezTo>
                    <a:pt x="1443" y="23"/>
                    <a:pt x="1422" y="1"/>
                    <a:pt x="1400" y="1"/>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199" name="Google Shape;8199;p105"/>
            <p:cNvSpPr/>
            <p:nvPr/>
          </p:nvSpPr>
          <p:spPr>
            <a:xfrm>
              <a:off x="4428354" y="1640025"/>
              <a:ext cx="18050" cy="2375"/>
            </a:xfrm>
            <a:custGeom>
              <a:avLst/>
              <a:gdLst/>
              <a:ahLst/>
              <a:cxnLst/>
              <a:rect l="l" t="t" r="r" b="b"/>
              <a:pathLst>
                <a:path w="722" h="95" extrusionOk="0">
                  <a:moveTo>
                    <a:pt x="65" y="1"/>
                  </a:moveTo>
                  <a:cubicBezTo>
                    <a:pt x="0" y="1"/>
                    <a:pt x="0" y="94"/>
                    <a:pt x="65" y="94"/>
                  </a:cubicBezTo>
                  <a:lnTo>
                    <a:pt x="664" y="94"/>
                  </a:lnTo>
                  <a:cubicBezTo>
                    <a:pt x="722" y="94"/>
                    <a:pt x="722" y="1"/>
                    <a:pt x="664" y="1"/>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200" name="Google Shape;8200;p105"/>
            <p:cNvSpPr/>
            <p:nvPr/>
          </p:nvSpPr>
          <p:spPr>
            <a:xfrm>
              <a:off x="4428704" y="1654275"/>
              <a:ext cx="17350" cy="2375"/>
            </a:xfrm>
            <a:custGeom>
              <a:avLst/>
              <a:gdLst/>
              <a:ahLst/>
              <a:cxnLst/>
              <a:rect l="l" t="t" r="r" b="b"/>
              <a:pathLst>
                <a:path w="694" h="95" extrusionOk="0">
                  <a:moveTo>
                    <a:pt x="51" y="0"/>
                  </a:moveTo>
                  <a:cubicBezTo>
                    <a:pt x="22" y="0"/>
                    <a:pt x="1" y="22"/>
                    <a:pt x="1" y="51"/>
                  </a:cubicBezTo>
                  <a:cubicBezTo>
                    <a:pt x="1" y="73"/>
                    <a:pt x="22" y="94"/>
                    <a:pt x="51" y="94"/>
                  </a:cubicBezTo>
                  <a:lnTo>
                    <a:pt x="650" y="94"/>
                  </a:lnTo>
                  <a:cubicBezTo>
                    <a:pt x="672" y="94"/>
                    <a:pt x="693" y="73"/>
                    <a:pt x="693" y="51"/>
                  </a:cubicBezTo>
                  <a:cubicBezTo>
                    <a:pt x="693" y="22"/>
                    <a:pt x="672" y="0"/>
                    <a:pt x="650" y="0"/>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201" name="Google Shape;8201;p105"/>
            <p:cNvSpPr/>
            <p:nvPr/>
          </p:nvSpPr>
          <p:spPr>
            <a:xfrm>
              <a:off x="4428704" y="1668525"/>
              <a:ext cx="36100" cy="2350"/>
            </a:xfrm>
            <a:custGeom>
              <a:avLst/>
              <a:gdLst/>
              <a:ahLst/>
              <a:cxnLst/>
              <a:rect l="l" t="t" r="r" b="b"/>
              <a:pathLst>
                <a:path w="1444" h="94" extrusionOk="0">
                  <a:moveTo>
                    <a:pt x="51" y="0"/>
                  </a:moveTo>
                  <a:cubicBezTo>
                    <a:pt x="22" y="0"/>
                    <a:pt x="1" y="22"/>
                    <a:pt x="1" y="51"/>
                  </a:cubicBezTo>
                  <a:cubicBezTo>
                    <a:pt x="1" y="72"/>
                    <a:pt x="22" y="94"/>
                    <a:pt x="51" y="94"/>
                  </a:cubicBezTo>
                  <a:lnTo>
                    <a:pt x="1400" y="94"/>
                  </a:lnTo>
                  <a:cubicBezTo>
                    <a:pt x="1422" y="94"/>
                    <a:pt x="1443" y="72"/>
                    <a:pt x="1443" y="51"/>
                  </a:cubicBezTo>
                  <a:cubicBezTo>
                    <a:pt x="1443" y="22"/>
                    <a:pt x="1422" y="0"/>
                    <a:pt x="1400" y="0"/>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202" name="Google Shape;8202;p105"/>
            <p:cNvSpPr/>
            <p:nvPr/>
          </p:nvSpPr>
          <p:spPr>
            <a:xfrm>
              <a:off x="4428704" y="1682950"/>
              <a:ext cx="17350" cy="2175"/>
            </a:xfrm>
            <a:custGeom>
              <a:avLst/>
              <a:gdLst/>
              <a:ahLst/>
              <a:cxnLst/>
              <a:rect l="l" t="t" r="r" b="b"/>
              <a:pathLst>
                <a:path w="694" h="87" extrusionOk="0">
                  <a:moveTo>
                    <a:pt x="51" y="0"/>
                  </a:moveTo>
                  <a:cubicBezTo>
                    <a:pt x="22" y="0"/>
                    <a:pt x="1" y="15"/>
                    <a:pt x="1" y="43"/>
                  </a:cubicBezTo>
                  <a:cubicBezTo>
                    <a:pt x="1" y="65"/>
                    <a:pt x="22" y="87"/>
                    <a:pt x="51" y="87"/>
                  </a:cubicBezTo>
                  <a:lnTo>
                    <a:pt x="650" y="87"/>
                  </a:lnTo>
                  <a:cubicBezTo>
                    <a:pt x="672" y="87"/>
                    <a:pt x="693" y="65"/>
                    <a:pt x="693" y="43"/>
                  </a:cubicBezTo>
                  <a:cubicBezTo>
                    <a:pt x="693" y="15"/>
                    <a:pt x="672" y="0"/>
                    <a:pt x="650" y="0"/>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203" name="Google Shape;8203;p105"/>
            <p:cNvSpPr/>
            <p:nvPr/>
          </p:nvSpPr>
          <p:spPr>
            <a:xfrm>
              <a:off x="4428354" y="1697200"/>
              <a:ext cx="18050" cy="2175"/>
            </a:xfrm>
            <a:custGeom>
              <a:avLst/>
              <a:gdLst/>
              <a:ahLst/>
              <a:cxnLst/>
              <a:rect l="l" t="t" r="r" b="b"/>
              <a:pathLst>
                <a:path w="722" h="87" extrusionOk="0">
                  <a:moveTo>
                    <a:pt x="65" y="0"/>
                  </a:moveTo>
                  <a:cubicBezTo>
                    <a:pt x="0" y="0"/>
                    <a:pt x="0" y="87"/>
                    <a:pt x="65" y="87"/>
                  </a:cubicBezTo>
                  <a:lnTo>
                    <a:pt x="664" y="87"/>
                  </a:lnTo>
                  <a:cubicBezTo>
                    <a:pt x="722" y="87"/>
                    <a:pt x="722" y="0"/>
                    <a:pt x="664" y="0"/>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204" name="Google Shape;8204;p105"/>
            <p:cNvSpPr/>
            <p:nvPr/>
          </p:nvSpPr>
          <p:spPr>
            <a:xfrm>
              <a:off x="4428704" y="1711425"/>
              <a:ext cx="36100" cy="2200"/>
            </a:xfrm>
            <a:custGeom>
              <a:avLst/>
              <a:gdLst/>
              <a:ahLst/>
              <a:cxnLst/>
              <a:rect l="l" t="t" r="r" b="b"/>
              <a:pathLst>
                <a:path w="1444" h="88" extrusionOk="0">
                  <a:moveTo>
                    <a:pt x="51" y="1"/>
                  </a:moveTo>
                  <a:cubicBezTo>
                    <a:pt x="22" y="1"/>
                    <a:pt x="1" y="15"/>
                    <a:pt x="1" y="44"/>
                  </a:cubicBezTo>
                  <a:cubicBezTo>
                    <a:pt x="1" y="66"/>
                    <a:pt x="22" y="87"/>
                    <a:pt x="51" y="87"/>
                  </a:cubicBezTo>
                  <a:lnTo>
                    <a:pt x="1400" y="87"/>
                  </a:lnTo>
                  <a:cubicBezTo>
                    <a:pt x="1422" y="87"/>
                    <a:pt x="1443" y="66"/>
                    <a:pt x="1443" y="44"/>
                  </a:cubicBezTo>
                  <a:cubicBezTo>
                    <a:pt x="1443" y="15"/>
                    <a:pt x="1422" y="1"/>
                    <a:pt x="1400" y="1"/>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205" name="Google Shape;8205;p105"/>
            <p:cNvSpPr/>
            <p:nvPr/>
          </p:nvSpPr>
          <p:spPr>
            <a:xfrm>
              <a:off x="4428704" y="1725675"/>
              <a:ext cx="17350" cy="2375"/>
            </a:xfrm>
            <a:custGeom>
              <a:avLst/>
              <a:gdLst/>
              <a:ahLst/>
              <a:cxnLst/>
              <a:rect l="l" t="t" r="r" b="b"/>
              <a:pathLst>
                <a:path w="694" h="95" extrusionOk="0">
                  <a:moveTo>
                    <a:pt x="51" y="1"/>
                  </a:moveTo>
                  <a:cubicBezTo>
                    <a:pt x="22" y="1"/>
                    <a:pt x="1" y="22"/>
                    <a:pt x="1" y="44"/>
                  </a:cubicBezTo>
                  <a:cubicBezTo>
                    <a:pt x="1" y="73"/>
                    <a:pt x="22" y="94"/>
                    <a:pt x="51" y="94"/>
                  </a:cubicBezTo>
                  <a:lnTo>
                    <a:pt x="650" y="94"/>
                  </a:lnTo>
                  <a:cubicBezTo>
                    <a:pt x="672" y="87"/>
                    <a:pt x="693" y="73"/>
                    <a:pt x="693" y="44"/>
                  </a:cubicBezTo>
                  <a:cubicBezTo>
                    <a:pt x="693" y="22"/>
                    <a:pt x="672" y="1"/>
                    <a:pt x="650" y="1"/>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206" name="Google Shape;8206;p105"/>
            <p:cNvSpPr/>
            <p:nvPr/>
          </p:nvSpPr>
          <p:spPr>
            <a:xfrm>
              <a:off x="4428704" y="1739925"/>
              <a:ext cx="17350" cy="2175"/>
            </a:xfrm>
            <a:custGeom>
              <a:avLst/>
              <a:gdLst/>
              <a:ahLst/>
              <a:cxnLst/>
              <a:rect l="l" t="t" r="r" b="b"/>
              <a:pathLst>
                <a:path w="694" h="87" extrusionOk="0">
                  <a:moveTo>
                    <a:pt x="51" y="0"/>
                  </a:moveTo>
                  <a:cubicBezTo>
                    <a:pt x="22" y="0"/>
                    <a:pt x="1" y="15"/>
                    <a:pt x="1" y="44"/>
                  </a:cubicBezTo>
                  <a:cubicBezTo>
                    <a:pt x="1" y="65"/>
                    <a:pt x="22" y="87"/>
                    <a:pt x="51" y="87"/>
                  </a:cubicBezTo>
                  <a:lnTo>
                    <a:pt x="650" y="87"/>
                  </a:lnTo>
                  <a:cubicBezTo>
                    <a:pt x="672" y="87"/>
                    <a:pt x="693" y="65"/>
                    <a:pt x="693" y="44"/>
                  </a:cubicBezTo>
                  <a:cubicBezTo>
                    <a:pt x="693" y="15"/>
                    <a:pt x="672" y="0"/>
                    <a:pt x="650" y="0"/>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207" name="Google Shape;8207;p105"/>
            <p:cNvSpPr/>
            <p:nvPr/>
          </p:nvSpPr>
          <p:spPr>
            <a:xfrm>
              <a:off x="4428354" y="1754175"/>
              <a:ext cx="36800" cy="2175"/>
            </a:xfrm>
            <a:custGeom>
              <a:avLst/>
              <a:gdLst/>
              <a:ahLst/>
              <a:cxnLst/>
              <a:rect l="l" t="t" r="r" b="b"/>
              <a:pathLst>
                <a:path w="1472" h="87" extrusionOk="0">
                  <a:moveTo>
                    <a:pt x="65" y="0"/>
                  </a:moveTo>
                  <a:cubicBezTo>
                    <a:pt x="0" y="0"/>
                    <a:pt x="0" y="87"/>
                    <a:pt x="65" y="87"/>
                  </a:cubicBezTo>
                  <a:lnTo>
                    <a:pt x="1414" y="87"/>
                  </a:lnTo>
                  <a:cubicBezTo>
                    <a:pt x="1472" y="87"/>
                    <a:pt x="1472" y="0"/>
                    <a:pt x="1414" y="0"/>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208" name="Google Shape;8208;p105"/>
            <p:cNvSpPr/>
            <p:nvPr/>
          </p:nvSpPr>
          <p:spPr>
            <a:xfrm>
              <a:off x="4428704" y="1768400"/>
              <a:ext cx="17350" cy="2200"/>
            </a:xfrm>
            <a:custGeom>
              <a:avLst/>
              <a:gdLst/>
              <a:ahLst/>
              <a:cxnLst/>
              <a:rect l="l" t="t" r="r" b="b"/>
              <a:pathLst>
                <a:path w="694" h="88" extrusionOk="0">
                  <a:moveTo>
                    <a:pt x="51" y="1"/>
                  </a:moveTo>
                  <a:cubicBezTo>
                    <a:pt x="22" y="1"/>
                    <a:pt x="1" y="15"/>
                    <a:pt x="1" y="44"/>
                  </a:cubicBezTo>
                  <a:cubicBezTo>
                    <a:pt x="1" y="66"/>
                    <a:pt x="22" y="87"/>
                    <a:pt x="51" y="87"/>
                  </a:cubicBezTo>
                  <a:lnTo>
                    <a:pt x="650" y="87"/>
                  </a:lnTo>
                  <a:cubicBezTo>
                    <a:pt x="672" y="87"/>
                    <a:pt x="693" y="66"/>
                    <a:pt x="693" y="44"/>
                  </a:cubicBezTo>
                  <a:cubicBezTo>
                    <a:pt x="693" y="15"/>
                    <a:pt x="672" y="1"/>
                    <a:pt x="650" y="1"/>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209" name="Google Shape;8209;p105"/>
            <p:cNvSpPr/>
            <p:nvPr/>
          </p:nvSpPr>
          <p:spPr>
            <a:xfrm>
              <a:off x="4428704" y="1782650"/>
              <a:ext cx="17350" cy="2200"/>
            </a:xfrm>
            <a:custGeom>
              <a:avLst/>
              <a:gdLst/>
              <a:ahLst/>
              <a:cxnLst/>
              <a:rect l="l" t="t" r="r" b="b"/>
              <a:pathLst>
                <a:path w="694" h="88" extrusionOk="0">
                  <a:moveTo>
                    <a:pt x="51" y="1"/>
                  </a:moveTo>
                  <a:cubicBezTo>
                    <a:pt x="22" y="1"/>
                    <a:pt x="1" y="22"/>
                    <a:pt x="1" y="44"/>
                  </a:cubicBezTo>
                  <a:cubicBezTo>
                    <a:pt x="1" y="66"/>
                    <a:pt x="22" y="87"/>
                    <a:pt x="51" y="87"/>
                  </a:cubicBezTo>
                  <a:lnTo>
                    <a:pt x="650" y="87"/>
                  </a:lnTo>
                  <a:cubicBezTo>
                    <a:pt x="672" y="87"/>
                    <a:pt x="693" y="66"/>
                    <a:pt x="693" y="44"/>
                  </a:cubicBezTo>
                  <a:cubicBezTo>
                    <a:pt x="693" y="22"/>
                    <a:pt x="672" y="1"/>
                    <a:pt x="650" y="1"/>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210" name="Google Shape;8210;p105"/>
            <p:cNvSpPr/>
            <p:nvPr/>
          </p:nvSpPr>
          <p:spPr>
            <a:xfrm>
              <a:off x="4428542" y="1796744"/>
              <a:ext cx="36100" cy="2200"/>
            </a:xfrm>
            <a:custGeom>
              <a:avLst/>
              <a:gdLst/>
              <a:ahLst/>
              <a:cxnLst/>
              <a:rect l="l" t="t" r="r" b="b"/>
              <a:pathLst>
                <a:path w="1444" h="88" extrusionOk="0">
                  <a:moveTo>
                    <a:pt x="51" y="0"/>
                  </a:moveTo>
                  <a:cubicBezTo>
                    <a:pt x="22" y="0"/>
                    <a:pt x="1" y="22"/>
                    <a:pt x="1" y="44"/>
                  </a:cubicBezTo>
                  <a:cubicBezTo>
                    <a:pt x="1" y="65"/>
                    <a:pt x="22" y="87"/>
                    <a:pt x="51" y="87"/>
                  </a:cubicBezTo>
                  <a:lnTo>
                    <a:pt x="1400" y="87"/>
                  </a:lnTo>
                  <a:cubicBezTo>
                    <a:pt x="1422" y="87"/>
                    <a:pt x="1443" y="65"/>
                    <a:pt x="1443" y="44"/>
                  </a:cubicBezTo>
                  <a:cubicBezTo>
                    <a:pt x="1443" y="22"/>
                    <a:pt x="1422" y="0"/>
                    <a:pt x="1400" y="0"/>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8211" name="Google Shape;8211;p105"/>
          <p:cNvGrpSpPr/>
          <p:nvPr/>
        </p:nvGrpSpPr>
        <p:grpSpPr>
          <a:xfrm rot="10800000" flipH="1">
            <a:off x="7133107" y="4035507"/>
            <a:ext cx="1892276" cy="33077"/>
            <a:chOff x="219558" y="4738465"/>
            <a:chExt cx="5852400" cy="102300"/>
          </a:xfrm>
        </p:grpSpPr>
        <p:cxnSp>
          <p:nvCxnSpPr>
            <p:cNvPr id="8212" name="Google Shape;8212;p105"/>
            <p:cNvCxnSpPr/>
            <p:nvPr/>
          </p:nvCxnSpPr>
          <p:spPr>
            <a:xfrm>
              <a:off x="219558" y="4789684"/>
              <a:ext cx="5852400" cy="0"/>
            </a:xfrm>
            <a:prstGeom prst="straightConnector1">
              <a:avLst/>
            </a:prstGeom>
            <a:noFill/>
            <a:ln w="9525" cap="flat" cmpd="sng">
              <a:solidFill>
                <a:srgbClr val="5F7D95"/>
              </a:solidFill>
              <a:prstDash val="solid"/>
              <a:round/>
              <a:headEnd type="oval" w="med" len="med"/>
              <a:tailEnd type="oval" w="med" len="med"/>
            </a:ln>
          </p:spPr>
        </p:cxnSp>
        <p:sp>
          <p:nvSpPr>
            <p:cNvPr id="8213" name="Google Shape;8213;p105"/>
            <p:cNvSpPr/>
            <p:nvPr/>
          </p:nvSpPr>
          <p:spPr>
            <a:xfrm>
              <a:off x="1200298" y="4738465"/>
              <a:ext cx="102300" cy="102300"/>
            </a:xfrm>
            <a:prstGeom prst="ellipse">
              <a:avLst/>
            </a:pr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214" name="Google Shape;8214;p105"/>
            <p:cNvSpPr/>
            <p:nvPr/>
          </p:nvSpPr>
          <p:spPr>
            <a:xfrm>
              <a:off x="2175146" y="4738465"/>
              <a:ext cx="102300" cy="102300"/>
            </a:xfrm>
            <a:prstGeom prst="ellipse">
              <a:avLst/>
            </a:pr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215" name="Google Shape;8215;p105"/>
            <p:cNvSpPr/>
            <p:nvPr/>
          </p:nvSpPr>
          <p:spPr>
            <a:xfrm>
              <a:off x="3040751" y="4738465"/>
              <a:ext cx="102300" cy="102300"/>
            </a:xfrm>
            <a:prstGeom prst="ellipse">
              <a:avLst/>
            </a:pr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216" name="Google Shape;8216;p105"/>
            <p:cNvSpPr/>
            <p:nvPr/>
          </p:nvSpPr>
          <p:spPr>
            <a:xfrm>
              <a:off x="4028157" y="4738465"/>
              <a:ext cx="102300" cy="102300"/>
            </a:xfrm>
            <a:prstGeom prst="ellipse">
              <a:avLst/>
            </a:pr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217" name="Google Shape;8217;p105"/>
            <p:cNvSpPr/>
            <p:nvPr/>
          </p:nvSpPr>
          <p:spPr>
            <a:xfrm>
              <a:off x="5040827" y="4738465"/>
              <a:ext cx="102300" cy="102300"/>
            </a:xfrm>
            <a:prstGeom prst="ellipse">
              <a:avLst/>
            </a:pr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8218" name="Google Shape;8218;p105"/>
          <p:cNvGrpSpPr/>
          <p:nvPr/>
        </p:nvGrpSpPr>
        <p:grpSpPr>
          <a:xfrm>
            <a:off x="7148198" y="4532925"/>
            <a:ext cx="1862093" cy="513355"/>
            <a:chOff x="5286284" y="2966544"/>
            <a:chExt cx="1396570" cy="385016"/>
          </a:xfrm>
        </p:grpSpPr>
        <p:cxnSp>
          <p:nvCxnSpPr>
            <p:cNvPr id="8219" name="Google Shape;8219;p105"/>
            <p:cNvCxnSpPr/>
            <p:nvPr/>
          </p:nvCxnSpPr>
          <p:spPr>
            <a:xfrm>
              <a:off x="5752056" y="3094781"/>
              <a:ext cx="470100" cy="0"/>
            </a:xfrm>
            <a:prstGeom prst="straightConnector1">
              <a:avLst/>
            </a:prstGeom>
            <a:noFill/>
            <a:ln w="9525" cap="flat" cmpd="sng">
              <a:solidFill>
                <a:srgbClr val="435D74"/>
              </a:solidFill>
              <a:prstDash val="solid"/>
              <a:round/>
              <a:headEnd type="oval" w="med" len="med"/>
              <a:tailEnd type="oval" w="med" len="med"/>
            </a:ln>
          </p:spPr>
        </p:cxnSp>
        <p:cxnSp>
          <p:nvCxnSpPr>
            <p:cNvPr id="8220" name="Google Shape;8220;p105"/>
            <p:cNvCxnSpPr/>
            <p:nvPr/>
          </p:nvCxnSpPr>
          <p:spPr>
            <a:xfrm>
              <a:off x="5980194" y="3351560"/>
              <a:ext cx="594300" cy="0"/>
            </a:xfrm>
            <a:prstGeom prst="straightConnector1">
              <a:avLst/>
            </a:prstGeom>
            <a:noFill/>
            <a:ln w="9525" cap="flat" cmpd="sng">
              <a:solidFill>
                <a:srgbClr val="435D74"/>
              </a:solidFill>
              <a:prstDash val="solid"/>
              <a:round/>
              <a:headEnd type="oval" w="med" len="med"/>
              <a:tailEnd type="oval" w="med" len="med"/>
            </a:ln>
          </p:spPr>
        </p:cxnSp>
        <p:grpSp>
          <p:nvGrpSpPr>
            <p:cNvPr id="8221" name="Google Shape;8221;p105"/>
            <p:cNvGrpSpPr/>
            <p:nvPr/>
          </p:nvGrpSpPr>
          <p:grpSpPr>
            <a:xfrm>
              <a:off x="5287688" y="3173364"/>
              <a:ext cx="1395166" cy="74100"/>
              <a:chOff x="5287688" y="3173364"/>
              <a:chExt cx="1395166" cy="74100"/>
            </a:xfrm>
          </p:grpSpPr>
          <p:cxnSp>
            <p:nvCxnSpPr>
              <p:cNvPr id="8222" name="Google Shape;8222;p105"/>
              <p:cNvCxnSpPr/>
              <p:nvPr/>
            </p:nvCxnSpPr>
            <p:spPr>
              <a:xfrm>
                <a:off x="6682853" y="3173540"/>
                <a:ext cx="0" cy="73800"/>
              </a:xfrm>
              <a:prstGeom prst="straightConnector1">
                <a:avLst/>
              </a:prstGeom>
              <a:noFill/>
              <a:ln w="9525" cap="flat" cmpd="sng">
                <a:solidFill>
                  <a:srgbClr val="5F7D95"/>
                </a:solidFill>
                <a:prstDash val="solid"/>
                <a:round/>
                <a:headEnd type="none" w="med" len="med"/>
                <a:tailEnd type="none" w="med" len="med"/>
              </a:ln>
            </p:spPr>
          </p:cxnSp>
          <p:cxnSp>
            <p:nvCxnSpPr>
              <p:cNvPr id="8223" name="Google Shape;8223;p105"/>
              <p:cNvCxnSpPr/>
              <p:nvPr/>
            </p:nvCxnSpPr>
            <p:spPr>
              <a:xfrm>
                <a:off x="5287688" y="3210371"/>
                <a:ext cx="1394700" cy="0"/>
              </a:xfrm>
              <a:prstGeom prst="straightConnector1">
                <a:avLst/>
              </a:prstGeom>
              <a:noFill/>
              <a:ln w="9525" cap="flat" cmpd="sng">
                <a:solidFill>
                  <a:srgbClr val="5F7D95"/>
                </a:solidFill>
                <a:prstDash val="solid"/>
                <a:round/>
                <a:headEnd type="none" w="med" len="med"/>
                <a:tailEnd type="none" w="med" len="med"/>
              </a:ln>
            </p:spPr>
          </p:cxnSp>
          <p:cxnSp>
            <p:nvCxnSpPr>
              <p:cNvPr id="8224" name="Google Shape;8224;p105"/>
              <p:cNvCxnSpPr/>
              <p:nvPr/>
            </p:nvCxnSpPr>
            <p:spPr>
              <a:xfrm>
                <a:off x="5518476" y="3173364"/>
                <a:ext cx="0" cy="74100"/>
              </a:xfrm>
              <a:prstGeom prst="straightConnector1">
                <a:avLst/>
              </a:prstGeom>
              <a:noFill/>
              <a:ln w="9525" cap="flat" cmpd="sng">
                <a:solidFill>
                  <a:srgbClr val="5F7D95"/>
                </a:solidFill>
                <a:prstDash val="solid"/>
                <a:round/>
                <a:headEnd type="none" w="med" len="med"/>
                <a:tailEnd type="none" w="med" len="med"/>
              </a:ln>
            </p:spPr>
          </p:cxnSp>
          <p:cxnSp>
            <p:nvCxnSpPr>
              <p:cNvPr id="8225" name="Google Shape;8225;p105"/>
              <p:cNvCxnSpPr/>
              <p:nvPr/>
            </p:nvCxnSpPr>
            <p:spPr>
              <a:xfrm>
                <a:off x="5287935" y="3173364"/>
                <a:ext cx="0" cy="74100"/>
              </a:xfrm>
              <a:prstGeom prst="straightConnector1">
                <a:avLst/>
              </a:prstGeom>
              <a:noFill/>
              <a:ln w="9525" cap="flat" cmpd="sng">
                <a:solidFill>
                  <a:srgbClr val="5F7D95"/>
                </a:solidFill>
                <a:prstDash val="solid"/>
                <a:round/>
                <a:headEnd type="none" w="med" len="med"/>
                <a:tailEnd type="none" w="med" len="med"/>
              </a:ln>
            </p:spPr>
          </p:cxnSp>
          <p:cxnSp>
            <p:nvCxnSpPr>
              <p:cNvPr id="8226" name="Google Shape;8226;p105"/>
              <p:cNvCxnSpPr/>
              <p:nvPr/>
            </p:nvCxnSpPr>
            <p:spPr>
              <a:xfrm>
                <a:off x="5751239" y="3173364"/>
                <a:ext cx="0" cy="74100"/>
              </a:xfrm>
              <a:prstGeom prst="straightConnector1">
                <a:avLst/>
              </a:prstGeom>
              <a:noFill/>
              <a:ln w="9525" cap="flat" cmpd="sng">
                <a:solidFill>
                  <a:srgbClr val="5F7D95"/>
                </a:solidFill>
                <a:prstDash val="solid"/>
                <a:round/>
                <a:headEnd type="none" w="med" len="med"/>
                <a:tailEnd type="none" w="med" len="med"/>
              </a:ln>
            </p:spPr>
          </p:cxnSp>
          <p:cxnSp>
            <p:nvCxnSpPr>
              <p:cNvPr id="8227" name="Google Shape;8227;p105"/>
              <p:cNvCxnSpPr/>
              <p:nvPr/>
            </p:nvCxnSpPr>
            <p:spPr>
              <a:xfrm>
                <a:off x="5982252" y="3173364"/>
                <a:ext cx="0" cy="74100"/>
              </a:xfrm>
              <a:prstGeom prst="straightConnector1">
                <a:avLst/>
              </a:prstGeom>
              <a:noFill/>
              <a:ln w="9525" cap="flat" cmpd="sng">
                <a:solidFill>
                  <a:srgbClr val="5F7D95"/>
                </a:solidFill>
                <a:prstDash val="solid"/>
                <a:round/>
                <a:headEnd type="none" w="med" len="med"/>
                <a:tailEnd type="none" w="med" len="med"/>
              </a:ln>
            </p:spPr>
          </p:cxnSp>
          <p:cxnSp>
            <p:nvCxnSpPr>
              <p:cNvPr id="8228" name="Google Shape;8228;p105"/>
              <p:cNvCxnSpPr/>
              <p:nvPr/>
            </p:nvCxnSpPr>
            <p:spPr>
              <a:xfrm>
                <a:off x="6216184" y="3173364"/>
                <a:ext cx="0" cy="74100"/>
              </a:xfrm>
              <a:prstGeom prst="straightConnector1">
                <a:avLst/>
              </a:prstGeom>
              <a:noFill/>
              <a:ln w="9525" cap="flat" cmpd="sng">
                <a:solidFill>
                  <a:srgbClr val="5F7D95"/>
                </a:solidFill>
                <a:prstDash val="solid"/>
                <a:round/>
                <a:headEnd type="none" w="med" len="med"/>
                <a:tailEnd type="none" w="med" len="med"/>
              </a:ln>
            </p:spPr>
          </p:cxnSp>
          <p:cxnSp>
            <p:nvCxnSpPr>
              <p:cNvPr id="8229" name="Google Shape;8229;p105"/>
              <p:cNvCxnSpPr/>
              <p:nvPr/>
            </p:nvCxnSpPr>
            <p:spPr>
              <a:xfrm>
                <a:off x="6449534" y="3173364"/>
                <a:ext cx="0" cy="74100"/>
              </a:xfrm>
              <a:prstGeom prst="straightConnector1">
                <a:avLst/>
              </a:prstGeom>
              <a:noFill/>
              <a:ln w="9525" cap="flat" cmpd="sng">
                <a:solidFill>
                  <a:srgbClr val="5F7D95"/>
                </a:solidFill>
                <a:prstDash val="solid"/>
                <a:round/>
                <a:headEnd type="none" w="med" len="med"/>
                <a:tailEnd type="none" w="med" len="med"/>
              </a:ln>
            </p:spPr>
          </p:cxnSp>
        </p:grpSp>
        <p:cxnSp>
          <p:nvCxnSpPr>
            <p:cNvPr id="8230" name="Google Shape;8230;p105"/>
            <p:cNvCxnSpPr/>
            <p:nvPr/>
          </p:nvCxnSpPr>
          <p:spPr>
            <a:xfrm>
              <a:off x="5286284" y="2966544"/>
              <a:ext cx="468600" cy="0"/>
            </a:xfrm>
            <a:prstGeom prst="straightConnector1">
              <a:avLst/>
            </a:prstGeom>
            <a:noFill/>
            <a:ln w="9525" cap="flat" cmpd="sng">
              <a:solidFill>
                <a:srgbClr val="435D74"/>
              </a:solidFill>
              <a:prstDash val="solid"/>
              <a:round/>
              <a:headEnd type="oval" w="med" len="med"/>
              <a:tailEnd type="oval" w="med" len="med"/>
            </a:ln>
          </p:spPr>
        </p:cxnSp>
      </p:grpSp>
      <p:grpSp>
        <p:nvGrpSpPr>
          <p:cNvPr id="8231" name="Google Shape;8231;p105"/>
          <p:cNvGrpSpPr/>
          <p:nvPr/>
        </p:nvGrpSpPr>
        <p:grpSpPr>
          <a:xfrm>
            <a:off x="2729619" y="2424627"/>
            <a:ext cx="1576368" cy="882703"/>
            <a:chOff x="2029517" y="1732295"/>
            <a:chExt cx="1149068" cy="643432"/>
          </a:xfrm>
        </p:grpSpPr>
        <p:grpSp>
          <p:nvGrpSpPr>
            <p:cNvPr id="8232" name="Google Shape;8232;p105"/>
            <p:cNvGrpSpPr/>
            <p:nvPr/>
          </p:nvGrpSpPr>
          <p:grpSpPr>
            <a:xfrm>
              <a:off x="2708660" y="1746937"/>
              <a:ext cx="455427" cy="244429"/>
              <a:chOff x="2700693" y="1746937"/>
              <a:chExt cx="455427" cy="244429"/>
            </a:xfrm>
          </p:grpSpPr>
          <p:grpSp>
            <p:nvGrpSpPr>
              <p:cNvPr id="8233" name="Google Shape;8233;p105"/>
              <p:cNvGrpSpPr/>
              <p:nvPr/>
            </p:nvGrpSpPr>
            <p:grpSpPr>
              <a:xfrm>
                <a:off x="2905682" y="1782817"/>
                <a:ext cx="250438" cy="208549"/>
                <a:chOff x="2905682" y="1782817"/>
                <a:chExt cx="250438" cy="208549"/>
              </a:xfrm>
            </p:grpSpPr>
            <p:cxnSp>
              <p:nvCxnSpPr>
                <p:cNvPr id="8234" name="Google Shape;8234;p105"/>
                <p:cNvCxnSpPr/>
                <p:nvPr/>
              </p:nvCxnSpPr>
              <p:spPr>
                <a:xfrm rot="-5400000" flipH="1">
                  <a:off x="2905682" y="1782817"/>
                  <a:ext cx="175200" cy="175200"/>
                </a:xfrm>
                <a:prstGeom prst="bentConnector3">
                  <a:avLst>
                    <a:gd name="adj1" fmla="val 50000"/>
                  </a:avLst>
                </a:prstGeom>
                <a:noFill/>
                <a:ln w="9525" cap="flat" cmpd="sng">
                  <a:solidFill>
                    <a:srgbClr val="869FB2"/>
                  </a:solidFill>
                  <a:prstDash val="solid"/>
                  <a:round/>
                  <a:headEnd type="none" w="med" len="med"/>
                  <a:tailEnd type="none" w="med" len="med"/>
                </a:ln>
              </p:spPr>
            </p:cxnSp>
            <p:sp>
              <p:nvSpPr>
                <p:cNvPr id="8235" name="Google Shape;8235;p105"/>
                <p:cNvSpPr/>
                <p:nvPr/>
              </p:nvSpPr>
              <p:spPr>
                <a:xfrm>
                  <a:off x="3078213" y="1919045"/>
                  <a:ext cx="77906" cy="72321"/>
                </a:xfrm>
                <a:custGeom>
                  <a:avLst/>
                  <a:gdLst/>
                  <a:ahLst/>
                  <a:cxnLst/>
                  <a:rect l="l" t="t" r="r" b="b"/>
                  <a:pathLst>
                    <a:path w="11576" h="10746" extrusionOk="0">
                      <a:moveTo>
                        <a:pt x="5775" y="1"/>
                      </a:moveTo>
                      <a:cubicBezTo>
                        <a:pt x="3179" y="1"/>
                        <a:pt x="889" y="1860"/>
                        <a:pt x="468" y="4506"/>
                      </a:cubicBezTo>
                      <a:cubicBezTo>
                        <a:pt x="1" y="7441"/>
                        <a:pt x="2002" y="10210"/>
                        <a:pt x="4904" y="10677"/>
                      </a:cubicBezTo>
                      <a:cubicBezTo>
                        <a:pt x="5194" y="10723"/>
                        <a:pt x="5483" y="10745"/>
                        <a:pt x="5768" y="10745"/>
                      </a:cubicBezTo>
                      <a:cubicBezTo>
                        <a:pt x="8364" y="10745"/>
                        <a:pt x="10655" y="8886"/>
                        <a:pt x="11075" y="6240"/>
                      </a:cubicBezTo>
                      <a:cubicBezTo>
                        <a:pt x="11576" y="3305"/>
                        <a:pt x="9574" y="536"/>
                        <a:pt x="6639" y="69"/>
                      </a:cubicBezTo>
                      <a:cubicBezTo>
                        <a:pt x="6349" y="23"/>
                        <a:pt x="6060" y="1"/>
                        <a:pt x="5775" y="1"/>
                      </a:cubicBezTo>
                      <a:close/>
                    </a:path>
                  </a:pathLst>
                </a:custGeom>
                <a:noFill/>
                <a:ln w="9525" cap="flat" cmpd="sng">
                  <a:solidFill>
                    <a:srgbClr val="869FB1"/>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8236" name="Google Shape;8236;p105"/>
              <p:cNvGrpSpPr/>
              <p:nvPr/>
            </p:nvGrpSpPr>
            <p:grpSpPr>
              <a:xfrm>
                <a:off x="2700693" y="1746937"/>
                <a:ext cx="449967" cy="72374"/>
                <a:chOff x="2700693" y="1746937"/>
                <a:chExt cx="449967" cy="72374"/>
              </a:xfrm>
            </p:grpSpPr>
            <p:cxnSp>
              <p:nvCxnSpPr>
                <p:cNvPr id="8237" name="Google Shape;8237;p105"/>
                <p:cNvCxnSpPr/>
                <p:nvPr/>
              </p:nvCxnSpPr>
              <p:spPr>
                <a:xfrm>
                  <a:off x="2700693" y="1782453"/>
                  <a:ext cx="379800" cy="600"/>
                </a:xfrm>
                <a:prstGeom prst="bentConnector3">
                  <a:avLst>
                    <a:gd name="adj1" fmla="val 50000"/>
                  </a:avLst>
                </a:prstGeom>
                <a:noFill/>
                <a:ln w="9525" cap="flat" cmpd="sng">
                  <a:solidFill>
                    <a:srgbClr val="869FB2"/>
                  </a:solidFill>
                  <a:prstDash val="solid"/>
                  <a:round/>
                  <a:headEnd type="none" w="med" len="med"/>
                  <a:tailEnd type="none" w="med" len="med"/>
                </a:ln>
              </p:spPr>
            </p:cxnSp>
            <p:sp>
              <p:nvSpPr>
                <p:cNvPr id="8238" name="Google Shape;8238;p105"/>
                <p:cNvSpPr/>
                <p:nvPr/>
              </p:nvSpPr>
              <p:spPr>
                <a:xfrm>
                  <a:off x="3072753" y="1746937"/>
                  <a:ext cx="77906" cy="72374"/>
                </a:xfrm>
                <a:custGeom>
                  <a:avLst/>
                  <a:gdLst/>
                  <a:ahLst/>
                  <a:cxnLst/>
                  <a:rect l="l" t="t" r="r" b="b"/>
                  <a:pathLst>
                    <a:path w="11576" h="10754" extrusionOk="0">
                      <a:moveTo>
                        <a:pt x="5736" y="0"/>
                      </a:moveTo>
                      <a:cubicBezTo>
                        <a:pt x="3156" y="0"/>
                        <a:pt x="887" y="1881"/>
                        <a:pt x="468" y="4513"/>
                      </a:cubicBezTo>
                      <a:cubicBezTo>
                        <a:pt x="1" y="7449"/>
                        <a:pt x="2002" y="10218"/>
                        <a:pt x="4904" y="10685"/>
                      </a:cubicBezTo>
                      <a:cubicBezTo>
                        <a:pt x="5194" y="10731"/>
                        <a:pt x="5483" y="10753"/>
                        <a:pt x="5768" y="10753"/>
                      </a:cubicBezTo>
                      <a:cubicBezTo>
                        <a:pt x="8364" y="10753"/>
                        <a:pt x="10655" y="8893"/>
                        <a:pt x="11075" y="6248"/>
                      </a:cubicBezTo>
                      <a:cubicBezTo>
                        <a:pt x="11576" y="3313"/>
                        <a:pt x="9574" y="544"/>
                        <a:pt x="6639" y="77"/>
                      </a:cubicBezTo>
                      <a:cubicBezTo>
                        <a:pt x="6335" y="25"/>
                        <a:pt x="6034" y="0"/>
                        <a:pt x="5736" y="0"/>
                      </a:cubicBezTo>
                      <a:close/>
                    </a:path>
                  </a:pathLst>
                </a:custGeom>
                <a:noFill/>
                <a:ln w="9525" cap="flat" cmpd="sng">
                  <a:solidFill>
                    <a:srgbClr val="869FB1"/>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grpSp>
          <p:nvGrpSpPr>
            <p:cNvPr id="8239" name="Google Shape;8239;p105"/>
            <p:cNvGrpSpPr/>
            <p:nvPr/>
          </p:nvGrpSpPr>
          <p:grpSpPr>
            <a:xfrm>
              <a:off x="2029517" y="1732295"/>
              <a:ext cx="1149068" cy="643432"/>
              <a:chOff x="2029517" y="1732295"/>
              <a:chExt cx="1149068" cy="643432"/>
            </a:xfrm>
          </p:grpSpPr>
          <p:grpSp>
            <p:nvGrpSpPr>
              <p:cNvPr id="8240" name="Google Shape;8240;p105"/>
              <p:cNvGrpSpPr/>
              <p:nvPr/>
            </p:nvGrpSpPr>
            <p:grpSpPr>
              <a:xfrm>
                <a:off x="2703618" y="2103152"/>
                <a:ext cx="474966" cy="260017"/>
                <a:chOff x="2703618" y="2103152"/>
                <a:chExt cx="474966" cy="260017"/>
              </a:xfrm>
            </p:grpSpPr>
            <p:grpSp>
              <p:nvGrpSpPr>
                <p:cNvPr id="8241" name="Google Shape;8241;p105"/>
                <p:cNvGrpSpPr/>
                <p:nvPr/>
              </p:nvGrpSpPr>
              <p:grpSpPr>
                <a:xfrm>
                  <a:off x="2703618" y="2290640"/>
                  <a:ext cx="450291" cy="72529"/>
                  <a:chOff x="2703618" y="2290640"/>
                  <a:chExt cx="450291" cy="72529"/>
                </a:xfrm>
              </p:grpSpPr>
              <p:cxnSp>
                <p:nvCxnSpPr>
                  <p:cNvPr id="8242" name="Google Shape;8242;p105"/>
                  <p:cNvCxnSpPr/>
                  <p:nvPr/>
                </p:nvCxnSpPr>
                <p:spPr>
                  <a:xfrm>
                    <a:off x="2703618" y="2326818"/>
                    <a:ext cx="379800" cy="600"/>
                  </a:xfrm>
                  <a:prstGeom prst="bentConnector3">
                    <a:avLst>
                      <a:gd name="adj1" fmla="val 50000"/>
                    </a:avLst>
                  </a:prstGeom>
                  <a:noFill/>
                  <a:ln w="9525" cap="flat" cmpd="sng">
                    <a:solidFill>
                      <a:srgbClr val="869FB2"/>
                    </a:solidFill>
                    <a:prstDash val="solid"/>
                    <a:round/>
                    <a:headEnd type="none" w="med" len="med"/>
                    <a:tailEnd type="none" w="med" len="med"/>
                  </a:ln>
                </p:spPr>
              </p:cxnSp>
              <p:sp>
                <p:nvSpPr>
                  <p:cNvPr id="8243" name="Google Shape;8243;p105"/>
                  <p:cNvSpPr/>
                  <p:nvPr/>
                </p:nvSpPr>
                <p:spPr>
                  <a:xfrm>
                    <a:off x="3076003" y="2290640"/>
                    <a:ext cx="77906" cy="72529"/>
                  </a:xfrm>
                  <a:custGeom>
                    <a:avLst/>
                    <a:gdLst/>
                    <a:ahLst/>
                    <a:cxnLst/>
                    <a:rect l="l" t="t" r="r" b="b"/>
                    <a:pathLst>
                      <a:path w="11576" h="10777" extrusionOk="0">
                        <a:moveTo>
                          <a:pt x="5787" y="0"/>
                        </a:moveTo>
                        <a:cubicBezTo>
                          <a:pt x="3185" y="0"/>
                          <a:pt x="889" y="1889"/>
                          <a:pt x="468" y="4538"/>
                        </a:cubicBezTo>
                        <a:cubicBezTo>
                          <a:pt x="1" y="7473"/>
                          <a:pt x="2002" y="10208"/>
                          <a:pt x="4938" y="10709"/>
                        </a:cubicBezTo>
                        <a:cubicBezTo>
                          <a:pt x="5221" y="10754"/>
                          <a:pt x="5503" y="10776"/>
                          <a:pt x="5781" y="10776"/>
                        </a:cubicBezTo>
                        <a:cubicBezTo>
                          <a:pt x="8358" y="10776"/>
                          <a:pt x="10654" y="8888"/>
                          <a:pt x="11075" y="6239"/>
                        </a:cubicBezTo>
                        <a:cubicBezTo>
                          <a:pt x="11576" y="3303"/>
                          <a:pt x="9574" y="535"/>
                          <a:pt x="6639" y="68"/>
                        </a:cubicBezTo>
                        <a:cubicBezTo>
                          <a:pt x="6352" y="22"/>
                          <a:pt x="6068" y="0"/>
                          <a:pt x="5787" y="0"/>
                        </a:cubicBezTo>
                        <a:close/>
                      </a:path>
                    </a:pathLst>
                  </a:custGeom>
                  <a:noFill/>
                  <a:ln w="9525" cap="flat" cmpd="sng">
                    <a:solidFill>
                      <a:srgbClr val="869FB1"/>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8244" name="Google Shape;8244;p105"/>
                <p:cNvGrpSpPr/>
                <p:nvPr/>
              </p:nvGrpSpPr>
              <p:grpSpPr>
                <a:xfrm>
                  <a:off x="2908607" y="2103152"/>
                  <a:ext cx="269977" cy="223538"/>
                  <a:chOff x="2908607" y="2103152"/>
                  <a:chExt cx="269977" cy="223538"/>
                </a:xfrm>
              </p:grpSpPr>
              <p:cxnSp>
                <p:nvCxnSpPr>
                  <p:cNvPr id="8245" name="Google Shape;8245;p105"/>
                  <p:cNvCxnSpPr/>
                  <p:nvPr/>
                </p:nvCxnSpPr>
                <p:spPr>
                  <a:xfrm rot="10800000" flipH="1">
                    <a:off x="2908607" y="2140990"/>
                    <a:ext cx="199800" cy="185700"/>
                  </a:xfrm>
                  <a:prstGeom prst="bentConnector3">
                    <a:avLst>
                      <a:gd name="adj1" fmla="val 50000"/>
                    </a:avLst>
                  </a:prstGeom>
                  <a:noFill/>
                  <a:ln w="9525" cap="flat" cmpd="sng">
                    <a:solidFill>
                      <a:srgbClr val="869FB2"/>
                    </a:solidFill>
                    <a:prstDash val="solid"/>
                    <a:round/>
                    <a:headEnd type="none" w="med" len="med"/>
                    <a:tailEnd type="none" w="med" len="med"/>
                  </a:ln>
                </p:spPr>
              </p:cxnSp>
              <p:sp>
                <p:nvSpPr>
                  <p:cNvPr id="8246" name="Google Shape;8246;p105"/>
                  <p:cNvSpPr/>
                  <p:nvPr/>
                </p:nvSpPr>
                <p:spPr>
                  <a:xfrm>
                    <a:off x="3100678" y="2103152"/>
                    <a:ext cx="77906" cy="72368"/>
                  </a:xfrm>
                  <a:custGeom>
                    <a:avLst/>
                    <a:gdLst/>
                    <a:ahLst/>
                    <a:cxnLst/>
                    <a:rect l="l" t="t" r="r" b="b"/>
                    <a:pathLst>
                      <a:path w="11576" h="10753" extrusionOk="0">
                        <a:moveTo>
                          <a:pt x="5786" y="1"/>
                        </a:moveTo>
                        <a:cubicBezTo>
                          <a:pt x="3185" y="1"/>
                          <a:pt x="889" y="1886"/>
                          <a:pt x="468" y="4505"/>
                        </a:cubicBezTo>
                        <a:cubicBezTo>
                          <a:pt x="1" y="7440"/>
                          <a:pt x="2002" y="10209"/>
                          <a:pt x="4904" y="10676"/>
                        </a:cubicBezTo>
                        <a:cubicBezTo>
                          <a:pt x="5208" y="10728"/>
                          <a:pt x="5509" y="10753"/>
                          <a:pt x="5807" y="10753"/>
                        </a:cubicBezTo>
                        <a:cubicBezTo>
                          <a:pt x="8387" y="10753"/>
                          <a:pt x="10657" y="8872"/>
                          <a:pt x="11075" y="6240"/>
                        </a:cubicBezTo>
                        <a:cubicBezTo>
                          <a:pt x="11576" y="3304"/>
                          <a:pt x="9574" y="535"/>
                          <a:pt x="6639" y="68"/>
                        </a:cubicBezTo>
                        <a:cubicBezTo>
                          <a:pt x="6352" y="23"/>
                          <a:pt x="6067" y="1"/>
                          <a:pt x="5786" y="1"/>
                        </a:cubicBezTo>
                        <a:close/>
                      </a:path>
                    </a:pathLst>
                  </a:custGeom>
                  <a:noFill/>
                  <a:ln w="9525" cap="flat" cmpd="sng">
                    <a:solidFill>
                      <a:srgbClr val="869FB1"/>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grpSp>
            <p:nvGrpSpPr>
              <p:cNvPr id="8247" name="Google Shape;8247;p105"/>
              <p:cNvGrpSpPr/>
              <p:nvPr/>
            </p:nvGrpSpPr>
            <p:grpSpPr>
              <a:xfrm>
                <a:off x="2029517" y="1732295"/>
                <a:ext cx="685827" cy="643432"/>
                <a:chOff x="2029517" y="1732295"/>
                <a:chExt cx="685827" cy="643432"/>
              </a:xfrm>
            </p:grpSpPr>
            <p:sp>
              <p:nvSpPr>
                <p:cNvPr id="8248" name="Google Shape;8248;p105"/>
                <p:cNvSpPr/>
                <p:nvPr/>
              </p:nvSpPr>
              <p:spPr>
                <a:xfrm>
                  <a:off x="2029517" y="1996395"/>
                  <a:ext cx="135152" cy="135374"/>
                </a:xfrm>
                <a:custGeom>
                  <a:avLst/>
                  <a:gdLst/>
                  <a:ahLst/>
                  <a:cxnLst/>
                  <a:rect l="l" t="t" r="r" b="b"/>
                  <a:pathLst>
                    <a:path w="20082" h="20115" extrusionOk="0">
                      <a:moveTo>
                        <a:pt x="10041" y="1"/>
                      </a:moveTo>
                      <a:cubicBezTo>
                        <a:pt x="4503" y="1"/>
                        <a:pt x="0" y="4504"/>
                        <a:pt x="0" y="10041"/>
                      </a:cubicBezTo>
                      <a:cubicBezTo>
                        <a:pt x="0" y="15612"/>
                        <a:pt x="4503" y="20115"/>
                        <a:pt x="10041" y="20115"/>
                      </a:cubicBezTo>
                      <a:cubicBezTo>
                        <a:pt x="15578" y="20115"/>
                        <a:pt x="20081" y="15612"/>
                        <a:pt x="20081" y="10041"/>
                      </a:cubicBezTo>
                      <a:cubicBezTo>
                        <a:pt x="20081" y="4504"/>
                        <a:pt x="15578" y="1"/>
                        <a:pt x="10041" y="1"/>
                      </a:cubicBezTo>
                      <a:close/>
                    </a:path>
                  </a:pathLst>
                </a:custGeom>
                <a:noFill/>
                <a:ln w="9525" cap="flat" cmpd="sng">
                  <a:solidFill>
                    <a:srgbClr val="869FB1"/>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nvGrpSpPr>
                <p:cNvPr id="8249" name="Google Shape;8249;p105"/>
                <p:cNvGrpSpPr/>
                <p:nvPr/>
              </p:nvGrpSpPr>
              <p:grpSpPr>
                <a:xfrm>
                  <a:off x="2158948" y="1732295"/>
                  <a:ext cx="556396" cy="333108"/>
                  <a:chOff x="2158948" y="1732295"/>
                  <a:chExt cx="556396" cy="333108"/>
                </a:xfrm>
              </p:grpSpPr>
              <p:cxnSp>
                <p:nvCxnSpPr>
                  <p:cNvPr id="8250" name="Google Shape;8250;p105"/>
                  <p:cNvCxnSpPr/>
                  <p:nvPr/>
                </p:nvCxnSpPr>
                <p:spPr>
                  <a:xfrm rot="10800000" flipH="1">
                    <a:off x="2158948" y="1783103"/>
                    <a:ext cx="459000" cy="282300"/>
                  </a:xfrm>
                  <a:prstGeom prst="bentConnector3">
                    <a:avLst>
                      <a:gd name="adj1" fmla="val 50000"/>
                    </a:avLst>
                  </a:prstGeom>
                  <a:noFill/>
                  <a:ln w="9525" cap="flat" cmpd="sng">
                    <a:solidFill>
                      <a:srgbClr val="BAC8D3"/>
                    </a:solidFill>
                    <a:prstDash val="solid"/>
                    <a:round/>
                    <a:headEnd type="none" w="med" len="med"/>
                    <a:tailEnd type="none" w="med" len="med"/>
                  </a:ln>
                </p:spPr>
              </p:cxnSp>
              <p:sp>
                <p:nvSpPr>
                  <p:cNvPr id="8251" name="Google Shape;8251;p105"/>
                  <p:cNvSpPr/>
                  <p:nvPr/>
                </p:nvSpPr>
                <p:spPr>
                  <a:xfrm>
                    <a:off x="2612072" y="1732295"/>
                    <a:ext cx="103272" cy="100095"/>
                  </a:xfrm>
                  <a:custGeom>
                    <a:avLst/>
                    <a:gdLst/>
                    <a:ahLst/>
                    <a:cxnLst/>
                    <a:rect l="l" t="t" r="r" b="b"/>
                    <a:pathLst>
                      <a:path w="15345" h="14873" extrusionOk="0">
                        <a:moveTo>
                          <a:pt x="7692" y="1"/>
                        </a:moveTo>
                        <a:cubicBezTo>
                          <a:pt x="7531" y="1"/>
                          <a:pt x="7369" y="6"/>
                          <a:pt x="7206" y="16"/>
                        </a:cubicBezTo>
                        <a:cubicBezTo>
                          <a:pt x="3136" y="283"/>
                          <a:pt x="0" y="3786"/>
                          <a:pt x="267" y="7889"/>
                        </a:cubicBezTo>
                        <a:cubicBezTo>
                          <a:pt x="493" y="11846"/>
                          <a:pt x="3790" y="14873"/>
                          <a:pt x="7706" y="14873"/>
                        </a:cubicBezTo>
                        <a:cubicBezTo>
                          <a:pt x="7850" y="14873"/>
                          <a:pt x="7994" y="14869"/>
                          <a:pt x="8140" y="14860"/>
                        </a:cubicBezTo>
                        <a:cubicBezTo>
                          <a:pt x="12243" y="14594"/>
                          <a:pt x="15345" y="11058"/>
                          <a:pt x="15111" y="6988"/>
                        </a:cubicBezTo>
                        <a:cubicBezTo>
                          <a:pt x="14855" y="3048"/>
                          <a:pt x="11585" y="1"/>
                          <a:pt x="7692" y="1"/>
                        </a:cubicBezTo>
                        <a:close/>
                      </a:path>
                    </a:pathLst>
                  </a:custGeom>
                  <a:noFill/>
                  <a:ln w="9525" cap="flat" cmpd="sng">
                    <a:solidFill>
                      <a:srgbClr val="869FB1"/>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8252" name="Google Shape;8252;p105"/>
                <p:cNvGrpSpPr/>
                <p:nvPr/>
              </p:nvGrpSpPr>
              <p:grpSpPr>
                <a:xfrm>
                  <a:off x="2159908" y="2065057"/>
                  <a:ext cx="550884" cy="310670"/>
                  <a:chOff x="2159908" y="2065057"/>
                  <a:chExt cx="550884" cy="310670"/>
                </a:xfrm>
              </p:grpSpPr>
              <p:cxnSp>
                <p:nvCxnSpPr>
                  <p:cNvPr id="8253" name="Google Shape;8253;p105"/>
                  <p:cNvCxnSpPr/>
                  <p:nvPr/>
                </p:nvCxnSpPr>
                <p:spPr>
                  <a:xfrm>
                    <a:off x="2159908" y="2065057"/>
                    <a:ext cx="454500" cy="262200"/>
                  </a:xfrm>
                  <a:prstGeom prst="bentConnector3">
                    <a:avLst>
                      <a:gd name="adj1" fmla="val 50000"/>
                    </a:avLst>
                  </a:prstGeom>
                  <a:noFill/>
                  <a:ln w="9525" cap="flat" cmpd="sng">
                    <a:solidFill>
                      <a:srgbClr val="BAC8D3"/>
                    </a:solidFill>
                    <a:prstDash val="solid"/>
                    <a:round/>
                    <a:headEnd type="none" w="med" len="med"/>
                    <a:tailEnd type="none" w="med" len="med"/>
                  </a:ln>
                </p:spPr>
              </p:cxnSp>
              <p:sp>
                <p:nvSpPr>
                  <p:cNvPr id="8254" name="Google Shape;8254;p105"/>
                  <p:cNvSpPr/>
                  <p:nvPr/>
                </p:nvSpPr>
                <p:spPr>
                  <a:xfrm>
                    <a:off x="2607514" y="2275632"/>
                    <a:ext cx="103279" cy="100095"/>
                  </a:xfrm>
                  <a:custGeom>
                    <a:avLst/>
                    <a:gdLst/>
                    <a:ahLst/>
                    <a:cxnLst/>
                    <a:rect l="l" t="t" r="r" b="b"/>
                    <a:pathLst>
                      <a:path w="15346" h="14873" extrusionOk="0">
                        <a:moveTo>
                          <a:pt x="7697" y="0"/>
                        </a:moveTo>
                        <a:cubicBezTo>
                          <a:pt x="7535" y="0"/>
                          <a:pt x="7371" y="5"/>
                          <a:pt x="7206" y="16"/>
                        </a:cubicBezTo>
                        <a:cubicBezTo>
                          <a:pt x="3103" y="250"/>
                          <a:pt x="1" y="3785"/>
                          <a:pt x="268" y="7888"/>
                        </a:cubicBezTo>
                        <a:cubicBezTo>
                          <a:pt x="493" y="11846"/>
                          <a:pt x="3790" y="14872"/>
                          <a:pt x="7706" y="14872"/>
                        </a:cubicBezTo>
                        <a:cubicBezTo>
                          <a:pt x="7850" y="14872"/>
                          <a:pt x="7994" y="14868"/>
                          <a:pt x="8140" y="14860"/>
                        </a:cubicBezTo>
                        <a:cubicBezTo>
                          <a:pt x="12243" y="14593"/>
                          <a:pt x="15345" y="11057"/>
                          <a:pt x="15112" y="6954"/>
                        </a:cubicBezTo>
                        <a:cubicBezTo>
                          <a:pt x="14855" y="3016"/>
                          <a:pt x="11588" y="0"/>
                          <a:pt x="7697" y="0"/>
                        </a:cubicBezTo>
                        <a:close/>
                      </a:path>
                    </a:pathLst>
                  </a:custGeom>
                  <a:noFill/>
                  <a:ln w="9525" cap="flat" cmpd="sng">
                    <a:solidFill>
                      <a:srgbClr val="869FB1"/>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grpSp>
      </p:grpSp>
      <p:grpSp>
        <p:nvGrpSpPr>
          <p:cNvPr id="8255" name="Google Shape;8255;p105"/>
          <p:cNvGrpSpPr/>
          <p:nvPr/>
        </p:nvGrpSpPr>
        <p:grpSpPr>
          <a:xfrm>
            <a:off x="976617" y="2354778"/>
            <a:ext cx="1283535" cy="1080077"/>
            <a:chOff x="732462" y="1766083"/>
            <a:chExt cx="962651" cy="810058"/>
          </a:xfrm>
        </p:grpSpPr>
        <p:grpSp>
          <p:nvGrpSpPr>
            <p:cNvPr id="8256" name="Google Shape;8256;p105"/>
            <p:cNvGrpSpPr/>
            <p:nvPr/>
          </p:nvGrpSpPr>
          <p:grpSpPr>
            <a:xfrm>
              <a:off x="732462" y="1908333"/>
              <a:ext cx="339369" cy="524756"/>
              <a:chOff x="844912" y="1819635"/>
              <a:chExt cx="329836" cy="510016"/>
            </a:xfrm>
          </p:grpSpPr>
          <p:sp>
            <p:nvSpPr>
              <p:cNvPr id="8257" name="Google Shape;8257;p105"/>
              <p:cNvSpPr/>
              <p:nvPr/>
            </p:nvSpPr>
            <p:spPr>
              <a:xfrm>
                <a:off x="844912" y="2015566"/>
                <a:ext cx="118283" cy="118477"/>
              </a:xfrm>
              <a:custGeom>
                <a:avLst/>
                <a:gdLst/>
                <a:ahLst/>
                <a:cxnLst/>
                <a:rect l="l" t="t" r="r" b="b"/>
                <a:pathLst>
                  <a:path w="20082" h="20115" extrusionOk="0">
                    <a:moveTo>
                      <a:pt x="10041" y="1"/>
                    </a:moveTo>
                    <a:cubicBezTo>
                      <a:pt x="4503" y="1"/>
                      <a:pt x="0" y="4504"/>
                      <a:pt x="0" y="10041"/>
                    </a:cubicBezTo>
                    <a:cubicBezTo>
                      <a:pt x="0" y="15612"/>
                      <a:pt x="4503" y="20115"/>
                      <a:pt x="10041" y="20115"/>
                    </a:cubicBezTo>
                    <a:cubicBezTo>
                      <a:pt x="15578" y="20115"/>
                      <a:pt x="20081" y="15612"/>
                      <a:pt x="20081" y="10041"/>
                    </a:cubicBezTo>
                    <a:cubicBezTo>
                      <a:pt x="20081" y="4504"/>
                      <a:pt x="15578" y="1"/>
                      <a:pt x="10041" y="1"/>
                    </a:cubicBezTo>
                    <a:close/>
                  </a:path>
                </a:pathLst>
              </a:custGeom>
              <a:noFill/>
              <a:ln w="9525" cap="flat" cmpd="sng">
                <a:solidFill>
                  <a:srgbClr val="869FB2"/>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258" name="Google Shape;8258;p105"/>
              <p:cNvSpPr/>
              <p:nvPr/>
            </p:nvSpPr>
            <p:spPr>
              <a:xfrm>
                <a:off x="1013654" y="2074499"/>
                <a:ext cx="148151" cy="238327"/>
              </a:xfrm>
              <a:custGeom>
                <a:avLst/>
                <a:gdLst/>
                <a:ahLst/>
                <a:cxnLst/>
                <a:rect l="l" t="t" r="r" b="b"/>
                <a:pathLst>
                  <a:path w="25153" h="40463" fill="none" extrusionOk="0">
                    <a:moveTo>
                      <a:pt x="25152" y="40463"/>
                    </a:moveTo>
                    <a:cubicBezTo>
                      <a:pt x="19315" y="40463"/>
                      <a:pt x="14378" y="32724"/>
                      <a:pt x="12777" y="22150"/>
                    </a:cubicBezTo>
                    <a:lnTo>
                      <a:pt x="12810" y="22350"/>
                    </a:lnTo>
                    <a:cubicBezTo>
                      <a:pt x="10542" y="7606"/>
                      <a:pt x="6372" y="1"/>
                      <a:pt x="1" y="1"/>
                    </a:cubicBezTo>
                    <a:lnTo>
                      <a:pt x="1" y="1"/>
                    </a:lnTo>
                  </a:path>
                </a:pathLst>
              </a:custGeom>
              <a:noFill/>
              <a:ln w="9525" cap="rnd" cmpd="sng">
                <a:solidFill>
                  <a:srgbClr val="435D74"/>
                </a:solidFill>
                <a:prstDash val="solid"/>
                <a:miter lim="33357"/>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259" name="Google Shape;8259;p105"/>
              <p:cNvSpPr/>
              <p:nvPr/>
            </p:nvSpPr>
            <p:spPr>
              <a:xfrm>
                <a:off x="1013654" y="1836607"/>
                <a:ext cx="148151" cy="238327"/>
              </a:xfrm>
              <a:custGeom>
                <a:avLst/>
                <a:gdLst/>
                <a:ahLst/>
                <a:cxnLst/>
                <a:rect l="l" t="t" r="r" b="b"/>
                <a:pathLst>
                  <a:path w="25153" h="40463" fill="none" extrusionOk="0">
                    <a:moveTo>
                      <a:pt x="25152" y="0"/>
                    </a:moveTo>
                    <a:cubicBezTo>
                      <a:pt x="19315" y="0"/>
                      <a:pt x="14378" y="7706"/>
                      <a:pt x="12777" y="18313"/>
                    </a:cubicBezTo>
                    <a:lnTo>
                      <a:pt x="12810" y="18113"/>
                    </a:lnTo>
                    <a:cubicBezTo>
                      <a:pt x="10542" y="32857"/>
                      <a:pt x="6372" y="40462"/>
                      <a:pt x="1" y="40462"/>
                    </a:cubicBezTo>
                    <a:lnTo>
                      <a:pt x="1" y="40462"/>
                    </a:lnTo>
                  </a:path>
                </a:pathLst>
              </a:custGeom>
              <a:noFill/>
              <a:ln w="9525" cap="rnd" cmpd="sng">
                <a:solidFill>
                  <a:srgbClr val="435D74"/>
                </a:solidFill>
                <a:prstDash val="solid"/>
                <a:miter lim="33357"/>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260" name="Google Shape;8260;p105"/>
              <p:cNvSpPr/>
              <p:nvPr/>
            </p:nvSpPr>
            <p:spPr>
              <a:xfrm>
                <a:off x="1004031" y="2056625"/>
                <a:ext cx="35958" cy="35958"/>
              </a:xfrm>
              <a:custGeom>
                <a:avLst/>
                <a:gdLst/>
                <a:ahLst/>
                <a:cxnLst/>
                <a:rect l="l" t="t" r="r" b="b"/>
                <a:pathLst>
                  <a:path w="6105" h="6105" extrusionOk="0">
                    <a:moveTo>
                      <a:pt x="3069" y="0"/>
                    </a:moveTo>
                    <a:cubicBezTo>
                      <a:pt x="1368" y="0"/>
                      <a:pt x="0" y="1368"/>
                      <a:pt x="0" y="3036"/>
                    </a:cubicBezTo>
                    <a:cubicBezTo>
                      <a:pt x="0" y="4737"/>
                      <a:pt x="1368" y="6105"/>
                      <a:pt x="3069" y="6105"/>
                    </a:cubicBezTo>
                    <a:cubicBezTo>
                      <a:pt x="4737" y="6105"/>
                      <a:pt x="6105" y="4737"/>
                      <a:pt x="6105" y="3036"/>
                    </a:cubicBezTo>
                    <a:cubicBezTo>
                      <a:pt x="6105" y="1368"/>
                      <a:pt x="4737" y="0"/>
                      <a:pt x="3069" y="0"/>
                    </a:cubicBezTo>
                    <a:close/>
                  </a:path>
                </a:pathLst>
              </a:custGeom>
              <a:solidFill>
                <a:srgbClr val="FFFFFF"/>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261" name="Google Shape;8261;p105"/>
              <p:cNvSpPr/>
              <p:nvPr/>
            </p:nvSpPr>
            <p:spPr>
              <a:xfrm>
                <a:off x="1149398" y="2295742"/>
                <a:ext cx="25351" cy="33909"/>
              </a:xfrm>
              <a:custGeom>
                <a:avLst/>
                <a:gdLst/>
                <a:ahLst/>
                <a:cxnLst/>
                <a:rect l="l" t="t" r="r" b="b"/>
                <a:pathLst>
                  <a:path w="4304" h="5757" extrusionOk="0">
                    <a:moveTo>
                      <a:pt x="509" y="0"/>
                    </a:moveTo>
                    <a:cubicBezTo>
                      <a:pt x="247" y="0"/>
                      <a:pt x="1" y="203"/>
                      <a:pt x="1" y="493"/>
                    </a:cubicBezTo>
                    <a:lnTo>
                      <a:pt x="1" y="5263"/>
                    </a:lnTo>
                    <a:cubicBezTo>
                      <a:pt x="1" y="5554"/>
                      <a:pt x="229" y="5757"/>
                      <a:pt x="482" y="5757"/>
                    </a:cubicBezTo>
                    <a:cubicBezTo>
                      <a:pt x="577" y="5757"/>
                      <a:pt x="676" y="5728"/>
                      <a:pt x="768" y="5664"/>
                    </a:cubicBezTo>
                    <a:lnTo>
                      <a:pt x="4003" y="3395"/>
                    </a:lnTo>
                    <a:cubicBezTo>
                      <a:pt x="4304" y="3195"/>
                      <a:pt x="4304" y="2795"/>
                      <a:pt x="4037" y="2595"/>
                    </a:cubicBezTo>
                    <a:lnTo>
                      <a:pt x="801" y="93"/>
                    </a:lnTo>
                    <a:cubicBezTo>
                      <a:pt x="710" y="29"/>
                      <a:pt x="608" y="0"/>
                      <a:pt x="509" y="0"/>
                    </a:cubicBezTo>
                    <a:close/>
                  </a:path>
                </a:pathLst>
              </a:custGeom>
              <a:solidFill>
                <a:srgbClr val="FFFFFF"/>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262" name="Google Shape;8262;p105"/>
              <p:cNvSpPr/>
              <p:nvPr/>
            </p:nvSpPr>
            <p:spPr>
              <a:xfrm>
                <a:off x="1149398" y="1819635"/>
                <a:ext cx="25351" cy="34032"/>
              </a:xfrm>
              <a:custGeom>
                <a:avLst/>
                <a:gdLst/>
                <a:ahLst/>
                <a:cxnLst/>
                <a:rect l="l" t="t" r="r" b="b"/>
                <a:pathLst>
                  <a:path w="4304" h="5778" extrusionOk="0">
                    <a:moveTo>
                      <a:pt x="489" y="0"/>
                    </a:moveTo>
                    <a:cubicBezTo>
                      <a:pt x="234" y="0"/>
                      <a:pt x="1" y="207"/>
                      <a:pt x="1" y="514"/>
                    </a:cubicBezTo>
                    <a:lnTo>
                      <a:pt x="1" y="5284"/>
                    </a:lnTo>
                    <a:cubicBezTo>
                      <a:pt x="1" y="5574"/>
                      <a:pt x="229" y="5777"/>
                      <a:pt x="482" y="5777"/>
                    </a:cubicBezTo>
                    <a:cubicBezTo>
                      <a:pt x="577" y="5777"/>
                      <a:pt x="676" y="5748"/>
                      <a:pt x="768" y="5684"/>
                    </a:cubicBezTo>
                    <a:lnTo>
                      <a:pt x="4003" y="3382"/>
                    </a:lnTo>
                    <a:cubicBezTo>
                      <a:pt x="4304" y="3182"/>
                      <a:pt x="4304" y="2782"/>
                      <a:pt x="4037" y="2582"/>
                    </a:cubicBezTo>
                    <a:lnTo>
                      <a:pt x="801" y="113"/>
                    </a:lnTo>
                    <a:cubicBezTo>
                      <a:pt x="704" y="35"/>
                      <a:pt x="595" y="0"/>
                      <a:pt x="489" y="0"/>
                    </a:cubicBezTo>
                    <a:close/>
                  </a:path>
                </a:pathLst>
              </a:custGeom>
              <a:solidFill>
                <a:srgbClr val="FFFFFF"/>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8263" name="Google Shape;8263;p105"/>
            <p:cNvGrpSpPr/>
            <p:nvPr/>
          </p:nvGrpSpPr>
          <p:grpSpPr>
            <a:xfrm>
              <a:off x="1184858" y="2256650"/>
              <a:ext cx="510255" cy="319491"/>
              <a:chOff x="1284601" y="2158168"/>
              <a:chExt cx="495923" cy="310517"/>
            </a:xfrm>
          </p:grpSpPr>
          <p:sp>
            <p:nvSpPr>
              <p:cNvPr id="8264" name="Google Shape;8264;p105"/>
              <p:cNvSpPr/>
              <p:nvPr/>
            </p:nvSpPr>
            <p:spPr>
              <a:xfrm>
                <a:off x="1284601" y="2265773"/>
                <a:ext cx="93683" cy="93836"/>
              </a:xfrm>
              <a:custGeom>
                <a:avLst/>
                <a:gdLst/>
                <a:ahLst/>
                <a:cxnLst/>
                <a:rect l="l" t="t" r="r" b="b"/>
                <a:pathLst>
                  <a:path w="20082" h="20115" extrusionOk="0">
                    <a:moveTo>
                      <a:pt x="10041" y="1"/>
                    </a:moveTo>
                    <a:cubicBezTo>
                      <a:pt x="4503" y="1"/>
                      <a:pt x="0" y="4504"/>
                      <a:pt x="0" y="10041"/>
                    </a:cubicBezTo>
                    <a:cubicBezTo>
                      <a:pt x="0" y="15612"/>
                      <a:pt x="4503" y="20115"/>
                      <a:pt x="10041" y="20115"/>
                    </a:cubicBezTo>
                    <a:cubicBezTo>
                      <a:pt x="15578" y="20115"/>
                      <a:pt x="20081" y="15612"/>
                      <a:pt x="20081" y="10041"/>
                    </a:cubicBezTo>
                    <a:cubicBezTo>
                      <a:pt x="20081" y="4504"/>
                      <a:pt x="15578" y="1"/>
                      <a:pt x="10041" y="1"/>
                    </a:cubicBezTo>
                    <a:close/>
                  </a:path>
                </a:pathLst>
              </a:custGeom>
              <a:noFill/>
              <a:ln w="9525" cap="flat" cmpd="sng">
                <a:solidFill>
                  <a:srgbClr val="E3E9ED"/>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nvGrpSpPr>
              <p:cNvPr id="8265" name="Google Shape;8265;p105"/>
              <p:cNvGrpSpPr/>
              <p:nvPr/>
            </p:nvGrpSpPr>
            <p:grpSpPr>
              <a:xfrm>
                <a:off x="1507666" y="2158168"/>
                <a:ext cx="272858" cy="310517"/>
                <a:chOff x="1507666" y="2158168"/>
                <a:chExt cx="272858" cy="310517"/>
              </a:xfrm>
            </p:grpSpPr>
            <p:grpSp>
              <p:nvGrpSpPr>
                <p:cNvPr id="8266" name="Google Shape;8266;p105"/>
                <p:cNvGrpSpPr/>
                <p:nvPr/>
              </p:nvGrpSpPr>
              <p:grpSpPr>
                <a:xfrm>
                  <a:off x="1507666" y="2176104"/>
                  <a:ext cx="166395" cy="273149"/>
                  <a:chOff x="1507666" y="2176104"/>
                  <a:chExt cx="166395" cy="273149"/>
                </a:xfrm>
              </p:grpSpPr>
              <p:sp>
                <p:nvSpPr>
                  <p:cNvPr id="8267" name="Google Shape;8267;p105"/>
                  <p:cNvSpPr/>
                  <p:nvPr/>
                </p:nvSpPr>
                <p:spPr>
                  <a:xfrm>
                    <a:off x="1512966" y="2312791"/>
                    <a:ext cx="75451" cy="66021"/>
                  </a:xfrm>
                  <a:custGeom>
                    <a:avLst/>
                    <a:gdLst/>
                    <a:ahLst/>
                    <a:cxnLst/>
                    <a:rect l="l" t="t" r="r" b="b"/>
                    <a:pathLst>
                      <a:path w="12810" h="11209" fill="none" extrusionOk="0">
                        <a:moveTo>
                          <a:pt x="1" y="0"/>
                        </a:moveTo>
                        <a:lnTo>
                          <a:pt x="1" y="0"/>
                        </a:lnTo>
                        <a:cubicBezTo>
                          <a:pt x="6372" y="0"/>
                          <a:pt x="10542" y="3803"/>
                          <a:pt x="12810" y="11208"/>
                        </a:cubicBezTo>
                      </a:path>
                    </a:pathLst>
                  </a:custGeom>
                  <a:noFill/>
                  <a:ln w="9525" cap="rnd" cmpd="sng">
                    <a:solidFill>
                      <a:srgbClr val="5F7D95"/>
                    </a:solidFill>
                    <a:prstDash val="solid"/>
                    <a:miter lim="33357"/>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268" name="Google Shape;8268;p105"/>
                  <p:cNvSpPr/>
                  <p:nvPr/>
                </p:nvSpPr>
                <p:spPr>
                  <a:xfrm>
                    <a:off x="1588205" y="2193153"/>
                    <a:ext cx="72901" cy="54035"/>
                  </a:xfrm>
                  <a:custGeom>
                    <a:avLst/>
                    <a:gdLst/>
                    <a:ahLst/>
                    <a:cxnLst/>
                    <a:rect l="l" t="t" r="r" b="b"/>
                    <a:pathLst>
                      <a:path w="12377" h="9174" fill="none" extrusionOk="0">
                        <a:moveTo>
                          <a:pt x="1" y="9174"/>
                        </a:moveTo>
                        <a:cubicBezTo>
                          <a:pt x="1635" y="3870"/>
                          <a:pt x="6539" y="0"/>
                          <a:pt x="12376" y="0"/>
                        </a:cubicBezTo>
                      </a:path>
                    </a:pathLst>
                  </a:custGeom>
                  <a:noFill/>
                  <a:ln w="9525" cap="rnd" cmpd="sng">
                    <a:solidFill>
                      <a:srgbClr val="5F7D95"/>
                    </a:solidFill>
                    <a:prstDash val="solid"/>
                    <a:miter lim="33357"/>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269" name="Google Shape;8269;p105"/>
                  <p:cNvSpPr/>
                  <p:nvPr/>
                </p:nvSpPr>
                <p:spPr>
                  <a:xfrm>
                    <a:off x="1588205" y="2378202"/>
                    <a:ext cx="72901" cy="54041"/>
                  </a:xfrm>
                  <a:custGeom>
                    <a:avLst/>
                    <a:gdLst/>
                    <a:ahLst/>
                    <a:cxnLst/>
                    <a:rect l="l" t="t" r="r" b="b"/>
                    <a:pathLst>
                      <a:path w="12377" h="9175" fill="none" extrusionOk="0">
                        <a:moveTo>
                          <a:pt x="1" y="1"/>
                        </a:moveTo>
                        <a:cubicBezTo>
                          <a:pt x="1635" y="5305"/>
                          <a:pt x="6539" y="9174"/>
                          <a:pt x="12376" y="9174"/>
                        </a:cubicBezTo>
                      </a:path>
                    </a:pathLst>
                  </a:custGeom>
                  <a:noFill/>
                  <a:ln w="9525" cap="rnd" cmpd="sng">
                    <a:solidFill>
                      <a:srgbClr val="5F7D95"/>
                    </a:solidFill>
                    <a:prstDash val="solid"/>
                    <a:miter lim="33357"/>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270" name="Google Shape;8270;p105"/>
                  <p:cNvSpPr/>
                  <p:nvPr/>
                </p:nvSpPr>
                <p:spPr>
                  <a:xfrm>
                    <a:off x="1512966" y="2246980"/>
                    <a:ext cx="75451" cy="65821"/>
                  </a:xfrm>
                  <a:custGeom>
                    <a:avLst/>
                    <a:gdLst/>
                    <a:ahLst/>
                    <a:cxnLst/>
                    <a:rect l="l" t="t" r="r" b="b"/>
                    <a:pathLst>
                      <a:path w="12810" h="11175" fill="none" extrusionOk="0">
                        <a:moveTo>
                          <a:pt x="1" y="11175"/>
                        </a:moveTo>
                        <a:cubicBezTo>
                          <a:pt x="6539" y="11175"/>
                          <a:pt x="10275" y="7105"/>
                          <a:pt x="12810" y="0"/>
                        </a:cubicBezTo>
                      </a:path>
                    </a:pathLst>
                  </a:custGeom>
                  <a:noFill/>
                  <a:ln w="9525" cap="rnd" cmpd="sng">
                    <a:solidFill>
                      <a:srgbClr val="5F7D95"/>
                    </a:solidFill>
                    <a:prstDash val="solid"/>
                    <a:miter lim="33357"/>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271" name="Google Shape;8271;p105"/>
                  <p:cNvSpPr/>
                  <p:nvPr/>
                </p:nvSpPr>
                <p:spPr>
                  <a:xfrm>
                    <a:off x="1507666" y="2294782"/>
                    <a:ext cx="37926" cy="35823"/>
                  </a:xfrm>
                  <a:custGeom>
                    <a:avLst/>
                    <a:gdLst/>
                    <a:ahLst/>
                    <a:cxnLst/>
                    <a:rect l="l" t="t" r="r" b="b"/>
                    <a:pathLst>
                      <a:path w="6439" h="6082" extrusionOk="0">
                        <a:moveTo>
                          <a:pt x="3241" y="0"/>
                        </a:moveTo>
                        <a:cubicBezTo>
                          <a:pt x="3118" y="0"/>
                          <a:pt x="2994" y="8"/>
                          <a:pt x="2869" y="23"/>
                        </a:cubicBezTo>
                        <a:cubicBezTo>
                          <a:pt x="1168" y="223"/>
                          <a:pt x="0" y="1724"/>
                          <a:pt x="200" y="3392"/>
                        </a:cubicBezTo>
                        <a:cubicBezTo>
                          <a:pt x="386" y="4937"/>
                          <a:pt x="1717" y="6082"/>
                          <a:pt x="3239" y="6082"/>
                        </a:cubicBezTo>
                        <a:cubicBezTo>
                          <a:pt x="3359" y="6082"/>
                          <a:pt x="3481" y="6075"/>
                          <a:pt x="3603" y="6060"/>
                        </a:cubicBezTo>
                        <a:cubicBezTo>
                          <a:pt x="5271" y="5860"/>
                          <a:pt x="6438" y="4326"/>
                          <a:pt x="6238" y="2658"/>
                        </a:cubicBezTo>
                        <a:cubicBezTo>
                          <a:pt x="6053" y="1115"/>
                          <a:pt x="4754" y="0"/>
                          <a:pt x="3241" y="0"/>
                        </a:cubicBezTo>
                        <a:close/>
                      </a:path>
                    </a:pathLst>
                  </a:custGeom>
                  <a:solidFill>
                    <a:srgbClr val="FFFFFF"/>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272" name="Google Shape;8272;p105"/>
                  <p:cNvSpPr/>
                  <p:nvPr/>
                </p:nvSpPr>
                <p:spPr>
                  <a:xfrm>
                    <a:off x="1648710" y="2415180"/>
                    <a:ext cx="25351" cy="34074"/>
                  </a:xfrm>
                  <a:custGeom>
                    <a:avLst/>
                    <a:gdLst/>
                    <a:ahLst/>
                    <a:cxnLst/>
                    <a:rect l="l" t="t" r="r" b="b"/>
                    <a:pathLst>
                      <a:path w="4304" h="5785" extrusionOk="0">
                        <a:moveTo>
                          <a:pt x="509" y="0"/>
                        </a:moveTo>
                        <a:cubicBezTo>
                          <a:pt x="247" y="0"/>
                          <a:pt x="1" y="203"/>
                          <a:pt x="1" y="493"/>
                        </a:cubicBezTo>
                        <a:lnTo>
                          <a:pt x="1" y="5264"/>
                        </a:lnTo>
                        <a:cubicBezTo>
                          <a:pt x="1" y="5561"/>
                          <a:pt x="240" y="5784"/>
                          <a:pt x="499" y="5784"/>
                        </a:cubicBezTo>
                        <a:cubicBezTo>
                          <a:pt x="589" y="5784"/>
                          <a:pt x="682" y="5757"/>
                          <a:pt x="768" y="5697"/>
                        </a:cubicBezTo>
                        <a:lnTo>
                          <a:pt x="4037" y="3396"/>
                        </a:lnTo>
                        <a:cubicBezTo>
                          <a:pt x="4304" y="3195"/>
                          <a:pt x="4304" y="2795"/>
                          <a:pt x="4037" y="2595"/>
                        </a:cubicBezTo>
                        <a:lnTo>
                          <a:pt x="801" y="93"/>
                        </a:lnTo>
                        <a:cubicBezTo>
                          <a:pt x="710" y="29"/>
                          <a:pt x="608" y="0"/>
                          <a:pt x="509" y="0"/>
                        </a:cubicBezTo>
                        <a:close/>
                      </a:path>
                    </a:pathLst>
                  </a:custGeom>
                  <a:solidFill>
                    <a:srgbClr val="FFFFFF"/>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273" name="Google Shape;8273;p105"/>
                  <p:cNvSpPr/>
                  <p:nvPr/>
                </p:nvSpPr>
                <p:spPr>
                  <a:xfrm>
                    <a:off x="1648710" y="2176104"/>
                    <a:ext cx="25351" cy="34103"/>
                  </a:xfrm>
                  <a:custGeom>
                    <a:avLst/>
                    <a:gdLst/>
                    <a:ahLst/>
                    <a:cxnLst/>
                    <a:rect l="l" t="t" r="r" b="b"/>
                    <a:pathLst>
                      <a:path w="4304" h="5790" extrusionOk="0">
                        <a:moveTo>
                          <a:pt x="509" y="1"/>
                        </a:moveTo>
                        <a:cubicBezTo>
                          <a:pt x="247" y="1"/>
                          <a:pt x="1" y="203"/>
                          <a:pt x="1" y="494"/>
                        </a:cubicBezTo>
                        <a:lnTo>
                          <a:pt x="1" y="5264"/>
                        </a:lnTo>
                        <a:cubicBezTo>
                          <a:pt x="1" y="5580"/>
                          <a:pt x="231" y="5790"/>
                          <a:pt x="485" y="5790"/>
                        </a:cubicBezTo>
                        <a:cubicBezTo>
                          <a:pt x="580" y="5790"/>
                          <a:pt x="677" y="5761"/>
                          <a:pt x="768" y="5697"/>
                        </a:cubicBezTo>
                        <a:lnTo>
                          <a:pt x="4037" y="3396"/>
                        </a:lnTo>
                        <a:cubicBezTo>
                          <a:pt x="4304" y="3196"/>
                          <a:pt x="4304" y="2795"/>
                          <a:pt x="4037" y="2595"/>
                        </a:cubicBezTo>
                        <a:lnTo>
                          <a:pt x="801" y="93"/>
                        </a:lnTo>
                        <a:cubicBezTo>
                          <a:pt x="710" y="29"/>
                          <a:pt x="608" y="1"/>
                          <a:pt x="509" y="1"/>
                        </a:cubicBezTo>
                        <a:close/>
                      </a:path>
                    </a:pathLst>
                  </a:custGeom>
                  <a:solidFill>
                    <a:srgbClr val="FFFFFF"/>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sp>
              <p:nvSpPr>
                <p:cNvPr id="8274" name="Google Shape;8274;p105"/>
                <p:cNvSpPr/>
                <p:nvPr/>
              </p:nvSpPr>
              <p:spPr>
                <a:xfrm>
                  <a:off x="1707626" y="2395718"/>
                  <a:ext cx="72898" cy="72967"/>
                </a:xfrm>
                <a:custGeom>
                  <a:avLst/>
                  <a:gdLst/>
                  <a:ahLst/>
                  <a:cxnLst/>
                  <a:rect l="l" t="t" r="r" b="b"/>
                  <a:pathLst>
                    <a:path w="20082" h="20115" extrusionOk="0">
                      <a:moveTo>
                        <a:pt x="10041" y="1"/>
                      </a:moveTo>
                      <a:cubicBezTo>
                        <a:pt x="4503" y="1"/>
                        <a:pt x="0" y="4504"/>
                        <a:pt x="0" y="10041"/>
                      </a:cubicBezTo>
                      <a:cubicBezTo>
                        <a:pt x="0" y="15612"/>
                        <a:pt x="4503" y="20115"/>
                        <a:pt x="10041" y="20115"/>
                      </a:cubicBezTo>
                      <a:cubicBezTo>
                        <a:pt x="15578" y="20115"/>
                        <a:pt x="20081" y="15612"/>
                        <a:pt x="20081" y="10041"/>
                      </a:cubicBezTo>
                      <a:cubicBezTo>
                        <a:pt x="20081" y="4504"/>
                        <a:pt x="15578" y="1"/>
                        <a:pt x="10041" y="1"/>
                      </a:cubicBezTo>
                      <a:close/>
                    </a:path>
                  </a:pathLst>
                </a:custGeom>
                <a:noFill/>
                <a:ln w="9525" cap="flat" cmpd="sng">
                  <a:solidFill>
                    <a:srgbClr val="E3E9ED"/>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275" name="Google Shape;8275;p105"/>
                <p:cNvSpPr/>
                <p:nvPr/>
              </p:nvSpPr>
              <p:spPr>
                <a:xfrm>
                  <a:off x="1707626" y="2158168"/>
                  <a:ext cx="72898" cy="72967"/>
                </a:xfrm>
                <a:custGeom>
                  <a:avLst/>
                  <a:gdLst/>
                  <a:ahLst/>
                  <a:cxnLst/>
                  <a:rect l="l" t="t" r="r" b="b"/>
                  <a:pathLst>
                    <a:path w="20082" h="20115" extrusionOk="0">
                      <a:moveTo>
                        <a:pt x="10041" y="1"/>
                      </a:moveTo>
                      <a:cubicBezTo>
                        <a:pt x="4503" y="1"/>
                        <a:pt x="0" y="4504"/>
                        <a:pt x="0" y="10041"/>
                      </a:cubicBezTo>
                      <a:cubicBezTo>
                        <a:pt x="0" y="15612"/>
                        <a:pt x="4503" y="20115"/>
                        <a:pt x="10041" y="20115"/>
                      </a:cubicBezTo>
                      <a:cubicBezTo>
                        <a:pt x="15578" y="20115"/>
                        <a:pt x="20081" y="15612"/>
                        <a:pt x="20081" y="10041"/>
                      </a:cubicBezTo>
                      <a:cubicBezTo>
                        <a:pt x="20081" y="4504"/>
                        <a:pt x="15578" y="1"/>
                        <a:pt x="10041" y="1"/>
                      </a:cubicBezTo>
                      <a:close/>
                    </a:path>
                  </a:pathLst>
                </a:custGeom>
                <a:noFill/>
                <a:ln w="9525" cap="flat" cmpd="sng">
                  <a:solidFill>
                    <a:srgbClr val="E3E9ED"/>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grpSp>
          <p:nvGrpSpPr>
            <p:cNvPr id="8276" name="Google Shape;8276;p105"/>
            <p:cNvGrpSpPr/>
            <p:nvPr/>
          </p:nvGrpSpPr>
          <p:grpSpPr>
            <a:xfrm>
              <a:off x="1184858" y="1766083"/>
              <a:ext cx="510255" cy="319491"/>
              <a:chOff x="1284601" y="1681380"/>
              <a:chExt cx="495923" cy="310517"/>
            </a:xfrm>
          </p:grpSpPr>
          <p:sp>
            <p:nvSpPr>
              <p:cNvPr id="8277" name="Google Shape;8277;p105"/>
              <p:cNvSpPr/>
              <p:nvPr/>
            </p:nvSpPr>
            <p:spPr>
              <a:xfrm>
                <a:off x="1284601" y="1789723"/>
                <a:ext cx="93683" cy="93836"/>
              </a:xfrm>
              <a:custGeom>
                <a:avLst/>
                <a:gdLst/>
                <a:ahLst/>
                <a:cxnLst/>
                <a:rect l="l" t="t" r="r" b="b"/>
                <a:pathLst>
                  <a:path w="20082" h="20115" extrusionOk="0">
                    <a:moveTo>
                      <a:pt x="10041" y="1"/>
                    </a:moveTo>
                    <a:cubicBezTo>
                      <a:pt x="4503" y="1"/>
                      <a:pt x="0" y="4504"/>
                      <a:pt x="0" y="10041"/>
                    </a:cubicBezTo>
                    <a:cubicBezTo>
                      <a:pt x="0" y="15612"/>
                      <a:pt x="4503" y="20115"/>
                      <a:pt x="10041" y="20115"/>
                    </a:cubicBezTo>
                    <a:cubicBezTo>
                      <a:pt x="15578" y="20115"/>
                      <a:pt x="20081" y="15612"/>
                      <a:pt x="20081" y="10041"/>
                    </a:cubicBezTo>
                    <a:cubicBezTo>
                      <a:pt x="20081" y="4504"/>
                      <a:pt x="15578" y="1"/>
                      <a:pt x="10041" y="1"/>
                    </a:cubicBezTo>
                    <a:close/>
                  </a:path>
                </a:pathLst>
              </a:custGeom>
              <a:noFill/>
              <a:ln w="9525" cap="flat" cmpd="sng">
                <a:solidFill>
                  <a:srgbClr val="E3E9ED"/>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nvGrpSpPr>
              <p:cNvPr id="8278" name="Google Shape;8278;p105"/>
              <p:cNvGrpSpPr/>
              <p:nvPr/>
            </p:nvGrpSpPr>
            <p:grpSpPr>
              <a:xfrm>
                <a:off x="1507666" y="1681380"/>
                <a:ext cx="272858" cy="310517"/>
                <a:chOff x="1507666" y="1681380"/>
                <a:chExt cx="272858" cy="310517"/>
              </a:xfrm>
            </p:grpSpPr>
            <p:grpSp>
              <p:nvGrpSpPr>
                <p:cNvPr id="8279" name="Google Shape;8279;p105"/>
                <p:cNvGrpSpPr/>
                <p:nvPr/>
              </p:nvGrpSpPr>
              <p:grpSpPr>
                <a:xfrm>
                  <a:off x="1507666" y="1700120"/>
                  <a:ext cx="166395" cy="272984"/>
                  <a:chOff x="1507666" y="1700120"/>
                  <a:chExt cx="166395" cy="272984"/>
                </a:xfrm>
              </p:grpSpPr>
              <p:sp>
                <p:nvSpPr>
                  <p:cNvPr id="8280" name="Google Shape;8280;p105"/>
                  <p:cNvSpPr/>
                  <p:nvPr/>
                </p:nvSpPr>
                <p:spPr>
                  <a:xfrm>
                    <a:off x="1512966" y="1836607"/>
                    <a:ext cx="75451" cy="66021"/>
                  </a:xfrm>
                  <a:custGeom>
                    <a:avLst/>
                    <a:gdLst/>
                    <a:ahLst/>
                    <a:cxnLst/>
                    <a:rect l="l" t="t" r="r" b="b"/>
                    <a:pathLst>
                      <a:path w="12810" h="11209" fill="none" extrusionOk="0">
                        <a:moveTo>
                          <a:pt x="1" y="0"/>
                        </a:moveTo>
                        <a:lnTo>
                          <a:pt x="1" y="0"/>
                        </a:lnTo>
                        <a:cubicBezTo>
                          <a:pt x="6372" y="0"/>
                          <a:pt x="10542" y="3803"/>
                          <a:pt x="12810" y="11208"/>
                        </a:cubicBezTo>
                      </a:path>
                    </a:pathLst>
                  </a:custGeom>
                  <a:noFill/>
                  <a:ln w="9525" cap="rnd" cmpd="sng">
                    <a:solidFill>
                      <a:srgbClr val="5F7D95"/>
                    </a:solidFill>
                    <a:prstDash val="solid"/>
                    <a:miter lim="33357"/>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281" name="Google Shape;8281;p105"/>
                  <p:cNvSpPr/>
                  <p:nvPr/>
                </p:nvSpPr>
                <p:spPr>
                  <a:xfrm>
                    <a:off x="1588205" y="1716969"/>
                    <a:ext cx="72901" cy="54235"/>
                  </a:xfrm>
                  <a:custGeom>
                    <a:avLst/>
                    <a:gdLst/>
                    <a:ahLst/>
                    <a:cxnLst/>
                    <a:rect l="l" t="t" r="r" b="b"/>
                    <a:pathLst>
                      <a:path w="12377" h="9208" fill="none" extrusionOk="0">
                        <a:moveTo>
                          <a:pt x="1" y="9207"/>
                        </a:moveTo>
                        <a:cubicBezTo>
                          <a:pt x="1635" y="3870"/>
                          <a:pt x="6539" y="1"/>
                          <a:pt x="12376" y="1"/>
                        </a:cubicBezTo>
                      </a:path>
                    </a:pathLst>
                  </a:custGeom>
                  <a:noFill/>
                  <a:ln w="9525" cap="rnd" cmpd="sng">
                    <a:solidFill>
                      <a:srgbClr val="5F7D95"/>
                    </a:solidFill>
                    <a:prstDash val="solid"/>
                    <a:miter lim="33357"/>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282" name="Google Shape;8282;p105"/>
                  <p:cNvSpPr/>
                  <p:nvPr/>
                </p:nvSpPr>
                <p:spPr>
                  <a:xfrm>
                    <a:off x="1588205" y="1902024"/>
                    <a:ext cx="72901" cy="54035"/>
                  </a:xfrm>
                  <a:custGeom>
                    <a:avLst/>
                    <a:gdLst/>
                    <a:ahLst/>
                    <a:cxnLst/>
                    <a:rect l="l" t="t" r="r" b="b"/>
                    <a:pathLst>
                      <a:path w="12377" h="9174" fill="none" extrusionOk="0">
                        <a:moveTo>
                          <a:pt x="1" y="0"/>
                        </a:moveTo>
                        <a:cubicBezTo>
                          <a:pt x="1635" y="5304"/>
                          <a:pt x="6539" y="9173"/>
                          <a:pt x="12376" y="9173"/>
                        </a:cubicBezTo>
                      </a:path>
                    </a:pathLst>
                  </a:custGeom>
                  <a:noFill/>
                  <a:ln w="9525" cap="rnd" cmpd="sng">
                    <a:solidFill>
                      <a:srgbClr val="5F7D95"/>
                    </a:solidFill>
                    <a:prstDash val="solid"/>
                    <a:miter lim="33357"/>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283" name="Google Shape;8283;p105"/>
                  <p:cNvSpPr/>
                  <p:nvPr/>
                </p:nvSpPr>
                <p:spPr>
                  <a:xfrm>
                    <a:off x="1512966" y="1770990"/>
                    <a:ext cx="75451" cy="65632"/>
                  </a:xfrm>
                  <a:custGeom>
                    <a:avLst/>
                    <a:gdLst/>
                    <a:ahLst/>
                    <a:cxnLst/>
                    <a:rect l="l" t="t" r="r" b="b"/>
                    <a:pathLst>
                      <a:path w="12810" h="11143" fill="none" extrusionOk="0">
                        <a:moveTo>
                          <a:pt x="1" y="11142"/>
                        </a:moveTo>
                        <a:cubicBezTo>
                          <a:pt x="6539" y="11142"/>
                          <a:pt x="10275" y="7106"/>
                          <a:pt x="12810" y="1"/>
                        </a:cubicBezTo>
                      </a:path>
                    </a:pathLst>
                  </a:custGeom>
                  <a:noFill/>
                  <a:ln w="9525" cap="rnd" cmpd="sng">
                    <a:solidFill>
                      <a:srgbClr val="5F7D95"/>
                    </a:solidFill>
                    <a:prstDash val="solid"/>
                    <a:miter lim="33357"/>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284" name="Google Shape;8284;p105"/>
                  <p:cNvSpPr/>
                  <p:nvPr/>
                </p:nvSpPr>
                <p:spPr>
                  <a:xfrm>
                    <a:off x="1507666" y="1818598"/>
                    <a:ext cx="37926" cy="36023"/>
                  </a:xfrm>
                  <a:custGeom>
                    <a:avLst/>
                    <a:gdLst/>
                    <a:ahLst/>
                    <a:cxnLst/>
                    <a:rect l="l" t="t" r="r" b="b"/>
                    <a:pathLst>
                      <a:path w="6439" h="6116" extrusionOk="0">
                        <a:moveTo>
                          <a:pt x="3199" y="1"/>
                        </a:moveTo>
                        <a:cubicBezTo>
                          <a:pt x="3079" y="1"/>
                          <a:pt x="2958" y="8"/>
                          <a:pt x="2835" y="23"/>
                        </a:cubicBezTo>
                        <a:cubicBezTo>
                          <a:pt x="1168" y="256"/>
                          <a:pt x="0" y="1757"/>
                          <a:pt x="200" y="3425"/>
                        </a:cubicBezTo>
                        <a:cubicBezTo>
                          <a:pt x="386" y="4971"/>
                          <a:pt x="1717" y="6115"/>
                          <a:pt x="3239" y="6115"/>
                        </a:cubicBezTo>
                        <a:cubicBezTo>
                          <a:pt x="3359" y="6115"/>
                          <a:pt x="3481" y="6108"/>
                          <a:pt x="3603" y="6094"/>
                        </a:cubicBezTo>
                        <a:cubicBezTo>
                          <a:pt x="5271" y="5860"/>
                          <a:pt x="6438" y="4359"/>
                          <a:pt x="6238" y="2691"/>
                        </a:cubicBezTo>
                        <a:cubicBezTo>
                          <a:pt x="6052" y="1145"/>
                          <a:pt x="4721" y="1"/>
                          <a:pt x="3199" y="1"/>
                        </a:cubicBezTo>
                        <a:close/>
                      </a:path>
                    </a:pathLst>
                  </a:custGeom>
                  <a:solidFill>
                    <a:srgbClr val="FFFFFF"/>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285" name="Google Shape;8285;p105"/>
                  <p:cNvSpPr/>
                  <p:nvPr/>
                </p:nvSpPr>
                <p:spPr>
                  <a:xfrm>
                    <a:off x="1648710" y="1939072"/>
                    <a:ext cx="25351" cy="34032"/>
                  </a:xfrm>
                  <a:custGeom>
                    <a:avLst/>
                    <a:gdLst/>
                    <a:ahLst/>
                    <a:cxnLst/>
                    <a:rect l="l" t="t" r="r" b="b"/>
                    <a:pathLst>
                      <a:path w="4304" h="5778" extrusionOk="0">
                        <a:moveTo>
                          <a:pt x="489" y="0"/>
                        </a:moveTo>
                        <a:cubicBezTo>
                          <a:pt x="234" y="0"/>
                          <a:pt x="1" y="207"/>
                          <a:pt x="1" y="514"/>
                        </a:cubicBezTo>
                        <a:lnTo>
                          <a:pt x="1" y="5284"/>
                        </a:lnTo>
                        <a:cubicBezTo>
                          <a:pt x="1" y="5575"/>
                          <a:pt x="229" y="5777"/>
                          <a:pt x="482" y="5777"/>
                        </a:cubicBezTo>
                        <a:cubicBezTo>
                          <a:pt x="577" y="5777"/>
                          <a:pt x="676" y="5748"/>
                          <a:pt x="768" y="5684"/>
                        </a:cubicBezTo>
                        <a:lnTo>
                          <a:pt x="4037" y="3383"/>
                        </a:lnTo>
                        <a:cubicBezTo>
                          <a:pt x="4304" y="3183"/>
                          <a:pt x="4304" y="2782"/>
                          <a:pt x="4037" y="2582"/>
                        </a:cubicBezTo>
                        <a:lnTo>
                          <a:pt x="801" y="114"/>
                        </a:lnTo>
                        <a:cubicBezTo>
                          <a:pt x="704" y="36"/>
                          <a:pt x="595" y="0"/>
                          <a:pt x="489" y="0"/>
                        </a:cubicBezTo>
                        <a:close/>
                      </a:path>
                    </a:pathLst>
                  </a:custGeom>
                  <a:solidFill>
                    <a:srgbClr val="FFFFFF"/>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286" name="Google Shape;8286;p105"/>
                  <p:cNvSpPr/>
                  <p:nvPr/>
                </p:nvSpPr>
                <p:spPr>
                  <a:xfrm>
                    <a:off x="1648710" y="1700120"/>
                    <a:ext cx="25351" cy="33909"/>
                  </a:xfrm>
                  <a:custGeom>
                    <a:avLst/>
                    <a:gdLst/>
                    <a:ahLst/>
                    <a:cxnLst/>
                    <a:rect l="l" t="t" r="r" b="b"/>
                    <a:pathLst>
                      <a:path w="4304" h="5757" extrusionOk="0">
                        <a:moveTo>
                          <a:pt x="509" y="0"/>
                        </a:moveTo>
                        <a:cubicBezTo>
                          <a:pt x="247" y="0"/>
                          <a:pt x="1" y="203"/>
                          <a:pt x="1" y="493"/>
                        </a:cubicBezTo>
                        <a:lnTo>
                          <a:pt x="1" y="5263"/>
                        </a:lnTo>
                        <a:cubicBezTo>
                          <a:pt x="1" y="5554"/>
                          <a:pt x="229" y="5757"/>
                          <a:pt x="482" y="5757"/>
                        </a:cubicBezTo>
                        <a:cubicBezTo>
                          <a:pt x="577" y="5757"/>
                          <a:pt x="676" y="5728"/>
                          <a:pt x="768" y="5664"/>
                        </a:cubicBezTo>
                        <a:lnTo>
                          <a:pt x="4037" y="3395"/>
                        </a:lnTo>
                        <a:cubicBezTo>
                          <a:pt x="4304" y="3195"/>
                          <a:pt x="4304" y="2795"/>
                          <a:pt x="4037" y="2561"/>
                        </a:cubicBezTo>
                        <a:lnTo>
                          <a:pt x="801" y="93"/>
                        </a:lnTo>
                        <a:cubicBezTo>
                          <a:pt x="710" y="29"/>
                          <a:pt x="608" y="0"/>
                          <a:pt x="509" y="0"/>
                        </a:cubicBezTo>
                        <a:close/>
                      </a:path>
                    </a:pathLst>
                  </a:custGeom>
                  <a:solidFill>
                    <a:srgbClr val="FFFFFF"/>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sp>
              <p:nvSpPr>
                <p:cNvPr id="8287" name="Google Shape;8287;p105"/>
                <p:cNvSpPr/>
                <p:nvPr/>
              </p:nvSpPr>
              <p:spPr>
                <a:xfrm>
                  <a:off x="1707626" y="1918930"/>
                  <a:ext cx="72898" cy="72967"/>
                </a:xfrm>
                <a:custGeom>
                  <a:avLst/>
                  <a:gdLst/>
                  <a:ahLst/>
                  <a:cxnLst/>
                  <a:rect l="l" t="t" r="r" b="b"/>
                  <a:pathLst>
                    <a:path w="20082" h="20115" extrusionOk="0">
                      <a:moveTo>
                        <a:pt x="10041" y="1"/>
                      </a:moveTo>
                      <a:cubicBezTo>
                        <a:pt x="4503" y="1"/>
                        <a:pt x="0" y="4504"/>
                        <a:pt x="0" y="10041"/>
                      </a:cubicBezTo>
                      <a:cubicBezTo>
                        <a:pt x="0" y="15612"/>
                        <a:pt x="4503" y="20115"/>
                        <a:pt x="10041" y="20115"/>
                      </a:cubicBezTo>
                      <a:cubicBezTo>
                        <a:pt x="15578" y="20115"/>
                        <a:pt x="20081" y="15612"/>
                        <a:pt x="20081" y="10041"/>
                      </a:cubicBezTo>
                      <a:cubicBezTo>
                        <a:pt x="20081" y="4504"/>
                        <a:pt x="15578" y="1"/>
                        <a:pt x="10041" y="1"/>
                      </a:cubicBezTo>
                      <a:close/>
                    </a:path>
                  </a:pathLst>
                </a:custGeom>
                <a:noFill/>
                <a:ln w="9525" cap="flat" cmpd="sng">
                  <a:solidFill>
                    <a:srgbClr val="E3E9ED"/>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288" name="Google Shape;8288;p105"/>
                <p:cNvSpPr/>
                <p:nvPr/>
              </p:nvSpPr>
              <p:spPr>
                <a:xfrm>
                  <a:off x="1707626" y="1681380"/>
                  <a:ext cx="72898" cy="72967"/>
                </a:xfrm>
                <a:custGeom>
                  <a:avLst/>
                  <a:gdLst/>
                  <a:ahLst/>
                  <a:cxnLst/>
                  <a:rect l="l" t="t" r="r" b="b"/>
                  <a:pathLst>
                    <a:path w="20082" h="20115" extrusionOk="0">
                      <a:moveTo>
                        <a:pt x="10041" y="1"/>
                      </a:moveTo>
                      <a:cubicBezTo>
                        <a:pt x="4503" y="1"/>
                        <a:pt x="0" y="4504"/>
                        <a:pt x="0" y="10041"/>
                      </a:cubicBezTo>
                      <a:cubicBezTo>
                        <a:pt x="0" y="15612"/>
                        <a:pt x="4503" y="20115"/>
                        <a:pt x="10041" y="20115"/>
                      </a:cubicBezTo>
                      <a:cubicBezTo>
                        <a:pt x="15578" y="20115"/>
                        <a:pt x="20081" y="15612"/>
                        <a:pt x="20081" y="10041"/>
                      </a:cubicBezTo>
                      <a:cubicBezTo>
                        <a:pt x="20081" y="4504"/>
                        <a:pt x="15578" y="1"/>
                        <a:pt x="10041" y="1"/>
                      </a:cubicBezTo>
                      <a:close/>
                    </a:path>
                  </a:pathLst>
                </a:custGeom>
                <a:noFill/>
                <a:ln w="9525" cap="flat" cmpd="sng">
                  <a:solidFill>
                    <a:srgbClr val="E3E9ED"/>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grpSp>
      <p:grpSp>
        <p:nvGrpSpPr>
          <p:cNvPr id="8289" name="Google Shape;8289;p105"/>
          <p:cNvGrpSpPr/>
          <p:nvPr/>
        </p:nvGrpSpPr>
        <p:grpSpPr>
          <a:xfrm>
            <a:off x="9121872" y="3378017"/>
            <a:ext cx="2163025" cy="736591"/>
            <a:chOff x="6894650" y="2574740"/>
            <a:chExt cx="1445100" cy="492111"/>
          </a:xfrm>
        </p:grpSpPr>
        <p:sp>
          <p:nvSpPr>
            <p:cNvPr id="8290" name="Google Shape;8290;p105"/>
            <p:cNvSpPr/>
            <p:nvPr/>
          </p:nvSpPr>
          <p:spPr>
            <a:xfrm>
              <a:off x="7151862" y="2854413"/>
              <a:ext cx="414806" cy="212438"/>
            </a:xfrm>
            <a:custGeom>
              <a:avLst/>
              <a:gdLst/>
              <a:ahLst/>
              <a:cxnLst/>
              <a:rect l="l" t="t" r="r" b="b"/>
              <a:pathLst>
                <a:path w="12481" h="6392" extrusionOk="0">
                  <a:moveTo>
                    <a:pt x="2" y="0"/>
                  </a:moveTo>
                  <a:lnTo>
                    <a:pt x="2" y="66"/>
                  </a:lnTo>
                  <a:cubicBezTo>
                    <a:pt x="0" y="3558"/>
                    <a:pt x="2794" y="6391"/>
                    <a:pt x="6241" y="6391"/>
                  </a:cubicBezTo>
                  <a:cubicBezTo>
                    <a:pt x="9687" y="6391"/>
                    <a:pt x="12481" y="3558"/>
                    <a:pt x="12481" y="66"/>
                  </a:cubicBezTo>
                  <a:lnTo>
                    <a:pt x="12481" y="0"/>
                  </a:lnTo>
                  <a:lnTo>
                    <a:pt x="7664" y="0"/>
                  </a:lnTo>
                  <a:cubicBezTo>
                    <a:pt x="7664" y="12"/>
                    <a:pt x="7666" y="23"/>
                    <a:pt x="7666" y="32"/>
                  </a:cubicBezTo>
                  <a:cubicBezTo>
                    <a:pt x="7666" y="838"/>
                    <a:pt x="7022" y="1490"/>
                    <a:pt x="6229" y="1490"/>
                  </a:cubicBezTo>
                  <a:cubicBezTo>
                    <a:pt x="5435" y="1490"/>
                    <a:pt x="4793" y="838"/>
                    <a:pt x="4793" y="32"/>
                  </a:cubicBezTo>
                  <a:cubicBezTo>
                    <a:pt x="4793" y="23"/>
                    <a:pt x="4795" y="12"/>
                    <a:pt x="4795" y="0"/>
                  </a:cubicBezTo>
                  <a:close/>
                </a:path>
              </a:pathLst>
            </a:custGeom>
            <a:noFill/>
            <a:ln w="9525" cap="flat" cmpd="sng">
              <a:solidFill>
                <a:srgbClr val="869FB1"/>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291" name="Google Shape;8291;p105"/>
            <p:cNvSpPr/>
            <p:nvPr/>
          </p:nvSpPr>
          <p:spPr>
            <a:xfrm>
              <a:off x="7664213" y="2854413"/>
              <a:ext cx="414806" cy="212438"/>
            </a:xfrm>
            <a:custGeom>
              <a:avLst/>
              <a:gdLst/>
              <a:ahLst/>
              <a:cxnLst/>
              <a:rect l="l" t="t" r="r" b="b"/>
              <a:pathLst>
                <a:path w="12481" h="6392" extrusionOk="0">
                  <a:moveTo>
                    <a:pt x="2" y="0"/>
                  </a:moveTo>
                  <a:lnTo>
                    <a:pt x="2" y="66"/>
                  </a:lnTo>
                  <a:cubicBezTo>
                    <a:pt x="0" y="3558"/>
                    <a:pt x="2794" y="6391"/>
                    <a:pt x="6241" y="6391"/>
                  </a:cubicBezTo>
                  <a:cubicBezTo>
                    <a:pt x="9687" y="6391"/>
                    <a:pt x="12481" y="3558"/>
                    <a:pt x="12481" y="66"/>
                  </a:cubicBezTo>
                  <a:lnTo>
                    <a:pt x="12481" y="0"/>
                  </a:lnTo>
                  <a:lnTo>
                    <a:pt x="7664" y="0"/>
                  </a:lnTo>
                  <a:cubicBezTo>
                    <a:pt x="7664" y="12"/>
                    <a:pt x="7666" y="23"/>
                    <a:pt x="7666" y="32"/>
                  </a:cubicBezTo>
                  <a:cubicBezTo>
                    <a:pt x="7666" y="838"/>
                    <a:pt x="7022" y="1490"/>
                    <a:pt x="6229" y="1490"/>
                  </a:cubicBezTo>
                  <a:cubicBezTo>
                    <a:pt x="5437" y="1490"/>
                    <a:pt x="4793" y="838"/>
                    <a:pt x="4793" y="32"/>
                  </a:cubicBezTo>
                  <a:cubicBezTo>
                    <a:pt x="4793" y="23"/>
                    <a:pt x="4795" y="12"/>
                    <a:pt x="4795" y="0"/>
                  </a:cubicBezTo>
                  <a:close/>
                </a:path>
              </a:pathLst>
            </a:custGeom>
            <a:noFill/>
            <a:ln w="9525" cap="flat" cmpd="sng">
              <a:solidFill>
                <a:srgbClr val="869FB1"/>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292" name="Google Shape;8292;p105"/>
            <p:cNvSpPr/>
            <p:nvPr/>
          </p:nvSpPr>
          <p:spPr>
            <a:xfrm>
              <a:off x="6895687" y="2575804"/>
              <a:ext cx="420489" cy="212471"/>
            </a:xfrm>
            <a:custGeom>
              <a:avLst/>
              <a:gdLst/>
              <a:ahLst/>
              <a:cxnLst/>
              <a:rect l="l" t="t" r="r" b="b"/>
              <a:pathLst>
                <a:path w="12652" h="6393" extrusionOk="0">
                  <a:moveTo>
                    <a:pt x="6326" y="0"/>
                  </a:moveTo>
                  <a:cubicBezTo>
                    <a:pt x="2832" y="0"/>
                    <a:pt x="1" y="2833"/>
                    <a:pt x="1" y="6326"/>
                  </a:cubicBezTo>
                  <a:lnTo>
                    <a:pt x="1" y="6393"/>
                  </a:lnTo>
                  <a:lnTo>
                    <a:pt x="4883" y="6393"/>
                  </a:lnTo>
                  <a:cubicBezTo>
                    <a:pt x="4883" y="6382"/>
                    <a:pt x="4882" y="6370"/>
                    <a:pt x="4882" y="6359"/>
                  </a:cubicBezTo>
                  <a:cubicBezTo>
                    <a:pt x="4882" y="5555"/>
                    <a:pt x="5534" y="4904"/>
                    <a:pt x="6337" y="4904"/>
                  </a:cubicBezTo>
                  <a:cubicBezTo>
                    <a:pt x="7141" y="4904"/>
                    <a:pt x="7793" y="5555"/>
                    <a:pt x="7793" y="6359"/>
                  </a:cubicBezTo>
                  <a:cubicBezTo>
                    <a:pt x="7793" y="6370"/>
                    <a:pt x="7791" y="6382"/>
                    <a:pt x="7791" y="6393"/>
                  </a:cubicBezTo>
                  <a:lnTo>
                    <a:pt x="12651" y="6393"/>
                  </a:lnTo>
                  <a:lnTo>
                    <a:pt x="12651" y="6326"/>
                  </a:lnTo>
                  <a:cubicBezTo>
                    <a:pt x="12651" y="2833"/>
                    <a:pt x="9820" y="0"/>
                    <a:pt x="6326" y="0"/>
                  </a:cubicBezTo>
                  <a:close/>
                </a:path>
              </a:pathLst>
            </a:custGeom>
            <a:noFill/>
            <a:ln w="9525" cap="flat" cmpd="sng">
              <a:solidFill>
                <a:srgbClr val="A5B7C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293" name="Google Shape;8293;p105"/>
            <p:cNvSpPr/>
            <p:nvPr/>
          </p:nvSpPr>
          <p:spPr>
            <a:xfrm>
              <a:off x="7399530" y="2574740"/>
              <a:ext cx="420489" cy="212438"/>
            </a:xfrm>
            <a:custGeom>
              <a:avLst/>
              <a:gdLst/>
              <a:ahLst/>
              <a:cxnLst/>
              <a:rect l="l" t="t" r="r" b="b"/>
              <a:pathLst>
                <a:path w="12652" h="6392" extrusionOk="0">
                  <a:moveTo>
                    <a:pt x="6326" y="0"/>
                  </a:moveTo>
                  <a:cubicBezTo>
                    <a:pt x="2832" y="0"/>
                    <a:pt x="1" y="2832"/>
                    <a:pt x="1" y="6326"/>
                  </a:cubicBezTo>
                  <a:lnTo>
                    <a:pt x="1" y="6391"/>
                  </a:lnTo>
                  <a:lnTo>
                    <a:pt x="4883" y="6391"/>
                  </a:lnTo>
                  <a:cubicBezTo>
                    <a:pt x="4883" y="6380"/>
                    <a:pt x="4882" y="6369"/>
                    <a:pt x="4882" y="6358"/>
                  </a:cubicBezTo>
                  <a:cubicBezTo>
                    <a:pt x="4882" y="5554"/>
                    <a:pt x="5533" y="4902"/>
                    <a:pt x="6337" y="4902"/>
                  </a:cubicBezTo>
                  <a:cubicBezTo>
                    <a:pt x="7141" y="4902"/>
                    <a:pt x="7793" y="5554"/>
                    <a:pt x="7793" y="6358"/>
                  </a:cubicBezTo>
                  <a:cubicBezTo>
                    <a:pt x="7793" y="6369"/>
                    <a:pt x="7791" y="6380"/>
                    <a:pt x="7791" y="6391"/>
                  </a:cubicBezTo>
                  <a:lnTo>
                    <a:pt x="12650" y="6391"/>
                  </a:lnTo>
                  <a:lnTo>
                    <a:pt x="12650" y="6326"/>
                  </a:lnTo>
                  <a:cubicBezTo>
                    <a:pt x="12651" y="2833"/>
                    <a:pt x="9819" y="0"/>
                    <a:pt x="6326" y="0"/>
                  </a:cubicBezTo>
                  <a:close/>
                </a:path>
              </a:pathLst>
            </a:custGeom>
            <a:noFill/>
            <a:ln w="9525" cap="flat" cmpd="sng">
              <a:solidFill>
                <a:srgbClr val="A5B7C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294" name="Google Shape;8294;p105"/>
            <p:cNvSpPr/>
            <p:nvPr/>
          </p:nvSpPr>
          <p:spPr>
            <a:xfrm>
              <a:off x="7911880" y="2574740"/>
              <a:ext cx="420489" cy="212438"/>
            </a:xfrm>
            <a:custGeom>
              <a:avLst/>
              <a:gdLst/>
              <a:ahLst/>
              <a:cxnLst/>
              <a:rect l="l" t="t" r="r" b="b"/>
              <a:pathLst>
                <a:path w="12652" h="6392" extrusionOk="0">
                  <a:moveTo>
                    <a:pt x="6326" y="0"/>
                  </a:moveTo>
                  <a:cubicBezTo>
                    <a:pt x="2832" y="0"/>
                    <a:pt x="1" y="2832"/>
                    <a:pt x="1" y="6326"/>
                  </a:cubicBezTo>
                  <a:lnTo>
                    <a:pt x="1" y="6391"/>
                  </a:lnTo>
                  <a:lnTo>
                    <a:pt x="4883" y="6391"/>
                  </a:lnTo>
                  <a:cubicBezTo>
                    <a:pt x="4883" y="6380"/>
                    <a:pt x="4882" y="6369"/>
                    <a:pt x="4882" y="6358"/>
                  </a:cubicBezTo>
                  <a:cubicBezTo>
                    <a:pt x="4882" y="5554"/>
                    <a:pt x="5533" y="4902"/>
                    <a:pt x="6337" y="4902"/>
                  </a:cubicBezTo>
                  <a:cubicBezTo>
                    <a:pt x="7141" y="4902"/>
                    <a:pt x="7793" y="5554"/>
                    <a:pt x="7793" y="6358"/>
                  </a:cubicBezTo>
                  <a:cubicBezTo>
                    <a:pt x="7793" y="6369"/>
                    <a:pt x="7791" y="6380"/>
                    <a:pt x="7791" y="6391"/>
                  </a:cubicBezTo>
                  <a:lnTo>
                    <a:pt x="12650" y="6391"/>
                  </a:lnTo>
                  <a:lnTo>
                    <a:pt x="12650" y="6326"/>
                  </a:lnTo>
                  <a:cubicBezTo>
                    <a:pt x="12651" y="2833"/>
                    <a:pt x="9819" y="0"/>
                    <a:pt x="6326" y="0"/>
                  </a:cubicBezTo>
                  <a:close/>
                </a:path>
              </a:pathLst>
            </a:custGeom>
            <a:noFill/>
            <a:ln w="9525" cap="flat" cmpd="sng">
              <a:solidFill>
                <a:srgbClr val="A5B7C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cxnSp>
          <p:nvCxnSpPr>
            <p:cNvPr id="8295" name="Google Shape;8295;p105"/>
            <p:cNvCxnSpPr/>
            <p:nvPr/>
          </p:nvCxnSpPr>
          <p:spPr>
            <a:xfrm>
              <a:off x="6894650" y="2821921"/>
              <a:ext cx="1445100" cy="0"/>
            </a:xfrm>
            <a:prstGeom prst="straightConnector1">
              <a:avLst/>
            </a:prstGeom>
            <a:noFill/>
            <a:ln w="9525" cap="flat" cmpd="sng">
              <a:solidFill>
                <a:srgbClr val="869FB2"/>
              </a:solidFill>
              <a:prstDash val="solid"/>
              <a:round/>
              <a:headEnd type="none" w="med" len="med"/>
              <a:tailEnd type="none" w="med" len="med"/>
            </a:ln>
          </p:spPr>
        </p:cxnSp>
      </p:grpSp>
      <p:grpSp>
        <p:nvGrpSpPr>
          <p:cNvPr id="8296" name="Google Shape;8296;p105"/>
          <p:cNvGrpSpPr/>
          <p:nvPr/>
        </p:nvGrpSpPr>
        <p:grpSpPr>
          <a:xfrm>
            <a:off x="9147928" y="5210358"/>
            <a:ext cx="2110941" cy="634273"/>
            <a:chOff x="6953919" y="3907920"/>
            <a:chExt cx="1377300" cy="475705"/>
          </a:xfrm>
        </p:grpSpPr>
        <p:cxnSp>
          <p:nvCxnSpPr>
            <p:cNvPr id="8297" name="Google Shape;8297;p105"/>
            <p:cNvCxnSpPr/>
            <p:nvPr/>
          </p:nvCxnSpPr>
          <p:spPr>
            <a:xfrm rot="10800000">
              <a:off x="7118546" y="4100689"/>
              <a:ext cx="0" cy="185100"/>
            </a:xfrm>
            <a:prstGeom prst="straightConnector1">
              <a:avLst/>
            </a:prstGeom>
            <a:noFill/>
            <a:ln w="19050" cap="flat" cmpd="sng">
              <a:solidFill>
                <a:srgbClr val="5F7D95"/>
              </a:solidFill>
              <a:prstDash val="solid"/>
              <a:round/>
              <a:headEnd type="none" w="med" len="med"/>
              <a:tailEnd type="none" w="med" len="med"/>
            </a:ln>
          </p:spPr>
        </p:cxnSp>
        <p:cxnSp>
          <p:nvCxnSpPr>
            <p:cNvPr id="8298" name="Google Shape;8298;p105"/>
            <p:cNvCxnSpPr/>
            <p:nvPr/>
          </p:nvCxnSpPr>
          <p:spPr>
            <a:xfrm>
              <a:off x="7480500" y="4197025"/>
              <a:ext cx="0" cy="186600"/>
            </a:xfrm>
            <a:prstGeom prst="straightConnector1">
              <a:avLst/>
            </a:prstGeom>
            <a:noFill/>
            <a:ln w="19050" cap="flat" cmpd="sng">
              <a:solidFill>
                <a:srgbClr val="5F7D95"/>
              </a:solidFill>
              <a:prstDash val="solid"/>
              <a:round/>
              <a:headEnd type="none" w="med" len="med"/>
              <a:tailEnd type="none" w="med" len="med"/>
            </a:ln>
          </p:spPr>
        </p:cxnSp>
        <p:cxnSp>
          <p:nvCxnSpPr>
            <p:cNvPr id="8299" name="Google Shape;8299;p105"/>
            <p:cNvCxnSpPr/>
            <p:nvPr/>
          </p:nvCxnSpPr>
          <p:spPr>
            <a:xfrm rot="10800000">
              <a:off x="7848574" y="3907920"/>
              <a:ext cx="0" cy="185100"/>
            </a:xfrm>
            <a:prstGeom prst="straightConnector1">
              <a:avLst/>
            </a:prstGeom>
            <a:noFill/>
            <a:ln w="19050" cap="flat" cmpd="sng">
              <a:solidFill>
                <a:srgbClr val="5F7D95"/>
              </a:solidFill>
              <a:prstDash val="solid"/>
              <a:round/>
              <a:headEnd type="none" w="med" len="med"/>
              <a:tailEnd type="none" w="med" len="med"/>
            </a:ln>
          </p:spPr>
        </p:cxnSp>
        <p:cxnSp>
          <p:nvCxnSpPr>
            <p:cNvPr id="8300" name="Google Shape;8300;p105"/>
            <p:cNvCxnSpPr/>
            <p:nvPr/>
          </p:nvCxnSpPr>
          <p:spPr>
            <a:xfrm>
              <a:off x="8218032" y="3997243"/>
              <a:ext cx="0" cy="197100"/>
            </a:xfrm>
            <a:prstGeom prst="straightConnector1">
              <a:avLst/>
            </a:prstGeom>
            <a:noFill/>
            <a:ln w="19050" cap="flat" cmpd="sng">
              <a:solidFill>
                <a:srgbClr val="5F7D95"/>
              </a:solidFill>
              <a:prstDash val="solid"/>
              <a:round/>
              <a:headEnd type="none" w="med" len="med"/>
              <a:tailEnd type="none" w="med" len="med"/>
            </a:ln>
          </p:spPr>
        </p:cxnSp>
        <p:cxnSp>
          <p:nvCxnSpPr>
            <p:cNvPr id="8301" name="Google Shape;8301;p105"/>
            <p:cNvCxnSpPr/>
            <p:nvPr/>
          </p:nvCxnSpPr>
          <p:spPr>
            <a:xfrm flipH="1">
              <a:off x="6953919" y="3961822"/>
              <a:ext cx="1377300" cy="376800"/>
            </a:xfrm>
            <a:prstGeom prst="straightConnector1">
              <a:avLst/>
            </a:prstGeom>
            <a:noFill/>
            <a:ln w="19050" cap="flat" cmpd="sng">
              <a:solidFill>
                <a:srgbClr val="435D74"/>
              </a:solidFill>
              <a:prstDash val="solid"/>
              <a:round/>
              <a:headEnd type="none" w="med" len="med"/>
              <a:tailEnd type="none" w="med" len="med"/>
            </a:ln>
          </p:spPr>
        </p:cxnSp>
      </p:grpSp>
      <p:grpSp>
        <p:nvGrpSpPr>
          <p:cNvPr id="8302" name="Google Shape;8302;p105"/>
          <p:cNvGrpSpPr/>
          <p:nvPr/>
        </p:nvGrpSpPr>
        <p:grpSpPr>
          <a:xfrm>
            <a:off x="3152712" y="3558551"/>
            <a:ext cx="1115048" cy="1099372"/>
            <a:chOff x="2389399" y="2595741"/>
            <a:chExt cx="812796" cy="801369"/>
          </a:xfrm>
        </p:grpSpPr>
        <p:grpSp>
          <p:nvGrpSpPr>
            <p:cNvPr id="8303" name="Google Shape;8303;p105"/>
            <p:cNvGrpSpPr/>
            <p:nvPr/>
          </p:nvGrpSpPr>
          <p:grpSpPr>
            <a:xfrm>
              <a:off x="2492145" y="2881565"/>
              <a:ext cx="607300" cy="229751"/>
              <a:chOff x="2492145" y="2881565"/>
              <a:chExt cx="607300" cy="229751"/>
            </a:xfrm>
          </p:grpSpPr>
          <p:sp>
            <p:nvSpPr>
              <p:cNvPr id="8304" name="Google Shape;8304;p105"/>
              <p:cNvSpPr/>
              <p:nvPr/>
            </p:nvSpPr>
            <p:spPr>
              <a:xfrm>
                <a:off x="2530550" y="2913581"/>
                <a:ext cx="530589" cy="165697"/>
              </a:xfrm>
              <a:custGeom>
                <a:avLst/>
                <a:gdLst/>
                <a:ahLst/>
                <a:cxnLst/>
                <a:rect l="l" t="t" r="r" b="b"/>
                <a:pathLst>
                  <a:path w="116549" h="36397" extrusionOk="0">
                    <a:moveTo>
                      <a:pt x="18199" y="1"/>
                    </a:moveTo>
                    <a:cubicBezTo>
                      <a:pt x="8148" y="1"/>
                      <a:pt x="1" y="8148"/>
                      <a:pt x="1" y="18198"/>
                    </a:cubicBezTo>
                    <a:cubicBezTo>
                      <a:pt x="1" y="28249"/>
                      <a:pt x="8148" y="36396"/>
                      <a:pt x="18199" y="36396"/>
                    </a:cubicBezTo>
                    <a:lnTo>
                      <a:pt x="98350" y="36396"/>
                    </a:lnTo>
                    <a:cubicBezTo>
                      <a:pt x="108401" y="36396"/>
                      <a:pt x="116548" y="28249"/>
                      <a:pt x="116548" y="18198"/>
                    </a:cubicBezTo>
                    <a:cubicBezTo>
                      <a:pt x="116548" y="8148"/>
                      <a:pt x="108401" y="1"/>
                      <a:pt x="98350" y="1"/>
                    </a:cubicBezTo>
                    <a:close/>
                  </a:path>
                </a:pathLst>
              </a:custGeom>
              <a:noFill/>
              <a:ln w="9525" cap="flat" cmpd="sng">
                <a:solidFill>
                  <a:srgbClr val="A5B7C6"/>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305" name="Google Shape;8305;p105"/>
              <p:cNvSpPr/>
              <p:nvPr/>
            </p:nvSpPr>
            <p:spPr>
              <a:xfrm>
                <a:off x="2886492" y="2881565"/>
                <a:ext cx="212952" cy="229751"/>
              </a:xfrm>
              <a:custGeom>
                <a:avLst/>
                <a:gdLst/>
                <a:ahLst/>
                <a:cxnLst/>
                <a:rect l="l" t="t" r="r" b="b"/>
                <a:pathLst>
                  <a:path w="46777" h="50467" extrusionOk="0">
                    <a:moveTo>
                      <a:pt x="1" y="1"/>
                    </a:moveTo>
                    <a:lnTo>
                      <a:pt x="1" y="1458"/>
                    </a:lnTo>
                    <a:lnTo>
                      <a:pt x="21544" y="1458"/>
                    </a:lnTo>
                    <a:cubicBezTo>
                      <a:pt x="34653" y="1458"/>
                      <a:pt x="45320" y="12123"/>
                      <a:pt x="45320" y="25233"/>
                    </a:cubicBezTo>
                    <a:cubicBezTo>
                      <a:pt x="45320" y="38344"/>
                      <a:pt x="34653" y="49009"/>
                      <a:pt x="21544" y="49009"/>
                    </a:cubicBezTo>
                    <a:lnTo>
                      <a:pt x="1" y="49009"/>
                    </a:lnTo>
                    <a:lnTo>
                      <a:pt x="1" y="50466"/>
                    </a:lnTo>
                    <a:lnTo>
                      <a:pt x="21544" y="50466"/>
                    </a:lnTo>
                    <a:cubicBezTo>
                      <a:pt x="35457" y="50466"/>
                      <a:pt x="46776" y="39146"/>
                      <a:pt x="46776" y="25233"/>
                    </a:cubicBezTo>
                    <a:cubicBezTo>
                      <a:pt x="46776" y="11322"/>
                      <a:pt x="35457" y="1"/>
                      <a:pt x="21544" y="1"/>
                    </a:cubicBezTo>
                    <a:close/>
                  </a:path>
                </a:pathLst>
              </a:custGeom>
              <a:solidFill>
                <a:srgbClr val="96979B"/>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306" name="Google Shape;8306;p105"/>
              <p:cNvSpPr/>
              <p:nvPr/>
            </p:nvSpPr>
            <p:spPr>
              <a:xfrm>
                <a:off x="2492145" y="2881565"/>
                <a:ext cx="212934" cy="229751"/>
              </a:xfrm>
              <a:custGeom>
                <a:avLst/>
                <a:gdLst/>
                <a:ahLst/>
                <a:cxnLst/>
                <a:rect l="l" t="t" r="r" b="b"/>
                <a:pathLst>
                  <a:path w="46773" h="50467" extrusionOk="0">
                    <a:moveTo>
                      <a:pt x="25232" y="1"/>
                    </a:moveTo>
                    <a:cubicBezTo>
                      <a:pt x="11319" y="1"/>
                      <a:pt x="0" y="11322"/>
                      <a:pt x="0" y="25233"/>
                    </a:cubicBezTo>
                    <a:cubicBezTo>
                      <a:pt x="0" y="39146"/>
                      <a:pt x="11319" y="50466"/>
                      <a:pt x="25232" y="50466"/>
                    </a:cubicBezTo>
                    <a:lnTo>
                      <a:pt x="46773" y="50466"/>
                    </a:lnTo>
                    <a:lnTo>
                      <a:pt x="46773" y="49007"/>
                    </a:lnTo>
                    <a:lnTo>
                      <a:pt x="25232" y="49007"/>
                    </a:lnTo>
                    <a:cubicBezTo>
                      <a:pt x="12124" y="49007"/>
                      <a:pt x="1456" y="38344"/>
                      <a:pt x="1456" y="25233"/>
                    </a:cubicBezTo>
                    <a:cubicBezTo>
                      <a:pt x="1456" y="12123"/>
                      <a:pt x="12124" y="1457"/>
                      <a:pt x="25232" y="1457"/>
                    </a:cubicBezTo>
                    <a:lnTo>
                      <a:pt x="46773" y="1457"/>
                    </a:lnTo>
                    <a:lnTo>
                      <a:pt x="46773" y="1"/>
                    </a:lnTo>
                    <a:close/>
                  </a:path>
                </a:pathLst>
              </a:custGeom>
              <a:solidFill>
                <a:srgbClr val="96979B"/>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8307" name="Google Shape;8307;p105"/>
            <p:cNvGrpSpPr/>
            <p:nvPr/>
          </p:nvGrpSpPr>
          <p:grpSpPr>
            <a:xfrm>
              <a:off x="2389399" y="2595741"/>
              <a:ext cx="812796" cy="296825"/>
              <a:chOff x="2389399" y="2595741"/>
              <a:chExt cx="812796" cy="296825"/>
            </a:xfrm>
          </p:grpSpPr>
          <p:grpSp>
            <p:nvGrpSpPr>
              <p:cNvPr id="8308" name="Google Shape;8308;p105"/>
              <p:cNvGrpSpPr/>
              <p:nvPr/>
            </p:nvGrpSpPr>
            <p:grpSpPr>
              <a:xfrm>
                <a:off x="2389399" y="2595741"/>
                <a:ext cx="363638" cy="296825"/>
                <a:chOff x="2389399" y="2595741"/>
                <a:chExt cx="363638" cy="296825"/>
              </a:xfrm>
            </p:grpSpPr>
            <p:grpSp>
              <p:nvGrpSpPr>
                <p:cNvPr id="8309" name="Google Shape;8309;p105"/>
                <p:cNvGrpSpPr/>
                <p:nvPr/>
              </p:nvGrpSpPr>
              <p:grpSpPr>
                <a:xfrm>
                  <a:off x="2493852" y="2794333"/>
                  <a:ext cx="259185" cy="98232"/>
                  <a:chOff x="2493852" y="2794333"/>
                  <a:chExt cx="259185" cy="98232"/>
                </a:xfrm>
              </p:grpSpPr>
              <p:sp>
                <p:nvSpPr>
                  <p:cNvPr id="8310" name="Google Shape;8310;p105"/>
                  <p:cNvSpPr/>
                  <p:nvPr/>
                </p:nvSpPr>
                <p:spPr>
                  <a:xfrm>
                    <a:off x="2500419" y="2800896"/>
                    <a:ext cx="246135" cy="85123"/>
                  </a:xfrm>
                  <a:custGeom>
                    <a:avLst/>
                    <a:gdLst/>
                    <a:ahLst/>
                    <a:cxnLst/>
                    <a:rect l="l" t="t" r="r" b="b"/>
                    <a:pathLst>
                      <a:path w="54066" h="18698" extrusionOk="0">
                        <a:moveTo>
                          <a:pt x="243" y="1"/>
                        </a:moveTo>
                        <a:cubicBezTo>
                          <a:pt x="108" y="1"/>
                          <a:pt x="1" y="108"/>
                          <a:pt x="1" y="243"/>
                        </a:cubicBezTo>
                        <a:cubicBezTo>
                          <a:pt x="1" y="4216"/>
                          <a:pt x="3233" y="7447"/>
                          <a:pt x="7204" y="7447"/>
                        </a:cubicBezTo>
                        <a:lnTo>
                          <a:pt x="47616" y="7447"/>
                        </a:lnTo>
                        <a:cubicBezTo>
                          <a:pt x="50905" y="7447"/>
                          <a:pt x="53581" y="10122"/>
                          <a:pt x="53581" y="13412"/>
                        </a:cubicBezTo>
                        <a:lnTo>
                          <a:pt x="53581" y="18455"/>
                        </a:lnTo>
                        <a:cubicBezTo>
                          <a:pt x="53581" y="18590"/>
                          <a:pt x="53688" y="18697"/>
                          <a:pt x="53823" y="18697"/>
                        </a:cubicBezTo>
                        <a:cubicBezTo>
                          <a:pt x="53957" y="18697"/>
                          <a:pt x="54065" y="18590"/>
                          <a:pt x="54062" y="18455"/>
                        </a:cubicBezTo>
                        <a:lnTo>
                          <a:pt x="54062" y="13412"/>
                        </a:lnTo>
                        <a:cubicBezTo>
                          <a:pt x="54062" y="9854"/>
                          <a:pt x="51169" y="6961"/>
                          <a:pt x="47611" y="6961"/>
                        </a:cubicBezTo>
                        <a:lnTo>
                          <a:pt x="7203" y="6961"/>
                        </a:lnTo>
                        <a:cubicBezTo>
                          <a:pt x="3498" y="6961"/>
                          <a:pt x="485" y="3946"/>
                          <a:pt x="485" y="243"/>
                        </a:cubicBezTo>
                        <a:cubicBezTo>
                          <a:pt x="485" y="108"/>
                          <a:pt x="377" y="1"/>
                          <a:pt x="243" y="1"/>
                        </a:cubicBezTo>
                        <a:close/>
                      </a:path>
                    </a:pathLst>
                  </a:custGeom>
                  <a:solidFill>
                    <a:srgbClr val="9FA0A4"/>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311" name="Google Shape;8311;p105"/>
                  <p:cNvSpPr/>
                  <p:nvPr/>
                </p:nvSpPr>
                <p:spPr>
                  <a:xfrm>
                    <a:off x="2493852" y="2794333"/>
                    <a:ext cx="15360" cy="15356"/>
                  </a:xfrm>
                  <a:custGeom>
                    <a:avLst/>
                    <a:gdLst/>
                    <a:ahLst/>
                    <a:cxnLst/>
                    <a:rect l="l" t="t" r="r" b="b"/>
                    <a:pathLst>
                      <a:path w="3374" h="3373" extrusionOk="0">
                        <a:moveTo>
                          <a:pt x="1687" y="0"/>
                        </a:moveTo>
                        <a:cubicBezTo>
                          <a:pt x="755" y="0"/>
                          <a:pt x="1" y="754"/>
                          <a:pt x="1" y="1687"/>
                        </a:cubicBezTo>
                        <a:cubicBezTo>
                          <a:pt x="1" y="2619"/>
                          <a:pt x="755" y="3373"/>
                          <a:pt x="1687" y="3373"/>
                        </a:cubicBezTo>
                        <a:cubicBezTo>
                          <a:pt x="2619" y="3370"/>
                          <a:pt x="3374" y="2617"/>
                          <a:pt x="3374" y="1687"/>
                        </a:cubicBezTo>
                        <a:cubicBezTo>
                          <a:pt x="3374" y="754"/>
                          <a:pt x="2619" y="0"/>
                          <a:pt x="1687" y="0"/>
                        </a:cubicBezTo>
                        <a:close/>
                      </a:path>
                    </a:pathLst>
                  </a:custGeom>
                  <a:solidFill>
                    <a:srgbClr val="435D74"/>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312" name="Google Shape;8312;p105"/>
                  <p:cNvSpPr/>
                  <p:nvPr/>
                </p:nvSpPr>
                <p:spPr>
                  <a:xfrm>
                    <a:off x="2737686" y="2877210"/>
                    <a:ext cx="15351" cy="15356"/>
                  </a:xfrm>
                  <a:custGeom>
                    <a:avLst/>
                    <a:gdLst/>
                    <a:ahLst/>
                    <a:cxnLst/>
                    <a:rect l="l" t="t" r="r" b="b"/>
                    <a:pathLst>
                      <a:path w="3372" h="3373" extrusionOk="0">
                        <a:moveTo>
                          <a:pt x="1687" y="1"/>
                        </a:moveTo>
                        <a:cubicBezTo>
                          <a:pt x="755" y="1"/>
                          <a:pt x="1" y="754"/>
                          <a:pt x="1" y="1686"/>
                        </a:cubicBezTo>
                        <a:cubicBezTo>
                          <a:pt x="1" y="2618"/>
                          <a:pt x="755" y="3372"/>
                          <a:pt x="1687" y="3372"/>
                        </a:cubicBezTo>
                        <a:cubicBezTo>
                          <a:pt x="2619" y="3372"/>
                          <a:pt x="3372" y="2616"/>
                          <a:pt x="3372" y="1686"/>
                        </a:cubicBezTo>
                        <a:cubicBezTo>
                          <a:pt x="3372" y="754"/>
                          <a:pt x="2619" y="1"/>
                          <a:pt x="1687" y="1"/>
                        </a:cubicBezTo>
                        <a:close/>
                      </a:path>
                    </a:pathLst>
                  </a:custGeom>
                  <a:solidFill>
                    <a:srgbClr val="435D74"/>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8313" name="Google Shape;8313;p105"/>
                <p:cNvGrpSpPr/>
                <p:nvPr/>
              </p:nvGrpSpPr>
              <p:grpSpPr>
                <a:xfrm>
                  <a:off x="2389399" y="2595741"/>
                  <a:ext cx="224343" cy="182054"/>
                  <a:chOff x="2389399" y="2595741"/>
                  <a:chExt cx="224343" cy="182054"/>
                </a:xfrm>
              </p:grpSpPr>
              <p:sp>
                <p:nvSpPr>
                  <p:cNvPr id="8314" name="Google Shape;8314;p105"/>
                  <p:cNvSpPr/>
                  <p:nvPr/>
                </p:nvSpPr>
                <p:spPr>
                  <a:xfrm>
                    <a:off x="2389399" y="2595741"/>
                    <a:ext cx="224343" cy="182054"/>
                  </a:xfrm>
                  <a:custGeom>
                    <a:avLst/>
                    <a:gdLst/>
                    <a:ahLst/>
                    <a:cxnLst/>
                    <a:rect l="l" t="t" r="r" b="b"/>
                    <a:pathLst>
                      <a:path w="49279" h="39990" extrusionOk="0">
                        <a:moveTo>
                          <a:pt x="7997" y="1"/>
                        </a:moveTo>
                        <a:cubicBezTo>
                          <a:pt x="3580" y="1"/>
                          <a:pt x="0" y="3580"/>
                          <a:pt x="0" y="7995"/>
                        </a:cubicBezTo>
                        <a:lnTo>
                          <a:pt x="0" y="31993"/>
                        </a:lnTo>
                        <a:cubicBezTo>
                          <a:pt x="0" y="36409"/>
                          <a:pt x="3580" y="39989"/>
                          <a:pt x="7997" y="39989"/>
                        </a:cubicBezTo>
                        <a:lnTo>
                          <a:pt x="41282" y="39989"/>
                        </a:lnTo>
                        <a:cubicBezTo>
                          <a:pt x="45697" y="39989"/>
                          <a:pt x="49277" y="36409"/>
                          <a:pt x="49277" y="31993"/>
                        </a:cubicBezTo>
                        <a:lnTo>
                          <a:pt x="49277" y="7995"/>
                        </a:lnTo>
                        <a:cubicBezTo>
                          <a:pt x="49278" y="3580"/>
                          <a:pt x="45697" y="1"/>
                          <a:pt x="41282" y="1"/>
                        </a:cubicBezTo>
                        <a:close/>
                      </a:path>
                    </a:pathLst>
                  </a:custGeom>
                  <a:noFill/>
                  <a:ln w="9525" cap="flat" cmpd="sng">
                    <a:solidFill>
                      <a:srgbClr val="657E93"/>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315" name="Google Shape;8315;p105"/>
                  <p:cNvSpPr/>
                  <p:nvPr/>
                </p:nvSpPr>
                <p:spPr>
                  <a:xfrm>
                    <a:off x="2430284" y="2686181"/>
                    <a:ext cx="140326" cy="1106"/>
                  </a:xfrm>
                  <a:custGeom>
                    <a:avLst/>
                    <a:gdLst/>
                    <a:ahLst/>
                    <a:cxnLst/>
                    <a:rect l="l" t="t" r="r" b="b"/>
                    <a:pathLst>
                      <a:path w="30824" h="243" extrusionOk="0">
                        <a:moveTo>
                          <a:pt x="121" y="1"/>
                        </a:moveTo>
                        <a:cubicBezTo>
                          <a:pt x="55" y="1"/>
                          <a:pt x="0" y="55"/>
                          <a:pt x="0" y="121"/>
                        </a:cubicBezTo>
                        <a:cubicBezTo>
                          <a:pt x="0" y="187"/>
                          <a:pt x="55" y="243"/>
                          <a:pt x="121" y="243"/>
                        </a:cubicBezTo>
                        <a:lnTo>
                          <a:pt x="30703" y="243"/>
                        </a:lnTo>
                        <a:cubicBezTo>
                          <a:pt x="30769" y="243"/>
                          <a:pt x="30823" y="187"/>
                          <a:pt x="30823" y="121"/>
                        </a:cubicBezTo>
                        <a:cubicBezTo>
                          <a:pt x="30823" y="55"/>
                          <a:pt x="30767" y="1"/>
                          <a:pt x="30701" y="1"/>
                        </a:cubicBezTo>
                        <a:close/>
                      </a:path>
                    </a:pathLst>
                  </a:custGeom>
                  <a:solidFill>
                    <a:srgbClr val="E3E9ED"/>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grpSp>
            <p:nvGrpSpPr>
              <p:cNvPr id="8316" name="Google Shape;8316;p105"/>
              <p:cNvGrpSpPr/>
              <p:nvPr/>
            </p:nvGrpSpPr>
            <p:grpSpPr>
              <a:xfrm>
                <a:off x="2683630" y="2595741"/>
                <a:ext cx="224334" cy="296825"/>
                <a:chOff x="2683630" y="2595741"/>
                <a:chExt cx="224334" cy="296825"/>
              </a:xfrm>
            </p:grpSpPr>
            <p:grpSp>
              <p:nvGrpSpPr>
                <p:cNvPr id="8317" name="Google Shape;8317;p105"/>
                <p:cNvGrpSpPr/>
                <p:nvPr/>
              </p:nvGrpSpPr>
              <p:grpSpPr>
                <a:xfrm>
                  <a:off x="2788083" y="2794333"/>
                  <a:ext cx="15356" cy="98232"/>
                  <a:chOff x="2788083" y="2794333"/>
                  <a:chExt cx="15356" cy="98232"/>
                </a:xfrm>
              </p:grpSpPr>
              <p:sp>
                <p:nvSpPr>
                  <p:cNvPr id="8318" name="Google Shape;8318;p105"/>
                  <p:cNvSpPr/>
                  <p:nvPr/>
                </p:nvSpPr>
                <p:spPr>
                  <a:xfrm>
                    <a:off x="2794655" y="2800905"/>
                    <a:ext cx="2213" cy="85114"/>
                  </a:xfrm>
                  <a:custGeom>
                    <a:avLst/>
                    <a:gdLst/>
                    <a:ahLst/>
                    <a:cxnLst/>
                    <a:rect l="l" t="t" r="r" b="b"/>
                    <a:pathLst>
                      <a:path w="486" h="18696" extrusionOk="0">
                        <a:moveTo>
                          <a:pt x="243" y="0"/>
                        </a:moveTo>
                        <a:cubicBezTo>
                          <a:pt x="108" y="0"/>
                          <a:pt x="1" y="109"/>
                          <a:pt x="1" y="243"/>
                        </a:cubicBezTo>
                        <a:lnTo>
                          <a:pt x="1" y="18453"/>
                        </a:lnTo>
                        <a:cubicBezTo>
                          <a:pt x="1" y="18588"/>
                          <a:pt x="108" y="18695"/>
                          <a:pt x="243" y="18695"/>
                        </a:cubicBezTo>
                        <a:cubicBezTo>
                          <a:pt x="377" y="18695"/>
                          <a:pt x="485" y="18588"/>
                          <a:pt x="485" y="18453"/>
                        </a:cubicBezTo>
                        <a:lnTo>
                          <a:pt x="485" y="243"/>
                        </a:lnTo>
                        <a:cubicBezTo>
                          <a:pt x="485" y="109"/>
                          <a:pt x="377" y="0"/>
                          <a:pt x="243" y="0"/>
                        </a:cubicBezTo>
                        <a:close/>
                      </a:path>
                    </a:pathLst>
                  </a:custGeom>
                  <a:solidFill>
                    <a:srgbClr val="9FA0A4"/>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319" name="Google Shape;8319;p105"/>
                  <p:cNvSpPr/>
                  <p:nvPr/>
                </p:nvSpPr>
                <p:spPr>
                  <a:xfrm>
                    <a:off x="2788083" y="2794333"/>
                    <a:ext cx="15356" cy="15356"/>
                  </a:xfrm>
                  <a:custGeom>
                    <a:avLst/>
                    <a:gdLst/>
                    <a:ahLst/>
                    <a:cxnLst/>
                    <a:rect l="l" t="t" r="r" b="b"/>
                    <a:pathLst>
                      <a:path w="3373" h="3373" extrusionOk="0">
                        <a:moveTo>
                          <a:pt x="1687" y="0"/>
                        </a:moveTo>
                        <a:cubicBezTo>
                          <a:pt x="755" y="0"/>
                          <a:pt x="1" y="754"/>
                          <a:pt x="1" y="1687"/>
                        </a:cubicBezTo>
                        <a:cubicBezTo>
                          <a:pt x="1" y="2619"/>
                          <a:pt x="755" y="3373"/>
                          <a:pt x="1687" y="3373"/>
                        </a:cubicBezTo>
                        <a:cubicBezTo>
                          <a:pt x="2618" y="3373"/>
                          <a:pt x="3372" y="2617"/>
                          <a:pt x="3372" y="1687"/>
                        </a:cubicBezTo>
                        <a:cubicBezTo>
                          <a:pt x="3372" y="754"/>
                          <a:pt x="2618" y="0"/>
                          <a:pt x="1687" y="0"/>
                        </a:cubicBezTo>
                        <a:close/>
                      </a:path>
                    </a:pathLst>
                  </a:custGeom>
                  <a:solidFill>
                    <a:srgbClr val="435D74"/>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320" name="Google Shape;8320;p105"/>
                  <p:cNvSpPr/>
                  <p:nvPr/>
                </p:nvSpPr>
                <p:spPr>
                  <a:xfrm>
                    <a:off x="2788083" y="2877210"/>
                    <a:ext cx="15356" cy="15356"/>
                  </a:xfrm>
                  <a:custGeom>
                    <a:avLst/>
                    <a:gdLst/>
                    <a:ahLst/>
                    <a:cxnLst/>
                    <a:rect l="l" t="t" r="r" b="b"/>
                    <a:pathLst>
                      <a:path w="3373" h="3373" extrusionOk="0">
                        <a:moveTo>
                          <a:pt x="1687" y="1"/>
                        </a:moveTo>
                        <a:cubicBezTo>
                          <a:pt x="755" y="1"/>
                          <a:pt x="1" y="754"/>
                          <a:pt x="1" y="1686"/>
                        </a:cubicBezTo>
                        <a:cubicBezTo>
                          <a:pt x="1" y="2618"/>
                          <a:pt x="755" y="3372"/>
                          <a:pt x="1687" y="3372"/>
                        </a:cubicBezTo>
                        <a:cubicBezTo>
                          <a:pt x="2618" y="3372"/>
                          <a:pt x="3372" y="2616"/>
                          <a:pt x="3372" y="1686"/>
                        </a:cubicBezTo>
                        <a:cubicBezTo>
                          <a:pt x="3372" y="754"/>
                          <a:pt x="2618" y="1"/>
                          <a:pt x="1687" y="1"/>
                        </a:cubicBezTo>
                        <a:close/>
                      </a:path>
                    </a:pathLst>
                  </a:custGeom>
                  <a:solidFill>
                    <a:srgbClr val="435D74"/>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8321" name="Google Shape;8321;p105"/>
                <p:cNvGrpSpPr/>
                <p:nvPr/>
              </p:nvGrpSpPr>
              <p:grpSpPr>
                <a:xfrm>
                  <a:off x="2683630" y="2595741"/>
                  <a:ext cx="224334" cy="182054"/>
                  <a:chOff x="2683630" y="2595741"/>
                  <a:chExt cx="224334" cy="182054"/>
                </a:xfrm>
              </p:grpSpPr>
              <p:sp>
                <p:nvSpPr>
                  <p:cNvPr id="8322" name="Google Shape;8322;p105"/>
                  <p:cNvSpPr/>
                  <p:nvPr/>
                </p:nvSpPr>
                <p:spPr>
                  <a:xfrm>
                    <a:off x="2683630" y="2595741"/>
                    <a:ext cx="224334" cy="182054"/>
                  </a:xfrm>
                  <a:custGeom>
                    <a:avLst/>
                    <a:gdLst/>
                    <a:ahLst/>
                    <a:cxnLst/>
                    <a:rect l="l" t="t" r="r" b="b"/>
                    <a:pathLst>
                      <a:path w="49277" h="39990" extrusionOk="0">
                        <a:moveTo>
                          <a:pt x="7996" y="1"/>
                        </a:moveTo>
                        <a:cubicBezTo>
                          <a:pt x="3580" y="1"/>
                          <a:pt x="0" y="3580"/>
                          <a:pt x="0" y="7995"/>
                        </a:cubicBezTo>
                        <a:lnTo>
                          <a:pt x="0" y="31993"/>
                        </a:lnTo>
                        <a:cubicBezTo>
                          <a:pt x="0" y="36409"/>
                          <a:pt x="3580" y="39989"/>
                          <a:pt x="7996" y="39989"/>
                        </a:cubicBezTo>
                        <a:lnTo>
                          <a:pt x="41280" y="39989"/>
                        </a:lnTo>
                        <a:cubicBezTo>
                          <a:pt x="45697" y="39989"/>
                          <a:pt x="49277" y="36409"/>
                          <a:pt x="49277" y="31993"/>
                        </a:cubicBezTo>
                        <a:lnTo>
                          <a:pt x="49277" y="7995"/>
                        </a:lnTo>
                        <a:cubicBezTo>
                          <a:pt x="49277" y="3580"/>
                          <a:pt x="45697" y="1"/>
                          <a:pt x="41280" y="1"/>
                        </a:cubicBezTo>
                        <a:close/>
                      </a:path>
                    </a:pathLst>
                  </a:custGeom>
                  <a:noFill/>
                  <a:ln w="9525" cap="flat" cmpd="sng">
                    <a:solidFill>
                      <a:srgbClr val="657E93"/>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323" name="Google Shape;8323;p105"/>
                  <p:cNvSpPr/>
                  <p:nvPr/>
                </p:nvSpPr>
                <p:spPr>
                  <a:xfrm>
                    <a:off x="2724889" y="2686181"/>
                    <a:ext cx="140322" cy="1106"/>
                  </a:xfrm>
                  <a:custGeom>
                    <a:avLst/>
                    <a:gdLst/>
                    <a:ahLst/>
                    <a:cxnLst/>
                    <a:rect l="l" t="t" r="r" b="b"/>
                    <a:pathLst>
                      <a:path w="30823" h="243" extrusionOk="0">
                        <a:moveTo>
                          <a:pt x="121" y="1"/>
                        </a:moveTo>
                        <a:cubicBezTo>
                          <a:pt x="55" y="1"/>
                          <a:pt x="0" y="55"/>
                          <a:pt x="0" y="121"/>
                        </a:cubicBezTo>
                        <a:cubicBezTo>
                          <a:pt x="0" y="187"/>
                          <a:pt x="55" y="243"/>
                          <a:pt x="121" y="243"/>
                        </a:cubicBezTo>
                        <a:lnTo>
                          <a:pt x="30701" y="243"/>
                        </a:lnTo>
                        <a:cubicBezTo>
                          <a:pt x="30769" y="243"/>
                          <a:pt x="30823" y="187"/>
                          <a:pt x="30823" y="121"/>
                        </a:cubicBezTo>
                        <a:cubicBezTo>
                          <a:pt x="30823" y="55"/>
                          <a:pt x="30767" y="1"/>
                          <a:pt x="30701" y="1"/>
                        </a:cubicBezTo>
                        <a:close/>
                      </a:path>
                    </a:pathLst>
                  </a:custGeom>
                  <a:solidFill>
                    <a:srgbClr val="E3E9ED"/>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grpSp>
            <p:nvGrpSpPr>
              <p:cNvPr id="8324" name="Google Shape;8324;p105"/>
              <p:cNvGrpSpPr/>
              <p:nvPr/>
            </p:nvGrpSpPr>
            <p:grpSpPr>
              <a:xfrm>
                <a:off x="2838475" y="2595741"/>
                <a:ext cx="363719" cy="296825"/>
                <a:chOff x="2838475" y="2595741"/>
                <a:chExt cx="363719" cy="296825"/>
              </a:xfrm>
            </p:grpSpPr>
            <p:grpSp>
              <p:nvGrpSpPr>
                <p:cNvPr id="8325" name="Google Shape;8325;p105"/>
                <p:cNvGrpSpPr/>
                <p:nvPr/>
              </p:nvGrpSpPr>
              <p:grpSpPr>
                <a:xfrm>
                  <a:off x="2838475" y="2794333"/>
                  <a:ext cx="259185" cy="98232"/>
                  <a:chOff x="2838475" y="2794333"/>
                  <a:chExt cx="259185" cy="98232"/>
                </a:xfrm>
              </p:grpSpPr>
              <p:sp>
                <p:nvSpPr>
                  <p:cNvPr id="8326" name="Google Shape;8326;p105"/>
                  <p:cNvSpPr/>
                  <p:nvPr/>
                </p:nvSpPr>
                <p:spPr>
                  <a:xfrm>
                    <a:off x="2845042" y="2800896"/>
                    <a:ext cx="246122" cy="85123"/>
                  </a:xfrm>
                  <a:custGeom>
                    <a:avLst/>
                    <a:gdLst/>
                    <a:ahLst/>
                    <a:cxnLst/>
                    <a:rect l="l" t="t" r="r" b="b"/>
                    <a:pathLst>
                      <a:path w="54063" h="18698" extrusionOk="0">
                        <a:moveTo>
                          <a:pt x="53821" y="1"/>
                        </a:moveTo>
                        <a:cubicBezTo>
                          <a:pt x="53687" y="1"/>
                          <a:pt x="53579" y="108"/>
                          <a:pt x="53579" y="243"/>
                        </a:cubicBezTo>
                        <a:cubicBezTo>
                          <a:pt x="53579" y="3946"/>
                          <a:pt x="50564" y="6961"/>
                          <a:pt x="46861" y="6961"/>
                        </a:cubicBezTo>
                        <a:lnTo>
                          <a:pt x="6451" y="6961"/>
                        </a:lnTo>
                        <a:cubicBezTo>
                          <a:pt x="2895" y="6961"/>
                          <a:pt x="0" y="9857"/>
                          <a:pt x="0" y="13412"/>
                        </a:cubicBezTo>
                        <a:lnTo>
                          <a:pt x="0" y="18455"/>
                        </a:lnTo>
                        <a:cubicBezTo>
                          <a:pt x="0" y="18590"/>
                          <a:pt x="109" y="18697"/>
                          <a:pt x="242" y="18697"/>
                        </a:cubicBezTo>
                        <a:cubicBezTo>
                          <a:pt x="379" y="18697"/>
                          <a:pt x="487" y="18590"/>
                          <a:pt x="486" y="18455"/>
                        </a:cubicBezTo>
                        <a:lnTo>
                          <a:pt x="486" y="13412"/>
                        </a:lnTo>
                        <a:cubicBezTo>
                          <a:pt x="486" y="10122"/>
                          <a:pt x="3162" y="7447"/>
                          <a:pt x="6451" y="7447"/>
                        </a:cubicBezTo>
                        <a:lnTo>
                          <a:pt x="46858" y="7447"/>
                        </a:lnTo>
                        <a:cubicBezTo>
                          <a:pt x="50831" y="7447"/>
                          <a:pt x="54063" y="4215"/>
                          <a:pt x="54063" y="243"/>
                        </a:cubicBezTo>
                        <a:cubicBezTo>
                          <a:pt x="54063" y="108"/>
                          <a:pt x="53954" y="1"/>
                          <a:pt x="53821" y="1"/>
                        </a:cubicBezTo>
                        <a:close/>
                      </a:path>
                    </a:pathLst>
                  </a:custGeom>
                  <a:solidFill>
                    <a:srgbClr val="9FA0A4"/>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327" name="Google Shape;8327;p105"/>
                  <p:cNvSpPr/>
                  <p:nvPr/>
                </p:nvSpPr>
                <p:spPr>
                  <a:xfrm>
                    <a:off x="3082301" y="2794333"/>
                    <a:ext cx="15360" cy="15356"/>
                  </a:xfrm>
                  <a:custGeom>
                    <a:avLst/>
                    <a:gdLst/>
                    <a:ahLst/>
                    <a:cxnLst/>
                    <a:rect l="l" t="t" r="r" b="b"/>
                    <a:pathLst>
                      <a:path w="3374" h="3373" extrusionOk="0">
                        <a:moveTo>
                          <a:pt x="1687" y="0"/>
                        </a:moveTo>
                        <a:cubicBezTo>
                          <a:pt x="755" y="0"/>
                          <a:pt x="0" y="754"/>
                          <a:pt x="0" y="1687"/>
                        </a:cubicBezTo>
                        <a:cubicBezTo>
                          <a:pt x="0" y="2619"/>
                          <a:pt x="755" y="3373"/>
                          <a:pt x="1687" y="3373"/>
                        </a:cubicBezTo>
                        <a:cubicBezTo>
                          <a:pt x="2619" y="3370"/>
                          <a:pt x="3373" y="2617"/>
                          <a:pt x="3373" y="1687"/>
                        </a:cubicBezTo>
                        <a:cubicBezTo>
                          <a:pt x="3373" y="754"/>
                          <a:pt x="2619" y="0"/>
                          <a:pt x="1687" y="0"/>
                        </a:cubicBezTo>
                        <a:close/>
                      </a:path>
                    </a:pathLst>
                  </a:custGeom>
                  <a:solidFill>
                    <a:srgbClr val="435D74"/>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328" name="Google Shape;8328;p105"/>
                  <p:cNvSpPr/>
                  <p:nvPr/>
                </p:nvSpPr>
                <p:spPr>
                  <a:xfrm>
                    <a:off x="2838475" y="2877210"/>
                    <a:ext cx="15351" cy="15356"/>
                  </a:xfrm>
                  <a:custGeom>
                    <a:avLst/>
                    <a:gdLst/>
                    <a:ahLst/>
                    <a:cxnLst/>
                    <a:rect l="l" t="t" r="r" b="b"/>
                    <a:pathLst>
                      <a:path w="3372" h="3373" extrusionOk="0">
                        <a:moveTo>
                          <a:pt x="1685" y="1"/>
                        </a:moveTo>
                        <a:cubicBezTo>
                          <a:pt x="753" y="1"/>
                          <a:pt x="0" y="754"/>
                          <a:pt x="0" y="1686"/>
                        </a:cubicBezTo>
                        <a:cubicBezTo>
                          <a:pt x="0" y="2618"/>
                          <a:pt x="753" y="3372"/>
                          <a:pt x="1685" y="3372"/>
                        </a:cubicBezTo>
                        <a:cubicBezTo>
                          <a:pt x="2617" y="3372"/>
                          <a:pt x="3372" y="2616"/>
                          <a:pt x="3372" y="1686"/>
                        </a:cubicBezTo>
                        <a:cubicBezTo>
                          <a:pt x="3372" y="754"/>
                          <a:pt x="2617" y="1"/>
                          <a:pt x="1685" y="1"/>
                        </a:cubicBezTo>
                        <a:close/>
                      </a:path>
                    </a:pathLst>
                  </a:custGeom>
                  <a:solidFill>
                    <a:srgbClr val="435D74"/>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8329" name="Google Shape;8329;p105"/>
                <p:cNvGrpSpPr/>
                <p:nvPr/>
              </p:nvGrpSpPr>
              <p:grpSpPr>
                <a:xfrm>
                  <a:off x="2977852" y="2595741"/>
                  <a:ext cx="224343" cy="182054"/>
                  <a:chOff x="2977852" y="2595741"/>
                  <a:chExt cx="224343" cy="182054"/>
                </a:xfrm>
              </p:grpSpPr>
              <p:sp>
                <p:nvSpPr>
                  <p:cNvPr id="8330" name="Google Shape;8330;p105"/>
                  <p:cNvSpPr/>
                  <p:nvPr/>
                </p:nvSpPr>
                <p:spPr>
                  <a:xfrm>
                    <a:off x="2977852" y="2595741"/>
                    <a:ext cx="224343" cy="182054"/>
                  </a:xfrm>
                  <a:custGeom>
                    <a:avLst/>
                    <a:gdLst/>
                    <a:ahLst/>
                    <a:cxnLst/>
                    <a:rect l="l" t="t" r="r" b="b"/>
                    <a:pathLst>
                      <a:path w="49279" h="39990" extrusionOk="0">
                        <a:moveTo>
                          <a:pt x="7995" y="1"/>
                        </a:moveTo>
                        <a:cubicBezTo>
                          <a:pt x="3580" y="1"/>
                          <a:pt x="0" y="3580"/>
                          <a:pt x="0" y="7995"/>
                        </a:cubicBezTo>
                        <a:lnTo>
                          <a:pt x="0" y="31993"/>
                        </a:lnTo>
                        <a:cubicBezTo>
                          <a:pt x="0" y="36409"/>
                          <a:pt x="3580" y="39989"/>
                          <a:pt x="7995" y="39989"/>
                        </a:cubicBezTo>
                        <a:lnTo>
                          <a:pt x="41282" y="39989"/>
                        </a:lnTo>
                        <a:cubicBezTo>
                          <a:pt x="45698" y="39989"/>
                          <a:pt x="49278" y="36409"/>
                          <a:pt x="49278" y="31993"/>
                        </a:cubicBezTo>
                        <a:lnTo>
                          <a:pt x="49278" y="7995"/>
                        </a:lnTo>
                        <a:cubicBezTo>
                          <a:pt x="49278" y="3580"/>
                          <a:pt x="45698" y="1"/>
                          <a:pt x="41282" y="1"/>
                        </a:cubicBezTo>
                        <a:close/>
                      </a:path>
                    </a:pathLst>
                  </a:custGeom>
                  <a:noFill/>
                  <a:ln w="9525" cap="flat" cmpd="sng">
                    <a:solidFill>
                      <a:srgbClr val="657E93"/>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331" name="Google Shape;8331;p105"/>
                  <p:cNvSpPr/>
                  <p:nvPr/>
                </p:nvSpPr>
                <p:spPr>
                  <a:xfrm>
                    <a:off x="3020572" y="2686181"/>
                    <a:ext cx="140326" cy="1106"/>
                  </a:xfrm>
                  <a:custGeom>
                    <a:avLst/>
                    <a:gdLst/>
                    <a:ahLst/>
                    <a:cxnLst/>
                    <a:rect l="l" t="t" r="r" b="b"/>
                    <a:pathLst>
                      <a:path w="30824" h="243" extrusionOk="0">
                        <a:moveTo>
                          <a:pt x="123" y="1"/>
                        </a:moveTo>
                        <a:cubicBezTo>
                          <a:pt x="57" y="1"/>
                          <a:pt x="1" y="55"/>
                          <a:pt x="1" y="121"/>
                        </a:cubicBezTo>
                        <a:cubicBezTo>
                          <a:pt x="1" y="187"/>
                          <a:pt x="57" y="243"/>
                          <a:pt x="123" y="243"/>
                        </a:cubicBezTo>
                        <a:lnTo>
                          <a:pt x="30703" y="243"/>
                        </a:lnTo>
                        <a:cubicBezTo>
                          <a:pt x="30769" y="243"/>
                          <a:pt x="30824" y="187"/>
                          <a:pt x="30824" y="121"/>
                        </a:cubicBezTo>
                        <a:cubicBezTo>
                          <a:pt x="30824" y="55"/>
                          <a:pt x="30769" y="1"/>
                          <a:pt x="30703" y="1"/>
                        </a:cubicBezTo>
                        <a:close/>
                      </a:path>
                    </a:pathLst>
                  </a:custGeom>
                  <a:solidFill>
                    <a:srgbClr val="E3E9ED"/>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grpSp>
        <p:grpSp>
          <p:nvGrpSpPr>
            <p:cNvPr id="8332" name="Google Shape;8332;p105"/>
            <p:cNvGrpSpPr/>
            <p:nvPr/>
          </p:nvGrpSpPr>
          <p:grpSpPr>
            <a:xfrm>
              <a:off x="2389399" y="3100241"/>
              <a:ext cx="812796" cy="296869"/>
              <a:chOff x="2389399" y="3100241"/>
              <a:chExt cx="812796" cy="296869"/>
            </a:xfrm>
          </p:grpSpPr>
          <p:grpSp>
            <p:nvGrpSpPr>
              <p:cNvPr id="8333" name="Google Shape;8333;p105"/>
              <p:cNvGrpSpPr/>
              <p:nvPr/>
            </p:nvGrpSpPr>
            <p:grpSpPr>
              <a:xfrm>
                <a:off x="2683630" y="3100241"/>
                <a:ext cx="224334" cy="296869"/>
                <a:chOff x="2683630" y="3100241"/>
                <a:chExt cx="224334" cy="296869"/>
              </a:xfrm>
            </p:grpSpPr>
            <p:grpSp>
              <p:nvGrpSpPr>
                <p:cNvPr id="8334" name="Google Shape;8334;p105"/>
                <p:cNvGrpSpPr/>
                <p:nvPr/>
              </p:nvGrpSpPr>
              <p:grpSpPr>
                <a:xfrm>
                  <a:off x="2788083" y="3100241"/>
                  <a:ext cx="15356" cy="98237"/>
                  <a:chOff x="2788083" y="3100241"/>
                  <a:chExt cx="15356" cy="98237"/>
                </a:xfrm>
              </p:grpSpPr>
              <p:sp>
                <p:nvSpPr>
                  <p:cNvPr id="8335" name="Google Shape;8335;p105"/>
                  <p:cNvSpPr/>
                  <p:nvPr/>
                </p:nvSpPr>
                <p:spPr>
                  <a:xfrm>
                    <a:off x="2794655" y="3106808"/>
                    <a:ext cx="2213" cy="85118"/>
                  </a:xfrm>
                  <a:custGeom>
                    <a:avLst/>
                    <a:gdLst/>
                    <a:ahLst/>
                    <a:cxnLst/>
                    <a:rect l="l" t="t" r="r" b="b"/>
                    <a:pathLst>
                      <a:path w="486" h="18697" extrusionOk="0">
                        <a:moveTo>
                          <a:pt x="243" y="1"/>
                        </a:moveTo>
                        <a:cubicBezTo>
                          <a:pt x="108" y="1"/>
                          <a:pt x="1" y="109"/>
                          <a:pt x="1" y="243"/>
                        </a:cubicBezTo>
                        <a:lnTo>
                          <a:pt x="1" y="18455"/>
                        </a:lnTo>
                        <a:cubicBezTo>
                          <a:pt x="1" y="18588"/>
                          <a:pt x="108" y="18697"/>
                          <a:pt x="243" y="18697"/>
                        </a:cubicBezTo>
                        <a:cubicBezTo>
                          <a:pt x="377" y="18697"/>
                          <a:pt x="485" y="18588"/>
                          <a:pt x="485" y="18455"/>
                        </a:cubicBezTo>
                        <a:lnTo>
                          <a:pt x="485" y="243"/>
                        </a:lnTo>
                        <a:cubicBezTo>
                          <a:pt x="485" y="109"/>
                          <a:pt x="377" y="1"/>
                          <a:pt x="243" y="1"/>
                        </a:cubicBezTo>
                        <a:close/>
                      </a:path>
                    </a:pathLst>
                  </a:custGeom>
                  <a:solidFill>
                    <a:srgbClr val="9FA0A4"/>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336" name="Google Shape;8336;p105"/>
                  <p:cNvSpPr/>
                  <p:nvPr/>
                </p:nvSpPr>
                <p:spPr>
                  <a:xfrm>
                    <a:off x="2788083" y="3183117"/>
                    <a:ext cx="15356" cy="15360"/>
                  </a:xfrm>
                  <a:custGeom>
                    <a:avLst/>
                    <a:gdLst/>
                    <a:ahLst/>
                    <a:cxnLst/>
                    <a:rect l="l" t="t" r="r" b="b"/>
                    <a:pathLst>
                      <a:path w="3373" h="3374" extrusionOk="0">
                        <a:moveTo>
                          <a:pt x="1687" y="0"/>
                        </a:moveTo>
                        <a:cubicBezTo>
                          <a:pt x="755" y="0"/>
                          <a:pt x="1" y="755"/>
                          <a:pt x="1" y="1687"/>
                        </a:cubicBezTo>
                        <a:cubicBezTo>
                          <a:pt x="1" y="2619"/>
                          <a:pt x="755" y="3373"/>
                          <a:pt x="1687" y="3373"/>
                        </a:cubicBezTo>
                        <a:cubicBezTo>
                          <a:pt x="2618" y="3373"/>
                          <a:pt x="3372" y="2619"/>
                          <a:pt x="3372" y="1687"/>
                        </a:cubicBezTo>
                        <a:cubicBezTo>
                          <a:pt x="3372" y="755"/>
                          <a:pt x="2618" y="0"/>
                          <a:pt x="1687" y="0"/>
                        </a:cubicBezTo>
                        <a:close/>
                      </a:path>
                    </a:pathLst>
                  </a:custGeom>
                  <a:solidFill>
                    <a:srgbClr val="435D74"/>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337" name="Google Shape;8337;p105"/>
                  <p:cNvSpPr/>
                  <p:nvPr/>
                </p:nvSpPr>
                <p:spPr>
                  <a:xfrm>
                    <a:off x="2788083" y="3100241"/>
                    <a:ext cx="15356" cy="15356"/>
                  </a:xfrm>
                  <a:custGeom>
                    <a:avLst/>
                    <a:gdLst/>
                    <a:ahLst/>
                    <a:cxnLst/>
                    <a:rect l="l" t="t" r="r" b="b"/>
                    <a:pathLst>
                      <a:path w="3373" h="3373" extrusionOk="0">
                        <a:moveTo>
                          <a:pt x="1687" y="1"/>
                        </a:moveTo>
                        <a:cubicBezTo>
                          <a:pt x="755" y="1"/>
                          <a:pt x="1" y="754"/>
                          <a:pt x="1" y="1686"/>
                        </a:cubicBezTo>
                        <a:cubicBezTo>
                          <a:pt x="1" y="2618"/>
                          <a:pt x="755" y="3372"/>
                          <a:pt x="1687" y="3372"/>
                        </a:cubicBezTo>
                        <a:cubicBezTo>
                          <a:pt x="2618" y="3372"/>
                          <a:pt x="3372" y="2618"/>
                          <a:pt x="3372" y="1686"/>
                        </a:cubicBezTo>
                        <a:cubicBezTo>
                          <a:pt x="3372" y="754"/>
                          <a:pt x="2618" y="1"/>
                          <a:pt x="1687" y="1"/>
                        </a:cubicBezTo>
                        <a:close/>
                      </a:path>
                    </a:pathLst>
                  </a:custGeom>
                  <a:solidFill>
                    <a:srgbClr val="435D74"/>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8338" name="Google Shape;8338;p105"/>
                <p:cNvGrpSpPr/>
                <p:nvPr/>
              </p:nvGrpSpPr>
              <p:grpSpPr>
                <a:xfrm>
                  <a:off x="2683630" y="3215065"/>
                  <a:ext cx="224334" cy="182045"/>
                  <a:chOff x="2683630" y="3215065"/>
                  <a:chExt cx="224334" cy="182045"/>
                </a:xfrm>
              </p:grpSpPr>
              <p:sp>
                <p:nvSpPr>
                  <p:cNvPr id="8339" name="Google Shape;8339;p105"/>
                  <p:cNvSpPr/>
                  <p:nvPr/>
                </p:nvSpPr>
                <p:spPr>
                  <a:xfrm>
                    <a:off x="2683630" y="3215065"/>
                    <a:ext cx="224334" cy="182045"/>
                  </a:xfrm>
                  <a:custGeom>
                    <a:avLst/>
                    <a:gdLst/>
                    <a:ahLst/>
                    <a:cxnLst/>
                    <a:rect l="l" t="t" r="r" b="b"/>
                    <a:pathLst>
                      <a:path w="49277" h="39988" extrusionOk="0">
                        <a:moveTo>
                          <a:pt x="7996" y="0"/>
                        </a:moveTo>
                        <a:cubicBezTo>
                          <a:pt x="3580" y="0"/>
                          <a:pt x="0" y="3579"/>
                          <a:pt x="0" y="7995"/>
                        </a:cubicBezTo>
                        <a:lnTo>
                          <a:pt x="0" y="31993"/>
                        </a:lnTo>
                        <a:cubicBezTo>
                          <a:pt x="0" y="36409"/>
                          <a:pt x="3580" y="39988"/>
                          <a:pt x="7996" y="39988"/>
                        </a:cubicBezTo>
                        <a:lnTo>
                          <a:pt x="41280" y="39988"/>
                        </a:lnTo>
                        <a:cubicBezTo>
                          <a:pt x="45697" y="39988"/>
                          <a:pt x="49277" y="36409"/>
                          <a:pt x="49277" y="31993"/>
                        </a:cubicBezTo>
                        <a:lnTo>
                          <a:pt x="49277" y="7995"/>
                        </a:lnTo>
                        <a:cubicBezTo>
                          <a:pt x="49277" y="3579"/>
                          <a:pt x="45697" y="0"/>
                          <a:pt x="41280" y="0"/>
                        </a:cubicBezTo>
                        <a:close/>
                      </a:path>
                    </a:pathLst>
                  </a:custGeom>
                  <a:noFill/>
                  <a:ln w="9525" cap="flat" cmpd="sng">
                    <a:solidFill>
                      <a:srgbClr val="869FB2"/>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340" name="Google Shape;8340;p105"/>
                  <p:cNvSpPr/>
                  <p:nvPr/>
                </p:nvSpPr>
                <p:spPr>
                  <a:xfrm>
                    <a:off x="2724889" y="3305500"/>
                    <a:ext cx="140331" cy="1106"/>
                  </a:xfrm>
                  <a:custGeom>
                    <a:avLst/>
                    <a:gdLst/>
                    <a:ahLst/>
                    <a:cxnLst/>
                    <a:rect l="l" t="t" r="r" b="b"/>
                    <a:pathLst>
                      <a:path w="30825" h="243" extrusionOk="0">
                        <a:moveTo>
                          <a:pt x="121" y="0"/>
                        </a:moveTo>
                        <a:cubicBezTo>
                          <a:pt x="55" y="0"/>
                          <a:pt x="0" y="55"/>
                          <a:pt x="0" y="122"/>
                        </a:cubicBezTo>
                        <a:cubicBezTo>
                          <a:pt x="0" y="188"/>
                          <a:pt x="55" y="242"/>
                          <a:pt x="121" y="242"/>
                        </a:cubicBezTo>
                        <a:lnTo>
                          <a:pt x="30701" y="242"/>
                        </a:lnTo>
                        <a:cubicBezTo>
                          <a:pt x="30769" y="242"/>
                          <a:pt x="30824" y="190"/>
                          <a:pt x="30823" y="122"/>
                        </a:cubicBezTo>
                        <a:cubicBezTo>
                          <a:pt x="30823" y="56"/>
                          <a:pt x="30767" y="0"/>
                          <a:pt x="30701" y="0"/>
                        </a:cubicBezTo>
                        <a:close/>
                      </a:path>
                    </a:pathLst>
                  </a:custGeom>
                  <a:solidFill>
                    <a:srgbClr val="E3E9ED"/>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grpSp>
            <p:nvGrpSpPr>
              <p:cNvPr id="8341" name="Google Shape;8341;p105"/>
              <p:cNvGrpSpPr/>
              <p:nvPr/>
            </p:nvGrpSpPr>
            <p:grpSpPr>
              <a:xfrm>
                <a:off x="2389399" y="3100241"/>
                <a:ext cx="363638" cy="296869"/>
                <a:chOff x="2389399" y="3100241"/>
                <a:chExt cx="363638" cy="296869"/>
              </a:xfrm>
            </p:grpSpPr>
            <p:grpSp>
              <p:nvGrpSpPr>
                <p:cNvPr id="8342" name="Google Shape;8342;p105"/>
                <p:cNvGrpSpPr/>
                <p:nvPr/>
              </p:nvGrpSpPr>
              <p:grpSpPr>
                <a:xfrm>
                  <a:off x="2493852" y="3100241"/>
                  <a:ext cx="259185" cy="98237"/>
                  <a:chOff x="2493852" y="3100241"/>
                  <a:chExt cx="259185" cy="98237"/>
                </a:xfrm>
              </p:grpSpPr>
              <p:sp>
                <p:nvSpPr>
                  <p:cNvPr id="8343" name="Google Shape;8343;p105"/>
                  <p:cNvSpPr/>
                  <p:nvPr/>
                </p:nvSpPr>
                <p:spPr>
                  <a:xfrm>
                    <a:off x="2500428" y="3106803"/>
                    <a:ext cx="246126" cy="85123"/>
                  </a:xfrm>
                  <a:custGeom>
                    <a:avLst/>
                    <a:gdLst/>
                    <a:ahLst/>
                    <a:cxnLst/>
                    <a:rect l="l" t="t" r="r" b="b"/>
                    <a:pathLst>
                      <a:path w="54064" h="18698" extrusionOk="0">
                        <a:moveTo>
                          <a:pt x="53821" y="0"/>
                        </a:moveTo>
                        <a:cubicBezTo>
                          <a:pt x="53686" y="0"/>
                          <a:pt x="53579" y="109"/>
                          <a:pt x="53579" y="242"/>
                        </a:cubicBezTo>
                        <a:lnTo>
                          <a:pt x="53579" y="5286"/>
                        </a:lnTo>
                        <a:cubicBezTo>
                          <a:pt x="53579" y="8576"/>
                          <a:pt x="50903" y="11250"/>
                          <a:pt x="47614" y="11250"/>
                        </a:cubicBezTo>
                        <a:lnTo>
                          <a:pt x="7205" y="11250"/>
                        </a:lnTo>
                        <a:cubicBezTo>
                          <a:pt x="3232" y="11250"/>
                          <a:pt x="0" y="14484"/>
                          <a:pt x="0" y="18456"/>
                        </a:cubicBezTo>
                        <a:cubicBezTo>
                          <a:pt x="0" y="18589"/>
                          <a:pt x="109" y="18698"/>
                          <a:pt x="242" y="18698"/>
                        </a:cubicBezTo>
                        <a:cubicBezTo>
                          <a:pt x="376" y="18698"/>
                          <a:pt x="485" y="18589"/>
                          <a:pt x="485" y="18456"/>
                        </a:cubicBezTo>
                        <a:cubicBezTo>
                          <a:pt x="485" y="14751"/>
                          <a:pt x="3499" y="11736"/>
                          <a:pt x="7202" y="11736"/>
                        </a:cubicBezTo>
                        <a:lnTo>
                          <a:pt x="47612" y="11736"/>
                        </a:lnTo>
                        <a:cubicBezTo>
                          <a:pt x="51169" y="11736"/>
                          <a:pt x="54063" y="8843"/>
                          <a:pt x="54063" y="5286"/>
                        </a:cubicBezTo>
                        <a:lnTo>
                          <a:pt x="54063" y="242"/>
                        </a:lnTo>
                        <a:cubicBezTo>
                          <a:pt x="54063" y="109"/>
                          <a:pt x="53955" y="0"/>
                          <a:pt x="53821" y="0"/>
                        </a:cubicBezTo>
                        <a:close/>
                      </a:path>
                    </a:pathLst>
                  </a:custGeom>
                  <a:solidFill>
                    <a:srgbClr val="9FA0A4"/>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344" name="Google Shape;8344;p105"/>
                  <p:cNvSpPr/>
                  <p:nvPr/>
                </p:nvSpPr>
                <p:spPr>
                  <a:xfrm>
                    <a:off x="2493852" y="3183117"/>
                    <a:ext cx="15360" cy="15360"/>
                  </a:xfrm>
                  <a:custGeom>
                    <a:avLst/>
                    <a:gdLst/>
                    <a:ahLst/>
                    <a:cxnLst/>
                    <a:rect l="l" t="t" r="r" b="b"/>
                    <a:pathLst>
                      <a:path w="3374" h="3374" extrusionOk="0">
                        <a:moveTo>
                          <a:pt x="1687" y="0"/>
                        </a:moveTo>
                        <a:cubicBezTo>
                          <a:pt x="755" y="0"/>
                          <a:pt x="1" y="755"/>
                          <a:pt x="1" y="1687"/>
                        </a:cubicBezTo>
                        <a:cubicBezTo>
                          <a:pt x="1" y="2619"/>
                          <a:pt x="755" y="3373"/>
                          <a:pt x="1687" y="3373"/>
                        </a:cubicBezTo>
                        <a:cubicBezTo>
                          <a:pt x="2619" y="3373"/>
                          <a:pt x="3374" y="2619"/>
                          <a:pt x="3374" y="1687"/>
                        </a:cubicBezTo>
                        <a:cubicBezTo>
                          <a:pt x="3374" y="755"/>
                          <a:pt x="2619" y="0"/>
                          <a:pt x="1687" y="0"/>
                        </a:cubicBezTo>
                        <a:close/>
                      </a:path>
                    </a:pathLst>
                  </a:custGeom>
                  <a:solidFill>
                    <a:srgbClr val="435D74"/>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345" name="Google Shape;8345;p105"/>
                  <p:cNvSpPr/>
                  <p:nvPr/>
                </p:nvSpPr>
                <p:spPr>
                  <a:xfrm>
                    <a:off x="2737686" y="3100241"/>
                    <a:ext cx="15351" cy="15356"/>
                  </a:xfrm>
                  <a:custGeom>
                    <a:avLst/>
                    <a:gdLst/>
                    <a:ahLst/>
                    <a:cxnLst/>
                    <a:rect l="l" t="t" r="r" b="b"/>
                    <a:pathLst>
                      <a:path w="3372" h="3373" extrusionOk="0">
                        <a:moveTo>
                          <a:pt x="1687" y="1"/>
                        </a:moveTo>
                        <a:cubicBezTo>
                          <a:pt x="755" y="1"/>
                          <a:pt x="1" y="754"/>
                          <a:pt x="1" y="1686"/>
                        </a:cubicBezTo>
                        <a:cubicBezTo>
                          <a:pt x="1" y="2618"/>
                          <a:pt x="755" y="3372"/>
                          <a:pt x="1687" y="3372"/>
                        </a:cubicBezTo>
                        <a:cubicBezTo>
                          <a:pt x="2619" y="3372"/>
                          <a:pt x="3372" y="2618"/>
                          <a:pt x="3372" y="1686"/>
                        </a:cubicBezTo>
                        <a:cubicBezTo>
                          <a:pt x="3372" y="754"/>
                          <a:pt x="2619" y="1"/>
                          <a:pt x="1687" y="1"/>
                        </a:cubicBezTo>
                        <a:close/>
                      </a:path>
                    </a:pathLst>
                  </a:custGeom>
                  <a:solidFill>
                    <a:srgbClr val="435D74"/>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8346" name="Google Shape;8346;p105"/>
                <p:cNvGrpSpPr/>
                <p:nvPr/>
              </p:nvGrpSpPr>
              <p:grpSpPr>
                <a:xfrm>
                  <a:off x="2389399" y="3215065"/>
                  <a:ext cx="224343" cy="182045"/>
                  <a:chOff x="2389399" y="3215065"/>
                  <a:chExt cx="224343" cy="182045"/>
                </a:xfrm>
              </p:grpSpPr>
              <p:sp>
                <p:nvSpPr>
                  <p:cNvPr id="8347" name="Google Shape;8347;p105"/>
                  <p:cNvSpPr/>
                  <p:nvPr/>
                </p:nvSpPr>
                <p:spPr>
                  <a:xfrm>
                    <a:off x="2389399" y="3215065"/>
                    <a:ext cx="224343" cy="182045"/>
                  </a:xfrm>
                  <a:custGeom>
                    <a:avLst/>
                    <a:gdLst/>
                    <a:ahLst/>
                    <a:cxnLst/>
                    <a:rect l="l" t="t" r="r" b="b"/>
                    <a:pathLst>
                      <a:path w="49279" h="39988" extrusionOk="0">
                        <a:moveTo>
                          <a:pt x="7997" y="0"/>
                        </a:moveTo>
                        <a:cubicBezTo>
                          <a:pt x="3580" y="0"/>
                          <a:pt x="0" y="3579"/>
                          <a:pt x="0" y="7995"/>
                        </a:cubicBezTo>
                        <a:lnTo>
                          <a:pt x="0" y="31993"/>
                        </a:lnTo>
                        <a:cubicBezTo>
                          <a:pt x="0" y="36409"/>
                          <a:pt x="3580" y="39988"/>
                          <a:pt x="7997" y="39988"/>
                        </a:cubicBezTo>
                        <a:lnTo>
                          <a:pt x="41282" y="39988"/>
                        </a:lnTo>
                        <a:cubicBezTo>
                          <a:pt x="45697" y="39988"/>
                          <a:pt x="49277" y="36409"/>
                          <a:pt x="49277" y="31993"/>
                        </a:cubicBezTo>
                        <a:lnTo>
                          <a:pt x="49277" y="7995"/>
                        </a:lnTo>
                        <a:cubicBezTo>
                          <a:pt x="49278" y="3579"/>
                          <a:pt x="45697" y="0"/>
                          <a:pt x="41282" y="0"/>
                        </a:cubicBezTo>
                        <a:close/>
                      </a:path>
                    </a:pathLst>
                  </a:custGeom>
                  <a:noFill/>
                  <a:ln w="9525" cap="flat" cmpd="sng">
                    <a:solidFill>
                      <a:srgbClr val="869FB2"/>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348" name="Google Shape;8348;p105"/>
                  <p:cNvSpPr/>
                  <p:nvPr/>
                </p:nvSpPr>
                <p:spPr>
                  <a:xfrm>
                    <a:off x="2430630" y="3305500"/>
                    <a:ext cx="140331" cy="1106"/>
                  </a:xfrm>
                  <a:custGeom>
                    <a:avLst/>
                    <a:gdLst/>
                    <a:ahLst/>
                    <a:cxnLst/>
                    <a:rect l="l" t="t" r="r" b="b"/>
                    <a:pathLst>
                      <a:path w="30825" h="243" extrusionOk="0">
                        <a:moveTo>
                          <a:pt x="123" y="0"/>
                        </a:moveTo>
                        <a:cubicBezTo>
                          <a:pt x="57" y="0"/>
                          <a:pt x="1" y="55"/>
                          <a:pt x="1" y="122"/>
                        </a:cubicBezTo>
                        <a:cubicBezTo>
                          <a:pt x="1" y="188"/>
                          <a:pt x="57" y="242"/>
                          <a:pt x="123" y="242"/>
                        </a:cubicBezTo>
                        <a:lnTo>
                          <a:pt x="30702" y="242"/>
                        </a:lnTo>
                        <a:cubicBezTo>
                          <a:pt x="30771" y="242"/>
                          <a:pt x="30825" y="190"/>
                          <a:pt x="30823" y="122"/>
                        </a:cubicBezTo>
                        <a:cubicBezTo>
                          <a:pt x="30823" y="56"/>
                          <a:pt x="30769" y="0"/>
                          <a:pt x="30702" y="0"/>
                        </a:cubicBezTo>
                        <a:close/>
                      </a:path>
                    </a:pathLst>
                  </a:custGeom>
                  <a:solidFill>
                    <a:srgbClr val="E3E9ED"/>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grpSp>
            <p:nvGrpSpPr>
              <p:cNvPr id="8349" name="Google Shape;8349;p105"/>
              <p:cNvGrpSpPr/>
              <p:nvPr/>
            </p:nvGrpSpPr>
            <p:grpSpPr>
              <a:xfrm>
                <a:off x="2838475" y="3100241"/>
                <a:ext cx="363719" cy="296869"/>
                <a:chOff x="2838475" y="3100241"/>
                <a:chExt cx="363719" cy="296869"/>
              </a:xfrm>
            </p:grpSpPr>
            <p:grpSp>
              <p:nvGrpSpPr>
                <p:cNvPr id="8350" name="Google Shape;8350;p105"/>
                <p:cNvGrpSpPr/>
                <p:nvPr/>
              </p:nvGrpSpPr>
              <p:grpSpPr>
                <a:xfrm>
                  <a:off x="2838475" y="3100241"/>
                  <a:ext cx="259185" cy="98237"/>
                  <a:chOff x="2838475" y="3100241"/>
                  <a:chExt cx="259185" cy="98237"/>
                </a:xfrm>
              </p:grpSpPr>
              <p:sp>
                <p:nvSpPr>
                  <p:cNvPr id="8351" name="Google Shape;8351;p105"/>
                  <p:cNvSpPr/>
                  <p:nvPr/>
                </p:nvSpPr>
                <p:spPr>
                  <a:xfrm>
                    <a:off x="2845042" y="3106803"/>
                    <a:ext cx="246131" cy="85123"/>
                  </a:xfrm>
                  <a:custGeom>
                    <a:avLst/>
                    <a:gdLst/>
                    <a:ahLst/>
                    <a:cxnLst/>
                    <a:rect l="l" t="t" r="r" b="b"/>
                    <a:pathLst>
                      <a:path w="54065" h="18698" extrusionOk="0">
                        <a:moveTo>
                          <a:pt x="242" y="0"/>
                        </a:moveTo>
                        <a:cubicBezTo>
                          <a:pt x="109" y="0"/>
                          <a:pt x="0" y="109"/>
                          <a:pt x="0" y="242"/>
                        </a:cubicBezTo>
                        <a:lnTo>
                          <a:pt x="0" y="5286"/>
                        </a:lnTo>
                        <a:cubicBezTo>
                          <a:pt x="0" y="8843"/>
                          <a:pt x="2895" y="11736"/>
                          <a:pt x="6451" y="11736"/>
                        </a:cubicBezTo>
                        <a:lnTo>
                          <a:pt x="46862" y="11736"/>
                        </a:lnTo>
                        <a:cubicBezTo>
                          <a:pt x="50567" y="11736"/>
                          <a:pt x="53580" y="14751"/>
                          <a:pt x="53580" y="18456"/>
                        </a:cubicBezTo>
                        <a:cubicBezTo>
                          <a:pt x="53580" y="18589"/>
                          <a:pt x="53689" y="18698"/>
                          <a:pt x="53822" y="18698"/>
                        </a:cubicBezTo>
                        <a:cubicBezTo>
                          <a:pt x="53957" y="18698"/>
                          <a:pt x="54064" y="18589"/>
                          <a:pt x="54063" y="18456"/>
                        </a:cubicBezTo>
                        <a:cubicBezTo>
                          <a:pt x="54063" y="14484"/>
                          <a:pt x="50831" y="11250"/>
                          <a:pt x="46858" y="11250"/>
                        </a:cubicBezTo>
                        <a:lnTo>
                          <a:pt x="6449" y="11250"/>
                        </a:lnTo>
                        <a:cubicBezTo>
                          <a:pt x="3160" y="11250"/>
                          <a:pt x="484" y="8576"/>
                          <a:pt x="484" y="5286"/>
                        </a:cubicBezTo>
                        <a:lnTo>
                          <a:pt x="484" y="242"/>
                        </a:lnTo>
                        <a:cubicBezTo>
                          <a:pt x="484" y="109"/>
                          <a:pt x="376" y="0"/>
                          <a:pt x="242" y="0"/>
                        </a:cubicBezTo>
                        <a:close/>
                      </a:path>
                    </a:pathLst>
                  </a:custGeom>
                  <a:solidFill>
                    <a:srgbClr val="9FA0A4"/>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352" name="Google Shape;8352;p105"/>
                  <p:cNvSpPr/>
                  <p:nvPr/>
                </p:nvSpPr>
                <p:spPr>
                  <a:xfrm>
                    <a:off x="3082301" y="3183117"/>
                    <a:ext cx="15360" cy="15360"/>
                  </a:xfrm>
                  <a:custGeom>
                    <a:avLst/>
                    <a:gdLst/>
                    <a:ahLst/>
                    <a:cxnLst/>
                    <a:rect l="l" t="t" r="r" b="b"/>
                    <a:pathLst>
                      <a:path w="3374" h="3374" extrusionOk="0">
                        <a:moveTo>
                          <a:pt x="1687" y="0"/>
                        </a:moveTo>
                        <a:cubicBezTo>
                          <a:pt x="755" y="0"/>
                          <a:pt x="0" y="755"/>
                          <a:pt x="0" y="1687"/>
                        </a:cubicBezTo>
                        <a:cubicBezTo>
                          <a:pt x="0" y="2619"/>
                          <a:pt x="755" y="3373"/>
                          <a:pt x="1687" y="3373"/>
                        </a:cubicBezTo>
                        <a:cubicBezTo>
                          <a:pt x="2619" y="3373"/>
                          <a:pt x="3373" y="2619"/>
                          <a:pt x="3373" y="1687"/>
                        </a:cubicBezTo>
                        <a:cubicBezTo>
                          <a:pt x="3373" y="755"/>
                          <a:pt x="2619" y="0"/>
                          <a:pt x="1687" y="0"/>
                        </a:cubicBezTo>
                        <a:close/>
                      </a:path>
                    </a:pathLst>
                  </a:custGeom>
                  <a:solidFill>
                    <a:srgbClr val="435D74"/>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353" name="Google Shape;8353;p105"/>
                  <p:cNvSpPr/>
                  <p:nvPr/>
                </p:nvSpPr>
                <p:spPr>
                  <a:xfrm>
                    <a:off x="2838475" y="3100241"/>
                    <a:ext cx="15351" cy="15356"/>
                  </a:xfrm>
                  <a:custGeom>
                    <a:avLst/>
                    <a:gdLst/>
                    <a:ahLst/>
                    <a:cxnLst/>
                    <a:rect l="l" t="t" r="r" b="b"/>
                    <a:pathLst>
                      <a:path w="3372" h="3373" extrusionOk="0">
                        <a:moveTo>
                          <a:pt x="1685" y="1"/>
                        </a:moveTo>
                        <a:cubicBezTo>
                          <a:pt x="753" y="1"/>
                          <a:pt x="0" y="754"/>
                          <a:pt x="0" y="1686"/>
                        </a:cubicBezTo>
                        <a:cubicBezTo>
                          <a:pt x="0" y="2618"/>
                          <a:pt x="753" y="3372"/>
                          <a:pt x="1685" y="3372"/>
                        </a:cubicBezTo>
                        <a:cubicBezTo>
                          <a:pt x="2617" y="3372"/>
                          <a:pt x="3372" y="2618"/>
                          <a:pt x="3372" y="1686"/>
                        </a:cubicBezTo>
                        <a:cubicBezTo>
                          <a:pt x="3372" y="754"/>
                          <a:pt x="2617" y="1"/>
                          <a:pt x="1685" y="1"/>
                        </a:cubicBezTo>
                        <a:close/>
                      </a:path>
                    </a:pathLst>
                  </a:custGeom>
                  <a:solidFill>
                    <a:srgbClr val="435D74"/>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8354" name="Google Shape;8354;p105"/>
                <p:cNvGrpSpPr/>
                <p:nvPr/>
              </p:nvGrpSpPr>
              <p:grpSpPr>
                <a:xfrm>
                  <a:off x="2977852" y="3215065"/>
                  <a:ext cx="224343" cy="182045"/>
                  <a:chOff x="2977852" y="3215065"/>
                  <a:chExt cx="224343" cy="182045"/>
                </a:xfrm>
              </p:grpSpPr>
              <p:sp>
                <p:nvSpPr>
                  <p:cNvPr id="8355" name="Google Shape;8355;p105"/>
                  <p:cNvSpPr/>
                  <p:nvPr/>
                </p:nvSpPr>
                <p:spPr>
                  <a:xfrm>
                    <a:off x="2977852" y="3215065"/>
                    <a:ext cx="224343" cy="182045"/>
                  </a:xfrm>
                  <a:custGeom>
                    <a:avLst/>
                    <a:gdLst/>
                    <a:ahLst/>
                    <a:cxnLst/>
                    <a:rect l="l" t="t" r="r" b="b"/>
                    <a:pathLst>
                      <a:path w="49279" h="39988" extrusionOk="0">
                        <a:moveTo>
                          <a:pt x="7995" y="0"/>
                        </a:moveTo>
                        <a:cubicBezTo>
                          <a:pt x="3580" y="0"/>
                          <a:pt x="0" y="3579"/>
                          <a:pt x="0" y="7995"/>
                        </a:cubicBezTo>
                        <a:lnTo>
                          <a:pt x="0" y="31993"/>
                        </a:lnTo>
                        <a:cubicBezTo>
                          <a:pt x="0" y="36409"/>
                          <a:pt x="3580" y="39988"/>
                          <a:pt x="7995" y="39988"/>
                        </a:cubicBezTo>
                        <a:lnTo>
                          <a:pt x="41282" y="39988"/>
                        </a:lnTo>
                        <a:cubicBezTo>
                          <a:pt x="45698" y="39988"/>
                          <a:pt x="49278" y="36409"/>
                          <a:pt x="49278" y="31993"/>
                        </a:cubicBezTo>
                        <a:lnTo>
                          <a:pt x="49278" y="7995"/>
                        </a:lnTo>
                        <a:cubicBezTo>
                          <a:pt x="49278" y="3579"/>
                          <a:pt x="45698" y="0"/>
                          <a:pt x="41282" y="0"/>
                        </a:cubicBezTo>
                        <a:close/>
                      </a:path>
                    </a:pathLst>
                  </a:custGeom>
                  <a:noFill/>
                  <a:ln w="9525" cap="flat" cmpd="sng">
                    <a:solidFill>
                      <a:srgbClr val="869FB2"/>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356" name="Google Shape;8356;p105"/>
                  <p:cNvSpPr/>
                  <p:nvPr/>
                </p:nvSpPr>
                <p:spPr>
                  <a:xfrm>
                    <a:off x="3020598" y="3305519"/>
                    <a:ext cx="140326" cy="1106"/>
                  </a:xfrm>
                  <a:custGeom>
                    <a:avLst/>
                    <a:gdLst/>
                    <a:ahLst/>
                    <a:cxnLst/>
                    <a:rect l="l" t="t" r="r" b="b"/>
                    <a:pathLst>
                      <a:path w="30824" h="243" extrusionOk="0">
                        <a:moveTo>
                          <a:pt x="123" y="1"/>
                        </a:moveTo>
                        <a:cubicBezTo>
                          <a:pt x="57" y="1"/>
                          <a:pt x="1" y="55"/>
                          <a:pt x="1" y="121"/>
                        </a:cubicBezTo>
                        <a:cubicBezTo>
                          <a:pt x="1" y="187"/>
                          <a:pt x="57" y="243"/>
                          <a:pt x="123" y="243"/>
                        </a:cubicBezTo>
                        <a:lnTo>
                          <a:pt x="30703" y="243"/>
                        </a:lnTo>
                        <a:cubicBezTo>
                          <a:pt x="30769" y="243"/>
                          <a:pt x="30824" y="187"/>
                          <a:pt x="30824" y="121"/>
                        </a:cubicBezTo>
                        <a:cubicBezTo>
                          <a:pt x="30824" y="55"/>
                          <a:pt x="30769" y="1"/>
                          <a:pt x="30703" y="1"/>
                        </a:cubicBezTo>
                        <a:close/>
                      </a:path>
                    </a:pathLst>
                  </a:custGeom>
                  <a:solidFill>
                    <a:srgbClr val="E3E9ED"/>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grpSp>
      </p:grpSp>
    </p:spTree>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Shape 8360"/>
        <p:cNvGrpSpPr/>
        <p:nvPr/>
      </p:nvGrpSpPr>
      <p:grpSpPr>
        <a:xfrm>
          <a:off x="0" y="0"/>
          <a:ext cx="0" cy="0"/>
          <a:chOff x="0" y="0"/>
          <a:chExt cx="0" cy="0"/>
        </a:xfrm>
      </p:grpSpPr>
      <p:grpSp>
        <p:nvGrpSpPr>
          <p:cNvPr id="8361" name="Google Shape;8361;p106"/>
          <p:cNvGrpSpPr/>
          <p:nvPr/>
        </p:nvGrpSpPr>
        <p:grpSpPr>
          <a:xfrm>
            <a:off x="958500" y="4484384"/>
            <a:ext cx="3187219" cy="1366400"/>
            <a:chOff x="728925" y="3296613"/>
            <a:chExt cx="2390414" cy="1024800"/>
          </a:xfrm>
        </p:grpSpPr>
        <p:grpSp>
          <p:nvGrpSpPr>
            <p:cNvPr id="8362" name="Google Shape;8362;p106"/>
            <p:cNvGrpSpPr/>
            <p:nvPr/>
          </p:nvGrpSpPr>
          <p:grpSpPr>
            <a:xfrm>
              <a:off x="728925" y="3619800"/>
              <a:ext cx="2390414" cy="500893"/>
              <a:chOff x="728925" y="3619800"/>
              <a:chExt cx="2390414" cy="500893"/>
            </a:xfrm>
          </p:grpSpPr>
          <p:sp>
            <p:nvSpPr>
              <p:cNvPr id="8363" name="Google Shape;8363;p106"/>
              <p:cNvSpPr/>
              <p:nvPr/>
            </p:nvSpPr>
            <p:spPr>
              <a:xfrm>
                <a:off x="728925" y="3619800"/>
                <a:ext cx="2390400" cy="167100"/>
              </a:xfrm>
              <a:prstGeom prst="rect">
                <a:avLst/>
              </a:prstGeom>
              <a:noFill/>
              <a:ln w="9525" cap="flat" cmpd="sng">
                <a:solidFill>
                  <a:srgbClr val="E3E7EA"/>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267" kern="0">
                  <a:solidFill>
                    <a:srgbClr val="000000"/>
                  </a:solidFill>
                  <a:latin typeface="Arial"/>
                  <a:cs typeface="Arial"/>
                  <a:sym typeface="Arial"/>
                </a:endParaRPr>
              </a:p>
            </p:txBody>
          </p:sp>
          <p:sp>
            <p:nvSpPr>
              <p:cNvPr id="8364" name="Google Shape;8364;p106"/>
              <p:cNvSpPr/>
              <p:nvPr/>
            </p:nvSpPr>
            <p:spPr>
              <a:xfrm>
                <a:off x="728939" y="3953593"/>
                <a:ext cx="2390400" cy="167100"/>
              </a:xfrm>
              <a:prstGeom prst="rect">
                <a:avLst/>
              </a:prstGeom>
              <a:noFill/>
              <a:ln w="9525" cap="flat" cmpd="sng">
                <a:solidFill>
                  <a:srgbClr val="E3E7EA"/>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267" kern="0">
                  <a:solidFill>
                    <a:srgbClr val="000000"/>
                  </a:solidFill>
                  <a:latin typeface="Arial"/>
                  <a:cs typeface="Arial"/>
                  <a:sym typeface="Arial"/>
                </a:endParaRPr>
              </a:p>
            </p:txBody>
          </p:sp>
        </p:grpSp>
        <p:grpSp>
          <p:nvGrpSpPr>
            <p:cNvPr id="8365" name="Google Shape;8365;p106"/>
            <p:cNvGrpSpPr/>
            <p:nvPr/>
          </p:nvGrpSpPr>
          <p:grpSpPr>
            <a:xfrm>
              <a:off x="1348050" y="3296613"/>
              <a:ext cx="1706152" cy="1024800"/>
              <a:chOff x="1348050" y="3296613"/>
              <a:chExt cx="1706152" cy="1024800"/>
            </a:xfrm>
          </p:grpSpPr>
          <p:sp>
            <p:nvSpPr>
              <p:cNvPr id="8366" name="Google Shape;8366;p106"/>
              <p:cNvSpPr/>
              <p:nvPr/>
            </p:nvSpPr>
            <p:spPr>
              <a:xfrm>
                <a:off x="1348050" y="3296613"/>
                <a:ext cx="307200" cy="1024800"/>
              </a:xfrm>
              <a:prstGeom prst="rect">
                <a:avLst/>
              </a:prstGeom>
              <a:noFill/>
              <a:ln w="9525" cap="flat" cmpd="sng">
                <a:solidFill>
                  <a:srgbClr val="D6DBE0"/>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267" kern="0">
                  <a:solidFill>
                    <a:srgbClr val="000000"/>
                  </a:solidFill>
                  <a:latin typeface="Arial"/>
                  <a:cs typeface="Arial"/>
                  <a:sym typeface="Arial"/>
                </a:endParaRPr>
              </a:p>
            </p:txBody>
          </p:sp>
          <p:sp>
            <p:nvSpPr>
              <p:cNvPr id="8367" name="Google Shape;8367;p106"/>
              <p:cNvSpPr/>
              <p:nvPr/>
            </p:nvSpPr>
            <p:spPr>
              <a:xfrm>
                <a:off x="1687082" y="3296613"/>
                <a:ext cx="307200" cy="1024800"/>
              </a:xfrm>
              <a:prstGeom prst="rect">
                <a:avLst/>
              </a:prstGeom>
              <a:noFill/>
              <a:ln w="9525" cap="flat" cmpd="sng">
                <a:solidFill>
                  <a:srgbClr val="D6DBE0"/>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267" kern="0">
                  <a:solidFill>
                    <a:srgbClr val="000000"/>
                  </a:solidFill>
                  <a:latin typeface="Arial"/>
                  <a:cs typeface="Arial"/>
                  <a:sym typeface="Arial"/>
                </a:endParaRPr>
              </a:p>
            </p:txBody>
          </p:sp>
          <p:sp>
            <p:nvSpPr>
              <p:cNvPr id="8368" name="Google Shape;8368;p106"/>
              <p:cNvSpPr/>
              <p:nvPr/>
            </p:nvSpPr>
            <p:spPr>
              <a:xfrm>
                <a:off x="2040389" y="3296613"/>
                <a:ext cx="307200" cy="1024800"/>
              </a:xfrm>
              <a:prstGeom prst="rect">
                <a:avLst/>
              </a:prstGeom>
              <a:noFill/>
              <a:ln w="9525" cap="flat" cmpd="sng">
                <a:solidFill>
                  <a:srgbClr val="D6DBE0"/>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267" kern="0">
                  <a:solidFill>
                    <a:srgbClr val="000000"/>
                  </a:solidFill>
                  <a:latin typeface="Arial"/>
                  <a:cs typeface="Arial"/>
                  <a:sym typeface="Arial"/>
                </a:endParaRPr>
              </a:p>
            </p:txBody>
          </p:sp>
          <p:sp>
            <p:nvSpPr>
              <p:cNvPr id="8369" name="Google Shape;8369;p106"/>
              <p:cNvSpPr/>
              <p:nvPr/>
            </p:nvSpPr>
            <p:spPr>
              <a:xfrm>
                <a:off x="2393695" y="3296613"/>
                <a:ext cx="307200" cy="1024800"/>
              </a:xfrm>
              <a:prstGeom prst="rect">
                <a:avLst/>
              </a:prstGeom>
              <a:noFill/>
              <a:ln w="9525" cap="flat" cmpd="sng">
                <a:solidFill>
                  <a:srgbClr val="D6DBE0"/>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267" kern="0">
                  <a:solidFill>
                    <a:srgbClr val="000000"/>
                  </a:solidFill>
                  <a:latin typeface="Arial"/>
                  <a:cs typeface="Arial"/>
                  <a:sym typeface="Arial"/>
                </a:endParaRPr>
              </a:p>
            </p:txBody>
          </p:sp>
          <p:sp>
            <p:nvSpPr>
              <p:cNvPr id="8370" name="Google Shape;8370;p106"/>
              <p:cNvSpPr/>
              <p:nvPr/>
            </p:nvSpPr>
            <p:spPr>
              <a:xfrm>
                <a:off x="2747002" y="3296613"/>
                <a:ext cx="307200" cy="1024800"/>
              </a:xfrm>
              <a:prstGeom prst="rect">
                <a:avLst/>
              </a:prstGeom>
              <a:noFill/>
              <a:ln w="9525" cap="flat" cmpd="sng">
                <a:solidFill>
                  <a:srgbClr val="D6DBE0"/>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267" kern="0">
                  <a:solidFill>
                    <a:srgbClr val="000000"/>
                  </a:solidFill>
                  <a:latin typeface="Arial"/>
                  <a:cs typeface="Arial"/>
                  <a:sym typeface="Arial"/>
                </a:endParaRPr>
              </a:p>
            </p:txBody>
          </p:sp>
        </p:grpSp>
        <p:grpSp>
          <p:nvGrpSpPr>
            <p:cNvPr id="8371" name="Google Shape;8371;p106"/>
            <p:cNvGrpSpPr/>
            <p:nvPr/>
          </p:nvGrpSpPr>
          <p:grpSpPr>
            <a:xfrm>
              <a:off x="1455707" y="3654858"/>
              <a:ext cx="1491150" cy="417657"/>
              <a:chOff x="1455707" y="3654858"/>
              <a:chExt cx="1491150" cy="417657"/>
            </a:xfrm>
          </p:grpSpPr>
          <p:sp>
            <p:nvSpPr>
              <p:cNvPr id="8372" name="Google Shape;8372;p106"/>
              <p:cNvSpPr/>
              <p:nvPr/>
            </p:nvSpPr>
            <p:spPr>
              <a:xfrm>
                <a:off x="1472938" y="3687620"/>
                <a:ext cx="60030" cy="35796"/>
              </a:xfrm>
              <a:custGeom>
                <a:avLst/>
                <a:gdLst/>
                <a:ahLst/>
                <a:cxnLst/>
                <a:rect l="l" t="t" r="r" b="b"/>
                <a:pathLst>
                  <a:path w="9336" h="5567" extrusionOk="0">
                    <a:moveTo>
                      <a:pt x="1876" y="0"/>
                    </a:moveTo>
                    <a:cubicBezTo>
                      <a:pt x="1831" y="0"/>
                      <a:pt x="1787" y="18"/>
                      <a:pt x="1751" y="54"/>
                    </a:cubicBezTo>
                    <a:lnTo>
                      <a:pt x="84" y="1721"/>
                    </a:lnTo>
                    <a:cubicBezTo>
                      <a:pt x="1" y="1804"/>
                      <a:pt x="1" y="1899"/>
                      <a:pt x="84" y="1983"/>
                    </a:cubicBezTo>
                    <a:lnTo>
                      <a:pt x="3263" y="5162"/>
                    </a:lnTo>
                    <a:cubicBezTo>
                      <a:pt x="3513" y="5412"/>
                      <a:pt x="3858" y="5566"/>
                      <a:pt x="4215" y="5566"/>
                    </a:cubicBezTo>
                    <a:cubicBezTo>
                      <a:pt x="4573" y="5566"/>
                      <a:pt x="4918" y="5435"/>
                      <a:pt x="5168" y="5162"/>
                    </a:cubicBezTo>
                    <a:lnTo>
                      <a:pt x="9252" y="1090"/>
                    </a:lnTo>
                    <a:cubicBezTo>
                      <a:pt x="9335" y="1006"/>
                      <a:pt x="9335" y="887"/>
                      <a:pt x="9276" y="828"/>
                    </a:cubicBezTo>
                    <a:cubicBezTo>
                      <a:pt x="9240" y="792"/>
                      <a:pt x="9195" y="774"/>
                      <a:pt x="9151" y="774"/>
                    </a:cubicBezTo>
                    <a:cubicBezTo>
                      <a:pt x="9106" y="774"/>
                      <a:pt x="9061" y="792"/>
                      <a:pt x="9026" y="828"/>
                    </a:cubicBezTo>
                    <a:lnTo>
                      <a:pt x="4942" y="4912"/>
                    </a:lnTo>
                    <a:cubicBezTo>
                      <a:pt x="4751" y="5102"/>
                      <a:pt x="4501" y="5209"/>
                      <a:pt x="4227" y="5209"/>
                    </a:cubicBezTo>
                    <a:cubicBezTo>
                      <a:pt x="3965" y="5209"/>
                      <a:pt x="3715" y="5102"/>
                      <a:pt x="3513" y="4912"/>
                    </a:cubicBezTo>
                    <a:lnTo>
                      <a:pt x="453" y="1840"/>
                    </a:lnTo>
                    <a:lnTo>
                      <a:pt x="1870" y="435"/>
                    </a:lnTo>
                    <a:lnTo>
                      <a:pt x="2370" y="935"/>
                    </a:lnTo>
                    <a:cubicBezTo>
                      <a:pt x="2406" y="971"/>
                      <a:pt x="2450" y="988"/>
                      <a:pt x="2495" y="988"/>
                    </a:cubicBezTo>
                    <a:cubicBezTo>
                      <a:pt x="2540" y="988"/>
                      <a:pt x="2584" y="971"/>
                      <a:pt x="2620" y="935"/>
                    </a:cubicBezTo>
                    <a:cubicBezTo>
                      <a:pt x="2703" y="863"/>
                      <a:pt x="2703" y="756"/>
                      <a:pt x="2620" y="685"/>
                    </a:cubicBezTo>
                    <a:lnTo>
                      <a:pt x="2001" y="54"/>
                    </a:lnTo>
                    <a:cubicBezTo>
                      <a:pt x="1965" y="18"/>
                      <a:pt x="1920" y="0"/>
                      <a:pt x="1876" y="0"/>
                    </a:cubicBezTo>
                    <a:close/>
                  </a:path>
                </a:pathLst>
              </a:custGeom>
              <a:solidFill>
                <a:srgbClr val="E3E9ED"/>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373" name="Google Shape;8373;p106"/>
              <p:cNvSpPr/>
              <p:nvPr/>
            </p:nvSpPr>
            <p:spPr>
              <a:xfrm>
                <a:off x="1490853" y="3669628"/>
                <a:ext cx="54211" cy="34568"/>
              </a:xfrm>
              <a:custGeom>
                <a:avLst/>
                <a:gdLst/>
                <a:ahLst/>
                <a:cxnLst/>
                <a:rect l="l" t="t" r="r" b="b"/>
                <a:pathLst>
                  <a:path w="8431" h="5376" extrusionOk="0">
                    <a:moveTo>
                      <a:pt x="6585" y="0"/>
                    </a:moveTo>
                    <a:cubicBezTo>
                      <a:pt x="6540" y="0"/>
                      <a:pt x="6495" y="18"/>
                      <a:pt x="6454" y="54"/>
                    </a:cubicBezTo>
                    <a:lnTo>
                      <a:pt x="1548" y="4971"/>
                    </a:lnTo>
                    <a:cubicBezTo>
                      <a:pt x="1513" y="4995"/>
                      <a:pt x="1477" y="5007"/>
                      <a:pt x="1429" y="5007"/>
                    </a:cubicBezTo>
                    <a:cubicBezTo>
                      <a:pt x="1382" y="5007"/>
                      <a:pt x="1346" y="4995"/>
                      <a:pt x="1310" y="4971"/>
                    </a:cubicBezTo>
                    <a:lnTo>
                      <a:pt x="334" y="3983"/>
                    </a:lnTo>
                    <a:cubicBezTo>
                      <a:pt x="292" y="3947"/>
                      <a:pt x="248" y="3929"/>
                      <a:pt x="203" y="3929"/>
                    </a:cubicBezTo>
                    <a:cubicBezTo>
                      <a:pt x="158" y="3929"/>
                      <a:pt x="114" y="3947"/>
                      <a:pt x="72" y="3983"/>
                    </a:cubicBezTo>
                    <a:cubicBezTo>
                      <a:pt x="1" y="4054"/>
                      <a:pt x="1" y="4161"/>
                      <a:pt x="72" y="4245"/>
                    </a:cubicBezTo>
                    <a:lnTo>
                      <a:pt x="1060" y="5221"/>
                    </a:lnTo>
                    <a:cubicBezTo>
                      <a:pt x="1156" y="5328"/>
                      <a:pt x="1275" y="5376"/>
                      <a:pt x="1417" y="5376"/>
                    </a:cubicBezTo>
                    <a:cubicBezTo>
                      <a:pt x="1548" y="5376"/>
                      <a:pt x="1679" y="5316"/>
                      <a:pt x="1775" y="5221"/>
                    </a:cubicBezTo>
                    <a:lnTo>
                      <a:pt x="6549" y="447"/>
                    </a:lnTo>
                    <a:lnTo>
                      <a:pt x="7966" y="1852"/>
                    </a:lnTo>
                    <a:lnTo>
                      <a:pt x="6704" y="3126"/>
                    </a:lnTo>
                    <a:cubicBezTo>
                      <a:pt x="6621" y="3197"/>
                      <a:pt x="6621" y="3304"/>
                      <a:pt x="6704" y="3376"/>
                    </a:cubicBezTo>
                    <a:cubicBezTo>
                      <a:pt x="6740" y="3411"/>
                      <a:pt x="6784" y="3429"/>
                      <a:pt x="6829" y="3429"/>
                    </a:cubicBezTo>
                    <a:cubicBezTo>
                      <a:pt x="6874" y="3429"/>
                      <a:pt x="6918" y="3411"/>
                      <a:pt x="6954" y="3376"/>
                    </a:cubicBezTo>
                    <a:lnTo>
                      <a:pt x="8347" y="1983"/>
                    </a:lnTo>
                    <a:cubicBezTo>
                      <a:pt x="8383" y="1947"/>
                      <a:pt x="8395" y="1899"/>
                      <a:pt x="8395" y="1864"/>
                    </a:cubicBezTo>
                    <a:cubicBezTo>
                      <a:pt x="8430" y="1816"/>
                      <a:pt x="8406" y="1768"/>
                      <a:pt x="8383" y="1721"/>
                    </a:cubicBezTo>
                    <a:lnTo>
                      <a:pt x="6716" y="54"/>
                    </a:lnTo>
                    <a:cubicBezTo>
                      <a:pt x="6674" y="18"/>
                      <a:pt x="6629" y="0"/>
                      <a:pt x="6585" y="0"/>
                    </a:cubicBezTo>
                    <a:close/>
                  </a:path>
                </a:pathLst>
              </a:custGeom>
              <a:solidFill>
                <a:srgbClr val="E3E9ED"/>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374" name="Google Shape;8374;p106"/>
              <p:cNvSpPr/>
              <p:nvPr/>
            </p:nvSpPr>
            <p:spPr>
              <a:xfrm>
                <a:off x="1819181" y="4031425"/>
                <a:ext cx="60030" cy="35796"/>
              </a:xfrm>
              <a:custGeom>
                <a:avLst/>
                <a:gdLst/>
                <a:ahLst/>
                <a:cxnLst/>
                <a:rect l="l" t="t" r="r" b="b"/>
                <a:pathLst>
                  <a:path w="9336" h="5567" extrusionOk="0">
                    <a:moveTo>
                      <a:pt x="1876" y="0"/>
                    </a:moveTo>
                    <a:cubicBezTo>
                      <a:pt x="1831" y="0"/>
                      <a:pt x="1787" y="18"/>
                      <a:pt x="1751" y="54"/>
                    </a:cubicBezTo>
                    <a:lnTo>
                      <a:pt x="84" y="1721"/>
                    </a:lnTo>
                    <a:cubicBezTo>
                      <a:pt x="1" y="1804"/>
                      <a:pt x="1" y="1899"/>
                      <a:pt x="84" y="1983"/>
                    </a:cubicBezTo>
                    <a:lnTo>
                      <a:pt x="3263" y="5162"/>
                    </a:lnTo>
                    <a:cubicBezTo>
                      <a:pt x="3513" y="5412"/>
                      <a:pt x="3858" y="5566"/>
                      <a:pt x="4215" y="5566"/>
                    </a:cubicBezTo>
                    <a:cubicBezTo>
                      <a:pt x="4573" y="5566"/>
                      <a:pt x="4918" y="5435"/>
                      <a:pt x="5168" y="5162"/>
                    </a:cubicBezTo>
                    <a:lnTo>
                      <a:pt x="9252" y="1090"/>
                    </a:lnTo>
                    <a:cubicBezTo>
                      <a:pt x="9335" y="1006"/>
                      <a:pt x="9335" y="887"/>
                      <a:pt x="9276" y="828"/>
                    </a:cubicBezTo>
                    <a:cubicBezTo>
                      <a:pt x="9240" y="792"/>
                      <a:pt x="9195" y="774"/>
                      <a:pt x="9151" y="774"/>
                    </a:cubicBezTo>
                    <a:cubicBezTo>
                      <a:pt x="9106" y="774"/>
                      <a:pt x="9061" y="792"/>
                      <a:pt x="9026" y="828"/>
                    </a:cubicBezTo>
                    <a:lnTo>
                      <a:pt x="4942" y="4912"/>
                    </a:lnTo>
                    <a:cubicBezTo>
                      <a:pt x="4751" y="5102"/>
                      <a:pt x="4501" y="5209"/>
                      <a:pt x="4227" y="5209"/>
                    </a:cubicBezTo>
                    <a:cubicBezTo>
                      <a:pt x="3965" y="5209"/>
                      <a:pt x="3715" y="5102"/>
                      <a:pt x="3513" y="4912"/>
                    </a:cubicBezTo>
                    <a:lnTo>
                      <a:pt x="453" y="1840"/>
                    </a:lnTo>
                    <a:lnTo>
                      <a:pt x="1870" y="435"/>
                    </a:lnTo>
                    <a:lnTo>
                      <a:pt x="2370" y="935"/>
                    </a:lnTo>
                    <a:cubicBezTo>
                      <a:pt x="2406" y="971"/>
                      <a:pt x="2450" y="988"/>
                      <a:pt x="2495" y="988"/>
                    </a:cubicBezTo>
                    <a:cubicBezTo>
                      <a:pt x="2540" y="988"/>
                      <a:pt x="2584" y="971"/>
                      <a:pt x="2620" y="935"/>
                    </a:cubicBezTo>
                    <a:cubicBezTo>
                      <a:pt x="2703" y="863"/>
                      <a:pt x="2703" y="756"/>
                      <a:pt x="2620" y="685"/>
                    </a:cubicBezTo>
                    <a:lnTo>
                      <a:pt x="2001" y="54"/>
                    </a:lnTo>
                    <a:cubicBezTo>
                      <a:pt x="1965" y="18"/>
                      <a:pt x="1920" y="0"/>
                      <a:pt x="1876" y="0"/>
                    </a:cubicBezTo>
                    <a:close/>
                  </a:path>
                </a:pathLst>
              </a:custGeom>
              <a:solidFill>
                <a:srgbClr val="E3E9ED"/>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375" name="Google Shape;8375;p106"/>
              <p:cNvSpPr/>
              <p:nvPr/>
            </p:nvSpPr>
            <p:spPr>
              <a:xfrm>
                <a:off x="1837096" y="4013433"/>
                <a:ext cx="54211" cy="34568"/>
              </a:xfrm>
              <a:custGeom>
                <a:avLst/>
                <a:gdLst/>
                <a:ahLst/>
                <a:cxnLst/>
                <a:rect l="l" t="t" r="r" b="b"/>
                <a:pathLst>
                  <a:path w="8431" h="5376" extrusionOk="0">
                    <a:moveTo>
                      <a:pt x="6585" y="0"/>
                    </a:moveTo>
                    <a:cubicBezTo>
                      <a:pt x="6540" y="0"/>
                      <a:pt x="6495" y="18"/>
                      <a:pt x="6454" y="54"/>
                    </a:cubicBezTo>
                    <a:lnTo>
                      <a:pt x="1548" y="4971"/>
                    </a:lnTo>
                    <a:cubicBezTo>
                      <a:pt x="1513" y="4995"/>
                      <a:pt x="1477" y="5007"/>
                      <a:pt x="1429" y="5007"/>
                    </a:cubicBezTo>
                    <a:cubicBezTo>
                      <a:pt x="1382" y="5007"/>
                      <a:pt x="1346" y="4995"/>
                      <a:pt x="1310" y="4971"/>
                    </a:cubicBezTo>
                    <a:lnTo>
                      <a:pt x="334" y="3983"/>
                    </a:lnTo>
                    <a:cubicBezTo>
                      <a:pt x="292" y="3947"/>
                      <a:pt x="248" y="3929"/>
                      <a:pt x="203" y="3929"/>
                    </a:cubicBezTo>
                    <a:cubicBezTo>
                      <a:pt x="158" y="3929"/>
                      <a:pt x="114" y="3947"/>
                      <a:pt x="72" y="3983"/>
                    </a:cubicBezTo>
                    <a:cubicBezTo>
                      <a:pt x="1" y="4054"/>
                      <a:pt x="1" y="4161"/>
                      <a:pt x="72" y="4245"/>
                    </a:cubicBezTo>
                    <a:lnTo>
                      <a:pt x="1060" y="5221"/>
                    </a:lnTo>
                    <a:cubicBezTo>
                      <a:pt x="1156" y="5328"/>
                      <a:pt x="1275" y="5376"/>
                      <a:pt x="1417" y="5376"/>
                    </a:cubicBezTo>
                    <a:cubicBezTo>
                      <a:pt x="1548" y="5376"/>
                      <a:pt x="1679" y="5316"/>
                      <a:pt x="1775" y="5221"/>
                    </a:cubicBezTo>
                    <a:lnTo>
                      <a:pt x="6549" y="447"/>
                    </a:lnTo>
                    <a:lnTo>
                      <a:pt x="7966" y="1852"/>
                    </a:lnTo>
                    <a:lnTo>
                      <a:pt x="6704" y="3126"/>
                    </a:lnTo>
                    <a:cubicBezTo>
                      <a:pt x="6621" y="3197"/>
                      <a:pt x="6621" y="3304"/>
                      <a:pt x="6704" y="3376"/>
                    </a:cubicBezTo>
                    <a:cubicBezTo>
                      <a:pt x="6740" y="3411"/>
                      <a:pt x="6784" y="3429"/>
                      <a:pt x="6829" y="3429"/>
                    </a:cubicBezTo>
                    <a:cubicBezTo>
                      <a:pt x="6874" y="3429"/>
                      <a:pt x="6918" y="3411"/>
                      <a:pt x="6954" y="3376"/>
                    </a:cubicBezTo>
                    <a:lnTo>
                      <a:pt x="8347" y="1983"/>
                    </a:lnTo>
                    <a:cubicBezTo>
                      <a:pt x="8383" y="1947"/>
                      <a:pt x="8395" y="1899"/>
                      <a:pt x="8395" y="1864"/>
                    </a:cubicBezTo>
                    <a:cubicBezTo>
                      <a:pt x="8430" y="1816"/>
                      <a:pt x="8406" y="1768"/>
                      <a:pt x="8383" y="1721"/>
                    </a:cubicBezTo>
                    <a:lnTo>
                      <a:pt x="6716" y="54"/>
                    </a:lnTo>
                    <a:cubicBezTo>
                      <a:pt x="6674" y="18"/>
                      <a:pt x="6629" y="0"/>
                      <a:pt x="6585" y="0"/>
                    </a:cubicBezTo>
                    <a:close/>
                  </a:path>
                </a:pathLst>
              </a:custGeom>
              <a:solidFill>
                <a:srgbClr val="E3E9ED"/>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376" name="Google Shape;8376;p106"/>
              <p:cNvSpPr/>
              <p:nvPr/>
            </p:nvSpPr>
            <p:spPr>
              <a:xfrm>
                <a:off x="1478676" y="4008202"/>
                <a:ext cx="41351" cy="64313"/>
              </a:xfrm>
              <a:custGeom>
                <a:avLst/>
                <a:gdLst/>
                <a:ahLst/>
                <a:cxnLst/>
                <a:rect l="l" t="t" r="r" b="b"/>
                <a:pathLst>
                  <a:path w="6431" h="10002" extrusionOk="0">
                    <a:moveTo>
                      <a:pt x="4025" y="0"/>
                    </a:moveTo>
                    <a:cubicBezTo>
                      <a:pt x="3870" y="0"/>
                      <a:pt x="3704" y="60"/>
                      <a:pt x="3608" y="179"/>
                    </a:cubicBezTo>
                    <a:lnTo>
                      <a:pt x="1465" y="2322"/>
                    </a:lnTo>
                    <a:lnTo>
                      <a:pt x="299" y="1167"/>
                    </a:lnTo>
                    <a:cubicBezTo>
                      <a:pt x="269" y="1138"/>
                      <a:pt x="227" y="1123"/>
                      <a:pt x="184" y="1123"/>
                    </a:cubicBezTo>
                    <a:cubicBezTo>
                      <a:pt x="141" y="1123"/>
                      <a:pt x="96" y="1138"/>
                      <a:pt x="60" y="1167"/>
                    </a:cubicBezTo>
                    <a:cubicBezTo>
                      <a:pt x="1" y="1227"/>
                      <a:pt x="1" y="1322"/>
                      <a:pt x="60" y="1405"/>
                    </a:cubicBezTo>
                    <a:lnTo>
                      <a:pt x="1346" y="2679"/>
                    </a:lnTo>
                    <a:cubicBezTo>
                      <a:pt x="1370" y="2715"/>
                      <a:pt x="1418" y="2727"/>
                      <a:pt x="1465" y="2727"/>
                    </a:cubicBezTo>
                    <a:cubicBezTo>
                      <a:pt x="1501" y="2727"/>
                      <a:pt x="1549" y="2715"/>
                      <a:pt x="1584" y="2679"/>
                    </a:cubicBezTo>
                    <a:lnTo>
                      <a:pt x="3847" y="417"/>
                    </a:lnTo>
                    <a:cubicBezTo>
                      <a:pt x="3882" y="370"/>
                      <a:pt x="3966" y="346"/>
                      <a:pt x="4037" y="346"/>
                    </a:cubicBezTo>
                    <a:cubicBezTo>
                      <a:pt x="4109" y="346"/>
                      <a:pt x="4168" y="370"/>
                      <a:pt x="4228" y="417"/>
                    </a:cubicBezTo>
                    <a:lnTo>
                      <a:pt x="6049" y="2239"/>
                    </a:lnTo>
                    <a:cubicBezTo>
                      <a:pt x="6085" y="2275"/>
                      <a:pt x="6121" y="2358"/>
                      <a:pt x="6121" y="2429"/>
                    </a:cubicBezTo>
                    <a:cubicBezTo>
                      <a:pt x="6121" y="2501"/>
                      <a:pt x="6085" y="2560"/>
                      <a:pt x="6049" y="2620"/>
                    </a:cubicBezTo>
                    <a:lnTo>
                      <a:pt x="3775" y="4882"/>
                    </a:lnTo>
                    <a:cubicBezTo>
                      <a:pt x="3716" y="4942"/>
                      <a:pt x="3716" y="5049"/>
                      <a:pt x="3775" y="5120"/>
                    </a:cubicBezTo>
                    <a:lnTo>
                      <a:pt x="6049" y="7382"/>
                    </a:lnTo>
                    <a:cubicBezTo>
                      <a:pt x="6085" y="7430"/>
                      <a:pt x="6121" y="7501"/>
                      <a:pt x="6121" y="7573"/>
                    </a:cubicBezTo>
                    <a:cubicBezTo>
                      <a:pt x="6121" y="7656"/>
                      <a:pt x="6085" y="7716"/>
                      <a:pt x="6049" y="7775"/>
                    </a:cubicBezTo>
                    <a:lnTo>
                      <a:pt x="4228" y="9585"/>
                    </a:lnTo>
                    <a:cubicBezTo>
                      <a:pt x="4174" y="9639"/>
                      <a:pt x="4103" y="9665"/>
                      <a:pt x="4033" y="9665"/>
                    </a:cubicBezTo>
                    <a:cubicBezTo>
                      <a:pt x="3963" y="9665"/>
                      <a:pt x="3894" y="9639"/>
                      <a:pt x="3847" y="9585"/>
                    </a:cubicBezTo>
                    <a:lnTo>
                      <a:pt x="2989" y="8740"/>
                    </a:lnTo>
                    <a:cubicBezTo>
                      <a:pt x="2960" y="8710"/>
                      <a:pt x="2921" y="8695"/>
                      <a:pt x="2879" y="8695"/>
                    </a:cubicBezTo>
                    <a:cubicBezTo>
                      <a:pt x="2838" y="8695"/>
                      <a:pt x="2793" y="8710"/>
                      <a:pt x="2751" y="8740"/>
                    </a:cubicBezTo>
                    <a:cubicBezTo>
                      <a:pt x="2692" y="8799"/>
                      <a:pt x="2692" y="8906"/>
                      <a:pt x="2751" y="8978"/>
                    </a:cubicBezTo>
                    <a:lnTo>
                      <a:pt x="3608" y="9823"/>
                    </a:lnTo>
                    <a:cubicBezTo>
                      <a:pt x="3728" y="9942"/>
                      <a:pt x="3870" y="10002"/>
                      <a:pt x="4025" y="10002"/>
                    </a:cubicBezTo>
                    <a:cubicBezTo>
                      <a:pt x="4168" y="10002"/>
                      <a:pt x="4335" y="9942"/>
                      <a:pt x="4442" y="9823"/>
                    </a:cubicBezTo>
                    <a:lnTo>
                      <a:pt x="6252" y="8013"/>
                    </a:lnTo>
                    <a:cubicBezTo>
                      <a:pt x="6371" y="7894"/>
                      <a:pt x="6430" y="7740"/>
                      <a:pt x="6430" y="7597"/>
                    </a:cubicBezTo>
                    <a:cubicBezTo>
                      <a:pt x="6430" y="7430"/>
                      <a:pt x="6371" y="7275"/>
                      <a:pt x="6252" y="7180"/>
                    </a:cubicBezTo>
                    <a:lnTo>
                      <a:pt x="4109" y="4977"/>
                    </a:lnTo>
                    <a:lnTo>
                      <a:pt x="6252" y="2834"/>
                    </a:lnTo>
                    <a:cubicBezTo>
                      <a:pt x="6371" y="2715"/>
                      <a:pt x="6430" y="2560"/>
                      <a:pt x="6430" y="2417"/>
                    </a:cubicBezTo>
                    <a:cubicBezTo>
                      <a:pt x="6430" y="2251"/>
                      <a:pt x="6371" y="2096"/>
                      <a:pt x="6252" y="2001"/>
                    </a:cubicBezTo>
                    <a:lnTo>
                      <a:pt x="4442" y="179"/>
                    </a:lnTo>
                    <a:cubicBezTo>
                      <a:pt x="4323" y="60"/>
                      <a:pt x="4168" y="0"/>
                      <a:pt x="4025" y="0"/>
                    </a:cubicBezTo>
                    <a:close/>
                  </a:path>
                </a:pathLst>
              </a:custGeom>
              <a:solidFill>
                <a:srgbClr val="E3E9ED"/>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377" name="Google Shape;8377;p106"/>
              <p:cNvSpPr/>
              <p:nvPr/>
            </p:nvSpPr>
            <p:spPr>
              <a:xfrm>
                <a:off x="1455707" y="4007971"/>
                <a:ext cx="39512" cy="64165"/>
              </a:xfrm>
              <a:custGeom>
                <a:avLst/>
                <a:gdLst/>
                <a:ahLst/>
                <a:cxnLst/>
                <a:rect l="l" t="t" r="r" b="b"/>
                <a:pathLst>
                  <a:path w="6145" h="9979" extrusionOk="0">
                    <a:moveTo>
                      <a:pt x="2477" y="1"/>
                    </a:moveTo>
                    <a:cubicBezTo>
                      <a:pt x="2311" y="1"/>
                      <a:pt x="2156" y="60"/>
                      <a:pt x="2061" y="179"/>
                    </a:cubicBezTo>
                    <a:lnTo>
                      <a:pt x="239" y="2001"/>
                    </a:lnTo>
                    <a:cubicBezTo>
                      <a:pt x="1" y="2239"/>
                      <a:pt x="1" y="2608"/>
                      <a:pt x="239" y="2846"/>
                    </a:cubicBezTo>
                    <a:lnTo>
                      <a:pt x="2382" y="4989"/>
                    </a:lnTo>
                    <a:lnTo>
                      <a:pt x="239" y="7133"/>
                    </a:lnTo>
                    <a:cubicBezTo>
                      <a:pt x="1" y="7371"/>
                      <a:pt x="1" y="7752"/>
                      <a:pt x="239" y="7990"/>
                    </a:cubicBezTo>
                    <a:lnTo>
                      <a:pt x="2061" y="9800"/>
                    </a:lnTo>
                    <a:cubicBezTo>
                      <a:pt x="2180" y="9919"/>
                      <a:pt x="2323" y="9978"/>
                      <a:pt x="2477" y="9978"/>
                    </a:cubicBezTo>
                    <a:cubicBezTo>
                      <a:pt x="2620" y="9978"/>
                      <a:pt x="2787" y="9919"/>
                      <a:pt x="2882" y="9800"/>
                    </a:cubicBezTo>
                    <a:lnTo>
                      <a:pt x="5037" y="7656"/>
                    </a:lnTo>
                    <a:lnTo>
                      <a:pt x="5859" y="8490"/>
                    </a:lnTo>
                    <a:cubicBezTo>
                      <a:pt x="5895" y="8520"/>
                      <a:pt x="5936" y="8535"/>
                      <a:pt x="5978" y="8535"/>
                    </a:cubicBezTo>
                    <a:cubicBezTo>
                      <a:pt x="6020" y="8535"/>
                      <a:pt x="6061" y="8520"/>
                      <a:pt x="6097" y="8490"/>
                    </a:cubicBezTo>
                    <a:cubicBezTo>
                      <a:pt x="6145" y="8430"/>
                      <a:pt x="6145" y="8323"/>
                      <a:pt x="6085" y="8264"/>
                    </a:cubicBezTo>
                    <a:lnTo>
                      <a:pt x="5156" y="7335"/>
                    </a:lnTo>
                    <a:cubicBezTo>
                      <a:pt x="5121" y="7299"/>
                      <a:pt x="5073" y="7287"/>
                      <a:pt x="5037" y="7287"/>
                    </a:cubicBezTo>
                    <a:cubicBezTo>
                      <a:pt x="4990" y="7287"/>
                      <a:pt x="4942" y="7299"/>
                      <a:pt x="4918" y="7335"/>
                    </a:cubicBezTo>
                    <a:lnTo>
                      <a:pt x="2656" y="9597"/>
                    </a:lnTo>
                    <a:cubicBezTo>
                      <a:pt x="2608" y="9633"/>
                      <a:pt x="2537" y="9669"/>
                      <a:pt x="2454" y="9669"/>
                    </a:cubicBezTo>
                    <a:cubicBezTo>
                      <a:pt x="2382" y="9669"/>
                      <a:pt x="2323" y="9633"/>
                      <a:pt x="2263" y="9597"/>
                    </a:cubicBezTo>
                    <a:lnTo>
                      <a:pt x="453" y="7776"/>
                    </a:lnTo>
                    <a:cubicBezTo>
                      <a:pt x="346" y="7668"/>
                      <a:pt x="346" y="7490"/>
                      <a:pt x="453" y="7395"/>
                    </a:cubicBezTo>
                    <a:lnTo>
                      <a:pt x="2716" y="5132"/>
                    </a:lnTo>
                    <a:cubicBezTo>
                      <a:pt x="2739" y="5097"/>
                      <a:pt x="2751" y="5049"/>
                      <a:pt x="2751" y="5013"/>
                    </a:cubicBezTo>
                    <a:cubicBezTo>
                      <a:pt x="2751" y="4966"/>
                      <a:pt x="2739" y="4918"/>
                      <a:pt x="2716" y="4894"/>
                    </a:cubicBezTo>
                    <a:lnTo>
                      <a:pt x="453" y="2632"/>
                    </a:lnTo>
                    <a:cubicBezTo>
                      <a:pt x="346" y="2525"/>
                      <a:pt x="346" y="2346"/>
                      <a:pt x="453" y="2239"/>
                    </a:cubicBezTo>
                    <a:lnTo>
                      <a:pt x="2263" y="417"/>
                    </a:lnTo>
                    <a:cubicBezTo>
                      <a:pt x="2311" y="382"/>
                      <a:pt x="2382" y="346"/>
                      <a:pt x="2454" y="346"/>
                    </a:cubicBezTo>
                    <a:cubicBezTo>
                      <a:pt x="2537" y="346"/>
                      <a:pt x="2597" y="382"/>
                      <a:pt x="2656" y="417"/>
                    </a:cubicBezTo>
                    <a:lnTo>
                      <a:pt x="3168" y="941"/>
                    </a:lnTo>
                    <a:cubicBezTo>
                      <a:pt x="3198" y="971"/>
                      <a:pt x="3239" y="986"/>
                      <a:pt x="3283" y="986"/>
                    </a:cubicBezTo>
                    <a:cubicBezTo>
                      <a:pt x="3326" y="986"/>
                      <a:pt x="3370" y="971"/>
                      <a:pt x="3406" y="941"/>
                    </a:cubicBezTo>
                    <a:cubicBezTo>
                      <a:pt x="3466" y="882"/>
                      <a:pt x="3466" y="775"/>
                      <a:pt x="3406" y="703"/>
                    </a:cubicBezTo>
                    <a:lnTo>
                      <a:pt x="2882" y="179"/>
                    </a:lnTo>
                    <a:cubicBezTo>
                      <a:pt x="2775" y="60"/>
                      <a:pt x="2620" y="1"/>
                      <a:pt x="2477" y="1"/>
                    </a:cubicBezTo>
                    <a:close/>
                  </a:path>
                </a:pathLst>
              </a:custGeom>
              <a:solidFill>
                <a:srgbClr val="E3E9ED"/>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378" name="Google Shape;8378;p106"/>
              <p:cNvSpPr/>
              <p:nvPr/>
            </p:nvSpPr>
            <p:spPr>
              <a:xfrm>
                <a:off x="1841579" y="3655090"/>
                <a:ext cx="41351" cy="64313"/>
              </a:xfrm>
              <a:custGeom>
                <a:avLst/>
                <a:gdLst/>
                <a:ahLst/>
                <a:cxnLst/>
                <a:rect l="l" t="t" r="r" b="b"/>
                <a:pathLst>
                  <a:path w="6431" h="10002" extrusionOk="0">
                    <a:moveTo>
                      <a:pt x="4025" y="0"/>
                    </a:moveTo>
                    <a:cubicBezTo>
                      <a:pt x="3870" y="0"/>
                      <a:pt x="3704" y="60"/>
                      <a:pt x="3608" y="179"/>
                    </a:cubicBezTo>
                    <a:lnTo>
                      <a:pt x="1465" y="2322"/>
                    </a:lnTo>
                    <a:lnTo>
                      <a:pt x="299" y="1167"/>
                    </a:lnTo>
                    <a:cubicBezTo>
                      <a:pt x="269" y="1138"/>
                      <a:pt x="227" y="1123"/>
                      <a:pt x="184" y="1123"/>
                    </a:cubicBezTo>
                    <a:cubicBezTo>
                      <a:pt x="141" y="1123"/>
                      <a:pt x="96" y="1138"/>
                      <a:pt x="60" y="1167"/>
                    </a:cubicBezTo>
                    <a:cubicBezTo>
                      <a:pt x="1" y="1227"/>
                      <a:pt x="1" y="1322"/>
                      <a:pt x="60" y="1405"/>
                    </a:cubicBezTo>
                    <a:lnTo>
                      <a:pt x="1346" y="2679"/>
                    </a:lnTo>
                    <a:cubicBezTo>
                      <a:pt x="1370" y="2715"/>
                      <a:pt x="1418" y="2727"/>
                      <a:pt x="1465" y="2727"/>
                    </a:cubicBezTo>
                    <a:cubicBezTo>
                      <a:pt x="1501" y="2727"/>
                      <a:pt x="1549" y="2715"/>
                      <a:pt x="1584" y="2679"/>
                    </a:cubicBezTo>
                    <a:lnTo>
                      <a:pt x="3847" y="417"/>
                    </a:lnTo>
                    <a:cubicBezTo>
                      <a:pt x="3882" y="370"/>
                      <a:pt x="3966" y="346"/>
                      <a:pt x="4037" y="346"/>
                    </a:cubicBezTo>
                    <a:cubicBezTo>
                      <a:pt x="4109" y="346"/>
                      <a:pt x="4168" y="370"/>
                      <a:pt x="4228" y="417"/>
                    </a:cubicBezTo>
                    <a:lnTo>
                      <a:pt x="6049" y="2239"/>
                    </a:lnTo>
                    <a:cubicBezTo>
                      <a:pt x="6085" y="2275"/>
                      <a:pt x="6121" y="2358"/>
                      <a:pt x="6121" y="2429"/>
                    </a:cubicBezTo>
                    <a:cubicBezTo>
                      <a:pt x="6121" y="2501"/>
                      <a:pt x="6085" y="2560"/>
                      <a:pt x="6049" y="2620"/>
                    </a:cubicBezTo>
                    <a:lnTo>
                      <a:pt x="3775" y="4882"/>
                    </a:lnTo>
                    <a:cubicBezTo>
                      <a:pt x="3716" y="4942"/>
                      <a:pt x="3716" y="5049"/>
                      <a:pt x="3775" y="5120"/>
                    </a:cubicBezTo>
                    <a:lnTo>
                      <a:pt x="6049" y="7382"/>
                    </a:lnTo>
                    <a:cubicBezTo>
                      <a:pt x="6085" y="7430"/>
                      <a:pt x="6121" y="7501"/>
                      <a:pt x="6121" y="7573"/>
                    </a:cubicBezTo>
                    <a:cubicBezTo>
                      <a:pt x="6121" y="7656"/>
                      <a:pt x="6085" y="7716"/>
                      <a:pt x="6049" y="7775"/>
                    </a:cubicBezTo>
                    <a:lnTo>
                      <a:pt x="4228" y="9585"/>
                    </a:lnTo>
                    <a:cubicBezTo>
                      <a:pt x="4174" y="9639"/>
                      <a:pt x="4103" y="9665"/>
                      <a:pt x="4033" y="9665"/>
                    </a:cubicBezTo>
                    <a:cubicBezTo>
                      <a:pt x="3963" y="9665"/>
                      <a:pt x="3894" y="9639"/>
                      <a:pt x="3847" y="9585"/>
                    </a:cubicBezTo>
                    <a:lnTo>
                      <a:pt x="2989" y="8740"/>
                    </a:lnTo>
                    <a:cubicBezTo>
                      <a:pt x="2960" y="8710"/>
                      <a:pt x="2921" y="8695"/>
                      <a:pt x="2879" y="8695"/>
                    </a:cubicBezTo>
                    <a:cubicBezTo>
                      <a:pt x="2838" y="8695"/>
                      <a:pt x="2793" y="8710"/>
                      <a:pt x="2751" y="8740"/>
                    </a:cubicBezTo>
                    <a:cubicBezTo>
                      <a:pt x="2692" y="8799"/>
                      <a:pt x="2692" y="8906"/>
                      <a:pt x="2751" y="8978"/>
                    </a:cubicBezTo>
                    <a:lnTo>
                      <a:pt x="3608" y="9823"/>
                    </a:lnTo>
                    <a:cubicBezTo>
                      <a:pt x="3728" y="9942"/>
                      <a:pt x="3870" y="10002"/>
                      <a:pt x="4025" y="10002"/>
                    </a:cubicBezTo>
                    <a:cubicBezTo>
                      <a:pt x="4168" y="10002"/>
                      <a:pt x="4335" y="9942"/>
                      <a:pt x="4442" y="9823"/>
                    </a:cubicBezTo>
                    <a:lnTo>
                      <a:pt x="6252" y="8013"/>
                    </a:lnTo>
                    <a:cubicBezTo>
                      <a:pt x="6371" y="7894"/>
                      <a:pt x="6430" y="7740"/>
                      <a:pt x="6430" y="7597"/>
                    </a:cubicBezTo>
                    <a:cubicBezTo>
                      <a:pt x="6430" y="7430"/>
                      <a:pt x="6371" y="7275"/>
                      <a:pt x="6252" y="7180"/>
                    </a:cubicBezTo>
                    <a:lnTo>
                      <a:pt x="4109" y="4977"/>
                    </a:lnTo>
                    <a:lnTo>
                      <a:pt x="6252" y="2834"/>
                    </a:lnTo>
                    <a:cubicBezTo>
                      <a:pt x="6371" y="2715"/>
                      <a:pt x="6430" y="2560"/>
                      <a:pt x="6430" y="2417"/>
                    </a:cubicBezTo>
                    <a:cubicBezTo>
                      <a:pt x="6430" y="2251"/>
                      <a:pt x="6371" y="2096"/>
                      <a:pt x="6252" y="2001"/>
                    </a:cubicBezTo>
                    <a:lnTo>
                      <a:pt x="4442" y="179"/>
                    </a:lnTo>
                    <a:cubicBezTo>
                      <a:pt x="4323" y="60"/>
                      <a:pt x="4168" y="0"/>
                      <a:pt x="4025" y="0"/>
                    </a:cubicBezTo>
                    <a:close/>
                  </a:path>
                </a:pathLst>
              </a:custGeom>
              <a:solidFill>
                <a:srgbClr val="E3E9ED"/>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379" name="Google Shape;8379;p106"/>
              <p:cNvSpPr/>
              <p:nvPr/>
            </p:nvSpPr>
            <p:spPr>
              <a:xfrm>
                <a:off x="1818610" y="3654858"/>
                <a:ext cx="39512" cy="64165"/>
              </a:xfrm>
              <a:custGeom>
                <a:avLst/>
                <a:gdLst/>
                <a:ahLst/>
                <a:cxnLst/>
                <a:rect l="l" t="t" r="r" b="b"/>
                <a:pathLst>
                  <a:path w="6145" h="9979" extrusionOk="0">
                    <a:moveTo>
                      <a:pt x="2477" y="1"/>
                    </a:moveTo>
                    <a:cubicBezTo>
                      <a:pt x="2311" y="1"/>
                      <a:pt x="2156" y="60"/>
                      <a:pt x="2061" y="179"/>
                    </a:cubicBezTo>
                    <a:lnTo>
                      <a:pt x="239" y="2001"/>
                    </a:lnTo>
                    <a:cubicBezTo>
                      <a:pt x="1" y="2239"/>
                      <a:pt x="1" y="2608"/>
                      <a:pt x="239" y="2846"/>
                    </a:cubicBezTo>
                    <a:lnTo>
                      <a:pt x="2382" y="4989"/>
                    </a:lnTo>
                    <a:lnTo>
                      <a:pt x="239" y="7133"/>
                    </a:lnTo>
                    <a:cubicBezTo>
                      <a:pt x="1" y="7371"/>
                      <a:pt x="1" y="7752"/>
                      <a:pt x="239" y="7990"/>
                    </a:cubicBezTo>
                    <a:lnTo>
                      <a:pt x="2061" y="9800"/>
                    </a:lnTo>
                    <a:cubicBezTo>
                      <a:pt x="2180" y="9919"/>
                      <a:pt x="2323" y="9978"/>
                      <a:pt x="2477" y="9978"/>
                    </a:cubicBezTo>
                    <a:cubicBezTo>
                      <a:pt x="2620" y="9978"/>
                      <a:pt x="2787" y="9919"/>
                      <a:pt x="2882" y="9800"/>
                    </a:cubicBezTo>
                    <a:lnTo>
                      <a:pt x="5037" y="7656"/>
                    </a:lnTo>
                    <a:lnTo>
                      <a:pt x="5859" y="8490"/>
                    </a:lnTo>
                    <a:cubicBezTo>
                      <a:pt x="5895" y="8520"/>
                      <a:pt x="5936" y="8535"/>
                      <a:pt x="5978" y="8535"/>
                    </a:cubicBezTo>
                    <a:cubicBezTo>
                      <a:pt x="6020" y="8535"/>
                      <a:pt x="6061" y="8520"/>
                      <a:pt x="6097" y="8490"/>
                    </a:cubicBezTo>
                    <a:cubicBezTo>
                      <a:pt x="6145" y="8430"/>
                      <a:pt x="6145" y="8323"/>
                      <a:pt x="6085" y="8264"/>
                    </a:cubicBezTo>
                    <a:lnTo>
                      <a:pt x="5156" y="7335"/>
                    </a:lnTo>
                    <a:cubicBezTo>
                      <a:pt x="5121" y="7299"/>
                      <a:pt x="5073" y="7287"/>
                      <a:pt x="5037" y="7287"/>
                    </a:cubicBezTo>
                    <a:cubicBezTo>
                      <a:pt x="4990" y="7287"/>
                      <a:pt x="4942" y="7299"/>
                      <a:pt x="4918" y="7335"/>
                    </a:cubicBezTo>
                    <a:lnTo>
                      <a:pt x="2656" y="9597"/>
                    </a:lnTo>
                    <a:cubicBezTo>
                      <a:pt x="2608" y="9633"/>
                      <a:pt x="2537" y="9669"/>
                      <a:pt x="2454" y="9669"/>
                    </a:cubicBezTo>
                    <a:cubicBezTo>
                      <a:pt x="2382" y="9669"/>
                      <a:pt x="2323" y="9633"/>
                      <a:pt x="2263" y="9597"/>
                    </a:cubicBezTo>
                    <a:lnTo>
                      <a:pt x="453" y="7776"/>
                    </a:lnTo>
                    <a:cubicBezTo>
                      <a:pt x="346" y="7668"/>
                      <a:pt x="346" y="7490"/>
                      <a:pt x="453" y="7395"/>
                    </a:cubicBezTo>
                    <a:lnTo>
                      <a:pt x="2716" y="5132"/>
                    </a:lnTo>
                    <a:cubicBezTo>
                      <a:pt x="2739" y="5097"/>
                      <a:pt x="2751" y="5049"/>
                      <a:pt x="2751" y="5013"/>
                    </a:cubicBezTo>
                    <a:cubicBezTo>
                      <a:pt x="2751" y="4966"/>
                      <a:pt x="2739" y="4918"/>
                      <a:pt x="2716" y="4894"/>
                    </a:cubicBezTo>
                    <a:lnTo>
                      <a:pt x="453" y="2632"/>
                    </a:lnTo>
                    <a:cubicBezTo>
                      <a:pt x="346" y="2525"/>
                      <a:pt x="346" y="2346"/>
                      <a:pt x="453" y="2239"/>
                    </a:cubicBezTo>
                    <a:lnTo>
                      <a:pt x="2263" y="417"/>
                    </a:lnTo>
                    <a:cubicBezTo>
                      <a:pt x="2311" y="382"/>
                      <a:pt x="2382" y="346"/>
                      <a:pt x="2454" y="346"/>
                    </a:cubicBezTo>
                    <a:cubicBezTo>
                      <a:pt x="2537" y="346"/>
                      <a:pt x="2597" y="382"/>
                      <a:pt x="2656" y="417"/>
                    </a:cubicBezTo>
                    <a:lnTo>
                      <a:pt x="3168" y="941"/>
                    </a:lnTo>
                    <a:cubicBezTo>
                      <a:pt x="3198" y="971"/>
                      <a:pt x="3239" y="986"/>
                      <a:pt x="3283" y="986"/>
                    </a:cubicBezTo>
                    <a:cubicBezTo>
                      <a:pt x="3326" y="986"/>
                      <a:pt x="3370" y="971"/>
                      <a:pt x="3406" y="941"/>
                    </a:cubicBezTo>
                    <a:cubicBezTo>
                      <a:pt x="3466" y="882"/>
                      <a:pt x="3466" y="775"/>
                      <a:pt x="3406" y="703"/>
                    </a:cubicBezTo>
                    <a:lnTo>
                      <a:pt x="2882" y="179"/>
                    </a:lnTo>
                    <a:cubicBezTo>
                      <a:pt x="2775" y="60"/>
                      <a:pt x="2620" y="1"/>
                      <a:pt x="2477" y="1"/>
                    </a:cubicBezTo>
                    <a:close/>
                  </a:path>
                </a:pathLst>
              </a:custGeom>
              <a:solidFill>
                <a:srgbClr val="E3E9ED"/>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380" name="Google Shape;8380;p106"/>
              <p:cNvSpPr/>
              <p:nvPr/>
            </p:nvSpPr>
            <p:spPr>
              <a:xfrm>
                <a:off x="2172491" y="4031425"/>
                <a:ext cx="60030" cy="35796"/>
              </a:xfrm>
              <a:custGeom>
                <a:avLst/>
                <a:gdLst/>
                <a:ahLst/>
                <a:cxnLst/>
                <a:rect l="l" t="t" r="r" b="b"/>
                <a:pathLst>
                  <a:path w="9336" h="5567" extrusionOk="0">
                    <a:moveTo>
                      <a:pt x="1876" y="0"/>
                    </a:moveTo>
                    <a:cubicBezTo>
                      <a:pt x="1831" y="0"/>
                      <a:pt x="1787" y="18"/>
                      <a:pt x="1751" y="54"/>
                    </a:cubicBezTo>
                    <a:lnTo>
                      <a:pt x="84" y="1721"/>
                    </a:lnTo>
                    <a:cubicBezTo>
                      <a:pt x="1" y="1804"/>
                      <a:pt x="1" y="1899"/>
                      <a:pt x="84" y="1983"/>
                    </a:cubicBezTo>
                    <a:lnTo>
                      <a:pt x="3263" y="5162"/>
                    </a:lnTo>
                    <a:cubicBezTo>
                      <a:pt x="3513" y="5412"/>
                      <a:pt x="3858" y="5566"/>
                      <a:pt x="4215" y="5566"/>
                    </a:cubicBezTo>
                    <a:cubicBezTo>
                      <a:pt x="4573" y="5566"/>
                      <a:pt x="4918" y="5435"/>
                      <a:pt x="5168" y="5162"/>
                    </a:cubicBezTo>
                    <a:lnTo>
                      <a:pt x="9252" y="1090"/>
                    </a:lnTo>
                    <a:cubicBezTo>
                      <a:pt x="9335" y="1006"/>
                      <a:pt x="9335" y="887"/>
                      <a:pt x="9276" y="828"/>
                    </a:cubicBezTo>
                    <a:cubicBezTo>
                      <a:pt x="9240" y="792"/>
                      <a:pt x="9195" y="774"/>
                      <a:pt x="9151" y="774"/>
                    </a:cubicBezTo>
                    <a:cubicBezTo>
                      <a:pt x="9106" y="774"/>
                      <a:pt x="9061" y="792"/>
                      <a:pt x="9026" y="828"/>
                    </a:cubicBezTo>
                    <a:lnTo>
                      <a:pt x="4942" y="4912"/>
                    </a:lnTo>
                    <a:cubicBezTo>
                      <a:pt x="4751" y="5102"/>
                      <a:pt x="4501" y="5209"/>
                      <a:pt x="4227" y="5209"/>
                    </a:cubicBezTo>
                    <a:cubicBezTo>
                      <a:pt x="3965" y="5209"/>
                      <a:pt x="3715" y="5102"/>
                      <a:pt x="3513" y="4912"/>
                    </a:cubicBezTo>
                    <a:lnTo>
                      <a:pt x="453" y="1840"/>
                    </a:lnTo>
                    <a:lnTo>
                      <a:pt x="1870" y="435"/>
                    </a:lnTo>
                    <a:lnTo>
                      <a:pt x="2370" y="935"/>
                    </a:lnTo>
                    <a:cubicBezTo>
                      <a:pt x="2406" y="971"/>
                      <a:pt x="2450" y="988"/>
                      <a:pt x="2495" y="988"/>
                    </a:cubicBezTo>
                    <a:cubicBezTo>
                      <a:pt x="2540" y="988"/>
                      <a:pt x="2584" y="971"/>
                      <a:pt x="2620" y="935"/>
                    </a:cubicBezTo>
                    <a:cubicBezTo>
                      <a:pt x="2703" y="863"/>
                      <a:pt x="2703" y="756"/>
                      <a:pt x="2620" y="685"/>
                    </a:cubicBezTo>
                    <a:lnTo>
                      <a:pt x="2001" y="54"/>
                    </a:lnTo>
                    <a:cubicBezTo>
                      <a:pt x="1965" y="18"/>
                      <a:pt x="1920" y="0"/>
                      <a:pt x="1876" y="0"/>
                    </a:cubicBezTo>
                    <a:close/>
                  </a:path>
                </a:pathLst>
              </a:custGeom>
              <a:solidFill>
                <a:srgbClr val="E3E9ED"/>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381" name="Google Shape;8381;p106"/>
              <p:cNvSpPr/>
              <p:nvPr/>
            </p:nvSpPr>
            <p:spPr>
              <a:xfrm>
                <a:off x="2190406" y="4013433"/>
                <a:ext cx="54211" cy="34568"/>
              </a:xfrm>
              <a:custGeom>
                <a:avLst/>
                <a:gdLst/>
                <a:ahLst/>
                <a:cxnLst/>
                <a:rect l="l" t="t" r="r" b="b"/>
                <a:pathLst>
                  <a:path w="8431" h="5376" extrusionOk="0">
                    <a:moveTo>
                      <a:pt x="6585" y="0"/>
                    </a:moveTo>
                    <a:cubicBezTo>
                      <a:pt x="6540" y="0"/>
                      <a:pt x="6495" y="18"/>
                      <a:pt x="6454" y="54"/>
                    </a:cubicBezTo>
                    <a:lnTo>
                      <a:pt x="1548" y="4971"/>
                    </a:lnTo>
                    <a:cubicBezTo>
                      <a:pt x="1513" y="4995"/>
                      <a:pt x="1477" y="5007"/>
                      <a:pt x="1429" y="5007"/>
                    </a:cubicBezTo>
                    <a:cubicBezTo>
                      <a:pt x="1382" y="5007"/>
                      <a:pt x="1346" y="4995"/>
                      <a:pt x="1310" y="4971"/>
                    </a:cubicBezTo>
                    <a:lnTo>
                      <a:pt x="334" y="3983"/>
                    </a:lnTo>
                    <a:cubicBezTo>
                      <a:pt x="292" y="3947"/>
                      <a:pt x="248" y="3929"/>
                      <a:pt x="203" y="3929"/>
                    </a:cubicBezTo>
                    <a:cubicBezTo>
                      <a:pt x="158" y="3929"/>
                      <a:pt x="114" y="3947"/>
                      <a:pt x="72" y="3983"/>
                    </a:cubicBezTo>
                    <a:cubicBezTo>
                      <a:pt x="1" y="4054"/>
                      <a:pt x="1" y="4161"/>
                      <a:pt x="72" y="4245"/>
                    </a:cubicBezTo>
                    <a:lnTo>
                      <a:pt x="1060" y="5221"/>
                    </a:lnTo>
                    <a:cubicBezTo>
                      <a:pt x="1156" y="5328"/>
                      <a:pt x="1275" y="5376"/>
                      <a:pt x="1417" y="5376"/>
                    </a:cubicBezTo>
                    <a:cubicBezTo>
                      <a:pt x="1548" y="5376"/>
                      <a:pt x="1679" y="5316"/>
                      <a:pt x="1775" y="5221"/>
                    </a:cubicBezTo>
                    <a:lnTo>
                      <a:pt x="6549" y="447"/>
                    </a:lnTo>
                    <a:lnTo>
                      <a:pt x="7966" y="1852"/>
                    </a:lnTo>
                    <a:lnTo>
                      <a:pt x="6704" y="3126"/>
                    </a:lnTo>
                    <a:cubicBezTo>
                      <a:pt x="6621" y="3197"/>
                      <a:pt x="6621" y="3304"/>
                      <a:pt x="6704" y="3376"/>
                    </a:cubicBezTo>
                    <a:cubicBezTo>
                      <a:pt x="6740" y="3411"/>
                      <a:pt x="6784" y="3429"/>
                      <a:pt x="6829" y="3429"/>
                    </a:cubicBezTo>
                    <a:cubicBezTo>
                      <a:pt x="6874" y="3429"/>
                      <a:pt x="6918" y="3411"/>
                      <a:pt x="6954" y="3376"/>
                    </a:cubicBezTo>
                    <a:lnTo>
                      <a:pt x="8347" y="1983"/>
                    </a:lnTo>
                    <a:cubicBezTo>
                      <a:pt x="8383" y="1947"/>
                      <a:pt x="8395" y="1899"/>
                      <a:pt x="8395" y="1864"/>
                    </a:cubicBezTo>
                    <a:cubicBezTo>
                      <a:pt x="8430" y="1816"/>
                      <a:pt x="8406" y="1768"/>
                      <a:pt x="8383" y="1721"/>
                    </a:cubicBezTo>
                    <a:lnTo>
                      <a:pt x="6716" y="54"/>
                    </a:lnTo>
                    <a:cubicBezTo>
                      <a:pt x="6674" y="18"/>
                      <a:pt x="6629" y="0"/>
                      <a:pt x="6585" y="0"/>
                    </a:cubicBezTo>
                    <a:close/>
                  </a:path>
                </a:pathLst>
              </a:custGeom>
              <a:solidFill>
                <a:srgbClr val="E3E9ED"/>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382" name="Google Shape;8382;p106"/>
              <p:cNvSpPr/>
              <p:nvPr/>
            </p:nvSpPr>
            <p:spPr>
              <a:xfrm>
                <a:off x="2194889" y="3655090"/>
                <a:ext cx="41351" cy="64313"/>
              </a:xfrm>
              <a:custGeom>
                <a:avLst/>
                <a:gdLst/>
                <a:ahLst/>
                <a:cxnLst/>
                <a:rect l="l" t="t" r="r" b="b"/>
                <a:pathLst>
                  <a:path w="6431" h="10002" extrusionOk="0">
                    <a:moveTo>
                      <a:pt x="4025" y="0"/>
                    </a:moveTo>
                    <a:cubicBezTo>
                      <a:pt x="3870" y="0"/>
                      <a:pt x="3704" y="60"/>
                      <a:pt x="3608" y="179"/>
                    </a:cubicBezTo>
                    <a:lnTo>
                      <a:pt x="1465" y="2322"/>
                    </a:lnTo>
                    <a:lnTo>
                      <a:pt x="299" y="1167"/>
                    </a:lnTo>
                    <a:cubicBezTo>
                      <a:pt x="269" y="1138"/>
                      <a:pt x="227" y="1123"/>
                      <a:pt x="184" y="1123"/>
                    </a:cubicBezTo>
                    <a:cubicBezTo>
                      <a:pt x="141" y="1123"/>
                      <a:pt x="96" y="1138"/>
                      <a:pt x="60" y="1167"/>
                    </a:cubicBezTo>
                    <a:cubicBezTo>
                      <a:pt x="1" y="1227"/>
                      <a:pt x="1" y="1322"/>
                      <a:pt x="60" y="1405"/>
                    </a:cubicBezTo>
                    <a:lnTo>
                      <a:pt x="1346" y="2679"/>
                    </a:lnTo>
                    <a:cubicBezTo>
                      <a:pt x="1370" y="2715"/>
                      <a:pt x="1418" y="2727"/>
                      <a:pt x="1465" y="2727"/>
                    </a:cubicBezTo>
                    <a:cubicBezTo>
                      <a:pt x="1501" y="2727"/>
                      <a:pt x="1549" y="2715"/>
                      <a:pt x="1584" y="2679"/>
                    </a:cubicBezTo>
                    <a:lnTo>
                      <a:pt x="3847" y="417"/>
                    </a:lnTo>
                    <a:cubicBezTo>
                      <a:pt x="3882" y="370"/>
                      <a:pt x="3966" y="346"/>
                      <a:pt x="4037" y="346"/>
                    </a:cubicBezTo>
                    <a:cubicBezTo>
                      <a:pt x="4109" y="346"/>
                      <a:pt x="4168" y="370"/>
                      <a:pt x="4228" y="417"/>
                    </a:cubicBezTo>
                    <a:lnTo>
                      <a:pt x="6049" y="2239"/>
                    </a:lnTo>
                    <a:cubicBezTo>
                      <a:pt x="6085" y="2275"/>
                      <a:pt x="6121" y="2358"/>
                      <a:pt x="6121" y="2429"/>
                    </a:cubicBezTo>
                    <a:cubicBezTo>
                      <a:pt x="6121" y="2501"/>
                      <a:pt x="6085" y="2560"/>
                      <a:pt x="6049" y="2620"/>
                    </a:cubicBezTo>
                    <a:lnTo>
                      <a:pt x="3775" y="4882"/>
                    </a:lnTo>
                    <a:cubicBezTo>
                      <a:pt x="3716" y="4942"/>
                      <a:pt x="3716" y="5049"/>
                      <a:pt x="3775" y="5120"/>
                    </a:cubicBezTo>
                    <a:lnTo>
                      <a:pt x="6049" y="7382"/>
                    </a:lnTo>
                    <a:cubicBezTo>
                      <a:pt x="6085" y="7430"/>
                      <a:pt x="6121" y="7501"/>
                      <a:pt x="6121" y="7573"/>
                    </a:cubicBezTo>
                    <a:cubicBezTo>
                      <a:pt x="6121" y="7656"/>
                      <a:pt x="6085" y="7716"/>
                      <a:pt x="6049" y="7775"/>
                    </a:cubicBezTo>
                    <a:lnTo>
                      <a:pt x="4228" y="9585"/>
                    </a:lnTo>
                    <a:cubicBezTo>
                      <a:pt x="4174" y="9639"/>
                      <a:pt x="4103" y="9665"/>
                      <a:pt x="4033" y="9665"/>
                    </a:cubicBezTo>
                    <a:cubicBezTo>
                      <a:pt x="3963" y="9665"/>
                      <a:pt x="3894" y="9639"/>
                      <a:pt x="3847" y="9585"/>
                    </a:cubicBezTo>
                    <a:lnTo>
                      <a:pt x="2989" y="8740"/>
                    </a:lnTo>
                    <a:cubicBezTo>
                      <a:pt x="2960" y="8710"/>
                      <a:pt x="2921" y="8695"/>
                      <a:pt x="2879" y="8695"/>
                    </a:cubicBezTo>
                    <a:cubicBezTo>
                      <a:pt x="2838" y="8695"/>
                      <a:pt x="2793" y="8710"/>
                      <a:pt x="2751" y="8740"/>
                    </a:cubicBezTo>
                    <a:cubicBezTo>
                      <a:pt x="2692" y="8799"/>
                      <a:pt x="2692" y="8906"/>
                      <a:pt x="2751" y="8978"/>
                    </a:cubicBezTo>
                    <a:lnTo>
                      <a:pt x="3608" y="9823"/>
                    </a:lnTo>
                    <a:cubicBezTo>
                      <a:pt x="3728" y="9942"/>
                      <a:pt x="3870" y="10002"/>
                      <a:pt x="4025" y="10002"/>
                    </a:cubicBezTo>
                    <a:cubicBezTo>
                      <a:pt x="4168" y="10002"/>
                      <a:pt x="4335" y="9942"/>
                      <a:pt x="4442" y="9823"/>
                    </a:cubicBezTo>
                    <a:lnTo>
                      <a:pt x="6252" y="8013"/>
                    </a:lnTo>
                    <a:cubicBezTo>
                      <a:pt x="6371" y="7894"/>
                      <a:pt x="6430" y="7740"/>
                      <a:pt x="6430" y="7597"/>
                    </a:cubicBezTo>
                    <a:cubicBezTo>
                      <a:pt x="6430" y="7430"/>
                      <a:pt x="6371" y="7275"/>
                      <a:pt x="6252" y="7180"/>
                    </a:cubicBezTo>
                    <a:lnTo>
                      <a:pt x="4109" y="4977"/>
                    </a:lnTo>
                    <a:lnTo>
                      <a:pt x="6252" y="2834"/>
                    </a:lnTo>
                    <a:cubicBezTo>
                      <a:pt x="6371" y="2715"/>
                      <a:pt x="6430" y="2560"/>
                      <a:pt x="6430" y="2417"/>
                    </a:cubicBezTo>
                    <a:cubicBezTo>
                      <a:pt x="6430" y="2251"/>
                      <a:pt x="6371" y="2096"/>
                      <a:pt x="6252" y="2001"/>
                    </a:cubicBezTo>
                    <a:lnTo>
                      <a:pt x="4442" y="179"/>
                    </a:lnTo>
                    <a:cubicBezTo>
                      <a:pt x="4323" y="60"/>
                      <a:pt x="4168" y="0"/>
                      <a:pt x="4025" y="0"/>
                    </a:cubicBezTo>
                    <a:close/>
                  </a:path>
                </a:pathLst>
              </a:custGeom>
              <a:solidFill>
                <a:srgbClr val="E3E9ED"/>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383" name="Google Shape;8383;p106"/>
              <p:cNvSpPr/>
              <p:nvPr/>
            </p:nvSpPr>
            <p:spPr>
              <a:xfrm>
                <a:off x="2171920" y="3654858"/>
                <a:ext cx="39512" cy="64165"/>
              </a:xfrm>
              <a:custGeom>
                <a:avLst/>
                <a:gdLst/>
                <a:ahLst/>
                <a:cxnLst/>
                <a:rect l="l" t="t" r="r" b="b"/>
                <a:pathLst>
                  <a:path w="6145" h="9979" extrusionOk="0">
                    <a:moveTo>
                      <a:pt x="2477" y="1"/>
                    </a:moveTo>
                    <a:cubicBezTo>
                      <a:pt x="2311" y="1"/>
                      <a:pt x="2156" y="60"/>
                      <a:pt x="2061" y="179"/>
                    </a:cubicBezTo>
                    <a:lnTo>
                      <a:pt x="239" y="2001"/>
                    </a:lnTo>
                    <a:cubicBezTo>
                      <a:pt x="1" y="2239"/>
                      <a:pt x="1" y="2608"/>
                      <a:pt x="239" y="2846"/>
                    </a:cubicBezTo>
                    <a:lnTo>
                      <a:pt x="2382" y="4989"/>
                    </a:lnTo>
                    <a:lnTo>
                      <a:pt x="239" y="7133"/>
                    </a:lnTo>
                    <a:cubicBezTo>
                      <a:pt x="1" y="7371"/>
                      <a:pt x="1" y="7752"/>
                      <a:pt x="239" y="7990"/>
                    </a:cubicBezTo>
                    <a:lnTo>
                      <a:pt x="2061" y="9800"/>
                    </a:lnTo>
                    <a:cubicBezTo>
                      <a:pt x="2180" y="9919"/>
                      <a:pt x="2323" y="9978"/>
                      <a:pt x="2477" y="9978"/>
                    </a:cubicBezTo>
                    <a:cubicBezTo>
                      <a:pt x="2620" y="9978"/>
                      <a:pt x="2787" y="9919"/>
                      <a:pt x="2882" y="9800"/>
                    </a:cubicBezTo>
                    <a:lnTo>
                      <a:pt x="5037" y="7656"/>
                    </a:lnTo>
                    <a:lnTo>
                      <a:pt x="5859" y="8490"/>
                    </a:lnTo>
                    <a:cubicBezTo>
                      <a:pt x="5895" y="8520"/>
                      <a:pt x="5936" y="8535"/>
                      <a:pt x="5978" y="8535"/>
                    </a:cubicBezTo>
                    <a:cubicBezTo>
                      <a:pt x="6020" y="8535"/>
                      <a:pt x="6061" y="8520"/>
                      <a:pt x="6097" y="8490"/>
                    </a:cubicBezTo>
                    <a:cubicBezTo>
                      <a:pt x="6145" y="8430"/>
                      <a:pt x="6145" y="8323"/>
                      <a:pt x="6085" y="8264"/>
                    </a:cubicBezTo>
                    <a:lnTo>
                      <a:pt x="5156" y="7335"/>
                    </a:lnTo>
                    <a:cubicBezTo>
                      <a:pt x="5121" y="7299"/>
                      <a:pt x="5073" y="7287"/>
                      <a:pt x="5037" y="7287"/>
                    </a:cubicBezTo>
                    <a:cubicBezTo>
                      <a:pt x="4990" y="7287"/>
                      <a:pt x="4942" y="7299"/>
                      <a:pt x="4918" y="7335"/>
                    </a:cubicBezTo>
                    <a:lnTo>
                      <a:pt x="2656" y="9597"/>
                    </a:lnTo>
                    <a:cubicBezTo>
                      <a:pt x="2608" y="9633"/>
                      <a:pt x="2537" y="9669"/>
                      <a:pt x="2454" y="9669"/>
                    </a:cubicBezTo>
                    <a:cubicBezTo>
                      <a:pt x="2382" y="9669"/>
                      <a:pt x="2323" y="9633"/>
                      <a:pt x="2263" y="9597"/>
                    </a:cubicBezTo>
                    <a:lnTo>
                      <a:pt x="453" y="7776"/>
                    </a:lnTo>
                    <a:cubicBezTo>
                      <a:pt x="346" y="7668"/>
                      <a:pt x="346" y="7490"/>
                      <a:pt x="453" y="7395"/>
                    </a:cubicBezTo>
                    <a:lnTo>
                      <a:pt x="2716" y="5132"/>
                    </a:lnTo>
                    <a:cubicBezTo>
                      <a:pt x="2739" y="5097"/>
                      <a:pt x="2751" y="5049"/>
                      <a:pt x="2751" y="5013"/>
                    </a:cubicBezTo>
                    <a:cubicBezTo>
                      <a:pt x="2751" y="4966"/>
                      <a:pt x="2739" y="4918"/>
                      <a:pt x="2716" y="4894"/>
                    </a:cubicBezTo>
                    <a:lnTo>
                      <a:pt x="453" y="2632"/>
                    </a:lnTo>
                    <a:cubicBezTo>
                      <a:pt x="346" y="2525"/>
                      <a:pt x="346" y="2346"/>
                      <a:pt x="453" y="2239"/>
                    </a:cubicBezTo>
                    <a:lnTo>
                      <a:pt x="2263" y="417"/>
                    </a:lnTo>
                    <a:cubicBezTo>
                      <a:pt x="2311" y="382"/>
                      <a:pt x="2382" y="346"/>
                      <a:pt x="2454" y="346"/>
                    </a:cubicBezTo>
                    <a:cubicBezTo>
                      <a:pt x="2537" y="346"/>
                      <a:pt x="2597" y="382"/>
                      <a:pt x="2656" y="417"/>
                    </a:cubicBezTo>
                    <a:lnTo>
                      <a:pt x="3168" y="941"/>
                    </a:lnTo>
                    <a:cubicBezTo>
                      <a:pt x="3198" y="971"/>
                      <a:pt x="3239" y="986"/>
                      <a:pt x="3283" y="986"/>
                    </a:cubicBezTo>
                    <a:cubicBezTo>
                      <a:pt x="3326" y="986"/>
                      <a:pt x="3370" y="971"/>
                      <a:pt x="3406" y="941"/>
                    </a:cubicBezTo>
                    <a:cubicBezTo>
                      <a:pt x="3466" y="882"/>
                      <a:pt x="3466" y="775"/>
                      <a:pt x="3406" y="703"/>
                    </a:cubicBezTo>
                    <a:lnTo>
                      <a:pt x="2882" y="179"/>
                    </a:lnTo>
                    <a:cubicBezTo>
                      <a:pt x="2775" y="60"/>
                      <a:pt x="2620" y="1"/>
                      <a:pt x="2477" y="1"/>
                    </a:cubicBezTo>
                    <a:close/>
                  </a:path>
                </a:pathLst>
              </a:custGeom>
              <a:solidFill>
                <a:srgbClr val="E3E9ED"/>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384" name="Google Shape;8384;p106"/>
              <p:cNvSpPr/>
              <p:nvPr/>
            </p:nvSpPr>
            <p:spPr>
              <a:xfrm>
                <a:off x="2874730" y="3687620"/>
                <a:ext cx="60030" cy="35796"/>
              </a:xfrm>
              <a:custGeom>
                <a:avLst/>
                <a:gdLst/>
                <a:ahLst/>
                <a:cxnLst/>
                <a:rect l="l" t="t" r="r" b="b"/>
                <a:pathLst>
                  <a:path w="9336" h="5567" extrusionOk="0">
                    <a:moveTo>
                      <a:pt x="1876" y="0"/>
                    </a:moveTo>
                    <a:cubicBezTo>
                      <a:pt x="1831" y="0"/>
                      <a:pt x="1787" y="18"/>
                      <a:pt x="1751" y="54"/>
                    </a:cubicBezTo>
                    <a:lnTo>
                      <a:pt x="84" y="1721"/>
                    </a:lnTo>
                    <a:cubicBezTo>
                      <a:pt x="1" y="1804"/>
                      <a:pt x="1" y="1899"/>
                      <a:pt x="84" y="1983"/>
                    </a:cubicBezTo>
                    <a:lnTo>
                      <a:pt x="3263" y="5162"/>
                    </a:lnTo>
                    <a:cubicBezTo>
                      <a:pt x="3513" y="5412"/>
                      <a:pt x="3858" y="5566"/>
                      <a:pt x="4215" y="5566"/>
                    </a:cubicBezTo>
                    <a:cubicBezTo>
                      <a:pt x="4573" y="5566"/>
                      <a:pt x="4918" y="5435"/>
                      <a:pt x="5168" y="5162"/>
                    </a:cubicBezTo>
                    <a:lnTo>
                      <a:pt x="9252" y="1090"/>
                    </a:lnTo>
                    <a:cubicBezTo>
                      <a:pt x="9335" y="1006"/>
                      <a:pt x="9335" y="887"/>
                      <a:pt x="9276" y="828"/>
                    </a:cubicBezTo>
                    <a:cubicBezTo>
                      <a:pt x="9240" y="792"/>
                      <a:pt x="9195" y="774"/>
                      <a:pt x="9151" y="774"/>
                    </a:cubicBezTo>
                    <a:cubicBezTo>
                      <a:pt x="9106" y="774"/>
                      <a:pt x="9061" y="792"/>
                      <a:pt x="9026" y="828"/>
                    </a:cubicBezTo>
                    <a:lnTo>
                      <a:pt x="4942" y="4912"/>
                    </a:lnTo>
                    <a:cubicBezTo>
                      <a:pt x="4751" y="5102"/>
                      <a:pt x="4501" y="5209"/>
                      <a:pt x="4227" y="5209"/>
                    </a:cubicBezTo>
                    <a:cubicBezTo>
                      <a:pt x="3965" y="5209"/>
                      <a:pt x="3715" y="5102"/>
                      <a:pt x="3513" y="4912"/>
                    </a:cubicBezTo>
                    <a:lnTo>
                      <a:pt x="453" y="1840"/>
                    </a:lnTo>
                    <a:lnTo>
                      <a:pt x="1870" y="435"/>
                    </a:lnTo>
                    <a:lnTo>
                      <a:pt x="2370" y="935"/>
                    </a:lnTo>
                    <a:cubicBezTo>
                      <a:pt x="2406" y="971"/>
                      <a:pt x="2450" y="988"/>
                      <a:pt x="2495" y="988"/>
                    </a:cubicBezTo>
                    <a:cubicBezTo>
                      <a:pt x="2540" y="988"/>
                      <a:pt x="2584" y="971"/>
                      <a:pt x="2620" y="935"/>
                    </a:cubicBezTo>
                    <a:cubicBezTo>
                      <a:pt x="2703" y="863"/>
                      <a:pt x="2703" y="756"/>
                      <a:pt x="2620" y="685"/>
                    </a:cubicBezTo>
                    <a:lnTo>
                      <a:pt x="2001" y="54"/>
                    </a:lnTo>
                    <a:cubicBezTo>
                      <a:pt x="1965" y="18"/>
                      <a:pt x="1920" y="0"/>
                      <a:pt x="1876" y="0"/>
                    </a:cubicBezTo>
                    <a:close/>
                  </a:path>
                </a:pathLst>
              </a:custGeom>
              <a:solidFill>
                <a:srgbClr val="E3E9ED"/>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385" name="Google Shape;8385;p106"/>
              <p:cNvSpPr/>
              <p:nvPr/>
            </p:nvSpPr>
            <p:spPr>
              <a:xfrm>
                <a:off x="2892645" y="3669628"/>
                <a:ext cx="54211" cy="34568"/>
              </a:xfrm>
              <a:custGeom>
                <a:avLst/>
                <a:gdLst/>
                <a:ahLst/>
                <a:cxnLst/>
                <a:rect l="l" t="t" r="r" b="b"/>
                <a:pathLst>
                  <a:path w="8431" h="5376" extrusionOk="0">
                    <a:moveTo>
                      <a:pt x="6585" y="0"/>
                    </a:moveTo>
                    <a:cubicBezTo>
                      <a:pt x="6540" y="0"/>
                      <a:pt x="6495" y="18"/>
                      <a:pt x="6454" y="54"/>
                    </a:cubicBezTo>
                    <a:lnTo>
                      <a:pt x="1548" y="4971"/>
                    </a:lnTo>
                    <a:cubicBezTo>
                      <a:pt x="1513" y="4995"/>
                      <a:pt x="1477" y="5007"/>
                      <a:pt x="1429" y="5007"/>
                    </a:cubicBezTo>
                    <a:cubicBezTo>
                      <a:pt x="1382" y="5007"/>
                      <a:pt x="1346" y="4995"/>
                      <a:pt x="1310" y="4971"/>
                    </a:cubicBezTo>
                    <a:lnTo>
                      <a:pt x="334" y="3983"/>
                    </a:lnTo>
                    <a:cubicBezTo>
                      <a:pt x="292" y="3947"/>
                      <a:pt x="248" y="3929"/>
                      <a:pt x="203" y="3929"/>
                    </a:cubicBezTo>
                    <a:cubicBezTo>
                      <a:pt x="158" y="3929"/>
                      <a:pt x="114" y="3947"/>
                      <a:pt x="72" y="3983"/>
                    </a:cubicBezTo>
                    <a:cubicBezTo>
                      <a:pt x="1" y="4054"/>
                      <a:pt x="1" y="4161"/>
                      <a:pt x="72" y="4245"/>
                    </a:cubicBezTo>
                    <a:lnTo>
                      <a:pt x="1060" y="5221"/>
                    </a:lnTo>
                    <a:cubicBezTo>
                      <a:pt x="1156" y="5328"/>
                      <a:pt x="1275" y="5376"/>
                      <a:pt x="1417" y="5376"/>
                    </a:cubicBezTo>
                    <a:cubicBezTo>
                      <a:pt x="1548" y="5376"/>
                      <a:pt x="1679" y="5316"/>
                      <a:pt x="1775" y="5221"/>
                    </a:cubicBezTo>
                    <a:lnTo>
                      <a:pt x="6549" y="447"/>
                    </a:lnTo>
                    <a:lnTo>
                      <a:pt x="7966" y="1852"/>
                    </a:lnTo>
                    <a:lnTo>
                      <a:pt x="6704" y="3126"/>
                    </a:lnTo>
                    <a:cubicBezTo>
                      <a:pt x="6621" y="3197"/>
                      <a:pt x="6621" y="3304"/>
                      <a:pt x="6704" y="3376"/>
                    </a:cubicBezTo>
                    <a:cubicBezTo>
                      <a:pt x="6740" y="3411"/>
                      <a:pt x="6784" y="3429"/>
                      <a:pt x="6829" y="3429"/>
                    </a:cubicBezTo>
                    <a:cubicBezTo>
                      <a:pt x="6874" y="3429"/>
                      <a:pt x="6918" y="3411"/>
                      <a:pt x="6954" y="3376"/>
                    </a:cubicBezTo>
                    <a:lnTo>
                      <a:pt x="8347" y="1983"/>
                    </a:lnTo>
                    <a:cubicBezTo>
                      <a:pt x="8383" y="1947"/>
                      <a:pt x="8395" y="1899"/>
                      <a:pt x="8395" y="1864"/>
                    </a:cubicBezTo>
                    <a:cubicBezTo>
                      <a:pt x="8430" y="1816"/>
                      <a:pt x="8406" y="1768"/>
                      <a:pt x="8383" y="1721"/>
                    </a:cubicBezTo>
                    <a:lnTo>
                      <a:pt x="6716" y="54"/>
                    </a:lnTo>
                    <a:cubicBezTo>
                      <a:pt x="6674" y="18"/>
                      <a:pt x="6629" y="0"/>
                      <a:pt x="6585" y="0"/>
                    </a:cubicBezTo>
                    <a:close/>
                  </a:path>
                </a:pathLst>
              </a:custGeom>
              <a:solidFill>
                <a:srgbClr val="E3E9ED"/>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386" name="Google Shape;8386;p106"/>
              <p:cNvSpPr/>
              <p:nvPr/>
            </p:nvSpPr>
            <p:spPr>
              <a:xfrm>
                <a:off x="2901559" y="4005512"/>
                <a:ext cx="41351" cy="64313"/>
              </a:xfrm>
              <a:custGeom>
                <a:avLst/>
                <a:gdLst/>
                <a:ahLst/>
                <a:cxnLst/>
                <a:rect l="l" t="t" r="r" b="b"/>
                <a:pathLst>
                  <a:path w="6431" h="10002" extrusionOk="0">
                    <a:moveTo>
                      <a:pt x="4025" y="0"/>
                    </a:moveTo>
                    <a:cubicBezTo>
                      <a:pt x="3870" y="0"/>
                      <a:pt x="3704" y="60"/>
                      <a:pt x="3608" y="179"/>
                    </a:cubicBezTo>
                    <a:lnTo>
                      <a:pt x="1465" y="2322"/>
                    </a:lnTo>
                    <a:lnTo>
                      <a:pt x="299" y="1167"/>
                    </a:lnTo>
                    <a:cubicBezTo>
                      <a:pt x="269" y="1138"/>
                      <a:pt x="227" y="1123"/>
                      <a:pt x="184" y="1123"/>
                    </a:cubicBezTo>
                    <a:cubicBezTo>
                      <a:pt x="141" y="1123"/>
                      <a:pt x="96" y="1138"/>
                      <a:pt x="60" y="1167"/>
                    </a:cubicBezTo>
                    <a:cubicBezTo>
                      <a:pt x="1" y="1227"/>
                      <a:pt x="1" y="1322"/>
                      <a:pt x="60" y="1405"/>
                    </a:cubicBezTo>
                    <a:lnTo>
                      <a:pt x="1346" y="2679"/>
                    </a:lnTo>
                    <a:cubicBezTo>
                      <a:pt x="1370" y="2715"/>
                      <a:pt x="1418" y="2727"/>
                      <a:pt x="1465" y="2727"/>
                    </a:cubicBezTo>
                    <a:cubicBezTo>
                      <a:pt x="1501" y="2727"/>
                      <a:pt x="1549" y="2715"/>
                      <a:pt x="1584" y="2679"/>
                    </a:cubicBezTo>
                    <a:lnTo>
                      <a:pt x="3847" y="417"/>
                    </a:lnTo>
                    <a:cubicBezTo>
                      <a:pt x="3882" y="370"/>
                      <a:pt x="3966" y="346"/>
                      <a:pt x="4037" y="346"/>
                    </a:cubicBezTo>
                    <a:cubicBezTo>
                      <a:pt x="4109" y="346"/>
                      <a:pt x="4168" y="370"/>
                      <a:pt x="4228" y="417"/>
                    </a:cubicBezTo>
                    <a:lnTo>
                      <a:pt x="6049" y="2239"/>
                    </a:lnTo>
                    <a:cubicBezTo>
                      <a:pt x="6085" y="2275"/>
                      <a:pt x="6121" y="2358"/>
                      <a:pt x="6121" y="2429"/>
                    </a:cubicBezTo>
                    <a:cubicBezTo>
                      <a:pt x="6121" y="2501"/>
                      <a:pt x="6085" y="2560"/>
                      <a:pt x="6049" y="2620"/>
                    </a:cubicBezTo>
                    <a:lnTo>
                      <a:pt x="3775" y="4882"/>
                    </a:lnTo>
                    <a:cubicBezTo>
                      <a:pt x="3716" y="4942"/>
                      <a:pt x="3716" y="5049"/>
                      <a:pt x="3775" y="5120"/>
                    </a:cubicBezTo>
                    <a:lnTo>
                      <a:pt x="6049" y="7382"/>
                    </a:lnTo>
                    <a:cubicBezTo>
                      <a:pt x="6085" y="7430"/>
                      <a:pt x="6121" y="7501"/>
                      <a:pt x="6121" y="7573"/>
                    </a:cubicBezTo>
                    <a:cubicBezTo>
                      <a:pt x="6121" y="7656"/>
                      <a:pt x="6085" y="7716"/>
                      <a:pt x="6049" y="7775"/>
                    </a:cubicBezTo>
                    <a:lnTo>
                      <a:pt x="4228" y="9585"/>
                    </a:lnTo>
                    <a:cubicBezTo>
                      <a:pt x="4174" y="9639"/>
                      <a:pt x="4103" y="9665"/>
                      <a:pt x="4033" y="9665"/>
                    </a:cubicBezTo>
                    <a:cubicBezTo>
                      <a:pt x="3963" y="9665"/>
                      <a:pt x="3894" y="9639"/>
                      <a:pt x="3847" y="9585"/>
                    </a:cubicBezTo>
                    <a:lnTo>
                      <a:pt x="2989" y="8740"/>
                    </a:lnTo>
                    <a:cubicBezTo>
                      <a:pt x="2960" y="8710"/>
                      <a:pt x="2921" y="8695"/>
                      <a:pt x="2879" y="8695"/>
                    </a:cubicBezTo>
                    <a:cubicBezTo>
                      <a:pt x="2838" y="8695"/>
                      <a:pt x="2793" y="8710"/>
                      <a:pt x="2751" y="8740"/>
                    </a:cubicBezTo>
                    <a:cubicBezTo>
                      <a:pt x="2692" y="8799"/>
                      <a:pt x="2692" y="8906"/>
                      <a:pt x="2751" y="8978"/>
                    </a:cubicBezTo>
                    <a:lnTo>
                      <a:pt x="3608" y="9823"/>
                    </a:lnTo>
                    <a:cubicBezTo>
                      <a:pt x="3728" y="9942"/>
                      <a:pt x="3870" y="10002"/>
                      <a:pt x="4025" y="10002"/>
                    </a:cubicBezTo>
                    <a:cubicBezTo>
                      <a:pt x="4168" y="10002"/>
                      <a:pt x="4335" y="9942"/>
                      <a:pt x="4442" y="9823"/>
                    </a:cubicBezTo>
                    <a:lnTo>
                      <a:pt x="6252" y="8013"/>
                    </a:lnTo>
                    <a:cubicBezTo>
                      <a:pt x="6371" y="7894"/>
                      <a:pt x="6430" y="7740"/>
                      <a:pt x="6430" y="7597"/>
                    </a:cubicBezTo>
                    <a:cubicBezTo>
                      <a:pt x="6430" y="7430"/>
                      <a:pt x="6371" y="7275"/>
                      <a:pt x="6252" y="7180"/>
                    </a:cubicBezTo>
                    <a:lnTo>
                      <a:pt x="4109" y="4977"/>
                    </a:lnTo>
                    <a:lnTo>
                      <a:pt x="6252" y="2834"/>
                    </a:lnTo>
                    <a:cubicBezTo>
                      <a:pt x="6371" y="2715"/>
                      <a:pt x="6430" y="2560"/>
                      <a:pt x="6430" y="2417"/>
                    </a:cubicBezTo>
                    <a:cubicBezTo>
                      <a:pt x="6430" y="2251"/>
                      <a:pt x="6371" y="2096"/>
                      <a:pt x="6252" y="2001"/>
                    </a:cubicBezTo>
                    <a:lnTo>
                      <a:pt x="4442" y="179"/>
                    </a:lnTo>
                    <a:cubicBezTo>
                      <a:pt x="4323" y="60"/>
                      <a:pt x="4168" y="0"/>
                      <a:pt x="4025" y="0"/>
                    </a:cubicBezTo>
                    <a:close/>
                  </a:path>
                </a:pathLst>
              </a:custGeom>
              <a:solidFill>
                <a:srgbClr val="E3E9ED"/>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387" name="Google Shape;8387;p106"/>
              <p:cNvSpPr/>
              <p:nvPr/>
            </p:nvSpPr>
            <p:spPr>
              <a:xfrm>
                <a:off x="2878589" y="4005281"/>
                <a:ext cx="39512" cy="64165"/>
              </a:xfrm>
              <a:custGeom>
                <a:avLst/>
                <a:gdLst/>
                <a:ahLst/>
                <a:cxnLst/>
                <a:rect l="l" t="t" r="r" b="b"/>
                <a:pathLst>
                  <a:path w="6145" h="9979" extrusionOk="0">
                    <a:moveTo>
                      <a:pt x="2477" y="1"/>
                    </a:moveTo>
                    <a:cubicBezTo>
                      <a:pt x="2311" y="1"/>
                      <a:pt x="2156" y="60"/>
                      <a:pt x="2061" y="179"/>
                    </a:cubicBezTo>
                    <a:lnTo>
                      <a:pt x="239" y="2001"/>
                    </a:lnTo>
                    <a:cubicBezTo>
                      <a:pt x="1" y="2239"/>
                      <a:pt x="1" y="2608"/>
                      <a:pt x="239" y="2846"/>
                    </a:cubicBezTo>
                    <a:lnTo>
                      <a:pt x="2382" y="4989"/>
                    </a:lnTo>
                    <a:lnTo>
                      <a:pt x="239" y="7133"/>
                    </a:lnTo>
                    <a:cubicBezTo>
                      <a:pt x="1" y="7371"/>
                      <a:pt x="1" y="7752"/>
                      <a:pt x="239" y="7990"/>
                    </a:cubicBezTo>
                    <a:lnTo>
                      <a:pt x="2061" y="9800"/>
                    </a:lnTo>
                    <a:cubicBezTo>
                      <a:pt x="2180" y="9919"/>
                      <a:pt x="2323" y="9978"/>
                      <a:pt x="2477" y="9978"/>
                    </a:cubicBezTo>
                    <a:cubicBezTo>
                      <a:pt x="2620" y="9978"/>
                      <a:pt x="2787" y="9919"/>
                      <a:pt x="2882" y="9800"/>
                    </a:cubicBezTo>
                    <a:lnTo>
                      <a:pt x="5037" y="7656"/>
                    </a:lnTo>
                    <a:lnTo>
                      <a:pt x="5859" y="8490"/>
                    </a:lnTo>
                    <a:cubicBezTo>
                      <a:pt x="5895" y="8520"/>
                      <a:pt x="5936" y="8535"/>
                      <a:pt x="5978" y="8535"/>
                    </a:cubicBezTo>
                    <a:cubicBezTo>
                      <a:pt x="6020" y="8535"/>
                      <a:pt x="6061" y="8520"/>
                      <a:pt x="6097" y="8490"/>
                    </a:cubicBezTo>
                    <a:cubicBezTo>
                      <a:pt x="6145" y="8430"/>
                      <a:pt x="6145" y="8323"/>
                      <a:pt x="6085" y="8264"/>
                    </a:cubicBezTo>
                    <a:lnTo>
                      <a:pt x="5156" y="7335"/>
                    </a:lnTo>
                    <a:cubicBezTo>
                      <a:pt x="5121" y="7299"/>
                      <a:pt x="5073" y="7287"/>
                      <a:pt x="5037" y="7287"/>
                    </a:cubicBezTo>
                    <a:cubicBezTo>
                      <a:pt x="4990" y="7287"/>
                      <a:pt x="4942" y="7299"/>
                      <a:pt x="4918" y="7335"/>
                    </a:cubicBezTo>
                    <a:lnTo>
                      <a:pt x="2656" y="9597"/>
                    </a:lnTo>
                    <a:cubicBezTo>
                      <a:pt x="2608" y="9633"/>
                      <a:pt x="2537" y="9669"/>
                      <a:pt x="2454" y="9669"/>
                    </a:cubicBezTo>
                    <a:cubicBezTo>
                      <a:pt x="2382" y="9669"/>
                      <a:pt x="2323" y="9633"/>
                      <a:pt x="2263" y="9597"/>
                    </a:cubicBezTo>
                    <a:lnTo>
                      <a:pt x="453" y="7776"/>
                    </a:lnTo>
                    <a:cubicBezTo>
                      <a:pt x="346" y="7668"/>
                      <a:pt x="346" y="7490"/>
                      <a:pt x="453" y="7395"/>
                    </a:cubicBezTo>
                    <a:lnTo>
                      <a:pt x="2716" y="5132"/>
                    </a:lnTo>
                    <a:cubicBezTo>
                      <a:pt x="2739" y="5097"/>
                      <a:pt x="2751" y="5049"/>
                      <a:pt x="2751" y="5013"/>
                    </a:cubicBezTo>
                    <a:cubicBezTo>
                      <a:pt x="2751" y="4966"/>
                      <a:pt x="2739" y="4918"/>
                      <a:pt x="2716" y="4894"/>
                    </a:cubicBezTo>
                    <a:lnTo>
                      <a:pt x="453" y="2632"/>
                    </a:lnTo>
                    <a:cubicBezTo>
                      <a:pt x="346" y="2525"/>
                      <a:pt x="346" y="2346"/>
                      <a:pt x="453" y="2239"/>
                    </a:cubicBezTo>
                    <a:lnTo>
                      <a:pt x="2263" y="417"/>
                    </a:lnTo>
                    <a:cubicBezTo>
                      <a:pt x="2311" y="382"/>
                      <a:pt x="2382" y="346"/>
                      <a:pt x="2454" y="346"/>
                    </a:cubicBezTo>
                    <a:cubicBezTo>
                      <a:pt x="2537" y="346"/>
                      <a:pt x="2597" y="382"/>
                      <a:pt x="2656" y="417"/>
                    </a:cubicBezTo>
                    <a:lnTo>
                      <a:pt x="3168" y="941"/>
                    </a:lnTo>
                    <a:cubicBezTo>
                      <a:pt x="3198" y="971"/>
                      <a:pt x="3239" y="986"/>
                      <a:pt x="3283" y="986"/>
                    </a:cubicBezTo>
                    <a:cubicBezTo>
                      <a:pt x="3326" y="986"/>
                      <a:pt x="3370" y="971"/>
                      <a:pt x="3406" y="941"/>
                    </a:cubicBezTo>
                    <a:cubicBezTo>
                      <a:pt x="3466" y="882"/>
                      <a:pt x="3466" y="775"/>
                      <a:pt x="3406" y="703"/>
                    </a:cubicBezTo>
                    <a:lnTo>
                      <a:pt x="2882" y="179"/>
                    </a:lnTo>
                    <a:cubicBezTo>
                      <a:pt x="2775" y="60"/>
                      <a:pt x="2620" y="1"/>
                      <a:pt x="2477" y="1"/>
                    </a:cubicBezTo>
                    <a:close/>
                  </a:path>
                </a:pathLst>
              </a:custGeom>
              <a:solidFill>
                <a:srgbClr val="E3E9ED"/>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388" name="Google Shape;8388;p106"/>
              <p:cNvSpPr/>
              <p:nvPr/>
            </p:nvSpPr>
            <p:spPr>
              <a:xfrm>
                <a:off x="2525796" y="4031425"/>
                <a:ext cx="60030" cy="35796"/>
              </a:xfrm>
              <a:custGeom>
                <a:avLst/>
                <a:gdLst/>
                <a:ahLst/>
                <a:cxnLst/>
                <a:rect l="l" t="t" r="r" b="b"/>
                <a:pathLst>
                  <a:path w="9336" h="5567" extrusionOk="0">
                    <a:moveTo>
                      <a:pt x="1876" y="0"/>
                    </a:moveTo>
                    <a:cubicBezTo>
                      <a:pt x="1831" y="0"/>
                      <a:pt x="1787" y="18"/>
                      <a:pt x="1751" y="54"/>
                    </a:cubicBezTo>
                    <a:lnTo>
                      <a:pt x="84" y="1721"/>
                    </a:lnTo>
                    <a:cubicBezTo>
                      <a:pt x="1" y="1804"/>
                      <a:pt x="1" y="1899"/>
                      <a:pt x="84" y="1983"/>
                    </a:cubicBezTo>
                    <a:lnTo>
                      <a:pt x="3263" y="5162"/>
                    </a:lnTo>
                    <a:cubicBezTo>
                      <a:pt x="3513" y="5412"/>
                      <a:pt x="3858" y="5566"/>
                      <a:pt x="4215" y="5566"/>
                    </a:cubicBezTo>
                    <a:cubicBezTo>
                      <a:pt x="4573" y="5566"/>
                      <a:pt x="4918" y="5435"/>
                      <a:pt x="5168" y="5162"/>
                    </a:cubicBezTo>
                    <a:lnTo>
                      <a:pt x="9252" y="1090"/>
                    </a:lnTo>
                    <a:cubicBezTo>
                      <a:pt x="9335" y="1006"/>
                      <a:pt x="9335" y="887"/>
                      <a:pt x="9276" y="828"/>
                    </a:cubicBezTo>
                    <a:cubicBezTo>
                      <a:pt x="9240" y="792"/>
                      <a:pt x="9195" y="774"/>
                      <a:pt x="9151" y="774"/>
                    </a:cubicBezTo>
                    <a:cubicBezTo>
                      <a:pt x="9106" y="774"/>
                      <a:pt x="9061" y="792"/>
                      <a:pt x="9026" y="828"/>
                    </a:cubicBezTo>
                    <a:lnTo>
                      <a:pt x="4942" y="4912"/>
                    </a:lnTo>
                    <a:cubicBezTo>
                      <a:pt x="4751" y="5102"/>
                      <a:pt x="4501" y="5209"/>
                      <a:pt x="4227" y="5209"/>
                    </a:cubicBezTo>
                    <a:cubicBezTo>
                      <a:pt x="3965" y="5209"/>
                      <a:pt x="3715" y="5102"/>
                      <a:pt x="3513" y="4912"/>
                    </a:cubicBezTo>
                    <a:lnTo>
                      <a:pt x="453" y="1840"/>
                    </a:lnTo>
                    <a:lnTo>
                      <a:pt x="1870" y="435"/>
                    </a:lnTo>
                    <a:lnTo>
                      <a:pt x="2370" y="935"/>
                    </a:lnTo>
                    <a:cubicBezTo>
                      <a:pt x="2406" y="971"/>
                      <a:pt x="2450" y="988"/>
                      <a:pt x="2495" y="988"/>
                    </a:cubicBezTo>
                    <a:cubicBezTo>
                      <a:pt x="2540" y="988"/>
                      <a:pt x="2584" y="971"/>
                      <a:pt x="2620" y="935"/>
                    </a:cubicBezTo>
                    <a:cubicBezTo>
                      <a:pt x="2703" y="863"/>
                      <a:pt x="2703" y="756"/>
                      <a:pt x="2620" y="685"/>
                    </a:cubicBezTo>
                    <a:lnTo>
                      <a:pt x="2001" y="54"/>
                    </a:lnTo>
                    <a:cubicBezTo>
                      <a:pt x="1965" y="18"/>
                      <a:pt x="1920" y="0"/>
                      <a:pt x="1876" y="0"/>
                    </a:cubicBezTo>
                    <a:close/>
                  </a:path>
                </a:pathLst>
              </a:custGeom>
              <a:solidFill>
                <a:srgbClr val="E3E9ED"/>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389" name="Google Shape;8389;p106"/>
              <p:cNvSpPr/>
              <p:nvPr/>
            </p:nvSpPr>
            <p:spPr>
              <a:xfrm>
                <a:off x="2543711" y="4013433"/>
                <a:ext cx="54211" cy="34568"/>
              </a:xfrm>
              <a:custGeom>
                <a:avLst/>
                <a:gdLst/>
                <a:ahLst/>
                <a:cxnLst/>
                <a:rect l="l" t="t" r="r" b="b"/>
                <a:pathLst>
                  <a:path w="8431" h="5376" extrusionOk="0">
                    <a:moveTo>
                      <a:pt x="6585" y="0"/>
                    </a:moveTo>
                    <a:cubicBezTo>
                      <a:pt x="6540" y="0"/>
                      <a:pt x="6495" y="18"/>
                      <a:pt x="6454" y="54"/>
                    </a:cubicBezTo>
                    <a:lnTo>
                      <a:pt x="1548" y="4971"/>
                    </a:lnTo>
                    <a:cubicBezTo>
                      <a:pt x="1513" y="4995"/>
                      <a:pt x="1477" y="5007"/>
                      <a:pt x="1429" y="5007"/>
                    </a:cubicBezTo>
                    <a:cubicBezTo>
                      <a:pt x="1382" y="5007"/>
                      <a:pt x="1346" y="4995"/>
                      <a:pt x="1310" y="4971"/>
                    </a:cubicBezTo>
                    <a:lnTo>
                      <a:pt x="334" y="3983"/>
                    </a:lnTo>
                    <a:cubicBezTo>
                      <a:pt x="292" y="3947"/>
                      <a:pt x="248" y="3929"/>
                      <a:pt x="203" y="3929"/>
                    </a:cubicBezTo>
                    <a:cubicBezTo>
                      <a:pt x="158" y="3929"/>
                      <a:pt x="114" y="3947"/>
                      <a:pt x="72" y="3983"/>
                    </a:cubicBezTo>
                    <a:cubicBezTo>
                      <a:pt x="1" y="4054"/>
                      <a:pt x="1" y="4161"/>
                      <a:pt x="72" y="4245"/>
                    </a:cubicBezTo>
                    <a:lnTo>
                      <a:pt x="1060" y="5221"/>
                    </a:lnTo>
                    <a:cubicBezTo>
                      <a:pt x="1156" y="5328"/>
                      <a:pt x="1275" y="5376"/>
                      <a:pt x="1417" y="5376"/>
                    </a:cubicBezTo>
                    <a:cubicBezTo>
                      <a:pt x="1548" y="5376"/>
                      <a:pt x="1679" y="5316"/>
                      <a:pt x="1775" y="5221"/>
                    </a:cubicBezTo>
                    <a:lnTo>
                      <a:pt x="6549" y="447"/>
                    </a:lnTo>
                    <a:lnTo>
                      <a:pt x="7966" y="1852"/>
                    </a:lnTo>
                    <a:lnTo>
                      <a:pt x="6704" y="3126"/>
                    </a:lnTo>
                    <a:cubicBezTo>
                      <a:pt x="6621" y="3197"/>
                      <a:pt x="6621" y="3304"/>
                      <a:pt x="6704" y="3376"/>
                    </a:cubicBezTo>
                    <a:cubicBezTo>
                      <a:pt x="6740" y="3411"/>
                      <a:pt x="6784" y="3429"/>
                      <a:pt x="6829" y="3429"/>
                    </a:cubicBezTo>
                    <a:cubicBezTo>
                      <a:pt x="6874" y="3429"/>
                      <a:pt x="6918" y="3411"/>
                      <a:pt x="6954" y="3376"/>
                    </a:cubicBezTo>
                    <a:lnTo>
                      <a:pt x="8347" y="1983"/>
                    </a:lnTo>
                    <a:cubicBezTo>
                      <a:pt x="8383" y="1947"/>
                      <a:pt x="8395" y="1899"/>
                      <a:pt x="8395" y="1864"/>
                    </a:cubicBezTo>
                    <a:cubicBezTo>
                      <a:pt x="8430" y="1816"/>
                      <a:pt x="8406" y="1768"/>
                      <a:pt x="8383" y="1721"/>
                    </a:cubicBezTo>
                    <a:lnTo>
                      <a:pt x="6716" y="54"/>
                    </a:lnTo>
                    <a:cubicBezTo>
                      <a:pt x="6674" y="18"/>
                      <a:pt x="6629" y="0"/>
                      <a:pt x="6585" y="0"/>
                    </a:cubicBezTo>
                    <a:close/>
                  </a:path>
                </a:pathLst>
              </a:custGeom>
              <a:solidFill>
                <a:srgbClr val="E3E9ED"/>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390" name="Google Shape;8390;p106"/>
              <p:cNvSpPr/>
              <p:nvPr/>
            </p:nvSpPr>
            <p:spPr>
              <a:xfrm>
                <a:off x="2548194" y="3655090"/>
                <a:ext cx="41351" cy="64313"/>
              </a:xfrm>
              <a:custGeom>
                <a:avLst/>
                <a:gdLst/>
                <a:ahLst/>
                <a:cxnLst/>
                <a:rect l="l" t="t" r="r" b="b"/>
                <a:pathLst>
                  <a:path w="6431" h="10002" extrusionOk="0">
                    <a:moveTo>
                      <a:pt x="4025" y="0"/>
                    </a:moveTo>
                    <a:cubicBezTo>
                      <a:pt x="3870" y="0"/>
                      <a:pt x="3704" y="60"/>
                      <a:pt x="3608" y="179"/>
                    </a:cubicBezTo>
                    <a:lnTo>
                      <a:pt x="1465" y="2322"/>
                    </a:lnTo>
                    <a:lnTo>
                      <a:pt x="299" y="1167"/>
                    </a:lnTo>
                    <a:cubicBezTo>
                      <a:pt x="269" y="1138"/>
                      <a:pt x="227" y="1123"/>
                      <a:pt x="184" y="1123"/>
                    </a:cubicBezTo>
                    <a:cubicBezTo>
                      <a:pt x="141" y="1123"/>
                      <a:pt x="96" y="1138"/>
                      <a:pt x="60" y="1167"/>
                    </a:cubicBezTo>
                    <a:cubicBezTo>
                      <a:pt x="1" y="1227"/>
                      <a:pt x="1" y="1322"/>
                      <a:pt x="60" y="1405"/>
                    </a:cubicBezTo>
                    <a:lnTo>
                      <a:pt x="1346" y="2679"/>
                    </a:lnTo>
                    <a:cubicBezTo>
                      <a:pt x="1370" y="2715"/>
                      <a:pt x="1418" y="2727"/>
                      <a:pt x="1465" y="2727"/>
                    </a:cubicBezTo>
                    <a:cubicBezTo>
                      <a:pt x="1501" y="2727"/>
                      <a:pt x="1549" y="2715"/>
                      <a:pt x="1584" y="2679"/>
                    </a:cubicBezTo>
                    <a:lnTo>
                      <a:pt x="3847" y="417"/>
                    </a:lnTo>
                    <a:cubicBezTo>
                      <a:pt x="3882" y="370"/>
                      <a:pt x="3966" y="346"/>
                      <a:pt x="4037" y="346"/>
                    </a:cubicBezTo>
                    <a:cubicBezTo>
                      <a:pt x="4109" y="346"/>
                      <a:pt x="4168" y="370"/>
                      <a:pt x="4228" y="417"/>
                    </a:cubicBezTo>
                    <a:lnTo>
                      <a:pt x="6049" y="2239"/>
                    </a:lnTo>
                    <a:cubicBezTo>
                      <a:pt x="6085" y="2275"/>
                      <a:pt x="6121" y="2358"/>
                      <a:pt x="6121" y="2429"/>
                    </a:cubicBezTo>
                    <a:cubicBezTo>
                      <a:pt x="6121" y="2501"/>
                      <a:pt x="6085" y="2560"/>
                      <a:pt x="6049" y="2620"/>
                    </a:cubicBezTo>
                    <a:lnTo>
                      <a:pt x="3775" y="4882"/>
                    </a:lnTo>
                    <a:cubicBezTo>
                      <a:pt x="3716" y="4942"/>
                      <a:pt x="3716" y="5049"/>
                      <a:pt x="3775" y="5120"/>
                    </a:cubicBezTo>
                    <a:lnTo>
                      <a:pt x="6049" y="7382"/>
                    </a:lnTo>
                    <a:cubicBezTo>
                      <a:pt x="6085" y="7430"/>
                      <a:pt x="6121" y="7501"/>
                      <a:pt x="6121" y="7573"/>
                    </a:cubicBezTo>
                    <a:cubicBezTo>
                      <a:pt x="6121" y="7656"/>
                      <a:pt x="6085" y="7716"/>
                      <a:pt x="6049" y="7775"/>
                    </a:cubicBezTo>
                    <a:lnTo>
                      <a:pt x="4228" y="9585"/>
                    </a:lnTo>
                    <a:cubicBezTo>
                      <a:pt x="4174" y="9639"/>
                      <a:pt x="4103" y="9665"/>
                      <a:pt x="4033" y="9665"/>
                    </a:cubicBezTo>
                    <a:cubicBezTo>
                      <a:pt x="3963" y="9665"/>
                      <a:pt x="3894" y="9639"/>
                      <a:pt x="3847" y="9585"/>
                    </a:cubicBezTo>
                    <a:lnTo>
                      <a:pt x="2989" y="8740"/>
                    </a:lnTo>
                    <a:cubicBezTo>
                      <a:pt x="2960" y="8710"/>
                      <a:pt x="2921" y="8695"/>
                      <a:pt x="2879" y="8695"/>
                    </a:cubicBezTo>
                    <a:cubicBezTo>
                      <a:pt x="2838" y="8695"/>
                      <a:pt x="2793" y="8710"/>
                      <a:pt x="2751" y="8740"/>
                    </a:cubicBezTo>
                    <a:cubicBezTo>
                      <a:pt x="2692" y="8799"/>
                      <a:pt x="2692" y="8906"/>
                      <a:pt x="2751" y="8978"/>
                    </a:cubicBezTo>
                    <a:lnTo>
                      <a:pt x="3608" y="9823"/>
                    </a:lnTo>
                    <a:cubicBezTo>
                      <a:pt x="3728" y="9942"/>
                      <a:pt x="3870" y="10002"/>
                      <a:pt x="4025" y="10002"/>
                    </a:cubicBezTo>
                    <a:cubicBezTo>
                      <a:pt x="4168" y="10002"/>
                      <a:pt x="4335" y="9942"/>
                      <a:pt x="4442" y="9823"/>
                    </a:cubicBezTo>
                    <a:lnTo>
                      <a:pt x="6252" y="8013"/>
                    </a:lnTo>
                    <a:cubicBezTo>
                      <a:pt x="6371" y="7894"/>
                      <a:pt x="6430" y="7740"/>
                      <a:pt x="6430" y="7597"/>
                    </a:cubicBezTo>
                    <a:cubicBezTo>
                      <a:pt x="6430" y="7430"/>
                      <a:pt x="6371" y="7275"/>
                      <a:pt x="6252" y="7180"/>
                    </a:cubicBezTo>
                    <a:lnTo>
                      <a:pt x="4109" y="4977"/>
                    </a:lnTo>
                    <a:lnTo>
                      <a:pt x="6252" y="2834"/>
                    </a:lnTo>
                    <a:cubicBezTo>
                      <a:pt x="6371" y="2715"/>
                      <a:pt x="6430" y="2560"/>
                      <a:pt x="6430" y="2417"/>
                    </a:cubicBezTo>
                    <a:cubicBezTo>
                      <a:pt x="6430" y="2251"/>
                      <a:pt x="6371" y="2096"/>
                      <a:pt x="6252" y="2001"/>
                    </a:cubicBezTo>
                    <a:lnTo>
                      <a:pt x="4442" y="179"/>
                    </a:lnTo>
                    <a:cubicBezTo>
                      <a:pt x="4323" y="60"/>
                      <a:pt x="4168" y="0"/>
                      <a:pt x="4025" y="0"/>
                    </a:cubicBezTo>
                    <a:close/>
                  </a:path>
                </a:pathLst>
              </a:custGeom>
              <a:solidFill>
                <a:srgbClr val="E3E9ED"/>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391" name="Google Shape;8391;p106"/>
              <p:cNvSpPr/>
              <p:nvPr/>
            </p:nvSpPr>
            <p:spPr>
              <a:xfrm>
                <a:off x="2525225" y="3654858"/>
                <a:ext cx="39512" cy="64165"/>
              </a:xfrm>
              <a:custGeom>
                <a:avLst/>
                <a:gdLst/>
                <a:ahLst/>
                <a:cxnLst/>
                <a:rect l="l" t="t" r="r" b="b"/>
                <a:pathLst>
                  <a:path w="6145" h="9979" extrusionOk="0">
                    <a:moveTo>
                      <a:pt x="2477" y="1"/>
                    </a:moveTo>
                    <a:cubicBezTo>
                      <a:pt x="2311" y="1"/>
                      <a:pt x="2156" y="60"/>
                      <a:pt x="2061" y="179"/>
                    </a:cubicBezTo>
                    <a:lnTo>
                      <a:pt x="239" y="2001"/>
                    </a:lnTo>
                    <a:cubicBezTo>
                      <a:pt x="1" y="2239"/>
                      <a:pt x="1" y="2608"/>
                      <a:pt x="239" y="2846"/>
                    </a:cubicBezTo>
                    <a:lnTo>
                      <a:pt x="2382" y="4989"/>
                    </a:lnTo>
                    <a:lnTo>
                      <a:pt x="239" y="7133"/>
                    </a:lnTo>
                    <a:cubicBezTo>
                      <a:pt x="1" y="7371"/>
                      <a:pt x="1" y="7752"/>
                      <a:pt x="239" y="7990"/>
                    </a:cubicBezTo>
                    <a:lnTo>
                      <a:pt x="2061" y="9800"/>
                    </a:lnTo>
                    <a:cubicBezTo>
                      <a:pt x="2180" y="9919"/>
                      <a:pt x="2323" y="9978"/>
                      <a:pt x="2477" y="9978"/>
                    </a:cubicBezTo>
                    <a:cubicBezTo>
                      <a:pt x="2620" y="9978"/>
                      <a:pt x="2787" y="9919"/>
                      <a:pt x="2882" y="9800"/>
                    </a:cubicBezTo>
                    <a:lnTo>
                      <a:pt x="5037" y="7656"/>
                    </a:lnTo>
                    <a:lnTo>
                      <a:pt x="5859" y="8490"/>
                    </a:lnTo>
                    <a:cubicBezTo>
                      <a:pt x="5895" y="8520"/>
                      <a:pt x="5936" y="8535"/>
                      <a:pt x="5978" y="8535"/>
                    </a:cubicBezTo>
                    <a:cubicBezTo>
                      <a:pt x="6020" y="8535"/>
                      <a:pt x="6061" y="8520"/>
                      <a:pt x="6097" y="8490"/>
                    </a:cubicBezTo>
                    <a:cubicBezTo>
                      <a:pt x="6145" y="8430"/>
                      <a:pt x="6145" y="8323"/>
                      <a:pt x="6085" y="8264"/>
                    </a:cubicBezTo>
                    <a:lnTo>
                      <a:pt x="5156" y="7335"/>
                    </a:lnTo>
                    <a:cubicBezTo>
                      <a:pt x="5121" y="7299"/>
                      <a:pt x="5073" y="7287"/>
                      <a:pt x="5037" y="7287"/>
                    </a:cubicBezTo>
                    <a:cubicBezTo>
                      <a:pt x="4990" y="7287"/>
                      <a:pt x="4942" y="7299"/>
                      <a:pt x="4918" y="7335"/>
                    </a:cubicBezTo>
                    <a:lnTo>
                      <a:pt x="2656" y="9597"/>
                    </a:lnTo>
                    <a:cubicBezTo>
                      <a:pt x="2608" y="9633"/>
                      <a:pt x="2537" y="9669"/>
                      <a:pt x="2454" y="9669"/>
                    </a:cubicBezTo>
                    <a:cubicBezTo>
                      <a:pt x="2382" y="9669"/>
                      <a:pt x="2323" y="9633"/>
                      <a:pt x="2263" y="9597"/>
                    </a:cubicBezTo>
                    <a:lnTo>
                      <a:pt x="453" y="7776"/>
                    </a:lnTo>
                    <a:cubicBezTo>
                      <a:pt x="346" y="7668"/>
                      <a:pt x="346" y="7490"/>
                      <a:pt x="453" y="7395"/>
                    </a:cubicBezTo>
                    <a:lnTo>
                      <a:pt x="2716" y="5132"/>
                    </a:lnTo>
                    <a:cubicBezTo>
                      <a:pt x="2739" y="5097"/>
                      <a:pt x="2751" y="5049"/>
                      <a:pt x="2751" y="5013"/>
                    </a:cubicBezTo>
                    <a:cubicBezTo>
                      <a:pt x="2751" y="4966"/>
                      <a:pt x="2739" y="4918"/>
                      <a:pt x="2716" y="4894"/>
                    </a:cubicBezTo>
                    <a:lnTo>
                      <a:pt x="453" y="2632"/>
                    </a:lnTo>
                    <a:cubicBezTo>
                      <a:pt x="346" y="2525"/>
                      <a:pt x="346" y="2346"/>
                      <a:pt x="453" y="2239"/>
                    </a:cubicBezTo>
                    <a:lnTo>
                      <a:pt x="2263" y="417"/>
                    </a:lnTo>
                    <a:cubicBezTo>
                      <a:pt x="2311" y="382"/>
                      <a:pt x="2382" y="346"/>
                      <a:pt x="2454" y="346"/>
                    </a:cubicBezTo>
                    <a:cubicBezTo>
                      <a:pt x="2537" y="346"/>
                      <a:pt x="2597" y="382"/>
                      <a:pt x="2656" y="417"/>
                    </a:cubicBezTo>
                    <a:lnTo>
                      <a:pt x="3168" y="941"/>
                    </a:lnTo>
                    <a:cubicBezTo>
                      <a:pt x="3198" y="971"/>
                      <a:pt x="3239" y="986"/>
                      <a:pt x="3283" y="986"/>
                    </a:cubicBezTo>
                    <a:cubicBezTo>
                      <a:pt x="3326" y="986"/>
                      <a:pt x="3370" y="971"/>
                      <a:pt x="3406" y="941"/>
                    </a:cubicBezTo>
                    <a:cubicBezTo>
                      <a:pt x="3466" y="882"/>
                      <a:pt x="3466" y="775"/>
                      <a:pt x="3406" y="703"/>
                    </a:cubicBezTo>
                    <a:lnTo>
                      <a:pt x="2882" y="179"/>
                    </a:lnTo>
                    <a:cubicBezTo>
                      <a:pt x="2775" y="60"/>
                      <a:pt x="2620" y="1"/>
                      <a:pt x="2477" y="1"/>
                    </a:cubicBezTo>
                    <a:close/>
                  </a:path>
                </a:pathLst>
              </a:custGeom>
              <a:solidFill>
                <a:srgbClr val="E3E9ED"/>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graphicFrame>
        <p:nvGraphicFramePr>
          <p:cNvPr id="8392" name="Google Shape;8392;p106"/>
          <p:cNvGraphicFramePr/>
          <p:nvPr/>
        </p:nvGraphicFramePr>
        <p:xfrm>
          <a:off x="7939433" y="3148267"/>
          <a:ext cx="4000000" cy="4000000"/>
        </p:xfrm>
        <a:graphic>
          <a:graphicData uri="http://schemas.openxmlformats.org/drawingml/2006/table">
            <a:tbl>
              <a:tblPr>
                <a:noFill/>
              </a:tblPr>
              <a:tblGrid>
                <a:gridCol w="834700">
                  <a:extLst>
                    <a:ext uri="{9D8B030D-6E8A-4147-A177-3AD203B41FA5}">
                      <a16:colId xmlns:a16="http://schemas.microsoft.com/office/drawing/2014/main" val="20000"/>
                    </a:ext>
                  </a:extLst>
                </a:gridCol>
                <a:gridCol w="834700">
                  <a:extLst>
                    <a:ext uri="{9D8B030D-6E8A-4147-A177-3AD203B41FA5}">
                      <a16:colId xmlns:a16="http://schemas.microsoft.com/office/drawing/2014/main" val="20001"/>
                    </a:ext>
                  </a:extLst>
                </a:gridCol>
                <a:gridCol w="834700">
                  <a:extLst>
                    <a:ext uri="{9D8B030D-6E8A-4147-A177-3AD203B41FA5}">
                      <a16:colId xmlns:a16="http://schemas.microsoft.com/office/drawing/2014/main" val="20002"/>
                    </a:ext>
                  </a:extLst>
                </a:gridCol>
                <a:gridCol w="834700">
                  <a:extLst>
                    <a:ext uri="{9D8B030D-6E8A-4147-A177-3AD203B41FA5}">
                      <a16:colId xmlns:a16="http://schemas.microsoft.com/office/drawing/2014/main" val="20003"/>
                    </a:ext>
                  </a:extLst>
                </a:gridCol>
              </a:tblGrid>
              <a:tr h="289533">
                <a:tc>
                  <a:txBody>
                    <a:bodyPr/>
                    <a:lstStyle/>
                    <a:p>
                      <a:pPr marL="0" lvl="0" indent="0" algn="ctr" rtl="0">
                        <a:spcBef>
                          <a:spcPts val="0"/>
                        </a:spcBef>
                        <a:spcAft>
                          <a:spcPts val="0"/>
                        </a:spcAft>
                        <a:buNone/>
                      </a:pPr>
                      <a:endParaRPr sz="300" b="1">
                        <a:latin typeface="Amatic SC"/>
                        <a:ea typeface="Amatic SC"/>
                        <a:cs typeface="Amatic SC"/>
                        <a:sym typeface="Amatic SC"/>
                      </a:endParaRPr>
                    </a:p>
                  </a:txBody>
                  <a:tcPr marL="121900" marR="121900" marT="121900" marB="121900">
                    <a:lnL w="9525" cap="flat" cmpd="sng">
                      <a:solidFill>
                        <a:srgbClr val="E1E7EC"/>
                      </a:solidFill>
                      <a:prstDash val="solid"/>
                      <a:round/>
                      <a:headEnd type="none" w="sm" len="sm"/>
                      <a:tailEnd type="none" w="sm" len="sm"/>
                    </a:lnL>
                    <a:lnR w="9525" cap="flat" cmpd="sng">
                      <a:solidFill>
                        <a:srgbClr val="E1E7EC">
                          <a:alpha val="0"/>
                        </a:srgbClr>
                      </a:solidFill>
                      <a:prstDash val="solid"/>
                      <a:round/>
                      <a:headEnd type="none" w="sm" len="sm"/>
                      <a:tailEnd type="none" w="sm" len="sm"/>
                    </a:lnR>
                    <a:lnT w="9525" cap="flat" cmpd="sng">
                      <a:solidFill>
                        <a:srgbClr val="E1E7EC"/>
                      </a:solidFill>
                      <a:prstDash val="solid"/>
                      <a:round/>
                      <a:headEnd type="none" w="sm" len="sm"/>
                      <a:tailEnd type="none" w="sm" len="sm"/>
                    </a:lnT>
                    <a:lnB w="9525" cap="flat" cmpd="sng">
                      <a:solidFill>
                        <a:srgbClr val="E1E7EC"/>
                      </a:solidFill>
                      <a:prstDash val="dot"/>
                      <a:round/>
                      <a:headEnd type="none" w="sm" len="sm"/>
                      <a:tailEnd type="none" w="sm" len="sm"/>
                    </a:lnB>
                    <a:solidFill>
                      <a:srgbClr val="CFD9E0"/>
                    </a:solidFill>
                  </a:tcPr>
                </a:tc>
                <a:tc>
                  <a:txBody>
                    <a:bodyPr/>
                    <a:lstStyle/>
                    <a:p>
                      <a:pPr marL="0" lvl="0" indent="0" algn="ctr" rtl="0">
                        <a:spcBef>
                          <a:spcPts val="0"/>
                        </a:spcBef>
                        <a:spcAft>
                          <a:spcPts val="0"/>
                        </a:spcAft>
                        <a:buNone/>
                      </a:pPr>
                      <a:endParaRPr sz="300" b="1">
                        <a:latin typeface="Amatic SC"/>
                        <a:ea typeface="Amatic SC"/>
                        <a:cs typeface="Amatic SC"/>
                        <a:sym typeface="Amatic SC"/>
                      </a:endParaRPr>
                    </a:p>
                  </a:txBody>
                  <a:tcPr marL="121900" marR="121900" marT="121900" marB="121900">
                    <a:lnL w="9525" cap="flat" cmpd="sng">
                      <a:solidFill>
                        <a:srgbClr val="E1E7EC">
                          <a:alpha val="0"/>
                        </a:srgbClr>
                      </a:solidFill>
                      <a:prstDash val="solid"/>
                      <a:round/>
                      <a:headEnd type="none" w="sm" len="sm"/>
                      <a:tailEnd type="none" w="sm" len="sm"/>
                    </a:lnL>
                    <a:lnR w="9525" cap="flat" cmpd="sng">
                      <a:solidFill>
                        <a:srgbClr val="E1E7EC">
                          <a:alpha val="0"/>
                        </a:srgbClr>
                      </a:solidFill>
                      <a:prstDash val="solid"/>
                      <a:round/>
                      <a:headEnd type="none" w="sm" len="sm"/>
                      <a:tailEnd type="none" w="sm" len="sm"/>
                    </a:lnR>
                    <a:lnT w="9525" cap="flat" cmpd="sng">
                      <a:solidFill>
                        <a:srgbClr val="E1E7EC"/>
                      </a:solidFill>
                      <a:prstDash val="solid"/>
                      <a:round/>
                      <a:headEnd type="none" w="sm" len="sm"/>
                      <a:tailEnd type="none" w="sm" len="sm"/>
                    </a:lnT>
                    <a:lnB w="9525" cap="flat" cmpd="sng">
                      <a:solidFill>
                        <a:srgbClr val="E1E7EC"/>
                      </a:solidFill>
                      <a:prstDash val="dot"/>
                      <a:round/>
                      <a:headEnd type="none" w="sm" len="sm"/>
                      <a:tailEnd type="none" w="sm" len="sm"/>
                    </a:lnB>
                  </a:tcPr>
                </a:tc>
                <a:tc>
                  <a:txBody>
                    <a:bodyPr/>
                    <a:lstStyle/>
                    <a:p>
                      <a:pPr marL="0" lvl="0" indent="0" algn="ctr" rtl="0">
                        <a:spcBef>
                          <a:spcPts val="0"/>
                        </a:spcBef>
                        <a:spcAft>
                          <a:spcPts val="0"/>
                        </a:spcAft>
                        <a:buNone/>
                      </a:pPr>
                      <a:endParaRPr sz="300" b="1">
                        <a:latin typeface="Amatic SC"/>
                        <a:ea typeface="Amatic SC"/>
                        <a:cs typeface="Amatic SC"/>
                        <a:sym typeface="Amatic SC"/>
                      </a:endParaRPr>
                    </a:p>
                  </a:txBody>
                  <a:tcPr marL="121900" marR="121900" marT="121900" marB="121900">
                    <a:lnL w="9525" cap="flat" cmpd="sng">
                      <a:solidFill>
                        <a:srgbClr val="E1E7EC">
                          <a:alpha val="0"/>
                        </a:srgbClr>
                      </a:solidFill>
                      <a:prstDash val="solid"/>
                      <a:round/>
                      <a:headEnd type="none" w="sm" len="sm"/>
                      <a:tailEnd type="none" w="sm" len="sm"/>
                    </a:lnL>
                    <a:lnR w="9525" cap="flat" cmpd="sng">
                      <a:solidFill>
                        <a:srgbClr val="E1E7EC">
                          <a:alpha val="0"/>
                        </a:srgbClr>
                      </a:solidFill>
                      <a:prstDash val="solid"/>
                      <a:round/>
                      <a:headEnd type="none" w="sm" len="sm"/>
                      <a:tailEnd type="none" w="sm" len="sm"/>
                    </a:lnR>
                    <a:lnT w="9525" cap="flat" cmpd="sng">
                      <a:solidFill>
                        <a:srgbClr val="E1E7EC"/>
                      </a:solidFill>
                      <a:prstDash val="solid"/>
                      <a:round/>
                      <a:headEnd type="none" w="sm" len="sm"/>
                      <a:tailEnd type="none" w="sm" len="sm"/>
                    </a:lnT>
                    <a:lnB w="9525" cap="flat" cmpd="sng">
                      <a:solidFill>
                        <a:srgbClr val="E1E7EC"/>
                      </a:solidFill>
                      <a:prstDash val="dot"/>
                      <a:round/>
                      <a:headEnd type="none" w="sm" len="sm"/>
                      <a:tailEnd type="none" w="sm" len="sm"/>
                    </a:lnB>
                  </a:tcPr>
                </a:tc>
                <a:tc>
                  <a:txBody>
                    <a:bodyPr/>
                    <a:lstStyle/>
                    <a:p>
                      <a:pPr marL="0" lvl="0" indent="0" algn="ctr" rtl="0">
                        <a:spcBef>
                          <a:spcPts val="0"/>
                        </a:spcBef>
                        <a:spcAft>
                          <a:spcPts val="0"/>
                        </a:spcAft>
                        <a:buNone/>
                      </a:pPr>
                      <a:endParaRPr sz="300" b="1">
                        <a:latin typeface="Amatic SC"/>
                        <a:ea typeface="Amatic SC"/>
                        <a:cs typeface="Amatic SC"/>
                        <a:sym typeface="Amatic SC"/>
                      </a:endParaRPr>
                    </a:p>
                  </a:txBody>
                  <a:tcPr marL="121900" marR="121900" marT="121900" marB="121900">
                    <a:lnL w="9525" cap="flat" cmpd="sng">
                      <a:solidFill>
                        <a:srgbClr val="E1E7EC">
                          <a:alpha val="0"/>
                        </a:srgbClr>
                      </a:solidFill>
                      <a:prstDash val="solid"/>
                      <a:round/>
                      <a:headEnd type="none" w="sm" len="sm"/>
                      <a:tailEnd type="none" w="sm" len="sm"/>
                    </a:lnL>
                    <a:lnR w="9525" cap="flat" cmpd="sng">
                      <a:solidFill>
                        <a:srgbClr val="E1E7EC">
                          <a:alpha val="0"/>
                        </a:srgbClr>
                      </a:solidFill>
                      <a:prstDash val="solid"/>
                      <a:round/>
                      <a:headEnd type="none" w="sm" len="sm"/>
                      <a:tailEnd type="none" w="sm" len="sm"/>
                    </a:lnR>
                    <a:lnT w="9525" cap="flat" cmpd="sng">
                      <a:solidFill>
                        <a:srgbClr val="E1E7EC"/>
                      </a:solidFill>
                      <a:prstDash val="solid"/>
                      <a:round/>
                      <a:headEnd type="none" w="sm" len="sm"/>
                      <a:tailEnd type="none" w="sm" len="sm"/>
                    </a:lnT>
                    <a:lnB w="9525" cap="flat" cmpd="sng">
                      <a:solidFill>
                        <a:srgbClr val="E1E7EC"/>
                      </a:solidFill>
                      <a:prstDash val="dot"/>
                      <a:round/>
                      <a:headEnd type="none" w="sm" len="sm"/>
                      <a:tailEnd type="none" w="sm" len="sm"/>
                    </a:lnB>
                  </a:tcPr>
                </a:tc>
                <a:extLst>
                  <a:ext uri="{0D108BD9-81ED-4DB2-BD59-A6C34878D82A}">
                    <a16:rowId xmlns:a16="http://schemas.microsoft.com/office/drawing/2014/main" val="10000"/>
                  </a:ext>
                </a:extLst>
              </a:tr>
              <a:tr h="289533">
                <a:tc>
                  <a:txBody>
                    <a:bodyPr/>
                    <a:lstStyle/>
                    <a:p>
                      <a:pPr marL="0" lvl="0" indent="0" algn="ctr" rtl="0">
                        <a:spcBef>
                          <a:spcPts val="0"/>
                        </a:spcBef>
                        <a:spcAft>
                          <a:spcPts val="0"/>
                        </a:spcAft>
                        <a:buNone/>
                      </a:pPr>
                      <a:endParaRPr sz="300" b="1">
                        <a:latin typeface="Amatic SC"/>
                        <a:ea typeface="Amatic SC"/>
                        <a:cs typeface="Amatic SC"/>
                        <a:sym typeface="Amatic SC"/>
                      </a:endParaRPr>
                    </a:p>
                  </a:txBody>
                  <a:tcPr marL="121900" marR="121900" marT="121900" marB="121900">
                    <a:lnL w="9525" cap="flat" cmpd="sng">
                      <a:solidFill>
                        <a:srgbClr val="E1E7EC"/>
                      </a:solidFill>
                      <a:prstDash val="solid"/>
                      <a:round/>
                      <a:headEnd type="none" w="sm" len="sm"/>
                      <a:tailEnd type="none" w="sm" len="sm"/>
                    </a:lnL>
                    <a:lnR w="9525" cap="flat" cmpd="sng">
                      <a:solidFill>
                        <a:srgbClr val="E1E7EC">
                          <a:alpha val="0"/>
                        </a:srgbClr>
                      </a:solidFill>
                      <a:prstDash val="solid"/>
                      <a:round/>
                      <a:headEnd type="none" w="sm" len="sm"/>
                      <a:tailEnd type="none" w="sm" len="sm"/>
                    </a:lnR>
                    <a:lnT w="9525" cap="flat" cmpd="sng">
                      <a:solidFill>
                        <a:srgbClr val="E1E7EC"/>
                      </a:solidFill>
                      <a:prstDash val="dot"/>
                      <a:round/>
                      <a:headEnd type="none" w="sm" len="sm"/>
                      <a:tailEnd type="none" w="sm" len="sm"/>
                    </a:lnT>
                    <a:lnB w="9525" cap="flat" cmpd="sng">
                      <a:solidFill>
                        <a:srgbClr val="E1E7EC"/>
                      </a:solidFill>
                      <a:prstDash val="dot"/>
                      <a:round/>
                      <a:headEnd type="none" w="sm" len="sm"/>
                      <a:tailEnd type="none" w="sm" len="sm"/>
                    </a:lnB>
                    <a:solidFill>
                      <a:srgbClr val="CFD9E0"/>
                    </a:solidFill>
                  </a:tcPr>
                </a:tc>
                <a:tc>
                  <a:txBody>
                    <a:bodyPr/>
                    <a:lstStyle/>
                    <a:p>
                      <a:pPr marL="0" lvl="0" indent="0" algn="ctr" rtl="0">
                        <a:spcBef>
                          <a:spcPts val="0"/>
                        </a:spcBef>
                        <a:spcAft>
                          <a:spcPts val="0"/>
                        </a:spcAft>
                        <a:buNone/>
                      </a:pPr>
                      <a:endParaRPr sz="300" b="1">
                        <a:latin typeface="Amatic SC"/>
                        <a:ea typeface="Amatic SC"/>
                        <a:cs typeface="Amatic SC"/>
                        <a:sym typeface="Amatic SC"/>
                      </a:endParaRPr>
                    </a:p>
                  </a:txBody>
                  <a:tcPr marL="121900" marR="121900" marT="121900" marB="121900">
                    <a:lnL w="9525" cap="flat" cmpd="sng">
                      <a:solidFill>
                        <a:srgbClr val="E1E7EC">
                          <a:alpha val="0"/>
                        </a:srgbClr>
                      </a:solidFill>
                      <a:prstDash val="solid"/>
                      <a:round/>
                      <a:headEnd type="none" w="sm" len="sm"/>
                      <a:tailEnd type="none" w="sm" len="sm"/>
                    </a:lnL>
                    <a:lnR w="9525" cap="flat" cmpd="sng">
                      <a:solidFill>
                        <a:srgbClr val="E1E7EC">
                          <a:alpha val="0"/>
                        </a:srgbClr>
                      </a:solidFill>
                      <a:prstDash val="solid"/>
                      <a:round/>
                      <a:headEnd type="none" w="sm" len="sm"/>
                      <a:tailEnd type="none" w="sm" len="sm"/>
                    </a:lnR>
                    <a:lnT w="9525" cap="flat" cmpd="sng">
                      <a:solidFill>
                        <a:srgbClr val="E1E7EC"/>
                      </a:solidFill>
                      <a:prstDash val="dot"/>
                      <a:round/>
                      <a:headEnd type="none" w="sm" len="sm"/>
                      <a:tailEnd type="none" w="sm" len="sm"/>
                    </a:lnT>
                    <a:lnB w="9525" cap="flat" cmpd="sng">
                      <a:solidFill>
                        <a:srgbClr val="E1E7EC"/>
                      </a:solidFill>
                      <a:prstDash val="dot"/>
                      <a:round/>
                      <a:headEnd type="none" w="sm" len="sm"/>
                      <a:tailEnd type="none" w="sm" len="sm"/>
                    </a:lnB>
                  </a:tcPr>
                </a:tc>
                <a:tc>
                  <a:txBody>
                    <a:bodyPr/>
                    <a:lstStyle/>
                    <a:p>
                      <a:pPr marL="0" lvl="0" indent="0" algn="ctr" rtl="0">
                        <a:spcBef>
                          <a:spcPts val="0"/>
                        </a:spcBef>
                        <a:spcAft>
                          <a:spcPts val="0"/>
                        </a:spcAft>
                        <a:buNone/>
                      </a:pPr>
                      <a:endParaRPr sz="300" b="1">
                        <a:latin typeface="Amatic SC"/>
                        <a:ea typeface="Amatic SC"/>
                        <a:cs typeface="Amatic SC"/>
                        <a:sym typeface="Amatic SC"/>
                      </a:endParaRPr>
                    </a:p>
                  </a:txBody>
                  <a:tcPr marL="121900" marR="121900" marT="121900" marB="121900">
                    <a:lnL w="9525" cap="flat" cmpd="sng">
                      <a:solidFill>
                        <a:srgbClr val="E1E7EC">
                          <a:alpha val="0"/>
                        </a:srgbClr>
                      </a:solidFill>
                      <a:prstDash val="solid"/>
                      <a:round/>
                      <a:headEnd type="none" w="sm" len="sm"/>
                      <a:tailEnd type="none" w="sm" len="sm"/>
                    </a:lnL>
                    <a:lnR w="9525" cap="flat" cmpd="sng">
                      <a:solidFill>
                        <a:srgbClr val="E1E7EC">
                          <a:alpha val="0"/>
                        </a:srgbClr>
                      </a:solidFill>
                      <a:prstDash val="solid"/>
                      <a:round/>
                      <a:headEnd type="none" w="sm" len="sm"/>
                      <a:tailEnd type="none" w="sm" len="sm"/>
                    </a:lnR>
                    <a:lnT w="9525" cap="flat" cmpd="sng">
                      <a:solidFill>
                        <a:srgbClr val="E1E7EC"/>
                      </a:solidFill>
                      <a:prstDash val="dot"/>
                      <a:round/>
                      <a:headEnd type="none" w="sm" len="sm"/>
                      <a:tailEnd type="none" w="sm" len="sm"/>
                    </a:lnT>
                    <a:lnB w="9525" cap="flat" cmpd="sng">
                      <a:solidFill>
                        <a:srgbClr val="E1E7EC"/>
                      </a:solidFill>
                      <a:prstDash val="dot"/>
                      <a:round/>
                      <a:headEnd type="none" w="sm" len="sm"/>
                      <a:tailEnd type="none" w="sm" len="sm"/>
                    </a:lnB>
                  </a:tcPr>
                </a:tc>
                <a:tc>
                  <a:txBody>
                    <a:bodyPr/>
                    <a:lstStyle/>
                    <a:p>
                      <a:pPr marL="0" lvl="0" indent="0" algn="ctr" rtl="0">
                        <a:spcBef>
                          <a:spcPts val="0"/>
                        </a:spcBef>
                        <a:spcAft>
                          <a:spcPts val="0"/>
                        </a:spcAft>
                        <a:buNone/>
                      </a:pPr>
                      <a:endParaRPr sz="300" b="1">
                        <a:latin typeface="Amatic SC"/>
                        <a:ea typeface="Amatic SC"/>
                        <a:cs typeface="Amatic SC"/>
                        <a:sym typeface="Amatic SC"/>
                      </a:endParaRPr>
                    </a:p>
                  </a:txBody>
                  <a:tcPr marL="121900" marR="121900" marT="121900" marB="121900">
                    <a:lnL w="9525" cap="flat" cmpd="sng">
                      <a:solidFill>
                        <a:srgbClr val="E1E7EC">
                          <a:alpha val="0"/>
                        </a:srgbClr>
                      </a:solidFill>
                      <a:prstDash val="solid"/>
                      <a:round/>
                      <a:headEnd type="none" w="sm" len="sm"/>
                      <a:tailEnd type="none" w="sm" len="sm"/>
                    </a:lnL>
                    <a:lnR w="9525" cap="flat" cmpd="sng">
                      <a:solidFill>
                        <a:srgbClr val="E1E7EC">
                          <a:alpha val="0"/>
                        </a:srgbClr>
                      </a:solidFill>
                      <a:prstDash val="solid"/>
                      <a:round/>
                      <a:headEnd type="none" w="sm" len="sm"/>
                      <a:tailEnd type="none" w="sm" len="sm"/>
                    </a:lnR>
                    <a:lnT w="9525" cap="flat" cmpd="sng">
                      <a:solidFill>
                        <a:srgbClr val="E1E7EC"/>
                      </a:solidFill>
                      <a:prstDash val="dot"/>
                      <a:round/>
                      <a:headEnd type="none" w="sm" len="sm"/>
                      <a:tailEnd type="none" w="sm" len="sm"/>
                    </a:lnT>
                    <a:lnB w="9525" cap="flat" cmpd="sng">
                      <a:solidFill>
                        <a:srgbClr val="E1E7EC"/>
                      </a:solidFill>
                      <a:prstDash val="dot"/>
                      <a:round/>
                      <a:headEnd type="none" w="sm" len="sm"/>
                      <a:tailEnd type="none" w="sm" len="sm"/>
                    </a:lnB>
                  </a:tcPr>
                </a:tc>
                <a:extLst>
                  <a:ext uri="{0D108BD9-81ED-4DB2-BD59-A6C34878D82A}">
                    <a16:rowId xmlns:a16="http://schemas.microsoft.com/office/drawing/2014/main" val="10001"/>
                  </a:ext>
                </a:extLst>
              </a:tr>
              <a:tr h="289533">
                <a:tc>
                  <a:txBody>
                    <a:bodyPr/>
                    <a:lstStyle/>
                    <a:p>
                      <a:pPr marL="0" lvl="0" indent="0" algn="ctr" rtl="0">
                        <a:spcBef>
                          <a:spcPts val="0"/>
                        </a:spcBef>
                        <a:spcAft>
                          <a:spcPts val="0"/>
                        </a:spcAft>
                        <a:buNone/>
                      </a:pPr>
                      <a:endParaRPr sz="300" b="1">
                        <a:latin typeface="Amatic SC"/>
                        <a:ea typeface="Amatic SC"/>
                        <a:cs typeface="Amatic SC"/>
                        <a:sym typeface="Amatic SC"/>
                      </a:endParaRPr>
                    </a:p>
                  </a:txBody>
                  <a:tcPr marL="121900" marR="121900" marT="121900" marB="121900">
                    <a:lnL w="9525" cap="flat" cmpd="sng">
                      <a:solidFill>
                        <a:srgbClr val="E1E7EC"/>
                      </a:solidFill>
                      <a:prstDash val="solid"/>
                      <a:round/>
                      <a:headEnd type="none" w="sm" len="sm"/>
                      <a:tailEnd type="none" w="sm" len="sm"/>
                    </a:lnL>
                    <a:lnR w="9525" cap="flat" cmpd="sng">
                      <a:solidFill>
                        <a:srgbClr val="E1E7EC">
                          <a:alpha val="0"/>
                        </a:srgbClr>
                      </a:solidFill>
                      <a:prstDash val="solid"/>
                      <a:round/>
                      <a:headEnd type="none" w="sm" len="sm"/>
                      <a:tailEnd type="none" w="sm" len="sm"/>
                    </a:lnR>
                    <a:lnT w="9525" cap="flat" cmpd="sng">
                      <a:solidFill>
                        <a:srgbClr val="E1E7EC"/>
                      </a:solidFill>
                      <a:prstDash val="dot"/>
                      <a:round/>
                      <a:headEnd type="none" w="sm" len="sm"/>
                      <a:tailEnd type="none" w="sm" len="sm"/>
                    </a:lnT>
                    <a:lnB w="9525" cap="flat" cmpd="sng">
                      <a:solidFill>
                        <a:srgbClr val="E1E7EC"/>
                      </a:solidFill>
                      <a:prstDash val="dot"/>
                      <a:round/>
                      <a:headEnd type="none" w="sm" len="sm"/>
                      <a:tailEnd type="none" w="sm" len="sm"/>
                    </a:lnB>
                  </a:tcPr>
                </a:tc>
                <a:tc>
                  <a:txBody>
                    <a:bodyPr/>
                    <a:lstStyle/>
                    <a:p>
                      <a:pPr marL="0" lvl="0" indent="0" algn="ctr" rtl="0">
                        <a:spcBef>
                          <a:spcPts val="0"/>
                        </a:spcBef>
                        <a:spcAft>
                          <a:spcPts val="0"/>
                        </a:spcAft>
                        <a:buNone/>
                      </a:pPr>
                      <a:endParaRPr sz="300" b="1">
                        <a:latin typeface="Amatic SC"/>
                        <a:ea typeface="Amatic SC"/>
                        <a:cs typeface="Amatic SC"/>
                        <a:sym typeface="Amatic SC"/>
                      </a:endParaRPr>
                    </a:p>
                  </a:txBody>
                  <a:tcPr marL="121900" marR="121900" marT="121900" marB="121900">
                    <a:lnL w="9525" cap="flat" cmpd="sng">
                      <a:solidFill>
                        <a:srgbClr val="E1E7EC">
                          <a:alpha val="0"/>
                        </a:srgbClr>
                      </a:solidFill>
                      <a:prstDash val="solid"/>
                      <a:round/>
                      <a:headEnd type="none" w="sm" len="sm"/>
                      <a:tailEnd type="none" w="sm" len="sm"/>
                    </a:lnL>
                    <a:lnR w="9525" cap="flat" cmpd="sng">
                      <a:solidFill>
                        <a:srgbClr val="E1E7EC">
                          <a:alpha val="0"/>
                        </a:srgbClr>
                      </a:solidFill>
                      <a:prstDash val="solid"/>
                      <a:round/>
                      <a:headEnd type="none" w="sm" len="sm"/>
                      <a:tailEnd type="none" w="sm" len="sm"/>
                    </a:lnR>
                    <a:lnT w="9525" cap="flat" cmpd="sng">
                      <a:solidFill>
                        <a:srgbClr val="E1E7EC"/>
                      </a:solidFill>
                      <a:prstDash val="dot"/>
                      <a:round/>
                      <a:headEnd type="none" w="sm" len="sm"/>
                      <a:tailEnd type="none" w="sm" len="sm"/>
                    </a:lnT>
                    <a:lnB w="9525" cap="flat" cmpd="sng">
                      <a:solidFill>
                        <a:srgbClr val="E1E7EC"/>
                      </a:solidFill>
                      <a:prstDash val="dot"/>
                      <a:round/>
                      <a:headEnd type="none" w="sm" len="sm"/>
                      <a:tailEnd type="none" w="sm" len="sm"/>
                    </a:lnB>
                    <a:solidFill>
                      <a:srgbClr val="E3E9ED"/>
                    </a:solidFill>
                  </a:tcPr>
                </a:tc>
                <a:tc>
                  <a:txBody>
                    <a:bodyPr/>
                    <a:lstStyle/>
                    <a:p>
                      <a:pPr marL="0" lvl="0" indent="0" algn="ctr" rtl="0">
                        <a:spcBef>
                          <a:spcPts val="0"/>
                        </a:spcBef>
                        <a:spcAft>
                          <a:spcPts val="0"/>
                        </a:spcAft>
                        <a:buNone/>
                      </a:pPr>
                      <a:endParaRPr sz="300" b="1">
                        <a:latin typeface="Amatic SC"/>
                        <a:ea typeface="Amatic SC"/>
                        <a:cs typeface="Amatic SC"/>
                        <a:sym typeface="Amatic SC"/>
                      </a:endParaRPr>
                    </a:p>
                  </a:txBody>
                  <a:tcPr marL="121900" marR="121900" marT="121900" marB="121900">
                    <a:lnL w="9525" cap="flat" cmpd="sng">
                      <a:solidFill>
                        <a:srgbClr val="E1E7EC">
                          <a:alpha val="0"/>
                        </a:srgbClr>
                      </a:solidFill>
                      <a:prstDash val="solid"/>
                      <a:round/>
                      <a:headEnd type="none" w="sm" len="sm"/>
                      <a:tailEnd type="none" w="sm" len="sm"/>
                    </a:lnL>
                    <a:lnR w="9525" cap="flat" cmpd="sng">
                      <a:solidFill>
                        <a:srgbClr val="E1E7EC">
                          <a:alpha val="0"/>
                        </a:srgbClr>
                      </a:solidFill>
                      <a:prstDash val="solid"/>
                      <a:round/>
                      <a:headEnd type="none" w="sm" len="sm"/>
                      <a:tailEnd type="none" w="sm" len="sm"/>
                    </a:lnR>
                    <a:lnT w="9525" cap="flat" cmpd="sng">
                      <a:solidFill>
                        <a:srgbClr val="E1E7EC"/>
                      </a:solidFill>
                      <a:prstDash val="dot"/>
                      <a:round/>
                      <a:headEnd type="none" w="sm" len="sm"/>
                      <a:tailEnd type="none" w="sm" len="sm"/>
                    </a:lnT>
                    <a:lnB w="9525" cap="flat" cmpd="sng">
                      <a:solidFill>
                        <a:srgbClr val="E1E7EC"/>
                      </a:solidFill>
                      <a:prstDash val="dot"/>
                      <a:round/>
                      <a:headEnd type="none" w="sm" len="sm"/>
                      <a:tailEnd type="none" w="sm" len="sm"/>
                    </a:lnB>
                    <a:solidFill>
                      <a:srgbClr val="869FB2"/>
                    </a:solidFill>
                  </a:tcPr>
                </a:tc>
                <a:tc>
                  <a:txBody>
                    <a:bodyPr/>
                    <a:lstStyle/>
                    <a:p>
                      <a:pPr marL="0" lvl="0" indent="0" algn="ctr" rtl="0">
                        <a:spcBef>
                          <a:spcPts val="0"/>
                        </a:spcBef>
                        <a:spcAft>
                          <a:spcPts val="0"/>
                        </a:spcAft>
                        <a:buNone/>
                      </a:pPr>
                      <a:endParaRPr sz="300" b="1">
                        <a:latin typeface="Amatic SC"/>
                        <a:ea typeface="Amatic SC"/>
                        <a:cs typeface="Amatic SC"/>
                        <a:sym typeface="Amatic SC"/>
                      </a:endParaRPr>
                    </a:p>
                  </a:txBody>
                  <a:tcPr marL="121900" marR="121900" marT="121900" marB="121900">
                    <a:lnL w="9525" cap="flat" cmpd="sng">
                      <a:solidFill>
                        <a:srgbClr val="E1E7EC">
                          <a:alpha val="0"/>
                        </a:srgbClr>
                      </a:solidFill>
                      <a:prstDash val="solid"/>
                      <a:round/>
                      <a:headEnd type="none" w="sm" len="sm"/>
                      <a:tailEnd type="none" w="sm" len="sm"/>
                    </a:lnL>
                    <a:lnR w="9525" cap="flat" cmpd="sng">
                      <a:solidFill>
                        <a:srgbClr val="E1E7EC">
                          <a:alpha val="0"/>
                        </a:srgbClr>
                      </a:solidFill>
                      <a:prstDash val="solid"/>
                      <a:round/>
                      <a:headEnd type="none" w="sm" len="sm"/>
                      <a:tailEnd type="none" w="sm" len="sm"/>
                    </a:lnR>
                    <a:lnT w="9525" cap="flat" cmpd="sng">
                      <a:solidFill>
                        <a:srgbClr val="E1E7EC"/>
                      </a:solidFill>
                      <a:prstDash val="dot"/>
                      <a:round/>
                      <a:headEnd type="none" w="sm" len="sm"/>
                      <a:tailEnd type="none" w="sm" len="sm"/>
                    </a:lnT>
                    <a:lnB w="9525" cap="flat" cmpd="sng">
                      <a:solidFill>
                        <a:srgbClr val="E1E7EC"/>
                      </a:solidFill>
                      <a:prstDash val="dot"/>
                      <a:round/>
                      <a:headEnd type="none" w="sm" len="sm"/>
                      <a:tailEnd type="none" w="sm" len="sm"/>
                    </a:lnB>
                  </a:tcPr>
                </a:tc>
                <a:extLst>
                  <a:ext uri="{0D108BD9-81ED-4DB2-BD59-A6C34878D82A}">
                    <a16:rowId xmlns:a16="http://schemas.microsoft.com/office/drawing/2014/main" val="10002"/>
                  </a:ext>
                </a:extLst>
              </a:tr>
              <a:tr h="289533">
                <a:tc>
                  <a:txBody>
                    <a:bodyPr/>
                    <a:lstStyle/>
                    <a:p>
                      <a:pPr marL="0" lvl="0" indent="0" algn="ctr" rtl="0">
                        <a:spcBef>
                          <a:spcPts val="0"/>
                        </a:spcBef>
                        <a:spcAft>
                          <a:spcPts val="0"/>
                        </a:spcAft>
                        <a:buNone/>
                      </a:pPr>
                      <a:endParaRPr sz="300" b="1">
                        <a:latin typeface="Amatic SC"/>
                        <a:ea typeface="Amatic SC"/>
                        <a:cs typeface="Amatic SC"/>
                        <a:sym typeface="Amatic SC"/>
                      </a:endParaRPr>
                    </a:p>
                  </a:txBody>
                  <a:tcPr marL="121900" marR="121900" marT="121900" marB="121900">
                    <a:lnL w="9525" cap="flat" cmpd="sng">
                      <a:solidFill>
                        <a:srgbClr val="E1E7EC"/>
                      </a:solidFill>
                      <a:prstDash val="solid"/>
                      <a:round/>
                      <a:headEnd type="none" w="sm" len="sm"/>
                      <a:tailEnd type="none" w="sm" len="sm"/>
                    </a:lnL>
                    <a:lnR w="9525" cap="flat" cmpd="sng">
                      <a:solidFill>
                        <a:srgbClr val="E1E7EC">
                          <a:alpha val="0"/>
                        </a:srgbClr>
                      </a:solidFill>
                      <a:prstDash val="solid"/>
                      <a:round/>
                      <a:headEnd type="none" w="sm" len="sm"/>
                      <a:tailEnd type="none" w="sm" len="sm"/>
                    </a:lnR>
                    <a:lnT w="9525" cap="flat" cmpd="sng">
                      <a:solidFill>
                        <a:srgbClr val="E1E7EC"/>
                      </a:solidFill>
                      <a:prstDash val="dot"/>
                      <a:round/>
                      <a:headEnd type="none" w="sm" len="sm"/>
                      <a:tailEnd type="none" w="sm" len="sm"/>
                    </a:lnT>
                    <a:lnB w="9525" cap="flat" cmpd="sng">
                      <a:solidFill>
                        <a:srgbClr val="E1E7EC"/>
                      </a:solidFill>
                      <a:prstDash val="dot"/>
                      <a:round/>
                      <a:headEnd type="none" w="sm" len="sm"/>
                      <a:tailEnd type="none" w="sm" len="sm"/>
                    </a:lnB>
                  </a:tcPr>
                </a:tc>
                <a:tc>
                  <a:txBody>
                    <a:bodyPr/>
                    <a:lstStyle/>
                    <a:p>
                      <a:pPr marL="0" lvl="0" indent="0" algn="ctr" rtl="0">
                        <a:spcBef>
                          <a:spcPts val="0"/>
                        </a:spcBef>
                        <a:spcAft>
                          <a:spcPts val="0"/>
                        </a:spcAft>
                        <a:buNone/>
                      </a:pPr>
                      <a:endParaRPr sz="300" b="1">
                        <a:latin typeface="Amatic SC"/>
                        <a:ea typeface="Amatic SC"/>
                        <a:cs typeface="Amatic SC"/>
                        <a:sym typeface="Amatic SC"/>
                      </a:endParaRPr>
                    </a:p>
                  </a:txBody>
                  <a:tcPr marL="121900" marR="121900" marT="121900" marB="121900">
                    <a:lnL w="9525" cap="flat" cmpd="sng">
                      <a:solidFill>
                        <a:srgbClr val="E1E7EC">
                          <a:alpha val="0"/>
                        </a:srgbClr>
                      </a:solidFill>
                      <a:prstDash val="solid"/>
                      <a:round/>
                      <a:headEnd type="none" w="sm" len="sm"/>
                      <a:tailEnd type="none" w="sm" len="sm"/>
                    </a:lnL>
                    <a:lnR w="9525" cap="flat" cmpd="sng">
                      <a:solidFill>
                        <a:srgbClr val="E1E7EC">
                          <a:alpha val="0"/>
                        </a:srgbClr>
                      </a:solidFill>
                      <a:prstDash val="solid"/>
                      <a:round/>
                      <a:headEnd type="none" w="sm" len="sm"/>
                      <a:tailEnd type="none" w="sm" len="sm"/>
                    </a:lnR>
                    <a:lnT w="9525" cap="flat" cmpd="sng">
                      <a:solidFill>
                        <a:srgbClr val="E1E7EC"/>
                      </a:solidFill>
                      <a:prstDash val="dot"/>
                      <a:round/>
                      <a:headEnd type="none" w="sm" len="sm"/>
                      <a:tailEnd type="none" w="sm" len="sm"/>
                    </a:lnT>
                    <a:lnB w="9525" cap="flat" cmpd="sng">
                      <a:solidFill>
                        <a:srgbClr val="E1E7EC"/>
                      </a:solidFill>
                      <a:prstDash val="dot"/>
                      <a:round/>
                      <a:headEnd type="none" w="sm" len="sm"/>
                      <a:tailEnd type="none" w="sm" len="sm"/>
                    </a:lnB>
                  </a:tcPr>
                </a:tc>
                <a:tc>
                  <a:txBody>
                    <a:bodyPr/>
                    <a:lstStyle/>
                    <a:p>
                      <a:pPr marL="0" lvl="0" indent="0" algn="ctr" rtl="0">
                        <a:spcBef>
                          <a:spcPts val="0"/>
                        </a:spcBef>
                        <a:spcAft>
                          <a:spcPts val="0"/>
                        </a:spcAft>
                        <a:buNone/>
                      </a:pPr>
                      <a:endParaRPr sz="300" b="1">
                        <a:latin typeface="Amatic SC"/>
                        <a:ea typeface="Amatic SC"/>
                        <a:cs typeface="Amatic SC"/>
                        <a:sym typeface="Amatic SC"/>
                      </a:endParaRPr>
                    </a:p>
                  </a:txBody>
                  <a:tcPr marL="121900" marR="121900" marT="121900" marB="121900">
                    <a:lnL w="9525" cap="flat" cmpd="sng">
                      <a:solidFill>
                        <a:srgbClr val="E1E7EC">
                          <a:alpha val="0"/>
                        </a:srgbClr>
                      </a:solidFill>
                      <a:prstDash val="solid"/>
                      <a:round/>
                      <a:headEnd type="none" w="sm" len="sm"/>
                      <a:tailEnd type="none" w="sm" len="sm"/>
                    </a:lnL>
                    <a:lnR w="9525" cap="flat" cmpd="sng">
                      <a:solidFill>
                        <a:srgbClr val="E1E7EC">
                          <a:alpha val="0"/>
                        </a:srgbClr>
                      </a:solidFill>
                      <a:prstDash val="solid"/>
                      <a:round/>
                      <a:headEnd type="none" w="sm" len="sm"/>
                      <a:tailEnd type="none" w="sm" len="sm"/>
                    </a:lnR>
                    <a:lnT w="9525" cap="flat" cmpd="sng">
                      <a:solidFill>
                        <a:srgbClr val="E1E7EC"/>
                      </a:solidFill>
                      <a:prstDash val="dot"/>
                      <a:round/>
                      <a:headEnd type="none" w="sm" len="sm"/>
                      <a:tailEnd type="none" w="sm" len="sm"/>
                    </a:lnT>
                    <a:lnB w="9525" cap="flat" cmpd="sng">
                      <a:solidFill>
                        <a:srgbClr val="E1E7EC"/>
                      </a:solidFill>
                      <a:prstDash val="dot"/>
                      <a:round/>
                      <a:headEnd type="none" w="sm" len="sm"/>
                      <a:tailEnd type="none" w="sm" len="sm"/>
                    </a:lnB>
                  </a:tcPr>
                </a:tc>
                <a:tc>
                  <a:txBody>
                    <a:bodyPr/>
                    <a:lstStyle/>
                    <a:p>
                      <a:pPr marL="0" lvl="0" indent="0" algn="ctr" rtl="0">
                        <a:spcBef>
                          <a:spcPts val="0"/>
                        </a:spcBef>
                        <a:spcAft>
                          <a:spcPts val="0"/>
                        </a:spcAft>
                        <a:buNone/>
                      </a:pPr>
                      <a:endParaRPr sz="300" b="1">
                        <a:latin typeface="Amatic SC"/>
                        <a:ea typeface="Amatic SC"/>
                        <a:cs typeface="Amatic SC"/>
                        <a:sym typeface="Amatic SC"/>
                      </a:endParaRPr>
                    </a:p>
                  </a:txBody>
                  <a:tcPr marL="121900" marR="121900" marT="121900" marB="121900">
                    <a:lnL w="9525" cap="flat" cmpd="sng">
                      <a:solidFill>
                        <a:srgbClr val="E1E7EC">
                          <a:alpha val="0"/>
                        </a:srgbClr>
                      </a:solidFill>
                      <a:prstDash val="solid"/>
                      <a:round/>
                      <a:headEnd type="none" w="sm" len="sm"/>
                      <a:tailEnd type="none" w="sm" len="sm"/>
                    </a:lnL>
                    <a:lnR w="9525" cap="flat" cmpd="sng">
                      <a:solidFill>
                        <a:srgbClr val="E1E7EC">
                          <a:alpha val="0"/>
                        </a:srgbClr>
                      </a:solidFill>
                      <a:prstDash val="solid"/>
                      <a:round/>
                      <a:headEnd type="none" w="sm" len="sm"/>
                      <a:tailEnd type="none" w="sm" len="sm"/>
                    </a:lnR>
                    <a:lnT w="9525" cap="flat" cmpd="sng">
                      <a:solidFill>
                        <a:srgbClr val="E1E7EC"/>
                      </a:solidFill>
                      <a:prstDash val="dot"/>
                      <a:round/>
                      <a:headEnd type="none" w="sm" len="sm"/>
                      <a:tailEnd type="none" w="sm" len="sm"/>
                    </a:lnT>
                    <a:lnB w="9525" cap="flat" cmpd="sng">
                      <a:solidFill>
                        <a:srgbClr val="E1E7EC"/>
                      </a:solidFill>
                      <a:prstDash val="dot"/>
                      <a:round/>
                      <a:headEnd type="none" w="sm" len="sm"/>
                      <a:tailEnd type="none" w="sm" len="sm"/>
                    </a:lnB>
                    <a:solidFill>
                      <a:srgbClr val="7994A9">
                        <a:alpha val="64709"/>
                      </a:srgbClr>
                    </a:solidFill>
                  </a:tcPr>
                </a:tc>
                <a:extLst>
                  <a:ext uri="{0D108BD9-81ED-4DB2-BD59-A6C34878D82A}">
                    <a16:rowId xmlns:a16="http://schemas.microsoft.com/office/drawing/2014/main" val="10003"/>
                  </a:ext>
                </a:extLst>
              </a:tr>
            </a:tbl>
          </a:graphicData>
        </a:graphic>
      </p:graphicFrame>
      <p:grpSp>
        <p:nvGrpSpPr>
          <p:cNvPr id="8393" name="Google Shape;8393;p106"/>
          <p:cNvGrpSpPr/>
          <p:nvPr/>
        </p:nvGrpSpPr>
        <p:grpSpPr>
          <a:xfrm>
            <a:off x="969669" y="1585285"/>
            <a:ext cx="3195340" cy="1302003"/>
            <a:chOff x="749309" y="1112739"/>
            <a:chExt cx="2371603" cy="976502"/>
          </a:xfrm>
        </p:grpSpPr>
        <p:grpSp>
          <p:nvGrpSpPr>
            <p:cNvPr id="8394" name="Google Shape;8394;p106"/>
            <p:cNvGrpSpPr/>
            <p:nvPr/>
          </p:nvGrpSpPr>
          <p:grpSpPr>
            <a:xfrm>
              <a:off x="1092126" y="1112739"/>
              <a:ext cx="2028786" cy="975464"/>
              <a:chOff x="1092126" y="1112739"/>
              <a:chExt cx="2028786" cy="975464"/>
            </a:xfrm>
          </p:grpSpPr>
          <p:sp>
            <p:nvSpPr>
              <p:cNvPr id="8395" name="Google Shape;8395;p106"/>
              <p:cNvSpPr/>
              <p:nvPr/>
            </p:nvSpPr>
            <p:spPr>
              <a:xfrm>
                <a:off x="1092126" y="1112739"/>
                <a:ext cx="314700" cy="226800"/>
              </a:xfrm>
              <a:prstGeom prst="rect">
                <a:avLst/>
              </a:prstGeom>
              <a:noFill/>
              <a:ln w="9525" cap="flat" cmpd="sng">
                <a:solidFill>
                  <a:srgbClr val="BAC8D3"/>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396" name="Google Shape;8396;p106"/>
              <p:cNvSpPr/>
              <p:nvPr/>
            </p:nvSpPr>
            <p:spPr>
              <a:xfrm>
                <a:off x="1434943" y="1112739"/>
                <a:ext cx="314700" cy="226800"/>
              </a:xfrm>
              <a:prstGeom prst="rect">
                <a:avLst/>
              </a:prstGeom>
              <a:noFill/>
              <a:ln w="9525" cap="flat" cmpd="sng">
                <a:solidFill>
                  <a:srgbClr val="BAC8D3"/>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397" name="Google Shape;8397;p106"/>
              <p:cNvSpPr/>
              <p:nvPr/>
            </p:nvSpPr>
            <p:spPr>
              <a:xfrm>
                <a:off x="1777760" y="1112739"/>
                <a:ext cx="314700" cy="226800"/>
              </a:xfrm>
              <a:prstGeom prst="rect">
                <a:avLst/>
              </a:prstGeom>
              <a:noFill/>
              <a:ln w="9525" cap="flat" cmpd="sng">
                <a:solidFill>
                  <a:srgbClr val="BAC8D3"/>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398" name="Google Shape;8398;p106"/>
              <p:cNvSpPr/>
              <p:nvPr/>
            </p:nvSpPr>
            <p:spPr>
              <a:xfrm>
                <a:off x="2120578" y="1112739"/>
                <a:ext cx="314700" cy="226800"/>
              </a:xfrm>
              <a:prstGeom prst="rect">
                <a:avLst/>
              </a:prstGeom>
              <a:noFill/>
              <a:ln w="9525" cap="flat" cmpd="sng">
                <a:solidFill>
                  <a:srgbClr val="BAC8D3"/>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399" name="Google Shape;8399;p106"/>
              <p:cNvSpPr/>
              <p:nvPr/>
            </p:nvSpPr>
            <p:spPr>
              <a:xfrm>
                <a:off x="2463395" y="1112739"/>
                <a:ext cx="314700" cy="226800"/>
              </a:xfrm>
              <a:prstGeom prst="rect">
                <a:avLst/>
              </a:prstGeom>
              <a:noFill/>
              <a:ln w="9525" cap="flat" cmpd="sng">
                <a:solidFill>
                  <a:srgbClr val="BAC8D3"/>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400" name="Google Shape;8400;p106"/>
              <p:cNvSpPr/>
              <p:nvPr/>
            </p:nvSpPr>
            <p:spPr>
              <a:xfrm>
                <a:off x="2806212" y="1112739"/>
                <a:ext cx="314700" cy="226800"/>
              </a:xfrm>
              <a:prstGeom prst="rect">
                <a:avLst/>
              </a:prstGeom>
              <a:noFill/>
              <a:ln w="9525" cap="flat" cmpd="sng">
                <a:solidFill>
                  <a:srgbClr val="BAC8D3"/>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401" name="Google Shape;8401;p106"/>
              <p:cNvSpPr/>
              <p:nvPr/>
            </p:nvSpPr>
            <p:spPr>
              <a:xfrm>
                <a:off x="1092126" y="1362294"/>
                <a:ext cx="314700" cy="226800"/>
              </a:xfrm>
              <a:prstGeom prst="rect">
                <a:avLst/>
              </a:prstGeom>
              <a:noFill/>
              <a:ln w="9525" cap="flat" cmpd="sng">
                <a:solidFill>
                  <a:srgbClr val="BAC8D3"/>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402" name="Google Shape;8402;p106"/>
              <p:cNvSpPr/>
              <p:nvPr/>
            </p:nvSpPr>
            <p:spPr>
              <a:xfrm>
                <a:off x="1434943" y="1362294"/>
                <a:ext cx="314700" cy="226800"/>
              </a:xfrm>
              <a:prstGeom prst="rect">
                <a:avLst/>
              </a:prstGeom>
              <a:noFill/>
              <a:ln w="9525" cap="flat" cmpd="sng">
                <a:solidFill>
                  <a:srgbClr val="BAC8D3"/>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403" name="Google Shape;8403;p106"/>
              <p:cNvSpPr/>
              <p:nvPr/>
            </p:nvSpPr>
            <p:spPr>
              <a:xfrm>
                <a:off x="1777760" y="1362294"/>
                <a:ext cx="314700" cy="226800"/>
              </a:xfrm>
              <a:prstGeom prst="rect">
                <a:avLst/>
              </a:prstGeom>
              <a:noFill/>
              <a:ln w="9525" cap="flat" cmpd="sng">
                <a:solidFill>
                  <a:srgbClr val="BAC8D3"/>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404" name="Google Shape;8404;p106"/>
              <p:cNvSpPr/>
              <p:nvPr/>
            </p:nvSpPr>
            <p:spPr>
              <a:xfrm>
                <a:off x="2120578" y="1362294"/>
                <a:ext cx="314700" cy="226800"/>
              </a:xfrm>
              <a:prstGeom prst="rect">
                <a:avLst/>
              </a:prstGeom>
              <a:noFill/>
              <a:ln w="9525" cap="flat" cmpd="sng">
                <a:solidFill>
                  <a:srgbClr val="BAC8D3"/>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405" name="Google Shape;8405;p106"/>
              <p:cNvSpPr/>
              <p:nvPr/>
            </p:nvSpPr>
            <p:spPr>
              <a:xfrm>
                <a:off x="2463395" y="1362294"/>
                <a:ext cx="314700" cy="226800"/>
              </a:xfrm>
              <a:prstGeom prst="rect">
                <a:avLst/>
              </a:prstGeom>
              <a:noFill/>
              <a:ln w="9525" cap="flat" cmpd="sng">
                <a:solidFill>
                  <a:srgbClr val="BAC8D3"/>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406" name="Google Shape;8406;p106"/>
              <p:cNvSpPr/>
              <p:nvPr/>
            </p:nvSpPr>
            <p:spPr>
              <a:xfrm>
                <a:off x="2806212" y="1362294"/>
                <a:ext cx="314700" cy="226800"/>
              </a:xfrm>
              <a:prstGeom prst="rect">
                <a:avLst/>
              </a:prstGeom>
              <a:noFill/>
              <a:ln w="9525" cap="flat" cmpd="sng">
                <a:solidFill>
                  <a:srgbClr val="BAC8D3"/>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407" name="Google Shape;8407;p106"/>
              <p:cNvSpPr/>
              <p:nvPr/>
            </p:nvSpPr>
            <p:spPr>
              <a:xfrm>
                <a:off x="1092126" y="1611849"/>
                <a:ext cx="314700" cy="226800"/>
              </a:xfrm>
              <a:prstGeom prst="rect">
                <a:avLst/>
              </a:prstGeom>
              <a:noFill/>
              <a:ln w="9525" cap="flat" cmpd="sng">
                <a:solidFill>
                  <a:srgbClr val="BAC8D3"/>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408" name="Google Shape;8408;p106"/>
              <p:cNvSpPr/>
              <p:nvPr/>
            </p:nvSpPr>
            <p:spPr>
              <a:xfrm>
                <a:off x="1434943" y="1611849"/>
                <a:ext cx="314700" cy="226800"/>
              </a:xfrm>
              <a:prstGeom prst="rect">
                <a:avLst/>
              </a:prstGeom>
              <a:noFill/>
              <a:ln w="9525" cap="flat" cmpd="sng">
                <a:solidFill>
                  <a:srgbClr val="BAC8D3"/>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409" name="Google Shape;8409;p106"/>
              <p:cNvSpPr/>
              <p:nvPr/>
            </p:nvSpPr>
            <p:spPr>
              <a:xfrm>
                <a:off x="1777760" y="1611849"/>
                <a:ext cx="314700" cy="226800"/>
              </a:xfrm>
              <a:prstGeom prst="rect">
                <a:avLst/>
              </a:prstGeom>
              <a:noFill/>
              <a:ln w="9525" cap="flat" cmpd="sng">
                <a:solidFill>
                  <a:srgbClr val="BAC8D3"/>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410" name="Google Shape;8410;p106"/>
              <p:cNvSpPr/>
              <p:nvPr/>
            </p:nvSpPr>
            <p:spPr>
              <a:xfrm>
                <a:off x="2120578" y="1611849"/>
                <a:ext cx="314700" cy="226800"/>
              </a:xfrm>
              <a:prstGeom prst="rect">
                <a:avLst/>
              </a:prstGeom>
              <a:noFill/>
              <a:ln w="9525" cap="flat" cmpd="sng">
                <a:solidFill>
                  <a:srgbClr val="BAC8D3"/>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411" name="Google Shape;8411;p106"/>
              <p:cNvSpPr/>
              <p:nvPr/>
            </p:nvSpPr>
            <p:spPr>
              <a:xfrm>
                <a:off x="2463395" y="1611849"/>
                <a:ext cx="314700" cy="226800"/>
              </a:xfrm>
              <a:prstGeom prst="rect">
                <a:avLst/>
              </a:prstGeom>
              <a:noFill/>
              <a:ln w="9525" cap="flat" cmpd="sng">
                <a:solidFill>
                  <a:srgbClr val="BAC8D3"/>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412" name="Google Shape;8412;p106"/>
              <p:cNvSpPr/>
              <p:nvPr/>
            </p:nvSpPr>
            <p:spPr>
              <a:xfrm>
                <a:off x="2806212" y="1611849"/>
                <a:ext cx="314700" cy="226800"/>
              </a:xfrm>
              <a:prstGeom prst="rect">
                <a:avLst/>
              </a:prstGeom>
              <a:noFill/>
              <a:ln w="9525" cap="flat" cmpd="sng">
                <a:solidFill>
                  <a:srgbClr val="BAC8D3"/>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413" name="Google Shape;8413;p106"/>
              <p:cNvSpPr/>
              <p:nvPr/>
            </p:nvSpPr>
            <p:spPr>
              <a:xfrm>
                <a:off x="1092126" y="1861404"/>
                <a:ext cx="314700" cy="226800"/>
              </a:xfrm>
              <a:prstGeom prst="rect">
                <a:avLst/>
              </a:prstGeom>
              <a:noFill/>
              <a:ln w="9525" cap="flat" cmpd="sng">
                <a:solidFill>
                  <a:srgbClr val="BAC8D3"/>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414" name="Google Shape;8414;p106"/>
              <p:cNvSpPr/>
              <p:nvPr/>
            </p:nvSpPr>
            <p:spPr>
              <a:xfrm>
                <a:off x="1434943" y="1861404"/>
                <a:ext cx="314700" cy="226800"/>
              </a:xfrm>
              <a:prstGeom prst="rect">
                <a:avLst/>
              </a:prstGeom>
              <a:noFill/>
              <a:ln w="9525" cap="flat" cmpd="sng">
                <a:solidFill>
                  <a:srgbClr val="BAC8D3"/>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415" name="Google Shape;8415;p106"/>
              <p:cNvSpPr/>
              <p:nvPr/>
            </p:nvSpPr>
            <p:spPr>
              <a:xfrm>
                <a:off x="1777760" y="1861404"/>
                <a:ext cx="314700" cy="226800"/>
              </a:xfrm>
              <a:prstGeom prst="rect">
                <a:avLst/>
              </a:prstGeom>
              <a:noFill/>
              <a:ln w="9525" cap="flat" cmpd="sng">
                <a:solidFill>
                  <a:srgbClr val="BAC8D3"/>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416" name="Google Shape;8416;p106"/>
              <p:cNvSpPr/>
              <p:nvPr/>
            </p:nvSpPr>
            <p:spPr>
              <a:xfrm>
                <a:off x="2120578" y="1861404"/>
                <a:ext cx="314700" cy="226800"/>
              </a:xfrm>
              <a:prstGeom prst="rect">
                <a:avLst/>
              </a:prstGeom>
              <a:noFill/>
              <a:ln w="9525" cap="flat" cmpd="sng">
                <a:solidFill>
                  <a:srgbClr val="BAC8D3"/>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417" name="Google Shape;8417;p106"/>
              <p:cNvSpPr/>
              <p:nvPr/>
            </p:nvSpPr>
            <p:spPr>
              <a:xfrm>
                <a:off x="2463395" y="1861404"/>
                <a:ext cx="314700" cy="226800"/>
              </a:xfrm>
              <a:prstGeom prst="rect">
                <a:avLst/>
              </a:prstGeom>
              <a:noFill/>
              <a:ln w="9525" cap="flat" cmpd="sng">
                <a:solidFill>
                  <a:srgbClr val="BAC8D3"/>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418" name="Google Shape;8418;p106"/>
              <p:cNvSpPr/>
              <p:nvPr/>
            </p:nvSpPr>
            <p:spPr>
              <a:xfrm>
                <a:off x="2806212" y="1861404"/>
                <a:ext cx="314700" cy="226800"/>
              </a:xfrm>
              <a:prstGeom prst="rect">
                <a:avLst/>
              </a:prstGeom>
              <a:noFill/>
              <a:ln w="9525" cap="flat" cmpd="sng">
                <a:solidFill>
                  <a:srgbClr val="BAC8D3"/>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8419" name="Google Shape;8419;p106"/>
            <p:cNvGrpSpPr/>
            <p:nvPr/>
          </p:nvGrpSpPr>
          <p:grpSpPr>
            <a:xfrm>
              <a:off x="749309" y="1112739"/>
              <a:ext cx="314700" cy="975464"/>
              <a:chOff x="749309" y="1112739"/>
              <a:chExt cx="314700" cy="975464"/>
            </a:xfrm>
          </p:grpSpPr>
          <p:sp>
            <p:nvSpPr>
              <p:cNvPr id="8420" name="Google Shape;8420;p106"/>
              <p:cNvSpPr/>
              <p:nvPr/>
            </p:nvSpPr>
            <p:spPr>
              <a:xfrm>
                <a:off x="749309" y="1362294"/>
                <a:ext cx="314700" cy="226800"/>
              </a:xfrm>
              <a:prstGeom prst="rect">
                <a:avLst/>
              </a:prstGeom>
              <a:noFill/>
              <a:ln w="9525" cap="flat" cmpd="sng">
                <a:solidFill>
                  <a:srgbClr val="E3E9ED"/>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421" name="Google Shape;8421;p106"/>
              <p:cNvSpPr/>
              <p:nvPr/>
            </p:nvSpPr>
            <p:spPr>
              <a:xfrm>
                <a:off x="749309" y="1611849"/>
                <a:ext cx="314700" cy="226800"/>
              </a:xfrm>
              <a:prstGeom prst="rect">
                <a:avLst/>
              </a:prstGeom>
              <a:noFill/>
              <a:ln w="9525" cap="flat" cmpd="sng">
                <a:solidFill>
                  <a:srgbClr val="E3E9ED"/>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422" name="Google Shape;8422;p106"/>
              <p:cNvSpPr/>
              <p:nvPr/>
            </p:nvSpPr>
            <p:spPr>
              <a:xfrm>
                <a:off x="749309" y="1861404"/>
                <a:ext cx="314700" cy="226800"/>
              </a:xfrm>
              <a:prstGeom prst="rect">
                <a:avLst/>
              </a:prstGeom>
              <a:noFill/>
              <a:ln w="9525" cap="flat" cmpd="sng">
                <a:solidFill>
                  <a:srgbClr val="E3E9ED"/>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423" name="Google Shape;8423;p106"/>
              <p:cNvSpPr/>
              <p:nvPr/>
            </p:nvSpPr>
            <p:spPr>
              <a:xfrm>
                <a:off x="749309" y="1112739"/>
                <a:ext cx="314700" cy="226800"/>
              </a:xfrm>
              <a:prstGeom prst="rect">
                <a:avLst/>
              </a:prstGeom>
              <a:noFill/>
              <a:ln w="9525" cap="flat" cmpd="sng">
                <a:solidFill>
                  <a:srgbClr val="E3E9ED"/>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sp>
          <p:nvSpPr>
            <p:cNvPr id="8424" name="Google Shape;8424;p106"/>
            <p:cNvSpPr/>
            <p:nvPr/>
          </p:nvSpPr>
          <p:spPr>
            <a:xfrm>
              <a:off x="1434877" y="1258345"/>
              <a:ext cx="1685700" cy="78600"/>
            </a:xfrm>
            <a:prstGeom prst="rect">
              <a:avLst/>
            </a:pr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425" name="Google Shape;8425;p106"/>
            <p:cNvSpPr/>
            <p:nvPr/>
          </p:nvSpPr>
          <p:spPr>
            <a:xfrm>
              <a:off x="1777683" y="2010641"/>
              <a:ext cx="1000200" cy="78600"/>
            </a:xfrm>
            <a:prstGeom prst="rect">
              <a:avLst/>
            </a:pr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426" name="Google Shape;8426;p106"/>
            <p:cNvSpPr/>
            <p:nvPr/>
          </p:nvSpPr>
          <p:spPr>
            <a:xfrm>
              <a:off x="1092070" y="1759876"/>
              <a:ext cx="657600" cy="78600"/>
            </a:xfrm>
            <a:prstGeom prst="rect">
              <a:avLst/>
            </a:pr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427" name="Google Shape;8427;p106"/>
            <p:cNvSpPr/>
            <p:nvPr/>
          </p:nvSpPr>
          <p:spPr>
            <a:xfrm>
              <a:off x="2463277" y="1759876"/>
              <a:ext cx="657600" cy="78600"/>
            </a:xfrm>
            <a:prstGeom prst="rect">
              <a:avLst/>
            </a:pr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aphicFrame>
        <p:nvGraphicFramePr>
          <p:cNvPr id="8428" name="Google Shape;8428;p106"/>
          <p:cNvGraphicFramePr/>
          <p:nvPr/>
        </p:nvGraphicFramePr>
        <p:xfrm>
          <a:off x="7939467" y="1585267"/>
          <a:ext cx="4000000" cy="4000000"/>
        </p:xfrm>
        <a:graphic>
          <a:graphicData uri="http://schemas.openxmlformats.org/drawingml/2006/table">
            <a:tbl>
              <a:tblPr>
                <a:noFill/>
              </a:tblPr>
              <a:tblGrid>
                <a:gridCol w="834700">
                  <a:extLst>
                    <a:ext uri="{9D8B030D-6E8A-4147-A177-3AD203B41FA5}">
                      <a16:colId xmlns:a16="http://schemas.microsoft.com/office/drawing/2014/main" val="20000"/>
                    </a:ext>
                  </a:extLst>
                </a:gridCol>
                <a:gridCol w="834700">
                  <a:extLst>
                    <a:ext uri="{9D8B030D-6E8A-4147-A177-3AD203B41FA5}">
                      <a16:colId xmlns:a16="http://schemas.microsoft.com/office/drawing/2014/main" val="20001"/>
                    </a:ext>
                  </a:extLst>
                </a:gridCol>
                <a:gridCol w="834700">
                  <a:extLst>
                    <a:ext uri="{9D8B030D-6E8A-4147-A177-3AD203B41FA5}">
                      <a16:colId xmlns:a16="http://schemas.microsoft.com/office/drawing/2014/main" val="20002"/>
                    </a:ext>
                  </a:extLst>
                </a:gridCol>
                <a:gridCol w="834700">
                  <a:extLst>
                    <a:ext uri="{9D8B030D-6E8A-4147-A177-3AD203B41FA5}">
                      <a16:colId xmlns:a16="http://schemas.microsoft.com/office/drawing/2014/main" val="20003"/>
                    </a:ext>
                  </a:extLst>
                </a:gridCol>
              </a:tblGrid>
              <a:tr h="434000">
                <a:tc>
                  <a:txBody>
                    <a:bodyPr/>
                    <a:lstStyle/>
                    <a:p>
                      <a:pPr marL="0" lvl="0" indent="0" algn="l" rtl="0">
                        <a:spcBef>
                          <a:spcPts val="0"/>
                        </a:spcBef>
                        <a:spcAft>
                          <a:spcPts val="0"/>
                        </a:spcAft>
                        <a:buNone/>
                      </a:pPr>
                      <a:endParaRPr sz="300"/>
                    </a:p>
                  </a:txBody>
                  <a:tcPr marL="121900" marR="121900" marT="121900" marB="121900">
                    <a:lnL w="9525" cap="flat" cmpd="sng">
                      <a:solidFill>
                        <a:srgbClr val="F2F2F2">
                          <a:alpha val="0"/>
                        </a:srgbClr>
                      </a:solidFill>
                      <a:prstDash val="solid"/>
                      <a:round/>
                      <a:headEnd type="none" w="sm" len="sm"/>
                      <a:tailEnd type="none" w="sm" len="sm"/>
                    </a:lnL>
                    <a:lnR w="9525" cap="flat" cmpd="sng">
                      <a:solidFill>
                        <a:srgbClr val="F2F2F2"/>
                      </a:solidFill>
                      <a:prstDash val="solid"/>
                      <a:round/>
                      <a:headEnd type="none" w="sm" len="sm"/>
                      <a:tailEnd type="none" w="sm" len="sm"/>
                    </a:lnR>
                    <a:lnT w="9525" cap="flat" cmpd="sng">
                      <a:solidFill>
                        <a:srgbClr val="F2F2F2">
                          <a:alpha val="0"/>
                        </a:srgbClr>
                      </a:solidFill>
                      <a:prstDash val="solid"/>
                      <a:round/>
                      <a:headEnd type="none" w="sm" len="sm"/>
                      <a:tailEnd type="none" w="sm" len="sm"/>
                    </a:lnT>
                    <a:lnB w="9525" cap="flat" cmpd="sng">
                      <a:solidFill>
                        <a:srgbClr val="F2F2F2"/>
                      </a:solidFill>
                      <a:prstDash val="solid"/>
                      <a:round/>
                      <a:headEnd type="none" w="sm" len="sm"/>
                      <a:tailEnd type="none" w="sm" len="sm"/>
                    </a:lnB>
                  </a:tcPr>
                </a:tc>
                <a:tc>
                  <a:txBody>
                    <a:bodyPr/>
                    <a:lstStyle/>
                    <a:p>
                      <a:pPr marL="0" lvl="0" indent="0" algn="l" rtl="0">
                        <a:spcBef>
                          <a:spcPts val="0"/>
                        </a:spcBef>
                        <a:spcAft>
                          <a:spcPts val="0"/>
                        </a:spcAft>
                        <a:buNone/>
                      </a:pPr>
                      <a:endParaRPr sz="300"/>
                    </a:p>
                  </a:txBody>
                  <a:tcPr marL="121900" marR="121900" marT="121900" marB="121900">
                    <a:lnL w="9525" cap="flat" cmpd="sng">
                      <a:solidFill>
                        <a:srgbClr val="F2F2F2"/>
                      </a:solidFill>
                      <a:prstDash val="solid"/>
                      <a:round/>
                      <a:headEnd type="none" w="sm" len="sm"/>
                      <a:tailEnd type="none" w="sm" len="sm"/>
                    </a:lnL>
                    <a:lnR w="9525" cap="flat" cmpd="sng">
                      <a:solidFill>
                        <a:srgbClr val="F2F2F2"/>
                      </a:solidFill>
                      <a:prstDash val="solid"/>
                      <a:round/>
                      <a:headEnd type="none" w="sm" len="sm"/>
                      <a:tailEnd type="none" w="sm" len="sm"/>
                    </a:lnR>
                    <a:lnT w="9525" cap="flat" cmpd="sng">
                      <a:solidFill>
                        <a:srgbClr val="F2F2F2"/>
                      </a:solidFill>
                      <a:prstDash val="solid"/>
                      <a:round/>
                      <a:headEnd type="none" w="sm" len="sm"/>
                      <a:tailEnd type="none" w="sm" len="sm"/>
                    </a:lnT>
                    <a:lnB w="9525" cap="flat" cmpd="sng">
                      <a:solidFill>
                        <a:srgbClr val="F2F2F2"/>
                      </a:solidFill>
                      <a:prstDash val="solid"/>
                      <a:round/>
                      <a:headEnd type="none" w="sm" len="sm"/>
                      <a:tailEnd type="none" w="sm" len="sm"/>
                    </a:lnB>
                  </a:tcPr>
                </a:tc>
                <a:tc>
                  <a:txBody>
                    <a:bodyPr/>
                    <a:lstStyle/>
                    <a:p>
                      <a:pPr marL="0" lvl="0" indent="0" algn="l" rtl="0">
                        <a:spcBef>
                          <a:spcPts val="0"/>
                        </a:spcBef>
                        <a:spcAft>
                          <a:spcPts val="0"/>
                        </a:spcAft>
                        <a:buNone/>
                      </a:pPr>
                      <a:endParaRPr sz="300"/>
                    </a:p>
                  </a:txBody>
                  <a:tcPr marL="121900" marR="121900" marT="121900" marB="121900">
                    <a:lnL w="9525" cap="flat" cmpd="sng">
                      <a:solidFill>
                        <a:srgbClr val="F2F2F2"/>
                      </a:solidFill>
                      <a:prstDash val="solid"/>
                      <a:round/>
                      <a:headEnd type="none" w="sm" len="sm"/>
                      <a:tailEnd type="none" w="sm" len="sm"/>
                    </a:lnL>
                    <a:lnR w="9525" cap="flat" cmpd="sng">
                      <a:solidFill>
                        <a:srgbClr val="F2F2F2"/>
                      </a:solidFill>
                      <a:prstDash val="solid"/>
                      <a:round/>
                      <a:headEnd type="none" w="sm" len="sm"/>
                      <a:tailEnd type="none" w="sm" len="sm"/>
                    </a:lnR>
                    <a:lnT w="9525" cap="flat" cmpd="sng">
                      <a:solidFill>
                        <a:srgbClr val="F2F2F2"/>
                      </a:solidFill>
                      <a:prstDash val="solid"/>
                      <a:round/>
                      <a:headEnd type="none" w="sm" len="sm"/>
                      <a:tailEnd type="none" w="sm" len="sm"/>
                    </a:lnT>
                    <a:lnB w="9525" cap="flat" cmpd="sng">
                      <a:solidFill>
                        <a:srgbClr val="F2F2F2"/>
                      </a:solidFill>
                      <a:prstDash val="solid"/>
                      <a:round/>
                      <a:headEnd type="none" w="sm" len="sm"/>
                      <a:tailEnd type="none" w="sm" len="sm"/>
                    </a:lnB>
                  </a:tcPr>
                </a:tc>
                <a:tc>
                  <a:txBody>
                    <a:bodyPr/>
                    <a:lstStyle/>
                    <a:p>
                      <a:pPr marL="0" lvl="0" indent="0" algn="l" rtl="0">
                        <a:spcBef>
                          <a:spcPts val="0"/>
                        </a:spcBef>
                        <a:spcAft>
                          <a:spcPts val="0"/>
                        </a:spcAft>
                        <a:buNone/>
                      </a:pPr>
                      <a:endParaRPr sz="300"/>
                    </a:p>
                  </a:txBody>
                  <a:tcPr marL="121900" marR="121900" marT="121900" marB="121900">
                    <a:lnL w="9525" cap="flat" cmpd="sng">
                      <a:solidFill>
                        <a:srgbClr val="F2F2F2"/>
                      </a:solidFill>
                      <a:prstDash val="solid"/>
                      <a:round/>
                      <a:headEnd type="none" w="sm" len="sm"/>
                      <a:tailEnd type="none" w="sm" len="sm"/>
                    </a:lnL>
                    <a:lnR w="9525" cap="flat" cmpd="sng">
                      <a:solidFill>
                        <a:srgbClr val="F2F2F2"/>
                      </a:solidFill>
                      <a:prstDash val="solid"/>
                      <a:round/>
                      <a:headEnd type="none" w="sm" len="sm"/>
                      <a:tailEnd type="none" w="sm" len="sm"/>
                    </a:lnR>
                    <a:lnT w="9525" cap="flat" cmpd="sng">
                      <a:solidFill>
                        <a:srgbClr val="F2F2F2"/>
                      </a:solidFill>
                      <a:prstDash val="solid"/>
                      <a:round/>
                      <a:headEnd type="none" w="sm" len="sm"/>
                      <a:tailEnd type="none" w="sm" len="sm"/>
                    </a:lnT>
                    <a:lnB w="9525" cap="flat" cmpd="sng">
                      <a:solidFill>
                        <a:srgbClr val="F2F2F2"/>
                      </a:solidFill>
                      <a:prstDash val="solid"/>
                      <a:round/>
                      <a:headEnd type="none" w="sm" len="sm"/>
                      <a:tailEnd type="none" w="sm" len="sm"/>
                    </a:lnB>
                  </a:tcPr>
                </a:tc>
                <a:extLst>
                  <a:ext uri="{0D108BD9-81ED-4DB2-BD59-A6C34878D82A}">
                    <a16:rowId xmlns:a16="http://schemas.microsoft.com/office/drawing/2014/main" val="10000"/>
                  </a:ext>
                </a:extLst>
              </a:tr>
              <a:tr h="434000">
                <a:tc>
                  <a:txBody>
                    <a:bodyPr/>
                    <a:lstStyle/>
                    <a:p>
                      <a:pPr marL="0" lvl="0" indent="0" algn="l" rtl="0">
                        <a:spcBef>
                          <a:spcPts val="0"/>
                        </a:spcBef>
                        <a:spcAft>
                          <a:spcPts val="0"/>
                        </a:spcAft>
                        <a:buNone/>
                      </a:pPr>
                      <a:endParaRPr sz="300"/>
                    </a:p>
                  </a:txBody>
                  <a:tcPr marL="121900" marR="121900" marT="121900" marB="121900">
                    <a:lnL w="9525" cap="flat" cmpd="sng">
                      <a:solidFill>
                        <a:srgbClr val="F2F2F2"/>
                      </a:solidFill>
                      <a:prstDash val="solid"/>
                      <a:round/>
                      <a:headEnd type="none" w="sm" len="sm"/>
                      <a:tailEnd type="none" w="sm" len="sm"/>
                    </a:lnL>
                    <a:lnR w="9525" cap="flat" cmpd="sng">
                      <a:solidFill>
                        <a:srgbClr val="F2F2F2"/>
                      </a:solidFill>
                      <a:prstDash val="solid"/>
                      <a:round/>
                      <a:headEnd type="none" w="sm" len="sm"/>
                      <a:tailEnd type="none" w="sm" len="sm"/>
                    </a:lnR>
                    <a:lnT w="9525" cap="flat" cmpd="sng">
                      <a:solidFill>
                        <a:srgbClr val="F2F2F2"/>
                      </a:solidFill>
                      <a:prstDash val="solid"/>
                      <a:round/>
                      <a:headEnd type="none" w="sm" len="sm"/>
                      <a:tailEnd type="none" w="sm" len="sm"/>
                    </a:lnT>
                    <a:lnB w="9525" cap="flat" cmpd="sng">
                      <a:solidFill>
                        <a:srgbClr val="F2F2F2"/>
                      </a:solidFill>
                      <a:prstDash val="solid"/>
                      <a:round/>
                      <a:headEnd type="none" w="sm" len="sm"/>
                      <a:tailEnd type="none" w="sm" len="sm"/>
                    </a:lnB>
                  </a:tcPr>
                </a:tc>
                <a:tc>
                  <a:txBody>
                    <a:bodyPr/>
                    <a:lstStyle/>
                    <a:p>
                      <a:pPr marL="0" lvl="0" indent="0" algn="l" rtl="0">
                        <a:spcBef>
                          <a:spcPts val="0"/>
                        </a:spcBef>
                        <a:spcAft>
                          <a:spcPts val="0"/>
                        </a:spcAft>
                        <a:buNone/>
                      </a:pPr>
                      <a:endParaRPr sz="300"/>
                    </a:p>
                  </a:txBody>
                  <a:tcPr marL="121900" marR="121900" marT="121900" marB="121900">
                    <a:lnL w="9525" cap="flat" cmpd="sng">
                      <a:solidFill>
                        <a:srgbClr val="F2F2F2"/>
                      </a:solidFill>
                      <a:prstDash val="solid"/>
                      <a:round/>
                      <a:headEnd type="none" w="sm" len="sm"/>
                      <a:tailEnd type="none" w="sm" len="sm"/>
                    </a:lnL>
                    <a:lnR w="9525" cap="flat" cmpd="sng">
                      <a:solidFill>
                        <a:srgbClr val="F2F2F2"/>
                      </a:solidFill>
                      <a:prstDash val="solid"/>
                      <a:round/>
                      <a:headEnd type="none" w="sm" len="sm"/>
                      <a:tailEnd type="none" w="sm" len="sm"/>
                    </a:lnR>
                    <a:lnT w="9525" cap="flat" cmpd="sng">
                      <a:solidFill>
                        <a:srgbClr val="F2F2F2"/>
                      </a:solidFill>
                      <a:prstDash val="solid"/>
                      <a:round/>
                      <a:headEnd type="none" w="sm" len="sm"/>
                      <a:tailEnd type="none" w="sm" len="sm"/>
                    </a:lnT>
                    <a:lnB w="9525" cap="flat" cmpd="sng">
                      <a:solidFill>
                        <a:srgbClr val="F2F2F2"/>
                      </a:solidFill>
                      <a:prstDash val="solid"/>
                      <a:round/>
                      <a:headEnd type="none" w="sm" len="sm"/>
                      <a:tailEnd type="none" w="sm" len="sm"/>
                    </a:lnB>
                  </a:tcPr>
                </a:tc>
                <a:tc>
                  <a:txBody>
                    <a:bodyPr/>
                    <a:lstStyle/>
                    <a:p>
                      <a:pPr marL="0" lvl="0" indent="0" algn="l" rtl="0">
                        <a:spcBef>
                          <a:spcPts val="0"/>
                        </a:spcBef>
                        <a:spcAft>
                          <a:spcPts val="0"/>
                        </a:spcAft>
                        <a:buNone/>
                      </a:pPr>
                      <a:endParaRPr sz="300"/>
                    </a:p>
                  </a:txBody>
                  <a:tcPr marL="121900" marR="121900" marT="121900" marB="121900">
                    <a:lnL w="9525" cap="flat" cmpd="sng">
                      <a:solidFill>
                        <a:srgbClr val="F2F2F2"/>
                      </a:solidFill>
                      <a:prstDash val="solid"/>
                      <a:round/>
                      <a:headEnd type="none" w="sm" len="sm"/>
                      <a:tailEnd type="none" w="sm" len="sm"/>
                    </a:lnL>
                    <a:lnR w="9525" cap="flat" cmpd="sng">
                      <a:solidFill>
                        <a:srgbClr val="F2F2F2"/>
                      </a:solidFill>
                      <a:prstDash val="solid"/>
                      <a:round/>
                      <a:headEnd type="none" w="sm" len="sm"/>
                      <a:tailEnd type="none" w="sm" len="sm"/>
                    </a:lnR>
                    <a:lnT w="9525" cap="flat" cmpd="sng">
                      <a:solidFill>
                        <a:srgbClr val="F2F2F2"/>
                      </a:solidFill>
                      <a:prstDash val="solid"/>
                      <a:round/>
                      <a:headEnd type="none" w="sm" len="sm"/>
                      <a:tailEnd type="none" w="sm" len="sm"/>
                    </a:lnT>
                    <a:lnB w="9525" cap="flat" cmpd="sng">
                      <a:solidFill>
                        <a:srgbClr val="F2F2F2"/>
                      </a:solidFill>
                      <a:prstDash val="solid"/>
                      <a:round/>
                      <a:headEnd type="none" w="sm" len="sm"/>
                      <a:tailEnd type="none" w="sm" len="sm"/>
                    </a:lnB>
                  </a:tcPr>
                </a:tc>
                <a:tc>
                  <a:txBody>
                    <a:bodyPr/>
                    <a:lstStyle/>
                    <a:p>
                      <a:pPr marL="0" lvl="0" indent="0" algn="l" rtl="0">
                        <a:spcBef>
                          <a:spcPts val="0"/>
                        </a:spcBef>
                        <a:spcAft>
                          <a:spcPts val="0"/>
                        </a:spcAft>
                        <a:buNone/>
                      </a:pPr>
                      <a:endParaRPr sz="300"/>
                    </a:p>
                  </a:txBody>
                  <a:tcPr marL="121900" marR="121900" marT="121900" marB="121900">
                    <a:lnL w="9525" cap="flat" cmpd="sng">
                      <a:solidFill>
                        <a:srgbClr val="F2F2F2"/>
                      </a:solidFill>
                      <a:prstDash val="solid"/>
                      <a:round/>
                      <a:headEnd type="none" w="sm" len="sm"/>
                      <a:tailEnd type="none" w="sm" len="sm"/>
                    </a:lnL>
                    <a:lnR w="9525" cap="flat" cmpd="sng">
                      <a:solidFill>
                        <a:srgbClr val="F2F2F2"/>
                      </a:solidFill>
                      <a:prstDash val="solid"/>
                      <a:round/>
                      <a:headEnd type="none" w="sm" len="sm"/>
                      <a:tailEnd type="none" w="sm" len="sm"/>
                    </a:lnR>
                    <a:lnT w="9525" cap="flat" cmpd="sng">
                      <a:solidFill>
                        <a:srgbClr val="F2F2F2"/>
                      </a:solidFill>
                      <a:prstDash val="solid"/>
                      <a:round/>
                      <a:headEnd type="none" w="sm" len="sm"/>
                      <a:tailEnd type="none" w="sm" len="sm"/>
                    </a:lnT>
                    <a:lnB w="9525" cap="flat" cmpd="sng">
                      <a:solidFill>
                        <a:srgbClr val="F2F2F2"/>
                      </a:solidFill>
                      <a:prstDash val="solid"/>
                      <a:round/>
                      <a:headEnd type="none" w="sm" len="sm"/>
                      <a:tailEnd type="none" w="sm" len="sm"/>
                    </a:lnB>
                  </a:tcPr>
                </a:tc>
                <a:extLst>
                  <a:ext uri="{0D108BD9-81ED-4DB2-BD59-A6C34878D82A}">
                    <a16:rowId xmlns:a16="http://schemas.microsoft.com/office/drawing/2014/main" val="10001"/>
                  </a:ext>
                </a:extLst>
              </a:tr>
              <a:tr h="434000">
                <a:tc>
                  <a:txBody>
                    <a:bodyPr/>
                    <a:lstStyle/>
                    <a:p>
                      <a:pPr marL="0" lvl="0" indent="0" algn="l" rtl="0">
                        <a:spcBef>
                          <a:spcPts val="0"/>
                        </a:spcBef>
                        <a:spcAft>
                          <a:spcPts val="0"/>
                        </a:spcAft>
                        <a:buNone/>
                      </a:pPr>
                      <a:endParaRPr sz="300"/>
                    </a:p>
                  </a:txBody>
                  <a:tcPr marL="121900" marR="121900" marT="121900" marB="121900">
                    <a:lnL w="9525" cap="flat" cmpd="sng">
                      <a:solidFill>
                        <a:srgbClr val="F2F2F2"/>
                      </a:solidFill>
                      <a:prstDash val="solid"/>
                      <a:round/>
                      <a:headEnd type="none" w="sm" len="sm"/>
                      <a:tailEnd type="none" w="sm" len="sm"/>
                    </a:lnL>
                    <a:lnR w="9525" cap="flat" cmpd="sng">
                      <a:solidFill>
                        <a:srgbClr val="F2F2F2"/>
                      </a:solidFill>
                      <a:prstDash val="solid"/>
                      <a:round/>
                      <a:headEnd type="none" w="sm" len="sm"/>
                      <a:tailEnd type="none" w="sm" len="sm"/>
                    </a:lnR>
                    <a:lnT w="9525" cap="flat" cmpd="sng">
                      <a:solidFill>
                        <a:srgbClr val="F2F2F2"/>
                      </a:solidFill>
                      <a:prstDash val="solid"/>
                      <a:round/>
                      <a:headEnd type="none" w="sm" len="sm"/>
                      <a:tailEnd type="none" w="sm" len="sm"/>
                    </a:lnT>
                    <a:lnB w="9525" cap="flat" cmpd="sng">
                      <a:solidFill>
                        <a:srgbClr val="F2F2F2"/>
                      </a:solidFill>
                      <a:prstDash val="solid"/>
                      <a:round/>
                      <a:headEnd type="none" w="sm" len="sm"/>
                      <a:tailEnd type="none" w="sm" len="sm"/>
                    </a:lnB>
                  </a:tcPr>
                </a:tc>
                <a:tc>
                  <a:txBody>
                    <a:bodyPr/>
                    <a:lstStyle/>
                    <a:p>
                      <a:pPr marL="0" lvl="0" indent="0" algn="l" rtl="0">
                        <a:spcBef>
                          <a:spcPts val="0"/>
                        </a:spcBef>
                        <a:spcAft>
                          <a:spcPts val="0"/>
                        </a:spcAft>
                        <a:buNone/>
                      </a:pPr>
                      <a:endParaRPr sz="300"/>
                    </a:p>
                  </a:txBody>
                  <a:tcPr marL="121900" marR="121900" marT="121900" marB="121900">
                    <a:lnL w="9525" cap="flat" cmpd="sng">
                      <a:solidFill>
                        <a:srgbClr val="F2F2F2"/>
                      </a:solidFill>
                      <a:prstDash val="solid"/>
                      <a:round/>
                      <a:headEnd type="none" w="sm" len="sm"/>
                      <a:tailEnd type="none" w="sm" len="sm"/>
                    </a:lnL>
                    <a:lnR w="9525" cap="flat" cmpd="sng">
                      <a:solidFill>
                        <a:srgbClr val="F2F2F2"/>
                      </a:solidFill>
                      <a:prstDash val="solid"/>
                      <a:round/>
                      <a:headEnd type="none" w="sm" len="sm"/>
                      <a:tailEnd type="none" w="sm" len="sm"/>
                    </a:lnR>
                    <a:lnT w="9525" cap="flat" cmpd="sng">
                      <a:solidFill>
                        <a:srgbClr val="F2F2F2"/>
                      </a:solidFill>
                      <a:prstDash val="solid"/>
                      <a:round/>
                      <a:headEnd type="none" w="sm" len="sm"/>
                      <a:tailEnd type="none" w="sm" len="sm"/>
                    </a:lnT>
                    <a:lnB w="9525" cap="flat" cmpd="sng">
                      <a:solidFill>
                        <a:srgbClr val="F2F2F2"/>
                      </a:solidFill>
                      <a:prstDash val="solid"/>
                      <a:round/>
                      <a:headEnd type="none" w="sm" len="sm"/>
                      <a:tailEnd type="none" w="sm" len="sm"/>
                    </a:lnB>
                  </a:tcPr>
                </a:tc>
                <a:tc>
                  <a:txBody>
                    <a:bodyPr/>
                    <a:lstStyle/>
                    <a:p>
                      <a:pPr marL="0" lvl="0" indent="0" algn="l" rtl="0">
                        <a:spcBef>
                          <a:spcPts val="0"/>
                        </a:spcBef>
                        <a:spcAft>
                          <a:spcPts val="0"/>
                        </a:spcAft>
                        <a:buNone/>
                      </a:pPr>
                      <a:endParaRPr sz="300"/>
                    </a:p>
                  </a:txBody>
                  <a:tcPr marL="121900" marR="121900" marT="121900" marB="121900">
                    <a:lnL w="9525" cap="flat" cmpd="sng">
                      <a:solidFill>
                        <a:srgbClr val="F2F2F2"/>
                      </a:solidFill>
                      <a:prstDash val="solid"/>
                      <a:round/>
                      <a:headEnd type="none" w="sm" len="sm"/>
                      <a:tailEnd type="none" w="sm" len="sm"/>
                    </a:lnL>
                    <a:lnR w="9525" cap="flat" cmpd="sng">
                      <a:solidFill>
                        <a:srgbClr val="F2F2F2"/>
                      </a:solidFill>
                      <a:prstDash val="solid"/>
                      <a:round/>
                      <a:headEnd type="none" w="sm" len="sm"/>
                      <a:tailEnd type="none" w="sm" len="sm"/>
                    </a:lnR>
                    <a:lnT w="9525" cap="flat" cmpd="sng">
                      <a:solidFill>
                        <a:srgbClr val="F2F2F2"/>
                      </a:solidFill>
                      <a:prstDash val="solid"/>
                      <a:round/>
                      <a:headEnd type="none" w="sm" len="sm"/>
                      <a:tailEnd type="none" w="sm" len="sm"/>
                    </a:lnT>
                    <a:lnB w="9525" cap="flat" cmpd="sng">
                      <a:solidFill>
                        <a:srgbClr val="F2F2F2"/>
                      </a:solidFill>
                      <a:prstDash val="solid"/>
                      <a:round/>
                      <a:headEnd type="none" w="sm" len="sm"/>
                      <a:tailEnd type="none" w="sm" len="sm"/>
                    </a:lnB>
                  </a:tcPr>
                </a:tc>
                <a:tc>
                  <a:txBody>
                    <a:bodyPr/>
                    <a:lstStyle/>
                    <a:p>
                      <a:pPr marL="0" lvl="0" indent="0" algn="l" rtl="0">
                        <a:spcBef>
                          <a:spcPts val="0"/>
                        </a:spcBef>
                        <a:spcAft>
                          <a:spcPts val="0"/>
                        </a:spcAft>
                        <a:buNone/>
                      </a:pPr>
                      <a:endParaRPr sz="300"/>
                    </a:p>
                  </a:txBody>
                  <a:tcPr marL="121900" marR="121900" marT="121900" marB="121900">
                    <a:lnL w="9525" cap="flat" cmpd="sng">
                      <a:solidFill>
                        <a:srgbClr val="F2F2F2"/>
                      </a:solidFill>
                      <a:prstDash val="solid"/>
                      <a:round/>
                      <a:headEnd type="none" w="sm" len="sm"/>
                      <a:tailEnd type="none" w="sm" len="sm"/>
                    </a:lnL>
                    <a:lnR w="9525" cap="flat" cmpd="sng">
                      <a:solidFill>
                        <a:srgbClr val="F2F2F2"/>
                      </a:solidFill>
                      <a:prstDash val="solid"/>
                      <a:round/>
                      <a:headEnd type="none" w="sm" len="sm"/>
                      <a:tailEnd type="none" w="sm" len="sm"/>
                    </a:lnR>
                    <a:lnT w="9525" cap="flat" cmpd="sng">
                      <a:solidFill>
                        <a:srgbClr val="F2F2F2"/>
                      </a:solidFill>
                      <a:prstDash val="solid"/>
                      <a:round/>
                      <a:headEnd type="none" w="sm" len="sm"/>
                      <a:tailEnd type="none" w="sm" len="sm"/>
                    </a:lnT>
                    <a:lnB w="9525" cap="flat" cmpd="sng">
                      <a:solidFill>
                        <a:srgbClr val="F2F2F2"/>
                      </a:solidFill>
                      <a:prstDash val="solid"/>
                      <a:round/>
                      <a:headEnd type="none" w="sm" len="sm"/>
                      <a:tailEnd type="none" w="sm" len="sm"/>
                    </a:lnB>
                  </a:tcPr>
                </a:tc>
                <a:extLst>
                  <a:ext uri="{0D108BD9-81ED-4DB2-BD59-A6C34878D82A}">
                    <a16:rowId xmlns:a16="http://schemas.microsoft.com/office/drawing/2014/main" val="10002"/>
                  </a:ext>
                </a:extLst>
              </a:tr>
            </a:tbl>
          </a:graphicData>
        </a:graphic>
      </p:graphicFrame>
      <p:graphicFrame>
        <p:nvGraphicFramePr>
          <p:cNvPr id="8429" name="Google Shape;8429;p106"/>
          <p:cNvGraphicFramePr/>
          <p:nvPr/>
        </p:nvGraphicFramePr>
        <p:xfrm>
          <a:off x="4500617" y="3148267"/>
          <a:ext cx="4000000" cy="4000000"/>
        </p:xfrm>
        <a:graphic>
          <a:graphicData uri="http://schemas.openxmlformats.org/drawingml/2006/table">
            <a:tbl>
              <a:tblPr>
                <a:noFill/>
              </a:tblPr>
              <a:tblGrid>
                <a:gridCol w="787800">
                  <a:extLst>
                    <a:ext uri="{9D8B030D-6E8A-4147-A177-3AD203B41FA5}">
                      <a16:colId xmlns:a16="http://schemas.microsoft.com/office/drawing/2014/main" val="20000"/>
                    </a:ext>
                  </a:extLst>
                </a:gridCol>
                <a:gridCol w="787800">
                  <a:extLst>
                    <a:ext uri="{9D8B030D-6E8A-4147-A177-3AD203B41FA5}">
                      <a16:colId xmlns:a16="http://schemas.microsoft.com/office/drawing/2014/main" val="20001"/>
                    </a:ext>
                  </a:extLst>
                </a:gridCol>
                <a:gridCol w="787800">
                  <a:extLst>
                    <a:ext uri="{9D8B030D-6E8A-4147-A177-3AD203B41FA5}">
                      <a16:colId xmlns:a16="http://schemas.microsoft.com/office/drawing/2014/main" val="20002"/>
                    </a:ext>
                  </a:extLst>
                </a:gridCol>
                <a:gridCol w="787800">
                  <a:extLst>
                    <a:ext uri="{9D8B030D-6E8A-4147-A177-3AD203B41FA5}">
                      <a16:colId xmlns:a16="http://schemas.microsoft.com/office/drawing/2014/main" val="20003"/>
                    </a:ext>
                  </a:extLst>
                </a:gridCol>
              </a:tblGrid>
              <a:tr h="386033">
                <a:tc>
                  <a:txBody>
                    <a:bodyPr/>
                    <a:lstStyle/>
                    <a:p>
                      <a:pPr marL="0" lvl="0" indent="0" algn="l" rtl="0">
                        <a:spcBef>
                          <a:spcPts val="0"/>
                        </a:spcBef>
                        <a:spcAft>
                          <a:spcPts val="0"/>
                        </a:spcAft>
                        <a:buNone/>
                      </a:pPr>
                      <a:endParaRPr sz="300"/>
                    </a:p>
                  </a:txBody>
                  <a:tcPr marL="121900" marR="121900" marT="121900" marB="121900">
                    <a:lnL w="19050" cap="flat" cmpd="sng">
                      <a:solidFill>
                        <a:srgbClr val="F2F2F2">
                          <a:alpha val="0"/>
                        </a:srgbClr>
                      </a:solidFill>
                      <a:prstDash val="solid"/>
                      <a:round/>
                      <a:headEnd type="none" w="sm" len="sm"/>
                      <a:tailEnd type="none" w="sm" len="sm"/>
                    </a:lnL>
                    <a:lnR w="9525" cap="flat" cmpd="sng">
                      <a:solidFill>
                        <a:srgbClr val="F2F2F2"/>
                      </a:solidFill>
                      <a:prstDash val="solid"/>
                      <a:round/>
                      <a:headEnd type="none" w="sm" len="sm"/>
                      <a:tailEnd type="none" w="sm" len="sm"/>
                    </a:lnR>
                    <a:lnT w="19050" cap="flat" cmpd="sng">
                      <a:solidFill>
                        <a:srgbClr val="F2F2F2">
                          <a:alpha val="0"/>
                        </a:srgbClr>
                      </a:solidFill>
                      <a:prstDash val="solid"/>
                      <a:round/>
                      <a:headEnd type="none" w="sm" len="sm"/>
                      <a:tailEnd type="none" w="sm" len="sm"/>
                    </a:lnT>
                    <a:lnB w="9525" cap="flat" cmpd="sng">
                      <a:solidFill>
                        <a:srgbClr val="F2F2F2"/>
                      </a:solidFill>
                      <a:prstDash val="solid"/>
                      <a:round/>
                      <a:headEnd type="none" w="sm" len="sm"/>
                      <a:tailEnd type="none" w="sm" len="sm"/>
                    </a:lnB>
                  </a:tcPr>
                </a:tc>
                <a:tc>
                  <a:txBody>
                    <a:bodyPr/>
                    <a:lstStyle/>
                    <a:p>
                      <a:pPr marL="0" lvl="0" indent="0" algn="l" rtl="0">
                        <a:spcBef>
                          <a:spcPts val="0"/>
                        </a:spcBef>
                        <a:spcAft>
                          <a:spcPts val="0"/>
                        </a:spcAft>
                        <a:buNone/>
                      </a:pPr>
                      <a:endParaRPr sz="300"/>
                    </a:p>
                  </a:txBody>
                  <a:tcPr marL="121900" marR="121900" marT="121900" marB="121900">
                    <a:lnL w="9525" cap="flat" cmpd="sng">
                      <a:solidFill>
                        <a:srgbClr val="F2F2F2"/>
                      </a:solidFill>
                      <a:prstDash val="solid"/>
                      <a:round/>
                      <a:headEnd type="none" w="sm" len="sm"/>
                      <a:tailEnd type="none" w="sm" len="sm"/>
                    </a:lnL>
                    <a:lnR w="9525" cap="flat" cmpd="sng">
                      <a:solidFill>
                        <a:srgbClr val="F2F2F2"/>
                      </a:solidFill>
                      <a:prstDash val="solid"/>
                      <a:round/>
                      <a:headEnd type="none" w="sm" len="sm"/>
                      <a:tailEnd type="none" w="sm" len="sm"/>
                    </a:lnR>
                    <a:lnT w="9525" cap="flat" cmpd="sng">
                      <a:solidFill>
                        <a:srgbClr val="F2F2F2"/>
                      </a:solidFill>
                      <a:prstDash val="solid"/>
                      <a:round/>
                      <a:headEnd type="none" w="sm" len="sm"/>
                      <a:tailEnd type="none" w="sm" len="sm"/>
                    </a:lnT>
                    <a:lnB w="9525" cap="flat" cmpd="sng">
                      <a:solidFill>
                        <a:srgbClr val="F2F2F2"/>
                      </a:solidFill>
                      <a:prstDash val="solid"/>
                      <a:round/>
                      <a:headEnd type="none" w="sm" len="sm"/>
                      <a:tailEnd type="none" w="sm" len="sm"/>
                    </a:lnB>
                  </a:tcPr>
                </a:tc>
                <a:tc>
                  <a:txBody>
                    <a:bodyPr/>
                    <a:lstStyle/>
                    <a:p>
                      <a:pPr marL="0" lvl="0" indent="0" algn="l" rtl="0">
                        <a:spcBef>
                          <a:spcPts val="0"/>
                        </a:spcBef>
                        <a:spcAft>
                          <a:spcPts val="0"/>
                        </a:spcAft>
                        <a:buNone/>
                      </a:pPr>
                      <a:endParaRPr sz="300"/>
                    </a:p>
                  </a:txBody>
                  <a:tcPr marL="121900" marR="121900" marT="121900" marB="121900">
                    <a:lnL w="9525" cap="flat" cmpd="sng">
                      <a:solidFill>
                        <a:srgbClr val="F2F2F2"/>
                      </a:solidFill>
                      <a:prstDash val="solid"/>
                      <a:round/>
                      <a:headEnd type="none" w="sm" len="sm"/>
                      <a:tailEnd type="none" w="sm" len="sm"/>
                    </a:lnL>
                    <a:lnR w="9525" cap="flat" cmpd="sng">
                      <a:solidFill>
                        <a:srgbClr val="F2F2F2"/>
                      </a:solidFill>
                      <a:prstDash val="solid"/>
                      <a:round/>
                      <a:headEnd type="none" w="sm" len="sm"/>
                      <a:tailEnd type="none" w="sm" len="sm"/>
                    </a:lnR>
                    <a:lnT w="9525" cap="flat" cmpd="sng">
                      <a:solidFill>
                        <a:srgbClr val="F2F2F2"/>
                      </a:solidFill>
                      <a:prstDash val="solid"/>
                      <a:round/>
                      <a:headEnd type="none" w="sm" len="sm"/>
                      <a:tailEnd type="none" w="sm" len="sm"/>
                    </a:lnT>
                    <a:lnB w="9525" cap="flat" cmpd="sng">
                      <a:solidFill>
                        <a:srgbClr val="F2F2F2"/>
                      </a:solidFill>
                      <a:prstDash val="solid"/>
                      <a:round/>
                      <a:headEnd type="none" w="sm" len="sm"/>
                      <a:tailEnd type="none" w="sm" len="sm"/>
                    </a:lnB>
                  </a:tcPr>
                </a:tc>
                <a:tc>
                  <a:txBody>
                    <a:bodyPr/>
                    <a:lstStyle/>
                    <a:p>
                      <a:pPr marL="0" lvl="0" indent="0" algn="l" rtl="0">
                        <a:spcBef>
                          <a:spcPts val="0"/>
                        </a:spcBef>
                        <a:spcAft>
                          <a:spcPts val="0"/>
                        </a:spcAft>
                        <a:buNone/>
                      </a:pPr>
                      <a:endParaRPr sz="300"/>
                    </a:p>
                  </a:txBody>
                  <a:tcPr marL="121900" marR="121900" marT="121900" marB="121900">
                    <a:lnL w="9525" cap="flat" cmpd="sng">
                      <a:solidFill>
                        <a:srgbClr val="F2F2F2"/>
                      </a:solidFill>
                      <a:prstDash val="solid"/>
                      <a:round/>
                      <a:headEnd type="none" w="sm" len="sm"/>
                      <a:tailEnd type="none" w="sm" len="sm"/>
                    </a:lnL>
                    <a:lnR w="9525" cap="flat" cmpd="sng">
                      <a:solidFill>
                        <a:srgbClr val="F2F2F2"/>
                      </a:solidFill>
                      <a:prstDash val="solid"/>
                      <a:round/>
                      <a:headEnd type="none" w="sm" len="sm"/>
                      <a:tailEnd type="none" w="sm" len="sm"/>
                    </a:lnR>
                    <a:lnT w="9525" cap="flat" cmpd="sng">
                      <a:solidFill>
                        <a:srgbClr val="F2F2F2"/>
                      </a:solidFill>
                      <a:prstDash val="solid"/>
                      <a:round/>
                      <a:headEnd type="none" w="sm" len="sm"/>
                      <a:tailEnd type="none" w="sm" len="sm"/>
                    </a:lnT>
                    <a:lnB w="9525" cap="flat" cmpd="sng">
                      <a:solidFill>
                        <a:srgbClr val="F2F2F2"/>
                      </a:solidFill>
                      <a:prstDash val="solid"/>
                      <a:round/>
                      <a:headEnd type="none" w="sm" len="sm"/>
                      <a:tailEnd type="none" w="sm" len="sm"/>
                    </a:lnB>
                  </a:tcPr>
                </a:tc>
                <a:extLst>
                  <a:ext uri="{0D108BD9-81ED-4DB2-BD59-A6C34878D82A}">
                    <a16:rowId xmlns:a16="http://schemas.microsoft.com/office/drawing/2014/main" val="10000"/>
                  </a:ext>
                </a:extLst>
              </a:tr>
              <a:tr h="386033">
                <a:tc>
                  <a:txBody>
                    <a:bodyPr/>
                    <a:lstStyle/>
                    <a:p>
                      <a:pPr marL="0" lvl="0" indent="0" algn="l" rtl="0">
                        <a:spcBef>
                          <a:spcPts val="0"/>
                        </a:spcBef>
                        <a:spcAft>
                          <a:spcPts val="0"/>
                        </a:spcAft>
                        <a:buNone/>
                      </a:pPr>
                      <a:endParaRPr sz="300"/>
                    </a:p>
                  </a:txBody>
                  <a:tcPr marL="121900" marR="121900" marT="121900" marB="121900">
                    <a:lnL w="9525" cap="flat" cmpd="sng">
                      <a:solidFill>
                        <a:srgbClr val="F2F2F2"/>
                      </a:solidFill>
                      <a:prstDash val="solid"/>
                      <a:round/>
                      <a:headEnd type="none" w="sm" len="sm"/>
                      <a:tailEnd type="none" w="sm" len="sm"/>
                    </a:lnL>
                    <a:lnR w="9525" cap="flat" cmpd="sng">
                      <a:solidFill>
                        <a:srgbClr val="F2F2F2"/>
                      </a:solidFill>
                      <a:prstDash val="solid"/>
                      <a:round/>
                      <a:headEnd type="none" w="sm" len="sm"/>
                      <a:tailEnd type="none" w="sm" len="sm"/>
                    </a:lnR>
                    <a:lnT w="9525" cap="flat" cmpd="sng">
                      <a:solidFill>
                        <a:srgbClr val="F2F2F2"/>
                      </a:solidFill>
                      <a:prstDash val="solid"/>
                      <a:round/>
                      <a:headEnd type="none" w="sm" len="sm"/>
                      <a:tailEnd type="none" w="sm" len="sm"/>
                    </a:lnT>
                    <a:lnB w="9525" cap="flat" cmpd="sng">
                      <a:solidFill>
                        <a:srgbClr val="F2F2F2"/>
                      </a:solidFill>
                      <a:prstDash val="solid"/>
                      <a:round/>
                      <a:headEnd type="none" w="sm" len="sm"/>
                      <a:tailEnd type="none" w="sm" len="sm"/>
                    </a:lnB>
                  </a:tcPr>
                </a:tc>
                <a:tc>
                  <a:txBody>
                    <a:bodyPr/>
                    <a:lstStyle/>
                    <a:p>
                      <a:pPr marL="0" lvl="0" indent="0" algn="l" rtl="0">
                        <a:spcBef>
                          <a:spcPts val="0"/>
                        </a:spcBef>
                        <a:spcAft>
                          <a:spcPts val="0"/>
                        </a:spcAft>
                        <a:buNone/>
                      </a:pPr>
                      <a:endParaRPr sz="300"/>
                    </a:p>
                  </a:txBody>
                  <a:tcPr marL="121900" marR="121900" marT="121900" marB="121900">
                    <a:lnL w="9525" cap="flat" cmpd="sng">
                      <a:solidFill>
                        <a:srgbClr val="F2F2F2"/>
                      </a:solidFill>
                      <a:prstDash val="solid"/>
                      <a:round/>
                      <a:headEnd type="none" w="sm" len="sm"/>
                      <a:tailEnd type="none" w="sm" len="sm"/>
                    </a:lnL>
                    <a:lnR w="19050" cap="flat" cmpd="sng">
                      <a:solidFill>
                        <a:srgbClr val="F2F2F2">
                          <a:alpha val="0"/>
                        </a:srgbClr>
                      </a:solidFill>
                      <a:prstDash val="solid"/>
                      <a:round/>
                      <a:headEnd type="none" w="sm" len="sm"/>
                      <a:tailEnd type="none" w="sm" len="sm"/>
                    </a:lnR>
                    <a:lnT w="9525" cap="flat" cmpd="sng">
                      <a:solidFill>
                        <a:srgbClr val="F2F2F2"/>
                      </a:solidFill>
                      <a:prstDash val="solid"/>
                      <a:round/>
                      <a:headEnd type="none" w="sm" len="sm"/>
                      <a:tailEnd type="none" w="sm" len="sm"/>
                    </a:lnT>
                    <a:lnB w="9525" cap="flat" cmpd="sng">
                      <a:solidFill>
                        <a:srgbClr val="F2F2F2"/>
                      </a:solidFill>
                      <a:prstDash val="solid"/>
                      <a:round/>
                      <a:headEnd type="none" w="sm" len="sm"/>
                      <a:tailEnd type="none" w="sm" len="sm"/>
                    </a:lnB>
                  </a:tcPr>
                </a:tc>
                <a:tc>
                  <a:txBody>
                    <a:bodyPr/>
                    <a:lstStyle/>
                    <a:p>
                      <a:pPr marL="0" lvl="0" indent="0" algn="l" rtl="0">
                        <a:spcBef>
                          <a:spcPts val="0"/>
                        </a:spcBef>
                        <a:spcAft>
                          <a:spcPts val="0"/>
                        </a:spcAft>
                        <a:buNone/>
                      </a:pPr>
                      <a:endParaRPr sz="300"/>
                    </a:p>
                  </a:txBody>
                  <a:tcPr marL="121900" marR="121900" marT="121900" marB="121900">
                    <a:lnL w="19050" cap="flat" cmpd="sng">
                      <a:solidFill>
                        <a:srgbClr val="F2F2F2">
                          <a:alpha val="0"/>
                        </a:srgbClr>
                      </a:solidFill>
                      <a:prstDash val="solid"/>
                      <a:round/>
                      <a:headEnd type="none" w="sm" len="sm"/>
                      <a:tailEnd type="none" w="sm" len="sm"/>
                    </a:lnL>
                    <a:lnR w="19050" cap="flat" cmpd="sng">
                      <a:solidFill>
                        <a:srgbClr val="F2F2F2">
                          <a:alpha val="0"/>
                        </a:srgbClr>
                      </a:solidFill>
                      <a:prstDash val="solid"/>
                      <a:round/>
                      <a:headEnd type="none" w="sm" len="sm"/>
                      <a:tailEnd type="none" w="sm" len="sm"/>
                    </a:lnR>
                    <a:lnT w="9525" cap="flat" cmpd="sng">
                      <a:solidFill>
                        <a:srgbClr val="F2F2F2"/>
                      </a:solidFill>
                      <a:prstDash val="solid"/>
                      <a:round/>
                      <a:headEnd type="none" w="sm" len="sm"/>
                      <a:tailEnd type="none" w="sm" len="sm"/>
                    </a:lnT>
                    <a:lnB w="9525" cap="flat" cmpd="sng">
                      <a:solidFill>
                        <a:srgbClr val="F2F2F2"/>
                      </a:solidFill>
                      <a:prstDash val="solid"/>
                      <a:round/>
                      <a:headEnd type="none" w="sm" len="sm"/>
                      <a:tailEnd type="none" w="sm" len="sm"/>
                    </a:lnB>
                  </a:tcPr>
                </a:tc>
                <a:tc>
                  <a:txBody>
                    <a:bodyPr/>
                    <a:lstStyle/>
                    <a:p>
                      <a:pPr marL="0" lvl="0" indent="0" algn="l" rtl="0">
                        <a:spcBef>
                          <a:spcPts val="0"/>
                        </a:spcBef>
                        <a:spcAft>
                          <a:spcPts val="0"/>
                        </a:spcAft>
                        <a:buNone/>
                      </a:pPr>
                      <a:endParaRPr sz="300"/>
                    </a:p>
                  </a:txBody>
                  <a:tcPr marL="121900" marR="121900" marT="121900" marB="121900">
                    <a:lnL w="19050" cap="flat" cmpd="sng">
                      <a:solidFill>
                        <a:srgbClr val="F2F2F2">
                          <a:alpha val="0"/>
                        </a:srgbClr>
                      </a:solidFill>
                      <a:prstDash val="solid"/>
                      <a:round/>
                      <a:headEnd type="none" w="sm" len="sm"/>
                      <a:tailEnd type="none" w="sm" len="sm"/>
                    </a:lnL>
                    <a:lnR w="9525" cap="flat" cmpd="sng">
                      <a:solidFill>
                        <a:srgbClr val="F2F2F2"/>
                      </a:solidFill>
                      <a:prstDash val="solid"/>
                      <a:round/>
                      <a:headEnd type="none" w="sm" len="sm"/>
                      <a:tailEnd type="none" w="sm" len="sm"/>
                    </a:lnR>
                    <a:lnT w="9525" cap="flat" cmpd="sng">
                      <a:solidFill>
                        <a:srgbClr val="F2F2F2"/>
                      </a:solidFill>
                      <a:prstDash val="solid"/>
                      <a:round/>
                      <a:headEnd type="none" w="sm" len="sm"/>
                      <a:tailEnd type="none" w="sm" len="sm"/>
                    </a:lnT>
                    <a:lnB w="9525" cap="flat" cmpd="sng">
                      <a:solidFill>
                        <a:srgbClr val="F2F2F2"/>
                      </a:solidFill>
                      <a:prstDash val="solid"/>
                      <a:round/>
                      <a:headEnd type="none" w="sm" len="sm"/>
                      <a:tailEnd type="none" w="sm" len="sm"/>
                    </a:lnB>
                  </a:tcPr>
                </a:tc>
                <a:extLst>
                  <a:ext uri="{0D108BD9-81ED-4DB2-BD59-A6C34878D82A}">
                    <a16:rowId xmlns:a16="http://schemas.microsoft.com/office/drawing/2014/main" val="10001"/>
                  </a:ext>
                </a:extLst>
              </a:tr>
              <a:tr h="386033">
                <a:tc>
                  <a:txBody>
                    <a:bodyPr/>
                    <a:lstStyle/>
                    <a:p>
                      <a:pPr marL="0" lvl="0" indent="0" algn="l" rtl="0">
                        <a:spcBef>
                          <a:spcPts val="0"/>
                        </a:spcBef>
                        <a:spcAft>
                          <a:spcPts val="0"/>
                        </a:spcAft>
                        <a:buNone/>
                      </a:pPr>
                      <a:endParaRPr sz="300"/>
                    </a:p>
                  </a:txBody>
                  <a:tcPr marL="121900" marR="121900" marT="121900" marB="121900">
                    <a:lnL w="9525" cap="flat" cmpd="sng">
                      <a:solidFill>
                        <a:srgbClr val="F2F2F2"/>
                      </a:solidFill>
                      <a:prstDash val="solid"/>
                      <a:round/>
                      <a:headEnd type="none" w="sm" len="sm"/>
                      <a:tailEnd type="none" w="sm" len="sm"/>
                    </a:lnL>
                    <a:lnR w="9525" cap="flat" cmpd="sng">
                      <a:solidFill>
                        <a:srgbClr val="F2F2F2"/>
                      </a:solidFill>
                      <a:prstDash val="solid"/>
                      <a:round/>
                      <a:headEnd type="none" w="sm" len="sm"/>
                      <a:tailEnd type="none" w="sm" len="sm"/>
                    </a:lnR>
                    <a:lnT w="9525" cap="flat" cmpd="sng">
                      <a:solidFill>
                        <a:srgbClr val="F2F2F2"/>
                      </a:solidFill>
                      <a:prstDash val="solid"/>
                      <a:round/>
                      <a:headEnd type="none" w="sm" len="sm"/>
                      <a:tailEnd type="none" w="sm" len="sm"/>
                    </a:lnT>
                    <a:lnB w="9525" cap="flat" cmpd="sng">
                      <a:solidFill>
                        <a:srgbClr val="F2F2F2"/>
                      </a:solidFill>
                      <a:prstDash val="solid"/>
                      <a:round/>
                      <a:headEnd type="none" w="sm" len="sm"/>
                      <a:tailEnd type="none" w="sm" len="sm"/>
                    </a:lnB>
                  </a:tcPr>
                </a:tc>
                <a:tc>
                  <a:txBody>
                    <a:bodyPr/>
                    <a:lstStyle/>
                    <a:p>
                      <a:pPr marL="0" lvl="0" indent="0" algn="l" rtl="0">
                        <a:spcBef>
                          <a:spcPts val="0"/>
                        </a:spcBef>
                        <a:spcAft>
                          <a:spcPts val="0"/>
                        </a:spcAft>
                        <a:buNone/>
                      </a:pPr>
                      <a:endParaRPr sz="300"/>
                    </a:p>
                  </a:txBody>
                  <a:tcPr marL="121900" marR="121900" marT="121900" marB="121900">
                    <a:lnL w="9525" cap="flat" cmpd="sng">
                      <a:solidFill>
                        <a:srgbClr val="F2F2F2"/>
                      </a:solidFill>
                      <a:prstDash val="solid"/>
                      <a:round/>
                      <a:headEnd type="none" w="sm" len="sm"/>
                      <a:tailEnd type="none" w="sm" len="sm"/>
                    </a:lnL>
                    <a:lnR w="19050" cap="flat" cmpd="sng">
                      <a:solidFill>
                        <a:srgbClr val="F2F2F2">
                          <a:alpha val="0"/>
                        </a:srgbClr>
                      </a:solidFill>
                      <a:prstDash val="solid"/>
                      <a:round/>
                      <a:headEnd type="none" w="sm" len="sm"/>
                      <a:tailEnd type="none" w="sm" len="sm"/>
                    </a:lnR>
                    <a:lnT w="9525" cap="flat" cmpd="sng">
                      <a:solidFill>
                        <a:srgbClr val="F2F2F2"/>
                      </a:solidFill>
                      <a:prstDash val="solid"/>
                      <a:round/>
                      <a:headEnd type="none" w="sm" len="sm"/>
                      <a:tailEnd type="none" w="sm" len="sm"/>
                    </a:lnT>
                    <a:lnB w="9525" cap="flat" cmpd="sng">
                      <a:solidFill>
                        <a:srgbClr val="F2F2F2"/>
                      </a:solidFill>
                      <a:prstDash val="solid"/>
                      <a:round/>
                      <a:headEnd type="none" w="sm" len="sm"/>
                      <a:tailEnd type="none" w="sm" len="sm"/>
                    </a:lnB>
                  </a:tcPr>
                </a:tc>
                <a:tc>
                  <a:txBody>
                    <a:bodyPr/>
                    <a:lstStyle/>
                    <a:p>
                      <a:pPr marL="0" lvl="0" indent="0" algn="l" rtl="0">
                        <a:spcBef>
                          <a:spcPts val="0"/>
                        </a:spcBef>
                        <a:spcAft>
                          <a:spcPts val="0"/>
                        </a:spcAft>
                        <a:buNone/>
                      </a:pPr>
                      <a:endParaRPr sz="300"/>
                    </a:p>
                  </a:txBody>
                  <a:tcPr marL="121900" marR="121900" marT="121900" marB="121900">
                    <a:lnL w="19050" cap="flat" cmpd="sng">
                      <a:solidFill>
                        <a:srgbClr val="F2F2F2">
                          <a:alpha val="0"/>
                        </a:srgbClr>
                      </a:solidFill>
                      <a:prstDash val="solid"/>
                      <a:round/>
                      <a:headEnd type="none" w="sm" len="sm"/>
                      <a:tailEnd type="none" w="sm" len="sm"/>
                    </a:lnL>
                    <a:lnR w="19050" cap="flat" cmpd="sng">
                      <a:solidFill>
                        <a:srgbClr val="F2F2F2">
                          <a:alpha val="0"/>
                        </a:srgbClr>
                      </a:solidFill>
                      <a:prstDash val="solid"/>
                      <a:round/>
                      <a:headEnd type="none" w="sm" len="sm"/>
                      <a:tailEnd type="none" w="sm" len="sm"/>
                    </a:lnR>
                    <a:lnT w="9525" cap="flat" cmpd="sng">
                      <a:solidFill>
                        <a:srgbClr val="F2F2F2"/>
                      </a:solidFill>
                      <a:prstDash val="solid"/>
                      <a:round/>
                      <a:headEnd type="none" w="sm" len="sm"/>
                      <a:tailEnd type="none" w="sm" len="sm"/>
                    </a:lnT>
                    <a:lnB w="9525" cap="flat" cmpd="sng">
                      <a:solidFill>
                        <a:srgbClr val="F2F2F2"/>
                      </a:solidFill>
                      <a:prstDash val="solid"/>
                      <a:round/>
                      <a:headEnd type="none" w="sm" len="sm"/>
                      <a:tailEnd type="none" w="sm" len="sm"/>
                    </a:lnB>
                  </a:tcPr>
                </a:tc>
                <a:tc>
                  <a:txBody>
                    <a:bodyPr/>
                    <a:lstStyle/>
                    <a:p>
                      <a:pPr marL="0" lvl="0" indent="0" algn="l" rtl="0">
                        <a:spcBef>
                          <a:spcPts val="0"/>
                        </a:spcBef>
                        <a:spcAft>
                          <a:spcPts val="0"/>
                        </a:spcAft>
                        <a:buNone/>
                      </a:pPr>
                      <a:endParaRPr sz="300"/>
                    </a:p>
                  </a:txBody>
                  <a:tcPr marL="121900" marR="121900" marT="121900" marB="121900">
                    <a:lnL w="19050" cap="flat" cmpd="sng">
                      <a:solidFill>
                        <a:srgbClr val="F2F2F2">
                          <a:alpha val="0"/>
                        </a:srgbClr>
                      </a:solidFill>
                      <a:prstDash val="solid"/>
                      <a:round/>
                      <a:headEnd type="none" w="sm" len="sm"/>
                      <a:tailEnd type="none" w="sm" len="sm"/>
                    </a:lnL>
                    <a:lnR w="9525" cap="flat" cmpd="sng">
                      <a:solidFill>
                        <a:srgbClr val="F2F2F2"/>
                      </a:solidFill>
                      <a:prstDash val="solid"/>
                      <a:round/>
                      <a:headEnd type="none" w="sm" len="sm"/>
                      <a:tailEnd type="none" w="sm" len="sm"/>
                    </a:lnR>
                    <a:lnT w="9525" cap="flat" cmpd="sng">
                      <a:solidFill>
                        <a:srgbClr val="F2F2F2"/>
                      </a:solidFill>
                      <a:prstDash val="solid"/>
                      <a:round/>
                      <a:headEnd type="none" w="sm" len="sm"/>
                      <a:tailEnd type="none" w="sm" len="sm"/>
                    </a:lnT>
                    <a:lnB w="9525" cap="flat" cmpd="sng">
                      <a:solidFill>
                        <a:srgbClr val="F2F2F2"/>
                      </a:solidFill>
                      <a:prstDash val="solid"/>
                      <a:round/>
                      <a:headEnd type="none" w="sm" len="sm"/>
                      <a:tailEnd type="none" w="sm" len="sm"/>
                    </a:lnB>
                  </a:tcPr>
                </a:tc>
                <a:extLst>
                  <a:ext uri="{0D108BD9-81ED-4DB2-BD59-A6C34878D82A}">
                    <a16:rowId xmlns:a16="http://schemas.microsoft.com/office/drawing/2014/main" val="10002"/>
                  </a:ext>
                </a:extLst>
              </a:tr>
            </a:tbl>
          </a:graphicData>
        </a:graphic>
      </p:graphicFrame>
      <p:grpSp>
        <p:nvGrpSpPr>
          <p:cNvPr id="8430" name="Google Shape;8430;p106"/>
          <p:cNvGrpSpPr/>
          <p:nvPr/>
        </p:nvGrpSpPr>
        <p:grpSpPr>
          <a:xfrm>
            <a:off x="4503266" y="4469547"/>
            <a:ext cx="3151169" cy="1396083"/>
            <a:chOff x="3358399" y="3285485"/>
            <a:chExt cx="2363377" cy="1047062"/>
          </a:xfrm>
        </p:grpSpPr>
        <p:grpSp>
          <p:nvGrpSpPr>
            <p:cNvPr id="8431" name="Google Shape;8431;p106"/>
            <p:cNvGrpSpPr/>
            <p:nvPr/>
          </p:nvGrpSpPr>
          <p:grpSpPr>
            <a:xfrm>
              <a:off x="3358412" y="3285485"/>
              <a:ext cx="2363244" cy="139500"/>
              <a:chOff x="3358412" y="3285485"/>
              <a:chExt cx="2363244" cy="139500"/>
            </a:xfrm>
          </p:grpSpPr>
          <p:sp>
            <p:nvSpPr>
              <p:cNvPr id="8432" name="Google Shape;8432;p106"/>
              <p:cNvSpPr/>
              <p:nvPr/>
            </p:nvSpPr>
            <p:spPr>
              <a:xfrm>
                <a:off x="3358412" y="3285485"/>
                <a:ext cx="441300" cy="139500"/>
              </a:xfrm>
              <a:prstGeom prst="flowChartAlternateProcess">
                <a:avLst/>
              </a:prstGeom>
              <a:noFill/>
              <a:ln w="9525" cap="flat" cmpd="sng">
                <a:solidFill>
                  <a:srgbClr val="7994A9"/>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433" name="Google Shape;8433;p106"/>
              <p:cNvSpPr/>
              <p:nvPr/>
            </p:nvSpPr>
            <p:spPr>
              <a:xfrm>
                <a:off x="3838898" y="3285485"/>
                <a:ext cx="441300" cy="139500"/>
              </a:xfrm>
              <a:prstGeom prst="flowChartAlternateProcess">
                <a:avLst/>
              </a:prstGeom>
              <a:noFill/>
              <a:ln w="9525" cap="flat" cmpd="sng">
                <a:solidFill>
                  <a:srgbClr val="7994A9"/>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434" name="Google Shape;8434;p106"/>
              <p:cNvSpPr/>
              <p:nvPr/>
            </p:nvSpPr>
            <p:spPr>
              <a:xfrm>
                <a:off x="4319384" y="3285485"/>
                <a:ext cx="441300" cy="139500"/>
              </a:xfrm>
              <a:prstGeom prst="flowChartAlternateProcess">
                <a:avLst/>
              </a:prstGeom>
              <a:noFill/>
              <a:ln w="9525" cap="flat" cmpd="sng">
                <a:solidFill>
                  <a:srgbClr val="7994A9"/>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435" name="Google Shape;8435;p106"/>
              <p:cNvSpPr/>
              <p:nvPr/>
            </p:nvSpPr>
            <p:spPr>
              <a:xfrm>
                <a:off x="4799870" y="3285485"/>
                <a:ext cx="441300" cy="139500"/>
              </a:xfrm>
              <a:prstGeom prst="flowChartAlternateProcess">
                <a:avLst/>
              </a:prstGeom>
              <a:noFill/>
              <a:ln w="9525" cap="flat" cmpd="sng">
                <a:solidFill>
                  <a:srgbClr val="7994A9"/>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436" name="Google Shape;8436;p106"/>
              <p:cNvSpPr/>
              <p:nvPr/>
            </p:nvSpPr>
            <p:spPr>
              <a:xfrm>
                <a:off x="5280356" y="3285485"/>
                <a:ext cx="441300" cy="139500"/>
              </a:xfrm>
              <a:prstGeom prst="flowChartAlternateProcess">
                <a:avLst/>
              </a:prstGeom>
              <a:noFill/>
              <a:ln w="9525" cap="flat" cmpd="sng">
                <a:solidFill>
                  <a:srgbClr val="7994A9"/>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8437" name="Google Shape;8437;p106"/>
            <p:cNvGrpSpPr/>
            <p:nvPr/>
          </p:nvGrpSpPr>
          <p:grpSpPr>
            <a:xfrm>
              <a:off x="3358412" y="3466996"/>
              <a:ext cx="2363244" cy="139500"/>
              <a:chOff x="3358412" y="3466996"/>
              <a:chExt cx="2363244" cy="139500"/>
            </a:xfrm>
          </p:grpSpPr>
          <p:sp>
            <p:nvSpPr>
              <p:cNvPr id="8438" name="Google Shape;8438;p106"/>
              <p:cNvSpPr/>
              <p:nvPr/>
            </p:nvSpPr>
            <p:spPr>
              <a:xfrm>
                <a:off x="3358412" y="3466996"/>
                <a:ext cx="441300" cy="139500"/>
              </a:xfrm>
              <a:prstGeom prst="flowChartAlternateProcess">
                <a:avLst/>
              </a:prstGeom>
              <a:noFill/>
              <a:ln w="9525" cap="flat" cmpd="sng">
                <a:solidFill>
                  <a:srgbClr val="E3E9ED"/>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439" name="Google Shape;8439;p106"/>
              <p:cNvSpPr/>
              <p:nvPr/>
            </p:nvSpPr>
            <p:spPr>
              <a:xfrm>
                <a:off x="3838898" y="3466996"/>
                <a:ext cx="441300" cy="139500"/>
              </a:xfrm>
              <a:prstGeom prst="flowChartAlternateProcess">
                <a:avLst/>
              </a:prstGeom>
              <a:noFill/>
              <a:ln w="9525" cap="flat" cmpd="sng">
                <a:solidFill>
                  <a:srgbClr val="E3E9ED"/>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440" name="Google Shape;8440;p106"/>
              <p:cNvSpPr/>
              <p:nvPr/>
            </p:nvSpPr>
            <p:spPr>
              <a:xfrm>
                <a:off x="4319384" y="3466996"/>
                <a:ext cx="441300" cy="139500"/>
              </a:xfrm>
              <a:prstGeom prst="flowChartAlternateProcess">
                <a:avLst/>
              </a:prstGeom>
              <a:noFill/>
              <a:ln w="9525" cap="flat" cmpd="sng">
                <a:solidFill>
                  <a:srgbClr val="E3E9ED"/>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441" name="Google Shape;8441;p106"/>
              <p:cNvSpPr/>
              <p:nvPr/>
            </p:nvSpPr>
            <p:spPr>
              <a:xfrm>
                <a:off x="4799870" y="3466996"/>
                <a:ext cx="441300" cy="139500"/>
              </a:xfrm>
              <a:prstGeom prst="flowChartAlternateProcess">
                <a:avLst/>
              </a:prstGeom>
              <a:noFill/>
              <a:ln w="9525" cap="flat" cmpd="sng">
                <a:solidFill>
                  <a:srgbClr val="E3E9ED"/>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442" name="Google Shape;8442;p106"/>
              <p:cNvSpPr/>
              <p:nvPr/>
            </p:nvSpPr>
            <p:spPr>
              <a:xfrm>
                <a:off x="5280356" y="3466996"/>
                <a:ext cx="441300" cy="139500"/>
              </a:xfrm>
              <a:prstGeom prst="flowChartAlternateProcess">
                <a:avLst/>
              </a:prstGeom>
              <a:noFill/>
              <a:ln w="9525" cap="flat" cmpd="sng">
                <a:solidFill>
                  <a:srgbClr val="E3E9ED"/>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8443" name="Google Shape;8443;p106"/>
            <p:cNvGrpSpPr/>
            <p:nvPr/>
          </p:nvGrpSpPr>
          <p:grpSpPr>
            <a:xfrm>
              <a:off x="3358412" y="3648507"/>
              <a:ext cx="2363244" cy="139500"/>
              <a:chOff x="3358412" y="3648507"/>
              <a:chExt cx="2363244" cy="139500"/>
            </a:xfrm>
          </p:grpSpPr>
          <p:sp>
            <p:nvSpPr>
              <p:cNvPr id="8444" name="Google Shape;8444;p106"/>
              <p:cNvSpPr/>
              <p:nvPr/>
            </p:nvSpPr>
            <p:spPr>
              <a:xfrm>
                <a:off x="3358412" y="3648507"/>
                <a:ext cx="441300" cy="139500"/>
              </a:xfrm>
              <a:prstGeom prst="flowChartAlternateProcess">
                <a:avLst/>
              </a:prstGeom>
              <a:noFill/>
              <a:ln w="9525" cap="flat" cmpd="sng">
                <a:solidFill>
                  <a:srgbClr val="E3E9ED"/>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445" name="Google Shape;8445;p106"/>
              <p:cNvSpPr/>
              <p:nvPr/>
            </p:nvSpPr>
            <p:spPr>
              <a:xfrm>
                <a:off x="3838898" y="3648507"/>
                <a:ext cx="441300" cy="139500"/>
              </a:xfrm>
              <a:prstGeom prst="flowChartAlternateProcess">
                <a:avLst/>
              </a:prstGeom>
              <a:noFill/>
              <a:ln w="9525" cap="flat" cmpd="sng">
                <a:solidFill>
                  <a:srgbClr val="E3E9ED"/>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446" name="Google Shape;8446;p106"/>
              <p:cNvSpPr/>
              <p:nvPr/>
            </p:nvSpPr>
            <p:spPr>
              <a:xfrm>
                <a:off x="4319384" y="3648507"/>
                <a:ext cx="441300" cy="139500"/>
              </a:xfrm>
              <a:prstGeom prst="flowChartAlternateProcess">
                <a:avLst/>
              </a:prstGeom>
              <a:noFill/>
              <a:ln w="9525" cap="flat" cmpd="sng">
                <a:solidFill>
                  <a:srgbClr val="E3E9ED"/>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447" name="Google Shape;8447;p106"/>
              <p:cNvSpPr/>
              <p:nvPr/>
            </p:nvSpPr>
            <p:spPr>
              <a:xfrm>
                <a:off x="4799870" y="3648507"/>
                <a:ext cx="441300" cy="139500"/>
              </a:xfrm>
              <a:prstGeom prst="flowChartAlternateProcess">
                <a:avLst/>
              </a:prstGeom>
              <a:noFill/>
              <a:ln w="9525" cap="flat" cmpd="sng">
                <a:solidFill>
                  <a:srgbClr val="E3E9ED"/>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448" name="Google Shape;8448;p106"/>
              <p:cNvSpPr/>
              <p:nvPr/>
            </p:nvSpPr>
            <p:spPr>
              <a:xfrm>
                <a:off x="5280356" y="3648507"/>
                <a:ext cx="441300" cy="139500"/>
              </a:xfrm>
              <a:prstGeom prst="flowChartAlternateProcess">
                <a:avLst/>
              </a:prstGeom>
              <a:noFill/>
              <a:ln w="9525" cap="flat" cmpd="sng">
                <a:solidFill>
                  <a:srgbClr val="E3E9ED"/>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8449" name="Google Shape;8449;p106"/>
            <p:cNvGrpSpPr/>
            <p:nvPr/>
          </p:nvGrpSpPr>
          <p:grpSpPr>
            <a:xfrm>
              <a:off x="3358412" y="3830018"/>
              <a:ext cx="2363244" cy="139500"/>
              <a:chOff x="3358412" y="3830018"/>
              <a:chExt cx="2363244" cy="139500"/>
            </a:xfrm>
          </p:grpSpPr>
          <p:sp>
            <p:nvSpPr>
              <p:cNvPr id="8450" name="Google Shape;8450;p106"/>
              <p:cNvSpPr/>
              <p:nvPr/>
            </p:nvSpPr>
            <p:spPr>
              <a:xfrm>
                <a:off x="3358412" y="3830018"/>
                <a:ext cx="441300" cy="139500"/>
              </a:xfrm>
              <a:prstGeom prst="flowChartAlternateProcess">
                <a:avLst/>
              </a:prstGeom>
              <a:noFill/>
              <a:ln w="9525" cap="flat" cmpd="sng">
                <a:solidFill>
                  <a:srgbClr val="E3E9ED"/>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451" name="Google Shape;8451;p106"/>
              <p:cNvSpPr/>
              <p:nvPr/>
            </p:nvSpPr>
            <p:spPr>
              <a:xfrm>
                <a:off x="3838898" y="3830018"/>
                <a:ext cx="441300" cy="139500"/>
              </a:xfrm>
              <a:prstGeom prst="flowChartAlternateProcess">
                <a:avLst/>
              </a:prstGeom>
              <a:noFill/>
              <a:ln w="9525" cap="flat" cmpd="sng">
                <a:solidFill>
                  <a:srgbClr val="E3E9ED"/>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452" name="Google Shape;8452;p106"/>
              <p:cNvSpPr/>
              <p:nvPr/>
            </p:nvSpPr>
            <p:spPr>
              <a:xfrm>
                <a:off x="4319384" y="3830018"/>
                <a:ext cx="441300" cy="139500"/>
              </a:xfrm>
              <a:prstGeom prst="flowChartAlternateProcess">
                <a:avLst/>
              </a:prstGeom>
              <a:noFill/>
              <a:ln w="9525" cap="flat" cmpd="sng">
                <a:solidFill>
                  <a:srgbClr val="E3E9ED"/>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453" name="Google Shape;8453;p106"/>
              <p:cNvSpPr/>
              <p:nvPr/>
            </p:nvSpPr>
            <p:spPr>
              <a:xfrm>
                <a:off x="4799870" y="3830018"/>
                <a:ext cx="441300" cy="139500"/>
              </a:xfrm>
              <a:prstGeom prst="flowChartAlternateProcess">
                <a:avLst/>
              </a:prstGeom>
              <a:noFill/>
              <a:ln w="9525" cap="flat" cmpd="sng">
                <a:solidFill>
                  <a:srgbClr val="E3E9ED"/>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454" name="Google Shape;8454;p106"/>
              <p:cNvSpPr/>
              <p:nvPr/>
            </p:nvSpPr>
            <p:spPr>
              <a:xfrm>
                <a:off x="5280356" y="3830018"/>
                <a:ext cx="441300" cy="139500"/>
              </a:xfrm>
              <a:prstGeom prst="flowChartAlternateProcess">
                <a:avLst/>
              </a:prstGeom>
              <a:noFill/>
              <a:ln w="9525" cap="flat" cmpd="sng">
                <a:solidFill>
                  <a:srgbClr val="E3E9ED"/>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8455" name="Google Shape;8455;p106"/>
            <p:cNvGrpSpPr/>
            <p:nvPr/>
          </p:nvGrpSpPr>
          <p:grpSpPr>
            <a:xfrm>
              <a:off x="3358399" y="4011514"/>
              <a:ext cx="2363377" cy="139537"/>
              <a:chOff x="3294800" y="4134603"/>
              <a:chExt cx="2638876" cy="152400"/>
            </a:xfrm>
          </p:grpSpPr>
          <p:sp>
            <p:nvSpPr>
              <p:cNvPr id="8456" name="Google Shape;8456;p106"/>
              <p:cNvSpPr/>
              <p:nvPr/>
            </p:nvSpPr>
            <p:spPr>
              <a:xfrm>
                <a:off x="3294800" y="4134603"/>
                <a:ext cx="492900" cy="152400"/>
              </a:xfrm>
              <a:prstGeom prst="flowChartAlternateProcess">
                <a:avLst/>
              </a:prstGeom>
              <a:noFill/>
              <a:ln w="9525" cap="flat" cmpd="sng">
                <a:solidFill>
                  <a:srgbClr val="E3E9ED"/>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457" name="Google Shape;8457;p106"/>
              <p:cNvSpPr/>
              <p:nvPr/>
            </p:nvSpPr>
            <p:spPr>
              <a:xfrm>
                <a:off x="3831294" y="4134603"/>
                <a:ext cx="492900" cy="152400"/>
              </a:xfrm>
              <a:prstGeom prst="flowChartAlternateProcess">
                <a:avLst/>
              </a:prstGeom>
              <a:noFill/>
              <a:ln w="9525" cap="flat" cmpd="sng">
                <a:solidFill>
                  <a:srgbClr val="E3E9ED"/>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458" name="Google Shape;8458;p106"/>
              <p:cNvSpPr/>
              <p:nvPr/>
            </p:nvSpPr>
            <p:spPr>
              <a:xfrm>
                <a:off x="4367788" y="4134603"/>
                <a:ext cx="492900" cy="152400"/>
              </a:xfrm>
              <a:prstGeom prst="flowChartAlternateProcess">
                <a:avLst/>
              </a:prstGeom>
              <a:noFill/>
              <a:ln w="9525" cap="flat" cmpd="sng">
                <a:solidFill>
                  <a:srgbClr val="E3E9ED"/>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459" name="Google Shape;8459;p106"/>
              <p:cNvSpPr/>
              <p:nvPr/>
            </p:nvSpPr>
            <p:spPr>
              <a:xfrm>
                <a:off x="4904282" y="4134603"/>
                <a:ext cx="492900" cy="152400"/>
              </a:xfrm>
              <a:prstGeom prst="flowChartAlternateProcess">
                <a:avLst/>
              </a:prstGeom>
              <a:noFill/>
              <a:ln w="9525" cap="flat" cmpd="sng">
                <a:solidFill>
                  <a:srgbClr val="E3E9ED"/>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460" name="Google Shape;8460;p106"/>
              <p:cNvSpPr/>
              <p:nvPr/>
            </p:nvSpPr>
            <p:spPr>
              <a:xfrm>
                <a:off x="5440776" y="4134603"/>
                <a:ext cx="492900" cy="152400"/>
              </a:xfrm>
              <a:prstGeom prst="flowChartAlternateProcess">
                <a:avLst/>
              </a:prstGeom>
              <a:noFill/>
              <a:ln w="9525" cap="flat" cmpd="sng">
                <a:solidFill>
                  <a:srgbClr val="E3E9ED"/>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8461" name="Google Shape;8461;p106"/>
            <p:cNvGrpSpPr/>
            <p:nvPr/>
          </p:nvGrpSpPr>
          <p:grpSpPr>
            <a:xfrm>
              <a:off x="3358399" y="4193010"/>
              <a:ext cx="2363377" cy="139537"/>
              <a:chOff x="3294800" y="4134603"/>
              <a:chExt cx="2638876" cy="152400"/>
            </a:xfrm>
          </p:grpSpPr>
          <p:sp>
            <p:nvSpPr>
              <p:cNvPr id="8462" name="Google Shape;8462;p106"/>
              <p:cNvSpPr/>
              <p:nvPr/>
            </p:nvSpPr>
            <p:spPr>
              <a:xfrm>
                <a:off x="3294800" y="4134603"/>
                <a:ext cx="492900" cy="152400"/>
              </a:xfrm>
              <a:prstGeom prst="flowChartAlternateProcess">
                <a:avLst/>
              </a:prstGeom>
              <a:noFill/>
              <a:ln w="9525" cap="flat" cmpd="sng">
                <a:solidFill>
                  <a:srgbClr val="E3E9ED"/>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463" name="Google Shape;8463;p106"/>
              <p:cNvSpPr/>
              <p:nvPr/>
            </p:nvSpPr>
            <p:spPr>
              <a:xfrm>
                <a:off x="3831294" y="4134603"/>
                <a:ext cx="492900" cy="152400"/>
              </a:xfrm>
              <a:prstGeom prst="flowChartAlternateProcess">
                <a:avLst/>
              </a:prstGeom>
              <a:noFill/>
              <a:ln w="9525" cap="flat" cmpd="sng">
                <a:solidFill>
                  <a:srgbClr val="E3E9ED"/>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464" name="Google Shape;8464;p106"/>
              <p:cNvSpPr/>
              <p:nvPr/>
            </p:nvSpPr>
            <p:spPr>
              <a:xfrm>
                <a:off x="4367788" y="4134603"/>
                <a:ext cx="492900" cy="152400"/>
              </a:xfrm>
              <a:prstGeom prst="flowChartAlternateProcess">
                <a:avLst/>
              </a:prstGeom>
              <a:noFill/>
              <a:ln w="9525" cap="flat" cmpd="sng">
                <a:solidFill>
                  <a:srgbClr val="E3E9ED"/>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465" name="Google Shape;8465;p106"/>
              <p:cNvSpPr/>
              <p:nvPr/>
            </p:nvSpPr>
            <p:spPr>
              <a:xfrm>
                <a:off x="4904282" y="4134603"/>
                <a:ext cx="492900" cy="152400"/>
              </a:xfrm>
              <a:prstGeom prst="flowChartAlternateProcess">
                <a:avLst/>
              </a:prstGeom>
              <a:noFill/>
              <a:ln w="9525" cap="flat" cmpd="sng">
                <a:solidFill>
                  <a:srgbClr val="E3E9ED"/>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466" name="Google Shape;8466;p106"/>
              <p:cNvSpPr/>
              <p:nvPr/>
            </p:nvSpPr>
            <p:spPr>
              <a:xfrm>
                <a:off x="5440776" y="4134603"/>
                <a:ext cx="492900" cy="152400"/>
              </a:xfrm>
              <a:prstGeom prst="flowChartAlternateProcess">
                <a:avLst/>
              </a:prstGeom>
              <a:noFill/>
              <a:ln w="9525" cap="flat" cmpd="sng">
                <a:solidFill>
                  <a:srgbClr val="E3E9ED"/>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graphicFrame>
        <p:nvGraphicFramePr>
          <p:cNvPr id="8467" name="Google Shape;8467;p106"/>
          <p:cNvGraphicFramePr/>
          <p:nvPr/>
        </p:nvGraphicFramePr>
        <p:xfrm>
          <a:off x="971000" y="3148267"/>
          <a:ext cx="4000000" cy="4000000"/>
        </p:xfrm>
        <a:graphic>
          <a:graphicData uri="http://schemas.openxmlformats.org/drawingml/2006/table">
            <a:tbl>
              <a:tblPr>
                <a:noFill/>
              </a:tblPr>
              <a:tblGrid>
                <a:gridCol w="789933">
                  <a:extLst>
                    <a:ext uri="{9D8B030D-6E8A-4147-A177-3AD203B41FA5}">
                      <a16:colId xmlns:a16="http://schemas.microsoft.com/office/drawing/2014/main" val="20000"/>
                    </a:ext>
                  </a:extLst>
                </a:gridCol>
                <a:gridCol w="789933">
                  <a:extLst>
                    <a:ext uri="{9D8B030D-6E8A-4147-A177-3AD203B41FA5}">
                      <a16:colId xmlns:a16="http://schemas.microsoft.com/office/drawing/2014/main" val="20001"/>
                    </a:ext>
                  </a:extLst>
                </a:gridCol>
                <a:gridCol w="789933">
                  <a:extLst>
                    <a:ext uri="{9D8B030D-6E8A-4147-A177-3AD203B41FA5}">
                      <a16:colId xmlns:a16="http://schemas.microsoft.com/office/drawing/2014/main" val="20002"/>
                    </a:ext>
                  </a:extLst>
                </a:gridCol>
                <a:gridCol w="789933">
                  <a:extLst>
                    <a:ext uri="{9D8B030D-6E8A-4147-A177-3AD203B41FA5}">
                      <a16:colId xmlns:a16="http://schemas.microsoft.com/office/drawing/2014/main" val="20003"/>
                    </a:ext>
                  </a:extLst>
                </a:gridCol>
              </a:tblGrid>
              <a:tr h="395267">
                <a:tc>
                  <a:txBody>
                    <a:bodyPr/>
                    <a:lstStyle/>
                    <a:p>
                      <a:pPr marL="0" lvl="0" indent="0" algn="l" rtl="0">
                        <a:spcBef>
                          <a:spcPts val="0"/>
                        </a:spcBef>
                        <a:spcAft>
                          <a:spcPts val="0"/>
                        </a:spcAft>
                        <a:buNone/>
                      </a:pPr>
                      <a:endParaRPr sz="300"/>
                    </a:p>
                  </a:txBody>
                  <a:tcPr marL="121900" marR="121900" marT="121900" marB="121900">
                    <a:lnL w="9525" cap="flat" cmpd="sng">
                      <a:solidFill>
                        <a:srgbClr val="F2F2F2">
                          <a:alpha val="0"/>
                        </a:srgbClr>
                      </a:solidFill>
                      <a:prstDash val="solid"/>
                      <a:round/>
                      <a:headEnd type="none" w="sm" len="sm"/>
                      <a:tailEnd type="none" w="sm" len="sm"/>
                    </a:lnL>
                    <a:lnR w="9525" cap="flat" cmpd="sng">
                      <a:solidFill>
                        <a:srgbClr val="5F8195"/>
                      </a:solidFill>
                      <a:prstDash val="solid"/>
                      <a:round/>
                      <a:headEnd type="none" w="sm" len="sm"/>
                      <a:tailEnd type="none" w="sm" len="sm"/>
                    </a:lnR>
                    <a:lnT w="9525" cap="flat" cmpd="sng">
                      <a:solidFill>
                        <a:srgbClr val="F2F2F2">
                          <a:alpha val="0"/>
                        </a:srgbClr>
                      </a:solidFill>
                      <a:prstDash val="solid"/>
                      <a:round/>
                      <a:headEnd type="none" w="sm" len="sm"/>
                      <a:tailEnd type="none" w="sm" len="sm"/>
                    </a:lnT>
                    <a:lnB w="9525" cap="flat" cmpd="sng">
                      <a:solidFill>
                        <a:srgbClr val="869FB1"/>
                      </a:solidFill>
                      <a:prstDash val="solid"/>
                      <a:round/>
                      <a:headEnd type="none" w="sm" len="sm"/>
                      <a:tailEnd type="none" w="sm" len="sm"/>
                    </a:lnB>
                  </a:tcPr>
                </a:tc>
                <a:tc>
                  <a:txBody>
                    <a:bodyPr/>
                    <a:lstStyle/>
                    <a:p>
                      <a:pPr marL="0" lvl="0" indent="0" algn="l" rtl="0">
                        <a:spcBef>
                          <a:spcPts val="0"/>
                        </a:spcBef>
                        <a:spcAft>
                          <a:spcPts val="0"/>
                        </a:spcAft>
                        <a:buNone/>
                      </a:pPr>
                      <a:endParaRPr sz="300"/>
                    </a:p>
                  </a:txBody>
                  <a:tcPr marL="121900" marR="121900" marT="121900" marB="121900">
                    <a:lnL w="9525" cap="flat" cmpd="sng">
                      <a:solidFill>
                        <a:srgbClr val="5F8195"/>
                      </a:solidFill>
                      <a:prstDash val="solid"/>
                      <a:round/>
                      <a:headEnd type="none" w="sm" len="sm"/>
                      <a:tailEnd type="none" w="sm" len="sm"/>
                    </a:lnL>
                    <a:lnR w="9525" cap="flat" cmpd="sng">
                      <a:solidFill>
                        <a:srgbClr val="5F8195">
                          <a:alpha val="0"/>
                        </a:srgbClr>
                      </a:solidFill>
                      <a:prstDash val="dash"/>
                      <a:round/>
                      <a:headEnd type="none" w="sm" len="sm"/>
                      <a:tailEnd type="none" w="sm" len="sm"/>
                    </a:lnR>
                    <a:lnT w="9525" cap="flat" cmpd="sng">
                      <a:solidFill>
                        <a:srgbClr val="5F8195"/>
                      </a:solidFill>
                      <a:prstDash val="solid"/>
                      <a:round/>
                      <a:headEnd type="none" w="sm" len="sm"/>
                      <a:tailEnd type="none" w="sm" len="sm"/>
                    </a:lnT>
                    <a:lnB w="9525" cap="flat" cmpd="sng">
                      <a:solidFill>
                        <a:srgbClr val="A5B7C5"/>
                      </a:solidFill>
                      <a:prstDash val="solid"/>
                      <a:round/>
                      <a:headEnd type="none" w="sm" len="sm"/>
                      <a:tailEnd type="none" w="sm" len="sm"/>
                    </a:lnB>
                  </a:tcPr>
                </a:tc>
                <a:tc>
                  <a:txBody>
                    <a:bodyPr/>
                    <a:lstStyle/>
                    <a:p>
                      <a:pPr marL="0" lvl="0" indent="0" algn="l" rtl="0">
                        <a:spcBef>
                          <a:spcPts val="0"/>
                        </a:spcBef>
                        <a:spcAft>
                          <a:spcPts val="0"/>
                        </a:spcAft>
                        <a:buNone/>
                      </a:pPr>
                      <a:endParaRPr sz="300"/>
                    </a:p>
                  </a:txBody>
                  <a:tcPr marL="121900" marR="121900" marT="121900" marB="121900">
                    <a:lnL w="9525" cap="flat" cmpd="sng">
                      <a:solidFill>
                        <a:srgbClr val="5F8195">
                          <a:alpha val="0"/>
                        </a:srgbClr>
                      </a:solidFill>
                      <a:prstDash val="dash"/>
                      <a:round/>
                      <a:headEnd type="none" w="sm" len="sm"/>
                      <a:tailEnd type="none" w="sm" len="sm"/>
                    </a:lnL>
                    <a:lnR w="9525" cap="flat" cmpd="sng">
                      <a:solidFill>
                        <a:srgbClr val="5F8195">
                          <a:alpha val="0"/>
                        </a:srgbClr>
                      </a:solidFill>
                      <a:prstDash val="dash"/>
                      <a:round/>
                      <a:headEnd type="none" w="sm" len="sm"/>
                      <a:tailEnd type="none" w="sm" len="sm"/>
                    </a:lnR>
                    <a:lnT w="9525" cap="flat" cmpd="sng">
                      <a:solidFill>
                        <a:srgbClr val="5F8195"/>
                      </a:solidFill>
                      <a:prstDash val="solid"/>
                      <a:round/>
                      <a:headEnd type="none" w="sm" len="sm"/>
                      <a:tailEnd type="none" w="sm" len="sm"/>
                    </a:lnT>
                    <a:lnB w="9525" cap="flat" cmpd="sng">
                      <a:solidFill>
                        <a:srgbClr val="A5B7C5"/>
                      </a:solidFill>
                      <a:prstDash val="solid"/>
                      <a:round/>
                      <a:headEnd type="none" w="sm" len="sm"/>
                      <a:tailEnd type="none" w="sm" len="sm"/>
                    </a:lnB>
                  </a:tcPr>
                </a:tc>
                <a:tc>
                  <a:txBody>
                    <a:bodyPr/>
                    <a:lstStyle/>
                    <a:p>
                      <a:pPr marL="0" lvl="0" indent="0" algn="l" rtl="0">
                        <a:spcBef>
                          <a:spcPts val="0"/>
                        </a:spcBef>
                        <a:spcAft>
                          <a:spcPts val="0"/>
                        </a:spcAft>
                        <a:buNone/>
                      </a:pPr>
                      <a:endParaRPr sz="300"/>
                    </a:p>
                  </a:txBody>
                  <a:tcPr marL="121900" marR="121900" marT="121900" marB="121900">
                    <a:lnL w="9525" cap="flat" cmpd="sng">
                      <a:solidFill>
                        <a:srgbClr val="5F8195">
                          <a:alpha val="0"/>
                        </a:srgbClr>
                      </a:solidFill>
                      <a:prstDash val="dash"/>
                      <a:round/>
                      <a:headEnd type="none" w="sm" len="sm"/>
                      <a:tailEnd type="none" w="sm" len="sm"/>
                    </a:lnL>
                    <a:lnR w="9525" cap="flat" cmpd="sng">
                      <a:solidFill>
                        <a:srgbClr val="5F8195"/>
                      </a:solidFill>
                      <a:prstDash val="solid"/>
                      <a:round/>
                      <a:headEnd type="none" w="sm" len="sm"/>
                      <a:tailEnd type="none" w="sm" len="sm"/>
                    </a:lnR>
                    <a:lnT w="9525" cap="flat" cmpd="sng">
                      <a:solidFill>
                        <a:srgbClr val="5F8195"/>
                      </a:solidFill>
                      <a:prstDash val="solid"/>
                      <a:round/>
                      <a:headEnd type="none" w="sm" len="sm"/>
                      <a:tailEnd type="none" w="sm" len="sm"/>
                    </a:lnT>
                    <a:lnB w="9525" cap="flat" cmpd="sng">
                      <a:solidFill>
                        <a:srgbClr val="A5B7C5"/>
                      </a:solidFill>
                      <a:prstDash val="solid"/>
                      <a:round/>
                      <a:headEnd type="none" w="sm" len="sm"/>
                      <a:tailEnd type="none" w="sm" len="sm"/>
                    </a:lnB>
                  </a:tcPr>
                </a:tc>
                <a:extLst>
                  <a:ext uri="{0D108BD9-81ED-4DB2-BD59-A6C34878D82A}">
                    <a16:rowId xmlns:a16="http://schemas.microsoft.com/office/drawing/2014/main" val="10000"/>
                  </a:ext>
                </a:extLst>
              </a:tr>
              <a:tr h="395267">
                <a:tc>
                  <a:txBody>
                    <a:bodyPr/>
                    <a:lstStyle/>
                    <a:p>
                      <a:pPr marL="0" lvl="0" indent="0" algn="l" rtl="0">
                        <a:spcBef>
                          <a:spcPts val="0"/>
                        </a:spcBef>
                        <a:spcAft>
                          <a:spcPts val="0"/>
                        </a:spcAft>
                        <a:buNone/>
                      </a:pPr>
                      <a:endParaRPr sz="300"/>
                    </a:p>
                  </a:txBody>
                  <a:tcPr marL="121900" marR="121900" marT="121900" marB="121900">
                    <a:lnL w="9525" cap="flat" cmpd="sng">
                      <a:solidFill>
                        <a:srgbClr val="869FB1"/>
                      </a:solidFill>
                      <a:prstDash val="solid"/>
                      <a:round/>
                      <a:headEnd type="none" w="sm" len="sm"/>
                      <a:tailEnd type="none" w="sm" len="sm"/>
                    </a:lnL>
                    <a:lnR w="9525" cap="flat" cmpd="sng">
                      <a:solidFill>
                        <a:srgbClr val="869FB1"/>
                      </a:solidFill>
                      <a:prstDash val="solid"/>
                      <a:round/>
                      <a:headEnd type="none" w="sm" len="sm"/>
                      <a:tailEnd type="none" w="sm" len="sm"/>
                    </a:lnR>
                    <a:lnT w="9525" cap="flat" cmpd="sng">
                      <a:solidFill>
                        <a:srgbClr val="869FB1"/>
                      </a:solidFill>
                      <a:prstDash val="solid"/>
                      <a:round/>
                      <a:headEnd type="none" w="sm" len="sm"/>
                      <a:tailEnd type="none" w="sm" len="sm"/>
                    </a:lnT>
                    <a:lnB w="9525" cap="flat" cmpd="sng">
                      <a:solidFill>
                        <a:srgbClr val="F2F2F2"/>
                      </a:solidFill>
                      <a:prstDash val="solid"/>
                      <a:round/>
                      <a:headEnd type="none" w="sm" len="sm"/>
                      <a:tailEnd type="none" w="sm" len="sm"/>
                    </a:lnB>
                  </a:tcPr>
                </a:tc>
                <a:tc>
                  <a:txBody>
                    <a:bodyPr/>
                    <a:lstStyle/>
                    <a:p>
                      <a:pPr marL="0" lvl="0" indent="0" algn="l" rtl="0">
                        <a:spcBef>
                          <a:spcPts val="0"/>
                        </a:spcBef>
                        <a:spcAft>
                          <a:spcPts val="0"/>
                        </a:spcAft>
                        <a:buNone/>
                      </a:pPr>
                      <a:endParaRPr sz="300"/>
                    </a:p>
                  </a:txBody>
                  <a:tcPr marL="121900" marR="121900" marT="121900" marB="121900">
                    <a:lnL w="9525" cap="flat" cmpd="sng">
                      <a:solidFill>
                        <a:srgbClr val="869FB1"/>
                      </a:solidFill>
                      <a:prstDash val="solid"/>
                      <a:round/>
                      <a:headEnd type="none" w="sm" len="sm"/>
                      <a:tailEnd type="none" w="sm" len="sm"/>
                    </a:lnL>
                    <a:lnR w="9525" cap="flat" cmpd="sng">
                      <a:solidFill>
                        <a:srgbClr val="A5B7C5">
                          <a:alpha val="0"/>
                        </a:srgbClr>
                      </a:solidFill>
                      <a:prstDash val="solid"/>
                      <a:round/>
                      <a:headEnd type="none" w="sm" len="sm"/>
                      <a:tailEnd type="none" w="sm" len="sm"/>
                    </a:lnR>
                    <a:lnT w="9525" cap="flat" cmpd="sng">
                      <a:solidFill>
                        <a:srgbClr val="A5B7C5"/>
                      </a:solidFill>
                      <a:prstDash val="solid"/>
                      <a:round/>
                      <a:headEnd type="none" w="sm" len="sm"/>
                      <a:tailEnd type="none" w="sm" len="sm"/>
                    </a:lnT>
                    <a:lnB w="9525" cap="flat" cmpd="sng">
                      <a:solidFill>
                        <a:srgbClr val="F2F2F2"/>
                      </a:solidFill>
                      <a:prstDash val="solid"/>
                      <a:round/>
                      <a:headEnd type="none" w="sm" len="sm"/>
                      <a:tailEnd type="none" w="sm" len="sm"/>
                    </a:lnB>
                  </a:tcPr>
                </a:tc>
                <a:tc>
                  <a:txBody>
                    <a:bodyPr/>
                    <a:lstStyle/>
                    <a:p>
                      <a:pPr marL="0" lvl="0" indent="0" algn="l" rtl="0">
                        <a:spcBef>
                          <a:spcPts val="0"/>
                        </a:spcBef>
                        <a:spcAft>
                          <a:spcPts val="0"/>
                        </a:spcAft>
                        <a:buNone/>
                      </a:pPr>
                      <a:endParaRPr sz="300"/>
                    </a:p>
                  </a:txBody>
                  <a:tcPr marL="121900" marR="121900" marT="121900" marB="121900">
                    <a:lnL w="9525" cap="flat" cmpd="sng">
                      <a:solidFill>
                        <a:srgbClr val="A5B7C5">
                          <a:alpha val="0"/>
                        </a:srgbClr>
                      </a:solidFill>
                      <a:prstDash val="solid"/>
                      <a:round/>
                      <a:headEnd type="none" w="sm" len="sm"/>
                      <a:tailEnd type="none" w="sm" len="sm"/>
                    </a:lnL>
                    <a:lnR w="9525" cap="flat" cmpd="sng">
                      <a:solidFill>
                        <a:srgbClr val="A5B7C5">
                          <a:alpha val="0"/>
                        </a:srgbClr>
                      </a:solidFill>
                      <a:prstDash val="solid"/>
                      <a:round/>
                      <a:headEnd type="none" w="sm" len="sm"/>
                      <a:tailEnd type="none" w="sm" len="sm"/>
                    </a:lnR>
                    <a:lnT w="9525" cap="flat" cmpd="sng">
                      <a:solidFill>
                        <a:srgbClr val="A5B7C5"/>
                      </a:solidFill>
                      <a:prstDash val="solid"/>
                      <a:round/>
                      <a:headEnd type="none" w="sm" len="sm"/>
                      <a:tailEnd type="none" w="sm" len="sm"/>
                    </a:lnT>
                    <a:lnB w="9525" cap="flat" cmpd="sng">
                      <a:solidFill>
                        <a:srgbClr val="F2F2F2"/>
                      </a:solidFill>
                      <a:prstDash val="solid"/>
                      <a:round/>
                      <a:headEnd type="none" w="sm" len="sm"/>
                      <a:tailEnd type="none" w="sm" len="sm"/>
                    </a:lnB>
                  </a:tcPr>
                </a:tc>
                <a:tc>
                  <a:txBody>
                    <a:bodyPr/>
                    <a:lstStyle/>
                    <a:p>
                      <a:pPr marL="0" lvl="0" indent="0" algn="l" rtl="0">
                        <a:spcBef>
                          <a:spcPts val="0"/>
                        </a:spcBef>
                        <a:spcAft>
                          <a:spcPts val="0"/>
                        </a:spcAft>
                        <a:buNone/>
                      </a:pPr>
                      <a:endParaRPr sz="300"/>
                    </a:p>
                  </a:txBody>
                  <a:tcPr marL="121900" marR="121900" marT="121900" marB="121900">
                    <a:lnL w="9525" cap="flat" cmpd="sng">
                      <a:solidFill>
                        <a:srgbClr val="A5B7C5">
                          <a:alpha val="0"/>
                        </a:srgbClr>
                      </a:solidFill>
                      <a:prstDash val="solid"/>
                      <a:round/>
                      <a:headEnd type="none" w="sm" len="sm"/>
                      <a:tailEnd type="none" w="sm" len="sm"/>
                    </a:lnL>
                    <a:lnR w="9525" cap="flat" cmpd="sng">
                      <a:solidFill>
                        <a:srgbClr val="A5B7C5"/>
                      </a:solidFill>
                      <a:prstDash val="solid"/>
                      <a:round/>
                      <a:headEnd type="none" w="sm" len="sm"/>
                      <a:tailEnd type="none" w="sm" len="sm"/>
                    </a:lnR>
                    <a:lnT w="9525" cap="flat" cmpd="sng">
                      <a:solidFill>
                        <a:srgbClr val="A5B7C5"/>
                      </a:solidFill>
                      <a:prstDash val="solid"/>
                      <a:round/>
                      <a:headEnd type="none" w="sm" len="sm"/>
                      <a:tailEnd type="none" w="sm" len="sm"/>
                    </a:lnT>
                    <a:lnB w="9525" cap="flat" cmpd="sng">
                      <a:solidFill>
                        <a:srgbClr val="F2F2F2"/>
                      </a:solidFill>
                      <a:prstDash val="solid"/>
                      <a:round/>
                      <a:headEnd type="none" w="sm" len="sm"/>
                      <a:tailEnd type="none" w="sm" len="sm"/>
                    </a:lnB>
                  </a:tcPr>
                </a:tc>
                <a:extLst>
                  <a:ext uri="{0D108BD9-81ED-4DB2-BD59-A6C34878D82A}">
                    <a16:rowId xmlns:a16="http://schemas.microsoft.com/office/drawing/2014/main" val="10001"/>
                  </a:ext>
                </a:extLst>
              </a:tr>
              <a:tr h="395267">
                <a:tc>
                  <a:txBody>
                    <a:bodyPr/>
                    <a:lstStyle/>
                    <a:p>
                      <a:pPr marL="0" lvl="0" indent="0" algn="l" rtl="0">
                        <a:spcBef>
                          <a:spcPts val="0"/>
                        </a:spcBef>
                        <a:spcAft>
                          <a:spcPts val="0"/>
                        </a:spcAft>
                        <a:buNone/>
                      </a:pPr>
                      <a:endParaRPr sz="300"/>
                    </a:p>
                  </a:txBody>
                  <a:tcPr marL="121900" marR="121900" marT="121900" marB="121900">
                    <a:lnL w="9525" cap="flat" cmpd="sng">
                      <a:solidFill>
                        <a:srgbClr val="869FB1"/>
                      </a:solidFill>
                      <a:prstDash val="solid"/>
                      <a:round/>
                      <a:headEnd type="none" w="sm" len="sm"/>
                      <a:tailEnd type="none" w="sm" len="sm"/>
                    </a:lnL>
                    <a:lnR w="9525" cap="flat" cmpd="sng">
                      <a:solidFill>
                        <a:srgbClr val="869FB1"/>
                      </a:solidFill>
                      <a:prstDash val="solid"/>
                      <a:round/>
                      <a:headEnd type="none" w="sm" len="sm"/>
                      <a:tailEnd type="none" w="sm" len="sm"/>
                    </a:lnR>
                    <a:lnT w="9525" cap="flat" cmpd="sng">
                      <a:solidFill>
                        <a:srgbClr val="F2F2F2"/>
                      </a:solidFill>
                      <a:prstDash val="solid"/>
                      <a:round/>
                      <a:headEnd type="none" w="sm" len="sm"/>
                      <a:tailEnd type="none" w="sm" len="sm"/>
                    </a:lnT>
                    <a:lnB w="9525" cap="flat" cmpd="sng">
                      <a:solidFill>
                        <a:srgbClr val="869FB1"/>
                      </a:solidFill>
                      <a:prstDash val="solid"/>
                      <a:round/>
                      <a:headEnd type="none" w="sm" len="sm"/>
                      <a:tailEnd type="none" w="sm" len="sm"/>
                    </a:lnB>
                  </a:tcPr>
                </a:tc>
                <a:tc>
                  <a:txBody>
                    <a:bodyPr/>
                    <a:lstStyle/>
                    <a:p>
                      <a:pPr marL="0" lvl="0" indent="0" algn="l" rtl="0">
                        <a:spcBef>
                          <a:spcPts val="0"/>
                        </a:spcBef>
                        <a:spcAft>
                          <a:spcPts val="0"/>
                        </a:spcAft>
                        <a:buNone/>
                      </a:pPr>
                      <a:endParaRPr sz="300"/>
                    </a:p>
                  </a:txBody>
                  <a:tcPr marL="121900" marR="121900" marT="121900" marB="121900">
                    <a:lnL w="9525" cap="flat" cmpd="sng">
                      <a:solidFill>
                        <a:srgbClr val="869FB1"/>
                      </a:solidFill>
                      <a:prstDash val="solid"/>
                      <a:round/>
                      <a:headEnd type="none" w="sm" len="sm"/>
                      <a:tailEnd type="none" w="sm" len="sm"/>
                    </a:lnL>
                    <a:lnR w="9525" cap="flat" cmpd="sng">
                      <a:solidFill>
                        <a:srgbClr val="A5B7C5">
                          <a:alpha val="0"/>
                        </a:srgbClr>
                      </a:solidFill>
                      <a:prstDash val="solid"/>
                      <a:round/>
                      <a:headEnd type="none" w="sm" len="sm"/>
                      <a:tailEnd type="none" w="sm" len="sm"/>
                    </a:lnR>
                    <a:lnT w="9525" cap="flat" cmpd="sng">
                      <a:solidFill>
                        <a:srgbClr val="F2F2F2"/>
                      </a:solidFill>
                      <a:prstDash val="solid"/>
                      <a:round/>
                      <a:headEnd type="none" w="sm" len="sm"/>
                      <a:tailEnd type="none" w="sm" len="sm"/>
                    </a:lnT>
                    <a:lnB w="9525" cap="flat" cmpd="sng">
                      <a:solidFill>
                        <a:srgbClr val="A5B7C5"/>
                      </a:solidFill>
                      <a:prstDash val="solid"/>
                      <a:round/>
                      <a:headEnd type="none" w="sm" len="sm"/>
                      <a:tailEnd type="none" w="sm" len="sm"/>
                    </a:lnB>
                  </a:tcPr>
                </a:tc>
                <a:tc>
                  <a:txBody>
                    <a:bodyPr/>
                    <a:lstStyle/>
                    <a:p>
                      <a:pPr marL="0" lvl="0" indent="0" algn="l" rtl="0">
                        <a:spcBef>
                          <a:spcPts val="0"/>
                        </a:spcBef>
                        <a:spcAft>
                          <a:spcPts val="0"/>
                        </a:spcAft>
                        <a:buNone/>
                      </a:pPr>
                      <a:endParaRPr sz="300"/>
                    </a:p>
                  </a:txBody>
                  <a:tcPr marL="121900" marR="121900" marT="121900" marB="121900">
                    <a:lnL w="9525" cap="flat" cmpd="sng">
                      <a:solidFill>
                        <a:srgbClr val="A5B7C5">
                          <a:alpha val="0"/>
                        </a:srgbClr>
                      </a:solidFill>
                      <a:prstDash val="solid"/>
                      <a:round/>
                      <a:headEnd type="none" w="sm" len="sm"/>
                      <a:tailEnd type="none" w="sm" len="sm"/>
                    </a:lnL>
                    <a:lnR w="9525" cap="flat" cmpd="sng">
                      <a:solidFill>
                        <a:srgbClr val="A5B7C5">
                          <a:alpha val="0"/>
                        </a:srgbClr>
                      </a:solidFill>
                      <a:prstDash val="solid"/>
                      <a:round/>
                      <a:headEnd type="none" w="sm" len="sm"/>
                      <a:tailEnd type="none" w="sm" len="sm"/>
                    </a:lnR>
                    <a:lnT w="9525" cap="flat" cmpd="sng">
                      <a:solidFill>
                        <a:srgbClr val="F2F2F2"/>
                      </a:solidFill>
                      <a:prstDash val="solid"/>
                      <a:round/>
                      <a:headEnd type="none" w="sm" len="sm"/>
                      <a:tailEnd type="none" w="sm" len="sm"/>
                    </a:lnT>
                    <a:lnB w="9525" cap="flat" cmpd="sng">
                      <a:solidFill>
                        <a:srgbClr val="A5B7C5"/>
                      </a:solidFill>
                      <a:prstDash val="solid"/>
                      <a:round/>
                      <a:headEnd type="none" w="sm" len="sm"/>
                      <a:tailEnd type="none" w="sm" len="sm"/>
                    </a:lnB>
                  </a:tcPr>
                </a:tc>
                <a:tc>
                  <a:txBody>
                    <a:bodyPr/>
                    <a:lstStyle/>
                    <a:p>
                      <a:pPr marL="0" lvl="0" indent="0" algn="l" rtl="0">
                        <a:spcBef>
                          <a:spcPts val="0"/>
                        </a:spcBef>
                        <a:spcAft>
                          <a:spcPts val="0"/>
                        </a:spcAft>
                        <a:buNone/>
                      </a:pPr>
                      <a:endParaRPr sz="300"/>
                    </a:p>
                  </a:txBody>
                  <a:tcPr marL="121900" marR="121900" marT="121900" marB="121900">
                    <a:lnL w="9525" cap="flat" cmpd="sng">
                      <a:solidFill>
                        <a:srgbClr val="A5B7C5">
                          <a:alpha val="0"/>
                        </a:srgbClr>
                      </a:solidFill>
                      <a:prstDash val="solid"/>
                      <a:round/>
                      <a:headEnd type="none" w="sm" len="sm"/>
                      <a:tailEnd type="none" w="sm" len="sm"/>
                    </a:lnL>
                    <a:lnR w="9525" cap="flat" cmpd="sng">
                      <a:solidFill>
                        <a:srgbClr val="A5B7C5"/>
                      </a:solidFill>
                      <a:prstDash val="solid"/>
                      <a:round/>
                      <a:headEnd type="none" w="sm" len="sm"/>
                      <a:tailEnd type="none" w="sm" len="sm"/>
                    </a:lnR>
                    <a:lnT w="9525" cap="flat" cmpd="sng">
                      <a:solidFill>
                        <a:srgbClr val="F2F2F2"/>
                      </a:solidFill>
                      <a:prstDash val="solid"/>
                      <a:round/>
                      <a:headEnd type="none" w="sm" len="sm"/>
                      <a:tailEnd type="none" w="sm" len="sm"/>
                    </a:lnT>
                    <a:lnB w="9525" cap="flat" cmpd="sng">
                      <a:solidFill>
                        <a:srgbClr val="A5B7C5"/>
                      </a:solidFill>
                      <a:prstDash val="solid"/>
                      <a:round/>
                      <a:headEnd type="none" w="sm" len="sm"/>
                      <a:tailEnd type="none" w="sm" len="sm"/>
                    </a:lnB>
                  </a:tcPr>
                </a:tc>
                <a:extLst>
                  <a:ext uri="{0D108BD9-81ED-4DB2-BD59-A6C34878D82A}">
                    <a16:rowId xmlns:a16="http://schemas.microsoft.com/office/drawing/2014/main" val="10002"/>
                  </a:ext>
                </a:extLst>
              </a:tr>
            </a:tbl>
          </a:graphicData>
        </a:graphic>
      </p:graphicFrame>
      <p:grpSp>
        <p:nvGrpSpPr>
          <p:cNvPr id="8468" name="Google Shape;8468;p106"/>
          <p:cNvGrpSpPr/>
          <p:nvPr/>
        </p:nvGrpSpPr>
        <p:grpSpPr>
          <a:xfrm>
            <a:off x="5570559" y="3686686"/>
            <a:ext cx="1736127" cy="81279"/>
            <a:chOff x="3558802" y="4011427"/>
            <a:chExt cx="1866000" cy="111300"/>
          </a:xfrm>
        </p:grpSpPr>
        <p:sp>
          <p:nvSpPr>
            <p:cNvPr id="8469" name="Google Shape;8469;p106"/>
            <p:cNvSpPr/>
            <p:nvPr/>
          </p:nvSpPr>
          <p:spPr>
            <a:xfrm rot="5400000" flipH="1">
              <a:off x="4436152" y="3134077"/>
              <a:ext cx="111300" cy="1866000"/>
            </a:xfrm>
            <a:prstGeom prst="round2SameRect">
              <a:avLst>
                <a:gd name="adj1" fmla="val 50000"/>
                <a:gd name="adj2" fmla="val 50000"/>
              </a:avLst>
            </a:prstGeom>
            <a:noFill/>
            <a:ln w="9525" cap="flat" cmpd="sng">
              <a:solidFill>
                <a:srgbClr val="CFD9E0"/>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470" name="Google Shape;8470;p106"/>
            <p:cNvSpPr/>
            <p:nvPr/>
          </p:nvSpPr>
          <p:spPr>
            <a:xfrm rot="5400000" flipH="1">
              <a:off x="4167866" y="3416648"/>
              <a:ext cx="97200" cy="1301400"/>
            </a:xfrm>
            <a:prstGeom prst="round2SameRect">
              <a:avLst>
                <a:gd name="adj1" fmla="val 50000"/>
                <a:gd name="adj2" fmla="val 50000"/>
              </a:avLst>
            </a:pr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8471" name="Google Shape;8471;p106"/>
          <p:cNvGrpSpPr/>
          <p:nvPr/>
        </p:nvGrpSpPr>
        <p:grpSpPr>
          <a:xfrm>
            <a:off x="6297876" y="4062899"/>
            <a:ext cx="1219120" cy="81279"/>
            <a:chOff x="3558802" y="4011427"/>
            <a:chExt cx="1866000" cy="111300"/>
          </a:xfrm>
        </p:grpSpPr>
        <p:sp>
          <p:nvSpPr>
            <p:cNvPr id="8472" name="Google Shape;8472;p106"/>
            <p:cNvSpPr/>
            <p:nvPr/>
          </p:nvSpPr>
          <p:spPr>
            <a:xfrm rot="5400000" flipH="1">
              <a:off x="4436152" y="3134077"/>
              <a:ext cx="111300" cy="1866000"/>
            </a:xfrm>
            <a:prstGeom prst="round2SameRect">
              <a:avLst>
                <a:gd name="adj1" fmla="val 50000"/>
                <a:gd name="adj2" fmla="val 50000"/>
              </a:avLst>
            </a:prstGeom>
            <a:noFill/>
            <a:ln w="9525" cap="flat" cmpd="sng">
              <a:solidFill>
                <a:srgbClr val="CFD9E0"/>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473" name="Google Shape;8473;p106"/>
            <p:cNvSpPr/>
            <p:nvPr/>
          </p:nvSpPr>
          <p:spPr>
            <a:xfrm rot="5400000" flipH="1">
              <a:off x="4167866" y="3416648"/>
              <a:ext cx="97200" cy="1301400"/>
            </a:xfrm>
            <a:prstGeom prst="round2SameRect">
              <a:avLst>
                <a:gd name="adj1" fmla="val 50000"/>
                <a:gd name="adj2" fmla="val 50000"/>
              </a:avLst>
            </a:pr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8474" name="Google Shape;8474;p106"/>
          <p:cNvGrpSpPr/>
          <p:nvPr/>
        </p:nvGrpSpPr>
        <p:grpSpPr>
          <a:xfrm>
            <a:off x="7902566" y="4508929"/>
            <a:ext cx="3359767" cy="1335272"/>
            <a:chOff x="1906114" y="789980"/>
            <a:chExt cx="1487676" cy="606868"/>
          </a:xfrm>
        </p:grpSpPr>
        <p:cxnSp>
          <p:nvCxnSpPr>
            <p:cNvPr id="8475" name="Google Shape;8475;p106"/>
            <p:cNvCxnSpPr/>
            <p:nvPr/>
          </p:nvCxnSpPr>
          <p:spPr>
            <a:xfrm rot="10800000">
              <a:off x="2109981" y="1180903"/>
              <a:ext cx="1280400" cy="0"/>
            </a:xfrm>
            <a:prstGeom prst="straightConnector1">
              <a:avLst/>
            </a:prstGeom>
            <a:noFill/>
            <a:ln w="9525" cap="flat" cmpd="sng">
              <a:solidFill>
                <a:srgbClr val="B3C3CE"/>
              </a:solidFill>
              <a:prstDash val="solid"/>
              <a:round/>
              <a:headEnd type="none" w="med" len="med"/>
              <a:tailEnd type="none" w="med" len="med"/>
            </a:ln>
          </p:spPr>
        </p:cxnSp>
        <p:cxnSp>
          <p:nvCxnSpPr>
            <p:cNvPr id="8476" name="Google Shape;8476;p106"/>
            <p:cNvCxnSpPr/>
            <p:nvPr/>
          </p:nvCxnSpPr>
          <p:spPr>
            <a:xfrm rot="10800000">
              <a:off x="2109981" y="985080"/>
              <a:ext cx="1280400" cy="0"/>
            </a:xfrm>
            <a:prstGeom prst="straightConnector1">
              <a:avLst/>
            </a:prstGeom>
            <a:noFill/>
            <a:ln w="9525" cap="flat" cmpd="sng">
              <a:solidFill>
                <a:srgbClr val="B3C3CE"/>
              </a:solidFill>
              <a:prstDash val="solid"/>
              <a:round/>
              <a:headEnd type="none" w="med" len="med"/>
              <a:tailEnd type="none" w="med" len="med"/>
            </a:ln>
          </p:spPr>
        </p:cxnSp>
        <p:cxnSp>
          <p:nvCxnSpPr>
            <p:cNvPr id="8477" name="Google Shape;8477;p106"/>
            <p:cNvCxnSpPr/>
            <p:nvPr/>
          </p:nvCxnSpPr>
          <p:spPr>
            <a:xfrm rot="10800000">
              <a:off x="2109981" y="1376729"/>
              <a:ext cx="1280400" cy="0"/>
            </a:xfrm>
            <a:prstGeom prst="straightConnector1">
              <a:avLst/>
            </a:prstGeom>
            <a:noFill/>
            <a:ln w="9525" cap="flat" cmpd="sng">
              <a:solidFill>
                <a:srgbClr val="B3C3CE"/>
              </a:solidFill>
              <a:prstDash val="solid"/>
              <a:round/>
              <a:headEnd type="none" w="med" len="med"/>
              <a:tailEnd type="none" w="med" len="med"/>
            </a:ln>
          </p:spPr>
        </p:cxnSp>
        <p:sp>
          <p:nvSpPr>
            <p:cNvPr id="8478" name="Google Shape;8478;p106"/>
            <p:cNvSpPr txBox="1"/>
            <p:nvPr/>
          </p:nvSpPr>
          <p:spPr>
            <a:xfrm flipH="1">
              <a:off x="2109710" y="789981"/>
              <a:ext cx="281100" cy="107400"/>
            </a:xfrm>
            <a:prstGeom prst="rect">
              <a:avLst/>
            </a:prstGeom>
            <a:noFill/>
            <a:ln>
              <a:noFill/>
            </a:ln>
          </p:spPr>
          <p:txBody>
            <a:bodyPr spcFirstLastPara="1" wrap="square" lIns="121900" tIns="121900" rIns="121900" bIns="121900" anchor="t" anchorCtr="0">
              <a:noAutofit/>
            </a:bodyPr>
            <a:lstStyle/>
            <a:p>
              <a:pPr algn="ctr" defTabSz="1219170">
                <a:spcAft>
                  <a:spcPts val="2133"/>
                </a:spcAft>
                <a:buClr>
                  <a:srgbClr val="000000"/>
                </a:buClr>
              </a:pPr>
              <a:r>
                <a:rPr lang="en" sz="400" kern="0">
                  <a:solidFill>
                    <a:srgbClr val="E3E9ED"/>
                  </a:solidFill>
                  <a:latin typeface="Arial"/>
                  <a:cs typeface="Arial"/>
                  <a:sym typeface="Arial"/>
                </a:rPr>
                <a:t>JANUARY</a:t>
              </a:r>
              <a:endParaRPr sz="400" kern="0">
                <a:solidFill>
                  <a:srgbClr val="E3E9ED"/>
                </a:solidFill>
                <a:latin typeface="Arial"/>
                <a:cs typeface="Arial"/>
                <a:sym typeface="Arial"/>
              </a:endParaRPr>
            </a:p>
          </p:txBody>
        </p:sp>
        <p:sp>
          <p:nvSpPr>
            <p:cNvPr id="8479" name="Google Shape;8479;p106"/>
            <p:cNvSpPr txBox="1"/>
            <p:nvPr/>
          </p:nvSpPr>
          <p:spPr>
            <a:xfrm flipH="1">
              <a:off x="2434275" y="789980"/>
              <a:ext cx="289200" cy="107400"/>
            </a:xfrm>
            <a:prstGeom prst="rect">
              <a:avLst/>
            </a:prstGeom>
            <a:noFill/>
            <a:ln>
              <a:noFill/>
            </a:ln>
          </p:spPr>
          <p:txBody>
            <a:bodyPr spcFirstLastPara="1" wrap="square" lIns="121900" tIns="121900" rIns="121900" bIns="121900" anchor="t" anchorCtr="0">
              <a:noAutofit/>
            </a:bodyPr>
            <a:lstStyle/>
            <a:p>
              <a:pPr algn="ctr" defTabSz="1219170">
                <a:spcAft>
                  <a:spcPts val="2133"/>
                </a:spcAft>
                <a:buClr>
                  <a:srgbClr val="000000"/>
                </a:buClr>
              </a:pPr>
              <a:r>
                <a:rPr lang="en" sz="400" kern="0">
                  <a:solidFill>
                    <a:srgbClr val="E3E9ED"/>
                  </a:solidFill>
                  <a:latin typeface="Arial"/>
                  <a:cs typeface="Arial"/>
                  <a:sym typeface="Arial"/>
                </a:rPr>
                <a:t>FEBRUARY</a:t>
              </a:r>
              <a:endParaRPr sz="400" kern="0">
                <a:solidFill>
                  <a:srgbClr val="E3E9ED"/>
                </a:solidFill>
                <a:latin typeface="Arial"/>
                <a:cs typeface="Arial"/>
                <a:sym typeface="Arial"/>
              </a:endParaRPr>
            </a:p>
          </p:txBody>
        </p:sp>
        <p:sp>
          <p:nvSpPr>
            <p:cNvPr id="8480" name="Google Shape;8480;p106"/>
            <p:cNvSpPr txBox="1"/>
            <p:nvPr/>
          </p:nvSpPr>
          <p:spPr>
            <a:xfrm flipH="1">
              <a:off x="2781049" y="789981"/>
              <a:ext cx="281100" cy="107400"/>
            </a:xfrm>
            <a:prstGeom prst="rect">
              <a:avLst/>
            </a:prstGeom>
            <a:noFill/>
            <a:ln>
              <a:noFill/>
            </a:ln>
          </p:spPr>
          <p:txBody>
            <a:bodyPr spcFirstLastPara="1" wrap="square" lIns="121900" tIns="121900" rIns="121900" bIns="121900" anchor="t" anchorCtr="0">
              <a:noAutofit/>
            </a:bodyPr>
            <a:lstStyle/>
            <a:p>
              <a:pPr algn="ctr" defTabSz="1219170">
                <a:spcAft>
                  <a:spcPts val="2133"/>
                </a:spcAft>
                <a:buClr>
                  <a:srgbClr val="000000"/>
                </a:buClr>
              </a:pPr>
              <a:r>
                <a:rPr lang="en" sz="400" kern="0">
                  <a:solidFill>
                    <a:srgbClr val="E3E9ED"/>
                  </a:solidFill>
                  <a:latin typeface="Arial"/>
                  <a:cs typeface="Arial"/>
                  <a:sym typeface="Arial"/>
                </a:rPr>
                <a:t>MARCH</a:t>
              </a:r>
              <a:endParaRPr sz="400" kern="0">
                <a:solidFill>
                  <a:srgbClr val="E3E9ED"/>
                </a:solidFill>
                <a:latin typeface="Arial"/>
                <a:cs typeface="Arial"/>
                <a:sym typeface="Arial"/>
              </a:endParaRPr>
            </a:p>
          </p:txBody>
        </p:sp>
        <p:sp>
          <p:nvSpPr>
            <p:cNvPr id="8481" name="Google Shape;8481;p106"/>
            <p:cNvSpPr txBox="1"/>
            <p:nvPr/>
          </p:nvSpPr>
          <p:spPr>
            <a:xfrm flipH="1">
              <a:off x="3112690" y="789981"/>
              <a:ext cx="281100" cy="107400"/>
            </a:xfrm>
            <a:prstGeom prst="rect">
              <a:avLst/>
            </a:prstGeom>
            <a:noFill/>
            <a:ln>
              <a:noFill/>
            </a:ln>
          </p:spPr>
          <p:txBody>
            <a:bodyPr spcFirstLastPara="1" wrap="square" lIns="121900" tIns="121900" rIns="121900" bIns="121900" anchor="t" anchorCtr="0">
              <a:noAutofit/>
            </a:bodyPr>
            <a:lstStyle/>
            <a:p>
              <a:pPr algn="ctr" defTabSz="1219170">
                <a:spcAft>
                  <a:spcPts val="2133"/>
                </a:spcAft>
                <a:buClr>
                  <a:srgbClr val="000000"/>
                </a:buClr>
              </a:pPr>
              <a:r>
                <a:rPr lang="en" sz="400" kern="0">
                  <a:solidFill>
                    <a:srgbClr val="E3E9ED"/>
                  </a:solidFill>
                  <a:latin typeface="Arial"/>
                  <a:cs typeface="Arial"/>
                  <a:sym typeface="Arial"/>
                </a:rPr>
                <a:t>APRIL</a:t>
              </a:r>
              <a:endParaRPr sz="400" kern="0">
                <a:solidFill>
                  <a:srgbClr val="E3E9ED"/>
                </a:solidFill>
                <a:latin typeface="Arial"/>
                <a:cs typeface="Arial"/>
                <a:sym typeface="Arial"/>
              </a:endParaRPr>
            </a:p>
          </p:txBody>
        </p:sp>
        <p:sp>
          <p:nvSpPr>
            <p:cNvPr id="8482" name="Google Shape;8482;p106"/>
            <p:cNvSpPr/>
            <p:nvPr/>
          </p:nvSpPr>
          <p:spPr>
            <a:xfrm>
              <a:off x="2105681" y="964326"/>
              <a:ext cx="289200" cy="42600"/>
            </a:xfrm>
            <a:prstGeom prst="rect">
              <a:avLst/>
            </a:prstGeom>
            <a:solidFill>
              <a:srgbClr val="869FB2"/>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483" name="Google Shape;8483;p106"/>
            <p:cNvSpPr/>
            <p:nvPr/>
          </p:nvSpPr>
          <p:spPr>
            <a:xfrm>
              <a:off x="2109515" y="1159286"/>
              <a:ext cx="280200" cy="42600"/>
            </a:xfrm>
            <a:prstGeom prst="rect">
              <a:avLst/>
            </a:prstGeom>
            <a:solidFill>
              <a:srgbClr val="EEEEEE"/>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484" name="Google Shape;8484;p106"/>
            <p:cNvSpPr/>
            <p:nvPr/>
          </p:nvSpPr>
          <p:spPr>
            <a:xfrm>
              <a:off x="2753389" y="1353677"/>
              <a:ext cx="325500" cy="42600"/>
            </a:xfrm>
            <a:prstGeom prst="rect">
              <a:avLst/>
            </a:prstGeom>
            <a:solidFill>
              <a:srgbClr val="E3E9ED"/>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485" name="Google Shape;8485;p106"/>
            <p:cNvSpPr/>
            <p:nvPr/>
          </p:nvSpPr>
          <p:spPr>
            <a:xfrm>
              <a:off x="2105681" y="1159287"/>
              <a:ext cx="289200" cy="42600"/>
            </a:xfrm>
            <a:prstGeom prst="rect">
              <a:avLst/>
            </a:prstGeom>
            <a:solidFill>
              <a:srgbClr val="E3E9ED"/>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486" name="Google Shape;8486;p106"/>
            <p:cNvSpPr/>
            <p:nvPr/>
          </p:nvSpPr>
          <p:spPr>
            <a:xfrm>
              <a:off x="2412005" y="1354248"/>
              <a:ext cx="325500" cy="42600"/>
            </a:xfrm>
            <a:prstGeom prst="rect">
              <a:avLst/>
            </a:prstGeom>
            <a:solidFill>
              <a:srgbClr val="E3E9ED"/>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487" name="Google Shape;8487;p106"/>
            <p:cNvSpPr/>
            <p:nvPr/>
          </p:nvSpPr>
          <p:spPr>
            <a:xfrm>
              <a:off x="2410087" y="964961"/>
              <a:ext cx="325500" cy="42600"/>
            </a:xfrm>
            <a:prstGeom prst="rect">
              <a:avLst/>
            </a:prstGeom>
            <a:solidFill>
              <a:srgbClr val="869FB2"/>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488" name="Google Shape;8488;p106"/>
            <p:cNvSpPr txBox="1"/>
            <p:nvPr/>
          </p:nvSpPr>
          <p:spPr>
            <a:xfrm flipH="1">
              <a:off x="1906114" y="918164"/>
              <a:ext cx="203400" cy="106500"/>
            </a:xfrm>
            <a:prstGeom prst="rect">
              <a:avLst/>
            </a:prstGeom>
            <a:noFill/>
            <a:ln>
              <a:noFill/>
            </a:ln>
          </p:spPr>
          <p:txBody>
            <a:bodyPr spcFirstLastPara="1" wrap="square" lIns="121900" tIns="121900" rIns="121900" bIns="121900" anchor="t" anchorCtr="0">
              <a:noAutofit/>
            </a:bodyPr>
            <a:lstStyle/>
            <a:p>
              <a:pPr algn="r" defTabSz="1219170">
                <a:spcAft>
                  <a:spcPts val="2133"/>
                </a:spcAft>
                <a:buClr>
                  <a:srgbClr val="000000"/>
                </a:buClr>
              </a:pPr>
              <a:r>
                <a:rPr lang="en" sz="400" kern="0">
                  <a:solidFill>
                    <a:srgbClr val="E3E9ED"/>
                  </a:solidFill>
                  <a:latin typeface="Arial"/>
                  <a:cs typeface="Arial"/>
                  <a:sym typeface="Arial"/>
                </a:rPr>
                <a:t>PHASE 1</a:t>
              </a:r>
              <a:endParaRPr sz="400" kern="0">
                <a:solidFill>
                  <a:srgbClr val="E3E9ED"/>
                </a:solidFill>
                <a:latin typeface="Arial"/>
                <a:cs typeface="Arial"/>
                <a:sym typeface="Arial"/>
              </a:endParaRPr>
            </a:p>
          </p:txBody>
        </p:sp>
        <p:sp>
          <p:nvSpPr>
            <p:cNvPr id="8489" name="Google Shape;8489;p106"/>
            <p:cNvSpPr txBox="1"/>
            <p:nvPr/>
          </p:nvSpPr>
          <p:spPr>
            <a:xfrm flipH="1">
              <a:off x="1919618" y="1113390"/>
              <a:ext cx="189900" cy="91200"/>
            </a:xfrm>
            <a:prstGeom prst="rect">
              <a:avLst/>
            </a:prstGeom>
            <a:noFill/>
            <a:ln>
              <a:noFill/>
            </a:ln>
          </p:spPr>
          <p:txBody>
            <a:bodyPr spcFirstLastPara="1" wrap="square" lIns="121900" tIns="121900" rIns="121900" bIns="121900" anchor="t" anchorCtr="0">
              <a:noAutofit/>
            </a:bodyPr>
            <a:lstStyle/>
            <a:p>
              <a:pPr algn="r" defTabSz="1219170">
                <a:lnSpc>
                  <a:spcPct val="115000"/>
                </a:lnSpc>
                <a:spcAft>
                  <a:spcPts val="2133"/>
                </a:spcAft>
                <a:buClr>
                  <a:srgbClr val="000000"/>
                </a:buClr>
              </a:pPr>
              <a:r>
                <a:rPr lang="en" sz="400" kern="0">
                  <a:solidFill>
                    <a:srgbClr val="E3E9ED"/>
                  </a:solidFill>
                  <a:latin typeface="Arial"/>
                  <a:cs typeface="Arial"/>
                  <a:sym typeface="Arial"/>
                </a:rPr>
                <a:t>Task 1</a:t>
              </a:r>
              <a:endParaRPr sz="400" kern="0">
                <a:solidFill>
                  <a:srgbClr val="E3E9ED"/>
                </a:solidFill>
                <a:latin typeface="Arial"/>
                <a:cs typeface="Arial"/>
                <a:sym typeface="Arial"/>
              </a:endParaRPr>
            </a:p>
          </p:txBody>
        </p:sp>
        <p:sp>
          <p:nvSpPr>
            <p:cNvPr id="8490" name="Google Shape;8490;p106"/>
            <p:cNvSpPr txBox="1"/>
            <p:nvPr/>
          </p:nvSpPr>
          <p:spPr>
            <a:xfrm flipH="1">
              <a:off x="1906118" y="1304527"/>
              <a:ext cx="203400" cy="91200"/>
            </a:xfrm>
            <a:prstGeom prst="rect">
              <a:avLst/>
            </a:prstGeom>
            <a:noFill/>
            <a:ln>
              <a:noFill/>
            </a:ln>
          </p:spPr>
          <p:txBody>
            <a:bodyPr spcFirstLastPara="1" wrap="square" lIns="121900" tIns="121900" rIns="121900" bIns="121900" anchor="t" anchorCtr="0">
              <a:noAutofit/>
            </a:bodyPr>
            <a:lstStyle/>
            <a:p>
              <a:pPr algn="r" defTabSz="1219170">
                <a:lnSpc>
                  <a:spcPct val="115000"/>
                </a:lnSpc>
                <a:spcAft>
                  <a:spcPts val="2133"/>
                </a:spcAft>
                <a:buClr>
                  <a:srgbClr val="000000"/>
                </a:buClr>
              </a:pPr>
              <a:r>
                <a:rPr lang="en" sz="400" kern="0">
                  <a:solidFill>
                    <a:srgbClr val="E3E9ED"/>
                  </a:solidFill>
                  <a:latin typeface="Arial"/>
                  <a:cs typeface="Arial"/>
                  <a:sym typeface="Arial"/>
                </a:rPr>
                <a:t>Task 2</a:t>
              </a:r>
              <a:endParaRPr sz="400" kern="0">
                <a:solidFill>
                  <a:srgbClr val="E3E9ED"/>
                </a:solidFill>
                <a:latin typeface="Arial"/>
                <a:cs typeface="Arial"/>
                <a:sym typeface="Arial"/>
              </a:endParaRPr>
            </a:p>
          </p:txBody>
        </p:sp>
        <p:sp>
          <p:nvSpPr>
            <p:cNvPr id="8491" name="Google Shape;8491;p106"/>
            <p:cNvSpPr/>
            <p:nvPr/>
          </p:nvSpPr>
          <p:spPr>
            <a:xfrm>
              <a:off x="2750975" y="964961"/>
              <a:ext cx="325500" cy="42600"/>
            </a:xfrm>
            <a:prstGeom prst="rect">
              <a:avLst/>
            </a:prstGeom>
            <a:solidFill>
              <a:srgbClr val="869FB2"/>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8492" name="Google Shape;8492;p106"/>
          <p:cNvGrpSpPr/>
          <p:nvPr/>
        </p:nvGrpSpPr>
        <p:grpSpPr>
          <a:xfrm>
            <a:off x="4496817" y="1545345"/>
            <a:ext cx="3151191" cy="1341153"/>
            <a:chOff x="3292400" y="1193188"/>
            <a:chExt cx="2615240" cy="1131075"/>
          </a:xfrm>
        </p:grpSpPr>
        <p:sp>
          <p:nvSpPr>
            <p:cNvPr id="8493" name="Google Shape;8493;p106"/>
            <p:cNvSpPr/>
            <p:nvPr/>
          </p:nvSpPr>
          <p:spPr>
            <a:xfrm>
              <a:off x="3292400" y="1845763"/>
              <a:ext cx="370500" cy="478500"/>
            </a:xfrm>
            <a:prstGeom prst="round2DiagRect">
              <a:avLst>
                <a:gd name="adj1" fmla="val 16667"/>
                <a:gd name="adj2" fmla="val 0"/>
              </a:avLst>
            </a:prstGeom>
            <a:noFill/>
            <a:ln w="9525" cap="flat" cmpd="sng">
              <a:solidFill>
                <a:srgbClr val="ABBCC9"/>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267" kern="0">
                <a:solidFill>
                  <a:srgbClr val="FFFFFF"/>
                </a:solidFill>
                <a:latin typeface="Arial"/>
                <a:cs typeface="Arial"/>
                <a:sym typeface="Arial"/>
              </a:endParaRPr>
            </a:p>
          </p:txBody>
        </p:sp>
        <p:sp>
          <p:nvSpPr>
            <p:cNvPr id="8494" name="Google Shape;8494;p106"/>
            <p:cNvSpPr/>
            <p:nvPr/>
          </p:nvSpPr>
          <p:spPr>
            <a:xfrm>
              <a:off x="3292400" y="1314860"/>
              <a:ext cx="370500" cy="478500"/>
            </a:xfrm>
            <a:prstGeom prst="round2DiagRect">
              <a:avLst>
                <a:gd name="adj1" fmla="val 16667"/>
                <a:gd name="adj2" fmla="val 0"/>
              </a:avLst>
            </a:prstGeom>
            <a:noFill/>
            <a:ln w="9525" cap="flat" cmpd="sng">
              <a:solidFill>
                <a:srgbClr val="869FB1"/>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267" kern="0">
                <a:solidFill>
                  <a:srgbClr val="FFFFFF"/>
                </a:solidFill>
                <a:latin typeface="Arial"/>
                <a:cs typeface="Arial"/>
                <a:sym typeface="Arial"/>
              </a:endParaRPr>
            </a:p>
          </p:txBody>
        </p:sp>
        <p:sp>
          <p:nvSpPr>
            <p:cNvPr id="8495" name="Google Shape;8495;p106"/>
            <p:cNvSpPr txBox="1"/>
            <p:nvPr/>
          </p:nvSpPr>
          <p:spPr>
            <a:xfrm flipH="1">
              <a:off x="3678794" y="1193199"/>
              <a:ext cx="370500" cy="84300"/>
            </a:xfrm>
            <a:prstGeom prst="rect">
              <a:avLst/>
            </a:prstGeom>
            <a:noFill/>
            <a:ln>
              <a:noFill/>
            </a:ln>
          </p:spPr>
          <p:txBody>
            <a:bodyPr spcFirstLastPara="1" wrap="square" lIns="0" tIns="0" rIns="0" bIns="0" anchor="t" anchorCtr="0">
              <a:noAutofit/>
            </a:bodyPr>
            <a:lstStyle/>
            <a:p>
              <a:pPr algn="ctr" defTabSz="1219170">
                <a:spcAft>
                  <a:spcPts val="2133"/>
                </a:spcAft>
                <a:buClr>
                  <a:srgbClr val="000000"/>
                </a:buClr>
              </a:pPr>
              <a:r>
                <a:rPr lang="en" sz="267" kern="0">
                  <a:solidFill>
                    <a:srgbClr val="FFFFFF"/>
                  </a:solidFill>
                  <a:latin typeface="Arial"/>
                  <a:cs typeface="Arial"/>
                  <a:sym typeface="Arial"/>
                </a:rPr>
                <a:t>JANUARY</a:t>
              </a:r>
              <a:endParaRPr sz="267" kern="0">
                <a:solidFill>
                  <a:srgbClr val="FFFFFF"/>
                </a:solidFill>
                <a:latin typeface="Arial"/>
                <a:cs typeface="Arial"/>
                <a:sym typeface="Arial"/>
              </a:endParaRPr>
            </a:p>
          </p:txBody>
        </p:sp>
        <p:sp>
          <p:nvSpPr>
            <p:cNvPr id="8496" name="Google Shape;8496;p106"/>
            <p:cNvSpPr txBox="1"/>
            <p:nvPr/>
          </p:nvSpPr>
          <p:spPr>
            <a:xfrm flipH="1">
              <a:off x="4051671" y="1193188"/>
              <a:ext cx="401400" cy="84300"/>
            </a:xfrm>
            <a:prstGeom prst="rect">
              <a:avLst/>
            </a:prstGeom>
            <a:noFill/>
            <a:ln>
              <a:noFill/>
            </a:ln>
          </p:spPr>
          <p:txBody>
            <a:bodyPr spcFirstLastPara="1" wrap="square" lIns="0" tIns="0" rIns="0" bIns="0" anchor="t" anchorCtr="0">
              <a:noAutofit/>
            </a:bodyPr>
            <a:lstStyle/>
            <a:p>
              <a:pPr algn="ctr" defTabSz="1219170">
                <a:spcAft>
                  <a:spcPts val="2133"/>
                </a:spcAft>
                <a:buClr>
                  <a:srgbClr val="000000"/>
                </a:buClr>
              </a:pPr>
              <a:r>
                <a:rPr lang="en" sz="267" kern="0">
                  <a:solidFill>
                    <a:srgbClr val="FFFFFF"/>
                  </a:solidFill>
                  <a:latin typeface="Arial"/>
                  <a:cs typeface="Arial"/>
                  <a:sym typeface="Arial"/>
                </a:rPr>
                <a:t>FEBRUARY</a:t>
              </a:r>
              <a:endParaRPr sz="267" kern="0">
                <a:solidFill>
                  <a:srgbClr val="FFFFFF"/>
                </a:solidFill>
                <a:latin typeface="Arial"/>
                <a:cs typeface="Arial"/>
                <a:sym typeface="Arial"/>
              </a:endParaRPr>
            </a:p>
          </p:txBody>
        </p:sp>
        <p:sp>
          <p:nvSpPr>
            <p:cNvPr id="8497" name="Google Shape;8497;p106"/>
            <p:cNvSpPr txBox="1"/>
            <p:nvPr/>
          </p:nvSpPr>
          <p:spPr>
            <a:xfrm flipH="1">
              <a:off x="4453057" y="1193188"/>
              <a:ext cx="348000" cy="84300"/>
            </a:xfrm>
            <a:prstGeom prst="rect">
              <a:avLst/>
            </a:prstGeom>
            <a:noFill/>
            <a:ln>
              <a:noFill/>
            </a:ln>
          </p:spPr>
          <p:txBody>
            <a:bodyPr spcFirstLastPara="1" wrap="square" lIns="0" tIns="0" rIns="0" bIns="0" anchor="t" anchorCtr="0">
              <a:noAutofit/>
            </a:bodyPr>
            <a:lstStyle/>
            <a:p>
              <a:pPr algn="ctr" defTabSz="1219170">
                <a:spcAft>
                  <a:spcPts val="2133"/>
                </a:spcAft>
                <a:buClr>
                  <a:srgbClr val="000000"/>
                </a:buClr>
              </a:pPr>
              <a:r>
                <a:rPr lang="en" sz="267" kern="0">
                  <a:solidFill>
                    <a:srgbClr val="FFFFFF"/>
                  </a:solidFill>
                  <a:latin typeface="Arial"/>
                  <a:cs typeface="Arial"/>
                  <a:sym typeface="Arial"/>
                </a:rPr>
                <a:t>MARCH</a:t>
              </a:r>
              <a:endParaRPr sz="267" kern="0">
                <a:solidFill>
                  <a:srgbClr val="FFFFFF"/>
                </a:solidFill>
                <a:latin typeface="Arial"/>
                <a:cs typeface="Arial"/>
                <a:sym typeface="Arial"/>
              </a:endParaRPr>
            </a:p>
          </p:txBody>
        </p:sp>
        <p:sp>
          <p:nvSpPr>
            <p:cNvPr id="8498" name="Google Shape;8498;p106"/>
            <p:cNvSpPr txBox="1"/>
            <p:nvPr/>
          </p:nvSpPr>
          <p:spPr>
            <a:xfrm flipH="1">
              <a:off x="4831790" y="1193197"/>
              <a:ext cx="313200" cy="84300"/>
            </a:xfrm>
            <a:prstGeom prst="rect">
              <a:avLst/>
            </a:prstGeom>
            <a:noFill/>
            <a:ln>
              <a:noFill/>
            </a:ln>
          </p:spPr>
          <p:txBody>
            <a:bodyPr spcFirstLastPara="1" wrap="square" lIns="0" tIns="0" rIns="0" bIns="0" anchor="t" anchorCtr="0">
              <a:noAutofit/>
            </a:bodyPr>
            <a:lstStyle/>
            <a:p>
              <a:pPr algn="ctr" defTabSz="1219170">
                <a:spcAft>
                  <a:spcPts val="2133"/>
                </a:spcAft>
                <a:buClr>
                  <a:srgbClr val="000000"/>
                </a:buClr>
              </a:pPr>
              <a:r>
                <a:rPr lang="en" sz="267" kern="0">
                  <a:solidFill>
                    <a:srgbClr val="FFFFFF"/>
                  </a:solidFill>
                  <a:latin typeface="Arial"/>
                  <a:cs typeface="Arial"/>
                  <a:sym typeface="Arial"/>
                </a:rPr>
                <a:t>APRIL</a:t>
              </a:r>
              <a:endParaRPr sz="267" kern="0">
                <a:solidFill>
                  <a:srgbClr val="FFFFFF"/>
                </a:solidFill>
                <a:latin typeface="Arial"/>
                <a:cs typeface="Arial"/>
                <a:sym typeface="Arial"/>
              </a:endParaRPr>
            </a:p>
          </p:txBody>
        </p:sp>
        <p:sp>
          <p:nvSpPr>
            <p:cNvPr id="8499" name="Google Shape;8499;p106"/>
            <p:cNvSpPr txBox="1"/>
            <p:nvPr/>
          </p:nvSpPr>
          <p:spPr>
            <a:xfrm flipH="1">
              <a:off x="5186134" y="1193197"/>
              <a:ext cx="313200" cy="84300"/>
            </a:xfrm>
            <a:prstGeom prst="rect">
              <a:avLst/>
            </a:prstGeom>
            <a:noFill/>
            <a:ln>
              <a:noFill/>
            </a:ln>
          </p:spPr>
          <p:txBody>
            <a:bodyPr spcFirstLastPara="1" wrap="square" lIns="0" tIns="0" rIns="0" bIns="0" anchor="t" anchorCtr="0">
              <a:noAutofit/>
            </a:bodyPr>
            <a:lstStyle/>
            <a:p>
              <a:pPr algn="ctr" defTabSz="1219170">
                <a:spcAft>
                  <a:spcPts val="2133"/>
                </a:spcAft>
                <a:buClr>
                  <a:srgbClr val="000000"/>
                </a:buClr>
              </a:pPr>
              <a:r>
                <a:rPr lang="en" sz="267" kern="0">
                  <a:solidFill>
                    <a:srgbClr val="FFFFFF"/>
                  </a:solidFill>
                  <a:latin typeface="Arial"/>
                  <a:cs typeface="Arial"/>
                  <a:sym typeface="Arial"/>
                </a:rPr>
                <a:t>MAY</a:t>
              </a:r>
              <a:endParaRPr sz="267" kern="0">
                <a:solidFill>
                  <a:srgbClr val="FFFFFF"/>
                </a:solidFill>
                <a:latin typeface="Arial"/>
                <a:cs typeface="Arial"/>
                <a:sym typeface="Arial"/>
              </a:endParaRPr>
            </a:p>
          </p:txBody>
        </p:sp>
        <p:sp>
          <p:nvSpPr>
            <p:cNvPr id="8500" name="Google Shape;8500;p106"/>
            <p:cNvSpPr txBox="1"/>
            <p:nvPr/>
          </p:nvSpPr>
          <p:spPr>
            <a:xfrm flipH="1">
              <a:off x="5562148" y="1193197"/>
              <a:ext cx="313200" cy="84300"/>
            </a:xfrm>
            <a:prstGeom prst="rect">
              <a:avLst/>
            </a:prstGeom>
            <a:noFill/>
            <a:ln>
              <a:noFill/>
            </a:ln>
          </p:spPr>
          <p:txBody>
            <a:bodyPr spcFirstLastPara="1" wrap="square" lIns="0" tIns="0" rIns="0" bIns="0" anchor="t" anchorCtr="0">
              <a:noAutofit/>
            </a:bodyPr>
            <a:lstStyle/>
            <a:p>
              <a:pPr algn="ctr" defTabSz="1219170">
                <a:spcAft>
                  <a:spcPts val="2133"/>
                </a:spcAft>
                <a:buClr>
                  <a:srgbClr val="000000"/>
                </a:buClr>
              </a:pPr>
              <a:r>
                <a:rPr lang="en" sz="267" kern="0">
                  <a:solidFill>
                    <a:srgbClr val="FFFFFF"/>
                  </a:solidFill>
                  <a:latin typeface="Arial"/>
                  <a:cs typeface="Arial"/>
                  <a:sym typeface="Arial"/>
                </a:rPr>
                <a:t>JUNE</a:t>
              </a:r>
              <a:endParaRPr sz="267" kern="0">
                <a:solidFill>
                  <a:srgbClr val="FFFFFF"/>
                </a:solidFill>
                <a:latin typeface="Arial"/>
                <a:cs typeface="Arial"/>
                <a:sym typeface="Arial"/>
              </a:endParaRPr>
            </a:p>
          </p:txBody>
        </p:sp>
        <p:sp>
          <p:nvSpPr>
            <p:cNvPr id="8501" name="Google Shape;8501;p106"/>
            <p:cNvSpPr txBox="1"/>
            <p:nvPr/>
          </p:nvSpPr>
          <p:spPr>
            <a:xfrm flipH="1">
              <a:off x="3349576" y="1372466"/>
              <a:ext cx="272700" cy="96600"/>
            </a:xfrm>
            <a:prstGeom prst="rect">
              <a:avLst/>
            </a:prstGeom>
            <a:noFill/>
            <a:ln>
              <a:noFill/>
            </a:ln>
          </p:spPr>
          <p:txBody>
            <a:bodyPr spcFirstLastPara="1" wrap="square" lIns="0" tIns="0" rIns="0" bIns="0" anchor="t" anchorCtr="0">
              <a:noAutofit/>
            </a:bodyPr>
            <a:lstStyle/>
            <a:p>
              <a:pPr algn="r" defTabSz="1219170">
                <a:spcAft>
                  <a:spcPts val="2133"/>
                </a:spcAft>
                <a:buClr>
                  <a:srgbClr val="000000"/>
                </a:buClr>
              </a:pPr>
              <a:r>
                <a:rPr lang="en" sz="267" kern="0">
                  <a:solidFill>
                    <a:srgbClr val="FFFFFF"/>
                  </a:solidFill>
                  <a:latin typeface="Arial"/>
                  <a:cs typeface="Arial"/>
                  <a:sym typeface="Arial"/>
                </a:rPr>
                <a:t>PHASE 1</a:t>
              </a:r>
              <a:endParaRPr sz="267" kern="0">
                <a:solidFill>
                  <a:srgbClr val="FFFFFF"/>
                </a:solidFill>
                <a:latin typeface="Arial"/>
                <a:cs typeface="Arial"/>
                <a:sym typeface="Arial"/>
              </a:endParaRPr>
            </a:p>
          </p:txBody>
        </p:sp>
        <p:sp>
          <p:nvSpPr>
            <p:cNvPr id="8502" name="Google Shape;8502;p106"/>
            <p:cNvSpPr txBox="1"/>
            <p:nvPr/>
          </p:nvSpPr>
          <p:spPr>
            <a:xfrm flipH="1">
              <a:off x="3349579" y="1895516"/>
              <a:ext cx="272700" cy="96600"/>
            </a:xfrm>
            <a:prstGeom prst="rect">
              <a:avLst/>
            </a:prstGeom>
            <a:noFill/>
            <a:ln>
              <a:noFill/>
            </a:ln>
          </p:spPr>
          <p:txBody>
            <a:bodyPr spcFirstLastPara="1" wrap="square" lIns="0" tIns="0" rIns="0" bIns="0" anchor="t" anchorCtr="0">
              <a:noAutofit/>
            </a:bodyPr>
            <a:lstStyle/>
            <a:p>
              <a:pPr algn="r" defTabSz="1219170">
                <a:spcAft>
                  <a:spcPts val="2133"/>
                </a:spcAft>
                <a:buClr>
                  <a:srgbClr val="000000"/>
                </a:buClr>
              </a:pPr>
              <a:r>
                <a:rPr lang="en" sz="267" kern="0">
                  <a:solidFill>
                    <a:srgbClr val="FFFFFF"/>
                  </a:solidFill>
                  <a:latin typeface="Arial"/>
                  <a:cs typeface="Arial"/>
                  <a:sym typeface="Arial"/>
                </a:rPr>
                <a:t>PHASE 2</a:t>
              </a:r>
              <a:endParaRPr sz="267" kern="0">
                <a:solidFill>
                  <a:srgbClr val="FFFFFF"/>
                </a:solidFill>
                <a:latin typeface="Arial"/>
                <a:cs typeface="Arial"/>
                <a:sym typeface="Arial"/>
              </a:endParaRPr>
            </a:p>
          </p:txBody>
        </p:sp>
        <p:sp>
          <p:nvSpPr>
            <p:cNvPr id="8503" name="Google Shape;8503;p106"/>
            <p:cNvSpPr txBox="1"/>
            <p:nvPr/>
          </p:nvSpPr>
          <p:spPr>
            <a:xfrm flipH="1">
              <a:off x="3355878" y="1543623"/>
              <a:ext cx="256200" cy="96600"/>
            </a:xfrm>
            <a:prstGeom prst="rect">
              <a:avLst/>
            </a:prstGeom>
            <a:noFill/>
            <a:ln>
              <a:noFill/>
            </a:ln>
          </p:spPr>
          <p:txBody>
            <a:bodyPr spcFirstLastPara="1" wrap="square" lIns="0" tIns="0" rIns="0" bIns="0" anchor="t" anchorCtr="0">
              <a:noAutofit/>
            </a:bodyPr>
            <a:lstStyle/>
            <a:p>
              <a:pPr algn="r" defTabSz="1219170">
                <a:lnSpc>
                  <a:spcPct val="115000"/>
                </a:lnSpc>
                <a:spcAft>
                  <a:spcPts val="2133"/>
                </a:spcAft>
                <a:buClr>
                  <a:srgbClr val="000000"/>
                </a:buClr>
              </a:pPr>
              <a:r>
                <a:rPr lang="en" sz="267" kern="0">
                  <a:solidFill>
                    <a:srgbClr val="FFFFFF"/>
                  </a:solidFill>
                  <a:latin typeface="Arial"/>
                  <a:cs typeface="Arial"/>
                  <a:sym typeface="Arial"/>
                </a:rPr>
                <a:t>Task 1</a:t>
              </a:r>
              <a:endParaRPr sz="267" kern="0">
                <a:solidFill>
                  <a:srgbClr val="FFFFFF"/>
                </a:solidFill>
                <a:latin typeface="Arial"/>
                <a:cs typeface="Arial"/>
                <a:sym typeface="Arial"/>
              </a:endParaRPr>
            </a:p>
          </p:txBody>
        </p:sp>
        <p:sp>
          <p:nvSpPr>
            <p:cNvPr id="8504" name="Google Shape;8504;p106"/>
            <p:cNvSpPr txBox="1"/>
            <p:nvPr/>
          </p:nvSpPr>
          <p:spPr>
            <a:xfrm flipH="1">
              <a:off x="3355878" y="1720328"/>
              <a:ext cx="256200" cy="96600"/>
            </a:xfrm>
            <a:prstGeom prst="rect">
              <a:avLst/>
            </a:prstGeom>
            <a:noFill/>
            <a:ln>
              <a:noFill/>
            </a:ln>
          </p:spPr>
          <p:txBody>
            <a:bodyPr spcFirstLastPara="1" wrap="square" lIns="0" tIns="0" rIns="0" bIns="0" anchor="t" anchorCtr="0">
              <a:noAutofit/>
            </a:bodyPr>
            <a:lstStyle/>
            <a:p>
              <a:pPr algn="r" defTabSz="1219170">
                <a:lnSpc>
                  <a:spcPct val="115000"/>
                </a:lnSpc>
                <a:spcAft>
                  <a:spcPts val="2133"/>
                </a:spcAft>
                <a:buClr>
                  <a:srgbClr val="000000"/>
                </a:buClr>
              </a:pPr>
              <a:r>
                <a:rPr lang="en" sz="267" kern="0">
                  <a:solidFill>
                    <a:srgbClr val="FFFFFF"/>
                  </a:solidFill>
                  <a:latin typeface="Arial"/>
                  <a:cs typeface="Arial"/>
                  <a:sym typeface="Arial"/>
                </a:rPr>
                <a:t>Task 2</a:t>
              </a:r>
              <a:endParaRPr sz="267" kern="0">
                <a:solidFill>
                  <a:srgbClr val="FFFFFF"/>
                </a:solidFill>
                <a:latin typeface="Arial"/>
                <a:cs typeface="Arial"/>
                <a:sym typeface="Arial"/>
              </a:endParaRPr>
            </a:p>
          </p:txBody>
        </p:sp>
        <p:sp>
          <p:nvSpPr>
            <p:cNvPr id="8505" name="Google Shape;8505;p106"/>
            <p:cNvSpPr txBox="1"/>
            <p:nvPr/>
          </p:nvSpPr>
          <p:spPr>
            <a:xfrm flipH="1">
              <a:off x="3355878" y="2072220"/>
              <a:ext cx="256200" cy="96600"/>
            </a:xfrm>
            <a:prstGeom prst="rect">
              <a:avLst/>
            </a:prstGeom>
            <a:noFill/>
            <a:ln>
              <a:noFill/>
            </a:ln>
          </p:spPr>
          <p:txBody>
            <a:bodyPr spcFirstLastPara="1" wrap="square" lIns="0" tIns="0" rIns="0" bIns="0" anchor="t" anchorCtr="0">
              <a:noAutofit/>
            </a:bodyPr>
            <a:lstStyle/>
            <a:p>
              <a:pPr algn="r" defTabSz="1219170">
                <a:lnSpc>
                  <a:spcPct val="115000"/>
                </a:lnSpc>
                <a:spcAft>
                  <a:spcPts val="2133"/>
                </a:spcAft>
                <a:buClr>
                  <a:srgbClr val="000000"/>
                </a:buClr>
              </a:pPr>
              <a:r>
                <a:rPr lang="en" sz="267" kern="0">
                  <a:solidFill>
                    <a:srgbClr val="FFFFFF"/>
                  </a:solidFill>
                  <a:latin typeface="Arial"/>
                  <a:cs typeface="Arial"/>
                  <a:sym typeface="Arial"/>
                </a:rPr>
                <a:t>Task 1</a:t>
              </a:r>
              <a:endParaRPr sz="267" kern="0">
                <a:solidFill>
                  <a:srgbClr val="FFFFFF"/>
                </a:solidFill>
                <a:latin typeface="Arial"/>
                <a:cs typeface="Arial"/>
                <a:sym typeface="Arial"/>
              </a:endParaRPr>
            </a:p>
          </p:txBody>
        </p:sp>
        <p:sp>
          <p:nvSpPr>
            <p:cNvPr id="8506" name="Google Shape;8506;p106"/>
            <p:cNvSpPr txBox="1"/>
            <p:nvPr/>
          </p:nvSpPr>
          <p:spPr>
            <a:xfrm flipH="1">
              <a:off x="3355889" y="2248920"/>
              <a:ext cx="256200" cy="68400"/>
            </a:xfrm>
            <a:prstGeom prst="rect">
              <a:avLst/>
            </a:prstGeom>
            <a:noFill/>
            <a:ln>
              <a:noFill/>
            </a:ln>
          </p:spPr>
          <p:txBody>
            <a:bodyPr spcFirstLastPara="1" wrap="square" lIns="0" tIns="0" rIns="0" bIns="0" anchor="t" anchorCtr="0">
              <a:noAutofit/>
            </a:bodyPr>
            <a:lstStyle/>
            <a:p>
              <a:pPr algn="r" defTabSz="1219170">
                <a:lnSpc>
                  <a:spcPct val="115000"/>
                </a:lnSpc>
                <a:spcAft>
                  <a:spcPts val="2133"/>
                </a:spcAft>
                <a:buClr>
                  <a:srgbClr val="000000"/>
                </a:buClr>
              </a:pPr>
              <a:r>
                <a:rPr lang="en" sz="267" kern="0">
                  <a:solidFill>
                    <a:srgbClr val="FFFFFF"/>
                  </a:solidFill>
                  <a:latin typeface="Arial"/>
                  <a:cs typeface="Arial"/>
                  <a:sym typeface="Arial"/>
                </a:rPr>
                <a:t>Task 2</a:t>
              </a:r>
              <a:endParaRPr sz="267" kern="0">
                <a:solidFill>
                  <a:srgbClr val="FFFFFF"/>
                </a:solidFill>
                <a:latin typeface="Arial"/>
                <a:cs typeface="Arial"/>
                <a:sym typeface="Arial"/>
              </a:endParaRPr>
            </a:p>
          </p:txBody>
        </p:sp>
        <p:grpSp>
          <p:nvGrpSpPr>
            <p:cNvPr id="8507" name="Google Shape;8507;p106"/>
            <p:cNvGrpSpPr/>
            <p:nvPr/>
          </p:nvGrpSpPr>
          <p:grpSpPr>
            <a:xfrm>
              <a:off x="3748438" y="1378608"/>
              <a:ext cx="2159202" cy="903971"/>
              <a:chOff x="1683525" y="2179850"/>
              <a:chExt cx="4519050" cy="2134525"/>
            </a:xfrm>
          </p:grpSpPr>
          <p:sp>
            <p:nvSpPr>
              <p:cNvPr id="8508" name="Google Shape;8508;p106"/>
              <p:cNvSpPr/>
              <p:nvPr/>
            </p:nvSpPr>
            <p:spPr>
              <a:xfrm>
                <a:off x="1683525" y="2179850"/>
                <a:ext cx="4519050" cy="53925"/>
              </a:xfrm>
              <a:custGeom>
                <a:avLst/>
                <a:gdLst/>
                <a:ahLst/>
                <a:cxnLst/>
                <a:rect l="l" t="t" r="r" b="b"/>
                <a:pathLst>
                  <a:path w="180762" h="2157" extrusionOk="0">
                    <a:moveTo>
                      <a:pt x="1072" y="1"/>
                    </a:moveTo>
                    <a:cubicBezTo>
                      <a:pt x="477" y="1"/>
                      <a:pt x="1" y="477"/>
                      <a:pt x="1" y="1073"/>
                    </a:cubicBezTo>
                    <a:cubicBezTo>
                      <a:pt x="1" y="1668"/>
                      <a:pt x="477" y="2156"/>
                      <a:pt x="1072" y="2156"/>
                    </a:cubicBezTo>
                    <a:lnTo>
                      <a:pt x="179678" y="2156"/>
                    </a:lnTo>
                    <a:cubicBezTo>
                      <a:pt x="180273" y="2156"/>
                      <a:pt x="180761" y="1668"/>
                      <a:pt x="180761" y="1073"/>
                    </a:cubicBezTo>
                    <a:cubicBezTo>
                      <a:pt x="180761" y="477"/>
                      <a:pt x="180273" y="1"/>
                      <a:pt x="179678" y="1"/>
                    </a:cubicBezTo>
                    <a:close/>
                  </a:path>
                </a:pathLst>
              </a:custGeom>
              <a:solidFill>
                <a:srgbClr val="7994A9">
                  <a:alpha val="64709"/>
                </a:srgbClr>
              </a:solidFill>
              <a:ln>
                <a:noFill/>
              </a:ln>
            </p:spPr>
            <p:txBody>
              <a:bodyPr spcFirstLastPara="1" wrap="square" lIns="121900" tIns="121900" rIns="121900" bIns="121900" anchor="ctr" anchorCtr="0">
                <a:noAutofit/>
              </a:bodyPr>
              <a:lstStyle/>
              <a:p>
                <a:pPr defTabSz="1219170">
                  <a:buClr>
                    <a:srgbClr val="000000"/>
                  </a:buClr>
                </a:pPr>
                <a:endParaRPr sz="267" kern="0">
                  <a:solidFill>
                    <a:srgbClr val="FFFFFF"/>
                  </a:solidFill>
                  <a:latin typeface="Arial"/>
                  <a:cs typeface="Arial"/>
                  <a:sym typeface="Arial"/>
                </a:endParaRPr>
              </a:p>
            </p:txBody>
          </p:sp>
          <p:sp>
            <p:nvSpPr>
              <p:cNvPr id="8509" name="Google Shape;8509;p106"/>
              <p:cNvSpPr/>
              <p:nvPr/>
            </p:nvSpPr>
            <p:spPr>
              <a:xfrm>
                <a:off x="1683525" y="2595975"/>
                <a:ext cx="4519050" cy="53900"/>
              </a:xfrm>
              <a:custGeom>
                <a:avLst/>
                <a:gdLst/>
                <a:ahLst/>
                <a:cxnLst/>
                <a:rect l="l" t="t" r="r" b="b"/>
                <a:pathLst>
                  <a:path w="180762" h="2156" extrusionOk="0">
                    <a:moveTo>
                      <a:pt x="1072" y="1"/>
                    </a:moveTo>
                    <a:cubicBezTo>
                      <a:pt x="477" y="1"/>
                      <a:pt x="1" y="489"/>
                      <a:pt x="1" y="1084"/>
                    </a:cubicBezTo>
                    <a:cubicBezTo>
                      <a:pt x="1" y="1668"/>
                      <a:pt x="477" y="2156"/>
                      <a:pt x="1072" y="2156"/>
                    </a:cubicBezTo>
                    <a:lnTo>
                      <a:pt x="179678" y="2156"/>
                    </a:lnTo>
                    <a:cubicBezTo>
                      <a:pt x="180273" y="2156"/>
                      <a:pt x="180761" y="1668"/>
                      <a:pt x="180761" y="1084"/>
                    </a:cubicBezTo>
                    <a:cubicBezTo>
                      <a:pt x="180761" y="489"/>
                      <a:pt x="180273" y="1"/>
                      <a:pt x="179678" y="1"/>
                    </a:cubicBezTo>
                    <a:close/>
                  </a:path>
                </a:pathLst>
              </a:custGeom>
              <a:solidFill>
                <a:srgbClr val="374957"/>
              </a:solidFill>
              <a:ln>
                <a:noFill/>
              </a:ln>
            </p:spPr>
            <p:txBody>
              <a:bodyPr spcFirstLastPara="1" wrap="square" lIns="121900" tIns="121900" rIns="121900" bIns="121900" anchor="ctr" anchorCtr="0">
                <a:noAutofit/>
              </a:bodyPr>
              <a:lstStyle/>
              <a:p>
                <a:pPr defTabSz="1219170">
                  <a:buClr>
                    <a:srgbClr val="000000"/>
                  </a:buClr>
                </a:pPr>
                <a:endParaRPr sz="267" kern="0">
                  <a:solidFill>
                    <a:srgbClr val="FFFFFF"/>
                  </a:solidFill>
                  <a:latin typeface="Arial"/>
                  <a:cs typeface="Arial"/>
                  <a:sym typeface="Arial"/>
                </a:endParaRPr>
              </a:p>
            </p:txBody>
          </p:sp>
          <p:sp>
            <p:nvSpPr>
              <p:cNvPr id="8510" name="Google Shape;8510;p106"/>
              <p:cNvSpPr/>
              <p:nvPr/>
            </p:nvSpPr>
            <p:spPr>
              <a:xfrm>
                <a:off x="1683525" y="3012100"/>
                <a:ext cx="4519050" cy="53900"/>
              </a:xfrm>
              <a:custGeom>
                <a:avLst/>
                <a:gdLst/>
                <a:ahLst/>
                <a:cxnLst/>
                <a:rect l="l" t="t" r="r" b="b"/>
                <a:pathLst>
                  <a:path w="180762" h="2156" extrusionOk="0">
                    <a:moveTo>
                      <a:pt x="1072" y="1"/>
                    </a:moveTo>
                    <a:cubicBezTo>
                      <a:pt x="477" y="1"/>
                      <a:pt x="1" y="489"/>
                      <a:pt x="1" y="1084"/>
                    </a:cubicBezTo>
                    <a:cubicBezTo>
                      <a:pt x="1" y="1680"/>
                      <a:pt x="477" y="2156"/>
                      <a:pt x="1072" y="2156"/>
                    </a:cubicBezTo>
                    <a:lnTo>
                      <a:pt x="179678" y="2156"/>
                    </a:lnTo>
                    <a:cubicBezTo>
                      <a:pt x="180273" y="2156"/>
                      <a:pt x="180761" y="1668"/>
                      <a:pt x="180761" y="1072"/>
                    </a:cubicBezTo>
                    <a:cubicBezTo>
                      <a:pt x="180761" y="477"/>
                      <a:pt x="180273" y="1"/>
                      <a:pt x="179678" y="1"/>
                    </a:cubicBezTo>
                    <a:close/>
                  </a:path>
                </a:pathLst>
              </a:custGeom>
              <a:solidFill>
                <a:srgbClr val="7994A9">
                  <a:alpha val="64709"/>
                </a:srgbClr>
              </a:solidFill>
              <a:ln>
                <a:noFill/>
              </a:ln>
            </p:spPr>
            <p:txBody>
              <a:bodyPr spcFirstLastPara="1" wrap="square" lIns="121900" tIns="121900" rIns="121900" bIns="121900" anchor="ctr" anchorCtr="0">
                <a:noAutofit/>
              </a:bodyPr>
              <a:lstStyle/>
              <a:p>
                <a:pPr defTabSz="1219170">
                  <a:buClr>
                    <a:srgbClr val="000000"/>
                  </a:buClr>
                </a:pPr>
                <a:endParaRPr sz="267" kern="0">
                  <a:solidFill>
                    <a:srgbClr val="FFFFFF"/>
                  </a:solidFill>
                  <a:latin typeface="Arial"/>
                  <a:cs typeface="Arial"/>
                  <a:sym typeface="Arial"/>
                </a:endParaRPr>
              </a:p>
            </p:txBody>
          </p:sp>
          <p:sp>
            <p:nvSpPr>
              <p:cNvPr id="8511" name="Google Shape;8511;p106"/>
              <p:cNvSpPr/>
              <p:nvPr/>
            </p:nvSpPr>
            <p:spPr>
              <a:xfrm>
                <a:off x="1683525" y="3428225"/>
                <a:ext cx="4519050" cy="53900"/>
              </a:xfrm>
              <a:custGeom>
                <a:avLst/>
                <a:gdLst/>
                <a:ahLst/>
                <a:cxnLst/>
                <a:rect l="l" t="t" r="r" b="b"/>
                <a:pathLst>
                  <a:path w="180762" h="2156" extrusionOk="0">
                    <a:moveTo>
                      <a:pt x="1072" y="1"/>
                    </a:moveTo>
                    <a:cubicBezTo>
                      <a:pt x="477" y="1"/>
                      <a:pt x="1" y="489"/>
                      <a:pt x="1" y="1084"/>
                    </a:cubicBezTo>
                    <a:cubicBezTo>
                      <a:pt x="1" y="1679"/>
                      <a:pt x="477" y="2156"/>
                      <a:pt x="1072" y="2156"/>
                    </a:cubicBezTo>
                    <a:lnTo>
                      <a:pt x="179678" y="2156"/>
                    </a:lnTo>
                    <a:cubicBezTo>
                      <a:pt x="180273" y="2156"/>
                      <a:pt x="180761" y="1679"/>
                      <a:pt x="180761" y="1084"/>
                    </a:cubicBezTo>
                    <a:cubicBezTo>
                      <a:pt x="180761" y="489"/>
                      <a:pt x="180273" y="1"/>
                      <a:pt x="179678" y="1"/>
                    </a:cubicBezTo>
                    <a:close/>
                  </a:path>
                </a:pathLst>
              </a:custGeom>
              <a:solidFill>
                <a:srgbClr val="374957"/>
              </a:solidFill>
              <a:ln>
                <a:noFill/>
              </a:ln>
            </p:spPr>
            <p:txBody>
              <a:bodyPr spcFirstLastPara="1" wrap="square" lIns="121900" tIns="121900" rIns="121900" bIns="121900" anchor="ctr" anchorCtr="0">
                <a:noAutofit/>
              </a:bodyPr>
              <a:lstStyle/>
              <a:p>
                <a:pPr defTabSz="1219170">
                  <a:buClr>
                    <a:srgbClr val="000000"/>
                  </a:buClr>
                </a:pPr>
                <a:endParaRPr sz="267" kern="0">
                  <a:solidFill>
                    <a:srgbClr val="FFFFFF"/>
                  </a:solidFill>
                  <a:latin typeface="Arial"/>
                  <a:cs typeface="Arial"/>
                  <a:sym typeface="Arial"/>
                </a:endParaRPr>
              </a:p>
            </p:txBody>
          </p:sp>
          <p:sp>
            <p:nvSpPr>
              <p:cNvPr id="8512" name="Google Shape;8512;p106"/>
              <p:cNvSpPr/>
              <p:nvPr/>
            </p:nvSpPr>
            <p:spPr>
              <a:xfrm>
                <a:off x="1683525" y="3844350"/>
                <a:ext cx="4519050" cy="53900"/>
              </a:xfrm>
              <a:custGeom>
                <a:avLst/>
                <a:gdLst/>
                <a:ahLst/>
                <a:cxnLst/>
                <a:rect l="l" t="t" r="r" b="b"/>
                <a:pathLst>
                  <a:path w="180762" h="2156" extrusionOk="0">
                    <a:moveTo>
                      <a:pt x="548" y="1"/>
                    </a:moveTo>
                    <a:cubicBezTo>
                      <a:pt x="251" y="1"/>
                      <a:pt x="1" y="251"/>
                      <a:pt x="1" y="560"/>
                    </a:cubicBezTo>
                    <a:lnTo>
                      <a:pt x="1" y="1608"/>
                    </a:lnTo>
                    <a:cubicBezTo>
                      <a:pt x="1" y="1917"/>
                      <a:pt x="251" y="2156"/>
                      <a:pt x="548" y="2156"/>
                    </a:cubicBezTo>
                    <a:lnTo>
                      <a:pt x="180202" y="2156"/>
                    </a:lnTo>
                    <a:cubicBezTo>
                      <a:pt x="180511" y="2156"/>
                      <a:pt x="180761" y="1917"/>
                      <a:pt x="180761" y="1608"/>
                    </a:cubicBezTo>
                    <a:lnTo>
                      <a:pt x="180761" y="560"/>
                    </a:lnTo>
                    <a:cubicBezTo>
                      <a:pt x="180761" y="251"/>
                      <a:pt x="180511" y="1"/>
                      <a:pt x="180202" y="1"/>
                    </a:cubicBezTo>
                    <a:close/>
                  </a:path>
                </a:pathLst>
              </a:custGeom>
              <a:solidFill>
                <a:srgbClr val="7994A9">
                  <a:alpha val="64709"/>
                </a:srgbClr>
              </a:solidFill>
              <a:ln>
                <a:noFill/>
              </a:ln>
            </p:spPr>
            <p:txBody>
              <a:bodyPr spcFirstLastPara="1" wrap="square" lIns="121900" tIns="121900" rIns="121900" bIns="121900" anchor="ctr" anchorCtr="0">
                <a:noAutofit/>
              </a:bodyPr>
              <a:lstStyle/>
              <a:p>
                <a:pPr defTabSz="1219170">
                  <a:buClr>
                    <a:srgbClr val="000000"/>
                  </a:buClr>
                </a:pPr>
                <a:endParaRPr sz="267" kern="0">
                  <a:solidFill>
                    <a:srgbClr val="FFFFFF"/>
                  </a:solidFill>
                  <a:latin typeface="Arial"/>
                  <a:cs typeface="Arial"/>
                  <a:sym typeface="Arial"/>
                </a:endParaRPr>
              </a:p>
            </p:txBody>
          </p:sp>
          <p:sp>
            <p:nvSpPr>
              <p:cNvPr id="8513" name="Google Shape;8513;p106"/>
              <p:cNvSpPr/>
              <p:nvPr/>
            </p:nvSpPr>
            <p:spPr>
              <a:xfrm>
                <a:off x="1683525" y="4260475"/>
                <a:ext cx="4519050" cy="53900"/>
              </a:xfrm>
              <a:custGeom>
                <a:avLst/>
                <a:gdLst/>
                <a:ahLst/>
                <a:cxnLst/>
                <a:rect l="l" t="t" r="r" b="b"/>
                <a:pathLst>
                  <a:path w="180762" h="2156" extrusionOk="0">
                    <a:moveTo>
                      <a:pt x="1072" y="0"/>
                    </a:moveTo>
                    <a:cubicBezTo>
                      <a:pt x="477" y="0"/>
                      <a:pt x="1" y="489"/>
                      <a:pt x="1" y="1084"/>
                    </a:cubicBezTo>
                    <a:cubicBezTo>
                      <a:pt x="1" y="1679"/>
                      <a:pt x="477" y="2156"/>
                      <a:pt x="1072" y="2156"/>
                    </a:cubicBezTo>
                    <a:lnTo>
                      <a:pt x="179678" y="2156"/>
                    </a:lnTo>
                    <a:cubicBezTo>
                      <a:pt x="180273" y="2156"/>
                      <a:pt x="180761" y="1679"/>
                      <a:pt x="180761" y="1084"/>
                    </a:cubicBezTo>
                    <a:cubicBezTo>
                      <a:pt x="180761" y="489"/>
                      <a:pt x="180273" y="0"/>
                      <a:pt x="179678" y="0"/>
                    </a:cubicBezTo>
                    <a:close/>
                  </a:path>
                </a:pathLst>
              </a:custGeom>
              <a:solidFill>
                <a:srgbClr val="374957"/>
              </a:solidFill>
              <a:ln>
                <a:noFill/>
              </a:ln>
            </p:spPr>
            <p:txBody>
              <a:bodyPr spcFirstLastPara="1" wrap="square" lIns="121900" tIns="121900" rIns="121900" bIns="121900" anchor="ctr" anchorCtr="0">
                <a:noAutofit/>
              </a:bodyPr>
              <a:lstStyle/>
              <a:p>
                <a:pPr defTabSz="1219170">
                  <a:buClr>
                    <a:srgbClr val="000000"/>
                  </a:buClr>
                </a:pPr>
                <a:endParaRPr sz="267" kern="0">
                  <a:solidFill>
                    <a:srgbClr val="FFFFFF"/>
                  </a:solidFill>
                  <a:latin typeface="Arial"/>
                  <a:cs typeface="Arial"/>
                  <a:sym typeface="Arial"/>
                </a:endParaRPr>
              </a:p>
            </p:txBody>
          </p:sp>
          <p:sp>
            <p:nvSpPr>
              <p:cNvPr id="8514" name="Google Shape;8514;p106"/>
              <p:cNvSpPr/>
              <p:nvPr/>
            </p:nvSpPr>
            <p:spPr>
              <a:xfrm>
                <a:off x="1683525" y="2179850"/>
                <a:ext cx="921275" cy="53925"/>
              </a:xfrm>
              <a:custGeom>
                <a:avLst/>
                <a:gdLst/>
                <a:ahLst/>
                <a:cxnLst/>
                <a:rect l="l" t="t" r="r" b="b"/>
                <a:pathLst>
                  <a:path w="36851" h="2157" extrusionOk="0">
                    <a:moveTo>
                      <a:pt x="1072" y="1"/>
                    </a:moveTo>
                    <a:cubicBezTo>
                      <a:pt x="477" y="1"/>
                      <a:pt x="1" y="477"/>
                      <a:pt x="1" y="1073"/>
                    </a:cubicBezTo>
                    <a:cubicBezTo>
                      <a:pt x="1" y="1668"/>
                      <a:pt x="477" y="2156"/>
                      <a:pt x="1072" y="2156"/>
                    </a:cubicBezTo>
                    <a:lnTo>
                      <a:pt x="35767" y="2156"/>
                    </a:lnTo>
                    <a:cubicBezTo>
                      <a:pt x="36362" y="2156"/>
                      <a:pt x="36851" y="1668"/>
                      <a:pt x="36851" y="1073"/>
                    </a:cubicBezTo>
                    <a:cubicBezTo>
                      <a:pt x="36851" y="477"/>
                      <a:pt x="36362" y="1"/>
                      <a:pt x="35767"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267" kern="0">
                  <a:solidFill>
                    <a:srgbClr val="FFFFFF"/>
                  </a:solidFill>
                  <a:latin typeface="Arial"/>
                  <a:cs typeface="Arial"/>
                  <a:sym typeface="Arial"/>
                </a:endParaRPr>
              </a:p>
            </p:txBody>
          </p:sp>
          <p:sp>
            <p:nvSpPr>
              <p:cNvPr id="8515" name="Google Shape;8515;p106"/>
              <p:cNvSpPr/>
              <p:nvPr/>
            </p:nvSpPr>
            <p:spPr>
              <a:xfrm>
                <a:off x="2166625" y="2595975"/>
                <a:ext cx="2036900" cy="53900"/>
              </a:xfrm>
              <a:custGeom>
                <a:avLst/>
                <a:gdLst/>
                <a:ahLst/>
                <a:cxnLst/>
                <a:rect l="l" t="t" r="r" b="b"/>
                <a:pathLst>
                  <a:path w="81476" h="2156" extrusionOk="0">
                    <a:moveTo>
                      <a:pt x="1084" y="1"/>
                    </a:moveTo>
                    <a:cubicBezTo>
                      <a:pt x="489" y="1"/>
                      <a:pt x="1" y="489"/>
                      <a:pt x="1" y="1084"/>
                    </a:cubicBezTo>
                    <a:cubicBezTo>
                      <a:pt x="1" y="1668"/>
                      <a:pt x="489" y="2156"/>
                      <a:pt x="1084" y="2156"/>
                    </a:cubicBezTo>
                    <a:lnTo>
                      <a:pt x="80392" y="2156"/>
                    </a:lnTo>
                    <a:cubicBezTo>
                      <a:pt x="80987" y="2156"/>
                      <a:pt x="81475" y="1668"/>
                      <a:pt x="81475" y="1084"/>
                    </a:cubicBezTo>
                    <a:cubicBezTo>
                      <a:pt x="81475" y="489"/>
                      <a:pt x="80987" y="1"/>
                      <a:pt x="80392" y="1"/>
                    </a:cubicBezTo>
                    <a:close/>
                  </a:path>
                </a:pathLst>
              </a:custGeom>
              <a:solidFill>
                <a:srgbClr val="D7DFE5">
                  <a:alpha val="65920"/>
                </a:srgbClr>
              </a:solidFill>
              <a:ln>
                <a:noFill/>
              </a:ln>
            </p:spPr>
            <p:txBody>
              <a:bodyPr spcFirstLastPara="1" wrap="square" lIns="121900" tIns="121900" rIns="121900" bIns="121900" anchor="ctr" anchorCtr="0">
                <a:noAutofit/>
              </a:bodyPr>
              <a:lstStyle/>
              <a:p>
                <a:pPr defTabSz="1219170">
                  <a:buClr>
                    <a:srgbClr val="000000"/>
                  </a:buClr>
                </a:pPr>
                <a:endParaRPr sz="267" kern="0">
                  <a:solidFill>
                    <a:srgbClr val="FFFFFF"/>
                  </a:solidFill>
                  <a:latin typeface="Arial"/>
                  <a:cs typeface="Arial"/>
                  <a:sym typeface="Arial"/>
                </a:endParaRPr>
              </a:p>
            </p:txBody>
          </p:sp>
          <p:sp>
            <p:nvSpPr>
              <p:cNvPr id="8516" name="Google Shape;8516;p106"/>
              <p:cNvSpPr/>
              <p:nvPr/>
            </p:nvSpPr>
            <p:spPr>
              <a:xfrm>
                <a:off x="2808675" y="3012100"/>
                <a:ext cx="1082000" cy="53900"/>
              </a:xfrm>
              <a:custGeom>
                <a:avLst/>
                <a:gdLst/>
                <a:ahLst/>
                <a:cxnLst/>
                <a:rect l="l" t="t" r="r" b="b"/>
                <a:pathLst>
                  <a:path w="43280" h="2156" extrusionOk="0">
                    <a:moveTo>
                      <a:pt x="1072" y="1"/>
                    </a:moveTo>
                    <a:cubicBezTo>
                      <a:pt x="477" y="1"/>
                      <a:pt x="0" y="477"/>
                      <a:pt x="0" y="1072"/>
                    </a:cubicBezTo>
                    <a:cubicBezTo>
                      <a:pt x="0" y="1668"/>
                      <a:pt x="477" y="2156"/>
                      <a:pt x="1072" y="2156"/>
                    </a:cubicBezTo>
                    <a:lnTo>
                      <a:pt x="42196" y="2156"/>
                    </a:lnTo>
                    <a:cubicBezTo>
                      <a:pt x="42791" y="2156"/>
                      <a:pt x="43280" y="1668"/>
                      <a:pt x="43280" y="1072"/>
                    </a:cubicBezTo>
                    <a:cubicBezTo>
                      <a:pt x="43280" y="477"/>
                      <a:pt x="42791" y="1"/>
                      <a:pt x="42196"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267" kern="0">
                  <a:solidFill>
                    <a:srgbClr val="FFFFFF"/>
                  </a:solidFill>
                  <a:latin typeface="Arial"/>
                  <a:cs typeface="Arial"/>
                  <a:sym typeface="Arial"/>
                </a:endParaRPr>
              </a:p>
            </p:txBody>
          </p:sp>
          <p:sp>
            <p:nvSpPr>
              <p:cNvPr id="8517" name="Google Shape;8517;p106"/>
              <p:cNvSpPr/>
              <p:nvPr/>
            </p:nvSpPr>
            <p:spPr>
              <a:xfrm>
                <a:off x="2942925" y="3428225"/>
                <a:ext cx="2044925" cy="53900"/>
              </a:xfrm>
              <a:custGeom>
                <a:avLst/>
                <a:gdLst/>
                <a:ahLst/>
                <a:cxnLst/>
                <a:rect l="l" t="t" r="r" b="b"/>
                <a:pathLst>
                  <a:path w="81797" h="2156" extrusionOk="0">
                    <a:moveTo>
                      <a:pt x="1084" y="1"/>
                    </a:moveTo>
                    <a:cubicBezTo>
                      <a:pt x="488" y="1"/>
                      <a:pt x="0" y="489"/>
                      <a:pt x="12" y="1084"/>
                    </a:cubicBezTo>
                    <a:cubicBezTo>
                      <a:pt x="12" y="1679"/>
                      <a:pt x="488" y="2156"/>
                      <a:pt x="1084" y="2156"/>
                    </a:cubicBezTo>
                    <a:lnTo>
                      <a:pt x="80713" y="2156"/>
                    </a:lnTo>
                    <a:cubicBezTo>
                      <a:pt x="81308" y="2156"/>
                      <a:pt x="81796" y="1679"/>
                      <a:pt x="81796" y="1084"/>
                    </a:cubicBezTo>
                    <a:cubicBezTo>
                      <a:pt x="81796" y="489"/>
                      <a:pt x="81308" y="1"/>
                      <a:pt x="80713" y="1"/>
                    </a:cubicBezTo>
                    <a:close/>
                  </a:path>
                </a:pathLst>
              </a:custGeom>
              <a:solidFill>
                <a:srgbClr val="D7DFE5">
                  <a:alpha val="65920"/>
                </a:srgbClr>
              </a:solidFill>
              <a:ln>
                <a:noFill/>
              </a:ln>
            </p:spPr>
            <p:txBody>
              <a:bodyPr spcFirstLastPara="1" wrap="square" lIns="121900" tIns="121900" rIns="121900" bIns="121900" anchor="ctr" anchorCtr="0">
                <a:noAutofit/>
              </a:bodyPr>
              <a:lstStyle/>
              <a:p>
                <a:pPr defTabSz="1219170">
                  <a:buClr>
                    <a:srgbClr val="000000"/>
                  </a:buClr>
                </a:pPr>
                <a:endParaRPr sz="267" kern="0">
                  <a:solidFill>
                    <a:srgbClr val="FFFFFF"/>
                  </a:solidFill>
                  <a:latin typeface="Arial"/>
                  <a:cs typeface="Arial"/>
                  <a:sym typeface="Arial"/>
                </a:endParaRPr>
              </a:p>
            </p:txBody>
          </p:sp>
          <p:sp>
            <p:nvSpPr>
              <p:cNvPr id="8518" name="Google Shape;8518;p106"/>
              <p:cNvSpPr/>
              <p:nvPr/>
            </p:nvSpPr>
            <p:spPr>
              <a:xfrm>
                <a:off x="3933825" y="3844350"/>
                <a:ext cx="1650825" cy="53900"/>
              </a:xfrm>
              <a:custGeom>
                <a:avLst/>
                <a:gdLst/>
                <a:ahLst/>
                <a:cxnLst/>
                <a:rect l="l" t="t" r="r" b="b"/>
                <a:pathLst>
                  <a:path w="66033" h="2156" extrusionOk="0">
                    <a:moveTo>
                      <a:pt x="548" y="1"/>
                    </a:moveTo>
                    <a:cubicBezTo>
                      <a:pt x="238" y="1"/>
                      <a:pt x="0" y="251"/>
                      <a:pt x="0" y="560"/>
                    </a:cubicBezTo>
                    <a:lnTo>
                      <a:pt x="0" y="1608"/>
                    </a:lnTo>
                    <a:cubicBezTo>
                      <a:pt x="0" y="1917"/>
                      <a:pt x="238" y="2156"/>
                      <a:pt x="548" y="2156"/>
                    </a:cubicBezTo>
                    <a:lnTo>
                      <a:pt x="65472" y="2156"/>
                    </a:lnTo>
                    <a:cubicBezTo>
                      <a:pt x="65782" y="2156"/>
                      <a:pt x="66032" y="1917"/>
                      <a:pt x="66032" y="1608"/>
                    </a:cubicBezTo>
                    <a:lnTo>
                      <a:pt x="66032" y="560"/>
                    </a:lnTo>
                    <a:cubicBezTo>
                      <a:pt x="66032" y="251"/>
                      <a:pt x="65782" y="1"/>
                      <a:pt x="65472"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267" kern="0">
                  <a:solidFill>
                    <a:srgbClr val="FFFFFF"/>
                  </a:solidFill>
                  <a:latin typeface="Arial"/>
                  <a:cs typeface="Arial"/>
                  <a:sym typeface="Arial"/>
                </a:endParaRPr>
              </a:p>
            </p:txBody>
          </p:sp>
          <p:sp>
            <p:nvSpPr>
              <p:cNvPr id="8519" name="Google Shape;8519;p106"/>
              <p:cNvSpPr/>
              <p:nvPr/>
            </p:nvSpPr>
            <p:spPr>
              <a:xfrm>
                <a:off x="5058950" y="4260775"/>
                <a:ext cx="1143625" cy="53600"/>
              </a:xfrm>
              <a:custGeom>
                <a:avLst/>
                <a:gdLst/>
                <a:ahLst/>
                <a:cxnLst/>
                <a:rect l="l" t="t" r="r" b="b"/>
                <a:pathLst>
                  <a:path w="45745" h="2144" extrusionOk="0">
                    <a:moveTo>
                      <a:pt x="1072" y="0"/>
                    </a:moveTo>
                    <a:cubicBezTo>
                      <a:pt x="477" y="0"/>
                      <a:pt x="1" y="477"/>
                      <a:pt x="1" y="1072"/>
                    </a:cubicBezTo>
                    <a:cubicBezTo>
                      <a:pt x="1" y="1667"/>
                      <a:pt x="477" y="2144"/>
                      <a:pt x="1072" y="2144"/>
                    </a:cubicBezTo>
                    <a:lnTo>
                      <a:pt x="44661" y="2144"/>
                    </a:lnTo>
                    <a:cubicBezTo>
                      <a:pt x="45256" y="2144"/>
                      <a:pt x="45744" y="1667"/>
                      <a:pt x="45744" y="1072"/>
                    </a:cubicBezTo>
                    <a:cubicBezTo>
                      <a:pt x="45744" y="477"/>
                      <a:pt x="45256" y="0"/>
                      <a:pt x="44661" y="0"/>
                    </a:cubicBezTo>
                    <a:close/>
                  </a:path>
                </a:pathLst>
              </a:custGeom>
              <a:solidFill>
                <a:srgbClr val="D7DFE5">
                  <a:alpha val="65920"/>
                </a:srgbClr>
              </a:solidFill>
              <a:ln>
                <a:noFill/>
              </a:ln>
            </p:spPr>
            <p:txBody>
              <a:bodyPr spcFirstLastPara="1" wrap="square" lIns="121900" tIns="121900" rIns="121900" bIns="121900" anchor="ctr" anchorCtr="0">
                <a:noAutofit/>
              </a:bodyPr>
              <a:lstStyle/>
              <a:p>
                <a:pPr defTabSz="1219170">
                  <a:buClr>
                    <a:srgbClr val="000000"/>
                  </a:buClr>
                </a:pPr>
                <a:endParaRPr sz="267" kern="0">
                  <a:solidFill>
                    <a:srgbClr val="FFFFFF"/>
                  </a:solidFill>
                  <a:latin typeface="Arial"/>
                  <a:cs typeface="Arial"/>
                  <a:sym typeface="Arial"/>
                </a:endParaRPr>
              </a:p>
            </p:txBody>
          </p:sp>
        </p:grpSp>
      </p:grpSp>
    </p:spTree>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Shape 8523"/>
        <p:cNvGrpSpPr/>
        <p:nvPr/>
      </p:nvGrpSpPr>
      <p:grpSpPr>
        <a:xfrm>
          <a:off x="0" y="0"/>
          <a:ext cx="0" cy="0"/>
          <a:chOff x="0" y="0"/>
          <a:chExt cx="0" cy="0"/>
        </a:xfrm>
      </p:grpSpPr>
      <p:grpSp>
        <p:nvGrpSpPr>
          <p:cNvPr id="8524" name="Google Shape;8524;p107"/>
          <p:cNvGrpSpPr/>
          <p:nvPr/>
        </p:nvGrpSpPr>
        <p:grpSpPr>
          <a:xfrm>
            <a:off x="6419579" y="1588589"/>
            <a:ext cx="993908" cy="958484"/>
            <a:chOff x="4249973" y="1201875"/>
            <a:chExt cx="1958568" cy="1888762"/>
          </a:xfrm>
        </p:grpSpPr>
        <p:sp>
          <p:nvSpPr>
            <p:cNvPr id="8525" name="Google Shape;8525;p107"/>
            <p:cNvSpPr/>
            <p:nvPr/>
          </p:nvSpPr>
          <p:spPr>
            <a:xfrm>
              <a:off x="4468527" y="1411932"/>
              <a:ext cx="1528500" cy="1452600"/>
            </a:xfrm>
            <a:prstGeom prst="pentagon">
              <a:avLst>
                <a:gd name="hf" fmla="val 105146"/>
                <a:gd name="vf" fmla="val 110557"/>
              </a:avLst>
            </a:prstGeom>
            <a:noFill/>
            <a:ln w="9525" cap="flat" cmpd="sng">
              <a:solidFill>
                <a:srgbClr val="CFD9E0"/>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nvGrpSpPr>
            <p:cNvPr id="8526" name="Google Shape;8526;p107"/>
            <p:cNvGrpSpPr/>
            <p:nvPr/>
          </p:nvGrpSpPr>
          <p:grpSpPr>
            <a:xfrm>
              <a:off x="5853086" y="1789142"/>
              <a:ext cx="355454" cy="1048099"/>
              <a:chOff x="5576108" y="2016725"/>
              <a:chExt cx="565200" cy="1666560"/>
            </a:xfrm>
          </p:grpSpPr>
          <p:sp>
            <p:nvSpPr>
              <p:cNvPr id="8527" name="Google Shape;8527;p107"/>
              <p:cNvSpPr/>
              <p:nvPr/>
            </p:nvSpPr>
            <p:spPr>
              <a:xfrm>
                <a:off x="5576108" y="2016725"/>
                <a:ext cx="565200" cy="565500"/>
              </a:xfrm>
              <a:prstGeom prst="ellipse">
                <a:avLst/>
              </a:prstGeom>
              <a:noFill/>
              <a:ln w="9525" cap="flat" cmpd="sng">
                <a:solidFill>
                  <a:srgbClr val="869FB1"/>
                </a:solidFill>
                <a:prstDash val="solid"/>
                <a:round/>
                <a:headEnd type="none" w="sm" len="sm"/>
                <a:tailEnd type="none" w="sm" len="sm"/>
              </a:ln>
            </p:spPr>
            <p:txBody>
              <a:bodyPr spcFirstLastPara="1" wrap="square" lIns="121900" tIns="121900" rIns="121900" bIns="121900" anchor="ctr" anchorCtr="0">
                <a:noAutofit/>
              </a:bodyPr>
              <a:lstStyle/>
              <a:p>
                <a:pPr algn="ctr" defTabSz="1219170">
                  <a:buClr>
                    <a:srgbClr val="000000"/>
                  </a:buClr>
                </a:pPr>
                <a:endParaRPr sz="1600" kern="0">
                  <a:solidFill>
                    <a:srgbClr val="FFFFFF"/>
                  </a:solidFill>
                  <a:latin typeface="Roboto Medium"/>
                  <a:ea typeface="Roboto Medium"/>
                  <a:cs typeface="Roboto Medium"/>
                  <a:sym typeface="Roboto Medium"/>
                </a:endParaRPr>
              </a:p>
            </p:txBody>
          </p:sp>
          <p:sp>
            <p:nvSpPr>
              <p:cNvPr id="8528" name="Google Shape;8528;p107"/>
              <p:cNvSpPr/>
              <p:nvPr/>
            </p:nvSpPr>
            <p:spPr>
              <a:xfrm rot="6479001">
                <a:off x="5275897" y="3050667"/>
                <a:ext cx="1119386" cy="152834"/>
              </a:xfrm>
              <a:prstGeom prst="rightArrow">
                <a:avLst>
                  <a:gd name="adj1" fmla="val 25514"/>
                  <a:gd name="adj2" fmla="val 64322"/>
                </a:avLst>
              </a:prstGeom>
              <a:solidFill>
                <a:srgbClr val="667E92"/>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8529" name="Google Shape;8529;p107"/>
            <p:cNvGrpSpPr/>
            <p:nvPr/>
          </p:nvGrpSpPr>
          <p:grpSpPr>
            <a:xfrm>
              <a:off x="4869455" y="2691676"/>
              <a:ext cx="1013897" cy="398961"/>
              <a:chOff x="4012057" y="3451825"/>
              <a:chExt cx="1612175" cy="634379"/>
            </a:xfrm>
          </p:grpSpPr>
          <p:sp>
            <p:nvSpPr>
              <p:cNvPr id="8530" name="Google Shape;8530;p107"/>
              <p:cNvSpPr/>
              <p:nvPr/>
            </p:nvSpPr>
            <p:spPr>
              <a:xfrm>
                <a:off x="5059033" y="3451825"/>
                <a:ext cx="565200" cy="565500"/>
              </a:xfrm>
              <a:prstGeom prst="ellipse">
                <a:avLst/>
              </a:prstGeom>
              <a:noFill/>
              <a:ln w="9525" cap="flat" cmpd="sng">
                <a:solidFill>
                  <a:srgbClr val="869FB1"/>
                </a:solidFill>
                <a:prstDash val="solid"/>
                <a:round/>
                <a:headEnd type="none" w="sm" len="sm"/>
                <a:tailEnd type="none" w="sm" len="sm"/>
              </a:ln>
            </p:spPr>
            <p:txBody>
              <a:bodyPr spcFirstLastPara="1" wrap="square" lIns="121900" tIns="121900" rIns="121900" bIns="121900" anchor="ctr" anchorCtr="0">
                <a:noAutofit/>
              </a:bodyPr>
              <a:lstStyle/>
              <a:p>
                <a:pPr algn="ctr" defTabSz="1219170">
                  <a:buClr>
                    <a:srgbClr val="000000"/>
                  </a:buClr>
                </a:pPr>
                <a:endParaRPr sz="1600" kern="0">
                  <a:solidFill>
                    <a:srgbClr val="FFFFFF"/>
                  </a:solidFill>
                  <a:latin typeface="Roboto Medium"/>
                  <a:ea typeface="Roboto Medium"/>
                  <a:cs typeface="Roboto Medium"/>
                  <a:sym typeface="Roboto Medium"/>
                </a:endParaRPr>
              </a:p>
            </p:txBody>
          </p:sp>
          <p:sp>
            <p:nvSpPr>
              <p:cNvPr id="8531" name="Google Shape;8531;p107"/>
              <p:cNvSpPr/>
              <p:nvPr/>
            </p:nvSpPr>
            <p:spPr>
              <a:xfrm rot="10799079">
                <a:off x="4012507" y="3933353"/>
                <a:ext cx="1119600" cy="152703"/>
              </a:xfrm>
              <a:prstGeom prst="rightArrow">
                <a:avLst>
                  <a:gd name="adj1" fmla="val 25514"/>
                  <a:gd name="adj2" fmla="val 64322"/>
                </a:avLst>
              </a:prstGeom>
              <a:solidFill>
                <a:srgbClr val="667E92"/>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8532" name="Google Shape;8532;p107"/>
            <p:cNvGrpSpPr/>
            <p:nvPr/>
          </p:nvGrpSpPr>
          <p:grpSpPr>
            <a:xfrm>
              <a:off x="4276937" y="2155961"/>
              <a:ext cx="651965" cy="891358"/>
              <a:chOff x="3069908" y="2599997"/>
              <a:chExt cx="1036675" cy="1417328"/>
            </a:xfrm>
          </p:grpSpPr>
          <p:sp>
            <p:nvSpPr>
              <p:cNvPr id="8533" name="Google Shape;8533;p107"/>
              <p:cNvSpPr/>
              <p:nvPr/>
            </p:nvSpPr>
            <p:spPr>
              <a:xfrm>
                <a:off x="3541383" y="3451825"/>
                <a:ext cx="565200" cy="565500"/>
              </a:xfrm>
              <a:prstGeom prst="ellipse">
                <a:avLst/>
              </a:prstGeom>
              <a:noFill/>
              <a:ln w="9525" cap="flat" cmpd="sng">
                <a:solidFill>
                  <a:srgbClr val="869FB1"/>
                </a:solidFill>
                <a:prstDash val="solid"/>
                <a:round/>
                <a:headEnd type="none" w="sm" len="sm"/>
                <a:tailEnd type="none" w="sm" len="sm"/>
              </a:ln>
            </p:spPr>
            <p:txBody>
              <a:bodyPr spcFirstLastPara="1" wrap="square" lIns="121900" tIns="121900" rIns="121900" bIns="121900" anchor="ctr" anchorCtr="0">
                <a:noAutofit/>
              </a:bodyPr>
              <a:lstStyle/>
              <a:p>
                <a:pPr algn="ctr" defTabSz="1219170">
                  <a:buClr>
                    <a:srgbClr val="000000"/>
                  </a:buClr>
                </a:pPr>
                <a:endParaRPr sz="1600" kern="0">
                  <a:solidFill>
                    <a:srgbClr val="FFFFFF"/>
                  </a:solidFill>
                  <a:latin typeface="Roboto Medium"/>
                  <a:ea typeface="Roboto Medium"/>
                  <a:cs typeface="Roboto Medium"/>
                  <a:sym typeface="Roboto Medium"/>
                </a:endParaRPr>
              </a:p>
            </p:txBody>
          </p:sp>
          <p:sp>
            <p:nvSpPr>
              <p:cNvPr id="8534" name="Google Shape;8534;p107"/>
              <p:cNvSpPr/>
              <p:nvPr/>
            </p:nvSpPr>
            <p:spPr>
              <a:xfrm rot="-6478717">
                <a:off x="2755922" y="3079191"/>
                <a:ext cx="1119672" cy="153413"/>
              </a:xfrm>
              <a:prstGeom prst="rightArrow">
                <a:avLst>
                  <a:gd name="adj1" fmla="val 25514"/>
                  <a:gd name="adj2" fmla="val 64322"/>
                </a:avLst>
              </a:prstGeom>
              <a:solidFill>
                <a:srgbClr val="667E92"/>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8535" name="Google Shape;8535;p107"/>
            <p:cNvGrpSpPr/>
            <p:nvPr/>
          </p:nvGrpSpPr>
          <p:grpSpPr>
            <a:xfrm>
              <a:off x="5054918" y="1201875"/>
              <a:ext cx="999548" cy="602711"/>
              <a:chOff x="4306958" y="1082925"/>
              <a:chExt cx="1589359" cy="958358"/>
            </a:xfrm>
          </p:grpSpPr>
          <p:sp>
            <p:nvSpPr>
              <p:cNvPr id="8536" name="Google Shape;8536;p107"/>
              <p:cNvSpPr/>
              <p:nvPr/>
            </p:nvSpPr>
            <p:spPr>
              <a:xfrm>
                <a:off x="4306958" y="1082925"/>
                <a:ext cx="565200" cy="565500"/>
              </a:xfrm>
              <a:prstGeom prst="ellipse">
                <a:avLst/>
              </a:prstGeom>
              <a:noFill/>
              <a:ln w="9525" cap="flat" cmpd="sng">
                <a:solidFill>
                  <a:srgbClr val="869FB1"/>
                </a:solidFill>
                <a:prstDash val="solid"/>
                <a:round/>
                <a:headEnd type="none" w="sm" len="sm"/>
                <a:tailEnd type="none" w="sm" len="sm"/>
              </a:ln>
            </p:spPr>
            <p:txBody>
              <a:bodyPr spcFirstLastPara="1" wrap="square" lIns="121900" tIns="121900" rIns="121900" bIns="121900" anchor="ctr" anchorCtr="0">
                <a:noAutofit/>
              </a:bodyPr>
              <a:lstStyle/>
              <a:p>
                <a:pPr algn="ctr" defTabSz="1219170">
                  <a:buClr>
                    <a:srgbClr val="000000"/>
                  </a:buClr>
                </a:pPr>
                <a:endParaRPr sz="1600" kern="0">
                  <a:solidFill>
                    <a:srgbClr val="FFFFFF"/>
                  </a:solidFill>
                  <a:latin typeface="Roboto Medium"/>
                  <a:ea typeface="Roboto Medium"/>
                  <a:cs typeface="Roboto Medium"/>
                  <a:sym typeface="Roboto Medium"/>
                </a:endParaRPr>
              </a:p>
            </p:txBody>
          </p:sp>
          <p:sp>
            <p:nvSpPr>
              <p:cNvPr id="8537" name="Google Shape;8537;p107"/>
              <p:cNvSpPr/>
              <p:nvPr/>
            </p:nvSpPr>
            <p:spPr>
              <a:xfrm rot="2159678">
                <a:off x="4838902" y="1574444"/>
                <a:ext cx="1119431" cy="152476"/>
              </a:xfrm>
              <a:prstGeom prst="rightArrow">
                <a:avLst>
                  <a:gd name="adj1" fmla="val 25514"/>
                  <a:gd name="adj2" fmla="val 64322"/>
                </a:avLst>
              </a:pr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8538" name="Google Shape;8538;p107"/>
            <p:cNvGrpSpPr/>
            <p:nvPr/>
          </p:nvGrpSpPr>
          <p:grpSpPr>
            <a:xfrm>
              <a:off x="4249973" y="1303451"/>
              <a:ext cx="799317" cy="841334"/>
              <a:chOff x="3027033" y="1244439"/>
              <a:chExt cx="1270977" cy="1337786"/>
            </a:xfrm>
          </p:grpSpPr>
          <p:sp>
            <p:nvSpPr>
              <p:cNvPr id="8539" name="Google Shape;8539;p107"/>
              <p:cNvSpPr/>
              <p:nvPr/>
            </p:nvSpPr>
            <p:spPr>
              <a:xfrm>
                <a:off x="3027033" y="2016725"/>
                <a:ext cx="565200" cy="565500"/>
              </a:xfrm>
              <a:prstGeom prst="ellipse">
                <a:avLst/>
              </a:prstGeom>
              <a:noFill/>
              <a:ln w="9525" cap="flat" cmpd="sng">
                <a:solidFill>
                  <a:srgbClr val="869FB1"/>
                </a:solidFill>
                <a:prstDash val="solid"/>
                <a:round/>
                <a:headEnd type="none" w="sm" len="sm"/>
                <a:tailEnd type="none" w="sm" len="sm"/>
              </a:ln>
            </p:spPr>
            <p:txBody>
              <a:bodyPr spcFirstLastPara="1" wrap="square" lIns="121900" tIns="121900" rIns="121900" bIns="121900" anchor="ctr" anchorCtr="0">
                <a:noAutofit/>
              </a:bodyPr>
              <a:lstStyle/>
              <a:p>
                <a:pPr algn="ctr" defTabSz="1219170">
                  <a:buClr>
                    <a:srgbClr val="000000"/>
                  </a:buClr>
                </a:pPr>
                <a:endParaRPr sz="1600" kern="0">
                  <a:solidFill>
                    <a:srgbClr val="FFFFFF"/>
                  </a:solidFill>
                  <a:latin typeface="Roboto Medium"/>
                  <a:ea typeface="Roboto Medium"/>
                  <a:cs typeface="Roboto Medium"/>
                  <a:sym typeface="Roboto Medium"/>
                </a:endParaRPr>
              </a:p>
            </p:txBody>
          </p:sp>
          <p:sp>
            <p:nvSpPr>
              <p:cNvPr id="8540" name="Google Shape;8540;p107"/>
              <p:cNvSpPr/>
              <p:nvPr/>
            </p:nvSpPr>
            <p:spPr>
              <a:xfrm rot="-2159137">
                <a:off x="3240473" y="1559002"/>
                <a:ext cx="1119673" cy="153273"/>
              </a:xfrm>
              <a:prstGeom prst="rightArrow">
                <a:avLst>
                  <a:gd name="adj1" fmla="val 25514"/>
                  <a:gd name="adj2" fmla="val 64322"/>
                </a:avLst>
              </a:prstGeom>
              <a:solidFill>
                <a:srgbClr val="667E92"/>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grpSp>
        <p:nvGrpSpPr>
          <p:cNvPr id="8541" name="Google Shape;8541;p107"/>
          <p:cNvGrpSpPr/>
          <p:nvPr/>
        </p:nvGrpSpPr>
        <p:grpSpPr>
          <a:xfrm>
            <a:off x="974744" y="2759853"/>
            <a:ext cx="1015689" cy="973195"/>
            <a:chOff x="2657744" y="2337745"/>
            <a:chExt cx="832987" cy="798137"/>
          </a:xfrm>
        </p:grpSpPr>
        <p:sp>
          <p:nvSpPr>
            <p:cNvPr id="8542" name="Google Shape;8542;p107"/>
            <p:cNvSpPr/>
            <p:nvPr/>
          </p:nvSpPr>
          <p:spPr>
            <a:xfrm>
              <a:off x="2812050" y="2337745"/>
              <a:ext cx="516050" cy="266400"/>
            </a:xfrm>
            <a:custGeom>
              <a:avLst/>
              <a:gdLst/>
              <a:ahLst/>
              <a:cxnLst/>
              <a:rect l="l" t="t" r="r" b="b"/>
              <a:pathLst>
                <a:path w="20642" h="10656" extrusionOk="0">
                  <a:moveTo>
                    <a:pt x="10321" y="0"/>
                  </a:moveTo>
                  <a:cubicBezTo>
                    <a:pt x="4630" y="0"/>
                    <a:pt x="1" y="4630"/>
                    <a:pt x="1" y="10321"/>
                  </a:cubicBezTo>
                  <a:cubicBezTo>
                    <a:pt x="1" y="10385"/>
                    <a:pt x="2" y="10450"/>
                    <a:pt x="4" y="10514"/>
                  </a:cubicBezTo>
                  <a:cubicBezTo>
                    <a:pt x="1580" y="9686"/>
                    <a:pt x="3307" y="9273"/>
                    <a:pt x="5033" y="9273"/>
                  </a:cubicBezTo>
                  <a:cubicBezTo>
                    <a:pt x="6858" y="9273"/>
                    <a:pt x="8681" y="9735"/>
                    <a:pt x="10321" y="10655"/>
                  </a:cubicBezTo>
                  <a:cubicBezTo>
                    <a:pt x="11962" y="9735"/>
                    <a:pt x="13786" y="9273"/>
                    <a:pt x="15610" y="9273"/>
                  </a:cubicBezTo>
                  <a:cubicBezTo>
                    <a:pt x="17337" y="9273"/>
                    <a:pt x="19065" y="9686"/>
                    <a:pt x="20640" y="10514"/>
                  </a:cubicBezTo>
                  <a:cubicBezTo>
                    <a:pt x="20640" y="10450"/>
                    <a:pt x="20642" y="10385"/>
                    <a:pt x="20642" y="10321"/>
                  </a:cubicBezTo>
                  <a:cubicBezTo>
                    <a:pt x="20642" y="4630"/>
                    <a:pt x="16012" y="0"/>
                    <a:pt x="10321" y="0"/>
                  </a:cubicBezTo>
                  <a:close/>
                </a:path>
              </a:pathLst>
            </a:custGeom>
            <a:noFill/>
            <a:ln w="9525" cap="flat" cmpd="sng">
              <a:solidFill>
                <a:srgbClr val="869FB2"/>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543" name="Google Shape;8543;p107"/>
            <p:cNvSpPr/>
            <p:nvPr/>
          </p:nvSpPr>
          <p:spPr>
            <a:xfrm>
              <a:off x="3113181" y="2645625"/>
              <a:ext cx="377550" cy="476425"/>
            </a:xfrm>
            <a:custGeom>
              <a:avLst/>
              <a:gdLst/>
              <a:ahLst/>
              <a:cxnLst/>
              <a:rect l="l" t="t" r="r" b="b"/>
              <a:pathLst>
                <a:path w="15102" h="19057" extrusionOk="0">
                  <a:moveTo>
                    <a:pt x="10272" y="0"/>
                  </a:moveTo>
                  <a:cubicBezTo>
                    <a:pt x="9934" y="3512"/>
                    <a:pt x="7912" y="6539"/>
                    <a:pt x="5024" y="8262"/>
                  </a:cubicBezTo>
                  <a:cubicBezTo>
                    <a:pt x="5031" y="8418"/>
                    <a:pt x="5036" y="8577"/>
                    <a:pt x="5036" y="8736"/>
                  </a:cubicBezTo>
                  <a:cubicBezTo>
                    <a:pt x="5036" y="12577"/>
                    <a:pt x="3024" y="15957"/>
                    <a:pt x="1" y="17879"/>
                  </a:cubicBezTo>
                  <a:cubicBezTo>
                    <a:pt x="1471" y="18653"/>
                    <a:pt x="3109" y="19056"/>
                    <a:pt x="4771" y="19056"/>
                  </a:cubicBezTo>
                  <a:cubicBezTo>
                    <a:pt x="4774" y="19056"/>
                    <a:pt x="4778" y="19056"/>
                    <a:pt x="4781" y="19056"/>
                  </a:cubicBezTo>
                  <a:cubicBezTo>
                    <a:pt x="10472" y="19056"/>
                    <a:pt x="15102" y="14427"/>
                    <a:pt x="15102" y="8736"/>
                  </a:cubicBezTo>
                  <a:cubicBezTo>
                    <a:pt x="15102" y="5062"/>
                    <a:pt x="13170" y="1831"/>
                    <a:pt x="10272" y="0"/>
                  </a:cubicBezTo>
                  <a:close/>
                </a:path>
              </a:pathLst>
            </a:custGeom>
            <a:noFill/>
            <a:ln w="9525" cap="flat" cmpd="sng">
              <a:solidFill>
                <a:srgbClr val="445D73"/>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544" name="Google Shape;8544;p107"/>
            <p:cNvSpPr/>
            <p:nvPr/>
          </p:nvSpPr>
          <p:spPr>
            <a:xfrm>
              <a:off x="3082750" y="2605975"/>
              <a:ext cx="244675" cy="231900"/>
            </a:xfrm>
            <a:custGeom>
              <a:avLst/>
              <a:gdLst/>
              <a:ahLst/>
              <a:cxnLst/>
              <a:rect l="l" t="t" r="r" b="b"/>
              <a:pathLst>
                <a:path w="9787" h="9276" extrusionOk="0">
                  <a:moveTo>
                    <a:pt x="4781" y="1"/>
                  </a:moveTo>
                  <a:cubicBezTo>
                    <a:pt x="3141" y="1"/>
                    <a:pt x="1499" y="393"/>
                    <a:pt x="1" y="1178"/>
                  </a:cubicBezTo>
                  <a:cubicBezTo>
                    <a:pt x="2747" y="2923"/>
                    <a:pt x="4656" y="5871"/>
                    <a:pt x="4984" y="9276"/>
                  </a:cubicBezTo>
                  <a:cubicBezTo>
                    <a:pt x="7683" y="7574"/>
                    <a:pt x="9542" y="4656"/>
                    <a:pt x="9787" y="1300"/>
                  </a:cubicBezTo>
                  <a:cubicBezTo>
                    <a:pt x="8232" y="434"/>
                    <a:pt x="6507" y="1"/>
                    <a:pt x="4781" y="1"/>
                  </a:cubicBezTo>
                  <a:close/>
                </a:path>
              </a:pathLst>
            </a:custGeom>
            <a:noFill/>
            <a:ln w="9525" cap="flat" cmpd="sng">
              <a:solidFill>
                <a:srgbClr val="667E92"/>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545" name="Google Shape;8545;p107"/>
            <p:cNvSpPr/>
            <p:nvPr/>
          </p:nvSpPr>
          <p:spPr>
            <a:xfrm>
              <a:off x="2657744" y="2659457"/>
              <a:ext cx="377575" cy="476425"/>
            </a:xfrm>
            <a:custGeom>
              <a:avLst/>
              <a:gdLst/>
              <a:ahLst/>
              <a:cxnLst/>
              <a:rect l="l" t="t" r="r" b="b"/>
              <a:pathLst>
                <a:path w="15103" h="19057" extrusionOk="0">
                  <a:moveTo>
                    <a:pt x="4831" y="0"/>
                  </a:moveTo>
                  <a:cubicBezTo>
                    <a:pt x="1931" y="1831"/>
                    <a:pt x="0" y="5062"/>
                    <a:pt x="0" y="8736"/>
                  </a:cubicBezTo>
                  <a:cubicBezTo>
                    <a:pt x="0" y="14427"/>
                    <a:pt x="4631" y="19056"/>
                    <a:pt x="10321" y="19056"/>
                  </a:cubicBezTo>
                  <a:cubicBezTo>
                    <a:pt x="10324" y="19056"/>
                    <a:pt x="10327" y="19056"/>
                    <a:pt x="10331" y="19056"/>
                  </a:cubicBezTo>
                  <a:cubicBezTo>
                    <a:pt x="11993" y="19056"/>
                    <a:pt x="13630" y="18653"/>
                    <a:pt x="15102" y="17879"/>
                  </a:cubicBezTo>
                  <a:cubicBezTo>
                    <a:pt x="12077" y="15957"/>
                    <a:pt x="10068" y="12577"/>
                    <a:pt x="10068" y="8736"/>
                  </a:cubicBezTo>
                  <a:cubicBezTo>
                    <a:pt x="10068" y="8577"/>
                    <a:pt x="10071" y="8418"/>
                    <a:pt x="10079" y="8262"/>
                  </a:cubicBezTo>
                  <a:cubicBezTo>
                    <a:pt x="7192" y="6540"/>
                    <a:pt x="5169" y="3512"/>
                    <a:pt x="4831" y="0"/>
                  </a:cubicBezTo>
                  <a:close/>
                </a:path>
              </a:pathLst>
            </a:custGeom>
            <a:noFill/>
            <a:ln w="9525" cap="flat" cmpd="sng">
              <a:solidFill>
                <a:srgbClr val="869FB1"/>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546" name="Google Shape;8546;p107"/>
            <p:cNvSpPr/>
            <p:nvPr/>
          </p:nvSpPr>
          <p:spPr>
            <a:xfrm>
              <a:off x="2812775" y="2605975"/>
              <a:ext cx="244675" cy="231900"/>
            </a:xfrm>
            <a:custGeom>
              <a:avLst/>
              <a:gdLst/>
              <a:ahLst/>
              <a:cxnLst/>
              <a:rect l="l" t="t" r="r" b="b"/>
              <a:pathLst>
                <a:path w="9787" h="9276" extrusionOk="0">
                  <a:moveTo>
                    <a:pt x="5005" y="1"/>
                  </a:moveTo>
                  <a:cubicBezTo>
                    <a:pt x="3280" y="1"/>
                    <a:pt x="1555" y="434"/>
                    <a:pt x="1" y="1300"/>
                  </a:cubicBezTo>
                  <a:cubicBezTo>
                    <a:pt x="246" y="4658"/>
                    <a:pt x="2103" y="7574"/>
                    <a:pt x="4801" y="9276"/>
                  </a:cubicBezTo>
                  <a:cubicBezTo>
                    <a:pt x="5130" y="5871"/>
                    <a:pt x="7040" y="2923"/>
                    <a:pt x="9786" y="1178"/>
                  </a:cubicBezTo>
                  <a:cubicBezTo>
                    <a:pt x="8288" y="393"/>
                    <a:pt x="6646" y="1"/>
                    <a:pt x="5005" y="1"/>
                  </a:cubicBezTo>
                  <a:close/>
                </a:path>
              </a:pathLst>
            </a:custGeom>
            <a:noFill/>
            <a:ln w="9525" cap="flat" cmpd="sng">
              <a:solidFill>
                <a:srgbClr val="A5B7C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547" name="Google Shape;8547;p107"/>
            <p:cNvSpPr/>
            <p:nvPr/>
          </p:nvSpPr>
          <p:spPr>
            <a:xfrm>
              <a:off x="2944250" y="2859150"/>
              <a:ext cx="251675" cy="226375"/>
            </a:xfrm>
            <a:custGeom>
              <a:avLst/>
              <a:gdLst/>
              <a:ahLst/>
              <a:cxnLst/>
              <a:rect l="l" t="t" r="r" b="b"/>
              <a:pathLst>
                <a:path w="10067" h="9055" extrusionOk="0">
                  <a:moveTo>
                    <a:pt x="4" y="1"/>
                  </a:moveTo>
                  <a:cubicBezTo>
                    <a:pt x="2" y="65"/>
                    <a:pt x="0" y="130"/>
                    <a:pt x="0" y="195"/>
                  </a:cubicBezTo>
                  <a:cubicBezTo>
                    <a:pt x="0" y="3954"/>
                    <a:pt x="2023" y="7250"/>
                    <a:pt x="5033" y="9055"/>
                  </a:cubicBezTo>
                  <a:cubicBezTo>
                    <a:pt x="8045" y="7250"/>
                    <a:pt x="10066" y="3954"/>
                    <a:pt x="10066" y="195"/>
                  </a:cubicBezTo>
                  <a:cubicBezTo>
                    <a:pt x="10066" y="130"/>
                    <a:pt x="10066" y="65"/>
                    <a:pt x="10065" y="1"/>
                  </a:cubicBezTo>
                  <a:cubicBezTo>
                    <a:pt x="8490" y="829"/>
                    <a:pt x="6762" y="1243"/>
                    <a:pt x="5034" y="1243"/>
                  </a:cubicBezTo>
                  <a:cubicBezTo>
                    <a:pt x="3306" y="1243"/>
                    <a:pt x="1578" y="829"/>
                    <a:pt x="4" y="1"/>
                  </a:cubicBezTo>
                  <a:close/>
                </a:path>
              </a:pathLst>
            </a:custGeom>
            <a:noFill/>
            <a:ln w="9525" cap="flat" cmpd="sng">
              <a:solidFill>
                <a:srgbClr val="CFD9E0"/>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8548" name="Google Shape;8548;p107"/>
          <p:cNvGrpSpPr/>
          <p:nvPr/>
        </p:nvGrpSpPr>
        <p:grpSpPr>
          <a:xfrm>
            <a:off x="4322697" y="2764130"/>
            <a:ext cx="914092" cy="964781"/>
            <a:chOff x="3398134" y="2057755"/>
            <a:chExt cx="704087" cy="743130"/>
          </a:xfrm>
        </p:grpSpPr>
        <p:grpSp>
          <p:nvGrpSpPr>
            <p:cNvPr id="8549" name="Google Shape;8549;p107"/>
            <p:cNvGrpSpPr/>
            <p:nvPr/>
          </p:nvGrpSpPr>
          <p:grpSpPr>
            <a:xfrm>
              <a:off x="3398134" y="2290183"/>
              <a:ext cx="315300" cy="219900"/>
              <a:chOff x="3398134" y="2290183"/>
              <a:chExt cx="315300" cy="219900"/>
            </a:xfrm>
          </p:grpSpPr>
          <p:sp>
            <p:nvSpPr>
              <p:cNvPr id="8550" name="Google Shape;8550;p107"/>
              <p:cNvSpPr/>
              <p:nvPr/>
            </p:nvSpPr>
            <p:spPr>
              <a:xfrm>
                <a:off x="3493534" y="2290183"/>
                <a:ext cx="219900" cy="219900"/>
              </a:xfrm>
              <a:prstGeom prst="ellipse">
                <a:avLst/>
              </a:prstGeom>
              <a:noFill/>
              <a:ln w="9525" cap="flat" cmpd="sng">
                <a:solidFill>
                  <a:srgbClr val="435D74"/>
                </a:solidFill>
                <a:prstDash val="solid"/>
                <a:round/>
                <a:headEnd type="none" w="sm" len="sm"/>
                <a:tailEnd type="none" w="sm" len="sm"/>
              </a:ln>
            </p:spPr>
            <p:txBody>
              <a:bodyPr spcFirstLastPara="1" wrap="square" lIns="91433" tIns="45700" rIns="91433" bIns="45700" anchor="ctr" anchorCtr="0">
                <a:noAutofit/>
              </a:bodyPr>
              <a:lstStyle/>
              <a:p>
                <a:pPr algn="ctr" defTabSz="1219170">
                  <a:buClr>
                    <a:srgbClr val="000000"/>
                  </a:buClr>
                </a:pPr>
                <a:endParaRPr sz="1867" kern="0">
                  <a:solidFill>
                    <a:srgbClr val="00C3B1"/>
                  </a:solidFill>
                  <a:latin typeface="Calibri"/>
                  <a:ea typeface="Calibri"/>
                  <a:cs typeface="Calibri"/>
                  <a:sym typeface="Calibri"/>
                </a:endParaRPr>
              </a:p>
            </p:txBody>
          </p:sp>
          <p:cxnSp>
            <p:nvCxnSpPr>
              <p:cNvPr id="8551" name="Google Shape;8551;p107"/>
              <p:cNvCxnSpPr>
                <a:stCxn id="8550" idx="2"/>
              </p:cNvCxnSpPr>
              <p:nvPr/>
            </p:nvCxnSpPr>
            <p:spPr>
              <a:xfrm rot="10800000">
                <a:off x="3398134" y="2400133"/>
                <a:ext cx="95400" cy="0"/>
              </a:xfrm>
              <a:prstGeom prst="straightConnector1">
                <a:avLst/>
              </a:prstGeom>
              <a:noFill/>
              <a:ln w="9525" cap="flat" cmpd="sng">
                <a:solidFill>
                  <a:srgbClr val="435D74"/>
                </a:solidFill>
                <a:prstDash val="solid"/>
                <a:round/>
                <a:headEnd type="none" w="med" len="med"/>
                <a:tailEnd type="none" w="med" len="med"/>
              </a:ln>
            </p:spPr>
          </p:cxnSp>
        </p:grpSp>
        <p:grpSp>
          <p:nvGrpSpPr>
            <p:cNvPr id="8552" name="Google Shape;8552;p107"/>
            <p:cNvGrpSpPr/>
            <p:nvPr/>
          </p:nvGrpSpPr>
          <p:grpSpPr>
            <a:xfrm>
              <a:off x="3547823" y="2467358"/>
              <a:ext cx="219900" cy="333527"/>
              <a:chOff x="3547823" y="2467358"/>
              <a:chExt cx="219900" cy="333527"/>
            </a:xfrm>
          </p:grpSpPr>
          <p:sp>
            <p:nvSpPr>
              <p:cNvPr id="8553" name="Google Shape;8553;p107"/>
              <p:cNvSpPr/>
              <p:nvPr/>
            </p:nvSpPr>
            <p:spPr>
              <a:xfrm>
                <a:off x="3547823" y="2467358"/>
                <a:ext cx="219900" cy="219900"/>
              </a:xfrm>
              <a:prstGeom prst="ellipse">
                <a:avLst/>
              </a:prstGeom>
              <a:noFill/>
              <a:ln w="9525" cap="flat" cmpd="sng">
                <a:solidFill>
                  <a:srgbClr val="5F7D95"/>
                </a:solidFill>
                <a:prstDash val="solid"/>
                <a:round/>
                <a:headEnd type="none" w="sm" len="sm"/>
                <a:tailEnd type="none" w="sm" len="sm"/>
              </a:ln>
            </p:spPr>
            <p:txBody>
              <a:bodyPr spcFirstLastPara="1" wrap="square" lIns="91433" tIns="45700" rIns="91433" bIns="45700" anchor="ctr" anchorCtr="0">
                <a:noAutofit/>
              </a:bodyPr>
              <a:lstStyle/>
              <a:p>
                <a:pPr algn="ctr" defTabSz="1219170">
                  <a:buClr>
                    <a:srgbClr val="000000"/>
                  </a:buClr>
                </a:pPr>
                <a:endParaRPr sz="1867" kern="0">
                  <a:solidFill>
                    <a:srgbClr val="00C3B1"/>
                  </a:solidFill>
                  <a:latin typeface="Calibri"/>
                  <a:ea typeface="Calibri"/>
                  <a:cs typeface="Calibri"/>
                  <a:sym typeface="Calibri"/>
                </a:endParaRPr>
              </a:p>
            </p:txBody>
          </p:sp>
          <p:cxnSp>
            <p:nvCxnSpPr>
              <p:cNvPr id="8554" name="Google Shape;8554;p107"/>
              <p:cNvCxnSpPr/>
              <p:nvPr/>
            </p:nvCxnSpPr>
            <p:spPr>
              <a:xfrm rot="10800000">
                <a:off x="3657701" y="2687185"/>
                <a:ext cx="0" cy="113700"/>
              </a:xfrm>
              <a:prstGeom prst="straightConnector1">
                <a:avLst/>
              </a:prstGeom>
              <a:noFill/>
              <a:ln w="9525" cap="flat" cmpd="sng">
                <a:solidFill>
                  <a:srgbClr val="5F7D95"/>
                </a:solidFill>
                <a:prstDash val="solid"/>
                <a:round/>
                <a:headEnd type="none" w="med" len="med"/>
                <a:tailEnd type="none" w="med" len="med"/>
              </a:ln>
            </p:spPr>
          </p:cxnSp>
        </p:grpSp>
        <p:grpSp>
          <p:nvGrpSpPr>
            <p:cNvPr id="8555" name="Google Shape;8555;p107"/>
            <p:cNvGrpSpPr/>
            <p:nvPr/>
          </p:nvGrpSpPr>
          <p:grpSpPr>
            <a:xfrm>
              <a:off x="3734138" y="2467358"/>
              <a:ext cx="219900" cy="333527"/>
              <a:chOff x="3734138" y="2467358"/>
              <a:chExt cx="219900" cy="333527"/>
            </a:xfrm>
          </p:grpSpPr>
          <p:sp>
            <p:nvSpPr>
              <p:cNvPr id="8556" name="Google Shape;8556;p107"/>
              <p:cNvSpPr/>
              <p:nvPr/>
            </p:nvSpPr>
            <p:spPr>
              <a:xfrm>
                <a:off x="3734138" y="2467358"/>
                <a:ext cx="219900" cy="219900"/>
              </a:xfrm>
              <a:prstGeom prst="ellipse">
                <a:avLst/>
              </a:prstGeom>
              <a:noFill/>
              <a:ln w="9525" cap="flat" cmpd="sng">
                <a:solidFill>
                  <a:srgbClr val="869FB2"/>
                </a:solidFill>
                <a:prstDash val="solid"/>
                <a:round/>
                <a:headEnd type="none" w="sm" len="sm"/>
                <a:tailEnd type="none" w="sm" len="sm"/>
              </a:ln>
            </p:spPr>
            <p:txBody>
              <a:bodyPr spcFirstLastPara="1" wrap="square" lIns="91433" tIns="45700" rIns="91433" bIns="45700" anchor="ctr" anchorCtr="0">
                <a:noAutofit/>
              </a:bodyPr>
              <a:lstStyle/>
              <a:p>
                <a:pPr algn="ctr" defTabSz="1219170">
                  <a:buClr>
                    <a:srgbClr val="000000"/>
                  </a:buClr>
                </a:pPr>
                <a:endParaRPr sz="1867" kern="0">
                  <a:solidFill>
                    <a:srgbClr val="00C3B1"/>
                  </a:solidFill>
                  <a:latin typeface="Calibri"/>
                  <a:ea typeface="Calibri"/>
                  <a:cs typeface="Calibri"/>
                  <a:sym typeface="Calibri"/>
                </a:endParaRPr>
              </a:p>
            </p:txBody>
          </p:sp>
          <p:cxnSp>
            <p:nvCxnSpPr>
              <p:cNvPr id="8557" name="Google Shape;8557;p107"/>
              <p:cNvCxnSpPr/>
              <p:nvPr/>
            </p:nvCxnSpPr>
            <p:spPr>
              <a:xfrm rot="10800000">
                <a:off x="3844020" y="2687185"/>
                <a:ext cx="0" cy="113700"/>
              </a:xfrm>
              <a:prstGeom prst="straightConnector1">
                <a:avLst/>
              </a:prstGeom>
              <a:noFill/>
              <a:ln w="9525" cap="flat" cmpd="sng">
                <a:solidFill>
                  <a:srgbClr val="869FB2"/>
                </a:solidFill>
                <a:prstDash val="solid"/>
                <a:round/>
                <a:headEnd type="none" w="med" len="med"/>
                <a:tailEnd type="none" w="med" len="med"/>
              </a:ln>
            </p:spPr>
          </p:cxnSp>
        </p:grpSp>
        <p:grpSp>
          <p:nvGrpSpPr>
            <p:cNvPr id="8558" name="Google Shape;8558;p107"/>
            <p:cNvGrpSpPr/>
            <p:nvPr/>
          </p:nvGrpSpPr>
          <p:grpSpPr>
            <a:xfrm>
              <a:off x="3787560" y="2288011"/>
              <a:ext cx="314661" cy="219900"/>
              <a:chOff x="3787560" y="2288011"/>
              <a:chExt cx="314661" cy="219900"/>
            </a:xfrm>
          </p:grpSpPr>
          <p:sp>
            <p:nvSpPr>
              <p:cNvPr id="8559" name="Google Shape;8559;p107"/>
              <p:cNvSpPr/>
              <p:nvPr/>
            </p:nvSpPr>
            <p:spPr>
              <a:xfrm>
                <a:off x="3787560" y="2288011"/>
                <a:ext cx="219900" cy="219900"/>
              </a:xfrm>
              <a:prstGeom prst="ellipse">
                <a:avLst/>
              </a:prstGeom>
              <a:noFill/>
              <a:ln w="9525" cap="flat" cmpd="sng">
                <a:solidFill>
                  <a:srgbClr val="A5B7C6"/>
                </a:solidFill>
                <a:prstDash val="solid"/>
                <a:round/>
                <a:headEnd type="none" w="sm" len="sm"/>
                <a:tailEnd type="none" w="sm" len="sm"/>
              </a:ln>
            </p:spPr>
            <p:txBody>
              <a:bodyPr spcFirstLastPara="1" wrap="square" lIns="91433" tIns="45700" rIns="91433" bIns="45700" anchor="ctr" anchorCtr="0">
                <a:noAutofit/>
              </a:bodyPr>
              <a:lstStyle/>
              <a:p>
                <a:pPr algn="ctr" defTabSz="1219170">
                  <a:buClr>
                    <a:srgbClr val="000000"/>
                  </a:buClr>
                </a:pPr>
                <a:endParaRPr sz="1867" kern="0">
                  <a:solidFill>
                    <a:srgbClr val="00C3B1"/>
                  </a:solidFill>
                  <a:latin typeface="Calibri"/>
                  <a:ea typeface="Calibri"/>
                  <a:cs typeface="Calibri"/>
                  <a:sym typeface="Calibri"/>
                </a:endParaRPr>
              </a:p>
            </p:txBody>
          </p:sp>
          <p:cxnSp>
            <p:nvCxnSpPr>
              <p:cNvPr id="8560" name="Google Shape;8560;p107"/>
              <p:cNvCxnSpPr/>
              <p:nvPr/>
            </p:nvCxnSpPr>
            <p:spPr>
              <a:xfrm rot="10800000">
                <a:off x="4007421" y="2400064"/>
                <a:ext cx="94800" cy="0"/>
              </a:xfrm>
              <a:prstGeom prst="straightConnector1">
                <a:avLst/>
              </a:prstGeom>
              <a:noFill/>
              <a:ln w="9525" cap="flat" cmpd="sng">
                <a:solidFill>
                  <a:srgbClr val="A5B7C6"/>
                </a:solidFill>
                <a:prstDash val="solid"/>
                <a:round/>
                <a:headEnd type="none" w="med" len="med"/>
                <a:tailEnd type="none" w="med" len="med"/>
              </a:ln>
            </p:spPr>
          </p:cxnSp>
        </p:grpSp>
        <p:grpSp>
          <p:nvGrpSpPr>
            <p:cNvPr id="8561" name="Google Shape;8561;p107"/>
            <p:cNvGrpSpPr/>
            <p:nvPr/>
          </p:nvGrpSpPr>
          <p:grpSpPr>
            <a:xfrm>
              <a:off x="3637290" y="2057755"/>
              <a:ext cx="219900" cy="335499"/>
              <a:chOff x="3637290" y="2057755"/>
              <a:chExt cx="219900" cy="335499"/>
            </a:xfrm>
          </p:grpSpPr>
          <p:sp>
            <p:nvSpPr>
              <p:cNvPr id="8562" name="Google Shape;8562;p107"/>
              <p:cNvSpPr/>
              <p:nvPr/>
            </p:nvSpPr>
            <p:spPr>
              <a:xfrm>
                <a:off x="3637290" y="2173354"/>
                <a:ext cx="219900" cy="219900"/>
              </a:xfrm>
              <a:prstGeom prst="ellipse">
                <a:avLst/>
              </a:prstGeom>
              <a:noFill/>
              <a:ln w="9525" cap="flat" cmpd="sng">
                <a:solidFill>
                  <a:srgbClr val="BAC8D3"/>
                </a:solidFill>
                <a:prstDash val="solid"/>
                <a:round/>
                <a:headEnd type="none" w="sm" len="sm"/>
                <a:tailEnd type="none" w="sm" len="sm"/>
              </a:ln>
            </p:spPr>
            <p:txBody>
              <a:bodyPr spcFirstLastPara="1" wrap="square" lIns="91433" tIns="45700" rIns="91433" bIns="45700" anchor="ctr" anchorCtr="0">
                <a:noAutofit/>
              </a:bodyPr>
              <a:lstStyle/>
              <a:p>
                <a:pPr algn="ctr" defTabSz="1219170">
                  <a:buClr>
                    <a:srgbClr val="000000"/>
                  </a:buClr>
                </a:pPr>
                <a:endParaRPr sz="1867" kern="0">
                  <a:solidFill>
                    <a:srgbClr val="FFFFFF"/>
                  </a:solidFill>
                  <a:latin typeface="Calibri"/>
                  <a:ea typeface="Calibri"/>
                  <a:cs typeface="Calibri"/>
                  <a:sym typeface="Calibri"/>
                </a:endParaRPr>
              </a:p>
            </p:txBody>
          </p:sp>
          <p:cxnSp>
            <p:nvCxnSpPr>
              <p:cNvPr id="8563" name="Google Shape;8563;p107"/>
              <p:cNvCxnSpPr/>
              <p:nvPr/>
            </p:nvCxnSpPr>
            <p:spPr>
              <a:xfrm rot="10800000">
                <a:off x="3747169" y="2057755"/>
                <a:ext cx="0" cy="113700"/>
              </a:xfrm>
              <a:prstGeom prst="straightConnector1">
                <a:avLst/>
              </a:prstGeom>
              <a:noFill/>
              <a:ln w="9525" cap="flat" cmpd="sng">
                <a:solidFill>
                  <a:srgbClr val="BAC8D3"/>
                </a:solidFill>
                <a:prstDash val="solid"/>
                <a:round/>
                <a:headEnd type="none" w="med" len="med"/>
                <a:tailEnd type="none" w="med" len="med"/>
              </a:ln>
            </p:spPr>
          </p:cxnSp>
        </p:grpSp>
      </p:grpSp>
      <p:grpSp>
        <p:nvGrpSpPr>
          <p:cNvPr id="8564" name="Google Shape;8564;p107"/>
          <p:cNvGrpSpPr/>
          <p:nvPr/>
        </p:nvGrpSpPr>
        <p:grpSpPr>
          <a:xfrm>
            <a:off x="6556326" y="2773057"/>
            <a:ext cx="946871" cy="946871"/>
            <a:chOff x="5007123" y="2079403"/>
            <a:chExt cx="687600" cy="687600"/>
          </a:xfrm>
        </p:grpSpPr>
        <p:sp>
          <p:nvSpPr>
            <p:cNvPr id="8565" name="Google Shape;8565;p107"/>
            <p:cNvSpPr/>
            <p:nvPr/>
          </p:nvSpPr>
          <p:spPr>
            <a:xfrm>
              <a:off x="5007123" y="2079403"/>
              <a:ext cx="687600" cy="687600"/>
            </a:xfrm>
            <a:prstGeom prst="ellipse">
              <a:avLst/>
            </a:prstGeom>
            <a:noFill/>
            <a:ln w="9525" cap="flat" cmpd="sng">
              <a:solidFill>
                <a:srgbClr val="869FB1"/>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566" name="Google Shape;8566;p107"/>
            <p:cNvSpPr/>
            <p:nvPr/>
          </p:nvSpPr>
          <p:spPr>
            <a:xfrm>
              <a:off x="5069448" y="2141702"/>
              <a:ext cx="563100" cy="562800"/>
            </a:xfrm>
            <a:prstGeom prst="ellipse">
              <a:avLst/>
            </a:prstGeom>
            <a:noFill/>
            <a:ln w="9525" cap="flat" cmpd="sng">
              <a:solidFill>
                <a:srgbClr val="869FB2"/>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567" name="Google Shape;8567;p107"/>
            <p:cNvSpPr/>
            <p:nvPr/>
          </p:nvSpPr>
          <p:spPr>
            <a:xfrm>
              <a:off x="5146403" y="2218605"/>
              <a:ext cx="409200" cy="409200"/>
            </a:xfrm>
            <a:prstGeom prst="ellipse">
              <a:avLst/>
            </a:prstGeom>
            <a:noFill/>
            <a:ln w="9525" cap="flat" cmpd="sng">
              <a:solidFill>
                <a:srgbClr val="BAC8D3"/>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568" name="Google Shape;8568;p107"/>
            <p:cNvSpPr/>
            <p:nvPr/>
          </p:nvSpPr>
          <p:spPr>
            <a:xfrm>
              <a:off x="5221891" y="2294066"/>
              <a:ext cx="258300" cy="258300"/>
            </a:xfrm>
            <a:prstGeom prst="ellipse">
              <a:avLst/>
            </a:prstGeom>
            <a:noFill/>
            <a:ln w="9525" cap="flat" cmpd="sng">
              <a:solidFill>
                <a:srgbClr val="E3E9ED"/>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8569" name="Google Shape;8569;p107"/>
          <p:cNvGrpSpPr/>
          <p:nvPr/>
        </p:nvGrpSpPr>
        <p:grpSpPr>
          <a:xfrm>
            <a:off x="7635575" y="2765733"/>
            <a:ext cx="961331" cy="961577"/>
            <a:chOff x="5797446" y="2063053"/>
            <a:chExt cx="698100" cy="698280"/>
          </a:xfrm>
        </p:grpSpPr>
        <p:sp>
          <p:nvSpPr>
            <p:cNvPr id="8570" name="Google Shape;8570;p107"/>
            <p:cNvSpPr/>
            <p:nvPr/>
          </p:nvSpPr>
          <p:spPr>
            <a:xfrm>
              <a:off x="5797446" y="2063053"/>
              <a:ext cx="698100" cy="698100"/>
            </a:xfrm>
            <a:prstGeom prst="ellipse">
              <a:avLst/>
            </a:prstGeom>
            <a:noFill/>
            <a:ln w="9525" cap="flat" cmpd="sng">
              <a:solidFill>
                <a:srgbClr val="869FB1"/>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571" name="Google Shape;8571;p107"/>
            <p:cNvSpPr/>
            <p:nvPr/>
          </p:nvSpPr>
          <p:spPr>
            <a:xfrm>
              <a:off x="5872067" y="2212295"/>
              <a:ext cx="549000" cy="549000"/>
            </a:xfrm>
            <a:prstGeom prst="ellipse">
              <a:avLst/>
            </a:prstGeom>
            <a:noFill/>
            <a:ln w="9525" cap="flat" cmpd="sng">
              <a:solidFill>
                <a:srgbClr val="869FB2"/>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572" name="Google Shape;8572;p107"/>
            <p:cNvSpPr/>
            <p:nvPr/>
          </p:nvSpPr>
          <p:spPr>
            <a:xfrm>
              <a:off x="5921353" y="2310867"/>
              <a:ext cx="450300" cy="450300"/>
            </a:xfrm>
            <a:prstGeom prst="ellipse">
              <a:avLst/>
            </a:prstGeom>
            <a:noFill/>
            <a:ln w="9525" cap="flat" cmpd="sng">
              <a:solidFill>
                <a:srgbClr val="BAC8D3"/>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573" name="Google Shape;8573;p107"/>
            <p:cNvSpPr/>
            <p:nvPr/>
          </p:nvSpPr>
          <p:spPr>
            <a:xfrm>
              <a:off x="5967936" y="2404033"/>
              <a:ext cx="357300" cy="357300"/>
            </a:xfrm>
            <a:prstGeom prst="ellipse">
              <a:avLst/>
            </a:prstGeom>
            <a:noFill/>
            <a:ln w="9525" cap="flat" cmpd="sng">
              <a:solidFill>
                <a:srgbClr val="E3E9ED"/>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8574" name="Google Shape;8574;p107"/>
          <p:cNvGrpSpPr/>
          <p:nvPr/>
        </p:nvGrpSpPr>
        <p:grpSpPr>
          <a:xfrm>
            <a:off x="10895772" y="4959872"/>
            <a:ext cx="374113" cy="897552"/>
            <a:chOff x="8075075" y="3754290"/>
            <a:chExt cx="255612" cy="613194"/>
          </a:xfrm>
        </p:grpSpPr>
        <p:grpSp>
          <p:nvGrpSpPr>
            <p:cNvPr id="8575" name="Google Shape;8575;p107"/>
            <p:cNvGrpSpPr/>
            <p:nvPr/>
          </p:nvGrpSpPr>
          <p:grpSpPr>
            <a:xfrm>
              <a:off x="8075075" y="3754290"/>
              <a:ext cx="255612" cy="613194"/>
              <a:chOff x="8075075" y="3754290"/>
              <a:chExt cx="255612" cy="613194"/>
            </a:xfrm>
          </p:grpSpPr>
          <p:sp>
            <p:nvSpPr>
              <p:cNvPr id="8576" name="Google Shape;8576;p107"/>
              <p:cNvSpPr/>
              <p:nvPr/>
            </p:nvSpPr>
            <p:spPr>
              <a:xfrm>
                <a:off x="8075075" y="4252967"/>
                <a:ext cx="255612" cy="114517"/>
              </a:xfrm>
              <a:custGeom>
                <a:avLst/>
                <a:gdLst/>
                <a:ahLst/>
                <a:cxnLst/>
                <a:rect l="l" t="t" r="r" b="b"/>
                <a:pathLst>
                  <a:path w="16734" h="7497" extrusionOk="0">
                    <a:moveTo>
                      <a:pt x="1" y="1"/>
                    </a:moveTo>
                    <a:lnTo>
                      <a:pt x="8369" y="7496"/>
                    </a:lnTo>
                    <a:lnTo>
                      <a:pt x="16734" y="1"/>
                    </a:lnTo>
                    <a:close/>
                  </a:path>
                </a:pathLst>
              </a:custGeom>
              <a:noFill/>
              <a:ln w="9525" cap="flat" cmpd="sng">
                <a:solidFill>
                  <a:srgbClr val="CFD9E0"/>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577" name="Google Shape;8577;p107"/>
              <p:cNvSpPr/>
              <p:nvPr/>
            </p:nvSpPr>
            <p:spPr>
              <a:xfrm>
                <a:off x="8075075" y="3754290"/>
                <a:ext cx="255612" cy="498713"/>
              </a:xfrm>
              <a:custGeom>
                <a:avLst/>
                <a:gdLst/>
                <a:ahLst/>
                <a:cxnLst/>
                <a:rect l="l" t="t" r="r" b="b"/>
                <a:pathLst>
                  <a:path w="16734" h="32649" extrusionOk="0">
                    <a:moveTo>
                      <a:pt x="8369" y="0"/>
                    </a:moveTo>
                    <a:cubicBezTo>
                      <a:pt x="3747" y="0"/>
                      <a:pt x="1" y="3747"/>
                      <a:pt x="1" y="8366"/>
                    </a:cubicBezTo>
                    <a:lnTo>
                      <a:pt x="1" y="32649"/>
                    </a:lnTo>
                    <a:lnTo>
                      <a:pt x="16734" y="32649"/>
                    </a:lnTo>
                    <a:lnTo>
                      <a:pt x="16734" y="8366"/>
                    </a:lnTo>
                    <a:cubicBezTo>
                      <a:pt x="16734" y="3744"/>
                      <a:pt x="12987" y="0"/>
                      <a:pt x="8369" y="0"/>
                    </a:cubicBezTo>
                    <a:close/>
                  </a:path>
                </a:pathLst>
              </a:custGeom>
              <a:noFill/>
              <a:ln w="9525" cap="flat" cmpd="sng">
                <a:solidFill>
                  <a:srgbClr val="869FB1"/>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sp>
          <p:nvSpPr>
            <p:cNvPr id="8578" name="Google Shape;8578;p107"/>
            <p:cNvSpPr/>
            <p:nvPr/>
          </p:nvSpPr>
          <p:spPr>
            <a:xfrm>
              <a:off x="8107762" y="3782257"/>
              <a:ext cx="190281" cy="190281"/>
            </a:xfrm>
            <a:custGeom>
              <a:avLst/>
              <a:gdLst/>
              <a:ahLst/>
              <a:cxnLst/>
              <a:rect l="l" t="t" r="r" b="b"/>
              <a:pathLst>
                <a:path w="12457" h="12457" extrusionOk="0">
                  <a:moveTo>
                    <a:pt x="6229" y="1"/>
                  </a:moveTo>
                  <a:cubicBezTo>
                    <a:pt x="2788" y="1"/>
                    <a:pt x="1" y="2788"/>
                    <a:pt x="1" y="6229"/>
                  </a:cubicBezTo>
                  <a:cubicBezTo>
                    <a:pt x="1" y="9670"/>
                    <a:pt x="2788" y="12457"/>
                    <a:pt x="6229" y="12457"/>
                  </a:cubicBezTo>
                  <a:cubicBezTo>
                    <a:pt x="9666" y="12457"/>
                    <a:pt x="12457" y="9670"/>
                    <a:pt x="12457" y="6229"/>
                  </a:cubicBezTo>
                  <a:cubicBezTo>
                    <a:pt x="12457" y="2788"/>
                    <a:pt x="9666" y="1"/>
                    <a:pt x="6229" y="1"/>
                  </a:cubicBezTo>
                  <a:close/>
                </a:path>
              </a:pathLst>
            </a:custGeom>
            <a:noFill/>
            <a:ln w="9525" cap="flat" cmpd="sng">
              <a:solidFill>
                <a:srgbClr val="BAC8D3"/>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8579" name="Google Shape;8579;p107"/>
          <p:cNvGrpSpPr/>
          <p:nvPr/>
        </p:nvGrpSpPr>
        <p:grpSpPr>
          <a:xfrm>
            <a:off x="7051849" y="4944934"/>
            <a:ext cx="627136" cy="911660"/>
            <a:chOff x="1697726" y="3244179"/>
            <a:chExt cx="788124" cy="1146069"/>
          </a:xfrm>
        </p:grpSpPr>
        <p:sp>
          <p:nvSpPr>
            <p:cNvPr id="8580" name="Google Shape;8580;p107"/>
            <p:cNvSpPr/>
            <p:nvPr/>
          </p:nvSpPr>
          <p:spPr>
            <a:xfrm>
              <a:off x="1697726" y="3244179"/>
              <a:ext cx="788124" cy="1146069"/>
            </a:xfrm>
            <a:custGeom>
              <a:avLst/>
              <a:gdLst/>
              <a:ahLst/>
              <a:cxnLst/>
              <a:rect l="l" t="t" r="r" b="b"/>
              <a:pathLst>
                <a:path w="30365" h="44156" extrusionOk="0">
                  <a:moveTo>
                    <a:pt x="18841" y="1"/>
                  </a:moveTo>
                  <a:lnTo>
                    <a:pt x="18841" y="3319"/>
                  </a:lnTo>
                  <a:lnTo>
                    <a:pt x="7583" y="3319"/>
                  </a:lnTo>
                  <a:cubicBezTo>
                    <a:pt x="5740" y="3319"/>
                    <a:pt x="4248" y="4814"/>
                    <a:pt x="4248" y="6658"/>
                  </a:cubicBezTo>
                  <a:lnTo>
                    <a:pt x="4248" y="29436"/>
                  </a:lnTo>
                  <a:lnTo>
                    <a:pt x="1" y="29436"/>
                  </a:lnTo>
                  <a:lnTo>
                    <a:pt x="1" y="44155"/>
                  </a:lnTo>
                  <a:lnTo>
                    <a:pt x="14720" y="44155"/>
                  </a:lnTo>
                  <a:lnTo>
                    <a:pt x="14720" y="29436"/>
                  </a:lnTo>
                  <a:lnTo>
                    <a:pt x="10922" y="29436"/>
                  </a:lnTo>
                  <a:lnTo>
                    <a:pt x="10922" y="9993"/>
                  </a:lnTo>
                  <a:lnTo>
                    <a:pt x="18841" y="9993"/>
                  </a:lnTo>
                  <a:lnTo>
                    <a:pt x="18841" y="13311"/>
                  </a:lnTo>
                  <a:lnTo>
                    <a:pt x="30365" y="6658"/>
                  </a:lnTo>
                  <a:lnTo>
                    <a:pt x="18841" y="1"/>
                  </a:lnTo>
                  <a:close/>
                </a:path>
              </a:pathLst>
            </a:custGeom>
            <a:noFill/>
            <a:ln w="9525" cap="flat" cmpd="sng">
              <a:solidFill>
                <a:srgbClr val="869FB1"/>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581" name="Google Shape;8581;p107"/>
            <p:cNvSpPr/>
            <p:nvPr/>
          </p:nvSpPr>
          <p:spPr>
            <a:xfrm>
              <a:off x="1743302" y="4053603"/>
              <a:ext cx="291293" cy="291267"/>
            </a:xfrm>
            <a:custGeom>
              <a:avLst/>
              <a:gdLst/>
              <a:ahLst/>
              <a:cxnLst/>
              <a:rect l="l" t="t" r="r" b="b"/>
              <a:pathLst>
                <a:path w="11223" h="11222" extrusionOk="0">
                  <a:moveTo>
                    <a:pt x="1" y="0"/>
                  </a:moveTo>
                  <a:lnTo>
                    <a:pt x="1" y="11222"/>
                  </a:lnTo>
                  <a:lnTo>
                    <a:pt x="11222" y="11222"/>
                  </a:lnTo>
                  <a:lnTo>
                    <a:pt x="11222" y="0"/>
                  </a:lnTo>
                  <a:close/>
                </a:path>
              </a:pathLst>
            </a:custGeom>
            <a:noFill/>
            <a:ln w="9525" cap="flat" cmpd="sng">
              <a:solidFill>
                <a:srgbClr val="E3E9ED"/>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sp>
        <p:nvSpPr>
          <p:cNvPr id="8582" name="Google Shape;8582;p107"/>
          <p:cNvSpPr/>
          <p:nvPr/>
        </p:nvSpPr>
        <p:spPr>
          <a:xfrm>
            <a:off x="10861801" y="4830271"/>
            <a:ext cx="272" cy="5"/>
          </a:xfrm>
          <a:custGeom>
            <a:avLst/>
            <a:gdLst/>
            <a:ahLst/>
            <a:cxnLst/>
            <a:rect l="l" t="t" r="r" b="b"/>
            <a:pathLst>
              <a:path w="48" h="1" extrusionOk="0">
                <a:moveTo>
                  <a:pt x="48" y="0"/>
                </a:moveTo>
                <a:lnTo>
                  <a:pt x="1" y="0"/>
                </a:lnTo>
                <a:close/>
              </a:path>
            </a:pathLst>
          </a:custGeom>
          <a:solidFill>
            <a:srgbClr val="FFFFFF"/>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nvGrpSpPr>
          <p:cNvPr id="8583" name="Google Shape;8583;p107"/>
          <p:cNvGrpSpPr/>
          <p:nvPr/>
        </p:nvGrpSpPr>
        <p:grpSpPr>
          <a:xfrm>
            <a:off x="7880050" y="4959870"/>
            <a:ext cx="391855" cy="391793"/>
            <a:chOff x="6134814" y="3754290"/>
            <a:chExt cx="293891" cy="293845"/>
          </a:xfrm>
        </p:grpSpPr>
        <p:sp>
          <p:nvSpPr>
            <p:cNvPr id="8584" name="Google Shape;8584;p107"/>
            <p:cNvSpPr/>
            <p:nvPr/>
          </p:nvSpPr>
          <p:spPr>
            <a:xfrm>
              <a:off x="6134814" y="3754290"/>
              <a:ext cx="293891" cy="293845"/>
            </a:xfrm>
            <a:custGeom>
              <a:avLst/>
              <a:gdLst/>
              <a:ahLst/>
              <a:cxnLst/>
              <a:rect l="l" t="t" r="r" b="b"/>
              <a:pathLst>
                <a:path w="19240" h="19237" extrusionOk="0">
                  <a:moveTo>
                    <a:pt x="1" y="0"/>
                  </a:moveTo>
                  <a:lnTo>
                    <a:pt x="1" y="9618"/>
                  </a:lnTo>
                  <a:cubicBezTo>
                    <a:pt x="1" y="14929"/>
                    <a:pt x="4308" y="19236"/>
                    <a:pt x="9619" y="19236"/>
                  </a:cubicBezTo>
                  <a:cubicBezTo>
                    <a:pt x="14933" y="19236"/>
                    <a:pt x="19240" y="14929"/>
                    <a:pt x="19240" y="9618"/>
                  </a:cubicBezTo>
                  <a:cubicBezTo>
                    <a:pt x="19240" y="4307"/>
                    <a:pt x="14933" y="0"/>
                    <a:pt x="9619" y="0"/>
                  </a:cubicBezTo>
                  <a:close/>
                </a:path>
              </a:pathLst>
            </a:custGeom>
            <a:noFill/>
            <a:ln w="9525" cap="flat" cmpd="sng">
              <a:solidFill>
                <a:srgbClr val="869FB1"/>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585" name="Google Shape;8585;p107"/>
            <p:cNvSpPr/>
            <p:nvPr/>
          </p:nvSpPr>
          <p:spPr>
            <a:xfrm>
              <a:off x="6147232" y="3764860"/>
              <a:ext cx="118946" cy="107337"/>
            </a:xfrm>
            <a:custGeom>
              <a:avLst/>
              <a:gdLst/>
              <a:ahLst/>
              <a:cxnLst/>
              <a:rect l="l" t="t" r="r" b="b"/>
              <a:pathLst>
                <a:path w="7787" h="7027" extrusionOk="0">
                  <a:moveTo>
                    <a:pt x="0" y="1"/>
                  </a:moveTo>
                  <a:lnTo>
                    <a:pt x="0" y="7026"/>
                  </a:lnTo>
                  <a:lnTo>
                    <a:pt x="7787" y="1"/>
                  </a:lnTo>
                  <a:close/>
                </a:path>
              </a:pathLst>
            </a:custGeom>
            <a:noFill/>
            <a:ln w="9525" cap="flat" cmpd="sng">
              <a:solidFill>
                <a:srgbClr val="F2F2F2"/>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8586" name="Google Shape;8586;p107"/>
          <p:cNvGrpSpPr/>
          <p:nvPr/>
        </p:nvGrpSpPr>
        <p:grpSpPr>
          <a:xfrm>
            <a:off x="7880050" y="5464766"/>
            <a:ext cx="391855" cy="391855"/>
            <a:chOff x="6134814" y="4086186"/>
            <a:chExt cx="293891" cy="293891"/>
          </a:xfrm>
        </p:grpSpPr>
        <p:sp>
          <p:nvSpPr>
            <p:cNvPr id="8587" name="Google Shape;8587;p107"/>
            <p:cNvSpPr/>
            <p:nvPr/>
          </p:nvSpPr>
          <p:spPr>
            <a:xfrm>
              <a:off x="6134814" y="4086186"/>
              <a:ext cx="293891" cy="293891"/>
            </a:xfrm>
            <a:custGeom>
              <a:avLst/>
              <a:gdLst/>
              <a:ahLst/>
              <a:cxnLst/>
              <a:rect l="l" t="t" r="r" b="b"/>
              <a:pathLst>
                <a:path w="19240" h="19240" extrusionOk="0">
                  <a:moveTo>
                    <a:pt x="1" y="1"/>
                  </a:moveTo>
                  <a:lnTo>
                    <a:pt x="1" y="9619"/>
                  </a:lnTo>
                  <a:cubicBezTo>
                    <a:pt x="1" y="14930"/>
                    <a:pt x="4308" y="19240"/>
                    <a:pt x="9619" y="19240"/>
                  </a:cubicBezTo>
                  <a:cubicBezTo>
                    <a:pt x="14933" y="19240"/>
                    <a:pt x="19240" y="14933"/>
                    <a:pt x="19240" y="9619"/>
                  </a:cubicBezTo>
                  <a:lnTo>
                    <a:pt x="19240" y="1"/>
                  </a:lnTo>
                  <a:close/>
                </a:path>
              </a:pathLst>
            </a:custGeom>
            <a:noFill/>
            <a:ln w="9525" cap="flat" cmpd="sng">
              <a:solidFill>
                <a:srgbClr val="869FB1"/>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588" name="Google Shape;8588;p107"/>
            <p:cNvSpPr/>
            <p:nvPr/>
          </p:nvSpPr>
          <p:spPr>
            <a:xfrm>
              <a:off x="6147232" y="4096771"/>
              <a:ext cx="118946" cy="107322"/>
            </a:xfrm>
            <a:custGeom>
              <a:avLst/>
              <a:gdLst/>
              <a:ahLst/>
              <a:cxnLst/>
              <a:rect l="l" t="t" r="r" b="b"/>
              <a:pathLst>
                <a:path w="7787" h="7026" extrusionOk="0">
                  <a:moveTo>
                    <a:pt x="0" y="0"/>
                  </a:moveTo>
                  <a:lnTo>
                    <a:pt x="0" y="7026"/>
                  </a:lnTo>
                  <a:lnTo>
                    <a:pt x="7787" y="0"/>
                  </a:lnTo>
                  <a:close/>
                </a:path>
              </a:pathLst>
            </a:custGeom>
            <a:noFill/>
            <a:ln w="9525" cap="flat" cmpd="sng">
              <a:solidFill>
                <a:srgbClr val="F2F2F2"/>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sp>
        <p:nvSpPr>
          <p:cNvPr id="8589" name="Google Shape;8589;p107"/>
          <p:cNvSpPr/>
          <p:nvPr/>
        </p:nvSpPr>
        <p:spPr>
          <a:xfrm>
            <a:off x="9264619" y="4958800"/>
            <a:ext cx="812924" cy="897533"/>
          </a:xfrm>
          <a:custGeom>
            <a:avLst/>
            <a:gdLst/>
            <a:ahLst/>
            <a:cxnLst/>
            <a:rect l="l" t="t" r="r" b="b"/>
            <a:pathLst>
              <a:path w="4733" h="5225" extrusionOk="0">
                <a:moveTo>
                  <a:pt x="346" y="0"/>
                </a:moveTo>
                <a:cubicBezTo>
                  <a:pt x="148" y="0"/>
                  <a:pt x="1" y="148"/>
                  <a:pt x="1" y="333"/>
                </a:cubicBezTo>
                <a:lnTo>
                  <a:pt x="1" y="4423"/>
                </a:lnTo>
                <a:cubicBezTo>
                  <a:pt x="1" y="4608"/>
                  <a:pt x="148" y="4756"/>
                  <a:pt x="346" y="4756"/>
                </a:cubicBezTo>
                <a:lnTo>
                  <a:pt x="2046" y="4756"/>
                </a:lnTo>
                <a:lnTo>
                  <a:pt x="2366" y="5224"/>
                </a:lnTo>
                <a:lnTo>
                  <a:pt x="2674" y="4756"/>
                </a:lnTo>
                <a:lnTo>
                  <a:pt x="4387" y="4756"/>
                </a:lnTo>
                <a:cubicBezTo>
                  <a:pt x="4394" y="4757"/>
                  <a:pt x="4400" y="4757"/>
                  <a:pt x="4407" y="4757"/>
                </a:cubicBezTo>
                <a:cubicBezTo>
                  <a:pt x="4583" y="4757"/>
                  <a:pt x="4732" y="4602"/>
                  <a:pt x="4732" y="4423"/>
                </a:cubicBezTo>
                <a:lnTo>
                  <a:pt x="4732" y="333"/>
                </a:lnTo>
                <a:cubicBezTo>
                  <a:pt x="4732" y="148"/>
                  <a:pt x="4572" y="0"/>
                  <a:pt x="4387" y="0"/>
                </a:cubicBezTo>
                <a:close/>
              </a:path>
            </a:pathLst>
          </a:custGeom>
          <a:noFill/>
          <a:ln w="9525" cap="flat" cmpd="sng">
            <a:solidFill>
              <a:srgbClr val="A5B7C6"/>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590" name="Google Shape;8590;p107"/>
          <p:cNvSpPr/>
          <p:nvPr/>
        </p:nvSpPr>
        <p:spPr>
          <a:xfrm rot="10800000">
            <a:off x="8472970" y="4955783"/>
            <a:ext cx="590585" cy="900851"/>
          </a:xfrm>
          <a:custGeom>
            <a:avLst/>
            <a:gdLst/>
            <a:ahLst/>
            <a:cxnLst/>
            <a:rect l="l" t="t" r="r" b="b"/>
            <a:pathLst>
              <a:path w="14910" h="22743" extrusionOk="0">
                <a:moveTo>
                  <a:pt x="7449" y="0"/>
                </a:moveTo>
                <a:cubicBezTo>
                  <a:pt x="7363" y="0"/>
                  <a:pt x="7277" y="40"/>
                  <a:pt x="7219" y="121"/>
                </a:cubicBezTo>
                <a:lnTo>
                  <a:pt x="4981" y="3220"/>
                </a:lnTo>
                <a:lnTo>
                  <a:pt x="1079" y="3220"/>
                </a:lnTo>
                <a:cubicBezTo>
                  <a:pt x="482" y="3220"/>
                  <a:pt x="0" y="3702"/>
                  <a:pt x="0" y="4298"/>
                </a:cubicBezTo>
                <a:lnTo>
                  <a:pt x="0" y="21652"/>
                </a:lnTo>
                <a:cubicBezTo>
                  <a:pt x="0" y="22249"/>
                  <a:pt x="482" y="22742"/>
                  <a:pt x="1079" y="22742"/>
                </a:cubicBezTo>
                <a:lnTo>
                  <a:pt x="13830" y="22742"/>
                </a:lnTo>
                <a:cubicBezTo>
                  <a:pt x="14427" y="22742"/>
                  <a:pt x="14909" y="22249"/>
                  <a:pt x="14909" y="21652"/>
                </a:cubicBezTo>
                <a:lnTo>
                  <a:pt x="14909" y="4298"/>
                </a:lnTo>
                <a:cubicBezTo>
                  <a:pt x="14909" y="3708"/>
                  <a:pt x="14438" y="3219"/>
                  <a:pt x="13851" y="3219"/>
                </a:cubicBezTo>
                <a:cubicBezTo>
                  <a:pt x="13844" y="3219"/>
                  <a:pt x="13837" y="3219"/>
                  <a:pt x="13830" y="3220"/>
                </a:cubicBezTo>
                <a:lnTo>
                  <a:pt x="9916" y="3220"/>
                </a:lnTo>
                <a:lnTo>
                  <a:pt x="7678" y="121"/>
                </a:lnTo>
                <a:cubicBezTo>
                  <a:pt x="7621" y="40"/>
                  <a:pt x="7535" y="0"/>
                  <a:pt x="7449"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nvGrpSpPr>
          <p:cNvPr id="8591" name="Google Shape;8591;p107"/>
          <p:cNvGrpSpPr/>
          <p:nvPr/>
        </p:nvGrpSpPr>
        <p:grpSpPr>
          <a:xfrm>
            <a:off x="10446685" y="3903021"/>
            <a:ext cx="830511" cy="829259"/>
            <a:chOff x="1187048" y="238125"/>
            <a:chExt cx="5256397" cy="5248476"/>
          </a:xfrm>
        </p:grpSpPr>
        <p:sp>
          <p:nvSpPr>
            <p:cNvPr id="8592" name="Google Shape;8592;p107"/>
            <p:cNvSpPr/>
            <p:nvPr/>
          </p:nvSpPr>
          <p:spPr>
            <a:xfrm>
              <a:off x="1188450" y="238125"/>
              <a:ext cx="3198750" cy="2628625"/>
            </a:xfrm>
            <a:custGeom>
              <a:avLst/>
              <a:gdLst/>
              <a:ahLst/>
              <a:cxnLst/>
              <a:rect l="l" t="t" r="r" b="b"/>
              <a:pathLst>
                <a:path w="127950" h="105145" extrusionOk="0">
                  <a:moveTo>
                    <a:pt x="18697" y="0"/>
                  </a:moveTo>
                  <a:cubicBezTo>
                    <a:pt x="8371" y="0"/>
                    <a:pt x="1" y="8371"/>
                    <a:pt x="1" y="18697"/>
                  </a:cubicBezTo>
                  <a:lnTo>
                    <a:pt x="1" y="105145"/>
                  </a:lnTo>
                  <a:lnTo>
                    <a:pt x="36857" y="105145"/>
                  </a:lnTo>
                  <a:cubicBezTo>
                    <a:pt x="35719" y="102283"/>
                    <a:pt x="35385" y="99165"/>
                    <a:pt x="35897" y="96130"/>
                  </a:cubicBezTo>
                  <a:cubicBezTo>
                    <a:pt x="37137" y="88648"/>
                    <a:pt x="43398" y="82793"/>
                    <a:pt x="50957" y="82096"/>
                  </a:cubicBezTo>
                  <a:cubicBezTo>
                    <a:pt x="51501" y="82045"/>
                    <a:pt x="52041" y="82020"/>
                    <a:pt x="52575" y="82020"/>
                  </a:cubicBezTo>
                  <a:cubicBezTo>
                    <a:pt x="61906" y="82020"/>
                    <a:pt x="69475" y="89593"/>
                    <a:pt x="69475" y="98926"/>
                  </a:cubicBezTo>
                  <a:cubicBezTo>
                    <a:pt x="69475" y="101055"/>
                    <a:pt x="69070" y="103165"/>
                    <a:pt x="68283" y="105145"/>
                  </a:cubicBezTo>
                  <a:lnTo>
                    <a:pt x="105145" y="105145"/>
                  </a:lnTo>
                  <a:lnTo>
                    <a:pt x="105145" y="68419"/>
                  </a:lnTo>
                  <a:cubicBezTo>
                    <a:pt x="106958" y="69088"/>
                    <a:pt x="108908" y="69476"/>
                    <a:pt x="110955" y="69476"/>
                  </a:cubicBezTo>
                  <a:cubicBezTo>
                    <a:pt x="111990" y="69476"/>
                    <a:pt x="113050" y="69377"/>
                    <a:pt x="114130" y="69164"/>
                  </a:cubicBezTo>
                  <a:cubicBezTo>
                    <a:pt x="121952" y="67632"/>
                    <a:pt x="127801" y="60687"/>
                    <a:pt x="127866" y="52715"/>
                  </a:cubicBezTo>
                  <a:cubicBezTo>
                    <a:pt x="127950" y="43313"/>
                    <a:pt x="120348" y="35664"/>
                    <a:pt x="110964" y="35664"/>
                  </a:cubicBezTo>
                  <a:cubicBezTo>
                    <a:pt x="108979" y="35670"/>
                    <a:pt x="107005" y="36028"/>
                    <a:pt x="105145" y="36720"/>
                  </a:cubicBezTo>
                  <a:lnTo>
                    <a:pt x="105145" y="0"/>
                  </a:lnTo>
                  <a:close/>
                </a:path>
              </a:pathLst>
            </a:custGeom>
            <a:noFill/>
            <a:ln w="9525" cap="flat" cmpd="sng">
              <a:solidFill>
                <a:srgbClr val="667E92"/>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593" name="Google Shape;8593;p107"/>
            <p:cNvSpPr/>
            <p:nvPr/>
          </p:nvSpPr>
          <p:spPr>
            <a:xfrm>
              <a:off x="1187048" y="2289901"/>
              <a:ext cx="2628362" cy="3196700"/>
            </a:xfrm>
            <a:custGeom>
              <a:avLst/>
              <a:gdLst/>
              <a:ahLst/>
              <a:cxnLst/>
              <a:rect l="l" t="t" r="r" b="b"/>
              <a:pathLst>
                <a:path w="105145" h="127868" extrusionOk="0">
                  <a:moveTo>
                    <a:pt x="52573" y="1"/>
                  </a:moveTo>
                  <a:cubicBezTo>
                    <a:pt x="43236" y="1"/>
                    <a:pt x="35664" y="7567"/>
                    <a:pt x="35664" y="16910"/>
                  </a:cubicBezTo>
                  <a:cubicBezTo>
                    <a:pt x="35670" y="18895"/>
                    <a:pt x="36028" y="20862"/>
                    <a:pt x="36720" y="22722"/>
                  </a:cubicBezTo>
                  <a:lnTo>
                    <a:pt x="0" y="22722"/>
                  </a:lnTo>
                  <a:lnTo>
                    <a:pt x="0" y="110011"/>
                  </a:lnTo>
                  <a:cubicBezTo>
                    <a:pt x="0" y="119872"/>
                    <a:pt x="7995" y="127867"/>
                    <a:pt x="17862" y="127867"/>
                  </a:cubicBezTo>
                  <a:lnTo>
                    <a:pt x="105145" y="127867"/>
                  </a:lnTo>
                  <a:lnTo>
                    <a:pt x="105145" y="91010"/>
                  </a:lnTo>
                  <a:cubicBezTo>
                    <a:pt x="103158" y="91801"/>
                    <a:pt x="101044" y="92206"/>
                    <a:pt x="98916" y="92206"/>
                  </a:cubicBezTo>
                  <a:cubicBezTo>
                    <a:pt x="98350" y="92206"/>
                    <a:pt x="97782" y="92177"/>
                    <a:pt x="97215" y="92119"/>
                  </a:cubicBezTo>
                  <a:cubicBezTo>
                    <a:pt x="88869" y="91267"/>
                    <a:pt x="82269" y="84184"/>
                    <a:pt x="82024" y="75802"/>
                  </a:cubicBezTo>
                  <a:cubicBezTo>
                    <a:pt x="81744" y="66233"/>
                    <a:pt x="89417" y="58393"/>
                    <a:pt x="98920" y="58393"/>
                  </a:cubicBezTo>
                  <a:cubicBezTo>
                    <a:pt x="101055" y="58393"/>
                    <a:pt x="103159" y="58792"/>
                    <a:pt x="105139" y="59585"/>
                  </a:cubicBezTo>
                  <a:lnTo>
                    <a:pt x="105139" y="22728"/>
                  </a:lnTo>
                  <a:lnTo>
                    <a:pt x="68419" y="22728"/>
                  </a:lnTo>
                  <a:cubicBezTo>
                    <a:pt x="69427" y="19992"/>
                    <a:pt x="69796" y="16951"/>
                    <a:pt x="69164" y="13738"/>
                  </a:cubicBezTo>
                  <a:cubicBezTo>
                    <a:pt x="67632" y="5922"/>
                    <a:pt x="60686" y="73"/>
                    <a:pt x="52715" y="2"/>
                  </a:cubicBezTo>
                  <a:cubicBezTo>
                    <a:pt x="52668" y="1"/>
                    <a:pt x="52620" y="1"/>
                    <a:pt x="52573" y="1"/>
                  </a:cubicBezTo>
                  <a:close/>
                </a:path>
              </a:pathLst>
            </a:custGeom>
            <a:noFill/>
            <a:ln w="9525" cap="flat" cmpd="sng">
              <a:solidFill>
                <a:srgbClr val="A5B7C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594" name="Google Shape;8594;p107"/>
            <p:cNvSpPr/>
            <p:nvPr/>
          </p:nvSpPr>
          <p:spPr>
            <a:xfrm>
              <a:off x="3812708" y="244502"/>
              <a:ext cx="2628650" cy="3170611"/>
            </a:xfrm>
            <a:custGeom>
              <a:avLst/>
              <a:gdLst/>
              <a:ahLst/>
              <a:cxnLst/>
              <a:rect l="l" t="t" r="r" b="b"/>
              <a:pathLst>
                <a:path w="105146" h="127873" extrusionOk="0">
                  <a:moveTo>
                    <a:pt x="1" y="1"/>
                  </a:moveTo>
                  <a:lnTo>
                    <a:pt x="1" y="36857"/>
                  </a:lnTo>
                  <a:cubicBezTo>
                    <a:pt x="1988" y="36066"/>
                    <a:pt x="4101" y="35662"/>
                    <a:pt x="6229" y="35662"/>
                  </a:cubicBezTo>
                  <a:cubicBezTo>
                    <a:pt x="6796" y="35662"/>
                    <a:pt x="7364" y="35691"/>
                    <a:pt x="7930" y="35748"/>
                  </a:cubicBezTo>
                  <a:cubicBezTo>
                    <a:pt x="16277" y="36595"/>
                    <a:pt x="22877" y="43684"/>
                    <a:pt x="23121" y="52066"/>
                  </a:cubicBezTo>
                  <a:cubicBezTo>
                    <a:pt x="23396" y="61635"/>
                    <a:pt x="15722" y="69481"/>
                    <a:pt x="6219" y="69481"/>
                  </a:cubicBezTo>
                  <a:cubicBezTo>
                    <a:pt x="4091" y="69475"/>
                    <a:pt x="1980" y="69076"/>
                    <a:pt x="1" y="68289"/>
                  </a:cubicBezTo>
                  <a:lnTo>
                    <a:pt x="1" y="105145"/>
                  </a:lnTo>
                  <a:lnTo>
                    <a:pt x="36720" y="105145"/>
                  </a:lnTo>
                  <a:cubicBezTo>
                    <a:pt x="35719" y="107882"/>
                    <a:pt x="35343" y="110916"/>
                    <a:pt x="35975" y="114130"/>
                  </a:cubicBezTo>
                  <a:cubicBezTo>
                    <a:pt x="37513" y="121952"/>
                    <a:pt x="44459" y="127801"/>
                    <a:pt x="52424" y="127872"/>
                  </a:cubicBezTo>
                  <a:cubicBezTo>
                    <a:pt x="52472" y="127873"/>
                    <a:pt x="52519" y="127873"/>
                    <a:pt x="52567" y="127873"/>
                  </a:cubicBezTo>
                  <a:cubicBezTo>
                    <a:pt x="61909" y="127873"/>
                    <a:pt x="69481" y="120301"/>
                    <a:pt x="69481" y="110964"/>
                  </a:cubicBezTo>
                  <a:cubicBezTo>
                    <a:pt x="69475" y="108979"/>
                    <a:pt x="69118" y="107005"/>
                    <a:pt x="68426" y="105145"/>
                  </a:cubicBezTo>
                  <a:lnTo>
                    <a:pt x="105145" y="105145"/>
                  </a:lnTo>
                  <a:lnTo>
                    <a:pt x="105145" y="16354"/>
                  </a:lnTo>
                  <a:cubicBezTo>
                    <a:pt x="105140" y="7328"/>
                    <a:pt x="97818" y="1"/>
                    <a:pt x="88786" y="1"/>
                  </a:cubicBezTo>
                  <a:close/>
                </a:path>
              </a:pathLst>
            </a:custGeom>
            <a:noFill/>
            <a:ln w="9525" cap="flat" cmpd="sng">
              <a:solidFill>
                <a:srgbClr val="CFD9E0"/>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595" name="Google Shape;8595;p107"/>
            <p:cNvSpPr/>
            <p:nvPr/>
          </p:nvSpPr>
          <p:spPr>
            <a:xfrm>
              <a:off x="3244845" y="2847950"/>
              <a:ext cx="3198600" cy="2628500"/>
            </a:xfrm>
            <a:custGeom>
              <a:avLst/>
              <a:gdLst/>
              <a:ahLst/>
              <a:cxnLst/>
              <a:rect l="l" t="t" r="r" b="b"/>
              <a:pathLst>
                <a:path w="127944" h="105140" extrusionOk="0">
                  <a:moveTo>
                    <a:pt x="22805" y="0"/>
                  </a:moveTo>
                  <a:lnTo>
                    <a:pt x="22805" y="36720"/>
                  </a:lnTo>
                  <a:cubicBezTo>
                    <a:pt x="20992" y="36051"/>
                    <a:pt x="19042" y="35663"/>
                    <a:pt x="16995" y="35663"/>
                  </a:cubicBezTo>
                  <a:cubicBezTo>
                    <a:pt x="15960" y="35663"/>
                    <a:pt x="14900" y="35762"/>
                    <a:pt x="13820" y="35975"/>
                  </a:cubicBezTo>
                  <a:cubicBezTo>
                    <a:pt x="5998" y="37513"/>
                    <a:pt x="150" y="44453"/>
                    <a:pt x="78" y="52424"/>
                  </a:cubicBezTo>
                  <a:cubicBezTo>
                    <a:pt x="1" y="61826"/>
                    <a:pt x="7602" y="69481"/>
                    <a:pt x="16986" y="69481"/>
                  </a:cubicBezTo>
                  <a:cubicBezTo>
                    <a:pt x="18971" y="69475"/>
                    <a:pt x="20945" y="69117"/>
                    <a:pt x="22805" y="68420"/>
                  </a:cubicBezTo>
                  <a:lnTo>
                    <a:pt x="22805" y="105139"/>
                  </a:lnTo>
                  <a:lnTo>
                    <a:pt x="108943" y="105139"/>
                  </a:lnTo>
                  <a:cubicBezTo>
                    <a:pt x="119436" y="105139"/>
                    <a:pt x="127944" y="96631"/>
                    <a:pt x="127944" y="86138"/>
                  </a:cubicBezTo>
                  <a:lnTo>
                    <a:pt x="127944" y="0"/>
                  </a:lnTo>
                  <a:lnTo>
                    <a:pt x="91087" y="0"/>
                  </a:lnTo>
                  <a:cubicBezTo>
                    <a:pt x="92088" y="2510"/>
                    <a:pt x="92470" y="5235"/>
                    <a:pt x="92196" y="7924"/>
                  </a:cubicBezTo>
                  <a:cubicBezTo>
                    <a:pt x="91343" y="16271"/>
                    <a:pt x="84260" y="22870"/>
                    <a:pt x="75878" y="23115"/>
                  </a:cubicBezTo>
                  <a:cubicBezTo>
                    <a:pt x="75708" y="23120"/>
                    <a:pt x="75539" y="23122"/>
                    <a:pt x="75370" y="23122"/>
                  </a:cubicBezTo>
                  <a:cubicBezTo>
                    <a:pt x="66033" y="23122"/>
                    <a:pt x="58469" y="15553"/>
                    <a:pt x="58469" y="6219"/>
                  </a:cubicBezTo>
                  <a:cubicBezTo>
                    <a:pt x="58469" y="4084"/>
                    <a:pt x="58869" y="1980"/>
                    <a:pt x="59662" y="0"/>
                  </a:cubicBezTo>
                  <a:close/>
                </a:path>
              </a:pathLst>
            </a:custGeom>
            <a:noFill/>
            <a:ln w="9525" cap="flat" cmpd="sng">
              <a:solidFill>
                <a:srgbClr val="445D73"/>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8596" name="Google Shape;8596;p107"/>
          <p:cNvGrpSpPr/>
          <p:nvPr/>
        </p:nvGrpSpPr>
        <p:grpSpPr>
          <a:xfrm>
            <a:off x="3056158" y="3915834"/>
            <a:ext cx="1747983" cy="816543"/>
            <a:chOff x="238125" y="1188750"/>
            <a:chExt cx="7140450" cy="3335550"/>
          </a:xfrm>
        </p:grpSpPr>
        <p:sp>
          <p:nvSpPr>
            <p:cNvPr id="8597" name="Google Shape;8597;p107"/>
            <p:cNvSpPr/>
            <p:nvPr/>
          </p:nvSpPr>
          <p:spPr>
            <a:xfrm>
              <a:off x="238125" y="1188750"/>
              <a:ext cx="3507025" cy="1584000"/>
            </a:xfrm>
            <a:custGeom>
              <a:avLst/>
              <a:gdLst/>
              <a:ahLst/>
              <a:cxnLst/>
              <a:rect l="l" t="t" r="r" b="b"/>
              <a:pathLst>
                <a:path w="140281" h="63360" extrusionOk="0">
                  <a:moveTo>
                    <a:pt x="4021" y="0"/>
                  </a:moveTo>
                  <a:cubicBezTo>
                    <a:pt x="1801" y="6"/>
                    <a:pt x="6" y="1801"/>
                    <a:pt x="0" y="4021"/>
                  </a:cubicBezTo>
                  <a:lnTo>
                    <a:pt x="0" y="59338"/>
                  </a:lnTo>
                  <a:cubicBezTo>
                    <a:pt x="6" y="61552"/>
                    <a:pt x="1801" y="63354"/>
                    <a:pt x="4021" y="63359"/>
                  </a:cubicBezTo>
                  <a:lnTo>
                    <a:pt x="98272" y="63359"/>
                  </a:lnTo>
                  <a:cubicBezTo>
                    <a:pt x="99963" y="41512"/>
                    <a:pt x="118098" y="24204"/>
                    <a:pt x="140280" y="23813"/>
                  </a:cubicBezTo>
                  <a:lnTo>
                    <a:pt x="140280" y="4021"/>
                  </a:lnTo>
                  <a:cubicBezTo>
                    <a:pt x="140275" y="1801"/>
                    <a:pt x="138474" y="6"/>
                    <a:pt x="136259" y="0"/>
                  </a:cubicBezTo>
                  <a:close/>
                </a:path>
              </a:pathLst>
            </a:custGeom>
            <a:noFill/>
            <a:ln w="9525" cap="flat" cmpd="sng">
              <a:solidFill>
                <a:srgbClr val="A5B7C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598" name="Google Shape;8598;p107"/>
            <p:cNvSpPr/>
            <p:nvPr/>
          </p:nvSpPr>
          <p:spPr>
            <a:xfrm>
              <a:off x="238125" y="2940300"/>
              <a:ext cx="3507025" cy="1584000"/>
            </a:xfrm>
            <a:custGeom>
              <a:avLst/>
              <a:gdLst/>
              <a:ahLst/>
              <a:cxnLst/>
              <a:rect l="l" t="t" r="r" b="b"/>
              <a:pathLst>
                <a:path w="140281" h="63360" extrusionOk="0">
                  <a:moveTo>
                    <a:pt x="4021" y="1"/>
                  </a:moveTo>
                  <a:cubicBezTo>
                    <a:pt x="1801" y="6"/>
                    <a:pt x="6" y="1808"/>
                    <a:pt x="0" y="4022"/>
                  </a:cubicBezTo>
                  <a:lnTo>
                    <a:pt x="0" y="59339"/>
                  </a:lnTo>
                  <a:cubicBezTo>
                    <a:pt x="6" y="61559"/>
                    <a:pt x="1801" y="63354"/>
                    <a:pt x="4021" y="63360"/>
                  </a:cubicBezTo>
                  <a:lnTo>
                    <a:pt x="136259" y="63360"/>
                  </a:lnTo>
                  <a:cubicBezTo>
                    <a:pt x="138474" y="63354"/>
                    <a:pt x="140275" y="61559"/>
                    <a:pt x="140280" y="59339"/>
                  </a:cubicBezTo>
                  <a:lnTo>
                    <a:pt x="140280" y="39547"/>
                  </a:lnTo>
                  <a:cubicBezTo>
                    <a:pt x="118098" y="39155"/>
                    <a:pt x="99963" y="21848"/>
                    <a:pt x="98272" y="1"/>
                  </a:cubicBezTo>
                  <a:close/>
                </a:path>
              </a:pathLst>
            </a:custGeom>
            <a:noFill/>
            <a:ln w="9525" cap="flat" cmpd="sng">
              <a:solidFill>
                <a:srgbClr val="869FB1"/>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599" name="Google Shape;8599;p107"/>
            <p:cNvSpPr/>
            <p:nvPr/>
          </p:nvSpPr>
          <p:spPr>
            <a:xfrm>
              <a:off x="3871550" y="1188750"/>
              <a:ext cx="3507025" cy="1584000"/>
            </a:xfrm>
            <a:custGeom>
              <a:avLst/>
              <a:gdLst/>
              <a:ahLst/>
              <a:cxnLst/>
              <a:rect l="l" t="t" r="r" b="b"/>
              <a:pathLst>
                <a:path w="140281" h="63360" extrusionOk="0">
                  <a:moveTo>
                    <a:pt x="4022" y="0"/>
                  </a:moveTo>
                  <a:cubicBezTo>
                    <a:pt x="1807" y="6"/>
                    <a:pt x="6" y="1801"/>
                    <a:pt x="0" y="4021"/>
                  </a:cubicBezTo>
                  <a:lnTo>
                    <a:pt x="0" y="24017"/>
                  </a:lnTo>
                  <a:cubicBezTo>
                    <a:pt x="20553" y="26066"/>
                    <a:pt x="36886" y="42675"/>
                    <a:pt x="38494" y="63359"/>
                  </a:cubicBezTo>
                  <a:lnTo>
                    <a:pt x="136260" y="63359"/>
                  </a:lnTo>
                  <a:cubicBezTo>
                    <a:pt x="138480" y="63354"/>
                    <a:pt x="140275" y="61552"/>
                    <a:pt x="140281" y="59338"/>
                  </a:cubicBezTo>
                  <a:lnTo>
                    <a:pt x="140281" y="4021"/>
                  </a:lnTo>
                  <a:cubicBezTo>
                    <a:pt x="140275" y="1801"/>
                    <a:pt x="138480" y="6"/>
                    <a:pt x="136260" y="0"/>
                  </a:cubicBezTo>
                  <a:close/>
                </a:path>
              </a:pathLst>
            </a:custGeom>
            <a:noFill/>
            <a:ln w="9525" cap="flat" cmpd="sng">
              <a:solidFill>
                <a:srgbClr val="869FB1"/>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600" name="Google Shape;8600;p107"/>
            <p:cNvSpPr/>
            <p:nvPr/>
          </p:nvSpPr>
          <p:spPr>
            <a:xfrm>
              <a:off x="3871550" y="2940300"/>
              <a:ext cx="3507025" cy="1584000"/>
            </a:xfrm>
            <a:custGeom>
              <a:avLst/>
              <a:gdLst/>
              <a:ahLst/>
              <a:cxnLst/>
              <a:rect l="l" t="t" r="r" b="b"/>
              <a:pathLst>
                <a:path w="140281" h="63360" extrusionOk="0">
                  <a:moveTo>
                    <a:pt x="38494" y="1"/>
                  </a:moveTo>
                  <a:cubicBezTo>
                    <a:pt x="36886" y="20680"/>
                    <a:pt x="20553" y="37294"/>
                    <a:pt x="0" y="39343"/>
                  </a:cubicBezTo>
                  <a:lnTo>
                    <a:pt x="0" y="59339"/>
                  </a:lnTo>
                  <a:cubicBezTo>
                    <a:pt x="6" y="61559"/>
                    <a:pt x="1807" y="63354"/>
                    <a:pt x="4022" y="63360"/>
                  </a:cubicBezTo>
                  <a:lnTo>
                    <a:pt x="136260" y="63360"/>
                  </a:lnTo>
                  <a:cubicBezTo>
                    <a:pt x="138480" y="63354"/>
                    <a:pt x="140275" y="61559"/>
                    <a:pt x="140281" y="59339"/>
                  </a:cubicBezTo>
                  <a:lnTo>
                    <a:pt x="140281" y="4022"/>
                  </a:lnTo>
                  <a:cubicBezTo>
                    <a:pt x="140275" y="1808"/>
                    <a:pt x="138480" y="6"/>
                    <a:pt x="136260" y="1"/>
                  </a:cubicBezTo>
                  <a:close/>
                </a:path>
              </a:pathLst>
            </a:custGeom>
            <a:noFill/>
            <a:ln w="9525" cap="flat" cmpd="sng">
              <a:solidFill>
                <a:srgbClr val="A5B7C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601" name="Google Shape;8601;p107"/>
            <p:cNvSpPr/>
            <p:nvPr/>
          </p:nvSpPr>
          <p:spPr>
            <a:xfrm>
              <a:off x="2842425" y="1934600"/>
              <a:ext cx="1843850" cy="1843850"/>
            </a:xfrm>
            <a:custGeom>
              <a:avLst/>
              <a:gdLst/>
              <a:ahLst/>
              <a:cxnLst/>
              <a:rect l="l" t="t" r="r" b="b"/>
              <a:pathLst>
                <a:path w="73754" h="73754" extrusionOk="0">
                  <a:moveTo>
                    <a:pt x="36880" y="0"/>
                  </a:moveTo>
                  <a:cubicBezTo>
                    <a:pt x="36621" y="0"/>
                    <a:pt x="36362" y="6"/>
                    <a:pt x="36108" y="11"/>
                  </a:cubicBezTo>
                  <a:cubicBezTo>
                    <a:pt x="17253" y="397"/>
                    <a:pt x="1834" y="15011"/>
                    <a:pt x="154" y="33525"/>
                  </a:cubicBezTo>
                  <a:cubicBezTo>
                    <a:pt x="55" y="34627"/>
                    <a:pt x="0" y="35745"/>
                    <a:pt x="0" y="36874"/>
                  </a:cubicBezTo>
                  <a:cubicBezTo>
                    <a:pt x="0" y="38009"/>
                    <a:pt x="55" y="39122"/>
                    <a:pt x="154" y="40229"/>
                  </a:cubicBezTo>
                  <a:cubicBezTo>
                    <a:pt x="1834" y="58749"/>
                    <a:pt x="17253" y="73357"/>
                    <a:pt x="36108" y="73743"/>
                  </a:cubicBezTo>
                  <a:cubicBezTo>
                    <a:pt x="36362" y="73748"/>
                    <a:pt x="36621" y="73754"/>
                    <a:pt x="36880" y="73754"/>
                  </a:cubicBezTo>
                  <a:cubicBezTo>
                    <a:pt x="38312" y="73754"/>
                    <a:pt x="39744" y="73666"/>
                    <a:pt x="41165" y="73500"/>
                  </a:cubicBezTo>
                  <a:cubicBezTo>
                    <a:pt x="58391" y="71495"/>
                    <a:pt x="72030" y="57581"/>
                    <a:pt x="73600" y="40229"/>
                  </a:cubicBezTo>
                  <a:cubicBezTo>
                    <a:pt x="73699" y="39127"/>
                    <a:pt x="73754" y="38009"/>
                    <a:pt x="73754" y="36874"/>
                  </a:cubicBezTo>
                  <a:cubicBezTo>
                    <a:pt x="73754" y="35745"/>
                    <a:pt x="73699" y="34632"/>
                    <a:pt x="73600" y="33525"/>
                  </a:cubicBezTo>
                  <a:cubicBezTo>
                    <a:pt x="72024" y="16173"/>
                    <a:pt x="58391" y="2259"/>
                    <a:pt x="41165" y="254"/>
                  </a:cubicBezTo>
                  <a:cubicBezTo>
                    <a:pt x="39744" y="88"/>
                    <a:pt x="38312" y="0"/>
                    <a:pt x="36880" y="0"/>
                  </a:cubicBezTo>
                  <a:close/>
                </a:path>
              </a:pathLst>
            </a:custGeom>
            <a:noFill/>
            <a:ln w="9525" cap="flat" cmpd="sng">
              <a:solidFill>
                <a:srgbClr val="E3E9ED"/>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8602" name="Google Shape;8602;p107"/>
          <p:cNvGrpSpPr/>
          <p:nvPr/>
        </p:nvGrpSpPr>
        <p:grpSpPr>
          <a:xfrm>
            <a:off x="8823987" y="3903240"/>
            <a:ext cx="1480399" cy="828936"/>
            <a:chOff x="238125" y="1335475"/>
            <a:chExt cx="5418735" cy="3034175"/>
          </a:xfrm>
        </p:grpSpPr>
        <p:sp>
          <p:nvSpPr>
            <p:cNvPr id="8603" name="Google Shape;8603;p107"/>
            <p:cNvSpPr/>
            <p:nvPr/>
          </p:nvSpPr>
          <p:spPr>
            <a:xfrm>
              <a:off x="3669985" y="1335475"/>
              <a:ext cx="1986875" cy="3034175"/>
            </a:xfrm>
            <a:custGeom>
              <a:avLst/>
              <a:gdLst/>
              <a:ahLst/>
              <a:cxnLst/>
              <a:rect l="l" t="t" r="r" b="b"/>
              <a:pathLst>
                <a:path w="79475" h="121367" extrusionOk="0">
                  <a:moveTo>
                    <a:pt x="1" y="0"/>
                  </a:moveTo>
                  <a:lnTo>
                    <a:pt x="1" y="38997"/>
                  </a:lnTo>
                  <a:cubicBezTo>
                    <a:pt x="588" y="44011"/>
                    <a:pt x="2425" y="48797"/>
                    <a:pt x="5360" y="52918"/>
                  </a:cubicBezTo>
                  <a:lnTo>
                    <a:pt x="9329" y="58469"/>
                  </a:lnTo>
                  <a:cubicBezTo>
                    <a:pt x="10541" y="59694"/>
                    <a:pt x="10541" y="61672"/>
                    <a:pt x="9329" y="62897"/>
                  </a:cubicBezTo>
                  <a:lnTo>
                    <a:pt x="5360" y="68448"/>
                  </a:lnTo>
                  <a:cubicBezTo>
                    <a:pt x="2425" y="72557"/>
                    <a:pt x="588" y="77355"/>
                    <a:pt x="1" y="82370"/>
                  </a:cubicBezTo>
                  <a:lnTo>
                    <a:pt x="1" y="121366"/>
                  </a:lnTo>
                  <a:lnTo>
                    <a:pt x="68743" y="121366"/>
                  </a:lnTo>
                  <a:lnTo>
                    <a:pt x="68743" y="85815"/>
                  </a:lnTo>
                  <a:cubicBezTo>
                    <a:pt x="68743" y="79588"/>
                    <a:pt x="70682" y="73514"/>
                    <a:pt x="74293" y="68448"/>
                  </a:cubicBezTo>
                  <a:lnTo>
                    <a:pt x="78249" y="62897"/>
                  </a:lnTo>
                  <a:cubicBezTo>
                    <a:pt x="79474" y="61672"/>
                    <a:pt x="79474" y="59694"/>
                    <a:pt x="78249" y="58469"/>
                  </a:cubicBezTo>
                  <a:lnTo>
                    <a:pt x="74293" y="52918"/>
                  </a:lnTo>
                  <a:cubicBezTo>
                    <a:pt x="70669" y="47840"/>
                    <a:pt x="68730" y="41778"/>
                    <a:pt x="68730" y="35551"/>
                  </a:cubicBezTo>
                  <a:lnTo>
                    <a:pt x="68730" y="0"/>
                  </a:lnTo>
                  <a:close/>
                </a:path>
              </a:pathLst>
            </a:custGeom>
            <a:noFill/>
            <a:ln w="9525" cap="flat" cmpd="sng">
              <a:solidFill>
                <a:srgbClr val="A5B7C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604" name="Google Shape;8604;p107"/>
            <p:cNvSpPr/>
            <p:nvPr/>
          </p:nvSpPr>
          <p:spPr>
            <a:xfrm>
              <a:off x="1956350" y="1335475"/>
              <a:ext cx="1984950" cy="3034175"/>
            </a:xfrm>
            <a:custGeom>
              <a:avLst/>
              <a:gdLst/>
              <a:ahLst/>
              <a:cxnLst/>
              <a:rect l="l" t="t" r="r" b="b"/>
              <a:pathLst>
                <a:path w="79398" h="121367" extrusionOk="0">
                  <a:moveTo>
                    <a:pt x="0" y="0"/>
                  </a:moveTo>
                  <a:lnTo>
                    <a:pt x="0" y="35551"/>
                  </a:lnTo>
                  <a:cubicBezTo>
                    <a:pt x="0" y="41778"/>
                    <a:pt x="1940" y="47852"/>
                    <a:pt x="5564" y="52918"/>
                  </a:cubicBezTo>
                  <a:lnTo>
                    <a:pt x="9520" y="58469"/>
                  </a:lnTo>
                  <a:cubicBezTo>
                    <a:pt x="10745" y="59694"/>
                    <a:pt x="10745" y="61672"/>
                    <a:pt x="9520" y="62897"/>
                  </a:cubicBezTo>
                  <a:lnTo>
                    <a:pt x="5564" y="68448"/>
                  </a:lnTo>
                  <a:cubicBezTo>
                    <a:pt x="1952" y="73514"/>
                    <a:pt x="0" y="79588"/>
                    <a:pt x="0" y="85815"/>
                  </a:cubicBezTo>
                  <a:lnTo>
                    <a:pt x="0" y="121366"/>
                  </a:lnTo>
                  <a:lnTo>
                    <a:pt x="68665" y="121366"/>
                  </a:lnTo>
                  <a:lnTo>
                    <a:pt x="68665" y="85815"/>
                  </a:lnTo>
                  <a:cubicBezTo>
                    <a:pt x="68665" y="79588"/>
                    <a:pt x="70605" y="73514"/>
                    <a:pt x="74216" y="68448"/>
                  </a:cubicBezTo>
                  <a:lnTo>
                    <a:pt x="78185" y="62897"/>
                  </a:lnTo>
                  <a:cubicBezTo>
                    <a:pt x="79397" y="61672"/>
                    <a:pt x="79397" y="59694"/>
                    <a:pt x="78185" y="58469"/>
                  </a:cubicBezTo>
                  <a:lnTo>
                    <a:pt x="74216" y="52918"/>
                  </a:lnTo>
                  <a:cubicBezTo>
                    <a:pt x="70605" y="47840"/>
                    <a:pt x="68665" y="41778"/>
                    <a:pt x="68665" y="35551"/>
                  </a:cubicBezTo>
                  <a:lnTo>
                    <a:pt x="68665" y="0"/>
                  </a:lnTo>
                  <a:close/>
                </a:path>
              </a:pathLst>
            </a:custGeom>
            <a:noFill/>
            <a:ln w="9525" cap="flat" cmpd="sng">
              <a:solidFill>
                <a:srgbClr val="869FB1"/>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605" name="Google Shape;8605;p107"/>
            <p:cNvSpPr/>
            <p:nvPr/>
          </p:nvSpPr>
          <p:spPr>
            <a:xfrm>
              <a:off x="238125" y="1335475"/>
              <a:ext cx="1986850" cy="3034175"/>
            </a:xfrm>
            <a:custGeom>
              <a:avLst/>
              <a:gdLst/>
              <a:ahLst/>
              <a:cxnLst/>
              <a:rect l="l" t="t" r="r" b="b"/>
              <a:pathLst>
                <a:path w="79474" h="121367" extrusionOk="0">
                  <a:moveTo>
                    <a:pt x="0" y="0"/>
                  </a:moveTo>
                  <a:lnTo>
                    <a:pt x="0" y="121366"/>
                  </a:lnTo>
                  <a:lnTo>
                    <a:pt x="68729" y="121366"/>
                  </a:lnTo>
                  <a:lnTo>
                    <a:pt x="68729" y="85815"/>
                  </a:lnTo>
                  <a:cubicBezTo>
                    <a:pt x="68729" y="79588"/>
                    <a:pt x="70669" y="73514"/>
                    <a:pt x="74293" y="68448"/>
                  </a:cubicBezTo>
                  <a:lnTo>
                    <a:pt x="78249" y="62897"/>
                  </a:lnTo>
                  <a:cubicBezTo>
                    <a:pt x="79474" y="61672"/>
                    <a:pt x="79474" y="59694"/>
                    <a:pt x="78249" y="58469"/>
                  </a:cubicBezTo>
                  <a:lnTo>
                    <a:pt x="74293" y="52918"/>
                  </a:lnTo>
                  <a:cubicBezTo>
                    <a:pt x="70669" y="47840"/>
                    <a:pt x="68729" y="41778"/>
                    <a:pt x="68729" y="35551"/>
                  </a:cubicBezTo>
                  <a:lnTo>
                    <a:pt x="68729" y="0"/>
                  </a:lnTo>
                  <a:close/>
                </a:path>
              </a:pathLst>
            </a:custGeom>
            <a:noFill/>
            <a:ln w="9525" cap="flat" cmpd="sng">
              <a:solidFill>
                <a:srgbClr val="445D73"/>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8606" name="Google Shape;8606;p107"/>
          <p:cNvGrpSpPr/>
          <p:nvPr/>
        </p:nvGrpSpPr>
        <p:grpSpPr>
          <a:xfrm>
            <a:off x="7247533" y="3899104"/>
            <a:ext cx="1432601" cy="836241"/>
            <a:chOff x="5359127" y="2910889"/>
            <a:chExt cx="1097723" cy="640831"/>
          </a:xfrm>
        </p:grpSpPr>
        <p:grpSp>
          <p:nvGrpSpPr>
            <p:cNvPr id="8607" name="Google Shape;8607;p107"/>
            <p:cNvGrpSpPr/>
            <p:nvPr/>
          </p:nvGrpSpPr>
          <p:grpSpPr>
            <a:xfrm>
              <a:off x="5929791" y="3263088"/>
              <a:ext cx="527060" cy="287097"/>
              <a:chOff x="5929791" y="3263088"/>
              <a:chExt cx="527060" cy="287097"/>
            </a:xfrm>
          </p:grpSpPr>
          <p:sp>
            <p:nvSpPr>
              <p:cNvPr id="8608" name="Google Shape;8608;p107"/>
              <p:cNvSpPr/>
              <p:nvPr/>
            </p:nvSpPr>
            <p:spPr>
              <a:xfrm>
                <a:off x="5929791" y="3263088"/>
                <a:ext cx="328465" cy="284502"/>
              </a:xfrm>
              <a:custGeom>
                <a:avLst/>
                <a:gdLst/>
                <a:ahLst/>
                <a:cxnLst/>
                <a:rect l="l" t="t" r="r" b="b"/>
                <a:pathLst>
                  <a:path w="2576195" h="2231390" extrusionOk="0">
                    <a:moveTo>
                      <a:pt x="1288021" y="0"/>
                    </a:moveTo>
                    <a:lnTo>
                      <a:pt x="0" y="2230932"/>
                    </a:lnTo>
                    <a:lnTo>
                      <a:pt x="2576042" y="2230932"/>
                    </a:lnTo>
                    <a:lnTo>
                      <a:pt x="1288021" y="0"/>
                    </a:lnTo>
                    <a:close/>
                  </a:path>
                </a:pathLst>
              </a:custGeom>
              <a:noFill/>
              <a:ln w="9525" cap="flat" cmpd="sng">
                <a:solidFill>
                  <a:srgbClr val="869FB2"/>
                </a:solidFill>
                <a:prstDash val="solid"/>
                <a:round/>
                <a:headEnd type="none" w="sm" len="sm"/>
                <a:tailEnd type="none" w="sm" len="sm"/>
              </a:ln>
            </p:spPr>
            <p:txBody>
              <a:bodyPr spcFirstLastPara="1" wrap="square" lIns="0" tIns="0" rIns="0" bIns="0" anchor="t" anchorCtr="0">
                <a:noAutofit/>
              </a:bodyPr>
              <a:lstStyle/>
              <a:p>
                <a:pPr defTabSz="1219170">
                  <a:buClr>
                    <a:srgbClr val="000000"/>
                  </a:buClr>
                </a:pPr>
                <a:endParaRPr sz="1200" kern="0">
                  <a:solidFill>
                    <a:srgbClr val="000000"/>
                  </a:solidFill>
                  <a:latin typeface="Arial"/>
                  <a:cs typeface="Arial"/>
                  <a:sym typeface="Arial"/>
                </a:endParaRPr>
              </a:p>
            </p:txBody>
          </p:sp>
          <p:sp>
            <p:nvSpPr>
              <p:cNvPr id="8609" name="Google Shape;8609;p107"/>
              <p:cNvSpPr/>
              <p:nvPr/>
            </p:nvSpPr>
            <p:spPr>
              <a:xfrm>
                <a:off x="6247886" y="3331025"/>
                <a:ext cx="208964" cy="219161"/>
              </a:xfrm>
              <a:custGeom>
                <a:avLst/>
                <a:gdLst/>
                <a:ahLst/>
                <a:cxnLst/>
                <a:rect l="l" t="t" r="r" b="b"/>
                <a:pathLst>
                  <a:path w="1638934" h="2306954" extrusionOk="0">
                    <a:moveTo>
                      <a:pt x="1638680" y="0"/>
                    </a:moveTo>
                    <a:lnTo>
                      <a:pt x="697255" y="0"/>
                    </a:lnTo>
                    <a:lnTo>
                      <a:pt x="697255" y="2306535"/>
                    </a:lnTo>
                    <a:lnTo>
                      <a:pt x="0" y="2306535"/>
                    </a:lnTo>
                  </a:path>
                </a:pathLst>
              </a:custGeom>
              <a:noFill/>
              <a:ln w="9525" cap="flat" cmpd="sng">
                <a:solidFill>
                  <a:srgbClr val="869FB2"/>
                </a:solidFill>
                <a:prstDash val="solid"/>
                <a:round/>
                <a:headEnd type="none" w="sm" len="sm"/>
                <a:tailEnd type="none" w="sm" len="sm"/>
              </a:ln>
            </p:spPr>
            <p:txBody>
              <a:bodyPr spcFirstLastPara="1" wrap="square" lIns="0" tIns="0" rIns="0" bIns="0" anchor="t" anchorCtr="0">
                <a:noAutofit/>
              </a:bodyPr>
              <a:lstStyle/>
              <a:p>
                <a:pPr defTabSz="1219170">
                  <a:buClr>
                    <a:srgbClr val="000000"/>
                  </a:buClr>
                </a:pPr>
                <a:endParaRPr sz="1200" kern="0">
                  <a:solidFill>
                    <a:srgbClr val="000000"/>
                  </a:solidFill>
                  <a:latin typeface="Arial"/>
                  <a:cs typeface="Arial"/>
                  <a:sym typeface="Arial"/>
                </a:endParaRPr>
              </a:p>
            </p:txBody>
          </p:sp>
        </p:grpSp>
        <p:grpSp>
          <p:nvGrpSpPr>
            <p:cNvPr id="8610" name="Google Shape;8610;p107"/>
            <p:cNvGrpSpPr/>
            <p:nvPr/>
          </p:nvGrpSpPr>
          <p:grpSpPr>
            <a:xfrm>
              <a:off x="5359127" y="3263089"/>
              <a:ext cx="526428" cy="288631"/>
              <a:chOff x="5359127" y="3263089"/>
              <a:chExt cx="526428" cy="288631"/>
            </a:xfrm>
          </p:grpSpPr>
          <p:sp>
            <p:nvSpPr>
              <p:cNvPr id="8611" name="Google Shape;8611;p107"/>
              <p:cNvSpPr/>
              <p:nvPr/>
            </p:nvSpPr>
            <p:spPr>
              <a:xfrm>
                <a:off x="5557090" y="3263089"/>
                <a:ext cx="328465" cy="284502"/>
              </a:xfrm>
              <a:custGeom>
                <a:avLst/>
                <a:gdLst/>
                <a:ahLst/>
                <a:cxnLst/>
                <a:rect l="l" t="t" r="r" b="b"/>
                <a:pathLst>
                  <a:path w="2576195" h="2231390" extrusionOk="0">
                    <a:moveTo>
                      <a:pt x="1288034" y="0"/>
                    </a:moveTo>
                    <a:lnTo>
                      <a:pt x="0" y="2230920"/>
                    </a:lnTo>
                    <a:lnTo>
                      <a:pt x="2576055" y="2230920"/>
                    </a:lnTo>
                    <a:lnTo>
                      <a:pt x="1288034" y="0"/>
                    </a:lnTo>
                    <a:close/>
                  </a:path>
                </a:pathLst>
              </a:custGeom>
              <a:noFill/>
              <a:ln w="9525" cap="flat" cmpd="sng">
                <a:solidFill>
                  <a:srgbClr val="5F7D95"/>
                </a:solidFill>
                <a:prstDash val="solid"/>
                <a:round/>
                <a:headEnd type="none" w="sm" len="sm"/>
                <a:tailEnd type="none" w="sm" len="sm"/>
              </a:ln>
            </p:spPr>
            <p:txBody>
              <a:bodyPr spcFirstLastPara="1" wrap="square" lIns="0" tIns="0" rIns="0" bIns="0" anchor="t" anchorCtr="0">
                <a:noAutofit/>
              </a:bodyPr>
              <a:lstStyle/>
              <a:p>
                <a:pPr defTabSz="1219170">
                  <a:buClr>
                    <a:srgbClr val="000000"/>
                  </a:buClr>
                </a:pPr>
                <a:endParaRPr sz="1200" kern="0">
                  <a:solidFill>
                    <a:srgbClr val="000000"/>
                  </a:solidFill>
                  <a:latin typeface="Arial"/>
                  <a:cs typeface="Arial"/>
                  <a:sym typeface="Arial"/>
                </a:endParaRPr>
              </a:p>
            </p:txBody>
          </p:sp>
          <p:sp>
            <p:nvSpPr>
              <p:cNvPr id="8612" name="Google Shape;8612;p107"/>
              <p:cNvSpPr/>
              <p:nvPr/>
            </p:nvSpPr>
            <p:spPr>
              <a:xfrm flipH="1">
                <a:off x="5359127" y="3332559"/>
                <a:ext cx="208964" cy="219161"/>
              </a:xfrm>
              <a:custGeom>
                <a:avLst/>
                <a:gdLst/>
                <a:ahLst/>
                <a:cxnLst/>
                <a:rect l="l" t="t" r="r" b="b"/>
                <a:pathLst>
                  <a:path w="1638934" h="2306954" extrusionOk="0">
                    <a:moveTo>
                      <a:pt x="1638680" y="0"/>
                    </a:moveTo>
                    <a:lnTo>
                      <a:pt x="697255" y="0"/>
                    </a:lnTo>
                    <a:lnTo>
                      <a:pt x="697255" y="2306535"/>
                    </a:lnTo>
                    <a:lnTo>
                      <a:pt x="0" y="2306535"/>
                    </a:lnTo>
                  </a:path>
                </a:pathLst>
              </a:custGeom>
              <a:noFill/>
              <a:ln w="9525" cap="flat" cmpd="sng">
                <a:solidFill>
                  <a:srgbClr val="5F7D95"/>
                </a:solidFill>
                <a:prstDash val="solid"/>
                <a:round/>
                <a:headEnd type="none" w="sm" len="sm"/>
                <a:tailEnd type="none" w="sm" len="sm"/>
              </a:ln>
            </p:spPr>
            <p:txBody>
              <a:bodyPr spcFirstLastPara="1" wrap="square" lIns="0" tIns="0" rIns="0" bIns="0" anchor="t" anchorCtr="0">
                <a:noAutofit/>
              </a:bodyPr>
              <a:lstStyle/>
              <a:p>
                <a:pPr defTabSz="1219170">
                  <a:buClr>
                    <a:srgbClr val="000000"/>
                  </a:buClr>
                </a:pPr>
                <a:endParaRPr sz="1200" kern="0">
                  <a:solidFill>
                    <a:srgbClr val="000000"/>
                  </a:solidFill>
                  <a:latin typeface="Arial"/>
                  <a:cs typeface="Arial"/>
                  <a:sym typeface="Arial"/>
                </a:endParaRPr>
              </a:p>
            </p:txBody>
          </p:sp>
        </p:grpSp>
        <p:grpSp>
          <p:nvGrpSpPr>
            <p:cNvPr id="8613" name="Google Shape;8613;p107"/>
            <p:cNvGrpSpPr/>
            <p:nvPr/>
          </p:nvGrpSpPr>
          <p:grpSpPr>
            <a:xfrm>
              <a:off x="5551525" y="2910889"/>
              <a:ext cx="520901" cy="610283"/>
              <a:chOff x="5551525" y="2910889"/>
              <a:chExt cx="520901" cy="610283"/>
            </a:xfrm>
          </p:grpSpPr>
          <p:sp>
            <p:nvSpPr>
              <p:cNvPr id="8614" name="Google Shape;8614;p107"/>
              <p:cNvSpPr/>
              <p:nvPr/>
            </p:nvSpPr>
            <p:spPr>
              <a:xfrm>
                <a:off x="5743962" y="3236669"/>
                <a:ext cx="328465" cy="284502"/>
              </a:xfrm>
              <a:custGeom>
                <a:avLst/>
                <a:gdLst/>
                <a:ahLst/>
                <a:cxnLst/>
                <a:rect l="l" t="t" r="r" b="b"/>
                <a:pathLst>
                  <a:path w="2576195" h="2231390" extrusionOk="0">
                    <a:moveTo>
                      <a:pt x="2576042" y="0"/>
                    </a:moveTo>
                    <a:lnTo>
                      <a:pt x="0" y="0"/>
                    </a:lnTo>
                    <a:lnTo>
                      <a:pt x="1288021" y="2230920"/>
                    </a:lnTo>
                    <a:lnTo>
                      <a:pt x="2576042" y="0"/>
                    </a:lnTo>
                    <a:close/>
                  </a:path>
                </a:pathLst>
              </a:custGeom>
              <a:noFill/>
              <a:ln w="9525" cap="flat" cmpd="sng">
                <a:solidFill>
                  <a:srgbClr val="E3E9ED"/>
                </a:solidFill>
                <a:prstDash val="solid"/>
                <a:round/>
                <a:headEnd type="none" w="sm" len="sm"/>
                <a:tailEnd type="none" w="sm" len="sm"/>
              </a:ln>
            </p:spPr>
            <p:txBody>
              <a:bodyPr spcFirstLastPara="1" wrap="square" lIns="0" tIns="0" rIns="0" bIns="0" anchor="t" anchorCtr="0">
                <a:noAutofit/>
              </a:bodyPr>
              <a:lstStyle/>
              <a:p>
                <a:pPr defTabSz="1219170">
                  <a:buClr>
                    <a:srgbClr val="000000"/>
                  </a:buClr>
                </a:pPr>
                <a:endParaRPr sz="1200" kern="0">
                  <a:solidFill>
                    <a:srgbClr val="000000"/>
                  </a:solidFill>
                  <a:latin typeface="Arial"/>
                  <a:cs typeface="Arial"/>
                  <a:sym typeface="Arial"/>
                </a:endParaRPr>
              </a:p>
            </p:txBody>
          </p:sp>
          <p:sp>
            <p:nvSpPr>
              <p:cNvPr id="8615" name="Google Shape;8615;p107"/>
              <p:cNvSpPr/>
              <p:nvPr/>
            </p:nvSpPr>
            <p:spPr>
              <a:xfrm flipH="1">
                <a:off x="5551525" y="2910889"/>
                <a:ext cx="208964" cy="328741"/>
              </a:xfrm>
              <a:custGeom>
                <a:avLst/>
                <a:gdLst/>
                <a:ahLst/>
                <a:cxnLst/>
                <a:rect l="l" t="t" r="r" b="b"/>
                <a:pathLst>
                  <a:path w="1638934" h="2306954" extrusionOk="0">
                    <a:moveTo>
                      <a:pt x="1638680" y="0"/>
                    </a:moveTo>
                    <a:lnTo>
                      <a:pt x="697255" y="0"/>
                    </a:lnTo>
                    <a:lnTo>
                      <a:pt x="697255" y="2306535"/>
                    </a:lnTo>
                    <a:lnTo>
                      <a:pt x="0" y="2306535"/>
                    </a:lnTo>
                  </a:path>
                </a:pathLst>
              </a:custGeom>
              <a:noFill/>
              <a:ln w="9525" cap="flat" cmpd="sng">
                <a:solidFill>
                  <a:srgbClr val="E3E9ED"/>
                </a:solidFill>
                <a:prstDash val="solid"/>
                <a:round/>
                <a:headEnd type="none" w="sm" len="sm"/>
                <a:tailEnd type="none" w="sm" len="sm"/>
              </a:ln>
            </p:spPr>
            <p:txBody>
              <a:bodyPr spcFirstLastPara="1" wrap="square" lIns="0" tIns="0" rIns="0" bIns="0" anchor="t" anchorCtr="0">
                <a:noAutofit/>
              </a:bodyPr>
              <a:lstStyle/>
              <a:p>
                <a:pPr defTabSz="1219170">
                  <a:buClr>
                    <a:srgbClr val="000000"/>
                  </a:buClr>
                </a:pPr>
                <a:endParaRPr sz="1200" kern="0">
                  <a:solidFill>
                    <a:srgbClr val="000000"/>
                  </a:solidFill>
                  <a:latin typeface="Arial"/>
                  <a:cs typeface="Arial"/>
                  <a:sym typeface="Arial"/>
                </a:endParaRPr>
              </a:p>
            </p:txBody>
          </p:sp>
        </p:grpSp>
        <p:grpSp>
          <p:nvGrpSpPr>
            <p:cNvPr id="8616" name="Google Shape;8616;p107"/>
            <p:cNvGrpSpPr/>
            <p:nvPr/>
          </p:nvGrpSpPr>
          <p:grpSpPr>
            <a:xfrm>
              <a:off x="5743962" y="2919100"/>
              <a:ext cx="623674" cy="284502"/>
              <a:chOff x="5743962" y="2919100"/>
              <a:chExt cx="623674" cy="284502"/>
            </a:xfrm>
          </p:grpSpPr>
          <p:sp>
            <p:nvSpPr>
              <p:cNvPr id="8617" name="Google Shape;8617;p107"/>
              <p:cNvSpPr/>
              <p:nvPr/>
            </p:nvSpPr>
            <p:spPr>
              <a:xfrm>
                <a:off x="5743962" y="2919100"/>
                <a:ext cx="328465" cy="284502"/>
              </a:xfrm>
              <a:custGeom>
                <a:avLst/>
                <a:gdLst/>
                <a:ahLst/>
                <a:cxnLst/>
                <a:rect l="l" t="t" r="r" b="b"/>
                <a:pathLst>
                  <a:path w="2576195" h="2231390" extrusionOk="0">
                    <a:moveTo>
                      <a:pt x="1288021" y="0"/>
                    </a:moveTo>
                    <a:lnTo>
                      <a:pt x="0" y="2230920"/>
                    </a:lnTo>
                    <a:lnTo>
                      <a:pt x="2576042" y="2230920"/>
                    </a:lnTo>
                    <a:lnTo>
                      <a:pt x="1288021" y="0"/>
                    </a:lnTo>
                    <a:close/>
                  </a:path>
                </a:pathLst>
              </a:custGeom>
              <a:noFill/>
              <a:ln w="9525" cap="flat" cmpd="sng">
                <a:solidFill>
                  <a:srgbClr val="435D74"/>
                </a:solidFill>
                <a:prstDash val="solid"/>
                <a:round/>
                <a:headEnd type="none" w="sm" len="sm"/>
                <a:tailEnd type="none" w="sm" len="sm"/>
              </a:ln>
            </p:spPr>
            <p:txBody>
              <a:bodyPr spcFirstLastPara="1" wrap="square" lIns="0" tIns="0" rIns="0" bIns="0" anchor="t" anchorCtr="0">
                <a:noAutofit/>
              </a:bodyPr>
              <a:lstStyle/>
              <a:p>
                <a:pPr defTabSz="1219170">
                  <a:buClr>
                    <a:srgbClr val="000000"/>
                  </a:buClr>
                </a:pPr>
                <a:endParaRPr sz="1200" kern="0">
                  <a:solidFill>
                    <a:srgbClr val="000000"/>
                  </a:solidFill>
                  <a:latin typeface="Arial"/>
                  <a:cs typeface="Arial"/>
                  <a:sym typeface="Arial"/>
                </a:endParaRPr>
              </a:p>
            </p:txBody>
          </p:sp>
          <p:sp>
            <p:nvSpPr>
              <p:cNvPr id="8618" name="Google Shape;8618;p107"/>
              <p:cNvSpPr/>
              <p:nvPr/>
            </p:nvSpPr>
            <p:spPr>
              <a:xfrm>
                <a:off x="6060335" y="2920591"/>
                <a:ext cx="307300" cy="282602"/>
              </a:xfrm>
              <a:custGeom>
                <a:avLst/>
                <a:gdLst/>
                <a:ahLst/>
                <a:cxnLst/>
                <a:rect l="l" t="t" r="r" b="b"/>
                <a:pathLst>
                  <a:path w="1638934" h="2306954" extrusionOk="0">
                    <a:moveTo>
                      <a:pt x="1638680" y="0"/>
                    </a:moveTo>
                    <a:lnTo>
                      <a:pt x="697255" y="0"/>
                    </a:lnTo>
                    <a:lnTo>
                      <a:pt x="697255" y="2306535"/>
                    </a:lnTo>
                    <a:lnTo>
                      <a:pt x="0" y="2306535"/>
                    </a:lnTo>
                  </a:path>
                </a:pathLst>
              </a:custGeom>
              <a:noFill/>
              <a:ln w="9525" cap="flat" cmpd="sng">
                <a:solidFill>
                  <a:srgbClr val="435D74"/>
                </a:solidFill>
                <a:prstDash val="solid"/>
                <a:round/>
                <a:headEnd type="none" w="sm" len="sm"/>
                <a:tailEnd type="none" w="sm" len="sm"/>
              </a:ln>
            </p:spPr>
            <p:txBody>
              <a:bodyPr spcFirstLastPara="1" wrap="square" lIns="0" tIns="0" rIns="0" bIns="0" anchor="t" anchorCtr="0">
                <a:noAutofit/>
              </a:bodyPr>
              <a:lstStyle/>
              <a:p>
                <a:pPr defTabSz="1219170">
                  <a:buClr>
                    <a:srgbClr val="000000"/>
                  </a:buClr>
                </a:pPr>
                <a:endParaRPr sz="1200" kern="0">
                  <a:solidFill>
                    <a:srgbClr val="000000"/>
                  </a:solidFill>
                  <a:latin typeface="Arial"/>
                  <a:cs typeface="Arial"/>
                  <a:sym typeface="Arial"/>
                </a:endParaRPr>
              </a:p>
            </p:txBody>
          </p:sp>
        </p:grpSp>
      </p:grpSp>
      <p:grpSp>
        <p:nvGrpSpPr>
          <p:cNvPr id="8619" name="Google Shape;8619;p107"/>
          <p:cNvGrpSpPr/>
          <p:nvPr/>
        </p:nvGrpSpPr>
        <p:grpSpPr>
          <a:xfrm>
            <a:off x="10115817" y="2766717"/>
            <a:ext cx="1166635" cy="959467"/>
            <a:chOff x="7608988" y="2093194"/>
            <a:chExt cx="817276" cy="672147"/>
          </a:xfrm>
        </p:grpSpPr>
        <p:cxnSp>
          <p:nvCxnSpPr>
            <p:cNvPr id="8620" name="Google Shape;8620;p107"/>
            <p:cNvCxnSpPr/>
            <p:nvPr/>
          </p:nvCxnSpPr>
          <p:spPr>
            <a:xfrm rot="5400000" flipH="1">
              <a:off x="7620257" y="2136491"/>
              <a:ext cx="129900" cy="111300"/>
            </a:xfrm>
            <a:prstGeom prst="bentConnector3">
              <a:avLst>
                <a:gd name="adj1" fmla="val 50000"/>
              </a:avLst>
            </a:prstGeom>
            <a:noFill/>
            <a:ln w="9525" cap="flat" cmpd="sng">
              <a:solidFill>
                <a:srgbClr val="667E92"/>
              </a:solidFill>
              <a:prstDash val="solid"/>
              <a:round/>
              <a:headEnd type="none" w="med" len="med"/>
              <a:tailEnd type="none" w="med" len="med"/>
            </a:ln>
          </p:spPr>
        </p:cxnSp>
        <p:cxnSp>
          <p:nvCxnSpPr>
            <p:cNvPr id="8621" name="Google Shape;8621;p107"/>
            <p:cNvCxnSpPr/>
            <p:nvPr/>
          </p:nvCxnSpPr>
          <p:spPr>
            <a:xfrm rot="-5400000">
              <a:off x="8285120" y="2136491"/>
              <a:ext cx="129900" cy="111300"/>
            </a:xfrm>
            <a:prstGeom prst="bentConnector3">
              <a:avLst>
                <a:gd name="adj1" fmla="val 50000"/>
              </a:avLst>
            </a:prstGeom>
            <a:noFill/>
            <a:ln w="9525" cap="flat" cmpd="sng">
              <a:solidFill>
                <a:srgbClr val="667E92"/>
              </a:solidFill>
              <a:prstDash val="solid"/>
              <a:round/>
              <a:headEnd type="none" w="med" len="med"/>
              <a:tailEnd type="none" w="med" len="med"/>
            </a:ln>
          </p:spPr>
        </p:cxnSp>
        <p:cxnSp>
          <p:nvCxnSpPr>
            <p:cNvPr id="8622" name="Google Shape;8622;p107"/>
            <p:cNvCxnSpPr/>
            <p:nvPr/>
          </p:nvCxnSpPr>
          <p:spPr>
            <a:xfrm rot="5400000">
              <a:off x="7620257" y="2644741"/>
              <a:ext cx="129900" cy="111300"/>
            </a:xfrm>
            <a:prstGeom prst="bentConnector3">
              <a:avLst>
                <a:gd name="adj1" fmla="val 50000"/>
              </a:avLst>
            </a:prstGeom>
            <a:noFill/>
            <a:ln w="9525" cap="flat" cmpd="sng">
              <a:solidFill>
                <a:srgbClr val="667E92"/>
              </a:solidFill>
              <a:prstDash val="solid"/>
              <a:round/>
              <a:headEnd type="none" w="med" len="med"/>
              <a:tailEnd type="none" w="med" len="med"/>
            </a:ln>
          </p:spPr>
        </p:cxnSp>
        <p:cxnSp>
          <p:nvCxnSpPr>
            <p:cNvPr id="8623" name="Google Shape;8623;p107"/>
            <p:cNvCxnSpPr/>
            <p:nvPr/>
          </p:nvCxnSpPr>
          <p:spPr>
            <a:xfrm rot="-5400000" flipH="1">
              <a:off x="8285120" y="2644741"/>
              <a:ext cx="129900" cy="111300"/>
            </a:xfrm>
            <a:prstGeom prst="bentConnector3">
              <a:avLst>
                <a:gd name="adj1" fmla="val 50000"/>
              </a:avLst>
            </a:prstGeom>
            <a:noFill/>
            <a:ln w="9525" cap="flat" cmpd="sng">
              <a:solidFill>
                <a:srgbClr val="667E92"/>
              </a:solidFill>
              <a:prstDash val="solid"/>
              <a:round/>
              <a:headEnd type="none" w="med" len="med"/>
              <a:tailEnd type="none" w="med" len="med"/>
            </a:ln>
          </p:spPr>
        </p:cxnSp>
        <p:cxnSp>
          <p:nvCxnSpPr>
            <p:cNvPr id="8624" name="Google Shape;8624;p107"/>
            <p:cNvCxnSpPr/>
            <p:nvPr/>
          </p:nvCxnSpPr>
          <p:spPr>
            <a:xfrm rot="10800000">
              <a:off x="7608988" y="2425132"/>
              <a:ext cx="83400" cy="0"/>
            </a:xfrm>
            <a:prstGeom prst="straightConnector1">
              <a:avLst/>
            </a:prstGeom>
            <a:noFill/>
            <a:ln w="9525" cap="flat" cmpd="sng">
              <a:solidFill>
                <a:srgbClr val="667E92"/>
              </a:solidFill>
              <a:prstDash val="solid"/>
              <a:round/>
              <a:headEnd type="none" w="med" len="med"/>
              <a:tailEnd type="none" w="med" len="med"/>
            </a:ln>
          </p:spPr>
        </p:cxnSp>
        <p:cxnSp>
          <p:nvCxnSpPr>
            <p:cNvPr id="8625" name="Google Shape;8625;p107"/>
            <p:cNvCxnSpPr/>
            <p:nvPr/>
          </p:nvCxnSpPr>
          <p:spPr>
            <a:xfrm rot="10800000">
              <a:off x="8342865" y="2425132"/>
              <a:ext cx="83400" cy="0"/>
            </a:xfrm>
            <a:prstGeom prst="straightConnector1">
              <a:avLst/>
            </a:prstGeom>
            <a:noFill/>
            <a:ln w="9525" cap="flat" cmpd="sng">
              <a:solidFill>
                <a:srgbClr val="667E92"/>
              </a:solidFill>
              <a:prstDash val="solid"/>
              <a:round/>
              <a:headEnd type="none" w="med" len="med"/>
              <a:tailEnd type="none" w="med" len="med"/>
            </a:ln>
          </p:spPr>
        </p:cxnSp>
        <p:grpSp>
          <p:nvGrpSpPr>
            <p:cNvPr id="8626" name="Google Shape;8626;p107"/>
            <p:cNvGrpSpPr/>
            <p:nvPr/>
          </p:nvGrpSpPr>
          <p:grpSpPr>
            <a:xfrm>
              <a:off x="7721175" y="2093194"/>
              <a:ext cx="599587" cy="623846"/>
              <a:chOff x="7721175" y="2093194"/>
              <a:chExt cx="599587" cy="623846"/>
            </a:xfrm>
          </p:grpSpPr>
          <p:grpSp>
            <p:nvGrpSpPr>
              <p:cNvPr id="8627" name="Google Shape;8627;p107"/>
              <p:cNvGrpSpPr/>
              <p:nvPr/>
            </p:nvGrpSpPr>
            <p:grpSpPr>
              <a:xfrm>
                <a:off x="7721175" y="2093194"/>
                <a:ext cx="291605" cy="623846"/>
                <a:chOff x="9405575" y="2061418"/>
                <a:chExt cx="291605" cy="623846"/>
              </a:xfrm>
            </p:grpSpPr>
            <p:sp>
              <p:nvSpPr>
                <p:cNvPr id="8628" name="Google Shape;8628;p107"/>
                <p:cNvSpPr/>
                <p:nvPr/>
              </p:nvSpPr>
              <p:spPr>
                <a:xfrm>
                  <a:off x="9405575" y="2061418"/>
                  <a:ext cx="291379" cy="623846"/>
                </a:xfrm>
                <a:custGeom>
                  <a:avLst/>
                  <a:gdLst/>
                  <a:ahLst/>
                  <a:cxnLst/>
                  <a:rect l="l" t="t" r="r" b="b"/>
                  <a:pathLst>
                    <a:path w="21253" h="45503" extrusionOk="0">
                      <a:moveTo>
                        <a:pt x="17225" y="1059"/>
                      </a:moveTo>
                      <a:cubicBezTo>
                        <a:pt x="20066" y="1059"/>
                        <a:pt x="20192" y="4831"/>
                        <a:pt x="20195" y="4980"/>
                      </a:cubicBezTo>
                      <a:lnTo>
                        <a:pt x="20195" y="42658"/>
                      </a:lnTo>
                      <a:cubicBezTo>
                        <a:pt x="19755" y="43076"/>
                        <a:pt x="18011" y="44441"/>
                        <a:pt x="14035" y="44441"/>
                      </a:cubicBezTo>
                      <a:cubicBezTo>
                        <a:pt x="9143" y="44441"/>
                        <a:pt x="6607" y="41481"/>
                        <a:pt x="6264" y="38549"/>
                      </a:cubicBezTo>
                      <a:cubicBezTo>
                        <a:pt x="6238" y="38342"/>
                        <a:pt x="6089" y="38168"/>
                        <a:pt x="5889" y="38106"/>
                      </a:cubicBezTo>
                      <a:cubicBezTo>
                        <a:pt x="5769" y="38071"/>
                        <a:pt x="2987" y="37194"/>
                        <a:pt x="3045" y="34127"/>
                      </a:cubicBezTo>
                      <a:cubicBezTo>
                        <a:pt x="3067" y="32998"/>
                        <a:pt x="3194" y="32212"/>
                        <a:pt x="3449" y="31665"/>
                      </a:cubicBezTo>
                      <a:cubicBezTo>
                        <a:pt x="3449" y="31665"/>
                        <a:pt x="3682" y="31319"/>
                        <a:pt x="3685" y="31277"/>
                      </a:cubicBezTo>
                      <a:cubicBezTo>
                        <a:pt x="3740" y="31205"/>
                        <a:pt x="3799" y="31141"/>
                        <a:pt x="3863" y="31082"/>
                      </a:cubicBezTo>
                      <a:cubicBezTo>
                        <a:pt x="4404" y="30567"/>
                        <a:pt x="5365" y="30335"/>
                        <a:pt x="7020" y="30335"/>
                      </a:cubicBezTo>
                      <a:cubicBezTo>
                        <a:pt x="7247" y="30335"/>
                        <a:pt x="7486" y="30339"/>
                        <a:pt x="7739" y="30348"/>
                      </a:cubicBezTo>
                      <a:cubicBezTo>
                        <a:pt x="8968" y="30388"/>
                        <a:pt x="10320" y="30407"/>
                        <a:pt x="11768" y="30407"/>
                      </a:cubicBezTo>
                      <a:cubicBezTo>
                        <a:pt x="11975" y="30407"/>
                        <a:pt x="12184" y="30407"/>
                        <a:pt x="12395" y="30406"/>
                      </a:cubicBezTo>
                      <a:lnTo>
                        <a:pt x="12408" y="30406"/>
                      </a:lnTo>
                      <a:cubicBezTo>
                        <a:pt x="12410" y="30406"/>
                        <a:pt x="12412" y="30406"/>
                        <a:pt x="12414" y="30406"/>
                      </a:cubicBezTo>
                      <a:cubicBezTo>
                        <a:pt x="14155" y="30406"/>
                        <a:pt x="15565" y="31819"/>
                        <a:pt x="15565" y="33561"/>
                      </a:cubicBezTo>
                      <a:lnTo>
                        <a:pt x="15565" y="35495"/>
                      </a:lnTo>
                      <a:cubicBezTo>
                        <a:pt x="15559" y="35793"/>
                        <a:pt x="15798" y="36039"/>
                        <a:pt x="16096" y="36039"/>
                      </a:cubicBezTo>
                      <a:cubicBezTo>
                        <a:pt x="16394" y="36039"/>
                        <a:pt x="16636" y="35793"/>
                        <a:pt x="16627" y="35495"/>
                      </a:cubicBezTo>
                      <a:lnTo>
                        <a:pt x="16627" y="33561"/>
                      </a:lnTo>
                      <a:cubicBezTo>
                        <a:pt x="16627" y="31233"/>
                        <a:pt x="14740" y="29345"/>
                        <a:pt x="12414" y="29345"/>
                      </a:cubicBezTo>
                      <a:cubicBezTo>
                        <a:pt x="12412" y="29345"/>
                        <a:pt x="12410" y="29345"/>
                        <a:pt x="12408" y="29345"/>
                      </a:cubicBezTo>
                      <a:lnTo>
                        <a:pt x="12392" y="29345"/>
                      </a:lnTo>
                      <a:cubicBezTo>
                        <a:pt x="12202" y="29346"/>
                        <a:pt x="12014" y="29346"/>
                        <a:pt x="11828" y="29346"/>
                      </a:cubicBezTo>
                      <a:cubicBezTo>
                        <a:pt x="10369" y="29346"/>
                        <a:pt x="9008" y="29324"/>
                        <a:pt x="7772" y="29287"/>
                      </a:cubicBezTo>
                      <a:cubicBezTo>
                        <a:pt x="7513" y="29278"/>
                        <a:pt x="7267" y="29274"/>
                        <a:pt x="7033" y="29274"/>
                      </a:cubicBezTo>
                      <a:cubicBezTo>
                        <a:pt x="5050" y="29274"/>
                        <a:pt x="3893" y="29586"/>
                        <a:pt x="3135" y="30309"/>
                      </a:cubicBezTo>
                      <a:cubicBezTo>
                        <a:pt x="3058" y="30380"/>
                        <a:pt x="2987" y="30458"/>
                        <a:pt x="2922" y="30536"/>
                      </a:cubicBezTo>
                      <a:cubicBezTo>
                        <a:pt x="1045" y="29510"/>
                        <a:pt x="1084" y="26828"/>
                        <a:pt x="1084" y="26799"/>
                      </a:cubicBezTo>
                      <a:lnTo>
                        <a:pt x="1084" y="26786"/>
                      </a:lnTo>
                      <a:lnTo>
                        <a:pt x="1084" y="21470"/>
                      </a:lnTo>
                      <a:cubicBezTo>
                        <a:pt x="1084" y="19979"/>
                        <a:pt x="1450" y="18885"/>
                        <a:pt x="2168" y="18212"/>
                      </a:cubicBezTo>
                      <a:cubicBezTo>
                        <a:pt x="2905" y="17528"/>
                        <a:pt x="3830" y="17480"/>
                        <a:pt x="4078" y="17480"/>
                      </a:cubicBezTo>
                      <a:cubicBezTo>
                        <a:pt x="4118" y="17480"/>
                        <a:pt x="4141" y="17481"/>
                        <a:pt x="4142" y="17481"/>
                      </a:cubicBezTo>
                      <a:cubicBezTo>
                        <a:pt x="4157" y="17483"/>
                        <a:pt x="4172" y="17483"/>
                        <a:pt x="4186" y="17483"/>
                      </a:cubicBezTo>
                      <a:cubicBezTo>
                        <a:pt x="4474" y="17483"/>
                        <a:pt x="4714" y="17249"/>
                        <a:pt x="4714" y="16954"/>
                      </a:cubicBezTo>
                      <a:lnTo>
                        <a:pt x="4714" y="12072"/>
                      </a:lnTo>
                      <a:cubicBezTo>
                        <a:pt x="4714" y="11082"/>
                        <a:pt x="4986" y="10325"/>
                        <a:pt x="5523" y="9820"/>
                      </a:cubicBezTo>
                      <a:cubicBezTo>
                        <a:pt x="6270" y="9115"/>
                        <a:pt x="7348" y="9065"/>
                        <a:pt x="7647" y="9065"/>
                      </a:cubicBezTo>
                      <a:cubicBezTo>
                        <a:pt x="7696" y="9065"/>
                        <a:pt x="7724" y="9066"/>
                        <a:pt x="7726" y="9066"/>
                      </a:cubicBezTo>
                      <a:cubicBezTo>
                        <a:pt x="7739" y="9067"/>
                        <a:pt x="7751" y="9067"/>
                        <a:pt x="7763" y="9067"/>
                      </a:cubicBezTo>
                      <a:cubicBezTo>
                        <a:pt x="8253" y="9067"/>
                        <a:pt x="8483" y="8447"/>
                        <a:pt x="8095" y="8128"/>
                      </a:cubicBezTo>
                      <a:cubicBezTo>
                        <a:pt x="7911" y="7976"/>
                        <a:pt x="7749" y="7749"/>
                        <a:pt x="7937" y="7216"/>
                      </a:cubicBezTo>
                      <a:cubicBezTo>
                        <a:pt x="8312" y="6167"/>
                        <a:pt x="9878" y="4614"/>
                        <a:pt x="11929" y="3269"/>
                      </a:cubicBezTo>
                      <a:cubicBezTo>
                        <a:pt x="13967" y="1926"/>
                        <a:pt x="16044" y="1059"/>
                        <a:pt x="17225" y="1059"/>
                      </a:cubicBezTo>
                      <a:close/>
                      <a:moveTo>
                        <a:pt x="17222" y="1"/>
                      </a:moveTo>
                      <a:cubicBezTo>
                        <a:pt x="14145" y="1"/>
                        <a:pt x="7898" y="4168"/>
                        <a:pt x="6937" y="6863"/>
                      </a:cubicBezTo>
                      <a:cubicBezTo>
                        <a:pt x="6782" y="7300"/>
                        <a:pt x="6752" y="7711"/>
                        <a:pt x="6846" y="8076"/>
                      </a:cubicBezTo>
                      <a:cubicBezTo>
                        <a:pt x="6241" y="8180"/>
                        <a:pt x="5452" y="8435"/>
                        <a:pt x="4805" y="9040"/>
                      </a:cubicBezTo>
                      <a:cubicBezTo>
                        <a:pt x="4041" y="9755"/>
                        <a:pt x="3656" y="10778"/>
                        <a:pt x="3656" y="12075"/>
                      </a:cubicBezTo>
                      <a:lnTo>
                        <a:pt x="3656" y="16446"/>
                      </a:lnTo>
                      <a:cubicBezTo>
                        <a:pt x="3093" y="16511"/>
                        <a:pt x="2220" y="16727"/>
                        <a:pt x="1460" y="17426"/>
                      </a:cubicBezTo>
                      <a:cubicBezTo>
                        <a:pt x="508" y="18303"/>
                        <a:pt x="23" y="19665"/>
                        <a:pt x="23" y="21470"/>
                      </a:cubicBezTo>
                      <a:lnTo>
                        <a:pt x="23" y="26779"/>
                      </a:lnTo>
                      <a:cubicBezTo>
                        <a:pt x="20" y="27006"/>
                        <a:pt x="0" y="30147"/>
                        <a:pt x="2388" y="31454"/>
                      </a:cubicBezTo>
                      <a:cubicBezTo>
                        <a:pt x="2136" y="32118"/>
                        <a:pt x="2006" y="32975"/>
                        <a:pt x="1984" y="34107"/>
                      </a:cubicBezTo>
                      <a:cubicBezTo>
                        <a:pt x="1922" y="37288"/>
                        <a:pt x="4352" y="38614"/>
                        <a:pt x="5254" y="38996"/>
                      </a:cubicBezTo>
                      <a:cubicBezTo>
                        <a:pt x="5533" y="40711"/>
                        <a:pt x="6429" y="42273"/>
                        <a:pt x="7797" y="43428"/>
                      </a:cubicBezTo>
                      <a:cubicBezTo>
                        <a:pt x="9405" y="44784"/>
                        <a:pt x="11560" y="45502"/>
                        <a:pt x="14035" y="45502"/>
                      </a:cubicBezTo>
                      <a:cubicBezTo>
                        <a:pt x="19270" y="45502"/>
                        <a:pt x="21065" y="43292"/>
                        <a:pt x="21140" y="43199"/>
                      </a:cubicBezTo>
                      <a:cubicBezTo>
                        <a:pt x="21214" y="43105"/>
                        <a:pt x="21253" y="42992"/>
                        <a:pt x="21253" y="42872"/>
                      </a:cubicBezTo>
                      <a:lnTo>
                        <a:pt x="21253" y="4967"/>
                      </a:lnTo>
                      <a:cubicBezTo>
                        <a:pt x="21217" y="3249"/>
                        <a:pt x="20328" y="1"/>
                        <a:pt x="17222" y="1"/>
                      </a:cubicBezTo>
                      <a:close/>
                    </a:path>
                  </a:pathLst>
                </a:custGeom>
                <a:solidFill>
                  <a:srgbClr val="445D73"/>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629" name="Google Shape;8629;p107"/>
                <p:cNvSpPr/>
                <p:nvPr/>
              </p:nvSpPr>
              <p:spPr>
                <a:xfrm>
                  <a:off x="9535402" y="2540968"/>
                  <a:ext cx="161778" cy="68948"/>
                </a:xfrm>
                <a:custGeom>
                  <a:avLst/>
                  <a:gdLst/>
                  <a:ahLst/>
                  <a:cxnLst/>
                  <a:rect l="l" t="t" r="r" b="b"/>
                  <a:pathLst>
                    <a:path w="11800" h="5029" extrusionOk="0">
                      <a:moveTo>
                        <a:pt x="11270" y="1"/>
                      </a:moveTo>
                      <a:cubicBezTo>
                        <a:pt x="11264" y="1"/>
                        <a:pt x="11258" y="1"/>
                        <a:pt x="11252" y="1"/>
                      </a:cubicBezTo>
                      <a:lnTo>
                        <a:pt x="4326" y="1"/>
                      </a:lnTo>
                      <a:cubicBezTo>
                        <a:pt x="1938" y="4"/>
                        <a:pt x="0" y="1939"/>
                        <a:pt x="0" y="4327"/>
                      </a:cubicBezTo>
                      <a:lnTo>
                        <a:pt x="0" y="4498"/>
                      </a:lnTo>
                      <a:cubicBezTo>
                        <a:pt x="0" y="4789"/>
                        <a:pt x="236" y="5029"/>
                        <a:pt x="527" y="5029"/>
                      </a:cubicBezTo>
                      <a:cubicBezTo>
                        <a:pt x="822" y="5029"/>
                        <a:pt x="1061" y="4789"/>
                        <a:pt x="1058" y="4498"/>
                      </a:cubicBezTo>
                      <a:lnTo>
                        <a:pt x="1058" y="4327"/>
                      </a:lnTo>
                      <a:cubicBezTo>
                        <a:pt x="1061" y="2524"/>
                        <a:pt x="2524" y="1062"/>
                        <a:pt x="4326" y="1062"/>
                      </a:cubicBezTo>
                      <a:lnTo>
                        <a:pt x="11252" y="1062"/>
                      </a:lnTo>
                      <a:cubicBezTo>
                        <a:pt x="11256" y="1062"/>
                        <a:pt x="11260" y="1062"/>
                        <a:pt x="11264" y="1062"/>
                      </a:cubicBezTo>
                      <a:cubicBezTo>
                        <a:pt x="11557" y="1062"/>
                        <a:pt x="11799" y="825"/>
                        <a:pt x="11799" y="532"/>
                      </a:cubicBezTo>
                      <a:cubicBezTo>
                        <a:pt x="11799" y="237"/>
                        <a:pt x="11560" y="1"/>
                        <a:pt x="11270" y="1"/>
                      </a:cubicBezTo>
                      <a:close/>
                    </a:path>
                  </a:pathLst>
                </a:custGeom>
                <a:solidFill>
                  <a:srgbClr val="445D73"/>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630" name="Google Shape;8630;p107"/>
                <p:cNvSpPr/>
                <p:nvPr/>
              </p:nvSpPr>
              <p:spPr>
                <a:xfrm>
                  <a:off x="9455875" y="2286606"/>
                  <a:ext cx="137251" cy="112148"/>
                </a:xfrm>
                <a:custGeom>
                  <a:avLst/>
                  <a:gdLst/>
                  <a:ahLst/>
                  <a:cxnLst/>
                  <a:rect l="l" t="t" r="r" b="b"/>
                  <a:pathLst>
                    <a:path w="10011" h="8180" extrusionOk="0">
                      <a:moveTo>
                        <a:pt x="515" y="1"/>
                      </a:moveTo>
                      <a:cubicBezTo>
                        <a:pt x="230" y="7"/>
                        <a:pt x="0" y="243"/>
                        <a:pt x="0" y="531"/>
                      </a:cubicBezTo>
                      <a:cubicBezTo>
                        <a:pt x="0" y="819"/>
                        <a:pt x="230" y="1052"/>
                        <a:pt x="515" y="1062"/>
                      </a:cubicBezTo>
                      <a:lnTo>
                        <a:pt x="4979" y="1062"/>
                      </a:lnTo>
                      <a:cubicBezTo>
                        <a:pt x="7173" y="1062"/>
                        <a:pt x="8946" y="2838"/>
                        <a:pt x="8949" y="5031"/>
                      </a:cubicBezTo>
                      <a:lnTo>
                        <a:pt x="8949" y="7649"/>
                      </a:lnTo>
                      <a:cubicBezTo>
                        <a:pt x="8949" y="7943"/>
                        <a:pt x="9188" y="8179"/>
                        <a:pt x="9480" y="8179"/>
                      </a:cubicBezTo>
                      <a:cubicBezTo>
                        <a:pt x="9771" y="8179"/>
                        <a:pt x="10010" y="7943"/>
                        <a:pt x="10010" y="7652"/>
                      </a:cubicBezTo>
                      <a:lnTo>
                        <a:pt x="10010" y="5031"/>
                      </a:lnTo>
                      <a:cubicBezTo>
                        <a:pt x="10007" y="2252"/>
                        <a:pt x="7758" y="4"/>
                        <a:pt x="4979" y="1"/>
                      </a:cubicBezTo>
                      <a:close/>
                    </a:path>
                  </a:pathLst>
                </a:custGeom>
                <a:solidFill>
                  <a:srgbClr val="445D73"/>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631" name="Google Shape;8631;p107"/>
                <p:cNvSpPr/>
                <p:nvPr/>
              </p:nvSpPr>
              <p:spPr>
                <a:xfrm>
                  <a:off x="9578545" y="2355317"/>
                  <a:ext cx="116370" cy="14560"/>
                </a:xfrm>
                <a:custGeom>
                  <a:avLst/>
                  <a:gdLst/>
                  <a:ahLst/>
                  <a:cxnLst/>
                  <a:rect l="l" t="t" r="r" b="b"/>
                  <a:pathLst>
                    <a:path w="8488" h="1062" extrusionOk="0">
                      <a:moveTo>
                        <a:pt x="519" y="0"/>
                      </a:moveTo>
                      <a:cubicBezTo>
                        <a:pt x="231" y="10"/>
                        <a:pt x="1" y="243"/>
                        <a:pt x="1" y="531"/>
                      </a:cubicBezTo>
                      <a:cubicBezTo>
                        <a:pt x="1" y="819"/>
                        <a:pt x="231" y="1051"/>
                        <a:pt x="519" y="1061"/>
                      </a:cubicBezTo>
                      <a:lnTo>
                        <a:pt x="7973" y="1061"/>
                      </a:lnTo>
                      <a:cubicBezTo>
                        <a:pt x="8261" y="1051"/>
                        <a:pt x="8487" y="819"/>
                        <a:pt x="8487" y="531"/>
                      </a:cubicBezTo>
                      <a:cubicBezTo>
                        <a:pt x="8487" y="243"/>
                        <a:pt x="8261" y="10"/>
                        <a:pt x="7973" y="0"/>
                      </a:cubicBezTo>
                      <a:close/>
                    </a:path>
                  </a:pathLst>
                </a:custGeom>
                <a:solidFill>
                  <a:srgbClr val="445D73"/>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632" name="Google Shape;8632;p107"/>
                <p:cNvSpPr/>
                <p:nvPr/>
              </p:nvSpPr>
              <p:spPr>
                <a:xfrm>
                  <a:off x="9533620" y="2389824"/>
                  <a:ext cx="104429" cy="58240"/>
                </a:xfrm>
                <a:custGeom>
                  <a:avLst/>
                  <a:gdLst/>
                  <a:ahLst/>
                  <a:cxnLst/>
                  <a:rect l="l" t="t" r="r" b="b"/>
                  <a:pathLst>
                    <a:path w="7617" h="4248" extrusionOk="0">
                      <a:moveTo>
                        <a:pt x="2890" y="0"/>
                      </a:moveTo>
                      <a:cubicBezTo>
                        <a:pt x="1295" y="0"/>
                        <a:pt x="4" y="1294"/>
                        <a:pt x="1" y="2889"/>
                      </a:cubicBezTo>
                      <a:lnTo>
                        <a:pt x="1" y="3439"/>
                      </a:lnTo>
                      <a:cubicBezTo>
                        <a:pt x="10" y="3724"/>
                        <a:pt x="243" y="3954"/>
                        <a:pt x="531" y="3954"/>
                      </a:cubicBezTo>
                      <a:cubicBezTo>
                        <a:pt x="819" y="3954"/>
                        <a:pt x="1055" y="3724"/>
                        <a:pt x="1062" y="3439"/>
                      </a:cubicBezTo>
                      <a:lnTo>
                        <a:pt x="1062" y="2889"/>
                      </a:lnTo>
                      <a:cubicBezTo>
                        <a:pt x="1062" y="1880"/>
                        <a:pt x="1880" y="1061"/>
                        <a:pt x="2890" y="1058"/>
                      </a:cubicBezTo>
                      <a:lnTo>
                        <a:pt x="4669" y="1058"/>
                      </a:lnTo>
                      <a:cubicBezTo>
                        <a:pt x="5711" y="1061"/>
                        <a:pt x="6555" y="1902"/>
                        <a:pt x="6555" y="2944"/>
                      </a:cubicBezTo>
                      <a:lnTo>
                        <a:pt x="6555" y="3717"/>
                      </a:lnTo>
                      <a:cubicBezTo>
                        <a:pt x="6555" y="4012"/>
                        <a:pt x="6795" y="4248"/>
                        <a:pt x="7086" y="4248"/>
                      </a:cubicBezTo>
                      <a:cubicBezTo>
                        <a:pt x="7380" y="4248"/>
                        <a:pt x="7617" y="4012"/>
                        <a:pt x="7617" y="3717"/>
                      </a:cubicBezTo>
                      <a:lnTo>
                        <a:pt x="7617" y="2944"/>
                      </a:lnTo>
                      <a:cubicBezTo>
                        <a:pt x="7613" y="1320"/>
                        <a:pt x="6297" y="0"/>
                        <a:pt x="4669" y="0"/>
                      </a:cubicBezTo>
                      <a:close/>
                    </a:path>
                  </a:pathLst>
                </a:custGeom>
                <a:solidFill>
                  <a:srgbClr val="445D73"/>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633" name="Google Shape;8633;p107"/>
                <p:cNvSpPr/>
                <p:nvPr/>
              </p:nvSpPr>
              <p:spPr>
                <a:xfrm>
                  <a:off x="9504885" y="2171202"/>
                  <a:ext cx="97684" cy="14519"/>
                </a:xfrm>
                <a:custGeom>
                  <a:avLst/>
                  <a:gdLst/>
                  <a:ahLst/>
                  <a:cxnLst/>
                  <a:rect l="l" t="t" r="r" b="b"/>
                  <a:pathLst>
                    <a:path w="7125" h="1059" extrusionOk="0">
                      <a:moveTo>
                        <a:pt x="6598" y="0"/>
                      </a:moveTo>
                      <a:cubicBezTo>
                        <a:pt x="6592" y="0"/>
                        <a:pt x="6587" y="0"/>
                        <a:pt x="6581" y="0"/>
                      </a:cubicBezTo>
                      <a:lnTo>
                        <a:pt x="515" y="0"/>
                      </a:lnTo>
                      <a:cubicBezTo>
                        <a:pt x="227" y="7"/>
                        <a:pt x="0" y="243"/>
                        <a:pt x="0" y="528"/>
                      </a:cubicBezTo>
                      <a:cubicBezTo>
                        <a:pt x="0" y="816"/>
                        <a:pt x="227" y="1052"/>
                        <a:pt x="515" y="1058"/>
                      </a:cubicBezTo>
                      <a:lnTo>
                        <a:pt x="6581" y="1058"/>
                      </a:lnTo>
                      <a:cubicBezTo>
                        <a:pt x="6587" y="1058"/>
                        <a:pt x="6592" y="1059"/>
                        <a:pt x="6598" y="1059"/>
                      </a:cubicBezTo>
                      <a:cubicBezTo>
                        <a:pt x="6888" y="1059"/>
                        <a:pt x="7124" y="823"/>
                        <a:pt x="7124" y="528"/>
                      </a:cubicBezTo>
                      <a:cubicBezTo>
                        <a:pt x="7124" y="236"/>
                        <a:pt x="6888" y="0"/>
                        <a:pt x="6598" y="0"/>
                      </a:cubicBezTo>
                      <a:close/>
                    </a:path>
                  </a:pathLst>
                </a:custGeom>
                <a:solidFill>
                  <a:srgbClr val="445D73"/>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634" name="Google Shape;8634;p107"/>
                <p:cNvSpPr/>
                <p:nvPr/>
              </p:nvSpPr>
              <p:spPr>
                <a:xfrm>
                  <a:off x="9587826" y="2129731"/>
                  <a:ext cx="106993" cy="97464"/>
                </a:xfrm>
                <a:custGeom>
                  <a:avLst/>
                  <a:gdLst/>
                  <a:ahLst/>
                  <a:cxnLst/>
                  <a:rect l="l" t="t" r="r" b="b"/>
                  <a:pathLst>
                    <a:path w="7804" h="7109" extrusionOk="0">
                      <a:moveTo>
                        <a:pt x="4230" y="0"/>
                      </a:moveTo>
                      <a:cubicBezTo>
                        <a:pt x="4224" y="0"/>
                        <a:pt x="4218" y="0"/>
                        <a:pt x="4213" y="0"/>
                      </a:cubicBezTo>
                      <a:lnTo>
                        <a:pt x="3339" y="0"/>
                      </a:lnTo>
                      <a:cubicBezTo>
                        <a:pt x="1495" y="0"/>
                        <a:pt x="3" y="1495"/>
                        <a:pt x="0" y="3336"/>
                      </a:cubicBezTo>
                      <a:lnTo>
                        <a:pt x="0" y="3850"/>
                      </a:lnTo>
                      <a:cubicBezTo>
                        <a:pt x="3" y="5649"/>
                        <a:pt x="1459" y="7108"/>
                        <a:pt x="3258" y="7108"/>
                      </a:cubicBezTo>
                      <a:lnTo>
                        <a:pt x="7286" y="7108"/>
                      </a:lnTo>
                      <a:cubicBezTo>
                        <a:pt x="7574" y="7102"/>
                        <a:pt x="7804" y="6866"/>
                        <a:pt x="7804" y="6578"/>
                      </a:cubicBezTo>
                      <a:cubicBezTo>
                        <a:pt x="7804" y="6290"/>
                        <a:pt x="7574" y="6057"/>
                        <a:pt x="7286" y="6047"/>
                      </a:cubicBezTo>
                      <a:lnTo>
                        <a:pt x="3258" y="6047"/>
                      </a:lnTo>
                      <a:cubicBezTo>
                        <a:pt x="2045" y="6047"/>
                        <a:pt x="1061" y="5064"/>
                        <a:pt x="1061" y="3850"/>
                      </a:cubicBezTo>
                      <a:lnTo>
                        <a:pt x="1061" y="3336"/>
                      </a:lnTo>
                      <a:cubicBezTo>
                        <a:pt x="1061" y="2081"/>
                        <a:pt x="2080" y="1061"/>
                        <a:pt x="3339" y="1058"/>
                      </a:cubicBezTo>
                      <a:lnTo>
                        <a:pt x="4213" y="1058"/>
                      </a:lnTo>
                      <a:cubicBezTo>
                        <a:pt x="4218" y="1058"/>
                        <a:pt x="4224" y="1059"/>
                        <a:pt x="4230" y="1059"/>
                      </a:cubicBezTo>
                      <a:cubicBezTo>
                        <a:pt x="4520" y="1059"/>
                        <a:pt x="4756" y="823"/>
                        <a:pt x="4756" y="528"/>
                      </a:cubicBezTo>
                      <a:cubicBezTo>
                        <a:pt x="4756" y="236"/>
                        <a:pt x="4520" y="0"/>
                        <a:pt x="4230" y="0"/>
                      </a:cubicBezTo>
                      <a:close/>
                    </a:path>
                  </a:pathLst>
                </a:custGeom>
                <a:solidFill>
                  <a:srgbClr val="445D73"/>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8635" name="Google Shape;8635;p107"/>
              <p:cNvGrpSpPr/>
              <p:nvPr/>
            </p:nvGrpSpPr>
            <p:grpSpPr>
              <a:xfrm flipH="1">
                <a:off x="8029157" y="2093194"/>
                <a:ext cx="291605" cy="623846"/>
                <a:chOff x="9405575" y="2061418"/>
                <a:chExt cx="291605" cy="623846"/>
              </a:xfrm>
            </p:grpSpPr>
            <p:sp>
              <p:nvSpPr>
                <p:cNvPr id="8636" name="Google Shape;8636;p107"/>
                <p:cNvSpPr/>
                <p:nvPr/>
              </p:nvSpPr>
              <p:spPr>
                <a:xfrm>
                  <a:off x="9405575" y="2061418"/>
                  <a:ext cx="291379" cy="623846"/>
                </a:xfrm>
                <a:custGeom>
                  <a:avLst/>
                  <a:gdLst/>
                  <a:ahLst/>
                  <a:cxnLst/>
                  <a:rect l="l" t="t" r="r" b="b"/>
                  <a:pathLst>
                    <a:path w="21253" h="45503" extrusionOk="0">
                      <a:moveTo>
                        <a:pt x="17225" y="1059"/>
                      </a:moveTo>
                      <a:cubicBezTo>
                        <a:pt x="20066" y="1059"/>
                        <a:pt x="20192" y="4831"/>
                        <a:pt x="20195" y="4980"/>
                      </a:cubicBezTo>
                      <a:lnTo>
                        <a:pt x="20195" y="42658"/>
                      </a:lnTo>
                      <a:cubicBezTo>
                        <a:pt x="19755" y="43076"/>
                        <a:pt x="18011" y="44441"/>
                        <a:pt x="14035" y="44441"/>
                      </a:cubicBezTo>
                      <a:cubicBezTo>
                        <a:pt x="9143" y="44441"/>
                        <a:pt x="6607" y="41481"/>
                        <a:pt x="6264" y="38549"/>
                      </a:cubicBezTo>
                      <a:cubicBezTo>
                        <a:pt x="6238" y="38342"/>
                        <a:pt x="6089" y="38168"/>
                        <a:pt x="5889" y="38106"/>
                      </a:cubicBezTo>
                      <a:cubicBezTo>
                        <a:pt x="5769" y="38071"/>
                        <a:pt x="2987" y="37194"/>
                        <a:pt x="3045" y="34127"/>
                      </a:cubicBezTo>
                      <a:cubicBezTo>
                        <a:pt x="3067" y="32998"/>
                        <a:pt x="3194" y="32212"/>
                        <a:pt x="3449" y="31665"/>
                      </a:cubicBezTo>
                      <a:cubicBezTo>
                        <a:pt x="3449" y="31665"/>
                        <a:pt x="3682" y="31319"/>
                        <a:pt x="3685" y="31277"/>
                      </a:cubicBezTo>
                      <a:cubicBezTo>
                        <a:pt x="3740" y="31205"/>
                        <a:pt x="3799" y="31141"/>
                        <a:pt x="3863" y="31082"/>
                      </a:cubicBezTo>
                      <a:cubicBezTo>
                        <a:pt x="4404" y="30567"/>
                        <a:pt x="5365" y="30335"/>
                        <a:pt x="7020" y="30335"/>
                      </a:cubicBezTo>
                      <a:cubicBezTo>
                        <a:pt x="7247" y="30335"/>
                        <a:pt x="7486" y="30339"/>
                        <a:pt x="7739" y="30348"/>
                      </a:cubicBezTo>
                      <a:cubicBezTo>
                        <a:pt x="8968" y="30388"/>
                        <a:pt x="10320" y="30407"/>
                        <a:pt x="11768" y="30407"/>
                      </a:cubicBezTo>
                      <a:cubicBezTo>
                        <a:pt x="11975" y="30407"/>
                        <a:pt x="12184" y="30407"/>
                        <a:pt x="12395" y="30406"/>
                      </a:cubicBezTo>
                      <a:lnTo>
                        <a:pt x="12408" y="30406"/>
                      </a:lnTo>
                      <a:cubicBezTo>
                        <a:pt x="12410" y="30406"/>
                        <a:pt x="12412" y="30406"/>
                        <a:pt x="12414" y="30406"/>
                      </a:cubicBezTo>
                      <a:cubicBezTo>
                        <a:pt x="14155" y="30406"/>
                        <a:pt x="15565" y="31819"/>
                        <a:pt x="15565" y="33561"/>
                      </a:cubicBezTo>
                      <a:lnTo>
                        <a:pt x="15565" y="35495"/>
                      </a:lnTo>
                      <a:cubicBezTo>
                        <a:pt x="15559" y="35793"/>
                        <a:pt x="15798" y="36039"/>
                        <a:pt x="16096" y="36039"/>
                      </a:cubicBezTo>
                      <a:cubicBezTo>
                        <a:pt x="16394" y="36039"/>
                        <a:pt x="16636" y="35793"/>
                        <a:pt x="16627" y="35495"/>
                      </a:cubicBezTo>
                      <a:lnTo>
                        <a:pt x="16627" y="33561"/>
                      </a:lnTo>
                      <a:cubicBezTo>
                        <a:pt x="16627" y="31233"/>
                        <a:pt x="14740" y="29345"/>
                        <a:pt x="12414" y="29345"/>
                      </a:cubicBezTo>
                      <a:cubicBezTo>
                        <a:pt x="12412" y="29345"/>
                        <a:pt x="12410" y="29345"/>
                        <a:pt x="12408" y="29345"/>
                      </a:cubicBezTo>
                      <a:lnTo>
                        <a:pt x="12392" y="29345"/>
                      </a:lnTo>
                      <a:cubicBezTo>
                        <a:pt x="12202" y="29346"/>
                        <a:pt x="12014" y="29346"/>
                        <a:pt x="11828" y="29346"/>
                      </a:cubicBezTo>
                      <a:cubicBezTo>
                        <a:pt x="10369" y="29346"/>
                        <a:pt x="9008" y="29324"/>
                        <a:pt x="7772" y="29287"/>
                      </a:cubicBezTo>
                      <a:cubicBezTo>
                        <a:pt x="7513" y="29278"/>
                        <a:pt x="7267" y="29274"/>
                        <a:pt x="7033" y="29274"/>
                      </a:cubicBezTo>
                      <a:cubicBezTo>
                        <a:pt x="5050" y="29274"/>
                        <a:pt x="3893" y="29586"/>
                        <a:pt x="3135" y="30309"/>
                      </a:cubicBezTo>
                      <a:cubicBezTo>
                        <a:pt x="3058" y="30380"/>
                        <a:pt x="2987" y="30458"/>
                        <a:pt x="2922" y="30536"/>
                      </a:cubicBezTo>
                      <a:cubicBezTo>
                        <a:pt x="1045" y="29510"/>
                        <a:pt x="1084" y="26828"/>
                        <a:pt x="1084" y="26799"/>
                      </a:cubicBezTo>
                      <a:lnTo>
                        <a:pt x="1084" y="26786"/>
                      </a:lnTo>
                      <a:lnTo>
                        <a:pt x="1084" y="21470"/>
                      </a:lnTo>
                      <a:cubicBezTo>
                        <a:pt x="1084" y="19979"/>
                        <a:pt x="1450" y="18885"/>
                        <a:pt x="2168" y="18212"/>
                      </a:cubicBezTo>
                      <a:cubicBezTo>
                        <a:pt x="2905" y="17528"/>
                        <a:pt x="3830" y="17480"/>
                        <a:pt x="4078" y="17480"/>
                      </a:cubicBezTo>
                      <a:cubicBezTo>
                        <a:pt x="4118" y="17480"/>
                        <a:pt x="4141" y="17481"/>
                        <a:pt x="4142" y="17481"/>
                      </a:cubicBezTo>
                      <a:cubicBezTo>
                        <a:pt x="4157" y="17483"/>
                        <a:pt x="4172" y="17483"/>
                        <a:pt x="4186" y="17483"/>
                      </a:cubicBezTo>
                      <a:cubicBezTo>
                        <a:pt x="4474" y="17483"/>
                        <a:pt x="4714" y="17249"/>
                        <a:pt x="4714" y="16954"/>
                      </a:cubicBezTo>
                      <a:lnTo>
                        <a:pt x="4714" y="12072"/>
                      </a:lnTo>
                      <a:cubicBezTo>
                        <a:pt x="4714" y="11082"/>
                        <a:pt x="4986" y="10325"/>
                        <a:pt x="5523" y="9820"/>
                      </a:cubicBezTo>
                      <a:cubicBezTo>
                        <a:pt x="6270" y="9115"/>
                        <a:pt x="7348" y="9065"/>
                        <a:pt x="7647" y="9065"/>
                      </a:cubicBezTo>
                      <a:cubicBezTo>
                        <a:pt x="7696" y="9065"/>
                        <a:pt x="7724" y="9066"/>
                        <a:pt x="7726" y="9066"/>
                      </a:cubicBezTo>
                      <a:cubicBezTo>
                        <a:pt x="7739" y="9067"/>
                        <a:pt x="7751" y="9067"/>
                        <a:pt x="7763" y="9067"/>
                      </a:cubicBezTo>
                      <a:cubicBezTo>
                        <a:pt x="8253" y="9067"/>
                        <a:pt x="8483" y="8447"/>
                        <a:pt x="8095" y="8128"/>
                      </a:cubicBezTo>
                      <a:cubicBezTo>
                        <a:pt x="7911" y="7976"/>
                        <a:pt x="7749" y="7749"/>
                        <a:pt x="7937" y="7216"/>
                      </a:cubicBezTo>
                      <a:cubicBezTo>
                        <a:pt x="8312" y="6167"/>
                        <a:pt x="9878" y="4614"/>
                        <a:pt x="11929" y="3269"/>
                      </a:cubicBezTo>
                      <a:cubicBezTo>
                        <a:pt x="13967" y="1926"/>
                        <a:pt x="16044" y="1059"/>
                        <a:pt x="17225" y="1059"/>
                      </a:cubicBezTo>
                      <a:close/>
                      <a:moveTo>
                        <a:pt x="17222" y="1"/>
                      </a:moveTo>
                      <a:cubicBezTo>
                        <a:pt x="14145" y="1"/>
                        <a:pt x="7898" y="4168"/>
                        <a:pt x="6937" y="6863"/>
                      </a:cubicBezTo>
                      <a:cubicBezTo>
                        <a:pt x="6782" y="7300"/>
                        <a:pt x="6752" y="7711"/>
                        <a:pt x="6846" y="8076"/>
                      </a:cubicBezTo>
                      <a:cubicBezTo>
                        <a:pt x="6241" y="8180"/>
                        <a:pt x="5452" y="8435"/>
                        <a:pt x="4805" y="9040"/>
                      </a:cubicBezTo>
                      <a:cubicBezTo>
                        <a:pt x="4041" y="9755"/>
                        <a:pt x="3656" y="10778"/>
                        <a:pt x="3656" y="12075"/>
                      </a:cubicBezTo>
                      <a:lnTo>
                        <a:pt x="3656" y="16446"/>
                      </a:lnTo>
                      <a:cubicBezTo>
                        <a:pt x="3093" y="16511"/>
                        <a:pt x="2220" y="16727"/>
                        <a:pt x="1460" y="17426"/>
                      </a:cubicBezTo>
                      <a:cubicBezTo>
                        <a:pt x="508" y="18303"/>
                        <a:pt x="23" y="19665"/>
                        <a:pt x="23" y="21470"/>
                      </a:cubicBezTo>
                      <a:lnTo>
                        <a:pt x="23" y="26779"/>
                      </a:lnTo>
                      <a:cubicBezTo>
                        <a:pt x="20" y="27006"/>
                        <a:pt x="0" y="30147"/>
                        <a:pt x="2388" y="31454"/>
                      </a:cubicBezTo>
                      <a:cubicBezTo>
                        <a:pt x="2136" y="32118"/>
                        <a:pt x="2006" y="32975"/>
                        <a:pt x="1984" y="34107"/>
                      </a:cubicBezTo>
                      <a:cubicBezTo>
                        <a:pt x="1922" y="37288"/>
                        <a:pt x="4352" y="38614"/>
                        <a:pt x="5254" y="38996"/>
                      </a:cubicBezTo>
                      <a:cubicBezTo>
                        <a:pt x="5533" y="40711"/>
                        <a:pt x="6429" y="42273"/>
                        <a:pt x="7797" y="43428"/>
                      </a:cubicBezTo>
                      <a:cubicBezTo>
                        <a:pt x="9405" y="44784"/>
                        <a:pt x="11560" y="45502"/>
                        <a:pt x="14035" y="45502"/>
                      </a:cubicBezTo>
                      <a:cubicBezTo>
                        <a:pt x="19270" y="45502"/>
                        <a:pt x="21065" y="43292"/>
                        <a:pt x="21140" y="43199"/>
                      </a:cubicBezTo>
                      <a:cubicBezTo>
                        <a:pt x="21214" y="43105"/>
                        <a:pt x="21253" y="42992"/>
                        <a:pt x="21253" y="42872"/>
                      </a:cubicBezTo>
                      <a:lnTo>
                        <a:pt x="21253" y="4967"/>
                      </a:lnTo>
                      <a:cubicBezTo>
                        <a:pt x="21217" y="3249"/>
                        <a:pt x="20328" y="1"/>
                        <a:pt x="17222" y="1"/>
                      </a:cubicBezTo>
                      <a:close/>
                    </a:path>
                  </a:pathLst>
                </a:custGeom>
                <a:solidFill>
                  <a:srgbClr val="445D73"/>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637" name="Google Shape;8637;p107"/>
                <p:cNvSpPr/>
                <p:nvPr/>
              </p:nvSpPr>
              <p:spPr>
                <a:xfrm>
                  <a:off x="9535402" y="2540968"/>
                  <a:ext cx="161778" cy="68948"/>
                </a:xfrm>
                <a:custGeom>
                  <a:avLst/>
                  <a:gdLst/>
                  <a:ahLst/>
                  <a:cxnLst/>
                  <a:rect l="l" t="t" r="r" b="b"/>
                  <a:pathLst>
                    <a:path w="11800" h="5029" extrusionOk="0">
                      <a:moveTo>
                        <a:pt x="11270" y="1"/>
                      </a:moveTo>
                      <a:cubicBezTo>
                        <a:pt x="11264" y="1"/>
                        <a:pt x="11258" y="1"/>
                        <a:pt x="11252" y="1"/>
                      </a:cubicBezTo>
                      <a:lnTo>
                        <a:pt x="4326" y="1"/>
                      </a:lnTo>
                      <a:cubicBezTo>
                        <a:pt x="1938" y="4"/>
                        <a:pt x="0" y="1939"/>
                        <a:pt x="0" y="4327"/>
                      </a:cubicBezTo>
                      <a:lnTo>
                        <a:pt x="0" y="4498"/>
                      </a:lnTo>
                      <a:cubicBezTo>
                        <a:pt x="0" y="4789"/>
                        <a:pt x="236" y="5029"/>
                        <a:pt x="527" y="5029"/>
                      </a:cubicBezTo>
                      <a:cubicBezTo>
                        <a:pt x="822" y="5029"/>
                        <a:pt x="1061" y="4789"/>
                        <a:pt x="1058" y="4498"/>
                      </a:cubicBezTo>
                      <a:lnTo>
                        <a:pt x="1058" y="4327"/>
                      </a:lnTo>
                      <a:cubicBezTo>
                        <a:pt x="1061" y="2524"/>
                        <a:pt x="2524" y="1062"/>
                        <a:pt x="4326" y="1062"/>
                      </a:cubicBezTo>
                      <a:lnTo>
                        <a:pt x="11252" y="1062"/>
                      </a:lnTo>
                      <a:cubicBezTo>
                        <a:pt x="11256" y="1062"/>
                        <a:pt x="11260" y="1062"/>
                        <a:pt x="11264" y="1062"/>
                      </a:cubicBezTo>
                      <a:cubicBezTo>
                        <a:pt x="11557" y="1062"/>
                        <a:pt x="11799" y="825"/>
                        <a:pt x="11799" y="532"/>
                      </a:cubicBezTo>
                      <a:cubicBezTo>
                        <a:pt x="11799" y="237"/>
                        <a:pt x="11560" y="1"/>
                        <a:pt x="11270" y="1"/>
                      </a:cubicBezTo>
                      <a:close/>
                    </a:path>
                  </a:pathLst>
                </a:custGeom>
                <a:solidFill>
                  <a:srgbClr val="445D73"/>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638" name="Google Shape;8638;p107"/>
                <p:cNvSpPr/>
                <p:nvPr/>
              </p:nvSpPr>
              <p:spPr>
                <a:xfrm>
                  <a:off x="9455875" y="2286606"/>
                  <a:ext cx="137251" cy="112148"/>
                </a:xfrm>
                <a:custGeom>
                  <a:avLst/>
                  <a:gdLst/>
                  <a:ahLst/>
                  <a:cxnLst/>
                  <a:rect l="l" t="t" r="r" b="b"/>
                  <a:pathLst>
                    <a:path w="10011" h="8180" extrusionOk="0">
                      <a:moveTo>
                        <a:pt x="515" y="1"/>
                      </a:moveTo>
                      <a:cubicBezTo>
                        <a:pt x="230" y="7"/>
                        <a:pt x="0" y="243"/>
                        <a:pt x="0" y="531"/>
                      </a:cubicBezTo>
                      <a:cubicBezTo>
                        <a:pt x="0" y="819"/>
                        <a:pt x="230" y="1052"/>
                        <a:pt x="515" y="1062"/>
                      </a:cubicBezTo>
                      <a:lnTo>
                        <a:pt x="4979" y="1062"/>
                      </a:lnTo>
                      <a:cubicBezTo>
                        <a:pt x="7173" y="1062"/>
                        <a:pt x="8946" y="2838"/>
                        <a:pt x="8949" y="5031"/>
                      </a:cubicBezTo>
                      <a:lnTo>
                        <a:pt x="8949" y="7649"/>
                      </a:lnTo>
                      <a:cubicBezTo>
                        <a:pt x="8949" y="7943"/>
                        <a:pt x="9188" y="8179"/>
                        <a:pt x="9480" y="8179"/>
                      </a:cubicBezTo>
                      <a:cubicBezTo>
                        <a:pt x="9771" y="8179"/>
                        <a:pt x="10010" y="7943"/>
                        <a:pt x="10010" y="7652"/>
                      </a:cubicBezTo>
                      <a:lnTo>
                        <a:pt x="10010" y="5031"/>
                      </a:lnTo>
                      <a:cubicBezTo>
                        <a:pt x="10007" y="2252"/>
                        <a:pt x="7758" y="4"/>
                        <a:pt x="4979" y="1"/>
                      </a:cubicBezTo>
                      <a:close/>
                    </a:path>
                  </a:pathLst>
                </a:custGeom>
                <a:solidFill>
                  <a:srgbClr val="445D73"/>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639" name="Google Shape;8639;p107"/>
                <p:cNvSpPr/>
                <p:nvPr/>
              </p:nvSpPr>
              <p:spPr>
                <a:xfrm>
                  <a:off x="9578545" y="2355317"/>
                  <a:ext cx="116370" cy="14560"/>
                </a:xfrm>
                <a:custGeom>
                  <a:avLst/>
                  <a:gdLst/>
                  <a:ahLst/>
                  <a:cxnLst/>
                  <a:rect l="l" t="t" r="r" b="b"/>
                  <a:pathLst>
                    <a:path w="8488" h="1062" extrusionOk="0">
                      <a:moveTo>
                        <a:pt x="519" y="0"/>
                      </a:moveTo>
                      <a:cubicBezTo>
                        <a:pt x="231" y="10"/>
                        <a:pt x="1" y="243"/>
                        <a:pt x="1" y="531"/>
                      </a:cubicBezTo>
                      <a:cubicBezTo>
                        <a:pt x="1" y="819"/>
                        <a:pt x="231" y="1051"/>
                        <a:pt x="519" y="1061"/>
                      </a:cubicBezTo>
                      <a:lnTo>
                        <a:pt x="7973" y="1061"/>
                      </a:lnTo>
                      <a:cubicBezTo>
                        <a:pt x="8261" y="1051"/>
                        <a:pt x="8487" y="819"/>
                        <a:pt x="8487" y="531"/>
                      </a:cubicBezTo>
                      <a:cubicBezTo>
                        <a:pt x="8487" y="243"/>
                        <a:pt x="8261" y="10"/>
                        <a:pt x="7973" y="0"/>
                      </a:cubicBezTo>
                      <a:close/>
                    </a:path>
                  </a:pathLst>
                </a:custGeom>
                <a:solidFill>
                  <a:srgbClr val="445D73"/>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640" name="Google Shape;8640;p107"/>
                <p:cNvSpPr/>
                <p:nvPr/>
              </p:nvSpPr>
              <p:spPr>
                <a:xfrm>
                  <a:off x="9533620" y="2389824"/>
                  <a:ext cx="104429" cy="58240"/>
                </a:xfrm>
                <a:custGeom>
                  <a:avLst/>
                  <a:gdLst/>
                  <a:ahLst/>
                  <a:cxnLst/>
                  <a:rect l="l" t="t" r="r" b="b"/>
                  <a:pathLst>
                    <a:path w="7617" h="4248" extrusionOk="0">
                      <a:moveTo>
                        <a:pt x="2890" y="0"/>
                      </a:moveTo>
                      <a:cubicBezTo>
                        <a:pt x="1295" y="0"/>
                        <a:pt x="4" y="1294"/>
                        <a:pt x="1" y="2889"/>
                      </a:cubicBezTo>
                      <a:lnTo>
                        <a:pt x="1" y="3439"/>
                      </a:lnTo>
                      <a:cubicBezTo>
                        <a:pt x="10" y="3724"/>
                        <a:pt x="243" y="3954"/>
                        <a:pt x="531" y="3954"/>
                      </a:cubicBezTo>
                      <a:cubicBezTo>
                        <a:pt x="819" y="3954"/>
                        <a:pt x="1055" y="3724"/>
                        <a:pt x="1062" y="3439"/>
                      </a:cubicBezTo>
                      <a:lnTo>
                        <a:pt x="1062" y="2889"/>
                      </a:lnTo>
                      <a:cubicBezTo>
                        <a:pt x="1062" y="1880"/>
                        <a:pt x="1880" y="1061"/>
                        <a:pt x="2890" y="1058"/>
                      </a:cubicBezTo>
                      <a:lnTo>
                        <a:pt x="4669" y="1058"/>
                      </a:lnTo>
                      <a:cubicBezTo>
                        <a:pt x="5711" y="1061"/>
                        <a:pt x="6555" y="1902"/>
                        <a:pt x="6555" y="2944"/>
                      </a:cubicBezTo>
                      <a:lnTo>
                        <a:pt x="6555" y="3717"/>
                      </a:lnTo>
                      <a:cubicBezTo>
                        <a:pt x="6555" y="4012"/>
                        <a:pt x="6795" y="4248"/>
                        <a:pt x="7086" y="4248"/>
                      </a:cubicBezTo>
                      <a:cubicBezTo>
                        <a:pt x="7380" y="4248"/>
                        <a:pt x="7617" y="4012"/>
                        <a:pt x="7617" y="3717"/>
                      </a:cubicBezTo>
                      <a:lnTo>
                        <a:pt x="7617" y="2944"/>
                      </a:lnTo>
                      <a:cubicBezTo>
                        <a:pt x="7613" y="1320"/>
                        <a:pt x="6297" y="0"/>
                        <a:pt x="4669" y="0"/>
                      </a:cubicBezTo>
                      <a:close/>
                    </a:path>
                  </a:pathLst>
                </a:custGeom>
                <a:solidFill>
                  <a:srgbClr val="445D73"/>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641" name="Google Shape;8641;p107"/>
                <p:cNvSpPr/>
                <p:nvPr/>
              </p:nvSpPr>
              <p:spPr>
                <a:xfrm>
                  <a:off x="9504885" y="2171202"/>
                  <a:ext cx="97684" cy="14519"/>
                </a:xfrm>
                <a:custGeom>
                  <a:avLst/>
                  <a:gdLst/>
                  <a:ahLst/>
                  <a:cxnLst/>
                  <a:rect l="l" t="t" r="r" b="b"/>
                  <a:pathLst>
                    <a:path w="7125" h="1059" extrusionOk="0">
                      <a:moveTo>
                        <a:pt x="6598" y="0"/>
                      </a:moveTo>
                      <a:cubicBezTo>
                        <a:pt x="6592" y="0"/>
                        <a:pt x="6587" y="0"/>
                        <a:pt x="6581" y="0"/>
                      </a:cubicBezTo>
                      <a:lnTo>
                        <a:pt x="515" y="0"/>
                      </a:lnTo>
                      <a:cubicBezTo>
                        <a:pt x="227" y="7"/>
                        <a:pt x="0" y="243"/>
                        <a:pt x="0" y="528"/>
                      </a:cubicBezTo>
                      <a:cubicBezTo>
                        <a:pt x="0" y="816"/>
                        <a:pt x="227" y="1052"/>
                        <a:pt x="515" y="1058"/>
                      </a:cubicBezTo>
                      <a:lnTo>
                        <a:pt x="6581" y="1058"/>
                      </a:lnTo>
                      <a:cubicBezTo>
                        <a:pt x="6587" y="1058"/>
                        <a:pt x="6592" y="1059"/>
                        <a:pt x="6598" y="1059"/>
                      </a:cubicBezTo>
                      <a:cubicBezTo>
                        <a:pt x="6888" y="1059"/>
                        <a:pt x="7124" y="823"/>
                        <a:pt x="7124" y="528"/>
                      </a:cubicBezTo>
                      <a:cubicBezTo>
                        <a:pt x="7124" y="236"/>
                        <a:pt x="6888" y="0"/>
                        <a:pt x="6598" y="0"/>
                      </a:cubicBezTo>
                      <a:close/>
                    </a:path>
                  </a:pathLst>
                </a:custGeom>
                <a:solidFill>
                  <a:srgbClr val="445D73"/>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642" name="Google Shape;8642;p107"/>
                <p:cNvSpPr/>
                <p:nvPr/>
              </p:nvSpPr>
              <p:spPr>
                <a:xfrm>
                  <a:off x="9587826" y="2129731"/>
                  <a:ext cx="106993" cy="97464"/>
                </a:xfrm>
                <a:custGeom>
                  <a:avLst/>
                  <a:gdLst/>
                  <a:ahLst/>
                  <a:cxnLst/>
                  <a:rect l="l" t="t" r="r" b="b"/>
                  <a:pathLst>
                    <a:path w="7804" h="7109" extrusionOk="0">
                      <a:moveTo>
                        <a:pt x="4230" y="0"/>
                      </a:moveTo>
                      <a:cubicBezTo>
                        <a:pt x="4224" y="0"/>
                        <a:pt x="4218" y="0"/>
                        <a:pt x="4213" y="0"/>
                      </a:cubicBezTo>
                      <a:lnTo>
                        <a:pt x="3339" y="0"/>
                      </a:lnTo>
                      <a:cubicBezTo>
                        <a:pt x="1495" y="0"/>
                        <a:pt x="3" y="1495"/>
                        <a:pt x="0" y="3336"/>
                      </a:cubicBezTo>
                      <a:lnTo>
                        <a:pt x="0" y="3850"/>
                      </a:lnTo>
                      <a:cubicBezTo>
                        <a:pt x="3" y="5649"/>
                        <a:pt x="1459" y="7108"/>
                        <a:pt x="3258" y="7108"/>
                      </a:cubicBezTo>
                      <a:lnTo>
                        <a:pt x="7286" y="7108"/>
                      </a:lnTo>
                      <a:cubicBezTo>
                        <a:pt x="7574" y="7102"/>
                        <a:pt x="7804" y="6866"/>
                        <a:pt x="7804" y="6578"/>
                      </a:cubicBezTo>
                      <a:cubicBezTo>
                        <a:pt x="7804" y="6290"/>
                        <a:pt x="7574" y="6057"/>
                        <a:pt x="7286" y="6047"/>
                      </a:cubicBezTo>
                      <a:lnTo>
                        <a:pt x="3258" y="6047"/>
                      </a:lnTo>
                      <a:cubicBezTo>
                        <a:pt x="2045" y="6047"/>
                        <a:pt x="1061" y="5064"/>
                        <a:pt x="1061" y="3850"/>
                      </a:cubicBezTo>
                      <a:lnTo>
                        <a:pt x="1061" y="3336"/>
                      </a:lnTo>
                      <a:cubicBezTo>
                        <a:pt x="1061" y="2081"/>
                        <a:pt x="2080" y="1061"/>
                        <a:pt x="3339" y="1058"/>
                      </a:cubicBezTo>
                      <a:lnTo>
                        <a:pt x="4213" y="1058"/>
                      </a:lnTo>
                      <a:cubicBezTo>
                        <a:pt x="4218" y="1058"/>
                        <a:pt x="4224" y="1059"/>
                        <a:pt x="4230" y="1059"/>
                      </a:cubicBezTo>
                      <a:cubicBezTo>
                        <a:pt x="4520" y="1059"/>
                        <a:pt x="4756" y="823"/>
                        <a:pt x="4756" y="528"/>
                      </a:cubicBezTo>
                      <a:cubicBezTo>
                        <a:pt x="4756" y="236"/>
                        <a:pt x="4520" y="0"/>
                        <a:pt x="4230" y="0"/>
                      </a:cubicBezTo>
                      <a:close/>
                    </a:path>
                  </a:pathLst>
                </a:custGeom>
                <a:solidFill>
                  <a:srgbClr val="445D73"/>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grpSp>
      <p:grpSp>
        <p:nvGrpSpPr>
          <p:cNvPr id="8643" name="Google Shape;8643;p107"/>
          <p:cNvGrpSpPr/>
          <p:nvPr/>
        </p:nvGrpSpPr>
        <p:grpSpPr>
          <a:xfrm>
            <a:off x="5375066" y="1588589"/>
            <a:ext cx="950076" cy="1047868"/>
            <a:chOff x="4206459" y="1191441"/>
            <a:chExt cx="712557" cy="785901"/>
          </a:xfrm>
        </p:grpSpPr>
        <p:sp>
          <p:nvSpPr>
            <p:cNvPr id="8644" name="Google Shape;8644;p107"/>
            <p:cNvSpPr/>
            <p:nvPr/>
          </p:nvSpPr>
          <p:spPr>
            <a:xfrm>
              <a:off x="4548248" y="1328649"/>
              <a:ext cx="325201" cy="322547"/>
            </a:xfrm>
            <a:custGeom>
              <a:avLst/>
              <a:gdLst/>
              <a:ahLst/>
              <a:cxnLst/>
              <a:rect l="l" t="t" r="r" b="b"/>
              <a:pathLst>
                <a:path w="25486" h="25278" extrusionOk="0">
                  <a:moveTo>
                    <a:pt x="12746" y="4905"/>
                  </a:moveTo>
                  <a:cubicBezTo>
                    <a:pt x="13701" y="4905"/>
                    <a:pt x="14672" y="5083"/>
                    <a:pt x="15613" y="5460"/>
                  </a:cubicBezTo>
                  <a:cubicBezTo>
                    <a:pt x="19580" y="7047"/>
                    <a:pt x="21508" y="11545"/>
                    <a:pt x="19923" y="15511"/>
                  </a:cubicBezTo>
                  <a:cubicBezTo>
                    <a:pt x="18714" y="18534"/>
                    <a:pt x="15811" y="20374"/>
                    <a:pt x="12742" y="20374"/>
                  </a:cubicBezTo>
                  <a:cubicBezTo>
                    <a:pt x="11786" y="20374"/>
                    <a:pt x="10814" y="20196"/>
                    <a:pt x="9873" y="19819"/>
                  </a:cubicBezTo>
                  <a:cubicBezTo>
                    <a:pt x="5908" y="18234"/>
                    <a:pt x="3978" y="13734"/>
                    <a:pt x="5563" y="9769"/>
                  </a:cubicBezTo>
                  <a:cubicBezTo>
                    <a:pt x="6772" y="6745"/>
                    <a:pt x="9676" y="4905"/>
                    <a:pt x="12746" y="4905"/>
                  </a:cubicBezTo>
                  <a:close/>
                  <a:moveTo>
                    <a:pt x="15551" y="1"/>
                  </a:moveTo>
                  <a:cubicBezTo>
                    <a:pt x="15240" y="1"/>
                    <a:pt x="14946" y="187"/>
                    <a:pt x="14824" y="492"/>
                  </a:cubicBezTo>
                  <a:lnTo>
                    <a:pt x="14047" y="2435"/>
                  </a:lnTo>
                  <a:cubicBezTo>
                    <a:pt x="13612" y="2378"/>
                    <a:pt x="13174" y="2350"/>
                    <a:pt x="12736" y="2350"/>
                  </a:cubicBezTo>
                  <a:cubicBezTo>
                    <a:pt x="12218" y="2350"/>
                    <a:pt x="11700" y="2390"/>
                    <a:pt x="11187" y="2469"/>
                  </a:cubicBezTo>
                  <a:lnTo>
                    <a:pt x="10364" y="547"/>
                  </a:lnTo>
                  <a:cubicBezTo>
                    <a:pt x="10238" y="251"/>
                    <a:pt x="9949" y="73"/>
                    <a:pt x="9646" y="73"/>
                  </a:cubicBezTo>
                  <a:cubicBezTo>
                    <a:pt x="9543" y="73"/>
                    <a:pt x="9438" y="93"/>
                    <a:pt x="9338" y="137"/>
                  </a:cubicBezTo>
                  <a:lnTo>
                    <a:pt x="6036" y="1553"/>
                  </a:lnTo>
                  <a:cubicBezTo>
                    <a:pt x="5640" y="1722"/>
                    <a:pt x="5456" y="2182"/>
                    <a:pt x="5626" y="2579"/>
                  </a:cubicBezTo>
                  <a:lnTo>
                    <a:pt x="6449" y="4501"/>
                  </a:lnTo>
                  <a:cubicBezTo>
                    <a:pt x="5690" y="5085"/>
                    <a:pt x="5019" y="5775"/>
                    <a:pt x="4452" y="6549"/>
                  </a:cubicBezTo>
                  <a:lnTo>
                    <a:pt x="2510" y="5772"/>
                  </a:lnTo>
                  <a:cubicBezTo>
                    <a:pt x="2414" y="5734"/>
                    <a:pt x="2316" y="5716"/>
                    <a:pt x="2219" y="5716"/>
                  </a:cubicBezTo>
                  <a:cubicBezTo>
                    <a:pt x="1910" y="5716"/>
                    <a:pt x="1616" y="5901"/>
                    <a:pt x="1493" y="6208"/>
                  </a:cubicBezTo>
                  <a:lnTo>
                    <a:pt x="161" y="9542"/>
                  </a:lnTo>
                  <a:cubicBezTo>
                    <a:pt x="0" y="9944"/>
                    <a:pt x="194" y="10398"/>
                    <a:pt x="596" y="10558"/>
                  </a:cubicBezTo>
                  <a:lnTo>
                    <a:pt x="2537" y="11335"/>
                  </a:lnTo>
                  <a:cubicBezTo>
                    <a:pt x="2415" y="12285"/>
                    <a:pt x="2426" y="13249"/>
                    <a:pt x="2572" y="14195"/>
                  </a:cubicBezTo>
                  <a:lnTo>
                    <a:pt x="651" y="15018"/>
                  </a:lnTo>
                  <a:cubicBezTo>
                    <a:pt x="253" y="15189"/>
                    <a:pt x="71" y="15649"/>
                    <a:pt x="241" y="16046"/>
                  </a:cubicBezTo>
                  <a:lnTo>
                    <a:pt x="1655" y="19347"/>
                  </a:lnTo>
                  <a:cubicBezTo>
                    <a:pt x="1781" y="19643"/>
                    <a:pt x="2070" y="19821"/>
                    <a:pt x="2373" y="19821"/>
                  </a:cubicBezTo>
                  <a:cubicBezTo>
                    <a:pt x="2476" y="19821"/>
                    <a:pt x="2581" y="19800"/>
                    <a:pt x="2681" y="19756"/>
                  </a:cubicBezTo>
                  <a:lnTo>
                    <a:pt x="4603" y="18933"/>
                  </a:lnTo>
                  <a:cubicBezTo>
                    <a:pt x="5189" y="19692"/>
                    <a:pt x="5879" y="20365"/>
                    <a:pt x="6651" y="20930"/>
                  </a:cubicBezTo>
                  <a:lnTo>
                    <a:pt x="5874" y="22873"/>
                  </a:lnTo>
                  <a:cubicBezTo>
                    <a:pt x="5714" y="23273"/>
                    <a:pt x="5909" y="23728"/>
                    <a:pt x="6310" y="23888"/>
                  </a:cubicBezTo>
                  <a:lnTo>
                    <a:pt x="9645" y="25222"/>
                  </a:lnTo>
                  <a:cubicBezTo>
                    <a:pt x="9740" y="25260"/>
                    <a:pt x="9838" y="25278"/>
                    <a:pt x="9935" y="25278"/>
                  </a:cubicBezTo>
                  <a:cubicBezTo>
                    <a:pt x="10245" y="25278"/>
                    <a:pt x="10538" y="25092"/>
                    <a:pt x="10660" y="24786"/>
                  </a:cubicBezTo>
                  <a:lnTo>
                    <a:pt x="11437" y="22845"/>
                  </a:lnTo>
                  <a:cubicBezTo>
                    <a:pt x="11871" y="22901"/>
                    <a:pt x="12308" y="22929"/>
                    <a:pt x="12745" y="22929"/>
                  </a:cubicBezTo>
                  <a:cubicBezTo>
                    <a:pt x="13264" y="22929"/>
                    <a:pt x="13784" y="22889"/>
                    <a:pt x="14299" y="22810"/>
                  </a:cubicBezTo>
                  <a:lnTo>
                    <a:pt x="15122" y="24732"/>
                  </a:lnTo>
                  <a:cubicBezTo>
                    <a:pt x="15248" y="25028"/>
                    <a:pt x="15536" y="25206"/>
                    <a:pt x="15839" y="25206"/>
                  </a:cubicBezTo>
                  <a:cubicBezTo>
                    <a:pt x="15943" y="25206"/>
                    <a:pt x="16047" y="25185"/>
                    <a:pt x="16148" y="25142"/>
                  </a:cubicBezTo>
                  <a:lnTo>
                    <a:pt x="19449" y="23728"/>
                  </a:lnTo>
                  <a:cubicBezTo>
                    <a:pt x="19846" y="23558"/>
                    <a:pt x="20030" y="23098"/>
                    <a:pt x="19860" y="22701"/>
                  </a:cubicBezTo>
                  <a:lnTo>
                    <a:pt x="19037" y="20780"/>
                  </a:lnTo>
                  <a:cubicBezTo>
                    <a:pt x="19794" y="20194"/>
                    <a:pt x="20467" y="19503"/>
                    <a:pt x="21034" y="18732"/>
                  </a:cubicBezTo>
                  <a:lnTo>
                    <a:pt x="22975" y="19508"/>
                  </a:lnTo>
                  <a:cubicBezTo>
                    <a:pt x="23070" y="19546"/>
                    <a:pt x="23168" y="19564"/>
                    <a:pt x="23265" y="19564"/>
                  </a:cubicBezTo>
                  <a:cubicBezTo>
                    <a:pt x="23576" y="19564"/>
                    <a:pt x="23869" y="19378"/>
                    <a:pt x="23992" y="19073"/>
                  </a:cubicBezTo>
                  <a:lnTo>
                    <a:pt x="25326" y="15737"/>
                  </a:lnTo>
                  <a:cubicBezTo>
                    <a:pt x="25486" y="15337"/>
                    <a:pt x="25290" y="14882"/>
                    <a:pt x="24890" y="14722"/>
                  </a:cubicBezTo>
                  <a:lnTo>
                    <a:pt x="22948" y="13945"/>
                  </a:lnTo>
                  <a:cubicBezTo>
                    <a:pt x="23071" y="12994"/>
                    <a:pt x="23060" y="12032"/>
                    <a:pt x="22914" y="11084"/>
                  </a:cubicBezTo>
                  <a:lnTo>
                    <a:pt x="24835" y="10261"/>
                  </a:lnTo>
                  <a:cubicBezTo>
                    <a:pt x="25231" y="10091"/>
                    <a:pt x="25415" y="9631"/>
                    <a:pt x="25245" y="9234"/>
                  </a:cubicBezTo>
                  <a:lnTo>
                    <a:pt x="23830" y="5934"/>
                  </a:lnTo>
                  <a:cubicBezTo>
                    <a:pt x="23703" y="5637"/>
                    <a:pt x="23414" y="5459"/>
                    <a:pt x="23111" y="5459"/>
                  </a:cubicBezTo>
                  <a:cubicBezTo>
                    <a:pt x="23008" y="5459"/>
                    <a:pt x="22904" y="5479"/>
                    <a:pt x="22803" y="5522"/>
                  </a:cubicBezTo>
                  <a:lnTo>
                    <a:pt x="20882" y="6347"/>
                  </a:lnTo>
                  <a:cubicBezTo>
                    <a:pt x="20297" y="5588"/>
                    <a:pt x="19607" y="4915"/>
                    <a:pt x="18835" y="4348"/>
                  </a:cubicBezTo>
                  <a:lnTo>
                    <a:pt x="19610" y="2408"/>
                  </a:lnTo>
                  <a:cubicBezTo>
                    <a:pt x="19770" y="2006"/>
                    <a:pt x="19577" y="1551"/>
                    <a:pt x="19175" y="1391"/>
                  </a:cubicBezTo>
                  <a:lnTo>
                    <a:pt x="15841" y="57"/>
                  </a:lnTo>
                  <a:cubicBezTo>
                    <a:pt x="15745" y="19"/>
                    <a:pt x="15647" y="1"/>
                    <a:pt x="15551" y="1"/>
                  </a:cubicBezTo>
                  <a:close/>
                </a:path>
              </a:pathLst>
            </a:custGeom>
            <a:noFill/>
            <a:ln w="9525" cap="flat" cmpd="sng">
              <a:solidFill>
                <a:srgbClr val="445D73"/>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645" name="Google Shape;8645;p107"/>
            <p:cNvSpPr/>
            <p:nvPr/>
          </p:nvSpPr>
          <p:spPr>
            <a:xfrm>
              <a:off x="4557499" y="1656607"/>
              <a:ext cx="306674" cy="306648"/>
            </a:xfrm>
            <a:custGeom>
              <a:avLst/>
              <a:gdLst/>
              <a:ahLst/>
              <a:cxnLst/>
              <a:rect l="l" t="t" r="r" b="b"/>
              <a:pathLst>
                <a:path w="24034" h="24032" extrusionOk="0">
                  <a:moveTo>
                    <a:pt x="12017" y="4775"/>
                  </a:moveTo>
                  <a:cubicBezTo>
                    <a:pt x="16016" y="4775"/>
                    <a:pt x="19258" y="8018"/>
                    <a:pt x="19258" y="12017"/>
                  </a:cubicBezTo>
                  <a:cubicBezTo>
                    <a:pt x="19258" y="16015"/>
                    <a:pt x="16016" y="19256"/>
                    <a:pt x="12019" y="19256"/>
                  </a:cubicBezTo>
                  <a:lnTo>
                    <a:pt x="12017" y="19256"/>
                  </a:lnTo>
                  <a:cubicBezTo>
                    <a:pt x="8019" y="19256"/>
                    <a:pt x="4778" y="16015"/>
                    <a:pt x="4778" y="12017"/>
                  </a:cubicBezTo>
                  <a:cubicBezTo>
                    <a:pt x="4778" y="8018"/>
                    <a:pt x="8019" y="4775"/>
                    <a:pt x="12017" y="4775"/>
                  </a:cubicBezTo>
                  <a:close/>
                  <a:moveTo>
                    <a:pt x="10336" y="0"/>
                  </a:moveTo>
                  <a:cubicBezTo>
                    <a:pt x="9932" y="0"/>
                    <a:pt x="9604" y="327"/>
                    <a:pt x="9604" y="732"/>
                  </a:cubicBezTo>
                  <a:lnTo>
                    <a:pt x="9604" y="2689"/>
                  </a:lnTo>
                  <a:cubicBezTo>
                    <a:pt x="8734" y="2913"/>
                    <a:pt x="7902" y="3259"/>
                    <a:pt x="7128" y="3714"/>
                  </a:cubicBezTo>
                  <a:lnTo>
                    <a:pt x="5745" y="2330"/>
                  </a:lnTo>
                  <a:cubicBezTo>
                    <a:pt x="5602" y="2187"/>
                    <a:pt x="5415" y="2115"/>
                    <a:pt x="5228" y="2115"/>
                  </a:cubicBezTo>
                  <a:cubicBezTo>
                    <a:pt x="5040" y="2115"/>
                    <a:pt x="4853" y="2187"/>
                    <a:pt x="4710" y="2330"/>
                  </a:cubicBezTo>
                  <a:lnTo>
                    <a:pt x="2332" y="4708"/>
                  </a:lnTo>
                  <a:cubicBezTo>
                    <a:pt x="2046" y="4995"/>
                    <a:pt x="2046" y="5457"/>
                    <a:pt x="2332" y="5744"/>
                  </a:cubicBezTo>
                  <a:lnTo>
                    <a:pt x="3716" y="7128"/>
                  </a:lnTo>
                  <a:cubicBezTo>
                    <a:pt x="3260" y="7900"/>
                    <a:pt x="2915" y="8734"/>
                    <a:pt x="2691" y="9602"/>
                  </a:cubicBezTo>
                  <a:lnTo>
                    <a:pt x="734" y="9602"/>
                  </a:lnTo>
                  <a:cubicBezTo>
                    <a:pt x="329" y="9602"/>
                    <a:pt x="1" y="9930"/>
                    <a:pt x="1" y="10335"/>
                  </a:cubicBezTo>
                  <a:lnTo>
                    <a:pt x="1" y="13698"/>
                  </a:lnTo>
                  <a:cubicBezTo>
                    <a:pt x="1" y="14101"/>
                    <a:pt x="329" y="14430"/>
                    <a:pt x="734" y="14430"/>
                  </a:cubicBezTo>
                  <a:lnTo>
                    <a:pt x="2691" y="14430"/>
                  </a:lnTo>
                  <a:cubicBezTo>
                    <a:pt x="2915" y="15298"/>
                    <a:pt x="3260" y="16132"/>
                    <a:pt x="3716" y="16904"/>
                  </a:cubicBezTo>
                  <a:lnTo>
                    <a:pt x="2332" y="18289"/>
                  </a:lnTo>
                  <a:cubicBezTo>
                    <a:pt x="2046" y="18574"/>
                    <a:pt x="2046" y="19038"/>
                    <a:pt x="2332" y="19323"/>
                  </a:cubicBezTo>
                  <a:lnTo>
                    <a:pt x="4710" y="21701"/>
                  </a:lnTo>
                  <a:cubicBezTo>
                    <a:pt x="4853" y="21845"/>
                    <a:pt x="5040" y="21916"/>
                    <a:pt x="5228" y="21916"/>
                  </a:cubicBezTo>
                  <a:cubicBezTo>
                    <a:pt x="5415" y="21916"/>
                    <a:pt x="5602" y="21845"/>
                    <a:pt x="5745" y="21701"/>
                  </a:cubicBezTo>
                  <a:lnTo>
                    <a:pt x="7128" y="20318"/>
                  </a:lnTo>
                  <a:cubicBezTo>
                    <a:pt x="7902" y="20774"/>
                    <a:pt x="8736" y="21118"/>
                    <a:pt x="9604" y="21343"/>
                  </a:cubicBezTo>
                  <a:lnTo>
                    <a:pt x="9604" y="23299"/>
                  </a:lnTo>
                  <a:cubicBezTo>
                    <a:pt x="9604" y="23705"/>
                    <a:pt x="9932" y="24031"/>
                    <a:pt x="10336" y="24031"/>
                  </a:cubicBezTo>
                  <a:lnTo>
                    <a:pt x="13699" y="24031"/>
                  </a:lnTo>
                  <a:cubicBezTo>
                    <a:pt x="14104" y="24031"/>
                    <a:pt x="14432" y="23705"/>
                    <a:pt x="14432" y="23299"/>
                  </a:cubicBezTo>
                  <a:lnTo>
                    <a:pt x="14432" y="21343"/>
                  </a:lnTo>
                  <a:cubicBezTo>
                    <a:pt x="15300" y="21118"/>
                    <a:pt x="16134" y="20773"/>
                    <a:pt x="16906" y="20318"/>
                  </a:cubicBezTo>
                  <a:lnTo>
                    <a:pt x="18290" y="21701"/>
                  </a:lnTo>
                  <a:cubicBezTo>
                    <a:pt x="18433" y="21844"/>
                    <a:pt x="18620" y="21915"/>
                    <a:pt x="18808" y="21915"/>
                  </a:cubicBezTo>
                  <a:cubicBezTo>
                    <a:pt x="18995" y="21915"/>
                    <a:pt x="19182" y="21844"/>
                    <a:pt x="19326" y="21701"/>
                  </a:cubicBezTo>
                  <a:lnTo>
                    <a:pt x="21704" y="19323"/>
                  </a:lnTo>
                  <a:cubicBezTo>
                    <a:pt x="21989" y="19037"/>
                    <a:pt x="21989" y="18574"/>
                    <a:pt x="21704" y="18287"/>
                  </a:cubicBezTo>
                  <a:lnTo>
                    <a:pt x="20320" y="16904"/>
                  </a:lnTo>
                  <a:cubicBezTo>
                    <a:pt x="20775" y="16130"/>
                    <a:pt x="21121" y="15298"/>
                    <a:pt x="21345" y="14430"/>
                  </a:cubicBezTo>
                  <a:lnTo>
                    <a:pt x="23302" y="14430"/>
                  </a:lnTo>
                  <a:cubicBezTo>
                    <a:pt x="23705" y="14430"/>
                    <a:pt x="24034" y="14101"/>
                    <a:pt x="24034" y="13696"/>
                  </a:cubicBezTo>
                  <a:lnTo>
                    <a:pt x="24034" y="10334"/>
                  </a:lnTo>
                  <a:cubicBezTo>
                    <a:pt x="24034" y="9930"/>
                    <a:pt x="23705" y="9602"/>
                    <a:pt x="23302" y="9602"/>
                  </a:cubicBezTo>
                  <a:lnTo>
                    <a:pt x="21343" y="9602"/>
                  </a:lnTo>
                  <a:cubicBezTo>
                    <a:pt x="21121" y="8734"/>
                    <a:pt x="20775" y="7900"/>
                    <a:pt x="20320" y="7128"/>
                  </a:cubicBezTo>
                  <a:lnTo>
                    <a:pt x="21704" y="5744"/>
                  </a:lnTo>
                  <a:cubicBezTo>
                    <a:pt x="21989" y="5457"/>
                    <a:pt x="21989" y="4995"/>
                    <a:pt x="21704" y="4708"/>
                  </a:cubicBezTo>
                  <a:lnTo>
                    <a:pt x="19326" y="2330"/>
                  </a:lnTo>
                  <a:cubicBezTo>
                    <a:pt x="19182" y="2187"/>
                    <a:pt x="18995" y="2115"/>
                    <a:pt x="18808" y="2115"/>
                  </a:cubicBezTo>
                  <a:cubicBezTo>
                    <a:pt x="18620" y="2115"/>
                    <a:pt x="18433" y="2187"/>
                    <a:pt x="18290" y="2330"/>
                  </a:cubicBezTo>
                  <a:lnTo>
                    <a:pt x="16906" y="3714"/>
                  </a:lnTo>
                  <a:cubicBezTo>
                    <a:pt x="16133" y="3259"/>
                    <a:pt x="15300" y="2913"/>
                    <a:pt x="14430" y="2689"/>
                  </a:cubicBezTo>
                  <a:lnTo>
                    <a:pt x="14430" y="732"/>
                  </a:lnTo>
                  <a:cubicBezTo>
                    <a:pt x="14430" y="327"/>
                    <a:pt x="14104" y="0"/>
                    <a:pt x="13699" y="0"/>
                  </a:cubicBezTo>
                  <a:close/>
                </a:path>
              </a:pathLst>
            </a:custGeom>
            <a:noFill/>
            <a:ln w="9525" cap="flat" cmpd="sng">
              <a:solidFill>
                <a:srgbClr val="869FB2"/>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646" name="Google Shape;8646;p107"/>
            <p:cNvSpPr/>
            <p:nvPr/>
          </p:nvSpPr>
          <p:spPr>
            <a:xfrm>
              <a:off x="4251067" y="1523035"/>
              <a:ext cx="327536" cy="325023"/>
            </a:xfrm>
            <a:custGeom>
              <a:avLst/>
              <a:gdLst/>
              <a:ahLst/>
              <a:cxnLst/>
              <a:rect l="l" t="t" r="r" b="b"/>
              <a:pathLst>
                <a:path w="25669" h="25472" extrusionOk="0">
                  <a:moveTo>
                    <a:pt x="12840" y="5002"/>
                  </a:moveTo>
                  <a:cubicBezTo>
                    <a:pt x="13949" y="5002"/>
                    <a:pt x="15075" y="5242"/>
                    <a:pt x="16144" y="5747"/>
                  </a:cubicBezTo>
                  <a:cubicBezTo>
                    <a:pt x="20003" y="7575"/>
                    <a:pt x="21651" y="12185"/>
                    <a:pt x="19822" y="16044"/>
                  </a:cubicBezTo>
                  <a:cubicBezTo>
                    <a:pt x="18501" y="18836"/>
                    <a:pt x="15726" y="20470"/>
                    <a:pt x="12830" y="20470"/>
                  </a:cubicBezTo>
                  <a:cubicBezTo>
                    <a:pt x="11721" y="20470"/>
                    <a:pt x="10595" y="20230"/>
                    <a:pt x="9525" y="19724"/>
                  </a:cubicBezTo>
                  <a:cubicBezTo>
                    <a:pt x="5666" y="17897"/>
                    <a:pt x="4018" y="13286"/>
                    <a:pt x="5845" y="9427"/>
                  </a:cubicBezTo>
                  <a:cubicBezTo>
                    <a:pt x="7167" y="6636"/>
                    <a:pt x="9944" y="5002"/>
                    <a:pt x="12840" y="5002"/>
                  </a:cubicBezTo>
                  <a:close/>
                  <a:moveTo>
                    <a:pt x="10471" y="1"/>
                  </a:moveTo>
                  <a:cubicBezTo>
                    <a:pt x="10383" y="1"/>
                    <a:pt x="10294" y="16"/>
                    <a:pt x="10208" y="47"/>
                  </a:cubicBezTo>
                  <a:lnTo>
                    <a:pt x="6824" y="1256"/>
                  </a:lnTo>
                  <a:cubicBezTo>
                    <a:pt x="6417" y="1401"/>
                    <a:pt x="6206" y="1848"/>
                    <a:pt x="6351" y="2255"/>
                  </a:cubicBezTo>
                  <a:lnTo>
                    <a:pt x="7054" y="4223"/>
                  </a:lnTo>
                  <a:cubicBezTo>
                    <a:pt x="6262" y="4761"/>
                    <a:pt x="5548" y="5408"/>
                    <a:pt x="4934" y="6145"/>
                  </a:cubicBezTo>
                  <a:lnTo>
                    <a:pt x="3045" y="5249"/>
                  </a:lnTo>
                  <a:cubicBezTo>
                    <a:pt x="2937" y="5199"/>
                    <a:pt x="2823" y="5174"/>
                    <a:pt x="2711" y="5174"/>
                  </a:cubicBezTo>
                  <a:cubicBezTo>
                    <a:pt x="2418" y="5174"/>
                    <a:pt x="2137" y="5340"/>
                    <a:pt x="2004" y="5623"/>
                  </a:cubicBezTo>
                  <a:lnTo>
                    <a:pt x="467" y="8868"/>
                  </a:lnTo>
                  <a:cubicBezTo>
                    <a:pt x="282" y="9259"/>
                    <a:pt x="449" y="9725"/>
                    <a:pt x="840" y="9909"/>
                  </a:cubicBezTo>
                  <a:lnTo>
                    <a:pt x="2729" y="10804"/>
                  </a:lnTo>
                  <a:cubicBezTo>
                    <a:pt x="2548" y="11744"/>
                    <a:pt x="2500" y="12707"/>
                    <a:pt x="2587" y="13661"/>
                  </a:cubicBezTo>
                  <a:lnTo>
                    <a:pt x="619" y="14364"/>
                  </a:lnTo>
                  <a:cubicBezTo>
                    <a:pt x="212" y="14510"/>
                    <a:pt x="1" y="14957"/>
                    <a:pt x="145" y="15363"/>
                  </a:cubicBezTo>
                  <a:lnTo>
                    <a:pt x="1354" y="18747"/>
                  </a:lnTo>
                  <a:cubicBezTo>
                    <a:pt x="1467" y="19067"/>
                    <a:pt x="1768" y="19265"/>
                    <a:pt x="2089" y="19265"/>
                  </a:cubicBezTo>
                  <a:cubicBezTo>
                    <a:pt x="2177" y="19265"/>
                    <a:pt x="2266" y="19251"/>
                    <a:pt x="2353" y="19219"/>
                  </a:cubicBezTo>
                  <a:lnTo>
                    <a:pt x="4321" y="18516"/>
                  </a:lnTo>
                  <a:cubicBezTo>
                    <a:pt x="4859" y="19309"/>
                    <a:pt x="5506" y="20023"/>
                    <a:pt x="6243" y="20637"/>
                  </a:cubicBezTo>
                  <a:lnTo>
                    <a:pt x="5347" y="22526"/>
                  </a:lnTo>
                  <a:cubicBezTo>
                    <a:pt x="5163" y="22917"/>
                    <a:pt x="5330" y="23383"/>
                    <a:pt x="5721" y="23567"/>
                  </a:cubicBezTo>
                  <a:lnTo>
                    <a:pt x="8966" y="25104"/>
                  </a:lnTo>
                  <a:cubicBezTo>
                    <a:pt x="9074" y="25155"/>
                    <a:pt x="9188" y="25179"/>
                    <a:pt x="9300" y="25179"/>
                  </a:cubicBezTo>
                  <a:cubicBezTo>
                    <a:pt x="9593" y="25179"/>
                    <a:pt x="9874" y="25014"/>
                    <a:pt x="10007" y="24731"/>
                  </a:cubicBezTo>
                  <a:lnTo>
                    <a:pt x="10902" y="22842"/>
                  </a:lnTo>
                  <a:cubicBezTo>
                    <a:pt x="11540" y="22964"/>
                    <a:pt x="12187" y="23026"/>
                    <a:pt x="12836" y="23026"/>
                  </a:cubicBezTo>
                  <a:cubicBezTo>
                    <a:pt x="13144" y="23026"/>
                    <a:pt x="13452" y="23012"/>
                    <a:pt x="13759" y="22984"/>
                  </a:cubicBezTo>
                  <a:lnTo>
                    <a:pt x="14462" y="24952"/>
                  </a:lnTo>
                  <a:cubicBezTo>
                    <a:pt x="14577" y="25272"/>
                    <a:pt x="14878" y="25471"/>
                    <a:pt x="15200" y="25471"/>
                  </a:cubicBezTo>
                  <a:cubicBezTo>
                    <a:pt x="15286" y="25471"/>
                    <a:pt x="15375" y="25457"/>
                    <a:pt x="15461" y="25426"/>
                  </a:cubicBezTo>
                  <a:lnTo>
                    <a:pt x="18845" y="24217"/>
                  </a:lnTo>
                  <a:cubicBezTo>
                    <a:pt x="19252" y="24071"/>
                    <a:pt x="19463" y="23625"/>
                    <a:pt x="19318" y="23218"/>
                  </a:cubicBezTo>
                  <a:lnTo>
                    <a:pt x="18615" y="21250"/>
                  </a:lnTo>
                  <a:cubicBezTo>
                    <a:pt x="19407" y="20712"/>
                    <a:pt x="20121" y="20065"/>
                    <a:pt x="20735" y="19328"/>
                  </a:cubicBezTo>
                  <a:lnTo>
                    <a:pt x="22624" y="20223"/>
                  </a:lnTo>
                  <a:cubicBezTo>
                    <a:pt x="22732" y="20274"/>
                    <a:pt x="22846" y="20298"/>
                    <a:pt x="22958" y="20298"/>
                  </a:cubicBezTo>
                  <a:cubicBezTo>
                    <a:pt x="23251" y="20298"/>
                    <a:pt x="23532" y="20133"/>
                    <a:pt x="23665" y="19850"/>
                  </a:cubicBezTo>
                  <a:lnTo>
                    <a:pt x="25202" y="16604"/>
                  </a:lnTo>
                  <a:cubicBezTo>
                    <a:pt x="25387" y="16214"/>
                    <a:pt x="25220" y="15748"/>
                    <a:pt x="24829" y="15564"/>
                  </a:cubicBezTo>
                  <a:lnTo>
                    <a:pt x="22940" y="14668"/>
                  </a:lnTo>
                  <a:cubicBezTo>
                    <a:pt x="23121" y="13727"/>
                    <a:pt x="23169" y="12766"/>
                    <a:pt x="23082" y="11812"/>
                  </a:cubicBezTo>
                  <a:lnTo>
                    <a:pt x="25050" y="11107"/>
                  </a:lnTo>
                  <a:cubicBezTo>
                    <a:pt x="25457" y="10963"/>
                    <a:pt x="25668" y="10515"/>
                    <a:pt x="25523" y="10108"/>
                  </a:cubicBezTo>
                  <a:lnTo>
                    <a:pt x="24315" y="6726"/>
                  </a:lnTo>
                  <a:cubicBezTo>
                    <a:pt x="24201" y="6406"/>
                    <a:pt x="23898" y="6207"/>
                    <a:pt x="23577" y="6207"/>
                  </a:cubicBezTo>
                  <a:cubicBezTo>
                    <a:pt x="23491" y="6207"/>
                    <a:pt x="23402" y="6221"/>
                    <a:pt x="23316" y="6252"/>
                  </a:cubicBezTo>
                  <a:lnTo>
                    <a:pt x="21348" y="6956"/>
                  </a:lnTo>
                  <a:cubicBezTo>
                    <a:pt x="20810" y="6162"/>
                    <a:pt x="20163" y="5450"/>
                    <a:pt x="19426" y="4836"/>
                  </a:cubicBezTo>
                  <a:lnTo>
                    <a:pt x="20320" y="2947"/>
                  </a:lnTo>
                  <a:cubicBezTo>
                    <a:pt x="20506" y="2556"/>
                    <a:pt x="20339" y="2090"/>
                    <a:pt x="19948" y="1906"/>
                  </a:cubicBezTo>
                  <a:lnTo>
                    <a:pt x="16703" y="369"/>
                  </a:lnTo>
                  <a:cubicBezTo>
                    <a:pt x="16595" y="318"/>
                    <a:pt x="16481" y="294"/>
                    <a:pt x="16369" y="294"/>
                  </a:cubicBezTo>
                  <a:cubicBezTo>
                    <a:pt x="16076" y="294"/>
                    <a:pt x="15795" y="459"/>
                    <a:pt x="15662" y="742"/>
                  </a:cubicBezTo>
                  <a:lnTo>
                    <a:pt x="14767" y="2631"/>
                  </a:lnTo>
                  <a:cubicBezTo>
                    <a:pt x="14130" y="2508"/>
                    <a:pt x="13485" y="2447"/>
                    <a:pt x="12839" y="2447"/>
                  </a:cubicBezTo>
                  <a:cubicBezTo>
                    <a:pt x="12529" y="2447"/>
                    <a:pt x="12219" y="2461"/>
                    <a:pt x="11910" y="2489"/>
                  </a:cubicBezTo>
                  <a:lnTo>
                    <a:pt x="11207" y="521"/>
                  </a:lnTo>
                  <a:cubicBezTo>
                    <a:pt x="11092" y="200"/>
                    <a:pt x="10791" y="1"/>
                    <a:pt x="10471" y="1"/>
                  </a:cubicBezTo>
                  <a:close/>
                </a:path>
              </a:pathLst>
            </a:custGeom>
            <a:noFill/>
            <a:ln w="9525" cap="flat" cmpd="sng">
              <a:solidFill>
                <a:srgbClr val="E3E9ED"/>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647" name="Google Shape;8647;p107"/>
            <p:cNvSpPr/>
            <p:nvPr/>
          </p:nvSpPr>
          <p:spPr>
            <a:xfrm>
              <a:off x="4277366" y="1220917"/>
              <a:ext cx="292242" cy="292217"/>
            </a:xfrm>
            <a:custGeom>
              <a:avLst/>
              <a:gdLst/>
              <a:ahLst/>
              <a:cxnLst/>
              <a:rect l="l" t="t" r="r" b="b"/>
              <a:pathLst>
                <a:path w="22903" h="22901" extrusionOk="0">
                  <a:moveTo>
                    <a:pt x="11452" y="4551"/>
                  </a:moveTo>
                  <a:cubicBezTo>
                    <a:pt x="15263" y="4551"/>
                    <a:pt x="18352" y="7640"/>
                    <a:pt x="18352" y="11451"/>
                  </a:cubicBezTo>
                  <a:cubicBezTo>
                    <a:pt x="18352" y="15262"/>
                    <a:pt x="15263" y="18350"/>
                    <a:pt x="11452" y="18350"/>
                  </a:cubicBezTo>
                  <a:lnTo>
                    <a:pt x="11452" y="18351"/>
                  </a:lnTo>
                  <a:cubicBezTo>
                    <a:pt x="7640" y="18351"/>
                    <a:pt x="4552" y="15262"/>
                    <a:pt x="4552" y="11451"/>
                  </a:cubicBezTo>
                  <a:cubicBezTo>
                    <a:pt x="4552" y="7640"/>
                    <a:pt x="7640" y="4551"/>
                    <a:pt x="11452" y="4551"/>
                  </a:cubicBezTo>
                  <a:close/>
                  <a:moveTo>
                    <a:pt x="9850" y="0"/>
                  </a:moveTo>
                  <a:cubicBezTo>
                    <a:pt x="9464" y="0"/>
                    <a:pt x="9152" y="312"/>
                    <a:pt x="9152" y="698"/>
                  </a:cubicBezTo>
                  <a:lnTo>
                    <a:pt x="9152" y="2564"/>
                  </a:lnTo>
                  <a:cubicBezTo>
                    <a:pt x="8324" y="2777"/>
                    <a:pt x="7530" y="3105"/>
                    <a:pt x="6793" y="3539"/>
                  </a:cubicBezTo>
                  <a:lnTo>
                    <a:pt x="5474" y="2221"/>
                  </a:lnTo>
                  <a:cubicBezTo>
                    <a:pt x="5338" y="2085"/>
                    <a:pt x="5159" y="2017"/>
                    <a:pt x="4981" y="2017"/>
                  </a:cubicBezTo>
                  <a:cubicBezTo>
                    <a:pt x="4802" y="2017"/>
                    <a:pt x="4624" y="2085"/>
                    <a:pt x="4487" y="2221"/>
                  </a:cubicBezTo>
                  <a:lnTo>
                    <a:pt x="2222" y="4487"/>
                  </a:lnTo>
                  <a:cubicBezTo>
                    <a:pt x="1949" y="4759"/>
                    <a:pt x="1949" y="5201"/>
                    <a:pt x="2222" y="5473"/>
                  </a:cubicBezTo>
                  <a:lnTo>
                    <a:pt x="3541" y="6791"/>
                  </a:lnTo>
                  <a:cubicBezTo>
                    <a:pt x="3107" y="7528"/>
                    <a:pt x="2777" y="8322"/>
                    <a:pt x="2564" y="9150"/>
                  </a:cubicBezTo>
                  <a:lnTo>
                    <a:pt x="699" y="9150"/>
                  </a:lnTo>
                  <a:cubicBezTo>
                    <a:pt x="313" y="9150"/>
                    <a:pt x="1" y="9462"/>
                    <a:pt x="1" y="9848"/>
                  </a:cubicBezTo>
                  <a:lnTo>
                    <a:pt x="1" y="13053"/>
                  </a:lnTo>
                  <a:cubicBezTo>
                    <a:pt x="1" y="13438"/>
                    <a:pt x="313" y="13751"/>
                    <a:pt x="699" y="13751"/>
                  </a:cubicBezTo>
                  <a:lnTo>
                    <a:pt x="2564" y="13751"/>
                  </a:lnTo>
                  <a:cubicBezTo>
                    <a:pt x="2777" y="14579"/>
                    <a:pt x="3106" y="15373"/>
                    <a:pt x="3541" y="16109"/>
                  </a:cubicBezTo>
                  <a:lnTo>
                    <a:pt x="2222" y="17427"/>
                  </a:lnTo>
                  <a:cubicBezTo>
                    <a:pt x="1949" y="17701"/>
                    <a:pt x="1949" y="18142"/>
                    <a:pt x="2222" y="18415"/>
                  </a:cubicBezTo>
                  <a:lnTo>
                    <a:pt x="4487" y="20681"/>
                  </a:lnTo>
                  <a:cubicBezTo>
                    <a:pt x="4624" y="20817"/>
                    <a:pt x="4802" y="20885"/>
                    <a:pt x="4981" y="20885"/>
                  </a:cubicBezTo>
                  <a:cubicBezTo>
                    <a:pt x="5159" y="20885"/>
                    <a:pt x="5338" y="20817"/>
                    <a:pt x="5474" y="20681"/>
                  </a:cubicBezTo>
                  <a:lnTo>
                    <a:pt x="6793" y="19362"/>
                  </a:lnTo>
                  <a:cubicBezTo>
                    <a:pt x="7530" y="19796"/>
                    <a:pt x="8324" y="20124"/>
                    <a:pt x="9152" y="20339"/>
                  </a:cubicBezTo>
                  <a:lnTo>
                    <a:pt x="9152" y="22204"/>
                  </a:lnTo>
                  <a:cubicBezTo>
                    <a:pt x="9152" y="22588"/>
                    <a:pt x="9464" y="22901"/>
                    <a:pt x="9850" y="22901"/>
                  </a:cubicBezTo>
                  <a:lnTo>
                    <a:pt x="13055" y="22901"/>
                  </a:lnTo>
                  <a:cubicBezTo>
                    <a:pt x="13439" y="22901"/>
                    <a:pt x="13751" y="22588"/>
                    <a:pt x="13751" y="22204"/>
                  </a:cubicBezTo>
                  <a:lnTo>
                    <a:pt x="13751" y="20339"/>
                  </a:lnTo>
                  <a:cubicBezTo>
                    <a:pt x="14581" y="20124"/>
                    <a:pt x="15373" y="19796"/>
                    <a:pt x="16110" y="19362"/>
                  </a:cubicBezTo>
                  <a:lnTo>
                    <a:pt x="17429" y="20680"/>
                  </a:lnTo>
                  <a:cubicBezTo>
                    <a:pt x="17566" y="20816"/>
                    <a:pt x="17744" y="20884"/>
                    <a:pt x="17923" y="20884"/>
                  </a:cubicBezTo>
                  <a:cubicBezTo>
                    <a:pt x="18101" y="20884"/>
                    <a:pt x="18280" y="20816"/>
                    <a:pt x="18416" y="20680"/>
                  </a:cubicBezTo>
                  <a:lnTo>
                    <a:pt x="20682" y="18414"/>
                  </a:lnTo>
                  <a:cubicBezTo>
                    <a:pt x="20954" y="18142"/>
                    <a:pt x="20954" y="17700"/>
                    <a:pt x="20682" y="17427"/>
                  </a:cubicBezTo>
                  <a:lnTo>
                    <a:pt x="19364" y="16109"/>
                  </a:lnTo>
                  <a:cubicBezTo>
                    <a:pt x="19798" y="15373"/>
                    <a:pt x="20126" y="14579"/>
                    <a:pt x="20339" y="13751"/>
                  </a:cubicBezTo>
                  <a:lnTo>
                    <a:pt x="22205" y="13751"/>
                  </a:lnTo>
                  <a:cubicBezTo>
                    <a:pt x="22591" y="13751"/>
                    <a:pt x="22903" y="13438"/>
                    <a:pt x="22903" y="13053"/>
                  </a:cubicBezTo>
                  <a:lnTo>
                    <a:pt x="22903" y="9850"/>
                  </a:lnTo>
                  <a:cubicBezTo>
                    <a:pt x="22903" y="9465"/>
                    <a:pt x="22592" y="9152"/>
                    <a:pt x="22208" y="9152"/>
                  </a:cubicBezTo>
                  <a:cubicBezTo>
                    <a:pt x="22207" y="9152"/>
                    <a:pt x="22206" y="9152"/>
                    <a:pt x="22205" y="9152"/>
                  </a:cubicBezTo>
                  <a:lnTo>
                    <a:pt x="20339" y="9152"/>
                  </a:lnTo>
                  <a:cubicBezTo>
                    <a:pt x="20126" y="8322"/>
                    <a:pt x="19798" y="7530"/>
                    <a:pt x="19364" y="6793"/>
                  </a:cubicBezTo>
                  <a:lnTo>
                    <a:pt x="20682" y="5473"/>
                  </a:lnTo>
                  <a:cubicBezTo>
                    <a:pt x="20954" y="5201"/>
                    <a:pt x="20954" y="4759"/>
                    <a:pt x="20682" y="4487"/>
                  </a:cubicBezTo>
                  <a:lnTo>
                    <a:pt x="18416" y="2221"/>
                  </a:lnTo>
                  <a:cubicBezTo>
                    <a:pt x="18280" y="2085"/>
                    <a:pt x="18101" y="2017"/>
                    <a:pt x="17923" y="2017"/>
                  </a:cubicBezTo>
                  <a:cubicBezTo>
                    <a:pt x="17744" y="2017"/>
                    <a:pt x="17566" y="2085"/>
                    <a:pt x="17429" y="2221"/>
                  </a:cubicBezTo>
                  <a:lnTo>
                    <a:pt x="16110" y="3541"/>
                  </a:lnTo>
                  <a:cubicBezTo>
                    <a:pt x="15373" y="3105"/>
                    <a:pt x="14581" y="2777"/>
                    <a:pt x="13751" y="2564"/>
                  </a:cubicBezTo>
                  <a:lnTo>
                    <a:pt x="13751" y="698"/>
                  </a:lnTo>
                  <a:cubicBezTo>
                    <a:pt x="13751" y="312"/>
                    <a:pt x="13439" y="0"/>
                    <a:pt x="13055" y="0"/>
                  </a:cubicBezTo>
                  <a:close/>
                </a:path>
              </a:pathLst>
            </a:custGeom>
            <a:noFill/>
            <a:ln w="9525" cap="flat" cmpd="sng">
              <a:solidFill>
                <a:srgbClr val="A5B7C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nvGrpSpPr>
            <p:cNvPr id="8648" name="Google Shape;8648;p107"/>
            <p:cNvGrpSpPr/>
            <p:nvPr/>
          </p:nvGrpSpPr>
          <p:grpSpPr>
            <a:xfrm>
              <a:off x="4644280" y="1290523"/>
              <a:ext cx="143716" cy="29463"/>
              <a:chOff x="4644280" y="1290523"/>
              <a:chExt cx="143716" cy="29463"/>
            </a:xfrm>
          </p:grpSpPr>
          <p:sp>
            <p:nvSpPr>
              <p:cNvPr id="8649" name="Google Shape;8649;p107"/>
              <p:cNvSpPr/>
              <p:nvPr/>
            </p:nvSpPr>
            <p:spPr>
              <a:xfrm>
                <a:off x="4736292" y="1294223"/>
                <a:ext cx="51704" cy="25762"/>
              </a:xfrm>
              <a:custGeom>
                <a:avLst/>
                <a:gdLst/>
                <a:ahLst/>
                <a:cxnLst/>
                <a:rect l="l" t="t" r="r" b="b"/>
                <a:pathLst>
                  <a:path w="4052" h="2019" extrusionOk="0">
                    <a:moveTo>
                      <a:pt x="273" y="0"/>
                    </a:moveTo>
                    <a:cubicBezTo>
                      <a:pt x="158" y="0"/>
                      <a:pt x="53" y="81"/>
                      <a:pt x="29" y="199"/>
                    </a:cubicBezTo>
                    <a:cubicBezTo>
                      <a:pt x="0" y="339"/>
                      <a:pt x="87" y="475"/>
                      <a:pt x="225" y="507"/>
                    </a:cubicBezTo>
                    <a:cubicBezTo>
                      <a:pt x="1077" y="720"/>
                      <a:pt x="1895" y="1048"/>
                      <a:pt x="2655" y="1487"/>
                    </a:cubicBezTo>
                    <a:lnTo>
                      <a:pt x="2505" y="1740"/>
                    </a:lnTo>
                    <a:cubicBezTo>
                      <a:pt x="2459" y="1818"/>
                      <a:pt x="2511" y="1919"/>
                      <a:pt x="2603" y="1925"/>
                    </a:cubicBezTo>
                    <a:lnTo>
                      <a:pt x="3885" y="2018"/>
                    </a:lnTo>
                    <a:cubicBezTo>
                      <a:pt x="3889" y="2019"/>
                      <a:pt x="3892" y="2019"/>
                      <a:pt x="3896" y="2019"/>
                    </a:cubicBezTo>
                    <a:cubicBezTo>
                      <a:pt x="3991" y="2019"/>
                      <a:pt x="4052" y="1911"/>
                      <a:pt x="3999" y="1829"/>
                    </a:cubicBezTo>
                    <a:lnTo>
                      <a:pt x="3302" y="747"/>
                    </a:lnTo>
                    <a:cubicBezTo>
                      <a:pt x="3278" y="709"/>
                      <a:pt x="3238" y="690"/>
                      <a:pt x="3198" y="690"/>
                    </a:cubicBezTo>
                    <a:cubicBezTo>
                      <a:pt x="3157" y="690"/>
                      <a:pt x="3116" y="710"/>
                      <a:pt x="3093" y="750"/>
                    </a:cubicBezTo>
                    <a:lnTo>
                      <a:pt x="2917" y="1048"/>
                    </a:lnTo>
                    <a:cubicBezTo>
                      <a:pt x="2108" y="582"/>
                      <a:pt x="1237" y="231"/>
                      <a:pt x="330" y="7"/>
                    </a:cubicBezTo>
                    <a:cubicBezTo>
                      <a:pt x="311" y="3"/>
                      <a:pt x="292" y="0"/>
                      <a:pt x="273" y="0"/>
                    </a:cubicBezTo>
                    <a:close/>
                  </a:path>
                </a:pathLst>
              </a:custGeom>
              <a:solidFill>
                <a:srgbClr val="667E92"/>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650" name="Google Shape;8650;p107"/>
              <p:cNvSpPr/>
              <p:nvPr/>
            </p:nvSpPr>
            <p:spPr>
              <a:xfrm>
                <a:off x="4700066" y="1290523"/>
                <a:ext cx="32206" cy="7988"/>
              </a:xfrm>
              <a:custGeom>
                <a:avLst/>
                <a:gdLst/>
                <a:ahLst/>
                <a:cxnLst/>
                <a:rect l="l" t="t" r="r" b="b"/>
                <a:pathLst>
                  <a:path w="2524" h="626" extrusionOk="0">
                    <a:moveTo>
                      <a:pt x="787" y="1"/>
                    </a:moveTo>
                    <a:cubicBezTo>
                      <a:pt x="606" y="1"/>
                      <a:pt x="423" y="7"/>
                      <a:pt x="242" y="18"/>
                    </a:cubicBezTo>
                    <a:cubicBezTo>
                      <a:pt x="104" y="31"/>
                      <a:pt x="0" y="151"/>
                      <a:pt x="10" y="291"/>
                    </a:cubicBezTo>
                    <a:cubicBezTo>
                      <a:pt x="21" y="425"/>
                      <a:pt x="131" y="526"/>
                      <a:pt x="264" y="526"/>
                    </a:cubicBezTo>
                    <a:cubicBezTo>
                      <a:pt x="269" y="526"/>
                      <a:pt x="274" y="526"/>
                      <a:pt x="279" y="526"/>
                    </a:cubicBezTo>
                    <a:cubicBezTo>
                      <a:pt x="447" y="516"/>
                      <a:pt x="617" y="510"/>
                      <a:pt x="787" y="510"/>
                    </a:cubicBezTo>
                    <a:cubicBezTo>
                      <a:pt x="1261" y="512"/>
                      <a:pt x="1735" y="548"/>
                      <a:pt x="2204" y="622"/>
                    </a:cubicBezTo>
                    <a:cubicBezTo>
                      <a:pt x="2218" y="624"/>
                      <a:pt x="2232" y="626"/>
                      <a:pt x="2246" y="626"/>
                    </a:cubicBezTo>
                    <a:cubicBezTo>
                      <a:pt x="2364" y="626"/>
                      <a:pt x="2469" y="542"/>
                      <a:pt x="2495" y="422"/>
                    </a:cubicBezTo>
                    <a:cubicBezTo>
                      <a:pt x="2524" y="281"/>
                      <a:pt x="2430" y="145"/>
                      <a:pt x="2289" y="121"/>
                    </a:cubicBezTo>
                    <a:cubicBezTo>
                      <a:pt x="1792" y="41"/>
                      <a:pt x="1289" y="1"/>
                      <a:pt x="787" y="1"/>
                    </a:cubicBezTo>
                    <a:close/>
                  </a:path>
                </a:pathLst>
              </a:custGeom>
              <a:solidFill>
                <a:srgbClr val="667E92"/>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651" name="Google Shape;8651;p107"/>
              <p:cNvSpPr/>
              <p:nvPr/>
            </p:nvSpPr>
            <p:spPr>
              <a:xfrm>
                <a:off x="4644280" y="1300641"/>
                <a:ext cx="20225" cy="13283"/>
              </a:xfrm>
              <a:custGeom>
                <a:avLst/>
                <a:gdLst/>
                <a:ahLst/>
                <a:cxnLst/>
                <a:rect l="l" t="t" r="r" b="b"/>
                <a:pathLst>
                  <a:path w="1585" h="1041" extrusionOk="0">
                    <a:moveTo>
                      <a:pt x="1331" y="0"/>
                    </a:moveTo>
                    <a:cubicBezTo>
                      <a:pt x="1304" y="0"/>
                      <a:pt x="1277" y="6"/>
                      <a:pt x="1251" y="16"/>
                    </a:cubicBezTo>
                    <a:cubicBezTo>
                      <a:pt x="880" y="175"/>
                      <a:pt x="518" y="356"/>
                      <a:pt x="170" y="558"/>
                    </a:cubicBezTo>
                    <a:cubicBezTo>
                      <a:pt x="60" y="622"/>
                      <a:pt x="1" y="758"/>
                      <a:pt x="47" y="876"/>
                    </a:cubicBezTo>
                    <a:cubicBezTo>
                      <a:pt x="87" y="979"/>
                      <a:pt x="185" y="1040"/>
                      <a:pt x="287" y="1040"/>
                    </a:cubicBezTo>
                    <a:cubicBezTo>
                      <a:pt x="330" y="1040"/>
                      <a:pt x="373" y="1029"/>
                      <a:pt x="414" y="1006"/>
                    </a:cubicBezTo>
                    <a:cubicBezTo>
                      <a:pt x="729" y="822"/>
                      <a:pt x="1056" y="657"/>
                      <a:pt x="1391" y="513"/>
                    </a:cubicBezTo>
                    <a:cubicBezTo>
                      <a:pt x="1520" y="457"/>
                      <a:pt x="1584" y="311"/>
                      <a:pt x="1540" y="178"/>
                    </a:cubicBezTo>
                    <a:lnTo>
                      <a:pt x="1527" y="141"/>
                    </a:lnTo>
                    <a:cubicBezTo>
                      <a:pt x="1497" y="55"/>
                      <a:pt x="1417" y="0"/>
                      <a:pt x="1331" y="0"/>
                    </a:cubicBezTo>
                    <a:close/>
                  </a:path>
                </a:pathLst>
              </a:custGeom>
              <a:solidFill>
                <a:srgbClr val="667E92"/>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652" name="Google Shape;8652;p107"/>
              <p:cNvSpPr/>
              <p:nvPr/>
            </p:nvSpPr>
            <p:spPr>
              <a:xfrm>
                <a:off x="4667822" y="1291888"/>
                <a:ext cx="27779" cy="11433"/>
              </a:xfrm>
              <a:custGeom>
                <a:avLst/>
                <a:gdLst/>
                <a:ahLst/>
                <a:cxnLst/>
                <a:rect l="l" t="t" r="r" b="b"/>
                <a:pathLst>
                  <a:path w="2177" h="896" extrusionOk="0">
                    <a:moveTo>
                      <a:pt x="1906" y="0"/>
                    </a:moveTo>
                    <a:cubicBezTo>
                      <a:pt x="1894" y="0"/>
                      <a:pt x="1883" y="1"/>
                      <a:pt x="1871" y="3"/>
                    </a:cubicBezTo>
                    <a:lnTo>
                      <a:pt x="1871" y="4"/>
                    </a:lnTo>
                    <a:cubicBezTo>
                      <a:pt x="1306" y="88"/>
                      <a:pt x="748" y="220"/>
                      <a:pt x="205" y="400"/>
                    </a:cubicBezTo>
                    <a:cubicBezTo>
                      <a:pt x="71" y="446"/>
                      <a:pt x="0" y="592"/>
                      <a:pt x="47" y="725"/>
                    </a:cubicBezTo>
                    <a:cubicBezTo>
                      <a:pt x="84" y="830"/>
                      <a:pt x="182" y="896"/>
                      <a:pt x="288" y="896"/>
                    </a:cubicBezTo>
                    <a:cubicBezTo>
                      <a:pt x="315" y="896"/>
                      <a:pt x="343" y="891"/>
                      <a:pt x="370" y="882"/>
                    </a:cubicBezTo>
                    <a:cubicBezTo>
                      <a:pt x="881" y="714"/>
                      <a:pt x="1406" y="587"/>
                      <a:pt x="1940" y="509"/>
                    </a:cubicBezTo>
                    <a:cubicBezTo>
                      <a:pt x="2079" y="490"/>
                      <a:pt x="2177" y="360"/>
                      <a:pt x="2157" y="220"/>
                    </a:cubicBezTo>
                    <a:cubicBezTo>
                      <a:pt x="2140" y="93"/>
                      <a:pt x="2031" y="0"/>
                      <a:pt x="1906" y="0"/>
                    </a:cubicBezTo>
                    <a:close/>
                  </a:path>
                </a:pathLst>
              </a:custGeom>
              <a:solidFill>
                <a:srgbClr val="667E92"/>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8653" name="Google Shape;8653;p107"/>
            <p:cNvGrpSpPr/>
            <p:nvPr/>
          </p:nvGrpSpPr>
          <p:grpSpPr>
            <a:xfrm>
              <a:off x="4356567" y="1191441"/>
              <a:ext cx="143690" cy="29488"/>
              <a:chOff x="4356567" y="1191441"/>
              <a:chExt cx="143690" cy="29488"/>
            </a:xfrm>
          </p:grpSpPr>
          <p:sp>
            <p:nvSpPr>
              <p:cNvPr id="8654" name="Google Shape;8654;p107"/>
              <p:cNvSpPr/>
              <p:nvPr/>
            </p:nvSpPr>
            <p:spPr>
              <a:xfrm>
                <a:off x="4448554" y="1195154"/>
                <a:ext cx="51704" cy="25775"/>
              </a:xfrm>
              <a:custGeom>
                <a:avLst/>
                <a:gdLst/>
                <a:ahLst/>
                <a:cxnLst/>
                <a:rect l="l" t="t" r="r" b="b"/>
                <a:pathLst>
                  <a:path w="4052" h="2020" extrusionOk="0">
                    <a:moveTo>
                      <a:pt x="272" y="1"/>
                    </a:moveTo>
                    <a:cubicBezTo>
                      <a:pt x="157" y="1"/>
                      <a:pt x="54" y="82"/>
                      <a:pt x="29" y="200"/>
                    </a:cubicBezTo>
                    <a:cubicBezTo>
                      <a:pt x="0" y="338"/>
                      <a:pt x="87" y="474"/>
                      <a:pt x="225" y="507"/>
                    </a:cubicBezTo>
                    <a:cubicBezTo>
                      <a:pt x="1077" y="719"/>
                      <a:pt x="1895" y="1049"/>
                      <a:pt x="2657" y="1486"/>
                    </a:cubicBezTo>
                    <a:lnTo>
                      <a:pt x="2505" y="1740"/>
                    </a:lnTo>
                    <a:cubicBezTo>
                      <a:pt x="2459" y="1819"/>
                      <a:pt x="2511" y="1918"/>
                      <a:pt x="2603" y="1926"/>
                    </a:cubicBezTo>
                    <a:lnTo>
                      <a:pt x="3887" y="2019"/>
                    </a:lnTo>
                    <a:cubicBezTo>
                      <a:pt x="3890" y="2019"/>
                      <a:pt x="3893" y="2019"/>
                      <a:pt x="3895" y="2019"/>
                    </a:cubicBezTo>
                    <a:cubicBezTo>
                      <a:pt x="3991" y="2019"/>
                      <a:pt x="4052" y="1913"/>
                      <a:pt x="3999" y="1830"/>
                    </a:cubicBezTo>
                    <a:lnTo>
                      <a:pt x="3302" y="746"/>
                    </a:lnTo>
                    <a:cubicBezTo>
                      <a:pt x="3278" y="709"/>
                      <a:pt x="3239" y="690"/>
                      <a:pt x="3200" y="690"/>
                    </a:cubicBezTo>
                    <a:cubicBezTo>
                      <a:pt x="3159" y="690"/>
                      <a:pt x="3118" y="711"/>
                      <a:pt x="3094" y="751"/>
                    </a:cubicBezTo>
                    <a:lnTo>
                      <a:pt x="2917" y="1047"/>
                    </a:lnTo>
                    <a:cubicBezTo>
                      <a:pt x="2108" y="581"/>
                      <a:pt x="1237" y="230"/>
                      <a:pt x="330" y="8"/>
                    </a:cubicBezTo>
                    <a:cubicBezTo>
                      <a:pt x="311" y="3"/>
                      <a:pt x="291" y="1"/>
                      <a:pt x="272" y="1"/>
                    </a:cubicBezTo>
                    <a:close/>
                  </a:path>
                </a:pathLst>
              </a:custGeom>
              <a:solidFill>
                <a:srgbClr val="667E92"/>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655" name="Google Shape;8655;p107"/>
              <p:cNvSpPr/>
              <p:nvPr/>
            </p:nvSpPr>
            <p:spPr>
              <a:xfrm>
                <a:off x="4412341" y="1191441"/>
                <a:ext cx="32206" cy="8013"/>
              </a:xfrm>
              <a:custGeom>
                <a:avLst/>
                <a:gdLst/>
                <a:ahLst/>
                <a:cxnLst/>
                <a:rect l="l" t="t" r="r" b="b"/>
                <a:pathLst>
                  <a:path w="2524" h="628" extrusionOk="0">
                    <a:moveTo>
                      <a:pt x="787" y="1"/>
                    </a:moveTo>
                    <a:cubicBezTo>
                      <a:pt x="605" y="1"/>
                      <a:pt x="424" y="7"/>
                      <a:pt x="241" y="19"/>
                    </a:cubicBezTo>
                    <a:cubicBezTo>
                      <a:pt x="103" y="31"/>
                      <a:pt x="1" y="153"/>
                      <a:pt x="11" y="291"/>
                    </a:cubicBezTo>
                    <a:cubicBezTo>
                      <a:pt x="20" y="425"/>
                      <a:pt x="132" y="528"/>
                      <a:pt x="263" y="528"/>
                    </a:cubicBezTo>
                    <a:cubicBezTo>
                      <a:pt x="268" y="528"/>
                      <a:pt x="273" y="528"/>
                      <a:pt x="278" y="528"/>
                    </a:cubicBezTo>
                    <a:cubicBezTo>
                      <a:pt x="448" y="518"/>
                      <a:pt x="617" y="512"/>
                      <a:pt x="787" y="512"/>
                    </a:cubicBezTo>
                    <a:cubicBezTo>
                      <a:pt x="1261" y="512"/>
                      <a:pt x="1734" y="550"/>
                      <a:pt x="2203" y="624"/>
                    </a:cubicBezTo>
                    <a:cubicBezTo>
                      <a:pt x="2217" y="626"/>
                      <a:pt x="2231" y="627"/>
                      <a:pt x="2245" y="627"/>
                    </a:cubicBezTo>
                    <a:cubicBezTo>
                      <a:pt x="2363" y="627"/>
                      <a:pt x="2470" y="544"/>
                      <a:pt x="2494" y="424"/>
                    </a:cubicBezTo>
                    <a:cubicBezTo>
                      <a:pt x="2523" y="283"/>
                      <a:pt x="2430" y="145"/>
                      <a:pt x="2288" y="121"/>
                    </a:cubicBezTo>
                    <a:cubicBezTo>
                      <a:pt x="1791" y="43"/>
                      <a:pt x="1288" y="3"/>
                      <a:pt x="787" y="1"/>
                    </a:cubicBezTo>
                    <a:close/>
                  </a:path>
                </a:pathLst>
              </a:custGeom>
              <a:solidFill>
                <a:srgbClr val="667E92"/>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656" name="Google Shape;8656;p107"/>
              <p:cNvSpPr/>
              <p:nvPr/>
            </p:nvSpPr>
            <p:spPr>
              <a:xfrm>
                <a:off x="4356567" y="1201573"/>
                <a:ext cx="20212" cy="13270"/>
              </a:xfrm>
              <a:custGeom>
                <a:avLst/>
                <a:gdLst/>
                <a:ahLst/>
                <a:cxnLst/>
                <a:rect l="l" t="t" r="r" b="b"/>
                <a:pathLst>
                  <a:path w="1584" h="1040" extrusionOk="0">
                    <a:moveTo>
                      <a:pt x="1330" y="1"/>
                    </a:moveTo>
                    <a:cubicBezTo>
                      <a:pt x="1303" y="1"/>
                      <a:pt x="1276" y="6"/>
                      <a:pt x="1249" y="17"/>
                    </a:cubicBezTo>
                    <a:cubicBezTo>
                      <a:pt x="878" y="174"/>
                      <a:pt x="518" y="355"/>
                      <a:pt x="168" y="557"/>
                    </a:cubicBezTo>
                    <a:cubicBezTo>
                      <a:pt x="58" y="621"/>
                      <a:pt x="0" y="757"/>
                      <a:pt x="47" y="876"/>
                    </a:cubicBezTo>
                    <a:cubicBezTo>
                      <a:pt x="86" y="979"/>
                      <a:pt x="183" y="1040"/>
                      <a:pt x="284" y="1040"/>
                    </a:cubicBezTo>
                    <a:cubicBezTo>
                      <a:pt x="327" y="1040"/>
                      <a:pt x="371" y="1029"/>
                      <a:pt x="412" y="1005"/>
                    </a:cubicBezTo>
                    <a:cubicBezTo>
                      <a:pt x="727" y="823"/>
                      <a:pt x="1054" y="658"/>
                      <a:pt x="1389" y="512"/>
                    </a:cubicBezTo>
                    <a:cubicBezTo>
                      <a:pt x="1518" y="458"/>
                      <a:pt x="1584" y="312"/>
                      <a:pt x="1538" y="177"/>
                    </a:cubicBezTo>
                    <a:lnTo>
                      <a:pt x="1525" y="141"/>
                    </a:lnTo>
                    <a:cubicBezTo>
                      <a:pt x="1496" y="54"/>
                      <a:pt x="1415" y="1"/>
                      <a:pt x="1330" y="1"/>
                    </a:cubicBezTo>
                    <a:close/>
                  </a:path>
                </a:pathLst>
              </a:custGeom>
              <a:solidFill>
                <a:srgbClr val="667E92"/>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657" name="Google Shape;8657;p107"/>
              <p:cNvSpPr/>
              <p:nvPr/>
            </p:nvSpPr>
            <p:spPr>
              <a:xfrm>
                <a:off x="4380084" y="1192832"/>
                <a:ext cx="27779" cy="11433"/>
              </a:xfrm>
              <a:custGeom>
                <a:avLst/>
                <a:gdLst/>
                <a:ahLst/>
                <a:cxnLst/>
                <a:rect l="l" t="t" r="r" b="b"/>
                <a:pathLst>
                  <a:path w="2177" h="896" extrusionOk="0">
                    <a:moveTo>
                      <a:pt x="1906" y="0"/>
                    </a:moveTo>
                    <a:cubicBezTo>
                      <a:pt x="1894" y="0"/>
                      <a:pt x="1883" y="1"/>
                      <a:pt x="1871" y="2"/>
                    </a:cubicBezTo>
                    <a:cubicBezTo>
                      <a:pt x="1306" y="87"/>
                      <a:pt x="748" y="220"/>
                      <a:pt x="205" y="400"/>
                    </a:cubicBezTo>
                    <a:cubicBezTo>
                      <a:pt x="71" y="444"/>
                      <a:pt x="0" y="590"/>
                      <a:pt x="47" y="725"/>
                    </a:cubicBezTo>
                    <a:cubicBezTo>
                      <a:pt x="84" y="829"/>
                      <a:pt x="183" y="895"/>
                      <a:pt x="288" y="895"/>
                    </a:cubicBezTo>
                    <a:cubicBezTo>
                      <a:pt x="316" y="895"/>
                      <a:pt x="343" y="891"/>
                      <a:pt x="370" y="882"/>
                    </a:cubicBezTo>
                    <a:cubicBezTo>
                      <a:pt x="883" y="712"/>
                      <a:pt x="1408" y="587"/>
                      <a:pt x="1941" y="507"/>
                    </a:cubicBezTo>
                    <a:cubicBezTo>
                      <a:pt x="2081" y="488"/>
                      <a:pt x="2177" y="360"/>
                      <a:pt x="2157" y="220"/>
                    </a:cubicBezTo>
                    <a:cubicBezTo>
                      <a:pt x="2140" y="93"/>
                      <a:pt x="2031" y="0"/>
                      <a:pt x="1906" y="0"/>
                    </a:cubicBezTo>
                    <a:close/>
                  </a:path>
                </a:pathLst>
              </a:custGeom>
              <a:solidFill>
                <a:srgbClr val="667E92"/>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8658" name="Google Shape;8658;p107"/>
            <p:cNvGrpSpPr/>
            <p:nvPr/>
          </p:nvGrpSpPr>
          <p:grpSpPr>
            <a:xfrm>
              <a:off x="4339009" y="1863727"/>
              <a:ext cx="143703" cy="29476"/>
              <a:chOff x="4339009" y="1863727"/>
              <a:chExt cx="143703" cy="29476"/>
            </a:xfrm>
          </p:grpSpPr>
          <p:sp>
            <p:nvSpPr>
              <p:cNvPr id="8659" name="Google Shape;8659;p107"/>
              <p:cNvSpPr/>
              <p:nvPr/>
            </p:nvSpPr>
            <p:spPr>
              <a:xfrm>
                <a:off x="4339009" y="1863727"/>
                <a:ext cx="51691" cy="25762"/>
              </a:xfrm>
              <a:custGeom>
                <a:avLst/>
                <a:gdLst/>
                <a:ahLst/>
                <a:cxnLst/>
                <a:rect l="l" t="t" r="r" b="b"/>
                <a:pathLst>
                  <a:path w="4051" h="2019" extrusionOk="0">
                    <a:moveTo>
                      <a:pt x="157" y="1"/>
                    </a:moveTo>
                    <a:cubicBezTo>
                      <a:pt x="61" y="1"/>
                      <a:pt x="1" y="107"/>
                      <a:pt x="54" y="190"/>
                    </a:cubicBezTo>
                    <a:lnTo>
                      <a:pt x="750" y="1274"/>
                    </a:lnTo>
                    <a:cubicBezTo>
                      <a:pt x="774" y="1311"/>
                      <a:pt x="813" y="1330"/>
                      <a:pt x="852" y="1330"/>
                    </a:cubicBezTo>
                    <a:cubicBezTo>
                      <a:pt x="893" y="1330"/>
                      <a:pt x="935" y="1309"/>
                      <a:pt x="958" y="1269"/>
                    </a:cubicBezTo>
                    <a:lnTo>
                      <a:pt x="1136" y="973"/>
                    </a:lnTo>
                    <a:cubicBezTo>
                      <a:pt x="1945" y="1439"/>
                      <a:pt x="2816" y="1788"/>
                      <a:pt x="3722" y="2012"/>
                    </a:cubicBezTo>
                    <a:cubicBezTo>
                      <a:pt x="3741" y="2017"/>
                      <a:pt x="3761" y="2019"/>
                      <a:pt x="3779" y="2019"/>
                    </a:cubicBezTo>
                    <a:cubicBezTo>
                      <a:pt x="3895" y="2019"/>
                      <a:pt x="3999" y="1938"/>
                      <a:pt x="4023" y="1820"/>
                    </a:cubicBezTo>
                    <a:cubicBezTo>
                      <a:pt x="4051" y="1682"/>
                      <a:pt x="3964" y="1546"/>
                      <a:pt x="3828" y="1512"/>
                    </a:cubicBezTo>
                    <a:cubicBezTo>
                      <a:pt x="2976" y="1301"/>
                      <a:pt x="2158" y="971"/>
                      <a:pt x="1396" y="534"/>
                    </a:cubicBezTo>
                    <a:lnTo>
                      <a:pt x="1548" y="279"/>
                    </a:lnTo>
                    <a:cubicBezTo>
                      <a:pt x="1594" y="201"/>
                      <a:pt x="1541" y="100"/>
                      <a:pt x="1450" y="94"/>
                    </a:cubicBezTo>
                    <a:lnTo>
                      <a:pt x="166" y="1"/>
                    </a:lnTo>
                    <a:cubicBezTo>
                      <a:pt x="163" y="1"/>
                      <a:pt x="160" y="1"/>
                      <a:pt x="157" y="1"/>
                    </a:cubicBezTo>
                    <a:close/>
                  </a:path>
                </a:pathLst>
              </a:custGeom>
              <a:solidFill>
                <a:srgbClr val="667E92"/>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660" name="Google Shape;8660;p107"/>
              <p:cNvSpPr/>
              <p:nvPr/>
            </p:nvSpPr>
            <p:spPr>
              <a:xfrm>
                <a:off x="4394732" y="1885202"/>
                <a:ext cx="32193" cy="8001"/>
              </a:xfrm>
              <a:custGeom>
                <a:avLst/>
                <a:gdLst/>
                <a:ahLst/>
                <a:cxnLst/>
                <a:rect l="l" t="t" r="r" b="b"/>
                <a:pathLst>
                  <a:path w="2523" h="627" extrusionOk="0">
                    <a:moveTo>
                      <a:pt x="279" y="1"/>
                    </a:moveTo>
                    <a:cubicBezTo>
                      <a:pt x="160" y="1"/>
                      <a:pt x="54" y="84"/>
                      <a:pt x="29" y="204"/>
                    </a:cubicBezTo>
                    <a:cubicBezTo>
                      <a:pt x="1" y="345"/>
                      <a:pt x="93" y="483"/>
                      <a:pt x="236" y="507"/>
                    </a:cubicBezTo>
                    <a:cubicBezTo>
                      <a:pt x="732" y="585"/>
                      <a:pt x="1235" y="625"/>
                      <a:pt x="1738" y="627"/>
                    </a:cubicBezTo>
                    <a:cubicBezTo>
                      <a:pt x="1919" y="627"/>
                      <a:pt x="2102" y="621"/>
                      <a:pt x="2282" y="609"/>
                    </a:cubicBezTo>
                    <a:cubicBezTo>
                      <a:pt x="2420" y="596"/>
                      <a:pt x="2523" y="475"/>
                      <a:pt x="2513" y="337"/>
                    </a:cubicBezTo>
                    <a:cubicBezTo>
                      <a:pt x="2504" y="203"/>
                      <a:pt x="2392" y="100"/>
                      <a:pt x="2260" y="100"/>
                    </a:cubicBezTo>
                    <a:cubicBezTo>
                      <a:pt x="2255" y="100"/>
                      <a:pt x="2251" y="100"/>
                      <a:pt x="2246" y="100"/>
                    </a:cubicBezTo>
                    <a:cubicBezTo>
                      <a:pt x="2076" y="110"/>
                      <a:pt x="1908" y="116"/>
                      <a:pt x="1738" y="116"/>
                    </a:cubicBezTo>
                    <a:cubicBezTo>
                      <a:pt x="1262" y="116"/>
                      <a:pt x="790" y="78"/>
                      <a:pt x="321" y="4"/>
                    </a:cubicBezTo>
                    <a:cubicBezTo>
                      <a:pt x="307" y="2"/>
                      <a:pt x="293" y="1"/>
                      <a:pt x="279" y="1"/>
                    </a:cubicBezTo>
                    <a:close/>
                  </a:path>
                </a:pathLst>
              </a:custGeom>
              <a:solidFill>
                <a:srgbClr val="667E92"/>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661" name="Google Shape;8661;p107"/>
              <p:cNvSpPr/>
              <p:nvPr/>
            </p:nvSpPr>
            <p:spPr>
              <a:xfrm>
                <a:off x="4462488" y="1869814"/>
                <a:ext cx="20225" cy="13258"/>
              </a:xfrm>
              <a:custGeom>
                <a:avLst/>
                <a:gdLst/>
                <a:ahLst/>
                <a:cxnLst/>
                <a:rect l="l" t="t" r="r" b="b"/>
                <a:pathLst>
                  <a:path w="1585" h="1039" extrusionOk="0">
                    <a:moveTo>
                      <a:pt x="1300" y="0"/>
                    </a:moveTo>
                    <a:cubicBezTo>
                      <a:pt x="1257" y="0"/>
                      <a:pt x="1213" y="11"/>
                      <a:pt x="1173" y="35"/>
                    </a:cubicBezTo>
                    <a:cubicBezTo>
                      <a:pt x="857" y="217"/>
                      <a:pt x="531" y="382"/>
                      <a:pt x="196" y="528"/>
                    </a:cubicBezTo>
                    <a:cubicBezTo>
                      <a:pt x="66" y="582"/>
                      <a:pt x="1" y="728"/>
                      <a:pt x="47" y="863"/>
                    </a:cubicBezTo>
                    <a:lnTo>
                      <a:pt x="60" y="899"/>
                    </a:lnTo>
                    <a:cubicBezTo>
                      <a:pt x="89" y="986"/>
                      <a:pt x="169" y="1039"/>
                      <a:pt x="255" y="1039"/>
                    </a:cubicBezTo>
                    <a:cubicBezTo>
                      <a:pt x="282" y="1039"/>
                      <a:pt x="309" y="1034"/>
                      <a:pt x="335" y="1023"/>
                    </a:cubicBezTo>
                    <a:cubicBezTo>
                      <a:pt x="707" y="866"/>
                      <a:pt x="1067" y="685"/>
                      <a:pt x="1416" y="483"/>
                    </a:cubicBezTo>
                    <a:cubicBezTo>
                      <a:pt x="1527" y="419"/>
                      <a:pt x="1584" y="283"/>
                      <a:pt x="1538" y="164"/>
                    </a:cubicBezTo>
                    <a:cubicBezTo>
                      <a:pt x="1499" y="61"/>
                      <a:pt x="1401" y="0"/>
                      <a:pt x="1300" y="0"/>
                    </a:cubicBezTo>
                    <a:close/>
                  </a:path>
                </a:pathLst>
              </a:custGeom>
              <a:solidFill>
                <a:srgbClr val="667E92"/>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662" name="Google Shape;8662;p107"/>
              <p:cNvSpPr/>
              <p:nvPr/>
            </p:nvSpPr>
            <p:spPr>
              <a:xfrm>
                <a:off x="4431392" y="1880392"/>
                <a:ext cx="27804" cy="11433"/>
              </a:xfrm>
              <a:custGeom>
                <a:avLst/>
                <a:gdLst/>
                <a:ahLst/>
                <a:cxnLst/>
                <a:rect l="l" t="t" r="r" b="b"/>
                <a:pathLst>
                  <a:path w="2179" h="896" extrusionOk="0">
                    <a:moveTo>
                      <a:pt x="1890" y="1"/>
                    </a:moveTo>
                    <a:cubicBezTo>
                      <a:pt x="1863" y="1"/>
                      <a:pt x="1835" y="5"/>
                      <a:pt x="1808" y="14"/>
                    </a:cubicBezTo>
                    <a:cubicBezTo>
                      <a:pt x="1296" y="184"/>
                      <a:pt x="771" y="309"/>
                      <a:pt x="237" y="389"/>
                    </a:cubicBezTo>
                    <a:cubicBezTo>
                      <a:pt x="98" y="408"/>
                      <a:pt x="0" y="536"/>
                      <a:pt x="20" y="676"/>
                    </a:cubicBezTo>
                    <a:cubicBezTo>
                      <a:pt x="37" y="803"/>
                      <a:pt x="147" y="896"/>
                      <a:pt x="273" y="896"/>
                    </a:cubicBezTo>
                    <a:cubicBezTo>
                      <a:pt x="284" y="896"/>
                      <a:pt x="296" y="895"/>
                      <a:pt x="308" y="893"/>
                    </a:cubicBezTo>
                    <a:cubicBezTo>
                      <a:pt x="873" y="809"/>
                      <a:pt x="1430" y="676"/>
                      <a:pt x="1973" y="496"/>
                    </a:cubicBezTo>
                    <a:cubicBezTo>
                      <a:pt x="2106" y="451"/>
                      <a:pt x="2178" y="306"/>
                      <a:pt x="2132" y="171"/>
                    </a:cubicBezTo>
                    <a:cubicBezTo>
                      <a:pt x="2095" y="67"/>
                      <a:pt x="1996" y="1"/>
                      <a:pt x="1890" y="1"/>
                    </a:cubicBezTo>
                    <a:close/>
                  </a:path>
                </a:pathLst>
              </a:custGeom>
              <a:solidFill>
                <a:srgbClr val="667E92"/>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8663" name="Google Shape;8663;p107"/>
            <p:cNvGrpSpPr/>
            <p:nvPr/>
          </p:nvGrpSpPr>
          <p:grpSpPr>
            <a:xfrm>
              <a:off x="4206459" y="1607315"/>
              <a:ext cx="29539" cy="142899"/>
              <a:chOff x="4206459" y="1607315"/>
              <a:chExt cx="29539" cy="142899"/>
            </a:xfrm>
          </p:grpSpPr>
          <p:sp>
            <p:nvSpPr>
              <p:cNvPr id="8664" name="Google Shape;8664;p107"/>
              <p:cNvSpPr/>
              <p:nvPr/>
            </p:nvSpPr>
            <p:spPr>
              <a:xfrm>
                <a:off x="4209840" y="1607315"/>
                <a:ext cx="26158" cy="50989"/>
              </a:xfrm>
              <a:custGeom>
                <a:avLst/>
                <a:gdLst/>
                <a:ahLst/>
                <a:cxnLst/>
                <a:rect l="l" t="t" r="r" b="b"/>
                <a:pathLst>
                  <a:path w="2050" h="3996" extrusionOk="0">
                    <a:moveTo>
                      <a:pt x="1920" y="0"/>
                    </a:moveTo>
                    <a:cubicBezTo>
                      <a:pt x="1898" y="0"/>
                      <a:pt x="1876" y="6"/>
                      <a:pt x="1854" y="20"/>
                    </a:cubicBezTo>
                    <a:lnTo>
                      <a:pt x="772" y="717"/>
                    </a:lnTo>
                    <a:cubicBezTo>
                      <a:pt x="695" y="766"/>
                      <a:pt x="697" y="878"/>
                      <a:pt x="775" y="926"/>
                    </a:cubicBezTo>
                    <a:lnTo>
                      <a:pt x="1073" y="1102"/>
                    </a:lnTo>
                    <a:cubicBezTo>
                      <a:pt x="607" y="1911"/>
                      <a:pt x="256" y="2782"/>
                      <a:pt x="32" y="3689"/>
                    </a:cubicBezTo>
                    <a:cubicBezTo>
                      <a:pt x="0" y="3825"/>
                      <a:pt x="87" y="3962"/>
                      <a:pt x="224" y="3990"/>
                    </a:cubicBezTo>
                    <a:cubicBezTo>
                      <a:pt x="242" y="3993"/>
                      <a:pt x="260" y="3995"/>
                      <a:pt x="278" y="3995"/>
                    </a:cubicBezTo>
                    <a:cubicBezTo>
                      <a:pt x="397" y="3995"/>
                      <a:pt x="502" y="3914"/>
                      <a:pt x="532" y="3794"/>
                    </a:cubicBezTo>
                    <a:cubicBezTo>
                      <a:pt x="743" y="2942"/>
                      <a:pt x="1073" y="2124"/>
                      <a:pt x="1512" y="1363"/>
                    </a:cubicBezTo>
                    <a:lnTo>
                      <a:pt x="1765" y="1514"/>
                    </a:lnTo>
                    <a:cubicBezTo>
                      <a:pt x="1785" y="1526"/>
                      <a:pt x="1806" y="1531"/>
                      <a:pt x="1827" y="1531"/>
                    </a:cubicBezTo>
                    <a:cubicBezTo>
                      <a:pt x="1888" y="1531"/>
                      <a:pt x="1946" y="1484"/>
                      <a:pt x="1951" y="1416"/>
                    </a:cubicBezTo>
                    <a:lnTo>
                      <a:pt x="2043" y="134"/>
                    </a:lnTo>
                    <a:cubicBezTo>
                      <a:pt x="2049" y="57"/>
                      <a:pt x="1988" y="0"/>
                      <a:pt x="1920" y="0"/>
                    </a:cubicBezTo>
                    <a:close/>
                  </a:path>
                </a:pathLst>
              </a:custGeom>
              <a:solidFill>
                <a:srgbClr val="667E92"/>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665" name="Google Shape;8665;p107"/>
              <p:cNvSpPr/>
              <p:nvPr/>
            </p:nvSpPr>
            <p:spPr>
              <a:xfrm>
                <a:off x="4206459" y="1662910"/>
                <a:ext cx="8230" cy="31785"/>
              </a:xfrm>
              <a:custGeom>
                <a:avLst/>
                <a:gdLst/>
                <a:ahLst/>
                <a:cxnLst/>
                <a:rect l="l" t="t" r="r" b="b"/>
                <a:pathLst>
                  <a:path w="645" h="2491" extrusionOk="0">
                    <a:moveTo>
                      <a:pt x="371" y="1"/>
                    </a:moveTo>
                    <a:cubicBezTo>
                      <a:pt x="249" y="1"/>
                      <a:pt x="141" y="89"/>
                      <a:pt x="121" y="212"/>
                    </a:cubicBezTo>
                    <a:cubicBezTo>
                      <a:pt x="41" y="709"/>
                      <a:pt x="1" y="1212"/>
                      <a:pt x="1" y="1714"/>
                    </a:cubicBezTo>
                    <a:cubicBezTo>
                      <a:pt x="1" y="1895"/>
                      <a:pt x="7" y="2078"/>
                      <a:pt x="19" y="2259"/>
                    </a:cubicBezTo>
                    <a:cubicBezTo>
                      <a:pt x="31" y="2390"/>
                      <a:pt x="140" y="2490"/>
                      <a:pt x="270" y="2490"/>
                    </a:cubicBezTo>
                    <a:cubicBezTo>
                      <a:pt x="277" y="2490"/>
                      <a:pt x="284" y="2490"/>
                      <a:pt x="291" y="2489"/>
                    </a:cubicBezTo>
                    <a:cubicBezTo>
                      <a:pt x="428" y="2480"/>
                      <a:pt x="534" y="2361"/>
                      <a:pt x="526" y="2222"/>
                    </a:cubicBezTo>
                    <a:cubicBezTo>
                      <a:pt x="517" y="2054"/>
                      <a:pt x="510" y="1884"/>
                      <a:pt x="510" y="1714"/>
                    </a:cubicBezTo>
                    <a:cubicBezTo>
                      <a:pt x="512" y="1240"/>
                      <a:pt x="549" y="766"/>
                      <a:pt x="622" y="297"/>
                    </a:cubicBezTo>
                    <a:cubicBezTo>
                      <a:pt x="645" y="163"/>
                      <a:pt x="557" y="35"/>
                      <a:pt x="422" y="6"/>
                    </a:cubicBezTo>
                    <a:cubicBezTo>
                      <a:pt x="405" y="2"/>
                      <a:pt x="388" y="1"/>
                      <a:pt x="371" y="1"/>
                    </a:cubicBezTo>
                    <a:close/>
                  </a:path>
                </a:pathLst>
              </a:custGeom>
              <a:solidFill>
                <a:srgbClr val="667E92"/>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666" name="Google Shape;8666;p107"/>
              <p:cNvSpPr/>
              <p:nvPr/>
            </p:nvSpPr>
            <p:spPr>
              <a:xfrm>
                <a:off x="4216194" y="1730768"/>
                <a:ext cx="14227" cy="19446"/>
              </a:xfrm>
              <a:custGeom>
                <a:avLst/>
                <a:gdLst/>
                <a:ahLst/>
                <a:cxnLst/>
                <a:rect l="l" t="t" r="r" b="b"/>
                <a:pathLst>
                  <a:path w="1115" h="1524" extrusionOk="0">
                    <a:moveTo>
                      <a:pt x="296" y="1"/>
                    </a:moveTo>
                    <a:cubicBezTo>
                      <a:pt x="267" y="1"/>
                      <a:pt x="237" y="5"/>
                      <a:pt x="208" y="15"/>
                    </a:cubicBezTo>
                    <a:lnTo>
                      <a:pt x="171" y="28"/>
                    </a:lnTo>
                    <a:cubicBezTo>
                      <a:pt x="58" y="67"/>
                      <a:pt x="0" y="193"/>
                      <a:pt x="47" y="304"/>
                    </a:cubicBezTo>
                    <a:cubicBezTo>
                      <a:pt x="205" y="675"/>
                      <a:pt x="384" y="1035"/>
                      <a:pt x="588" y="1385"/>
                    </a:cubicBezTo>
                    <a:cubicBezTo>
                      <a:pt x="637" y="1469"/>
                      <a:pt x="728" y="1524"/>
                      <a:pt x="822" y="1524"/>
                    </a:cubicBezTo>
                    <a:cubicBezTo>
                      <a:pt x="850" y="1524"/>
                      <a:pt x="879" y="1519"/>
                      <a:pt x="906" y="1508"/>
                    </a:cubicBezTo>
                    <a:cubicBezTo>
                      <a:pt x="1052" y="1450"/>
                      <a:pt x="1115" y="1277"/>
                      <a:pt x="1036" y="1141"/>
                    </a:cubicBezTo>
                    <a:cubicBezTo>
                      <a:pt x="852" y="826"/>
                      <a:pt x="687" y="499"/>
                      <a:pt x="543" y="164"/>
                    </a:cubicBezTo>
                    <a:cubicBezTo>
                      <a:pt x="499" y="63"/>
                      <a:pt x="400" y="1"/>
                      <a:pt x="296" y="1"/>
                    </a:cubicBezTo>
                    <a:close/>
                  </a:path>
                </a:pathLst>
              </a:custGeom>
              <a:solidFill>
                <a:srgbClr val="667E92"/>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667" name="Google Shape;8667;p107"/>
              <p:cNvSpPr/>
              <p:nvPr/>
            </p:nvSpPr>
            <p:spPr>
              <a:xfrm>
                <a:off x="4207607" y="1699506"/>
                <a:ext cx="12045" cy="27153"/>
              </a:xfrm>
              <a:custGeom>
                <a:avLst/>
                <a:gdLst/>
                <a:ahLst/>
                <a:cxnLst/>
                <a:rect l="l" t="t" r="r" b="b"/>
                <a:pathLst>
                  <a:path w="944" h="2128" extrusionOk="0">
                    <a:moveTo>
                      <a:pt x="273" y="0"/>
                    </a:moveTo>
                    <a:cubicBezTo>
                      <a:pt x="261" y="0"/>
                      <a:pt x="249" y="1"/>
                      <a:pt x="238" y="3"/>
                    </a:cubicBezTo>
                    <a:cubicBezTo>
                      <a:pt x="98" y="22"/>
                      <a:pt x="1" y="150"/>
                      <a:pt x="20" y="289"/>
                    </a:cubicBezTo>
                    <a:lnTo>
                      <a:pt x="21" y="289"/>
                    </a:lnTo>
                    <a:cubicBezTo>
                      <a:pt x="105" y="854"/>
                      <a:pt x="238" y="1412"/>
                      <a:pt x="417" y="1955"/>
                    </a:cubicBezTo>
                    <a:cubicBezTo>
                      <a:pt x="454" y="2061"/>
                      <a:pt x="553" y="2127"/>
                      <a:pt x="658" y="2127"/>
                    </a:cubicBezTo>
                    <a:cubicBezTo>
                      <a:pt x="686" y="2127"/>
                      <a:pt x="714" y="2123"/>
                      <a:pt x="742" y="2113"/>
                    </a:cubicBezTo>
                    <a:cubicBezTo>
                      <a:pt x="875" y="2067"/>
                      <a:pt x="944" y="1923"/>
                      <a:pt x="899" y="1790"/>
                    </a:cubicBezTo>
                    <a:cubicBezTo>
                      <a:pt x="731" y="1279"/>
                      <a:pt x="604" y="754"/>
                      <a:pt x="526" y="220"/>
                    </a:cubicBezTo>
                    <a:cubicBezTo>
                      <a:pt x="508" y="93"/>
                      <a:pt x="398" y="0"/>
                      <a:pt x="273" y="0"/>
                    </a:cubicBezTo>
                    <a:close/>
                  </a:path>
                </a:pathLst>
              </a:custGeom>
              <a:solidFill>
                <a:srgbClr val="667E92"/>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sp>
          <p:nvSpPr>
            <p:cNvPr id="8668" name="Google Shape;8668;p107"/>
            <p:cNvSpPr/>
            <p:nvPr/>
          </p:nvSpPr>
          <p:spPr>
            <a:xfrm>
              <a:off x="4250519" y="1416170"/>
              <a:ext cx="26783" cy="52303"/>
            </a:xfrm>
            <a:custGeom>
              <a:avLst/>
              <a:gdLst/>
              <a:ahLst/>
              <a:cxnLst/>
              <a:rect l="l" t="t" r="r" b="b"/>
              <a:pathLst>
                <a:path w="2099" h="4099" extrusionOk="0">
                  <a:moveTo>
                    <a:pt x="412" y="1"/>
                  </a:moveTo>
                  <a:cubicBezTo>
                    <a:pt x="358" y="1"/>
                    <a:pt x="305" y="37"/>
                    <a:pt x="292" y="98"/>
                  </a:cubicBezTo>
                  <a:lnTo>
                    <a:pt x="18" y="1357"/>
                  </a:lnTo>
                  <a:cubicBezTo>
                    <a:pt x="1" y="1436"/>
                    <a:pt x="62" y="1506"/>
                    <a:pt x="139" y="1506"/>
                  </a:cubicBezTo>
                  <a:cubicBezTo>
                    <a:pt x="149" y="1506"/>
                    <a:pt x="158" y="1505"/>
                    <a:pt x="169" y="1502"/>
                  </a:cubicBezTo>
                  <a:lnTo>
                    <a:pt x="503" y="1416"/>
                  </a:lnTo>
                  <a:cubicBezTo>
                    <a:pt x="745" y="2317"/>
                    <a:pt x="1113" y="3181"/>
                    <a:pt x="1597" y="3981"/>
                  </a:cubicBezTo>
                  <a:cubicBezTo>
                    <a:pt x="1644" y="4057"/>
                    <a:pt x="1725" y="4099"/>
                    <a:pt x="1809" y="4099"/>
                  </a:cubicBezTo>
                  <a:cubicBezTo>
                    <a:pt x="1856" y="4099"/>
                    <a:pt x="1903" y="4086"/>
                    <a:pt x="1946" y="4058"/>
                  </a:cubicBezTo>
                  <a:cubicBezTo>
                    <a:pt x="2063" y="3980"/>
                    <a:pt x="2098" y="3823"/>
                    <a:pt x="2024" y="3703"/>
                  </a:cubicBezTo>
                  <a:cubicBezTo>
                    <a:pt x="1571" y="2950"/>
                    <a:pt x="1225" y="2138"/>
                    <a:pt x="998" y="1291"/>
                  </a:cubicBezTo>
                  <a:lnTo>
                    <a:pt x="1283" y="1217"/>
                  </a:lnTo>
                  <a:cubicBezTo>
                    <a:pt x="1373" y="1195"/>
                    <a:pt x="1406" y="1086"/>
                    <a:pt x="1347" y="1017"/>
                  </a:cubicBezTo>
                  <a:lnTo>
                    <a:pt x="505" y="44"/>
                  </a:lnTo>
                  <a:cubicBezTo>
                    <a:pt x="479" y="14"/>
                    <a:pt x="445" y="1"/>
                    <a:pt x="412" y="1"/>
                  </a:cubicBezTo>
                  <a:close/>
                </a:path>
              </a:pathLst>
            </a:custGeom>
            <a:solidFill>
              <a:srgbClr val="667E92"/>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669" name="Google Shape;8669;p107"/>
            <p:cNvSpPr/>
            <p:nvPr/>
          </p:nvSpPr>
          <p:spPr>
            <a:xfrm>
              <a:off x="4276166" y="1471370"/>
              <a:ext cx="24359" cy="25290"/>
            </a:xfrm>
            <a:custGeom>
              <a:avLst/>
              <a:gdLst/>
              <a:ahLst/>
              <a:cxnLst/>
              <a:rect l="l" t="t" r="r" b="b"/>
              <a:pathLst>
                <a:path w="1909" h="1982" extrusionOk="0">
                  <a:moveTo>
                    <a:pt x="291" y="0"/>
                  </a:moveTo>
                  <a:cubicBezTo>
                    <a:pt x="243" y="0"/>
                    <a:pt x="195" y="14"/>
                    <a:pt x="152" y="41"/>
                  </a:cubicBezTo>
                  <a:cubicBezTo>
                    <a:pt x="30" y="121"/>
                    <a:pt x="0" y="285"/>
                    <a:pt x="85" y="403"/>
                  </a:cubicBezTo>
                  <a:cubicBezTo>
                    <a:pt x="380" y="810"/>
                    <a:pt x="706" y="1193"/>
                    <a:pt x="1062" y="1548"/>
                  </a:cubicBezTo>
                  <a:cubicBezTo>
                    <a:pt x="1190" y="1678"/>
                    <a:pt x="1323" y="1801"/>
                    <a:pt x="1459" y="1921"/>
                  </a:cubicBezTo>
                  <a:cubicBezTo>
                    <a:pt x="1507" y="1962"/>
                    <a:pt x="1566" y="1981"/>
                    <a:pt x="1624" y="1981"/>
                  </a:cubicBezTo>
                  <a:cubicBezTo>
                    <a:pt x="1695" y="1981"/>
                    <a:pt x="1766" y="1952"/>
                    <a:pt x="1816" y="1894"/>
                  </a:cubicBezTo>
                  <a:cubicBezTo>
                    <a:pt x="1909" y="1788"/>
                    <a:pt x="1898" y="1628"/>
                    <a:pt x="1794" y="1535"/>
                  </a:cubicBezTo>
                  <a:cubicBezTo>
                    <a:pt x="1665" y="1423"/>
                    <a:pt x="1542" y="1308"/>
                    <a:pt x="1422" y="1188"/>
                  </a:cubicBezTo>
                  <a:cubicBezTo>
                    <a:pt x="1087" y="851"/>
                    <a:pt x="778" y="490"/>
                    <a:pt x="500" y="107"/>
                  </a:cubicBezTo>
                  <a:cubicBezTo>
                    <a:pt x="449" y="38"/>
                    <a:pt x="371" y="0"/>
                    <a:pt x="291" y="0"/>
                  </a:cubicBezTo>
                  <a:close/>
                </a:path>
              </a:pathLst>
            </a:custGeom>
            <a:solidFill>
              <a:srgbClr val="667E92"/>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670" name="Google Shape;8670;p107"/>
            <p:cNvSpPr/>
            <p:nvPr/>
          </p:nvSpPr>
          <p:spPr>
            <a:xfrm>
              <a:off x="4330231" y="1513121"/>
              <a:ext cx="21462" cy="10986"/>
            </a:xfrm>
            <a:custGeom>
              <a:avLst/>
              <a:gdLst/>
              <a:ahLst/>
              <a:cxnLst/>
              <a:rect l="l" t="t" r="r" b="b"/>
              <a:pathLst>
                <a:path w="1682" h="861" extrusionOk="0">
                  <a:moveTo>
                    <a:pt x="311" y="0"/>
                  </a:moveTo>
                  <a:cubicBezTo>
                    <a:pt x="211" y="0"/>
                    <a:pt x="116" y="56"/>
                    <a:pt x="69" y="151"/>
                  </a:cubicBezTo>
                  <a:lnTo>
                    <a:pt x="53" y="185"/>
                  </a:lnTo>
                  <a:cubicBezTo>
                    <a:pt x="0" y="292"/>
                    <a:pt x="48" y="423"/>
                    <a:pt x="160" y="468"/>
                  </a:cubicBezTo>
                  <a:cubicBezTo>
                    <a:pt x="533" y="619"/>
                    <a:pt x="916" y="747"/>
                    <a:pt x="1307" y="851"/>
                  </a:cubicBezTo>
                  <a:cubicBezTo>
                    <a:pt x="1331" y="857"/>
                    <a:pt x="1355" y="861"/>
                    <a:pt x="1379" y="861"/>
                  </a:cubicBezTo>
                  <a:cubicBezTo>
                    <a:pt x="1480" y="861"/>
                    <a:pt x="1576" y="806"/>
                    <a:pt x="1618" y="713"/>
                  </a:cubicBezTo>
                  <a:cubicBezTo>
                    <a:pt x="1682" y="569"/>
                    <a:pt x="1602" y="403"/>
                    <a:pt x="1451" y="363"/>
                  </a:cubicBezTo>
                  <a:cubicBezTo>
                    <a:pt x="1097" y="268"/>
                    <a:pt x="751" y="154"/>
                    <a:pt x="412" y="20"/>
                  </a:cubicBezTo>
                  <a:cubicBezTo>
                    <a:pt x="379" y="7"/>
                    <a:pt x="345" y="0"/>
                    <a:pt x="311" y="0"/>
                  </a:cubicBezTo>
                  <a:close/>
                </a:path>
              </a:pathLst>
            </a:custGeom>
            <a:solidFill>
              <a:srgbClr val="667E92"/>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671" name="Google Shape;8671;p107"/>
            <p:cNvSpPr/>
            <p:nvPr/>
          </p:nvSpPr>
          <p:spPr>
            <a:xfrm>
              <a:off x="4302005" y="1497298"/>
              <a:ext cx="25469" cy="17647"/>
            </a:xfrm>
            <a:custGeom>
              <a:avLst/>
              <a:gdLst/>
              <a:ahLst/>
              <a:cxnLst/>
              <a:rect l="l" t="t" r="r" b="b"/>
              <a:pathLst>
                <a:path w="1996" h="1383" extrusionOk="0">
                  <a:moveTo>
                    <a:pt x="289" y="1"/>
                  </a:moveTo>
                  <a:cubicBezTo>
                    <a:pt x="212" y="1"/>
                    <a:pt x="136" y="36"/>
                    <a:pt x="86" y="102"/>
                  </a:cubicBezTo>
                  <a:cubicBezTo>
                    <a:pt x="1" y="214"/>
                    <a:pt x="23" y="374"/>
                    <a:pt x="135" y="459"/>
                  </a:cubicBezTo>
                  <a:cubicBezTo>
                    <a:pt x="595" y="800"/>
                    <a:pt x="1082" y="1100"/>
                    <a:pt x="1592" y="1356"/>
                  </a:cubicBezTo>
                  <a:cubicBezTo>
                    <a:pt x="1629" y="1374"/>
                    <a:pt x="1667" y="1382"/>
                    <a:pt x="1705" y="1382"/>
                  </a:cubicBezTo>
                  <a:cubicBezTo>
                    <a:pt x="1799" y="1382"/>
                    <a:pt x="1891" y="1329"/>
                    <a:pt x="1935" y="1239"/>
                  </a:cubicBezTo>
                  <a:cubicBezTo>
                    <a:pt x="1996" y="1113"/>
                    <a:pt x="1943" y="960"/>
                    <a:pt x="1817" y="898"/>
                  </a:cubicBezTo>
                  <a:cubicBezTo>
                    <a:pt x="1336" y="656"/>
                    <a:pt x="875" y="373"/>
                    <a:pt x="443" y="52"/>
                  </a:cubicBezTo>
                  <a:cubicBezTo>
                    <a:pt x="397" y="18"/>
                    <a:pt x="343" y="1"/>
                    <a:pt x="289" y="1"/>
                  </a:cubicBezTo>
                  <a:close/>
                </a:path>
              </a:pathLst>
            </a:custGeom>
            <a:solidFill>
              <a:srgbClr val="667E92"/>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nvGrpSpPr>
            <p:cNvPr id="8672" name="Google Shape;8672;p107"/>
            <p:cNvGrpSpPr/>
            <p:nvPr/>
          </p:nvGrpSpPr>
          <p:grpSpPr>
            <a:xfrm>
              <a:off x="4889463" y="1423737"/>
              <a:ext cx="29552" cy="142899"/>
              <a:chOff x="4889463" y="1423737"/>
              <a:chExt cx="29552" cy="142899"/>
            </a:xfrm>
          </p:grpSpPr>
          <p:sp>
            <p:nvSpPr>
              <p:cNvPr id="8673" name="Google Shape;8673;p107"/>
              <p:cNvSpPr/>
              <p:nvPr/>
            </p:nvSpPr>
            <p:spPr>
              <a:xfrm>
                <a:off x="4889463" y="1515647"/>
                <a:ext cx="26158" cy="50989"/>
              </a:xfrm>
              <a:custGeom>
                <a:avLst/>
                <a:gdLst/>
                <a:ahLst/>
                <a:cxnLst/>
                <a:rect l="l" t="t" r="r" b="b"/>
                <a:pathLst>
                  <a:path w="2050" h="3996" extrusionOk="0">
                    <a:moveTo>
                      <a:pt x="1772" y="0"/>
                    </a:moveTo>
                    <a:cubicBezTo>
                      <a:pt x="1653" y="0"/>
                      <a:pt x="1547" y="82"/>
                      <a:pt x="1518" y="201"/>
                    </a:cubicBezTo>
                    <a:cubicBezTo>
                      <a:pt x="1307" y="1053"/>
                      <a:pt x="977" y="1872"/>
                      <a:pt x="540" y="2634"/>
                    </a:cubicBezTo>
                    <a:lnTo>
                      <a:pt x="285" y="2482"/>
                    </a:lnTo>
                    <a:cubicBezTo>
                      <a:pt x="265" y="2470"/>
                      <a:pt x="244" y="2465"/>
                      <a:pt x="223" y="2465"/>
                    </a:cubicBezTo>
                    <a:cubicBezTo>
                      <a:pt x="162" y="2465"/>
                      <a:pt x="104" y="2511"/>
                      <a:pt x="99" y="2579"/>
                    </a:cubicBezTo>
                    <a:lnTo>
                      <a:pt x="6" y="3864"/>
                    </a:lnTo>
                    <a:cubicBezTo>
                      <a:pt x="0" y="3939"/>
                      <a:pt x="62" y="3995"/>
                      <a:pt x="129" y="3995"/>
                    </a:cubicBezTo>
                    <a:cubicBezTo>
                      <a:pt x="152" y="3995"/>
                      <a:pt x="174" y="3989"/>
                      <a:pt x="195" y="3976"/>
                    </a:cubicBezTo>
                    <a:lnTo>
                      <a:pt x="1278" y="3279"/>
                    </a:lnTo>
                    <a:cubicBezTo>
                      <a:pt x="1355" y="3229"/>
                      <a:pt x="1353" y="3117"/>
                      <a:pt x="1275" y="3071"/>
                    </a:cubicBezTo>
                    <a:lnTo>
                      <a:pt x="978" y="2893"/>
                    </a:lnTo>
                    <a:cubicBezTo>
                      <a:pt x="1444" y="2085"/>
                      <a:pt x="1794" y="1213"/>
                      <a:pt x="2018" y="307"/>
                    </a:cubicBezTo>
                    <a:cubicBezTo>
                      <a:pt x="2050" y="171"/>
                      <a:pt x="1963" y="35"/>
                      <a:pt x="1826" y="6"/>
                    </a:cubicBezTo>
                    <a:cubicBezTo>
                      <a:pt x="1808" y="2"/>
                      <a:pt x="1790" y="0"/>
                      <a:pt x="1772" y="0"/>
                    </a:cubicBezTo>
                    <a:close/>
                  </a:path>
                </a:pathLst>
              </a:custGeom>
              <a:solidFill>
                <a:srgbClr val="667E92"/>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674" name="Google Shape;8674;p107"/>
              <p:cNvSpPr/>
              <p:nvPr/>
            </p:nvSpPr>
            <p:spPr>
              <a:xfrm>
                <a:off x="4910772" y="1479256"/>
                <a:ext cx="8243" cy="31785"/>
              </a:xfrm>
              <a:custGeom>
                <a:avLst/>
                <a:gdLst/>
                <a:ahLst/>
                <a:cxnLst/>
                <a:rect l="l" t="t" r="r" b="b"/>
                <a:pathLst>
                  <a:path w="646" h="2491" extrusionOk="0">
                    <a:moveTo>
                      <a:pt x="375" y="0"/>
                    </a:moveTo>
                    <a:cubicBezTo>
                      <a:pt x="368" y="0"/>
                      <a:pt x="361" y="1"/>
                      <a:pt x="354" y="1"/>
                    </a:cubicBezTo>
                    <a:cubicBezTo>
                      <a:pt x="216" y="11"/>
                      <a:pt x="111" y="129"/>
                      <a:pt x="119" y="269"/>
                    </a:cubicBezTo>
                    <a:cubicBezTo>
                      <a:pt x="128" y="438"/>
                      <a:pt x="135" y="607"/>
                      <a:pt x="135" y="776"/>
                    </a:cubicBezTo>
                    <a:cubicBezTo>
                      <a:pt x="135" y="1252"/>
                      <a:pt x="96" y="1724"/>
                      <a:pt x="23" y="2193"/>
                    </a:cubicBezTo>
                    <a:cubicBezTo>
                      <a:pt x="0" y="2328"/>
                      <a:pt x="88" y="2458"/>
                      <a:pt x="223" y="2485"/>
                    </a:cubicBezTo>
                    <a:cubicBezTo>
                      <a:pt x="240" y="2488"/>
                      <a:pt x="257" y="2490"/>
                      <a:pt x="274" y="2490"/>
                    </a:cubicBezTo>
                    <a:cubicBezTo>
                      <a:pt x="396" y="2490"/>
                      <a:pt x="504" y="2403"/>
                      <a:pt x="526" y="2278"/>
                    </a:cubicBezTo>
                    <a:cubicBezTo>
                      <a:pt x="604" y="1782"/>
                      <a:pt x="644" y="1279"/>
                      <a:pt x="646" y="776"/>
                    </a:cubicBezTo>
                    <a:cubicBezTo>
                      <a:pt x="646" y="595"/>
                      <a:pt x="638" y="413"/>
                      <a:pt x="626" y="232"/>
                    </a:cubicBezTo>
                    <a:cubicBezTo>
                      <a:pt x="616" y="101"/>
                      <a:pt x="505" y="0"/>
                      <a:pt x="375" y="0"/>
                    </a:cubicBezTo>
                    <a:close/>
                  </a:path>
                </a:pathLst>
              </a:custGeom>
              <a:solidFill>
                <a:srgbClr val="667E92"/>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675" name="Google Shape;8675;p107"/>
              <p:cNvSpPr/>
              <p:nvPr/>
            </p:nvSpPr>
            <p:spPr>
              <a:xfrm>
                <a:off x="4895052" y="1423737"/>
                <a:ext cx="14215" cy="19446"/>
              </a:xfrm>
              <a:custGeom>
                <a:avLst/>
                <a:gdLst/>
                <a:ahLst/>
                <a:cxnLst/>
                <a:rect l="l" t="t" r="r" b="b"/>
                <a:pathLst>
                  <a:path w="1114" h="1524" extrusionOk="0">
                    <a:moveTo>
                      <a:pt x="293" y="1"/>
                    </a:moveTo>
                    <a:cubicBezTo>
                      <a:pt x="265" y="1"/>
                      <a:pt x="236" y="5"/>
                      <a:pt x="209" y="16"/>
                    </a:cubicBezTo>
                    <a:cubicBezTo>
                      <a:pt x="62" y="74"/>
                      <a:pt x="1" y="246"/>
                      <a:pt x="79" y="383"/>
                    </a:cubicBezTo>
                    <a:cubicBezTo>
                      <a:pt x="262" y="698"/>
                      <a:pt x="427" y="1025"/>
                      <a:pt x="573" y="1359"/>
                    </a:cubicBezTo>
                    <a:cubicBezTo>
                      <a:pt x="615" y="1461"/>
                      <a:pt x="714" y="1523"/>
                      <a:pt x="819" y="1523"/>
                    </a:cubicBezTo>
                    <a:cubicBezTo>
                      <a:pt x="848" y="1523"/>
                      <a:pt x="878" y="1518"/>
                      <a:pt x="907" y="1508"/>
                    </a:cubicBezTo>
                    <a:lnTo>
                      <a:pt x="942" y="1495"/>
                    </a:lnTo>
                    <a:cubicBezTo>
                      <a:pt x="1056" y="1457"/>
                      <a:pt x="1114" y="1331"/>
                      <a:pt x="1067" y="1220"/>
                    </a:cubicBezTo>
                    <a:cubicBezTo>
                      <a:pt x="910" y="849"/>
                      <a:pt x="729" y="488"/>
                      <a:pt x="528" y="139"/>
                    </a:cubicBezTo>
                    <a:cubicBezTo>
                      <a:pt x="478" y="54"/>
                      <a:pt x="387" y="1"/>
                      <a:pt x="293" y="1"/>
                    </a:cubicBezTo>
                    <a:close/>
                  </a:path>
                </a:pathLst>
              </a:custGeom>
              <a:solidFill>
                <a:srgbClr val="667E92"/>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676" name="Google Shape;8676;p107"/>
              <p:cNvSpPr/>
              <p:nvPr/>
            </p:nvSpPr>
            <p:spPr>
              <a:xfrm>
                <a:off x="4905783" y="1447292"/>
                <a:ext cx="12071" cy="27153"/>
              </a:xfrm>
              <a:custGeom>
                <a:avLst/>
                <a:gdLst/>
                <a:ahLst/>
                <a:cxnLst/>
                <a:rect l="l" t="t" r="r" b="b"/>
                <a:pathLst>
                  <a:path w="946" h="2128" extrusionOk="0">
                    <a:moveTo>
                      <a:pt x="288" y="0"/>
                    </a:moveTo>
                    <a:cubicBezTo>
                      <a:pt x="260" y="0"/>
                      <a:pt x="232" y="5"/>
                      <a:pt x="204" y="15"/>
                    </a:cubicBezTo>
                    <a:cubicBezTo>
                      <a:pt x="71" y="61"/>
                      <a:pt x="1" y="205"/>
                      <a:pt x="47" y="338"/>
                    </a:cubicBezTo>
                    <a:cubicBezTo>
                      <a:pt x="215" y="850"/>
                      <a:pt x="342" y="1376"/>
                      <a:pt x="420" y="1909"/>
                    </a:cubicBezTo>
                    <a:cubicBezTo>
                      <a:pt x="438" y="2036"/>
                      <a:pt x="548" y="2128"/>
                      <a:pt x="673" y="2128"/>
                    </a:cubicBezTo>
                    <a:cubicBezTo>
                      <a:pt x="685" y="2128"/>
                      <a:pt x="696" y="2127"/>
                      <a:pt x="708" y="2125"/>
                    </a:cubicBezTo>
                    <a:cubicBezTo>
                      <a:pt x="848" y="2106"/>
                      <a:pt x="945" y="1978"/>
                      <a:pt x="926" y="1839"/>
                    </a:cubicBezTo>
                    <a:lnTo>
                      <a:pt x="925" y="1839"/>
                    </a:lnTo>
                    <a:cubicBezTo>
                      <a:pt x="841" y="1273"/>
                      <a:pt x="708" y="716"/>
                      <a:pt x="529" y="173"/>
                    </a:cubicBezTo>
                    <a:cubicBezTo>
                      <a:pt x="492" y="67"/>
                      <a:pt x="393" y="0"/>
                      <a:pt x="288" y="0"/>
                    </a:cubicBezTo>
                    <a:close/>
                  </a:path>
                </a:pathLst>
              </a:custGeom>
              <a:solidFill>
                <a:srgbClr val="667E92"/>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8677" name="Google Shape;8677;p107"/>
            <p:cNvGrpSpPr/>
            <p:nvPr/>
          </p:nvGrpSpPr>
          <p:grpSpPr>
            <a:xfrm>
              <a:off x="4771663" y="1876896"/>
              <a:ext cx="108651" cy="100447"/>
              <a:chOff x="4771663" y="1876896"/>
              <a:chExt cx="108651" cy="100447"/>
            </a:xfrm>
          </p:grpSpPr>
          <p:sp>
            <p:nvSpPr>
              <p:cNvPr id="8678" name="Google Shape;8678;p107"/>
              <p:cNvSpPr/>
              <p:nvPr/>
            </p:nvSpPr>
            <p:spPr>
              <a:xfrm>
                <a:off x="4771663" y="1951210"/>
                <a:ext cx="53184" cy="26132"/>
              </a:xfrm>
              <a:custGeom>
                <a:avLst/>
                <a:gdLst/>
                <a:ahLst/>
                <a:cxnLst/>
                <a:rect l="l" t="t" r="r" b="b"/>
                <a:pathLst>
                  <a:path w="4168" h="2048" extrusionOk="0">
                    <a:moveTo>
                      <a:pt x="3871" y="0"/>
                    </a:moveTo>
                    <a:cubicBezTo>
                      <a:pt x="3824" y="0"/>
                      <a:pt x="3777" y="13"/>
                      <a:pt x="3735" y="39"/>
                    </a:cubicBezTo>
                    <a:cubicBezTo>
                      <a:pt x="2982" y="492"/>
                      <a:pt x="2170" y="838"/>
                      <a:pt x="1323" y="1067"/>
                    </a:cubicBezTo>
                    <a:lnTo>
                      <a:pt x="1249" y="780"/>
                    </a:lnTo>
                    <a:cubicBezTo>
                      <a:pt x="1235" y="721"/>
                      <a:pt x="1183" y="687"/>
                      <a:pt x="1130" y="687"/>
                    </a:cubicBezTo>
                    <a:cubicBezTo>
                      <a:pt x="1102" y="687"/>
                      <a:pt x="1073" y="696"/>
                      <a:pt x="1049" y="717"/>
                    </a:cubicBezTo>
                    <a:lnTo>
                      <a:pt x="76" y="1560"/>
                    </a:lnTo>
                    <a:cubicBezTo>
                      <a:pt x="0" y="1625"/>
                      <a:pt x="32" y="1750"/>
                      <a:pt x="130" y="1773"/>
                    </a:cubicBezTo>
                    <a:lnTo>
                      <a:pt x="1389" y="2045"/>
                    </a:lnTo>
                    <a:cubicBezTo>
                      <a:pt x="1398" y="2047"/>
                      <a:pt x="1407" y="2048"/>
                      <a:pt x="1416" y="2048"/>
                    </a:cubicBezTo>
                    <a:cubicBezTo>
                      <a:pt x="1493" y="2048"/>
                      <a:pt x="1555" y="1975"/>
                      <a:pt x="1534" y="1894"/>
                    </a:cubicBezTo>
                    <a:lnTo>
                      <a:pt x="1450" y="1561"/>
                    </a:lnTo>
                    <a:cubicBezTo>
                      <a:pt x="2351" y="1318"/>
                      <a:pt x="3214" y="950"/>
                      <a:pt x="4013" y="466"/>
                    </a:cubicBezTo>
                    <a:cubicBezTo>
                      <a:pt x="4132" y="392"/>
                      <a:pt x="4167" y="235"/>
                      <a:pt x="4090" y="119"/>
                    </a:cubicBezTo>
                    <a:cubicBezTo>
                      <a:pt x="4039" y="42"/>
                      <a:pt x="3956" y="0"/>
                      <a:pt x="3871" y="0"/>
                    </a:cubicBezTo>
                    <a:close/>
                  </a:path>
                </a:pathLst>
              </a:custGeom>
              <a:solidFill>
                <a:srgbClr val="667E92"/>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679" name="Google Shape;8679;p107"/>
              <p:cNvSpPr/>
              <p:nvPr/>
            </p:nvSpPr>
            <p:spPr>
              <a:xfrm>
                <a:off x="4826850" y="1927897"/>
                <a:ext cx="26081" cy="23529"/>
              </a:xfrm>
              <a:custGeom>
                <a:avLst/>
                <a:gdLst/>
                <a:ahLst/>
                <a:cxnLst/>
                <a:rect l="l" t="t" r="r" b="b"/>
                <a:pathLst>
                  <a:path w="2044" h="1844" extrusionOk="0">
                    <a:moveTo>
                      <a:pt x="1760" y="1"/>
                    </a:moveTo>
                    <a:cubicBezTo>
                      <a:pt x="1689" y="1"/>
                      <a:pt x="1619" y="31"/>
                      <a:pt x="1568" y="88"/>
                    </a:cubicBezTo>
                    <a:cubicBezTo>
                      <a:pt x="1456" y="215"/>
                      <a:pt x="1341" y="338"/>
                      <a:pt x="1221" y="458"/>
                    </a:cubicBezTo>
                    <a:cubicBezTo>
                      <a:pt x="885" y="793"/>
                      <a:pt x="524" y="1102"/>
                      <a:pt x="140" y="1380"/>
                    </a:cubicBezTo>
                    <a:cubicBezTo>
                      <a:pt x="29" y="1460"/>
                      <a:pt x="1" y="1612"/>
                      <a:pt x="74" y="1728"/>
                    </a:cubicBezTo>
                    <a:cubicBezTo>
                      <a:pt x="124" y="1803"/>
                      <a:pt x="205" y="1844"/>
                      <a:pt x="288" y="1844"/>
                    </a:cubicBezTo>
                    <a:cubicBezTo>
                      <a:pt x="339" y="1844"/>
                      <a:pt x="391" y="1828"/>
                      <a:pt x="436" y="1797"/>
                    </a:cubicBezTo>
                    <a:cubicBezTo>
                      <a:pt x="843" y="1500"/>
                      <a:pt x="1226" y="1174"/>
                      <a:pt x="1581" y="820"/>
                    </a:cubicBezTo>
                    <a:cubicBezTo>
                      <a:pt x="1711" y="690"/>
                      <a:pt x="1834" y="557"/>
                      <a:pt x="1954" y="421"/>
                    </a:cubicBezTo>
                    <a:cubicBezTo>
                      <a:pt x="2044" y="315"/>
                      <a:pt x="2033" y="155"/>
                      <a:pt x="1927" y="64"/>
                    </a:cubicBezTo>
                    <a:cubicBezTo>
                      <a:pt x="1879" y="22"/>
                      <a:pt x="1819" y="1"/>
                      <a:pt x="1760" y="1"/>
                    </a:cubicBezTo>
                    <a:close/>
                  </a:path>
                </a:pathLst>
              </a:custGeom>
              <a:solidFill>
                <a:srgbClr val="667E92"/>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680" name="Google Shape;8680;p107"/>
              <p:cNvSpPr/>
              <p:nvPr/>
            </p:nvSpPr>
            <p:spPr>
              <a:xfrm>
                <a:off x="4868600" y="1876896"/>
                <a:ext cx="11714" cy="20531"/>
              </a:xfrm>
              <a:custGeom>
                <a:avLst/>
                <a:gdLst/>
                <a:ahLst/>
                <a:cxnLst/>
                <a:rect l="l" t="t" r="r" b="b"/>
                <a:pathLst>
                  <a:path w="918" h="1609" extrusionOk="0">
                    <a:moveTo>
                      <a:pt x="642" y="0"/>
                    </a:moveTo>
                    <a:cubicBezTo>
                      <a:pt x="531" y="0"/>
                      <a:pt x="426" y="74"/>
                      <a:pt x="396" y="189"/>
                    </a:cubicBezTo>
                    <a:cubicBezTo>
                      <a:pt x="301" y="543"/>
                      <a:pt x="187" y="889"/>
                      <a:pt x="53" y="1228"/>
                    </a:cubicBezTo>
                    <a:cubicBezTo>
                      <a:pt x="0" y="1360"/>
                      <a:pt x="58" y="1509"/>
                      <a:pt x="184" y="1571"/>
                    </a:cubicBezTo>
                    <a:lnTo>
                      <a:pt x="218" y="1587"/>
                    </a:lnTo>
                    <a:cubicBezTo>
                      <a:pt x="248" y="1602"/>
                      <a:pt x="280" y="1608"/>
                      <a:pt x="311" y="1608"/>
                    </a:cubicBezTo>
                    <a:cubicBezTo>
                      <a:pt x="392" y="1608"/>
                      <a:pt x="469" y="1561"/>
                      <a:pt x="501" y="1480"/>
                    </a:cubicBezTo>
                    <a:cubicBezTo>
                      <a:pt x="653" y="1107"/>
                      <a:pt x="780" y="724"/>
                      <a:pt x="886" y="333"/>
                    </a:cubicBezTo>
                    <a:cubicBezTo>
                      <a:pt x="918" y="210"/>
                      <a:pt x="862" y="74"/>
                      <a:pt x="746" y="22"/>
                    </a:cubicBezTo>
                    <a:cubicBezTo>
                      <a:pt x="712" y="7"/>
                      <a:pt x="677" y="0"/>
                      <a:pt x="642" y="0"/>
                    </a:cubicBezTo>
                    <a:close/>
                  </a:path>
                </a:pathLst>
              </a:custGeom>
              <a:solidFill>
                <a:srgbClr val="667E92"/>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681" name="Google Shape;8681;p107"/>
              <p:cNvSpPr/>
              <p:nvPr/>
            </p:nvSpPr>
            <p:spPr>
              <a:xfrm>
                <a:off x="4852804" y="1901038"/>
                <a:ext cx="18528" cy="24589"/>
              </a:xfrm>
              <a:custGeom>
                <a:avLst/>
                <a:gdLst/>
                <a:ahLst/>
                <a:cxnLst/>
                <a:rect l="l" t="t" r="r" b="b"/>
                <a:pathLst>
                  <a:path w="1452" h="1927" extrusionOk="0">
                    <a:moveTo>
                      <a:pt x="1159" y="1"/>
                    </a:moveTo>
                    <a:cubicBezTo>
                      <a:pt x="1064" y="1"/>
                      <a:pt x="974" y="53"/>
                      <a:pt x="931" y="143"/>
                    </a:cubicBezTo>
                    <a:cubicBezTo>
                      <a:pt x="689" y="625"/>
                      <a:pt x="405" y="1085"/>
                      <a:pt x="85" y="1519"/>
                    </a:cubicBezTo>
                    <a:cubicBezTo>
                      <a:pt x="0" y="1631"/>
                      <a:pt x="21" y="1790"/>
                      <a:pt x="135" y="1874"/>
                    </a:cubicBezTo>
                    <a:cubicBezTo>
                      <a:pt x="181" y="1909"/>
                      <a:pt x="235" y="1926"/>
                      <a:pt x="289" y="1926"/>
                    </a:cubicBezTo>
                    <a:cubicBezTo>
                      <a:pt x="366" y="1926"/>
                      <a:pt x="441" y="1892"/>
                      <a:pt x="492" y="1826"/>
                    </a:cubicBezTo>
                    <a:cubicBezTo>
                      <a:pt x="831" y="1367"/>
                      <a:pt x="1132" y="878"/>
                      <a:pt x="1389" y="368"/>
                    </a:cubicBezTo>
                    <a:cubicBezTo>
                      <a:pt x="1451" y="241"/>
                      <a:pt x="1398" y="87"/>
                      <a:pt x="1270" y="26"/>
                    </a:cubicBezTo>
                    <a:cubicBezTo>
                      <a:pt x="1234" y="9"/>
                      <a:pt x="1196" y="1"/>
                      <a:pt x="1159" y="1"/>
                    </a:cubicBezTo>
                    <a:close/>
                  </a:path>
                </a:pathLst>
              </a:custGeom>
              <a:solidFill>
                <a:srgbClr val="667E92"/>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grpSp>
        <p:nvGrpSpPr>
          <p:cNvPr id="8682" name="Google Shape;8682;p107"/>
          <p:cNvGrpSpPr/>
          <p:nvPr/>
        </p:nvGrpSpPr>
        <p:grpSpPr>
          <a:xfrm>
            <a:off x="5369033" y="2766219"/>
            <a:ext cx="1055049" cy="960467"/>
            <a:chOff x="267375" y="1071875"/>
            <a:chExt cx="470500" cy="428550"/>
          </a:xfrm>
        </p:grpSpPr>
        <p:sp>
          <p:nvSpPr>
            <p:cNvPr id="8683" name="Google Shape;8683;p107"/>
            <p:cNvSpPr/>
            <p:nvPr/>
          </p:nvSpPr>
          <p:spPr>
            <a:xfrm>
              <a:off x="288350" y="1290825"/>
              <a:ext cx="209600" cy="209600"/>
            </a:xfrm>
            <a:custGeom>
              <a:avLst/>
              <a:gdLst/>
              <a:ahLst/>
              <a:cxnLst/>
              <a:rect l="l" t="t" r="r" b="b"/>
              <a:pathLst>
                <a:path w="8384" h="8384" extrusionOk="0">
                  <a:moveTo>
                    <a:pt x="1" y="0"/>
                  </a:moveTo>
                  <a:cubicBezTo>
                    <a:pt x="23" y="1056"/>
                    <a:pt x="239" y="2096"/>
                    <a:pt x="641" y="3073"/>
                  </a:cubicBezTo>
                  <a:cubicBezTo>
                    <a:pt x="676" y="3072"/>
                    <a:pt x="710" y="3070"/>
                    <a:pt x="745" y="3070"/>
                  </a:cubicBezTo>
                  <a:cubicBezTo>
                    <a:pt x="1419" y="3070"/>
                    <a:pt x="2047" y="3416"/>
                    <a:pt x="2406" y="3988"/>
                  </a:cubicBezTo>
                  <a:cubicBezTo>
                    <a:pt x="2766" y="4558"/>
                    <a:pt x="2808" y="5272"/>
                    <a:pt x="2516" y="5880"/>
                  </a:cubicBezTo>
                  <a:cubicBezTo>
                    <a:pt x="4076" y="7440"/>
                    <a:pt x="6179" y="8337"/>
                    <a:pt x="8384" y="8383"/>
                  </a:cubicBezTo>
                  <a:lnTo>
                    <a:pt x="8384" y="3190"/>
                  </a:lnTo>
                  <a:cubicBezTo>
                    <a:pt x="6664" y="3094"/>
                    <a:pt x="5290" y="1720"/>
                    <a:pt x="5194" y="0"/>
                  </a:cubicBezTo>
                  <a:close/>
                </a:path>
              </a:pathLst>
            </a:custGeom>
            <a:noFill/>
            <a:ln w="9525" cap="flat" cmpd="sng">
              <a:solidFill>
                <a:srgbClr val="667E92"/>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684" name="Google Shape;8684;p107"/>
            <p:cNvSpPr/>
            <p:nvPr/>
          </p:nvSpPr>
          <p:spPr>
            <a:xfrm>
              <a:off x="267375" y="1377050"/>
              <a:ext cx="79225" cy="79200"/>
            </a:xfrm>
            <a:custGeom>
              <a:avLst/>
              <a:gdLst/>
              <a:ahLst/>
              <a:cxnLst/>
              <a:rect l="l" t="t" r="r" b="b"/>
              <a:pathLst>
                <a:path w="3169" h="3168" extrusionOk="0">
                  <a:moveTo>
                    <a:pt x="1584" y="0"/>
                  </a:moveTo>
                  <a:cubicBezTo>
                    <a:pt x="710" y="0"/>
                    <a:pt x="1" y="710"/>
                    <a:pt x="1" y="1584"/>
                  </a:cubicBezTo>
                  <a:cubicBezTo>
                    <a:pt x="1" y="2459"/>
                    <a:pt x="710" y="3168"/>
                    <a:pt x="1584" y="3168"/>
                  </a:cubicBezTo>
                  <a:cubicBezTo>
                    <a:pt x="2459" y="3168"/>
                    <a:pt x="3168" y="2459"/>
                    <a:pt x="3168" y="1584"/>
                  </a:cubicBezTo>
                  <a:cubicBezTo>
                    <a:pt x="3168" y="710"/>
                    <a:pt x="2459" y="0"/>
                    <a:pt x="1584" y="0"/>
                  </a:cubicBezTo>
                  <a:close/>
                </a:path>
              </a:pathLst>
            </a:custGeom>
            <a:noFill/>
            <a:ln w="9525" cap="flat" cmpd="sng">
              <a:solidFill>
                <a:srgbClr val="667E92"/>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685" name="Google Shape;8685;p107"/>
            <p:cNvSpPr/>
            <p:nvPr/>
          </p:nvSpPr>
          <p:spPr>
            <a:xfrm>
              <a:off x="507325" y="1290825"/>
              <a:ext cx="209600" cy="209600"/>
            </a:xfrm>
            <a:custGeom>
              <a:avLst/>
              <a:gdLst/>
              <a:ahLst/>
              <a:cxnLst/>
              <a:rect l="l" t="t" r="r" b="b"/>
              <a:pathLst>
                <a:path w="8384" h="8384" extrusionOk="0">
                  <a:moveTo>
                    <a:pt x="3189" y="0"/>
                  </a:moveTo>
                  <a:cubicBezTo>
                    <a:pt x="3093" y="1720"/>
                    <a:pt x="1721" y="3092"/>
                    <a:pt x="1" y="3190"/>
                  </a:cubicBezTo>
                  <a:lnTo>
                    <a:pt x="1" y="8383"/>
                  </a:lnTo>
                  <a:cubicBezTo>
                    <a:pt x="2206" y="8337"/>
                    <a:pt x="4309" y="7440"/>
                    <a:pt x="5868" y="5880"/>
                  </a:cubicBezTo>
                  <a:cubicBezTo>
                    <a:pt x="5577" y="5272"/>
                    <a:pt x="5618" y="4558"/>
                    <a:pt x="5979" y="3986"/>
                  </a:cubicBezTo>
                  <a:cubicBezTo>
                    <a:pt x="6337" y="3416"/>
                    <a:pt x="6965" y="3070"/>
                    <a:pt x="7639" y="3070"/>
                  </a:cubicBezTo>
                  <a:cubicBezTo>
                    <a:pt x="7675" y="3070"/>
                    <a:pt x="7710" y="3070"/>
                    <a:pt x="7743" y="3073"/>
                  </a:cubicBezTo>
                  <a:cubicBezTo>
                    <a:pt x="8145" y="2096"/>
                    <a:pt x="8362" y="1056"/>
                    <a:pt x="8384" y="0"/>
                  </a:cubicBezTo>
                  <a:close/>
                </a:path>
              </a:pathLst>
            </a:custGeom>
            <a:noFill/>
            <a:ln w="9525" cap="flat" cmpd="sng">
              <a:solidFill>
                <a:srgbClr val="A5B7C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686" name="Google Shape;8686;p107"/>
            <p:cNvSpPr/>
            <p:nvPr/>
          </p:nvSpPr>
          <p:spPr>
            <a:xfrm>
              <a:off x="658700" y="1377050"/>
              <a:ext cx="79175" cy="79200"/>
            </a:xfrm>
            <a:custGeom>
              <a:avLst/>
              <a:gdLst/>
              <a:ahLst/>
              <a:cxnLst/>
              <a:rect l="l" t="t" r="r" b="b"/>
              <a:pathLst>
                <a:path w="3167" h="3168" extrusionOk="0">
                  <a:moveTo>
                    <a:pt x="1583" y="0"/>
                  </a:moveTo>
                  <a:cubicBezTo>
                    <a:pt x="708" y="0"/>
                    <a:pt x="1" y="710"/>
                    <a:pt x="1" y="1584"/>
                  </a:cubicBezTo>
                  <a:cubicBezTo>
                    <a:pt x="1" y="2459"/>
                    <a:pt x="708" y="3168"/>
                    <a:pt x="1583" y="3168"/>
                  </a:cubicBezTo>
                  <a:cubicBezTo>
                    <a:pt x="2457" y="3168"/>
                    <a:pt x="3166" y="2459"/>
                    <a:pt x="3166" y="1584"/>
                  </a:cubicBezTo>
                  <a:cubicBezTo>
                    <a:pt x="3166" y="710"/>
                    <a:pt x="2457" y="0"/>
                    <a:pt x="1583" y="0"/>
                  </a:cubicBezTo>
                  <a:close/>
                </a:path>
              </a:pathLst>
            </a:custGeom>
            <a:noFill/>
            <a:ln w="9525" cap="flat" cmpd="sng">
              <a:solidFill>
                <a:srgbClr val="A5B7C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687" name="Google Shape;8687;p107"/>
            <p:cNvSpPr/>
            <p:nvPr/>
          </p:nvSpPr>
          <p:spPr>
            <a:xfrm>
              <a:off x="507325" y="1071875"/>
              <a:ext cx="209575" cy="209600"/>
            </a:xfrm>
            <a:custGeom>
              <a:avLst/>
              <a:gdLst/>
              <a:ahLst/>
              <a:cxnLst/>
              <a:rect l="l" t="t" r="r" b="b"/>
              <a:pathLst>
                <a:path w="8383" h="8384" extrusionOk="0">
                  <a:moveTo>
                    <a:pt x="1" y="1"/>
                  </a:moveTo>
                  <a:lnTo>
                    <a:pt x="1" y="5194"/>
                  </a:lnTo>
                  <a:cubicBezTo>
                    <a:pt x="1721" y="5290"/>
                    <a:pt x="3093" y="6662"/>
                    <a:pt x="3189" y="8384"/>
                  </a:cubicBezTo>
                  <a:lnTo>
                    <a:pt x="8382" y="8384"/>
                  </a:lnTo>
                  <a:cubicBezTo>
                    <a:pt x="8362" y="7328"/>
                    <a:pt x="8144" y="6286"/>
                    <a:pt x="7742" y="5311"/>
                  </a:cubicBezTo>
                  <a:cubicBezTo>
                    <a:pt x="7708" y="5312"/>
                    <a:pt x="7673" y="5314"/>
                    <a:pt x="7638" y="5314"/>
                  </a:cubicBezTo>
                  <a:cubicBezTo>
                    <a:pt x="6964" y="5312"/>
                    <a:pt x="6336" y="4966"/>
                    <a:pt x="5977" y="4396"/>
                  </a:cubicBezTo>
                  <a:cubicBezTo>
                    <a:pt x="5618" y="3825"/>
                    <a:pt x="5577" y="3110"/>
                    <a:pt x="5867" y="2502"/>
                  </a:cubicBezTo>
                  <a:cubicBezTo>
                    <a:pt x="4309" y="942"/>
                    <a:pt x="2206" y="45"/>
                    <a:pt x="1" y="1"/>
                  </a:cubicBezTo>
                  <a:close/>
                </a:path>
              </a:pathLst>
            </a:custGeom>
            <a:noFill/>
            <a:ln w="9525" cap="flat" cmpd="sng">
              <a:solidFill>
                <a:srgbClr val="869FB1"/>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688" name="Google Shape;8688;p107"/>
            <p:cNvSpPr/>
            <p:nvPr/>
          </p:nvSpPr>
          <p:spPr>
            <a:xfrm>
              <a:off x="658700" y="1116025"/>
              <a:ext cx="79175" cy="79175"/>
            </a:xfrm>
            <a:custGeom>
              <a:avLst/>
              <a:gdLst/>
              <a:ahLst/>
              <a:cxnLst/>
              <a:rect l="l" t="t" r="r" b="b"/>
              <a:pathLst>
                <a:path w="3167" h="3167" extrusionOk="0">
                  <a:moveTo>
                    <a:pt x="1583" y="1"/>
                  </a:moveTo>
                  <a:cubicBezTo>
                    <a:pt x="708" y="1"/>
                    <a:pt x="1" y="709"/>
                    <a:pt x="1" y="1583"/>
                  </a:cubicBezTo>
                  <a:cubicBezTo>
                    <a:pt x="1" y="2457"/>
                    <a:pt x="708" y="3167"/>
                    <a:pt x="1583" y="3167"/>
                  </a:cubicBezTo>
                  <a:cubicBezTo>
                    <a:pt x="2457" y="3167"/>
                    <a:pt x="3166" y="2457"/>
                    <a:pt x="3166" y="1583"/>
                  </a:cubicBezTo>
                  <a:cubicBezTo>
                    <a:pt x="3166" y="709"/>
                    <a:pt x="2457" y="1"/>
                    <a:pt x="1583" y="1"/>
                  </a:cubicBezTo>
                  <a:close/>
                </a:path>
              </a:pathLst>
            </a:custGeom>
            <a:noFill/>
            <a:ln w="9525" cap="flat" cmpd="sng">
              <a:solidFill>
                <a:srgbClr val="869FB1"/>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689" name="Google Shape;8689;p107"/>
            <p:cNvSpPr/>
            <p:nvPr/>
          </p:nvSpPr>
          <p:spPr>
            <a:xfrm>
              <a:off x="288350" y="1071875"/>
              <a:ext cx="209600" cy="209550"/>
            </a:xfrm>
            <a:custGeom>
              <a:avLst/>
              <a:gdLst/>
              <a:ahLst/>
              <a:cxnLst/>
              <a:rect l="l" t="t" r="r" b="b"/>
              <a:pathLst>
                <a:path w="8384" h="8382" extrusionOk="0">
                  <a:moveTo>
                    <a:pt x="8384" y="1"/>
                  </a:moveTo>
                  <a:cubicBezTo>
                    <a:pt x="6179" y="45"/>
                    <a:pt x="4076" y="942"/>
                    <a:pt x="2516" y="2502"/>
                  </a:cubicBezTo>
                  <a:cubicBezTo>
                    <a:pt x="2808" y="3110"/>
                    <a:pt x="2766" y="3825"/>
                    <a:pt x="2406" y="4396"/>
                  </a:cubicBezTo>
                  <a:cubicBezTo>
                    <a:pt x="2047" y="4966"/>
                    <a:pt x="1419" y="5312"/>
                    <a:pt x="745" y="5312"/>
                  </a:cubicBezTo>
                  <a:cubicBezTo>
                    <a:pt x="710" y="5312"/>
                    <a:pt x="675" y="5312"/>
                    <a:pt x="641" y="5311"/>
                  </a:cubicBezTo>
                  <a:cubicBezTo>
                    <a:pt x="239" y="6286"/>
                    <a:pt x="23" y="7327"/>
                    <a:pt x="1" y="8382"/>
                  </a:cubicBezTo>
                  <a:lnTo>
                    <a:pt x="5194" y="8382"/>
                  </a:lnTo>
                  <a:cubicBezTo>
                    <a:pt x="5290" y="6662"/>
                    <a:pt x="6664" y="5290"/>
                    <a:pt x="8384" y="5194"/>
                  </a:cubicBezTo>
                  <a:lnTo>
                    <a:pt x="8384" y="1"/>
                  </a:lnTo>
                  <a:close/>
                </a:path>
              </a:pathLst>
            </a:custGeom>
            <a:noFill/>
            <a:ln w="9525" cap="flat" cmpd="sng">
              <a:solidFill>
                <a:srgbClr val="CFD9E0"/>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690" name="Google Shape;8690;p107"/>
            <p:cNvSpPr/>
            <p:nvPr/>
          </p:nvSpPr>
          <p:spPr>
            <a:xfrm>
              <a:off x="267375" y="1116025"/>
              <a:ext cx="79225" cy="79175"/>
            </a:xfrm>
            <a:custGeom>
              <a:avLst/>
              <a:gdLst/>
              <a:ahLst/>
              <a:cxnLst/>
              <a:rect l="l" t="t" r="r" b="b"/>
              <a:pathLst>
                <a:path w="3169" h="3167" extrusionOk="0">
                  <a:moveTo>
                    <a:pt x="1584" y="1"/>
                  </a:moveTo>
                  <a:cubicBezTo>
                    <a:pt x="710" y="1"/>
                    <a:pt x="1" y="709"/>
                    <a:pt x="1" y="1583"/>
                  </a:cubicBezTo>
                  <a:cubicBezTo>
                    <a:pt x="1" y="2457"/>
                    <a:pt x="710" y="3167"/>
                    <a:pt x="1584" y="3167"/>
                  </a:cubicBezTo>
                  <a:cubicBezTo>
                    <a:pt x="2459" y="3167"/>
                    <a:pt x="3168" y="2457"/>
                    <a:pt x="3168" y="1583"/>
                  </a:cubicBezTo>
                  <a:cubicBezTo>
                    <a:pt x="3168" y="709"/>
                    <a:pt x="2459" y="1"/>
                    <a:pt x="1584" y="1"/>
                  </a:cubicBezTo>
                  <a:close/>
                </a:path>
              </a:pathLst>
            </a:custGeom>
            <a:noFill/>
            <a:ln w="9525" cap="flat" cmpd="sng">
              <a:solidFill>
                <a:srgbClr val="CFD9E0"/>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8691" name="Google Shape;8691;p107"/>
          <p:cNvGrpSpPr/>
          <p:nvPr/>
        </p:nvGrpSpPr>
        <p:grpSpPr>
          <a:xfrm>
            <a:off x="969692" y="4959059"/>
            <a:ext cx="1877925" cy="897555"/>
            <a:chOff x="712664" y="3693287"/>
            <a:chExt cx="1460738" cy="698160"/>
          </a:xfrm>
        </p:grpSpPr>
        <p:grpSp>
          <p:nvGrpSpPr>
            <p:cNvPr id="8692" name="Google Shape;8692;p107"/>
            <p:cNvGrpSpPr/>
            <p:nvPr/>
          </p:nvGrpSpPr>
          <p:grpSpPr>
            <a:xfrm>
              <a:off x="1380079" y="4133090"/>
              <a:ext cx="234048" cy="258099"/>
              <a:chOff x="1380079" y="4133090"/>
              <a:chExt cx="234048" cy="258099"/>
            </a:xfrm>
          </p:grpSpPr>
          <p:sp>
            <p:nvSpPr>
              <p:cNvPr id="8693" name="Google Shape;8693;p107"/>
              <p:cNvSpPr/>
              <p:nvPr/>
            </p:nvSpPr>
            <p:spPr>
              <a:xfrm>
                <a:off x="1380079" y="4323114"/>
                <a:ext cx="136140" cy="68075"/>
              </a:xfrm>
              <a:custGeom>
                <a:avLst/>
                <a:gdLst/>
                <a:ahLst/>
                <a:cxnLst/>
                <a:rect l="l" t="t" r="r" b="b"/>
                <a:pathLst>
                  <a:path w="27160" h="13581" extrusionOk="0">
                    <a:moveTo>
                      <a:pt x="13580" y="1"/>
                    </a:moveTo>
                    <a:cubicBezTo>
                      <a:pt x="6083" y="1"/>
                      <a:pt x="0" y="6077"/>
                      <a:pt x="0" y="13580"/>
                    </a:cubicBezTo>
                    <a:lnTo>
                      <a:pt x="27159" y="13580"/>
                    </a:lnTo>
                    <a:cubicBezTo>
                      <a:pt x="27159" y="6077"/>
                      <a:pt x="21083" y="1"/>
                      <a:pt x="13580" y="1"/>
                    </a:cubicBezTo>
                    <a:close/>
                  </a:path>
                </a:pathLst>
              </a:custGeom>
              <a:noFill/>
              <a:ln w="9525" cap="flat" cmpd="sng">
                <a:solidFill>
                  <a:srgbClr val="E3E9ED"/>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694" name="Google Shape;8694;p107"/>
              <p:cNvSpPr/>
              <p:nvPr/>
            </p:nvSpPr>
            <p:spPr>
              <a:xfrm>
                <a:off x="1432589" y="4133090"/>
                <a:ext cx="29529" cy="191793"/>
              </a:xfrm>
              <a:custGeom>
                <a:avLst/>
                <a:gdLst/>
                <a:ahLst/>
                <a:cxnLst/>
                <a:rect l="l" t="t" r="r" b="b"/>
                <a:pathLst>
                  <a:path w="5891" h="38263" extrusionOk="0">
                    <a:moveTo>
                      <a:pt x="3276" y="0"/>
                    </a:moveTo>
                    <a:lnTo>
                      <a:pt x="0" y="38263"/>
                    </a:lnTo>
                    <a:lnTo>
                      <a:pt x="5890" y="38194"/>
                    </a:lnTo>
                    <a:lnTo>
                      <a:pt x="3276" y="0"/>
                    </a:lnTo>
                    <a:close/>
                  </a:path>
                </a:pathLst>
              </a:custGeom>
              <a:solidFill>
                <a:srgbClr val="E3E9ED"/>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695" name="Google Shape;8695;p107"/>
              <p:cNvSpPr/>
              <p:nvPr/>
            </p:nvSpPr>
            <p:spPr>
              <a:xfrm>
                <a:off x="1492085" y="4253278"/>
                <a:ext cx="122041" cy="92186"/>
              </a:xfrm>
              <a:custGeom>
                <a:avLst/>
                <a:gdLst/>
                <a:ahLst/>
                <a:cxnLst/>
                <a:rect l="l" t="t" r="r" b="b"/>
                <a:pathLst>
                  <a:path w="33574" h="25222" extrusionOk="0">
                    <a:moveTo>
                      <a:pt x="32291" y="1"/>
                    </a:moveTo>
                    <a:lnTo>
                      <a:pt x="1" y="23463"/>
                    </a:lnTo>
                    <a:lnTo>
                      <a:pt x="1277" y="25222"/>
                    </a:lnTo>
                    <a:lnTo>
                      <a:pt x="33574" y="1759"/>
                    </a:lnTo>
                    <a:lnTo>
                      <a:pt x="32291" y="1"/>
                    </a:lnTo>
                    <a:close/>
                  </a:path>
                </a:pathLst>
              </a:custGeom>
              <a:solidFill>
                <a:srgbClr val="E3E9ED"/>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8696" name="Google Shape;8696;p107"/>
            <p:cNvGrpSpPr/>
            <p:nvPr/>
          </p:nvGrpSpPr>
          <p:grpSpPr>
            <a:xfrm>
              <a:off x="884610" y="3864082"/>
              <a:ext cx="1118566" cy="527275"/>
              <a:chOff x="890961" y="3865463"/>
              <a:chExt cx="1115221" cy="525698"/>
            </a:xfrm>
          </p:grpSpPr>
          <p:sp>
            <p:nvSpPr>
              <p:cNvPr id="8697" name="Google Shape;8697;p107"/>
              <p:cNvSpPr/>
              <p:nvPr/>
            </p:nvSpPr>
            <p:spPr>
              <a:xfrm>
                <a:off x="1070568" y="3865463"/>
                <a:ext cx="756474" cy="330074"/>
              </a:xfrm>
              <a:custGeom>
                <a:avLst/>
                <a:gdLst/>
                <a:ahLst/>
                <a:cxnLst/>
                <a:rect l="l" t="t" r="r" b="b"/>
                <a:pathLst>
                  <a:path w="148183" h="64657" extrusionOk="0">
                    <a:moveTo>
                      <a:pt x="74043" y="1"/>
                    </a:moveTo>
                    <a:cubicBezTo>
                      <a:pt x="45518" y="1"/>
                      <a:pt x="19504" y="10966"/>
                      <a:pt x="0" y="28932"/>
                    </a:cubicBezTo>
                    <a:lnTo>
                      <a:pt x="35732" y="64657"/>
                    </a:lnTo>
                    <a:cubicBezTo>
                      <a:pt x="45553" y="54774"/>
                      <a:pt x="59167" y="48663"/>
                      <a:pt x="74208" y="48663"/>
                    </a:cubicBezTo>
                    <a:cubicBezTo>
                      <a:pt x="89215" y="48663"/>
                      <a:pt x="102788" y="54739"/>
                      <a:pt x="112623" y="64567"/>
                    </a:cubicBezTo>
                    <a:lnTo>
                      <a:pt x="148182" y="29008"/>
                    </a:lnTo>
                    <a:cubicBezTo>
                      <a:pt x="128671" y="11008"/>
                      <a:pt x="102623" y="1"/>
                      <a:pt x="74043" y="1"/>
                    </a:cubicBezTo>
                    <a:close/>
                  </a:path>
                </a:pathLst>
              </a:custGeom>
              <a:noFill/>
              <a:ln w="9525" cap="flat" cmpd="sng">
                <a:solidFill>
                  <a:srgbClr val="667E92"/>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698" name="Google Shape;8698;p107"/>
              <p:cNvSpPr/>
              <p:nvPr/>
            </p:nvSpPr>
            <p:spPr>
              <a:xfrm>
                <a:off x="890961" y="4013171"/>
                <a:ext cx="362006" cy="377990"/>
              </a:xfrm>
              <a:custGeom>
                <a:avLst/>
                <a:gdLst/>
                <a:ahLst/>
                <a:cxnLst/>
                <a:rect l="l" t="t" r="r" b="b"/>
                <a:pathLst>
                  <a:path w="70912" h="74043" extrusionOk="0">
                    <a:moveTo>
                      <a:pt x="35180" y="0"/>
                    </a:moveTo>
                    <a:cubicBezTo>
                      <a:pt x="14925" y="18642"/>
                      <a:pt x="1697" y="44814"/>
                      <a:pt x="0" y="74042"/>
                    </a:cubicBezTo>
                    <a:lnTo>
                      <a:pt x="55077" y="74042"/>
                    </a:lnTo>
                    <a:cubicBezTo>
                      <a:pt x="55077" y="59084"/>
                      <a:pt x="61118" y="45545"/>
                      <a:pt x="70912" y="35725"/>
                    </a:cubicBezTo>
                    <a:lnTo>
                      <a:pt x="35180" y="0"/>
                    </a:lnTo>
                    <a:close/>
                  </a:path>
                </a:pathLst>
              </a:custGeom>
              <a:noFill/>
              <a:ln w="9525" cap="flat" cmpd="sng">
                <a:solidFill>
                  <a:srgbClr val="213B5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699" name="Google Shape;8699;p107"/>
              <p:cNvSpPr/>
              <p:nvPr/>
            </p:nvSpPr>
            <p:spPr>
              <a:xfrm>
                <a:off x="1645508" y="4013554"/>
                <a:ext cx="360673" cy="377607"/>
              </a:xfrm>
              <a:custGeom>
                <a:avLst/>
                <a:gdLst/>
                <a:ahLst/>
                <a:cxnLst/>
                <a:rect l="l" t="t" r="r" b="b"/>
                <a:pathLst>
                  <a:path w="70651" h="73968" extrusionOk="0">
                    <a:moveTo>
                      <a:pt x="35567" y="1"/>
                    </a:moveTo>
                    <a:lnTo>
                      <a:pt x="1" y="35560"/>
                    </a:lnTo>
                    <a:cubicBezTo>
                      <a:pt x="9836" y="45388"/>
                      <a:pt x="15912" y="58967"/>
                      <a:pt x="15912" y="73967"/>
                    </a:cubicBezTo>
                    <a:lnTo>
                      <a:pt x="70650" y="73967"/>
                    </a:lnTo>
                    <a:cubicBezTo>
                      <a:pt x="68954" y="44795"/>
                      <a:pt x="55767" y="18643"/>
                      <a:pt x="35567" y="1"/>
                    </a:cubicBezTo>
                    <a:close/>
                  </a:path>
                </a:pathLst>
              </a:custGeom>
              <a:noFill/>
              <a:ln w="9525" cap="flat" cmpd="sng">
                <a:solidFill>
                  <a:srgbClr val="A5B7C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8700" name="Google Shape;8700;p107"/>
            <p:cNvGrpSpPr/>
            <p:nvPr/>
          </p:nvGrpSpPr>
          <p:grpSpPr>
            <a:xfrm>
              <a:off x="712664" y="3693287"/>
              <a:ext cx="1460738" cy="698160"/>
              <a:chOff x="712664" y="3693025"/>
              <a:chExt cx="1460738" cy="698160"/>
            </a:xfrm>
          </p:grpSpPr>
          <p:sp>
            <p:nvSpPr>
              <p:cNvPr id="8701" name="Google Shape;8701;p107"/>
              <p:cNvSpPr/>
              <p:nvPr/>
            </p:nvSpPr>
            <p:spPr>
              <a:xfrm>
                <a:off x="1940752" y="4098034"/>
                <a:ext cx="232651" cy="293151"/>
              </a:xfrm>
              <a:custGeom>
                <a:avLst/>
                <a:gdLst/>
                <a:ahLst/>
                <a:cxnLst/>
                <a:rect l="l" t="t" r="r" b="b"/>
                <a:pathLst>
                  <a:path w="45484" h="57312" extrusionOk="0">
                    <a:moveTo>
                      <a:pt x="30704" y="0"/>
                    </a:moveTo>
                    <a:lnTo>
                      <a:pt x="0" y="13745"/>
                    </a:lnTo>
                    <a:cubicBezTo>
                      <a:pt x="6979" y="27270"/>
                      <a:pt x="11042" y="42111"/>
                      <a:pt x="11917" y="57311"/>
                    </a:cubicBezTo>
                    <a:lnTo>
                      <a:pt x="45484" y="57311"/>
                    </a:lnTo>
                    <a:cubicBezTo>
                      <a:pt x="44594" y="37118"/>
                      <a:pt x="39525" y="17683"/>
                      <a:pt x="30704" y="0"/>
                    </a:cubicBezTo>
                    <a:close/>
                  </a:path>
                </a:pathLst>
              </a:custGeom>
              <a:noFill/>
              <a:ln w="9525" cap="flat" cmpd="sng">
                <a:solidFill>
                  <a:srgbClr val="CFD9E0"/>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702" name="Google Shape;8702;p107"/>
              <p:cNvSpPr/>
              <p:nvPr/>
            </p:nvSpPr>
            <p:spPr>
              <a:xfrm>
                <a:off x="1736852" y="3804671"/>
                <a:ext cx="360950" cy="363671"/>
              </a:xfrm>
              <a:custGeom>
                <a:avLst/>
                <a:gdLst/>
                <a:ahLst/>
                <a:cxnLst/>
                <a:rect l="l" t="t" r="r" b="b"/>
                <a:pathLst>
                  <a:path w="70567" h="71099" extrusionOk="0">
                    <a:moveTo>
                      <a:pt x="18573" y="1"/>
                    </a:moveTo>
                    <a:lnTo>
                      <a:pt x="0" y="28008"/>
                    </a:lnTo>
                    <a:cubicBezTo>
                      <a:pt x="16938" y="38505"/>
                      <a:pt x="30711" y="53395"/>
                      <a:pt x="39863" y="71098"/>
                    </a:cubicBezTo>
                    <a:lnTo>
                      <a:pt x="70567" y="57353"/>
                    </a:lnTo>
                    <a:cubicBezTo>
                      <a:pt x="63753" y="43719"/>
                      <a:pt x="54712" y="31125"/>
                      <a:pt x="43629" y="20042"/>
                    </a:cubicBezTo>
                    <a:cubicBezTo>
                      <a:pt x="36049" y="12449"/>
                      <a:pt x="27642" y="5725"/>
                      <a:pt x="18573" y="1"/>
                    </a:cubicBezTo>
                    <a:close/>
                  </a:path>
                </a:pathLst>
              </a:custGeom>
              <a:noFill/>
              <a:ln w="9525" cap="flat" cmpd="sng">
                <a:solidFill>
                  <a:srgbClr val="869FB1"/>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703" name="Google Shape;8703;p107"/>
              <p:cNvSpPr/>
              <p:nvPr/>
            </p:nvSpPr>
            <p:spPr>
              <a:xfrm>
                <a:off x="1443914" y="3693025"/>
                <a:ext cx="387937" cy="254911"/>
              </a:xfrm>
              <a:custGeom>
                <a:avLst/>
                <a:gdLst/>
                <a:ahLst/>
                <a:cxnLst/>
                <a:rect l="l" t="t" r="r" b="b"/>
                <a:pathLst>
                  <a:path w="75843" h="49836" extrusionOk="0">
                    <a:moveTo>
                      <a:pt x="0" y="0"/>
                    </a:moveTo>
                    <a:lnTo>
                      <a:pt x="0" y="33518"/>
                    </a:lnTo>
                    <a:cubicBezTo>
                      <a:pt x="20987" y="33552"/>
                      <a:pt x="40615" y="39518"/>
                      <a:pt x="57270" y="49835"/>
                    </a:cubicBezTo>
                    <a:lnTo>
                      <a:pt x="75843" y="21828"/>
                    </a:lnTo>
                    <a:cubicBezTo>
                      <a:pt x="53339" y="7641"/>
                      <a:pt x="27256" y="28"/>
                      <a:pt x="0" y="0"/>
                    </a:cubicBezTo>
                    <a:close/>
                  </a:path>
                </a:pathLst>
              </a:custGeom>
              <a:noFill/>
              <a:ln w="9525" cap="flat" cmpd="sng">
                <a:solidFill>
                  <a:srgbClr val="A5B7C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704" name="Google Shape;8704;p107"/>
              <p:cNvSpPr/>
              <p:nvPr/>
            </p:nvSpPr>
            <p:spPr>
              <a:xfrm>
                <a:off x="1054844" y="3693025"/>
                <a:ext cx="389072" cy="254558"/>
              </a:xfrm>
              <a:custGeom>
                <a:avLst/>
                <a:gdLst/>
                <a:ahLst/>
                <a:cxnLst/>
                <a:rect l="l" t="t" r="r" b="b"/>
                <a:pathLst>
                  <a:path w="76065" h="49767" extrusionOk="0">
                    <a:moveTo>
                      <a:pt x="75892" y="0"/>
                    </a:moveTo>
                    <a:cubicBezTo>
                      <a:pt x="48629" y="0"/>
                      <a:pt x="22525" y="7579"/>
                      <a:pt x="1" y="21745"/>
                    </a:cubicBezTo>
                    <a:lnTo>
                      <a:pt x="18574" y="49766"/>
                    </a:lnTo>
                    <a:cubicBezTo>
                      <a:pt x="35250" y="39463"/>
                      <a:pt x="54898" y="33518"/>
                      <a:pt x="75892" y="33518"/>
                    </a:cubicBezTo>
                    <a:lnTo>
                      <a:pt x="76064" y="33518"/>
                    </a:lnTo>
                    <a:lnTo>
                      <a:pt x="76064" y="0"/>
                    </a:lnTo>
                    <a:close/>
                  </a:path>
                </a:pathLst>
              </a:custGeom>
              <a:noFill/>
              <a:ln w="9525" cap="flat" cmpd="sng">
                <a:solidFill>
                  <a:srgbClr val="445D73"/>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705" name="Google Shape;8705;p107"/>
              <p:cNvSpPr/>
              <p:nvPr/>
            </p:nvSpPr>
            <p:spPr>
              <a:xfrm>
                <a:off x="788438" y="3804252"/>
                <a:ext cx="361411" cy="363809"/>
              </a:xfrm>
              <a:custGeom>
                <a:avLst/>
                <a:gdLst/>
                <a:ahLst/>
                <a:cxnLst/>
                <a:rect l="l" t="t" r="r" b="b"/>
                <a:pathLst>
                  <a:path w="70657" h="71126" extrusionOk="0">
                    <a:moveTo>
                      <a:pt x="52084" y="0"/>
                    </a:moveTo>
                    <a:cubicBezTo>
                      <a:pt x="42959" y="5745"/>
                      <a:pt x="34518" y="12490"/>
                      <a:pt x="26904" y="20124"/>
                    </a:cubicBezTo>
                    <a:cubicBezTo>
                      <a:pt x="15828" y="31194"/>
                      <a:pt x="6800" y="43759"/>
                      <a:pt x="0" y="57373"/>
                    </a:cubicBezTo>
                    <a:lnTo>
                      <a:pt x="30704" y="71125"/>
                    </a:lnTo>
                    <a:cubicBezTo>
                      <a:pt x="39870" y="53401"/>
                      <a:pt x="53677" y="38504"/>
                      <a:pt x="70657" y="28021"/>
                    </a:cubicBezTo>
                    <a:lnTo>
                      <a:pt x="52084" y="0"/>
                    </a:lnTo>
                    <a:close/>
                  </a:path>
                </a:pathLst>
              </a:custGeom>
              <a:noFill/>
              <a:ln w="9525" cap="flat" cmpd="sng">
                <a:solidFill>
                  <a:srgbClr val="E3E9ED"/>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706" name="Google Shape;8706;p107"/>
              <p:cNvSpPr/>
              <p:nvPr/>
            </p:nvSpPr>
            <p:spPr>
              <a:xfrm>
                <a:off x="712664" y="4097717"/>
                <a:ext cx="232830" cy="293432"/>
              </a:xfrm>
              <a:custGeom>
                <a:avLst/>
                <a:gdLst/>
                <a:ahLst/>
                <a:cxnLst/>
                <a:rect l="l" t="t" r="r" b="b"/>
                <a:pathLst>
                  <a:path w="45519" h="57367" extrusionOk="0">
                    <a:moveTo>
                      <a:pt x="14814" y="0"/>
                    </a:moveTo>
                    <a:cubicBezTo>
                      <a:pt x="5966" y="17697"/>
                      <a:pt x="890" y="37152"/>
                      <a:pt x="0" y="57366"/>
                    </a:cubicBezTo>
                    <a:lnTo>
                      <a:pt x="33566" y="57366"/>
                    </a:lnTo>
                    <a:cubicBezTo>
                      <a:pt x="34442" y="42152"/>
                      <a:pt x="38511" y="27283"/>
                      <a:pt x="45518" y="13745"/>
                    </a:cubicBezTo>
                    <a:lnTo>
                      <a:pt x="14814" y="0"/>
                    </a:lnTo>
                    <a:close/>
                  </a:path>
                </a:pathLst>
              </a:custGeom>
              <a:noFill/>
              <a:ln w="9525" cap="flat" cmpd="sng">
                <a:solidFill>
                  <a:srgbClr val="A5B7C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grpSp>
        <p:nvGrpSpPr>
          <p:cNvPr id="8707" name="Google Shape;8707;p107"/>
          <p:cNvGrpSpPr/>
          <p:nvPr/>
        </p:nvGrpSpPr>
        <p:grpSpPr>
          <a:xfrm>
            <a:off x="4219981" y="1588589"/>
            <a:ext cx="1060647" cy="985108"/>
            <a:chOff x="3348603" y="1236445"/>
            <a:chExt cx="749256" cy="695894"/>
          </a:xfrm>
        </p:grpSpPr>
        <p:grpSp>
          <p:nvGrpSpPr>
            <p:cNvPr id="8708" name="Google Shape;8708;p107"/>
            <p:cNvGrpSpPr/>
            <p:nvPr/>
          </p:nvGrpSpPr>
          <p:grpSpPr>
            <a:xfrm>
              <a:off x="3583779" y="1236445"/>
              <a:ext cx="293795" cy="285811"/>
              <a:chOff x="3750225" y="1774000"/>
              <a:chExt cx="149575" cy="145525"/>
            </a:xfrm>
          </p:grpSpPr>
          <p:sp>
            <p:nvSpPr>
              <p:cNvPr id="8709" name="Google Shape;8709;p107"/>
              <p:cNvSpPr/>
              <p:nvPr/>
            </p:nvSpPr>
            <p:spPr>
              <a:xfrm>
                <a:off x="3750225" y="1774000"/>
                <a:ext cx="149575" cy="145525"/>
              </a:xfrm>
              <a:custGeom>
                <a:avLst/>
                <a:gdLst/>
                <a:ahLst/>
                <a:cxnLst/>
                <a:rect l="l" t="t" r="r" b="b"/>
                <a:pathLst>
                  <a:path w="5983" h="5821" extrusionOk="0">
                    <a:moveTo>
                      <a:pt x="2652" y="1"/>
                    </a:moveTo>
                    <a:cubicBezTo>
                      <a:pt x="1473" y="1"/>
                      <a:pt x="333" y="843"/>
                      <a:pt x="176" y="2200"/>
                    </a:cubicBezTo>
                    <a:cubicBezTo>
                      <a:pt x="1" y="3763"/>
                      <a:pt x="1259" y="4955"/>
                      <a:pt x="2643" y="4955"/>
                    </a:cubicBezTo>
                    <a:cubicBezTo>
                      <a:pt x="3079" y="4955"/>
                      <a:pt x="3528" y="4836"/>
                      <a:pt x="3948" y="4573"/>
                    </a:cubicBezTo>
                    <a:lnTo>
                      <a:pt x="5203" y="5821"/>
                    </a:lnTo>
                    <a:lnTo>
                      <a:pt x="5982" y="5035"/>
                    </a:lnTo>
                    <a:lnTo>
                      <a:pt x="4735" y="3787"/>
                    </a:lnTo>
                    <a:cubicBezTo>
                      <a:pt x="5340" y="2813"/>
                      <a:pt x="5196" y="1544"/>
                      <a:pt x="4388" y="729"/>
                    </a:cubicBezTo>
                    <a:cubicBezTo>
                      <a:pt x="3888" y="228"/>
                      <a:pt x="3265" y="1"/>
                      <a:pt x="2652" y="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710" name="Google Shape;8710;p107"/>
              <p:cNvSpPr/>
              <p:nvPr/>
            </p:nvSpPr>
            <p:spPr>
              <a:xfrm>
                <a:off x="3776075" y="1794931"/>
                <a:ext cx="82600" cy="78800"/>
              </a:xfrm>
              <a:custGeom>
                <a:avLst/>
                <a:gdLst/>
                <a:ahLst/>
                <a:cxnLst/>
                <a:rect l="l" t="t" r="r" b="b"/>
                <a:pathLst>
                  <a:path w="3304" h="3152" extrusionOk="0">
                    <a:moveTo>
                      <a:pt x="1658" y="1"/>
                    </a:moveTo>
                    <a:cubicBezTo>
                      <a:pt x="853" y="1"/>
                      <a:pt x="162" y="612"/>
                      <a:pt x="87" y="1428"/>
                    </a:cubicBezTo>
                    <a:cubicBezTo>
                      <a:pt x="1" y="2294"/>
                      <a:pt x="635" y="3058"/>
                      <a:pt x="1501" y="3145"/>
                    </a:cubicBezTo>
                    <a:cubicBezTo>
                      <a:pt x="1550" y="3149"/>
                      <a:pt x="1598" y="3151"/>
                      <a:pt x="1647" y="3151"/>
                    </a:cubicBezTo>
                    <a:cubicBezTo>
                      <a:pt x="2451" y="3151"/>
                      <a:pt x="3142" y="2540"/>
                      <a:pt x="3217" y="1724"/>
                    </a:cubicBezTo>
                    <a:cubicBezTo>
                      <a:pt x="3304" y="858"/>
                      <a:pt x="2669" y="94"/>
                      <a:pt x="1804" y="7"/>
                    </a:cubicBezTo>
                    <a:cubicBezTo>
                      <a:pt x="1755" y="3"/>
                      <a:pt x="1706" y="1"/>
                      <a:pt x="1658" y="1"/>
                    </a:cubicBezTo>
                    <a:close/>
                  </a:path>
                </a:pathLst>
              </a:custGeom>
              <a:noFill/>
              <a:ln w="9525" cap="flat" cmpd="sng">
                <a:solidFill>
                  <a:srgbClr val="E3E9ED"/>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8711" name="Google Shape;8711;p107"/>
            <p:cNvGrpSpPr/>
            <p:nvPr/>
          </p:nvGrpSpPr>
          <p:grpSpPr>
            <a:xfrm>
              <a:off x="3775534" y="1462599"/>
              <a:ext cx="322325" cy="285958"/>
              <a:chOff x="3847850" y="1889150"/>
              <a:chExt cx="164100" cy="145600"/>
            </a:xfrm>
          </p:grpSpPr>
          <p:sp>
            <p:nvSpPr>
              <p:cNvPr id="8712" name="Google Shape;8712;p107"/>
              <p:cNvSpPr/>
              <p:nvPr/>
            </p:nvSpPr>
            <p:spPr>
              <a:xfrm>
                <a:off x="3847850" y="1889150"/>
                <a:ext cx="164100" cy="145600"/>
              </a:xfrm>
              <a:custGeom>
                <a:avLst/>
                <a:gdLst/>
                <a:ahLst/>
                <a:cxnLst/>
                <a:rect l="l" t="t" r="r" b="b"/>
                <a:pathLst>
                  <a:path w="6564" h="5824" extrusionOk="0">
                    <a:moveTo>
                      <a:pt x="3329" y="0"/>
                    </a:moveTo>
                    <a:cubicBezTo>
                      <a:pt x="1439" y="0"/>
                      <a:pt x="206" y="2117"/>
                      <a:pt x="1255" y="3790"/>
                    </a:cubicBezTo>
                    <a:lnTo>
                      <a:pt x="0" y="5038"/>
                    </a:lnTo>
                    <a:lnTo>
                      <a:pt x="786" y="5824"/>
                    </a:lnTo>
                    <a:lnTo>
                      <a:pt x="2034" y="4569"/>
                    </a:lnTo>
                    <a:cubicBezTo>
                      <a:pt x="2441" y="4823"/>
                      <a:pt x="2897" y="4947"/>
                      <a:pt x="3350" y="4947"/>
                    </a:cubicBezTo>
                    <a:cubicBezTo>
                      <a:pt x="3989" y="4947"/>
                      <a:pt x="4622" y="4700"/>
                      <a:pt x="5099" y="4223"/>
                    </a:cubicBezTo>
                    <a:cubicBezTo>
                      <a:pt x="6563" y="2758"/>
                      <a:pt x="5683" y="248"/>
                      <a:pt x="3628" y="18"/>
                    </a:cubicBezTo>
                    <a:cubicBezTo>
                      <a:pt x="3527" y="6"/>
                      <a:pt x="3427" y="0"/>
                      <a:pt x="3329" y="0"/>
                    </a:cubicBezTo>
                    <a:close/>
                  </a:path>
                </a:pathLst>
              </a:custGeom>
              <a:noFill/>
              <a:ln w="9525" cap="flat" cmpd="sng">
                <a:solidFill>
                  <a:srgbClr val="869FB2"/>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713" name="Google Shape;8713;p107"/>
              <p:cNvSpPr/>
              <p:nvPr/>
            </p:nvSpPr>
            <p:spPr>
              <a:xfrm>
                <a:off x="3887875" y="1912456"/>
                <a:ext cx="89450" cy="78700"/>
              </a:xfrm>
              <a:custGeom>
                <a:avLst/>
                <a:gdLst/>
                <a:ahLst/>
                <a:cxnLst/>
                <a:rect l="l" t="t" r="r" b="b"/>
                <a:pathLst>
                  <a:path w="3578" h="3148" extrusionOk="0">
                    <a:moveTo>
                      <a:pt x="1788" y="0"/>
                    </a:moveTo>
                    <a:cubicBezTo>
                      <a:pt x="1172" y="0"/>
                      <a:pt x="587" y="366"/>
                      <a:pt x="332" y="968"/>
                    </a:cubicBezTo>
                    <a:cubicBezTo>
                      <a:pt x="0" y="1769"/>
                      <a:pt x="383" y="2692"/>
                      <a:pt x="1183" y="3024"/>
                    </a:cubicBezTo>
                    <a:cubicBezTo>
                      <a:pt x="1382" y="3108"/>
                      <a:pt x="1588" y="3147"/>
                      <a:pt x="1790" y="3147"/>
                    </a:cubicBezTo>
                    <a:cubicBezTo>
                      <a:pt x="2405" y="3147"/>
                      <a:pt x="2989" y="2782"/>
                      <a:pt x="3239" y="2180"/>
                    </a:cubicBezTo>
                    <a:cubicBezTo>
                      <a:pt x="3578" y="1379"/>
                      <a:pt x="3195" y="456"/>
                      <a:pt x="2395" y="124"/>
                    </a:cubicBezTo>
                    <a:cubicBezTo>
                      <a:pt x="2196" y="40"/>
                      <a:pt x="1990" y="0"/>
                      <a:pt x="1788" y="0"/>
                    </a:cubicBezTo>
                    <a:close/>
                  </a:path>
                </a:pathLst>
              </a:custGeom>
              <a:noFill/>
              <a:ln w="9525" cap="flat" cmpd="sng">
                <a:solidFill>
                  <a:srgbClr val="E3E9ED"/>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8714" name="Google Shape;8714;p107"/>
            <p:cNvGrpSpPr/>
            <p:nvPr/>
          </p:nvGrpSpPr>
          <p:grpSpPr>
            <a:xfrm>
              <a:off x="3545329" y="1646528"/>
              <a:ext cx="293746" cy="285811"/>
              <a:chOff x="3730650" y="1982800"/>
              <a:chExt cx="149550" cy="145525"/>
            </a:xfrm>
          </p:grpSpPr>
          <p:sp>
            <p:nvSpPr>
              <p:cNvPr id="8715" name="Google Shape;8715;p107"/>
              <p:cNvSpPr/>
              <p:nvPr/>
            </p:nvSpPr>
            <p:spPr>
              <a:xfrm>
                <a:off x="3730650" y="1982800"/>
                <a:ext cx="149550" cy="145525"/>
              </a:xfrm>
              <a:custGeom>
                <a:avLst/>
                <a:gdLst/>
                <a:ahLst/>
                <a:cxnLst/>
                <a:rect l="l" t="t" r="r" b="b"/>
                <a:pathLst>
                  <a:path w="5982" h="5821" extrusionOk="0">
                    <a:moveTo>
                      <a:pt x="786" y="0"/>
                    </a:moveTo>
                    <a:lnTo>
                      <a:pt x="0" y="787"/>
                    </a:lnTo>
                    <a:lnTo>
                      <a:pt x="1255" y="2034"/>
                    </a:lnTo>
                    <a:cubicBezTo>
                      <a:pt x="642" y="3008"/>
                      <a:pt x="786" y="4277"/>
                      <a:pt x="1601" y="5092"/>
                    </a:cubicBezTo>
                    <a:cubicBezTo>
                      <a:pt x="2102" y="5593"/>
                      <a:pt x="2724" y="5821"/>
                      <a:pt x="3335" y="5821"/>
                    </a:cubicBezTo>
                    <a:cubicBezTo>
                      <a:pt x="4512" y="5821"/>
                      <a:pt x="5649" y="4979"/>
                      <a:pt x="5806" y="3621"/>
                    </a:cubicBezTo>
                    <a:cubicBezTo>
                      <a:pt x="5981" y="2058"/>
                      <a:pt x="4723" y="867"/>
                      <a:pt x="3339" y="867"/>
                    </a:cubicBezTo>
                    <a:cubicBezTo>
                      <a:pt x="2903" y="867"/>
                      <a:pt x="2454" y="985"/>
                      <a:pt x="2034" y="1248"/>
                    </a:cubicBezTo>
                    <a:lnTo>
                      <a:pt x="786" y="0"/>
                    </a:lnTo>
                    <a:close/>
                  </a:path>
                </a:pathLst>
              </a:custGeom>
              <a:noFill/>
              <a:ln w="9525" cap="flat" cmpd="sng">
                <a:solidFill>
                  <a:srgbClr val="A5B7C6"/>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716" name="Google Shape;8716;p107"/>
              <p:cNvSpPr/>
              <p:nvPr/>
            </p:nvSpPr>
            <p:spPr>
              <a:xfrm>
                <a:off x="3771925" y="2027231"/>
                <a:ext cx="86575" cy="78750"/>
              </a:xfrm>
              <a:custGeom>
                <a:avLst/>
                <a:gdLst/>
                <a:ahLst/>
                <a:cxnLst/>
                <a:rect l="l" t="t" r="r" b="b"/>
                <a:pathLst>
                  <a:path w="3463" h="3150" extrusionOk="0">
                    <a:moveTo>
                      <a:pt x="1740" y="0"/>
                    </a:moveTo>
                    <a:cubicBezTo>
                      <a:pt x="1022" y="0"/>
                      <a:pt x="376" y="485"/>
                      <a:pt x="203" y="1209"/>
                    </a:cubicBezTo>
                    <a:cubicBezTo>
                      <a:pt x="1" y="2060"/>
                      <a:pt x="527" y="2904"/>
                      <a:pt x="1371" y="3106"/>
                    </a:cubicBezTo>
                    <a:cubicBezTo>
                      <a:pt x="1493" y="3135"/>
                      <a:pt x="1615" y="3149"/>
                      <a:pt x="1735" y="3149"/>
                    </a:cubicBezTo>
                    <a:cubicBezTo>
                      <a:pt x="2447" y="3149"/>
                      <a:pt x="3095" y="2660"/>
                      <a:pt x="3268" y="1938"/>
                    </a:cubicBezTo>
                    <a:cubicBezTo>
                      <a:pt x="3463" y="1094"/>
                      <a:pt x="2943" y="243"/>
                      <a:pt x="2099" y="41"/>
                    </a:cubicBezTo>
                    <a:cubicBezTo>
                      <a:pt x="1979" y="13"/>
                      <a:pt x="1858" y="0"/>
                      <a:pt x="1740" y="0"/>
                    </a:cubicBezTo>
                    <a:close/>
                  </a:path>
                </a:pathLst>
              </a:custGeom>
              <a:noFill/>
              <a:ln w="9525" cap="flat" cmpd="sng">
                <a:solidFill>
                  <a:srgbClr val="E3E9ED"/>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8717" name="Google Shape;8717;p107"/>
            <p:cNvGrpSpPr/>
            <p:nvPr/>
          </p:nvGrpSpPr>
          <p:grpSpPr>
            <a:xfrm>
              <a:off x="3348603" y="1415046"/>
              <a:ext cx="294384" cy="284387"/>
              <a:chOff x="3630494" y="1864938"/>
              <a:chExt cx="149875" cy="144800"/>
            </a:xfrm>
          </p:grpSpPr>
          <p:sp>
            <p:nvSpPr>
              <p:cNvPr id="8718" name="Google Shape;8718;p107"/>
              <p:cNvSpPr/>
              <p:nvPr/>
            </p:nvSpPr>
            <p:spPr>
              <a:xfrm>
                <a:off x="3630494" y="1864938"/>
                <a:ext cx="149875" cy="144800"/>
              </a:xfrm>
              <a:custGeom>
                <a:avLst/>
                <a:gdLst/>
                <a:ahLst/>
                <a:cxnLst/>
                <a:rect l="l" t="t" r="r" b="b"/>
                <a:pathLst>
                  <a:path w="5995" h="5792" extrusionOk="0">
                    <a:moveTo>
                      <a:pt x="5251" y="0"/>
                    </a:moveTo>
                    <a:lnTo>
                      <a:pt x="4025" y="1226"/>
                    </a:lnTo>
                    <a:cubicBezTo>
                      <a:pt x="3619" y="974"/>
                      <a:pt x="3165" y="852"/>
                      <a:pt x="2716" y="852"/>
                    </a:cubicBezTo>
                    <a:cubicBezTo>
                      <a:pt x="1986" y="852"/>
                      <a:pt x="1267" y="1174"/>
                      <a:pt x="780" y="1782"/>
                    </a:cubicBezTo>
                    <a:cubicBezTo>
                      <a:pt x="1" y="2770"/>
                      <a:pt x="80" y="4183"/>
                      <a:pt x="967" y="5070"/>
                    </a:cubicBezTo>
                    <a:cubicBezTo>
                      <a:pt x="1449" y="5548"/>
                      <a:pt x="2082" y="5792"/>
                      <a:pt x="2716" y="5792"/>
                    </a:cubicBezTo>
                    <a:cubicBezTo>
                      <a:pt x="3259" y="5792"/>
                      <a:pt x="3804" y="5613"/>
                      <a:pt x="4256" y="5251"/>
                    </a:cubicBezTo>
                    <a:cubicBezTo>
                      <a:pt x="5237" y="4472"/>
                      <a:pt x="5475" y="3073"/>
                      <a:pt x="4811" y="2012"/>
                    </a:cubicBezTo>
                    <a:lnTo>
                      <a:pt x="5994" y="822"/>
                    </a:lnTo>
                    <a:cubicBezTo>
                      <a:pt x="5872" y="736"/>
                      <a:pt x="5756" y="642"/>
                      <a:pt x="5655" y="541"/>
                    </a:cubicBezTo>
                    <a:cubicBezTo>
                      <a:pt x="5497" y="382"/>
                      <a:pt x="5360" y="202"/>
                      <a:pt x="5251" y="0"/>
                    </a:cubicBezTo>
                    <a:close/>
                  </a:path>
                </a:pathLst>
              </a:custGeom>
              <a:noFill/>
              <a:ln w="9525" cap="flat" cmpd="sng">
                <a:solidFill>
                  <a:srgbClr val="374957"/>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719" name="Google Shape;8719;p107"/>
              <p:cNvSpPr/>
              <p:nvPr/>
            </p:nvSpPr>
            <p:spPr>
              <a:xfrm>
                <a:off x="3654119" y="1906594"/>
                <a:ext cx="86575" cy="78800"/>
              </a:xfrm>
              <a:custGeom>
                <a:avLst/>
                <a:gdLst/>
                <a:ahLst/>
                <a:cxnLst/>
                <a:rect l="l" t="t" r="r" b="b"/>
                <a:pathLst>
                  <a:path w="3463" h="3152" extrusionOk="0">
                    <a:moveTo>
                      <a:pt x="1733" y="0"/>
                    </a:moveTo>
                    <a:cubicBezTo>
                      <a:pt x="1018" y="0"/>
                      <a:pt x="375" y="490"/>
                      <a:pt x="203" y="1212"/>
                    </a:cubicBezTo>
                    <a:cubicBezTo>
                      <a:pt x="1" y="2056"/>
                      <a:pt x="520" y="2907"/>
                      <a:pt x="1371" y="3109"/>
                    </a:cubicBezTo>
                    <a:cubicBezTo>
                      <a:pt x="1493" y="3138"/>
                      <a:pt x="1615" y="3152"/>
                      <a:pt x="1735" y="3152"/>
                    </a:cubicBezTo>
                    <a:cubicBezTo>
                      <a:pt x="2447" y="3152"/>
                      <a:pt x="3094" y="2662"/>
                      <a:pt x="3261" y="1940"/>
                    </a:cubicBezTo>
                    <a:cubicBezTo>
                      <a:pt x="3463" y="1096"/>
                      <a:pt x="2943" y="245"/>
                      <a:pt x="2099" y="43"/>
                    </a:cubicBezTo>
                    <a:cubicBezTo>
                      <a:pt x="1976" y="14"/>
                      <a:pt x="1854" y="0"/>
                      <a:pt x="1733" y="0"/>
                    </a:cubicBezTo>
                    <a:close/>
                  </a:path>
                </a:pathLst>
              </a:custGeom>
              <a:noFill/>
              <a:ln w="9525" cap="flat" cmpd="sng">
                <a:solidFill>
                  <a:srgbClr val="E3E9ED"/>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grpSp>
        <p:nvGrpSpPr>
          <p:cNvPr id="8720" name="Google Shape;8720;p107"/>
          <p:cNvGrpSpPr/>
          <p:nvPr/>
        </p:nvGrpSpPr>
        <p:grpSpPr>
          <a:xfrm>
            <a:off x="3048683" y="4952450"/>
            <a:ext cx="1766565" cy="904111"/>
            <a:chOff x="2413923" y="3711366"/>
            <a:chExt cx="1374117" cy="703260"/>
          </a:xfrm>
        </p:grpSpPr>
        <p:grpSp>
          <p:nvGrpSpPr>
            <p:cNvPr id="8721" name="Google Shape;8721;p107"/>
            <p:cNvGrpSpPr/>
            <p:nvPr/>
          </p:nvGrpSpPr>
          <p:grpSpPr>
            <a:xfrm>
              <a:off x="2413923" y="3711366"/>
              <a:ext cx="1374117" cy="703260"/>
              <a:chOff x="2413923" y="3711366"/>
              <a:chExt cx="1374117" cy="703260"/>
            </a:xfrm>
          </p:grpSpPr>
          <p:sp>
            <p:nvSpPr>
              <p:cNvPr id="8722" name="Google Shape;8722;p107"/>
              <p:cNvSpPr/>
              <p:nvPr/>
            </p:nvSpPr>
            <p:spPr>
              <a:xfrm>
                <a:off x="2484774" y="3827200"/>
                <a:ext cx="1231201" cy="587426"/>
              </a:xfrm>
              <a:custGeom>
                <a:avLst/>
                <a:gdLst/>
                <a:ahLst/>
                <a:cxnLst/>
                <a:rect l="l" t="t" r="r" b="b"/>
                <a:pathLst>
                  <a:path w="66087" h="33020" extrusionOk="0">
                    <a:moveTo>
                      <a:pt x="33019" y="0"/>
                    </a:moveTo>
                    <a:cubicBezTo>
                      <a:pt x="14818" y="0"/>
                      <a:pt x="0" y="14808"/>
                      <a:pt x="0" y="33019"/>
                    </a:cubicBezTo>
                    <a:lnTo>
                      <a:pt x="1659" y="33019"/>
                    </a:lnTo>
                    <a:cubicBezTo>
                      <a:pt x="1659" y="15718"/>
                      <a:pt x="15718" y="1659"/>
                      <a:pt x="33019" y="1659"/>
                    </a:cubicBezTo>
                    <a:cubicBezTo>
                      <a:pt x="50321" y="1659"/>
                      <a:pt x="64427" y="15718"/>
                      <a:pt x="64427" y="33019"/>
                    </a:cubicBezTo>
                    <a:lnTo>
                      <a:pt x="66086" y="33019"/>
                    </a:lnTo>
                    <a:cubicBezTo>
                      <a:pt x="66086" y="14808"/>
                      <a:pt x="51269" y="0"/>
                      <a:pt x="33019"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nvGrpSpPr>
              <p:cNvPr id="8723" name="Google Shape;8723;p107"/>
              <p:cNvGrpSpPr/>
              <p:nvPr/>
            </p:nvGrpSpPr>
            <p:grpSpPr>
              <a:xfrm>
                <a:off x="2600284" y="3808654"/>
                <a:ext cx="234506" cy="138009"/>
                <a:chOff x="2600284" y="3808654"/>
                <a:chExt cx="234506" cy="138009"/>
              </a:xfrm>
            </p:grpSpPr>
            <p:sp>
              <p:nvSpPr>
                <p:cNvPr id="8724" name="Google Shape;8724;p107"/>
                <p:cNvSpPr/>
                <p:nvPr/>
              </p:nvSpPr>
              <p:spPr>
                <a:xfrm>
                  <a:off x="2767890" y="3879764"/>
                  <a:ext cx="66900" cy="66900"/>
                </a:xfrm>
                <a:prstGeom prst="ellipse">
                  <a:avLst/>
                </a:prstGeom>
                <a:solidFill>
                  <a:srgbClr val="869FB2"/>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cxnSp>
              <p:nvCxnSpPr>
                <p:cNvPr id="8725" name="Google Shape;8725;p107"/>
                <p:cNvCxnSpPr/>
                <p:nvPr/>
              </p:nvCxnSpPr>
              <p:spPr>
                <a:xfrm rot="10800000">
                  <a:off x="2600284" y="3808654"/>
                  <a:ext cx="201000" cy="72300"/>
                </a:xfrm>
                <a:prstGeom prst="bentConnector3">
                  <a:avLst>
                    <a:gd name="adj1" fmla="val 50000"/>
                  </a:avLst>
                </a:prstGeom>
                <a:noFill/>
                <a:ln w="19050" cap="flat" cmpd="sng">
                  <a:solidFill>
                    <a:srgbClr val="869FB2"/>
                  </a:solidFill>
                  <a:prstDash val="solid"/>
                  <a:round/>
                  <a:headEnd type="none" w="med" len="med"/>
                  <a:tailEnd type="none" w="med" len="med"/>
                </a:ln>
              </p:spPr>
            </p:cxnSp>
          </p:grpSp>
          <p:grpSp>
            <p:nvGrpSpPr>
              <p:cNvPr id="8726" name="Google Shape;8726;p107"/>
              <p:cNvGrpSpPr/>
              <p:nvPr/>
            </p:nvGrpSpPr>
            <p:grpSpPr>
              <a:xfrm>
                <a:off x="3359659" y="3805664"/>
                <a:ext cx="232294" cy="141000"/>
                <a:chOff x="3359659" y="3805664"/>
                <a:chExt cx="232294" cy="141000"/>
              </a:xfrm>
            </p:grpSpPr>
            <p:sp>
              <p:nvSpPr>
                <p:cNvPr id="8727" name="Google Shape;8727;p107"/>
                <p:cNvSpPr/>
                <p:nvPr/>
              </p:nvSpPr>
              <p:spPr>
                <a:xfrm>
                  <a:off x="3359659" y="3879764"/>
                  <a:ext cx="66900" cy="66900"/>
                </a:xfrm>
                <a:prstGeom prst="ellipse">
                  <a:avLst/>
                </a:prstGeom>
                <a:solidFill>
                  <a:srgbClr val="869FB2"/>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cxnSp>
              <p:nvCxnSpPr>
                <p:cNvPr id="8728" name="Google Shape;8728;p107"/>
                <p:cNvCxnSpPr/>
                <p:nvPr/>
              </p:nvCxnSpPr>
              <p:spPr>
                <a:xfrm rot="10800000" flipH="1">
                  <a:off x="3393053" y="3805664"/>
                  <a:ext cx="198900" cy="78000"/>
                </a:xfrm>
                <a:prstGeom prst="bentConnector3">
                  <a:avLst>
                    <a:gd name="adj1" fmla="val 50000"/>
                  </a:avLst>
                </a:prstGeom>
                <a:noFill/>
                <a:ln w="19050" cap="flat" cmpd="sng">
                  <a:solidFill>
                    <a:srgbClr val="869FB2"/>
                  </a:solidFill>
                  <a:prstDash val="solid"/>
                  <a:round/>
                  <a:headEnd type="none" w="med" len="med"/>
                  <a:tailEnd type="none" w="med" len="med"/>
                </a:ln>
              </p:spPr>
            </p:cxnSp>
          </p:grpSp>
          <p:grpSp>
            <p:nvGrpSpPr>
              <p:cNvPr id="8729" name="Google Shape;8729;p107"/>
              <p:cNvGrpSpPr/>
              <p:nvPr/>
            </p:nvGrpSpPr>
            <p:grpSpPr>
              <a:xfrm>
                <a:off x="3067316" y="3711366"/>
                <a:ext cx="66900" cy="166809"/>
                <a:chOff x="3067316" y="3711366"/>
                <a:chExt cx="66900" cy="166809"/>
              </a:xfrm>
            </p:grpSpPr>
            <p:sp>
              <p:nvSpPr>
                <p:cNvPr id="8730" name="Google Shape;8730;p107"/>
                <p:cNvSpPr/>
                <p:nvPr/>
              </p:nvSpPr>
              <p:spPr>
                <a:xfrm>
                  <a:off x="3067316" y="3811276"/>
                  <a:ext cx="66900" cy="66900"/>
                </a:xfrm>
                <a:prstGeom prst="ellipse">
                  <a:avLst/>
                </a:prstGeom>
                <a:solidFill>
                  <a:srgbClr val="869FB2"/>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cxnSp>
              <p:nvCxnSpPr>
                <p:cNvPr id="8731" name="Google Shape;8731;p107"/>
                <p:cNvCxnSpPr/>
                <p:nvPr/>
              </p:nvCxnSpPr>
              <p:spPr>
                <a:xfrm rot="-5400000">
                  <a:off x="3050460" y="3761616"/>
                  <a:ext cx="101100" cy="600"/>
                </a:xfrm>
                <a:prstGeom prst="bentConnector3">
                  <a:avLst>
                    <a:gd name="adj1" fmla="val 50000"/>
                  </a:avLst>
                </a:prstGeom>
                <a:noFill/>
                <a:ln w="19050" cap="flat" cmpd="sng">
                  <a:solidFill>
                    <a:srgbClr val="869FB2"/>
                  </a:solidFill>
                  <a:prstDash val="solid"/>
                  <a:round/>
                  <a:headEnd type="none" w="med" len="med"/>
                  <a:tailEnd type="none" w="med" len="med"/>
                </a:ln>
              </p:spPr>
            </p:cxnSp>
          </p:grpSp>
          <p:grpSp>
            <p:nvGrpSpPr>
              <p:cNvPr id="8732" name="Google Shape;8732;p107"/>
              <p:cNvGrpSpPr/>
              <p:nvPr/>
            </p:nvGrpSpPr>
            <p:grpSpPr>
              <a:xfrm>
                <a:off x="2413923" y="4058666"/>
                <a:ext cx="224119" cy="66900"/>
                <a:chOff x="2413923" y="4058666"/>
                <a:chExt cx="224119" cy="66900"/>
              </a:xfrm>
            </p:grpSpPr>
            <p:sp>
              <p:nvSpPr>
                <p:cNvPr id="8733" name="Google Shape;8733;p107"/>
                <p:cNvSpPr/>
                <p:nvPr/>
              </p:nvSpPr>
              <p:spPr>
                <a:xfrm>
                  <a:off x="2571142" y="4058666"/>
                  <a:ext cx="66900" cy="66900"/>
                </a:xfrm>
                <a:prstGeom prst="ellipse">
                  <a:avLst/>
                </a:prstGeom>
                <a:solidFill>
                  <a:srgbClr val="869FB2"/>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cxnSp>
              <p:nvCxnSpPr>
                <p:cNvPr id="8734" name="Google Shape;8734;p107"/>
                <p:cNvCxnSpPr/>
                <p:nvPr/>
              </p:nvCxnSpPr>
              <p:spPr>
                <a:xfrm flipH="1">
                  <a:off x="2413923" y="4092060"/>
                  <a:ext cx="159600" cy="600"/>
                </a:xfrm>
                <a:prstGeom prst="bentConnector3">
                  <a:avLst>
                    <a:gd name="adj1" fmla="val 50000"/>
                  </a:avLst>
                </a:prstGeom>
                <a:noFill/>
                <a:ln w="19050" cap="flat" cmpd="sng">
                  <a:solidFill>
                    <a:srgbClr val="869FB2"/>
                  </a:solidFill>
                  <a:prstDash val="solid"/>
                  <a:round/>
                  <a:headEnd type="none" w="med" len="med"/>
                  <a:tailEnd type="none" w="med" len="med"/>
                </a:ln>
              </p:spPr>
            </p:cxnSp>
          </p:grpSp>
          <p:grpSp>
            <p:nvGrpSpPr>
              <p:cNvPr id="8735" name="Google Shape;8735;p107"/>
              <p:cNvGrpSpPr/>
              <p:nvPr/>
            </p:nvGrpSpPr>
            <p:grpSpPr>
              <a:xfrm>
                <a:off x="3564643" y="4058666"/>
                <a:ext cx="223397" cy="66900"/>
                <a:chOff x="3564643" y="4058666"/>
                <a:chExt cx="223397" cy="66900"/>
              </a:xfrm>
            </p:grpSpPr>
            <p:sp>
              <p:nvSpPr>
                <p:cNvPr id="8736" name="Google Shape;8736;p107"/>
                <p:cNvSpPr/>
                <p:nvPr/>
              </p:nvSpPr>
              <p:spPr>
                <a:xfrm>
                  <a:off x="3564643" y="4058666"/>
                  <a:ext cx="66900" cy="66900"/>
                </a:xfrm>
                <a:prstGeom prst="ellipse">
                  <a:avLst/>
                </a:prstGeom>
                <a:solidFill>
                  <a:srgbClr val="869FB2"/>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cxnSp>
              <p:nvCxnSpPr>
                <p:cNvPr id="8737" name="Google Shape;8737;p107"/>
                <p:cNvCxnSpPr/>
                <p:nvPr/>
              </p:nvCxnSpPr>
              <p:spPr>
                <a:xfrm>
                  <a:off x="3630240" y="4092060"/>
                  <a:ext cx="157800" cy="600"/>
                </a:xfrm>
                <a:prstGeom prst="bentConnector3">
                  <a:avLst>
                    <a:gd name="adj1" fmla="val 50000"/>
                  </a:avLst>
                </a:prstGeom>
                <a:noFill/>
                <a:ln w="19050" cap="flat" cmpd="sng">
                  <a:solidFill>
                    <a:srgbClr val="869FB2"/>
                  </a:solidFill>
                  <a:prstDash val="solid"/>
                  <a:round/>
                  <a:headEnd type="none" w="med" len="med"/>
                  <a:tailEnd type="none" w="med" len="med"/>
                </a:ln>
              </p:spPr>
            </p:cxnSp>
          </p:grpSp>
        </p:grpSp>
        <p:grpSp>
          <p:nvGrpSpPr>
            <p:cNvPr id="8738" name="Google Shape;8738;p107"/>
            <p:cNvGrpSpPr/>
            <p:nvPr/>
          </p:nvGrpSpPr>
          <p:grpSpPr>
            <a:xfrm>
              <a:off x="2633353" y="3965763"/>
              <a:ext cx="933975" cy="445687"/>
              <a:chOff x="2633353" y="3965763"/>
              <a:chExt cx="933975" cy="445687"/>
            </a:xfrm>
          </p:grpSpPr>
          <p:sp>
            <p:nvSpPr>
              <p:cNvPr id="8739" name="Google Shape;8739;p107"/>
              <p:cNvSpPr/>
              <p:nvPr/>
            </p:nvSpPr>
            <p:spPr>
              <a:xfrm>
                <a:off x="2633353" y="3965763"/>
                <a:ext cx="933975" cy="445687"/>
              </a:xfrm>
              <a:custGeom>
                <a:avLst/>
                <a:gdLst/>
                <a:ahLst/>
                <a:cxnLst/>
                <a:rect l="l" t="t" r="r" b="b"/>
                <a:pathLst>
                  <a:path w="66087" h="33020" extrusionOk="0">
                    <a:moveTo>
                      <a:pt x="33019" y="0"/>
                    </a:moveTo>
                    <a:cubicBezTo>
                      <a:pt x="14818" y="0"/>
                      <a:pt x="0" y="14808"/>
                      <a:pt x="0" y="33019"/>
                    </a:cubicBezTo>
                    <a:lnTo>
                      <a:pt x="1659" y="33019"/>
                    </a:lnTo>
                    <a:cubicBezTo>
                      <a:pt x="1659" y="15718"/>
                      <a:pt x="15718" y="1659"/>
                      <a:pt x="33019" y="1659"/>
                    </a:cubicBezTo>
                    <a:cubicBezTo>
                      <a:pt x="50321" y="1659"/>
                      <a:pt x="64427" y="15718"/>
                      <a:pt x="64427" y="33019"/>
                    </a:cubicBezTo>
                    <a:lnTo>
                      <a:pt x="66086" y="33019"/>
                    </a:lnTo>
                    <a:cubicBezTo>
                      <a:pt x="66086" y="14808"/>
                      <a:pt x="51269" y="0"/>
                      <a:pt x="33019"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740" name="Google Shape;8740;p107"/>
              <p:cNvSpPr/>
              <p:nvPr/>
            </p:nvSpPr>
            <p:spPr>
              <a:xfrm>
                <a:off x="2702006" y="4030399"/>
                <a:ext cx="798496" cy="381051"/>
              </a:xfrm>
              <a:custGeom>
                <a:avLst/>
                <a:gdLst/>
                <a:ahLst/>
                <a:cxnLst/>
                <a:rect l="l" t="t" r="r" b="b"/>
                <a:pathLst>
                  <a:path w="66087" h="33020" extrusionOk="0">
                    <a:moveTo>
                      <a:pt x="33019" y="0"/>
                    </a:moveTo>
                    <a:cubicBezTo>
                      <a:pt x="14818" y="0"/>
                      <a:pt x="0" y="14808"/>
                      <a:pt x="0" y="33019"/>
                    </a:cubicBezTo>
                    <a:lnTo>
                      <a:pt x="1659" y="33019"/>
                    </a:lnTo>
                    <a:cubicBezTo>
                      <a:pt x="1659" y="15718"/>
                      <a:pt x="15718" y="1659"/>
                      <a:pt x="33019" y="1659"/>
                    </a:cubicBezTo>
                    <a:cubicBezTo>
                      <a:pt x="50321" y="1659"/>
                      <a:pt x="64427" y="15718"/>
                      <a:pt x="64427" y="33019"/>
                    </a:cubicBezTo>
                    <a:lnTo>
                      <a:pt x="66086" y="33019"/>
                    </a:lnTo>
                    <a:cubicBezTo>
                      <a:pt x="66086" y="14808"/>
                      <a:pt x="51269" y="0"/>
                      <a:pt x="33019"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grpSp>
        <p:nvGrpSpPr>
          <p:cNvPr id="8741" name="Google Shape;8741;p107"/>
          <p:cNvGrpSpPr/>
          <p:nvPr/>
        </p:nvGrpSpPr>
        <p:grpSpPr>
          <a:xfrm>
            <a:off x="8547713" y="1686513"/>
            <a:ext cx="1508116" cy="783177"/>
            <a:chOff x="238125" y="999450"/>
            <a:chExt cx="7140700" cy="3708225"/>
          </a:xfrm>
        </p:grpSpPr>
        <p:sp>
          <p:nvSpPr>
            <p:cNvPr id="8742" name="Google Shape;8742;p107"/>
            <p:cNvSpPr/>
            <p:nvPr/>
          </p:nvSpPr>
          <p:spPr>
            <a:xfrm>
              <a:off x="2171975" y="3872925"/>
              <a:ext cx="7900" cy="25"/>
            </a:xfrm>
            <a:custGeom>
              <a:avLst/>
              <a:gdLst/>
              <a:ahLst/>
              <a:cxnLst/>
              <a:rect l="l" t="t" r="r" b="b"/>
              <a:pathLst>
                <a:path w="316" h="1" extrusionOk="0">
                  <a:moveTo>
                    <a:pt x="316" y="0"/>
                  </a:moveTo>
                  <a:lnTo>
                    <a:pt x="1" y="0"/>
                  </a:lnTo>
                  <a:close/>
                </a:path>
              </a:pathLst>
            </a:custGeom>
            <a:solidFill>
              <a:srgbClr val="667E92"/>
            </a:solidFill>
            <a:ln w="9525" cap="flat" cmpd="sng">
              <a:solidFill>
                <a:srgbClr val="000000"/>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743" name="Google Shape;8743;p107"/>
            <p:cNvSpPr/>
            <p:nvPr/>
          </p:nvSpPr>
          <p:spPr>
            <a:xfrm>
              <a:off x="2180300" y="999450"/>
              <a:ext cx="3256350" cy="3708225"/>
            </a:xfrm>
            <a:custGeom>
              <a:avLst/>
              <a:gdLst/>
              <a:ahLst/>
              <a:cxnLst/>
              <a:rect l="l" t="t" r="r" b="b"/>
              <a:pathLst>
                <a:path w="130254" h="148329" extrusionOk="0">
                  <a:moveTo>
                    <a:pt x="130254" y="0"/>
                  </a:moveTo>
                  <a:cubicBezTo>
                    <a:pt x="90641" y="0"/>
                    <a:pt x="69506" y="34788"/>
                    <a:pt x="50871" y="65485"/>
                  </a:cubicBezTo>
                  <a:cubicBezTo>
                    <a:pt x="32725" y="95360"/>
                    <a:pt x="19404" y="114939"/>
                    <a:pt x="0" y="114939"/>
                  </a:cubicBezTo>
                  <a:cubicBezTo>
                    <a:pt x="9213" y="114939"/>
                    <a:pt x="16695" y="122421"/>
                    <a:pt x="16695" y="131634"/>
                  </a:cubicBezTo>
                  <a:cubicBezTo>
                    <a:pt x="16695" y="140846"/>
                    <a:pt x="9213" y="148328"/>
                    <a:pt x="0" y="148328"/>
                  </a:cubicBezTo>
                  <a:cubicBezTo>
                    <a:pt x="39630" y="148328"/>
                    <a:pt x="60765" y="113541"/>
                    <a:pt x="79400" y="82844"/>
                  </a:cubicBezTo>
                  <a:cubicBezTo>
                    <a:pt x="97528" y="52951"/>
                    <a:pt x="110867" y="33372"/>
                    <a:pt x="130254" y="33372"/>
                  </a:cubicBezTo>
                  <a:cubicBezTo>
                    <a:pt x="121041" y="33075"/>
                    <a:pt x="113804" y="25383"/>
                    <a:pt x="114083" y="16170"/>
                  </a:cubicBezTo>
                  <a:cubicBezTo>
                    <a:pt x="114346" y="7360"/>
                    <a:pt x="121425" y="280"/>
                    <a:pt x="130254" y="0"/>
                  </a:cubicBezTo>
                  <a:close/>
                </a:path>
              </a:pathLst>
            </a:custGeom>
            <a:noFill/>
            <a:ln w="9525" cap="flat" cmpd="sng">
              <a:solidFill>
                <a:srgbClr val="667E92"/>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744" name="Google Shape;8744;p107"/>
            <p:cNvSpPr/>
            <p:nvPr/>
          </p:nvSpPr>
          <p:spPr>
            <a:xfrm>
              <a:off x="238125" y="2853750"/>
              <a:ext cx="2358675" cy="1853475"/>
            </a:xfrm>
            <a:custGeom>
              <a:avLst/>
              <a:gdLst/>
              <a:ahLst/>
              <a:cxnLst/>
              <a:rect l="l" t="t" r="r" b="b"/>
              <a:pathLst>
                <a:path w="94347" h="74139" extrusionOk="0">
                  <a:moveTo>
                    <a:pt x="33354" y="1"/>
                  </a:moveTo>
                  <a:cubicBezTo>
                    <a:pt x="33354" y="9196"/>
                    <a:pt x="25872" y="16661"/>
                    <a:pt x="16642" y="16661"/>
                  </a:cubicBezTo>
                  <a:cubicBezTo>
                    <a:pt x="7482" y="16661"/>
                    <a:pt x="0" y="9196"/>
                    <a:pt x="0" y="1"/>
                  </a:cubicBezTo>
                  <a:lnTo>
                    <a:pt x="0" y="1"/>
                  </a:lnTo>
                  <a:cubicBezTo>
                    <a:pt x="0" y="40872"/>
                    <a:pt x="34858" y="74139"/>
                    <a:pt x="77670" y="74139"/>
                  </a:cubicBezTo>
                  <a:cubicBezTo>
                    <a:pt x="86882" y="74139"/>
                    <a:pt x="94347" y="66657"/>
                    <a:pt x="94347" y="57444"/>
                  </a:cubicBezTo>
                  <a:cubicBezTo>
                    <a:pt x="94347" y="48214"/>
                    <a:pt x="86882" y="40767"/>
                    <a:pt x="77670" y="40767"/>
                  </a:cubicBezTo>
                  <a:lnTo>
                    <a:pt x="77355" y="40767"/>
                  </a:lnTo>
                  <a:cubicBezTo>
                    <a:pt x="53073" y="40610"/>
                    <a:pt x="33354" y="22394"/>
                    <a:pt x="33354" y="1"/>
                  </a:cubicBezTo>
                  <a:close/>
                </a:path>
              </a:pathLst>
            </a:custGeom>
            <a:noFill/>
            <a:ln w="9525" cap="flat" cmpd="sng">
              <a:solidFill>
                <a:srgbClr val="A5B7C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745" name="Google Shape;8745;p107"/>
            <p:cNvSpPr/>
            <p:nvPr/>
          </p:nvSpPr>
          <p:spPr>
            <a:xfrm>
              <a:off x="238125" y="999450"/>
              <a:ext cx="1942200" cy="2270400"/>
            </a:xfrm>
            <a:custGeom>
              <a:avLst/>
              <a:gdLst/>
              <a:ahLst/>
              <a:cxnLst/>
              <a:rect l="l" t="t" r="r" b="b"/>
              <a:pathLst>
                <a:path w="77688" h="90816" extrusionOk="0">
                  <a:moveTo>
                    <a:pt x="77687" y="0"/>
                  </a:moveTo>
                  <a:cubicBezTo>
                    <a:pt x="34858" y="0"/>
                    <a:pt x="0" y="33249"/>
                    <a:pt x="0" y="74138"/>
                  </a:cubicBezTo>
                  <a:cubicBezTo>
                    <a:pt x="0" y="83368"/>
                    <a:pt x="7482" y="90815"/>
                    <a:pt x="16695" y="90815"/>
                  </a:cubicBezTo>
                  <a:cubicBezTo>
                    <a:pt x="25925" y="90815"/>
                    <a:pt x="33372" y="83351"/>
                    <a:pt x="33389" y="74138"/>
                  </a:cubicBezTo>
                  <a:lnTo>
                    <a:pt x="33389" y="74120"/>
                  </a:lnTo>
                  <a:cubicBezTo>
                    <a:pt x="33389" y="51654"/>
                    <a:pt x="53222" y="33378"/>
                    <a:pt x="77639" y="33354"/>
                  </a:cubicBezTo>
                  <a:lnTo>
                    <a:pt x="77639" y="33354"/>
                  </a:lnTo>
                  <a:cubicBezTo>
                    <a:pt x="77644" y="33354"/>
                    <a:pt x="77650" y="33354"/>
                    <a:pt x="77655" y="33354"/>
                  </a:cubicBezTo>
                  <a:cubicBezTo>
                    <a:pt x="77666" y="33354"/>
                    <a:pt x="77676" y="33354"/>
                    <a:pt x="77687" y="33354"/>
                  </a:cubicBezTo>
                  <a:cubicBezTo>
                    <a:pt x="77671" y="33354"/>
                    <a:pt x="77655" y="33354"/>
                    <a:pt x="77639" y="33354"/>
                  </a:cubicBezTo>
                  <a:lnTo>
                    <a:pt x="77639" y="33354"/>
                  </a:lnTo>
                  <a:cubicBezTo>
                    <a:pt x="68431" y="33346"/>
                    <a:pt x="60992" y="25874"/>
                    <a:pt x="60992" y="16695"/>
                  </a:cubicBezTo>
                  <a:cubicBezTo>
                    <a:pt x="60992" y="7482"/>
                    <a:pt x="68457" y="0"/>
                    <a:pt x="77687" y="0"/>
                  </a:cubicBezTo>
                  <a:close/>
                </a:path>
              </a:pathLst>
            </a:custGeom>
            <a:noFill/>
            <a:ln w="9525" cap="flat" cmpd="sng">
              <a:solidFill>
                <a:srgbClr val="445D73"/>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746" name="Google Shape;8746;p107"/>
            <p:cNvSpPr/>
            <p:nvPr/>
          </p:nvSpPr>
          <p:spPr>
            <a:xfrm>
              <a:off x="3808250" y="2852875"/>
              <a:ext cx="25" cy="25"/>
            </a:xfrm>
            <a:custGeom>
              <a:avLst/>
              <a:gdLst/>
              <a:ahLst/>
              <a:cxnLst/>
              <a:rect l="l" t="t" r="r" b="b"/>
              <a:pathLst>
                <a:path w="1" h="1" extrusionOk="0">
                  <a:moveTo>
                    <a:pt x="0" y="1"/>
                  </a:moveTo>
                  <a:close/>
                </a:path>
              </a:pathLst>
            </a:custGeom>
            <a:solidFill>
              <a:srgbClr val="DB634B"/>
            </a:solidFill>
            <a:ln w="9525" cap="flat" cmpd="sng">
              <a:solidFill>
                <a:srgbClr val="000000"/>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747" name="Google Shape;8747;p107"/>
            <p:cNvSpPr/>
            <p:nvPr/>
          </p:nvSpPr>
          <p:spPr>
            <a:xfrm>
              <a:off x="1762475" y="999450"/>
              <a:ext cx="2386250" cy="2044875"/>
            </a:xfrm>
            <a:custGeom>
              <a:avLst/>
              <a:gdLst/>
              <a:ahLst/>
              <a:cxnLst/>
              <a:rect l="l" t="t" r="r" b="b"/>
              <a:pathLst>
                <a:path w="95450" h="81795" extrusionOk="0">
                  <a:moveTo>
                    <a:pt x="16696" y="0"/>
                  </a:moveTo>
                  <a:cubicBezTo>
                    <a:pt x="7465" y="0"/>
                    <a:pt x="1" y="7482"/>
                    <a:pt x="1" y="16695"/>
                  </a:cubicBezTo>
                  <a:cubicBezTo>
                    <a:pt x="1" y="25925"/>
                    <a:pt x="7465" y="33389"/>
                    <a:pt x="16696" y="33389"/>
                  </a:cubicBezTo>
                  <a:cubicBezTo>
                    <a:pt x="36030" y="33389"/>
                    <a:pt x="49473" y="53038"/>
                    <a:pt x="66325" y="80781"/>
                  </a:cubicBezTo>
                  <a:cubicBezTo>
                    <a:pt x="66552" y="81130"/>
                    <a:pt x="66762" y="81463"/>
                    <a:pt x="67007" y="81795"/>
                  </a:cubicBezTo>
                  <a:cubicBezTo>
                    <a:pt x="63021" y="74086"/>
                    <a:pt x="65643" y="64471"/>
                    <a:pt x="73178" y="59891"/>
                  </a:cubicBezTo>
                  <a:cubicBezTo>
                    <a:pt x="75886" y="58251"/>
                    <a:pt x="78874" y="57469"/>
                    <a:pt x="81824" y="57469"/>
                  </a:cubicBezTo>
                  <a:cubicBezTo>
                    <a:pt x="87083" y="57469"/>
                    <a:pt x="92224" y="59953"/>
                    <a:pt x="95449" y="64488"/>
                  </a:cubicBezTo>
                  <a:cubicBezTo>
                    <a:pt x="95274" y="64139"/>
                    <a:pt x="95064" y="63789"/>
                    <a:pt x="94855" y="63439"/>
                  </a:cubicBezTo>
                  <a:cubicBezTo>
                    <a:pt x="77653" y="35190"/>
                    <a:pt x="56291" y="0"/>
                    <a:pt x="16696" y="0"/>
                  </a:cubicBezTo>
                  <a:close/>
                </a:path>
              </a:pathLst>
            </a:custGeom>
            <a:noFill/>
            <a:ln w="9525" cap="flat" cmpd="sng">
              <a:solidFill>
                <a:srgbClr val="213B5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748" name="Google Shape;8748;p107"/>
            <p:cNvSpPr/>
            <p:nvPr/>
          </p:nvSpPr>
          <p:spPr>
            <a:xfrm>
              <a:off x="3338000" y="2435975"/>
              <a:ext cx="2101275" cy="2271250"/>
            </a:xfrm>
            <a:custGeom>
              <a:avLst/>
              <a:gdLst/>
              <a:ahLst/>
              <a:cxnLst/>
              <a:rect l="l" t="t" r="r" b="b"/>
              <a:pathLst>
                <a:path w="84051" h="90850" extrusionOk="0">
                  <a:moveTo>
                    <a:pt x="84011" y="57465"/>
                  </a:moveTo>
                  <a:cubicBezTo>
                    <a:pt x="83994" y="57465"/>
                    <a:pt x="83972" y="57469"/>
                    <a:pt x="83946" y="57478"/>
                  </a:cubicBezTo>
                  <a:lnTo>
                    <a:pt x="84050" y="57478"/>
                  </a:lnTo>
                  <a:cubicBezTo>
                    <a:pt x="84042" y="57469"/>
                    <a:pt x="84029" y="57465"/>
                    <a:pt x="84011" y="57465"/>
                  </a:cubicBezTo>
                  <a:close/>
                  <a:moveTo>
                    <a:pt x="18801" y="0"/>
                  </a:moveTo>
                  <a:cubicBezTo>
                    <a:pt x="15851" y="0"/>
                    <a:pt x="12864" y="784"/>
                    <a:pt x="10157" y="2430"/>
                  </a:cubicBezTo>
                  <a:cubicBezTo>
                    <a:pt x="2622" y="7027"/>
                    <a:pt x="0" y="16625"/>
                    <a:pt x="3986" y="24334"/>
                  </a:cubicBezTo>
                  <a:cubicBezTo>
                    <a:pt x="4161" y="24683"/>
                    <a:pt x="4370" y="25033"/>
                    <a:pt x="4563" y="25348"/>
                  </a:cubicBezTo>
                  <a:cubicBezTo>
                    <a:pt x="23198" y="56062"/>
                    <a:pt x="44333" y="90850"/>
                    <a:pt x="83963" y="90850"/>
                  </a:cubicBezTo>
                  <a:cubicBezTo>
                    <a:pt x="74750" y="90850"/>
                    <a:pt x="67268" y="83368"/>
                    <a:pt x="67268" y="74155"/>
                  </a:cubicBezTo>
                  <a:cubicBezTo>
                    <a:pt x="67268" y="64925"/>
                    <a:pt x="74750" y="57478"/>
                    <a:pt x="83946" y="57478"/>
                  </a:cubicBezTo>
                  <a:cubicBezTo>
                    <a:pt x="64541" y="57478"/>
                    <a:pt x="51220" y="37899"/>
                    <a:pt x="33075" y="8024"/>
                  </a:cubicBezTo>
                  <a:cubicBezTo>
                    <a:pt x="32865" y="7674"/>
                    <a:pt x="32638" y="7342"/>
                    <a:pt x="32428" y="7027"/>
                  </a:cubicBezTo>
                  <a:cubicBezTo>
                    <a:pt x="29202" y="2491"/>
                    <a:pt x="24061" y="0"/>
                    <a:pt x="18801" y="0"/>
                  </a:cubicBezTo>
                  <a:close/>
                </a:path>
              </a:pathLst>
            </a:custGeom>
            <a:noFill/>
            <a:ln w="9525" cap="flat" cmpd="sng">
              <a:solidFill>
                <a:srgbClr val="A5B7C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749" name="Google Shape;8749;p107"/>
            <p:cNvSpPr/>
            <p:nvPr/>
          </p:nvSpPr>
          <p:spPr>
            <a:xfrm>
              <a:off x="5019250" y="2852875"/>
              <a:ext cx="2359150" cy="1854350"/>
            </a:xfrm>
            <a:custGeom>
              <a:avLst/>
              <a:gdLst/>
              <a:ahLst/>
              <a:cxnLst/>
              <a:rect l="l" t="t" r="r" b="b"/>
              <a:pathLst>
                <a:path w="94366" h="74174" extrusionOk="0">
                  <a:moveTo>
                    <a:pt x="94365" y="18"/>
                  </a:moveTo>
                  <a:cubicBezTo>
                    <a:pt x="94365" y="47"/>
                    <a:pt x="94365" y="76"/>
                    <a:pt x="94365" y="105"/>
                  </a:cubicBezTo>
                  <a:lnTo>
                    <a:pt x="94365" y="105"/>
                  </a:lnTo>
                  <a:cubicBezTo>
                    <a:pt x="94365" y="76"/>
                    <a:pt x="94365" y="47"/>
                    <a:pt x="94365" y="18"/>
                  </a:cubicBezTo>
                  <a:close/>
                  <a:moveTo>
                    <a:pt x="60993" y="1"/>
                  </a:moveTo>
                  <a:cubicBezTo>
                    <a:pt x="60993" y="22447"/>
                    <a:pt x="41187" y="40715"/>
                    <a:pt x="16800" y="40785"/>
                  </a:cubicBezTo>
                  <a:lnTo>
                    <a:pt x="16696" y="40785"/>
                  </a:lnTo>
                  <a:cubicBezTo>
                    <a:pt x="7465" y="40785"/>
                    <a:pt x="1" y="48249"/>
                    <a:pt x="1" y="57479"/>
                  </a:cubicBezTo>
                  <a:cubicBezTo>
                    <a:pt x="1" y="66692"/>
                    <a:pt x="7483" y="74174"/>
                    <a:pt x="16696" y="74174"/>
                  </a:cubicBezTo>
                  <a:cubicBezTo>
                    <a:pt x="59495" y="74174"/>
                    <a:pt x="94316" y="40954"/>
                    <a:pt x="94365" y="105"/>
                  </a:cubicBezTo>
                  <a:lnTo>
                    <a:pt x="94365" y="105"/>
                  </a:lnTo>
                  <a:cubicBezTo>
                    <a:pt x="94336" y="9278"/>
                    <a:pt x="86872" y="16696"/>
                    <a:pt x="77688" y="16696"/>
                  </a:cubicBezTo>
                  <a:cubicBezTo>
                    <a:pt x="68458" y="16696"/>
                    <a:pt x="60993" y="9231"/>
                    <a:pt x="60993" y="1"/>
                  </a:cubicBezTo>
                  <a:close/>
                </a:path>
              </a:pathLst>
            </a:custGeom>
            <a:noFill/>
            <a:ln w="9525" cap="flat" cmpd="sng">
              <a:solidFill>
                <a:srgbClr val="CFD9E0"/>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750" name="Google Shape;8750;p107"/>
            <p:cNvSpPr/>
            <p:nvPr/>
          </p:nvSpPr>
          <p:spPr>
            <a:xfrm>
              <a:off x="5025375" y="999450"/>
              <a:ext cx="2353450" cy="2270825"/>
            </a:xfrm>
            <a:custGeom>
              <a:avLst/>
              <a:gdLst/>
              <a:ahLst/>
              <a:cxnLst/>
              <a:rect l="l" t="t" r="r" b="b"/>
              <a:pathLst>
                <a:path w="94138" h="90833" extrusionOk="0">
                  <a:moveTo>
                    <a:pt x="16451" y="0"/>
                  </a:moveTo>
                  <a:cubicBezTo>
                    <a:pt x="7640" y="280"/>
                    <a:pt x="560" y="7360"/>
                    <a:pt x="280" y="16170"/>
                  </a:cubicBezTo>
                  <a:cubicBezTo>
                    <a:pt x="1" y="25400"/>
                    <a:pt x="7238" y="33092"/>
                    <a:pt x="16451" y="33372"/>
                  </a:cubicBezTo>
                  <a:lnTo>
                    <a:pt x="16520" y="33372"/>
                  </a:lnTo>
                  <a:cubicBezTo>
                    <a:pt x="40907" y="33389"/>
                    <a:pt x="60748" y="51675"/>
                    <a:pt x="60748" y="74138"/>
                  </a:cubicBezTo>
                  <a:cubicBezTo>
                    <a:pt x="60748" y="83368"/>
                    <a:pt x="68213" y="90833"/>
                    <a:pt x="77443" y="90833"/>
                  </a:cubicBezTo>
                  <a:cubicBezTo>
                    <a:pt x="86656" y="90833"/>
                    <a:pt x="94138" y="83368"/>
                    <a:pt x="94138" y="74138"/>
                  </a:cubicBezTo>
                  <a:cubicBezTo>
                    <a:pt x="94138" y="33249"/>
                    <a:pt x="59280" y="0"/>
                    <a:pt x="16451" y="0"/>
                  </a:cubicBezTo>
                  <a:close/>
                </a:path>
              </a:pathLst>
            </a:custGeom>
            <a:noFill/>
            <a:ln w="9525" cap="flat" cmpd="sng">
              <a:solidFill>
                <a:srgbClr val="869FB1"/>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8751" name="Google Shape;8751;p107"/>
          <p:cNvGrpSpPr/>
          <p:nvPr/>
        </p:nvGrpSpPr>
        <p:grpSpPr>
          <a:xfrm>
            <a:off x="5016312" y="4952506"/>
            <a:ext cx="1834472" cy="904175"/>
            <a:chOff x="3913765" y="3641905"/>
            <a:chExt cx="1522805" cy="750560"/>
          </a:xfrm>
        </p:grpSpPr>
        <p:grpSp>
          <p:nvGrpSpPr>
            <p:cNvPr id="8752" name="Google Shape;8752;p107"/>
            <p:cNvGrpSpPr/>
            <p:nvPr/>
          </p:nvGrpSpPr>
          <p:grpSpPr>
            <a:xfrm>
              <a:off x="3913765" y="3997002"/>
              <a:ext cx="1522805" cy="395463"/>
              <a:chOff x="3913765" y="3997002"/>
              <a:chExt cx="1522805" cy="395463"/>
            </a:xfrm>
          </p:grpSpPr>
          <p:grpSp>
            <p:nvGrpSpPr>
              <p:cNvPr id="8753" name="Google Shape;8753;p107"/>
              <p:cNvGrpSpPr/>
              <p:nvPr/>
            </p:nvGrpSpPr>
            <p:grpSpPr>
              <a:xfrm>
                <a:off x="3913765" y="4138659"/>
                <a:ext cx="507602" cy="253806"/>
                <a:chOff x="3913765" y="4138659"/>
                <a:chExt cx="507602" cy="253806"/>
              </a:xfrm>
            </p:grpSpPr>
            <p:sp>
              <p:nvSpPr>
                <p:cNvPr id="8754" name="Google Shape;8754;p107"/>
                <p:cNvSpPr/>
                <p:nvPr/>
              </p:nvSpPr>
              <p:spPr>
                <a:xfrm>
                  <a:off x="3913765" y="4138659"/>
                  <a:ext cx="507602" cy="50764"/>
                </a:xfrm>
                <a:custGeom>
                  <a:avLst/>
                  <a:gdLst/>
                  <a:ahLst/>
                  <a:cxnLst/>
                  <a:rect l="l" t="t" r="r" b="b"/>
                  <a:pathLst>
                    <a:path w="95012" h="9502" fill="none" extrusionOk="0">
                      <a:moveTo>
                        <a:pt x="95011" y="1"/>
                      </a:moveTo>
                      <a:lnTo>
                        <a:pt x="23755" y="1"/>
                      </a:lnTo>
                      <a:lnTo>
                        <a:pt x="1" y="9501"/>
                      </a:lnTo>
                      <a:lnTo>
                        <a:pt x="95011" y="9501"/>
                      </a:lnTo>
                      <a:close/>
                    </a:path>
                  </a:pathLst>
                </a:custGeom>
                <a:noFill/>
                <a:ln w="9525" cap="flat" cmpd="sng">
                  <a:solidFill>
                    <a:srgbClr val="A5B7C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755" name="Google Shape;8755;p107"/>
                <p:cNvSpPr/>
                <p:nvPr/>
              </p:nvSpPr>
              <p:spPr>
                <a:xfrm>
                  <a:off x="3913765" y="4189418"/>
                  <a:ext cx="507602" cy="203047"/>
                </a:xfrm>
                <a:custGeom>
                  <a:avLst/>
                  <a:gdLst/>
                  <a:ahLst/>
                  <a:cxnLst/>
                  <a:rect l="l" t="t" r="r" b="b"/>
                  <a:pathLst>
                    <a:path w="95012" h="38006" fill="none" extrusionOk="0">
                      <a:moveTo>
                        <a:pt x="1" y="0"/>
                      </a:moveTo>
                      <a:lnTo>
                        <a:pt x="1" y="38005"/>
                      </a:lnTo>
                      <a:lnTo>
                        <a:pt x="95011" y="38005"/>
                      </a:lnTo>
                      <a:lnTo>
                        <a:pt x="95011" y="38005"/>
                      </a:lnTo>
                      <a:lnTo>
                        <a:pt x="95011" y="0"/>
                      </a:lnTo>
                      <a:close/>
                    </a:path>
                  </a:pathLst>
                </a:custGeom>
                <a:noFill/>
                <a:ln w="9525" cap="flat" cmpd="sng">
                  <a:solidFill>
                    <a:srgbClr val="869FB1"/>
                  </a:solidFill>
                  <a:prstDash val="solid"/>
                  <a:miter lim="2676"/>
                  <a:headEnd type="none" w="sm" len="sm"/>
                  <a:tailEnd type="none" w="sm" len="sm"/>
                </a:ln>
              </p:spPr>
              <p:txBody>
                <a:bodyPr spcFirstLastPara="1" wrap="square" lIns="121900" tIns="121900" rIns="121900" bIns="121900" anchor="ctr" anchorCtr="0">
                  <a:noAutofit/>
                </a:bodyPr>
                <a:lstStyle/>
                <a:p>
                  <a:pPr defTabSz="1219170">
                    <a:buClr>
                      <a:srgbClr val="000000"/>
                    </a:buClr>
                  </a:pPr>
                  <a:r>
                    <a:rPr lang="en" sz="1867" kern="0">
                      <a:solidFill>
                        <a:srgbClr val="000000"/>
                      </a:solidFill>
                      <a:latin typeface="Arial"/>
                      <a:cs typeface="Arial"/>
                      <a:sym typeface="Arial"/>
                    </a:rPr>
                    <a:t>     </a:t>
                  </a:r>
                  <a:endParaRPr sz="1867" kern="0">
                    <a:solidFill>
                      <a:srgbClr val="000000"/>
                    </a:solidFill>
                    <a:latin typeface="Arial"/>
                    <a:cs typeface="Arial"/>
                    <a:sym typeface="Arial"/>
                  </a:endParaRPr>
                </a:p>
              </p:txBody>
            </p:sp>
          </p:grpSp>
          <p:grpSp>
            <p:nvGrpSpPr>
              <p:cNvPr id="8756" name="Google Shape;8756;p107"/>
              <p:cNvGrpSpPr/>
              <p:nvPr/>
            </p:nvGrpSpPr>
            <p:grpSpPr>
              <a:xfrm>
                <a:off x="4421361" y="3997002"/>
                <a:ext cx="507618" cy="395463"/>
                <a:chOff x="4421361" y="3997002"/>
                <a:chExt cx="507618" cy="395463"/>
              </a:xfrm>
            </p:grpSpPr>
            <p:sp>
              <p:nvSpPr>
                <p:cNvPr id="8757" name="Google Shape;8757;p107"/>
                <p:cNvSpPr/>
                <p:nvPr/>
              </p:nvSpPr>
              <p:spPr>
                <a:xfrm>
                  <a:off x="4421361" y="3997002"/>
                  <a:ext cx="507618" cy="50759"/>
                </a:xfrm>
                <a:custGeom>
                  <a:avLst/>
                  <a:gdLst/>
                  <a:ahLst/>
                  <a:cxnLst/>
                  <a:rect l="l" t="t" r="r" b="b"/>
                  <a:pathLst>
                    <a:path w="95015" h="9501" fill="none" extrusionOk="0">
                      <a:moveTo>
                        <a:pt x="71260" y="0"/>
                      </a:moveTo>
                      <a:lnTo>
                        <a:pt x="23755" y="0"/>
                      </a:lnTo>
                      <a:lnTo>
                        <a:pt x="0" y="9501"/>
                      </a:lnTo>
                      <a:lnTo>
                        <a:pt x="95014" y="9501"/>
                      </a:lnTo>
                      <a:close/>
                    </a:path>
                  </a:pathLst>
                </a:custGeom>
                <a:noFill/>
                <a:ln w="9525" cap="sq" cmpd="sng">
                  <a:solidFill>
                    <a:srgbClr val="A5B7C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758" name="Google Shape;8758;p107"/>
                <p:cNvSpPr/>
                <p:nvPr/>
              </p:nvSpPr>
              <p:spPr>
                <a:xfrm>
                  <a:off x="4421361" y="4047756"/>
                  <a:ext cx="507618" cy="344709"/>
                </a:xfrm>
                <a:custGeom>
                  <a:avLst/>
                  <a:gdLst/>
                  <a:ahLst/>
                  <a:cxnLst/>
                  <a:rect l="l" t="t" r="r" b="b"/>
                  <a:pathLst>
                    <a:path w="95015" h="64522" fill="none" extrusionOk="0">
                      <a:moveTo>
                        <a:pt x="0" y="1"/>
                      </a:moveTo>
                      <a:lnTo>
                        <a:pt x="0" y="64521"/>
                      </a:lnTo>
                      <a:lnTo>
                        <a:pt x="95014" y="64521"/>
                      </a:lnTo>
                      <a:lnTo>
                        <a:pt x="95014" y="35846"/>
                      </a:lnTo>
                      <a:lnTo>
                        <a:pt x="95014" y="35846"/>
                      </a:lnTo>
                      <a:lnTo>
                        <a:pt x="95014" y="26286"/>
                      </a:lnTo>
                      <a:lnTo>
                        <a:pt x="95014" y="1"/>
                      </a:lnTo>
                      <a:close/>
                    </a:path>
                  </a:pathLst>
                </a:custGeom>
                <a:noFill/>
                <a:ln w="9525" cap="flat" cmpd="sng">
                  <a:solidFill>
                    <a:srgbClr val="DBE2E7"/>
                  </a:solidFill>
                  <a:prstDash val="solid"/>
                  <a:miter lim="2676"/>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8759" name="Google Shape;8759;p107"/>
              <p:cNvGrpSpPr/>
              <p:nvPr/>
            </p:nvGrpSpPr>
            <p:grpSpPr>
              <a:xfrm>
                <a:off x="4928973" y="4189418"/>
                <a:ext cx="507596" cy="203047"/>
                <a:chOff x="4928973" y="4189418"/>
                <a:chExt cx="507596" cy="203047"/>
              </a:xfrm>
            </p:grpSpPr>
            <p:sp>
              <p:nvSpPr>
                <p:cNvPr id="8760" name="Google Shape;8760;p107"/>
                <p:cNvSpPr/>
                <p:nvPr/>
              </p:nvSpPr>
              <p:spPr>
                <a:xfrm>
                  <a:off x="4928973" y="4189418"/>
                  <a:ext cx="507596" cy="50759"/>
                </a:xfrm>
                <a:custGeom>
                  <a:avLst/>
                  <a:gdLst/>
                  <a:ahLst/>
                  <a:cxnLst/>
                  <a:rect l="l" t="t" r="r" b="b"/>
                  <a:pathLst>
                    <a:path w="95011" h="9501" fill="none" extrusionOk="0">
                      <a:moveTo>
                        <a:pt x="95011" y="9501"/>
                      </a:moveTo>
                      <a:lnTo>
                        <a:pt x="71260" y="0"/>
                      </a:lnTo>
                      <a:lnTo>
                        <a:pt x="0" y="0"/>
                      </a:lnTo>
                      <a:lnTo>
                        <a:pt x="0" y="9501"/>
                      </a:lnTo>
                      <a:close/>
                    </a:path>
                  </a:pathLst>
                </a:custGeom>
                <a:noFill/>
                <a:ln w="9525" cap="flat" cmpd="sng">
                  <a:solidFill>
                    <a:srgbClr val="A5B7C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761" name="Google Shape;8761;p107"/>
                <p:cNvSpPr/>
                <p:nvPr/>
              </p:nvSpPr>
              <p:spPr>
                <a:xfrm>
                  <a:off x="4928973" y="4240172"/>
                  <a:ext cx="507596" cy="152293"/>
                </a:xfrm>
                <a:custGeom>
                  <a:avLst/>
                  <a:gdLst/>
                  <a:ahLst/>
                  <a:cxnLst/>
                  <a:rect l="l" t="t" r="r" b="b"/>
                  <a:pathLst>
                    <a:path w="95011" h="28506" fill="none" extrusionOk="0">
                      <a:moveTo>
                        <a:pt x="0" y="28505"/>
                      </a:moveTo>
                      <a:lnTo>
                        <a:pt x="0" y="28505"/>
                      </a:lnTo>
                      <a:lnTo>
                        <a:pt x="95011" y="28505"/>
                      </a:lnTo>
                      <a:lnTo>
                        <a:pt x="95011" y="1"/>
                      </a:lnTo>
                      <a:lnTo>
                        <a:pt x="0" y="1"/>
                      </a:lnTo>
                      <a:close/>
                    </a:path>
                  </a:pathLst>
                </a:custGeom>
                <a:noFill/>
                <a:ln w="9525" cap="flat" cmpd="sng">
                  <a:solidFill>
                    <a:srgbClr val="869FB1"/>
                  </a:solidFill>
                  <a:prstDash val="solid"/>
                  <a:miter lim="2676"/>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grpSp>
          <p:nvGrpSpPr>
            <p:cNvPr id="8762" name="Google Shape;8762;p107"/>
            <p:cNvGrpSpPr/>
            <p:nvPr/>
          </p:nvGrpSpPr>
          <p:grpSpPr>
            <a:xfrm>
              <a:off x="4482186" y="3641905"/>
              <a:ext cx="397605" cy="349784"/>
              <a:chOff x="2906375" y="1159725"/>
              <a:chExt cx="1860575" cy="1636800"/>
            </a:xfrm>
          </p:grpSpPr>
          <p:sp>
            <p:nvSpPr>
              <p:cNvPr id="8763" name="Google Shape;8763;p107"/>
              <p:cNvSpPr/>
              <p:nvPr/>
            </p:nvSpPr>
            <p:spPr>
              <a:xfrm>
                <a:off x="2906375" y="1159725"/>
                <a:ext cx="1860575" cy="1320800"/>
              </a:xfrm>
              <a:custGeom>
                <a:avLst/>
                <a:gdLst/>
                <a:ahLst/>
                <a:cxnLst/>
                <a:rect l="l" t="t" r="r" b="b"/>
                <a:pathLst>
                  <a:path w="74423" h="52832" fill="none" extrusionOk="0">
                    <a:moveTo>
                      <a:pt x="74300" y="9469"/>
                    </a:moveTo>
                    <a:cubicBezTo>
                      <a:pt x="74046" y="6953"/>
                      <a:pt x="72972" y="4566"/>
                      <a:pt x="71233" y="2899"/>
                    </a:cubicBezTo>
                    <a:cubicBezTo>
                      <a:pt x="71029" y="2682"/>
                      <a:pt x="70807" y="2484"/>
                      <a:pt x="70569" y="2305"/>
                    </a:cubicBezTo>
                    <a:cubicBezTo>
                      <a:pt x="70326" y="2123"/>
                      <a:pt x="70133" y="1933"/>
                      <a:pt x="69847" y="1767"/>
                    </a:cubicBezTo>
                    <a:cubicBezTo>
                      <a:pt x="69576" y="1596"/>
                      <a:pt x="69301" y="1435"/>
                      <a:pt x="69030" y="1280"/>
                    </a:cubicBezTo>
                    <a:cubicBezTo>
                      <a:pt x="68792" y="1159"/>
                      <a:pt x="68599" y="1084"/>
                      <a:pt x="68385" y="985"/>
                    </a:cubicBezTo>
                    <a:cubicBezTo>
                      <a:pt x="67280" y="522"/>
                      <a:pt x="66290" y="276"/>
                      <a:pt x="65270" y="188"/>
                    </a:cubicBezTo>
                    <a:cubicBezTo>
                      <a:pt x="63260" y="1"/>
                      <a:pt x="61470" y="332"/>
                      <a:pt x="60001" y="803"/>
                    </a:cubicBezTo>
                    <a:cubicBezTo>
                      <a:pt x="58778" y="1194"/>
                      <a:pt x="57603" y="1727"/>
                      <a:pt x="56500" y="2385"/>
                    </a:cubicBezTo>
                    <a:cubicBezTo>
                      <a:pt x="56396" y="1617"/>
                      <a:pt x="56273" y="1012"/>
                      <a:pt x="56179" y="613"/>
                    </a:cubicBezTo>
                    <a:cubicBezTo>
                      <a:pt x="56104" y="298"/>
                      <a:pt x="55821" y="73"/>
                      <a:pt x="55497" y="78"/>
                    </a:cubicBezTo>
                    <a:lnTo>
                      <a:pt x="38984" y="255"/>
                    </a:lnTo>
                    <a:lnTo>
                      <a:pt x="35208" y="295"/>
                    </a:lnTo>
                    <a:lnTo>
                      <a:pt x="18696" y="472"/>
                    </a:lnTo>
                    <a:cubicBezTo>
                      <a:pt x="18370" y="474"/>
                      <a:pt x="18091" y="704"/>
                      <a:pt x="18027" y="1023"/>
                    </a:cubicBezTo>
                    <a:cubicBezTo>
                      <a:pt x="17941" y="1422"/>
                      <a:pt x="17829" y="2026"/>
                      <a:pt x="17741" y="2800"/>
                    </a:cubicBezTo>
                    <a:cubicBezTo>
                      <a:pt x="16625" y="2163"/>
                      <a:pt x="15439" y="1657"/>
                      <a:pt x="14211" y="1290"/>
                    </a:cubicBezTo>
                    <a:cubicBezTo>
                      <a:pt x="12731" y="854"/>
                      <a:pt x="10935" y="560"/>
                      <a:pt x="8931" y="790"/>
                    </a:cubicBezTo>
                    <a:cubicBezTo>
                      <a:pt x="7908" y="900"/>
                      <a:pt x="6923" y="1167"/>
                      <a:pt x="5832" y="1652"/>
                    </a:cubicBezTo>
                    <a:cubicBezTo>
                      <a:pt x="5620" y="1756"/>
                      <a:pt x="5427" y="1839"/>
                      <a:pt x="5192" y="1965"/>
                    </a:cubicBezTo>
                    <a:cubicBezTo>
                      <a:pt x="4924" y="2125"/>
                      <a:pt x="4651" y="2291"/>
                      <a:pt x="4384" y="2465"/>
                    </a:cubicBezTo>
                    <a:cubicBezTo>
                      <a:pt x="4103" y="2639"/>
                      <a:pt x="3915" y="2832"/>
                      <a:pt x="3675" y="3019"/>
                    </a:cubicBezTo>
                    <a:cubicBezTo>
                      <a:pt x="3439" y="3204"/>
                      <a:pt x="3222" y="3407"/>
                      <a:pt x="3022" y="3627"/>
                    </a:cubicBezTo>
                    <a:cubicBezTo>
                      <a:pt x="1319" y="5332"/>
                      <a:pt x="294" y="7743"/>
                      <a:pt x="99" y="10261"/>
                    </a:cubicBezTo>
                    <a:cubicBezTo>
                      <a:pt x="0" y="11524"/>
                      <a:pt x="104" y="12828"/>
                      <a:pt x="466" y="14096"/>
                    </a:cubicBezTo>
                    <a:cubicBezTo>
                      <a:pt x="653" y="14725"/>
                      <a:pt x="875" y="15354"/>
                      <a:pt x="1175" y="15953"/>
                    </a:cubicBezTo>
                    <a:lnTo>
                      <a:pt x="1282" y="16181"/>
                    </a:lnTo>
                    <a:lnTo>
                      <a:pt x="1362" y="16341"/>
                    </a:lnTo>
                    <a:lnTo>
                      <a:pt x="1416" y="16432"/>
                    </a:lnTo>
                    <a:lnTo>
                      <a:pt x="1622" y="16794"/>
                    </a:lnTo>
                    <a:cubicBezTo>
                      <a:pt x="1769" y="17040"/>
                      <a:pt x="1986" y="17377"/>
                      <a:pt x="2168" y="17639"/>
                    </a:cubicBezTo>
                    <a:cubicBezTo>
                      <a:pt x="3672" y="19764"/>
                      <a:pt x="5719" y="21389"/>
                      <a:pt x="7890" y="22556"/>
                    </a:cubicBezTo>
                    <a:cubicBezTo>
                      <a:pt x="10076" y="23744"/>
                      <a:pt x="12329" y="24512"/>
                      <a:pt x="14535" y="25184"/>
                    </a:cubicBezTo>
                    <a:cubicBezTo>
                      <a:pt x="16734" y="25847"/>
                      <a:pt x="18883" y="26377"/>
                      <a:pt x="20907" y="26937"/>
                    </a:cubicBezTo>
                    <a:cubicBezTo>
                      <a:pt x="23058" y="27539"/>
                      <a:pt x="25044" y="27884"/>
                      <a:pt x="26553" y="28569"/>
                    </a:cubicBezTo>
                    <a:cubicBezTo>
                      <a:pt x="27991" y="29155"/>
                      <a:pt x="29136" y="30359"/>
                      <a:pt x="29449" y="31218"/>
                    </a:cubicBezTo>
                    <a:cubicBezTo>
                      <a:pt x="29527" y="31433"/>
                      <a:pt x="29583" y="31620"/>
                      <a:pt x="29583" y="31813"/>
                    </a:cubicBezTo>
                    <a:cubicBezTo>
                      <a:pt x="29591" y="31992"/>
                      <a:pt x="29572" y="32171"/>
                      <a:pt x="29532" y="32345"/>
                    </a:cubicBezTo>
                    <a:cubicBezTo>
                      <a:pt x="29436" y="32680"/>
                      <a:pt x="29099" y="33060"/>
                      <a:pt x="28702" y="33263"/>
                    </a:cubicBezTo>
                    <a:cubicBezTo>
                      <a:pt x="27926" y="33729"/>
                      <a:pt x="26880" y="33477"/>
                      <a:pt x="26733" y="33049"/>
                    </a:cubicBezTo>
                    <a:cubicBezTo>
                      <a:pt x="26396" y="32372"/>
                      <a:pt x="26414" y="31582"/>
                      <a:pt x="26644" y="31256"/>
                    </a:cubicBezTo>
                    <a:cubicBezTo>
                      <a:pt x="26888" y="30884"/>
                      <a:pt x="27300" y="30937"/>
                      <a:pt x="27273" y="30911"/>
                    </a:cubicBezTo>
                    <a:lnTo>
                      <a:pt x="27067" y="30825"/>
                    </a:lnTo>
                    <a:cubicBezTo>
                      <a:pt x="26928" y="30782"/>
                      <a:pt x="26669" y="30745"/>
                      <a:pt x="26361" y="30897"/>
                    </a:cubicBezTo>
                    <a:cubicBezTo>
                      <a:pt x="26045" y="31044"/>
                      <a:pt x="25777" y="31390"/>
                      <a:pt x="25595" y="31815"/>
                    </a:cubicBezTo>
                    <a:cubicBezTo>
                      <a:pt x="25408" y="32246"/>
                      <a:pt x="25298" y="32765"/>
                      <a:pt x="25379" y="33410"/>
                    </a:cubicBezTo>
                    <a:cubicBezTo>
                      <a:pt x="25403" y="33702"/>
                      <a:pt x="25590" y="34208"/>
                      <a:pt x="25855" y="34499"/>
                    </a:cubicBezTo>
                    <a:cubicBezTo>
                      <a:pt x="26117" y="34807"/>
                      <a:pt x="26444" y="35061"/>
                      <a:pt x="26810" y="35241"/>
                    </a:cubicBezTo>
                    <a:cubicBezTo>
                      <a:pt x="27560" y="35613"/>
                      <a:pt x="28456" y="35736"/>
                      <a:pt x="29398" y="35551"/>
                    </a:cubicBezTo>
                    <a:cubicBezTo>
                      <a:pt x="30316" y="35353"/>
                      <a:pt x="31298" y="34882"/>
                      <a:pt x="32032" y="33889"/>
                    </a:cubicBezTo>
                    <a:cubicBezTo>
                      <a:pt x="32422" y="33325"/>
                      <a:pt x="32615" y="32803"/>
                      <a:pt x="32722" y="32177"/>
                    </a:cubicBezTo>
                    <a:cubicBezTo>
                      <a:pt x="32776" y="31882"/>
                      <a:pt x="32797" y="31582"/>
                      <a:pt x="32784" y="31283"/>
                    </a:cubicBezTo>
                    <a:cubicBezTo>
                      <a:pt x="34828" y="34499"/>
                      <a:pt x="34919" y="37103"/>
                      <a:pt x="34413" y="41899"/>
                    </a:cubicBezTo>
                    <a:cubicBezTo>
                      <a:pt x="33530" y="50222"/>
                      <a:pt x="29511" y="52831"/>
                      <a:pt x="29511" y="52831"/>
                    </a:cubicBezTo>
                    <a:lnTo>
                      <a:pt x="37547" y="52743"/>
                    </a:lnTo>
                    <a:lnTo>
                      <a:pt x="37764" y="52743"/>
                    </a:lnTo>
                    <a:lnTo>
                      <a:pt x="45801" y="52655"/>
                    </a:lnTo>
                    <a:cubicBezTo>
                      <a:pt x="45801" y="52655"/>
                      <a:pt x="41725" y="50137"/>
                      <a:pt x="40668" y="41835"/>
                    </a:cubicBezTo>
                    <a:cubicBezTo>
                      <a:pt x="40058" y="37050"/>
                      <a:pt x="40092" y="34443"/>
                      <a:pt x="42067" y="31186"/>
                    </a:cubicBezTo>
                    <a:cubicBezTo>
                      <a:pt x="42059" y="31486"/>
                      <a:pt x="42089" y="31786"/>
                      <a:pt x="42150" y="32080"/>
                    </a:cubicBezTo>
                    <a:cubicBezTo>
                      <a:pt x="42271" y="32704"/>
                      <a:pt x="42474" y="33220"/>
                      <a:pt x="42876" y="33777"/>
                    </a:cubicBezTo>
                    <a:cubicBezTo>
                      <a:pt x="43630" y="34754"/>
                      <a:pt x="44623" y="35203"/>
                      <a:pt x="45544" y="35380"/>
                    </a:cubicBezTo>
                    <a:cubicBezTo>
                      <a:pt x="46489" y="35546"/>
                      <a:pt x="47382" y="35404"/>
                      <a:pt x="48126" y="35013"/>
                    </a:cubicBezTo>
                    <a:cubicBezTo>
                      <a:pt x="48488" y="34826"/>
                      <a:pt x="48809" y="34566"/>
                      <a:pt x="49066" y="34251"/>
                    </a:cubicBezTo>
                    <a:cubicBezTo>
                      <a:pt x="49323" y="33954"/>
                      <a:pt x="49499" y="33445"/>
                      <a:pt x="49518" y="33153"/>
                    </a:cubicBezTo>
                    <a:cubicBezTo>
                      <a:pt x="49585" y="32508"/>
                      <a:pt x="49462" y="31992"/>
                      <a:pt x="49266" y="31564"/>
                    </a:cubicBezTo>
                    <a:cubicBezTo>
                      <a:pt x="49076" y="31143"/>
                      <a:pt x="48801" y="30801"/>
                      <a:pt x="48482" y="30662"/>
                    </a:cubicBezTo>
                    <a:cubicBezTo>
                      <a:pt x="48172" y="30517"/>
                      <a:pt x="47915" y="30560"/>
                      <a:pt x="47776" y="30606"/>
                    </a:cubicBezTo>
                    <a:lnTo>
                      <a:pt x="47570" y="30697"/>
                    </a:lnTo>
                    <a:cubicBezTo>
                      <a:pt x="47543" y="30721"/>
                      <a:pt x="47955" y="30662"/>
                      <a:pt x="48207" y="31028"/>
                    </a:cubicBezTo>
                    <a:cubicBezTo>
                      <a:pt x="48445" y="31347"/>
                      <a:pt x="48480" y="32136"/>
                      <a:pt x="48156" y="32821"/>
                    </a:cubicBezTo>
                    <a:cubicBezTo>
                      <a:pt x="48019" y="33250"/>
                      <a:pt x="46978" y="33525"/>
                      <a:pt x="46192" y="33078"/>
                    </a:cubicBezTo>
                    <a:cubicBezTo>
                      <a:pt x="45790" y="32883"/>
                      <a:pt x="45448" y="32508"/>
                      <a:pt x="45343" y="32177"/>
                    </a:cubicBezTo>
                    <a:cubicBezTo>
                      <a:pt x="45298" y="32005"/>
                      <a:pt x="45276" y="31826"/>
                      <a:pt x="45282" y="31647"/>
                    </a:cubicBezTo>
                    <a:cubicBezTo>
                      <a:pt x="45279" y="31454"/>
                      <a:pt x="45330" y="31264"/>
                      <a:pt x="45402" y="31047"/>
                    </a:cubicBezTo>
                    <a:cubicBezTo>
                      <a:pt x="45696" y="30183"/>
                      <a:pt x="46818" y="28954"/>
                      <a:pt x="48241" y="28339"/>
                    </a:cubicBezTo>
                    <a:cubicBezTo>
                      <a:pt x="49735" y="27622"/>
                      <a:pt x="51713" y="27234"/>
                      <a:pt x="53851" y="26586"/>
                    </a:cubicBezTo>
                    <a:cubicBezTo>
                      <a:pt x="55861" y="25984"/>
                      <a:pt x="57999" y="25408"/>
                      <a:pt x="60185" y="24699"/>
                    </a:cubicBezTo>
                    <a:cubicBezTo>
                      <a:pt x="62372" y="23979"/>
                      <a:pt x="64609" y="23163"/>
                      <a:pt x="66772" y="21929"/>
                    </a:cubicBezTo>
                    <a:cubicBezTo>
                      <a:pt x="68918" y="20717"/>
                      <a:pt x="70930" y="19047"/>
                      <a:pt x="72386" y="16890"/>
                    </a:cubicBezTo>
                    <a:cubicBezTo>
                      <a:pt x="72563" y="16622"/>
                      <a:pt x="72774" y="16283"/>
                      <a:pt x="72916" y="16034"/>
                    </a:cubicBezTo>
                    <a:lnTo>
                      <a:pt x="73117" y="15664"/>
                    </a:lnTo>
                    <a:lnTo>
                      <a:pt x="73165" y="15573"/>
                    </a:lnTo>
                    <a:lnTo>
                      <a:pt x="73243" y="15413"/>
                    </a:lnTo>
                    <a:lnTo>
                      <a:pt x="73347" y="15183"/>
                    </a:lnTo>
                    <a:cubicBezTo>
                      <a:pt x="73639" y="14578"/>
                      <a:pt x="73845" y="13944"/>
                      <a:pt x="74016" y="13309"/>
                    </a:cubicBezTo>
                    <a:cubicBezTo>
                      <a:pt x="74351" y="12035"/>
                      <a:pt x="74423" y="10729"/>
                      <a:pt x="74300" y="9469"/>
                    </a:cubicBezTo>
                    <a:close/>
                    <a:moveTo>
                      <a:pt x="21867" y="23527"/>
                    </a:moveTo>
                    <a:cubicBezTo>
                      <a:pt x="19791" y="22930"/>
                      <a:pt x="17668" y="22379"/>
                      <a:pt x="15594" y="21729"/>
                    </a:cubicBezTo>
                    <a:cubicBezTo>
                      <a:pt x="13531" y="21078"/>
                      <a:pt x="11470" y="20332"/>
                      <a:pt x="9675" y="19325"/>
                    </a:cubicBezTo>
                    <a:cubicBezTo>
                      <a:pt x="7876" y="18319"/>
                      <a:pt x="6273" y="17040"/>
                      <a:pt x="5176" y="15509"/>
                    </a:cubicBezTo>
                    <a:cubicBezTo>
                      <a:pt x="5042" y="15314"/>
                      <a:pt x="4948" y="15185"/>
                      <a:pt x="4807" y="14955"/>
                    </a:cubicBezTo>
                    <a:lnTo>
                      <a:pt x="4598" y="14597"/>
                    </a:lnTo>
                    <a:lnTo>
                      <a:pt x="4555" y="14522"/>
                    </a:lnTo>
                    <a:cubicBezTo>
                      <a:pt x="4574" y="14554"/>
                      <a:pt x="4536" y="14476"/>
                      <a:pt x="4536" y="14476"/>
                    </a:cubicBezTo>
                    <a:lnTo>
                      <a:pt x="4467" y="14326"/>
                    </a:lnTo>
                    <a:cubicBezTo>
                      <a:pt x="4263" y="13941"/>
                      <a:pt x="4116" y="13523"/>
                      <a:pt x="3988" y="13106"/>
                    </a:cubicBezTo>
                    <a:cubicBezTo>
                      <a:pt x="3739" y="12268"/>
                      <a:pt x="3661" y="11380"/>
                      <a:pt x="3723" y="10521"/>
                    </a:cubicBezTo>
                    <a:cubicBezTo>
                      <a:pt x="3843" y="8805"/>
                      <a:pt x="4526" y="7191"/>
                      <a:pt x="5593" y="6124"/>
                    </a:cubicBezTo>
                    <a:cubicBezTo>
                      <a:pt x="5832" y="5840"/>
                      <a:pt x="6158" y="5610"/>
                      <a:pt x="6412" y="5406"/>
                    </a:cubicBezTo>
                    <a:cubicBezTo>
                      <a:pt x="6543" y="5326"/>
                      <a:pt x="6667" y="5235"/>
                      <a:pt x="6790" y="5142"/>
                    </a:cubicBezTo>
                    <a:cubicBezTo>
                      <a:pt x="6961" y="5040"/>
                      <a:pt x="7194" y="4933"/>
                      <a:pt x="7392" y="4831"/>
                    </a:cubicBezTo>
                    <a:cubicBezTo>
                      <a:pt x="7967" y="4558"/>
                      <a:pt x="8703" y="4307"/>
                      <a:pt x="9380" y="4232"/>
                    </a:cubicBezTo>
                    <a:cubicBezTo>
                      <a:pt x="10761" y="4034"/>
                      <a:pt x="12126" y="4197"/>
                      <a:pt x="13298" y="4515"/>
                    </a:cubicBezTo>
                    <a:cubicBezTo>
                      <a:pt x="14478" y="4831"/>
                      <a:pt x="15474" y="5286"/>
                      <a:pt x="16269" y="5695"/>
                    </a:cubicBezTo>
                    <a:cubicBezTo>
                      <a:pt x="16732" y="5936"/>
                      <a:pt x="17179" y="6201"/>
                      <a:pt x="17612" y="6493"/>
                    </a:cubicBezTo>
                    <a:cubicBezTo>
                      <a:pt x="17800" y="10799"/>
                      <a:pt x="19221" y="16754"/>
                      <a:pt x="24573" y="22090"/>
                    </a:cubicBezTo>
                    <a:cubicBezTo>
                      <a:pt x="25753" y="23265"/>
                      <a:pt x="26805" y="24327"/>
                      <a:pt x="27742" y="25296"/>
                    </a:cubicBezTo>
                    <a:cubicBezTo>
                      <a:pt x="25753" y="24437"/>
                      <a:pt x="23725" y="24089"/>
                      <a:pt x="21867" y="23527"/>
                    </a:cubicBezTo>
                    <a:close/>
                    <a:moveTo>
                      <a:pt x="70470" y="12397"/>
                    </a:moveTo>
                    <a:cubicBezTo>
                      <a:pt x="70347" y="12817"/>
                      <a:pt x="70211" y="13234"/>
                      <a:pt x="70015" y="13628"/>
                    </a:cubicBezTo>
                    <a:lnTo>
                      <a:pt x="69948" y="13778"/>
                    </a:lnTo>
                    <a:cubicBezTo>
                      <a:pt x="69948" y="13778"/>
                      <a:pt x="69903" y="13874"/>
                      <a:pt x="69940" y="13807"/>
                    </a:cubicBezTo>
                    <a:lnTo>
                      <a:pt x="69889" y="13898"/>
                    </a:lnTo>
                    <a:lnTo>
                      <a:pt x="69689" y="14262"/>
                    </a:lnTo>
                    <a:cubicBezTo>
                      <a:pt x="69555" y="14498"/>
                      <a:pt x="69461" y="14626"/>
                      <a:pt x="69333" y="14827"/>
                    </a:cubicBezTo>
                    <a:cubicBezTo>
                      <a:pt x="68270" y="16379"/>
                      <a:pt x="66697" y="17688"/>
                      <a:pt x="64917" y="18737"/>
                    </a:cubicBezTo>
                    <a:cubicBezTo>
                      <a:pt x="63140" y="19786"/>
                      <a:pt x="61103" y="20572"/>
                      <a:pt x="59051" y="21268"/>
                    </a:cubicBezTo>
                    <a:cubicBezTo>
                      <a:pt x="56990" y="21961"/>
                      <a:pt x="54881" y="22556"/>
                      <a:pt x="52818" y="23198"/>
                    </a:cubicBezTo>
                    <a:cubicBezTo>
                      <a:pt x="50969" y="23800"/>
                      <a:pt x="48948" y="24193"/>
                      <a:pt x="46976" y="25095"/>
                    </a:cubicBezTo>
                    <a:cubicBezTo>
                      <a:pt x="47894" y="24105"/>
                      <a:pt x="48924" y="23021"/>
                      <a:pt x="50080" y="21817"/>
                    </a:cubicBezTo>
                    <a:cubicBezTo>
                      <a:pt x="55317" y="16368"/>
                      <a:pt x="56613" y="10387"/>
                      <a:pt x="56704" y="6078"/>
                    </a:cubicBezTo>
                    <a:cubicBezTo>
                      <a:pt x="57132" y="5776"/>
                      <a:pt x="57573" y="5500"/>
                      <a:pt x="58034" y="5251"/>
                    </a:cubicBezTo>
                    <a:cubicBezTo>
                      <a:pt x="58818" y="4826"/>
                      <a:pt x="59803" y="4349"/>
                      <a:pt x="60978" y="4009"/>
                    </a:cubicBezTo>
                    <a:cubicBezTo>
                      <a:pt x="62142" y="3664"/>
                      <a:pt x="63504" y="3474"/>
                      <a:pt x="64890" y="3640"/>
                    </a:cubicBezTo>
                    <a:cubicBezTo>
                      <a:pt x="65567" y="3702"/>
                      <a:pt x="66309" y="3937"/>
                      <a:pt x="66892" y="4197"/>
                    </a:cubicBezTo>
                    <a:cubicBezTo>
                      <a:pt x="67090" y="4296"/>
                      <a:pt x="67326" y="4398"/>
                      <a:pt x="67500" y="4497"/>
                    </a:cubicBezTo>
                    <a:cubicBezTo>
                      <a:pt x="67623" y="4585"/>
                      <a:pt x="67748" y="4673"/>
                      <a:pt x="67882" y="4753"/>
                    </a:cubicBezTo>
                    <a:cubicBezTo>
                      <a:pt x="68139" y="4949"/>
                      <a:pt x="68474" y="5174"/>
                      <a:pt x="68717" y="5452"/>
                    </a:cubicBezTo>
                    <a:cubicBezTo>
                      <a:pt x="69806" y="6496"/>
                      <a:pt x="70524" y="8096"/>
                      <a:pt x="70682" y="9809"/>
                    </a:cubicBezTo>
                    <a:cubicBezTo>
                      <a:pt x="70759" y="10663"/>
                      <a:pt x="70703" y="11551"/>
                      <a:pt x="70470" y="12397"/>
                    </a:cubicBezTo>
                    <a:close/>
                  </a:path>
                </a:pathLst>
              </a:custGeom>
              <a:noFill/>
              <a:ln w="9525" cap="flat" cmpd="sng">
                <a:solidFill>
                  <a:srgbClr val="CFD9E0"/>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764" name="Google Shape;8764;p107"/>
              <p:cNvSpPr/>
              <p:nvPr/>
            </p:nvSpPr>
            <p:spPr>
              <a:xfrm>
                <a:off x="3520750" y="2496900"/>
                <a:ext cx="656300" cy="214450"/>
              </a:xfrm>
              <a:custGeom>
                <a:avLst/>
                <a:gdLst/>
                <a:ahLst/>
                <a:cxnLst/>
                <a:rect l="l" t="t" r="r" b="b"/>
                <a:pathLst>
                  <a:path w="26252" h="8578" fill="none" extrusionOk="0">
                    <a:moveTo>
                      <a:pt x="26252" y="8347"/>
                    </a:moveTo>
                    <a:lnTo>
                      <a:pt x="108" y="8577"/>
                    </a:lnTo>
                    <a:lnTo>
                      <a:pt x="108" y="8577"/>
                    </a:lnTo>
                    <a:lnTo>
                      <a:pt x="1" y="281"/>
                    </a:lnTo>
                    <a:cubicBezTo>
                      <a:pt x="3" y="254"/>
                      <a:pt x="27" y="233"/>
                      <a:pt x="57" y="236"/>
                    </a:cubicBezTo>
                    <a:lnTo>
                      <a:pt x="57" y="236"/>
                    </a:lnTo>
                    <a:lnTo>
                      <a:pt x="26091" y="3"/>
                    </a:lnTo>
                    <a:cubicBezTo>
                      <a:pt x="26118" y="0"/>
                      <a:pt x="26142" y="22"/>
                      <a:pt x="26147" y="48"/>
                    </a:cubicBezTo>
                    <a:lnTo>
                      <a:pt x="26252" y="8345"/>
                    </a:lnTo>
                    <a:lnTo>
                      <a:pt x="26252" y="8345"/>
                    </a:lnTo>
                    <a:close/>
                  </a:path>
                </a:pathLst>
              </a:custGeom>
              <a:noFill/>
              <a:ln w="9525" cap="flat" cmpd="sng">
                <a:solidFill>
                  <a:srgbClr val="E3E9ED"/>
                </a:solidFill>
                <a:prstDash val="solid"/>
                <a:miter lim="2676"/>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765" name="Google Shape;8765;p107"/>
              <p:cNvSpPr/>
              <p:nvPr/>
            </p:nvSpPr>
            <p:spPr>
              <a:xfrm>
                <a:off x="3448300" y="2706900"/>
                <a:ext cx="803900" cy="89625"/>
              </a:xfrm>
              <a:custGeom>
                <a:avLst/>
                <a:gdLst/>
                <a:ahLst/>
                <a:cxnLst/>
                <a:rect l="l" t="t" r="r" b="b"/>
                <a:pathLst>
                  <a:path w="32156" h="3585" fill="none" extrusionOk="0">
                    <a:moveTo>
                      <a:pt x="32155" y="3244"/>
                    </a:moveTo>
                    <a:lnTo>
                      <a:pt x="35" y="3584"/>
                    </a:lnTo>
                    <a:lnTo>
                      <a:pt x="35" y="3584"/>
                    </a:lnTo>
                    <a:lnTo>
                      <a:pt x="3" y="399"/>
                    </a:lnTo>
                    <a:cubicBezTo>
                      <a:pt x="0" y="367"/>
                      <a:pt x="27" y="343"/>
                      <a:pt x="57" y="343"/>
                    </a:cubicBezTo>
                    <a:lnTo>
                      <a:pt x="32067" y="1"/>
                    </a:lnTo>
                    <a:cubicBezTo>
                      <a:pt x="32096" y="1"/>
                      <a:pt x="32120" y="25"/>
                      <a:pt x="32123" y="57"/>
                    </a:cubicBezTo>
                    <a:lnTo>
                      <a:pt x="32155" y="3244"/>
                    </a:lnTo>
                    <a:close/>
                  </a:path>
                </a:pathLst>
              </a:custGeom>
              <a:noFill/>
              <a:ln w="9525" cap="flat" cmpd="sng">
                <a:solidFill>
                  <a:srgbClr val="E3E9ED"/>
                </a:solidFill>
                <a:prstDash val="solid"/>
                <a:miter lim="2676"/>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766" name="Google Shape;8766;p107"/>
              <p:cNvSpPr/>
              <p:nvPr/>
            </p:nvSpPr>
            <p:spPr>
              <a:xfrm>
                <a:off x="3674575" y="1339775"/>
                <a:ext cx="324050" cy="308175"/>
              </a:xfrm>
              <a:custGeom>
                <a:avLst/>
                <a:gdLst/>
                <a:ahLst/>
                <a:cxnLst/>
                <a:rect l="l" t="t" r="r" b="b"/>
                <a:pathLst>
                  <a:path w="12962" h="12327" fill="none" extrusionOk="0">
                    <a:moveTo>
                      <a:pt x="6479" y="0"/>
                    </a:moveTo>
                    <a:lnTo>
                      <a:pt x="8484" y="4060"/>
                    </a:lnTo>
                    <a:lnTo>
                      <a:pt x="12961" y="4710"/>
                    </a:lnTo>
                    <a:lnTo>
                      <a:pt x="9720" y="7868"/>
                    </a:lnTo>
                    <a:lnTo>
                      <a:pt x="10486" y="12327"/>
                    </a:lnTo>
                    <a:lnTo>
                      <a:pt x="6479" y="10221"/>
                    </a:lnTo>
                    <a:lnTo>
                      <a:pt x="2476" y="12327"/>
                    </a:lnTo>
                    <a:lnTo>
                      <a:pt x="3241" y="7868"/>
                    </a:lnTo>
                    <a:lnTo>
                      <a:pt x="0" y="4710"/>
                    </a:lnTo>
                    <a:lnTo>
                      <a:pt x="4478" y="4060"/>
                    </a:lnTo>
                    <a:close/>
                  </a:path>
                </a:pathLst>
              </a:custGeom>
              <a:noFill/>
              <a:ln w="9525" cap="flat" cmpd="sng">
                <a:solidFill>
                  <a:srgbClr val="FFFFFF"/>
                </a:solidFill>
                <a:prstDash val="solid"/>
                <a:miter lim="2676"/>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grpSp>
        <p:nvGrpSpPr>
          <p:cNvPr id="8767" name="Google Shape;8767;p107"/>
          <p:cNvGrpSpPr/>
          <p:nvPr/>
        </p:nvGrpSpPr>
        <p:grpSpPr>
          <a:xfrm>
            <a:off x="8729258" y="2765741"/>
            <a:ext cx="1254316" cy="961423"/>
            <a:chOff x="6599718" y="2068734"/>
            <a:chExt cx="940737" cy="721067"/>
          </a:xfrm>
        </p:grpSpPr>
        <p:sp>
          <p:nvSpPr>
            <p:cNvPr id="8768" name="Google Shape;8768;p107"/>
            <p:cNvSpPr/>
            <p:nvPr/>
          </p:nvSpPr>
          <p:spPr>
            <a:xfrm>
              <a:off x="7138953" y="2569473"/>
              <a:ext cx="366935" cy="115933"/>
            </a:xfrm>
            <a:custGeom>
              <a:avLst/>
              <a:gdLst/>
              <a:ahLst/>
              <a:cxnLst/>
              <a:rect l="l" t="t" r="r" b="b"/>
              <a:pathLst>
                <a:path w="105517" h="33338" fill="none" extrusionOk="0">
                  <a:moveTo>
                    <a:pt x="8231" y="0"/>
                  </a:moveTo>
                  <a:cubicBezTo>
                    <a:pt x="6610" y="2526"/>
                    <a:pt x="5253" y="5215"/>
                    <a:pt x="4198" y="8042"/>
                  </a:cubicBezTo>
                  <a:cubicBezTo>
                    <a:pt x="3205" y="10656"/>
                    <a:pt x="2803" y="13182"/>
                    <a:pt x="2803" y="14991"/>
                  </a:cubicBezTo>
                  <a:cubicBezTo>
                    <a:pt x="2790" y="18636"/>
                    <a:pt x="2840" y="21274"/>
                    <a:pt x="1" y="23008"/>
                  </a:cubicBezTo>
                  <a:cubicBezTo>
                    <a:pt x="164" y="23549"/>
                    <a:pt x="239" y="24114"/>
                    <a:pt x="227" y="24667"/>
                  </a:cubicBezTo>
                  <a:lnTo>
                    <a:pt x="227" y="33338"/>
                  </a:lnTo>
                  <a:lnTo>
                    <a:pt x="105517" y="33338"/>
                  </a:lnTo>
                  <a:lnTo>
                    <a:pt x="105517" y="0"/>
                  </a:lnTo>
                  <a:close/>
                </a:path>
              </a:pathLst>
            </a:custGeom>
            <a:noFill/>
            <a:ln w="9525" cap="flat" cmpd="sng">
              <a:solidFill>
                <a:srgbClr val="374F66"/>
              </a:solidFill>
              <a:prstDash val="solid"/>
              <a:miter lim="12565"/>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769" name="Google Shape;8769;p107"/>
            <p:cNvSpPr/>
            <p:nvPr/>
          </p:nvSpPr>
          <p:spPr>
            <a:xfrm>
              <a:off x="6650497" y="2579172"/>
              <a:ext cx="346397" cy="118079"/>
            </a:xfrm>
            <a:custGeom>
              <a:avLst/>
              <a:gdLst/>
              <a:ahLst/>
              <a:cxnLst/>
              <a:rect l="l" t="t" r="r" b="b"/>
              <a:pathLst>
                <a:path w="99611" h="33955" fill="none" extrusionOk="0">
                  <a:moveTo>
                    <a:pt x="99372" y="21891"/>
                  </a:moveTo>
                  <a:cubicBezTo>
                    <a:pt x="99359" y="21325"/>
                    <a:pt x="99435" y="20760"/>
                    <a:pt x="99611" y="20219"/>
                  </a:cubicBezTo>
                  <a:cubicBezTo>
                    <a:pt x="96758" y="18485"/>
                    <a:pt x="96808" y="15847"/>
                    <a:pt x="96796" y="12215"/>
                  </a:cubicBezTo>
                  <a:cubicBezTo>
                    <a:pt x="96796" y="10405"/>
                    <a:pt x="96394" y="7880"/>
                    <a:pt x="95414" y="5253"/>
                  </a:cubicBezTo>
                  <a:cubicBezTo>
                    <a:pt x="94735" y="3444"/>
                    <a:pt x="93931" y="1697"/>
                    <a:pt x="93014" y="1"/>
                  </a:cubicBezTo>
                  <a:lnTo>
                    <a:pt x="0" y="1"/>
                  </a:lnTo>
                  <a:lnTo>
                    <a:pt x="0" y="33954"/>
                  </a:lnTo>
                  <a:lnTo>
                    <a:pt x="99372" y="33954"/>
                  </a:lnTo>
                  <a:close/>
                </a:path>
              </a:pathLst>
            </a:custGeom>
            <a:noFill/>
            <a:ln w="9525" cap="flat" cmpd="sng">
              <a:solidFill>
                <a:srgbClr val="DBE3E8"/>
              </a:solidFill>
              <a:prstDash val="solid"/>
              <a:miter lim="12565"/>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770" name="Google Shape;8770;p107"/>
            <p:cNvSpPr/>
            <p:nvPr/>
          </p:nvSpPr>
          <p:spPr>
            <a:xfrm>
              <a:off x="7236268" y="2370428"/>
              <a:ext cx="304187" cy="115978"/>
            </a:xfrm>
            <a:custGeom>
              <a:avLst/>
              <a:gdLst/>
              <a:ahLst/>
              <a:cxnLst/>
              <a:rect l="l" t="t" r="r" b="b"/>
              <a:pathLst>
                <a:path w="87473" h="33351" fill="none" extrusionOk="0">
                  <a:moveTo>
                    <a:pt x="15181" y="0"/>
                  </a:moveTo>
                  <a:cubicBezTo>
                    <a:pt x="12114" y="11913"/>
                    <a:pt x="6975" y="23210"/>
                    <a:pt x="1" y="33350"/>
                  </a:cubicBezTo>
                  <a:lnTo>
                    <a:pt x="87472" y="33350"/>
                  </a:lnTo>
                  <a:lnTo>
                    <a:pt x="87472" y="0"/>
                  </a:lnTo>
                  <a:close/>
                </a:path>
              </a:pathLst>
            </a:custGeom>
            <a:noFill/>
            <a:ln w="9525" cap="flat" cmpd="sng">
              <a:solidFill>
                <a:srgbClr val="4F677B"/>
              </a:solidFill>
              <a:prstDash val="solid"/>
              <a:miter lim="12565"/>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771" name="Google Shape;8771;p107"/>
            <p:cNvSpPr/>
            <p:nvPr/>
          </p:nvSpPr>
          <p:spPr>
            <a:xfrm>
              <a:off x="7252744" y="2161243"/>
              <a:ext cx="271454" cy="115982"/>
            </a:xfrm>
            <a:custGeom>
              <a:avLst/>
              <a:gdLst/>
              <a:ahLst/>
              <a:cxnLst/>
              <a:rect l="l" t="t" r="r" b="b"/>
              <a:pathLst>
                <a:path w="78060" h="33352" fill="none" extrusionOk="0">
                  <a:moveTo>
                    <a:pt x="0" y="1"/>
                  </a:moveTo>
                  <a:cubicBezTo>
                    <a:pt x="7288" y="9714"/>
                    <a:pt x="11762" y="21250"/>
                    <a:pt x="12918" y="33351"/>
                  </a:cubicBezTo>
                  <a:lnTo>
                    <a:pt x="78060" y="33351"/>
                  </a:lnTo>
                  <a:lnTo>
                    <a:pt x="78060" y="1"/>
                  </a:lnTo>
                  <a:close/>
                </a:path>
              </a:pathLst>
            </a:custGeom>
            <a:noFill/>
            <a:ln w="9525" cap="flat" cmpd="sng">
              <a:solidFill>
                <a:srgbClr val="B3C3CE"/>
              </a:solidFill>
              <a:prstDash val="solid"/>
              <a:miter lim="12565"/>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772" name="Google Shape;8772;p107"/>
            <p:cNvSpPr/>
            <p:nvPr/>
          </p:nvSpPr>
          <p:spPr>
            <a:xfrm>
              <a:off x="6599718" y="2199610"/>
              <a:ext cx="260051" cy="115978"/>
            </a:xfrm>
            <a:custGeom>
              <a:avLst/>
              <a:gdLst/>
              <a:ahLst/>
              <a:cxnLst/>
              <a:rect l="l" t="t" r="r" b="b"/>
              <a:pathLst>
                <a:path w="74781" h="33351" fill="none" extrusionOk="0">
                  <a:moveTo>
                    <a:pt x="68246" y="28752"/>
                  </a:moveTo>
                  <a:cubicBezTo>
                    <a:pt x="68234" y="18800"/>
                    <a:pt x="70471" y="8973"/>
                    <a:pt x="74781" y="1"/>
                  </a:cubicBezTo>
                  <a:lnTo>
                    <a:pt x="1" y="1"/>
                  </a:lnTo>
                  <a:lnTo>
                    <a:pt x="1" y="33351"/>
                  </a:lnTo>
                  <a:lnTo>
                    <a:pt x="68397" y="33351"/>
                  </a:lnTo>
                  <a:cubicBezTo>
                    <a:pt x="68284" y="31818"/>
                    <a:pt x="68221" y="30285"/>
                    <a:pt x="68246" y="28752"/>
                  </a:cubicBezTo>
                  <a:close/>
                </a:path>
              </a:pathLst>
            </a:custGeom>
            <a:noFill/>
            <a:ln w="9525" cap="flat" cmpd="sng">
              <a:solidFill>
                <a:srgbClr val="8FA1AF"/>
              </a:solidFill>
              <a:prstDash val="solid"/>
              <a:miter lim="12565"/>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773" name="Google Shape;8773;p107"/>
            <p:cNvSpPr/>
            <p:nvPr/>
          </p:nvSpPr>
          <p:spPr>
            <a:xfrm>
              <a:off x="6605967" y="2389697"/>
              <a:ext cx="307727" cy="116023"/>
            </a:xfrm>
            <a:custGeom>
              <a:avLst/>
              <a:gdLst/>
              <a:ahLst/>
              <a:cxnLst/>
              <a:rect l="l" t="t" r="r" b="b"/>
              <a:pathLst>
                <a:path w="88491" h="33364" fill="none" extrusionOk="0">
                  <a:moveTo>
                    <a:pt x="70835" y="1"/>
                  </a:moveTo>
                  <a:lnTo>
                    <a:pt x="1" y="1"/>
                  </a:lnTo>
                  <a:lnTo>
                    <a:pt x="1" y="33363"/>
                  </a:lnTo>
                  <a:lnTo>
                    <a:pt x="88490" y="33363"/>
                  </a:lnTo>
                  <a:cubicBezTo>
                    <a:pt x="80662" y="23386"/>
                    <a:pt x="74680" y="12089"/>
                    <a:pt x="70835" y="1"/>
                  </a:cubicBezTo>
                  <a:close/>
                </a:path>
              </a:pathLst>
            </a:custGeom>
            <a:noFill/>
            <a:ln w="9525" cap="flat" cmpd="sng">
              <a:solidFill>
                <a:srgbClr val="C9D4DC"/>
              </a:solidFill>
              <a:prstDash val="solid"/>
              <a:miter lim="12565"/>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nvGrpSpPr>
            <p:cNvPr id="8774" name="Google Shape;8774;p107"/>
            <p:cNvGrpSpPr/>
            <p:nvPr/>
          </p:nvGrpSpPr>
          <p:grpSpPr>
            <a:xfrm>
              <a:off x="6836957" y="2068734"/>
              <a:ext cx="461892" cy="721067"/>
              <a:chOff x="6836957" y="2068734"/>
              <a:chExt cx="461892" cy="721067"/>
            </a:xfrm>
          </p:grpSpPr>
          <p:sp>
            <p:nvSpPr>
              <p:cNvPr id="8775" name="Google Shape;8775;p107"/>
              <p:cNvSpPr/>
              <p:nvPr/>
            </p:nvSpPr>
            <p:spPr>
              <a:xfrm>
                <a:off x="7080441" y="2287271"/>
                <a:ext cx="187336" cy="123319"/>
              </a:xfrm>
              <a:custGeom>
                <a:avLst/>
                <a:gdLst/>
                <a:ahLst/>
                <a:cxnLst/>
                <a:rect l="l" t="t" r="r" b="b"/>
                <a:pathLst>
                  <a:path w="53871" h="35462" fill="none" extrusionOk="0">
                    <a:moveTo>
                      <a:pt x="1" y="35461"/>
                    </a:moveTo>
                    <a:lnTo>
                      <a:pt x="47249" y="35461"/>
                    </a:lnTo>
                    <a:cubicBezTo>
                      <a:pt x="51018" y="26213"/>
                      <a:pt x="52665" y="18083"/>
                      <a:pt x="53368" y="12453"/>
                    </a:cubicBezTo>
                    <a:lnTo>
                      <a:pt x="53368" y="12415"/>
                    </a:lnTo>
                    <a:cubicBezTo>
                      <a:pt x="53381" y="12315"/>
                      <a:pt x="53381" y="12227"/>
                      <a:pt x="53393" y="12139"/>
                    </a:cubicBezTo>
                    <a:lnTo>
                      <a:pt x="53419" y="11950"/>
                    </a:lnTo>
                    <a:lnTo>
                      <a:pt x="53469" y="11548"/>
                    </a:lnTo>
                    <a:cubicBezTo>
                      <a:pt x="53506" y="11171"/>
                      <a:pt x="53544" y="10807"/>
                      <a:pt x="53582" y="10455"/>
                    </a:cubicBezTo>
                    <a:cubicBezTo>
                      <a:pt x="53620" y="10091"/>
                      <a:pt x="53645" y="9789"/>
                      <a:pt x="53670" y="9487"/>
                    </a:cubicBezTo>
                    <a:lnTo>
                      <a:pt x="53682" y="9362"/>
                    </a:lnTo>
                    <a:lnTo>
                      <a:pt x="53682" y="9324"/>
                    </a:lnTo>
                    <a:cubicBezTo>
                      <a:pt x="53871" y="6899"/>
                      <a:pt x="53846" y="5441"/>
                      <a:pt x="53846" y="5253"/>
                    </a:cubicBezTo>
                    <a:lnTo>
                      <a:pt x="53833" y="5077"/>
                    </a:lnTo>
                    <a:lnTo>
                      <a:pt x="53833" y="4951"/>
                    </a:lnTo>
                    <a:cubicBezTo>
                      <a:pt x="53833" y="3280"/>
                      <a:pt x="53758" y="1634"/>
                      <a:pt x="53620" y="0"/>
                    </a:cubicBezTo>
                    <a:lnTo>
                      <a:pt x="1" y="0"/>
                    </a:lnTo>
                    <a:close/>
                  </a:path>
                </a:pathLst>
              </a:custGeom>
              <a:noFill/>
              <a:ln w="9525" cap="flat" cmpd="sng">
                <a:solidFill>
                  <a:srgbClr val="4F677B"/>
                </a:solidFill>
                <a:prstDash val="solid"/>
                <a:miter lim="12565"/>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776" name="Google Shape;8776;p107"/>
              <p:cNvSpPr/>
              <p:nvPr/>
            </p:nvSpPr>
            <p:spPr>
              <a:xfrm>
                <a:off x="7080441" y="2105091"/>
                <a:ext cx="182750" cy="157141"/>
              </a:xfrm>
              <a:custGeom>
                <a:avLst/>
                <a:gdLst/>
                <a:ahLst/>
                <a:cxnLst/>
                <a:rect l="l" t="t" r="r" b="b"/>
                <a:pathLst>
                  <a:path w="52552" h="45188" fill="none" extrusionOk="0">
                    <a:moveTo>
                      <a:pt x="1" y="45188"/>
                    </a:moveTo>
                    <a:lnTo>
                      <a:pt x="52551" y="45188"/>
                    </a:lnTo>
                    <a:cubicBezTo>
                      <a:pt x="47211" y="20458"/>
                      <a:pt x="25899" y="1609"/>
                      <a:pt x="1" y="1"/>
                    </a:cubicBezTo>
                    <a:close/>
                  </a:path>
                </a:pathLst>
              </a:custGeom>
              <a:noFill/>
              <a:ln w="9525" cap="flat" cmpd="sng">
                <a:solidFill>
                  <a:srgbClr val="B3C3CE"/>
                </a:solidFill>
                <a:prstDash val="solid"/>
                <a:miter lim="12565"/>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777" name="Google Shape;8777;p107"/>
              <p:cNvSpPr/>
              <p:nvPr/>
            </p:nvSpPr>
            <p:spPr>
              <a:xfrm>
                <a:off x="6872702" y="2287006"/>
                <a:ext cx="187378" cy="123364"/>
              </a:xfrm>
              <a:custGeom>
                <a:avLst/>
                <a:gdLst/>
                <a:ahLst/>
                <a:cxnLst/>
                <a:rect l="l" t="t" r="r" b="b"/>
                <a:pathLst>
                  <a:path w="53883" h="35475" fill="none" extrusionOk="0">
                    <a:moveTo>
                      <a:pt x="53883" y="1"/>
                    </a:moveTo>
                    <a:lnTo>
                      <a:pt x="239" y="1"/>
                    </a:lnTo>
                    <a:cubicBezTo>
                      <a:pt x="101" y="1634"/>
                      <a:pt x="13" y="3293"/>
                      <a:pt x="13" y="4964"/>
                    </a:cubicBezTo>
                    <a:lnTo>
                      <a:pt x="13" y="5266"/>
                    </a:lnTo>
                    <a:cubicBezTo>
                      <a:pt x="13" y="5454"/>
                      <a:pt x="0" y="6912"/>
                      <a:pt x="189" y="9312"/>
                    </a:cubicBezTo>
                    <a:lnTo>
                      <a:pt x="189" y="9375"/>
                    </a:lnTo>
                    <a:lnTo>
                      <a:pt x="189" y="9488"/>
                    </a:lnTo>
                    <a:lnTo>
                      <a:pt x="189" y="9488"/>
                    </a:lnTo>
                    <a:cubicBezTo>
                      <a:pt x="214" y="9802"/>
                      <a:pt x="252" y="10116"/>
                      <a:pt x="277" y="10443"/>
                    </a:cubicBezTo>
                    <a:cubicBezTo>
                      <a:pt x="314" y="10820"/>
                      <a:pt x="352" y="11185"/>
                      <a:pt x="390" y="11536"/>
                    </a:cubicBezTo>
                    <a:lnTo>
                      <a:pt x="440" y="11964"/>
                    </a:lnTo>
                    <a:lnTo>
                      <a:pt x="465" y="12140"/>
                    </a:lnTo>
                    <a:lnTo>
                      <a:pt x="503" y="12416"/>
                    </a:lnTo>
                    <a:lnTo>
                      <a:pt x="503" y="12466"/>
                    </a:lnTo>
                    <a:cubicBezTo>
                      <a:pt x="1194" y="18083"/>
                      <a:pt x="2840" y="26226"/>
                      <a:pt x="6610" y="35475"/>
                    </a:cubicBezTo>
                    <a:lnTo>
                      <a:pt x="53883" y="35475"/>
                    </a:lnTo>
                    <a:close/>
                  </a:path>
                </a:pathLst>
              </a:custGeom>
              <a:noFill/>
              <a:ln w="9525" cap="flat" cmpd="sng">
                <a:solidFill>
                  <a:srgbClr val="C9D4DC"/>
                </a:solidFill>
                <a:prstDash val="solid"/>
                <a:miter lim="12565"/>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778" name="Google Shape;8778;p107"/>
              <p:cNvSpPr/>
              <p:nvPr/>
            </p:nvSpPr>
            <p:spPr>
              <a:xfrm>
                <a:off x="6902504" y="2430686"/>
                <a:ext cx="152902" cy="185984"/>
              </a:xfrm>
              <a:custGeom>
                <a:avLst/>
                <a:gdLst/>
                <a:ahLst/>
                <a:cxnLst/>
                <a:rect l="l" t="t" r="r" b="b"/>
                <a:pathLst>
                  <a:path w="43969" h="53482" fill="none" extrusionOk="0">
                    <a:moveTo>
                      <a:pt x="43968" y="1"/>
                    </a:moveTo>
                    <a:lnTo>
                      <a:pt x="0" y="1"/>
                    </a:lnTo>
                    <a:cubicBezTo>
                      <a:pt x="4235" y="8319"/>
                      <a:pt x="10254" y="17191"/>
                      <a:pt x="18837" y="25723"/>
                    </a:cubicBezTo>
                    <a:cubicBezTo>
                      <a:pt x="24454" y="31315"/>
                      <a:pt x="28638" y="37724"/>
                      <a:pt x="31302" y="44823"/>
                    </a:cubicBezTo>
                    <a:cubicBezTo>
                      <a:pt x="31792" y="46130"/>
                      <a:pt x="32194" y="47462"/>
                      <a:pt x="32508" y="48819"/>
                    </a:cubicBezTo>
                    <a:cubicBezTo>
                      <a:pt x="33111" y="51534"/>
                      <a:pt x="35524" y="53469"/>
                      <a:pt x="38301" y="53481"/>
                    </a:cubicBezTo>
                    <a:lnTo>
                      <a:pt x="43968" y="53481"/>
                    </a:lnTo>
                    <a:close/>
                  </a:path>
                </a:pathLst>
              </a:custGeom>
              <a:noFill/>
              <a:ln w="9525" cap="flat" cmpd="sng">
                <a:solidFill>
                  <a:srgbClr val="DBE3E8"/>
                </a:solidFill>
                <a:prstDash val="solid"/>
                <a:miter lim="12565"/>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779" name="Google Shape;8779;p107"/>
              <p:cNvSpPr/>
              <p:nvPr/>
            </p:nvSpPr>
            <p:spPr>
              <a:xfrm>
                <a:off x="6877289" y="2104831"/>
                <a:ext cx="182791" cy="157141"/>
              </a:xfrm>
              <a:custGeom>
                <a:avLst/>
                <a:gdLst/>
                <a:ahLst/>
                <a:cxnLst/>
                <a:rect l="l" t="t" r="r" b="b"/>
                <a:pathLst>
                  <a:path w="52564" h="45188" fill="none" extrusionOk="0">
                    <a:moveTo>
                      <a:pt x="52564" y="45187"/>
                    </a:moveTo>
                    <a:lnTo>
                      <a:pt x="52564" y="0"/>
                    </a:lnTo>
                    <a:cubicBezTo>
                      <a:pt x="26653" y="1621"/>
                      <a:pt x="5354" y="20470"/>
                      <a:pt x="1" y="45187"/>
                    </a:cubicBezTo>
                    <a:close/>
                  </a:path>
                </a:pathLst>
              </a:custGeom>
              <a:noFill/>
              <a:ln w="9525" cap="flat" cmpd="sng">
                <a:solidFill>
                  <a:srgbClr val="8FA1AF"/>
                </a:solidFill>
                <a:prstDash val="solid"/>
                <a:miter lim="12565"/>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780" name="Google Shape;8780;p107"/>
              <p:cNvSpPr/>
              <p:nvPr/>
            </p:nvSpPr>
            <p:spPr>
              <a:xfrm>
                <a:off x="7080441" y="2430686"/>
                <a:ext cx="152860" cy="185938"/>
              </a:xfrm>
              <a:custGeom>
                <a:avLst/>
                <a:gdLst/>
                <a:ahLst/>
                <a:cxnLst/>
                <a:rect l="l" t="t" r="r" b="b"/>
                <a:pathLst>
                  <a:path w="43957" h="53469" fill="none" extrusionOk="0">
                    <a:moveTo>
                      <a:pt x="1" y="1"/>
                    </a:moveTo>
                    <a:lnTo>
                      <a:pt x="1" y="53469"/>
                    </a:lnTo>
                    <a:lnTo>
                      <a:pt x="5668" y="53469"/>
                    </a:lnTo>
                    <a:cubicBezTo>
                      <a:pt x="8445" y="53456"/>
                      <a:pt x="10845" y="51521"/>
                      <a:pt x="11448" y="48819"/>
                    </a:cubicBezTo>
                    <a:cubicBezTo>
                      <a:pt x="11762" y="47450"/>
                      <a:pt x="12165" y="46118"/>
                      <a:pt x="12655" y="44811"/>
                    </a:cubicBezTo>
                    <a:cubicBezTo>
                      <a:pt x="15319" y="37724"/>
                      <a:pt x="19503" y="31302"/>
                      <a:pt x="25120" y="25723"/>
                    </a:cubicBezTo>
                    <a:cubicBezTo>
                      <a:pt x="33703" y="17191"/>
                      <a:pt x="39722" y="8319"/>
                      <a:pt x="43956" y="1"/>
                    </a:cubicBezTo>
                    <a:close/>
                  </a:path>
                </a:pathLst>
              </a:custGeom>
              <a:noFill/>
              <a:ln w="9525" cap="flat" cmpd="sng">
                <a:solidFill>
                  <a:srgbClr val="374F66"/>
                </a:solidFill>
                <a:prstDash val="solid"/>
                <a:miter lim="12565"/>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nvGrpSpPr>
              <p:cNvPr id="8781" name="Google Shape;8781;p107"/>
              <p:cNvGrpSpPr/>
              <p:nvPr/>
            </p:nvGrpSpPr>
            <p:grpSpPr>
              <a:xfrm>
                <a:off x="6836957" y="2068734"/>
                <a:ext cx="461892" cy="721067"/>
                <a:chOff x="6836957" y="2068734"/>
                <a:chExt cx="461892" cy="721067"/>
              </a:xfrm>
            </p:grpSpPr>
            <p:sp>
              <p:nvSpPr>
                <p:cNvPr id="8782" name="Google Shape;8782;p107"/>
                <p:cNvSpPr/>
                <p:nvPr/>
              </p:nvSpPr>
              <p:spPr>
                <a:xfrm>
                  <a:off x="6996059" y="2711098"/>
                  <a:ext cx="143729" cy="78703"/>
                </a:xfrm>
                <a:custGeom>
                  <a:avLst/>
                  <a:gdLst/>
                  <a:ahLst/>
                  <a:cxnLst/>
                  <a:rect l="l" t="t" r="r" b="b"/>
                  <a:pathLst>
                    <a:path w="41331" h="22632" fill="none" extrusionOk="0">
                      <a:moveTo>
                        <a:pt x="20659" y="22632"/>
                      </a:moveTo>
                      <a:lnTo>
                        <a:pt x="20659" y="22632"/>
                      </a:lnTo>
                      <a:cubicBezTo>
                        <a:pt x="19252" y="22632"/>
                        <a:pt x="1" y="15658"/>
                        <a:pt x="1" y="5253"/>
                      </a:cubicBezTo>
                      <a:lnTo>
                        <a:pt x="1" y="0"/>
                      </a:lnTo>
                      <a:lnTo>
                        <a:pt x="41318" y="0"/>
                      </a:lnTo>
                      <a:lnTo>
                        <a:pt x="41318" y="5253"/>
                      </a:lnTo>
                      <a:cubicBezTo>
                        <a:pt x="41330" y="14125"/>
                        <a:pt x="22079" y="22632"/>
                        <a:pt x="20659" y="22632"/>
                      </a:cubicBezTo>
                      <a:close/>
                    </a:path>
                  </a:pathLst>
                </a:custGeom>
                <a:noFill/>
                <a:ln w="9525" cap="flat" cmpd="sng">
                  <a:solidFill>
                    <a:srgbClr val="E3E7EA"/>
                  </a:solidFill>
                  <a:prstDash val="solid"/>
                  <a:miter lim="12565"/>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783" name="Google Shape;8783;p107"/>
                <p:cNvSpPr/>
                <p:nvPr/>
              </p:nvSpPr>
              <p:spPr>
                <a:xfrm>
                  <a:off x="6996059" y="2647693"/>
                  <a:ext cx="143683" cy="88753"/>
                </a:xfrm>
                <a:custGeom>
                  <a:avLst/>
                  <a:gdLst/>
                  <a:ahLst/>
                  <a:cxnLst/>
                  <a:rect l="l" t="t" r="r" b="b"/>
                  <a:pathLst>
                    <a:path w="41318" h="25522" fill="none" extrusionOk="0">
                      <a:moveTo>
                        <a:pt x="667" y="0"/>
                      </a:moveTo>
                      <a:lnTo>
                        <a:pt x="40652" y="0"/>
                      </a:lnTo>
                      <a:cubicBezTo>
                        <a:pt x="41016" y="0"/>
                        <a:pt x="41318" y="980"/>
                        <a:pt x="41318" y="2199"/>
                      </a:cubicBezTo>
                      <a:lnTo>
                        <a:pt x="41318" y="23323"/>
                      </a:lnTo>
                      <a:cubicBezTo>
                        <a:pt x="41318" y="24542"/>
                        <a:pt x="41016" y="25522"/>
                        <a:pt x="40652" y="25522"/>
                      </a:cubicBezTo>
                      <a:lnTo>
                        <a:pt x="667" y="25522"/>
                      </a:lnTo>
                      <a:cubicBezTo>
                        <a:pt x="302" y="25522"/>
                        <a:pt x="1" y="24542"/>
                        <a:pt x="1" y="23323"/>
                      </a:cubicBezTo>
                      <a:lnTo>
                        <a:pt x="1" y="2187"/>
                      </a:lnTo>
                      <a:cubicBezTo>
                        <a:pt x="1" y="980"/>
                        <a:pt x="302" y="0"/>
                        <a:pt x="667" y="0"/>
                      </a:cubicBezTo>
                      <a:close/>
                    </a:path>
                  </a:pathLst>
                </a:custGeom>
                <a:noFill/>
                <a:ln w="9525" cap="flat" cmpd="sng">
                  <a:solidFill>
                    <a:srgbClr val="E3E7EA"/>
                  </a:solidFill>
                  <a:prstDash val="solid"/>
                  <a:miter lim="12565"/>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784" name="Google Shape;8784;p107"/>
                <p:cNvSpPr/>
                <p:nvPr/>
              </p:nvSpPr>
              <p:spPr>
                <a:xfrm>
                  <a:off x="6990467" y="2723683"/>
                  <a:ext cx="154870" cy="12721"/>
                </a:xfrm>
                <a:custGeom>
                  <a:avLst/>
                  <a:gdLst/>
                  <a:ahLst/>
                  <a:cxnLst/>
                  <a:rect l="l" t="t" r="r" b="b"/>
                  <a:pathLst>
                    <a:path w="44535" h="3658" fill="none" extrusionOk="0">
                      <a:moveTo>
                        <a:pt x="327" y="0"/>
                      </a:moveTo>
                      <a:lnTo>
                        <a:pt x="44207" y="0"/>
                      </a:lnTo>
                      <a:cubicBezTo>
                        <a:pt x="44383" y="0"/>
                        <a:pt x="44534" y="139"/>
                        <a:pt x="44534" y="327"/>
                      </a:cubicBezTo>
                      <a:lnTo>
                        <a:pt x="44534" y="3343"/>
                      </a:lnTo>
                      <a:cubicBezTo>
                        <a:pt x="44534" y="3519"/>
                        <a:pt x="44383" y="3657"/>
                        <a:pt x="44207" y="3657"/>
                      </a:cubicBezTo>
                      <a:lnTo>
                        <a:pt x="327" y="3657"/>
                      </a:lnTo>
                      <a:cubicBezTo>
                        <a:pt x="151" y="3657"/>
                        <a:pt x="0" y="3519"/>
                        <a:pt x="0" y="3343"/>
                      </a:cubicBezTo>
                      <a:lnTo>
                        <a:pt x="0" y="327"/>
                      </a:lnTo>
                      <a:cubicBezTo>
                        <a:pt x="0" y="139"/>
                        <a:pt x="151" y="0"/>
                        <a:pt x="327" y="0"/>
                      </a:cubicBezTo>
                      <a:close/>
                    </a:path>
                  </a:pathLst>
                </a:custGeom>
                <a:noFill/>
                <a:ln w="9525" cap="flat" cmpd="sng">
                  <a:solidFill>
                    <a:srgbClr val="EEF0F2"/>
                  </a:solidFill>
                  <a:prstDash val="solid"/>
                  <a:miter lim="12565"/>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785" name="Google Shape;8785;p107"/>
                <p:cNvSpPr/>
                <p:nvPr/>
              </p:nvSpPr>
              <p:spPr>
                <a:xfrm>
                  <a:off x="6990467" y="2698339"/>
                  <a:ext cx="154870" cy="12762"/>
                </a:xfrm>
                <a:custGeom>
                  <a:avLst/>
                  <a:gdLst/>
                  <a:ahLst/>
                  <a:cxnLst/>
                  <a:rect l="l" t="t" r="r" b="b"/>
                  <a:pathLst>
                    <a:path w="44535" h="3670" fill="none" extrusionOk="0">
                      <a:moveTo>
                        <a:pt x="42700" y="3669"/>
                      </a:moveTo>
                      <a:lnTo>
                        <a:pt x="1835" y="3669"/>
                      </a:lnTo>
                      <a:cubicBezTo>
                        <a:pt x="830" y="3657"/>
                        <a:pt x="13" y="2840"/>
                        <a:pt x="0" y="1835"/>
                      </a:cubicBezTo>
                      <a:lnTo>
                        <a:pt x="0" y="1835"/>
                      </a:lnTo>
                      <a:cubicBezTo>
                        <a:pt x="13" y="817"/>
                        <a:pt x="830" y="0"/>
                        <a:pt x="1835" y="0"/>
                      </a:cubicBezTo>
                      <a:lnTo>
                        <a:pt x="42700" y="0"/>
                      </a:lnTo>
                      <a:cubicBezTo>
                        <a:pt x="43717" y="0"/>
                        <a:pt x="44534" y="817"/>
                        <a:pt x="44534" y="1835"/>
                      </a:cubicBezTo>
                      <a:lnTo>
                        <a:pt x="44534" y="1835"/>
                      </a:lnTo>
                      <a:cubicBezTo>
                        <a:pt x="44534" y="2840"/>
                        <a:pt x="43717" y="3657"/>
                        <a:pt x="42700" y="3669"/>
                      </a:cubicBezTo>
                      <a:close/>
                    </a:path>
                  </a:pathLst>
                </a:custGeom>
                <a:noFill/>
                <a:ln w="9525" cap="flat" cmpd="sng">
                  <a:solidFill>
                    <a:srgbClr val="EEF0F2"/>
                  </a:solidFill>
                  <a:prstDash val="solid"/>
                  <a:miter lim="12565"/>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786" name="Google Shape;8786;p107"/>
                <p:cNvSpPr/>
                <p:nvPr/>
              </p:nvSpPr>
              <p:spPr>
                <a:xfrm>
                  <a:off x="6990467" y="2647648"/>
                  <a:ext cx="154870" cy="12762"/>
                </a:xfrm>
                <a:custGeom>
                  <a:avLst/>
                  <a:gdLst/>
                  <a:ahLst/>
                  <a:cxnLst/>
                  <a:rect l="l" t="t" r="r" b="b"/>
                  <a:pathLst>
                    <a:path w="44535" h="3670" fill="none" extrusionOk="0">
                      <a:moveTo>
                        <a:pt x="42700" y="3670"/>
                      </a:moveTo>
                      <a:lnTo>
                        <a:pt x="1835" y="3670"/>
                      </a:lnTo>
                      <a:cubicBezTo>
                        <a:pt x="830" y="3670"/>
                        <a:pt x="13" y="2853"/>
                        <a:pt x="0" y="1835"/>
                      </a:cubicBezTo>
                      <a:lnTo>
                        <a:pt x="0" y="1835"/>
                      </a:lnTo>
                      <a:cubicBezTo>
                        <a:pt x="13" y="830"/>
                        <a:pt x="830" y="13"/>
                        <a:pt x="1835" y="1"/>
                      </a:cubicBezTo>
                      <a:lnTo>
                        <a:pt x="42700" y="1"/>
                      </a:lnTo>
                      <a:cubicBezTo>
                        <a:pt x="43717" y="13"/>
                        <a:pt x="44534" y="830"/>
                        <a:pt x="44534" y="1835"/>
                      </a:cubicBezTo>
                      <a:lnTo>
                        <a:pt x="44534" y="1835"/>
                      </a:lnTo>
                      <a:cubicBezTo>
                        <a:pt x="44534" y="2853"/>
                        <a:pt x="43717" y="3670"/>
                        <a:pt x="42700" y="3670"/>
                      </a:cubicBezTo>
                      <a:close/>
                    </a:path>
                  </a:pathLst>
                </a:custGeom>
                <a:noFill/>
                <a:ln w="9525" cap="flat" cmpd="sng">
                  <a:solidFill>
                    <a:srgbClr val="EEF0F2"/>
                  </a:solidFill>
                  <a:prstDash val="solid"/>
                  <a:miter lim="12565"/>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787" name="Google Shape;8787;p107"/>
                <p:cNvSpPr/>
                <p:nvPr/>
              </p:nvSpPr>
              <p:spPr>
                <a:xfrm>
                  <a:off x="6990467" y="2672992"/>
                  <a:ext cx="154870" cy="12766"/>
                </a:xfrm>
                <a:custGeom>
                  <a:avLst/>
                  <a:gdLst/>
                  <a:ahLst/>
                  <a:cxnLst/>
                  <a:rect l="l" t="t" r="r" b="b"/>
                  <a:pathLst>
                    <a:path w="44535" h="3671" fill="none" extrusionOk="0">
                      <a:moveTo>
                        <a:pt x="42700" y="3670"/>
                      </a:moveTo>
                      <a:lnTo>
                        <a:pt x="1835" y="3670"/>
                      </a:lnTo>
                      <a:cubicBezTo>
                        <a:pt x="817" y="3670"/>
                        <a:pt x="0" y="2841"/>
                        <a:pt x="0" y="1836"/>
                      </a:cubicBezTo>
                      <a:lnTo>
                        <a:pt x="0" y="1836"/>
                      </a:lnTo>
                      <a:cubicBezTo>
                        <a:pt x="13" y="818"/>
                        <a:pt x="830" y="1"/>
                        <a:pt x="1835" y="1"/>
                      </a:cubicBezTo>
                      <a:lnTo>
                        <a:pt x="42700" y="1"/>
                      </a:lnTo>
                      <a:cubicBezTo>
                        <a:pt x="43717" y="1"/>
                        <a:pt x="44534" y="818"/>
                        <a:pt x="44534" y="1836"/>
                      </a:cubicBezTo>
                      <a:lnTo>
                        <a:pt x="44534" y="1836"/>
                      </a:lnTo>
                      <a:cubicBezTo>
                        <a:pt x="44534" y="2841"/>
                        <a:pt x="43717" y="3670"/>
                        <a:pt x="42700" y="3670"/>
                      </a:cubicBezTo>
                      <a:close/>
                    </a:path>
                  </a:pathLst>
                </a:custGeom>
                <a:noFill/>
                <a:ln w="9525" cap="flat" cmpd="sng">
                  <a:solidFill>
                    <a:srgbClr val="EEF0F2"/>
                  </a:solidFill>
                  <a:prstDash val="solid"/>
                  <a:miter lim="12565"/>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788" name="Google Shape;8788;p107"/>
                <p:cNvSpPr/>
                <p:nvPr/>
              </p:nvSpPr>
              <p:spPr>
                <a:xfrm>
                  <a:off x="6836957" y="2068734"/>
                  <a:ext cx="461892" cy="589756"/>
                </a:xfrm>
                <a:custGeom>
                  <a:avLst/>
                  <a:gdLst/>
                  <a:ahLst/>
                  <a:cxnLst/>
                  <a:rect l="l" t="t" r="r" b="b"/>
                  <a:pathLst>
                    <a:path w="132823" h="169592" fill="none" extrusionOk="0">
                      <a:moveTo>
                        <a:pt x="132307" y="74442"/>
                      </a:moveTo>
                      <a:cubicBezTo>
                        <a:pt x="132332" y="74278"/>
                        <a:pt x="132345" y="74127"/>
                        <a:pt x="132357" y="73977"/>
                      </a:cubicBezTo>
                      <a:cubicBezTo>
                        <a:pt x="132408" y="73562"/>
                        <a:pt x="132458" y="73135"/>
                        <a:pt x="132496" y="72720"/>
                      </a:cubicBezTo>
                      <a:cubicBezTo>
                        <a:pt x="132533" y="72343"/>
                        <a:pt x="132558" y="71991"/>
                        <a:pt x="132584" y="71639"/>
                      </a:cubicBezTo>
                      <a:cubicBezTo>
                        <a:pt x="132584" y="71577"/>
                        <a:pt x="132596" y="71501"/>
                        <a:pt x="132609" y="71438"/>
                      </a:cubicBezTo>
                      <a:cubicBezTo>
                        <a:pt x="132759" y="69754"/>
                        <a:pt x="132822" y="68071"/>
                        <a:pt x="132797" y="66387"/>
                      </a:cubicBezTo>
                      <a:cubicBezTo>
                        <a:pt x="132797" y="29719"/>
                        <a:pt x="103079" y="1"/>
                        <a:pt x="66411" y="1"/>
                      </a:cubicBezTo>
                      <a:cubicBezTo>
                        <a:pt x="29744" y="1"/>
                        <a:pt x="25" y="29719"/>
                        <a:pt x="25" y="66387"/>
                      </a:cubicBezTo>
                      <a:cubicBezTo>
                        <a:pt x="0" y="68071"/>
                        <a:pt x="63" y="69754"/>
                        <a:pt x="214" y="71438"/>
                      </a:cubicBezTo>
                      <a:cubicBezTo>
                        <a:pt x="214" y="71501"/>
                        <a:pt x="226" y="71577"/>
                        <a:pt x="239" y="71639"/>
                      </a:cubicBezTo>
                      <a:cubicBezTo>
                        <a:pt x="264" y="71991"/>
                        <a:pt x="289" y="72343"/>
                        <a:pt x="327" y="72720"/>
                      </a:cubicBezTo>
                      <a:cubicBezTo>
                        <a:pt x="365" y="73135"/>
                        <a:pt x="415" y="73562"/>
                        <a:pt x="465" y="73977"/>
                      </a:cubicBezTo>
                      <a:cubicBezTo>
                        <a:pt x="478" y="74127"/>
                        <a:pt x="490" y="74278"/>
                        <a:pt x="515" y="74442"/>
                      </a:cubicBezTo>
                      <a:cubicBezTo>
                        <a:pt x="528" y="74617"/>
                        <a:pt x="553" y="74806"/>
                        <a:pt x="578" y="74994"/>
                      </a:cubicBezTo>
                      <a:cubicBezTo>
                        <a:pt x="2187" y="87887"/>
                        <a:pt x="8306" y="113182"/>
                        <a:pt x="31390" y="136140"/>
                      </a:cubicBezTo>
                      <a:cubicBezTo>
                        <a:pt x="35926" y="140652"/>
                        <a:pt x="39545" y="146030"/>
                        <a:pt x="41782" y="152036"/>
                      </a:cubicBezTo>
                      <a:cubicBezTo>
                        <a:pt x="42775" y="154650"/>
                        <a:pt x="43164" y="157176"/>
                        <a:pt x="43177" y="158985"/>
                      </a:cubicBezTo>
                      <a:cubicBezTo>
                        <a:pt x="43202" y="166299"/>
                        <a:pt x="42976" y="169591"/>
                        <a:pt x="66411" y="169591"/>
                      </a:cubicBezTo>
                      <a:cubicBezTo>
                        <a:pt x="89834" y="169591"/>
                        <a:pt x="89621" y="166286"/>
                        <a:pt x="89646" y="158985"/>
                      </a:cubicBezTo>
                      <a:cubicBezTo>
                        <a:pt x="89646" y="157176"/>
                        <a:pt x="90048" y="154650"/>
                        <a:pt x="91041" y="152036"/>
                      </a:cubicBezTo>
                      <a:cubicBezTo>
                        <a:pt x="93277" y="146042"/>
                        <a:pt x="96896" y="140652"/>
                        <a:pt x="101433" y="136140"/>
                      </a:cubicBezTo>
                      <a:cubicBezTo>
                        <a:pt x="124516" y="113182"/>
                        <a:pt x="130636" y="87887"/>
                        <a:pt x="132244" y="74994"/>
                      </a:cubicBezTo>
                      <a:cubicBezTo>
                        <a:pt x="132269" y="74806"/>
                        <a:pt x="132295" y="74617"/>
                        <a:pt x="132307" y="74442"/>
                      </a:cubicBezTo>
                      <a:close/>
                    </a:path>
                  </a:pathLst>
                </a:custGeom>
                <a:noFill/>
                <a:ln w="9525" cap="flat" cmpd="sng">
                  <a:solidFill>
                    <a:srgbClr val="FEFEFE"/>
                  </a:solidFill>
                  <a:prstDash val="solid"/>
                  <a:miter lim="12565"/>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grpSp>
      <p:grpSp>
        <p:nvGrpSpPr>
          <p:cNvPr id="8789" name="Google Shape;8789;p107"/>
          <p:cNvGrpSpPr/>
          <p:nvPr/>
        </p:nvGrpSpPr>
        <p:grpSpPr>
          <a:xfrm>
            <a:off x="3240350" y="2771536"/>
            <a:ext cx="950103" cy="949832"/>
            <a:chOff x="2559249" y="2069323"/>
            <a:chExt cx="685566" cy="685634"/>
          </a:xfrm>
        </p:grpSpPr>
        <p:sp>
          <p:nvSpPr>
            <p:cNvPr id="8790" name="Google Shape;8790;p107"/>
            <p:cNvSpPr/>
            <p:nvPr/>
          </p:nvSpPr>
          <p:spPr>
            <a:xfrm>
              <a:off x="2637836" y="2532965"/>
              <a:ext cx="376180" cy="221993"/>
            </a:xfrm>
            <a:custGeom>
              <a:avLst/>
              <a:gdLst/>
              <a:ahLst/>
              <a:cxnLst/>
              <a:rect l="l" t="t" r="r" b="b"/>
              <a:pathLst>
                <a:path w="114864" h="67784" extrusionOk="0">
                  <a:moveTo>
                    <a:pt x="106357" y="13065"/>
                  </a:moveTo>
                  <a:cubicBezTo>
                    <a:pt x="104189" y="14178"/>
                    <a:pt x="101932" y="15164"/>
                    <a:pt x="99610" y="15997"/>
                  </a:cubicBezTo>
                  <a:cubicBezTo>
                    <a:pt x="99509" y="16034"/>
                    <a:pt x="99407" y="16071"/>
                    <a:pt x="99307" y="16108"/>
                  </a:cubicBezTo>
                  <a:lnTo>
                    <a:pt x="99307" y="16108"/>
                  </a:lnTo>
                  <a:cubicBezTo>
                    <a:pt x="101716" y="15259"/>
                    <a:pt x="104072" y="14244"/>
                    <a:pt x="106357" y="13065"/>
                  </a:cubicBezTo>
                  <a:close/>
                  <a:moveTo>
                    <a:pt x="28508" y="0"/>
                  </a:moveTo>
                  <a:cubicBezTo>
                    <a:pt x="24492" y="0"/>
                    <a:pt x="20462" y="1024"/>
                    <a:pt x="16807" y="3134"/>
                  </a:cubicBezTo>
                  <a:lnTo>
                    <a:pt x="16196" y="3489"/>
                  </a:lnTo>
                  <a:cubicBezTo>
                    <a:pt x="1800" y="11798"/>
                    <a:pt x="1" y="31827"/>
                    <a:pt x="12628" y="42646"/>
                  </a:cubicBezTo>
                  <a:cubicBezTo>
                    <a:pt x="28344" y="56100"/>
                    <a:pt x="48088" y="64977"/>
                    <a:pt x="69813" y="67214"/>
                  </a:cubicBezTo>
                  <a:cubicBezTo>
                    <a:pt x="70015" y="67229"/>
                    <a:pt x="70217" y="67254"/>
                    <a:pt x="70424" y="67273"/>
                  </a:cubicBezTo>
                  <a:cubicBezTo>
                    <a:pt x="70803" y="67313"/>
                    <a:pt x="71193" y="67347"/>
                    <a:pt x="71572" y="67377"/>
                  </a:cubicBezTo>
                  <a:cubicBezTo>
                    <a:pt x="72085" y="67421"/>
                    <a:pt x="72592" y="67465"/>
                    <a:pt x="73100" y="67500"/>
                  </a:cubicBezTo>
                  <a:lnTo>
                    <a:pt x="73445" y="67525"/>
                  </a:lnTo>
                  <a:cubicBezTo>
                    <a:pt x="75888" y="67697"/>
                    <a:pt x="78340" y="67783"/>
                    <a:pt x="80797" y="67783"/>
                  </a:cubicBezTo>
                  <a:cubicBezTo>
                    <a:pt x="92212" y="67783"/>
                    <a:pt x="103723" y="65913"/>
                    <a:pt x="114864" y="62044"/>
                  </a:cubicBezTo>
                  <a:lnTo>
                    <a:pt x="114864" y="62044"/>
                  </a:lnTo>
                  <a:cubicBezTo>
                    <a:pt x="112427" y="62820"/>
                    <a:pt x="109978" y="63185"/>
                    <a:pt x="107581" y="63185"/>
                  </a:cubicBezTo>
                  <a:cubicBezTo>
                    <a:pt x="94740" y="63185"/>
                    <a:pt x="83396" y="52710"/>
                    <a:pt x="83396" y="38875"/>
                  </a:cubicBezTo>
                  <a:cubicBezTo>
                    <a:pt x="83396" y="28688"/>
                    <a:pt x="89785" y="19663"/>
                    <a:pt x="99307" y="16108"/>
                  </a:cubicBezTo>
                  <a:lnTo>
                    <a:pt x="99307" y="16108"/>
                  </a:lnTo>
                  <a:cubicBezTo>
                    <a:pt x="93355" y="18205"/>
                    <a:pt x="87080" y="19284"/>
                    <a:pt x="80750" y="19284"/>
                  </a:cubicBezTo>
                  <a:cubicBezTo>
                    <a:pt x="79680" y="19284"/>
                    <a:pt x="78608" y="19253"/>
                    <a:pt x="77536" y="19191"/>
                  </a:cubicBezTo>
                  <a:cubicBezTo>
                    <a:pt x="77230" y="19171"/>
                    <a:pt x="76920" y="19146"/>
                    <a:pt x="76609" y="19127"/>
                  </a:cubicBezTo>
                  <a:cubicBezTo>
                    <a:pt x="76077" y="19092"/>
                    <a:pt x="75554" y="19048"/>
                    <a:pt x="75022" y="18999"/>
                  </a:cubicBezTo>
                  <a:cubicBezTo>
                    <a:pt x="74948" y="18994"/>
                    <a:pt x="74869" y="18979"/>
                    <a:pt x="74795" y="18974"/>
                  </a:cubicBezTo>
                  <a:cubicBezTo>
                    <a:pt x="73346" y="18821"/>
                    <a:pt x="71912" y="18609"/>
                    <a:pt x="70483" y="18353"/>
                  </a:cubicBezTo>
                  <a:cubicBezTo>
                    <a:pt x="70414" y="18338"/>
                    <a:pt x="70340" y="18333"/>
                    <a:pt x="70276" y="18323"/>
                  </a:cubicBezTo>
                  <a:cubicBezTo>
                    <a:pt x="60651" y="16515"/>
                    <a:pt x="51671" y="12222"/>
                    <a:pt x="44234" y="5859"/>
                  </a:cubicBezTo>
                  <a:cubicBezTo>
                    <a:pt x="39736" y="2011"/>
                    <a:pt x="34136" y="0"/>
                    <a:pt x="28508" y="0"/>
                  </a:cubicBezTo>
                  <a:close/>
                </a:path>
              </a:pathLst>
            </a:custGeom>
            <a:noFill/>
            <a:ln w="9525" cap="flat" cmpd="sng">
              <a:solidFill>
                <a:srgbClr val="869FB1"/>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791" name="Google Shape;8791;p107"/>
            <p:cNvSpPr/>
            <p:nvPr/>
          </p:nvSpPr>
          <p:spPr>
            <a:xfrm>
              <a:off x="2910955" y="2421038"/>
              <a:ext cx="327385" cy="318821"/>
            </a:xfrm>
            <a:custGeom>
              <a:avLst/>
              <a:gdLst/>
              <a:ahLst/>
              <a:cxnLst/>
              <a:rect l="l" t="t" r="r" b="b"/>
              <a:pathLst>
                <a:path w="99965" h="97350" extrusionOk="0">
                  <a:moveTo>
                    <a:pt x="53376" y="1"/>
                  </a:moveTo>
                  <a:lnTo>
                    <a:pt x="53376" y="6"/>
                  </a:lnTo>
                  <a:cubicBezTo>
                    <a:pt x="52883" y="9853"/>
                    <a:pt x="49823" y="19400"/>
                    <a:pt x="44500" y="27694"/>
                  </a:cubicBezTo>
                  <a:lnTo>
                    <a:pt x="44495" y="27689"/>
                  </a:lnTo>
                  <a:cubicBezTo>
                    <a:pt x="39162" y="35945"/>
                    <a:pt x="31740" y="42706"/>
                    <a:pt x="22962" y="47236"/>
                  </a:cubicBezTo>
                  <a:cubicBezTo>
                    <a:pt x="20794" y="48354"/>
                    <a:pt x="18537" y="49335"/>
                    <a:pt x="16215" y="50168"/>
                  </a:cubicBezTo>
                  <a:cubicBezTo>
                    <a:pt x="6526" y="53643"/>
                    <a:pt x="1" y="62751"/>
                    <a:pt x="1" y="73041"/>
                  </a:cubicBezTo>
                  <a:cubicBezTo>
                    <a:pt x="1" y="86877"/>
                    <a:pt x="11338" y="97350"/>
                    <a:pt x="24179" y="97350"/>
                  </a:cubicBezTo>
                  <a:cubicBezTo>
                    <a:pt x="26579" y="97350"/>
                    <a:pt x="29032" y="96984"/>
                    <a:pt x="31474" y="96205"/>
                  </a:cubicBezTo>
                  <a:cubicBezTo>
                    <a:pt x="31730" y="96126"/>
                    <a:pt x="31977" y="96043"/>
                    <a:pt x="32223" y="95954"/>
                  </a:cubicBezTo>
                  <a:cubicBezTo>
                    <a:pt x="49305" y="89907"/>
                    <a:pt x="64347" y="79542"/>
                    <a:pt x="76047" y="66176"/>
                  </a:cubicBezTo>
                  <a:cubicBezTo>
                    <a:pt x="76333" y="65870"/>
                    <a:pt x="76609" y="65575"/>
                    <a:pt x="76880" y="65254"/>
                  </a:cubicBezTo>
                  <a:cubicBezTo>
                    <a:pt x="88664" y="51450"/>
                    <a:pt x="96520" y="34919"/>
                    <a:pt x="99965" y="17468"/>
                  </a:cubicBezTo>
                  <a:lnTo>
                    <a:pt x="99965" y="17468"/>
                  </a:lnTo>
                  <a:cubicBezTo>
                    <a:pt x="97249" y="28811"/>
                    <a:pt x="87103" y="36062"/>
                    <a:pt x="76340" y="36062"/>
                  </a:cubicBezTo>
                  <a:cubicBezTo>
                    <a:pt x="72278" y="36062"/>
                    <a:pt x="68129" y="35030"/>
                    <a:pt x="64258" y="32795"/>
                  </a:cubicBezTo>
                  <a:cubicBezTo>
                    <a:pt x="55426" y="27694"/>
                    <a:pt x="50641" y="17596"/>
                    <a:pt x="52509" y="7571"/>
                  </a:cubicBezTo>
                  <a:cubicBezTo>
                    <a:pt x="52977" y="5067"/>
                    <a:pt x="53268" y="2534"/>
                    <a:pt x="53391" y="1"/>
                  </a:cubicBezTo>
                  <a:close/>
                </a:path>
              </a:pathLst>
            </a:custGeom>
            <a:noFill/>
            <a:ln w="9525" cap="flat" cmpd="sng">
              <a:solidFill>
                <a:srgbClr val="445D73"/>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792" name="Google Shape;8792;p107"/>
            <p:cNvSpPr/>
            <p:nvPr/>
          </p:nvSpPr>
          <p:spPr>
            <a:xfrm>
              <a:off x="3122726" y="2149918"/>
              <a:ext cx="10490" cy="10015"/>
            </a:xfrm>
            <a:custGeom>
              <a:avLst/>
              <a:gdLst/>
              <a:ahLst/>
              <a:cxnLst/>
              <a:rect l="l" t="t" r="r" b="b"/>
              <a:pathLst>
                <a:path w="3203" h="3058" extrusionOk="0">
                  <a:moveTo>
                    <a:pt x="21" y="0"/>
                  </a:moveTo>
                  <a:cubicBezTo>
                    <a:pt x="0" y="0"/>
                    <a:pt x="1234" y="1124"/>
                    <a:pt x="3203" y="3058"/>
                  </a:cubicBezTo>
                  <a:cubicBezTo>
                    <a:pt x="2429" y="2170"/>
                    <a:pt x="1576" y="1328"/>
                    <a:pt x="645" y="529"/>
                  </a:cubicBezTo>
                  <a:cubicBezTo>
                    <a:pt x="227" y="170"/>
                    <a:pt x="29" y="0"/>
                    <a:pt x="21" y="0"/>
                  </a:cubicBezTo>
                  <a:close/>
                </a:path>
              </a:pathLst>
            </a:custGeom>
            <a:solidFill>
              <a:srgbClr val="667E92"/>
            </a:solidFill>
            <a:ln w="9525" cap="flat" cmpd="sng">
              <a:solidFill>
                <a:srgbClr val="000000"/>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793" name="Google Shape;8793;p107"/>
            <p:cNvSpPr/>
            <p:nvPr/>
          </p:nvSpPr>
          <p:spPr>
            <a:xfrm>
              <a:off x="3022956" y="2159929"/>
              <a:ext cx="221858" cy="379216"/>
            </a:xfrm>
            <a:custGeom>
              <a:avLst/>
              <a:gdLst/>
              <a:ahLst/>
              <a:cxnLst/>
              <a:rect l="l" t="t" r="r" b="b"/>
              <a:pathLst>
                <a:path w="67743" h="115791" extrusionOk="0">
                  <a:moveTo>
                    <a:pt x="33667" y="1"/>
                  </a:moveTo>
                  <a:cubicBezTo>
                    <a:pt x="43405" y="11169"/>
                    <a:pt x="40882" y="28926"/>
                    <a:pt x="27541" y="36624"/>
                  </a:cubicBezTo>
                  <a:lnTo>
                    <a:pt x="26934" y="36974"/>
                  </a:lnTo>
                  <a:cubicBezTo>
                    <a:pt x="23278" y="39085"/>
                    <a:pt x="19248" y="40109"/>
                    <a:pt x="15233" y="40109"/>
                  </a:cubicBezTo>
                  <a:cubicBezTo>
                    <a:pt x="9809" y="40109"/>
                    <a:pt x="4413" y="38242"/>
                    <a:pt x="0" y="34668"/>
                  </a:cubicBezTo>
                  <a:lnTo>
                    <a:pt x="0" y="34668"/>
                  </a:lnTo>
                  <a:cubicBezTo>
                    <a:pt x="4658" y="38719"/>
                    <a:pt x="8625" y="43529"/>
                    <a:pt x="11725" y="48916"/>
                  </a:cubicBezTo>
                  <a:cubicBezTo>
                    <a:pt x="12179" y="49709"/>
                    <a:pt x="12617" y="50513"/>
                    <a:pt x="13026" y="51316"/>
                  </a:cubicBezTo>
                  <a:cubicBezTo>
                    <a:pt x="13090" y="51439"/>
                    <a:pt x="13150" y="51568"/>
                    <a:pt x="13219" y="51691"/>
                  </a:cubicBezTo>
                  <a:cubicBezTo>
                    <a:pt x="13460" y="52169"/>
                    <a:pt x="13692" y="52642"/>
                    <a:pt x="13913" y="53125"/>
                  </a:cubicBezTo>
                  <a:cubicBezTo>
                    <a:pt x="14047" y="53396"/>
                    <a:pt x="14175" y="53672"/>
                    <a:pt x="14298" y="53948"/>
                  </a:cubicBezTo>
                  <a:cubicBezTo>
                    <a:pt x="14569" y="54544"/>
                    <a:pt x="14835" y="55151"/>
                    <a:pt x="15081" y="55752"/>
                  </a:cubicBezTo>
                  <a:cubicBezTo>
                    <a:pt x="15165" y="55964"/>
                    <a:pt x="15244" y="56171"/>
                    <a:pt x="15328" y="56383"/>
                  </a:cubicBezTo>
                  <a:cubicBezTo>
                    <a:pt x="15525" y="56880"/>
                    <a:pt x="15712" y="57378"/>
                    <a:pt x="15900" y="57886"/>
                  </a:cubicBezTo>
                  <a:cubicBezTo>
                    <a:pt x="18438" y="64904"/>
                    <a:pt x="19547" y="72326"/>
                    <a:pt x="19187" y="79729"/>
                  </a:cubicBezTo>
                  <a:cubicBezTo>
                    <a:pt x="19064" y="82262"/>
                    <a:pt x="18778" y="84795"/>
                    <a:pt x="18310" y="87304"/>
                  </a:cubicBezTo>
                  <a:cubicBezTo>
                    <a:pt x="16442" y="97324"/>
                    <a:pt x="21227" y="107422"/>
                    <a:pt x="30054" y="112523"/>
                  </a:cubicBezTo>
                  <a:cubicBezTo>
                    <a:pt x="33927" y="114758"/>
                    <a:pt x="38077" y="115790"/>
                    <a:pt x="42139" y="115790"/>
                  </a:cubicBezTo>
                  <a:cubicBezTo>
                    <a:pt x="52903" y="115790"/>
                    <a:pt x="63049" y="108539"/>
                    <a:pt x="65761" y="97196"/>
                  </a:cubicBezTo>
                  <a:cubicBezTo>
                    <a:pt x="66717" y="92366"/>
                    <a:pt x="67328" y="87462"/>
                    <a:pt x="67594" y="82533"/>
                  </a:cubicBezTo>
                  <a:cubicBezTo>
                    <a:pt x="67644" y="81602"/>
                    <a:pt x="67678" y="80665"/>
                    <a:pt x="67703" y="79739"/>
                  </a:cubicBezTo>
                  <a:cubicBezTo>
                    <a:pt x="67728" y="78832"/>
                    <a:pt x="67742" y="77920"/>
                    <a:pt x="67742" y="77013"/>
                  </a:cubicBezTo>
                  <a:cubicBezTo>
                    <a:pt x="67737" y="58916"/>
                    <a:pt x="63144" y="41893"/>
                    <a:pt x="55061" y="27043"/>
                  </a:cubicBezTo>
                  <a:lnTo>
                    <a:pt x="55047" y="27058"/>
                  </a:lnTo>
                  <a:cubicBezTo>
                    <a:pt x="54613" y="26255"/>
                    <a:pt x="54169" y="25461"/>
                    <a:pt x="53716" y="24673"/>
                  </a:cubicBezTo>
                  <a:cubicBezTo>
                    <a:pt x="47915" y="14623"/>
                    <a:pt x="38541" y="4811"/>
                    <a:pt x="33667" y="1"/>
                  </a:cubicBezTo>
                  <a:close/>
                </a:path>
              </a:pathLst>
            </a:custGeom>
            <a:noFill/>
            <a:ln w="9525" cap="flat" cmpd="sng">
              <a:solidFill>
                <a:srgbClr val="667E92"/>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794" name="Google Shape;8794;p107"/>
            <p:cNvSpPr/>
            <p:nvPr/>
          </p:nvSpPr>
          <p:spPr>
            <a:xfrm>
              <a:off x="3001649" y="2257452"/>
              <a:ext cx="4395" cy="2908"/>
            </a:xfrm>
            <a:custGeom>
              <a:avLst/>
              <a:gdLst/>
              <a:ahLst/>
              <a:cxnLst/>
              <a:rect l="l" t="t" r="r" b="b"/>
              <a:pathLst>
                <a:path w="1342" h="888" extrusionOk="0">
                  <a:moveTo>
                    <a:pt x="1" y="1"/>
                  </a:moveTo>
                  <a:cubicBezTo>
                    <a:pt x="449" y="291"/>
                    <a:pt x="898" y="587"/>
                    <a:pt x="1341" y="888"/>
                  </a:cubicBezTo>
                  <a:cubicBezTo>
                    <a:pt x="898" y="587"/>
                    <a:pt x="449" y="291"/>
                    <a:pt x="1" y="1"/>
                  </a:cubicBezTo>
                  <a:close/>
                </a:path>
              </a:pathLst>
            </a:custGeom>
            <a:solidFill>
              <a:srgbClr val="667E92"/>
            </a:solidFill>
            <a:ln w="9525" cap="flat" cmpd="sng">
              <a:solidFill>
                <a:srgbClr val="000000"/>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795" name="Google Shape;8795;p107"/>
            <p:cNvSpPr/>
            <p:nvPr/>
          </p:nvSpPr>
          <p:spPr>
            <a:xfrm>
              <a:off x="3006814" y="2260907"/>
              <a:ext cx="504" cy="373"/>
            </a:xfrm>
            <a:custGeom>
              <a:avLst/>
              <a:gdLst/>
              <a:ahLst/>
              <a:cxnLst/>
              <a:rect l="l" t="t" r="r" b="b"/>
              <a:pathLst>
                <a:path w="154" h="114" extrusionOk="0">
                  <a:moveTo>
                    <a:pt x="1" y="0"/>
                  </a:moveTo>
                  <a:lnTo>
                    <a:pt x="1" y="0"/>
                  </a:lnTo>
                  <a:cubicBezTo>
                    <a:pt x="50" y="40"/>
                    <a:pt x="104" y="74"/>
                    <a:pt x="154" y="114"/>
                  </a:cubicBezTo>
                  <a:cubicBezTo>
                    <a:pt x="104" y="74"/>
                    <a:pt x="55" y="40"/>
                    <a:pt x="1" y="0"/>
                  </a:cubicBezTo>
                  <a:close/>
                </a:path>
              </a:pathLst>
            </a:custGeom>
            <a:solidFill>
              <a:srgbClr val="667E92"/>
            </a:solidFill>
            <a:ln w="9525" cap="flat" cmpd="sng">
              <a:solidFill>
                <a:srgbClr val="000000"/>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796" name="Google Shape;8796;p107"/>
            <p:cNvSpPr/>
            <p:nvPr/>
          </p:nvSpPr>
          <p:spPr>
            <a:xfrm>
              <a:off x="3007315" y="2261277"/>
              <a:ext cx="15645" cy="12190"/>
            </a:xfrm>
            <a:custGeom>
              <a:avLst/>
              <a:gdLst/>
              <a:ahLst/>
              <a:cxnLst/>
              <a:rect l="l" t="t" r="r" b="b"/>
              <a:pathLst>
                <a:path w="4777" h="3722" extrusionOk="0">
                  <a:moveTo>
                    <a:pt x="1" y="1"/>
                  </a:moveTo>
                  <a:lnTo>
                    <a:pt x="1" y="1"/>
                  </a:lnTo>
                  <a:cubicBezTo>
                    <a:pt x="1479" y="1026"/>
                    <a:pt x="2908" y="2135"/>
                    <a:pt x="4283" y="3313"/>
                  </a:cubicBezTo>
                  <a:cubicBezTo>
                    <a:pt x="4441" y="3456"/>
                    <a:pt x="4609" y="3589"/>
                    <a:pt x="4776" y="3722"/>
                  </a:cubicBezTo>
                  <a:cubicBezTo>
                    <a:pt x="3253" y="2396"/>
                    <a:pt x="1666" y="1149"/>
                    <a:pt x="1" y="1"/>
                  </a:cubicBezTo>
                  <a:close/>
                </a:path>
              </a:pathLst>
            </a:custGeom>
            <a:solidFill>
              <a:srgbClr val="CFD9E0"/>
            </a:solidFill>
            <a:ln w="9525" cap="flat" cmpd="sng">
              <a:solidFill>
                <a:srgbClr val="000000"/>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797" name="Google Shape;8797;p107"/>
            <p:cNvSpPr/>
            <p:nvPr/>
          </p:nvSpPr>
          <p:spPr>
            <a:xfrm>
              <a:off x="3006025" y="2260357"/>
              <a:ext cx="793" cy="553"/>
            </a:xfrm>
            <a:custGeom>
              <a:avLst/>
              <a:gdLst/>
              <a:ahLst/>
              <a:cxnLst/>
              <a:rect l="l" t="t" r="r" b="b"/>
              <a:pathLst>
                <a:path w="242" h="169" extrusionOk="0">
                  <a:moveTo>
                    <a:pt x="0" y="1"/>
                  </a:moveTo>
                  <a:lnTo>
                    <a:pt x="201" y="140"/>
                  </a:lnTo>
                  <a:lnTo>
                    <a:pt x="201" y="140"/>
                  </a:lnTo>
                  <a:cubicBezTo>
                    <a:pt x="137" y="95"/>
                    <a:pt x="74" y="50"/>
                    <a:pt x="0" y="1"/>
                  </a:cubicBezTo>
                  <a:close/>
                  <a:moveTo>
                    <a:pt x="201" y="140"/>
                  </a:moveTo>
                  <a:cubicBezTo>
                    <a:pt x="215" y="150"/>
                    <a:pt x="228" y="159"/>
                    <a:pt x="242" y="168"/>
                  </a:cubicBezTo>
                  <a:lnTo>
                    <a:pt x="201" y="140"/>
                  </a:lnTo>
                  <a:close/>
                </a:path>
              </a:pathLst>
            </a:custGeom>
            <a:solidFill>
              <a:srgbClr val="CFD9E0"/>
            </a:solidFill>
            <a:ln w="9525" cap="flat" cmpd="sng">
              <a:solidFill>
                <a:srgbClr val="000000"/>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798" name="Google Shape;8798;p107"/>
            <p:cNvSpPr/>
            <p:nvPr/>
          </p:nvSpPr>
          <p:spPr>
            <a:xfrm>
              <a:off x="2790124" y="2069323"/>
              <a:ext cx="376068" cy="221963"/>
            </a:xfrm>
            <a:custGeom>
              <a:avLst/>
              <a:gdLst/>
              <a:ahLst/>
              <a:cxnLst/>
              <a:rect l="l" t="t" r="r" b="b"/>
              <a:pathLst>
                <a:path w="114830" h="67775" extrusionOk="0">
                  <a:moveTo>
                    <a:pt x="15387" y="51713"/>
                  </a:moveTo>
                  <a:cubicBezTo>
                    <a:pt x="13025" y="52552"/>
                    <a:pt x="10715" y="53552"/>
                    <a:pt x="8473" y="54709"/>
                  </a:cubicBezTo>
                  <a:lnTo>
                    <a:pt x="8473" y="54709"/>
                  </a:lnTo>
                  <a:cubicBezTo>
                    <a:pt x="10647" y="53591"/>
                    <a:pt x="12899" y="52605"/>
                    <a:pt x="15225" y="51772"/>
                  </a:cubicBezTo>
                  <a:cubicBezTo>
                    <a:pt x="15279" y="51753"/>
                    <a:pt x="15333" y="51733"/>
                    <a:pt x="15387" y="51713"/>
                  </a:cubicBezTo>
                  <a:close/>
                  <a:moveTo>
                    <a:pt x="34032" y="1"/>
                  </a:moveTo>
                  <a:cubicBezTo>
                    <a:pt x="22630" y="1"/>
                    <a:pt x="11132" y="1868"/>
                    <a:pt x="1" y="5720"/>
                  </a:cubicBezTo>
                  <a:cubicBezTo>
                    <a:pt x="2428" y="4951"/>
                    <a:pt x="4866" y="4589"/>
                    <a:pt x="7253" y="4589"/>
                  </a:cubicBezTo>
                  <a:cubicBezTo>
                    <a:pt x="20092" y="4589"/>
                    <a:pt x="31430" y="15063"/>
                    <a:pt x="31430" y="28899"/>
                  </a:cubicBezTo>
                  <a:cubicBezTo>
                    <a:pt x="31430" y="39137"/>
                    <a:pt x="24982" y="48196"/>
                    <a:pt x="15387" y="51713"/>
                  </a:cubicBezTo>
                  <a:lnTo>
                    <a:pt x="15387" y="51713"/>
                  </a:lnTo>
                  <a:cubicBezTo>
                    <a:pt x="21370" y="49588"/>
                    <a:pt x="27683" y="48494"/>
                    <a:pt x="34053" y="48494"/>
                  </a:cubicBezTo>
                  <a:cubicBezTo>
                    <a:pt x="35131" y="48494"/>
                    <a:pt x="36210" y="48525"/>
                    <a:pt x="37290" y="48588"/>
                  </a:cubicBezTo>
                  <a:cubicBezTo>
                    <a:pt x="37605" y="48608"/>
                    <a:pt x="37911" y="48632"/>
                    <a:pt x="38221" y="48647"/>
                  </a:cubicBezTo>
                  <a:cubicBezTo>
                    <a:pt x="38749" y="48687"/>
                    <a:pt x="39276" y="48731"/>
                    <a:pt x="39803" y="48780"/>
                  </a:cubicBezTo>
                  <a:cubicBezTo>
                    <a:pt x="39877" y="48785"/>
                    <a:pt x="39956" y="48795"/>
                    <a:pt x="40030" y="48805"/>
                  </a:cubicBezTo>
                  <a:cubicBezTo>
                    <a:pt x="41479" y="48958"/>
                    <a:pt x="42913" y="49165"/>
                    <a:pt x="44343" y="49426"/>
                  </a:cubicBezTo>
                  <a:cubicBezTo>
                    <a:pt x="44412" y="49436"/>
                    <a:pt x="44485" y="49446"/>
                    <a:pt x="44554" y="49456"/>
                  </a:cubicBezTo>
                  <a:cubicBezTo>
                    <a:pt x="51706" y="50801"/>
                    <a:pt x="58507" y="53517"/>
                    <a:pt x="64584" y="57440"/>
                  </a:cubicBezTo>
                  <a:cubicBezTo>
                    <a:pt x="65032" y="57730"/>
                    <a:pt x="65481" y="58026"/>
                    <a:pt x="65924" y="58332"/>
                  </a:cubicBezTo>
                  <a:lnTo>
                    <a:pt x="66166" y="58499"/>
                  </a:lnTo>
                  <a:cubicBezTo>
                    <a:pt x="66215" y="58539"/>
                    <a:pt x="66269" y="58573"/>
                    <a:pt x="66319" y="58613"/>
                  </a:cubicBezTo>
                  <a:cubicBezTo>
                    <a:pt x="67975" y="59771"/>
                    <a:pt x="69571" y="61008"/>
                    <a:pt x="71094" y="62334"/>
                  </a:cubicBezTo>
                  <a:cubicBezTo>
                    <a:pt x="75504" y="65908"/>
                    <a:pt x="80901" y="67775"/>
                    <a:pt x="86325" y="67775"/>
                  </a:cubicBezTo>
                  <a:cubicBezTo>
                    <a:pt x="90341" y="67775"/>
                    <a:pt x="94372" y="66751"/>
                    <a:pt x="98028" y="64640"/>
                  </a:cubicBezTo>
                  <a:lnTo>
                    <a:pt x="98640" y="64290"/>
                  </a:lnTo>
                  <a:cubicBezTo>
                    <a:pt x="113036" y="55981"/>
                    <a:pt x="114830" y="35951"/>
                    <a:pt x="102203" y="25138"/>
                  </a:cubicBezTo>
                  <a:cubicBezTo>
                    <a:pt x="98028" y="21560"/>
                    <a:pt x="93563" y="18307"/>
                    <a:pt x="88857" y="15419"/>
                  </a:cubicBezTo>
                  <a:cubicBezTo>
                    <a:pt x="75850" y="7435"/>
                    <a:pt x="60966" y="2216"/>
                    <a:pt x="45018" y="570"/>
                  </a:cubicBezTo>
                  <a:cubicBezTo>
                    <a:pt x="44811" y="555"/>
                    <a:pt x="44609" y="530"/>
                    <a:pt x="44407" y="511"/>
                  </a:cubicBezTo>
                  <a:cubicBezTo>
                    <a:pt x="44022" y="471"/>
                    <a:pt x="43643" y="437"/>
                    <a:pt x="43253" y="407"/>
                  </a:cubicBezTo>
                  <a:cubicBezTo>
                    <a:pt x="42741" y="363"/>
                    <a:pt x="42238" y="318"/>
                    <a:pt x="41726" y="284"/>
                  </a:cubicBezTo>
                  <a:lnTo>
                    <a:pt x="41381" y="259"/>
                  </a:lnTo>
                  <a:cubicBezTo>
                    <a:pt x="38938" y="87"/>
                    <a:pt x="36487" y="1"/>
                    <a:pt x="34032" y="1"/>
                  </a:cubicBezTo>
                  <a:close/>
                </a:path>
              </a:pathLst>
            </a:custGeom>
            <a:noFill/>
            <a:ln w="9525" cap="flat" cmpd="sng">
              <a:solidFill>
                <a:srgbClr val="CFD9E0"/>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799" name="Google Shape;8799;p107"/>
            <p:cNvSpPr/>
            <p:nvPr/>
          </p:nvSpPr>
          <p:spPr>
            <a:xfrm>
              <a:off x="2559328" y="2381300"/>
              <a:ext cx="1294" cy="21877"/>
            </a:xfrm>
            <a:custGeom>
              <a:avLst/>
              <a:gdLst/>
              <a:ahLst/>
              <a:cxnLst/>
              <a:rect l="l" t="t" r="r" b="b"/>
              <a:pathLst>
                <a:path w="395" h="6680" extrusionOk="0">
                  <a:moveTo>
                    <a:pt x="395" y="1"/>
                  </a:moveTo>
                  <a:cubicBezTo>
                    <a:pt x="193" y="2219"/>
                    <a:pt x="65" y="4447"/>
                    <a:pt x="1" y="6679"/>
                  </a:cubicBezTo>
                  <a:lnTo>
                    <a:pt x="15" y="6679"/>
                  </a:lnTo>
                  <a:cubicBezTo>
                    <a:pt x="70" y="4447"/>
                    <a:pt x="198" y="2224"/>
                    <a:pt x="395" y="1"/>
                  </a:cubicBezTo>
                  <a:close/>
                </a:path>
              </a:pathLst>
            </a:custGeom>
            <a:solidFill>
              <a:srgbClr val="A5B7C5"/>
            </a:solidFill>
            <a:ln w="9525" cap="flat" cmpd="sng">
              <a:solidFill>
                <a:srgbClr val="000000"/>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800" name="Google Shape;8800;p107"/>
            <p:cNvSpPr/>
            <p:nvPr/>
          </p:nvSpPr>
          <p:spPr>
            <a:xfrm>
              <a:off x="2565429" y="2084349"/>
              <a:ext cx="327628" cy="318828"/>
            </a:xfrm>
            <a:custGeom>
              <a:avLst/>
              <a:gdLst/>
              <a:ahLst/>
              <a:cxnLst/>
              <a:rect l="l" t="t" r="r" b="b"/>
              <a:pathLst>
                <a:path w="100039" h="97352" extrusionOk="0">
                  <a:moveTo>
                    <a:pt x="75862" y="1"/>
                  </a:moveTo>
                  <a:cubicBezTo>
                    <a:pt x="73475" y="1"/>
                    <a:pt x="71037" y="363"/>
                    <a:pt x="68610" y="1132"/>
                  </a:cubicBezTo>
                  <a:cubicBezTo>
                    <a:pt x="68344" y="1221"/>
                    <a:pt x="68088" y="1304"/>
                    <a:pt x="67821" y="1398"/>
                  </a:cubicBezTo>
                  <a:cubicBezTo>
                    <a:pt x="50739" y="7450"/>
                    <a:pt x="35693" y="17810"/>
                    <a:pt x="23992" y="31181"/>
                  </a:cubicBezTo>
                  <a:cubicBezTo>
                    <a:pt x="23712" y="31482"/>
                    <a:pt x="23436" y="31782"/>
                    <a:pt x="23164" y="32098"/>
                  </a:cubicBezTo>
                  <a:cubicBezTo>
                    <a:pt x="11277" y="46021"/>
                    <a:pt x="3391" y="62709"/>
                    <a:pt x="1" y="80328"/>
                  </a:cubicBezTo>
                  <a:cubicBezTo>
                    <a:pt x="2554" y="68739"/>
                    <a:pt x="12822" y="61297"/>
                    <a:pt x="23723" y="61297"/>
                  </a:cubicBezTo>
                  <a:cubicBezTo>
                    <a:pt x="27782" y="61297"/>
                    <a:pt x="31928" y="62329"/>
                    <a:pt x="35796" y="64562"/>
                  </a:cubicBezTo>
                  <a:cubicBezTo>
                    <a:pt x="44628" y="69658"/>
                    <a:pt x="49414" y="79756"/>
                    <a:pt x="47546" y="89781"/>
                  </a:cubicBezTo>
                  <a:cubicBezTo>
                    <a:pt x="47077" y="92285"/>
                    <a:pt x="46787" y="94818"/>
                    <a:pt x="46663" y="97351"/>
                  </a:cubicBezTo>
                  <a:lnTo>
                    <a:pt x="46673" y="97351"/>
                  </a:lnTo>
                  <a:cubicBezTo>
                    <a:pt x="47166" y="87504"/>
                    <a:pt x="50227" y="77957"/>
                    <a:pt x="55550" y="69663"/>
                  </a:cubicBezTo>
                  <a:lnTo>
                    <a:pt x="55554" y="69673"/>
                  </a:lnTo>
                  <a:cubicBezTo>
                    <a:pt x="60882" y="61417"/>
                    <a:pt x="68309" y="54651"/>
                    <a:pt x="77082" y="50131"/>
                  </a:cubicBezTo>
                  <a:cubicBezTo>
                    <a:pt x="79251" y="49007"/>
                    <a:pt x="81503" y="48027"/>
                    <a:pt x="83834" y="47189"/>
                  </a:cubicBezTo>
                  <a:cubicBezTo>
                    <a:pt x="93523" y="43714"/>
                    <a:pt x="100039" y="34611"/>
                    <a:pt x="100039" y="24316"/>
                  </a:cubicBezTo>
                  <a:cubicBezTo>
                    <a:pt x="100039" y="10476"/>
                    <a:pt x="88701" y="1"/>
                    <a:pt x="75862" y="1"/>
                  </a:cubicBezTo>
                  <a:close/>
                </a:path>
              </a:pathLst>
            </a:custGeom>
            <a:noFill/>
            <a:ln w="9525" cap="flat" cmpd="sng">
              <a:solidFill>
                <a:srgbClr val="A5B7C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801" name="Google Shape;8801;p107"/>
            <p:cNvSpPr/>
            <p:nvPr/>
          </p:nvSpPr>
          <p:spPr>
            <a:xfrm>
              <a:off x="2560618" y="2347407"/>
              <a:ext cx="4814" cy="33896"/>
            </a:xfrm>
            <a:custGeom>
              <a:avLst/>
              <a:gdLst/>
              <a:ahLst/>
              <a:cxnLst/>
              <a:rect l="l" t="t" r="r" b="b"/>
              <a:pathLst>
                <a:path w="1470" h="10350" extrusionOk="0">
                  <a:moveTo>
                    <a:pt x="1470" y="0"/>
                  </a:moveTo>
                  <a:lnTo>
                    <a:pt x="1470" y="0"/>
                  </a:lnTo>
                  <a:cubicBezTo>
                    <a:pt x="1401" y="306"/>
                    <a:pt x="1337" y="611"/>
                    <a:pt x="1282" y="917"/>
                  </a:cubicBezTo>
                  <a:cubicBezTo>
                    <a:pt x="711" y="4042"/>
                    <a:pt x="287" y="7191"/>
                    <a:pt x="1" y="10350"/>
                  </a:cubicBezTo>
                  <a:cubicBezTo>
                    <a:pt x="316" y="6875"/>
                    <a:pt x="809" y="3421"/>
                    <a:pt x="1470" y="0"/>
                  </a:cubicBezTo>
                  <a:close/>
                </a:path>
              </a:pathLst>
            </a:custGeom>
            <a:solidFill>
              <a:srgbClr val="667E92"/>
            </a:solidFill>
            <a:ln w="9525" cap="flat" cmpd="sng">
              <a:solidFill>
                <a:srgbClr val="000000"/>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802" name="Google Shape;8802;p107"/>
            <p:cNvSpPr/>
            <p:nvPr/>
          </p:nvSpPr>
          <p:spPr>
            <a:xfrm>
              <a:off x="2559249" y="2285083"/>
              <a:ext cx="222808" cy="417520"/>
            </a:xfrm>
            <a:custGeom>
              <a:avLst/>
              <a:gdLst/>
              <a:ahLst/>
              <a:cxnLst/>
              <a:rect l="l" t="t" r="r" b="b"/>
              <a:pathLst>
                <a:path w="68033" h="127487" extrusionOk="0">
                  <a:moveTo>
                    <a:pt x="25602" y="1"/>
                  </a:moveTo>
                  <a:cubicBezTo>
                    <a:pt x="14703" y="1"/>
                    <a:pt x="4439" y="7441"/>
                    <a:pt x="1883" y="19035"/>
                  </a:cubicBezTo>
                  <a:cubicBezTo>
                    <a:pt x="1227" y="22455"/>
                    <a:pt x="734" y="25910"/>
                    <a:pt x="419" y="29385"/>
                  </a:cubicBezTo>
                  <a:cubicBezTo>
                    <a:pt x="222" y="31603"/>
                    <a:pt x="94" y="33835"/>
                    <a:pt x="35" y="36063"/>
                  </a:cubicBezTo>
                  <a:cubicBezTo>
                    <a:pt x="10" y="36975"/>
                    <a:pt x="0" y="37887"/>
                    <a:pt x="0" y="38798"/>
                  </a:cubicBezTo>
                  <a:cubicBezTo>
                    <a:pt x="0" y="56881"/>
                    <a:pt x="4588" y="73904"/>
                    <a:pt x="12671" y="88749"/>
                  </a:cubicBezTo>
                  <a:lnTo>
                    <a:pt x="12691" y="88739"/>
                  </a:lnTo>
                  <a:cubicBezTo>
                    <a:pt x="13125" y="89537"/>
                    <a:pt x="13568" y="90331"/>
                    <a:pt x="14022" y="91119"/>
                  </a:cubicBezTo>
                  <a:cubicBezTo>
                    <a:pt x="22883" y="106467"/>
                    <a:pt x="35042" y="118709"/>
                    <a:pt x="49088" y="127487"/>
                  </a:cubicBezTo>
                  <a:cubicBezTo>
                    <a:pt x="44716" y="124746"/>
                    <a:pt x="40552" y="121676"/>
                    <a:pt x="36624" y="118320"/>
                  </a:cubicBezTo>
                  <a:cubicBezTo>
                    <a:pt x="23997" y="107507"/>
                    <a:pt x="25796" y="87482"/>
                    <a:pt x="40192" y="79163"/>
                  </a:cubicBezTo>
                  <a:lnTo>
                    <a:pt x="40803" y="78813"/>
                  </a:lnTo>
                  <a:cubicBezTo>
                    <a:pt x="44454" y="76704"/>
                    <a:pt x="48478" y="75683"/>
                    <a:pt x="52488" y="75683"/>
                  </a:cubicBezTo>
                  <a:cubicBezTo>
                    <a:pt x="58037" y="75683"/>
                    <a:pt x="63561" y="77639"/>
                    <a:pt x="68033" y="81376"/>
                  </a:cubicBezTo>
                  <a:cubicBezTo>
                    <a:pt x="63232" y="77255"/>
                    <a:pt x="59166" y="72352"/>
                    <a:pt x="56012" y="66871"/>
                  </a:cubicBezTo>
                  <a:cubicBezTo>
                    <a:pt x="55559" y="66078"/>
                    <a:pt x="55120" y="65279"/>
                    <a:pt x="54706" y="64471"/>
                  </a:cubicBezTo>
                  <a:cubicBezTo>
                    <a:pt x="54642" y="64348"/>
                    <a:pt x="54583" y="64220"/>
                    <a:pt x="54514" y="64096"/>
                  </a:cubicBezTo>
                  <a:cubicBezTo>
                    <a:pt x="54272" y="63618"/>
                    <a:pt x="54041" y="63145"/>
                    <a:pt x="53819" y="62667"/>
                  </a:cubicBezTo>
                  <a:cubicBezTo>
                    <a:pt x="53691" y="62396"/>
                    <a:pt x="53558" y="62115"/>
                    <a:pt x="53435" y="61839"/>
                  </a:cubicBezTo>
                  <a:cubicBezTo>
                    <a:pt x="53164" y="61243"/>
                    <a:pt x="52902" y="60637"/>
                    <a:pt x="52656" y="60035"/>
                  </a:cubicBezTo>
                  <a:cubicBezTo>
                    <a:pt x="52567" y="59823"/>
                    <a:pt x="52488" y="59616"/>
                    <a:pt x="52409" y="59399"/>
                  </a:cubicBezTo>
                  <a:cubicBezTo>
                    <a:pt x="52212" y="58902"/>
                    <a:pt x="52020" y="58404"/>
                    <a:pt x="51843" y="57901"/>
                  </a:cubicBezTo>
                  <a:cubicBezTo>
                    <a:pt x="49305" y="50888"/>
                    <a:pt x="48196" y="43461"/>
                    <a:pt x="48550" y="36058"/>
                  </a:cubicBezTo>
                  <a:cubicBezTo>
                    <a:pt x="48674" y="33525"/>
                    <a:pt x="48964" y="30992"/>
                    <a:pt x="49433" y="28488"/>
                  </a:cubicBezTo>
                  <a:cubicBezTo>
                    <a:pt x="51301" y="18463"/>
                    <a:pt x="46510" y="8365"/>
                    <a:pt x="37683" y="3269"/>
                  </a:cubicBezTo>
                  <a:cubicBezTo>
                    <a:pt x="33812" y="1033"/>
                    <a:pt x="29663" y="1"/>
                    <a:pt x="25602" y="1"/>
                  </a:cubicBezTo>
                  <a:close/>
                </a:path>
              </a:pathLst>
            </a:custGeom>
            <a:noFill/>
            <a:ln w="9525" cap="flat" cmpd="sng">
              <a:solidFill>
                <a:srgbClr val="667E92"/>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8803" name="Google Shape;8803;p107"/>
          <p:cNvGrpSpPr/>
          <p:nvPr/>
        </p:nvGrpSpPr>
        <p:grpSpPr>
          <a:xfrm>
            <a:off x="10150266" y="1588589"/>
            <a:ext cx="1127527" cy="949215"/>
            <a:chOff x="951975" y="315800"/>
            <a:chExt cx="5860325" cy="4933550"/>
          </a:xfrm>
        </p:grpSpPr>
        <p:sp>
          <p:nvSpPr>
            <p:cNvPr id="8804" name="Google Shape;8804;p107"/>
            <p:cNvSpPr/>
            <p:nvPr/>
          </p:nvSpPr>
          <p:spPr>
            <a:xfrm>
              <a:off x="6501500" y="3684025"/>
              <a:ext cx="310800" cy="261200"/>
            </a:xfrm>
            <a:custGeom>
              <a:avLst/>
              <a:gdLst/>
              <a:ahLst/>
              <a:cxnLst/>
              <a:rect l="l" t="t" r="r" b="b"/>
              <a:pathLst>
                <a:path w="12432" h="10448" extrusionOk="0">
                  <a:moveTo>
                    <a:pt x="4963" y="0"/>
                  </a:moveTo>
                  <a:cubicBezTo>
                    <a:pt x="2239" y="0"/>
                    <a:pt x="0" y="2356"/>
                    <a:pt x="0" y="5120"/>
                  </a:cubicBezTo>
                  <a:cubicBezTo>
                    <a:pt x="0" y="8227"/>
                    <a:pt x="2220" y="10447"/>
                    <a:pt x="5328" y="10447"/>
                  </a:cubicBezTo>
                  <a:cubicBezTo>
                    <a:pt x="9989" y="10447"/>
                    <a:pt x="12431" y="4898"/>
                    <a:pt x="8879" y="1568"/>
                  </a:cubicBezTo>
                  <a:cubicBezTo>
                    <a:pt x="7991" y="458"/>
                    <a:pt x="6660" y="14"/>
                    <a:pt x="5328" y="14"/>
                  </a:cubicBezTo>
                  <a:cubicBezTo>
                    <a:pt x="5205" y="5"/>
                    <a:pt x="5084" y="0"/>
                    <a:pt x="4963" y="0"/>
                  </a:cubicBezTo>
                  <a:close/>
                </a:path>
              </a:pathLst>
            </a:custGeom>
            <a:noFill/>
            <a:ln w="9525" cap="flat" cmpd="sng">
              <a:solidFill>
                <a:srgbClr val="435D74"/>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805" name="Google Shape;8805;p107"/>
            <p:cNvSpPr/>
            <p:nvPr/>
          </p:nvSpPr>
          <p:spPr>
            <a:xfrm>
              <a:off x="6501500" y="2945200"/>
              <a:ext cx="310800" cy="261925"/>
            </a:xfrm>
            <a:custGeom>
              <a:avLst/>
              <a:gdLst/>
              <a:ahLst/>
              <a:cxnLst/>
              <a:rect l="l" t="t" r="r" b="b"/>
              <a:pathLst>
                <a:path w="12432" h="10477" extrusionOk="0">
                  <a:moveTo>
                    <a:pt x="5852" y="1"/>
                  </a:moveTo>
                  <a:cubicBezTo>
                    <a:pt x="5678" y="1"/>
                    <a:pt x="5503" y="15"/>
                    <a:pt x="5328" y="44"/>
                  </a:cubicBezTo>
                  <a:cubicBezTo>
                    <a:pt x="5205" y="34"/>
                    <a:pt x="5084" y="30"/>
                    <a:pt x="4963" y="30"/>
                  </a:cubicBezTo>
                  <a:cubicBezTo>
                    <a:pt x="2239" y="30"/>
                    <a:pt x="0" y="2386"/>
                    <a:pt x="0" y="5149"/>
                  </a:cubicBezTo>
                  <a:cubicBezTo>
                    <a:pt x="0" y="8035"/>
                    <a:pt x="2220" y="10477"/>
                    <a:pt x="5328" y="10477"/>
                  </a:cubicBezTo>
                  <a:cubicBezTo>
                    <a:pt x="9989" y="10477"/>
                    <a:pt x="12431" y="4705"/>
                    <a:pt x="8879" y="1376"/>
                  </a:cubicBezTo>
                  <a:cubicBezTo>
                    <a:pt x="8108" y="604"/>
                    <a:pt x="7002" y="1"/>
                    <a:pt x="5852" y="1"/>
                  </a:cubicBezTo>
                  <a:close/>
                </a:path>
              </a:pathLst>
            </a:custGeom>
            <a:noFill/>
            <a:ln w="9525" cap="flat" cmpd="sng">
              <a:solidFill>
                <a:srgbClr val="869FB2"/>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806" name="Google Shape;8806;p107"/>
            <p:cNvSpPr/>
            <p:nvPr/>
          </p:nvSpPr>
          <p:spPr>
            <a:xfrm>
              <a:off x="6501500" y="2202650"/>
              <a:ext cx="310800" cy="266400"/>
            </a:xfrm>
            <a:custGeom>
              <a:avLst/>
              <a:gdLst/>
              <a:ahLst/>
              <a:cxnLst/>
              <a:rect l="l" t="t" r="r" b="b"/>
              <a:pathLst>
                <a:path w="12432" h="10656" extrusionOk="0">
                  <a:moveTo>
                    <a:pt x="5328" y="0"/>
                  </a:moveTo>
                  <a:cubicBezTo>
                    <a:pt x="2442" y="0"/>
                    <a:pt x="0" y="2442"/>
                    <a:pt x="0" y="5328"/>
                  </a:cubicBezTo>
                  <a:cubicBezTo>
                    <a:pt x="0" y="8214"/>
                    <a:pt x="2220" y="10655"/>
                    <a:pt x="5328" y="10655"/>
                  </a:cubicBezTo>
                  <a:cubicBezTo>
                    <a:pt x="9989" y="10655"/>
                    <a:pt x="12431" y="4884"/>
                    <a:pt x="8879" y="1554"/>
                  </a:cubicBezTo>
                  <a:cubicBezTo>
                    <a:pt x="7991" y="444"/>
                    <a:pt x="6660" y="0"/>
                    <a:pt x="5328" y="0"/>
                  </a:cubicBezTo>
                  <a:close/>
                </a:path>
              </a:pathLst>
            </a:custGeom>
            <a:noFill/>
            <a:ln w="9525" cap="flat" cmpd="sng">
              <a:solidFill>
                <a:srgbClr val="BAC8D3"/>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807" name="Google Shape;8807;p107"/>
            <p:cNvSpPr/>
            <p:nvPr/>
          </p:nvSpPr>
          <p:spPr>
            <a:xfrm>
              <a:off x="951975" y="3495675"/>
              <a:ext cx="5460750" cy="1753675"/>
            </a:xfrm>
            <a:custGeom>
              <a:avLst/>
              <a:gdLst/>
              <a:ahLst/>
              <a:cxnLst/>
              <a:rect l="l" t="t" r="r" b="b"/>
              <a:pathLst>
                <a:path w="218430" h="70147" fill="none" extrusionOk="0">
                  <a:moveTo>
                    <a:pt x="29746" y="1"/>
                  </a:moveTo>
                  <a:lnTo>
                    <a:pt x="0" y="14430"/>
                  </a:lnTo>
                  <a:lnTo>
                    <a:pt x="109215" y="70147"/>
                  </a:lnTo>
                  <a:lnTo>
                    <a:pt x="218429" y="14430"/>
                  </a:lnTo>
                  <a:lnTo>
                    <a:pt x="188684" y="1"/>
                  </a:lnTo>
                  <a:lnTo>
                    <a:pt x="109215" y="40623"/>
                  </a:lnTo>
                  <a:close/>
                </a:path>
              </a:pathLst>
            </a:custGeom>
            <a:noFill/>
            <a:ln w="9525" cap="flat" cmpd="sng">
              <a:solidFill>
                <a:srgbClr val="435D74"/>
              </a:solidFill>
              <a:prstDash val="solid"/>
              <a:miter lim="221980"/>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808" name="Google Shape;8808;p107"/>
            <p:cNvSpPr/>
            <p:nvPr/>
          </p:nvSpPr>
          <p:spPr>
            <a:xfrm>
              <a:off x="951975" y="2757600"/>
              <a:ext cx="5460750" cy="1753675"/>
            </a:xfrm>
            <a:custGeom>
              <a:avLst/>
              <a:gdLst/>
              <a:ahLst/>
              <a:cxnLst/>
              <a:rect l="l" t="t" r="r" b="b"/>
              <a:pathLst>
                <a:path w="218430" h="70147" fill="none" extrusionOk="0">
                  <a:moveTo>
                    <a:pt x="188684" y="0"/>
                  </a:moveTo>
                  <a:lnTo>
                    <a:pt x="158939" y="15095"/>
                  </a:lnTo>
                  <a:lnTo>
                    <a:pt x="109215" y="40623"/>
                  </a:lnTo>
                  <a:lnTo>
                    <a:pt x="59491" y="15095"/>
                  </a:lnTo>
                  <a:lnTo>
                    <a:pt x="29746" y="0"/>
                  </a:lnTo>
                  <a:lnTo>
                    <a:pt x="0" y="14429"/>
                  </a:lnTo>
                  <a:lnTo>
                    <a:pt x="29746" y="29524"/>
                  </a:lnTo>
                  <a:lnTo>
                    <a:pt x="109215" y="70146"/>
                  </a:lnTo>
                  <a:lnTo>
                    <a:pt x="188684" y="29524"/>
                  </a:lnTo>
                  <a:lnTo>
                    <a:pt x="218429" y="14429"/>
                  </a:lnTo>
                  <a:close/>
                </a:path>
              </a:pathLst>
            </a:custGeom>
            <a:noFill/>
            <a:ln w="9525" cap="flat" cmpd="sng">
              <a:solidFill>
                <a:srgbClr val="869FB2"/>
              </a:solidFill>
              <a:prstDash val="solid"/>
              <a:miter lim="221980"/>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809" name="Google Shape;8809;p107"/>
            <p:cNvSpPr/>
            <p:nvPr/>
          </p:nvSpPr>
          <p:spPr>
            <a:xfrm>
              <a:off x="951975" y="2019500"/>
              <a:ext cx="5460750" cy="1753675"/>
            </a:xfrm>
            <a:custGeom>
              <a:avLst/>
              <a:gdLst/>
              <a:ahLst/>
              <a:cxnLst/>
              <a:rect l="l" t="t" r="r" b="b"/>
              <a:pathLst>
                <a:path w="218430" h="70147" fill="none" extrusionOk="0">
                  <a:moveTo>
                    <a:pt x="188684" y="1"/>
                  </a:moveTo>
                  <a:lnTo>
                    <a:pt x="158939" y="15096"/>
                  </a:lnTo>
                  <a:lnTo>
                    <a:pt x="129193" y="30190"/>
                  </a:lnTo>
                  <a:lnTo>
                    <a:pt x="109215" y="40623"/>
                  </a:lnTo>
                  <a:lnTo>
                    <a:pt x="89237" y="30190"/>
                  </a:lnTo>
                  <a:lnTo>
                    <a:pt x="59491" y="15096"/>
                  </a:lnTo>
                  <a:lnTo>
                    <a:pt x="29746" y="1"/>
                  </a:lnTo>
                  <a:lnTo>
                    <a:pt x="0" y="14208"/>
                  </a:lnTo>
                  <a:lnTo>
                    <a:pt x="29746" y="29524"/>
                  </a:lnTo>
                  <a:lnTo>
                    <a:pt x="59491" y="44619"/>
                  </a:lnTo>
                  <a:lnTo>
                    <a:pt x="109215" y="70147"/>
                  </a:lnTo>
                  <a:lnTo>
                    <a:pt x="158939" y="44619"/>
                  </a:lnTo>
                  <a:lnTo>
                    <a:pt x="188684" y="29524"/>
                  </a:lnTo>
                  <a:lnTo>
                    <a:pt x="218429" y="14208"/>
                  </a:lnTo>
                  <a:close/>
                </a:path>
              </a:pathLst>
            </a:custGeom>
            <a:noFill/>
            <a:ln w="9525" cap="flat" cmpd="sng">
              <a:solidFill>
                <a:srgbClr val="BAC8D3"/>
              </a:solidFill>
              <a:prstDash val="solid"/>
              <a:miter lim="221980"/>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810" name="Google Shape;8810;p107"/>
            <p:cNvSpPr/>
            <p:nvPr/>
          </p:nvSpPr>
          <p:spPr>
            <a:xfrm>
              <a:off x="951975" y="315800"/>
              <a:ext cx="5460750" cy="2719300"/>
            </a:xfrm>
            <a:custGeom>
              <a:avLst/>
              <a:gdLst/>
              <a:ahLst/>
              <a:cxnLst/>
              <a:rect l="l" t="t" r="r" b="b"/>
              <a:pathLst>
                <a:path w="218430" h="108772" fill="none" extrusionOk="0">
                  <a:moveTo>
                    <a:pt x="109215" y="1"/>
                  </a:moveTo>
                  <a:lnTo>
                    <a:pt x="0" y="52832"/>
                  </a:lnTo>
                  <a:lnTo>
                    <a:pt x="109215" y="108771"/>
                  </a:lnTo>
                  <a:lnTo>
                    <a:pt x="218429" y="52832"/>
                  </a:lnTo>
                  <a:close/>
                </a:path>
              </a:pathLst>
            </a:custGeom>
            <a:noFill/>
            <a:ln w="9525" cap="flat" cmpd="sng">
              <a:solidFill>
                <a:srgbClr val="E3E9ED"/>
              </a:solidFill>
              <a:prstDash val="solid"/>
              <a:miter lim="221980"/>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811" name="Google Shape;8811;p107"/>
            <p:cNvSpPr/>
            <p:nvPr/>
          </p:nvSpPr>
          <p:spPr>
            <a:xfrm>
              <a:off x="6501500" y="1464200"/>
              <a:ext cx="310800" cy="261550"/>
            </a:xfrm>
            <a:custGeom>
              <a:avLst/>
              <a:gdLst/>
              <a:ahLst/>
              <a:cxnLst/>
              <a:rect l="l" t="t" r="r" b="b"/>
              <a:pathLst>
                <a:path w="12432" h="10462" extrusionOk="0">
                  <a:moveTo>
                    <a:pt x="4963" y="1"/>
                  </a:moveTo>
                  <a:cubicBezTo>
                    <a:pt x="2239" y="1"/>
                    <a:pt x="0" y="2357"/>
                    <a:pt x="0" y="5120"/>
                  </a:cubicBezTo>
                  <a:cubicBezTo>
                    <a:pt x="0" y="8097"/>
                    <a:pt x="2036" y="10462"/>
                    <a:pt x="4938" y="10462"/>
                  </a:cubicBezTo>
                  <a:cubicBezTo>
                    <a:pt x="5066" y="10462"/>
                    <a:pt x="5196" y="10457"/>
                    <a:pt x="5328" y="10448"/>
                  </a:cubicBezTo>
                  <a:cubicBezTo>
                    <a:pt x="9989" y="10448"/>
                    <a:pt x="12431" y="4898"/>
                    <a:pt x="8879" y="1569"/>
                  </a:cubicBezTo>
                  <a:cubicBezTo>
                    <a:pt x="7991" y="459"/>
                    <a:pt x="6660" y="15"/>
                    <a:pt x="5328" y="15"/>
                  </a:cubicBezTo>
                  <a:cubicBezTo>
                    <a:pt x="5205" y="5"/>
                    <a:pt x="5084" y="1"/>
                    <a:pt x="4963" y="1"/>
                  </a:cubicBezTo>
                  <a:close/>
                </a:path>
              </a:pathLst>
            </a:custGeom>
            <a:noFill/>
            <a:ln w="9525" cap="flat" cmpd="sng">
              <a:solidFill>
                <a:srgbClr val="E3E9ED"/>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8812" name="Google Shape;8812;p107"/>
          <p:cNvGrpSpPr/>
          <p:nvPr/>
        </p:nvGrpSpPr>
        <p:grpSpPr>
          <a:xfrm>
            <a:off x="4946437" y="3903400"/>
            <a:ext cx="2157243" cy="828965"/>
            <a:chOff x="3862800" y="3038525"/>
            <a:chExt cx="1329006" cy="510698"/>
          </a:xfrm>
        </p:grpSpPr>
        <p:sp>
          <p:nvSpPr>
            <p:cNvPr id="8813" name="Google Shape;8813;p107"/>
            <p:cNvSpPr/>
            <p:nvPr/>
          </p:nvSpPr>
          <p:spPr>
            <a:xfrm>
              <a:off x="4185913" y="3040337"/>
              <a:ext cx="71107" cy="143789"/>
            </a:xfrm>
            <a:custGeom>
              <a:avLst/>
              <a:gdLst/>
              <a:ahLst/>
              <a:cxnLst/>
              <a:rect l="l" t="t" r="r" b="b"/>
              <a:pathLst>
                <a:path w="14722" h="29770" extrusionOk="0">
                  <a:moveTo>
                    <a:pt x="0" y="1"/>
                  </a:moveTo>
                  <a:cubicBezTo>
                    <a:pt x="0" y="11614"/>
                    <a:pt x="5398" y="22573"/>
                    <a:pt x="14721" y="29770"/>
                  </a:cubicBezTo>
                  <a:cubicBezTo>
                    <a:pt x="5562" y="22573"/>
                    <a:pt x="164" y="11614"/>
                    <a:pt x="164" y="1"/>
                  </a:cubicBezTo>
                  <a:close/>
                </a:path>
              </a:pathLst>
            </a:custGeom>
            <a:solidFill>
              <a:srgbClr val="CFD9E0"/>
            </a:solidFill>
            <a:ln w="9525" cap="flat" cmpd="sng">
              <a:solidFill>
                <a:srgbClr val="000000"/>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814" name="Google Shape;8814;p107"/>
            <p:cNvSpPr/>
            <p:nvPr/>
          </p:nvSpPr>
          <p:spPr>
            <a:xfrm>
              <a:off x="3967075" y="3045080"/>
              <a:ext cx="403706" cy="397383"/>
            </a:xfrm>
            <a:custGeom>
              <a:avLst/>
              <a:gdLst/>
              <a:ahLst/>
              <a:cxnLst/>
              <a:rect l="l" t="t" r="r" b="b"/>
              <a:pathLst>
                <a:path w="83583" h="82274" extrusionOk="0">
                  <a:moveTo>
                    <a:pt x="83583" y="82273"/>
                  </a:moveTo>
                  <a:cubicBezTo>
                    <a:pt x="37948" y="82273"/>
                    <a:pt x="655" y="45635"/>
                    <a:pt x="0" y="0"/>
                  </a:cubicBezTo>
                  <a:cubicBezTo>
                    <a:pt x="655" y="45635"/>
                    <a:pt x="37948" y="82273"/>
                    <a:pt x="83583" y="82273"/>
                  </a:cubicBezTo>
                  <a:close/>
                </a:path>
              </a:pathLst>
            </a:custGeom>
            <a:solidFill>
              <a:srgbClr val="445D73"/>
            </a:solidFill>
            <a:ln w="9525" cap="flat" cmpd="sng">
              <a:solidFill>
                <a:srgbClr val="000000"/>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nvGrpSpPr>
            <p:cNvPr id="8815" name="Google Shape;8815;p107"/>
            <p:cNvGrpSpPr/>
            <p:nvPr/>
          </p:nvGrpSpPr>
          <p:grpSpPr>
            <a:xfrm>
              <a:off x="3967075" y="3040337"/>
              <a:ext cx="1019927" cy="402126"/>
              <a:chOff x="3967075" y="3040337"/>
              <a:chExt cx="1019927" cy="402126"/>
            </a:xfrm>
          </p:grpSpPr>
          <p:sp>
            <p:nvSpPr>
              <p:cNvPr id="8816" name="Google Shape;8816;p107"/>
              <p:cNvSpPr/>
              <p:nvPr/>
            </p:nvSpPr>
            <p:spPr>
              <a:xfrm>
                <a:off x="4369197" y="3335999"/>
                <a:ext cx="617805" cy="105869"/>
              </a:xfrm>
              <a:custGeom>
                <a:avLst/>
                <a:gdLst/>
                <a:ahLst/>
                <a:cxnLst/>
                <a:rect l="l" t="t" r="r" b="b"/>
                <a:pathLst>
                  <a:path w="127910" h="21919" fill="none" extrusionOk="0">
                    <a:moveTo>
                      <a:pt x="1" y="21918"/>
                    </a:moveTo>
                    <a:lnTo>
                      <a:pt x="127909" y="21918"/>
                    </a:lnTo>
                    <a:lnTo>
                      <a:pt x="127909" y="1"/>
                    </a:lnTo>
                    <a:lnTo>
                      <a:pt x="164" y="164"/>
                    </a:lnTo>
                  </a:path>
                </a:pathLst>
              </a:custGeom>
              <a:noFill/>
              <a:ln w="9525" cap="flat" cmpd="sng">
                <a:solidFill>
                  <a:srgbClr val="869FB1"/>
                </a:solidFill>
                <a:prstDash val="solid"/>
                <a:miter lim="163566"/>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817" name="Google Shape;8817;p107"/>
              <p:cNvSpPr/>
              <p:nvPr/>
            </p:nvSpPr>
            <p:spPr>
              <a:xfrm>
                <a:off x="3967075" y="3040337"/>
                <a:ext cx="403706" cy="402126"/>
              </a:xfrm>
              <a:custGeom>
                <a:avLst/>
                <a:gdLst/>
                <a:ahLst/>
                <a:cxnLst/>
                <a:rect l="l" t="t" r="r" b="b"/>
                <a:pathLst>
                  <a:path w="83583" h="83256" fill="none" extrusionOk="0">
                    <a:moveTo>
                      <a:pt x="83419" y="61501"/>
                    </a:moveTo>
                    <a:cubicBezTo>
                      <a:pt x="49397" y="61501"/>
                      <a:pt x="21755" y="34022"/>
                      <a:pt x="21755" y="1"/>
                    </a:cubicBezTo>
                    <a:lnTo>
                      <a:pt x="0" y="1"/>
                    </a:lnTo>
                    <a:lnTo>
                      <a:pt x="0" y="982"/>
                    </a:lnTo>
                    <a:cubicBezTo>
                      <a:pt x="818" y="46617"/>
                      <a:pt x="37948" y="83255"/>
                      <a:pt x="83583" y="83255"/>
                    </a:cubicBezTo>
                  </a:path>
                </a:pathLst>
              </a:custGeom>
              <a:noFill/>
              <a:ln w="9525" cap="flat" cmpd="sng">
                <a:solidFill>
                  <a:srgbClr val="869FB1"/>
                </a:solidFill>
                <a:prstDash val="solid"/>
                <a:miter lim="163566"/>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8818" name="Google Shape;8818;p107"/>
            <p:cNvGrpSpPr/>
            <p:nvPr/>
          </p:nvGrpSpPr>
          <p:grpSpPr>
            <a:xfrm>
              <a:off x="4186700" y="3040337"/>
              <a:ext cx="390475" cy="183289"/>
              <a:chOff x="4186700" y="3040337"/>
              <a:chExt cx="390475" cy="183289"/>
            </a:xfrm>
          </p:grpSpPr>
          <p:sp>
            <p:nvSpPr>
              <p:cNvPr id="8819" name="Google Shape;8819;p107"/>
              <p:cNvSpPr/>
              <p:nvPr/>
            </p:nvSpPr>
            <p:spPr>
              <a:xfrm>
                <a:off x="4370181" y="3120129"/>
                <a:ext cx="206994" cy="103497"/>
              </a:xfrm>
              <a:custGeom>
                <a:avLst/>
                <a:gdLst/>
                <a:ahLst/>
                <a:cxnLst/>
                <a:rect l="l" t="t" r="r" b="b"/>
                <a:pathLst>
                  <a:path w="42856" h="21428" fill="none" extrusionOk="0">
                    <a:moveTo>
                      <a:pt x="1" y="21428"/>
                    </a:moveTo>
                    <a:lnTo>
                      <a:pt x="42855" y="21428"/>
                    </a:lnTo>
                    <a:lnTo>
                      <a:pt x="42855" y="1"/>
                    </a:lnTo>
                    <a:lnTo>
                      <a:pt x="1" y="1"/>
                    </a:lnTo>
                  </a:path>
                </a:pathLst>
              </a:custGeom>
              <a:noFill/>
              <a:ln w="9525" cap="flat" cmpd="sng">
                <a:solidFill>
                  <a:srgbClr val="E3E9ED"/>
                </a:solidFill>
                <a:prstDash val="solid"/>
                <a:miter lim="163566"/>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820" name="Google Shape;8820;p107"/>
              <p:cNvSpPr/>
              <p:nvPr/>
            </p:nvSpPr>
            <p:spPr>
              <a:xfrm>
                <a:off x="4186700" y="3040337"/>
                <a:ext cx="184081" cy="183289"/>
              </a:xfrm>
              <a:custGeom>
                <a:avLst/>
                <a:gdLst/>
                <a:ahLst/>
                <a:cxnLst/>
                <a:rect l="l" t="t" r="r" b="b"/>
                <a:pathLst>
                  <a:path w="38112" h="37948" fill="none" extrusionOk="0">
                    <a:moveTo>
                      <a:pt x="38112" y="16521"/>
                    </a:moveTo>
                    <a:cubicBezTo>
                      <a:pt x="28789" y="16521"/>
                      <a:pt x="21264" y="9160"/>
                      <a:pt x="21264" y="1"/>
                    </a:cubicBezTo>
                    <a:lnTo>
                      <a:pt x="1" y="1"/>
                    </a:lnTo>
                    <a:cubicBezTo>
                      <a:pt x="1" y="11614"/>
                      <a:pt x="5399" y="22573"/>
                      <a:pt x="14558" y="29770"/>
                    </a:cubicBezTo>
                    <a:cubicBezTo>
                      <a:pt x="21264" y="35004"/>
                      <a:pt x="29606" y="37948"/>
                      <a:pt x="38112" y="37948"/>
                    </a:cubicBezTo>
                    <a:lnTo>
                      <a:pt x="38112" y="37948"/>
                    </a:lnTo>
                  </a:path>
                </a:pathLst>
              </a:custGeom>
              <a:noFill/>
              <a:ln w="9525" cap="flat" cmpd="sng">
                <a:solidFill>
                  <a:srgbClr val="E3E9ED"/>
                </a:solidFill>
                <a:prstDash val="solid"/>
                <a:miter lim="163566"/>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8821" name="Google Shape;8821;p107"/>
            <p:cNvGrpSpPr/>
            <p:nvPr/>
          </p:nvGrpSpPr>
          <p:grpSpPr>
            <a:xfrm>
              <a:off x="4073727" y="3040337"/>
              <a:ext cx="697794" cy="296263"/>
              <a:chOff x="4073727" y="3040337"/>
              <a:chExt cx="697794" cy="296263"/>
            </a:xfrm>
          </p:grpSpPr>
          <p:sp>
            <p:nvSpPr>
              <p:cNvPr id="8822" name="Google Shape;8822;p107"/>
              <p:cNvSpPr/>
              <p:nvPr/>
            </p:nvSpPr>
            <p:spPr>
              <a:xfrm>
                <a:off x="4370181" y="3223621"/>
                <a:ext cx="401339" cy="112979"/>
              </a:xfrm>
              <a:custGeom>
                <a:avLst/>
                <a:gdLst/>
                <a:ahLst/>
                <a:cxnLst/>
                <a:rect l="l" t="t" r="r" b="b"/>
                <a:pathLst>
                  <a:path w="83093" h="23391" fill="none" extrusionOk="0">
                    <a:moveTo>
                      <a:pt x="1" y="23391"/>
                    </a:moveTo>
                    <a:lnTo>
                      <a:pt x="83092" y="23391"/>
                    </a:lnTo>
                    <a:lnTo>
                      <a:pt x="83092" y="1"/>
                    </a:lnTo>
                    <a:lnTo>
                      <a:pt x="1" y="1"/>
                    </a:lnTo>
                  </a:path>
                </a:pathLst>
              </a:custGeom>
              <a:noFill/>
              <a:ln w="9525" cap="flat" cmpd="sng">
                <a:solidFill>
                  <a:srgbClr val="CFD9E0"/>
                </a:solidFill>
                <a:prstDash val="solid"/>
                <a:miter lim="163566"/>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823" name="Google Shape;8823;p107"/>
              <p:cNvSpPr/>
              <p:nvPr/>
            </p:nvSpPr>
            <p:spPr>
              <a:xfrm>
                <a:off x="4073727" y="3040337"/>
                <a:ext cx="297055" cy="296263"/>
              </a:xfrm>
              <a:custGeom>
                <a:avLst/>
                <a:gdLst/>
                <a:ahLst/>
                <a:cxnLst/>
                <a:rect l="l" t="t" r="r" b="b"/>
                <a:pathLst>
                  <a:path w="61502" h="61338" fill="none" extrusionOk="0">
                    <a:moveTo>
                      <a:pt x="61502" y="37948"/>
                    </a:moveTo>
                    <a:lnTo>
                      <a:pt x="61502" y="37948"/>
                    </a:lnTo>
                    <a:cubicBezTo>
                      <a:pt x="52833" y="37948"/>
                      <a:pt x="44654" y="35004"/>
                      <a:pt x="37948" y="29770"/>
                    </a:cubicBezTo>
                    <a:cubicBezTo>
                      <a:pt x="28789" y="22573"/>
                      <a:pt x="23391" y="11614"/>
                      <a:pt x="23227" y="1"/>
                    </a:cubicBezTo>
                    <a:lnTo>
                      <a:pt x="1" y="1"/>
                    </a:lnTo>
                    <a:cubicBezTo>
                      <a:pt x="1" y="33859"/>
                      <a:pt x="27480" y="61338"/>
                      <a:pt x="61502" y="61338"/>
                    </a:cubicBezTo>
                  </a:path>
                </a:pathLst>
              </a:custGeom>
              <a:noFill/>
              <a:ln w="9525" cap="flat" cmpd="sng">
                <a:solidFill>
                  <a:srgbClr val="CFD9E0"/>
                </a:solidFill>
                <a:prstDash val="solid"/>
                <a:miter lim="163566"/>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8824" name="Google Shape;8824;p107"/>
            <p:cNvGrpSpPr/>
            <p:nvPr/>
          </p:nvGrpSpPr>
          <p:grpSpPr>
            <a:xfrm>
              <a:off x="3862800" y="3038525"/>
              <a:ext cx="1329006" cy="510698"/>
              <a:chOff x="3862800" y="3038525"/>
              <a:chExt cx="1329006" cy="510698"/>
            </a:xfrm>
          </p:grpSpPr>
          <p:sp>
            <p:nvSpPr>
              <p:cNvPr id="8825" name="Google Shape;8825;p107"/>
              <p:cNvSpPr/>
              <p:nvPr/>
            </p:nvSpPr>
            <p:spPr>
              <a:xfrm>
                <a:off x="4370175" y="3441875"/>
                <a:ext cx="821631" cy="107348"/>
              </a:xfrm>
              <a:custGeom>
                <a:avLst/>
                <a:gdLst/>
                <a:ahLst/>
                <a:cxnLst/>
                <a:rect l="l" t="t" r="r" b="b"/>
                <a:pathLst>
                  <a:path w="170110" h="21919" fill="none" extrusionOk="0">
                    <a:moveTo>
                      <a:pt x="1" y="21918"/>
                    </a:moveTo>
                    <a:lnTo>
                      <a:pt x="170110" y="21918"/>
                    </a:lnTo>
                    <a:lnTo>
                      <a:pt x="170110" y="0"/>
                    </a:lnTo>
                    <a:lnTo>
                      <a:pt x="1" y="0"/>
                    </a:lnTo>
                  </a:path>
                </a:pathLst>
              </a:custGeom>
              <a:noFill/>
              <a:ln w="9525" cap="flat" cmpd="sng">
                <a:solidFill>
                  <a:srgbClr val="445D73"/>
                </a:solidFill>
                <a:prstDash val="solid"/>
                <a:miter lim="163566"/>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826" name="Google Shape;8826;p107"/>
              <p:cNvSpPr/>
              <p:nvPr/>
            </p:nvSpPr>
            <p:spPr>
              <a:xfrm>
                <a:off x="3862800" y="3038525"/>
                <a:ext cx="507990" cy="510620"/>
              </a:xfrm>
              <a:custGeom>
                <a:avLst/>
                <a:gdLst/>
                <a:ahLst/>
                <a:cxnLst/>
                <a:rect l="l" t="t" r="r" b="b"/>
                <a:pathLst>
                  <a:path w="105174" h="105500" fill="none" extrusionOk="0">
                    <a:moveTo>
                      <a:pt x="105174" y="83418"/>
                    </a:moveTo>
                    <a:cubicBezTo>
                      <a:pt x="59539" y="83418"/>
                      <a:pt x="22246" y="46780"/>
                      <a:pt x="21591" y="1145"/>
                    </a:cubicBezTo>
                    <a:lnTo>
                      <a:pt x="21591" y="0"/>
                    </a:lnTo>
                    <a:lnTo>
                      <a:pt x="1" y="0"/>
                    </a:lnTo>
                    <a:cubicBezTo>
                      <a:pt x="1" y="58229"/>
                      <a:pt x="46944" y="105336"/>
                      <a:pt x="105174" y="105500"/>
                    </a:cubicBezTo>
                  </a:path>
                </a:pathLst>
              </a:custGeom>
              <a:noFill/>
              <a:ln w="9525" cap="flat" cmpd="sng">
                <a:solidFill>
                  <a:srgbClr val="445D73"/>
                </a:solidFill>
                <a:prstDash val="solid"/>
                <a:miter lim="163566"/>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grpSp>
        <p:nvGrpSpPr>
          <p:cNvPr id="8827" name="Google Shape;8827;p107"/>
          <p:cNvGrpSpPr/>
          <p:nvPr/>
        </p:nvGrpSpPr>
        <p:grpSpPr>
          <a:xfrm>
            <a:off x="957534" y="1588588"/>
            <a:ext cx="1177607" cy="1033568"/>
            <a:chOff x="649648" y="271400"/>
            <a:chExt cx="6215377" cy="5455143"/>
          </a:xfrm>
        </p:grpSpPr>
        <p:sp>
          <p:nvSpPr>
            <p:cNvPr id="8828" name="Google Shape;8828;p107"/>
            <p:cNvSpPr/>
            <p:nvPr/>
          </p:nvSpPr>
          <p:spPr>
            <a:xfrm>
              <a:off x="2641907" y="3717593"/>
              <a:ext cx="3573900" cy="2008950"/>
            </a:xfrm>
            <a:custGeom>
              <a:avLst/>
              <a:gdLst/>
              <a:ahLst/>
              <a:cxnLst/>
              <a:rect l="l" t="t" r="r" b="b"/>
              <a:pathLst>
                <a:path w="142956" h="80358" fill="none" extrusionOk="0">
                  <a:moveTo>
                    <a:pt x="0" y="50612"/>
                  </a:moveTo>
                  <a:cubicBezTo>
                    <a:pt x="53053" y="80357"/>
                    <a:pt x="120314" y="56605"/>
                    <a:pt x="142956" y="0"/>
                  </a:cubicBezTo>
                </a:path>
              </a:pathLst>
            </a:custGeom>
            <a:noFill/>
            <a:ln w="9525" cap="flat" cmpd="sng">
              <a:solidFill>
                <a:srgbClr val="325D79"/>
              </a:solidFill>
              <a:prstDash val="solid"/>
              <a:miter lim="221980"/>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829" name="Google Shape;8829;p107"/>
            <p:cNvSpPr/>
            <p:nvPr/>
          </p:nvSpPr>
          <p:spPr>
            <a:xfrm>
              <a:off x="1359875" y="2446825"/>
              <a:ext cx="338550" cy="1598275"/>
            </a:xfrm>
            <a:custGeom>
              <a:avLst/>
              <a:gdLst/>
              <a:ahLst/>
              <a:cxnLst/>
              <a:rect l="l" t="t" r="r" b="b"/>
              <a:pathLst>
                <a:path w="13542" h="63931" fill="none" extrusionOk="0">
                  <a:moveTo>
                    <a:pt x="888" y="0"/>
                  </a:moveTo>
                  <a:cubicBezTo>
                    <a:pt x="223" y="4440"/>
                    <a:pt x="1" y="9102"/>
                    <a:pt x="1" y="13763"/>
                  </a:cubicBezTo>
                  <a:cubicBezTo>
                    <a:pt x="1" y="31300"/>
                    <a:pt x="4662" y="48614"/>
                    <a:pt x="13541" y="63931"/>
                  </a:cubicBezTo>
                </a:path>
              </a:pathLst>
            </a:custGeom>
            <a:noFill/>
            <a:ln w="9525" cap="flat" cmpd="sng">
              <a:solidFill>
                <a:srgbClr val="325D79"/>
              </a:solidFill>
              <a:prstDash val="solid"/>
              <a:miter lim="221980"/>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830" name="Google Shape;8830;p107"/>
            <p:cNvSpPr/>
            <p:nvPr/>
          </p:nvSpPr>
          <p:spPr>
            <a:xfrm>
              <a:off x="1709500" y="271400"/>
              <a:ext cx="5149975" cy="2519525"/>
            </a:xfrm>
            <a:custGeom>
              <a:avLst/>
              <a:gdLst/>
              <a:ahLst/>
              <a:cxnLst/>
              <a:rect l="l" t="t" r="r" b="b"/>
              <a:pathLst>
                <a:path w="205999" h="100781" fill="none" extrusionOk="0">
                  <a:moveTo>
                    <a:pt x="187352" y="100780"/>
                  </a:moveTo>
                  <a:cubicBezTo>
                    <a:pt x="187352" y="77694"/>
                    <a:pt x="179361" y="55496"/>
                    <a:pt x="165154" y="37738"/>
                  </a:cubicBezTo>
                  <a:lnTo>
                    <a:pt x="187352" y="37738"/>
                  </a:lnTo>
                  <a:cubicBezTo>
                    <a:pt x="197563" y="37738"/>
                    <a:pt x="205998" y="29302"/>
                    <a:pt x="205998" y="18869"/>
                  </a:cubicBezTo>
                  <a:cubicBezTo>
                    <a:pt x="205998" y="8436"/>
                    <a:pt x="197563" y="1"/>
                    <a:pt x="187352" y="1"/>
                  </a:cubicBezTo>
                  <a:lnTo>
                    <a:pt x="91012" y="1"/>
                  </a:lnTo>
                  <a:lnTo>
                    <a:pt x="89681" y="1"/>
                  </a:lnTo>
                  <a:lnTo>
                    <a:pt x="86573" y="1"/>
                  </a:lnTo>
                  <a:cubicBezTo>
                    <a:pt x="51056" y="1"/>
                    <a:pt x="17981" y="18869"/>
                    <a:pt x="0" y="49725"/>
                  </a:cubicBezTo>
                </a:path>
              </a:pathLst>
            </a:custGeom>
            <a:noFill/>
            <a:ln w="9525" cap="flat" cmpd="sng">
              <a:solidFill>
                <a:srgbClr val="325D79"/>
              </a:solidFill>
              <a:prstDash val="solid"/>
              <a:miter lim="221980"/>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831" name="Google Shape;8831;p107"/>
            <p:cNvSpPr/>
            <p:nvPr/>
          </p:nvSpPr>
          <p:spPr>
            <a:xfrm>
              <a:off x="5965975" y="415700"/>
              <a:ext cx="754750" cy="754750"/>
            </a:xfrm>
            <a:custGeom>
              <a:avLst/>
              <a:gdLst/>
              <a:ahLst/>
              <a:cxnLst/>
              <a:rect l="l" t="t" r="r" b="b"/>
              <a:pathLst>
                <a:path w="30190" h="30190" fill="none" extrusionOk="0">
                  <a:moveTo>
                    <a:pt x="17315" y="0"/>
                  </a:moveTo>
                  <a:cubicBezTo>
                    <a:pt x="5772" y="0"/>
                    <a:pt x="0" y="13763"/>
                    <a:pt x="7992" y="21977"/>
                  </a:cubicBezTo>
                  <a:cubicBezTo>
                    <a:pt x="16205" y="30190"/>
                    <a:pt x="30190" y="24418"/>
                    <a:pt x="30190" y="12875"/>
                  </a:cubicBezTo>
                  <a:cubicBezTo>
                    <a:pt x="30190" y="5772"/>
                    <a:pt x="24418" y="0"/>
                    <a:pt x="17315" y="0"/>
                  </a:cubicBezTo>
                  <a:close/>
                </a:path>
              </a:pathLst>
            </a:custGeom>
            <a:noFill/>
            <a:ln w="9525" cap="flat" cmpd="sng">
              <a:solidFill>
                <a:srgbClr val="E3E9ED"/>
              </a:solidFill>
              <a:prstDash val="solid"/>
              <a:miter lim="221980"/>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832" name="Google Shape;8832;p107"/>
            <p:cNvSpPr/>
            <p:nvPr/>
          </p:nvSpPr>
          <p:spPr>
            <a:xfrm>
              <a:off x="699475" y="2457925"/>
              <a:ext cx="5183275" cy="2647150"/>
            </a:xfrm>
            <a:custGeom>
              <a:avLst/>
              <a:gdLst/>
              <a:ahLst/>
              <a:cxnLst/>
              <a:rect l="l" t="t" r="r" b="b"/>
              <a:pathLst>
                <a:path w="207331" h="105886" fill="none" extrusionOk="0">
                  <a:moveTo>
                    <a:pt x="39513" y="0"/>
                  </a:moveTo>
                  <a:cubicBezTo>
                    <a:pt x="38847" y="4440"/>
                    <a:pt x="38404" y="8880"/>
                    <a:pt x="38626" y="13319"/>
                  </a:cubicBezTo>
                  <a:cubicBezTo>
                    <a:pt x="38404" y="31300"/>
                    <a:pt x="43953" y="48836"/>
                    <a:pt x="54164" y="63487"/>
                  </a:cubicBezTo>
                  <a:lnTo>
                    <a:pt x="18869" y="63487"/>
                  </a:lnTo>
                  <a:cubicBezTo>
                    <a:pt x="8436" y="63487"/>
                    <a:pt x="1" y="71922"/>
                    <a:pt x="1" y="82355"/>
                  </a:cubicBezTo>
                  <a:cubicBezTo>
                    <a:pt x="1" y="92566"/>
                    <a:pt x="8436" y="101002"/>
                    <a:pt x="18869" y="101002"/>
                  </a:cubicBezTo>
                  <a:lnTo>
                    <a:pt x="116097" y="101002"/>
                  </a:lnTo>
                  <a:cubicBezTo>
                    <a:pt x="154277" y="105885"/>
                    <a:pt x="191126" y="85463"/>
                    <a:pt x="207331" y="50390"/>
                  </a:cubicBezTo>
                </a:path>
              </a:pathLst>
            </a:custGeom>
            <a:noFill/>
            <a:ln w="9525" cap="flat" cmpd="sng">
              <a:solidFill>
                <a:srgbClr val="667E92"/>
              </a:solidFill>
              <a:prstDash val="solid"/>
              <a:miter lim="221980"/>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833" name="Google Shape;8833;p107"/>
            <p:cNvSpPr/>
            <p:nvPr/>
          </p:nvSpPr>
          <p:spPr>
            <a:xfrm>
              <a:off x="2075775" y="387950"/>
              <a:ext cx="4012325" cy="2402975"/>
            </a:xfrm>
            <a:custGeom>
              <a:avLst/>
              <a:gdLst/>
              <a:ahLst/>
              <a:cxnLst/>
              <a:rect l="l" t="t" r="r" b="b"/>
              <a:pathLst>
                <a:path w="160493" h="96119" fill="none" extrusionOk="0">
                  <a:moveTo>
                    <a:pt x="160492" y="96118"/>
                  </a:moveTo>
                  <a:cubicBezTo>
                    <a:pt x="160492" y="57494"/>
                    <a:pt x="135630" y="23530"/>
                    <a:pt x="99003" y="11765"/>
                  </a:cubicBezTo>
                  <a:cubicBezTo>
                    <a:pt x="62377" y="0"/>
                    <a:pt x="22420" y="13097"/>
                    <a:pt x="0" y="44397"/>
                  </a:cubicBezTo>
                </a:path>
              </a:pathLst>
            </a:custGeom>
            <a:noFill/>
            <a:ln w="9525" cap="flat" cmpd="sng">
              <a:solidFill>
                <a:srgbClr val="667E92"/>
              </a:solidFill>
              <a:prstDash val="solid"/>
              <a:miter lim="221980"/>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834" name="Google Shape;8834;p107"/>
            <p:cNvSpPr/>
            <p:nvPr/>
          </p:nvSpPr>
          <p:spPr>
            <a:xfrm>
              <a:off x="649648" y="670971"/>
              <a:ext cx="5183118" cy="4298214"/>
            </a:xfrm>
            <a:custGeom>
              <a:avLst/>
              <a:gdLst/>
              <a:ahLst/>
              <a:cxnLst/>
              <a:rect l="l" t="t" r="r" b="b"/>
              <a:pathLst>
                <a:path w="205333" h="170260" fill="none" extrusionOk="0">
                  <a:moveTo>
                    <a:pt x="205333" y="84575"/>
                  </a:moveTo>
                  <a:cubicBezTo>
                    <a:pt x="205333" y="51944"/>
                    <a:pt x="185133" y="22865"/>
                    <a:pt x="154721" y="11322"/>
                  </a:cubicBezTo>
                  <a:cubicBezTo>
                    <a:pt x="124088" y="1"/>
                    <a:pt x="89681" y="8880"/>
                    <a:pt x="68371" y="33520"/>
                  </a:cubicBezTo>
                  <a:lnTo>
                    <a:pt x="18869" y="33520"/>
                  </a:lnTo>
                  <a:cubicBezTo>
                    <a:pt x="8436" y="33520"/>
                    <a:pt x="1" y="41955"/>
                    <a:pt x="1" y="52388"/>
                  </a:cubicBezTo>
                  <a:cubicBezTo>
                    <a:pt x="1" y="62599"/>
                    <a:pt x="8436" y="71034"/>
                    <a:pt x="18869" y="71034"/>
                  </a:cubicBezTo>
                  <a:lnTo>
                    <a:pt x="50612" y="71034"/>
                  </a:lnTo>
                  <a:cubicBezTo>
                    <a:pt x="44175" y="108549"/>
                    <a:pt x="65929" y="145176"/>
                    <a:pt x="101668" y="157607"/>
                  </a:cubicBezTo>
                  <a:cubicBezTo>
                    <a:pt x="137629" y="170260"/>
                    <a:pt x="177363" y="155165"/>
                    <a:pt x="195788" y="121868"/>
                  </a:cubicBezTo>
                </a:path>
              </a:pathLst>
            </a:custGeom>
            <a:noFill/>
            <a:ln w="9525" cap="flat" cmpd="sng">
              <a:solidFill>
                <a:srgbClr val="445D73"/>
              </a:solidFill>
              <a:prstDash val="solid"/>
              <a:miter lim="221980"/>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835" name="Google Shape;8835;p107"/>
            <p:cNvSpPr/>
            <p:nvPr/>
          </p:nvSpPr>
          <p:spPr>
            <a:xfrm>
              <a:off x="1731700" y="1059450"/>
              <a:ext cx="5133325" cy="3762600"/>
            </a:xfrm>
            <a:custGeom>
              <a:avLst/>
              <a:gdLst/>
              <a:ahLst/>
              <a:cxnLst/>
              <a:rect l="l" t="t" r="r" b="b"/>
              <a:pathLst>
                <a:path w="205333" h="150504" fill="none" extrusionOk="0">
                  <a:moveTo>
                    <a:pt x="85685" y="0"/>
                  </a:moveTo>
                  <a:cubicBezTo>
                    <a:pt x="33297" y="222"/>
                    <a:pt x="0" y="56383"/>
                    <a:pt x="25306" y="102333"/>
                  </a:cubicBezTo>
                  <a:cubicBezTo>
                    <a:pt x="50390" y="148283"/>
                    <a:pt x="115652" y="150503"/>
                    <a:pt x="144066" y="106551"/>
                  </a:cubicBezTo>
                  <a:lnTo>
                    <a:pt x="186464" y="106551"/>
                  </a:lnTo>
                  <a:cubicBezTo>
                    <a:pt x="196897" y="106551"/>
                    <a:pt x="205332" y="98116"/>
                    <a:pt x="205332" y="87683"/>
                  </a:cubicBezTo>
                  <a:cubicBezTo>
                    <a:pt x="205332" y="77250"/>
                    <a:pt x="196897" y="68814"/>
                    <a:pt x="186464" y="68814"/>
                  </a:cubicBezTo>
                  <a:lnTo>
                    <a:pt x="154943" y="68814"/>
                  </a:lnTo>
                  <a:cubicBezTo>
                    <a:pt x="154721" y="30856"/>
                    <a:pt x="123865" y="0"/>
                    <a:pt x="85685" y="0"/>
                  </a:cubicBezTo>
                  <a:close/>
                </a:path>
              </a:pathLst>
            </a:custGeom>
            <a:noFill/>
            <a:ln w="9525" cap="flat" cmpd="sng">
              <a:solidFill>
                <a:srgbClr val="869FB1"/>
              </a:solidFill>
              <a:prstDash val="solid"/>
              <a:miter lim="221980"/>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836" name="Google Shape;8836;p107"/>
            <p:cNvSpPr/>
            <p:nvPr/>
          </p:nvSpPr>
          <p:spPr>
            <a:xfrm>
              <a:off x="5965975" y="2912975"/>
              <a:ext cx="754750" cy="754775"/>
            </a:xfrm>
            <a:custGeom>
              <a:avLst/>
              <a:gdLst/>
              <a:ahLst/>
              <a:cxnLst/>
              <a:rect l="l" t="t" r="r" b="b"/>
              <a:pathLst>
                <a:path w="30190" h="30191" fill="none" extrusionOk="0">
                  <a:moveTo>
                    <a:pt x="17315" y="1"/>
                  </a:moveTo>
                  <a:cubicBezTo>
                    <a:pt x="5772" y="1"/>
                    <a:pt x="0" y="13764"/>
                    <a:pt x="7992" y="21977"/>
                  </a:cubicBezTo>
                  <a:cubicBezTo>
                    <a:pt x="16205" y="30190"/>
                    <a:pt x="30190" y="24419"/>
                    <a:pt x="30190" y="12876"/>
                  </a:cubicBezTo>
                  <a:cubicBezTo>
                    <a:pt x="30190" y="5772"/>
                    <a:pt x="24418" y="1"/>
                    <a:pt x="17315" y="1"/>
                  </a:cubicBezTo>
                  <a:close/>
                </a:path>
              </a:pathLst>
            </a:custGeom>
            <a:noFill/>
            <a:ln w="9525" cap="flat" cmpd="sng">
              <a:solidFill>
                <a:srgbClr val="E3E9ED"/>
              </a:solidFill>
              <a:prstDash val="solid"/>
              <a:miter lim="221980"/>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837" name="Google Shape;8837;p107"/>
            <p:cNvSpPr/>
            <p:nvPr/>
          </p:nvSpPr>
          <p:spPr>
            <a:xfrm>
              <a:off x="2453125" y="1464550"/>
              <a:ext cx="2874675" cy="2785900"/>
            </a:xfrm>
            <a:custGeom>
              <a:avLst/>
              <a:gdLst/>
              <a:ahLst/>
              <a:cxnLst/>
              <a:rect l="l" t="t" r="r" b="b"/>
              <a:pathLst>
                <a:path w="114987" h="111436" fill="none" extrusionOk="0">
                  <a:moveTo>
                    <a:pt x="56828" y="1"/>
                  </a:moveTo>
                  <a:cubicBezTo>
                    <a:pt x="31744" y="1"/>
                    <a:pt x="9990" y="17759"/>
                    <a:pt x="4884" y="42621"/>
                  </a:cubicBezTo>
                  <a:cubicBezTo>
                    <a:pt x="1" y="67483"/>
                    <a:pt x="13320" y="92123"/>
                    <a:pt x="36628" y="101890"/>
                  </a:cubicBezTo>
                  <a:cubicBezTo>
                    <a:pt x="59936" y="111435"/>
                    <a:pt x="87017" y="103444"/>
                    <a:pt x="101002" y="82356"/>
                  </a:cubicBezTo>
                  <a:cubicBezTo>
                    <a:pt x="114987" y="61268"/>
                    <a:pt x="112323" y="33298"/>
                    <a:pt x="94343" y="15539"/>
                  </a:cubicBezTo>
                  <a:cubicBezTo>
                    <a:pt x="84353" y="5550"/>
                    <a:pt x="71035" y="1"/>
                    <a:pt x="56828" y="1"/>
                  </a:cubicBezTo>
                  <a:close/>
                </a:path>
              </a:pathLst>
            </a:custGeom>
            <a:noFill/>
            <a:ln w="9525" cap="flat" cmpd="sng">
              <a:solidFill>
                <a:srgbClr val="E3E9ED"/>
              </a:solidFill>
              <a:prstDash val="solid"/>
              <a:miter lim="221980"/>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838" name="Google Shape;8838;p107"/>
            <p:cNvSpPr/>
            <p:nvPr/>
          </p:nvSpPr>
          <p:spPr>
            <a:xfrm>
              <a:off x="732775" y="4183825"/>
              <a:ext cx="754775" cy="760300"/>
            </a:xfrm>
            <a:custGeom>
              <a:avLst/>
              <a:gdLst/>
              <a:ahLst/>
              <a:cxnLst/>
              <a:rect l="l" t="t" r="r" b="b"/>
              <a:pathLst>
                <a:path w="30191" h="30412" fill="none" extrusionOk="0">
                  <a:moveTo>
                    <a:pt x="17315" y="0"/>
                  </a:moveTo>
                  <a:cubicBezTo>
                    <a:pt x="5772" y="0"/>
                    <a:pt x="1" y="13985"/>
                    <a:pt x="7992" y="22199"/>
                  </a:cubicBezTo>
                  <a:cubicBezTo>
                    <a:pt x="16205" y="30412"/>
                    <a:pt x="30190" y="24640"/>
                    <a:pt x="30190" y="13097"/>
                  </a:cubicBezTo>
                  <a:cubicBezTo>
                    <a:pt x="30190" y="5772"/>
                    <a:pt x="24419" y="0"/>
                    <a:pt x="17315" y="0"/>
                  </a:cubicBezTo>
                  <a:close/>
                </a:path>
              </a:pathLst>
            </a:custGeom>
            <a:noFill/>
            <a:ln w="9525" cap="flat" cmpd="sng">
              <a:solidFill>
                <a:srgbClr val="E3E9ED"/>
              </a:solidFill>
              <a:prstDash val="solid"/>
              <a:miter lim="221980"/>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839" name="Google Shape;8839;p107"/>
            <p:cNvSpPr/>
            <p:nvPr/>
          </p:nvSpPr>
          <p:spPr>
            <a:xfrm>
              <a:off x="732775" y="1669900"/>
              <a:ext cx="754775" cy="754750"/>
            </a:xfrm>
            <a:custGeom>
              <a:avLst/>
              <a:gdLst/>
              <a:ahLst/>
              <a:cxnLst/>
              <a:rect l="l" t="t" r="r" b="b"/>
              <a:pathLst>
                <a:path w="30191" h="30190" fill="none" extrusionOk="0">
                  <a:moveTo>
                    <a:pt x="17315" y="0"/>
                  </a:moveTo>
                  <a:cubicBezTo>
                    <a:pt x="5772" y="0"/>
                    <a:pt x="1" y="13985"/>
                    <a:pt x="8214" y="22198"/>
                  </a:cubicBezTo>
                  <a:cubicBezTo>
                    <a:pt x="16205" y="30189"/>
                    <a:pt x="30190" y="24418"/>
                    <a:pt x="30190" y="12875"/>
                  </a:cubicBezTo>
                  <a:cubicBezTo>
                    <a:pt x="30190" y="5772"/>
                    <a:pt x="24419" y="0"/>
                    <a:pt x="17315" y="0"/>
                  </a:cubicBezTo>
                  <a:close/>
                </a:path>
              </a:pathLst>
            </a:custGeom>
            <a:noFill/>
            <a:ln w="9525" cap="flat" cmpd="sng">
              <a:solidFill>
                <a:srgbClr val="E3E9ED"/>
              </a:solidFill>
              <a:prstDash val="solid"/>
              <a:miter lim="221980"/>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8840" name="Google Shape;8840;p107"/>
          <p:cNvGrpSpPr/>
          <p:nvPr/>
        </p:nvGrpSpPr>
        <p:grpSpPr>
          <a:xfrm>
            <a:off x="3101936" y="1588589"/>
            <a:ext cx="1023605" cy="1087319"/>
            <a:chOff x="2499700" y="1135950"/>
            <a:chExt cx="732402" cy="777990"/>
          </a:xfrm>
        </p:grpSpPr>
        <p:grpSp>
          <p:nvGrpSpPr>
            <p:cNvPr id="8841" name="Google Shape;8841;p107"/>
            <p:cNvGrpSpPr/>
            <p:nvPr/>
          </p:nvGrpSpPr>
          <p:grpSpPr>
            <a:xfrm>
              <a:off x="2499700" y="1135950"/>
              <a:ext cx="732402" cy="694705"/>
              <a:chOff x="2499700" y="1135950"/>
              <a:chExt cx="732402" cy="694705"/>
            </a:xfrm>
          </p:grpSpPr>
          <p:sp>
            <p:nvSpPr>
              <p:cNvPr id="8842" name="Google Shape;8842;p107"/>
              <p:cNvSpPr/>
              <p:nvPr/>
            </p:nvSpPr>
            <p:spPr>
              <a:xfrm>
                <a:off x="2721907" y="1135950"/>
                <a:ext cx="288719" cy="199571"/>
              </a:xfrm>
              <a:custGeom>
                <a:avLst/>
                <a:gdLst/>
                <a:ahLst/>
                <a:cxnLst/>
                <a:rect l="l" t="t" r="r" b="b"/>
                <a:pathLst>
                  <a:path w="81559" h="56376" extrusionOk="0">
                    <a:moveTo>
                      <a:pt x="40780" y="1"/>
                    </a:moveTo>
                    <a:cubicBezTo>
                      <a:pt x="38862" y="1"/>
                      <a:pt x="36944" y="556"/>
                      <a:pt x="35329" y="1666"/>
                    </a:cubicBezTo>
                    <a:cubicBezTo>
                      <a:pt x="24427" y="9338"/>
                      <a:pt x="1211" y="28718"/>
                      <a:pt x="0" y="51329"/>
                    </a:cubicBezTo>
                    <a:lnTo>
                      <a:pt x="1211" y="51732"/>
                    </a:lnTo>
                    <a:cubicBezTo>
                      <a:pt x="4845" y="52944"/>
                      <a:pt x="8479" y="54357"/>
                      <a:pt x="12113" y="56174"/>
                    </a:cubicBezTo>
                    <a:lnTo>
                      <a:pt x="12113" y="53145"/>
                    </a:lnTo>
                    <a:cubicBezTo>
                      <a:pt x="12113" y="36591"/>
                      <a:pt x="29071" y="22662"/>
                      <a:pt x="36944" y="17009"/>
                    </a:cubicBezTo>
                    <a:cubicBezTo>
                      <a:pt x="38155" y="16202"/>
                      <a:pt x="39467" y="15798"/>
                      <a:pt x="40780" y="15798"/>
                    </a:cubicBezTo>
                    <a:cubicBezTo>
                      <a:pt x="42092" y="15798"/>
                      <a:pt x="43404" y="16202"/>
                      <a:pt x="44615" y="17009"/>
                    </a:cubicBezTo>
                    <a:cubicBezTo>
                      <a:pt x="52489" y="22662"/>
                      <a:pt x="69446" y="36591"/>
                      <a:pt x="69446" y="53145"/>
                    </a:cubicBezTo>
                    <a:lnTo>
                      <a:pt x="69446" y="56376"/>
                    </a:lnTo>
                    <a:cubicBezTo>
                      <a:pt x="72878" y="54559"/>
                      <a:pt x="76512" y="53145"/>
                      <a:pt x="80146" y="51934"/>
                    </a:cubicBezTo>
                    <a:lnTo>
                      <a:pt x="81559" y="51530"/>
                    </a:lnTo>
                    <a:cubicBezTo>
                      <a:pt x="80751" y="28920"/>
                      <a:pt x="57132" y="9540"/>
                      <a:pt x="46230" y="1666"/>
                    </a:cubicBezTo>
                    <a:cubicBezTo>
                      <a:pt x="44615" y="556"/>
                      <a:pt x="42697" y="1"/>
                      <a:pt x="40780" y="1"/>
                    </a:cubicBezTo>
                    <a:close/>
                  </a:path>
                </a:pathLst>
              </a:custGeom>
              <a:noFill/>
              <a:ln w="9525" cap="flat" cmpd="sng">
                <a:solidFill>
                  <a:srgbClr val="CFD9E0"/>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843" name="Google Shape;8843;p107"/>
              <p:cNvSpPr/>
              <p:nvPr/>
            </p:nvSpPr>
            <p:spPr>
              <a:xfrm>
                <a:off x="2499700" y="1313180"/>
                <a:ext cx="225119" cy="278853"/>
              </a:xfrm>
              <a:custGeom>
                <a:avLst/>
                <a:gdLst/>
                <a:ahLst/>
                <a:cxnLst/>
                <a:rect l="l" t="t" r="r" b="b"/>
                <a:pathLst>
                  <a:path w="63593" h="78772" extrusionOk="0">
                    <a:moveTo>
                      <a:pt x="53819" y="1"/>
                    </a:moveTo>
                    <a:cubicBezTo>
                      <a:pt x="53376" y="1"/>
                      <a:pt x="52933" y="13"/>
                      <a:pt x="52489" y="39"/>
                    </a:cubicBezTo>
                    <a:cubicBezTo>
                      <a:pt x="33311" y="39"/>
                      <a:pt x="13527" y="12758"/>
                      <a:pt x="4442" y="19420"/>
                    </a:cubicBezTo>
                    <a:cubicBezTo>
                      <a:pt x="1212" y="21842"/>
                      <a:pt x="1" y="26082"/>
                      <a:pt x="1212" y="29917"/>
                    </a:cubicBezTo>
                    <a:cubicBezTo>
                      <a:pt x="5048" y="42434"/>
                      <a:pt x="16353" y="70697"/>
                      <a:pt x="37550" y="78772"/>
                    </a:cubicBezTo>
                    <a:cubicBezTo>
                      <a:pt x="37752" y="78368"/>
                      <a:pt x="37954" y="77964"/>
                      <a:pt x="38156" y="77561"/>
                    </a:cubicBezTo>
                    <a:cubicBezTo>
                      <a:pt x="40377" y="74533"/>
                      <a:pt x="43001" y="71504"/>
                      <a:pt x="45827" y="68678"/>
                    </a:cubicBezTo>
                    <a:cubicBezTo>
                      <a:pt x="44818" y="68476"/>
                      <a:pt x="43809" y="68072"/>
                      <a:pt x="42799" y="67871"/>
                    </a:cubicBezTo>
                    <a:cubicBezTo>
                      <a:pt x="27255" y="62824"/>
                      <a:pt x="19179" y="42232"/>
                      <a:pt x="16151" y="32946"/>
                    </a:cubicBezTo>
                    <a:cubicBezTo>
                      <a:pt x="15344" y="30321"/>
                      <a:pt x="16353" y="27293"/>
                      <a:pt x="18574" y="25678"/>
                    </a:cubicBezTo>
                    <a:cubicBezTo>
                      <a:pt x="25034" y="20833"/>
                      <a:pt x="38963" y="11748"/>
                      <a:pt x="52489" y="11748"/>
                    </a:cubicBezTo>
                    <a:cubicBezTo>
                      <a:pt x="55316" y="11748"/>
                      <a:pt x="57940" y="12152"/>
                      <a:pt x="60564" y="12960"/>
                    </a:cubicBezTo>
                    <a:cubicBezTo>
                      <a:pt x="61574" y="13363"/>
                      <a:pt x="62583" y="13767"/>
                      <a:pt x="63593" y="14171"/>
                    </a:cubicBezTo>
                    <a:cubicBezTo>
                      <a:pt x="62987" y="10335"/>
                      <a:pt x="62785" y="6701"/>
                      <a:pt x="62785" y="2866"/>
                    </a:cubicBezTo>
                    <a:lnTo>
                      <a:pt x="62785" y="1452"/>
                    </a:lnTo>
                    <a:cubicBezTo>
                      <a:pt x="59796" y="573"/>
                      <a:pt x="56808" y="1"/>
                      <a:pt x="53819" y="1"/>
                    </a:cubicBezTo>
                    <a:close/>
                  </a:path>
                </a:pathLst>
              </a:custGeom>
              <a:noFill/>
              <a:ln w="9525" cap="flat" cmpd="sng">
                <a:solidFill>
                  <a:srgbClr val="213B5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844" name="Google Shape;8844;p107"/>
              <p:cNvSpPr/>
              <p:nvPr/>
            </p:nvSpPr>
            <p:spPr>
              <a:xfrm>
                <a:off x="2721907" y="1317604"/>
                <a:ext cx="53599" cy="72899"/>
              </a:xfrm>
              <a:custGeom>
                <a:avLst/>
                <a:gdLst/>
                <a:ahLst/>
                <a:cxnLst/>
                <a:rect l="l" t="t" r="r" b="b"/>
                <a:pathLst>
                  <a:path w="15141" h="20593" extrusionOk="0">
                    <a:moveTo>
                      <a:pt x="0" y="1"/>
                    </a:moveTo>
                    <a:lnTo>
                      <a:pt x="0" y="1414"/>
                    </a:lnTo>
                    <a:cubicBezTo>
                      <a:pt x="0" y="5249"/>
                      <a:pt x="202" y="9085"/>
                      <a:pt x="808" y="12921"/>
                    </a:cubicBezTo>
                    <a:cubicBezTo>
                      <a:pt x="5653" y="14738"/>
                      <a:pt x="9892" y="17362"/>
                      <a:pt x="13930" y="20592"/>
                    </a:cubicBezTo>
                    <a:cubicBezTo>
                      <a:pt x="14333" y="20188"/>
                      <a:pt x="14737" y="19785"/>
                      <a:pt x="15141" y="19583"/>
                    </a:cubicBezTo>
                    <a:cubicBezTo>
                      <a:pt x="13324" y="14738"/>
                      <a:pt x="12315" y="9893"/>
                      <a:pt x="12113" y="4846"/>
                    </a:cubicBezTo>
                    <a:cubicBezTo>
                      <a:pt x="8681" y="3029"/>
                      <a:pt x="5047" y="1414"/>
                      <a:pt x="1211" y="404"/>
                    </a:cubicBezTo>
                    <a:lnTo>
                      <a:pt x="0" y="1"/>
                    </a:lnTo>
                    <a:close/>
                  </a:path>
                </a:pathLst>
              </a:custGeom>
              <a:noFill/>
              <a:ln w="9525" cap="flat" cmpd="sng">
                <a:solidFill>
                  <a:srgbClr val="213B5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845" name="Google Shape;8845;p107"/>
              <p:cNvSpPr/>
              <p:nvPr/>
            </p:nvSpPr>
            <p:spPr>
              <a:xfrm>
                <a:off x="2764773" y="1334751"/>
                <a:ext cx="47171" cy="52173"/>
              </a:xfrm>
              <a:custGeom>
                <a:avLst/>
                <a:gdLst/>
                <a:ahLst/>
                <a:cxnLst/>
                <a:rect l="l" t="t" r="r" b="b"/>
                <a:pathLst>
                  <a:path w="13325" h="14738" extrusionOk="0">
                    <a:moveTo>
                      <a:pt x="1" y="1"/>
                    </a:moveTo>
                    <a:cubicBezTo>
                      <a:pt x="203" y="5048"/>
                      <a:pt x="1212" y="9893"/>
                      <a:pt x="3029" y="14738"/>
                    </a:cubicBezTo>
                    <a:cubicBezTo>
                      <a:pt x="6259" y="12315"/>
                      <a:pt x="9691" y="10498"/>
                      <a:pt x="13325" y="9085"/>
                    </a:cubicBezTo>
                    <a:cubicBezTo>
                      <a:pt x="9287" y="5451"/>
                      <a:pt x="4846" y="2423"/>
                      <a:pt x="1" y="1"/>
                    </a:cubicBezTo>
                    <a:close/>
                  </a:path>
                </a:pathLst>
              </a:custGeom>
              <a:noFill/>
              <a:ln w="9525" cap="flat" cmpd="sng">
                <a:solidFill>
                  <a:srgbClr val="213B5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846" name="Google Shape;8846;p107"/>
              <p:cNvSpPr/>
              <p:nvPr/>
            </p:nvSpPr>
            <p:spPr>
              <a:xfrm>
                <a:off x="2554001" y="1354757"/>
                <a:ext cx="187956" cy="201536"/>
              </a:xfrm>
              <a:custGeom>
                <a:avLst/>
                <a:gdLst/>
                <a:ahLst/>
                <a:cxnLst/>
                <a:rect l="l" t="t" r="r" b="b"/>
                <a:pathLst>
                  <a:path w="53095" h="56931" extrusionOk="0">
                    <a:moveTo>
                      <a:pt x="37146" y="0"/>
                    </a:moveTo>
                    <a:cubicBezTo>
                      <a:pt x="23620" y="0"/>
                      <a:pt x="9489" y="9085"/>
                      <a:pt x="3231" y="13930"/>
                    </a:cubicBezTo>
                    <a:cubicBezTo>
                      <a:pt x="808" y="15545"/>
                      <a:pt x="1" y="18573"/>
                      <a:pt x="808" y="21198"/>
                    </a:cubicBezTo>
                    <a:cubicBezTo>
                      <a:pt x="3634" y="30282"/>
                      <a:pt x="11710" y="51076"/>
                      <a:pt x="27456" y="56123"/>
                    </a:cubicBezTo>
                    <a:cubicBezTo>
                      <a:pt x="28466" y="56324"/>
                      <a:pt x="29273" y="56728"/>
                      <a:pt x="30282" y="56930"/>
                    </a:cubicBezTo>
                    <a:cubicBezTo>
                      <a:pt x="34926" y="52287"/>
                      <a:pt x="40174" y="48249"/>
                      <a:pt x="46029" y="45221"/>
                    </a:cubicBezTo>
                    <a:cubicBezTo>
                      <a:pt x="46029" y="44414"/>
                      <a:pt x="46029" y="43404"/>
                      <a:pt x="46029" y="42395"/>
                    </a:cubicBezTo>
                    <a:cubicBezTo>
                      <a:pt x="45827" y="34118"/>
                      <a:pt x="48452" y="25841"/>
                      <a:pt x="53095" y="18977"/>
                    </a:cubicBezTo>
                    <a:cubicBezTo>
                      <a:pt x="50672" y="13728"/>
                      <a:pt x="49057" y="8075"/>
                      <a:pt x="48250" y="2423"/>
                    </a:cubicBezTo>
                    <a:cubicBezTo>
                      <a:pt x="47240" y="2019"/>
                      <a:pt x="46231" y="1615"/>
                      <a:pt x="45221" y="1413"/>
                    </a:cubicBezTo>
                    <a:cubicBezTo>
                      <a:pt x="42597" y="404"/>
                      <a:pt x="39771" y="0"/>
                      <a:pt x="37146" y="0"/>
                    </a:cubicBezTo>
                    <a:close/>
                  </a:path>
                </a:pathLst>
              </a:custGeom>
              <a:noFill/>
              <a:ln w="9525" cap="flat" cmpd="sng">
                <a:solidFill>
                  <a:srgbClr val="A5B7C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847" name="Google Shape;8847;p107"/>
              <p:cNvSpPr/>
              <p:nvPr/>
            </p:nvSpPr>
            <p:spPr>
              <a:xfrm>
                <a:off x="2724763" y="1363329"/>
                <a:ext cx="46455" cy="58605"/>
              </a:xfrm>
              <a:custGeom>
                <a:avLst/>
                <a:gdLst/>
                <a:ahLst/>
                <a:cxnLst/>
                <a:rect l="l" t="t" r="r" b="b"/>
                <a:pathLst>
                  <a:path w="13123" h="16555" extrusionOk="0">
                    <a:moveTo>
                      <a:pt x="1" y="1"/>
                    </a:moveTo>
                    <a:lnTo>
                      <a:pt x="1" y="1"/>
                    </a:lnTo>
                    <a:cubicBezTo>
                      <a:pt x="1010" y="5653"/>
                      <a:pt x="2625" y="11306"/>
                      <a:pt x="4846" y="16555"/>
                    </a:cubicBezTo>
                    <a:cubicBezTo>
                      <a:pt x="6461" y="14334"/>
                      <a:pt x="8076" y="12315"/>
                      <a:pt x="10095" y="10297"/>
                    </a:cubicBezTo>
                    <a:cubicBezTo>
                      <a:pt x="10902" y="9489"/>
                      <a:pt x="12113" y="8480"/>
                      <a:pt x="13123" y="7672"/>
                    </a:cubicBezTo>
                    <a:cubicBezTo>
                      <a:pt x="9085" y="4442"/>
                      <a:pt x="4846" y="1818"/>
                      <a:pt x="1" y="1"/>
                    </a:cubicBezTo>
                    <a:close/>
                  </a:path>
                </a:pathLst>
              </a:custGeom>
              <a:noFill/>
              <a:ln w="9525" cap="flat" cmpd="sng">
                <a:solidFill>
                  <a:srgbClr val="A5B7C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848" name="Google Shape;8848;p107"/>
              <p:cNvSpPr/>
              <p:nvPr/>
            </p:nvSpPr>
            <p:spPr>
              <a:xfrm>
                <a:off x="2587581" y="1591246"/>
                <a:ext cx="277288" cy="238695"/>
              </a:xfrm>
              <a:custGeom>
                <a:avLst/>
                <a:gdLst/>
                <a:ahLst/>
                <a:cxnLst/>
                <a:rect l="l" t="t" r="r" b="b"/>
                <a:pathLst>
                  <a:path w="78330" h="67428" extrusionOk="0">
                    <a:moveTo>
                      <a:pt x="12719" y="0"/>
                    </a:moveTo>
                    <a:cubicBezTo>
                      <a:pt x="1" y="18977"/>
                      <a:pt x="7672" y="48451"/>
                      <a:pt x="11912" y="61169"/>
                    </a:cubicBezTo>
                    <a:cubicBezTo>
                      <a:pt x="13123" y="64803"/>
                      <a:pt x="16555" y="67428"/>
                      <a:pt x="20593" y="67428"/>
                    </a:cubicBezTo>
                    <a:lnTo>
                      <a:pt x="22006" y="67428"/>
                    </a:lnTo>
                    <a:cubicBezTo>
                      <a:pt x="35935" y="67428"/>
                      <a:pt x="64602" y="65207"/>
                      <a:pt x="78330" y="48047"/>
                    </a:cubicBezTo>
                    <a:cubicBezTo>
                      <a:pt x="78128" y="47643"/>
                      <a:pt x="77724" y="47442"/>
                      <a:pt x="77522" y="47038"/>
                    </a:cubicBezTo>
                    <a:cubicBezTo>
                      <a:pt x="75302" y="43808"/>
                      <a:pt x="73283" y="40578"/>
                      <a:pt x="71466" y="37146"/>
                    </a:cubicBezTo>
                    <a:cubicBezTo>
                      <a:pt x="70860" y="37953"/>
                      <a:pt x="70457" y="38761"/>
                      <a:pt x="69851" y="39568"/>
                    </a:cubicBezTo>
                    <a:cubicBezTo>
                      <a:pt x="60363" y="52489"/>
                      <a:pt x="39367" y="54104"/>
                      <a:pt x="29273" y="54104"/>
                    </a:cubicBezTo>
                    <a:lnTo>
                      <a:pt x="28466" y="54104"/>
                    </a:lnTo>
                    <a:cubicBezTo>
                      <a:pt x="25640" y="54104"/>
                      <a:pt x="23015" y="52287"/>
                      <a:pt x="22208" y="49662"/>
                    </a:cubicBezTo>
                    <a:cubicBezTo>
                      <a:pt x="19179" y="40578"/>
                      <a:pt x="13527" y="18977"/>
                      <a:pt x="23217" y="5855"/>
                    </a:cubicBezTo>
                    <a:cubicBezTo>
                      <a:pt x="23823" y="4845"/>
                      <a:pt x="24428" y="4038"/>
                      <a:pt x="25236" y="3230"/>
                    </a:cubicBezTo>
                    <a:cubicBezTo>
                      <a:pt x="21400" y="2625"/>
                      <a:pt x="17766" y="1817"/>
                      <a:pt x="14132" y="606"/>
                    </a:cubicBezTo>
                    <a:cubicBezTo>
                      <a:pt x="13527" y="404"/>
                      <a:pt x="13123" y="202"/>
                      <a:pt x="12719" y="0"/>
                    </a:cubicBezTo>
                    <a:close/>
                  </a:path>
                </a:pathLst>
              </a:custGeom>
              <a:noFill/>
              <a:ln w="9525" cap="flat" cmpd="sng">
                <a:solidFill>
                  <a:srgbClr val="445D73"/>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849" name="Google Shape;8849;p107"/>
              <p:cNvSpPr/>
              <p:nvPr/>
            </p:nvSpPr>
            <p:spPr>
              <a:xfrm>
                <a:off x="2631881" y="1556237"/>
                <a:ext cx="95768" cy="46455"/>
              </a:xfrm>
              <a:custGeom>
                <a:avLst/>
                <a:gdLst/>
                <a:ahLst/>
                <a:cxnLst/>
                <a:rect l="l" t="t" r="r" b="b"/>
                <a:pathLst>
                  <a:path w="27053" h="13123" extrusionOk="0">
                    <a:moveTo>
                      <a:pt x="8277" y="0"/>
                    </a:moveTo>
                    <a:cubicBezTo>
                      <a:pt x="5451" y="2826"/>
                      <a:pt x="3029" y="5653"/>
                      <a:pt x="808" y="8883"/>
                    </a:cubicBezTo>
                    <a:cubicBezTo>
                      <a:pt x="404" y="9286"/>
                      <a:pt x="202" y="9690"/>
                      <a:pt x="0" y="9892"/>
                    </a:cubicBezTo>
                    <a:cubicBezTo>
                      <a:pt x="606" y="10094"/>
                      <a:pt x="1010" y="10296"/>
                      <a:pt x="1414" y="10498"/>
                    </a:cubicBezTo>
                    <a:cubicBezTo>
                      <a:pt x="5047" y="11709"/>
                      <a:pt x="8883" y="12517"/>
                      <a:pt x="12719" y="13122"/>
                    </a:cubicBezTo>
                    <a:cubicBezTo>
                      <a:pt x="16554" y="8277"/>
                      <a:pt x="21601" y="4240"/>
                      <a:pt x="27052" y="1211"/>
                    </a:cubicBezTo>
                    <a:lnTo>
                      <a:pt x="27052" y="1211"/>
                    </a:lnTo>
                    <a:cubicBezTo>
                      <a:pt x="25033" y="1615"/>
                      <a:pt x="23015" y="1615"/>
                      <a:pt x="20996" y="1615"/>
                    </a:cubicBezTo>
                    <a:cubicBezTo>
                      <a:pt x="16756" y="1615"/>
                      <a:pt x="12517" y="1009"/>
                      <a:pt x="8277" y="0"/>
                    </a:cubicBezTo>
                    <a:close/>
                  </a:path>
                </a:pathLst>
              </a:custGeom>
              <a:noFill/>
              <a:ln w="9525" cap="flat" cmpd="sng">
                <a:solidFill>
                  <a:srgbClr val="445D73"/>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850" name="Google Shape;8850;p107"/>
              <p:cNvSpPr/>
              <p:nvPr/>
            </p:nvSpPr>
            <p:spPr>
              <a:xfrm>
                <a:off x="2661889" y="1514798"/>
                <a:ext cx="66467" cy="47170"/>
              </a:xfrm>
              <a:custGeom>
                <a:avLst/>
                <a:gdLst/>
                <a:ahLst/>
                <a:cxnLst/>
                <a:rect l="l" t="t" r="r" b="b"/>
                <a:pathLst>
                  <a:path w="18776" h="13325" extrusionOk="0">
                    <a:moveTo>
                      <a:pt x="15747" y="0"/>
                    </a:moveTo>
                    <a:cubicBezTo>
                      <a:pt x="9892" y="3028"/>
                      <a:pt x="4644" y="7066"/>
                      <a:pt x="0" y="11709"/>
                    </a:cubicBezTo>
                    <a:cubicBezTo>
                      <a:pt x="4038" y="12718"/>
                      <a:pt x="8277" y="13324"/>
                      <a:pt x="12517" y="13324"/>
                    </a:cubicBezTo>
                    <a:cubicBezTo>
                      <a:pt x="14536" y="13324"/>
                      <a:pt x="16756" y="13122"/>
                      <a:pt x="18775" y="12920"/>
                    </a:cubicBezTo>
                    <a:cubicBezTo>
                      <a:pt x="16958" y="8883"/>
                      <a:pt x="16151" y="4441"/>
                      <a:pt x="15747" y="0"/>
                    </a:cubicBezTo>
                    <a:close/>
                  </a:path>
                </a:pathLst>
              </a:custGeom>
              <a:noFill/>
              <a:ln w="9525" cap="flat" cmpd="sng">
                <a:solidFill>
                  <a:srgbClr val="445D73"/>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851" name="Google Shape;8851;p107"/>
              <p:cNvSpPr/>
              <p:nvPr/>
            </p:nvSpPr>
            <p:spPr>
              <a:xfrm>
                <a:off x="2635452" y="1602677"/>
                <a:ext cx="205108" cy="180094"/>
              </a:xfrm>
              <a:custGeom>
                <a:avLst/>
                <a:gdLst/>
                <a:ahLst/>
                <a:cxnLst/>
                <a:rect l="l" t="t" r="r" b="b"/>
                <a:pathLst>
                  <a:path w="57940" h="50874" extrusionOk="0">
                    <a:moveTo>
                      <a:pt x="11710" y="0"/>
                    </a:moveTo>
                    <a:cubicBezTo>
                      <a:pt x="10902" y="808"/>
                      <a:pt x="10297" y="1615"/>
                      <a:pt x="9691" y="2625"/>
                    </a:cubicBezTo>
                    <a:cubicBezTo>
                      <a:pt x="1" y="15949"/>
                      <a:pt x="5653" y="37348"/>
                      <a:pt x="8682" y="46432"/>
                    </a:cubicBezTo>
                    <a:cubicBezTo>
                      <a:pt x="9489" y="49057"/>
                      <a:pt x="12114" y="50874"/>
                      <a:pt x="14940" y="50874"/>
                    </a:cubicBezTo>
                    <a:lnTo>
                      <a:pt x="15747" y="50874"/>
                    </a:lnTo>
                    <a:cubicBezTo>
                      <a:pt x="25841" y="50874"/>
                      <a:pt x="46837" y="49259"/>
                      <a:pt x="56325" y="36338"/>
                    </a:cubicBezTo>
                    <a:cubicBezTo>
                      <a:pt x="56931" y="35531"/>
                      <a:pt x="57334" y="34723"/>
                      <a:pt x="57940" y="33916"/>
                    </a:cubicBezTo>
                    <a:cubicBezTo>
                      <a:pt x="54508" y="27052"/>
                      <a:pt x="52085" y="19582"/>
                      <a:pt x="51278" y="11911"/>
                    </a:cubicBezTo>
                    <a:cubicBezTo>
                      <a:pt x="45222" y="9892"/>
                      <a:pt x="39771" y="6460"/>
                      <a:pt x="35330" y="2019"/>
                    </a:cubicBezTo>
                    <a:cubicBezTo>
                      <a:pt x="34522" y="1413"/>
                      <a:pt x="33916" y="606"/>
                      <a:pt x="33311" y="0"/>
                    </a:cubicBezTo>
                    <a:cubicBezTo>
                      <a:pt x="29677" y="606"/>
                      <a:pt x="26043" y="808"/>
                      <a:pt x="22409" y="808"/>
                    </a:cubicBezTo>
                    <a:cubicBezTo>
                      <a:pt x="18776" y="808"/>
                      <a:pt x="15142" y="606"/>
                      <a:pt x="11710" y="0"/>
                    </a:cubicBezTo>
                    <a:close/>
                  </a:path>
                </a:pathLst>
              </a:custGeom>
              <a:noFill/>
              <a:ln w="9525" cap="flat" cmpd="sng">
                <a:solidFill>
                  <a:srgbClr val="A5B7C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852" name="Google Shape;8852;p107"/>
              <p:cNvSpPr/>
              <p:nvPr/>
            </p:nvSpPr>
            <p:spPr>
              <a:xfrm>
                <a:off x="2676892" y="1560523"/>
                <a:ext cx="76471" cy="45025"/>
              </a:xfrm>
              <a:custGeom>
                <a:avLst/>
                <a:gdLst/>
                <a:ahLst/>
                <a:cxnLst/>
                <a:rect l="l" t="t" r="r" b="b"/>
                <a:pathLst>
                  <a:path w="21602" h="12719" extrusionOk="0">
                    <a:moveTo>
                      <a:pt x="14334" y="0"/>
                    </a:moveTo>
                    <a:cubicBezTo>
                      <a:pt x="8883" y="3029"/>
                      <a:pt x="3836" y="7066"/>
                      <a:pt x="1" y="11911"/>
                    </a:cubicBezTo>
                    <a:cubicBezTo>
                      <a:pt x="3433" y="12517"/>
                      <a:pt x="7067" y="12719"/>
                      <a:pt x="10700" y="12719"/>
                    </a:cubicBezTo>
                    <a:cubicBezTo>
                      <a:pt x="14334" y="12719"/>
                      <a:pt x="17968" y="12517"/>
                      <a:pt x="21602" y="11911"/>
                    </a:cubicBezTo>
                    <a:cubicBezTo>
                      <a:pt x="18574" y="8277"/>
                      <a:pt x="16151" y="4240"/>
                      <a:pt x="14334" y="0"/>
                    </a:cubicBezTo>
                    <a:close/>
                  </a:path>
                </a:pathLst>
              </a:custGeom>
              <a:noFill/>
              <a:ln w="9525" cap="flat" cmpd="sng">
                <a:solidFill>
                  <a:srgbClr val="A5B7C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853" name="Google Shape;8853;p107"/>
              <p:cNvSpPr/>
              <p:nvPr/>
            </p:nvSpPr>
            <p:spPr>
              <a:xfrm>
                <a:off x="2864801" y="1592672"/>
                <a:ext cx="278003" cy="237984"/>
              </a:xfrm>
              <a:custGeom>
                <a:avLst/>
                <a:gdLst/>
                <a:ahLst/>
                <a:cxnLst/>
                <a:rect l="l" t="t" r="r" b="b"/>
                <a:pathLst>
                  <a:path w="78532" h="67227" extrusionOk="0">
                    <a:moveTo>
                      <a:pt x="66015" y="1"/>
                    </a:moveTo>
                    <a:cubicBezTo>
                      <a:pt x="65611" y="203"/>
                      <a:pt x="65208" y="405"/>
                      <a:pt x="64804" y="405"/>
                    </a:cubicBezTo>
                    <a:cubicBezTo>
                      <a:pt x="61170" y="1616"/>
                      <a:pt x="57334" y="2625"/>
                      <a:pt x="53499" y="3231"/>
                    </a:cubicBezTo>
                    <a:cubicBezTo>
                      <a:pt x="54104" y="4038"/>
                      <a:pt x="54710" y="4644"/>
                      <a:pt x="55315" y="5653"/>
                    </a:cubicBezTo>
                    <a:cubicBezTo>
                      <a:pt x="65006" y="18977"/>
                      <a:pt x="59555" y="40377"/>
                      <a:pt x="56325" y="49461"/>
                    </a:cubicBezTo>
                    <a:cubicBezTo>
                      <a:pt x="55517" y="52086"/>
                      <a:pt x="52893" y="53902"/>
                      <a:pt x="50269" y="53902"/>
                    </a:cubicBezTo>
                    <a:lnTo>
                      <a:pt x="49259" y="53902"/>
                    </a:lnTo>
                    <a:cubicBezTo>
                      <a:pt x="39165" y="53902"/>
                      <a:pt x="18170" y="52287"/>
                      <a:pt x="8883" y="39367"/>
                    </a:cubicBezTo>
                    <a:cubicBezTo>
                      <a:pt x="8076" y="38560"/>
                      <a:pt x="7470" y="37550"/>
                      <a:pt x="7067" y="36743"/>
                    </a:cubicBezTo>
                    <a:cubicBezTo>
                      <a:pt x="5250" y="40175"/>
                      <a:pt x="3231" y="43405"/>
                      <a:pt x="1010" y="46433"/>
                    </a:cubicBezTo>
                    <a:cubicBezTo>
                      <a:pt x="808" y="46837"/>
                      <a:pt x="405" y="47240"/>
                      <a:pt x="1" y="47644"/>
                    </a:cubicBezTo>
                    <a:cubicBezTo>
                      <a:pt x="13729" y="65006"/>
                      <a:pt x="42597" y="67226"/>
                      <a:pt x="56527" y="67226"/>
                    </a:cubicBezTo>
                    <a:lnTo>
                      <a:pt x="57738" y="67226"/>
                    </a:lnTo>
                    <a:cubicBezTo>
                      <a:pt x="61776" y="67226"/>
                      <a:pt x="65409" y="64602"/>
                      <a:pt x="66621" y="60968"/>
                    </a:cubicBezTo>
                    <a:cubicBezTo>
                      <a:pt x="70860" y="48250"/>
                      <a:pt x="78532" y="18977"/>
                      <a:pt x="66015" y="1"/>
                    </a:cubicBezTo>
                    <a:close/>
                  </a:path>
                </a:pathLst>
              </a:custGeom>
              <a:noFill/>
              <a:ln w="9525" cap="flat" cmpd="sng">
                <a:solidFill>
                  <a:srgbClr val="667E92"/>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854" name="Google Shape;8854;p107"/>
              <p:cNvSpPr/>
              <p:nvPr/>
            </p:nvSpPr>
            <p:spPr>
              <a:xfrm>
                <a:off x="2840508" y="1660548"/>
                <a:ext cx="49316" cy="100770"/>
              </a:xfrm>
              <a:custGeom>
                <a:avLst/>
                <a:gdLst/>
                <a:ahLst/>
                <a:cxnLst/>
                <a:rect l="l" t="t" r="r" b="b"/>
                <a:pathLst>
                  <a:path w="13931" h="28466" extrusionOk="0">
                    <a:moveTo>
                      <a:pt x="6865" y="0"/>
                    </a:moveTo>
                    <a:cubicBezTo>
                      <a:pt x="5855" y="6259"/>
                      <a:pt x="3433" y="12113"/>
                      <a:pt x="1" y="17564"/>
                    </a:cubicBezTo>
                    <a:cubicBezTo>
                      <a:pt x="1818" y="20996"/>
                      <a:pt x="3837" y="24428"/>
                      <a:pt x="6057" y="27658"/>
                    </a:cubicBezTo>
                    <a:cubicBezTo>
                      <a:pt x="6259" y="27860"/>
                      <a:pt x="6663" y="28263"/>
                      <a:pt x="6865" y="28465"/>
                    </a:cubicBezTo>
                    <a:cubicBezTo>
                      <a:pt x="7269" y="28061"/>
                      <a:pt x="7470" y="27860"/>
                      <a:pt x="7874" y="27456"/>
                    </a:cubicBezTo>
                    <a:cubicBezTo>
                      <a:pt x="10095" y="24226"/>
                      <a:pt x="12114" y="20996"/>
                      <a:pt x="13931" y="17564"/>
                    </a:cubicBezTo>
                    <a:cubicBezTo>
                      <a:pt x="10297" y="12113"/>
                      <a:pt x="8076" y="6259"/>
                      <a:pt x="6865" y="0"/>
                    </a:cubicBezTo>
                    <a:close/>
                  </a:path>
                </a:pathLst>
              </a:custGeom>
              <a:noFill/>
              <a:ln w="9525" cap="flat" cmpd="sng">
                <a:solidFill>
                  <a:srgbClr val="667E92"/>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855" name="Google Shape;8855;p107"/>
              <p:cNvSpPr/>
              <p:nvPr/>
            </p:nvSpPr>
            <p:spPr>
              <a:xfrm>
                <a:off x="2816930" y="1644831"/>
                <a:ext cx="47886" cy="77898"/>
              </a:xfrm>
              <a:custGeom>
                <a:avLst/>
                <a:gdLst/>
                <a:ahLst/>
                <a:cxnLst/>
                <a:rect l="l" t="t" r="r" b="b"/>
                <a:pathLst>
                  <a:path w="13527" h="22005" extrusionOk="0">
                    <a:moveTo>
                      <a:pt x="1" y="0"/>
                    </a:moveTo>
                    <a:lnTo>
                      <a:pt x="1" y="0"/>
                    </a:lnTo>
                    <a:cubicBezTo>
                      <a:pt x="808" y="7671"/>
                      <a:pt x="3231" y="15141"/>
                      <a:pt x="6663" y="22005"/>
                    </a:cubicBezTo>
                    <a:cubicBezTo>
                      <a:pt x="10095" y="16554"/>
                      <a:pt x="12517" y="10700"/>
                      <a:pt x="13527" y="4441"/>
                    </a:cubicBezTo>
                    <a:cubicBezTo>
                      <a:pt x="13527" y="3836"/>
                      <a:pt x="13325" y="3028"/>
                      <a:pt x="13325" y="2221"/>
                    </a:cubicBezTo>
                    <a:cubicBezTo>
                      <a:pt x="8682" y="2221"/>
                      <a:pt x="4240" y="1413"/>
                      <a:pt x="1" y="0"/>
                    </a:cubicBezTo>
                    <a:close/>
                  </a:path>
                </a:pathLst>
              </a:custGeom>
              <a:noFill/>
              <a:ln w="9525" cap="flat" cmpd="sng">
                <a:solidFill>
                  <a:srgbClr val="667E92"/>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856" name="Google Shape;8856;p107"/>
              <p:cNvSpPr/>
              <p:nvPr/>
            </p:nvSpPr>
            <p:spPr>
              <a:xfrm>
                <a:off x="2889093" y="1602677"/>
                <a:ext cx="205823" cy="180809"/>
              </a:xfrm>
              <a:custGeom>
                <a:avLst/>
                <a:gdLst/>
                <a:ahLst/>
                <a:cxnLst/>
                <a:rect l="l" t="t" r="r" b="b"/>
                <a:pathLst>
                  <a:path w="58142" h="51076" extrusionOk="0">
                    <a:moveTo>
                      <a:pt x="24428" y="0"/>
                    </a:moveTo>
                    <a:cubicBezTo>
                      <a:pt x="23822" y="808"/>
                      <a:pt x="23419" y="1413"/>
                      <a:pt x="22813" y="2019"/>
                    </a:cubicBezTo>
                    <a:cubicBezTo>
                      <a:pt x="18170" y="6460"/>
                      <a:pt x="12719" y="9892"/>
                      <a:pt x="6865" y="11911"/>
                    </a:cubicBezTo>
                    <a:cubicBezTo>
                      <a:pt x="5855" y="19582"/>
                      <a:pt x="3634" y="27052"/>
                      <a:pt x="1" y="33916"/>
                    </a:cubicBezTo>
                    <a:cubicBezTo>
                      <a:pt x="606" y="34723"/>
                      <a:pt x="1212" y="35733"/>
                      <a:pt x="1818" y="36540"/>
                    </a:cubicBezTo>
                    <a:cubicBezTo>
                      <a:pt x="11306" y="49460"/>
                      <a:pt x="32301" y="51075"/>
                      <a:pt x="42395" y="51075"/>
                    </a:cubicBezTo>
                    <a:lnTo>
                      <a:pt x="43203" y="51075"/>
                    </a:lnTo>
                    <a:cubicBezTo>
                      <a:pt x="46029" y="51075"/>
                      <a:pt x="48451" y="49259"/>
                      <a:pt x="49461" y="46634"/>
                    </a:cubicBezTo>
                    <a:cubicBezTo>
                      <a:pt x="52489" y="37550"/>
                      <a:pt x="58142" y="15949"/>
                      <a:pt x="48451" y="2826"/>
                    </a:cubicBezTo>
                    <a:cubicBezTo>
                      <a:pt x="47846" y="1817"/>
                      <a:pt x="47240" y="1211"/>
                      <a:pt x="46433" y="404"/>
                    </a:cubicBezTo>
                    <a:cubicBezTo>
                      <a:pt x="43001" y="808"/>
                      <a:pt x="39569" y="1211"/>
                      <a:pt x="35935" y="1211"/>
                    </a:cubicBezTo>
                    <a:cubicBezTo>
                      <a:pt x="32099" y="1211"/>
                      <a:pt x="28264" y="808"/>
                      <a:pt x="24428" y="0"/>
                    </a:cubicBezTo>
                    <a:close/>
                  </a:path>
                </a:pathLst>
              </a:custGeom>
              <a:noFill/>
              <a:ln w="9525" cap="flat" cmpd="sng">
                <a:solidFill>
                  <a:srgbClr val="A5B7C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857" name="Google Shape;8857;p107"/>
              <p:cNvSpPr/>
              <p:nvPr/>
            </p:nvSpPr>
            <p:spPr>
              <a:xfrm>
                <a:off x="2864801" y="1644831"/>
                <a:ext cx="48601" cy="77898"/>
              </a:xfrm>
              <a:custGeom>
                <a:avLst/>
                <a:gdLst/>
                <a:ahLst/>
                <a:cxnLst/>
                <a:rect l="l" t="t" r="r" b="b"/>
                <a:pathLst>
                  <a:path w="13729" h="22005" extrusionOk="0">
                    <a:moveTo>
                      <a:pt x="13729" y="0"/>
                    </a:moveTo>
                    <a:cubicBezTo>
                      <a:pt x="9287" y="1413"/>
                      <a:pt x="4846" y="2221"/>
                      <a:pt x="405" y="2221"/>
                    </a:cubicBezTo>
                    <a:cubicBezTo>
                      <a:pt x="405" y="3028"/>
                      <a:pt x="203" y="3836"/>
                      <a:pt x="1" y="4441"/>
                    </a:cubicBezTo>
                    <a:cubicBezTo>
                      <a:pt x="1212" y="10700"/>
                      <a:pt x="3433" y="16554"/>
                      <a:pt x="7067" y="22005"/>
                    </a:cubicBezTo>
                    <a:cubicBezTo>
                      <a:pt x="10498" y="15141"/>
                      <a:pt x="12719" y="7671"/>
                      <a:pt x="13729" y="0"/>
                    </a:cubicBezTo>
                    <a:close/>
                  </a:path>
                </a:pathLst>
              </a:custGeom>
              <a:noFill/>
              <a:ln w="9525" cap="flat" cmpd="sng">
                <a:solidFill>
                  <a:srgbClr val="A5B7C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858" name="Google Shape;8858;p107"/>
              <p:cNvSpPr/>
              <p:nvPr/>
            </p:nvSpPr>
            <p:spPr>
              <a:xfrm>
                <a:off x="2864086" y="1653402"/>
                <a:ext cx="2149" cy="7151"/>
              </a:xfrm>
              <a:custGeom>
                <a:avLst/>
                <a:gdLst/>
                <a:ahLst/>
                <a:cxnLst/>
                <a:rect l="l" t="t" r="r" b="b"/>
                <a:pathLst>
                  <a:path w="607" h="2020" extrusionOk="0">
                    <a:moveTo>
                      <a:pt x="1" y="1"/>
                    </a:moveTo>
                    <a:cubicBezTo>
                      <a:pt x="1" y="606"/>
                      <a:pt x="203" y="1414"/>
                      <a:pt x="203" y="2019"/>
                    </a:cubicBezTo>
                    <a:cubicBezTo>
                      <a:pt x="405" y="1414"/>
                      <a:pt x="405" y="606"/>
                      <a:pt x="607" y="1"/>
                    </a:cubicBezTo>
                    <a:close/>
                  </a:path>
                </a:pathLst>
              </a:custGeom>
              <a:solidFill>
                <a:srgbClr val="000000"/>
              </a:solidFill>
              <a:ln w="9525" cap="flat" cmpd="sng">
                <a:solidFill>
                  <a:srgbClr val="A5B7C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859" name="Google Shape;8859;p107"/>
              <p:cNvSpPr/>
              <p:nvPr/>
            </p:nvSpPr>
            <p:spPr>
              <a:xfrm>
                <a:off x="3006983" y="1313318"/>
                <a:ext cx="225119" cy="279430"/>
              </a:xfrm>
              <a:custGeom>
                <a:avLst/>
                <a:gdLst/>
                <a:ahLst/>
                <a:cxnLst/>
                <a:rect l="l" t="t" r="r" b="b"/>
                <a:pathLst>
                  <a:path w="63593" h="78935" extrusionOk="0">
                    <a:moveTo>
                      <a:pt x="11104" y="0"/>
                    </a:moveTo>
                    <a:cubicBezTo>
                      <a:pt x="7672" y="0"/>
                      <a:pt x="4240" y="606"/>
                      <a:pt x="1010" y="1413"/>
                    </a:cubicBezTo>
                    <a:lnTo>
                      <a:pt x="1010" y="2625"/>
                    </a:lnTo>
                    <a:cubicBezTo>
                      <a:pt x="1010" y="6662"/>
                      <a:pt x="606" y="10498"/>
                      <a:pt x="1" y="14334"/>
                    </a:cubicBezTo>
                    <a:cubicBezTo>
                      <a:pt x="1010" y="13930"/>
                      <a:pt x="1818" y="13728"/>
                      <a:pt x="2827" y="13324"/>
                    </a:cubicBezTo>
                    <a:cubicBezTo>
                      <a:pt x="5451" y="12517"/>
                      <a:pt x="8278" y="12113"/>
                      <a:pt x="11104" y="12113"/>
                    </a:cubicBezTo>
                    <a:cubicBezTo>
                      <a:pt x="24630" y="12113"/>
                      <a:pt x="38559" y="21198"/>
                      <a:pt x="45020" y="25841"/>
                    </a:cubicBezTo>
                    <a:cubicBezTo>
                      <a:pt x="47240" y="27456"/>
                      <a:pt x="48048" y="30484"/>
                      <a:pt x="47240" y="33108"/>
                    </a:cubicBezTo>
                    <a:cubicBezTo>
                      <a:pt x="44414" y="42395"/>
                      <a:pt x="36339" y="62986"/>
                      <a:pt x="20592" y="68033"/>
                    </a:cubicBezTo>
                    <a:cubicBezTo>
                      <a:pt x="19583" y="68235"/>
                      <a:pt x="18573" y="68639"/>
                      <a:pt x="17564" y="68841"/>
                    </a:cubicBezTo>
                    <a:cubicBezTo>
                      <a:pt x="20188" y="71667"/>
                      <a:pt x="22813" y="74494"/>
                      <a:pt x="25034" y="77522"/>
                    </a:cubicBezTo>
                    <a:cubicBezTo>
                      <a:pt x="25235" y="77925"/>
                      <a:pt x="25639" y="78531"/>
                      <a:pt x="25841" y="78935"/>
                    </a:cubicBezTo>
                    <a:cubicBezTo>
                      <a:pt x="47240" y="71062"/>
                      <a:pt x="58343" y="42799"/>
                      <a:pt x="62381" y="30080"/>
                    </a:cubicBezTo>
                    <a:cubicBezTo>
                      <a:pt x="63592" y="26245"/>
                      <a:pt x="62179" y="22005"/>
                      <a:pt x="58949" y="19583"/>
                    </a:cubicBezTo>
                    <a:cubicBezTo>
                      <a:pt x="49865" y="12921"/>
                      <a:pt x="30081" y="0"/>
                      <a:pt x="11104" y="0"/>
                    </a:cubicBezTo>
                    <a:close/>
                  </a:path>
                </a:pathLst>
              </a:custGeom>
              <a:noFill/>
              <a:ln w="9525" cap="flat" cmpd="sng">
                <a:solidFill>
                  <a:srgbClr val="869FB1"/>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860" name="Google Shape;8860;p107"/>
              <p:cNvSpPr/>
              <p:nvPr/>
            </p:nvSpPr>
            <p:spPr>
              <a:xfrm>
                <a:off x="2956256" y="1319034"/>
                <a:ext cx="54314" cy="72184"/>
              </a:xfrm>
              <a:custGeom>
                <a:avLst/>
                <a:gdLst/>
                <a:ahLst/>
                <a:cxnLst/>
                <a:rect l="l" t="t" r="r" b="b"/>
                <a:pathLst>
                  <a:path w="15343" h="20391" extrusionOk="0">
                    <a:moveTo>
                      <a:pt x="15343" y="0"/>
                    </a:moveTo>
                    <a:lnTo>
                      <a:pt x="13930" y="404"/>
                    </a:lnTo>
                    <a:cubicBezTo>
                      <a:pt x="10094" y="1413"/>
                      <a:pt x="6662" y="2827"/>
                      <a:pt x="3230" y="4644"/>
                    </a:cubicBezTo>
                    <a:cubicBezTo>
                      <a:pt x="2827" y="9691"/>
                      <a:pt x="1817" y="14737"/>
                      <a:pt x="0" y="19583"/>
                    </a:cubicBezTo>
                    <a:lnTo>
                      <a:pt x="1010" y="20390"/>
                    </a:lnTo>
                    <a:cubicBezTo>
                      <a:pt x="5047" y="17160"/>
                      <a:pt x="9489" y="14737"/>
                      <a:pt x="14334" y="12921"/>
                    </a:cubicBezTo>
                    <a:cubicBezTo>
                      <a:pt x="14939" y="9085"/>
                      <a:pt x="15343" y="5047"/>
                      <a:pt x="15343" y="1212"/>
                    </a:cubicBezTo>
                    <a:lnTo>
                      <a:pt x="15343" y="0"/>
                    </a:lnTo>
                    <a:close/>
                  </a:path>
                </a:pathLst>
              </a:custGeom>
              <a:noFill/>
              <a:ln w="9525" cap="flat" cmpd="sng">
                <a:solidFill>
                  <a:srgbClr val="869FB1"/>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861" name="Google Shape;8861;p107"/>
              <p:cNvSpPr/>
              <p:nvPr/>
            </p:nvSpPr>
            <p:spPr>
              <a:xfrm>
                <a:off x="2919817" y="1335466"/>
                <a:ext cx="47886" cy="52888"/>
              </a:xfrm>
              <a:custGeom>
                <a:avLst/>
                <a:gdLst/>
                <a:ahLst/>
                <a:cxnLst/>
                <a:rect l="l" t="t" r="r" b="b"/>
                <a:pathLst>
                  <a:path w="13527" h="14940" extrusionOk="0">
                    <a:moveTo>
                      <a:pt x="13526" y="1"/>
                    </a:moveTo>
                    <a:cubicBezTo>
                      <a:pt x="8681" y="2423"/>
                      <a:pt x="4038" y="5451"/>
                      <a:pt x="0" y="9085"/>
                    </a:cubicBezTo>
                    <a:cubicBezTo>
                      <a:pt x="3634" y="10498"/>
                      <a:pt x="7066" y="12517"/>
                      <a:pt x="10296" y="14940"/>
                    </a:cubicBezTo>
                    <a:cubicBezTo>
                      <a:pt x="12113" y="10094"/>
                      <a:pt x="13123" y="5048"/>
                      <a:pt x="13526" y="1"/>
                    </a:cubicBezTo>
                    <a:close/>
                  </a:path>
                </a:pathLst>
              </a:custGeom>
              <a:noFill/>
              <a:ln w="9525" cap="flat" cmpd="sng">
                <a:solidFill>
                  <a:srgbClr val="869FB1"/>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862" name="Google Shape;8862;p107"/>
              <p:cNvSpPr/>
              <p:nvPr/>
            </p:nvSpPr>
            <p:spPr>
              <a:xfrm>
                <a:off x="3002697" y="1557663"/>
                <a:ext cx="95053" cy="46455"/>
              </a:xfrm>
              <a:custGeom>
                <a:avLst/>
                <a:gdLst/>
                <a:ahLst/>
                <a:cxnLst/>
                <a:rect l="l" t="t" r="r" b="b"/>
                <a:pathLst>
                  <a:path w="26851" h="13123" extrusionOk="0">
                    <a:moveTo>
                      <a:pt x="18775" y="1"/>
                    </a:moveTo>
                    <a:cubicBezTo>
                      <a:pt x="14737" y="1010"/>
                      <a:pt x="10700" y="1414"/>
                      <a:pt x="6460" y="1616"/>
                    </a:cubicBezTo>
                    <a:cubicBezTo>
                      <a:pt x="4240" y="1616"/>
                      <a:pt x="2019" y="1414"/>
                      <a:pt x="0" y="1010"/>
                    </a:cubicBezTo>
                    <a:lnTo>
                      <a:pt x="0" y="1010"/>
                    </a:lnTo>
                    <a:cubicBezTo>
                      <a:pt x="5451" y="4038"/>
                      <a:pt x="10498" y="8076"/>
                      <a:pt x="14334" y="13123"/>
                    </a:cubicBezTo>
                    <a:cubicBezTo>
                      <a:pt x="18169" y="12517"/>
                      <a:pt x="22005" y="11508"/>
                      <a:pt x="25841" y="10297"/>
                    </a:cubicBezTo>
                    <a:cubicBezTo>
                      <a:pt x="26245" y="10297"/>
                      <a:pt x="26648" y="10095"/>
                      <a:pt x="26850" y="9893"/>
                    </a:cubicBezTo>
                    <a:cubicBezTo>
                      <a:pt x="26648" y="9489"/>
                      <a:pt x="26446" y="9085"/>
                      <a:pt x="26043" y="8682"/>
                    </a:cubicBezTo>
                    <a:cubicBezTo>
                      <a:pt x="23822" y="5452"/>
                      <a:pt x="21399" y="2625"/>
                      <a:pt x="18775" y="1"/>
                    </a:cubicBezTo>
                    <a:close/>
                  </a:path>
                </a:pathLst>
              </a:custGeom>
              <a:noFill/>
              <a:ln w="9525" cap="flat" cmpd="sng">
                <a:solidFill>
                  <a:srgbClr val="869FB1"/>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863" name="Google Shape;8863;p107"/>
              <p:cNvSpPr/>
              <p:nvPr/>
            </p:nvSpPr>
            <p:spPr>
              <a:xfrm>
                <a:off x="2975545" y="1561238"/>
                <a:ext cx="78616" cy="45740"/>
              </a:xfrm>
              <a:custGeom>
                <a:avLst/>
                <a:gdLst/>
                <a:ahLst/>
                <a:cxnLst/>
                <a:rect l="l" t="t" r="r" b="b"/>
                <a:pathLst>
                  <a:path w="22208" h="12921" extrusionOk="0">
                    <a:moveTo>
                      <a:pt x="7672" y="0"/>
                    </a:moveTo>
                    <a:cubicBezTo>
                      <a:pt x="5654" y="4442"/>
                      <a:pt x="3231" y="8277"/>
                      <a:pt x="1" y="11709"/>
                    </a:cubicBezTo>
                    <a:cubicBezTo>
                      <a:pt x="3837" y="12517"/>
                      <a:pt x="7672" y="12920"/>
                      <a:pt x="11508" y="12920"/>
                    </a:cubicBezTo>
                    <a:cubicBezTo>
                      <a:pt x="15142" y="12920"/>
                      <a:pt x="18574" y="12517"/>
                      <a:pt x="22208" y="12113"/>
                    </a:cubicBezTo>
                    <a:cubicBezTo>
                      <a:pt x="18170" y="7066"/>
                      <a:pt x="13123" y="3028"/>
                      <a:pt x="7672" y="0"/>
                    </a:cubicBezTo>
                    <a:close/>
                  </a:path>
                </a:pathLst>
              </a:custGeom>
              <a:noFill/>
              <a:ln w="9525" cap="flat" cmpd="sng">
                <a:solidFill>
                  <a:srgbClr val="869FB1"/>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864" name="Google Shape;8864;p107"/>
              <p:cNvSpPr/>
              <p:nvPr/>
            </p:nvSpPr>
            <p:spPr>
              <a:xfrm>
                <a:off x="2959827" y="1364044"/>
                <a:ext cx="47171" cy="60035"/>
              </a:xfrm>
              <a:custGeom>
                <a:avLst/>
                <a:gdLst/>
                <a:ahLst/>
                <a:cxnLst/>
                <a:rect l="l" t="t" r="r" b="b"/>
                <a:pathLst>
                  <a:path w="13325" h="16959" extrusionOk="0">
                    <a:moveTo>
                      <a:pt x="13325" y="1"/>
                    </a:moveTo>
                    <a:lnTo>
                      <a:pt x="13325" y="1"/>
                    </a:lnTo>
                    <a:cubicBezTo>
                      <a:pt x="8480" y="1818"/>
                      <a:pt x="4038" y="4442"/>
                      <a:pt x="1" y="7672"/>
                    </a:cubicBezTo>
                    <a:cubicBezTo>
                      <a:pt x="1010" y="8480"/>
                      <a:pt x="2019" y="9287"/>
                      <a:pt x="2827" y="10095"/>
                    </a:cubicBezTo>
                    <a:cubicBezTo>
                      <a:pt x="4846" y="12315"/>
                      <a:pt x="6663" y="14536"/>
                      <a:pt x="8278" y="16959"/>
                    </a:cubicBezTo>
                    <a:cubicBezTo>
                      <a:pt x="10700" y="11508"/>
                      <a:pt x="12315" y="5855"/>
                      <a:pt x="13325" y="1"/>
                    </a:cubicBezTo>
                    <a:close/>
                  </a:path>
                </a:pathLst>
              </a:custGeom>
              <a:noFill/>
              <a:ln w="9525" cap="flat" cmpd="sng">
                <a:solidFill>
                  <a:srgbClr val="A5B7C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865" name="Google Shape;8865;p107"/>
              <p:cNvSpPr/>
              <p:nvPr/>
            </p:nvSpPr>
            <p:spPr>
              <a:xfrm>
                <a:off x="3002697" y="1515509"/>
                <a:ext cx="67179" cy="47170"/>
              </a:xfrm>
              <a:custGeom>
                <a:avLst/>
                <a:gdLst/>
                <a:ahLst/>
                <a:cxnLst/>
                <a:rect l="l" t="t" r="r" b="b"/>
                <a:pathLst>
                  <a:path w="18977" h="13325" extrusionOk="0">
                    <a:moveTo>
                      <a:pt x="2827" y="1"/>
                    </a:moveTo>
                    <a:cubicBezTo>
                      <a:pt x="2625" y="4442"/>
                      <a:pt x="1615" y="8682"/>
                      <a:pt x="0" y="12921"/>
                    </a:cubicBezTo>
                    <a:cubicBezTo>
                      <a:pt x="2221" y="13123"/>
                      <a:pt x="4442" y="13325"/>
                      <a:pt x="6460" y="13325"/>
                    </a:cubicBezTo>
                    <a:cubicBezTo>
                      <a:pt x="10700" y="13325"/>
                      <a:pt x="14939" y="12719"/>
                      <a:pt x="18977" y="11710"/>
                    </a:cubicBezTo>
                    <a:cubicBezTo>
                      <a:pt x="14132" y="7067"/>
                      <a:pt x="8883" y="3029"/>
                      <a:pt x="2827" y="1"/>
                    </a:cubicBezTo>
                    <a:close/>
                  </a:path>
                </a:pathLst>
              </a:custGeom>
              <a:noFill/>
              <a:ln w="9525" cap="flat" cmpd="sng">
                <a:solidFill>
                  <a:srgbClr val="A5B7C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866" name="Google Shape;8866;p107"/>
              <p:cNvSpPr/>
              <p:nvPr/>
            </p:nvSpPr>
            <p:spPr>
              <a:xfrm>
                <a:off x="3001982" y="1561238"/>
                <a:ext cx="719" cy="4"/>
              </a:xfrm>
              <a:custGeom>
                <a:avLst/>
                <a:gdLst/>
                <a:ahLst/>
                <a:cxnLst/>
                <a:rect l="l" t="t" r="r" b="b"/>
                <a:pathLst>
                  <a:path w="203" h="1" extrusionOk="0">
                    <a:moveTo>
                      <a:pt x="202" y="0"/>
                    </a:moveTo>
                    <a:lnTo>
                      <a:pt x="202" y="0"/>
                    </a:lnTo>
                    <a:lnTo>
                      <a:pt x="0" y="0"/>
                    </a:lnTo>
                    <a:close/>
                  </a:path>
                </a:pathLst>
              </a:custGeom>
              <a:solidFill>
                <a:srgbClr val="000000"/>
              </a:solidFill>
              <a:ln w="9525" cap="flat" cmpd="sng">
                <a:solidFill>
                  <a:srgbClr val="A5B7C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867" name="Google Shape;8867;p107"/>
              <p:cNvSpPr/>
              <p:nvPr/>
            </p:nvSpPr>
            <p:spPr>
              <a:xfrm>
                <a:off x="2727622" y="1560523"/>
                <a:ext cx="4" cy="4"/>
              </a:xfrm>
              <a:custGeom>
                <a:avLst/>
                <a:gdLst/>
                <a:ahLst/>
                <a:cxnLst/>
                <a:rect l="l" t="t" r="r" b="b"/>
                <a:pathLst>
                  <a:path w="1" h="1" extrusionOk="0">
                    <a:moveTo>
                      <a:pt x="0" y="0"/>
                    </a:moveTo>
                    <a:close/>
                  </a:path>
                </a:pathLst>
              </a:custGeom>
              <a:solidFill>
                <a:srgbClr val="FFFFFF"/>
              </a:solidFill>
              <a:ln w="9525" cap="flat" cmpd="sng">
                <a:solidFill>
                  <a:srgbClr val="000000"/>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868" name="Google Shape;8868;p107"/>
              <p:cNvSpPr/>
              <p:nvPr/>
            </p:nvSpPr>
            <p:spPr>
              <a:xfrm>
                <a:off x="2706186" y="1356898"/>
                <a:ext cx="321598" cy="311591"/>
              </a:xfrm>
              <a:custGeom>
                <a:avLst/>
                <a:gdLst/>
                <a:ahLst/>
                <a:cxnLst/>
                <a:rect l="l" t="t" r="r" b="b"/>
                <a:pathLst>
                  <a:path w="90847" h="88020" fill="none" extrusionOk="0">
                    <a:moveTo>
                      <a:pt x="44818" y="1"/>
                    </a:moveTo>
                    <a:cubicBezTo>
                      <a:pt x="24832" y="1"/>
                      <a:pt x="7672" y="13931"/>
                      <a:pt x="3836" y="33715"/>
                    </a:cubicBezTo>
                    <a:cubicBezTo>
                      <a:pt x="1" y="53297"/>
                      <a:pt x="10297" y="72879"/>
                      <a:pt x="28869" y="80550"/>
                    </a:cubicBezTo>
                    <a:cubicBezTo>
                      <a:pt x="47240" y="88020"/>
                      <a:pt x="68639" y="81560"/>
                      <a:pt x="79743" y="65006"/>
                    </a:cubicBezTo>
                    <a:cubicBezTo>
                      <a:pt x="90846" y="48452"/>
                      <a:pt x="88625" y="26245"/>
                      <a:pt x="74494" y="12114"/>
                    </a:cubicBezTo>
                    <a:cubicBezTo>
                      <a:pt x="66621" y="4240"/>
                      <a:pt x="55921" y="1"/>
                      <a:pt x="44818" y="1"/>
                    </a:cubicBezTo>
                    <a:close/>
                  </a:path>
                </a:pathLst>
              </a:custGeom>
              <a:noFill/>
              <a:ln w="9525" cap="flat" cmpd="sng">
                <a:solidFill>
                  <a:srgbClr val="FFFFFF"/>
                </a:solidFill>
                <a:prstDash val="solid"/>
                <a:miter lim="201878"/>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8869" name="Google Shape;8869;p107"/>
            <p:cNvGrpSpPr/>
            <p:nvPr/>
          </p:nvGrpSpPr>
          <p:grpSpPr>
            <a:xfrm>
              <a:off x="2517909" y="1188726"/>
              <a:ext cx="702702" cy="725214"/>
              <a:chOff x="2517909" y="1188726"/>
              <a:chExt cx="702702" cy="725214"/>
            </a:xfrm>
          </p:grpSpPr>
          <p:sp>
            <p:nvSpPr>
              <p:cNvPr id="8870" name="Google Shape;8870;p107"/>
              <p:cNvSpPr/>
              <p:nvPr/>
            </p:nvSpPr>
            <p:spPr>
              <a:xfrm>
                <a:off x="2621966" y="1188726"/>
                <a:ext cx="114832" cy="86149"/>
              </a:xfrm>
              <a:custGeom>
                <a:avLst/>
                <a:gdLst/>
                <a:ahLst/>
                <a:cxnLst/>
                <a:rect l="l" t="t" r="r" b="b"/>
                <a:pathLst>
                  <a:path w="10285" h="7716" extrusionOk="0">
                    <a:moveTo>
                      <a:pt x="10284" y="1"/>
                    </a:moveTo>
                    <a:lnTo>
                      <a:pt x="7413" y="282"/>
                    </a:lnTo>
                    <a:lnTo>
                      <a:pt x="7949" y="1144"/>
                    </a:lnTo>
                    <a:cubicBezTo>
                      <a:pt x="4966" y="2788"/>
                      <a:pt x="2280" y="4920"/>
                      <a:pt x="0" y="7451"/>
                    </a:cubicBezTo>
                    <a:lnTo>
                      <a:pt x="294" y="7716"/>
                    </a:lnTo>
                    <a:cubicBezTo>
                      <a:pt x="2547" y="5212"/>
                      <a:pt x="5206" y="3102"/>
                      <a:pt x="8156" y="1479"/>
                    </a:cubicBezTo>
                    <a:lnTo>
                      <a:pt x="8760" y="2450"/>
                    </a:lnTo>
                    <a:close/>
                  </a:path>
                </a:pathLst>
              </a:custGeom>
              <a:solidFill>
                <a:srgbClr val="E3E9ED"/>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871" name="Google Shape;8871;p107"/>
              <p:cNvSpPr/>
              <p:nvPr/>
            </p:nvSpPr>
            <p:spPr>
              <a:xfrm>
                <a:off x="2517909" y="1543306"/>
                <a:ext cx="54396" cy="134951"/>
              </a:xfrm>
              <a:custGeom>
                <a:avLst/>
                <a:gdLst/>
                <a:ahLst/>
                <a:cxnLst/>
                <a:rect l="l" t="t" r="r" b="b"/>
                <a:pathLst>
                  <a:path w="4872" h="12087" extrusionOk="0">
                    <a:moveTo>
                      <a:pt x="4871" y="11889"/>
                    </a:moveTo>
                    <a:cubicBezTo>
                      <a:pt x="3186" y="8971"/>
                      <a:pt x="2004" y="5793"/>
                      <a:pt x="1370" y="2482"/>
                    </a:cubicBezTo>
                    <a:lnTo>
                      <a:pt x="2481" y="2209"/>
                    </a:lnTo>
                    <a:lnTo>
                      <a:pt x="620" y="0"/>
                    </a:lnTo>
                    <a:lnTo>
                      <a:pt x="1" y="2820"/>
                    </a:lnTo>
                    <a:lnTo>
                      <a:pt x="987" y="2578"/>
                    </a:lnTo>
                    <a:cubicBezTo>
                      <a:pt x="1629" y="5923"/>
                      <a:pt x="2827" y="9136"/>
                      <a:pt x="4530" y="12087"/>
                    </a:cubicBezTo>
                    <a:close/>
                  </a:path>
                </a:pathLst>
              </a:custGeom>
              <a:solidFill>
                <a:srgbClr val="E3E9ED"/>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872" name="Google Shape;8872;p107"/>
              <p:cNvSpPr/>
              <p:nvPr/>
            </p:nvSpPr>
            <p:spPr>
              <a:xfrm>
                <a:off x="3174265" y="1556894"/>
                <a:ext cx="46346" cy="135275"/>
              </a:xfrm>
              <a:custGeom>
                <a:avLst/>
                <a:gdLst/>
                <a:ahLst/>
                <a:cxnLst/>
                <a:rect l="l" t="t" r="r" b="b"/>
                <a:pathLst>
                  <a:path w="4151" h="12116" extrusionOk="0">
                    <a:moveTo>
                      <a:pt x="4150" y="41"/>
                    </a:moveTo>
                    <a:lnTo>
                      <a:pt x="3759" y="0"/>
                    </a:lnTo>
                    <a:cubicBezTo>
                      <a:pt x="3405" y="3350"/>
                      <a:pt x="2494" y="6618"/>
                      <a:pt x="1059" y="9668"/>
                    </a:cubicBezTo>
                    <a:lnTo>
                      <a:pt x="0" y="9237"/>
                    </a:lnTo>
                    <a:lnTo>
                      <a:pt x="208" y="12116"/>
                    </a:lnTo>
                    <a:lnTo>
                      <a:pt x="2367" y="10200"/>
                    </a:lnTo>
                    <a:lnTo>
                      <a:pt x="1426" y="9817"/>
                    </a:lnTo>
                    <a:cubicBezTo>
                      <a:pt x="2873" y="6733"/>
                      <a:pt x="3793" y="3429"/>
                      <a:pt x="4150" y="41"/>
                    </a:cubicBezTo>
                    <a:close/>
                  </a:path>
                </a:pathLst>
              </a:custGeom>
              <a:solidFill>
                <a:srgbClr val="E3E9ED"/>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873" name="Google Shape;8873;p107"/>
              <p:cNvSpPr/>
              <p:nvPr/>
            </p:nvSpPr>
            <p:spPr>
              <a:xfrm>
                <a:off x="3023194" y="1197200"/>
                <a:ext cx="116417" cy="83525"/>
              </a:xfrm>
              <a:custGeom>
                <a:avLst/>
                <a:gdLst/>
                <a:ahLst/>
                <a:cxnLst/>
                <a:rect l="l" t="t" r="r" b="b"/>
                <a:pathLst>
                  <a:path w="10427" h="7481" extrusionOk="0">
                    <a:moveTo>
                      <a:pt x="10427" y="7480"/>
                    </a:moveTo>
                    <a:lnTo>
                      <a:pt x="9270" y="4835"/>
                    </a:lnTo>
                    <a:lnTo>
                      <a:pt x="8616" y="5611"/>
                    </a:lnTo>
                    <a:cubicBezTo>
                      <a:pt x="6131" y="3282"/>
                      <a:pt x="3273" y="1386"/>
                      <a:pt x="160" y="1"/>
                    </a:cubicBezTo>
                    <a:lnTo>
                      <a:pt x="0" y="361"/>
                    </a:lnTo>
                    <a:cubicBezTo>
                      <a:pt x="3078" y="1731"/>
                      <a:pt x="5904" y="3608"/>
                      <a:pt x="8362" y="5913"/>
                    </a:cubicBezTo>
                    <a:lnTo>
                      <a:pt x="7624" y="6787"/>
                    </a:lnTo>
                    <a:close/>
                  </a:path>
                </a:pathLst>
              </a:custGeom>
              <a:solidFill>
                <a:srgbClr val="E3E9ED"/>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874" name="Google Shape;8874;p107"/>
              <p:cNvSpPr/>
              <p:nvPr/>
            </p:nvSpPr>
            <p:spPr>
              <a:xfrm rot="8660313">
                <a:off x="2818264" y="1804296"/>
                <a:ext cx="116433" cy="83536"/>
              </a:xfrm>
              <a:custGeom>
                <a:avLst/>
                <a:gdLst/>
                <a:ahLst/>
                <a:cxnLst/>
                <a:rect l="l" t="t" r="r" b="b"/>
                <a:pathLst>
                  <a:path w="10427" h="7481" extrusionOk="0">
                    <a:moveTo>
                      <a:pt x="10427" y="7480"/>
                    </a:moveTo>
                    <a:lnTo>
                      <a:pt x="9270" y="4835"/>
                    </a:lnTo>
                    <a:lnTo>
                      <a:pt x="8616" y="5611"/>
                    </a:lnTo>
                    <a:cubicBezTo>
                      <a:pt x="6131" y="3282"/>
                      <a:pt x="3273" y="1386"/>
                      <a:pt x="160" y="1"/>
                    </a:cubicBezTo>
                    <a:lnTo>
                      <a:pt x="0" y="361"/>
                    </a:lnTo>
                    <a:cubicBezTo>
                      <a:pt x="3078" y="1731"/>
                      <a:pt x="5904" y="3608"/>
                      <a:pt x="8362" y="5913"/>
                    </a:cubicBezTo>
                    <a:lnTo>
                      <a:pt x="7624" y="6787"/>
                    </a:lnTo>
                    <a:close/>
                  </a:path>
                </a:pathLst>
              </a:custGeom>
              <a:solidFill>
                <a:srgbClr val="E3E9ED"/>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grpSp>
        <p:nvGrpSpPr>
          <p:cNvPr id="8875" name="Google Shape;8875;p107"/>
          <p:cNvGrpSpPr/>
          <p:nvPr/>
        </p:nvGrpSpPr>
        <p:grpSpPr>
          <a:xfrm>
            <a:off x="2229579" y="1588589"/>
            <a:ext cx="777919" cy="1160305"/>
            <a:chOff x="1716825" y="1121550"/>
            <a:chExt cx="622800" cy="928938"/>
          </a:xfrm>
        </p:grpSpPr>
        <p:grpSp>
          <p:nvGrpSpPr>
            <p:cNvPr id="8876" name="Google Shape;8876;p107"/>
            <p:cNvGrpSpPr/>
            <p:nvPr/>
          </p:nvGrpSpPr>
          <p:grpSpPr>
            <a:xfrm>
              <a:off x="1716825" y="1121550"/>
              <a:ext cx="622800" cy="928938"/>
              <a:chOff x="1716825" y="1121550"/>
              <a:chExt cx="622800" cy="928938"/>
            </a:xfrm>
          </p:grpSpPr>
          <p:cxnSp>
            <p:nvCxnSpPr>
              <p:cNvPr id="8877" name="Google Shape;8877;p107"/>
              <p:cNvCxnSpPr/>
              <p:nvPr/>
            </p:nvCxnSpPr>
            <p:spPr>
              <a:xfrm>
                <a:off x="1954750" y="1738188"/>
                <a:ext cx="0" cy="312300"/>
              </a:xfrm>
              <a:prstGeom prst="straightConnector1">
                <a:avLst/>
              </a:prstGeom>
              <a:noFill/>
              <a:ln w="9525" cap="flat" cmpd="sng">
                <a:solidFill>
                  <a:srgbClr val="213B55"/>
                </a:solidFill>
                <a:prstDash val="solid"/>
                <a:round/>
                <a:headEnd type="none" w="med" len="med"/>
                <a:tailEnd type="none" w="med" len="med"/>
              </a:ln>
            </p:spPr>
          </p:cxnSp>
          <p:sp>
            <p:nvSpPr>
              <p:cNvPr id="8878" name="Google Shape;8878;p107"/>
              <p:cNvSpPr/>
              <p:nvPr/>
            </p:nvSpPr>
            <p:spPr>
              <a:xfrm>
                <a:off x="1716825" y="1121550"/>
                <a:ext cx="622800" cy="622800"/>
              </a:xfrm>
              <a:prstGeom prst="ellipse">
                <a:avLst/>
              </a:prstGeom>
              <a:noFill/>
              <a:ln w="9525" cap="flat" cmpd="sng">
                <a:solidFill>
                  <a:srgbClr val="213B5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8879" name="Google Shape;8879;p107"/>
            <p:cNvGrpSpPr/>
            <p:nvPr/>
          </p:nvGrpSpPr>
          <p:grpSpPr>
            <a:xfrm>
              <a:off x="1768050" y="1172775"/>
              <a:ext cx="520200" cy="832000"/>
              <a:chOff x="1768050" y="1172775"/>
              <a:chExt cx="520200" cy="832000"/>
            </a:xfrm>
          </p:grpSpPr>
          <p:cxnSp>
            <p:nvCxnSpPr>
              <p:cNvPr id="8880" name="Google Shape;8880;p107"/>
              <p:cNvCxnSpPr/>
              <p:nvPr/>
            </p:nvCxnSpPr>
            <p:spPr>
              <a:xfrm>
                <a:off x="2003025" y="1692475"/>
                <a:ext cx="0" cy="312300"/>
              </a:xfrm>
              <a:prstGeom prst="straightConnector1">
                <a:avLst/>
              </a:prstGeom>
              <a:noFill/>
              <a:ln w="9525" cap="flat" cmpd="sng">
                <a:solidFill>
                  <a:srgbClr val="667E92"/>
                </a:solidFill>
                <a:prstDash val="solid"/>
                <a:round/>
                <a:headEnd type="none" w="med" len="med"/>
                <a:tailEnd type="none" w="med" len="med"/>
              </a:ln>
            </p:spPr>
          </p:cxnSp>
          <p:sp>
            <p:nvSpPr>
              <p:cNvPr id="8881" name="Google Shape;8881;p107"/>
              <p:cNvSpPr/>
              <p:nvPr/>
            </p:nvSpPr>
            <p:spPr>
              <a:xfrm>
                <a:off x="1768050" y="1172775"/>
                <a:ext cx="520200" cy="520200"/>
              </a:xfrm>
              <a:prstGeom prst="ellipse">
                <a:avLst/>
              </a:prstGeom>
              <a:noFill/>
              <a:ln w="9525" cap="flat" cmpd="sng">
                <a:solidFill>
                  <a:srgbClr val="667E92"/>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8882" name="Google Shape;8882;p107"/>
            <p:cNvGrpSpPr/>
            <p:nvPr/>
          </p:nvGrpSpPr>
          <p:grpSpPr>
            <a:xfrm>
              <a:off x="1820100" y="1225475"/>
              <a:ext cx="416400" cy="729575"/>
              <a:chOff x="1820100" y="1225475"/>
              <a:chExt cx="416400" cy="729575"/>
            </a:xfrm>
          </p:grpSpPr>
          <p:cxnSp>
            <p:nvCxnSpPr>
              <p:cNvPr id="8883" name="Google Shape;8883;p107"/>
              <p:cNvCxnSpPr/>
              <p:nvPr/>
            </p:nvCxnSpPr>
            <p:spPr>
              <a:xfrm>
                <a:off x="2051300" y="1642750"/>
                <a:ext cx="0" cy="312300"/>
              </a:xfrm>
              <a:prstGeom prst="straightConnector1">
                <a:avLst/>
              </a:prstGeom>
              <a:noFill/>
              <a:ln w="9525" cap="flat" cmpd="sng">
                <a:solidFill>
                  <a:srgbClr val="445D73"/>
                </a:solidFill>
                <a:prstDash val="solid"/>
                <a:round/>
                <a:headEnd type="none" w="med" len="med"/>
                <a:tailEnd type="none" w="med" len="med"/>
              </a:ln>
            </p:spPr>
          </p:cxnSp>
          <p:sp>
            <p:nvSpPr>
              <p:cNvPr id="8884" name="Google Shape;8884;p107"/>
              <p:cNvSpPr/>
              <p:nvPr/>
            </p:nvSpPr>
            <p:spPr>
              <a:xfrm>
                <a:off x="1820100" y="1225475"/>
                <a:ext cx="416400" cy="416400"/>
              </a:xfrm>
              <a:prstGeom prst="ellipse">
                <a:avLst/>
              </a:prstGeom>
              <a:noFill/>
              <a:ln w="9525" cap="flat" cmpd="sng">
                <a:solidFill>
                  <a:srgbClr val="445D73"/>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8885" name="Google Shape;8885;p107"/>
            <p:cNvGrpSpPr/>
            <p:nvPr/>
          </p:nvGrpSpPr>
          <p:grpSpPr>
            <a:xfrm>
              <a:off x="1874250" y="1278825"/>
              <a:ext cx="308100" cy="605275"/>
              <a:chOff x="1874250" y="1278825"/>
              <a:chExt cx="308100" cy="605275"/>
            </a:xfrm>
          </p:grpSpPr>
          <p:cxnSp>
            <p:nvCxnSpPr>
              <p:cNvPr id="8886" name="Google Shape;8886;p107"/>
              <p:cNvCxnSpPr/>
              <p:nvPr/>
            </p:nvCxnSpPr>
            <p:spPr>
              <a:xfrm>
                <a:off x="2099575" y="1571800"/>
                <a:ext cx="0" cy="312300"/>
              </a:xfrm>
              <a:prstGeom prst="straightConnector1">
                <a:avLst/>
              </a:prstGeom>
              <a:noFill/>
              <a:ln w="9525" cap="flat" cmpd="sng">
                <a:solidFill>
                  <a:srgbClr val="E3E9ED"/>
                </a:solidFill>
                <a:prstDash val="solid"/>
                <a:round/>
                <a:headEnd type="none" w="med" len="med"/>
                <a:tailEnd type="none" w="med" len="med"/>
              </a:ln>
            </p:spPr>
          </p:cxnSp>
          <p:sp>
            <p:nvSpPr>
              <p:cNvPr id="8887" name="Google Shape;8887;p107"/>
              <p:cNvSpPr/>
              <p:nvPr/>
            </p:nvSpPr>
            <p:spPr>
              <a:xfrm>
                <a:off x="1874250" y="1278825"/>
                <a:ext cx="308100" cy="308100"/>
              </a:xfrm>
              <a:prstGeom prst="ellipse">
                <a:avLst/>
              </a:prstGeom>
              <a:noFill/>
              <a:ln w="9525" cap="flat" cmpd="sng">
                <a:solidFill>
                  <a:srgbClr val="E3E9ED"/>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sp>
          <p:nvSpPr>
            <p:cNvPr id="8888" name="Google Shape;8888;p107"/>
            <p:cNvSpPr/>
            <p:nvPr/>
          </p:nvSpPr>
          <p:spPr>
            <a:xfrm>
              <a:off x="1920625" y="1326000"/>
              <a:ext cx="215400" cy="215400"/>
            </a:xfrm>
            <a:prstGeom prst="ellipse">
              <a:avLst/>
            </a:prstGeom>
            <a:noFill/>
            <a:ln w="9525" cap="flat" cmpd="sng">
              <a:solidFill>
                <a:srgbClr val="F2F2F2"/>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8889" name="Google Shape;8889;p107"/>
          <p:cNvGrpSpPr/>
          <p:nvPr/>
        </p:nvGrpSpPr>
        <p:grpSpPr>
          <a:xfrm>
            <a:off x="2122676" y="2770351"/>
            <a:ext cx="985429" cy="952203"/>
            <a:chOff x="4334725" y="1355875"/>
            <a:chExt cx="3106650" cy="3001900"/>
          </a:xfrm>
        </p:grpSpPr>
        <p:grpSp>
          <p:nvGrpSpPr>
            <p:cNvPr id="8890" name="Google Shape;8890;p107"/>
            <p:cNvGrpSpPr/>
            <p:nvPr/>
          </p:nvGrpSpPr>
          <p:grpSpPr>
            <a:xfrm>
              <a:off x="4516050" y="1724875"/>
              <a:ext cx="2693725" cy="2632900"/>
              <a:chOff x="4516050" y="1724875"/>
              <a:chExt cx="2693725" cy="2632900"/>
            </a:xfrm>
          </p:grpSpPr>
          <p:sp>
            <p:nvSpPr>
              <p:cNvPr id="8891" name="Google Shape;8891;p107"/>
              <p:cNvSpPr/>
              <p:nvPr/>
            </p:nvSpPr>
            <p:spPr>
              <a:xfrm>
                <a:off x="6227525" y="1737400"/>
                <a:ext cx="982250" cy="1548550"/>
              </a:xfrm>
              <a:custGeom>
                <a:avLst/>
                <a:gdLst/>
                <a:ahLst/>
                <a:cxnLst/>
                <a:rect l="l" t="t" r="r" b="b"/>
                <a:pathLst>
                  <a:path w="39290" h="61942" extrusionOk="0">
                    <a:moveTo>
                      <a:pt x="2948" y="0"/>
                    </a:moveTo>
                    <a:lnTo>
                      <a:pt x="2948" y="0"/>
                    </a:lnTo>
                    <a:cubicBezTo>
                      <a:pt x="2963" y="140"/>
                      <a:pt x="2988" y="275"/>
                      <a:pt x="2997" y="415"/>
                    </a:cubicBezTo>
                    <a:cubicBezTo>
                      <a:pt x="3257" y="4251"/>
                      <a:pt x="2198" y="8060"/>
                      <a:pt x="0" y="11214"/>
                    </a:cubicBezTo>
                    <a:cubicBezTo>
                      <a:pt x="16180" y="17156"/>
                      <a:pt x="27723" y="32699"/>
                      <a:pt x="27723" y="50939"/>
                    </a:cubicBezTo>
                    <a:cubicBezTo>
                      <a:pt x="27725" y="53819"/>
                      <a:pt x="27433" y="56688"/>
                      <a:pt x="26854" y="59506"/>
                    </a:cubicBezTo>
                    <a:cubicBezTo>
                      <a:pt x="27615" y="59401"/>
                      <a:pt x="28380" y="59330"/>
                      <a:pt x="29155" y="59330"/>
                    </a:cubicBezTo>
                    <a:cubicBezTo>
                      <a:pt x="32030" y="59330"/>
                      <a:pt x="34946" y="60066"/>
                      <a:pt x="37619" y="61594"/>
                    </a:cubicBezTo>
                    <a:cubicBezTo>
                      <a:pt x="37808" y="61702"/>
                      <a:pt x="37980" y="61827"/>
                      <a:pt x="38161" y="61942"/>
                    </a:cubicBezTo>
                    <a:cubicBezTo>
                      <a:pt x="38912" y="58322"/>
                      <a:pt x="39289" y="54635"/>
                      <a:pt x="39289" y="50939"/>
                    </a:cubicBezTo>
                    <a:cubicBezTo>
                      <a:pt x="39289" y="27328"/>
                      <a:pt x="24090" y="7277"/>
                      <a:pt x="2948" y="0"/>
                    </a:cubicBezTo>
                    <a:close/>
                  </a:path>
                </a:pathLst>
              </a:custGeom>
              <a:noFill/>
              <a:ln w="9525" cap="flat" cmpd="sng">
                <a:solidFill>
                  <a:srgbClr val="A5B7C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892" name="Google Shape;8892;p107"/>
              <p:cNvSpPr/>
              <p:nvPr/>
            </p:nvSpPr>
            <p:spPr>
              <a:xfrm>
                <a:off x="4516050" y="1724875"/>
                <a:ext cx="1010900" cy="1581800"/>
              </a:xfrm>
              <a:custGeom>
                <a:avLst/>
                <a:gdLst/>
                <a:ahLst/>
                <a:cxnLst/>
                <a:rect l="l" t="t" r="r" b="b"/>
                <a:pathLst>
                  <a:path w="40436" h="63272" extrusionOk="0">
                    <a:moveTo>
                      <a:pt x="37823" y="1"/>
                    </a:moveTo>
                    <a:lnTo>
                      <a:pt x="37823" y="1"/>
                    </a:lnTo>
                    <a:cubicBezTo>
                      <a:pt x="15908" y="6831"/>
                      <a:pt x="0" y="27279"/>
                      <a:pt x="0" y="51443"/>
                    </a:cubicBezTo>
                    <a:cubicBezTo>
                      <a:pt x="3" y="55421"/>
                      <a:pt x="444" y="59389"/>
                      <a:pt x="1318" y="63272"/>
                    </a:cubicBezTo>
                    <a:cubicBezTo>
                      <a:pt x="1575" y="63078"/>
                      <a:pt x="1825" y="62880"/>
                      <a:pt x="2093" y="62700"/>
                    </a:cubicBezTo>
                    <a:cubicBezTo>
                      <a:pt x="5004" y="60760"/>
                      <a:pt x="8236" y="59853"/>
                      <a:pt x="11420" y="59853"/>
                    </a:cubicBezTo>
                    <a:cubicBezTo>
                      <a:pt x="11754" y="59853"/>
                      <a:pt x="12085" y="59912"/>
                      <a:pt x="12418" y="59931"/>
                    </a:cubicBezTo>
                    <a:cubicBezTo>
                      <a:pt x="11849" y="57138"/>
                      <a:pt x="11565" y="54293"/>
                      <a:pt x="11565" y="51440"/>
                    </a:cubicBezTo>
                    <a:cubicBezTo>
                      <a:pt x="11565" y="32776"/>
                      <a:pt x="23659" y="16944"/>
                      <a:pt x="40435" y="11325"/>
                    </a:cubicBezTo>
                    <a:cubicBezTo>
                      <a:pt x="38630" y="8592"/>
                      <a:pt x="37671" y="5392"/>
                      <a:pt x="37676" y="2117"/>
                    </a:cubicBezTo>
                    <a:cubicBezTo>
                      <a:pt x="37681" y="1409"/>
                      <a:pt x="37730" y="702"/>
                      <a:pt x="37823" y="1"/>
                    </a:cubicBezTo>
                    <a:close/>
                  </a:path>
                </a:pathLst>
              </a:custGeom>
              <a:noFill/>
              <a:ln w="9525" cap="flat" cmpd="sng">
                <a:solidFill>
                  <a:srgbClr val="A5B7C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893" name="Google Shape;8893;p107"/>
              <p:cNvSpPr/>
              <p:nvPr/>
            </p:nvSpPr>
            <p:spPr>
              <a:xfrm>
                <a:off x="4977525" y="3800325"/>
                <a:ext cx="1782050" cy="557450"/>
              </a:xfrm>
              <a:custGeom>
                <a:avLst/>
                <a:gdLst/>
                <a:ahLst/>
                <a:cxnLst/>
                <a:rect l="l" t="t" r="r" b="b"/>
                <a:pathLst>
                  <a:path w="71282" h="22298" extrusionOk="0">
                    <a:moveTo>
                      <a:pt x="63561" y="0"/>
                    </a:moveTo>
                    <a:cubicBezTo>
                      <a:pt x="56083" y="6671"/>
                      <a:pt x="46226" y="10731"/>
                      <a:pt x="35414" y="10731"/>
                    </a:cubicBezTo>
                    <a:cubicBezTo>
                      <a:pt x="25098" y="10731"/>
                      <a:pt x="15646" y="7034"/>
                      <a:pt x="8302" y="898"/>
                    </a:cubicBezTo>
                    <a:cubicBezTo>
                      <a:pt x="6892" y="3910"/>
                      <a:pt x="4587" y="6522"/>
                      <a:pt x="1428" y="8290"/>
                    </a:cubicBezTo>
                    <a:cubicBezTo>
                      <a:pt x="962" y="8562"/>
                      <a:pt x="481" y="8778"/>
                      <a:pt x="0" y="9001"/>
                    </a:cubicBezTo>
                    <a:cubicBezTo>
                      <a:pt x="9472" y="17274"/>
                      <a:pt x="21853" y="22297"/>
                      <a:pt x="35414" y="22297"/>
                    </a:cubicBezTo>
                    <a:cubicBezTo>
                      <a:pt x="49193" y="22297"/>
                      <a:pt x="61756" y="17117"/>
                      <a:pt x="71282" y="8609"/>
                    </a:cubicBezTo>
                    <a:cubicBezTo>
                      <a:pt x="67593" y="6654"/>
                      <a:pt x="64981" y="3559"/>
                      <a:pt x="63561" y="0"/>
                    </a:cubicBezTo>
                    <a:close/>
                  </a:path>
                </a:pathLst>
              </a:custGeom>
              <a:noFill/>
              <a:ln w="9525" cap="flat" cmpd="sng">
                <a:solidFill>
                  <a:srgbClr val="A5B7C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8894" name="Google Shape;8894;p107"/>
            <p:cNvGrpSpPr/>
            <p:nvPr/>
          </p:nvGrpSpPr>
          <p:grpSpPr>
            <a:xfrm>
              <a:off x="4334725" y="1355875"/>
              <a:ext cx="3106650" cy="2709650"/>
              <a:chOff x="4334725" y="1355875"/>
              <a:chExt cx="3106650" cy="2709650"/>
            </a:xfrm>
          </p:grpSpPr>
          <p:sp>
            <p:nvSpPr>
              <p:cNvPr id="8895" name="Google Shape;8895;p107"/>
              <p:cNvSpPr/>
              <p:nvPr/>
            </p:nvSpPr>
            <p:spPr>
              <a:xfrm>
                <a:off x="5427950" y="1355875"/>
                <a:ext cx="904575" cy="1665925"/>
              </a:xfrm>
              <a:custGeom>
                <a:avLst/>
                <a:gdLst/>
                <a:ahLst/>
                <a:cxnLst/>
                <a:rect l="l" t="t" r="r" b="b"/>
                <a:pathLst>
                  <a:path w="36183" h="66637" fill="none" extrusionOk="0">
                    <a:moveTo>
                      <a:pt x="25479" y="47040"/>
                    </a:moveTo>
                    <a:cubicBezTo>
                      <a:pt x="22352" y="45966"/>
                      <a:pt x="20318" y="42954"/>
                      <a:pt x="20318" y="39712"/>
                    </a:cubicBezTo>
                    <a:lnTo>
                      <a:pt x="20318" y="39474"/>
                    </a:lnTo>
                    <a:cubicBezTo>
                      <a:pt x="20318" y="36347"/>
                      <a:pt x="22239" y="33578"/>
                      <a:pt x="25000" y="32260"/>
                    </a:cubicBezTo>
                    <a:cubicBezTo>
                      <a:pt x="27831" y="31007"/>
                      <a:pt x="30234" y="28986"/>
                      <a:pt x="31983" y="26475"/>
                    </a:cubicBezTo>
                    <a:cubicBezTo>
                      <a:pt x="34181" y="23321"/>
                      <a:pt x="35240" y="19512"/>
                      <a:pt x="34980" y="15676"/>
                    </a:cubicBezTo>
                    <a:cubicBezTo>
                      <a:pt x="34971" y="15536"/>
                      <a:pt x="34944" y="15398"/>
                      <a:pt x="34931" y="15261"/>
                    </a:cubicBezTo>
                    <a:cubicBezTo>
                      <a:pt x="34134" y="7155"/>
                      <a:pt x="27505" y="636"/>
                      <a:pt x="19357" y="47"/>
                    </a:cubicBezTo>
                    <a:cubicBezTo>
                      <a:pt x="18930" y="18"/>
                      <a:pt x="18513" y="1"/>
                      <a:pt x="18094" y="1"/>
                    </a:cubicBezTo>
                    <a:cubicBezTo>
                      <a:pt x="9517" y="1"/>
                      <a:pt x="2397" y="6439"/>
                      <a:pt x="1347" y="14761"/>
                    </a:cubicBezTo>
                    <a:cubicBezTo>
                      <a:pt x="1254" y="15462"/>
                      <a:pt x="1205" y="16169"/>
                      <a:pt x="1200" y="16875"/>
                    </a:cubicBezTo>
                    <a:cubicBezTo>
                      <a:pt x="1195" y="20149"/>
                      <a:pt x="2154" y="23352"/>
                      <a:pt x="3959" y="26085"/>
                    </a:cubicBezTo>
                    <a:cubicBezTo>
                      <a:pt x="5703" y="28734"/>
                      <a:pt x="8168" y="30872"/>
                      <a:pt x="11057" y="32260"/>
                    </a:cubicBezTo>
                    <a:cubicBezTo>
                      <a:pt x="13944" y="33580"/>
                      <a:pt x="15864" y="36464"/>
                      <a:pt x="15864" y="39714"/>
                    </a:cubicBezTo>
                    <a:cubicBezTo>
                      <a:pt x="15864" y="42954"/>
                      <a:pt x="13829" y="45963"/>
                      <a:pt x="10817" y="47040"/>
                    </a:cubicBezTo>
                    <a:cubicBezTo>
                      <a:pt x="6250" y="48725"/>
                      <a:pt x="2404" y="51975"/>
                      <a:pt x="0" y="56176"/>
                    </a:cubicBezTo>
                    <a:lnTo>
                      <a:pt x="18155" y="66637"/>
                    </a:lnTo>
                    <a:lnTo>
                      <a:pt x="36182" y="56176"/>
                    </a:lnTo>
                    <a:cubicBezTo>
                      <a:pt x="33781" y="51972"/>
                      <a:pt x="29930" y="48723"/>
                      <a:pt x="25479" y="47040"/>
                    </a:cubicBezTo>
                    <a:close/>
                  </a:path>
                </a:pathLst>
              </a:custGeom>
              <a:noFill/>
              <a:ln w="9525" cap="flat" cmpd="sng">
                <a:solidFill>
                  <a:srgbClr val="5F7D95"/>
                </a:solidFill>
                <a:prstDash val="solid"/>
                <a:miter lim="2452"/>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896" name="Google Shape;8896;p107"/>
              <p:cNvSpPr/>
              <p:nvPr/>
            </p:nvSpPr>
            <p:spPr>
              <a:xfrm>
                <a:off x="4334725" y="2760325"/>
                <a:ext cx="1547125" cy="1304775"/>
              </a:xfrm>
              <a:custGeom>
                <a:avLst/>
                <a:gdLst/>
                <a:ahLst/>
                <a:cxnLst/>
                <a:rect l="l" t="t" r="r" b="b"/>
                <a:pathLst>
                  <a:path w="61885" h="52191" fill="none" extrusionOk="0">
                    <a:moveTo>
                      <a:pt x="43727" y="1"/>
                    </a:moveTo>
                    <a:cubicBezTo>
                      <a:pt x="41323" y="4212"/>
                      <a:pt x="40487" y="9019"/>
                      <a:pt x="41208" y="13829"/>
                    </a:cubicBezTo>
                    <a:cubicBezTo>
                      <a:pt x="41804" y="17069"/>
                      <a:pt x="40247" y="20321"/>
                      <a:pt x="37362" y="21878"/>
                    </a:cubicBezTo>
                    <a:lnTo>
                      <a:pt x="37237" y="22004"/>
                    </a:lnTo>
                    <a:cubicBezTo>
                      <a:pt x="35989" y="22712"/>
                      <a:pt x="34579" y="23085"/>
                      <a:pt x="33144" y="23090"/>
                    </a:cubicBezTo>
                    <a:cubicBezTo>
                      <a:pt x="31510" y="23095"/>
                      <a:pt x="29914" y="22587"/>
                      <a:pt x="28582" y="21638"/>
                    </a:cubicBezTo>
                    <a:cubicBezTo>
                      <a:pt x="25950" y="19752"/>
                      <a:pt x="22852" y="18705"/>
                      <a:pt x="19671" y="18513"/>
                    </a:cubicBezTo>
                    <a:cubicBezTo>
                      <a:pt x="19338" y="18494"/>
                      <a:pt x="19007" y="18435"/>
                      <a:pt x="18673" y="18435"/>
                    </a:cubicBezTo>
                    <a:cubicBezTo>
                      <a:pt x="15489" y="18435"/>
                      <a:pt x="12257" y="19345"/>
                      <a:pt x="9348" y="21282"/>
                    </a:cubicBezTo>
                    <a:cubicBezTo>
                      <a:pt x="9078" y="21462"/>
                      <a:pt x="8828" y="21663"/>
                      <a:pt x="8573" y="21856"/>
                    </a:cubicBezTo>
                    <a:cubicBezTo>
                      <a:pt x="2203" y="26681"/>
                      <a:pt x="1" y="35395"/>
                      <a:pt x="3579" y="42679"/>
                    </a:cubicBezTo>
                    <a:cubicBezTo>
                      <a:pt x="6535" y="48755"/>
                      <a:pt x="12519" y="52191"/>
                      <a:pt x="18698" y="52191"/>
                    </a:cubicBezTo>
                    <a:cubicBezTo>
                      <a:pt x="21064" y="52191"/>
                      <a:pt x="23448" y="51656"/>
                      <a:pt x="25712" y="50604"/>
                    </a:cubicBezTo>
                    <a:cubicBezTo>
                      <a:pt x="26193" y="50381"/>
                      <a:pt x="26674" y="50165"/>
                      <a:pt x="27140" y="49893"/>
                    </a:cubicBezTo>
                    <a:cubicBezTo>
                      <a:pt x="30299" y="48122"/>
                      <a:pt x="32604" y="45510"/>
                      <a:pt x="34014" y="42498"/>
                    </a:cubicBezTo>
                    <a:cubicBezTo>
                      <a:pt x="35307" y="39741"/>
                      <a:pt x="35837" y="36690"/>
                      <a:pt x="35552" y="33659"/>
                    </a:cubicBezTo>
                    <a:cubicBezTo>
                      <a:pt x="35312" y="30534"/>
                      <a:pt x="36882" y="27409"/>
                      <a:pt x="39641" y="25852"/>
                    </a:cubicBezTo>
                    <a:cubicBezTo>
                      <a:pt x="40902" y="25114"/>
                      <a:pt x="42282" y="24748"/>
                      <a:pt x="43641" y="24748"/>
                    </a:cubicBezTo>
                    <a:cubicBezTo>
                      <a:pt x="45392" y="24748"/>
                      <a:pt x="47119" y="25356"/>
                      <a:pt x="48534" y="26573"/>
                    </a:cubicBezTo>
                    <a:cubicBezTo>
                      <a:pt x="52382" y="29572"/>
                      <a:pt x="57074" y="31255"/>
                      <a:pt x="61884" y="31255"/>
                    </a:cubicBezTo>
                    <a:lnTo>
                      <a:pt x="61884" y="10461"/>
                    </a:lnTo>
                    <a:lnTo>
                      <a:pt x="61884" y="10461"/>
                    </a:lnTo>
                    <a:close/>
                  </a:path>
                </a:pathLst>
              </a:custGeom>
              <a:noFill/>
              <a:ln w="9525" cap="flat" cmpd="sng">
                <a:solidFill>
                  <a:srgbClr val="435D74"/>
                </a:solidFill>
                <a:prstDash val="solid"/>
                <a:miter lim="2452"/>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897" name="Google Shape;8897;p107"/>
              <p:cNvSpPr/>
              <p:nvPr/>
            </p:nvSpPr>
            <p:spPr>
              <a:xfrm>
                <a:off x="5881825" y="2760325"/>
                <a:ext cx="1559550" cy="1305200"/>
              </a:xfrm>
              <a:custGeom>
                <a:avLst/>
                <a:gdLst/>
                <a:ahLst/>
                <a:cxnLst/>
                <a:rect l="l" t="t" r="r" b="b"/>
                <a:pathLst>
                  <a:path w="62382" h="52208" fill="none" extrusionOk="0">
                    <a:moveTo>
                      <a:pt x="51989" y="21025"/>
                    </a:moveTo>
                    <a:cubicBezTo>
                      <a:pt x="51805" y="20912"/>
                      <a:pt x="51636" y="20785"/>
                      <a:pt x="51447" y="20677"/>
                    </a:cubicBezTo>
                    <a:cubicBezTo>
                      <a:pt x="48774" y="19149"/>
                      <a:pt x="45855" y="18413"/>
                      <a:pt x="42981" y="18413"/>
                    </a:cubicBezTo>
                    <a:cubicBezTo>
                      <a:pt x="42208" y="18413"/>
                      <a:pt x="41443" y="18484"/>
                      <a:pt x="40682" y="18589"/>
                    </a:cubicBezTo>
                    <a:cubicBezTo>
                      <a:pt x="38034" y="18957"/>
                      <a:pt x="35488" y="19938"/>
                      <a:pt x="33290" y="21523"/>
                    </a:cubicBezTo>
                    <a:cubicBezTo>
                      <a:pt x="31924" y="22519"/>
                      <a:pt x="30276" y="23056"/>
                      <a:pt x="28586" y="23056"/>
                    </a:cubicBezTo>
                    <a:cubicBezTo>
                      <a:pt x="27107" y="23053"/>
                      <a:pt x="25657" y="22646"/>
                      <a:pt x="24394" y="21876"/>
                    </a:cubicBezTo>
                    <a:cubicBezTo>
                      <a:pt x="21510" y="20319"/>
                      <a:pt x="19952" y="17066"/>
                      <a:pt x="20548" y="13829"/>
                    </a:cubicBezTo>
                    <a:cubicBezTo>
                      <a:pt x="21270" y="9019"/>
                      <a:pt x="20433" y="4212"/>
                      <a:pt x="18030" y="1"/>
                    </a:cubicBezTo>
                    <a:lnTo>
                      <a:pt x="0" y="10461"/>
                    </a:lnTo>
                    <a:lnTo>
                      <a:pt x="0" y="10461"/>
                    </a:lnTo>
                    <a:lnTo>
                      <a:pt x="0" y="31250"/>
                    </a:lnTo>
                    <a:cubicBezTo>
                      <a:pt x="4805" y="31250"/>
                      <a:pt x="9489" y="29570"/>
                      <a:pt x="13220" y="26568"/>
                    </a:cubicBezTo>
                    <a:cubicBezTo>
                      <a:pt x="15719" y="24434"/>
                      <a:pt x="19307" y="24142"/>
                      <a:pt x="22116" y="25849"/>
                    </a:cubicBezTo>
                    <a:lnTo>
                      <a:pt x="22356" y="25965"/>
                    </a:lnTo>
                    <a:cubicBezTo>
                      <a:pt x="25003" y="27532"/>
                      <a:pt x="26560" y="30534"/>
                      <a:pt x="26204" y="33659"/>
                    </a:cubicBezTo>
                    <a:cubicBezTo>
                      <a:pt x="25959" y="36371"/>
                      <a:pt x="26391" y="39091"/>
                      <a:pt x="27389" y="41600"/>
                    </a:cubicBezTo>
                    <a:cubicBezTo>
                      <a:pt x="28807" y="45159"/>
                      <a:pt x="31421" y="48254"/>
                      <a:pt x="35110" y="50209"/>
                    </a:cubicBezTo>
                    <a:cubicBezTo>
                      <a:pt x="35274" y="50295"/>
                      <a:pt x="35412" y="50403"/>
                      <a:pt x="35578" y="50484"/>
                    </a:cubicBezTo>
                    <a:cubicBezTo>
                      <a:pt x="37877" y="51619"/>
                      <a:pt x="40405" y="52208"/>
                      <a:pt x="42968" y="52208"/>
                    </a:cubicBezTo>
                    <a:cubicBezTo>
                      <a:pt x="48435" y="52208"/>
                      <a:pt x="53753" y="49542"/>
                      <a:pt x="56975" y="44840"/>
                    </a:cubicBezTo>
                    <a:cubicBezTo>
                      <a:pt x="62381" y="36727"/>
                      <a:pt x="59960" y="25994"/>
                      <a:pt x="51989" y="21025"/>
                    </a:cubicBezTo>
                    <a:close/>
                  </a:path>
                </a:pathLst>
              </a:custGeom>
              <a:noFill/>
              <a:ln w="9525" cap="flat" cmpd="sng">
                <a:solidFill>
                  <a:srgbClr val="A5B7C5"/>
                </a:solidFill>
                <a:prstDash val="solid"/>
                <a:miter lim="2452"/>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grpSp>
        <p:nvGrpSpPr>
          <p:cNvPr id="8898" name="Google Shape;8898;p107"/>
          <p:cNvGrpSpPr/>
          <p:nvPr/>
        </p:nvGrpSpPr>
        <p:grpSpPr>
          <a:xfrm>
            <a:off x="10278608" y="4944713"/>
            <a:ext cx="416099" cy="912231"/>
            <a:chOff x="7645573" y="3754300"/>
            <a:chExt cx="293855" cy="644170"/>
          </a:xfrm>
        </p:grpSpPr>
        <p:sp>
          <p:nvSpPr>
            <p:cNvPr id="8899" name="Google Shape;8899;p107"/>
            <p:cNvSpPr/>
            <p:nvPr/>
          </p:nvSpPr>
          <p:spPr>
            <a:xfrm>
              <a:off x="7645895" y="3855521"/>
              <a:ext cx="293533" cy="164134"/>
            </a:xfrm>
            <a:custGeom>
              <a:avLst/>
              <a:gdLst/>
              <a:ahLst/>
              <a:cxnLst/>
              <a:rect l="l" t="t" r="r" b="b"/>
              <a:pathLst>
                <a:path w="19132" h="10698" extrusionOk="0">
                  <a:moveTo>
                    <a:pt x="1" y="1"/>
                  </a:moveTo>
                  <a:lnTo>
                    <a:pt x="1" y="10698"/>
                  </a:lnTo>
                  <a:lnTo>
                    <a:pt x="19132" y="10698"/>
                  </a:lnTo>
                  <a:lnTo>
                    <a:pt x="19132" y="1"/>
                  </a:lnTo>
                  <a:close/>
                </a:path>
              </a:pathLst>
            </a:custGeom>
            <a:noFill/>
            <a:ln w="9525" cap="flat" cmpd="sng">
              <a:solidFill>
                <a:srgbClr val="E3E9ED"/>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900" name="Google Shape;8900;p107"/>
            <p:cNvSpPr/>
            <p:nvPr/>
          </p:nvSpPr>
          <p:spPr>
            <a:xfrm>
              <a:off x="7645573" y="3754300"/>
              <a:ext cx="293303" cy="644170"/>
            </a:xfrm>
            <a:custGeom>
              <a:avLst/>
              <a:gdLst/>
              <a:ahLst/>
              <a:cxnLst/>
              <a:rect l="l" t="t" r="r" b="b"/>
              <a:pathLst>
                <a:path w="19117" h="41986" extrusionOk="0">
                  <a:moveTo>
                    <a:pt x="1155" y="1"/>
                  </a:moveTo>
                  <a:cubicBezTo>
                    <a:pt x="516" y="1"/>
                    <a:pt x="1" y="516"/>
                    <a:pt x="1" y="1152"/>
                  </a:cubicBezTo>
                  <a:lnTo>
                    <a:pt x="1" y="35706"/>
                  </a:lnTo>
                  <a:cubicBezTo>
                    <a:pt x="1" y="36344"/>
                    <a:pt x="9559" y="41985"/>
                    <a:pt x="9559" y="41985"/>
                  </a:cubicBezTo>
                  <a:cubicBezTo>
                    <a:pt x="9559" y="41985"/>
                    <a:pt x="19117" y="36344"/>
                    <a:pt x="19117" y="35706"/>
                  </a:cubicBezTo>
                  <a:lnTo>
                    <a:pt x="19117" y="1152"/>
                  </a:lnTo>
                  <a:cubicBezTo>
                    <a:pt x="19117" y="516"/>
                    <a:pt x="18601" y="1"/>
                    <a:pt x="17963" y="1"/>
                  </a:cubicBezTo>
                  <a:close/>
                </a:path>
              </a:pathLst>
            </a:custGeom>
            <a:noFill/>
            <a:ln w="9525" cap="flat" cmpd="sng">
              <a:solidFill>
                <a:srgbClr val="5F81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8901" name="Google Shape;8901;p107"/>
          <p:cNvGrpSpPr/>
          <p:nvPr/>
        </p:nvGrpSpPr>
        <p:grpSpPr>
          <a:xfrm>
            <a:off x="7507926" y="1588589"/>
            <a:ext cx="945348" cy="985812"/>
            <a:chOff x="5830645" y="1256617"/>
            <a:chExt cx="530340" cy="553040"/>
          </a:xfrm>
        </p:grpSpPr>
        <p:grpSp>
          <p:nvGrpSpPr>
            <p:cNvPr id="8902" name="Google Shape;8902;p107"/>
            <p:cNvGrpSpPr/>
            <p:nvPr/>
          </p:nvGrpSpPr>
          <p:grpSpPr>
            <a:xfrm>
              <a:off x="5830645" y="1256617"/>
              <a:ext cx="259743" cy="269909"/>
              <a:chOff x="5830645" y="1256617"/>
              <a:chExt cx="259743" cy="269909"/>
            </a:xfrm>
          </p:grpSpPr>
          <p:sp>
            <p:nvSpPr>
              <p:cNvPr id="8903" name="Google Shape;8903;p107"/>
              <p:cNvSpPr/>
              <p:nvPr/>
            </p:nvSpPr>
            <p:spPr>
              <a:xfrm>
                <a:off x="5830645" y="1294145"/>
                <a:ext cx="259743" cy="232380"/>
              </a:xfrm>
              <a:custGeom>
                <a:avLst/>
                <a:gdLst/>
                <a:ahLst/>
                <a:cxnLst/>
                <a:rect l="l" t="t" r="r" b="b"/>
                <a:pathLst>
                  <a:path w="10195" h="9121" extrusionOk="0">
                    <a:moveTo>
                      <a:pt x="7470" y="1"/>
                    </a:moveTo>
                    <a:cubicBezTo>
                      <a:pt x="7469" y="1"/>
                      <a:pt x="7468" y="1"/>
                      <a:pt x="7467" y="1"/>
                    </a:cubicBezTo>
                    <a:lnTo>
                      <a:pt x="7044" y="1"/>
                    </a:lnTo>
                    <a:cubicBezTo>
                      <a:pt x="7044" y="1075"/>
                      <a:pt x="6172" y="1946"/>
                      <a:pt x="5097" y="1946"/>
                    </a:cubicBezTo>
                    <a:cubicBezTo>
                      <a:pt x="4021" y="1946"/>
                      <a:pt x="3150" y="1075"/>
                      <a:pt x="3150" y="1"/>
                    </a:cubicBezTo>
                    <a:lnTo>
                      <a:pt x="0" y="1"/>
                    </a:lnTo>
                    <a:lnTo>
                      <a:pt x="0" y="6393"/>
                    </a:lnTo>
                    <a:cubicBezTo>
                      <a:pt x="0" y="7900"/>
                      <a:pt x="1220" y="9120"/>
                      <a:pt x="2727" y="9120"/>
                    </a:cubicBezTo>
                    <a:lnTo>
                      <a:pt x="6018" y="9120"/>
                    </a:lnTo>
                    <a:cubicBezTo>
                      <a:pt x="6148" y="6883"/>
                      <a:pt x="7951" y="5095"/>
                      <a:pt x="10194" y="4987"/>
                    </a:cubicBezTo>
                    <a:lnTo>
                      <a:pt x="10194" y="2726"/>
                    </a:lnTo>
                    <a:cubicBezTo>
                      <a:pt x="10194" y="1222"/>
                      <a:pt x="8974" y="1"/>
                      <a:pt x="7470" y="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904" name="Google Shape;8904;p107"/>
              <p:cNvSpPr/>
              <p:nvPr/>
            </p:nvSpPr>
            <p:spPr>
              <a:xfrm>
                <a:off x="5922950" y="1256617"/>
                <a:ext cx="75057" cy="75057"/>
              </a:xfrm>
              <a:custGeom>
                <a:avLst/>
                <a:gdLst/>
                <a:ahLst/>
                <a:cxnLst/>
                <a:rect l="l" t="t" r="r" b="b"/>
                <a:pathLst>
                  <a:path w="2946" h="2946" extrusionOk="0">
                    <a:moveTo>
                      <a:pt x="1474" y="1"/>
                    </a:moveTo>
                    <a:cubicBezTo>
                      <a:pt x="661" y="1"/>
                      <a:pt x="1" y="660"/>
                      <a:pt x="1" y="1472"/>
                    </a:cubicBezTo>
                    <a:cubicBezTo>
                      <a:pt x="1" y="2286"/>
                      <a:pt x="661" y="2945"/>
                      <a:pt x="1474" y="2945"/>
                    </a:cubicBezTo>
                    <a:cubicBezTo>
                      <a:pt x="2288" y="2945"/>
                      <a:pt x="2946" y="2286"/>
                      <a:pt x="2946" y="1472"/>
                    </a:cubicBezTo>
                    <a:cubicBezTo>
                      <a:pt x="2946" y="660"/>
                      <a:pt x="2288" y="1"/>
                      <a:pt x="1474" y="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8905" name="Google Shape;8905;p107"/>
            <p:cNvGrpSpPr/>
            <p:nvPr/>
          </p:nvGrpSpPr>
          <p:grpSpPr>
            <a:xfrm>
              <a:off x="6101293" y="1256617"/>
              <a:ext cx="259692" cy="269909"/>
              <a:chOff x="6101293" y="1256617"/>
              <a:chExt cx="259692" cy="269909"/>
            </a:xfrm>
          </p:grpSpPr>
          <p:sp>
            <p:nvSpPr>
              <p:cNvPr id="8906" name="Google Shape;8906;p107"/>
              <p:cNvSpPr/>
              <p:nvPr/>
            </p:nvSpPr>
            <p:spPr>
              <a:xfrm>
                <a:off x="6101293" y="1294145"/>
                <a:ext cx="259692" cy="232380"/>
              </a:xfrm>
              <a:custGeom>
                <a:avLst/>
                <a:gdLst/>
                <a:ahLst/>
                <a:cxnLst/>
                <a:rect l="l" t="t" r="r" b="b"/>
                <a:pathLst>
                  <a:path w="10193" h="9121" extrusionOk="0">
                    <a:moveTo>
                      <a:pt x="2726" y="1"/>
                    </a:moveTo>
                    <a:cubicBezTo>
                      <a:pt x="1220" y="1"/>
                      <a:pt x="0" y="1221"/>
                      <a:pt x="0" y="2726"/>
                    </a:cubicBezTo>
                    <a:lnTo>
                      <a:pt x="0" y="4987"/>
                    </a:lnTo>
                    <a:cubicBezTo>
                      <a:pt x="2244" y="5095"/>
                      <a:pt x="4045" y="6883"/>
                      <a:pt x="4177" y="9120"/>
                    </a:cubicBezTo>
                    <a:lnTo>
                      <a:pt x="7467" y="9120"/>
                    </a:lnTo>
                    <a:cubicBezTo>
                      <a:pt x="8973" y="9120"/>
                      <a:pt x="10193" y="7900"/>
                      <a:pt x="10193" y="6393"/>
                    </a:cubicBezTo>
                    <a:lnTo>
                      <a:pt x="10193" y="1"/>
                    </a:lnTo>
                    <a:lnTo>
                      <a:pt x="7043" y="1"/>
                    </a:lnTo>
                    <a:cubicBezTo>
                      <a:pt x="7043" y="1075"/>
                      <a:pt x="6172" y="1946"/>
                      <a:pt x="5097" y="1946"/>
                    </a:cubicBezTo>
                    <a:cubicBezTo>
                      <a:pt x="4021" y="1946"/>
                      <a:pt x="3150" y="1075"/>
                      <a:pt x="3150" y="1"/>
                    </a:cubicBezTo>
                    <a:close/>
                  </a:path>
                </a:pathLst>
              </a:custGeom>
              <a:noFill/>
              <a:ln w="9525" cap="flat" cmpd="sng">
                <a:solidFill>
                  <a:srgbClr val="A5B7C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907" name="Google Shape;8907;p107"/>
              <p:cNvSpPr/>
              <p:nvPr/>
            </p:nvSpPr>
            <p:spPr>
              <a:xfrm>
                <a:off x="6193623" y="1256617"/>
                <a:ext cx="75031" cy="75057"/>
              </a:xfrm>
              <a:custGeom>
                <a:avLst/>
                <a:gdLst/>
                <a:ahLst/>
                <a:cxnLst/>
                <a:rect l="l" t="t" r="r" b="b"/>
                <a:pathLst>
                  <a:path w="2945" h="2946" extrusionOk="0">
                    <a:moveTo>
                      <a:pt x="1473" y="1"/>
                    </a:moveTo>
                    <a:cubicBezTo>
                      <a:pt x="660" y="1"/>
                      <a:pt x="0" y="660"/>
                      <a:pt x="0" y="1472"/>
                    </a:cubicBezTo>
                    <a:cubicBezTo>
                      <a:pt x="0" y="2286"/>
                      <a:pt x="660" y="2945"/>
                      <a:pt x="1473" y="2945"/>
                    </a:cubicBezTo>
                    <a:cubicBezTo>
                      <a:pt x="2285" y="2945"/>
                      <a:pt x="2945" y="2286"/>
                      <a:pt x="2945" y="1472"/>
                    </a:cubicBezTo>
                    <a:cubicBezTo>
                      <a:pt x="2945" y="660"/>
                      <a:pt x="2285" y="1"/>
                      <a:pt x="1473" y="1"/>
                    </a:cubicBezTo>
                    <a:close/>
                  </a:path>
                </a:pathLst>
              </a:custGeom>
              <a:noFill/>
              <a:ln w="9525" cap="flat" cmpd="sng">
                <a:solidFill>
                  <a:srgbClr val="A5B7C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8908" name="Google Shape;8908;p107"/>
            <p:cNvGrpSpPr/>
            <p:nvPr/>
          </p:nvGrpSpPr>
          <p:grpSpPr>
            <a:xfrm>
              <a:off x="5830645" y="1539749"/>
              <a:ext cx="259692" cy="269909"/>
              <a:chOff x="5830645" y="1539749"/>
              <a:chExt cx="259692" cy="269909"/>
            </a:xfrm>
          </p:grpSpPr>
          <p:sp>
            <p:nvSpPr>
              <p:cNvPr id="8909" name="Google Shape;8909;p107"/>
              <p:cNvSpPr/>
              <p:nvPr/>
            </p:nvSpPr>
            <p:spPr>
              <a:xfrm>
                <a:off x="5830645" y="1539749"/>
                <a:ext cx="259692" cy="232406"/>
              </a:xfrm>
              <a:custGeom>
                <a:avLst/>
                <a:gdLst/>
                <a:ahLst/>
                <a:cxnLst/>
                <a:rect l="l" t="t" r="r" b="b"/>
                <a:pathLst>
                  <a:path w="10193" h="9122" extrusionOk="0">
                    <a:moveTo>
                      <a:pt x="2727" y="1"/>
                    </a:moveTo>
                    <a:cubicBezTo>
                      <a:pt x="1220" y="1"/>
                      <a:pt x="0" y="1223"/>
                      <a:pt x="0" y="2728"/>
                    </a:cubicBezTo>
                    <a:lnTo>
                      <a:pt x="0" y="9122"/>
                    </a:lnTo>
                    <a:lnTo>
                      <a:pt x="3150" y="9122"/>
                    </a:lnTo>
                    <a:cubicBezTo>
                      <a:pt x="3150" y="8046"/>
                      <a:pt x="4021" y="7175"/>
                      <a:pt x="5097" y="7175"/>
                    </a:cubicBezTo>
                    <a:cubicBezTo>
                      <a:pt x="6172" y="7175"/>
                      <a:pt x="7044" y="8046"/>
                      <a:pt x="7044" y="9122"/>
                    </a:cubicBezTo>
                    <a:lnTo>
                      <a:pt x="7467" y="9122"/>
                    </a:lnTo>
                    <a:cubicBezTo>
                      <a:pt x="8972" y="9122"/>
                      <a:pt x="10192" y="7900"/>
                      <a:pt x="10192" y="6395"/>
                    </a:cubicBezTo>
                    <a:lnTo>
                      <a:pt x="10192" y="4135"/>
                    </a:lnTo>
                    <a:cubicBezTo>
                      <a:pt x="7951" y="4028"/>
                      <a:pt x="6148" y="2239"/>
                      <a:pt x="6018" y="1"/>
                    </a:cubicBezTo>
                    <a:close/>
                  </a:path>
                </a:pathLst>
              </a:custGeom>
              <a:noFill/>
              <a:ln w="9525" cap="flat" cmpd="sng">
                <a:solidFill>
                  <a:srgbClr val="A5B7C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910" name="Google Shape;8910;p107"/>
              <p:cNvSpPr/>
              <p:nvPr/>
            </p:nvSpPr>
            <p:spPr>
              <a:xfrm>
                <a:off x="5922950" y="1734600"/>
                <a:ext cx="75057" cy="75057"/>
              </a:xfrm>
              <a:custGeom>
                <a:avLst/>
                <a:gdLst/>
                <a:ahLst/>
                <a:cxnLst/>
                <a:rect l="l" t="t" r="r" b="b"/>
                <a:pathLst>
                  <a:path w="2946" h="2946" extrusionOk="0">
                    <a:moveTo>
                      <a:pt x="1474" y="1"/>
                    </a:moveTo>
                    <a:cubicBezTo>
                      <a:pt x="661" y="1"/>
                      <a:pt x="1" y="660"/>
                      <a:pt x="1" y="1474"/>
                    </a:cubicBezTo>
                    <a:cubicBezTo>
                      <a:pt x="1" y="2287"/>
                      <a:pt x="661" y="2946"/>
                      <a:pt x="1474" y="2946"/>
                    </a:cubicBezTo>
                    <a:cubicBezTo>
                      <a:pt x="2288" y="2946"/>
                      <a:pt x="2946" y="2287"/>
                      <a:pt x="2946" y="1474"/>
                    </a:cubicBezTo>
                    <a:cubicBezTo>
                      <a:pt x="2946" y="660"/>
                      <a:pt x="2288" y="1"/>
                      <a:pt x="1474" y="1"/>
                    </a:cubicBezTo>
                    <a:close/>
                  </a:path>
                </a:pathLst>
              </a:custGeom>
              <a:noFill/>
              <a:ln w="9525" cap="flat" cmpd="sng">
                <a:solidFill>
                  <a:srgbClr val="A5B7C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8911" name="Google Shape;8911;p107"/>
            <p:cNvGrpSpPr/>
            <p:nvPr/>
          </p:nvGrpSpPr>
          <p:grpSpPr>
            <a:xfrm>
              <a:off x="6101293" y="1539749"/>
              <a:ext cx="259692" cy="269909"/>
              <a:chOff x="6101293" y="1539749"/>
              <a:chExt cx="259692" cy="269909"/>
            </a:xfrm>
          </p:grpSpPr>
          <p:sp>
            <p:nvSpPr>
              <p:cNvPr id="8912" name="Google Shape;8912;p107"/>
              <p:cNvSpPr/>
              <p:nvPr/>
            </p:nvSpPr>
            <p:spPr>
              <a:xfrm>
                <a:off x="6101293" y="1539749"/>
                <a:ext cx="259692" cy="232406"/>
              </a:xfrm>
              <a:custGeom>
                <a:avLst/>
                <a:gdLst/>
                <a:ahLst/>
                <a:cxnLst/>
                <a:rect l="l" t="t" r="r" b="b"/>
                <a:pathLst>
                  <a:path w="10193" h="9122" extrusionOk="0">
                    <a:moveTo>
                      <a:pt x="4177" y="1"/>
                    </a:moveTo>
                    <a:cubicBezTo>
                      <a:pt x="4045" y="2239"/>
                      <a:pt x="2244" y="4027"/>
                      <a:pt x="0" y="4135"/>
                    </a:cubicBezTo>
                    <a:lnTo>
                      <a:pt x="0" y="6395"/>
                    </a:lnTo>
                    <a:cubicBezTo>
                      <a:pt x="0" y="7902"/>
                      <a:pt x="1220" y="9122"/>
                      <a:pt x="2726" y="9122"/>
                    </a:cubicBezTo>
                    <a:lnTo>
                      <a:pt x="3148" y="9122"/>
                    </a:lnTo>
                    <a:cubicBezTo>
                      <a:pt x="3148" y="8046"/>
                      <a:pt x="4020" y="7175"/>
                      <a:pt x="5096" y="7175"/>
                    </a:cubicBezTo>
                    <a:cubicBezTo>
                      <a:pt x="6170" y="7175"/>
                      <a:pt x="7043" y="8046"/>
                      <a:pt x="7043" y="9122"/>
                    </a:cubicBezTo>
                    <a:lnTo>
                      <a:pt x="10193" y="9122"/>
                    </a:lnTo>
                    <a:lnTo>
                      <a:pt x="10193" y="2728"/>
                    </a:lnTo>
                    <a:cubicBezTo>
                      <a:pt x="10193" y="1223"/>
                      <a:pt x="8973" y="2"/>
                      <a:pt x="7467" y="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913" name="Google Shape;8913;p107"/>
              <p:cNvSpPr/>
              <p:nvPr/>
            </p:nvSpPr>
            <p:spPr>
              <a:xfrm>
                <a:off x="6193623" y="1734600"/>
                <a:ext cx="75031" cy="75057"/>
              </a:xfrm>
              <a:custGeom>
                <a:avLst/>
                <a:gdLst/>
                <a:ahLst/>
                <a:cxnLst/>
                <a:rect l="l" t="t" r="r" b="b"/>
                <a:pathLst>
                  <a:path w="2945" h="2946" extrusionOk="0">
                    <a:moveTo>
                      <a:pt x="1473" y="1"/>
                    </a:moveTo>
                    <a:cubicBezTo>
                      <a:pt x="660" y="1"/>
                      <a:pt x="0" y="660"/>
                      <a:pt x="0" y="1474"/>
                    </a:cubicBezTo>
                    <a:cubicBezTo>
                      <a:pt x="0" y="2287"/>
                      <a:pt x="660" y="2946"/>
                      <a:pt x="1473" y="2946"/>
                    </a:cubicBezTo>
                    <a:cubicBezTo>
                      <a:pt x="2285" y="2946"/>
                      <a:pt x="2945" y="2287"/>
                      <a:pt x="2945" y="1474"/>
                    </a:cubicBezTo>
                    <a:cubicBezTo>
                      <a:pt x="2945" y="660"/>
                      <a:pt x="2285" y="1"/>
                      <a:pt x="1473" y="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sp>
          <p:nvSpPr>
            <p:cNvPr id="8914" name="Google Shape;8914;p107"/>
            <p:cNvSpPr/>
            <p:nvPr/>
          </p:nvSpPr>
          <p:spPr>
            <a:xfrm>
              <a:off x="5999148" y="1436800"/>
              <a:ext cx="192625" cy="192690"/>
            </a:xfrm>
            <a:custGeom>
              <a:avLst/>
              <a:gdLst/>
              <a:ahLst/>
              <a:cxnLst/>
              <a:rect l="l" t="t" r="r" b="b"/>
              <a:pathLst>
                <a:path w="2945" h="2946" extrusionOk="0">
                  <a:moveTo>
                    <a:pt x="1473" y="1"/>
                  </a:moveTo>
                  <a:cubicBezTo>
                    <a:pt x="660" y="1"/>
                    <a:pt x="0" y="660"/>
                    <a:pt x="0" y="1472"/>
                  </a:cubicBezTo>
                  <a:cubicBezTo>
                    <a:pt x="0" y="2286"/>
                    <a:pt x="660" y="2945"/>
                    <a:pt x="1473" y="2945"/>
                  </a:cubicBezTo>
                  <a:cubicBezTo>
                    <a:pt x="2285" y="2945"/>
                    <a:pt x="2945" y="2286"/>
                    <a:pt x="2945" y="1472"/>
                  </a:cubicBezTo>
                  <a:cubicBezTo>
                    <a:pt x="2945" y="660"/>
                    <a:pt x="2285" y="1"/>
                    <a:pt x="1473" y="1"/>
                  </a:cubicBezTo>
                  <a:close/>
                </a:path>
              </a:pathLst>
            </a:custGeom>
            <a:noFill/>
            <a:ln w="9525" cap="flat" cmpd="sng">
              <a:solidFill>
                <a:srgbClr val="E3E9ED"/>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8915" name="Google Shape;8915;p107"/>
          <p:cNvGrpSpPr/>
          <p:nvPr/>
        </p:nvGrpSpPr>
        <p:grpSpPr>
          <a:xfrm>
            <a:off x="976585" y="3903409"/>
            <a:ext cx="1937273" cy="828480"/>
            <a:chOff x="732422" y="2990152"/>
            <a:chExt cx="1337773" cy="572102"/>
          </a:xfrm>
        </p:grpSpPr>
        <p:sp>
          <p:nvSpPr>
            <p:cNvPr id="8916" name="Google Shape;8916;p107"/>
            <p:cNvSpPr/>
            <p:nvPr/>
          </p:nvSpPr>
          <p:spPr>
            <a:xfrm>
              <a:off x="923705" y="3182595"/>
              <a:ext cx="380762" cy="379464"/>
            </a:xfrm>
            <a:custGeom>
              <a:avLst/>
              <a:gdLst/>
              <a:ahLst/>
              <a:cxnLst/>
              <a:rect l="l" t="t" r="r" b="b"/>
              <a:pathLst>
                <a:path w="33153" h="33040" extrusionOk="0">
                  <a:moveTo>
                    <a:pt x="16576" y="1"/>
                  </a:moveTo>
                  <a:cubicBezTo>
                    <a:pt x="16428" y="1"/>
                    <a:pt x="16280" y="57"/>
                    <a:pt x="16167" y="170"/>
                  </a:cubicBezTo>
                  <a:lnTo>
                    <a:pt x="9658" y="6680"/>
                  </a:lnTo>
                  <a:cubicBezTo>
                    <a:pt x="9434" y="6906"/>
                    <a:pt x="9434" y="7272"/>
                    <a:pt x="9658" y="7495"/>
                  </a:cubicBezTo>
                  <a:lnTo>
                    <a:pt x="9729" y="7566"/>
                  </a:lnTo>
                  <a:cubicBezTo>
                    <a:pt x="9955" y="7789"/>
                    <a:pt x="10395" y="8000"/>
                    <a:pt x="10712" y="8032"/>
                  </a:cubicBezTo>
                  <a:cubicBezTo>
                    <a:pt x="10712" y="8032"/>
                    <a:pt x="11595" y="8116"/>
                    <a:pt x="12145" y="8663"/>
                  </a:cubicBezTo>
                  <a:cubicBezTo>
                    <a:pt x="13090" y="9608"/>
                    <a:pt x="13090" y="11141"/>
                    <a:pt x="12142" y="12089"/>
                  </a:cubicBezTo>
                  <a:cubicBezTo>
                    <a:pt x="11670" y="12562"/>
                    <a:pt x="11050" y="12798"/>
                    <a:pt x="10431" y="12798"/>
                  </a:cubicBezTo>
                  <a:cubicBezTo>
                    <a:pt x="9811" y="12798"/>
                    <a:pt x="9192" y="12562"/>
                    <a:pt x="8719" y="12089"/>
                  </a:cubicBezTo>
                  <a:cubicBezTo>
                    <a:pt x="8173" y="11539"/>
                    <a:pt x="8085" y="10656"/>
                    <a:pt x="8085" y="10656"/>
                  </a:cubicBezTo>
                  <a:cubicBezTo>
                    <a:pt x="8053" y="10339"/>
                    <a:pt x="7846" y="9899"/>
                    <a:pt x="7623" y="9672"/>
                  </a:cubicBezTo>
                  <a:lnTo>
                    <a:pt x="7551" y="9604"/>
                  </a:lnTo>
                  <a:cubicBezTo>
                    <a:pt x="7438" y="9491"/>
                    <a:pt x="7290" y="9435"/>
                    <a:pt x="7143" y="9435"/>
                  </a:cubicBezTo>
                  <a:cubicBezTo>
                    <a:pt x="6995" y="9435"/>
                    <a:pt x="6848" y="9491"/>
                    <a:pt x="6736" y="9604"/>
                  </a:cubicBezTo>
                  <a:lnTo>
                    <a:pt x="223" y="16111"/>
                  </a:lnTo>
                  <a:cubicBezTo>
                    <a:pt x="0" y="16337"/>
                    <a:pt x="0" y="16703"/>
                    <a:pt x="223" y="16929"/>
                  </a:cubicBezTo>
                  <a:lnTo>
                    <a:pt x="6733" y="23439"/>
                  </a:lnTo>
                  <a:cubicBezTo>
                    <a:pt x="6846" y="23550"/>
                    <a:pt x="6994" y="23606"/>
                    <a:pt x="7142" y="23606"/>
                  </a:cubicBezTo>
                  <a:cubicBezTo>
                    <a:pt x="7290" y="23606"/>
                    <a:pt x="7438" y="23550"/>
                    <a:pt x="7551" y="23439"/>
                  </a:cubicBezTo>
                  <a:lnTo>
                    <a:pt x="7623" y="23364"/>
                  </a:lnTo>
                  <a:cubicBezTo>
                    <a:pt x="7849" y="23141"/>
                    <a:pt x="8056" y="22698"/>
                    <a:pt x="8088" y="22381"/>
                  </a:cubicBezTo>
                  <a:cubicBezTo>
                    <a:pt x="8088" y="22381"/>
                    <a:pt x="8173" y="21497"/>
                    <a:pt x="8719" y="20951"/>
                  </a:cubicBezTo>
                  <a:cubicBezTo>
                    <a:pt x="9194" y="20469"/>
                    <a:pt x="9820" y="20228"/>
                    <a:pt x="10446" y="20228"/>
                  </a:cubicBezTo>
                  <a:cubicBezTo>
                    <a:pt x="11066" y="20228"/>
                    <a:pt x="11685" y="20465"/>
                    <a:pt x="12158" y="20938"/>
                  </a:cubicBezTo>
                  <a:cubicBezTo>
                    <a:pt x="13110" y="21889"/>
                    <a:pt x="13103" y="23432"/>
                    <a:pt x="12145" y="24374"/>
                  </a:cubicBezTo>
                  <a:cubicBezTo>
                    <a:pt x="11599" y="24924"/>
                    <a:pt x="10715" y="25008"/>
                    <a:pt x="10715" y="25008"/>
                  </a:cubicBezTo>
                  <a:cubicBezTo>
                    <a:pt x="10398" y="25040"/>
                    <a:pt x="9955" y="25250"/>
                    <a:pt x="9732" y="25474"/>
                  </a:cubicBezTo>
                  <a:lnTo>
                    <a:pt x="9658" y="25545"/>
                  </a:lnTo>
                  <a:cubicBezTo>
                    <a:pt x="9434" y="25771"/>
                    <a:pt x="9434" y="26137"/>
                    <a:pt x="9658" y="26363"/>
                  </a:cubicBezTo>
                  <a:lnTo>
                    <a:pt x="16167" y="32869"/>
                  </a:lnTo>
                  <a:cubicBezTo>
                    <a:pt x="16280" y="32983"/>
                    <a:pt x="16428" y="33039"/>
                    <a:pt x="16576" y="33039"/>
                  </a:cubicBezTo>
                  <a:cubicBezTo>
                    <a:pt x="16724" y="33039"/>
                    <a:pt x="16872" y="32983"/>
                    <a:pt x="16985" y="32869"/>
                  </a:cubicBezTo>
                  <a:lnTo>
                    <a:pt x="23492" y="26363"/>
                  </a:lnTo>
                  <a:cubicBezTo>
                    <a:pt x="23605" y="26252"/>
                    <a:pt x="23753" y="26196"/>
                    <a:pt x="23901" y="26196"/>
                  </a:cubicBezTo>
                  <a:cubicBezTo>
                    <a:pt x="24049" y="26196"/>
                    <a:pt x="24197" y="26252"/>
                    <a:pt x="24310" y="26363"/>
                  </a:cubicBezTo>
                  <a:lnTo>
                    <a:pt x="24313" y="26370"/>
                  </a:lnTo>
                  <a:cubicBezTo>
                    <a:pt x="24540" y="26593"/>
                    <a:pt x="24750" y="27036"/>
                    <a:pt x="24779" y="27353"/>
                  </a:cubicBezTo>
                  <a:cubicBezTo>
                    <a:pt x="24779" y="27353"/>
                    <a:pt x="24867" y="28237"/>
                    <a:pt x="25413" y="28783"/>
                  </a:cubicBezTo>
                  <a:cubicBezTo>
                    <a:pt x="25888" y="29265"/>
                    <a:pt x="26514" y="29506"/>
                    <a:pt x="27140" y="29506"/>
                  </a:cubicBezTo>
                  <a:cubicBezTo>
                    <a:pt x="27759" y="29506"/>
                    <a:pt x="28378" y="29269"/>
                    <a:pt x="28849" y="28796"/>
                  </a:cubicBezTo>
                  <a:cubicBezTo>
                    <a:pt x="29800" y="27845"/>
                    <a:pt x="29797" y="26302"/>
                    <a:pt x="28840" y="25357"/>
                  </a:cubicBezTo>
                  <a:cubicBezTo>
                    <a:pt x="28290" y="24810"/>
                    <a:pt x="27406" y="24726"/>
                    <a:pt x="27406" y="24726"/>
                  </a:cubicBezTo>
                  <a:cubicBezTo>
                    <a:pt x="27089" y="24694"/>
                    <a:pt x="26646" y="24487"/>
                    <a:pt x="26423" y="24260"/>
                  </a:cubicBezTo>
                  <a:lnTo>
                    <a:pt x="26420" y="24257"/>
                  </a:lnTo>
                  <a:cubicBezTo>
                    <a:pt x="26193" y="24031"/>
                    <a:pt x="26193" y="23665"/>
                    <a:pt x="26420" y="23439"/>
                  </a:cubicBezTo>
                  <a:lnTo>
                    <a:pt x="32926" y="16929"/>
                  </a:lnTo>
                  <a:cubicBezTo>
                    <a:pt x="33152" y="16703"/>
                    <a:pt x="33152" y="16337"/>
                    <a:pt x="32926" y="16111"/>
                  </a:cubicBezTo>
                  <a:lnTo>
                    <a:pt x="26420" y="9604"/>
                  </a:lnTo>
                  <a:cubicBezTo>
                    <a:pt x="26193" y="9378"/>
                    <a:pt x="26193" y="9012"/>
                    <a:pt x="26420" y="8786"/>
                  </a:cubicBezTo>
                  <a:lnTo>
                    <a:pt x="26533" y="8669"/>
                  </a:lnTo>
                  <a:cubicBezTo>
                    <a:pt x="26759" y="8446"/>
                    <a:pt x="27202" y="8236"/>
                    <a:pt x="27516" y="8207"/>
                  </a:cubicBezTo>
                  <a:cubicBezTo>
                    <a:pt x="27516" y="8207"/>
                    <a:pt x="28403" y="8119"/>
                    <a:pt x="28950" y="7573"/>
                  </a:cubicBezTo>
                  <a:cubicBezTo>
                    <a:pt x="29894" y="6628"/>
                    <a:pt x="29894" y="5094"/>
                    <a:pt x="28950" y="4147"/>
                  </a:cubicBezTo>
                  <a:cubicBezTo>
                    <a:pt x="28477" y="3674"/>
                    <a:pt x="27858" y="3438"/>
                    <a:pt x="27238" y="3438"/>
                  </a:cubicBezTo>
                  <a:cubicBezTo>
                    <a:pt x="26618" y="3438"/>
                    <a:pt x="25997" y="3674"/>
                    <a:pt x="25523" y="4147"/>
                  </a:cubicBezTo>
                  <a:cubicBezTo>
                    <a:pt x="24977" y="4697"/>
                    <a:pt x="24892" y="5580"/>
                    <a:pt x="24892" y="5580"/>
                  </a:cubicBezTo>
                  <a:cubicBezTo>
                    <a:pt x="24860" y="5894"/>
                    <a:pt x="24650" y="6337"/>
                    <a:pt x="24427" y="6563"/>
                  </a:cubicBezTo>
                  <a:lnTo>
                    <a:pt x="24310" y="6680"/>
                  </a:lnTo>
                  <a:cubicBezTo>
                    <a:pt x="24197" y="6791"/>
                    <a:pt x="24049" y="6847"/>
                    <a:pt x="23901" y="6847"/>
                  </a:cubicBezTo>
                  <a:cubicBezTo>
                    <a:pt x="23753" y="6847"/>
                    <a:pt x="23605" y="6791"/>
                    <a:pt x="23492" y="6680"/>
                  </a:cubicBezTo>
                  <a:lnTo>
                    <a:pt x="16985" y="170"/>
                  </a:lnTo>
                  <a:cubicBezTo>
                    <a:pt x="16872" y="57"/>
                    <a:pt x="16724" y="1"/>
                    <a:pt x="16576" y="1"/>
                  </a:cubicBezTo>
                  <a:close/>
                </a:path>
              </a:pathLst>
            </a:custGeom>
            <a:noFill/>
            <a:ln w="9525" cap="flat" cmpd="sng">
              <a:solidFill>
                <a:srgbClr val="D6DBE0"/>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917" name="Google Shape;8917;p107"/>
            <p:cNvSpPr/>
            <p:nvPr/>
          </p:nvSpPr>
          <p:spPr>
            <a:xfrm>
              <a:off x="1309210" y="3183709"/>
              <a:ext cx="378534" cy="377248"/>
            </a:xfrm>
            <a:custGeom>
              <a:avLst/>
              <a:gdLst/>
              <a:ahLst/>
              <a:cxnLst/>
              <a:rect l="l" t="t" r="r" b="b"/>
              <a:pathLst>
                <a:path w="32959" h="32847" extrusionOk="0">
                  <a:moveTo>
                    <a:pt x="16480" y="1"/>
                  </a:moveTo>
                  <a:cubicBezTo>
                    <a:pt x="16334" y="1"/>
                    <a:pt x="16186" y="57"/>
                    <a:pt x="16073" y="170"/>
                  </a:cubicBezTo>
                  <a:lnTo>
                    <a:pt x="9603" y="6641"/>
                  </a:lnTo>
                  <a:cubicBezTo>
                    <a:pt x="9491" y="6753"/>
                    <a:pt x="9345" y="6808"/>
                    <a:pt x="9198" y="6808"/>
                  </a:cubicBezTo>
                  <a:cubicBezTo>
                    <a:pt x="9051" y="6808"/>
                    <a:pt x="8904" y="6753"/>
                    <a:pt x="8791" y="6641"/>
                  </a:cubicBezTo>
                  <a:lnTo>
                    <a:pt x="8677" y="6525"/>
                  </a:lnTo>
                  <a:cubicBezTo>
                    <a:pt x="8454" y="6301"/>
                    <a:pt x="8244" y="5861"/>
                    <a:pt x="8215" y="5547"/>
                  </a:cubicBezTo>
                  <a:cubicBezTo>
                    <a:pt x="8215" y="5547"/>
                    <a:pt x="8127" y="4667"/>
                    <a:pt x="7584" y="4124"/>
                  </a:cubicBezTo>
                  <a:cubicBezTo>
                    <a:pt x="7113" y="3653"/>
                    <a:pt x="6497" y="3418"/>
                    <a:pt x="5880" y="3418"/>
                  </a:cubicBezTo>
                  <a:cubicBezTo>
                    <a:pt x="5264" y="3418"/>
                    <a:pt x="4648" y="3653"/>
                    <a:pt x="4177" y="4124"/>
                  </a:cubicBezTo>
                  <a:cubicBezTo>
                    <a:pt x="3236" y="5065"/>
                    <a:pt x="3236" y="6589"/>
                    <a:pt x="4177" y="7531"/>
                  </a:cubicBezTo>
                  <a:cubicBezTo>
                    <a:pt x="4721" y="8074"/>
                    <a:pt x="5601" y="8158"/>
                    <a:pt x="5601" y="8158"/>
                  </a:cubicBezTo>
                  <a:cubicBezTo>
                    <a:pt x="5914" y="8191"/>
                    <a:pt x="6354" y="8398"/>
                    <a:pt x="6578" y="8621"/>
                  </a:cubicBezTo>
                  <a:lnTo>
                    <a:pt x="6694" y="8737"/>
                  </a:lnTo>
                  <a:cubicBezTo>
                    <a:pt x="6917" y="8961"/>
                    <a:pt x="6917" y="9323"/>
                    <a:pt x="6694" y="9550"/>
                  </a:cubicBezTo>
                  <a:lnTo>
                    <a:pt x="223" y="16020"/>
                  </a:lnTo>
                  <a:cubicBezTo>
                    <a:pt x="0" y="16243"/>
                    <a:pt x="0" y="16606"/>
                    <a:pt x="223" y="16832"/>
                  </a:cubicBezTo>
                  <a:lnTo>
                    <a:pt x="6694" y="23300"/>
                  </a:lnTo>
                  <a:cubicBezTo>
                    <a:pt x="6807" y="23411"/>
                    <a:pt x="6954" y="23467"/>
                    <a:pt x="7102" y="23467"/>
                  </a:cubicBezTo>
                  <a:cubicBezTo>
                    <a:pt x="7249" y="23467"/>
                    <a:pt x="7396" y="23411"/>
                    <a:pt x="7509" y="23300"/>
                  </a:cubicBezTo>
                  <a:lnTo>
                    <a:pt x="7577" y="23232"/>
                  </a:lnTo>
                  <a:cubicBezTo>
                    <a:pt x="7801" y="23008"/>
                    <a:pt x="8008" y="22568"/>
                    <a:pt x="8040" y="22255"/>
                  </a:cubicBezTo>
                  <a:cubicBezTo>
                    <a:pt x="8040" y="22255"/>
                    <a:pt x="8124" y="21375"/>
                    <a:pt x="8668" y="20831"/>
                  </a:cubicBezTo>
                  <a:cubicBezTo>
                    <a:pt x="9138" y="20360"/>
                    <a:pt x="9755" y="20125"/>
                    <a:pt x="10371" y="20125"/>
                  </a:cubicBezTo>
                  <a:cubicBezTo>
                    <a:pt x="10987" y="20125"/>
                    <a:pt x="11604" y="20360"/>
                    <a:pt x="12074" y="20831"/>
                  </a:cubicBezTo>
                  <a:cubicBezTo>
                    <a:pt x="13013" y="21769"/>
                    <a:pt x="13013" y="23296"/>
                    <a:pt x="12074" y="24235"/>
                  </a:cubicBezTo>
                  <a:cubicBezTo>
                    <a:pt x="11528" y="24781"/>
                    <a:pt x="10651" y="24865"/>
                    <a:pt x="10651" y="24865"/>
                  </a:cubicBezTo>
                  <a:cubicBezTo>
                    <a:pt x="10337" y="24895"/>
                    <a:pt x="9897" y="25105"/>
                    <a:pt x="9674" y="25328"/>
                  </a:cubicBezTo>
                  <a:lnTo>
                    <a:pt x="9603" y="25396"/>
                  </a:lnTo>
                  <a:cubicBezTo>
                    <a:pt x="9379" y="25619"/>
                    <a:pt x="9379" y="25985"/>
                    <a:pt x="9603" y="26208"/>
                  </a:cubicBezTo>
                  <a:lnTo>
                    <a:pt x="16073" y="32679"/>
                  </a:lnTo>
                  <a:cubicBezTo>
                    <a:pt x="16186" y="32790"/>
                    <a:pt x="16334" y="32846"/>
                    <a:pt x="16480" y="32846"/>
                  </a:cubicBezTo>
                  <a:cubicBezTo>
                    <a:pt x="16627" y="32846"/>
                    <a:pt x="16774" y="32790"/>
                    <a:pt x="16885" y="32679"/>
                  </a:cubicBezTo>
                  <a:lnTo>
                    <a:pt x="23356" y="26208"/>
                  </a:lnTo>
                  <a:cubicBezTo>
                    <a:pt x="23582" y="25985"/>
                    <a:pt x="23582" y="25619"/>
                    <a:pt x="23356" y="25396"/>
                  </a:cubicBezTo>
                  <a:lnTo>
                    <a:pt x="23285" y="25325"/>
                  </a:lnTo>
                  <a:cubicBezTo>
                    <a:pt x="23061" y="25102"/>
                    <a:pt x="22621" y="24895"/>
                    <a:pt x="22308" y="24862"/>
                  </a:cubicBezTo>
                  <a:cubicBezTo>
                    <a:pt x="22308" y="24862"/>
                    <a:pt x="21428" y="24778"/>
                    <a:pt x="20884" y="24235"/>
                  </a:cubicBezTo>
                  <a:cubicBezTo>
                    <a:pt x="19962" y="23290"/>
                    <a:pt x="19972" y="21779"/>
                    <a:pt x="20903" y="20847"/>
                  </a:cubicBezTo>
                  <a:cubicBezTo>
                    <a:pt x="21375" y="20378"/>
                    <a:pt x="21991" y="20142"/>
                    <a:pt x="22608" y="20142"/>
                  </a:cubicBezTo>
                  <a:cubicBezTo>
                    <a:pt x="23215" y="20142"/>
                    <a:pt x="23822" y="20370"/>
                    <a:pt x="24291" y="20828"/>
                  </a:cubicBezTo>
                  <a:cubicBezTo>
                    <a:pt x="24834" y="21371"/>
                    <a:pt x="24918" y="22251"/>
                    <a:pt x="24918" y="22251"/>
                  </a:cubicBezTo>
                  <a:cubicBezTo>
                    <a:pt x="24951" y="22565"/>
                    <a:pt x="25158" y="23005"/>
                    <a:pt x="25381" y="23228"/>
                  </a:cubicBezTo>
                  <a:lnTo>
                    <a:pt x="25452" y="23300"/>
                  </a:lnTo>
                  <a:cubicBezTo>
                    <a:pt x="25565" y="23411"/>
                    <a:pt x="25713" y="23467"/>
                    <a:pt x="25859" y="23467"/>
                  </a:cubicBezTo>
                  <a:cubicBezTo>
                    <a:pt x="26006" y="23467"/>
                    <a:pt x="26153" y="23411"/>
                    <a:pt x="26264" y="23300"/>
                  </a:cubicBezTo>
                  <a:lnTo>
                    <a:pt x="32735" y="16829"/>
                  </a:lnTo>
                  <a:cubicBezTo>
                    <a:pt x="32958" y="16606"/>
                    <a:pt x="32958" y="16243"/>
                    <a:pt x="32735" y="16017"/>
                  </a:cubicBezTo>
                  <a:lnTo>
                    <a:pt x="26264" y="9546"/>
                  </a:lnTo>
                  <a:cubicBezTo>
                    <a:pt x="26041" y="9323"/>
                    <a:pt x="26041" y="8961"/>
                    <a:pt x="26264" y="8734"/>
                  </a:cubicBezTo>
                  <a:lnTo>
                    <a:pt x="26271" y="8731"/>
                  </a:lnTo>
                  <a:cubicBezTo>
                    <a:pt x="26494" y="8508"/>
                    <a:pt x="26934" y="8301"/>
                    <a:pt x="27248" y="8268"/>
                  </a:cubicBezTo>
                  <a:cubicBezTo>
                    <a:pt x="27248" y="8268"/>
                    <a:pt x="28125" y="8184"/>
                    <a:pt x="28671" y="7641"/>
                  </a:cubicBezTo>
                  <a:cubicBezTo>
                    <a:pt x="29593" y="6696"/>
                    <a:pt x="29584" y="5185"/>
                    <a:pt x="28652" y="4253"/>
                  </a:cubicBezTo>
                  <a:cubicBezTo>
                    <a:pt x="28181" y="3784"/>
                    <a:pt x="27564" y="3548"/>
                    <a:pt x="26947" y="3548"/>
                  </a:cubicBezTo>
                  <a:cubicBezTo>
                    <a:pt x="26340" y="3548"/>
                    <a:pt x="25733" y="3777"/>
                    <a:pt x="25265" y="4234"/>
                  </a:cubicBezTo>
                  <a:cubicBezTo>
                    <a:pt x="24721" y="4777"/>
                    <a:pt x="24637" y="5657"/>
                    <a:pt x="24637" y="5657"/>
                  </a:cubicBezTo>
                  <a:cubicBezTo>
                    <a:pt x="24605" y="5971"/>
                    <a:pt x="24398" y="6411"/>
                    <a:pt x="24174" y="6635"/>
                  </a:cubicBezTo>
                  <a:lnTo>
                    <a:pt x="24168" y="6641"/>
                  </a:lnTo>
                  <a:cubicBezTo>
                    <a:pt x="24056" y="6753"/>
                    <a:pt x="23910" y="6808"/>
                    <a:pt x="23763" y="6808"/>
                  </a:cubicBezTo>
                  <a:cubicBezTo>
                    <a:pt x="23616" y="6808"/>
                    <a:pt x="23469" y="6753"/>
                    <a:pt x="23356" y="6641"/>
                  </a:cubicBezTo>
                  <a:lnTo>
                    <a:pt x="16885" y="170"/>
                  </a:lnTo>
                  <a:cubicBezTo>
                    <a:pt x="16774" y="57"/>
                    <a:pt x="16627" y="1"/>
                    <a:pt x="16480" y="1"/>
                  </a:cubicBezTo>
                  <a:close/>
                </a:path>
              </a:pathLst>
            </a:custGeom>
            <a:noFill/>
            <a:ln w="9525" cap="flat" cmpd="sng">
              <a:solidFill>
                <a:srgbClr val="A5B7C6"/>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918" name="Google Shape;8918;p107"/>
            <p:cNvSpPr/>
            <p:nvPr/>
          </p:nvSpPr>
          <p:spPr>
            <a:xfrm>
              <a:off x="732422" y="2990152"/>
              <a:ext cx="380716" cy="379441"/>
            </a:xfrm>
            <a:custGeom>
              <a:avLst/>
              <a:gdLst/>
              <a:ahLst/>
              <a:cxnLst/>
              <a:rect l="l" t="t" r="r" b="b"/>
              <a:pathLst>
                <a:path w="33149" h="33038" extrusionOk="0">
                  <a:moveTo>
                    <a:pt x="16573" y="0"/>
                  </a:moveTo>
                  <a:cubicBezTo>
                    <a:pt x="16426" y="0"/>
                    <a:pt x="16278" y="56"/>
                    <a:pt x="16167" y="168"/>
                  </a:cubicBezTo>
                  <a:lnTo>
                    <a:pt x="9657" y="6677"/>
                  </a:lnTo>
                  <a:cubicBezTo>
                    <a:pt x="9431" y="6903"/>
                    <a:pt x="9431" y="7269"/>
                    <a:pt x="9657" y="7492"/>
                  </a:cubicBezTo>
                  <a:lnTo>
                    <a:pt x="9725" y="7563"/>
                  </a:lnTo>
                  <a:cubicBezTo>
                    <a:pt x="9952" y="7787"/>
                    <a:pt x="10395" y="7997"/>
                    <a:pt x="10709" y="8026"/>
                  </a:cubicBezTo>
                  <a:cubicBezTo>
                    <a:pt x="10709" y="8026"/>
                    <a:pt x="11592" y="8113"/>
                    <a:pt x="12142" y="8660"/>
                  </a:cubicBezTo>
                  <a:cubicBezTo>
                    <a:pt x="13087" y="9605"/>
                    <a:pt x="13087" y="11142"/>
                    <a:pt x="12142" y="12086"/>
                  </a:cubicBezTo>
                  <a:cubicBezTo>
                    <a:pt x="11669" y="12561"/>
                    <a:pt x="11049" y="12798"/>
                    <a:pt x="10429" y="12798"/>
                  </a:cubicBezTo>
                  <a:cubicBezTo>
                    <a:pt x="9809" y="12798"/>
                    <a:pt x="9189" y="12562"/>
                    <a:pt x="8716" y="12090"/>
                  </a:cubicBezTo>
                  <a:cubicBezTo>
                    <a:pt x="8169" y="11540"/>
                    <a:pt x="8082" y="10656"/>
                    <a:pt x="8082" y="10656"/>
                  </a:cubicBezTo>
                  <a:cubicBezTo>
                    <a:pt x="8053" y="10339"/>
                    <a:pt x="7842" y="9899"/>
                    <a:pt x="7619" y="9673"/>
                  </a:cubicBezTo>
                  <a:lnTo>
                    <a:pt x="7548" y="9605"/>
                  </a:lnTo>
                  <a:cubicBezTo>
                    <a:pt x="7435" y="9492"/>
                    <a:pt x="7287" y="9435"/>
                    <a:pt x="7140" y="9435"/>
                  </a:cubicBezTo>
                  <a:cubicBezTo>
                    <a:pt x="6993" y="9435"/>
                    <a:pt x="6846" y="9492"/>
                    <a:pt x="6733" y="9605"/>
                  </a:cubicBezTo>
                  <a:lnTo>
                    <a:pt x="223" y="16111"/>
                  </a:lnTo>
                  <a:cubicBezTo>
                    <a:pt x="0" y="16338"/>
                    <a:pt x="0" y="16700"/>
                    <a:pt x="223" y="16926"/>
                  </a:cubicBezTo>
                  <a:lnTo>
                    <a:pt x="6733" y="23436"/>
                  </a:lnTo>
                  <a:cubicBezTo>
                    <a:pt x="6956" y="23662"/>
                    <a:pt x="6956" y="24028"/>
                    <a:pt x="6733" y="24254"/>
                  </a:cubicBezTo>
                  <a:lnTo>
                    <a:pt x="6616" y="24368"/>
                  </a:lnTo>
                  <a:cubicBezTo>
                    <a:pt x="6390" y="24594"/>
                    <a:pt x="5950" y="24804"/>
                    <a:pt x="5633" y="24833"/>
                  </a:cubicBezTo>
                  <a:cubicBezTo>
                    <a:pt x="5633" y="24833"/>
                    <a:pt x="4749" y="24921"/>
                    <a:pt x="4199" y="25468"/>
                  </a:cubicBezTo>
                  <a:cubicBezTo>
                    <a:pt x="3255" y="26412"/>
                    <a:pt x="3255" y="27946"/>
                    <a:pt x="4199" y="28890"/>
                  </a:cubicBezTo>
                  <a:cubicBezTo>
                    <a:pt x="4673" y="29364"/>
                    <a:pt x="5294" y="29601"/>
                    <a:pt x="5914" y="29601"/>
                  </a:cubicBezTo>
                  <a:cubicBezTo>
                    <a:pt x="6534" y="29601"/>
                    <a:pt x="7153" y="29364"/>
                    <a:pt x="7626" y="28890"/>
                  </a:cubicBezTo>
                  <a:cubicBezTo>
                    <a:pt x="8172" y="28344"/>
                    <a:pt x="8260" y="27460"/>
                    <a:pt x="8260" y="27460"/>
                  </a:cubicBezTo>
                  <a:cubicBezTo>
                    <a:pt x="8289" y="27143"/>
                    <a:pt x="8499" y="26700"/>
                    <a:pt x="8726" y="26477"/>
                  </a:cubicBezTo>
                  <a:lnTo>
                    <a:pt x="8839" y="26360"/>
                  </a:lnTo>
                  <a:cubicBezTo>
                    <a:pt x="8952" y="26249"/>
                    <a:pt x="9100" y="26193"/>
                    <a:pt x="9248" y="26193"/>
                  </a:cubicBezTo>
                  <a:cubicBezTo>
                    <a:pt x="9396" y="26193"/>
                    <a:pt x="9544" y="26249"/>
                    <a:pt x="9657" y="26360"/>
                  </a:cubicBezTo>
                  <a:lnTo>
                    <a:pt x="16167" y="32870"/>
                  </a:lnTo>
                  <a:cubicBezTo>
                    <a:pt x="16278" y="32982"/>
                    <a:pt x="16426" y="33037"/>
                    <a:pt x="16573" y="33037"/>
                  </a:cubicBezTo>
                  <a:cubicBezTo>
                    <a:pt x="16721" y="33037"/>
                    <a:pt x="16869" y="32982"/>
                    <a:pt x="16982" y="32870"/>
                  </a:cubicBezTo>
                  <a:lnTo>
                    <a:pt x="23491" y="26360"/>
                  </a:lnTo>
                  <a:cubicBezTo>
                    <a:pt x="23605" y="26247"/>
                    <a:pt x="23752" y="26191"/>
                    <a:pt x="23899" y="26191"/>
                  </a:cubicBezTo>
                  <a:cubicBezTo>
                    <a:pt x="24046" y="26191"/>
                    <a:pt x="24193" y="26247"/>
                    <a:pt x="24307" y="26360"/>
                  </a:cubicBezTo>
                  <a:lnTo>
                    <a:pt x="24313" y="26364"/>
                  </a:lnTo>
                  <a:cubicBezTo>
                    <a:pt x="24536" y="26590"/>
                    <a:pt x="24747" y="27033"/>
                    <a:pt x="24776" y="27350"/>
                  </a:cubicBezTo>
                  <a:cubicBezTo>
                    <a:pt x="24776" y="27350"/>
                    <a:pt x="24863" y="28234"/>
                    <a:pt x="25410" y="28780"/>
                  </a:cubicBezTo>
                  <a:cubicBezTo>
                    <a:pt x="25885" y="29262"/>
                    <a:pt x="26511" y="29503"/>
                    <a:pt x="27137" y="29503"/>
                  </a:cubicBezTo>
                  <a:cubicBezTo>
                    <a:pt x="27756" y="29503"/>
                    <a:pt x="28376" y="29267"/>
                    <a:pt x="28849" y="28793"/>
                  </a:cubicBezTo>
                  <a:cubicBezTo>
                    <a:pt x="29800" y="27842"/>
                    <a:pt x="29794" y="26299"/>
                    <a:pt x="28836" y="25354"/>
                  </a:cubicBezTo>
                  <a:cubicBezTo>
                    <a:pt x="28289" y="24808"/>
                    <a:pt x="27403" y="24720"/>
                    <a:pt x="27403" y="24720"/>
                  </a:cubicBezTo>
                  <a:cubicBezTo>
                    <a:pt x="27089" y="24691"/>
                    <a:pt x="26646" y="24484"/>
                    <a:pt x="26419" y="24258"/>
                  </a:cubicBezTo>
                  <a:lnTo>
                    <a:pt x="26416" y="24254"/>
                  </a:lnTo>
                  <a:cubicBezTo>
                    <a:pt x="26190" y="24028"/>
                    <a:pt x="26190" y="23662"/>
                    <a:pt x="26416" y="23436"/>
                  </a:cubicBezTo>
                  <a:lnTo>
                    <a:pt x="32925" y="16926"/>
                  </a:lnTo>
                  <a:cubicBezTo>
                    <a:pt x="33149" y="16700"/>
                    <a:pt x="33149" y="16338"/>
                    <a:pt x="32925" y="16111"/>
                  </a:cubicBezTo>
                  <a:lnTo>
                    <a:pt x="26416" y="9602"/>
                  </a:lnTo>
                  <a:cubicBezTo>
                    <a:pt x="26303" y="9490"/>
                    <a:pt x="26155" y="9434"/>
                    <a:pt x="26007" y="9434"/>
                  </a:cubicBezTo>
                  <a:cubicBezTo>
                    <a:pt x="25859" y="9434"/>
                    <a:pt x="25711" y="9490"/>
                    <a:pt x="25598" y="9602"/>
                  </a:cubicBezTo>
                  <a:lnTo>
                    <a:pt x="25526" y="9673"/>
                  </a:lnTo>
                  <a:cubicBezTo>
                    <a:pt x="25303" y="9899"/>
                    <a:pt x="25093" y="10339"/>
                    <a:pt x="25064" y="10656"/>
                  </a:cubicBezTo>
                  <a:cubicBezTo>
                    <a:pt x="25064" y="10656"/>
                    <a:pt x="24976" y="11540"/>
                    <a:pt x="24430" y="12090"/>
                  </a:cubicBezTo>
                  <a:cubicBezTo>
                    <a:pt x="23953" y="12577"/>
                    <a:pt x="23323" y="12822"/>
                    <a:pt x="22693" y="12822"/>
                  </a:cubicBezTo>
                  <a:cubicBezTo>
                    <a:pt x="22073" y="12822"/>
                    <a:pt x="21454" y="12585"/>
                    <a:pt x="20981" y="12112"/>
                  </a:cubicBezTo>
                  <a:cubicBezTo>
                    <a:pt x="20026" y="11158"/>
                    <a:pt x="20036" y="9605"/>
                    <a:pt x="21003" y="8663"/>
                  </a:cubicBezTo>
                  <a:cubicBezTo>
                    <a:pt x="21550" y="8117"/>
                    <a:pt x="22437" y="8029"/>
                    <a:pt x="22437" y="8029"/>
                  </a:cubicBezTo>
                  <a:cubicBezTo>
                    <a:pt x="22750" y="8000"/>
                    <a:pt x="23194" y="7790"/>
                    <a:pt x="23420" y="7567"/>
                  </a:cubicBezTo>
                  <a:lnTo>
                    <a:pt x="23491" y="7492"/>
                  </a:lnTo>
                  <a:cubicBezTo>
                    <a:pt x="23715" y="7269"/>
                    <a:pt x="23715" y="6903"/>
                    <a:pt x="23491" y="6677"/>
                  </a:cubicBezTo>
                  <a:lnTo>
                    <a:pt x="16982" y="168"/>
                  </a:lnTo>
                  <a:cubicBezTo>
                    <a:pt x="16869" y="56"/>
                    <a:pt x="16721" y="0"/>
                    <a:pt x="16573" y="0"/>
                  </a:cubicBezTo>
                  <a:close/>
                </a:path>
              </a:pathLst>
            </a:custGeom>
            <a:noFill/>
            <a:ln w="9525" cap="flat" cmpd="sng">
              <a:solidFill>
                <a:srgbClr val="7994A9"/>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919" name="Google Shape;8919;p107"/>
            <p:cNvSpPr/>
            <p:nvPr/>
          </p:nvSpPr>
          <p:spPr>
            <a:xfrm>
              <a:off x="1115837" y="2990152"/>
              <a:ext cx="380728" cy="379430"/>
            </a:xfrm>
            <a:custGeom>
              <a:avLst/>
              <a:gdLst/>
              <a:ahLst/>
              <a:cxnLst/>
              <a:rect l="l" t="t" r="r" b="b"/>
              <a:pathLst>
                <a:path w="33150" h="33037" extrusionOk="0">
                  <a:moveTo>
                    <a:pt x="16576" y="0"/>
                  </a:moveTo>
                  <a:cubicBezTo>
                    <a:pt x="16429" y="0"/>
                    <a:pt x="16281" y="56"/>
                    <a:pt x="16168" y="168"/>
                  </a:cubicBezTo>
                  <a:lnTo>
                    <a:pt x="9661" y="6677"/>
                  </a:lnTo>
                  <a:cubicBezTo>
                    <a:pt x="9548" y="6789"/>
                    <a:pt x="9400" y="6844"/>
                    <a:pt x="9252" y="6844"/>
                  </a:cubicBezTo>
                  <a:cubicBezTo>
                    <a:pt x="9104" y="6844"/>
                    <a:pt x="8956" y="6789"/>
                    <a:pt x="8843" y="6677"/>
                  </a:cubicBezTo>
                  <a:lnTo>
                    <a:pt x="8836" y="6670"/>
                  </a:lnTo>
                  <a:cubicBezTo>
                    <a:pt x="8613" y="6447"/>
                    <a:pt x="8403" y="6004"/>
                    <a:pt x="8374" y="5687"/>
                  </a:cubicBezTo>
                  <a:cubicBezTo>
                    <a:pt x="8374" y="5687"/>
                    <a:pt x="8286" y="4804"/>
                    <a:pt x="7740" y="4257"/>
                  </a:cubicBezTo>
                  <a:cubicBezTo>
                    <a:pt x="7263" y="3757"/>
                    <a:pt x="6626" y="3507"/>
                    <a:pt x="5987" y="3507"/>
                  </a:cubicBezTo>
                  <a:cubicBezTo>
                    <a:pt x="5368" y="3507"/>
                    <a:pt x="4749" y="3742"/>
                    <a:pt x="4275" y="4215"/>
                  </a:cubicBezTo>
                  <a:cubicBezTo>
                    <a:pt x="3314" y="5176"/>
                    <a:pt x="3330" y="6742"/>
                    <a:pt x="4313" y="7680"/>
                  </a:cubicBezTo>
                  <a:cubicBezTo>
                    <a:pt x="4860" y="8227"/>
                    <a:pt x="5747" y="8314"/>
                    <a:pt x="5747" y="8314"/>
                  </a:cubicBezTo>
                  <a:cubicBezTo>
                    <a:pt x="6061" y="8343"/>
                    <a:pt x="6504" y="8553"/>
                    <a:pt x="6730" y="8777"/>
                  </a:cubicBezTo>
                  <a:lnTo>
                    <a:pt x="6733" y="8783"/>
                  </a:lnTo>
                  <a:cubicBezTo>
                    <a:pt x="6960" y="9010"/>
                    <a:pt x="6960" y="9372"/>
                    <a:pt x="6733" y="9598"/>
                  </a:cubicBezTo>
                  <a:lnTo>
                    <a:pt x="224" y="16111"/>
                  </a:lnTo>
                  <a:cubicBezTo>
                    <a:pt x="1" y="16338"/>
                    <a:pt x="1" y="16700"/>
                    <a:pt x="224" y="16926"/>
                  </a:cubicBezTo>
                  <a:lnTo>
                    <a:pt x="6733" y="23436"/>
                  </a:lnTo>
                  <a:cubicBezTo>
                    <a:pt x="6847" y="23547"/>
                    <a:pt x="6995" y="23603"/>
                    <a:pt x="7143" y="23603"/>
                  </a:cubicBezTo>
                  <a:cubicBezTo>
                    <a:pt x="7291" y="23603"/>
                    <a:pt x="7439" y="23547"/>
                    <a:pt x="7552" y="23436"/>
                  </a:cubicBezTo>
                  <a:lnTo>
                    <a:pt x="7623" y="23365"/>
                  </a:lnTo>
                  <a:cubicBezTo>
                    <a:pt x="7846" y="23138"/>
                    <a:pt x="8057" y="22698"/>
                    <a:pt x="8086" y="22381"/>
                  </a:cubicBezTo>
                  <a:cubicBezTo>
                    <a:pt x="8086" y="22381"/>
                    <a:pt x="8173" y="21498"/>
                    <a:pt x="8720" y="20948"/>
                  </a:cubicBezTo>
                  <a:cubicBezTo>
                    <a:pt x="9195" y="20467"/>
                    <a:pt x="9821" y="20226"/>
                    <a:pt x="10447" y="20226"/>
                  </a:cubicBezTo>
                  <a:cubicBezTo>
                    <a:pt x="11066" y="20226"/>
                    <a:pt x="11686" y="20462"/>
                    <a:pt x="12159" y="20935"/>
                  </a:cubicBezTo>
                  <a:cubicBezTo>
                    <a:pt x="13110" y="21886"/>
                    <a:pt x="13104" y="23429"/>
                    <a:pt x="12146" y="24374"/>
                  </a:cubicBezTo>
                  <a:cubicBezTo>
                    <a:pt x="11599" y="24921"/>
                    <a:pt x="10716" y="25008"/>
                    <a:pt x="10716" y="25008"/>
                  </a:cubicBezTo>
                  <a:cubicBezTo>
                    <a:pt x="10399" y="25037"/>
                    <a:pt x="9956" y="25248"/>
                    <a:pt x="9733" y="25471"/>
                  </a:cubicBezTo>
                  <a:lnTo>
                    <a:pt x="9658" y="25542"/>
                  </a:lnTo>
                  <a:cubicBezTo>
                    <a:pt x="9435" y="25768"/>
                    <a:pt x="9435" y="26134"/>
                    <a:pt x="9658" y="26360"/>
                  </a:cubicBezTo>
                  <a:lnTo>
                    <a:pt x="16168" y="32867"/>
                  </a:lnTo>
                  <a:cubicBezTo>
                    <a:pt x="16281" y="32980"/>
                    <a:pt x="16429" y="33037"/>
                    <a:pt x="16577" y="33037"/>
                  </a:cubicBezTo>
                  <a:cubicBezTo>
                    <a:pt x="16725" y="33037"/>
                    <a:pt x="16873" y="32980"/>
                    <a:pt x="16986" y="32867"/>
                  </a:cubicBezTo>
                  <a:lnTo>
                    <a:pt x="23492" y="26360"/>
                  </a:lnTo>
                  <a:cubicBezTo>
                    <a:pt x="23715" y="26134"/>
                    <a:pt x="23715" y="25768"/>
                    <a:pt x="23492" y="25542"/>
                  </a:cubicBezTo>
                  <a:lnTo>
                    <a:pt x="23421" y="25474"/>
                  </a:lnTo>
                  <a:cubicBezTo>
                    <a:pt x="23198" y="25251"/>
                    <a:pt x="22755" y="25040"/>
                    <a:pt x="22438" y="25011"/>
                  </a:cubicBezTo>
                  <a:cubicBezTo>
                    <a:pt x="22438" y="25011"/>
                    <a:pt x="21554" y="24924"/>
                    <a:pt x="21004" y="24377"/>
                  </a:cubicBezTo>
                  <a:cubicBezTo>
                    <a:pt x="20073" y="23429"/>
                    <a:pt x="20076" y="21905"/>
                    <a:pt x="21017" y="20964"/>
                  </a:cubicBezTo>
                  <a:cubicBezTo>
                    <a:pt x="21490" y="20491"/>
                    <a:pt x="22111" y="20254"/>
                    <a:pt x="22731" y="20254"/>
                  </a:cubicBezTo>
                  <a:cubicBezTo>
                    <a:pt x="23345" y="20254"/>
                    <a:pt x="23959" y="20486"/>
                    <a:pt x="24430" y="20951"/>
                  </a:cubicBezTo>
                  <a:cubicBezTo>
                    <a:pt x="24977" y="21498"/>
                    <a:pt x="25065" y="22381"/>
                    <a:pt x="25065" y="22381"/>
                  </a:cubicBezTo>
                  <a:cubicBezTo>
                    <a:pt x="25097" y="22698"/>
                    <a:pt x="25304" y="23141"/>
                    <a:pt x="25530" y="23365"/>
                  </a:cubicBezTo>
                  <a:lnTo>
                    <a:pt x="25598" y="23436"/>
                  </a:lnTo>
                  <a:cubicBezTo>
                    <a:pt x="25712" y="23547"/>
                    <a:pt x="25860" y="23603"/>
                    <a:pt x="26007" y="23603"/>
                  </a:cubicBezTo>
                  <a:cubicBezTo>
                    <a:pt x="26155" y="23603"/>
                    <a:pt x="26302" y="23547"/>
                    <a:pt x="26414" y="23436"/>
                  </a:cubicBezTo>
                  <a:lnTo>
                    <a:pt x="32923" y="16926"/>
                  </a:lnTo>
                  <a:cubicBezTo>
                    <a:pt x="33150" y="16700"/>
                    <a:pt x="33150" y="16338"/>
                    <a:pt x="32923" y="16111"/>
                  </a:cubicBezTo>
                  <a:lnTo>
                    <a:pt x="26417" y="9602"/>
                  </a:lnTo>
                  <a:cubicBezTo>
                    <a:pt x="26194" y="9375"/>
                    <a:pt x="26194" y="9010"/>
                    <a:pt x="26417" y="8783"/>
                  </a:cubicBezTo>
                  <a:lnTo>
                    <a:pt x="26533" y="8670"/>
                  </a:lnTo>
                  <a:cubicBezTo>
                    <a:pt x="26760" y="8443"/>
                    <a:pt x="27203" y="8233"/>
                    <a:pt x="27517" y="8204"/>
                  </a:cubicBezTo>
                  <a:cubicBezTo>
                    <a:pt x="27517" y="8204"/>
                    <a:pt x="28400" y="8117"/>
                    <a:pt x="28950" y="7570"/>
                  </a:cubicBezTo>
                  <a:cubicBezTo>
                    <a:pt x="29918" y="6628"/>
                    <a:pt x="29927" y="5079"/>
                    <a:pt x="28973" y="4124"/>
                  </a:cubicBezTo>
                  <a:cubicBezTo>
                    <a:pt x="28500" y="3650"/>
                    <a:pt x="27879" y="3413"/>
                    <a:pt x="27259" y="3413"/>
                  </a:cubicBezTo>
                  <a:cubicBezTo>
                    <a:pt x="26629" y="3413"/>
                    <a:pt x="25999" y="3658"/>
                    <a:pt x="25524" y="4144"/>
                  </a:cubicBezTo>
                  <a:lnTo>
                    <a:pt x="25524" y="4147"/>
                  </a:lnTo>
                  <a:cubicBezTo>
                    <a:pt x="24977" y="4694"/>
                    <a:pt x="24890" y="5577"/>
                    <a:pt x="24890" y="5577"/>
                  </a:cubicBezTo>
                  <a:cubicBezTo>
                    <a:pt x="24861" y="5894"/>
                    <a:pt x="24650" y="6337"/>
                    <a:pt x="24427" y="6560"/>
                  </a:cubicBezTo>
                  <a:lnTo>
                    <a:pt x="24311" y="6677"/>
                  </a:lnTo>
                  <a:cubicBezTo>
                    <a:pt x="24198" y="6789"/>
                    <a:pt x="24050" y="6844"/>
                    <a:pt x="23901" y="6844"/>
                  </a:cubicBezTo>
                  <a:cubicBezTo>
                    <a:pt x="23753" y="6844"/>
                    <a:pt x="23605" y="6789"/>
                    <a:pt x="23492" y="6677"/>
                  </a:cubicBezTo>
                  <a:lnTo>
                    <a:pt x="16983" y="168"/>
                  </a:lnTo>
                  <a:cubicBezTo>
                    <a:pt x="16871" y="56"/>
                    <a:pt x="16724" y="0"/>
                    <a:pt x="16576" y="0"/>
                  </a:cubicBezTo>
                  <a:close/>
                </a:path>
              </a:pathLst>
            </a:custGeom>
            <a:noFill/>
            <a:ln w="9525" cap="flat" cmpd="sng">
              <a:solidFill>
                <a:srgbClr val="B3C3CE"/>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920" name="Google Shape;8920;p107"/>
            <p:cNvSpPr/>
            <p:nvPr/>
          </p:nvSpPr>
          <p:spPr>
            <a:xfrm>
              <a:off x="1691707" y="3184996"/>
              <a:ext cx="378488" cy="377259"/>
            </a:xfrm>
            <a:custGeom>
              <a:avLst/>
              <a:gdLst/>
              <a:ahLst/>
              <a:cxnLst/>
              <a:rect l="l" t="t" r="r" b="b"/>
              <a:pathLst>
                <a:path w="32955" h="32848" extrusionOk="0">
                  <a:moveTo>
                    <a:pt x="16478" y="1"/>
                  </a:moveTo>
                  <a:cubicBezTo>
                    <a:pt x="16331" y="1"/>
                    <a:pt x="16185" y="57"/>
                    <a:pt x="16073" y="168"/>
                  </a:cubicBezTo>
                  <a:lnTo>
                    <a:pt x="9603" y="6639"/>
                  </a:lnTo>
                  <a:cubicBezTo>
                    <a:pt x="9489" y="6752"/>
                    <a:pt x="9342" y="6809"/>
                    <a:pt x="9195" y="6809"/>
                  </a:cubicBezTo>
                  <a:cubicBezTo>
                    <a:pt x="9048" y="6809"/>
                    <a:pt x="8900" y="6752"/>
                    <a:pt x="8787" y="6639"/>
                  </a:cubicBezTo>
                  <a:lnTo>
                    <a:pt x="8674" y="6526"/>
                  </a:lnTo>
                  <a:cubicBezTo>
                    <a:pt x="8451" y="6303"/>
                    <a:pt x="8244" y="5863"/>
                    <a:pt x="8211" y="5545"/>
                  </a:cubicBezTo>
                  <a:cubicBezTo>
                    <a:pt x="8211" y="5545"/>
                    <a:pt x="8127" y="4669"/>
                    <a:pt x="7581" y="4125"/>
                  </a:cubicBezTo>
                  <a:cubicBezTo>
                    <a:pt x="7109" y="3646"/>
                    <a:pt x="6488" y="3407"/>
                    <a:pt x="5867" y="3407"/>
                  </a:cubicBezTo>
                  <a:cubicBezTo>
                    <a:pt x="5251" y="3407"/>
                    <a:pt x="4634" y="3642"/>
                    <a:pt x="4164" y="4112"/>
                  </a:cubicBezTo>
                  <a:cubicBezTo>
                    <a:pt x="3219" y="5057"/>
                    <a:pt x="3226" y="6590"/>
                    <a:pt x="4177" y="7529"/>
                  </a:cubicBezTo>
                  <a:cubicBezTo>
                    <a:pt x="4721" y="8075"/>
                    <a:pt x="5601" y="8160"/>
                    <a:pt x="5601" y="8160"/>
                  </a:cubicBezTo>
                  <a:cubicBezTo>
                    <a:pt x="5914" y="8189"/>
                    <a:pt x="6354" y="8399"/>
                    <a:pt x="6578" y="8622"/>
                  </a:cubicBezTo>
                  <a:lnTo>
                    <a:pt x="6694" y="8735"/>
                  </a:lnTo>
                  <a:cubicBezTo>
                    <a:pt x="6914" y="8962"/>
                    <a:pt x="6914" y="9324"/>
                    <a:pt x="6694" y="9548"/>
                  </a:cubicBezTo>
                  <a:lnTo>
                    <a:pt x="223" y="16018"/>
                  </a:lnTo>
                  <a:cubicBezTo>
                    <a:pt x="0" y="16245"/>
                    <a:pt x="0" y="16607"/>
                    <a:pt x="223" y="16830"/>
                  </a:cubicBezTo>
                  <a:lnTo>
                    <a:pt x="6694" y="23301"/>
                  </a:lnTo>
                  <a:cubicBezTo>
                    <a:pt x="6917" y="23527"/>
                    <a:pt x="6917" y="23890"/>
                    <a:pt x="6694" y="24113"/>
                  </a:cubicBezTo>
                  <a:lnTo>
                    <a:pt x="6688" y="24119"/>
                  </a:lnTo>
                  <a:cubicBezTo>
                    <a:pt x="6464" y="24343"/>
                    <a:pt x="6024" y="24550"/>
                    <a:pt x="5711" y="24579"/>
                  </a:cubicBezTo>
                  <a:cubicBezTo>
                    <a:pt x="5711" y="24579"/>
                    <a:pt x="4831" y="24666"/>
                    <a:pt x="4287" y="25210"/>
                  </a:cubicBezTo>
                  <a:cubicBezTo>
                    <a:pt x="3346" y="26151"/>
                    <a:pt x="3346" y="27675"/>
                    <a:pt x="4287" y="28616"/>
                  </a:cubicBezTo>
                  <a:cubicBezTo>
                    <a:pt x="4756" y="29085"/>
                    <a:pt x="5372" y="29320"/>
                    <a:pt x="5989" y="29320"/>
                  </a:cubicBezTo>
                  <a:cubicBezTo>
                    <a:pt x="6605" y="29320"/>
                    <a:pt x="7221" y="29085"/>
                    <a:pt x="7691" y="28616"/>
                  </a:cubicBezTo>
                  <a:cubicBezTo>
                    <a:pt x="8237" y="28070"/>
                    <a:pt x="8321" y="27193"/>
                    <a:pt x="8321" y="27193"/>
                  </a:cubicBezTo>
                  <a:cubicBezTo>
                    <a:pt x="8354" y="26876"/>
                    <a:pt x="8561" y="26436"/>
                    <a:pt x="8784" y="26213"/>
                  </a:cubicBezTo>
                  <a:lnTo>
                    <a:pt x="8787" y="26209"/>
                  </a:lnTo>
                  <a:cubicBezTo>
                    <a:pt x="8900" y="26098"/>
                    <a:pt x="9048" y="26042"/>
                    <a:pt x="9195" y="26042"/>
                  </a:cubicBezTo>
                  <a:cubicBezTo>
                    <a:pt x="9341" y="26042"/>
                    <a:pt x="9488" y="26098"/>
                    <a:pt x="9599" y="26209"/>
                  </a:cubicBezTo>
                  <a:lnTo>
                    <a:pt x="16070" y="32680"/>
                  </a:lnTo>
                  <a:cubicBezTo>
                    <a:pt x="16183" y="32792"/>
                    <a:pt x="16330" y="32847"/>
                    <a:pt x="16478" y="32847"/>
                  </a:cubicBezTo>
                  <a:cubicBezTo>
                    <a:pt x="16625" y="32847"/>
                    <a:pt x="16772" y="32792"/>
                    <a:pt x="16885" y="32680"/>
                  </a:cubicBezTo>
                  <a:lnTo>
                    <a:pt x="23356" y="26209"/>
                  </a:lnTo>
                  <a:cubicBezTo>
                    <a:pt x="23579" y="25983"/>
                    <a:pt x="23579" y="25620"/>
                    <a:pt x="23356" y="25397"/>
                  </a:cubicBezTo>
                  <a:lnTo>
                    <a:pt x="23281" y="25326"/>
                  </a:lnTo>
                  <a:cubicBezTo>
                    <a:pt x="23058" y="25103"/>
                    <a:pt x="22618" y="24893"/>
                    <a:pt x="22304" y="24863"/>
                  </a:cubicBezTo>
                  <a:cubicBezTo>
                    <a:pt x="22304" y="24863"/>
                    <a:pt x="21428" y="24779"/>
                    <a:pt x="20881" y="24233"/>
                  </a:cubicBezTo>
                  <a:cubicBezTo>
                    <a:pt x="19939" y="23294"/>
                    <a:pt x="19943" y="21767"/>
                    <a:pt x="20881" y="20829"/>
                  </a:cubicBezTo>
                  <a:cubicBezTo>
                    <a:pt x="21351" y="20358"/>
                    <a:pt x="21968" y="20123"/>
                    <a:pt x="22584" y="20123"/>
                  </a:cubicBezTo>
                  <a:cubicBezTo>
                    <a:pt x="23200" y="20123"/>
                    <a:pt x="23817" y="20358"/>
                    <a:pt x="24287" y="20829"/>
                  </a:cubicBezTo>
                  <a:cubicBezTo>
                    <a:pt x="24831" y="21373"/>
                    <a:pt x="24918" y="22253"/>
                    <a:pt x="24918" y="22253"/>
                  </a:cubicBezTo>
                  <a:cubicBezTo>
                    <a:pt x="24947" y="22566"/>
                    <a:pt x="25155" y="23006"/>
                    <a:pt x="25378" y="23230"/>
                  </a:cubicBezTo>
                  <a:lnTo>
                    <a:pt x="25449" y="23301"/>
                  </a:lnTo>
                  <a:cubicBezTo>
                    <a:pt x="25562" y="23412"/>
                    <a:pt x="25709" y="23468"/>
                    <a:pt x="25856" y="23468"/>
                  </a:cubicBezTo>
                  <a:cubicBezTo>
                    <a:pt x="26003" y="23468"/>
                    <a:pt x="26149" y="23412"/>
                    <a:pt x="26261" y="23301"/>
                  </a:cubicBezTo>
                  <a:lnTo>
                    <a:pt x="32732" y="16830"/>
                  </a:lnTo>
                  <a:cubicBezTo>
                    <a:pt x="32955" y="16607"/>
                    <a:pt x="32955" y="16245"/>
                    <a:pt x="32732" y="16018"/>
                  </a:cubicBezTo>
                  <a:lnTo>
                    <a:pt x="26261" y="9548"/>
                  </a:lnTo>
                  <a:cubicBezTo>
                    <a:pt x="26149" y="9436"/>
                    <a:pt x="26003" y="9380"/>
                    <a:pt x="25856" y="9380"/>
                  </a:cubicBezTo>
                  <a:cubicBezTo>
                    <a:pt x="25709" y="9380"/>
                    <a:pt x="25562" y="9436"/>
                    <a:pt x="25449" y="9548"/>
                  </a:cubicBezTo>
                  <a:lnTo>
                    <a:pt x="25381" y="9615"/>
                  </a:lnTo>
                  <a:cubicBezTo>
                    <a:pt x="25158" y="9839"/>
                    <a:pt x="24951" y="10279"/>
                    <a:pt x="24918" y="10596"/>
                  </a:cubicBezTo>
                  <a:cubicBezTo>
                    <a:pt x="24918" y="10596"/>
                    <a:pt x="24834" y="11473"/>
                    <a:pt x="24291" y="12019"/>
                  </a:cubicBezTo>
                  <a:cubicBezTo>
                    <a:pt x="23820" y="12488"/>
                    <a:pt x="23204" y="12723"/>
                    <a:pt x="22587" y="12723"/>
                  </a:cubicBezTo>
                  <a:cubicBezTo>
                    <a:pt x="21971" y="12723"/>
                    <a:pt x="21355" y="12488"/>
                    <a:pt x="20884" y="12019"/>
                  </a:cubicBezTo>
                  <a:cubicBezTo>
                    <a:pt x="19946" y="11078"/>
                    <a:pt x="19946" y="9554"/>
                    <a:pt x="20884" y="8613"/>
                  </a:cubicBezTo>
                  <a:cubicBezTo>
                    <a:pt x="21428" y="8069"/>
                    <a:pt x="22308" y="7985"/>
                    <a:pt x="22308" y="7985"/>
                  </a:cubicBezTo>
                  <a:cubicBezTo>
                    <a:pt x="22621" y="7953"/>
                    <a:pt x="23061" y="7745"/>
                    <a:pt x="23285" y="7522"/>
                  </a:cubicBezTo>
                  <a:lnTo>
                    <a:pt x="23356" y="7454"/>
                  </a:lnTo>
                  <a:cubicBezTo>
                    <a:pt x="23579" y="7228"/>
                    <a:pt x="23579" y="6865"/>
                    <a:pt x="23356" y="6639"/>
                  </a:cubicBezTo>
                  <a:lnTo>
                    <a:pt x="16885" y="168"/>
                  </a:lnTo>
                  <a:cubicBezTo>
                    <a:pt x="16772" y="57"/>
                    <a:pt x="16625" y="1"/>
                    <a:pt x="16478" y="1"/>
                  </a:cubicBezTo>
                  <a:close/>
                </a:path>
              </a:pathLst>
            </a:custGeom>
            <a:noFill/>
            <a:ln w="9525" cap="flat" cmpd="sng">
              <a:solidFill>
                <a:srgbClr val="A5B7C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921" name="Google Shape;8921;p107"/>
            <p:cNvSpPr/>
            <p:nvPr/>
          </p:nvSpPr>
          <p:spPr>
            <a:xfrm>
              <a:off x="1499792" y="2993162"/>
              <a:ext cx="378523" cy="377213"/>
            </a:xfrm>
            <a:custGeom>
              <a:avLst/>
              <a:gdLst/>
              <a:ahLst/>
              <a:cxnLst/>
              <a:rect l="l" t="t" r="r" b="b"/>
              <a:pathLst>
                <a:path w="32958" h="32844" extrusionOk="0">
                  <a:moveTo>
                    <a:pt x="16479" y="0"/>
                  </a:moveTo>
                  <a:cubicBezTo>
                    <a:pt x="16332" y="0"/>
                    <a:pt x="16185" y="56"/>
                    <a:pt x="16073" y="168"/>
                  </a:cubicBezTo>
                  <a:lnTo>
                    <a:pt x="9602" y="6638"/>
                  </a:lnTo>
                  <a:cubicBezTo>
                    <a:pt x="9489" y="6750"/>
                    <a:pt x="9342" y="6806"/>
                    <a:pt x="9195" y="6806"/>
                  </a:cubicBezTo>
                  <a:cubicBezTo>
                    <a:pt x="9048" y="6806"/>
                    <a:pt x="8902" y="6750"/>
                    <a:pt x="8790" y="6638"/>
                  </a:cubicBezTo>
                  <a:lnTo>
                    <a:pt x="8784" y="6632"/>
                  </a:lnTo>
                  <a:cubicBezTo>
                    <a:pt x="8561" y="6408"/>
                    <a:pt x="8354" y="5968"/>
                    <a:pt x="8324" y="5655"/>
                  </a:cubicBezTo>
                  <a:cubicBezTo>
                    <a:pt x="8324" y="5655"/>
                    <a:pt x="8237" y="4775"/>
                    <a:pt x="7694" y="4231"/>
                  </a:cubicBezTo>
                  <a:cubicBezTo>
                    <a:pt x="7222" y="3753"/>
                    <a:pt x="6600" y="3514"/>
                    <a:pt x="5978" y="3514"/>
                  </a:cubicBezTo>
                  <a:cubicBezTo>
                    <a:pt x="5362" y="3514"/>
                    <a:pt x="4745" y="3748"/>
                    <a:pt x="4274" y="4218"/>
                  </a:cubicBezTo>
                  <a:cubicBezTo>
                    <a:pt x="3329" y="5163"/>
                    <a:pt x="3336" y="6696"/>
                    <a:pt x="4287" y="7635"/>
                  </a:cubicBezTo>
                  <a:cubicBezTo>
                    <a:pt x="4834" y="8181"/>
                    <a:pt x="5710" y="8269"/>
                    <a:pt x="5710" y="8269"/>
                  </a:cubicBezTo>
                  <a:cubicBezTo>
                    <a:pt x="6024" y="8298"/>
                    <a:pt x="6464" y="8505"/>
                    <a:pt x="6687" y="8728"/>
                  </a:cubicBezTo>
                  <a:lnTo>
                    <a:pt x="6694" y="8735"/>
                  </a:lnTo>
                  <a:cubicBezTo>
                    <a:pt x="6917" y="8958"/>
                    <a:pt x="6917" y="9320"/>
                    <a:pt x="6694" y="9547"/>
                  </a:cubicBezTo>
                  <a:lnTo>
                    <a:pt x="223" y="16017"/>
                  </a:lnTo>
                  <a:cubicBezTo>
                    <a:pt x="0" y="16241"/>
                    <a:pt x="0" y="16603"/>
                    <a:pt x="223" y="16829"/>
                  </a:cubicBezTo>
                  <a:lnTo>
                    <a:pt x="6694" y="23300"/>
                  </a:lnTo>
                  <a:cubicBezTo>
                    <a:pt x="6805" y="23412"/>
                    <a:pt x="6952" y="23467"/>
                    <a:pt x="7099" y="23467"/>
                  </a:cubicBezTo>
                  <a:cubicBezTo>
                    <a:pt x="7245" y="23467"/>
                    <a:pt x="7393" y="23412"/>
                    <a:pt x="7506" y="23300"/>
                  </a:cubicBezTo>
                  <a:lnTo>
                    <a:pt x="7577" y="23229"/>
                  </a:lnTo>
                  <a:cubicBezTo>
                    <a:pt x="7800" y="23006"/>
                    <a:pt x="8007" y="22566"/>
                    <a:pt x="8040" y="22248"/>
                  </a:cubicBezTo>
                  <a:cubicBezTo>
                    <a:pt x="8040" y="22248"/>
                    <a:pt x="8124" y="21372"/>
                    <a:pt x="8667" y="20825"/>
                  </a:cubicBezTo>
                  <a:cubicBezTo>
                    <a:pt x="9138" y="20347"/>
                    <a:pt x="9760" y="20108"/>
                    <a:pt x="10383" y="20108"/>
                  </a:cubicBezTo>
                  <a:cubicBezTo>
                    <a:pt x="11000" y="20108"/>
                    <a:pt x="11617" y="20343"/>
                    <a:pt x="12087" y="20815"/>
                  </a:cubicBezTo>
                  <a:cubicBezTo>
                    <a:pt x="13032" y="21760"/>
                    <a:pt x="13025" y="23293"/>
                    <a:pt x="12074" y="24232"/>
                  </a:cubicBezTo>
                  <a:cubicBezTo>
                    <a:pt x="11531" y="24775"/>
                    <a:pt x="10651" y="24863"/>
                    <a:pt x="10651" y="24863"/>
                  </a:cubicBezTo>
                  <a:cubicBezTo>
                    <a:pt x="10337" y="24892"/>
                    <a:pt x="9897" y="25099"/>
                    <a:pt x="9674" y="25322"/>
                  </a:cubicBezTo>
                  <a:lnTo>
                    <a:pt x="9602" y="25393"/>
                  </a:lnTo>
                  <a:cubicBezTo>
                    <a:pt x="9376" y="25620"/>
                    <a:pt x="9376" y="25982"/>
                    <a:pt x="9602" y="26205"/>
                  </a:cubicBezTo>
                  <a:lnTo>
                    <a:pt x="16073" y="32676"/>
                  </a:lnTo>
                  <a:cubicBezTo>
                    <a:pt x="16185" y="32787"/>
                    <a:pt x="16331" y="32843"/>
                    <a:pt x="16478" y="32843"/>
                  </a:cubicBezTo>
                  <a:cubicBezTo>
                    <a:pt x="16625" y="32843"/>
                    <a:pt x="16772" y="32787"/>
                    <a:pt x="16885" y="32676"/>
                  </a:cubicBezTo>
                  <a:lnTo>
                    <a:pt x="23356" y="26205"/>
                  </a:lnTo>
                  <a:cubicBezTo>
                    <a:pt x="23579" y="25982"/>
                    <a:pt x="23579" y="25620"/>
                    <a:pt x="23356" y="25393"/>
                  </a:cubicBezTo>
                  <a:lnTo>
                    <a:pt x="23288" y="25325"/>
                  </a:lnTo>
                  <a:cubicBezTo>
                    <a:pt x="23061" y="25102"/>
                    <a:pt x="22621" y="24895"/>
                    <a:pt x="22307" y="24866"/>
                  </a:cubicBezTo>
                  <a:cubicBezTo>
                    <a:pt x="22307" y="24866"/>
                    <a:pt x="21431" y="24778"/>
                    <a:pt x="20884" y="24235"/>
                  </a:cubicBezTo>
                  <a:cubicBezTo>
                    <a:pt x="19942" y="23293"/>
                    <a:pt x="19942" y="21770"/>
                    <a:pt x="20884" y="20828"/>
                  </a:cubicBezTo>
                  <a:cubicBezTo>
                    <a:pt x="21354" y="20359"/>
                    <a:pt x="21971" y="20125"/>
                    <a:pt x="22587" y="20125"/>
                  </a:cubicBezTo>
                  <a:cubicBezTo>
                    <a:pt x="23203" y="20125"/>
                    <a:pt x="23820" y="20359"/>
                    <a:pt x="24291" y="20828"/>
                  </a:cubicBezTo>
                  <a:cubicBezTo>
                    <a:pt x="24834" y="21372"/>
                    <a:pt x="24918" y="22252"/>
                    <a:pt x="24918" y="22252"/>
                  </a:cubicBezTo>
                  <a:cubicBezTo>
                    <a:pt x="24951" y="22566"/>
                    <a:pt x="25158" y="23006"/>
                    <a:pt x="25381" y="23229"/>
                  </a:cubicBezTo>
                  <a:lnTo>
                    <a:pt x="25452" y="23300"/>
                  </a:lnTo>
                  <a:cubicBezTo>
                    <a:pt x="25564" y="23412"/>
                    <a:pt x="25710" y="23467"/>
                    <a:pt x="25857" y="23467"/>
                  </a:cubicBezTo>
                  <a:cubicBezTo>
                    <a:pt x="26004" y="23467"/>
                    <a:pt x="26151" y="23412"/>
                    <a:pt x="26264" y="23300"/>
                  </a:cubicBezTo>
                  <a:lnTo>
                    <a:pt x="32735" y="16829"/>
                  </a:lnTo>
                  <a:cubicBezTo>
                    <a:pt x="32958" y="16603"/>
                    <a:pt x="32958" y="16241"/>
                    <a:pt x="32735" y="16017"/>
                  </a:cubicBezTo>
                  <a:lnTo>
                    <a:pt x="26264" y="9547"/>
                  </a:lnTo>
                  <a:cubicBezTo>
                    <a:pt x="26041" y="9320"/>
                    <a:pt x="26041" y="8958"/>
                    <a:pt x="26264" y="8735"/>
                  </a:cubicBezTo>
                  <a:lnTo>
                    <a:pt x="26377" y="8618"/>
                  </a:lnTo>
                  <a:cubicBezTo>
                    <a:pt x="26600" y="8395"/>
                    <a:pt x="27044" y="8188"/>
                    <a:pt x="27358" y="8156"/>
                  </a:cubicBezTo>
                  <a:cubicBezTo>
                    <a:pt x="27358" y="8156"/>
                    <a:pt x="28234" y="8071"/>
                    <a:pt x="28781" y="7528"/>
                  </a:cubicBezTo>
                  <a:cubicBezTo>
                    <a:pt x="29732" y="6590"/>
                    <a:pt x="29739" y="5056"/>
                    <a:pt x="28791" y="4108"/>
                  </a:cubicBezTo>
                  <a:cubicBezTo>
                    <a:pt x="28321" y="3638"/>
                    <a:pt x="27705" y="3404"/>
                    <a:pt x="27090" y="3404"/>
                  </a:cubicBezTo>
                  <a:cubicBezTo>
                    <a:pt x="26468" y="3404"/>
                    <a:pt x="25846" y="3643"/>
                    <a:pt x="25374" y="4121"/>
                  </a:cubicBezTo>
                  <a:cubicBezTo>
                    <a:pt x="24831" y="4665"/>
                    <a:pt x="24743" y="5545"/>
                    <a:pt x="24743" y="5545"/>
                  </a:cubicBezTo>
                  <a:cubicBezTo>
                    <a:pt x="24714" y="5858"/>
                    <a:pt x="24507" y="6298"/>
                    <a:pt x="24284" y="6522"/>
                  </a:cubicBezTo>
                  <a:lnTo>
                    <a:pt x="24168" y="6638"/>
                  </a:lnTo>
                  <a:cubicBezTo>
                    <a:pt x="24056" y="6750"/>
                    <a:pt x="23909" y="6806"/>
                    <a:pt x="23762" y="6806"/>
                  </a:cubicBezTo>
                  <a:cubicBezTo>
                    <a:pt x="23614" y="6806"/>
                    <a:pt x="23467" y="6750"/>
                    <a:pt x="23356" y="6638"/>
                  </a:cubicBezTo>
                  <a:lnTo>
                    <a:pt x="16885" y="168"/>
                  </a:lnTo>
                  <a:cubicBezTo>
                    <a:pt x="16773" y="56"/>
                    <a:pt x="16626" y="0"/>
                    <a:pt x="16479" y="0"/>
                  </a:cubicBezTo>
                  <a:close/>
                </a:path>
              </a:pathLst>
            </a:custGeom>
            <a:noFill/>
            <a:ln w="9525" cap="flat" cmpd="sng">
              <a:solidFill>
                <a:srgbClr val="667E92"/>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spTree>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Shape 8925"/>
        <p:cNvGrpSpPr/>
        <p:nvPr/>
      </p:nvGrpSpPr>
      <p:grpSpPr>
        <a:xfrm>
          <a:off x="0" y="0"/>
          <a:ext cx="0" cy="0"/>
          <a:chOff x="0" y="0"/>
          <a:chExt cx="0" cy="0"/>
        </a:xfrm>
      </p:grpSpPr>
      <p:grpSp>
        <p:nvGrpSpPr>
          <p:cNvPr id="8926" name="Google Shape;8926;p108"/>
          <p:cNvGrpSpPr/>
          <p:nvPr/>
        </p:nvGrpSpPr>
        <p:grpSpPr>
          <a:xfrm>
            <a:off x="972318" y="1572887"/>
            <a:ext cx="2181489" cy="2034859"/>
            <a:chOff x="729238" y="1179665"/>
            <a:chExt cx="1636117" cy="1526144"/>
          </a:xfrm>
        </p:grpSpPr>
        <p:grpSp>
          <p:nvGrpSpPr>
            <p:cNvPr id="8927" name="Google Shape;8927;p108"/>
            <p:cNvGrpSpPr/>
            <p:nvPr/>
          </p:nvGrpSpPr>
          <p:grpSpPr>
            <a:xfrm>
              <a:off x="729238" y="1179665"/>
              <a:ext cx="80700" cy="1526144"/>
              <a:chOff x="729238" y="1179665"/>
              <a:chExt cx="80700" cy="1526144"/>
            </a:xfrm>
          </p:grpSpPr>
          <p:sp>
            <p:nvSpPr>
              <p:cNvPr id="8928" name="Google Shape;8928;p108"/>
              <p:cNvSpPr/>
              <p:nvPr/>
            </p:nvSpPr>
            <p:spPr>
              <a:xfrm>
                <a:off x="729238" y="1179665"/>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929" name="Google Shape;8929;p108"/>
              <p:cNvSpPr/>
              <p:nvPr/>
            </p:nvSpPr>
            <p:spPr>
              <a:xfrm>
                <a:off x="729238" y="1340360"/>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930" name="Google Shape;8930;p108"/>
              <p:cNvSpPr/>
              <p:nvPr/>
            </p:nvSpPr>
            <p:spPr>
              <a:xfrm>
                <a:off x="729238" y="1501056"/>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931" name="Google Shape;8931;p108"/>
              <p:cNvSpPr/>
              <p:nvPr/>
            </p:nvSpPr>
            <p:spPr>
              <a:xfrm>
                <a:off x="729238" y="1661752"/>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932" name="Google Shape;8932;p108"/>
              <p:cNvSpPr/>
              <p:nvPr/>
            </p:nvSpPr>
            <p:spPr>
              <a:xfrm>
                <a:off x="729238" y="1821630"/>
                <a:ext cx="80700" cy="80700"/>
              </a:xfrm>
              <a:prstGeom prst="rect">
                <a:avLst/>
              </a:prstGeom>
              <a:solidFill>
                <a:srgbClr val="657E93"/>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933" name="Google Shape;8933;p108"/>
              <p:cNvSpPr/>
              <p:nvPr/>
            </p:nvSpPr>
            <p:spPr>
              <a:xfrm>
                <a:off x="729238" y="1982326"/>
                <a:ext cx="80700" cy="80700"/>
              </a:xfrm>
              <a:prstGeom prst="rect">
                <a:avLst/>
              </a:prstGeom>
              <a:solidFill>
                <a:srgbClr val="657E93"/>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934" name="Google Shape;8934;p108"/>
              <p:cNvSpPr/>
              <p:nvPr/>
            </p:nvSpPr>
            <p:spPr>
              <a:xfrm>
                <a:off x="729238" y="2143022"/>
                <a:ext cx="80700" cy="80700"/>
              </a:xfrm>
              <a:prstGeom prst="rect">
                <a:avLst/>
              </a:prstGeom>
              <a:solidFill>
                <a:srgbClr val="657E93"/>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935" name="Google Shape;8935;p108"/>
              <p:cNvSpPr/>
              <p:nvPr/>
            </p:nvSpPr>
            <p:spPr>
              <a:xfrm>
                <a:off x="729238" y="2303717"/>
                <a:ext cx="80700" cy="80700"/>
              </a:xfrm>
              <a:prstGeom prst="rect">
                <a:avLst/>
              </a:prstGeom>
              <a:solidFill>
                <a:srgbClr val="657E93"/>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936" name="Google Shape;8936;p108"/>
              <p:cNvSpPr/>
              <p:nvPr/>
            </p:nvSpPr>
            <p:spPr>
              <a:xfrm>
                <a:off x="729238" y="2464413"/>
                <a:ext cx="80700" cy="80700"/>
              </a:xfrm>
              <a:prstGeom prst="rect">
                <a:avLst/>
              </a:prstGeom>
              <a:solidFill>
                <a:srgbClr val="657E93"/>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937" name="Google Shape;8937;p108"/>
              <p:cNvSpPr/>
              <p:nvPr/>
            </p:nvSpPr>
            <p:spPr>
              <a:xfrm>
                <a:off x="729238" y="2625109"/>
                <a:ext cx="80700" cy="80700"/>
              </a:xfrm>
              <a:prstGeom prst="rect">
                <a:avLst/>
              </a:prstGeom>
              <a:solidFill>
                <a:srgbClr val="657E93"/>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8938" name="Google Shape;8938;p108"/>
            <p:cNvGrpSpPr/>
            <p:nvPr/>
          </p:nvGrpSpPr>
          <p:grpSpPr>
            <a:xfrm>
              <a:off x="903098" y="1179665"/>
              <a:ext cx="80700" cy="1526144"/>
              <a:chOff x="903098" y="1179665"/>
              <a:chExt cx="80700" cy="1526144"/>
            </a:xfrm>
          </p:grpSpPr>
          <p:sp>
            <p:nvSpPr>
              <p:cNvPr id="8939" name="Google Shape;8939;p108"/>
              <p:cNvSpPr/>
              <p:nvPr/>
            </p:nvSpPr>
            <p:spPr>
              <a:xfrm>
                <a:off x="903098" y="1179665"/>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940" name="Google Shape;8940;p108"/>
              <p:cNvSpPr/>
              <p:nvPr/>
            </p:nvSpPr>
            <p:spPr>
              <a:xfrm>
                <a:off x="903098" y="1340360"/>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941" name="Google Shape;8941;p108"/>
              <p:cNvSpPr/>
              <p:nvPr/>
            </p:nvSpPr>
            <p:spPr>
              <a:xfrm>
                <a:off x="903098" y="1501056"/>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942" name="Google Shape;8942;p108"/>
              <p:cNvSpPr/>
              <p:nvPr/>
            </p:nvSpPr>
            <p:spPr>
              <a:xfrm>
                <a:off x="903098" y="1661752"/>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943" name="Google Shape;8943;p108"/>
              <p:cNvSpPr/>
              <p:nvPr/>
            </p:nvSpPr>
            <p:spPr>
              <a:xfrm>
                <a:off x="903098" y="1821630"/>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944" name="Google Shape;8944;p108"/>
              <p:cNvSpPr/>
              <p:nvPr/>
            </p:nvSpPr>
            <p:spPr>
              <a:xfrm>
                <a:off x="903098" y="1982326"/>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945" name="Google Shape;8945;p108"/>
              <p:cNvSpPr/>
              <p:nvPr/>
            </p:nvSpPr>
            <p:spPr>
              <a:xfrm>
                <a:off x="903098" y="2143022"/>
                <a:ext cx="80700" cy="80700"/>
              </a:xfrm>
              <a:prstGeom prst="rect">
                <a:avLst/>
              </a:prstGeom>
              <a:solidFill>
                <a:srgbClr val="657E93"/>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946" name="Google Shape;8946;p108"/>
              <p:cNvSpPr/>
              <p:nvPr/>
            </p:nvSpPr>
            <p:spPr>
              <a:xfrm>
                <a:off x="903098" y="2303717"/>
                <a:ext cx="80700" cy="80700"/>
              </a:xfrm>
              <a:prstGeom prst="rect">
                <a:avLst/>
              </a:prstGeom>
              <a:solidFill>
                <a:srgbClr val="657E93"/>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947" name="Google Shape;8947;p108"/>
              <p:cNvSpPr/>
              <p:nvPr/>
            </p:nvSpPr>
            <p:spPr>
              <a:xfrm>
                <a:off x="903098" y="2464413"/>
                <a:ext cx="80700" cy="80700"/>
              </a:xfrm>
              <a:prstGeom prst="rect">
                <a:avLst/>
              </a:prstGeom>
              <a:solidFill>
                <a:srgbClr val="657E93"/>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948" name="Google Shape;8948;p108"/>
              <p:cNvSpPr/>
              <p:nvPr/>
            </p:nvSpPr>
            <p:spPr>
              <a:xfrm>
                <a:off x="903098" y="2625109"/>
                <a:ext cx="80700" cy="80700"/>
              </a:xfrm>
              <a:prstGeom prst="rect">
                <a:avLst/>
              </a:prstGeom>
              <a:solidFill>
                <a:srgbClr val="657E93"/>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8949" name="Google Shape;8949;p108"/>
            <p:cNvGrpSpPr/>
            <p:nvPr/>
          </p:nvGrpSpPr>
          <p:grpSpPr>
            <a:xfrm>
              <a:off x="1076958" y="1179665"/>
              <a:ext cx="80700" cy="1526144"/>
              <a:chOff x="1076958" y="1179665"/>
              <a:chExt cx="80700" cy="1526144"/>
            </a:xfrm>
          </p:grpSpPr>
          <p:sp>
            <p:nvSpPr>
              <p:cNvPr id="8950" name="Google Shape;8950;p108"/>
              <p:cNvSpPr/>
              <p:nvPr/>
            </p:nvSpPr>
            <p:spPr>
              <a:xfrm>
                <a:off x="1076958" y="1179665"/>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951" name="Google Shape;8951;p108"/>
              <p:cNvSpPr/>
              <p:nvPr/>
            </p:nvSpPr>
            <p:spPr>
              <a:xfrm>
                <a:off x="1076958" y="1340360"/>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952" name="Google Shape;8952;p108"/>
              <p:cNvSpPr/>
              <p:nvPr/>
            </p:nvSpPr>
            <p:spPr>
              <a:xfrm>
                <a:off x="1076958" y="1501056"/>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953" name="Google Shape;8953;p108"/>
              <p:cNvSpPr/>
              <p:nvPr/>
            </p:nvSpPr>
            <p:spPr>
              <a:xfrm>
                <a:off x="1076958" y="1661752"/>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954" name="Google Shape;8954;p108"/>
              <p:cNvSpPr/>
              <p:nvPr/>
            </p:nvSpPr>
            <p:spPr>
              <a:xfrm>
                <a:off x="1076958" y="1821630"/>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955" name="Google Shape;8955;p108"/>
              <p:cNvSpPr/>
              <p:nvPr/>
            </p:nvSpPr>
            <p:spPr>
              <a:xfrm>
                <a:off x="1076958" y="1982326"/>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956" name="Google Shape;8956;p108"/>
              <p:cNvSpPr/>
              <p:nvPr/>
            </p:nvSpPr>
            <p:spPr>
              <a:xfrm>
                <a:off x="1076958" y="2143022"/>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957" name="Google Shape;8957;p108"/>
              <p:cNvSpPr/>
              <p:nvPr/>
            </p:nvSpPr>
            <p:spPr>
              <a:xfrm>
                <a:off x="1076958" y="2303717"/>
                <a:ext cx="80700" cy="80700"/>
              </a:xfrm>
              <a:prstGeom prst="rect">
                <a:avLst/>
              </a:prstGeom>
              <a:solidFill>
                <a:srgbClr val="657E93"/>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958" name="Google Shape;8958;p108"/>
              <p:cNvSpPr/>
              <p:nvPr/>
            </p:nvSpPr>
            <p:spPr>
              <a:xfrm>
                <a:off x="1076958" y="2464413"/>
                <a:ext cx="80700" cy="80700"/>
              </a:xfrm>
              <a:prstGeom prst="rect">
                <a:avLst/>
              </a:prstGeom>
              <a:solidFill>
                <a:srgbClr val="657E93"/>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959" name="Google Shape;8959;p108"/>
              <p:cNvSpPr/>
              <p:nvPr/>
            </p:nvSpPr>
            <p:spPr>
              <a:xfrm>
                <a:off x="1076958" y="2625109"/>
                <a:ext cx="80700" cy="80700"/>
              </a:xfrm>
              <a:prstGeom prst="rect">
                <a:avLst/>
              </a:prstGeom>
              <a:solidFill>
                <a:srgbClr val="657E93"/>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8960" name="Google Shape;8960;p108"/>
            <p:cNvGrpSpPr/>
            <p:nvPr/>
          </p:nvGrpSpPr>
          <p:grpSpPr>
            <a:xfrm>
              <a:off x="1247707" y="1179665"/>
              <a:ext cx="80700" cy="1526144"/>
              <a:chOff x="1247707" y="1179665"/>
              <a:chExt cx="80700" cy="1526144"/>
            </a:xfrm>
          </p:grpSpPr>
          <p:sp>
            <p:nvSpPr>
              <p:cNvPr id="8961" name="Google Shape;8961;p108"/>
              <p:cNvSpPr/>
              <p:nvPr/>
            </p:nvSpPr>
            <p:spPr>
              <a:xfrm>
                <a:off x="1247707" y="1179665"/>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962" name="Google Shape;8962;p108"/>
              <p:cNvSpPr/>
              <p:nvPr/>
            </p:nvSpPr>
            <p:spPr>
              <a:xfrm>
                <a:off x="1247707" y="1340360"/>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963" name="Google Shape;8963;p108"/>
              <p:cNvSpPr/>
              <p:nvPr/>
            </p:nvSpPr>
            <p:spPr>
              <a:xfrm>
                <a:off x="1247707" y="1501056"/>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964" name="Google Shape;8964;p108"/>
              <p:cNvSpPr/>
              <p:nvPr/>
            </p:nvSpPr>
            <p:spPr>
              <a:xfrm>
                <a:off x="1247707" y="1661752"/>
                <a:ext cx="80700" cy="80700"/>
              </a:xfrm>
              <a:prstGeom prst="rect">
                <a:avLst/>
              </a:prstGeom>
              <a:solidFill>
                <a:srgbClr val="657E93"/>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965" name="Google Shape;8965;p108"/>
              <p:cNvSpPr/>
              <p:nvPr/>
            </p:nvSpPr>
            <p:spPr>
              <a:xfrm>
                <a:off x="1247707" y="1821630"/>
                <a:ext cx="80700" cy="80700"/>
              </a:xfrm>
              <a:prstGeom prst="rect">
                <a:avLst/>
              </a:prstGeom>
              <a:solidFill>
                <a:srgbClr val="657E93"/>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966" name="Google Shape;8966;p108"/>
              <p:cNvSpPr/>
              <p:nvPr/>
            </p:nvSpPr>
            <p:spPr>
              <a:xfrm>
                <a:off x="1247707" y="1982326"/>
                <a:ext cx="80700" cy="80700"/>
              </a:xfrm>
              <a:prstGeom prst="rect">
                <a:avLst/>
              </a:prstGeom>
              <a:solidFill>
                <a:srgbClr val="657E93"/>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967" name="Google Shape;8967;p108"/>
              <p:cNvSpPr/>
              <p:nvPr/>
            </p:nvSpPr>
            <p:spPr>
              <a:xfrm>
                <a:off x="1247707" y="2143022"/>
                <a:ext cx="80700" cy="80700"/>
              </a:xfrm>
              <a:prstGeom prst="rect">
                <a:avLst/>
              </a:prstGeom>
              <a:solidFill>
                <a:srgbClr val="657E93"/>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968" name="Google Shape;8968;p108"/>
              <p:cNvSpPr/>
              <p:nvPr/>
            </p:nvSpPr>
            <p:spPr>
              <a:xfrm>
                <a:off x="1247707" y="2303717"/>
                <a:ext cx="80700" cy="80700"/>
              </a:xfrm>
              <a:prstGeom prst="rect">
                <a:avLst/>
              </a:prstGeom>
              <a:solidFill>
                <a:srgbClr val="657E93"/>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969" name="Google Shape;8969;p108"/>
              <p:cNvSpPr/>
              <p:nvPr/>
            </p:nvSpPr>
            <p:spPr>
              <a:xfrm>
                <a:off x="1247707" y="2464413"/>
                <a:ext cx="80700" cy="80700"/>
              </a:xfrm>
              <a:prstGeom prst="rect">
                <a:avLst/>
              </a:prstGeom>
              <a:solidFill>
                <a:srgbClr val="657E93"/>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970" name="Google Shape;8970;p108"/>
              <p:cNvSpPr/>
              <p:nvPr/>
            </p:nvSpPr>
            <p:spPr>
              <a:xfrm>
                <a:off x="1247707" y="2625109"/>
                <a:ext cx="80700" cy="80700"/>
              </a:xfrm>
              <a:prstGeom prst="rect">
                <a:avLst/>
              </a:prstGeom>
              <a:solidFill>
                <a:srgbClr val="657E93"/>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8971" name="Google Shape;8971;p108"/>
            <p:cNvGrpSpPr/>
            <p:nvPr/>
          </p:nvGrpSpPr>
          <p:grpSpPr>
            <a:xfrm>
              <a:off x="1421567" y="1179665"/>
              <a:ext cx="80700" cy="1526144"/>
              <a:chOff x="1421567" y="1179665"/>
              <a:chExt cx="80700" cy="1526144"/>
            </a:xfrm>
          </p:grpSpPr>
          <p:sp>
            <p:nvSpPr>
              <p:cNvPr id="8972" name="Google Shape;8972;p108"/>
              <p:cNvSpPr/>
              <p:nvPr/>
            </p:nvSpPr>
            <p:spPr>
              <a:xfrm>
                <a:off x="1421567" y="1179665"/>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973" name="Google Shape;8973;p108"/>
              <p:cNvSpPr/>
              <p:nvPr/>
            </p:nvSpPr>
            <p:spPr>
              <a:xfrm>
                <a:off x="1421567" y="1340360"/>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974" name="Google Shape;8974;p108"/>
              <p:cNvSpPr/>
              <p:nvPr/>
            </p:nvSpPr>
            <p:spPr>
              <a:xfrm>
                <a:off x="1421567" y="1501056"/>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975" name="Google Shape;8975;p108"/>
              <p:cNvSpPr/>
              <p:nvPr/>
            </p:nvSpPr>
            <p:spPr>
              <a:xfrm>
                <a:off x="1421567" y="1661752"/>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976" name="Google Shape;8976;p108"/>
              <p:cNvSpPr/>
              <p:nvPr/>
            </p:nvSpPr>
            <p:spPr>
              <a:xfrm>
                <a:off x="1421567" y="1821630"/>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977" name="Google Shape;8977;p108"/>
              <p:cNvSpPr/>
              <p:nvPr/>
            </p:nvSpPr>
            <p:spPr>
              <a:xfrm>
                <a:off x="1421567" y="1982326"/>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978" name="Google Shape;8978;p108"/>
              <p:cNvSpPr/>
              <p:nvPr/>
            </p:nvSpPr>
            <p:spPr>
              <a:xfrm>
                <a:off x="1421567" y="2143022"/>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979" name="Google Shape;8979;p108"/>
              <p:cNvSpPr/>
              <p:nvPr/>
            </p:nvSpPr>
            <p:spPr>
              <a:xfrm>
                <a:off x="1421567" y="2303717"/>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980" name="Google Shape;8980;p108"/>
              <p:cNvSpPr/>
              <p:nvPr/>
            </p:nvSpPr>
            <p:spPr>
              <a:xfrm>
                <a:off x="1421567" y="2464413"/>
                <a:ext cx="80700" cy="80700"/>
              </a:xfrm>
              <a:prstGeom prst="rect">
                <a:avLst/>
              </a:prstGeom>
              <a:solidFill>
                <a:srgbClr val="657E93"/>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981" name="Google Shape;8981;p108"/>
              <p:cNvSpPr/>
              <p:nvPr/>
            </p:nvSpPr>
            <p:spPr>
              <a:xfrm>
                <a:off x="1421567" y="2625109"/>
                <a:ext cx="80700" cy="80700"/>
              </a:xfrm>
              <a:prstGeom prst="rect">
                <a:avLst/>
              </a:prstGeom>
              <a:solidFill>
                <a:srgbClr val="657E93"/>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8982" name="Google Shape;8982;p108"/>
            <p:cNvGrpSpPr/>
            <p:nvPr/>
          </p:nvGrpSpPr>
          <p:grpSpPr>
            <a:xfrm>
              <a:off x="1592327" y="1179665"/>
              <a:ext cx="80700" cy="1526144"/>
              <a:chOff x="1592327" y="1179665"/>
              <a:chExt cx="80700" cy="1526144"/>
            </a:xfrm>
          </p:grpSpPr>
          <p:sp>
            <p:nvSpPr>
              <p:cNvPr id="8983" name="Google Shape;8983;p108"/>
              <p:cNvSpPr/>
              <p:nvPr/>
            </p:nvSpPr>
            <p:spPr>
              <a:xfrm>
                <a:off x="1592327" y="1179665"/>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984" name="Google Shape;8984;p108"/>
              <p:cNvSpPr/>
              <p:nvPr/>
            </p:nvSpPr>
            <p:spPr>
              <a:xfrm>
                <a:off x="1592327" y="1340360"/>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985" name="Google Shape;8985;p108"/>
              <p:cNvSpPr/>
              <p:nvPr/>
            </p:nvSpPr>
            <p:spPr>
              <a:xfrm>
                <a:off x="1592327" y="1501056"/>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986" name="Google Shape;8986;p108"/>
              <p:cNvSpPr/>
              <p:nvPr/>
            </p:nvSpPr>
            <p:spPr>
              <a:xfrm>
                <a:off x="1592327" y="1661752"/>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987" name="Google Shape;8987;p108"/>
              <p:cNvSpPr/>
              <p:nvPr/>
            </p:nvSpPr>
            <p:spPr>
              <a:xfrm>
                <a:off x="1592327" y="1821630"/>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988" name="Google Shape;8988;p108"/>
              <p:cNvSpPr/>
              <p:nvPr/>
            </p:nvSpPr>
            <p:spPr>
              <a:xfrm>
                <a:off x="1592327" y="1982326"/>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989" name="Google Shape;8989;p108"/>
              <p:cNvSpPr/>
              <p:nvPr/>
            </p:nvSpPr>
            <p:spPr>
              <a:xfrm>
                <a:off x="1592327" y="2143022"/>
                <a:ext cx="80700" cy="80700"/>
              </a:xfrm>
              <a:prstGeom prst="rect">
                <a:avLst/>
              </a:prstGeom>
              <a:solidFill>
                <a:srgbClr val="657E93"/>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990" name="Google Shape;8990;p108"/>
              <p:cNvSpPr/>
              <p:nvPr/>
            </p:nvSpPr>
            <p:spPr>
              <a:xfrm>
                <a:off x="1592327" y="2303717"/>
                <a:ext cx="80700" cy="80700"/>
              </a:xfrm>
              <a:prstGeom prst="rect">
                <a:avLst/>
              </a:prstGeom>
              <a:solidFill>
                <a:srgbClr val="657E93"/>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991" name="Google Shape;8991;p108"/>
              <p:cNvSpPr/>
              <p:nvPr/>
            </p:nvSpPr>
            <p:spPr>
              <a:xfrm>
                <a:off x="1592327" y="2464413"/>
                <a:ext cx="80700" cy="80700"/>
              </a:xfrm>
              <a:prstGeom prst="rect">
                <a:avLst/>
              </a:prstGeom>
              <a:solidFill>
                <a:srgbClr val="657E93"/>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992" name="Google Shape;8992;p108"/>
              <p:cNvSpPr/>
              <p:nvPr/>
            </p:nvSpPr>
            <p:spPr>
              <a:xfrm>
                <a:off x="1592327" y="2625109"/>
                <a:ext cx="80700" cy="80700"/>
              </a:xfrm>
              <a:prstGeom prst="rect">
                <a:avLst/>
              </a:prstGeom>
              <a:solidFill>
                <a:srgbClr val="657E93"/>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8993" name="Google Shape;8993;p108"/>
            <p:cNvGrpSpPr/>
            <p:nvPr/>
          </p:nvGrpSpPr>
          <p:grpSpPr>
            <a:xfrm>
              <a:off x="1766187" y="1179665"/>
              <a:ext cx="80700" cy="1526144"/>
              <a:chOff x="1766187" y="1179665"/>
              <a:chExt cx="80700" cy="1526144"/>
            </a:xfrm>
          </p:grpSpPr>
          <p:sp>
            <p:nvSpPr>
              <p:cNvPr id="8994" name="Google Shape;8994;p108"/>
              <p:cNvSpPr/>
              <p:nvPr/>
            </p:nvSpPr>
            <p:spPr>
              <a:xfrm>
                <a:off x="1766187" y="1179665"/>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995" name="Google Shape;8995;p108"/>
              <p:cNvSpPr/>
              <p:nvPr/>
            </p:nvSpPr>
            <p:spPr>
              <a:xfrm>
                <a:off x="1766187" y="1340360"/>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996" name="Google Shape;8996;p108"/>
              <p:cNvSpPr/>
              <p:nvPr/>
            </p:nvSpPr>
            <p:spPr>
              <a:xfrm>
                <a:off x="1766187" y="1501056"/>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997" name="Google Shape;8997;p108"/>
              <p:cNvSpPr/>
              <p:nvPr/>
            </p:nvSpPr>
            <p:spPr>
              <a:xfrm>
                <a:off x="1766187" y="1661752"/>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998" name="Google Shape;8998;p108"/>
              <p:cNvSpPr/>
              <p:nvPr/>
            </p:nvSpPr>
            <p:spPr>
              <a:xfrm>
                <a:off x="1766187" y="1821630"/>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999" name="Google Shape;8999;p108"/>
              <p:cNvSpPr/>
              <p:nvPr/>
            </p:nvSpPr>
            <p:spPr>
              <a:xfrm>
                <a:off x="1766187" y="1982326"/>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9000" name="Google Shape;9000;p108"/>
              <p:cNvSpPr/>
              <p:nvPr/>
            </p:nvSpPr>
            <p:spPr>
              <a:xfrm>
                <a:off x="1766187" y="2143022"/>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9001" name="Google Shape;9001;p108"/>
              <p:cNvSpPr/>
              <p:nvPr/>
            </p:nvSpPr>
            <p:spPr>
              <a:xfrm>
                <a:off x="1766187" y="2303717"/>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9002" name="Google Shape;9002;p108"/>
              <p:cNvSpPr/>
              <p:nvPr/>
            </p:nvSpPr>
            <p:spPr>
              <a:xfrm>
                <a:off x="1766187" y="2464413"/>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9003" name="Google Shape;9003;p108"/>
              <p:cNvSpPr/>
              <p:nvPr/>
            </p:nvSpPr>
            <p:spPr>
              <a:xfrm>
                <a:off x="1766187" y="2625109"/>
                <a:ext cx="80700" cy="80700"/>
              </a:xfrm>
              <a:prstGeom prst="rect">
                <a:avLst/>
              </a:prstGeom>
              <a:solidFill>
                <a:srgbClr val="657E93"/>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9004" name="Google Shape;9004;p108"/>
            <p:cNvGrpSpPr/>
            <p:nvPr/>
          </p:nvGrpSpPr>
          <p:grpSpPr>
            <a:xfrm>
              <a:off x="1936935" y="1179665"/>
              <a:ext cx="80700" cy="1526144"/>
              <a:chOff x="1936935" y="1179665"/>
              <a:chExt cx="80700" cy="1526144"/>
            </a:xfrm>
          </p:grpSpPr>
          <p:sp>
            <p:nvSpPr>
              <p:cNvPr id="9005" name="Google Shape;9005;p108"/>
              <p:cNvSpPr/>
              <p:nvPr/>
            </p:nvSpPr>
            <p:spPr>
              <a:xfrm>
                <a:off x="1936935" y="1179665"/>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9006" name="Google Shape;9006;p108"/>
              <p:cNvSpPr/>
              <p:nvPr/>
            </p:nvSpPr>
            <p:spPr>
              <a:xfrm>
                <a:off x="1936935" y="1340360"/>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9007" name="Google Shape;9007;p108"/>
              <p:cNvSpPr/>
              <p:nvPr/>
            </p:nvSpPr>
            <p:spPr>
              <a:xfrm>
                <a:off x="1936935" y="1501056"/>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9008" name="Google Shape;9008;p108"/>
              <p:cNvSpPr/>
              <p:nvPr/>
            </p:nvSpPr>
            <p:spPr>
              <a:xfrm>
                <a:off x="1936935" y="1661752"/>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9009" name="Google Shape;9009;p108"/>
              <p:cNvSpPr/>
              <p:nvPr/>
            </p:nvSpPr>
            <p:spPr>
              <a:xfrm>
                <a:off x="1936935" y="1821630"/>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9010" name="Google Shape;9010;p108"/>
              <p:cNvSpPr/>
              <p:nvPr/>
            </p:nvSpPr>
            <p:spPr>
              <a:xfrm>
                <a:off x="1936935" y="1982326"/>
                <a:ext cx="80700" cy="80700"/>
              </a:xfrm>
              <a:prstGeom prst="rect">
                <a:avLst/>
              </a:prstGeom>
              <a:solidFill>
                <a:srgbClr val="657E93"/>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9011" name="Google Shape;9011;p108"/>
              <p:cNvSpPr/>
              <p:nvPr/>
            </p:nvSpPr>
            <p:spPr>
              <a:xfrm>
                <a:off x="1936935" y="2143022"/>
                <a:ext cx="80700" cy="80700"/>
              </a:xfrm>
              <a:prstGeom prst="rect">
                <a:avLst/>
              </a:prstGeom>
              <a:solidFill>
                <a:srgbClr val="657E93"/>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9012" name="Google Shape;9012;p108"/>
              <p:cNvSpPr/>
              <p:nvPr/>
            </p:nvSpPr>
            <p:spPr>
              <a:xfrm>
                <a:off x="1936935" y="2303717"/>
                <a:ext cx="80700" cy="80700"/>
              </a:xfrm>
              <a:prstGeom prst="rect">
                <a:avLst/>
              </a:prstGeom>
              <a:solidFill>
                <a:srgbClr val="657E93"/>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9013" name="Google Shape;9013;p108"/>
              <p:cNvSpPr/>
              <p:nvPr/>
            </p:nvSpPr>
            <p:spPr>
              <a:xfrm>
                <a:off x="1936935" y="2464413"/>
                <a:ext cx="80700" cy="80700"/>
              </a:xfrm>
              <a:prstGeom prst="rect">
                <a:avLst/>
              </a:prstGeom>
              <a:solidFill>
                <a:srgbClr val="657E93"/>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9014" name="Google Shape;9014;p108"/>
              <p:cNvSpPr/>
              <p:nvPr/>
            </p:nvSpPr>
            <p:spPr>
              <a:xfrm>
                <a:off x="1936935" y="2625109"/>
                <a:ext cx="80700" cy="80700"/>
              </a:xfrm>
              <a:prstGeom prst="rect">
                <a:avLst/>
              </a:prstGeom>
              <a:solidFill>
                <a:srgbClr val="657E93"/>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9015" name="Google Shape;9015;p108"/>
            <p:cNvGrpSpPr/>
            <p:nvPr/>
          </p:nvGrpSpPr>
          <p:grpSpPr>
            <a:xfrm>
              <a:off x="2110795" y="1179665"/>
              <a:ext cx="80700" cy="1526144"/>
              <a:chOff x="2110795" y="1179665"/>
              <a:chExt cx="80700" cy="1526144"/>
            </a:xfrm>
          </p:grpSpPr>
          <p:sp>
            <p:nvSpPr>
              <p:cNvPr id="9016" name="Google Shape;9016;p108"/>
              <p:cNvSpPr/>
              <p:nvPr/>
            </p:nvSpPr>
            <p:spPr>
              <a:xfrm>
                <a:off x="2110795" y="1179665"/>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9017" name="Google Shape;9017;p108"/>
              <p:cNvSpPr/>
              <p:nvPr/>
            </p:nvSpPr>
            <p:spPr>
              <a:xfrm>
                <a:off x="2110795" y="1340360"/>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9018" name="Google Shape;9018;p108"/>
              <p:cNvSpPr/>
              <p:nvPr/>
            </p:nvSpPr>
            <p:spPr>
              <a:xfrm>
                <a:off x="2110795" y="1501056"/>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9019" name="Google Shape;9019;p108"/>
              <p:cNvSpPr/>
              <p:nvPr/>
            </p:nvSpPr>
            <p:spPr>
              <a:xfrm>
                <a:off x="2110795" y="1661752"/>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9020" name="Google Shape;9020;p108"/>
              <p:cNvSpPr/>
              <p:nvPr/>
            </p:nvSpPr>
            <p:spPr>
              <a:xfrm>
                <a:off x="2110795" y="1821630"/>
                <a:ext cx="80700" cy="80700"/>
              </a:xfrm>
              <a:prstGeom prst="rect">
                <a:avLst/>
              </a:prstGeom>
              <a:solidFill>
                <a:srgbClr val="657E93"/>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9021" name="Google Shape;9021;p108"/>
              <p:cNvSpPr/>
              <p:nvPr/>
            </p:nvSpPr>
            <p:spPr>
              <a:xfrm>
                <a:off x="2110795" y="1982326"/>
                <a:ext cx="80700" cy="80700"/>
              </a:xfrm>
              <a:prstGeom prst="rect">
                <a:avLst/>
              </a:prstGeom>
              <a:solidFill>
                <a:srgbClr val="657E93"/>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9022" name="Google Shape;9022;p108"/>
              <p:cNvSpPr/>
              <p:nvPr/>
            </p:nvSpPr>
            <p:spPr>
              <a:xfrm>
                <a:off x="2110795" y="2143022"/>
                <a:ext cx="80700" cy="80700"/>
              </a:xfrm>
              <a:prstGeom prst="rect">
                <a:avLst/>
              </a:prstGeom>
              <a:solidFill>
                <a:srgbClr val="657E93"/>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9023" name="Google Shape;9023;p108"/>
              <p:cNvSpPr/>
              <p:nvPr/>
            </p:nvSpPr>
            <p:spPr>
              <a:xfrm>
                <a:off x="2110795" y="2303717"/>
                <a:ext cx="80700" cy="80700"/>
              </a:xfrm>
              <a:prstGeom prst="rect">
                <a:avLst/>
              </a:prstGeom>
              <a:solidFill>
                <a:srgbClr val="657E93"/>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9024" name="Google Shape;9024;p108"/>
              <p:cNvSpPr/>
              <p:nvPr/>
            </p:nvSpPr>
            <p:spPr>
              <a:xfrm>
                <a:off x="2110795" y="2464413"/>
                <a:ext cx="80700" cy="80700"/>
              </a:xfrm>
              <a:prstGeom prst="rect">
                <a:avLst/>
              </a:prstGeom>
              <a:solidFill>
                <a:srgbClr val="657E93"/>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9025" name="Google Shape;9025;p108"/>
              <p:cNvSpPr/>
              <p:nvPr/>
            </p:nvSpPr>
            <p:spPr>
              <a:xfrm>
                <a:off x="2110795" y="2625109"/>
                <a:ext cx="80700" cy="80700"/>
              </a:xfrm>
              <a:prstGeom prst="rect">
                <a:avLst/>
              </a:prstGeom>
              <a:solidFill>
                <a:srgbClr val="657E93"/>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9026" name="Google Shape;9026;p108"/>
            <p:cNvGrpSpPr/>
            <p:nvPr/>
          </p:nvGrpSpPr>
          <p:grpSpPr>
            <a:xfrm>
              <a:off x="2284655" y="1179665"/>
              <a:ext cx="80700" cy="1526144"/>
              <a:chOff x="2284655" y="1179665"/>
              <a:chExt cx="80700" cy="1526144"/>
            </a:xfrm>
          </p:grpSpPr>
          <p:sp>
            <p:nvSpPr>
              <p:cNvPr id="9027" name="Google Shape;9027;p108"/>
              <p:cNvSpPr/>
              <p:nvPr/>
            </p:nvSpPr>
            <p:spPr>
              <a:xfrm>
                <a:off x="2284655" y="1179665"/>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9028" name="Google Shape;9028;p108"/>
              <p:cNvSpPr/>
              <p:nvPr/>
            </p:nvSpPr>
            <p:spPr>
              <a:xfrm>
                <a:off x="2284655" y="1340360"/>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9029" name="Google Shape;9029;p108"/>
              <p:cNvSpPr/>
              <p:nvPr/>
            </p:nvSpPr>
            <p:spPr>
              <a:xfrm>
                <a:off x="2284655" y="1501056"/>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9030" name="Google Shape;9030;p108"/>
              <p:cNvSpPr/>
              <p:nvPr/>
            </p:nvSpPr>
            <p:spPr>
              <a:xfrm>
                <a:off x="2284655" y="1661752"/>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9031" name="Google Shape;9031;p108"/>
              <p:cNvSpPr/>
              <p:nvPr/>
            </p:nvSpPr>
            <p:spPr>
              <a:xfrm>
                <a:off x="2284655" y="1821630"/>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9032" name="Google Shape;9032;p108"/>
              <p:cNvSpPr/>
              <p:nvPr/>
            </p:nvSpPr>
            <p:spPr>
              <a:xfrm>
                <a:off x="2284655" y="1982326"/>
                <a:ext cx="80700" cy="80700"/>
              </a:xfrm>
              <a:prstGeom prst="rect">
                <a:avLst/>
              </a:prstGeom>
              <a:noFill/>
              <a:ln w="9525" cap="flat" cmpd="sng">
                <a:solidFill>
                  <a:srgbClr val="CFD9E0"/>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9033" name="Google Shape;9033;p108"/>
              <p:cNvSpPr/>
              <p:nvPr/>
            </p:nvSpPr>
            <p:spPr>
              <a:xfrm>
                <a:off x="2284655" y="2143022"/>
                <a:ext cx="80700" cy="80700"/>
              </a:xfrm>
              <a:prstGeom prst="rect">
                <a:avLst/>
              </a:prstGeom>
              <a:solidFill>
                <a:srgbClr val="657E93"/>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9034" name="Google Shape;9034;p108"/>
              <p:cNvSpPr/>
              <p:nvPr/>
            </p:nvSpPr>
            <p:spPr>
              <a:xfrm>
                <a:off x="2284655" y="2303717"/>
                <a:ext cx="80700" cy="80700"/>
              </a:xfrm>
              <a:prstGeom prst="rect">
                <a:avLst/>
              </a:prstGeom>
              <a:solidFill>
                <a:srgbClr val="657E93"/>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9035" name="Google Shape;9035;p108"/>
              <p:cNvSpPr/>
              <p:nvPr/>
            </p:nvSpPr>
            <p:spPr>
              <a:xfrm>
                <a:off x="2284655" y="2464413"/>
                <a:ext cx="80700" cy="80700"/>
              </a:xfrm>
              <a:prstGeom prst="rect">
                <a:avLst/>
              </a:prstGeom>
              <a:solidFill>
                <a:srgbClr val="657E93"/>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9036" name="Google Shape;9036;p108"/>
              <p:cNvSpPr/>
              <p:nvPr/>
            </p:nvSpPr>
            <p:spPr>
              <a:xfrm>
                <a:off x="2284655" y="2625109"/>
                <a:ext cx="80700" cy="80700"/>
              </a:xfrm>
              <a:prstGeom prst="rect">
                <a:avLst/>
              </a:prstGeom>
              <a:solidFill>
                <a:srgbClr val="657E93"/>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grpSp>
        <p:nvGrpSpPr>
          <p:cNvPr id="9037" name="Google Shape;9037;p108"/>
          <p:cNvGrpSpPr/>
          <p:nvPr/>
        </p:nvGrpSpPr>
        <p:grpSpPr>
          <a:xfrm>
            <a:off x="3498539" y="1598405"/>
            <a:ext cx="1818997" cy="1469511"/>
            <a:chOff x="2623904" y="1198803"/>
            <a:chExt cx="1364248" cy="1102133"/>
          </a:xfrm>
        </p:grpSpPr>
        <p:grpSp>
          <p:nvGrpSpPr>
            <p:cNvPr id="9038" name="Google Shape;9038;p108"/>
            <p:cNvGrpSpPr/>
            <p:nvPr/>
          </p:nvGrpSpPr>
          <p:grpSpPr>
            <a:xfrm>
              <a:off x="2623907" y="1198803"/>
              <a:ext cx="1364245" cy="273000"/>
              <a:chOff x="2623907" y="1198803"/>
              <a:chExt cx="1364245" cy="273000"/>
            </a:xfrm>
          </p:grpSpPr>
          <p:sp>
            <p:nvSpPr>
              <p:cNvPr id="9039" name="Google Shape;9039;p108"/>
              <p:cNvSpPr/>
              <p:nvPr/>
            </p:nvSpPr>
            <p:spPr>
              <a:xfrm>
                <a:off x="3715152" y="1198803"/>
                <a:ext cx="273000" cy="273000"/>
              </a:xfrm>
              <a:prstGeom prst="diamond">
                <a:avLst/>
              </a:prstGeom>
              <a:noFill/>
              <a:ln w="9525" cap="flat" cmpd="sng">
                <a:solidFill>
                  <a:srgbClr val="CFD9E0"/>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9040" name="Google Shape;9040;p108"/>
              <p:cNvSpPr/>
              <p:nvPr/>
            </p:nvSpPr>
            <p:spPr>
              <a:xfrm>
                <a:off x="2623907" y="1198803"/>
                <a:ext cx="273000" cy="273000"/>
              </a:xfrm>
              <a:prstGeom prst="diamond">
                <a:avLst/>
              </a:pr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9041" name="Google Shape;9041;p108"/>
              <p:cNvSpPr/>
              <p:nvPr/>
            </p:nvSpPr>
            <p:spPr>
              <a:xfrm>
                <a:off x="2896718" y="1198803"/>
                <a:ext cx="273000" cy="273000"/>
              </a:xfrm>
              <a:prstGeom prst="diamond">
                <a:avLst/>
              </a:pr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9042" name="Google Shape;9042;p108"/>
              <p:cNvSpPr/>
              <p:nvPr/>
            </p:nvSpPr>
            <p:spPr>
              <a:xfrm>
                <a:off x="3169529" y="1198803"/>
                <a:ext cx="273000" cy="273000"/>
              </a:xfrm>
              <a:prstGeom prst="diamond">
                <a:avLst/>
              </a:pr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9043" name="Google Shape;9043;p108"/>
              <p:cNvSpPr/>
              <p:nvPr/>
            </p:nvSpPr>
            <p:spPr>
              <a:xfrm>
                <a:off x="3442341" y="1198803"/>
                <a:ext cx="273000" cy="273000"/>
              </a:xfrm>
              <a:prstGeom prst="diamond">
                <a:avLst/>
              </a:pr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9044" name="Google Shape;9044;p108"/>
            <p:cNvGrpSpPr/>
            <p:nvPr/>
          </p:nvGrpSpPr>
          <p:grpSpPr>
            <a:xfrm>
              <a:off x="2623904" y="1476964"/>
              <a:ext cx="1364245" cy="273000"/>
              <a:chOff x="2623904" y="1476964"/>
              <a:chExt cx="1364245" cy="273000"/>
            </a:xfrm>
          </p:grpSpPr>
          <p:sp>
            <p:nvSpPr>
              <p:cNvPr id="9045" name="Google Shape;9045;p108"/>
              <p:cNvSpPr/>
              <p:nvPr/>
            </p:nvSpPr>
            <p:spPr>
              <a:xfrm>
                <a:off x="3169527" y="1476964"/>
                <a:ext cx="273000" cy="273000"/>
              </a:xfrm>
              <a:prstGeom prst="diamond">
                <a:avLst/>
              </a:prstGeom>
              <a:noFill/>
              <a:ln w="9525" cap="flat" cmpd="sng">
                <a:solidFill>
                  <a:srgbClr val="CFD9E0"/>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9046" name="Google Shape;9046;p108"/>
              <p:cNvSpPr/>
              <p:nvPr/>
            </p:nvSpPr>
            <p:spPr>
              <a:xfrm>
                <a:off x="3442338" y="1476964"/>
                <a:ext cx="273000" cy="273000"/>
              </a:xfrm>
              <a:prstGeom prst="diamond">
                <a:avLst/>
              </a:prstGeom>
              <a:noFill/>
              <a:ln w="9525" cap="flat" cmpd="sng">
                <a:solidFill>
                  <a:srgbClr val="CFD9E0"/>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9047" name="Google Shape;9047;p108"/>
              <p:cNvSpPr/>
              <p:nvPr/>
            </p:nvSpPr>
            <p:spPr>
              <a:xfrm>
                <a:off x="3715149" y="1476964"/>
                <a:ext cx="273000" cy="273000"/>
              </a:xfrm>
              <a:prstGeom prst="diamond">
                <a:avLst/>
              </a:prstGeom>
              <a:noFill/>
              <a:ln w="9525" cap="flat" cmpd="sng">
                <a:solidFill>
                  <a:srgbClr val="CFD9E0"/>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9048" name="Google Shape;9048;p108"/>
              <p:cNvSpPr/>
              <p:nvPr/>
            </p:nvSpPr>
            <p:spPr>
              <a:xfrm>
                <a:off x="2623904" y="1476964"/>
                <a:ext cx="273000" cy="273000"/>
              </a:xfrm>
              <a:prstGeom prst="diamond">
                <a:avLst/>
              </a:pr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9049" name="Google Shape;9049;p108"/>
              <p:cNvSpPr/>
              <p:nvPr/>
            </p:nvSpPr>
            <p:spPr>
              <a:xfrm>
                <a:off x="2896716" y="1476964"/>
                <a:ext cx="273000" cy="273000"/>
              </a:xfrm>
              <a:prstGeom prst="diamond">
                <a:avLst/>
              </a:pr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9050" name="Google Shape;9050;p108"/>
            <p:cNvGrpSpPr/>
            <p:nvPr/>
          </p:nvGrpSpPr>
          <p:grpSpPr>
            <a:xfrm>
              <a:off x="2623907" y="1749775"/>
              <a:ext cx="1364245" cy="273000"/>
              <a:chOff x="2623907" y="1749775"/>
              <a:chExt cx="1364245" cy="273000"/>
            </a:xfrm>
          </p:grpSpPr>
          <p:sp>
            <p:nvSpPr>
              <p:cNvPr id="9051" name="Google Shape;9051;p108"/>
              <p:cNvSpPr/>
              <p:nvPr/>
            </p:nvSpPr>
            <p:spPr>
              <a:xfrm>
                <a:off x="3442341" y="1749775"/>
                <a:ext cx="273000" cy="273000"/>
              </a:xfrm>
              <a:prstGeom prst="diamond">
                <a:avLst/>
              </a:prstGeom>
              <a:noFill/>
              <a:ln w="9525" cap="flat" cmpd="sng">
                <a:solidFill>
                  <a:srgbClr val="CFD9E0"/>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9052" name="Google Shape;9052;p108"/>
              <p:cNvSpPr/>
              <p:nvPr/>
            </p:nvSpPr>
            <p:spPr>
              <a:xfrm>
                <a:off x="3715152" y="1749775"/>
                <a:ext cx="273000" cy="273000"/>
              </a:xfrm>
              <a:prstGeom prst="diamond">
                <a:avLst/>
              </a:prstGeom>
              <a:noFill/>
              <a:ln w="9525" cap="flat" cmpd="sng">
                <a:solidFill>
                  <a:srgbClr val="CFD9E0"/>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9053" name="Google Shape;9053;p108"/>
              <p:cNvSpPr/>
              <p:nvPr/>
            </p:nvSpPr>
            <p:spPr>
              <a:xfrm>
                <a:off x="2623907" y="1749775"/>
                <a:ext cx="273000" cy="273000"/>
              </a:xfrm>
              <a:prstGeom prst="diamond">
                <a:avLst/>
              </a:pr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9054" name="Google Shape;9054;p108"/>
              <p:cNvSpPr/>
              <p:nvPr/>
            </p:nvSpPr>
            <p:spPr>
              <a:xfrm>
                <a:off x="2896718" y="1749775"/>
                <a:ext cx="273000" cy="273000"/>
              </a:xfrm>
              <a:prstGeom prst="diamond">
                <a:avLst/>
              </a:pr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9055" name="Google Shape;9055;p108"/>
              <p:cNvSpPr/>
              <p:nvPr/>
            </p:nvSpPr>
            <p:spPr>
              <a:xfrm>
                <a:off x="3169529" y="1749775"/>
                <a:ext cx="273000" cy="273000"/>
              </a:xfrm>
              <a:prstGeom prst="diamond">
                <a:avLst/>
              </a:pr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9056" name="Google Shape;9056;p108"/>
            <p:cNvGrpSpPr/>
            <p:nvPr/>
          </p:nvGrpSpPr>
          <p:grpSpPr>
            <a:xfrm>
              <a:off x="2623904" y="2027936"/>
              <a:ext cx="1364245" cy="273000"/>
              <a:chOff x="2623904" y="2027936"/>
              <a:chExt cx="1364245" cy="273000"/>
            </a:xfrm>
          </p:grpSpPr>
          <p:sp>
            <p:nvSpPr>
              <p:cNvPr id="9057" name="Google Shape;9057;p108"/>
              <p:cNvSpPr/>
              <p:nvPr/>
            </p:nvSpPr>
            <p:spPr>
              <a:xfrm>
                <a:off x="2623904" y="2027936"/>
                <a:ext cx="273000" cy="273000"/>
              </a:xfrm>
              <a:prstGeom prst="diamond">
                <a:avLst/>
              </a:pr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9058" name="Google Shape;9058;p108"/>
              <p:cNvSpPr/>
              <p:nvPr/>
            </p:nvSpPr>
            <p:spPr>
              <a:xfrm>
                <a:off x="2896716" y="2027936"/>
                <a:ext cx="273000" cy="273000"/>
              </a:xfrm>
              <a:prstGeom prst="diamond">
                <a:avLst/>
              </a:pr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9059" name="Google Shape;9059;p108"/>
              <p:cNvSpPr/>
              <p:nvPr/>
            </p:nvSpPr>
            <p:spPr>
              <a:xfrm>
                <a:off x="3169527" y="2027936"/>
                <a:ext cx="273000" cy="273000"/>
              </a:xfrm>
              <a:prstGeom prst="diamond">
                <a:avLst/>
              </a:pr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9060" name="Google Shape;9060;p108"/>
              <p:cNvSpPr/>
              <p:nvPr/>
            </p:nvSpPr>
            <p:spPr>
              <a:xfrm>
                <a:off x="3442338" y="2027936"/>
                <a:ext cx="273000" cy="273000"/>
              </a:xfrm>
              <a:prstGeom prst="diamond">
                <a:avLst/>
              </a:pr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9061" name="Google Shape;9061;p108"/>
              <p:cNvSpPr/>
              <p:nvPr/>
            </p:nvSpPr>
            <p:spPr>
              <a:xfrm>
                <a:off x="3715149" y="2027936"/>
                <a:ext cx="273000" cy="273000"/>
              </a:xfrm>
              <a:prstGeom prst="diamond">
                <a:avLst/>
              </a:pr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grpSp>
        <p:nvGrpSpPr>
          <p:cNvPr id="9062" name="Google Shape;9062;p108"/>
          <p:cNvGrpSpPr/>
          <p:nvPr/>
        </p:nvGrpSpPr>
        <p:grpSpPr>
          <a:xfrm>
            <a:off x="3484487" y="3543982"/>
            <a:ext cx="1850055" cy="212165"/>
            <a:chOff x="3200660" y="2180272"/>
            <a:chExt cx="2563824" cy="378237"/>
          </a:xfrm>
        </p:grpSpPr>
        <p:sp>
          <p:nvSpPr>
            <p:cNvPr id="9063" name="Google Shape;9063;p108"/>
            <p:cNvSpPr/>
            <p:nvPr/>
          </p:nvSpPr>
          <p:spPr>
            <a:xfrm>
              <a:off x="3200660" y="2180272"/>
              <a:ext cx="108240" cy="378237"/>
            </a:xfrm>
            <a:custGeom>
              <a:avLst/>
              <a:gdLst/>
              <a:ahLst/>
              <a:cxnLst/>
              <a:rect l="l" t="t" r="r" b="b"/>
              <a:pathLst>
                <a:path w="8543" h="37890" extrusionOk="0">
                  <a:moveTo>
                    <a:pt x="606" y="1"/>
                  </a:moveTo>
                  <a:cubicBezTo>
                    <a:pt x="276" y="1"/>
                    <a:pt x="0" y="263"/>
                    <a:pt x="0" y="607"/>
                  </a:cubicBezTo>
                  <a:lnTo>
                    <a:pt x="0" y="37270"/>
                  </a:lnTo>
                  <a:cubicBezTo>
                    <a:pt x="0" y="37614"/>
                    <a:pt x="276" y="37890"/>
                    <a:pt x="606" y="37890"/>
                  </a:cubicBezTo>
                  <a:lnTo>
                    <a:pt x="7922" y="37890"/>
                  </a:lnTo>
                  <a:cubicBezTo>
                    <a:pt x="8267" y="37890"/>
                    <a:pt x="8542" y="37614"/>
                    <a:pt x="8542" y="37270"/>
                  </a:cubicBezTo>
                  <a:lnTo>
                    <a:pt x="8542" y="607"/>
                  </a:lnTo>
                  <a:cubicBezTo>
                    <a:pt x="8542" y="263"/>
                    <a:pt x="8267" y="1"/>
                    <a:pt x="7922" y="1"/>
                  </a:cubicBezTo>
                  <a:close/>
                </a:path>
              </a:pathLst>
            </a:custGeom>
            <a:solidFill>
              <a:srgbClr val="869FB2"/>
            </a:solidFill>
            <a:ln w="9525" cap="flat" cmpd="sng">
              <a:solidFill>
                <a:srgbClr val="869FB2"/>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9064" name="Google Shape;9064;p108"/>
            <p:cNvSpPr/>
            <p:nvPr/>
          </p:nvSpPr>
          <p:spPr>
            <a:xfrm>
              <a:off x="3345104" y="2180272"/>
              <a:ext cx="108240" cy="378237"/>
            </a:xfrm>
            <a:custGeom>
              <a:avLst/>
              <a:gdLst/>
              <a:ahLst/>
              <a:cxnLst/>
              <a:rect l="l" t="t" r="r" b="b"/>
              <a:pathLst>
                <a:path w="8543" h="37890" extrusionOk="0">
                  <a:moveTo>
                    <a:pt x="607" y="1"/>
                  </a:moveTo>
                  <a:cubicBezTo>
                    <a:pt x="262" y="1"/>
                    <a:pt x="0" y="263"/>
                    <a:pt x="0" y="607"/>
                  </a:cubicBezTo>
                  <a:lnTo>
                    <a:pt x="0" y="37270"/>
                  </a:lnTo>
                  <a:cubicBezTo>
                    <a:pt x="0" y="37614"/>
                    <a:pt x="262" y="37890"/>
                    <a:pt x="607" y="37890"/>
                  </a:cubicBezTo>
                  <a:lnTo>
                    <a:pt x="7923" y="37890"/>
                  </a:lnTo>
                  <a:cubicBezTo>
                    <a:pt x="8267" y="37890"/>
                    <a:pt x="8543" y="37614"/>
                    <a:pt x="8543" y="37270"/>
                  </a:cubicBezTo>
                  <a:lnTo>
                    <a:pt x="8543" y="607"/>
                  </a:lnTo>
                  <a:cubicBezTo>
                    <a:pt x="8543" y="263"/>
                    <a:pt x="8267" y="1"/>
                    <a:pt x="7923" y="1"/>
                  </a:cubicBezTo>
                  <a:close/>
                </a:path>
              </a:pathLst>
            </a:custGeom>
            <a:solidFill>
              <a:srgbClr val="869FB2"/>
            </a:solidFill>
            <a:ln w="9525" cap="flat" cmpd="sng">
              <a:solidFill>
                <a:srgbClr val="869FB2"/>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9065" name="Google Shape;9065;p108"/>
            <p:cNvSpPr/>
            <p:nvPr/>
          </p:nvSpPr>
          <p:spPr>
            <a:xfrm>
              <a:off x="3489548" y="2180272"/>
              <a:ext cx="108240" cy="378237"/>
            </a:xfrm>
            <a:custGeom>
              <a:avLst/>
              <a:gdLst/>
              <a:ahLst/>
              <a:cxnLst/>
              <a:rect l="l" t="t" r="r" b="b"/>
              <a:pathLst>
                <a:path w="8543" h="37890" extrusionOk="0">
                  <a:moveTo>
                    <a:pt x="621" y="1"/>
                  </a:moveTo>
                  <a:cubicBezTo>
                    <a:pt x="276" y="1"/>
                    <a:pt x="1" y="263"/>
                    <a:pt x="1" y="607"/>
                  </a:cubicBezTo>
                  <a:lnTo>
                    <a:pt x="1" y="37270"/>
                  </a:lnTo>
                  <a:cubicBezTo>
                    <a:pt x="1" y="37614"/>
                    <a:pt x="276" y="37890"/>
                    <a:pt x="621" y="37890"/>
                  </a:cubicBezTo>
                  <a:lnTo>
                    <a:pt x="7937" y="37890"/>
                  </a:lnTo>
                  <a:cubicBezTo>
                    <a:pt x="8281" y="37890"/>
                    <a:pt x="8543" y="37614"/>
                    <a:pt x="8543" y="37270"/>
                  </a:cubicBezTo>
                  <a:lnTo>
                    <a:pt x="8543" y="607"/>
                  </a:lnTo>
                  <a:cubicBezTo>
                    <a:pt x="8543" y="263"/>
                    <a:pt x="8281" y="1"/>
                    <a:pt x="7937" y="1"/>
                  </a:cubicBezTo>
                  <a:close/>
                </a:path>
              </a:pathLst>
            </a:custGeom>
            <a:solidFill>
              <a:srgbClr val="869FB2"/>
            </a:solidFill>
            <a:ln w="9525" cap="flat" cmpd="sng">
              <a:solidFill>
                <a:srgbClr val="869FB2"/>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9066" name="Google Shape;9066;p108"/>
            <p:cNvSpPr/>
            <p:nvPr/>
          </p:nvSpPr>
          <p:spPr>
            <a:xfrm>
              <a:off x="3633992" y="2180272"/>
              <a:ext cx="108252" cy="378237"/>
            </a:xfrm>
            <a:custGeom>
              <a:avLst/>
              <a:gdLst/>
              <a:ahLst/>
              <a:cxnLst/>
              <a:rect l="l" t="t" r="r" b="b"/>
              <a:pathLst>
                <a:path w="8544" h="37890" extrusionOk="0">
                  <a:moveTo>
                    <a:pt x="621" y="1"/>
                  </a:moveTo>
                  <a:cubicBezTo>
                    <a:pt x="277" y="1"/>
                    <a:pt x="1" y="277"/>
                    <a:pt x="1" y="607"/>
                  </a:cubicBezTo>
                  <a:lnTo>
                    <a:pt x="1" y="37270"/>
                  </a:lnTo>
                  <a:cubicBezTo>
                    <a:pt x="1" y="37614"/>
                    <a:pt x="277" y="37890"/>
                    <a:pt x="621" y="37890"/>
                  </a:cubicBezTo>
                  <a:lnTo>
                    <a:pt x="7937" y="37890"/>
                  </a:lnTo>
                  <a:cubicBezTo>
                    <a:pt x="8268" y="37890"/>
                    <a:pt x="8543" y="37614"/>
                    <a:pt x="8543" y="37270"/>
                  </a:cubicBezTo>
                  <a:lnTo>
                    <a:pt x="8543" y="607"/>
                  </a:lnTo>
                  <a:cubicBezTo>
                    <a:pt x="8543" y="277"/>
                    <a:pt x="8268" y="1"/>
                    <a:pt x="7937" y="1"/>
                  </a:cubicBezTo>
                  <a:close/>
                </a:path>
              </a:pathLst>
            </a:custGeom>
            <a:solidFill>
              <a:srgbClr val="869FB2"/>
            </a:solidFill>
            <a:ln w="9525" cap="flat" cmpd="sng">
              <a:solidFill>
                <a:srgbClr val="869FB2"/>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9067" name="Google Shape;9067;p108"/>
            <p:cNvSpPr/>
            <p:nvPr/>
          </p:nvSpPr>
          <p:spPr>
            <a:xfrm>
              <a:off x="3778448" y="2180272"/>
              <a:ext cx="108240" cy="378097"/>
            </a:xfrm>
            <a:custGeom>
              <a:avLst/>
              <a:gdLst/>
              <a:ahLst/>
              <a:cxnLst/>
              <a:rect l="l" t="t" r="r" b="b"/>
              <a:pathLst>
                <a:path w="8543" h="37876" extrusionOk="0">
                  <a:moveTo>
                    <a:pt x="606" y="1"/>
                  </a:moveTo>
                  <a:cubicBezTo>
                    <a:pt x="276" y="1"/>
                    <a:pt x="0" y="263"/>
                    <a:pt x="0" y="607"/>
                  </a:cubicBezTo>
                  <a:lnTo>
                    <a:pt x="0" y="37270"/>
                  </a:lnTo>
                  <a:cubicBezTo>
                    <a:pt x="0" y="37614"/>
                    <a:pt x="276" y="37876"/>
                    <a:pt x="606" y="37876"/>
                  </a:cubicBezTo>
                  <a:lnTo>
                    <a:pt x="7936" y="37876"/>
                  </a:lnTo>
                  <a:cubicBezTo>
                    <a:pt x="8267" y="37876"/>
                    <a:pt x="8542" y="37614"/>
                    <a:pt x="8542" y="37270"/>
                  </a:cubicBezTo>
                  <a:lnTo>
                    <a:pt x="8542" y="607"/>
                  </a:lnTo>
                  <a:cubicBezTo>
                    <a:pt x="8542" y="263"/>
                    <a:pt x="8267" y="1"/>
                    <a:pt x="7936" y="1"/>
                  </a:cubicBezTo>
                  <a:close/>
                </a:path>
              </a:pathLst>
            </a:custGeom>
            <a:solidFill>
              <a:srgbClr val="869FB2"/>
            </a:solidFill>
            <a:ln w="9525" cap="flat" cmpd="sng">
              <a:solidFill>
                <a:srgbClr val="869FB2"/>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9068" name="Google Shape;9068;p108"/>
            <p:cNvSpPr/>
            <p:nvPr/>
          </p:nvSpPr>
          <p:spPr>
            <a:xfrm>
              <a:off x="3922892" y="2180272"/>
              <a:ext cx="108240" cy="378237"/>
            </a:xfrm>
            <a:custGeom>
              <a:avLst/>
              <a:gdLst/>
              <a:ahLst/>
              <a:cxnLst/>
              <a:rect l="l" t="t" r="r" b="b"/>
              <a:pathLst>
                <a:path w="8543" h="37890" extrusionOk="0">
                  <a:moveTo>
                    <a:pt x="607" y="1"/>
                  </a:moveTo>
                  <a:cubicBezTo>
                    <a:pt x="276" y="1"/>
                    <a:pt x="0" y="277"/>
                    <a:pt x="0" y="607"/>
                  </a:cubicBezTo>
                  <a:lnTo>
                    <a:pt x="0" y="37270"/>
                  </a:lnTo>
                  <a:cubicBezTo>
                    <a:pt x="0" y="37614"/>
                    <a:pt x="276" y="37890"/>
                    <a:pt x="607" y="37890"/>
                  </a:cubicBezTo>
                  <a:lnTo>
                    <a:pt x="7923" y="37890"/>
                  </a:lnTo>
                  <a:cubicBezTo>
                    <a:pt x="8267" y="37890"/>
                    <a:pt x="8543" y="37614"/>
                    <a:pt x="8543" y="37270"/>
                  </a:cubicBezTo>
                  <a:lnTo>
                    <a:pt x="8543" y="607"/>
                  </a:lnTo>
                  <a:cubicBezTo>
                    <a:pt x="8543" y="277"/>
                    <a:pt x="8267" y="1"/>
                    <a:pt x="7923" y="1"/>
                  </a:cubicBezTo>
                  <a:close/>
                </a:path>
              </a:pathLst>
            </a:custGeom>
            <a:solidFill>
              <a:srgbClr val="869FB2"/>
            </a:solidFill>
            <a:ln w="9525" cap="flat" cmpd="sng">
              <a:solidFill>
                <a:srgbClr val="869FB2"/>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9069" name="Google Shape;9069;p108"/>
            <p:cNvSpPr/>
            <p:nvPr/>
          </p:nvSpPr>
          <p:spPr>
            <a:xfrm>
              <a:off x="4067336" y="2180272"/>
              <a:ext cx="108240" cy="378237"/>
            </a:xfrm>
            <a:custGeom>
              <a:avLst/>
              <a:gdLst/>
              <a:ahLst/>
              <a:cxnLst/>
              <a:rect l="l" t="t" r="r" b="b"/>
              <a:pathLst>
                <a:path w="8543" h="37890" extrusionOk="0">
                  <a:moveTo>
                    <a:pt x="607" y="1"/>
                  </a:moveTo>
                  <a:cubicBezTo>
                    <a:pt x="262" y="1"/>
                    <a:pt x="1" y="263"/>
                    <a:pt x="1" y="607"/>
                  </a:cubicBezTo>
                  <a:lnTo>
                    <a:pt x="1" y="37270"/>
                  </a:lnTo>
                  <a:cubicBezTo>
                    <a:pt x="1" y="37614"/>
                    <a:pt x="262" y="37890"/>
                    <a:pt x="607" y="37890"/>
                  </a:cubicBezTo>
                  <a:lnTo>
                    <a:pt x="7923" y="37890"/>
                  </a:lnTo>
                  <a:cubicBezTo>
                    <a:pt x="8267" y="37890"/>
                    <a:pt x="8543" y="37614"/>
                    <a:pt x="8543" y="37270"/>
                  </a:cubicBezTo>
                  <a:lnTo>
                    <a:pt x="8543" y="607"/>
                  </a:lnTo>
                  <a:cubicBezTo>
                    <a:pt x="8543" y="263"/>
                    <a:pt x="8267" y="1"/>
                    <a:pt x="7923" y="1"/>
                  </a:cubicBezTo>
                  <a:close/>
                </a:path>
              </a:pathLst>
            </a:custGeom>
            <a:solidFill>
              <a:srgbClr val="869FB2"/>
            </a:solidFill>
            <a:ln w="9525" cap="flat" cmpd="sng">
              <a:solidFill>
                <a:srgbClr val="869FB2"/>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9070" name="Google Shape;9070;p108"/>
            <p:cNvSpPr/>
            <p:nvPr/>
          </p:nvSpPr>
          <p:spPr>
            <a:xfrm>
              <a:off x="4211780" y="2180272"/>
              <a:ext cx="108252" cy="378237"/>
            </a:xfrm>
            <a:custGeom>
              <a:avLst/>
              <a:gdLst/>
              <a:ahLst/>
              <a:cxnLst/>
              <a:rect l="l" t="t" r="r" b="b"/>
              <a:pathLst>
                <a:path w="8544" h="37890" extrusionOk="0">
                  <a:moveTo>
                    <a:pt x="621" y="1"/>
                  </a:moveTo>
                  <a:cubicBezTo>
                    <a:pt x="276" y="1"/>
                    <a:pt x="1" y="277"/>
                    <a:pt x="1" y="607"/>
                  </a:cubicBezTo>
                  <a:lnTo>
                    <a:pt x="1" y="37270"/>
                  </a:lnTo>
                  <a:cubicBezTo>
                    <a:pt x="1" y="37614"/>
                    <a:pt x="276" y="37890"/>
                    <a:pt x="621" y="37890"/>
                  </a:cubicBezTo>
                  <a:lnTo>
                    <a:pt x="7937" y="37890"/>
                  </a:lnTo>
                  <a:cubicBezTo>
                    <a:pt x="8281" y="37890"/>
                    <a:pt x="8543" y="37614"/>
                    <a:pt x="8543" y="37270"/>
                  </a:cubicBezTo>
                  <a:lnTo>
                    <a:pt x="8543" y="607"/>
                  </a:lnTo>
                  <a:cubicBezTo>
                    <a:pt x="8543" y="277"/>
                    <a:pt x="8281" y="1"/>
                    <a:pt x="7937" y="1"/>
                  </a:cubicBezTo>
                  <a:close/>
                </a:path>
              </a:pathLst>
            </a:custGeom>
            <a:solidFill>
              <a:srgbClr val="869FB2"/>
            </a:solidFill>
            <a:ln w="9525" cap="flat" cmpd="sng">
              <a:solidFill>
                <a:srgbClr val="869FB2"/>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9071" name="Google Shape;9071;p108"/>
            <p:cNvSpPr/>
            <p:nvPr/>
          </p:nvSpPr>
          <p:spPr>
            <a:xfrm>
              <a:off x="4356236" y="2180272"/>
              <a:ext cx="108240" cy="378097"/>
            </a:xfrm>
            <a:custGeom>
              <a:avLst/>
              <a:gdLst/>
              <a:ahLst/>
              <a:cxnLst/>
              <a:rect l="l" t="t" r="r" b="b"/>
              <a:pathLst>
                <a:path w="8543" h="37876" extrusionOk="0">
                  <a:moveTo>
                    <a:pt x="620" y="1"/>
                  </a:moveTo>
                  <a:cubicBezTo>
                    <a:pt x="276" y="1"/>
                    <a:pt x="0" y="263"/>
                    <a:pt x="0" y="607"/>
                  </a:cubicBezTo>
                  <a:lnTo>
                    <a:pt x="0" y="37270"/>
                  </a:lnTo>
                  <a:cubicBezTo>
                    <a:pt x="0" y="37614"/>
                    <a:pt x="276" y="37876"/>
                    <a:pt x="620" y="37876"/>
                  </a:cubicBezTo>
                  <a:lnTo>
                    <a:pt x="7936" y="37876"/>
                  </a:lnTo>
                  <a:cubicBezTo>
                    <a:pt x="8267" y="37876"/>
                    <a:pt x="8542" y="37614"/>
                    <a:pt x="8542" y="37270"/>
                  </a:cubicBezTo>
                  <a:lnTo>
                    <a:pt x="8542" y="607"/>
                  </a:lnTo>
                  <a:cubicBezTo>
                    <a:pt x="8542" y="263"/>
                    <a:pt x="8267" y="1"/>
                    <a:pt x="7936" y="1"/>
                  </a:cubicBezTo>
                  <a:close/>
                </a:path>
              </a:pathLst>
            </a:custGeom>
            <a:solidFill>
              <a:srgbClr val="869FB2"/>
            </a:solidFill>
            <a:ln w="9525" cap="flat" cmpd="sng">
              <a:solidFill>
                <a:srgbClr val="869FB2"/>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9072" name="Google Shape;9072;p108"/>
            <p:cNvSpPr/>
            <p:nvPr/>
          </p:nvSpPr>
          <p:spPr>
            <a:xfrm>
              <a:off x="4500680" y="2180272"/>
              <a:ext cx="108240" cy="378237"/>
            </a:xfrm>
            <a:custGeom>
              <a:avLst/>
              <a:gdLst/>
              <a:ahLst/>
              <a:cxnLst/>
              <a:rect l="l" t="t" r="r" b="b"/>
              <a:pathLst>
                <a:path w="8543" h="37890" extrusionOk="0">
                  <a:moveTo>
                    <a:pt x="606" y="1"/>
                  </a:moveTo>
                  <a:cubicBezTo>
                    <a:pt x="276" y="1"/>
                    <a:pt x="0" y="277"/>
                    <a:pt x="0" y="607"/>
                  </a:cubicBezTo>
                  <a:lnTo>
                    <a:pt x="0" y="37270"/>
                  </a:lnTo>
                  <a:cubicBezTo>
                    <a:pt x="0" y="37614"/>
                    <a:pt x="276" y="37890"/>
                    <a:pt x="606" y="37890"/>
                  </a:cubicBezTo>
                  <a:lnTo>
                    <a:pt x="7936" y="37890"/>
                  </a:lnTo>
                  <a:cubicBezTo>
                    <a:pt x="8267" y="37890"/>
                    <a:pt x="8542" y="37614"/>
                    <a:pt x="8542" y="37270"/>
                  </a:cubicBezTo>
                  <a:lnTo>
                    <a:pt x="8542" y="607"/>
                  </a:lnTo>
                  <a:cubicBezTo>
                    <a:pt x="8542" y="277"/>
                    <a:pt x="8267" y="1"/>
                    <a:pt x="7936" y="1"/>
                  </a:cubicBezTo>
                  <a:close/>
                </a:path>
              </a:pathLst>
            </a:custGeom>
            <a:solidFill>
              <a:srgbClr val="869FB2"/>
            </a:solidFill>
            <a:ln w="9525" cap="flat" cmpd="sng">
              <a:solidFill>
                <a:srgbClr val="869FB2"/>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9073" name="Google Shape;9073;p108"/>
            <p:cNvSpPr/>
            <p:nvPr/>
          </p:nvSpPr>
          <p:spPr>
            <a:xfrm>
              <a:off x="4645124" y="2180272"/>
              <a:ext cx="108240" cy="378097"/>
            </a:xfrm>
            <a:custGeom>
              <a:avLst/>
              <a:gdLst/>
              <a:ahLst/>
              <a:cxnLst/>
              <a:rect l="l" t="t" r="r" b="b"/>
              <a:pathLst>
                <a:path w="8543" h="37876" extrusionOk="0">
                  <a:moveTo>
                    <a:pt x="607" y="1"/>
                  </a:moveTo>
                  <a:cubicBezTo>
                    <a:pt x="276" y="1"/>
                    <a:pt x="0" y="263"/>
                    <a:pt x="0" y="607"/>
                  </a:cubicBezTo>
                  <a:lnTo>
                    <a:pt x="0" y="37270"/>
                  </a:lnTo>
                  <a:cubicBezTo>
                    <a:pt x="0" y="37614"/>
                    <a:pt x="276" y="37876"/>
                    <a:pt x="607" y="37876"/>
                  </a:cubicBezTo>
                  <a:lnTo>
                    <a:pt x="7936" y="37876"/>
                  </a:lnTo>
                  <a:cubicBezTo>
                    <a:pt x="8267" y="37876"/>
                    <a:pt x="8543" y="37614"/>
                    <a:pt x="8543" y="37270"/>
                  </a:cubicBezTo>
                  <a:lnTo>
                    <a:pt x="8543" y="607"/>
                  </a:lnTo>
                  <a:cubicBezTo>
                    <a:pt x="8543" y="263"/>
                    <a:pt x="8267" y="1"/>
                    <a:pt x="7936" y="1"/>
                  </a:cubicBezTo>
                  <a:close/>
                </a:path>
              </a:pathLst>
            </a:custGeom>
            <a:solidFill>
              <a:srgbClr val="869FB2"/>
            </a:solidFill>
            <a:ln w="9525" cap="flat" cmpd="sng">
              <a:solidFill>
                <a:srgbClr val="869FB2"/>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9074" name="Google Shape;9074;p108"/>
            <p:cNvSpPr/>
            <p:nvPr/>
          </p:nvSpPr>
          <p:spPr>
            <a:xfrm>
              <a:off x="4789568" y="2180272"/>
              <a:ext cx="108240" cy="378237"/>
            </a:xfrm>
            <a:custGeom>
              <a:avLst/>
              <a:gdLst/>
              <a:ahLst/>
              <a:cxnLst/>
              <a:rect l="l" t="t" r="r" b="b"/>
              <a:pathLst>
                <a:path w="8543" h="37890" extrusionOk="0">
                  <a:moveTo>
                    <a:pt x="607" y="1"/>
                  </a:moveTo>
                  <a:cubicBezTo>
                    <a:pt x="262" y="1"/>
                    <a:pt x="1" y="277"/>
                    <a:pt x="1" y="607"/>
                  </a:cubicBezTo>
                  <a:lnTo>
                    <a:pt x="1" y="37270"/>
                  </a:lnTo>
                  <a:cubicBezTo>
                    <a:pt x="1" y="37614"/>
                    <a:pt x="262" y="37890"/>
                    <a:pt x="607" y="37890"/>
                  </a:cubicBezTo>
                  <a:lnTo>
                    <a:pt x="7923" y="37890"/>
                  </a:lnTo>
                  <a:cubicBezTo>
                    <a:pt x="8267" y="37890"/>
                    <a:pt x="8543" y="37614"/>
                    <a:pt x="8543" y="37270"/>
                  </a:cubicBezTo>
                  <a:lnTo>
                    <a:pt x="8543" y="607"/>
                  </a:lnTo>
                  <a:cubicBezTo>
                    <a:pt x="8543" y="277"/>
                    <a:pt x="8267" y="1"/>
                    <a:pt x="7923" y="1"/>
                  </a:cubicBezTo>
                  <a:close/>
                </a:path>
              </a:pathLst>
            </a:custGeom>
            <a:noFill/>
            <a:ln w="9525" cap="flat" cmpd="sng">
              <a:solidFill>
                <a:srgbClr val="CFD9E0"/>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9075" name="Google Shape;9075;p108"/>
            <p:cNvSpPr/>
            <p:nvPr/>
          </p:nvSpPr>
          <p:spPr>
            <a:xfrm>
              <a:off x="4934012" y="2180272"/>
              <a:ext cx="108240" cy="378237"/>
            </a:xfrm>
            <a:custGeom>
              <a:avLst/>
              <a:gdLst/>
              <a:ahLst/>
              <a:cxnLst/>
              <a:rect l="l" t="t" r="r" b="b"/>
              <a:pathLst>
                <a:path w="8543" h="37890" extrusionOk="0">
                  <a:moveTo>
                    <a:pt x="607" y="1"/>
                  </a:moveTo>
                  <a:cubicBezTo>
                    <a:pt x="263" y="1"/>
                    <a:pt x="1" y="263"/>
                    <a:pt x="1" y="607"/>
                  </a:cubicBezTo>
                  <a:lnTo>
                    <a:pt x="1" y="37270"/>
                  </a:lnTo>
                  <a:cubicBezTo>
                    <a:pt x="1" y="37614"/>
                    <a:pt x="263" y="37890"/>
                    <a:pt x="607" y="37890"/>
                  </a:cubicBezTo>
                  <a:lnTo>
                    <a:pt x="7923" y="37890"/>
                  </a:lnTo>
                  <a:cubicBezTo>
                    <a:pt x="8267" y="37890"/>
                    <a:pt x="8543" y="37614"/>
                    <a:pt x="8543" y="37270"/>
                  </a:cubicBezTo>
                  <a:lnTo>
                    <a:pt x="8543" y="607"/>
                  </a:lnTo>
                  <a:cubicBezTo>
                    <a:pt x="8543" y="263"/>
                    <a:pt x="8267" y="1"/>
                    <a:pt x="7923" y="1"/>
                  </a:cubicBezTo>
                  <a:close/>
                </a:path>
              </a:pathLst>
            </a:custGeom>
            <a:noFill/>
            <a:ln w="9525" cap="flat" cmpd="sng">
              <a:solidFill>
                <a:srgbClr val="CFD9E0"/>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9076" name="Google Shape;9076;p108"/>
            <p:cNvSpPr/>
            <p:nvPr/>
          </p:nvSpPr>
          <p:spPr>
            <a:xfrm>
              <a:off x="5078456" y="2180272"/>
              <a:ext cx="108240" cy="378237"/>
            </a:xfrm>
            <a:custGeom>
              <a:avLst/>
              <a:gdLst/>
              <a:ahLst/>
              <a:cxnLst/>
              <a:rect l="l" t="t" r="r" b="b"/>
              <a:pathLst>
                <a:path w="8543" h="37890" extrusionOk="0">
                  <a:moveTo>
                    <a:pt x="620" y="1"/>
                  </a:moveTo>
                  <a:cubicBezTo>
                    <a:pt x="276" y="1"/>
                    <a:pt x="0" y="277"/>
                    <a:pt x="0" y="607"/>
                  </a:cubicBezTo>
                  <a:lnTo>
                    <a:pt x="0" y="37270"/>
                  </a:lnTo>
                  <a:cubicBezTo>
                    <a:pt x="0" y="37614"/>
                    <a:pt x="276" y="37890"/>
                    <a:pt x="620" y="37890"/>
                  </a:cubicBezTo>
                  <a:lnTo>
                    <a:pt x="7936" y="37890"/>
                  </a:lnTo>
                  <a:cubicBezTo>
                    <a:pt x="8267" y="37890"/>
                    <a:pt x="8542" y="37614"/>
                    <a:pt x="8542" y="37270"/>
                  </a:cubicBezTo>
                  <a:lnTo>
                    <a:pt x="8542" y="607"/>
                  </a:lnTo>
                  <a:cubicBezTo>
                    <a:pt x="8542" y="277"/>
                    <a:pt x="8267" y="1"/>
                    <a:pt x="7936" y="1"/>
                  </a:cubicBezTo>
                  <a:close/>
                </a:path>
              </a:pathLst>
            </a:custGeom>
            <a:noFill/>
            <a:ln w="9525" cap="flat" cmpd="sng">
              <a:solidFill>
                <a:srgbClr val="CFD9E0"/>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9077" name="Google Shape;9077;p108"/>
            <p:cNvSpPr/>
            <p:nvPr/>
          </p:nvSpPr>
          <p:spPr>
            <a:xfrm>
              <a:off x="5222900" y="2180272"/>
              <a:ext cx="108240" cy="378237"/>
            </a:xfrm>
            <a:custGeom>
              <a:avLst/>
              <a:gdLst/>
              <a:ahLst/>
              <a:cxnLst/>
              <a:rect l="l" t="t" r="r" b="b"/>
              <a:pathLst>
                <a:path w="8543" h="37890" extrusionOk="0">
                  <a:moveTo>
                    <a:pt x="620" y="1"/>
                  </a:moveTo>
                  <a:cubicBezTo>
                    <a:pt x="276" y="1"/>
                    <a:pt x="0" y="263"/>
                    <a:pt x="0" y="607"/>
                  </a:cubicBezTo>
                  <a:lnTo>
                    <a:pt x="0" y="37270"/>
                  </a:lnTo>
                  <a:cubicBezTo>
                    <a:pt x="0" y="37614"/>
                    <a:pt x="276" y="37890"/>
                    <a:pt x="620" y="37890"/>
                  </a:cubicBezTo>
                  <a:lnTo>
                    <a:pt x="7936" y="37890"/>
                  </a:lnTo>
                  <a:cubicBezTo>
                    <a:pt x="8267" y="37890"/>
                    <a:pt x="8543" y="37614"/>
                    <a:pt x="8543" y="37270"/>
                  </a:cubicBezTo>
                  <a:lnTo>
                    <a:pt x="8543" y="607"/>
                  </a:lnTo>
                  <a:cubicBezTo>
                    <a:pt x="8543" y="263"/>
                    <a:pt x="8267" y="1"/>
                    <a:pt x="7936" y="1"/>
                  </a:cubicBezTo>
                  <a:close/>
                </a:path>
              </a:pathLst>
            </a:custGeom>
            <a:noFill/>
            <a:ln w="9525" cap="flat" cmpd="sng">
              <a:solidFill>
                <a:srgbClr val="CFD9E0"/>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9078" name="Google Shape;9078;p108"/>
            <p:cNvSpPr/>
            <p:nvPr/>
          </p:nvSpPr>
          <p:spPr>
            <a:xfrm>
              <a:off x="5367343" y="2180272"/>
              <a:ext cx="108240" cy="378237"/>
            </a:xfrm>
            <a:custGeom>
              <a:avLst/>
              <a:gdLst/>
              <a:ahLst/>
              <a:cxnLst/>
              <a:rect l="l" t="t" r="r" b="b"/>
              <a:pathLst>
                <a:path w="8543" h="37890" extrusionOk="0">
                  <a:moveTo>
                    <a:pt x="607" y="1"/>
                  </a:moveTo>
                  <a:cubicBezTo>
                    <a:pt x="276" y="1"/>
                    <a:pt x="1" y="277"/>
                    <a:pt x="1" y="607"/>
                  </a:cubicBezTo>
                  <a:lnTo>
                    <a:pt x="1" y="37270"/>
                  </a:lnTo>
                  <a:cubicBezTo>
                    <a:pt x="1" y="37614"/>
                    <a:pt x="276" y="37890"/>
                    <a:pt x="607" y="37890"/>
                  </a:cubicBezTo>
                  <a:lnTo>
                    <a:pt x="7937" y="37890"/>
                  </a:lnTo>
                  <a:cubicBezTo>
                    <a:pt x="8267" y="37890"/>
                    <a:pt x="8543" y="37614"/>
                    <a:pt x="8543" y="37270"/>
                  </a:cubicBezTo>
                  <a:lnTo>
                    <a:pt x="8543" y="607"/>
                  </a:lnTo>
                  <a:cubicBezTo>
                    <a:pt x="8543" y="277"/>
                    <a:pt x="8267" y="1"/>
                    <a:pt x="7937" y="1"/>
                  </a:cubicBezTo>
                  <a:close/>
                </a:path>
              </a:pathLst>
            </a:custGeom>
            <a:noFill/>
            <a:ln w="9525" cap="flat" cmpd="sng">
              <a:solidFill>
                <a:srgbClr val="CFD9E0"/>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9079" name="Google Shape;9079;p108"/>
            <p:cNvSpPr/>
            <p:nvPr/>
          </p:nvSpPr>
          <p:spPr>
            <a:xfrm>
              <a:off x="5511787" y="2180272"/>
              <a:ext cx="108240" cy="378097"/>
            </a:xfrm>
            <a:custGeom>
              <a:avLst/>
              <a:gdLst/>
              <a:ahLst/>
              <a:cxnLst/>
              <a:rect l="l" t="t" r="r" b="b"/>
              <a:pathLst>
                <a:path w="8543" h="37876" extrusionOk="0">
                  <a:moveTo>
                    <a:pt x="607" y="1"/>
                  </a:moveTo>
                  <a:cubicBezTo>
                    <a:pt x="276" y="1"/>
                    <a:pt x="1" y="263"/>
                    <a:pt x="1" y="607"/>
                  </a:cubicBezTo>
                  <a:lnTo>
                    <a:pt x="1" y="37270"/>
                  </a:lnTo>
                  <a:cubicBezTo>
                    <a:pt x="1" y="37614"/>
                    <a:pt x="276" y="37876"/>
                    <a:pt x="607" y="37876"/>
                  </a:cubicBezTo>
                  <a:lnTo>
                    <a:pt x="7923" y="37876"/>
                  </a:lnTo>
                  <a:cubicBezTo>
                    <a:pt x="8267" y="37876"/>
                    <a:pt x="8543" y="37614"/>
                    <a:pt x="8543" y="37270"/>
                  </a:cubicBezTo>
                  <a:lnTo>
                    <a:pt x="8543" y="607"/>
                  </a:lnTo>
                  <a:cubicBezTo>
                    <a:pt x="8543" y="263"/>
                    <a:pt x="8267" y="1"/>
                    <a:pt x="7923" y="1"/>
                  </a:cubicBezTo>
                  <a:close/>
                </a:path>
              </a:pathLst>
            </a:custGeom>
            <a:noFill/>
            <a:ln w="9525" cap="flat" cmpd="sng">
              <a:solidFill>
                <a:srgbClr val="CFD9E0"/>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9080" name="Google Shape;9080;p108"/>
            <p:cNvSpPr/>
            <p:nvPr/>
          </p:nvSpPr>
          <p:spPr>
            <a:xfrm>
              <a:off x="5656231" y="2180272"/>
              <a:ext cx="108252" cy="378237"/>
            </a:xfrm>
            <a:custGeom>
              <a:avLst/>
              <a:gdLst/>
              <a:ahLst/>
              <a:cxnLst/>
              <a:rect l="l" t="t" r="r" b="b"/>
              <a:pathLst>
                <a:path w="8544" h="37890" extrusionOk="0">
                  <a:moveTo>
                    <a:pt x="607" y="1"/>
                  </a:moveTo>
                  <a:cubicBezTo>
                    <a:pt x="263" y="1"/>
                    <a:pt x="1" y="277"/>
                    <a:pt x="1" y="607"/>
                  </a:cubicBezTo>
                  <a:lnTo>
                    <a:pt x="1" y="37270"/>
                  </a:lnTo>
                  <a:cubicBezTo>
                    <a:pt x="1" y="37614"/>
                    <a:pt x="263" y="37890"/>
                    <a:pt x="607" y="37890"/>
                  </a:cubicBezTo>
                  <a:lnTo>
                    <a:pt x="7923" y="37890"/>
                  </a:lnTo>
                  <a:cubicBezTo>
                    <a:pt x="8268" y="37890"/>
                    <a:pt x="8543" y="37614"/>
                    <a:pt x="8543" y="37270"/>
                  </a:cubicBezTo>
                  <a:lnTo>
                    <a:pt x="8543" y="607"/>
                  </a:lnTo>
                  <a:cubicBezTo>
                    <a:pt x="8543" y="277"/>
                    <a:pt x="8268" y="1"/>
                    <a:pt x="7923" y="1"/>
                  </a:cubicBezTo>
                  <a:close/>
                </a:path>
              </a:pathLst>
            </a:custGeom>
            <a:noFill/>
            <a:ln w="9525" cap="flat" cmpd="sng">
              <a:solidFill>
                <a:srgbClr val="CFD9E0"/>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9081" name="Google Shape;9081;p108"/>
          <p:cNvGrpSpPr/>
          <p:nvPr/>
        </p:nvGrpSpPr>
        <p:grpSpPr>
          <a:xfrm>
            <a:off x="3479853" y="3914416"/>
            <a:ext cx="1854003" cy="212833"/>
            <a:chOff x="3530150" y="2790075"/>
            <a:chExt cx="1962600" cy="225300"/>
          </a:xfrm>
        </p:grpSpPr>
        <p:sp>
          <p:nvSpPr>
            <p:cNvPr id="9082" name="Google Shape;9082;p108"/>
            <p:cNvSpPr/>
            <p:nvPr/>
          </p:nvSpPr>
          <p:spPr>
            <a:xfrm>
              <a:off x="3530150" y="2790075"/>
              <a:ext cx="1962600" cy="225300"/>
            </a:xfrm>
            <a:prstGeom prst="rect">
              <a:avLst/>
            </a:prstGeom>
            <a:noFill/>
            <a:ln w="9525" cap="flat" cmpd="sng">
              <a:solidFill>
                <a:srgbClr val="CFD9E0"/>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9083" name="Google Shape;9083;p108"/>
            <p:cNvSpPr/>
            <p:nvPr/>
          </p:nvSpPr>
          <p:spPr>
            <a:xfrm>
              <a:off x="3535069" y="2794464"/>
              <a:ext cx="1104900" cy="216900"/>
            </a:xfrm>
            <a:prstGeom prst="rect">
              <a:avLst/>
            </a:pr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9084" name="Google Shape;9084;p108"/>
          <p:cNvGrpSpPr/>
          <p:nvPr/>
        </p:nvGrpSpPr>
        <p:grpSpPr>
          <a:xfrm>
            <a:off x="3480725" y="4285517"/>
            <a:ext cx="1882172" cy="205015"/>
            <a:chOff x="3558802" y="4011427"/>
            <a:chExt cx="1866000" cy="111300"/>
          </a:xfrm>
        </p:grpSpPr>
        <p:sp>
          <p:nvSpPr>
            <p:cNvPr id="9085" name="Google Shape;9085;p108"/>
            <p:cNvSpPr/>
            <p:nvPr/>
          </p:nvSpPr>
          <p:spPr>
            <a:xfrm rot="5400000" flipH="1">
              <a:off x="4436152" y="3134077"/>
              <a:ext cx="111300" cy="1866000"/>
            </a:xfrm>
            <a:prstGeom prst="round2SameRect">
              <a:avLst>
                <a:gd name="adj1" fmla="val 50000"/>
                <a:gd name="adj2" fmla="val 50000"/>
              </a:avLst>
            </a:prstGeom>
            <a:noFill/>
            <a:ln w="9525" cap="flat" cmpd="sng">
              <a:solidFill>
                <a:srgbClr val="CFD9E0"/>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9086" name="Google Shape;9086;p108"/>
            <p:cNvSpPr/>
            <p:nvPr/>
          </p:nvSpPr>
          <p:spPr>
            <a:xfrm rot="5400000" flipH="1">
              <a:off x="4162472" y="3415277"/>
              <a:ext cx="104700" cy="1304700"/>
            </a:xfrm>
            <a:prstGeom prst="round2SameRect">
              <a:avLst>
                <a:gd name="adj1" fmla="val 50000"/>
                <a:gd name="adj2" fmla="val 50000"/>
              </a:avLst>
            </a:pr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9087" name="Google Shape;9087;p108"/>
          <p:cNvGrpSpPr/>
          <p:nvPr/>
        </p:nvGrpSpPr>
        <p:grpSpPr>
          <a:xfrm>
            <a:off x="3480314" y="3226049"/>
            <a:ext cx="1844671" cy="159665"/>
            <a:chOff x="3465975" y="2270276"/>
            <a:chExt cx="1986364" cy="171929"/>
          </a:xfrm>
        </p:grpSpPr>
        <p:sp>
          <p:nvSpPr>
            <p:cNvPr id="9088" name="Google Shape;9088;p108"/>
            <p:cNvSpPr/>
            <p:nvPr/>
          </p:nvSpPr>
          <p:spPr>
            <a:xfrm rot="-5400000">
              <a:off x="3725184" y="2270305"/>
              <a:ext cx="171900" cy="171900"/>
            </a:xfrm>
            <a:prstGeom prst="ellipse">
              <a:avLst/>
            </a:prstGeom>
            <a:solidFill>
              <a:srgbClr val="5F7D95"/>
            </a:solidFill>
            <a:ln w="19050"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9089" name="Google Shape;9089;p108"/>
            <p:cNvSpPr/>
            <p:nvPr/>
          </p:nvSpPr>
          <p:spPr>
            <a:xfrm rot="-5400000">
              <a:off x="3984394" y="2270305"/>
              <a:ext cx="171900" cy="171900"/>
            </a:xfrm>
            <a:prstGeom prst="ellipse">
              <a:avLst/>
            </a:prstGeom>
            <a:solidFill>
              <a:srgbClr val="5F7D95"/>
            </a:solidFill>
            <a:ln w="19050"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9090" name="Google Shape;9090;p108"/>
            <p:cNvSpPr/>
            <p:nvPr/>
          </p:nvSpPr>
          <p:spPr>
            <a:xfrm rot="-5400000">
              <a:off x="4243603" y="2270305"/>
              <a:ext cx="171900" cy="171900"/>
            </a:xfrm>
            <a:prstGeom prst="ellipse">
              <a:avLst/>
            </a:prstGeom>
            <a:noFill/>
            <a:ln w="9525" cap="flat" cmpd="sng">
              <a:solidFill>
                <a:srgbClr val="CFD9E0"/>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9091" name="Google Shape;9091;p108"/>
            <p:cNvSpPr/>
            <p:nvPr/>
          </p:nvSpPr>
          <p:spPr>
            <a:xfrm rot="-5400000">
              <a:off x="4502812" y="2270305"/>
              <a:ext cx="171900" cy="171900"/>
            </a:xfrm>
            <a:prstGeom prst="ellipse">
              <a:avLst/>
            </a:prstGeom>
            <a:noFill/>
            <a:ln w="9525" cap="flat" cmpd="sng">
              <a:solidFill>
                <a:srgbClr val="CFD9E0"/>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9092" name="Google Shape;9092;p108"/>
            <p:cNvSpPr/>
            <p:nvPr/>
          </p:nvSpPr>
          <p:spPr>
            <a:xfrm rot="-5400000">
              <a:off x="4762021" y="2270305"/>
              <a:ext cx="171900" cy="171900"/>
            </a:xfrm>
            <a:prstGeom prst="ellipse">
              <a:avLst/>
            </a:prstGeom>
            <a:noFill/>
            <a:ln w="9525" cap="flat" cmpd="sng">
              <a:solidFill>
                <a:srgbClr val="CFD9E0"/>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9093" name="Google Shape;9093;p108"/>
            <p:cNvSpPr/>
            <p:nvPr/>
          </p:nvSpPr>
          <p:spPr>
            <a:xfrm rot="-5400000">
              <a:off x="3465975" y="2270305"/>
              <a:ext cx="171900" cy="171900"/>
            </a:xfrm>
            <a:prstGeom prst="ellipse">
              <a:avLst/>
            </a:prstGeom>
            <a:solidFill>
              <a:srgbClr val="5F7D95"/>
            </a:solidFill>
            <a:ln w="19050"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9094" name="Google Shape;9094;p108"/>
            <p:cNvSpPr/>
            <p:nvPr/>
          </p:nvSpPr>
          <p:spPr>
            <a:xfrm rot="-5400000">
              <a:off x="5021230" y="2270276"/>
              <a:ext cx="171900" cy="171900"/>
            </a:xfrm>
            <a:prstGeom prst="ellipse">
              <a:avLst/>
            </a:prstGeom>
            <a:noFill/>
            <a:ln w="9525" cap="flat" cmpd="sng">
              <a:solidFill>
                <a:srgbClr val="CFD9E0"/>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9095" name="Google Shape;9095;p108"/>
            <p:cNvSpPr/>
            <p:nvPr/>
          </p:nvSpPr>
          <p:spPr>
            <a:xfrm rot="-5400000">
              <a:off x="5280440" y="2270276"/>
              <a:ext cx="171900" cy="171900"/>
            </a:xfrm>
            <a:prstGeom prst="ellipse">
              <a:avLst/>
            </a:prstGeom>
            <a:noFill/>
            <a:ln w="9525" cap="flat" cmpd="sng">
              <a:solidFill>
                <a:srgbClr val="CFD9E0"/>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9096" name="Google Shape;9096;p108"/>
          <p:cNvGrpSpPr/>
          <p:nvPr/>
        </p:nvGrpSpPr>
        <p:grpSpPr>
          <a:xfrm>
            <a:off x="3494992" y="5044250"/>
            <a:ext cx="1826041" cy="260613"/>
            <a:chOff x="723300" y="4253549"/>
            <a:chExt cx="2276482" cy="324900"/>
          </a:xfrm>
        </p:grpSpPr>
        <p:sp>
          <p:nvSpPr>
            <p:cNvPr id="9097" name="Google Shape;9097;p108"/>
            <p:cNvSpPr/>
            <p:nvPr/>
          </p:nvSpPr>
          <p:spPr>
            <a:xfrm>
              <a:off x="723300" y="4253549"/>
              <a:ext cx="341700" cy="324900"/>
            </a:xfrm>
            <a:prstGeom prst="star5">
              <a:avLst>
                <a:gd name="adj" fmla="val 19098"/>
                <a:gd name="hf" fmla="val 105146"/>
                <a:gd name="vf" fmla="val 110557"/>
              </a:avLst>
            </a:pr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9098" name="Google Shape;9098;p108"/>
            <p:cNvSpPr/>
            <p:nvPr/>
          </p:nvSpPr>
          <p:spPr>
            <a:xfrm>
              <a:off x="1206995" y="4253549"/>
              <a:ext cx="341700" cy="324900"/>
            </a:xfrm>
            <a:prstGeom prst="star5">
              <a:avLst>
                <a:gd name="adj" fmla="val 19098"/>
                <a:gd name="hf" fmla="val 105146"/>
                <a:gd name="vf" fmla="val 110557"/>
              </a:avLst>
            </a:pr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9099" name="Google Shape;9099;p108"/>
            <p:cNvSpPr/>
            <p:nvPr/>
          </p:nvSpPr>
          <p:spPr>
            <a:xfrm>
              <a:off x="1690691" y="4253549"/>
              <a:ext cx="341700" cy="324900"/>
            </a:xfrm>
            <a:prstGeom prst="star5">
              <a:avLst>
                <a:gd name="adj" fmla="val 19098"/>
                <a:gd name="hf" fmla="val 105146"/>
                <a:gd name="vf" fmla="val 110557"/>
              </a:avLst>
            </a:pr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9100" name="Google Shape;9100;p108"/>
            <p:cNvSpPr/>
            <p:nvPr/>
          </p:nvSpPr>
          <p:spPr>
            <a:xfrm>
              <a:off x="2174386" y="4253549"/>
              <a:ext cx="341700" cy="324900"/>
            </a:xfrm>
            <a:prstGeom prst="star5">
              <a:avLst>
                <a:gd name="adj" fmla="val 19098"/>
                <a:gd name="hf" fmla="val 105146"/>
                <a:gd name="vf" fmla="val 110557"/>
              </a:avLst>
            </a:pr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9101" name="Google Shape;9101;p108"/>
            <p:cNvSpPr/>
            <p:nvPr/>
          </p:nvSpPr>
          <p:spPr>
            <a:xfrm>
              <a:off x="2658082" y="4253549"/>
              <a:ext cx="341700" cy="324900"/>
            </a:xfrm>
            <a:prstGeom prst="star5">
              <a:avLst>
                <a:gd name="adj" fmla="val 19098"/>
                <a:gd name="hf" fmla="val 105146"/>
                <a:gd name="vf" fmla="val 110557"/>
              </a:avLst>
            </a:prstGeom>
            <a:noFill/>
            <a:ln w="9525" cap="flat" cmpd="sng">
              <a:solidFill>
                <a:srgbClr val="CFD9E0"/>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9102" name="Google Shape;9102;p108"/>
          <p:cNvGrpSpPr/>
          <p:nvPr/>
        </p:nvGrpSpPr>
        <p:grpSpPr>
          <a:xfrm>
            <a:off x="3481071" y="4645823"/>
            <a:ext cx="1852088" cy="240159"/>
            <a:chOff x="705948" y="3788465"/>
            <a:chExt cx="2308953" cy="299400"/>
          </a:xfrm>
        </p:grpSpPr>
        <p:sp>
          <p:nvSpPr>
            <p:cNvPr id="9103" name="Google Shape;9103;p108"/>
            <p:cNvSpPr/>
            <p:nvPr/>
          </p:nvSpPr>
          <p:spPr>
            <a:xfrm>
              <a:off x="705948" y="3788465"/>
              <a:ext cx="335400" cy="299400"/>
            </a:xfrm>
            <a:prstGeom prst="heart">
              <a:avLst/>
            </a:pr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9104" name="Google Shape;9104;p108"/>
            <p:cNvSpPr/>
            <p:nvPr/>
          </p:nvSpPr>
          <p:spPr>
            <a:xfrm>
              <a:off x="1209923" y="3788465"/>
              <a:ext cx="335400" cy="299400"/>
            </a:xfrm>
            <a:prstGeom prst="heart">
              <a:avLst/>
            </a:pr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9105" name="Google Shape;9105;p108"/>
            <p:cNvSpPr/>
            <p:nvPr/>
          </p:nvSpPr>
          <p:spPr>
            <a:xfrm>
              <a:off x="1713905" y="3788465"/>
              <a:ext cx="335400" cy="299400"/>
            </a:xfrm>
            <a:prstGeom prst="heart">
              <a:avLst/>
            </a:pr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9106" name="Google Shape;9106;p108"/>
            <p:cNvSpPr/>
            <p:nvPr/>
          </p:nvSpPr>
          <p:spPr>
            <a:xfrm>
              <a:off x="2189639" y="3788465"/>
              <a:ext cx="335400" cy="299400"/>
            </a:xfrm>
            <a:prstGeom prst="heart">
              <a:avLst/>
            </a:prstGeom>
            <a:noFill/>
            <a:ln w="9525" cap="flat" cmpd="sng">
              <a:solidFill>
                <a:srgbClr val="CFD9E0"/>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9107" name="Google Shape;9107;p108"/>
            <p:cNvSpPr/>
            <p:nvPr/>
          </p:nvSpPr>
          <p:spPr>
            <a:xfrm>
              <a:off x="2679500" y="3788465"/>
              <a:ext cx="335400" cy="299400"/>
            </a:xfrm>
            <a:prstGeom prst="heart">
              <a:avLst/>
            </a:prstGeom>
            <a:noFill/>
            <a:ln w="9525" cap="flat" cmpd="sng">
              <a:solidFill>
                <a:srgbClr val="CFD9E0"/>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9108" name="Google Shape;9108;p108"/>
          <p:cNvGrpSpPr/>
          <p:nvPr/>
        </p:nvGrpSpPr>
        <p:grpSpPr>
          <a:xfrm>
            <a:off x="3544989" y="5463129"/>
            <a:ext cx="1739479" cy="392099"/>
            <a:chOff x="2658741" y="4097347"/>
            <a:chExt cx="1304609" cy="294074"/>
          </a:xfrm>
        </p:grpSpPr>
        <p:grpSp>
          <p:nvGrpSpPr>
            <p:cNvPr id="9109" name="Google Shape;9109;p108"/>
            <p:cNvGrpSpPr/>
            <p:nvPr/>
          </p:nvGrpSpPr>
          <p:grpSpPr>
            <a:xfrm>
              <a:off x="2658741" y="4097347"/>
              <a:ext cx="118572" cy="294074"/>
              <a:chOff x="3343310" y="4475555"/>
              <a:chExt cx="127717" cy="316753"/>
            </a:xfrm>
          </p:grpSpPr>
          <p:sp>
            <p:nvSpPr>
              <p:cNvPr id="9110" name="Google Shape;9110;p108"/>
              <p:cNvSpPr/>
              <p:nvPr/>
            </p:nvSpPr>
            <p:spPr>
              <a:xfrm>
                <a:off x="3343310" y="4535967"/>
                <a:ext cx="127717" cy="256341"/>
              </a:xfrm>
              <a:custGeom>
                <a:avLst/>
                <a:gdLst/>
                <a:ahLst/>
                <a:cxnLst/>
                <a:rect l="l" t="t" r="r" b="b"/>
                <a:pathLst>
                  <a:path w="77995" h="156544" extrusionOk="0">
                    <a:moveTo>
                      <a:pt x="18496" y="1"/>
                    </a:moveTo>
                    <a:cubicBezTo>
                      <a:pt x="8514" y="1"/>
                      <a:pt x="359" y="8123"/>
                      <a:pt x="327" y="18105"/>
                    </a:cubicBezTo>
                    <a:lnTo>
                      <a:pt x="33" y="74537"/>
                    </a:lnTo>
                    <a:cubicBezTo>
                      <a:pt x="0" y="78778"/>
                      <a:pt x="3425" y="82235"/>
                      <a:pt x="7666" y="82268"/>
                    </a:cubicBezTo>
                    <a:lnTo>
                      <a:pt x="7731" y="82268"/>
                    </a:lnTo>
                    <a:cubicBezTo>
                      <a:pt x="11939" y="82268"/>
                      <a:pt x="15364" y="78843"/>
                      <a:pt x="15397" y="74635"/>
                    </a:cubicBezTo>
                    <a:lnTo>
                      <a:pt x="15691" y="18170"/>
                    </a:lnTo>
                    <a:cubicBezTo>
                      <a:pt x="15691" y="17341"/>
                      <a:pt x="16344" y="16668"/>
                      <a:pt x="17166" y="16668"/>
                    </a:cubicBezTo>
                    <a:cubicBezTo>
                      <a:pt x="17185" y="16668"/>
                      <a:pt x="17204" y="16669"/>
                      <a:pt x="17224" y="16669"/>
                    </a:cubicBezTo>
                    <a:cubicBezTo>
                      <a:pt x="18039" y="16669"/>
                      <a:pt x="18724" y="17355"/>
                      <a:pt x="18724" y="18170"/>
                    </a:cubicBezTo>
                    <a:lnTo>
                      <a:pt x="18724" y="147345"/>
                    </a:lnTo>
                    <a:cubicBezTo>
                      <a:pt x="18724" y="152433"/>
                      <a:pt x="22867" y="156543"/>
                      <a:pt x="27956" y="156543"/>
                    </a:cubicBezTo>
                    <a:cubicBezTo>
                      <a:pt x="33044" y="156543"/>
                      <a:pt x="37187" y="152433"/>
                      <a:pt x="37187" y="147345"/>
                    </a:cubicBezTo>
                    <a:lnTo>
                      <a:pt x="37187" y="73656"/>
                    </a:lnTo>
                    <a:lnTo>
                      <a:pt x="41167" y="73656"/>
                    </a:lnTo>
                    <a:lnTo>
                      <a:pt x="41167" y="147345"/>
                    </a:lnTo>
                    <a:cubicBezTo>
                      <a:pt x="41167" y="152433"/>
                      <a:pt x="45277" y="156543"/>
                      <a:pt x="50365" y="156543"/>
                    </a:cubicBezTo>
                    <a:cubicBezTo>
                      <a:pt x="55454" y="156543"/>
                      <a:pt x="59597" y="152433"/>
                      <a:pt x="59597" y="147345"/>
                    </a:cubicBezTo>
                    <a:cubicBezTo>
                      <a:pt x="59597" y="25477"/>
                      <a:pt x="59434" y="95153"/>
                      <a:pt x="59434" y="18300"/>
                    </a:cubicBezTo>
                    <a:cubicBezTo>
                      <a:pt x="59434" y="17420"/>
                      <a:pt x="60119" y="16702"/>
                      <a:pt x="60967" y="16669"/>
                    </a:cubicBezTo>
                    <a:cubicBezTo>
                      <a:pt x="60988" y="16669"/>
                      <a:pt x="61009" y="16668"/>
                      <a:pt x="61030" y="16668"/>
                    </a:cubicBezTo>
                    <a:cubicBezTo>
                      <a:pt x="61882" y="16668"/>
                      <a:pt x="62567" y="17310"/>
                      <a:pt x="62631" y="18170"/>
                    </a:cubicBezTo>
                    <a:lnTo>
                      <a:pt x="62598" y="74570"/>
                    </a:lnTo>
                    <a:cubicBezTo>
                      <a:pt x="62598" y="78810"/>
                      <a:pt x="66023" y="82268"/>
                      <a:pt x="70264" y="82268"/>
                    </a:cubicBezTo>
                    <a:cubicBezTo>
                      <a:pt x="74504" y="82268"/>
                      <a:pt x="77962" y="78843"/>
                      <a:pt x="77962" y="74602"/>
                    </a:cubicBezTo>
                    <a:lnTo>
                      <a:pt x="77994" y="18137"/>
                    </a:lnTo>
                    <a:cubicBezTo>
                      <a:pt x="77994" y="18137"/>
                      <a:pt x="77994" y="18105"/>
                      <a:pt x="77994" y="18105"/>
                    </a:cubicBezTo>
                    <a:cubicBezTo>
                      <a:pt x="77962" y="8123"/>
                      <a:pt x="69807" y="1"/>
                      <a:pt x="59825"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9111" name="Google Shape;9111;p108"/>
              <p:cNvSpPr/>
              <p:nvPr/>
            </p:nvSpPr>
            <p:spPr>
              <a:xfrm>
                <a:off x="3381341" y="4475555"/>
                <a:ext cx="52189" cy="52135"/>
              </a:xfrm>
              <a:custGeom>
                <a:avLst/>
                <a:gdLst/>
                <a:ahLst/>
                <a:cxnLst/>
                <a:rect l="l" t="t" r="r" b="b"/>
                <a:pathLst>
                  <a:path w="31871" h="31838" extrusionOk="0">
                    <a:moveTo>
                      <a:pt x="15952" y="1"/>
                    </a:moveTo>
                    <a:cubicBezTo>
                      <a:pt x="7144" y="1"/>
                      <a:pt x="1" y="7112"/>
                      <a:pt x="1" y="15919"/>
                    </a:cubicBezTo>
                    <a:cubicBezTo>
                      <a:pt x="1" y="24694"/>
                      <a:pt x="7144" y="31838"/>
                      <a:pt x="15952" y="31838"/>
                    </a:cubicBezTo>
                    <a:cubicBezTo>
                      <a:pt x="24727" y="31838"/>
                      <a:pt x="31870" y="24694"/>
                      <a:pt x="31870" y="15919"/>
                    </a:cubicBezTo>
                    <a:cubicBezTo>
                      <a:pt x="31870" y="7112"/>
                      <a:pt x="24727" y="1"/>
                      <a:pt x="15952"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9112" name="Google Shape;9112;p108"/>
            <p:cNvGrpSpPr/>
            <p:nvPr/>
          </p:nvGrpSpPr>
          <p:grpSpPr>
            <a:xfrm>
              <a:off x="3815519" y="4098388"/>
              <a:ext cx="147831" cy="291991"/>
              <a:chOff x="3527539" y="4476677"/>
              <a:chExt cx="159232" cy="314510"/>
            </a:xfrm>
          </p:grpSpPr>
          <p:sp>
            <p:nvSpPr>
              <p:cNvPr id="9113" name="Google Shape;9113;p108"/>
              <p:cNvSpPr/>
              <p:nvPr/>
            </p:nvSpPr>
            <p:spPr>
              <a:xfrm>
                <a:off x="3527539" y="4536716"/>
                <a:ext cx="159232" cy="254471"/>
              </a:xfrm>
              <a:custGeom>
                <a:avLst/>
                <a:gdLst/>
                <a:ahLst/>
                <a:cxnLst/>
                <a:rect l="l" t="t" r="r" b="b"/>
                <a:pathLst>
                  <a:path w="97241" h="155402" extrusionOk="0">
                    <a:moveTo>
                      <a:pt x="35360" y="0"/>
                    </a:moveTo>
                    <a:cubicBezTo>
                      <a:pt x="27173" y="0"/>
                      <a:pt x="21268" y="5220"/>
                      <a:pt x="17713" y="15527"/>
                    </a:cubicBezTo>
                    <a:cubicBezTo>
                      <a:pt x="15527" y="21921"/>
                      <a:pt x="1533" y="61750"/>
                      <a:pt x="1403" y="62174"/>
                    </a:cubicBezTo>
                    <a:cubicBezTo>
                      <a:pt x="0" y="66121"/>
                      <a:pt x="2088" y="70492"/>
                      <a:pt x="6068" y="71895"/>
                    </a:cubicBezTo>
                    <a:cubicBezTo>
                      <a:pt x="6895" y="72179"/>
                      <a:pt x="7739" y="72315"/>
                      <a:pt x="8570" y="72315"/>
                    </a:cubicBezTo>
                    <a:cubicBezTo>
                      <a:pt x="11735" y="72315"/>
                      <a:pt x="14703" y="70350"/>
                      <a:pt x="15788" y="67197"/>
                    </a:cubicBezTo>
                    <a:cubicBezTo>
                      <a:pt x="16245" y="65925"/>
                      <a:pt x="24661" y="42569"/>
                      <a:pt x="29358" y="29130"/>
                    </a:cubicBezTo>
                    <a:lnTo>
                      <a:pt x="29358" y="29130"/>
                    </a:lnTo>
                    <a:cubicBezTo>
                      <a:pt x="28869" y="33142"/>
                      <a:pt x="30272" y="24824"/>
                      <a:pt x="18431" y="85856"/>
                    </a:cubicBezTo>
                    <a:cubicBezTo>
                      <a:pt x="17941" y="88498"/>
                      <a:pt x="19964" y="90912"/>
                      <a:pt x="22606" y="90912"/>
                    </a:cubicBezTo>
                    <a:lnTo>
                      <a:pt x="28412" y="90912"/>
                    </a:lnTo>
                    <a:lnTo>
                      <a:pt x="28412" y="146235"/>
                    </a:lnTo>
                    <a:cubicBezTo>
                      <a:pt x="28412" y="151291"/>
                      <a:pt x="32522" y="155401"/>
                      <a:pt x="37578" y="155401"/>
                    </a:cubicBezTo>
                    <a:cubicBezTo>
                      <a:pt x="42634" y="155401"/>
                      <a:pt x="46745" y="151291"/>
                      <a:pt x="46745" y="146235"/>
                    </a:cubicBezTo>
                    <a:lnTo>
                      <a:pt x="46745" y="90912"/>
                    </a:lnTo>
                    <a:lnTo>
                      <a:pt x="50692" y="90912"/>
                    </a:lnTo>
                    <a:lnTo>
                      <a:pt x="50692" y="146235"/>
                    </a:lnTo>
                    <a:cubicBezTo>
                      <a:pt x="50692" y="151291"/>
                      <a:pt x="54769" y="155401"/>
                      <a:pt x="59825" y="155401"/>
                    </a:cubicBezTo>
                    <a:cubicBezTo>
                      <a:pt x="64881" y="155401"/>
                      <a:pt x="68991" y="151291"/>
                      <a:pt x="68991" y="146235"/>
                    </a:cubicBezTo>
                    <a:lnTo>
                      <a:pt x="68991" y="90912"/>
                    </a:lnTo>
                    <a:lnTo>
                      <a:pt x="74798" y="90912"/>
                    </a:lnTo>
                    <a:cubicBezTo>
                      <a:pt x="77472" y="90912"/>
                      <a:pt x="79462" y="88498"/>
                      <a:pt x="78973" y="85856"/>
                    </a:cubicBezTo>
                    <a:cubicBezTo>
                      <a:pt x="67262" y="25379"/>
                      <a:pt x="68535" y="32392"/>
                      <a:pt x="68143" y="29130"/>
                    </a:cubicBezTo>
                    <a:lnTo>
                      <a:pt x="68143" y="29130"/>
                    </a:lnTo>
                    <a:cubicBezTo>
                      <a:pt x="72873" y="42667"/>
                      <a:pt x="81028" y="65958"/>
                      <a:pt x="81485" y="67197"/>
                    </a:cubicBezTo>
                    <a:cubicBezTo>
                      <a:pt x="82570" y="70350"/>
                      <a:pt x="85538" y="72315"/>
                      <a:pt x="88687" y="72315"/>
                    </a:cubicBezTo>
                    <a:cubicBezTo>
                      <a:pt x="89513" y="72315"/>
                      <a:pt x="90352" y="72179"/>
                      <a:pt x="91173" y="71895"/>
                    </a:cubicBezTo>
                    <a:cubicBezTo>
                      <a:pt x="95152" y="70492"/>
                      <a:pt x="97240" y="66121"/>
                      <a:pt x="95870" y="62174"/>
                    </a:cubicBezTo>
                    <a:cubicBezTo>
                      <a:pt x="95707" y="61750"/>
                      <a:pt x="81746" y="21921"/>
                      <a:pt x="79560" y="15527"/>
                    </a:cubicBezTo>
                    <a:cubicBezTo>
                      <a:pt x="76005" y="5220"/>
                      <a:pt x="70068" y="0"/>
                      <a:pt x="61913" y="0"/>
                    </a:cubicBezTo>
                    <a:close/>
                  </a:path>
                </a:pathLst>
              </a:custGeom>
              <a:noFill/>
              <a:ln w="9525" cap="flat" cmpd="sng">
                <a:solidFill>
                  <a:srgbClr val="E3E9ED"/>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9114" name="Google Shape;9114;p108"/>
              <p:cNvSpPr/>
              <p:nvPr/>
            </p:nvSpPr>
            <p:spPr>
              <a:xfrm>
                <a:off x="3581381" y="4476677"/>
                <a:ext cx="51814" cy="51761"/>
              </a:xfrm>
              <a:custGeom>
                <a:avLst/>
                <a:gdLst/>
                <a:ahLst/>
                <a:cxnLst/>
                <a:rect l="l" t="t" r="r" b="b"/>
                <a:pathLst>
                  <a:path w="31642" h="31610" extrusionOk="0">
                    <a:moveTo>
                      <a:pt x="15821" y="1"/>
                    </a:moveTo>
                    <a:cubicBezTo>
                      <a:pt x="7079" y="1"/>
                      <a:pt x="0" y="7079"/>
                      <a:pt x="0" y="15821"/>
                    </a:cubicBezTo>
                    <a:cubicBezTo>
                      <a:pt x="0" y="24531"/>
                      <a:pt x="7079" y="31609"/>
                      <a:pt x="15821" y="31609"/>
                    </a:cubicBezTo>
                    <a:cubicBezTo>
                      <a:pt x="24563" y="31609"/>
                      <a:pt x="31641" y="24531"/>
                      <a:pt x="31641" y="15821"/>
                    </a:cubicBezTo>
                    <a:cubicBezTo>
                      <a:pt x="31641" y="7079"/>
                      <a:pt x="24563" y="1"/>
                      <a:pt x="15821" y="1"/>
                    </a:cubicBezTo>
                    <a:close/>
                  </a:path>
                </a:pathLst>
              </a:custGeom>
              <a:noFill/>
              <a:ln w="9525" cap="flat" cmpd="sng">
                <a:solidFill>
                  <a:srgbClr val="E3E9ED"/>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9115" name="Google Shape;9115;p108"/>
            <p:cNvGrpSpPr/>
            <p:nvPr/>
          </p:nvGrpSpPr>
          <p:grpSpPr>
            <a:xfrm>
              <a:off x="3511696" y="4098388"/>
              <a:ext cx="147831" cy="291991"/>
              <a:chOff x="3527539" y="4476677"/>
              <a:chExt cx="159232" cy="314510"/>
            </a:xfrm>
          </p:grpSpPr>
          <p:sp>
            <p:nvSpPr>
              <p:cNvPr id="9116" name="Google Shape;9116;p108"/>
              <p:cNvSpPr/>
              <p:nvPr/>
            </p:nvSpPr>
            <p:spPr>
              <a:xfrm>
                <a:off x="3527539" y="4536716"/>
                <a:ext cx="159232" cy="254471"/>
              </a:xfrm>
              <a:custGeom>
                <a:avLst/>
                <a:gdLst/>
                <a:ahLst/>
                <a:cxnLst/>
                <a:rect l="l" t="t" r="r" b="b"/>
                <a:pathLst>
                  <a:path w="97241" h="155402" extrusionOk="0">
                    <a:moveTo>
                      <a:pt x="35360" y="0"/>
                    </a:moveTo>
                    <a:cubicBezTo>
                      <a:pt x="27173" y="0"/>
                      <a:pt x="21268" y="5220"/>
                      <a:pt x="17713" y="15527"/>
                    </a:cubicBezTo>
                    <a:cubicBezTo>
                      <a:pt x="15527" y="21921"/>
                      <a:pt x="1533" y="61750"/>
                      <a:pt x="1403" y="62174"/>
                    </a:cubicBezTo>
                    <a:cubicBezTo>
                      <a:pt x="0" y="66121"/>
                      <a:pt x="2088" y="70492"/>
                      <a:pt x="6068" y="71895"/>
                    </a:cubicBezTo>
                    <a:cubicBezTo>
                      <a:pt x="6895" y="72179"/>
                      <a:pt x="7739" y="72315"/>
                      <a:pt x="8570" y="72315"/>
                    </a:cubicBezTo>
                    <a:cubicBezTo>
                      <a:pt x="11735" y="72315"/>
                      <a:pt x="14703" y="70350"/>
                      <a:pt x="15788" y="67197"/>
                    </a:cubicBezTo>
                    <a:cubicBezTo>
                      <a:pt x="16245" y="65925"/>
                      <a:pt x="24661" y="42569"/>
                      <a:pt x="29358" y="29130"/>
                    </a:cubicBezTo>
                    <a:lnTo>
                      <a:pt x="29358" y="29130"/>
                    </a:lnTo>
                    <a:cubicBezTo>
                      <a:pt x="28869" y="33142"/>
                      <a:pt x="30272" y="24824"/>
                      <a:pt x="18431" y="85856"/>
                    </a:cubicBezTo>
                    <a:cubicBezTo>
                      <a:pt x="17941" y="88498"/>
                      <a:pt x="19964" y="90912"/>
                      <a:pt x="22606" y="90912"/>
                    </a:cubicBezTo>
                    <a:lnTo>
                      <a:pt x="28412" y="90912"/>
                    </a:lnTo>
                    <a:lnTo>
                      <a:pt x="28412" y="146235"/>
                    </a:lnTo>
                    <a:cubicBezTo>
                      <a:pt x="28412" y="151291"/>
                      <a:pt x="32522" y="155401"/>
                      <a:pt x="37578" y="155401"/>
                    </a:cubicBezTo>
                    <a:cubicBezTo>
                      <a:pt x="42634" y="155401"/>
                      <a:pt x="46745" y="151291"/>
                      <a:pt x="46745" y="146235"/>
                    </a:cubicBezTo>
                    <a:lnTo>
                      <a:pt x="46745" y="90912"/>
                    </a:lnTo>
                    <a:lnTo>
                      <a:pt x="50692" y="90912"/>
                    </a:lnTo>
                    <a:lnTo>
                      <a:pt x="50692" y="146235"/>
                    </a:lnTo>
                    <a:cubicBezTo>
                      <a:pt x="50692" y="151291"/>
                      <a:pt x="54769" y="155401"/>
                      <a:pt x="59825" y="155401"/>
                    </a:cubicBezTo>
                    <a:cubicBezTo>
                      <a:pt x="64881" y="155401"/>
                      <a:pt x="68991" y="151291"/>
                      <a:pt x="68991" y="146235"/>
                    </a:cubicBezTo>
                    <a:lnTo>
                      <a:pt x="68991" y="90912"/>
                    </a:lnTo>
                    <a:lnTo>
                      <a:pt x="74798" y="90912"/>
                    </a:lnTo>
                    <a:cubicBezTo>
                      <a:pt x="77472" y="90912"/>
                      <a:pt x="79462" y="88498"/>
                      <a:pt x="78973" y="85856"/>
                    </a:cubicBezTo>
                    <a:cubicBezTo>
                      <a:pt x="67262" y="25379"/>
                      <a:pt x="68535" y="32392"/>
                      <a:pt x="68143" y="29130"/>
                    </a:cubicBezTo>
                    <a:lnTo>
                      <a:pt x="68143" y="29130"/>
                    </a:lnTo>
                    <a:cubicBezTo>
                      <a:pt x="72873" y="42667"/>
                      <a:pt x="81028" y="65958"/>
                      <a:pt x="81485" y="67197"/>
                    </a:cubicBezTo>
                    <a:cubicBezTo>
                      <a:pt x="82570" y="70350"/>
                      <a:pt x="85538" y="72315"/>
                      <a:pt x="88687" y="72315"/>
                    </a:cubicBezTo>
                    <a:cubicBezTo>
                      <a:pt x="89513" y="72315"/>
                      <a:pt x="90352" y="72179"/>
                      <a:pt x="91173" y="71895"/>
                    </a:cubicBezTo>
                    <a:cubicBezTo>
                      <a:pt x="95152" y="70492"/>
                      <a:pt x="97240" y="66121"/>
                      <a:pt x="95870" y="62174"/>
                    </a:cubicBezTo>
                    <a:cubicBezTo>
                      <a:pt x="95707" y="61750"/>
                      <a:pt x="81746" y="21921"/>
                      <a:pt x="79560" y="15527"/>
                    </a:cubicBezTo>
                    <a:cubicBezTo>
                      <a:pt x="76005" y="5220"/>
                      <a:pt x="70068" y="0"/>
                      <a:pt x="61913" y="0"/>
                    </a:cubicBezTo>
                    <a:close/>
                  </a:path>
                </a:pathLst>
              </a:custGeom>
              <a:noFill/>
              <a:ln w="9525" cap="flat" cmpd="sng">
                <a:solidFill>
                  <a:srgbClr val="E3E9ED"/>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9117" name="Google Shape;9117;p108"/>
              <p:cNvSpPr/>
              <p:nvPr/>
            </p:nvSpPr>
            <p:spPr>
              <a:xfrm>
                <a:off x="3581381" y="4476677"/>
                <a:ext cx="51814" cy="51761"/>
              </a:xfrm>
              <a:custGeom>
                <a:avLst/>
                <a:gdLst/>
                <a:ahLst/>
                <a:cxnLst/>
                <a:rect l="l" t="t" r="r" b="b"/>
                <a:pathLst>
                  <a:path w="31642" h="31610" extrusionOk="0">
                    <a:moveTo>
                      <a:pt x="15821" y="1"/>
                    </a:moveTo>
                    <a:cubicBezTo>
                      <a:pt x="7079" y="1"/>
                      <a:pt x="0" y="7079"/>
                      <a:pt x="0" y="15821"/>
                    </a:cubicBezTo>
                    <a:cubicBezTo>
                      <a:pt x="0" y="24531"/>
                      <a:pt x="7079" y="31609"/>
                      <a:pt x="15821" y="31609"/>
                    </a:cubicBezTo>
                    <a:cubicBezTo>
                      <a:pt x="24563" y="31609"/>
                      <a:pt x="31641" y="24531"/>
                      <a:pt x="31641" y="15821"/>
                    </a:cubicBezTo>
                    <a:cubicBezTo>
                      <a:pt x="31641" y="7079"/>
                      <a:pt x="24563" y="1"/>
                      <a:pt x="15821" y="1"/>
                    </a:cubicBezTo>
                    <a:close/>
                  </a:path>
                </a:pathLst>
              </a:custGeom>
              <a:noFill/>
              <a:ln w="9525" cap="flat" cmpd="sng">
                <a:solidFill>
                  <a:srgbClr val="E3E9ED"/>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9118" name="Google Shape;9118;p108"/>
            <p:cNvGrpSpPr/>
            <p:nvPr/>
          </p:nvGrpSpPr>
          <p:grpSpPr>
            <a:xfrm>
              <a:off x="3207874" y="4098388"/>
              <a:ext cx="147831" cy="291991"/>
              <a:chOff x="3527539" y="4476677"/>
              <a:chExt cx="159232" cy="314510"/>
            </a:xfrm>
          </p:grpSpPr>
          <p:sp>
            <p:nvSpPr>
              <p:cNvPr id="9119" name="Google Shape;9119;p108"/>
              <p:cNvSpPr/>
              <p:nvPr/>
            </p:nvSpPr>
            <p:spPr>
              <a:xfrm>
                <a:off x="3527539" y="4536716"/>
                <a:ext cx="159232" cy="254471"/>
              </a:xfrm>
              <a:custGeom>
                <a:avLst/>
                <a:gdLst/>
                <a:ahLst/>
                <a:cxnLst/>
                <a:rect l="l" t="t" r="r" b="b"/>
                <a:pathLst>
                  <a:path w="97241" h="155402" extrusionOk="0">
                    <a:moveTo>
                      <a:pt x="35360" y="0"/>
                    </a:moveTo>
                    <a:cubicBezTo>
                      <a:pt x="27173" y="0"/>
                      <a:pt x="21268" y="5220"/>
                      <a:pt x="17713" y="15527"/>
                    </a:cubicBezTo>
                    <a:cubicBezTo>
                      <a:pt x="15527" y="21921"/>
                      <a:pt x="1533" y="61750"/>
                      <a:pt x="1403" y="62174"/>
                    </a:cubicBezTo>
                    <a:cubicBezTo>
                      <a:pt x="0" y="66121"/>
                      <a:pt x="2088" y="70492"/>
                      <a:pt x="6068" y="71895"/>
                    </a:cubicBezTo>
                    <a:cubicBezTo>
                      <a:pt x="6895" y="72179"/>
                      <a:pt x="7739" y="72315"/>
                      <a:pt x="8570" y="72315"/>
                    </a:cubicBezTo>
                    <a:cubicBezTo>
                      <a:pt x="11735" y="72315"/>
                      <a:pt x="14703" y="70350"/>
                      <a:pt x="15788" y="67197"/>
                    </a:cubicBezTo>
                    <a:cubicBezTo>
                      <a:pt x="16245" y="65925"/>
                      <a:pt x="24661" y="42569"/>
                      <a:pt x="29358" y="29130"/>
                    </a:cubicBezTo>
                    <a:lnTo>
                      <a:pt x="29358" y="29130"/>
                    </a:lnTo>
                    <a:cubicBezTo>
                      <a:pt x="28869" y="33142"/>
                      <a:pt x="30272" y="24824"/>
                      <a:pt x="18431" y="85856"/>
                    </a:cubicBezTo>
                    <a:cubicBezTo>
                      <a:pt x="17941" y="88498"/>
                      <a:pt x="19964" y="90912"/>
                      <a:pt x="22606" y="90912"/>
                    </a:cubicBezTo>
                    <a:lnTo>
                      <a:pt x="28412" y="90912"/>
                    </a:lnTo>
                    <a:lnTo>
                      <a:pt x="28412" y="146235"/>
                    </a:lnTo>
                    <a:cubicBezTo>
                      <a:pt x="28412" y="151291"/>
                      <a:pt x="32522" y="155401"/>
                      <a:pt x="37578" y="155401"/>
                    </a:cubicBezTo>
                    <a:cubicBezTo>
                      <a:pt x="42634" y="155401"/>
                      <a:pt x="46745" y="151291"/>
                      <a:pt x="46745" y="146235"/>
                    </a:cubicBezTo>
                    <a:lnTo>
                      <a:pt x="46745" y="90912"/>
                    </a:lnTo>
                    <a:lnTo>
                      <a:pt x="50692" y="90912"/>
                    </a:lnTo>
                    <a:lnTo>
                      <a:pt x="50692" y="146235"/>
                    </a:lnTo>
                    <a:cubicBezTo>
                      <a:pt x="50692" y="151291"/>
                      <a:pt x="54769" y="155401"/>
                      <a:pt x="59825" y="155401"/>
                    </a:cubicBezTo>
                    <a:cubicBezTo>
                      <a:pt x="64881" y="155401"/>
                      <a:pt x="68991" y="151291"/>
                      <a:pt x="68991" y="146235"/>
                    </a:cubicBezTo>
                    <a:lnTo>
                      <a:pt x="68991" y="90912"/>
                    </a:lnTo>
                    <a:lnTo>
                      <a:pt x="74798" y="90912"/>
                    </a:lnTo>
                    <a:cubicBezTo>
                      <a:pt x="77472" y="90912"/>
                      <a:pt x="79462" y="88498"/>
                      <a:pt x="78973" y="85856"/>
                    </a:cubicBezTo>
                    <a:cubicBezTo>
                      <a:pt x="67262" y="25379"/>
                      <a:pt x="68535" y="32392"/>
                      <a:pt x="68143" y="29130"/>
                    </a:cubicBezTo>
                    <a:lnTo>
                      <a:pt x="68143" y="29130"/>
                    </a:lnTo>
                    <a:cubicBezTo>
                      <a:pt x="72873" y="42667"/>
                      <a:pt x="81028" y="65958"/>
                      <a:pt x="81485" y="67197"/>
                    </a:cubicBezTo>
                    <a:cubicBezTo>
                      <a:pt x="82570" y="70350"/>
                      <a:pt x="85538" y="72315"/>
                      <a:pt x="88687" y="72315"/>
                    </a:cubicBezTo>
                    <a:cubicBezTo>
                      <a:pt x="89513" y="72315"/>
                      <a:pt x="90352" y="72179"/>
                      <a:pt x="91173" y="71895"/>
                    </a:cubicBezTo>
                    <a:cubicBezTo>
                      <a:pt x="95152" y="70492"/>
                      <a:pt x="97240" y="66121"/>
                      <a:pt x="95870" y="62174"/>
                    </a:cubicBezTo>
                    <a:cubicBezTo>
                      <a:pt x="95707" y="61750"/>
                      <a:pt x="81746" y="21921"/>
                      <a:pt x="79560" y="15527"/>
                    </a:cubicBezTo>
                    <a:cubicBezTo>
                      <a:pt x="76005" y="5220"/>
                      <a:pt x="70068" y="0"/>
                      <a:pt x="61913" y="0"/>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9120" name="Google Shape;9120;p108"/>
              <p:cNvSpPr/>
              <p:nvPr/>
            </p:nvSpPr>
            <p:spPr>
              <a:xfrm>
                <a:off x="3581381" y="4476677"/>
                <a:ext cx="51814" cy="51761"/>
              </a:xfrm>
              <a:custGeom>
                <a:avLst/>
                <a:gdLst/>
                <a:ahLst/>
                <a:cxnLst/>
                <a:rect l="l" t="t" r="r" b="b"/>
                <a:pathLst>
                  <a:path w="31642" h="31610" extrusionOk="0">
                    <a:moveTo>
                      <a:pt x="15821" y="1"/>
                    </a:moveTo>
                    <a:cubicBezTo>
                      <a:pt x="7079" y="1"/>
                      <a:pt x="0" y="7079"/>
                      <a:pt x="0" y="15821"/>
                    </a:cubicBezTo>
                    <a:cubicBezTo>
                      <a:pt x="0" y="24531"/>
                      <a:pt x="7079" y="31609"/>
                      <a:pt x="15821" y="31609"/>
                    </a:cubicBezTo>
                    <a:cubicBezTo>
                      <a:pt x="24563" y="31609"/>
                      <a:pt x="31641" y="24531"/>
                      <a:pt x="31641" y="15821"/>
                    </a:cubicBezTo>
                    <a:cubicBezTo>
                      <a:pt x="31641" y="7079"/>
                      <a:pt x="24563" y="1"/>
                      <a:pt x="15821"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9121" name="Google Shape;9121;p108"/>
            <p:cNvGrpSpPr/>
            <p:nvPr/>
          </p:nvGrpSpPr>
          <p:grpSpPr>
            <a:xfrm>
              <a:off x="2933305" y="4097347"/>
              <a:ext cx="118572" cy="294074"/>
              <a:chOff x="3343310" y="4475555"/>
              <a:chExt cx="127717" cy="316753"/>
            </a:xfrm>
          </p:grpSpPr>
          <p:sp>
            <p:nvSpPr>
              <p:cNvPr id="9122" name="Google Shape;9122;p108"/>
              <p:cNvSpPr/>
              <p:nvPr/>
            </p:nvSpPr>
            <p:spPr>
              <a:xfrm>
                <a:off x="3343310" y="4535967"/>
                <a:ext cx="127717" cy="256341"/>
              </a:xfrm>
              <a:custGeom>
                <a:avLst/>
                <a:gdLst/>
                <a:ahLst/>
                <a:cxnLst/>
                <a:rect l="l" t="t" r="r" b="b"/>
                <a:pathLst>
                  <a:path w="77995" h="156544" extrusionOk="0">
                    <a:moveTo>
                      <a:pt x="18496" y="1"/>
                    </a:moveTo>
                    <a:cubicBezTo>
                      <a:pt x="8514" y="1"/>
                      <a:pt x="359" y="8123"/>
                      <a:pt x="327" y="18105"/>
                    </a:cubicBezTo>
                    <a:lnTo>
                      <a:pt x="33" y="74537"/>
                    </a:lnTo>
                    <a:cubicBezTo>
                      <a:pt x="0" y="78778"/>
                      <a:pt x="3425" y="82235"/>
                      <a:pt x="7666" y="82268"/>
                    </a:cubicBezTo>
                    <a:lnTo>
                      <a:pt x="7731" y="82268"/>
                    </a:lnTo>
                    <a:cubicBezTo>
                      <a:pt x="11939" y="82268"/>
                      <a:pt x="15364" y="78843"/>
                      <a:pt x="15397" y="74635"/>
                    </a:cubicBezTo>
                    <a:lnTo>
                      <a:pt x="15691" y="18170"/>
                    </a:lnTo>
                    <a:cubicBezTo>
                      <a:pt x="15691" y="17341"/>
                      <a:pt x="16344" y="16668"/>
                      <a:pt x="17166" y="16668"/>
                    </a:cubicBezTo>
                    <a:cubicBezTo>
                      <a:pt x="17185" y="16668"/>
                      <a:pt x="17204" y="16669"/>
                      <a:pt x="17224" y="16669"/>
                    </a:cubicBezTo>
                    <a:cubicBezTo>
                      <a:pt x="18039" y="16669"/>
                      <a:pt x="18724" y="17355"/>
                      <a:pt x="18724" y="18170"/>
                    </a:cubicBezTo>
                    <a:lnTo>
                      <a:pt x="18724" y="147345"/>
                    </a:lnTo>
                    <a:cubicBezTo>
                      <a:pt x="18724" y="152433"/>
                      <a:pt x="22867" y="156543"/>
                      <a:pt x="27956" y="156543"/>
                    </a:cubicBezTo>
                    <a:cubicBezTo>
                      <a:pt x="33044" y="156543"/>
                      <a:pt x="37187" y="152433"/>
                      <a:pt x="37187" y="147345"/>
                    </a:cubicBezTo>
                    <a:lnTo>
                      <a:pt x="37187" y="73656"/>
                    </a:lnTo>
                    <a:lnTo>
                      <a:pt x="41167" y="73656"/>
                    </a:lnTo>
                    <a:lnTo>
                      <a:pt x="41167" y="147345"/>
                    </a:lnTo>
                    <a:cubicBezTo>
                      <a:pt x="41167" y="152433"/>
                      <a:pt x="45277" y="156543"/>
                      <a:pt x="50365" y="156543"/>
                    </a:cubicBezTo>
                    <a:cubicBezTo>
                      <a:pt x="55454" y="156543"/>
                      <a:pt x="59597" y="152433"/>
                      <a:pt x="59597" y="147345"/>
                    </a:cubicBezTo>
                    <a:cubicBezTo>
                      <a:pt x="59597" y="25477"/>
                      <a:pt x="59434" y="95153"/>
                      <a:pt x="59434" y="18300"/>
                    </a:cubicBezTo>
                    <a:cubicBezTo>
                      <a:pt x="59434" y="17420"/>
                      <a:pt x="60119" y="16702"/>
                      <a:pt x="60967" y="16669"/>
                    </a:cubicBezTo>
                    <a:cubicBezTo>
                      <a:pt x="60988" y="16669"/>
                      <a:pt x="61009" y="16668"/>
                      <a:pt x="61030" y="16668"/>
                    </a:cubicBezTo>
                    <a:cubicBezTo>
                      <a:pt x="61882" y="16668"/>
                      <a:pt x="62567" y="17310"/>
                      <a:pt x="62631" y="18170"/>
                    </a:cubicBezTo>
                    <a:lnTo>
                      <a:pt x="62598" y="74570"/>
                    </a:lnTo>
                    <a:cubicBezTo>
                      <a:pt x="62598" y="78810"/>
                      <a:pt x="66023" y="82268"/>
                      <a:pt x="70264" y="82268"/>
                    </a:cubicBezTo>
                    <a:cubicBezTo>
                      <a:pt x="74504" y="82268"/>
                      <a:pt x="77962" y="78843"/>
                      <a:pt x="77962" y="74602"/>
                    </a:cubicBezTo>
                    <a:lnTo>
                      <a:pt x="77994" y="18137"/>
                    </a:lnTo>
                    <a:cubicBezTo>
                      <a:pt x="77994" y="18137"/>
                      <a:pt x="77994" y="18105"/>
                      <a:pt x="77994" y="18105"/>
                    </a:cubicBezTo>
                    <a:cubicBezTo>
                      <a:pt x="77962" y="8123"/>
                      <a:pt x="69807" y="1"/>
                      <a:pt x="59825"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9123" name="Google Shape;9123;p108"/>
              <p:cNvSpPr/>
              <p:nvPr/>
            </p:nvSpPr>
            <p:spPr>
              <a:xfrm>
                <a:off x="3381341" y="4475555"/>
                <a:ext cx="52189" cy="52135"/>
              </a:xfrm>
              <a:custGeom>
                <a:avLst/>
                <a:gdLst/>
                <a:ahLst/>
                <a:cxnLst/>
                <a:rect l="l" t="t" r="r" b="b"/>
                <a:pathLst>
                  <a:path w="31871" h="31838" extrusionOk="0">
                    <a:moveTo>
                      <a:pt x="15952" y="1"/>
                    </a:moveTo>
                    <a:cubicBezTo>
                      <a:pt x="7144" y="1"/>
                      <a:pt x="1" y="7112"/>
                      <a:pt x="1" y="15919"/>
                    </a:cubicBezTo>
                    <a:cubicBezTo>
                      <a:pt x="1" y="24694"/>
                      <a:pt x="7144" y="31838"/>
                      <a:pt x="15952" y="31838"/>
                    </a:cubicBezTo>
                    <a:cubicBezTo>
                      <a:pt x="24727" y="31838"/>
                      <a:pt x="31870" y="24694"/>
                      <a:pt x="31870" y="15919"/>
                    </a:cubicBezTo>
                    <a:cubicBezTo>
                      <a:pt x="31870" y="7112"/>
                      <a:pt x="24727" y="1"/>
                      <a:pt x="15952"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grpSp>
        <p:nvGrpSpPr>
          <p:cNvPr id="9124" name="Google Shape;9124;p108"/>
          <p:cNvGrpSpPr/>
          <p:nvPr/>
        </p:nvGrpSpPr>
        <p:grpSpPr>
          <a:xfrm>
            <a:off x="5703429" y="2773959"/>
            <a:ext cx="1911761" cy="255335"/>
            <a:chOff x="4273350" y="2080469"/>
            <a:chExt cx="1433821" cy="191501"/>
          </a:xfrm>
        </p:grpSpPr>
        <p:grpSp>
          <p:nvGrpSpPr>
            <p:cNvPr id="9125" name="Google Shape;9125;p108"/>
            <p:cNvGrpSpPr/>
            <p:nvPr/>
          </p:nvGrpSpPr>
          <p:grpSpPr>
            <a:xfrm>
              <a:off x="4273350" y="2080469"/>
              <a:ext cx="1433821" cy="0"/>
              <a:chOff x="5224975" y="2962250"/>
              <a:chExt cx="1544400" cy="0"/>
            </a:xfrm>
          </p:grpSpPr>
          <p:cxnSp>
            <p:nvCxnSpPr>
              <p:cNvPr id="9126" name="Google Shape;9126;p108"/>
              <p:cNvCxnSpPr/>
              <p:nvPr/>
            </p:nvCxnSpPr>
            <p:spPr>
              <a:xfrm>
                <a:off x="5224975" y="2962250"/>
                <a:ext cx="1544400" cy="0"/>
              </a:xfrm>
              <a:prstGeom prst="straightConnector1">
                <a:avLst/>
              </a:prstGeom>
              <a:noFill/>
              <a:ln w="9525" cap="flat" cmpd="sng">
                <a:solidFill>
                  <a:srgbClr val="E3E9ED"/>
                </a:solidFill>
                <a:prstDash val="solid"/>
                <a:round/>
                <a:headEnd type="none" w="med" len="med"/>
                <a:tailEnd type="none" w="med" len="med"/>
              </a:ln>
            </p:spPr>
          </p:cxnSp>
          <p:cxnSp>
            <p:nvCxnSpPr>
              <p:cNvPr id="9127" name="Google Shape;9127;p108"/>
              <p:cNvCxnSpPr/>
              <p:nvPr/>
            </p:nvCxnSpPr>
            <p:spPr>
              <a:xfrm>
                <a:off x="5225150" y="2962250"/>
                <a:ext cx="453300" cy="0"/>
              </a:xfrm>
              <a:prstGeom prst="straightConnector1">
                <a:avLst/>
              </a:prstGeom>
              <a:noFill/>
              <a:ln w="9525" cap="flat" cmpd="sng">
                <a:solidFill>
                  <a:srgbClr val="7994A9"/>
                </a:solidFill>
                <a:prstDash val="solid"/>
                <a:round/>
                <a:headEnd type="none" w="med" len="med"/>
                <a:tailEnd type="oval" w="med" len="med"/>
              </a:ln>
            </p:spPr>
          </p:cxnSp>
        </p:grpSp>
        <p:grpSp>
          <p:nvGrpSpPr>
            <p:cNvPr id="9128" name="Google Shape;9128;p108"/>
            <p:cNvGrpSpPr/>
            <p:nvPr/>
          </p:nvGrpSpPr>
          <p:grpSpPr>
            <a:xfrm>
              <a:off x="4273350" y="2271969"/>
              <a:ext cx="1433821" cy="0"/>
              <a:chOff x="5224975" y="2962250"/>
              <a:chExt cx="1544400" cy="0"/>
            </a:xfrm>
          </p:grpSpPr>
          <p:cxnSp>
            <p:nvCxnSpPr>
              <p:cNvPr id="9129" name="Google Shape;9129;p108"/>
              <p:cNvCxnSpPr/>
              <p:nvPr/>
            </p:nvCxnSpPr>
            <p:spPr>
              <a:xfrm>
                <a:off x="5224975" y="2962250"/>
                <a:ext cx="1544400" cy="0"/>
              </a:xfrm>
              <a:prstGeom prst="straightConnector1">
                <a:avLst/>
              </a:prstGeom>
              <a:noFill/>
              <a:ln w="9525" cap="flat" cmpd="sng">
                <a:solidFill>
                  <a:srgbClr val="E3E9ED"/>
                </a:solidFill>
                <a:prstDash val="solid"/>
                <a:round/>
                <a:headEnd type="none" w="med" len="med"/>
                <a:tailEnd type="none" w="med" len="med"/>
              </a:ln>
            </p:spPr>
          </p:cxnSp>
          <p:cxnSp>
            <p:nvCxnSpPr>
              <p:cNvPr id="9130" name="Google Shape;9130;p108"/>
              <p:cNvCxnSpPr/>
              <p:nvPr/>
            </p:nvCxnSpPr>
            <p:spPr>
              <a:xfrm>
                <a:off x="5225150" y="2962250"/>
                <a:ext cx="998700" cy="0"/>
              </a:xfrm>
              <a:prstGeom prst="straightConnector1">
                <a:avLst/>
              </a:prstGeom>
              <a:noFill/>
              <a:ln w="9525" cap="flat" cmpd="sng">
                <a:solidFill>
                  <a:srgbClr val="7994A9"/>
                </a:solidFill>
                <a:prstDash val="solid"/>
                <a:round/>
                <a:headEnd type="none" w="med" len="med"/>
                <a:tailEnd type="oval" w="med" len="med"/>
              </a:ln>
            </p:spPr>
          </p:cxnSp>
        </p:grpSp>
      </p:grpSp>
      <p:grpSp>
        <p:nvGrpSpPr>
          <p:cNvPr id="9131" name="Google Shape;9131;p108"/>
          <p:cNvGrpSpPr/>
          <p:nvPr/>
        </p:nvGrpSpPr>
        <p:grpSpPr>
          <a:xfrm>
            <a:off x="5705502" y="1577382"/>
            <a:ext cx="1907615" cy="991185"/>
            <a:chOff x="5159450" y="1919950"/>
            <a:chExt cx="1541050" cy="862500"/>
          </a:xfrm>
        </p:grpSpPr>
        <p:sp>
          <p:nvSpPr>
            <p:cNvPr id="9132" name="Google Shape;9132;p108"/>
            <p:cNvSpPr/>
            <p:nvPr/>
          </p:nvSpPr>
          <p:spPr>
            <a:xfrm>
              <a:off x="5216414" y="2060033"/>
              <a:ext cx="1436820" cy="600250"/>
            </a:xfrm>
            <a:custGeom>
              <a:avLst/>
              <a:gdLst/>
              <a:ahLst/>
              <a:cxnLst/>
              <a:rect l="l" t="t" r="r" b="b"/>
              <a:pathLst>
                <a:path w="165771" h="69253" extrusionOk="0">
                  <a:moveTo>
                    <a:pt x="0" y="62158"/>
                  </a:moveTo>
                  <a:cubicBezTo>
                    <a:pt x="3093" y="59686"/>
                    <a:pt x="11731" y="46368"/>
                    <a:pt x="18559" y="47324"/>
                  </a:cubicBezTo>
                  <a:cubicBezTo>
                    <a:pt x="25388" y="48280"/>
                    <a:pt x="34933" y="75569"/>
                    <a:pt x="40971" y="67894"/>
                  </a:cubicBezTo>
                  <a:cubicBezTo>
                    <a:pt x="47009" y="60219"/>
                    <a:pt x="49466" y="8743"/>
                    <a:pt x="54788" y="1272"/>
                  </a:cubicBezTo>
                  <a:cubicBezTo>
                    <a:pt x="60110" y="-6199"/>
                    <a:pt x="66121" y="21612"/>
                    <a:pt x="72901" y="23070"/>
                  </a:cubicBezTo>
                  <a:cubicBezTo>
                    <a:pt x="79681" y="24528"/>
                    <a:pt x="89301" y="7131"/>
                    <a:pt x="95467" y="10022"/>
                  </a:cubicBezTo>
                  <a:cubicBezTo>
                    <a:pt x="101633" y="12913"/>
                    <a:pt x="104182" y="34714"/>
                    <a:pt x="109898" y="40416"/>
                  </a:cubicBezTo>
                  <a:cubicBezTo>
                    <a:pt x="115614" y="46118"/>
                    <a:pt x="123315" y="40320"/>
                    <a:pt x="129762" y="44234"/>
                  </a:cubicBezTo>
                  <a:cubicBezTo>
                    <a:pt x="136209" y="48148"/>
                    <a:pt x="142580" y="65416"/>
                    <a:pt x="148581" y="63902"/>
                  </a:cubicBezTo>
                  <a:cubicBezTo>
                    <a:pt x="154583" y="62388"/>
                    <a:pt x="162906" y="39942"/>
                    <a:pt x="165771" y="35150"/>
                  </a:cubicBezTo>
                </a:path>
              </a:pathLst>
            </a:custGeom>
            <a:noFill/>
            <a:ln w="19050" cap="flat" cmpd="sng">
              <a:solidFill>
                <a:srgbClr val="5F7D95"/>
              </a:solidFill>
              <a:prstDash val="solid"/>
              <a:round/>
              <a:headEnd type="oval" w="med" len="med"/>
              <a:tailEnd type="oval" w="med" len="med"/>
            </a:ln>
          </p:spPr>
        </p:sp>
        <p:grpSp>
          <p:nvGrpSpPr>
            <p:cNvPr id="9133" name="Google Shape;9133;p108"/>
            <p:cNvGrpSpPr/>
            <p:nvPr/>
          </p:nvGrpSpPr>
          <p:grpSpPr>
            <a:xfrm>
              <a:off x="5159450" y="1919950"/>
              <a:ext cx="1541050" cy="862500"/>
              <a:chOff x="5159450" y="1919950"/>
              <a:chExt cx="1541050" cy="862500"/>
            </a:xfrm>
          </p:grpSpPr>
          <p:cxnSp>
            <p:nvCxnSpPr>
              <p:cNvPr id="9134" name="Google Shape;9134;p108"/>
              <p:cNvCxnSpPr/>
              <p:nvPr/>
            </p:nvCxnSpPr>
            <p:spPr>
              <a:xfrm>
                <a:off x="5159450" y="1919950"/>
                <a:ext cx="0" cy="862500"/>
              </a:xfrm>
              <a:prstGeom prst="straightConnector1">
                <a:avLst/>
              </a:prstGeom>
              <a:noFill/>
              <a:ln w="9525" cap="flat" cmpd="sng">
                <a:solidFill>
                  <a:srgbClr val="E3E9ED"/>
                </a:solidFill>
                <a:prstDash val="solid"/>
                <a:round/>
                <a:headEnd type="none" w="med" len="med"/>
                <a:tailEnd type="none" w="med" len="med"/>
              </a:ln>
            </p:spPr>
          </p:cxnSp>
          <p:cxnSp>
            <p:nvCxnSpPr>
              <p:cNvPr id="9135" name="Google Shape;9135;p108"/>
              <p:cNvCxnSpPr/>
              <p:nvPr/>
            </p:nvCxnSpPr>
            <p:spPr>
              <a:xfrm>
                <a:off x="5161200" y="2778975"/>
                <a:ext cx="1539300" cy="0"/>
              </a:xfrm>
              <a:prstGeom prst="straightConnector1">
                <a:avLst/>
              </a:prstGeom>
              <a:noFill/>
              <a:ln w="9525" cap="flat" cmpd="sng">
                <a:solidFill>
                  <a:srgbClr val="E3E9ED"/>
                </a:solidFill>
                <a:prstDash val="solid"/>
                <a:round/>
                <a:headEnd type="none" w="med" len="med"/>
                <a:tailEnd type="none" w="med" len="med"/>
              </a:ln>
            </p:spPr>
          </p:cxnSp>
        </p:grpSp>
      </p:grpSp>
      <p:grpSp>
        <p:nvGrpSpPr>
          <p:cNvPr id="9136" name="Google Shape;9136;p108"/>
          <p:cNvGrpSpPr/>
          <p:nvPr/>
        </p:nvGrpSpPr>
        <p:grpSpPr>
          <a:xfrm>
            <a:off x="5692319" y="3208486"/>
            <a:ext cx="1933979" cy="1402783"/>
            <a:chOff x="5230575" y="1554475"/>
            <a:chExt cx="2137150" cy="1550150"/>
          </a:xfrm>
        </p:grpSpPr>
        <p:sp>
          <p:nvSpPr>
            <p:cNvPr id="9137" name="Google Shape;9137;p108"/>
            <p:cNvSpPr/>
            <p:nvPr/>
          </p:nvSpPr>
          <p:spPr>
            <a:xfrm>
              <a:off x="6296450" y="2863325"/>
              <a:ext cx="1071275" cy="157150"/>
            </a:xfrm>
            <a:custGeom>
              <a:avLst/>
              <a:gdLst/>
              <a:ahLst/>
              <a:cxnLst/>
              <a:rect l="l" t="t" r="r" b="b"/>
              <a:pathLst>
                <a:path w="42851" h="6286" extrusionOk="0">
                  <a:moveTo>
                    <a:pt x="0" y="1"/>
                  </a:moveTo>
                  <a:lnTo>
                    <a:pt x="0" y="6286"/>
                  </a:lnTo>
                  <a:lnTo>
                    <a:pt x="42851" y="6286"/>
                  </a:lnTo>
                  <a:lnTo>
                    <a:pt x="42851" y="1"/>
                  </a:lnTo>
                  <a:close/>
                </a:path>
              </a:pathLst>
            </a:custGeom>
            <a:noFill/>
            <a:ln w="9525" cap="flat" cmpd="sng">
              <a:solidFill>
                <a:srgbClr val="667E92"/>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9138" name="Google Shape;9138;p108"/>
            <p:cNvSpPr/>
            <p:nvPr/>
          </p:nvSpPr>
          <p:spPr>
            <a:xfrm>
              <a:off x="5230575" y="2863325"/>
              <a:ext cx="1071350" cy="157150"/>
            </a:xfrm>
            <a:custGeom>
              <a:avLst/>
              <a:gdLst/>
              <a:ahLst/>
              <a:cxnLst/>
              <a:rect l="l" t="t" r="r" b="b"/>
              <a:pathLst>
                <a:path w="42854" h="6286" extrusionOk="0">
                  <a:moveTo>
                    <a:pt x="0" y="1"/>
                  </a:moveTo>
                  <a:lnTo>
                    <a:pt x="0" y="6286"/>
                  </a:lnTo>
                  <a:lnTo>
                    <a:pt x="42854" y="6286"/>
                  </a:lnTo>
                  <a:lnTo>
                    <a:pt x="42854" y="1"/>
                  </a:lnTo>
                  <a:close/>
                </a:path>
              </a:pathLst>
            </a:custGeom>
            <a:noFill/>
            <a:ln w="9525" cap="flat" cmpd="sng">
              <a:solidFill>
                <a:srgbClr val="CFD9E0"/>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9139" name="Google Shape;9139;p108"/>
            <p:cNvSpPr/>
            <p:nvPr/>
          </p:nvSpPr>
          <p:spPr>
            <a:xfrm>
              <a:off x="6296450" y="2611125"/>
              <a:ext cx="1071275" cy="157150"/>
            </a:xfrm>
            <a:custGeom>
              <a:avLst/>
              <a:gdLst/>
              <a:ahLst/>
              <a:cxnLst/>
              <a:rect l="l" t="t" r="r" b="b"/>
              <a:pathLst>
                <a:path w="42851" h="6286" extrusionOk="0">
                  <a:moveTo>
                    <a:pt x="0" y="0"/>
                  </a:moveTo>
                  <a:lnTo>
                    <a:pt x="0" y="6285"/>
                  </a:lnTo>
                  <a:lnTo>
                    <a:pt x="42851" y="6285"/>
                  </a:lnTo>
                  <a:lnTo>
                    <a:pt x="42851" y="0"/>
                  </a:lnTo>
                  <a:close/>
                </a:path>
              </a:pathLst>
            </a:custGeom>
            <a:noFill/>
            <a:ln w="9525" cap="flat" cmpd="sng">
              <a:solidFill>
                <a:srgbClr val="667E92"/>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9140" name="Google Shape;9140;p108"/>
            <p:cNvSpPr/>
            <p:nvPr/>
          </p:nvSpPr>
          <p:spPr>
            <a:xfrm>
              <a:off x="5230575" y="2611125"/>
              <a:ext cx="1071350" cy="157150"/>
            </a:xfrm>
            <a:custGeom>
              <a:avLst/>
              <a:gdLst/>
              <a:ahLst/>
              <a:cxnLst/>
              <a:rect l="l" t="t" r="r" b="b"/>
              <a:pathLst>
                <a:path w="42854" h="6286" extrusionOk="0">
                  <a:moveTo>
                    <a:pt x="0" y="0"/>
                  </a:moveTo>
                  <a:lnTo>
                    <a:pt x="0" y="6285"/>
                  </a:lnTo>
                  <a:lnTo>
                    <a:pt x="42854" y="6285"/>
                  </a:lnTo>
                  <a:lnTo>
                    <a:pt x="42854" y="0"/>
                  </a:lnTo>
                  <a:close/>
                </a:path>
              </a:pathLst>
            </a:custGeom>
            <a:noFill/>
            <a:ln w="9525" cap="flat" cmpd="sng">
              <a:solidFill>
                <a:srgbClr val="CFD9E0"/>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9141" name="Google Shape;9141;p108"/>
            <p:cNvSpPr/>
            <p:nvPr/>
          </p:nvSpPr>
          <p:spPr>
            <a:xfrm>
              <a:off x="6296450" y="2358900"/>
              <a:ext cx="1071275" cy="157150"/>
            </a:xfrm>
            <a:custGeom>
              <a:avLst/>
              <a:gdLst/>
              <a:ahLst/>
              <a:cxnLst/>
              <a:rect l="l" t="t" r="r" b="b"/>
              <a:pathLst>
                <a:path w="42851" h="6286" extrusionOk="0">
                  <a:moveTo>
                    <a:pt x="0" y="1"/>
                  </a:moveTo>
                  <a:lnTo>
                    <a:pt x="0" y="6286"/>
                  </a:lnTo>
                  <a:lnTo>
                    <a:pt x="42851" y="6286"/>
                  </a:lnTo>
                  <a:lnTo>
                    <a:pt x="42851" y="1"/>
                  </a:lnTo>
                  <a:close/>
                </a:path>
              </a:pathLst>
            </a:custGeom>
            <a:noFill/>
            <a:ln w="9525" cap="flat" cmpd="sng">
              <a:solidFill>
                <a:srgbClr val="667E92"/>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9142" name="Google Shape;9142;p108"/>
            <p:cNvSpPr/>
            <p:nvPr/>
          </p:nvSpPr>
          <p:spPr>
            <a:xfrm>
              <a:off x="5230575" y="2358900"/>
              <a:ext cx="1071350" cy="157150"/>
            </a:xfrm>
            <a:custGeom>
              <a:avLst/>
              <a:gdLst/>
              <a:ahLst/>
              <a:cxnLst/>
              <a:rect l="l" t="t" r="r" b="b"/>
              <a:pathLst>
                <a:path w="42854" h="6286" extrusionOk="0">
                  <a:moveTo>
                    <a:pt x="0" y="1"/>
                  </a:moveTo>
                  <a:lnTo>
                    <a:pt x="0" y="6286"/>
                  </a:lnTo>
                  <a:lnTo>
                    <a:pt x="42854" y="6286"/>
                  </a:lnTo>
                  <a:lnTo>
                    <a:pt x="42854" y="1"/>
                  </a:lnTo>
                  <a:close/>
                </a:path>
              </a:pathLst>
            </a:custGeom>
            <a:noFill/>
            <a:ln w="9525" cap="flat" cmpd="sng">
              <a:solidFill>
                <a:srgbClr val="CFD9E0"/>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9143" name="Google Shape;9143;p108"/>
            <p:cNvSpPr/>
            <p:nvPr/>
          </p:nvSpPr>
          <p:spPr>
            <a:xfrm>
              <a:off x="6296450" y="2106700"/>
              <a:ext cx="989900" cy="157150"/>
            </a:xfrm>
            <a:custGeom>
              <a:avLst/>
              <a:gdLst/>
              <a:ahLst/>
              <a:cxnLst/>
              <a:rect l="l" t="t" r="r" b="b"/>
              <a:pathLst>
                <a:path w="39596" h="6286" extrusionOk="0">
                  <a:moveTo>
                    <a:pt x="0" y="0"/>
                  </a:moveTo>
                  <a:lnTo>
                    <a:pt x="0" y="6285"/>
                  </a:lnTo>
                  <a:lnTo>
                    <a:pt x="39596" y="6285"/>
                  </a:lnTo>
                  <a:lnTo>
                    <a:pt x="39596" y="0"/>
                  </a:lnTo>
                  <a:close/>
                </a:path>
              </a:pathLst>
            </a:custGeom>
            <a:noFill/>
            <a:ln w="9525" cap="flat" cmpd="sng">
              <a:solidFill>
                <a:srgbClr val="667E92"/>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9144" name="Google Shape;9144;p108"/>
            <p:cNvSpPr/>
            <p:nvPr/>
          </p:nvSpPr>
          <p:spPr>
            <a:xfrm>
              <a:off x="5474700" y="2106700"/>
              <a:ext cx="827225" cy="157150"/>
            </a:xfrm>
            <a:custGeom>
              <a:avLst/>
              <a:gdLst/>
              <a:ahLst/>
              <a:cxnLst/>
              <a:rect l="l" t="t" r="r" b="b"/>
              <a:pathLst>
                <a:path w="33089" h="6286" extrusionOk="0">
                  <a:moveTo>
                    <a:pt x="0" y="0"/>
                  </a:moveTo>
                  <a:lnTo>
                    <a:pt x="0" y="6285"/>
                  </a:lnTo>
                  <a:lnTo>
                    <a:pt x="33089" y="6285"/>
                  </a:lnTo>
                  <a:lnTo>
                    <a:pt x="33089" y="0"/>
                  </a:lnTo>
                  <a:close/>
                </a:path>
              </a:pathLst>
            </a:custGeom>
            <a:noFill/>
            <a:ln w="9525" cap="flat" cmpd="sng">
              <a:solidFill>
                <a:srgbClr val="CFD9E0"/>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9145" name="Google Shape;9145;p108"/>
            <p:cNvSpPr/>
            <p:nvPr/>
          </p:nvSpPr>
          <p:spPr>
            <a:xfrm>
              <a:off x="6296450" y="1854475"/>
              <a:ext cx="827225" cy="157175"/>
            </a:xfrm>
            <a:custGeom>
              <a:avLst/>
              <a:gdLst/>
              <a:ahLst/>
              <a:cxnLst/>
              <a:rect l="l" t="t" r="r" b="b"/>
              <a:pathLst>
                <a:path w="33089" h="6287" extrusionOk="0">
                  <a:moveTo>
                    <a:pt x="0" y="1"/>
                  </a:moveTo>
                  <a:lnTo>
                    <a:pt x="0" y="6286"/>
                  </a:lnTo>
                  <a:lnTo>
                    <a:pt x="33089" y="6286"/>
                  </a:lnTo>
                  <a:lnTo>
                    <a:pt x="33089" y="1"/>
                  </a:lnTo>
                  <a:close/>
                </a:path>
              </a:pathLst>
            </a:custGeom>
            <a:noFill/>
            <a:ln w="9525" cap="flat" cmpd="sng">
              <a:solidFill>
                <a:srgbClr val="667E92"/>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9146" name="Google Shape;9146;p108"/>
            <p:cNvSpPr/>
            <p:nvPr/>
          </p:nvSpPr>
          <p:spPr>
            <a:xfrm>
              <a:off x="5637425" y="1854475"/>
              <a:ext cx="664500" cy="157175"/>
            </a:xfrm>
            <a:custGeom>
              <a:avLst/>
              <a:gdLst/>
              <a:ahLst/>
              <a:cxnLst/>
              <a:rect l="l" t="t" r="r" b="b"/>
              <a:pathLst>
                <a:path w="26580" h="6287" extrusionOk="0">
                  <a:moveTo>
                    <a:pt x="1" y="1"/>
                  </a:moveTo>
                  <a:lnTo>
                    <a:pt x="1" y="6286"/>
                  </a:lnTo>
                  <a:lnTo>
                    <a:pt x="26580" y="6286"/>
                  </a:lnTo>
                  <a:lnTo>
                    <a:pt x="26580" y="1"/>
                  </a:lnTo>
                  <a:close/>
                </a:path>
              </a:pathLst>
            </a:custGeom>
            <a:noFill/>
            <a:ln w="9525" cap="flat" cmpd="sng">
              <a:solidFill>
                <a:srgbClr val="CFD9E0"/>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9147" name="Google Shape;9147;p108"/>
            <p:cNvSpPr/>
            <p:nvPr/>
          </p:nvSpPr>
          <p:spPr>
            <a:xfrm>
              <a:off x="6296450" y="1602275"/>
              <a:ext cx="501750" cy="157075"/>
            </a:xfrm>
            <a:custGeom>
              <a:avLst/>
              <a:gdLst/>
              <a:ahLst/>
              <a:cxnLst/>
              <a:rect l="l" t="t" r="r" b="b"/>
              <a:pathLst>
                <a:path w="20070" h="6283" extrusionOk="0">
                  <a:moveTo>
                    <a:pt x="0" y="1"/>
                  </a:moveTo>
                  <a:lnTo>
                    <a:pt x="0" y="6283"/>
                  </a:lnTo>
                  <a:lnTo>
                    <a:pt x="20069" y="6283"/>
                  </a:lnTo>
                  <a:lnTo>
                    <a:pt x="20069" y="1"/>
                  </a:lnTo>
                  <a:close/>
                </a:path>
              </a:pathLst>
            </a:custGeom>
            <a:noFill/>
            <a:ln w="9525" cap="flat" cmpd="sng">
              <a:solidFill>
                <a:srgbClr val="667E92"/>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9148" name="Google Shape;9148;p108"/>
            <p:cNvSpPr/>
            <p:nvPr/>
          </p:nvSpPr>
          <p:spPr>
            <a:xfrm>
              <a:off x="5800100" y="1602275"/>
              <a:ext cx="501825" cy="157075"/>
            </a:xfrm>
            <a:custGeom>
              <a:avLst/>
              <a:gdLst/>
              <a:ahLst/>
              <a:cxnLst/>
              <a:rect l="l" t="t" r="r" b="b"/>
              <a:pathLst>
                <a:path w="20073" h="6283" extrusionOk="0">
                  <a:moveTo>
                    <a:pt x="1" y="1"/>
                  </a:moveTo>
                  <a:lnTo>
                    <a:pt x="1" y="6283"/>
                  </a:lnTo>
                  <a:lnTo>
                    <a:pt x="20073" y="6283"/>
                  </a:lnTo>
                  <a:lnTo>
                    <a:pt x="20073" y="1"/>
                  </a:lnTo>
                  <a:close/>
                </a:path>
              </a:pathLst>
            </a:custGeom>
            <a:noFill/>
            <a:ln w="9525" cap="flat" cmpd="sng">
              <a:solidFill>
                <a:srgbClr val="CFD9E0"/>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9149" name="Google Shape;9149;p108"/>
            <p:cNvSpPr/>
            <p:nvPr/>
          </p:nvSpPr>
          <p:spPr>
            <a:xfrm>
              <a:off x="6301225" y="1554475"/>
              <a:ext cx="25" cy="1550150"/>
            </a:xfrm>
            <a:custGeom>
              <a:avLst/>
              <a:gdLst/>
              <a:ahLst/>
              <a:cxnLst/>
              <a:rect l="l" t="t" r="r" b="b"/>
              <a:pathLst>
                <a:path w="1" h="62006" fill="none" extrusionOk="0">
                  <a:moveTo>
                    <a:pt x="1" y="0"/>
                  </a:moveTo>
                  <a:lnTo>
                    <a:pt x="1" y="62006"/>
                  </a:lnTo>
                </a:path>
              </a:pathLst>
            </a:custGeom>
            <a:noFill/>
            <a:ln w="9525" cap="flat" cmpd="sng">
              <a:solidFill>
                <a:srgbClr val="F2F2F2"/>
              </a:solidFill>
              <a:prstDash val="solid"/>
              <a:miter lim="2997"/>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9150" name="Google Shape;9150;p108"/>
          <p:cNvGrpSpPr/>
          <p:nvPr/>
        </p:nvGrpSpPr>
        <p:grpSpPr>
          <a:xfrm rot="10800000">
            <a:off x="5714387" y="4664737"/>
            <a:ext cx="1889844" cy="1183928"/>
            <a:chOff x="5645403" y="2920021"/>
            <a:chExt cx="2650800" cy="2180614"/>
          </a:xfrm>
        </p:grpSpPr>
        <p:sp>
          <p:nvSpPr>
            <p:cNvPr id="9151" name="Google Shape;9151;p108"/>
            <p:cNvSpPr/>
            <p:nvPr/>
          </p:nvSpPr>
          <p:spPr>
            <a:xfrm>
              <a:off x="5772903" y="2920021"/>
              <a:ext cx="2523300" cy="469200"/>
            </a:xfrm>
            <a:prstGeom prst="rect">
              <a:avLst/>
            </a:prstGeom>
            <a:noFill/>
            <a:ln w="9525" cap="flat" cmpd="sng">
              <a:solidFill>
                <a:srgbClr val="435D74"/>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cxnSp>
          <p:nvCxnSpPr>
            <p:cNvPr id="9152" name="Google Shape;9152;p108"/>
            <p:cNvCxnSpPr>
              <a:stCxn id="9151" idx="1"/>
            </p:cNvCxnSpPr>
            <p:nvPr/>
          </p:nvCxnSpPr>
          <p:spPr>
            <a:xfrm rot="10800000">
              <a:off x="5645403" y="3154021"/>
              <a:ext cx="127500" cy="600"/>
            </a:xfrm>
            <a:prstGeom prst="straightConnector1">
              <a:avLst/>
            </a:prstGeom>
            <a:noFill/>
            <a:ln w="9525" cap="flat" cmpd="sng">
              <a:solidFill>
                <a:srgbClr val="435D74"/>
              </a:solidFill>
              <a:prstDash val="solid"/>
              <a:round/>
              <a:headEnd type="none" w="med" len="med"/>
              <a:tailEnd type="none" w="med" len="med"/>
            </a:ln>
          </p:spPr>
        </p:cxnSp>
        <p:sp>
          <p:nvSpPr>
            <p:cNvPr id="9153" name="Google Shape;9153;p108"/>
            <p:cNvSpPr/>
            <p:nvPr/>
          </p:nvSpPr>
          <p:spPr>
            <a:xfrm>
              <a:off x="6010040" y="3500932"/>
              <a:ext cx="2049000" cy="469200"/>
            </a:xfrm>
            <a:prstGeom prst="rect">
              <a:avLst/>
            </a:pr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cxnSp>
          <p:nvCxnSpPr>
            <p:cNvPr id="9154" name="Google Shape;9154;p108"/>
            <p:cNvCxnSpPr>
              <a:endCxn id="9153" idx="3"/>
            </p:cNvCxnSpPr>
            <p:nvPr/>
          </p:nvCxnSpPr>
          <p:spPr>
            <a:xfrm rot="10800000">
              <a:off x="8059040" y="3735532"/>
              <a:ext cx="135300" cy="0"/>
            </a:xfrm>
            <a:prstGeom prst="straightConnector1">
              <a:avLst/>
            </a:prstGeom>
            <a:noFill/>
            <a:ln w="9525" cap="flat" cmpd="sng">
              <a:solidFill>
                <a:srgbClr val="5F7D95"/>
              </a:solidFill>
              <a:prstDash val="solid"/>
              <a:round/>
              <a:headEnd type="none" w="med" len="med"/>
              <a:tailEnd type="none" w="med" len="med"/>
            </a:ln>
          </p:spPr>
        </p:cxnSp>
        <p:sp>
          <p:nvSpPr>
            <p:cNvPr id="9155" name="Google Shape;9155;p108"/>
            <p:cNvSpPr/>
            <p:nvPr/>
          </p:nvSpPr>
          <p:spPr>
            <a:xfrm>
              <a:off x="6299123" y="4066183"/>
              <a:ext cx="1470600" cy="469200"/>
            </a:xfrm>
            <a:prstGeom prst="rect">
              <a:avLst/>
            </a:prstGeom>
            <a:noFill/>
            <a:ln w="9525" cap="flat" cmpd="sng">
              <a:solidFill>
                <a:srgbClr val="869FB2"/>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cxnSp>
          <p:nvCxnSpPr>
            <p:cNvPr id="9156" name="Google Shape;9156;p108"/>
            <p:cNvCxnSpPr>
              <a:stCxn id="9155" idx="1"/>
            </p:cNvCxnSpPr>
            <p:nvPr/>
          </p:nvCxnSpPr>
          <p:spPr>
            <a:xfrm rot="10800000">
              <a:off x="6175223" y="4300183"/>
              <a:ext cx="123900" cy="600"/>
            </a:xfrm>
            <a:prstGeom prst="straightConnector1">
              <a:avLst/>
            </a:prstGeom>
            <a:noFill/>
            <a:ln w="9525" cap="flat" cmpd="sng">
              <a:solidFill>
                <a:srgbClr val="869FB2"/>
              </a:solidFill>
              <a:prstDash val="solid"/>
              <a:round/>
              <a:headEnd type="none" w="med" len="med"/>
              <a:tailEnd type="none" w="med" len="med"/>
            </a:ln>
          </p:spPr>
        </p:cxnSp>
        <p:sp>
          <p:nvSpPr>
            <p:cNvPr id="9157" name="Google Shape;9157;p108"/>
            <p:cNvSpPr/>
            <p:nvPr/>
          </p:nvSpPr>
          <p:spPr>
            <a:xfrm>
              <a:off x="6629161" y="4631435"/>
              <a:ext cx="810600" cy="469200"/>
            </a:xfrm>
            <a:prstGeom prst="rect">
              <a:avLst/>
            </a:prstGeom>
            <a:noFill/>
            <a:ln w="9525" cap="flat" cmpd="sng">
              <a:solidFill>
                <a:srgbClr val="BAC8D3"/>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cxnSp>
          <p:nvCxnSpPr>
            <p:cNvPr id="9158" name="Google Shape;9158;p108"/>
            <p:cNvCxnSpPr>
              <a:endCxn id="9157" idx="3"/>
            </p:cNvCxnSpPr>
            <p:nvPr/>
          </p:nvCxnSpPr>
          <p:spPr>
            <a:xfrm flipH="1">
              <a:off x="7439761" y="4864535"/>
              <a:ext cx="104400" cy="1500"/>
            </a:xfrm>
            <a:prstGeom prst="straightConnector1">
              <a:avLst/>
            </a:prstGeom>
            <a:noFill/>
            <a:ln w="9525" cap="flat" cmpd="sng">
              <a:solidFill>
                <a:srgbClr val="BAC8D3"/>
              </a:solidFill>
              <a:prstDash val="solid"/>
              <a:round/>
              <a:headEnd type="none" w="med" len="med"/>
              <a:tailEnd type="none" w="med" len="med"/>
            </a:ln>
          </p:spPr>
        </p:cxnSp>
      </p:grpSp>
      <p:grpSp>
        <p:nvGrpSpPr>
          <p:cNvPr id="9159" name="Google Shape;9159;p108"/>
          <p:cNvGrpSpPr/>
          <p:nvPr/>
        </p:nvGrpSpPr>
        <p:grpSpPr>
          <a:xfrm>
            <a:off x="9848201" y="3202545"/>
            <a:ext cx="1428991" cy="1362105"/>
            <a:chOff x="7189833" y="2022667"/>
            <a:chExt cx="1251159" cy="1192597"/>
          </a:xfrm>
        </p:grpSpPr>
        <p:sp>
          <p:nvSpPr>
            <p:cNvPr id="9160" name="Google Shape;9160;p108"/>
            <p:cNvSpPr/>
            <p:nvPr/>
          </p:nvSpPr>
          <p:spPr>
            <a:xfrm>
              <a:off x="7474366" y="2461318"/>
              <a:ext cx="682343" cy="220186"/>
            </a:xfrm>
            <a:custGeom>
              <a:avLst/>
              <a:gdLst/>
              <a:ahLst/>
              <a:cxnLst/>
              <a:rect l="l" t="t" r="r" b="b"/>
              <a:pathLst>
                <a:path w="125546" h="40494" extrusionOk="0">
                  <a:moveTo>
                    <a:pt x="22196" y="1"/>
                  </a:moveTo>
                  <a:lnTo>
                    <a:pt x="8133" y="25661"/>
                  </a:lnTo>
                  <a:lnTo>
                    <a:pt x="1" y="40494"/>
                  </a:lnTo>
                  <a:lnTo>
                    <a:pt x="125545" y="40494"/>
                  </a:lnTo>
                  <a:lnTo>
                    <a:pt x="117413" y="25661"/>
                  </a:lnTo>
                  <a:lnTo>
                    <a:pt x="103351" y="1"/>
                  </a:lnTo>
                  <a:close/>
                </a:path>
              </a:pathLst>
            </a:custGeom>
            <a:noFill/>
            <a:ln w="9525" cap="flat" cmpd="sng">
              <a:solidFill>
                <a:srgbClr val="A5B7C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9161" name="Google Shape;9161;p108"/>
            <p:cNvSpPr/>
            <p:nvPr/>
          </p:nvSpPr>
          <p:spPr>
            <a:xfrm>
              <a:off x="7602697" y="2022667"/>
              <a:ext cx="426517" cy="402424"/>
            </a:xfrm>
            <a:custGeom>
              <a:avLst/>
              <a:gdLst/>
              <a:ahLst/>
              <a:cxnLst/>
              <a:rect l="l" t="t" r="r" b="b"/>
              <a:pathLst>
                <a:path w="78476" h="74009" extrusionOk="0">
                  <a:moveTo>
                    <a:pt x="39246" y="0"/>
                  </a:moveTo>
                  <a:lnTo>
                    <a:pt x="1" y="74009"/>
                  </a:lnTo>
                  <a:lnTo>
                    <a:pt x="78476" y="74009"/>
                  </a:lnTo>
                  <a:lnTo>
                    <a:pt x="39246" y="0"/>
                  </a:lnTo>
                  <a:close/>
                </a:path>
              </a:pathLst>
            </a:custGeom>
            <a:noFill/>
            <a:ln w="9525" cap="flat" cmpd="sng">
              <a:solidFill>
                <a:srgbClr val="667E92"/>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9162" name="Google Shape;9162;p108"/>
            <p:cNvSpPr/>
            <p:nvPr/>
          </p:nvSpPr>
          <p:spPr>
            <a:xfrm>
              <a:off x="7189833" y="2972969"/>
              <a:ext cx="1251159" cy="242295"/>
            </a:xfrm>
            <a:custGeom>
              <a:avLst/>
              <a:gdLst/>
              <a:ahLst/>
              <a:cxnLst/>
              <a:rect l="l" t="t" r="r" b="b"/>
              <a:pathLst>
                <a:path w="230204" h="44560" extrusionOk="0">
                  <a:moveTo>
                    <a:pt x="25737" y="1"/>
                  </a:moveTo>
                  <a:lnTo>
                    <a:pt x="0" y="44560"/>
                  </a:lnTo>
                  <a:lnTo>
                    <a:pt x="230204" y="44560"/>
                  </a:lnTo>
                  <a:lnTo>
                    <a:pt x="204467" y="1"/>
                  </a:lnTo>
                  <a:close/>
                </a:path>
              </a:pathLst>
            </a:custGeom>
            <a:noFill/>
            <a:ln w="9525" cap="flat" cmpd="sng">
              <a:solidFill>
                <a:srgbClr val="CFD9E0"/>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9163" name="Google Shape;9163;p108"/>
            <p:cNvSpPr/>
            <p:nvPr/>
          </p:nvSpPr>
          <p:spPr>
            <a:xfrm>
              <a:off x="7340931" y="2717730"/>
              <a:ext cx="950049" cy="219012"/>
            </a:xfrm>
            <a:custGeom>
              <a:avLst/>
              <a:gdLst/>
              <a:ahLst/>
              <a:cxnLst/>
              <a:rect l="l" t="t" r="r" b="b"/>
              <a:pathLst>
                <a:path w="174802" h="40278" extrusionOk="0">
                  <a:moveTo>
                    <a:pt x="22750" y="1"/>
                  </a:moveTo>
                  <a:lnTo>
                    <a:pt x="0" y="40278"/>
                  </a:lnTo>
                  <a:lnTo>
                    <a:pt x="174802" y="40278"/>
                  </a:lnTo>
                  <a:lnTo>
                    <a:pt x="152053" y="1"/>
                  </a:lnTo>
                  <a:close/>
                </a:path>
              </a:pathLst>
            </a:custGeom>
            <a:noFill/>
            <a:ln w="9525" cap="flat" cmpd="sng">
              <a:solidFill>
                <a:srgbClr val="869FB1"/>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9164" name="Google Shape;9164;p108"/>
          <p:cNvGrpSpPr/>
          <p:nvPr/>
        </p:nvGrpSpPr>
        <p:grpSpPr>
          <a:xfrm>
            <a:off x="969895" y="3771087"/>
            <a:ext cx="2260499" cy="2081116"/>
            <a:chOff x="727421" y="2828315"/>
            <a:chExt cx="1695374" cy="1560837"/>
          </a:xfrm>
        </p:grpSpPr>
        <p:grpSp>
          <p:nvGrpSpPr>
            <p:cNvPr id="9165" name="Google Shape;9165;p108"/>
            <p:cNvGrpSpPr/>
            <p:nvPr/>
          </p:nvGrpSpPr>
          <p:grpSpPr>
            <a:xfrm>
              <a:off x="819108" y="2882501"/>
              <a:ext cx="103104" cy="1426186"/>
              <a:chOff x="4674013" y="3100904"/>
              <a:chExt cx="122758" cy="1698043"/>
            </a:xfrm>
          </p:grpSpPr>
          <p:sp>
            <p:nvSpPr>
              <p:cNvPr id="9166" name="Google Shape;9166;p108"/>
              <p:cNvSpPr/>
              <p:nvPr/>
            </p:nvSpPr>
            <p:spPr>
              <a:xfrm>
                <a:off x="4674013" y="3100904"/>
                <a:ext cx="122758" cy="122748"/>
              </a:xfrm>
              <a:custGeom>
                <a:avLst/>
                <a:gdLst/>
                <a:ahLst/>
                <a:cxnLst/>
                <a:rect l="l" t="t" r="r" b="b"/>
                <a:pathLst>
                  <a:path w="12381" h="12380" extrusionOk="0">
                    <a:moveTo>
                      <a:pt x="6191" y="1"/>
                    </a:moveTo>
                    <a:cubicBezTo>
                      <a:pt x="2771" y="1"/>
                      <a:pt x="0" y="2772"/>
                      <a:pt x="0" y="6190"/>
                    </a:cubicBezTo>
                    <a:cubicBezTo>
                      <a:pt x="0" y="9608"/>
                      <a:pt x="2771" y="12379"/>
                      <a:pt x="6191" y="12379"/>
                    </a:cubicBezTo>
                    <a:cubicBezTo>
                      <a:pt x="9610" y="12379"/>
                      <a:pt x="12381" y="9608"/>
                      <a:pt x="12381" y="6190"/>
                    </a:cubicBezTo>
                    <a:cubicBezTo>
                      <a:pt x="12381" y="2772"/>
                      <a:pt x="9610" y="1"/>
                      <a:pt x="6191" y="1"/>
                    </a:cubicBezTo>
                    <a:close/>
                  </a:path>
                </a:pathLst>
              </a:custGeom>
              <a:noFill/>
              <a:ln w="9525" cap="flat" cmpd="sng">
                <a:solidFill>
                  <a:srgbClr val="CFD9E0"/>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9167" name="Google Shape;9167;p108"/>
              <p:cNvSpPr/>
              <p:nvPr/>
            </p:nvSpPr>
            <p:spPr>
              <a:xfrm>
                <a:off x="4674013" y="3363453"/>
                <a:ext cx="122758" cy="122758"/>
              </a:xfrm>
              <a:custGeom>
                <a:avLst/>
                <a:gdLst/>
                <a:ahLst/>
                <a:cxnLst/>
                <a:rect l="l" t="t" r="r" b="b"/>
                <a:pathLst>
                  <a:path w="12381" h="12381" extrusionOk="0">
                    <a:moveTo>
                      <a:pt x="6191" y="0"/>
                    </a:moveTo>
                    <a:cubicBezTo>
                      <a:pt x="2771" y="0"/>
                      <a:pt x="0" y="2771"/>
                      <a:pt x="0" y="6191"/>
                    </a:cubicBezTo>
                    <a:cubicBezTo>
                      <a:pt x="0" y="9610"/>
                      <a:pt x="2771" y="12381"/>
                      <a:pt x="6191" y="12381"/>
                    </a:cubicBezTo>
                    <a:cubicBezTo>
                      <a:pt x="9610" y="12381"/>
                      <a:pt x="12381" y="9610"/>
                      <a:pt x="12381" y="6191"/>
                    </a:cubicBezTo>
                    <a:cubicBezTo>
                      <a:pt x="12381" y="2771"/>
                      <a:pt x="9610" y="0"/>
                      <a:pt x="6191" y="0"/>
                    </a:cubicBezTo>
                    <a:close/>
                  </a:path>
                </a:pathLst>
              </a:custGeom>
              <a:noFill/>
              <a:ln w="9525" cap="flat" cmpd="sng">
                <a:solidFill>
                  <a:srgbClr val="CFD9E0"/>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9168" name="Google Shape;9168;p108"/>
              <p:cNvSpPr/>
              <p:nvPr/>
            </p:nvSpPr>
            <p:spPr>
              <a:xfrm>
                <a:off x="4674013" y="3625992"/>
                <a:ext cx="122738" cy="122768"/>
              </a:xfrm>
              <a:custGeom>
                <a:avLst/>
                <a:gdLst/>
                <a:ahLst/>
                <a:cxnLst/>
                <a:rect l="l" t="t" r="r" b="b"/>
                <a:pathLst>
                  <a:path w="12379" h="12382" extrusionOk="0">
                    <a:moveTo>
                      <a:pt x="6190" y="1"/>
                    </a:moveTo>
                    <a:cubicBezTo>
                      <a:pt x="2771" y="1"/>
                      <a:pt x="0" y="2774"/>
                      <a:pt x="0" y="6192"/>
                    </a:cubicBezTo>
                    <a:cubicBezTo>
                      <a:pt x="0" y="9610"/>
                      <a:pt x="2771" y="12381"/>
                      <a:pt x="6190" y="12381"/>
                    </a:cubicBezTo>
                    <a:cubicBezTo>
                      <a:pt x="9608" y="12381"/>
                      <a:pt x="12379" y="9610"/>
                      <a:pt x="12379" y="6192"/>
                    </a:cubicBezTo>
                    <a:cubicBezTo>
                      <a:pt x="12379" y="2774"/>
                      <a:pt x="9608" y="1"/>
                      <a:pt x="6190" y="1"/>
                    </a:cubicBezTo>
                    <a:close/>
                  </a:path>
                </a:pathLst>
              </a:custGeom>
              <a:solidFill>
                <a:srgbClr val="869FB2"/>
              </a:solidFill>
              <a:ln w="19050" cap="flat" cmpd="sng">
                <a:solidFill>
                  <a:srgbClr val="869FB2"/>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9169" name="Google Shape;9169;p108"/>
              <p:cNvSpPr/>
              <p:nvPr/>
            </p:nvSpPr>
            <p:spPr>
              <a:xfrm>
                <a:off x="4674013" y="3888561"/>
                <a:ext cx="122738" cy="122738"/>
              </a:xfrm>
              <a:custGeom>
                <a:avLst/>
                <a:gdLst/>
                <a:ahLst/>
                <a:cxnLst/>
                <a:rect l="l" t="t" r="r" b="b"/>
                <a:pathLst>
                  <a:path w="12379" h="12379" extrusionOk="0">
                    <a:moveTo>
                      <a:pt x="6190" y="0"/>
                    </a:moveTo>
                    <a:cubicBezTo>
                      <a:pt x="2771" y="0"/>
                      <a:pt x="0" y="2771"/>
                      <a:pt x="0" y="6189"/>
                    </a:cubicBezTo>
                    <a:cubicBezTo>
                      <a:pt x="0" y="9608"/>
                      <a:pt x="2771" y="12379"/>
                      <a:pt x="6190" y="12379"/>
                    </a:cubicBezTo>
                    <a:cubicBezTo>
                      <a:pt x="9608" y="12379"/>
                      <a:pt x="12379" y="9608"/>
                      <a:pt x="12379" y="6189"/>
                    </a:cubicBezTo>
                    <a:cubicBezTo>
                      <a:pt x="12379" y="2771"/>
                      <a:pt x="9608" y="0"/>
                      <a:pt x="6190" y="0"/>
                    </a:cubicBezTo>
                    <a:close/>
                  </a:path>
                </a:pathLst>
              </a:custGeom>
              <a:solidFill>
                <a:srgbClr val="869FB2"/>
              </a:solidFill>
              <a:ln w="19050" cap="flat" cmpd="sng">
                <a:solidFill>
                  <a:srgbClr val="869FB2"/>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9170" name="Google Shape;9170;p108"/>
              <p:cNvSpPr/>
              <p:nvPr/>
            </p:nvSpPr>
            <p:spPr>
              <a:xfrm>
                <a:off x="4674013" y="4151100"/>
                <a:ext cx="122738" cy="122748"/>
              </a:xfrm>
              <a:custGeom>
                <a:avLst/>
                <a:gdLst/>
                <a:ahLst/>
                <a:cxnLst/>
                <a:rect l="l" t="t" r="r" b="b"/>
                <a:pathLst>
                  <a:path w="12379" h="12380" extrusionOk="0">
                    <a:moveTo>
                      <a:pt x="6190" y="1"/>
                    </a:moveTo>
                    <a:cubicBezTo>
                      <a:pt x="2771" y="1"/>
                      <a:pt x="0" y="2772"/>
                      <a:pt x="0" y="6190"/>
                    </a:cubicBezTo>
                    <a:cubicBezTo>
                      <a:pt x="0" y="9608"/>
                      <a:pt x="2771" y="12379"/>
                      <a:pt x="6190" y="12379"/>
                    </a:cubicBezTo>
                    <a:cubicBezTo>
                      <a:pt x="9608" y="12379"/>
                      <a:pt x="12379" y="9608"/>
                      <a:pt x="12379" y="6190"/>
                    </a:cubicBezTo>
                    <a:cubicBezTo>
                      <a:pt x="12379" y="2772"/>
                      <a:pt x="9608" y="1"/>
                      <a:pt x="6190" y="1"/>
                    </a:cubicBezTo>
                    <a:close/>
                  </a:path>
                </a:pathLst>
              </a:custGeom>
              <a:solidFill>
                <a:srgbClr val="869FB2"/>
              </a:solidFill>
              <a:ln w="19050" cap="flat" cmpd="sng">
                <a:solidFill>
                  <a:srgbClr val="869FB2"/>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9171" name="Google Shape;9171;p108"/>
              <p:cNvSpPr/>
              <p:nvPr/>
            </p:nvSpPr>
            <p:spPr>
              <a:xfrm>
                <a:off x="4674013" y="4413650"/>
                <a:ext cx="122738" cy="122758"/>
              </a:xfrm>
              <a:custGeom>
                <a:avLst/>
                <a:gdLst/>
                <a:ahLst/>
                <a:cxnLst/>
                <a:rect l="l" t="t" r="r" b="b"/>
                <a:pathLst>
                  <a:path w="12379" h="12381" extrusionOk="0">
                    <a:moveTo>
                      <a:pt x="6190" y="0"/>
                    </a:moveTo>
                    <a:cubicBezTo>
                      <a:pt x="2771" y="0"/>
                      <a:pt x="0" y="2771"/>
                      <a:pt x="0" y="6191"/>
                    </a:cubicBezTo>
                    <a:cubicBezTo>
                      <a:pt x="0" y="9609"/>
                      <a:pt x="2771" y="12380"/>
                      <a:pt x="6190" y="12380"/>
                    </a:cubicBezTo>
                    <a:cubicBezTo>
                      <a:pt x="9608" y="12380"/>
                      <a:pt x="12379" y="9609"/>
                      <a:pt x="12379" y="6191"/>
                    </a:cubicBezTo>
                    <a:cubicBezTo>
                      <a:pt x="12379" y="2771"/>
                      <a:pt x="9608" y="0"/>
                      <a:pt x="6190" y="0"/>
                    </a:cubicBezTo>
                    <a:close/>
                  </a:path>
                </a:pathLst>
              </a:custGeom>
              <a:solidFill>
                <a:srgbClr val="869FB2"/>
              </a:solidFill>
              <a:ln w="19050" cap="flat" cmpd="sng">
                <a:solidFill>
                  <a:srgbClr val="869FB2"/>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9172" name="Google Shape;9172;p108"/>
              <p:cNvSpPr/>
              <p:nvPr/>
            </p:nvSpPr>
            <p:spPr>
              <a:xfrm>
                <a:off x="4674013" y="4676209"/>
                <a:ext cx="122738" cy="122738"/>
              </a:xfrm>
              <a:custGeom>
                <a:avLst/>
                <a:gdLst/>
                <a:ahLst/>
                <a:cxnLst/>
                <a:rect l="l" t="t" r="r" b="b"/>
                <a:pathLst>
                  <a:path w="12379" h="12379" extrusionOk="0">
                    <a:moveTo>
                      <a:pt x="6190" y="0"/>
                    </a:moveTo>
                    <a:cubicBezTo>
                      <a:pt x="2771" y="0"/>
                      <a:pt x="0" y="2771"/>
                      <a:pt x="0" y="6189"/>
                    </a:cubicBezTo>
                    <a:cubicBezTo>
                      <a:pt x="0" y="9608"/>
                      <a:pt x="2771" y="12379"/>
                      <a:pt x="6190" y="12379"/>
                    </a:cubicBezTo>
                    <a:cubicBezTo>
                      <a:pt x="9608" y="12379"/>
                      <a:pt x="12379" y="9608"/>
                      <a:pt x="12379" y="6189"/>
                    </a:cubicBezTo>
                    <a:cubicBezTo>
                      <a:pt x="12379" y="2771"/>
                      <a:pt x="9608" y="0"/>
                      <a:pt x="6190" y="0"/>
                    </a:cubicBezTo>
                    <a:close/>
                  </a:path>
                </a:pathLst>
              </a:custGeom>
              <a:solidFill>
                <a:srgbClr val="869FB2"/>
              </a:solidFill>
              <a:ln w="19050" cap="flat" cmpd="sng">
                <a:solidFill>
                  <a:srgbClr val="869FB2"/>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9173" name="Google Shape;9173;p108"/>
            <p:cNvGrpSpPr/>
            <p:nvPr/>
          </p:nvGrpSpPr>
          <p:grpSpPr>
            <a:xfrm>
              <a:off x="1062475" y="2882501"/>
              <a:ext cx="103104" cy="1426186"/>
              <a:chOff x="4940438" y="3100904"/>
              <a:chExt cx="122758" cy="1698043"/>
            </a:xfrm>
          </p:grpSpPr>
          <p:sp>
            <p:nvSpPr>
              <p:cNvPr id="9174" name="Google Shape;9174;p108"/>
              <p:cNvSpPr/>
              <p:nvPr/>
            </p:nvSpPr>
            <p:spPr>
              <a:xfrm>
                <a:off x="4940438" y="3100904"/>
                <a:ext cx="122758" cy="122748"/>
              </a:xfrm>
              <a:custGeom>
                <a:avLst/>
                <a:gdLst/>
                <a:ahLst/>
                <a:cxnLst/>
                <a:rect l="l" t="t" r="r" b="b"/>
                <a:pathLst>
                  <a:path w="12381" h="12380" extrusionOk="0">
                    <a:moveTo>
                      <a:pt x="6191" y="1"/>
                    </a:moveTo>
                    <a:cubicBezTo>
                      <a:pt x="2771" y="1"/>
                      <a:pt x="0" y="2772"/>
                      <a:pt x="0" y="6190"/>
                    </a:cubicBezTo>
                    <a:cubicBezTo>
                      <a:pt x="0" y="9608"/>
                      <a:pt x="2771" y="12379"/>
                      <a:pt x="6191" y="12379"/>
                    </a:cubicBezTo>
                    <a:cubicBezTo>
                      <a:pt x="9610" y="12379"/>
                      <a:pt x="12381" y="9608"/>
                      <a:pt x="12381" y="6190"/>
                    </a:cubicBezTo>
                    <a:cubicBezTo>
                      <a:pt x="12381" y="2772"/>
                      <a:pt x="9610" y="1"/>
                      <a:pt x="6191" y="1"/>
                    </a:cubicBezTo>
                    <a:close/>
                  </a:path>
                </a:pathLst>
              </a:custGeom>
              <a:noFill/>
              <a:ln w="9525" cap="flat" cmpd="sng">
                <a:solidFill>
                  <a:srgbClr val="CFD9E0"/>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9175" name="Google Shape;9175;p108"/>
              <p:cNvSpPr/>
              <p:nvPr/>
            </p:nvSpPr>
            <p:spPr>
              <a:xfrm>
                <a:off x="4940438" y="3363453"/>
                <a:ext cx="122758" cy="122758"/>
              </a:xfrm>
              <a:custGeom>
                <a:avLst/>
                <a:gdLst/>
                <a:ahLst/>
                <a:cxnLst/>
                <a:rect l="l" t="t" r="r" b="b"/>
                <a:pathLst>
                  <a:path w="12381" h="12381" extrusionOk="0">
                    <a:moveTo>
                      <a:pt x="6191" y="0"/>
                    </a:moveTo>
                    <a:cubicBezTo>
                      <a:pt x="2771" y="0"/>
                      <a:pt x="0" y="2771"/>
                      <a:pt x="0" y="6191"/>
                    </a:cubicBezTo>
                    <a:cubicBezTo>
                      <a:pt x="0" y="9610"/>
                      <a:pt x="2771" y="12381"/>
                      <a:pt x="6191" y="12381"/>
                    </a:cubicBezTo>
                    <a:cubicBezTo>
                      <a:pt x="9610" y="12381"/>
                      <a:pt x="12381" y="9610"/>
                      <a:pt x="12381" y="6191"/>
                    </a:cubicBezTo>
                    <a:cubicBezTo>
                      <a:pt x="12381" y="2771"/>
                      <a:pt x="9610" y="0"/>
                      <a:pt x="6191" y="0"/>
                    </a:cubicBezTo>
                    <a:close/>
                  </a:path>
                </a:pathLst>
              </a:custGeom>
              <a:noFill/>
              <a:ln w="9525" cap="flat" cmpd="sng">
                <a:solidFill>
                  <a:srgbClr val="CFD9E0"/>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9176" name="Google Shape;9176;p108"/>
              <p:cNvSpPr/>
              <p:nvPr/>
            </p:nvSpPr>
            <p:spPr>
              <a:xfrm>
                <a:off x="4940438" y="3625992"/>
                <a:ext cx="122738" cy="122768"/>
              </a:xfrm>
              <a:custGeom>
                <a:avLst/>
                <a:gdLst/>
                <a:ahLst/>
                <a:cxnLst/>
                <a:rect l="l" t="t" r="r" b="b"/>
                <a:pathLst>
                  <a:path w="12379" h="12382" extrusionOk="0">
                    <a:moveTo>
                      <a:pt x="6190" y="1"/>
                    </a:moveTo>
                    <a:cubicBezTo>
                      <a:pt x="2771" y="1"/>
                      <a:pt x="0" y="2774"/>
                      <a:pt x="0" y="6192"/>
                    </a:cubicBezTo>
                    <a:cubicBezTo>
                      <a:pt x="0" y="9610"/>
                      <a:pt x="2771" y="12381"/>
                      <a:pt x="6190" y="12381"/>
                    </a:cubicBezTo>
                    <a:cubicBezTo>
                      <a:pt x="9608" y="12381"/>
                      <a:pt x="12379" y="9610"/>
                      <a:pt x="12379" y="6192"/>
                    </a:cubicBezTo>
                    <a:cubicBezTo>
                      <a:pt x="12379" y="2774"/>
                      <a:pt x="9608" y="1"/>
                      <a:pt x="6190" y="1"/>
                    </a:cubicBezTo>
                    <a:close/>
                  </a:path>
                </a:pathLst>
              </a:custGeom>
              <a:noFill/>
              <a:ln w="9525" cap="flat" cmpd="sng">
                <a:solidFill>
                  <a:srgbClr val="CFD9E0"/>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9177" name="Google Shape;9177;p108"/>
              <p:cNvSpPr/>
              <p:nvPr/>
            </p:nvSpPr>
            <p:spPr>
              <a:xfrm>
                <a:off x="4940438" y="3888561"/>
                <a:ext cx="122738" cy="122738"/>
              </a:xfrm>
              <a:custGeom>
                <a:avLst/>
                <a:gdLst/>
                <a:ahLst/>
                <a:cxnLst/>
                <a:rect l="l" t="t" r="r" b="b"/>
                <a:pathLst>
                  <a:path w="12379" h="12379" extrusionOk="0">
                    <a:moveTo>
                      <a:pt x="6190" y="0"/>
                    </a:moveTo>
                    <a:cubicBezTo>
                      <a:pt x="2771" y="0"/>
                      <a:pt x="0" y="2771"/>
                      <a:pt x="0" y="6189"/>
                    </a:cubicBezTo>
                    <a:cubicBezTo>
                      <a:pt x="0" y="9608"/>
                      <a:pt x="2771" y="12379"/>
                      <a:pt x="6190" y="12379"/>
                    </a:cubicBezTo>
                    <a:cubicBezTo>
                      <a:pt x="9608" y="12379"/>
                      <a:pt x="12379" y="9608"/>
                      <a:pt x="12379" y="6189"/>
                    </a:cubicBezTo>
                    <a:cubicBezTo>
                      <a:pt x="12379" y="2771"/>
                      <a:pt x="9608" y="0"/>
                      <a:pt x="6190" y="0"/>
                    </a:cubicBezTo>
                    <a:close/>
                  </a:path>
                </a:pathLst>
              </a:custGeom>
              <a:noFill/>
              <a:ln w="9525" cap="flat" cmpd="sng">
                <a:solidFill>
                  <a:srgbClr val="CFD9E0"/>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9178" name="Google Shape;9178;p108"/>
              <p:cNvSpPr/>
              <p:nvPr/>
            </p:nvSpPr>
            <p:spPr>
              <a:xfrm>
                <a:off x="4940438" y="4151100"/>
                <a:ext cx="122738" cy="122748"/>
              </a:xfrm>
              <a:custGeom>
                <a:avLst/>
                <a:gdLst/>
                <a:ahLst/>
                <a:cxnLst/>
                <a:rect l="l" t="t" r="r" b="b"/>
                <a:pathLst>
                  <a:path w="12379" h="12380" extrusionOk="0">
                    <a:moveTo>
                      <a:pt x="6190" y="1"/>
                    </a:moveTo>
                    <a:cubicBezTo>
                      <a:pt x="2771" y="1"/>
                      <a:pt x="0" y="2772"/>
                      <a:pt x="0" y="6190"/>
                    </a:cubicBezTo>
                    <a:cubicBezTo>
                      <a:pt x="0" y="9608"/>
                      <a:pt x="2771" y="12379"/>
                      <a:pt x="6190" y="12379"/>
                    </a:cubicBezTo>
                    <a:cubicBezTo>
                      <a:pt x="9608" y="12379"/>
                      <a:pt x="12379" y="9608"/>
                      <a:pt x="12379" y="6190"/>
                    </a:cubicBezTo>
                    <a:cubicBezTo>
                      <a:pt x="12379" y="2772"/>
                      <a:pt x="9608" y="1"/>
                      <a:pt x="6190" y="1"/>
                    </a:cubicBezTo>
                    <a:close/>
                  </a:path>
                </a:pathLst>
              </a:custGeom>
              <a:solidFill>
                <a:srgbClr val="869FB2"/>
              </a:solidFill>
              <a:ln w="19050" cap="flat" cmpd="sng">
                <a:solidFill>
                  <a:srgbClr val="869FB2"/>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9179" name="Google Shape;9179;p108"/>
              <p:cNvSpPr/>
              <p:nvPr/>
            </p:nvSpPr>
            <p:spPr>
              <a:xfrm>
                <a:off x="4940438" y="4413650"/>
                <a:ext cx="122738" cy="122758"/>
              </a:xfrm>
              <a:custGeom>
                <a:avLst/>
                <a:gdLst/>
                <a:ahLst/>
                <a:cxnLst/>
                <a:rect l="l" t="t" r="r" b="b"/>
                <a:pathLst>
                  <a:path w="12379" h="12381" extrusionOk="0">
                    <a:moveTo>
                      <a:pt x="6190" y="0"/>
                    </a:moveTo>
                    <a:cubicBezTo>
                      <a:pt x="2771" y="0"/>
                      <a:pt x="0" y="2771"/>
                      <a:pt x="0" y="6191"/>
                    </a:cubicBezTo>
                    <a:cubicBezTo>
                      <a:pt x="0" y="9609"/>
                      <a:pt x="2771" y="12380"/>
                      <a:pt x="6190" y="12380"/>
                    </a:cubicBezTo>
                    <a:cubicBezTo>
                      <a:pt x="9608" y="12380"/>
                      <a:pt x="12379" y="9609"/>
                      <a:pt x="12379" y="6191"/>
                    </a:cubicBezTo>
                    <a:cubicBezTo>
                      <a:pt x="12379" y="2771"/>
                      <a:pt x="9608" y="0"/>
                      <a:pt x="6190" y="0"/>
                    </a:cubicBezTo>
                    <a:close/>
                  </a:path>
                </a:pathLst>
              </a:custGeom>
              <a:solidFill>
                <a:srgbClr val="869FB2"/>
              </a:solidFill>
              <a:ln w="19050" cap="flat" cmpd="sng">
                <a:solidFill>
                  <a:srgbClr val="869FB2"/>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9180" name="Google Shape;9180;p108"/>
              <p:cNvSpPr/>
              <p:nvPr/>
            </p:nvSpPr>
            <p:spPr>
              <a:xfrm>
                <a:off x="4940438" y="4676209"/>
                <a:ext cx="122738" cy="122738"/>
              </a:xfrm>
              <a:custGeom>
                <a:avLst/>
                <a:gdLst/>
                <a:ahLst/>
                <a:cxnLst/>
                <a:rect l="l" t="t" r="r" b="b"/>
                <a:pathLst>
                  <a:path w="12379" h="12379" extrusionOk="0">
                    <a:moveTo>
                      <a:pt x="6190" y="0"/>
                    </a:moveTo>
                    <a:cubicBezTo>
                      <a:pt x="2771" y="0"/>
                      <a:pt x="0" y="2771"/>
                      <a:pt x="0" y="6189"/>
                    </a:cubicBezTo>
                    <a:cubicBezTo>
                      <a:pt x="0" y="9608"/>
                      <a:pt x="2771" y="12379"/>
                      <a:pt x="6190" y="12379"/>
                    </a:cubicBezTo>
                    <a:cubicBezTo>
                      <a:pt x="9608" y="12379"/>
                      <a:pt x="12379" y="9608"/>
                      <a:pt x="12379" y="6189"/>
                    </a:cubicBezTo>
                    <a:cubicBezTo>
                      <a:pt x="12379" y="2771"/>
                      <a:pt x="9608" y="0"/>
                      <a:pt x="6190" y="0"/>
                    </a:cubicBezTo>
                    <a:close/>
                  </a:path>
                </a:pathLst>
              </a:custGeom>
              <a:solidFill>
                <a:srgbClr val="869FB2"/>
              </a:solidFill>
              <a:ln w="19050" cap="flat" cmpd="sng">
                <a:solidFill>
                  <a:srgbClr val="869FB2"/>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9181" name="Google Shape;9181;p108"/>
            <p:cNvGrpSpPr/>
            <p:nvPr/>
          </p:nvGrpSpPr>
          <p:grpSpPr>
            <a:xfrm>
              <a:off x="1299324" y="2882501"/>
              <a:ext cx="103104" cy="1426186"/>
              <a:chOff x="5206863" y="3100904"/>
              <a:chExt cx="122758" cy="1698043"/>
            </a:xfrm>
          </p:grpSpPr>
          <p:sp>
            <p:nvSpPr>
              <p:cNvPr id="9182" name="Google Shape;9182;p108"/>
              <p:cNvSpPr/>
              <p:nvPr/>
            </p:nvSpPr>
            <p:spPr>
              <a:xfrm>
                <a:off x="5206863" y="3100904"/>
                <a:ext cx="122758" cy="122748"/>
              </a:xfrm>
              <a:custGeom>
                <a:avLst/>
                <a:gdLst/>
                <a:ahLst/>
                <a:cxnLst/>
                <a:rect l="l" t="t" r="r" b="b"/>
                <a:pathLst>
                  <a:path w="12381" h="12380" extrusionOk="0">
                    <a:moveTo>
                      <a:pt x="6191" y="1"/>
                    </a:moveTo>
                    <a:cubicBezTo>
                      <a:pt x="2771" y="1"/>
                      <a:pt x="0" y="2772"/>
                      <a:pt x="0" y="6190"/>
                    </a:cubicBezTo>
                    <a:cubicBezTo>
                      <a:pt x="0" y="9608"/>
                      <a:pt x="2771" y="12379"/>
                      <a:pt x="6191" y="12379"/>
                    </a:cubicBezTo>
                    <a:cubicBezTo>
                      <a:pt x="9610" y="12379"/>
                      <a:pt x="12381" y="9608"/>
                      <a:pt x="12381" y="6190"/>
                    </a:cubicBezTo>
                    <a:cubicBezTo>
                      <a:pt x="12381" y="2772"/>
                      <a:pt x="9610" y="1"/>
                      <a:pt x="6191" y="1"/>
                    </a:cubicBezTo>
                    <a:close/>
                  </a:path>
                </a:pathLst>
              </a:custGeom>
              <a:noFill/>
              <a:ln w="9525" cap="flat" cmpd="sng">
                <a:solidFill>
                  <a:srgbClr val="CFD9E0"/>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9183" name="Google Shape;9183;p108"/>
              <p:cNvSpPr/>
              <p:nvPr/>
            </p:nvSpPr>
            <p:spPr>
              <a:xfrm>
                <a:off x="5206863" y="3363453"/>
                <a:ext cx="122758" cy="122758"/>
              </a:xfrm>
              <a:custGeom>
                <a:avLst/>
                <a:gdLst/>
                <a:ahLst/>
                <a:cxnLst/>
                <a:rect l="l" t="t" r="r" b="b"/>
                <a:pathLst>
                  <a:path w="12381" h="12381" extrusionOk="0">
                    <a:moveTo>
                      <a:pt x="6191" y="0"/>
                    </a:moveTo>
                    <a:cubicBezTo>
                      <a:pt x="2771" y="0"/>
                      <a:pt x="0" y="2771"/>
                      <a:pt x="0" y="6191"/>
                    </a:cubicBezTo>
                    <a:cubicBezTo>
                      <a:pt x="0" y="9610"/>
                      <a:pt x="2771" y="12381"/>
                      <a:pt x="6191" y="12381"/>
                    </a:cubicBezTo>
                    <a:cubicBezTo>
                      <a:pt x="9610" y="12381"/>
                      <a:pt x="12381" y="9610"/>
                      <a:pt x="12381" y="6191"/>
                    </a:cubicBezTo>
                    <a:cubicBezTo>
                      <a:pt x="12381" y="2771"/>
                      <a:pt x="9610" y="0"/>
                      <a:pt x="6191" y="0"/>
                    </a:cubicBezTo>
                    <a:close/>
                  </a:path>
                </a:pathLst>
              </a:custGeom>
              <a:noFill/>
              <a:ln w="9525" cap="flat" cmpd="sng">
                <a:solidFill>
                  <a:srgbClr val="CFD9E0"/>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9184" name="Google Shape;9184;p108"/>
              <p:cNvSpPr/>
              <p:nvPr/>
            </p:nvSpPr>
            <p:spPr>
              <a:xfrm>
                <a:off x="5206863" y="3625992"/>
                <a:ext cx="122738" cy="122768"/>
              </a:xfrm>
              <a:custGeom>
                <a:avLst/>
                <a:gdLst/>
                <a:ahLst/>
                <a:cxnLst/>
                <a:rect l="l" t="t" r="r" b="b"/>
                <a:pathLst>
                  <a:path w="12379" h="12382" extrusionOk="0">
                    <a:moveTo>
                      <a:pt x="6190" y="1"/>
                    </a:moveTo>
                    <a:cubicBezTo>
                      <a:pt x="2771" y="1"/>
                      <a:pt x="0" y="2774"/>
                      <a:pt x="0" y="6192"/>
                    </a:cubicBezTo>
                    <a:cubicBezTo>
                      <a:pt x="0" y="9610"/>
                      <a:pt x="2771" y="12381"/>
                      <a:pt x="6190" y="12381"/>
                    </a:cubicBezTo>
                    <a:cubicBezTo>
                      <a:pt x="9608" y="12381"/>
                      <a:pt x="12379" y="9610"/>
                      <a:pt x="12379" y="6192"/>
                    </a:cubicBezTo>
                    <a:cubicBezTo>
                      <a:pt x="12379" y="2774"/>
                      <a:pt x="9608" y="1"/>
                      <a:pt x="6190" y="1"/>
                    </a:cubicBezTo>
                    <a:close/>
                  </a:path>
                </a:pathLst>
              </a:custGeom>
              <a:noFill/>
              <a:ln w="9525" cap="flat" cmpd="sng">
                <a:solidFill>
                  <a:srgbClr val="CFD9E0"/>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9185" name="Google Shape;9185;p108"/>
              <p:cNvSpPr/>
              <p:nvPr/>
            </p:nvSpPr>
            <p:spPr>
              <a:xfrm>
                <a:off x="5206863" y="3888561"/>
                <a:ext cx="122738" cy="122738"/>
              </a:xfrm>
              <a:custGeom>
                <a:avLst/>
                <a:gdLst/>
                <a:ahLst/>
                <a:cxnLst/>
                <a:rect l="l" t="t" r="r" b="b"/>
                <a:pathLst>
                  <a:path w="12379" h="12379" extrusionOk="0">
                    <a:moveTo>
                      <a:pt x="6190" y="0"/>
                    </a:moveTo>
                    <a:cubicBezTo>
                      <a:pt x="2771" y="0"/>
                      <a:pt x="0" y="2771"/>
                      <a:pt x="0" y="6189"/>
                    </a:cubicBezTo>
                    <a:cubicBezTo>
                      <a:pt x="0" y="9608"/>
                      <a:pt x="2771" y="12379"/>
                      <a:pt x="6190" y="12379"/>
                    </a:cubicBezTo>
                    <a:cubicBezTo>
                      <a:pt x="9608" y="12379"/>
                      <a:pt x="12379" y="9608"/>
                      <a:pt x="12379" y="6189"/>
                    </a:cubicBezTo>
                    <a:cubicBezTo>
                      <a:pt x="12379" y="2771"/>
                      <a:pt x="9608" y="0"/>
                      <a:pt x="6190" y="0"/>
                    </a:cubicBezTo>
                    <a:close/>
                  </a:path>
                </a:pathLst>
              </a:custGeom>
              <a:noFill/>
              <a:ln w="9525" cap="flat" cmpd="sng">
                <a:solidFill>
                  <a:srgbClr val="CFD9E0"/>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9186" name="Google Shape;9186;p108"/>
              <p:cNvSpPr/>
              <p:nvPr/>
            </p:nvSpPr>
            <p:spPr>
              <a:xfrm>
                <a:off x="5206863" y="4151100"/>
                <a:ext cx="122738" cy="122748"/>
              </a:xfrm>
              <a:custGeom>
                <a:avLst/>
                <a:gdLst/>
                <a:ahLst/>
                <a:cxnLst/>
                <a:rect l="l" t="t" r="r" b="b"/>
                <a:pathLst>
                  <a:path w="12379" h="12380" extrusionOk="0">
                    <a:moveTo>
                      <a:pt x="6190" y="1"/>
                    </a:moveTo>
                    <a:cubicBezTo>
                      <a:pt x="2771" y="1"/>
                      <a:pt x="0" y="2772"/>
                      <a:pt x="0" y="6190"/>
                    </a:cubicBezTo>
                    <a:cubicBezTo>
                      <a:pt x="0" y="9608"/>
                      <a:pt x="2771" y="12379"/>
                      <a:pt x="6190" y="12379"/>
                    </a:cubicBezTo>
                    <a:cubicBezTo>
                      <a:pt x="9608" y="12379"/>
                      <a:pt x="12379" y="9608"/>
                      <a:pt x="12379" y="6190"/>
                    </a:cubicBezTo>
                    <a:cubicBezTo>
                      <a:pt x="12379" y="2772"/>
                      <a:pt x="9608" y="1"/>
                      <a:pt x="6190" y="1"/>
                    </a:cubicBezTo>
                    <a:close/>
                  </a:path>
                </a:pathLst>
              </a:custGeom>
              <a:noFill/>
              <a:ln w="9525" cap="flat" cmpd="sng">
                <a:solidFill>
                  <a:srgbClr val="CFD9E0"/>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9187" name="Google Shape;9187;p108"/>
              <p:cNvSpPr/>
              <p:nvPr/>
            </p:nvSpPr>
            <p:spPr>
              <a:xfrm>
                <a:off x="5206863" y="4413650"/>
                <a:ext cx="122738" cy="122758"/>
              </a:xfrm>
              <a:custGeom>
                <a:avLst/>
                <a:gdLst/>
                <a:ahLst/>
                <a:cxnLst/>
                <a:rect l="l" t="t" r="r" b="b"/>
                <a:pathLst>
                  <a:path w="12379" h="12381" extrusionOk="0">
                    <a:moveTo>
                      <a:pt x="6190" y="0"/>
                    </a:moveTo>
                    <a:cubicBezTo>
                      <a:pt x="2771" y="0"/>
                      <a:pt x="0" y="2771"/>
                      <a:pt x="0" y="6191"/>
                    </a:cubicBezTo>
                    <a:cubicBezTo>
                      <a:pt x="0" y="9609"/>
                      <a:pt x="2771" y="12380"/>
                      <a:pt x="6190" y="12380"/>
                    </a:cubicBezTo>
                    <a:cubicBezTo>
                      <a:pt x="9608" y="12380"/>
                      <a:pt x="12379" y="9609"/>
                      <a:pt x="12379" y="6191"/>
                    </a:cubicBezTo>
                    <a:cubicBezTo>
                      <a:pt x="12379" y="2771"/>
                      <a:pt x="9608" y="0"/>
                      <a:pt x="6190" y="0"/>
                    </a:cubicBezTo>
                    <a:close/>
                  </a:path>
                </a:pathLst>
              </a:custGeom>
              <a:solidFill>
                <a:srgbClr val="869FB2"/>
              </a:solidFill>
              <a:ln w="19050" cap="flat" cmpd="sng">
                <a:solidFill>
                  <a:srgbClr val="869FB2"/>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9188" name="Google Shape;9188;p108"/>
              <p:cNvSpPr/>
              <p:nvPr/>
            </p:nvSpPr>
            <p:spPr>
              <a:xfrm>
                <a:off x="5206863" y="4676209"/>
                <a:ext cx="122738" cy="122738"/>
              </a:xfrm>
              <a:custGeom>
                <a:avLst/>
                <a:gdLst/>
                <a:ahLst/>
                <a:cxnLst/>
                <a:rect l="l" t="t" r="r" b="b"/>
                <a:pathLst>
                  <a:path w="12379" h="12379" extrusionOk="0">
                    <a:moveTo>
                      <a:pt x="6190" y="0"/>
                    </a:moveTo>
                    <a:cubicBezTo>
                      <a:pt x="2771" y="0"/>
                      <a:pt x="0" y="2771"/>
                      <a:pt x="0" y="6189"/>
                    </a:cubicBezTo>
                    <a:cubicBezTo>
                      <a:pt x="0" y="9608"/>
                      <a:pt x="2771" y="12379"/>
                      <a:pt x="6190" y="12379"/>
                    </a:cubicBezTo>
                    <a:cubicBezTo>
                      <a:pt x="9608" y="12379"/>
                      <a:pt x="12379" y="9608"/>
                      <a:pt x="12379" y="6189"/>
                    </a:cubicBezTo>
                    <a:cubicBezTo>
                      <a:pt x="12379" y="2771"/>
                      <a:pt x="9608" y="0"/>
                      <a:pt x="6190" y="0"/>
                    </a:cubicBezTo>
                    <a:close/>
                  </a:path>
                </a:pathLst>
              </a:custGeom>
              <a:solidFill>
                <a:srgbClr val="869FB2"/>
              </a:solidFill>
              <a:ln w="19050" cap="flat" cmpd="sng">
                <a:solidFill>
                  <a:srgbClr val="869FB2"/>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9189" name="Google Shape;9189;p108"/>
            <p:cNvGrpSpPr/>
            <p:nvPr/>
          </p:nvGrpSpPr>
          <p:grpSpPr>
            <a:xfrm>
              <a:off x="1786057" y="2882501"/>
              <a:ext cx="103104" cy="1426186"/>
              <a:chOff x="6006138" y="3143629"/>
              <a:chExt cx="122758" cy="1698043"/>
            </a:xfrm>
          </p:grpSpPr>
          <p:sp>
            <p:nvSpPr>
              <p:cNvPr id="9190" name="Google Shape;9190;p108"/>
              <p:cNvSpPr/>
              <p:nvPr/>
            </p:nvSpPr>
            <p:spPr>
              <a:xfrm>
                <a:off x="6006138" y="3143629"/>
                <a:ext cx="122758" cy="122748"/>
              </a:xfrm>
              <a:custGeom>
                <a:avLst/>
                <a:gdLst/>
                <a:ahLst/>
                <a:cxnLst/>
                <a:rect l="l" t="t" r="r" b="b"/>
                <a:pathLst>
                  <a:path w="12381" h="12380" extrusionOk="0">
                    <a:moveTo>
                      <a:pt x="6191" y="1"/>
                    </a:moveTo>
                    <a:cubicBezTo>
                      <a:pt x="2771" y="1"/>
                      <a:pt x="0" y="2772"/>
                      <a:pt x="0" y="6190"/>
                    </a:cubicBezTo>
                    <a:cubicBezTo>
                      <a:pt x="0" y="9608"/>
                      <a:pt x="2771" y="12379"/>
                      <a:pt x="6191" y="12379"/>
                    </a:cubicBezTo>
                    <a:cubicBezTo>
                      <a:pt x="9610" y="12379"/>
                      <a:pt x="12381" y="9608"/>
                      <a:pt x="12381" y="6190"/>
                    </a:cubicBezTo>
                    <a:cubicBezTo>
                      <a:pt x="12381" y="2772"/>
                      <a:pt x="9610" y="1"/>
                      <a:pt x="6191" y="1"/>
                    </a:cubicBezTo>
                    <a:close/>
                  </a:path>
                </a:pathLst>
              </a:custGeom>
              <a:noFill/>
              <a:ln w="9525" cap="flat" cmpd="sng">
                <a:solidFill>
                  <a:srgbClr val="CFD9E0"/>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9191" name="Google Shape;9191;p108"/>
              <p:cNvSpPr/>
              <p:nvPr/>
            </p:nvSpPr>
            <p:spPr>
              <a:xfrm>
                <a:off x="6006138" y="3406178"/>
                <a:ext cx="122758" cy="122758"/>
              </a:xfrm>
              <a:custGeom>
                <a:avLst/>
                <a:gdLst/>
                <a:ahLst/>
                <a:cxnLst/>
                <a:rect l="l" t="t" r="r" b="b"/>
                <a:pathLst>
                  <a:path w="12381" h="12381" extrusionOk="0">
                    <a:moveTo>
                      <a:pt x="6191" y="0"/>
                    </a:moveTo>
                    <a:cubicBezTo>
                      <a:pt x="2771" y="0"/>
                      <a:pt x="0" y="2771"/>
                      <a:pt x="0" y="6191"/>
                    </a:cubicBezTo>
                    <a:cubicBezTo>
                      <a:pt x="0" y="9610"/>
                      <a:pt x="2771" y="12381"/>
                      <a:pt x="6191" y="12381"/>
                    </a:cubicBezTo>
                    <a:cubicBezTo>
                      <a:pt x="9610" y="12381"/>
                      <a:pt x="12381" y="9610"/>
                      <a:pt x="12381" y="6191"/>
                    </a:cubicBezTo>
                    <a:cubicBezTo>
                      <a:pt x="12381" y="2771"/>
                      <a:pt x="9610" y="0"/>
                      <a:pt x="6191" y="0"/>
                    </a:cubicBezTo>
                    <a:close/>
                  </a:path>
                </a:pathLst>
              </a:custGeom>
              <a:noFill/>
              <a:ln w="9525" cap="flat" cmpd="sng">
                <a:solidFill>
                  <a:srgbClr val="CFD9E0"/>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9192" name="Google Shape;9192;p108"/>
              <p:cNvSpPr/>
              <p:nvPr/>
            </p:nvSpPr>
            <p:spPr>
              <a:xfrm>
                <a:off x="6006138" y="3668717"/>
                <a:ext cx="122738" cy="122768"/>
              </a:xfrm>
              <a:custGeom>
                <a:avLst/>
                <a:gdLst/>
                <a:ahLst/>
                <a:cxnLst/>
                <a:rect l="l" t="t" r="r" b="b"/>
                <a:pathLst>
                  <a:path w="12379" h="12382" extrusionOk="0">
                    <a:moveTo>
                      <a:pt x="6190" y="1"/>
                    </a:moveTo>
                    <a:cubicBezTo>
                      <a:pt x="2771" y="1"/>
                      <a:pt x="0" y="2774"/>
                      <a:pt x="0" y="6192"/>
                    </a:cubicBezTo>
                    <a:cubicBezTo>
                      <a:pt x="0" y="9610"/>
                      <a:pt x="2771" y="12381"/>
                      <a:pt x="6190" y="12381"/>
                    </a:cubicBezTo>
                    <a:cubicBezTo>
                      <a:pt x="9608" y="12381"/>
                      <a:pt x="12379" y="9610"/>
                      <a:pt x="12379" y="6192"/>
                    </a:cubicBezTo>
                    <a:cubicBezTo>
                      <a:pt x="12379" y="2774"/>
                      <a:pt x="9608" y="1"/>
                      <a:pt x="6190" y="1"/>
                    </a:cubicBezTo>
                    <a:close/>
                  </a:path>
                </a:pathLst>
              </a:custGeom>
              <a:noFill/>
              <a:ln w="9525" cap="flat" cmpd="sng">
                <a:solidFill>
                  <a:srgbClr val="CFD9E0"/>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9193" name="Google Shape;9193;p108"/>
              <p:cNvSpPr/>
              <p:nvPr/>
            </p:nvSpPr>
            <p:spPr>
              <a:xfrm>
                <a:off x="6006138" y="3931286"/>
                <a:ext cx="122738" cy="122738"/>
              </a:xfrm>
              <a:custGeom>
                <a:avLst/>
                <a:gdLst/>
                <a:ahLst/>
                <a:cxnLst/>
                <a:rect l="l" t="t" r="r" b="b"/>
                <a:pathLst>
                  <a:path w="12379" h="12379" extrusionOk="0">
                    <a:moveTo>
                      <a:pt x="6190" y="0"/>
                    </a:moveTo>
                    <a:cubicBezTo>
                      <a:pt x="2771" y="0"/>
                      <a:pt x="0" y="2771"/>
                      <a:pt x="0" y="6189"/>
                    </a:cubicBezTo>
                    <a:cubicBezTo>
                      <a:pt x="0" y="9608"/>
                      <a:pt x="2771" y="12379"/>
                      <a:pt x="6190" y="12379"/>
                    </a:cubicBezTo>
                    <a:cubicBezTo>
                      <a:pt x="9608" y="12379"/>
                      <a:pt x="12379" y="9608"/>
                      <a:pt x="12379" y="6189"/>
                    </a:cubicBezTo>
                    <a:cubicBezTo>
                      <a:pt x="12379" y="2771"/>
                      <a:pt x="9608" y="0"/>
                      <a:pt x="6190" y="0"/>
                    </a:cubicBezTo>
                    <a:close/>
                  </a:path>
                </a:pathLst>
              </a:custGeom>
              <a:solidFill>
                <a:srgbClr val="869FB2"/>
              </a:solidFill>
              <a:ln w="19050" cap="flat" cmpd="sng">
                <a:solidFill>
                  <a:srgbClr val="869FB2"/>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9194" name="Google Shape;9194;p108"/>
              <p:cNvSpPr/>
              <p:nvPr/>
            </p:nvSpPr>
            <p:spPr>
              <a:xfrm>
                <a:off x="6006138" y="4193825"/>
                <a:ext cx="122738" cy="122748"/>
              </a:xfrm>
              <a:custGeom>
                <a:avLst/>
                <a:gdLst/>
                <a:ahLst/>
                <a:cxnLst/>
                <a:rect l="l" t="t" r="r" b="b"/>
                <a:pathLst>
                  <a:path w="12379" h="12380" extrusionOk="0">
                    <a:moveTo>
                      <a:pt x="6190" y="1"/>
                    </a:moveTo>
                    <a:cubicBezTo>
                      <a:pt x="2771" y="1"/>
                      <a:pt x="0" y="2772"/>
                      <a:pt x="0" y="6190"/>
                    </a:cubicBezTo>
                    <a:cubicBezTo>
                      <a:pt x="0" y="9608"/>
                      <a:pt x="2771" y="12379"/>
                      <a:pt x="6190" y="12379"/>
                    </a:cubicBezTo>
                    <a:cubicBezTo>
                      <a:pt x="9608" y="12379"/>
                      <a:pt x="12379" y="9608"/>
                      <a:pt x="12379" y="6190"/>
                    </a:cubicBezTo>
                    <a:cubicBezTo>
                      <a:pt x="12379" y="2772"/>
                      <a:pt x="9608" y="1"/>
                      <a:pt x="6190" y="1"/>
                    </a:cubicBezTo>
                    <a:close/>
                  </a:path>
                </a:pathLst>
              </a:custGeom>
              <a:solidFill>
                <a:srgbClr val="869FB2"/>
              </a:solidFill>
              <a:ln w="19050" cap="flat" cmpd="sng">
                <a:solidFill>
                  <a:srgbClr val="869FB2"/>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9195" name="Google Shape;9195;p108"/>
              <p:cNvSpPr/>
              <p:nvPr/>
            </p:nvSpPr>
            <p:spPr>
              <a:xfrm>
                <a:off x="6006138" y="4456375"/>
                <a:ext cx="122738" cy="122758"/>
              </a:xfrm>
              <a:custGeom>
                <a:avLst/>
                <a:gdLst/>
                <a:ahLst/>
                <a:cxnLst/>
                <a:rect l="l" t="t" r="r" b="b"/>
                <a:pathLst>
                  <a:path w="12379" h="12381" extrusionOk="0">
                    <a:moveTo>
                      <a:pt x="6190" y="0"/>
                    </a:moveTo>
                    <a:cubicBezTo>
                      <a:pt x="2771" y="0"/>
                      <a:pt x="0" y="2771"/>
                      <a:pt x="0" y="6191"/>
                    </a:cubicBezTo>
                    <a:cubicBezTo>
                      <a:pt x="0" y="9609"/>
                      <a:pt x="2771" y="12380"/>
                      <a:pt x="6190" y="12380"/>
                    </a:cubicBezTo>
                    <a:cubicBezTo>
                      <a:pt x="9608" y="12380"/>
                      <a:pt x="12379" y="9609"/>
                      <a:pt x="12379" y="6191"/>
                    </a:cubicBezTo>
                    <a:cubicBezTo>
                      <a:pt x="12379" y="2771"/>
                      <a:pt x="9608" y="0"/>
                      <a:pt x="6190" y="0"/>
                    </a:cubicBezTo>
                    <a:close/>
                  </a:path>
                </a:pathLst>
              </a:custGeom>
              <a:solidFill>
                <a:srgbClr val="869FB2"/>
              </a:solidFill>
              <a:ln w="19050" cap="flat" cmpd="sng">
                <a:solidFill>
                  <a:srgbClr val="869FB2"/>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9196" name="Google Shape;9196;p108"/>
              <p:cNvSpPr/>
              <p:nvPr/>
            </p:nvSpPr>
            <p:spPr>
              <a:xfrm>
                <a:off x="6006138" y="4718934"/>
                <a:ext cx="122738" cy="122738"/>
              </a:xfrm>
              <a:custGeom>
                <a:avLst/>
                <a:gdLst/>
                <a:ahLst/>
                <a:cxnLst/>
                <a:rect l="l" t="t" r="r" b="b"/>
                <a:pathLst>
                  <a:path w="12379" h="12379" extrusionOk="0">
                    <a:moveTo>
                      <a:pt x="6190" y="0"/>
                    </a:moveTo>
                    <a:cubicBezTo>
                      <a:pt x="2771" y="0"/>
                      <a:pt x="0" y="2771"/>
                      <a:pt x="0" y="6189"/>
                    </a:cubicBezTo>
                    <a:cubicBezTo>
                      <a:pt x="0" y="9608"/>
                      <a:pt x="2771" y="12379"/>
                      <a:pt x="6190" y="12379"/>
                    </a:cubicBezTo>
                    <a:cubicBezTo>
                      <a:pt x="9608" y="12379"/>
                      <a:pt x="12379" y="9608"/>
                      <a:pt x="12379" y="6189"/>
                    </a:cubicBezTo>
                    <a:cubicBezTo>
                      <a:pt x="12379" y="2771"/>
                      <a:pt x="9608" y="0"/>
                      <a:pt x="6190" y="0"/>
                    </a:cubicBezTo>
                    <a:close/>
                  </a:path>
                </a:pathLst>
              </a:custGeom>
              <a:solidFill>
                <a:srgbClr val="869FB2"/>
              </a:solidFill>
              <a:ln w="19050" cap="flat" cmpd="sng">
                <a:solidFill>
                  <a:srgbClr val="869FB2"/>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9197" name="Google Shape;9197;p108"/>
            <p:cNvGrpSpPr/>
            <p:nvPr/>
          </p:nvGrpSpPr>
          <p:grpSpPr>
            <a:xfrm>
              <a:off x="2029422" y="2882501"/>
              <a:ext cx="103104" cy="1426186"/>
              <a:chOff x="6805413" y="3100904"/>
              <a:chExt cx="122758" cy="1698043"/>
            </a:xfrm>
          </p:grpSpPr>
          <p:sp>
            <p:nvSpPr>
              <p:cNvPr id="9198" name="Google Shape;9198;p108"/>
              <p:cNvSpPr/>
              <p:nvPr/>
            </p:nvSpPr>
            <p:spPr>
              <a:xfrm>
                <a:off x="6805413" y="3100904"/>
                <a:ext cx="122758" cy="122748"/>
              </a:xfrm>
              <a:custGeom>
                <a:avLst/>
                <a:gdLst/>
                <a:ahLst/>
                <a:cxnLst/>
                <a:rect l="l" t="t" r="r" b="b"/>
                <a:pathLst>
                  <a:path w="12381" h="12380" extrusionOk="0">
                    <a:moveTo>
                      <a:pt x="6191" y="1"/>
                    </a:moveTo>
                    <a:cubicBezTo>
                      <a:pt x="2771" y="1"/>
                      <a:pt x="0" y="2772"/>
                      <a:pt x="0" y="6190"/>
                    </a:cubicBezTo>
                    <a:cubicBezTo>
                      <a:pt x="0" y="9608"/>
                      <a:pt x="2771" y="12379"/>
                      <a:pt x="6191" y="12379"/>
                    </a:cubicBezTo>
                    <a:cubicBezTo>
                      <a:pt x="9610" y="12379"/>
                      <a:pt x="12381" y="9608"/>
                      <a:pt x="12381" y="6190"/>
                    </a:cubicBezTo>
                    <a:cubicBezTo>
                      <a:pt x="12381" y="2772"/>
                      <a:pt x="9610" y="1"/>
                      <a:pt x="6191" y="1"/>
                    </a:cubicBezTo>
                    <a:close/>
                  </a:path>
                </a:pathLst>
              </a:custGeom>
              <a:noFill/>
              <a:ln w="9525" cap="flat" cmpd="sng">
                <a:solidFill>
                  <a:srgbClr val="CFD9E0"/>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9199" name="Google Shape;9199;p108"/>
              <p:cNvSpPr/>
              <p:nvPr/>
            </p:nvSpPr>
            <p:spPr>
              <a:xfrm>
                <a:off x="6805413" y="3363453"/>
                <a:ext cx="122758" cy="122758"/>
              </a:xfrm>
              <a:custGeom>
                <a:avLst/>
                <a:gdLst/>
                <a:ahLst/>
                <a:cxnLst/>
                <a:rect l="l" t="t" r="r" b="b"/>
                <a:pathLst>
                  <a:path w="12381" h="12381" extrusionOk="0">
                    <a:moveTo>
                      <a:pt x="6191" y="0"/>
                    </a:moveTo>
                    <a:cubicBezTo>
                      <a:pt x="2771" y="0"/>
                      <a:pt x="0" y="2771"/>
                      <a:pt x="0" y="6191"/>
                    </a:cubicBezTo>
                    <a:cubicBezTo>
                      <a:pt x="0" y="9610"/>
                      <a:pt x="2771" y="12381"/>
                      <a:pt x="6191" y="12381"/>
                    </a:cubicBezTo>
                    <a:cubicBezTo>
                      <a:pt x="9610" y="12381"/>
                      <a:pt x="12381" y="9610"/>
                      <a:pt x="12381" y="6191"/>
                    </a:cubicBezTo>
                    <a:cubicBezTo>
                      <a:pt x="12381" y="2771"/>
                      <a:pt x="9610" y="0"/>
                      <a:pt x="6191" y="0"/>
                    </a:cubicBezTo>
                    <a:close/>
                  </a:path>
                </a:pathLst>
              </a:custGeom>
              <a:noFill/>
              <a:ln w="9525" cap="flat" cmpd="sng">
                <a:solidFill>
                  <a:srgbClr val="CFD9E0"/>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9200" name="Google Shape;9200;p108"/>
              <p:cNvSpPr/>
              <p:nvPr/>
            </p:nvSpPr>
            <p:spPr>
              <a:xfrm>
                <a:off x="6805413" y="3625992"/>
                <a:ext cx="122738" cy="122768"/>
              </a:xfrm>
              <a:custGeom>
                <a:avLst/>
                <a:gdLst/>
                <a:ahLst/>
                <a:cxnLst/>
                <a:rect l="l" t="t" r="r" b="b"/>
                <a:pathLst>
                  <a:path w="12379" h="12382" extrusionOk="0">
                    <a:moveTo>
                      <a:pt x="6190" y="1"/>
                    </a:moveTo>
                    <a:cubicBezTo>
                      <a:pt x="2771" y="1"/>
                      <a:pt x="0" y="2774"/>
                      <a:pt x="0" y="6192"/>
                    </a:cubicBezTo>
                    <a:cubicBezTo>
                      <a:pt x="0" y="9610"/>
                      <a:pt x="2771" y="12381"/>
                      <a:pt x="6190" y="12381"/>
                    </a:cubicBezTo>
                    <a:cubicBezTo>
                      <a:pt x="9608" y="12381"/>
                      <a:pt x="12379" y="9610"/>
                      <a:pt x="12379" y="6192"/>
                    </a:cubicBezTo>
                    <a:cubicBezTo>
                      <a:pt x="12379" y="2774"/>
                      <a:pt x="9608" y="1"/>
                      <a:pt x="6190" y="1"/>
                    </a:cubicBezTo>
                    <a:close/>
                  </a:path>
                </a:pathLst>
              </a:custGeom>
              <a:noFill/>
              <a:ln w="9525" cap="flat" cmpd="sng">
                <a:solidFill>
                  <a:srgbClr val="CFD9E0"/>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9201" name="Google Shape;9201;p108"/>
              <p:cNvSpPr/>
              <p:nvPr/>
            </p:nvSpPr>
            <p:spPr>
              <a:xfrm>
                <a:off x="6805413" y="3888561"/>
                <a:ext cx="122738" cy="122738"/>
              </a:xfrm>
              <a:custGeom>
                <a:avLst/>
                <a:gdLst/>
                <a:ahLst/>
                <a:cxnLst/>
                <a:rect l="l" t="t" r="r" b="b"/>
                <a:pathLst>
                  <a:path w="12379" h="12379" extrusionOk="0">
                    <a:moveTo>
                      <a:pt x="6190" y="0"/>
                    </a:moveTo>
                    <a:cubicBezTo>
                      <a:pt x="2771" y="0"/>
                      <a:pt x="0" y="2771"/>
                      <a:pt x="0" y="6189"/>
                    </a:cubicBezTo>
                    <a:cubicBezTo>
                      <a:pt x="0" y="9608"/>
                      <a:pt x="2771" y="12379"/>
                      <a:pt x="6190" y="12379"/>
                    </a:cubicBezTo>
                    <a:cubicBezTo>
                      <a:pt x="9608" y="12379"/>
                      <a:pt x="12379" y="9608"/>
                      <a:pt x="12379" y="6189"/>
                    </a:cubicBezTo>
                    <a:cubicBezTo>
                      <a:pt x="12379" y="2771"/>
                      <a:pt x="9608" y="0"/>
                      <a:pt x="6190" y="0"/>
                    </a:cubicBezTo>
                    <a:close/>
                  </a:path>
                </a:pathLst>
              </a:custGeom>
              <a:noFill/>
              <a:ln w="9525" cap="flat" cmpd="sng">
                <a:solidFill>
                  <a:srgbClr val="CFD9E0"/>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9202" name="Google Shape;9202;p108"/>
              <p:cNvSpPr/>
              <p:nvPr/>
            </p:nvSpPr>
            <p:spPr>
              <a:xfrm>
                <a:off x="6805413" y="4151100"/>
                <a:ext cx="122738" cy="122748"/>
              </a:xfrm>
              <a:custGeom>
                <a:avLst/>
                <a:gdLst/>
                <a:ahLst/>
                <a:cxnLst/>
                <a:rect l="l" t="t" r="r" b="b"/>
                <a:pathLst>
                  <a:path w="12379" h="12380" extrusionOk="0">
                    <a:moveTo>
                      <a:pt x="6190" y="1"/>
                    </a:moveTo>
                    <a:cubicBezTo>
                      <a:pt x="2771" y="1"/>
                      <a:pt x="0" y="2772"/>
                      <a:pt x="0" y="6190"/>
                    </a:cubicBezTo>
                    <a:cubicBezTo>
                      <a:pt x="0" y="9608"/>
                      <a:pt x="2771" y="12379"/>
                      <a:pt x="6190" y="12379"/>
                    </a:cubicBezTo>
                    <a:cubicBezTo>
                      <a:pt x="9608" y="12379"/>
                      <a:pt x="12379" y="9608"/>
                      <a:pt x="12379" y="6190"/>
                    </a:cubicBezTo>
                    <a:cubicBezTo>
                      <a:pt x="12379" y="2772"/>
                      <a:pt x="9608" y="1"/>
                      <a:pt x="6190" y="1"/>
                    </a:cubicBezTo>
                    <a:close/>
                  </a:path>
                </a:pathLst>
              </a:custGeom>
              <a:noFill/>
              <a:ln w="9525" cap="flat" cmpd="sng">
                <a:solidFill>
                  <a:srgbClr val="CFD9E0"/>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9203" name="Google Shape;9203;p108"/>
              <p:cNvSpPr/>
              <p:nvPr/>
            </p:nvSpPr>
            <p:spPr>
              <a:xfrm>
                <a:off x="6805413" y="4413650"/>
                <a:ext cx="122738" cy="122758"/>
              </a:xfrm>
              <a:custGeom>
                <a:avLst/>
                <a:gdLst/>
                <a:ahLst/>
                <a:cxnLst/>
                <a:rect l="l" t="t" r="r" b="b"/>
                <a:pathLst>
                  <a:path w="12379" h="12381" extrusionOk="0">
                    <a:moveTo>
                      <a:pt x="6190" y="0"/>
                    </a:moveTo>
                    <a:cubicBezTo>
                      <a:pt x="2771" y="0"/>
                      <a:pt x="0" y="2771"/>
                      <a:pt x="0" y="6191"/>
                    </a:cubicBezTo>
                    <a:cubicBezTo>
                      <a:pt x="0" y="9609"/>
                      <a:pt x="2771" y="12380"/>
                      <a:pt x="6190" y="12380"/>
                    </a:cubicBezTo>
                    <a:cubicBezTo>
                      <a:pt x="9608" y="12380"/>
                      <a:pt x="12379" y="9609"/>
                      <a:pt x="12379" y="6191"/>
                    </a:cubicBezTo>
                    <a:cubicBezTo>
                      <a:pt x="12379" y="2771"/>
                      <a:pt x="9608" y="0"/>
                      <a:pt x="6190" y="0"/>
                    </a:cubicBezTo>
                    <a:close/>
                  </a:path>
                </a:pathLst>
              </a:custGeom>
              <a:noFill/>
              <a:ln w="9525" cap="flat" cmpd="sng">
                <a:solidFill>
                  <a:srgbClr val="CFD9E0"/>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9204" name="Google Shape;9204;p108"/>
              <p:cNvSpPr/>
              <p:nvPr/>
            </p:nvSpPr>
            <p:spPr>
              <a:xfrm>
                <a:off x="6805413" y="4676209"/>
                <a:ext cx="122738" cy="122738"/>
              </a:xfrm>
              <a:custGeom>
                <a:avLst/>
                <a:gdLst/>
                <a:ahLst/>
                <a:cxnLst/>
                <a:rect l="l" t="t" r="r" b="b"/>
                <a:pathLst>
                  <a:path w="12379" h="12379" extrusionOk="0">
                    <a:moveTo>
                      <a:pt x="6190" y="0"/>
                    </a:moveTo>
                    <a:cubicBezTo>
                      <a:pt x="2771" y="0"/>
                      <a:pt x="0" y="2771"/>
                      <a:pt x="0" y="6189"/>
                    </a:cubicBezTo>
                    <a:cubicBezTo>
                      <a:pt x="0" y="9608"/>
                      <a:pt x="2771" y="12379"/>
                      <a:pt x="6190" y="12379"/>
                    </a:cubicBezTo>
                    <a:cubicBezTo>
                      <a:pt x="9608" y="12379"/>
                      <a:pt x="12379" y="9608"/>
                      <a:pt x="12379" y="6189"/>
                    </a:cubicBezTo>
                    <a:cubicBezTo>
                      <a:pt x="12379" y="2771"/>
                      <a:pt x="9608" y="0"/>
                      <a:pt x="6190" y="0"/>
                    </a:cubicBezTo>
                    <a:close/>
                  </a:path>
                </a:pathLst>
              </a:custGeom>
              <a:solidFill>
                <a:srgbClr val="869FB2"/>
              </a:solidFill>
              <a:ln w="19050" cap="flat" cmpd="sng">
                <a:solidFill>
                  <a:srgbClr val="869FB2"/>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9205" name="Google Shape;9205;p108"/>
            <p:cNvGrpSpPr/>
            <p:nvPr/>
          </p:nvGrpSpPr>
          <p:grpSpPr>
            <a:xfrm>
              <a:off x="727421" y="2828315"/>
              <a:ext cx="1695374" cy="1560837"/>
              <a:chOff x="734799" y="2782450"/>
              <a:chExt cx="1571100" cy="1577400"/>
            </a:xfrm>
          </p:grpSpPr>
          <p:cxnSp>
            <p:nvCxnSpPr>
              <p:cNvPr id="9206" name="Google Shape;9206;p108"/>
              <p:cNvCxnSpPr/>
              <p:nvPr/>
            </p:nvCxnSpPr>
            <p:spPr>
              <a:xfrm>
                <a:off x="743025" y="2782450"/>
                <a:ext cx="0" cy="1577400"/>
              </a:xfrm>
              <a:prstGeom prst="straightConnector1">
                <a:avLst/>
              </a:prstGeom>
              <a:noFill/>
              <a:ln w="19050" cap="flat" cmpd="sng">
                <a:solidFill>
                  <a:srgbClr val="E3E7EA"/>
                </a:solidFill>
                <a:prstDash val="solid"/>
                <a:round/>
                <a:headEnd type="none" w="med" len="med"/>
                <a:tailEnd type="none" w="med" len="med"/>
              </a:ln>
            </p:spPr>
          </p:cxnSp>
          <p:cxnSp>
            <p:nvCxnSpPr>
              <p:cNvPr id="9207" name="Google Shape;9207;p108"/>
              <p:cNvCxnSpPr/>
              <p:nvPr/>
            </p:nvCxnSpPr>
            <p:spPr>
              <a:xfrm rot="10800000">
                <a:off x="734799" y="4359850"/>
                <a:ext cx="1571100" cy="0"/>
              </a:xfrm>
              <a:prstGeom prst="straightConnector1">
                <a:avLst/>
              </a:prstGeom>
              <a:noFill/>
              <a:ln w="19050" cap="flat" cmpd="sng">
                <a:solidFill>
                  <a:srgbClr val="E3E7EA"/>
                </a:solidFill>
                <a:prstDash val="solid"/>
                <a:round/>
                <a:headEnd type="none" w="med" len="med"/>
                <a:tailEnd type="none" w="med" len="med"/>
              </a:ln>
            </p:spPr>
          </p:cxnSp>
        </p:grpSp>
        <p:grpSp>
          <p:nvGrpSpPr>
            <p:cNvPr id="9208" name="Google Shape;9208;p108"/>
            <p:cNvGrpSpPr/>
            <p:nvPr/>
          </p:nvGrpSpPr>
          <p:grpSpPr>
            <a:xfrm>
              <a:off x="2272795" y="2882501"/>
              <a:ext cx="103104" cy="1426186"/>
              <a:chOff x="5206863" y="3100904"/>
              <a:chExt cx="122758" cy="1698043"/>
            </a:xfrm>
          </p:grpSpPr>
          <p:sp>
            <p:nvSpPr>
              <p:cNvPr id="9209" name="Google Shape;9209;p108"/>
              <p:cNvSpPr/>
              <p:nvPr/>
            </p:nvSpPr>
            <p:spPr>
              <a:xfrm>
                <a:off x="5206863" y="3100904"/>
                <a:ext cx="122758" cy="122748"/>
              </a:xfrm>
              <a:custGeom>
                <a:avLst/>
                <a:gdLst/>
                <a:ahLst/>
                <a:cxnLst/>
                <a:rect l="l" t="t" r="r" b="b"/>
                <a:pathLst>
                  <a:path w="12381" h="12380" extrusionOk="0">
                    <a:moveTo>
                      <a:pt x="6191" y="1"/>
                    </a:moveTo>
                    <a:cubicBezTo>
                      <a:pt x="2771" y="1"/>
                      <a:pt x="0" y="2772"/>
                      <a:pt x="0" y="6190"/>
                    </a:cubicBezTo>
                    <a:cubicBezTo>
                      <a:pt x="0" y="9608"/>
                      <a:pt x="2771" y="12379"/>
                      <a:pt x="6191" y="12379"/>
                    </a:cubicBezTo>
                    <a:cubicBezTo>
                      <a:pt x="9610" y="12379"/>
                      <a:pt x="12381" y="9608"/>
                      <a:pt x="12381" y="6190"/>
                    </a:cubicBezTo>
                    <a:cubicBezTo>
                      <a:pt x="12381" y="2772"/>
                      <a:pt x="9610" y="1"/>
                      <a:pt x="6191" y="1"/>
                    </a:cubicBezTo>
                    <a:close/>
                  </a:path>
                </a:pathLst>
              </a:custGeom>
              <a:noFill/>
              <a:ln w="9525" cap="flat" cmpd="sng">
                <a:solidFill>
                  <a:srgbClr val="CFD9E0"/>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9210" name="Google Shape;9210;p108"/>
              <p:cNvSpPr/>
              <p:nvPr/>
            </p:nvSpPr>
            <p:spPr>
              <a:xfrm>
                <a:off x="5206863" y="3363453"/>
                <a:ext cx="122758" cy="122758"/>
              </a:xfrm>
              <a:custGeom>
                <a:avLst/>
                <a:gdLst/>
                <a:ahLst/>
                <a:cxnLst/>
                <a:rect l="l" t="t" r="r" b="b"/>
                <a:pathLst>
                  <a:path w="12381" h="12381" extrusionOk="0">
                    <a:moveTo>
                      <a:pt x="6191" y="0"/>
                    </a:moveTo>
                    <a:cubicBezTo>
                      <a:pt x="2771" y="0"/>
                      <a:pt x="0" y="2771"/>
                      <a:pt x="0" y="6191"/>
                    </a:cubicBezTo>
                    <a:cubicBezTo>
                      <a:pt x="0" y="9610"/>
                      <a:pt x="2771" y="12381"/>
                      <a:pt x="6191" y="12381"/>
                    </a:cubicBezTo>
                    <a:cubicBezTo>
                      <a:pt x="9610" y="12381"/>
                      <a:pt x="12381" y="9610"/>
                      <a:pt x="12381" y="6191"/>
                    </a:cubicBezTo>
                    <a:cubicBezTo>
                      <a:pt x="12381" y="2771"/>
                      <a:pt x="9610" y="0"/>
                      <a:pt x="6191" y="0"/>
                    </a:cubicBezTo>
                    <a:close/>
                  </a:path>
                </a:pathLst>
              </a:custGeom>
              <a:noFill/>
              <a:ln w="9525" cap="flat" cmpd="sng">
                <a:solidFill>
                  <a:srgbClr val="CFD9E0"/>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9211" name="Google Shape;9211;p108"/>
              <p:cNvSpPr/>
              <p:nvPr/>
            </p:nvSpPr>
            <p:spPr>
              <a:xfrm>
                <a:off x="5206863" y="3625992"/>
                <a:ext cx="122738" cy="122768"/>
              </a:xfrm>
              <a:custGeom>
                <a:avLst/>
                <a:gdLst/>
                <a:ahLst/>
                <a:cxnLst/>
                <a:rect l="l" t="t" r="r" b="b"/>
                <a:pathLst>
                  <a:path w="12379" h="12382" extrusionOk="0">
                    <a:moveTo>
                      <a:pt x="6190" y="1"/>
                    </a:moveTo>
                    <a:cubicBezTo>
                      <a:pt x="2771" y="1"/>
                      <a:pt x="0" y="2774"/>
                      <a:pt x="0" y="6192"/>
                    </a:cubicBezTo>
                    <a:cubicBezTo>
                      <a:pt x="0" y="9610"/>
                      <a:pt x="2771" y="12381"/>
                      <a:pt x="6190" y="12381"/>
                    </a:cubicBezTo>
                    <a:cubicBezTo>
                      <a:pt x="9608" y="12381"/>
                      <a:pt x="12379" y="9610"/>
                      <a:pt x="12379" y="6192"/>
                    </a:cubicBezTo>
                    <a:cubicBezTo>
                      <a:pt x="12379" y="2774"/>
                      <a:pt x="9608" y="1"/>
                      <a:pt x="6190" y="1"/>
                    </a:cubicBezTo>
                    <a:close/>
                  </a:path>
                </a:pathLst>
              </a:custGeom>
              <a:noFill/>
              <a:ln w="9525" cap="flat" cmpd="sng">
                <a:solidFill>
                  <a:srgbClr val="CFD9E0"/>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9212" name="Google Shape;9212;p108"/>
              <p:cNvSpPr/>
              <p:nvPr/>
            </p:nvSpPr>
            <p:spPr>
              <a:xfrm>
                <a:off x="5206863" y="3888561"/>
                <a:ext cx="122738" cy="122738"/>
              </a:xfrm>
              <a:custGeom>
                <a:avLst/>
                <a:gdLst/>
                <a:ahLst/>
                <a:cxnLst/>
                <a:rect l="l" t="t" r="r" b="b"/>
                <a:pathLst>
                  <a:path w="12379" h="12379" extrusionOk="0">
                    <a:moveTo>
                      <a:pt x="6190" y="0"/>
                    </a:moveTo>
                    <a:cubicBezTo>
                      <a:pt x="2771" y="0"/>
                      <a:pt x="0" y="2771"/>
                      <a:pt x="0" y="6189"/>
                    </a:cubicBezTo>
                    <a:cubicBezTo>
                      <a:pt x="0" y="9608"/>
                      <a:pt x="2771" y="12379"/>
                      <a:pt x="6190" y="12379"/>
                    </a:cubicBezTo>
                    <a:cubicBezTo>
                      <a:pt x="9608" y="12379"/>
                      <a:pt x="12379" y="9608"/>
                      <a:pt x="12379" y="6189"/>
                    </a:cubicBezTo>
                    <a:cubicBezTo>
                      <a:pt x="12379" y="2771"/>
                      <a:pt x="9608" y="0"/>
                      <a:pt x="6190" y="0"/>
                    </a:cubicBezTo>
                    <a:close/>
                  </a:path>
                </a:pathLst>
              </a:custGeom>
              <a:noFill/>
              <a:ln w="9525" cap="flat" cmpd="sng">
                <a:solidFill>
                  <a:srgbClr val="CFD9E0"/>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9213" name="Google Shape;9213;p108"/>
              <p:cNvSpPr/>
              <p:nvPr/>
            </p:nvSpPr>
            <p:spPr>
              <a:xfrm>
                <a:off x="5206863" y="4151100"/>
                <a:ext cx="122738" cy="122748"/>
              </a:xfrm>
              <a:custGeom>
                <a:avLst/>
                <a:gdLst/>
                <a:ahLst/>
                <a:cxnLst/>
                <a:rect l="l" t="t" r="r" b="b"/>
                <a:pathLst>
                  <a:path w="12379" h="12380" extrusionOk="0">
                    <a:moveTo>
                      <a:pt x="6190" y="1"/>
                    </a:moveTo>
                    <a:cubicBezTo>
                      <a:pt x="2771" y="1"/>
                      <a:pt x="0" y="2772"/>
                      <a:pt x="0" y="6190"/>
                    </a:cubicBezTo>
                    <a:cubicBezTo>
                      <a:pt x="0" y="9608"/>
                      <a:pt x="2771" y="12379"/>
                      <a:pt x="6190" y="12379"/>
                    </a:cubicBezTo>
                    <a:cubicBezTo>
                      <a:pt x="9608" y="12379"/>
                      <a:pt x="12379" y="9608"/>
                      <a:pt x="12379" y="6190"/>
                    </a:cubicBezTo>
                    <a:cubicBezTo>
                      <a:pt x="12379" y="2772"/>
                      <a:pt x="9608" y="1"/>
                      <a:pt x="6190" y="1"/>
                    </a:cubicBezTo>
                    <a:close/>
                  </a:path>
                </a:pathLst>
              </a:custGeom>
              <a:noFill/>
              <a:ln w="9525" cap="flat" cmpd="sng">
                <a:solidFill>
                  <a:srgbClr val="CFD9E0"/>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9214" name="Google Shape;9214;p108"/>
              <p:cNvSpPr/>
              <p:nvPr/>
            </p:nvSpPr>
            <p:spPr>
              <a:xfrm>
                <a:off x="5206863" y="4413650"/>
                <a:ext cx="122738" cy="122758"/>
              </a:xfrm>
              <a:custGeom>
                <a:avLst/>
                <a:gdLst/>
                <a:ahLst/>
                <a:cxnLst/>
                <a:rect l="l" t="t" r="r" b="b"/>
                <a:pathLst>
                  <a:path w="12379" h="12381" extrusionOk="0">
                    <a:moveTo>
                      <a:pt x="6190" y="0"/>
                    </a:moveTo>
                    <a:cubicBezTo>
                      <a:pt x="2771" y="0"/>
                      <a:pt x="0" y="2771"/>
                      <a:pt x="0" y="6191"/>
                    </a:cubicBezTo>
                    <a:cubicBezTo>
                      <a:pt x="0" y="9609"/>
                      <a:pt x="2771" y="12380"/>
                      <a:pt x="6190" y="12380"/>
                    </a:cubicBezTo>
                    <a:cubicBezTo>
                      <a:pt x="9608" y="12380"/>
                      <a:pt x="12379" y="9609"/>
                      <a:pt x="12379" y="6191"/>
                    </a:cubicBezTo>
                    <a:cubicBezTo>
                      <a:pt x="12379" y="2771"/>
                      <a:pt x="9608" y="0"/>
                      <a:pt x="6190" y="0"/>
                    </a:cubicBezTo>
                    <a:close/>
                  </a:path>
                </a:pathLst>
              </a:custGeom>
              <a:solidFill>
                <a:srgbClr val="869FB2"/>
              </a:solidFill>
              <a:ln w="19050" cap="flat" cmpd="sng">
                <a:solidFill>
                  <a:srgbClr val="869FB2"/>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9215" name="Google Shape;9215;p108"/>
              <p:cNvSpPr/>
              <p:nvPr/>
            </p:nvSpPr>
            <p:spPr>
              <a:xfrm>
                <a:off x="5206863" y="4676209"/>
                <a:ext cx="122738" cy="122738"/>
              </a:xfrm>
              <a:custGeom>
                <a:avLst/>
                <a:gdLst/>
                <a:ahLst/>
                <a:cxnLst/>
                <a:rect l="l" t="t" r="r" b="b"/>
                <a:pathLst>
                  <a:path w="12379" h="12379" extrusionOk="0">
                    <a:moveTo>
                      <a:pt x="6190" y="0"/>
                    </a:moveTo>
                    <a:cubicBezTo>
                      <a:pt x="2771" y="0"/>
                      <a:pt x="0" y="2771"/>
                      <a:pt x="0" y="6189"/>
                    </a:cubicBezTo>
                    <a:cubicBezTo>
                      <a:pt x="0" y="9608"/>
                      <a:pt x="2771" y="12379"/>
                      <a:pt x="6190" y="12379"/>
                    </a:cubicBezTo>
                    <a:cubicBezTo>
                      <a:pt x="9608" y="12379"/>
                      <a:pt x="12379" y="9608"/>
                      <a:pt x="12379" y="6189"/>
                    </a:cubicBezTo>
                    <a:cubicBezTo>
                      <a:pt x="12379" y="2771"/>
                      <a:pt x="9608" y="0"/>
                      <a:pt x="6190" y="0"/>
                    </a:cubicBezTo>
                    <a:close/>
                  </a:path>
                </a:pathLst>
              </a:custGeom>
              <a:solidFill>
                <a:srgbClr val="869FB2"/>
              </a:solidFill>
              <a:ln w="19050" cap="flat" cmpd="sng">
                <a:solidFill>
                  <a:srgbClr val="869FB2"/>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9216" name="Google Shape;9216;p108"/>
            <p:cNvGrpSpPr/>
            <p:nvPr/>
          </p:nvGrpSpPr>
          <p:grpSpPr>
            <a:xfrm>
              <a:off x="1542694" y="2882501"/>
              <a:ext cx="103104" cy="1426186"/>
              <a:chOff x="6006138" y="3143629"/>
              <a:chExt cx="122758" cy="1698043"/>
            </a:xfrm>
          </p:grpSpPr>
          <p:sp>
            <p:nvSpPr>
              <p:cNvPr id="9217" name="Google Shape;9217;p108"/>
              <p:cNvSpPr/>
              <p:nvPr/>
            </p:nvSpPr>
            <p:spPr>
              <a:xfrm>
                <a:off x="6006138" y="3143629"/>
                <a:ext cx="122758" cy="122748"/>
              </a:xfrm>
              <a:custGeom>
                <a:avLst/>
                <a:gdLst/>
                <a:ahLst/>
                <a:cxnLst/>
                <a:rect l="l" t="t" r="r" b="b"/>
                <a:pathLst>
                  <a:path w="12381" h="12380" extrusionOk="0">
                    <a:moveTo>
                      <a:pt x="6191" y="1"/>
                    </a:moveTo>
                    <a:cubicBezTo>
                      <a:pt x="2771" y="1"/>
                      <a:pt x="0" y="2772"/>
                      <a:pt x="0" y="6190"/>
                    </a:cubicBezTo>
                    <a:cubicBezTo>
                      <a:pt x="0" y="9608"/>
                      <a:pt x="2771" y="12379"/>
                      <a:pt x="6191" y="12379"/>
                    </a:cubicBezTo>
                    <a:cubicBezTo>
                      <a:pt x="9610" y="12379"/>
                      <a:pt x="12381" y="9608"/>
                      <a:pt x="12381" y="6190"/>
                    </a:cubicBezTo>
                    <a:cubicBezTo>
                      <a:pt x="12381" y="2772"/>
                      <a:pt x="9610" y="1"/>
                      <a:pt x="6191" y="1"/>
                    </a:cubicBezTo>
                    <a:close/>
                  </a:path>
                </a:pathLst>
              </a:custGeom>
              <a:noFill/>
              <a:ln w="9525" cap="flat" cmpd="sng">
                <a:solidFill>
                  <a:srgbClr val="CFD9E0"/>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9218" name="Google Shape;9218;p108"/>
              <p:cNvSpPr/>
              <p:nvPr/>
            </p:nvSpPr>
            <p:spPr>
              <a:xfrm>
                <a:off x="6006138" y="3406178"/>
                <a:ext cx="122758" cy="122758"/>
              </a:xfrm>
              <a:custGeom>
                <a:avLst/>
                <a:gdLst/>
                <a:ahLst/>
                <a:cxnLst/>
                <a:rect l="l" t="t" r="r" b="b"/>
                <a:pathLst>
                  <a:path w="12381" h="12381" extrusionOk="0">
                    <a:moveTo>
                      <a:pt x="6191" y="0"/>
                    </a:moveTo>
                    <a:cubicBezTo>
                      <a:pt x="2771" y="0"/>
                      <a:pt x="0" y="2771"/>
                      <a:pt x="0" y="6191"/>
                    </a:cubicBezTo>
                    <a:cubicBezTo>
                      <a:pt x="0" y="9610"/>
                      <a:pt x="2771" y="12381"/>
                      <a:pt x="6191" y="12381"/>
                    </a:cubicBezTo>
                    <a:cubicBezTo>
                      <a:pt x="9610" y="12381"/>
                      <a:pt x="12381" y="9610"/>
                      <a:pt x="12381" y="6191"/>
                    </a:cubicBezTo>
                    <a:cubicBezTo>
                      <a:pt x="12381" y="2771"/>
                      <a:pt x="9610" y="0"/>
                      <a:pt x="6191" y="0"/>
                    </a:cubicBezTo>
                    <a:close/>
                  </a:path>
                </a:pathLst>
              </a:custGeom>
              <a:noFill/>
              <a:ln w="9525" cap="flat" cmpd="sng">
                <a:solidFill>
                  <a:srgbClr val="CFD9E0"/>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9219" name="Google Shape;9219;p108"/>
              <p:cNvSpPr/>
              <p:nvPr/>
            </p:nvSpPr>
            <p:spPr>
              <a:xfrm>
                <a:off x="6006138" y="3668717"/>
                <a:ext cx="122738" cy="122768"/>
              </a:xfrm>
              <a:custGeom>
                <a:avLst/>
                <a:gdLst/>
                <a:ahLst/>
                <a:cxnLst/>
                <a:rect l="l" t="t" r="r" b="b"/>
                <a:pathLst>
                  <a:path w="12379" h="12382" extrusionOk="0">
                    <a:moveTo>
                      <a:pt x="6190" y="1"/>
                    </a:moveTo>
                    <a:cubicBezTo>
                      <a:pt x="2771" y="1"/>
                      <a:pt x="0" y="2774"/>
                      <a:pt x="0" y="6192"/>
                    </a:cubicBezTo>
                    <a:cubicBezTo>
                      <a:pt x="0" y="9610"/>
                      <a:pt x="2771" y="12381"/>
                      <a:pt x="6190" y="12381"/>
                    </a:cubicBezTo>
                    <a:cubicBezTo>
                      <a:pt x="9608" y="12381"/>
                      <a:pt x="12379" y="9610"/>
                      <a:pt x="12379" y="6192"/>
                    </a:cubicBezTo>
                    <a:cubicBezTo>
                      <a:pt x="12379" y="2774"/>
                      <a:pt x="9608" y="1"/>
                      <a:pt x="6190" y="1"/>
                    </a:cubicBezTo>
                    <a:close/>
                  </a:path>
                </a:pathLst>
              </a:custGeom>
              <a:solidFill>
                <a:srgbClr val="869FB2"/>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9220" name="Google Shape;9220;p108"/>
              <p:cNvSpPr/>
              <p:nvPr/>
            </p:nvSpPr>
            <p:spPr>
              <a:xfrm>
                <a:off x="6006138" y="3931286"/>
                <a:ext cx="122738" cy="122738"/>
              </a:xfrm>
              <a:custGeom>
                <a:avLst/>
                <a:gdLst/>
                <a:ahLst/>
                <a:cxnLst/>
                <a:rect l="l" t="t" r="r" b="b"/>
                <a:pathLst>
                  <a:path w="12379" h="12379" extrusionOk="0">
                    <a:moveTo>
                      <a:pt x="6190" y="0"/>
                    </a:moveTo>
                    <a:cubicBezTo>
                      <a:pt x="2771" y="0"/>
                      <a:pt x="0" y="2771"/>
                      <a:pt x="0" y="6189"/>
                    </a:cubicBezTo>
                    <a:cubicBezTo>
                      <a:pt x="0" y="9608"/>
                      <a:pt x="2771" y="12379"/>
                      <a:pt x="6190" y="12379"/>
                    </a:cubicBezTo>
                    <a:cubicBezTo>
                      <a:pt x="9608" y="12379"/>
                      <a:pt x="12379" y="9608"/>
                      <a:pt x="12379" y="6189"/>
                    </a:cubicBezTo>
                    <a:cubicBezTo>
                      <a:pt x="12379" y="2771"/>
                      <a:pt x="9608" y="0"/>
                      <a:pt x="6190" y="0"/>
                    </a:cubicBezTo>
                    <a:close/>
                  </a:path>
                </a:pathLst>
              </a:custGeom>
              <a:solidFill>
                <a:srgbClr val="869FB2"/>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9221" name="Google Shape;9221;p108"/>
              <p:cNvSpPr/>
              <p:nvPr/>
            </p:nvSpPr>
            <p:spPr>
              <a:xfrm>
                <a:off x="6006138" y="4193825"/>
                <a:ext cx="122738" cy="122748"/>
              </a:xfrm>
              <a:custGeom>
                <a:avLst/>
                <a:gdLst/>
                <a:ahLst/>
                <a:cxnLst/>
                <a:rect l="l" t="t" r="r" b="b"/>
                <a:pathLst>
                  <a:path w="12379" h="12380" extrusionOk="0">
                    <a:moveTo>
                      <a:pt x="6190" y="1"/>
                    </a:moveTo>
                    <a:cubicBezTo>
                      <a:pt x="2771" y="1"/>
                      <a:pt x="0" y="2772"/>
                      <a:pt x="0" y="6190"/>
                    </a:cubicBezTo>
                    <a:cubicBezTo>
                      <a:pt x="0" y="9608"/>
                      <a:pt x="2771" y="12379"/>
                      <a:pt x="6190" y="12379"/>
                    </a:cubicBezTo>
                    <a:cubicBezTo>
                      <a:pt x="9608" y="12379"/>
                      <a:pt x="12379" y="9608"/>
                      <a:pt x="12379" y="6190"/>
                    </a:cubicBezTo>
                    <a:cubicBezTo>
                      <a:pt x="12379" y="2772"/>
                      <a:pt x="9608" y="1"/>
                      <a:pt x="6190" y="1"/>
                    </a:cubicBezTo>
                    <a:close/>
                  </a:path>
                </a:pathLst>
              </a:custGeom>
              <a:solidFill>
                <a:srgbClr val="869FB2"/>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9222" name="Google Shape;9222;p108"/>
              <p:cNvSpPr/>
              <p:nvPr/>
            </p:nvSpPr>
            <p:spPr>
              <a:xfrm>
                <a:off x="6006138" y="4456375"/>
                <a:ext cx="122738" cy="122758"/>
              </a:xfrm>
              <a:custGeom>
                <a:avLst/>
                <a:gdLst/>
                <a:ahLst/>
                <a:cxnLst/>
                <a:rect l="l" t="t" r="r" b="b"/>
                <a:pathLst>
                  <a:path w="12379" h="12381" extrusionOk="0">
                    <a:moveTo>
                      <a:pt x="6190" y="0"/>
                    </a:moveTo>
                    <a:cubicBezTo>
                      <a:pt x="2771" y="0"/>
                      <a:pt x="0" y="2771"/>
                      <a:pt x="0" y="6191"/>
                    </a:cubicBezTo>
                    <a:cubicBezTo>
                      <a:pt x="0" y="9609"/>
                      <a:pt x="2771" y="12380"/>
                      <a:pt x="6190" y="12380"/>
                    </a:cubicBezTo>
                    <a:cubicBezTo>
                      <a:pt x="9608" y="12380"/>
                      <a:pt x="12379" y="9609"/>
                      <a:pt x="12379" y="6191"/>
                    </a:cubicBezTo>
                    <a:cubicBezTo>
                      <a:pt x="12379" y="2771"/>
                      <a:pt x="9608" y="0"/>
                      <a:pt x="6190" y="0"/>
                    </a:cubicBezTo>
                    <a:close/>
                  </a:path>
                </a:pathLst>
              </a:custGeom>
              <a:solidFill>
                <a:srgbClr val="869FB2"/>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9223" name="Google Shape;9223;p108"/>
              <p:cNvSpPr/>
              <p:nvPr/>
            </p:nvSpPr>
            <p:spPr>
              <a:xfrm>
                <a:off x="6006138" y="4718934"/>
                <a:ext cx="122738" cy="122738"/>
              </a:xfrm>
              <a:custGeom>
                <a:avLst/>
                <a:gdLst/>
                <a:ahLst/>
                <a:cxnLst/>
                <a:rect l="l" t="t" r="r" b="b"/>
                <a:pathLst>
                  <a:path w="12379" h="12379" extrusionOk="0">
                    <a:moveTo>
                      <a:pt x="6190" y="0"/>
                    </a:moveTo>
                    <a:cubicBezTo>
                      <a:pt x="2771" y="0"/>
                      <a:pt x="0" y="2771"/>
                      <a:pt x="0" y="6189"/>
                    </a:cubicBezTo>
                    <a:cubicBezTo>
                      <a:pt x="0" y="9608"/>
                      <a:pt x="2771" y="12379"/>
                      <a:pt x="6190" y="12379"/>
                    </a:cubicBezTo>
                    <a:cubicBezTo>
                      <a:pt x="9608" y="12379"/>
                      <a:pt x="12379" y="9608"/>
                      <a:pt x="12379" y="6189"/>
                    </a:cubicBezTo>
                    <a:cubicBezTo>
                      <a:pt x="12379" y="2771"/>
                      <a:pt x="9608" y="0"/>
                      <a:pt x="6190" y="0"/>
                    </a:cubicBezTo>
                    <a:close/>
                  </a:path>
                </a:pathLst>
              </a:custGeom>
              <a:solidFill>
                <a:srgbClr val="869FB2"/>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grpSp>
        <p:nvGrpSpPr>
          <p:cNvPr id="9224" name="Google Shape;9224;p108"/>
          <p:cNvGrpSpPr/>
          <p:nvPr/>
        </p:nvGrpSpPr>
        <p:grpSpPr>
          <a:xfrm>
            <a:off x="7914667" y="3207850"/>
            <a:ext cx="1664724" cy="1367092"/>
            <a:chOff x="5183758" y="1210600"/>
            <a:chExt cx="3605380" cy="2960783"/>
          </a:xfrm>
        </p:grpSpPr>
        <p:sp>
          <p:nvSpPr>
            <p:cNvPr id="9225" name="Google Shape;9225;p108"/>
            <p:cNvSpPr/>
            <p:nvPr/>
          </p:nvSpPr>
          <p:spPr>
            <a:xfrm>
              <a:off x="5479658" y="1210600"/>
              <a:ext cx="3108190" cy="632425"/>
            </a:xfrm>
            <a:custGeom>
              <a:avLst/>
              <a:gdLst/>
              <a:ahLst/>
              <a:cxnLst/>
              <a:rect l="l" t="t" r="r" b="b"/>
              <a:pathLst>
                <a:path w="117257" h="25297" extrusionOk="0">
                  <a:moveTo>
                    <a:pt x="1" y="0"/>
                  </a:moveTo>
                  <a:lnTo>
                    <a:pt x="14647" y="25297"/>
                  </a:lnTo>
                  <a:lnTo>
                    <a:pt x="102066" y="25297"/>
                  </a:lnTo>
                  <a:lnTo>
                    <a:pt x="117257" y="0"/>
                  </a:lnTo>
                  <a:close/>
                </a:path>
              </a:pathLst>
            </a:custGeom>
            <a:noFill/>
            <a:ln w="9525" cap="flat" cmpd="sng">
              <a:solidFill>
                <a:srgbClr val="BAC8D3"/>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9226" name="Google Shape;9226;p108"/>
            <p:cNvSpPr/>
            <p:nvPr/>
          </p:nvSpPr>
          <p:spPr>
            <a:xfrm>
              <a:off x="5769162" y="1842998"/>
              <a:ext cx="2424880" cy="631925"/>
            </a:xfrm>
            <a:custGeom>
              <a:avLst/>
              <a:gdLst/>
              <a:ahLst/>
              <a:cxnLst/>
              <a:rect l="l" t="t" r="r" b="b"/>
              <a:pathLst>
                <a:path w="91479" h="25277" extrusionOk="0">
                  <a:moveTo>
                    <a:pt x="1" y="1"/>
                  </a:moveTo>
                  <a:lnTo>
                    <a:pt x="14647" y="25276"/>
                  </a:lnTo>
                  <a:lnTo>
                    <a:pt x="76602" y="25276"/>
                  </a:lnTo>
                  <a:lnTo>
                    <a:pt x="91479" y="1"/>
                  </a:lnTo>
                  <a:close/>
                </a:path>
              </a:pathLst>
            </a:custGeom>
            <a:noFill/>
            <a:ln w="9525" cap="flat" cmpd="sng">
              <a:solidFill>
                <a:srgbClr val="869FB2"/>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9227" name="Google Shape;9227;p108"/>
            <p:cNvSpPr/>
            <p:nvPr/>
          </p:nvSpPr>
          <p:spPr>
            <a:xfrm>
              <a:off x="6065319" y="2474896"/>
              <a:ext cx="1739369" cy="632450"/>
            </a:xfrm>
            <a:custGeom>
              <a:avLst/>
              <a:gdLst/>
              <a:ahLst/>
              <a:cxnLst/>
              <a:rect l="l" t="t" r="r" b="b"/>
              <a:pathLst>
                <a:path w="65618" h="25298" extrusionOk="0">
                  <a:moveTo>
                    <a:pt x="1" y="0"/>
                  </a:moveTo>
                  <a:lnTo>
                    <a:pt x="14417" y="25297"/>
                  </a:lnTo>
                  <a:lnTo>
                    <a:pt x="50887" y="25297"/>
                  </a:lnTo>
                  <a:lnTo>
                    <a:pt x="65617"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9228" name="Google Shape;9228;p108"/>
            <p:cNvSpPr/>
            <p:nvPr/>
          </p:nvSpPr>
          <p:spPr>
            <a:xfrm>
              <a:off x="6354293" y="3107319"/>
              <a:ext cx="1061572" cy="632425"/>
            </a:xfrm>
            <a:custGeom>
              <a:avLst/>
              <a:gdLst/>
              <a:ahLst/>
              <a:cxnLst/>
              <a:rect l="l" t="t" r="r" b="b"/>
              <a:pathLst>
                <a:path w="40048" h="25297" extrusionOk="0">
                  <a:moveTo>
                    <a:pt x="0" y="0"/>
                  </a:moveTo>
                  <a:lnTo>
                    <a:pt x="14668" y="25297"/>
                  </a:lnTo>
                  <a:lnTo>
                    <a:pt x="25360" y="25297"/>
                  </a:lnTo>
                  <a:lnTo>
                    <a:pt x="40048" y="0"/>
                  </a:lnTo>
                  <a:close/>
                </a:path>
              </a:pathLst>
            </a:custGeom>
            <a:noFill/>
            <a:ln w="9525" cap="flat" cmpd="sng">
              <a:solidFill>
                <a:srgbClr val="435D74"/>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cxnSp>
          <p:nvCxnSpPr>
            <p:cNvPr id="9229" name="Google Shape;9229;p108"/>
            <p:cNvCxnSpPr/>
            <p:nvPr/>
          </p:nvCxnSpPr>
          <p:spPr>
            <a:xfrm>
              <a:off x="5183758" y="2382654"/>
              <a:ext cx="922800" cy="0"/>
            </a:xfrm>
            <a:prstGeom prst="straightConnector1">
              <a:avLst/>
            </a:prstGeom>
            <a:noFill/>
            <a:ln w="9525" cap="flat" cmpd="sng">
              <a:solidFill>
                <a:srgbClr val="869FB2"/>
              </a:solidFill>
              <a:prstDash val="solid"/>
              <a:round/>
              <a:headEnd type="oval" w="med" len="med"/>
              <a:tailEnd type="none" w="med" len="med"/>
            </a:ln>
          </p:spPr>
        </p:cxnSp>
        <p:cxnSp>
          <p:nvCxnSpPr>
            <p:cNvPr id="9230" name="Google Shape;9230;p108"/>
            <p:cNvCxnSpPr/>
            <p:nvPr/>
          </p:nvCxnSpPr>
          <p:spPr>
            <a:xfrm rot="10800000">
              <a:off x="8225195" y="1765431"/>
              <a:ext cx="559200" cy="0"/>
            </a:xfrm>
            <a:prstGeom prst="straightConnector1">
              <a:avLst/>
            </a:prstGeom>
            <a:noFill/>
            <a:ln w="9525" cap="flat" cmpd="sng">
              <a:solidFill>
                <a:srgbClr val="BAC8D3"/>
              </a:solidFill>
              <a:prstDash val="solid"/>
              <a:round/>
              <a:headEnd type="oval" w="med" len="med"/>
              <a:tailEnd type="none" w="med" len="med"/>
            </a:ln>
          </p:spPr>
        </p:cxnSp>
        <p:cxnSp>
          <p:nvCxnSpPr>
            <p:cNvPr id="9231" name="Google Shape;9231;p108"/>
            <p:cNvCxnSpPr/>
            <p:nvPr/>
          </p:nvCxnSpPr>
          <p:spPr>
            <a:xfrm rot="10800000">
              <a:off x="7504838" y="2943528"/>
              <a:ext cx="1284300" cy="0"/>
            </a:xfrm>
            <a:prstGeom prst="straightConnector1">
              <a:avLst/>
            </a:prstGeom>
            <a:noFill/>
            <a:ln w="9525" cap="flat" cmpd="sng">
              <a:solidFill>
                <a:srgbClr val="5F7D95"/>
              </a:solidFill>
              <a:prstDash val="solid"/>
              <a:round/>
              <a:headEnd type="oval" w="med" len="med"/>
              <a:tailEnd type="none" w="med" len="med"/>
            </a:ln>
          </p:spPr>
        </p:cxnSp>
        <p:cxnSp>
          <p:nvCxnSpPr>
            <p:cNvPr id="9232" name="Google Shape;9232;p108"/>
            <p:cNvCxnSpPr/>
            <p:nvPr/>
          </p:nvCxnSpPr>
          <p:spPr>
            <a:xfrm>
              <a:off x="5759284" y="3630350"/>
              <a:ext cx="922800" cy="0"/>
            </a:xfrm>
            <a:prstGeom prst="straightConnector1">
              <a:avLst/>
            </a:prstGeom>
            <a:noFill/>
            <a:ln w="9525" cap="flat" cmpd="sng">
              <a:solidFill>
                <a:srgbClr val="435D74"/>
              </a:solidFill>
              <a:prstDash val="solid"/>
              <a:round/>
              <a:headEnd type="oval" w="med" len="med"/>
              <a:tailEnd type="none" w="med" len="med"/>
            </a:ln>
          </p:spPr>
        </p:cxnSp>
        <p:sp>
          <p:nvSpPr>
            <p:cNvPr id="9233" name="Google Shape;9233;p108"/>
            <p:cNvSpPr/>
            <p:nvPr/>
          </p:nvSpPr>
          <p:spPr>
            <a:xfrm>
              <a:off x="6601902" y="3746583"/>
              <a:ext cx="566400" cy="424800"/>
            </a:xfrm>
            <a:prstGeom prst="downArrow">
              <a:avLst>
                <a:gd name="adj1" fmla="val 50000"/>
                <a:gd name="adj2" fmla="val 50000"/>
              </a:avLst>
            </a:prstGeom>
            <a:noFill/>
            <a:ln w="9525" cap="flat" cmpd="sng">
              <a:solidFill>
                <a:srgbClr val="435D74"/>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9234" name="Google Shape;9234;p108"/>
          <p:cNvGrpSpPr/>
          <p:nvPr/>
        </p:nvGrpSpPr>
        <p:grpSpPr>
          <a:xfrm>
            <a:off x="7724083" y="4725605"/>
            <a:ext cx="3553108" cy="1124587"/>
            <a:chOff x="5916567" y="1099697"/>
            <a:chExt cx="2556683" cy="809211"/>
          </a:xfrm>
        </p:grpSpPr>
        <p:sp>
          <p:nvSpPr>
            <p:cNvPr id="9235" name="Google Shape;9235;p108"/>
            <p:cNvSpPr/>
            <p:nvPr/>
          </p:nvSpPr>
          <p:spPr>
            <a:xfrm>
              <a:off x="5916567" y="1105515"/>
              <a:ext cx="2329202" cy="797642"/>
            </a:xfrm>
            <a:custGeom>
              <a:avLst/>
              <a:gdLst/>
              <a:ahLst/>
              <a:cxnLst/>
              <a:rect l="l" t="t" r="r" b="b"/>
              <a:pathLst>
                <a:path w="260246" h="89122" extrusionOk="0">
                  <a:moveTo>
                    <a:pt x="260246" y="1"/>
                  </a:moveTo>
                  <a:lnTo>
                    <a:pt x="0" y="44559"/>
                  </a:lnTo>
                  <a:lnTo>
                    <a:pt x="260241" y="89121"/>
                  </a:lnTo>
                  <a:cubicBezTo>
                    <a:pt x="250030" y="85482"/>
                    <a:pt x="242259" y="66921"/>
                    <a:pt x="242259" y="44559"/>
                  </a:cubicBezTo>
                  <a:cubicBezTo>
                    <a:pt x="242259" y="22201"/>
                    <a:pt x="250039" y="3626"/>
                    <a:pt x="260246" y="1"/>
                  </a:cubicBezTo>
                  <a:close/>
                </a:path>
              </a:pathLst>
            </a:custGeom>
            <a:noFill/>
            <a:ln w="9525" cap="flat" cmpd="sng">
              <a:solidFill>
                <a:srgbClr val="E3E9ED"/>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9236" name="Google Shape;9236;p108"/>
            <p:cNvSpPr/>
            <p:nvPr/>
          </p:nvSpPr>
          <p:spPr>
            <a:xfrm>
              <a:off x="6719328" y="1353967"/>
              <a:ext cx="156983" cy="301221"/>
            </a:xfrm>
            <a:custGeom>
              <a:avLst/>
              <a:gdLst/>
              <a:ahLst/>
              <a:cxnLst/>
              <a:rect l="l" t="t" r="r" b="b"/>
              <a:pathLst>
                <a:path w="17540" h="33656" extrusionOk="0">
                  <a:moveTo>
                    <a:pt x="8770" y="1"/>
                  </a:moveTo>
                  <a:cubicBezTo>
                    <a:pt x="3929" y="1"/>
                    <a:pt x="0" y="7536"/>
                    <a:pt x="0" y="16826"/>
                  </a:cubicBezTo>
                  <a:cubicBezTo>
                    <a:pt x="0" y="26120"/>
                    <a:pt x="3929" y="33655"/>
                    <a:pt x="8770" y="33655"/>
                  </a:cubicBezTo>
                  <a:cubicBezTo>
                    <a:pt x="13616" y="33655"/>
                    <a:pt x="17540" y="26120"/>
                    <a:pt x="17540" y="16826"/>
                  </a:cubicBezTo>
                  <a:cubicBezTo>
                    <a:pt x="17540" y="7536"/>
                    <a:pt x="13616" y="1"/>
                    <a:pt x="8770" y="1"/>
                  </a:cubicBezTo>
                  <a:close/>
                </a:path>
              </a:pathLst>
            </a:custGeom>
            <a:noFill/>
            <a:ln w="9525" cap="flat" cmpd="sng">
              <a:solidFill>
                <a:srgbClr val="A5B7C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9237" name="Google Shape;9237;p108"/>
            <p:cNvSpPr/>
            <p:nvPr/>
          </p:nvSpPr>
          <p:spPr>
            <a:xfrm>
              <a:off x="7142762" y="1276612"/>
              <a:ext cx="217467" cy="455564"/>
            </a:xfrm>
            <a:custGeom>
              <a:avLst/>
              <a:gdLst/>
              <a:ahLst/>
              <a:cxnLst/>
              <a:rect l="l" t="t" r="r" b="b"/>
              <a:pathLst>
                <a:path w="24298" h="50901" extrusionOk="0">
                  <a:moveTo>
                    <a:pt x="12147" y="1"/>
                  </a:moveTo>
                  <a:cubicBezTo>
                    <a:pt x="8924" y="1"/>
                    <a:pt x="5836" y="2681"/>
                    <a:pt x="3558" y="7450"/>
                  </a:cubicBezTo>
                  <a:cubicBezTo>
                    <a:pt x="1280" y="12224"/>
                    <a:pt x="0" y="18697"/>
                    <a:pt x="0" y="25451"/>
                  </a:cubicBezTo>
                  <a:cubicBezTo>
                    <a:pt x="0" y="32200"/>
                    <a:pt x="1280" y="38673"/>
                    <a:pt x="3558" y="43447"/>
                  </a:cubicBezTo>
                  <a:cubicBezTo>
                    <a:pt x="5836" y="48216"/>
                    <a:pt x="8924" y="50901"/>
                    <a:pt x="12147" y="50901"/>
                  </a:cubicBezTo>
                  <a:cubicBezTo>
                    <a:pt x="15370" y="50901"/>
                    <a:pt x="18457" y="48216"/>
                    <a:pt x="20735" y="43447"/>
                  </a:cubicBezTo>
                  <a:cubicBezTo>
                    <a:pt x="23014" y="38673"/>
                    <a:pt x="24298" y="32200"/>
                    <a:pt x="24298" y="25451"/>
                  </a:cubicBezTo>
                  <a:cubicBezTo>
                    <a:pt x="24298" y="18697"/>
                    <a:pt x="23014" y="12224"/>
                    <a:pt x="20735" y="7450"/>
                  </a:cubicBezTo>
                  <a:cubicBezTo>
                    <a:pt x="18457" y="2681"/>
                    <a:pt x="15370" y="1"/>
                    <a:pt x="12147" y="1"/>
                  </a:cubicBezTo>
                  <a:close/>
                </a:path>
              </a:pathLst>
            </a:custGeom>
            <a:noFill/>
            <a:ln w="9525" cap="flat" cmpd="sng">
              <a:solidFill>
                <a:srgbClr val="A5B7C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9238" name="Google Shape;9238;p108"/>
            <p:cNvSpPr/>
            <p:nvPr/>
          </p:nvSpPr>
          <p:spPr>
            <a:xfrm>
              <a:off x="7621211" y="1188419"/>
              <a:ext cx="293739" cy="631637"/>
            </a:xfrm>
            <a:custGeom>
              <a:avLst/>
              <a:gdLst/>
              <a:ahLst/>
              <a:cxnLst/>
              <a:rect l="l" t="t" r="r" b="b"/>
              <a:pathLst>
                <a:path w="32820" h="70574" extrusionOk="0">
                  <a:moveTo>
                    <a:pt x="16410" y="0"/>
                  </a:moveTo>
                  <a:cubicBezTo>
                    <a:pt x="12057" y="0"/>
                    <a:pt x="7884" y="3716"/>
                    <a:pt x="4806" y="10334"/>
                  </a:cubicBezTo>
                  <a:cubicBezTo>
                    <a:pt x="1728" y="16952"/>
                    <a:pt x="1" y="25925"/>
                    <a:pt x="1" y="35287"/>
                  </a:cubicBezTo>
                  <a:cubicBezTo>
                    <a:pt x="1" y="44644"/>
                    <a:pt x="1728" y="53622"/>
                    <a:pt x="4806" y="60239"/>
                  </a:cubicBezTo>
                  <a:cubicBezTo>
                    <a:pt x="7884" y="66857"/>
                    <a:pt x="12057" y="70573"/>
                    <a:pt x="16410" y="70573"/>
                  </a:cubicBezTo>
                  <a:cubicBezTo>
                    <a:pt x="20759" y="70573"/>
                    <a:pt x="24936" y="66857"/>
                    <a:pt x="28014" y="60239"/>
                  </a:cubicBezTo>
                  <a:cubicBezTo>
                    <a:pt x="31088" y="53622"/>
                    <a:pt x="32819" y="44644"/>
                    <a:pt x="32819" y="35287"/>
                  </a:cubicBezTo>
                  <a:cubicBezTo>
                    <a:pt x="32819" y="25925"/>
                    <a:pt x="31088" y="16952"/>
                    <a:pt x="28014" y="10334"/>
                  </a:cubicBezTo>
                  <a:cubicBezTo>
                    <a:pt x="24936" y="3716"/>
                    <a:pt x="20759" y="0"/>
                    <a:pt x="16410" y="0"/>
                  </a:cubicBezTo>
                  <a:close/>
                </a:path>
              </a:pathLst>
            </a:custGeom>
            <a:noFill/>
            <a:ln w="9525" cap="flat" cmpd="sng">
              <a:solidFill>
                <a:srgbClr val="869FB1"/>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9239" name="Google Shape;9239;p108"/>
            <p:cNvSpPr/>
            <p:nvPr/>
          </p:nvSpPr>
          <p:spPr>
            <a:xfrm>
              <a:off x="8279421" y="1099697"/>
              <a:ext cx="54" cy="0"/>
            </a:xfrm>
            <a:custGeom>
              <a:avLst/>
              <a:gdLst/>
              <a:ahLst/>
              <a:cxnLst/>
              <a:rect l="l" t="t" r="r" b="b"/>
              <a:pathLst>
                <a:path w="6" extrusionOk="0">
                  <a:moveTo>
                    <a:pt x="5" y="0"/>
                  </a:moveTo>
                  <a:lnTo>
                    <a:pt x="1" y="0"/>
                  </a:lnTo>
                  <a:close/>
                </a:path>
              </a:pathLst>
            </a:custGeom>
            <a:solidFill>
              <a:srgbClr val="E3E9ED"/>
            </a:solidFill>
            <a:ln w="9525" cap="flat" cmpd="sng">
              <a:solidFill>
                <a:srgbClr val="000000"/>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9240" name="Google Shape;9240;p108"/>
            <p:cNvSpPr/>
            <p:nvPr/>
          </p:nvSpPr>
          <p:spPr>
            <a:xfrm>
              <a:off x="8245760" y="1099697"/>
              <a:ext cx="33670" cy="5791"/>
            </a:xfrm>
            <a:custGeom>
              <a:avLst/>
              <a:gdLst/>
              <a:ahLst/>
              <a:cxnLst/>
              <a:rect l="l" t="t" r="r" b="b"/>
              <a:pathLst>
                <a:path w="3762" h="647" extrusionOk="0">
                  <a:moveTo>
                    <a:pt x="3662" y="0"/>
                  </a:moveTo>
                  <a:cubicBezTo>
                    <a:pt x="2415" y="0"/>
                    <a:pt x="1194" y="222"/>
                    <a:pt x="1" y="646"/>
                  </a:cubicBezTo>
                  <a:lnTo>
                    <a:pt x="3762" y="0"/>
                  </a:lnTo>
                  <a:close/>
                </a:path>
              </a:pathLst>
            </a:custGeom>
            <a:solidFill>
              <a:srgbClr val="CFD9E0"/>
            </a:solidFill>
            <a:ln w="9525" cap="flat" cmpd="sng">
              <a:solidFill>
                <a:srgbClr val="000000"/>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9241" name="Google Shape;9241;p108"/>
            <p:cNvSpPr/>
            <p:nvPr/>
          </p:nvSpPr>
          <p:spPr>
            <a:xfrm>
              <a:off x="8085689" y="1099747"/>
              <a:ext cx="387562" cy="809161"/>
            </a:xfrm>
            <a:custGeom>
              <a:avLst/>
              <a:gdLst/>
              <a:ahLst/>
              <a:cxnLst/>
              <a:rect l="l" t="t" r="r" b="b"/>
              <a:pathLst>
                <a:path w="43303" h="90409" extrusionOk="0">
                  <a:moveTo>
                    <a:pt x="21749" y="0"/>
                  </a:moveTo>
                  <a:lnTo>
                    <a:pt x="17988" y="646"/>
                  </a:lnTo>
                  <a:cubicBezTo>
                    <a:pt x="7781" y="4276"/>
                    <a:pt x="1" y="22846"/>
                    <a:pt x="1" y="45204"/>
                  </a:cubicBezTo>
                  <a:cubicBezTo>
                    <a:pt x="1" y="67562"/>
                    <a:pt x="7781" y="86132"/>
                    <a:pt x="17988" y="89766"/>
                  </a:cubicBezTo>
                  <a:lnTo>
                    <a:pt x="21753" y="90408"/>
                  </a:lnTo>
                  <a:lnTo>
                    <a:pt x="21758" y="90408"/>
                  </a:lnTo>
                  <a:cubicBezTo>
                    <a:pt x="33665" y="90291"/>
                    <a:pt x="43302" y="70094"/>
                    <a:pt x="43302" y="45204"/>
                  </a:cubicBezTo>
                  <a:cubicBezTo>
                    <a:pt x="43302" y="20315"/>
                    <a:pt x="33665" y="118"/>
                    <a:pt x="21753" y="0"/>
                  </a:cubicBezTo>
                  <a:close/>
                </a:path>
              </a:pathLst>
            </a:custGeom>
            <a:noFill/>
            <a:ln w="9525" cap="flat" cmpd="sng">
              <a:solidFill>
                <a:srgbClr val="CFD9E0"/>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9242" name="Google Shape;9242;p108"/>
            <p:cNvSpPr/>
            <p:nvPr/>
          </p:nvSpPr>
          <p:spPr>
            <a:xfrm>
              <a:off x="6372480" y="1417485"/>
              <a:ext cx="104679" cy="173370"/>
            </a:xfrm>
            <a:custGeom>
              <a:avLst/>
              <a:gdLst/>
              <a:ahLst/>
              <a:cxnLst/>
              <a:rect l="l" t="t" r="r" b="b"/>
              <a:pathLst>
                <a:path w="11696" h="19371" extrusionOk="0">
                  <a:moveTo>
                    <a:pt x="5850" y="1"/>
                  </a:moveTo>
                  <a:cubicBezTo>
                    <a:pt x="2618" y="1"/>
                    <a:pt x="1" y="4336"/>
                    <a:pt x="1" y="9684"/>
                  </a:cubicBezTo>
                  <a:cubicBezTo>
                    <a:pt x="1" y="15036"/>
                    <a:pt x="2618" y="19371"/>
                    <a:pt x="5850" y="19371"/>
                  </a:cubicBezTo>
                  <a:cubicBezTo>
                    <a:pt x="9078" y="19371"/>
                    <a:pt x="11695" y="15036"/>
                    <a:pt x="11695" y="9684"/>
                  </a:cubicBezTo>
                  <a:cubicBezTo>
                    <a:pt x="11695" y="4336"/>
                    <a:pt x="9078" y="1"/>
                    <a:pt x="5850" y="1"/>
                  </a:cubicBezTo>
                  <a:close/>
                </a:path>
              </a:pathLst>
            </a:custGeom>
            <a:noFill/>
            <a:ln w="9525" cap="flat" cmpd="sng">
              <a:solidFill>
                <a:srgbClr val="BAC8D3"/>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9243" name="Google Shape;9243;p108"/>
          <p:cNvGrpSpPr/>
          <p:nvPr/>
        </p:nvGrpSpPr>
        <p:grpSpPr>
          <a:xfrm>
            <a:off x="7867470" y="1590751"/>
            <a:ext cx="1733135" cy="1364451"/>
            <a:chOff x="5900602" y="1193063"/>
            <a:chExt cx="1299851" cy="1023338"/>
          </a:xfrm>
        </p:grpSpPr>
        <p:grpSp>
          <p:nvGrpSpPr>
            <p:cNvPr id="9244" name="Google Shape;9244;p108"/>
            <p:cNvGrpSpPr/>
            <p:nvPr/>
          </p:nvGrpSpPr>
          <p:grpSpPr>
            <a:xfrm>
              <a:off x="6743564" y="1193063"/>
              <a:ext cx="456889" cy="700379"/>
              <a:chOff x="6743564" y="1193063"/>
              <a:chExt cx="456889" cy="700379"/>
            </a:xfrm>
          </p:grpSpPr>
          <p:grpSp>
            <p:nvGrpSpPr>
              <p:cNvPr id="9245" name="Google Shape;9245;p108"/>
              <p:cNvGrpSpPr/>
              <p:nvPr/>
            </p:nvGrpSpPr>
            <p:grpSpPr>
              <a:xfrm>
                <a:off x="6743564" y="1690731"/>
                <a:ext cx="214402" cy="202710"/>
                <a:chOff x="6743564" y="1690731"/>
                <a:chExt cx="214402" cy="202710"/>
              </a:xfrm>
            </p:grpSpPr>
            <p:sp>
              <p:nvSpPr>
                <p:cNvPr id="9246" name="Google Shape;9246;p108"/>
                <p:cNvSpPr/>
                <p:nvPr/>
              </p:nvSpPr>
              <p:spPr>
                <a:xfrm rot="-5400000">
                  <a:off x="6796932" y="1637364"/>
                  <a:ext cx="107666" cy="214402"/>
                </a:xfrm>
                <a:custGeom>
                  <a:avLst/>
                  <a:gdLst/>
                  <a:ahLst/>
                  <a:cxnLst/>
                  <a:rect l="l" t="t" r="r" b="b"/>
                  <a:pathLst>
                    <a:path w="12379" h="24651" extrusionOk="0">
                      <a:moveTo>
                        <a:pt x="727" y="0"/>
                      </a:moveTo>
                      <a:cubicBezTo>
                        <a:pt x="483" y="0"/>
                        <a:pt x="243" y="4"/>
                        <a:pt x="1" y="7"/>
                      </a:cubicBezTo>
                      <a:lnTo>
                        <a:pt x="1" y="23223"/>
                      </a:lnTo>
                      <a:lnTo>
                        <a:pt x="727" y="24650"/>
                      </a:lnTo>
                      <a:lnTo>
                        <a:pt x="12378" y="1737"/>
                      </a:lnTo>
                      <a:cubicBezTo>
                        <a:pt x="8795" y="619"/>
                        <a:pt x="4857" y="0"/>
                        <a:pt x="727" y="0"/>
                      </a:cubicBezTo>
                      <a:close/>
                    </a:path>
                  </a:pathLst>
                </a:custGeom>
                <a:noFill/>
                <a:ln w="9525" cap="flat" cmpd="sng">
                  <a:solidFill>
                    <a:srgbClr val="CFD9E0"/>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9247" name="Google Shape;9247;p108"/>
                <p:cNvSpPr/>
                <p:nvPr/>
              </p:nvSpPr>
              <p:spPr>
                <a:xfrm rot="-5400000">
                  <a:off x="6797058" y="1744962"/>
                  <a:ext cx="95046" cy="201912"/>
                </a:xfrm>
                <a:custGeom>
                  <a:avLst/>
                  <a:gdLst/>
                  <a:ahLst/>
                  <a:cxnLst/>
                  <a:rect l="l" t="t" r="r" b="b"/>
                  <a:pathLst>
                    <a:path w="10928" h="23215" extrusionOk="0">
                      <a:moveTo>
                        <a:pt x="10928" y="0"/>
                      </a:moveTo>
                      <a:cubicBezTo>
                        <a:pt x="8679" y="38"/>
                        <a:pt x="6494" y="261"/>
                        <a:pt x="4395" y="647"/>
                      </a:cubicBezTo>
                      <a:lnTo>
                        <a:pt x="4395" y="648"/>
                      </a:lnTo>
                      <a:cubicBezTo>
                        <a:pt x="3153" y="875"/>
                        <a:pt x="1943" y="1159"/>
                        <a:pt x="769" y="1499"/>
                      </a:cubicBezTo>
                      <a:cubicBezTo>
                        <a:pt x="691" y="1522"/>
                        <a:pt x="612" y="1544"/>
                        <a:pt x="535" y="1567"/>
                      </a:cubicBezTo>
                      <a:cubicBezTo>
                        <a:pt x="501" y="1576"/>
                        <a:pt x="469" y="1588"/>
                        <a:pt x="436" y="1596"/>
                      </a:cubicBezTo>
                      <a:cubicBezTo>
                        <a:pt x="404" y="1606"/>
                        <a:pt x="370" y="1617"/>
                        <a:pt x="338" y="1625"/>
                      </a:cubicBezTo>
                      <a:cubicBezTo>
                        <a:pt x="303" y="1637"/>
                        <a:pt x="270" y="1646"/>
                        <a:pt x="238" y="1657"/>
                      </a:cubicBezTo>
                      <a:cubicBezTo>
                        <a:pt x="159" y="1681"/>
                        <a:pt x="79" y="1704"/>
                        <a:pt x="1" y="1730"/>
                      </a:cubicBezTo>
                      <a:lnTo>
                        <a:pt x="10928" y="23215"/>
                      </a:lnTo>
                      <a:lnTo>
                        <a:pt x="10928" y="0"/>
                      </a:lnTo>
                      <a:close/>
                    </a:path>
                  </a:pathLst>
                </a:custGeom>
                <a:noFill/>
                <a:ln w="9525" cap="flat" cmpd="sng">
                  <a:solidFill>
                    <a:srgbClr val="CFD9E0"/>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9248" name="Google Shape;9248;p108"/>
              <p:cNvGrpSpPr/>
              <p:nvPr/>
            </p:nvGrpSpPr>
            <p:grpSpPr>
              <a:xfrm>
                <a:off x="6915505" y="1193063"/>
                <a:ext cx="284947" cy="589637"/>
                <a:chOff x="6915505" y="1193063"/>
                <a:chExt cx="284947" cy="589637"/>
              </a:xfrm>
            </p:grpSpPr>
            <p:sp>
              <p:nvSpPr>
                <p:cNvPr id="9249" name="Google Shape;9249;p108"/>
                <p:cNvSpPr/>
                <p:nvPr/>
              </p:nvSpPr>
              <p:spPr>
                <a:xfrm>
                  <a:off x="6915505" y="1193063"/>
                  <a:ext cx="284947" cy="63648"/>
                </a:xfrm>
                <a:custGeom>
                  <a:avLst/>
                  <a:gdLst/>
                  <a:ahLst/>
                  <a:cxnLst/>
                  <a:rect l="l" t="t" r="r" b="b"/>
                  <a:pathLst>
                    <a:path w="32762" h="7318" extrusionOk="0">
                      <a:moveTo>
                        <a:pt x="0" y="1"/>
                      </a:moveTo>
                      <a:lnTo>
                        <a:pt x="0" y="7318"/>
                      </a:lnTo>
                      <a:lnTo>
                        <a:pt x="32762" y="7318"/>
                      </a:lnTo>
                      <a:lnTo>
                        <a:pt x="32762" y="1"/>
                      </a:lnTo>
                      <a:close/>
                    </a:path>
                  </a:pathLst>
                </a:custGeom>
                <a:noFill/>
                <a:ln w="9525" cap="flat" cmpd="sng">
                  <a:solidFill>
                    <a:srgbClr val="CFD9E0"/>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cxnSp>
              <p:nvCxnSpPr>
                <p:cNvPr id="9250" name="Google Shape;9250;p108"/>
                <p:cNvCxnSpPr/>
                <p:nvPr/>
              </p:nvCxnSpPr>
              <p:spPr>
                <a:xfrm rot="10800000">
                  <a:off x="6938275" y="1279600"/>
                  <a:ext cx="0" cy="503100"/>
                </a:xfrm>
                <a:prstGeom prst="straightConnector1">
                  <a:avLst/>
                </a:prstGeom>
                <a:noFill/>
                <a:ln w="9525" cap="flat" cmpd="sng">
                  <a:solidFill>
                    <a:srgbClr val="CFD9E0"/>
                  </a:solidFill>
                  <a:prstDash val="solid"/>
                  <a:round/>
                  <a:headEnd type="none" w="med" len="med"/>
                  <a:tailEnd type="oval" w="med" len="med"/>
                </a:ln>
              </p:spPr>
            </p:cxnSp>
          </p:grpSp>
        </p:grpSp>
        <p:grpSp>
          <p:nvGrpSpPr>
            <p:cNvPr id="9251" name="Google Shape;9251;p108"/>
            <p:cNvGrpSpPr/>
            <p:nvPr/>
          </p:nvGrpSpPr>
          <p:grpSpPr>
            <a:xfrm>
              <a:off x="6520337" y="1193063"/>
              <a:ext cx="341815" cy="801589"/>
              <a:chOff x="6520337" y="1193063"/>
              <a:chExt cx="341815" cy="801589"/>
            </a:xfrm>
          </p:grpSpPr>
          <p:grpSp>
            <p:nvGrpSpPr>
              <p:cNvPr id="9252" name="Google Shape;9252;p108"/>
              <p:cNvGrpSpPr/>
              <p:nvPr/>
            </p:nvGrpSpPr>
            <p:grpSpPr>
              <a:xfrm>
                <a:off x="6520337" y="1589527"/>
                <a:ext cx="213950" cy="405125"/>
                <a:chOff x="6520337" y="1589527"/>
                <a:chExt cx="213950" cy="405125"/>
              </a:xfrm>
            </p:grpSpPr>
            <p:sp>
              <p:nvSpPr>
                <p:cNvPr id="9253" name="Google Shape;9253;p108"/>
                <p:cNvSpPr/>
                <p:nvPr/>
              </p:nvSpPr>
              <p:spPr>
                <a:xfrm rot="-5400000">
                  <a:off x="6522864" y="1587001"/>
                  <a:ext cx="208853" cy="213906"/>
                </a:xfrm>
                <a:custGeom>
                  <a:avLst/>
                  <a:gdLst/>
                  <a:ahLst/>
                  <a:cxnLst/>
                  <a:rect l="l" t="t" r="r" b="b"/>
                  <a:pathLst>
                    <a:path w="24013" h="24594" extrusionOk="0">
                      <a:moveTo>
                        <a:pt x="725" y="0"/>
                      </a:moveTo>
                      <a:cubicBezTo>
                        <a:pt x="482" y="0"/>
                        <a:pt x="241" y="3"/>
                        <a:pt x="0" y="5"/>
                      </a:cubicBezTo>
                      <a:lnTo>
                        <a:pt x="0" y="22597"/>
                      </a:lnTo>
                      <a:cubicBezTo>
                        <a:pt x="118" y="22596"/>
                        <a:pt x="222" y="22595"/>
                        <a:pt x="312" y="22595"/>
                      </a:cubicBezTo>
                      <a:cubicBezTo>
                        <a:pt x="582" y="22595"/>
                        <a:pt x="725" y="22600"/>
                        <a:pt x="725" y="22600"/>
                      </a:cubicBezTo>
                      <a:cubicBezTo>
                        <a:pt x="725" y="22600"/>
                        <a:pt x="872" y="22595"/>
                        <a:pt x="1149" y="22595"/>
                      </a:cubicBezTo>
                      <a:cubicBezTo>
                        <a:pt x="2638" y="22595"/>
                        <a:pt x="7882" y="22740"/>
                        <a:pt x="14103" y="24594"/>
                      </a:cubicBezTo>
                      <a:lnTo>
                        <a:pt x="24013" y="5327"/>
                      </a:lnTo>
                      <a:cubicBezTo>
                        <a:pt x="24013" y="5327"/>
                        <a:pt x="16917" y="0"/>
                        <a:pt x="725" y="0"/>
                      </a:cubicBezTo>
                      <a:close/>
                    </a:path>
                  </a:pathLst>
                </a:custGeom>
                <a:noFill/>
                <a:ln w="9525" cap="flat" cmpd="sng">
                  <a:solidFill>
                    <a:srgbClr val="A5B7C6"/>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9254" name="Google Shape;9254;p108"/>
                <p:cNvSpPr/>
                <p:nvPr/>
              </p:nvSpPr>
              <p:spPr>
                <a:xfrm rot="-5400000">
                  <a:off x="6529204" y="1789569"/>
                  <a:ext cx="196250" cy="213915"/>
                </a:xfrm>
                <a:custGeom>
                  <a:avLst/>
                  <a:gdLst/>
                  <a:ahLst/>
                  <a:cxnLst/>
                  <a:rect l="l" t="t" r="r" b="b"/>
                  <a:pathLst>
                    <a:path w="22564" h="24595" extrusionOk="0">
                      <a:moveTo>
                        <a:pt x="22564" y="1"/>
                      </a:moveTo>
                      <a:cubicBezTo>
                        <a:pt x="15114" y="73"/>
                        <a:pt x="9649" y="1280"/>
                        <a:pt x="5965" y="2527"/>
                      </a:cubicBezTo>
                      <a:lnTo>
                        <a:pt x="5965" y="2528"/>
                      </a:lnTo>
                      <a:cubicBezTo>
                        <a:pt x="2949" y="3548"/>
                        <a:pt x="1124" y="4595"/>
                        <a:pt x="385" y="5067"/>
                      </a:cubicBezTo>
                      <a:cubicBezTo>
                        <a:pt x="382" y="5067"/>
                        <a:pt x="382" y="5068"/>
                        <a:pt x="380" y="5068"/>
                      </a:cubicBezTo>
                      <a:cubicBezTo>
                        <a:pt x="373" y="5074"/>
                        <a:pt x="366" y="5078"/>
                        <a:pt x="358" y="5083"/>
                      </a:cubicBezTo>
                      <a:cubicBezTo>
                        <a:pt x="344" y="5091"/>
                        <a:pt x="329" y="5100"/>
                        <a:pt x="316" y="5110"/>
                      </a:cubicBezTo>
                      <a:cubicBezTo>
                        <a:pt x="315" y="5112"/>
                        <a:pt x="313" y="5113"/>
                        <a:pt x="312" y="5113"/>
                      </a:cubicBezTo>
                      <a:cubicBezTo>
                        <a:pt x="293" y="5125"/>
                        <a:pt x="275" y="5136"/>
                        <a:pt x="258" y="5148"/>
                      </a:cubicBezTo>
                      <a:cubicBezTo>
                        <a:pt x="255" y="5150"/>
                        <a:pt x="251" y="5152"/>
                        <a:pt x="248" y="5155"/>
                      </a:cubicBezTo>
                      <a:cubicBezTo>
                        <a:pt x="240" y="5160"/>
                        <a:pt x="232" y="5166"/>
                        <a:pt x="224" y="5171"/>
                      </a:cubicBezTo>
                      <a:lnTo>
                        <a:pt x="191" y="5193"/>
                      </a:lnTo>
                      <a:cubicBezTo>
                        <a:pt x="189" y="5193"/>
                        <a:pt x="189" y="5195"/>
                        <a:pt x="188" y="5195"/>
                      </a:cubicBezTo>
                      <a:lnTo>
                        <a:pt x="171" y="5206"/>
                      </a:lnTo>
                      <a:cubicBezTo>
                        <a:pt x="162" y="5211"/>
                        <a:pt x="153" y="5217"/>
                        <a:pt x="146" y="5222"/>
                      </a:cubicBezTo>
                      <a:cubicBezTo>
                        <a:pt x="144" y="5224"/>
                        <a:pt x="144" y="5225"/>
                        <a:pt x="141" y="5225"/>
                      </a:cubicBezTo>
                      <a:cubicBezTo>
                        <a:pt x="137" y="5230"/>
                        <a:pt x="131" y="5231"/>
                        <a:pt x="127" y="5236"/>
                      </a:cubicBezTo>
                      <a:cubicBezTo>
                        <a:pt x="118" y="5243"/>
                        <a:pt x="109" y="5247"/>
                        <a:pt x="102" y="5253"/>
                      </a:cubicBezTo>
                      <a:cubicBezTo>
                        <a:pt x="95" y="5260"/>
                        <a:pt x="88" y="5265"/>
                        <a:pt x="80" y="5269"/>
                      </a:cubicBezTo>
                      <a:cubicBezTo>
                        <a:pt x="39" y="5297"/>
                        <a:pt x="15" y="5316"/>
                        <a:pt x="6" y="5323"/>
                      </a:cubicBezTo>
                      <a:lnTo>
                        <a:pt x="3" y="5324"/>
                      </a:lnTo>
                      <a:lnTo>
                        <a:pt x="0" y="5326"/>
                      </a:lnTo>
                      <a:lnTo>
                        <a:pt x="9910" y="24594"/>
                      </a:lnTo>
                      <a:cubicBezTo>
                        <a:pt x="10017" y="24561"/>
                        <a:pt x="10124" y="24530"/>
                        <a:pt x="10231" y="24499"/>
                      </a:cubicBezTo>
                      <a:cubicBezTo>
                        <a:pt x="10284" y="24482"/>
                        <a:pt x="10339" y="24466"/>
                        <a:pt x="10392" y="24451"/>
                      </a:cubicBezTo>
                      <a:cubicBezTo>
                        <a:pt x="10473" y="24428"/>
                        <a:pt x="10553" y="24403"/>
                        <a:pt x="10633" y="24381"/>
                      </a:cubicBezTo>
                      <a:cubicBezTo>
                        <a:pt x="10664" y="24373"/>
                        <a:pt x="10691" y="24364"/>
                        <a:pt x="10721" y="24357"/>
                      </a:cubicBezTo>
                      <a:cubicBezTo>
                        <a:pt x="10786" y="24339"/>
                        <a:pt x="10855" y="24320"/>
                        <a:pt x="10920" y="24303"/>
                      </a:cubicBezTo>
                      <a:cubicBezTo>
                        <a:pt x="10930" y="24298"/>
                        <a:pt x="10943" y="24297"/>
                        <a:pt x="10955" y="24293"/>
                      </a:cubicBezTo>
                      <a:cubicBezTo>
                        <a:pt x="11032" y="24274"/>
                        <a:pt x="11111" y="24252"/>
                        <a:pt x="11188" y="24231"/>
                      </a:cubicBezTo>
                      <a:cubicBezTo>
                        <a:pt x="11192" y="24230"/>
                        <a:pt x="11200" y="24227"/>
                        <a:pt x="11206" y="24226"/>
                      </a:cubicBezTo>
                      <a:cubicBezTo>
                        <a:pt x="11307" y="24198"/>
                        <a:pt x="11409" y="24172"/>
                        <a:pt x="11511" y="24146"/>
                      </a:cubicBezTo>
                      <a:cubicBezTo>
                        <a:pt x="11613" y="24118"/>
                        <a:pt x="11715" y="24093"/>
                        <a:pt x="11816" y="24067"/>
                      </a:cubicBezTo>
                      <a:cubicBezTo>
                        <a:pt x="11877" y="24052"/>
                        <a:pt x="11938" y="24036"/>
                        <a:pt x="11998" y="24022"/>
                      </a:cubicBezTo>
                      <a:cubicBezTo>
                        <a:pt x="12071" y="24004"/>
                        <a:pt x="12143" y="23987"/>
                        <a:pt x="12216" y="23969"/>
                      </a:cubicBezTo>
                      <a:cubicBezTo>
                        <a:pt x="17046" y="22790"/>
                        <a:pt x="20998" y="22614"/>
                        <a:pt x="22564" y="22595"/>
                      </a:cubicBezTo>
                      <a:lnTo>
                        <a:pt x="22564" y="1"/>
                      </a:lnTo>
                      <a:close/>
                    </a:path>
                  </a:pathLst>
                </a:custGeom>
                <a:noFill/>
                <a:ln w="9525" cap="flat" cmpd="sng">
                  <a:solidFill>
                    <a:srgbClr val="A5B7C6"/>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9255" name="Google Shape;9255;p108"/>
              <p:cNvGrpSpPr/>
              <p:nvPr/>
            </p:nvGrpSpPr>
            <p:grpSpPr>
              <a:xfrm>
                <a:off x="6577204" y="1193063"/>
                <a:ext cx="284947" cy="453562"/>
                <a:chOff x="6577204" y="1193063"/>
                <a:chExt cx="284947" cy="453562"/>
              </a:xfrm>
            </p:grpSpPr>
            <p:sp>
              <p:nvSpPr>
                <p:cNvPr id="9256" name="Google Shape;9256;p108"/>
                <p:cNvSpPr/>
                <p:nvPr/>
              </p:nvSpPr>
              <p:spPr>
                <a:xfrm>
                  <a:off x="6577204" y="1193063"/>
                  <a:ext cx="284947" cy="63648"/>
                </a:xfrm>
                <a:custGeom>
                  <a:avLst/>
                  <a:gdLst/>
                  <a:ahLst/>
                  <a:cxnLst/>
                  <a:rect l="l" t="t" r="r" b="b"/>
                  <a:pathLst>
                    <a:path w="32762" h="7318" extrusionOk="0">
                      <a:moveTo>
                        <a:pt x="0" y="1"/>
                      </a:moveTo>
                      <a:lnTo>
                        <a:pt x="0" y="7318"/>
                      </a:lnTo>
                      <a:lnTo>
                        <a:pt x="32762" y="7318"/>
                      </a:lnTo>
                      <a:lnTo>
                        <a:pt x="32762" y="1"/>
                      </a:lnTo>
                      <a:close/>
                    </a:path>
                  </a:pathLst>
                </a:custGeom>
                <a:noFill/>
                <a:ln w="9525" cap="flat" cmpd="sng">
                  <a:solidFill>
                    <a:srgbClr val="A5B7C6"/>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cxnSp>
              <p:nvCxnSpPr>
                <p:cNvPr id="9257" name="Google Shape;9257;p108"/>
                <p:cNvCxnSpPr/>
                <p:nvPr/>
              </p:nvCxnSpPr>
              <p:spPr>
                <a:xfrm rot="10800000">
                  <a:off x="6677825" y="1279425"/>
                  <a:ext cx="0" cy="367200"/>
                </a:xfrm>
                <a:prstGeom prst="straightConnector1">
                  <a:avLst/>
                </a:prstGeom>
                <a:noFill/>
                <a:ln w="9525" cap="flat" cmpd="sng">
                  <a:solidFill>
                    <a:srgbClr val="A5B7C6"/>
                  </a:solidFill>
                  <a:prstDash val="solid"/>
                  <a:round/>
                  <a:headEnd type="none" w="med" len="med"/>
                  <a:tailEnd type="oval" w="med" len="med"/>
                </a:ln>
              </p:spPr>
            </p:cxnSp>
          </p:grpSp>
        </p:grpSp>
        <p:grpSp>
          <p:nvGrpSpPr>
            <p:cNvPr id="9258" name="Google Shape;9258;p108"/>
            <p:cNvGrpSpPr/>
            <p:nvPr/>
          </p:nvGrpSpPr>
          <p:grpSpPr>
            <a:xfrm>
              <a:off x="6238903" y="1193063"/>
              <a:ext cx="300475" cy="901782"/>
              <a:chOff x="6238903" y="1193063"/>
              <a:chExt cx="300475" cy="901782"/>
            </a:xfrm>
          </p:grpSpPr>
          <p:grpSp>
            <p:nvGrpSpPr>
              <p:cNvPr id="9259" name="Google Shape;9259;p108"/>
              <p:cNvGrpSpPr/>
              <p:nvPr/>
            </p:nvGrpSpPr>
            <p:grpSpPr>
              <a:xfrm>
                <a:off x="6290865" y="1489315"/>
                <a:ext cx="248514" cy="605530"/>
                <a:chOff x="6290865" y="1489315"/>
                <a:chExt cx="248514" cy="605530"/>
              </a:xfrm>
            </p:grpSpPr>
            <p:sp>
              <p:nvSpPr>
                <p:cNvPr id="9260" name="Google Shape;9260;p108"/>
                <p:cNvSpPr/>
                <p:nvPr/>
              </p:nvSpPr>
              <p:spPr>
                <a:xfrm rot="-5400000">
                  <a:off x="6260589" y="1519591"/>
                  <a:ext cx="309066" cy="248514"/>
                </a:xfrm>
                <a:custGeom>
                  <a:avLst/>
                  <a:gdLst/>
                  <a:ahLst/>
                  <a:cxnLst/>
                  <a:rect l="l" t="t" r="r" b="b"/>
                  <a:pathLst>
                    <a:path w="35535" h="28573" extrusionOk="0">
                      <a:moveTo>
                        <a:pt x="727" y="0"/>
                      </a:moveTo>
                      <a:cubicBezTo>
                        <a:pt x="484" y="0"/>
                        <a:pt x="241" y="2"/>
                        <a:pt x="0" y="3"/>
                      </a:cubicBezTo>
                      <a:lnTo>
                        <a:pt x="0" y="22994"/>
                      </a:lnTo>
                      <a:cubicBezTo>
                        <a:pt x="259" y="22992"/>
                        <a:pt x="501" y="22989"/>
                        <a:pt x="727" y="22989"/>
                      </a:cubicBezTo>
                      <a:cubicBezTo>
                        <a:pt x="5078" y="22989"/>
                        <a:pt x="15152" y="23439"/>
                        <a:pt x="25134" y="28572"/>
                      </a:cubicBezTo>
                      <a:lnTo>
                        <a:pt x="35534" y="9632"/>
                      </a:lnTo>
                      <a:cubicBezTo>
                        <a:pt x="35534" y="9632"/>
                        <a:pt x="21952" y="0"/>
                        <a:pt x="727" y="0"/>
                      </a:cubicBezTo>
                      <a:close/>
                    </a:path>
                  </a:pathLst>
                </a:custGeom>
                <a:noFill/>
                <a:ln w="9525" cap="flat" cmpd="sng">
                  <a:solidFill>
                    <a:srgbClr val="869FB2"/>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9261" name="Google Shape;9261;p108"/>
                <p:cNvSpPr/>
                <p:nvPr/>
              </p:nvSpPr>
              <p:spPr>
                <a:xfrm rot="-5400000">
                  <a:off x="6266916" y="1822383"/>
                  <a:ext cx="296437" cy="248488"/>
                </a:xfrm>
                <a:custGeom>
                  <a:avLst/>
                  <a:gdLst/>
                  <a:ahLst/>
                  <a:cxnLst/>
                  <a:rect l="l" t="t" r="r" b="b"/>
                  <a:pathLst>
                    <a:path w="34083" h="28570" extrusionOk="0">
                      <a:moveTo>
                        <a:pt x="34083" y="0"/>
                      </a:moveTo>
                      <a:cubicBezTo>
                        <a:pt x="22684" y="120"/>
                        <a:pt x="13548" y="2997"/>
                        <a:pt x="7617" y="5579"/>
                      </a:cubicBezTo>
                      <a:cubicBezTo>
                        <a:pt x="5629" y="6444"/>
                        <a:pt x="3999" y="7274"/>
                        <a:pt x="2767" y="7955"/>
                      </a:cubicBezTo>
                      <a:cubicBezTo>
                        <a:pt x="2743" y="7970"/>
                        <a:pt x="2717" y="7985"/>
                        <a:pt x="2693" y="7996"/>
                      </a:cubicBezTo>
                      <a:cubicBezTo>
                        <a:pt x="2692" y="7996"/>
                        <a:pt x="2689" y="7999"/>
                        <a:pt x="2687" y="7999"/>
                      </a:cubicBezTo>
                      <a:cubicBezTo>
                        <a:pt x="2454" y="8127"/>
                        <a:pt x="2237" y="8251"/>
                        <a:pt x="2034" y="8368"/>
                      </a:cubicBezTo>
                      <a:lnTo>
                        <a:pt x="1958" y="8411"/>
                      </a:lnTo>
                      <a:cubicBezTo>
                        <a:pt x="1952" y="8416"/>
                        <a:pt x="1949" y="8418"/>
                        <a:pt x="1943" y="8421"/>
                      </a:cubicBezTo>
                      <a:cubicBezTo>
                        <a:pt x="1913" y="8437"/>
                        <a:pt x="1884" y="8455"/>
                        <a:pt x="1854" y="8472"/>
                      </a:cubicBezTo>
                      <a:cubicBezTo>
                        <a:pt x="1844" y="8478"/>
                        <a:pt x="1834" y="8483"/>
                        <a:pt x="1825" y="8488"/>
                      </a:cubicBezTo>
                      <a:cubicBezTo>
                        <a:pt x="1718" y="8552"/>
                        <a:pt x="1616" y="8612"/>
                        <a:pt x="1517" y="8670"/>
                      </a:cubicBezTo>
                      <a:cubicBezTo>
                        <a:pt x="1476" y="8697"/>
                        <a:pt x="1435" y="8720"/>
                        <a:pt x="1396" y="8743"/>
                      </a:cubicBezTo>
                      <a:cubicBezTo>
                        <a:pt x="1349" y="8771"/>
                        <a:pt x="1305" y="8799"/>
                        <a:pt x="1262" y="8823"/>
                      </a:cubicBezTo>
                      <a:cubicBezTo>
                        <a:pt x="1246" y="8832"/>
                        <a:pt x="1230" y="8844"/>
                        <a:pt x="1214" y="8852"/>
                      </a:cubicBezTo>
                      <a:cubicBezTo>
                        <a:pt x="1166" y="8882"/>
                        <a:pt x="1119" y="8911"/>
                        <a:pt x="1072" y="8938"/>
                      </a:cubicBezTo>
                      <a:cubicBezTo>
                        <a:pt x="1042" y="8956"/>
                        <a:pt x="1013" y="8973"/>
                        <a:pt x="985" y="8991"/>
                      </a:cubicBezTo>
                      <a:cubicBezTo>
                        <a:pt x="941" y="9018"/>
                        <a:pt x="901" y="9043"/>
                        <a:pt x="860" y="9069"/>
                      </a:cubicBezTo>
                      <a:cubicBezTo>
                        <a:pt x="845" y="9078"/>
                        <a:pt x="832" y="9087"/>
                        <a:pt x="821" y="9094"/>
                      </a:cubicBezTo>
                      <a:cubicBezTo>
                        <a:pt x="794" y="9112"/>
                        <a:pt x="771" y="9126"/>
                        <a:pt x="748" y="9141"/>
                      </a:cubicBezTo>
                      <a:cubicBezTo>
                        <a:pt x="733" y="9148"/>
                        <a:pt x="720" y="9157"/>
                        <a:pt x="706" y="9166"/>
                      </a:cubicBezTo>
                      <a:cubicBezTo>
                        <a:pt x="692" y="9174"/>
                        <a:pt x="678" y="9182"/>
                        <a:pt x="665" y="9192"/>
                      </a:cubicBezTo>
                      <a:cubicBezTo>
                        <a:pt x="643" y="9206"/>
                        <a:pt x="621" y="9218"/>
                        <a:pt x="599" y="9233"/>
                      </a:cubicBezTo>
                      <a:cubicBezTo>
                        <a:pt x="582" y="9244"/>
                        <a:pt x="567" y="9254"/>
                        <a:pt x="551" y="9265"/>
                      </a:cubicBezTo>
                      <a:cubicBezTo>
                        <a:pt x="534" y="9275"/>
                        <a:pt x="518" y="9283"/>
                        <a:pt x="502" y="9295"/>
                      </a:cubicBezTo>
                      <a:cubicBezTo>
                        <a:pt x="483" y="9305"/>
                        <a:pt x="465" y="9318"/>
                        <a:pt x="446" y="9330"/>
                      </a:cubicBezTo>
                      <a:cubicBezTo>
                        <a:pt x="305" y="9422"/>
                        <a:pt x="196" y="9493"/>
                        <a:pt x="122" y="9544"/>
                      </a:cubicBezTo>
                      <a:lnTo>
                        <a:pt x="104" y="9556"/>
                      </a:lnTo>
                      <a:cubicBezTo>
                        <a:pt x="72" y="9578"/>
                        <a:pt x="46" y="9595"/>
                        <a:pt x="30" y="9607"/>
                      </a:cubicBezTo>
                      <a:cubicBezTo>
                        <a:pt x="28" y="9608"/>
                        <a:pt x="24" y="9610"/>
                        <a:pt x="23" y="9611"/>
                      </a:cubicBezTo>
                      <a:cubicBezTo>
                        <a:pt x="17" y="9615"/>
                        <a:pt x="14" y="9618"/>
                        <a:pt x="9" y="9621"/>
                      </a:cubicBezTo>
                      <a:cubicBezTo>
                        <a:pt x="8" y="9623"/>
                        <a:pt x="7" y="9624"/>
                        <a:pt x="5" y="9624"/>
                      </a:cubicBezTo>
                      <a:lnTo>
                        <a:pt x="1" y="9629"/>
                      </a:lnTo>
                      <a:lnTo>
                        <a:pt x="10402" y="28569"/>
                      </a:lnTo>
                      <a:lnTo>
                        <a:pt x="10669" y="28432"/>
                      </a:lnTo>
                      <a:cubicBezTo>
                        <a:pt x="10734" y="28399"/>
                        <a:pt x="10803" y="28365"/>
                        <a:pt x="10868" y="28333"/>
                      </a:cubicBezTo>
                      <a:cubicBezTo>
                        <a:pt x="10913" y="28309"/>
                        <a:pt x="10960" y="28287"/>
                        <a:pt x="11007" y="28263"/>
                      </a:cubicBezTo>
                      <a:cubicBezTo>
                        <a:pt x="11052" y="28242"/>
                        <a:pt x="11095" y="28220"/>
                        <a:pt x="11141" y="28198"/>
                      </a:cubicBezTo>
                      <a:cubicBezTo>
                        <a:pt x="11264" y="28138"/>
                        <a:pt x="11387" y="28079"/>
                        <a:pt x="11510" y="28020"/>
                      </a:cubicBezTo>
                      <a:cubicBezTo>
                        <a:pt x="11570" y="27991"/>
                        <a:pt x="11633" y="27962"/>
                        <a:pt x="11694" y="27933"/>
                      </a:cubicBezTo>
                      <a:cubicBezTo>
                        <a:pt x="11754" y="27904"/>
                        <a:pt x="11816" y="27875"/>
                        <a:pt x="11877" y="27846"/>
                      </a:cubicBezTo>
                      <a:cubicBezTo>
                        <a:pt x="20843" y="23637"/>
                        <a:pt x="29650" y="23043"/>
                        <a:pt x="34083" y="22991"/>
                      </a:cubicBezTo>
                      <a:lnTo>
                        <a:pt x="34083" y="0"/>
                      </a:lnTo>
                      <a:close/>
                    </a:path>
                  </a:pathLst>
                </a:custGeom>
                <a:noFill/>
                <a:ln w="9525" cap="flat" cmpd="sng">
                  <a:solidFill>
                    <a:srgbClr val="869FB2"/>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9262" name="Google Shape;9262;p108"/>
              <p:cNvGrpSpPr/>
              <p:nvPr/>
            </p:nvGrpSpPr>
            <p:grpSpPr>
              <a:xfrm>
                <a:off x="6238903" y="1193063"/>
                <a:ext cx="284947" cy="327512"/>
                <a:chOff x="6238903" y="1193063"/>
                <a:chExt cx="284947" cy="327512"/>
              </a:xfrm>
            </p:grpSpPr>
            <p:sp>
              <p:nvSpPr>
                <p:cNvPr id="9263" name="Google Shape;9263;p108"/>
                <p:cNvSpPr/>
                <p:nvPr/>
              </p:nvSpPr>
              <p:spPr>
                <a:xfrm>
                  <a:off x="6238903" y="1193063"/>
                  <a:ext cx="284947" cy="63648"/>
                </a:xfrm>
                <a:custGeom>
                  <a:avLst/>
                  <a:gdLst/>
                  <a:ahLst/>
                  <a:cxnLst/>
                  <a:rect l="l" t="t" r="r" b="b"/>
                  <a:pathLst>
                    <a:path w="32762" h="7318" extrusionOk="0">
                      <a:moveTo>
                        <a:pt x="0" y="0"/>
                      </a:moveTo>
                      <a:lnTo>
                        <a:pt x="0" y="7317"/>
                      </a:lnTo>
                      <a:lnTo>
                        <a:pt x="32762" y="7317"/>
                      </a:lnTo>
                      <a:lnTo>
                        <a:pt x="32762" y="0"/>
                      </a:lnTo>
                      <a:close/>
                    </a:path>
                  </a:pathLst>
                </a:custGeom>
                <a:noFill/>
                <a:ln w="9525" cap="flat" cmpd="sng">
                  <a:solidFill>
                    <a:srgbClr val="869FB2"/>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cxnSp>
              <p:nvCxnSpPr>
                <p:cNvPr id="9264" name="Google Shape;9264;p108"/>
                <p:cNvCxnSpPr/>
                <p:nvPr/>
              </p:nvCxnSpPr>
              <p:spPr>
                <a:xfrm rot="10800000">
                  <a:off x="6431250" y="1279375"/>
                  <a:ext cx="0" cy="241200"/>
                </a:xfrm>
                <a:prstGeom prst="straightConnector1">
                  <a:avLst/>
                </a:prstGeom>
                <a:noFill/>
                <a:ln w="9525" cap="flat" cmpd="sng">
                  <a:solidFill>
                    <a:srgbClr val="869FB2"/>
                  </a:solidFill>
                  <a:prstDash val="solid"/>
                  <a:round/>
                  <a:headEnd type="none" w="med" len="med"/>
                  <a:tailEnd type="oval" w="med" len="med"/>
                </a:ln>
              </p:spPr>
            </p:cxnSp>
          </p:grpSp>
        </p:grpSp>
        <p:grpSp>
          <p:nvGrpSpPr>
            <p:cNvPr id="9265" name="Google Shape;9265;p108"/>
            <p:cNvGrpSpPr/>
            <p:nvPr/>
          </p:nvGrpSpPr>
          <p:grpSpPr>
            <a:xfrm>
              <a:off x="5900602" y="1193063"/>
              <a:ext cx="444345" cy="1023338"/>
              <a:chOff x="5900602" y="1193063"/>
              <a:chExt cx="444345" cy="1023338"/>
            </a:xfrm>
          </p:grpSpPr>
          <p:grpSp>
            <p:nvGrpSpPr>
              <p:cNvPr id="9266" name="Google Shape;9266;p108"/>
              <p:cNvGrpSpPr/>
              <p:nvPr/>
            </p:nvGrpSpPr>
            <p:grpSpPr>
              <a:xfrm>
                <a:off x="6046501" y="1367785"/>
                <a:ext cx="298446" cy="848616"/>
                <a:chOff x="6046501" y="1367785"/>
                <a:chExt cx="298446" cy="848616"/>
              </a:xfrm>
            </p:grpSpPr>
            <p:sp>
              <p:nvSpPr>
                <p:cNvPr id="9267" name="Google Shape;9267;p108"/>
                <p:cNvSpPr/>
                <p:nvPr/>
              </p:nvSpPr>
              <p:spPr>
                <a:xfrm rot="-5400000">
                  <a:off x="5980418" y="1433868"/>
                  <a:ext cx="430613" cy="298446"/>
                </a:xfrm>
                <a:custGeom>
                  <a:avLst/>
                  <a:gdLst/>
                  <a:ahLst/>
                  <a:cxnLst/>
                  <a:rect l="l" t="t" r="r" b="b"/>
                  <a:pathLst>
                    <a:path w="49510" h="34314" extrusionOk="0">
                      <a:moveTo>
                        <a:pt x="722" y="0"/>
                      </a:moveTo>
                      <a:cubicBezTo>
                        <a:pt x="481" y="0"/>
                        <a:pt x="241" y="0"/>
                        <a:pt x="1" y="3"/>
                      </a:cubicBezTo>
                      <a:lnTo>
                        <a:pt x="1" y="24234"/>
                      </a:lnTo>
                      <a:cubicBezTo>
                        <a:pt x="243" y="24230"/>
                        <a:pt x="428" y="24229"/>
                        <a:pt x="550" y="24229"/>
                      </a:cubicBezTo>
                      <a:cubicBezTo>
                        <a:pt x="648" y="24229"/>
                        <a:pt x="706" y="24230"/>
                        <a:pt x="722" y="24230"/>
                      </a:cubicBezTo>
                      <a:lnTo>
                        <a:pt x="729" y="24230"/>
                      </a:lnTo>
                      <a:cubicBezTo>
                        <a:pt x="773" y="24230"/>
                        <a:pt x="1173" y="24214"/>
                        <a:pt x="1871" y="24214"/>
                      </a:cubicBezTo>
                      <a:cubicBezTo>
                        <a:pt x="6340" y="24214"/>
                        <a:pt x="23046" y="24853"/>
                        <a:pt x="37171" y="34314"/>
                      </a:cubicBezTo>
                      <a:lnTo>
                        <a:pt x="49510" y="11872"/>
                      </a:lnTo>
                      <a:cubicBezTo>
                        <a:pt x="49510" y="11872"/>
                        <a:pt x="31299" y="3"/>
                        <a:pt x="729" y="0"/>
                      </a:cubicBezTo>
                      <a:close/>
                    </a:path>
                  </a:pathLst>
                </a:custGeom>
                <a:noFill/>
                <a:ln w="9525" cap="flat" cmpd="sng">
                  <a:solidFill>
                    <a:srgbClr val="657E93"/>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9268" name="Google Shape;9268;p108"/>
                <p:cNvSpPr/>
                <p:nvPr/>
              </p:nvSpPr>
              <p:spPr>
                <a:xfrm rot="-5400000">
                  <a:off x="5986745" y="1858198"/>
                  <a:ext cx="417984" cy="298420"/>
                </a:xfrm>
                <a:custGeom>
                  <a:avLst/>
                  <a:gdLst/>
                  <a:ahLst/>
                  <a:cxnLst/>
                  <a:rect l="l" t="t" r="r" b="b"/>
                  <a:pathLst>
                    <a:path w="48058" h="34311" extrusionOk="0">
                      <a:moveTo>
                        <a:pt x="48058" y="0"/>
                      </a:moveTo>
                      <a:cubicBezTo>
                        <a:pt x="40706" y="47"/>
                        <a:pt x="34078" y="776"/>
                        <a:pt x="28261" y="1849"/>
                      </a:cubicBezTo>
                      <a:cubicBezTo>
                        <a:pt x="20919" y="3208"/>
                        <a:pt x="14865" y="5126"/>
                        <a:pt x="10271" y="6917"/>
                      </a:cubicBezTo>
                      <a:cubicBezTo>
                        <a:pt x="5004" y="8972"/>
                        <a:pt x="1653" y="10865"/>
                        <a:pt x="474" y="11571"/>
                      </a:cubicBezTo>
                      <a:cubicBezTo>
                        <a:pt x="462" y="11578"/>
                        <a:pt x="449" y="11585"/>
                        <a:pt x="439" y="11593"/>
                      </a:cubicBezTo>
                      <a:cubicBezTo>
                        <a:pt x="427" y="11600"/>
                        <a:pt x="417" y="11606"/>
                        <a:pt x="406" y="11613"/>
                      </a:cubicBezTo>
                      <a:cubicBezTo>
                        <a:pt x="384" y="11628"/>
                        <a:pt x="365" y="11638"/>
                        <a:pt x="344" y="11651"/>
                      </a:cubicBezTo>
                      <a:cubicBezTo>
                        <a:pt x="328" y="11661"/>
                        <a:pt x="311" y="11671"/>
                        <a:pt x="296" y="11680"/>
                      </a:cubicBezTo>
                      <a:cubicBezTo>
                        <a:pt x="285" y="11689"/>
                        <a:pt x="273" y="11696"/>
                        <a:pt x="260" y="11703"/>
                      </a:cubicBezTo>
                      <a:cubicBezTo>
                        <a:pt x="251" y="11709"/>
                        <a:pt x="242" y="11715"/>
                        <a:pt x="235" y="11719"/>
                      </a:cubicBezTo>
                      <a:cubicBezTo>
                        <a:pt x="126" y="11788"/>
                        <a:pt x="53" y="11833"/>
                        <a:pt x="20" y="11855"/>
                      </a:cubicBezTo>
                      <a:cubicBezTo>
                        <a:pt x="18" y="11856"/>
                        <a:pt x="14" y="11858"/>
                        <a:pt x="12" y="11861"/>
                      </a:cubicBezTo>
                      <a:cubicBezTo>
                        <a:pt x="4" y="11865"/>
                        <a:pt x="1" y="11869"/>
                        <a:pt x="1" y="11869"/>
                      </a:cubicBezTo>
                      <a:lnTo>
                        <a:pt x="12338" y="34311"/>
                      </a:lnTo>
                      <a:cubicBezTo>
                        <a:pt x="12429" y="34252"/>
                        <a:pt x="12518" y="34194"/>
                        <a:pt x="12608" y="34136"/>
                      </a:cubicBezTo>
                      <a:cubicBezTo>
                        <a:pt x="12655" y="34107"/>
                        <a:pt x="12700" y="34076"/>
                        <a:pt x="12747" y="34047"/>
                      </a:cubicBezTo>
                      <a:cubicBezTo>
                        <a:pt x="12789" y="34021"/>
                        <a:pt x="12830" y="33996"/>
                        <a:pt x="12869" y="33970"/>
                      </a:cubicBezTo>
                      <a:cubicBezTo>
                        <a:pt x="12927" y="33932"/>
                        <a:pt x="12986" y="33896"/>
                        <a:pt x="13045" y="33858"/>
                      </a:cubicBezTo>
                      <a:cubicBezTo>
                        <a:pt x="13124" y="33808"/>
                        <a:pt x="13204" y="33759"/>
                        <a:pt x="13283" y="33709"/>
                      </a:cubicBezTo>
                      <a:cubicBezTo>
                        <a:pt x="13363" y="33661"/>
                        <a:pt x="13441" y="33612"/>
                        <a:pt x="13521" y="33562"/>
                      </a:cubicBezTo>
                      <a:cubicBezTo>
                        <a:pt x="13601" y="33513"/>
                        <a:pt x="13679" y="33465"/>
                        <a:pt x="13759" y="33417"/>
                      </a:cubicBezTo>
                      <a:cubicBezTo>
                        <a:pt x="13842" y="33367"/>
                        <a:pt x="13922" y="33319"/>
                        <a:pt x="14003" y="33270"/>
                      </a:cubicBezTo>
                      <a:cubicBezTo>
                        <a:pt x="14082" y="33222"/>
                        <a:pt x="14159" y="33175"/>
                        <a:pt x="14238" y="33130"/>
                      </a:cubicBezTo>
                      <a:cubicBezTo>
                        <a:pt x="14318" y="33082"/>
                        <a:pt x="14398" y="33037"/>
                        <a:pt x="14478" y="32990"/>
                      </a:cubicBezTo>
                      <a:cubicBezTo>
                        <a:pt x="14558" y="32943"/>
                        <a:pt x="14638" y="32897"/>
                        <a:pt x="14718" y="32852"/>
                      </a:cubicBezTo>
                      <a:cubicBezTo>
                        <a:pt x="14798" y="32804"/>
                        <a:pt x="14879" y="32758"/>
                        <a:pt x="14959" y="32713"/>
                      </a:cubicBezTo>
                      <a:cubicBezTo>
                        <a:pt x="15120" y="32622"/>
                        <a:pt x="15280" y="32531"/>
                        <a:pt x="15444" y="32441"/>
                      </a:cubicBezTo>
                      <a:cubicBezTo>
                        <a:pt x="15521" y="32397"/>
                        <a:pt x="15598" y="32357"/>
                        <a:pt x="15674" y="32314"/>
                      </a:cubicBezTo>
                      <a:cubicBezTo>
                        <a:pt x="15698" y="32301"/>
                        <a:pt x="15723" y="32287"/>
                        <a:pt x="15746" y="32274"/>
                      </a:cubicBezTo>
                      <a:cubicBezTo>
                        <a:pt x="15888" y="32196"/>
                        <a:pt x="16029" y="32119"/>
                        <a:pt x="16172" y="32045"/>
                      </a:cubicBezTo>
                      <a:cubicBezTo>
                        <a:pt x="29547" y="24910"/>
                        <a:pt x="44618" y="24279"/>
                        <a:pt x="48058" y="24228"/>
                      </a:cubicBezTo>
                      <a:lnTo>
                        <a:pt x="48058" y="0"/>
                      </a:lnTo>
                      <a:close/>
                    </a:path>
                  </a:pathLst>
                </a:custGeom>
                <a:noFill/>
                <a:ln w="9525" cap="flat" cmpd="sng">
                  <a:solidFill>
                    <a:srgbClr val="657E93"/>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9269" name="Google Shape;9269;p108"/>
              <p:cNvGrpSpPr/>
              <p:nvPr/>
            </p:nvGrpSpPr>
            <p:grpSpPr>
              <a:xfrm>
                <a:off x="5900602" y="1193063"/>
                <a:ext cx="284947" cy="182312"/>
                <a:chOff x="5900602" y="1193063"/>
                <a:chExt cx="284947" cy="182312"/>
              </a:xfrm>
            </p:grpSpPr>
            <p:sp>
              <p:nvSpPr>
                <p:cNvPr id="9270" name="Google Shape;9270;p108"/>
                <p:cNvSpPr/>
                <p:nvPr/>
              </p:nvSpPr>
              <p:spPr>
                <a:xfrm>
                  <a:off x="5900602" y="1193063"/>
                  <a:ext cx="284947" cy="63648"/>
                </a:xfrm>
                <a:custGeom>
                  <a:avLst/>
                  <a:gdLst/>
                  <a:ahLst/>
                  <a:cxnLst/>
                  <a:rect l="l" t="t" r="r" b="b"/>
                  <a:pathLst>
                    <a:path w="32762" h="7318" extrusionOk="0">
                      <a:moveTo>
                        <a:pt x="0" y="0"/>
                      </a:moveTo>
                      <a:lnTo>
                        <a:pt x="0" y="7318"/>
                      </a:lnTo>
                      <a:lnTo>
                        <a:pt x="32762" y="7318"/>
                      </a:lnTo>
                      <a:lnTo>
                        <a:pt x="32762" y="0"/>
                      </a:lnTo>
                      <a:close/>
                    </a:path>
                  </a:pathLst>
                </a:custGeom>
                <a:noFill/>
                <a:ln w="9525" cap="flat" cmpd="sng">
                  <a:solidFill>
                    <a:srgbClr val="657E93"/>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cxnSp>
              <p:nvCxnSpPr>
                <p:cNvPr id="9271" name="Google Shape;9271;p108"/>
                <p:cNvCxnSpPr/>
                <p:nvPr/>
              </p:nvCxnSpPr>
              <p:spPr>
                <a:xfrm rot="10800000">
                  <a:off x="6156950" y="1279675"/>
                  <a:ext cx="0" cy="95700"/>
                </a:xfrm>
                <a:prstGeom prst="straightConnector1">
                  <a:avLst/>
                </a:prstGeom>
                <a:noFill/>
                <a:ln w="9525" cap="flat" cmpd="sng">
                  <a:solidFill>
                    <a:srgbClr val="657E93"/>
                  </a:solidFill>
                  <a:prstDash val="solid"/>
                  <a:round/>
                  <a:headEnd type="none" w="med" len="med"/>
                  <a:tailEnd type="oval" w="med" len="med"/>
                </a:ln>
              </p:spPr>
            </p:cxnSp>
          </p:grpSp>
        </p:grpSp>
      </p:grpSp>
      <p:grpSp>
        <p:nvGrpSpPr>
          <p:cNvPr id="9272" name="Google Shape;9272;p108"/>
          <p:cNvGrpSpPr/>
          <p:nvPr/>
        </p:nvGrpSpPr>
        <p:grpSpPr>
          <a:xfrm>
            <a:off x="9651313" y="1590945"/>
            <a:ext cx="1625884" cy="1401820"/>
            <a:chOff x="7287122" y="1165658"/>
            <a:chExt cx="1219413" cy="1051365"/>
          </a:xfrm>
        </p:grpSpPr>
        <p:grpSp>
          <p:nvGrpSpPr>
            <p:cNvPr id="9273" name="Google Shape;9273;p108"/>
            <p:cNvGrpSpPr/>
            <p:nvPr/>
          </p:nvGrpSpPr>
          <p:grpSpPr>
            <a:xfrm>
              <a:off x="7287122" y="1969723"/>
              <a:ext cx="1219413" cy="247300"/>
              <a:chOff x="7287122" y="1969723"/>
              <a:chExt cx="1219413" cy="247300"/>
            </a:xfrm>
          </p:grpSpPr>
          <p:sp>
            <p:nvSpPr>
              <p:cNvPr id="9274" name="Google Shape;9274;p108"/>
              <p:cNvSpPr/>
              <p:nvPr/>
            </p:nvSpPr>
            <p:spPr>
              <a:xfrm flipH="1">
                <a:off x="8366247" y="1969723"/>
                <a:ext cx="140288" cy="247300"/>
              </a:xfrm>
              <a:custGeom>
                <a:avLst/>
                <a:gdLst/>
                <a:ahLst/>
                <a:cxnLst/>
                <a:rect l="l" t="t" r="r" b="b"/>
                <a:pathLst>
                  <a:path w="14992" h="26428" extrusionOk="0">
                    <a:moveTo>
                      <a:pt x="31" y="0"/>
                    </a:moveTo>
                    <a:cubicBezTo>
                      <a:pt x="25" y="0"/>
                      <a:pt x="19" y="0"/>
                      <a:pt x="13" y="0"/>
                    </a:cubicBezTo>
                    <a:lnTo>
                      <a:pt x="0" y="0"/>
                    </a:lnTo>
                    <a:lnTo>
                      <a:pt x="0" y="26407"/>
                    </a:lnTo>
                    <a:lnTo>
                      <a:pt x="13" y="26427"/>
                    </a:lnTo>
                    <a:lnTo>
                      <a:pt x="14992" y="1860"/>
                    </a:lnTo>
                    <a:cubicBezTo>
                      <a:pt x="10391" y="663"/>
                      <a:pt x="5335" y="0"/>
                      <a:pt x="31" y="0"/>
                    </a:cubicBezTo>
                    <a:close/>
                  </a:path>
                </a:pathLst>
              </a:custGeom>
              <a:noFill/>
              <a:ln w="9525" cap="flat" cmpd="sng">
                <a:solidFill>
                  <a:srgbClr val="CFD9E0"/>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nvGrpSpPr>
              <p:cNvPr id="9275" name="Google Shape;9275;p108"/>
              <p:cNvGrpSpPr/>
              <p:nvPr/>
            </p:nvGrpSpPr>
            <p:grpSpPr>
              <a:xfrm>
                <a:off x="7287122" y="2063892"/>
                <a:ext cx="1151753" cy="73428"/>
                <a:chOff x="7287122" y="2063892"/>
                <a:chExt cx="1151753" cy="73428"/>
              </a:xfrm>
            </p:grpSpPr>
            <p:sp>
              <p:nvSpPr>
                <p:cNvPr id="9276" name="Google Shape;9276;p108"/>
                <p:cNvSpPr/>
                <p:nvPr/>
              </p:nvSpPr>
              <p:spPr>
                <a:xfrm flipH="1">
                  <a:off x="7287122" y="2063892"/>
                  <a:ext cx="507103" cy="73428"/>
                </a:xfrm>
                <a:custGeom>
                  <a:avLst/>
                  <a:gdLst/>
                  <a:ahLst/>
                  <a:cxnLst/>
                  <a:rect l="l" t="t" r="r" b="b"/>
                  <a:pathLst>
                    <a:path w="35124" h="7847" extrusionOk="0">
                      <a:moveTo>
                        <a:pt x="0" y="1"/>
                      </a:moveTo>
                      <a:lnTo>
                        <a:pt x="0" y="7847"/>
                      </a:lnTo>
                      <a:lnTo>
                        <a:pt x="35123" y="7847"/>
                      </a:lnTo>
                      <a:lnTo>
                        <a:pt x="35123" y="1"/>
                      </a:lnTo>
                      <a:close/>
                    </a:path>
                  </a:pathLst>
                </a:custGeom>
                <a:noFill/>
                <a:ln w="9525" cap="flat" cmpd="sng">
                  <a:solidFill>
                    <a:srgbClr val="CFD9E0"/>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cxnSp>
              <p:nvCxnSpPr>
                <p:cNvPr id="9277" name="Google Shape;9277;p108"/>
                <p:cNvCxnSpPr/>
                <p:nvPr/>
              </p:nvCxnSpPr>
              <p:spPr>
                <a:xfrm rot="10800000">
                  <a:off x="7818475" y="2100600"/>
                  <a:ext cx="620400" cy="0"/>
                </a:xfrm>
                <a:prstGeom prst="straightConnector1">
                  <a:avLst/>
                </a:prstGeom>
                <a:noFill/>
                <a:ln w="9525" cap="flat" cmpd="sng">
                  <a:solidFill>
                    <a:srgbClr val="CFD9E0"/>
                  </a:solidFill>
                  <a:prstDash val="solid"/>
                  <a:round/>
                  <a:headEnd type="none" w="med" len="med"/>
                  <a:tailEnd type="oval" w="med" len="med"/>
                </a:ln>
              </p:spPr>
            </p:cxnSp>
          </p:grpSp>
        </p:grpSp>
        <p:grpSp>
          <p:nvGrpSpPr>
            <p:cNvPr id="9278" name="Google Shape;9278;p108"/>
            <p:cNvGrpSpPr/>
            <p:nvPr/>
          </p:nvGrpSpPr>
          <p:grpSpPr>
            <a:xfrm>
              <a:off x="7287122" y="1712201"/>
              <a:ext cx="1219403" cy="246767"/>
              <a:chOff x="7287122" y="1712201"/>
              <a:chExt cx="1219403" cy="246767"/>
            </a:xfrm>
          </p:grpSpPr>
          <p:sp>
            <p:nvSpPr>
              <p:cNvPr id="9279" name="Google Shape;9279;p108"/>
              <p:cNvSpPr/>
              <p:nvPr/>
            </p:nvSpPr>
            <p:spPr>
              <a:xfrm flipH="1">
                <a:off x="8226249" y="1712201"/>
                <a:ext cx="280276" cy="246767"/>
              </a:xfrm>
              <a:custGeom>
                <a:avLst/>
                <a:gdLst/>
                <a:ahLst/>
                <a:cxnLst/>
                <a:rect l="l" t="t" r="r" b="b"/>
                <a:pathLst>
                  <a:path w="29952" h="26371" extrusionOk="0">
                    <a:moveTo>
                      <a:pt x="1" y="0"/>
                    </a:moveTo>
                    <a:lnTo>
                      <a:pt x="1" y="24234"/>
                    </a:lnTo>
                    <a:lnTo>
                      <a:pt x="14" y="24234"/>
                    </a:lnTo>
                    <a:cubicBezTo>
                      <a:pt x="14" y="24234"/>
                      <a:pt x="203" y="24229"/>
                      <a:pt x="558" y="24229"/>
                    </a:cubicBezTo>
                    <a:cubicBezTo>
                      <a:pt x="2473" y="24229"/>
                      <a:pt x="9215" y="24384"/>
                      <a:pt x="17213" y="26370"/>
                    </a:cubicBezTo>
                    <a:lnTo>
                      <a:pt x="29952" y="5713"/>
                    </a:lnTo>
                    <a:cubicBezTo>
                      <a:pt x="29952" y="5713"/>
                      <a:pt x="20827" y="0"/>
                      <a:pt x="14" y="0"/>
                    </a:cubicBezTo>
                    <a:close/>
                  </a:path>
                </a:pathLst>
              </a:custGeom>
              <a:noFill/>
              <a:ln w="9525" cap="flat" cmpd="sng">
                <a:solidFill>
                  <a:srgbClr val="A5B7C6"/>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nvGrpSpPr>
              <p:cNvPr id="9280" name="Google Shape;9280;p108"/>
              <p:cNvGrpSpPr/>
              <p:nvPr/>
            </p:nvGrpSpPr>
            <p:grpSpPr>
              <a:xfrm>
                <a:off x="7287122" y="1842861"/>
                <a:ext cx="1005303" cy="73419"/>
                <a:chOff x="7287122" y="1842861"/>
                <a:chExt cx="1005303" cy="73419"/>
              </a:xfrm>
            </p:grpSpPr>
            <p:sp>
              <p:nvSpPr>
                <p:cNvPr id="9281" name="Google Shape;9281;p108"/>
                <p:cNvSpPr/>
                <p:nvPr/>
              </p:nvSpPr>
              <p:spPr>
                <a:xfrm flipH="1">
                  <a:off x="7287122" y="1842861"/>
                  <a:ext cx="507103" cy="73419"/>
                </a:xfrm>
                <a:custGeom>
                  <a:avLst/>
                  <a:gdLst/>
                  <a:ahLst/>
                  <a:cxnLst/>
                  <a:rect l="l" t="t" r="r" b="b"/>
                  <a:pathLst>
                    <a:path w="35124" h="7846" extrusionOk="0">
                      <a:moveTo>
                        <a:pt x="0" y="1"/>
                      </a:moveTo>
                      <a:lnTo>
                        <a:pt x="0" y="7845"/>
                      </a:lnTo>
                      <a:lnTo>
                        <a:pt x="35123" y="7845"/>
                      </a:lnTo>
                      <a:lnTo>
                        <a:pt x="35123" y="1"/>
                      </a:lnTo>
                      <a:close/>
                    </a:path>
                  </a:pathLst>
                </a:custGeom>
                <a:noFill/>
                <a:ln w="9525" cap="flat" cmpd="sng">
                  <a:solidFill>
                    <a:srgbClr val="A5B7C6"/>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cxnSp>
              <p:nvCxnSpPr>
                <p:cNvPr id="9282" name="Google Shape;9282;p108"/>
                <p:cNvCxnSpPr/>
                <p:nvPr/>
              </p:nvCxnSpPr>
              <p:spPr>
                <a:xfrm rot="10800000">
                  <a:off x="7818425" y="1879575"/>
                  <a:ext cx="474000" cy="0"/>
                </a:xfrm>
                <a:prstGeom prst="straightConnector1">
                  <a:avLst/>
                </a:prstGeom>
                <a:noFill/>
                <a:ln w="9525" cap="flat" cmpd="sng">
                  <a:solidFill>
                    <a:srgbClr val="A5B7C6"/>
                  </a:solidFill>
                  <a:prstDash val="solid"/>
                  <a:round/>
                  <a:headEnd type="none" w="med" len="med"/>
                  <a:tailEnd type="oval" w="med" len="med"/>
                </a:ln>
              </p:spPr>
            </p:cxnSp>
          </p:grpSp>
        </p:grpSp>
        <p:grpSp>
          <p:nvGrpSpPr>
            <p:cNvPr id="9283" name="Google Shape;9283;p108"/>
            <p:cNvGrpSpPr/>
            <p:nvPr/>
          </p:nvGrpSpPr>
          <p:grpSpPr>
            <a:xfrm>
              <a:off x="7287122" y="1447520"/>
              <a:ext cx="1219403" cy="286667"/>
              <a:chOff x="7287122" y="1447520"/>
              <a:chExt cx="1219403" cy="286667"/>
            </a:xfrm>
          </p:grpSpPr>
          <p:sp>
            <p:nvSpPr>
              <p:cNvPr id="9284" name="Google Shape;9284;p108"/>
              <p:cNvSpPr/>
              <p:nvPr/>
            </p:nvSpPr>
            <p:spPr>
              <a:xfrm flipH="1">
                <a:off x="8087665" y="1447520"/>
                <a:ext cx="418860" cy="286667"/>
              </a:xfrm>
              <a:custGeom>
                <a:avLst/>
                <a:gdLst/>
                <a:ahLst/>
                <a:cxnLst/>
                <a:rect l="l" t="t" r="r" b="b"/>
                <a:pathLst>
                  <a:path w="44762" h="30635" extrusionOk="0">
                    <a:moveTo>
                      <a:pt x="1" y="1"/>
                    </a:moveTo>
                    <a:lnTo>
                      <a:pt x="1" y="24648"/>
                    </a:lnTo>
                    <a:lnTo>
                      <a:pt x="14" y="24648"/>
                    </a:lnTo>
                    <a:cubicBezTo>
                      <a:pt x="5607" y="24648"/>
                      <a:pt x="18560" y="25130"/>
                      <a:pt x="31390" y="30635"/>
                    </a:cubicBezTo>
                    <a:lnTo>
                      <a:pt x="44761" y="10327"/>
                    </a:lnTo>
                    <a:cubicBezTo>
                      <a:pt x="44761" y="10327"/>
                      <a:pt x="27304" y="1"/>
                      <a:pt x="14" y="1"/>
                    </a:cubicBezTo>
                    <a:close/>
                  </a:path>
                </a:pathLst>
              </a:custGeom>
              <a:noFill/>
              <a:ln w="9525" cap="flat" cmpd="sng">
                <a:solidFill>
                  <a:srgbClr val="869FB2"/>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nvGrpSpPr>
              <p:cNvPr id="9285" name="Google Shape;9285;p108"/>
              <p:cNvGrpSpPr/>
              <p:nvPr/>
            </p:nvGrpSpPr>
            <p:grpSpPr>
              <a:xfrm>
                <a:off x="7287122" y="1581977"/>
                <a:ext cx="852803" cy="73428"/>
                <a:chOff x="7287122" y="1581977"/>
                <a:chExt cx="852803" cy="73428"/>
              </a:xfrm>
            </p:grpSpPr>
            <p:sp>
              <p:nvSpPr>
                <p:cNvPr id="9286" name="Google Shape;9286;p108"/>
                <p:cNvSpPr/>
                <p:nvPr/>
              </p:nvSpPr>
              <p:spPr>
                <a:xfrm flipH="1">
                  <a:off x="7287122" y="1581977"/>
                  <a:ext cx="507103" cy="73428"/>
                </a:xfrm>
                <a:custGeom>
                  <a:avLst/>
                  <a:gdLst/>
                  <a:ahLst/>
                  <a:cxnLst/>
                  <a:rect l="l" t="t" r="r" b="b"/>
                  <a:pathLst>
                    <a:path w="35124" h="7847" extrusionOk="0">
                      <a:moveTo>
                        <a:pt x="0" y="1"/>
                      </a:moveTo>
                      <a:lnTo>
                        <a:pt x="0" y="7847"/>
                      </a:lnTo>
                      <a:lnTo>
                        <a:pt x="35123" y="7847"/>
                      </a:lnTo>
                      <a:lnTo>
                        <a:pt x="35123" y="1"/>
                      </a:lnTo>
                      <a:close/>
                    </a:path>
                  </a:pathLst>
                </a:custGeom>
                <a:noFill/>
                <a:ln w="9525" cap="flat" cmpd="sng">
                  <a:solidFill>
                    <a:srgbClr val="869FB2"/>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cxnSp>
              <p:nvCxnSpPr>
                <p:cNvPr id="9287" name="Google Shape;9287;p108"/>
                <p:cNvCxnSpPr/>
                <p:nvPr/>
              </p:nvCxnSpPr>
              <p:spPr>
                <a:xfrm rot="10800000">
                  <a:off x="7818325" y="1618700"/>
                  <a:ext cx="321600" cy="0"/>
                </a:xfrm>
                <a:prstGeom prst="straightConnector1">
                  <a:avLst/>
                </a:prstGeom>
                <a:noFill/>
                <a:ln w="9525" cap="flat" cmpd="sng">
                  <a:solidFill>
                    <a:srgbClr val="869FB2"/>
                  </a:solidFill>
                  <a:prstDash val="solid"/>
                  <a:round/>
                  <a:headEnd type="none" w="med" len="med"/>
                  <a:tailEnd type="oval" w="med" len="med"/>
                </a:ln>
              </p:spPr>
            </p:cxnSp>
          </p:grpSp>
        </p:grpSp>
        <p:grpSp>
          <p:nvGrpSpPr>
            <p:cNvPr id="9288" name="Google Shape;9288;p108"/>
            <p:cNvGrpSpPr/>
            <p:nvPr/>
          </p:nvGrpSpPr>
          <p:grpSpPr>
            <a:xfrm>
              <a:off x="7287122" y="1165658"/>
              <a:ext cx="1219403" cy="344253"/>
              <a:chOff x="7287122" y="1165658"/>
              <a:chExt cx="1219403" cy="344253"/>
            </a:xfrm>
          </p:grpSpPr>
          <p:sp>
            <p:nvSpPr>
              <p:cNvPr id="9289" name="Google Shape;9289;p108"/>
              <p:cNvSpPr/>
              <p:nvPr/>
            </p:nvSpPr>
            <p:spPr>
              <a:xfrm flipH="1">
                <a:off x="7919557" y="1165658"/>
                <a:ext cx="586968" cy="344253"/>
              </a:xfrm>
              <a:custGeom>
                <a:avLst/>
                <a:gdLst/>
                <a:ahLst/>
                <a:cxnLst/>
                <a:rect l="l" t="t" r="r" b="b"/>
                <a:pathLst>
                  <a:path w="62727" h="36789" extrusionOk="0">
                    <a:moveTo>
                      <a:pt x="1" y="1"/>
                    </a:moveTo>
                    <a:lnTo>
                      <a:pt x="1" y="25976"/>
                    </a:lnTo>
                    <a:lnTo>
                      <a:pt x="17" y="25976"/>
                    </a:lnTo>
                    <a:cubicBezTo>
                      <a:pt x="74" y="25976"/>
                      <a:pt x="588" y="25960"/>
                      <a:pt x="1487" y="25960"/>
                    </a:cubicBezTo>
                    <a:cubicBezTo>
                      <a:pt x="7235" y="25960"/>
                      <a:pt x="28709" y="26646"/>
                      <a:pt x="46867" y="36789"/>
                    </a:cubicBezTo>
                    <a:lnTo>
                      <a:pt x="62726" y="12728"/>
                    </a:lnTo>
                    <a:cubicBezTo>
                      <a:pt x="62726" y="12728"/>
                      <a:pt x="39312" y="2"/>
                      <a:pt x="17" y="1"/>
                    </a:cubicBezTo>
                    <a:close/>
                  </a:path>
                </a:pathLst>
              </a:custGeom>
              <a:noFill/>
              <a:ln w="9525" cap="flat" cmpd="sng">
                <a:solidFill>
                  <a:srgbClr val="869FB1"/>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nvGrpSpPr>
              <p:cNvPr id="9290" name="Google Shape;9290;p108"/>
              <p:cNvGrpSpPr/>
              <p:nvPr/>
            </p:nvGrpSpPr>
            <p:grpSpPr>
              <a:xfrm>
                <a:off x="7287122" y="1341025"/>
                <a:ext cx="695703" cy="73419"/>
                <a:chOff x="7287122" y="1341025"/>
                <a:chExt cx="695703" cy="73419"/>
              </a:xfrm>
            </p:grpSpPr>
            <p:sp>
              <p:nvSpPr>
                <p:cNvPr id="9291" name="Google Shape;9291;p108"/>
                <p:cNvSpPr/>
                <p:nvPr/>
              </p:nvSpPr>
              <p:spPr>
                <a:xfrm flipH="1">
                  <a:off x="7287122" y="1341025"/>
                  <a:ext cx="507103" cy="73419"/>
                </a:xfrm>
                <a:custGeom>
                  <a:avLst/>
                  <a:gdLst/>
                  <a:ahLst/>
                  <a:cxnLst/>
                  <a:rect l="l" t="t" r="r" b="b"/>
                  <a:pathLst>
                    <a:path w="35124" h="7846" extrusionOk="0">
                      <a:moveTo>
                        <a:pt x="0" y="1"/>
                      </a:moveTo>
                      <a:lnTo>
                        <a:pt x="0" y="7845"/>
                      </a:lnTo>
                      <a:lnTo>
                        <a:pt x="35123" y="7845"/>
                      </a:lnTo>
                      <a:lnTo>
                        <a:pt x="35123" y="1"/>
                      </a:lnTo>
                      <a:close/>
                    </a:path>
                  </a:pathLst>
                </a:custGeom>
                <a:noFill/>
                <a:ln w="9525" cap="flat" cmpd="sng">
                  <a:solidFill>
                    <a:srgbClr val="869FB1"/>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cxnSp>
              <p:nvCxnSpPr>
                <p:cNvPr id="9292" name="Google Shape;9292;p108"/>
                <p:cNvCxnSpPr/>
                <p:nvPr/>
              </p:nvCxnSpPr>
              <p:spPr>
                <a:xfrm rot="10800000">
                  <a:off x="7818425" y="1377750"/>
                  <a:ext cx="164400" cy="0"/>
                </a:xfrm>
                <a:prstGeom prst="straightConnector1">
                  <a:avLst/>
                </a:prstGeom>
                <a:noFill/>
                <a:ln w="9525" cap="flat" cmpd="sng">
                  <a:solidFill>
                    <a:srgbClr val="869FB1"/>
                  </a:solidFill>
                  <a:prstDash val="solid"/>
                  <a:round/>
                  <a:headEnd type="none" w="med" len="med"/>
                  <a:tailEnd type="oval" w="med" len="med"/>
                </a:ln>
              </p:spPr>
            </p:cxnSp>
          </p:grpSp>
        </p:grpSp>
      </p:grpSp>
    </p:spTree>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bg>
      <p:bgPr>
        <a:solidFill>
          <a:srgbClr val="0E2A47"/>
        </a:solidFill>
        <a:effectLst/>
      </p:bgPr>
    </p:bg>
    <p:spTree>
      <p:nvGrpSpPr>
        <p:cNvPr id="1" name="Shape 9296"/>
        <p:cNvGrpSpPr/>
        <p:nvPr/>
      </p:nvGrpSpPr>
      <p:grpSpPr>
        <a:xfrm>
          <a:off x="0" y="0"/>
          <a:ext cx="0" cy="0"/>
          <a:chOff x="0" y="0"/>
          <a:chExt cx="0" cy="0"/>
        </a:xfrm>
      </p:grpSpPr>
      <p:sp>
        <p:nvSpPr>
          <p:cNvPr id="9297" name="Google Shape;9297;p109"/>
          <p:cNvSpPr txBox="1">
            <a:spLocks noGrp="1"/>
          </p:cNvSpPr>
          <p:nvPr>
            <p:ph type="title" idx="4294967295"/>
          </p:nvPr>
        </p:nvSpPr>
        <p:spPr>
          <a:xfrm>
            <a:off x="1424133" y="1244600"/>
            <a:ext cx="9396400" cy="643200"/>
          </a:xfrm>
          <a:prstGeom prst="rect">
            <a:avLst/>
          </a:prstGeom>
        </p:spPr>
        <p:txBody>
          <a:bodyPr spcFirstLastPara="1" wrap="square" lIns="121900" tIns="121900" rIns="121900" bIns="121900" anchor="t" anchorCtr="0">
            <a:noAutofit/>
          </a:bodyPr>
          <a:lstStyle/>
          <a:p>
            <a:pPr>
              <a:buClr>
                <a:srgbClr val="000000"/>
              </a:buClr>
              <a:buSzPts val="1100"/>
            </a:pPr>
            <a:r>
              <a:rPr lang="en">
                <a:solidFill>
                  <a:srgbClr val="FFFFFF"/>
                </a:solidFill>
                <a:latin typeface="Arial"/>
                <a:ea typeface="Arial"/>
                <a:cs typeface="Arial"/>
                <a:sym typeface="Arial"/>
              </a:rPr>
              <a:t>...and our </a:t>
            </a:r>
            <a:r>
              <a:rPr lang="en">
                <a:latin typeface="Arial"/>
                <a:ea typeface="Arial"/>
                <a:cs typeface="Arial"/>
                <a:sym typeface="Arial"/>
              </a:rPr>
              <a:t>sets </a:t>
            </a:r>
            <a:r>
              <a:rPr lang="en">
                <a:solidFill>
                  <a:srgbClr val="FFFFFF"/>
                </a:solidFill>
                <a:latin typeface="Arial"/>
                <a:ea typeface="Arial"/>
                <a:cs typeface="Arial"/>
                <a:sym typeface="Arial"/>
              </a:rPr>
              <a:t>of editable icons</a:t>
            </a:r>
            <a:endParaRPr>
              <a:solidFill>
                <a:srgbClr val="FFFFFF"/>
              </a:solidFill>
              <a:latin typeface="Arial"/>
              <a:ea typeface="Arial"/>
              <a:cs typeface="Arial"/>
              <a:sym typeface="Arial"/>
            </a:endParaRPr>
          </a:p>
        </p:txBody>
      </p:sp>
      <p:sp>
        <p:nvSpPr>
          <p:cNvPr id="9298" name="Google Shape;9298;p109"/>
          <p:cNvSpPr txBox="1">
            <a:spLocks noGrp="1"/>
          </p:cNvSpPr>
          <p:nvPr>
            <p:ph type="body" idx="4294967295"/>
          </p:nvPr>
        </p:nvSpPr>
        <p:spPr>
          <a:xfrm>
            <a:off x="1105167" y="2147033"/>
            <a:ext cx="10034400" cy="643200"/>
          </a:xfrm>
          <a:prstGeom prst="rect">
            <a:avLst/>
          </a:prstGeom>
        </p:spPr>
        <p:txBody>
          <a:bodyPr spcFirstLastPara="1" wrap="square" lIns="121900" tIns="121900" rIns="121900" bIns="121900" anchor="ctr" anchorCtr="0">
            <a:noAutofit/>
          </a:bodyPr>
          <a:lstStyle/>
          <a:p>
            <a:pPr marL="0" indent="0" algn="ctr">
              <a:buNone/>
            </a:pPr>
            <a:r>
              <a:rPr lang="en">
                <a:solidFill>
                  <a:srgbClr val="FFFFFF"/>
                </a:solidFill>
                <a:latin typeface="Arial"/>
                <a:ea typeface="Arial"/>
                <a:cs typeface="Arial"/>
                <a:sym typeface="Arial"/>
              </a:rPr>
              <a:t>You can</a:t>
            </a:r>
            <a:r>
              <a:rPr lang="en">
                <a:solidFill>
                  <a:srgbClr val="435D74"/>
                </a:solidFill>
                <a:latin typeface="Arial"/>
                <a:ea typeface="Arial"/>
                <a:cs typeface="Arial"/>
                <a:sym typeface="Arial"/>
              </a:rPr>
              <a:t> </a:t>
            </a:r>
            <a:r>
              <a:rPr lang="en">
                <a:solidFill>
                  <a:srgbClr val="869FB2"/>
                </a:solidFill>
                <a:latin typeface="Arial"/>
                <a:ea typeface="Arial"/>
                <a:cs typeface="Arial"/>
                <a:sym typeface="Arial"/>
              </a:rPr>
              <a:t>resize</a:t>
            </a:r>
            <a:r>
              <a:rPr lang="en">
                <a:solidFill>
                  <a:srgbClr val="435D74"/>
                </a:solidFill>
                <a:latin typeface="Arial"/>
                <a:ea typeface="Arial"/>
                <a:cs typeface="Arial"/>
                <a:sym typeface="Arial"/>
              </a:rPr>
              <a:t> </a:t>
            </a:r>
            <a:r>
              <a:rPr lang="en">
                <a:solidFill>
                  <a:srgbClr val="FFFFFF"/>
                </a:solidFill>
                <a:latin typeface="Arial"/>
                <a:ea typeface="Arial"/>
                <a:cs typeface="Arial"/>
                <a:sym typeface="Arial"/>
              </a:rPr>
              <a:t>these icons, keeping the quality.</a:t>
            </a:r>
            <a:endParaRPr>
              <a:solidFill>
                <a:srgbClr val="FFFFFF"/>
              </a:solidFill>
              <a:latin typeface="Arial"/>
              <a:ea typeface="Arial"/>
              <a:cs typeface="Arial"/>
              <a:sym typeface="Arial"/>
            </a:endParaRPr>
          </a:p>
          <a:p>
            <a:pPr marL="0" indent="0" algn="ctr">
              <a:buNone/>
            </a:pPr>
            <a:r>
              <a:rPr lang="en">
                <a:solidFill>
                  <a:srgbClr val="FFFFFF"/>
                </a:solidFill>
                <a:latin typeface="Arial"/>
                <a:ea typeface="Arial"/>
                <a:cs typeface="Arial"/>
                <a:sym typeface="Arial"/>
              </a:rPr>
              <a:t>You can </a:t>
            </a:r>
            <a:r>
              <a:rPr lang="en">
                <a:solidFill>
                  <a:srgbClr val="869FB2"/>
                </a:solidFill>
                <a:latin typeface="Arial"/>
                <a:ea typeface="Arial"/>
                <a:cs typeface="Arial"/>
                <a:sym typeface="Arial"/>
              </a:rPr>
              <a:t>change the stroke and fill color</a:t>
            </a:r>
            <a:r>
              <a:rPr lang="en">
                <a:solidFill>
                  <a:srgbClr val="FFFFFF"/>
                </a:solidFill>
                <a:latin typeface="Arial"/>
                <a:ea typeface="Arial"/>
                <a:cs typeface="Arial"/>
                <a:sym typeface="Arial"/>
              </a:rPr>
              <a:t>; just select the icon and click on the</a:t>
            </a:r>
            <a:r>
              <a:rPr lang="en">
                <a:solidFill>
                  <a:srgbClr val="435D74"/>
                </a:solidFill>
                <a:latin typeface="Arial"/>
                <a:ea typeface="Arial"/>
                <a:cs typeface="Arial"/>
                <a:sym typeface="Arial"/>
              </a:rPr>
              <a:t> </a:t>
            </a:r>
            <a:r>
              <a:rPr lang="en">
                <a:solidFill>
                  <a:srgbClr val="869FB2"/>
                </a:solidFill>
                <a:latin typeface="Arial"/>
                <a:ea typeface="Arial"/>
                <a:cs typeface="Arial"/>
                <a:sym typeface="Arial"/>
              </a:rPr>
              <a:t>paint bucket/pen</a:t>
            </a:r>
            <a:r>
              <a:rPr lang="en">
                <a:solidFill>
                  <a:srgbClr val="FFFFFF"/>
                </a:solidFill>
                <a:latin typeface="Arial"/>
                <a:ea typeface="Arial"/>
                <a:cs typeface="Arial"/>
                <a:sym typeface="Arial"/>
              </a:rPr>
              <a:t>.</a:t>
            </a:r>
            <a:endParaRPr>
              <a:solidFill>
                <a:srgbClr val="FFFFFF"/>
              </a:solidFill>
              <a:latin typeface="Arial"/>
              <a:ea typeface="Arial"/>
              <a:cs typeface="Arial"/>
              <a:sym typeface="Arial"/>
            </a:endParaRPr>
          </a:p>
          <a:p>
            <a:pPr marL="0" indent="0" algn="ctr">
              <a:buNone/>
            </a:pPr>
            <a:r>
              <a:rPr lang="en">
                <a:solidFill>
                  <a:srgbClr val="FFFFFF"/>
                </a:solidFill>
                <a:latin typeface="Arial"/>
                <a:ea typeface="Arial"/>
                <a:cs typeface="Arial"/>
                <a:sym typeface="Arial"/>
              </a:rPr>
              <a:t>In Google Slides, you can also use </a:t>
            </a:r>
            <a:r>
              <a:rPr lang="en">
                <a:solidFill>
                  <a:srgbClr val="869FB2"/>
                </a:solidFill>
                <a:uFill>
                  <a:noFill/>
                </a:uFill>
                <a:latin typeface="Arial"/>
                <a:ea typeface="Arial"/>
                <a:cs typeface="Arial"/>
                <a:sym typeface="Arial"/>
                <a:hlinkClick r:id="rId3">
                  <a:extLst>
                    <a:ext uri="{A12FA001-AC4F-418D-AE19-62706E023703}">
                      <ahyp:hlinkClr xmlns:ahyp="http://schemas.microsoft.com/office/drawing/2018/hyperlinkcolor" val="tx"/>
                    </a:ext>
                  </a:extLst>
                </a:hlinkClick>
              </a:rPr>
              <a:t>Flaticon’s extension</a:t>
            </a:r>
            <a:r>
              <a:rPr lang="en">
                <a:solidFill>
                  <a:srgbClr val="FFFFFF"/>
                </a:solidFill>
                <a:latin typeface="Arial"/>
                <a:ea typeface="Arial"/>
                <a:cs typeface="Arial"/>
                <a:sym typeface="Arial"/>
              </a:rPr>
              <a:t>, allowing you to customize and add even more icons.</a:t>
            </a:r>
            <a:br>
              <a:rPr lang="en">
                <a:solidFill>
                  <a:srgbClr val="435D74"/>
                </a:solidFill>
                <a:latin typeface="Arial"/>
                <a:ea typeface="Arial"/>
                <a:cs typeface="Arial"/>
                <a:sym typeface="Arial"/>
              </a:rPr>
            </a:br>
            <a:endParaRPr>
              <a:solidFill>
                <a:srgbClr val="435D74"/>
              </a:solidFill>
              <a:latin typeface="Arial"/>
              <a:ea typeface="Arial"/>
              <a:cs typeface="Arial"/>
              <a:sym typeface="Arial"/>
            </a:endParaRPr>
          </a:p>
        </p:txBody>
      </p:sp>
      <p:grpSp>
        <p:nvGrpSpPr>
          <p:cNvPr id="9299" name="Google Shape;9299;p109"/>
          <p:cNvGrpSpPr/>
          <p:nvPr/>
        </p:nvGrpSpPr>
        <p:grpSpPr>
          <a:xfrm>
            <a:off x="1127807" y="3076978"/>
            <a:ext cx="453557" cy="398637"/>
            <a:chOff x="892750" y="267400"/>
            <a:chExt cx="483125" cy="424625"/>
          </a:xfrm>
        </p:grpSpPr>
        <p:sp>
          <p:nvSpPr>
            <p:cNvPr id="9300" name="Google Shape;9300;p109"/>
            <p:cNvSpPr/>
            <p:nvPr/>
          </p:nvSpPr>
          <p:spPr>
            <a:xfrm>
              <a:off x="892750" y="267400"/>
              <a:ext cx="483125" cy="424625"/>
            </a:xfrm>
            <a:custGeom>
              <a:avLst/>
              <a:gdLst/>
              <a:ahLst/>
              <a:cxnLst/>
              <a:rect l="l" t="t" r="r" b="b"/>
              <a:pathLst>
                <a:path w="19325" h="16985" extrusionOk="0">
                  <a:moveTo>
                    <a:pt x="2832" y="1133"/>
                  </a:moveTo>
                  <a:cubicBezTo>
                    <a:pt x="3143" y="1133"/>
                    <a:pt x="3397" y="1383"/>
                    <a:pt x="3397" y="1697"/>
                  </a:cubicBezTo>
                  <a:lnTo>
                    <a:pt x="3397" y="2265"/>
                  </a:lnTo>
                  <a:lnTo>
                    <a:pt x="2265" y="2265"/>
                  </a:lnTo>
                  <a:lnTo>
                    <a:pt x="2265" y="1697"/>
                  </a:lnTo>
                  <a:cubicBezTo>
                    <a:pt x="2265" y="1383"/>
                    <a:pt x="2518" y="1133"/>
                    <a:pt x="2832" y="1133"/>
                  </a:cubicBezTo>
                  <a:close/>
                  <a:moveTo>
                    <a:pt x="11927" y="1133"/>
                  </a:moveTo>
                  <a:cubicBezTo>
                    <a:pt x="12241" y="1133"/>
                    <a:pt x="12494" y="1383"/>
                    <a:pt x="12494" y="1697"/>
                  </a:cubicBezTo>
                  <a:lnTo>
                    <a:pt x="12494" y="2265"/>
                  </a:lnTo>
                  <a:lnTo>
                    <a:pt x="6833" y="2265"/>
                  </a:lnTo>
                  <a:lnTo>
                    <a:pt x="6833" y="1697"/>
                  </a:lnTo>
                  <a:cubicBezTo>
                    <a:pt x="6833" y="1383"/>
                    <a:pt x="7084" y="1133"/>
                    <a:pt x="7398" y="1133"/>
                  </a:cubicBezTo>
                  <a:close/>
                  <a:moveTo>
                    <a:pt x="17628" y="3397"/>
                  </a:moveTo>
                  <a:cubicBezTo>
                    <a:pt x="17939" y="3397"/>
                    <a:pt x="18192" y="3648"/>
                    <a:pt x="18192" y="3962"/>
                  </a:cubicBezTo>
                  <a:lnTo>
                    <a:pt x="18192" y="4530"/>
                  </a:lnTo>
                  <a:lnTo>
                    <a:pt x="17628" y="4530"/>
                  </a:lnTo>
                  <a:cubicBezTo>
                    <a:pt x="16688" y="4530"/>
                    <a:pt x="15928" y="5288"/>
                    <a:pt x="15928" y="6227"/>
                  </a:cubicBezTo>
                  <a:lnTo>
                    <a:pt x="15928" y="9059"/>
                  </a:lnTo>
                  <a:lnTo>
                    <a:pt x="13584" y="9059"/>
                  </a:lnTo>
                  <a:cubicBezTo>
                    <a:pt x="13304" y="7108"/>
                    <a:pt x="11631" y="5662"/>
                    <a:pt x="9662" y="5662"/>
                  </a:cubicBezTo>
                  <a:cubicBezTo>
                    <a:pt x="7694" y="5662"/>
                    <a:pt x="6021" y="7108"/>
                    <a:pt x="5740" y="9059"/>
                  </a:cubicBezTo>
                  <a:lnTo>
                    <a:pt x="3397" y="9059"/>
                  </a:lnTo>
                  <a:lnTo>
                    <a:pt x="3397" y="6227"/>
                  </a:lnTo>
                  <a:cubicBezTo>
                    <a:pt x="3397" y="5288"/>
                    <a:pt x="2636" y="4530"/>
                    <a:pt x="1700" y="4530"/>
                  </a:cubicBezTo>
                  <a:lnTo>
                    <a:pt x="1132" y="4530"/>
                  </a:lnTo>
                  <a:lnTo>
                    <a:pt x="1132" y="3962"/>
                  </a:lnTo>
                  <a:cubicBezTo>
                    <a:pt x="1132" y="3648"/>
                    <a:pt x="1386" y="3397"/>
                    <a:pt x="1700" y="3397"/>
                  </a:cubicBezTo>
                  <a:close/>
                  <a:moveTo>
                    <a:pt x="9663" y="6793"/>
                  </a:moveTo>
                  <a:cubicBezTo>
                    <a:pt x="10399" y="6793"/>
                    <a:pt x="11123" y="7080"/>
                    <a:pt x="11664" y="7622"/>
                  </a:cubicBezTo>
                  <a:cubicBezTo>
                    <a:pt x="12473" y="8431"/>
                    <a:pt x="12715" y="9648"/>
                    <a:pt x="12277" y="10708"/>
                  </a:cubicBezTo>
                  <a:cubicBezTo>
                    <a:pt x="11839" y="11764"/>
                    <a:pt x="10807" y="12456"/>
                    <a:pt x="9662" y="12456"/>
                  </a:cubicBezTo>
                  <a:cubicBezTo>
                    <a:pt x="8098" y="12453"/>
                    <a:pt x="6833" y="11188"/>
                    <a:pt x="6833" y="9624"/>
                  </a:cubicBezTo>
                  <a:cubicBezTo>
                    <a:pt x="6833" y="8479"/>
                    <a:pt x="7521" y="7447"/>
                    <a:pt x="8578" y="7009"/>
                  </a:cubicBezTo>
                  <a:cubicBezTo>
                    <a:pt x="8929" y="6864"/>
                    <a:pt x="9298" y="6793"/>
                    <a:pt x="9663" y="6793"/>
                  </a:cubicBezTo>
                  <a:close/>
                  <a:moveTo>
                    <a:pt x="1700" y="5662"/>
                  </a:moveTo>
                  <a:cubicBezTo>
                    <a:pt x="2011" y="5662"/>
                    <a:pt x="2265" y="5913"/>
                    <a:pt x="2265" y="6227"/>
                  </a:cubicBezTo>
                  <a:lnTo>
                    <a:pt x="2265" y="13020"/>
                  </a:lnTo>
                  <a:cubicBezTo>
                    <a:pt x="2265" y="13334"/>
                    <a:pt x="2011" y="13588"/>
                    <a:pt x="1700" y="13588"/>
                  </a:cubicBezTo>
                  <a:lnTo>
                    <a:pt x="1132" y="13588"/>
                  </a:lnTo>
                  <a:lnTo>
                    <a:pt x="1132" y="5662"/>
                  </a:lnTo>
                  <a:close/>
                  <a:moveTo>
                    <a:pt x="18192" y="5662"/>
                  </a:moveTo>
                  <a:lnTo>
                    <a:pt x="18192" y="13588"/>
                  </a:lnTo>
                  <a:lnTo>
                    <a:pt x="17628" y="13588"/>
                  </a:lnTo>
                  <a:cubicBezTo>
                    <a:pt x="17314" y="13588"/>
                    <a:pt x="17060" y="13334"/>
                    <a:pt x="17060" y="13020"/>
                  </a:cubicBezTo>
                  <a:lnTo>
                    <a:pt x="17060" y="6227"/>
                  </a:lnTo>
                  <a:cubicBezTo>
                    <a:pt x="17060" y="5913"/>
                    <a:pt x="17314" y="5662"/>
                    <a:pt x="17628" y="5662"/>
                  </a:cubicBezTo>
                  <a:close/>
                  <a:moveTo>
                    <a:pt x="15928" y="10191"/>
                  </a:moveTo>
                  <a:lnTo>
                    <a:pt x="15928" y="13020"/>
                  </a:lnTo>
                  <a:cubicBezTo>
                    <a:pt x="15928" y="13959"/>
                    <a:pt x="16688" y="14717"/>
                    <a:pt x="17628" y="14720"/>
                  </a:cubicBezTo>
                  <a:lnTo>
                    <a:pt x="18192" y="14720"/>
                  </a:lnTo>
                  <a:lnTo>
                    <a:pt x="18192" y="15285"/>
                  </a:lnTo>
                  <a:cubicBezTo>
                    <a:pt x="18192" y="15599"/>
                    <a:pt x="17939" y="15853"/>
                    <a:pt x="17628" y="15853"/>
                  </a:cubicBezTo>
                  <a:lnTo>
                    <a:pt x="1700" y="15853"/>
                  </a:lnTo>
                  <a:cubicBezTo>
                    <a:pt x="1386" y="15853"/>
                    <a:pt x="1132" y="15599"/>
                    <a:pt x="1132" y="15285"/>
                  </a:cubicBezTo>
                  <a:lnTo>
                    <a:pt x="1132" y="14720"/>
                  </a:lnTo>
                  <a:lnTo>
                    <a:pt x="1700" y="14720"/>
                  </a:lnTo>
                  <a:cubicBezTo>
                    <a:pt x="2636" y="14717"/>
                    <a:pt x="3397" y="13959"/>
                    <a:pt x="3397" y="13020"/>
                  </a:cubicBezTo>
                  <a:lnTo>
                    <a:pt x="3397" y="10191"/>
                  </a:lnTo>
                  <a:lnTo>
                    <a:pt x="5740" y="10191"/>
                  </a:lnTo>
                  <a:cubicBezTo>
                    <a:pt x="6021" y="12139"/>
                    <a:pt x="7694" y="13585"/>
                    <a:pt x="9662" y="13585"/>
                  </a:cubicBezTo>
                  <a:cubicBezTo>
                    <a:pt x="11631" y="13585"/>
                    <a:pt x="13304" y="12139"/>
                    <a:pt x="13584" y="10191"/>
                  </a:cubicBezTo>
                  <a:close/>
                  <a:moveTo>
                    <a:pt x="2832" y="1"/>
                  </a:moveTo>
                  <a:cubicBezTo>
                    <a:pt x="1893" y="1"/>
                    <a:pt x="1132" y="758"/>
                    <a:pt x="1132" y="1697"/>
                  </a:cubicBezTo>
                  <a:lnTo>
                    <a:pt x="1132" y="2362"/>
                  </a:lnTo>
                  <a:cubicBezTo>
                    <a:pt x="453" y="2600"/>
                    <a:pt x="0" y="3243"/>
                    <a:pt x="0" y="3962"/>
                  </a:cubicBezTo>
                  <a:lnTo>
                    <a:pt x="0" y="15285"/>
                  </a:lnTo>
                  <a:cubicBezTo>
                    <a:pt x="0" y="16224"/>
                    <a:pt x="761" y="16982"/>
                    <a:pt x="1700" y="16985"/>
                  </a:cubicBezTo>
                  <a:lnTo>
                    <a:pt x="17628" y="16985"/>
                  </a:lnTo>
                  <a:cubicBezTo>
                    <a:pt x="18564" y="16982"/>
                    <a:pt x="19324" y="16224"/>
                    <a:pt x="19324" y="15285"/>
                  </a:cubicBezTo>
                  <a:lnTo>
                    <a:pt x="19324" y="3962"/>
                  </a:lnTo>
                  <a:cubicBezTo>
                    <a:pt x="19324" y="3023"/>
                    <a:pt x="18564" y="2265"/>
                    <a:pt x="17628" y="2265"/>
                  </a:cubicBezTo>
                  <a:lnTo>
                    <a:pt x="13627" y="2265"/>
                  </a:lnTo>
                  <a:lnTo>
                    <a:pt x="13627" y="1697"/>
                  </a:lnTo>
                  <a:cubicBezTo>
                    <a:pt x="13624" y="758"/>
                    <a:pt x="12866" y="1"/>
                    <a:pt x="11927" y="1"/>
                  </a:cubicBezTo>
                  <a:lnTo>
                    <a:pt x="7398" y="1"/>
                  </a:lnTo>
                  <a:cubicBezTo>
                    <a:pt x="6459" y="1"/>
                    <a:pt x="5701" y="758"/>
                    <a:pt x="5701" y="1697"/>
                  </a:cubicBezTo>
                  <a:lnTo>
                    <a:pt x="5701" y="2265"/>
                  </a:lnTo>
                  <a:lnTo>
                    <a:pt x="4529" y="2265"/>
                  </a:lnTo>
                  <a:lnTo>
                    <a:pt x="4529" y="1697"/>
                  </a:lnTo>
                  <a:cubicBezTo>
                    <a:pt x="4529" y="758"/>
                    <a:pt x="3768" y="1"/>
                    <a:pt x="2832"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435D74"/>
                </a:solidFill>
                <a:latin typeface="Arial"/>
                <a:cs typeface="Arial"/>
                <a:sym typeface="Arial"/>
              </a:endParaRPr>
            </a:p>
          </p:txBody>
        </p:sp>
        <p:sp>
          <p:nvSpPr>
            <p:cNvPr id="9301" name="Google Shape;9301;p109"/>
            <p:cNvSpPr/>
            <p:nvPr/>
          </p:nvSpPr>
          <p:spPr>
            <a:xfrm>
              <a:off x="1091875" y="465500"/>
              <a:ext cx="88275" cy="85000"/>
            </a:xfrm>
            <a:custGeom>
              <a:avLst/>
              <a:gdLst/>
              <a:ahLst/>
              <a:cxnLst/>
              <a:rect l="l" t="t" r="r" b="b"/>
              <a:pathLst>
                <a:path w="3531" h="3400" extrusionOk="0">
                  <a:moveTo>
                    <a:pt x="1697" y="1135"/>
                  </a:moveTo>
                  <a:cubicBezTo>
                    <a:pt x="2201" y="1135"/>
                    <a:pt x="2455" y="1742"/>
                    <a:pt x="2099" y="2101"/>
                  </a:cubicBezTo>
                  <a:cubicBezTo>
                    <a:pt x="1983" y="2216"/>
                    <a:pt x="1841" y="2268"/>
                    <a:pt x="1702" y="2268"/>
                  </a:cubicBezTo>
                  <a:cubicBezTo>
                    <a:pt x="1411" y="2268"/>
                    <a:pt x="1133" y="2041"/>
                    <a:pt x="1133" y="1700"/>
                  </a:cubicBezTo>
                  <a:cubicBezTo>
                    <a:pt x="1133" y="1386"/>
                    <a:pt x="1383" y="1135"/>
                    <a:pt x="1697" y="1135"/>
                  </a:cubicBezTo>
                  <a:close/>
                  <a:moveTo>
                    <a:pt x="1697" y="0"/>
                  </a:moveTo>
                  <a:cubicBezTo>
                    <a:pt x="1479" y="0"/>
                    <a:pt x="1258" y="42"/>
                    <a:pt x="1048" y="129"/>
                  </a:cubicBezTo>
                  <a:cubicBezTo>
                    <a:pt x="414" y="392"/>
                    <a:pt x="0" y="1011"/>
                    <a:pt x="0" y="1700"/>
                  </a:cubicBezTo>
                  <a:cubicBezTo>
                    <a:pt x="0" y="2639"/>
                    <a:pt x="758" y="3396"/>
                    <a:pt x="1697" y="3399"/>
                  </a:cubicBezTo>
                  <a:cubicBezTo>
                    <a:pt x="2386" y="3399"/>
                    <a:pt x="3005" y="2983"/>
                    <a:pt x="3267" y="2349"/>
                  </a:cubicBezTo>
                  <a:cubicBezTo>
                    <a:pt x="3530" y="1715"/>
                    <a:pt x="3385" y="984"/>
                    <a:pt x="2899" y="498"/>
                  </a:cubicBezTo>
                  <a:cubicBezTo>
                    <a:pt x="2574" y="173"/>
                    <a:pt x="2139" y="0"/>
                    <a:pt x="1697"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435D74"/>
                </a:solidFill>
                <a:latin typeface="Arial"/>
                <a:cs typeface="Arial"/>
                <a:sym typeface="Arial"/>
              </a:endParaRPr>
            </a:p>
          </p:txBody>
        </p:sp>
        <p:sp>
          <p:nvSpPr>
            <p:cNvPr id="9302" name="Google Shape;9302;p109"/>
            <p:cNvSpPr/>
            <p:nvPr/>
          </p:nvSpPr>
          <p:spPr>
            <a:xfrm>
              <a:off x="1005975" y="380625"/>
              <a:ext cx="28325" cy="28350"/>
            </a:xfrm>
            <a:custGeom>
              <a:avLst/>
              <a:gdLst/>
              <a:ahLst/>
              <a:cxnLst/>
              <a:rect l="l" t="t" r="r" b="b"/>
              <a:pathLst>
                <a:path w="1133" h="1134" extrusionOk="0">
                  <a:moveTo>
                    <a:pt x="568" y="1"/>
                  </a:moveTo>
                  <a:cubicBezTo>
                    <a:pt x="254" y="1"/>
                    <a:pt x="0" y="251"/>
                    <a:pt x="0" y="565"/>
                  </a:cubicBezTo>
                  <a:cubicBezTo>
                    <a:pt x="0" y="879"/>
                    <a:pt x="254" y="1133"/>
                    <a:pt x="568" y="1133"/>
                  </a:cubicBezTo>
                  <a:cubicBezTo>
                    <a:pt x="879" y="1133"/>
                    <a:pt x="1132" y="879"/>
                    <a:pt x="1132" y="565"/>
                  </a:cubicBezTo>
                  <a:cubicBezTo>
                    <a:pt x="1132" y="251"/>
                    <a:pt x="879" y="1"/>
                    <a:pt x="568"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435D74"/>
                </a:solidFill>
                <a:latin typeface="Arial"/>
                <a:cs typeface="Arial"/>
                <a:sym typeface="Arial"/>
              </a:endParaRPr>
            </a:p>
          </p:txBody>
        </p:sp>
      </p:grpSp>
      <p:grpSp>
        <p:nvGrpSpPr>
          <p:cNvPr id="9303" name="Google Shape;9303;p109"/>
          <p:cNvGrpSpPr/>
          <p:nvPr/>
        </p:nvGrpSpPr>
        <p:grpSpPr>
          <a:xfrm>
            <a:off x="1712386" y="3049495"/>
            <a:ext cx="398661" cy="453605"/>
            <a:chOff x="1516475" y="238075"/>
            <a:chExt cx="424650" cy="483175"/>
          </a:xfrm>
        </p:grpSpPr>
        <p:sp>
          <p:nvSpPr>
            <p:cNvPr id="9304" name="Google Shape;9304;p109"/>
            <p:cNvSpPr/>
            <p:nvPr/>
          </p:nvSpPr>
          <p:spPr>
            <a:xfrm>
              <a:off x="1516475" y="238075"/>
              <a:ext cx="424650" cy="483175"/>
            </a:xfrm>
            <a:custGeom>
              <a:avLst/>
              <a:gdLst/>
              <a:ahLst/>
              <a:cxnLst/>
              <a:rect l="l" t="t" r="r" b="b"/>
              <a:pathLst>
                <a:path w="16986" h="19327" extrusionOk="0">
                  <a:moveTo>
                    <a:pt x="8491" y="1134"/>
                  </a:moveTo>
                  <a:cubicBezTo>
                    <a:pt x="11302" y="1134"/>
                    <a:pt x="13588" y="3438"/>
                    <a:pt x="13588" y="6267"/>
                  </a:cubicBezTo>
                  <a:cubicBezTo>
                    <a:pt x="13588" y="7318"/>
                    <a:pt x="13262" y="8342"/>
                    <a:pt x="12655" y="9199"/>
                  </a:cubicBezTo>
                  <a:cubicBezTo>
                    <a:pt x="12625" y="9242"/>
                    <a:pt x="12604" y="9272"/>
                    <a:pt x="12595" y="9284"/>
                  </a:cubicBezTo>
                  <a:lnTo>
                    <a:pt x="8491" y="15724"/>
                  </a:lnTo>
                  <a:lnTo>
                    <a:pt x="4388" y="9287"/>
                  </a:lnTo>
                  <a:cubicBezTo>
                    <a:pt x="4382" y="9275"/>
                    <a:pt x="4373" y="9266"/>
                    <a:pt x="4367" y="9257"/>
                  </a:cubicBezTo>
                  <a:cubicBezTo>
                    <a:pt x="4249" y="9091"/>
                    <a:pt x="4140" y="8921"/>
                    <a:pt x="4041" y="8743"/>
                  </a:cubicBezTo>
                  <a:cubicBezTo>
                    <a:pt x="3618" y="7985"/>
                    <a:pt x="3398" y="7134"/>
                    <a:pt x="3398" y="6267"/>
                  </a:cubicBezTo>
                  <a:cubicBezTo>
                    <a:pt x="3398" y="6174"/>
                    <a:pt x="3398" y="6080"/>
                    <a:pt x="3404" y="5990"/>
                  </a:cubicBezTo>
                  <a:cubicBezTo>
                    <a:pt x="3552" y="3266"/>
                    <a:pt x="5786" y="1134"/>
                    <a:pt x="8491" y="1134"/>
                  </a:cubicBezTo>
                  <a:close/>
                  <a:moveTo>
                    <a:pt x="11049" y="13819"/>
                  </a:moveTo>
                  <a:cubicBezTo>
                    <a:pt x="14358" y="14233"/>
                    <a:pt x="15853" y="15289"/>
                    <a:pt x="15853" y="15930"/>
                  </a:cubicBezTo>
                  <a:cubicBezTo>
                    <a:pt x="15853" y="16304"/>
                    <a:pt x="15339" y="16887"/>
                    <a:pt x="13905" y="17397"/>
                  </a:cubicBezTo>
                  <a:cubicBezTo>
                    <a:pt x="12471" y="17910"/>
                    <a:pt x="10545" y="18194"/>
                    <a:pt x="8491" y="18194"/>
                  </a:cubicBezTo>
                  <a:cubicBezTo>
                    <a:pt x="6438" y="18194"/>
                    <a:pt x="4515" y="17910"/>
                    <a:pt x="3077" y="17397"/>
                  </a:cubicBezTo>
                  <a:cubicBezTo>
                    <a:pt x="1640" y="16884"/>
                    <a:pt x="1133" y="16304"/>
                    <a:pt x="1133" y="15930"/>
                  </a:cubicBezTo>
                  <a:cubicBezTo>
                    <a:pt x="1133" y="15289"/>
                    <a:pt x="2625" y="14233"/>
                    <a:pt x="5934" y="13819"/>
                  </a:cubicBezTo>
                  <a:lnTo>
                    <a:pt x="8014" y="17083"/>
                  </a:lnTo>
                  <a:cubicBezTo>
                    <a:pt x="8126" y="17258"/>
                    <a:pt x="8309" y="17346"/>
                    <a:pt x="8491" y="17346"/>
                  </a:cubicBezTo>
                  <a:cubicBezTo>
                    <a:pt x="8674" y="17346"/>
                    <a:pt x="8857" y="17258"/>
                    <a:pt x="8968" y="17083"/>
                  </a:cubicBezTo>
                  <a:lnTo>
                    <a:pt x="11049" y="13819"/>
                  </a:lnTo>
                  <a:close/>
                  <a:moveTo>
                    <a:pt x="8494" y="1"/>
                  </a:moveTo>
                  <a:cubicBezTo>
                    <a:pt x="6947" y="1"/>
                    <a:pt x="5399" y="578"/>
                    <a:pt x="4201" y="1738"/>
                  </a:cubicBezTo>
                  <a:cubicBezTo>
                    <a:pt x="3050" y="2837"/>
                    <a:pt x="2359" y="4338"/>
                    <a:pt x="2274" y="5929"/>
                  </a:cubicBezTo>
                  <a:cubicBezTo>
                    <a:pt x="2268" y="6041"/>
                    <a:pt x="2265" y="6156"/>
                    <a:pt x="2265" y="6267"/>
                  </a:cubicBezTo>
                  <a:cubicBezTo>
                    <a:pt x="2265" y="7327"/>
                    <a:pt x="2534" y="8372"/>
                    <a:pt x="3050" y="9296"/>
                  </a:cubicBezTo>
                  <a:cubicBezTo>
                    <a:pt x="3168" y="9507"/>
                    <a:pt x="3301" y="9713"/>
                    <a:pt x="3440" y="9909"/>
                  </a:cubicBezTo>
                  <a:lnTo>
                    <a:pt x="5267" y="12771"/>
                  </a:lnTo>
                  <a:cubicBezTo>
                    <a:pt x="3953" y="12971"/>
                    <a:pt x="2809" y="13294"/>
                    <a:pt x="1921" y="13713"/>
                  </a:cubicBezTo>
                  <a:cubicBezTo>
                    <a:pt x="333" y="14465"/>
                    <a:pt x="1" y="15332"/>
                    <a:pt x="1" y="15930"/>
                  </a:cubicBezTo>
                  <a:cubicBezTo>
                    <a:pt x="1" y="16648"/>
                    <a:pt x="469" y="17669"/>
                    <a:pt x="2697" y="18466"/>
                  </a:cubicBezTo>
                  <a:cubicBezTo>
                    <a:pt x="4252" y="19022"/>
                    <a:pt x="6311" y="19326"/>
                    <a:pt x="8491" y="19326"/>
                  </a:cubicBezTo>
                  <a:cubicBezTo>
                    <a:pt x="10671" y="19326"/>
                    <a:pt x="12731" y="19022"/>
                    <a:pt x="14286" y="18466"/>
                  </a:cubicBezTo>
                  <a:cubicBezTo>
                    <a:pt x="16514" y="17669"/>
                    <a:pt x="16985" y="16648"/>
                    <a:pt x="16985" y="15930"/>
                  </a:cubicBezTo>
                  <a:cubicBezTo>
                    <a:pt x="16985" y="15332"/>
                    <a:pt x="16650" y="14465"/>
                    <a:pt x="15062" y="13713"/>
                  </a:cubicBezTo>
                  <a:cubicBezTo>
                    <a:pt x="14174" y="13294"/>
                    <a:pt x="13030" y="12971"/>
                    <a:pt x="11716" y="12768"/>
                  </a:cubicBezTo>
                  <a:lnTo>
                    <a:pt x="13549" y="9897"/>
                  </a:lnTo>
                  <a:lnTo>
                    <a:pt x="13561" y="9879"/>
                  </a:lnTo>
                  <a:cubicBezTo>
                    <a:pt x="13567" y="9873"/>
                    <a:pt x="13570" y="9867"/>
                    <a:pt x="13576" y="9861"/>
                  </a:cubicBezTo>
                  <a:cubicBezTo>
                    <a:pt x="15327" y="7382"/>
                    <a:pt x="15041" y="3997"/>
                    <a:pt x="12897" y="1847"/>
                  </a:cubicBezTo>
                  <a:cubicBezTo>
                    <a:pt x="11689" y="618"/>
                    <a:pt x="10092" y="1"/>
                    <a:pt x="8494"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435D74"/>
                </a:solidFill>
                <a:latin typeface="Arial"/>
                <a:cs typeface="Arial"/>
                <a:sym typeface="Arial"/>
              </a:endParaRPr>
            </a:p>
          </p:txBody>
        </p:sp>
        <p:sp>
          <p:nvSpPr>
            <p:cNvPr id="9305" name="Google Shape;9305;p109"/>
            <p:cNvSpPr/>
            <p:nvPr/>
          </p:nvSpPr>
          <p:spPr>
            <a:xfrm>
              <a:off x="1652425" y="324000"/>
              <a:ext cx="147150" cy="141575"/>
            </a:xfrm>
            <a:custGeom>
              <a:avLst/>
              <a:gdLst/>
              <a:ahLst/>
              <a:cxnLst/>
              <a:rect l="l" t="t" r="r" b="b"/>
              <a:pathLst>
                <a:path w="5886" h="5663" extrusionOk="0">
                  <a:moveTo>
                    <a:pt x="3054" y="1131"/>
                  </a:moveTo>
                  <a:cubicBezTo>
                    <a:pt x="3495" y="1131"/>
                    <a:pt x="3930" y="1303"/>
                    <a:pt x="4255" y="1629"/>
                  </a:cubicBezTo>
                  <a:cubicBezTo>
                    <a:pt x="4741" y="2115"/>
                    <a:pt x="4886" y="2845"/>
                    <a:pt x="4623" y="3480"/>
                  </a:cubicBezTo>
                  <a:cubicBezTo>
                    <a:pt x="4361" y="4114"/>
                    <a:pt x="3742" y="4530"/>
                    <a:pt x="3053" y="4530"/>
                  </a:cubicBezTo>
                  <a:cubicBezTo>
                    <a:pt x="2114" y="4527"/>
                    <a:pt x="1356" y="3769"/>
                    <a:pt x="1356" y="2830"/>
                  </a:cubicBezTo>
                  <a:cubicBezTo>
                    <a:pt x="1356" y="2142"/>
                    <a:pt x="1770" y="1523"/>
                    <a:pt x="2404" y="1260"/>
                  </a:cubicBezTo>
                  <a:cubicBezTo>
                    <a:pt x="2614" y="1173"/>
                    <a:pt x="2835" y="1131"/>
                    <a:pt x="3054" y="1131"/>
                  </a:cubicBezTo>
                  <a:close/>
                  <a:moveTo>
                    <a:pt x="3053" y="0"/>
                  </a:moveTo>
                  <a:cubicBezTo>
                    <a:pt x="2316" y="0"/>
                    <a:pt x="1593" y="287"/>
                    <a:pt x="1051" y="828"/>
                  </a:cubicBezTo>
                  <a:cubicBezTo>
                    <a:pt x="242" y="1638"/>
                    <a:pt x="1" y="2855"/>
                    <a:pt x="439" y="3914"/>
                  </a:cubicBezTo>
                  <a:cubicBezTo>
                    <a:pt x="876" y="4971"/>
                    <a:pt x="1909" y="5663"/>
                    <a:pt x="3053" y="5663"/>
                  </a:cubicBezTo>
                  <a:cubicBezTo>
                    <a:pt x="4617" y="5660"/>
                    <a:pt x="5883" y="4394"/>
                    <a:pt x="5886" y="2830"/>
                  </a:cubicBezTo>
                  <a:cubicBezTo>
                    <a:pt x="5886" y="1686"/>
                    <a:pt x="5194" y="653"/>
                    <a:pt x="4137" y="216"/>
                  </a:cubicBezTo>
                  <a:cubicBezTo>
                    <a:pt x="3786" y="70"/>
                    <a:pt x="3418" y="0"/>
                    <a:pt x="3053"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435D74"/>
                </a:solidFill>
                <a:latin typeface="Arial"/>
                <a:cs typeface="Arial"/>
                <a:sym typeface="Arial"/>
              </a:endParaRPr>
            </a:p>
          </p:txBody>
        </p:sp>
      </p:grpSp>
      <p:grpSp>
        <p:nvGrpSpPr>
          <p:cNvPr id="9306" name="Google Shape;9306;p109"/>
          <p:cNvGrpSpPr/>
          <p:nvPr/>
        </p:nvGrpSpPr>
        <p:grpSpPr>
          <a:xfrm>
            <a:off x="2236507" y="3156694"/>
            <a:ext cx="455317" cy="239207"/>
            <a:chOff x="2080675" y="352325"/>
            <a:chExt cx="485000" cy="254800"/>
          </a:xfrm>
        </p:grpSpPr>
        <p:sp>
          <p:nvSpPr>
            <p:cNvPr id="9307" name="Google Shape;9307;p109"/>
            <p:cNvSpPr/>
            <p:nvPr/>
          </p:nvSpPr>
          <p:spPr>
            <a:xfrm>
              <a:off x="2080675" y="352325"/>
              <a:ext cx="485000" cy="254800"/>
            </a:xfrm>
            <a:custGeom>
              <a:avLst/>
              <a:gdLst/>
              <a:ahLst/>
              <a:cxnLst/>
              <a:rect l="l" t="t" r="r" b="b"/>
              <a:pathLst>
                <a:path w="19400" h="10192" extrusionOk="0">
                  <a:moveTo>
                    <a:pt x="5514" y="2183"/>
                  </a:moveTo>
                  <a:cubicBezTo>
                    <a:pt x="4291" y="3932"/>
                    <a:pt x="4291" y="6254"/>
                    <a:pt x="5514" y="8002"/>
                  </a:cubicBezTo>
                  <a:cubicBezTo>
                    <a:pt x="4858" y="7685"/>
                    <a:pt x="4230" y="7320"/>
                    <a:pt x="3632" y="6909"/>
                  </a:cubicBezTo>
                  <a:cubicBezTo>
                    <a:pt x="2841" y="6368"/>
                    <a:pt x="2099" y="5762"/>
                    <a:pt x="1410" y="5097"/>
                  </a:cubicBezTo>
                  <a:cubicBezTo>
                    <a:pt x="2071" y="4454"/>
                    <a:pt x="3572" y="3126"/>
                    <a:pt x="5514" y="2183"/>
                  </a:cubicBezTo>
                  <a:close/>
                  <a:moveTo>
                    <a:pt x="13865" y="2171"/>
                  </a:moveTo>
                  <a:cubicBezTo>
                    <a:pt x="14527" y="2491"/>
                    <a:pt x="15167" y="2866"/>
                    <a:pt x="15774" y="3283"/>
                  </a:cubicBezTo>
                  <a:cubicBezTo>
                    <a:pt x="16562" y="3823"/>
                    <a:pt x="17304" y="4430"/>
                    <a:pt x="17996" y="5094"/>
                  </a:cubicBezTo>
                  <a:cubicBezTo>
                    <a:pt x="17307" y="5759"/>
                    <a:pt x="16565" y="6365"/>
                    <a:pt x="15774" y="6909"/>
                  </a:cubicBezTo>
                  <a:cubicBezTo>
                    <a:pt x="15167" y="7326"/>
                    <a:pt x="14530" y="7697"/>
                    <a:pt x="13865" y="8017"/>
                  </a:cubicBezTo>
                  <a:cubicBezTo>
                    <a:pt x="15097" y="6263"/>
                    <a:pt x="15097" y="3926"/>
                    <a:pt x="13865" y="2171"/>
                  </a:cubicBezTo>
                  <a:close/>
                  <a:moveTo>
                    <a:pt x="9801" y="1133"/>
                  </a:moveTo>
                  <a:cubicBezTo>
                    <a:pt x="11948" y="1190"/>
                    <a:pt x="13657" y="2947"/>
                    <a:pt x="13657" y="5091"/>
                  </a:cubicBezTo>
                  <a:cubicBezTo>
                    <a:pt x="13657" y="7238"/>
                    <a:pt x="11948" y="8995"/>
                    <a:pt x="9801" y="9053"/>
                  </a:cubicBezTo>
                  <a:lnTo>
                    <a:pt x="9566" y="9053"/>
                  </a:lnTo>
                  <a:cubicBezTo>
                    <a:pt x="7431" y="8983"/>
                    <a:pt x="5734" y="7232"/>
                    <a:pt x="5728" y="5094"/>
                  </a:cubicBezTo>
                  <a:cubicBezTo>
                    <a:pt x="5731" y="2947"/>
                    <a:pt x="7440" y="1190"/>
                    <a:pt x="9587" y="1133"/>
                  </a:cubicBezTo>
                  <a:close/>
                  <a:moveTo>
                    <a:pt x="9557" y="0"/>
                  </a:moveTo>
                  <a:cubicBezTo>
                    <a:pt x="7440" y="37"/>
                    <a:pt x="5166" y="852"/>
                    <a:pt x="2965" y="2362"/>
                  </a:cubicBezTo>
                  <a:cubicBezTo>
                    <a:pt x="1283" y="3518"/>
                    <a:pt x="239" y="4665"/>
                    <a:pt x="196" y="4714"/>
                  </a:cubicBezTo>
                  <a:cubicBezTo>
                    <a:pt x="0" y="4928"/>
                    <a:pt x="0" y="5257"/>
                    <a:pt x="196" y="5472"/>
                  </a:cubicBezTo>
                  <a:cubicBezTo>
                    <a:pt x="239" y="5523"/>
                    <a:pt x="1283" y="6670"/>
                    <a:pt x="2965" y="7827"/>
                  </a:cubicBezTo>
                  <a:cubicBezTo>
                    <a:pt x="5166" y="9337"/>
                    <a:pt x="7440" y="10149"/>
                    <a:pt x="9557" y="10188"/>
                  </a:cubicBezTo>
                  <a:cubicBezTo>
                    <a:pt x="9602" y="10188"/>
                    <a:pt x="9647" y="10191"/>
                    <a:pt x="9692" y="10191"/>
                  </a:cubicBezTo>
                  <a:lnTo>
                    <a:pt x="9717" y="10191"/>
                  </a:lnTo>
                  <a:cubicBezTo>
                    <a:pt x="11869" y="10185"/>
                    <a:pt x="14194" y="9367"/>
                    <a:pt x="16435" y="7827"/>
                  </a:cubicBezTo>
                  <a:cubicBezTo>
                    <a:pt x="18120" y="6670"/>
                    <a:pt x="19161" y="5523"/>
                    <a:pt x="19207" y="5475"/>
                  </a:cubicBezTo>
                  <a:cubicBezTo>
                    <a:pt x="19400" y="5257"/>
                    <a:pt x="19400" y="4931"/>
                    <a:pt x="19207" y="4714"/>
                  </a:cubicBezTo>
                  <a:cubicBezTo>
                    <a:pt x="19161" y="4665"/>
                    <a:pt x="18120" y="3521"/>
                    <a:pt x="16435" y="2365"/>
                  </a:cubicBezTo>
                  <a:cubicBezTo>
                    <a:pt x="14191" y="822"/>
                    <a:pt x="11869" y="6"/>
                    <a:pt x="9717"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435D74"/>
                </a:solidFill>
                <a:latin typeface="Arial"/>
                <a:cs typeface="Arial"/>
                <a:sym typeface="Arial"/>
              </a:endParaRPr>
            </a:p>
          </p:txBody>
        </p:sp>
        <p:sp>
          <p:nvSpPr>
            <p:cNvPr id="9308" name="Google Shape;9308;p109"/>
            <p:cNvSpPr/>
            <p:nvPr/>
          </p:nvSpPr>
          <p:spPr>
            <a:xfrm>
              <a:off x="2246650" y="408900"/>
              <a:ext cx="147075" cy="141600"/>
            </a:xfrm>
            <a:custGeom>
              <a:avLst/>
              <a:gdLst/>
              <a:ahLst/>
              <a:cxnLst/>
              <a:rect l="l" t="t" r="r" b="b"/>
              <a:pathLst>
                <a:path w="5883" h="5664" extrusionOk="0">
                  <a:moveTo>
                    <a:pt x="3054" y="1132"/>
                  </a:moveTo>
                  <a:cubicBezTo>
                    <a:pt x="3495" y="1132"/>
                    <a:pt x="3930" y="1304"/>
                    <a:pt x="4255" y="1630"/>
                  </a:cubicBezTo>
                  <a:cubicBezTo>
                    <a:pt x="4738" y="2116"/>
                    <a:pt x="4886" y="2846"/>
                    <a:pt x="4624" y="3480"/>
                  </a:cubicBezTo>
                  <a:cubicBezTo>
                    <a:pt x="4358" y="4115"/>
                    <a:pt x="3739" y="4531"/>
                    <a:pt x="3053" y="4531"/>
                  </a:cubicBezTo>
                  <a:cubicBezTo>
                    <a:pt x="2114" y="4528"/>
                    <a:pt x="1357" y="3770"/>
                    <a:pt x="1353" y="2831"/>
                  </a:cubicBezTo>
                  <a:cubicBezTo>
                    <a:pt x="1353" y="2143"/>
                    <a:pt x="1767" y="1524"/>
                    <a:pt x="2404" y="1261"/>
                  </a:cubicBezTo>
                  <a:cubicBezTo>
                    <a:pt x="2614" y="1174"/>
                    <a:pt x="2835" y="1132"/>
                    <a:pt x="3054" y="1132"/>
                  </a:cubicBezTo>
                  <a:close/>
                  <a:moveTo>
                    <a:pt x="3053" y="1"/>
                  </a:moveTo>
                  <a:cubicBezTo>
                    <a:pt x="2316" y="1"/>
                    <a:pt x="1593" y="288"/>
                    <a:pt x="1052" y="829"/>
                  </a:cubicBezTo>
                  <a:cubicBezTo>
                    <a:pt x="242" y="1639"/>
                    <a:pt x="1" y="2855"/>
                    <a:pt x="439" y="3915"/>
                  </a:cubicBezTo>
                  <a:cubicBezTo>
                    <a:pt x="876" y="4972"/>
                    <a:pt x="1909" y="5663"/>
                    <a:pt x="3053" y="5663"/>
                  </a:cubicBezTo>
                  <a:cubicBezTo>
                    <a:pt x="4614" y="5660"/>
                    <a:pt x="5883" y="4395"/>
                    <a:pt x="5883" y="2831"/>
                  </a:cubicBezTo>
                  <a:cubicBezTo>
                    <a:pt x="5883" y="1687"/>
                    <a:pt x="5194" y="654"/>
                    <a:pt x="4137" y="216"/>
                  </a:cubicBezTo>
                  <a:cubicBezTo>
                    <a:pt x="3786" y="71"/>
                    <a:pt x="3418" y="1"/>
                    <a:pt x="3053"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435D74"/>
                </a:solidFill>
                <a:latin typeface="Arial"/>
                <a:cs typeface="Arial"/>
                <a:sym typeface="Arial"/>
              </a:endParaRPr>
            </a:p>
          </p:txBody>
        </p:sp>
      </p:grpSp>
      <p:grpSp>
        <p:nvGrpSpPr>
          <p:cNvPr id="9309" name="Google Shape;9309;p109"/>
          <p:cNvGrpSpPr/>
          <p:nvPr/>
        </p:nvGrpSpPr>
        <p:grpSpPr>
          <a:xfrm>
            <a:off x="2835412" y="3049518"/>
            <a:ext cx="398661" cy="453557"/>
            <a:chOff x="2705375" y="238125"/>
            <a:chExt cx="424650" cy="483125"/>
          </a:xfrm>
        </p:grpSpPr>
        <p:sp>
          <p:nvSpPr>
            <p:cNvPr id="9310" name="Google Shape;9310;p109"/>
            <p:cNvSpPr/>
            <p:nvPr/>
          </p:nvSpPr>
          <p:spPr>
            <a:xfrm>
              <a:off x="2705375" y="238125"/>
              <a:ext cx="424650" cy="483125"/>
            </a:xfrm>
            <a:custGeom>
              <a:avLst/>
              <a:gdLst/>
              <a:ahLst/>
              <a:cxnLst/>
              <a:rect l="l" t="t" r="r" b="b"/>
              <a:pathLst>
                <a:path w="16986" h="19325" extrusionOk="0">
                  <a:moveTo>
                    <a:pt x="10192" y="1132"/>
                  </a:moveTo>
                  <a:cubicBezTo>
                    <a:pt x="10503" y="1132"/>
                    <a:pt x="10756" y="1386"/>
                    <a:pt x="10756" y="1700"/>
                  </a:cubicBezTo>
                  <a:lnTo>
                    <a:pt x="10756" y="2265"/>
                  </a:lnTo>
                  <a:lnTo>
                    <a:pt x="6227" y="2265"/>
                  </a:lnTo>
                  <a:lnTo>
                    <a:pt x="6227" y="1700"/>
                  </a:lnTo>
                  <a:cubicBezTo>
                    <a:pt x="6227" y="1386"/>
                    <a:pt x="6481" y="1132"/>
                    <a:pt x="6795" y="1132"/>
                  </a:cubicBezTo>
                  <a:close/>
                  <a:moveTo>
                    <a:pt x="15285" y="3397"/>
                  </a:moveTo>
                  <a:cubicBezTo>
                    <a:pt x="15599" y="3397"/>
                    <a:pt x="15853" y="3651"/>
                    <a:pt x="15853" y="3965"/>
                  </a:cubicBezTo>
                  <a:lnTo>
                    <a:pt x="15853" y="4529"/>
                  </a:lnTo>
                  <a:lnTo>
                    <a:pt x="1133" y="4529"/>
                  </a:lnTo>
                  <a:lnTo>
                    <a:pt x="1133" y="3965"/>
                  </a:lnTo>
                  <a:cubicBezTo>
                    <a:pt x="1133" y="3651"/>
                    <a:pt x="1384" y="3397"/>
                    <a:pt x="1698" y="3397"/>
                  </a:cubicBezTo>
                  <a:close/>
                  <a:moveTo>
                    <a:pt x="14669" y="5661"/>
                  </a:moveTo>
                  <a:lnTo>
                    <a:pt x="13682" y="17679"/>
                  </a:lnTo>
                  <a:cubicBezTo>
                    <a:pt x="13658" y="17972"/>
                    <a:pt x="13410" y="18192"/>
                    <a:pt x="13120" y="18192"/>
                  </a:cubicBezTo>
                  <a:lnTo>
                    <a:pt x="3866" y="18192"/>
                  </a:lnTo>
                  <a:cubicBezTo>
                    <a:pt x="3573" y="18192"/>
                    <a:pt x="3325" y="17972"/>
                    <a:pt x="3301" y="17679"/>
                  </a:cubicBezTo>
                  <a:lnTo>
                    <a:pt x="2314" y="5661"/>
                  </a:lnTo>
                  <a:close/>
                  <a:moveTo>
                    <a:pt x="6795" y="0"/>
                  </a:moveTo>
                  <a:cubicBezTo>
                    <a:pt x="5856" y="0"/>
                    <a:pt x="5095" y="761"/>
                    <a:pt x="5095" y="1700"/>
                  </a:cubicBezTo>
                  <a:lnTo>
                    <a:pt x="5095" y="2265"/>
                  </a:lnTo>
                  <a:lnTo>
                    <a:pt x="1698" y="2265"/>
                  </a:lnTo>
                  <a:cubicBezTo>
                    <a:pt x="759" y="2265"/>
                    <a:pt x="1" y="3025"/>
                    <a:pt x="1" y="3965"/>
                  </a:cubicBezTo>
                  <a:lnTo>
                    <a:pt x="1" y="5097"/>
                  </a:lnTo>
                  <a:cubicBezTo>
                    <a:pt x="1" y="5408"/>
                    <a:pt x="252" y="5661"/>
                    <a:pt x="566" y="5661"/>
                  </a:cubicBezTo>
                  <a:lnTo>
                    <a:pt x="1176" y="5661"/>
                  </a:lnTo>
                  <a:lnTo>
                    <a:pt x="2172" y="17779"/>
                  </a:lnTo>
                  <a:lnTo>
                    <a:pt x="2172" y="17782"/>
                  </a:lnTo>
                  <a:cubicBezTo>
                    <a:pt x="2247" y="18655"/>
                    <a:pt x="2981" y="19325"/>
                    <a:pt x="3860" y="19325"/>
                  </a:cubicBezTo>
                  <a:cubicBezTo>
                    <a:pt x="3862" y="19325"/>
                    <a:pt x="3864" y="19325"/>
                    <a:pt x="3866" y="19324"/>
                  </a:cubicBezTo>
                  <a:lnTo>
                    <a:pt x="13120" y="19324"/>
                  </a:lnTo>
                  <a:cubicBezTo>
                    <a:pt x="13122" y="19325"/>
                    <a:pt x="13124" y="19325"/>
                    <a:pt x="13126" y="19325"/>
                  </a:cubicBezTo>
                  <a:cubicBezTo>
                    <a:pt x="14002" y="19325"/>
                    <a:pt x="14736" y="18655"/>
                    <a:pt x="14811" y="17779"/>
                  </a:cubicBezTo>
                  <a:lnTo>
                    <a:pt x="14811" y="17776"/>
                  </a:lnTo>
                  <a:lnTo>
                    <a:pt x="15808" y="5661"/>
                  </a:lnTo>
                  <a:lnTo>
                    <a:pt x="16418" y="5661"/>
                  </a:lnTo>
                  <a:cubicBezTo>
                    <a:pt x="16732" y="5661"/>
                    <a:pt x="16985" y="5408"/>
                    <a:pt x="16985" y="5097"/>
                  </a:cubicBezTo>
                  <a:lnTo>
                    <a:pt x="16985" y="3965"/>
                  </a:lnTo>
                  <a:cubicBezTo>
                    <a:pt x="16982" y="3025"/>
                    <a:pt x="16224" y="2265"/>
                    <a:pt x="15285" y="2265"/>
                  </a:cubicBezTo>
                  <a:lnTo>
                    <a:pt x="11889" y="2265"/>
                  </a:lnTo>
                  <a:lnTo>
                    <a:pt x="11889" y="1700"/>
                  </a:lnTo>
                  <a:cubicBezTo>
                    <a:pt x="11889" y="761"/>
                    <a:pt x="11128" y="0"/>
                    <a:pt x="10192"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435D74"/>
                </a:solidFill>
                <a:latin typeface="Arial"/>
                <a:cs typeface="Arial"/>
                <a:sym typeface="Arial"/>
              </a:endParaRPr>
            </a:p>
          </p:txBody>
        </p:sp>
        <p:sp>
          <p:nvSpPr>
            <p:cNvPr id="9311" name="Google Shape;9311;p109"/>
            <p:cNvSpPr/>
            <p:nvPr/>
          </p:nvSpPr>
          <p:spPr>
            <a:xfrm>
              <a:off x="2903525" y="407950"/>
              <a:ext cx="28350" cy="228375"/>
            </a:xfrm>
            <a:custGeom>
              <a:avLst/>
              <a:gdLst/>
              <a:ahLst/>
              <a:cxnLst/>
              <a:rect l="l" t="t" r="r" b="b"/>
              <a:pathLst>
                <a:path w="1134" h="9135" extrusionOk="0">
                  <a:moveTo>
                    <a:pt x="566" y="1"/>
                  </a:moveTo>
                  <a:cubicBezTo>
                    <a:pt x="252" y="1"/>
                    <a:pt x="1" y="254"/>
                    <a:pt x="1" y="568"/>
                  </a:cubicBezTo>
                  <a:lnTo>
                    <a:pt x="1" y="8570"/>
                  </a:lnTo>
                  <a:cubicBezTo>
                    <a:pt x="1" y="8881"/>
                    <a:pt x="252" y="9135"/>
                    <a:pt x="566" y="9135"/>
                  </a:cubicBezTo>
                  <a:cubicBezTo>
                    <a:pt x="880" y="9135"/>
                    <a:pt x="1133" y="8881"/>
                    <a:pt x="1133" y="8570"/>
                  </a:cubicBezTo>
                  <a:lnTo>
                    <a:pt x="1133" y="568"/>
                  </a:lnTo>
                  <a:cubicBezTo>
                    <a:pt x="1133" y="254"/>
                    <a:pt x="880" y="1"/>
                    <a:pt x="566"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435D74"/>
                </a:solidFill>
                <a:latin typeface="Arial"/>
                <a:cs typeface="Arial"/>
                <a:sym typeface="Arial"/>
              </a:endParaRPr>
            </a:p>
          </p:txBody>
        </p:sp>
        <p:sp>
          <p:nvSpPr>
            <p:cNvPr id="9312" name="Google Shape;9312;p109"/>
            <p:cNvSpPr/>
            <p:nvPr/>
          </p:nvSpPr>
          <p:spPr>
            <a:xfrm>
              <a:off x="2988450" y="407950"/>
              <a:ext cx="28350" cy="228375"/>
            </a:xfrm>
            <a:custGeom>
              <a:avLst/>
              <a:gdLst/>
              <a:ahLst/>
              <a:cxnLst/>
              <a:rect l="l" t="t" r="r" b="b"/>
              <a:pathLst>
                <a:path w="1134" h="9135" extrusionOk="0">
                  <a:moveTo>
                    <a:pt x="566" y="1"/>
                  </a:moveTo>
                  <a:cubicBezTo>
                    <a:pt x="251" y="1"/>
                    <a:pt x="1" y="254"/>
                    <a:pt x="1" y="568"/>
                  </a:cubicBezTo>
                  <a:lnTo>
                    <a:pt x="1" y="8570"/>
                  </a:lnTo>
                  <a:cubicBezTo>
                    <a:pt x="1" y="8881"/>
                    <a:pt x="251" y="9135"/>
                    <a:pt x="566" y="9135"/>
                  </a:cubicBezTo>
                  <a:cubicBezTo>
                    <a:pt x="880" y="9135"/>
                    <a:pt x="1133" y="8881"/>
                    <a:pt x="1133" y="8570"/>
                  </a:cubicBezTo>
                  <a:lnTo>
                    <a:pt x="1133" y="568"/>
                  </a:lnTo>
                  <a:cubicBezTo>
                    <a:pt x="1133" y="254"/>
                    <a:pt x="880" y="1"/>
                    <a:pt x="566"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435D74"/>
                </a:solidFill>
                <a:latin typeface="Arial"/>
                <a:cs typeface="Arial"/>
                <a:sym typeface="Arial"/>
              </a:endParaRPr>
            </a:p>
          </p:txBody>
        </p:sp>
        <p:sp>
          <p:nvSpPr>
            <p:cNvPr id="9313" name="Google Shape;9313;p109"/>
            <p:cNvSpPr/>
            <p:nvPr/>
          </p:nvSpPr>
          <p:spPr>
            <a:xfrm>
              <a:off x="2818625" y="407950"/>
              <a:ext cx="28325" cy="228375"/>
            </a:xfrm>
            <a:custGeom>
              <a:avLst/>
              <a:gdLst/>
              <a:ahLst/>
              <a:cxnLst/>
              <a:rect l="l" t="t" r="r" b="b"/>
              <a:pathLst>
                <a:path w="1133" h="9135" extrusionOk="0">
                  <a:moveTo>
                    <a:pt x="565" y="1"/>
                  </a:moveTo>
                  <a:cubicBezTo>
                    <a:pt x="251" y="1"/>
                    <a:pt x="0" y="254"/>
                    <a:pt x="0" y="568"/>
                  </a:cubicBezTo>
                  <a:lnTo>
                    <a:pt x="0" y="8570"/>
                  </a:lnTo>
                  <a:cubicBezTo>
                    <a:pt x="0" y="8881"/>
                    <a:pt x="251" y="9135"/>
                    <a:pt x="565" y="9135"/>
                  </a:cubicBezTo>
                  <a:cubicBezTo>
                    <a:pt x="879" y="9135"/>
                    <a:pt x="1132" y="8881"/>
                    <a:pt x="1132" y="8570"/>
                  </a:cubicBezTo>
                  <a:lnTo>
                    <a:pt x="1132" y="568"/>
                  </a:lnTo>
                  <a:cubicBezTo>
                    <a:pt x="1132" y="254"/>
                    <a:pt x="879" y="1"/>
                    <a:pt x="565"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435D74"/>
                </a:solidFill>
                <a:latin typeface="Arial"/>
                <a:cs typeface="Arial"/>
                <a:sym typeface="Arial"/>
              </a:endParaRPr>
            </a:p>
          </p:txBody>
        </p:sp>
      </p:grpSp>
      <p:grpSp>
        <p:nvGrpSpPr>
          <p:cNvPr id="9314" name="Google Shape;9314;p109"/>
          <p:cNvGrpSpPr/>
          <p:nvPr/>
        </p:nvGrpSpPr>
        <p:grpSpPr>
          <a:xfrm>
            <a:off x="3390267" y="3049941"/>
            <a:ext cx="401548" cy="452713"/>
            <a:chOff x="3299850" y="238575"/>
            <a:chExt cx="427725" cy="482225"/>
          </a:xfrm>
        </p:grpSpPr>
        <p:sp>
          <p:nvSpPr>
            <p:cNvPr id="9315" name="Google Shape;9315;p109"/>
            <p:cNvSpPr/>
            <p:nvPr/>
          </p:nvSpPr>
          <p:spPr>
            <a:xfrm>
              <a:off x="3299850" y="323500"/>
              <a:ext cx="427725" cy="397300"/>
            </a:xfrm>
            <a:custGeom>
              <a:avLst/>
              <a:gdLst/>
              <a:ahLst/>
              <a:cxnLst/>
              <a:rect l="l" t="t" r="r" b="b"/>
              <a:pathLst>
                <a:path w="17109" h="15892" extrusionOk="0">
                  <a:moveTo>
                    <a:pt x="3397" y="6794"/>
                  </a:moveTo>
                  <a:lnTo>
                    <a:pt x="3397" y="14759"/>
                  </a:lnTo>
                  <a:lnTo>
                    <a:pt x="1132" y="14759"/>
                  </a:lnTo>
                  <a:lnTo>
                    <a:pt x="1132" y="6794"/>
                  </a:lnTo>
                  <a:close/>
                  <a:moveTo>
                    <a:pt x="9034" y="1132"/>
                  </a:moveTo>
                  <a:cubicBezTo>
                    <a:pt x="9683" y="1175"/>
                    <a:pt x="10191" y="1712"/>
                    <a:pt x="10191" y="2364"/>
                  </a:cubicBezTo>
                  <a:cubicBezTo>
                    <a:pt x="10191" y="3346"/>
                    <a:pt x="9774" y="5275"/>
                    <a:pt x="9221" y="5828"/>
                  </a:cubicBezTo>
                  <a:cubicBezTo>
                    <a:pt x="8865" y="6184"/>
                    <a:pt x="9119" y="6794"/>
                    <a:pt x="9623" y="6794"/>
                  </a:cubicBezTo>
                  <a:lnTo>
                    <a:pt x="15285" y="6794"/>
                  </a:lnTo>
                  <a:cubicBezTo>
                    <a:pt x="15599" y="6794"/>
                    <a:pt x="15849" y="7047"/>
                    <a:pt x="15849" y="7361"/>
                  </a:cubicBezTo>
                  <a:cubicBezTo>
                    <a:pt x="15849" y="7672"/>
                    <a:pt x="15599" y="7926"/>
                    <a:pt x="15285" y="7926"/>
                  </a:cubicBezTo>
                  <a:lnTo>
                    <a:pt x="11888" y="7926"/>
                  </a:lnTo>
                  <a:cubicBezTo>
                    <a:pt x="11574" y="7926"/>
                    <a:pt x="11323" y="8180"/>
                    <a:pt x="11323" y="8494"/>
                  </a:cubicBezTo>
                  <a:cubicBezTo>
                    <a:pt x="11323" y="8805"/>
                    <a:pt x="11574" y="9058"/>
                    <a:pt x="11888" y="9058"/>
                  </a:cubicBezTo>
                  <a:lnTo>
                    <a:pt x="15285" y="9058"/>
                  </a:lnTo>
                  <a:cubicBezTo>
                    <a:pt x="15586" y="9058"/>
                    <a:pt x="15852" y="9342"/>
                    <a:pt x="15852" y="9662"/>
                  </a:cubicBezTo>
                  <a:cubicBezTo>
                    <a:pt x="15852" y="9976"/>
                    <a:pt x="15599" y="10230"/>
                    <a:pt x="15285" y="10230"/>
                  </a:cubicBezTo>
                  <a:lnTo>
                    <a:pt x="11888" y="10230"/>
                  </a:lnTo>
                  <a:cubicBezTo>
                    <a:pt x="11574" y="10230"/>
                    <a:pt x="11323" y="10484"/>
                    <a:pt x="11323" y="10795"/>
                  </a:cubicBezTo>
                  <a:cubicBezTo>
                    <a:pt x="11323" y="11109"/>
                    <a:pt x="11574" y="11362"/>
                    <a:pt x="11888" y="11362"/>
                  </a:cubicBezTo>
                  <a:lnTo>
                    <a:pt x="14152" y="11362"/>
                  </a:lnTo>
                  <a:cubicBezTo>
                    <a:pt x="14466" y="11362"/>
                    <a:pt x="14717" y="11616"/>
                    <a:pt x="14717" y="11927"/>
                  </a:cubicBezTo>
                  <a:cubicBezTo>
                    <a:pt x="14717" y="12241"/>
                    <a:pt x="14466" y="12494"/>
                    <a:pt x="14152" y="12494"/>
                  </a:cubicBezTo>
                  <a:lnTo>
                    <a:pt x="11888" y="12494"/>
                  </a:lnTo>
                  <a:cubicBezTo>
                    <a:pt x="11574" y="12494"/>
                    <a:pt x="11323" y="12748"/>
                    <a:pt x="11323" y="13059"/>
                  </a:cubicBezTo>
                  <a:cubicBezTo>
                    <a:pt x="11323" y="13373"/>
                    <a:pt x="11574" y="13627"/>
                    <a:pt x="11888" y="13627"/>
                  </a:cubicBezTo>
                  <a:lnTo>
                    <a:pt x="13020" y="13627"/>
                  </a:lnTo>
                  <a:cubicBezTo>
                    <a:pt x="13334" y="13627"/>
                    <a:pt x="13585" y="13880"/>
                    <a:pt x="13585" y="14191"/>
                  </a:cubicBezTo>
                  <a:cubicBezTo>
                    <a:pt x="13585" y="14505"/>
                    <a:pt x="13334" y="14759"/>
                    <a:pt x="13020" y="14759"/>
                  </a:cubicBezTo>
                  <a:lnTo>
                    <a:pt x="9197" y="14759"/>
                  </a:lnTo>
                  <a:cubicBezTo>
                    <a:pt x="8041" y="14759"/>
                    <a:pt x="6890" y="14572"/>
                    <a:pt x="5794" y="14207"/>
                  </a:cubicBezTo>
                  <a:lnTo>
                    <a:pt x="4529" y="13784"/>
                  </a:lnTo>
                  <a:lnTo>
                    <a:pt x="4529" y="7712"/>
                  </a:lnTo>
                  <a:lnTo>
                    <a:pt x="5686" y="7132"/>
                  </a:lnTo>
                  <a:cubicBezTo>
                    <a:pt x="6265" y="6842"/>
                    <a:pt x="6797" y="6459"/>
                    <a:pt x="7253" y="6003"/>
                  </a:cubicBezTo>
                  <a:lnTo>
                    <a:pt x="7289" y="5963"/>
                  </a:lnTo>
                  <a:cubicBezTo>
                    <a:pt x="8352" y="4901"/>
                    <a:pt x="8917" y="2654"/>
                    <a:pt x="9034" y="1132"/>
                  </a:cubicBezTo>
                  <a:close/>
                  <a:moveTo>
                    <a:pt x="8491" y="0"/>
                  </a:moveTo>
                  <a:cubicBezTo>
                    <a:pt x="8177" y="0"/>
                    <a:pt x="7926" y="254"/>
                    <a:pt x="7926" y="568"/>
                  </a:cubicBezTo>
                  <a:cubicBezTo>
                    <a:pt x="7926" y="1887"/>
                    <a:pt x="7380" y="4276"/>
                    <a:pt x="6492" y="5166"/>
                  </a:cubicBezTo>
                  <a:lnTo>
                    <a:pt x="6456" y="5203"/>
                  </a:lnTo>
                  <a:cubicBezTo>
                    <a:pt x="6081" y="5574"/>
                    <a:pt x="5652" y="5885"/>
                    <a:pt x="5181" y="6120"/>
                  </a:cubicBezTo>
                  <a:lnTo>
                    <a:pt x="4529" y="6444"/>
                  </a:lnTo>
                  <a:lnTo>
                    <a:pt x="4529" y="6229"/>
                  </a:lnTo>
                  <a:cubicBezTo>
                    <a:pt x="4529" y="5915"/>
                    <a:pt x="4276" y="5661"/>
                    <a:pt x="3962" y="5661"/>
                  </a:cubicBezTo>
                  <a:lnTo>
                    <a:pt x="565" y="5661"/>
                  </a:lnTo>
                  <a:cubicBezTo>
                    <a:pt x="251" y="5661"/>
                    <a:pt x="0" y="5915"/>
                    <a:pt x="0" y="6229"/>
                  </a:cubicBezTo>
                  <a:lnTo>
                    <a:pt x="0" y="15324"/>
                  </a:lnTo>
                  <a:cubicBezTo>
                    <a:pt x="0" y="15638"/>
                    <a:pt x="251" y="15891"/>
                    <a:pt x="565" y="15891"/>
                  </a:cubicBezTo>
                  <a:lnTo>
                    <a:pt x="3962" y="15891"/>
                  </a:lnTo>
                  <a:cubicBezTo>
                    <a:pt x="4276" y="15891"/>
                    <a:pt x="4529" y="15638"/>
                    <a:pt x="4529" y="15324"/>
                  </a:cubicBezTo>
                  <a:lnTo>
                    <a:pt x="4529" y="14976"/>
                  </a:lnTo>
                  <a:lnTo>
                    <a:pt x="5435" y="15278"/>
                  </a:lnTo>
                  <a:cubicBezTo>
                    <a:pt x="6649" y="15683"/>
                    <a:pt x="7917" y="15888"/>
                    <a:pt x="9197" y="15888"/>
                  </a:cubicBezTo>
                  <a:lnTo>
                    <a:pt x="13020" y="15888"/>
                  </a:lnTo>
                  <a:cubicBezTo>
                    <a:pt x="14219" y="15888"/>
                    <a:pt x="15040" y="14681"/>
                    <a:pt x="14599" y="13566"/>
                  </a:cubicBezTo>
                  <a:cubicBezTo>
                    <a:pt x="15577" y="13298"/>
                    <a:pt x="16106" y="12241"/>
                    <a:pt x="15731" y="11302"/>
                  </a:cubicBezTo>
                  <a:cubicBezTo>
                    <a:pt x="16468" y="11100"/>
                    <a:pt x="16981" y="10429"/>
                    <a:pt x="16984" y="9662"/>
                  </a:cubicBezTo>
                  <a:cubicBezTo>
                    <a:pt x="16981" y="9233"/>
                    <a:pt x="16824" y="8823"/>
                    <a:pt x="16541" y="8503"/>
                  </a:cubicBezTo>
                  <a:cubicBezTo>
                    <a:pt x="16994" y="8005"/>
                    <a:pt x="17108" y="7289"/>
                    <a:pt x="16837" y="6673"/>
                  </a:cubicBezTo>
                  <a:cubicBezTo>
                    <a:pt x="16565" y="6060"/>
                    <a:pt x="15958" y="5661"/>
                    <a:pt x="15285" y="5661"/>
                  </a:cubicBezTo>
                  <a:lnTo>
                    <a:pt x="10635" y="5661"/>
                  </a:lnTo>
                  <a:cubicBezTo>
                    <a:pt x="11109" y="4577"/>
                    <a:pt x="11323" y="3104"/>
                    <a:pt x="11323" y="2364"/>
                  </a:cubicBezTo>
                  <a:cubicBezTo>
                    <a:pt x="11320" y="1060"/>
                    <a:pt x="10263" y="3"/>
                    <a:pt x="8959"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435D74"/>
                </a:solidFill>
                <a:latin typeface="Arial"/>
                <a:cs typeface="Arial"/>
                <a:sym typeface="Arial"/>
              </a:endParaRPr>
            </a:p>
          </p:txBody>
        </p:sp>
        <p:sp>
          <p:nvSpPr>
            <p:cNvPr id="9316" name="Google Shape;9316;p109"/>
            <p:cNvSpPr/>
            <p:nvPr/>
          </p:nvSpPr>
          <p:spPr>
            <a:xfrm>
              <a:off x="3467650" y="238575"/>
              <a:ext cx="46525" cy="56650"/>
            </a:xfrm>
            <a:custGeom>
              <a:avLst/>
              <a:gdLst/>
              <a:ahLst/>
              <a:cxnLst/>
              <a:rect l="l" t="t" r="r" b="b"/>
              <a:pathLst>
                <a:path w="1861" h="2266" extrusionOk="0">
                  <a:moveTo>
                    <a:pt x="646" y="1"/>
                  </a:moveTo>
                  <a:cubicBezTo>
                    <a:pt x="561" y="1"/>
                    <a:pt x="475" y="20"/>
                    <a:pt x="393" y="61"/>
                  </a:cubicBezTo>
                  <a:cubicBezTo>
                    <a:pt x="112" y="199"/>
                    <a:pt x="0" y="541"/>
                    <a:pt x="139" y="821"/>
                  </a:cubicBezTo>
                  <a:lnTo>
                    <a:pt x="707" y="1954"/>
                  </a:lnTo>
                  <a:cubicBezTo>
                    <a:pt x="805" y="2150"/>
                    <a:pt x="1005" y="2265"/>
                    <a:pt x="1212" y="2265"/>
                  </a:cubicBezTo>
                  <a:cubicBezTo>
                    <a:pt x="1297" y="2265"/>
                    <a:pt x="1384" y="2246"/>
                    <a:pt x="1465" y="2204"/>
                  </a:cubicBezTo>
                  <a:cubicBezTo>
                    <a:pt x="1746" y="2065"/>
                    <a:pt x="1860" y="1727"/>
                    <a:pt x="1718" y="1446"/>
                  </a:cubicBezTo>
                  <a:lnTo>
                    <a:pt x="1154" y="314"/>
                  </a:lnTo>
                  <a:cubicBezTo>
                    <a:pt x="1053" y="115"/>
                    <a:pt x="854" y="1"/>
                    <a:pt x="646"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435D74"/>
                </a:solidFill>
                <a:latin typeface="Arial"/>
                <a:cs typeface="Arial"/>
                <a:sym typeface="Arial"/>
              </a:endParaRPr>
            </a:p>
          </p:txBody>
        </p:sp>
        <p:sp>
          <p:nvSpPr>
            <p:cNvPr id="9317" name="Google Shape;9317;p109"/>
            <p:cNvSpPr/>
            <p:nvPr/>
          </p:nvSpPr>
          <p:spPr>
            <a:xfrm>
              <a:off x="3566675" y="238575"/>
              <a:ext cx="46525" cy="56675"/>
            </a:xfrm>
            <a:custGeom>
              <a:avLst/>
              <a:gdLst/>
              <a:ahLst/>
              <a:cxnLst/>
              <a:rect l="l" t="t" r="r" b="b"/>
              <a:pathLst>
                <a:path w="1861" h="2267" extrusionOk="0">
                  <a:moveTo>
                    <a:pt x="1215" y="1"/>
                  </a:moveTo>
                  <a:cubicBezTo>
                    <a:pt x="1007" y="1"/>
                    <a:pt x="808" y="115"/>
                    <a:pt x="707" y="314"/>
                  </a:cubicBezTo>
                  <a:lnTo>
                    <a:pt x="143" y="1446"/>
                  </a:lnTo>
                  <a:cubicBezTo>
                    <a:pt x="1" y="1727"/>
                    <a:pt x="116" y="2065"/>
                    <a:pt x="396" y="2207"/>
                  </a:cubicBezTo>
                  <a:cubicBezTo>
                    <a:pt x="477" y="2247"/>
                    <a:pt x="562" y="2266"/>
                    <a:pt x="646" y="2266"/>
                  </a:cubicBezTo>
                  <a:cubicBezTo>
                    <a:pt x="854" y="2266"/>
                    <a:pt x="1055" y="2151"/>
                    <a:pt x="1154" y="1954"/>
                  </a:cubicBezTo>
                  <a:lnTo>
                    <a:pt x="1722" y="821"/>
                  </a:lnTo>
                  <a:cubicBezTo>
                    <a:pt x="1861" y="541"/>
                    <a:pt x="1749" y="199"/>
                    <a:pt x="1468" y="61"/>
                  </a:cubicBezTo>
                  <a:cubicBezTo>
                    <a:pt x="1387" y="20"/>
                    <a:pt x="1300" y="1"/>
                    <a:pt x="1215"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435D74"/>
                </a:solidFill>
                <a:latin typeface="Arial"/>
                <a:cs typeface="Arial"/>
                <a:sym typeface="Arial"/>
              </a:endParaRPr>
            </a:p>
          </p:txBody>
        </p:sp>
        <p:sp>
          <p:nvSpPr>
            <p:cNvPr id="9318" name="Google Shape;9318;p109"/>
            <p:cNvSpPr/>
            <p:nvPr/>
          </p:nvSpPr>
          <p:spPr>
            <a:xfrm>
              <a:off x="3611225" y="323500"/>
              <a:ext cx="56550" cy="28325"/>
            </a:xfrm>
            <a:custGeom>
              <a:avLst/>
              <a:gdLst/>
              <a:ahLst/>
              <a:cxnLst/>
              <a:rect l="l" t="t" r="r" b="b"/>
              <a:pathLst>
                <a:path w="2262" h="1133" extrusionOk="0">
                  <a:moveTo>
                    <a:pt x="565" y="0"/>
                  </a:moveTo>
                  <a:cubicBezTo>
                    <a:pt x="251" y="0"/>
                    <a:pt x="0" y="254"/>
                    <a:pt x="0" y="568"/>
                  </a:cubicBezTo>
                  <a:cubicBezTo>
                    <a:pt x="0" y="879"/>
                    <a:pt x="251" y="1132"/>
                    <a:pt x="565" y="1132"/>
                  </a:cubicBezTo>
                  <a:lnTo>
                    <a:pt x="1697" y="1132"/>
                  </a:lnTo>
                  <a:cubicBezTo>
                    <a:pt x="2011" y="1132"/>
                    <a:pt x="2262" y="879"/>
                    <a:pt x="2262" y="568"/>
                  </a:cubicBezTo>
                  <a:cubicBezTo>
                    <a:pt x="2262" y="254"/>
                    <a:pt x="2011" y="0"/>
                    <a:pt x="1697"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435D74"/>
                </a:solidFill>
                <a:latin typeface="Arial"/>
                <a:cs typeface="Arial"/>
                <a:sym typeface="Arial"/>
              </a:endParaRPr>
            </a:p>
          </p:txBody>
        </p:sp>
        <p:sp>
          <p:nvSpPr>
            <p:cNvPr id="9319" name="Google Shape;9319;p109"/>
            <p:cNvSpPr/>
            <p:nvPr/>
          </p:nvSpPr>
          <p:spPr>
            <a:xfrm>
              <a:off x="3413075" y="323500"/>
              <a:ext cx="56550" cy="28325"/>
            </a:xfrm>
            <a:custGeom>
              <a:avLst/>
              <a:gdLst/>
              <a:ahLst/>
              <a:cxnLst/>
              <a:rect l="l" t="t" r="r" b="b"/>
              <a:pathLst>
                <a:path w="2262" h="1133" extrusionOk="0">
                  <a:moveTo>
                    <a:pt x="565" y="0"/>
                  </a:moveTo>
                  <a:cubicBezTo>
                    <a:pt x="251" y="0"/>
                    <a:pt x="0" y="254"/>
                    <a:pt x="0" y="568"/>
                  </a:cubicBezTo>
                  <a:cubicBezTo>
                    <a:pt x="0" y="879"/>
                    <a:pt x="251" y="1132"/>
                    <a:pt x="565" y="1132"/>
                  </a:cubicBezTo>
                  <a:lnTo>
                    <a:pt x="1697" y="1132"/>
                  </a:lnTo>
                  <a:cubicBezTo>
                    <a:pt x="2011" y="1132"/>
                    <a:pt x="2262" y="879"/>
                    <a:pt x="2262" y="568"/>
                  </a:cubicBezTo>
                  <a:cubicBezTo>
                    <a:pt x="2262" y="254"/>
                    <a:pt x="2011" y="0"/>
                    <a:pt x="1697"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435D74"/>
                </a:solidFill>
                <a:latin typeface="Arial"/>
                <a:cs typeface="Arial"/>
                <a:sym typeface="Arial"/>
              </a:endParaRPr>
            </a:p>
          </p:txBody>
        </p:sp>
      </p:grpSp>
      <p:grpSp>
        <p:nvGrpSpPr>
          <p:cNvPr id="9320" name="Google Shape;9320;p109"/>
          <p:cNvGrpSpPr/>
          <p:nvPr/>
        </p:nvGrpSpPr>
        <p:grpSpPr>
          <a:xfrm>
            <a:off x="3906163" y="3049518"/>
            <a:ext cx="469940" cy="453557"/>
            <a:chOff x="3857225" y="238125"/>
            <a:chExt cx="500575" cy="483125"/>
          </a:xfrm>
        </p:grpSpPr>
        <p:sp>
          <p:nvSpPr>
            <p:cNvPr id="9321" name="Google Shape;9321;p109"/>
            <p:cNvSpPr/>
            <p:nvPr/>
          </p:nvSpPr>
          <p:spPr>
            <a:xfrm>
              <a:off x="3857225" y="238125"/>
              <a:ext cx="500575" cy="483125"/>
            </a:xfrm>
            <a:custGeom>
              <a:avLst/>
              <a:gdLst/>
              <a:ahLst/>
              <a:cxnLst/>
              <a:rect l="l" t="t" r="r" b="b"/>
              <a:pathLst>
                <a:path w="20023" h="19325" extrusionOk="0">
                  <a:moveTo>
                    <a:pt x="15671" y="3398"/>
                  </a:moveTo>
                  <a:cubicBezTo>
                    <a:pt x="15707" y="3398"/>
                    <a:pt x="15744" y="3402"/>
                    <a:pt x="15780" y="3409"/>
                  </a:cubicBezTo>
                  <a:lnTo>
                    <a:pt x="15801" y="3415"/>
                  </a:lnTo>
                  <a:cubicBezTo>
                    <a:pt x="15814" y="3415"/>
                    <a:pt x="15823" y="3418"/>
                    <a:pt x="15835" y="3421"/>
                  </a:cubicBezTo>
                  <a:cubicBezTo>
                    <a:pt x="15844" y="3424"/>
                    <a:pt x="15856" y="3430"/>
                    <a:pt x="15868" y="3433"/>
                  </a:cubicBezTo>
                  <a:lnTo>
                    <a:pt x="15886" y="3439"/>
                  </a:lnTo>
                  <a:cubicBezTo>
                    <a:pt x="15892" y="3442"/>
                    <a:pt x="15898" y="3445"/>
                    <a:pt x="15904" y="3448"/>
                  </a:cubicBezTo>
                  <a:cubicBezTo>
                    <a:pt x="15922" y="3457"/>
                    <a:pt x="15943" y="3466"/>
                    <a:pt x="15964" y="3478"/>
                  </a:cubicBezTo>
                  <a:cubicBezTo>
                    <a:pt x="15986" y="3494"/>
                    <a:pt x="16010" y="3509"/>
                    <a:pt x="16031" y="3524"/>
                  </a:cubicBezTo>
                  <a:cubicBezTo>
                    <a:pt x="16046" y="3536"/>
                    <a:pt x="16058" y="3551"/>
                    <a:pt x="16073" y="3563"/>
                  </a:cubicBezTo>
                  <a:cubicBezTo>
                    <a:pt x="16085" y="3575"/>
                    <a:pt x="16100" y="3590"/>
                    <a:pt x="16112" y="3605"/>
                  </a:cubicBezTo>
                  <a:cubicBezTo>
                    <a:pt x="16294" y="3829"/>
                    <a:pt x="16279" y="4158"/>
                    <a:pt x="16073" y="4363"/>
                  </a:cubicBezTo>
                  <a:lnTo>
                    <a:pt x="13054" y="7383"/>
                  </a:lnTo>
                  <a:cubicBezTo>
                    <a:pt x="12939" y="7232"/>
                    <a:pt x="12815" y="7090"/>
                    <a:pt x="12682" y="6954"/>
                  </a:cubicBezTo>
                  <a:cubicBezTo>
                    <a:pt x="12546" y="6821"/>
                    <a:pt x="12405" y="6697"/>
                    <a:pt x="12254" y="6582"/>
                  </a:cubicBezTo>
                  <a:lnTo>
                    <a:pt x="15273" y="3563"/>
                  </a:lnTo>
                  <a:cubicBezTo>
                    <a:pt x="15380" y="3456"/>
                    <a:pt x="15523" y="3398"/>
                    <a:pt x="15671" y="3398"/>
                  </a:cubicBezTo>
                  <a:close/>
                  <a:moveTo>
                    <a:pt x="9887" y="9183"/>
                  </a:moveTo>
                  <a:cubicBezTo>
                    <a:pt x="10031" y="9183"/>
                    <a:pt x="10176" y="9238"/>
                    <a:pt x="10288" y="9348"/>
                  </a:cubicBezTo>
                  <a:cubicBezTo>
                    <a:pt x="10511" y="9575"/>
                    <a:pt x="10508" y="9937"/>
                    <a:pt x="10279" y="10157"/>
                  </a:cubicBezTo>
                  <a:cubicBezTo>
                    <a:pt x="10169" y="10268"/>
                    <a:pt x="10024" y="10323"/>
                    <a:pt x="9879" y="10323"/>
                  </a:cubicBezTo>
                  <a:cubicBezTo>
                    <a:pt x="9734" y="10323"/>
                    <a:pt x="9589" y="10268"/>
                    <a:pt x="9479" y="10157"/>
                  </a:cubicBezTo>
                  <a:cubicBezTo>
                    <a:pt x="9258" y="9937"/>
                    <a:pt x="9258" y="9578"/>
                    <a:pt x="9479" y="9357"/>
                  </a:cubicBezTo>
                  <a:cubicBezTo>
                    <a:pt x="9590" y="9241"/>
                    <a:pt x="9739" y="9183"/>
                    <a:pt x="9887" y="9183"/>
                  </a:cubicBezTo>
                  <a:close/>
                  <a:moveTo>
                    <a:pt x="15746" y="1062"/>
                  </a:moveTo>
                  <a:cubicBezTo>
                    <a:pt x="16469" y="1062"/>
                    <a:pt x="17193" y="1337"/>
                    <a:pt x="17746" y="1890"/>
                  </a:cubicBezTo>
                  <a:cubicBezTo>
                    <a:pt x="18878" y="3022"/>
                    <a:pt x="18845" y="4870"/>
                    <a:pt x="17673" y="5963"/>
                  </a:cubicBezTo>
                  <a:lnTo>
                    <a:pt x="11879" y="11758"/>
                  </a:lnTo>
                  <a:cubicBezTo>
                    <a:pt x="11337" y="12300"/>
                    <a:pt x="10612" y="12586"/>
                    <a:pt x="9878" y="12586"/>
                  </a:cubicBezTo>
                  <a:cubicBezTo>
                    <a:pt x="9472" y="12586"/>
                    <a:pt x="9062" y="12499"/>
                    <a:pt x="8679" y="12319"/>
                  </a:cubicBezTo>
                  <a:lnTo>
                    <a:pt x="8663" y="12313"/>
                  </a:lnTo>
                  <a:cubicBezTo>
                    <a:pt x="8198" y="12093"/>
                    <a:pt x="7803" y="11746"/>
                    <a:pt x="7516" y="11317"/>
                  </a:cubicBezTo>
                  <a:lnTo>
                    <a:pt x="8346" y="10487"/>
                  </a:lnTo>
                  <a:cubicBezTo>
                    <a:pt x="8645" y="11113"/>
                    <a:pt x="9259" y="11453"/>
                    <a:pt x="9883" y="11453"/>
                  </a:cubicBezTo>
                  <a:cubicBezTo>
                    <a:pt x="10311" y="11453"/>
                    <a:pt x="10744" y="11293"/>
                    <a:pt x="11082" y="10955"/>
                  </a:cubicBezTo>
                  <a:lnTo>
                    <a:pt x="16873" y="5160"/>
                  </a:lnTo>
                  <a:cubicBezTo>
                    <a:pt x="17541" y="4514"/>
                    <a:pt x="17562" y="3448"/>
                    <a:pt x="16922" y="2775"/>
                  </a:cubicBezTo>
                  <a:cubicBezTo>
                    <a:pt x="16588" y="2423"/>
                    <a:pt x="16140" y="2245"/>
                    <a:pt x="15690" y="2245"/>
                  </a:cubicBezTo>
                  <a:cubicBezTo>
                    <a:pt x="15275" y="2245"/>
                    <a:pt x="14860" y="2395"/>
                    <a:pt x="14533" y="2699"/>
                  </a:cubicBezTo>
                  <a:cubicBezTo>
                    <a:pt x="14512" y="2718"/>
                    <a:pt x="14491" y="2739"/>
                    <a:pt x="14470" y="2760"/>
                  </a:cubicBezTo>
                  <a:lnTo>
                    <a:pt x="11212" y="6021"/>
                  </a:lnTo>
                  <a:cubicBezTo>
                    <a:pt x="10783" y="5867"/>
                    <a:pt x="10333" y="5791"/>
                    <a:pt x="9877" y="5791"/>
                  </a:cubicBezTo>
                  <a:lnTo>
                    <a:pt x="9838" y="5791"/>
                  </a:lnTo>
                  <a:lnTo>
                    <a:pt x="13673" y="1963"/>
                  </a:lnTo>
                  <a:cubicBezTo>
                    <a:pt x="14232" y="1363"/>
                    <a:pt x="14988" y="1062"/>
                    <a:pt x="15746" y="1062"/>
                  </a:cubicBezTo>
                  <a:close/>
                  <a:moveTo>
                    <a:pt x="6707" y="12129"/>
                  </a:moveTo>
                  <a:cubicBezTo>
                    <a:pt x="6819" y="12283"/>
                    <a:pt x="6942" y="12425"/>
                    <a:pt x="7078" y="12558"/>
                  </a:cubicBezTo>
                  <a:cubicBezTo>
                    <a:pt x="7211" y="12694"/>
                    <a:pt x="7353" y="12818"/>
                    <a:pt x="7507" y="12932"/>
                  </a:cubicBezTo>
                  <a:lnTo>
                    <a:pt x="4675" y="15762"/>
                  </a:lnTo>
                  <a:cubicBezTo>
                    <a:pt x="4565" y="15872"/>
                    <a:pt x="4420" y="15927"/>
                    <a:pt x="4275" y="15927"/>
                  </a:cubicBezTo>
                  <a:cubicBezTo>
                    <a:pt x="4130" y="15927"/>
                    <a:pt x="3985" y="15872"/>
                    <a:pt x="3875" y="15762"/>
                  </a:cubicBezTo>
                  <a:cubicBezTo>
                    <a:pt x="3654" y="15541"/>
                    <a:pt x="3654" y="15182"/>
                    <a:pt x="3875" y="14961"/>
                  </a:cubicBezTo>
                  <a:lnTo>
                    <a:pt x="6707" y="12129"/>
                  </a:lnTo>
                  <a:close/>
                  <a:moveTo>
                    <a:pt x="9884" y="6926"/>
                  </a:moveTo>
                  <a:cubicBezTo>
                    <a:pt x="10290" y="6926"/>
                    <a:pt x="10698" y="7013"/>
                    <a:pt x="11082" y="7192"/>
                  </a:cubicBezTo>
                  <a:lnTo>
                    <a:pt x="11094" y="7198"/>
                  </a:lnTo>
                  <a:cubicBezTo>
                    <a:pt x="11562" y="7422"/>
                    <a:pt x="11958" y="7766"/>
                    <a:pt x="12242" y="8198"/>
                  </a:cubicBezTo>
                  <a:lnTo>
                    <a:pt x="11411" y="9028"/>
                  </a:lnTo>
                  <a:cubicBezTo>
                    <a:pt x="11112" y="8400"/>
                    <a:pt x="10499" y="8061"/>
                    <a:pt x="9877" y="8061"/>
                  </a:cubicBezTo>
                  <a:cubicBezTo>
                    <a:pt x="9448" y="8061"/>
                    <a:pt x="9016" y="8222"/>
                    <a:pt x="8679" y="8560"/>
                  </a:cubicBezTo>
                  <a:lnTo>
                    <a:pt x="3074" y="14161"/>
                  </a:lnTo>
                  <a:cubicBezTo>
                    <a:pt x="2410" y="14822"/>
                    <a:pt x="2410" y="15900"/>
                    <a:pt x="3074" y="16562"/>
                  </a:cubicBezTo>
                  <a:cubicBezTo>
                    <a:pt x="3405" y="16894"/>
                    <a:pt x="3840" y="17060"/>
                    <a:pt x="4275" y="17060"/>
                  </a:cubicBezTo>
                  <a:cubicBezTo>
                    <a:pt x="4710" y="17060"/>
                    <a:pt x="5144" y="16894"/>
                    <a:pt x="5475" y="16562"/>
                  </a:cubicBezTo>
                  <a:lnTo>
                    <a:pt x="8546" y="13491"/>
                  </a:lnTo>
                  <a:cubicBezTo>
                    <a:pt x="8974" y="13642"/>
                    <a:pt x="9424" y="13720"/>
                    <a:pt x="9880" y="13720"/>
                  </a:cubicBezTo>
                  <a:lnTo>
                    <a:pt x="9920" y="13720"/>
                  </a:lnTo>
                  <a:lnTo>
                    <a:pt x="6275" y="17362"/>
                  </a:lnTo>
                  <a:cubicBezTo>
                    <a:pt x="5716" y="17961"/>
                    <a:pt x="4960" y="18262"/>
                    <a:pt x="4202" y="18262"/>
                  </a:cubicBezTo>
                  <a:cubicBezTo>
                    <a:pt x="3479" y="18262"/>
                    <a:pt x="2755" y="17987"/>
                    <a:pt x="2202" y="17434"/>
                  </a:cubicBezTo>
                  <a:cubicBezTo>
                    <a:pt x="1070" y="16302"/>
                    <a:pt x="1103" y="14454"/>
                    <a:pt x="2274" y="13361"/>
                  </a:cubicBezTo>
                  <a:lnTo>
                    <a:pt x="7878" y="7757"/>
                  </a:lnTo>
                  <a:cubicBezTo>
                    <a:pt x="8422" y="7214"/>
                    <a:pt x="9147" y="6926"/>
                    <a:pt x="9884" y="6926"/>
                  </a:cubicBezTo>
                  <a:close/>
                  <a:moveTo>
                    <a:pt x="15673" y="1"/>
                  </a:moveTo>
                  <a:cubicBezTo>
                    <a:pt x="14659" y="1"/>
                    <a:pt x="13644" y="388"/>
                    <a:pt x="12870" y="1162"/>
                  </a:cubicBezTo>
                  <a:lnTo>
                    <a:pt x="7078" y="6957"/>
                  </a:lnTo>
                  <a:lnTo>
                    <a:pt x="1471" y="12561"/>
                  </a:lnTo>
                  <a:cubicBezTo>
                    <a:pt x="339" y="13693"/>
                    <a:pt x="1" y="15399"/>
                    <a:pt x="614" y="16879"/>
                  </a:cubicBezTo>
                  <a:cubicBezTo>
                    <a:pt x="1230" y="18358"/>
                    <a:pt x="2673" y="19324"/>
                    <a:pt x="4276" y="19324"/>
                  </a:cubicBezTo>
                  <a:cubicBezTo>
                    <a:pt x="4280" y="19325"/>
                    <a:pt x="4284" y="19325"/>
                    <a:pt x="4288" y="19325"/>
                  </a:cubicBezTo>
                  <a:cubicBezTo>
                    <a:pt x="5334" y="19325"/>
                    <a:pt x="6338" y="18908"/>
                    <a:pt x="7078" y="18165"/>
                  </a:cubicBezTo>
                  <a:lnTo>
                    <a:pt x="12682" y="12561"/>
                  </a:lnTo>
                  <a:lnTo>
                    <a:pt x="18477" y="6767"/>
                  </a:lnTo>
                  <a:cubicBezTo>
                    <a:pt x="20023" y="5221"/>
                    <a:pt x="20023" y="2711"/>
                    <a:pt x="18477" y="1162"/>
                  </a:cubicBezTo>
                  <a:cubicBezTo>
                    <a:pt x="17702" y="388"/>
                    <a:pt x="16688" y="1"/>
                    <a:pt x="15673"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435D74"/>
                </a:solidFill>
                <a:latin typeface="Arial"/>
                <a:cs typeface="Arial"/>
                <a:sym typeface="Arial"/>
              </a:endParaRPr>
            </a:p>
          </p:txBody>
        </p:sp>
        <p:sp>
          <p:nvSpPr>
            <p:cNvPr id="9322" name="Google Shape;9322;p109"/>
            <p:cNvSpPr/>
            <p:nvPr/>
          </p:nvSpPr>
          <p:spPr>
            <a:xfrm>
              <a:off x="4208775" y="588000"/>
              <a:ext cx="71125" cy="68350"/>
            </a:xfrm>
            <a:custGeom>
              <a:avLst/>
              <a:gdLst/>
              <a:ahLst/>
              <a:cxnLst/>
              <a:rect l="l" t="t" r="r" b="b"/>
              <a:pathLst>
                <a:path w="2845" h="2734" extrusionOk="0">
                  <a:moveTo>
                    <a:pt x="621" y="1"/>
                  </a:moveTo>
                  <a:cubicBezTo>
                    <a:pt x="476" y="1"/>
                    <a:pt x="331" y="56"/>
                    <a:pt x="221" y="166"/>
                  </a:cubicBezTo>
                  <a:cubicBezTo>
                    <a:pt x="0" y="387"/>
                    <a:pt x="0" y="746"/>
                    <a:pt x="221" y="966"/>
                  </a:cubicBezTo>
                  <a:lnTo>
                    <a:pt x="1821" y="2567"/>
                  </a:lnTo>
                  <a:cubicBezTo>
                    <a:pt x="1933" y="2677"/>
                    <a:pt x="2079" y="2733"/>
                    <a:pt x="2224" y="2733"/>
                  </a:cubicBezTo>
                  <a:cubicBezTo>
                    <a:pt x="2368" y="2733"/>
                    <a:pt x="2513" y="2678"/>
                    <a:pt x="2624" y="2567"/>
                  </a:cubicBezTo>
                  <a:cubicBezTo>
                    <a:pt x="2845" y="2346"/>
                    <a:pt x="2845" y="1987"/>
                    <a:pt x="2624" y="1767"/>
                  </a:cubicBezTo>
                  <a:lnTo>
                    <a:pt x="1021" y="166"/>
                  </a:lnTo>
                  <a:cubicBezTo>
                    <a:pt x="911" y="56"/>
                    <a:pt x="766" y="1"/>
                    <a:pt x="621"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435D74"/>
                </a:solidFill>
                <a:latin typeface="Arial"/>
                <a:cs typeface="Arial"/>
                <a:sym typeface="Arial"/>
              </a:endParaRPr>
            </a:p>
          </p:txBody>
        </p:sp>
        <p:sp>
          <p:nvSpPr>
            <p:cNvPr id="9323" name="Google Shape;9323;p109"/>
            <p:cNvSpPr/>
            <p:nvPr/>
          </p:nvSpPr>
          <p:spPr>
            <a:xfrm>
              <a:off x="4228400" y="527925"/>
              <a:ext cx="91050" cy="48400"/>
            </a:xfrm>
            <a:custGeom>
              <a:avLst/>
              <a:gdLst/>
              <a:ahLst/>
              <a:cxnLst/>
              <a:rect l="l" t="t" r="r" b="b"/>
              <a:pathLst>
                <a:path w="3642" h="1936" extrusionOk="0">
                  <a:moveTo>
                    <a:pt x="636" y="0"/>
                  </a:moveTo>
                  <a:cubicBezTo>
                    <a:pt x="400" y="0"/>
                    <a:pt x="180" y="150"/>
                    <a:pt x="100" y="389"/>
                  </a:cubicBezTo>
                  <a:cubicBezTo>
                    <a:pt x="0" y="685"/>
                    <a:pt x="160" y="1005"/>
                    <a:pt x="459" y="1105"/>
                  </a:cubicBezTo>
                  <a:lnTo>
                    <a:pt x="2860" y="1905"/>
                  </a:lnTo>
                  <a:cubicBezTo>
                    <a:pt x="2917" y="1923"/>
                    <a:pt x="2977" y="1935"/>
                    <a:pt x="3038" y="1935"/>
                  </a:cubicBezTo>
                  <a:cubicBezTo>
                    <a:pt x="3316" y="1932"/>
                    <a:pt x="3554" y="1733"/>
                    <a:pt x="3596" y="1458"/>
                  </a:cubicBezTo>
                  <a:cubicBezTo>
                    <a:pt x="3642" y="1183"/>
                    <a:pt x="3482" y="918"/>
                    <a:pt x="3219" y="830"/>
                  </a:cubicBezTo>
                  <a:lnTo>
                    <a:pt x="816" y="30"/>
                  </a:lnTo>
                  <a:cubicBezTo>
                    <a:pt x="756" y="10"/>
                    <a:pt x="695" y="0"/>
                    <a:pt x="636"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435D74"/>
                </a:solidFill>
                <a:latin typeface="Arial"/>
                <a:cs typeface="Arial"/>
                <a:sym typeface="Arial"/>
              </a:endParaRPr>
            </a:p>
          </p:txBody>
        </p:sp>
        <p:sp>
          <p:nvSpPr>
            <p:cNvPr id="9324" name="Google Shape;9324;p109"/>
            <p:cNvSpPr/>
            <p:nvPr/>
          </p:nvSpPr>
          <p:spPr>
            <a:xfrm>
              <a:off x="4148300" y="608000"/>
              <a:ext cx="52050" cy="88600"/>
            </a:xfrm>
            <a:custGeom>
              <a:avLst/>
              <a:gdLst/>
              <a:ahLst/>
              <a:cxnLst/>
              <a:rect l="l" t="t" r="r" b="b"/>
              <a:pathLst>
                <a:path w="2082" h="3544" extrusionOk="0">
                  <a:moveTo>
                    <a:pt x="639" y="1"/>
                  </a:moveTo>
                  <a:cubicBezTo>
                    <a:pt x="580" y="1"/>
                    <a:pt x="519" y="10"/>
                    <a:pt x="460" y="31"/>
                  </a:cubicBezTo>
                  <a:cubicBezTo>
                    <a:pt x="161" y="127"/>
                    <a:pt x="1" y="450"/>
                    <a:pt x="100" y="746"/>
                  </a:cubicBezTo>
                  <a:lnTo>
                    <a:pt x="903" y="3150"/>
                  </a:lnTo>
                  <a:cubicBezTo>
                    <a:pt x="979" y="3390"/>
                    <a:pt x="1202" y="3544"/>
                    <a:pt x="1441" y="3544"/>
                  </a:cubicBezTo>
                  <a:cubicBezTo>
                    <a:pt x="1500" y="3544"/>
                    <a:pt x="1560" y="3535"/>
                    <a:pt x="1619" y="3515"/>
                  </a:cubicBezTo>
                  <a:cubicBezTo>
                    <a:pt x="1921" y="3415"/>
                    <a:pt x="2081" y="3089"/>
                    <a:pt x="1975" y="2790"/>
                  </a:cubicBezTo>
                  <a:lnTo>
                    <a:pt x="1175" y="390"/>
                  </a:lnTo>
                  <a:cubicBezTo>
                    <a:pt x="1096" y="151"/>
                    <a:pt x="875" y="1"/>
                    <a:pt x="639"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435D74"/>
                </a:solidFill>
                <a:latin typeface="Arial"/>
                <a:cs typeface="Arial"/>
                <a:sym typeface="Arial"/>
              </a:endParaRPr>
            </a:p>
          </p:txBody>
        </p:sp>
        <p:sp>
          <p:nvSpPr>
            <p:cNvPr id="9325" name="Google Shape;9325;p109"/>
            <p:cNvSpPr/>
            <p:nvPr/>
          </p:nvSpPr>
          <p:spPr>
            <a:xfrm>
              <a:off x="3928725" y="307900"/>
              <a:ext cx="71200" cy="68375"/>
            </a:xfrm>
            <a:custGeom>
              <a:avLst/>
              <a:gdLst/>
              <a:ahLst/>
              <a:cxnLst/>
              <a:rect l="l" t="t" r="r" b="b"/>
              <a:pathLst>
                <a:path w="2848" h="2735" extrusionOk="0">
                  <a:moveTo>
                    <a:pt x="620" y="1"/>
                  </a:moveTo>
                  <a:cubicBezTo>
                    <a:pt x="475" y="1"/>
                    <a:pt x="330" y="57"/>
                    <a:pt x="221" y="168"/>
                  </a:cubicBezTo>
                  <a:cubicBezTo>
                    <a:pt x="3" y="385"/>
                    <a:pt x="0" y="739"/>
                    <a:pt x="214" y="962"/>
                  </a:cubicBezTo>
                  <a:lnTo>
                    <a:pt x="1815" y="2562"/>
                  </a:lnTo>
                  <a:cubicBezTo>
                    <a:pt x="1926" y="2677"/>
                    <a:pt x="2074" y="2734"/>
                    <a:pt x="2222" y="2734"/>
                  </a:cubicBezTo>
                  <a:cubicBezTo>
                    <a:pt x="2367" y="2734"/>
                    <a:pt x="2512" y="2679"/>
                    <a:pt x="2624" y="2569"/>
                  </a:cubicBezTo>
                  <a:cubicBezTo>
                    <a:pt x="2847" y="2345"/>
                    <a:pt x="2844" y="1983"/>
                    <a:pt x="2615" y="1762"/>
                  </a:cubicBezTo>
                  <a:lnTo>
                    <a:pt x="1015" y="162"/>
                  </a:lnTo>
                  <a:cubicBezTo>
                    <a:pt x="904" y="54"/>
                    <a:pt x="762" y="1"/>
                    <a:pt x="620"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435D74"/>
                </a:solidFill>
                <a:latin typeface="Arial"/>
                <a:cs typeface="Arial"/>
                <a:sym typeface="Arial"/>
              </a:endParaRPr>
            </a:p>
          </p:txBody>
        </p:sp>
        <p:sp>
          <p:nvSpPr>
            <p:cNvPr id="9326" name="Google Shape;9326;p109"/>
            <p:cNvSpPr/>
            <p:nvPr/>
          </p:nvSpPr>
          <p:spPr>
            <a:xfrm>
              <a:off x="4008200" y="267675"/>
              <a:ext cx="51875" cy="88450"/>
            </a:xfrm>
            <a:custGeom>
              <a:avLst/>
              <a:gdLst/>
              <a:ahLst/>
              <a:cxnLst/>
              <a:rect l="l" t="t" r="r" b="b"/>
              <a:pathLst>
                <a:path w="2075" h="3538" extrusionOk="0">
                  <a:moveTo>
                    <a:pt x="636" y="1"/>
                  </a:moveTo>
                  <a:cubicBezTo>
                    <a:pt x="577" y="1"/>
                    <a:pt x="518" y="10"/>
                    <a:pt x="460" y="29"/>
                  </a:cubicBezTo>
                  <a:cubicBezTo>
                    <a:pt x="161" y="128"/>
                    <a:pt x="1" y="449"/>
                    <a:pt x="100" y="747"/>
                  </a:cubicBezTo>
                  <a:lnTo>
                    <a:pt x="900" y="3151"/>
                  </a:lnTo>
                  <a:cubicBezTo>
                    <a:pt x="979" y="3380"/>
                    <a:pt x="1193" y="3537"/>
                    <a:pt x="1438" y="3537"/>
                  </a:cubicBezTo>
                  <a:cubicBezTo>
                    <a:pt x="1498" y="3534"/>
                    <a:pt x="1559" y="3525"/>
                    <a:pt x="1619" y="3507"/>
                  </a:cubicBezTo>
                  <a:cubicBezTo>
                    <a:pt x="1915" y="3408"/>
                    <a:pt x="2075" y="3088"/>
                    <a:pt x="1975" y="2789"/>
                  </a:cubicBezTo>
                  <a:lnTo>
                    <a:pt x="1175" y="388"/>
                  </a:lnTo>
                  <a:cubicBezTo>
                    <a:pt x="1095" y="151"/>
                    <a:pt x="873" y="1"/>
                    <a:pt x="636"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435D74"/>
                </a:solidFill>
                <a:latin typeface="Arial"/>
                <a:cs typeface="Arial"/>
                <a:sym typeface="Arial"/>
              </a:endParaRPr>
            </a:p>
          </p:txBody>
        </p:sp>
        <p:sp>
          <p:nvSpPr>
            <p:cNvPr id="9327" name="Google Shape;9327;p109"/>
            <p:cNvSpPr/>
            <p:nvPr/>
          </p:nvSpPr>
          <p:spPr>
            <a:xfrm>
              <a:off x="3888100" y="387825"/>
              <a:ext cx="91675" cy="48300"/>
            </a:xfrm>
            <a:custGeom>
              <a:avLst/>
              <a:gdLst/>
              <a:ahLst/>
              <a:cxnLst/>
              <a:rect l="l" t="t" r="r" b="b"/>
              <a:pathLst>
                <a:path w="3667" h="1932" extrusionOk="0">
                  <a:moveTo>
                    <a:pt x="636" y="0"/>
                  </a:moveTo>
                  <a:cubicBezTo>
                    <a:pt x="400" y="0"/>
                    <a:pt x="180" y="150"/>
                    <a:pt x="100" y="386"/>
                  </a:cubicBezTo>
                  <a:cubicBezTo>
                    <a:pt x="1" y="685"/>
                    <a:pt x="161" y="1005"/>
                    <a:pt x="460" y="1105"/>
                  </a:cubicBezTo>
                  <a:lnTo>
                    <a:pt x="2860" y="1905"/>
                  </a:lnTo>
                  <a:cubicBezTo>
                    <a:pt x="2917" y="1923"/>
                    <a:pt x="2975" y="1932"/>
                    <a:pt x="3032" y="1932"/>
                  </a:cubicBezTo>
                  <a:cubicBezTo>
                    <a:pt x="3270" y="1932"/>
                    <a:pt x="3492" y="1781"/>
                    <a:pt x="3570" y="1543"/>
                  </a:cubicBezTo>
                  <a:cubicBezTo>
                    <a:pt x="3666" y="1250"/>
                    <a:pt x="3512" y="933"/>
                    <a:pt x="3219" y="830"/>
                  </a:cubicBezTo>
                  <a:lnTo>
                    <a:pt x="816" y="30"/>
                  </a:lnTo>
                  <a:cubicBezTo>
                    <a:pt x="756" y="10"/>
                    <a:pt x="696" y="0"/>
                    <a:pt x="636"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435D74"/>
                </a:solidFill>
                <a:latin typeface="Arial"/>
                <a:cs typeface="Arial"/>
                <a:sym typeface="Arial"/>
              </a:endParaRPr>
            </a:p>
          </p:txBody>
        </p:sp>
      </p:grpSp>
      <p:sp>
        <p:nvSpPr>
          <p:cNvPr id="9328" name="Google Shape;9328;p109"/>
          <p:cNvSpPr/>
          <p:nvPr/>
        </p:nvSpPr>
        <p:spPr>
          <a:xfrm>
            <a:off x="4462795" y="3049513"/>
            <a:ext cx="469940" cy="453488"/>
          </a:xfrm>
          <a:custGeom>
            <a:avLst/>
            <a:gdLst/>
            <a:ahLst/>
            <a:cxnLst/>
            <a:rect l="l" t="t" r="r" b="b"/>
            <a:pathLst>
              <a:path w="20023" h="19322" extrusionOk="0">
                <a:moveTo>
                  <a:pt x="15673" y="3395"/>
                </a:moveTo>
                <a:cubicBezTo>
                  <a:pt x="15818" y="3395"/>
                  <a:pt x="15963" y="3450"/>
                  <a:pt x="16073" y="3560"/>
                </a:cubicBezTo>
                <a:cubicBezTo>
                  <a:pt x="16294" y="3780"/>
                  <a:pt x="16294" y="4140"/>
                  <a:pt x="16073" y="4360"/>
                </a:cubicBezTo>
                <a:lnTo>
                  <a:pt x="13054" y="7380"/>
                </a:lnTo>
                <a:cubicBezTo>
                  <a:pt x="12939" y="7229"/>
                  <a:pt x="12815" y="7087"/>
                  <a:pt x="12682" y="6951"/>
                </a:cubicBezTo>
                <a:cubicBezTo>
                  <a:pt x="12547" y="6818"/>
                  <a:pt x="12405" y="6694"/>
                  <a:pt x="12254" y="6579"/>
                </a:cubicBezTo>
                <a:lnTo>
                  <a:pt x="15273" y="3560"/>
                </a:lnTo>
                <a:cubicBezTo>
                  <a:pt x="15383" y="3450"/>
                  <a:pt x="15528" y="3395"/>
                  <a:pt x="15673" y="3395"/>
                </a:cubicBezTo>
                <a:close/>
                <a:moveTo>
                  <a:pt x="9879" y="9187"/>
                </a:moveTo>
                <a:cubicBezTo>
                  <a:pt x="10024" y="9187"/>
                  <a:pt x="10169" y="9243"/>
                  <a:pt x="10279" y="9354"/>
                </a:cubicBezTo>
                <a:cubicBezTo>
                  <a:pt x="10635" y="9711"/>
                  <a:pt x="10385" y="10321"/>
                  <a:pt x="9880" y="10321"/>
                </a:cubicBezTo>
                <a:cubicBezTo>
                  <a:pt x="9376" y="10321"/>
                  <a:pt x="9123" y="9711"/>
                  <a:pt x="9479" y="9354"/>
                </a:cubicBezTo>
                <a:cubicBezTo>
                  <a:pt x="9589" y="9243"/>
                  <a:pt x="9734" y="9187"/>
                  <a:pt x="9879" y="9187"/>
                </a:cubicBezTo>
                <a:close/>
                <a:moveTo>
                  <a:pt x="15746" y="1059"/>
                </a:moveTo>
                <a:cubicBezTo>
                  <a:pt x="16469" y="1059"/>
                  <a:pt x="17193" y="1334"/>
                  <a:pt x="17746" y="1887"/>
                </a:cubicBezTo>
                <a:cubicBezTo>
                  <a:pt x="18878" y="3019"/>
                  <a:pt x="18845" y="4867"/>
                  <a:pt x="17674" y="5960"/>
                </a:cubicBezTo>
                <a:lnTo>
                  <a:pt x="11882" y="11755"/>
                </a:lnTo>
                <a:cubicBezTo>
                  <a:pt x="11323" y="12314"/>
                  <a:pt x="10601" y="12585"/>
                  <a:pt x="9883" y="12585"/>
                </a:cubicBezTo>
                <a:cubicBezTo>
                  <a:pt x="8973" y="12585"/>
                  <a:pt x="8071" y="12149"/>
                  <a:pt x="7519" y="11314"/>
                </a:cubicBezTo>
                <a:lnTo>
                  <a:pt x="8350" y="10487"/>
                </a:lnTo>
                <a:cubicBezTo>
                  <a:pt x="8649" y="11113"/>
                  <a:pt x="9263" y="11453"/>
                  <a:pt x="9886" y="11453"/>
                </a:cubicBezTo>
                <a:cubicBezTo>
                  <a:pt x="10313" y="11453"/>
                  <a:pt x="10745" y="11293"/>
                  <a:pt x="11082" y="10955"/>
                </a:cubicBezTo>
                <a:lnTo>
                  <a:pt x="16876" y="5160"/>
                </a:lnTo>
                <a:cubicBezTo>
                  <a:pt x="17538" y="4499"/>
                  <a:pt x="17538" y="3421"/>
                  <a:pt x="16876" y="2760"/>
                </a:cubicBezTo>
                <a:cubicBezTo>
                  <a:pt x="16544" y="2428"/>
                  <a:pt x="16110" y="2262"/>
                  <a:pt x="15675" y="2262"/>
                </a:cubicBezTo>
                <a:cubicBezTo>
                  <a:pt x="15240" y="2262"/>
                  <a:pt x="14805" y="2428"/>
                  <a:pt x="14473" y="2760"/>
                </a:cubicBezTo>
                <a:lnTo>
                  <a:pt x="11212" y="6021"/>
                </a:lnTo>
                <a:cubicBezTo>
                  <a:pt x="10787" y="5872"/>
                  <a:pt x="10339" y="5794"/>
                  <a:pt x="9888" y="5794"/>
                </a:cubicBezTo>
                <a:cubicBezTo>
                  <a:pt x="9872" y="5794"/>
                  <a:pt x="9855" y="5794"/>
                  <a:pt x="9838" y="5794"/>
                </a:cubicBezTo>
                <a:lnTo>
                  <a:pt x="13673" y="1960"/>
                </a:lnTo>
                <a:cubicBezTo>
                  <a:pt x="14232" y="1360"/>
                  <a:pt x="14988" y="1059"/>
                  <a:pt x="15746" y="1059"/>
                </a:cubicBezTo>
                <a:close/>
                <a:moveTo>
                  <a:pt x="6707" y="12126"/>
                </a:moveTo>
                <a:cubicBezTo>
                  <a:pt x="6819" y="12280"/>
                  <a:pt x="6943" y="12422"/>
                  <a:pt x="7078" y="12555"/>
                </a:cubicBezTo>
                <a:cubicBezTo>
                  <a:pt x="7211" y="12691"/>
                  <a:pt x="7356" y="12815"/>
                  <a:pt x="7507" y="12929"/>
                </a:cubicBezTo>
                <a:lnTo>
                  <a:pt x="4675" y="15759"/>
                </a:lnTo>
                <a:cubicBezTo>
                  <a:pt x="4565" y="15869"/>
                  <a:pt x="4420" y="15924"/>
                  <a:pt x="4275" y="15924"/>
                </a:cubicBezTo>
                <a:cubicBezTo>
                  <a:pt x="4130" y="15924"/>
                  <a:pt x="3985" y="15869"/>
                  <a:pt x="3875" y="15759"/>
                </a:cubicBezTo>
                <a:cubicBezTo>
                  <a:pt x="3654" y="15538"/>
                  <a:pt x="3654" y="15179"/>
                  <a:pt x="3875" y="14958"/>
                </a:cubicBezTo>
                <a:lnTo>
                  <a:pt x="6707" y="12126"/>
                </a:lnTo>
                <a:close/>
                <a:moveTo>
                  <a:pt x="9878" y="6924"/>
                </a:moveTo>
                <a:cubicBezTo>
                  <a:pt x="10788" y="6924"/>
                  <a:pt x="11690" y="7359"/>
                  <a:pt x="12242" y="8195"/>
                </a:cubicBezTo>
                <a:lnTo>
                  <a:pt x="11414" y="9022"/>
                </a:lnTo>
                <a:cubicBezTo>
                  <a:pt x="11114" y="8396"/>
                  <a:pt x="10500" y="8056"/>
                  <a:pt x="9877" y="8056"/>
                </a:cubicBezTo>
                <a:cubicBezTo>
                  <a:pt x="9449" y="8056"/>
                  <a:pt x="9017" y="8216"/>
                  <a:pt x="8679" y="8554"/>
                </a:cubicBezTo>
                <a:lnTo>
                  <a:pt x="3075" y="14158"/>
                </a:lnTo>
                <a:cubicBezTo>
                  <a:pt x="2410" y="14819"/>
                  <a:pt x="2410" y="15897"/>
                  <a:pt x="3075" y="16559"/>
                </a:cubicBezTo>
                <a:cubicBezTo>
                  <a:pt x="3407" y="16891"/>
                  <a:pt x="3842" y="17057"/>
                  <a:pt x="4276" y="17057"/>
                </a:cubicBezTo>
                <a:cubicBezTo>
                  <a:pt x="4710" y="17057"/>
                  <a:pt x="5144" y="16891"/>
                  <a:pt x="5475" y="16559"/>
                </a:cubicBezTo>
                <a:lnTo>
                  <a:pt x="8549" y="13488"/>
                </a:lnTo>
                <a:cubicBezTo>
                  <a:pt x="8978" y="13639"/>
                  <a:pt x="9428" y="13714"/>
                  <a:pt x="9880" y="13714"/>
                </a:cubicBezTo>
                <a:lnTo>
                  <a:pt x="9923" y="13714"/>
                </a:lnTo>
                <a:lnTo>
                  <a:pt x="6275" y="17359"/>
                </a:lnTo>
                <a:cubicBezTo>
                  <a:pt x="5716" y="17958"/>
                  <a:pt x="4960" y="18259"/>
                  <a:pt x="4202" y="18259"/>
                </a:cubicBezTo>
                <a:cubicBezTo>
                  <a:pt x="3479" y="18259"/>
                  <a:pt x="2755" y="17984"/>
                  <a:pt x="2202" y="17431"/>
                </a:cubicBezTo>
                <a:cubicBezTo>
                  <a:pt x="1070" y="16299"/>
                  <a:pt x="1103" y="14451"/>
                  <a:pt x="2274" y="13358"/>
                </a:cubicBezTo>
                <a:lnTo>
                  <a:pt x="7879" y="7754"/>
                </a:lnTo>
                <a:cubicBezTo>
                  <a:pt x="8438" y="7195"/>
                  <a:pt x="9160" y="6924"/>
                  <a:pt x="9878" y="6924"/>
                </a:cubicBezTo>
                <a:close/>
                <a:moveTo>
                  <a:pt x="15672" y="0"/>
                </a:moveTo>
                <a:cubicBezTo>
                  <a:pt x="14657" y="0"/>
                  <a:pt x="13643" y="387"/>
                  <a:pt x="12870" y="1159"/>
                </a:cubicBezTo>
                <a:lnTo>
                  <a:pt x="7075" y="6954"/>
                </a:lnTo>
                <a:lnTo>
                  <a:pt x="1474" y="12555"/>
                </a:lnTo>
                <a:cubicBezTo>
                  <a:pt x="339" y="13690"/>
                  <a:pt x="1" y="15393"/>
                  <a:pt x="614" y="16876"/>
                </a:cubicBezTo>
                <a:cubicBezTo>
                  <a:pt x="1227" y="18355"/>
                  <a:pt x="2673" y="19321"/>
                  <a:pt x="4276" y="19321"/>
                </a:cubicBezTo>
                <a:cubicBezTo>
                  <a:pt x="4280" y="19322"/>
                  <a:pt x="4284" y="19322"/>
                  <a:pt x="4288" y="19322"/>
                </a:cubicBezTo>
                <a:cubicBezTo>
                  <a:pt x="5334" y="19322"/>
                  <a:pt x="6338" y="18905"/>
                  <a:pt x="7078" y="18162"/>
                </a:cubicBezTo>
                <a:lnTo>
                  <a:pt x="12679" y="12558"/>
                </a:lnTo>
                <a:lnTo>
                  <a:pt x="18474" y="6767"/>
                </a:lnTo>
                <a:cubicBezTo>
                  <a:pt x="20023" y="5218"/>
                  <a:pt x="20023" y="2708"/>
                  <a:pt x="18474" y="1159"/>
                </a:cubicBezTo>
                <a:cubicBezTo>
                  <a:pt x="17701" y="387"/>
                  <a:pt x="16686" y="0"/>
                  <a:pt x="15672"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435D74"/>
              </a:solidFill>
              <a:latin typeface="Arial"/>
              <a:cs typeface="Arial"/>
              <a:sym typeface="Arial"/>
            </a:endParaRPr>
          </a:p>
        </p:txBody>
      </p:sp>
      <p:grpSp>
        <p:nvGrpSpPr>
          <p:cNvPr id="9329" name="Google Shape;9329;p109"/>
          <p:cNvGrpSpPr/>
          <p:nvPr/>
        </p:nvGrpSpPr>
        <p:grpSpPr>
          <a:xfrm>
            <a:off x="5035198" y="3049553"/>
            <a:ext cx="453581" cy="453488"/>
            <a:chOff x="5053900" y="238200"/>
            <a:chExt cx="483150" cy="483050"/>
          </a:xfrm>
        </p:grpSpPr>
        <p:sp>
          <p:nvSpPr>
            <p:cNvPr id="9330" name="Google Shape;9330;p109"/>
            <p:cNvSpPr/>
            <p:nvPr/>
          </p:nvSpPr>
          <p:spPr>
            <a:xfrm>
              <a:off x="5053900" y="238200"/>
              <a:ext cx="483150" cy="483050"/>
            </a:xfrm>
            <a:custGeom>
              <a:avLst/>
              <a:gdLst/>
              <a:ahLst/>
              <a:cxnLst/>
              <a:rect l="l" t="t" r="r" b="b"/>
              <a:pathLst>
                <a:path w="19326" h="19322" extrusionOk="0">
                  <a:moveTo>
                    <a:pt x="11363" y="1929"/>
                  </a:moveTo>
                  <a:lnTo>
                    <a:pt x="12825" y="3394"/>
                  </a:lnTo>
                  <a:lnTo>
                    <a:pt x="11363" y="3394"/>
                  </a:lnTo>
                  <a:lnTo>
                    <a:pt x="11363" y="1929"/>
                  </a:lnTo>
                  <a:close/>
                  <a:moveTo>
                    <a:pt x="4569" y="4526"/>
                  </a:moveTo>
                  <a:lnTo>
                    <a:pt x="4569" y="5698"/>
                  </a:lnTo>
                  <a:lnTo>
                    <a:pt x="3437" y="5698"/>
                  </a:lnTo>
                  <a:lnTo>
                    <a:pt x="3437" y="4958"/>
                  </a:lnTo>
                  <a:cubicBezTo>
                    <a:pt x="3437" y="4719"/>
                    <a:pt x="3627" y="4526"/>
                    <a:pt x="3866" y="4526"/>
                  </a:cubicBezTo>
                  <a:close/>
                  <a:moveTo>
                    <a:pt x="15461" y="4526"/>
                  </a:moveTo>
                  <a:cubicBezTo>
                    <a:pt x="15699" y="4526"/>
                    <a:pt x="15889" y="4719"/>
                    <a:pt x="15892" y="4958"/>
                  </a:cubicBezTo>
                  <a:lnTo>
                    <a:pt x="15892" y="5698"/>
                  </a:lnTo>
                  <a:lnTo>
                    <a:pt x="14760" y="5698"/>
                  </a:lnTo>
                  <a:lnTo>
                    <a:pt x="14760" y="4526"/>
                  </a:lnTo>
                  <a:close/>
                  <a:moveTo>
                    <a:pt x="10231" y="1129"/>
                  </a:moveTo>
                  <a:lnTo>
                    <a:pt x="10231" y="3962"/>
                  </a:lnTo>
                  <a:cubicBezTo>
                    <a:pt x="10231" y="4273"/>
                    <a:pt x="10481" y="4526"/>
                    <a:pt x="10795" y="4526"/>
                  </a:cubicBezTo>
                  <a:lnTo>
                    <a:pt x="13628" y="4526"/>
                  </a:lnTo>
                  <a:lnTo>
                    <a:pt x="13628" y="6830"/>
                  </a:lnTo>
                  <a:lnTo>
                    <a:pt x="5702" y="6830"/>
                  </a:lnTo>
                  <a:lnTo>
                    <a:pt x="5702" y="1129"/>
                  </a:lnTo>
                  <a:close/>
                  <a:moveTo>
                    <a:pt x="17628" y="6830"/>
                  </a:moveTo>
                  <a:cubicBezTo>
                    <a:pt x="17939" y="6830"/>
                    <a:pt x="18193" y="7081"/>
                    <a:pt x="18193" y="7395"/>
                  </a:cubicBezTo>
                  <a:lnTo>
                    <a:pt x="18193" y="14188"/>
                  </a:lnTo>
                  <a:cubicBezTo>
                    <a:pt x="18193" y="14502"/>
                    <a:pt x="17939" y="14756"/>
                    <a:pt x="17628" y="14756"/>
                  </a:cubicBezTo>
                  <a:lnTo>
                    <a:pt x="14760" y="14756"/>
                  </a:lnTo>
                  <a:lnTo>
                    <a:pt x="14760" y="12491"/>
                  </a:lnTo>
                  <a:lnTo>
                    <a:pt x="15325" y="12491"/>
                  </a:lnTo>
                  <a:cubicBezTo>
                    <a:pt x="15639" y="12491"/>
                    <a:pt x="15889" y="12238"/>
                    <a:pt x="15889" y="11924"/>
                  </a:cubicBezTo>
                  <a:cubicBezTo>
                    <a:pt x="15889" y="11610"/>
                    <a:pt x="15639" y="11359"/>
                    <a:pt x="15325" y="11359"/>
                  </a:cubicBezTo>
                  <a:lnTo>
                    <a:pt x="4002" y="11359"/>
                  </a:lnTo>
                  <a:cubicBezTo>
                    <a:pt x="3688" y="11359"/>
                    <a:pt x="3437" y="11610"/>
                    <a:pt x="3437" y="11924"/>
                  </a:cubicBezTo>
                  <a:cubicBezTo>
                    <a:pt x="3437" y="12238"/>
                    <a:pt x="3688" y="12491"/>
                    <a:pt x="4002" y="12491"/>
                  </a:cubicBezTo>
                  <a:lnTo>
                    <a:pt x="4569" y="12491"/>
                  </a:lnTo>
                  <a:lnTo>
                    <a:pt x="4569" y="14756"/>
                  </a:lnTo>
                  <a:lnTo>
                    <a:pt x="1701" y="14756"/>
                  </a:lnTo>
                  <a:cubicBezTo>
                    <a:pt x="1387" y="14756"/>
                    <a:pt x="1133" y="14502"/>
                    <a:pt x="1133" y="14188"/>
                  </a:cubicBezTo>
                  <a:lnTo>
                    <a:pt x="1133" y="7395"/>
                  </a:lnTo>
                  <a:cubicBezTo>
                    <a:pt x="1133" y="7081"/>
                    <a:pt x="1387" y="6830"/>
                    <a:pt x="1701" y="6830"/>
                  </a:cubicBezTo>
                  <a:lnTo>
                    <a:pt x="4569" y="6830"/>
                  </a:lnTo>
                  <a:lnTo>
                    <a:pt x="4569" y="7395"/>
                  </a:lnTo>
                  <a:cubicBezTo>
                    <a:pt x="4569" y="7709"/>
                    <a:pt x="4820" y="7962"/>
                    <a:pt x="5134" y="7962"/>
                  </a:cubicBezTo>
                  <a:lnTo>
                    <a:pt x="14192" y="7962"/>
                  </a:lnTo>
                  <a:cubicBezTo>
                    <a:pt x="14506" y="7962"/>
                    <a:pt x="14760" y="7709"/>
                    <a:pt x="14760" y="7395"/>
                  </a:cubicBezTo>
                  <a:lnTo>
                    <a:pt x="14760" y="6830"/>
                  </a:lnTo>
                  <a:close/>
                  <a:moveTo>
                    <a:pt x="13628" y="12491"/>
                  </a:moveTo>
                  <a:lnTo>
                    <a:pt x="13628" y="18189"/>
                  </a:lnTo>
                  <a:lnTo>
                    <a:pt x="5702" y="18189"/>
                  </a:lnTo>
                  <a:lnTo>
                    <a:pt x="5702" y="12491"/>
                  </a:lnTo>
                  <a:close/>
                  <a:moveTo>
                    <a:pt x="5134" y="0"/>
                  </a:moveTo>
                  <a:cubicBezTo>
                    <a:pt x="4820" y="0"/>
                    <a:pt x="4569" y="254"/>
                    <a:pt x="4569" y="568"/>
                  </a:cubicBezTo>
                  <a:lnTo>
                    <a:pt x="4569" y="3394"/>
                  </a:lnTo>
                  <a:lnTo>
                    <a:pt x="3866" y="3394"/>
                  </a:lnTo>
                  <a:cubicBezTo>
                    <a:pt x="3002" y="3394"/>
                    <a:pt x="2305" y="4094"/>
                    <a:pt x="2305" y="4958"/>
                  </a:cubicBezTo>
                  <a:lnTo>
                    <a:pt x="2305" y="5698"/>
                  </a:lnTo>
                  <a:lnTo>
                    <a:pt x="1701" y="5698"/>
                  </a:lnTo>
                  <a:cubicBezTo>
                    <a:pt x="762" y="5698"/>
                    <a:pt x="1" y="6456"/>
                    <a:pt x="1" y="7395"/>
                  </a:cubicBezTo>
                  <a:lnTo>
                    <a:pt x="1" y="14188"/>
                  </a:lnTo>
                  <a:cubicBezTo>
                    <a:pt x="1" y="15127"/>
                    <a:pt x="762" y="15885"/>
                    <a:pt x="1701" y="15888"/>
                  </a:cubicBezTo>
                  <a:lnTo>
                    <a:pt x="4569" y="15888"/>
                  </a:lnTo>
                  <a:lnTo>
                    <a:pt x="4569" y="18757"/>
                  </a:lnTo>
                  <a:cubicBezTo>
                    <a:pt x="4569" y="19068"/>
                    <a:pt x="4820" y="19321"/>
                    <a:pt x="5134" y="19321"/>
                  </a:cubicBezTo>
                  <a:lnTo>
                    <a:pt x="14192" y="19321"/>
                  </a:lnTo>
                  <a:cubicBezTo>
                    <a:pt x="14506" y="19321"/>
                    <a:pt x="14760" y="19068"/>
                    <a:pt x="14760" y="18757"/>
                  </a:cubicBezTo>
                  <a:lnTo>
                    <a:pt x="14760" y="15888"/>
                  </a:lnTo>
                  <a:lnTo>
                    <a:pt x="17628" y="15888"/>
                  </a:lnTo>
                  <a:cubicBezTo>
                    <a:pt x="18565" y="15885"/>
                    <a:pt x="19325" y="15127"/>
                    <a:pt x="19325" y="14188"/>
                  </a:cubicBezTo>
                  <a:lnTo>
                    <a:pt x="19325" y="7395"/>
                  </a:lnTo>
                  <a:cubicBezTo>
                    <a:pt x="19325" y="6456"/>
                    <a:pt x="18565" y="5698"/>
                    <a:pt x="17628" y="5698"/>
                  </a:cubicBezTo>
                  <a:lnTo>
                    <a:pt x="17025" y="5698"/>
                  </a:lnTo>
                  <a:lnTo>
                    <a:pt x="17025" y="4958"/>
                  </a:lnTo>
                  <a:cubicBezTo>
                    <a:pt x="17022" y="4094"/>
                    <a:pt x="16324" y="3394"/>
                    <a:pt x="15461" y="3394"/>
                  </a:cubicBezTo>
                  <a:lnTo>
                    <a:pt x="14428" y="3394"/>
                  </a:lnTo>
                  <a:lnTo>
                    <a:pt x="11197" y="163"/>
                  </a:lnTo>
                  <a:cubicBezTo>
                    <a:pt x="11185" y="151"/>
                    <a:pt x="11173" y="142"/>
                    <a:pt x="11158" y="130"/>
                  </a:cubicBezTo>
                  <a:lnTo>
                    <a:pt x="11146" y="121"/>
                  </a:lnTo>
                  <a:lnTo>
                    <a:pt x="11119" y="100"/>
                  </a:lnTo>
                  <a:lnTo>
                    <a:pt x="11103" y="91"/>
                  </a:lnTo>
                  <a:cubicBezTo>
                    <a:pt x="11094" y="85"/>
                    <a:pt x="11085" y="79"/>
                    <a:pt x="11073" y="72"/>
                  </a:cubicBezTo>
                  <a:lnTo>
                    <a:pt x="11061" y="63"/>
                  </a:lnTo>
                  <a:cubicBezTo>
                    <a:pt x="11049" y="57"/>
                    <a:pt x="11034" y="51"/>
                    <a:pt x="11019" y="45"/>
                  </a:cubicBezTo>
                  <a:lnTo>
                    <a:pt x="11001" y="36"/>
                  </a:lnTo>
                  <a:cubicBezTo>
                    <a:pt x="10992" y="33"/>
                    <a:pt x="10983" y="30"/>
                    <a:pt x="10974" y="27"/>
                  </a:cubicBezTo>
                  <a:lnTo>
                    <a:pt x="10952" y="21"/>
                  </a:lnTo>
                  <a:cubicBezTo>
                    <a:pt x="10943" y="18"/>
                    <a:pt x="10931" y="15"/>
                    <a:pt x="10919" y="12"/>
                  </a:cubicBezTo>
                  <a:lnTo>
                    <a:pt x="10907" y="9"/>
                  </a:lnTo>
                  <a:cubicBezTo>
                    <a:pt x="10889" y="6"/>
                    <a:pt x="10874" y="3"/>
                    <a:pt x="10859"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435D74"/>
                </a:solidFill>
                <a:latin typeface="Arial"/>
                <a:cs typeface="Arial"/>
                <a:sym typeface="Arial"/>
              </a:endParaRPr>
            </a:p>
          </p:txBody>
        </p:sp>
        <p:sp>
          <p:nvSpPr>
            <p:cNvPr id="9331" name="Google Shape;9331;p109"/>
            <p:cNvSpPr/>
            <p:nvPr/>
          </p:nvSpPr>
          <p:spPr>
            <a:xfrm>
              <a:off x="5422900" y="465550"/>
              <a:ext cx="56550" cy="28325"/>
            </a:xfrm>
            <a:custGeom>
              <a:avLst/>
              <a:gdLst/>
              <a:ahLst/>
              <a:cxnLst/>
              <a:rect l="l" t="t" r="r" b="b"/>
              <a:pathLst>
                <a:path w="2262" h="1133" extrusionOk="0">
                  <a:moveTo>
                    <a:pt x="565" y="1"/>
                  </a:moveTo>
                  <a:cubicBezTo>
                    <a:pt x="251" y="1"/>
                    <a:pt x="0" y="251"/>
                    <a:pt x="0" y="565"/>
                  </a:cubicBezTo>
                  <a:cubicBezTo>
                    <a:pt x="0" y="879"/>
                    <a:pt x="251" y="1133"/>
                    <a:pt x="565" y="1133"/>
                  </a:cubicBezTo>
                  <a:lnTo>
                    <a:pt x="1697" y="1133"/>
                  </a:lnTo>
                  <a:cubicBezTo>
                    <a:pt x="2011" y="1133"/>
                    <a:pt x="2262" y="879"/>
                    <a:pt x="2262" y="565"/>
                  </a:cubicBezTo>
                  <a:cubicBezTo>
                    <a:pt x="2262" y="251"/>
                    <a:pt x="2011" y="1"/>
                    <a:pt x="1697"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435D74"/>
                </a:solidFill>
                <a:latin typeface="Arial"/>
                <a:cs typeface="Arial"/>
                <a:sym typeface="Arial"/>
              </a:endParaRPr>
            </a:p>
          </p:txBody>
        </p:sp>
        <p:sp>
          <p:nvSpPr>
            <p:cNvPr id="9332" name="Google Shape;9332;p109"/>
            <p:cNvSpPr/>
            <p:nvPr/>
          </p:nvSpPr>
          <p:spPr>
            <a:xfrm>
              <a:off x="5224725" y="578775"/>
              <a:ext cx="141500" cy="28350"/>
            </a:xfrm>
            <a:custGeom>
              <a:avLst/>
              <a:gdLst/>
              <a:ahLst/>
              <a:cxnLst/>
              <a:rect l="l" t="t" r="r" b="b"/>
              <a:pathLst>
                <a:path w="5660" h="1134" extrusionOk="0">
                  <a:moveTo>
                    <a:pt x="566" y="1"/>
                  </a:moveTo>
                  <a:cubicBezTo>
                    <a:pt x="252" y="1"/>
                    <a:pt x="1" y="251"/>
                    <a:pt x="1" y="565"/>
                  </a:cubicBezTo>
                  <a:cubicBezTo>
                    <a:pt x="1" y="879"/>
                    <a:pt x="252" y="1133"/>
                    <a:pt x="566" y="1133"/>
                  </a:cubicBezTo>
                  <a:lnTo>
                    <a:pt x="5095" y="1133"/>
                  </a:lnTo>
                  <a:cubicBezTo>
                    <a:pt x="5409" y="1133"/>
                    <a:pt x="5659" y="879"/>
                    <a:pt x="5659" y="565"/>
                  </a:cubicBezTo>
                  <a:cubicBezTo>
                    <a:pt x="5659" y="251"/>
                    <a:pt x="5409" y="1"/>
                    <a:pt x="5095"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435D74"/>
                </a:solidFill>
                <a:latin typeface="Arial"/>
                <a:cs typeface="Arial"/>
                <a:sym typeface="Arial"/>
              </a:endParaRPr>
            </a:p>
          </p:txBody>
        </p:sp>
        <p:sp>
          <p:nvSpPr>
            <p:cNvPr id="9333" name="Google Shape;9333;p109"/>
            <p:cNvSpPr/>
            <p:nvPr/>
          </p:nvSpPr>
          <p:spPr>
            <a:xfrm>
              <a:off x="5224725" y="635400"/>
              <a:ext cx="141500" cy="28325"/>
            </a:xfrm>
            <a:custGeom>
              <a:avLst/>
              <a:gdLst/>
              <a:ahLst/>
              <a:cxnLst/>
              <a:rect l="l" t="t" r="r" b="b"/>
              <a:pathLst>
                <a:path w="5660" h="1133" extrusionOk="0">
                  <a:moveTo>
                    <a:pt x="566" y="0"/>
                  </a:moveTo>
                  <a:cubicBezTo>
                    <a:pt x="252" y="0"/>
                    <a:pt x="1" y="251"/>
                    <a:pt x="1" y="565"/>
                  </a:cubicBezTo>
                  <a:cubicBezTo>
                    <a:pt x="1" y="879"/>
                    <a:pt x="252" y="1133"/>
                    <a:pt x="566" y="1133"/>
                  </a:cubicBezTo>
                  <a:lnTo>
                    <a:pt x="5095" y="1133"/>
                  </a:lnTo>
                  <a:cubicBezTo>
                    <a:pt x="5409" y="1133"/>
                    <a:pt x="5659" y="879"/>
                    <a:pt x="5659" y="565"/>
                  </a:cubicBezTo>
                  <a:cubicBezTo>
                    <a:pt x="5659" y="251"/>
                    <a:pt x="5409" y="0"/>
                    <a:pt x="5095"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435D74"/>
                </a:solidFill>
                <a:latin typeface="Arial"/>
                <a:cs typeface="Arial"/>
                <a:sym typeface="Arial"/>
              </a:endParaRPr>
            </a:p>
          </p:txBody>
        </p:sp>
      </p:grpSp>
      <p:grpSp>
        <p:nvGrpSpPr>
          <p:cNvPr id="9334" name="Google Shape;9334;p109"/>
          <p:cNvGrpSpPr/>
          <p:nvPr/>
        </p:nvGrpSpPr>
        <p:grpSpPr>
          <a:xfrm>
            <a:off x="5587131" y="3049518"/>
            <a:ext cx="453557" cy="453557"/>
            <a:chOff x="5648375" y="238125"/>
            <a:chExt cx="483125" cy="483125"/>
          </a:xfrm>
        </p:grpSpPr>
        <p:sp>
          <p:nvSpPr>
            <p:cNvPr id="9335" name="Google Shape;9335;p109"/>
            <p:cNvSpPr/>
            <p:nvPr/>
          </p:nvSpPr>
          <p:spPr>
            <a:xfrm>
              <a:off x="5648375" y="238125"/>
              <a:ext cx="483125" cy="483125"/>
            </a:xfrm>
            <a:custGeom>
              <a:avLst/>
              <a:gdLst/>
              <a:ahLst/>
              <a:cxnLst/>
              <a:rect l="l" t="t" r="r" b="b"/>
              <a:pathLst>
                <a:path w="19325" h="19325" extrusionOk="0">
                  <a:moveTo>
                    <a:pt x="4001" y="1132"/>
                  </a:moveTo>
                  <a:cubicBezTo>
                    <a:pt x="4315" y="1132"/>
                    <a:pt x="4569" y="1386"/>
                    <a:pt x="4569" y="1700"/>
                  </a:cubicBezTo>
                  <a:lnTo>
                    <a:pt x="4569" y="3965"/>
                  </a:lnTo>
                  <a:cubicBezTo>
                    <a:pt x="4569" y="4276"/>
                    <a:pt x="4315" y="4529"/>
                    <a:pt x="4001" y="4529"/>
                  </a:cubicBezTo>
                  <a:cubicBezTo>
                    <a:pt x="3687" y="4529"/>
                    <a:pt x="3436" y="4276"/>
                    <a:pt x="3436" y="3965"/>
                  </a:cubicBezTo>
                  <a:lnTo>
                    <a:pt x="3436" y="1700"/>
                  </a:lnTo>
                  <a:cubicBezTo>
                    <a:pt x="3436" y="1386"/>
                    <a:pt x="3687" y="1132"/>
                    <a:pt x="4001" y="1132"/>
                  </a:cubicBezTo>
                  <a:close/>
                  <a:moveTo>
                    <a:pt x="9662" y="1132"/>
                  </a:moveTo>
                  <a:cubicBezTo>
                    <a:pt x="9976" y="1132"/>
                    <a:pt x="10230" y="1386"/>
                    <a:pt x="10230" y="1700"/>
                  </a:cubicBezTo>
                  <a:lnTo>
                    <a:pt x="10230" y="3965"/>
                  </a:lnTo>
                  <a:cubicBezTo>
                    <a:pt x="10230" y="4276"/>
                    <a:pt x="9976" y="4529"/>
                    <a:pt x="9662" y="4529"/>
                  </a:cubicBezTo>
                  <a:cubicBezTo>
                    <a:pt x="9348" y="4529"/>
                    <a:pt x="9098" y="4276"/>
                    <a:pt x="9098" y="3965"/>
                  </a:cubicBezTo>
                  <a:lnTo>
                    <a:pt x="9098" y="1700"/>
                  </a:lnTo>
                  <a:cubicBezTo>
                    <a:pt x="9098" y="1386"/>
                    <a:pt x="9348" y="1132"/>
                    <a:pt x="9662" y="1132"/>
                  </a:cubicBezTo>
                  <a:close/>
                  <a:moveTo>
                    <a:pt x="15324" y="1132"/>
                  </a:moveTo>
                  <a:cubicBezTo>
                    <a:pt x="15638" y="1132"/>
                    <a:pt x="15891" y="1386"/>
                    <a:pt x="15891" y="1700"/>
                  </a:cubicBezTo>
                  <a:lnTo>
                    <a:pt x="15891" y="3965"/>
                  </a:lnTo>
                  <a:cubicBezTo>
                    <a:pt x="15891" y="4276"/>
                    <a:pt x="15638" y="4529"/>
                    <a:pt x="15324" y="4529"/>
                  </a:cubicBezTo>
                  <a:cubicBezTo>
                    <a:pt x="15010" y="4529"/>
                    <a:pt x="14759" y="4276"/>
                    <a:pt x="14759" y="3965"/>
                  </a:cubicBezTo>
                  <a:lnTo>
                    <a:pt x="14759" y="1700"/>
                  </a:lnTo>
                  <a:cubicBezTo>
                    <a:pt x="14759" y="1386"/>
                    <a:pt x="15010" y="1132"/>
                    <a:pt x="15324" y="1132"/>
                  </a:cubicBezTo>
                  <a:close/>
                  <a:moveTo>
                    <a:pt x="17628" y="3397"/>
                  </a:moveTo>
                  <a:cubicBezTo>
                    <a:pt x="17939" y="3397"/>
                    <a:pt x="18192" y="3651"/>
                    <a:pt x="18192" y="3965"/>
                  </a:cubicBezTo>
                  <a:lnTo>
                    <a:pt x="18192" y="6833"/>
                  </a:lnTo>
                  <a:lnTo>
                    <a:pt x="1132" y="6833"/>
                  </a:lnTo>
                  <a:lnTo>
                    <a:pt x="1132" y="3965"/>
                  </a:lnTo>
                  <a:cubicBezTo>
                    <a:pt x="1132" y="3651"/>
                    <a:pt x="1386" y="3397"/>
                    <a:pt x="1700" y="3397"/>
                  </a:cubicBezTo>
                  <a:lnTo>
                    <a:pt x="2304" y="3397"/>
                  </a:lnTo>
                  <a:lnTo>
                    <a:pt x="2304" y="3965"/>
                  </a:lnTo>
                  <a:cubicBezTo>
                    <a:pt x="2304" y="4901"/>
                    <a:pt x="3062" y="5661"/>
                    <a:pt x="4001" y="5661"/>
                  </a:cubicBezTo>
                  <a:cubicBezTo>
                    <a:pt x="4940" y="5661"/>
                    <a:pt x="5701" y="4901"/>
                    <a:pt x="5701" y="3965"/>
                  </a:cubicBezTo>
                  <a:lnTo>
                    <a:pt x="5701" y="3397"/>
                  </a:lnTo>
                  <a:lnTo>
                    <a:pt x="7965" y="3397"/>
                  </a:lnTo>
                  <a:lnTo>
                    <a:pt x="7965" y="3965"/>
                  </a:lnTo>
                  <a:cubicBezTo>
                    <a:pt x="7965" y="4901"/>
                    <a:pt x="8723" y="5661"/>
                    <a:pt x="9662" y="5661"/>
                  </a:cubicBezTo>
                  <a:cubicBezTo>
                    <a:pt x="10601" y="5661"/>
                    <a:pt x="11362" y="4901"/>
                    <a:pt x="11362" y="3965"/>
                  </a:cubicBezTo>
                  <a:lnTo>
                    <a:pt x="11362" y="3397"/>
                  </a:lnTo>
                  <a:lnTo>
                    <a:pt x="13627" y="3397"/>
                  </a:lnTo>
                  <a:lnTo>
                    <a:pt x="13627" y="3965"/>
                  </a:lnTo>
                  <a:cubicBezTo>
                    <a:pt x="13627" y="4901"/>
                    <a:pt x="14385" y="5661"/>
                    <a:pt x="15324" y="5661"/>
                  </a:cubicBezTo>
                  <a:cubicBezTo>
                    <a:pt x="16263" y="5661"/>
                    <a:pt x="17024" y="4901"/>
                    <a:pt x="17024" y="3965"/>
                  </a:cubicBezTo>
                  <a:lnTo>
                    <a:pt x="17024" y="3397"/>
                  </a:lnTo>
                  <a:close/>
                  <a:moveTo>
                    <a:pt x="18192" y="7965"/>
                  </a:moveTo>
                  <a:lnTo>
                    <a:pt x="18192" y="17628"/>
                  </a:lnTo>
                  <a:cubicBezTo>
                    <a:pt x="18192" y="17939"/>
                    <a:pt x="17939" y="18192"/>
                    <a:pt x="17628" y="18192"/>
                  </a:cubicBezTo>
                  <a:lnTo>
                    <a:pt x="1700" y="18192"/>
                  </a:lnTo>
                  <a:cubicBezTo>
                    <a:pt x="1386" y="18192"/>
                    <a:pt x="1132" y="17939"/>
                    <a:pt x="1132" y="17628"/>
                  </a:cubicBezTo>
                  <a:lnTo>
                    <a:pt x="1132" y="7965"/>
                  </a:lnTo>
                  <a:close/>
                  <a:moveTo>
                    <a:pt x="4001" y="0"/>
                  </a:moveTo>
                  <a:cubicBezTo>
                    <a:pt x="3062" y="0"/>
                    <a:pt x="2304" y="761"/>
                    <a:pt x="2304" y="1700"/>
                  </a:cubicBezTo>
                  <a:lnTo>
                    <a:pt x="2304" y="2265"/>
                  </a:lnTo>
                  <a:lnTo>
                    <a:pt x="1700" y="2265"/>
                  </a:lnTo>
                  <a:cubicBezTo>
                    <a:pt x="761" y="2265"/>
                    <a:pt x="0" y="3025"/>
                    <a:pt x="0" y="3965"/>
                  </a:cubicBezTo>
                  <a:lnTo>
                    <a:pt x="0" y="17628"/>
                  </a:lnTo>
                  <a:cubicBezTo>
                    <a:pt x="0" y="18564"/>
                    <a:pt x="761" y="19324"/>
                    <a:pt x="1700" y="19324"/>
                  </a:cubicBezTo>
                  <a:lnTo>
                    <a:pt x="17628" y="19324"/>
                  </a:lnTo>
                  <a:cubicBezTo>
                    <a:pt x="18564" y="19324"/>
                    <a:pt x="19325" y="18564"/>
                    <a:pt x="19325" y="17628"/>
                  </a:cubicBezTo>
                  <a:lnTo>
                    <a:pt x="19325" y="3965"/>
                  </a:lnTo>
                  <a:cubicBezTo>
                    <a:pt x="19325" y="3025"/>
                    <a:pt x="18564" y="2265"/>
                    <a:pt x="17628" y="2265"/>
                  </a:cubicBezTo>
                  <a:lnTo>
                    <a:pt x="17024" y="2265"/>
                  </a:lnTo>
                  <a:lnTo>
                    <a:pt x="17024" y="1700"/>
                  </a:lnTo>
                  <a:cubicBezTo>
                    <a:pt x="17024" y="761"/>
                    <a:pt x="16263" y="0"/>
                    <a:pt x="15324" y="0"/>
                  </a:cubicBezTo>
                  <a:cubicBezTo>
                    <a:pt x="14385" y="0"/>
                    <a:pt x="13627" y="761"/>
                    <a:pt x="13627" y="1700"/>
                  </a:cubicBezTo>
                  <a:lnTo>
                    <a:pt x="13627" y="2265"/>
                  </a:lnTo>
                  <a:lnTo>
                    <a:pt x="11362" y="2265"/>
                  </a:lnTo>
                  <a:lnTo>
                    <a:pt x="11362" y="1700"/>
                  </a:lnTo>
                  <a:cubicBezTo>
                    <a:pt x="11362" y="761"/>
                    <a:pt x="10601" y="0"/>
                    <a:pt x="9662" y="0"/>
                  </a:cubicBezTo>
                  <a:cubicBezTo>
                    <a:pt x="8723" y="0"/>
                    <a:pt x="7965" y="761"/>
                    <a:pt x="7965" y="1700"/>
                  </a:cubicBezTo>
                  <a:lnTo>
                    <a:pt x="7965" y="2265"/>
                  </a:lnTo>
                  <a:lnTo>
                    <a:pt x="5701" y="2265"/>
                  </a:lnTo>
                  <a:lnTo>
                    <a:pt x="5701" y="1700"/>
                  </a:lnTo>
                  <a:cubicBezTo>
                    <a:pt x="5701" y="761"/>
                    <a:pt x="4940" y="0"/>
                    <a:pt x="4001"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435D74"/>
                </a:solidFill>
                <a:latin typeface="Arial"/>
                <a:cs typeface="Arial"/>
                <a:sym typeface="Arial"/>
              </a:endParaRPr>
            </a:p>
          </p:txBody>
        </p:sp>
        <p:sp>
          <p:nvSpPr>
            <p:cNvPr id="9336" name="Google Shape;9336;p109"/>
            <p:cNvSpPr/>
            <p:nvPr/>
          </p:nvSpPr>
          <p:spPr>
            <a:xfrm>
              <a:off x="5705950" y="465550"/>
              <a:ext cx="84875" cy="28325"/>
            </a:xfrm>
            <a:custGeom>
              <a:avLst/>
              <a:gdLst/>
              <a:ahLst/>
              <a:cxnLst/>
              <a:rect l="l" t="t" r="r" b="b"/>
              <a:pathLst>
                <a:path w="3395" h="1133" extrusionOk="0">
                  <a:moveTo>
                    <a:pt x="566" y="1"/>
                  </a:moveTo>
                  <a:cubicBezTo>
                    <a:pt x="252" y="1"/>
                    <a:pt x="1" y="251"/>
                    <a:pt x="1" y="565"/>
                  </a:cubicBezTo>
                  <a:cubicBezTo>
                    <a:pt x="1" y="879"/>
                    <a:pt x="252" y="1133"/>
                    <a:pt x="566" y="1133"/>
                  </a:cubicBezTo>
                  <a:lnTo>
                    <a:pt x="2830" y="1133"/>
                  </a:lnTo>
                  <a:cubicBezTo>
                    <a:pt x="3144" y="1133"/>
                    <a:pt x="3395" y="879"/>
                    <a:pt x="3395" y="565"/>
                  </a:cubicBezTo>
                  <a:cubicBezTo>
                    <a:pt x="3395" y="251"/>
                    <a:pt x="3144" y="1"/>
                    <a:pt x="2830"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435D74"/>
                </a:solidFill>
                <a:latin typeface="Arial"/>
                <a:cs typeface="Arial"/>
                <a:sym typeface="Arial"/>
              </a:endParaRPr>
            </a:p>
          </p:txBody>
        </p:sp>
        <p:sp>
          <p:nvSpPr>
            <p:cNvPr id="9337" name="Google Shape;9337;p109"/>
            <p:cNvSpPr/>
            <p:nvPr/>
          </p:nvSpPr>
          <p:spPr>
            <a:xfrm>
              <a:off x="5847500" y="465550"/>
              <a:ext cx="84875" cy="28325"/>
            </a:xfrm>
            <a:custGeom>
              <a:avLst/>
              <a:gdLst/>
              <a:ahLst/>
              <a:cxnLst/>
              <a:rect l="l" t="t" r="r" b="b"/>
              <a:pathLst>
                <a:path w="3395" h="1133" extrusionOk="0">
                  <a:moveTo>
                    <a:pt x="565" y="1"/>
                  </a:moveTo>
                  <a:cubicBezTo>
                    <a:pt x="251" y="1"/>
                    <a:pt x="0" y="251"/>
                    <a:pt x="0" y="565"/>
                  </a:cubicBezTo>
                  <a:cubicBezTo>
                    <a:pt x="0" y="879"/>
                    <a:pt x="251" y="1133"/>
                    <a:pt x="565" y="1133"/>
                  </a:cubicBezTo>
                  <a:lnTo>
                    <a:pt x="2830" y="1133"/>
                  </a:lnTo>
                  <a:cubicBezTo>
                    <a:pt x="3144" y="1133"/>
                    <a:pt x="3394" y="879"/>
                    <a:pt x="3394" y="565"/>
                  </a:cubicBezTo>
                  <a:cubicBezTo>
                    <a:pt x="3394" y="251"/>
                    <a:pt x="3144" y="1"/>
                    <a:pt x="2830"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435D74"/>
                </a:solidFill>
                <a:latin typeface="Arial"/>
                <a:cs typeface="Arial"/>
                <a:sym typeface="Arial"/>
              </a:endParaRPr>
            </a:p>
          </p:txBody>
        </p:sp>
        <p:sp>
          <p:nvSpPr>
            <p:cNvPr id="9338" name="Google Shape;9338;p109"/>
            <p:cNvSpPr/>
            <p:nvPr/>
          </p:nvSpPr>
          <p:spPr>
            <a:xfrm>
              <a:off x="5989025" y="465550"/>
              <a:ext cx="84875" cy="28325"/>
            </a:xfrm>
            <a:custGeom>
              <a:avLst/>
              <a:gdLst/>
              <a:ahLst/>
              <a:cxnLst/>
              <a:rect l="l" t="t" r="r" b="b"/>
              <a:pathLst>
                <a:path w="3395" h="1133" extrusionOk="0">
                  <a:moveTo>
                    <a:pt x="565" y="1"/>
                  </a:moveTo>
                  <a:cubicBezTo>
                    <a:pt x="251" y="1"/>
                    <a:pt x="1" y="251"/>
                    <a:pt x="1" y="565"/>
                  </a:cubicBezTo>
                  <a:cubicBezTo>
                    <a:pt x="1" y="879"/>
                    <a:pt x="251" y="1133"/>
                    <a:pt x="565" y="1133"/>
                  </a:cubicBezTo>
                  <a:lnTo>
                    <a:pt x="2830" y="1133"/>
                  </a:lnTo>
                  <a:cubicBezTo>
                    <a:pt x="3144" y="1133"/>
                    <a:pt x="3395" y="879"/>
                    <a:pt x="3395" y="565"/>
                  </a:cubicBezTo>
                  <a:cubicBezTo>
                    <a:pt x="3395" y="251"/>
                    <a:pt x="3144" y="1"/>
                    <a:pt x="2830"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435D74"/>
                </a:solidFill>
                <a:latin typeface="Arial"/>
                <a:cs typeface="Arial"/>
                <a:sym typeface="Arial"/>
              </a:endParaRPr>
            </a:p>
          </p:txBody>
        </p:sp>
        <p:sp>
          <p:nvSpPr>
            <p:cNvPr id="9339" name="Google Shape;9339;p109"/>
            <p:cNvSpPr/>
            <p:nvPr/>
          </p:nvSpPr>
          <p:spPr>
            <a:xfrm>
              <a:off x="5705950" y="550475"/>
              <a:ext cx="84875" cy="28325"/>
            </a:xfrm>
            <a:custGeom>
              <a:avLst/>
              <a:gdLst/>
              <a:ahLst/>
              <a:cxnLst/>
              <a:rect l="l" t="t" r="r" b="b"/>
              <a:pathLst>
                <a:path w="3395" h="1133" extrusionOk="0">
                  <a:moveTo>
                    <a:pt x="566" y="0"/>
                  </a:moveTo>
                  <a:cubicBezTo>
                    <a:pt x="252" y="0"/>
                    <a:pt x="1" y="251"/>
                    <a:pt x="1" y="565"/>
                  </a:cubicBezTo>
                  <a:cubicBezTo>
                    <a:pt x="1" y="879"/>
                    <a:pt x="252" y="1133"/>
                    <a:pt x="566" y="1133"/>
                  </a:cubicBezTo>
                  <a:lnTo>
                    <a:pt x="2830" y="1133"/>
                  </a:lnTo>
                  <a:cubicBezTo>
                    <a:pt x="3144" y="1133"/>
                    <a:pt x="3395" y="879"/>
                    <a:pt x="3395" y="565"/>
                  </a:cubicBezTo>
                  <a:cubicBezTo>
                    <a:pt x="3395" y="251"/>
                    <a:pt x="3144" y="0"/>
                    <a:pt x="2830"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435D74"/>
                </a:solidFill>
                <a:latin typeface="Arial"/>
                <a:cs typeface="Arial"/>
                <a:sym typeface="Arial"/>
              </a:endParaRPr>
            </a:p>
          </p:txBody>
        </p:sp>
        <p:sp>
          <p:nvSpPr>
            <p:cNvPr id="9340" name="Google Shape;9340;p109"/>
            <p:cNvSpPr/>
            <p:nvPr/>
          </p:nvSpPr>
          <p:spPr>
            <a:xfrm>
              <a:off x="5847500" y="550475"/>
              <a:ext cx="84875" cy="28325"/>
            </a:xfrm>
            <a:custGeom>
              <a:avLst/>
              <a:gdLst/>
              <a:ahLst/>
              <a:cxnLst/>
              <a:rect l="l" t="t" r="r" b="b"/>
              <a:pathLst>
                <a:path w="3395" h="1133" extrusionOk="0">
                  <a:moveTo>
                    <a:pt x="565" y="0"/>
                  </a:moveTo>
                  <a:cubicBezTo>
                    <a:pt x="251" y="0"/>
                    <a:pt x="0" y="251"/>
                    <a:pt x="0" y="565"/>
                  </a:cubicBezTo>
                  <a:cubicBezTo>
                    <a:pt x="0" y="879"/>
                    <a:pt x="251" y="1133"/>
                    <a:pt x="565" y="1133"/>
                  </a:cubicBezTo>
                  <a:lnTo>
                    <a:pt x="2830" y="1133"/>
                  </a:lnTo>
                  <a:cubicBezTo>
                    <a:pt x="3144" y="1133"/>
                    <a:pt x="3394" y="879"/>
                    <a:pt x="3394" y="565"/>
                  </a:cubicBezTo>
                  <a:cubicBezTo>
                    <a:pt x="3394" y="251"/>
                    <a:pt x="3144" y="0"/>
                    <a:pt x="2830"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435D74"/>
                </a:solidFill>
                <a:latin typeface="Arial"/>
                <a:cs typeface="Arial"/>
                <a:sym typeface="Arial"/>
              </a:endParaRPr>
            </a:p>
          </p:txBody>
        </p:sp>
        <p:sp>
          <p:nvSpPr>
            <p:cNvPr id="9341" name="Google Shape;9341;p109"/>
            <p:cNvSpPr/>
            <p:nvPr/>
          </p:nvSpPr>
          <p:spPr>
            <a:xfrm>
              <a:off x="5989025" y="550475"/>
              <a:ext cx="84875" cy="28325"/>
            </a:xfrm>
            <a:custGeom>
              <a:avLst/>
              <a:gdLst/>
              <a:ahLst/>
              <a:cxnLst/>
              <a:rect l="l" t="t" r="r" b="b"/>
              <a:pathLst>
                <a:path w="3395" h="1133" extrusionOk="0">
                  <a:moveTo>
                    <a:pt x="565" y="0"/>
                  </a:moveTo>
                  <a:cubicBezTo>
                    <a:pt x="251" y="0"/>
                    <a:pt x="1" y="251"/>
                    <a:pt x="1" y="565"/>
                  </a:cubicBezTo>
                  <a:cubicBezTo>
                    <a:pt x="1" y="879"/>
                    <a:pt x="251" y="1133"/>
                    <a:pt x="565" y="1133"/>
                  </a:cubicBezTo>
                  <a:lnTo>
                    <a:pt x="2830" y="1133"/>
                  </a:lnTo>
                  <a:cubicBezTo>
                    <a:pt x="3144" y="1133"/>
                    <a:pt x="3395" y="879"/>
                    <a:pt x="3395" y="565"/>
                  </a:cubicBezTo>
                  <a:cubicBezTo>
                    <a:pt x="3395" y="251"/>
                    <a:pt x="3144" y="0"/>
                    <a:pt x="2830"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435D74"/>
                </a:solidFill>
                <a:latin typeface="Arial"/>
                <a:cs typeface="Arial"/>
                <a:sym typeface="Arial"/>
              </a:endParaRPr>
            </a:p>
          </p:txBody>
        </p:sp>
        <p:sp>
          <p:nvSpPr>
            <p:cNvPr id="9342" name="Google Shape;9342;p109"/>
            <p:cNvSpPr/>
            <p:nvPr/>
          </p:nvSpPr>
          <p:spPr>
            <a:xfrm>
              <a:off x="5705950" y="636300"/>
              <a:ext cx="84875" cy="28325"/>
            </a:xfrm>
            <a:custGeom>
              <a:avLst/>
              <a:gdLst/>
              <a:ahLst/>
              <a:cxnLst/>
              <a:rect l="l" t="t" r="r" b="b"/>
              <a:pathLst>
                <a:path w="3395" h="1133" extrusionOk="0">
                  <a:moveTo>
                    <a:pt x="566" y="1"/>
                  </a:moveTo>
                  <a:cubicBezTo>
                    <a:pt x="252" y="1"/>
                    <a:pt x="1" y="254"/>
                    <a:pt x="1" y="568"/>
                  </a:cubicBezTo>
                  <a:cubicBezTo>
                    <a:pt x="1" y="879"/>
                    <a:pt x="252" y="1133"/>
                    <a:pt x="566" y="1133"/>
                  </a:cubicBezTo>
                  <a:lnTo>
                    <a:pt x="2830" y="1133"/>
                  </a:lnTo>
                  <a:cubicBezTo>
                    <a:pt x="3144" y="1133"/>
                    <a:pt x="3395" y="879"/>
                    <a:pt x="3395" y="568"/>
                  </a:cubicBezTo>
                  <a:cubicBezTo>
                    <a:pt x="3395" y="254"/>
                    <a:pt x="3144" y="1"/>
                    <a:pt x="2830"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435D74"/>
                </a:solidFill>
                <a:latin typeface="Arial"/>
                <a:cs typeface="Arial"/>
                <a:sym typeface="Arial"/>
              </a:endParaRPr>
            </a:p>
          </p:txBody>
        </p:sp>
        <p:sp>
          <p:nvSpPr>
            <p:cNvPr id="9343" name="Google Shape;9343;p109"/>
            <p:cNvSpPr/>
            <p:nvPr/>
          </p:nvSpPr>
          <p:spPr>
            <a:xfrm>
              <a:off x="5847500" y="636300"/>
              <a:ext cx="84875" cy="28325"/>
            </a:xfrm>
            <a:custGeom>
              <a:avLst/>
              <a:gdLst/>
              <a:ahLst/>
              <a:cxnLst/>
              <a:rect l="l" t="t" r="r" b="b"/>
              <a:pathLst>
                <a:path w="3395" h="1133" extrusionOk="0">
                  <a:moveTo>
                    <a:pt x="565" y="1"/>
                  </a:moveTo>
                  <a:cubicBezTo>
                    <a:pt x="251" y="1"/>
                    <a:pt x="0" y="254"/>
                    <a:pt x="0" y="568"/>
                  </a:cubicBezTo>
                  <a:cubicBezTo>
                    <a:pt x="0" y="879"/>
                    <a:pt x="251" y="1133"/>
                    <a:pt x="565" y="1133"/>
                  </a:cubicBezTo>
                  <a:lnTo>
                    <a:pt x="2830" y="1133"/>
                  </a:lnTo>
                  <a:cubicBezTo>
                    <a:pt x="3144" y="1133"/>
                    <a:pt x="3394" y="879"/>
                    <a:pt x="3394" y="568"/>
                  </a:cubicBezTo>
                  <a:cubicBezTo>
                    <a:pt x="3394" y="254"/>
                    <a:pt x="3144" y="1"/>
                    <a:pt x="2830"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435D74"/>
                </a:solidFill>
                <a:latin typeface="Arial"/>
                <a:cs typeface="Arial"/>
                <a:sym typeface="Arial"/>
              </a:endParaRPr>
            </a:p>
          </p:txBody>
        </p:sp>
        <p:sp>
          <p:nvSpPr>
            <p:cNvPr id="9344" name="Google Shape;9344;p109"/>
            <p:cNvSpPr/>
            <p:nvPr/>
          </p:nvSpPr>
          <p:spPr>
            <a:xfrm>
              <a:off x="5989025" y="636300"/>
              <a:ext cx="84875" cy="28325"/>
            </a:xfrm>
            <a:custGeom>
              <a:avLst/>
              <a:gdLst/>
              <a:ahLst/>
              <a:cxnLst/>
              <a:rect l="l" t="t" r="r" b="b"/>
              <a:pathLst>
                <a:path w="3395" h="1133" extrusionOk="0">
                  <a:moveTo>
                    <a:pt x="565" y="1"/>
                  </a:moveTo>
                  <a:cubicBezTo>
                    <a:pt x="251" y="1"/>
                    <a:pt x="1" y="254"/>
                    <a:pt x="1" y="568"/>
                  </a:cubicBezTo>
                  <a:cubicBezTo>
                    <a:pt x="1" y="879"/>
                    <a:pt x="251" y="1133"/>
                    <a:pt x="565" y="1133"/>
                  </a:cubicBezTo>
                  <a:lnTo>
                    <a:pt x="2830" y="1133"/>
                  </a:lnTo>
                  <a:cubicBezTo>
                    <a:pt x="3144" y="1133"/>
                    <a:pt x="3395" y="879"/>
                    <a:pt x="3395" y="568"/>
                  </a:cubicBezTo>
                  <a:cubicBezTo>
                    <a:pt x="3395" y="254"/>
                    <a:pt x="3144" y="1"/>
                    <a:pt x="2830"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435D74"/>
                </a:solidFill>
                <a:latin typeface="Arial"/>
                <a:cs typeface="Arial"/>
                <a:sym typeface="Arial"/>
              </a:endParaRPr>
            </a:p>
          </p:txBody>
        </p:sp>
      </p:grpSp>
      <p:grpSp>
        <p:nvGrpSpPr>
          <p:cNvPr id="9345" name="Google Shape;9345;p109"/>
          <p:cNvGrpSpPr/>
          <p:nvPr/>
        </p:nvGrpSpPr>
        <p:grpSpPr>
          <a:xfrm>
            <a:off x="6142714" y="3049518"/>
            <a:ext cx="453557" cy="453557"/>
            <a:chOff x="6242825" y="238125"/>
            <a:chExt cx="483125" cy="483125"/>
          </a:xfrm>
        </p:grpSpPr>
        <p:sp>
          <p:nvSpPr>
            <p:cNvPr id="9346" name="Google Shape;9346;p109"/>
            <p:cNvSpPr/>
            <p:nvPr/>
          </p:nvSpPr>
          <p:spPr>
            <a:xfrm>
              <a:off x="6242825" y="238125"/>
              <a:ext cx="483125" cy="483125"/>
            </a:xfrm>
            <a:custGeom>
              <a:avLst/>
              <a:gdLst/>
              <a:ahLst/>
              <a:cxnLst/>
              <a:rect l="l" t="t" r="r" b="b"/>
              <a:pathLst>
                <a:path w="19325" h="19325" extrusionOk="0">
                  <a:moveTo>
                    <a:pt x="18192" y="1132"/>
                  </a:moveTo>
                  <a:lnTo>
                    <a:pt x="18192" y="2400"/>
                  </a:lnTo>
                  <a:cubicBezTo>
                    <a:pt x="17513" y="2639"/>
                    <a:pt x="17060" y="3282"/>
                    <a:pt x="17060" y="4001"/>
                  </a:cubicBezTo>
                  <a:cubicBezTo>
                    <a:pt x="17060" y="4719"/>
                    <a:pt x="17513" y="5363"/>
                    <a:pt x="18192" y="5601"/>
                  </a:cubicBezTo>
                  <a:lnTo>
                    <a:pt x="18192" y="8062"/>
                  </a:lnTo>
                  <a:cubicBezTo>
                    <a:pt x="17513" y="8300"/>
                    <a:pt x="17060" y="8944"/>
                    <a:pt x="17060" y="9662"/>
                  </a:cubicBezTo>
                  <a:cubicBezTo>
                    <a:pt x="17060" y="10381"/>
                    <a:pt x="17513" y="11024"/>
                    <a:pt x="18192" y="11263"/>
                  </a:cubicBezTo>
                  <a:lnTo>
                    <a:pt x="18192" y="13723"/>
                  </a:lnTo>
                  <a:cubicBezTo>
                    <a:pt x="17513" y="13962"/>
                    <a:pt x="17060" y="14605"/>
                    <a:pt x="17060" y="15324"/>
                  </a:cubicBezTo>
                  <a:cubicBezTo>
                    <a:pt x="17060" y="16042"/>
                    <a:pt x="17513" y="16685"/>
                    <a:pt x="18192" y="16924"/>
                  </a:cubicBezTo>
                  <a:lnTo>
                    <a:pt x="18192" y="18192"/>
                  </a:lnTo>
                  <a:lnTo>
                    <a:pt x="16924" y="18192"/>
                  </a:lnTo>
                  <a:cubicBezTo>
                    <a:pt x="16686" y="17513"/>
                    <a:pt x="16043" y="17060"/>
                    <a:pt x="15324" y="17060"/>
                  </a:cubicBezTo>
                  <a:cubicBezTo>
                    <a:pt x="14605" y="17060"/>
                    <a:pt x="13962" y="17513"/>
                    <a:pt x="13724" y="18192"/>
                  </a:cubicBezTo>
                  <a:lnTo>
                    <a:pt x="11263" y="18192"/>
                  </a:lnTo>
                  <a:cubicBezTo>
                    <a:pt x="11024" y="17513"/>
                    <a:pt x="10381" y="17060"/>
                    <a:pt x="9662" y="17060"/>
                  </a:cubicBezTo>
                  <a:cubicBezTo>
                    <a:pt x="8944" y="17060"/>
                    <a:pt x="8301" y="17513"/>
                    <a:pt x="8062" y="18192"/>
                  </a:cubicBezTo>
                  <a:lnTo>
                    <a:pt x="5601" y="18192"/>
                  </a:lnTo>
                  <a:cubicBezTo>
                    <a:pt x="5363" y="17513"/>
                    <a:pt x="4720" y="17060"/>
                    <a:pt x="4001" y="17060"/>
                  </a:cubicBezTo>
                  <a:cubicBezTo>
                    <a:pt x="3282" y="17060"/>
                    <a:pt x="2639" y="17513"/>
                    <a:pt x="2401" y="18192"/>
                  </a:cubicBezTo>
                  <a:lnTo>
                    <a:pt x="1133" y="18192"/>
                  </a:lnTo>
                  <a:lnTo>
                    <a:pt x="1133" y="16924"/>
                  </a:lnTo>
                  <a:cubicBezTo>
                    <a:pt x="1812" y="16685"/>
                    <a:pt x="2265" y="16042"/>
                    <a:pt x="2265" y="15324"/>
                  </a:cubicBezTo>
                  <a:cubicBezTo>
                    <a:pt x="2265" y="14605"/>
                    <a:pt x="1812" y="13962"/>
                    <a:pt x="1133" y="13723"/>
                  </a:cubicBezTo>
                  <a:lnTo>
                    <a:pt x="1133" y="11263"/>
                  </a:lnTo>
                  <a:cubicBezTo>
                    <a:pt x="1812" y="11024"/>
                    <a:pt x="2265" y="10381"/>
                    <a:pt x="2265" y="9662"/>
                  </a:cubicBezTo>
                  <a:cubicBezTo>
                    <a:pt x="2265" y="8944"/>
                    <a:pt x="1812" y="8300"/>
                    <a:pt x="1133" y="8062"/>
                  </a:cubicBezTo>
                  <a:lnTo>
                    <a:pt x="1133" y="5601"/>
                  </a:lnTo>
                  <a:cubicBezTo>
                    <a:pt x="1812" y="5363"/>
                    <a:pt x="2265" y="4719"/>
                    <a:pt x="2265" y="4001"/>
                  </a:cubicBezTo>
                  <a:cubicBezTo>
                    <a:pt x="2265" y="3282"/>
                    <a:pt x="1812" y="2639"/>
                    <a:pt x="1133" y="2400"/>
                  </a:cubicBezTo>
                  <a:lnTo>
                    <a:pt x="1133" y="1132"/>
                  </a:lnTo>
                  <a:lnTo>
                    <a:pt x="2401" y="1132"/>
                  </a:lnTo>
                  <a:cubicBezTo>
                    <a:pt x="2639" y="1812"/>
                    <a:pt x="3282" y="2265"/>
                    <a:pt x="4001" y="2265"/>
                  </a:cubicBezTo>
                  <a:cubicBezTo>
                    <a:pt x="4720" y="2265"/>
                    <a:pt x="5363" y="1812"/>
                    <a:pt x="5601" y="1132"/>
                  </a:cubicBezTo>
                  <a:lnTo>
                    <a:pt x="8062" y="1132"/>
                  </a:lnTo>
                  <a:cubicBezTo>
                    <a:pt x="8301" y="1812"/>
                    <a:pt x="8944" y="2265"/>
                    <a:pt x="9662" y="2265"/>
                  </a:cubicBezTo>
                  <a:cubicBezTo>
                    <a:pt x="10381" y="2265"/>
                    <a:pt x="11024" y="1812"/>
                    <a:pt x="11263" y="1132"/>
                  </a:cubicBezTo>
                  <a:lnTo>
                    <a:pt x="13724" y="1132"/>
                  </a:lnTo>
                  <a:cubicBezTo>
                    <a:pt x="13962" y="1812"/>
                    <a:pt x="14605" y="2265"/>
                    <a:pt x="15324" y="2265"/>
                  </a:cubicBezTo>
                  <a:cubicBezTo>
                    <a:pt x="16043" y="2265"/>
                    <a:pt x="16686" y="1812"/>
                    <a:pt x="16924" y="1132"/>
                  </a:cubicBezTo>
                  <a:close/>
                  <a:moveTo>
                    <a:pt x="568" y="0"/>
                  </a:moveTo>
                  <a:cubicBezTo>
                    <a:pt x="254" y="0"/>
                    <a:pt x="0" y="254"/>
                    <a:pt x="0" y="568"/>
                  </a:cubicBezTo>
                  <a:lnTo>
                    <a:pt x="0" y="2868"/>
                  </a:lnTo>
                  <a:cubicBezTo>
                    <a:pt x="0" y="3183"/>
                    <a:pt x="254" y="3436"/>
                    <a:pt x="568" y="3436"/>
                  </a:cubicBezTo>
                  <a:cubicBezTo>
                    <a:pt x="879" y="3436"/>
                    <a:pt x="1133" y="3687"/>
                    <a:pt x="1133" y="4001"/>
                  </a:cubicBezTo>
                  <a:cubicBezTo>
                    <a:pt x="1133" y="4315"/>
                    <a:pt x="879" y="4568"/>
                    <a:pt x="568" y="4568"/>
                  </a:cubicBezTo>
                  <a:cubicBezTo>
                    <a:pt x="254" y="4568"/>
                    <a:pt x="0" y="4819"/>
                    <a:pt x="0" y="5133"/>
                  </a:cubicBezTo>
                  <a:lnTo>
                    <a:pt x="0" y="8530"/>
                  </a:lnTo>
                  <a:cubicBezTo>
                    <a:pt x="0" y="8844"/>
                    <a:pt x="254" y="9098"/>
                    <a:pt x="568" y="9098"/>
                  </a:cubicBezTo>
                  <a:cubicBezTo>
                    <a:pt x="879" y="9098"/>
                    <a:pt x="1133" y="9348"/>
                    <a:pt x="1133" y="9662"/>
                  </a:cubicBezTo>
                  <a:cubicBezTo>
                    <a:pt x="1133" y="9976"/>
                    <a:pt x="879" y="10230"/>
                    <a:pt x="568" y="10230"/>
                  </a:cubicBezTo>
                  <a:cubicBezTo>
                    <a:pt x="254" y="10230"/>
                    <a:pt x="0" y="10481"/>
                    <a:pt x="0" y="10795"/>
                  </a:cubicBezTo>
                  <a:lnTo>
                    <a:pt x="0" y="14191"/>
                  </a:lnTo>
                  <a:cubicBezTo>
                    <a:pt x="0" y="14505"/>
                    <a:pt x="254" y="14759"/>
                    <a:pt x="568" y="14759"/>
                  </a:cubicBezTo>
                  <a:cubicBezTo>
                    <a:pt x="879" y="14759"/>
                    <a:pt x="1133" y="15010"/>
                    <a:pt x="1133" y="15324"/>
                  </a:cubicBezTo>
                  <a:cubicBezTo>
                    <a:pt x="1133" y="15638"/>
                    <a:pt x="879" y="15891"/>
                    <a:pt x="568" y="15891"/>
                  </a:cubicBezTo>
                  <a:cubicBezTo>
                    <a:pt x="254" y="15891"/>
                    <a:pt x="0" y="16142"/>
                    <a:pt x="0" y="16456"/>
                  </a:cubicBezTo>
                  <a:lnTo>
                    <a:pt x="0" y="18760"/>
                  </a:lnTo>
                  <a:cubicBezTo>
                    <a:pt x="0" y="19071"/>
                    <a:pt x="254" y="19324"/>
                    <a:pt x="568" y="19324"/>
                  </a:cubicBezTo>
                  <a:lnTo>
                    <a:pt x="2869" y="19324"/>
                  </a:lnTo>
                  <a:cubicBezTo>
                    <a:pt x="3183" y="19324"/>
                    <a:pt x="3436" y="19071"/>
                    <a:pt x="3436" y="18760"/>
                  </a:cubicBezTo>
                  <a:cubicBezTo>
                    <a:pt x="3436" y="18446"/>
                    <a:pt x="3687" y="18192"/>
                    <a:pt x="4001" y="18192"/>
                  </a:cubicBezTo>
                  <a:cubicBezTo>
                    <a:pt x="4315" y="18192"/>
                    <a:pt x="4569" y="18446"/>
                    <a:pt x="4569" y="18760"/>
                  </a:cubicBezTo>
                  <a:cubicBezTo>
                    <a:pt x="4569" y="19071"/>
                    <a:pt x="4819" y="19324"/>
                    <a:pt x="5133" y="19324"/>
                  </a:cubicBezTo>
                  <a:lnTo>
                    <a:pt x="8530" y="19324"/>
                  </a:lnTo>
                  <a:cubicBezTo>
                    <a:pt x="8844" y="19324"/>
                    <a:pt x="9098" y="19071"/>
                    <a:pt x="9098" y="18760"/>
                  </a:cubicBezTo>
                  <a:cubicBezTo>
                    <a:pt x="9098" y="18446"/>
                    <a:pt x="9348" y="18192"/>
                    <a:pt x="9662" y="18192"/>
                  </a:cubicBezTo>
                  <a:cubicBezTo>
                    <a:pt x="9976" y="18192"/>
                    <a:pt x="10230" y="18446"/>
                    <a:pt x="10230" y="18760"/>
                  </a:cubicBezTo>
                  <a:cubicBezTo>
                    <a:pt x="10230" y="19071"/>
                    <a:pt x="10481" y="19324"/>
                    <a:pt x="10795" y="19324"/>
                  </a:cubicBezTo>
                  <a:lnTo>
                    <a:pt x="14192" y="19324"/>
                  </a:lnTo>
                  <a:cubicBezTo>
                    <a:pt x="14506" y="19324"/>
                    <a:pt x="14759" y="19071"/>
                    <a:pt x="14759" y="18760"/>
                  </a:cubicBezTo>
                  <a:cubicBezTo>
                    <a:pt x="14759" y="18446"/>
                    <a:pt x="15010" y="18192"/>
                    <a:pt x="15324" y="18192"/>
                  </a:cubicBezTo>
                  <a:cubicBezTo>
                    <a:pt x="15638" y="18192"/>
                    <a:pt x="15892" y="18446"/>
                    <a:pt x="15892" y="18760"/>
                  </a:cubicBezTo>
                  <a:cubicBezTo>
                    <a:pt x="15892" y="19071"/>
                    <a:pt x="16142" y="19324"/>
                    <a:pt x="16456" y="19324"/>
                  </a:cubicBezTo>
                  <a:lnTo>
                    <a:pt x="18760" y="19324"/>
                  </a:lnTo>
                  <a:cubicBezTo>
                    <a:pt x="19071" y="19324"/>
                    <a:pt x="19325" y="19071"/>
                    <a:pt x="19325" y="18760"/>
                  </a:cubicBezTo>
                  <a:lnTo>
                    <a:pt x="19325" y="16456"/>
                  </a:lnTo>
                  <a:cubicBezTo>
                    <a:pt x="19325" y="16142"/>
                    <a:pt x="19071" y="15891"/>
                    <a:pt x="18760" y="15891"/>
                  </a:cubicBezTo>
                  <a:cubicBezTo>
                    <a:pt x="18446" y="15891"/>
                    <a:pt x="18192" y="15638"/>
                    <a:pt x="18192" y="15324"/>
                  </a:cubicBezTo>
                  <a:cubicBezTo>
                    <a:pt x="18192" y="15010"/>
                    <a:pt x="18446" y="14759"/>
                    <a:pt x="18760" y="14759"/>
                  </a:cubicBezTo>
                  <a:cubicBezTo>
                    <a:pt x="19071" y="14759"/>
                    <a:pt x="19325" y="14505"/>
                    <a:pt x="19325" y="14191"/>
                  </a:cubicBezTo>
                  <a:lnTo>
                    <a:pt x="19325" y="10795"/>
                  </a:lnTo>
                  <a:cubicBezTo>
                    <a:pt x="19325" y="10481"/>
                    <a:pt x="19071" y="10230"/>
                    <a:pt x="18760" y="10230"/>
                  </a:cubicBezTo>
                  <a:cubicBezTo>
                    <a:pt x="18446" y="10230"/>
                    <a:pt x="18192" y="9976"/>
                    <a:pt x="18192" y="9662"/>
                  </a:cubicBezTo>
                  <a:cubicBezTo>
                    <a:pt x="18192" y="9348"/>
                    <a:pt x="18446" y="9098"/>
                    <a:pt x="18760" y="9098"/>
                  </a:cubicBezTo>
                  <a:cubicBezTo>
                    <a:pt x="19071" y="9098"/>
                    <a:pt x="19325" y="8844"/>
                    <a:pt x="19325" y="8530"/>
                  </a:cubicBezTo>
                  <a:lnTo>
                    <a:pt x="19325" y="5133"/>
                  </a:lnTo>
                  <a:cubicBezTo>
                    <a:pt x="19325" y="4819"/>
                    <a:pt x="19071" y="4568"/>
                    <a:pt x="18760" y="4568"/>
                  </a:cubicBezTo>
                  <a:cubicBezTo>
                    <a:pt x="18446" y="4568"/>
                    <a:pt x="18192" y="4315"/>
                    <a:pt x="18192" y="4001"/>
                  </a:cubicBezTo>
                  <a:cubicBezTo>
                    <a:pt x="18192" y="3687"/>
                    <a:pt x="18446" y="3436"/>
                    <a:pt x="18760" y="3436"/>
                  </a:cubicBezTo>
                  <a:cubicBezTo>
                    <a:pt x="19071" y="3436"/>
                    <a:pt x="19325" y="3183"/>
                    <a:pt x="19325" y="2868"/>
                  </a:cubicBezTo>
                  <a:lnTo>
                    <a:pt x="19325" y="568"/>
                  </a:lnTo>
                  <a:cubicBezTo>
                    <a:pt x="19325" y="254"/>
                    <a:pt x="19071" y="0"/>
                    <a:pt x="18760" y="0"/>
                  </a:cubicBezTo>
                  <a:lnTo>
                    <a:pt x="16456" y="0"/>
                  </a:lnTo>
                  <a:cubicBezTo>
                    <a:pt x="16142" y="0"/>
                    <a:pt x="15892" y="254"/>
                    <a:pt x="15892" y="568"/>
                  </a:cubicBezTo>
                  <a:cubicBezTo>
                    <a:pt x="15892" y="879"/>
                    <a:pt x="15638" y="1132"/>
                    <a:pt x="15324" y="1132"/>
                  </a:cubicBezTo>
                  <a:cubicBezTo>
                    <a:pt x="15010" y="1132"/>
                    <a:pt x="14759" y="879"/>
                    <a:pt x="14759" y="568"/>
                  </a:cubicBezTo>
                  <a:cubicBezTo>
                    <a:pt x="14759" y="254"/>
                    <a:pt x="14506" y="0"/>
                    <a:pt x="14192" y="0"/>
                  </a:cubicBezTo>
                  <a:lnTo>
                    <a:pt x="10795" y="0"/>
                  </a:lnTo>
                  <a:cubicBezTo>
                    <a:pt x="10481" y="0"/>
                    <a:pt x="10230" y="254"/>
                    <a:pt x="10230" y="568"/>
                  </a:cubicBezTo>
                  <a:cubicBezTo>
                    <a:pt x="10230" y="879"/>
                    <a:pt x="9976" y="1132"/>
                    <a:pt x="9662" y="1132"/>
                  </a:cubicBezTo>
                  <a:cubicBezTo>
                    <a:pt x="9348" y="1132"/>
                    <a:pt x="9098" y="879"/>
                    <a:pt x="9098" y="568"/>
                  </a:cubicBezTo>
                  <a:cubicBezTo>
                    <a:pt x="9098" y="254"/>
                    <a:pt x="8844" y="0"/>
                    <a:pt x="8530" y="0"/>
                  </a:cubicBezTo>
                  <a:lnTo>
                    <a:pt x="5133" y="0"/>
                  </a:lnTo>
                  <a:cubicBezTo>
                    <a:pt x="4819" y="0"/>
                    <a:pt x="4569" y="254"/>
                    <a:pt x="4569" y="568"/>
                  </a:cubicBezTo>
                  <a:cubicBezTo>
                    <a:pt x="4569" y="879"/>
                    <a:pt x="4315" y="1132"/>
                    <a:pt x="4001" y="1132"/>
                  </a:cubicBezTo>
                  <a:cubicBezTo>
                    <a:pt x="3687" y="1132"/>
                    <a:pt x="3436" y="879"/>
                    <a:pt x="3436" y="568"/>
                  </a:cubicBezTo>
                  <a:cubicBezTo>
                    <a:pt x="3436" y="254"/>
                    <a:pt x="3183" y="0"/>
                    <a:pt x="2869"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435D74"/>
                </a:solidFill>
                <a:latin typeface="Arial"/>
                <a:cs typeface="Arial"/>
                <a:sym typeface="Arial"/>
              </a:endParaRPr>
            </a:p>
          </p:txBody>
        </p:sp>
        <p:sp>
          <p:nvSpPr>
            <p:cNvPr id="9347" name="Google Shape;9347;p109"/>
            <p:cNvSpPr/>
            <p:nvPr/>
          </p:nvSpPr>
          <p:spPr>
            <a:xfrm>
              <a:off x="6328725" y="324025"/>
              <a:ext cx="311400" cy="311400"/>
            </a:xfrm>
            <a:custGeom>
              <a:avLst/>
              <a:gdLst/>
              <a:ahLst/>
              <a:cxnLst/>
              <a:rect l="l" t="t" r="r" b="b"/>
              <a:pathLst>
                <a:path w="12456" h="12456" extrusionOk="0">
                  <a:moveTo>
                    <a:pt x="11323" y="1132"/>
                  </a:moveTo>
                  <a:lnTo>
                    <a:pt x="11323" y="5991"/>
                  </a:lnTo>
                  <a:lnTo>
                    <a:pt x="10025" y="4692"/>
                  </a:lnTo>
                  <a:cubicBezTo>
                    <a:pt x="9913" y="4582"/>
                    <a:pt x="9768" y="4527"/>
                    <a:pt x="9623" y="4527"/>
                  </a:cubicBezTo>
                  <a:cubicBezTo>
                    <a:pt x="9478" y="4527"/>
                    <a:pt x="9333" y="4582"/>
                    <a:pt x="9222" y="4692"/>
                  </a:cubicBezTo>
                  <a:lnTo>
                    <a:pt x="6498" y="7419"/>
                  </a:lnTo>
                  <a:lnTo>
                    <a:pt x="4303" y="5773"/>
                  </a:lnTo>
                  <a:cubicBezTo>
                    <a:pt x="4201" y="5698"/>
                    <a:pt x="4081" y="5661"/>
                    <a:pt x="3962" y="5661"/>
                  </a:cubicBezTo>
                  <a:cubicBezTo>
                    <a:pt x="3824" y="5661"/>
                    <a:pt x="3687" y="5711"/>
                    <a:pt x="3578" y="5810"/>
                  </a:cubicBezTo>
                  <a:lnTo>
                    <a:pt x="1133" y="8053"/>
                  </a:lnTo>
                  <a:lnTo>
                    <a:pt x="1133" y="1132"/>
                  </a:lnTo>
                  <a:close/>
                  <a:moveTo>
                    <a:pt x="4001" y="6960"/>
                  </a:moveTo>
                  <a:lnTo>
                    <a:pt x="5689" y="8228"/>
                  </a:lnTo>
                  <a:lnTo>
                    <a:pt x="2594" y="11323"/>
                  </a:lnTo>
                  <a:lnTo>
                    <a:pt x="1133" y="11323"/>
                  </a:lnTo>
                  <a:lnTo>
                    <a:pt x="1133" y="9590"/>
                  </a:lnTo>
                  <a:lnTo>
                    <a:pt x="4001" y="6960"/>
                  </a:lnTo>
                  <a:close/>
                  <a:moveTo>
                    <a:pt x="9623" y="5894"/>
                  </a:moveTo>
                  <a:lnTo>
                    <a:pt x="11323" y="7594"/>
                  </a:lnTo>
                  <a:lnTo>
                    <a:pt x="11323" y="11323"/>
                  </a:lnTo>
                  <a:lnTo>
                    <a:pt x="4197" y="11323"/>
                  </a:lnTo>
                  <a:lnTo>
                    <a:pt x="9623" y="5894"/>
                  </a:lnTo>
                  <a:close/>
                  <a:moveTo>
                    <a:pt x="565" y="0"/>
                  </a:moveTo>
                  <a:cubicBezTo>
                    <a:pt x="251" y="0"/>
                    <a:pt x="0" y="251"/>
                    <a:pt x="0" y="565"/>
                  </a:cubicBezTo>
                  <a:lnTo>
                    <a:pt x="0" y="11888"/>
                  </a:lnTo>
                  <a:cubicBezTo>
                    <a:pt x="0" y="12202"/>
                    <a:pt x="251" y="12455"/>
                    <a:pt x="565" y="12455"/>
                  </a:cubicBezTo>
                  <a:lnTo>
                    <a:pt x="11888" y="12455"/>
                  </a:lnTo>
                  <a:cubicBezTo>
                    <a:pt x="12202" y="12455"/>
                    <a:pt x="12456" y="12202"/>
                    <a:pt x="12456" y="11888"/>
                  </a:cubicBezTo>
                  <a:lnTo>
                    <a:pt x="12456" y="565"/>
                  </a:lnTo>
                  <a:cubicBezTo>
                    <a:pt x="12456" y="251"/>
                    <a:pt x="12202" y="0"/>
                    <a:pt x="11888"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435D74"/>
                </a:solidFill>
                <a:latin typeface="Arial"/>
                <a:cs typeface="Arial"/>
                <a:sym typeface="Arial"/>
              </a:endParaRPr>
            </a:p>
          </p:txBody>
        </p:sp>
        <p:sp>
          <p:nvSpPr>
            <p:cNvPr id="9348" name="Google Shape;9348;p109"/>
            <p:cNvSpPr/>
            <p:nvPr/>
          </p:nvSpPr>
          <p:spPr>
            <a:xfrm>
              <a:off x="6441950" y="380575"/>
              <a:ext cx="88275" cy="85000"/>
            </a:xfrm>
            <a:custGeom>
              <a:avLst/>
              <a:gdLst/>
              <a:ahLst/>
              <a:cxnLst/>
              <a:rect l="l" t="t" r="r" b="b"/>
              <a:pathLst>
                <a:path w="3531" h="3400" extrusionOk="0">
                  <a:moveTo>
                    <a:pt x="1697" y="1135"/>
                  </a:moveTo>
                  <a:cubicBezTo>
                    <a:pt x="2202" y="1135"/>
                    <a:pt x="2455" y="1742"/>
                    <a:pt x="2099" y="2101"/>
                  </a:cubicBezTo>
                  <a:cubicBezTo>
                    <a:pt x="1983" y="2216"/>
                    <a:pt x="1841" y="2268"/>
                    <a:pt x="1702" y="2268"/>
                  </a:cubicBezTo>
                  <a:cubicBezTo>
                    <a:pt x="1411" y="2268"/>
                    <a:pt x="1133" y="2041"/>
                    <a:pt x="1133" y="1700"/>
                  </a:cubicBezTo>
                  <a:cubicBezTo>
                    <a:pt x="1133" y="1386"/>
                    <a:pt x="1383" y="1135"/>
                    <a:pt x="1697" y="1135"/>
                  </a:cubicBezTo>
                  <a:close/>
                  <a:moveTo>
                    <a:pt x="1698" y="0"/>
                  </a:moveTo>
                  <a:cubicBezTo>
                    <a:pt x="1479" y="0"/>
                    <a:pt x="1258" y="43"/>
                    <a:pt x="1048" y="130"/>
                  </a:cubicBezTo>
                  <a:cubicBezTo>
                    <a:pt x="414" y="392"/>
                    <a:pt x="1" y="1011"/>
                    <a:pt x="1" y="1700"/>
                  </a:cubicBezTo>
                  <a:cubicBezTo>
                    <a:pt x="1" y="2639"/>
                    <a:pt x="758" y="3397"/>
                    <a:pt x="1697" y="3400"/>
                  </a:cubicBezTo>
                  <a:cubicBezTo>
                    <a:pt x="2386" y="3400"/>
                    <a:pt x="3005" y="2983"/>
                    <a:pt x="3268" y="2349"/>
                  </a:cubicBezTo>
                  <a:cubicBezTo>
                    <a:pt x="3530" y="1715"/>
                    <a:pt x="3385" y="984"/>
                    <a:pt x="2899" y="498"/>
                  </a:cubicBezTo>
                  <a:cubicBezTo>
                    <a:pt x="2574" y="173"/>
                    <a:pt x="2139" y="0"/>
                    <a:pt x="1698"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435D74"/>
                </a:solidFill>
                <a:latin typeface="Arial"/>
                <a:cs typeface="Arial"/>
                <a:sym typeface="Arial"/>
              </a:endParaRPr>
            </a:p>
          </p:txBody>
        </p:sp>
      </p:grpSp>
      <p:grpSp>
        <p:nvGrpSpPr>
          <p:cNvPr id="9349" name="Google Shape;9349;p109"/>
          <p:cNvGrpSpPr/>
          <p:nvPr/>
        </p:nvGrpSpPr>
        <p:grpSpPr>
          <a:xfrm>
            <a:off x="1125541" y="3636483"/>
            <a:ext cx="458088" cy="398591"/>
            <a:chOff x="889275" y="861850"/>
            <a:chExt cx="487950" cy="424575"/>
          </a:xfrm>
        </p:grpSpPr>
        <p:sp>
          <p:nvSpPr>
            <p:cNvPr id="9350" name="Google Shape;9350;p109"/>
            <p:cNvSpPr/>
            <p:nvPr/>
          </p:nvSpPr>
          <p:spPr>
            <a:xfrm>
              <a:off x="1319225" y="1031700"/>
              <a:ext cx="56650" cy="28325"/>
            </a:xfrm>
            <a:custGeom>
              <a:avLst/>
              <a:gdLst/>
              <a:ahLst/>
              <a:cxnLst/>
              <a:rect l="l" t="t" r="r" b="b"/>
              <a:pathLst>
                <a:path w="2266" h="1133" extrusionOk="0">
                  <a:moveTo>
                    <a:pt x="569" y="1"/>
                  </a:moveTo>
                  <a:cubicBezTo>
                    <a:pt x="255" y="1"/>
                    <a:pt x="1" y="251"/>
                    <a:pt x="1" y="565"/>
                  </a:cubicBezTo>
                  <a:cubicBezTo>
                    <a:pt x="1" y="879"/>
                    <a:pt x="255" y="1133"/>
                    <a:pt x="569" y="1133"/>
                  </a:cubicBezTo>
                  <a:lnTo>
                    <a:pt x="1701" y="1133"/>
                  </a:lnTo>
                  <a:cubicBezTo>
                    <a:pt x="2012" y="1133"/>
                    <a:pt x="2265" y="879"/>
                    <a:pt x="2265" y="565"/>
                  </a:cubicBezTo>
                  <a:cubicBezTo>
                    <a:pt x="2265" y="251"/>
                    <a:pt x="2012" y="1"/>
                    <a:pt x="1701"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435D74"/>
                </a:solidFill>
                <a:latin typeface="Arial"/>
                <a:cs typeface="Arial"/>
                <a:sym typeface="Arial"/>
              </a:endParaRPr>
            </a:p>
          </p:txBody>
        </p:sp>
        <p:sp>
          <p:nvSpPr>
            <p:cNvPr id="9351" name="Google Shape;9351;p109"/>
            <p:cNvSpPr/>
            <p:nvPr/>
          </p:nvSpPr>
          <p:spPr>
            <a:xfrm>
              <a:off x="1314475" y="946725"/>
              <a:ext cx="62750" cy="56700"/>
            </a:xfrm>
            <a:custGeom>
              <a:avLst/>
              <a:gdLst/>
              <a:ahLst/>
              <a:cxnLst/>
              <a:rect l="l" t="t" r="r" b="b"/>
              <a:pathLst>
                <a:path w="2510" h="2268" extrusionOk="0">
                  <a:moveTo>
                    <a:pt x="1889" y="0"/>
                  </a:moveTo>
                  <a:cubicBezTo>
                    <a:pt x="1744" y="0"/>
                    <a:pt x="1599" y="55"/>
                    <a:pt x="1489" y="166"/>
                  </a:cubicBezTo>
                  <a:lnTo>
                    <a:pt x="357" y="1298"/>
                  </a:lnTo>
                  <a:cubicBezTo>
                    <a:pt x="1" y="1657"/>
                    <a:pt x="251" y="2267"/>
                    <a:pt x="759" y="2267"/>
                  </a:cubicBezTo>
                  <a:cubicBezTo>
                    <a:pt x="906" y="2267"/>
                    <a:pt x="1051" y="2207"/>
                    <a:pt x="1157" y="2101"/>
                  </a:cubicBezTo>
                  <a:lnTo>
                    <a:pt x="2289" y="969"/>
                  </a:lnTo>
                  <a:cubicBezTo>
                    <a:pt x="2510" y="745"/>
                    <a:pt x="2510" y="389"/>
                    <a:pt x="2289" y="166"/>
                  </a:cubicBezTo>
                  <a:cubicBezTo>
                    <a:pt x="2179" y="55"/>
                    <a:pt x="2034" y="0"/>
                    <a:pt x="1889"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435D74"/>
                </a:solidFill>
                <a:latin typeface="Arial"/>
                <a:cs typeface="Arial"/>
                <a:sym typeface="Arial"/>
              </a:endParaRPr>
            </a:p>
          </p:txBody>
        </p:sp>
        <p:sp>
          <p:nvSpPr>
            <p:cNvPr id="9352" name="Google Shape;9352;p109"/>
            <p:cNvSpPr/>
            <p:nvPr/>
          </p:nvSpPr>
          <p:spPr>
            <a:xfrm>
              <a:off x="1317875" y="1088250"/>
              <a:ext cx="59350" cy="56675"/>
            </a:xfrm>
            <a:custGeom>
              <a:avLst/>
              <a:gdLst/>
              <a:ahLst/>
              <a:cxnLst/>
              <a:rect l="l" t="t" r="r" b="b"/>
              <a:pathLst>
                <a:path w="2374" h="2267" extrusionOk="0">
                  <a:moveTo>
                    <a:pt x="621" y="1"/>
                  </a:moveTo>
                  <a:cubicBezTo>
                    <a:pt x="476" y="1"/>
                    <a:pt x="331" y="56"/>
                    <a:pt x="221" y="166"/>
                  </a:cubicBezTo>
                  <a:cubicBezTo>
                    <a:pt x="1" y="390"/>
                    <a:pt x="1" y="746"/>
                    <a:pt x="221" y="969"/>
                  </a:cubicBezTo>
                  <a:lnTo>
                    <a:pt x="1353" y="2102"/>
                  </a:lnTo>
                  <a:cubicBezTo>
                    <a:pt x="1463" y="2212"/>
                    <a:pt x="1608" y="2267"/>
                    <a:pt x="1753" y="2267"/>
                  </a:cubicBezTo>
                  <a:cubicBezTo>
                    <a:pt x="1898" y="2267"/>
                    <a:pt x="2043" y="2212"/>
                    <a:pt x="2153" y="2102"/>
                  </a:cubicBezTo>
                  <a:cubicBezTo>
                    <a:pt x="2374" y="1878"/>
                    <a:pt x="2374" y="1522"/>
                    <a:pt x="2153" y="1298"/>
                  </a:cubicBezTo>
                  <a:lnTo>
                    <a:pt x="1021" y="166"/>
                  </a:lnTo>
                  <a:cubicBezTo>
                    <a:pt x="911" y="56"/>
                    <a:pt x="766" y="1"/>
                    <a:pt x="621"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435D74"/>
                </a:solidFill>
                <a:latin typeface="Arial"/>
                <a:cs typeface="Arial"/>
                <a:sym typeface="Arial"/>
              </a:endParaRPr>
            </a:p>
          </p:txBody>
        </p:sp>
        <p:sp>
          <p:nvSpPr>
            <p:cNvPr id="9353" name="Google Shape;9353;p109"/>
            <p:cNvSpPr/>
            <p:nvPr/>
          </p:nvSpPr>
          <p:spPr>
            <a:xfrm>
              <a:off x="889275" y="861850"/>
              <a:ext cx="400700" cy="424575"/>
            </a:xfrm>
            <a:custGeom>
              <a:avLst/>
              <a:gdLst/>
              <a:ahLst/>
              <a:cxnLst/>
              <a:rect l="l" t="t" r="r" b="b"/>
              <a:pathLst>
                <a:path w="16028" h="16983" extrusionOk="0">
                  <a:moveTo>
                    <a:pt x="4668" y="4530"/>
                  </a:moveTo>
                  <a:lnTo>
                    <a:pt x="4668" y="10191"/>
                  </a:lnTo>
                  <a:lnTo>
                    <a:pt x="4104" y="10191"/>
                  </a:lnTo>
                  <a:cubicBezTo>
                    <a:pt x="2539" y="10191"/>
                    <a:pt x="1271" y="8923"/>
                    <a:pt x="1271" y="7359"/>
                  </a:cubicBezTo>
                  <a:cubicBezTo>
                    <a:pt x="1271" y="5795"/>
                    <a:pt x="2539" y="4530"/>
                    <a:pt x="4104" y="4530"/>
                  </a:cubicBezTo>
                  <a:close/>
                  <a:moveTo>
                    <a:pt x="6972" y="4530"/>
                  </a:moveTo>
                  <a:lnTo>
                    <a:pt x="6972" y="10191"/>
                  </a:lnTo>
                  <a:lnTo>
                    <a:pt x="5800" y="10191"/>
                  </a:lnTo>
                  <a:lnTo>
                    <a:pt x="5800" y="4530"/>
                  </a:lnTo>
                  <a:close/>
                  <a:moveTo>
                    <a:pt x="12633" y="1565"/>
                  </a:moveTo>
                  <a:lnTo>
                    <a:pt x="12633" y="13153"/>
                  </a:lnTo>
                  <a:lnTo>
                    <a:pt x="8104" y="10436"/>
                  </a:lnTo>
                  <a:lnTo>
                    <a:pt x="8104" y="4282"/>
                  </a:lnTo>
                  <a:lnTo>
                    <a:pt x="12633" y="1565"/>
                  </a:lnTo>
                  <a:close/>
                  <a:moveTo>
                    <a:pt x="14330" y="1133"/>
                  </a:moveTo>
                  <a:cubicBezTo>
                    <a:pt x="14644" y="1133"/>
                    <a:pt x="14898" y="1384"/>
                    <a:pt x="14898" y="1698"/>
                  </a:cubicBezTo>
                  <a:lnTo>
                    <a:pt x="14898" y="13021"/>
                  </a:lnTo>
                  <a:cubicBezTo>
                    <a:pt x="14898" y="13335"/>
                    <a:pt x="14644" y="13588"/>
                    <a:pt x="14330" y="13588"/>
                  </a:cubicBezTo>
                  <a:lnTo>
                    <a:pt x="13766" y="13588"/>
                  </a:lnTo>
                  <a:lnTo>
                    <a:pt x="13766" y="1133"/>
                  </a:lnTo>
                  <a:close/>
                  <a:moveTo>
                    <a:pt x="5800" y="11324"/>
                  </a:moveTo>
                  <a:lnTo>
                    <a:pt x="5800" y="15285"/>
                  </a:lnTo>
                  <a:cubicBezTo>
                    <a:pt x="5800" y="15599"/>
                    <a:pt x="5547" y="15850"/>
                    <a:pt x="5236" y="15850"/>
                  </a:cubicBezTo>
                  <a:cubicBezTo>
                    <a:pt x="4922" y="15850"/>
                    <a:pt x="4668" y="15599"/>
                    <a:pt x="4668" y="15285"/>
                  </a:cubicBezTo>
                  <a:lnTo>
                    <a:pt x="4668" y="11324"/>
                  </a:lnTo>
                  <a:close/>
                  <a:moveTo>
                    <a:pt x="13132" y="1"/>
                  </a:moveTo>
                  <a:lnTo>
                    <a:pt x="13098" y="7"/>
                  </a:lnTo>
                  <a:lnTo>
                    <a:pt x="13074" y="10"/>
                  </a:lnTo>
                  <a:cubicBezTo>
                    <a:pt x="13065" y="10"/>
                    <a:pt x="13056" y="16"/>
                    <a:pt x="13047" y="19"/>
                  </a:cubicBezTo>
                  <a:cubicBezTo>
                    <a:pt x="13038" y="22"/>
                    <a:pt x="13029" y="22"/>
                    <a:pt x="13020" y="25"/>
                  </a:cubicBezTo>
                  <a:lnTo>
                    <a:pt x="12996" y="34"/>
                  </a:lnTo>
                  <a:lnTo>
                    <a:pt x="12966" y="46"/>
                  </a:lnTo>
                  <a:lnTo>
                    <a:pt x="12947" y="58"/>
                  </a:lnTo>
                  <a:cubicBezTo>
                    <a:pt x="12935" y="61"/>
                    <a:pt x="12926" y="67"/>
                    <a:pt x="12917" y="73"/>
                  </a:cubicBezTo>
                  <a:lnTo>
                    <a:pt x="12908" y="79"/>
                  </a:lnTo>
                  <a:lnTo>
                    <a:pt x="7380" y="3398"/>
                  </a:lnTo>
                  <a:lnTo>
                    <a:pt x="4104" y="3398"/>
                  </a:lnTo>
                  <a:cubicBezTo>
                    <a:pt x="2023" y="3398"/>
                    <a:pt x="299" y="5001"/>
                    <a:pt x="151" y="7075"/>
                  </a:cubicBezTo>
                  <a:cubicBezTo>
                    <a:pt x="0" y="9150"/>
                    <a:pt x="1480" y="10986"/>
                    <a:pt x="3536" y="11281"/>
                  </a:cubicBezTo>
                  <a:lnTo>
                    <a:pt x="3536" y="15285"/>
                  </a:lnTo>
                  <a:cubicBezTo>
                    <a:pt x="3536" y="16224"/>
                    <a:pt x="4297" y="16982"/>
                    <a:pt x="5236" y="16982"/>
                  </a:cubicBezTo>
                  <a:cubicBezTo>
                    <a:pt x="6172" y="16982"/>
                    <a:pt x="6933" y="16224"/>
                    <a:pt x="6933" y="15285"/>
                  </a:cubicBezTo>
                  <a:lnTo>
                    <a:pt x="6933" y="11324"/>
                  </a:lnTo>
                  <a:lnTo>
                    <a:pt x="7380" y="11324"/>
                  </a:lnTo>
                  <a:lnTo>
                    <a:pt x="12908" y="14639"/>
                  </a:lnTo>
                  <a:cubicBezTo>
                    <a:pt x="12911" y="14642"/>
                    <a:pt x="12914" y="14642"/>
                    <a:pt x="12920" y="14645"/>
                  </a:cubicBezTo>
                  <a:lnTo>
                    <a:pt x="12935" y="14654"/>
                  </a:lnTo>
                  <a:cubicBezTo>
                    <a:pt x="12947" y="14660"/>
                    <a:pt x="12963" y="14666"/>
                    <a:pt x="12975" y="14672"/>
                  </a:cubicBezTo>
                  <a:lnTo>
                    <a:pt x="12984" y="14675"/>
                  </a:lnTo>
                  <a:cubicBezTo>
                    <a:pt x="12996" y="14681"/>
                    <a:pt x="13011" y="14687"/>
                    <a:pt x="13023" y="14690"/>
                  </a:cubicBezTo>
                  <a:lnTo>
                    <a:pt x="13038" y="14696"/>
                  </a:lnTo>
                  <a:cubicBezTo>
                    <a:pt x="13053" y="14699"/>
                    <a:pt x="13068" y="14702"/>
                    <a:pt x="13083" y="14708"/>
                  </a:cubicBezTo>
                  <a:cubicBezTo>
                    <a:pt x="13101" y="14712"/>
                    <a:pt x="13117" y="14715"/>
                    <a:pt x="13135" y="14715"/>
                  </a:cubicBezTo>
                  <a:lnTo>
                    <a:pt x="13144" y="14715"/>
                  </a:lnTo>
                  <a:cubicBezTo>
                    <a:pt x="13162" y="14715"/>
                    <a:pt x="13180" y="14718"/>
                    <a:pt x="13198" y="14718"/>
                  </a:cubicBezTo>
                  <a:lnTo>
                    <a:pt x="14330" y="14718"/>
                  </a:lnTo>
                  <a:cubicBezTo>
                    <a:pt x="15266" y="14718"/>
                    <a:pt x="16027" y="13957"/>
                    <a:pt x="16027" y="13021"/>
                  </a:cubicBezTo>
                  <a:lnTo>
                    <a:pt x="16027" y="1698"/>
                  </a:lnTo>
                  <a:cubicBezTo>
                    <a:pt x="16027" y="759"/>
                    <a:pt x="15266" y="1"/>
                    <a:pt x="14330"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435D74"/>
                </a:solidFill>
                <a:latin typeface="Arial"/>
                <a:cs typeface="Arial"/>
                <a:sym typeface="Arial"/>
              </a:endParaRPr>
            </a:p>
          </p:txBody>
        </p:sp>
      </p:grpSp>
      <p:sp>
        <p:nvSpPr>
          <p:cNvPr id="9354" name="Google Shape;9354;p109"/>
          <p:cNvSpPr/>
          <p:nvPr/>
        </p:nvSpPr>
        <p:spPr>
          <a:xfrm>
            <a:off x="1709500" y="3608838"/>
            <a:ext cx="403965" cy="453605"/>
          </a:xfrm>
          <a:custGeom>
            <a:avLst/>
            <a:gdLst/>
            <a:ahLst/>
            <a:cxnLst/>
            <a:rect l="l" t="t" r="r" b="b"/>
            <a:pathLst>
              <a:path w="17212" h="19327" extrusionOk="0">
                <a:moveTo>
                  <a:pt x="15400" y="1132"/>
                </a:moveTo>
                <a:cubicBezTo>
                  <a:pt x="15714" y="1132"/>
                  <a:pt x="15965" y="1386"/>
                  <a:pt x="15965" y="1700"/>
                </a:cubicBezTo>
                <a:cubicBezTo>
                  <a:pt x="15965" y="2011"/>
                  <a:pt x="15714" y="2265"/>
                  <a:pt x="15400" y="2265"/>
                </a:cubicBezTo>
                <a:lnTo>
                  <a:pt x="1813" y="2265"/>
                </a:lnTo>
                <a:cubicBezTo>
                  <a:pt x="1499" y="2265"/>
                  <a:pt x="1248" y="2011"/>
                  <a:pt x="1248" y="1700"/>
                </a:cubicBezTo>
                <a:cubicBezTo>
                  <a:pt x="1248" y="1386"/>
                  <a:pt x="1499" y="1132"/>
                  <a:pt x="1813" y="1132"/>
                </a:cubicBezTo>
                <a:close/>
                <a:moveTo>
                  <a:pt x="14835" y="3397"/>
                </a:moveTo>
                <a:lnTo>
                  <a:pt x="14835" y="10230"/>
                </a:lnTo>
                <a:lnTo>
                  <a:pt x="2380" y="10230"/>
                </a:lnTo>
                <a:lnTo>
                  <a:pt x="2380" y="3397"/>
                </a:lnTo>
                <a:close/>
                <a:moveTo>
                  <a:pt x="15400" y="11362"/>
                </a:moveTo>
                <a:cubicBezTo>
                  <a:pt x="15714" y="11362"/>
                  <a:pt x="15965" y="11613"/>
                  <a:pt x="15965" y="11927"/>
                </a:cubicBezTo>
                <a:cubicBezTo>
                  <a:pt x="15965" y="12241"/>
                  <a:pt x="15714" y="12495"/>
                  <a:pt x="15400" y="12495"/>
                </a:cubicBezTo>
                <a:lnTo>
                  <a:pt x="1813" y="12495"/>
                </a:lnTo>
                <a:cubicBezTo>
                  <a:pt x="1499" y="12495"/>
                  <a:pt x="1248" y="12241"/>
                  <a:pt x="1248" y="11927"/>
                </a:cubicBezTo>
                <a:cubicBezTo>
                  <a:pt x="1248" y="11613"/>
                  <a:pt x="1499" y="11362"/>
                  <a:pt x="1813" y="11362"/>
                </a:cubicBezTo>
                <a:close/>
                <a:moveTo>
                  <a:pt x="1813" y="0"/>
                </a:moveTo>
                <a:cubicBezTo>
                  <a:pt x="985" y="0"/>
                  <a:pt x="279" y="595"/>
                  <a:pt x="140" y="1410"/>
                </a:cubicBezTo>
                <a:cubicBezTo>
                  <a:pt x="1" y="2226"/>
                  <a:pt x="466" y="3023"/>
                  <a:pt x="1248" y="3300"/>
                </a:cubicBezTo>
                <a:lnTo>
                  <a:pt x="1248" y="10327"/>
                </a:lnTo>
                <a:cubicBezTo>
                  <a:pt x="569" y="10565"/>
                  <a:pt x="116" y="11208"/>
                  <a:pt x="116" y="11927"/>
                </a:cubicBezTo>
                <a:cubicBezTo>
                  <a:pt x="116" y="12866"/>
                  <a:pt x="874" y="13624"/>
                  <a:pt x="1813" y="13627"/>
                </a:cubicBezTo>
                <a:lnTo>
                  <a:pt x="6774" y="13627"/>
                </a:lnTo>
                <a:lnTo>
                  <a:pt x="2522" y="18383"/>
                </a:lnTo>
                <a:cubicBezTo>
                  <a:pt x="2311" y="18615"/>
                  <a:pt x="2332" y="18974"/>
                  <a:pt x="2564" y="19183"/>
                </a:cubicBezTo>
                <a:cubicBezTo>
                  <a:pt x="2673" y="19279"/>
                  <a:pt x="2809" y="19326"/>
                  <a:pt x="2943" y="19326"/>
                </a:cubicBezTo>
                <a:cubicBezTo>
                  <a:pt x="3100" y="19326"/>
                  <a:pt x="3256" y="19262"/>
                  <a:pt x="3368" y="19137"/>
                </a:cubicBezTo>
                <a:lnTo>
                  <a:pt x="8042" y="13908"/>
                </a:lnTo>
                <a:lnTo>
                  <a:pt x="8042" y="18760"/>
                </a:lnTo>
                <a:cubicBezTo>
                  <a:pt x="8042" y="19071"/>
                  <a:pt x="8292" y="19325"/>
                  <a:pt x="8606" y="19325"/>
                </a:cubicBezTo>
                <a:cubicBezTo>
                  <a:pt x="8920" y="19325"/>
                  <a:pt x="9174" y="19071"/>
                  <a:pt x="9174" y="18760"/>
                </a:cubicBezTo>
                <a:lnTo>
                  <a:pt x="9174" y="13908"/>
                </a:lnTo>
                <a:lnTo>
                  <a:pt x="13845" y="19137"/>
                </a:lnTo>
                <a:cubicBezTo>
                  <a:pt x="13956" y="19260"/>
                  <a:pt x="14109" y="19322"/>
                  <a:pt x="14263" y="19322"/>
                </a:cubicBezTo>
                <a:cubicBezTo>
                  <a:pt x="14398" y="19322"/>
                  <a:pt x="14534" y="19274"/>
                  <a:pt x="14642" y="19177"/>
                </a:cubicBezTo>
                <a:cubicBezTo>
                  <a:pt x="14875" y="18971"/>
                  <a:pt x="14896" y="18615"/>
                  <a:pt x="14691" y="18383"/>
                </a:cubicBezTo>
                <a:lnTo>
                  <a:pt x="10439" y="13627"/>
                </a:lnTo>
                <a:lnTo>
                  <a:pt x="15400" y="13627"/>
                </a:lnTo>
                <a:cubicBezTo>
                  <a:pt x="16227" y="13624"/>
                  <a:pt x="16934" y="13029"/>
                  <a:pt x="17073" y="12214"/>
                </a:cubicBezTo>
                <a:cubicBezTo>
                  <a:pt x="17212" y="11399"/>
                  <a:pt x="16747" y="10601"/>
                  <a:pt x="15968" y="10327"/>
                </a:cubicBezTo>
                <a:lnTo>
                  <a:pt x="15968" y="3300"/>
                </a:lnTo>
                <a:cubicBezTo>
                  <a:pt x="16747" y="3023"/>
                  <a:pt x="17212" y="2226"/>
                  <a:pt x="17073" y="1410"/>
                </a:cubicBezTo>
                <a:cubicBezTo>
                  <a:pt x="16934" y="595"/>
                  <a:pt x="16227" y="0"/>
                  <a:pt x="15400"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435D74"/>
              </a:solidFill>
              <a:latin typeface="Arial"/>
              <a:cs typeface="Arial"/>
              <a:sym typeface="Arial"/>
            </a:endParaRPr>
          </a:p>
        </p:txBody>
      </p:sp>
      <p:sp>
        <p:nvSpPr>
          <p:cNvPr id="9355" name="Google Shape;9355;p109"/>
          <p:cNvSpPr/>
          <p:nvPr/>
        </p:nvSpPr>
        <p:spPr>
          <a:xfrm>
            <a:off x="2236175" y="3608838"/>
            <a:ext cx="455341" cy="453605"/>
          </a:xfrm>
          <a:custGeom>
            <a:avLst/>
            <a:gdLst/>
            <a:ahLst/>
            <a:cxnLst/>
            <a:rect l="l" t="t" r="r" b="b"/>
            <a:pathLst>
              <a:path w="19401" h="19327" extrusionOk="0">
                <a:moveTo>
                  <a:pt x="14796" y="1700"/>
                </a:moveTo>
                <a:lnTo>
                  <a:pt x="17815" y="3965"/>
                </a:lnTo>
                <a:lnTo>
                  <a:pt x="14796" y="6229"/>
                </a:lnTo>
                <a:lnTo>
                  <a:pt x="14796" y="5097"/>
                </a:lnTo>
                <a:cubicBezTo>
                  <a:pt x="14796" y="4783"/>
                  <a:pt x="14542" y="4529"/>
                  <a:pt x="14231" y="4529"/>
                </a:cubicBezTo>
                <a:lnTo>
                  <a:pt x="10795" y="4529"/>
                </a:lnTo>
                <a:cubicBezTo>
                  <a:pt x="9807" y="4529"/>
                  <a:pt x="8893" y="5046"/>
                  <a:pt x="8379" y="5888"/>
                </a:cubicBezTo>
                <a:cubicBezTo>
                  <a:pt x="8177" y="5547"/>
                  <a:pt x="7932" y="5230"/>
                  <a:pt x="7658" y="4946"/>
                </a:cubicBezTo>
                <a:cubicBezTo>
                  <a:pt x="8409" y="3974"/>
                  <a:pt x="9566" y="3403"/>
                  <a:pt x="10795" y="3397"/>
                </a:cubicBezTo>
                <a:lnTo>
                  <a:pt x="14231" y="3397"/>
                </a:lnTo>
                <a:cubicBezTo>
                  <a:pt x="14542" y="3397"/>
                  <a:pt x="14796" y="3143"/>
                  <a:pt x="14796" y="2832"/>
                </a:cubicBezTo>
                <a:lnTo>
                  <a:pt x="14796" y="1700"/>
                </a:lnTo>
                <a:close/>
                <a:moveTo>
                  <a:pt x="5807" y="13011"/>
                </a:moveTo>
                <a:cubicBezTo>
                  <a:pt x="5888" y="13398"/>
                  <a:pt x="6015" y="13778"/>
                  <a:pt x="6184" y="14137"/>
                </a:cubicBezTo>
                <a:cubicBezTo>
                  <a:pt x="5538" y="14566"/>
                  <a:pt x="4777" y="14796"/>
                  <a:pt x="4001" y="14796"/>
                </a:cubicBezTo>
                <a:lnTo>
                  <a:pt x="1700" y="14796"/>
                </a:lnTo>
                <a:cubicBezTo>
                  <a:pt x="1386" y="14796"/>
                  <a:pt x="1133" y="14542"/>
                  <a:pt x="1133" y="14231"/>
                </a:cubicBezTo>
                <a:cubicBezTo>
                  <a:pt x="1133" y="13917"/>
                  <a:pt x="1386" y="13663"/>
                  <a:pt x="1700" y="13663"/>
                </a:cubicBezTo>
                <a:lnTo>
                  <a:pt x="4001" y="13663"/>
                </a:lnTo>
                <a:cubicBezTo>
                  <a:pt x="4662" y="13663"/>
                  <a:pt x="5299" y="13434"/>
                  <a:pt x="5807" y="13011"/>
                </a:cubicBezTo>
                <a:close/>
                <a:moveTo>
                  <a:pt x="4001" y="4529"/>
                </a:moveTo>
                <a:cubicBezTo>
                  <a:pt x="6190" y="4532"/>
                  <a:pt x="7963" y="6305"/>
                  <a:pt x="7966" y="8494"/>
                </a:cubicBezTo>
                <a:lnTo>
                  <a:pt x="7966" y="11966"/>
                </a:lnTo>
                <a:cubicBezTo>
                  <a:pt x="7966" y="13527"/>
                  <a:pt x="9231" y="14792"/>
                  <a:pt x="10795" y="14796"/>
                </a:cubicBezTo>
                <a:lnTo>
                  <a:pt x="14231" y="14796"/>
                </a:lnTo>
                <a:cubicBezTo>
                  <a:pt x="14542" y="14796"/>
                  <a:pt x="14796" y="14542"/>
                  <a:pt x="14796" y="14231"/>
                </a:cubicBezTo>
                <a:lnTo>
                  <a:pt x="14796" y="13099"/>
                </a:lnTo>
                <a:lnTo>
                  <a:pt x="17815" y="15363"/>
                </a:lnTo>
                <a:lnTo>
                  <a:pt x="14796" y="17628"/>
                </a:lnTo>
                <a:lnTo>
                  <a:pt x="14796" y="16495"/>
                </a:lnTo>
                <a:cubicBezTo>
                  <a:pt x="14796" y="16181"/>
                  <a:pt x="14542" y="15928"/>
                  <a:pt x="14231" y="15928"/>
                </a:cubicBezTo>
                <a:lnTo>
                  <a:pt x="10795" y="15928"/>
                </a:lnTo>
                <a:cubicBezTo>
                  <a:pt x="8606" y="15925"/>
                  <a:pt x="6833" y="14152"/>
                  <a:pt x="6833" y="11966"/>
                </a:cubicBezTo>
                <a:lnTo>
                  <a:pt x="6833" y="8494"/>
                </a:lnTo>
                <a:cubicBezTo>
                  <a:pt x="6830" y="6930"/>
                  <a:pt x="5565" y="5665"/>
                  <a:pt x="4001" y="5662"/>
                </a:cubicBezTo>
                <a:lnTo>
                  <a:pt x="1700" y="5662"/>
                </a:lnTo>
                <a:cubicBezTo>
                  <a:pt x="1386" y="5662"/>
                  <a:pt x="1133" y="5408"/>
                  <a:pt x="1133" y="5097"/>
                </a:cubicBezTo>
                <a:cubicBezTo>
                  <a:pt x="1133" y="4783"/>
                  <a:pt x="1386" y="4529"/>
                  <a:pt x="1700" y="4529"/>
                </a:cubicBezTo>
                <a:close/>
                <a:moveTo>
                  <a:pt x="14230" y="0"/>
                </a:moveTo>
                <a:cubicBezTo>
                  <a:pt x="13937" y="0"/>
                  <a:pt x="13663" y="232"/>
                  <a:pt x="13663" y="568"/>
                </a:cubicBezTo>
                <a:lnTo>
                  <a:pt x="13663" y="2265"/>
                </a:lnTo>
                <a:lnTo>
                  <a:pt x="10795" y="2265"/>
                </a:lnTo>
                <a:cubicBezTo>
                  <a:pt x="9228" y="2265"/>
                  <a:pt x="7745" y="2989"/>
                  <a:pt x="6782" y="4224"/>
                </a:cubicBezTo>
                <a:cubicBezTo>
                  <a:pt x="5955" y="3684"/>
                  <a:pt x="4988" y="3397"/>
                  <a:pt x="4001" y="3397"/>
                </a:cubicBezTo>
                <a:lnTo>
                  <a:pt x="1700" y="3397"/>
                </a:lnTo>
                <a:cubicBezTo>
                  <a:pt x="761" y="3397"/>
                  <a:pt x="0" y="4158"/>
                  <a:pt x="0" y="5097"/>
                </a:cubicBezTo>
                <a:cubicBezTo>
                  <a:pt x="0" y="6033"/>
                  <a:pt x="761" y="6794"/>
                  <a:pt x="1700" y="6794"/>
                </a:cubicBezTo>
                <a:lnTo>
                  <a:pt x="4001" y="6794"/>
                </a:lnTo>
                <a:cubicBezTo>
                  <a:pt x="4940" y="6794"/>
                  <a:pt x="5698" y="7555"/>
                  <a:pt x="5701" y="8494"/>
                </a:cubicBezTo>
                <a:lnTo>
                  <a:pt x="5701" y="10834"/>
                </a:lnTo>
                <a:cubicBezTo>
                  <a:pt x="5698" y="11770"/>
                  <a:pt x="4940" y="12531"/>
                  <a:pt x="4001" y="12531"/>
                </a:cubicBezTo>
                <a:lnTo>
                  <a:pt x="1700" y="12531"/>
                </a:lnTo>
                <a:cubicBezTo>
                  <a:pt x="761" y="12531"/>
                  <a:pt x="0" y="13292"/>
                  <a:pt x="0" y="14231"/>
                </a:cubicBezTo>
                <a:cubicBezTo>
                  <a:pt x="0" y="15167"/>
                  <a:pt x="761" y="15928"/>
                  <a:pt x="1700" y="15928"/>
                </a:cubicBezTo>
                <a:lnTo>
                  <a:pt x="4001" y="15928"/>
                </a:lnTo>
                <a:cubicBezTo>
                  <a:pt x="4988" y="15928"/>
                  <a:pt x="5955" y="15641"/>
                  <a:pt x="6782" y="15100"/>
                </a:cubicBezTo>
                <a:cubicBezTo>
                  <a:pt x="7745" y="16338"/>
                  <a:pt x="9228" y="17060"/>
                  <a:pt x="10795" y="17060"/>
                </a:cubicBezTo>
                <a:lnTo>
                  <a:pt x="13663" y="17060"/>
                </a:lnTo>
                <a:lnTo>
                  <a:pt x="13663" y="18760"/>
                </a:lnTo>
                <a:cubicBezTo>
                  <a:pt x="13663" y="19095"/>
                  <a:pt x="13938" y="19326"/>
                  <a:pt x="14232" y="19326"/>
                </a:cubicBezTo>
                <a:cubicBezTo>
                  <a:pt x="14347" y="19326"/>
                  <a:pt x="14464" y="19291"/>
                  <a:pt x="14569" y="19213"/>
                </a:cubicBezTo>
                <a:lnTo>
                  <a:pt x="19098" y="15816"/>
                </a:lnTo>
                <a:cubicBezTo>
                  <a:pt x="19400" y="15590"/>
                  <a:pt x="19400" y="15134"/>
                  <a:pt x="19098" y="14910"/>
                </a:cubicBezTo>
                <a:lnTo>
                  <a:pt x="14569" y="11513"/>
                </a:lnTo>
                <a:cubicBezTo>
                  <a:pt x="14464" y="11434"/>
                  <a:pt x="14345" y="11398"/>
                  <a:pt x="14230" y="11398"/>
                </a:cubicBezTo>
                <a:cubicBezTo>
                  <a:pt x="13937" y="11398"/>
                  <a:pt x="13663" y="11630"/>
                  <a:pt x="13663" y="11966"/>
                </a:cubicBezTo>
                <a:lnTo>
                  <a:pt x="13663" y="13663"/>
                </a:lnTo>
                <a:lnTo>
                  <a:pt x="10795" y="13663"/>
                </a:lnTo>
                <a:cubicBezTo>
                  <a:pt x="9856" y="13663"/>
                  <a:pt x="9098" y="12902"/>
                  <a:pt x="9098" y="11966"/>
                </a:cubicBezTo>
                <a:lnTo>
                  <a:pt x="9098" y="7362"/>
                </a:lnTo>
                <a:cubicBezTo>
                  <a:pt x="9098" y="6423"/>
                  <a:pt x="9856" y="5662"/>
                  <a:pt x="10795" y="5662"/>
                </a:cubicBezTo>
                <a:lnTo>
                  <a:pt x="13663" y="5662"/>
                </a:lnTo>
                <a:lnTo>
                  <a:pt x="13663" y="7362"/>
                </a:lnTo>
                <a:cubicBezTo>
                  <a:pt x="13663" y="7576"/>
                  <a:pt x="13784" y="7769"/>
                  <a:pt x="13977" y="7866"/>
                </a:cubicBezTo>
                <a:cubicBezTo>
                  <a:pt x="14057" y="7906"/>
                  <a:pt x="14144" y="7926"/>
                  <a:pt x="14230" y="7926"/>
                </a:cubicBezTo>
                <a:cubicBezTo>
                  <a:pt x="14350" y="7926"/>
                  <a:pt x="14469" y="7888"/>
                  <a:pt x="14569" y="7815"/>
                </a:cubicBezTo>
                <a:lnTo>
                  <a:pt x="19098" y="4418"/>
                </a:lnTo>
                <a:cubicBezTo>
                  <a:pt x="19400" y="4191"/>
                  <a:pt x="19400" y="3735"/>
                  <a:pt x="19098" y="3512"/>
                </a:cubicBezTo>
                <a:lnTo>
                  <a:pt x="14569" y="115"/>
                </a:lnTo>
                <a:cubicBezTo>
                  <a:pt x="14464" y="36"/>
                  <a:pt x="14345" y="0"/>
                  <a:pt x="14230"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435D74"/>
              </a:solidFill>
              <a:latin typeface="Arial"/>
              <a:cs typeface="Arial"/>
              <a:sym typeface="Arial"/>
            </a:endParaRPr>
          </a:p>
        </p:txBody>
      </p:sp>
      <p:grpSp>
        <p:nvGrpSpPr>
          <p:cNvPr id="9356" name="Google Shape;9356;p109"/>
          <p:cNvGrpSpPr/>
          <p:nvPr/>
        </p:nvGrpSpPr>
        <p:grpSpPr>
          <a:xfrm>
            <a:off x="2807964" y="3608999"/>
            <a:ext cx="453557" cy="453557"/>
            <a:chOff x="2676100" y="832575"/>
            <a:chExt cx="483125" cy="483125"/>
          </a:xfrm>
        </p:grpSpPr>
        <p:sp>
          <p:nvSpPr>
            <p:cNvPr id="9357" name="Google Shape;9357;p109"/>
            <p:cNvSpPr/>
            <p:nvPr/>
          </p:nvSpPr>
          <p:spPr>
            <a:xfrm>
              <a:off x="2676100" y="832575"/>
              <a:ext cx="483125" cy="483125"/>
            </a:xfrm>
            <a:custGeom>
              <a:avLst/>
              <a:gdLst/>
              <a:ahLst/>
              <a:cxnLst/>
              <a:rect l="l" t="t" r="r" b="b"/>
              <a:pathLst>
                <a:path w="19325" h="19325" extrusionOk="0">
                  <a:moveTo>
                    <a:pt x="10351" y="1132"/>
                  </a:moveTo>
                  <a:lnTo>
                    <a:pt x="10562" y="2008"/>
                  </a:lnTo>
                  <a:cubicBezTo>
                    <a:pt x="10614" y="2226"/>
                    <a:pt x="10789" y="2392"/>
                    <a:pt x="11009" y="2434"/>
                  </a:cubicBezTo>
                  <a:cubicBezTo>
                    <a:pt x="12021" y="2618"/>
                    <a:pt x="12981" y="3014"/>
                    <a:pt x="13826" y="3596"/>
                  </a:cubicBezTo>
                  <a:cubicBezTo>
                    <a:pt x="13922" y="3663"/>
                    <a:pt x="14033" y="3696"/>
                    <a:pt x="14146" y="3696"/>
                  </a:cubicBezTo>
                  <a:cubicBezTo>
                    <a:pt x="14247" y="3696"/>
                    <a:pt x="14349" y="3669"/>
                    <a:pt x="14439" y="3614"/>
                  </a:cubicBezTo>
                  <a:lnTo>
                    <a:pt x="15179" y="3171"/>
                  </a:lnTo>
                  <a:lnTo>
                    <a:pt x="16154" y="4146"/>
                  </a:lnTo>
                  <a:lnTo>
                    <a:pt x="15711" y="4889"/>
                  </a:lnTo>
                  <a:cubicBezTo>
                    <a:pt x="15596" y="5079"/>
                    <a:pt x="15602" y="5317"/>
                    <a:pt x="15729" y="5499"/>
                  </a:cubicBezTo>
                  <a:cubicBezTo>
                    <a:pt x="16311" y="6344"/>
                    <a:pt x="16707" y="7304"/>
                    <a:pt x="16891" y="8316"/>
                  </a:cubicBezTo>
                  <a:cubicBezTo>
                    <a:pt x="16933" y="8536"/>
                    <a:pt x="17100" y="8711"/>
                    <a:pt x="17317" y="8763"/>
                  </a:cubicBezTo>
                  <a:lnTo>
                    <a:pt x="18193" y="8974"/>
                  </a:lnTo>
                  <a:lnTo>
                    <a:pt x="18193" y="10351"/>
                  </a:lnTo>
                  <a:lnTo>
                    <a:pt x="17317" y="10562"/>
                  </a:lnTo>
                  <a:cubicBezTo>
                    <a:pt x="17100" y="10614"/>
                    <a:pt x="16933" y="10789"/>
                    <a:pt x="16894" y="11009"/>
                  </a:cubicBezTo>
                  <a:cubicBezTo>
                    <a:pt x="16710" y="12021"/>
                    <a:pt x="16311" y="12981"/>
                    <a:pt x="15729" y="13826"/>
                  </a:cubicBezTo>
                  <a:cubicBezTo>
                    <a:pt x="15605" y="14007"/>
                    <a:pt x="15596" y="14246"/>
                    <a:pt x="15711" y="14436"/>
                  </a:cubicBezTo>
                  <a:lnTo>
                    <a:pt x="16154" y="15179"/>
                  </a:lnTo>
                  <a:lnTo>
                    <a:pt x="15179" y="16154"/>
                  </a:lnTo>
                  <a:lnTo>
                    <a:pt x="14439" y="15710"/>
                  </a:lnTo>
                  <a:cubicBezTo>
                    <a:pt x="14349" y="15656"/>
                    <a:pt x="14247" y="15629"/>
                    <a:pt x="14146" y="15629"/>
                  </a:cubicBezTo>
                  <a:cubicBezTo>
                    <a:pt x="14033" y="15629"/>
                    <a:pt x="13922" y="15662"/>
                    <a:pt x="13826" y="15729"/>
                  </a:cubicBezTo>
                  <a:cubicBezTo>
                    <a:pt x="12981" y="16311"/>
                    <a:pt x="12021" y="16707"/>
                    <a:pt x="11009" y="16891"/>
                  </a:cubicBezTo>
                  <a:cubicBezTo>
                    <a:pt x="10789" y="16933"/>
                    <a:pt x="10614" y="17099"/>
                    <a:pt x="10562" y="17317"/>
                  </a:cubicBezTo>
                  <a:lnTo>
                    <a:pt x="10351" y="18192"/>
                  </a:lnTo>
                  <a:lnTo>
                    <a:pt x="8974" y="18192"/>
                  </a:lnTo>
                  <a:lnTo>
                    <a:pt x="8763" y="17317"/>
                  </a:lnTo>
                  <a:cubicBezTo>
                    <a:pt x="8712" y="17099"/>
                    <a:pt x="8536" y="16933"/>
                    <a:pt x="8316" y="16891"/>
                  </a:cubicBezTo>
                  <a:cubicBezTo>
                    <a:pt x="7304" y="16707"/>
                    <a:pt x="6344" y="16311"/>
                    <a:pt x="5499" y="15729"/>
                  </a:cubicBezTo>
                  <a:cubicBezTo>
                    <a:pt x="5404" y="15662"/>
                    <a:pt x="5293" y="15629"/>
                    <a:pt x="5181" y="15629"/>
                  </a:cubicBezTo>
                  <a:cubicBezTo>
                    <a:pt x="5081" y="15629"/>
                    <a:pt x="4979" y="15656"/>
                    <a:pt x="4889" y="15710"/>
                  </a:cubicBezTo>
                  <a:lnTo>
                    <a:pt x="4146" y="16154"/>
                  </a:lnTo>
                  <a:lnTo>
                    <a:pt x="3171" y="15179"/>
                  </a:lnTo>
                  <a:lnTo>
                    <a:pt x="3615" y="14436"/>
                  </a:lnTo>
                  <a:cubicBezTo>
                    <a:pt x="3729" y="14246"/>
                    <a:pt x="3723" y="14007"/>
                    <a:pt x="3597" y="13826"/>
                  </a:cubicBezTo>
                  <a:cubicBezTo>
                    <a:pt x="3014" y="12981"/>
                    <a:pt x="2618" y="12021"/>
                    <a:pt x="2434" y="11009"/>
                  </a:cubicBezTo>
                  <a:cubicBezTo>
                    <a:pt x="2392" y="10789"/>
                    <a:pt x="2226" y="10614"/>
                    <a:pt x="2011" y="10562"/>
                  </a:cubicBezTo>
                  <a:lnTo>
                    <a:pt x="1133" y="10351"/>
                  </a:lnTo>
                  <a:lnTo>
                    <a:pt x="1133" y="8974"/>
                  </a:lnTo>
                  <a:lnTo>
                    <a:pt x="2008" y="8763"/>
                  </a:lnTo>
                  <a:cubicBezTo>
                    <a:pt x="2226" y="8711"/>
                    <a:pt x="2392" y="8536"/>
                    <a:pt x="2431" y="8316"/>
                  </a:cubicBezTo>
                  <a:cubicBezTo>
                    <a:pt x="2615" y="7304"/>
                    <a:pt x="3014" y="6344"/>
                    <a:pt x="3597" y="5499"/>
                  </a:cubicBezTo>
                  <a:cubicBezTo>
                    <a:pt x="3720" y="5317"/>
                    <a:pt x="3729" y="5079"/>
                    <a:pt x="3615" y="4889"/>
                  </a:cubicBezTo>
                  <a:lnTo>
                    <a:pt x="3171" y="4146"/>
                  </a:lnTo>
                  <a:lnTo>
                    <a:pt x="4146" y="3171"/>
                  </a:lnTo>
                  <a:lnTo>
                    <a:pt x="4889" y="3614"/>
                  </a:lnTo>
                  <a:cubicBezTo>
                    <a:pt x="4979" y="3669"/>
                    <a:pt x="5081" y="3696"/>
                    <a:pt x="5181" y="3696"/>
                  </a:cubicBezTo>
                  <a:cubicBezTo>
                    <a:pt x="5293" y="3696"/>
                    <a:pt x="5404" y="3663"/>
                    <a:pt x="5499" y="3596"/>
                  </a:cubicBezTo>
                  <a:cubicBezTo>
                    <a:pt x="6344" y="3014"/>
                    <a:pt x="7304" y="2618"/>
                    <a:pt x="8316" y="2434"/>
                  </a:cubicBezTo>
                  <a:cubicBezTo>
                    <a:pt x="8536" y="2392"/>
                    <a:pt x="8712" y="2226"/>
                    <a:pt x="8763" y="2008"/>
                  </a:cubicBezTo>
                  <a:lnTo>
                    <a:pt x="8974" y="1132"/>
                  </a:lnTo>
                  <a:close/>
                  <a:moveTo>
                    <a:pt x="8530" y="0"/>
                  </a:moveTo>
                  <a:cubicBezTo>
                    <a:pt x="8268" y="0"/>
                    <a:pt x="8041" y="178"/>
                    <a:pt x="7981" y="432"/>
                  </a:cubicBezTo>
                  <a:lnTo>
                    <a:pt x="7748" y="1392"/>
                  </a:lnTo>
                  <a:cubicBezTo>
                    <a:pt x="6833" y="1604"/>
                    <a:pt x="5961" y="1963"/>
                    <a:pt x="5167" y="2461"/>
                  </a:cubicBezTo>
                  <a:lnTo>
                    <a:pt x="4348" y="1969"/>
                  </a:lnTo>
                  <a:cubicBezTo>
                    <a:pt x="4260" y="1915"/>
                    <a:pt x="4160" y="1889"/>
                    <a:pt x="4061" y="1889"/>
                  </a:cubicBezTo>
                  <a:cubicBezTo>
                    <a:pt x="3913" y="1889"/>
                    <a:pt x="3767" y="1946"/>
                    <a:pt x="3657" y="2056"/>
                  </a:cubicBezTo>
                  <a:lnTo>
                    <a:pt x="2057" y="3657"/>
                  </a:lnTo>
                  <a:cubicBezTo>
                    <a:pt x="1872" y="3841"/>
                    <a:pt x="1839" y="4125"/>
                    <a:pt x="1972" y="4348"/>
                  </a:cubicBezTo>
                  <a:lnTo>
                    <a:pt x="2461" y="5163"/>
                  </a:lnTo>
                  <a:cubicBezTo>
                    <a:pt x="1963" y="5958"/>
                    <a:pt x="1604" y="6830"/>
                    <a:pt x="1395" y="7745"/>
                  </a:cubicBezTo>
                  <a:lnTo>
                    <a:pt x="435" y="7978"/>
                  </a:lnTo>
                  <a:cubicBezTo>
                    <a:pt x="179" y="8041"/>
                    <a:pt x="0" y="8267"/>
                    <a:pt x="0" y="8530"/>
                  </a:cubicBezTo>
                  <a:lnTo>
                    <a:pt x="0" y="10795"/>
                  </a:lnTo>
                  <a:cubicBezTo>
                    <a:pt x="0" y="11057"/>
                    <a:pt x="179" y="11284"/>
                    <a:pt x="432" y="11344"/>
                  </a:cubicBezTo>
                  <a:lnTo>
                    <a:pt x="1392" y="11580"/>
                  </a:lnTo>
                  <a:cubicBezTo>
                    <a:pt x="1604" y="12492"/>
                    <a:pt x="1963" y="13364"/>
                    <a:pt x="2461" y="14158"/>
                  </a:cubicBezTo>
                  <a:lnTo>
                    <a:pt x="1969" y="14977"/>
                  </a:lnTo>
                  <a:cubicBezTo>
                    <a:pt x="1836" y="15200"/>
                    <a:pt x="1872" y="15484"/>
                    <a:pt x="2057" y="15668"/>
                  </a:cubicBezTo>
                  <a:lnTo>
                    <a:pt x="3657" y="17268"/>
                  </a:lnTo>
                  <a:cubicBezTo>
                    <a:pt x="3766" y="17378"/>
                    <a:pt x="3911" y="17435"/>
                    <a:pt x="4057" y="17435"/>
                  </a:cubicBezTo>
                  <a:cubicBezTo>
                    <a:pt x="4157" y="17435"/>
                    <a:pt x="4258" y="17408"/>
                    <a:pt x="4348" y="17353"/>
                  </a:cubicBezTo>
                  <a:lnTo>
                    <a:pt x="5164" y="16864"/>
                  </a:lnTo>
                  <a:cubicBezTo>
                    <a:pt x="5958" y="17362"/>
                    <a:pt x="6830" y="17721"/>
                    <a:pt x="7745" y="17930"/>
                  </a:cubicBezTo>
                  <a:lnTo>
                    <a:pt x="7978" y="18890"/>
                  </a:lnTo>
                  <a:cubicBezTo>
                    <a:pt x="8041" y="19147"/>
                    <a:pt x="8268" y="19325"/>
                    <a:pt x="8530" y="19325"/>
                  </a:cubicBezTo>
                  <a:lnTo>
                    <a:pt x="10795" y="19325"/>
                  </a:lnTo>
                  <a:cubicBezTo>
                    <a:pt x="11058" y="19325"/>
                    <a:pt x="11284" y="19147"/>
                    <a:pt x="11344" y="18893"/>
                  </a:cubicBezTo>
                  <a:lnTo>
                    <a:pt x="11577" y="17933"/>
                  </a:lnTo>
                  <a:cubicBezTo>
                    <a:pt x="12492" y="17721"/>
                    <a:pt x="13364" y="17362"/>
                    <a:pt x="14159" y="16864"/>
                  </a:cubicBezTo>
                  <a:lnTo>
                    <a:pt x="14977" y="17356"/>
                  </a:lnTo>
                  <a:cubicBezTo>
                    <a:pt x="15066" y="17410"/>
                    <a:pt x="15166" y="17436"/>
                    <a:pt x="15266" y="17436"/>
                  </a:cubicBezTo>
                  <a:cubicBezTo>
                    <a:pt x="15413" y="17436"/>
                    <a:pt x="15559" y="17379"/>
                    <a:pt x="15668" y="17271"/>
                  </a:cubicBezTo>
                  <a:lnTo>
                    <a:pt x="17269" y="15668"/>
                  </a:lnTo>
                  <a:cubicBezTo>
                    <a:pt x="17453" y="15484"/>
                    <a:pt x="17489" y="15200"/>
                    <a:pt x="17353" y="14977"/>
                  </a:cubicBezTo>
                  <a:lnTo>
                    <a:pt x="16864" y="14161"/>
                  </a:lnTo>
                  <a:cubicBezTo>
                    <a:pt x="17362" y="13367"/>
                    <a:pt x="17722" y="12495"/>
                    <a:pt x="17930" y="11580"/>
                  </a:cubicBezTo>
                  <a:lnTo>
                    <a:pt x="18890" y="11347"/>
                  </a:lnTo>
                  <a:cubicBezTo>
                    <a:pt x="19147" y="11284"/>
                    <a:pt x="19325" y="11057"/>
                    <a:pt x="19325" y="10795"/>
                  </a:cubicBezTo>
                  <a:lnTo>
                    <a:pt x="19325" y="8530"/>
                  </a:lnTo>
                  <a:cubicBezTo>
                    <a:pt x="19325" y="8267"/>
                    <a:pt x="19147" y="8041"/>
                    <a:pt x="18893" y="7981"/>
                  </a:cubicBezTo>
                  <a:lnTo>
                    <a:pt x="17933" y="7748"/>
                  </a:lnTo>
                  <a:cubicBezTo>
                    <a:pt x="17722" y="6833"/>
                    <a:pt x="17362" y="5961"/>
                    <a:pt x="16864" y="5166"/>
                  </a:cubicBezTo>
                  <a:lnTo>
                    <a:pt x="17356" y="4348"/>
                  </a:lnTo>
                  <a:cubicBezTo>
                    <a:pt x="17489" y="4128"/>
                    <a:pt x="17453" y="3841"/>
                    <a:pt x="17272" y="3657"/>
                  </a:cubicBezTo>
                  <a:lnTo>
                    <a:pt x="15668" y="2056"/>
                  </a:lnTo>
                  <a:cubicBezTo>
                    <a:pt x="15559" y="1947"/>
                    <a:pt x="15415" y="1890"/>
                    <a:pt x="15268" y="1890"/>
                  </a:cubicBezTo>
                  <a:cubicBezTo>
                    <a:pt x="15168" y="1890"/>
                    <a:pt x="15068" y="1917"/>
                    <a:pt x="14977" y="1972"/>
                  </a:cubicBezTo>
                  <a:lnTo>
                    <a:pt x="14162" y="2461"/>
                  </a:lnTo>
                  <a:cubicBezTo>
                    <a:pt x="13367" y="1963"/>
                    <a:pt x="12495" y="1604"/>
                    <a:pt x="11580" y="1395"/>
                  </a:cubicBezTo>
                  <a:lnTo>
                    <a:pt x="11347" y="435"/>
                  </a:lnTo>
                  <a:cubicBezTo>
                    <a:pt x="11284" y="178"/>
                    <a:pt x="11058" y="0"/>
                    <a:pt x="10795"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435D74"/>
                </a:solidFill>
                <a:latin typeface="Arial"/>
                <a:cs typeface="Arial"/>
                <a:sym typeface="Arial"/>
              </a:endParaRPr>
            </a:p>
          </p:txBody>
        </p:sp>
        <p:sp>
          <p:nvSpPr>
            <p:cNvPr id="9358" name="Google Shape;9358;p109"/>
            <p:cNvSpPr/>
            <p:nvPr/>
          </p:nvSpPr>
          <p:spPr>
            <a:xfrm>
              <a:off x="2762000" y="918475"/>
              <a:ext cx="311400" cy="311400"/>
            </a:xfrm>
            <a:custGeom>
              <a:avLst/>
              <a:gdLst/>
              <a:ahLst/>
              <a:cxnLst/>
              <a:rect l="l" t="t" r="r" b="b"/>
              <a:pathLst>
                <a:path w="12456" h="12456" extrusionOk="0">
                  <a:moveTo>
                    <a:pt x="6227" y="1133"/>
                  </a:moveTo>
                  <a:cubicBezTo>
                    <a:pt x="9038" y="1133"/>
                    <a:pt x="11323" y="3418"/>
                    <a:pt x="11323" y="6226"/>
                  </a:cubicBezTo>
                  <a:cubicBezTo>
                    <a:pt x="11323" y="9038"/>
                    <a:pt x="9038" y="11323"/>
                    <a:pt x="6227" y="11323"/>
                  </a:cubicBezTo>
                  <a:cubicBezTo>
                    <a:pt x="3419" y="11323"/>
                    <a:pt x="1133" y="9038"/>
                    <a:pt x="1133" y="6226"/>
                  </a:cubicBezTo>
                  <a:cubicBezTo>
                    <a:pt x="1133" y="3418"/>
                    <a:pt x="3419" y="1133"/>
                    <a:pt x="6227" y="1133"/>
                  </a:cubicBezTo>
                  <a:close/>
                  <a:moveTo>
                    <a:pt x="6227" y="0"/>
                  </a:moveTo>
                  <a:cubicBezTo>
                    <a:pt x="2794" y="0"/>
                    <a:pt x="1" y="2793"/>
                    <a:pt x="1" y="6226"/>
                  </a:cubicBezTo>
                  <a:cubicBezTo>
                    <a:pt x="1" y="9663"/>
                    <a:pt x="2794" y="12456"/>
                    <a:pt x="6227" y="12456"/>
                  </a:cubicBezTo>
                  <a:cubicBezTo>
                    <a:pt x="9663" y="12456"/>
                    <a:pt x="12456" y="9663"/>
                    <a:pt x="12456" y="6226"/>
                  </a:cubicBezTo>
                  <a:cubicBezTo>
                    <a:pt x="12456" y="2793"/>
                    <a:pt x="9663" y="0"/>
                    <a:pt x="6227"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435D74"/>
                </a:solidFill>
                <a:latin typeface="Arial"/>
                <a:cs typeface="Arial"/>
                <a:sym typeface="Arial"/>
              </a:endParaRPr>
            </a:p>
          </p:txBody>
        </p:sp>
        <p:sp>
          <p:nvSpPr>
            <p:cNvPr id="9359" name="Google Shape;9359;p109"/>
            <p:cNvSpPr/>
            <p:nvPr/>
          </p:nvSpPr>
          <p:spPr>
            <a:xfrm>
              <a:off x="2810775" y="975075"/>
              <a:ext cx="206025" cy="198150"/>
            </a:xfrm>
            <a:custGeom>
              <a:avLst/>
              <a:gdLst/>
              <a:ahLst/>
              <a:cxnLst/>
              <a:rect l="l" t="t" r="r" b="b"/>
              <a:pathLst>
                <a:path w="8241" h="7926" extrusionOk="0">
                  <a:moveTo>
                    <a:pt x="4275" y="1132"/>
                  </a:moveTo>
                  <a:cubicBezTo>
                    <a:pt x="4640" y="1132"/>
                    <a:pt x="5009" y="1203"/>
                    <a:pt x="5360" y="1348"/>
                  </a:cubicBezTo>
                  <a:cubicBezTo>
                    <a:pt x="6416" y="1785"/>
                    <a:pt x="7108" y="2818"/>
                    <a:pt x="7108" y="3962"/>
                  </a:cubicBezTo>
                  <a:cubicBezTo>
                    <a:pt x="7105" y="5527"/>
                    <a:pt x="5840" y="6792"/>
                    <a:pt x="4276" y="6795"/>
                  </a:cubicBezTo>
                  <a:cubicBezTo>
                    <a:pt x="3131" y="6795"/>
                    <a:pt x="2099" y="6103"/>
                    <a:pt x="1661" y="5046"/>
                  </a:cubicBezTo>
                  <a:cubicBezTo>
                    <a:pt x="1223" y="3987"/>
                    <a:pt x="1465" y="2770"/>
                    <a:pt x="2274" y="1961"/>
                  </a:cubicBezTo>
                  <a:cubicBezTo>
                    <a:pt x="2815" y="1419"/>
                    <a:pt x="3538" y="1132"/>
                    <a:pt x="4275" y="1132"/>
                  </a:cubicBezTo>
                  <a:close/>
                  <a:moveTo>
                    <a:pt x="4276" y="1"/>
                  </a:moveTo>
                  <a:cubicBezTo>
                    <a:pt x="2672" y="1"/>
                    <a:pt x="1229" y="964"/>
                    <a:pt x="613" y="2447"/>
                  </a:cubicBezTo>
                  <a:cubicBezTo>
                    <a:pt x="0" y="3926"/>
                    <a:pt x="341" y="5632"/>
                    <a:pt x="1474" y="6764"/>
                  </a:cubicBezTo>
                  <a:cubicBezTo>
                    <a:pt x="2232" y="7523"/>
                    <a:pt x="3247" y="7926"/>
                    <a:pt x="4279" y="7926"/>
                  </a:cubicBezTo>
                  <a:cubicBezTo>
                    <a:pt x="4789" y="7926"/>
                    <a:pt x="5302" y="7828"/>
                    <a:pt x="5791" y="7625"/>
                  </a:cubicBezTo>
                  <a:cubicBezTo>
                    <a:pt x="7274" y="7009"/>
                    <a:pt x="8240" y="5566"/>
                    <a:pt x="8240" y="3962"/>
                  </a:cubicBezTo>
                  <a:cubicBezTo>
                    <a:pt x="8237" y="1773"/>
                    <a:pt x="6465" y="1"/>
                    <a:pt x="4276"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435D74"/>
                </a:solidFill>
                <a:latin typeface="Arial"/>
                <a:cs typeface="Arial"/>
                <a:sym typeface="Arial"/>
              </a:endParaRPr>
            </a:p>
          </p:txBody>
        </p:sp>
      </p:grpSp>
      <p:grpSp>
        <p:nvGrpSpPr>
          <p:cNvPr id="9360" name="Google Shape;9360;p109"/>
          <p:cNvGrpSpPr/>
          <p:nvPr/>
        </p:nvGrpSpPr>
        <p:grpSpPr>
          <a:xfrm>
            <a:off x="3356636" y="3608999"/>
            <a:ext cx="468813" cy="453557"/>
            <a:chOff x="3270550" y="832575"/>
            <a:chExt cx="499375" cy="483125"/>
          </a:xfrm>
        </p:grpSpPr>
        <p:sp>
          <p:nvSpPr>
            <p:cNvPr id="9361" name="Google Shape;9361;p109"/>
            <p:cNvSpPr/>
            <p:nvPr/>
          </p:nvSpPr>
          <p:spPr>
            <a:xfrm>
              <a:off x="3270550" y="865975"/>
              <a:ext cx="463725" cy="449725"/>
            </a:xfrm>
            <a:custGeom>
              <a:avLst/>
              <a:gdLst/>
              <a:ahLst/>
              <a:cxnLst/>
              <a:rect l="l" t="t" r="r" b="b"/>
              <a:pathLst>
                <a:path w="18549" h="17989" extrusionOk="0">
                  <a:moveTo>
                    <a:pt x="4823" y="1361"/>
                  </a:moveTo>
                  <a:lnTo>
                    <a:pt x="9177" y="8619"/>
                  </a:lnTo>
                  <a:cubicBezTo>
                    <a:pt x="9237" y="8716"/>
                    <a:pt x="9325" y="8794"/>
                    <a:pt x="9427" y="8843"/>
                  </a:cubicBezTo>
                  <a:lnTo>
                    <a:pt x="17136" y="12345"/>
                  </a:lnTo>
                  <a:cubicBezTo>
                    <a:pt x="15653" y="15102"/>
                    <a:pt x="12779" y="16856"/>
                    <a:pt x="9663" y="16856"/>
                  </a:cubicBezTo>
                  <a:cubicBezTo>
                    <a:pt x="4958" y="16856"/>
                    <a:pt x="1133" y="13031"/>
                    <a:pt x="1133" y="8326"/>
                  </a:cubicBezTo>
                  <a:cubicBezTo>
                    <a:pt x="1133" y="5573"/>
                    <a:pt x="2534" y="2952"/>
                    <a:pt x="4823" y="1361"/>
                  </a:cubicBezTo>
                  <a:close/>
                  <a:moveTo>
                    <a:pt x="5005" y="0"/>
                  </a:moveTo>
                  <a:cubicBezTo>
                    <a:pt x="4907" y="0"/>
                    <a:pt x="4807" y="26"/>
                    <a:pt x="4717" y="80"/>
                  </a:cubicBezTo>
                  <a:cubicBezTo>
                    <a:pt x="3313" y="926"/>
                    <a:pt x="2141" y="2106"/>
                    <a:pt x="1311" y="3516"/>
                  </a:cubicBezTo>
                  <a:cubicBezTo>
                    <a:pt x="453" y="4975"/>
                    <a:pt x="1" y="6636"/>
                    <a:pt x="1" y="8326"/>
                  </a:cubicBezTo>
                  <a:cubicBezTo>
                    <a:pt x="1" y="10896"/>
                    <a:pt x="1009" y="13321"/>
                    <a:pt x="2839" y="15150"/>
                  </a:cubicBezTo>
                  <a:cubicBezTo>
                    <a:pt x="4669" y="16980"/>
                    <a:pt x="7093" y="17989"/>
                    <a:pt x="9663" y="17989"/>
                  </a:cubicBezTo>
                  <a:cubicBezTo>
                    <a:pt x="13410" y="17989"/>
                    <a:pt x="16846" y="15757"/>
                    <a:pt x="18419" y="12306"/>
                  </a:cubicBezTo>
                  <a:cubicBezTo>
                    <a:pt x="18549" y="12022"/>
                    <a:pt x="18422" y="11687"/>
                    <a:pt x="18138" y="11557"/>
                  </a:cubicBezTo>
                  <a:lnTo>
                    <a:pt x="10058" y="7886"/>
                  </a:lnTo>
                  <a:lnTo>
                    <a:pt x="5493" y="277"/>
                  </a:lnTo>
                  <a:cubicBezTo>
                    <a:pt x="5387" y="99"/>
                    <a:pt x="5198" y="0"/>
                    <a:pt x="5005"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435D74"/>
                </a:solidFill>
                <a:latin typeface="Arial"/>
                <a:cs typeface="Arial"/>
                <a:sym typeface="Arial"/>
              </a:endParaRPr>
            </a:p>
          </p:txBody>
        </p:sp>
        <p:sp>
          <p:nvSpPr>
            <p:cNvPr id="9362" name="Google Shape;9362;p109"/>
            <p:cNvSpPr/>
            <p:nvPr/>
          </p:nvSpPr>
          <p:spPr>
            <a:xfrm>
              <a:off x="3562600" y="876075"/>
              <a:ext cx="207325" cy="241775"/>
            </a:xfrm>
            <a:custGeom>
              <a:avLst/>
              <a:gdLst/>
              <a:ahLst/>
              <a:cxnLst/>
              <a:rect l="l" t="t" r="r" b="b"/>
              <a:pathLst>
                <a:path w="8293" h="9671" extrusionOk="0">
                  <a:moveTo>
                    <a:pt x="4204" y="1437"/>
                  </a:moveTo>
                  <a:cubicBezTo>
                    <a:pt x="5680" y="2826"/>
                    <a:pt x="6517" y="4764"/>
                    <a:pt x="6511" y="6790"/>
                  </a:cubicBezTo>
                  <a:cubicBezTo>
                    <a:pt x="6511" y="7300"/>
                    <a:pt x="6459" y="7811"/>
                    <a:pt x="6354" y="8309"/>
                  </a:cubicBezTo>
                  <a:lnTo>
                    <a:pt x="1468" y="6090"/>
                  </a:lnTo>
                  <a:lnTo>
                    <a:pt x="4204" y="1437"/>
                  </a:lnTo>
                  <a:close/>
                  <a:moveTo>
                    <a:pt x="4060" y="1"/>
                  </a:moveTo>
                  <a:cubicBezTo>
                    <a:pt x="3867" y="1"/>
                    <a:pt x="3677" y="99"/>
                    <a:pt x="3570" y="280"/>
                  </a:cubicBezTo>
                  <a:lnTo>
                    <a:pt x="173" y="6056"/>
                  </a:lnTo>
                  <a:cubicBezTo>
                    <a:pt x="1" y="6346"/>
                    <a:pt x="119" y="6721"/>
                    <a:pt x="427" y="6860"/>
                  </a:cubicBezTo>
                  <a:lnTo>
                    <a:pt x="6499" y="9622"/>
                  </a:lnTo>
                  <a:cubicBezTo>
                    <a:pt x="6574" y="9656"/>
                    <a:pt x="6653" y="9671"/>
                    <a:pt x="6734" y="9671"/>
                  </a:cubicBezTo>
                  <a:cubicBezTo>
                    <a:pt x="6982" y="9671"/>
                    <a:pt x="7202" y="9508"/>
                    <a:pt x="7275" y="9269"/>
                  </a:cubicBezTo>
                  <a:cubicBezTo>
                    <a:pt x="8292" y="5921"/>
                    <a:pt x="7157" y="2291"/>
                    <a:pt x="4409" y="123"/>
                  </a:cubicBezTo>
                  <a:cubicBezTo>
                    <a:pt x="4305" y="40"/>
                    <a:pt x="4182" y="1"/>
                    <a:pt x="4060"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435D74"/>
                </a:solidFill>
                <a:latin typeface="Arial"/>
                <a:cs typeface="Arial"/>
                <a:sym typeface="Arial"/>
              </a:endParaRPr>
            </a:p>
          </p:txBody>
        </p:sp>
        <p:sp>
          <p:nvSpPr>
            <p:cNvPr id="9363" name="Google Shape;9363;p109"/>
            <p:cNvSpPr/>
            <p:nvPr/>
          </p:nvSpPr>
          <p:spPr>
            <a:xfrm>
              <a:off x="3443500" y="832575"/>
              <a:ext cx="187300" cy="173625"/>
            </a:xfrm>
            <a:custGeom>
              <a:avLst/>
              <a:gdLst/>
              <a:ahLst/>
              <a:cxnLst/>
              <a:rect l="l" t="t" r="r" b="b"/>
              <a:pathLst>
                <a:path w="7492" h="6945" extrusionOk="0">
                  <a:moveTo>
                    <a:pt x="3877" y="1133"/>
                  </a:moveTo>
                  <a:cubicBezTo>
                    <a:pt x="4588" y="1133"/>
                    <a:pt x="5300" y="1235"/>
                    <a:pt x="5991" y="1440"/>
                  </a:cubicBezTo>
                  <a:lnTo>
                    <a:pt x="3735" y="5269"/>
                  </a:lnTo>
                  <a:lnTo>
                    <a:pt x="1492" y="1528"/>
                  </a:lnTo>
                  <a:cubicBezTo>
                    <a:pt x="2264" y="1265"/>
                    <a:pt x="3070" y="1133"/>
                    <a:pt x="3877" y="1133"/>
                  </a:cubicBezTo>
                  <a:close/>
                  <a:moveTo>
                    <a:pt x="3877" y="0"/>
                  </a:moveTo>
                  <a:cubicBezTo>
                    <a:pt x="2702" y="0"/>
                    <a:pt x="1528" y="243"/>
                    <a:pt x="432" y="728"/>
                  </a:cubicBezTo>
                  <a:cubicBezTo>
                    <a:pt x="121" y="867"/>
                    <a:pt x="0" y="1244"/>
                    <a:pt x="175" y="1537"/>
                  </a:cubicBezTo>
                  <a:lnTo>
                    <a:pt x="3255" y="6670"/>
                  </a:lnTo>
                  <a:cubicBezTo>
                    <a:pt x="3358" y="6839"/>
                    <a:pt x="3542" y="6945"/>
                    <a:pt x="3741" y="6945"/>
                  </a:cubicBezTo>
                  <a:lnTo>
                    <a:pt x="3744" y="6945"/>
                  </a:lnTo>
                  <a:cubicBezTo>
                    <a:pt x="3943" y="6945"/>
                    <a:pt x="4128" y="6839"/>
                    <a:pt x="4230" y="6667"/>
                  </a:cubicBezTo>
                  <a:lnTo>
                    <a:pt x="7313" y="1419"/>
                  </a:lnTo>
                  <a:cubicBezTo>
                    <a:pt x="7491" y="1120"/>
                    <a:pt x="7358" y="737"/>
                    <a:pt x="7038" y="607"/>
                  </a:cubicBezTo>
                  <a:cubicBezTo>
                    <a:pt x="6023" y="202"/>
                    <a:pt x="4950" y="0"/>
                    <a:pt x="3877"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435D74"/>
                </a:solidFill>
                <a:latin typeface="Arial"/>
                <a:cs typeface="Arial"/>
                <a:sym typeface="Arial"/>
              </a:endParaRPr>
            </a:p>
          </p:txBody>
        </p:sp>
      </p:grpSp>
      <p:grpSp>
        <p:nvGrpSpPr>
          <p:cNvPr id="9364" name="Google Shape;9364;p109"/>
          <p:cNvGrpSpPr/>
          <p:nvPr/>
        </p:nvGrpSpPr>
        <p:grpSpPr>
          <a:xfrm>
            <a:off x="3914342" y="3623175"/>
            <a:ext cx="453581" cy="425205"/>
            <a:chOff x="3865000" y="847675"/>
            <a:chExt cx="483150" cy="452925"/>
          </a:xfrm>
        </p:grpSpPr>
        <p:sp>
          <p:nvSpPr>
            <p:cNvPr id="9365" name="Google Shape;9365;p109"/>
            <p:cNvSpPr/>
            <p:nvPr/>
          </p:nvSpPr>
          <p:spPr>
            <a:xfrm>
              <a:off x="3865000" y="847675"/>
              <a:ext cx="483150" cy="452925"/>
            </a:xfrm>
            <a:custGeom>
              <a:avLst/>
              <a:gdLst/>
              <a:ahLst/>
              <a:cxnLst/>
              <a:rect l="l" t="t" r="r" b="b"/>
              <a:pathLst>
                <a:path w="19326" h="18117" extrusionOk="0">
                  <a:moveTo>
                    <a:pt x="9627" y="1132"/>
                  </a:moveTo>
                  <a:cubicBezTo>
                    <a:pt x="14349" y="1132"/>
                    <a:pt x="18193" y="4436"/>
                    <a:pt x="18193" y="8494"/>
                  </a:cubicBezTo>
                  <a:cubicBezTo>
                    <a:pt x="18193" y="12552"/>
                    <a:pt x="14349" y="15852"/>
                    <a:pt x="9627" y="15852"/>
                  </a:cubicBezTo>
                  <a:cubicBezTo>
                    <a:pt x="9619" y="15852"/>
                    <a:pt x="9611" y="15852"/>
                    <a:pt x="9603" y="15852"/>
                  </a:cubicBezTo>
                  <a:cubicBezTo>
                    <a:pt x="8397" y="15852"/>
                    <a:pt x="7207" y="15626"/>
                    <a:pt x="6088" y="15185"/>
                  </a:cubicBezTo>
                  <a:cubicBezTo>
                    <a:pt x="6019" y="15158"/>
                    <a:pt x="5947" y="15144"/>
                    <a:pt x="5876" y="15144"/>
                  </a:cubicBezTo>
                  <a:cubicBezTo>
                    <a:pt x="5720" y="15144"/>
                    <a:pt x="5568" y="15208"/>
                    <a:pt x="5460" y="15327"/>
                  </a:cubicBezTo>
                  <a:cubicBezTo>
                    <a:pt x="4780" y="16070"/>
                    <a:pt x="3896" y="16595"/>
                    <a:pt x="2917" y="16837"/>
                  </a:cubicBezTo>
                  <a:cubicBezTo>
                    <a:pt x="3461" y="15801"/>
                    <a:pt x="3582" y="14593"/>
                    <a:pt x="3262" y="13467"/>
                  </a:cubicBezTo>
                  <a:cubicBezTo>
                    <a:pt x="3238" y="13379"/>
                    <a:pt x="3189" y="13295"/>
                    <a:pt x="3126" y="13228"/>
                  </a:cubicBezTo>
                  <a:cubicBezTo>
                    <a:pt x="1843" y="11906"/>
                    <a:pt x="1133" y="10224"/>
                    <a:pt x="1133" y="8494"/>
                  </a:cubicBezTo>
                  <a:cubicBezTo>
                    <a:pt x="1133" y="4436"/>
                    <a:pt x="4944" y="1132"/>
                    <a:pt x="9627" y="1132"/>
                  </a:cubicBezTo>
                  <a:close/>
                  <a:moveTo>
                    <a:pt x="9627" y="0"/>
                  </a:moveTo>
                  <a:cubicBezTo>
                    <a:pt x="7066" y="0"/>
                    <a:pt x="4663" y="876"/>
                    <a:pt x="2848" y="2461"/>
                  </a:cubicBezTo>
                  <a:cubicBezTo>
                    <a:pt x="1012" y="4067"/>
                    <a:pt x="1" y="6211"/>
                    <a:pt x="1" y="8494"/>
                  </a:cubicBezTo>
                  <a:cubicBezTo>
                    <a:pt x="1" y="10472"/>
                    <a:pt x="783" y="12389"/>
                    <a:pt x="2208" y="13908"/>
                  </a:cubicBezTo>
                  <a:cubicBezTo>
                    <a:pt x="2492" y="15073"/>
                    <a:pt x="2148" y="16302"/>
                    <a:pt x="1299" y="17151"/>
                  </a:cubicBezTo>
                  <a:cubicBezTo>
                    <a:pt x="943" y="17507"/>
                    <a:pt x="1193" y="18117"/>
                    <a:pt x="1701" y="18117"/>
                  </a:cubicBezTo>
                  <a:cubicBezTo>
                    <a:pt x="3313" y="18114"/>
                    <a:pt x="4862" y="17489"/>
                    <a:pt x="6024" y="16372"/>
                  </a:cubicBezTo>
                  <a:cubicBezTo>
                    <a:pt x="7173" y="16776"/>
                    <a:pt x="8380" y="16985"/>
                    <a:pt x="9600" y="16985"/>
                  </a:cubicBezTo>
                  <a:cubicBezTo>
                    <a:pt x="9609" y="16985"/>
                    <a:pt x="9618" y="16985"/>
                    <a:pt x="9627" y="16985"/>
                  </a:cubicBezTo>
                  <a:cubicBezTo>
                    <a:pt x="12184" y="16985"/>
                    <a:pt x="14606" y="16112"/>
                    <a:pt x="16439" y="14524"/>
                  </a:cubicBezTo>
                  <a:cubicBezTo>
                    <a:pt x="18302" y="12914"/>
                    <a:pt x="19325" y="10773"/>
                    <a:pt x="19325" y="8494"/>
                  </a:cubicBezTo>
                  <a:cubicBezTo>
                    <a:pt x="19325" y="6211"/>
                    <a:pt x="18302" y="4070"/>
                    <a:pt x="16439" y="2461"/>
                  </a:cubicBezTo>
                  <a:cubicBezTo>
                    <a:pt x="14606" y="873"/>
                    <a:pt x="12184" y="0"/>
                    <a:pt x="9627"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435D74"/>
                </a:solidFill>
                <a:latin typeface="Arial"/>
                <a:cs typeface="Arial"/>
                <a:sym typeface="Arial"/>
              </a:endParaRPr>
            </a:p>
          </p:txBody>
        </p:sp>
        <p:sp>
          <p:nvSpPr>
            <p:cNvPr id="9366" name="Google Shape;9366;p109"/>
            <p:cNvSpPr/>
            <p:nvPr/>
          </p:nvSpPr>
          <p:spPr>
            <a:xfrm>
              <a:off x="4173600" y="1029775"/>
              <a:ext cx="78450" cy="75550"/>
            </a:xfrm>
            <a:custGeom>
              <a:avLst/>
              <a:gdLst/>
              <a:ahLst/>
              <a:cxnLst/>
              <a:rect l="l" t="t" r="r" b="b"/>
              <a:pathLst>
                <a:path w="3138" h="3022" extrusionOk="0">
                  <a:moveTo>
                    <a:pt x="1510" y="1134"/>
                  </a:moveTo>
                  <a:cubicBezTo>
                    <a:pt x="1845" y="1134"/>
                    <a:pt x="2014" y="1539"/>
                    <a:pt x="1776" y="1777"/>
                  </a:cubicBezTo>
                  <a:cubicBezTo>
                    <a:pt x="1698" y="1855"/>
                    <a:pt x="1604" y="1889"/>
                    <a:pt x="1511" y="1889"/>
                  </a:cubicBezTo>
                  <a:cubicBezTo>
                    <a:pt x="1318" y="1889"/>
                    <a:pt x="1132" y="1738"/>
                    <a:pt x="1132" y="1512"/>
                  </a:cubicBezTo>
                  <a:cubicBezTo>
                    <a:pt x="1132" y="1300"/>
                    <a:pt x="1299" y="1134"/>
                    <a:pt x="1510" y="1134"/>
                  </a:cubicBezTo>
                  <a:close/>
                  <a:moveTo>
                    <a:pt x="1509" y="1"/>
                  </a:moveTo>
                  <a:cubicBezTo>
                    <a:pt x="1314" y="1"/>
                    <a:pt x="1118" y="39"/>
                    <a:pt x="930" y="117"/>
                  </a:cubicBezTo>
                  <a:cubicBezTo>
                    <a:pt x="366" y="349"/>
                    <a:pt x="0" y="899"/>
                    <a:pt x="0" y="1512"/>
                  </a:cubicBezTo>
                  <a:cubicBezTo>
                    <a:pt x="0" y="2345"/>
                    <a:pt x="674" y="3021"/>
                    <a:pt x="1510" y="3021"/>
                  </a:cubicBezTo>
                  <a:cubicBezTo>
                    <a:pt x="2120" y="3021"/>
                    <a:pt x="2669" y="2653"/>
                    <a:pt x="2902" y="2088"/>
                  </a:cubicBezTo>
                  <a:cubicBezTo>
                    <a:pt x="3137" y="1524"/>
                    <a:pt x="3008" y="875"/>
                    <a:pt x="2576" y="443"/>
                  </a:cubicBezTo>
                  <a:cubicBezTo>
                    <a:pt x="2287" y="154"/>
                    <a:pt x="1902" y="1"/>
                    <a:pt x="1509"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435D74"/>
                </a:solidFill>
                <a:latin typeface="Arial"/>
                <a:cs typeface="Arial"/>
                <a:sym typeface="Arial"/>
              </a:endParaRPr>
            </a:p>
          </p:txBody>
        </p:sp>
        <p:sp>
          <p:nvSpPr>
            <p:cNvPr id="9367" name="Google Shape;9367;p109"/>
            <p:cNvSpPr/>
            <p:nvPr/>
          </p:nvSpPr>
          <p:spPr>
            <a:xfrm>
              <a:off x="4068825" y="1029775"/>
              <a:ext cx="78450" cy="75550"/>
            </a:xfrm>
            <a:custGeom>
              <a:avLst/>
              <a:gdLst/>
              <a:ahLst/>
              <a:cxnLst/>
              <a:rect l="l" t="t" r="r" b="b"/>
              <a:pathLst>
                <a:path w="3138" h="3022" extrusionOk="0">
                  <a:moveTo>
                    <a:pt x="1510" y="1134"/>
                  </a:moveTo>
                  <a:cubicBezTo>
                    <a:pt x="1845" y="1134"/>
                    <a:pt x="2014" y="1539"/>
                    <a:pt x="1776" y="1777"/>
                  </a:cubicBezTo>
                  <a:cubicBezTo>
                    <a:pt x="1699" y="1855"/>
                    <a:pt x="1605" y="1889"/>
                    <a:pt x="1513" y="1889"/>
                  </a:cubicBezTo>
                  <a:cubicBezTo>
                    <a:pt x="1319" y="1889"/>
                    <a:pt x="1132" y="1738"/>
                    <a:pt x="1132" y="1512"/>
                  </a:cubicBezTo>
                  <a:cubicBezTo>
                    <a:pt x="1132" y="1300"/>
                    <a:pt x="1302" y="1134"/>
                    <a:pt x="1510" y="1134"/>
                  </a:cubicBezTo>
                  <a:close/>
                  <a:moveTo>
                    <a:pt x="1511" y="1"/>
                  </a:moveTo>
                  <a:cubicBezTo>
                    <a:pt x="1316" y="1"/>
                    <a:pt x="1120" y="39"/>
                    <a:pt x="933" y="117"/>
                  </a:cubicBezTo>
                  <a:cubicBezTo>
                    <a:pt x="369" y="349"/>
                    <a:pt x="0" y="899"/>
                    <a:pt x="0" y="1512"/>
                  </a:cubicBezTo>
                  <a:cubicBezTo>
                    <a:pt x="0" y="2345"/>
                    <a:pt x="677" y="3021"/>
                    <a:pt x="1510" y="3021"/>
                  </a:cubicBezTo>
                  <a:cubicBezTo>
                    <a:pt x="2120" y="3021"/>
                    <a:pt x="2672" y="2653"/>
                    <a:pt x="2905" y="2088"/>
                  </a:cubicBezTo>
                  <a:cubicBezTo>
                    <a:pt x="3137" y="1524"/>
                    <a:pt x="3011" y="875"/>
                    <a:pt x="2579" y="443"/>
                  </a:cubicBezTo>
                  <a:cubicBezTo>
                    <a:pt x="2290" y="154"/>
                    <a:pt x="1903" y="1"/>
                    <a:pt x="1511"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435D74"/>
                </a:solidFill>
                <a:latin typeface="Arial"/>
                <a:cs typeface="Arial"/>
                <a:sym typeface="Arial"/>
              </a:endParaRPr>
            </a:p>
          </p:txBody>
        </p:sp>
        <p:sp>
          <p:nvSpPr>
            <p:cNvPr id="9368" name="Google Shape;9368;p109"/>
            <p:cNvSpPr/>
            <p:nvPr/>
          </p:nvSpPr>
          <p:spPr>
            <a:xfrm>
              <a:off x="3964125" y="1029775"/>
              <a:ext cx="78450" cy="75550"/>
            </a:xfrm>
            <a:custGeom>
              <a:avLst/>
              <a:gdLst/>
              <a:ahLst/>
              <a:cxnLst/>
              <a:rect l="l" t="t" r="r" b="b"/>
              <a:pathLst>
                <a:path w="3138" h="3022" extrusionOk="0">
                  <a:moveTo>
                    <a:pt x="1510" y="1134"/>
                  </a:moveTo>
                  <a:cubicBezTo>
                    <a:pt x="1845" y="1134"/>
                    <a:pt x="2014" y="1539"/>
                    <a:pt x="1776" y="1777"/>
                  </a:cubicBezTo>
                  <a:cubicBezTo>
                    <a:pt x="1698" y="1855"/>
                    <a:pt x="1604" y="1889"/>
                    <a:pt x="1511" y="1889"/>
                  </a:cubicBezTo>
                  <a:cubicBezTo>
                    <a:pt x="1318" y="1889"/>
                    <a:pt x="1133" y="1738"/>
                    <a:pt x="1133" y="1512"/>
                  </a:cubicBezTo>
                  <a:cubicBezTo>
                    <a:pt x="1133" y="1300"/>
                    <a:pt x="1299" y="1134"/>
                    <a:pt x="1510" y="1134"/>
                  </a:cubicBezTo>
                  <a:close/>
                  <a:moveTo>
                    <a:pt x="1509" y="1"/>
                  </a:moveTo>
                  <a:cubicBezTo>
                    <a:pt x="1314" y="1"/>
                    <a:pt x="1118" y="39"/>
                    <a:pt x="930" y="117"/>
                  </a:cubicBezTo>
                  <a:cubicBezTo>
                    <a:pt x="366" y="349"/>
                    <a:pt x="0" y="899"/>
                    <a:pt x="0" y="1512"/>
                  </a:cubicBezTo>
                  <a:cubicBezTo>
                    <a:pt x="0" y="2345"/>
                    <a:pt x="674" y="3021"/>
                    <a:pt x="1510" y="3021"/>
                  </a:cubicBezTo>
                  <a:cubicBezTo>
                    <a:pt x="2120" y="3021"/>
                    <a:pt x="2669" y="2653"/>
                    <a:pt x="2902" y="2088"/>
                  </a:cubicBezTo>
                  <a:cubicBezTo>
                    <a:pt x="3137" y="1524"/>
                    <a:pt x="3008" y="875"/>
                    <a:pt x="2576" y="443"/>
                  </a:cubicBezTo>
                  <a:cubicBezTo>
                    <a:pt x="2287" y="154"/>
                    <a:pt x="1902" y="1"/>
                    <a:pt x="1509"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435D74"/>
                </a:solidFill>
                <a:latin typeface="Arial"/>
                <a:cs typeface="Arial"/>
                <a:sym typeface="Arial"/>
              </a:endParaRPr>
            </a:p>
          </p:txBody>
        </p:sp>
      </p:grpSp>
      <p:grpSp>
        <p:nvGrpSpPr>
          <p:cNvPr id="9369" name="Google Shape;9369;p109"/>
          <p:cNvGrpSpPr/>
          <p:nvPr/>
        </p:nvGrpSpPr>
        <p:grpSpPr>
          <a:xfrm>
            <a:off x="4468585" y="3636400"/>
            <a:ext cx="459731" cy="398755"/>
            <a:chOff x="4452900" y="861750"/>
            <a:chExt cx="489700" cy="424750"/>
          </a:xfrm>
        </p:grpSpPr>
        <p:sp>
          <p:nvSpPr>
            <p:cNvPr id="9370" name="Google Shape;9370;p109"/>
            <p:cNvSpPr/>
            <p:nvPr/>
          </p:nvSpPr>
          <p:spPr>
            <a:xfrm>
              <a:off x="4452900" y="861750"/>
              <a:ext cx="489700" cy="424750"/>
            </a:xfrm>
            <a:custGeom>
              <a:avLst/>
              <a:gdLst/>
              <a:ahLst/>
              <a:cxnLst/>
              <a:rect l="l" t="t" r="r" b="b"/>
              <a:pathLst>
                <a:path w="19588" h="16990" extrusionOk="0">
                  <a:moveTo>
                    <a:pt x="3660" y="1137"/>
                  </a:moveTo>
                  <a:cubicBezTo>
                    <a:pt x="4575" y="1137"/>
                    <a:pt x="5402" y="1687"/>
                    <a:pt x="5752" y="2532"/>
                  </a:cubicBezTo>
                  <a:cubicBezTo>
                    <a:pt x="6102" y="3380"/>
                    <a:pt x="5909" y="4353"/>
                    <a:pt x="5260" y="5002"/>
                  </a:cubicBezTo>
                  <a:cubicBezTo>
                    <a:pt x="4828" y="5434"/>
                    <a:pt x="4249" y="5664"/>
                    <a:pt x="3660" y="5664"/>
                  </a:cubicBezTo>
                  <a:cubicBezTo>
                    <a:pt x="3368" y="5664"/>
                    <a:pt x="3073" y="5607"/>
                    <a:pt x="2793" y="5491"/>
                  </a:cubicBezTo>
                  <a:cubicBezTo>
                    <a:pt x="1948" y="5141"/>
                    <a:pt x="1395" y="4317"/>
                    <a:pt x="1395" y="3402"/>
                  </a:cubicBezTo>
                  <a:cubicBezTo>
                    <a:pt x="1395" y="2149"/>
                    <a:pt x="2410" y="1137"/>
                    <a:pt x="3660" y="1137"/>
                  </a:cubicBezTo>
                  <a:close/>
                  <a:moveTo>
                    <a:pt x="10453" y="1137"/>
                  </a:moveTo>
                  <a:cubicBezTo>
                    <a:pt x="11043" y="1137"/>
                    <a:pt x="11622" y="1366"/>
                    <a:pt x="12054" y="1798"/>
                  </a:cubicBezTo>
                  <a:cubicBezTo>
                    <a:pt x="12703" y="2447"/>
                    <a:pt x="12896" y="3420"/>
                    <a:pt x="12546" y="4268"/>
                  </a:cubicBezTo>
                  <a:cubicBezTo>
                    <a:pt x="12196" y="5114"/>
                    <a:pt x="11368" y="5666"/>
                    <a:pt x="10453" y="5666"/>
                  </a:cubicBezTo>
                  <a:cubicBezTo>
                    <a:pt x="9203" y="5663"/>
                    <a:pt x="8189" y="4652"/>
                    <a:pt x="8189" y="3402"/>
                  </a:cubicBezTo>
                  <a:cubicBezTo>
                    <a:pt x="8189" y="2484"/>
                    <a:pt x="8741" y="1659"/>
                    <a:pt x="9587" y="1309"/>
                  </a:cubicBezTo>
                  <a:cubicBezTo>
                    <a:pt x="9867" y="1193"/>
                    <a:pt x="10161" y="1137"/>
                    <a:pt x="10453" y="1137"/>
                  </a:cubicBezTo>
                  <a:close/>
                  <a:moveTo>
                    <a:pt x="14983" y="9063"/>
                  </a:moveTo>
                  <a:lnTo>
                    <a:pt x="14983" y="13592"/>
                  </a:lnTo>
                  <a:lnTo>
                    <a:pt x="13850" y="13592"/>
                  </a:lnTo>
                  <a:lnTo>
                    <a:pt x="13850" y="9063"/>
                  </a:lnTo>
                  <a:close/>
                  <a:moveTo>
                    <a:pt x="18455" y="7276"/>
                  </a:moveTo>
                  <a:lnTo>
                    <a:pt x="18455" y="15377"/>
                  </a:lnTo>
                  <a:lnTo>
                    <a:pt x="16115" y="13849"/>
                  </a:lnTo>
                  <a:lnTo>
                    <a:pt x="16115" y="8803"/>
                  </a:lnTo>
                  <a:lnTo>
                    <a:pt x="18455" y="7276"/>
                  </a:lnTo>
                  <a:close/>
                  <a:moveTo>
                    <a:pt x="12153" y="6799"/>
                  </a:moveTo>
                  <a:cubicBezTo>
                    <a:pt x="12464" y="6799"/>
                    <a:pt x="12718" y="7049"/>
                    <a:pt x="12718" y="7363"/>
                  </a:cubicBezTo>
                  <a:lnTo>
                    <a:pt x="12718" y="15289"/>
                  </a:lnTo>
                  <a:cubicBezTo>
                    <a:pt x="12718" y="15603"/>
                    <a:pt x="12464" y="15857"/>
                    <a:pt x="12153" y="15857"/>
                  </a:cubicBezTo>
                  <a:lnTo>
                    <a:pt x="1963" y="15857"/>
                  </a:lnTo>
                  <a:cubicBezTo>
                    <a:pt x="1649" y="15857"/>
                    <a:pt x="1395" y="15603"/>
                    <a:pt x="1395" y="15289"/>
                  </a:cubicBezTo>
                  <a:lnTo>
                    <a:pt x="1395" y="7363"/>
                  </a:lnTo>
                  <a:cubicBezTo>
                    <a:pt x="1395" y="7049"/>
                    <a:pt x="1649" y="6799"/>
                    <a:pt x="1963" y="6799"/>
                  </a:cubicBezTo>
                  <a:close/>
                  <a:moveTo>
                    <a:pt x="3656" y="0"/>
                  </a:moveTo>
                  <a:cubicBezTo>
                    <a:pt x="3623" y="0"/>
                    <a:pt x="3590" y="1"/>
                    <a:pt x="3557" y="2"/>
                  </a:cubicBezTo>
                  <a:cubicBezTo>
                    <a:pt x="2198" y="44"/>
                    <a:pt x="997" y="889"/>
                    <a:pt x="498" y="2155"/>
                  </a:cubicBezTo>
                  <a:cubicBezTo>
                    <a:pt x="0" y="3417"/>
                    <a:pt x="305" y="4857"/>
                    <a:pt x="1271" y="5811"/>
                  </a:cubicBezTo>
                  <a:cubicBezTo>
                    <a:pt x="658" y="6086"/>
                    <a:pt x="263" y="6693"/>
                    <a:pt x="263" y="7363"/>
                  </a:cubicBezTo>
                  <a:lnTo>
                    <a:pt x="263" y="15289"/>
                  </a:lnTo>
                  <a:cubicBezTo>
                    <a:pt x="263" y="16228"/>
                    <a:pt x="1024" y="16986"/>
                    <a:pt x="1963" y="16989"/>
                  </a:cubicBezTo>
                  <a:lnTo>
                    <a:pt x="12153" y="16989"/>
                  </a:lnTo>
                  <a:cubicBezTo>
                    <a:pt x="13089" y="16986"/>
                    <a:pt x="13850" y="16228"/>
                    <a:pt x="13850" y="15289"/>
                  </a:cubicBezTo>
                  <a:lnTo>
                    <a:pt x="13850" y="14725"/>
                  </a:lnTo>
                  <a:lnTo>
                    <a:pt x="15381" y="14725"/>
                  </a:lnTo>
                  <a:lnTo>
                    <a:pt x="18712" y="16896"/>
                  </a:lnTo>
                  <a:cubicBezTo>
                    <a:pt x="18810" y="16959"/>
                    <a:pt x="18916" y="16988"/>
                    <a:pt x="19020" y="16988"/>
                  </a:cubicBezTo>
                  <a:cubicBezTo>
                    <a:pt x="19315" y="16988"/>
                    <a:pt x="19587" y="16754"/>
                    <a:pt x="19587" y="16422"/>
                  </a:cubicBezTo>
                  <a:lnTo>
                    <a:pt x="19587" y="6231"/>
                  </a:lnTo>
                  <a:cubicBezTo>
                    <a:pt x="19587" y="6023"/>
                    <a:pt x="19473" y="5832"/>
                    <a:pt x="19291" y="5733"/>
                  </a:cubicBezTo>
                  <a:cubicBezTo>
                    <a:pt x="19206" y="5687"/>
                    <a:pt x="19114" y="5664"/>
                    <a:pt x="19021" y="5664"/>
                  </a:cubicBezTo>
                  <a:cubicBezTo>
                    <a:pt x="18913" y="5664"/>
                    <a:pt x="18806" y="5695"/>
                    <a:pt x="18712" y="5757"/>
                  </a:cubicBezTo>
                  <a:lnTo>
                    <a:pt x="15381" y="7931"/>
                  </a:lnTo>
                  <a:lnTo>
                    <a:pt x="13850" y="7931"/>
                  </a:lnTo>
                  <a:lnTo>
                    <a:pt x="13850" y="7363"/>
                  </a:lnTo>
                  <a:cubicBezTo>
                    <a:pt x="13850" y="6693"/>
                    <a:pt x="13455" y="6086"/>
                    <a:pt x="12842" y="5811"/>
                  </a:cubicBezTo>
                  <a:cubicBezTo>
                    <a:pt x="13808" y="4857"/>
                    <a:pt x="14113" y="3417"/>
                    <a:pt x="13615" y="2155"/>
                  </a:cubicBezTo>
                  <a:cubicBezTo>
                    <a:pt x="13117" y="889"/>
                    <a:pt x="11915" y="44"/>
                    <a:pt x="10556" y="2"/>
                  </a:cubicBezTo>
                  <a:cubicBezTo>
                    <a:pt x="10523" y="1"/>
                    <a:pt x="10490" y="0"/>
                    <a:pt x="10457" y="0"/>
                  </a:cubicBezTo>
                  <a:cubicBezTo>
                    <a:pt x="9137" y="0"/>
                    <a:pt x="7933" y="763"/>
                    <a:pt x="7374" y="1967"/>
                  </a:cubicBezTo>
                  <a:cubicBezTo>
                    <a:pt x="6800" y="3199"/>
                    <a:pt x="7017" y="4652"/>
                    <a:pt x="7926" y="5666"/>
                  </a:cubicBezTo>
                  <a:lnTo>
                    <a:pt x="6190" y="5666"/>
                  </a:lnTo>
                  <a:cubicBezTo>
                    <a:pt x="7096" y="4652"/>
                    <a:pt x="7313" y="3199"/>
                    <a:pt x="6740" y="1967"/>
                  </a:cubicBezTo>
                  <a:cubicBezTo>
                    <a:pt x="6180" y="763"/>
                    <a:pt x="4976" y="0"/>
                    <a:pt x="3656"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435D74"/>
                </a:solidFill>
                <a:latin typeface="Arial"/>
                <a:cs typeface="Arial"/>
                <a:sym typeface="Arial"/>
              </a:endParaRPr>
            </a:p>
          </p:txBody>
        </p:sp>
        <p:sp>
          <p:nvSpPr>
            <p:cNvPr id="9371" name="Google Shape;9371;p109"/>
            <p:cNvSpPr/>
            <p:nvPr/>
          </p:nvSpPr>
          <p:spPr>
            <a:xfrm>
              <a:off x="4572675" y="1074100"/>
              <a:ext cx="115375" cy="141625"/>
            </a:xfrm>
            <a:custGeom>
              <a:avLst/>
              <a:gdLst/>
              <a:ahLst/>
              <a:cxnLst/>
              <a:rect l="l" t="t" r="r" b="b"/>
              <a:pathLst>
                <a:path w="4615" h="5665" extrusionOk="0">
                  <a:moveTo>
                    <a:pt x="1133" y="1626"/>
                  </a:moveTo>
                  <a:lnTo>
                    <a:pt x="2945" y="2834"/>
                  </a:lnTo>
                  <a:lnTo>
                    <a:pt x="1133" y="4041"/>
                  </a:lnTo>
                  <a:lnTo>
                    <a:pt x="1133" y="1626"/>
                  </a:lnTo>
                  <a:close/>
                  <a:moveTo>
                    <a:pt x="569" y="1"/>
                  </a:moveTo>
                  <a:cubicBezTo>
                    <a:pt x="274" y="1"/>
                    <a:pt x="1" y="236"/>
                    <a:pt x="1" y="569"/>
                  </a:cubicBezTo>
                  <a:lnTo>
                    <a:pt x="1" y="5098"/>
                  </a:lnTo>
                  <a:cubicBezTo>
                    <a:pt x="1" y="5430"/>
                    <a:pt x="275" y="5665"/>
                    <a:pt x="571" y="5665"/>
                  </a:cubicBezTo>
                  <a:cubicBezTo>
                    <a:pt x="676" y="5665"/>
                    <a:pt x="784" y="5635"/>
                    <a:pt x="883" y="5569"/>
                  </a:cubicBezTo>
                  <a:lnTo>
                    <a:pt x="4280" y="3305"/>
                  </a:lnTo>
                  <a:cubicBezTo>
                    <a:pt x="4615" y="3078"/>
                    <a:pt x="4615" y="2583"/>
                    <a:pt x="4280" y="2360"/>
                  </a:cubicBezTo>
                  <a:lnTo>
                    <a:pt x="4280" y="2363"/>
                  </a:lnTo>
                  <a:lnTo>
                    <a:pt x="883" y="98"/>
                  </a:lnTo>
                  <a:cubicBezTo>
                    <a:pt x="783" y="31"/>
                    <a:pt x="674" y="1"/>
                    <a:pt x="569"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435D74"/>
                </a:solidFill>
                <a:latin typeface="Arial"/>
                <a:cs typeface="Arial"/>
                <a:sym typeface="Arial"/>
              </a:endParaRPr>
            </a:p>
          </p:txBody>
        </p:sp>
        <p:sp>
          <p:nvSpPr>
            <p:cNvPr id="9372" name="Google Shape;9372;p109"/>
            <p:cNvSpPr/>
            <p:nvPr/>
          </p:nvSpPr>
          <p:spPr>
            <a:xfrm>
              <a:off x="4714225" y="1060000"/>
              <a:ext cx="28325" cy="28350"/>
            </a:xfrm>
            <a:custGeom>
              <a:avLst/>
              <a:gdLst/>
              <a:ahLst/>
              <a:cxnLst/>
              <a:rect l="l" t="t" r="r" b="b"/>
              <a:pathLst>
                <a:path w="1133" h="1134" extrusionOk="0">
                  <a:moveTo>
                    <a:pt x="568" y="1"/>
                  </a:moveTo>
                  <a:cubicBezTo>
                    <a:pt x="254" y="1"/>
                    <a:pt x="0" y="251"/>
                    <a:pt x="0" y="565"/>
                  </a:cubicBezTo>
                  <a:cubicBezTo>
                    <a:pt x="0" y="879"/>
                    <a:pt x="254" y="1133"/>
                    <a:pt x="568" y="1133"/>
                  </a:cubicBezTo>
                  <a:cubicBezTo>
                    <a:pt x="879" y="1133"/>
                    <a:pt x="1133" y="879"/>
                    <a:pt x="1133" y="565"/>
                  </a:cubicBezTo>
                  <a:cubicBezTo>
                    <a:pt x="1133" y="251"/>
                    <a:pt x="879" y="1"/>
                    <a:pt x="568"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435D74"/>
                </a:solidFill>
                <a:latin typeface="Arial"/>
                <a:cs typeface="Arial"/>
                <a:sym typeface="Arial"/>
              </a:endParaRPr>
            </a:p>
          </p:txBody>
        </p:sp>
      </p:grpSp>
      <p:grpSp>
        <p:nvGrpSpPr>
          <p:cNvPr id="9373" name="Google Shape;9373;p109"/>
          <p:cNvGrpSpPr/>
          <p:nvPr/>
        </p:nvGrpSpPr>
        <p:grpSpPr>
          <a:xfrm>
            <a:off x="5024895" y="3609011"/>
            <a:ext cx="474188" cy="453535"/>
            <a:chOff x="5049750" y="832600"/>
            <a:chExt cx="505100" cy="483100"/>
          </a:xfrm>
        </p:grpSpPr>
        <p:sp>
          <p:nvSpPr>
            <p:cNvPr id="9374" name="Google Shape;9374;p109"/>
            <p:cNvSpPr/>
            <p:nvPr/>
          </p:nvSpPr>
          <p:spPr>
            <a:xfrm>
              <a:off x="5049750" y="832600"/>
              <a:ext cx="505100" cy="483100"/>
            </a:xfrm>
            <a:custGeom>
              <a:avLst/>
              <a:gdLst/>
              <a:ahLst/>
              <a:cxnLst/>
              <a:rect l="l" t="t" r="r" b="b"/>
              <a:pathLst>
                <a:path w="20204" h="19324" extrusionOk="0">
                  <a:moveTo>
                    <a:pt x="12136" y="1129"/>
                  </a:moveTo>
                  <a:cubicBezTo>
                    <a:pt x="13730" y="1129"/>
                    <a:pt x="15325" y="1737"/>
                    <a:pt x="16538" y="2952"/>
                  </a:cubicBezTo>
                  <a:cubicBezTo>
                    <a:pt x="18969" y="5383"/>
                    <a:pt x="18969" y="9323"/>
                    <a:pt x="16538" y="11757"/>
                  </a:cubicBezTo>
                  <a:cubicBezTo>
                    <a:pt x="15341" y="12950"/>
                    <a:pt x="13747" y="13579"/>
                    <a:pt x="12129" y="13579"/>
                  </a:cubicBezTo>
                  <a:cubicBezTo>
                    <a:pt x="11233" y="13579"/>
                    <a:pt x="10329" y="13386"/>
                    <a:pt x="9482" y="12989"/>
                  </a:cubicBezTo>
                  <a:cubicBezTo>
                    <a:pt x="9461" y="12980"/>
                    <a:pt x="9440" y="12968"/>
                    <a:pt x="9419" y="12959"/>
                  </a:cubicBezTo>
                  <a:cubicBezTo>
                    <a:pt x="8794" y="12657"/>
                    <a:pt x="8223" y="12249"/>
                    <a:pt x="7734" y="11757"/>
                  </a:cubicBezTo>
                  <a:cubicBezTo>
                    <a:pt x="5306" y="9329"/>
                    <a:pt x="5306" y="5380"/>
                    <a:pt x="7734" y="2952"/>
                  </a:cubicBezTo>
                  <a:cubicBezTo>
                    <a:pt x="8948" y="1737"/>
                    <a:pt x="10542" y="1129"/>
                    <a:pt x="12136" y="1129"/>
                  </a:cubicBezTo>
                  <a:close/>
                  <a:moveTo>
                    <a:pt x="5871" y="11216"/>
                  </a:moveTo>
                  <a:cubicBezTo>
                    <a:pt x="6475" y="12195"/>
                    <a:pt x="7296" y="13016"/>
                    <a:pt x="8271" y="13620"/>
                  </a:cubicBezTo>
                  <a:lnTo>
                    <a:pt x="7734" y="14160"/>
                  </a:lnTo>
                  <a:cubicBezTo>
                    <a:pt x="7622" y="14271"/>
                    <a:pt x="7477" y="14326"/>
                    <a:pt x="7332" y="14326"/>
                  </a:cubicBezTo>
                  <a:cubicBezTo>
                    <a:pt x="7188" y="14326"/>
                    <a:pt x="7044" y="14271"/>
                    <a:pt x="6934" y="14160"/>
                  </a:cubicBezTo>
                  <a:lnTo>
                    <a:pt x="5330" y="12557"/>
                  </a:lnTo>
                  <a:cubicBezTo>
                    <a:pt x="5110" y="12337"/>
                    <a:pt x="5110" y="11977"/>
                    <a:pt x="5330" y="11757"/>
                  </a:cubicBezTo>
                  <a:lnTo>
                    <a:pt x="5871" y="11216"/>
                  </a:lnTo>
                  <a:close/>
                  <a:moveTo>
                    <a:pt x="4932" y="13762"/>
                  </a:moveTo>
                  <a:lnTo>
                    <a:pt x="5732" y="14562"/>
                  </a:lnTo>
                  <a:lnTo>
                    <a:pt x="4932" y="15362"/>
                  </a:lnTo>
                  <a:lnTo>
                    <a:pt x="4131" y="14562"/>
                  </a:lnTo>
                  <a:lnTo>
                    <a:pt x="4932" y="13762"/>
                  </a:lnTo>
                  <a:close/>
                  <a:moveTo>
                    <a:pt x="3328" y="15362"/>
                  </a:moveTo>
                  <a:lnTo>
                    <a:pt x="4128" y="16162"/>
                  </a:lnTo>
                  <a:lnTo>
                    <a:pt x="2268" y="18025"/>
                  </a:lnTo>
                  <a:cubicBezTo>
                    <a:pt x="2157" y="18135"/>
                    <a:pt x="2013" y="18190"/>
                    <a:pt x="1868" y="18190"/>
                  </a:cubicBezTo>
                  <a:cubicBezTo>
                    <a:pt x="1723" y="18190"/>
                    <a:pt x="1577" y="18134"/>
                    <a:pt x="1465" y="18022"/>
                  </a:cubicBezTo>
                  <a:cubicBezTo>
                    <a:pt x="1245" y="17802"/>
                    <a:pt x="1245" y="17443"/>
                    <a:pt x="1465" y="17222"/>
                  </a:cubicBezTo>
                  <a:lnTo>
                    <a:pt x="3328" y="15362"/>
                  </a:lnTo>
                  <a:close/>
                  <a:moveTo>
                    <a:pt x="12135" y="1"/>
                  </a:moveTo>
                  <a:cubicBezTo>
                    <a:pt x="10250" y="1"/>
                    <a:pt x="8365" y="718"/>
                    <a:pt x="6931" y="2152"/>
                  </a:cubicBezTo>
                  <a:cubicBezTo>
                    <a:pt x="4769" y="4311"/>
                    <a:pt x="4237" y="7493"/>
                    <a:pt x="5330" y="10157"/>
                  </a:cubicBezTo>
                  <a:lnTo>
                    <a:pt x="4527" y="10957"/>
                  </a:lnTo>
                  <a:cubicBezTo>
                    <a:pt x="4020" y="11467"/>
                    <a:pt x="3887" y="12240"/>
                    <a:pt x="4198" y="12892"/>
                  </a:cubicBezTo>
                  <a:lnTo>
                    <a:pt x="665" y="16422"/>
                  </a:lnTo>
                  <a:cubicBezTo>
                    <a:pt x="1" y="17086"/>
                    <a:pt x="1" y="18161"/>
                    <a:pt x="665" y="18825"/>
                  </a:cubicBezTo>
                  <a:cubicBezTo>
                    <a:pt x="996" y="19158"/>
                    <a:pt x="1431" y="19324"/>
                    <a:pt x="1865" y="19324"/>
                  </a:cubicBezTo>
                  <a:cubicBezTo>
                    <a:pt x="2300" y="19324"/>
                    <a:pt x="2735" y="19158"/>
                    <a:pt x="3066" y="18825"/>
                  </a:cubicBezTo>
                  <a:lnTo>
                    <a:pt x="6598" y="15293"/>
                  </a:lnTo>
                  <a:cubicBezTo>
                    <a:pt x="6831" y="15403"/>
                    <a:pt x="7081" y="15457"/>
                    <a:pt x="7328" y="15457"/>
                  </a:cubicBezTo>
                  <a:cubicBezTo>
                    <a:pt x="7770" y="15457"/>
                    <a:pt x="8206" y="15286"/>
                    <a:pt x="8531" y="14961"/>
                  </a:cubicBezTo>
                  <a:lnTo>
                    <a:pt x="9331" y="14163"/>
                  </a:lnTo>
                  <a:cubicBezTo>
                    <a:pt x="10241" y="14538"/>
                    <a:pt x="11190" y="14717"/>
                    <a:pt x="12127" y="14717"/>
                  </a:cubicBezTo>
                  <a:cubicBezTo>
                    <a:pt x="14530" y="14717"/>
                    <a:pt x="16858" y="13537"/>
                    <a:pt x="18256" y="11437"/>
                  </a:cubicBezTo>
                  <a:cubicBezTo>
                    <a:pt x="20204" y="8520"/>
                    <a:pt x="19821" y="4631"/>
                    <a:pt x="17342" y="2152"/>
                  </a:cubicBezTo>
                  <a:cubicBezTo>
                    <a:pt x="15906" y="718"/>
                    <a:pt x="14020" y="1"/>
                    <a:pt x="12135"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435D74"/>
                </a:solidFill>
                <a:latin typeface="Arial"/>
                <a:cs typeface="Arial"/>
                <a:sym typeface="Arial"/>
              </a:endParaRPr>
            </a:p>
          </p:txBody>
        </p:sp>
        <p:sp>
          <p:nvSpPr>
            <p:cNvPr id="9375" name="Google Shape;9375;p109"/>
            <p:cNvSpPr/>
            <p:nvPr/>
          </p:nvSpPr>
          <p:spPr>
            <a:xfrm>
              <a:off x="5216725" y="889175"/>
              <a:ext cx="276000" cy="254400"/>
            </a:xfrm>
            <a:custGeom>
              <a:avLst/>
              <a:gdLst/>
              <a:ahLst/>
              <a:cxnLst/>
              <a:rect l="l" t="t" r="r" b="b"/>
              <a:pathLst>
                <a:path w="11040" h="10176" extrusionOk="0">
                  <a:moveTo>
                    <a:pt x="5456" y="1133"/>
                  </a:moveTo>
                  <a:cubicBezTo>
                    <a:pt x="6487" y="1133"/>
                    <a:pt x="7500" y="1535"/>
                    <a:pt x="8259" y="2293"/>
                  </a:cubicBezTo>
                  <a:cubicBezTo>
                    <a:pt x="9802" y="3839"/>
                    <a:pt x="9802" y="6348"/>
                    <a:pt x="8259" y="7897"/>
                  </a:cubicBezTo>
                  <a:cubicBezTo>
                    <a:pt x="7501" y="8653"/>
                    <a:pt x="6489" y="9055"/>
                    <a:pt x="5460" y="9055"/>
                  </a:cubicBezTo>
                  <a:cubicBezTo>
                    <a:pt x="4948" y="9055"/>
                    <a:pt x="4433" y="8956"/>
                    <a:pt x="3941" y="8751"/>
                  </a:cubicBezTo>
                  <a:cubicBezTo>
                    <a:pt x="2462" y="8138"/>
                    <a:pt x="1499" y="6695"/>
                    <a:pt x="1499" y="5095"/>
                  </a:cubicBezTo>
                  <a:cubicBezTo>
                    <a:pt x="1499" y="3491"/>
                    <a:pt x="2462" y="2048"/>
                    <a:pt x="3941" y="1435"/>
                  </a:cubicBezTo>
                  <a:cubicBezTo>
                    <a:pt x="4431" y="1232"/>
                    <a:pt x="4946" y="1133"/>
                    <a:pt x="5456" y="1133"/>
                  </a:cubicBezTo>
                  <a:close/>
                  <a:moveTo>
                    <a:pt x="5468" y="1"/>
                  </a:moveTo>
                  <a:cubicBezTo>
                    <a:pt x="5465" y="1"/>
                    <a:pt x="5461" y="1"/>
                    <a:pt x="5457" y="1"/>
                  </a:cubicBezTo>
                  <a:cubicBezTo>
                    <a:pt x="3029" y="4"/>
                    <a:pt x="943" y="1719"/>
                    <a:pt x="472" y="4098"/>
                  </a:cubicBezTo>
                  <a:cubicBezTo>
                    <a:pt x="1" y="6481"/>
                    <a:pt x="1275" y="8860"/>
                    <a:pt x="3519" y="9787"/>
                  </a:cubicBezTo>
                  <a:cubicBezTo>
                    <a:pt x="4151" y="10049"/>
                    <a:pt x="4811" y="10175"/>
                    <a:pt x="5463" y="10175"/>
                  </a:cubicBezTo>
                  <a:cubicBezTo>
                    <a:pt x="7120" y="10175"/>
                    <a:pt x="8725" y="9362"/>
                    <a:pt x="9693" y="7912"/>
                  </a:cubicBezTo>
                  <a:cubicBezTo>
                    <a:pt x="11040" y="5895"/>
                    <a:pt x="10774" y="3207"/>
                    <a:pt x="9059" y="1492"/>
                  </a:cubicBezTo>
                  <a:cubicBezTo>
                    <a:pt x="8108" y="535"/>
                    <a:pt x="6814" y="1"/>
                    <a:pt x="5468"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435D74"/>
                </a:solidFill>
                <a:latin typeface="Arial"/>
                <a:cs typeface="Arial"/>
                <a:sym typeface="Arial"/>
              </a:endParaRPr>
            </a:p>
          </p:txBody>
        </p:sp>
      </p:grpSp>
      <p:sp>
        <p:nvSpPr>
          <p:cNvPr id="9376" name="Google Shape;9376;p109"/>
          <p:cNvSpPr/>
          <p:nvPr/>
        </p:nvSpPr>
        <p:spPr>
          <a:xfrm>
            <a:off x="5585240" y="3641702"/>
            <a:ext cx="455600" cy="387865"/>
          </a:xfrm>
          <a:custGeom>
            <a:avLst/>
            <a:gdLst/>
            <a:ahLst/>
            <a:cxnLst/>
            <a:rect l="l" t="t" r="r" b="b"/>
            <a:pathLst>
              <a:path w="19412" h="16526" extrusionOk="0">
                <a:moveTo>
                  <a:pt x="8421" y="4128"/>
                </a:moveTo>
                <a:lnTo>
                  <a:pt x="8421" y="6791"/>
                </a:lnTo>
                <a:lnTo>
                  <a:pt x="5302" y="6791"/>
                </a:lnTo>
                <a:lnTo>
                  <a:pt x="4511" y="4128"/>
                </a:lnTo>
                <a:close/>
                <a:moveTo>
                  <a:pt x="12661" y="4131"/>
                </a:moveTo>
                <a:lnTo>
                  <a:pt x="12661" y="6791"/>
                </a:lnTo>
                <a:lnTo>
                  <a:pt x="9554" y="6791"/>
                </a:lnTo>
                <a:lnTo>
                  <a:pt x="9554" y="4131"/>
                </a:lnTo>
                <a:close/>
                <a:moveTo>
                  <a:pt x="17999" y="4131"/>
                </a:moveTo>
                <a:lnTo>
                  <a:pt x="17208" y="6791"/>
                </a:lnTo>
                <a:lnTo>
                  <a:pt x="13793" y="6791"/>
                </a:lnTo>
                <a:lnTo>
                  <a:pt x="13793" y="4131"/>
                </a:lnTo>
                <a:close/>
                <a:moveTo>
                  <a:pt x="8421" y="7923"/>
                </a:moveTo>
                <a:lnTo>
                  <a:pt x="8421" y="10583"/>
                </a:lnTo>
                <a:lnTo>
                  <a:pt x="6432" y="10583"/>
                </a:lnTo>
                <a:lnTo>
                  <a:pt x="5640" y="7923"/>
                </a:lnTo>
                <a:close/>
                <a:moveTo>
                  <a:pt x="12661" y="7923"/>
                </a:moveTo>
                <a:lnTo>
                  <a:pt x="12661" y="10583"/>
                </a:lnTo>
                <a:lnTo>
                  <a:pt x="9554" y="10583"/>
                </a:lnTo>
                <a:lnTo>
                  <a:pt x="9554" y="7923"/>
                </a:lnTo>
                <a:close/>
                <a:moveTo>
                  <a:pt x="16873" y="7923"/>
                </a:moveTo>
                <a:lnTo>
                  <a:pt x="16076" y="10583"/>
                </a:lnTo>
                <a:lnTo>
                  <a:pt x="13793" y="10583"/>
                </a:lnTo>
                <a:lnTo>
                  <a:pt x="13793" y="7923"/>
                </a:lnTo>
                <a:close/>
                <a:moveTo>
                  <a:pt x="7935" y="13570"/>
                </a:moveTo>
                <a:cubicBezTo>
                  <a:pt x="8744" y="13570"/>
                  <a:pt x="9152" y="14551"/>
                  <a:pt x="8578" y="15125"/>
                </a:cubicBezTo>
                <a:cubicBezTo>
                  <a:pt x="8393" y="15310"/>
                  <a:pt x="8165" y="15393"/>
                  <a:pt x="7941" y="15393"/>
                </a:cubicBezTo>
                <a:cubicBezTo>
                  <a:pt x="7473" y="15393"/>
                  <a:pt x="7023" y="15029"/>
                  <a:pt x="7023" y="14482"/>
                </a:cubicBezTo>
                <a:cubicBezTo>
                  <a:pt x="7023" y="13977"/>
                  <a:pt x="7431" y="13573"/>
                  <a:pt x="7932" y="13570"/>
                </a:cubicBezTo>
                <a:close/>
                <a:moveTo>
                  <a:pt x="14910" y="13570"/>
                </a:moveTo>
                <a:cubicBezTo>
                  <a:pt x="15719" y="13570"/>
                  <a:pt x="16127" y="14551"/>
                  <a:pt x="15553" y="15125"/>
                </a:cubicBezTo>
                <a:cubicBezTo>
                  <a:pt x="15368" y="15310"/>
                  <a:pt x="15140" y="15393"/>
                  <a:pt x="14916" y="15393"/>
                </a:cubicBezTo>
                <a:cubicBezTo>
                  <a:pt x="14448" y="15393"/>
                  <a:pt x="13998" y="15029"/>
                  <a:pt x="13998" y="14482"/>
                </a:cubicBezTo>
                <a:cubicBezTo>
                  <a:pt x="13998" y="13977"/>
                  <a:pt x="14406" y="13570"/>
                  <a:pt x="14910" y="13570"/>
                </a:cubicBezTo>
                <a:close/>
                <a:moveTo>
                  <a:pt x="568" y="0"/>
                </a:moveTo>
                <a:cubicBezTo>
                  <a:pt x="254" y="0"/>
                  <a:pt x="0" y="254"/>
                  <a:pt x="0" y="565"/>
                </a:cubicBezTo>
                <a:cubicBezTo>
                  <a:pt x="0" y="879"/>
                  <a:pt x="254" y="1133"/>
                  <a:pt x="568" y="1133"/>
                </a:cubicBezTo>
                <a:lnTo>
                  <a:pt x="2437" y="1133"/>
                </a:lnTo>
                <a:lnTo>
                  <a:pt x="3204" y="3714"/>
                </a:lnTo>
                <a:cubicBezTo>
                  <a:pt x="3207" y="3720"/>
                  <a:pt x="3210" y="3729"/>
                  <a:pt x="3213" y="3738"/>
                </a:cubicBezTo>
                <a:lnTo>
                  <a:pt x="5251" y="10589"/>
                </a:lnTo>
                <a:cubicBezTo>
                  <a:pt x="4052" y="10671"/>
                  <a:pt x="3131" y="11685"/>
                  <a:pt x="3171" y="12887"/>
                </a:cubicBezTo>
                <a:cubicBezTo>
                  <a:pt x="3210" y="14089"/>
                  <a:pt x="4194" y="15043"/>
                  <a:pt x="5396" y="15046"/>
                </a:cubicBezTo>
                <a:lnTo>
                  <a:pt x="5970" y="15046"/>
                </a:lnTo>
                <a:cubicBezTo>
                  <a:pt x="6220" y="15922"/>
                  <a:pt x="7020" y="16526"/>
                  <a:pt x="7932" y="16526"/>
                </a:cubicBezTo>
                <a:cubicBezTo>
                  <a:pt x="8841" y="16526"/>
                  <a:pt x="9641" y="15922"/>
                  <a:pt x="9895" y="15046"/>
                </a:cubicBezTo>
                <a:lnTo>
                  <a:pt x="12947" y="15046"/>
                </a:lnTo>
                <a:cubicBezTo>
                  <a:pt x="13198" y="15922"/>
                  <a:pt x="13998" y="16523"/>
                  <a:pt x="14910" y="16523"/>
                </a:cubicBezTo>
                <a:cubicBezTo>
                  <a:pt x="15819" y="16523"/>
                  <a:pt x="16619" y="15922"/>
                  <a:pt x="16873" y="15046"/>
                </a:cubicBezTo>
                <a:lnTo>
                  <a:pt x="17616" y="15046"/>
                </a:lnTo>
                <a:cubicBezTo>
                  <a:pt x="17927" y="15046"/>
                  <a:pt x="18180" y="14793"/>
                  <a:pt x="18180" y="14482"/>
                </a:cubicBezTo>
                <a:cubicBezTo>
                  <a:pt x="18180" y="14167"/>
                  <a:pt x="17927" y="13914"/>
                  <a:pt x="17616" y="13914"/>
                </a:cubicBezTo>
                <a:lnTo>
                  <a:pt x="16873" y="13914"/>
                </a:lnTo>
                <a:cubicBezTo>
                  <a:pt x="16619" y="13041"/>
                  <a:pt x="15819" y="12437"/>
                  <a:pt x="14910" y="12437"/>
                </a:cubicBezTo>
                <a:cubicBezTo>
                  <a:pt x="13998" y="12437"/>
                  <a:pt x="13198" y="13041"/>
                  <a:pt x="12947" y="13914"/>
                </a:cubicBezTo>
                <a:lnTo>
                  <a:pt x="9895" y="13914"/>
                </a:lnTo>
                <a:cubicBezTo>
                  <a:pt x="9644" y="13038"/>
                  <a:pt x="8844" y="12437"/>
                  <a:pt x="7932" y="12437"/>
                </a:cubicBezTo>
                <a:cubicBezTo>
                  <a:pt x="7023" y="12437"/>
                  <a:pt x="6223" y="13038"/>
                  <a:pt x="5970" y="13914"/>
                </a:cubicBezTo>
                <a:lnTo>
                  <a:pt x="5399" y="13914"/>
                </a:lnTo>
                <a:cubicBezTo>
                  <a:pt x="4798" y="13905"/>
                  <a:pt x="4318" y="13416"/>
                  <a:pt x="4318" y="12815"/>
                </a:cubicBezTo>
                <a:cubicBezTo>
                  <a:pt x="4318" y="12217"/>
                  <a:pt x="4798" y="11728"/>
                  <a:pt x="5399" y="11716"/>
                </a:cubicBezTo>
                <a:lnTo>
                  <a:pt x="16501" y="11716"/>
                </a:lnTo>
                <a:cubicBezTo>
                  <a:pt x="16752" y="11716"/>
                  <a:pt x="16972" y="11553"/>
                  <a:pt x="17045" y="11311"/>
                </a:cubicBezTo>
                <a:lnTo>
                  <a:pt x="19303" y="3726"/>
                </a:lnTo>
                <a:cubicBezTo>
                  <a:pt x="19412" y="3362"/>
                  <a:pt x="19140" y="2999"/>
                  <a:pt x="18765" y="2999"/>
                </a:cubicBezTo>
                <a:cubicBezTo>
                  <a:pt x="18763" y="2999"/>
                  <a:pt x="18761" y="2999"/>
                  <a:pt x="18760" y="2999"/>
                </a:cubicBezTo>
                <a:lnTo>
                  <a:pt x="4173" y="2999"/>
                </a:lnTo>
                <a:lnTo>
                  <a:pt x="3400" y="405"/>
                </a:lnTo>
                <a:cubicBezTo>
                  <a:pt x="3328" y="163"/>
                  <a:pt x="3107" y="0"/>
                  <a:pt x="2856"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435D74"/>
              </a:solidFill>
              <a:latin typeface="Arial"/>
              <a:cs typeface="Arial"/>
              <a:sym typeface="Arial"/>
            </a:endParaRPr>
          </a:p>
        </p:txBody>
      </p:sp>
      <p:grpSp>
        <p:nvGrpSpPr>
          <p:cNvPr id="9377" name="Google Shape;9377;p109"/>
          <p:cNvGrpSpPr/>
          <p:nvPr/>
        </p:nvGrpSpPr>
        <p:grpSpPr>
          <a:xfrm>
            <a:off x="6170162" y="3608999"/>
            <a:ext cx="398661" cy="453557"/>
            <a:chOff x="6272100" y="832575"/>
            <a:chExt cx="424650" cy="483125"/>
          </a:xfrm>
        </p:grpSpPr>
        <p:sp>
          <p:nvSpPr>
            <p:cNvPr id="9378" name="Google Shape;9378;p109"/>
            <p:cNvSpPr/>
            <p:nvPr/>
          </p:nvSpPr>
          <p:spPr>
            <a:xfrm>
              <a:off x="6272100" y="832575"/>
              <a:ext cx="424650" cy="483125"/>
            </a:xfrm>
            <a:custGeom>
              <a:avLst/>
              <a:gdLst/>
              <a:ahLst/>
              <a:cxnLst/>
              <a:rect l="l" t="t" r="r" b="b"/>
              <a:pathLst>
                <a:path w="16986" h="19325" extrusionOk="0">
                  <a:moveTo>
                    <a:pt x="2265" y="6537"/>
                  </a:moveTo>
                  <a:lnTo>
                    <a:pt x="2265" y="8334"/>
                  </a:lnTo>
                  <a:lnTo>
                    <a:pt x="1366" y="7437"/>
                  </a:lnTo>
                  <a:lnTo>
                    <a:pt x="2265" y="6537"/>
                  </a:lnTo>
                  <a:close/>
                  <a:moveTo>
                    <a:pt x="14721" y="6537"/>
                  </a:moveTo>
                  <a:lnTo>
                    <a:pt x="15617" y="7437"/>
                  </a:lnTo>
                  <a:lnTo>
                    <a:pt x="14721" y="8334"/>
                  </a:lnTo>
                  <a:lnTo>
                    <a:pt x="14721" y="6537"/>
                  </a:lnTo>
                  <a:close/>
                  <a:moveTo>
                    <a:pt x="13588" y="1132"/>
                  </a:moveTo>
                  <a:lnTo>
                    <a:pt x="13588" y="9466"/>
                  </a:lnTo>
                  <a:lnTo>
                    <a:pt x="10521" y="12531"/>
                  </a:lnTo>
                  <a:lnTo>
                    <a:pt x="6462" y="12531"/>
                  </a:lnTo>
                  <a:lnTo>
                    <a:pt x="3398" y="9466"/>
                  </a:lnTo>
                  <a:lnTo>
                    <a:pt x="3398" y="1132"/>
                  </a:lnTo>
                  <a:close/>
                  <a:moveTo>
                    <a:pt x="1133" y="8802"/>
                  </a:moveTo>
                  <a:lnTo>
                    <a:pt x="5427" y="13099"/>
                  </a:lnTo>
                  <a:lnTo>
                    <a:pt x="1133" y="17392"/>
                  </a:lnTo>
                  <a:lnTo>
                    <a:pt x="1133" y="8802"/>
                  </a:lnTo>
                  <a:close/>
                  <a:moveTo>
                    <a:pt x="15853" y="8802"/>
                  </a:moveTo>
                  <a:lnTo>
                    <a:pt x="15853" y="17392"/>
                  </a:lnTo>
                  <a:lnTo>
                    <a:pt x="11556" y="13099"/>
                  </a:lnTo>
                  <a:lnTo>
                    <a:pt x="15853" y="8802"/>
                  </a:lnTo>
                  <a:close/>
                  <a:moveTo>
                    <a:pt x="10521" y="13663"/>
                  </a:moveTo>
                  <a:lnTo>
                    <a:pt x="15050" y="18192"/>
                  </a:lnTo>
                  <a:lnTo>
                    <a:pt x="1933" y="18192"/>
                  </a:lnTo>
                  <a:lnTo>
                    <a:pt x="6462" y="13663"/>
                  </a:lnTo>
                  <a:close/>
                  <a:moveTo>
                    <a:pt x="2830" y="0"/>
                  </a:moveTo>
                  <a:cubicBezTo>
                    <a:pt x="2516" y="0"/>
                    <a:pt x="2265" y="254"/>
                    <a:pt x="2265" y="568"/>
                  </a:cubicBezTo>
                  <a:lnTo>
                    <a:pt x="2265" y="4937"/>
                  </a:lnTo>
                  <a:lnTo>
                    <a:pt x="164" y="7036"/>
                  </a:lnTo>
                  <a:lnTo>
                    <a:pt x="161" y="7042"/>
                  </a:lnTo>
                  <a:cubicBezTo>
                    <a:pt x="152" y="7051"/>
                    <a:pt x="143" y="7063"/>
                    <a:pt x="134" y="7072"/>
                  </a:cubicBezTo>
                  <a:lnTo>
                    <a:pt x="125" y="7084"/>
                  </a:lnTo>
                  <a:cubicBezTo>
                    <a:pt x="112" y="7096"/>
                    <a:pt x="103" y="7108"/>
                    <a:pt x="94" y="7120"/>
                  </a:cubicBezTo>
                  <a:cubicBezTo>
                    <a:pt x="91" y="7126"/>
                    <a:pt x="88" y="7129"/>
                    <a:pt x="85" y="7132"/>
                  </a:cubicBezTo>
                  <a:cubicBezTo>
                    <a:pt x="85" y="7138"/>
                    <a:pt x="73" y="7153"/>
                    <a:pt x="70" y="7162"/>
                  </a:cubicBezTo>
                  <a:cubicBezTo>
                    <a:pt x="64" y="7171"/>
                    <a:pt x="61" y="7174"/>
                    <a:pt x="58" y="7180"/>
                  </a:cubicBezTo>
                  <a:cubicBezTo>
                    <a:pt x="55" y="7186"/>
                    <a:pt x="52" y="7199"/>
                    <a:pt x="46" y="7208"/>
                  </a:cubicBezTo>
                  <a:cubicBezTo>
                    <a:pt x="43" y="7217"/>
                    <a:pt x="40" y="7220"/>
                    <a:pt x="40" y="7226"/>
                  </a:cubicBezTo>
                  <a:cubicBezTo>
                    <a:pt x="34" y="7241"/>
                    <a:pt x="28" y="7256"/>
                    <a:pt x="25" y="7271"/>
                  </a:cubicBezTo>
                  <a:cubicBezTo>
                    <a:pt x="25" y="7274"/>
                    <a:pt x="22" y="7280"/>
                    <a:pt x="19" y="7283"/>
                  </a:cubicBezTo>
                  <a:cubicBezTo>
                    <a:pt x="16" y="7295"/>
                    <a:pt x="13" y="7307"/>
                    <a:pt x="13" y="7319"/>
                  </a:cubicBezTo>
                  <a:cubicBezTo>
                    <a:pt x="13" y="7325"/>
                    <a:pt x="10" y="7331"/>
                    <a:pt x="10" y="7334"/>
                  </a:cubicBezTo>
                  <a:cubicBezTo>
                    <a:pt x="7" y="7340"/>
                    <a:pt x="4" y="7359"/>
                    <a:pt x="4" y="7371"/>
                  </a:cubicBezTo>
                  <a:lnTo>
                    <a:pt x="4" y="7386"/>
                  </a:lnTo>
                  <a:cubicBezTo>
                    <a:pt x="4" y="7401"/>
                    <a:pt x="1" y="7416"/>
                    <a:pt x="1" y="7434"/>
                  </a:cubicBezTo>
                  <a:lnTo>
                    <a:pt x="1" y="17625"/>
                  </a:lnTo>
                  <a:cubicBezTo>
                    <a:pt x="1" y="18063"/>
                    <a:pt x="170" y="18482"/>
                    <a:pt x="475" y="18799"/>
                  </a:cubicBezTo>
                  <a:cubicBezTo>
                    <a:pt x="481" y="18808"/>
                    <a:pt x="490" y="18817"/>
                    <a:pt x="499" y="18826"/>
                  </a:cubicBezTo>
                  <a:cubicBezTo>
                    <a:pt x="508" y="18833"/>
                    <a:pt x="517" y="18842"/>
                    <a:pt x="526" y="18851"/>
                  </a:cubicBezTo>
                  <a:cubicBezTo>
                    <a:pt x="840" y="19156"/>
                    <a:pt x="1260" y="19325"/>
                    <a:pt x="1698" y="19325"/>
                  </a:cubicBezTo>
                  <a:lnTo>
                    <a:pt x="15285" y="19325"/>
                  </a:lnTo>
                  <a:cubicBezTo>
                    <a:pt x="15723" y="19325"/>
                    <a:pt x="16143" y="19156"/>
                    <a:pt x="16460" y="18854"/>
                  </a:cubicBezTo>
                  <a:cubicBezTo>
                    <a:pt x="16469" y="18845"/>
                    <a:pt x="16478" y="18836"/>
                    <a:pt x="16487" y="18826"/>
                  </a:cubicBezTo>
                  <a:cubicBezTo>
                    <a:pt x="16496" y="18817"/>
                    <a:pt x="16502" y="18808"/>
                    <a:pt x="16511" y="18799"/>
                  </a:cubicBezTo>
                  <a:cubicBezTo>
                    <a:pt x="16816" y="18485"/>
                    <a:pt x="16985" y="18063"/>
                    <a:pt x="16985" y="17628"/>
                  </a:cubicBezTo>
                  <a:lnTo>
                    <a:pt x="16985" y="7437"/>
                  </a:lnTo>
                  <a:cubicBezTo>
                    <a:pt x="16985" y="7419"/>
                    <a:pt x="16985" y="7404"/>
                    <a:pt x="16982" y="7389"/>
                  </a:cubicBezTo>
                  <a:lnTo>
                    <a:pt x="16982" y="7371"/>
                  </a:lnTo>
                  <a:cubicBezTo>
                    <a:pt x="16982" y="7362"/>
                    <a:pt x="16979" y="7350"/>
                    <a:pt x="16976" y="7337"/>
                  </a:cubicBezTo>
                  <a:cubicBezTo>
                    <a:pt x="16973" y="7328"/>
                    <a:pt x="16973" y="7325"/>
                    <a:pt x="16973" y="7319"/>
                  </a:cubicBezTo>
                  <a:cubicBezTo>
                    <a:pt x="16973" y="7316"/>
                    <a:pt x="16967" y="7298"/>
                    <a:pt x="16964" y="7286"/>
                  </a:cubicBezTo>
                  <a:cubicBezTo>
                    <a:pt x="16964" y="7283"/>
                    <a:pt x="16964" y="7277"/>
                    <a:pt x="16961" y="7271"/>
                  </a:cubicBezTo>
                  <a:cubicBezTo>
                    <a:pt x="16958" y="7256"/>
                    <a:pt x="16952" y="7244"/>
                    <a:pt x="16946" y="7229"/>
                  </a:cubicBezTo>
                  <a:cubicBezTo>
                    <a:pt x="16943" y="7223"/>
                    <a:pt x="16940" y="7217"/>
                    <a:pt x="16940" y="7211"/>
                  </a:cubicBezTo>
                  <a:cubicBezTo>
                    <a:pt x="16937" y="7205"/>
                    <a:pt x="16931" y="7193"/>
                    <a:pt x="16925" y="7183"/>
                  </a:cubicBezTo>
                  <a:cubicBezTo>
                    <a:pt x="16922" y="7174"/>
                    <a:pt x="16919" y="7171"/>
                    <a:pt x="16916" y="7165"/>
                  </a:cubicBezTo>
                  <a:cubicBezTo>
                    <a:pt x="16913" y="7159"/>
                    <a:pt x="16904" y="7144"/>
                    <a:pt x="16898" y="7135"/>
                  </a:cubicBezTo>
                  <a:lnTo>
                    <a:pt x="16892" y="7123"/>
                  </a:lnTo>
                  <a:cubicBezTo>
                    <a:pt x="16882" y="7108"/>
                    <a:pt x="16873" y="7096"/>
                    <a:pt x="16861" y="7084"/>
                  </a:cubicBezTo>
                  <a:lnTo>
                    <a:pt x="16852" y="7075"/>
                  </a:lnTo>
                  <a:cubicBezTo>
                    <a:pt x="16843" y="7063"/>
                    <a:pt x="16834" y="7054"/>
                    <a:pt x="16825" y="7045"/>
                  </a:cubicBezTo>
                  <a:lnTo>
                    <a:pt x="16819" y="7039"/>
                  </a:lnTo>
                  <a:lnTo>
                    <a:pt x="14721" y="4937"/>
                  </a:lnTo>
                  <a:lnTo>
                    <a:pt x="14721" y="568"/>
                  </a:lnTo>
                  <a:cubicBezTo>
                    <a:pt x="14721" y="254"/>
                    <a:pt x="14467" y="0"/>
                    <a:pt x="14153"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435D74"/>
                </a:solidFill>
                <a:latin typeface="Arial"/>
                <a:cs typeface="Arial"/>
                <a:sym typeface="Arial"/>
              </a:endParaRPr>
            </a:p>
          </p:txBody>
        </p:sp>
        <p:sp>
          <p:nvSpPr>
            <p:cNvPr id="9379" name="Google Shape;9379;p109"/>
            <p:cNvSpPr/>
            <p:nvPr/>
          </p:nvSpPr>
          <p:spPr>
            <a:xfrm>
              <a:off x="6384200" y="889150"/>
              <a:ext cx="199300" cy="198200"/>
            </a:xfrm>
            <a:custGeom>
              <a:avLst/>
              <a:gdLst/>
              <a:ahLst/>
              <a:cxnLst/>
              <a:rect l="l" t="t" r="r" b="b"/>
              <a:pathLst>
                <a:path w="7972" h="7928" extrusionOk="0">
                  <a:moveTo>
                    <a:pt x="4005" y="3398"/>
                  </a:moveTo>
                  <a:cubicBezTo>
                    <a:pt x="4274" y="3398"/>
                    <a:pt x="4534" y="3588"/>
                    <a:pt x="4569" y="3900"/>
                  </a:cubicBezTo>
                  <a:cubicBezTo>
                    <a:pt x="4560" y="3951"/>
                    <a:pt x="4560" y="4003"/>
                    <a:pt x="4566" y="4057"/>
                  </a:cubicBezTo>
                  <a:cubicBezTo>
                    <a:pt x="4521" y="4329"/>
                    <a:pt x="4285" y="4531"/>
                    <a:pt x="4007" y="4531"/>
                  </a:cubicBezTo>
                  <a:cubicBezTo>
                    <a:pt x="3518" y="4531"/>
                    <a:pt x="3259" y="3954"/>
                    <a:pt x="3585" y="3589"/>
                  </a:cubicBezTo>
                  <a:cubicBezTo>
                    <a:pt x="3702" y="3458"/>
                    <a:pt x="3855" y="3398"/>
                    <a:pt x="4005" y="3398"/>
                  </a:cubicBezTo>
                  <a:close/>
                  <a:moveTo>
                    <a:pt x="4005" y="1"/>
                  </a:moveTo>
                  <a:cubicBezTo>
                    <a:pt x="3351" y="1"/>
                    <a:pt x="2696" y="163"/>
                    <a:pt x="2102" y="488"/>
                  </a:cubicBezTo>
                  <a:cubicBezTo>
                    <a:pt x="876" y="1161"/>
                    <a:pt x="94" y="2432"/>
                    <a:pt x="46" y="3830"/>
                  </a:cubicBezTo>
                  <a:cubicBezTo>
                    <a:pt x="1" y="5231"/>
                    <a:pt x="695" y="6551"/>
                    <a:pt x="1876" y="7303"/>
                  </a:cubicBezTo>
                  <a:cubicBezTo>
                    <a:pt x="2510" y="7713"/>
                    <a:pt x="3247" y="7928"/>
                    <a:pt x="4001" y="7928"/>
                  </a:cubicBezTo>
                  <a:cubicBezTo>
                    <a:pt x="4629" y="7925"/>
                    <a:pt x="5248" y="7783"/>
                    <a:pt x="5816" y="7517"/>
                  </a:cubicBezTo>
                  <a:cubicBezTo>
                    <a:pt x="6106" y="7390"/>
                    <a:pt x="6233" y="7049"/>
                    <a:pt x="6100" y="6762"/>
                  </a:cubicBezTo>
                  <a:cubicBezTo>
                    <a:pt x="6006" y="6555"/>
                    <a:pt x="5802" y="6435"/>
                    <a:pt x="5589" y="6435"/>
                  </a:cubicBezTo>
                  <a:cubicBezTo>
                    <a:pt x="5506" y="6435"/>
                    <a:pt x="5422" y="6453"/>
                    <a:pt x="5342" y="6491"/>
                  </a:cubicBezTo>
                  <a:cubicBezTo>
                    <a:pt x="4902" y="6692"/>
                    <a:pt x="4449" y="6792"/>
                    <a:pt x="4007" y="6792"/>
                  </a:cubicBezTo>
                  <a:cubicBezTo>
                    <a:pt x="3468" y="6792"/>
                    <a:pt x="2947" y="6644"/>
                    <a:pt x="2486" y="6349"/>
                  </a:cubicBezTo>
                  <a:cubicBezTo>
                    <a:pt x="1643" y="5811"/>
                    <a:pt x="1145" y="4869"/>
                    <a:pt x="1178" y="3870"/>
                  </a:cubicBezTo>
                  <a:cubicBezTo>
                    <a:pt x="1211" y="2870"/>
                    <a:pt x="1770" y="1961"/>
                    <a:pt x="2649" y="1481"/>
                  </a:cubicBezTo>
                  <a:cubicBezTo>
                    <a:pt x="3073" y="1247"/>
                    <a:pt x="3541" y="1131"/>
                    <a:pt x="4009" y="1131"/>
                  </a:cubicBezTo>
                  <a:cubicBezTo>
                    <a:pt x="4508" y="1131"/>
                    <a:pt x="5007" y="1263"/>
                    <a:pt x="5451" y="1527"/>
                  </a:cubicBezTo>
                  <a:cubicBezTo>
                    <a:pt x="6311" y="2037"/>
                    <a:pt x="6840" y="2964"/>
                    <a:pt x="6840" y="3966"/>
                  </a:cubicBezTo>
                  <a:cubicBezTo>
                    <a:pt x="6846" y="4277"/>
                    <a:pt x="6598" y="4537"/>
                    <a:pt x="6284" y="4543"/>
                  </a:cubicBezTo>
                  <a:cubicBezTo>
                    <a:pt x="6280" y="4543"/>
                    <a:pt x="6277" y="4543"/>
                    <a:pt x="6273" y="4543"/>
                  </a:cubicBezTo>
                  <a:cubicBezTo>
                    <a:pt x="5967" y="4543"/>
                    <a:pt x="5713" y="4298"/>
                    <a:pt x="5707" y="3990"/>
                  </a:cubicBezTo>
                  <a:lnTo>
                    <a:pt x="5707" y="3972"/>
                  </a:lnTo>
                  <a:lnTo>
                    <a:pt x="5707" y="3966"/>
                  </a:lnTo>
                  <a:cubicBezTo>
                    <a:pt x="5707" y="3163"/>
                    <a:pt x="5146" y="2469"/>
                    <a:pt x="4361" y="2300"/>
                  </a:cubicBezTo>
                  <a:cubicBezTo>
                    <a:pt x="4241" y="2274"/>
                    <a:pt x="4121" y="2261"/>
                    <a:pt x="4003" y="2261"/>
                  </a:cubicBezTo>
                  <a:cubicBezTo>
                    <a:pt x="3345" y="2261"/>
                    <a:pt x="2731" y="2647"/>
                    <a:pt x="2452" y="3269"/>
                  </a:cubicBezTo>
                  <a:cubicBezTo>
                    <a:pt x="2126" y="4000"/>
                    <a:pt x="2353" y="4863"/>
                    <a:pt x="3002" y="5337"/>
                  </a:cubicBezTo>
                  <a:cubicBezTo>
                    <a:pt x="3302" y="5555"/>
                    <a:pt x="3654" y="5663"/>
                    <a:pt x="4005" y="5663"/>
                  </a:cubicBezTo>
                  <a:cubicBezTo>
                    <a:pt x="4413" y="5663"/>
                    <a:pt x="4818" y="5517"/>
                    <a:pt x="5140" y="5228"/>
                  </a:cubicBezTo>
                  <a:cubicBezTo>
                    <a:pt x="5457" y="5513"/>
                    <a:pt x="5863" y="5662"/>
                    <a:pt x="6274" y="5662"/>
                  </a:cubicBezTo>
                  <a:cubicBezTo>
                    <a:pt x="6507" y="5662"/>
                    <a:pt x="6742" y="5614"/>
                    <a:pt x="6963" y="5515"/>
                  </a:cubicBezTo>
                  <a:cubicBezTo>
                    <a:pt x="7576" y="5241"/>
                    <a:pt x="7969" y="4634"/>
                    <a:pt x="7972" y="3966"/>
                  </a:cubicBezTo>
                  <a:cubicBezTo>
                    <a:pt x="7972" y="2565"/>
                    <a:pt x="7232" y="1267"/>
                    <a:pt x="6027" y="554"/>
                  </a:cubicBezTo>
                  <a:cubicBezTo>
                    <a:pt x="5405" y="186"/>
                    <a:pt x="4705" y="1"/>
                    <a:pt x="4005"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435D74"/>
                </a:solidFill>
                <a:latin typeface="Arial"/>
                <a:cs typeface="Arial"/>
                <a:sym typeface="Arial"/>
              </a:endParaRPr>
            </a:p>
          </p:txBody>
        </p:sp>
      </p:grpSp>
      <p:grpSp>
        <p:nvGrpSpPr>
          <p:cNvPr id="9380" name="Google Shape;9380;p109"/>
          <p:cNvGrpSpPr/>
          <p:nvPr/>
        </p:nvGrpSpPr>
        <p:grpSpPr>
          <a:xfrm>
            <a:off x="1127771" y="4167731"/>
            <a:ext cx="453628" cy="453581"/>
            <a:chOff x="893650" y="1428000"/>
            <a:chExt cx="483200" cy="483150"/>
          </a:xfrm>
        </p:grpSpPr>
        <p:sp>
          <p:nvSpPr>
            <p:cNvPr id="9381" name="Google Shape;9381;p109"/>
            <p:cNvSpPr/>
            <p:nvPr/>
          </p:nvSpPr>
          <p:spPr>
            <a:xfrm>
              <a:off x="893650" y="1428000"/>
              <a:ext cx="483200" cy="483150"/>
            </a:xfrm>
            <a:custGeom>
              <a:avLst/>
              <a:gdLst/>
              <a:ahLst/>
              <a:cxnLst/>
              <a:rect l="l" t="t" r="r" b="b"/>
              <a:pathLst>
                <a:path w="19328" h="19326" extrusionOk="0">
                  <a:moveTo>
                    <a:pt x="3436" y="6012"/>
                  </a:moveTo>
                  <a:lnTo>
                    <a:pt x="3436" y="8869"/>
                  </a:lnTo>
                  <a:lnTo>
                    <a:pt x="1516" y="7435"/>
                  </a:lnTo>
                  <a:lnTo>
                    <a:pt x="3436" y="6012"/>
                  </a:lnTo>
                  <a:close/>
                  <a:moveTo>
                    <a:pt x="15892" y="6012"/>
                  </a:moveTo>
                  <a:lnTo>
                    <a:pt x="17812" y="7438"/>
                  </a:lnTo>
                  <a:lnTo>
                    <a:pt x="15892" y="8869"/>
                  </a:lnTo>
                  <a:lnTo>
                    <a:pt x="15892" y="6012"/>
                  </a:lnTo>
                  <a:close/>
                  <a:moveTo>
                    <a:pt x="14759" y="1133"/>
                  </a:moveTo>
                  <a:lnTo>
                    <a:pt x="14759" y="9717"/>
                  </a:lnTo>
                  <a:lnTo>
                    <a:pt x="9665" y="13522"/>
                  </a:lnTo>
                  <a:lnTo>
                    <a:pt x="4569" y="9717"/>
                  </a:lnTo>
                  <a:lnTo>
                    <a:pt x="4569" y="1133"/>
                  </a:lnTo>
                  <a:close/>
                  <a:moveTo>
                    <a:pt x="18195" y="8564"/>
                  </a:moveTo>
                  <a:lnTo>
                    <a:pt x="18195" y="17625"/>
                  </a:lnTo>
                  <a:cubicBezTo>
                    <a:pt x="18195" y="17939"/>
                    <a:pt x="17942" y="18193"/>
                    <a:pt x="17628" y="18193"/>
                  </a:cubicBezTo>
                  <a:lnTo>
                    <a:pt x="1700" y="18193"/>
                  </a:lnTo>
                  <a:cubicBezTo>
                    <a:pt x="1386" y="18193"/>
                    <a:pt x="1136" y="17939"/>
                    <a:pt x="1136" y="17625"/>
                  </a:cubicBezTo>
                  <a:lnTo>
                    <a:pt x="1136" y="8564"/>
                  </a:lnTo>
                  <a:lnTo>
                    <a:pt x="9324" y="14681"/>
                  </a:lnTo>
                  <a:cubicBezTo>
                    <a:pt x="9425" y="14757"/>
                    <a:pt x="9545" y="14794"/>
                    <a:pt x="9664" y="14794"/>
                  </a:cubicBezTo>
                  <a:cubicBezTo>
                    <a:pt x="9783" y="14794"/>
                    <a:pt x="9903" y="14757"/>
                    <a:pt x="10004" y="14681"/>
                  </a:cubicBezTo>
                  <a:lnTo>
                    <a:pt x="18195" y="8564"/>
                  </a:lnTo>
                  <a:close/>
                  <a:moveTo>
                    <a:pt x="4004" y="1"/>
                  </a:moveTo>
                  <a:cubicBezTo>
                    <a:pt x="3690" y="1"/>
                    <a:pt x="3436" y="251"/>
                    <a:pt x="3436" y="565"/>
                  </a:cubicBezTo>
                  <a:lnTo>
                    <a:pt x="3436" y="4605"/>
                  </a:lnTo>
                  <a:lnTo>
                    <a:pt x="230" y="6982"/>
                  </a:lnTo>
                  <a:lnTo>
                    <a:pt x="221" y="6991"/>
                  </a:lnTo>
                  <a:cubicBezTo>
                    <a:pt x="212" y="6997"/>
                    <a:pt x="200" y="7006"/>
                    <a:pt x="190" y="7015"/>
                  </a:cubicBezTo>
                  <a:lnTo>
                    <a:pt x="175" y="7030"/>
                  </a:lnTo>
                  <a:cubicBezTo>
                    <a:pt x="163" y="7042"/>
                    <a:pt x="151" y="7051"/>
                    <a:pt x="142" y="7063"/>
                  </a:cubicBezTo>
                  <a:cubicBezTo>
                    <a:pt x="139" y="7069"/>
                    <a:pt x="136" y="7072"/>
                    <a:pt x="133" y="7075"/>
                  </a:cubicBezTo>
                  <a:cubicBezTo>
                    <a:pt x="121" y="7090"/>
                    <a:pt x="106" y="7105"/>
                    <a:pt x="94" y="7124"/>
                  </a:cubicBezTo>
                  <a:cubicBezTo>
                    <a:pt x="94" y="7127"/>
                    <a:pt x="91" y="7130"/>
                    <a:pt x="88" y="7133"/>
                  </a:cubicBezTo>
                  <a:cubicBezTo>
                    <a:pt x="82" y="7148"/>
                    <a:pt x="73" y="7163"/>
                    <a:pt x="64" y="7178"/>
                  </a:cubicBezTo>
                  <a:cubicBezTo>
                    <a:pt x="61" y="7181"/>
                    <a:pt x="58" y="7187"/>
                    <a:pt x="58" y="7193"/>
                  </a:cubicBezTo>
                  <a:cubicBezTo>
                    <a:pt x="52" y="7205"/>
                    <a:pt x="46" y="7220"/>
                    <a:pt x="39" y="7232"/>
                  </a:cubicBezTo>
                  <a:lnTo>
                    <a:pt x="33" y="7250"/>
                  </a:lnTo>
                  <a:cubicBezTo>
                    <a:pt x="27" y="7265"/>
                    <a:pt x="24" y="7278"/>
                    <a:pt x="18" y="7293"/>
                  </a:cubicBezTo>
                  <a:cubicBezTo>
                    <a:pt x="18" y="7299"/>
                    <a:pt x="15" y="7305"/>
                    <a:pt x="15" y="7311"/>
                  </a:cubicBezTo>
                  <a:cubicBezTo>
                    <a:pt x="12" y="7326"/>
                    <a:pt x="9" y="7341"/>
                    <a:pt x="6" y="7356"/>
                  </a:cubicBezTo>
                  <a:cubicBezTo>
                    <a:pt x="6" y="7362"/>
                    <a:pt x="6" y="7368"/>
                    <a:pt x="3" y="7374"/>
                  </a:cubicBezTo>
                  <a:cubicBezTo>
                    <a:pt x="3" y="7392"/>
                    <a:pt x="0" y="7410"/>
                    <a:pt x="0" y="7432"/>
                  </a:cubicBezTo>
                  <a:lnTo>
                    <a:pt x="0" y="7435"/>
                  </a:lnTo>
                  <a:lnTo>
                    <a:pt x="3" y="7435"/>
                  </a:lnTo>
                  <a:lnTo>
                    <a:pt x="3" y="17625"/>
                  </a:lnTo>
                  <a:cubicBezTo>
                    <a:pt x="3" y="18564"/>
                    <a:pt x="761" y="19325"/>
                    <a:pt x="1700" y="19325"/>
                  </a:cubicBezTo>
                  <a:lnTo>
                    <a:pt x="17628" y="19325"/>
                  </a:lnTo>
                  <a:cubicBezTo>
                    <a:pt x="18567" y="19325"/>
                    <a:pt x="19325" y="18564"/>
                    <a:pt x="19328" y="17625"/>
                  </a:cubicBezTo>
                  <a:lnTo>
                    <a:pt x="19328" y="7435"/>
                  </a:lnTo>
                  <a:lnTo>
                    <a:pt x="19328" y="7428"/>
                  </a:lnTo>
                  <a:cubicBezTo>
                    <a:pt x="19328" y="7410"/>
                    <a:pt x="19325" y="7389"/>
                    <a:pt x="19322" y="7371"/>
                  </a:cubicBezTo>
                  <a:cubicBezTo>
                    <a:pt x="19322" y="7365"/>
                    <a:pt x="19322" y="7359"/>
                    <a:pt x="19319" y="7353"/>
                  </a:cubicBezTo>
                  <a:cubicBezTo>
                    <a:pt x="19319" y="7338"/>
                    <a:pt x="19316" y="7323"/>
                    <a:pt x="19313" y="7308"/>
                  </a:cubicBezTo>
                  <a:cubicBezTo>
                    <a:pt x="19313" y="7302"/>
                    <a:pt x="19310" y="7296"/>
                    <a:pt x="19307" y="7290"/>
                  </a:cubicBezTo>
                  <a:cubicBezTo>
                    <a:pt x="19304" y="7278"/>
                    <a:pt x="19301" y="7262"/>
                    <a:pt x="19294" y="7247"/>
                  </a:cubicBezTo>
                  <a:lnTo>
                    <a:pt x="19288" y="7232"/>
                  </a:lnTo>
                  <a:cubicBezTo>
                    <a:pt x="19282" y="7217"/>
                    <a:pt x="19276" y="7205"/>
                    <a:pt x="19270" y="7190"/>
                  </a:cubicBezTo>
                  <a:cubicBezTo>
                    <a:pt x="19267" y="7184"/>
                    <a:pt x="19264" y="7181"/>
                    <a:pt x="19264" y="7175"/>
                  </a:cubicBezTo>
                  <a:cubicBezTo>
                    <a:pt x="19255" y="7160"/>
                    <a:pt x="19246" y="7145"/>
                    <a:pt x="19237" y="7133"/>
                  </a:cubicBezTo>
                  <a:cubicBezTo>
                    <a:pt x="19237" y="7130"/>
                    <a:pt x="19234" y="7124"/>
                    <a:pt x="19231" y="7120"/>
                  </a:cubicBezTo>
                  <a:cubicBezTo>
                    <a:pt x="19219" y="7105"/>
                    <a:pt x="19207" y="7087"/>
                    <a:pt x="19195" y="7072"/>
                  </a:cubicBezTo>
                  <a:cubicBezTo>
                    <a:pt x="19192" y="7069"/>
                    <a:pt x="19189" y="7066"/>
                    <a:pt x="19186" y="7063"/>
                  </a:cubicBezTo>
                  <a:cubicBezTo>
                    <a:pt x="19174" y="7051"/>
                    <a:pt x="19165" y="7039"/>
                    <a:pt x="19153" y="7027"/>
                  </a:cubicBezTo>
                  <a:lnTo>
                    <a:pt x="19137" y="7015"/>
                  </a:lnTo>
                  <a:cubicBezTo>
                    <a:pt x="19125" y="7006"/>
                    <a:pt x="19116" y="6997"/>
                    <a:pt x="19104" y="6988"/>
                  </a:cubicBezTo>
                  <a:lnTo>
                    <a:pt x="19095" y="6979"/>
                  </a:lnTo>
                  <a:lnTo>
                    <a:pt x="15892" y="4605"/>
                  </a:lnTo>
                  <a:lnTo>
                    <a:pt x="15892" y="565"/>
                  </a:lnTo>
                  <a:cubicBezTo>
                    <a:pt x="15892" y="251"/>
                    <a:pt x="15638" y="1"/>
                    <a:pt x="15327"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435D74"/>
                </a:solidFill>
                <a:latin typeface="Arial"/>
                <a:cs typeface="Arial"/>
                <a:sym typeface="Arial"/>
              </a:endParaRPr>
            </a:p>
          </p:txBody>
        </p:sp>
        <p:sp>
          <p:nvSpPr>
            <p:cNvPr id="9382" name="Google Shape;9382;p109"/>
            <p:cNvSpPr/>
            <p:nvPr/>
          </p:nvSpPr>
          <p:spPr>
            <a:xfrm>
              <a:off x="1036150" y="1514825"/>
              <a:ext cx="198175" cy="28325"/>
            </a:xfrm>
            <a:custGeom>
              <a:avLst/>
              <a:gdLst/>
              <a:ahLst/>
              <a:cxnLst/>
              <a:rect l="l" t="t" r="r" b="b"/>
              <a:pathLst>
                <a:path w="7927" h="1133" extrusionOk="0">
                  <a:moveTo>
                    <a:pt x="569" y="0"/>
                  </a:moveTo>
                  <a:cubicBezTo>
                    <a:pt x="255" y="0"/>
                    <a:pt x="1" y="251"/>
                    <a:pt x="1" y="565"/>
                  </a:cubicBezTo>
                  <a:cubicBezTo>
                    <a:pt x="1" y="879"/>
                    <a:pt x="255" y="1132"/>
                    <a:pt x="569" y="1132"/>
                  </a:cubicBezTo>
                  <a:lnTo>
                    <a:pt x="7362" y="1132"/>
                  </a:lnTo>
                  <a:cubicBezTo>
                    <a:pt x="7673" y="1132"/>
                    <a:pt x="7927" y="879"/>
                    <a:pt x="7927" y="565"/>
                  </a:cubicBezTo>
                  <a:cubicBezTo>
                    <a:pt x="7927" y="251"/>
                    <a:pt x="7673" y="0"/>
                    <a:pt x="7362"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435D74"/>
                </a:solidFill>
                <a:latin typeface="Arial"/>
                <a:cs typeface="Arial"/>
                <a:sym typeface="Arial"/>
              </a:endParaRPr>
            </a:p>
          </p:txBody>
        </p:sp>
        <p:sp>
          <p:nvSpPr>
            <p:cNvPr id="9383" name="Google Shape;9383;p109"/>
            <p:cNvSpPr/>
            <p:nvPr/>
          </p:nvSpPr>
          <p:spPr>
            <a:xfrm>
              <a:off x="1036150" y="1571425"/>
              <a:ext cx="198175" cy="28325"/>
            </a:xfrm>
            <a:custGeom>
              <a:avLst/>
              <a:gdLst/>
              <a:ahLst/>
              <a:cxnLst/>
              <a:rect l="l" t="t" r="r" b="b"/>
              <a:pathLst>
                <a:path w="7927" h="1133" extrusionOk="0">
                  <a:moveTo>
                    <a:pt x="569" y="1"/>
                  </a:moveTo>
                  <a:cubicBezTo>
                    <a:pt x="255" y="1"/>
                    <a:pt x="1" y="251"/>
                    <a:pt x="1" y="565"/>
                  </a:cubicBezTo>
                  <a:cubicBezTo>
                    <a:pt x="1" y="879"/>
                    <a:pt x="255" y="1133"/>
                    <a:pt x="569" y="1133"/>
                  </a:cubicBezTo>
                  <a:lnTo>
                    <a:pt x="7362" y="1133"/>
                  </a:lnTo>
                  <a:cubicBezTo>
                    <a:pt x="7673" y="1133"/>
                    <a:pt x="7927" y="879"/>
                    <a:pt x="7927" y="565"/>
                  </a:cubicBezTo>
                  <a:cubicBezTo>
                    <a:pt x="7927" y="251"/>
                    <a:pt x="7673" y="1"/>
                    <a:pt x="7362"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435D74"/>
                </a:solidFill>
                <a:latin typeface="Arial"/>
                <a:cs typeface="Arial"/>
                <a:sym typeface="Arial"/>
              </a:endParaRPr>
            </a:p>
          </p:txBody>
        </p:sp>
        <p:sp>
          <p:nvSpPr>
            <p:cNvPr id="9384" name="Google Shape;9384;p109"/>
            <p:cNvSpPr/>
            <p:nvPr/>
          </p:nvSpPr>
          <p:spPr>
            <a:xfrm>
              <a:off x="1036150" y="1628050"/>
              <a:ext cx="113275" cy="28325"/>
            </a:xfrm>
            <a:custGeom>
              <a:avLst/>
              <a:gdLst/>
              <a:ahLst/>
              <a:cxnLst/>
              <a:rect l="l" t="t" r="r" b="b"/>
              <a:pathLst>
                <a:path w="4531" h="1133" extrusionOk="0">
                  <a:moveTo>
                    <a:pt x="569" y="0"/>
                  </a:moveTo>
                  <a:cubicBezTo>
                    <a:pt x="255" y="0"/>
                    <a:pt x="1" y="251"/>
                    <a:pt x="1" y="565"/>
                  </a:cubicBezTo>
                  <a:cubicBezTo>
                    <a:pt x="1" y="879"/>
                    <a:pt x="255" y="1132"/>
                    <a:pt x="569" y="1132"/>
                  </a:cubicBezTo>
                  <a:lnTo>
                    <a:pt x="3965" y="1132"/>
                  </a:lnTo>
                  <a:cubicBezTo>
                    <a:pt x="4276" y="1132"/>
                    <a:pt x="4530" y="879"/>
                    <a:pt x="4530" y="565"/>
                  </a:cubicBezTo>
                  <a:cubicBezTo>
                    <a:pt x="4530" y="251"/>
                    <a:pt x="4276" y="0"/>
                    <a:pt x="3965"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435D74"/>
                </a:solidFill>
                <a:latin typeface="Arial"/>
                <a:cs typeface="Arial"/>
                <a:sym typeface="Arial"/>
              </a:endParaRPr>
            </a:p>
          </p:txBody>
        </p:sp>
      </p:grpSp>
      <p:sp>
        <p:nvSpPr>
          <p:cNvPr id="9385" name="Google Shape;9385;p109"/>
          <p:cNvSpPr/>
          <p:nvPr/>
        </p:nvSpPr>
        <p:spPr>
          <a:xfrm>
            <a:off x="1684708" y="4248099"/>
            <a:ext cx="453557" cy="292343"/>
          </a:xfrm>
          <a:custGeom>
            <a:avLst/>
            <a:gdLst/>
            <a:ahLst/>
            <a:cxnLst/>
            <a:rect l="l" t="t" r="r" b="b"/>
            <a:pathLst>
              <a:path w="19325" h="12456" extrusionOk="0">
                <a:moveTo>
                  <a:pt x="17057" y="1133"/>
                </a:moveTo>
                <a:lnTo>
                  <a:pt x="9662" y="6652"/>
                </a:lnTo>
                <a:lnTo>
                  <a:pt x="2268" y="1133"/>
                </a:lnTo>
                <a:close/>
                <a:moveTo>
                  <a:pt x="18192" y="1697"/>
                </a:moveTo>
                <a:lnTo>
                  <a:pt x="18192" y="10756"/>
                </a:lnTo>
                <a:cubicBezTo>
                  <a:pt x="18192" y="11070"/>
                  <a:pt x="17939" y="11323"/>
                  <a:pt x="17628" y="11323"/>
                </a:cubicBezTo>
                <a:lnTo>
                  <a:pt x="1700" y="11323"/>
                </a:lnTo>
                <a:cubicBezTo>
                  <a:pt x="1386" y="11323"/>
                  <a:pt x="1132" y="11070"/>
                  <a:pt x="1132" y="10756"/>
                </a:cubicBezTo>
                <a:lnTo>
                  <a:pt x="1132" y="1697"/>
                </a:lnTo>
                <a:lnTo>
                  <a:pt x="9324" y="7812"/>
                </a:lnTo>
                <a:cubicBezTo>
                  <a:pt x="9424" y="7887"/>
                  <a:pt x="9543" y="7925"/>
                  <a:pt x="9663" y="7925"/>
                </a:cubicBezTo>
                <a:cubicBezTo>
                  <a:pt x="9782" y="7925"/>
                  <a:pt x="9902" y="7887"/>
                  <a:pt x="10004" y="7812"/>
                </a:cubicBezTo>
                <a:lnTo>
                  <a:pt x="18192" y="1697"/>
                </a:lnTo>
                <a:close/>
                <a:moveTo>
                  <a:pt x="1688" y="0"/>
                </a:moveTo>
                <a:cubicBezTo>
                  <a:pt x="1287" y="0"/>
                  <a:pt x="900" y="145"/>
                  <a:pt x="598" y="405"/>
                </a:cubicBezTo>
                <a:cubicBezTo>
                  <a:pt x="583" y="417"/>
                  <a:pt x="571" y="429"/>
                  <a:pt x="556" y="444"/>
                </a:cubicBezTo>
                <a:cubicBezTo>
                  <a:pt x="202" y="764"/>
                  <a:pt x="0" y="1220"/>
                  <a:pt x="0" y="1697"/>
                </a:cubicBezTo>
                <a:lnTo>
                  <a:pt x="0" y="10756"/>
                </a:lnTo>
                <a:cubicBezTo>
                  <a:pt x="0" y="11695"/>
                  <a:pt x="761" y="12453"/>
                  <a:pt x="1700" y="12456"/>
                </a:cubicBezTo>
                <a:lnTo>
                  <a:pt x="17628" y="12456"/>
                </a:lnTo>
                <a:cubicBezTo>
                  <a:pt x="18564" y="12453"/>
                  <a:pt x="19325" y="11695"/>
                  <a:pt x="19325" y="10756"/>
                </a:cubicBezTo>
                <a:lnTo>
                  <a:pt x="19325" y="1697"/>
                </a:lnTo>
                <a:cubicBezTo>
                  <a:pt x="19325" y="1220"/>
                  <a:pt x="19122" y="764"/>
                  <a:pt x="18769" y="441"/>
                </a:cubicBezTo>
                <a:cubicBezTo>
                  <a:pt x="18757" y="429"/>
                  <a:pt x="18742" y="417"/>
                  <a:pt x="18727" y="405"/>
                </a:cubicBezTo>
                <a:cubicBezTo>
                  <a:pt x="18422" y="145"/>
                  <a:pt x="18037" y="0"/>
                  <a:pt x="17640" y="0"/>
                </a:cubicBezTo>
                <a:cubicBezTo>
                  <a:pt x="17636" y="0"/>
                  <a:pt x="17632" y="0"/>
                  <a:pt x="17628" y="1"/>
                </a:cubicBezTo>
                <a:lnTo>
                  <a:pt x="1700" y="1"/>
                </a:lnTo>
                <a:cubicBezTo>
                  <a:pt x="1696" y="0"/>
                  <a:pt x="1692" y="0"/>
                  <a:pt x="1688"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435D74"/>
              </a:solidFill>
              <a:latin typeface="Arial"/>
              <a:cs typeface="Arial"/>
              <a:sym typeface="Arial"/>
            </a:endParaRPr>
          </a:p>
        </p:txBody>
      </p:sp>
      <p:sp>
        <p:nvSpPr>
          <p:cNvPr id="9386" name="Google Shape;9386;p109"/>
          <p:cNvSpPr/>
          <p:nvPr/>
        </p:nvSpPr>
        <p:spPr>
          <a:xfrm>
            <a:off x="2228102" y="4167530"/>
            <a:ext cx="471489" cy="453511"/>
          </a:xfrm>
          <a:custGeom>
            <a:avLst/>
            <a:gdLst/>
            <a:ahLst/>
            <a:cxnLst/>
            <a:rect l="l" t="t" r="r" b="b"/>
            <a:pathLst>
              <a:path w="20089" h="19323" extrusionOk="0">
                <a:moveTo>
                  <a:pt x="4477" y="1134"/>
                </a:moveTo>
                <a:cubicBezTo>
                  <a:pt x="4624" y="1134"/>
                  <a:pt x="4765" y="1194"/>
                  <a:pt x="4868" y="1300"/>
                </a:cubicBezTo>
                <a:lnTo>
                  <a:pt x="7268" y="3694"/>
                </a:lnTo>
                <a:cubicBezTo>
                  <a:pt x="7489" y="3915"/>
                  <a:pt x="7489" y="4271"/>
                  <a:pt x="7268" y="4494"/>
                </a:cubicBezTo>
                <a:lnTo>
                  <a:pt x="6870" y="4893"/>
                </a:lnTo>
                <a:lnTo>
                  <a:pt x="3669" y="1692"/>
                </a:lnTo>
                <a:lnTo>
                  <a:pt x="4068" y="1300"/>
                </a:lnTo>
                <a:cubicBezTo>
                  <a:pt x="4173" y="1191"/>
                  <a:pt x="4315" y="1134"/>
                  <a:pt x="4466" y="1134"/>
                </a:cubicBezTo>
                <a:cubicBezTo>
                  <a:pt x="4470" y="1134"/>
                  <a:pt x="4473" y="1134"/>
                  <a:pt x="4477" y="1134"/>
                </a:cubicBezTo>
                <a:close/>
                <a:moveTo>
                  <a:pt x="15822" y="12484"/>
                </a:moveTo>
                <a:cubicBezTo>
                  <a:pt x="15973" y="12484"/>
                  <a:pt x="16118" y="12544"/>
                  <a:pt x="16224" y="12650"/>
                </a:cubicBezTo>
                <a:lnTo>
                  <a:pt x="18624" y="15053"/>
                </a:lnTo>
                <a:cubicBezTo>
                  <a:pt x="18845" y="15274"/>
                  <a:pt x="18845" y="15633"/>
                  <a:pt x="18624" y="15854"/>
                </a:cubicBezTo>
                <a:lnTo>
                  <a:pt x="18226" y="16255"/>
                </a:lnTo>
                <a:lnTo>
                  <a:pt x="15022" y="13051"/>
                </a:lnTo>
                <a:lnTo>
                  <a:pt x="15421" y="12650"/>
                </a:lnTo>
                <a:cubicBezTo>
                  <a:pt x="15526" y="12544"/>
                  <a:pt x="15671" y="12484"/>
                  <a:pt x="15822" y="12484"/>
                </a:cubicBezTo>
                <a:close/>
                <a:moveTo>
                  <a:pt x="2881" y="2508"/>
                </a:moveTo>
                <a:lnTo>
                  <a:pt x="6073" y="5699"/>
                </a:lnTo>
                <a:cubicBezTo>
                  <a:pt x="5227" y="6656"/>
                  <a:pt x="5275" y="8103"/>
                  <a:pt x="6175" y="9005"/>
                </a:cubicBezTo>
                <a:lnTo>
                  <a:pt x="10910" y="13743"/>
                </a:lnTo>
                <a:cubicBezTo>
                  <a:pt x="11379" y="14214"/>
                  <a:pt x="11998" y="14451"/>
                  <a:pt x="12618" y="14451"/>
                </a:cubicBezTo>
                <a:cubicBezTo>
                  <a:pt x="13188" y="14451"/>
                  <a:pt x="13758" y="14252"/>
                  <a:pt x="14216" y="13849"/>
                </a:cubicBezTo>
                <a:lnTo>
                  <a:pt x="17408" y="17040"/>
                </a:lnTo>
                <a:cubicBezTo>
                  <a:pt x="16480" y="17810"/>
                  <a:pt x="15350" y="18190"/>
                  <a:pt x="14222" y="18190"/>
                </a:cubicBezTo>
                <a:cubicBezTo>
                  <a:pt x="12939" y="18190"/>
                  <a:pt x="11660" y="17697"/>
                  <a:pt x="10689" y="16726"/>
                </a:cubicBezTo>
                <a:lnTo>
                  <a:pt x="10692" y="16726"/>
                </a:lnTo>
                <a:lnTo>
                  <a:pt x="3192" y="9226"/>
                </a:lnTo>
                <a:cubicBezTo>
                  <a:pt x="1371" y="7402"/>
                  <a:pt x="1235" y="4491"/>
                  <a:pt x="2881" y="2508"/>
                </a:cubicBezTo>
                <a:close/>
                <a:moveTo>
                  <a:pt x="4468" y="1"/>
                </a:moveTo>
                <a:cubicBezTo>
                  <a:pt x="4034" y="1"/>
                  <a:pt x="3600" y="166"/>
                  <a:pt x="3267" y="497"/>
                </a:cubicBezTo>
                <a:lnTo>
                  <a:pt x="2473" y="1285"/>
                </a:lnTo>
                <a:lnTo>
                  <a:pt x="2464" y="1294"/>
                </a:lnTo>
                <a:lnTo>
                  <a:pt x="2458" y="1300"/>
                </a:lnTo>
                <a:lnTo>
                  <a:pt x="2392" y="1366"/>
                </a:lnTo>
                <a:cubicBezTo>
                  <a:pt x="0" y="3758"/>
                  <a:pt x="0" y="7635"/>
                  <a:pt x="2392" y="10026"/>
                </a:cubicBezTo>
                <a:lnTo>
                  <a:pt x="9889" y="17529"/>
                </a:lnTo>
                <a:cubicBezTo>
                  <a:pt x="11086" y="18725"/>
                  <a:pt x="12654" y="19323"/>
                  <a:pt x="14222" y="19323"/>
                </a:cubicBezTo>
                <a:cubicBezTo>
                  <a:pt x="15789" y="19323"/>
                  <a:pt x="17356" y="18725"/>
                  <a:pt x="18552" y="17529"/>
                </a:cubicBezTo>
                <a:lnTo>
                  <a:pt x="18624" y="17457"/>
                </a:lnTo>
                <a:lnTo>
                  <a:pt x="19425" y="16657"/>
                </a:lnTo>
                <a:cubicBezTo>
                  <a:pt x="20089" y="15992"/>
                  <a:pt x="20089" y="14917"/>
                  <a:pt x="19425" y="14253"/>
                </a:cubicBezTo>
                <a:lnTo>
                  <a:pt x="17024" y="11850"/>
                </a:lnTo>
                <a:cubicBezTo>
                  <a:pt x="16692" y="11518"/>
                  <a:pt x="16257" y="11352"/>
                  <a:pt x="15822" y="11352"/>
                </a:cubicBezTo>
                <a:cubicBezTo>
                  <a:pt x="15388" y="11352"/>
                  <a:pt x="14953" y="11518"/>
                  <a:pt x="14621" y="11850"/>
                </a:cubicBezTo>
                <a:lnTo>
                  <a:pt x="13820" y="12650"/>
                </a:lnTo>
                <a:lnTo>
                  <a:pt x="13531" y="12943"/>
                </a:lnTo>
                <a:cubicBezTo>
                  <a:pt x="13278" y="13193"/>
                  <a:pt x="12949" y="13319"/>
                  <a:pt x="12620" y="13319"/>
                </a:cubicBezTo>
                <a:cubicBezTo>
                  <a:pt x="12291" y="13319"/>
                  <a:pt x="11962" y="13193"/>
                  <a:pt x="11710" y="12943"/>
                </a:cubicBezTo>
                <a:lnTo>
                  <a:pt x="6978" y="8205"/>
                </a:lnTo>
                <a:cubicBezTo>
                  <a:pt x="6474" y="7704"/>
                  <a:pt x="6474" y="6889"/>
                  <a:pt x="6978" y="6385"/>
                </a:cubicBezTo>
                <a:lnTo>
                  <a:pt x="7268" y="6095"/>
                </a:lnTo>
                <a:lnTo>
                  <a:pt x="8068" y="5294"/>
                </a:lnTo>
                <a:cubicBezTo>
                  <a:pt x="8733" y="4630"/>
                  <a:pt x="8733" y="3555"/>
                  <a:pt x="8068" y="2891"/>
                </a:cubicBezTo>
                <a:lnTo>
                  <a:pt x="5668" y="497"/>
                </a:lnTo>
                <a:cubicBezTo>
                  <a:pt x="5336" y="166"/>
                  <a:pt x="4902" y="1"/>
                  <a:pt x="4468"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435D74"/>
              </a:solidFill>
              <a:latin typeface="Arial"/>
              <a:cs typeface="Arial"/>
              <a:sym typeface="Arial"/>
            </a:endParaRPr>
          </a:p>
        </p:txBody>
      </p:sp>
      <p:grpSp>
        <p:nvGrpSpPr>
          <p:cNvPr id="9387" name="Google Shape;9387;p109"/>
          <p:cNvGrpSpPr/>
          <p:nvPr/>
        </p:nvGrpSpPr>
        <p:grpSpPr>
          <a:xfrm>
            <a:off x="2799529" y="4195285"/>
            <a:ext cx="470433" cy="398473"/>
            <a:chOff x="2676100" y="1456375"/>
            <a:chExt cx="501100" cy="424450"/>
          </a:xfrm>
        </p:grpSpPr>
        <p:sp>
          <p:nvSpPr>
            <p:cNvPr id="9388" name="Google Shape;9388;p109"/>
            <p:cNvSpPr/>
            <p:nvPr/>
          </p:nvSpPr>
          <p:spPr>
            <a:xfrm>
              <a:off x="3079725" y="1534750"/>
              <a:ext cx="97475" cy="268275"/>
            </a:xfrm>
            <a:custGeom>
              <a:avLst/>
              <a:gdLst/>
              <a:ahLst/>
              <a:cxnLst/>
              <a:rect l="l" t="t" r="r" b="b"/>
              <a:pathLst>
                <a:path w="3899" h="10731" extrusionOk="0">
                  <a:moveTo>
                    <a:pt x="621" y="1"/>
                  </a:moveTo>
                  <a:cubicBezTo>
                    <a:pt x="476" y="1"/>
                    <a:pt x="331" y="56"/>
                    <a:pt x="221" y="166"/>
                  </a:cubicBezTo>
                  <a:cubicBezTo>
                    <a:pt x="0" y="387"/>
                    <a:pt x="0" y="746"/>
                    <a:pt x="221" y="966"/>
                  </a:cubicBezTo>
                  <a:cubicBezTo>
                    <a:pt x="2657" y="3397"/>
                    <a:pt x="2657" y="7340"/>
                    <a:pt x="221" y="9771"/>
                  </a:cubicBezTo>
                  <a:cubicBezTo>
                    <a:pt x="6" y="9992"/>
                    <a:pt x="9" y="10345"/>
                    <a:pt x="230" y="10565"/>
                  </a:cubicBezTo>
                  <a:cubicBezTo>
                    <a:pt x="340" y="10675"/>
                    <a:pt x="484" y="10730"/>
                    <a:pt x="629" y="10730"/>
                  </a:cubicBezTo>
                  <a:cubicBezTo>
                    <a:pt x="770" y="10730"/>
                    <a:pt x="912" y="10677"/>
                    <a:pt x="1021" y="10571"/>
                  </a:cubicBezTo>
                  <a:cubicBezTo>
                    <a:pt x="3898" y="7700"/>
                    <a:pt x="3898" y="3038"/>
                    <a:pt x="1021" y="166"/>
                  </a:cubicBezTo>
                  <a:cubicBezTo>
                    <a:pt x="911" y="56"/>
                    <a:pt x="766" y="1"/>
                    <a:pt x="621"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435D74"/>
                </a:solidFill>
                <a:latin typeface="Arial"/>
                <a:cs typeface="Arial"/>
                <a:sym typeface="Arial"/>
              </a:endParaRPr>
            </a:p>
          </p:txBody>
        </p:sp>
        <p:sp>
          <p:nvSpPr>
            <p:cNvPr id="9389" name="Google Shape;9389;p109"/>
            <p:cNvSpPr/>
            <p:nvPr/>
          </p:nvSpPr>
          <p:spPr>
            <a:xfrm>
              <a:off x="3039725" y="1574925"/>
              <a:ext cx="75350" cy="188250"/>
            </a:xfrm>
            <a:custGeom>
              <a:avLst/>
              <a:gdLst/>
              <a:ahLst/>
              <a:cxnLst/>
              <a:rect l="l" t="t" r="r" b="b"/>
              <a:pathLst>
                <a:path w="3014" h="7530" extrusionOk="0">
                  <a:moveTo>
                    <a:pt x="629" y="1"/>
                  </a:moveTo>
                  <a:cubicBezTo>
                    <a:pt x="484" y="1"/>
                    <a:pt x="339" y="56"/>
                    <a:pt x="230" y="166"/>
                  </a:cubicBezTo>
                  <a:cubicBezTo>
                    <a:pt x="12" y="383"/>
                    <a:pt x="9" y="736"/>
                    <a:pt x="224" y="960"/>
                  </a:cubicBezTo>
                  <a:cubicBezTo>
                    <a:pt x="1769" y="2506"/>
                    <a:pt x="1769" y="5018"/>
                    <a:pt x="224" y="6564"/>
                  </a:cubicBezTo>
                  <a:cubicBezTo>
                    <a:pt x="0" y="6784"/>
                    <a:pt x="0" y="7144"/>
                    <a:pt x="224" y="7364"/>
                  </a:cubicBezTo>
                  <a:cubicBezTo>
                    <a:pt x="334" y="7474"/>
                    <a:pt x="479" y="7529"/>
                    <a:pt x="624" y="7529"/>
                  </a:cubicBezTo>
                  <a:cubicBezTo>
                    <a:pt x="769" y="7529"/>
                    <a:pt x="913" y="7474"/>
                    <a:pt x="1024" y="7364"/>
                  </a:cubicBezTo>
                  <a:cubicBezTo>
                    <a:pt x="3013" y="5374"/>
                    <a:pt x="3013" y="2149"/>
                    <a:pt x="1024" y="160"/>
                  </a:cubicBezTo>
                  <a:cubicBezTo>
                    <a:pt x="913" y="53"/>
                    <a:pt x="771" y="1"/>
                    <a:pt x="629"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435D74"/>
                </a:solidFill>
                <a:latin typeface="Arial"/>
                <a:cs typeface="Arial"/>
                <a:sym typeface="Arial"/>
              </a:endParaRPr>
            </a:p>
          </p:txBody>
        </p:sp>
        <p:sp>
          <p:nvSpPr>
            <p:cNvPr id="9390" name="Google Shape;9390;p109"/>
            <p:cNvSpPr/>
            <p:nvPr/>
          </p:nvSpPr>
          <p:spPr>
            <a:xfrm>
              <a:off x="2676100" y="1456375"/>
              <a:ext cx="340700" cy="424450"/>
            </a:xfrm>
            <a:custGeom>
              <a:avLst/>
              <a:gdLst/>
              <a:ahLst/>
              <a:cxnLst/>
              <a:rect l="l" t="t" r="r" b="b"/>
              <a:pathLst>
                <a:path w="13628" h="16978" extrusionOk="0">
                  <a:moveTo>
                    <a:pt x="2265" y="6792"/>
                  </a:moveTo>
                  <a:lnTo>
                    <a:pt x="2265" y="10189"/>
                  </a:lnTo>
                  <a:lnTo>
                    <a:pt x="1700" y="10189"/>
                  </a:lnTo>
                  <a:cubicBezTo>
                    <a:pt x="1386" y="10189"/>
                    <a:pt x="1133" y="9935"/>
                    <a:pt x="1133" y="9621"/>
                  </a:cubicBezTo>
                  <a:lnTo>
                    <a:pt x="1133" y="7356"/>
                  </a:lnTo>
                  <a:cubicBezTo>
                    <a:pt x="1133" y="7042"/>
                    <a:pt x="1386" y="6792"/>
                    <a:pt x="1700" y="6792"/>
                  </a:cubicBezTo>
                  <a:close/>
                  <a:moveTo>
                    <a:pt x="5701" y="5659"/>
                  </a:moveTo>
                  <a:lnTo>
                    <a:pt x="5701" y="11321"/>
                  </a:lnTo>
                  <a:lnTo>
                    <a:pt x="3965" y="11321"/>
                  </a:lnTo>
                  <a:cubicBezTo>
                    <a:pt x="3651" y="11321"/>
                    <a:pt x="3397" y="11067"/>
                    <a:pt x="3397" y="10753"/>
                  </a:cubicBezTo>
                  <a:lnTo>
                    <a:pt x="3397" y="6224"/>
                  </a:lnTo>
                  <a:cubicBezTo>
                    <a:pt x="3397" y="5910"/>
                    <a:pt x="3651" y="5659"/>
                    <a:pt x="3965" y="5659"/>
                  </a:cubicBezTo>
                  <a:close/>
                  <a:moveTo>
                    <a:pt x="10230" y="2827"/>
                  </a:moveTo>
                  <a:lnTo>
                    <a:pt x="10230" y="14150"/>
                  </a:lnTo>
                  <a:lnTo>
                    <a:pt x="6833" y="11602"/>
                  </a:lnTo>
                  <a:lnTo>
                    <a:pt x="6833" y="5376"/>
                  </a:lnTo>
                  <a:lnTo>
                    <a:pt x="10230" y="2827"/>
                  </a:lnTo>
                  <a:close/>
                  <a:moveTo>
                    <a:pt x="11927" y="1130"/>
                  </a:moveTo>
                  <a:cubicBezTo>
                    <a:pt x="12241" y="1130"/>
                    <a:pt x="12495" y="1381"/>
                    <a:pt x="12495" y="1695"/>
                  </a:cubicBezTo>
                  <a:lnTo>
                    <a:pt x="12495" y="15282"/>
                  </a:lnTo>
                  <a:cubicBezTo>
                    <a:pt x="12495" y="15596"/>
                    <a:pt x="12241" y="15847"/>
                    <a:pt x="11927" y="15847"/>
                  </a:cubicBezTo>
                  <a:cubicBezTo>
                    <a:pt x="11613" y="15847"/>
                    <a:pt x="11363" y="15596"/>
                    <a:pt x="11363" y="15282"/>
                  </a:cubicBezTo>
                  <a:lnTo>
                    <a:pt x="11363" y="1695"/>
                  </a:lnTo>
                  <a:cubicBezTo>
                    <a:pt x="11363" y="1381"/>
                    <a:pt x="11613" y="1130"/>
                    <a:pt x="11927" y="1130"/>
                  </a:cubicBezTo>
                  <a:close/>
                  <a:moveTo>
                    <a:pt x="11925" y="0"/>
                  </a:moveTo>
                  <a:cubicBezTo>
                    <a:pt x="11115" y="0"/>
                    <a:pt x="10405" y="580"/>
                    <a:pt x="10257" y="1393"/>
                  </a:cubicBezTo>
                  <a:lnTo>
                    <a:pt x="6079" y="4527"/>
                  </a:lnTo>
                  <a:lnTo>
                    <a:pt x="3965" y="4527"/>
                  </a:lnTo>
                  <a:cubicBezTo>
                    <a:pt x="3243" y="4527"/>
                    <a:pt x="2603" y="4980"/>
                    <a:pt x="2362" y="5659"/>
                  </a:cubicBezTo>
                  <a:lnTo>
                    <a:pt x="1700" y="5659"/>
                  </a:lnTo>
                  <a:cubicBezTo>
                    <a:pt x="761" y="5659"/>
                    <a:pt x="0" y="6417"/>
                    <a:pt x="0" y="7356"/>
                  </a:cubicBezTo>
                  <a:lnTo>
                    <a:pt x="0" y="9621"/>
                  </a:lnTo>
                  <a:cubicBezTo>
                    <a:pt x="0" y="10560"/>
                    <a:pt x="761" y="11318"/>
                    <a:pt x="1700" y="11321"/>
                  </a:cubicBezTo>
                  <a:lnTo>
                    <a:pt x="2362" y="11321"/>
                  </a:lnTo>
                  <a:cubicBezTo>
                    <a:pt x="2603" y="11997"/>
                    <a:pt x="3243" y="12450"/>
                    <a:pt x="3965" y="12453"/>
                  </a:cubicBezTo>
                  <a:lnTo>
                    <a:pt x="6079" y="12453"/>
                  </a:lnTo>
                  <a:lnTo>
                    <a:pt x="10257" y="15584"/>
                  </a:lnTo>
                  <a:cubicBezTo>
                    <a:pt x="10405" y="16397"/>
                    <a:pt x="11115" y="16977"/>
                    <a:pt x="11925" y="16977"/>
                  </a:cubicBezTo>
                  <a:cubicBezTo>
                    <a:pt x="11976" y="16977"/>
                    <a:pt x="12027" y="16975"/>
                    <a:pt x="12078" y="16970"/>
                  </a:cubicBezTo>
                  <a:cubicBezTo>
                    <a:pt x="12954" y="16892"/>
                    <a:pt x="13624" y="16161"/>
                    <a:pt x="13627" y="15282"/>
                  </a:cubicBezTo>
                  <a:lnTo>
                    <a:pt x="13627" y="1695"/>
                  </a:lnTo>
                  <a:cubicBezTo>
                    <a:pt x="13624" y="816"/>
                    <a:pt x="12954" y="85"/>
                    <a:pt x="12078" y="7"/>
                  </a:cubicBezTo>
                  <a:cubicBezTo>
                    <a:pt x="12027" y="2"/>
                    <a:pt x="11976" y="0"/>
                    <a:pt x="11925"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435D74"/>
                </a:solidFill>
                <a:latin typeface="Arial"/>
                <a:cs typeface="Arial"/>
                <a:sym typeface="Arial"/>
              </a:endParaRPr>
            </a:p>
          </p:txBody>
        </p:sp>
      </p:grpSp>
      <p:grpSp>
        <p:nvGrpSpPr>
          <p:cNvPr id="9391" name="Google Shape;9391;p109"/>
          <p:cNvGrpSpPr/>
          <p:nvPr/>
        </p:nvGrpSpPr>
        <p:grpSpPr>
          <a:xfrm>
            <a:off x="3364227" y="4167742"/>
            <a:ext cx="453628" cy="453557"/>
            <a:chOff x="3270475" y="1427025"/>
            <a:chExt cx="483200" cy="483125"/>
          </a:xfrm>
        </p:grpSpPr>
        <p:sp>
          <p:nvSpPr>
            <p:cNvPr id="9392" name="Google Shape;9392;p109"/>
            <p:cNvSpPr/>
            <p:nvPr/>
          </p:nvSpPr>
          <p:spPr>
            <a:xfrm>
              <a:off x="3270475" y="1427025"/>
              <a:ext cx="483200" cy="483125"/>
            </a:xfrm>
            <a:custGeom>
              <a:avLst/>
              <a:gdLst/>
              <a:ahLst/>
              <a:cxnLst/>
              <a:rect l="l" t="t" r="r" b="b"/>
              <a:pathLst>
                <a:path w="19328" h="19325" extrusionOk="0">
                  <a:moveTo>
                    <a:pt x="9630" y="1133"/>
                  </a:moveTo>
                  <a:cubicBezTo>
                    <a:pt x="14352" y="1133"/>
                    <a:pt x="18196" y="4943"/>
                    <a:pt x="18196" y="9626"/>
                  </a:cubicBezTo>
                  <a:cubicBezTo>
                    <a:pt x="18196" y="14349"/>
                    <a:pt x="14352" y="18193"/>
                    <a:pt x="9630" y="18193"/>
                  </a:cubicBezTo>
                  <a:cubicBezTo>
                    <a:pt x="4946" y="18193"/>
                    <a:pt x="1136" y="14349"/>
                    <a:pt x="1136" y="9626"/>
                  </a:cubicBezTo>
                  <a:cubicBezTo>
                    <a:pt x="1136" y="4943"/>
                    <a:pt x="4946" y="1133"/>
                    <a:pt x="9630" y="1133"/>
                  </a:cubicBezTo>
                  <a:close/>
                  <a:moveTo>
                    <a:pt x="9641" y="0"/>
                  </a:moveTo>
                  <a:cubicBezTo>
                    <a:pt x="9637" y="0"/>
                    <a:pt x="9633" y="0"/>
                    <a:pt x="9630" y="0"/>
                  </a:cubicBezTo>
                  <a:cubicBezTo>
                    <a:pt x="4312" y="0"/>
                    <a:pt x="4" y="4309"/>
                    <a:pt x="4" y="9626"/>
                  </a:cubicBezTo>
                  <a:cubicBezTo>
                    <a:pt x="1" y="12187"/>
                    <a:pt x="1012" y="14648"/>
                    <a:pt x="2821" y="16465"/>
                  </a:cubicBezTo>
                  <a:cubicBezTo>
                    <a:pt x="4644" y="18310"/>
                    <a:pt x="7063" y="19325"/>
                    <a:pt x="9630" y="19325"/>
                  </a:cubicBezTo>
                  <a:cubicBezTo>
                    <a:pt x="10922" y="19325"/>
                    <a:pt x="12199" y="19065"/>
                    <a:pt x="13389" y="18555"/>
                  </a:cubicBezTo>
                  <a:cubicBezTo>
                    <a:pt x="15711" y="17558"/>
                    <a:pt x="17562" y="15708"/>
                    <a:pt x="18558" y="13386"/>
                  </a:cubicBezTo>
                  <a:cubicBezTo>
                    <a:pt x="19068" y="12196"/>
                    <a:pt x="19328" y="10919"/>
                    <a:pt x="19328" y="9626"/>
                  </a:cubicBezTo>
                  <a:cubicBezTo>
                    <a:pt x="19328" y="7060"/>
                    <a:pt x="18313" y="4641"/>
                    <a:pt x="16469" y="2818"/>
                  </a:cubicBezTo>
                  <a:cubicBezTo>
                    <a:pt x="14654" y="1012"/>
                    <a:pt x="12197" y="0"/>
                    <a:pt x="9641"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435D74"/>
                </a:solidFill>
                <a:latin typeface="Arial"/>
                <a:cs typeface="Arial"/>
                <a:sym typeface="Arial"/>
              </a:endParaRPr>
            </a:p>
          </p:txBody>
        </p:sp>
        <p:sp>
          <p:nvSpPr>
            <p:cNvPr id="9393" name="Google Shape;9393;p109"/>
            <p:cNvSpPr/>
            <p:nvPr/>
          </p:nvSpPr>
          <p:spPr>
            <a:xfrm>
              <a:off x="3497550" y="1596875"/>
              <a:ext cx="87650" cy="141525"/>
            </a:xfrm>
            <a:custGeom>
              <a:avLst/>
              <a:gdLst/>
              <a:ahLst/>
              <a:cxnLst/>
              <a:rect l="l" t="t" r="r" b="b"/>
              <a:pathLst>
                <a:path w="3506" h="5661" extrusionOk="0">
                  <a:moveTo>
                    <a:pt x="2885" y="1"/>
                  </a:moveTo>
                  <a:cubicBezTo>
                    <a:pt x="2740" y="1"/>
                    <a:pt x="2595" y="56"/>
                    <a:pt x="2485" y="166"/>
                  </a:cubicBezTo>
                  <a:lnTo>
                    <a:pt x="220" y="2431"/>
                  </a:lnTo>
                  <a:cubicBezTo>
                    <a:pt x="0" y="2651"/>
                    <a:pt x="0" y="3011"/>
                    <a:pt x="220" y="3231"/>
                  </a:cubicBezTo>
                  <a:lnTo>
                    <a:pt x="2485" y="5496"/>
                  </a:lnTo>
                  <a:cubicBezTo>
                    <a:pt x="2595" y="5606"/>
                    <a:pt x="2740" y="5661"/>
                    <a:pt x="2885" y="5661"/>
                  </a:cubicBezTo>
                  <a:cubicBezTo>
                    <a:pt x="3030" y="5661"/>
                    <a:pt x="3175" y="5606"/>
                    <a:pt x="3285" y="5496"/>
                  </a:cubicBezTo>
                  <a:cubicBezTo>
                    <a:pt x="3506" y="5275"/>
                    <a:pt x="3506" y="4916"/>
                    <a:pt x="3285" y="4695"/>
                  </a:cubicBezTo>
                  <a:lnTo>
                    <a:pt x="1422" y="2832"/>
                  </a:lnTo>
                  <a:lnTo>
                    <a:pt x="3285" y="966"/>
                  </a:lnTo>
                  <a:cubicBezTo>
                    <a:pt x="3506" y="746"/>
                    <a:pt x="3506" y="387"/>
                    <a:pt x="3285" y="166"/>
                  </a:cubicBezTo>
                  <a:cubicBezTo>
                    <a:pt x="3175" y="56"/>
                    <a:pt x="3030" y="1"/>
                    <a:pt x="2885"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435D74"/>
                </a:solidFill>
                <a:latin typeface="Arial"/>
                <a:cs typeface="Arial"/>
                <a:sym typeface="Arial"/>
              </a:endParaRPr>
            </a:p>
          </p:txBody>
        </p:sp>
        <p:sp>
          <p:nvSpPr>
            <p:cNvPr id="9394" name="Google Shape;9394;p109"/>
            <p:cNvSpPr/>
            <p:nvPr/>
          </p:nvSpPr>
          <p:spPr>
            <a:xfrm>
              <a:off x="3327100" y="1483625"/>
              <a:ext cx="369975" cy="369925"/>
            </a:xfrm>
            <a:custGeom>
              <a:avLst/>
              <a:gdLst/>
              <a:ahLst/>
              <a:cxnLst/>
              <a:rect l="l" t="t" r="r" b="b"/>
              <a:pathLst>
                <a:path w="14799" h="14797" extrusionOk="0">
                  <a:moveTo>
                    <a:pt x="7929" y="1157"/>
                  </a:moveTo>
                  <a:cubicBezTo>
                    <a:pt x="9206" y="1272"/>
                    <a:pt x="10420" y="1770"/>
                    <a:pt x="11411" y="2589"/>
                  </a:cubicBezTo>
                  <a:lnTo>
                    <a:pt x="11042" y="2957"/>
                  </a:lnTo>
                  <a:cubicBezTo>
                    <a:pt x="10828" y="3180"/>
                    <a:pt x="10831" y="3534"/>
                    <a:pt x="11048" y="3751"/>
                  </a:cubicBezTo>
                  <a:cubicBezTo>
                    <a:pt x="11158" y="3861"/>
                    <a:pt x="11303" y="3916"/>
                    <a:pt x="11448" y="3916"/>
                  </a:cubicBezTo>
                  <a:cubicBezTo>
                    <a:pt x="11590" y="3916"/>
                    <a:pt x="11732" y="3863"/>
                    <a:pt x="11842" y="3757"/>
                  </a:cubicBezTo>
                  <a:lnTo>
                    <a:pt x="12214" y="3389"/>
                  </a:lnTo>
                  <a:cubicBezTo>
                    <a:pt x="13026" y="4349"/>
                    <a:pt x="13524" y="5539"/>
                    <a:pt x="13639" y="6795"/>
                  </a:cubicBezTo>
                  <a:lnTo>
                    <a:pt x="13101" y="6795"/>
                  </a:lnTo>
                  <a:cubicBezTo>
                    <a:pt x="12787" y="6795"/>
                    <a:pt x="12534" y="7048"/>
                    <a:pt x="12534" y="7362"/>
                  </a:cubicBezTo>
                  <a:cubicBezTo>
                    <a:pt x="12534" y="7673"/>
                    <a:pt x="12787" y="7927"/>
                    <a:pt x="13101" y="7927"/>
                  </a:cubicBezTo>
                  <a:lnTo>
                    <a:pt x="13639" y="7927"/>
                  </a:lnTo>
                  <a:cubicBezTo>
                    <a:pt x="13515" y="9198"/>
                    <a:pt x="13005" y="10400"/>
                    <a:pt x="12178" y="11375"/>
                  </a:cubicBezTo>
                  <a:lnTo>
                    <a:pt x="11842" y="11040"/>
                  </a:lnTo>
                  <a:cubicBezTo>
                    <a:pt x="11732" y="10934"/>
                    <a:pt x="11590" y="10881"/>
                    <a:pt x="11448" y="10881"/>
                  </a:cubicBezTo>
                  <a:cubicBezTo>
                    <a:pt x="11303" y="10881"/>
                    <a:pt x="11158" y="10936"/>
                    <a:pt x="11048" y="11046"/>
                  </a:cubicBezTo>
                  <a:cubicBezTo>
                    <a:pt x="10831" y="11264"/>
                    <a:pt x="10828" y="11617"/>
                    <a:pt x="11042" y="11840"/>
                  </a:cubicBezTo>
                  <a:lnTo>
                    <a:pt x="11377" y="12175"/>
                  </a:lnTo>
                  <a:cubicBezTo>
                    <a:pt x="10402" y="13003"/>
                    <a:pt x="9200" y="13513"/>
                    <a:pt x="7929" y="13637"/>
                  </a:cubicBezTo>
                  <a:lnTo>
                    <a:pt x="7929" y="13099"/>
                  </a:lnTo>
                  <a:cubicBezTo>
                    <a:pt x="7929" y="12785"/>
                    <a:pt x="7676" y="12532"/>
                    <a:pt x="7365" y="12532"/>
                  </a:cubicBezTo>
                  <a:cubicBezTo>
                    <a:pt x="7051" y="12532"/>
                    <a:pt x="6797" y="12785"/>
                    <a:pt x="6797" y="13099"/>
                  </a:cubicBezTo>
                  <a:lnTo>
                    <a:pt x="6797" y="13637"/>
                  </a:lnTo>
                  <a:cubicBezTo>
                    <a:pt x="5541" y="13522"/>
                    <a:pt x="4351" y="13024"/>
                    <a:pt x="3391" y="12212"/>
                  </a:cubicBezTo>
                  <a:lnTo>
                    <a:pt x="3759" y="11840"/>
                  </a:lnTo>
                  <a:cubicBezTo>
                    <a:pt x="3974" y="11617"/>
                    <a:pt x="3971" y="11264"/>
                    <a:pt x="3753" y="11046"/>
                  </a:cubicBezTo>
                  <a:cubicBezTo>
                    <a:pt x="3643" y="10936"/>
                    <a:pt x="3499" y="10881"/>
                    <a:pt x="3354" y="10881"/>
                  </a:cubicBezTo>
                  <a:cubicBezTo>
                    <a:pt x="3212" y="10881"/>
                    <a:pt x="3070" y="10934"/>
                    <a:pt x="2959" y="11040"/>
                  </a:cubicBezTo>
                  <a:lnTo>
                    <a:pt x="2591" y="11408"/>
                  </a:lnTo>
                  <a:cubicBezTo>
                    <a:pt x="1773" y="10418"/>
                    <a:pt x="1274" y="9204"/>
                    <a:pt x="1160" y="7927"/>
                  </a:cubicBezTo>
                  <a:lnTo>
                    <a:pt x="1703" y="7927"/>
                  </a:lnTo>
                  <a:cubicBezTo>
                    <a:pt x="2014" y="7927"/>
                    <a:pt x="2268" y="7673"/>
                    <a:pt x="2268" y="7362"/>
                  </a:cubicBezTo>
                  <a:cubicBezTo>
                    <a:pt x="2268" y="7048"/>
                    <a:pt x="2014" y="6795"/>
                    <a:pt x="1703" y="6795"/>
                  </a:cubicBezTo>
                  <a:lnTo>
                    <a:pt x="1163" y="6795"/>
                  </a:lnTo>
                  <a:cubicBezTo>
                    <a:pt x="1274" y="5539"/>
                    <a:pt x="1770" y="4346"/>
                    <a:pt x="2579" y="3377"/>
                  </a:cubicBezTo>
                  <a:lnTo>
                    <a:pt x="2959" y="3757"/>
                  </a:lnTo>
                  <a:cubicBezTo>
                    <a:pt x="3070" y="3863"/>
                    <a:pt x="3212" y="3916"/>
                    <a:pt x="3354" y="3916"/>
                  </a:cubicBezTo>
                  <a:cubicBezTo>
                    <a:pt x="3499" y="3916"/>
                    <a:pt x="3643" y="3861"/>
                    <a:pt x="3753" y="3751"/>
                  </a:cubicBezTo>
                  <a:cubicBezTo>
                    <a:pt x="3971" y="3534"/>
                    <a:pt x="3974" y="3180"/>
                    <a:pt x="3759" y="2957"/>
                  </a:cubicBezTo>
                  <a:lnTo>
                    <a:pt x="3379" y="2577"/>
                  </a:lnTo>
                  <a:cubicBezTo>
                    <a:pt x="4348" y="1767"/>
                    <a:pt x="5541" y="1272"/>
                    <a:pt x="6797" y="1160"/>
                  </a:cubicBezTo>
                  <a:lnTo>
                    <a:pt x="6797" y="1701"/>
                  </a:lnTo>
                  <a:cubicBezTo>
                    <a:pt x="6797" y="2012"/>
                    <a:pt x="7051" y="2266"/>
                    <a:pt x="7365" y="2266"/>
                  </a:cubicBezTo>
                  <a:cubicBezTo>
                    <a:pt x="7676" y="2266"/>
                    <a:pt x="7929" y="2012"/>
                    <a:pt x="7929" y="1701"/>
                  </a:cubicBezTo>
                  <a:lnTo>
                    <a:pt x="7929" y="1157"/>
                  </a:lnTo>
                  <a:close/>
                  <a:moveTo>
                    <a:pt x="7376" y="1"/>
                  </a:moveTo>
                  <a:cubicBezTo>
                    <a:pt x="7372" y="1"/>
                    <a:pt x="7368" y="1"/>
                    <a:pt x="7365" y="1"/>
                  </a:cubicBezTo>
                  <a:cubicBezTo>
                    <a:pt x="5435" y="1"/>
                    <a:pt x="3581" y="759"/>
                    <a:pt x="2210" y="2115"/>
                  </a:cubicBezTo>
                  <a:cubicBezTo>
                    <a:pt x="2174" y="2142"/>
                    <a:pt x="2141" y="2172"/>
                    <a:pt x="2114" y="2208"/>
                  </a:cubicBezTo>
                  <a:cubicBezTo>
                    <a:pt x="761" y="3582"/>
                    <a:pt x="3" y="5433"/>
                    <a:pt x="3" y="7362"/>
                  </a:cubicBezTo>
                  <a:cubicBezTo>
                    <a:pt x="0" y="9322"/>
                    <a:pt x="776" y="11206"/>
                    <a:pt x="2159" y="12598"/>
                  </a:cubicBezTo>
                  <a:lnTo>
                    <a:pt x="2177" y="12616"/>
                  </a:lnTo>
                  <a:lnTo>
                    <a:pt x="2180" y="12619"/>
                  </a:lnTo>
                  <a:lnTo>
                    <a:pt x="2186" y="12625"/>
                  </a:lnTo>
                  <a:cubicBezTo>
                    <a:pt x="3578" y="14023"/>
                    <a:pt x="5414" y="14796"/>
                    <a:pt x="7365" y="14796"/>
                  </a:cubicBezTo>
                  <a:cubicBezTo>
                    <a:pt x="9327" y="14796"/>
                    <a:pt x="11187" y="14017"/>
                    <a:pt x="12603" y="12601"/>
                  </a:cubicBezTo>
                  <a:cubicBezTo>
                    <a:pt x="14019" y="11185"/>
                    <a:pt x="14798" y="9325"/>
                    <a:pt x="14798" y="7362"/>
                  </a:cubicBezTo>
                  <a:cubicBezTo>
                    <a:pt x="14798" y="5415"/>
                    <a:pt x="14028" y="3576"/>
                    <a:pt x="12627" y="2184"/>
                  </a:cubicBezTo>
                  <a:lnTo>
                    <a:pt x="12621" y="2178"/>
                  </a:lnTo>
                  <a:cubicBezTo>
                    <a:pt x="12621" y="2175"/>
                    <a:pt x="12618" y="2175"/>
                    <a:pt x="12618" y="2175"/>
                  </a:cubicBezTo>
                  <a:lnTo>
                    <a:pt x="12600" y="2157"/>
                  </a:lnTo>
                  <a:cubicBezTo>
                    <a:pt x="11211" y="777"/>
                    <a:pt x="9331" y="1"/>
                    <a:pt x="7376"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435D74"/>
                </a:solidFill>
                <a:latin typeface="Arial"/>
                <a:cs typeface="Arial"/>
                <a:sym typeface="Arial"/>
              </a:endParaRPr>
            </a:p>
          </p:txBody>
        </p:sp>
      </p:grpSp>
      <p:grpSp>
        <p:nvGrpSpPr>
          <p:cNvPr id="9395" name="Google Shape;9395;p109"/>
          <p:cNvGrpSpPr/>
          <p:nvPr/>
        </p:nvGrpSpPr>
        <p:grpSpPr>
          <a:xfrm>
            <a:off x="3912111" y="4167707"/>
            <a:ext cx="458040" cy="453628"/>
            <a:chOff x="3860250" y="1427025"/>
            <a:chExt cx="487900" cy="483200"/>
          </a:xfrm>
        </p:grpSpPr>
        <p:sp>
          <p:nvSpPr>
            <p:cNvPr id="9396" name="Google Shape;9396;p109"/>
            <p:cNvSpPr/>
            <p:nvPr/>
          </p:nvSpPr>
          <p:spPr>
            <a:xfrm>
              <a:off x="3875800" y="1427025"/>
              <a:ext cx="472350" cy="468650"/>
            </a:xfrm>
            <a:custGeom>
              <a:avLst/>
              <a:gdLst/>
              <a:ahLst/>
              <a:cxnLst/>
              <a:rect l="l" t="t" r="r" b="b"/>
              <a:pathLst>
                <a:path w="18894" h="18746" extrusionOk="0">
                  <a:moveTo>
                    <a:pt x="15874" y="1821"/>
                  </a:moveTo>
                  <a:lnTo>
                    <a:pt x="6498" y="9403"/>
                  </a:lnTo>
                  <a:lnTo>
                    <a:pt x="1918" y="5629"/>
                  </a:lnTo>
                  <a:lnTo>
                    <a:pt x="15874" y="1821"/>
                  </a:lnTo>
                  <a:close/>
                  <a:moveTo>
                    <a:pt x="14524" y="4370"/>
                  </a:moveTo>
                  <a:lnTo>
                    <a:pt x="8425" y="11912"/>
                  </a:lnTo>
                  <a:lnTo>
                    <a:pt x="6257" y="12634"/>
                  </a:lnTo>
                  <a:lnTo>
                    <a:pt x="6981" y="10469"/>
                  </a:lnTo>
                  <a:lnTo>
                    <a:pt x="14524" y="4370"/>
                  </a:lnTo>
                  <a:close/>
                  <a:moveTo>
                    <a:pt x="17072" y="3020"/>
                  </a:moveTo>
                  <a:lnTo>
                    <a:pt x="13265" y="16976"/>
                  </a:lnTo>
                  <a:lnTo>
                    <a:pt x="9491" y="12392"/>
                  </a:lnTo>
                  <a:lnTo>
                    <a:pt x="17072" y="3020"/>
                  </a:lnTo>
                  <a:close/>
                  <a:moveTo>
                    <a:pt x="18298" y="0"/>
                  </a:moveTo>
                  <a:cubicBezTo>
                    <a:pt x="18286" y="0"/>
                    <a:pt x="18274" y="0"/>
                    <a:pt x="18262" y="3"/>
                  </a:cubicBezTo>
                  <a:lnTo>
                    <a:pt x="18253" y="3"/>
                  </a:lnTo>
                  <a:cubicBezTo>
                    <a:pt x="18238" y="6"/>
                    <a:pt x="18223" y="6"/>
                    <a:pt x="18211" y="12"/>
                  </a:cubicBezTo>
                  <a:lnTo>
                    <a:pt x="18193" y="15"/>
                  </a:lnTo>
                  <a:lnTo>
                    <a:pt x="18178" y="18"/>
                  </a:lnTo>
                  <a:lnTo>
                    <a:pt x="562" y="4822"/>
                  </a:lnTo>
                  <a:cubicBezTo>
                    <a:pt x="121" y="4943"/>
                    <a:pt x="0" y="5511"/>
                    <a:pt x="351" y="5804"/>
                  </a:cubicBezTo>
                  <a:lnTo>
                    <a:pt x="5834" y="10321"/>
                  </a:lnTo>
                  <a:lnTo>
                    <a:pt x="4826" y="13349"/>
                  </a:lnTo>
                  <a:cubicBezTo>
                    <a:pt x="4696" y="13732"/>
                    <a:pt x="4991" y="14098"/>
                    <a:pt x="5359" y="14098"/>
                  </a:cubicBezTo>
                  <a:cubicBezTo>
                    <a:pt x="5418" y="14098"/>
                    <a:pt x="5479" y="14089"/>
                    <a:pt x="5541" y="14068"/>
                  </a:cubicBezTo>
                  <a:lnTo>
                    <a:pt x="8570" y="13060"/>
                  </a:lnTo>
                  <a:lnTo>
                    <a:pt x="13087" y="18540"/>
                  </a:lnTo>
                  <a:cubicBezTo>
                    <a:pt x="13195" y="18670"/>
                    <a:pt x="13355" y="18745"/>
                    <a:pt x="13525" y="18745"/>
                  </a:cubicBezTo>
                  <a:cubicBezTo>
                    <a:pt x="13564" y="18745"/>
                    <a:pt x="13603" y="18742"/>
                    <a:pt x="13642" y="18733"/>
                  </a:cubicBezTo>
                  <a:cubicBezTo>
                    <a:pt x="13848" y="18691"/>
                    <a:pt x="14014" y="18534"/>
                    <a:pt x="14071" y="18328"/>
                  </a:cubicBezTo>
                  <a:lnTo>
                    <a:pt x="18875" y="716"/>
                  </a:lnTo>
                  <a:cubicBezTo>
                    <a:pt x="18875" y="710"/>
                    <a:pt x="18875" y="704"/>
                    <a:pt x="18878" y="698"/>
                  </a:cubicBezTo>
                  <a:lnTo>
                    <a:pt x="18881" y="683"/>
                  </a:lnTo>
                  <a:cubicBezTo>
                    <a:pt x="18884" y="668"/>
                    <a:pt x="18887" y="653"/>
                    <a:pt x="18890" y="637"/>
                  </a:cubicBezTo>
                  <a:cubicBezTo>
                    <a:pt x="18890" y="637"/>
                    <a:pt x="18890" y="634"/>
                    <a:pt x="18890" y="631"/>
                  </a:cubicBezTo>
                  <a:cubicBezTo>
                    <a:pt x="18890" y="619"/>
                    <a:pt x="18890" y="604"/>
                    <a:pt x="18893" y="592"/>
                  </a:cubicBezTo>
                  <a:lnTo>
                    <a:pt x="18893" y="580"/>
                  </a:lnTo>
                  <a:cubicBezTo>
                    <a:pt x="18893" y="568"/>
                    <a:pt x="18893" y="553"/>
                    <a:pt x="18893" y="541"/>
                  </a:cubicBezTo>
                  <a:cubicBezTo>
                    <a:pt x="18893" y="538"/>
                    <a:pt x="18893" y="535"/>
                    <a:pt x="18893" y="532"/>
                  </a:cubicBezTo>
                  <a:cubicBezTo>
                    <a:pt x="18893" y="517"/>
                    <a:pt x="18890" y="502"/>
                    <a:pt x="18890" y="487"/>
                  </a:cubicBezTo>
                  <a:cubicBezTo>
                    <a:pt x="18890" y="483"/>
                    <a:pt x="18890" y="480"/>
                    <a:pt x="18887" y="477"/>
                  </a:cubicBezTo>
                  <a:cubicBezTo>
                    <a:pt x="18887" y="465"/>
                    <a:pt x="18884" y="453"/>
                    <a:pt x="18881" y="441"/>
                  </a:cubicBezTo>
                  <a:lnTo>
                    <a:pt x="18878" y="429"/>
                  </a:lnTo>
                  <a:cubicBezTo>
                    <a:pt x="18875" y="417"/>
                    <a:pt x="18872" y="402"/>
                    <a:pt x="18866" y="390"/>
                  </a:cubicBezTo>
                  <a:cubicBezTo>
                    <a:pt x="18866" y="387"/>
                    <a:pt x="18866" y="384"/>
                    <a:pt x="18863" y="381"/>
                  </a:cubicBezTo>
                  <a:cubicBezTo>
                    <a:pt x="18860" y="369"/>
                    <a:pt x="18854" y="354"/>
                    <a:pt x="18848" y="345"/>
                  </a:cubicBezTo>
                  <a:cubicBezTo>
                    <a:pt x="18848" y="339"/>
                    <a:pt x="18845" y="333"/>
                    <a:pt x="18842" y="329"/>
                  </a:cubicBezTo>
                  <a:cubicBezTo>
                    <a:pt x="18839" y="323"/>
                    <a:pt x="18833" y="308"/>
                    <a:pt x="18830" y="299"/>
                  </a:cubicBezTo>
                  <a:cubicBezTo>
                    <a:pt x="18824" y="290"/>
                    <a:pt x="18824" y="290"/>
                    <a:pt x="18821" y="287"/>
                  </a:cubicBezTo>
                  <a:cubicBezTo>
                    <a:pt x="18815" y="275"/>
                    <a:pt x="18806" y="263"/>
                    <a:pt x="18797" y="248"/>
                  </a:cubicBezTo>
                  <a:lnTo>
                    <a:pt x="18790" y="239"/>
                  </a:lnTo>
                  <a:cubicBezTo>
                    <a:pt x="18784" y="230"/>
                    <a:pt x="18775" y="221"/>
                    <a:pt x="18769" y="212"/>
                  </a:cubicBezTo>
                  <a:cubicBezTo>
                    <a:pt x="18760" y="203"/>
                    <a:pt x="18763" y="203"/>
                    <a:pt x="18760" y="200"/>
                  </a:cubicBezTo>
                  <a:cubicBezTo>
                    <a:pt x="18751" y="188"/>
                    <a:pt x="18739" y="176"/>
                    <a:pt x="18727" y="163"/>
                  </a:cubicBezTo>
                  <a:cubicBezTo>
                    <a:pt x="18718" y="154"/>
                    <a:pt x="18706" y="142"/>
                    <a:pt x="18694" y="133"/>
                  </a:cubicBezTo>
                  <a:lnTo>
                    <a:pt x="18682" y="124"/>
                  </a:lnTo>
                  <a:cubicBezTo>
                    <a:pt x="18673" y="115"/>
                    <a:pt x="18664" y="109"/>
                    <a:pt x="18655" y="103"/>
                  </a:cubicBezTo>
                  <a:lnTo>
                    <a:pt x="18643" y="94"/>
                  </a:lnTo>
                  <a:cubicBezTo>
                    <a:pt x="18630" y="88"/>
                    <a:pt x="18618" y="79"/>
                    <a:pt x="18606" y="73"/>
                  </a:cubicBezTo>
                  <a:lnTo>
                    <a:pt x="18591" y="64"/>
                  </a:lnTo>
                  <a:lnTo>
                    <a:pt x="18564" y="52"/>
                  </a:lnTo>
                  <a:lnTo>
                    <a:pt x="18549" y="43"/>
                  </a:lnTo>
                  <a:cubicBezTo>
                    <a:pt x="18537" y="40"/>
                    <a:pt x="18522" y="34"/>
                    <a:pt x="18510" y="28"/>
                  </a:cubicBezTo>
                  <a:lnTo>
                    <a:pt x="18501" y="28"/>
                  </a:lnTo>
                  <a:cubicBezTo>
                    <a:pt x="18489" y="22"/>
                    <a:pt x="18476" y="18"/>
                    <a:pt x="18464" y="15"/>
                  </a:cubicBezTo>
                  <a:lnTo>
                    <a:pt x="18449" y="12"/>
                  </a:lnTo>
                  <a:lnTo>
                    <a:pt x="18416" y="6"/>
                  </a:lnTo>
                  <a:lnTo>
                    <a:pt x="18404" y="3"/>
                  </a:lnTo>
                  <a:cubicBezTo>
                    <a:pt x="18389" y="3"/>
                    <a:pt x="18374" y="0"/>
                    <a:pt x="18359"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435D74"/>
                </a:solidFill>
                <a:latin typeface="Arial"/>
                <a:cs typeface="Arial"/>
                <a:sym typeface="Arial"/>
              </a:endParaRPr>
            </a:p>
          </p:txBody>
        </p:sp>
        <p:sp>
          <p:nvSpPr>
            <p:cNvPr id="9397" name="Google Shape;9397;p109"/>
            <p:cNvSpPr/>
            <p:nvPr/>
          </p:nvSpPr>
          <p:spPr>
            <a:xfrm>
              <a:off x="3860250" y="1861675"/>
              <a:ext cx="54675" cy="48550"/>
            </a:xfrm>
            <a:custGeom>
              <a:avLst/>
              <a:gdLst/>
              <a:ahLst/>
              <a:cxnLst/>
              <a:rect l="l" t="t" r="r" b="b"/>
              <a:pathLst>
                <a:path w="2187" h="1942" extrusionOk="0">
                  <a:moveTo>
                    <a:pt x="1563" y="1"/>
                  </a:moveTo>
                  <a:cubicBezTo>
                    <a:pt x="1416" y="1"/>
                    <a:pt x="1268" y="58"/>
                    <a:pt x="1157" y="172"/>
                  </a:cubicBezTo>
                  <a:lnTo>
                    <a:pt x="357" y="976"/>
                  </a:lnTo>
                  <a:cubicBezTo>
                    <a:pt x="0" y="1332"/>
                    <a:pt x="254" y="1942"/>
                    <a:pt x="758" y="1942"/>
                  </a:cubicBezTo>
                  <a:cubicBezTo>
                    <a:pt x="906" y="1942"/>
                    <a:pt x="1051" y="1882"/>
                    <a:pt x="1157" y="1776"/>
                  </a:cubicBezTo>
                  <a:lnTo>
                    <a:pt x="1957" y="973"/>
                  </a:lnTo>
                  <a:cubicBezTo>
                    <a:pt x="2184" y="755"/>
                    <a:pt x="2187" y="390"/>
                    <a:pt x="1963" y="166"/>
                  </a:cubicBezTo>
                  <a:cubicBezTo>
                    <a:pt x="1853" y="56"/>
                    <a:pt x="1708" y="1"/>
                    <a:pt x="1563"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435D74"/>
                </a:solidFill>
                <a:latin typeface="Arial"/>
                <a:cs typeface="Arial"/>
                <a:sym typeface="Arial"/>
              </a:endParaRPr>
            </a:p>
          </p:txBody>
        </p:sp>
        <p:sp>
          <p:nvSpPr>
            <p:cNvPr id="9398" name="Google Shape;9398;p109"/>
            <p:cNvSpPr/>
            <p:nvPr/>
          </p:nvSpPr>
          <p:spPr>
            <a:xfrm>
              <a:off x="3923425" y="1801775"/>
              <a:ext cx="51350" cy="48550"/>
            </a:xfrm>
            <a:custGeom>
              <a:avLst/>
              <a:gdLst/>
              <a:ahLst/>
              <a:cxnLst/>
              <a:rect l="l" t="t" r="r" b="b"/>
              <a:pathLst>
                <a:path w="2054" h="1942" extrusionOk="0">
                  <a:moveTo>
                    <a:pt x="1430" y="0"/>
                  </a:moveTo>
                  <a:cubicBezTo>
                    <a:pt x="1286" y="0"/>
                    <a:pt x="1141" y="56"/>
                    <a:pt x="1030" y="168"/>
                  </a:cubicBezTo>
                  <a:lnTo>
                    <a:pt x="230" y="968"/>
                  </a:lnTo>
                  <a:cubicBezTo>
                    <a:pt x="4" y="1189"/>
                    <a:pt x="1" y="1551"/>
                    <a:pt x="224" y="1774"/>
                  </a:cubicBezTo>
                  <a:cubicBezTo>
                    <a:pt x="334" y="1886"/>
                    <a:pt x="478" y="1941"/>
                    <a:pt x="623" y="1941"/>
                  </a:cubicBezTo>
                  <a:cubicBezTo>
                    <a:pt x="771" y="1941"/>
                    <a:pt x="919" y="1883"/>
                    <a:pt x="1030" y="1768"/>
                  </a:cubicBezTo>
                  <a:lnTo>
                    <a:pt x="1831" y="968"/>
                  </a:lnTo>
                  <a:cubicBezTo>
                    <a:pt x="2054" y="745"/>
                    <a:pt x="2051" y="388"/>
                    <a:pt x="1831" y="168"/>
                  </a:cubicBezTo>
                  <a:cubicBezTo>
                    <a:pt x="1720" y="56"/>
                    <a:pt x="1575" y="0"/>
                    <a:pt x="1430"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435D74"/>
                </a:solidFill>
                <a:latin typeface="Arial"/>
                <a:cs typeface="Arial"/>
                <a:sym typeface="Arial"/>
              </a:endParaRPr>
            </a:p>
          </p:txBody>
        </p:sp>
      </p:grpSp>
      <p:sp>
        <p:nvSpPr>
          <p:cNvPr id="9399" name="Google Shape;9399;p109"/>
          <p:cNvSpPr/>
          <p:nvPr/>
        </p:nvSpPr>
        <p:spPr>
          <a:xfrm>
            <a:off x="4470938" y="4167506"/>
            <a:ext cx="453652" cy="453557"/>
          </a:xfrm>
          <a:custGeom>
            <a:avLst/>
            <a:gdLst/>
            <a:ahLst/>
            <a:cxnLst/>
            <a:rect l="l" t="t" r="r" b="b"/>
            <a:pathLst>
              <a:path w="19329" h="19325" extrusionOk="0">
                <a:moveTo>
                  <a:pt x="9062" y="1229"/>
                </a:moveTo>
                <a:lnTo>
                  <a:pt x="9062" y="4539"/>
                </a:lnTo>
                <a:cubicBezTo>
                  <a:pt x="8470" y="4557"/>
                  <a:pt x="7885" y="4602"/>
                  <a:pt x="7311" y="4674"/>
                </a:cubicBezTo>
                <a:cubicBezTo>
                  <a:pt x="7223" y="4339"/>
                  <a:pt x="7036" y="4037"/>
                  <a:pt x="6773" y="3811"/>
                </a:cubicBezTo>
                <a:cubicBezTo>
                  <a:pt x="7392" y="2428"/>
                  <a:pt x="8211" y="1513"/>
                  <a:pt x="9062" y="1229"/>
                </a:cubicBezTo>
                <a:close/>
                <a:moveTo>
                  <a:pt x="10194" y="1226"/>
                </a:moveTo>
                <a:cubicBezTo>
                  <a:pt x="11278" y="1586"/>
                  <a:pt x="12272" y="2944"/>
                  <a:pt x="12912" y="4835"/>
                </a:cubicBezTo>
                <a:cubicBezTo>
                  <a:pt x="12015" y="4662"/>
                  <a:pt x="11106" y="4566"/>
                  <a:pt x="10194" y="4539"/>
                </a:cubicBezTo>
                <a:lnTo>
                  <a:pt x="10194" y="1226"/>
                </a:lnTo>
                <a:close/>
                <a:moveTo>
                  <a:pt x="5665" y="4530"/>
                </a:moveTo>
                <a:cubicBezTo>
                  <a:pt x="6170" y="4530"/>
                  <a:pt x="6423" y="5139"/>
                  <a:pt x="6067" y="5496"/>
                </a:cubicBezTo>
                <a:cubicBezTo>
                  <a:pt x="5950" y="5611"/>
                  <a:pt x="5808" y="5663"/>
                  <a:pt x="5669" y="5663"/>
                </a:cubicBezTo>
                <a:cubicBezTo>
                  <a:pt x="5378" y="5663"/>
                  <a:pt x="5101" y="5438"/>
                  <a:pt x="5101" y="5097"/>
                </a:cubicBezTo>
                <a:cubicBezTo>
                  <a:pt x="5101" y="4783"/>
                  <a:pt x="5351" y="4530"/>
                  <a:pt x="5665" y="4530"/>
                </a:cubicBezTo>
                <a:close/>
                <a:moveTo>
                  <a:pt x="6743" y="1643"/>
                </a:moveTo>
                <a:cubicBezTo>
                  <a:pt x="6363" y="2129"/>
                  <a:pt x="6019" y="2718"/>
                  <a:pt x="5717" y="3397"/>
                </a:cubicBezTo>
                <a:lnTo>
                  <a:pt x="5665" y="3397"/>
                </a:lnTo>
                <a:cubicBezTo>
                  <a:pt x="4578" y="3397"/>
                  <a:pt x="3769" y="4406"/>
                  <a:pt x="4008" y="5469"/>
                </a:cubicBezTo>
                <a:cubicBezTo>
                  <a:pt x="3075" y="5822"/>
                  <a:pt x="2277" y="6266"/>
                  <a:pt x="1646" y="6773"/>
                </a:cubicBezTo>
                <a:cubicBezTo>
                  <a:pt x="2507" y="4394"/>
                  <a:pt x="4373" y="2516"/>
                  <a:pt x="6743" y="1643"/>
                </a:cubicBezTo>
                <a:close/>
                <a:moveTo>
                  <a:pt x="12510" y="1631"/>
                </a:moveTo>
                <a:lnTo>
                  <a:pt x="12510" y="1631"/>
                </a:lnTo>
                <a:cubicBezTo>
                  <a:pt x="14926" y="2500"/>
                  <a:pt x="16828" y="4403"/>
                  <a:pt x="17698" y="6818"/>
                </a:cubicBezTo>
                <a:cubicBezTo>
                  <a:pt x="17269" y="6483"/>
                  <a:pt x="16810" y="6196"/>
                  <a:pt x="16327" y="5955"/>
                </a:cubicBezTo>
                <a:cubicBezTo>
                  <a:pt x="15645" y="5614"/>
                  <a:pt x="14932" y="5342"/>
                  <a:pt x="14195" y="5136"/>
                </a:cubicBezTo>
                <a:cubicBezTo>
                  <a:pt x="13933" y="4203"/>
                  <a:pt x="13585" y="3349"/>
                  <a:pt x="13169" y="2612"/>
                </a:cubicBezTo>
                <a:cubicBezTo>
                  <a:pt x="12975" y="2268"/>
                  <a:pt x="12755" y="1942"/>
                  <a:pt x="12510" y="1631"/>
                </a:cubicBezTo>
                <a:close/>
                <a:moveTo>
                  <a:pt x="4636" y="6444"/>
                </a:moveTo>
                <a:cubicBezTo>
                  <a:pt x="4684" y="6483"/>
                  <a:pt x="4738" y="6519"/>
                  <a:pt x="4793" y="6553"/>
                </a:cubicBezTo>
                <a:cubicBezTo>
                  <a:pt x="4651" y="7407"/>
                  <a:pt x="4566" y="8268"/>
                  <a:pt x="4542" y="9134"/>
                </a:cubicBezTo>
                <a:lnTo>
                  <a:pt x="1230" y="9134"/>
                </a:lnTo>
                <a:cubicBezTo>
                  <a:pt x="1568" y="8083"/>
                  <a:pt x="2821" y="7081"/>
                  <a:pt x="4636" y="6444"/>
                </a:cubicBezTo>
                <a:close/>
                <a:moveTo>
                  <a:pt x="9062" y="5674"/>
                </a:moveTo>
                <a:lnTo>
                  <a:pt x="9062" y="9134"/>
                </a:lnTo>
                <a:lnTo>
                  <a:pt x="5674" y="9134"/>
                </a:lnTo>
                <a:cubicBezTo>
                  <a:pt x="5698" y="8343"/>
                  <a:pt x="5774" y="7558"/>
                  <a:pt x="5904" y="6776"/>
                </a:cubicBezTo>
                <a:lnTo>
                  <a:pt x="5904" y="6779"/>
                </a:lnTo>
                <a:cubicBezTo>
                  <a:pt x="6462" y="6698"/>
                  <a:pt x="6949" y="6344"/>
                  <a:pt x="7196" y="5834"/>
                </a:cubicBezTo>
                <a:cubicBezTo>
                  <a:pt x="7815" y="5746"/>
                  <a:pt x="8437" y="5692"/>
                  <a:pt x="9062" y="5674"/>
                </a:cubicBezTo>
                <a:close/>
                <a:moveTo>
                  <a:pt x="10194" y="5671"/>
                </a:moveTo>
                <a:cubicBezTo>
                  <a:pt x="11227" y="5701"/>
                  <a:pt x="12257" y="5834"/>
                  <a:pt x="13265" y="6063"/>
                </a:cubicBezTo>
                <a:cubicBezTo>
                  <a:pt x="13422" y="6743"/>
                  <a:pt x="13534" y="7431"/>
                  <a:pt x="13597" y="8126"/>
                </a:cubicBezTo>
                <a:cubicBezTo>
                  <a:pt x="13144" y="8310"/>
                  <a:pt x="12794" y="8675"/>
                  <a:pt x="12631" y="9134"/>
                </a:cubicBezTo>
                <a:lnTo>
                  <a:pt x="10194" y="9134"/>
                </a:lnTo>
                <a:lnTo>
                  <a:pt x="10194" y="5671"/>
                </a:lnTo>
                <a:close/>
                <a:moveTo>
                  <a:pt x="14497" y="6417"/>
                </a:moveTo>
                <a:cubicBezTo>
                  <a:pt x="14950" y="6571"/>
                  <a:pt x="15391" y="6752"/>
                  <a:pt x="15817" y="6966"/>
                </a:cubicBezTo>
                <a:cubicBezTo>
                  <a:pt x="17037" y="7585"/>
                  <a:pt x="17837" y="8352"/>
                  <a:pt x="18099" y="9137"/>
                </a:cubicBezTo>
                <a:lnTo>
                  <a:pt x="15835" y="9134"/>
                </a:lnTo>
                <a:cubicBezTo>
                  <a:pt x="15654" y="8627"/>
                  <a:pt x="15243" y="8234"/>
                  <a:pt x="14730" y="8077"/>
                </a:cubicBezTo>
                <a:cubicBezTo>
                  <a:pt x="14678" y="7519"/>
                  <a:pt x="14603" y="6966"/>
                  <a:pt x="14497" y="6417"/>
                </a:cubicBezTo>
                <a:close/>
                <a:moveTo>
                  <a:pt x="14241" y="9137"/>
                </a:moveTo>
                <a:cubicBezTo>
                  <a:pt x="14555" y="9137"/>
                  <a:pt x="14808" y="9391"/>
                  <a:pt x="14808" y="9702"/>
                </a:cubicBezTo>
                <a:cubicBezTo>
                  <a:pt x="14808" y="10016"/>
                  <a:pt x="14555" y="10270"/>
                  <a:pt x="14241" y="10270"/>
                </a:cubicBezTo>
                <a:lnTo>
                  <a:pt x="14241" y="10267"/>
                </a:lnTo>
                <a:lnTo>
                  <a:pt x="14204" y="10267"/>
                </a:lnTo>
                <a:cubicBezTo>
                  <a:pt x="13902" y="10251"/>
                  <a:pt x="13667" y="10004"/>
                  <a:pt x="13667" y="9702"/>
                </a:cubicBezTo>
                <a:cubicBezTo>
                  <a:pt x="13667" y="9403"/>
                  <a:pt x="13899" y="9155"/>
                  <a:pt x="14195" y="9137"/>
                </a:cubicBezTo>
                <a:close/>
                <a:moveTo>
                  <a:pt x="18099" y="10270"/>
                </a:moveTo>
                <a:cubicBezTo>
                  <a:pt x="17861" y="10967"/>
                  <a:pt x="17194" y="11643"/>
                  <a:pt x="16161" y="12217"/>
                </a:cubicBezTo>
                <a:cubicBezTo>
                  <a:pt x="15632" y="12504"/>
                  <a:pt x="15080" y="12742"/>
                  <a:pt x="14506" y="12930"/>
                </a:cubicBezTo>
                <a:cubicBezTo>
                  <a:pt x="14606" y="12407"/>
                  <a:pt x="14678" y="11873"/>
                  <a:pt x="14730" y="11323"/>
                </a:cubicBezTo>
                <a:lnTo>
                  <a:pt x="14730" y="11326"/>
                </a:lnTo>
                <a:cubicBezTo>
                  <a:pt x="15243" y="11166"/>
                  <a:pt x="15654" y="10774"/>
                  <a:pt x="15835" y="10270"/>
                </a:cubicBezTo>
                <a:close/>
                <a:moveTo>
                  <a:pt x="4542" y="10267"/>
                </a:moveTo>
                <a:cubicBezTo>
                  <a:pt x="4566" y="11163"/>
                  <a:pt x="4660" y="12060"/>
                  <a:pt x="4820" y="12945"/>
                </a:cubicBezTo>
                <a:cubicBezTo>
                  <a:pt x="2927" y="12320"/>
                  <a:pt x="1583" y="11351"/>
                  <a:pt x="1230" y="10267"/>
                </a:cubicBezTo>
                <a:close/>
                <a:moveTo>
                  <a:pt x="9062" y="10267"/>
                </a:moveTo>
                <a:lnTo>
                  <a:pt x="9062" y="12628"/>
                </a:lnTo>
                <a:cubicBezTo>
                  <a:pt x="8603" y="12791"/>
                  <a:pt x="8238" y="13141"/>
                  <a:pt x="8054" y="13594"/>
                </a:cubicBezTo>
                <a:cubicBezTo>
                  <a:pt x="7377" y="13534"/>
                  <a:pt x="6707" y="13428"/>
                  <a:pt x="6046" y="13280"/>
                </a:cubicBezTo>
                <a:cubicBezTo>
                  <a:pt x="5828" y="12290"/>
                  <a:pt x="5702" y="11281"/>
                  <a:pt x="5674" y="10267"/>
                </a:cubicBezTo>
                <a:close/>
                <a:moveTo>
                  <a:pt x="12631" y="10267"/>
                </a:moveTo>
                <a:cubicBezTo>
                  <a:pt x="12794" y="10725"/>
                  <a:pt x="13144" y="11091"/>
                  <a:pt x="13597" y="11275"/>
                </a:cubicBezTo>
                <a:cubicBezTo>
                  <a:pt x="13534" y="11945"/>
                  <a:pt x="13431" y="12613"/>
                  <a:pt x="13280" y="13268"/>
                </a:cubicBezTo>
                <a:cubicBezTo>
                  <a:pt x="12595" y="13422"/>
                  <a:pt x="11900" y="13531"/>
                  <a:pt x="11203" y="13594"/>
                </a:cubicBezTo>
                <a:cubicBezTo>
                  <a:pt x="11019" y="13141"/>
                  <a:pt x="10653" y="12791"/>
                  <a:pt x="10194" y="12628"/>
                </a:cubicBezTo>
                <a:lnTo>
                  <a:pt x="10194" y="10267"/>
                </a:lnTo>
                <a:close/>
                <a:moveTo>
                  <a:pt x="9627" y="13678"/>
                </a:moveTo>
                <a:cubicBezTo>
                  <a:pt x="9923" y="13678"/>
                  <a:pt x="10170" y="13905"/>
                  <a:pt x="10191" y="14201"/>
                </a:cubicBezTo>
                <a:lnTo>
                  <a:pt x="10191" y="14231"/>
                </a:lnTo>
                <a:cubicBezTo>
                  <a:pt x="10191" y="14231"/>
                  <a:pt x="10191" y="14234"/>
                  <a:pt x="10191" y="14237"/>
                </a:cubicBezTo>
                <a:cubicBezTo>
                  <a:pt x="10188" y="14545"/>
                  <a:pt x="9938" y="14793"/>
                  <a:pt x="9630" y="14796"/>
                </a:cubicBezTo>
                <a:cubicBezTo>
                  <a:pt x="9319" y="14796"/>
                  <a:pt x="9065" y="14545"/>
                  <a:pt x="9062" y="14237"/>
                </a:cubicBezTo>
                <a:lnTo>
                  <a:pt x="9062" y="14231"/>
                </a:lnTo>
                <a:lnTo>
                  <a:pt x="9062" y="14201"/>
                </a:lnTo>
                <a:cubicBezTo>
                  <a:pt x="9083" y="13905"/>
                  <a:pt x="9331" y="13678"/>
                  <a:pt x="9627" y="13678"/>
                </a:cubicBezTo>
                <a:close/>
                <a:moveTo>
                  <a:pt x="1640" y="12579"/>
                </a:moveTo>
                <a:lnTo>
                  <a:pt x="1640" y="12579"/>
                </a:lnTo>
                <a:cubicBezTo>
                  <a:pt x="1936" y="12812"/>
                  <a:pt x="2250" y="13020"/>
                  <a:pt x="2579" y="13204"/>
                </a:cubicBezTo>
                <a:cubicBezTo>
                  <a:pt x="3313" y="13615"/>
                  <a:pt x="4168" y="13953"/>
                  <a:pt x="5110" y="14213"/>
                </a:cubicBezTo>
                <a:cubicBezTo>
                  <a:pt x="5496" y="15620"/>
                  <a:pt x="6061" y="16813"/>
                  <a:pt x="6752" y="17691"/>
                </a:cubicBezTo>
                <a:cubicBezTo>
                  <a:pt x="4373" y="16828"/>
                  <a:pt x="2501" y="14956"/>
                  <a:pt x="1640" y="12579"/>
                </a:cubicBezTo>
                <a:close/>
                <a:moveTo>
                  <a:pt x="17698" y="12555"/>
                </a:moveTo>
                <a:cubicBezTo>
                  <a:pt x="16837" y="14938"/>
                  <a:pt x="14932" y="16831"/>
                  <a:pt x="12535" y="17691"/>
                </a:cubicBezTo>
                <a:cubicBezTo>
                  <a:pt x="12770" y="17395"/>
                  <a:pt x="12981" y="17081"/>
                  <a:pt x="13169" y="16752"/>
                </a:cubicBezTo>
                <a:cubicBezTo>
                  <a:pt x="13594" y="16013"/>
                  <a:pt x="13945" y="15149"/>
                  <a:pt x="14213" y="14201"/>
                </a:cubicBezTo>
                <a:cubicBezTo>
                  <a:pt x="15140" y="13944"/>
                  <a:pt x="15986" y="13609"/>
                  <a:pt x="16713" y="13204"/>
                </a:cubicBezTo>
                <a:cubicBezTo>
                  <a:pt x="17058" y="13014"/>
                  <a:pt x="17387" y="12797"/>
                  <a:pt x="17698" y="12555"/>
                </a:cubicBezTo>
                <a:close/>
                <a:moveTo>
                  <a:pt x="6381" y="14503"/>
                </a:moveTo>
                <a:cubicBezTo>
                  <a:pt x="6906" y="14602"/>
                  <a:pt x="7450" y="14678"/>
                  <a:pt x="8005" y="14726"/>
                </a:cubicBezTo>
                <a:cubicBezTo>
                  <a:pt x="8162" y="15240"/>
                  <a:pt x="8555" y="15650"/>
                  <a:pt x="9062" y="15831"/>
                </a:cubicBezTo>
                <a:lnTo>
                  <a:pt x="9062" y="18096"/>
                </a:lnTo>
                <a:cubicBezTo>
                  <a:pt x="8286" y="17833"/>
                  <a:pt x="7531" y="17048"/>
                  <a:pt x="6933" y="15853"/>
                </a:cubicBezTo>
                <a:cubicBezTo>
                  <a:pt x="6716" y="15415"/>
                  <a:pt x="6532" y="14965"/>
                  <a:pt x="6381" y="14503"/>
                </a:cubicBezTo>
                <a:close/>
                <a:moveTo>
                  <a:pt x="12933" y="14497"/>
                </a:moveTo>
                <a:cubicBezTo>
                  <a:pt x="12740" y="15083"/>
                  <a:pt x="12486" y="15650"/>
                  <a:pt x="12184" y="16188"/>
                </a:cubicBezTo>
                <a:cubicBezTo>
                  <a:pt x="11595" y="17211"/>
                  <a:pt x="10904" y="17869"/>
                  <a:pt x="10194" y="18099"/>
                </a:cubicBezTo>
                <a:lnTo>
                  <a:pt x="10194" y="15831"/>
                </a:lnTo>
                <a:cubicBezTo>
                  <a:pt x="10702" y="15650"/>
                  <a:pt x="11094" y="15240"/>
                  <a:pt x="11251" y="14726"/>
                </a:cubicBezTo>
                <a:cubicBezTo>
                  <a:pt x="11828" y="14675"/>
                  <a:pt x="12390" y="14596"/>
                  <a:pt x="12933" y="14497"/>
                </a:cubicBezTo>
                <a:close/>
                <a:moveTo>
                  <a:pt x="9630" y="0"/>
                </a:moveTo>
                <a:cubicBezTo>
                  <a:pt x="7063" y="0"/>
                  <a:pt x="4645" y="1015"/>
                  <a:pt x="2821" y="2860"/>
                </a:cubicBezTo>
                <a:cubicBezTo>
                  <a:pt x="1012" y="4678"/>
                  <a:pt x="1" y="7138"/>
                  <a:pt x="4" y="9702"/>
                </a:cubicBezTo>
                <a:cubicBezTo>
                  <a:pt x="4" y="15016"/>
                  <a:pt x="4313" y="19325"/>
                  <a:pt x="9630" y="19325"/>
                </a:cubicBezTo>
                <a:cubicBezTo>
                  <a:pt x="9634" y="19325"/>
                  <a:pt x="9637" y="19325"/>
                  <a:pt x="9641" y="19325"/>
                </a:cubicBezTo>
                <a:cubicBezTo>
                  <a:pt x="12198" y="19325"/>
                  <a:pt x="14654" y="18314"/>
                  <a:pt x="16469" y="16508"/>
                </a:cubicBezTo>
                <a:cubicBezTo>
                  <a:pt x="18314" y="14687"/>
                  <a:pt x="19328" y="12268"/>
                  <a:pt x="19328" y="9702"/>
                </a:cubicBezTo>
                <a:cubicBezTo>
                  <a:pt x="19328" y="8407"/>
                  <a:pt x="19069" y="7129"/>
                  <a:pt x="18558" y="5940"/>
                </a:cubicBezTo>
                <a:cubicBezTo>
                  <a:pt x="18066" y="4789"/>
                  <a:pt x="17360" y="3741"/>
                  <a:pt x="16472" y="2857"/>
                </a:cubicBezTo>
                <a:cubicBezTo>
                  <a:pt x="15587" y="1969"/>
                  <a:pt x="14539" y="1263"/>
                  <a:pt x="13389" y="770"/>
                </a:cubicBezTo>
                <a:cubicBezTo>
                  <a:pt x="12199" y="260"/>
                  <a:pt x="10922" y="0"/>
                  <a:pt x="9630"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435D74"/>
              </a:solidFill>
              <a:latin typeface="Arial"/>
              <a:cs typeface="Arial"/>
              <a:sym typeface="Arial"/>
            </a:endParaRPr>
          </a:p>
        </p:txBody>
      </p:sp>
      <p:sp>
        <p:nvSpPr>
          <p:cNvPr id="9400" name="Google Shape;9400;p109"/>
          <p:cNvSpPr/>
          <p:nvPr/>
        </p:nvSpPr>
        <p:spPr>
          <a:xfrm>
            <a:off x="5032189" y="4167494"/>
            <a:ext cx="458040" cy="453581"/>
          </a:xfrm>
          <a:custGeom>
            <a:avLst/>
            <a:gdLst/>
            <a:ahLst/>
            <a:cxnLst/>
            <a:rect l="l" t="t" r="r" b="b"/>
            <a:pathLst>
              <a:path w="19516" h="19326" extrusionOk="0">
                <a:moveTo>
                  <a:pt x="15929" y="1934"/>
                </a:moveTo>
                <a:lnTo>
                  <a:pt x="15929" y="2834"/>
                </a:lnTo>
                <a:cubicBezTo>
                  <a:pt x="15929" y="3145"/>
                  <a:pt x="16182" y="3398"/>
                  <a:pt x="16496" y="3398"/>
                </a:cubicBezTo>
                <a:lnTo>
                  <a:pt x="17393" y="3398"/>
                </a:lnTo>
                <a:lnTo>
                  <a:pt x="16261" y="4531"/>
                </a:lnTo>
                <a:lnTo>
                  <a:pt x="14796" y="4531"/>
                </a:lnTo>
                <a:lnTo>
                  <a:pt x="14796" y="3066"/>
                </a:lnTo>
                <a:lnTo>
                  <a:pt x="15929" y="1934"/>
                </a:lnTo>
                <a:close/>
                <a:moveTo>
                  <a:pt x="9663" y="7927"/>
                </a:moveTo>
                <a:cubicBezTo>
                  <a:pt x="9926" y="7927"/>
                  <a:pt x="10183" y="7991"/>
                  <a:pt x="10418" y="8109"/>
                </a:cubicBezTo>
                <a:lnTo>
                  <a:pt x="9262" y="9262"/>
                </a:lnTo>
                <a:cubicBezTo>
                  <a:pt x="9041" y="9485"/>
                  <a:pt x="9041" y="9842"/>
                  <a:pt x="9262" y="10065"/>
                </a:cubicBezTo>
                <a:cubicBezTo>
                  <a:pt x="9372" y="10175"/>
                  <a:pt x="9517" y="10231"/>
                  <a:pt x="9662" y="10231"/>
                </a:cubicBezTo>
                <a:cubicBezTo>
                  <a:pt x="9807" y="10231"/>
                  <a:pt x="9952" y="10175"/>
                  <a:pt x="10062" y="10065"/>
                </a:cubicBezTo>
                <a:lnTo>
                  <a:pt x="11218" y="8909"/>
                </a:lnTo>
                <a:cubicBezTo>
                  <a:pt x="11336" y="9141"/>
                  <a:pt x="11399" y="9401"/>
                  <a:pt x="11399" y="9664"/>
                </a:cubicBezTo>
                <a:cubicBezTo>
                  <a:pt x="11399" y="10585"/>
                  <a:pt x="10605" y="11364"/>
                  <a:pt x="9663" y="11364"/>
                </a:cubicBezTo>
                <a:cubicBezTo>
                  <a:pt x="8721" y="11364"/>
                  <a:pt x="7927" y="10585"/>
                  <a:pt x="7927" y="9664"/>
                </a:cubicBezTo>
                <a:cubicBezTo>
                  <a:pt x="7927" y="8722"/>
                  <a:pt x="8721" y="7927"/>
                  <a:pt x="9663" y="7927"/>
                </a:cubicBezTo>
                <a:close/>
                <a:moveTo>
                  <a:pt x="9663" y="5663"/>
                </a:moveTo>
                <a:cubicBezTo>
                  <a:pt x="10527" y="5666"/>
                  <a:pt x="11363" y="5953"/>
                  <a:pt x="12049" y="6478"/>
                </a:cubicBezTo>
                <a:lnTo>
                  <a:pt x="11242" y="7287"/>
                </a:lnTo>
                <a:cubicBezTo>
                  <a:pt x="10777" y="6967"/>
                  <a:pt x="10228" y="6798"/>
                  <a:pt x="9663" y="6795"/>
                </a:cubicBezTo>
                <a:cubicBezTo>
                  <a:pt x="8108" y="6795"/>
                  <a:pt x="6795" y="8109"/>
                  <a:pt x="6795" y="9664"/>
                </a:cubicBezTo>
                <a:cubicBezTo>
                  <a:pt x="6795" y="10422"/>
                  <a:pt x="7103" y="11143"/>
                  <a:pt x="7649" y="11669"/>
                </a:cubicBezTo>
                <a:cubicBezTo>
                  <a:pt x="8208" y="12220"/>
                  <a:pt x="8935" y="12495"/>
                  <a:pt x="9663" y="12495"/>
                </a:cubicBezTo>
                <a:cubicBezTo>
                  <a:pt x="10391" y="12495"/>
                  <a:pt x="11119" y="12220"/>
                  <a:pt x="11677" y="11669"/>
                </a:cubicBezTo>
                <a:cubicBezTo>
                  <a:pt x="12224" y="11143"/>
                  <a:pt x="12532" y="10422"/>
                  <a:pt x="12532" y="9664"/>
                </a:cubicBezTo>
                <a:cubicBezTo>
                  <a:pt x="12529" y="9099"/>
                  <a:pt x="12360" y="8549"/>
                  <a:pt x="12043" y="8084"/>
                </a:cubicBezTo>
                <a:lnTo>
                  <a:pt x="12849" y="7278"/>
                </a:lnTo>
                <a:cubicBezTo>
                  <a:pt x="13374" y="7964"/>
                  <a:pt x="13661" y="8800"/>
                  <a:pt x="13664" y="9664"/>
                </a:cubicBezTo>
                <a:cubicBezTo>
                  <a:pt x="13664" y="11850"/>
                  <a:pt x="11870" y="13628"/>
                  <a:pt x="9663" y="13628"/>
                </a:cubicBezTo>
                <a:cubicBezTo>
                  <a:pt x="7456" y="13628"/>
                  <a:pt x="5662" y="11850"/>
                  <a:pt x="5662" y="9664"/>
                </a:cubicBezTo>
                <a:cubicBezTo>
                  <a:pt x="5662" y="7496"/>
                  <a:pt x="7495" y="5663"/>
                  <a:pt x="9663" y="5663"/>
                </a:cubicBezTo>
                <a:close/>
                <a:moveTo>
                  <a:pt x="9676" y="3398"/>
                </a:moveTo>
                <a:cubicBezTo>
                  <a:pt x="11130" y="3398"/>
                  <a:pt x="12541" y="3902"/>
                  <a:pt x="13664" y="4826"/>
                </a:cubicBezTo>
                <a:lnTo>
                  <a:pt x="13664" y="4863"/>
                </a:lnTo>
                <a:lnTo>
                  <a:pt x="12861" y="5663"/>
                </a:lnTo>
                <a:cubicBezTo>
                  <a:pt x="11911" y="4901"/>
                  <a:pt x="10770" y="4528"/>
                  <a:pt x="9634" y="4528"/>
                </a:cubicBezTo>
                <a:cubicBezTo>
                  <a:pt x="8214" y="4528"/>
                  <a:pt x="6803" y="5111"/>
                  <a:pt x="5786" y="6246"/>
                </a:cubicBezTo>
                <a:cubicBezTo>
                  <a:pt x="3959" y="8287"/>
                  <a:pt x="4047" y="11403"/>
                  <a:pt x="5985" y="13341"/>
                </a:cubicBezTo>
                <a:cubicBezTo>
                  <a:pt x="6991" y="14346"/>
                  <a:pt x="8313" y="14852"/>
                  <a:pt x="9638" y="14852"/>
                </a:cubicBezTo>
                <a:cubicBezTo>
                  <a:pt x="10866" y="14852"/>
                  <a:pt x="12096" y="14417"/>
                  <a:pt x="13078" y="13538"/>
                </a:cubicBezTo>
                <a:cubicBezTo>
                  <a:pt x="15119" y="11711"/>
                  <a:pt x="15376" y="8604"/>
                  <a:pt x="13664" y="6463"/>
                </a:cubicBezTo>
                <a:lnTo>
                  <a:pt x="14464" y="5663"/>
                </a:lnTo>
                <a:lnTo>
                  <a:pt x="14503" y="5663"/>
                </a:lnTo>
                <a:cubicBezTo>
                  <a:pt x="15430" y="6789"/>
                  <a:pt x="15935" y="8205"/>
                  <a:pt x="15929" y="9664"/>
                </a:cubicBezTo>
                <a:cubicBezTo>
                  <a:pt x="15929" y="13100"/>
                  <a:pt x="13117" y="15893"/>
                  <a:pt x="9663" y="15893"/>
                </a:cubicBezTo>
                <a:cubicBezTo>
                  <a:pt x="6209" y="15893"/>
                  <a:pt x="3398" y="13100"/>
                  <a:pt x="3398" y="9664"/>
                </a:cubicBezTo>
                <a:cubicBezTo>
                  <a:pt x="3398" y="6209"/>
                  <a:pt x="6209" y="3398"/>
                  <a:pt x="9663" y="3398"/>
                </a:cubicBezTo>
                <a:cubicBezTo>
                  <a:pt x="9668" y="3398"/>
                  <a:pt x="9672" y="3398"/>
                  <a:pt x="9676" y="3398"/>
                </a:cubicBezTo>
                <a:close/>
                <a:moveTo>
                  <a:pt x="9663" y="1134"/>
                </a:moveTo>
                <a:cubicBezTo>
                  <a:pt x="11176" y="1134"/>
                  <a:pt x="12661" y="1532"/>
                  <a:pt x="13975" y="2287"/>
                </a:cubicBezTo>
                <a:lnTo>
                  <a:pt x="13830" y="2432"/>
                </a:lnTo>
                <a:cubicBezTo>
                  <a:pt x="13724" y="2538"/>
                  <a:pt x="13664" y="2683"/>
                  <a:pt x="13664" y="2834"/>
                </a:cubicBezTo>
                <a:lnTo>
                  <a:pt x="13664" y="3428"/>
                </a:lnTo>
                <a:cubicBezTo>
                  <a:pt x="12473" y="2670"/>
                  <a:pt x="11090" y="2266"/>
                  <a:pt x="9679" y="2266"/>
                </a:cubicBezTo>
                <a:cubicBezTo>
                  <a:pt x="9674" y="2266"/>
                  <a:pt x="9668" y="2266"/>
                  <a:pt x="9663" y="2266"/>
                </a:cubicBezTo>
                <a:cubicBezTo>
                  <a:pt x="7701" y="2266"/>
                  <a:pt x="5847" y="3039"/>
                  <a:pt x="4443" y="4443"/>
                </a:cubicBezTo>
                <a:cubicBezTo>
                  <a:pt x="3039" y="5847"/>
                  <a:pt x="2266" y="7701"/>
                  <a:pt x="2266" y="9664"/>
                </a:cubicBezTo>
                <a:cubicBezTo>
                  <a:pt x="2266" y="11626"/>
                  <a:pt x="3039" y="13474"/>
                  <a:pt x="4443" y="14866"/>
                </a:cubicBezTo>
                <a:cubicBezTo>
                  <a:pt x="5886" y="16305"/>
                  <a:pt x="7775" y="17024"/>
                  <a:pt x="9663" y="17024"/>
                </a:cubicBezTo>
                <a:cubicBezTo>
                  <a:pt x="11552" y="17024"/>
                  <a:pt x="13441" y="16305"/>
                  <a:pt x="14884" y="14866"/>
                </a:cubicBezTo>
                <a:cubicBezTo>
                  <a:pt x="16288" y="13474"/>
                  <a:pt x="17061" y="11626"/>
                  <a:pt x="17061" y="9664"/>
                </a:cubicBezTo>
                <a:cubicBezTo>
                  <a:pt x="17064" y="8248"/>
                  <a:pt x="16659" y="6859"/>
                  <a:pt x="15898" y="5663"/>
                </a:cubicBezTo>
                <a:lnTo>
                  <a:pt x="16496" y="5663"/>
                </a:lnTo>
                <a:cubicBezTo>
                  <a:pt x="16644" y="5663"/>
                  <a:pt x="16789" y="5602"/>
                  <a:pt x="16895" y="5497"/>
                </a:cubicBezTo>
                <a:lnTo>
                  <a:pt x="17040" y="5352"/>
                </a:lnTo>
                <a:cubicBezTo>
                  <a:pt x="17795" y="6665"/>
                  <a:pt x="18193" y="8151"/>
                  <a:pt x="18193" y="9664"/>
                </a:cubicBezTo>
                <a:cubicBezTo>
                  <a:pt x="18193" y="14368"/>
                  <a:pt x="14367" y="18194"/>
                  <a:pt x="9663" y="18194"/>
                </a:cubicBezTo>
                <a:cubicBezTo>
                  <a:pt x="4959" y="18194"/>
                  <a:pt x="1133" y="14368"/>
                  <a:pt x="1133" y="9664"/>
                </a:cubicBezTo>
                <a:cubicBezTo>
                  <a:pt x="1133" y="4959"/>
                  <a:pt x="4959" y="1134"/>
                  <a:pt x="9663" y="1134"/>
                </a:cubicBezTo>
                <a:close/>
                <a:moveTo>
                  <a:pt x="16491" y="0"/>
                </a:moveTo>
                <a:cubicBezTo>
                  <a:pt x="16352" y="0"/>
                  <a:pt x="16210" y="52"/>
                  <a:pt x="16095" y="167"/>
                </a:cubicBezTo>
                <a:lnTo>
                  <a:pt x="14799" y="1463"/>
                </a:lnTo>
                <a:cubicBezTo>
                  <a:pt x="13256" y="509"/>
                  <a:pt x="11478" y="4"/>
                  <a:pt x="9663" y="1"/>
                </a:cubicBezTo>
                <a:cubicBezTo>
                  <a:pt x="7094" y="1"/>
                  <a:pt x="4669" y="1010"/>
                  <a:pt x="2839" y="2840"/>
                </a:cubicBezTo>
                <a:cubicBezTo>
                  <a:pt x="1009" y="4669"/>
                  <a:pt x="1" y="7094"/>
                  <a:pt x="1" y="9664"/>
                </a:cubicBezTo>
                <a:cubicBezTo>
                  <a:pt x="1" y="12233"/>
                  <a:pt x="1009" y="14658"/>
                  <a:pt x="2839" y="16488"/>
                </a:cubicBezTo>
                <a:cubicBezTo>
                  <a:pt x="4669" y="18317"/>
                  <a:pt x="7094" y="19326"/>
                  <a:pt x="9663" y="19326"/>
                </a:cubicBezTo>
                <a:cubicBezTo>
                  <a:pt x="12233" y="19326"/>
                  <a:pt x="14657" y="18317"/>
                  <a:pt x="16487" y="16488"/>
                </a:cubicBezTo>
                <a:cubicBezTo>
                  <a:pt x="18317" y="14658"/>
                  <a:pt x="19325" y="12233"/>
                  <a:pt x="19325" y="9664"/>
                </a:cubicBezTo>
                <a:cubicBezTo>
                  <a:pt x="19322" y="7849"/>
                  <a:pt x="18818" y="6070"/>
                  <a:pt x="17864" y="4528"/>
                </a:cubicBezTo>
                <a:lnTo>
                  <a:pt x="19159" y="3232"/>
                </a:lnTo>
                <a:cubicBezTo>
                  <a:pt x="19516" y="2876"/>
                  <a:pt x="19265" y="2266"/>
                  <a:pt x="18761" y="2266"/>
                </a:cubicBezTo>
                <a:lnTo>
                  <a:pt x="17061" y="2266"/>
                </a:lnTo>
                <a:lnTo>
                  <a:pt x="17061" y="569"/>
                </a:lnTo>
                <a:cubicBezTo>
                  <a:pt x="17061" y="226"/>
                  <a:pt x="16782" y="0"/>
                  <a:pt x="16491"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435D74"/>
              </a:solidFill>
              <a:latin typeface="Arial"/>
              <a:cs typeface="Arial"/>
              <a:sym typeface="Arial"/>
            </a:endParaRPr>
          </a:p>
        </p:txBody>
      </p:sp>
      <p:grpSp>
        <p:nvGrpSpPr>
          <p:cNvPr id="9401" name="Google Shape;9401;p109"/>
          <p:cNvGrpSpPr/>
          <p:nvPr/>
        </p:nvGrpSpPr>
        <p:grpSpPr>
          <a:xfrm>
            <a:off x="5587097" y="4167742"/>
            <a:ext cx="453628" cy="453557"/>
            <a:chOff x="5648375" y="1427025"/>
            <a:chExt cx="483200" cy="483125"/>
          </a:xfrm>
        </p:grpSpPr>
        <p:sp>
          <p:nvSpPr>
            <p:cNvPr id="9402" name="Google Shape;9402;p109"/>
            <p:cNvSpPr/>
            <p:nvPr/>
          </p:nvSpPr>
          <p:spPr>
            <a:xfrm>
              <a:off x="5801075" y="1484625"/>
              <a:ext cx="177725" cy="162475"/>
            </a:xfrm>
            <a:custGeom>
              <a:avLst/>
              <a:gdLst/>
              <a:ahLst/>
              <a:cxnLst/>
              <a:rect l="l" t="t" r="r" b="b"/>
              <a:pathLst>
                <a:path w="7109" h="6499" extrusionOk="0">
                  <a:moveTo>
                    <a:pt x="3554" y="1845"/>
                  </a:moveTo>
                  <a:lnTo>
                    <a:pt x="3920" y="2582"/>
                  </a:lnTo>
                  <a:cubicBezTo>
                    <a:pt x="4001" y="2751"/>
                    <a:pt x="4161" y="2866"/>
                    <a:pt x="4345" y="2893"/>
                  </a:cubicBezTo>
                  <a:lnTo>
                    <a:pt x="5158" y="3011"/>
                  </a:lnTo>
                  <a:lnTo>
                    <a:pt x="4569" y="3584"/>
                  </a:lnTo>
                  <a:cubicBezTo>
                    <a:pt x="4436" y="3714"/>
                    <a:pt x="4376" y="3901"/>
                    <a:pt x="4406" y="4086"/>
                  </a:cubicBezTo>
                  <a:lnTo>
                    <a:pt x="4545" y="4898"/>
                  </a:lnTo>
                  <a:lnTo>
                    <a:pt x="3820" y="4514"/>
                  </a:lnTo>
                  <a:cubicBezTo>
                    <a:pt x="3737" y="4469"/>
                    <a:pt x="3646" y="4446"/>
                    <a:pt x="3555" y="4446"/>
                  </a:cubicBezTo>
                  <a:cubicBezTo>
                    <a:pt x="3464" y="4446"/>
                    <a:pt x="3373" y="4469"/>
                    <a:pt x="3292" y="4514"/>
                  </a:cubicBezTo>
                  <a:lnTo>
                    <a:pt x="2561" y="4895"/>
                  </a:lnTo>
                  <a:lnTo>
                    <a:pt x="2703" y="4086"/>
                  </a:lnTo>
                  <a:cubicBezTo>
                    <a:pt x="2733" y="3901"/>
                    <a:pt x="2673" y="3714"/>
                    <a:pt x="2540" y="3584"/>
                  </a:cubicBezTo>
                  <a:lnTo>
                    <a:pt x="1951" y="3011"/>
                  </a:lnTo>
                  <a:lnTo>
                    <a:pt x="2763" y="2893"/>
                  </a:lnTo>
                  <a:cubicBezTo>
                    <a:pt x="2947" y="2866"/>
                    <a:pt x="3107" y="2751"/>
                    <a:pt x="3192" y="2582"/>
                  </a:cubicBezTo>
                  <a:lnTo>
                    <a:pt x="3554" y="1845"/>
                  </a:lnTo>
                  <a:close/>
                  <a:moveTo>
                    <a:pt x="3554" y="0"/>
                  </a:moveTo>
                  <a:cubicBezTo>
                    <a:pt x="3353" y="0"/>
                    <a:pt x="3151" y="106"/>
                    <a:pt x="3047" y="317"/>
                  </a:cubicBezTo>
                  <a:lnTo>
                    <a:pt x="2307" y="1815"/>
                  </a:lnTo>
                  <a:lnTo>
                    <a:pt x="653" y="2056"/>
                  </a:lnTo>
                  <a:cubicBezTo>
                    <a:pt x="188" y="2123"/>
                    <a:pt x="0" y="2694"/>
                    <a:pt x="339" y="3023"/>
                  </a:cubicBezTo>
                  <a:lnTo>
                    <a:pt x="1537" y="4188"/>
                  </a:lnTo>
                  <a:lnTo>
                    <a:pt x="1253" y="5837"/>
                  </a:lnTo>
                  <a:cubicBezTo>
                    <a:pt x="1191" y="6202"/>
                    <a:pt x="1480" y="6499"/>
                    <a:pt x="1809" y="6499"/>
                  </a:cubicBezTo>
                  <a:cubicBezTo>
                    <a:pt x="1897" y="6499"/>
                    <a:pt x="1987" y="6478"/>
                    <a:pt x="2075" y="6432"/>
                  </a:cubicBezTo>
                  <a:lnTo>
                    <a:pt x="3554" y="5656"/>
                  </a:lnTo>
                  <a:lnTo>
                    <a:pt x="5034" y="6432"/>
                  </a:lnTo>
                  <a:cubicBezTo>
                    <a:pt x="5121" y="6478"/>
                    <a:pt x="5212" y="6499"/>
                    <a:pt x="5299" y="6499"/>
                  </a:cubicBezTo>
                  <a:cubicBezTo>
                    <a:pt x="5629" y="6499"/>
                    <a:pt x="5917" y="6202"/>
                    <a:pt x="5855" y="5837"/>
                  </a:cubicBezTo>
                  <a:lnTo>
                    <a:pt x="5574" y="4188"/>
                  </a:lnTo>
                  <a:lnTo>
                    <a:pt x="6770" y="3023"/>
                  </a:lnTo>
                  <a:cubicBezTo>
                    <a:pt x="7108" y="2694"/>
                    <a:pt x="6921" y="2123"/>
                    <a:pt x="6456" y="2056"/>
                  </a:cubicBezTo>
                  <a:lnTo>
                    <a:pt x="4801" y="1815"/>
                  </a:lnTo>
                  <a:lnTo>
                    <a:pt x="4062" y="317"/>
                  </a:lnTo>
                  <a:cubicBezTo>
                    <a:pt x="3957" y="106"/>
                    <a:pt x="3756" y="0"/>
                    <a:pt x="3554"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435D74"/>
                </a:solidFill>
                <a:latin typeface="Arial"/>
                <a:cs typeface="Arial"/>
                <a:sym typeface="Arial"/>
              </a:endParaRPr>
            </a:p>
          </p:txBody>
        </p:sp>
        <p:sp>
          <p:nvSpPr>
            <p:cNvPr id="9403" name="Google Shape;9403;p109"/>
            <p:cNvSpPr/>
            <p:nvPr/>
          </p:nvSpPr>
          <p:spPr>
            <a:xfrm>
              <a:off x="5648375" y="1427025"/>
              <a:ext cx="483200" cy="483125"/>
            </a:xfrm>
            <a:custGeom>
              <a:avLst/>
              <a:gdLst/>
              <a:ahLst/>
              <a:cxnLst/>
              <a:rect l="l" t="t" r="r" b="b"/>
              <a:pathLst>
                <a:path w="19328" h="19325" extrusionOk="0">
                  <a:moveTo>
                    <a:pt x="2265" y="2304"/>
                  </a:moveTo>
                  <a:cubicBezTo>
                    <a:pt x="2890" y="2304"/>
                    <a:pt x="3397" y="2808"/>
                    <a:pt x="3397" y="3437"/>
                  </a:cubicBezTo>
                  <a:lnTo>
                    <a:pt x="3397" y="7398"/>
                  </a:lnTo>
                  <a:lnTo>
                    <a:pt x="3397" y="7474"/>
                  </a:lnTo>
                  <a:lnTo>
                    <a:pt x="1637" y="6299"/>
                  </a:lnTo>
                  <a:cubicBezTo>
                    <a:pt x="1320" y="6088"/>
                    <a:pt x="1129" y="5734"/>
                    <a:pt x="1132" y="5357"/>
                  </a:cubicBezTo>
                  <a:lnTo>
                    <a:pt x="1132" y="3437"/>
                  </a:lnTo>
                  <a:cubicBezTo>
                    <a:pt x="1132" y="2808"/>
                    <a:pt x="1640" y="2304"/>
                    <a:pt x="2265" y="2304"/>
                  </a:cubicBezTo>
                  <a:close/>
                  <a:moveTo>
                    <a:pt x="17060" y="2304"/>
                  </a:moveTo>
                  <a:cubicBezTo>
                    <a:pt x="17685" y="2304"/>
                    <a:pt x="18192" y="2808"/>
                    <a:pt x="18192" y="3437"/>
                  </a:cubicBezTo>
                  <a:lnTo>
                    <a:pt x="18192" y="5357"/>
                  </a:lnTo>
                  <a:cubicBezTo>
                    <a:pt x="18192" y="5737"/>
                    <a:pt x="18005" y="6091"/>
                    <a:pt x="17688" y="6302"/>
                  </a:cubicBezTo>
                  <a:lnTo>
                    <a:pt x="15928" y="7474"/>
                  </a:lnTo>
                  <a:lnTo>
                    <a:pt x="15928" y="7398"/>
                  </a:lnTo>
                  <a:lnTo>
                    <a:pt x="15928" y="3437"/>
                  </a:lnTo>
                  <a:cubicBezTo>
                    <a:pt x="15928" y="2808"/>
                    <a:pt x="16435" y="2304"/>
                    <a:pt x="17060" y="2304"/>
                  </a:cubicBezTo>
                  <a:close/>
                  <a:moveTo>
                    <a:pt x="14795" y="1133"/>
                  </a:moveTo>
                  <a:lnTo>
                    <a:pt x="14795" y="7398"/>
                  </a:lnTo>
                  <a:cubicBezTo>
                    <a:pt x="14795" y="8763"/>
                    <a:pt x="14095" y="9641"/>
                    <a:pt x="12120" y="10759"/>
                  </a:cubicBezTo>
                  <a:cubicBezTo>
                    <a:pt x="11069" y="11354"/>
                    <a:pt x="10372" y="12422"/>
                    <a:pt x="10248" y="13627"/>
                  </a:cubicBezTo>
                  <a:lnTo>
                    <a:pt x="9058" y="13627"/>
                  </a:lnTo>
                  <a:cubicBezTo>
                    <a:pt x="8877" y="12368"/>
                    <a:pt x="8041" y="11269"/>
                    <a:pt x="6791" y="10686"/>
                  </a:cubicBezTo>
                  <a:cubicBezTo>
                    <a:pt x="5332" y="10007"/>
                    <a:pt x="4529" y="8835"/>
                    <a:pt x="4529" y="7398"/>
                  </a:cubicBezTo>
                  <a:lnTo>
                    <a:pt x="4529" y="1133"/>
                  </a:lnTo>
                  <a:close/>
                  <a:moveTo>
                    <a:pt x="11927" y="14759"/>
                  </a:moveTo>
                  <a:cubicBezTo>
                    <a:pt x="12241" y="14759"/>
                    <a:pt x="12495" y="15010"/>
                    <a:pt x="12495" y="15324"/>
                  </a:cubicBezTo>
                  <a:lnTo>
                    <a:pt x="12495" y="15892"/>
                  </a:lnTo>
                  <a:lnTo>
                    <a:pt x="10795" y="15892"/>
                  </a:lnTo>
                  <a:cubicBezTo>
                    <a:pt x="10481" y="15892"/>
                    <a:pt x="10230" y="16142"/>
                    <a:pt x="10230" y="16456"/>
                  </a:cubicBezTo>
                  <a:cubicBezTo>
                    <a:pt x="10230" y="16770"/>
                    <a:pt x="10481" y="17024"/>
                    <a:pt x="10795" y="17024"/>
                  </a:cubicBezTo>
                  <a:lnTo>
                    <a:pt x="13059" y="17024"/>
                  </a:lnTo>
                  <a:cubicBezTo>
                    <a:pt x="13373" y="17024"/>
                    <a:pt x="13627" y="17275"/>
                    <a:pt x="13627" y="17589"/>
                  </a:cubicBezTo>
                  <a:lnTo>
                    <a:pt x="13627" y="18193"/>
                  </a:lnTo>
                  <a:lnTo>
                    <a:pt x="5701" y="18193"/>
                  </a:lnTo>
                  <a:lnTo>
                    <a:pt x="5701" y="17589"/>
                  </a:lnTo>
                  <a:cubicBezTo>
                    <a:pt x="5701" y="17275"/>
                    <a:pt x="5951" y="17024"/>
                    <a:pt x="6265" y="17024"/>
                  </a:cubicBezTo>
                  <a:lnTo>
                    <a:pt x="8530" y="17024"/>
                  </a:lnTo>
                  <a:cubicBezTo>
                    <a:pt x="8844" y="17024"/>
                    <a:pt x="9095" y="16770"/>
                    <a:pt x="9095" y="16456"/>
                  </a:cubicBezTo>
                  <a:cubicBezTo>
                    <a:pt x="9095" y="16142"/>
                    <a:pt x="8844" y="15892"/>
                    <a:pt x="8530" y="15892"/>
                  </a:cubicBezTo>
                  <a:lnTo>
                    <a:pt x="6833" y="15892"/>
                  </a:lnTo>
                  <a:lnTo>
                    <a:pt x="6833" y="15324"/>
                  </a:lnTo>
                  <a:cubicBezTo>
                    <a:pt x="6833" y="15010"/>
                    <a:pt x="7084" y="14759"/>
                    <a:pt x="7398" y="14759"/>
                  </a:cubicBezTo>
                  <a:close/>
                  <a:moveTo>
                    <a:pt x="3965" y="0"/>
                  </a:moveTo>
                  <a:cubicBezTo>
                    <a:pt x="3651" y="0"/>
                    <a:pt x="3397" y="254"/>
                    <a:pt x="3397" y="568"/>
                  </a:cubicBezTo>
                  <a:lnTo>
                    <a:pt x="3397" y="1474"/>
                  </a:lnTo>
                  <a:cubicBezTo>
                    <a:pt x="3032" y="1264"/>
                    <a:pt x="2645" y="1168"/>
                    <a:pt x="2269" y="1168"/>
                  </a:cubicBezTo>
                  <a:cubicBezTo>
                    <a:pt x="1086" y="1168"/>
                    <a:pt x="0" y="2113"/>
                    <a:pt x="0" y="3437"/>
                  </a:cubicBezTo>
                  <a:lnTo>
                    <a:pt x="0" y="5357"/>
                  </a:lnTo>
                  <a:cubicBezTo>
                    <a:pt x="0" y="6115"/>
                    <a:pt x="378" y="6821"/>
                    <a:pt x="1009" y="7241"/>
                  </a:cubicBezTo>
                  <a:lnTo>
                    <a:pt x="3651" y="9001"/>
                  </a:lnTo>
                  <a:cubicBezTo>
                    <a:pt x="3663" y="9010"/>
                    <a:pt x="3678" y="9019"/>
                    <a:pt x="3690" y="9026"/>
                  </a:cubicBezTo>
                  <a:cubicBezTo>
                    <a:pt x="4125" y="10170"/>
                    <a:pt x="5027" y="11112"/>
                    <a:pt x="6314" y="11710"/>
                  </a:cubicBezTo>
                  <a:cubicBezTo>
                    <a:pt x="7156" y="12105"/>
                    <a:pt x="7736" y="12812"/>
                    <a:pt x="7911" y="13627"/>
                  </a:cubicBezTo>
                  <a:lnTo>
                    <a:pt x="7398" y="13627"/>
                  </a:lnTo>
                  <a:cubicBezTo>
                    <a:pt x="6459" y="13627"/>
                    <a:pt x="5701" y="14385"/>
                    <a:pt x="5701" y="15324"/>
                  </a:cubicBezTo>
                  <a:lnTo>
                    <a:pt x="5701" y="15988"/>
                  </a:lnTo>
                  <a:cubicBezTo>
                    <a:pt x="5021" y="16227"/>
                    <a:pt x="4569" y="16870"/>
                    <a:pt x="4569" y="17589"/>
                  </a:cubicBezTo>
                  <a:lnTo>
                    <a:pt x="4569" y="18760"/>
                  </a:lnTo>
                  <a:cubicBezTo>
                    <a:pt x="4569" y="19071"/>
                    <a:pt x="4819" y="19325"/>
                    <a:pt x="5133" y="19325"/>
                  </a:cubicBezTo>
                  <a:lnTo>
                    <a:pt x="14191" y="19325"/>
                  </a:lnTo>
                  <a:cubicBezTo>
                    <a:pt x="14506" y="19325"/>
                    <a:pt x="14759" y="19071"/>
                    <a:pt x="14759" y="18760"/>
                  </a:cubicBezTo>
                  <a:lnTo>
                    <a:pt x="14759" y="17589"/>
                  </a:lnTo>
                  <a:cubicBezTo>
                    <a:pt x="14756" y="16870"/>
                    <a:pt x="14303" y="16227"/>
                    <a:pt x="13627" y="15988"/>
                  </a:cubicBezTo>
                  <a:lnTo>
                    <a:pt x="13627" y="15324"/>
                  </a:lnTo>
                  <a:cubicBezTo>
                    <a:pt x="13624" y="14385"/>
                    <a:pt x="12866" y="13627"/>
                    <a:pt x="11927" y="13627"/>
                  </a:cubicBezTo>
                  <a:lnTo>
                    <a:pt x="11389" y="13627"/>
                  </a:lnTo>
                  <a:cubicBezTo>
                    <a:pt x="11507" y="12833"/>
                    <a:pt x="11981" y="12139"/>
                    <a:pt x="12679" y="11743"/>
                  </a:cubicBezTo>
                  <a:cubicBezTo>
                    <a:pt x="14044" y="10973"/>
                    <a:pt x="15088" y="10170"/>
                    <a:pt x="15593" y="9047"/>
                  </a:cubicBezTo>
                  <a:cubicBezTo>
                    <a:pt x="15623" y="9035"/>
                    <a:pt x="15650" y="9019"/>
                    <a:pt x="15677" y="9001"/>
                  </a:cubicBezTo>
                  <a:lnTo>
                    <a:pt x="18319" y="7241"/>
                  </a:lnTo>
                  <a:cubicBezTo>
                    <a:pt x="18947" y="6821"/>
                    <a:pt x="19328" y="6115"/>
                    <a:pt x="19328" y="5357"/>
                  </a:cubicBezTo>
                  <a:lnTo>
                    <a:pt x="19328" y="3437"/>
                  </a:lnTo>
                  <a:cubicBezTo>
                    <a:pt x="19325" y="2113"/>
                    <a:pt x="18239" y="1168"/>
                    <a:pt x="17057" y="1168"/>
                  </a:cubicBezTo>
                  <a:cubicBezTo>
                    <a:pt x="16681" y="1168"/>
                    <a:pt x="16295" y="1264"/>
                    <a:pt x="15931" y="1474"/>
                  </a:cubicBezTo>
                  <a:lnTo>
                    <a:pt x="15931" y="568"/>
                  </a:lnTo>
                  <a:cubicBezTo>
                    <a:pt x="15931" y="254"/>
                    <a:pt x="15677" y="0"/>
                    <a:pt x="15363"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435D74"/>
                </a:solidFill>
                <a:latin typeface="Arial"/>
                <a:cs typeface="Arial"/>
                <a:sym typeface="Arial"/>
              </a:endParaRPr>
            </a:p>
          </p:txBody>
        </p:sp>
      </p:grpSp>
      <p:grpSp>
        <p:nvGrpSpPr>
          <p:cNvPr id="9404" name="Google Shape;9404;p109"/>
          <p:cNvGrpSpPr/>
          <p:nvPr/>
        </p:nvGrpSpPr>
        <p:grpSpPr>
          <a:xfrm>
            <a:off x="6139744" y="4167719"/>
            <a:ext cx="459496" cy="453605"/>
            <a:chOff x="6238300" y="1426975"/>
            <a:chExt cx="489450" cy="483175"/>
          </a:xfrm>
        </p:grpSpPr>
        <p:sp>
          <p:nvSpPr>
            <p:cNvPr id="9405" name="Google Shape;9405;p109"/>
            <p:cNvSpPr/>
            <p:nvPr/>
          </p:nvSpPr>
          <p:spPr>
            <a:xfrm>
              <a:off x="6238300" y="1426975"/>
              <a:ext cx="489450" cy="483175"/>
            </a:xfrm>
            <a:custGeom>
              <a:avLst/>
              <a:gdLst/>
              <a:ahLst/>
              <a:cxnLst/>
              <a:rect l="l" t="t" r="r" b="b"/>
              <a:pathLst>
                <a:path w="19578" h="19327" extrusionOk="0">
                  <a:moveTo>
                    <a:pt x="16109" y="2267"/>
                  </a:moveTo>
                  <a:lnTo>
                    <a:pt x="16109" y="4803"/>
                  </a:lnTo>
                  <a:lnTo>
                    <a:pt x="14977" y="3831"/>
                  </a:lnTo>
                  <a:lnTo>
                    <a:pt x="14977" y="2267"/>
                  </a:lnTo>
                  <a:close/>
                  <a:moveTo>
                    <a:pt x="9880" y="1135"/>
                  </a:moveTo>
                  <a:cubicBezTo>
                    <a:pt x="10011" y="1135"/>
                    <a:pt x="10142" y="1181"/>
                    <a:pt x="10248" y="1274"/>
                  </a:cubicBezTo>
                  <a:lnTo>
                    <a:pt x="18174" y="8067"/>
                  </a:lnTo>
                  <a:cubicBezTo>
                    <a:pt x="18413" y="8270"/>
                    <a:pt x="18440" y="8626"/>
                    <a:pt x="18238" y="8864"/>
                  </a:cubicBezTo>
                  <a:lnTo>
                    <a:pt x="18238" y="8861"/>
                  </a:lnTo>
                  <a:cubicBezTo>
                    <a:pt x="18129" y="8988"/>
                    <a:pt x="17972" y="9061"/>
                    <a:pt x="17809" y="9061"/>
                  </a:cubicBezTo>
                  <a:cubicBezTo>
                    <a:pt x="17673" y="9061"/>
                    <a:pt x="17540" y="9012"/>
                    <a:pt x="17440" y="8925"/>
                  </a:cubicBezTo>
                  <a:lnTo>
                    <a:pt x="10251" y="2762"/>
                  </a:lnTo>
                  <a:cubicBezTo>
                    <a:pt x="10145" y="2672"/>
                    <a:pt x="10014" y="2626"/>
                    <a:pt x="9883" y="2626"/>
                  </a:cubicBezTo>
                  <a:cubicBezTo>
                    <a:pt x="9751" y="2626"/>
                    <a:pt x="9620" y="2672"/>
                    <a:pt x="9514" y="2762"/>
                  </a:cubicBezTo>
                  <a:lnTo>
                    <a:pt x="2687" y="8553"/>
                  </a:lnTo>
                  <a:cubicBezTo>
                    <a:pt x="2657" y="8575"/>
                    <a:pt x="2633" y="8596"/>
                    <a:pt x="2609" y="8623"/>
                  </a:cubicBezTo>
                  <a:lnTo>
                    <a:pt x="2250" y="8925"/>
                  </a:lnTo>
                  <a:cubicBezTo>
                    <a:pt x="2142" y="9016"/>
                    <a:pt x="2012" y="9060"/>
                    <a:pt x="1882" y="9060"/>
                  </a:cubicBezTo>
                  <a:cubicBezTo>
                    <a:pt x="1723" y="9060"/>
                    <a:pt x="1565" y="8994"/>
                    <a:pt x="1452" y="8864"/>
                  </a:cubicBezTo>
                  <a:cubicBezTo>
                    <a:pt x="1250" y="8629"/>
                    <a:pt x="1274" y="8273"/>
                    <a:pt x="1510" y="8067"/>
                  </a:cubicBezTo>
                  <a:lnTo>
                    <a:pt x="9511" y="1274"/>
                  </a:lnTo>
                  <a:cubicBezTo>
                    <a:pt x="9617" y="1181"/>
                    <a:pt x="9748" y="1135"/>
                    <a:pt x="9880" y="1135"/>
                  </a:cubicBezTo>
                  <a:close/>
                  <a:moveTo>
                    <a:pt x="12147" y="13665"/>
                  </a:moveTo>
                  <a:lnTo>
                    <a:pt x="12147" y="18195"/>
                  </a:lnTo>
                  <a:lnTo>
                    <a:pt x="7543" y="18195"/>
                  </a:lnTo>
                  <a:lnTo>
                    <a:pt x="7543" y="13665"/>
                  </a:lnTo>
                  <a:close/>
                  <a:moveTo>
                    <a:pt x="9883" y="3937"/>
                  </a:moveTo>
                  <a:lnTo>
                    <a:pt x="16109" y="9275"/>
                  </a:lnTo>
                  <a:lnTo>
                    <a:pt x="16109" y="18195"/>
                  </a:lnTo>
                  <a:lnTo>
                    <a:pt x="13280" y="18195"/>
                  </a:lnTo>
                  <a:lnTo>
                    <a:pt x="13280" y="13101"/>
                  </a:lnTo>
                  <a:cubicBezTo>
                    <a:pt x="13280" y="12787"/>
                    <a:pt x="13026" y="12533"/>
                    <a:pt x="12712" y="12533"/>
                  </a:cubicBezTo>
                  <a:lnTo>
                    <a:pt x="6975" y="12533"/>
                  </a:lnTo>
                  <a:cubicBezTo>
                    <a:pt x="6661" y="12533"/>
                    <a:pt x="6410" y="12787"/>
                    <a:pt x="6410" y="13101"/>
                  </a:cubicBezTo>
                  <a:lnTo>
                    <a:pt x="6410" y="18195"/>
                  </a:lnTo>
                  <a:lnTo>
                    <a:pt x="3578" y="18195"/>
                  </a:lnTo>
                  <a:lnTo>
                    <a:pt x="3578" y="9281"/>
                  </a:lnTo>
                  <a:lnTo>
                    <a:pt x="9883" y="3937"/>
                  </a:lnTo>
                  <a:close/>
                  <a:moveTo>
                    <a:pt x="9883" y="0"/>
                  </a:moveTo>
                  <a:cubicBezTo>
                    <a:pt x="9489" y="0"/>
                    <a:pt x="9095" y="137"/>
                    <a:pt x="8778" y="410"/>
                  </a:cubicBezTo>
                  <a:lnTo>
                    <a:pt x="773" y="7204"/>
                  </a:lnTo>
                  <a:cubicBezTo>
                    <a:pt x="154" y="7738"/>
                    <a:pt x="0" y="8635"/>
                    <a:pt x="411" y="9345"/>
                  </a:cubicBezTo>
                  <a:cubicBezTo>
                    <a:pt x="720" y="9881"/>
                    <a:pt x="1289" y="10193"/>
                    <a:pt x="1882" y="10193"/>
                  </a:cubicBezTo>
                  <a:cubicBezTo>
                    <a:pt x="2070" y="10193"/>
                    <a:pt x="2261" y="10162"/>
                    <a:pt x="2446" y="10096"/>
                  </a:cubicBezTo>
                  <a:lnTo>
                    <a:pt x="2446" y="18762"/>
                  </a:lnTo>
                  <a:cubicBezTo>
                    <a:pt x="2446" y="19073"/>
                    <a:pt x="2699" y="19327"/>
                    <a:pt x="3010" y="19327"/>
                  </a:cubicBezTo>
                  <a:lnTo>
                    <a:pt x="16673" y="19327"/>
                  </a:lnTo>
                  <a:cubicBezTo>
                    <a:pt x="16987" y="19327"/>
                    <a:pt x="17241" y="19073"/>
                    <a:pt x="17241" y="18762"/>
                  </a:cubicBezTo>
                  <a:lnTo>
                    <a:pt x="17241" y="10096"/>
                  </a:lnTo>
                  <a:cubicBezTo>
                    <a:pt x="17431" y="10163"/>
                    <a:pt x="17623" y="10195"/>
                    <a:pt x="17809" y="10195"/>
                  </a:cubicBezTo>
                  <a:cubicBezTo>
                    <a:pt x="18756" y="10195"/>
                    <a:pt x="19578" y="9388"/>
                    <a:pt x="19500" y="8363"/>
                  </a:cubicBezTo>
                  <a:cubicBezTo>
                    <a:pt x="19466" y="7913"/>
                    <a:pt x="19255" y="7497"/>
                    <a:pt x="18914" y="7204"/>
                  </a:cubicBezTo>
                  <a:lnTo>
                    <a:pt x="17241" y="5770"/>
                  </a:lnTo>
                  <a:lnTo>
                    <a:pt x="17241" y="1702"/>
                  </a:lnTo>
                  <a:cubicBezTo>
                    <a:pt x="17241" y="1388"/>
                    <a:pt x="16987" y="1135"/>
                    <a:pt x="16676" y="1135"/>
                  </a:cubicBezTo>
                  <a:lnTo>
                    <a:pt x="14412" y="1135"/>
                  </a:lnTo>
                  <a:cubicBezTo>
                    <a:pt x="14098" y="1135"/>
                    <a:pt x="13844" y="1388"/>
                    <a:pt x="13844" y="1702"/>
                  </a:cubicBezTo>
                  <a:lnTo>
                    <a:pt x="13844" y="2862"/>
                  </a:lnTo>
                  <a:lnTo>
                    <a:pt x="10988" y="410"/>
                  </a:lnTo>
                  <a:cubicBezTo>
                    <a:pt x="10671" y="137"/>
                    <a:pt x="10277" y="0"/>
                    <a:pt x="9883"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435D74"/>
                </a:solidFill>
                <a:latin typeface="Arial"/>
                <a:cs typeface="Arial"/>
                <a:sym typeface="Arial"/>
              </a:endParaRPr>
            </a:p>
          </p:txBody>
        </p:sp>
        <p:sp>
          <p:nvSpPr>
            <p:cNvPr id="9406" name="Google Shape;9406;p109"/>
            <p:cNvSpPr/>
            <p:nvPr/>
          </p:nvSpPr>
          <p:spPr>
            <a:xfrm>
              <a:off x="6426850" y="1596875"/>
              <a:ext cx="115150" cy="113250"/>
            </a:xfrm>
            <a:custGeom>
              <a:avLst/>
              <a:gdLst/>
              <a:ahLst/>
              <a:cxnLst/>
              <a:rect l="l" t="t" r="r" b="b"/>
              <a:pathLst>
                <a:path w="4606" h="4530" extrusionOk="0">
                  <a:moveTo>
                    <a:pt x="3473" y="1132"/>
                  </a:moveTo>
                  <a:lnTo>
                    <a:pt x="3473" y="3397"/>
                  </a:lnTo>
                  <a:lnTo>
                    <a:pt x="1133" y="3397"/>
                  </a:lnTo>
                  <a:lnTo>
                    <a:pt x="1133" y="1132"/>
                  </a:lnTo>
                  <a:close/>
                  <a:moveTo>
                    <a:pt x="565" y="0"/>
                  </a:moveTo>
                  <a:cubicBezTo>
                    <a:pt x="251" y="0"/>
                    <a:pt x="1" y="254"/>
                    <a:pt x="1" y="568"/>
                  </a:cubicBezTo>
                  <a:lnTo>
                    <a:pt x="1" y="3965"/>
                  </a:lnTo>
                  <a:cubicBezTo>
                    <a:pt x="1" y="4276"/>
                    <a:pt x="251" y="4529"/>
                    <a:pt x="565" y="4529"/>
                  </a:cubicBezTo>
                  <a:lnTo>
                    <a:pt x="4038" y="4529"/>
                  </a:lnTo>
                  <a:cubicBezTo>
                    <a:pt x="4352" y="4529"/>
                    <a:pt x="4605" y="4276"/>
                    <a:pt x="4605" y="3965"/>
                  </a:cubicBezTo>
                  <a:lnTo>
                    <a:pt x="4605" y="568"/>
                  </a:lnTo>
                  <a:cubicBezTo>
                    <a:pt x="4605" y="254"/>
                    <a:pt x="4352" y="0"/>
                    <a:pt x="4038"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435D74"/>
                </a:solidFill>
                <a:latin typeface="Arial"/>
                <a:cs typeface="Arial"/>
                <a:sym typeface="Arial"/>
              </a:endParaRPr>
            </a:p>
          </p:txBody>
        </p:sp>
        <p:sp>
          <p:nvSpPr>
            <p:cNvPr id="9407" name="Google Shape;9407;p109"/>
            <p:cNvSpPr/>
            <p:nvPr/>
          </p:nvSpPr>
          <p:spPr>
            <a:xfrm>
              <a:off x="6485350" y="1796900"/>
              <a:ext cx="28325" cy="28325"/>
            </a:xfrm>
            <a:custGeom>
              <a:avLst/>
              <a:gdLst/>
              <a:ahLst/>
              <a:cxnLst/>
              <a:rect l="l" t="t" r="r" b="b"/>
              <a:pathLst>
                <a:path w="1133" h="1133" extrusionOk="0">
                  <a:moveTo>
                    <a:pt x="565" y="1"/>
                  </a:moveTo>
                  <a:cubicBezTo>
                    <a:pt x="251" y="1"/>
                    <a:pt x="1" y="254"/>
                    <a:pt x="1" y="568"/>
                  </a:cubicBezTo>
                  <a:cubicBezTo>
                    <a:pt x="1" y="879"/>
                    <a:pt x="251" y="1133"/>
                    <a:pt x="565" y="1133"/>
                  </a:cubicBezTo>
                  <a:cubicBezTo>
                    <a:pt x="879" y="1133"/>
                    <a:pt x="1133" y="879"/>
                    <a:pt x="1133" y="568"/>
                  </a:cubicBezTo>
                  <a:cubicBezTo>
                    <a:pt x="1133" y="254"/>
                    <a:pt x="879" y="1"/>
                    <a:pt x="565"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435D74"/>
                </a:solidFill>
                <a:latin typeface="Arial"/>
                <a:cs typeface="Arial"/>
                <a:sym typeface="Arial"/>
              </a:endParaRPr>
            </a:p>
          </p:txBody>
        </p:sp>
      </p:grpSp>
      <p:sp>
        <p:nvSpPr>
          <p:cNvPr id="9408" name="Google Shape;9408;p109"/>
          <p:cNvSpPr/>
          <p:nvPr/>
        </p:nvSpPr>
        <p:spPr>
          <a:xfrm>
            <a:off x="1153916" y="4727032"/>
            <a:ext cx="401056" cy="451633"/>
          </a:xfrm>
          <a:custGeom>
            <a:avLst/>
            <a:gdLst/>
            <a:ahLst/>
            <a:cxnLst/>
            <a:rect l="l" t="t" r="r" b="b"/>
            <a:pathLst>
              <a:path w="17088" h="19243" extrusionOk="0">
                <a:moveTo>
                  <a:pt x="15955" y="1281"/>
                </a:moveTo>
                <a:lnTo>
                  <a:pt x="15955" y="3452"/>
                </a:lnTo>
                <a:lnTo>
                  <a:pt x="5586" y="5877"/>
                </a:lnTo>
                <a:lnTo>
                  <a:pt x="5586" y="3703"/>
                </a:lnTo>
                <a:lnTo>
                  <a:pt x="15955" y="1281"/>
                </a:lnTo>
                <a:close/>
                <a:moveTo>
                  <a:pt x="14425" y="12363"/>
                </a:moveTo>
                <a:cubicBezTo>
                  <a:pt x="14622" y="12363"/>
                  <a:pt x="14821" y="12401"/>
                  <a:pt x="15010" y="12480"/>
                </a:cubicBezTo>
                <a:cubicBezTo>
                  <a:pt x="15584" y="12716"/>
                  <a:pt x="15955" y="13274"/>
                  <a:pt x="15955" y="13893"/>
                </a:cubicBezTo>
                <a:cubicBezTo>
                  <a:pt x="15955" y="14739"/>
                  <a:pt x="15270" y="15421"/>
                  <a:pt x="14424" y="15421"/>
                </a:cubicBezTo>
                <a:cubicBezTo>
                  <a:pt x="13805" y="15421"/>
                  <a:pt x="13250" y="15050"/>
                  <a:pt x="13011" y="14479"/>
                </a:cubicBezTo>
                <a:cubicBezTo>
                  <a:pt x="12776" y="13905"/>
                  <a:pt x="12905" y="13247"/>
                  <a:pt x="13343" y="12809"/>
                </a:cubicBezTo>
                <a:cubicBezTo>
                  <a:pt x="13636" y="12519"/>
                  <a:pt x="14027" y="12363"/>
                  <a:pt x="14425" y="12363"/>
                </a:cubicBezTo>
                <a:close/>
                <a:moveTo>
                  <a:pt x="2925" y="15050"/>
                </a:moveTo>
                <a:cubicBezTo>
                  <a:pt x="3122" y="15050"/>
                  <a:pt x="3322" y="15088"/>
                  <a:pt x="3512" y="15168"/>
                </a:cubicBezTo>
                <a:cubicBezTo>
                  <a:pt x="4083" y="15403"/>
                  <a:pt x="4454" y="15962"/>
                  <a:pt x="4454" y="16581"/>
                </a:cubicBezTo>
                <a:cubicBezTo>
                  <a:pt x="4454" y="17423"/>
                  <a:pt x="3769" y="18108"/>
                  <a:pt x="2926" y="18108"/>
                </a:cubicBezTo>
                <a:cubicBezTo>
                  <a:pt x="2307" y="18108"/>
                  <a:pt x="1749" y="17737"/>
                  <a:pt x="1513" y="17166"/>
                </a:cubicBezTo>
                <a:cubicBezTo>
                  <a:pt x="1275" y="16593"/>
                  <a:pt x="1407" y="15934"/>
                  <a:pt x="1845" y="15497"/>
                </a:cubicBezTo>
                <a:cubicBezTo>
                  <a:pt x="2136" y="15206"/>
                  <a:pt x="2527" y="15050"/>
                  <a:pt x="2925" y="15050"/>
                </a:cubicBezTo>
                <a:close/>
                <a:moveTo>
                  <a:pt x="16525" y="0"/>
                </a:moveTo>
                <a:cubicBezTo>
                  <a:pt x="16481" y="0"/>
                  <a:pt x="16437" y="5"/>
                  <a:pt x="16393" y="16"/>
                </a:cubicBezTo>
                <a:lnTo>
                  <a:pt x="4892" y="2703"/>
                </a:lnTo>
                <a:cubicBezTo>
                  <a:pt x="4635" y="2761"/>
                  <a:pt x="4454" y="2990"/>
                  <a:pt x="4454" y="3253"/>
                </a:cubicBezTo>
                <a:lnTo>
                  <a:pt x="4454" y="14404"/>
                </a:lnTo>
                <a:cubicBezTo>
                  <a:pt x="3994" y="14081"/>
                  <a:pt x="3459" y="13921"/>
                  <a:pt x="2926" y="13921"/>
                </a:cubicBezTo>
                <a:cubicBezTo>
                  <a:pt x="2299" y="13921"/>
                  <a:pt x="1673" y="14143"/>
                  <a:pt x="1175" y="14579"/>
                </a:cubicBezTo>
                <a:cubicBezTo>
                  <a:pt x="251" y="15388"/>
                  <a:pt x="0" y="16720"/>
                  <a:pt x="568" y="17810"/>
                </a:cubicBezTo>
                <a:cubicBezTo>
                  <a:pt x="1032" y="18704"/>
                  <a:pt x="1950" y="19242"/>
                  <a:pt x="2925" y="19242"/>
                </a:cubicBezTo>
                <a:cubicBezTo>
                  <a:pt x="3136" y="19242"/>
                  <a:pt x="3349" y="19217"/>
                  <a:pt x="3560" y="19165"/>
                </a:cubicBezTo>
                <a:cubicBezTo>
                  <a:pt x="4750" y="18872"/>
                  <a:pt x="5589" y="17807"/>
                  <a:pt x="5586" y="16581"/>
                </a:cubicBezTo>
                <a:lnTo>
                  <a:pt x="5586" y="7039"/>
                </a:lnTo>
                <a:lnTo>
                  <a:pt x="15955" y="4618"/>
                </a:lnTo>
                <a:lnTo>
                  <a:pt x="15955" y="11716"/>
                </a:lnTo>
                <a:cubicBezTo>
                  <a:pt x="15508" y="11399"/>
                  <a:pt x="14974" y="11230"/>
                  <a:pt x="14424" y="11230"/>
                </a:cubicBezTo>
                <a:cubicBezTo>
                  <a:pt x="13349" y="11230"/>
                  <a:pt x="12377" y="11879"/>
                  <a:pt x="11966" y="12873"/>
                </a:cubicBezTo>
                <a:cubicBezTo>
                  <a:pt x="11553" y="13869"/>
                  <a:pt x="11782" y="15014"/>
                  <a:pt x="12543" y="15774"/>
                </a:cubicBezTo>
                <a:cubicBezTo>
                  <a:pt x="13052" y="16283"/>
                  <a:pt x="13733" y="16555"/>
                  <a:pt x="14426" y="16555"/>
                </a:cubicBezTo>
                <a:cubicBezTo>
                  <a:pt x="14769" y="16555"/>
                  <a:pt x="15115" y="16488"/>
                  <a:pt x="15445" y="16351"/>
                </a:cubicBezTo>
                <a:cubicBezTo>
                  <a:pt x="16438" y="15941"/>
                  <a:pt x="17087" y="14968"/>
                  <a:pt x="17087" y="13893"/>
                </a:cubicBezTo>
                <a:lnTo>
                  <a:pt x="17087" y="565"/>
                </a:lnTo>
                <a:cubicBezTo>
                  <a:pt x="17087" y="246"/>
                  <a:pt x="16826" y="0"/>
                  <a:pt x="16525"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435D74"/>
              </a:solidFill>
              <a:latin typeface="Arial"/>
              <a:cs typeface="Arial"/>
              <a:sym typeface="Arial"/>
            </a:endParaRPr>
          </a:p>
        </p:txBody>
      </p:sp>
      <p:grpSp>
        <p:nvGrpSpPr>
          <p:cNvPr id="9409" name="Google Shape;9409;p109"/>
          <p:cNvGrpSpPr/>
          <p:nvPr/>
        </p:nvGrpSpPr>
        <p:grpSpPr>
          <a:xfrm>
            <a:off x="1684938" y="4726392"/>
            <a:ext cx="453557" cy="453581"/>
            <a:chOff x="1487200" y="2021475"/>
            <a:chExt cx="483125" cy="483150"/>
          </a:xfrm>
        </p:grpSpPr>
        <p:sp>
          <p:nvSpPr>
            <p:cNvPr id="9410" name="Google Shape;9410;p109"/>
            <p:cNvSpPr/>
            <p:nvPr/>
          </p:nvSpPr>
          <p:spPr>
            <a:xfrm>
              <a:off x="1487200" y="2021475"/>
              <a:ext cx="483125" cy="483150"/>
            </a:xfrm>
            <a:custGeom>
              <a:avLst/>
              <a:gdLst/>
              <a:ahLst/>
              <a:cxnLst/>
              <a:rect l="l" t="t" r="r" b="b"/>
              <a:pathLst>
                <a:path w="19325" h="19326" extrusionOk="0">
                  <a:moveTo>
                    <a:pt x="17628" y="1133"/>
                  </a:moveTo>
                  <a:cubicBezTo>
                    <a:pt x="17939" y="1133"/>
                    <a:pt x="18192" y="1386"/>
                    <a:pt x="18192" y="1701"/>
                  </a:cubicBezTo>
                  <a:lnTo>
                    <a:pt x="18192" y="14796"/>
                  </a:lnTo>
                  <a:lnTo>
                    <a:pt x="1132" y="14796"/>
                  </a:lnTo>
                  <a:lnTo>
                    <a:pt x="1132" y="1701"/>
                  </a:lnTo>
                  <a:cubicBezTo>
                    <a:pt x="1132" y="1386"/>
                    <a:pt x="1386" y="1133"/>
                    <a:pt x="1700" y="1133"/>
                  </a:cubicBezTo>
                  <a:close/>
                  <a:moveTo>
                    <a:pt x="18192" y="15928"/>
                  </a:moveTo>
                  <a:lnTo>
                    <a:pt x="18192" y="17628"/>
                  </a:lnTo>
                  <a:cubicBezTo>
                    <a:pt x="18192" y="17939"/>
                    <a:pt x="17939" y="18193"/>
                    <a:pt x="17628" y="18193"/>
                  </a:cubicBezTo>
                  <a:lnTo>
                    <a:pt x="1700" y="18193"/>
                  </a:lnTo>
                  <a:cubicBezTo>
                    <a:pt x="1386" y="18193"/>
                    <a:pt x="1132" y="17939"/>
                    <a:pt x="1132" y="17628"/>
                  </a:cubicBezTo>
                  <a:lnTo>
                    <a:pt x="1132" y="15928"/>
                  </a:lnTo>
                  <a:close/>
                  <a:moveTo>
                    <a:pt x="1700" y="1"/>
                  </a:moveTo>
                  <a:cubicBezTo>
                    <a:pt x="761" y="1"/>
                    <a:pt x="0" y="761"/>
                    <a:pt x="0" y="1701"/>
                  </a:cubicBezTo>
                  <a:lnTo>
                    <a:pt x="0" y="17628"/>
                  </a:lnTo>
                  <a:cubicBezTo>
                    <a:pt x="0" y="18564"/>
                    <a:pt x="761" y="19325"/>
                    <a:pt x="1700" y="19325"/>
                  </a:cubicBezTo>
                  <a:lnTo>
                    <a:pt x="17628" y="19325"/>
                  </a:lnTo>
                  <a:cubicBezTo>
                    <a:pt x="18564" y="19325"/>
                    <a:pt x="19325" y="18564"/>
                    <a:pt x="19325" y="17628"/>
                  </a:cubicBezTo>
                  <a:lnTo>
                    <a:pt x="19325" y="1701"/>
                  </a:lnTo>
                  <a:cubicBezTo>
                    <a:pt x="19325" y="761"/>
                    <a:pt x="18564" y="1"/>
                    <a:pt x="17628"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435D74"/>
                </a:solidFill>
                <a:latin typeface="Arial"/>
                <a:cs typeface="Arial"/>
                <a:sym typeface="Arial"/>
              </a:endParaRPr>
            </a:p>
          </p:txBody>
        </p:sp>
        <p:sp>
          <p:nvSpPr>
            <p:cNvPr id="9411" name="Google Shape;9411;p109"/>
            <p:cNvSpPr/>
            <p:nvPr/>
          </p:nvSpPr>
          <p:spPr>
            <a:xfrm>
              <a:off x="1573100" y="2078100"/>
              <a:ext cx="84875" cy="284000"/>
            </a:xfrm>
            <a:custGeom>
              <a:avLst/>
              <a:gdLst/>
              <a:ahLst/>
              <a:cxnLst/>
              <a:rect l="l" t="t" r="r" b="b"/>
              <a:pathLst>
                <a:path w="3395" h="11360" extrusionOk="0">
                  <a:moveTo>
                    <a:pt x="1697" y="6833"/>
                  </a:moveTo>
                  <a:cubicBezTo>
                    <a:pt x="2201" y="6833"/>
                    <a:pt x="2455" y="7440"/>
                    <a:pt x="2099" y="7799"/>
                  </a:cubicBezTo>
                  <a:cubicBezTo>
                    <a:pt x="1983" y="7914"/>
                    <a:pt x="1841" y="7966"/>
                    <a:pt x="1702" y="7966"/>
                  </a:cubicBezTo>
                  <a:cubicBezTo>
                    <a:pt x="1411" y="7966"/>
                    <a:pt x="1133" y="7739"/>
                    <a:pt x="1133" y="7398"/>
                  </a:cubicBezTo>
                  <a:cubicBezTo>
                    <a:pt x="1133" y="7084"/>
                    <a:pt x="1383" y="6833"/>
                    <a:pt x="1697" y="6833"/>
                  </a:cubicBezTo>
                  <a:close/>
                  <a:moveTo>
                    <a:pt x="1697" y="0"/>
                  </a:moveTo>
                  <a:cubicBezTo>
                    <a:pt x="1383" y="0"/>
                    <a:pt x="1133" y="254"/>
                    <a:pt x="1133" y="568"/>
                  </a:cubicBezTo>
                  <a:lnTo>
                    <a:pt x="1133" y="5798"/>
                  </a:lnTo>
                  <a:cubicBezTo>
                    <a:pt x="453" y="6036"/>
                    <a:pt x="0" y="6679"/>
                    <a:pt x="0" y="7398"/>
                  </a:cubicBezTo>
                  <a:cubicBezTo>
                    <a:pt x="0" y="8116"/>
                    <a:pt x="453" y="8760"/>
                    <a:pt x="1133" y="8998"/>
                  </a:cubicBezTo>
                  <a:lnTo>
                    <a:pt x="1133" y="10795"/>
                  </a:lnTo>
                  <a:cubicBezTo>
                    <a:pt x="1133" y="11109"/>
                    <a:pt x="1383" y="11359"/>
                    <a:pt x="1697" y="11359"/>
                  </a:cubicBezTo>
                  <a:cubicBezTo>
                    <a:pt x="2011" y="11359"/>
                    <a:pt x="2265" y="11109"/>
                    <a:pt x="2265" y="10795"/>
                  </a:cubicBezTo>
                  <a:lnTo>
                    <a:pt x="2265" y="8998"/>
                  </a:lnTo>
                  <a:cubicBezTo>
                    <a:pt x="2941" y="8760"/>
                    <a:pt x="3394" y="8116"/>
                    <a:pt x="3394" y="7398"/>
                  </a:cubicBezTo>
                  <a:cubicBezTo>
                    <a:pt x="3394" y="6679"/>
                    <a:pt x="2941" y="6036"/>
                    <a:pt x="2265" y="5798"/>
                  </a:cubicBezTo>
                  <a:lnTo>
                    <a:pt x="2265" y="568"/>
                  </a:lnTo>
                  <a:cubicBezTo>
                    <a:pt x="2265" y="254"/>
                    <a:pt x="2011" y="0"/>
                    <a:pt x="1697"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435D74"/>
                </a:solidFill>
                <a:latin typeface="Arial"/>
                <a:cs typeface="Arial"/>
                <a:sym typeface="Arial"/>
              </a:endParaRPr>
            </a:p>
          </p:txBody>
        </p:sp>
        <p:sp>
          <p:nvSpPr>
            <p:cNvPr id="9412" name="Google Shape;9412;p109"/>
            <p:cNvSpPr/>
            <p:nvPr/>
          </p:nvSpPr>
          <p:spPr>
            <a:xfrm>
              <a:off x="1686325" y="2078100"/>
              <a:ext cx="84875" cy="284000"/>
            </a:xfrm>
            <a:custGeom>
              <a:avLst/>
              <a:gdLst/>
              <a:ahLst/>
              <a:cxnLst/>
              <a:rect l="l" t="t" r="r" b="b"/>
              <a:pathLst>
                <a:path w="3395" h="11360" extrusionOk="0">
                  <a:moveTo>
                    <a:pt x="1697" y="3436"/>
                  </a:moveTo>
                  <a:cubicBezTo>
                    <a:pt x="2011" y="3436"/>
                    <a:pt x="2262" y="3687"/>
                    <a:pt x="2262" y="4001"/>
                  </a:cubicBezTo>
                  <a:cubicBezTo>
                    <a:pt x="2262" y="4315"/>
                    <a:pt x="2011" y="4569"/>
                    <a:pt x="1697" y="4569"/>
                  </a:cubicBezTo>
                  <a:cubicBezTo>
                    <a:pt x="1383" y="4569"/>
                    <a:pt x="1133" y="4315"/>
                    <a:pt x="1133" y="4001"/>
                  </a:cubicBezTo>
                  <a:cubicBezTo>
                    <a:pt x="1133" y="3687"/>
                    <a:pt x="1383" y="3436"/>
                    <a:pt x="1697" y="3436"/>
                  </a:cubicBezTo>
                  <a:close/>
                  <a:moveTo>
                    <a:pt x="1697" y="0"/>
                  </a:moveTo>
                  <a:cubicBezTo>
                    <a:pt x="1383" y="0"/>
                    <a:pt x="1133" y="254"/>
                    <a:pt x="1133" y="568"/>
                  </a:cubicBezTo>
                  <a:lnTo>
                    <a:pt x="1133" y="2401"/>
                  </a:lnTo>
                  <a:cubicBezTo>
                    <a:pt x="453" y="2639"/>
                    <a:pt x="0" y="3282"/>
                    <a:pt x="0" y="4001"/>
                  </a:cubicBezTo>
                  <a:cubicBezTo>
                    <a:pt x="0" y="4720"/>
                    <a:pt x="453" y="5363"/>
                    <a:pt x="1133" y="5601"/>
                  </a:cubicBezTo>
                  <a:lnTo>
                    <a:pt x="1133" y="10795"/>
                  </a:lnTo>
                  <a:cubicBezTo>
                    <a:pt x="1133" y="11109"/>
                    <a:pt x="1383" y="11359"/>
                    <a:pt x="1697" y="11359"/>
                  </a:cubicBezTo>
                  <a:cubicBezTo>
                    <a:pt x="2011" y="11359"/>
                    <a:pt x="2265" y="11109"/>
                    <a:pt x="2265" y="10795"/>
                  </a:cubicBezTo>
                  <a:lnTo>
                    <a:pt x="2265" y="5601"/>
                  </a:lnTo>
                  <a:cubicBezTo>
                    <a:pt x="2941" y="5363"/>
                    <a:pt x="3394" y="4720"/>
                    <a:pt x="3394" y="4001"/>
                  </a:cubicBezTo>
                  <a:cubicBezTo>
                    <a:pt x="3394" y="3282"/>
                    <a:pt x="2941" y="2639"/>
                    <a:pt x="2265" y="2401"/>
                  </a:cubicBezTo>
                  <a:lnTo>
                    <a:pt x="2265" y="568"/>
                  </a:lnTo>
                  <a:cubicBezTo>
                    <a:pt x="2265" y="254"/>
                    <a:pt x="2011" y="0"/>
                    <a:pt x="1697"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435D74"/>
                </a:solidFill>
                <a:latin typeface="Arial"/>
                <a:cs typeface="Arial"/>
                <a:sym typeface="Arial"/>
              </a:endParaRPr>
            </a:p>
          </p:txBody>
        </p:sp>
        <p:sp>
          <p:nvSpPr>
            <p:cNvPr id="9413" name="Google Shape;9413;p109"/>
            <p:cNvSpPr/>
            <p:nvPr/>
          </p:nvSpPr>
          <p:spPr>
            <a:xfrm>
              <a:off x="1799550" y="2078100"/>
              <a:ext cx="84875" cy="284000"/>
            </a:xfrm>
            <a:custGeom>
              <a:avLst/>
              <a:gdLst/>
              <a:ahLst/>
              <a:cxnLst/>
              <a:rect l="l" t="t" r="r" b="b"/>
              <a:pathLst>
                <a:path w="3395" h="11360" extrusionOk="0">
                  <a:moveTo>
                    <a:pt x="1698" y="6833"/>
                  </a:moveTo>
                  <a:cubicBezTo>
                    <a:pt x="2202" y="6833"/>
                    <a:pt x="2455" y="7440"/>
                    <a:pt x="2099" y="7799"/>
                  </a:cubicBezTo>
                  <a:cubicBezTo>
                    <a:pt x="1983" y="7914"/>
                    <a:pt x="1841" y="7966"/>
                    <a:pt x="1703" y="7966"/>
                  </a:cubicBezTo>
                  <a:cubicBezTo>
                    <a:pt x="1411" y="7966"/>
                    <a:pt x="1133" y="7739"/>
                    <a:pt x="1133" y="7398"/>
                  </a:cubicBezTo>
                  <a:cubicBezTo>
                    <a:pt x="1133" y="7084"/>
                    <a:pt x="1384" y="6833"/>
                    <a:pt x="1698" y="6833"/>
                  </a:cubicBezTo>
                  <a:close/>
                  <a:moveTo>
                    <a:pt x="1698" y="0"/>
                  </a:moveTo>
                  <a:cubicBezTo>
                    <a:pt x="1384" y="0"/>
                    <a:pt x="1133" y="254"/>
                    <a:pt x="1133" y="568"/>
                  </a:cubicBezTo>
                  <a:lnTo>
                    <a:pt x="1133" y="5798"/>
                  </a:lnTo>
                  <a:cubicBezTo>
                    <a:pt x="454" y="6036"/>
                    <a:pt x="1" y="6679"/>
                    <a:pt x="1" y="7398"/>
                  </a:cubicBezTo>
                  <a:cubicBezTo>
                    <a:pt x="1" y="8116"/>
                    <a:pt x="454" y="8760"/>
                    <a:pt x="1133" y="8998"/>
                  </a:cubicBezTo>
                  <a:lnTo>
                    <a:pt x="1133" y="10795"/>
                  </a:lnTo>
                  <a:cubicBezTo>
                    <a:pt x="1133" y="11109"/>
                    <a:pt x="1384" y="11359"/>
                    <a:pt x="1698" y="11359"/>
                  </a:cubicBezTo>
                  <a:cubicBezTo>
                    <a:pt x="2012" y="11359"/>
                    <a:pt x="2265" y="11109"/>
                    <a:pt x="2265" y="10795"/>
                  </a:cubicBezTo>
                  <a:lnTo>
                    <a:pt x="2265" y="8998"/>
                  </a:lnTo>
                  <a:cubicBezTo>
                    <a:pt x="2942" y="8760"/>
                    <a:pt x="3394" y="8116"/>
                    <a:pt x="3394" y="7398"/>
                  </a:cubicBezTo>
                  <a:cubicBezTo>
                    <a:pt x="3394" y="6679"/>
                    <a:pt x="2942" y="6036"/>
                    <a:pt x="2265" y="5798"/>
                  </a:cubicBezTo>
                  <a:lnTo>
                    <a:pt x="2265" y="568"/>
                  </a:lnTo>
                  <a:cubicBezTo>
                    <a:pt x="2265" y="254"/>
                    <a:pt x="2012" y="0"/>
                    <a:pt x="1698"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435D74"/>
                </a:solidFill>
                <a:latin typeface="Arial"/>
                <a:cs typeface="Arial"/>
                <a:sym typeface="Arial"/>
              </a:endParaRPr>
            </a:p>
          </p:txBody>
        </p:sp>
      </p:grpSp>
      <p:grpSp>
        <p:nvGrpSpPr>
          <p:cNvPr id="9414" name="Google Shape;9414;p109"/>
          <p:cNvGrpSpPr/>
          <p:nvPr/>
        </p:nvGrpSpPr>
        <p:grpSpPr>
          <a:xfrm>
            <a:off x="2237387" y="4753864"/>
            <a:ext cx="453557" cy="398637"/>
            <a:chOff x="2081650" y="2050750"/>
            <a:chExt cx="483125" cy="424625"/>
          </a:xfrm>
        </p:grpSpPr>
        <p:sp>
          <p:nvSpPr>
            <p:cNvPr id="9415" name="Google Shape;9415;p109"/>
            <p:cNvSpPr/>
            <p:nvPr/>
          </p:nvSpPr>
          <p:spPr>
            <a:xfrm>
              <a:off x="2081650" y="2050750"/>
              <a:ext cx="483125" cy="424625"/>
            </a:xfrm>
            <a:custGeom>
              <a:avLst/>
              <a:gdLst/>
              <a:ahLst/>
              <a:cxnLst/>
              <a:rect l="l" t="t" r="r" b="b"/>
              <a:pathLst>
                <a:path w="19325" h="16985" extrusionOk="0">
                  <a:moveTo>
                    <a:pt x="5662" y="1402"/>
                  </a:moveTo>
                  <a:lnTo>
                    <a:pt x="5662" y="13770"/>
                  </a:lnTo>
                  <a:lnTo>
                    <a:pt x="1133" y="15581"/>
                  </a:lnTo>
                  <a:lnTo>
                    <a:pt x="1133" y="3214"/>
                  </a:lnTo>
                  <a:lnTo>
                    <a:pt x="5662" y="1402"/>
                  </a:lnTo>
                  <a:close/>
                  <a:moveTo>
                    <a:pt x="18192" y="1402"/>
                  </a:moveTo>
                  <a:lnTo>
                    <a:pt x="18192" y="13770"/>
                  </a:lnTo>
                  <a:lnTo>
                    <a:pt x="13663" y="15581"/>
                  </a:lnTo>
                  <a:lnTo>
                    <a:pt x="13663" y="3214"/>
                  </a:lnTo>
                  <a:lnTo>
                    <a:pt x="18192" y="1402"/>
                  </a:lnTo>
                  <a:close/>
                  <a:moveTo>
                    <a:pt x="6794" y="1348"/>
                  </a:moveTo>
                  <a:lnTo>
                    <a:pt x="12531" y="3241"/>
                  </a:lnTo>
                  <a:lnTo>
                    <a:pt x="12531" y="9464"/>
                  </a:lnTo>
                  <a:lnTo>
                    <a:pt x="12510" y="9461"/>
                  </a:lnTo>
                  <a:cubicBezTo>
                    <a:pt x="12205" y="9437"/>
                    <a:pt x="11903" y="9364"/>
                    <a:pt x="11619" y="9244"/>
                  </a:cubicBezTo>
                  <a:cubicBezTo>
                    <a:pt x="11548" y="9214"/>
                    <a:pt x="11474" y="9200"/>
                    <a:pt x="11401" y="9200"/>
                  </a:cubicBezTo>
                  <a:cubicBezTo>
                    <a:pt x="11181" y="9200"/>
                    <a:pt x="10970" y="9330"/>
                    <a:pt x="10879" y="9546"/>
                  </a:cubicBezTo>
                  <a:cubicBezTo>
                    <a:pt x="10759" y="9832"/>
                    <a:pt x="10891" y="10165"/>
                    <a:pt x="11178" y="10288"/>
                  </a:cubicBezTo>
                  <a:cubicBezTo>
                    <a:pt x="11574" y="10454"/>
                    <a:pt x="11994" y="10557"/>
                    <a:pt x="12422" y="10590"/>
                  </a:cubicBezTo>
                  <a:lnTo>
                    <a:pt x="12468" y="10590"/>
                  </a:lnTo>
                  <a:cubicBezTo>
                    <a:pt x="12489" y="10590"/>
                    <a:pt x="12510" y="10587"/>
                    <a:pt x="12531" y="10584"/>
                  </a:cubicBezTo>
                  <a:lnTo>
                    <a:pt x="12531" y="15633"/>
                  </a:lnTo>
                  <a:lnTo>
                    <a:pt x="6794" y="13746"/>
                  </a:lnTo>
                  <a:lnTo>
                    <a:pt x="6794" y="6774"/>
                  </a:lnTo>
                  <a:cubicBezTo>
                    <a:pt x="6951" y="6777"/>
                    <a:pt x="7105" y="6795"/>
                    <a:pt x="7259" y="6822"/>
                  </a:cubicBezTo>
                  <a:cubicBezTo>
                    <a:pt x="7295" y="6828"/>
                    <a:pt x="7331" y="6834"/>
                    <a:pt x="7368" y="6834"/>
                  </a:cubicBezTo>
                  <a:cubicBezTo>
                    <a:pt x="7658" y="6831"/>
                    <a:pt x="7902" y="6611"/>
                    <a:pt x="7929" y="6321"/>
                  </a:cubicBezTo>
                  <a:cubicBezTo>
                    <a:pt x="7957" y="6028"/>
                    <a:pt x="7760" y="5765"/>
                    <a:pt x="7473" y="5711"/>
                  </a:cubicBezTo>
                  <a:cubicBezTo>
                    <a:pt x="7250" y="5669"/>
                    <a:pt x="7020" y="5644"/>
                    <a:pt x="6794" y="5641"/>
                  </a:cubicBezTo>
                  <a:lnTo>
                    <a:pt x="6794" y="1348"/>
                  </a:lnTo>
                  <a:close/>
                  <a:moveTo>
                    <a:pt x="18757" y="0"/>
                  </a:moveTo>
                  <a:cubicBezTo>
                    <a:pt x="18687" y="0"/>
                    <a:pt x="18616" y="13"/>
                    <a:pt x="18549" y="40"/>
                  </a:cubicBezTo>
                  <a:lnTo>
                    <a:pt x="13077" y="2229"/>
                  </a:lnTo>
                  <a:lnTo>
                    <a:pt x="6405" y="28"/>
                  </a:lnTo>
                  <a:cubicBezTo>
                    <a:pt x="6395" y="25"/>
                    <a:pt x="6386" y="25"/>
                    <a:pt x="6380" y="22"/>
                  </a:cubicBezTo>
                  <a:cubicBezTo>
                    <a:pt x="6371" y="19"/>
                    <a:pt x="6359" y="16"/>
                    <a:pt x="6347" y="13"/>
                  </a:cubicBezTo>
                  <a:lnTo>
                    <a:pt x="6311" y="7"/>
                  </a:lnTo>
                  <a:cubicBezTo>
                    <a:pt x="6302" y="7"/>
                    <a:pt x="6290" y="4"/>
                    <a:pt x="6281" y="4"/>
                  </a:cubicBezTo>
                  <a:lnTo>
                    <a:pt x="6211" y="4"/>
                  </a:lnTo>
                  <a:cubicBezTo>
                    <a:pt x="6199" y="4"/>
                    <a:pt x="6187" y="4"/>
                    <a:pt x="6172" y="7"/>
                  </a:cubicBezTo>
                  <a:cubicBezTo>
                    <a:pt x="6166" y="9"/>
                    <a:pt x="6161" y="9"/>
                    <a:pt x="6157" y="9"/>
                  </a:cubicBezTo>
                  <a:cubicBezTo>
                    <a:pt x="6152" y="9"/>
                    <a:pt x="6148" y="9"/>
                    <a:pt x="6142" y="10"/>
                  </a:cubicBezTo>
                  <a:cubicBezTo>
                    <a:pt x="6133" y="13"/>
                    <a:pt x="6118" y="13"/>
                    <a:pt x="6106" y="16"/>
                  </a:cubicBezTo>
                  <a:lnTo>
                    <a:pt x="6075" y="22"/>
                  </a:lnTo>
                  <a:cubicBezTo>
                    <a:pt x="6063" y="28"/>
                    <a:pt x="6048" y="31"/>
                    <a:pt x="6036" y="37"/>
                  </a:cubicBezTo>
                  <a:cubicBezTo>
                    <a:pt x="6027" y="40"/>
                    <a:pt x="6021" y="40"/>
                    <a:pt x="6015" y="43"/>
                  </a:cubicBezTo>
                  <a:lnTo>
                    <a:pt x="354" y="2308"/>
                  </a:lnTo>
                  <a:cubicBezTo>
                    <a:pt x="139" y="2396"/>
                    <a:pt x="0" y="2601"/>
                    <a:pt x="0" y="2830"/>
                  </a:cubicBezTo>
                  <a:lnTo>
                    <a:pt x="0" y="16418"/>
                  </a:lnTo>
                  <a:cubicBezTo>
                    <a:pt x="0" y="16744"/>
                    <a:pt x="267" y="16984"/>
                    <a:pt x="566" y="16984"/>
                  </a:cubicBezTo>
                  <a:cubicBezTo>
                    <a:pt x="635" y="16984"/>
                    <a:pt x="706" y="16971"/>
                    <a:pt x="776" y="16943"/>
                  </a:cubicBezTo>
                  <a:lnTo>
                    <a:pt x="6248" y="14754"/>
                  </a:lnTo>
                  <a:lnTo>
                    <a:pt x="12917" y="16952"/>
                  </a:lnTo>
                  <a:cubicBezTo>
                    <a:pt x="12933" y="16958"/>
                    <a:pt x="12951" y="16964"/>
                    <a:pt x="12966" y="16967"/>
                  </a:cubicBezTo>
                  <a:cubicBezTo>
                    <a:pt x="13008" y="16976"/>
                    <a:pt x="13050" y="16983"/>
                    <a:pt x="13096" y="16983"/>
                  </a:cubicBezTo>
                  <a:lnTo>
                    <a:pt x="13099" y="16983"/>
                  </a:lnTo>
                  <a:cubicBezTo>
                    <a:pt x="13156" y="16983"/>
                    <a:pt x="13213" y="16973"/>
                    <a:pt x="13271" y="16955"/>
                  </a:cubicBezTo>
                  <a:cubicBezTo>
                    <a:pt x="13283" y="16952"/>
                    <a:pt x="13295" y="16946"/>
                    <a:pt x="13307" y="16940"/>
                  </a:cubicBezTo>
                  <a:lnTo>
                    <a:pt x="18965" y="14676"/>
                  </a:lnTo>
                  <a:cubicBezTo>
                    <a:pt x="19183" y="14591"/>
                    <a:pt x="19325" y="14386"/>
                    <a:pt x="19325" y="14153"/>
                  </a:cubicBezTo>
                  <a:lnTo>
                    <a:pt x="19325" y="566"/>
                  </a:lnTo>
                  <a:cubicBezTo>
                    <a:pt x="19325" y="379"/>
                    <a:pt x="19231" y="203"/>
                    <a:pt x="19077" y="98"/>
                  </a:cubicBezTo>
                  <a:cubicBezTo>
                    <a:pt x="18981" y="33"/>
                    <a:pt x="18869" y="0"/>
                    <a:pt x="18757"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435D74"/>
                </a:solidFill>
                <a:latin typeface="Arial"/>
                <a:cs typeface="Arial"/>
                <a:sym typeface="Arial"/>
              </a:endParaRPr>
            </a:p>
          </p:txBody>
        </p:sp>
        <p:sp>
          <p:nvSpPr>
            <p:cNvPr id="9416" name="Google Shape;9416;p109"/>
            <p:cNvSpPr/>
            <p:nvPr/>
          </p:nvSpPr>
          <p:spPr>
            <a:xfrm>
              <a:off x="2136375" y="2292025"/>
              <a:ext cx="36400" cy="41975"/>
            </a:xfrm>
            <a:custGeom>
              <a:avLst/>
              <a:gdLst/>
              <a:ahLst/>
              <a:cxnLst/>
              <a:rect l="l" t="t" r="r" b="b"/>
              <a:pathLst>
                <a:path w="1456" h="1679" extrusionOk="0">
                  <a:moveTo>
                    <a:pt x="820" y="1"/>
                  </a:moveTo>
                  <a:cubicBezTo>
                    <a:pt x="583" y="1"/>
                    <a:pt x="361" y="151"/>
                    <a:pt x="284" y="390"/>
                  </a:cubicBezTo>
                  <a:lnTo>
                    <a:pt x="103" y="927"/>
                  </a:lnTo>
                  <a:cubicBezTo>
                    <a:pt x="0" y="1223"/>
                    <a:pt x="160" y="1549"/>
                    <a:pt x="459" y="1649"/>
                  </a:cubicBezTo>
                  <a:cubicBezTo>
                    <a:pt x="519" y="1669"/>
                    <a:pt x="579" y="1678"/>
                    <a:pt x="639" y="1678"/>
                  </a:cubicBezTo>
                  <a:cubicBezTo>
                    <a:pt x="878" y="1678"/>
                    <a:pt x="1101" y="1525"/>
                    <a:pt x="1178" y="1284"/>
                  </a:cubicBezTo>
                  <a:lnTo>
                    <a:pt x="1356" y="746"/>
                  </a:lnTo>
                  <a:cubicBezTo>
                    <a:pt x="1456" y="450"/>
                    <a:pt x="1296" y="130"/>
                    <a:pt x="1000" y="30"/>
                  </a:cubicBezTo>
                  <a:cubicBezTo>
                    <a:pt x="940" y="10"/>
                    <a:pt x="880" y="1"/>
                    <a:pt x="820"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435D74"/>
                </a:solidFill>
                <a:latin typeface="Arial"/>
                <a:cs typeface="Arial"/>
                <a:sym typeface="Arial"/>
              </a:endParaRPr>
            </a:p>
          </p:txBody>
        </p:sp>
        <p:sp>
          <p:nvSpPr>
            <p:cNvPr id="9417" name="Google Shape;9417;p109"/>
            <p:cNvSpPr/>
            <p:nvPr/>
          </p:nvSpPr>
          <p:spPr>
            <a:xfrm>
              <a:off x="2296850" y="2220800"/>
              <a:ext cx="46075" cy="51650"/>
            </a:xfrm>
            <a:custGeom>
              <a:avLst/>
              <a:gdLst/>
              <a:ahLst/>
              <a:cxnLst/>
              <a:rect l="l" t="t" r="r" b="b"/>
              <a:pathLst>
                <a:path w="1843" h="2066" extrusionOk="0">
                  <a:moveTo>
                    <a:pt x="634" y="1"/>
                  </a:moveTo>
                  <a:cubicBezTo>
                    <a:pt x="506" y="1"/>
                    <a:pt x="378" y="44"/>
                    <a:pt x="272" y="132"/>
                  </a:cubicBezTo>
                  <a:cubicBezTo>
                    <a:pt x="37" y="331"/>
                    <a:pt x="1" y="681"/>
                    <a:pt x="194" y="920"/>
                  </a:cubicBezTo>
                  <a:cubicBezTo>
                    <a:pt x="354" y="1113"/>
                    <a:pt x="487" y="1327"/>
                    <a:pt x="593" y="1557"/>
                  </a:cubicBezTo>
                  <a:cubicBezTo>
                    <a:pt x="626" y="1626"/>
                    <a:pt x="662" y="1696"/>
                    <a:pt x="698" y="1765"/>
                  </a:cubicBezTo>
                  <a:cubicBezTo>
                    <a:pt x="798" y="1957"/>
                    <a:pt x="993" y="2065"/>
                    <a:pt x="1195" y="2065"/>
                  </a:cubicBezTo>
                  <a:cubicBezTo>
                    <a:pt x="1285" y="2065"/>
                    <a:pt x="1377" y="2044"/>
                    <a:pt x="1462" y="1998"/>
                  </a:cubicBezTo>
                  <a:cubicBezTo>
                    <a:pt x="1740" y="1853"/>
                    <a:pt x="1843" y="1509"/>
                    <a:pt x="1698" y="1234"/>
                  </a:cubicBezTo>
                  <a:cubicBezTo>
                    <a:pt x="1670" y="1183"/>
                    <a:pt x="1643" y="1131"/>
                    <a:pt x="1622" y="1083"/>
                  </a:cubicBezTo>
                  <a:cubicBezTo>
                    <a:pt x="1474" y="763"/>
                    <a:pt x="1287" y="464"/>
                    <a:pt x="1061" y="195"/>
                  </a:cubicBezTo>
                  <a:cubicBezTo>
                    <a:pt x="949" y="67"/>
                    <a:pt x="792" y="1"/>
                    <a:pt x="634"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435D74"/>
                </a:solidFill>
                <a:latin typeface="Arial"/>
                <a:cs typeface="Arial"/>
                <a:sym typeface="Arial"/>
              </a:endParaRPr>
            </a:p>
          </p:txBody>
        </p:sp>
        <p:sp>
          <p:nvSpPr>
            <p:cNvPr id="9418" name="Google Shape;9418;p109"/>
            <p:cNvSpPr/>
            <p:nvPr/>
          </p:nvSpPr>
          <p:spPr>
            <a:xfrm>
              <a:off x="2158650" y="2216775"/>
              <a:ext cx="47275" cy="51425"/>
            </a:xfrm>
            <a:custGeom>
              <a:avLst/>
              <a:gdLst/>
              <a:ahLst/>
              <a:cxnLst/>
              <a:rect l="l" t="t" r="r" b="b"/>
              <a:pathLst>
                <a:path w="1891" h="2057" extrusionOk="0">
                  <a:moveTo>
                    <a:pt x="1264" y="1"/>
                  </a:moveTo>
                  <a:cubicBezTo>
                    <a:pt x="1109" y="1"/>
                    <a:pt x="955" y="63"/>
                    <a:pt x="843" y="187"/>
                  </a:cubicBezTo>
                  <a:lnTo>
                    <a:pt x="846" y="184"/>
                  </a:lnTo>
                  <a:lnTo>
                    <a:pt x="846" y="184"/>
                  </a:lnTo>
                  <a:cubicBezTo>
                    <a:pt x="547" y="498"/>
                    <a:pt x="305" y="860"/>
                    <a:pt x="130" y="1256"/>
                  </a:cubicBezTo>
                  <a:cubicBezTo>
                    <a:pt x="0" y="1543"/>
                    <a:pt x="127" y="1878"/>
                    <a:pt x="414" y="2005"/>
                  </a:cubicBezTo>
                  <a:cubicBezTo>
                    <a:pt x="486" y="2038"/>
                    <a:pt x="565" y="2056"/>
                    <a:pt x="643" y="2056"/>
                  </a:cubicBezTo>
                  <a:cubicBezTo>
                    <a:pt x="867" y="2056"/>
                    <a:pt x="1069" y="1923"/>
                    <a:pt x="1163" y="1721"/>
                  </a:cubicBezTo>
                  <a:cubicBezTo>
                    <a:pt x="1286" y="1443"/>
                    <a:pt x="1455" y="1187"/>
                    <a:pt x="1664" y="966"/>
                  </a:cubicBezTo>
                  <a:cubicBezTo>
                    <a:pt x="1890" y="740"/>
                    <a:pt x="1884" y="374"/>
                    <a:pt x="1655" y="157"/>
                  </a:cubicBezTo>
                  <a:cubicBezTo>
                    <a:pt x="1544" y="52"/>
                    <a:pt x="1404" y="1"/>
                    <a:pt x="1264"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435D74"/>
                </a:solidFill>
                <a:latin typeface="Arial"/>
                <a:cs typeface="Arial"/>
                <a:sym typeface="Arial"/>
              </a:endParaRPr>
            </a:p>
          </p:txBody>
        </p:sp>
        <p:sp>
          <p:nvSpPr>
            <p:cNvPr id="9419" name="Google Shape;9419;p109"/>
            <p:cNvSpPr/>
            <p:nvPr/>
          </p:nvSpPr>
          <p:spPr>
            <a:xfrm>
              <a:off x="2426475" y="2255725"/>
              <a:ext cx="55875" cy="46900"/>
            </a:xfrm>
            <a:custGeom>
              <a:avLst/>
              <a:gdLst/>
              <a:ahLst/>
              <a:cxnLst/>
              <a:rect l="l" t="t" r="r" b="b"/>
              <a:pathLst>
                <a:path w="2235" h="1876" extrusionOk="0">
                  <a:moveTo>
                    <a:pt x="1592" y="1"/>
                  </a:moveTo>
                  <a:cubicBezTo>
                    <a:pt x="1423" y="1"/>
                    <a:pt x="1257" y="76"/>
                    <a:pt x="1144" y="220"/>
                  </a:cubicBezTo>
                  <a:cubicBezTo>
                    <a:pt x="960" y="462"/>
                    <a:pt x="734" y="667"/>
                    <a:pt x="477" y="830"/>
                  </a:cubicBezTo>
                  <a:cubicBezTo>
                    <a:pt x="0" y="1135"/>
                    <a:pt x="218" y="1875"/>
                    <a:pt x="782" y="1875"/>
                  </a:cubicBezTo>
                  <a:cubicBezTo>
                    <a:pt x="891" y="1875"/>
                    <a:pt x="997" y="1845"/>
                    <a:pt x="1087" y="1784"/>
                  </a:cubicBezTo>
                  <a:cubicBezTo>
                    <a:pt x="1452" y="1552"/>
                    <a:pt x="1776" y="1256"/>
                    <a:pt x="2041" y="912"/>
                  </a:cubicBezTo>
                  <a:cubicBezTo>
                    <a:pt x="2234" y="667"/>
                    <a:pt x="2186" y="311"/>
                    <a:pt x="1939" y="121"/>
                  </a:cubicBezTo>
                  <a:cubicBezTo>
                    <a:pt x="1835" y="40"/>
                    <a:pt x="1713" y="1"/>
                    <a:pt x="1592"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435D74"/>
                </a:solidFill>
                <a:latin typeface="Arial"/>
                <a:cs typeface="Arial"/>
                <a:sym typeface="Arial"/>
              </a:endParaRPr>
            </a:p>
          </p:txBody>
        </p:sp>
        <p:sp>
          <p:nvSpPr>
            <p:cNvPr id="9420" name="Google Shape;9420;p109"/>
            <p:cNvSpPr/>
            <p:nvPr/>
          </p:nvSpPr>
          <p:spPr>
            <a:xfrm>
              <a:off x="2473050" y="2192325"/>
              <a:ext cx="37000" cy="41500"/>
            </a:xfrm>
            <a:custGeom>
              <a:avLst/>
              <a:gdLst/>
              <a:ahLst/>
              <a:cxnLst/>
              <a:rect l="l" t="t" r="r" b="b"/>
              <a:pathLst>
                <a:path w="1480" h="1660" extrusionOk="0">
                  <a:moveTo>
                    <a:pt x="838" y="0"/>
                  </a:moveTo>
                  <a:cubicBezTo>
                    <a:pt x="609" y="0"/>
                    <a:pt x="393" y="140"/>
                    <a:pt x="308" y="368"/>
                  </a:cubicBezTo>
                  <a:lnTo>
                    <a:pt x="109" y="896"/>
                  </a:lnTo>
                  <a:cubicBezTo>
                    <a:pt x="0" y="1189"/>
                    <a:pt x="148" y="1515"/>
                    <a:pt x="441" y="1624"/>
                  </a:cubicBezTo>
                  <a:cubicBezTo>
                    <a:pt x="506" y="1648"/>
                    <a:pt x="573" y="1660"/>
                    <a:pt x="639" y="1660"/>
                  </a:cubicBezTo>
                  <a:cubicBezTo>
                    <a:pt x="868" y="1660"/>
                    <a:pt x="1084" y="1520"/>
                    <a:pt x="1169" y="1292"/>
                  </a:cubicBezTo>
                  <a:lnTo>
                    <a:pt x="1368" y="764"/>
                  </a:lnTo>
                  <a:cubicBezTo>
                    <a:pt x="1480" y="471"/>
                    <a:pt x="1329" y="145"/>
                    <a:pt x="1036" y="36"/>
                  </a:cubicBezTo>
                  <a:cubicBezTo>
                    <a:pt x="971" y="12"/>
                    <a:pt x="904" y="0"/>
                    <a:pt x="838"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435D74"/>
                </a:solidFill>
                <a:latin typeface="Arial"/>
                <a:cs typeface="Arial"/>
                <a:sym typeface="Arial"/>
              </a:endParaRPr>
            </a:p>
          </p:txBody>
        </p:sp>
      </p:grpSp>
      <p:grpSp>
        <p:nvGrpSpPr>
          <p:cNvPr id="9421" name="Google Shape;9421;p109"/>
          <p:cNvGrpSpPr/>
          <p:nvPr/>
        </p:nvGrpSpPr>
        <p:grpSpPr>
          <a:xfrm>
            <a:off x="2807964" y="4784961"/>
            <a:ext cx="453557" cy="336443"/>
            <a:chOff x="2676100" y="2083800"/>
            <a:chExt cx="483125" cy="358375"/>
          </a:xfrm>
        </p:grpSpPr>
        <p:sp>
          <p:nvSpPr>
            <p:cNvPr id="9422" name="Google Shape;9422;p109"/>
            <p:cNvSpPr/>
            <p:nvPr/>
          </p:nvSpPr>
          <p:spPr>
            <a:xfrm>
              <a:off x="2676100" y="2083800"/>
              <a:ext cx="483125" cy="358375"/>
            </a:xfrm>
            <a:custGeom>
              <a:avLst/>
              <a:gdLst/>
              <a:ahLst/>
              <a:cxnLst/>
              <a:rect l="l" t="t" r="r" b="b"/>
              <a:pathLst>
                <a:path w="19325" h="14335" extrusionOk="0">
                  <a:moveTo>
                    <a:pt x="1932" y="6375"/>
                  </a:moveTo>
                  <a:cubicBezTo>
                    <a:pt x="2126" y="6375"/>
                    <a:pt x="2324" y="6447"/>
                    <a:pt x="2485" y="6608"/>
                  </a:cubicBezTo>
                  <a:cubicBezTo>
                    <a:pt x="2984" y="7109"/>
                    <a:pt x="2630" y="7964"/>
                    <a:pt x="1927" y="7964"/>
                  </a:cubicBezTo>
                  <a:cubicBezTo>
                    <a:pt x="1489" y="7964"/>
                    <a:pt x="1133" y="7608"/>
                    <a:pt x="1133" y="7170"/>
                  </a:cubicBezTo>
                  <a:cubicBezTo>
                    <a:pt x="1133" y="6692"/>
                    <a:pt x="1524" y="6375"/>
                    <a:pt x="1932" y="6375"/>
                  </a:cubicBezTo>
                  <a:close/>
                  <a:moveTo>
                    <a:pt x="17401" y="6379"/>
                  </a:moveTo>
                  <a:cubicBezTo>
                    <a:pt x="17836" y="6379"/>
                    <a:pt x="18193" y="6732"/>
                    <a:pt x="18193" y="7170"/>
                  </a:cubicBezTo>
                  <a:cubicBezTo>
                    <a:pt x="18193" y="7648"/>
                    <a:pt x="17801" y="7964"/>
                    <a:pt x="17394" y="7964"/>
                  </a:cubicBezTo>
                  <a:cubicBezTo>
                    <a:pt x="17199" y="7964"/>
                    <a:pt x="17001" y="7892"/>
                    <a:pt x="16840" y="7731"/>
                  </a:cubicBezTo>
                  <a:cubicBezTo>
                    <a:pt x="16342" y="7230"/>
                    <a:pt x="16695" y="6379"/>
                    <a:pt x="17401" y="6379"/>
                  </a:cubicBezTo>
                  <a:close/>
                  <a:moveTo>
                    <a:pt x="9669" y="1276"/>
                  </a:moveTo>
                  <a:lnTo>
                    <a:pt x="14542" y="4851"/>
                  </a:lnTo>
                  <a:cubicBezTo>
                    <a:pt x="14642" y="4924"/>
                    <a:pt x="14760" y="4960"/>
                    <a:pt x="14877" y="4960"/>
                  </a:cubicBezTo>
                  <a:cubicBezTo>
                    <a:pt x="15021" y="4960"/>
                    <a:pt x="15164" y="4905"/>
                    <a:pt x="15273" y="4797"/>
                  </a:cubicBezTo>
                  <a:lnTo>
                    <a:pt x="18193" y="1925"/>
                  </a:lnTo>
                  <a:lnTo>
                    <a:pt x="18193" y="5419"/>
                  </a:lnTo>
                  <a:cubicBezTo>
                    <a:pt x="17930" y="5300"/>
                    <a:pt x="17661" y="5245"/>
                    <a:pt x="17398" y="5245"/>
                  </a:cubicBezTo>
                  <a:cubicBezTo>
                    <a:pt x="16385" y="5245"/>
                    <a:pt x="15475" y="6060"/>
                    <a:pt x="15475" y="7173"/>
                  </a:cubicBezTo>
                  <a:cubicBezTo>
                    <a:pt x="15475" y="8283"/>
                    <a:pt x="16385" y="9098"/>
                    <a:pt x="17398" y="9098"/>
                  </a:cubicBezTo>
                  <a:cubicBezTo>
                    <a:pt x="17660" y="9098"/>
                    <a:pt x="17930" y="9043"/>
                    <a:pt x="18193" y="8924"/>
                  </a:cubicBezTo>
                  <a:lnTo>
                    <a:pt x="18193" y="10878"/>
                  </a:lnTo>
                  <a:lnTo>
                    <a:pt x="1133" y="10878"/>
                  </a:lnTo>
                  <a:lnTo>
                    <a:pt x="1133" y="8924"/>
                  </a:lnTo>
                  <a:cubicBezTo>
                    <a:pt x="1395" y="9043"/>
                    <a:pt x="1665" y="9098"/>
                    <a:pt x="1928" y="9098"/>
                  </a:cubicBezTo>
                  <a:cubicBezTo>
                    <a:pt x="2940" y="9098"/>
                    <a:pt x="3850" y="8283"/>
                    <a:pt x="3850" y="7173"/>
                  </a:cubicBezTo>
                  <a:cubicBezTo>
                    <a:pt x="3850" y="6060"/>
                    <a:pt x="2940" y="5245"/>
                    <a:pt x="1927" y="5245"/>
                  </a:cubicBezTo>
                  <a:cubicBezTo>
                    <a:pt x="1665" y="5245"/>
                    <a:pt x="1395" y="5300"/>
                    <a:pt x="1133" y="5419"/>
                  </a:cubicBezTo>
                  <a:lnTo>
                    <a:pt x="1133" y="1883"/>
                  </a:lnTo>
                  <a:lnTo>
                    <a:pt x="4240" y="4806"/>
                  </a:lnTo>
                  <a:cubicBezTo>
                    <a:pt x="4349" y="4908"/>
                    <a:pt x="4488" y="4960"/>
                    <a:pt x="4628" y="4960"/>
                  </a:cubicBezTo>
                  <a:cubicBezTo>
                    <a:pt x="4748" y="4960"/>
                    <a:pt x="4869" y="4922"/>
                    <a:pt x="4970" y="4845"/>
                  </a:cubicBezTo>
                  <a:lnTo>
                    <a:pt x="9669" y="1276"/>
                  </a:lnTo>
                  <a:close/>
                  <a:moveTo>
                    <a:pt x="18193" y="12007"/>
                  </a:moveTo>
                  <a:lnTo>
                    <a:pt x="18193" y="13203"/>
                  </a:lnTo>
                  <a:lnTo>
                    <a:pt x="1133" y="13206"/>
                  </a:lnTo>
                  <a:lnTo>
                    <a:pt x="1133" y="12007"/>
                  </a:lnTo>
                  <a:close/>
                  <a:moveTo>
                    <a:pt x="570" y="0"/>
                  </a:moveTo>
                  <a:cubicBezTo>
                    <a:pt x="278" y="0"/>
                    <a:pt x="0" y="228"/>
                    <a:pt x="0" y="569"/>
                  </a:cubicBezTo>
                  <a:lnTo>
                    <a:pt x="0" y="13770"/>
                  </a:lnTo>
                  <a:cubicBezTo>
                    <a:pt x="0" y="14081"/>
                    <a:pt x="254" y="14335"/>
                    <a:pt x="565" y="14335"/>
                  </a:cubicBezTo>
                  <a:lnTo>
                    <a:pt x="18760" y="14335"/>
                  </a:lnTo>
                  <a:cubicBezTo>
                    <a:pt x="19071" y="14335"/>
                    <a:pt x="19325" y="14081"/>
                    <a:pt x="19325" y="13770"/>
                  </a:cubicBezTo>
                  <a:lnTo>
                    <a:pt x="19325" y="569"/>
                  </a:lnTo>
                  <a:cubicBezTo>
                    <a:pt x="19325" y="343"/>
                    <a:pt x="19189" y="134"/>
                    <a:pt x="18978" y="47"/>
                  </a:cubicBezTo>
                  <a:cubicBezTo>
                    <a:pt x="18907" y="18"/>
                    <a:pt x="18832" y="3"/>
                    <a:pt x="18758" y="3"/>
                  </a:cubicBezTo>
                  <a:cubicBezTo>
                    <a:pt x="18613" y="3"/>
                    <a:pt x="18470" y="59"/>
                    <a:pt x="18362" y="168"/>
                  </a:cubicBezTo>
                  <a:lnTo>
                    <a:pt x="14823" y="3652"/>
                  </a:lnTo>
                  <a:lnTo>
                    <a:pt x="9998" y="113"/>
                  </a:lnTo>
                  <a:cubicBezTo>
                    <a:pt x="9898" y="39"/>
                    <a:pt x="9780" y="2"/>
                    <a:pt x="9662" y="2"/>
                  </a:cubicBezTo>
                  <a:cubicBezTo>
                    <a:pt x="9542" y="2"/>
                    <a:pt x="9422" y="40"/>
                    <a:pt x="9321" y="116"/>
                  </a:cubicBezTo>
                  <a:lnTo>
                    <a:pt x="4668" y="3652"/>
                  </a:lnTo>
                  <a:lnTo>
                    <a:pt x="955" y="156"/>
                  </a:lnTo>
                  <a:cubicBezTo>
                    <a:pt x="840" y="48"/>
                    <a:pt x="704" y="0"/>
                    <a:pt x="570"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435D74"/>
                </a:solidFill>
                <a:latin typeface="Arial"/>
                <a:cs typeface="Arial"/>
                <a:sym typeface="Arial"/>
              </a:endParaRPr>
            </a:p>
          </p:txBody>
        </p:sp>
        <p:sp>
          <p:nvSpPr>
            <p:cNvPr id="9423" name="Google Shape;9423;p109"/>
            <p:cNvSpPr/>
            <p:nvPr/>
          </p:nvSpPr>
          <p:spPr>
            <a:xfrm>
              <a:off x="2869575" y="2214900"/>
              <a:ext cx="100050" cy="96325"/>
            </a:xfrm>
            <a:custGeom>
              <a:avLst/>
              <a:gdLst/>
              <a:ahLst/>
              <a:cxnLst/>
              <a:rect l="l" t="t" r="r" b="b"/>
              <a:pathLst>
                <a:path w="4002" h="3853" extrusionOk="0">
                  <a:moveTo>
                    <a:pt x="1924" y="1135"/>
                  </a:moveTo>
                  <a:cubicBezTo>
                    <a:pt x="2630" y="1135"/>
                    <a:pt x="2983" y="1986"/>
                    <a:pt x="2485" y="2487"/>
                  </a:cubicBezTo>
                  <a:cubicBezTo>
                    <a:pt x="2323" y="2648"/>
                    <a:pt x="2125" y="2720"/>
                    <a:pt x="1930" y="2720"/>
                  </a:cubicBezTo>
                  <a:cubicBezTo>
                    <a:pt x="1523" y="2720"/>
                    <a:pt x="1133" y="2404"/>
                    <a:pt x="1133" y="1926"/>
                  </a:cubicBezTo>
                  <a:cubicBezTo>
                    <a:pt x="1133" y="1488"/>
                    <a:pt x="1486" y="1135"/>
                    <a:pt x="1924" y="1135"/>
                  </a:cubicBezTo>
                  <a:close/>
                  <a:moveTo>
                    <a:pt x="1922" y="0"/>
                  </a:moveTo>
                  <a:cubicBezTo>
                    <a:pt x="1675" y="0"/>
                    <a:pt x="1425" y="48"/>
                    <a:pt x="1187" y="147"/>
                  </a:cubicBezTo>
                  <a:cubicBezTo>
                    <a:pt x="468" y="446"/>
                    <a:pt x="0" y="1147"/>
                    <a:pt x="0" y="1926"/>
                  </a:cubicBezTo>
                  <a:cubicBezTo>
                    <a:pt x="0" y="2989"/>
                    <a:pt x="861" y="3849"/>
                    <a:pt x="1924" y="3852"/>
                  </a:cubicBezTo>
                  <a:cubicBezTo>
                    <a:pt x="2703" y="3852"/>
                    <a:pt x="3403" y="3381"/>
                    <a:pt x="3702" y="2663"/>
                  </a:cubicBezTo>
                  <a:cubicBezTo>
                    <a:pt x="4001" y="1944"/>
                    <a:pt x="3835" y="1117"/>
                    <a:pt x="3285" y="564"/>
                  </a:cubicBezTo>
                  <a:cubicBezTo>
                    <a:pt x="2916" y="196"/>
                    <a:pt x="2423" y="0"/>
                    <a:pt x="1922"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435D74"/>
                </a:solidFill>
                <a:latin typeface="Arial"/>
                <a:cs typeface="Arial"/>
                <a:sym typeface="Arial"/>
              </a:endParaRPr>
            </a:p>
          </p:txBody>
        </p:sp>
      </p:grpSp>
      <p:grpSp>
        <p:nvGrpSpPr>
          <p:cNvPr id="9424" name="Google Shape;9424;p109"/>
          <p:cNvGrpSpPr/>
          <p:nvPr/>
        </p:nvGrpSpPr>
        <p:grpSpPr>
          <a:xfrm>
            <a:off x="3375317" y="4739688"/>
            <a:ext cx="431449" cy="426989"/>
            <a:chOff x="3282325" y="2035675"/>
            <a:chExt cx="459575" cy="454825"/>
          </a:xfrm>
        </p:grpSpPr>
        <p:sp>
          <p:nvSpPr>
            <p:cNvPr id="9425" name="Google Shape;9425;p109"/>
            <p:cNvSpPr/>
            <p:nvPr/>
          </p:nvSpPr>
          <p:spPr>
            <a:xfrm>
              <a:off x="3337050" y="2234125"/>
              <a:ext cx="85925" cy="206325"/>
            </a:xfrm>
            <a:custGeom>
              <a:avLst/>
              <a:gdLst/>
              <a:ahLst/>
              <a:cxnLst/>
              <a:rect l="l" t="t" r="r" b="b"/>
              <a:pathLst>
                <a:path w="3437" h="8253" extrusionOk="0">
                  <a:moveTo>
                    <a:pt x="2305" y="1133"/>
                  </a:moveTo>
                  <a:lnTo>
                    <a:pt x="2305" y="7120"/>
                  </a:lnTo>
                  <a:lnTo>
                    <a:pt x="1133" y="7120"/>
                  </a:lnTo>
                  <a:lnTo>
                    <a:pt x="1133" y="1133"/>
                  </a:lnTo>
                  <a:close/>
                  <a:moveTo>
                    <a:pt x="568" y="0"/>
                  </a:moveTo>
                  <a:cubicBezTo>
                    <a:pt x="254" y="0"/>
                    <a:pt x="1" y="254"/>
                    <a:pt x="1" y="568"/>
                  </a:cubicBezTo>
                  <a:lnTo>
                    <a:pt x="1" y="7688"/>
                  </a:lnTo>
                  <a:cubicBezTo>
                    <a:pt x="1" y="7999"/>
                    <a:pt x="254" y="8253"/>
                    <a:pt x="568" y="8253"/>
                  </a:cubicBezTo>
                  <a:lnTo>
                    <a:pt x="2869" y="8253"/>
                  </a:lnTo>
                  <a:cubicBezTo>
                    <a:pt x="3183" y="8253"/>
                    <a:pt x="3437" y="7999"/>
                    <a:pt x="3437" y="7688"/>
                  </a:cubicBezTo>
                  <a:lnTo>
                    <a:pt x="3437" y="568"/>
                  </a:lnTo>
                  <a:cubicBezTo>
                    <a:pt x="3437" y="254"/>
                    <a:pt x="3183" y="0"/>
                    <a:pt x="2869"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435D74"/>
                </a:solidFill>
                <a:latin typeface="Arial"/>
                <a:cs typeface="Arial"/>
                <a:sym typeface="Arial"/>
              </a:endParaRPr>
            </a:p>
          </p:txBody>
        </p:sp>
        <p:sp>
          <p:nvSpPr>
            <p:cNvPr id="9426" name="Google Shape;9426;p109"/>
            <p:cNvSpPr/>
            <p:nvPr/>
          </p:nvSpPr>
          <p:spPr>
            <a:xfrm>
              <a:off x="3451275" y="2175475"/>
              <a:ext cx="84925" cy="264975"/>
            </a:xfrm>
            <a:custGeom>
              <a:avLst/>
              <a:gdLst/>
              <a:ahLst/>
              <a:cxnLst/>
              <a:rect l="l" t="t" r="r" b="b"/>
              <a:pathLst>
                <a:path w="3397" h="10599" extrusionOk="0">
                  <a:moveTo>
                    <a:pt x="2265" y="1133"/>
                  </a:moveTo>
                  <a:lnTo>
                    <a:pt x="2265" y="9466"/>
                  </a:lnTo>
                  <a:lnTo>
                    <a:pt x="1132" y="9466"/>
                  </a:lnTo>
                  <a:lnTo>
                    <a:pt x="1132" y="1133"/>
                  </a:lnTo>
                  <a:close/>
                  <a:moveTo>
                    <a:pt x="565" y="0"/>
                  </a:moveTo>
                  <a:cubicBezTo>
                    <a:pt x="254" y="0"/>
                    <a:pt x="0" y="254"/>
                    <a:pt x="0" y="565"/>
                  </a:cubicBezTo>
                  <a:lnTo>
                    <a:pt x="0" y="10034"/>
                  </a:lnTo>
                  <a:cubicBezTo>
                    <a:pt x="0" y="10345"/>
                    <a:pt x="254" y="10599"/>
                    <a:pt x="565" y="10599"/>
                  </a:cubicBezTo>
                  <a:lnTo>
                    <a:pt x="2829" y="10599"/>
                  </a:lnTo>
                  <a:cubicBezTo>
                    <a:pt x="3143" y="10599"/>
                    <a:pt x="3397" y="10345"/>
                    <a:pt x="3397" y="10034"/>
                  </a:cubicBezTo>
                  <a:lnTo>
                    <a:pt x="3397" y="565"/>
                  </a:lnTo>
                  <a:cubicBezTo>
                    <a:pt x="3397" y="254"/>
                    <a:pt x="3143" y="0"/>
                    <a:pt x="2829"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435D74"/>
                </a:solidFill>
                <a:latin typeface="Arial"/>
                <a:cs typeface="Arial"/>
                <a:sym typeface="Arial"/>
              </a:endParaRPr>
            </a:p>
          </p:txBody>
        </p:sp>
        <p:sp>
          <p:nvSpPr>
            <p:cNvPr id="9427" name="Google Shape;9427;p109"/>
            <p:cNvSpPr/>
            <p:nvPr/>
          </p:nvSpPr>
          <p:spPr>
            <a:xfrm>
              <a:off x="3564500" y="2116825"/>
              <a:ext cx="84950" cy="323625"/>
            </a:xfrm>
            <a:custGeom>
              <a:avLst/>
              <a:gdLst/>
              <a:ahLst/>
              <a:cxnLst/>
              <a:rect l="l" t="t" r="r" b="b"/>
              <a:pathLst>
                <a:path w="3398" h="12945" extrusionOk="0">
                  <a:moveTo>
                    <a:pt x="2265" y="1132"/>
                  </a:moveTo>
                  <a:lnTo>
                    <a:pt x="2265" y="11812"/>
                  </a:lnTo>
                  <a:lnTo>
                    <a:pt x="1133" y="11812"/>
                  </a:lnTo>
                  <a:lnTo>
                    <a:pt x="1133" y="1132"/>
                  </a:lnTo>
                  <a:close/>
                  <a:moveTo>
                    <a:pt x="565" y="0"/>
                  </a:moveTo>
                  <a:cubicBezTo>
                    <a:pt x="254" y="0"/>
                    <a:pt x="0" y="251"/>
                    <a:pt x="0" y="565"/>
                  </a:cubicBezTo>
                  <a:lnTo>
                    <a:pt x="0" y="12380"/>
                  </a:lnTo>
                  <a:cubicBezTo>
                    <a:pt x="0" y="12691"/>
                    <a:pt x="254" y="12945"/>
                    <a:pt x="565" y="12945"/>
                  </a:cubicBezTo>
                  <a:lnTo>
                    <a:pt x="2829" y="12945"/>
                  </a:lnTo>
                  <a:cubicBezTo>
                    <a:pt x="3144" y="12945"/>
                    <a:pt x="3397" y="12691"/>
                    <a:pt x="3397" y="12380"/>
                  </a:cubicBezTo>
                  <a:lnTo>
                    <a:pt x="3397" y="565"/>
                  </a:lnTo>
                  <a:cubicBezTo>
                    <a:pt x="3397" y="251"/>
                    <a:pt x="3144" y="0"/>
                    <a:pt x="2829"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435D74"/>
                </a:solidFill>
                <a:latin typeface="Arial"/>
                <a:cs typeface="Arial"/>
                <a:sym typeface="Arial"/>
              </a:endParaRPr>
            </a:p>
          </p:txBody>
        </p:sp>
        <p:sp>
          <p:nvSpPr>
            <p:cNvPr id="9428" name="Google Shape;9428;p109"/>
            <p:cNvSpPr/>
            <p:nvPr/>
          </p:nvSpPr>
          <p:spPr>
            <a:xfrm>
              <a:off x="3282325" y="2035675"/>
              <a:ext cx="459575" cy="454825"/>
            </a:xfrm>
            <a:custGeom>
              <a:avLst/>
              <a:gdLst/>
              <a:ahLst/>
              <a:cxnLst/>
              <a:rect l="l" t="t" r="r" b="b"/>
              <a:pathLst>
                <a:path w="18383" h="18193" extrusionOk="0">
                  <a:moveTo>
                    <a:pt x="568" y="0"/>
                  </a:moveTo>
                  <a:cubicBezTo>
                    <a:pt x="254" y="0"/>
                    <a:pt x="1" y="251"/>
                    <a:pt x="1" y="565"/>
                  </a:cubicBezTo>
                  <a:lnTo>
                    <a:pt x="1" y="17625"/>
                  </a:lnTo>
                  <a:cubicBezTo>
                    <a:pt x="1" y="17939"/>
                    <a:pt x="254" y="18192"/>
                    <a:pt x="568" y="18192"/>
                  </a:cubicBezTo>
                  <a:lnTo>
                    <a:pt x="17815" y="18192"/>
                  </a:lnTo>
                  <a:cubicBezTo>
                    <a:pt x="18129" y="18192"/>
                    <a:pt x="18383" y="17939"/>
                    <a:pt x="18383" y="17625"/>
                  </a:cubicBezTo>
                  <a:cubicBezTo>
                    <a:pt x="18383" y="17311"/>
                    <a:pt x="18129" y="17060"/>
                    <a:pt x="17815" y="17060"/>
                  </a:cubicBezTo>
                  <a:lnTo>
                    <a:pt x="1133" y="17060"/>
                  </a:lnTo>
                  <a:lnTo>
                    <a:pt x="1133" y="565"/>
                  </a:lnTo>
                  <a:cubicBezTo>
                    <a:pt x="1133" y="251"/>
                    <a:pt x="879" y="0"/>
                    <a:pt x="568"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435D74"/>
                </a:solidFill>
                <a:latin typeface="Arial"/>
                <a:cs typeface="Arial"/>
                <a:sym typeface="Arial"/>
              </a:endParaRPr>
            </a:p>
          </p:txBody>
        </p:sp>
      </p:grpSp>
      <p:sp>
        <p:nvSpPr>
          <p:cNvPr id="9429" name="Google Shape;9429;p109"/>
          <p:cNvSpPr/>
          <p:nvPr/>
        </p:nvSpPr>
        <p:spPr>
          <a:xfrm>
            <a:off x="3920245" y="4741722"/>
            <a:ext cx="440579" cy="422249"/>
          </a:xfrm>
          <a:custGeom>
            <a:avLst/>
            <a:gdLst/>
            <a:ahLst/>
            <a:cxnLst/>
            <a:rect l="l" t="t" r="r" b="b"/>
            <a:pathLst>
              <a:path w="18772" h="17991" extrusionOk="0">
                <a:moveTo>
                  <a:pt x="17492" y="6197"/>
                </a:moveTo>
                <a:lnTo>
                  <a:pt x="17217" y="8063"/>
                </a:lnTo>
                <a:lnTo>
                  <a:pt x="15626" y="6472"/>
                </a:lnTo>
                <a:lnTo>
                  <a:pt x="17492" y="6197"/>
                </a:lnTo>
                <a:close/>
                <a:moveTo>
                  <a:pt x="6055" y="9391"/>
                </a:moveTo>
                <a:lnTo>
                  <a:pt x="6055" y="16858"/>
                </a:lnTo>
                <a:lnTo>
                  <a:pt x="1133" y="16858"/>
                </a:lnTo>
                <a:lnTo>
                  <a:pt x="1133" y="13332"/>
                </a:lnTo>
                <a:lnTo>
                  <a:pt x="6055" y="9391"/>
                </a:lnTo>
                <a:close/>
                <a:moveTo>
                  <a:pt x="7187" y="9141"/>
                </a:moveTo>
                <a:lnTo>
                  <a:pt x="11903" y="11568"/>
                </a:lnTo>
                <a:lnTo>
                  <a:pt x="11903" y="16858"/>
                </a:lnTo>
                <a:lnTo>
                  <a:pt x="7187" y="16858"/>
                </a:lnTo>
                <a:lnTo>
                  <a:pt x="7187" y="9141"/>
                </a:lnTo>
                <a:close/>
                <a:moveTo>
                  <a:pt x="565" y="1"/>
                </a:moveTo>
                <a:cubicBezTo>
                  <a:pt x="254" y="1"/>
                  <a:pt x="1" y="255"/>
                  <a:pt x="1" y="569"/>
                </a:cubicBezTo>
                <a:lnTo>
                  <a:pt x="1" y="17423"/>
                </a:lnTo>
                <a:cubicBezTo>
                  <a:pt x="1" y="17737"/>
                  <a:pt x="254" y="17991"/>
                  <a:pt x="565" y="17991"/>
                </a:cubicBezTo>
                <a:lnTo>
                  <a:pt x="18141" y="17991"/>
                </a:lnTo>
                <a:cubicBezTo>
                  <a:pt x="18455" y="17991"/>
                  <a:pt x="18706" y="17737"/>
                  <a:pt x="18706" y="17423"/>
                </a:cubicBezTo>
                <a:cubicBezTo>
                  <a:pt x="18706" y="17112"/>
                  <a:pt x="18455" y="16858"/>
                  <a:pt x="18141" y="16858"/>
                </a:cubicBezTo>
                <a:lnTo>
                  <a:pt x="13033" y="16858"/>
                </a:lnTo>
                <a:lnTo>
                  <a:pt x="13033" y="11457"/>
                </a:lnTo>
                <a:lnTo>
                  <a:pt x="16022" y="8467"/>
                </a:lnTo>
                <a:lnTo>
                  <a:pt x="17214" y="9660"/>
                </a:lnTo>
                <a:cubicBezTo>
                  <a:pt x="17329" y="9774"/>
                  <a:pt x="17471" y="9826"/>
                  <a:pt x="17611" y="9826"/>
                </a:cubicBezTo>
                <a:cubicBezTo>
                  <a:pt x="17874" y="9826"/>
                  <a:pt x="18129" y="9643"/>
                  <a:pt x="18175" y="9343"/>
                </a:cubicBezTo>
                <a:lnTo>
                  <a:pt x="18721" y="5608"/>
                </a:lnTo>
                <a:cubicBezTo>
                  <a:pt x="18771" y="5262"/>
                  <a:pt x="18501" y="4962"/>
                  <a:pt x="18164" y="4962"/>
                </a:cubicBezTo>
                <a:cubicBezTo>
                  <a:pt x="18137" y="4962"/>
                  <a:pt x="18109" y="4964"/>
                  <a:pt x="18081" y="4968"/>
                </a:cubicBezTo>
                <a:lnTo>
                  <a:pt x="14346" y="5514"/>
                </a:lnTo>
                <a:cubicBezTo>
                  <a:pt x="13887" y="5584"/>
                  <a:pt x="13700" y="6145"/>
                  <a:pt x="14029" y="6475"/>
                </a:cubicBezTo>
                <a:lnTo>
                  <a:pt x="15222" y="7667"/>
                </a:lnTo>
                <a:lnTo>
                  <a:pt x="12359" y="10530"/>
                </a:lnTo>
                <a:lnTo>
                  <a:pt x="6879" y="7710"/>
                </a:lnTo>
                <a:cubicBezTo>
                  <a:pt x="6867" y="7703"/>
                  <a:pt x="6855" y="7697"/>
                  <a:pt x="6846" y="7694"/>
                </a:cubicBezTo>
                <a:lnTo>
                  <a:pt x="6831" y="7688"/>
                </a:lnTo>
                <a:lnTo>
                  <a:pt x="6794" y="7673"/>
                </a:lnTo>
                <a:lnTo>
                  <a:pt x="6776" y="7670"/>
                </a:lnTo>
                <a:cubicBezTo>
                  <a:pt x="6767" y="7667"/>
                  <a:pt x="6755" y="7664"/>
                  <a:pt x="6743" y="7661"/>
                </a:cubicBezTo>
                <a:lnTo>
                  <a:pt x="6728" y="7658"/>
                </a:lnTo>
                <a:cubicBezTo>
                  <a:pt x="6713" y="7655"/>
                  <a:pt x="6695" y="7652"/>
                  <a:pt x="6680" y="7649"/>
                </a:cubicBezTo>
                <a:lnTo>
                  <a:pt x="6553" y="7649"/>
                </a:lnTo>
                <a:cubicBezTo>
                  <a:pt x="6541" y="7649"/>
                  <a:pt x="6526" y="7655"/>
                  <a:pt x="6514" y="7655"/>
                </a:cubicBezTo>
                <a:lnTo>
                  <a:pt x="6495" y="7661"/>
                </a:lnTo>
                <a:cubicBezTo>
                  <a:pt x="6483" y="7661"/>
                  <a:pt x="6474" y="7664"/>
                  <a:pt x="6465" y="7667"/>
                </a:cubicBezTo>
                <a:lnTo>
                  <a:pt x="6447" y="7673"/>
                </a:lnTo>
                <a:cubicBezTo>
                  <a:pt x="6432" y="7679"/>
                  <a:pt x="6417" y="7682"/>
                  <a:pt x="6405" y="7688"/>
                </a:cubicBezTo>
                <a:lnTo>
                  <a:pt x="6387" y="7697"/>
                </a:lnTo>
                <a:lnTo>
                  <a:pt x="6360" y="7710"/>
                </a:lnTo>
                <a:lnTo>
                  <a:pt x="6341" y="7719"/>
                </a:lnTo>
                <a:cubicBezTo>
                  <a:pt x="6332" y="7725"/>
                  <a:pt x="6323" y="7731"/>
                  <a:pt x="6314" y="7737"/>
                </a:cubicBezTo>
                <a:lnTo>
                  <a:pt x="6299" y="7746"/>
                </a:lnTo>
                <a:cubicBezTo>
                  <a:pt x="6287" y="7752"/>
                  <a:pt x="6275" y="7761"/>
                  <a:pt x="6266" y="7770"/>
                </a:cubicBezTo>
                <a:lnTo>
                  <a:pt x="6260" y="7776"/>
                </a:lnTo>
                <a:lnTo>
                  <a:pt x="1133" y="11879"/>
                </a:lnTo>
                <a:lnTo>
                  <a:pt x="1133" y="569"/>
                </a:lnTo>
                <a:cubicBezTo>
                  <a:pt x="1133" y="255"/>
                  <a:pt x="879" y="1"/>
                  <a:pt x="565"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435D74"/>
              </a:solidFill>
              <a:latin typeface="Arial"/>
              <a:cs typeface="Arial"/>
              <a:sym typeface="Arial"/>
            </a:endParaRPr>
          </a:p>
        </p:txBody>
      </p:sp>
      <p:sp>
        <p:nvSpPr>
          <p:cNvPr id="9430" name="Google Shape;9430;p109"/>
          <p:cNvSpPr/>
          <p:nvPr/>
        </p:nvSpPr>
        <p:spPr>
          <a:xfrm>
            <a:off x="4497585" y="4726058"/>
            <a:ext cx="400351" cy="453581"/>
          </a:xfrm>
          <a:custGeom>
            <a:avLst/>
            <a:gdLst/>
            <a:ahLst/>
            <a:cxnLst/>
            <a:rect l="l" t="t" r="r" b="b"/>
            <a:pathLst>
              <a:path w="17058" h="19326" extrusionOk="0">
                <a:moveTo>
                  <a:pt x="15013" y="2021"/>
                </a:moveTo>
                <a:lnTo>
                  <a:pt x="11577" y="5741"/>
                </a:lnTo>
                <a:cubicBezTo>
                  <a:pt x="11378" y="5958"/>
                  <a:pt x="11378" y="6290"/>
                  <a:pt x="11577" y="6507"/>
                </a:cubicBezTo>
                <a:lnTo>
                  <a:pt x="15013" y="10230"/>
                </a:lnTo>
                <a:lnTo>
                  <a:pt x="3195" y="10230"/>
                </a:lnTo>
                <a:lnTo>
                  <a:pt x="3195" y="2021"/>
                </a:lnTo>
                <a:close/>
                <a:moveTo>
                  <a:pt x="1716" y="1133"/>
                </a:moveTo>
                <a:cubicBezTo>
                  <a:pt x="1906" y="1136"/>
                  <a:pt x="2060" y="1290"/>
                  <a:pt x="2063" y="1480"/>
                </a:cubicBezTo>
                <a:lnTo>
                  <a:pt x="2063" y="17846"/>
                </a:lnTo>
                <a:cubicBezTo>
                  <a:pt x="2060" y="18036"/>
                  <a:pt x="1906" y="18190"/>
                  <a:pt x="1716" y="18193"/>
                </a:cubicBezTo>
                <a:lnTo>
                  <a:pt x="1483" y="18193"/>
                </a:lnTo>
                <a:cubicBezTo>
                  <a:pt x="1290" y="18190"/>
                  <a:pt x="1136" y="18036"/>
                  <a:pt x="1133" y="17846"/>
                </a:cubicBezTo>
                <a:lnTo>
                  <a:pt x="1133" y="1480"/>
                </a:lnTo>
                <a:cubicBezTo>
                  <a:pt x="1136" y="1290"/>
                  <a:pt x="1290" y="1136"/>
                  <a:pt x="1483" y="1133"/>
                </a:cubicBezTo>
                <a:close/>
                <a:moveTo>
                  <a:pt x="1483" y="1"/>
                </a:moveTo>
                <a:cubicBezTo>
                  <a:pt x="665" y="1"/>
                  <a:pt x="4" y="665"/>
                  <a:pt x="1" y="1480"/>
                </a:cubicBezTo>
                <a:lnTo>
                  <a:pt x="1" y="17846"/>
                </a:lnTo>
                <a:cubicBezTo>
                  <a:pt x="4" y="18661"/>
                  <a:pt x="665" y="19325"/>
                  <a:pt x="1483" y="19325"/>
                </a:cubicBezTo>
                <a:lnTo>
                  <a:pt x="1716" y="19325"/>
                </a:lnTo>
                <a:cubicBezTo>
                  <a:pt x="2531" y="19325"/>
                  <a:pt x="3195" y="18661"/>
                  <a:pt x="3195" y="17846"/>
                </a:cubicBezTo>
                <a:lnTo>
                  <a:pt x="3195" y="11363"/>
                </a:lnTo>
                <a:lnTo>
                  <a:pt x="16306" y="11363"/>
                </a:lnTo>
                <a:cubicBezTo>
                  <a:pt x="16801" y="11360"/>
                  <a:pt x="17058" y="10774"/>
                  <a:pt x="16722" y="10412"/>
                </a:cubicBezTo>
                <a:lnTo>
                  <a:pt x="12764" y="6124"/>
                </a:lnTo>
                <a:lnTo>
                  <a:pt x="16722" y="1836"/>
                </a:lnTo>
                <a:cubicBezTo>
                  <a:pt x="16873" y="1673"/>
                  <a:pt x="16916" y="1432"/>
                  <a:pt x="16825" y="1226"/>
                </a:cubicBezTo>
                <a:cubicBezTo>
                  <a:pt x="16734" y="1021"/>
                  <a:pt x="16532" y="885"/>
                  <a:pt x="16306" y="885"/>
                </a:cubicBezTo>
                <a:lnTo>
                  <a:pt x="3071" y="885"/>
                </a:lnTo>
                <a:cubicBezTo>
                  <a:pt x="2833" y="348"/>
                  <a:pt x="2302" y="1"/>
                  <a:pt x="1716"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435D74"/>
              </a:solidFill>
              <a:latin typeface="Arial"/>
              <a:cs typeface="Arial"/>
              <a:sym typeface="Arial"/>
            </a:endParaRPr>
          </a:p>
        </p:txBody>
      </p:sp>
      <p:grpSp>
        <p:nvGrpSpPr>
          <p:cNvPr id="9431" name="Google Shape;9431;p109"/>
          <p:cNvGrpSpPr/>
          <p:nvPr/>
        </p:nvGrpSpPr>
        <p:grpSpPr>
          <a:xfrm>
            <a:off x="5034916" y="4726404"/>
            <a:ext cx="454144" cy="453557"/>
            <a:chOff x="5053900" y="2021500"/>
            <a:chExt cx="483750" cy="483125"/>
          </a:xfrm>
        </p:grpSpPr>
        <p:sp>
          <p:nvSpPr>
            <p:cNvPr id="9432" name="Google Shape;9432;p109"/>
            <p:cNvSpPr/>
            <p:nvPr/>
          </p:nvSpPr>
          <p:spPr>
            <a:xfrm>
              <a:off x="5281350" y="2078100"/>
              <a:ext cx="127375" cy="127350"/>
            </a:xfrm>
            <a:custGeom>
              <a:avLst/>
              <a:gdLst/>
              <a:ahLst/>
              <a:cxnLst/>
              <a:rect l="l" t="t" r="r" b="b"/>
              <a:pathLst>
                <a:path w="5095" h="5094" extrusionOk="0">
                  <a:moveTo>
                    <a:pt x="565" y="0"/>
                  </a:moveTo>
                  <a:cubicBezTo>
                    <a:pt x="251" y="0"/>
                    <a:pt x="1" y="254"/>
                    <a:pt x="1" y="568"/>
                  </a:cubicBezTo>
                  <a:cubicBezTo>
                    <a:pt x="1" y="879"/>
                    <a:pt x="251" y="1132"/>
                    <a:pt x="565" y="1132"/>
                  </a:cubicBezTo>
                  <a:cubicBezTo>
                    <a:pt x="2440" y="1135"/>
                    <a:pt x="3959" y="2654"/>
                    <a:pt x="3962" y="4529"/>
                  </a:cubicBezTo>
                  <a:cubicBezTo>
                    <a:pt x="3962" y="4843"/>
                    <a:pt x="4216" y="5094"/>
                    <a:pt x="4530" y="5094"/>
                  </a:cubicBezTo>
                  <a:cubicBezTo>
                    <a:pt x="4841" y="5094"/>
                    <a:pt x="5094" y="4843"/>
                    <a:pt x="5094" y="4529"/>
                  </a:cubicBezTo>
                  <a:cubicBezTo>
                    <a:pt x="5091" y="2029"/>
                    <a:pt x="3065" y="3"/>
                    <a:pt x="565"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435D74"/>
                </a:solidFill>
                <a:latin typeface="Arial"/>
                <a:cs typeface="Arial"/>
                <a:sym typeface="Arial"/>
              </a:endParaRPr>
            </a:p>
          </p:txBody>
        </p:sp>
        <p:sp>
          <p:nvSpPr>
            <p:cNvPr id="9433" name="Google Shape;9433;p109"/>
            <p:cNvSpPr/>
            <p:nvPr/>
          </p:nvSpPr>
          <p:spPr>
            <a:xfrm>
              <a:off x="5118000" y="2021500"/>
              <a:ext cx="368700" cy="483125"/>
            </a:xfrm>
            <a:custGeom>
              <a:avLst/>
              <a:gdLst/>
              <a:ahLst/>
              <a:cxnLst/>
              <a:rect l="l" t="t" r="r" b="b"/>
              <a:pathLst>
                <a:path w="14748" h="19325" extrusionOk="0">
                  <a:moveTo>
                    <a:pt x="7088" y="1135"/>
                  </a:moveTo>
                  <a:cubicBezTo>
                    <a:pt x="8391" y="1135"/>
                    <a:pt x="9651" y="1571"/>
                    <a:pt x="10668" y="2397"/>
                  </a:cubicBezTo>
                  <a:cubicBezTo>
                    <a:pt x="13159" y="4417"/>
                    <a:pt x="13473" y="8104"/>
                    <a:pt x="11360" y="10516"/>
                  </a:cubicBezTo>
                  <a:cubicBezTo>
                    <a:pt x="10572" y="11419"/>
                    <a:pt x="10085" y="12503"/>
                    <a:pt x="9962" y="13626"/>
                  </a:cubicBezTo>
                  <a:lnTo>
                    <a:pt x="4237" y="13626"/>
                  </a:lnTo>
                  <a:cubicBezTo>
                    <a:pt x="4107" y="12482"/>
                    <a:pt x="3630" y="11407"/>
                    <a:pt x="2866" y="10550"/>
                  </a:cubicBezTo>
                  <a:cubicBezTo>
                    <a:pt x="1658" y="9191"/>
                    <a:pt x="1184" y="7367"/>
                    <a:pt x="1571" y="5549"/>
                  </a:cubicBezTo>
                  <a:cubicBezTo>
                    <a:pt x="2020" y="3427"/>
                    <a:pt x="3748" y="1706"/>
                    <a:pt x="5873" y="1262"/>
                  </a:cubicBezTo>
                  <a:cubicBezTo>
                    <a:pt x="6278" y="1177"/>
                    <a:pt x="6685" y="1135"/>
                    <a:pt x="7088" y="1135"/>
                  </a:cubicBezTo>
                  <a:close/>
                  <a:moveTo>
                    <a:pt x="9931" y="14759"/>
                  </a:moveTo>
                  <a:lnTo>
                    <a:pt x="9931" y="15323"/>
                  </a:lnTo>
                  <a:cubicBezTo>
                    <a:pt x="9931" y="15637"/>
                    <a:pt x="9678" y="15891"/>
                    <a:pt x="9364" y="15891"/>
                  </a:cubicBezTo>
                  <a:lnTo>
                    <a:pt x="4835" y="15891"/>
                  </a:lnTo>
                  <a:cubicBezTo>
                    <a:pt x="4521" y="15891"/>
                    <a:pt x="4270" y="15637"/>
                    <a:pt x="4270" y="15323"/>
                  </a:cubicBezTo>
                  <a:lnTo>
                    <a:pt x="4270" y="14759"/>
                  </a:lnTo>
                  <a:close/>
                  <a:moveTo>
                    <a:pt x="8699" y="17023"/>
                  </a:moveTo>
                  <a:cubicBezTo>
                    <a:pt x="8464" y="17694"/>
                    <a:pt x="7827" y="18192"/>
                    <a:pt x="7099" y="18192"/>
                  </a:cubicBezTo>
                  <a:cubicBezTo>
                    <a:pt x="6371" y="18192"/>
                    <a:pt x="5734" y="17694"/>
                    <a:pt x="5499" y="17023"/>
                  </a:cubicBezTo>
                  <a:close/>
                  <a:moveTo>
                    <a:pt x="7087" y="0"/>
                  </a:moveTo>
                  <a:cubicBezTo>
                    <a:pt x="6607" y="0"/>
                    <a:pt x="6123" y="50"/>
                    <a:pt x="5641" y="151"/>
                  </a:cubicBezTo>
                  <a:cubicBezTo>
                    <a:pt x="3053" y="712"/>
                    <a:pt x="1027" y="2729"/>
                    <a:pt x="462" y="5314"/>
                  </a:cubicBezTo>
                  <a:cubicBezTo>
                    <a:pt x="0" y="7488"/>
                    <a:pt x="568" y="9671"/>
                    <a:pt x="2020" y="11301"/>
                  </a:cubicBezTo>
                  <a:cubicBezTo>
                    <a:pt x="2730" y="12099"/>
                    <a:pt x="3135" y="13149"/>
                    <a:pt x="3135" y="14191"/>
                  </a:cubicBezTo>
                  <a:lnTo>
                    <a:pt x="3135" y="15323"/>
                  </a:lnTo>
                  <a:cubicBezTo>
                    <a:pt x="3138" y="16060"/>
                    <a:pt x="3612" y="16709"/>
                    <a:pt x="4309" y="16939"/>
                  </a:cubicBezTo>
                  <a:cubicBezTo>
                    <a:pt x="4409" y="17518"/>
                    <a:pt x="4681" y="18053"/>
                    <a:pt x="5094" y="18473"/>
                  </a:cubicBezTo>
                  <a:cubicBezTo>
                    <a:pt x="5642" y="19040"/>
                    <a:pt x="6371" y="19324"/>
                    <a:pt x="7099" y="19324"/>
                  </a:cubicBezTo>
                  <a:cubicBezTo>
                    <a:pt x="7828" y="19324"/>
                    <a:pt x="8556" y="19040"/>
                    <a:pt x="9104" y="18473"/>
                  </a:cubicBezTo>
                  <a:cubicBezTo>
                    <a:pt x="9518" y="18053"/>
                    <a:pt x="9790" y="17518"/>
                    <a:pt x="9889" y="16939"/>
                  </a:cubicBezTo>
                  <a:cubicBezTo>
                    <a:pt x="10587" y="16709"/>
                    <a:pt x="11061" y="16060"/>
                    <a:pt x="11064" y="15323"/>
                  </a:cubicBezTo>
                  <a:lnTo>
                    <a:pt x="11064" y="14191"/>
                  </a:lnTo>
                  <a:cubicBezTo>
                    <a:pt x="11064" y="13149"/>
                    <a:pt x="11471" y="12108"/>
                    <a:pt x="12211" y="11262"/>
                  </a:cubicBezTo>
                  <a:cubicBezTo>
                    <a:pt x="14747" y="8366"/>
                    <a:pt x="14370" y="3943"/>
                    <a:pt x="11381" y="1518"/>
                  </a:cubicBezTo>
                  <a:cubicBezTo>
                    <a:pt x="10159" y="525"/>
                    <a:pt x="8647" y="0"/>
                    <a:pt x="7087"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435D74"/>
                </a:solidFill>
                <a:latin typeface="Arial"/>
                <a:cs typeface="Arial"/>
                <a:sym typeface="Arial"/>
              </a:endParaRPr>
            </a:p>
          </p:txBody>
        </p:sp>
        <p:sp>
          <p:nvSpPr>
            <p:cNvPr id="9434" name="Google Shape;9434;p109"/>
            <p:cNvSpPr/>
            <p:nvPr/>
          </p:nvSpPr>
          <p:spPr>
            <a:xfrm>
              <a:off x="5053900" y="2191325"/>
              <a:ext cx="56650" cy="28325"/>
            </a:xfrm>
            <a:custGeom>
              <a:avLst/>
              <a:gdLst/>
              <a:ahLst/>
              <a:cxnLst/>
              <a:rect l="l" t="t" r="r" b="b"/>
              <a:pathLst>
                <a:path w="2266" h="1133" extrusionOk="0">
                  <a:moveTo>
                    <a:pt x="569" y="0"/>
                  </a:moveTo>
                  <a:cubicBezTo>
                    <a:pt x="255" y="0"/>
                    <a:pt x="1" y="254"/>
                    <a:pt x="1" y="568"/>
                  </a:cubicBezTo>
                  <a:cubicBezTo>
                    <a:pt x="1" y="879"/>
                    <a:pt x="255" y="1133"/>
                    <a:pt x="569" y="1133"/>
                  </a:cubicBezTo>
                  <a:lnTo>
                    <a:pt x="1701" y="1133"/>
                  </a:lnTo>
                  <a:cubicBezTo>
                    <a:pt x="2012" y="1133"/>
                    <a:pt x="2266" y="879"/>
                    <a:pt x="2266" y="568"/>
                  </a:cubicBezTo>
                  <a:cubicBezTo>
                    <a:pt x="2266" y="254"/>
                    <a:pt x="2012" y="0"/>
                    <a:pt x="1701"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435D74"/>
                </a:solidFill>
                <a:latin typeface="Arial"/>
                <a:cs typeface="Arial"/>
                <a:sym typeface="Arial"/>
              </a:endParaRPr>
            </a:p>
          </p:txBody>
        </p:sp>
        <p:sp>
          <p:nvSpPr>
            <p:cNvPr id="9435" name="Google Shape;9435;p109"/>
            <p:cNvSpPr/>
            <p:nvPr/>
          </p:nvSpPr>
          <p:spPr>
            <a:xfrm>
              <a:off x="5056850" y="2096550"/>
              <a:ext cx="50750" cy="48025"/>
            </a:xfrm>
            <a:custGeom>
              <a:avLst/>
              <a:gdLst/>
              <a:ahLst/>
              <a:cxnLst/>
              <a:rect l="l" t="t" r="r" b="b"/>
              <a:pathLst>
                <a:path w="2030" h="1921" extrusionOk="0">
                  <a:moveTo>
                    <a:pt x="622" y="0"/>
                  </a:moveTo>
                  <a:cubicBezTo>
                    <a:pt x="476" y="0"/>
                    <a:pt x="331" y="56"/>
                    <a:pt x="221" y="168"/>
                  </a:cubicBezTo>
                  <a:cubicBezTo>
                    <a:pt x="4" y="385"/>
                    <a:pt x="1" y="739"/>
                    <a:pt x="215" y="962"/>
                  </a:cubicBezTo>
                  <a:lnTo>
                    <a:pt x="1015" y="1762"/>
                  </a:lnTo>
                  <a:cubicBezTo>
                    <a:pt x="1125" y="1868"/>
                    <a:pt x="1267" y="1921"/>
                    <a:pt x="1409" y="1921"/>
                  </a:cubicBezTo>
                  <a:cubicBezTo>
                    <a:pt x="1554" y="1921"/>
                    <a:pt x="1699" y="1865"/>
                    <a:pt x="1809" y="1753"/>
                  </a:cubicBezTo>
                  <a:cubicBezTo>
                    <a:pt x="2027" y="1536"/>
                    <a:pt x="2030" y="1183"/>
                    <a:pt x="1815" y="962"/>
                  </a:cubicBezTo>
                  <a:lnTo>
                    <a:pt x="1015" y="159"/>
                  </a:lnTo>
                  <a:cubicBezTo>
                    <a:pt x="905" y="53"/>
                    <a:pt x="763" y="0"/>
                    <a:pt x="622"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435D74"/>
                </a:solidFill>
                <a:latin typeface="Arial"/>
                <a:cs typeface="Arial"/>
                <a:sym typeface="Arial"/>
              </a:endParaRPr>
            </a:p>
          </p:txBody>
        </p:sp>
        <p:sp>
          <p:nvSpPr>
            <p:cNvPr id="9436" name="Google Shape;9436;p109"/>
            <p:cNvSpPr/>
            <p:nvPr/>
          </p:nvSpPr>
          <p:spPr>
            <a:xfrm>
              <a:off x="5056400" y="2266400"/>
              <a:ext cx="51200" cy="48350"/>
            </a:xfrm>
            <a:custGeom>
              <a:avLst/>
              <a:gdLst/>
              <a:ahLst/>
              <a:cxnLst/>
              <a:rect l="l" t="t" r="r" b="b"/>
              <a:pathLst>
                <a:path w="2048" h="1934" extrusionOk="0">
                  <a:moveTo>
                    <a:pt x="1427" y="0"/>
                  </a:moveTo>
                  <a:cubicBezTo>
                    <a:pt x="1285" y="0"/>
                    <a:pt x="1143" y="53"/>
                    <a:pt x="1033" y="159"/>
                  </a:cubicBezTo>
                  <a:lnTo>
                    <a:pt x="233" y="962"/>
                  </a:lnTo>
                  <a:cubicBezTo>
                    <a:pt x="4" y="1179"/>
                    <a:pt x="1" y="1545"/>
                    <a:pt x="227" y="1768"/>
                  </a:cubicBezTo>
                  <a:cubicBezTo>
                    <a:pt x="338" y="1879"/>
                    <a:pt x="482" y="1934"/>
                    <a:pt x="627" y="1934"/>
                  </a:cubicBezTo>
                  <a:cubicBezTo>
                    <a:pt x="774" y="1934"/>
                    <a:pt x="922" y="1876"/>
                    <a:pt x="1033" y="1762"/>
                  </a:cubicBezTo>
                  <a:lnTo>
                    <a:pt x="1833" y="962"/>
                  </a:lnTo>
                  <a:cubicBezTo>
                    <a:pt x="2048" y="738"/>
                    <a:pt x="2045" y="385"/>
                    <a:pt x="1827" y="168"/>
                  </a:cubicBezTo>
                  <a:cubicBezTo>
                    <a:pt x="1717" y="56"/>
                    <a:pt x="1572" y="0"/>
                    <a:pt x="1427"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435D74"/>
                </a:solidFill>
                <a:latin typeface="Arial"/>
                <a:cs typeface="Arial"/>
                <a:sym typeface="Arial"/>
              </a:endParaRPr>
            </a:p>
          </p:txBody>
        </p:sp>
        <p:sp>
          <p:nvSpPr>
            <p:cNvPr id="9437" name="Google Shape;9437;p109"/>
            <p:cNvSpPr/>
            <p:nvPr/>
          </p:nvSpPr>
          <p:spPr>
            <a:xfrm>
              <a:off x="5480400" y="2191325"/>
              <a:ext cx="56650" cy="28325"/>
            </a:xfrm>
            <a:custGeom>
              <a:avLst/>
              <a:gdLst/>
              <a:ahLst/>
              <a:cxnLst/>
              <a:rect l="l" t="t" r="r" b="b"/>
              <a:pathLst>
                <a:path w="2266" h="1133" extrusionOk="0">
                  <a:moveTo>
                    <a:pt x="568" y="0"/>
                  </a:moveTo>
                  <a:cubicBezTo>
                    <a:pt x="254" y="0"/>
                    <a:pt x="1" y="254"/>
                    <a:pt x="1" y="568"/>
                  </a:cubicBezTo>
                  <a:cubicBezTo>
                    <a:pt x="1" y="879"/>
                    <a:pt x="254" y="1133"/>
                    <a:pt x="568" y="1133"/>
                  </a:cubicBezTo>
                  <a:lnTo>
                    <a:pt x="1701" y="1133"/>
                  </a:lnTo>
                  <a:cubicBezTo>
                    <a:pt x="2012" y="1133"/>
                    <a:pt x="2265" y="879"/>
                    <a:pt x="2265" y="568"/>
                  </a:cubicBezTo>
                  <a:cubicBezTo>
                    <a:pt x="2265" y="254"/>
                    <a:pt x="2012" y="0"/>
                    <a:pt x="1701"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435D74"/>
                </a:solidFill>
                <a:latin typeface="Arial"/>
                <a:cs typeface="Arial"/>
                <a:sym typeface="Arial"/>
              </a:endParaRPr>
            </a:p>
          </p:txBody>
        </p:sp>
        <p:sp>
          <p:nvSpPr>
            <p:cNvPr id="9438" name="Google Shape;9438;p109"/>
            <p:cNvSpPr/>
            <p:nvPr/>
          </p:nvSpPr>
          <p:spPr>
            <a:xfrm>
              <a:off x="5479800" y="2096550"/>
              <a:ext cx="54300" cy="48225"/>
            </a:xfrm>
            <a:custGeom>
              <a:avLst/>
              <a:gdLst/>
              <a:ahLst/>
              <a:cxnLst/>
              <a:rect l="l" t="t" r="r" b="b"/>
              <a:pathLst>
                <a:path w="2172" h="1929" extrusionOk="0">
                  <a:moveTo>
                    <a:pt x="1550" y="0"/>
                  </a:moveTo>
                  <a:cubicBezTo>
                    <a:pt x="1409" y="0"/>
                    <a:pt x="1267" y="53"/>
                    <a:pt x="1157" y="159"/>
                  </a:cubicBezTo>
                  <a:lnTo>
                    <a:pt x="357" y="962"/>
                  </a:lnTo>
                  <a:cubicBezTo>
                    <a:pt x="1" y="1318"/>
                    <a:pt x="251" y="1928"/>
                    <a:pt x="756" y="1928"/>
                  </a:cubicBezTo>
                  <a:cubicBezTo>
                    <a:pt x="907" y="1928"/>
                    <a:pt x="1051" y="1868"/>
                    <a:pt x="1157" y="1762"/>
                  </a:cubicBezTo>
                  <a:lnTo>
                    <a:pt x="1957" y="959"/>
                  </a:lnTo>
                  <a:cubicBezTo>
                    <a:pt x="2172" y="739"/>
                    <a:pt x="2169" y="385"/>
                    <a:pt x="1951" y="168"/>
                  </a:cubicBezTo>
                  <a:cubicBezTo>
                    <a:pt x="1841" y="56"/>
                    <a:pt x="1696" y="0"/>
                    <a:pt x="1550"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435D74"/>
                </a:solidFill>
                <a:latin typeface="Arial"/>
                <a:cs typeface="Arial"/>
                <a:sym typeface="Arial"/>
              </a:endParaRPr>
            </a:p>
          </p:txBody>
        </p:sp>
        <p:sp>
          <p:nvSpPr>
            <p:cNvPr id="9439" name="Google Shape;9439;p109"/>
            <p:cNvSpPr/>
            <p:nvPr/>
          </p:nvSpPr>
          <p:spPr>
            <a:xfrm>
              <a:off x="5483350" y="2266400"/>
              <a:ext cx="54300" cy="48225"/>
            </a:xfrm>
            <a:custGeom>
              <a:avLst/>
              <a:gdLst/>
              <a:ahLst/>
              <a:cxnLst/>
              <a:rect l="l" t="t" r="r" b="b"/>
              <a:pathLst>
                <a:path w="2172" h="1929" extrusionOk="0">
                  <a:moveTo>
                    <a:pt x="622" y="0"/>
                  </a:moveTo>
                  <a:cubicBezTo>
                    <a:pt x="476" y="0"/>
                    <a:pt x="331" y="56"/>
                    <a:pt x="221" y="168"/>
                  </a:cubicBezTo>
                  <a:cubicBezTo>
                    <a:pt x="4" y="385"/>
                    <a:pt x="1" y="738"/>
                    <a:pt x="215" y="962"/>
                  </a:cubicBezTo>
                  <a:lnTo>
                    <a:pt x="1015" y="1762"/>
                  </a:lnTo>
                  <a:cubicBezTo>
                    <a:pt x="1121" y="1868"/>
                    <a:pt x="1266" y="1928"/>
                    <a:pt x="1417" y="1928"/>
                  </a:cubicBezTo>
                  <a:cubicBezTo>
                    <a:pt x="1921" y="1928"/>
                    <a:pt x="2172" y="1318"/>
                    <a:pt x="1815" y="962"/>
                  </a:cubicBezTo>
                  <a:lnTo>
                    <a:pt x="1015" y="159"/>
                  </a:lnTo>
                  <a:cubicBezTo>
                    <a:pt x="905" y="53"/>
                    <a:pt x="763" y="0"/>
                    <a:pt x="622"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435D74"/>
                </a:solidFill>
                <a:latin typeface="Arial"/>
                <a:cs typeface="Arial"/>
                <a:sym typeface="Arial"/>
              </a:endParaRPr>
            </a:p>
          </p:txBody>
        </p:sp>
      </p:grpSp>
      <p:sp>
        <p:nvSpPr>
          <p:cNvPr id="9440" name="Google Shape;9440;p109"/>
          <p:cNvSpPr/>
          <p:nvPr/>
        </p:nvSpPr>
        <p:spPr>
          <a:xfrm>
            <a:off x="5666034" y="4726187"/>
            <a:ext cx="293985" cy="453323"/>
          </a:xfrm>
          <a:custGeom>
            <a:avLst/>
            <a:gdLst/>
            <a:ahLst/>
            <a:cxnLst/>
            <a:rect l="l" t="t" r="r" b="b"/>
            <a:pathLst>
              <a:path w="12526" h="19315" extrusionOk="0">
                <a:moveTo>
                  <a:pt x="9690" y="1133"/>
                </a:moveTo>
                <a:cubicBezTo>
                  <a:pt x="9980" y="1139"/>
                  <a:pt x="10213" y="1377"/>
                  <a:pt x="10213" y="1670"/>
                </a:cubicBezTo>
                <a:cubicBezTo>
                  <a:pt x="10213" y="1960"/>
                  <a:pt x="9980" y="2199"/>
                  <a:pt x="9690" y="2208"/>
                </a:cubicBezTo>
                <a:lnTo>
                  <a:pt x="2836" y="2208"/>
                </a:lnTo>
                <a:cubicBezTo>
                  <a:pt x="2540" y="2208"/>
                  <a:pt x="2302" y="1966"/>
                  <a:pt x="2302" y="1670"/>
                </a:cubicBezTo>
                <a:cubicBezTo>
                  <a:pt x="2302" y="1371"/>
                  <a:pt x="2540" y="1133"/>
                  <a:pt x="2839" y="1133"/>
                </a:cubicBezTo>
                <a:close/>
                <a:moveTo>
                  <a:pt x="8564" y="3340"/>
                </a:moveTo>
                <a:lnTo>
                  <a:pt x="8564" y="9554"/>
                </a:lnTo>
                <a:cubicBezTo>
                  <a:pt x="8543" y="9781"/>
                  <a:pt x="8658" y="10001"/>
                  <a:pt x="8860" y="10110"/>
                </a:cubicBezTo>
                <a:cubicBezTo>
                  <a:pt x="9805" y="10620"/>
                  <a:pt x="10581" y="11396"/>
                  <a:pt x="11088" y="12341"/>
                </a:cubicBezTo>
                <a:lnTo>
                  <a:pt x="1435" y="12341"/>
                </a:lnTo>
                <a:cubicBezTo>
                  <a:pt x="1946" y="11396"/>
                  <a:pt x="2718" y="10620"/>
                  <a:pt x="3667" y="10110"/>
                </a:cubicBezTo>
                <a:cubicBezTo>
                  <a:pt x="3869" y="10001"/>
                  <a:pt x="3984" y="9784"/>
                  <a:pt x="3959" y="9554"/>
                </a:cubicBezTo>
                <a:lnTo>
                  <a:pt x="3959" y="3340"/>
                </a:lnTo>
                <a:close/>
                <a:moveTo>
                  <a:pt x="6731" y="13476"/>
                </a:moveTo>
                <a:lnTo>
                  <a:pt x="6731" y="16263"/>
                </a:lnTo>
                <a:cubicBezTo>
                  <a:pt x="6734" y="16879"/>
                  <a:pt x="6571" y="17486"/>
                  <a:pt x="6263" y="18024"/>
                </a:cubicBezTo>
                <a:cubicBezTo>
                  <a:pt x="5955" y="17486"/>
                  <a:pt x="5792" y="16879"/>
                  <a:pt x="5795" y="16263"/>
                </a:cubicBezTo>
                <a:lnTo>
                  <a:pt x="5795" y="13476"/>
                </a:lnTo>
                <a:close/>
                <a:moveTo>
                  <a:pt x="2831" y="1"/>
                </a:moveTo>
                <a:cubicBezTo>
                  <a:pt x="1912" y="1"/>
                  <a:pt x="1166" y="745"/>
                  <a:pt x="1163" y="1664"/>
                </a:cubicBezTo>
                <a:cubicBezTo>
                  <a:pt x="1160" y="2585"/>
                  <a:pt x="1906" y="3337"/>
                  <a:pt x="2827" y="3340"/>
                </a:cubicBezTo>
                <a:lnTo>
                  <a:pt x="2827" y="9285"/>
                </a:lnTo>
                <a:cubicBezTo>
                  <a:pt x="1529" y="10077"/>
                  <a:pt x="544" y="11287"/>
                  <a:pt x="34" y="12719"/>
                </a:cubicBezTo>
                <a:lnTo>
                  <a:pt x="31" y="12728"/>
                </a:lnTo>
                <a:cubicBezTo>
                  <a:pt x="28" y="12740"/>
                  <a:pt x="25" y="12749"/>
                  <a:pt x="22" y="12761"/>
                </a:cubicBezTo>
                <a:cubicBezTo>
                  <a:pt x="19" y="12773"/>
                  <a:pt x="19" y="12776"/>
                  <a:pt x="16" y="12785"/>
                </a:cubicBezTo>
                <a:cubicBezTo>
                  <a:pt x="13" y="12791"/>
                  <a:pt x="13" y="12803"/>
                  <a:pt x="10" y="12812"/>
                </a:cubicBezTo>
                <a:cubicBezTo>
                  <a:pt x="10" y="12821"/>
                  <a:pt x="7" y="12833"/>
                  <a:pt x="7" y="12842"/>
                </a:cubicBezTo>
                <a:lnTo>
                  <a:pt x="4" y="12866"/>
                </a:lnTo>
                <a:lnTo>
                  <a:pt x="4" y="12900"/>
                </a:lnTo>
                <a:cubicBezTo>
                  <a:pt x="4" y="12903"/>
                  <a:pt x="4" y="12906"/>
                  <a:pt x="4" y="12909"/>
                </a:cubicBezTo>
                <a:cubicBezTo>
                  <a:pt x="1" y="12912"/>
                  <a:pt x="1" y="12918"/>
                  <a:pt x="1" y="12921"/>
                </a:cubicBezTo>
                <a:cubicBezTo>
                  <a:pt x="1" y="12933"/>
                  <a:pt x="1" y="12945"/>
                  <a:pt x="4" y="12957"/>
                </a:cubicBezTo>
                <a:lnTo>
                  <a:pt x="7" y="12978"/>
                </a:lnTo>
                <a:cubicBezTo>
                  <a:pt x="7" y="12990"/>
                  <a:pt x="10" y="12999"/>
                  <a:pt x="10" y="13008"/>
                </a:cubicBezTo>
                <a:cubicBezTo>
                  <a:pt x="13" y="13020"/>
                  <a:pt x="13" y="13030"/>
                  <a:pt x="16" y="13039"/>
                </a:cubicBezTo>
                <a:cubicBezTo>
                  <a:pt x="19" y="13048"/>
                  <a:pt x="19" y="13054"/>
                  <a:pt x="22" y="13063"/>
                </a:cubicBezTo>
                <a:cubicBezTo>
                  <a:pt x="25" y="13069"/>
                  <a:pt x="28" y="13081"/>
                  <a:pt x="31" y="13093"/>
                </a:cubicBezTo>
                <a:cubicBezTo>
                  <a:pt x="34" y="13102"/>
                  <a:pt x="37" y="13105"/>
                  <a:pt x="40" y="13111"/>
                </a:cubicBezTo>
                <a:cubicBezTo>
                  <a:pt x="43" y="13120"/>
                  <a:pt x="46" y="13132"/>
                  <a:pt x="52" y="13144"/>
                </a:cubicBezTo>
                <a:lnTo>
                  <a:pt x="61" y="13162"/>
                </a:lnTo>
                <a:cubicBezTo>
                  <a:pt x="67" y="13171"/>
                  <a:pt x="70" y="13181"/>
                  <a:pt x="76" y="13190"/>
                </a:cubicBezTo>
                <a:cubicBezTo>
                  <a:pt x="83" y="13199"/>
                  <a:pt x="86" y="13205"/>
                  <a:pt x="89" y="13211"/>
                </a:cubicBezTo>
                <a:cubicBezTo>
                  <a:pt x="92" y="13217"/>
                  <a:pt x="98" y="13229"/>
                  <a:pt x="104" y="13235"/>
                </a:cubicBezTo>
                <a:lnTo>
                  <a:pt x="122" y="13256"/>
                </a:lnTo>
                <a:lnTo>
                  <a:pt x="137" y="13277"/>
                </a:lnTo>
                <a:cubicBezTo>
                  <a:pt x="143" y="13286"/>
                  <a:pt x="152" y="13292"/>
                  <a:pt x="158" y="13298"/>
                </a:cubicBezTo>
                <a:cubicBezTo>
                  <a:pt x="164" y="13307"/>
                  <a:pt x="167" y="13310"/>
                  <a:pt x="173" y="13316"/>
                </a:cubicBezTo>
                <a:cubicBezTo>
                  <a:pt x="179" y="13322"/>
                  <a:pt x="188" y="13331"/>
                  <a:pt x="197" y="13338"/>
                </a:cubicBezTo>
                <a:lnTo>
                  <a:pt x="215" y="13353"/>
                </a:lnTo>
                <a:lnTo>
                  <a:pt x="240" y="13371"/>
                </a:lnTo>
                <a:lnTo>
                  <a:pt x="264" y="13386"/>
                </a:lnTo>
                <a:lnTo>
                  <a:pt x="285" y="13398"/>
                </a:lnTo>
                <a:cubicBezTo>
                  <a:pt x="294" y="13404"/>
                  <a:pt x="303" y="13410"/>
                  <a:pt x="312" y="13413"/>
                </a:cubicBezTo>
                <a:lnTo>
                  <a:pt x="333" y="13422"/>
                </a:lnTo>
                <a:lnTo>
                  <a:pt x="366" y="13437"/>
                </a:lnTo>
                <a:lnTo>
                  <a:pt x="378" y="13443"/>
                </a:lnTo>
                <a:lnTo>
                  <a:pt x="384" y="13446"/>
                </a:lnTo>
                <a:lnTo>
                  <a:pt x="415" y="13452"/>
                </a:lnTo>
                <a:cubicBezTo>
                  <a:pt x="421" y="13455"/>
                  <a:pt x="430" y="13458"/>
                  <a:pt x="439" y="13458"/>
                </a:cubicBezTo>
                <a:lnTo>
                  <a:pt x="463" y="13464"/>
                </a:lnTo>
                <a:cubicBezTo>
                  <a:pt x="475" y="13467"/>
                  <a:pt x="484" y="13467"/>
                  <a:pt x="496" y="13470"/>
                </a:cubicBezTo>
                <a:lnTo>
                  <a:pt x="514" y="13470"/>
                </a:lnTo>
                <a:cubicBezTo>
                  <a:pt x="532" y="13473"/>
                  <a:pt x="548" y="13473"/>
                  <a:pt x="566" y="13473"/>
                </a:cubicBezTo>
                <a:lnTo>
                  <a:pt x="4663" y="13473"/>
                </a:lnTo>
                <a:lnTo>
                  <a:pt x="4663" y="16263"/>
                </a:lnTo>
                <a:cubicBezTo>
                  <a:pt x="4660" y="17205"/>
                  <a:pt x="4947" y="18126"/>
                  <a:pt x="5481" y="18902"/>
                </a:cubicBezTo>
                <a:cubicBezTo>
                  <a:pt x="5670" y="19177"/>
                  <a:pt x="5967" y="19315"/>
                  <a:pt x="6263" y="19315"/>
                </a:cubicBezTo>
                <a:cubicBezTo>
                  <a:pt x="6560" y="19315"/>
                  <a:pt x="6857" y="19177"/>
                  <a:pt x="7045" y="18902"/>
                </a:cubicBezTo>
                <a:cubicBezTo>
                  <a:pt x="7580" y="18126"/>
                  <a:pt x="7867" y="17205"/>
                  <a:pt x="7864" y="16263"/>
                </a:cubicBezTo>
                <a:lnTo>
                  <a:pt x="7864" y="13476"/>
                </a:lnTo>
                <a:lnTo>
                  <a:pt x="11961" y="13476"/>
                </a:lnTo>
                <a:cubicBezTo>
                  <a:pt x="11979" y="13473"/>
                  <a:pt x="11997" y="13473"/>
                  <a:pt x="12015" y="13473"/>
                </a:cubicBezTo>
                <a:lnTo>
                  <a:pt x="12024" y="13473"/>
                </a:lnTo>
                <a:cubicBezTo>
                  <a:pt x="12040" y="13473"/>
                  <a:pt x="12052" y="13467"/>
                  <a:pt x="12067" y="13464"/>
                </a:cubicBezTo>
                <a:lnTo>
                  <a:pt x="12085" y="13461"/>
                </a:lnTo>
                <a:lnTo>
                  <a:pt x="12115" y="13455"/>
                </a:lnTo>
                <a:lnTo>
                  <a:pt x="12139" y="13446"/>
                </a:lnTo>
                <a:cubicBezTo>
                  <a:pt x="12142" y="13446"/>
                  <a:pt x="12145" y="13443"/>
                  <a:pt x="12148" y="13443"/>
                </a:cubicBezTo>
                <a:lnTo>
                  <a:pt x="12163" y="13437"/>
                </a:lnTo>
                <a:cubicBezTo>
                  <a:pt x="12172" y="13434"/>
                  <a:pt x="12181" y="13431"/>
                  <a:pt x="12194" y="13425"/>
                </a:cubicBezTo>
                <a:lnTo>
                  <a:pt x="12218" y="13413"/>
                </a:lnTo>
                <a:cubicBezTo>
                  <a:pt x="12224" y="13410"/>
                  <a:pt x="12233" y="13404"/>
                  <a:pt x="12242" y="13401"/>
                </a:cubicBezTo>
                <a:cubicBezTo>
                  <a:pt x="12248" y="13395"/>
                  <a:pt x="12257" y="13392"/>
                  <a:pt x="12266" y="13386"/>
                </a:cubicBezTo>
                <a:lnTo>
                  <a:pt x="12284" y="13374"/>
                </a:lnTo>
                <a:cubicBezTo>
                  <a:pt x="12296" y="13365"/>
                  <a:pt x="12305" y="13359"/>
                  <a:pt x="12311" y="13353"/>
                </a:cubicBezTo>
                <a:lnTo>
                  <a:pt x="12329" y="13341"/>
                </a:lnTo>
                <a:cubicBezTo>
                  <a:pt x="12335" y="13331"/>
                  <a:pt x="12344" y="13325"/>
                  <a:pt x="12354" y="13316"/>
                </a:cubicBezTo>
                <a:cubicBezTo>
                  <a:pt x="12363" y="13307"/>
                  <a:pt x="12363" y="13307"/>
                  <a:pt x="12369" y="13301"/>
                </a:cubicBezTo>
                <a:cubicBezTo>
                  <a:pt x="12372" y="13295"/>
                  <a:pt x="12384" y="13286"/>
                  <a:pt x="12390" y="13277"/>
                </a:cubicBezTo>
                <a:cubicBezTo>
                  <a:pt x="12399" y="13268"/>
                  <a:pt x="12399" y="13265"/>
                  <a:pt x="12405" y="13259"/>
                </a:cubicBezTo>
                <a:lnTo>
                  <a:pt x="12423" y="13235"/>
                </a:lnTo>
                <a:cubicBezTo>
                  <a:pt x="12429" y="13229"/>
                  <a:pt x="12432" y="13220"/>
                  <a:pt x="12438" y="13214"/>
                </a:cubicBezTo>
                <a:cubicBezTo>
                  <a:pt x="12441" y="13205"/>
                  <a:pt x="12447" y="13199"/>
                  <a:pt x="12450" y="13190"/>
                </a:cubicBezTo>
                <a:cubicBezTo>
                  <a:pt x="12456" y="13184"/>
                  <a:pt x="12459" y="13174"/>
                  <a:pt x="12465" y="13165"/>
                </a:cubicBezTo>
                <a:cubicBezTo>
                  <a:pt x="12468" y="13156"/>
                  <a:pt x="12471" y="13150"/>
                  <a:pt x="12474" y="13144"/>
                </a:cubicBezTo>
                <a:cubicBezTo>
                  <a:pt x="12477" y="13135"/>
                  <a:pt x="12483" y="13123"/>
                  <a:pt x="12486" y="13114"/>
                </a:cubicBezTo>
                <a:cubicBezTo>
                  <a:pt x="12492" y="13105"/>
                  <a:pt x="12492" y="13099"/>
                  <a:pt x="12495" y="13093"/>
                </a:cubicBezTo>
                <a:cubicBezTo>
                  <a:pt x="12498" y="13084"/>
                  <a:pt x="12501" y="13072"/>
                  <a:pt x="12505" y="13063"/>
                </a:cubicBezTo>
                <a:cubicBezTo>
                  <a:pt x="12508" y="13054"/>
                  <a:pt x="12511" y="13045"/>
                  <a:pt x="12511" y="13039"/>
                </a:cubicBezTo>
                <a:cubicBezTo>
                  <a:pt x="12514" y="13030"/>
                  <a:pt x="12514" y="13020"/>
                  <a:pt x="12517" y="13011"/>
                </a:cubicBezTo>
                <a:cubicBezTo>
                  <a:pt x="12517" y="13002"/>
                  <a:pt x="12520" y="12990"/>
                  <a:pt x="12523" y="12981"/>
                </a:cubicBezTo>
                <a:cubicBezTo>
                  <a:pt x="12523" y="12969"/>
                  <a:pt x="12523" y="12966"/>
                  <a:pt x="12523" y="12957"/>
                </a:cubicBezTo>
                <a:cubicBezTo>
                  <a:pt x="12523" y="12948"/>
                  <a:pt x="12523" y="12933"/>
                  <a:pt x="12526" y="12921"/>
                </a:cubicBezTo>
                <a:lnTo>
                  <a:pt x="12526" y="12909"/>
                </a:lnTo>
                <a:cubicBezTo>
                  <a:pt x="12526" y="12906"/>
                  <a:pt x="12526" y="12903"/>
                  <a:pt x="12526" y="12900"/>
                </a:cubicBezTo>
                <a:lnTo>
                  <a:pt x="12526" y="12866"/>
                </a:lnTo>
                <a:cubicBezTo>
                  <a:pt x="12526" y="12854"/>
                  <a:pt x="12526" y="12851"/>
                  <a:pt x="12523" y="12842"/>
                </a:cubicBezTo>
                <a:cubicBezTo>
                  <a:pt x="12520" y="12833"/>
                  <a:pt x="12520" y="12824"/>
                  <a:pt x="12520" y="12815"/>
                </a:cubicBezTo>
                <a:cubicBezTo>
                  <a:pt x="12517" y="12803"/>
                  <a:pt x="12517" y="12794"/>
                  <a:pt x="12514" y="12785"/>
                </a:cubicBezTo>
                <a:cubicBezTo>
                  <a:pt x="12511" y="12773"/>
                  <a:pt x="12511" y="12770"/>
                  <a:pt x="12508" y="12764"/>
                </a:cubicBezTo>
                <a:cubicBezTo>
                  <a:pt x="12505" y="12755"/>
                  <a:pt x="12501" y="12740"/>
                  <a:pt x="12498" y="12728"/>
                </a:cubicBezTo>
                <a:lnTo>
                  <a:pt x="12495" y="12719"/>
                </a:lnTo>
                <a:cubicBezTo>
                  <a:pt x="11985" y="11290"/>
                  <a:pt x="11001" y="10077"/>
                  <a:pt x="9702" y="9288"/>
                </a:cubicBezTo>
                <a:lnTo>
                  <a:pt x="9702" y="3340"/>
                </a:lnTo>
                <a:cubicBezTo>
                  <a:pt x="10623" y="3337"/>
                  <a:pt x="11369" y="2585"/>
                  <a:pt x="11366" y="1664"/>
                </a:cubicBezTo>
                <a:cubicBezTo>
                  <a:pt x="11363" y="745"/>
                  <a:pt x="10617" y="1"/>
                  <a:pt x="9699" y="1"/>
                </a:cubicBezTo>
                <a:cubicBezTo>
                  <a:pt x="9697" y="1"/>
                  <a:pt x="9695" y="1"/>
                  <a:pt x="9693" y="1"/>
                </a:cubicBezTo>
                <a:lnTo>
                  <a:pt x="2836" y="1"/>
                </a:lnTo>
                <a:cubicBezTo>
                  <a:pt x="2834" y="1"/>
                  <a:pt x="2833" y="1"/>
                  <a:pt x="2831"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435D74"/>
              </a:solidFill>
              <a:latin typeface="Arial"/>
              <a:cs typeface="Arial"/>
              <a:sym typeface="Arial"/>
            </a:endParaRPr>
          </a:p>
        </p:txBody>
      </p:sp>
      <p:grpSp>
        <p:nvGrpSpPr>
          <p:cNvPr id="9441" name="Google Shape;9441;p109"/>
          <p:cNvGrpSpPr/>
          <p:nvPr/>
        </p:nvGrpSpPr>
        <p:grpSpPr>
          <a:xfrm>
            <a:off x="6135049" y="4730629"/>
            <a:ext cx="468884" cy="445108"/>
            <a:chOff x="6222125" y="2025975"/>
            <a:chExt cx="499450" cy="474125"/>
          </a:xfrm>
        </p:grpSpPr>
        <p:sp>
          <p:nvSpPr>
            <p:cNvPr id="9442" name="Google Shape;9442;p109"/>
            <p:cNvSpPr/>
            <p:nvPr/>
          </p:nvSpPr>
          <p:spPr>
            <a:xfrm>
              <a:off x="6222125" y="2025975"/>
              <a:ext cx="499450" cy="474125"/>
            </a:xfrm>
            <a:custGeom>
              <a:avLst/>
              <a:gdLst/>
              <a:ahLst/>
              <a:cxnLst/>
              <a:rect l="l" t="t" r="r" b="b"/>
              <a:pathLst>
                <a:path w="19978" h="18965" extrusionOk="0">
                  <a:moveTo>
                    <a:pt x="10490" y="1134"/>
                  </a:moveTo>
                  <a:cubicBezTo>
                    <a:pt x="15095" y="1134"/>
                    <a:pt x="18839" y="4878"/>
                    <a:pt x="18839" y="9483"/>
                  </a:cubicBezTo>
                  <a:cubicBezTo>
                    <a:pt x="18839" y="14087"/>
                    <a:pt x="15095" y="17832"/>
                    <a:pt x="10490" y="17832"/>
                  </a:cubicBezTo>
                  <a:cubicBezTo>
                    <a:pt x="5886" y="17832"/>
                    <a:pt x="2142" y="14087"/>
                    <a:pt x="2142" y="9483"/>
                  </a:cubicBezTo>
                  <a:cubicBezTo>
                    <a:pt x="2142" y="4878"/>
                    <a:pt x="5886" y="1134"/>
                    <a:pt x="10490" y="1134"/>
                  </a:cubicBezTo>
                  <a:close/>
                  <a:moveTo>
                    <a:pt x="10488" y="0"/>
                  </a:moveTo>
                  <a:cubicBezTo>
                    <a:pt x="6717" y="0"/>
                    <a:pt x="3222" y="2259"/>
                    <a:pt x="1731" y="5853"/>
                  </a:cubicBezTo>
                  <a:cubicBezTo>
                    <a:pt x="1" y="10032"/>
                    <a:pt x="1462" y="14854"/>
                    <a:pt x="5222" y="17367"/>
                  </a:cubicBezTo>
                  <a:cubicBezTo>
                    <a:pt x="6828" y="18439"/>
                    <a:pt x="8663" y="18964"/>
                    <a:pt x="10487" y="18964"/>
                  </a:cubicBezTo>
                  <a:cubicBezTo>
                    <a:pt x="12934" y="18964"/>
                    <a:pt x="15362" y="18020"/>
                    <a:pt x="17194" y="16186"/>
                  </a:cubicBezTo>
                  <a:cubicBezTo>
                    <a:pt x="18978" y="14414"/>
                    <a:pt x="19978" y="11998"/>
                    <a:pt x="19972" y="9483"/>
                  </a:cubicBezTo>
                  <a:cubicBezTo>
                    <a:pt x="19972" y="4960"/>
                    <a:pt x="16777" y="1065"/>
                    <a:pt x="12341" y="183"/>
                  </a:cubicBezTo>
                  <a:cubicBezTo>
                    <a:pt x="11721" y="60"/>
                    <a:pt x="11101" y="0"/>
                    <a:pt x="10488"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435D74"/>
                </a:solidFill>
                <a:latin typeface="Arial"/>
                <a:cs typeface="Arial"/>
                <a:sym typeface="Arial"/>
              </a:endParaRPr>
            </a:p>
          </p:txBody>
        </p:sp>
        <p:sp>
          <p:nvSpPr>
            <p:cNvPr id="9443" name="Google Shape;9443;p109"/>
            <p:cNvSpPr/>
            <p:nvPr/>
          </p:nvSpPr>
          <p:spPr>
            <a:xfrm>
              <a:off x="6309175" y="2087825"/>
              <a:ext cx="350425" cy="350425"/>
            </a:xfrm>
            <a:custGeom>
              <a:avLst/>
              <a:gdLst/>
              <a:ahLst/>
              <a:cxnLst/>
              <a:rect l="l" t="t" r="r" b="b"/>
              <a:pathLst>
                <a:path w="14017" h="14017" extrusionOk="0">
                  <a:moveTo>
                    <a:pt x="7008" y="1133"/>
                  </a:moveTo>
                  <a:cubicBezTo>
                    <a:pt x="10248" y="1133"/>
                    <a:pt x="12884" y="3769"/>
                    <a:pt x="12884" y="7009"/>
                  </a:cubicBezTo>
                  <a:cubicBezTo>
                    <a:pt x="12884" y="10249"/>
                    <a:pt x="10248" y="12885"/>
                    <a:pt x="7008" y="12885"/>
                  </a:cubicBezTo>
                  <a:cubicBezTo>
                    <a:pt x="3769" y="12885"/>
                    <a:pt x="1133" y="10249"/>
                    <a:pt x="1133" y="7009"/>
                  </a:cubicBezTo>
                  <a:cubicBezTo>
                    <a:pt x="1133" y="3769"/>
                    <a:pt x="3769" y="1133"/>
                    <a:pt x="7008" y="1133"/>
                  </a:cubicBezTo>
                  <a:close/>
                  <a:moveTo>
                    <a:pt x="7008" y="1"/>
                  </a:moveTo>
                  <a:cubicBezTo>
                    <a:pt x="3144" y="1"/>
                    <a:pt x="0" y="3144"/>
                    <a:pt x="0" y="7009"/>
                  </a:cubicBezTo>
                  <a:cubicBezTo>
                    <a:pt x="0" y="10874"/>
                    <a:pt x="3144" y="14017"/>
                    <a:pt x="7008" y="14017"/>
                  </a:cubicBezTo>
                  <a:cubicBezTo>
                    <a:pt x="10873" y="14017"/>
                    <a:pt x="14017" y="10874"/>
                    <a:pt x="14017" y="7009"/>
                  </a:cubicBezTo>
                  <a:cubicBezTo>
                    <a:pt x="14017" y="3144"/>
                    <a:pt x="10873" y="1"/>
                    <a:pt x="7008"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435D74"/>
                </a:solidFill>
                <a:latin typeface="Arial"/>
                <a:cs typeface="Arial"/>
                <a:sym typeface="Arial"/>
              </a:endParaRPr>
            </a:p>
          </p:txBody>
        </p:sp>
        <p:sp>
          <p:nvSpPr>
            <p:cNvPr id="9444" name="Google Shape;9444;p109"/>
            <p:cNvSpPr/>
            <p:nvPr/>
          </p:nvSpPr>
          <p:spPr>
            <a:xfrm>
              <a:off x="6431600" y="2142250"/>
              <a:ext cx="105575" cy="241575"/>
            </a:xfrm>
            <a:custGeom>
              <a:avLst/>
              <a:gdLst/>
              <a:ahLst/>
              <a:cxnLst/>
              <a:rect l="l" t="t" r="r" b="b"/>
              <a:pathLst>
                <a:path w="4223" h="9663" extrusionOk="0">
                  <a:moveTo>
                    <a:pt x="2111" y="1"/>
                  </a:moveTo>
                  <a:cubicBezTo>
                    <a:pt x="1797" y="1"/>
                    <a:pt x="1547" y="254"/>
                    <a:pt x="1547" y="568"/>
                  </a:cubicBezTo>
                  <a:lnTo>
                    <a:pt x="1547" y="1504"/>
                  </a:lnTo>
                  <a:cubicBezTo>
                    <a:pt x="599" y="1785"/>
                    <a:pt x="1" y="2718"/>
                    <a:pt x="143" y="3697"/>
                  </a:cubicBezTo>
                  <a:cubicBezTo>
                    <a:pt x="285" y="4675"/>
                    <a:pt x="1124" y="5399"/>
                    <a:pt x="2111" y="5399"/>
                  </a:cubicBezTo>
                  <a:cubicBezTo>
                    <a:pt x="2872" y="5399"/>
                    <a:pt x="3256" y="6320"/>
                    <a:pt x="2715" y="6858"/>
                  </a:cubicBezTo>
                  <a:cubicBezTo>
                    <a:pt x="2542" y="7033"/>
                    <a:pt x="2328" y="7111"/>
                    <a:pt x="2118" y="7111"/>
                  </a:cubicBezTo>
                  <a:cubicBezTo>
                    <a:pt x="1679" y="7111"/>
                    <a:pt x="1257" y="6769"/>
                    <a:pt x="1257" y="6254"/>
                  </a:cubicBezTo>
                  <a:cubicBezTo>
                    <a:pt x="1257" y="5940"/>
                    <a:pt x="1003" y="5686"/>
                    <a:pt x="689" y="5686"/>
                  </a:cubicBezTo>
                  <a:cubicBezTo>
                    <a:pt x="378" y="5686"/>
                    <a:pt x="125" y="5940"/>
                    <a:pt x="125" y="6254"/>
                  </a:cubicBezTo>
                  <a:cubicBezTo>
                    <a:pt x="125" y="7133"/>
                    <a:pt x="701" y="7909"/>
                    <a:pt x="1547" y="8159"/>
                  </a:cubicBezTo>
                  <a:lnTo>
                    <a:pt x="1547" y="9098"/>
                  </a:lnTo>
                  <a:cubicBezTo>
                    <a:pt x="1547" y="9409"/>
                    <a:pt x="1797" y="9663"/>
                    <a:pt x="2111" y="9663"/>
                  </a:cubicBezTo>
                  <a:cubicBezTo>
                    <a:pt x="2425" y="9663"/>
                    <a:pt x="2679" y="9409"/>
                    <a:pt x="2679" y="9098"/>
                  </a:cubicBezTo>
                  <a:lnTo>
                    <a:pt x="2679" y="8159"/>
                  </a:lnTo>
                  <a:cubicBezTo>
                    <a:pt x="3624" y="7878"/>
                    <a:pt x="4222" y="6945"/>
                    <a:pt x="4080" y="5967"/>
                  </a:cubicBezTo>
                  <a:cubicBezTo>
                    <a:pt x="3939" y="4991"/>
                    <a:pt x="3102" y="4267"/>
                    <a:pt x="2118" y="4267"/>
                  </a:cubicBezTo>
                  <a:cubicBezTo>
                    <a:pt x="2116" y="4267"/>
                    <a:pt x="2114" y="4267"/>
                    <a:pt x="2111" y="4267"/>
                  </a:cubicBezTo>
                  <a:cubicBezTo>
                    <a:pt x="2106" y="4267"/>
                    <a:pt x="2100" y="4267"/>
                    <a:pt x="2095" y="4267"/>
                  </a:cubicBezTo>
                  <a:cubicBezTo>
                    <a:pt x="1622" y="4267"/>
                    <a:pt x="1239" y="3884"/>
                    <a:pt x="1239" y="3410"/>
                  </a:cubicBezTo>
                  <a:cubicBezTo>
                    <a:pt x="1239" y="2935"/>
                    <a:pt x="1622" y="2555"/>
                    <a:pt x="2095" y="2555"/>
                  </a:cubicBezTo>
                  <a:cubicBezTo>
                    <a:pt x="2100" y="2555"/>
                    <a:pt x="2106" y="2555"/>
                    <a:pt x="2111" y="2555"/>
                  </a:cubicBezTo>
                  <a:cubicBezTo>
                    <a:pt x="2582" y="2555"/>
                    <a:pt x="2966" y="2939"/>
                    <a:pt x="2966" y="3410"/>
                  </a:cubicBezTo>
                  <a:cubicBezTo>
                    <a:pt x="2966" y="3724"/>
                    <a:pt x="3220" y="3977"/>
                    <a:pt x="3534" y="3977"/>
                  </a:cubicBezTo>
                  <a:cubicBezTo>
                    <a:pt x="3845" y="3977"/>
                    <a:pt x="4098" y="3724"/>
                    <a:pt x="4098" y="3410"/>
                  </a:cubicBezTo>
                  <a:cubicBezTo>
                    <a:pt x="4098" y="2531"/>
                    <a:pt x="3522" y="1755"/>
                    <a:pt x="2679" y="1504"/>
                  </a:cubicBezTo>
                  <a:lnTo>
                    <a:pt x="2679" y="568"/>
                  </a:lnTo>
                  <a:cubicBezTo>
                    <a:pt x="2679" y="254"/>
                    <a:pt x="2425" y="1"/>
                    <a:pt x="2111"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435D74"/>
                </a:solidFill>
                <a:latin typeface="Arial"/>
                <a:cs typeface="Arial"/>
                <a:sym typeface="Arial"/>
              </a:endParaRPr>
            </a:p>
          </p:txBody>
        </p:sp>
      </p:grpSp>
      <p:grpSp>
        <p:nvGrpSpPr>
          <p:cNvPr id="9445" name="Google Shape;9445;p109"/>
          <p:cNvGrpSpPr/>
          <p:nvPr/>
        </p:nvGrpSpPr>
        <p:grpSpPr>
          <a:xfrm>
            <a:off x="6745131" y="3152722"/>
            <a:ext cx="447339" cy="247937"/>
            <a:chOff x="896050" y="2725450"/>
            <a:chExt cx="476500" cy="264100"/>
          </a:xfrm>
        </p:grpSpPr>
        <p:sp>
          <p:nvSpPr>
            <p:cNvPr id="9446" name="Google Shape;9446;p109"/>
            <p:cNvSpPr/>
            <p:nvPr/>
          </p:nvSpPr>
          <p:spPr>
            <a:xfrm>
              <a:off x="896050" y="2725450"/>
              <a:ext cx="476500" cy="264100"/>
            </a:xfrm>
            <a:custGeom>
              <a:avLst/>
              <a:gdLst/>
              <a:ahLst/>
              <a:cxnLst/>
              <a:rect l="l" t="t" r="r" b="b"/>
              <a:pathLst>
                <a:path w="19060" h="10564" extrusionOk="0">
                  <a:moveTo>
                    <a:pt x="17927" y="1133"/>
                  </a:moveTo>
                  <a:lnTo>
                    <a:pt x="17927" y="9431"/>
                  </a:lnTo>
                  <a:lnTo>
                    <a:pt x="1133" y="9431"/>
                  </a:lnTo>
                  <a:lnTo>
                    <a:pt x="1133" y="1133"/>
                  </a:lnTo>
                  <a:close/>
                  <a:moveTo>
                    <a:pt x="565" y="1"/>
                  </a:moveTo>
                  <a:cubicBezTo>
                    <a:pt x="254" y="1"/>
                    <a:pt x="1" y="255"/>
                    <a:pt x="1" y="569"/>
                  </a:cubicBezTo>
                  <a:lnTo>
                    <a:pt x="1" y="9995"/>
                  </a:lnTo>
                  <a:cubicBezTo>
                    <a:pt x="1" y="10309"/>
                    <a:pt x="254" y="10563"/>
                    <a:pt x="565" y="10563"/>
                  </a:cubicBezTo>
                  <a:lnTo>
                    <a:pt x="18495" y="10563"/>
                  </a:lnTo>
                  <a:cubicBezTo>
                    <a:pt x="18806" y="10563"/>
                    <a:pt x="19060" y="10309"/>
                    <a:pt x="19060" y="9995"/>
                  </a:cubicBezTo>
                  <a:lnTo>
                    <a:pt x="19060" y="569"/>
                  </a:lnTo>
                  <a:cubicBezTo>
                    <a:pt x="19060" y="255"/>
                    <a:pt x="18806" y="1"/>
                    <a:pt x="18495"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435D74"/>
                </a:solidFill>
                <a:latin typeface="Arial"/>
                <a:cs typeface="Arial"/>
                <a:sym typeface="Arial"/>
              </a:endParaRPr>
            </a:p>
          </p:txBody>
        </p:sp>
        <p:sp>
          <p:nvSpPr>
            <p:cNvPr id="9447" name="Google Shape;9447;p109"/>
            <p:cNvSpPr/>
            <p:nvPr/>
          </p:nvSpPr>
          <p:spPr>
            <a:xfrm>
              <a:off x="951625" y="2774675"/>
              <a:ext cx="365450" cy="165650"/>
            </a:xfrm>
            <a:custGeom>
              <a:avLst/>
              <a:gdLst/>
              <a:ahLst/>
              <a:cxnLst/>
              <a:rect l="l" t="t" r="r" b="b"/>
              <a:pathLst>
                <a:path w="14618" h="6626" extrusionOk="0">
                  <a:moveTo>
                    <a:pt x="12063" y="1133"/>
                  </a:moveTo>
                  <a:cubicBezTo>
                    <a:pt x="12259" y="1818"/>
                    <a:pt x="12797" y="2356"/>
                    <a:pt x="13485" y="2552"/>
                  </a:cubicBezTo>
                  <a:lnTo>
                    <a:pt x="13485" y="4074"/>
                  </a:lnTo>
                  <a:cubicBezTo>
                    <a:pt x="12797" y="4273"/>
                    <a:pt x="12259" y="4808"/>
                    <a:pt x="12063" y="5496"/>
                  </a:cubicBezTo>
                  <a:lnTo>
                    <a:pt x="2552" y="5496"/>
                  </a:lnTo>
                  <a:cubicBezTo>
                    <a:pt x="2355" y="4808"/>
                    <a:pt x="1818" y="4270"/>
                    <a:pt x="1129" y="4074"/>
                  </a:cubicBezTo>
                  <a:lnTo>
                    <a:pt x="1129" y="2552"/>
                  </a:lnTo>
                  <a:cubicBezTo>
                    <a:pt x="1818" y="2356"/>
                    <a:pt x="2355" y="1818"/>
                    <a:pt x="2552" y="1133"/>
                  </a:cubicBezTo>
                  <a:close/>
                  <a:moveTo>
                    <a:pt x="2065" y="1"/>
                  </a:moveTo>
                  <a:cubicBezTo>
                    <a:pt x="1751" y="1"/>
                    <a:pt x="1498" y="254"/>
                    <a:pt x="1498" y="568"/>
                  </a:cubicBezTo>
                  <a:cubicBezTo>
                    <a:pt x="1498" y="1082"/>
                    <a:pt x="1081" y="1501"/>
                    <a:pt x="565" y="1501"/>
                  </a:cubicBezTo>
                  <a:cubicBezTo>
                    <a:pt x="251" y="1501"/>
                    <a:pt x="0" y="1755"/>
                    <a:pt x="0" y="2069"/>
                  </a:cubicBezTo>
                  <a:lnTo>
                    <a:pt x="0" y="4560"/>
                  </a:lnTo>
                  <a:cubicBezTo>
                    <a:pt x="0" y="4871"/>
                    <a:pt x="251" y="5125"/>
                    <a:pt x="565" y="5125"/>
                  </a:cubicBezTo>
                  <a:cubicBezTo>
                    <a:pt x="1081" y="5125"/>
                    <a:pt x="1498" y="5544"/>
                    <a:pt x="1498" y="6061"/>
                  </a:cubicBezTo>
                  <a:cubicBezTo>
                    <a:pt x="1498" y="6372"/>
                    <a:pt x="1751" y="6625"/>
                    <a:pt x="2065" y="6625"/>
                  </a:cubicBezTo>
                  <a:lnTo>
                    <a:pt x="12549" y="6625"/>
                  </a:lnTo>
                  <a:cubicBezTo>
                    <a:pt x="12863" y="6625"/>
                    <a:pt x="13117" y="6372"/>
                    <a:pt x="13117" y="6061"/>
                  </a:cubicBezTo>
                  <a:cubicBezTo>
                    <a:pt x="13117" y="5544"/>
                    <a:pt x="13533" y="5125"/>
                    <a:pt x="14050" y="5125"/>
                  </a:cubicBezTo>
                  <a:cubicBezTo>
                    <a:pt x="14364" y="5125"/>
                    <a:pt x="14617" y="4871"/>
                    <a:pt x="14617" y="4560"/>
                  </a:cubicBezTo>
                  <a:lnTo>
                    <a:pt x="14617" y="2069"/>
                  </a:lnTo>
                  <a:cubicBezTo>
                    <a:pt x="14617" y="1755"/>
                    <a:pt x="14364" y="1501"/>
                    <a:pt x="14050" y="1501"/>
                  </a:cubicBezTo>
                  <a:cubicBezTo>
                    <a:pt x="13533" y="1501"/>
                    <a:pt x="13117" y="1082"/>
                    <a:pt x="13117" y="568"/>
                  </a:cubicBezTo>
                  <a:cubicBezTo>
                    <a:pt x="13117" y="254"/>
                    <a:pt x="12863" y="1"/>
                    <a:pt x="12549"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435D74"/>
                </a:solidFill>
                <a:latin typeface="Arial"/>
                <a:cs typeface="Arial"/>
                <a:sym typeface="Arial"/>
              </a:endParaRPr>
            </a:p>
          </p:txBody>
        </p:sp>
        <p:sp>
          <p:nvSpPr>
            <p:cNvPr id="9448" name="Google Shape;9448;p109"/>
            <p:cNvSpPr/>
            <p:nvPr/>
          </p:nvSpPr>
          <p:spPr>
            <a:xfrm>
              <a:off x="1088625" y="2815075"/>
              <a:ext cx="88200" cy="84850"/>
            </a:xfrm>
            <a:custGeom>
              <a:avLst/>
              <a:gdLst/>
              <a:ahLst/>
              <a:cxnLst/>
              <a:rect l="l" t="t" r="r" b="b"/>
              <a:pathLst>
                <a:path w="3528" h="3394" extrusionOk="0">
                  <a:moveTo>
                    <a:pt x="1826" y="1132"/>
                  </a:moveTo>
                  <a:cubicBezTo>
                    <a:pt x="2115" y="1132"/>
                    <a:pt x="2393" y="1358"/>
                    <a:pt x="2395" y="1697"/>
                  </a:cubicBezTo>
                  <a:cubicBezTo>
                    <a:pt x="2395" y="2011"/>
                    <a:pt x="2141" y="2265"/>
                    <a:pt x="1827" y="2265"/>
                  </a:cubicBezTo>
                  <a:lnTo>
                    <a:pt x="1827" y="2262"/>
                  </a:lnTo>
                  <a:cubicBezTo>
                    <a:pt x="1326" y="2259"/>
                    <a:pt x="1075" y="1652"/>
                    <a:pt x="1432" y="1298"/>
                  </a:cubicBezTo>
                  <a:cubicBezTo>
                    <a:pt x="1547" y="1183"/>
                    <a:pt x="1688" y="1132"/>
                    <a:pt x="1826" y="1132"/>
                  </a:cubicBezTo>
                  <a:close/>
                  <a:moveTo>
                    <a:pt x="1827" y="0"/>
                  </a:moveTo>
                  <a:cubicBezTo>
                    <a:pt x="1142" y="0"/>
                    <a:pt x="523" y="414"/>
                    <a:pt x="260" y="1048"/>
                  </a:cubicBezTo>
                  <a:cubicBezTo>
                    <a:pt x="0" y="1682"/>
                    <a:pt x="145" y="2413"/>
                    <a:pt x="632" y="2899"/>
                  </a:cubicBezTo>
                  <a:cubicBezTo>
                    <a:pt x="954" y="3222"/>
                    <a:pt x="1388" y="3393"/>
                    <a:pt x="1829" y="3393"/>
                  </a:cubicBezTo>
                  <a:cubicBezTo>
                    <a:pt x="2048" y="3393"/>
                    <a:pt x="2269" y="3351"/>
                    <a:pt x="2479" y="3264"/>
                  </a:cubicBezTo>
                  <a:cubicBezTo>
                    <a:pt x="3114" y="3001"/>
                    <a:pt x="3524" y="2382"/>
                    <a:pt x="3527" y="1697"/>
                  </a:cubicBezTo>
                  <a:cubicBezTo>
                    <a:pt x="3524" y="761"/>
                    <a:pt x="2763" y="0"/>
                    <a:pt x="1827"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435D74"/>
                </a:solidFill>
                <a:latin typeface="Arial"/>
                <a:cs typeface="Arial"/>
                <a:sym typeface="Arial"/>
              </a:endParaRPr>
            </a:p>
          </p:txBody>
        </p:sp>
      </p:grpSp>
      <p:grpSp>
        <p:nvGrpSpPr>
          <p:cNvPr id="9449" name="Google Shape;9449;p109"/>
          <p:cNvGrpSpPr/>
          <p:nvPr/>
        </p:nvGrpSpPr>
        <p:grpSpPr>
          <a:xfrm>
            <a:off x="7319451" y="3049900"/>
            <a:ext cx="453557" cy="453581"/>
            <a:chOff x="1487200" y="2615925"/>
            <a:chExt cx="483125" cy="483150"/>
          </a:xfrm>
        </p:grpSpPr>
        <p:sp>
          <p:nvSpPr>
            <p:cNvPr id="9450" name="Google Shape;9450;p109"/>
            <p:cNvSpPr/>
            <p:nvPr/>
          </p:nvSpPr>
          <p:spPr>
            <a:xfrm>
              <a:off x="1601400" y="2844275"/>
              <a:ext cx="28325" cy="28325"/>
            </a:xfrm>
            <a:custGeom>
              <a:avLst/>
              <a:gdLst/>
              <a:ahLst/>
              <a:cxnLst/>
              <a:rect l="l" t="t" r="r" b="b"/>
              <a:pathLst>
                <a:path w="1133" h="1133" extrusionOk="0">
                  <a:moveTo>
                    <a:pt x="565" y="1"/>
                  </a:moveTo>
                  <a:cubicBezTo>
                    <a:pt x="251" y="1"/>
                    <a:pt x="1" y="254"/>
                    <a:pt x="1" y="568"/>
                  </a:cubicBezTo>
                  <a:cubicBezTo>
                    <a:pt x="1" y="879"/>
                    <a:pt x="251" y="1133"/>
                    <a:pt x="565" y="1133"/>
                  </a:cubicBezTo>
                  <a:cubicBezTo>
                    <a:pt x="879" y="1133"/>
                    <a:pt x="1133" y="879"/>
                    <a:pt x="1133" y="568"/>
                  </a:cubicBezTo>
                  <a:cubicBezTo>
                    <a:pt x="1133" y="254"/>
                    <a:pt x="879" y="1"/>
                    <a:pt x="565"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435D74"/>
                </a:solidFill>
                <a:latin typeface="Arial"/>
                <a:cs typeface="Arial"/>
                <a:sym typeface="Arial"/>
              </a:endParaRPr>
            </a:p>
          </p:txBody>
        </p:sp>
        <p:sp>
          <p:nvSpPr>
            <p:cNvPr id="9451" name="Google Shape;9451;p109"/>
            <p:cNvSpPr/>
            <p:nvPr/>
          </p:nvSpPr>
          <p:spPr>
            <a:xfrm>
              <a:off x="1487200" y="2731050"/>
              <a:ext cx="483125" cy="368025"/>
            </a:xfrm>
            <a:custGeom>
              <a:avLst/>
              <a:gdLst/>
              <a:ahLst/>
              <a:cxnLst/>
              <a:rect l="l" t="t" r="r" b="b"/>
              <a:pathLst>
                <a:path w="19325" h="14721" extrusionOk="0">
                  <a:moveTo>
                    <a:pt x="4566" y="1232"/>
                  </a:moveTo>
                  <a:cubicBezTo>
                    <a:pt x="4994" y="1386"/>
                    <a:pt x="5342" y="1703"/>
                    <a:pt x="5535" y="2117"/>
                  </a:cubicBezTo>
                  <a:cubicBezTo>
                    <a:pt x="5630" y="2320"/>
                    <a:pt x="5833" y="2444"/>
                    <a:pt x="6050" y="2444"/>
                  </a:cubicBezTo>
                  <a:cubicBezTo>
                    <a:pt x="6094" y="2444"/>
                    <a:pt x="6139" y="2439"/>
                    <a:pt x="6184" y="2428"/>
                  </a:cubicBezTo>
                  <a:cubicBezTo>
                    <a:pt x="6580" y="2322"/>
                    <a:pt x="6987" y="2268"/>
                    <a:pt x="7398" y="2265"/>
                  </a:cubicBezTo>
                  <a:lnTo>
                    <a:pt x="11927" y="2265"/>
                  </a:lnTo>
                  <a:cubicBezTo>
                    <a:pt x="14738" y="2265"/>
                    <a:pt x="17024" y="4551"/>
                    <a:pt x="17024" y="7362"/>
                  </a:cubicBezTo>
                  <a:cubicBezTo>
                    <a:pt x="17021" y="9385"/>
                    <a:pt x="15819" y="11215"/>
                    <a:pt x="13965" y="12024"/>
                  </a:cubicBezTo>
                  <a:cubicBezTo>
                    <a:pt x="13760" y="12114"/>
                    <a:pt x="13624" y="12320"/>
                    <a:pt x="13627" y="12543"/>
                  </a:cubicBezTo>
                  <a:lnTo>
                    <a:pt x="13627" y="13588"/>
                  </a:lnTo>
                  <a:lnTo>
                    <a:pt x="12495" y="13588"/>
                  </a:lnTo>
                  <a:lnTo>
                    <a:pt x="12495" y="13023"/>
                  </a:lnTo>
                  <a:cubicBezTo>
                    <a:pt x="12495" y="12709"/>
                    <a:pt x="12241" y="12456"/>
                    <a:pt x="11927" y="12456"/>
                  </a:cubicBezTo>
                  <a:lnTo>
                    <a:pt x="7398" y="12456"/>
                  </a:lnTo>
                  <a:cubicBezTo>
                    <a:pt x="7084" y="12456"/>
                    <a:pt x="6833" y="12709"/>
                    <a:pt x="6833" y="13023"/>
                  </a:cubicBezTo>
                  <a:lnTo>
                    <a:pt x="6833" y="13588"/>
                  </a:lnTo>
                  <a:lnTo>
                    <a:pt x="5701" y="13588"/>
                  </a:lnTo>
                  <a:lnTo>
                    <a:pt x="5701" y="12537"/>
                  </a:lnTo>
                  <a:cubicBezTo>
                    <a:pt x="5698" y="12314"/>
                    <a:pt x="5565" y="12108"/>
                    <a:pt x="5360" y="12021"/>
                  </a:cubicBezTo>
                  <a:cubicBezTo>
                    <a:pt x="4185" y="11508"/>
                    <a:pt x="3249" y="10572"/>
                    <a:pt x="2733" y="9400"/>
                  </a:cubicBezTo>
                  <a:cubicBezTo>
                    <a:pt x="2642" y="9192"/>
                    <a:pt x="2440" y="9059"/>
                    <a:pt x="2213" y="9059"/>
                  </a:cubicBezTo>
                  <a:lnTo>
                    <a:pt x="1132" y="9059"/>
                  </a:lnTo>
                  <a:lnTo>
                    <a:pt x="1132" y="6794"/>
                  </a:lnTo>
                  <a:lnTo>
                    <a:pt x="1851" y="6794"/>
                  </a:lnTo>
                  <a:cubicBezTo>
                    <a:pt x="2120" y="6794"/>
                    <a:pt x="2349" y="6604"/>
                    <a:pt x="2404" y="6341"/>
                  </a:cubicBezTo>
                  <a:cubicBezTo>
                    <a:pt x="2651" y="5130"/>
                    <a:pt x="3349" y="4046"/>
                    <a:pt x="4369" y="3286"/>
                  </a:cubicBezTo>
                  <a:cubicBezTo>
                    <a:pt x="4566" y="3138"/>
                    <a:pt x="4644" y="2884"/>
                    <a:pt x="4569" y="2652"/>
                  </a:cubicBezTo>
                  <a:lnTo>
                    <a:pt x="4566" y="2645"/>
                  </a:lnTo>
                  <a:lnTo>
                    <a:pt x="4566" y="1232"/>
                  </a:lnTo>
                  <a:close/>
                  <a:moveTo>
                    <a:pt x="4001" y="0"/>
                  </a:moveTo>
                  <a:cubicBezTo>
                    <a:pt x="3687" y="0"/>
                    <a:pt x="3436" y="254"/>
                    <a:pt x="3436" y="568"/>
                  </a:cubicBezTo>
                  <a:lnTo>
                    <a:pt x="3436" y="2582"/>
                  </a:lnTo>
                  <a:cubicBezTo>
                    <a:pt x="2461" y="3379"/>
                    <a:pt x="1754" y="4454"/>
                    <a:pt x="1407" y="5662"/>
                  </a:cubicBezTo>
                  <a:lnTo>
                    <a:pt x="568" y="5662"/>
                  </a:lnTo>
                  <a:cubicBezTo>
                    <a:pt x="254" y="5662"/>
                    <a:pt x="0" y="5916"/>
                    <a:pt x="0" y="6230"/>
                  </a:cubicBezTo>
                  <a:lnTo>
                    <a:pt x="0" y="9626"/>
                  </a:lnTo>
                  <a:cubicBezTo>
                    <a:pt x="0" y="9937"/>
                    <a:pt x="254" y="10191"/>
                    <a:pt x="568" y="10191"/>
                  </a:cubicBezTo>
                  <a:lnTo>
                    <a:pt x="1857" y="10191"/>
                  </a:lnTo>
                  <a:cubicBezTo>
                    <a:pt x="2452" y="11357"/>
                    <a:pt x="3400" y="12302"/>
                    <a:pt x="4569" y="12897"/>
                  </a:cubicBezTo>
                  <a:lnTo>
                    <a:pt x="4569" y="14156"/>
                  </a:lnTo>
                  <a:cubicBezTo>
                    <a:pt x="4569" y="14467"/>
                    <a:pt x="4819" y="14720"/>
                    <a:pt x="5133" y="14720"/>
                  </a:cubicBezTo>
                  <a:lnTo>
                    <a:pt x="7398" y="14720"/>
                  </a:lnTo>
                  <a:cubicBezTo>
                    <a:pt x="7712" y="14720"/>
                    <a:pt x="7965" y="14467"/>
                    <a:pt x="7965" y="14156"/>
                  </a:cubicBezTo>
                  <a:lnTo>
                    <a:pt x="7965" y="13588"/>
                  </a:lnTo>
                  <a:lnTo>
                    <a:pt x="11362" y="13588"/>
                  </a:lnTo>
                  <a:lnTo>
                    <a:pt x="11362" y="14156"/>
                  </a:lnTo>
                  <a:cubicBezTo>
                    <a:pt x="11362" y="14467"/>
                    <a:pt x="11613" y="14720"/>
                    <a:pt x="11927" y="14720"/>
                  </a:cubicBezTo>
                  <a:lnTo>
                    <a:pt x="14192" y="14720"/>
                  </a:lnTo>
                  <a:cubicBezTo>
                    <a:pt x="14506" y="14720"/>
                    <a:pt x="14759" y="14467"/>
                    <a:pt x="14759" y="14156"/>
                  </a:cubicBezTo>
                  <a:lnTo>
                    <a:pt x="14759" y="12903"/>
                  </a:lnTo>
                  <a:cubicBezTo>
                    <a:pt x="16689" y="11915"/>
                    <a:pt x="17969" y="9998"/>
                    <a:pt x="18135" y="7839"/>
                  </a:cubicBezTo>
                  <a:cubicBezTo>
                    <a:pt x="18383" y="7754"/>
                    <a:pt x="18612" y="7618"/>
                    <a:pt x="18799" y="7437"/>
                  </a:cubicBezTo>
                  <a:cubicBezTo>
                    <a:pt x="19134" y="7123"/>
                    <a:pt x="19325" y="6685"/>
                    <a:pt x="19325" y="6230"/>
                  </a:cubicBezTo>
                  <a:lnTo>
                    <a:pt x="19325" y="5097"/>
                  </a:lnTo>
                  <a:cubicBezTo>
                    <a:pt x="19325" y="4783"/>
                    <a:pt x="19071" y="4530"/>
                    <a:pt x="18760" y="4530"/>
                  </a:cubicBezTo>
                  <a:cubicBezTo>
                    <a:pt x="18446" y="4530"/>
                    <a:pt x="18192" y="4783"/>
                    <a:pt x="18192" y="5097"/>
                  </a:cubicBezTo>
                  <a:lnTo>
                    <a:pt x="18192" y="6230"/>
                  </a:lnTo>
                  <a:cubicBezTo>
                    <a:pt x="18192" y="6332"/>
                    <a:pt x="18159" y="6435"/>
                    <a:pt x="18099" y="6522"/>
                  </a:cubicBezTo>
                  <a:cubicBezTo>
                    <a:pt x="17688" y="3482"/>
                    <a:pt x="15079" y="1133"/>
                    <a:pt x="11927" y="1133"/>
                  </a:cubicBezTo>
                  <a:lnTo>
                    <a:pt x="7398" y="1133"/>
                  </a:lnTo>
                  <a:cubicBezTo>
                    <a:pt x="7041" y="1136"/>
                    <a:pt x="6685" y="1169"/>
                    <a:pt x="6332" y="1238"/>
                  </a:cubicBezTo>
                  <a:cubicBezTo>
                    <a:pt x="5807" y="465"/>
                    <a:pt x="4934" y="3"/>
                    <a:pt x="4001"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435D74"/>
                </a:solidFill>
                <a:latin typeface="Arial"/>
                <a:cs typeface="Arial"/>
                <a:sym typeface="Arial"/>
              </a:endParaRPr>
            </a:p>
          </p:txBody>
        </p:sp>
        <p:sp>
          <p:nvSpPr>
            <p:cNvPr id="9452" name="Google Shape;9452;p109"/>
            <p:cNvSpPr/>
            <p:nvPr/>
          </p:nvSpPr>
          <p:spPr>
            <a:xfrm>
              <a:off x="1658025" y="2615925"/>
              <a:ext cx="141550" cy="143450"/>
            </a:xfrm>
            <a:custGeom>
              <a:avLst/>
              <a:gdLst/>
              <a:ahLst/>
              <a:cxnLst/>
              <a:rect l="l" t="t" r="r" b="b"/>
              <a:pathLst>
                <a:path w="5662" h="5738" extrusionOk="0">
                  <a:moveTo>
                    <a:pt x="2829" y="1133"/>
                  </a:moveTo>
                  <a:cubicBezTo>
                    <a:pt x="3750" y="1133"/>
                    <a:pt x="4529" y="1945"/>
                    <a:pt x="4529" y="2908"/>
                  </a:cubicBezTo>
                  <a:cubicBezTo>
                    <a:pt x="4526" y="3845"/>
                    <a:pt x="3768" y="4605"/>
                    <a:pt x="2829" y="4605"/>
                  </a:cubicBezTo>
                  <a:cubicBezTo>
                    <a:pt x="1890" y="4605"/>
                    <a:pt x="1132" y="3845"/>
                    <a:pt x="1132" y="2908"/>
                  </a:cubicBezTo>
                  <a:cubicBezTo>
                    <a:pt x="1132" y="1945"/>
                    <a:pt x="1908" y="1133"/>
                    <a:pt x="2829" y="1133"/>
                  </a:cubicBezTo>
                  <a:close/>
                  <a:moveTo>
                    <a:pt x="2829" y="1"/>
                  </a:moveTo>
                  <a:cubicBezTo>
                    <a:pt x="2075" y="1"/>
                    <a:pt x="1359" y="312"/>
                    <a:pt x="818" y="876"/>
                  </a:cubicBezTo>
                  <a:cubicBezTo>
                    <a:pt x="293" y="1423"/>
                    <a:pt x="0" y="2151"/>
                    <a:pt x="0" y="2908"/>
                  </a:cubicBezTo>
                  <a:cubicBezTo>
                    <a:pt x="0" y="4470"/>
                    <a:pt x="1265" y="5738"/>
                    <a:pt x="2829" y="5738"/>
                  </a:cubicBezTo>
                  <a:cubicBezTo>
                    <a:pt x="4393" y="5738"/>
                    <a:pt x="5662" y="4470"/>
                    <a:pt x="5662" y="2908"/>
                  </a:cubicBezTo>
                  <a:cubicBezTo>
                    <a:pt x="5659" y="2151"/>
                    <a:pt x="5366" y="1423"/>
                    <a:pt x="4840" y="876"/>
                  </a:cubicBezTo>
                  <a:cubicBezTo>
                    <a:pt x="4303" y="312"/>
                    <a:pt x="3584" y="1"/>
                    <a:pt x="2829"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435D74"/>
                </a:solidFill>
                <a:latin typeface="Arial"/>
                <a:cs typeface="Arial"/>
                <a:sym typeface="Arial"/>
              </a:endParaRPr>
            </a:p>
          </p:txBody>
        </p:sp>
      </p:grpSp>
      <p:grpSp>
        <p:nvGrpSpPr>
          <p:cNvPr id="9453" name="Google Shape;9453;p109"/>
          <p:cNvGrpSpPr/>
          <p:nvPr/>
        </p:nvGrpSpPr>
        <p:grpSpPr>
          <a:xfrm>
            <a:off x="7852716" y="3049900"/>
            <a:ext cx="471419" cy="453581"/>
            <a:chOff x="2077575" y="2615925"/>
            <a:chExt cx="502150" cy="483150"/>
          </a:xfrm>
        </p:grpSpPr>
        <p:sp>
          <p:nvSpPr>
            <p:cNvPr id="9454" name="Google Shape;9454;p109"/>
            <p:cNvSpPr/>
            <p:nvPr/>
          </p:nvSpPr>
          <p:spPr>
            <a:xfrm>
              <a:off x="2213375" y="2817500"/>
              <a:ext cx="151225" cy="148400"/>
            </a:xfrm>
            <a:custGeom>
              <a:avLst/>
              <a:gdLst/>
              <a:ahLst/>
              <a:cxnLst/>
              <a:rect l="l" t="t" r="r" b="b"/>
              <a:pathLst>
                <a:path w="6049" h="5936" extrusionOk="0">
                  <a:moveTo>
                    <a:pt x="5426" y="0"/>
                  </a:moveTo>
                  <a:cubicBezTo>
                    <a:pt x="5281" y="0"/>
                    <a:pt x="5136" y="56"/>
                    <a:pt x="5025" y="166"/>
                  </a:cubicBezTo>
                  <a:lnTo>
                    <a:pt x="4557" y="634"/>
                  </a:lnTo>
                  <a:cubicBezTo>
                    <a:pt x="4322" y="522"/>
                    <a:pt x="4072" y="468"/>
                    <a:pt x="3825" y="468"/>
                  </a:cubicBezTo>
                  <a:cubicBezTo>
                    <a:pt x="3288" y="468"/>
                    <a:pt x="2764" y="723"/>
                    <a:pt x="2437" y="1186"/>
                  </a:cubicBezTo>
                  <a:cubicBezTo>
                    <a:pt x="1957" y="1863"/>
                    <a:pt x="2038" y="2784"/>
                    <a:pt x="2624" y="3369"/>
                  </a:cubicBezTo>
                  <a:cubicBezTo>
                    <a:pt x="2980" y="3726"/>
                    <a:pt x="2727" y="4336"/>
                    <a:pt x="2223" y="4336"/>
                  </a:cubicBezTo>
                  <a:cubicBezTo>
                    <a:pt x="1718" y="4336"/>
                    <a:pt x="1468" y="3726"/>
                    <a:pt x="1824" y="3369"/>
                  </a:cubicBezTo>
                  <a:cubicBezTo>
                    <a:pt x="2044" y="3149"/>
                    <a:pt x="2044" y="2790"/>
                    <a:pt x="1824" y="2569"/>
                  </a:cubicBezTo>
                  <a:cubicBezTo>
                    <a:pt x="1714" y="2458"/>
                    <a:pt x="1569" y="2402"/>
                    <a:pt x="1424" y="2402"/>
                  </a:cubicBezTo>
                  <a:cubicBezTo>
                    <a:pt x="1279" y="2402"/>
                    <a:pt x="1134" y="2458"/>
                    <a:pt x="1024" y="2569"/>
                  </a:cubicBezTo>
                  <a:cubicBezTo>
                    <a:pt x="514" y="3077"/>
                    <a:pt x="381" y="3853"/>
                    <a:pt x="692" y="4502"/>
                  </a:cubicBezTo>
                  <a:lnTo>
                    <a:pt x="221" y="4970"/>
                  </a:lnTo>
                  <a:cubicBezTo>
                    <a:pt x="0" y="5190"/>
                    <a:pt x="0" y="5549"/>
                    <a:pt x="221" y="5770"/>
                  </a:cubicBezTo>
                  <a:cubicBezTo>
                    <a:pt x="332" y="5880"/>
                    <a:pt x="477" y="5935"/>
                    <a:pt x="622" y="5935"/>
                  </a:cubicBezTo>
                  <a:cubicBezTo>
                    <a:pt x="767" y="5935"/>
                    <a:pt x="912" y="5880"/>
                    <a:pt x="1024" y="5770"/>
                  </a:cubicBezTo>
                  <a:lnTo>
                    <a:pt x="1492" y="5302"/>
                  </a:lnTo>
                  <a:cubicBezTo>
                    <a:pt x="1726" y="5414"/>
                    <a:pt x="1975" y="5467"/>
                    <a:pt x="2220" y="5467"/>
                  </a:cubicBezTo>
                  <a:cubicBezTo>
                    <a:pt x="2758" y="5467"/>
                    <a:pt x="3281" y="5211"/>
                    <a:pt x="3608" y="4749"/>
                  </a:cubicBezTo>
                  <a:cubicBezTo>
                    <a:pt x="4089" y="4073"/>
                    <a:pt x="4010" y="3152"/>
                    <a:pt x="3424" y="2569"/>
                  </a:cubicBezTo>
                  <a:cubicBezTo>
                    <a:pt x="3068" y="2210"/>
                    <a:pt x="3322" y="1600"/>
                    <a:pt x="3826" y="1600"/>
                  </a:cubicBezTo>
                  <a:cubicBezTo>
                    <a:pt x="4330" y="1600"/>
                    <a:pt x="4581" y="2210"/>
                    <a:pt x="4224" y="2569"/>
                  </a:cubicBezTo>
                  <a:cubicBezTo>
                    <a:pt x="4004" y="2790"/>
                    <a:pt x="4004" y="3146"/>
                    <a:pt x="4224" y="3369"/>
                  </a:cubicBezTo>
                  <a:cubicBezTo>
                    <a:pt x="4335" y="3480"/>
                    <a:pt x="4480" y="3535"/>
                    <a:pt x="4624" y="3535"/>
                  </a:cubicBezTo>
                  <a:cubicBezTo>
                    <a:pt x="4769" y="3535"/>
                    <a:pt x="4914" y="3480"/>
                    <a:pt x="5025" y="3369"/>
                  </a:cubicBezTo>
                  <a:cubicBezTo>
                    <a:pt x="5535" y="2859"/>
                    <a:pt x="5668" y="2086"/>
                    <a:pt x="5360" y="1434"/>
                  </a:cubicBezTo>
                  <a:lnTo>
                    <a:pt x="5828" y="966"/>
                  </a:lnTo>
                  <a:cubicBezTo>
                    <a:pt x="6048" y="745"/>
                    <a:pt x="6048" y="386"/>
                    <a:pt x="5828" y="166"/>
                  </a:cubicBezTo>
                  <a:cubicBezTo>
                    <a:pt x="5716" y="56"/>
                    <a:pt x="5571" y="0"/>
                    <a:pt x="5426"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435D74"/>
                </a:solidFill>
                <a:latin typeface="Arial"/>
                <a:cs typeface="Arial"/>
                <a:sym typeface="Arial"/>
              </a:endParaRPr>
            </a:p>
          </p:txBody>
        </p:sp>
        <p:sp>
          <p:nvSpPr>
            <p:cNvPr id="9455" name="Google Shape;9455;p109"/>
            <p:cNvSpPr/>
            <p:nvPr/>
          </p:nvSpPr>
          <p:spPr>
            <a:xfrm>
              <a:off x="2333550" y="2737450"/>
              <a:ext cx="51050" cy="48325"/>
            </a:xfrm>
            <a:custGeom>
              <a:avLst/>
              <a:gdLst/>
              <a:ahLst/>
              <a:cxnLst/>
              <a:rect l="l" t="t" r="r" b="b"/>
              <a:pathLst>
                <a:path w="2042" h="1933" extrusionOk="0">
                  <a:moveTo>
                    <a:pt x="619" y="1"/>
                  </a:moveTo>
                  <a:cubicBezTo>
                    <a:pt x="475" y="1"/>
                    <a:pt x="330" y="56"/>
                    <a:pt x="221" y="167"/>
                  </a:cubicBezTo>
                  <a:cubicBezTo>
                    <a:pt x="0" y="388"/>
                    <a:pt x="0" y="747"/>
                    <a:pt x="221" y="967"/>
                  </a:cubicBezTo>
                  <a:lnTo>
                    <a:pt x="1021" y="1767"/>
                  </a:lnTo>
                  <a:cubicBezTo>
                    <a:pt x="1131" y="1878"/>
                    <a:pt x="1276" y="1933"/>
                    <a:pt x="1421" y="1933"/>
                  </a:cubicBezTo>
                  <a:cubicBezTo>
                    <a:pt x="1566" y="1933"/>
                    <a:pt x="1711" y="1878"/>
                    <a:pt x="1821" y="1767"/>
                  </a:cubicBezTo>
                  <a:cubicBezTo>
                    <a:pt x="2041" y="1547"/>
                    <a:pt x="2041" y="1188"/>
                    <a:pt x="1821" y="967"/>
                  </a:cubicBezTo>
                  <a:lnTo>
                    <a:pt x="1021" y="167"/>
                  </a:lnTo>
                  <a:cubicBezTo>
                    <a:pt x="910" y="57"/>
                    <a:pt x="765" y="1"/>
                    <a:pt x="619"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435D74"/>
                </a:solidFill>
                <a:latin typeface="Arial"/>
                <a:cs typeface="Arial"/>
                <a:sym typeface="Arial"/>
              </a:endParaRPr>
            </a:p>
          </p:txBody>
        </p:sp>
        <p:sp>
          <p:nvSpPr>
            <p:cNvPr id="9456" name="Google Shape;9456;p109"/>
            <p:cNvSpPr/>
            <p:nvPr/>
          </p:nvSpPr>
          <p:spPr>
            <a:xfrm>
              <a:off x="2393550" y="2797500"/>
              <a:ext cx="51125" cy="48375"/>
            </a:xfrm>
            <a:custGeom>
              <a:avLst/>
              <a:gdLst/>
              <a:ahLst/>
              <a:cxnLst/>
              <a:rect l="l" t="t" r="r" b="b"/>
              <a:pathLst>
                <a:path w="2045" h="1935" extrusionOk="0">
                  <a:moveTo>
                    <a:pt x="621" y="0"/>
                  </a:moveTo>
                  <a:cubicBezTo>
                    <a:pt x="476" y="0"/>
                    <a:pt x="331" y="55"/>
                    <a:pt x="221" y="166"/>
                  </a:cubicBezTo>
                  <a:cubicBezTo>
                    <a:pt x="1" y="386"/>
                    <a:pt x="1" y="745"/>
                    <a:pt x="221" y="966"/>
                  </a:cubicBezTo>
                  <a:lnTo>
                    <a:pt x="1021" y="1769"/>
                  </a:lnTo>
                  <a:cubicBezTo>
                    <a:pt x="1131" y="1879"/>
                    <a:pt x="1276" y="1934"/>
                    <a:pt x="1421" y="1934"/>
                  </a:cubicBezTo>
                  <a:cubicBezTo>
                    <a:pt x="1566" y="1934"/>
                    <a:pt x="1711" y="1879"/>
                    <a:pt x="1821" y="1769"/>
                  </a:cubicBezTo>
                  <a:cubicBezTo>
                    <a:pt x="2045" y="1545"/>
                    <a:pt x="2042" y="1189"/>
                    <a:pt x="1821" y="966"/>
                  </a:cubicBezTo>
                  <a:lnTo>
                    <a:pt x="1021" y="166"/>
                  </a:lnTo>
                  <a:cubicBezTo>
                    <a:pt x="911" y="55"/>
                    <a:pt x="766" y="0"/>
                    <a:pt x="621"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435D74"/>
                </a:solidFill>
                <a:latin typeface="Arial"/>
                <a:cs typeface="Arial"/>
                <a:sym typeface="Arial"/>
              </a:endParaRPr>
            </a:p>
          </p:txBody>
        </p:sp>
        <p:sp>
          <p:nvSpPr>
            <p:cNvPr id="9457" name="Google Shape;9457;p109"/>
            <p:cNvSpPr/>
            <p:nvPr/>
          </p:nvSpPr>
          <p:spPr>
            <a:xfrm>
              <a:off x="2077575" y="2615925"/>
              <a:ext cx="502150" cy="483150"/>
            </a:xfrm>
            <a:custGeom>
              <a:avLst/>
              <a:gdLst/>
              <a:ahLst/>
              <a:cxnLst/>
              <a:rect l="l" t="t" r="r" b="b"/>
              <a:pathLst>
                <a:path w="20086" h="19326" extrusionOk="0">
                  <a:moveTo>
                    <a:pt x="14865" y="4061"/>
                  </a:moveTo>
                  <a:cubicBezTo>
                    <a:pt x="14901" y="4061"/>
                    <a:pt x="14937" y="4064"/>
                    <a:pt x="14974" y="4071"/>
                  </a:cubicBezTo>
                  <a:cubicBezTo>
                    <a:pt x="15239" y="4125"/>
                    <a:pt x="15430" y="4358"/>
                    <a:pt x="15430" y="4627"/>
                  </a:cubicBezTo>
                  <a:cubicBezTo>
                    <a:pt x="15430" y="4778"/>
                    <a:pt x="15369" y="4922"/>
                    <a:pt x="15264" y="5028"/>
                  </a:cubicBezTo>
                  <a:cubicBezTo>
                    <a:pt x="15153" y="5137"/>
                    <a:pt x="15008" y="5194"/>
                    <a:pt x="14862" y="5194"/>
                  </a:cubicBezTo>
                  <a:cubicBezTo>
                    <a:pt x="14753" y="5194"/>
                    <a:pt x="14643" y="5162"/>
                    <a:pt x="14548" y="5098"/>
                  </a:cubicBezTo>
                  <a:cubicBezTo>
                    <a:pt x="14324" y="4947"/>
                    <a:pt x="14237" y="4660"/>
                    <a:pt x="14340" y="4409"/>
                  </a:cubicBezTo>
                  <a:cubicBezTo>
                    <a:pt x="14428" y="4195"/>
                    <a:pt x="14638" y="4061"/>
                    <a:pt x="14865" y="4061"/>
                  </a:cubicBezTo>
                  <a:close/>
                  <a:moveTo>
                    <a:pt x="13258" y="1136"/>
                  </a:moveTo>
                  <a:cubicBezTo>
                    <a:pt x="14386" y="1136"/>
                    <a:pt x="15514" y="1507"/>
                    <a:pt x="16441" y="2247"/>
                  </a:cubicBezTo>
                  <a:lnTo>
                    <a:pt x="15593" y="3096"/>
                  </a:lnTo>
                  <a:cubicBezTo>
                    <a:pt x="15349" y="2979"/>
                    <a:pt x="15100" y="2926"/>
                    <a:pt x="14858" y="2926"/>
                  </a:cubicBezTo>
                  <a:cubicBezTo>
                    <a:pt x="13865" y="2926"/>
                    <a:pt x="12999" y="3824"/>
                    <a:pt x="13186" y="4916"/>
                  </a:cubicBezTo>
                  <a:cubicBezTo>
                    <a:pt x="13295" y="5541"/>
                    <a:pt x="13742" y="6055"/>
                    <a:pt x="14346" y="6248"/>
                  </a:cubicBezTo>
                  <a:cubicBezTo>
                    <a:pt x="14514" y="6301"/>
                    <a:pt x="14688" y="6327"/>
                    <a:pt x="14859" y="6327"/>
                  </a:cubicBezTo>
                  <a:cubicBezTo>
                    <a:pt x="15304" y="6327"/>
                    <a:pt x="15739" y="6153"/>
                    <a:pt x="16064" y="5828"/>
                  </a:cubicBezTo>
                  <a:cubicBezTo>
                    <a:pt x="16571" y="5321"/>
                    <a:pt x="16704" y="4545"/>
                    <a:pt x="16396" y="3896"/>
                  </a:cubicBezTo>
                  <a:lnTo>
                    <a:pt x="17241" y="3050"/>
                  </a:lnTo>
                  <a:lnTo>
                    <a:pt x="17241" y="3050"/>
                  </a:lnTo>
                  <a:cubicBezTo>
                    <a:pt x="18842" y="5046"/>
                    <a:pt x="18715" y="7981"/>
                    <a:pt x="16864" y="9832"/>
                  </a:cubicBezTo>
                  <a:lnTo>
                    <a:pt x="16462" y="10231"/>
                  </a:lnTo>
                  <a:lnTo>
                    <a:pt x="16064" y="9832"/>
                  </a:lnTo>
                  <a:cubicBezTo>
                    <a:pt x="15952" y="9722"/>
                    <a:pt x="15806" y="9666"/>
                    <a:pt x="15661" y="9666"/>
                  </a:cubicBezTo>
                  <a:cubicBezTo>
                    <a:pt x="15516" y="9666"/>
                    <a:pt x="15372" y="9721"/>
                    <a:pt x="15261" y="9832"/>
                  </a:cubicBezTo>
                  <a:cubicBezTo>
                    <a:pt x="15040" y="10053"/>
                    <a:pt x="15040" y="10412"/>
                    <a:pt x="15261" y="10632"/>
                  </a:cubicBezTo>
                  <a:lnTo>
                    <a:pt x="15662" y="11034"/>
                  </a:lnTo>
                  <a:lnTo>
                    <a:pt x="8666" y="18027"/>
                  </a:lnTo>
                  <a:cubicBezTo>
                    <a:pt x="8556" y="18137"/>
                    <a:pt x="8411" y="18192"/>
                    <a:pt x="8266" y="18192"/>
                  </a:cubicBezTo>
                  <a:cubicBezTo>
                    <a:pt x="8121" y="18192"/>
                    <a:pt x="7976" y="18137"/>
                    <a:pt x="7866" y="18027"/>
                  </a:cubicBezTo>
                  <a:lnTo>
                    <a:pt x="1462" y="11623"/>
                  </a:lnTo>
                  <a:cubicBezTo>
                    <a:pt x="1241" y="11402"/>
                    <a:pt x="1241" y="11043"/>
                    <a:pt x="1462" y="10822"/>
                  </a:cubicBezTo>
                  <a:lnTo>
                    <a:pt x="8458" y="3826"/>
                  </a:lnTo>
                  <a:lnTo>
                    <a:pt x="8856" y="4228"/>
                  </a:lnTo>
                  <a:cubicBezTo>
                    <a:pt x="8966" y="4338"/>
                    <a:pt x="9111" y="4393"/>
                    <a:pt x="9256" y="4393"/>
                  </a:cubicBezTo>
                  <a:cubicBezTo>
                    <a:pt x="9401" y="4393"/>
                    <a:pt x="9546" y="4338"/>
                    <a:pt x="9656" y="4228"/>
                  </a:cubicBezTo>
                  <a:cubicBezTo>
                    <a:pt x="9880" y="4005"/>
                    <a:pt x="9877" y="3648"/>
                    <a:pt x="9656" y="3425"/>
                  </a:cubicBezTo>
                  <a:lnTo>
                    <a:pt x="9258" y="3026"/>
                  </a:lnTo>
                  <a:lnTo>
                    <a:pt x="9656" y="2625"/>
                  </a:lnTo>
                  <a:cubicBezTo>
                    <a:pt x="10649" y="1632"/>
                    <a:pt x="11954" y="1136"/>
                    <a:pt x="13258" y="1136"/>
                  </a:cubicBezTo>
                  <a:close/>
                  <a:moveTo>
                    <a:pt x="13261" y="1"/>
                  </a:moveTo>
                  <a:cubicBezTo>
                    <a:pt x="11661" y="1"/>
                    <a:pt x="10066" y="615"/>
                    <a:pt x="8856" y="1825"/>
                  </a:cubicBezTo>
                  <a:lnTo>
                    <a:pt x="8056" y="2625"/>
                  </a:lnTo>
                  <a:lnTo>
                    <a:pt x="661" y="10019"/>
                  </a:lnTo>
                  <a:cubicBezTo>
                    <a:pt x="0" y="10684"/>
                    <a:pt x="0" y="11759"/>
                    <a:pt x="661" y="12423"/>
                  </a:cubicBezTo>
                  <a:lnTo>
                    <a:pt x="7066" y="18827"/>
                  </a:lnTo>
                  <a:cubicBezTo>
                    <a:pt x="7398" y="19159"/>
                    <a:pt x="7833" y="19325"/>
                    <a:pt x="8267" y="19325"/>
                  </a:cubicBezTo>
                  <a:cubicBezTo>
                    <a:pt x="8702" y="19325"/>
                    <a:pt x="9137" y="19159"/>
                    <a:pt x="9469" y="18827"/>
                  </a:cubicBezTo>
                  <a:lnTo>
                    <a:pt x="17664" y="10632"/>
                  </a:lnTo>
                  <a:cubicBezTo>
                    <a:pt x="19956" y="8337"/>
                    <a:pt x="20086" y="4687"/>
                    <a:pt x="18044" y="2244"/>
                  </a:cubicBezTo>
                  <a:lnTo>
                    <a:pt x="19264" y="1024"/>
                  </a:lnTo>
                  <a:cubicBezTo>
                    <a:pt x="19485" y="804"/>
                    <a:pt x="19485" y="445"/>
                    <a:pt x="19264" y="224"/>
                  </a:cubicBezTo>
                  <a:cubicBezTo>
                    <a:pt x="19154" y="114"/>
                    <a:pt x="19009" y="59"/>
                    <a:pt x="18864" y="59"/>
                  </a:cubicBezTo>
                  <a:cubicBezTo>
                    <a:pt x="18719" y="59"/>
                    <a:pt x="18574" y="114"/>
                    <a:pt x="18464" y="224"/>
                  </a:cubicBezTo>
                  <a:lnTo>
                    <a:pt x="17244" y="1444"/>
                  </a:lnTo>
                  <a:cubicBezTo>
                    <a:pt x="16086" y="478"/>
                    <a:pt x="14671" y="1"/>
                    <a:pt x="13261"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435D74"/>
                </a:solidFill>
                <a:latin typeface="Arial"/>
                <a:cs typeface="Arial"/>
                <a:sym typeface="Arial"/>
              </a:endParaRPr>
            </a:p>
          </p:txBody>
        </p:sp>
      </p:grpSp>
      <p:grpSp>
        <p:nvGrpSpPr>
          <p:cNvPr id="9458" name="Google Shape;9458;p109"/>
          <p:cNvGrpSpPr/>
          <p:nvPr/>
        </p:nvGrpSpPr>
        <p:grpSpPr>
          <a:xfrm>
            <a:off x="8417768" y="3071269"/>
            <a:ext cx="446048" cy="410843"/>
            <a:chOff x="2680100" y="2638725"/>
            <a:chExt cx="475125" cy="437625"/>
          </a:xfrm>
        </p:grpSpPr>
        <p:sp>
          <p:nvSpPr>
            <p:cNvPr id="9459" name="Google Shape;9459;p109"/>
            <p:cNvSpPr/>
            <p:nvPr/>
          </p:nvSpPr>
          <p:spPr>
            <a:xfrm>
              <a:off x="2680100" y="2638725"/>
              <a:ext cx="475125" cy="437625"/>
            </a:xfrm>
            <a:custGeom>
              <a:avLst/>
              <a:gdLst/>
              <a:ahLst/>
              <a:cxnLst/>
              <a:rect l="l" t="t" r="r" b="b"/>
              <a:pathLst>
                <a:path w="19005" h="17505" extrusionOk="0">
                  <a:moveTo>
                    <a:pt x="11399" y="1133"/>
                  </a:moveTo>
                  <a:cubicBezTo>
                    <a:pt x="11803" y="1133"/>
                    <a:pt x="12130" y="1462"/>
                    <a:pt x="12133" y="1867"/>
                  </a:cubicBezTo>
                  <a:lnTo>
                    <a:pt x="12133" y="3301"/>
                  </a:lnTo>
                  <a:lnTo>
                    <a:pt x="6876" y="3301"/>
                  </a:lnTo>
                  <a:lnTo>
                    <a:pt x="6873" y="1867"/>
                  </a:lnTo>
                  <a:cubicBezTo>
                    <a:pt x="6876" y="1462"/>
                    <a:pt x="7202" y="1133"/>
                    <a:pt x="7606" y="1133"/>
                  </a:cubicBezTo>
                  <a:close/>
                  <a:moveTo>
                    <a:pt x="2815" y="4433"/>
                  </a:moveTo>
                  <a:lnTo>
                    <a:pt x="2815" y="5430"/>
                  </a:lnTo>
                  <a:cubicBezTo>
                    <a:pt x="2815" y="5880"/>
                    <a:pt x="2449" y="6245"/>
                    <a:pt x="1999" y="6245"/>
                  </a:cubicBezTo>
                  <a:lnTo>
                    <a:pt x="1133" y="6245"/>
                  </a:lnTo>
                  <a:lnTo>
                    <a:pt x="1133" y="4433"/>
                  </a:lnTo>
                  <a:close/>
                  <a:moveTo>
                    <a:pt x="17873" y="4433"/>
                  </a:moveTo>
                  <a:lnTo>
                    <a:pt x="17873" y="6248"/>
                  </a:lnTo>
                  <a:lnTo>
                    <a:pt x="17006" y="6248"/>
                  </a:lnTo>
                  <a:cubicBezTo>
                    <a:pt x="16556" y="6248"/>
                    <a:pt x="16191" y="5883"/>
                    <a:pt x="16191" y="5433"/>
                  </a:cubicBezTo>
                  <a:lnTo>
                    <a:pt x="16191" y="4433"/>
                  </a:lnTo>
                  <a:close/>
                  <a:moveTo>
                    <a:pt x="15058" y="4430"/>
                  </a:moveTo>
                  <a:lnTo>
                    <a:pt x="15058" y="5430"/>
                  </a:lnTo>
                  <a:cubicBezTo>
                    <a:pt x="15058" y="6505"/>
                    <a:pt x="15931" y="7377"/>
                    <a:pt x="17006" y="7377"/>
                  </a:cubicBezTo>
                  <a:lnTo>
                    <a:pt x="17873" y="7377"/>
                  </a:lnTo>
                  <a:lnTo>
                    <a:pt x="17873" y="13422"/>
                  </a:lnTo>
                  <a:lnTo>
                    <a:pt x="17006" y="13422"/>
                  </a:lnTo>
                  <a:cubicBezTo>
                    <a:pt x="15931" y="13425"/>
                    <a:pt x="15058" y="14295"/>
                    <a:pt x="15058" y="15373"/>
                  </a:cubicBezTo>
                  <a:lnTo>
                    <a:pt x="15058" y="16369"/>
                  </a:lnTo>
                  <a:lnTo>
                    <a:pt x="3947" y="16369"/>
                  </a:lnTo>
                  <a:lnTo>
                    <a:pt x="3947" y="15373"/>
                  </a:lnTo>
                  <a:cubicBezTo>
                    <a:pt x="3947" y="14295"/>
                    <a:pt x="3074" y="13425"/>
                    <a:pt x="1999" y="13422"/>
                  </a:cubicBezTo>
                  <a:lnTo>
                    <a:pt x="1133" y="13422"/>
                  </a:lnTo>
                  <a:lnTo>
                    <a:pt x="1133" y="7377"/>
                  </a:lnTo>
                  <a:lnTo>
                    <a:pt x="1999" y="7377"/>
                  </a:lnTo>
                  <a:cubicBezTo>
                    <a:pt x="3074" y="7377"/>
                    <a:pt x="3947" y="6505"/>
                    <a:pt x="3947" y="5430"/>
                  </a:cubicBezTo>
                  <a:lnTo>
                    <a:pt x="3947" y="4430"/>
                  </a:lnTo>
                  <a:close/>
                  <a:moveTo>
                    <a:pt x="1999" y="14557"/>
                  </a:moveTo>
                  <a:cubicBezTo>
                    <a:pt x="2449" y="14557"/>
                    <a:pt x="2815" y="14923"/>
                    <a:pt x="2815" y="15376"/>
                  </a:cubicBezTo>
                  <a:lnTo>
                    <a:pt x="2815" y="16372"/>
                  </a:lnTo>
                  <a:lnTo>
                    <a:pt x="1133" y="16372"/>
                  </a:lnTo>
                  <a:lnTo>
                    <a:pt x="1133" y="14557"/>
                  </a:lnTo>
                  <a:close/>
                  <a:moveTo>
                    <a:pt x="17873" y="14557"/>
                  </a:moveTo>
                  <a:lnTo>
                    <a:pt x="17873" y="16372"/>
                  </a:lnTo>
                  <a:lnTo>
                    <a:pt x="16191" y="16372"/>
                  </a:lnTo>
                  <a:lnTo>
                    <a:pt x="16191" y="15376"/>
                  </a:lnTo>
                  <a:cubicBezTo>
                    <a:pt x="16191" y="14923"/>
                    <a:pt x="16556" y="14557"/>
                    <a:pt x="17006" y="14557"/>
                  </a:cubicBezTo>
                  <a:close/>
                  <a:moveTo>
                    <a:pt x="7606" y="1"/>
                  </a:moveTo>
                  <a:cubicBezTo>
                    <a:pt x="6577" y="1"/>
                    <a:pt x="5743" y="837"/>
                    <a:pt x="5743" y="1867"/>
                  </a:cubicBezTo>
                  <a:lnTo>
                    <a:pt x="5743" y="3301"/>
                  </a:lnTo>
                  <a:lnTo>
                    <a:pt x="1133" y="3301"/>
                  </a:lnTo>
                  <a:cubicBezTo>
                    <a:pt x="508" y="3301"/>
                    <a:pt x="0" y="3808"/>
                    <a:pt x="0" y="4433"/>
                  </a:cubicBezTo>
                  <a:lnTo>
                    <a:pt x="0" y="16372"/>
                  </a:lnTo>
                  <a:cubicBezTo>
                    <a:pt x="0" y="16997"/>
                    <a:pt x="508" y="17504"/>
                    <a:pt x="1133" y="17504"/>
                  </a:cubicBezTo>
                  <a:lnTo>
                    <a:pt x="17873" y="17504"/>
                  </a:lnTo>
                  <a:cubicBezTo>
                    <a:pt x="18498" y="17504"/>
                    <a:pt x="19005" y="16997"/>
                    <a:pt x="19005" y="16372"/>
                  </a:cubicBezTo>
                  <a:lnTo>
                    <a:pt x="19005" y="4430"/>
                  </a:lnTo>
                  <a:cubicBezTo>
                    <a:pt x="19005" y="3805"/>
                    <a:pt x="18498" y="3298"/>
                    <a:pt x="17873" y="3298"/>
                  </a:cubicBezTo>
                  <a:lnTo>
                    <a:pt x="13265" y="3298"/>
                  </a:lnTo>
                  <a:lnTo>
                    <a:pt x="13265" y="1864"/>
                  </a:lnTo>
                  <a:cubicBezTo>
                    <a:pt x="13262" y="834"/>
                    <a:pt x="12428" y="1"/>
                    <a:pt x="11399"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435D74"/>
                </a:solidFill>
                <a:latin typeface="Arial"/>
                <a:cs typeface="Arial"/>
                <a:sym typeface="Arial"/>
              </a:endParaRPr>
            </a:p>
          </p:txBody>
        </p:sp>
        <p:sp>
          <p:nvSpPr>
            <p:cNvPr id="9460" name="Google Shape;9460;p109"/>
            <p:cNvSpPr/>
            <p:nvPr/>
          </p:nvSpPr>
          <p:spPr>
            <a:xfrm>
              <a:off x="2795000" y="2810525"/>
              <a:ext cx="237800" cy="164300"/>
            </a:xfrm>
            <a:custGeom>
              <a:avLst/>
              <a:gdLst/>
              <a:ahLst/>
              <a:cxnLst/>
              <a:rect l="l" t="t" r="r" b="b"/>
              <a:pathLst>
                <a:path w="9512" h="6572" extrusionOk="0">
                  <a:moveTo>
                    <a:pt x="8379" y="1133"/>
                  </a:moveTo>
                  <a:lnTo>
                    <a:pt x="8379" y="5439"/>
                  </a:lnTo>
                  <a:lnTo>
                    <a:pt x="1132" y="5439"/>
                  </a:lnTo>
                  <a:lnTo>
                    <a:pt x="1132" y="1133"/>
                  </a:lnTo>
                  <a:close/>
                  <a:moveTo>
                    <a:pt x="568" y="1"/>
                  </a:moveTo>
                  <a:cubicBezTo>
                    <a:pt x="254" y="1"/>
                    <a:pt x="0" y="255"/>
                    <a:pt x="0" y="566"/>
                  </a:cubicBezTo>
                  <a:lnTo>
                    <a:pt x="0" y="6007"/>
                  </a:lnTo>
                  <a:cubicBezTo>
                    <a:pt x="0" y="6318"/>
                    <a:pt x="254" y="6571"/>
                    <a:pt x="568" y="6571"/>
                  </a:cubicBezTo>
                  <a:lnTo>
                    <a:pt x="8947" y="6571"/>
                  </a:lnTo>
                  <a:cubicBezTo>
                    <a:pt x="9258" y="6571"/>
                    <a:pt x="9511" y="6318"/>
                    <a:pt x="9511" y="6007"/>
                  </a:cubicBezTo>
                  <a:lnTo>
                    <a:pt x="9511" y="566"/>
                  </a:lnTo>
                  <a:cubicBezTo>
                    <a:pt x="9511" y="255"/>
                    <a:pt x="9258" y="1"/>
                    <a:pt x="8947"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435D74"/>
                </a:solidFill>
                <a:latin typeface="Arial"/>
                <a:cs typeface="Arial"/>
                <a:sym typeface="Arial"/>
              </a:endParaRPr>
            </a:p>
          </p:txBody>
        </p:sp>
        <p:sp>
          <p:nvSpPr>
            <p:cNvPr id="9461" name="Google Shape;9461;p109"/>
            <p:cNvSpPr/>
            <p:nvPr/>
          </p:nvSpPr>
          <p:spPr>
            <a:xfrm>
              <a:off x="2871900" y="2856725"/>
              <a:ext cx="91525" cy="28350"/>
            </a:xfrm>
            <a:custGeom>
              <a:avLst/>
              <a:gdLst/>
              <a:ahLst/>
              <a:cxnLst/>
              <a:rect l="l" t="t" r="r" b="b"/>
              <a:pathLst>
                <a:path w="3661" h="1134" extrusionOk="0">
                  <a:moveTo>
                    <a:pt x="565" y="1"/>
                  </a:moveTo>
                  <a:cubicBezTo>
                    <a:pt x="254" y="1"/>
                    <a:pt x="1" y="254"/>
                    <a:pt x="1" y="565"/>
                  </a:cubicBezTo>
                  <a:cubicBezTo>
                    <a:pt x="1" y="879"/>
                    <a:pt x="254" y="1133"/>
                    <a:pt x="565" y="1133"/>
                  </a:cubicBezTo>
                  <a:lnTo>
                    <a:pt x="3096" y="1133"/>
                  </a:lnTo>
                  <a:cubicBezTo>
                    <a:pt x="3407" y="1133"/>
                    <a:pt x="3660" y="879"/>
                    <a:pt x="3660" y="565"/>
                  </a:cubicBezTo>
                  <a:cubicBezTo>
                    <a:pt x="3660" y="254"/>
                    <a:pt x="3407" y="1"/>
                    <a:pt x="3096"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435D74"/>
                </a:solidFill>
                <a:latin typeface="Arial"/>
                <a:cs typeface="Arial"/>
                <a:sym typeface="Arial"/>
              </a:endParaRPr>
            </a:p>
          </p:txBody>
        </p:sp>
        <p:sp>
          <p:nvSpPr>
            <p:cNvPr id="9462" name="Google Shape;9462;p109"/>
            <p:cNvSpPr/>
            <p:nvPr/>
          </p:nvSpPr>
          <p:spPr>
            <a:xfrm>
              <a:off x="2845500" y="2900300"/>
              <a:ext cx="144350" cy="28325"/>
            </a:xfrm>
            <a:custGeom>
              <a:avLst/>
              <a:gdLst/>
              <a:ahLst/>
              <a:cxnLst/>
              <a:rect l="l" t="t" r="r" b="b"/>
              <a:pathLst>
                <a:path w="5774" h="1133" extrusionOk="0">
                  <a:moveTo>
                    <a:pt x="565" y="0"/>
                  </a:moveTo>
                  <a:cubicBezTo>
                    <a:pt x="254" y="0"/>
                    <a:pt x="0" y="254"/>
                    <a:pt x="0" y="568"/>
                  </a:cubicBezTo>
                  <a:cubicBezTo>
                    <a:pt x="0" y="879"/>
                    <a:pt x="254" y="1132"/>
                    <a:pt x="565" y="1132"/>
                  </a:cubicBezTo>
                  <a:lnTo>
                    <a:pt x="5209" y="1132"/>
                  </a:lnTo>
                  <a:cubicBezTo>
                    <a:pt x="5520" y="1132"/>
                    <a:pt x="5773" y="879"/>
                    <a:pt x="5773" y="568"/>
                  </a:cubicBezTo>
                  <a:cubicBezTo>
                    <a:pt x="5773" y="254"/>
                    <a:pt x="5520" y="0"/>
                    <a:pt x="5209"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435D74"/>
                </a:solidFill>
                <a:latin typeface="Arial"/>
                <a:cs typeface="Arial"/>
                <a:sym typeface="Arial"/>
              </a:endParaRPr>
            </a:p>
          </p:txBody>
        </p:sp>
      </p:grpSp>
      <p:grpSp>
        <p:nvGrpSpPr>
          <p:cNvPr id="9463" name="Google Shape;9463;p109"/>
          <p:cNvGrpSpPr/>
          <p:nvPr/>
        </p:nvGrpSpPr>
        <p:grpSpPr>
          <a:xfrm>
            <a:off x="9038621" y="3049900"/>
            <a:ext cx="318911" cy="453581"/>
            <a:chOff x="3342275" y="2615925"/>
            <a:chExt cx="339700" cy="483150"/>
          </a:xfrm>
        </p:grpSpPr>
        <p:sp>
          <p:nvSpPr>
            <p:cNvPr id="9464" name="Google Shape;9464;p109"/>
            <p:cNvSpPr/>
            <p:nvPr/>
          </p:nvSpPr>
          <p:spPr>
            <a:xfrm>
              <a:off x="3342275" y="2615925"/>
              <a:ext cx="339700" cy="483150"/>
            </a:xfrm>
            <a:custGeom>
              <a:avLst/>
              <a:gdLst/>
              <a:ahLst/>
              <a:cxnLst/>
              <a:rect l="l" t="t" r="r" b="b"/>
              <a:pathLst>
                <a:path w="13588" h="19326" extrusionOk="0">
                  <a:moveTo>
                    <a:pt x="11891" y="1133"/>
                  </a:moveTo>
                  <a:cubicBezTo>
                    <a:pt x="12202" y="1133"/>
                    <a:pt x="12455" y="1387"/>
                    <a:pt x="12455" y="1701"/>
                  </a:cubicBezTo>
                  <a:lnTo>
                    <a:pt x="12455" y="2265"/>
                  </a:lnTo>
                  <a:lnTo>
                    <a:pt x="1132" y="2265"/>
                  </a:lnTo>
                  <a:lnTo>
                    <a:pt x="1132" y="1701"/>
                  </a:lnTo>
                  <a:cubicBezTo>
                    <a:pt x="1132" y="1387"/>
                    <a:pt x="1386" y="1133"/>
                    <a:pt x="1700" y="1133"/>
                  </a:cubicBezTo>
                  <a:close/>
                  <a:moveTo>
                    <a:pt x="12455" y="3398"/>
                  </a:moveTo>
                  <a:lnTo>
                    <a:pt x="12455" y="14796"/>
                  </a:lnTo>
                  <a:lnTo>
                    <a:pt x="1132" y="14796"/>
                  </a:lnTo>
                  <a:lnTo>
                    <a:pt x="1132" y="3398"/>
                  </a:lnTo>
                  <a:close/>
                  <a:moveTo>
                    <a:pt x="12455" y="15928"/>
                  </a:moveTo>
                  <a:lnTo>
                    <a:pt x="12455" y="17628"/>
                  </a:lnTo>
                  <a:cubicBezTo>
                    <a:pt x="12455" y="17939"/>
                    <a:pt x="12202" y="18193"/>
                    <a:pt x="11891" y="18193"/>
                  </a:cubicBezTo>
                  <a:lnTo>
                    <a:pt x="1700" y="18193"/>
                  </a:lnTo>
                  <a:cubicBezTo>
                    <a:pt x="1386" y="18193"/>
                    <a:pt x="1132" y="17939"/>
                    <a:pt x="1132" y="17628"/>
                  </a:cubicBezTo>
                  <a:lnTo>
                    <a:pt x="1132" y="15928"/>
                  </a:lnTo>
                  <a:close/>
                  <a:moveTo>
                    <a:pt x="1700" y="1"/>
                  </a:moveTo>
                  <a:cubicBezTo>
                    <a:pt x="761" y="1"/>
                    <a:pt x="0" y="762"/>
                    <a:pt x="0" y="1701"/>
                  </a:cubicBezTo>
                  <a:lnTo>
                    <a:pt x="0" y="17628"/>
                  </a:lnTo>
                  <a:cubicBezTo>
                    <a:pt x="0" y="18564"/>
                    <a:pt x="761" y="19325"/>
                    <a:pt x="1700" y="19325"/>
                  </a:cubicBezTo>
                  <a:lnTo>
                    <a:pt x="11891" y="19325"/>
                  </a:lnTo>
                  <a:cubicBezTo>
                    <a:pt x="12827" y="19325"/>
                    <a:pt x="13588" y="18564"/>
                    <a:pt x="13588" y="17628"/>
                  </a:cubicBezTo>
                  <a:lnTo>
                    <a:pt x="13588" y="1701"/>
                  </a:lnTo>
                  <a:cubicBezTo>
                    <a:pt x="13588" y="762"/>
                    <a:pt x="12827" y="1"/>
                    <a:pt x="11891"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435D74"/>
                </a:solidFill>
                <a:latin typeface="Arial"/>
                <a:cs typeface="Arial"/>
                <a:sym typeface="Arial"/>
              </a:endParaRPr>
            </a:p>
          </p:txBody>
        </p:sp>
        <p:sp>
          <p:nvSpPr>
            <p:cNvPr id="9465" name="Google Shape;9465;p109"/>
            <p:cNvSpPr/>
            <p:nvPr/>
          </p:nvSpPr>
          <p:spPr>
            <a:xfrm>
              <a:off x="3461600" y="3030200"/>
              <a:ext cx="101025" cy="28325"/>
            </a:xfrm>
            <a:custGeom>
              <a:avLst/>
              <a:gdLst/>
              <a:ahLst/>
              <a:cxnLst/>
              <a:rect l="l" t="t" r="r" b="b"/>
              <a:pathLst>
                <a:path w="4041" h="1133" extrusionOk="0">
                  <a:moveTo>
                    <a:pt x="568" y="1"/>
                  </a:moveTo>
                  <a:cubicBezTo>
                    <a:pt x="254" y="1"/>
                    <a:pt x="1" y="251"/>
                    <a:pt x="1" y="565"/>
                  </a:cubicBezTo>
                  <a:cubicBezTo>
                    <a:pt x="1" y="879"/>
                    <a:pt x="254" y="1133"/>
                    <a:pt x="568" y="1133"/>
                  </a:cubicBezTo>
                  <a:lnTo>
                    <a:pt x="3473" y="1133"/>
                  </a:lnTo>
                  <a:cubicBezTo>
                    <a:pt x="3787" y="1133"/>
                    <a:pt x="4041" y="879"/>
                    <a:pt x="4041" y="565"/>
                  </a:cubicBezTo>
                  <a:cubicBezTo>
                    <a:pt x="4041" y="251"/>
                    <a:pt x="3787" y="1"/>
                    <a:pt x="3473"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435D74"/>
                </a:solidFill>
                <a:latin typeface="Arial"/>
                <a:cs typeface="Arial"/>
                <a:sym typeface="Arial"/>
              </a:endParaRPr>
            </a:p>
          </p:txBody>
        </p:sp>
      </p:grpSp>
      <p:sp>
        <p:nvSpPr>
          <p:cNvPr id="9466" name="Google Shape;9466;p109"/>
          <p:cNvSpPr/>
          <p:nvPr/>
        </p:nvSpPr>
        <p:spPr>
          <a:xfrm>
            <a:off x="9562950" y="3049467"/>
            <a:ext cx="372069" cy="453581"/>
          </a:xfrm>
          <a:custGeom>
            <a:avLst/>
            <a:gdLst/>
            <a:ahLst/>
            <a:cxnLst/>
            <a:rect l="l" t="t" r="r" b="b"/>
            <a:pathLst>
              <a:path w="15853" h="19326" extrusionOk="0">
                <a:moveTo>
                  <a:pt x="9627" y="1133"/>
                </a:moveTo>
                <a:cubicBezTo>
                  <a:pt x="9938" y="1133"/>
                  <a:pt x="10191" y="1387"/>
                  <a:pt x="10191" y="1701"/>
                </a:cubicBezTo>
                <a:lnTo>
                  <a:pt x="10191" y="2265"/>
                </a:lnTo>
                <a:lnTo>
                  <a:pt x="1133" y="2265"/>
                </a:lnTo>
                <a:lnTo>
                  <a:pt x="1133" y="1701"/>
                </a:lnTo>
                <a:cubicBezTo>
                  <a:pt x="1133" y="1387"/>
                  <a:pt x="1387" y="1133"/>
                  <a:pt x="1701" y="1133"/>
                </a:cubicBezTo>
                <a:close/>
                <a:moveTo>
                  <a:pt x="10191" y="3398"/>
                </a:moveTo>
                <a:lnTo>
                  <a:pt x="10191" y="8063"/>
                </a:lnTo>
                <a:cubicBezTo>
                  <a:pt x="10009" y="7998"/>
                  <a:pt x="9817" y="7965"/>
                  <a:pt x="9625" y="7965"/>
                </a:cubicBezTo>
                <a:cubicBezTo>
                  <a:pt x="9434" y="7965"/>
                  <a:pt x="9242" y="7998"/>
                  <a:pt x="9059" y="8063"/>
                </a:cubicBezTo>
                <a:lnTo>
                  <a:pt x="9059" y="6230"/>
                </a:lnTo>
                <a:cubicBezTo>
                  <a:pt x="9059" y="5291"/>
                  <a:pt x="8298" y="4530"/>
                  <a:pt x="7362" y="4530"/>
                </a:cubicBezTo>
                <a:cubicBezTo>
                  <a:pt x="6423" y="4530"/>
                  <a:pt x="5662" y="5291"/>
                  <a:pt x="5662" y="6230"/>
                </a:cubicBezTo>
                <a:lnTo>
                  <a:pt x="5662" y="10285"/>
                </a:lnTo>
                <a:cubicBezTo>
                  <a:pt x="4346" y="10557"/>
                  <a:pt x="3401" y="11716"/>
                  <a:pt x="3398" y="13060"/>
                </a:cubicBezTo>
                <a:lnTo>
                  <a:pt x="3398" y="14231"/>
                </a:lnTo>
                <a:cubicBezTo>
                  <a:pt x="3398" y="14419"/>
                  <a:pt x="3404" y="14609"/>
                  <a:pt x="3413" y="14796"/>
                </a:cubicBezTo>
                <a:lnTo>
                  <a:pt x="1133" y="14796"/>
                </a:lnTo>
                <a:lnTo>
                  <a:pt x="1133" y="3398"/>
                </a:lnTo>
                <a:close/>
                <a:moveTo>
                  <a:pt x="3543" y="15928"/>
                </a:moveTo>
                <a:cubicBezTo>
                  <a:pt x="3606" y="16312"/>
                  <a:pt x="3694" y="16689"/>
                  <a:pt x="3802" y="17061"/>
                </a:cubicBezTo>
                <a:lnTo>
                  <a:pt x="1701" y="17061"/>
                </a:lnTo>
                <a:cubicBezTo>
                  <a:pt x="1387" y="17061"/>
                  <a:pt x="1133" y="16807"/>
                  <a:pt x="1133" y="16496"/>
                </a:cubicBezTo>
                <a:lnTo>
                  <a:pt x="1133" y="15928"/>
                </a:lnTo>
                <a:close/>
                <a:moveTo>
                  <a:pt x="7362" y="5662"/>
                </a:moveTo>
                <a:cubicBezTo>
                  <a:pt x="7673" y="5662"/>
                  <a:pt x="7927" y="5916"/>
                  <a:pt x="7927" y="6230"/>
                </a:cubicBezTo>
                <a:lnTo>
                  <a:pt x="7927" y="11928"/>
                </a:lnTo>
                <a:cubicBezTo>
                  <a:pt x="7927" y="12242"/>
                  <a:pt x="8181" y="12492"/>
                  <a:pt x="8495" y="12492"/>
                </a:cubicBezTo>
                <a:cubicBezTo>
                  <a:pt x="8806" y="12492"/>
                  <a:pt x="9059" y="12242"/>
                  <a:pt x="9059" y="11928"/>
                </a:cubicBezTo>
                <a:lnTo>
                  <a:pt x="9059" y="9663"/>
                </a:lnTo>
                <a:cubicBezTo>
                  <a:pt x="9059" y="9349"/>
                  <a:pt x="9313" y="9098"/>
                  <a:pt x="9627" y="9098"/>
                </a:cubicBezTo>
                <a:cubicBezTo>
                  <a:pt x="9938" y="9098"/>
                  <a:pt x="10191" y="9349"/>
                  <a:pt x="10191" y="9663"/>
                </a:cubicBezTo>
                <a:lnTo>
                  <a:pt x="10191" y="11928"/>
                </a:lnTo>
                <a:cubicBezTo>
                  <a:pt x="10191" y="12242"/>
                  <a:pt x="10445" y="12492"/>
                  <a:pt x="10759" y="12492"/>
                </a:cubicBezTo>
                <a:cubicBezTo>
                  <a:pt x="11070" y="12492"/>
                  <a:pt x="11324" y="12242"/>
                  <a:pt x="11324" y="11928"/>
                </a:cubicBezTo>
                <a:lnTo>
                  <a:pt x="11324" y="10795"/>
                </a:lnTo>
                <a:cubicBezTo>
                  <a:pt x="11324" y="10481"/>
                  <a:pt x="11577" y="10231"/>
                  <a:pt x="11891" y="10231"/>
                </a:cubicBezTo>
                <a:cubicBezTo>
                  <a:pt x="12202" y="10231"/>
                  <a:pt x="12456" y="10481"/>
                  <a:pt x="12456" y="10795"/>
                </a:cubicBezTo>
                <a:lnTo>
                  <a:pt x="12456" y="13060"/>
                </a:lnTo>
                <a:cubicBezTo>
                  <a:pt x="12456" y="13374"/>
                  <a:pt x="12710" y="13625"/>
                  <a:pt x="13024" y="13625"/>
                </a:cubicBezTo>
                <a:cubicBezTo>
                  <a:pt x="13335" y="13625"/>
                  <a:pt x="13588" y="13374"/>
                  <a:pt x="13588" y="13060"/>
                </a:cubicBezTo>
                <a:lnTo>
                  <a:pt x="13588" y="11928"/>
                </a:lnTo>
                <a:cubicBezTo>
                  <a:pt x="13588" y="11614"/>
                  <a:pt x="13842" y="11363"/>
                  <a:pt x="14156" y="11363"/>
                </a:cubicBezTo>
                <a:cubicBezTo>
                  <a:pt x="14467" y="11363"/>
                  <a:pt x="14721" y="11614"/>
                  <a:pt x="14721" y="11928"/>
                </a:cubicBezTo>
                <a:lnTo>
                  <a:pt x="14721" y="14231"/>
                </a:lnTo>
                <a:cubicBezTo>
                  <a:pt x="14718" y="15602"/>
                  <a:pt x="14407" y="16958"/>
                  <a:pt x="13806" y="18193"/>
                </a:cubicBezTo>
                <a:lnTo>
                  <a:pt x="5448" y="18193"/>
                </a:lnTo>
                <a:cubicBezTo>
                  <a:pt x="4844" y="16958"/>
                  <a:pt x="4533" y="15602"/>
                  <a:pt x="4530" y="14231"/>
                </a:cubicBezTo>
                <a:lnTo>
                  <a:pt x="4530" y="13060"/>
                </a:lnTo>
                <a:cubicBezTo>
                  <a:pt x="4530" y="12341"/>
                  <a:pt x="4983" y="11698"/>
                  <a:pt x="5662" y="11460"/>
                </a:cubicBezTo>
                <a:lnTo>
                  <a:pt x="5662" y="14231"/>
                </a:lnTo>
                <a:cubicBezTo>
                  <a:pt x="5662" y="14542"/>
                  <a:pt x="5916" y="14796"/>
                  <a:pt x="6230" y="14796"/>
                </a:cubicBezTo>
                <a:cubicBezTo>
                  <a:pt x="6541" y="14796"/>
                  <a:pt x="6795" y="14542"/>
                  <a:pt x="6795" y="14231"/>
                </a:cubicBezTo>
                <a:lnTo>
                  <a:pt x="6795" y="6230"/>
                </a:lnTo>
                <a:cubicBezTo>
                  <a:pt x="6795" y="5916"/>
                  <a:pt x="7048" y="5662"/>
                  <a:pt x="7362" y="5662"/>
                </a:cubicBezTo>
                <a:close/>
                <a:moveTo>
                  <a:pt x="1701" y="1"/>
                </a:moveTo>
                <a:cubicBezTo>
                  <a:pt x="762" y="1"/>
                  <a:pt x="1" y="762"/>
                  <a:pt x="1" y="1701"/>
                </a:cubicBezTo>
                <a:lnTo>
                  <a:pt x="1" y="16496"/>
                </a:lnTo>
                <a:cubicBezTo>
                  <a:pt x="1" y="17432"/>
                  <a:pt x="762" y="18193"/>
                  <a:pt x="1701" y="18193"/>
                </a:cubicBezTo>
                <a:lnTo>
                  <a:pt x="4204" y="18193"/>
                </a:lnTo>
                <a:cubicBezTo>
                  <a:pt x="4285" y="18389"/>
                  <a:pt x="4376" y="18582"/>
                  <a:pt x="4470" y="18773"/>
                </a:cubicBezTo>
                <a:lnTo>
                  <a:pt x="4590" y="19011"/>
                </a:lnTo>
                <a:cubicBezTo>
                  <a:pt x="4687" y="19204"/>
                  <a:pt x="4880" y="19325"/>
                  <a:pt x="5098" y="19325"/>
                </a:cubicBezTo>
                <a:lnTo>
                  <a:pt x="14156" y="19325"/>
                </a:lnTo>
                <a:cubicBezTo>
                  <a:pt x="14370" y="19325"/>
                  <a:pt x="14564" y="19204"/>
                  <a:pt x="14660" y="19011"/>
                </a:cubicBezTo>
                <a:lnTo>
                  <a:pt x="14781" y="18773"/>
                </a:lnTo>
                <a:cubicBezTo>
                  <a:pt x="15485" y="17363"/>
                  <a:pt x="15850" y="15808"/>
                  <a:pt x="15853" y="14231"/>
                </a:cubicBezTo>
                <a:lnTo>
                  <a:pt x="15853" y="11928"/>
                </a:lnTo>
                <a:cubicBezTo>
                  <a:pt x="15853" y="10953"/>
                  <a:pt x="15054" y="10228"/>
                  <a:pt x="14155" y="10228"/>
                </a:cubicBezTo>
                <a:cubicBezTo>
                  <a:pt x="13949" y="10228"/>
                  <a:pt x="13737" y="10266"/>
                  <a:pt x="13528" y="10348"/>
                </a:cubicBezTo>
                <a:cubicBezTo>
                  <a:pt x="13326" y="9609"/>
                  <a:pt x="12655" y="9098"/>
                  <a:pt x="11891" y="9098"/>
                </a:cubicBezTo>
                <a:cubicBezTo>
                  <a:pt x="11883" y="9098"/>
                  <a:pt x="11875" y="9098"/>
                  <a:pt x="11867" y="9098"/>
                </a:cubicBezTo>
                <a:cubicBezTo>
                  <a:pt x="11682" y="9098"/>
                  <a:pt x="11497" y="9131"/>
                  <a:pt x="11324" y="9195"/>
                </a:cubicBezTo>
                <a:lnTo>
                  <a:pt x="11324" y="1701"/>
                </a:lnTo>
                <a:cubicBezTo>
                  <a:pt x="11324" y="762"/>
                  <a:pt x="10563" y="1"/>
                  <a:pt x="9627"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435D74"/>
              </a:solidFill>
              <a:latin typeface="Arial"/>
              <a:cs typeface="Arial"/>
              <a:sym typeface="Arial"/>
            </a:endParaRPr>
          </a:p>
        </p:txBody>
      </p:sp>
      <p:sp>
        <p:nvSpPr>
          <p:cNvPr id="9467" name="Google Shape;9467;p109"/>
          <p:cNvSpPr/>
          <p:nvPr/>
        </p:nvSpPr>
        <p:spPr>
          <a:xfrm>
            <a:off x="10086995" y="3063640"/>
            <a:ext cx="453581" cy="425229"/>
          </a:xfrm>
          <a:custGeom>
            <a:avLst/>
            <a:gdLst/>
            <a:ahLst/>
            <a:cxnLst/>
            <a:rect l="l" t="t" r="r" b="b"/>
            <a:pathLst>
              <a:path w="19326" h="18118" extrusionOk="0">
                <a:moveTo>
                  <a:pt x="17628" y="6794"/>
                </a:moveTo>
                <a:cubicBezTo>
                  <a:pt x="17939" y="6794"/>
                  <a:pt x="18193" y="7048"/>
                  <a:pt x="18193" y="7362"/>
                </a:cubicBezTo>
                <a:lnTo>
                  <a:pt x="18193" y="7927"/>
                </a:lnTo>
                <a:lnTo>
                  <a:pt x="12532" y="7927"/>
                </a:lnTo>
                <a:lnTo>
                  <a:pt x="12532" y="7362"/>
                </a:lnTo>
                <a:cubicBezTo>
                  <a:pt x="12532" y="7048"/>
                  <a:pt x="12785" y="6794"/>
                  <a:pt x="13099" y="6794"/>
                </a:cubicBezTo>
                <a:close/>
                <a:moveTo>
                  <a:pt x="17628" y="1133"/>
                </a:moveTo>
                <a:cubicBezTo>
                  <a:pt x="17939" y="1133"/>
                  <a:pt x="18193" y="1387"/>
                  <a:pt x="18193" y="1701"/>
                </a:cubicBezTo>
                <a:lnTo>
                  <a:pt x="18193" y="5759"/>
                </a:lnTo>
                <a:cubicBezTo>
                  <a:pt x="18012" y="5695"/>
                  <a:pt x="17819" y="5662"/>
                  <a:pt x="17628" y="5662"/>
                </a:cubicBezTo>
                <a:lnTo>
                  <a:pt x="13099" y="5662"/>
                </a:lnTo>
                <a:cubicBezTo>
                  <a:pt x="12160" y="5662"/>
                  <a:pt x="11399" y="6423"/>
                  <a:pt x="11399" y="7362"/>
                </a:cubicBezTo>
                <a:lnTo>
                  <a:pt x="11399" y="11324"/>
                </a:lnTo>
                <a:lnTo>
                  <a:pt x="1133" y="11324"/>
                </a:lnTo>
                <a:lnTo>
                  <a:pt x="1133" y="1701"/>
                </a:lnTo>
                <a:cubicBezTo>
                  <a:pt x="1133" y="1387"/>
                  <a:pt x="1387" y="1133"/>
                  <a:pt x="1701" y="1133"/>
                </a:cubicBezTo>
                <a:close/>
                <a:moveTo>
                  <a:pt x="11399" y="12456"/>
                </a:moveTo>
                <a:lnTo>
                  <a:pt x="11399" y="13588"/>
                </a:lnTo>
                <a:lnTo>
                  <a:pt x="1701" y="13588"/>
                </a:lnTo>
                <a:cubicBezTo>
                  <a:pt x="1387" y="13588"/>
                  <a:pt x="1133" y="13335"/>
                  <a:pt x="1133" y="13024"/>
                </a:cubicBezTo>
                <a:lnTo>
                  <a:pt x="1133" y="12456"/>
                </a:lnTo>
                <a:close/>
                <a:moveTo>
                  <a:pt x="18193" y="9059"/>
                </a:moveTo>
                <a:lnTo>
                  <a:pt x="18193" y="14720"/>
                </a:lnTo>
                <a:lnTo>
                  <a:pt x="12532" y="14720"/>
                </a:lnTo>
                <a:lnTo>
                  <a:pt x="12532" y="9059"/>
                </a:lnTo>
                <a:close/>
                <a:moveTo>
                  <a:pt x="11399" y="14720"/>
                </a:moveTo>
                <a:lnTo>
                  <a:pt x="11399" y="16420"/>
                </a:lnTo>
                <a:cubicBezTo>
                  <a:pt x="11399" y="16611"/>
                  <a:pt x="11432" y="16804"/>
                  <a:pt x="11496" y="16985"/>
                </a:cubicBezTo>
                <a:lnTo>
                  <a:pt x="7051" y="16985"/>
                </a:lnTo>
                <a:lnTo>
                  <a:pt x="7806" y="14720"/>
                </a:lnTo>
                <a:close/>
                <a:moveTo>
                  <a:pt x="18193" y="15853"/>
                </a:moveTo>
                <a:lnTo>
                  <a:pt x="18193" y="16420"/>
                </a:lnTo>
                <a:cubicBezTo>
                  <a:pt x="18193" y="16731"/>
                  <a:pt x="17939" y="16985"/>
                  <a:pt x="17628" y="16985"/>
                </a:cubicBezTo>
                <a:lnTo>
                  <a:pt x="13099" y="16985"/>
                </a:lnTo>
                <a:cubicBezTo>
                  <a:pt x="12785" y="16985"/>
                  <a:pt x="12532" y="16731"/>
                  <a:pt x="12532" y="16420"/>
                </a:cubicBezTo>
                <a:lnTo>
                  <a:pt x="12532" y="15853"/>
                </a:lnTo>
                <a:close/>
                <a:moveTo>
                  <a:pt x="1701" y="1"/>
                </a:moveTo>
                <a:cubicBezTo>
                  <a:pt x="762" y="1"/>
                  <a:pt x="1" y="762"/>
                  <a:pt x="1" y="1701"/>
                </a:cubicBezTo>
                <a:lnTo>
                  <a:pt x="1" y="13024"/>
                </a:lnTo>
                <a:cubicBezTo>
                  <a:pt x="1" y="13960"/>
                  <a:pt x="762" y="14720"/>
                  <a:pt x="1701" y="14720"/>
                </a:cubicBezTo>
                <a:lnTo>
                  <a:pt x="6613" y="14720"/>
                </a:lnTo>
                <a:lnTo>
                  <a:pt x="5859" y="16985"/>
                </a:lnTo>
                <a:lnTo>
                  <a:pt x="4002" y="16985"/>
                </a:lnTo>
                <a:cubicBezTo>
                  <a:pt x="3688" y="16985"/>
                  <a:pt x="3437" y="17239"/>
                  <a:pt x="3437" y="17553"/>
                </a:cubicBezTo>
                <a:cubicBezTo>
                  <a:pt x="3437" y="17864"/>
                  <a:pt x="3688" y="18117"/>
                  <a:pt x="4002" y="18117"/>
                </a:cubicBezTo>
                <a:lnTo>
                  <a:pt x="17628" y="18117"/>
                </a:lnTo>
                <a:cubicBezTo>
                  <a:pt x="18564" y="18117"/>
                  <a:pt x="19325" y="17356"/>
                  <a:pt x="19325" y="16420"/>
                </a:cubicBezTo>
                <a:lnTo>
                  <a:pt x="19325" y="1701"/>
                </a:lnTo>
                <a:cubicBezTo>
                  <a:pt x="19325" y="762"/>
                  <a:pt x="18564" y="1"/>
                  <a:pt x="17628"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435D74"/>
              </a:solidFill>
              <a:latin typeface="Arial"/>
              <a:cs typeface="Arial"/>
              <a:sym typeface="Arial"/>
            </a:endParaRPr>
          </a:p>
        </p:txBody>
      </p:sp>
      <p:sp>
        <p:nvSpPr>
          <p:cNvPr id="9468" name="Google Shape;9468;p109"/>
          <p:cNvSpPr/>
          <p:nvPr/>
        </p:nvSpPr>
        <p:spPr>
          <a:xfrm>
            <a:off x="10653468" y="3063640"/>
            <a:ext cx="453581" cy="425229"/>
          </a:xfrm>
          <a:custGeom>
            <a:avLst/>
            <a:gdLst/>
            <a:ahLst/>
            <a:cxnLst/>
            <a:rect l="l" t="t" r="r" b="b"/>
            <a:pathLst>
              <a:path w="19326" h="18118" extrusionOk="0">
                <a:moveTo>
                  <a:pt x="17628" y="1133"/>
                </a:moveTo>
                <a:cubicBezTo>
                  <a:pt x="17939" y="1133"/>
                  <a:pt x="18193" y="1387"/>
                  <a:pt x="18193" y="1701"/>
                </a:cubicBezTo>
                <a:lnTo>
                  <a:pt x="18193" y="11324"/>
                </a:lnTo>
                <a:lnTo>
                  <a:pt x="1133" y="11324"/>
                </a:lnTo>
                <a:lnTo>
                  <a:pt x="1133" y="1701"/>
                </a:lnTo>
                <a:cubicBezTo>
                  <a:pt x="1133" y="1387"/>
                  <a:pt x="1387" y="1133"/>
                  <a:pt x="1701" y="1133"/>
                </a:cubicBezTo>
                <a:close/>
                <a:moveTo>
                  <a:pt x="18193" y="12456"/>
                </a:moveTo>
                <a:lnTo>
                  <a:pt x="18193" y="13024"/>
                </a:lnTo>
                <a:cubicBezTo>
                  <a:pt x="18193" y="13335"/>
                  <a:pt x="17939" y="13588"/>
                  <a:pt x="17628" y="13588"/>
                </a:cubicBezTo>
                <a:lnTo>
                  <a:pt x="1701" y="13588"/>
                </a:lnTo>
                <a:cubicBezTo>
                  <a:pt x="1387" y="13588"/>
                  <a:pt x="1133" y="13335"/>
                  <a:pt x="1133" y="13024"/>
                </a:cubicBezTo>
                <a:lnTo>
                  <a:pt x="1133" y="12456"/>
                </a:lnTo>
                <a:close/>
                <a:moveTo>
                  <a:pt x="11520" y="14720"/>
                </a:moveTo>
                <a:lnTo>
                  <a:pt x="12275" y="16985"/>
                </a:lnTo>
                <a:lnTo>
                  <a:pt x="7051" y="16985"/>
                </a:lnTo>
                <a:lnTo>
                  <a:pt x="7806" y="14720"/>
                </a:lnTo>
                <a:close/>
                <a:moveTo>
                  <a:pt x="1701" y="1"/>
                </a:moveTo>
                <a:cubicBezTo>
                  <a:pt x="762" y="1"/>
                  <a:pt x="1" y="762"/>
                  <a:pt x="1" y="1701"/>
                </a:cubicBezTo>
                <a:lnTo>
                  <a:pt x="1" y="13024"/>
                </a:lnTo>
                <a:cubicBezTo>
                  <a:pt x="1" y="13960"/>
                  <a:pt x="762" y="14720"/>
                  <a:pt x="1701" y="14720"/>
                </a:cubicBezTo>
                <a:lnTo>
                  <a:pt x="6614" y="14720"/>
                </a:lnTo>
                <a:lnTo>
                  <a:pt x="5859" y="16985"/>
                </a:lnTo>
                <a:lnTo>
                  <a:pt x="4002" y="16985"/>
                </a:lnTo>
                <a:cubicBezTo>
                  <a:pt x="3688" y="16985"/>
                  <a:pt x="3437" y="17239"/>
                  <a:pt x="3437" y="17553"/>
                </a:cubicBezTo>
                <a:cubicBezTo>
                  <a:pt x="3437" y="17864"/>
                  <a:pt x="3688" y="18117"/>
                  <a:pt x="4002" y="18117"/>
                </a:cubicBezTo>
                <a:lnTo>
                  <a:pt x="15325" y="18117"/>
                </a:lnTo>
                <a:cubicBezTo>
                  <a:pt x="15639" y="18117"/>
                  <a:pt x="15889" y="17864"/>
                  <a:pt x="15889" y="17553"/>
                </a:cubicBezTo>
                <a:cubicBezTo>
                  <a:pt x="15889" y="17239"/>
                  <a:pt x="15639" y="16985"/>
                  <a:pt x="15325" y="16985"/>
                </a:cubicBezTo>
                <a:lnTo>
                  <a:pt x="13468" y="16985"/>
                </a:lnTo>
                <a:lnTo>
                  <a:pt x="12713" y="14720"/>
                </a:lnTo>
                <a:lnTo>
                  <a:pt x="17628" y="14720"/>
                </a:lnTo>
                <a:cubicBezTo>
                  <a:pt x="18565" y="14720"/>
                  <a:pt x="19325" y="13960"/>
                  <a:pt x="19325" y="13024"/>
                </a:cubicBezTo>
                <a:lnTo>
                  <a:pt x="19325" y="1701"/>
                </a:lnTo>
                <a:cubicBezTo>
                  <a:pt x="19325" y="762"/>
                  <a:pt x="18565" y="1"/>
                  <a:pt x="17628"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435D74"/>
              </a:solidFill>
              <a:latin typeface="Arial"/>
              <a:cs typeface="Arial"/>
              <a:sym typeface="Arial"/>
            </a:endParaRPr>
          </a:p>
        </p:txBody>
      </p:sp>
      <p:grpSp>
        <p:nvGrpSpPr>
          <p:cNvPr id="9469" name="Google Shape;9469;p109"/>
          <p:cNvGrpSpPr/>
          <p:nvPr/>
        </p:nvGrpSpPr>
        <p:grpSpPr>
          <a:xfrm>
            <a:off x="8554461" y="5275236"/>
            <a:ext cx="452643" cy="452361"/>
            <a:chOff x="5648900" y="2616600"/>
            <a:chExt cx="482150" cy="481850"/>
          </a:xfrm>
        </p:grpSpPr>
        <p:sp>
          <p:nvSpPr>
            <p:cNvPr id="9470" name="Google Shape;9470;p109"/>
            <p:cNvSpPr/>
            <p:nvPr/>
          </p:nvSpPr>
          <p:spPr>
            <a:xfrm>
              <a:off x="5811500" y="2777025"/>
              <a:ext cx="156875" cy="148275"/>
            </a:xfrm>
            <a:custGeom>
              <a:avLst/>
              <a:gdLst/>
              <a:ahLst/>
              <a:cxnLst/>
              <a:rect l="l" t="t" r="r" b="b"/>
              <a:pathLst>
                <a:path w="6275" h="5931" extrusionOk="0">
                  <a:moveTo>
                    <a:pt x="3137" y="1265"/>
                  </a:moveTo>
                  <a:lnTo>
                    <a:pt x="4994" y="2615"/>
                  </a:lnTo>
                  <a:lnTo>
                    <a:pt x="4285" y="4798"/>
                  </a:lnTo>
                  <a:lnTo>
                    <a:pt x="1990" y="4798"/>
                  </a:lnTo>
                  <a:lnTo>
                    <a:pt x="1280" y="2615"/>
                  </a:lnTo>
                  <a:lnTo>
                    <a:pt x="3137" y="1265"/>
                  </a:lnTo>
                  <a:close/>
                  <a:moveTo>
                    <a:pt x="3137" y="0"/>
                  </a:moveTo>
                  <a:cubicBezTo>
                    <a:pt x="3020" y="0"/>
                    <a:pt x="2903" y="37"/>
                    <a:pt x="2805" y="109"/>
                  </a:cubicBezTo>
                  <a:lnTo>
                    <a:pt x="281" y="1942"/>
                  </a:lnTo>
                  <a:cubicBezTo>
                    <a:pt x="85" y="2087"/>
                    <a:pt x="0" y="2340"/>
                    <a:pt x="76" y="2573"/>
                  </a:cubicBezTo>
                  <a:lnTo>
                    <a:pt x="1039" y="5541"/>
                  </a:lnTo>
                  <a:cubicBezTo>
                    <a:pt x="1117" y="5773"/>
                    <a:pt x="1335" y="5930"/>
                    <a:pt x="1579" y="5930"/>
                  </a:cubicBezTo>
                  <a:lnTo>
                    <a:pt x="4695" y="5930"/>
                  </a:lnTo>
                  <a:cubicBezTo>
                    <a:pt x="4943" y="5930"/>
                    <a:pt x="5160" y="5773"/>
                    <a:pt x="5236" y="5541"/>
                  </a:cubicBezTo>
                  <a:lnTo>
                    <a:pt x="6199" y="2573"/>
                  </a:lnTo>
                  <a:cubicBezTo>
                    <a:pt x="6275" y="2340"/>
                    <a:pt x="6190" y="2087"/>
                    <a:pt x="5994" y="1942"/>
                  </a:cubicBezTo>
                  <a:lnTo>
                    <a:pt x="3469" y="109"/>
                  </a:lnTo>
                  <a:cubicBezTo>
                    <a:pt x="3371" y="37"/>
                    <a:pt x="3254" y="0"/>
                    <a:pt x="3137"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435D74"/>
                </a:solidFill>
                <a:latin typeface="Arial"/>
                <a:cs typeface="Arial"/>
                <a:sym typeface="Arial"/>
              </a:endParaRPr>
            </a:p>
          </p:txBody>
        </p:sp>
        <p:sp>
          <p:nvSpPr>
            <p:cNvPr id="9471" name="Google Shape;9471;p109"/>
            <p:cNvSpPr/>
            <p:nvPr/>
          </p:nvSpPr>
          <p:spPr>
            <a:xfrm>
              <a:off x="5648900" y="2616600"/>
              <a:ext cx="482150" cy="481850"/>
            </a:xfrm>
            <a:custGeom>
              <a:avLst/>
              <a:gdLst/>
              <a:ahLst/>
              <a:cxnLst/>
              <a:rect l="l" t="t" r="r" b="b"/>
              <a:pathLst>
                <a:path w="19286" h="19274" extrusionOk="0">
                  <a:moveTo>
                    <a:pt x="9641" y="1133"/>
                  </a:moveTo>
                  <a:cubicBezTo>
                    <a:pt x="9936" y="1133"/>
                    <a:pt x="10230" y="1148"/>
                    <a:pt x="10523" y="1179"/>
                  </a:cubicBezTo>
                  <a:cubicBezTo>
                    <a:pt x="10547" y="1182"/>
                    <a:pt x="10571" y="1185"/>
                    <a:pt x="10595" y="1185"/>
                  </a:cubicBezTo>
                  <a:cubicBezTo>
                    <a:pt x="10641" y="1191"/>
                    <a:pt x="10686" y="1197"/>
                    <a:pt x="10731" y="1203"/>
                  </a:cubicBezTo>
                  <a:cubicBezTo>
                    <a:pt x="10958" y="1230"/>
                    <a:pt x="11181" y="1269"/>
                    <a:pt x="11402" y="1314"/>
                  </a:cubicBezTo>
                  <a:lnTo>
                    <a:pt x="11501" y="1622"/>
                  </a:lnTo>
                  <a:lnTo>
                    <a:pt x="9644" y="2969"/>
                  </a:lnTo>
                  <a:lnTo>
                    <a:pt x="7787" y="1622"/>
                  </a:lnTo>
                  <a:lnTo>
                    <a:pt x="7887" y="1314"/>
                  </a:lnTo>
                  <a:cubicBezTo>
                    <a:pt x="8038" y="1281"/>
                    <a:pt x="8192" y="1254"/>
                    <a:pt x="8349" y="1230"/>
                  </a:cubicBezTo>
                  <a:lnTo>
                    <a:pt x="8352" y="1230"/>
                  </a:lnTo>
                  <a:cubicBezTo>
                    <a:pt x="8418" y="1221"/>
                    <a:pt x="8488" y="1209"/>
                    <a:pt x="8554" y="1203"/>
                  </a:cubicBezTo>
                  <a:cubicBezTo>
                    <a:pt x="8606" y="1194"/>
                    <a:pt x="8660" y="1188"/>
                    <a:pt x="8714" y="1185"/>
                  </a:cubicBezTo>
                  <a:lnTo>
                    <a:pt x="8760" y="1179"/>
                  </a:lnTo>
                  <a:cubicBezTo>
                    <a:pt x="9053" y="1148"/>
                    <a:pt x="9347" y="1133"/>
                    <a:pt x="9641" y="1133"/>
                  </a:cubicBezTo>
                  <a:close/>
                  <a:moveTo>
                    <a:pt x="2591" y="5394"/>
                  </a:moveTo>
                  <a:lnTo>
                    <a:pt x="3300" y="7577"/>
                  </a:lnTo>
                  <a:lnTo>
                    <a:pt x="1444" y="8926"/>
                  </a:lnTo>
                  <a:lnTo>
                    <a:pt x="1184" y="8736"/>
                  </a:lnTo>
                  <a:cubicBezTo>
                    <a:pt x="1187" y="8700"/>
                    <a:pt x="1193" y="8661"/>
                    <a:pt x="1199" y="8621"/>
                  </a:cubicBezTo>
                  <a:cubicBezTo>
                    <a:pt x="1202" y="8594"/>
                    <a:pt x="1205" y="8567"/>
                    <a:pt x="1208" y="8540"/>
                  </a:cubicBezTo>
                  <a:cubicBezTo>
                    <a:pt x="1211" y="8498"/>
                    <a:pt x="1220" y="8455"/>
                    <a:pt x="1226" y="8413"/>
                  </a:cubicBezTo>
                  <a:cubicBezTo>
                    <a:pt x="1229" y="8383"/>
                    <a:pt x="1232" y="8353"/>
                    <a:pt x="1238" y="8326"/>
                  </a:cubicBezTo>
                  <a:cubicBezTo>
                    <a:pt x="1244" y="8286"/>
                    <a:pt x="1250" y="8247"/>
                    <a:pt x="1256" y="8208"/>
                  </a:cubicBezTo>
                  <a:cubicBezTo>
                    <a:pt x="1265" y="8169"/>
                    <a:pt x="1268" y="8141"/>
                    <a:pt x="1274" y="8108"/>
                  </a:cubicBezTo>
                  <a:cubicBezTo>
                    <a:pt x="1280" y="8075"/>
                    <a:pt x="1290" y="8036"/>
                    <a:pt x="1296" y="7999"/>
                  </a:cubicBezTo>
                  <a:cubicBezTo>
                    <a:pt x="1302" y="7966"/>
                    <a:pt x="1308" y="7930"/>
                    <a:pt x="1317" y="7894"/>
                  </a:cubicBezTo>
                  <a:cubicBezTo>
                    <a:pt x="1323" y="7861"/>
                    <a:pt x="1332" y="7824"/>
                    <a:pt x="1338" y="7791"/>
                  </a:cubicBezTo>
                  <a:cubicBezTo>
                    <a:pt x="1347" y="7755"/>
                    <a:pt x="1356" y="7719"/>
                    <a:pt x="1362" y="7682"/>
                  </a:cubicBezTo>
                  <a:cubicBezTo>
                    <a:pt x="1371" y="7649"/>
                    <a:pt x="1380" y="7613"/>
                    <a:pt x="1389" y="7577"/>
                  </a:cubicBezTo>
                  <a:cubicBezTo>
                    <a:pt x="1398" y="7541"/>
                    <a:pt x="1407" y="7510"/>
                    <a:pt x="1413" y="7477"/>
                  </a:cubicBezTo>
                  <a:cubicBezTo>
                    <a:pt x="1425" y="7441"/>
                    <a:pt x="1434" y="7399"/>
                    <a:pt x="1447" y="7359"/>
                  </a:cubicBezTo>
                  <a:cubicBezTo>
                    <a:pt x="1456" y="7332"/>
                    <a:pt x="1462" y="7305"/>
                    <a:pt x="1471" y="7278"/>
                  </a:cubicBezTo>
                  <a:cubicBezTo>
                    <a:pt x="1483" y="7233"/>
                    <a:pt x="1495" y="7187"/>
                    <a:pt x="1510" y="7142"/>
                  </a:cubicBezTo>
                  <a:cubicBezTo>
                    <a:pt x="1516" y="7124"/>
                    <a:pt x="1522" y="7106"/>
                    <a:pt x="1528" y="7085"/>
                  </a:cubicBezTo>
                  <a:cubicBezTo>
                    <a:pt x="1546" y="7030"/>
                    <a:pt x="1561" y="6976"/>
                    <a:pt x="1579" y="6925"/>
                  </a:cubicBezTo>
                  <a:lnTo>
                    <a:pt x="1588" y="6900"/>
                  </a:lnTo>
                  <a:cubicBezTo>
                    <a:pt x="1767" y="6375"/>
                    <a:pt x="1996" y="5871"/>
                    <a:pt x="2274" y="5394"/>
                  </a:cubicBezTo>
                  <a:close/>
                  <a:moveTo>
                    <a:pt x="17012" y="5394"/>
                  </a:moveTo>
                  <a:cubicBezTo>
                    <a:pt x="17253" y="5813"/>
                    <a:pt x="17462" y="6257"/>
                    <a:pt x="17628" y="6713"/>
                  </a:cubicBezTo>
                  <a:lnTo>
                    <a:pt x="17628" y="6719"/>
                  </a:lnTo>
                  <a:cubicBezTo>
                    <a:pt x="17649" y="6774"/>
                    <a:pt x="17670" y="6831"/>
                    <a:pt x="17688" y="6888"/>
                  </a:cubicBezTo>
                  <a:cubicBezTo>
                    <a:pt x="17694" y="6906"/>
                    <a:pt x="17700" y="6922"/>
                    <a:pt x="17706" y="6937"/>
                  </a:cubicBezTo>
                  <a:cubicBezTo>
                    <a:pt x="17721" y="6982"/>
                    <a:pt x="17736" y="7027"/>
                    <a:pt x="17749" y="7072"/>
                  </a:cubicBezTo>
                  <a:cubicBezTo>
                    <a:pt x="17758" y="7103"/>
                    <a:pt x="17767" y="7130"/>
                    <a:pt x="17776" y="7157"/>
                  </a:cubicBezTo>
                  <a:cubicBezTo>
                    <a:pt x="17788" y="7196"/>
                    <a:pt x="17797" y="7230"/>
                    <a:pt x="17809" y="7266"/>
                  </a:cubicBezTo>
                  <a:cubicBezTo>
                    <a:pt x="17818" y="7305"/>
                    <a:pt x="17830" y="7341"/>
                    <a:pt x="17839" y="7377"/>
                  </a:cubicBezTo>
                  <a:cubicBezTo>
                    <a:pt x="17848" y="7408"/>
                    <a:pt x="17857" y="7438"/>
                    <a:pt x="17863" y="7468"/>
                  </a:cubicBezTo>
                  <a:cubicBezTo>
                    <a:pt x="17875" y="7510"/>
                    <a:pt x="17887" y="7553"/>
                    <a:pt x="17896" y="7598"/>
                  </a:cubicBezTo>
                  <a:lnTo>
                    <a:pt x="17915" y="7673"/>
                  </a:lnTo>
                  <a:cubicBezTo>
                    <a:pt x="17927" y="7722"/>
                    <a:pt x="17936" y="7767"/>
                    <a:pt x="17948" y="7812"/>
                  </a:cubicBezTo>
                  <a:lnTo>
                    <a:pt x="17963" y="7885"/>
                  </a:lnTo>
                  <a:cubicBezTo>
                    <a:pt x="17972" y="7933"/>
                    <a:pt x="17981" y="7978"/>
                    <a:pt x="17990" y="8027"/>
                  </a:cubicBezTo>
                  <a:cubicBezTo>
                    <a:pt x="17996" y="8051"/>
                    <a:pt x="18002" y="8075"/>
                    <a:pt x="18005" y="8099"/>
                  </a:cubicBezTo>
                  <a:cubicBezTo>
                    <a:pt x="18014" y="8144"/>
                    <a:pt x="18020" y="8193"/>
                    <a:pt x="18029" y="8238"/>
                  </a:cubicBezTo>
                  <a:cubicBezTo>
                    <a:pt x="18032" y="8265"/>
                    <a:pt x="18038" y="8289"/>
                    <a:pt x="18041" y="8317"/>
                  </a:cubicBezTo>
                  <a:cubicBezTo>
                    <a:pt x="18050" y="8362"/>
                    <a:pt x="18057" y="8404"/>
                    <a:pt x="18063" y="8449"/>
                  </a:cubicBezTo>
                  <a:cubicBezTo>
                    <a:pt x="18066" y="8477"/>
                    <a:pt x="18069" y="8507"/>
                    <a:pt x="18075" y="8534"/>
                  </a:cubicBezTo>
                  <a:cubicBezTo>
                    <a:pt x="18078" y="8576"/>
                    <a:pt x="18084" y="8621"/>
                    <a:pt x="18090" y="8664"/>
                  </a:cubicBezTo>
                  <a:cubicBezTo>
                    <a:pt x="18093" y="8688"/>
                    <a:pt x="18096" y="8712"/>
                    <a:pt x="18096" y="8739"/>
                  </a:cubicBezTo>
                  <a:lnTo>
                    <a:pt x="17836" y="8926"/>
                  </a:lnTo>
                  <a:lnTo>
                    <a:pt x="15979" y="7580"/>
                  </a:lnTo>
                  <a:lnTo>
                    <a:pt x="16689" y="5397"/>
                  </a:lnTo>
                  <a:lnTo>
                    <a:pt x="17012" y="5394"/>
                  </a:lnTo>
                  <a:close/>
                  <a:moveTo>
                    <a:pt x="5722" y="15029"/>
                  </a:moveTo>
                  <a:lnTo>
                    <a:pt x="6432" y="17212"/>
                  </a:lnTo>
                  <a:lnTo>
                    <a:pt x="6172" y="17402"/>
                  </a:lnTo>
                  <a:cubicBezTo>
                    <a:pt x="5091" y="16916"/>
                    <a:pt x="4125" y="16209"/>
                    <a:pt x="3331" y="15331"/>
                  </a:cubicBezTo>
                  <a:lnTo>
                    <a:pt x="3427" y="15029"/>
                  </a:lnTo>
                  <a:close/>
                  <a:moveTo>
                    <a:pt x="15855" y="15029"/>
                  </a:moveTo>
                  <a:lnTo>
                    <a:pt x="15952" y="15331"/>
                  </a:lnTo>
                  <a:cubicBezTo>
                    <a:pt x="15158" y="16209"/>
                    <a:pt x="14192" y="16916"/>
                    <a:pt x="13111" y="17402"/>
                  </a:cubicBezTo>
                  <a:lnTo>
                    <a:pt x="12851" y="17212"/>
                  </a:lnTo>
                  <a:lnTo>
                    <a:pt x="13561" y="15029"/>
                  </a:lnTo>
                  <a:close/>
                  <a:moveTo>
                    <a:pt x="6571" y="1707"/>
                  </a:moveTo>
                  <a:cubicBezTo>
                    <a:pt x="6516" y="1927"/>
                    <a:pt x="6604" y="2160"/>
                    <a:pt x="6788" y="2296"/>
                  </a:cubicBezTo>
                  <a:lnTo>
                    <a:pt x="9309" y="4129"/>
                  </a:lnTo>
                  <a:cubicBezTo>
                    <a:pt x="9409" y="4199"/>
                    <a:pt x="9526" y="4235"/>
                    <a:pt x="9643" y="4235"/>
                  </a:cubicBezTo>
                  <a:cubicBezTo>
                    <a:pt x="9760" y="4235"/>
                    <a:pt x="9877" y="4199"/>
                    <a:pt x="9976" y="4129"/>
                  </a:cubicBezTo>
                  <a:lnTo>
                    <a:pt x="12498" y="2296"/>
                  </a:lnTo>
                  <a:cubicBezTo>
                    <a:pt x="12682" y="2160"/>
                    <a:pt x="12769" y="1927"/>
                    <a:pt x="12715" y="1707"/>
                  </a:cubicBezTo>
                  <a:lnTo>
                    <a:pt x="12715" y="1707"/>
                  </a:lnTo>
                  <a:cubicBezTo>
                    <a:pt x="14089" y="2241"/>
                    <a:pt x="15300" y="3123"/>
                    <a:pt x="16230" y="4264"/>
                  </a:cubicBezTo>
                  <a:cubicBezTo>
                    <a:pt x="16003" y="4283"/>
                    <a:pt x="15813" y="4437"/>
                    <a:pt x="15744" y="4651"/>
                  </a:cubicBezTo>
                  <a:lnTo>
                    <a:pt x="14777" y="7616"/>
                  </a:lnTo>
                  <a:cubicBezTo>
                    <a:pt x="14702" y="7852"/>
                    <a:pt x="14786" y="8105"/>
                    <a:pt x="14986" y="8250"/>
                  </a:cubicBezTo>
                  <a:lnTo>
                    <a:pt x="17507" y="10083"/>
                  </a:lnTo>
                  <a:cubicBezTo>
                    <a:pt x="17605" y="10155"/>
                    <a:pt x="17721" y="10192"/>
                    <a:pt x="17838" y="10192"/>
                  </a:cubicBezTo>
                  <a:cubicBezTo>
                    <a:pt x="17940" y="10192"/>
                    <a:pt x="18043" y="10164"/>
                    <a:pt x="18135" y="10107"/>
                  </a:cubicBezTo>
                  <a:lnTo>
                    <a:pt x="18135" y="10107"/>
                  </a:lnTo>
                  <a:cubicBezTo>
                    <a:pt x="18053" y="11581"/>
                    <a:pt x="17592" y="13006"/>
                    <a:pt x="16788" y="14244"/>
                  </a:cubicBezTo>
                  <a:cubicBezTo>
                    <a:pt x="16701" y="14032"/>
                    <a:pt x="16495" y="13896"/>
                    <a:pt x="16269" y="13896"/>
                  </a:cubicBezTo>
                  <a:lnTo>
                    <a:pt x="13150" y="13896"/>
                  </a:lnTo>
                  <a:cubicBezTo>
                    <a:pt x="12905" y="13896"/>
                    <a:pt x="12688" y="14053"/>
                    <a:pt x="12612" y="14289"/>
                  </a:cubicBezTo>
                  <a:lnTo>
                    <a:pt x="11649" y="17254"/>
                  </a:lnTo>
                  <a:cubicBezTo>
                    <a:pt x="11577" y="17471"/>
                    <a:pt x="11646" y="17710"/>
                    <a:pt x="11818" y="17858"/>
                  </a:cubicBezTo>
                  <a:cubicBezTo>
                    <a:pt x="11106" y="18045"/>
                    <a:pt x="10374" y="18139"/>
                    <a:pt x="9643" y="18139"/>
                  </a:cubicBezTo>
                  <a:cubicBezTo>
                    <a:pt x="8911" y="18139"/>
                    <a:pt x="8180" y="18045"/>
                    <a:pt x="7467" y="17858"/>
                  </a:cubicBezTo>
                  <a:cubicBezTo>
                    <a:pt x="7639" y="17710"/>
                    <a:pt x="7709" y="17471"/>
                    <a:pt x="7636" y="17254"/>
                  </a:cubicBezTo>
                  <a:lnTo>
                    <a:pt x="6673" y="14289"/>
                  </a:lnTo>
                  <a:cubicBezTo>
                    <a:pt x="6598" y="14053"/>
                    <a:pt x="6380" y="13896"/>
                    <a:pt x="6136" y="13896"/>
                  </a:cubicBezTo>
                  <a:lnTo>
                    <a:pt x="3020" y="13896"/>
                  </a:lnTo>
                  <a:cubicBezTo>
                    <a:pt x="2790" y="13896"/>
                    <a:pt x="2585" y="14032"/>
                    <a:pt x="2497" y="14244"/>
                  </a:cubicBezTo>
                  <a:cubicBezTo>
                    <a:pt x="1694" y="13006"/>
                    <a:pt x="1229" y="11581"/>
                    <a:pt x="1151" y="10107"/>
                  </a:cubicBezTo>
                  <a:lnTo>
                    <a:pt x="1151" y="10107"/>
                  </a:lnTo>
                  <a:cubicBezTo>
                    <a:pt x="1240" y="10163"/>
                    <a:pt x="1342" y="10191"/>
                    <a:pt x="1443" y="10191"/>
                  </a:cubicBezTo>
                  <a:cubicBezTo>
                    <a:pt x="1560" y="10191"/>
                    <a:pt x="1677" y="10154"/>
                    <a:pt x="1776" y="10083"/>
                  </a:cubicBezTo>
                  <a:lnTo>
                    <a:pt x="4300" y="8250"/>
                  </a:lnTo>
                  <a:cubicBezTo>
                    <a:pt x="4496" y="8105"/>
                    <a:pt x="4581" y="7852"/>
                    <a:pt x="4505" y="7616"/>
                  </a:cubicBezTo>
                  <a:lnTo>
                    <a:pt x="3542" y="4654"/>
                  </a:lnTo>
                  <a:cubicBezTo>
                    <a:pt x="3473" y="4440"/>
                    <a:pt x="3279" y="4286"/>
                    <a:pt x="3053" y="4264"/>
                  </a:cubicBezTo>
                  <a:cubicBezTo>
                    <a:pt x="3986" y="3123"/>
                    <a:pt x="5197" y="2241"/>
                    <a:pt x="6568" y="1707"/>
                  </a:cubicBezTo>
                  <a:close/>
                  <a:moveTo>
                    <a:pt x="9641" y="1"/>
                  </a:moveTo>
                  <a:cubicBezTo>
                    <a:pt x="9566" y="1"/>
                    <a:pt x="9490" y="1"/>
                    <a:pt x="9412" y="4"/>
                  </a:cubicBezTo>
                  <a:lnTo>
                    <a:pt x="9394" y="4"/>
                  </a:lnTo>
                  <a:cubicBezTo>
                    <a:pt x="9318" y="7"/>
                    <a:pt x="9246" y="7"/>
                    <a:pt x="9173" y="13"/>
                  </a:cubicBezTo>
                  <a:lnTo>
                    <a:pt x="9137" y="13"/>
                  </a:lnTo>
                  <a:cubicBezTo>
                    <a:pt x="9077" y="16"/>
                    <a:pt x="9019" y="19"/>
                    <a:pt x="8959" y="22"/>
                  </a:cubicBezTo>
                  <a:lnTo>
                    <a:pt x="8908" y="25"/>
                  </a:lnTo>
                  <a:cubicBezTo>
                    <a:pt x="8850" y="31"/>
                    <a:pt x="8790" y="37"/>
                    <a:pt x="8732" y="40"/>
                  </a:cubicBezTo>
                  <a:lnTo>
                    <a:pt x="8630" y="52"/>
                  </a:lnTo>
                  <a:lnTo>
                    <a:pt x="8551" y="61"/>
                  </a:lnTo>
                  <a:cubicBezTo>
                    <a:pt x="8476" y="67"/>
                    <a:pt x="8400" y="76"/>
                    <a:pt x="8325" y="88"/>
                  </a:cubicBezTo>
                  <a:lnTo>
                    <a:pt x="8313" y="88"/>
                  </a:lnTo>
                  <a:cubicBezTo>
                    <a:pt x="3965" y="695"/>
                    <a:pt x="574" y="4162"/>
                    <a:pt x="67" y="8522"/>
                  </a:cubicBezTo>
                  <a:lnTo>
                    <a:pt x="67" y="8525"/>
                  </a:lnTo>
                  <a:lnTo>
                    <a:pt x="67" y="8537"/>
                  </a:lnTo>
                  <a:cubicBezTo>
                    <a:pt x="61" y="8609"/>
                    <a:pt x="52" y="8685"/>
                    <a:pt x="46" y="8760"/>
                  </a:cubicBezTo>
                  <a:cubicBezTo>
                    <a:pt x="42" y="8794"/>
                    <a:pt x="39" y="8827"/>
                    <a:pt x="36" y="8860"/>
                  </a:cubicBezTo>
                  <a:cubicBezTo>
                    <a:pt x="33" y="8893"/>
                    <a:pt x="33" y="8920"/>
                    <a:pt x="30" y="8951"/>
                  </a:cubicBezTo>
                  <a:lnTo>
                    <a:pt x="30" y="8966"/>
                  </a:lnTo>
                  <a:cubicBezTo>
                    <a:pt x="30" y="8969"/>
                    <a:pt x="30" y="8972"/>
                    <a:pt x="30" y="8975"/>
                  </a:cubicBezTo>
                  <a:cubicBezTo>
                    <a:pt x="15" y="9195"/>
                    <a:pt x="6" y="9416"/>
                    <a:pt x="6" y="9636"/>
                  </a:cubicBezTo>
                  <a:cubicBezTo>
                    <a:pt x="0" y="12000"/>
                    <a:pt x="870" y="14286"/>
                    <a:pt x="2449" y="16046"/>
                  </a:cubicBezTo>
                  <a:lnTo>
                    <a:pt x="2458" y="16055"/>
                  </a:lnTo>
                  <a:cubicBezTo>
                    <a:pt x="2576" y="16191"/>
                    <a:pt x="2703" y="16321"/>
                    <a:pt x="2829" y="16451"/>
                  </a:cubicBezTo>
                  <a:lnTo>
                    <a:pt x="2860" y="16478"/>
                  </a:lnTo>
                  <a:lnTo>
                    <a:pt x="2866" y="16484"/>
                  </a:lnTo>
                  <a:cubicBezTo>
                    <a:pt x="2932" y="16551"/>
                    <a:pt x="2999" y="16617"/>
                    <a:pt x="3068" y="16680"/>
                  </a:cubicBezTo>
                  <a:lnTo>
                    <a:pt x="3077" y="16689"/>
                  </a:lnTo>
                  <a:cubicBezTo>
                    <a:pt x="4927" y="18412"/>
                    <a:pt x="7285" y="19274"/>
                    <a:pt x="9643" y="19274"/>
                  </a:cubicBezTo>
                  <a:cubicBezTo>
                    <a:pt x="12000" y="19274"/>
                    <a:pt x="14357" y="18413"/>
                    <a:pt x="16206" y="16692"/>
                  </a:cubicBezTo>
                  <a:lnTo>
                    <a:pt x="16224" y="16677"/>
                  </a:lnTo>
                  <a:cubicBezTo>
                    <a:pt x="16287" y="16620"/>
                    <a:pt x="16351" y="16560"/>
                    <a:pt x="16411" y="16496"/>
                  </a:cubicBezTo>
                  <a:lnTo>
                    <a:pt x="16435" y="16475"/>
                  </a:lnTo>
                  <a:lnTo>
                    <a:pt x="16459" y="16451"/>
                  </a:lnTo>
                  <a:cubicBezTo>
                    <a:pt x="16583" y="16324"/>
                    <a:pt x="16704" y="16197"/>
                    <a:pt x="16822" y="16067"/>
                  </a:cubicBezTo>
                  <a:lnTo>
                    <a:pt x="16861" y="16025"/>
                  </a:lnTo>
                  <a:cubicBezTo>
                    <a:pt x="16912" y="15965"/>
                    <a:pt x="16963" y="15907"/>
                    <a:pt x="17015" y="15847"/>
                  </a:cubicBezTo>
                  <a:lnTo>
                    <a:pt x="17030" y="15829"/>
                  </a:lnTo>
                  <a:lnTo>
                    <a:pt x="17036" y="15823"/>
                  </a:lnTo>
                  <a:cubicBezTo>
                    <a:pt x="18491" y="14090"/>
                    <a:pt x="19285" y="11898"/>
                    <a:pt x="19279" y="9636"/>
                  </a:cubicBezTo>
                  <a:cubicBezTo>
                    <a:pt x="19279" y="9413"/>
                    <a:pt x="19270" y="9189"/>
                    <a:pt x="19255" y="8969"/>
                  </a:cubicBezTo>
                  <a:cubicBezTo>
                    <a:pt x="19255" y="8969"/>
                    <a:pt x="19255" y="8969"/>
                    <a:pt x="19255" y="8966"/>
                  </a:cubicBezTo>
                  <a:lnTo>
                    <a:pt x="19255" y="8963"/>
                  </a:lnTo>
                  <a:cubicBezTo>
                    <a:pt x="19252" y="8923"/>
                    <a:pt x="19249" y="8881"/>
                    <a:pt x="19246" y="8842"/>
                  </a:cubicBezTo>
                  <a:lnTo>
                    <a:pt x="19243" y="8788"/>
                  </a:lnTo>
                  <a:cubicBezTo>
                    <a:pt x="18848" y="4319"/>
                    <a:pt x="15421" y="714"/>
                    <a:pt x="10976" y="92"/>
                  </a:cubicBezTo>
                  <a:lnTo>
                    <a:pt x="10946" y="85"/>
                  </a:lnTo>
                  <a:cubicBezTo>
                    <a:pt x="10879" y="76"/>
                    <a:pt x="10810" y="70"/>
                    <a:pt x="10740" y="61"/>
                  </a:cubicBezTo>
                  <a:lnTo>
                    <a:pt x="10650" y="52"/>
                  </a:lnTo>
                  <a:lnTo>
                    <a:pt x="10553" y="40"/>
                  </a:lnTo>
                  <a:cubicBezTo>
                    <a:pt x="10496" y="37"/>
                    <a:pt x="10435" y="31"/>
                    <a:pt x="10375" y="25"/>
                  </a:cubicBezTo>
                  <a:lnTo>
                    <a:pt x="10327" y="22"/>
                  </a:lnTo>
                  <a:cubicBezTo>
                    <a:pt x="10266" y="19"/>
                    <a:pt x="10206" y="16"/>
                    <a:pt x="10146" y="13"/>
                  </a:cubicBezTo>
                  <a:lnTo>
                    <a:pt x="10112" y="13"/>
                  </a:lnTo>
                  <a:cubicBezTo>
                    <a:pt x="10040" y="7"/>
                    <a:pt x="9964" y="4"/>
                    <a:pt x="9892" y="4"/>
                  </a:cubicBezTo>
                  <a:lnTo>
                    <a:pt x="9871" y="4"/>
                  </a:lnTo>
                  <a:cubicBezTo>
                    <a:pt x="9795" y="1"/>
                    <a:pt x="9720" y="1"/>
                    <a:pt x="9641"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435D74"/>
                </a:solidFill>
                <a:latin typeface="Arial"/>
                <a:cs typeface="Arial"/>
                <a:sym typeface="Arial"/>
              </a:endParaRPr>
            </a:p>
          </p:txBody>
        </p:sp>
      </p:grpSp>
      <p:grpSp>
        <p:nvGrpSpPr>
          <p:cNvPr id="9472" name="Google Shape;9472;p109"/>
          <p:cNvGrpSpPr/>
          <p:nvPr/>
        </p:nvGrpSpPr>
        <p:grpSpPr>
          <a:xfrm>
            <a:off x="6313507" y="5284189"/>
            <a:ext cx="434168" cy="434259"/>
            <a:chOff x="6242825" y="2615925"/>
            <a:chExt cx="483125" cy="483225"/>
          </a:xfrm>
        </p:grpSpPr>
        <p:sp>
          <p:nvSpPr>
            <p:cNvPr id="9473" name="Google Shape;9473;p109"/>
            <p:cNvSpPr/>
            <p:nvPr/>
          </p:nvSpPr>
          <p:spPr>
            <a:xfrm>
              <a:off x="6242825" y="2672550"/>
              <a:ext cx="483125" cy="426600"/>
            </a:xfrm>
            <a:custGeom>
              <a:avLst/>
              <a:gdLst/>
              <a:ahLst/>
              <a:cxnLst/>
              <a:rect l="l" t="t" r="r" b="b"/>
              <a:pathLst>
                <a:path w="19325" h="17064" extrusionOk="0">
                  <a:moveTo>
                    <a:pt x="10230" y="2331"/>
                  </a:moveTo>
                  <a:cubicBezTo>
                    <a:pt x="11387" y="2603"/>
                    <a:pt x="12437" y="3687"/>
                    <a:pt x="13056" y="5299"/>
                  </a:cubicBezTo>
                  <a:cubicBezTo>
                    <a:pt x="13144" y="5524"/>
                    <a:pt x="13357" y="5662"/>
                    <a:pt x="13583" y="5662"/>
                  </a:cubicBezTo>
                  <a:cubicBezTo>
                    <a:pt x="13652" y="5662"/>
                    <a:pt x="13722" y="5649"/>
                    <a:pt x="13790" y="5623"/>
                  </a:cubicBezTo>
                  <a:cubicBezTo>
                    <a:pt x="14083" y="5511"/>
                    <a:pt x="14228" y="5185"/>
                    <a:pt x="14113" y="4892"/>
                  </a:cubicBezTo>
                  <a:cubicBezTo>
                    <a:pt x="13790" y="4049"/>
                    <a:pt x="13349" y="3307"/>
                    <a:pt x="12830" y="2712"/>
                  </a:cubicBezTo>
                  <a:lnTo>
                    <a:pt x="12830" y="2712"/>
                  </a:lnTo>
                  <a:cubicBezTo>
                    <a:pt x="13911" y="3029"/>
                    <a:pt x="14901" y="3512"/>
                    <a:pt x="15750" y="4143"/>
                  </a:cubicBezTo>
                  <a:cubicBezTo>
                    <a:pt x="16882" y="4988"/>
                    <a:pt x="17649" y="6024"/>
                    <a:pt x="17990" y="7147"/>
                  </a:cubicBezTo>
                  <a:cubicBezTo>
                    <a:pt x="17519" y="6915"/>
                    <a:pt x="17000" y="6794"/>
                    <a:pt x="16476" y="6794"/>
                  </a:cubicBezTo>
                  <a:cubicBezTo>
                    <a:pt x="16469" y="6794"/>
                    <a:pt x="16463" y="6794"/>
                    <a:pt x="16456" y="6794"/>
                  </a:cubicBezTo>
                  <a:cubicBezTo>
                    <a:pt x="15729" y="6794"/>
                    <a:pt x="15040" y="7012"/>
                    <a:pt x="14515" y="7404"/>
                  </a:cubicBezTo>
                  <a:cubicBezTo>
                    <a:pt x="14400" y="7492"/>
                    <a:pt x="14291" y="7588"/>
                    <a:pt x="14192" y="7694"/>
                  </a:cubicBezTo>
                  <a:cubicBezTo>
                    <a:pt x="14092" y="7588"/>
                    <a:pt x="13983" y="7492"/>
                    <a:pt x="13869" y="7404"/>
                  </a:cubicBezTo>
                  <a:cubicBezTo>
                    <a:pt x="13343" y="7012"/>
                    <a:pt x="12655" y="6794"/>
                    <a:pt x="11927" y="6794"/>
                  </a:cubicBezTo>
                  <a:cubicBezTo>
                    <a:pt x="11199" y="6794"/>
                    <a:pt x="10511" y="7012"/>
                    <a:pt x="9986" y="7404"/>
                  </a:cubicBezTo>
                  <a:cubicBezTo>
                    <a:pt x="9871" y="7492"/>
                    <a:pt x="9762" y="7588"/>
                    <a:pt x="9662" y="7694"/>
                  </a:cubicBezTo>
                  <a:cubicBezTo>
                    <a:pt x="9563" y="7588"/>
                    <a:pt x="9454" y="7492"/>
                    <a:pt x="9339" y="7404"/>
                  </a:cubicBezTo>
                  <a:cubicBezTo>
                    <a:pt x="8814" y="7012"/>
                    <a:pt x="8126" y="6794"/>
                    <a:pt x="7398" y="6794"/>
                  </a:cubicBezTo>
                  <a:cubicBezTo>
                    <a:pt x="6670" y="6794"/>
                    <a:pt x="5982" y="7012"/>
                    <a:pt x="5456" y="7404"/>
                  </a:cubicBezTo>
                  <a:cubicBezTo>
                    <a:pt x="5342" y="7492"/>
                    <a:pt x="5233" y="7588"/>
                    <a:pt x="5133" y="7694"/>
                  </a:cubicBezTo>
                  <a:cubicBezTo>
                    <a:pt x="5034" y="7588"/>
                    <a:pt x="4925" y="7492"/>
                    <a:pt x="4810" y="7404"/>
                  </a:cubicBezTo>
                  <a:cubicBezTo>
                    <a:pt x="4285" y="7012"/>
                    <a:pt x="3596" y="6794"/>
                    <a:pt x="2869" y="6794"/>
                  </a:cubicBezTo>
                  <a:cubicBezTo>
                    <a:pt x="2862" y="6794"/>
                    <a:pt x="2856" y="6794"/>
                    <a:pt x="2849" y="6794"/>
                  </a:cubicBezTo>
                  <a:cubicBezTo>
                    <a:pt x="2324" y="6794"/>
                    <a:pt x="1806" y="6915"/>
                    <a:pt x="1335" y="7147"/>
                  </a:cubicBezTo>
                  <a:cubicBezTo>
                    <a:pt x="1676" y="6024"/>
                    <a:pt x="2443" y="4988"/>
                    <a:pt x="3578" y="4143"/>
                  </a:cubicBezTo>
                  <a:cubicBezTo>
                    <a:pt x="4424" y="3512"/>
                    <a:pt x="5414" y="3029"/>
                    <a:pt x="6498" y="2712"/>
                  </a:cubicBezTo>
                  <a:lnTo>
                    <a:pt x="6498" y="2712"/>
                  </a:lnTo>
                  <a:cubicBezTo>
                    <a:pt x="5976" y="3307"/>
                    <a:pt x="5538" y="4049"/>
                    <a:pt x="5212" y="4892"/>
                  </a:cubicBezTo>
                  <a:cubicBezTo>
                    <a:pt x="5097" y="5185"/>
                    <a:pt x="5245" y="5511"/>
                    <a:pt x="5535" y="5623"/>
                  </a:cubicBezTo>
                  <a:cubicBezTo>
                    <a:pt x="5603" y="5649"/>
                    <a:pt x="5673" y="5662"/>
                    <a:pt x="5742" y="5662"/>
                  </a:cubicBezTo>
                  <a:cubicBezTo>
                    <a:pt x="5968" y="5662"/>
                    <a:pt x="6181" y="5524"/>
                    <a:pt x="6269" y="5299"/>
                  </a:cubicBezTo>
                  <a:cubicBezTo>
                    <a:pt x="6891" y="3687"/>
                    <a:pt x="7941" y="2603"/>
                    <a:pt x="9098" y="2331"/>
                  </a:cubicBezTo>
                  <a:lnTo>
                    <a:pt x="9098" y="5097"/>
                  </a:lnTo>
                  <a:cubicBezTo>
                    <a:pt x="9098" y="5408"/>
                    <a:pt x="9351" y="5662"/>
                    <a:pt x="9662" y="5662"/>
                  </a:cubicBezTo>
                  <a:cubicBezTo>
                    <a:pt x="9976" y="5662"/>
                    <a:pt x="10230" y="5408"/>
                    <a:pt x="10230" y="5097"/>
                  </a:cubicBezTo>
                  <a:lnTo>
                    <a:pt x="10230" y="2331"/>
                  </a:lnTo>
                  <a:close/>
                  <a:moveTo>
                    <a:pt x="9662" y="0"/>
                  </a:moveTo>
                  <a:cubicBezTo>
                    <a:pt x="9348" y="0"/>
                    <a:pt x="9098" y="254"/>
                    <a:pt x="9098" y="568"/>
                  </a:cubicBezTo>
                  <a:lnTo>
                    <a:pt x="9098" y="1145"/>
                  </a:lnTo>
                  <a:cubicBezTo>
                    <a:pt x="6764" y="1247"/>
                    <a:pt x="4584" y="1981"/>
                    <a:pt x="2899" y="3234"/>
                  </a:cubicBezTo>
                  <a:cubicBezTo>
                    <a:pt x="1030" y="4629"/>
                    <a:pt x="0" y="6495"/>
                    <a:pt x="0" y="8494"/>
                  </a:cubicBezTo>
                  <a:lnTo>
                    <a:pt x="0" y="9059"/>
                  </a:lnTo>
                  <a:cubicBezTo>
                    <a:pt x="0" y="9373"/>
                    <a:pt x="254" y="9626"/>
                    <a:pt x="568" y="9626"/>
                  </a:cubicBezTo>
                  <a:cubicBezTo>
                    <a:pt x="879" y="9626"/>
                    <a:pt x="1133" y="9373"/>
                    <a:pt x="1133" y="9059"/>
                  </a:cubicBezTo>
                  <a:cubicBezTo>
                    <a:pt x="1133" y="8455"/>
                    <a:pt x="1945" y="7926"/>
                    <a:pt x="2869" y="7926"/>
                  </a:cubicBezTo>
                  <a:cubicBezTo>
                    <a:pt x="3793" y="7926"/>
                    <a:pt x="4569" y="8446"/>
                    <a:pt x="4569" y="9059"/>
                  </a:cubicBezTo>
                  <a:cubicBezTo>
                    <a:pt x="4569" y="9373"/>
                    <a:pt x="4819" y="9623"/>
                    <a:pt x="5133" y="9623"/>
                  </a:cubicBezTo>
                  <a:cubicBezTo>
                    <a:pt x="5447" y="9623"/>
                    <a:pt x="5701" y="9373"/>
                    <a:pt x="5701" y="9059"/>
                  </a:cubicBezTo>
                  <a:cubicBezTo>
                    <a:pt x="5701" y="8446"/>
                    <a:pt x="6477" y="7926"/>
                    <a:pt x="7398" y="7926"/>
                  </a:cubicBezTo>
                  <a:cubicBezTo>
                    <a:pt x="8319" y="7926"/>
                    <a:pt x="9098" y="8446"/>
                    <a:pt x="9098" y="9059"/>
                  </a:cubicBezTo>
                  <a:lnTo>
                    <a:pt x="9098" y="9475"/>
                  </a:lnTo>
                  <a:cubicBezTo>
                    <a:pt x="9098" y="9500"/>
                    <a:pt x="9098" y="9527"/>
                    <a:pt x="9101" y="9551"/>
                  </a:cubicBezTo>
                  <a:cubicBezTo>
                    <a:pt x="9098" y="9575"/>
                    <a:pt x="9098" y="9602"/>
                    <a:pt x="9098" y="9626"/>
                  </a:cubicBezTo>
                  <a:lnTo>
                    <a:pt x="9098" y="14799"/>
                  </a:lnTo>
                  <a:cubicBezTo>
                    <a:pt x="9098" y="15424"/>
                    <a:pt x="8591" y="15931"/>
                    <a:pt x="7966" y="15931"/>
                  </a:cubicBezTo>
                  <a:cubicBezTo>
                    <a:pt x="7337" y="15931"/>
                    <a:pt x="6833" y="15424"/>
                    <a:pt x="6833" y="14799"/>
                  </a:cubicBezTo>
                  <a:lnTo>
                    <a:pt x="6833" y="14231"/>
                  </a:lnTo>
                  <a:cubicBezTo>
                    <a:pt x="6833" y="13920"/>
                    <a:pt x="6580" y="13666"/>
                    <a:pt x="6266" y="13666"/>
                  </a:cubicBezTo>
                  <a:cubicBezTo>
                    <a:pt x="5952" y="13666"/>
                    <a:pt x="5701" y="13920"/>
                    <a:pt x="5701" y="14231"/>
                  </a:cubicBezTo>
                  <a:lnTo>
                    <a:pt x="5701" y="14799"/>
                  </a:lnTo>
                  <a:cubicBezTo>
                    <a:pt x="5701" y="16049"/>
                    <a:pt x="6712" y="17063"/>
                    <a:pt x="7966" y="17063"/>
                  </a:cubicBezTo>
                  <a:cubicBezTo>
                    <a:pt x="9216" y="17063"/>
                    <a:pt x="10230" y="16049"/>
                    <a:pt x="10230" y="14799"/>
                  </a:cubicBezTo>
                  <a:lnTo>
                    <a:pt x="10230" y="9626"/>
                  </a:lnTo>
                  <a:cubicBezTo>
                    <a:pt x="10227" y="9599"/>
                    <a:pt x="10227" y="9575"/>
                    <a:pt x="10224" y="9551"/>
                  </a:cubicBezTo>
                  <a:cubicBezTo>
                    <a:pt x="10227" y="9524"/>
                    <a:pt x="10227" y="9500"/>
                    <a:pt x="10230" y="9475"/>
                  </a:cubicBezTo>
                  <a:lnTo>
                    <a:pt x="10230" y="9059"/>
                  </a:lnTo>
                  <a:cubicBezTo>
                    <a:pt x="10230" y="8446"/>
                    <a:pt x="11006" y="7926"/>
                    <a:pt x="11927" y="7926"/>
                  </a:cubicBezTo>
                  <a:cubicBezTo>
                    <a:pt x="12848" y="7926"/>
                    <a:pt x="13627" y="8446"/>
                    <a:pt x="13627" y="9059"/>
                  </a:cubicBezTo>
                  <a:cubicBezTo>
                    <a:pt x="13627" y="9373"/>
                    <a:pt x="13878" y="9623"/>
                    <a:pt x="14192" y="9623"/>
                  </a:cubicBezTo>
                  <a:cubicBezTo>
                    <a:pt x="14506" y="9623"/>
                    <a:pt x="14759" y="9373"/>
                    <a:pt x="14759" y="9059"/>
                  </a:cubicBezTo>
                  <a:cubicBezTo>
                    <a:pt x="14759" y="8446"/>
                    <a:pt x="15535" y="7926"/>
                    <a:pt x="16456" y="7926"/>
                  </a:cubicBezTo>
                  <a:cubicBezTo>
                    <a:pt x="17377" y="7926"/>
                    <a:pt x="18192" y="8455"/>
                    <a:pt x="18192" y="9059"/>
                  </a:cubicBezTo>
                  <a:cubicBezTo>
                    <a:pt x="18192" y="9373"/>
                    <a:pt x="18446" y="9623"/>
                    <a:pt x="18760" y="9623"/>
                  </a:cubicBezTo>
                  <a:cubicBezTo>
                    <a:pt x="19071" y="9623"/>
                    <a:pt x="19325" y="9373"/>
                    <a:pt x="19325" y="9059"/>
                  </a:cubicBezTo>
                  <a:lnTo>
                    <a:pt x="19325" y="8494"/>
                  </a:lnTo>
                  <a:cubicBezTo>
                    <a:pt x="19325" y="6495"/>
                    <a:pt x="18295" y="4629"/>
                    <a:pt x="16426" y="3234"/>
                  </a:cubicBezTo>
                  <a:cubicBezTo>
                    <a:pt x="14744" y="1981"/>
                    <a:pt x="12561" y="1247"/>
                    <a:pt x="10230" y="1145"/>
                  </a:cubicBezTo>
                  <a:lnTo>
                    <a:pt x="10230" y="568"/>
                  </a:lnTo>
                  <a:cubicBezTo>
                    <a:pt x="10230" y="254"/>
                    <a:pt x="9976" y="0"/>
                    <a:pt x="9662"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435D74"/>
                </a:solidFill>
                <a:latin typeface="Arial"/>
                <a:cs typeface="Arial"/>
                <a:sym typeface="Arial"/>
              </a:endParaRPr>
            </a:p>
          </p:txBody>
        </p:sp>
        <p:sp>
          <p:nvSpPr>
            <p:cNvPr id="9474" name="Google Shape;9474;p109"/>
            <p:cNvSpPr/>
            <p:nvPr/>
          </p:nvSpPr>
          <p:spPr>
            <a:xfrm>
              <a:off x="6413650" y="2615925"/>
              <a:ext cx="28325" cy="56650"/>
            </a:xfrm>
            <a:custGeom>
              <a:avLst/>
              <a:gdLst/>
              <a:ahLst/>
              <a:cxnLst/>
              <a:rect l="l" t="t" r="r" b="b"/>
              <a:pathLst>
                <a:path w="1133" h="2266" extrusionOk="0">
                  <a:moveTo>
                    <a:pt x="565" y="1"/>
                  </a:moveTo>
                  <a:cubicBezTo>
                    <a:pt x="251" y="1"/>
                    <a:pt x="0" y="254"/>
                    <a:pt x="0" y="568"/>
                  </a:cubicBezTo>
                  <a:lnTo>
                    <a:pt x="0" y="1701"/>
                  </a:lnTo>
                  <a:cubicBezTo>
                    <a:pt x="0" y="2012"/>
                    <a:pt x="251" y="2265"/>
                    <a:pt x="565" y="2265"/>
                  </a:cubicBezTo>
                  <a:cubicBezTo>
                    <a:pt x="879" y="2265"/>
                    <a:pt x="1133" y="2012"/>
                    <a:pt x="1133" y="1701"/>
                  </a:cubicBezTo>
                  <a:lnTo>
                    <a:pt x="1133" y="568"/>
                  </a:lnTo>
                  <a:cubicBezTo>
                    <a:pt x="1133" y="254"/>
                    <a:pt x="879" y="1"/>
                    <a:pt x="565"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435D74"/>
                </a:solidFill>
                <a:latin typeface="Arial"/>
                <a:cs typeface="Arial"/>
                <a:sym typeface="Arial"/>
              </a:endParaRPr>
            </a:p>
          </p:txBody>
        </p:sp>
        <p:sp>
          <p:nvSpPr>
            <p:cNvPr id="9475" name="Google Shape;9475;p109"/>
            <p:cNvSpPr/>
            <p:nvPr/>
          </p:nvSpPr>
          <p:spPr>
            <a:xfrm>
              <a:off x="6526875" y="2615925"/>
              <a:ext cx="28325" cy="56650"/>
            </a:xfrm>
            <a:custGeom>
              <a:avLst/>
              <a:gdLst/>
              <a:ahLst/>
              <a:cxnLst/>
              <a:rect l="l" t="t" r="r" b="b"/>
              <a:pathLst>
                <a:path w="1133" h="2266" extrusionOk="0">
                  <a:moveTo>
                    <a:pt x="565" y="1"/>
                  </a:moveTo>
                  <a:cubicBezTo>
                    <a:pt x="251" y="1"/>
                    <a:pt x="0" y="254"/>
                    <a:pt x="0" y="568"/>
                  </a:cubicBezTo>
                  <a:lnTo>
                    <a:pt x="0" y="1701"/>
                  </a:lnTo>
                  <a:cubicBezTo>
                    <a:pt x="0" y="2012"/>
                    <a:pt x="251" y="2265"/>
                    <a:pt x="565" y="2265"/>
                  </a:cubicBezTo>
                  <a:cubicBezTo>
                    <a:pt x="879" y="2265"/>
                    <a:pt x="1133" y="2012"/>
                    <a:pt x="1133" y="1701"/>
                  </a:cubicBezTo>
                  <a:lnTo>
                    <a:pt x="1133" y="568"/>
                  </a:lnTo>
                  <a:cubicBezTo>
                    <a:pt x="1133" y="254"/>
                    <a:pt x="879" y="1"/>
                    <a:pt x="565"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435D74"/>
                </a:solidFill>
                <a:latin typeface="Arial"/>
                <a:cs typeface="Arial"/>
                <a:sym typeface="Arial"/>
              </a:endParaRPr>
            </a:p>
          </p:txBody>
        </p:sp>
        <p:sp>
          <p:nvSpPr>
            <p:cNvPr id="9476" name="Google Shape;9476;p109"/>
            <p:cNvSpPr/>
            <p:nvPr/>
          </p:nvSpPr>
          <p:spPr>
            <a:xfrm>
              <a:off x="6611800" y="2644250"/>
              <a:ext cx="28325" cy="56625"/>
            </a:xfrm>
            <a:custGeom>
              <a:avLst/>
              <a:gdLst/>
              <a:ahLst/>
              <a:cxnLst/>
              <a:rect l="l" t="t" r="r" b="b"/>
              <a:pathLst>
                <a:path w="1133" h="2265" extrusionOk="0">
                  <a:moveTo>
                    <a:pt x="565" y="0"/>
                  </a:moveTo>
                  <a:cubicBezTo>
                    <a:pt x="251" y="0"/>
                    <a:pt x="0" y="254"/>
                    <a:pt x="0" y="568"/>
                  </a:cubicBezTo>
                  <a:lnTo>
                    <a:pt x="0" y="1700"/>
                  </a:lnTo>
                  <a:cubicBezTo>
                    <a:pt x="0" y="2011"/>
                    <a:pt x="251" y="2265"/>
                    <a:pt x="565" y="2265"/>
                  </a:cubicBezTo>
                  <a:cubicBezTo>
                    <a:pt x="879" y="2265"/>
                    <a:pt x="1133" y="2011"/>
                    <a:pt x="1133" y="1700"/>
                  </a:cubicBezTo>
                  <a:lnTo>
                    <a:pt x="1133" y="568"/>
                  </a:lnTo>
                  <a:cubicBezTo>
                    <a:pt x="1133" y="254"/>
                    <a:pt x="879" y="0"/>
                    <a:pt x="565"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435D74"/>
                </a:solidFill>
                <a:latin typeface="Arial"/>
                <a:cs typeface="Arial"/>
                <a:sym typeface="Arial"/>
              </a:endParaRPr>
            </a:p>
          </p:txBody>
        </p:sp>
        <p:sp>
          <p:nvSpPr>
            <p:cNvPr id="9477" name="Google Shape;9477;p109"/>
            <p:cNvSpPr/>
            <p:nvPr/>
          </p:nvSpPr>
          <p:spPr>
            <a:xfrm>
              <a:off x="6328725" y="2644250"/>
              <a:ext cx="28325" cy="56625"/>
            </a:xfrm>
            <a:custGeom>
              <a:avLst/>
              <a:gdLst/>
              <a:ahLst/>
              <a:cxnLst/>
              <a:rect l="l" t="t" r="r" b="b"/>
              <a:pathLst>
                <a:path w="1133" h="2265" extrusionOk="0">
                  <a:moveTo>
                    <a:pt x="565" y="0"/>
                  </a:moveTo>
                  <a:cubicBezTo>
                    <a:pt x="251" y="0"/>
                    <a:pt x="0" y="254"/>
                    <a:pt x="0" y="568"/>
                  </a:cubicBezTo>
                  <a:lnTo>
                    <a:pt x="0" y="1700"/>
                  </a:lnTo>
                  <a:cubicBezTo>
                    <a:pt x="0" y="2011"/>
                    <a:pt x="251" y="2265"/>
                    <a:pt x="565" y="2265"/>
                  </a:cubicBezTo>
                  <a:cubicBezTo>
                    <a:pt x="879" y="2265"/>
                    <a:pt x="1133" y="2011"/>
                    <a:pt x="1133" y="1700"/>
                  </a:cubicBezTo>
                  <a:lnTo>
                    <a:pt x="1133" y="568"/>
                  </a:lnTo>
                  <a:cubicBezTo>
                    <a:pt x="1133" y="254"/>
                    <a:pt x="879" y="0"/>
                    <a:pt x="565"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435D74"/>
                </a:solidFill>
                <a:latin typeface="Arial"/>
                <a:cs typeface="Arial"/>
                <a:sym typeface="Arial"/>
              </a:endParaRPr>
            </a:p>
          </p:txBody>
        </p:sp>
      </p:grpSp>
      <p:sp>
        <p:nvSpPr>
          <p:cNvPr id="9478" name="Google Shape;9478;p109"/>
          <p:cNvSpPr/>
          <p:nvPr/>
        </p:nvSpPr>
        <p:spPr>
          <a:xfrm>
            <a:off x="6738013" y="3621522"/>
            <a:ext cx="461303" cy="428233"/>
          </a:xfrm>
          <a:custGeom>
            <a:avLst/>
            <a:gdLst/>
            <a:ahLst/>
            <a:cxnLst/>
            <a:rect l="l" t="t" r="r" b="b"/>
            <a:pathLst>
              <a:path w="19655" h="18246" extrusionOk="0">
                <a:moveTo>
                  <a:pt x="9829" y="1835"/>
                </a:moveTo>
                <a:lnTo>
                  <a:pt x="12133" y="6452"/>
                </a:lnTo>
                <a:cubicBezTo>
                  <a:pt x="12218" y="6618"/>
                  <a:pt x="12375" y="6733"/>
                  <a:pt x="12559" y="6760"/>
                </a:cubicBezTo>
                <a:lnTo>
                  <a:pt x="17698" y="7500"/>
                </a:lnTo>
                <a:lnTo>
                  <a:pt x="13984" y="11078"/>
                </a:lnTo>
                <a:cubicBezTo>
                  <a:pt x="13848" y="11211"/>
                  <a:pt x="13788" y="11398"/>
                  <a:pt x="13821" y="11582"/>
                </a:cubicBezTo>
                <a:lnTo>
                  <a:pt x="14700" y="16646"/>
                </a:lnTo>
                <a:lnTo>
                  <a:pt x="10092" y="14251"/>
                </a:lnTo>
                <a:cubicBezTo>
                  <a:pt x="10009" y="14209"/>
                  <a:pt x="9919" y="14188"/>
                  <a:pt x="9830" y="14188"/>
                </a:cubicBezTo>
                <a:cubicBezTo>
                  <a:pt x="9740" y="14188"/>
                  <a:pt x="9651" y="14209"/>
                  <a:pt x="9570" y="14251"/>
                </a:cubicBezTo>
                <a:lnTo>
                  <a:pt x="4962" y="16646"/>
                </a:lnTo>
                <a:lnTo>
                  <a:pt x="5838" y="11582"/>
                </a:lnTo>
                <a:cubicBezTo>
                  <a:pt x="5871" y="11398"/>
                  <a:pt x="5810" y="11208"/>
                  <a:pt x="5674" y="11078"/>
                </a:cubicBezTo>
                <a:lnTo>
                  <a:pt x="1961" y="7500"/>
                </a:lnTo>
                <a:lnTo>
                  <a:pt x="7100" y="6760"/>
                </a:lnTo>
                <a:cubicBezTo>
                  <a:pt x="7284" y="6733"/>
                  <a:pt x="7441" y="6618"/>
                  <a:pt x="7525" y="6452"/>
                </a:cubicBezTo>
                <a:lnTo>
                  <a:pt x="9829" y="1835"/>
                </a:lnTo>
                <a:close/>
                <a:moveTo>
                  <a:pt x="9828" y="1"/>
                </a:moveTo>
                <a:cubicBezTo>
                  <a:pt x="9627" y="1"/>
                  <a:pt x="9426" y="105"/>
                  <a:pt x="9322" y="313"/>
                </a:cubicBezTo>
                <a:lnTo>
                  <a:pt x="6641" y="5682"/>
                </a:lnTo>
                <a:lnTo>
                  <a:pt x="653" y="6543"/>
                </a:lnTo>
                <a:cubicBezTo>
                  <a:pt x="188" y="6609"/>
                  <a:pt x="1" y="7183"/>
                  <a:pt x="339" y="7509"/>
                </a:cubicBezTo>
                <a:lnTo>
                  <a:pt x="4672" y="11685"/>
                </a:lnTo>
                <a:lnTo>
                  <a:pt x="3648" y="17579"/>
                </a:lnTo>
                <a:cubicBezTo>
                  <a:pt x="3584" y="17947"/>
                  <a:pt x="3875" y="18245"/>
                  <a:pt x="4207" y="18245"/>
                </a:cubicBezTo>
                <a:cubicBezTo>
                  <a:pt x="4293" y="18245"/>
                  <a:pt x="4383" y="18225"/>
                  <a:pt x="4470" y="18180"/>
                </a:cubicBezTo>
                <a:lnTo>
                  <a:pt x="9829" y="15393"/>
                </a:lnTo>
                <a:lnTo>
                  <a:pt x="15189" y="18180"/>
                </a:lnTo>
                <a:cubicBezTo>
                  <a:pt x="15275" y="18225"/>
                  <a:pt x="15365" y="18245"/>
                  <a:pt x="15452" y="18245"/>
                </a:cubicBezTo>
                <a:cubicBezTo>
                  <a:pt x="15782" y="18245"/>
                  <a:pt x="16072" y="17948"/>
                  <a:pt x="16007" y="17582"/>
                </a:cubicBezTo>
                <a:lnTo>
                  <a:pt x="14986" y="11685"/>
                </a:lnTo>
                <a:lnTo>
                  <a:pt x="19316" y="7512"/>
                </a:lnTo>
                <a:cubicBezTo>
                  <a:pt x="19655" y="7183"/>
                  <a:pt x="19470" y="6609"/>
                  <a:pt x="19005" y="6543"/>
                </a:cubicBezTo>
                <a:lnTo>
                  <a:pt x="13015" y="5682"/>
                </a:lnTo>
                <a:lnTo>
                  <a:pt x="10333" y="313"/>
                </a:lnTo>
                <a:cubicBezTo>
                  <a:pt x="10229" y="105"/>
                  <a:pt x="10029" y="1"/>
                  <a:pt x="9828"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435D74"/>
              </a:solidFill>
              <a:latin typeface="Arial"/>
              <a:cs typeface="Arial"/>
              <a:sym typeface="Arial"/>
            </a:endParaRPr>
          </a:p>
        </p:txBody>
      </p:sp>
      <p:grpSp>
        <p:nvGrpSpPr>
          <p:cNvPr id="9479" name="Google Shape;9479;p109"/>
          <p:cNvGrpSpPr/>
          <p:nvPr/>
        </p:nvGrpSpPr>
        <p:grpSpPr>
          <a:xfrm>
            <a:off x="7318173" y="3609382"/>
            <a:ext cx="456116" cy="453581"/>
            <a:chOff x="1487200" y="3210375"/>
            <a:chExt cx="485850" cy="483150"/>
          </a:xfrm>
        </p:grpSpPr>
        <p:sp>
          <p:nvSpPr>
            <p:cNvPr id="9480" name="Google Shape;9480;p109"/>
            <p:cNvSpPr/>
            <p:nvPr/>
          </p:nvSpPr>
          <p:spPr>
            <a:xfrm>
              <a:off x="1712075" y="3294975"/>
              <a:ext cx="146750" cy="141525"/>
            </a:xfrm>
            <a:custGeom>
              <a:avLst/>
              <a:gdLst/>
              <a:ahLst/>
              <a:cxnLst/>
              <a:rect l="l" t="t" r="r" b="b"/>
              <a:pathLst>
                <a:path w="5870" h="5661" extrusionOk="0">
                  <a:moveTo>
                    <a:pt x="2935" y="1832"/>
                  </a:moveTo>
                  <a:lnTo>
                    <a:pt x="3183" y="2327"/>
                  </a:lnTo>
                  <a:cubicBezTo>
                    <a:pt x="3237" y="2438"/>
                    <a:pt x="3327" y="2526"/>
                    <a:pt x="3436" y="2580"/>
                  </a:cubicBezTo>
                  <a:lnTo>
                    <a:pt x="3931" y="2831"/>
                  </a:lnTo>
                  <a:lnTo>
                    <a:pt x="3436" y="3079"/>
                  </a:lnTo>
                  <a:cubicBezTo>
                    <a:pt x="3327" y="3133"/>
                    <a:pt x="3237" y="3220"/>
                    <a:pt x="3183" y="3332"/>
                  </a:cubicBezTo>
                  <a:lnTo>
                    <a:pt x="2935" y="3827"/>
                  </a:lnTo>
                  <a:lnTo>
                    <a:pt x="2684" y="3332"/>
                  </a:lnTo>
                  <a:cubicBezTo>
                    <a:pt x="2630" y="3220"/>
                    <a:pt x="2542" y="3133"/>
                    <a:pt x="2431" y="3079"/>
                  </a:cubicBezTo>
                  <a:lnTo>
                    <a:pt x="1936" y="2831"/>
                  </a:lnTo>
                  <a:lnTo>
                    <a:pt x="2431" y="2580"/>
                  </a:lnTo>
                  <a:cubicBezTo>
                    <a:pt x="2542" y="2526"/>
                    <a:pt x="2630" y="2438"/>
                    <a:pt x="2684" y="2327"/>
                  </a:cubicBezTo>
                  <a:lnTo>
                    <a:pt x="2935" y="1832"/>
                  </a:lnTo>
                  <a:close/>
                  <a:moveTo>
                    <a:pt x="2933" y="0"/>
                  </a:moveTo>
                  <a:cubicBezTo>
                    <a:pt x="2733" y="0"/>
                    <a:pt x="2532" y="104"/>
                    <a:pt x="2428" y="313"/>
                  </a:cubicBezTo>
                  <a:lnTo>
                    <a:pt x="1757" y="1653"/>
                  </a:lnTo>
                  <a:lnTo>
                    <a:pt x="417" y="2324"/>
                  </a:lnTo>
                  <a:cubicBezTo>
                    <a:pt x="0" y="2532"/>
                    <a:pt x="0" y="3127"/>
                    <a:pt x="417" y="3335"/>
                  </a:cubicBezTo>
                  <a:lnTo>
                    <a:pt x="1757" y="4006"/>
                  </a:lnTo>
                  <a:lnTo>
                    <a:pt x="2428" y="5346"/>
                  </a:lnTo>
                  <a:cubicBezTo>
                    <a:pt x="2532" y="5556"/>
                    <a:pt x="2733" y="5661"/>
                    <a:pt x="2933" y="5661"/>
                  </a:cubicBezTo>
                  <a:cubicBezTo>
                    <a:pt x="3134" y="5661"/>
                    <a:pt x="3335" y="5556"/>
                    <a:pt x="3439" y="5346"/>
                  </a:cubicBezTo>
                  <a:lnTo>
                    <a:pt x="4110" y="4006"/>
                  </a:lnTo>
                  <a:lnTo>
                    <a:pt x="5453" y="3335"/>
                  </a:lnTo>
                  <a:cubicBezTo>
                    <a:pt x="5870" y="3127"/>
                    <a:pt x="5870" y="2532"/>
                    <a:pt x="5453" y="2324"/>
                  </a:cubicBezTo>
                  <a:lnTo>
                    <a:pt x="4110" y="1653"/>
                  </a:lnTo>
                  <a:lnTo>
                    <a:pt x="3439" y="313"/>
                  </a:lnTo>
                  <a:cubicBezTo>
                    <a:pt x="3335" y="104"/>
                    <a:pt x="3134" y="0"/>
                    <a:pt x="2933"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435D74"/>
                </a:solidFill>
                <a:latin typeface="Arial"/>
                <a:cs typeface="Arial"/>
                <a:sym typeface="Arial"/>
              </a:endParaRPr>
            </a:p>
          </p:txBody>
        </p:sp>
        <p:sp>
          <p:nvSpPr>
            <p:cNvPr id="9481" name="Google Shape;9481;p109"/>
            <p:cNvSpPr/>
            <p:nvPr/>
          </p:nvSpPr>
          <p:spPr>
            <a:xfrm>
              <a:off x="1825300" y="3408200"/>
              <a:ext cx="147750" cy="141550"/>
            </a:xfrm>
            <a:custGeom>
              <a:avLst/>
              <a:gdLst/>
              <a:ahLst/>
              <a:cxnLst/>
              <a:rect l="l" t="t" r="r" b="b"/>
              <a:pathLst>
                <a:path w="5910" h="5662" extrusionOk="0">
                  <a:moveTo>
                    <a:pt x="2935" y="1832"/>
                  </a:moveTo>
                  <a:lnTo>
                    <a:pt x="3183" y="2327"/>
                  </a:lnTo>
                  <a:cubicBezTo>
                    <a:pt x="3237" y="2439"/>
                    <a:pt x="3328" y="2529"/>
                    <a:pt x="3442" y="2584"/>
                  </a:cubicBezTo>
                  <a:lnTo>
                    <a:pt x="3944" y="2831"/>
                  </a:lnTo>
                  <a:lnTo>
                    <a:pt x="3442" y="3076"/>
                  </a:lnTo>
                  <a:cubicBezTo>
                    <a:pt x="3328" y="3130"/>
                    <a:pt x="3237" y="3221"/>
                    <a:pt x="3183" y="3332"/>
                  </a:cubicBezTo>
                  <a:lnTo>
                    <a:pt x="2935" y="3828"/>
                  </a:lnTo>
                  <a:lnTo>
                    <a:pt x="2685" y="3332"/>
                  </a:lnTo>
                  <a:cubicBezTo>
                    <a:pt x="2630" y="3221"/>
                    <a:pt x="2543" y="3133"/>
                    <a:pt x="2434" y="3079"/>
                  </a:cubicBezTo>
                  <a:lnTo>
                    <a:pt x="1936" y="2831"/>
                  </a:lnTo>
                  <a:lnTo>
                    <a:pt x="2434" y="2581"/>
                  </a:lnTo>
                  <a:cubicBezTo>
                    <a:pt x="2543" y="2526"/>
                    <a:pt x="2630" y="2439"/>
                    <a:pt x="2685" y="2327"/>
                  </a:cubicBezTo>
                  <a:lnTo>
                    <a:pt x="2935" y="1832"/>
                  </a:lnTo>
                  <a:close/>
                  <a:moveTo>
                    <a:pt x="2934" y="0"/>
                  </a:moveTo>
                  <a:cubicBezTo>
                    <a:pt x="2733" y="0"/>
                    <a:pt x="2532" y="105"/>
                    <a:pt x="2428" y="313"/>
                  </a:cubicBezTo>
                  <a:lnTo>
                    <a:pt x="1758" y="1654"/>
                  </a:lnTo>
                  <a:lnTo>
                    <a:pt x="417" y="2324"/>
                  </a:lnTo>
                  <a:cubicBezTo>
                    <a:pt x="0" y="2532"/>
                    <a:pt x="0" y="3127"/>
                    <a:pt x="417" y="3335"/>
                  </a:cubicBezTo>
                  <a:lnTo>
                    <a:pt x="1758" y="4006"/>
                  </a:lnTo>
                  <a:lnTo>
                    <a:pt x="2428" y="5346"/>
                  </a:lnTo>
                  <a:cubicBezTo>
                    <a:pt x="2532" y="5556"/>
                    <a:pt x="2733" y="5661"/>
                    <a:pt x="2934" y="5661"/>
                  </a:cubicBezTo>
                  <a:cubicBezTo>
                    <a:pt x="3134" y="5661"/>
                    <a:pt x="3335" y="5556"/>
                    <a:pt x="3439" y="5346"/>
                  </a:cubicBezTo>
                  <a:lnTo>
                    <a:pt x="4110" y="4009"/>
                  </a:lnTo>
                  <a:lnTo>
                    <a:pt x="5484" y="3338"/>
                  </a:lnTo>
                  <a:cubicBezTo>
                    <a:pt x="5909" y="3133"/>
                    <a:pt x="5909" y="2526"/>
                    <a:pt x="5484" y="2321"/>
                  </a:cubicBezTo>
                  <a:lnTo>
                    <a:pt x="4110" y="1651"/>
                  </a:lnTo>
                  <a:lnTo>
                    <a:pt x="3439" y="313"/>
                  </a:lnTo>
                  <a:cubicBezTo>
                    <a:pt x="3335" y="105"/>
                    <a:pt x="3134" y="0"/>
                    <a:pt x="2934"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435D74"/>
                </a:solidFill>
                <a:latin typeface="Arial"/>
                <a:cs typeface="Arial"/>
                <a:sym typeface="Arial"/>
              </a:endParaRPr>
            </a:p>
          </p:txBody>
        </p:sp>
        <p:sp>
          <p:nvSpPr>
            <p:cNvPr id="9482" name="Google Shape;9482;p109"/>
            <p:cNvSpPr/>
            <p:nvPr/>
          </p:nvSpPr>
          <p:spPr>
            <a:xfrm>
              <a:off x="1487200" y="3210375"/>
              <a:ext cx="410350" cy="483150"/>
            </a:xfrm>
            <a:custGeom>
              <a:avLst/>
              <a:gdLst/>
              <a:ahLst/>
              <a:cxnLst/>
              <a:rect l="l" t="t" r="r" b="b"/>
              <a:pathLst>
                <a:path w="16414" h="19326" extrusionOk="0">
                  <a:moveTo>
                    <a:pt x="9662" y="1133"/>
                  </a:moveTo>
                  <a:cubicBezTo>
                    <a:pt x="9744" y="1133"/>
                    <a:pt x="9825" y="1133"/>
                    <a:pt x="9910" y="1136"/>
                  </a:cubicBezTo>
                  <a:cubicBezTo>
                    <a:pt x="7953" y="2866"/>
                    <a:pt x="6830" y="5351"/>
                    <a:pt x="6833" y="7966"/>
                  </a:cubicBezTo>
                  <a:cubicBezTo>
                    <a:pt x="6833" y="12311"/>
                    <a:pt x="9907" y="16049"/>
                    <a:pt x="14170" y="16889"/>
                  </a:cubicBezTo>
                  <a:cubicBezTo>
                    <a:pt x="12821" y="17740"/>
                    <a:pt x="11260" y="18193"/>
                    <a:pt x="9662" y="18193"/>
                  </a:cubicBezTo>
                  <a:cubicBezTo>
                    <a:pt x="4958" y="18193"/>
                    <a:pt x="1132" y="14368"/>
                    <a:pt x="1132" y="9663"/>
                  </a:cubicBezTo>
                  <a:cubicBezTo>
                    <a:pt x="1132" y="4959"/>
                    <a:pt x="4958" y="1133"/>
                    <a:pt x="9662" y="1133"/>
                  </a:cubicBezTo>
                  <a:close/>
                  <a:moveTo>
                    <a:pt x="9662" y="1"/>
                  </a:moveTo>
                  <a:cubicBezTo>
                    <a:pt x="7093" y="1"/>
                    <a:pt x="4668" y="1009"/>
                    <a:pt x="2838" y="2839"/>
                  </a:cubicBezTo>
                  <a:cubicBezTo>
                    <a:pt x="1009" y="4669"/>
                    <a:pt x="0" y="7094"/>
                    <a:pt x="0" y="9663"/>
                  </a:cubicBezTo>
                  <a:cubicBezTo>
                    <a:pt x="0" y="12233"/>
                    <a:pt x="1009" y="14657"/>
                    <a:pt x="2838" y="16487"/>
                  </a:cubicBezTo>
                  <a:cubicBezTo>
                    <a:pt x="4668" y="18317"/>
                    <a:pt x="7090" y="19325"/>
                    <a:pt x="9662" y="19325"/>
                  </a:cubicBezTo>
                  <a:cubicBezTo>
                    <a:pt x="12008" y="19322"/>
                    <a:pt x="14273" y="18462"/>
                    <a:pt x="16027" y="16907"/>
                  </a:cubicBezTo>
                  <a:cubicBezTo>
                    <a:pt x="16414" y="16566"/>
                    <a:pt x="16181" y="15932"/>
                    <a:pt x="15668" y="15916"/>
                  </a:cubicBezTo>
                  <a:cubicBezTo>
                    <a:pt x="11420" y="15799"/>
                    <a:pt x="7965" y="12233"/>
                    <a:pt x="7965" y="7966"/>
                  </a:cubicBezTo>
                  <a:cubicBezTo>
                    <a:pt x="7965" y="5243"/>
                    <a:pt x="9391" y="2658"/>
                    <a:pt x="11688" y="1215"/>
                  </a:cubicBezTo>
                  <a:cubicBezTo>
                    <a:pt x="12123" y="943"/>
                    <a:pt x="11999" y="276"/>
                    <a:pt x="11495" y="179"/>
                  </a:cubicBezTo>
                  <a:cubicBezTo>
                    <a:pt x="10891" y="61"/>
                    <a:pt x="10278" y="4"/>
                    <a:pt x="9662"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435D74"/>
                </a:solidFill>
                <a:latin typeface="Arial"/>
                <a:cs typeface="Arial"/>
                <a:sym typeface="Arial"/>
              </a:endParaRPr>
            </a:p>
          </p:txBody>
        </p:sp>
      </p:grpSp>
      <p:sp>
        <p:nvSpPr>
          <p:cNvPr id="9483" name="Google Shape;9483;p109"/>
          <p:cNvSpPr/>
          <p:nvPr/>
        </p:nvSpPr>
        <p:spPr>
          <a:xfrm>
            <a:off x="7861326" y="3653000"/>
            <a:ext cx="453557" cy="365264"/>
          </a:xfrm>
          <a:custGeom>
            <a:avLst/>
            <a:gdLst/>
            <a:ahLst/>
            <a:cxnLst/>
            <a:rect l="l" t="t" r="r" b="b"/>
            <a:pathLst>
              <a:path w="19325" h="15563" extrusionOk="0">
                <a:moveTo>
                  <a:pt x="13582" y="1135"/>
                </a:moveTo>
                <a:cubicBezTo>
                  <a:pt x="14814" y="1135"/>
                  <a:pt x="15946" y="1812"/>
                  <a:pt x="16532" y="2896"/>
                </a:cubicBezTo>
                <a:cubicBezTo>
                  <a:pt x="17118" y="3983"/>
                  <a:pt x="17060" y="5302"/>
                  <a:pt x="16381" y="6332"/>
                </a:cubicBezTo>
                <a:cubicBezTo>
                  <a:pt x="15881" y="6149"/>
                  <a:pt x="15358" y="6058"/>
                  <a:pt x="14835" y="6058"/>
                </a:cubicBezTo>
                <a:cubicBezTo>
                  <a:pt x="14169" y="6058"/>
                  <a:pt x="13503" y="6206"/>
                  <a:pt x="12890" y="6501"/>
                </a:cubicBezTo>
                <a:cubicBezTo>
                  <a:pt x="12326" y="5429"/>
                  <a:pt x="11381" y="4611"/>
                  <a:pt x="10239" y="4203"/>
                </a:cubicBezTo>
                <a:cubicBezTo>
                  <a:pt x="10390" y="2470"/>
                  <a:pt x="11843" y="1138"/>
                  <a:pt x="13582" y="1135"/>
                </a:cubicBezTo>
                <a:close/>
                <a:moveTo>
                  <a:pt x="8612" y="5055"/>
                </a:moveTo>
                <a:cubicBezTo>
                  <a:pt x="8920" y="5055"/>
                  <a:pt x="9222" y="5094"/>
                  <a:pt x="9518" y="5172"/>
                </a:cubicBezTo>
                <a:cubicBezTo>
                  <a:pt x="10710" y="5489"/>
                  <a:pt x="11673" y="6413"/>
                  <a:pt x="12093" y="7639"/>
                </a:cubicBezTo>
                <a:cubicBezTo>
                  <a:pt x="12176" y="7879"/>
                  <a:pt x="12400" y="8020"/>
                  <a:pt x="12631" y="8020"/>
                </a:cubicBezTo>
                <a:cubicBezTo>
                  <a:pt x="12744" y="8020"/>
                  <a:pt x="12859" y="7986"/>
                  <a:pt x="12960" y="7914"/>
                </a:cubicBezTo>
                <a:cubicBezTo>
                  <a:pt x="13506" y="7519"/>
                  <a:pt x="14164" y="7304"/>
                  <a:pt x="14838" y="7304"/>
                </a:cubicBezTo>
                <a:cubicBezTo>
                  <a:pt x="14844" y="7304"/>
                  <a:pt x="14850" y="7304"/>
                  <a:pt x="14856" y="7304"/>
                </a:cubicBezTo>
                <a:cubicBezTo>
                  <a:pt x="15360" y="7304"/>
                  <a:pt x="15858" y="7428"/>
                  <a:pt x="16308" y="7663"/>
                </a:cubicBezTo>
                <a:cubicBezTo>
                  <a:pt x="17471" y="8267"/>
                  <a:pt x="18192" y="9493"/>
                  <a:pt x="18192" y="10864"/>
                </a:cubicBezTo>
                <a:cubicBezTo>
                  <a:pt x="18192" y="12830"/>
                  <a:pt x="16689" y="14427"/>
                  <a:pt x="14838" y="14427"/>
                </a:cubicBezTo>
                <a:lnTo>
                  <a:pt x="3904" y="14427"/>
                </a:lnTo>
                <a:cubicBezTo>
                  <a:pt x="2377" y="14427"/>
                  <a:pt x="1133" y="13104"/>
                  <a:pt x="1133" y="11480"/>
                </a:cubicBezTo>
                <a:cubicBezTo>
                  <a:pt x="1133" y="9853"/>
                  <a:pt x="2377" y="8530"/>
                  <a:pt x="3904" y="8530"/>
                </a:cubicBezTo>
                <a:cubicBezTo>
                  <a:pt x="4052" y="8533"/>
                  <a:pt x="4200" y="8545"/>
                  <a:pt x="4345" y="8569"/>
                </a:cubicBezTo>
                <a:cubicBezTo>
                  <a:pt x="4377" y="8575"/>
                  <a:pt x="4409" y="8577"/>
                  <a:pt x="4441" y="8577"/>
                </a:cubicBezTo>
                <a:cubicBezTo>
                  <a:pt x="4704" y="8577"/>
                  <a:pt x="4941" y="8393"/>
                  <a:pt x="4994" y="8128"/>
                </a:cubicBezTo>
                <a:cubicBezTo>
                  <a:pt x="5369" y="6347"/>
                  <a:pt x="6891" y="5055"/>
                  <a:pt x="8612" y="5055"/>
                </a:cubicBezTo>
                <a:close/>
                <a:moveTo>
                  <a:pt x="13579" y="1"/>
                </a:moveTo>
                <a:cubicBezTo>
                  <a:pt x="11392" y="1"/>
                  <a:pt x="9410" y="1624"/>
                  <a:pt x="9128" y="3953"/>
                </a:cubicBezTo>
                <a:cubicBezTo>
                  <a:pt x="8954" y="3933"/>
                  <a:pt x="8780" y="3923"/>
                  <a:pt x="8607" y="3923"/>
                </a:cubicBezTo>
                <a:cubicBezTo>
                  <a:pt x="7490" y="3923"/>
                  <a:pt x="6402" y="4324"/>
                  <a:pt x="5550" y="5064"/>
                </a:cubicBezTo>
                <a:cubicBezTo>
                  <a:pt x="4831" y="5686"/>
                  <a:pt x="4300" y="6495"/>
                  <a:pt x="4016" y="7401"/>
                </a:cubicBezTo>
                <a:lnTo>
                  <a:pt x="3901" y="7401"/>
                </a:lnTo>
                <a:cubicBezTo>
                  <a:pt x="1752" y="7401"/>
                  <a:pt x="0" y="9231"/>
                  <a:pt x="0" y="11480"/>
                </a:cubicBezTo>
                <a:cubicBezTo>
                  <a:pt x="0" y="13730"/>
                  <a:pt x="1749" y="15562"/>
                  <a:pt x="3901" y="15562"/>
                </a:cubicBezTo>
                <a:lnTo>
                  <a:pt x="14838" y="15562"/>
                </a:lnTo>
                <a:cubicBezTo>
                  <a:pt x="17311" y="15562"/>
                  <a:pt x="19325" y="13455"/>
                  <a:pt x="19325" y="10867"/>
                </a:cubicBezTo>
                <a:cubicBezTo>
                  <a:pt x="19325" y="9985"/>
                  <a:pt x="19086" y="9122"/>
                  <a:pt x="18633" y="8364"/>
                </a:cubicBezTo>
                <a:cubicBezTo>
                  <a:pt x="18301" y="7808"/>
                  <a:pt x="17854" y="7331"/>
                  <a:pt x="17326" y="6960"/>
                </a:cubicBezTo>
                <a:cubicBezTo>
                  <a:pt x="18917" y="4544"/>
                  <a:pt x="17842" y="1274"/>
                  <a:pt x="15125" y="278"/>
                </a:cubicBezTo>
                <a:cubicBezTo>
                  <a:pt x="14611" y="89"/>
                  <a:pt x="14089" y="1"/>
                  <a:pt x="13579"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435D74"/>
              </a:solidFill>
              <a:latin typeface="Arial"/>
              <a:cs typeface="Arial"/>
              <a:sym typeface="Arial"/>
            </a:endParaRPr>
          </a:p>
        </p:txBody>
      </p:sp>
      <p:sp>
        <p:nvSpPr>
          <p:cNvPr id="9484" name="Google Shape;9484;p109"/>
          <p:cNvSpPr/>
          <p:nvPr/>
        </p:nvSpPr>
        <p:spPr>
          <a:xfrm>
            <a:off x="8413566" y="3699052"/>
            <a:ext cx="453628" cy="273144"/>
          </a:xfrm>
          <a:custGeom>
            <a:avLst/>
            <a:gdLst/>
            <a:ahLst/>
            <a:cxnLst/>
            <a:rect l="l" t="t" r="r" b="b"/>
            <a:pathLst>
              <a:path w="19328" h="11638" extrusionOk="0">
                <a:moveTo>
                  <a:pt x="8612" y="1133"/>
                </a:moveTo>
                <a:cubicBezTo>
                  <a:pt x="8920" y="1133"/>
                  <a:pt x="9222" y="1172"/>
                  <a:pt x="9518" y="1251"/>
                </a:cubicBezTo>
                <a:cubicBezTo>
                  <a:pt x="10710" y="1571"/>
                  <a:pt x="11674" y="2492"/>
                  <a:pt x="12093" y="3718"/>
                </a:cubicBezTo>
                <a:cubicBezTo>
                  <a:pt x="12176" y="3959"/>
                  <a:pt x="12399" y="4099"/>
                  <a:pt x="12630" y="4099"/>
                </a:cubicBezTo>
                <a:cubicBezTo>
                  <a:pt x="12743" y="4099"/>
                  <a:pt x="12858" y="4065"/>
                  <a:pt x="12960" y="3992"/>
                </a:cubicBezTo>
                <a:cubicBezTo>
                  <a:pt x="13506" y="3597"/>
                  <a:pt x="14165" y="3382"/>
                  <a:pt x="14838" y="3382"/>
                </a:cubicBezTo>
                <a:cubicBezTo>
                  <a:pt x="14844" y="3382"/>
                  <a:pt x="14850" y="3382"/>
                  <a:pt x="14856" y="3382"/>
                </a:cubicBezTo>
                <a:cubicBezTo>
                  <a:pt x="15360" y="3382"/>
                  <a:pt x="15858" y="3506"/>
                  <a:pt x="16308" y="3742"/>
                </a:cubicBezTo>
                <a:cubicBezTo>
                  <a:pt x="17471" y="4346"/>
                  <a:pt x="18193" y="5572"/>
                  <a:pt x="18193" y="6942"/>
                </a:cubicBezTo>
                <a:cubicBezTo>
                  <a:pt x="18193" y="8908"/>
                  <a:pt x="16689" y="10505"/>
                  <a:pt x="14838" y="10505"/>
                </a:cubicBezTo>
                <a:lnTo>
                  <a:pt x="3905" y="10505"/>
                </a:lnTo>
                <a:cubicBezTo>
                  <a:pt x="2377" y="10505"/>
                  <a:pt x="1133" y="9183"/>
                  <a:pt x="1133" y="7558"/>
                </a:cubicBezTo>
                <a:cubicBezTo>
                  <a:pt x="1133" y="5931"/>
                  <a:pt x="2377" y="4611"/>
                  <a:pt x="3905" y="4611"/>
                </a:cubicBezTo>
                <a:cubicBezTo>
                  <a:pt x="4053" y="4611"/>
                  <a:pt x="4200" y="4623"/>
                  <a:pt x="4345" y="4648"/>
                </a:cubicBezTo>
                <a:cubicBezTo>
                  <a:pt x="4378" y="4653"/>
                  <a:pt x="4410" y="4656"/>
                  <a:pt x="4442" y="4656"/>
                </a:cubicBezTo>
                <a:cubicBezTo>
                  <a:pt x="4704" y="4656"/>
                  <a:pt x="4941" y="4473"/>
                  <a:pt x="4995" y="4207"/>
                </a:cubicBezTo>
                <a:cubicBezTo>
                  <a:pt x="5369" y="2425"/>
                  <a:pt x="6891" y="1133"/>
                  <a:pt x="8612" y="1133"/>
                </a:cubicBezTo>
                <a:close/>
                <a:moveTo>
                  <a:pt x="8612" y="1"/>
                </a:moveTo>
                <a:cubicBezTo>
                  <a:pt x="7489" y="4"/>
                  <a:pt x="6405" y="408"/>
                  <a:pt x="5553" y="1142"/>
                </a:cubicBezTo>
                <a:cubicBezTo>
                  <a:pt x="4832" y="1764"/>
                  <a:pt x="4300" y="2573"/>
                  <a:pt x="4016" y="3479"/>
                </a:cubicBezTo>
                <a:lnTo>
                  <a:pt x="3905" y="3479"/>
                </a:lnTo>
                <a:cubicBezTo>
                  <a:pt x="1752" y="3479"/>
                  <a:pt x="0" y="5309"/>
                  <a:pt x="0" y="7558"/>
                </a:cubicBezTo>
                <a:cubicBezTo>
                  <a:pt x="0" y="9808"/>
                  <a:pt x="1752" y="11638"/>
                  <a:pt x="3905" y="11638"/>
                </a:cubicBezTo>
                <a:lnTo>
                  <a:pt x="14838" y="11638"/>
                </a:lnTo>
                <a:cubicBezTo>
                  <a:pt x="17314" y="11638"/>
                  <a:pt x="19325" y="9533"/>
                  <a:pt x="19325" y="6945"/>
                </a:cubicBezTo>
                <a:cubicBezTo>
                  <a:pt x="19328" y="6064"/>
                  <a:pt x="19089" y="5197"/>
                  <a:pt x="18636" y="4442"/>
                </a:cubicBezTo>
                <a:cubicBezTo>
                  <a:pt x="18202" y="3718"/>
                  <a:pt x="17577" y="3129"/>
                  <a:pt x="16831" y="2736"/>
                </a:cubicBezTo>
                <a:cubicBezTo>
                  <a:pt x="16206" y="2412"/>
                  <a:pt x="15522" y="2249"/>
                  <a:pt x="14838" y="2249"/>
                </a:cubicBezTo>
                <a:cubicBezTo>
                  <a:pt x="14173" y="2249"/>
                  <a:pt x="13508" y="2403"/>
                  <a:pt x="12896" y="2709"/>
                </a:cubicBezTo>
                <a:cubicBezTo>
                  <a:pt x="12265" y="1447"/>
                  <a:pt x="11151" y="514"/>
                  <a:pt x="9811" y="158"/>
                </a:cubicBezTo>
                <a:cubicBezTo>
                  <a:pt x="9421" y="55"/>
                  <a:pt x="9016" y="1"/>
                  <a:pt x="8612"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435D74"/>
              </a:solidFill>
              <a:latin typeface="Arial"/>
              <a:cs typeface="Arial"/>
              <a:sym typeface="Arial"/>
            </a:endParaRPr>
          </a:p>
        </p:txBody>
      </p:sp>
      <p:grpSp>
        <p:nvGrpSpPr>
          <p:cNvPr id="9485" name="Google Shape;9485;p109"/>
          <p:cNvGrpSpPr/>
          <p:nvPr/>
        </p:nvGrpSpPr>
        <p:grpSpPr>
          <a:xfrm>
            <a:off x="8970651" y="3609370"/>
            <a:ext cx="454848" cy="453605"/>
            <a:chOff x="3269875" y="3210400"/>
            <a:chExt cx="484500" cy="483175"/>
          </a:xfrm>
        </p:grpSpPr>
        <p:sp>
          <p:nvSpPr>
            <p:cNvPr id="9486" name="Google Shape;9486;p109"/>
            <p:cNvSpPr/>
            <p:nvPr/>
          </p:nvSpPr>
          <p:spPr>
            <a:xfrm>
              <a:off x="3364000" y="3303850"/>
              <a:ext cx="296300" cy="296300"/>
            </a:xfrm>
            <a:custGeom>
              <a:avLst/>
              <a:gdLst/>
              <a:ahLst/>
              <a:cxnLst/>
              <a:rect l="l" t="t" r="r" b="b"/>
              <a:pathLst>
                <a:path w="11852" h="11852" extrusionOk="0">
                  <a:moveTo>
                    <a:pt x="5925" y="1132"/>
                  </a:moveTo>
                  <a:cubicBezTo>
                    <a:pt x="7863" y="1132"/>
                    <a:pt x="9612" y="2298"/>
                    <a:pt x="10354" y="4088"/>
                  </a:cubicBezTo>
                  <a:cubicBezTo>
                    <a:pt x="11094" y="5882"/>
                    <a:pt x="10683" y="7941"/>
                    <a:pt x="9313" y="9312"/>
                  </a:cubicBezTo>
                  <a:cubicBezTo>
                    <a:pt x="8395" y="10230"/>
                    <a:pt x="7169" y="10717"/>
                    <a:pt x="5920" y="10717"/>
                  </a:cubicBezTo>
                  <a:cubicBezTo>
                    <a:pt x="5304" y="10717"/>
                    <a:pt x="4682" y="10598"/>
                    <a:pt x="4089" y="10354"/>
                  </a:cubicBezTo>
                  <a:cubicBezTo>
                    <a:pt x="2298" y="9611"/>
                    <a:pt x="1133" y="7863"/>
                    <a:pt x="1133" y="5924"/>
                  </a:cubicBezTo>
                  <a:cubicBezTo>
                    <a:pt x="1133" y="3279"/>
                    <a:pt x="3280" y="1132"/>
                    <a:pt x="5925" y="1132"/>
                  </a:cubicBezTo>
                  <a:close/>
                  <a:moveTo>
                    <a:pt x="5925" y="0"/>
                  </a:moveTo>
                  <a:cubicBezTo>
                    <a:pt x="2658" y="0"/>
                    <a:pt x="1" y="2657"/>
                    <a:pt x="1" y="5924"/>
                  </a:cubicBezTo>
                  <a:cubicBezTo>
                    <a:pt x="1" y="9191"/>
                    <a:pt x="2658" y="11851"/>
                    <a:pt x="5925" y="11851"/>
                  </a:cubicBezTo>
                  <a:cubicBezTo>
                    <a:pt x="9192" y="11851"/>
                    <a:pt x="11852" y="9191"/>
                    <a:pt x="11852" y="5924"/>
                  </a:cubicBezTo>
                  <a:cubicBezTo>
                    <a:pt x="11852" y="2657"/>
                    <a:pt x="9192" y="0"/>
                    <a:pt x="5925"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435D74"/>
                </a:solidFill>
                <a:latin typeface="Arial"/>
                <a:cs typeface="Arial"/>
                <a:sym typeface="Arial"/>
              </a:endParaRPr>
            </a:p>
          </p:txBody>
        </p:sp>
        <p:sp>
          <p:nvSpPr>
            <p:cNvPr id="9487" name="Google Shape;9487;p109"/>
            <p:cNvSpPr/>
            <p:nvPr/>
          </p:nvSpPr>
          <p:spPr>
            <a:xfrm>
              <a:off x="3269875" y="3210400"/>
              <a:ext cx="484500" cy="483175"/>
            </a:xfrm>
            <a:custGeom>
              <a:avLst/>
              <a:gdLst/>
              <a:ahLst/>
              <a:cxnLst/>
              <a:rect l="l" t="t" r="r" b="b"/>
              <a:pathLst>
                <a:path w="19380" h="19327" extrusionOk="0">
                  <a:moveTo>
                    <a:pt x="9690" y="1208"/>
                  </a:moveTo>
                  <a:lnTo>
                    <a:pt x="11426" y="2126"/>
                  </a:lnTo>
                  <a:cubicBezTo>
                    <a:pt x="11507" y="2168"/>
                    <a:pt x="11598" y="2192"/>
                    <a:pt x="11692" y="2192"/>
                  </a:cubicBezTo>
                  <a:lnTo>
                    <a:pt x="13651" y="2192"/>
                  </a:lnTo>
                  <a:lnTo>
                    <a:pt x="14765" y="3817"/>
                  </a:lnTo>
                  <a:cubicBezTo>
                    <a:pt x="14817" y="3892"/>
                    <a:pt x="14886" y="3955"/>
                    <a:pt x="14968" y="3998"/>
                  </a:cubicBezTo>
                  <a:lnTo>
                    <a:pt x="16704" y="4916"/>
                  </a:lnTo>
                  <a:lnTo>
                    <a:pt x="16939" y="6878"/>
                  </a:lnTo>
                  <a:cubicBezTo>
                    <a:pt x="16952" y="6969"/>
                    <a:pt x="16985" y="7056"/>
                    <a:pt x="17036" y="7132"/>
                  </a:cubicBezTo>
                  <a:lnTo>
                    <a:pt x="18150" y="8759"/>
                  </a:lnTo>
                  <a:lnTo>
                    <a:pt x="17456" y="10610"/>
                  </a:lnTo>
                  <a:cubicBezTo>
                    <a:pt x="17423" y="10695"/>
                    <a:pt x="17410" y="10785"/>
                    <a:pt x="17423" y="10876"/>
                  </a:cubicBezTo>
                  <a:lnTo>
                    <a:pt x="17658" y="12842"/>
                  </a:lnTo>
                  <a:lnTo>
                    <a:pt x="16188" y="14155"/>
                  </a:lnTo>
                  <a:cubicBezTo>
                    <a:pt x="16121" y="14216"/>
                    <a:pt x="16067" y="14291"/>
                    <a:pt x="16037" y="14379"/>
                  </a:cubicBezTo>
                  <a:lnTo>
                    <a:pt x="15339" y="16226"/>
                  </a:lnTo>
                  <a:lnTo>
                    <a:pt x="13437" y="16701"/>
                  </a:lnTo>
                  <a:cubicBezTo>
                    <a:pt x="13346" y="16722"/>
                    <a:pt x="13265" y="16764"/>
                    <a:pt x="13195" y="16827"/>
                  </a:cubicBezTo>
                  <a:lnTo>
                    <a:pt x="11728" y="18138"/>
                  </a:lnTo>
                  <a:lnTo>
                    <a:pt x="9826" y="17664"/>
                  </a:lnTo>
                  <a:cubicBezTo>
                    <a:pt x="9782" y="17653"/>
                    <a:pt x="9736" y="17648"/>
                    <a:pt x="9690" y="17648"/>
                  </a:cubicBezTo>
                  <a:cubicBezTo>
                    <a:pt x="9644" y="17648"/>
                    <a:pt x="9598" y="17653"/>
                    <a:pt x="9554" y="17664"/>
                  </a:cubicBezTo>
                  <a:lnTo>
                    <a:pt x="7652" y="18138"/>
                  </a:lnTo>
                  <a:lnTo>
                    <a:pt x="6184" y="16827"/>
                  </a:lnTo>
                  <a:cubicBezTo>
                    <a:pt x="6115" y="16767"/>
                    <a:pt x="6033" y="16722"/>
                    <a:pt x="5943" y="16701"/>
                  </a:cubicBezTo>
                  <a:lnTo>
                    <a:pt x="4040" y="16226"/>
                  </a:lnTo>
                  <a:lnTo>
                    <a:pt x="3343" y="14379"/>
                  </a:lnTo>
                  <a:cubicBezTo>
                    <a:pt x="3313" y="14291"/>
                    <a:pt x="3258" y="14216"/>
                    <a:pt x="3192" y="14155"/>
                  </a:cubicBezTo>
                  <a:lnTo>
                    <a:pt x="1721" y="12842"/>
                  </a:lnTo>
                  <a:lnTo>
                    <a:pt x="1960" y="10879"/>
                  </a:lnTo>
                  <a:cubicBezTo>
                    <a:pt x="1969" y="10788"/>
                    <a:pt x="1960" y="10695"/>
                    <a:pt x="1927" y="10610"/>
                  </a:cubicBezTo>
                  <a:lnTo>
                    <a:pt x="1229" y="8762"/>
                  </a:lnTo>
                  <a:lnTo>
                    <a:pt x="2346" y="7132"/>
                  </a:lnTo>
                  <a:cubicBezTo>
                    <a:pt x="2398" y="7056"/>
                    <a:pt x="2428" y="6969"/>
                    <a:pt x="2440" y="6878"/>
                  </a:cubicBezTo>
                  <a:lnTo>
                    <a:pt x="2679" y="4916"/>
                  </a:lnTo>
                  <a:lnTo>
                    <a:pt x="4415" y="3998"/>
                  </a:lnTo>
                  <a:cubicBezTo>
                    <a:pt x="4493" y="3955"/>
                    <a:pt x="4563" y="3892"/>
                    <a:pt x="4617" y="3817"/>
                  </a:cubicBezTo>
                  <a:lnTo>
                    <a:pt x="5731" y="2192"/>
                  </a:lnTo>
                  <a:lnTo>
                    <a:pt x="7691" y="2192"/>
                  </a:lnTo>
                  <a:cubicBezTo>
                    <a:pt x="7781" y="2192"/>
                    <a:pt x="7872" y="2168"/>
                    <a:pt x="7954" y="2126"/>
                  </a:cubicBezTo>
                  <a:lnTo>
                    <a:pt x="9690" y="1208"/>
                  </a:lnTo>
                  <a:close/>
                  <a:moveTo>
                    <a:pt x="9690" y="1"/>
                  </a:moveTo>
                  <a:cubicBezTo>
                    <a:pt x="9599" y="1"/>
                    <a:pt x="9509" y="23"/>
                    <a:pt x="9427" y="66"/>
                  </a:cubicBezTo>
                  <a:lnTo>
                    <a:pt x="7549" y="1057"/>
                  </a:lnTo>
                  <a:lnTo>
                    <a:pt x="5432" y="1057"/>
                  </a:lnTo>
                  <a:cubicBezTo>
                    <a:pt x="5245" y="1057"/>
                    <a:pt x="5070" y="1150"/>
                    <a:pt x="4964" y="1304"/>
                  </a:cubicBezTo>
                  <a:lnTo>
                    <a:pt x="3760" y="3062"/>
                  </a:lnTo>
                  <a:lnTo>
                    <a:pt x="1885" y="4052"/>
                  </a:lnTo>
                  <a:cubicBezTo>
                    <a:pt x="1721" y="4140"/>
                    <a:pt x="1610" y="4300"/>
                    <a:pt x="1586" y="4484"/>
                  </a:cubicBezTo>
                  <a:lnTo>
                    <a:pt x="1332" y="6607"/>
                  </a:lnTo>
                  <a:lnTo>
                    <a:pt x="127" y="8364"/>
                  </a:lnTo>
                  <a:cubicBezTo>
                    <a:pt x="22" y="8515"/>
                    <a:pt x="0" y="8711"/>
                    <a:pt x="67" y="8883"/>
                  </a:cubicBezTo>
                  <a:lnTo>
                    <a:pt x="819" y="10882"/>
                  </a:lnTo>
                  <a:lnTo>
                    <a:pt x="562" y="13002"/>
                  </a:lnTo>
                  <a:cubicBezTo>
                    <a:pt x="538" y="13186"/>
                    <a:pt x="607" y="13370"/>
                    <a:pt x="746" y="13494"/>
                  </a:cubicBezTo>
                  <a:lnTo>
                    <a:pt x="2331" y="14910"/>
                  </a:lnTo>
                  <a:lnTo>
                    <a:pt x="3083" y="16906"/>
                  </a:lnTo>
                  <a:cubicBezTo>
                    <a:pt x="3150" y="17081"/>
                    <a:pt x="3298" y="17211"/>
                    <a:pt x="3476" y="17256"/>
                  </a:cubicBezTo>
                  <a:lnTo>
                    <a:pt x="5535" y="17766"/>
                  </a:lnTo>
                  <a:lnTo>
                    <a:pt x="7120" y="19183"/>
                  </a:lnTo>
                  <a:cubicBezTo>
                    <a:pt x="7225" y="19276"/>
                    <a:pt x="7360" y="19326"/>
                    <a:pt x="7498" y="19326"/>
                  </a:cubicBezTo>
                  <a:cubicBezTo>
                    <a:pt x="7543" y="19326"/>
                    <a:pt x="7589" y="19321"/>
                    <a:pt x="7634" y="19309"/>
                  </a:cubicBezTo>
                  <a:lnTo>
                    <a:pt x="9690" y="18796"/>
                  </a:lnTo>
                  <a:lnTo>
                    <a:pt x="11746" y="19306"/>
                  </a:lnTo>
                  <a:cubicBezTo>
                    <a:pt x="11791" y="19318"/>
                    <a:pt x="11837" y="19324"/>
                    <a:pt x="11882" y="19324"/>
                  </a:cubicBezTo>
                  <a:cubicBezTo>
                    <a:pt x="12021" y="19324"/>
                    <a:pt x="12157" y="19273"/>
                    <a:pt x="12259" y="19180"/>
                  </a:cubicBezTo>
                  <a:lnTo>
                    <a:pt x="13845" y="17763"/>
                  </a:lnTo>
                  <a:lnTo>
                    <a:pt x="15901" y="17253"/>
                  </a:lnTo>
                  <a:cubicBezTo>
                    <a:pt x="16082" y="17208"/>
                    <a:pt x="16230" y="17078"/>
                    <a:pt x="16296" y="16903"/>
                  </a:cubicBezTo>
                  <a:lnTo>
                    <a:pt x="17048" y="14907"/>
                  </a:lnTo>
                  <a:lnTo>
                    <a:pt x="18633" y="13491"/>
                  </a:lnTo>
                  <a:cubicBezTo>
                    <a:pt x="18769" y="13367"/>
                    <a:pt x="18839" y="13183"/>
                    <a:pt x="18818" y="12999"/>
                  </a:cubicBezTo>
                  <a:lnTo>
                    <a:pt x="18561" y="10879"/>
                  </a:lnTo>
                  <a:lnTo>
                    <a:pt x="19313" y="8880"/>
                  </a:lnTo>
                  <a:cubicBezTo>
                    <a:pt x="19379" y="8708"/>
                    <a:pt x="19355" y="8515"/>
                    <a:pt x="19249" y="8361"/>
                  </a:cubicBezTo>
                  <a:lnTo>
                    <a:pt x="18048" y="6607"/>
                  </a:lnTo>
                  <a:lnTo>
                    <a:pt x="17794" y="4484"/>
                  </a:lnTo>
                  <a:cubicBezTo>
                    <a:pt x="17770" y="4300"/>
                    <a:pt x="17658" y="4140"/>
                    <a:pt x="17495" y="4052"/>
                  </a:cubicBezTo>
                  <a:lnTo>
                    <a:pt x="15620" y="3059"/>
                  </a:lnTo>
                  <a:lnTo>
                    <a:pt x="14415" y="1301"/>
                  </a:lnTo>
                  <a:cubicBezTo>
                    <a:pt x="14310" y="1147"/>
                    <a:pt x="14134" y="1057"/>
                    <a:pt x="13947" y="1057"/>
                  </a:cubicBezTo>
                  <a:lnTo>
                    <a:pt x="11831" y="1057"/>
                  </a:lnTo>
                  <a:lnTo>
                    <a:pt x="9955" y="66"/>
                  </a:lnTo>
                  <a:cubicBezTo>
                    <a:pt x="9872" y="23"/>
                    <a:pt x="9781" y="1"/>
                    <a:pt x="9690"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435D74"/>
                </a:solidFill>
                <a:latin typeface="Arial"/>
                <a:cs typeface="Arial"/>
                <a:sym typeface="Arial"/>
              </a:endParaRPr>
            </a:p>
          </p:txBody>
        </p:sp>
      </p:grpSp>
      <p:grpSp>
        <p:nvGrpSpPr>
          <p:cNvPr id="9488" name="Google Shape;9488;p109"/>
          <p:cNvGrpSpPr/>
          <p:nvPr/>
        </p:nvGrpSpPr>
        <p:grpSpPr>
          <a:xfrm>
            <a:off x="9636109" y="3608889"/>
            <a:ext cx="226955" cy="454567"/>
            <a:chOff x="3985700" y="3210375"/>
            <a:chExt cx="241750" cy="484200"/>
          </a:xfrm>
        </p:grpSpPr>
        <p:sp>
          <p:nvSpPr>
            <p:cNvPr id="9489" name="Google Shape;9489;p109"/>
            <p:cNvSpPr/>
            <p:nvPr/>
          </p:nvSpPr>
          <p:spPr>
            <a:xfrm>
              <a:off x="4042700" y="3294475"/>
              <a:ext cx="127750" cy="339425"/>
            </a:xfrm>
            <a:custGeom>
              <a:avLst/>
              <a:gdLst/>
              <a:ahLst/>
              <a:cxnLst/>
              <a:rect l="l" t="t" r="r" b="b"/>
              <a:pathLst>
                <a:path w="5110" h="13577" extrusionOk="0">
                  <a:moveTo>
                    <a:pt x="2554" y="9854"/>
                  </a:moveTo>
                  <a:cubicBezTo>
                    <a:pt x="2721" y="9854"/>
                    <a:pt x="2890" y="9887"/>
                    <a:pt x="3050" y="9953"/>
                  </a:cubicBezTo>
                  <a:cubicBezTo>
                    <a:pt x="3533" y="10155"/>
                    <a:pt x="3850" y="10626"/>
                    <a:pt x="3850" y="11151"/>
                  </a:cubicBezTo>
                  <a:cubicBezTo>
                    <a:pt x="3850" y="11864"/>
                    <a:pt x="3271" y="12444"/>
                    <a:pt x="2555" y="12447"/>
                  </a:cubicBezTo>
                  <a:cubicBezTo>
                    <a:pt x="2030" y="12447"/>
                    <a:pt x="1558" y="12130"/>
                    <a:pt x="1356" y="11647"/>
                  </a:cubicBezTo>
                  <a:cubicBezTo>
                    <a:pt x="1157" y="11164"/>
                    <a:pt x="1269" y="10605"/>
                    <a:pt x="1637" y="10234"/>
                  </a:cubicBezTo>
                  <a:cubicBezTo>
                    <a:pt x="1885" y="9985"/>
                    <a:pt x="2217" y="9854"/>
                    <a:pt x="2554" y="9854"/>
                  </a:cubicBezTo>
                  <a:close/>
                  <a:moveTo>
                    <a:pt x="2555" y="1"/>
                  </a:moveTo>
                  <a:cubicBezTo>
                    <a:pt x="2241" y="1"/>
                    <a:pt x="1990" y="254"/>
                    <a:pt x="1990" y="565"/>
                  </a:cubicBezTo>
                  <a:lnTo>
                    <a:pt x="1990" y="8790"/>
                  </a:lnTo>
                  <a:cubicBezTo>
                    <a:pt x="792" y="9077"/>
                    <a:pt x="0" y="10215"/>
                    <a:pt x="145" y="11435"/>
                  </a:cubicBezTo>
                  <a:cubicBezTo>
                    <a:pt x="287" y="12658"/>
                    <a:pt x="1326" y="13576"/>
                    <a:pt x="2555" y="13576"/>
                  </a:cubicBezTo>
                  <a:cubicBezTo>
                    <a:pt x="3784" y="13576"/>
                    <a:pt x="4823" y="12658"/>
                    <a:pt x="4964" y="11435"/>
                  </a:cubicBezTo>
                  <a:cubicBezTo>
                    <a:pt x="5109" y="10215"/>
                    <a:pt x="4318" y="9077"/>
                    <a:pt x="3123" y="8790"/>
                  </a:cubicBezTo>
                  <a:lnTo>
                    <a:pt x="3123" y="565"/>
                  </a:lnTo>
                  <a:cubicBezTo>
                    <a:pt x="3123" y="254"/>
                    <a:pt x="2869" y="1"/>
                    <a:pt x="2555"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435D74"/>
                </a:solidFill>
                <a:latin typeface="Arial"/>
                <a:cs typeface="Arial"/>
                <a:sym typeface="Arial"/>
              </a:endParaRPr>
            </a:p>
          </p:txBody>
        </p:sp>
        <p:sp>
          <p:nvSpPr>
            <p:cNvPr id="9490" name="Google Shape;9490;p109"/>
            <p:cNvSpPr/>
            <p:nvPr/>
          </p:nvSpPr>
          <p:spPr>
            <a:xfrm>
              <a:off x="3985700" y="3210375"/>
              <a:ext cx="241750" cy="484200"/>
            </a:xfrm>
            <a:custGeom>
              <a:avLst/>
              <a:gdLst/>
              <a:ahLst/>
              <a:cxnLst/>
              <a:rect l="l" t="t" r="r" b="b"/>
              <a:pathLst>
                <a:path w="9670" h="19368" extrusionOk="0">
                  <a:moveTo>
                    <a:pt x="4835" y="1133"/>
                  </a:moveTo>
                  <a:cubicBezTo>
                    <a:pt x="5792" y="1133"/>
                    <a:pt x="6571" y="1909"/>
                    <a:pt x="6571" y="2869"/>
                  </a:cubicBezTo>
                  <a:lnTo>
                    <a:pt x="6574" y="10853"/>
                  </a:lnTo>
                  <a:lnTo>
                    <a:pt x="6574" y="10871"/>
                  </a:lnTo>
                  <a:cubicBezTo>
                    <a:pt x="6568" y="11073"/>
                    <a:pt x="6668" y="11260"/>
                    <a:pt x="6837" y="11369"/>
                  </a:cubicBezTo>
                  <a:cubicBezTo>
                    <a:pt x="7869" y="12027"/>
                    <a:pt x="8513" y="13232"/>
                    <a:pt x="8513" y="14512"/>
                  </a:cubicBezTo>
                  <a:cubicBezTo>
                    <a:pt x="8510" y="16545"/>
                    <a:pt x="6864" y="18190"/>
                    <a:pt x="4835" y="18193"/>
                  </a:cubicBezTo>
                  <a:cubicBezTo>
                    <a:pt x="2803" y="18190"/>
                    <a:pt x="1157" y="16545"/>
                    <a:pt x="1157" y="14515"/>
                  </a:cubicBezTo>
                  <a:cubicBezTo>
                    <a:pt x="1157" y="13280"/>
                    <a:pt x="1818" y="12043"/>
                    <a:pt x="2842" y="11363"/>
                  </a:cubicBezTo>
                  <a:cubicBezTo>
                    <a:pt x="2987" y="11267"/>
                    <a:pt x="3078" y="11110"/>
                    <a:pt x="3093" y="10934"/>
                  </a:cubicBezTo>
                  <a:cubicBezTo>
                    <a:pt x="3096" y="10907"/>
                    <a:pt x="3099" y="10880"/>
                    <a:pt x="3099" y="10856"/>
                  </a:cubicBezTo>
                  <a:lnTo>
                    <a:pt x="3099" y="2869"/>
                  </a:lnTo>
                  <a:cubicBezTo>
                    <a:pt x="3099" y="1909"/>
                    <a:pt x="3875" y="1133"/>
                    <a:pt x="4835" y="1133"/>
                  </a:cubicBezTo>
                  <a:close/>
                  <a:moveTo>
                    <a:pt x="4835" y="1"/>
                  </a:moveTo>
                  <a:cubicBezTo>
                    <a:pt x="3250" y="1"/>
                    <a:pt x="1966" y="1284"/>
                    <a:pt x="1966" y="2869"/>
                  </a:cubicBezTo>
                  <a:lnTo>
                    <a:pt x="1966" y="10596"/>
                  </a:lnTo>
                  <a:cubicBezTo>
                    <a:pt x="750" y="11532"/>
                    <a:pt x="34" y="12979"/>
                    <a:pt x="25" y="14515"/>
                  </a:cubicBezTo>
                  <a:cubicBezTo>
                    <a:pt x="1" y="17188"/>
                    <a:pt x="2163" y="19368"/>
                    <a:pt x="4835" y="19368"/>
                  </a:cubicBezTo>
                  <a:cubicBezTo>
                    <a:pt x="7510" y="19368"/>
                    <a:pt x="9669" y="17188"/>
                    <a:pt x="9648" y="14515"/>
                  </a:cubicBezTo>
                  <a:cubicBezTo>
                    <a:pt x="9648" y="13688"/>
                    <a:pt x="9443" y="12879"/>
                    <a:pt x="9053" y="12151"/>
                  </a:cubicBezTo>
                  <a:cubicBezTo>
                    <a:pt x="8724" y="11541"/>
                    <a:pt x="8265" y="11010"/>
                    <a:pt x="7709" y="10596"/>
                  </a:cubicBezTo>
                  <a:lnTo>
                    <a:pt x="7703" y="2869"/>
                  </a:lnTo>
                  <a:cubicBezTo>
                    <a:pt x="7703" y="1284"/>
                    <a:pt x="6420" y="1"/>
                    <a:pt x="4835"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435D74"/>
                </a:solidFill>
                <a:latin typeface="Arial"/>
                <a:cs typeface="Arial"/>
                <a:sym typeface="Arial"/>
              </a:endParaRPr>
            </a:p>
          </p:txBody>
        </p:sp>
      </p:grpSp>
      <p:grpSp>
        <p:nvGrpSpPr>
          <p:cNvPr id="9491" name="Google Shape;9491;p109"/>
          <p:cNvGrpSpPr/>
          <p:nvPr/>
        </p:nvGrpSpPr>
        <p:grpSpPr>
          <a:xfrm>
            <a:off x="10088469" y="3610238"/>
            <a:ext cx="452009" cy="451868"/>
            <a:chOff x="4460225" y="3211300"/>
            <a:chExt cx="481475" cy="481325"/>
          </a:xfrm>
        </p:grpSpPr>
        <p:sp>
          <p:nvSpPr>
            <p:cNvPr id="9492" name="Google Shape;9492;p109"/>
            <p:cNvSpPr/>
            <p:nvPr/>
          </p:nvSpPr>
          <p:spPr>
            <a:xfrm>
              <a:off x="4602350" y="3353250"/>
              <a:ext cx="205125" cy="197375"/>
            </a:xfrm>
            <a:custGeom>
              <a:avLst/>
              <a:gdLst/>
              <a:ahLst/>
              <a:cxnLst/>
              <a:rect l="l" t="t" r="r" b="b"/>
              <a:pathLst>
                <a:path w="8205" h="7895" extrusionOk="0">
                  <a:moveTo>
                    <a:pt x="3947" y="1134"/>
                  </a:moveTo>
                  <a:cubicBezTo>
                    <a:pt x="5085" y="1134"/>
                    <a:pt x="6112" y="1819"/>
                    <a:pt x="6547" y="2870"/>
                  </a:cubicBezTo>
                  <a:cubicBezTo>
                    <a:pt x="6982" y="3924"/>
                    <a:pt x="6743" y="5132"/>
                    <a:pt x="5937" y="5938"/>
                  </a:cubicBezTo>
                  <a:cubicBezTo>
                    <a:pt x="5398" y="6477"/>
                    <a:pt x="4680" y="6762"/>
                    <a:pt x="3948" y="6762"/>
                  </a:cubicBezTo>
                  <a:cubicBezTo>
                    <a:pt x="3585" y="6762"/>
                    <a:pt x="3218" y="6692"/>
                    <a:pt x="2869" y="6548"/>
                  </a:cubicBezTo>
                  <a:cubicBezTo>
                    <a:pt x="1818" y="6113"/>
                    <a:pt x="1133" y="5087"/>
                    <a:pt x="1133" y="3948"/>
                  </a:cubicBezTo>
                  <a:cubicBezTo>
                    <a:pt x="1133" y="2393"/>
                    <a:pt x="2392" y="1134"/>
                    <a:pt x="3947" y="1134"/>
                  </a:cubicBezTo>
                  <a:close/>
                  <a:moveTo>
                    <a:pt x="3944" y="1"/>
                  </a:moveTo>
                  <a:cubicBezTo>
                    <a:pt x="3436" y="1"/>
                    <a:pt x="2925" y="99"/>
                    <a:pt x="2437" y="301"/>
                  </a:cubicBezTo>
                  <a:cubicBezTo>
                    <a:pt x="961" y="914"/>
                    <a:pt x="1" y="2351"/>
                    <a:pt x="1" y="3948"/>
                  </a:cubicBezTo>
                  <a:cubicBezTo>
                    <a:pt x="4" y="6128"/>
                    <a:pt x="1767" y="7892"/>
                    <a:pt x="3947" y="7895"/>
                  </a:cubicBezTo>
                  <a:cubicBezTo>
                    <a:pt x="5544" y="7895"/>
                    <a:pt x="6982" y="6934"/>
                    <a:pt x="7595" y="5458"/>
                  </a:cubicBezTo>
                  <a:cubicBezTo>
                    <a:pt x="8204" y="3984"/>
                    <a:pt x="7866" y="2287"/>
                    <a:pt x="6737" y="1158"/>
                  </a:cubicBezTo>
                  <a:cubicBezTo>
                    <a:pt x="5981" y="402"/>
                    <a:pt x="4971" y="1"/>
                    <a:pt x="3944"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435D74"/>
                </a:solidFill>
                <a:latin typeface="Arial"/>
                <a:cs typeface="Arial"/>
                <a:sym typeface="Arial"/>
              </a:endParaRPr>
            </a:p>
          </p:txBody>
        </p:sp>
        <p:sp>
          <p:nvSpPr>
            <p:cNvPr id="9493" name="Google Shape;9493;p109"/>
            <p:cNvSpPr/>
            <p:nvPr/>
          </p:nvSpPr>
          <p:spPr>
            <a:xfrm>
              <a:off x="4460225" y="3211300"/>
              <a:ext cx="481475" cy="481325"/>
            </a:xfrm>
            <a:custGeom>
              <a:avLst/>
              <a:gdLst/>
              <a:ahLst/>
              <a:cxnLst/>
              <a:rect l="l" t="t" r="r" b="b"/>
              <a:pathLst>
                <a:path w="19259" h="19253" extrusionOk="0">
                  <a:moveTo>
                    <a:pt x="9632" y="1126"/>
                  </a:moveTo>
                  <a:cubicBezTo>
                    <a:pt x="10704" y="1126"/>
                    <a:pt x="11649" y="1824"/>
                    <a:pt x="11972" y="2845"/>
                  </a:cubicBezTo>
                  <a:cubicBezTo>
                    <a:pt x="12049" y="3090"/>
                    <a:pt x="12276" y="3240"/>
                    <a:pt x="12513" y="3240"/>
                  </a:cubicBezTo>
                  <a:cubicBezTo>
                    <a:pt x="12600" y="3240"/>
                    <a:pt x="12689" y="3220"/>
                    <a:pt x="12772" y="3177"/>
                  </a:cubicBezTo>
                  <a:cubicBezTo>
                    <a:pt x="13131" y="2990"/>
                    <a:pt x="13520" y="2899"/>
                    <a:pt x="13906" y="2899"/>
                  </a:cubicBezTo>
                  <a:cubicBezTo>
                    <a:pt x="14542" y="2899"/>
                    <a:pt x="15169" y="3146"/>
                    <a:pt x="15641" y="3617"/>
                  </a:cubicBezTo>
                  <a:cubicBezTo>
                    <a:pt x="16399" y="4375"/>
                    <a:pt x="16577" y="5535"/>
                    <a:pt x="16082" y="6486"/>
                  </a:cubicBezTo>
                  <a:cubicBezTo>
                    <a:pt x="15922" y="6797"/>
                    <a:pt x="16079" y="7180"/>
                    <a:pt x="16414" y="7286"/>
                  </a:cubicBezTo>
                  <a:cubicBezTo>
                    <a:pt x="17434" y="7609"/>
                    <a:pt x="18132" y="8554"/>
                    <a:pt x="18132" y="9626"/>
                  </a:cubicBezTo>
                  <a:cubicBezTo>
                    <a:pt x="18132" y="10698"/>
                    <a:pt x="17434" y="11643"/>
                    <a:pt x="16414" y="11966"/>
                  </a:cubicBezTo>
                  <a:cubicBezTo>
                    <a:pt x="16079" y="12072"/>
                    <a:pt x="15922" y="12455"/>
                    <a:pt x="16082" y="12766"/>
                  </a:cubicBezTo>
                  <a:cubicBezTo>
                    <a:pt x="16577" y="13718"/>
                    <a:pt x="16399" y="14877"/>
                    <a:pt x="15641" y="15635"/>
                  </a:cubicBezTo>
                  <a:cubicBezTo>
                    <a:pt x="15169" y="16107"/>
                    <a:pt x="14542" y="16354"/>
                    <a:pt x="13906" y="16354"/>
                  </a:cubicBezTo>
                  <a:cubicBezTo>
                    <a:pt x="13520" y="16354"/>
                    <a:pt x="13131" y="16263"/>
                    <a:pt x="12772" y="16076"/>
                  </a:cubicBezTo>
                  <a:cubicBezTo>
                    <a:pt x="12689" y="16033"/>
                    <a:pt x="12600" y="16013"/>
                    <a:pt x="12513" y="16013"/>
                  </a:cubicBezTo>
                  <a:cubicBezTo>
                    <a:pt x="12276" y="16013"/>
                    <a:pt x="12049" y="16163"/>
                    <a:pt x="11972" y="16408"/>
                  </a:cubicBezTo>
                  <a:cubicBezTo>
                    <a:pt x="11649" y="17428"/>
                    <a:pt x="10704" y="18126"/>
                    <a:pt x="9632" y="18126"/>
                  </a:cubicBezTo>
                  <a:cubicBezTo>
                    <a:pt x="8560" y="18126"/>
                    <a:pt x="7615" y="17428"/>
                    <a:pt x="7292" y="16408"/>
                  </a:cubicBezTo>
                  <a:cubicBezTo>
                    <a:pt x="7215" y="16163"/>
                    <a:pt x="6988" y="16013"/>
                    <a:pt x="6751" y="16013"/>
                  </a:cubicBezTo>
                  <a:cubicBezTo>
                    <a:pt x="6664" y="16013"/>
                    <a:pt x="6575" y="16033"/>
                    <a:pt x="6492" y="16076"/>
                  </a:cubicBezTo>
                  <a:cubicBezTo>
                    <a:pt x="6133" y="16263"/>
                    <a:pt x="5744" y="16354"/>
                    <a:pt x="5358" y="16354"/>
                  </a:cubicBezTo>
                  <a:cubicBezTo>
                    <a:pt x="4722" y="16354"/>
                    <a:pt x="4095" y="16107"/>
                    <a:pt x="3623" y="15635"/>
                  </a:cubicBezTo>
                  <a:cubicBezTo>
                    <a:pt x="2865" y="14877"/>
                    <a:pt x="2687" y="13718"/>
                    <a:pt x="3183" y="12766"/>
                  </a:cubicBezTo>
                  <a:cubicBezTo>
                    <a:pt x="3343" y="12455"/>
                    <a:pt x="3186" y="12072"/>
                    <a:pt x="2850" y="11966"/>
                  </a:cubicBezTo>
                  <a:cubicBezTo>
                    <a:pt x="1830" y="11643"/>
                    <a:pt x="1132" y="10698"/>
                    <a:pt x="1132" y="9626"/>
                  </a:cubicBezTo>
                  <a:cubicBezTo>
                    <a:pt x="1132" y="8554"/>
                    <a:pt x="1830" y="7609"/>
                    <a:pt x="2850" y="7286"/>
                  </a:cubicBezTo>
                  <a:cubicBezTo>
                    <a:pt x="3186" y="7180"/>
                    <a:pt x="3343" y="6797"/>
                    <a:pt x="3183" y="6486"/>
                  </a:cubicBezTo>
                  <a:cubicBezTo>
                    <a:pt x="2687" y="5535"/>
                    <a:pt x="2865" y="4375"/>
                    <a:pt x="3623" y="3617"/>
                  </a:cubicBezTo>
                  <a:cubicBezTo>
                    <a:pt x="4095" y="3146"/>
                    <a:pt x="4722" y="2899"/>
                    <a:pt x="5358" y="2899"/>
                  </a:cubicBezTo>
                  <a:cubicBezTo>
                    <a:pt x="5744" y="2899"/>
                    <a:pt x="6133" y="2990"/>
                    <a:pt x="6492" y="3177"/>
                  </a:cubicBezTo>
                  <a:cubicBezTo>
                    <a:pt x="6575" y="3220"/>
                    <a:pt x="6664" y="3240"/>
                    <a:pt x="6751" y="3240"/>
                  </a:cubicBezTo>
                  <a:cubicBezTo>
                    <a:pt x="6988" y="3240"/>
                    <a:pt x="7215" y="3090"/>
                    <a:pt x="7292" y="2845"/>
                  </a:cubicBezTo>
                  <a:cubicBezTo>
                    <a:pt x="7615" y="1824"/>
                    <a:pt x="8560" y="1126"/>
                    <a:pt x="9632" y="1126"/>
                  </a:cubicBezTo>
                  <a:close/>
                  <a:moveTo>
                    <a:pt x="9632" y="0"/>
                  </a:moveTo>
                  <a:cubicBezTo>
                    <a:pt x="8291" y="0"/>
                    <a:pt x="7062" y="746"/>
                    <a:pt x="6447" y="1936"/>
                  </a:cubicBezTo>
                  <a:cubicBezTo>
                    <a:pt x="6091" y="1823"/>
                    <a:pt x="5726" y="1768"/>
                    <a:pt x="5364" y="1768"/>
                  </a:cubicBezTo>
                  <a:cubicBezTo>
                    <a:pt x="4426" y="1768"/>
                    <a:pt x="3508" y="2136"/>
                    <a:pt x="2826" y="2820"/>
                  </a:cubicBezTo>
                  <a:cubicBezTo>
                    <a:pt x="1878" y="3765"/>
                    <a:pt x="1537" y="5163"/>
                    <a:pt x="1942" y="6441"/>
                  </a:cubicBezTo>
                  <a:cubicBezTo>
                    <a:pt x="749" y="7054"/>
                    <a:pt x="0" y="8286"/>
                    <a:pt x="6" y="9626"/>
                  </a:cubicBezTo>
                  <a:cubicBezTo>
                    <a:pt x="0" y="10967"/>
                    <a:pt x="749" y="12199"/>
                    <a:pt x="1942" y="12812"/>
                  </a:cubicBezTo>
                  <a:cubicBezTo>
                    <a:pt x="1537" y="14089"/>
                    <a:pt x="1878" y="15487"/>
                    <a:pt x="2826" y="16432"/>
                  </a:cubicBezTo>
                  <a:cubicBezTo>
                    <a:pt x="3508" y="17116"/>
                    <a:pt x="4426" y="17484"/>
                    <a:pt x="5364" y="17484"/>
                  </a:cubicBezTo>
                  <a:cubicBezTo>
                    <a:pt x="5726" y="17484"/>
                    <a:pt x="6091" y="17429"/>
                    <a:pt x="6447" y="17317"/>
                  </a:cubicBezTo>
                  <a:cubicBezTo>
                    <a:pt x="7062" y="18506"/>
                    <a:pt x="8291" y="19252"/>
                    <a:pt x="9632" y="19252"/>
                  </a:cubicBezTo>
                  <a:cubicBezTo>
                    <a:pt x="10973" y="19252"/>
                    <a:pt x="12202" y="18506"/>
                    <a:pt x="12818" y="17317"/>
                  </a:cubicBezTo>
                  <a:cubicBezTo>
                    <a:pt x="13173" y="17429"/>
                    <a:pt x="13538" y="17484"/>
                    <a:pt x="13900" y="17484"/>
                  </a:cubicBezTo>
                  <a:cubicBezTo>
                    <a:pt x="14838" y="17484"/>
                    <a:pt x="15756" y="17116"/>
                    <a:pt x="16438" y="16432"/>
                  </a:cubicBezTo>
                  <a:cubicBezTo>
                    <a:pt x="17386" y="15487"/>
                    <a:pt x="17727" y="14089"/>
                    <a:pt x="17323" y="12812"/>
                  </a:cubicBezTo>
                  <a:cubicBezTo>
                    <a:pt x="18512" y="12196"/>
                    <a:pt x="19258" y="10967"/>
                    <a:pt x="19258" y="9626"/>
                  </a:cubicBezTo>
                  <a:cubicBezTo>
                    <a:pt x="19258" y="8286"/>
                    <a:pt x="18512" y="7057"/>
                    <a:pt x="17323" y="6441"/>
                  </a:cubicBezTo>
                  <a:cubicBezTo>
                    <a:pt x="17727" y="5163"/>
                    <a:pt x="17386" y="3765"/>
                    <a:pt x="16438" y="2820"/>
                  </a:cubicBezTo>
                  <a:cubicBezTo>
                    <a:pt x="15756" y="2136"/>
                    <a:pt x="14838" y="1768"/>
                    <a:pt x="13900" y="1768"/>
                  </a:cubicBezTo>
                  <a:cubicBezTo>
                    <a:pt x="13538" y="1768"/>
                    <a:pt x="13173" y="1823"/>
                    <a:pt x="12818" y="1936"/>
                  </a:cubicBezTo>
                  <a:cubicBezTo>
                    <a:pt x="12202" y="746"/>
                    <a:pt x="10973" y="0"/>
                    <a:pt x="9632"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435D74"/>
                </a:solidFill>
                <a:latin typeface="Arial"/>
                <a:cs typeface="Arial"/>
                <a:sym typeface="Arial"/>
              </a:endParaRPr>
            </a:p>
          </p:txBody>
        </p:sp>
      </p:grpSp>
      <p:sp>
        <p:nvSpPr>
          <p:cNvPr id="9494" name="Google Shape;9494;p109"/>
          <p:cNvSpPr/>
          <p:nvPr/>
        </p:nvSpPr>
        <p:spPr>
          <a:xfrm>
            <a:off x="10653468" y="3635273"/>
            <a:ext cx="453581" cy="400727"/>
          </a:xfrm>
          <a:custGeom>
            <a:avLst/>
            <a:gdLst/>
            <a:ahLst/>
            <a:cxnLst/>
            <a:rect l="l" t="t" r="r" b="b"/>
            <a:pathLst>
              <a:path w="19326" h="17074" extrusionOk="0">
                <a:moveTo>
                  <a:pt x="14226" y="1132"/>
                </a:moveTo>
                <a:cubicBezTo>
                  <a:pt x="15314" y="1132"/>
                  <a:pt x="16352" y="1605"/>
                  <a:pt x="17070" y="2425"/>
                </a:cubicBezTo>
                <a:cubicBezTo>
                  <a:pt x="17798" y="3252"/>
                  <a:pt x="18196" y="4366"/>
                  <a:pt x="18196" y="5568"/>
                </a:cubicBezTo>
                <a:cubicBezTo>
                  <a:pt x="18193" y="8476"/>
                  <a:pt x="15599" y="10686"/>
                  <a:pt x="11671" y="14032"/>
                </a:cubicBezTo>
                <a:cubicBezTo>
                  <a:pt x="11025" y="14581"/>
                  <a:pt x="10364" y="15146"/>
                  <a:pt x="9663" y="15756"/>
                </a:cubicBezTo>
                <a:cubicBezTo>
                  <a:pt x="8963" y="15146"/>
                  <a:pt x="8301" y="14581"/>
                  <a:pt x="7655" y="14032"/>
                </a:cubicBezTo>
                <a:cubicBezTo>
                  <a:pt x="3727" y="10686"/>
                  <a:pt x="1133" y="8476"/>
                  <a:pt x="1133" y="5568"/>
                </a:cubicBezTo>
                <a:cubicBezTo>
                  <a:pt x="1133" y="4366"/>
                  <a:pt x="1535" y="3252"/>
                  <a:pt x="2259" y="2425"/>
                </a:cubicBezTo>
                <a:cubicBezTo>
                  <a:pt x="2977" y="1605"/>
                  <a:pt x="4015" y="1132"/>
                  <a:pt x="5103" y="1132"/>
                </a:cubicBezTo>
                <a:cubicBezTo>
                  <a:pt x="5113" y="1132"/>
                  <a:pt x="5124" y="1132"/>
                  <a:pt x="5134" y="1132"/>
                </a:cubicBezTo>
                <a:cubicBezTo>
                  <a:pt x="6686" y="1132"/>
                  <a:pt x="7691" y="2090"/>
                  <a:pt x="8259" y="2890"/>
                </a:cubicBezTo>
                <a:cubicBezTo>
                  <a:pt x="8631" y="3421"/>
                  <a:pt x="8920" y="4001"/>
                  <a:pt x="9126" y="4614"/>
                </a:cubicBezTo>
                <a:cubicBezTo>
                  <a:pt x="9212" y="4875"/>
                  <a:pt x="9438" y="5006"/>
                  <a:pt x="9665" y="5006"/>
                </a:cubicBezTo>
                <a:cubicBezTo>
                  <a:pt x="9891" y="5006"/>
                  <a:pt x="10118" y="4875"/>
                  <a:pt x="10204" y="4614"/>
                </a:cubicBezTo>
                <a:cubicBezTo>
                  <a:pt x="10409" y="4001"/>
                  <a:pt x="10699" y="3421"/>
                  <a:pt x="11070" y="2890"/>
                </a:cubicBezTo>
                <a:cubicBezTo>
                  <a:pt x="11641" y="2090"/>
                  <a:pt x="12643" y="1132"/>
                  <a:pt x="14195" y="1132"/>
                </a:cubicBezTo>
                <a:cubicBezTo>
                  <a:pt x="14206" y="1132"/>
                  <a:pt x="14216" y="1132"/>
                  <a:pt x="14226" y="1132"/>
                </a:cubicBezTo>
                <a:close/>
                <a:moveTo>
                  <a:pt x="5103" y="0"/>
                </a:moveTo>
                <a:cubicBezTo>
                  <a:pt x="3689" y="0"/>
                  <a:pt x="2343" y="612"/>
                  <a:pt x="1411" y="1676"/>
                </a:cubicBezTo>
                <a:cubicBezTo>
                  <a:pt x="502" y="2709"/>
                  <a:pt x="1" y="4092"/>
                  <a:pt x="1" y="5568"/>
                </a:cubicBezTo>
                <a:cubicBezTo>
                  <a:pt x="1" y="7174"/>
                  <a:pt x="629" y="8672"/>
                  <a:pt x="1976" y="10275"/>
                </a:cubicBezTo>
                <a:cubicBezTo>
                  <a:pt x="3180" y="11710"/>
                  <a:pt x="4914" y="13183"/>
                  <a:pt x="6922" y="14895"/>
                </a:cubicBezTo>
                <a:cubicBezTo>
                  <a:pt x="7670" y="15532"/>
                  <a:pt x="8443" y="16191"/>
                  <a:pt x="9265" y="16909"/>
                </a:cubicBezTo>
                <a:lnTo>
                  <a:pt x="9292" y="16933"/>
                </a:lnTo>
                <a:cubicBezTo>
                  <a:pt x="9397" y="17027"/>
                  <a:pt x="9530" y="17074"/>
                  <a:pt x="9664" y="17074"/>
                </a:cubicBezTo>
                <a:cubicBezTo>
                  <a:pt x="9797" y="17074"/>
                  <a:pt x="9930" y="17027"/>
                  <a:pt x="10038" y="16933"/>
                </a:cubicBezTo>
                <a:lnTo>
                  <a:pt x="10062" y="16909"/>
                </a:lnTo>
                <a:cubicBezTo>
                  <a:pt x="10883" y="16191"/>
                  <a:pt x="11659" y="15532"/>
                  <a:pt x="12405" y="14895"/>
                </a:cubicBezTo>
                <a:cubicBezTo>
                  <a:pt x="14413" y="13183"/>
                  <a:pt x="16146" y="11707"/>
                  <a:pt x="17351" y="10275"/>
                </a:cubicBezTo>
                <a:cubicBezTo>
                  <a:pt x="18697" y="8672"/>
                  <a:pt x="19325" y="7174"/>
                  <a:pt x="19325" y="5568"/>
                </a:cubicBezTo>
                <a:cubicBezTo>
                  <a:pt x="19325" y="4092"/>
                  <a:pt x="18824" y="2709"/>
                  <a:pt x="17915" y="1676"/>
                </a:cubicBezTo>
                <a:cubicBezTo>
                  <a:pt x="16983" y="612"/>
                  <a:pt x="15637" y="0"/>
                  <a:pt x="14224" y="0"/>
                </a:cubicBezTo>
                <a:cubicBezTo>
                  <a:pt x="14213" y="0"/>
                  <a:pt x="14203" y="0"/>
                  <a:pt x="14192" y="0"/>
                </a:cubicBezTo>
                <a:cubicBezTo>
                  <a:pt x="12157" y="0"/>
                  <a:pt x="10868" y="1217"/>
                  <a:pt x="10143" y="2238"/>
                </a:cubicBezTo>
                <a:cubicBezTo>
                  <a:pt x="9968" y="2485"/>
                  <a:pt x="9808" y="2748"/>
                  <a:pt x="9663" y="3017"/>
                </a:cubicBezTo>
                <a:cubicBezTo>
                  <a:pt x="9518" y="2748"/>
                  <a:pt x="9358" y="2485"/>
                  <a:pt x="9183" y="2238"/>
                </a:cubicBezTo>
                <a:cubicBezTo>
                  <a:pt x="8458" y="1217"/>
                  <a:pt x="7169" y="0"/>
                  <a:pt x="5134" y="0"/>
                </a:cubicBezTo>
                <a:cubicBezTo>
                  <a:pt x="5124" y="0"/>
                  <a:pt x="5113" y="0"/>
                  <a:pt x="5103"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435D74"/>
              </a:solidFill>
              <a:latin typeface="Arial"/>
              <a:cs typeface="Arial"/>
              <a:sym typeface="Arial"/>
            </a:endParaRPr>
          </a:p>
        </p:txBody>
      </p:sp>
      <p:grpSp>
        <p:nvGrpSpPr>
          <p:cNvPr id="9495" name="Google Shape;9495;p109"/>
          <p:cNvGrpSpPr/>
          <p:nvPr/>
        </p:nvGrpSpPr>
        <p:grpSpPr>
          <a:xfrm>
            <a:off x="9146251" y="5314342"/>
            <a:ext cx="456045" cy="374205"/>
            <a:chOff x="5647000" y="3252650"/>
            <a:chExt cx="485775" cy="398600"/>
          </a:xfrm>
        </p:grpSpPr>
        <p:sp>
          <p:nvSpPr>
            <p:cNvPr id="9496" name="Google Shape;9496;p109"/>
            <p:cNvSpPr/>
            <p:nvPr/>
          </p:nvSpPr>
          <p:spPr>
            <a:xfrm>
              <a:off x="5762575" y="3252650"/>
              <a:ext cx="113250" cy="143825"/>
            </a:xfrm>
            <a:custGeom>
              <a:avLst/>
              <a:gdLst/>
              <a:ahLst/>
              <a:cxnLst/>
              <a:rect l="l" t="t" r="r" b="b"/>
              <a:pathLst>
                <a:path w="4530" h="5753" extrusionOk="0">
                  <a:moveTo>
                    <a:pt x="2265" y="1133"/>
                  </a:moveTo>
                  <a:cubicBezTo>
                    <a:pt x="2383" y="1133"/>
                    <a:pt x="2667" y="1348"/>
                    <a:pt x="2960" y="1930"/>
                  </a:cubicBezTo>
                  <a:cubicBezTo>
                    <a:pt x="3246" y="2501"/>
                    <a:pt x="3397" y="3147"/>
                    <a:pt x="3397" y="3488"/>
                  </a:cubicBezTo>
                  <a:cubicBezTo>
                    <a:pt x="3397" y="4113"/>
                    <a:pt x="2890" y="4621"/>
                    <a:pt x="2265" y="4621"/>
                  </a:cubicBezTo>
                  <a:cubicBezTo>
                    <a:pt x="1637" y="4621"/>
                    <a:pt x="1133" y="4113"/>
                    <a:pt x="1133" y="3488"/>
                  </a:cubicBezTo>
                  <a:cubicBezTo>
                    <a:pt x="1133" y="3147"/>
                    <a:pt x="1284" y="2501"/>
                    <a:pt x="1568" y="1930"/>
                  </a:cubicBezTo>
                  <a:cubicBezTo>
                    <a:pt x="1860" y="1348"/>
                    <a:pt x="2144" y="1133"/>
                    <a:pt x="2265" y="1133"/>
                  </a:cubicBezTo>
                  <a:close/>
                  <a:moveTo>
                    <a:pt x="2265" y="1"/>
                  </a:moveTo>
                  <a:cubicBezTo>
                    <a:pt x="1613" y="1"/>
                    <a:pt x="1024" y="493"/>
                    <a:pt x="556" y="1423"/>
                  </a:cubicBezTo>
                  <a:cubicBezTo>
                    <a:pt x="218" y="2096"/>
                    <a:pt x="1" y="2909"/>
                    <a:pt x="1" y="3488"/>
                  </a:cubicBezTo>
                  <a:cubicBezTo>
                    <a:pt x="1" y="4738"/>
                    <a:pt x="1012" y="5750"/>
                    <a:pt x="2265" y="5753"/>
                  </a:cubicBezTo>
                  <a:cubicBezTo>
                    <a:pt x="3515" y="5750"/>
                    <a:pt x="4527" y="4738"/>
                    <a:pt x="4530" y="3488"/>
                  </a:cubicBezTo>
                  <a:cubicBezTo>
                    <a:pt x="4530" y="2909"/>
                    <a:pt x="4309" y="2096"/>
                    <a:pt x="3971" y="1423"/>
                  </a:cubicBezTo>
                  <a:cubicBezTo>
                    <a:pt x="3503" y="493"/>
                    <a:pt x="2914" y="1"/>
                    <a:pt x="2265"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435D74"/>
                </a:solidFill>
                <a:latin typeface="Arial"/>
                <a:cs typeface="Arial"/>
                <a:sym typeface="Arial"/>
              </a:endParaRPr>
            </a:p>
          </p:txBody>
        </p:sp>
        <p:sp>
          <p:nvSpPr>
            <p:cNvPr id="9497" name="Google Shape;9497;p109"/>
            <p:cNvSpPr/>
            <p:nvPr/>
          </p:nvSpPr>
          <p:spPr>
            <a:xfrm>
              <a:off x="5647000" y="3371750"/>
              <a:ext cx="124425" cy="136450"/>
            </a:xfrm>
            <a:custGeom>
              <a:avLst/>
              <a:gdLst/>
              <a:ahLst/>
              <a:cxnLst/>
              <a:rect l="l" t="t" r="r" b="b"/>
              <a:pathLst>
                <a:path w="4977" h="5458" extrusionOk="0">
                  <a:moveTo>
                    <a:pt x="1510" y="1131"/>
                  </a:moveTo>
                  <a:cubicBezTo>
                    <a:pt x="1680" y="1131"/>
                    <a:pt x="1994" y="1221"/>
                    <a:pt x="2422" y="1496"/>
                  </a:cubicBezTo>
                  <a:cubicBezTo>
                    <a:pt x="2969" y="1852"/>
                    <a:pt x="3425" y="2333"/>
                    <a:pt x="3594" y="2625"/>
                  </a:cubicBezTo>
                  <a:cubicBezTo>
                    <a:pt x="3908" y="3166"/>
                    <a:pt x="3721" y="3860"/>
                    <a:pt x="3180" y="4171"/>
                  </a:cubicBezTo>
                  <a:cubicBezTo>
                    <a:pt x="3000" y="4276"/>
                    <a:pt x="2801" y="4325"/>
                    <a:pt x="2603" y="4325"/>
                  </a:cubicBezTo>
                  <a:cubicBezTo>
                    <a:pt x="2200" y="4325"/>
                    <a:pt x="1804" y="4120"/>
                    <a:pt x="1595" y="3758"/>
                  </a:cubicBezTo>
                  <a:cubicBezTo>
                    <a:pt x="1423" y="3462"/>
                    <a:pt x="1233" y="2828"/>
                    <a:pt x="1193" y="2191"/>
                  </a:cubicBezTo>
                  <a:cubicBezTo>
                    <a:pt x="1157" y="1538"/>
                    <a:pt x="1296" y="1212"/>
                    <a:pt x="1399" y="1155"/>
                  </a:cubicBezTo>
                  <a:cubicBezTo>
                    <a:pt x="1432" y="1137"/>
                    <a:pt x="1471" y="1131"/>
                    <a:pt x="1510" y="1131"/>
                  </a:cubicBezTo>
                  <a:close/>
                  <a:moveTo>
                    <a:pt x="1512" y="1"/>
                  </a:moveTo>
                  <a:cubicBezTo>
                    <a:pt x="1262" y="1"/>
                    <a:pt x="1033" y="59"/>
                    <a:pt x="831" y="177"/>
                  </a:cubicBezTo>
                  <a:cubicBezTo>
                    <a:pt x="269" y="500"/>
                    <a:pt x="1" y="1221"/>
                    <a:pt x="61" y="2260"/>
                  </a:cubicBezTo>
                  <a:cubicBezTo>
                    <a:pt x="106" y="3012"/>
                    <a:pt x="324" y="3821"/>
                    <a:pt x="614" y="4325"/>
                  </a:cubicBezTo>
                  <a:cubicBezTo>
                    <a:pt x="919" y="4851"/>
                    <a:pt x="1420" y="5231"/>
                    <a:pt x="2009" y="5382"/>
                  </a:cubicBezTo>
                  <a:cubicBezTo>
                    <a:pt x="2205" y="5431"/>
                    <a:pt x="2404" y="5458"/>
                    <a:pt x="2607" y="5458"/>
                  </a:cubicBezTo>
                  <a:cubicBezTo>
                    <a:pt x="2609" y="5458"/>
                    <a:pt x="2612" y="5458"/>
                    <a:pt x="2615" y="5458"/>
                  </a:cubicBezTo>
                  <a:cubicBezTo>
                    <a:pt x="3421" y="5458"/>
                    <a:pt x="4166" y="5026"/>
                    <a:pt x="4572" y="4328"/>
                  </a:cubicBezTo>
                  <a:cubicBezTo>
                    <a:pt x="4977" y="3628"/>
                    <a:pt x="4977" y="2761"/>
                    <a:pt x="4572" y="2061"/>
                  </a:cubicBezTo>
                  <a:cubicBezTo>
                    <a:pt x="4282" y="1560"/>
                    <a:pt x="3678" y="968"/>
                    <a:pt x="3035" y="548"/>
                  </a:cubicBezTo>
                  <a:cubicBezTo>
                    <a:pt x="2471" y="185"/>
                    <a:pt x="1957" y="1"/>
                    <a:pt x="1512"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435D74"/>
                </a:solidFill>
                <a:latin typeface="Arial"/>
                <a:cs typeface="Arial"/>
                <a:sym typeface="Arial"/>
              </a:endParaRPr>
            </a:p>
          </p:txBody>
        </p:sp>
        <p:sp>
          <p:nvSpPr>
            <p:cNvPr id="9498" name="Google Shape;9498;p109"/>
            <p:cNvSpPr/>
            <p:nvPr/>
          </p:nvSpPr>
          <p:spPr>
            <a:xfrm>
              <a:off x="5904100" y="3252650"/>
              <a:ext cx="113275" cy="143825"/>
            </a:xfrm>
            <a:custGeom>
              <a:avLst/>
              <a:gdLst/>
              <a:ahLst/>
              <a:cxnLst/>
              <a:rect l="l" t="t" r="r" b="b"/>
              <a:pathLst>
                <a:path w="4531" h="5753" extrusionOk="0">
                  <a:moveTo>
                    <a:pt x="2266" y="1133"/>
                  </a:moveTo>
                  <a:cubicBezTo>
                    <a:pt x="2383" y="1133"/>
                    <a:pt x="2667" y="1348"/>
                    <a:pt x="2960" y="1930"/>
                  </a:cubicBezTo>
                  <a:cubicBezTo>
                    <a:pt x="3247" y="2501"/>
                    <a:pt x="3398" y="3147"/>
                    <a:pt x="3398" y="3488"/>
                  </a:cubicBezTo>
                  <a:cubicBezTo>
                    <a:pt x="3398" y="4113"/>
                    <a:pt x="2891" y="4621"/>
                    <a:pt x="2266" y="4621"/>
                  </a:cubicBezTo>
                  <a:cubicBezTo>
                    <a:pt x="1638" y="4621"/>
                    <a:pt x="1133" y="4113"/>
                    <a:pt x="1133" y="3488"/>
                  </a:cubicBezTo>
                  <a:cubicBezTo>
                    <a:pt x="1133" y="3147"/>
                    <a:pt x="1284" y="2501"/>
                    <a:pt x="1568" y="1930"/>
                  </a:cubicBezTo>
                  <a:cubicBezTo>
                    <a:pt x="1861" y="1348"/>
                    <a:pt x="2145" y="1133"/>
                    <a:pt x="2266" y="1133"/>
                  </a:cubicBezTo>
                  <a:close/>
                  <a:moveTo>
                    <a:pt x="2266" y="1"/>
                  </a:moveTo>
                  <a:cubicBezTo>
                    <a:pt x="1613" y="1"/>
                    <a:pt x="1025" y="493"/>
                    <a:pt x="557" y="1423"/>
                  </a:cubicBezTo>
                  <a:cubicBezTo>
                    <a:pt x="218" y="2096"/>
                    <a:pt x="1" y="2909"/>
                    <a:pt x="1" y="3488"/>
                  </a:cubicBezTo>
                  <a:cubicBezTo>
                    <a:pt x="1" y="4738"/>
                    <a:pt x="1012" y="5753"/>
                    <a:pt x="2266" y="5753"/>
                  </a:cubicBezTo>
                  <a:cubicBezTo>
                    <a:pt x="3516" y="5753"/>
                    <a:pt x="4530" y="4738"/>
                    <a:pt x="4530" y="3488"/>
                  </a:cubicBezTo>
                  <a:cubicBezTo>
                    <a:pt x="4530" y="2909"/>
                    <a:pt x="4310" y="2096"/>
                    <a:pt x="3972" y="1423"/>
                  </a:cubicBezTo>
                  <a:cubicBezTo>
                    <a:pt x="3507" y="493"/>
                    <a:pt x="2915" y="1"/>
                    <a:pt x="2266"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435D74"/>
                </a:solidFill>
                <a:latin typeface="Arial"/>
                <a:cs typeface="Arial"/>
                <a:sym typeface="Arial"/>
              </a:endParaRPr>
            </a:p>
          </p:txBody>
        </p:sp>
        <p:sp>
          <p:nvSpPr>
            <p:cNvPr id="9499" name="Google Shape;9499;p109"/>
            <p:cNvSpPr/>
            <p:nvPr/>
          </p:nvSpPr>
          <p:spPr>
            <a:xfrm>
              <a:off x="5996750" y="3371150"/>
              <a:ext cx="136025" cy="136525"/>
            </a:xfrm>
            <a:custGeom>
              <a:avLst/>
              <a:gdLst/>
              <a:ahLst/>
              <a:cxnLst/>
              <a:rect l="l" t="t" r="r" b="b"/>
              <a:pathLst>
                <a:path w="5441" h="5461" extrusionOk="0">
                  <a:moveTo>
                    <a:pt x="3955" y="1136"/>
                  </a:moveTo>
                  <a:cubicBezTo>
                    <a:pt x="3986" y="1136"/>
                    <a:pt x="4019" y="1143"/>
                    <a:pt x="4049" y="1158"/>
                  </a:cubicBezTo>
                  <a:cubicBezTo>
                    <a:pt x="4152" y="1218"/>
                    <a:pt x="4290" y="1541"/>
                    <a:pt x="4251" y="2194"/>
                  </a:cubicBezTo>
                  <a:cubicBezTo>
                    <a:pt x="4215" y="2834"/>
                    <a:pt x="4022" y="3468"/>
                    <a:pt x="3853" y="3761"/>
                  </a:cubicBezTo>
                  <a:cubicBezTo>
                    <a:pt x="3644" y="4124"/>
                    <a:pt x="3246" y="4329"/>
                    <a:pt x="2842" y="4329"/>
                  </a:cubicBezTo>
                  <a:cubicBezTo>
                    <a:pt x="2645" y="4329"/>
                    <a:pt x="2447" y="4280"/>
                    <a:pt x="2267" y="4177"/>
                  </a:cubicBezTo>
                  <a:cubicBezTo>
                    <a:pt x="2008" y="4026"/>
                    <a:pt x="1815" y="3779"/>
                    <a:pt x="1739" y="3489"/>
                  </a:cubicBezTo>
                  <a:cubicBezTo>
                    <a:pt x="1661" y="3199"/>
                    <a:pt x="1703" y="2888"/>
                    <a:pt x="1854" y="2628"/>
                  </a:cubicBezTo>
                  <a:cubicBezTo>
                    <a:pt x="2020" y="2338"/>
                    <a:pt x="2479" y="1855"/>
                    <a:pt x="3025" y="1502"/>
                  </a:cubicBezTo>
                  <a:cubicBezTo>
                    <a:pt x="3451" y="1224"/>
                    <a:pt x="3768" y="1137"/>
                    <a:pt x="3937" y="1137"/>
                  </a:cubicBezTo>
                  <a:cubicBezTo>
                    <a:pt x="3943" y="1136"/>
                    <a:pt x="3949" y="1136"/>
                    <a:pt x="3955" y="1136"/>
                  </a:cubicBezTo>
                  <a:close/>
                  <a:moveTo>
                    <a:pt x="3932" y="1"/>
                  </a:moveTo>
                  <a:cubicBezTo>
                    <a:pt x="3486" y="1"/>
                    <a:pt x="2972" y="186"/>
                    <a:pt x="2409" y="551"/>
                  </a:cubicBezTo>
                  <a:cubicBezTo>
                    <a:pt x="1766" y="968"/>
                    <a:pt x="1162" y="1562"/>
                    <a:pt x="872" y="2064"/>
                  </a:cubicBezTo>
                  <a:cubicBezTo>
                    <a:pt x="1" y="3572"/>
                    <a:pt x="1091" y="5461"/>
                    <a:pt x="2834" y="5461"/>
                  </a:cubicBezTo>
                  <a:cubicBezTo>
                    <a:pt x="2835" y="5461"/>
                    <a:pt x="2837" y="5461"/>
                    <a:pt x="2838" y="5461"/>
                  </a:cubicBezTo>
                  <a:cubicBezTo>
                    <a:pt x="3037" y="5461"/>
                    <a:pt x="3240" y="5433"/>
                    <a:pt x="3436" y="5385"/>
                  </a:cubicBezTo>
                  <a:cubicBezTo>
                    <a:pt x="4022" y="5234"/>
                    <a:pt x="4526" y="4854"/>
                    <a:pt x="4831" y="4328"/>
                  </a:cubicBezTo>
                  <a:cubicBezTo>
                    <a:pt x="5121" y="3824"/>
                    <a:pt x="5335" y="3015"/>
                    <a:pt x="5380" y="2260"/>
                  </a:cubicBezTo>
                  <a:cubicBezTo>
                    <a:pt x="5441" y="1221"/>
                    <a:pt x="5175" y="503"/>
                    <a:pt x="4614" y="177"/>
                  </a:cubicBezTo>
                  <a:cubicBezTo>
                    <a:pt x="4410" y="59"/>
                    <a:pt x="4182" y="1"/>
                    <a:pt x="3932"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435D74"/>
                </a:solidFill>
                <a:latin typeface="Arial"/>
                <a:cs typeface="Arial"/>
                <a:sym typeface="Arial"/>
              </a:endParaRPr>
            </a:p>
          </p:txBody>
        </p:sp>
        <p:sp>
          <p:nvSpPr>
            <p:cNvPr id="9500" name="Google Shape;9500;p109"/>
            <p:cNvSpPr/>
            <p:nvPr/>
          </p:nvSpPr>
          <p:spPr>
            <a:xfrm>
              <a:off x="5734275" y="3424700"/>
              <a:ext cx="311325" cy="226550"/>
            </a:xfrm>
            <a:custGeom>
              <a:avLst/>
              <a:gdLst/>
              <a:ahLst/>
              <a:cxnLst/>
              <a:rect l="l" t="t" r="r" b="b"/>
              <a:pathLst>
                <a:path w="12453" h="9062" extrusionOk="0">
                  <a:moveTo>
                    <a:pt x="6226" y="1135"/>
                  </a:moveTo>
                  <a:cubicBezTo>
                    <a:pt x="8575" y="1135"/>
                    <a:pt x="9059" y="1815"/>
                    <a:pt x="9059" y="2832"/>
                  </a:cubicBezTo>
                  <a:lnTo>
                    <a:pt x="9059" y="3159"/>
                  </a:lnTo>
                  <a:cubicBezTo>
                    <a:pt x="9056" y="3850"/>
                    <a:pt x="9472" y="4472"/>
                    <a:pt x="10115" y="4732"/>
                  </a:cubicBezTo>
                  <a:cubicBezTo>
                    <a:pt x="10846" y="5031"/>
                    <a:pt x="11323" y="5619"/>
                    <a:pt x="11323" y="6229"/>
                  </a:cubicBezTo>
                  <a:cubicBezTo>
                    <a:pt x="11323" y="6658"/>
                    <a:pt x="11103" y="7069"/>
                    <a:pt x="10704" y="7389"/>
                  </a:cubicBezTo>
                  <a:cubicBezTo>
                    <a:pt x="10269" y="7736"/>
                    <a:pt x="9687" y="7929"/>
                    <a:pt x="9059" y="7929"/>
                  </a:cubicBezTo>
                  <a:cubicBezTo>
                    <a:pt x="9046" y="7929"/>
                    <a:pt x="9034" y="7929"/>
                    <a:pt x="9021" y="7929"/>
                  </a:cubicBezTo>
                  <a:cubicBezTo>
                    <a:pt x="8787" y="7929"/>
                    <a:pt x="8554" y="7902"/>
                    <a:pt x="8328" y="7848"/>
                  </a:cubicBezTo>
                  <a:cubicBezTo>
                    <a:pt x="7639" y="7673"/>
                    <a:pt x="6933" y="7585"/>
                    <a:pt x="6223" y="7585"/>
                  </a:cubicBezTo>
                  <a:cubicBezTo>
                    <a:pt x="5517" y="7585"/>
                    <a:pt x="4813" y="7673"/>
                    <a:pt x="4128" y="7848"/>
                  </a:cubicBezTo>
                  <a:cubicBezTo>
                    <a:pt x="3901" y="7902"/>
                    <a:pt x="3666" y="7929"/>
                    <a:pt x="3434" y="7929"/>
                  </a:cubicBezTo>
                  <a:cubicBezTo>
                    <a:pt x="3422" y="7929"/>
                    <a:pt x="3409" y="7929"/>
                    <a:pt x="3397" y="7929"/>
                  </a:cubicBezTo>
                  <a:cubicBezTo>
                    <a:pt x="2769" y="7929"/>
                    <a:pt x="2183" y="7736"/>
                    <a:pt x="1748" y="7389"/>
                  </a:cubicBezTo>
                  <a:cubicBezTo>
                    <a:pt x="1350" y="7069"/>
                    <a:pt x="1133" y="6658"/>
                    <a:pt x="1133" y="6229"/>
                  </a:cubicBezTo>
                  <a:cubicBezTo>
                    <a:pt x="1133" y="5619"/>
                    <a:pt x="1604" y="5031"/>
                    <a:pt x="2340" y="4732"/>
                  </a:cubicBezTo>
                  <a:cubicBezTo>
                    <a:pt x="2980" y="4472"/>
                    <a:pt x="3397" y="3850"/>
                    <a:pt x="3397" y="3159"/>
                  </a:cubicBezTo>
                  <a:lnTo>
                    <a:pt x="3397" y="2832"/>
                  </a:lnTo>
                  <a:cubicBezTo>
                    <a:pt x="3397" y="1815"/>
                    <a:pt x="3877" y="1135"/>
                    <a:pt x="6226" y="1135"/>
                  </a:cubicBezTo>
                  <a:close/>
                  <a:moveTo>
                    <a:pt x="6226" y="0"/>
                  </a:moveTo>
                  <a:cubicBezTo>
                    <a:pt x="5034" y="0"/>
                    <a:pt x="4185" y="157"/>
                    <a:pt x="3557" y="498"/>
                  </a:cubicBezTo>
                  <a:cubicBezTo>
                    <a:pt x="2700" y="960"/>
                    <a:pt x="2262" y="1745"/>
                    <a:pt x="2262" y="2829"/>
                  </a:cubicBezTo>
                  <a:lnTo>
                    <a:pt x="2262" y="3156"/>
                  </a:lnTo>
                  <a:cubicBezTo>
                    <a:pt x="2265" y="3388"/>
                    <a:pt x="2123" y="3593"/>
                    <a:pt x="1912" y="3681"/>
                  </a:cubicBezTo>
                  <a:cubicBezTo>
                    <a:pt x="749" y="4158"/>
                    <a:pt x="0" y="5157"/>
                    <a:pt x="0" y="6229"/>
                  </a:cubicBezTo>
                  <a:cubicBezTo>
                    <a:pt x="0" y="7790"/>
                    <a:pt x="1522" y="9062"/>
                    <a:pt x="3397" y="9062"/>
                  </a:cubicBezTo>
                  <a:cubicBezTo>
                    <a:pt x="3409" y="9062"/>
                    <a:pt x="3421" y="9062"/>
                    <a:pt x="3433" y="9062"/>
                  </a:cubicBezTo>
                  <a:cubicBezTo>
                    <a:pt x="3760" y="9062"/>
                    <a:pt x="4088" y="9022"/>
                    <a:pt x="4409" y="8944"/>
                  </a:cubicBezTo>
                  <a:cubicBezTo>
                    <a:pt x="5005" y="8793"/>
                    <a:pt x="5616" y="8717"/>
                    <a:pt x="6228" y="8717"/>
                  </a:cubicBezTo>
                  <a:cubicBezTo>
                    <a:pt x="6839" y="8717"/>
                    <a:pt x="7451" y="8793"/>
                    <a:pt x="8047" y="8944"/>
                  </a:cubicBezTo>
                  <a:cubicBezTo>
                    <a:pt x="8366" y="9022"/>
                    <a:pt x="8691" y="9059"/>
                    <a:pt x="9017" y="9059"/>
                  </a:cubicBezTo>
                  <a:cubicBezTo>
                    <a:pt x="9030" y="9059"/>
                    <a:pt x="9043" y="9059"/>
                    <a:pt x="9056" y="9059"/>
                  </a:cubicBezTo>
                  <a:cubicBezTo>
                    <a:pt x="10931" y="9059"/>
                    <a:pt x="12452" y="7787"/>
                    <a:pt x="12452" y="6226"/>
                  </a:cubicBezTo>
                  <a:cubicBezTo>
                    <a:pt x="12452" y="5154"/>
                    <a:pt x="11704" y="4155"/>
                    <a:pt x="10541" y="3681"/>
                  </a:cubicBezTo>
                  <a:cubicBezTo>
                    <a:pt x="10330" y="3593"/>
                    <a:pt x="10188" y="3388"/>
                    <a:pt x="10188" y="3156"/>
                  </a:cubicBezTo>
                  <a:lnTo>
                    <a:pt x="10188" y="2829"/>
                  </a:lnTo>
                  <a:cubicBezTo>
                    <a:pt x="10188" y="1745"/>
                    <a:pt x="9753" y="960"/>
                    <a:pt x="8896" y="498"/>
                  </a:cubicBezTo>
                  <a:cubicBezTo>
                    <a:pt x="8267" y="157"/>
                    <a:pt x="7419" y="0"/>
                    <a:pt x="6226"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435D74"/>
                </a:solidFill>
                <a:latin typeface="Arial"/>
                <a:cs typeface="Arial"/>
                <a:sym typeface="Arial"/>
              </a:endParaRPr>
            </a:p>
          </p:txBody>
        </p:sp>
      </p:grpSp>
      <p:grpSp>
        <p:nvGrpSpPr>
          <p:cNvPr id="9501" name="Google Shape;9501;p109"/>
          <p:cNvGrpSpPr/>
          <p:nvPr/>
        </p:nvGrpSpPr>
        <p:grpSpPr>
          <a:xfrm>
            <a:off x="6886838" y="5322357"/>
            <a:ext cx="435381" cy="357939"/>
            <a:chOff x="6242450" y="3252800"/>
            <a:chExt cx="484475" cy="398300"/>
          </a:xfrm>
        </p:grpSpPr>
        <p:sp>
          <p:nvSpPr>
            <p:cNvPr id="9502" name="Google Shape;9502;p109"/>
            <p:cNvSpPr/>
            <p:nvPr/>
          </p:nvSpPr>
          <p:spPr>
            <a:xfrm>
              <a:off x="6626825" y="3427175"/>
              <a:ext cx="28325" cy="28350"/>
            </a:xfrm>
            <a:custGeom>
              <a:avLst/>
              <a:gdLst/>
              <a:ahLst/>
              <a:cxnLst/>
              <a:rect l="l" t="t" r="r" b="b"/>
              <a:pathLst>
                <a:path w="1133" h="1134" extrusionOk="0">
                  <a:moveTo>
                    <a:pt x="568" y="1"/>
                  </a:moveTo>
                  <a:cubicBezTo>
                    <a:pt x="254" y="1"/>
                    <a:pt x="0" y="254"/>
                    <a:pt x="0" y="565"/>
                  </a:cubicBezTo>
                  <a:cubicBezTo>
                    <a:pt x="0" y="879"/>
                    <a:pt x="254" y="1133"/>
                    <a:pt x="568" y="1133"/>
                  </a:cubicBezTo>
                  <a:cubicBezTo>
                    <a:pt x="879" y="1133"/>
                    <a:pt x="1132" y="879"/>
                    <a:pt x="1132" y="565"/>
                  </a:cubicBezTo>
                  <a:cubicBezTo>
                    <a:pt x="1132" y="254"/>
                    <a:pt x="879" y="1"/>
                    <a:pt x="568"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435D74"/>
                </a:solidFill>
                <a:latin typeface="Arial"/>
                <a:cs typeface="Arial"/>
                <a:sym typeface="Arial"/>
              </a:endParaRPr>
            </a:p>
          </p:txBody>
        </p:sp>
        <p:sp>
          <p:nvSpPr>
            <p:cNvPr id="9503" name="Google Shape;9503;p109"/>
            <p:cNvSpPr/>
            <p:nvPr/>
          </p:nvSpPr>
          <p:spPr>
            <a:xfrm>
              <a:off x="6508150" y="3418300"/>
              <a:ext cx="45550" cy="68400"/>
            </a:xfrm>
            <a:custGeom>
              <a:avLst/>
              <a:gdLst/>
              <a:ahLst/>
              <a:cxnLst/>
              <a:rect l="l" t="t" r="r" b="b"/>
              <a:pathLst>
                <a:path w="1822" h="2736" extrusionOk="0">
                  <a:moveTo>
                    <a:pt x="1062" y="0"/>
                  </a:moveTo>
                  <a:cubicBezTo>
                    <a:pt x="917" y="0"/>
                    <a:pt x="772" y="55"/>
                    <a:pt x="662" y="166"/>
                  </a:cubicBezTo>
                  <a:cubicBezTo>
                    <a:pt x="1" y="830"/>
                    <a:pt x="1" y="1905"/>
                    <a:pt x="662" y="2569"/>
                  </a:cubicBezTo>
                  <a:cubicBezTo>
                    <a:pt x="768" y="2675"/>
                    <a:pt x="912" y="2732"/>
                    <a:pt x="1063" y="2735"/>
                  </a:cubicBezTo>
                  <a:cubicBezTo>
                    <a:pt x="1568" y="2732"/>
                    <a:pt x="1821" y="2122"/>
                    <a:pt x="1462" y="1766"/>
                  </a:cubicBezTo>
                  <a:cubicBezTo>
                    <a:pt x="1242" y="1545"/>
                    <a:pt x="1242" y="1186"/>
                    <a:pt x="1462" y="966"/>
                  </a:cubicBezTo>
                  <a:cubicBezTo>
                    <a:pt x="1685" y="745"/>
                    <a:pt x="1685" y="386"/>
                    <a:pt x="1462" y="166"/>
                  </a:cubicBezTo>
                  <a:cubicBezTo>
                    <a:pt x="1352" y="55"/>
                    <a:pt x="1207" y="0"/>
                    <a:pt x="1062"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435D74"/>
                </a:solidFill>
                <a:latin typeface="Arial"/>
                <a:cs typeface="Arial"/>
                <a:sym typeface="Arial"/>
              </a:endParaRPr>
            </a:p>
          </p:txBody>
        </p:sp>
        <p:sp>
          <p:nvSpPr>
            <p:cNvPr id="9504" name="Google Shape;9504;p109"/>
            <p:cNvSpPr/>
            <p:nvPr/>
          </p:nvSpPr>
          <p:spPr>
            <a:xfrm>
              <a:off x="6242450" y="3252800"/>
              <a:ext cx="484475" cy="398300"/>
            </a:xfrm>
            <a:custGeom>
              <a:avLst/>
              <a:gdLst/>
              <a:ahLst/>
              <a:cxnLst/>
              <a:rect l="l" t="t" r="r" b="b"/>
              <a:pathLst>
                <a:path w="19379" h="15932" extrusionOk="0">
                  <a:moveTo>
                    <a:pt x="9593" y="1178"/>
                  </a:moveTo>
                  <a:cubicBezTo>
                    <a:pt x="11124" y="1417"/>
                    <a:pt x="12374" y="2528"/>
                    <a:pt x="12794" y="4017"/>
                  </a:cubicBezTo>
                  <a:cubicBezTo>
                    <a:pt x="12443" y="4032"/>
                    <a:pt x="12093" y="4065"/>
                    <a:pt x="11746" y="4116"/>
                  </a:cubicBezTo>
                  <a:cubicBezTo>
                    <a:pt x="10595" y="3543"/>
                    <a:pt x="9792" y="2450"/>
                    <a:pt x="9593" y="1178"/>
                  </a:cubicBezTo>
                  <a:close/>
                  <a:moveTo>
                    <a:pt x="1697" y="2890"/>
                  </a:moveTo>
                  <a:cubicBezTo>
                    <a:pt x="3790" y="2894"/>
                    <a:pt x="5520" y="4524"/>
                    <a:pt x="5653" y="6613"/>
                  </a:cubicBezTo>
                  <a:lnTo>
                    <a:pt x="4360" y="5321"/>
                  </a:lnTo>
                  <a:cubicBezTo>
                    <a:pt x="4250" y="5211"/>
                    <a:pt x="4105" y="5156"/>
                    <a:pt x="3960" y="5156"/>
                  </a:cubicBezTo>
                  <a:cubicBezTo>
                    <a:pt x="3815" y="5156"/>
                    <a:pt x="3670" y="5211"/>
                    <a:pt x="3560" y="5321"/>
                  </a:cubicBezTo>
                  <a:cubicBezTo>
                    <a:pt x="3340" y="5542"/>
                    <a:pt x="3340" y="5901"/>
                    <a:pt x="3560" y="6121"/>
                  </a:cubicBezTo>
                  <a:lnTo>
                    <a:pt x="4852" y="7414"/>
                  </a:lnTo>
                  <a:cubicBezTo>
                    <a:pt x="2763" y="7281"/>
                    <a:pt x="1132" y="5551"/>
                    <a:pt x="1132" y="3458"/>
                  </a:cubicBezTo>
                  <a:lnTo>
                    <a:pt x="1129" y="3458"/>
                  </a:lnTo>
                  <a:lnTo>
                    <a:pt x="1129" y="2890"/>
                  </a:lnTo>
                  <a:close/>
                  <a:moveTo>
                    <a:pt x="15511" y="5593"/>
                  </a:moveTo>
                  <a:cubicBezTo>
                    <a:pt x="16553" y="6067"/>
                    <a:pt x="17477" y="6888"/>
                    <a:pt x="18135" y="7966"/>
                  </a:cubicBezTo>
                  <a:cubicBezTo>
                    <a:pt x="17471" y="9056"/>
                    <a:pt x="16532" y="9887"/>
                    <a:pt x="15472" y="10358"/>
                  </a:cubicBezTo>
                  <a:cubicBezTo>
                    <a:pt x="13748" y="9228"/>
                    <a:pt x="13766" y="6695"/>
                    <a:pt x="15511" y="5593"/>
                  </a:cubicBezTo>
                  <a:close/>
                  <a:moveTo>
                    <a:pt x="13326" y="5134"/>
                  </a:moveTo>
                  <a:cubicBezTo>
                    <a:pt x="13345" y="5134"/>
                    <a:pt x="13363" y="5134"/>
                    <a:pt x="13382" y="5134"/>
                  </a:cubicBezTo>
                  <a:cubicBezTo>
                    <a:pt x="13417" y="5140"/>
                    <a:pt x="13451" y="5143"/>
                    <a:pt x="13485" y="5143"/>
                  </a:cubicBezTo>
                  <a:cubicBezTo>
                    <a:pt x="13504" y="5143"/>
                    <a:pt x="13523" y="5142"/>
                    <a:pt x="13542" y="5140"/>
                  </a:cubicBezTo>
                  <a:cubicBezTo>
                    <a:pt x="13548" y="5140"/>
                    <a:pt x="13554" y="5137"/>
                    <a:pt x="13560" y="5137"/>
                  </a:cubicBezTo>
                  <a:cubicBezTo>
                    <a:pt x="13775" y="5143"/>
                    <a:pt x="13989" y="5161"/>
                    <a:pt x="14204" y="5197"/>
                  </a:cubicBezTo>
                  <a:cubicBezTo>
                    <a:pt x="12688" y="6728"/>
                    <a:pt x="12676" y="9189"/>
                    <a:pt x="14170" y="10738"/>
                  </a:cubicBezTo>
                  <a:cubicBezTo>
                    <a:pt x="13968" y="10771"/>
                    <a:pt x="13763" y="10789"/>
                    <a:pt x="13560" y="10792"/>
                  </a:cubicBezTo>
                  <a:lnTo>
                    <a:pt x="13542" y="10792"/>
                  </a:lnTo>
                  <a:cubicBezTo>
                    <a:pt x="13520" y="10789"/>
                    <a:pt x="13497" y="10787"/>
                    <a:pt x="13475" y="10787"/>
                  </a:cubicBezTo>
                  <a:cubicBezTo>
                    <a:pt x="13444" y="10787"/>
                    <a:pt x="13414" y="10790"/>
                    <a:pt x="13382" y="10795"/>
                  </a:cubicBezTo>
                  <a:cubicBezTo>
                    <a:pt x="13362" y="10796"/>
                    <a:pt x="13341" y="10796"/>
                    <a:pt x="13321" y="10796"/>
                  </a:cubicBezTo>
                  <a:cubicBezTo>
                    <a:pt x="12807" y="10796"/>
                    <a:pt x="12296" y="10759"/>
                    <a:pt x="11788" y="10684"/>
                  </a:cubicBezTo>
                  <a:cubicBezTo>
                    <a:pt x="11755" y="10675"/>
                    <a:pt x="11722" y="10672"/>
                    <a:pt x="11691" y="10669"/>
                  </a:cubicBezTo>
                  <a:cubicBezTo>
                    <a:pt x="9931" y="10370"/>
                    <a:pt x="8938" y="9530"/>
                    <a:pt x="7114" y="7990"/>
                  </a:cubicBezTo>
                  <a:lnTo>
                    <a:pt x="7105" y="7987"/>
                  </a:lnTo>
                  <a:lnTo>
                    <a:pt x="7177" y="7927"/>
                  </a:lnTo>
                  <a:cubicBezTo>
                    <a:pt x="8986" y="6402"/>
                    <a:pt x="9973" y="5569"/>
                    <a:pt x="11691" y="5267"/>
                  </a:cubicBezTo>
                  <a:cubicBezTo>
                    <a:pt x="11731" y="5264"/>
                    <a:pt x="11767" y="5258"/>
                    <a:pt x="11806" y="5249"/>
                  </a:cubicBezTo>
                  <a:cubicBezTo>
                    <a:pt x="12310" y="5173"/>
                    <a:pt x="12816" y="5134"/>
                    <a:pt x="13326" y="5134"/>
                  </a:cubicBezTo>
                  <a:close/>
                  <a:moveTo>
                    <a:pt x="4852" y="8561"/>
                  </a:moveTo>
                  <a:lnTo>
                    <a:pt x="3560" y="9850"/>
                  </a:lnTo>
                  <a:cubicBezTo>
                    <a:pt x="3340" y="10071"/>
                    <a:pt x="3340" y="10430"/>
                    <a:pt x="3560" y="10650"/>
                  </a:cubicBezTo>
                  <a:cubicBezTo>
                    <a:pt x="3670" y="10762"/>
                    <a:pt x="3815" y="10818"/>
                    <a:pt x="3960" y="10818"/>
                  </a:cubicBezTo>
                  <a:cubicBezTo>
                    <a:pt x="4105" y="10818"/>
                    <a:pt x="4250" y="10762"/>
                    <a:pt x="4360" y="10650"/>
                  </a:cubicBezTo>
                  <a:lnTo>
                    <a:pt x="5653" y="9361"/>
                  </a:lnTo>
                  <a:lnTo>
                    <a:pt x="5653" y="9361"/>
                  </a:lnTo>
                  <a:cubicBezTo>
                    <a:pt x="5520" y="11451"/>
                    <a:pt x="3790" y="13078"/>
                    <a:pt x="1697" y="13081"/>
                  </a:cubicBezTo>
                  <a:lnTo>
                    <a:pt x="1129" y="13081"/>
                  </a:lnTo>
                  <a:lnTo>
                    <a:pt x="1129" y="12517"/>
                  </a:lnTo>
                  <a:cubicBezTo>
                    <a:pt x="1132" y="10421"/>
                    <a:pt x="2760" y="8691"/>
                    <a:pt x="4852" y="8561"/>
                  </a:cubicBezTo>
                  <a:close/>
                  <a:moveTo>
                    <a:pt x="11734" y="11822"/>
                  </a:moveTo>
                  <a:cubicBezTo>
                    <a:pt x="12066" y="11870"/>
                    <a:pt x="12416" y="11901"/>
                    <a:pt x="12794" y="11916"/>
                  </a:cubicBezTo>
                  <a:cubicBezTo>
                    <a:pt x="12374" y="13407"/>
                    <a:pt x="11121" y="14515"/>
                    <a:pt x="9593" y="14754"/>
                  </a:cubicBezTo>
                  <a:cubicBezTo>
                    <a:pt x="9792" y="13489"/>
                    <a:pt x="10589" y="12396"/>
                    <a:pt x="11734" y="11822"/>
                  </a:cubicBezTo>
                  <a:close/>
                  <a:moveTo>
                    <a:pt x="8986" y="1"/>
                  </a:moveTo>
                  <a:cubicBezTo>
                    <a:pt x="8984" y="1"/>
                    <a:pt x="8982" y="1"/>
                    <a:pt x="8980" y="1"/>
                  </a:cubicBezTo>
                  <a:cubicBezTo>
                    <a:pt x="8666" y="1"/>
                    <a:pt x="8412" y="255"/>
                    <a:pt x="8412" y="566"/>
                  </a:cubicBezTo>
                  <a:cubicBezTo>
                    <a:pt x="8415" y="2084"/>
                    <a:pt x="9092" y="3522"/>
                    <a:pt x="10257" y="4491"/>
                  </a:cubicBezTo>
                  <a:cubicBezTo>
                    <a:pt x="9019" y="4950"/>
                    <a:pt x="8044" y="5720"/>
                    <a:pt x="6794" y="6774"/>
                  </a:cubicBezTo>
                  <a:cubicBezTo>
                    <a:pt x="6749" y="4002"/>
                    <a:pt x="4481" y="1761"/>
                    <a:pt x="1697" y="1761"/>
                  </a:cubicBezTo>
                  <a:lnTo>
                    <a:pt x="565" y="1761"/>
                  </a:lnTo>
                  <a:cubicBezTo>
                    <a:pt x="251" y="1761"/>
                    <a:pt x="0" y="2015"/>
                    <a:pt x="0" y="2326"/>
                  </a:cubicBezTo>
                  <a:lnTo>
                    <a:pt x="0" y="3458"/>
                  </a:lnTo>
                  <a:cubicBezTo>
                    <a:pt x="0" y="5366"/>
                    <a:pt x="1066" y="7115"/>
                    <a:pt x="2763" y="7987"/>
                  </a:cubicBezTo>
                  <a:cubicBezTo>
                    <a:pt x="1066" y="8863"/>
                    <a:pt x="0" y="10611"/>
                    <a:pt x="0" y="12517"/>
                  </a:cubicBezTo>
                  <a:lnTo>
                    <a:pt x="0" y="13649"/>
                  </a:lnTo>
                  <a:cubicBezTo>
                    <a:pt x="0" y="13963"/>
                    <a:pt x="254" y="14213"/>
                    <a:pt x="565" y="14213"/>
                  </a:cubicBezTo>
                  <a:lnTo>
                    <a:pt x="1697" y="14213"/>
                  </a:lnTo>
                  <a:cubicBezTo>
                    <a:pt x="4478" y="14213"/>
                    <a:pt x="6746" y="11973"/>
                    <a:pt x="6794" y="9204"/>
                  </a:cubicBezTo>
                  <a:cubicBezTo>
                    <a:pt x="7808" y="10056"/>
                    <a:pt x="8606" y="10693"/>
                    <a:pt x="9523" y="11149"/>
                  </a:cubicBezTo>
                  <a:cubicBezTo>
                    <a:pt x="9756" y="11263"/>
                    <a:pt x="9998" y="11366"/>
                    <a:pt x="10242" y="11457"/>
                  </a:cubicBezTo>
                  <a:cubicBezTo>
                    <a:pt x="9086" y="12426"/>
                    <a:pt x="8415" y="13857"/>
                    <a:pt x="8412" y="15367"/>
                  </a:cubicBezTo>
                  <a:cubicBezTo>
                    <a:pt x="8412" y="15678"/>
                    <a:pt x="8666" y="15932"/>
                    <a:pt x="8980" y="15932"/>
                  </a:cubicBezTo>
                  <a:cubicBezTo>
                    <a:pt x="8982" y="15932"/>
                    <a:pt x="8984" y="15932"/>
                    <a:pt x="8986" y="15932"/>
                  </a:cubicBezTo>
                  <a:cubicBezTo>
                    <a:pt x="11387" y="15932"/>
                    <a:pt x="13461" y="14254"/>
                    <a:pt x="13962" y="11907"/>
                  </a:cubicBezTo>
                  <a:cubicBezTo>
                    <a:pt x="14971" y="11813"/>
                    <a:pt x="15943" y="11481"/>
                    <a:pt x="16794" y="10934"/>
                  </a:cubicBezTo>
                  <a:cubicBezTo>
                    <a:pt x="17812" y="10288"/>
                    <a:pt x="18672" y="9355"/>
                    <a:pt x="19285" y="8238"/>
                  </a:cubicBezTo>
                  <a:cubicBezTo>
                    <a:pt x="19379" y="8069"/>
                    <a:pt x="19379" y="7864"/>
                    <a:pt x="19285" y="7694"/>
                  </a:cubicBezTo>
                  <a:cubicBezTo>
                    <a:pt x="18672" y="6577"/>
                    <a:pt x="17809" y="5644"/>
                    <a:pt x="16794" y="4998"/>
                  </a:cubicBezTo>
                  <a:cubicBezTo>
                    <a:pt x="15943" y="4452"/>
                    <a:pt x="14971" y="4119"/>
                    <a:pt x="13962" y="4026"/>
                  </a:cubicBezTo>
                  <a:cubicBezTo>
                    <a:pt x="13461" y="1679"/>
                    <a:pt x="11387" y="1"/>
                    <a:pt x="8986"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435D74"/>
                </a:solidFill>
                <a:latin typeface="Arial"/>
                <a:cs typeface="Arial"/>
                <a:sym typeface="Arial"/>
              </a:endParaRPr>
            </a:p>
          </p:txBody>
        </p:sp>
      </p:grpSp>
      <p:grpSp>
        <p:nvGrpSpPr>
          <p:cNvPr id="9505" name="Google Shape;9505;p109"/>
          <p:cNvGrpSpPr/>
          <p:nvPr/>
        </p:nvGrpSpPr>
        <p:grpSpPr>
          <a:xfrm>
            <a:off x="6769482" y="4168136"/>
            <a:ext cx="398637" cy="453557"/>
            <a:chOff x="922025" y="3804850"/>
            <a:chExt cx="424625" cy="483125"/>
          </a:xfrm>
        </p:grpSpPr>
        <p:sp>
          <p:nvSpPr>
            <p:cNvPr id="9506" name="Google Shape;9506;p109"/>
            <p:cNvSpPr/>
            <p:nvPr/>
          </p:nvSpPr>
          <p:spPr>
            <a:xfrm>
              <a:off x="922025" y="3804850"/>
              <a:ext cx="424625" cy="483125"/>
            </a:xfrm>
            <a:custGeom>
              <a:avLst/>
              <a:gdLst/>
              <a:ahLst/>
              <a:cxnLst/>
              <a:rect l="l" t="t" r="r" b="b"/>
              <a:pathLst>
                <a:path w="16985" h="19325" extrusionOk="0">
                  <a:moveTo>
                    <a:pt x="14153" y="1132"/>
                  </a:moveTo>
                  <a:cubicBezTo>
                    <a:pt x="15092" y="1132"/>
                    <a:pt x="15850" y="1893"/>
                    <a:pt x="15853" y="2832"/>
                  </a:cubicBezTo>
                  <a:lnTo>
                    <a:pt x="15853" y="3560"/>
                  </a:lnTo>
                  <a:cubicBezTo>
                    <a:pt x="15472" y="3162"/>
                    <a:pt x="15037" y="2769"/>
                    <a:pt x="14648" y="2558"/>
                  </a:cubicBezTo>
                  <a:cubicBezTo>
                    <a:pt x="14158" y="2296"/>
                    <a:pt x="13305" y="2239"/>
                    <a:pt x="12660" y="2239"/>
                  </a:cubicBezTo>
                  <a:cubicBezTo>
                    <a:pt x="12589" y="2239"/>
                    <a:pt x="12521" y="2239"/>
                    <a:pt x="12456" y="2241"/>
                  </a:cubicBezTo>
                  <a:lnTo>
                    <a:pt x="12456" y="1132"/>
                  </a:lnTo>
                  <a:close/>
                  <a:moveTo>
                    <a:pt x="12611" y="3372"/>
                  </a:moveTo>
                  <a:cubicBezTo>
                    <a:pt x="13207" y="3372"/>
                    <a:pt x="13858" y="3421"/>
                    <a:pt x="14110" y="3557"/>
                  </a:cubicBezTo>
                  <a:cubicBezTo>
                    <a:pt x="14430" y="3726"/>
                    <a:pt x="14844" y="4128"/>
                    <a:pt x="15209" y="4529"/>
                  </a:cubicBezTo>
                  <a:lnTo>
                    <a:pt x="12456" y="4529"/>
                  </a:lnTo>
                  <a:lnTo>
                    <a:pt x="12456" y="3373"/>
                  </a:lnTo>
                  <a:cubicBezTo>
                    <a:pt x="12507" y="3372"/>
                    <a:pt x="12559" y="3372"/>
                    <a:pt x="12611" y="3372"/>
                  </a:cubicBezTo>
                  <a:close/>
                  <a:moveTo>
                    <a:pt x="7927" y="6794"/>
                  </a:moveTo>
                  <a:lnTo>
                    <a:pt x="7927" y="9626"/>
                  </a:lnTo>
                  <a:cubicBezTo>
                    <a:pt x="7924" y="11812"/>
                    <a:pt x="6151" y="13585"/>
                    <a:pt x="3962" y="13588"/>
                  </a:cubicBezTo>
                  <a:lnTo>
                    <a:pt x="3397" y="13588"/>
                  </a:lnTo>
                  <a:lnTo>
                    <a:pt x="3397" y="12455"/>
                  </a:lnTo>
                  <a:lnTo>
                    <a:pt x="3962" y="12455"/>
                  </a:lnTo>
                  <a:cubicBezTo>
                    <a:pt x="5526" y="12452"/>
                    <a:pt x="6791" y="11187"/>
                    <a:pt x="6794" y="9626"/>
                  </a:cubicBezTo>
                  <a:cubicBezTo>
                    <a:pt x="6794" y="9312"/>
                    <a:pt x="6541" y="9058"/>
                    <a:pt x="6227" y="9058"/>
                  </a:cubicBezTo>
                  <a:cubicBezTo>
                    <a:pt x="5913" y="9058"/>
                    <a:pt x="5662" y="9312"/>
                    <a:pt x="5662" y="9626"/>
                  </a:cubicBezTo>
                  <a:cubicBezTo>
                    <a:pt x="5659" y="10562"/>
                    <a:pt x="4901" y="11323"/>
                    <a:pt x="3962" y="11323"/>
                  </a:cubicBezTo>
                  <a:lnTo>
                    <a:pt x="3397" y="11323"/>
                  </a:lnTo>
                  <a:lnTo>
                    <a:pt x="3397" y="10758"/>
                  </a:lnTo>
                  <a:cubicBezTo>
                    <a:pt x="3397" y="8569"/>
                    <a:pt x="5170" y="6797"/>
                    <a:pt x="7359" y="6794"/>
                  </a:cubicBezTo>
                  <a:close/>
                  <a:moveTo>
                    <a:pt x="11323" y="1132"/>
                  </a:moveTo>
                  <a:lnTo>
                    <a:pt x="11323" y="10758"/>
                  </a:lnTo>
                  <a:cubicBezTo>
                    <a:pt x="11320" y="12320"/>
                    <a:pt x="10055" y="13585"/>
                    <a:pt x="8491" y="13588"/>
                  </a:cubicBezTo>
                  <a:lnTo>
                    <a:pt x="7160" y="13588"/>
                  </a:lnTo>
                  <a:cubicBezTo>
                    <a:pt x="8361" y="12621"/>
                    <a:pt x="9059" y="11166"/>
                    <a:pt x="9059" y="9626"/>
                  </a:cubicBezTo>
                  <a:lnTo>
                    <a:pt x="9059" y="6229"/>
                  </a:lnTo>
                  <a:cubicBezTo>
                    <a:pt x="9059" y="5915"/>
                    <a:pt x="8805" y="5662"/>
                    <a:pt x="8491" y="5662"/>
                  </a:cubicBezTo>
                  <a:lnTo>
                    <a:pt x="7359" y="5662"/>
                  </a:lnTo>
                  <a:cubicBezTo>
                    <a:pt x="6779" y="5662"/>
                    <a:pt x="6206" y="5761"/>
                    <a:pt x="5662" y="5954"/>
                  </a:cubicBezTo>
                  <a:lnTo>
                    <a:pt x="5662" y="5097"/>
                  </a:lnTo>
                  <a:cubicBezTo>
                    <a:pt x="5662" y="2908"/>
                    <a:pt x="7434" y="1135"/>
                    <a:pt x="9624" y="1132"/>
                  </a:cubicBezTo>
                  <a:close/>
                  <a:moveTo>
                    <a:pt x="6794" y="14720"/>
                  </a:moveTo>
                  <a:lnTo>
                    <a:pt x="6794" y="16957"/>
                  </a:lnTo>
                  <a:cubicBezTo>
                    <a:pt x="6115" y="16698"/>
                    <a:pt x="5665" y="16049"/>
                    <a:pt x="5662" y="15324"/>
                  </a:cubicBezTo>
                  <a:lnTo>
                    <a:pt x="5662" y="14720"/>
                  </a:lnTo>
                  <a:close/>
                  <a:moveTo>
                    <a:pt x="4530" y="14720"/>
                  </a:moveTo>
                  <a:lnTo>
                    <a:pt x="4530" y="18096"/>
                  </a:lnTo>
                  <a:cubicBezTo>
                    <a:pt x="3850" y="17854"/>
                    <a:pt x="3397" y="17214"/>
                    <a:pt x="3397" y="16495"/>
                  </a:cubicBezTo>
                  <a:lnTo>
                    <a:pt x="3397" y="14720"/>
                  </a:lnTo>
                  <a:close/>
                  <a:moveTo>
                    <a:pt x="3326" y="1"/>
                  </a:moveTo>
                  <a:cubicBezTo>
                    <a:pt x="3182" y="1"/>
                    <a:pt x="3037" y="56"/>
                    <a:pt x="2926" y="166"/>
                  </a:cubicBezTo>
                  <a:cubicBezTo>
                    <a:pt x="2480" y="613"/>
                    <a:pt x="2265" y="1114"/>
                    <a:pt x="2265" y="1700"/>
                  </a:cubicBezTo>
                  <a:cubicBezTo>
                    <a:pt x="2265" y="2950"/>
                    <a:pt x="3277" y="3965"/>
                    <a:pt x="4530" y="3965"/>
                  </a:cubicBezTo>
                  <a:cubicBezTo>
                    <a:pt x="4572" y="3965"/>
                    <a:pt x="4614" y="3965"/>
                    <a:pt x="4657" y="3959"/>
                  </a:cubicBezTo>
                  <a:lnTo>
                    <a:pt x="4657" y="3959"/>
                  </a:lnTo>
                  <a:cubicBezTo>
                    <a:pt x="4572" y="4333"/>
                    <a:pt x="4527" y="4714"/>
                    <a:pt x="4530" y="5097"/>
                  </a:cubicBezTo>
                  <a:lnTo>
                    <a:pt x="4530" y="6522"/>
                  </a:lnTo>
                  <a:cubicBezTo>
                    <a:pt x="3114" y="7467"/>
                    <a:pt x="2265" y="9055"/>
                    <a:pt x="2265" y="10758"/>
                  </a:cubicBezTo>
                  <a:lnTo>
                    <a:pt x="2265" y="13588"/>
                  </a:lnTo>
                  <a:lnTo>
                    <a:pt x="565" y="13588"/>
                  </a:lnTo>
                  <a:cubicBezTo>
                    <a:pt x="251" y="13588"/>
                    <a:pt x="1" y="13841"/>
                    <a:pt x="1" y="14155"/>
                  </a:cubicBezTo>
                  <a:cubicBezTo>
                    <a:pt x="1" y="14466"/>
                    <a:pt x="251" y="14720"/>
                    <a:pt x="565" y="14720"/>
                  </a:cubicBezTo>
                  <a:lnTo>
                    <a:pt x="2265" y="14720"/>
                  </a:lnTo>
                  <a:lnTo>
                    <a:pt x="2265" y="16495"/>
                  </a:lnTo>
                  <a:cubicBezTo>
                    <a:pt x="2265" y="18056"/>
                    <a:pt x="3530" y="19322"/>
                    <a:pt x="5094" y="19325"/>
                  </a:cubicBezTo>
                  <a:cubicBezTo>
                    <a:pt x="5408" y="19325"/>
                    <a:pt x="5662" y="19071"/>
                    <a:pt x="5662" y="18760"/>
                  </a:cubicBezTo>
                  <a:lnTo>
                    <a:pt x="5662" y="17613"/>
                  </a:lnTo>
                  <a:cubicBezTo>
                    <a:pt x="6148" y="17990"/>
                    <a:pt x="6743" y="18192"/>
                    <a:pt x="7359" y="18192"/>
                  </a:cubicBezTo>
                  <a:cubicBezTo>
                    <a:pt x="7673" y="18192"/>
                    <a:pt x="7927" y="17939"/>
                    <a:pt x="7927" y="17628"/>
                  </a:cubicBezTo>
                  <a:lnTo>
                    <a:pt x="7927" y="14720"/>
                  </a:lnTo>
                  <a:lnTo>
                    <a:pt x="9059" y="14720"/>
                  </a:lnTo>
                  <a:lnTo>
                    <a:pt x="9059" y="18760"/>
                  </a:lnTo>
                  <a:cubicBezTo>
                    <a:pt x="9059" y="19071"/>
                    <a:pt x="9309" y="19325"/>
                    <a:pt x="9624" y="19325"/>
                  </a:cubicBezTo>
                  <a:cubicBezTo>
                    <a:pt x="9938" y="19325"/>
                    <a:pt x="10191" y="19071"/>
                    <a:pt x="10191" y="18760"/>
                  </a:cubicBezTo>
                  <a:lnTo>
                    <a:pt x="10191" y="14720"/>
                  </a:lnTo>
                  <a:lnTo>
                    <a:pt x="16417" y="14720"/>
                  </a:lnTo>
                  <a:cubicBezTo>
                    <a:pt x="16731" y="14720"/>
                    <a:pt x="16982" y="14466"/>
                    <a:pt x="16982" y="14155"/>
                  </a:cubicBezTo>
                  <a:cubicBezTo>
                    <a:pt x="16982" y="13841"/>
                    <a:pt x="16731" y="13588"/>
                    <a:pt x="16417" y="13588"/>
                  </a:cubicBezTo>
                  <a:lnTo>
                    <a:pt x="11263" y="13588"/>
                  </a:lnTo>
                  <a:cubicBezTo>
                    <a:pt x="12024" y="12845"/>
                    <a:pt x="12456" y="11821"/>
                    <a:pt x="12456" y="10758"/>
                  </a:cubicBezTo>
                  <a:lnTo>
                    <a:pt x="12456" y="5662"/>
                  </a:lnTo>
                  <a:lnTo>
                    <a:pt x="16417" y="5662"/>
                  </a:lnTo>
                  <a:cubicBezTo>
                    <a:pt x="16435" y="5662"/>
                    <a:pt x="16454" y="5662"/>
                    <a:pt x="16472" y="5659"/>
                  </a:cubicBezTo>
                  <a:lnTo>
                    <a:pt x="16484" y="5659"/>
                  </a:lnTo>
                  <a:cubicBezTo>
                    <a:pt x="16496" y="5659"/>
                    <a:pt x="16511" y="5656"/>
                    <a:pt x="16523" y="5653"/>
                  </a:cubicBezTo>
                  <a:cubicBezTo>
                    <a:pt x="16529" y="5653"/>
                    <a:pt x="16535" y="5653"/>
                    <a:pt x="16538" y="5650"/>
                  </a:cubicBezTo>
                  <a:cubicBezTo>
                    <a:pt x="16550" y="5647"/>
                    <a:pt x="16562" y="5643"/>
                    <a:pt x="16577" y="5640"/>
                  </a:cubicBezTo>
                  <a:lnTo>
                    <a:pt x="16592" y="5637"/>
                  </a:lnTo>
                  <a:cubicBezTo>
                    <a:pt x="16607" y="5631"/>
                    <a:pt x="16623" y="5625"/>
                    <a:pt x="16638" y="5619"/>
                  </a:cubicBezTo>
                  <a:lnTo>
                    <a:pt x="16644" y="5616"/>
                  </a:lnTo>
                  <a:cubicBezTo>
                    <a:pt x="16659" y="5610"/>
                    <a:pt x="16671" y="5604"/>
                    <a:pt x="16683" y="5598"/>
                  </a:cubicBezTo>
                  <a:lnTo>
                    <a:pt x="16701" y="5586"/>
                  </a:lnTo>
                  <a:cubicBezTo>
                    <a:pt x="16710" y="5583"/>
                    <a:pt x="16719" y="5577"/>
                    <a:pt x="16728" y="5571"/>
                  </a:cubicBezTo>
                  <a:cubicBezTo>
                    <a:pt x="16734" y="5568"/>
                    <a:pt x="16740" y="5562"/>
                    <a:pt x="16746" y="5559"/>
                  </a:cubicBezTo>
                  <a:lnTo>
                    <a:pt x="16758" y="5550"/>
                  </a:lnTo>
                  <a:lnTo>
                    <a:pt x="16768" y="5541"/>
                  </a:lnTo>
                  <a:lnTo>
                    <a:pt x="16792" y="5523"/>
                  </a:lnTo>
                  <a:cubicBezTo>
                    <a:pt x="16798" y="5517"/>
                    <a:pt x="16807" y="5511"/>
                    <a:pt x="16813" y="5505"/>
                  </a:cubicBezTo>
                  <a:lnTo>
                    <a:pt x="16831" y="5486"/>
                  </a:lnTo>
                  <a:lnTo>
                    <a:pt x="16849" y="5462"/>
                  </a:lnTo>
                  <a:lnTo>
                    <a:pt x="16864" y="5444"/>
                  </a:lnTo>
                  <a:cubicBezTo>
                    <a:pt x="16870" y="5435"/>
                    <a:pt x="16879" y="5429"/>
                    <a:pt x="16885" y="5420"/>
                  </a:cubicBezTo>
                  <a:lnTo>
                    <a:pt x="16897" y="5399"/>
                  </a:lnTo>
                  <a:cubicBezTo>
                    <a:pt x="16903" y="5390"/>
                    <a:pt x="16906" y="5381"/>
                    <a:pt x="16912" y="5375"/>
                  </a:cubicBezTo>
                  <a:lnTo>
                    <a:pt x="16925" y="5351"/>
                  </a:lnTo>
                  <a:cubicBezTo>
                    <a:pt x="16928" y="5342"/>
                    <a:pt x="16934" y="5332"/>
                    <a:pt x="16937" y="5326"/>
                  </a:cubicBezTo>
                  <a:cubicBezTo>
                    <a:pt x="16940" y="5317"/>
                    <a:pt x="16943" y="5305"/>
                    <a:pt x="16949" y="5296"/>
                  </a:cubicBezTo>
                  <a:cubicBezTo>
                    <a:pt x="16952" y="5287"/>
                    <a:pt x="16955" y="5281"/>
                    <a:pt x="16958" y="5275"/>
                  </a:cubicBezTo>
                  <a:cubicBezTo>
                    <a:pt x="16958" y="5266"/>
                    <a:pt x="16964" y="5254"/>
                    <a:pt x="16964" y="5245"/>
                  </a:cubicBezTo>
                  <a:cubicBezTo>
                    <a:pt x="16967" y="5236"/>
                    <a:pt x="16970" y="5230"/>
                    <a:pt x="16970" y="5221"/>
                  </a:cubicBezTo>
                  <a:cubicBezTo>
                    <a:pt x="16973" y="5215"/>
                    <a:pt x="16976" y="5203"/>
                    <a:pt x="16976" y="5194"/>
                  </a:cubicBezTo>
                  <a:cubicBezTo>
                    <a:pt x="16979" y="5182"/>
                    <a:pt x="16979" y="5175"/>
                    <a:pt x="16982" y="5166"/>
                  </a:cubicBezTo>
                  <a:cubicBezTo>
                    <a:pt x="16982" y="5157"/>
                    <a:pt x="16982" y="5148"/>
                    <a:pt x="16982" y="5139"/>
                  </a:cubicBezTo>
                  <a:cubicBezTo>
                    <a:pt x="16982" y="5130"/>
                    <a:pt x="16982" y="5118"/>
                    <a:pt x="16985" y="5109"/>
                  </a:cubicBezTo>
                  <a:lnTo>
                    <a:pt x="16985" y="5097"/>
                  </a:lnTo>
                  <a:lnTo>
                    <a:pt x="16985" y="2832"/>
                  </a:lnTo>
                  <a:cubicBezTo>
                    <a:pt x="16982" y="1271"/>
                    <a:pt x="15717" y="3"/>
                    <a:pt x="14153" y="3"/>
                  </a:cubicBezTo>
                  <a:lnTo>
                    <a:pt x="9624" y="3"/>
                  </a:lnTo>
                  <a:cubicBezTo>
                    <a:pt x="7754" y="3"/>
                    <a:pt x="6033" y="1027"/>
                    <a:pt x="5143" y="2672"/>
                  </a:cubicBezTo>
                  <a:cubicBezTo>
                    <a:pt x="5106" y="2681"/>
                    <a:pt x="5067" y="2697"/>
                    <a:pt x="5034" y="2715"/>
                  </a:cubicBezTo>
                  <a:cubicBezTo>
                    <a:pt x="4869" y="2797"/>
                    <a:pt x="4697" y="2834"/>
                    <a:pt x="4530" y="2834"/>
                  </a:cubicBezTo>
                  <a:cubicBezTo>
                    <a:pt x="3934" y="2834"/>
                    <a:pt x="3395" y="2356"/>
                    <a:pt x="3397" y="1700"/>
                  </a:cubicBezTo>
                  <a:cubicBezTo>
                    <a:pt x="3397" y="1419"/>
                    <a:pt x="3494" y="1199"/>
                    <a:pt x="3727" y="966"/>
                  </a:cubicBezTo>
                  <a:cubicBezTo>
                    <a:pt x="3950" y="746"/>
                    <a:pt x="3950" y="387"/>
                    <a:pt x="3727" y="166"/>
                  </a:cubicBezTo>
                  <a:cubicBezTo>
                    <a:pt x="3616" y="56"/>
                    <a:pt x="3471" y="1"/>
                    <a:pt x="3326"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435D74"/>
                </a:solidFill>
                <a:latin typeface="Arial"/>
                <a:cs typeface="Arial"/>
                <a:sym typeface="Arial"/>
              </a:endParaRPr>
            </a:p>
          </p:txBody>
        </p:sp>
        <p:sp>
          <p:nvSpPr>
            <p:cNvPr id="9507" name="Google Shape;9507;p109"/>
            <p:cNvSpPr/>
            <p:nvPr/>
          </p:nvSpPr>
          <p:spPr>
            <a:xfrm>
              <a:off x="1135200" y="3869900"/>
              <a:ext cx="37850" cy="28400"/>
            </a:xfrm>
            <a:custGeom>
              <a:avLst/>
              <a:gdLst/>
              <a:ahLst/>
              <a:cxnLst/>
              <a:rect l="l" t="t" r="r" b="b"/>
              <a:pathLst>
                <a:path w="1514" h="1136" extrusionOk="0">
                  <a:moveTo>
                    <a:pt x="758" y="1"/>
                  </a:moveTo>
                  <a:cubicBezTo>
                    <a:pt x="254" y="1"/>
                    <a:pt x="0" y="611"/>
                    <a:pt x="357" y="970"/>
                  </a:cubicBezTo>
                  <a:cubicBezTo>
                    <a:pt x="467" y="1080"/>
                    <a:pt x="612" y="1135"/>
                    <a:pt x="757" y="1135"/>
                  </a:cubicBezTo>
                  <a:cubicBezTo>
                    <a:pt x="902" y="1135"/>
                    <a:pt x="1047" y="1080"/>
                    <a:pt x="1157" y="970"/>
                  </a:cubicBezTo>
                  <a:cubicBezTo>
                    <a:pt x="1513" y="611"/>
                    <a:pt x="1263" y="1"/>
                    <a:pt x="758"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435D74"/>
                </a:solidFill>
                <a:latin typeface="Arial"/>
                <a:cs typeface="Arial"/>
                <a:sym typeface="Arial"/>
              </a:endParaRPr>
            </a:p>
          </p:txBody>
        </p:sp>
      </p:grpSp>
      <p:sp>
        <p:nvSpPr>
          <p:cNvPr id="9508" name="Google Shape;9508;p109"/>
          <p:cNvSpPr/>
          <p:nvPr/>
        </p:nvSpPr>
        <p:spPr>
          <a:xfrm>
            <a:off x="7313802" y="4166672"/>
            <a:ext cx="464401" cy="455224"/>
          </a:xfrm>
          <a:custGeom>
            <a:avLst/>
            <a:gdLst/>
            <a:ahLst/>
            <a:cxnLst/>
            <a:rect l="l" t="t" r="r" b="b"/>
            <a:pathLst>
              <a:path w="19787" h="19396" extrusionOk="0">
                <a:moveTo>
                  <a:pt x="16583" y="1203"/>
                </a:moveTo>
                <a:cubicBezTo>
                  <a:pt x="17017" y="1203"/>
                  <a:pt x="17451" y="1370"/>
                  <a:pt x="17782" y="1702"/>
                </a:cubicBezTo>
                <a:cubicBezTo>
                  <a:pt x="18446" y="2363"/>
                  <a:pt x="18446" y="3438"/>
                  <a:pt x="17782" y="4102"/>
                </a:cubicBezTo>
                <a:lnTo>
                  <a:pt x="16565" y="5319"/>
                </a:lnTo>
                <a:lnTo>
                  <a:pt x="14165" y="2918"/>
                </a:lnTo>
                <a:lnTo>
                  <a:pt x="15382" y="1702"/>
                </a:lnTo>
                <a:cubicBezTo>
                  <a:pt x="15714" y="1370"/>
                  <a:pt x="16149" y="1203"/>
                  <a:pt x="16583" y="1203"/>
                </a:cubicBezTo>
                <a:close/>
                <a:moveTo>
                  <a:pt x="13362" y="3719"/>
                </a:moveTo>
                <a:lnTo>
                  <a:pt x="14162" y="4519"/>
                </a:lnTo>
                <a:lnTo>
                  <a:pt x="4587" y="14096"/>
                </a:lnTo>
                <a:cubicBezTo>
                  <a:pt x="4255" y="13861"/>
                  <a:pt x="3884" y="13692"/>
                  <a:pt x="3488" y="13595"/>
                </a:cubicBezTo>
                <a:lnTo>
                  <a:pt x="13310" y="3770"/>
                </a:lnTo>
                <a:lnTo>
                  <a:pt x="13362" y="3719"/>
                </a:lnTo>
                <a:close/>
                <a:moveTo>
                  <a:pt x="14965" y="5322"/>
                </a:moveTo>
                <a:lnTo>
                  <a:pt x="15765" y="6122"/>
                </a:lnTo>
                <a:lnTo>
                  <a:pt x="15714" y="6173"/>
                </a:lnTo>
                <a:lnTo>
                  <a:pt x="5888" y="15996"/>
                </a:lnTo>
                <a:cubicBezTo>
                  <a:pt x="5792" y="15600"/>
                  <a:pt x="5623" y="15229"/>
                  <a:pt x="5387" y="14897"/>
                </a:cubicBezTo>
                <a:lnTo>
                  <a:pt x="14965" y="5322"/>
                </a:lnTo>
                <a:close/>
                <a:moveTo>
                  <a:pt x="2704" y="14631"/>
                </a:moveTo>
                <a:cubicBezTo>
                  <a:pt x="3925" y="14631"/>
                  <a:pt x="4911" y="15655"/>
                  <a:pt x="4850" y="16889"/>
                </a:cubicBezTo>
                <a:lnTo>
                  <a:pt x="3736" y="17249"/>
                </a:lnTo>
                <a:cubicBezTo>
                  <a:pt x="3449" y="16572"/>
                  <a:pt x="2911" y="16035"/>
                  <a:pt x="2235" y="15748"/>
                </a:cubicBezTo>
                <a:lnTo>
                  <a:pt x="2594" y="14634"/>
                </a:lnTo>
                <a:cubicBezTo>
                  <a:pt x="2631" y="14632"/>
                  <a:pt x="2667" y="14631"/>
                  <a:pt x="2704" y="14631"/>
                </a:cubicBezTo>
                <a:close/>
                <a:moveTo>
                  <a:pt x="1888" y="16835"/>
                </a:moveTo>
                <a:cubicBezTo>
                  <a:pt x="2217" y="17001"/>
                  <a:pt x="2483" y="17267"/>
                  <a:pt x="2649" y="17596"/>
                </a:cubicBezTo>
                <a:lnTo>
                  <a:pt x="1528" y="17955"/>
                </a:lnTo>
                <a:lnTo>
                  <a:pt x="1888" y="16835"/>
                </a:lnTo>
                <a:close/>
                <a:moveTo>
                  <a:pt x="16654" y="1"/>
                </a:moveTo>
                <a:cubicBezTo>
                  <a:pt x="15897" y="1"/>
                  <a:pt x="15141" y="302"/>
                  <a:pt x="14581" y="901"/>
                </a:cubicBezTo>
                <a:lnTo>
                  <a:pt x="11710" y="3770"/>
                </a:lnTo>
                <a:lnTo>
                  <a:pt x="1882" y="13601"/>
                </a:lnTo>
                <a:cubicBezTo>
                  <a:pt x="1861" y="13619"/>
                  <a:pt x="1842" y="13641"/>
                  <a:pt x="1827" y="13662"/>
                </a:cubicBezTo>
                <a:lnTo>
                  <a:pt x="1809" y="13677"/>
                </a:lnTo>
                <a:lnTo>
                  <a:pt x="1788" y="13695"/>
                </a:lnTo>
                <a:cubicBezTo>
                  <a:pt x="1782" y="13701"/>
                  <a:pt x="1773" y="13707"/>
                  <a:pt x="1767" y="13716"/>
                </a:cubicBezTo>
                <a:cubicBezTo>
                  <a:pt x="1761" y="13722"/>
                  <a:pt x="1755" y="13725"/>
                  <a:pt x="1752" y="13731"/>
                </a:cubicBezTo>
                <a:cubicBezTo>
                  <a:pt x="1746" y="13737"/>
                  <a:pt x="1737" y="13746"/>
                  <a:pt x="1728" y="13755"/>
                </a:cubicBezTo>
                <a:lnTo>
                  <a:pt x="1716" y="13773"/>
                </a:lnTo>
                <a:cubicBezTo>
                  <a:pt x="1710" y="13782"/>
                  <a:pt x="1704" y="13789"/>
                  <a:pt x="1698" y="13801"/>
                </a:cubicBezTo>
                <a:cubicBezTo>
                  <a:pt x="1688" y="13810"/>
                  <a:pt x="1688" y="13813"/>
                  <a:pt x="1685" y="13819"/>
                </a:cubicBezTo>
                <a:cubicBezTo>
                  <a:pt x="1679" y="13825"/>
                  <a:pt x="1673" y="13837"/>
                  <a:pt x="1667" y="13846"/>
                </a:cubicBezTo>
                <a:cubicBezTo>
                  <a:pt x="1661" y="13855"/>
                  <a:pt x="1658" y="13861"/>
                  <a:pt x="1655" y="13870"/>
                </a:cubicBezTo>
                <a:cubicBezTo>
                  <a:pt x="1652" y="13879"/>
                  <a:pt x="1646" y="13885"/>
                  <a:pt x="1643" y="13894"/>
                </a:cubicBezTo>
                <a:cubicBezTo>
                  <a:pt x="1640" y="13903"/>
                  <a:pt x="1634" y="13918"/>
                  <a:pt x="1631" y="13933"/>
                </a:cubicBezTo>
                <a:cubicBezTo>
                  <a:pt x="1631" y="13936"/>
                  <a:pt x="1625" y="13939"/>
                  <a:pt x="1625" y="13943"/>
                </a:cubicBezTo>
                <a:lnTo>
                  <a:pt x="1625" y="13949"/>
                </a:lnTo>
                <a:cubicBezTo>
                  <a:pt x="1625" y="13949"/>
                  <a:pt x="1625" y="13952"/>
                  <a:pt x="1625" y="13952"/>
                </a:cubicBezTo>
                <a:lnTo>
                  <a:pt x="118" y="18656"/>
                </a:lnTo>
                <a:cubicBezTo>
                  <a:pt x="1" y="19021"/>
                  <a:pt x="272" y="19393"/>
                  <a:pt x="656" y="19396"/>
                </a:cubicBezTo>
                <a:cubicBezTo>
                  <a:pt x="713" y="19396"/>
                  <a:pt x="771" y="19387"/>
                  <a:pt x="828" y="19368"/>
                </a:cubicBezTo>
                <a:lnTo>
                  <a:pt x="5538" y="17859"/>
                </a:lnTo>
                <a:lnTo>
                  <a:pt x="5547" y="17856"/>
                </a:lnTo>
                <a:cubicBezTo>
                  <a:pt x="5559" y="17853"/>
                  <a:pt x="5571" y="17847"/>
                  <a:pt x="5584" y="17844"/>
                </a:cubicBezTo>
                <a:lnTo>
                  <a:pt x="5599" y="17838"/>
                </a:lnTo>
                <a:cubicBezTo>
                  <a:pt x="5611" y="17832"/>
                  <a:pt x="5623" y="17826"/>
                  <a:pt x="5635" y="17819"/>
                </a:cubicBezTo>
                <a:cubicBezTo>
                  <a:pt x="5650" y="17810"/>
                  <a:pt x="5653" y="17810"/>
                  <a:pt x="5659" y="17804"/>
                </a:cubicBezTo>
                <a:cubicBezTo>
                  <a:pt x="5668" y="17798"/>
                  <a:pt x="5680" y="17792"/>
                  <a:pt x="5689" y="17786"/>
                </a:cubicBezTo>
                <a:cubicBezTo>
                  <a:pt x="5698" y="17780"/>
                  <a:pt x="5701" y="17777"/>
                  <a:pt x="5710" y="17771"/>
                </a:cubicBezTo>
                <a:lnTo>
                  <a:pt x="5728" y="17756"/>
                </a:lnTo>
                <a:lnTo>
                  <a:pt x="5750" y="17738"/>
                </a:lnTo>
                <a:cubicBezTo>
                  <a:pt x="5756" y="17732"/>
                  <a:pt x="5762" y="17726"/>
                  <a:pt x="5768" y="17720"/>
                </a:cubicBezTo>
                <a:cubicBezTo>
                  <a:pt x="5774" y="17714"/>
                  <a:pt x="5780" y="17708"/>
                  <a:pt x="5783" y="17702"/>
                </a:cubicBezTo>
                <a:lnTo>
                  <a:pt x="5798" y="17687"/>
                </a:lnTo>
                <a:cubicBezTo>
                  <a:pt x="5810" y="17678"/>
                  <a:pt x="5819" y="17669"/>
                  <a:pt x="5828" y="17659"/>
                </a:cubicBezTo>
                <a:lnTo>
                  <a:pt x="15714" y="7777"/>
                </a:lnTo>
                <a:lnTo>
                  <a:pt x="18582" y="4902"/>
                </a:lnTo>
                <a:cubicBezTo>
                  <a:pt x="19754" y="3809"/>
                  <a:pt x="19787" y="1961"/>
                  <a:pt x="18655" y="829"/>
                </a:cubicBezTo>
                <a:cubicBezTo>
                  <a:pt x="18102" y="276"/>
                  <a:pt x="17378" y="1"/>
                  <a:pt x="16654"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435D74"/>
              </a:solidFill>
              <a:latin typeface="Arial"/>
              <a:cs typeface="Arial"/>
              <a:sym typeface="Arial"/>
            </a:endParaRPr>
          </a:p>
        </p:txBody>
      </p:sp>
      <p:grpSp>
        <p:nvGrpSpPr>
          <p:cNvPr id="9509" name="Google Shape;9509;p109"/>
          <p:cNvGrpSpPr/>
          <p:nvPr/>
        </p:nvGrpSpPr>
        <p:grpSpPr>
          <a:xfrm>
            <a:off x="7879789" y="4168136"/>
            <a:ext cx="417273" cy="453557"/>
            <a:chOff x="2100300" y="3804850"/>
            <a:chExt cx="444475" cy="483125"/>
          </a:xfrm>
        </p:grpSpPr>
        <p:sp>
          <p:nvSpPr>
            <p:cNvPr id="9510" name="Google Shape;9510;p109"/>
            <p:cNvSpPr/>
            <p:nvPr/>
          </p:nvSpPr>
          <p:spPr>
            <a:xfrm>
              <a:off x="2100300" y="3804850"/>
              <a:ext cx="444475" cy="483125"/>
            </a:xfrm>
            <a:custGeom>
              <a:avLst/>
              <a:gdLst/>
              <a:ahLst/>
              <a:cxnLst/>
              <a:rect l="l" t="t" r="r" b="b"/>
              <a:pathLst>
                <a:path w="17779" h="19325" extrusionOk="0">
                  <a:moveTo>
                    <a:pt x="2123" y="4001"/>
                  </a:moveTo>
                  <a:cubicBezTo>
                    <a:pt x="2627" y="4001"/>
                    <a:pt x="2881" y="4611"/>
                    <a:pt x="2524" y="4967"/>
                  </a:cubicBezTo>
                  <a:cubicBezTo>
                    <a:pt x="2408" y="5083"/>
                    <a:pt x="2265" y="5134"/>
                    <a:pt x="2126" y="5134"/>
                  </a:cubicBezTo>
                  <a:cubicBezTo>
                    <a:pt x="1835" y="5134"/>
                    <a:pt x="1558" y="4909"/>
                    <a:pt x="1558" y="4569"/>
                  </a:cubicBezTo>
                  <a:cubicBezTo>
                    <a:pt x="1558" y="4255"/>
                    <a:pt x="1809" y="4001"/>
                    <a:pt x="2123" y="4001"/>
                  </a:cubicBezTo>
                  <a:close/>
                  <a:moveTo>
                    <a:pt x="15710" y="4001"/>
                  </a:moveTo>
                  <a:cubicBezTo>
                    <a:pt x="16215" y="4001"/>
                    <a:pt x="16468" y="4611"/>
                    <a:pt x="16112" y="4967"/>
                  </a:cubicBezTo>
                  <a:cubicBezTo>
                    <a:pt x="15995" y="5083"/>
                    <a:pt x="15853" y="5134"/>
                    <a:pt x="15714" y="5134"/>
                  </a:cubicBezTo>
                  <a:cubicBezTo>
                    <a:pt x="15423" y="5134"/>
                    <a:pt x="15146" y="4909"/>
                    <a:pt x="15146" y="4569"/>
                  </a:cubicBezTo>
                  <a:cubicBezTo>
                    <a:pt x="15146" y="4255"/>
                    <a:pt x="15396" y="4001"/>
                    <a:pt x="15710" y="4001"/>
                  </a:cubicBezTo>
                  <a:close/>
                  <a:moveTo>
                    <a:pt x="8917" y="1132"/>
                  </a:moveTo>
                  <a:cubicBezTo>
                    <a:pt x="9551" y="1132"/>
                    <a:pt x="10251" y="1993"/>
                    <a:pt x="10789" y="3436"/>
                  </a:cubicBezTo>
                  <a:cubicBezTo>
                    <a:pt x="10894" y="3723"/>
                    <a:pt x="10994" y="4028"/>
                    <a:pt x="11084" y="4345"/>
                  </a:cubicBezTo>
                  <a:cubicBezTo>
                    <a:pt x="10345" y="4590"/>
                    <a:pt x="9623" y="4877"/>
                    <a:pt x="8917" y="5203"/>
                  </a:cubicBezTo>
                  <a:cubicBezTo>
                    <a:pt x="8210" y="4877"/>
                    <a:pt x="7488" y="4590"/>
                    <a:pt x="6749" y="4345"/>
                  </a:cubicBezTo>
                  <a:cubicBezTo>
                    <a:pt x="6842" y="4028"/>
                    <a:pt x="6939" y="3723"/>
                    <a:pt x="7044" y="3436"/>
                  </a:cubicBezTo>
                  <a:cubicBezTo>
                    <a:pt x="7582" y="1993"/>
                    <a:pt x="8282" y="1132"/>
                    <a:pt x="8917" y="1132"/>
                  </a:cubicBezTo>
                  <a:close/>
                  <a:moveTo>
                    <a:pt x="6483" y="5453"/>
                  </a:moveTo>
                  <a:cubicBezTo>
                    <a:pt x="6845" y="5577"/>
                    <a:pt x="7217" y="5713"/>
                    <a:pt x="7591" y="5867"/>
                  </a:cubicBezTo>
                  <a:cubicBezTo>
                    <a:pt x="7371" y="5985"/>
                    <a:pt x="7153" y="6105"/>
                    <a:pt x="6936" y="6229"/>
                  </a:cubicBezTo>
                  <a:cubicBezTo>
                    <a:pt x="6715" y="6356"/>
                    <a:pt x="6501" y="6486"/>
                    <a:pt x="6287" y="6619"/>
                  </a:cubicBezTo>
                  <a:cubicBezTo>
                    <a:pt x="6341" y="6217"/>
                    <a:pt x="6407" y="5831"/>
                    <a:pt x="6483" y="5453"/>
                  </a:cubicBezTo>
                  <a:close/>
                  <a:moveTo>
                    <a:pt x="11350" y="5453"/>
                  </a:moveTo>
                  <a:cubicBezTo>
                    <a:pt x="11426" y="5831"/>
                    <a:pt x="11492" y="6217"/>
                    <a:pt x="11546" y="6619"/>
                  </a:cubicBezTo>
                  <a:cubicBezTo>
                    <a:pt x="11335" y="6486"/>
                    <a:pt x="11118" y="6356"/>
                    <a:pt x="10897" y="6229"/>
                  </a:cubicBezTo>
                  <a:cubicBezTo>
                    <a:pt x="10677" y="6102"/>
                    <a:pt x="10459" y="5982"/>
                    <a:pt x="10242" y="5867"/>
                  </a:cubicBezTo>
                  <a:cubicBezTo>
                    <a:pt x="10619" y="5716"/>
                    <a:pt x="10988" y="5574"/>
                    <a:pt x="11350" y="5453"/>
                  </a:cubicBezTo>
                  <a:close/>
                  <a:moveTo>
                    <a:pt x="3799" y="4852"/>
                  </a:moveTo>
                  <a:cubicBezTo>
                    <a:pt x="4336" y="4904"/>
                    <a:pt x="4870" y="4997"/>
                    <a:pt x="5396" y="5133"/>
                  </a:cubicBezTo>
                  <a:cubicBezTo>
                    <a:pt x="5239" y="5894"/>
                    <a:pt x="5124" y="6661"/>
                    <a:pt x="5055" y="7434"/>
                  </a:cubicBezTo>
                  <a:cubicBezTo>
                    <a:pt x="4421" y="7881"/>
                    <a:pt x="3811" y="8361"/>
                    <a:pt x="3231" y="8877"/>
                  </a:cubicBezTo>
                  <a:cubicBezTo>
                    <a:pt x="3004" y="8645"/>
                    <a:pt x="2796" y="8412"/>
                    <a:pt x="2606" y="8180"/>
                  </a:cubicBezTo>
                  <a:cubicBezTo>
                    <a:pt x="1969" y="7404"/>
                    <a:pt x="1579" y="6691"/>
                    <a:pt x="1483" y="6139"/>
                  </a:cubicBezTo>
                  <a:lnTo>
                    <a:pt x="1483" y="6139"/>
                  </a:lnTo>
                  <a:cubicBezTo>
                    <a:pt x="1695" y="6225"/>
                    <a:pt x="1912" y="6266"/>
                    <a:pt x="2125" y="6266"/>
                  </a:cubicBezTo>
                  <a:cubicBezTo>
                    <a:pt x="2922" y="6266"/>
                    <a:pt x="3656" y="5698"/>
                    <a:pt x="3799" y="4852"/>
                  </a:cubicBezTo>
                  <a:close/>
                  <a:moveTo>
                    <a:pt x="14037" y="4852"/>
                  </a:moveTo>
                  <a:cubicBezTo>
                    <a:pt x="14180" y="5698"/>
                    <a:pt x="14914" y="6266"/>
                    <a:pt x="15711" y="6266"/>
                  </a:cubicBezTo>
                  <a:cubicBezTo>
                    <a:pt x="15924" y="6266"/>
                    <a:pt x="16141" y="6225"/>
                    <a:pt x="16353" y="6139"/>
                  </a:cubicBezTo>
                  <a:lnTo>
                    <a:pt x="16353" y="6139"/>
                  </a:lnTo>
                  <a:cubicBezTo>
                    <a:pt x="16254" y="6691"/>
                    <a:pt x="15867" y="7404"/>
                    <a:pt x="15227" y="8180"/>
                  </a:cubicBezTo>
                  <a:cubicBezTo>
                    <a:pt x="15037" y="8412"/>
                    <a:pt x="14829" y="8645"/>
                    <a:pt x="14602" y="8877"/>
                  </a:cubicBezTo>
                  <a:cubicBezTo>
                    <a:pt x="14022" y="8361"/>
                    <a:pt x="13412" y="7881"/>
                    <a:pt x="12778" y="7434"/>
                  </a:cubicBezTo>
                  <a:cubicBezTo>
                    <a:pt x="12709" y="6661"/>
                    <a:pt x="12594" y="5894"/>
                    <a:pt x="12440" y="5133"/>
                  </a:cubicBezTo>
                  <a:cubicBezTo>
                    <a:pt x="12963" y="4997"/>
                    <a:pt x="13497" y="4904"/>
                    <a:pt x="14037" y="4852"/>
                  </a:cubicBezTo>
                  <a:close/>
                  <a:moveTo>
                    <a:pt x="4964" y="8908"/>
                  </a:moveTo>
                  <a:lnTo>
                    <a:pt x="4964" y="8908"/>
                  </a:lnTo>
                  <a:cubicBezTo>
                    <a:pt x="4958" y="9158"/>
                    <a:pt x="4955" y="9409"/>
                    <a:pt x="4955" y="9662"/>
                  </a:cubicBezTo>
                  <a:cubicBezTo>
                    <a:pt x="4952" y="9916"/>
                    <a:pt x="4958" y="10167"/>
                    <a:pt x="4964" y="10417"/>
                  </a:cubicBezTo>
                  <a:cubicBezTo>
                    <a:pt x="4644" y="10170"/>
                    <a:pt x="4339" y="9916"/>
                    <a:pt x="4052" y="9662"/>
                  </a:cubicBezTo>
                  <a:cubicBezTo>
                    <a:pt x="4339" y="9409"/>
                    <a:pt x="4644" y="9155"/>
                    <a:pt x="4964" y="8908"/>
                  </a:cubicBezTo>
                  <a:close/>
                  <a:moveTo>
                    <a:pt x="12869" y="8908"/>
                  </a:moveTo>
                  <a:lnTo>
                    <a:pt x="12869" y="8908"/>
                  </a:lnTo>
                  <a:cubicBezTo>
                    <a:pt x="13189" y="9155"/>
                    <a:pt x="13491" y="9409"/>
                    <a:pt x="13781" y="9662"/>
                  </a:cubicBezTo>
                  <a:cubicBezTo>
                    <a:pt x="13494" y="9916"/>
                    <a:pt x="13189" y="10170"/>
                    <a:pt x="12869" y="10417"/>
                  </a:cubicBezTo>
                  <a:cubicBezTo>
                    <a:pt x="12875" y="10167"/>
                    <a:pt x="12878" y="9916"/>
                    <a:pt x="12881" y="9662"/>
                  </a:cubicBezTo>
                  <a:cubicBezTo>
                    <a:pt x="12881" y="9409"/>
                    <a:pt x="12875" y="9158"/>
                    <a:pt x="12869" y="8908"/>
                  </a:cubicBezTo>
                  <a:close/>
                  <a:moveTo>
                    <a:pt x="8917" y="6459"/>
                  </a:moveTo>
                  <a:cubicBezTo>
                    <a:pt x="9391" y="6688"/>
                    <a:pt x="9865" y="6942"/>
                    <a:pt x="10333" y="7211"/>
                  </a:cubicBezTo>
                  <a:cubicBezTo>
                    <a:pt x="10801" y="7482"/>
                    <a:pt x="11260" y="7766"/>
                    <a:pt x="11694" y="8059"/>
                  </a:cubicBezTo>
                  <a:cubicBezTo>
                    <a:pt x="11728" y="8581"/>
                    <a:pt x="11749" y="9119"/>
                    <a:pt x="11749" y="9662"/>
                  </a:cubicBezTo>
                  <a:cubicBezTo>
                    <a:pt x="11749" y="10206"/>
                    <a:pt x="11728" y="10743"/>
                    <a:pt x="11694" y="11266"/>
                  </a:cubicBezTo>
                  <a:cubicBezTo>
                    <a:pt x="11260" y="11559"/>
                    <a:pt x="10804" y="11839"/>
                    <a:pt x="10333" y="12114"/>
                  </a:cubicBezTo>
                  <a:cubicBezTo>
                    <a:pt x="9862" y="12386"/>
                    <a:pt x="9388" y="12637"/>
                    <a:pt x="8920" y="12869"/>
                  </a:cubicBezTo>
                  <a:cubicBezTo>
                    <a:pt x="8445" y="12640"/>
                    <a:pt x="7971" y="12386"/>
                    <a:pt x="7500" y="12114"/>
                  </a:cubicBezTo>
                  <a:cubicBezTo>
                    <a:pt x="7032" y="11842"/>
                    <a:pt x="6576" y="11559"/>
                    <a:pt x="6139" y="11266"/>
                  </a:cubicBezTo>
                  <a:cubicBezTo>
                    <a:pt x="6105" y="10743"/>
                    <a:pt x="6087" y="10206"/>
                    <a:pt x="6087" y="9662"/>
                  </a:cubicBezTo>
                  <a:cubicBezTo>
                    <a:pt x="6087" y="9119"/>
                    <a:pt x="6105" y="8581"/>
                    <a:pt x="6139" y="8059"/>
                  </a:cubicBezTo>
                  <a:cubicBezTo>
                    <a:pt x="6576" y="7766"/>
                    <a:pt x="7029" y="7485"/>
                    <a:pt x="7500" y="7211"/>
                  </a:cubicBezTo>
                  <a:cubicBezTo>
                    <a:pt x="7971" y="6942"/>
                    <a:pt x="8445" y="6688"/>
                    <a:pt x="8917" y="6459"/>
                  </a:cubicBezTo>
                  <a:close/>
                  <a:moveTo>
                    <a:pt x="11546" y="12706"/>
                  </a:moveTo>
                  <a:lnTo>
                    <a:pt x="11546" y="12706"/>
                  </a:lnTo>
                  <a:cubicBezTo>
                    <a:pt x="11492" y="13108"/>
                    <a:pt x="11426" y="13497"/>
                    <a:pt x="11350" y="13872"/>
                  </a:cubicBezTo>
                  <a:cubicBezTo>
                    <a:pt x="10988" y="13751"/>
                    <a:pt x="10619" y="13612"/>
                    <a:pt x="10242" y="13461"/>
                  </a:cubicBezTo>
                  <a:cubicBezTo>
                    <a:pt x="10462" y="13343"/>
                    <a:pt x="10680" y="13219"/>
                    <a:pt x="10897" y="13096"/>
                  </a:cubicBezTo>
                  <a:cubicBezTo>
                    <a:pt x="11115" y="12969"/>
                    <a:pt x="11332" y="12839"/>
                    <a:pt x="11546" y="12706"/>
                  </a:cubicBezTo>
                  <a:close/>
                  <a:moveTo>
                    <a:pt x="6287" y="12706"/>
                  </a:moveTo>
                  <a:cubicBezTo>
                    <a:pt x="6498" y="12836"/>
                    <a:pt x="6715" y="12966"/>
                    <a:pt x="6936" y="13092"/>
                  </a:cubicBezTo>
                  <a:cubicBezTo>
                    <a:pt x="7153" y="13219"/>
                    <a:pt x="7374" y="13343"/>
                    <a:pt x="7597" y="13461"/>
                  </a:cubicBezTo>
                  <a:lnTo>
                    <a:pt x="7594" y="13461"/>
                  </a:lnTo>
                  <a:cubicBezTo>
                    <a:pt x="7217" y="13615"/>
                    <a:pt x="6848" y="13754"/>
                    <a:pt x="6483" y="13875"/>
                  </a:cubicBezTo>
                  <a:cubicBezTo>
                    <a:pt x="6407" y="13497"/>
                    <a:pt x="6341" y="13108"/>
                    <a:pt x="6287" y="12706"/>
                  </a:cubicBezTo>
                  <a:close/>
                  <a:moveTo>
                    <a:pt x="14602" y="10447"/>
                  </a:moveTo>
                  <a:cubicBezTo>
                    <a:pt x="14829" y="10680"/>
                    <a:pt x="15037" y="10912"/>
                    <a:pt x="15227" y="11145"/>
                  </a:cubicBezTo>
                  <a:cubicBezTo>
                    <a:pt x="15867" y="11921"/>
                    <a:pt x="16254" y="12634"/>
                    <a:pt x="16353" y="13186"/>
                  </a:cubicBezTo>
                  <a:cubicBezTo>
                    <a:pt x="16141" y="13099"/>
                    <a:pt x="15923" y="13059"/>
                    <a:pt x="15710" y="13059"/>
                  </a:cubicBezTo>
                  <a:cubicBezTo>
                    <a:pt x="14912" y="13059"/>
                    <a:pt x="14180" y="13627"/>
                    <a:pt x="14034" y="14472"/>
                  </a:cubicBezTo>
                  <a:cubicBezTo>
                    <a:pt x="13497" y="14421"/>
                    <a:pt x="12963" y="14327"/>
                    <a:pt x="12440" y="14192"/>
                  </a:cubicBezTo>
                  <a:cubicBezTo>
                    <a:pt x="12594" y="13431"/>
                    <a:pt x="12709" y="12664"/>
                    <a:pt x="12778" y="11891"/>
                  </a:cubicBezTo>
                  <a:cubicBezTo>
                    <a:pt x="13412" y="11444"/>
                    <a:pt x="14022" y="10964"/>
                    <a:pt x="14602" y="10447"/>
                  </a:cubicBezTo>
                  <a:close/>
                  <a:moveTo>
                    <a:pt x="3231" y="10447"/>
                  </a:moveTo>
                  <a:cubicBezTo>
                    <a:pt x="3811" y="10964"/>
                    <a:pt x="4421" y="11444"/>
                    <a:pt x="5055" y="11891"/>
                  </a:cubicBezTo>
                  <a:cubicBezTo>
                    <a:pt x="5124" y="12664"/>
                    <a:pt x="5239" y="13434"/>
                    <a:pt x="5393" y="14195"/>
                  </a:cubicBezTo>
                  <a:cubicBezTo>
                    <a:pt x="5079" y="14273"/>
                    <a:pt x="4774" y="14336"/>
                    <a:pt x="4478" y="14388"/>
                  </a:cubicBezTo>
                  <a:cubicBezTo>
                    <a:pt x="4028" y="14462"/>
                    <a:pt x="3616" y="14499"/>
                    <a:pt x="3250" y="14499"/>
                  </a:cubicBezTo>
                  <a:cubicBezTo>
                    <a:pt x="2389" y="14499"/>
                    <a:pt x="1786" y="14296"/>
                    <a:pt x="1561" y="13908"/>
                  </a:cubicBezTo>
                  <a:cubicBezTo>
                    <a:pt x="1244" y="13358"/>
                    <a:pt x="1634" y="12326"/>
                    <a:pt x="2606" y="11145"/>
                  </a:cubicBezTo>
                  <a:cubicBezTo>
                    <a:pt x="2796" y="10912"/>
                    <a:pt x="3007" y="10680"/>
                    <a:pt x="3231" y="10447"/>
                  </a:cubicBezTo>
                  <a:close/>
                  <a:moveTo>
                    <a:pt x="15707" y="14191"/>
                  </a:moveTo>
                  <a:cubicBezTo>
                    <a:pt x="15999" y="14191"/>
                    <a:pt x="16278" y="14416"/>
                    <a:pt x="16278" y="14759"/>
                  </a:cubicBezTo>
                  <a:cubicBezTo>
                    <a:pt x="16278" y="15070"/>
                    <a:pt x="16024" y="15324"/>
                    <a:pt x="15710" y="15324"/>
                  </a:cubicBezTo>
                  <a:cubicBezTo>
                    <a:pt x="15206" y="15324"/>
                    <a:pt x="14952" y="14714"/>
                    <a:pt x="15309" y="14358"/>
                  </a:cubicBezTo>
                  <a:cubicBezTo>
                    <a:pt x="15425" y="14242"/>
                    <a:pt x="15568" y="14191"/>
                    <a:pt x="15707" y="14191"/>
                  </a:cubicBezTo>
                  <a:close/>
                  <a:moveTo>
                    <a:pt x="8917" y="14122"/>
                  </a:moveTo>
                  <a:cubicBezTo>
                    <a:pt x="9623" y="14448"/>
                    <a:pt x="10348" y="14735"/>
                    <a:pt x="11084" y="14980"/>
                  </a:cubicBezTo>
                  <a:cubicBezTo>
                    <a:pt x="10994" y="15297"/>
                    <a:pt x="10894" y="15602"/>
                    <a:pt x="10789" y="15892"/>
                  </a:cubicBezTo>
                  <a:cubicBezTo>
                    <a:pt x="10251" y="17332"/>
                    <a:pt x="9551" y="18192"/>
                    <a:pt x="8917" y="18192"/>
                  </a:cubicBezTo>
                  <a:cubicBezTo>
                    <a:pt x="8282" y="18192"/>
                    <a:pt x="7582" y="17332"/>
                    <a:pt x="7044" y="15892"/>
                  </a:cubicBezTo>
                  <a:cubicBezTo>
                    <a:pt x="6939" y="15602"/>
                    <a:pt x="6839" y="15300"/>
                    <a:pt x="6749" y="14980"/>
                  </a:cubicBezTo>
                  <a:cubicBezTo>
                    <a:pt x="7488" y="14735"/>
                    <a:pt x="8213" y="14448"/>
                    <a:pt x="8917" y="14122"/>
                  </a:cubicBezTo>
                  <a:close/>
                  <a:moveTo>
                    <a:pt x="8917" y="0"/>
                  </a:moveTo>
                  <a:cubicBezTo>
                    <a:pt x="7757" y="0"/>
                    <a:pt x="6715" y="1081"/>
                    <a:pt x="5985" y="3041"/>
                  </a:cubicBezTo>
                  <a:cubicBezTo>
                    <a:pt x="5867" y="3355"/>
                    <a:pt x="5758" y="3687"/>
                    <a:pt x="5662" y="4031"/>
                  </a:cubicBezTo>
                  <a:cubicBezTo>
                    <a:pt x="4919" y="3844"/>
                    <a:pt x="4215" y="3732"/>
                    <a:pt x="3587" y="3702"/>
                  </a:cubicBezTo>
                  <a:cubicBezTo>
                    <a:pt x="3271" y="3173"/>
                    <a:pt x="2709" y="2871"/>
                    <a:pt x="2126" y="2871"/>
                  </a:cubicBezTo>
                  <a:cubicBezTo>
                    <a:pt x="1901" y="2871"/>
                    <a:pt x="1673" y="2916"/>
                    <a:pt x="1455" y="3011"/>
                  </a:cubicBezTo>
                  <a:cubicBezTo>
                    <a:pt x="670" y="3346"/>
                    <a:pt x="260" y="4212"/>
                    <a:pt x="492" y="5034"/>
                  </a:cubicBezTo>
                  <a:cubicBezTo>
                    <a:pt x="54" y="6024"/>
                    <a:pt x="489" y="7389"/>
                    <a:pt x="1733" y="8898"/>
                  </a:cubicBezTo>
                  <a:cubicBezTo>
                    <a:pt x="1942" y="9152"/>
                    <a:pt x="2171" y="9409"/>
                    <a:pt x="2416" y="9662"/>
                  </a:cubicBezTo>
                  <a:cubicBezTo>
                    <a:pt x="2171" y="9916"/>
                    <a:pt x="1942" y="10170"/>
                    <a:pt x="1733" y="10426"/>
                  </a:cubicBezTo>
                  <a:cubicBezTo>
                    <a:pt x="411" y="12033"/>
                    <a:pt x="0" y="13470"/>
                    <a:pt x="583" y="14475"/>
                  </a:cubicBezTo>
                  <a:cubicBezTo>
                    <a:pt x="1021" y="15233"/>
                    <a:pt x="1954" y="15629"/>
                    <a:pt x="3270" y="15629"/>
                  </a:cubicBezTo>
                  <a:cubicBezTo>
                    <a:pt x="3738" y="15626"/>
                    <a:pt x="4203" y="15584"/>
                    <a:pt x="4662" y="15505"/>
                  </a:cubicBezTo>
                  <a:cubicBezTo>
                    <a:pt x="4985" y="15451"/>
                    <a:pt x="5320" y="15378"/>
                    <a:pt x="5662" y="15294"/>
                  </a:cubicBezTo>
                  <a:cubicBezTo>
                    <a:pt x="5761" y="15641"/>
                    <a:pt x="5867" y="15970"/>
                    <a:pt x="5985" y="16284"/>
                  </a:cubicBezTo>
                  <a:cubicBezTo>
                    <a:pt x="6715" y="18244"/>
                    <a:pt x="7757" y="19325"/>
                    <a:pt x="8917" y="19325"/>
                  </a:cubicBezTo>
                  <a:cubicBezTo>
                    <a:pt x="10076" y="19325"/>
                    <a:pt x="11118" y="18244"/>
                    <a:pt x="11848" y="16284"/>
                  </a:cubicBezTo>
                  <a:cubicBezTo>
                    <a:pt x="11966" y="15970"/>
                    <a:pt x="12075" y="15638"/>
                    <a:pt x="12171" y="15294"/>
                  </a:cubicBezTo>
                  <a:cubicBezTo>
                    <a:pt x="12917" y="15481"/>
                    <a:pt x="13618" y="15593"/>
                    <a:pt x="14246" y="15623"/>
                  </a:cubicBezTo>
                  <a:cubicBezTo>
                    <a:pt x="14562" y="16152"/>
                    <a:pt x="15123" y="16453"/>
                    <a:pt x="15705" y="16453"/>
                  </a:cubicBezTo>
                  <a:cubicBezTo>
                    <a:pt x="15930" y="16453"/>
                    <a:pt x="16159" y="16408"/>
                    <a:pt x="16378" y="16314"/>
                  </a:cubicBezTo>
                  <a:cubicBezTo>
                    <a:pt x="17163" y="15979"/>
                    <a:pt x="17573" y="15112"/>
                    <a:pt x="17341" y="14291"/>
                  </a:cubicBezTo>
                  <a:cubicBezTo>
                    <a:pt x="17779" y="13301"/>
                    <a:pt x="17344" y="11936"/>
                    <a:pt x="16100" y="10426"/>
                  </a:cubicBezTo>
                  <a:cubicBezTo>
                    <a:pt x="15891" y="10170"/>
                    <a:pt x="15662" y="9916"/>
                    <a:pt x="15417" y="9662"/>
                  </a:cubicBezTo>
                  <a:cubicBezTo>
                    <a:pt x="15662" y="9409"/>
                    <a:pt x="15891" y="9152"/>
                    <a:pt x="16100" y="8898"/>
                  </a:cubicBezTo>
                  <a:cubicBezTo>
                    <a:pt x="17347" y="7389"/>
                    <a:pt x="17779" y="6024"/>
                    <a:pt x="17341" y="5034"/>
                  </a:cubicBezTo>
                  <a:cubicBezTo>
                    <a:pt x="17573" y="4212"/>
                    <a:pt x="17163" y="3346"/>
                    <a:pt x="16378" y="3011"/>
                  </a:cubicBezTo>
                  <a:cubicBezTo>
                    <a:pt x="16159" y="2916"/>
                    <a:pt x="15930" y="2871"/>
                    <a:pt x="15705" y="2871"/>
                  </a:cubicBezTo>
                  <a:cubicBezTo>
                    <a:pt x="15123" y="2871"/>
                    <a:pt x="14562" y="3173"/>
                    <a:pt x="14246" y="3702"/>
                  </a:cubicBezTo>
                  <a:cubicBezTo>
                    <a:pt x="13615" y="3732"/>
                    <a:pt x="12914" y="3844"/>
                    <a:pt x="12171" y="4031"/>
                  </a:cubicBezTo>
                  <a:cubicBezTo>
                    <a:pt x="12075" y="3684"/>
                    <a:pt x="11966" y="3355"/>
                    <a:pt x="11848" y="3041"/>
                  </a:cubicBezTo>
                  <a:cubicBezTo>
                    <a:pt x="11118" y="1081"/>
                    <a:pt x="10076" y="0"/>
                    <a:pt x="8917"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435D74"/>
                </a:solidFill>
                <a:latin typeface="Arial"/>
                <a:cs typeface="Arial"/>
                <a:sym typeface="Arial"/>
              </a:endParaRPr>
            </a:p>
          </p:txBody>
        </p:sp>
        <p:sp>
          <p:nvSpPr>
            <p:cNvPr id="9511" name="Google Shape;9511;p109"/>
            <p:cNvSpPr/>
            <p:nvPr/>
          </p:nvSpPr>
          <p:spPr>
            <a:xfrm>
              <a:off x="2280775" y="4003900"/>
              <a:ext cx="88275" cy="85025"/>
            </a:xfrm>
            <a:custGeom>
              <a:avLst/>
              <a:gdLst/>
              <a:ahLst/>
              <a:cxnLst/>
              <a:rect l="l" t="t" r="r" b="b"/>
              <a:pathLst>
                <a:path w="3531" h="3401" extrusionOk="0">
                  <a:moveTo>
                    <a:pt x="1698" y="1136"/>
                  </a:moveTo>
                  <a:cubicBezTo>
                    <a:pt x="2202" y="1136"/>
                    <a:pt x="2455" y="1743"/>
                    <a:pt x="2099" y="2102"/>
                  </a:cubicBezTo>
                  <a:cubicBezTo>
                    <a:pt x="1983" y="2217"/>
                    <a:pt x="1841" y="2268"/>
                    <a:pt x="1703" y="2268"/>
                  </a:cubicBezTo>
                  <a:cubicBezTo>
                    <a:pt x="1411" y="2268"/>
                    <a:pt x="1133" y="2042"/>
                    <a:pt x="1133" y="1700"/>
                  </a:cubicBezTo>
                  <a:cubicBezTo>
                    <a:pt x="1133" y="1386"/>
                    <a:pt x="1383" y="1136"/>
                    <a:pt x="1698" y="1136"/>
                  </a:cubicBezTo>
                  <a:close/>
                  <a:moveTo>
                    <a:pt x="1698" y="1"/>
                  </a:moveTo>
                  <a:cubicBezTo>
                    <a:pt x="1479" y="1"/>
                    <a:pt x="1258" y="43"/>
                    <a:pt x="1048" y="130"/>
                  </a:cubicBezTo>
                  <a:cubicBezTo>
                    <a:pt x="414" y="393"/>
                    <a:pt x="1" y="1012"/>
                    <a:pt x="1" y="1700"/>
                  </a:cubicBezTo>
                  <a:cubicBezTo>
                    <a:pt x="1" y="2639"/>
                    <a:pt x="758" y="3397"/>
                    <a:pt x="1698" y="3400"/>
                  </a:cubicBezTo>
                  <a:cubicBezTo>
                    <a:pt x="2386" y="3400"/>
                    <a:pt x="3005" y="2984"/>
                    <a:pt x="3268" y="2350"/>
                  </a:cubicBezTo>
                  <a:cubicBezTo>
                    <a:pt x="3530" y="1715"/>
                    <a:pt x="3385" y="985"/>
                    <a:pt x="2899" y="499"/>
                  </a:cubicBezTo>
                  <a:cubicBezTo>
                    <a:pt x="2574" y="173"/>
                    <a:pt x="2140" y="1"/>
                    <a:pt x="1698"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435D74"/>
                </a:solidFill>
                <a:latin typeface="Arial"/>
                <a:cs typeface="Arial"/>
                <a:sym typeface="Arial"/>
              </a:endParaRPr>
            </a:p>
          </p:txBody>
        </p:sp>
      </p:grpSp>
      <p:grpSp>
        <p:nvGrpSpPr>
          <p:cNvPr id="9512" name="Google Shape;9512;p109"/>
          <p:cNvGrpSpPr/>
          <p:nvPr/>
        </p:nvGrpSpPr>
        <p:grpSpPr>
          <a:xfrm>
            <a:off x="8444618" y="4168136"/>
            <a:ext cx="392348" cy="453557"/>
            <a:chOff x="2708700" y="3804850"/>
            <a:chExt cx="417925" cy="483125"/>
          </a:xfrm>
        </p:grpSpPr>
        <p:sp>
          <p:nvSpPr>
            <p:cNvPr id="9513" name="Google Shape;9513;p109"/>
            <p:cNvSpPr/>
            <p:nvPr/>
          </p:nvSpPr>
          <p:spPr>
            <a:xfrm>
              <a:off x="2708700" y="3804850"/>
              <a:ext cx="417925" cy="483125"/>
            </a:xfrm>
            <a:custGeom>
              <a:avLst/>
              <a:gdLst/>
              <a:ahLst/>
              <a:cxnLst/>
              <a:rect l="l" t="t" r="r" b="b"/>
              <a:pathLst>
                <a:path w="16717" h="19325" extrusionOk="0">
                  <a:moveTo>
                    <a:pt x="10354" y="1132"/>
                  </a:moveTo>
                  <a:lnTo>
                    <a:pt x="10354" y="8618"/>
                  </a:lnTo>
                  <a:cubicBezTo>
                    <a:pt x="10354" y="8714"/>
                    <a:pt x="10379" y="8811"/>
                    <a:pt x="10430" y="8898"/>
                  </a:cubicBezTo>
                  <a:lnTo>
                    <a:pt x="12447" y="12425"/>
                  </a:lnTo>
                  <a:lnTo>
                    <a:pt x="4273" y="12425"/>
                  </a:lnTo>
                  <a:lnTo>
                    <a:pt x="6290" y="8898"/>
                  </a:lnTo>
                  <a:cubicBezTo>
                    <a:pt x="6339" y="8811"/>
                    <a:pt x="6366" y="8714"/>
                    <a:pt x="6366" y="8618"/>
                  </a:cubicBezTo>
                  <a:lnTo>
                    <a:pt x="6366" y="1132"/>
                  </a:lnTo>
                  <a:close/>
                  <a:moveTo>
                    <a:pt x="13090" y="13557"/>
                  </a:moveTo>
                  <a:lnTo>
                    <a:pt x="15469" y="17718"/>
                  </a:lnTo>
                  <a:cubicBezTo>
                    <a:pt x="15527" y="17818"/>
                    <a:pt x="15530" y="17939"/>
                    <a:pt x="15472" y="18038"/>
                  </a:cubicBezTo>
                  <a:cubicBezTo>
                    <a:pt x="15418" y="18135"/>
                    <a:pt x="15318" y="18192"/>
                    <a:pt x="15210" y="18192"/>
                  </a:cubicBezTo>
                  <a:lnTo>
                    <a:pt x="1511" y="18192"/>
                  </a:lnTo>
                  <a:cubicBezTo>
                    <a:pt x="1399" y="18192"/>
                    <a:pt x="1299" y="18135"/>
                    <a:pt x="1245" y="18038"/>
                  </a:cubicBezTo>
                  <a:cubicBezTo>
                    <a:pt x="1187" y="17939"/>
                    <a:pt x="1187" y="17818"/>
                    <a:pt x="1245" y="17718"/>
                  </a:cubicBezTo>
                  <a:lnTo>
                    <a:pt x="3624" y="13557"/>
                  </a:lnTo>
                  <a:close/>
                  <a:moveTo>
                    <a:pt x="4717" y="0"/>
                  </a:moveTo>
                  <a:cubicBezTo>
                    <a:pt x="4403" y="0"/>
                    <a:pt x="4153" y="254"/>
                    <a:pt x="4153" y="568"/>
                  </a:cubicBezTo>
                  <a:cubicBezTo>
                    <a:pt x="4153" y="879"/>
                    <a:pt x="4403" y="1132"/>
                    <a:pt x="4717" y="1132"/>
                  </a:cubicBezTo>
                  <a:lnTo>
                    <a:pt x="5234" y="1132"/>
                  </a:lnTo>
                  <a:lnTo>
                    <a:pt x="5234" y="8467"/>
                  </a:lnTo>
                  <a:lnTo>
                    <a:pt x="264" y="17157"/>
                  </a:lnTo>
                  <a:cubicBezTo>
                    <a:pt x="1" y="17604"/>
                    <a:pt x="4" y="18159"/>
                    <a:pt x="267" y="18606"/>
                  </a:cubicBezTo>
                  <a:cubicBezTo>
                    <a:pt x="519" y="19050"/>
                    <a:pt x="992" y="19325"/>
                    <a:pt x="1502" y="19325"/>
                  </a:cubicBezTo>
                  <a:cubicBezTo>
                    <a:pt x="1505" y="19325"/>
                    <a:pt x="1508" y="19325"/>
                    <a:pt x="1511" y="19325"/>
                  </a:cubicBezTo>
                  <a:lnTo>
                    <a:pt x="15207" y="19325"/>
                  </a:lnTo>
                  <a:cubicBezTo>
                    <a:pt x="15210" y="19325"/>
                    <a:pt x="15212" y="19325"/>
                    <a:pt x="15215" y="19325"/>
                  </a:cubicBezTo>
                  <a:cubicBezTo>
                    <a:pt x="15725" y="19325"/>
                    <a:pt x="16198" y="19050"/>
                    <a:pt x="16451" y="18606"/>
                  </a:cubicBezTo>
                  <a:cubicBezTo>
                    <a:pt x="16713" y="18159"/>
                    <a:pt x="16716" y="17607"/>
                    <a:pt x="16454" y="17157"/>
                  </a:cubicBezTo>
                  <a:lnTo>
                    <a:pt x="11487" y="8467"/>
                  </a:lnTo>
                  <a:lnTo>
                    <a:pt x="11487" y="1132"/>
                  </a:lnTo>
                  <a:lnTo>
                    <a:pt x="12003" y="1132"/>
                  </a:lnTo>
                  <a:cubicBezTo>
                    <a:pt x="12314" y="1132"/>
                    <a:pt x="12568" y="879"/>
                    <a:pt x="12568" y="568"/>
                  </a:cubicBezTo>
                  <a:cubicBezTo>
                    <a:pt x="12568" y="254"/>
                    <a:pt x="12314" y="0"/>
                    <a:pt x="12003"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435D74"/>
                </a:solidFill>
                <a:latin typeface="Arial"/>
                <a:cs typeface="Arial"/>
                <a:sym typeface="Arial"/>
              </a:endParaRPr>
            </a:p>
          </p:txBody>
        </p:sp>
        <p:sp>
          <p:nvSpPr>
            <p:cNvPr id="9514" name="Google Shape;9514;p109"/>
            <p:cNvSpPr/>
            <p:nvPr/>
          </p:nvSpPr>
          <p:spPr>
            <a:xfrm>
              <a:off x="2875975" y="4055200"/>
              <a:ext cx="33100" cy="28350"/>
            </a:xfrm>
            <a:custGeom>
              <a:avLst/>
              <a:gdLst/>
              <a:ahLst/>
              <a:cxnLst/>
              <a:rect l="l" t="t" r="r" b="b"/>
              <a:pathLst>
                <a:path w="1324" h="1134" extrusionOk="0">
                  <a:moveTo>
                    <a:pt x="570" y="1"/>
                  </a:moveTo>
                  <a:cubicBezTo>
                    <a:pt x="280" y="1"/>
                    <a:pt x="1" y="225"/>
                    <a:pt x="1" y="566"/>
                  </a:cubicBezTo>
                  <a:cubicBezTo>
                    <a:pt x="1" y="880"/>
                    <a:pt x="255" y="1134"/>
                    <a:pt x="569" y="1134"/>
                  </a:cubicBezTo>
                  <a:cubicBezTo>
                    <a:pt x="1073" y="1134"/>
                    <a:pt x="1323" y="524"/>
                    <a:pt x="967" y="168"/>
                  </a:cubicBezTo>
                  <a:cubicBezTo>
                    <a:pt x="852" y="52"/>
                    <a:pt x="710" y="1"/>
                    <a:pt x="570"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435D74"/>
                </a:solidFill>
                <a:latin typeface="Arial"/>
                <a:cs typeface="Arial"/>
                <a:sym typeface="Arial"/>
              </a:endParaRPr>
            </a:p>
          </p:txBody>
        </p:sp>
        <p:sp>
          <p:nvSpPr>
            <p:cNvPr id="9515" name="Google Shape;9515;p109"/>
            <p:cNvSpPr/>
            <p:nvPr/>
          </p:nvSpPr>
          <p:spPr>
            <a:xfrm>
              <a:off x="2931025" y="4055200"/>
              <a:ext cx="33075" cy="28350"/>
            </a:xfrm>
            <a:custGeom>
              <a:avLst/>
              <a:gdLst/>
              <a:ahLst/>
              <a:cxnLst/>
              <a:rect l="l" t="t" r="r" b="b"/>
              <a:pathLst>
                <a:path w="1323" h="1134" extrusionOk="0">
                  <a:moveTo>
                    <a:pt x="569" y="1"/>
                  </a:moveTo>
                  <a:cubicBezTo>
                    <a:pt x="279" y="1"/>
                    <a:pt x="0" y="225"/>
                    <a:pt x="0" y="566"/>
                  </a:cubicBezTo>
                  <a:cubicBezTo>
                    <a:pt x="0" y="880"/>
                    <a:pt x="254" y="1134"/>
                    <a:pt x="565" y="1134"/>
                  </a:cubicBezTo>
                  <a:cubicBezTo>
                    <a:pt x="1069" y="1134"/>
                    <a:pt x="1323" y="524"/>
                    <a:pt x="966" y="168"/>
                  </a:cubicBezTo>
                  <a:cubicBezTo>
                    <a:pt x="851" y="52"/>
                    <a:pt x="709" y="1"/>
                    <a:pt x="569"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435D74"/>
                </a:solidFill>
                <a:latin typeface="Arial"/>
                <a:cs typeface="Arial"/>
                <a:sym typeface="Arial"/>
              </a:endParaRPr>
            </a:p>
          </p:txBody>
        </p:sp>
        <p:sp>
          <p:nvSpPr>
            <p:cNvPr id="9516" name="Google Shape;9516;p109"/>
            <p:cNvSpPr/>
            <p:nvPr/>
          </p:nvSpPr>
          <p:spPr>
            <a:xfrm>
              <a:off x="2903525" y="4008200"/>
              <a:ext cx="28350" cy="28325"/>
            </a:xfrm>
            <a:custGeom>
              <a:avLst/>
              <a:gdLst/>
              <a:ahLst/>
              <a:cxnLst/>
              <a:rect l="l" t="t" r="r" b="b"/>
              <a:pathLst>
                <a:path w="1134" h="1133" extrusionOk="0">
                  <a:moveTo>
                    <a:pt x="566" y="1"/>
                  </a:moveTo>
                  <a:cubicBezTo>
                    <a:pt x="252" y="1"/>
                    <a:pt x="1" y="254"/>
                    <a:pt x="1" y="568"/>
                  </a:cubicBezTo>
                  <a:cubicBezTo>
                    <a:pt x="1" y="879"/>
                    <a:pt x="252" y="1133"/>
                    <a:pt x="566" y="1133"/>
                  </a:cubicBezTo>
                  <a:cubicBezTo>
                    <a:pt x="880" y="1133"/>
                    <a:pt x="1133" y="879"/>
                    <a:pt x="1133" y="568"/>
                  </a:cubicBezTo>
                  <a:cubicBezTo>
                    <a:pt x="1133" y="254"/>
                    <a:pt x="880" y="1"/>
                    <a:pt x="566"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435D74"/>
                </a:solidFill>
                <a:latin typeface="Arial"/>
                <a:cs typeface="Arial"/>
                <a:sym typeface="Arial"/>
              </a:endParaRPr>
            </a:p>
          </p:txBody>
        </p:sp>
      </p:grpSp>
      <p:sp>
        <p:nvSpPr>
          <p:cNvPr id="9517" name="Google Shape;9517;p109"/>
          <p:cNvSpPr/>
          <p:nvPr/>
        </p:nvSpPr>
        <p:spPr>
          <a:xfrm>
            <a:off x="8970792" y="4221559"/>
            <a:ext cx="453557" cy="345432"/>
          </a:xfrm>
          <a:custGeom>
            <a:avLst/>
            <a:gdLst/>
            <a:ahLst/>
            <a:cxnLst/>
            <a:rect l="l" t="t" r="r" b="b"/>
            <a:pathLst>
              <a:path w="19325" h="14718" extrusionOk="0">
                <a:moveTo>
                  <a:pt x="14192" y="1133"/>
                </a:moveTo>
                <a:cubicBezTo>
                  <a:pt x="14974" y="1133"/>
                  <a:pt x="15520" y="1906"/>
                  <a:pt x="15261" y="2643"/>
                </a:cubicBezTo>
                <a:cubicBezTo>
                  <a:pt x="15131" y="3008"/>
                  <a:pt x="15403" y="3395"/>
                  <a:pt x="15792" y="3398"/>
                </a:cubicBezTo>
                <a:lnTo>
                  <a:pt x="17628" y="3398"/>
                </a:lnTo>
                <a:cubicBezTo>
                  <a:pt x="17939" y="3398"/>
                  <a:pt x="18193" y="3648"/>
                  <a:pt x="18193" y="3962"/>
                </a:cubicBezTo>
                <a:lnTo>
                  <a:pt x="18193" y="10756"/>
                </a:lnTo>
                <a:cubicBezTo>
                  <a:pt x="18193" y="11070"/>
                  <a:pt x="17939" y="11324"/>
                  <a:pt x="17628" y="11324"/>
                </a:cubicBezTo>
                <a:lnTo>
                  <a:pt x="10230" y="11324"/>
                </a:lnTo>
                <a:lnTo>
                  <a:pt x="10230" y="9624"/>
                </a:lnTo>
                <a:cubicBezTo>
                  <a:pt x="11480" y="9624"/>
                  <a:pt x="12492" y="8609"/>
                  <a:pt x="12492" y="7359"/>
                </a:cubicBezTo>
                <a:cubicBezTo>
                  <a:pt x="12492" y="6109"/>
                  <a:pt x="11480" y="5095"/>
                  <a:pt x="10230" y="5095"/>
                </a:cubicBezTo>
                <a:lnTo>
                  <a:pt x="10230" y="3398"/>
                </a:lnTo>
                <a:lnTo>
                  <a:pt x="12592" y="3398"/>
                </a:lnTo>
                <a:cubicBezTo>
                  <a:pt x="12981" y="3395"/>
                  <a:pt x="13253" y="3008"/>
                  <a:pt x="13123" y="2643"/>
                </a:cubicBezTo>
                <a:cubicBezTo>
                  <a:pt x="12863" y="1906"/>
                  <a:pt x="13410" y="1133"/>
                  <a:pt x="14192" y="1133"/>
                </a:cubicBezTo>
                <a:close/>
                <a:moveTo>
                  <a:pt x="9098" y="3398"/>
                </a:moveTo>
                <a:lnTo>
                  <a:pt x="9098" y="5759"/>
                </a:lnTo>
                <a:cubicBezTo>
                  <a:pt x="9098" y="6082"/>
                  <a:pt x="9363" y="6323"/>
                  <a:pt x="9663" y="6323"/>
                </a:cubicBezTo>
                <a:cubicBezTo>
                  <a:pt x="9726" y="6323"/>
                  <a:pt x="9790" y="6313"/>
                  <a:pt x="9853" y="6290"/>
                </a:cubicBezTo>
                <a:cubicBezTo>
                  <a:pt x="9979" y="6247"/>
                  <a:pt x="10105" y="6226"/>
                  <a:pt x="10229" y="6226"/>
                </a:cubicBezTo>
                <a:cubicBezTo>
                  <a:pt x="10828" y="6226"/>
                  <a:pt x="11357" y="6708"/>
                  <a:pt x="11360" y="7353"/>
                </a:cubicBezTo>
                <a:cubicBezTo>
                  <a:pt x="11362" y="8003"/>
                  <a:pt x="10832" y="8493"/>
                  <a:pt x="10229" y="8493"/>
                </a:cubicBezTo>
                <a:cubicBezTo>
                  <a:pt x="10108" y="8493"/>
                  <a:pt x="9985" y="8473"/>
                  <a:pt x="9862" y="8431"/>
                </a:cubicBezTo>
                <a:cubicBezTo>
                  <a:pt x="9829" y="8419"/>
                  <a:pt x="9796" y="8410"/>
                  <a:pt x="9759" y="8404"/>
                </a:cubicBezTo>
                <a:cubicBezTo>
                  <a:pt x="9726" y="8398"/>
                  <a:pt x="9692" y="8395"/>
                  <a:pt x="9659" y="8395"/>
                </a:cubicBezTo>
                <a:cubicBezTo>
                  <a:pt x="9350" y="8395"/>
                  <a:pt x="9090" y="8653"/>
                  <a:pt x="9098" y="8975"/>
                </a:cubicBezTo>
                <a:lnTo>
                  <a:pt x="9098" y="11324"/>
                </a:lnTo>
                <a:lnTo>
                  <a:pt x="6737" y="11324"/>
                </a:lnTo>
                <a:cubicBezTo>
                  <a:pt x="6344" y="11324"/>
                  <a:pt x="6073" y="11710"/>
                  <a:pt x="6202" y="12079"/>
                </a:cubicBezTo>
                <a:cubicBezTo>
                  <a:pt x="6462" y="12813"/>
                  <a:pt x="5916" y="13585"/>
                  <a:pt x="5134" y="13585"/>
                </a:cubicBezTo>
                <a:cubicBezTo>
                  <a:pt x="4352" y="13585"/>
                  <a:pt x="3805" y="12813"/>
                  <a:pt x="4065" y="12079"/>
                </a:cubicBezTo>
                <a:cubicBezTo>
                  <a:pt x="4195" y="11710"/>
                  <a:pt x="3923" y="11324"/>
                  <a:pt x="3533" y="11324"/>
                </a:cubicBezTo>
                <a:lnTo>
                  <a:pt x="1700" y="11324"/>
                </a:lnTo>
                <a:cubicBezTo>
                  <a:pt x="1386" y="11324"/>
                  <a:pt x="1133" y="11070"/>
                  <a:pt x="1133" y="10756"/>
                </a:cubicBezTo>
                <a:lnTo>
                  <a:pt x="1133" y="3962"/>
                </a:lnTo>
                <a:cubicBezTo>
                  <a:pt x="1133" y="3648"/>
                  <a:pt x="1386" y="3398"/>
                  <a:pt x="1700" y="3398"/>
                </a:cubicBezTo>
                <a:lnTo>
                  <a:pt x="2941" y="3398"/>
                </a:lnTo>
                <a:cubicBezTo>
                  <a:pt x="2570" y="4829"/>
                  <a:pt x="3654" y="6227"/>
                  <a:pt x="5134" y="6227"/>
                </a:cubicBezTo>
                <a:cubicBezTo>
                  <a:pt x="6613" y="6227"/>
                  <a:pt x="7697" y="4829"/>
                  <a:pt x="7326" y="3398"/>
                </a:cubicBezTo>
                <a:close/>
                <a:moveTo>
                  <a:pt x="14192" y="1"/>
                </a:moveTo>
                <a:cubicBezTo>
                  <a:pt x="12942" y="1"/>
                  <a:pt x="11927" y="1012"/>
                  <a:pt x="11927" y="2266"/>
                </a:cubicBezTo>
                <a:lnTo>
                  <a:pt x="6399" y="2266"/>
                </a:lnTo>
                <a:cubicBezTo>
                  <a:pt x="5910" y="2266"/>
                  <a:pt x="5650" y="2842"/>
                  <a:pt x="5979" y="3208"/>
                </a:cubicBezTo>
                <a:cubicBezTo>
                  <a:pt x="6631" y="3938"/>
                  <a:pt x="6112" y="5095"/>
                  <a:pt x="5134" y="5095"/>
                </a:cubicBezTo>
                <a:cubicBezTo>
                  <a:pt x="4155" y="5095"/>
                  <a:pt x="3636" y="3938"/>
                  <a:pt x="4291" y="3208"/>
                </a:cubicBezTo>
                <a:cubicBezTo>
                  <a:pt x="4617" y="2842"/>
                  <a:pt x="4358" y="2266"/>
                  <a:pt x="3868" y="2266"/>
                </a:cubicBezTo>
                <a:lnTo>
                  <a:pt x="1700" y="2266"/>
                </a:lnTo>
                <a:cubicBezTo>
                  <a:pt x="761" y="2266"/>
                  <a:pt x="1" y="3023"/>
                  <a:pt x="1" y="3962"/>
                </a:cubicBezTo>
                <a:lnTo>
                  <a:pt x="1" y="10756"/>
                </a:lnTo>
                <a:cubicBezTo>
                  <a:pt x="1" y="11695"/>
                  <a:pt x="761" y="12453"/>
                  <a:pt x="1700" y="12456"/>
                </a:cubicBezTo>
                <a:lnTo>
                  <a:pt x="2869" y="12456"/>
                </a:lnTo>
                <a:cubicBezTo>
                  <a:pt x="2869" y="13706"/>
                  <a:pt x="3884" y="14718"/>
                  <a:pt x="5134" y="14718"/>
                </a:cubicBezTo>
                <a:cubicBezTo>
                  <a:pt x="6384" y="14718"/>
                  <a:pt x="7398" y="13706"/>
                  <a:pt x="7398" y="12456"/>
                </a:cubicBezTo>
                <a:lnTo>
                  <a:pt x="17628" y="12456"/>
                </a:lnTo>
                <a:cubicBezTo>
                  <a:pt x="18564" y="12453"/>
                  <a:pt x="19325" y="11695"/>
                  <a:pt x="19325" y="10756"/>
                </a:cubicBezTo>
                <a:lnTo>
                  <a:pt x="19325" y="3962"/>
                </a:lnTo>
                <a:cubicBezTo>
                  <a:pt x="19325" y="3023"/>
                  <a:pt x="18564" y="2266"/>
                  <a:pt x="17628" y="2266"/>
                </a:cubicBezTo>
                <a:lnTo>
                  <a:pt x="16457" y="2266"/>
                </a:lnTo>
                <a:cubicBezTo>
                  <a:pt x="16457" y="1012"/>
                  <a:pt x="15442" y="1"/>
                  <a:pt x="14192"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435D74"/>
              </a:solidFill>
              <a:latin typeface="Arial"/>
              <a:cs typeface="Arial"/>
              <a:sym typeface="Arial"/>
            </a:endParaRPr>
          </a:p>
        </p:txBody>
      </p:sp>
      <p:sp>
        <p:nvSpPr>
          <p:cNvPr id="9518" name="Google Shape;9518;p109"/>
          <p:cNvSpPr/>
          <p:nvPr/>
        </p:nvSpPr>
        <p:spPr>
          <a:xfrm>
            <a:off x="9539742" y="4167494"/>
            <a:ext cx="418493" cy="453581"/>
          </a:xfrm>
          <a:custGeom>
            <a:avLst/>
            <a:gdLst/>
            <a:ahLst/>
            <a:cxnLst/>
            <a:rect l="l" t="t" r="r" b="b"/>
            <a:pathLst>
              <a:path w="17831" h="19326" extrusionOk="0">
                <a:moveTo>
                  <a:pt x="7090" y="1417"/>
                </a:moveTo>
                <a:lnTo>
                  <a:pt x="7090" y="1417"/>
                </a:lnTo>
                <a:cubicBezTo>
                  <a:pt x="7570" y="1746"/>
                  <a:pt x="8228" y="2317"/>
                  <a:pt x="8533" y="3111"/>
                </a:cubicBezTo>
                <a:cubicBezTo>
                  <a:pt x="8835" y="3905"/>
                  <a:pt x="8727" y="4766"/>
                  <a:pt x="8591" y="5337"/>
                </a:cubicBezTo>
                <a:cubicBezTo>
                  <a:pt x="8111" y="5004"/>
                  <a:pt x="7452" y="4437"/>
                  <a:pt x="7148" y="3643"/>
                </a:cubicBezTo>
                <a:cubicBezTo>
                  <a:pt x="6843" y="2848"/>
                  <a:pt x="6954" y="1985"/>
                  <a:pt x="7090" y="1417"/>
                </a:cubicBezTo>
                <a:close/>
                <a:moveTo>
                  <a:pt x="12577" y="5533"/>
                </a:moveTo>
                <a:cubicBezTo>
                  <a:pt x="12772" y="5533"/>
                  <a:pt x="12967" y="5549"/>
                  <a:pt x="13162" y="5581"/>
                </a:cubicBezTo>
                <a:cubicBezTo>
                  <a:pt x="15215" y="5913"/>
                  <a:pt x="16623" y="7906"/>
                  <a:pt x="16299" y="10023"/>
                </a:cubicBezTo>
                <a:cubicBezTo>
                  <a:pt x="15711" y="13866"/>
                  <a:pt x="14596" y="16484"/>
                  <a:pt x="13078" y="17592"/>
                </a:cubicBezTo>
                <a:cubicBezTo>
                  <a:pt x="12526" y="17996"/>
                  <a:pt x="11929" y="18194"/>
                  <a:pt x="11264" y="18194"/>
                </a:cubicBezTo>
                <a:cubicBezTo>
                  <a:pt x="11073" y="18194"/>
                  <a:pt x="10877" y="18177"/>
                  <a:pt x="10674" y="18145"/>
                </a:cubicBezTo>
                <a:cubicBezTo>
                  <a:pt x="10119" y="18054"/>
                  <a:pt x="9681" y="17828"/>
                  <a:pt x="9334" y="17454"/>
                </a:cubicBezTo>
                <a:cubicBezTo>
                  <a:pt x="9222" y="17333"/>
                  <a:pt x="9070" y="17272"/>
                  <a:pt x="8918" y="17272"/>
                </a:cubicBezTo>
                <a:cubicBezTo>
                  <a:pt x="8767" y="17272"/>
                  <a:pt x="8615" y="17333"/>
                  <a:pt x="8503" y="17454"/>
                </a:cubicBezTo>
                <a:cubicBezTo>
                  <a:pt x="8156" y="17831"/>
                  <a:pt x="7715" y="18057"/>
                  <a:pt x="7160" y="18145"/>
                </a:cubicBezTo>
                <a:cubicBezTo>
                  <a:pt x="6958" y="18177"/>
                  <a:pt x="6762" y="18194"/>
                  <a:pt x="6571" y="18194"/>
                </a:cubicBezTo>
                <a:cubicBezTo>
                  <a:pt x="5907" y="18194"/>
                  <a:pt x="5310" y="17996"/>
                  <a:pt x="4756" y="17592"/>
                </a:cubicBezTo>
                <a:cubicBezTo>
                  <a:pt x="3237" y="16484"/>
                  <a:pt x="2126" y="13869"/>
                  <a:pt x="1537" y="10023"/>
                </a:cubicBezTo>
                <a:cubicBezTo>
                  <a:pt x="1214" y="7906"/>
                  <a:pt x="2621" y="5913"/>
                  <a:pt x="4675" y="5581"/>
                </a:cubicBezTo>
                <a:cubicBezTo>
                  <a:pt x="4869" y="5549"/>
                  <a:pt x="5065" y="5533"/>
                  <a:pt x="5260" y="5533"/>
                </a:cubicBezTo>
                <a:cubicBezTo>
                  <a:pt x="6062" y="5533"/>
                  <a:pt x="6848" y="5799"/>
                  <a:pt x="7492" y="6300"/>
                </a:cubicBezTo>
                <a:cubicBezTo>
                  <a:pt x="7913" y="6620"/>
                  <a:pt x="8416" y="6780"/>
                  <a:pt x="8918" y="6780"/>
                </a:cubicBezTo>
                <a:cubicBezTo>
                  <a:pt x="9421" y="6780"/>
                  <a:pt x="9924" y="6620"/>
                  <a:pt x="10345" y="6300"/>
                </a:cubicBezTo>
                <a:cubicBezTo>
                  <a:pt x="10989" y="5799"/>
                  <a:pt x="11775" y="5533"/>
                  <a:pt x="12577" y="5533"/>
                </a:cubicBezTo>
                <a:close/>
                <a:moveTo>
                  <a:pt x="6762" y="0"/>
                </a:moveTo>
                <a:cubicBezTo>
                  <a:pt x="6543" y="0"/>
                  <a:pt x="6335" y="128"/>
                  <a:pt x="6242" y="345"/>
                </a:cubicBezTo>
                <a:cubicBezTo>
                  <a:pt x="6208" y="424"/>
                  <a:pt x="5420" y="2302"/>
                  <a:pt x="6091" y="4047"/>
                </a:cubicBezTo>
                <a:cubicBezTo>
                  <a:pt x="6154" y="4207"/>
                  <a:pt x="6227" y="4364"/>
                  <a:pt x="6308" y="4518"/>
                </a:cubicBezTo>
                <a:cubicBezTo>
                  <a:pt x="5965" y="4440"/>
                  <a:pt x="5614" y="4401"/>
                  <a:pt x="5262" y="4401"/>
                </a:cubicBezTo>
                <a:cubicBezTo>
                  <a:pt x="5004" y="4401"/>
                  <a:pt x="4746" y="4422"/>
                  <a:pt x="4490" y="4464"/>
                </a:cubicBezTo>
                <a:cubicBezTo>
                  <a:pt x="1827" y="4893"/>
                  <a:pt x="0" y="7462"/>
                  <a:pt x="417" y="10192"/>
                </a:cubicBezTo>
                <a:cubicBezTo>
                  <a:pt x="713" y="12139"/>
                  <a:pt x="1148" y="13812"/>
                  <a:pt x="1706" y="15162"/>
                </a:cubicBezTo>
                <a:cubicBezTo>
                  <a:pt x="2341" y="16693"/>
                  <a:pt x="3141" y="17819"/>
                  <a:pt x="4086" y="18507"/>
                </a:cubicBezTo>
                <a:cubicBezTo>
                  <a:pt x="4833" y="19051"/>
                  <a:pt x="5666" y="19325"/>
                  <a:pt x="6571" y="19325"/>
                </a:cubicBezTo>
                <a:cubicBezTo>
                  <a:pt x="6821" y="19325"/>
                  <a:pt x="7077" y="19304"/>
                  <a:pt x="7338" y="19262"/>
                </a:cubicBezTo>
                <a:cubicBezTo>
                  <a:pt x="7942" y="19163"/>
                  <a:pt x="8470" y="18942"/>
                  <a:pt x="8914" y="18601"/>
                </a:cubicBezTo>
                <a:cubicBezTo>
                  <a:pt x="9361" y="18942"/>
                  <a:pt x="9889" y="19163"/>
                  <a:pt x="10493" y="19262"/>
                </a:cubicBezTo>
                <a:cubicBezTo>
                  <a:pt x="10747" y="19301"/>
                  <a:pt x="11000" y="19323"/>
                  <a:pt x="11260" y="19326"/>
                </a:cubicBezTo>
                <a:cubicBezTo>
                  <a:pt x="12163" y="19326"/>
                  <a:pt x="12996" y="19051"/>
                  <a:pt x="13742" y="18504"/>
                </a:cubicBezTo>
                <a:cubicBezTo>
                  <a:pt x="14687" y="17816"/>
                  <a:pt x="15490" y="16693"/>
                  <a:pt x="16124" y="15162"/>
                </a:cubicBezTo>
                <a:cubicBezTo>
                  <a:pt x="16686" y="13812"/>
                  <a:pt x="17121" y="12139"/>
                  <a:pt x="17417" y="10195"/>
                </a:cubicBezTo>
                <a:cubicBezTo>
                  <a:pt x="17830" y="7465"/>
                  <a:pt x="16007" y="4893"/>
                  <a:pt x="13343" y="4464"/>
                </a:cubicBezTo>
                <a:cubicBezTo>
                  <a:pt x="13086" y="4421"/>
                  <a:pt x="12827" y="4400"/>
                  <a:pt x="12570" y="4400"/>
                </a:cubicBezTo>
                <a:cubicBezTo>
                  <a:pt x="11637" y="4400"/>
                  <a:pt x="10720" y="4675"/>
                  <a:pt x="9934" y="5201"/>
                </a:cubicBezTo>
                <a:cubicBezTo>
                  <a:pt x="10233" y="4524"/>
                  <a:pt x="10710" y="3917"/>
                  <a:pt x="11360" y="3380"/>
                </a:cubicBezTo>
                <a:cubicBezTo>
                  <a:pt x="11807" y="3005"/>
                  <a:pt x="12305" y="2698"/>
                  <a:pt x="12842" y="2465"/>
                </a:cubicBezTo>
                <a:cubicBezTo>
                  <a:pt x="13132" y="2350"/>
                  <a:pt x="13277" y="2024"/>
                  <a:pt x="13165" y="1731"/>
                </a:cubicBezTo>
                <a:cubicBezTo>
                  <a:pt x="13080" y="1507"/>
                  <a:pt x="12866" y="1369"/>
                  <a:pt x="12640" y="1369"/>
                </a:cubicBezTo>
                <a:cubicBezTo>
                  <a:pt x="12572" y="1369"/>
                  <a:pt x="12502" y="1382"/>
                  <a:pt x="12435" y="1408"/>
                </a:cubicBezTo>
                <a:cubicBezTo>
                  <a:pt x="12398" y="1420"/>
                  <a:pt x="11565" y="1746"/>
                  <a:pt x="10668" y="2480"/>
                </a:cubicBezTo>
                <a:cubicBezTo>
                  <a:pt x="10345" y="2743"/>
                  <a:pt x="10046" y="3039"/>
                  <a:pt x="9777" y="3356"/>
                </a:cubicBezTo>
                <a:cubicBezTo>
                  <a:pt x="9732" y="3135"/>
                  <a:pt x="9669" y="2915"/>
                  <a:pt x="9590" y="2704"/>
                </a:cubicBezTo>
                <a:cubicBezTo>
                  <a:pt x="8920" y="958"/>
                  <a:pt x="7078" y="89"/>
                  <a:pt x="7000" y="52"/>
                </a:cubicBezTo>
                <a:cubicBezTo>
                  <a:pt x="6922" y="17"/>
                  <a:pt x="6842" y="0"/>
                  <a:pt x="6762"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435D74"/>
              </a:solidFill>
              <a:latin typeface="Arial"/>
              <a:cs typeface="Arial"/>
              <a:sym typeface="Arial"/>
            </a:endParaRPr>
          </a:p>
        </p:txBody>
      </p:sp>
      <p:grpSp>
        <p:nvGrpSpPr>
          <p:cNvPr id="9519" name="Google Shape;9519;p109"/>
          <p:cNvGrpSpPr/>
          <p:nvPr/>
        </p:nvGrpSpPr>
        <p:grpSpPr>
          <a:xfrm>
            <a:off x="10093785" y="4169837"/>
            <a:ext cx="441377" cy="450155"/>
            <a:chOff x="4467450" y="3808475"/>
            <a:chExt cx="470150" cy="479500"/>
          </a:xfrm>
        </p:grpSpPr>
        <p:sp>
          <p:nvSpPr>
            <p:cNvPr id="9520" name="Google Shape;9520;p109"/>
            <p:cNvSpPr/>
            <p:nvPr/>
          </p:nvSpPr>
          <p:spPr>
            <a:xfrm>
              <a:off x="4729325" y="3808475"/>
              <a:ext cx="56625" cy="138200"/>
            </a:xfrm>
            <a:custGeom>
              <a:avLst/>
              <a:gdLst/>
              <a:ahLst/>
              <a:cxnLst/>
              <a:rect l="l" t="t" r="r" b="b"/>
              <a:pathLst>
                <a:path w="2265" h="5528" extrusionOk="0">
                  <a:moveTo>
                    <a:pt x="1510" y="0"/>
                  </a:moveTo>
                  <a:lnTo>
                    <a:pt x="1133" y="423"/>
                  </a:lnTo>
                  <a:lnTo>
                    <a:pt x="752" y="839"/>
                  </a:lnTo>
                  <a:cubicBezTo>
                    <a:pt x="852" y="930"/>
                    <a:pt x="1133" y="1256"/>
                    <a:pt x="1133" y="1555"/>
                  </a:cubicBezTo>
                  <a:cubicBezTo>
                    <a:pt x="1133" y="1851"/>
                    <a:pt x="852" y="2177"/>
                    <a:pt x="755" y="2265"/>
                  </a:cubicBezTo>
                  <a:cubicBezTo>
                    <a:pt x="680" y="2334"/>
                    <a:pt x="0" y="2965"/>
                    <a:pt x="0" y="3820"/>
                  </a:cubicBezTo>
                  <a:cubicBezTo>
                    <a:pt x="0" y="4671"/>
                    <a:pt x="677" y="5302"/>
                    <a:pt x="755" y="5372"/>
                  </a:cubicBezTo>
                  <a:cubicBezTo>
                    <a:pt x="866" y="5476"/>
                    <a:pt x="1007" y="5528"/>
                    <a:pt x="1147" y="5528"/>
                  </a:cubicBezTo>
                  <a:cubicBezTo>
                    <a:pt x="1302" y="5528"/>
                    <a:pt x="1457" y="5465"/>
                    <a:pt x="1567" y="5341"/>
                  </a:cubicBezTo>
                  <a:cubicBezTo>
                    <a:pt x="1782" y="5103"/>
                    <a:pt x="1755" y="4735"/>
                    <a:pt x="1510" y="4529"/>
                  </a:cubicBezTo>
                  <a:cubicBezTo>
                    <a:pt x="1432" y="4457"/>
                    <a:pt x="1133" y="4128"/>
                    <a:pt x="1133" y="3820"/>
                  </a:cubicBezTo>
                  <a:cubicBezTo>
                    <a:pt x="1133" y="3521"/>
                    <a:pt x="1413" y="3195"/>
                    <a:pt x="1510" y="3107"/>
                  </a:cubicBezTo>
                  <a:cubicBezTo>
                    <a:pt x="1586" y="3038"/>
                    <a:pt x="2265" y="2407"/>
                    <a:pt x="2265" y="1555"/>
                  </a:cubicBezTo>
                  <a:cubicBezTo>
                    <a:pt x="2265" y="701"/>
                    <a:pt x="1589" y="70"/>
                    <a:pt x="1510"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435D74"/>
                </a:solidFill>
                <a:latin typeface="Arial"/>
                <a:cs typeface="Arial"/>
                <a:sym typeface="Arial"/>
              </a:endParaRPr>
            </a:p>
          </p:txBody>
        </p:sp>
        <p:sp>
          <p:nvSpPr>
            <p:cNvPr id="9521" name="Google Shape;9521;p109"/>
            <p:cNvSpPr/>
            <p:nvPr/>
          </p:nvSpPr>
          <p:spPr>
            <a:xfrm>
              <a:off x="4644400" y="3808475"/>
              <a:ext cx="56650" cy="138200"/>
            </a:xfrm>
            <a:custGeom>
              <a:avLst/>
              <a:gdLst/>
              <a:ahLst/>
              <a:cxnLst/>
              <a:rect l="l" t="t" r="r" b="b"/>
              <a:pathLst>
                <a:path w="2266" h="5528" extrusionOk="0">
                  <a:moveTo>
                    <a:pt x="1510" y="0"/>
                  </a:moveTo>
                  <a:lnTo>
                    <a:pt x="1133" y="423"/>
                  </a:lnTo>
                  <a:lnTo>
                    <a:pt x="752" y="839"/>
                  </a:lnTo>
                  <a:cubicBezTo>
                    <a:pt x="852" y="930"/>
                    <a:pt x="1133" y="1256"/>
                    <a:pt x="1133" y="1555"/>
                  </a:cubicBezTo>
                  <a:cubicBezTo>
                    <a:pt x="1133" y="1851"/>
                    <a:pt x="852" y="2177"/>
                    <a:pt x="755" y="2265"/>
                  </a:cubicBezTo>
                  <a:cubicBezTo>
                    <a:pt x="680" y="2334"/>
                    <a:pt x="0" y="2965"/>
                    <a:pt x="0" y="3820"/>
                  </a:cubicBezTo>
                  <a:cubicBezTo>
                    <a:pt x="0" y="4671"/>
                    <a:pt x="677" y="5302"/>
                    <a:pt x="755" y="5372"/>
                  </a:cubicBezTo>
                  <a:cubicBezTo>
                    <a:pt x="866" y="5476"/>
                    <a:pt x="1007" y="5528"/>
                    <a:pt x="1147" y="5528"/>
                  </a:cubicBezTo>
                  <a:cubicBezTo>
                    <a:pt x="1302" y="5528"/>
                    <a:pt x="1457" y="5465"/>
                    <a:pt x="1568" y="5341"/>
                  </a:cubicBezTo>
                  <a:cubicBezTo>
                    <a:pt x="1782" y="5103"/>
                    <a:pt x="1755" y="4735"/>
                    <a:pt x="1510" y="4529"/>
                  </a:cubicBezTo>
                  <a:cubicBezTo>
                    <a:pt x="1432" y="4457"/>
                    <a:pt x="1133" y="4128"/>
                    <a:pt x="1133" y="3820"/>
                  </a:cubicBezTo>
                  <a:cubicBezTo>
                    <a:pt x="1133" y="3521"/>
                    <a:pt x="1414" y="3195"/>
                    <a:pt x="1510" y="3107"/>
                  </a:cubicBezTo>
                  <a:cubicBezTo>
                    <a:pt x="1586" y="3038"/>
                    <a:pt x="2265" y="2407"/>
                    <a:pt x="2265" y="1555"/>
                  </a:cubicBezTo>
                  <a:cubicBezTo>
                    <a:pt x="2265" y="701"/>
                    <a:pt x="1589" y="70"/>
                    <a:pt x="1510"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435D74"/>
                </a:solidFill>
                <a:latin typeface="Arial"/>
                <a:cs typeface="Arial"/>
                <a:sym typeface="Arial"/>
              </a:endParaRPr>
            </a:p>
          </p:txBody>
        </p:sp>
        <p:sp>
          <p:nvSpPr>
            <p:cNvPr id="9522" name="Google Shape;9522;p109"/>
            <p:cNvSpPr/>
            <p:nvPr/>
          </p:nvSpPr>
          <p:spPr>
            <a:xfrm>
              <a:off x="4559475" y="3808475"/>
              <a:ext cx="56650" cy="138200"/>
            </a:xfrm>
            <a:custGeom>
              <a:avLst/>
              <a:gdLst/>
              <a:ahLst/>
              <a:cxnLst/>
              <a:rect l="l" t="t" r="r" b="b"/>
              <a:pathLst>
                <a:path w="2266" h="5528" extrusionOk="0">
                  <a:moveTo>
                    <a:pt x="1510" y="0"/>
                  </a:moveTo>
                  <a:lnTo>
                    <a:pt x="1133" y="423"/>
                  </a:lnTo>
                  <a:lnTo>
                    <a:pt x="752" y="839"/>
                  </a:lnTo>
                  <a:cubicBezTo>
                    <a:pt x="852" y="930"/>
                    <a:pt x="1133" y="1256"/>
                    <a:pt x="1133" y="1555"/>
                  </a:cubicBezTo>
                  <a:cubicBezTo>
                    <a:pt x="1133" y="1851"/>
                    <a:pt x="852" y="2177"/>
                    <a:pt x="755" y="2265"/>
                  </a:cubicBezTo>
                  <a:cubicBezTo>
                    <a:pt x="680" y="2334"/>
                    <a:pt x="1" y="2965"/>
                    <a:pt x="1" y="3820"/>
                  </a:cubicBezTo>
                  <a:cubicBezTo>
                    <a:pt x="1" y="4671"/>
                    <a:pt x="677" y="5302"/>
                    <a:pt x="755" y="5372"/>
                  </a:cubicBezTo>
                  <a:cubicBezTo>
                    <a:pt x="866" y="5476"/>
                    <a:pt x="1007" y="5528"/>
                    <a:pt x="1148" y="5528"/>
                  </a:cubicBezTo>
                  <a:cubicBezTo>
                    <a:pt x="1303" y="5528"/>
                    <a:pt x="1457" y="5465"/>
                    <a:pt x="1568" y="5341"/>
                  </a:cubicBezTo>
                  <a:cubicBezTo>
                    <a:pt x="1782" y="5103"/>
                    <a:pt x="1755" y="4735"/>
                    <a:pt x="1510" y="4529"/>
                  </a:cubicBezTo>
                  <a:cubicBezTo>
                    <a:pt x="1432" y="4457"/>
                    <a:pt x="1133" y="4128"/>
                    <a:pt x="1133" y="3820"/>
                  </a:cubicBezTo>
                  <a:cubicBezTo>
                    <a:pt x="1133" y="3521"/>
                    <a:pt x="1414" y="3195"/>
                    <a:pt x="1510" y="3107"/>
                  </a:cubicBezTo>
                  <a:cubicBezTo>
                    <a:pt x="1586" y="3038"/>
                    <a:pt x="2265" y="2407"/>
                    <a:pt x="2265" y="1555"/>
                  </a:cubicBezTo>
                  <a:cubicBezTo>
                    <a:pt x="2265" y="701"/>
                    <a:pt x="1589" y="70"/>
                    <a:pt x="1510"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435D74"/>
                </a:solidFill>
                <a:latin typeface="Arial"/>
                <a:cs typeface="Arial"/>
                <a:sym typeface="Arial"/>
              </a:endParaRPr>
            </a:p>
          </p:txBody>
        </p:sp>
        <p:sp>
          <p:nvSpPr>
            <p:cNvPr id="9523" name="Google Shape;9523;p109"/>
            <p:cNvSpPr/>
            <p:nvPr/>
          </p:nvSpPr>
          <p:spPr>
            <a:xfrm>
              <a:off x="4467450" y="3975675"/>
              <a:ext cx="470150" cy="312300"/>
            </a:xfrm>
            <a:custGeom>
              <a:avLst/>
              <a:gdLst/>
              <a:ahLst/>
              <a:cxnLst/>
              <a:rect l="l" t="t" r="r" b="b"/>
              <a:pathLst>
                <a:path w="18806" h="12492" extrusionOk="0">
                  <a:moveTo>
                    <a:pt x="16340" y="2263"/>
                  </a:moveTo>
                  <a:cubicBezTo>
                    <a:pt x="16709" y="2263"/>
                    <a:pt x="17020" y="2371"/>
                    <a:pt x="17233" y="2582"/>
                  </a:cubicBezTo>
                  <a:cubicBezTo>
                    <a:pt x="17622" y="2974"/>
                    <a:pt x="17571" y="3581"/>
                    <a:pt x="17505" y="3907"/>
                  </a:cubicBezTo>
                  <a:cubicBezTo>
                    <a:pt x="17375" y="4553"/>
                    <a:pt x="16994" y="5221"/>
                    <a:pt x="16430" y="5785"/>
                  </a:cubicBezTo>
                  <a:cubicBezTo>
                    <a:pt x="15793" y="6426"/>
                    <a:pt x="15014" y="6824"/>
                    <a:pt x="14337" y="6897"/>
                  </a:cubicBezTo>
                  <a:cubicBezTo>
                    <a:pt x="15056" y="5562"/>
                    <a:pt x="15539" y="4007"/>
                    <a:pt x="15744" y="2346"/>
                  </a:cubicBezTo>
                  <a:cubicBezTo>
                    <a:pt x="15954" y="2291"/>
                    <a:pt x="16154" y="2263"/>
                    <a:pt x="16340" y="2263"/>
                  </a:cubicBezTo>
                  <a:close/>
                  <a:moveTo>
                    <a:pt x="14709" y="1132"/>
                  </a:moveTo>
                  <a:cubicBezTo>
                    <a:pt x="14618" y="3340"/>
                    <a:pt x="13999" y="5390"/>
                    <a:pt x="12978" y="6987"/>
                  </a:cubicBezTo>
                  <a:cubicBezTo>
                    <a:pt x="12948" y="7023"/>
                    <a:pt x="12921" y="7066"/>
                    <a:pt x="12900" y="7108"/>
                  </a:cubicBezTo>
                  <a:cubicBezTo>
                    <a:pt x="12390" y="7881"/>
                    <a:pt x="11786" y="8542"/>
                    <a:pt x="11103" y="9059"/>
                  </a:cubicBezTo>
                  <a:lnTo>
                    <a:pt x="4750" y="9059"/>
                  </a:lnTo>
                  <a:cubicBezTo>
                    <a:pt x="2634" y="7461"/>
                    <a:pt x="1281" y="4478"/>
                    <a:pt x="1145" y="1132"/>
                  </a:cubicBezTo>
                  <a:close/>
                  <a:moveTo>
                    <a:pt x="13247" y="10191"/>
                  </a:moveTo>
                  <a:lnTo>
                    <a:pt x="12827" y="11048"/>
                  </a:lnTo>
                  <a:cubicBezTo>
                    <a:pt x="12731" y="11239"/>
                    <a:pt x="12538" y="11359"/>
                    <a:pt x="12326" y="11359"/>
                  </a:cubicBezTo>
                  <a:lnTo>
                    <a:pt x="3531" y="11359"/>
                  </a:lnTo>
                  <a:cubicBezTo>
                    <a:pt x="3316" y="11359"/>
                    <a:pt x="3120" y="11239"/>
                    <a:pt x="3026" y="11048"/>
                  </a:cubicBezTo>
                  <a:lnTo>
                    <a:pt x="2607" y="10191"/>
                  </a:lnTo>
                  <a:close/>
                  <a:moveTo>
                    <a:pt x="569" y="0"/>
                  </a:moveTo>
                  <a:cubicBezTo>
                    <a:pt x="255" y="0"/>
                    <a:pt x="1" y="254"/>
                    <a:pt x="1" y="565"/>
                  </a:cubicBezTo>
                  <a:cubicBezTo>
                    <a:pt x="1" y="3931"/>
                    <a:pt x="1145" y="7045"/>
                    <a:pt x="3060" y="9059"/>
                  </a:cubicBezTo>
                  <a:lnTo>
                    <a:pt x="569" y="9059"/>
                  </a:lnTo>
                  <a:cubicBezTo>
                    <a:pt x="255" y="9059"/>
                    <a:pt x="1" y="9312"/>
                    <a:pt x="1" y="9623"/>
                  </a:cubicBezTo>
                  <a:cubicBezTo>
                    <a:pt x="1" y="9937"/>
                    <a:pt x="255" y="10191"/>
                    <a:pt x="569" y="10191"/>
                  </a:cubicBezTo>
                  <a:lnTo>
                    <a:pt x="1348" y="10191"/>
                  </a:lnTo>
                  <a:lnTo>
                    <a:pt x="2012" y="11550"/>
                  </a:lnTo>
                  <a:lnTo>
                    <a:pt x="2012" y="11556"/>
                  </a:lnTo>
                  <a:cubicBezTo>
                    <a:pt x="2298" y="12127"/>
                    <a:pt x="2883" y="12492"/>
                    <a:pt x="3523" y="12492"/>
                  </a:cubicBezTo>
                  <a:cubicBezTo>
                    <a:pt x="3525" y="12492"/>
                    <a:pt x="3528" y="12492"/>
                    <a:pt x="3531" y="12492"/>
                  </a:cubicBezTo>
                  <a:lnTo>
                    <a:pt x="12326" y="12492"/>
                  </a:lnTo>
                  <a:cubicBezTo>
                    <a:pt x="12329" y="12492"/>
                    <a:pt x="12332" y="12492"/>
                    <a:pt x="12334" y="12492"/>
                  </a:cubicBezTo>
                  <a:cubicBezTo>
                    <a:pt x="12974" y="12492"/>
                    <a:pt x="13559" y="12127"/>
                    <a:pt x="13845" y="11553"/>
                  </a:cubicBezTo>
                  <a:lnTo>
                    <a:pt x="13845" y="11550"/>
                  </a:lnTo>
                  <a:lnTo>
                    <a:pt x="14509" y="10191"/>
                  </a:lnTo>
                  <a:lnTo>
                    <a:pt x="15288" y="10191"/>
                  </a:lnTo>
                  <a:cubicBezTo>
                    <a:pt x="15602" y="10191"/>
                    <a:pt x="15856" y="9937"/>
                    <a:pt x="15856" y="9623"/>
                  </a:cubicBezTo>
                  <a:cubicBezTo>
                    <a:pt x="15856" y="9309"/>
                    <a:pt x="15602" y="9059"/>
                    <a:pt x="15288" y="9059"/>
                  </a:cubicBezTo>
                  <a:lnTo>
                    <a:pt x="12797" y="9059"/>
                  </a:lnTo>
                  <a:cubicBezTo>
                    <a:pt x="13111" y="8726"/>
                    <a:pt x="13401" y="8373"/>
                    <a:pt x="13664" y="8002"/>
                  </a:cubicBezTo>
                  <a:cubicBezTo>
                    <a:pt x="13812" y="8026"/>
                    <a:pt x="13963" y="8038"/>
                    <a:pt x="14114" y="8038"/>
                  </a:cubicBezTo>
                  <a:cubicBezTo>
                    <a:pt x="15143" y="8038"/>
                    <a:pt x="16303" y="7516"/>
                    <a:pt x="17233" y="6589"/>
                  </a:cubicBezTo>
                  <a:cubicBezTo>
                    <a:pt x="17951" y="5867"/>
                    <a:pt x="18444" y="4994"/>
                    <a:pt x="18619" y="4131"/>
                  </a:cubicBezTo>
                  <a:cubicBezTo>
                    <a:pt x="18806" y="3183"/>
                    <a:pt x="18601" y="2349"/>
                    <a:pt x="18033" y="1785"/>
                  </a:cubicBezTo>
                  <a:cubicBezTo>
                    <a:pt x="17604" y="1353"/>
                    <a:pt x="17013" y="1132"/>
                    <a:pt x="16345" y="1132"/>
                  </a:cubicBezTo>
                  <a:cubicBezTo>
                    <a:pt x="16181" y="1132"/>
                    <a:pt x="16013" y="1145"/>
                    <a:pt x="15841" y="1172"/>
                  </a:cubicBezTo>
                  <a:cubicBezTo>
                    <a:pt x="15850" y="972"/>
                    <a:pt x="15853" y="770"/>
                    <a:pt x="15853" y="565"/>
                  </a:cubicBezTo>
                  <a:cubicBezTo>
                    <a:pt x="15853" y="254"/>
                    <a:pt x="15599" y="0"/>
                    <a:pt x="15288"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435D74"/>
                </a:solidFill>
                <a:latin typeface="Arial"/>
                <a:cs typeface="Arial"/>
                <a:sym typeface="Arial"/>
              </a:endParaRPr>
            </a:p>
          </p:txBody>
        </p:sp>
      </p:grpSp>
      <p:grpSp>
        <p:nvGrpSpPr>
          <p:cNvPr id="9524" name="Google Shape;9524;p109"/>
          <p:cNvGrpSpPr/>
          <p:nvPr/>
        </p:nvGrpSpPr>
        <p:grpSpPr>
          <a:xfrm>
            <a:off x="10654247" y="4168136"/>
            <a:ext cx="453581" cy="453557"/>
            <a:chOff x="5053900" y="3804850"/>
            <a:chExt cx="483150" cy="483125"/>
          </a:xfrm>
        </p:grpSpPr>
        <p:sp>
          <p:nvSpPr>
            <p:cNvPr id="9525" name="Google Shape;9525;p109"/>
            <p:cNvSpPr/>
            <p:nvPr/>
          </p:nvSpPr>
          <p:spPr>
            <a:xfrm>
              <a:off x="5053900" y="3804850"/>
              <a:ext cx="483150" cy="483125"/>
            </a:xfrm>
            <a:custGeom>
              <a:avLst/>
              <a:gdLst/>
              <a:ahLst/>
              <a:cxnLst/>
              <a:rect l="l" t="t" r="r" b="b"/>
              <a:pathLst>
                <a:path w="19326" h="19325" extrusionOk="0">
                  <a:moveTo>
                    <a:pt x="9663" y="1132"/>
                  </a:moveTo>
                  <a:cubicBezTo>
                    <a:pt x="14367" y="1132"/>
                    <a:pt x="18193" y="4958"/>
                    <a:pt x="18193" y="9662"/>
                  </a:cubicBezTo>
                  <a:cubicBezTo>
                    <a:pt x="18193" y="14367"/>
                    <a:pt x="14367" y="18192"/>
                    <a:pt x="9663" y="18192"/>
                  </a:cubicBezTo>
                  <a:cubicBezTo>
                    <a:pt x="4959" y="18192"/>
                    <a:pt x="1133" y="14367"/>
                    <a:pt x="1133" y="9662"/>
                  </a:cubicBezTo>
                  <a:cubicBezTo>
                    <a:pt x="1133" y="4958"/>
                    <a:pt x="4959" y="1132"/>
                    <a:pt x="9663" y="1132"/>
                  </a:cubicBezTo>
                  <a:close/>
                  <a:moveTo>
                    <a:pt x="9663" y="0"/>
                  </a:moveTo>
                  <a:cubicBezTo>
                    <a:pt x="7094" y="0"/>
                    <a:pt x="4669" y="1009"/>
                    <a:pt x="2839" y="2838"/>
                  </a:cubicBezTo>
                  <a:cubicBezTo>
                    <a:pt x="1009" y="4668"/>
                    <a:pt x="1" y="7093"/>
                    <a:pt x="1" y="9662"/>
                  </a:cubicBezTo>
                  <a:cubicBezTo>
                    <a:pt x="1" y="12232"/>
                    <a:pt x="1009" y="14657"/>
                    <a:pt x="2839" y="16486"/>
                  </a:cubicBezTo>
                  <a:cubicBezTo>
                    <a:pt x="4669" y="18316"/>
                    <a:pt x="7094" y="19325"/>
                    <a:pt x="9663" y="19325"/>
                  </a:cubicBezTo>
                  <a:cubicBezTo>
                    <a:pt x="12233" y="19325"/>
                    <a:pt x="14657" y="18316"/>
                    <a:pt x="16487" y="16486"/>
                  </a:cubicBezTo>
                  <a:cubicBezTo>
                    <a:pt x="18317" y="14657"/>
                    <a:pt x="19325" y="12232"/>
                    <a:pt x="19325" y="9662"/>
                  </a:cubicBezTo>
                  <a:cubicBezTo>
                    <a:pt x="19325" y="7093"/>
                    <a:pt x="18317" y="4668"/>
                    <a:pt x="16487" y="2838"/>
                  </a:cubicBezTo>
                  <a:cubicBezTo>
                    <a:pt x="14657" y="1009"/>
                    <a:pt x="12233" y="0"/>
                    <a:pt x="9663"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435D74"/>
                </a:solidFill>
                <a:latin typeface="Arial"/>
                <a:cs typeface="Arial"/>
                <a:sym typeface="Arial"/>
              </a:endParaRPr>
            </a:p>
          </p:txBody>
        </p:sp>
        <p:sp>
          <p:nvSpPr>
            <p:cNvPr id="9526" name="Google Shape;9526;p109"/>
            <p:cNvSpPr/>
            <p:nvPr/>
          </p:nvSpPr>
          <p:spPr>
            <a:xfrm>
              <a:off x="5168125" y="3947300"/>
              <a:ext cx="88275" cy="85000"/>
            </a:xfrm>
            <a:custGeom>
              <a:avLst/>
              <a:gdLst/>
              <a:ahLst/>
              <a:cxnLst/>
              <a:rect l="l" t="t" r="r" b="b"/>
              <a:pathLst>
                <a:path w="3531" h="3400" extrusionOk="0">
                  <a:moveTo>
                    <a:pt x="1697" y="1135"/>
                  </a:moveTo>
                  <a:cubicBezTo>
                    <a:pt x="2202" y="1135"/>
                    <a:pt x="2455" y="1742"/>
                    <a:pt x="2099" y="2101"/>
                  </a:cubicBezTo>
                  <a:cubicBezTo>
                    <a:pt x="1983" y="2216"/>
                    <a:pt x="1841" y="2268"/>
                    <a:pt x="1702" y="2268"/>
                  </a:cubicBezTo>
                  <a:cubicBezTo>
                    <a:pt x="1411" y="2268"/>
                    <a:pt x="1133" y="2041"/>
                    <a:pt x="1133" y="1700"/>
                  </a:cubicBezTo>
                  <a:cubicBezTo>
                    <a:pt x="1133" y="1386"/>
                    <a:pt x="1383" y="1135"/>
                    <a:pt x="1697" y="1135"/>
                  </a:cubicBezTo>
                  <a:close/>
                  <a:moveTo>
                    <a:pt x="1697" y="0"/>
                  </a:moveTo>
                  <a:cubicBezTo>
                    <a:pt x="1479" y="0"/>
                    <a:pt x="1258" y="43"/>
                    <a:pt x="1048" y="130"/>
                  </a:cubicBezTo>
                  <a:cubicBezTo>
                    <a:pt x="414" y="392"/>
                    <a:pt x="0" y="1011"/>
                    <a:pt x="0" y="1700"/>
                  </a:cubicBezTo>
                  <a:cubicBezTo>
                    <a:pt x="0" y="2639"/>
                    <a:pt x="758" y="3397"/>
                    <a:pt x="1697" y="3400"/>
                  </a:cubicBezTo>
                  <a:cubicBezTo>
                    <a:pt x="2386" y="3400"/>
                    <a:pt x="3005" y="2983"/>
                    <a:pt x="3267" y="2349"/>
                  </a:cubicBezTo>
                  <a:cubicBezTo>
                    <a:pt x="3530" y="1715"/>
                    <a:pt x="3385" y="984"/>
                    <a:pt x="2899" y="498"/>
                  </a:cubicBezTo>
                  <a:cubicBezTo>
                    <a:pt x="2574" y="173"/>
                    <a:pt x="2139" y="0"/>
                    <a:pt x="1697"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435D74"/>
                </a:solidFill>
                <a:latin typeface="Arial"/>
                <a:cs typeface="Arial"/>
                <a:sym typeface="Arial"/>
              </a:endParaRPr>
            </a:p>
          </p:txBody>
        </p:sp>
        <p:sp>
          <p:nvSpPr>
            <p:cNvPr id="9527" name="Google Shape;9527;p109"/>
            <p:cNvSpPr/>
            <p:nvPr/>
          </p:nvSpPr>
          <p:spPr>
            <a:xfrm>
              <a:off x="5334575" y="3947350"/>
              <a:ext cx="88325" cy="84950"/>
            </a:xfrm>
            <a:custGeom>
              <a:avLst/>
              <a:gdLst/>
              <a:ahLst/>
              <a:cxnLst/>
              <a:rect l="l" t="t" r="r" b="b"/>
              <a:pathLst>
                <a:path w="3533" h="3398" extrusionOk="0">
                  <a:moveTo>
                    <a:pt x="1829" y="1130"/>
                  </a:moveTo>
                  <a:cubicBezTo>
                    <a:pt x="2121" y="1130"/>
                    <a:pt x="2401" y="1356"/>
                    <a:pt x="2401" y="1698"/>
                  </a:cubicBezTo>
                  <a:cubicBezTo>
                    <a:pt x="2401" y="2012"/>
                    <a:pt x="2147" y="2265"/>
                    <a:pt x="1833" y="2265"/>
                  </a:cubicBezTo>
                  <a:cubicBezTo>
                    <a:pt x="1329" y="2265"/>
                    <a:pt x="1075" y="1656"/>
                    <a:pt x="1431" y="1296"/>
                  </a:cubicBezTo>
                  <a:cubicBezTo>
                    <a:pt x="1547" y="1181"/>
                    <a:pt x="1690" y="1130"/>
                    <a:pt x="1829" y="1130"/>
                  </a:cubicBezTo>
                  <a:close/>
                  <a:moveTo>
                    <a:pt x="1833" y="1"/>
                  </a:moveTo>
                  <a:cubicBezTo>
                    <a:pt x="1145" y="1"/>
                    <a:pt x="526" y="415"/>
                    <a:pt x="263" y="1049"/>
                  </a:cubicBezTo>
                  <a:cubicBezTo>
                    <a:pt x="0" y="1683"/>
                    <a:pt x="145" y="2413"/>
                    <a:pt x="631" y="2900"/>
                  </a:cubicBezTo>
                  <a:cubicBezTo>
                    <a:pt x="956" y="3225"/>
                    <a:pt x="1391" y="3397"/>
                    <a:pt x="1833" y="3397"/>
                  </a:cubicBezTo>
                  <a:cubicBezTo>
                    <a:pt x="2052" y="3397"/>
                    <a:pt x="2272" y="3355"/>
                    <a:pt x="2482" y="3268"/>
                  </a:cubicBezTo>
                  <a:cubicBezTo>
                    <a:pt x="3116" y="3005"/>
                    <a:pt x="3533" y="2386"/>
                    <a:pt x="3533" y="1698"/>
                  </a:cubicBezTo>
                  <a:cubicBezTo>
                    <a:pt x="3530" y="759"/>
                    <a:pt x="2772" y="1"/>
                    <a:pt x="1833"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435D74"/>
                </a:solidFill>
                <a:latin typeface="Arial"/>
                <a:cs typeface="Arial"/>
                <a:sym typeface="Arial"/>
              </a:endParaRPr>
            </a:p>
          </p:txBody>
        </p:sp>
        <p:sp>
          <p:nvSpPr>
            <p:cNvPr id="9528" name="Google Shape;9528;p109"/>
            <p:cNvSpPr/>
            <p:nvPr/>
          </p:nvSpPr>
          <p:spPr>
            <a:xfrm>
              <a:off x="5170150" y="4060600"/>
              <a:ext cx="250650" cy="113225"/>
            </a:xfrm>
            <a:custGeom>
              <a:avLst/>
              <a:gdLst/>
              <a:ahLst/>
              <a:cxnLst/>
              <a:rect l="l" t="t" r="r" b="b"/>
              <a:pathLst>
                <a:path w="10026" h="4529" extrusionOk="0">
                  <a:moveTo>
                    <a:pt x="5006" y="0"/>
                  </a:moveTo>
                  <a:cubicBezTo>
                    <a:pt x="2684" y="0"/>
                    <a:pt x="659" y="1572"/>
                    <a:pt x="79" y="3820"/>
                  </a:cubicBezTo>
                  <a:cubicBezTo>
                    <a:pt x="1" y="4125"/>
                    <a:pt x="182" y="4433"/>
                    <a:pt x="487" y="4511"/>
                  </a:cubicBezTo>
                  <a:cubicBezTo>
                    <a:pt x="533" y="4523"/>
                    <a:pt x="580" y="4528"/>
                    <a:pt x="625" y="4528"/>
                  </a:cubicBezTo>
                  <a:cubicBezTo>
                    <a:pt x="878" y="4528"/>
                    <a:pt x="1109" y="4359"/>
                    <a:pt x="1175" y="4103"/>
                  </a:cubicBezTo>
                  <a:cubicBezTo>
                    <a:pt x="1625" y="2352"/>
                    <a:pt x="3205" y="1126"/>
                    <a:pt x="5013" y="1126"/>
                  </a:cubicBezTo>
                  <a:cubicBezTo>
                    <a:pt x="6822" y="1126"/>
                    <a:pt x="8401" y="2352"/>
                    <a:pt x="8851" y="4103"/>
                  </a:cubicBezTo>
                  <a:cubicBezTo>
                    <a:pt x="8917" y="4359"/>
                    <a:pt x="9148" y="4528"/>
                    <a:pt x="9401" y="4528"/>
                  </a:cubicBezTo>
                  <a:cubicBezTo>
                    <a:pt x="9447" y="4528"/>
                    <a:pt x="9493" y="4523"/>
                    <a:pt x="9539" y="4511"/>
                  </a:cubicBezTo>
                  <a:cubicBezTo>
                    <a:pt x="9844" y="4433"/>
                    <a:pt x="10025" y="4125"/>
                    <a:pt x="9947" y="3820"/>
                  </a:cubicBezTo>
                  <a:cubicBezTo>
                    <a:pt x="9368" y="1572"/>
                    <a:pt x="7342" y="0"/>
                    <a:pt x="5020" y="0"/>
                  </a:cubicBezTo>
                  <a:cubicBezTo>
                    <a:pt x="5018" y="0"/>
                    <a:pt x="5015" y="0"/>
                    <a:pt x="5013" y="0"/>
                  </a:cubicBezTo>
                  <a:cubicBezTo>
                    <a:pt x="5011" y="0"/>
                    <a:pt x="5009" y="0"/>
                    <a:pt x="5006"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435D74"/>
                </a:solidFill>
                <a:latin typeface="Arial"/>
                <a:cs typeface="Arial"/>
                <a:sym typeface="Arial"/>
              </a:endParaRPr>
            </a:p>
          </p:txBody>
        </p:sp>
      </p:grpSp>
      <p:grpSp>
        <p:nvGrpSpPr>
          <p:cNvPr id="9529" name="Google Shape;9529;p109"/>
          <p:cNvGrpSpPr/>
          <p:nvPr/>
        </p:nvGrpSpPr>
        <p:grpSpPr>
          <a:xfrm>
            <a:off x="9741442" y="5274695"/>
            <a:ext cx="453557" cy="453557"/>
            <a:chOff x="5648375" y="3804850"/>
            <a:chExt cx="483125" cy="483125"/>
          </a:xfrm>
        </p:grpSpPr>
        <p:sp>
          <p:nvSpPr>
            <p:cNvPr id="9530" name="Google Shape;9530;p109"/>
            <p:cNvSpPr/>
            <p:nvPr/>
          </p:nvSpPr>
          <p:spPr>
            <a:xfrm>
              <a:off x="5648375" y="3804850"/>
              <a:ext cx="483125" cy="483125"/>
            </a:xfrm>
            <a:custGeom>
              <a:avLst/>
              <a:gdLst/>
              <a:ahLst/>
              <a:cxnLst/>
              <a:rect l="l" t="t" r="r" b="b"/>
              <a:pathLst>
                <a:path w="19325" h="19325" extrusionOk="0">
                  <a:moveTo>
                    <a:pt x="9662" y="1132"/>
                  </a:moveTo>
                  <a:cubicBezTo>
                    <a:pt x="14367" y="1132"/>
                    <a:pt x="18192" y="4958"/>
                    <a:pt x="18192" y="9662"/>
                  </a:cubicBezTo>
                  <a:cubicBezTo>
                    <a:pt x="18192" y="14367"/>
                    <a:pt x="14367" y="18192"/>
                    <a:pt x="9662" y="18192"/>
                  </a:cubicBezTo>
                  <a:cubicBezTo>
                    <a:pt x="4958" y="18192"/>
                    <a:pt x="1132" y="14367"/>
                    <a:pt x="1132" y="9662"/>
                  </a:cubicBezTo>
                  <a:cubicBezTo>
                    <a:pt x="1132" y="4958"/>
                    <a:pt x="4958" y="1132"/>
                    <a:pt x="9662" y="1132"/>
                  </a:cubicBezTo>
                  <a:close/>
                  <a:moveTo>
                    <a:pt x="9662" y="0"/>
                  </a:moveTo>
                  <a:cubicBezTo>
                    <a:pt x="7093" y="0"/>
                    <a:pt x="4668" y="1009"/>
                    <a:pt x="2838" y="2838"/>
                  </a:cubicBezTo>
                  <a:cubicBezTo>
                    <a:pt x="1009" y="4668"/>
                    <a:pt x="0" y="7093"/>
                    <a:pt x="0" y="9662"/>
                  </a:cubicBezTo>
                  <a:cubicBezTo>
                    <a:pt x="0" y="12232"/>
                    <a:pt x="1009" y="14657"/>
                    <a:pt x="2838" y="16486"/>
                  </a:cubicBezTo>
                  <a:cubicBezTo>
                    <a:pt x="4668" y="18316"/>
                    <a:pt x="7093" y="19325"/>
                    <a:pt x="9662" y="19325"/>
                  </a:cubicBezTo>
                  <a:cubicBezTo>
                    <a:pt x="12232" y="19325"/>
                    <a:pt x="14656" y="18316"/>
                    <a:pt x="16486" y="16486"/>
                  </a:cubicBezTo>
                  <a:cubicBezTo>
                    <a:pt x="18316" y="14657"/>
                    <a:pt x="19325" y="12232"/>
                    <a:pt x="19325" y="9662"/>
                  </a:cubicBezTo>
                  <a:cubicBezTo>
                    <a:pt x="19325" y="7093"/>
                    <a:pt x="18316" y="4668"/>
                    <a:pt x="16486" y="2838"/>
                  </a:cubicBezTo>
                  <a:cubicBezTo>
                    <a:pt x="14656" y="1009"/>
                    <a:pt x="12232" y="0"/>
                    <a:pt x="9662"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435D74"/>
                </a:solidFill>
                <a:latin typeface="Arial"/>
                <a:cs typeface="Arial"/>
                <a:sym typeface="Arial"/>
              </a:endParaRPr>
            </a:p>
          </p:txBody>
        </p:sp>
        <p:sp>
          <p:nvSpPr>
            <p:cNvPr id="9531" name="Google Shape;9531;p109"/>
            <p:cNvSpPr/>
            <p:nvPr/>
          </p:nvSpPr>
          <p:spPr>
            <a:xfrm>
              <a:off x="5762575" y="3947300"/>
              <a:ext cx="88275" cy="85000"/>
            </a:xfrm>
            <a:custGeom>
              <a:avLst/>
              <a:gdLst/>
              <a:ahLst/>
              <a:cxnLst/>
              <a:rect l="l" t="t" r="r" b="b"/>
              <a:pathLst>
                <a:path w="3531" h="3400" extrusionOk="0">
                  <a:moveTo>
                    <a:pt x="1697" y="1135"/>
                  </a:moveTo>
                  <a:cubicBezTo>
                    <a:pt x="2202" y="1135"/>
                    <a:pt x="2455" y="1742"/>
                    <a:pt x="2099" y="2101"/>
                  </a:cubicBezTo>
                  <a:cubicBezTo>
                    <a:pt x="1983" y="2216"/>
                    <a:pt x="1841" y="2268"/>
                    <a:pt x="1702" y="2268"/>
                  </a:cubicBezTo>
                  <a:cubicBezTo>
                    <a:pt x="1411" y="2268"/>
                    <a:pt x="1133" y="2041"/>
                    <a:pt x="1133" y="1700"/>
                  </a:cubicBezTo>
                  <a:cubicBezTo>
                    <a:pt x="1133" y="1386"/>
                    <a:pt x="1383" y="1135"/>
                    <a:pt x="1697" y="1135"/>
                  </a:cubicBezTo>
                  <a:close/>
                  <a:moveTo>
                    <a:pt x="1698" y="0"/>
                  </a:moveTo>
                  <a:cubicBezTo>
                    <a:pt x="1479" y="0"/>
                    <a:pt x="1258" y="43"/>
                    <a:pt x="1048" y="130"/>
                  </a:cubicBezTo>
                  <a:cubicBezTo>
                    <a:pt x="414" y="392"/>
                    <a:pt x="1" y="1011"/>
                    <a:pt x="1" y="1700"/>
                  </a:cubicBezTo>
                  <a:cubicBezTo>
                    <a:pt x="1" y="2639"/>
                    <a:pt x="758" y="3397"/>
                    <a:pt x="1697" y="3400"/>
                  </a:cubicBezTo>
                  <a:cubicBezTo>
                    <a:pt x="2386" y="3400"/>
                    <a:pt x="3005" y="2983"/>
                    <a:pt x="3268" y="2349"/>
                  </a:cubicBezTo>
                  <a:cubicBezTo>
                    <a:pt x="3530" y="1715"/>
                    <a:pt x="3385" y="984"/>
                    <a:pt x="2899" y="498"/>
                  </a:cubicBezTo>
                  <a:cubicBezTo>
                    <a:pt x="2574" y="173"/>
                    <a:pt x="2139" y="0"/>
                    <a:pt x="1698"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435D74"/>
                </a:solidFill>
                <a:latin typeface="Arial"/>
                <a:cs typeface="Arial"/>
                <a:sym typeface="Arial"/>
              </a:endParaRPr>
            </a:p>
          </p:txBody>
        </p:sp>
        <p:sp>
          <p:nvSpPr>
            <p:cNvPr id="9532" name="Google Shape;9532;p109"/>
            <p:cNvSpPr/>
            <p:nvPr/>
          </p:nvSpPr>
          <p:spPr>
            <a:xfrm>
              <a:off x="5932425" y="3947300"/>
              <a:ext cx="88250" cy="85000"/>
            </a:xfrm>
            <a:custGeom>
              <a:avLst/>
              <a:gdLst/>
              <a:ahLst/>
              <a:cxnLst/>
              <a:rect l="l" t="t" r="r" b="b"/>
              <a:pathLst>
                <a:path w="3530" h="3400" extrusionOk="0">
                  <a:moveTo>
                    <a:pt x="1697" y="1135"/>
                  </a:moveTo>
                  <a:cubicBezTo>
                    <a:pt x="2201" y="1135"/>
                    <a:pt x="2455" y="1742"/>
                    <a:pt x="2099" y="2101"/>
                  </a:cubicBezTo>
                  <a:cubicBezTo>
                    <a:pt x="1983" y="2216"/>
                    <a:pt x="1841" y="2268"/>
                    <a:pt x="1702" y="2268"/>
                  </a:cubicBezTo>
                  <a:cubicBezTo>
                    <a:pt x="1411" y="2268"/>
                    <a:pt x="1133" y="2041"/>
                    <a:pt x="1133" y="1700"/>
                  </a:cubicBezTo>
                  <a:cubicBezTo>
                    <a:pt x="1133" y="1386"/>
                    <a:pt x="1383" y="1135"/>
                    <a:pt x="1697" y="1135"/>
                  </a:cubicBezTo>
                  <a:close/>
                  <a:moveTo>
                    <a:pt x="1697" y="0"/>
                  </a:moveTo>
                  <a:cubicBezTo>
                    <a:pt x="1479" y="0"/>
                    <a:pt x="1258" y="43"/>
                    <a:pt x="1048" y="130"/>
                  </a:cubicBezTo>
                  <a:cubicBezTo>
                    <a:pt x="414" y="392"/>
                    <a:pt x="0" y="1011"/>
                    <a:pt x="0" y="1700"/>
                  </a:cubicBezTo>
                  <a:cubicBezTo>
                    <a:pt x="0" y="2639"/>
                    <a:pt x="758" y="3397"/>
                    <a:pt x="1697" y="3400"/>
                  </a:cubicBezTo>
                  <a:cubicBezTo>
                    <a:pt x="2386" y="3400"/>
                    <a:pt x="3005" y="2983"/>
                    <a:pt x="3267" y="2349"/>
                  </a:cubicBezTo>
                  <a:cubicBezTo>
                    <a:pt x="3530" y="1715"/>
                    <a:pt x="3385" y="984"/>
                    <a:pt x="2899" y="498"/>
                  </a:cubicBezTo>
                  <a:cubicBezTo>
                    <a:pt x="2574" y="173"/>
                    <a:pt x="2139" y="0"/>
                    <a:pt x="1697"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435D74"/>
                </a:solidFill>
                <a:latin typeface="Arial"/>
                <a:cs typeface="Arial"/>
                <a:sym typeface="Arial"/>
              </a:endParaRPr>
            </a:p>
          </p:txBody>
        </p:sp>
        <p:sp>
          <p:nvSpPr>
            <p:cNvPr id="9533" name="Google Shape;9533;p109"/>
            <p:cNvSpPr/>
            <p:nvPr/>
          </p:nvSpPr>
          <p:spPr>
            <a:xfrm>
              <a:off x="5762575" y="4060600"/>
              <a:ext cx="254800" cy="141550"/>
            </a:xfrm>
            <a:custGeom>
              <a:avLst/>
              <a:gdLst/>
              <a:ahLst/>
              <a:cxnLst/>
              <a:rect l="l" t="t" r="r" b="b"/>
              <a:pathLst>
                <a:path w="10192" h="5662" extrusionOk="0">
                  <a:moveTo>
                    <a:pt x="9017" y="1132"/>
                  </a:moveTo>
                  <a:cubicBezTo>
                    <a:pt x="8736" y="3083"/>
                    <a:pt x="7066" y="4529"/>
                    <a:pt x="5094" y="4529"/>
                  </a:cubicBezTo>
                  <a:cubicBezTo>
                    <a:pt x="3123" y="4529"/>
                    <a:pt x="1453" y="3083"/>
                    <a:pt x="1172" y="1132"/>
                  </a:cubicBezTo>
                  <a:close/>
                  <a:moveTo>
                    <a:pt x="565" y="0"/>
                  </a:moveTo>
                  <a:cubicBezTo>
                    <a:pt x="251" y="0"/>
                    <a:pt x="1" y="251"/>
                    <a:pt x="1" y="565"/>
                  </a:cubicBezTo>
                  <a:cubicBezTo>
                    <a:pt x="1" y="3373"/>
                    <a:pt x="2286" y="5662"/>
                    <a:pt x="5094" y="5662"/>
                  </a:cubicBezTo>
                  <a:cubicBezTo>
                    <a:pt x="7905" y="5662"/>
                    <a:pt x="10191" y="3373"/>
                    <a:pt x="10191" y="565"/>
                  </a:cubicBezTo>
                  <a:cubicBezTo>
                    <a:pt x="10191" y="251"/>
                    <a:pt x="9938" y="0"/>
                    <a:pt x="9623"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435D74"/>
                </a:solidFill>
                <a:latin typeface="Arial"/>
                <a:cs typeface="Arial"/>
                <a:sym typeface="Arial"/>
              </a:endParaRPr>
            </a:p>
          </p:txBody>
        </p:sp>
      </p:grpSp>
      <p:grpSp>
        <p:nvGrpSpPr>
          <p:cNvPr id="9534" name="Google Shape;9534;p109"/>
          <p:cNvGrpSpPr/>
          <p:nvPr/>
        </p:nvGrpSpPr>
        <p:grpSpPr>
          <a:xfrm>
            <a:off x="7461382" y="5291038"/>
            <a:ext cx="374564" cy="420599"/>
            <a:chOff x="6276025" y="3812400"/>
            <a:chExt cx="416800" cy="468025"/>
          </a:xfrm>
        </p:grpSpPr>
        <p:sp>
          <p:nvSpPr>
            <p:cNvPr id="9535" name="Google Shape;9535;p109"/>
            <p:cNvSpPr/>
            <p:nvPr/>
          </p:nvSpPr>
          <p:spPr>
            <a:xfrm>
              <a:off x="6276025" y="3812400"/>
              <a:ext cx="416800" cy="468025"/>
            </a:xfrm>
            <a:custGeom>
              <a:avLst/>
              <a:gdLst/>
              <a:ahLst/>
              <a:cxnLst/>
              <a:rect l="l" t="t" r="r" b="b"/>
              <a:pathLst>
                <a:path w="16672" h="18721" extrusionOk="0">
                  <a:moveTo>
                    <a:pt x="8334" y="1132"/>
                  </a:moveTo>
                  <a:cubicBezTo>
                    <a:pt x="12311" y="1132"/>
                    <a:pt x="15536" y="4354"/>
                    <a:pt x="15536" y="8334"/>
                  </a:cubicBezTo>
                  <a:lnTo>
                    <a:pt x="15536" y="8346"/>
                  </a:lnTo>
                  <a:lnTo>
                    <a:pt x="15536" y="11652"/>
                  </a:lnTo>
                  <a:cubicBezTo>
                    <a:pt x="15536" y="12332"/>
                    <a:pt x="15240" y="12981"/>
                    <a:pt x="14724" y="13425"/>
                  </a:cubicBezTo>
                  <a:lnTo>
                    <a:pt x="12849" y="15034"/>
                  </a:lnTo>
                  <a:cubicBezTo>
                    <a:pt x="12725" y="15143"/>
                    <a:pt x="12652" y="15300"/>
                    <a:pt x="12652" y="15466"/>
                  </a:cubicBezTo>
                  <a:lnTo>
                    <a:pt x="12652" y="17588"/>
                  </a:lnTo>
                  <a:lnTo>
                    <a:pt x="11197" y="17588"/>
                  </a:lnTo>
                  <a:lnTo>
                    <a:pt x="11197" y="16254"/>
                  </a:lnTo>
                  <a:cubicBezTo>
                    <a:pt x="11197" y="15943"/>
                    <a:pt x="10943" y="15689"/>
                    <a:pt x="10629" y="15689"/>
                  </a:cubicBezTo>
                  <a:cubicBezTo>
                    <a:pt x="10318" y="15689"/>
                    <a:pt x="10065" y="15943"/>
                    <a:pt x="10065" y="16254"/>
                  </a:cubicBezTo>
                  <a:lnTo>
                    <a:pt x="10065" y="17588"/>
                  </a:lnTo>
                  <a:lnTo>
                    <a:pt x="8902" y="17588"/>
                  </a:lnTo>
                  <a:lnTo>
                    <a:pt x="8902" y="16254"/>
                  </a:lnTo>
                  <a:cubicBezTo>
                    <a:pt x="8902" y="15943"/>
                    <a:pt x="8648" y="15689"/>
                    <a:pt x="8334" y="15689"/>
                  </a:cubicBezTo>
                  <a:cubicBezTo>
                    <a:pt x="8020" y="15689"/>
                    <a:pt x="7770" y="15943"/>
                    <a:pt x="7770" y="16254"/>
                  </a:cubicBezTo>
                  <a:lnTo>
                    <a:pt x="7770" y="17588"/>
                  </a:lnTo>
                  <a:lnTo>
                    <a:pt x="6604" y="17588"/>
                  </a:lnTo>
                  <a:lnTo>
                    <a:pt x="6604" y="16254"/>
                  </a:lnTo>
                  <a:cubicBezTo>
                    <a:pt x="6604" y="15943"/>
                    <a:pt x="6351" y="15689"/>
                    <a:pt x="6040" y="15689"/>
                  </a:cubicBezTo>
                  <a:cubicBezTo>
                    <a:pt x="5726" y="15689"/>
                    <a:pt x="5472" y="15943"/>
                    <a:pt x="5472" y="16254"/>
                  </a:cubicBezTo>
                  <a:lnTo>
                    <a:pt x="5472" y="17588"/>
                  </a:lnTo>
                  <a:lnTo>
                    <a:pt x="4017" y="17588"/>
                  </a:lnTo>
                  <a:lnTo>
                    <a:pt x="4017" y="15466"/>
                  </a:lnTo>
                  <a:cubicBezTo>
                    <a:pt x="4017" y="15300"/>
                    <a:pt x="3944" y="15143"/>
                    <a:pt x="3820" y="15037"/>
                  </a:cubicBezTo>
                  <a:lnTo>
                    <a:pt x="1945" y="13425"/>
                  </a:lnTo>
                  <a:cubicBezTo>
                    <a:pt x="1429" y="12981"/>
                    <a:pt x="1133" y="12335"/>
                    <a:pt x="1133" y="11652"/>
                  </a:cubicBezTo>
                  <a:lnTo>
                    <a:pt x="1133" y="8406"/>
                  </a:lnTo>
                  <a:cubicBezTo>
                    <a:pt x="1133" y="4396"/>
                    <a:pt x="4361" y="1132"/>
                    <a:pt x="8331" y="1132"/>
                  </a:cubicBezTo>
                  <a:close/>
                  <a:moveTo>
                    <a:pt x="8331" y="0"/>
                  </a:moveTo>
                  <a:cubicBezTo>
                    <a:pt x="3736" y="3"/>
                    <a:pt x="1" y="3774"/>
                    <a:pt x="1" y="8409"/>
                  </a:cubicBezTo>
                  <a:lnTo>
                    <a:pt x="1" y="11655"/>
                  </a:lnTo>
                  <a:cubicBezTo>
                    <a:pt x="1" y="12664"/>
                    <a:pt x="442" y="13627"/>
                    <a:pt x="1209" y="14285"/>
                  </a:cubicBezTo>
                  <a:lnTo>
                    <a:pt x="2884" y="15725"/>
                  </a:lnTo>
                  <a:lnTo>
                    <a:pt x="2884" y="18156"/>
                  </a:lnTo>
                  <a:cubicBezTo>
                    <a:pt x="2884" y="18467"/>
                    <a:pt x="3138" y="18721"/>
                    <a:pt x="3449" y="18721"/>
                  </a:cubicBezTo>
                  <a:lnTo>
                    <a:pt x="13220" y="18721"/>
                  </a:lnTo>
                  <a:cubicBezTo>
                    <a:pt x="13531" y="18721"/>
                    <a:pt x="13785" y="18467"/>
                    <a:pt x="13785" y="18156"/>
                  </a:cubicBezTo>
                  <a:lnTo>
                    <a:pt x="13785" y="15725"/>
                  </a:lnTo>
                  <a:lnTo>
                    <a:pt x="15463" y="14282"/>
                  </a:lnTo>
                  <a:cubicBezTo>
                    <a:pt x="16227" y="13624"/>
                    <a:pt x="16671" y="12664"/>
                    <a:pt x="16671" y="11652"/>
                  </a:cubicBezTo>
                  <a:lnTo>
                    <a:pt x="16671" y="8334"/>
                  </a:lnTo>
                  <a:lnTo>
                    <a:pt x="16671" y="8322"/>
                  </a:lnTo>
                  <a:cubicBezTo>
                    <a:pt x="16662" y="3723"/>
                    <a:pt x="12933" y="0"/>
                    <a:pt x="8334"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435D74"/>
                </a:solidFill>
                <a:latin typeface="Arial"/>
                <a:cs typeface="Arial"/>
                <a:sym typeface="Arial"/>
              </a:endParaRPr>
            </a:p>
          </p:txBody>
        </p:sp>
        <p:sp>
          <p:nvSpPr>
            <p:cNvPr id="9536" name="Google Shape;9536;p109"/>
            <p:cNvSpPr/>
            <p:nvPr/>
          </p:nvSpPr>
          <p:spPr>
            <a:xfrm>
              <a:off x="6436375" y="4078825"/>
              <a:ext cx="96025" cy="80400"/>
            </a:xfrm>
            <a:custGeom>
              <a:avLst/>
              <a:gdLst/>
              <a:ahLst/>
              <a:cxnLst/>
              <a:rect l="l" t="t" r="r" b="b"/>
              <a:pathLst>
                <a:path w="3841" h="3216" extrusionOk="0">
                  <a:moveTo>
                    <a:pt x="1922" y="1"/>
                  </a:moveTo>
                  <a:cubicBezTo>
                    <a:pt x="1736" y="1"/>
                    <a:pt x="1551" y="91"/>
                    <a:pt x="1440" y="270"/>
                  </a:cubicBezTo>
                  <a:lnTo>
                    <a:pt x="166" y="2354"/>
                  </a:lnTo>
                  <a:cubicBezTo>
                    <a:pt x="0" y="2623"/>
                    <a:pt x="85" y="2970"/>
                    <a:pt x="350" y="3133"/>
                  </a:cubicBezTo>
                  <a:cubicBezTo>
                    <a:pt x="443" y="3189"/>
                    <a:pt x="545" y="3216"/>
                    <a:pt x="646" y="3216"/>
                  </a:cubicBezTo>
                  <a:cubicBezTo>
                    <a:pt x="837" y="3216"/>
                    <a:pt x="1023" y="3120"/>
                    <a:pt x="1129" y="2946"/>
                  </a:cubicBezTo>
                  <a:lnTo>
                    <a:pt x="1923" y="1653"/>
                  </a:lnTo>
                  <a:lnTo>
                    <a:pt x="2712" y="2946"/>
                  </a:lnTo>
                  <a:cubicBezTo>
                    <a:pt x="2818" y="3120"/>
                    <a:pt x="3005" y="3216"/>
                    <a:pt x="3196" y="3216"/>
                  </a:cubicBezTo>
                  <a:cubicBezTo>
                    <a:pt x="3297" y="3216"/>
                    <a:pt x="3399" y="3189"/>
                    <a:pt x="3491" y="3133"/>
                  </a:cubicBezTo>
                  <a:cubicBezTo>
                    <a:pt x="3759" y="2970"/>
                    <a:pt x="3841" y="2623"/>
                    <a:pt x="3678" y="2354"/>
                  </a:cubicBezTo>
                  <a:lnTo>
                    <a:pt x="2407" y="270"/>
                  </a:lnTo>
                  <a:cubicBezTo>
                    <a:pt x="2295" y="91"/>
                    <a:pt x="2108" y="1"/>
                    <a:pt x="1922"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435D74"/>
                </a:solidFill>
                <a:latin typeface="Arial"/>
                <a:cs typeface="Arial"/>
                <a:sym typeface="Arial"/>
              </a:endParaRPr>
            </a:p>
          </p:txBody>
        </p:sp>
        <p:sp>
          <p:nvSpPr>
            <p:cNvPr id="9537" name="Google Shape;9537;p109"/>
            <p:cNvSpPr/>
            <p:nvPr/>
          </p:nvSpPr>
          <p:spPr>
            <a:xfrm>
              <a:off x="6327450" y="3974775"/>
              <a:ext cx="125550" cy="118300"/>
            </a:xfrm>
            <a:custGeom>
              <a:avLst/>
              <a:gdLst/>
              <a:ahLst/>
              <a:cxnLst/>
              <a:rect l="l" t="t" r="r" b="b"/>
              <a:pathLst>
                <a:path w="5022" h="4732" extrusionOk="0">
                  <a:moveTo>
                    <a:pt x="2505" y="1115"/>
                  </a:moveTo>
                  <a:cubicBezTo>
                    <a:pt x="2806" y="1115"/>
                    <a:pt x="3107" y="1230"/>
                    <a:pt x="3337" y="1461"/>
                  </a:cubicBezTo>
                  <a:cubicBezTo>
                    <a:pt x="3795" y="1920"/>
                    <a:pt x="3795" y="2663"/>
                    <a:pt x="3337" y="3125"/>
                  </a:cubicBezTo>
                  <a:cubicBezTo>
                    <a:pt x="3049" y="3413"/>
                    <a:pt x="2565" y="3600"/>
                    <a:pt x="2133" y="3600"/>
                  </a:cubicBezTo>
                  <a:cubicBezTo>
                    <a:pt x="1861" y="3600"/>
                    <a:pt x="1610" y="3526"/>
                    <a:pt x="1440" y="3358"/>
                  </a:cubicBezTo>
                  <a:cubicBezTo>
                    <a:pt x="1253" y="3167"/>
                    <a:pt x="1166" y="2844"/>
                    <a:pt x="1208" y="2473"/>
                  </a:cubicBezTo>
                  <a:cubicBezTo>
                    <a:pt x="1253" y="2089"/>
                    <a:pt x="1431" y="1703"/>
                    <a:pt x="1673" y="1461"/>
                  </a:cubicBezTo>
                  <a:cubicBezTo>
                    <a:pt x="1902" y="1230"/>
                    <a:pt x="2203" y="1115"/>
                    <a:pt x="2505" y="1115"/>
                  </a:cubicBezTo>
                  <a:close/>
                  <a:moveTo>
                    <a:pt x="2486" y="0"/>
                  </a:moveTo>
                  <a:cubicBezTo>
                    <a:pt x="1903" y="0"/>
                    <a:pt x="1321" y="219"/>
                    <a:pt x="873" y="658"/>
                  </a:cubicBezTo>
                  <a:cubicBezTo>
                    <a:pt x="444" y="1084"/>
                    <a:pt x="157" y="1697"/>
                    <a:pt x="85" y="2340"/>
                  </a:cubicBezTo>
                  <a:cubicBezTo>
                    <a:pt x="0" y="3059"/>
                    <a:pt x="202" y="3717"/>
                    <a:pt x="640" y="4155"/>
                  </a:cubicBezTo>
                  <a:cubicBezTo>
                    <a:pt x="1042" y="4556"/>
                    <a:pt x="1582" y="4731"/>
                    <a:pt x="2138" y="4731"/>
                  </a:cubicBezTo>
                  <a:cubicBezTo>
                    <a:pt x="2141" y="4731"/>
                    <a:pt x="2145" y="4731"/>
                    <a:pt x="2149" y="4731"/>
                  </a:cubicBezTo>
                  <a:cubicBezTo>
                    <a:pt x="2882" y="4731"/>
                    <a:pt x="3638" y="4424"/>
                    <a:pt x="4137" y="3922"/>
                  </a:cubicBezTo>
                  <a:cubicBezTo>
                    <a:pt x="5021" y="3016"/>
                    <a:pt x="5012" y="1570"/>
                    <a:pt x="4119" y="676"/>
                  </a:cubicBezTo>
                  <a:cubicBezTo>
                    <a:pt x="3668" y="226"/>
                    <a:pt x="3077" y="0"/>
                    <a:pt x="2486"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435D74"/>
                </a:solidFill>
                <a:latin typeface="Arial"/>
                <a:cs typeface="Arial"/>
                <a:sym typeface="Arial"/>
              </a:endParaRPr>
            </a:p>
          </p:txBody>
        </p:sp>
        <p:sp>
          <p:nvSpPr>
            <p:cNvPr id="9538" name="Google Shape;9538;p109"/>
            <p:cNvSpPr/>
            <p:nvPr/>
          </p:nvSpPr>
          <p:spPr>
            <a:xfrm>
              <a:off x="6515325" y="3974300"/>
              <a:ext cx="126000" cy="118775"/>
            </a:xfrm>
            <a:custGeom>
              <a:avLst/>
              <a:gdLst/>
              <a:ahLst/>
              <a:cxnLst/>
              <a:rect l="l" t="t" r="r" b="b"/>
              <a:pathLst>
                <a:path w="5040" h="4751" extrusionOk="0">
                  <a:moveTo>
                    <a:pt x="2535" y="1133"/>
                  </a:moveTo>
                  <a:cubicBezTo>
                    <a:pt x="2836" y="1133"/>
                    <a:pt x="3138" y="1248"/>
                    <a:pt x="3367" y="1477"/>
                  </a:cubicBezTo>
                  <a:cubicBezTo>
                    <a:pt x="3609" y="1722"/>
                    <a:pt x="3787" y="2108"/>
                    <a:pt x="3832" y="2492"/>
                  </a:cubicBezTo>
                  <a:cubicBezTo>
                    <a:pt x="3874" y="2860"/>
                    <a:pt x="3790" y="3183"/>
                    <a:pt x="3600" y="3374"/>
                  </a:cubicBezTo>
                  <a:cubicBezTo>
                    <a:pt x="3429" y="3544"/>
                    <a:pt x="3178" y="3618"/>
                    <a:pt x="2906" y="3618"/>
                  </a:cubicBezTo>
                  <a:cubicBezTo>
                    <a:pt x="2474" y="3618"/>
                    <a:pt x="1991" y="3430"/>
                    <a:pt x="1703" y="3141"/>
                  </a:cubicBezTo>
                  <a:cubicBezTo>
                    <a:pt x="1244" y="2682"/>
                    <a:pt x="1244" y="1936"/>
                    <a:pt x="1703" y="1477"/>
                  </a:cubicBezTo>
                  <a:cubicBezTo>
                    <a:pt x="1933" y="1248"/>
                    <a:pt x="2234" y="1133"/>
                    <a:pt x="2535" y="1133"/>
                  </a:cubicBezTo>
                  <a:close/>
                  <a:moveTo>
                    <a:pt x="2535" y="0"/>
                  </a:moveTo>
                  <a:cubicBezTo>
                    <a:pt x="1944" y="0"/>
                    <a:pt x="1353" y="226"/>
                    <a:pt x="903" y="677"/>
                  </a:cubicBezTo>
                  <a:cubicBezTo>
                    <a:pt x="0" y="1580"/>
                    <a:pt x="0" y="3041"/>
                    <a:pt x="903" y="3941"/>
                  </a:cubicBezTo>
                  <a:cubicBezTo>
                    <a:pt x="1329" y="4370"/>
                    <a:pt x="1945" y="4660"/>
                    <a:pt x="2588" y="4732"/>
                  </a:cubicBezTo>
                  <a:cubicBezTo>
                    <a:pt x="2691" y="4744"/>
                    <a:pt x="2793" y="4750"/>
                    <a:pt x="2899" y="4750"/>
                  </a:cubicBezTo>
                  <a:cubicBezTo>
                    <a:pt x="3491" y="4750"/>
                    <a:pt x="4028" y="4548"/>
                    <a:pt x="4400" y="4174"/>
                  </a:cubicBezTo>
                  <a:cubicBezTo>
                    <a:pt x="4838" y="3739"/>
                    <a:pt x="5040" y="3078"/>
                    <a:pt x="4958" y="2362"/>
                  </a:cubicBezTo>
                  <a:cubicBezTo>
                    <a:pt x="4883" y="1719"/>
                    <a:pt x="4596" y="1103"/>
                    <a:pt x="4167" y="677"/>
                  </a:cubicBezTo>
                  <a:cubicBezTo>
                    <a:pt x="3717" y="226"/>
                    <a:pt x="3126" y="0"/>
                    <a:pt x="2535"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435D74"/>
                </a:solidFill>
                <a:latin typeface="Arial"/>
                <a:cs typeface="Arial"/>
                <a:sym typeface="Arial"/>
              </a:endParaRPr>
            </a:p>
          </p:txBody>
        </p:sp>
      </p:grpSp>
      <p:grpSp>
        <p:nvGrpSpPr>
          <p:cNvPr id="9539" name="Google Shape;9539;p109"/>
          <p:cNvGrpSpPr/>
          <p:nvPr/>
        </p:nvGrpSpPr>
        <p:grpSpPr>
          <a:xfrm>
            <a:off x="6740391" y="4726786"/>
            <a:ext cx="456820" cy="453581"/>
            <a:chOff x="890400" y="4399350"/>
            <a:chExt cx="486600" cy="483150"/>
          </a:xfrm>
        </p:grpSpPr>
        <p:sp>
          <p:nvSpPr>
            <p:cNvPr id="9540" name="Google Shape;9540;p109"/>
            <p:cNvSpPr/>
            <p:nvPr/>
          </p:nvSpPr>
          <p:spPr>
            <a:xfrm>
              <a:off x="1125300" y="4503075"/>
              <a:ext cx="153800" cy="141650"/>
            </a:xfrm>
            <a:custGeom>
              <a:avLst/>
              <a:gdLst/>
              <a:ahLst/>
              <a:cxnLst/>
              <a:rect l="l" t="t" r="r" b="b"/>
              <a:pathLst>
                <a:path w="6152" h="5666" extrusionOk="0">
                  <a:moveTo>
                    <a:pt x="3044" y="1140"/>
                  </a:moveTo>
                  <a:cubicBezTo>
                    <a:pt x="3263" y="1140"/>
                    <a:pt x="3484" y="1182"/>
                    <a:pt x="3694" y="1269"/>
                  </a:cubicBezTo>
                  <a:cubicBezTo>
                    <a:pt x="4328" y="1532"/>
                    <a:pt x="4741" y="2151"/>
                    <a:pt x="4741" y="2836"/>
                  </a:cubicBezTo>
                  <a:cubicBezTo>
                    <a:pt x="4741" y="3525"/>
                    <a:pt x="4328" y="4144"/>
                    <a:pt x="3694" y="4406"/>
                  </a:cubicBezTo>
                  <a:cubicBezTo>
                    <a:pt x="3484" y="4493"/>
                    <a:pt x="3263" y="4536"/>
                    <a:pt x="3044" y="4536"/>
                  </a:cubicBezTo>
                  <a:cubicBezTo>
                    <a:pt x="2602" y="4536"/>
                    <a:pt x="2168" y="4363"/>
                    <a:pt x="1843" y="4038"/>
                  </a:cubicBezTo>
                  <a:cubicBezTo>
                    <a:pt x="1178" y="3377"/>
                    <a:pt x="1178" y="2299"/>
                    <a:pt x="1843" y="1638"/>
                  </a:cubicBezTo>
                  <a:cubicBezTo>
                    <a:pt x="2168" y="1312"/>
                    <a:pt x="2602" y="1140"/>
                    <a:pt x="3044" y="1140"/>
                  </a:cubicBezTo>
                  <a:close/>
                  <a:moveTo>
                    <a:pt x="3043" y="0"/>
                  </a:moveTo>
                  <a:cubicBezTo>
                    <a:pt x="2680" y="0"/>
                    <a:pt x="2313" y="70"/>
                    <a:pt x="1961" y="215"/>
                  </a:cubicBezTo>
                  <a:cubicBezTo>
                    <a:pt x="710" y="732"/>
                    <a:pt x="1" y="2060"/>
                    <a:pt x="264" y="3386"/>
                  </a:cubicBezTo>
                  <a:cubicBezTo>
                    <a:pt x="529" y="4709"/>
                    <a:pt x="1688" y="5666"/>
                    <a:pt x="3038" y="5666"/>
                  </a:cubicBezTo>
                  <a:cubicBezTo>
                    <a:pt x="3040" y="5666"/>
                    <a:pt x="3042" y="5666"/>
                    <a:pt x="3045" y="5666"/>
                  </a:cubicBezTo>
                  <a:cubicBezTo>
                    <a:pt x="3048" y="5666"/>
                    <a:pt x="3052" y="5666"/>
                    <a:pt x="3056" y="5666"/>
                  </a:cubicBezTo>
                  <a:cubicBezTo>
                    <a:pt x="3801" y="5666"/>
                    <a:pt x="4518" y="5367"/>
                    <a:pt x="5046" y="4838"/>
                  </a:cubicBezTo>
                  <a:cubicBezTo>
                    <a:pt x="6004" y="3884"/>
                    <a:pt x="6152" y="2386"/>
                    <a:pt x="5400" y="1260"/>
                  </a:cubicBezTo>
                  <a:cubicBezTo>
                    <a:pt x="4862" y="453"/>
                    <a:pt x="3967" y="0"/>
                    <a:pt x="3043"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435D74"/>
                </a:solidFill>
                <a:latin typeface="Arial"/>
                <a:cs typeface="Arial"/>
                <a:sym typeface="Arial"/>
              </a:endParaRPr>
            </a:p>
          </p:txBody>
        </p:sp>
        <p:sp>
          <p:nvSpPr>
            <p:cNvPr id="9541" name="Google Shape;9541;p109"/>
            <p:cNvSpPr/>
            <p:nvPr/>
          </p:nvSpPr>
          <p:spPr>
            <a:xfrm>
              <a:off x="890400" y="4399350"/>
              <a:ext cx="486600" cy="483150"/>
            </a:xfrm>
            <a:custGeom>
              <a:avLst/>
              <a:gdLst/>
              <a:ahLst/>
              <a:cxnLst/>
              <a:rect l="l" t="t" r="r" b="b"/>
              <a:pathLst>
                <a:path w="19464" h="19326" extrusionOk="0">
                  <a:moveTo>
                    <a:pt x="17908" y="1131"/>
                  </a:moveTo>
                  <a:cubicBezTo>
                    <a:pt x="18031" y="1131"/>
                    <a:pt x="18157" y="1132"/>
                    <a:pt x="18283" y="1134"/>
                  </a:cubicBezTo>
                  <a:cubicBezTo>
                    <a:pt x="18301" y="2369"/>
                    <a:pt x="18232" y="3465"/>
                    <a:pt x="18057" y="4449"/>
                  </a:cubicBezTo>
                  <a:cubicBezTo>
                    <a:pt x="16453" y="4223"/>
                    <a:pt x="15191" y="2960"/>
                    <a:pt x="14968" y="1357"/>
                  </a:cubicBezTo>
                  <a:cubicBezTo>
                    <a:pt x="15851" y="1203"/>
                    <a:pt x="16825" y="1131"/>
                    <a:pt x="17908" y="1131"/>
                  </a:cubicBezTo>
                  <a:close/>
                  <a:moveTo>
                    <a:pt x="6462" y="6683"/>
                  </a:moveTo>
                  <a:lnTo>
                    <a:pt x="6462" y="6686"/>
                  </a:lnTo>
                  <a:cubicBezTo>
                    <a:pt x="6003" y="7471"/>
                    <a:pt x="5574" y="8281"/>
                    <a:pt x="5173" y="9066"/>
                  </a:cubicBezTo>
                  <a:lnTo>
                    <a:pt x="2712" y="8839"/>
                  </a:lnTo>
                  <a:cubicBezTo>
                    <a:pt x="3545" y="7571"/>
                    <a:pt x="4952" y="6756"/>
                    <a:pt x="6462" y="6683"/>
                  </a:cubicBezTo>
                  <a:close/>
                  <a:moveTo>
                    <a:pt x="13863" y="1608"/>
                  </a:moveTo>
                  <a:cubicBezTo>
                    <a:pt x="14195" y="3637"/>
                    <a:pt x="15783" y="5225"/>
                    <a:pt x="17809" y="5557"/>
                  </a:cubicBezTo>
                  <a:cubicBezTo>
                    <a:pt x="17347" y="7209"/>
                    <a:pt x="16532" y="8534"/>
                    <a:pt x="15303" y="9718"/>
                  </a:cubicBezTo>
                  <a:cubicBezTo>
                    <a:pt x="13932" y="11043"/>
                    <a:pt x="11825" y="12218"/>
                    <a:pt x="9868" y="13221"/>
                  </a:cubicBezTo>
                  <a:lnTo>
                    <a:pt x="6196" y="9552"/>
                  </a:lnTo>
                  <a:cubicBezTo>
                    <a:pt x="7199" y="7592"/>
                    <a:pt x="8376" y="5485"/>
                    <a:pt x="9699" y="4114"/>
                  </a:cubicBezTo>
                  <a:cubicBezTo>
                    <a:pt x="10886" y="2885"/>
                    <a:pt x="12208" y="2073"/>
                    <a:pt x="13863" y="1608"/>
                  </a:cubicBezTo>
                  <a:close/>
                  <a:moveTo>
                    <a:pt x="5659" y="10612"/>
                  </a:moveTo>
                  <a:lnTo>
                    <a:pt x="8805" y="13758"/>
                  </a:lnTo>
                  <a:lnTo>
                    <a:pt x="8503" y="13909"/>
                  </a:lnTo>
                  <a:cubicBezTo>
                    <a:pt x="8237" y="14039"/>
                    <a:pt x="7984" y="14169"/>
                    <a:pt x="7736" y="14292"/>
                  </a:cubicBezTo>
                  <a:lnTo>
                    <a:pt x="5124" y="11681"/>
                  </a:lnTo>
                  <a:cubicBezTo>
                    <a:pt x="5248" y="11433"/>
                    <a:pt x="5378" y="11179"/>
                    <a:pt x="5508" y="10914"/>
                  </a:cubicBezTo>
                  <a:lnTo>
                    <a:pt x="5659" y="10612"/>
                  </a:lnTo>
                  <a:close/>
                  <a:moveTo>
                    <a:pt x="12658" y="13000"/>
                  </a:moveTo>
                  <a:lnTo>
                    <a:pt x="12658" y="13000"/>
                  </a:lnTo>
                  <a:cubicBezTo>
                    <a:pt x="12567" y="14483"/>
                    <a:pt x="11782" y="15835"/>
                    <a:pt x="10538" y="16651"/>
                  </a:cubicBezTo>
                  <a:lnTo>
                    <a:pt x="10348" y="14247"/>
                  </a:lnTo>
                  <a:cubicBezTo>
                    <a:pt x="11109" y="13858"/>
                    <a:pt x="11894" y="13441"/>
                    <a:pt x="12658" y="13000"/>
                  </a:cubicBezTo>
                  <a:close/>
                  <a:moveTo>
                    <a:pt x="4596" y="12756"/>
                  </a:moveTo>
                  <a:lnTo>
                    <a:pt x="5233" y="13393"/>
                  </a:lnTo>
                  <a:lnTo>
                    <a:pt x="4034" y="14594"/>
                  </a:lnTo>
                  <a:cubicBezTo>
                    <a:pt x="3814" y="14815"/>
                    <a:pt x="3811" y="15174"/>
                    <a:pt x="4034" y="15395"/>
                  </a:cubicBezTo>
                  <a:cubicBezTo>
                    <a:pt x="4145" y="15505"/>
                    <a:pt x="4290" y="15560"/>
                    <a:pt x="4434" y="15560"/>
                  </a:cubicBezTo>
                  <a:cubicBezTo>
                    <a:pt x="4579" y="15560"/>
                    <a:pt x="4724" y="15505"/>
                    <a:pt x="4835" y="15395"/>
                  </a:cubicBezTo>
                  <a:lnTo>
                    <a:pt x="6036" y="14193"/>
                  </a:lnTo>
                  <a:lnTo>
                    <a:pt x="6673" y="14833"/>
                  </a:lnTo>
                  <a:cubicBezTo>
                    <a:pt x="6528" y="15192"/>
                    <a:pt x="6311" y="15521"/>
                    <a:pt x="6036" y="15796"/>
                  </a:cubicBezTo>
                  <a:cubicBezTo>
                    <a:pt x="5387" y="16445"/>
                    <a:pt x="3110" y="17327"/>
                    <a:pt x="1555" y="17864"/>
                  </a:cubicBezTo>
                  <a:cubicBezTo>
                    <a:pt x="2096" y="16312"/>
                    <a:pt x="2984" y="14042"/>
                    <a:pt x="3633" y="13393"/>
                  </a:cubicBezTo>
                  <a:cubicBezTo>
                    <a:pt x="3908" y="13115"/>
                    <a:pt x="4234" y="12900"/>
                    <a:pt x="4596" y="12756"/>
                  </a:cubicBezTo>
                  <a:close/>
                  <a:moveTo>
                    <a:pt x="17939" y="0"/>
                  </a:moveTo>
                  <a:cubicBezTo>
                    <a:pt x="16582" y="0"/>
                    <a:pt x="15371" y="113"/>
                    <a:pt x="14282" y="349"/>
                  </a:cubicBezTo>
                  <a:cubicBezTo>
                    <a:pt x="14258" y="352"/>
                    <a:pt x="14234" y="358"/>
                    <a:pt x="14213" y="364"/>
                  </a:cubicBezTo>
                  <a:cubicBezTo>
                    <a:pt x="12057" y="841"/>
                    <a:pt x="10360" y="1801"/>
                    <a:pt x="8887" y="3329"/>
                  </a:cubicBezTo>
                  <a:cubicBezTo>
                    <a:pt x="8277" y="3960"/>
                    <a:pt x="7703" y="4724"/>
                    <a:pt x="7166" y="5548"/>
                  </a:cubicBezTo>
                  <a:lnTo>
                    <a:pt x="6676" y="5548"/>
                  </a:lnTo>
                  <a:cubicBezTo>
                    <a:pt x="5583" y="5548"/>
                    <a:pt x="4511" y="5856"/>
                    <a:pt x="3584" y="6436"/>
                  </a:cubicBezTo>
                  <a:cubicBezTo>
                    <a:pt x="2658" y="7016"/>
                    <a:pt x="1909" y="7837"/>
                    <a:pt x="1420" y="8815"/>
                  </a:cubicBezTo>
                  <a:lnTo>
                    <a:pt x="1284" y="9084"/>
                  </a:lnTo>
                  <a:cubicBezTo>
                    <a:pt x="1096" y="9458"/>
                    <a:pt x="1368" y="9902"/>
                    <a:pt x="1791" y="9905"/>
                  </a:cubicBezTo>
                  <a:lnTo>
                    <a:pt x="1948" y="9905"/>
                  </a:lnTo>
                  <a:lnTo>
                    <a:pt x="4623" y="10153"/>
                  </a:lnTo>
                  <a:cubicBezTo>
                    <a:pt x="4581" y="10237"/>
                    <a:pt x="4539" y="10322"/>
                    <a:pt x="4496" y="10409"/>
                  </a:cubicBezTo>
                  <a:cubicBezTo>
                    <a:pt x="4297" y="10802"/>
                    <a:pt x="4113" y="11176"/>
                    <a:pt x="3929" y="11533"/>
                  </a:cubicBezTo>
                  <a:cubicBezTo>
                    <a:pt x="3880" y="11626"/>
                    <a:pt x="3859" y="11732"/>
                    <a:pt x="3868" y="11838"/>
                  </a:cubicBezTo>
                  <a:cubicBezTo>
                    <a:pt x="3485" y="12031"/>
                    <a:pt x="3135" y="12287"/>
                    <a:pt x="2833" y="12592"/>
                  </a:cubicBezTo>
                  <a:cubicBezTo>
                    <a:pt x="1664" y="13761"/>
                    <a:pt x="275" y="18097"/>
                    <a:pt x="121" y="18586"/>
                  </a:cubicBezTo>
                  <a:cubicBezTo>
                    <a:pt x="1" y="18966"/>
                    <a:pt x="294" y="19325"/>
                    <a:pt x="657" y="19325"/>
                  </a:cubicBezTo>
                  <a:cubicBezTo>
                    <a:pt x="713" y="19325"/>
                    <a:pt x="770" y="19317"/>
                    <a:pt x="828" y="19299"/>
                  </a:cubicBezTo>
                  <a:cubicBezTo>
                    <a:pt x="1320" y="19145"/>
                    <a:pt x="5665" y="17765"/>
                    <a:pt x="6836" y="16593"/>
                  </a:cubicBezTo>
                  <a:cubicBezTo>
                    <a:pt x="7144" y="16288"/>
                    <a:pt x="7398" y="15935"/>
                    <a:pt x="7594" y="15549"/>
                  </a:cubicBezTo>
                  <a:lnTo>
                    <a:pt x="7628" y="15549"/>
                  </a:lnTo>
                  <a:cubicBezTo>
                    <a:pt x="7715" y="15549"/>
                    <a:pt x="7806" y="15527"/>
                    <a:pt x="7884" y="15485"/>
                  </a:cubicBezTo>
                  <a:cubicBezTo>
                    <a:pt x="8240" y="15304"/>
                    <a:pt x="8615" y="15117"/>
                    <a:pt x="9010" y="14920"/>
                  </a:cubicBezTo>
                  <a:lnTo>
                    <a:pt x="9255" y="14797"/>
                  </a:lnTo>
                  <a:lnTo>
                    <a:pt x="9463" y="17418"/>
                  </a:lnTo>
                  <a:lnTo>
                    <a:pt x="9463" y="17578"/>
                  </a:lnTo>
                  <a:cubicBezTo>
                    <a:pt x="9463" y="17906"/>
                    <a:pt x="9732" y="18144"/>
                    <a:pt x="10028" y="18144"/>
                  </a:cubicBezTo>
                  <a:cubicBezTo>
                    <a:pt x="10113" y="18144"/>
                    <a:pt x="10201" y="18124"/>
                    <a:pt x="10285" y="18082"/>
                  </a:cubicBezTo>
                  <a:lnTo>
                    <a:pt x="10553" y="17946"/>
                  </a:lnTo>
                  <a:cubicBezTo>
                    <a:pt x="12543" y="16950"/>
                    <a:pt x="13802" y="14914"/>
                    <a:pt x="13799" y="12689"/>
                  </a:cubicBezTo>
                  <a:lnTo>
                    <a:pt x="13799" y="12303"/>
                  </a:lnTo>
                  <a:cubicBezTo>
                    <a:pt x="14654" y="11750"/>
                    <a:pt x="15442" y="11161"/>
                    <a:pt x="16091" y="10536"/>
                  </a:cubicBezTo>
                  <a:cubicBezTo>
                    <a:pt x="17619" y="9060"/>
                    <a:pt x="18582" y="7366"/>
                    <a:pt x="19059" y="5207"/>
                  </a:cubicBezTo>
                  <a:cubicBezTo>
                    <a:pt x="19065" y="5186"/>
                    <a:pt x="19068" y="5165"/>
                    <a:pt x="19071" y="5140"/>
                  </a:cubicBezTo>
                  <a:cubicBezTo>
                    <a:pt x="19361" y="3809"/>
                    <a:pt x="19464" y="2302"/>
                    <a:pt x="19403" y="563"/>
                  </a:cubicBezTo>
                  <a:cubicBezTo>
                    <a:pt x="19394" y="264"/>
                    <a:pt x="19156" y="25"/>
                    <a:pt x="18857" y="16"/>
                  </a:cubicBezTo>
                  <a:cubicBezTo>
                    <a:pt x="18544" y="6"/>
                    <a:pt x="18238" y="0"/>
                    <a:pt x="17939"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435D74"/>
                </a:solidFill>
                <a:latin typeface="Arial"/>
                <a:cs typeface="Arial"/>
                <a:sym typeface="Arial"/>
              </a:endParaRPr>
            </a:p>
          </p:txBody>
        </p:sp>
        <p:sp>
          <p:nvSpPr>
            <p:cNvPr id="9542" name="Google Shape;9542;p109"/>
            <p:cNvSpPr/>
            <p:nvPr/>
          </p:nvSpPr>
          <p:spPr>
            <a:xfrm>
              <a:off x="1106975" y="4639875"/>
              <a:ext cx="28325" cy="28325"/>
            </a:xfrm>
            <a:custGeom>
              <a:avLst/>
              <a:gdLst/>
              <a:ahLst/>
              <a:cxnLst/>
              <a:rect l="l" t="t" r="r" b="b"/>
              <a:pathLst>
                <a:path w="1133" h="1133" extrusionOk="0">
                  <a:moveTo>
                    <a:pt x="565" y="0"/>
                  </a:moveTo>
                  <a:cubicBezTo>
                    <a:pt x="254" y="0"/>
                    <a:pt x="0" y="254"/>
                    <a:pt x="0" y="568"/>
                  </a:cubicBezTo>
                  <a:cubicBezTo>
                    <a:pt x="0" y="879"/>
                    <a:pt x="254" y="1133"/>
                    <a:pt x="565" y="1133"/>
                  </a:cubicBezTo>
                  <a:cubicBezTo>
                    <a:pt x="879" y="1133"/>
                    <a:pt x="1132" y="879"/>
                    <a:pt x="1132" y="568"/>
                  </a:cubicBezTo>
                  <a:cubicBezTo>
                    <a:pt x="1132" y="254"/>
                    <a:pt x="879" y="0"/>
                    <a:pt x="565"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435D74"/>
                </a:solidFill>
                <a:latin typeface="Arial"/>
                <a:cs typeface="Arial"/>
                <a:sym typeface="Arial"/>
              </a:endParaRPr>
            </a:p>
          </p:txBody>
        </p:sp>
      </p:grpSp>
      <p:grpSp>
        <p:nvGrpSpPr>
          <p:cNvPr id="9543" name="Google Shape;9543;p109"/>
          <p:cNvGrpSpPr/>
          <p:nvPr/>
        </p:nvGrpSpPr>
        <p:grpSpPr>
          <a:xfrm>
            <a:off x="7319451" y="4747158"/>
            <a:ext cx="453557" cy="412837"/>
            <a:chOff x="1487200" y="4421025"/>
            <a:chExt cx="483125" cy="439750"/>
          </a:xfrm>
        </p:grpSpPr>
        <p:sp>
          <p:nvSpPr>
            <p:cNvPr id="9544" name="Google Shape;9544;p109"/>
            <p:cNvSpPr/>
            <p:nvPr/>
          </p:nvSpPr>
          <p:spPr>
            <a:xfrm>
              <a:off x="1487200" y="4421025"/>
              <a:ext cx="483125" cy="439750"/>
            </a:xfrm>
            <a:custGeom>
              <a:avLst/>
              <a:gdLst/>
              <a:ahLst/>
              <a:cxnLst/>
              <a:rect l="l" t="t" r="r" b="b"/>
              <a:pathLst>
                <a:path w="19325" h="17590" extrusionOk="0">
                  <a:moveTo>
                    <a:pt x="12818" y="1130"/>
                  </a:moveTo>
                  <a:cubicBezTo>
                    <a:pt x="14361" y="1130"/>
                    <a:pt x="15671" y="2389"/>
                    <a:pt x="15867" y="4059"/>
                  </a:cubicBezTo>
                  <a:cubicBezTo>
                    <a:pt x="15867" y="4077"/>
                    <a:pt x="15870" y="4095"/>
                    <a:pt x="15873" y="4110"/>
                  </a:cubicBezTo>
                  <a:lnTo>
                    <a:pt x="16242" y="5871"/>
                  </a:lnTo>
                  <a:lnTo>
                    <a:pt x="9406" y="5871"/>
                  </a:lnTo>
                  <a:lnTo>
                    <a:pt x="11707" y="4110"/>
                  </a:lnTo>
                  <a:cubicBezTo>
                    <a:pt x="11957" y="3920"/>
                    <a:pt x="12008" y="3561"/>
                    <a:pt x="11815" y="3310"/>
                  </a:cubicBezTo>
                  <a:cubicBezTo>
                    <a:pt x="11703" y="3166"/>
                    <a:pt x="11534" y="3091"/>
                    <a:pt x="11364" y="3091"/>
                  </a:cubicBezTo>
                  <a:cubicBezTo>
                    <a:pt x="11242" y="3091"/>
                    <a:pt x="11119" y="3130"/>
                    <a:pt x="11015" y="3211"/>
                  </a:cubicBezTo>
                  <a:lnTo>
                    <a:pt x="7618" y="5816"/>
                  </a:lnTo>
                  <a:cubicBezTo>
                    <a:pt x="7597" y="5835"/>
                    <a:pt x="7576" y="5853"/>
                    <a:pt x="7558" y="5871"/>
                  </a:cubicBezTo>
                  <a:lnTo>
                    <a:pt x="3083" y="5871"/>
                  </a:lnTo>
                  <a:lnTo>
                    <a:pt x="3451" y="4110"/>
                  </a:lnTo>
                  <a:cubicBezTo>
                    <a:pt x="3454" y="4095"/>
                    <a:pt x="3457" y="4077"/>
                    <a:pt x="3460" y="4059"/>
                  </a:cubicBezTo>
                  <a:cubicBezTo>
                    <a:pt x="3654" y="2389"/>
                    <a:pt x="4964" y="1130"/>
                    <a:pt x="6507" y="1130"/>
                  </a:cubicBezTo>
                  <a:close/>
                  <a:moveTo>
                    <a:pt x="16939" y="7021"/>
                  </a:moveTo>
                  <a:cubicBezTo>
                    <a:pt x="17631" y="7021"/>
                    <a:pt x="18192" y="7580"/>
                    <a:pt x="18192" y="8274"/>
                  </a:cubicBezTo>
                  <a:lnTo>
                    <a:pt x="18192" y="11913"/>
                  </a:lnTo>
                  <a:cubicBezTo>
                    <a:pt x="18192" y="12604"/>
                    <a:pt x="17631" y="13163"/>
                    <a:pt x="16939" y="13166"/>
                  </a:cubicBezTo>
                  <a:lnTo>
                    <a:pt x="2385" y="13166"/>
                  </a:lnTo>
                  <a:cubicBezTo>
                    <a:pt x="1694" y="13163"/>
                    <a:pt x="1132" y="12604"/>
                    <a:pt x="1132" y="11913"/>
                  </a:cubicBezTo>
                  <a:lnTo>
                    <a:pt x="1132" y="8274"/>
                  </a:lnTo>
                  <a:cubicBezTo>
                    <a:pt x="1132" y="7580"/>
                    <a:pt x="1694" y="7021"/>
                    <a:pt x="2385" y="7021"/>
                  </a:cubicBezTo>
                  <a:close/>
                  <a:moveTo>
                    <a:pt x="5813" y="14304"/>
                  </a:moveTo>
                  <a:lnTo>
                    <a:pt x="5813" y="15889"/>
                  </a:lnTo>
                  <a:cubicBezTo>
                    <a:pt x="5813" y="16203"/>
                    <a:pt x="5559" y="16457"/>
                    <a:pt x="5248" y="16457"/>
                  </a:cubicBezTo>
                  <a:lnTo>
                    <a:pt x="3874" y="16457"/>
                  </a:lnTo>
                  <a:cubicBezTo>
                    <a:pt x="3560" y="16457"/>
                    <a:pt x="3306" y="16203"/>
                    <a:pt x="3306" y="15889"/>
                  </a:cubicBezTo>
                  <a:lnTo>
                    <a:pt x="3306" y="14304"/>
                  </a:lnTo>
                  <a:close/>
                  <a:moveTo>
                    <a:pt x="16018" y="14304"/>
                  </a:moveTo>
                  <a:lnTo>
                    <a:pt x="16018" y="15889"/>
                  </a:lnTo>
                  <a:cubicBezTo>
                    <a:pt x="16018" y="16203"/>
                    <a:pt x="15765" y="16457"/>
                    <a:pt x="15454" y="16457"/>
                  </a:cubicBezTo>
                  <a:lnTo>
                    <a:pt x="14080" y="16457"/>
                  </a:lnTo>
                  <a:cubicBezTo>
                    <a:pt x="13766" y="16457"/>
                    <a:pt x="13512" y="16203"/>
                    <a:pt x="13512" y="15889"/>
                  </a:cubicBezTo>
                  <a:lnTo>
                    <a:pt x="13512" y="14304"/>
                  </a:lnTo>
                  <a:close/>
                  <a:moveTo>
                    <a:pt x="6507" y="1"/>
                  </a:moveTo>
                  <a:cubicBezTo>
                    <a:pt x="4396" y="1"/>
                    <a:pt x="2609" y="1677"/>
                    <a:pt x="2337" y="3902"/>
                  </a:cubicBezTo>
                  <a:lnTo>
                    <a:pt x="1911" y="5934"/>
                  </a:lnTo>
                  <a:cubicBezTo>
                    <a:pt x="800" y="6161"/>
                    <a:pt x="0" y="7139"/>
                    <a:pt x="0" y="8274"/>
                  </a:cubicBezTo>
                  <a:lnTo>
                    <a:pt x="0" y="11910"/>
                  </a:lnTo>
                  <a:cubicBezTo>
                    <a:pt x="3" y="13145"/>
                    <a:pt x="945" y="14177"/>
                    <a:pt x="2174" y="14286"/>
                  </a:cubicBezTo>
                  <a:lnTo>
                    <a:pt x="2174" y="15889"/>
                  </a:lnTo>
                  <a:cubicBezTo>
                    <a:pt x="2174" y="16828"/>
                    <a:pt x="2935" y="17586"/>
                    <a:pt x="3874" y="17589"/>
                  </a:cubicBezTo>
                  <a:lnTo>
                    <a:pt x="5248" y="17589"/>
                  </a:lnTo>
                  <a:cubicBezTo>
                    <a:pt x="6184" y="17586"/>
                    <a:pt x="6945" y="16828"/>
                    <a:pt x="6945" y="15889"/>
                  </a:cubicBezTo>
                  <a:lnTo>
                    <a:pt x="6945" y="14298"/>
                  </a:lnTo>
                  <a:lnTo>
                    <a:pt x="12380" y="14298"/>
                  </a:lnTo>
                  <a:lnTo>
                    <a:pt x="12380" y="15889"/>
                  </a:lnTo>
                  <a:cubicBezTo>
                    <a:pt x="12380" y="16828"/>
                    <a:pt x="13141" y="17586"/>
                    <a:pt x="14080" y="17589"/>
                  </a:cubicBezTo>
                  <a:lnTo>
                    <a:pt x="15454" y="17589"/>
                  </a:lnTo>
                  <a:cubicBezTo>
                    <a:pt x="16390" y="17586"/>
                    <a:pt x="17151" y="16828"/>
                    <a:pt x="17151" y="15889"/>
                  </a:cubicBezTo>
                  <a:lnTo>
                    <a:pt x="17151" y="14286"/>
                  </a:lnTo>
                  <a:cubicBezTo>
                    <a:pt x="18380" y="14177"/>
                    <a:pt x="19322" y="13145"/>
                    <a:pt x="19325" y="11913"/>
                  </a:cubicBezTo>
                  <a:lnTo>
                    <a:pt x="19325" y="8274"/>
                  </a:lnTo>
                  <a:cubicBezTo>
                    <a:pt x="19325" y="7139"/>
                    <a:pt x="18524" y="6161"/>
                    <a:pt x="17413" y="5934"/>
                  </a:cubicBezTo>
                  <a:lnTo>
                    <a:pt x="16988" y="3902"/>
                  </a:lnTo>
                  <a:cubicBezTo>
                    <a:pt x="16716" y="1677"/>
                    <a:pt x="14928" y="1"/>
                    <a:pt x="12818"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435D74"/>
                </a:solidFill>
                <a:latin typeface="Arial"/>
                <a:cs typeface="Arial"/>
                <a:sym typeface="Arial"/>
              </a:endParaRPr>
            </a:p>
          </p:txBody>
        </p:sp>
        <p:sp>
          <p:nvSpPr>
            <p:cNvPr id="9545" name="Google Shape;9545;p109"/>
            <p:cNvSpPr/>
            <p:nvPr/>
          </p:nvSpPr>
          <p:spPr>
            <a:xfrm>
              <a:off x="1544950" y="4622200"/>
              <a:ext cx="103950" cy="100025"/>
            </a:xfrm>
            <a:custGeom>
              <a:avLst/>
              <a:gdLst/>
              <a:ahLst/>
              <a:cxnLst/>
              <a:rect l="l" t="t" r="r" b="b"/>
              <a:pathLst>
                <a:path w="4158" h="4001" extrusionOk="0">
                  <a:moveTo>
                    <a:pt x="2152" y="1131"/>
                  </a:moveTo>
                  <a:cubicBezTo>
                    <a:pt x="2599" y="1131"/>
                    <a:pt x="3025" y="1477"/>
                    <a:pt x="3025" y="2000"/>
                  </a:cubicBezTo>
                  <a:cubicBezTo>
                    <a:pt x="3025" y="2480"/>
                    <a:pt x="2639" y="2869"/>
                    <a:pt x="2159" y="2869"/>
                  </a:cubicBezTo>
                  <a:cubicBezTo>
                    <a:pt x="1386" y="2869"/>
                    <a:pt x="996" y="1933"/>
                    <a:pt x="1543" y="1387"/>
                  </a:cubicBezTo>
                  <a:cubicBezTo>
                    <a:pt x="1721" y="1210"/>
                    <a:pt x="1939" y="1131"/>
                    <a:pt x="2152" y="1131"/>
                  </a:cubicBezTo>
                  <a:close/>
                  <a:moveTo>
                    <a:pt x="2159" y="1"/>
                  </a:moveTo>
                  <a:cubicBezTo>
                    <a:pt x="1350" y="1"/>
                    <a:pt x="619" y="487"/>
                    <a:pt x="311" y="1233"/>
                  </a:cubicBezTo>
                  <a:cubicBezTo>
                    <a:pt x="0" y="1982"/>
                    <a:pt x="172" y="2842"/>
                    <a:pt x="743" y="3413"/>
                  </a:cubicBezTo>
                  <a:cubicBezTo>
                    <a:pt x="1127" y="3796"/>
                    <a:pt x="1639" y="4001"/>
                    <a:pt x="2159" y="4001"/>
                  </a:cubicBezTo>
                  <a:cubicBezTo>
                    <a:pt x="2416" y="4001"/>
                    <a:pt x="2676" y="3951"/>
                    <a:pt x="2923" y="3848"/>
                  </a:cubicBezTo>
                  <a:cubicBezTo>
                    <a:pt x="3672" y="3540"/>
                    <a:pt x="4158" y="2809"/>
                    <a:pt x="4158" y="2000"/>
                  </a:cubicBezTo>
                  <a:cubicBezTo>
                    <a:pt x="4158" y="895"/>
                    <a:pt x="3261" y="1"/>
                    <a:pt x="2159"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435D74"/>
                </a:solidFill>
                <a:latin typeface="Arial"/>
                <a:cs typeface="Arial"/>
                <a:sym typeface="Arial"/>
              </a:endParaRPr>
            </a:p>
          </p:txBody>
        </p:sp>
        <p:sp>
          <p:nvSpPr>
            <p:cNvPr id="9546" name="Google Shape;9546;p109"/>
            <p:cNvSpPr/>
            <p:nvPr/>
          </p:nvSpPr>
          <p:spPr>
            <a:xfrm>
              <a:off x="1804675" y="4622200"/>
              <a:ext cx="103975" cy="100025"/>
            </a:xfrm>
            <a:custGeom>
              <a:avLst/>
              <a:gdLst/>
              <a:ahLst/>
              <a:cxnLst/>
              <a:rect l="l" t="t" r="r" b="b"/>
              <a:pathLst>
                <a:path w="4159" h="4001" extrusionOk="0">
                  <a:moveTo>
                    <a:pt x="2152" y="1131"/>
                  </a:moveTo>
                  <a:cubicBezTo>
                    <a:pt x="2598" y="1131"/>
                    <a:pt x="3026" y="1477"/>
                    <a:pt x="3026" y="2000"/>
                  </a:cubicBezTo>
                  <a:cubicBezTo>
                    <a:pt x="3026" y="2480"/>
                    <a:pt x="2637" y="2869"/>
                    <a:pt x="2157" y="2869"/>
                  </a:cubicBezTo>
                  <a:cubicBezTo>
                    <a:pt x="1384" y="2869"/>
                    <a:pt x="997" y="1933"/>
                    <a:pt x="1544" y="1387"/>
                  </a:cubicBezTo>
                  <a:cubicBezTo>
                    <a:pt x="1721" y="1210"/>
                    <a:pt x="1938" y="1131"/>
                    <a:pt x="2152" y="1131"/>
                  </a:cubicBezTo>
                  <a:close/>
                  <a:moveTo>
                    <a:pt x="2157" y="1"/>
                  </a:moveTo>
                  <a:cubicBezTo>
                    <a:pt x="1348" y="1"/>
                    <a:pt x="620" y="487"/>
                    <a:pt x="309" y="1233"/>
                  </a:cubicBezTo>
                  <a:cubicBezTo>
                    <a:pt x="1" y="1982"/>
                    <a:pt x="170" y="2842"/>
                    <a:pt x="744" y="3413"/>
                  </a:cubicBezTo>
                  <a:cubicBezTo>
                    <a:pt x="1125" y="3796"/>
                    <a:pt x="1637" y="4001"/>
                    <a:pt x="2158" y="4001"/>
                  </a:cubicBezTo>
                  <a:cubicBezTo>
                    <a:pt x="2416" y="4001"/>
                    <a:pt x="2676" y="3951"/>
                    <a:pt x="2924" y="3848"/>
                  </a:cubicBezTo>
                  <a:cubicBezTo>
                    <a:pt x="3670" y="3540"/>
                    <a:pt x="4159" y="2809"/>
                    <a:pt x="4159" y="2000"/>
                  </a:cubicBezTo>
                  <a:cubicBezTo>
                    <a:pt x="4156" y="895"/>
                    <a:pt x="3262" y="1"/>
                    <a:pt x="2157"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435D74"/>
                </a:solidFill>
                <a:latin typeface="Arial"/>
                <a:cs typeface="Arial"/>
                <a:sym typeface="Arial"/>
              </a:endParaRPr>
            </a:p>
          </p:txBody>
        </p:sp>
        <p:sp>
          <p:nvSpPr>
            <p:cNvPr id="9547" name="Google Shape;9547;p109"/>
            <p:cNvSpPr/>
            <p:nvPr/>
          </p:nvSpPr>
          <p:spPr>
            <a:xfrm>
              <a:off x="1667450" y="4661825"/>
              <a:ext cx="119825" cy="28350"/>
            </a:xfrm>
            <a:custGeom>
              <a:avLst/>
              <a:gdLst/>
              <a:ahLst/>
              <a:cxnLst/>
              <a:rect l="l" t="t" r="r" b="b"/>
              <a:pathLst>
                <a:path w="4793" h="1134" extrusionOk="0">
                  <a:moveTo>
                    <a:pt x="565" y="1"/>
                  </a:moveTo>
                  <a:cubicBezTo>
                    <a:pt x="251" y="1"/>
                    <a:pt x="1" y="252"/>
                    <a:pt x="1" y="566"/>
                  </a:cubicBezTo>
                  <a:cubicBezTo>
                    <a:pt x="1" y="880"/>
                    <a:pt x="251" y="1133"/>
                    <a:pt x="565" y="1133"/>
                  </a:cubicBezTo>
                  <a:lnTo>
                    <a:pt x="4228" y="1133"/>
                  </a:lnTo>
                  <a:cubicBezTo>
                    <a:pt x="4539" y="1133"/>
                    <a:pt x="4792" y="880"/>
                    <a:pt x="4792" y="566"/>
                  </a:cubicBezTo>
                  <a:cubicBezTo>
                    <a:pt x="4792" y="252"/>
                    <a:pt x="4539" y="1"/>
                    <a:pt x="4228"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435D74"/>
                </a:solidFill>
                <a:latin typeface="Arial"/>
                <a:cs typeface="Arial"/>
                <a:sym typeface="Arial"/>
              </a:endParaRPr>
            </a:p>
          </p:txBody>
        </p:sp>
      </p:grpSp>
      <p:grpSp>
        <p:nvGrpSpPr>
          <p:cNvPr id="9548" name="Google Shape;9548;p109"/>
          <p:cNvGrpSpPr/>
          <p:nvPr/>
        </p:nvGrpSpPr>
        <p:grpSpPr>
          <a:xfrm>
            <a:off x="7858490" y="4726810"/>
            <a:ext cx="459871" cy="453535"/>
            <a:chOff x="2079300" y="4399325"/>
            <a:chExt cx="489850" cy="483100"/>
          </a:xfrm>
        </p:grpSpPr>
        <p:sp>
          <p:nvSpPr>
            <p:cNvPr id="9549" name="Google Shape;9549;p109"/>
            <p:cNvSpPr/>
            <p:nvPr/>
          </p:nvSpPr>
          <p:spPr>
            <a:xfrm>
              <a:off x="2079300" y="4399325"/>
              <a:ext cx="489850" cy="483100"/>
            </a:xfrm>
            <a:custGeom>
              <a:avLst/>
              <a:gdLst/>
              <a:ahLst/>
              <a:cxnLst/>
              <a:rect l="l" t="t" r="r" b="b"/>
              <a:pathLst>
                <a:path w="19594" h="19324" extrusionOk="0">
                  <a:moveTo>
                    <a:pt x="17109" y="1134"/>
                  </a:moveTo>
                  <a:cubicBezTo>
                    <a:pt x="17415" y="1134"/>
                    <a:pt x="17714" y="1254"/>
                    <a:pt x="17939" y="1479"/>
                  </a:cubicBezTo>
                  <a:cubicBezTo>
                    <a:pt x="18268" y="1805"/>
                    <a:pt x="18371" y="2297"/>
                    <a:pt x="18205" y="2732"/>
                  </a:cubicBezTo>
                  <a:cubicBezTo>
                    <a:pt x="18003" y="3260"/>
                    <a:pt x="17770" y="3774"/>
                    <a:pt x="17507" y="4275"/>
                  </a:cubicBezTo>
                  <a:cubicBezTo>
                    <a:pt x="16288" y="4088"/>
                    <a:pt x="15330" y="3130"/>
                    <a:pt x="15143" y="1911"/>
                  </a:cubicBezTo>
                  <a:cubicBezTo>
                    <a:pt x="15644" y="1648"/>
                    <a:pt x="16158" y="1415"/>
                    <a:pt x="16686" y="1210"/>
                  </a:cubicBezTo>
                  <a:lnTo>
                    <a:pt x="16686" y="1213"/>
                  </a:lnTo>
                  <a:cubicBezTo>
                    <a:pt x="16824" y="1160"/>
                    <a:pt x="16967" y="1134"/>
                    <a:pt x="17109" y="1134"/>
                  </a:cubicBezTo>
                  <a:close/>
                  <a:moveTo>
                    <a:pt x="2905" y="2901"/>
                  </a:moveTo>
                  <a:lnTo>
                    <a:pt x="10016" y="4541"/>
                  </a:lnTo>
                  <a:cubicBezTo>
                    <a:pt x="9744" y="4855"/>
                    <a:pt x="9485" y="5178"/>
                    <a:pt x="9234" y="5513"/>
                  </a:cubicBezTo>
                  <a:lnTo>
                    <a:pt x="9234" y="5516"/>
                  </a:lnTo>
                  <a:lnTo>
                    <a:pt x="7812" y="7463"/>
                  </a:lnTo>
                  <a:lnTo>
                    <a:pt x="2027" y="3780"/>
                  </a:lnTo>
                  <a:lnTo>
                    <a:pt x="2905" y="2901"/>
                  </a:lnTo>
                  <a:close/>
                  <a:moveTo>
                    <a:pt x="2465" y="11352"/>
                  </a:moveTo>
                  <a:lnTo>
                    <a:pt x="4738" y="11676"/>
                  </a:lnTo>
                  <a:lnTo>
                    <a:pt x="3488" y="13388"/>
                  </a:lnTo>
                  <a:lnTo>
                    <a:pt x="1574" y="12240"/>
                  </a:lnTo>
                  <a:lnTo>
                    <a:pt x="2465" y="11352"/>
                  </a:lnTo>
                  <a:close/>
                  <a:moveTo>
                    <a:pt x="14111" y="2502"/>
                  </a:moveTo>
                  <a:cubicBezTo>
                    <a:pt x="14479" y="3870"/>
                    <a:pt x="15545" y="4939"/>
                    <a:pt x="16913" y="5308"/>
                  </a:cubicBezTo>
                  <a:cubicBezTo>
                    <a:pt x="16318" y="6250"/>
                    <a:pt x="15617" y="7122"/>
                    <a:pt x="14823" y="7907"/>
                  </a:cubicBezTo>
                  <a:cubicBezTo>
                    <a:pt x="14811" y="7916"/>
                    <a:pt x="14802" y="7928"/>
                    <a:pt x="14793" y="7937"/>
                  </a:cubicBezTo>
                  <a:cubicBezTo>
                    <a:pt x="14304" y="8418"/>
                    <a:pt x="13784" y="8861"/>
                    <a:pt x="13235" y="9269"/>
                  </a:cubicBezTo>
                  <a:lnTo>
                    <a:pt x="5140" y="15184"/>
                  </a:lnTo>
                  <a:cubicBezTo>
                    <a:pt x="5128" y="15196"/>
                    <a:pt x="5113" y="15208"/>
                    <a:pt x="5101" y="15217"/>
                  </a:cubicBezTo>
                  <a:cubicBezTo>
                    <a:pt x="5082" y="15235"/>
                    <a:pt x="5061" y="15248"/>
                    <a:pt x="5040" y="15260"/>
                  </a:cubicBezTo>
                  <a:cubicBezTo>
                    <a:pt x="5031" y="15263"/>
                    <a:pt x="5022" y="15269"/>
                    <a:pt x="5016" y="15272"/>
                  </a:cubicBezTo>
                  <a:cubicBezTo>
                    <a:pt x="4925" y="15314"/>
                    <a:pt x="4801" y="15339"/>
                    <a:pt x="4674" y="15339"/>
                  </a:cubicBezTo>
                  <a:cubicBezTo>
                    <a:pt x="4506" y="15339"/>
                    <a:pt x="4333" y="15295"/>
                    <a:pt x="4228" y="15190"/>
                  </a:cubicBezTo>
                  <a:cubicBezTo>
                    <a:pt x="3998" y="14961"/>
                    <a:pt x="4004" y="14544"/>
                    <a:pt x="4237" y="14278"/>
                  </a:cubicBezTo>
                  <a:cubicBezTo>
                    <a:pt x="4249" y="14266"/>
                    <a:pt x="4261" y="14251"/>
                    <a:pt x="4270" y="14239"/>
                  </a:cubicBezTo>
                  <a:lnTo>
                    <a:pt x="10149" y="6186"/>
                  </a:lnTo>
                  <a:cubicBezTo>
                    <a:pt x="11230" y="4722"/>
                    <a:pt x="12574" y="3475"/>
                    <a:pt x="14111" y="2502"/>
                  </a:cubicBezTo>
                  <a:close/>
                  <a:moveTo>
                    <a:pt x="14877" y="9402"/>
                  </a:moveTo>
                  <a:lnTo>
                    <a:pt x="16517" y="16513"/>
                  </a:lnTo>
                  <a:lnTo>
                    <a:pt x="15635" y="17391"/>
                  </a:lnTo>
                  <a:lnTo>
                    <a:pt x="11955" y="11606"/>
                  </a:lnTo>
                  <a:lnTo>
                    <a:pt x="13905" y="10181"/>
                  </a:lnTo>
                  <a:cubicBezTo>
                    <a:pt x="14240" y="9933"/>
                    <a:pt x="14563" y="9674"/>
                    <a:pt x="14877" y="9402"/>
                  </a:cubicBezTo>
                  <a:close/>
                  <a:moveTo>
                    <a:pt x="7743" y="14686"/>
                  </a:moveTo>
                  <a:lnTo>
                    <a:pt x="8069" y="16957"/>
                  </a:lnTo>
                  <a:lnTo>
                    <a:pt x="7181" y="17844"/>
                  </a:lnTo>
                  <a:lnTo>
                    <a:pt x="6034" y="15936"/>
                  </a:lnTo>
                  <a:lnTo>
                    <a:pt x="7743" y="14686"/>
                  </a:lnTo>
                  <a:close/>
                  <a:moveTo>
                    <a:pt x="17108" y="0"/>
                  </a:moveTo>
                  <a:cubicBezTo>
                    <a:pt x="16830" y="0"/>
                    <a:pt x="16550" y="50"/>
                    <a:pt x="16282" y="153"/>
                  </a:cubicBezTo>
                  <a:cubicBezTo>
                    <a:pt x="14280" y="923"/>
                    <a:pt x="12456" y="2092"/>
                    <a:pt x="10919" y="3586"/>
                  </a:cubicBezTo>
                  <a:lnTo>
                    <a:pt x="7758" y="2856"/>
                  </a:lnTo>
                  <a:lnTo>
                    <a:pt x="7978" y="2635"/>
                  </a:lnTo>
                  <a:cubicBezTo>
                    <a:pt x="8198" y="2415"/>
                    <a:pt x="8198" y="2056"/>
                    <a:pt x="7978" y="1835"/>
                  </a:cubicBezTo>
                  <a:cubicBezTo>
                    <a:pt x="7868" y="1724"/>
                    <a:pt x="7724" y="1669"/>
                    <a:pt x="7579" y="1669"/>
                  </a:cubicBezTo>
                  <a:cubicBezTo>
                    <a:pt x="7434" y="1669"/>
                    <a:pt x="7288" y="1725"/>
                    <a:pt x="7178" y="1835"/>
                  </a:cubicBezTo>
                  <a:lnTo>
                    <a:pt x="6456" y="2557"/>
                  </a:lnTo>
                  <a:lnTo>
                    <a:pt x="3850" y="1956"/>
                  </a:lnTo>
                  <a:lnTo>
                    <a:pt x="4074" y="1736"/>
                  </a:lnTo>
                  <a:cubicBezTo>
                    <a:pt x="4300" y="1515"/>
                    <a:pt x="4303" y="1150"/>
                    <a:pt x="4080" y="926"/>
                  </a:cubicBezTo>
                  <a:cubicBezTo>
                    <a:pt x="3969" y="816"/>
                    <a:pt x="3824" y="761"/>
                    <a:pt x="3679" y="761"/>
                  </a:cubicBezTo>
                  <a:cubicBezTo>
                    <a:pt x="3531" y="761"/>
                    <a:pt x="3384" y="818"/>
                    <a:pt x="3274" y="932"/>
                  </a:cubicBezTo>
                  <a:lnTo>
                    <a:pt x="1945" y="2261"/>
                  </a:lnTo>
                  <a:lnTo>
                    <a:pt x="725" y="3478"/>
                  </a:lnTo>
                  <a:cubicBezTo>
                    <a:pt x="469" y="3734"/>
                    <a:pt x="517" y="4163"/>
                    <a:pt x="822" y="4356"/>
                  </a:cubicBezTo>
                  <a:lnTo>
                    <a:pt x="7145" y="8378"/>
                  </a:lnTo>
                  <a:lnTo>
                    <a:pt x="5496" y="10640"/>
                  </a:lnTo>
                  <a:lnTo>
                    <a:pt x="2344" y="10190"/>
                  </a:lnTo>
                  <a:cubicBezTo>
                    <a:pt x="2317" y="10186"/>
                    <a:pt x="2290" y="10185"/>
                    <a:pt x="2264" y="10185"/>
                  </a:cubicBezTo>
                  <a:cubicBezTo>
                    <a:pt x="2113" y="10185"/>
                    <a:pt x="1969" y="10242"/>
                    <a:pt x="1864" y="10350"/>
                  </a:cubicBezTo>
                  <a:lnTo>
                    <a:pt x="260" y="11950"/>
                  </a:lnTo>
                  <a:cubicBezTo>
                    <a:pt x="1" y="12213"/>
                    <a:pt x="55" y="12648"/>
                    <a:pt x="369" y="12838"/>
                  </a:cubicBezTo>
                  <a:lnTo>
                    <a:pt x="2966" y="14393"/>
                  </a:lnTo>
                  <a:cubicBezTo>
                    <a:pt x="2851" y="14964"/>
                    <a:pt x="3008" y="15574"/>
                    <a:pt x="3428" y="15990"/>
                  </a:cubicBezTo>
                  <a:cubicBezTo>
                    <a:pt x="3757" y="16322"/>
                    <a:pt x="4219" y="16467"/>
                    <a:pt x="4669" y="16467"/>
                  </a:cubicBezTo>
                  <a:cubicBezTo>
                    <a:pt x="4786" y="16467"/>
                    <a:pt x="4901" y="16458"/>
                    <a:pt x="5016" y="16440"/>
                  </a:cubicBezTo>
                  <a:lnTo>
                    <a:pt x="6580" y="19049"/>
                  </a:lnTo>
                  <a:cubicBezTo>
                    <a:pt x="6671" y="19197"/>
                    <a:pt x="6825" y="19297"/>
                    <a:pt x="6997" y="19318"/>
                  </a:cubicBezTo>
                  <a:cubicBezTo>
                    <a:pt x="7021" y="19321"/>
                    <a:pt x="7042" y="19324"/>
                    <a:pt x="7066" y="19324"/>
                  </a:cubicBezTo>
                  <a:cubicBezTo>
                    <a:pt x="7217" y="19324"/>
                    <a:pt x="7359" y="19263"/>
                    <a:pt x="7465" y="19158"/>
                  </a:cubicBezTo>
                  <a:lnTo>
                    <a:pt x="9068" y="17554"/>
                  </a:lnTo>
                  <a:cubicBezTo>
                    <a:pt x="9192" y="17431"/>
                    <a:pt x="9252" y="17252"/>
                    <a:pt x="9228" y="17074"/>
                  </a:cubicBezTo>
                  <a:lnTo>
                    <a:pt x="8778" y="13931"/>
                  </a:lnTo>
                  <a:lnTo>
                    <a:pt x="11040" y="12276"/>
                  </a:lnTo>
                  <a:lnTo>
                    <a:pt x="15062" y="18596"/>
                  </a:lnTo>
                  <a:cubicBezTo>
                    <a:pt x="15152" y="18741"/>
                    <a:pt x="15306" y="18835"/>
                    <a:pt x="15475" y="18853"/>
                  </a:cubicBezTo>
                  <a:cubicBezTo>
                    <a:pt x="15496" y="18856"/>
                    <a:pt x="15518" y="18859"/>
                    <a:pt x="15539" y="18859"/>
                  </a:cubicBezTo>
                  <a:cubicBezTo>
                    <a:pt x="15687" y="18859"/>
                    <a:pt x="15832" y="18798"/>
                    <a:pt x="15937" y="18693"/>
                  </a:cubicBezTo>
                  <a:lnTo>
                    <a:pt x="16740" y="17890"/>
                  </a:lnTo>
                  <a:lnTo>
                    <a:pt x="18483" y="16144"/>
                  </a:lnTo>
                  <a:cubicBezTo>
                    <a:pt x="18712" y="15924"/>
                    <a:pt x="18715" y="15562"/>
                    <a:pt x="18492" y="15338"/>
                  </a:cubicBezTo>
                  <a:cubicBezTo>
                    <a:pt x="18381" y="15228"/>
                    <a:pt x="18236" y="15172"/>
                    <a:pt x="18090" y="15172"/>
                  </a:cubicBezTo>
                  <a:cubicBezTo>
                    <a:pt x="17942" y="15172"/>
                    <a:pt x="17794" y="15230"/>
                    <a:pt x="17683" y="15344"/>
                  </a:cubicBezTo>
                  <a:lnTo>
                    <a:pt x="17462" y="15568"/>
                  </a:lnTo>
                  <a:lnTo>
                    <a:pt x="16861" y="12965"/>
                  </a:lnTo>
                  <a:lnTo>
                    <a:pt x="17583" y="12243"/>
                  </a:lnTo>
                  <a:cubicBezTo>
                    <a:pt x="17803" y="12020"/>
                    <a:pt x="17803" y="11660"/>
                    <a:pt x="17583" y="11440"/>
                  </a:cubicBezTo>
                  <a:cubicBezTo>
                    <a:pt x="17473" y="11330"/>
                    <a:pt x="17328" y="11275"/>
                    <a:pt x="17183" y="11275"/>
                  </a:cubicBezTo>
                  <a:cubicBezTo>
                    <a:pt x="17038" y="11275"/>
                    <a:pt x="16893" y="11330"/>
                    <a:pt x="16783" y="11440"/>
                  </a:cubicBezTo>
                  <a:lnTo>
                    <a:pt x="16559" y="11663"/>
                  </a:lnTo>
                  <a:lnTo>
                    <a:pt x="15835" y="8499"/>
                  </a:lnTo>
                  <a:cubicBezTo>
                    <a:pt x="17329" y="6962"/>
                    <a:pt x="18498" y="5138"/>
                    <a:pt x="19265" y="3137"/>
                  </a:cubicBezTo>
                  <a:cubicBezTo>
                    <a:pt x="19594" y="2285"/>
                    <a:pt x="19389" y="1322"/>
                    <a:pt x="18742" y="676"/>
                  </a:cubicBezTo>
                  <a:cubicBezTo>
                    <a:pt x="18302" y="236"/>
                    <a:pt x="17711" y="0"/>
                    <a:pt x="17108"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435D74"/>
                </a:solidFill>
                <a:latin typeface="Arial"/>
                <a:cs typeface="Arial"/>
                <a:sym typeface="Arial"/>
              </a:endParaRPr>
            </a:p>
          </p:txBody>
        </p:sp>
        <p:sp>
          <p:nvSpPr>
            <p:cNvPr id="9550" name="Google Shape;9550;p109"/>
            <p:cNvSpPr/>
            <p:nvPr/>
          </p:nvSpPr>
          <p:spPr>
            <a:xfrm>
              <a:off x="2348725" y="4522375"/>
              <a:ext cx="94375" cy="88150"/>
            </a:xfrm>
            <a:custGeom>
              <a:avLst/>
              <a:gdLst/>
              <a:ahLst/>
              <a:cxnLst/>
              <a:rect l="l" t="t" r="r" b="b"/>
              <a:pathLst>
                <a:path w="3775" h="3526" extrusionOk="0">
                  <a:moveTo>
                    <a:pt x="3155" y="0"/>
                  </a:moveTo>
                  <a:cubicBezTo>
                    <a:pt x="3013" y="0"/>
                    <a:pt x="2870" y="53"/>
                    <a:pt x="2760" y="159"/>
                  </a:cubicBezTo>
                  <a:lnTo>
                    <a:pt x="359" y="2560"/>
                  </a:lnTo>
                  <a:cubicBezTo>
                    <a:pt x="0" y="2916"/>
                    <a:pt x="254" y="3526"/>
                    <a:pt x="758" y="3526"/>
                  </a:cubicBezTo>
                  <a:cubicBezTo>
                    <a:pt x="909" y="3526"/>
                    <a:pt x="1054" y="3468"/>
                    <a:pt x="1160" y="3360"/>
                  </a:cubicBezTo>
                  <a:lnTo>
                    <a:pt x="3560" y="959"/>
                  </a:lnTo>
                  <a:cubicBezTo>
                    <a:pt x="3774" y="736"/>
                    <a:pt x="3771" y="383"/>
                    <a:pt x="3554" y="165"/>
                  </a:cubicBezTo>
                  <a:cubicBezTo>
                    <a:pt x="3444" y="55"/>
                    <a:pt x="3300" y="0"/>
                    <a:pt x="3155"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435D74"/>
                </a:solidFill>
                <a:latin typeface="Arial"/>
                <a:cs typeface="Arial"/>
                <a:sym typeface="Arial"/>
              </a:endParaRPr>
            </a:p>
          </p:txBody>
        </p:sp>
      </p:grpSp>
      <p:sp>
        <p:nvSpPr>
          <p:cNvPr id="9551" name="Google Shape;9551;p109"/>
          <p:cNvSpPr/>
          <p:nvPr/>
        </p:nvSpPr>
        <p:spPr>
          <a:xfrm>
            <a:off x="8441010" y="4726093"/>
            <a:ext cx="398732" cy="453511"/>
          </a:xfrm>
          <a:custGeom>
            <a:avLst/>
            <a:gdLst/>
            <a:ahLst/>
            <a:cxnLst/>
            <a:rect l="l" t="t" r="r" b="b"/>
            <a:pathLst>
              <a:path w="16989" h="19323" extrusionOk="0">
                <a:moveTo>
                  <a:pt x="8495" y="2378"/>
                </a:moveTo>
                <a:cubicBezTo>
                  <a:pt x="9434" y="2378"/>
                  <a:pt x="10195" y="3136"/>
                  <a:pt x="10195" y="4075"/>
                </a:cubicBezTo>
                <a:lnTo>
                  <a:pt x="10195" y="4642"/>
                </a:lnTo>
                <a:lnTo>
                  <a:pt x="6798" y="4642"/>
                </a:lnTo>
                <a:lnTo>
                  <a:pt x="6798" y="4075"/>
                </a:lnTo>
                <a:cubicBezTo>
                  <a:pt x="6798" y="3136"/>
                  <a:pt x="7556" y="2378"/>
                  <a:pt x="8495" y="2378"/>
                </a:cubicBezTo>
                <a:close/>
                <a:moveTo>
                  <a:pt x="4242" y="1130"/>
                </a:moveTo>
                <a:cubicBezTo>
                  <a:pt x="4665" y="1130"/>
                  <a:pt x="5096" y="1267"/>
                  <a:pt x="5469" y="1565"/>
                </a:cubicBezTo>
                <a:lnTo>
                  <a:pt x="6330" y="2251"/>
                </a:lnTo>
                <a:cubicBezTo>
                  <a:pt x="5901" y="2761"/>
                  <a:pt x="5662" y="3407"/>
                  <a:pt x="5665" y="4075"/>
                </a:cubicBezTo>
                <a:lnTo>
                  <a:pt x="5665" y="4642"/>
                </a:lnTo>
                <a:lnTo>
                  <a:pt x="3872" y="4642"/>
                </a:lnTo>
                <a:cubicBezTo>
                  <a:pt x="3870" y="4642"/>
                  <a:pt x="3869" y="4642"/>
                  <a:pt x="3867" y="4642"/>
                </a:cubicBezTo>
                <a:cubicBezTo>
                  <a:pt x="2879" y="4642"/>
                  <a:pt x="2127" y="3756"/>
                  <a:pt x="2290" y="2782"/>
                </a:cubicBezTo>
                <a:cubicBezTo>
                  <a:pt x="2459" y="1765"/>
                  <a:pt x="3331" y="1130"/>
                  <a:pt x="4242" y="1130"/>
                </a:cubicBezTo>
                <a:close/>
                <a:moveTo>
                  <a:pt x="12746" y="1131"/>
                </a:moveTo>
                <a:cubicBezTo>
                  <a:pt x="13657" y="1131"/>
                  <a:pt x="14530" y="1767"/>
                  <a:pt x="14700" y="2782"/>
                </a:cubicBezTo>
                <a:cubicBezTo>
                  <a:pt x="14862" y="3756"/>
                  <a:pt x="14110" y="4642"/>
                  <a:pt x="13122" y="4642"/>
                </a:cubicBezTo>
                <a:cubicBezTo>
                  <a:pt x="13121" y="4642"/>
                  <a:pt x="13119" y="4642"/>
                  <a:pt x="13117" y="4642"/>
                </a:cubicBezTo>
                <a:lnTo>
                  <a:pt x="11327" y="4642"/>
                </a:lnTo>
                <a:lnTo>
                  <a:pt x="11327" y="4075"/>
                </a:lnTo>
                <a:cubicBezTo>
                  <a:pt x="11327" y="3407"/>
                  <a:pt x="11088" y="2761"/>
                  <a:pt x="10660" y="2251"/>
                </a:cubicBezTo>
                <a:lnTo>
                  <a:pt x="11523" y="1565"/>
                </a:lnTo>
                <a:cubicBezTo>
                  <a:pt x="11895" y="1267"/>
                  <a:pt x="12325" y="1131"/>
                  <a:pt x="12746" y="1131"/>
                </a:cubicBezTo>
                <a:close/>
                <a:moveTo>
                  <a:pt x="6798" y="5775"/>
                </a:moveTo>
                <a:lnTo>
                  <a:pt x="6798" y="8039"/>
                </a:lnTo>
                <a:lnTo>
                  <a:pt x="1136" y="8039"/>
                </a:lnTo>
                <a:lnTo>
                  <a:pt x="1136" y="6339"/>
                </a:lnTo>
                <a:cubicBezTo>
                  <a:pt x="1136" y="6025"/>
                  <a:pt x="1387" y="5775"/>
                  <a:pt x="1701" y="5775"/>
                </a:cubicBezTo>
                <a:close/>
                <a:moveTo>
                  <a:pt x="15288" y="5775"/>
                </a:moveTo>
                <a:cubicBezTo>
                  <a:pt x="15602" y="5775"/>
                  <a:pt x="15856" y="6025"/>
                  <a:pt x="15856" y="6339"/>
                </a:cubicBezTo>
                <a:lnTo>
                  <a:pt x="15856" y="8039"/>
                </a:lnTo>
                <a:lnTo>
                  <a:pt x="10195" y="8039"/>
                </a:lnTo>
                <a:lnTo>
                  <a:pt x="10195" y="5775"/>
                </a:lnTo>
                <a:close/>
                <a:moveTo>
                  <a:pt x="6798" y="9171"/>
                </a:moveTo>
                <a:lnTo>
                  <a:pt x="6798" y="11361"/>
                </a:lnTo>
                <a:lnTo>
                  <a:pt x="2269" y="11361"/>
                </a:lnTo>
                <a:lnTo>
                  <a:pt x="2269" y="9171"/>
                </a:lnTo>
                <a:close/>
                <a:moveTo>
                  <a:pt x="14724" y="9171"/>
                </a:moveTo>
                <a:lnTo>
                  <a:pt x="14724" y="11361"/>
                </a:lnTo>
                <a:lnTo>
                  <a:pt x="10195" y="11361"/>
                </a:lnTo>
                <a:lnTo>
                  <a:pt x="10195" y="9171"/>
                </a:lnTo>
                <a:close/>
                <a:moveTo>
                  <a:pt x="6798" y="12493"/>
                </a:moveTo>
                <a:lnTo>
                  <a:pt x="6798" y="13625"/>
                </a:lnTo>
                <a:lnTo>
                  <a:pt x="2269" y="13625"/>
                </a:lnTo>
                <a:lnTo>
                  <a:pt x="2269" y="12493"/>
                </a:lnTo>
                <a:close/>
                <a:moveTo>
                  <a:pt x="14724" y="12493"/>
                </a:moveTo>
                <a:lnTo>
                  <a:pt x="14724" y="13625"/>
                </a:lnTo>
                <a:lnTo>
                  <a:pt x="10195" y="13625"/>
                </a:lnTo>
                <a:lnTo>
                  <a:pt x="10195" y="12493"/>
                </a:lnTo>
                <a:close/>
                <a:moveTo>
                  <a:pt x="6798" y="14757"/>
                </a:moveTo>
                <a:lnTo>
                  <a:pt x="6798" y="18191"/>
                </a:lnTo>
                <a:lnTo>
                  <a:pt x="2833" y="18191"/>
                </a:lnTo>
                <a:cubicBezTo>
                  <a:pt x="2519" y="18191"/>
                  <a:pt x="2269" y="17937"/>
                  <a:pt x="2269" y="17626"/>
                </a:cubicBezTo>
                <a:lnTo>
                  <a:pt x="2269" y="14757"/>
                </a:lnTo>
                <a:close/>
                <a:moveTo>
                  <a:pt x="9062" y="5775"/>
                </a:moveTo>
                <a:lnTo>
                  <a:pt x="9062" y="18191"/>
                </a:lnTo>
                <a:lnTo>
                  <a:pt x="7930" y="18191"/>
                </a:lnTo>
                <a:lnTo>
                  <a:pt x="7930" y="5775"/>
                </a:lnTo>
                <a:close/>
                <a:moveTo>
                  <a:pt x="14724" y="14757"/>
                </a:moveTo>
                <a:lnTo>
                  <a:pt x="14724" y="17626"/>
                </a:lnTo>
                <a:cubicBezTo>
                  <a:pt x="14724" y="17937"/>
                  <a:pt x="14470" y="18191"/>
                  <a:pt x="14156" y="18191"/>
                </a:cubicBezTo>
                <a:lnTo>
                  <a:pt x="10195" y="18191"/>
                </a:lnTo>
                <a:lnTo>
                  <a:pt x="10195" y="14757"/>
                </a:lnTo>
                <a:close/>
                <a:moveTo>
                  <a:pt x="4235" y="0"/>
                </a:moveTo>
                <a:cubicBezTo>
                  <a:pt x="3860" y="0"/>
                  <a:pt x="3484" y="68"/>
                  <a:pt x="3123" y="207"/>
                </a:cubicBezTo>
                <a:cubicBezTo>
                  <a:pt x="2096" y="599"/>
                  <a:pt x="1351" y="1508"/>
                  <a:pt x="1172" y="2595"/>
                </a:cubicBezTo>
                <a:cubicBezTo>
                  <a:pt x="1052" y="3314"/>
                  <a:pt x="1224" y="4050"/>
                  <a:pt x="1653" y="4642"/>
                </a:cubicBezTo>
                <a:cubicBezTo>
                  <a:pt x="732" y="4666"/>
                  <a:pt x="1" y="5421"/>
                  <a:pt x="1" y="6339"/>
                </a:cubicBezTo>
                <a:lnTo>
                  <a:pt x="4" y="8604"/>
                </a:lnTo>
                <a:cubicBezTo>
                  <a:pt x="4" y="8918"/>
                  <a:pt x="255" y="9171"/>
                  <a:pt x="569" y="9171"/>
                </a:cubicBezTo>
                <a:lnTo>
                  <a:pt x="1136" y="9171"/>
                </a:lnTo>
                <a:lnTo>
                  <a:pt x="1136" y="17626"/>
                </a:lnTo>
                <a:cubicBezTo>
                  <a:pt x="1136" y="18562"/>
                  <a:pt x="1894" y="19323"/>
                  <a:pt x="2833" y="19323"/>
                </a:cubicBezTo>
                <a:lnTo>
                  <a:pt x="14156" y="19323"/>
                </a:lnTo>
                <a:cubicBezTo>
                  <a:pt x="15095" y="19323"/>
                  <a:pt x="15853" y="18562"/>
                  <a:pt x="15856" y="17626"/>
                </a:cubicBezTo>
                <a:lnTo>
                  <a:pt x="15856" y="9171"/>
                </a:lnTo>
                <a:lnTo>
                  <a:pt x="16421" y="9171"/>
                </a:lnTo>
                <a:cubicBezTo>
                  <a:pt x="16735" y="9171"/>
                  <a:pt x="16988" y="8918"/>
                  <a:pt x="16988" y="8604"/>
                </a:cubicBezTo>
                <a:lnTo>
                  <a:pt x="16988" y="6339"/>
                </a:lnTo>
                <a:cubicBezTo>
                  <a:pt x="16988" y="5418"/>
                  <a:pt x="16255" y="4666"/>
                  <a:pt x="15337" y="4642"/>
                </a:cubicBezTo>
                <a:cubicBezTo>
                  <a:pt x="15762" y="4050"/>
                  <a:pt x="15938" y="3314"/>
                  <a:pt x="15817" y="2595"/>
                </a:cubicBezTo>
                <a:cubicBezTo>
                  <a:pt x="15636" y="1508"/>
                  <a:pt x="14893" y="599"/>
                  <a:pt x="13866" y="207"/>
                </a:cubicBezTo>
                <a:cubicBezTo>
                  <a:pt x="13506" y="68"/>
                  <a:pt x="13129" y="0"/>
                  <a:pt x="12755" y="0"/>
                </a:cubicBezTo>
                <a:cubicBezTo>
                  <a:pt x="12061" y="0"/>
                  <a:pt x="11376" y="233"/>
                  <a:pt x="10817" y="681"/>
                </a:cubicBezTo>
                <a:lnTo>
                  <a:pt x="9742" y="1535"/>
                </a:lnTo>
                <a:cubicBezTo>
                  <a:pt x="9348" y="1340"/>
                  <a:pt x="8920" y="1243"/>
                  <a:pt x="8494" y="1243"/>
                </a:cubicBezTo>
                <a:cubicBezTo>
                  <a:pt x="8067" y="1243"/>
                  <a:pt x="7640" y="1340"/>
                  <a:pt x="7248" y="1535"/>
                </a:cubicBezTo>
                <a:lnTo>
                  <a:pt x="6173" y="681"/>
                </a:lnTo>
                <a:cubicBezTo>
                  <a:pt x="5614" y="233"/>
                  <a:pt x="4928" y="0"/>
                  <a:pt x="4235"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435D74"/>
              </a:solidFill>
              <a:latin typeface="Arial"/>
              <a:cs typeface="Arial"/>
              <a:sym typeface="Arial"/>
            </a:endParaRPr>
          </a:p>
        </p:txBody>
      </p:sp>
      <p:grpSp>
        <p:nvGrpSpPr>
          <p:cNvPr id="9552" name="Google Shape;9552;p109"/>
          <p:cNvGrpSpPr/>
          <p:nvPr/>
        </p:nvGrpSpPr>
        <p:grpSpPr>
          <a:xfrm>
            <a:off x="9013919" y="4726810"/>
            <a:ext cx="368315" cy="453535"/>
            <a:chOff x="3316000" y="4399325"/>
            <a:chExt cx="392325" cy="483100"/>
          </a:xfrm>
        </p:grpSpPr>
        <p:sp>
          <p:nvSpPr>
            <p:cNvPr id="9553" name="Google Shape;9553;p109"/>
            <p:cNvSpPr/>
            <p:nvPr/>
          </p:nvSpPr>
          <p:spPr>
            <a:xfrm>
              <a:off x="3316000" y="4399325"/>
              <a:ext cx="392325" cy="483100"/>
            </a:xfrm>
            <a:custGeom>
              <a:avLst/>
              <a:gdLst/>
              <a:ahLst/>
              <a:cxnLst/>
              <a:rect l="l" t="t" r="r" b="b"/>
              <a:pathLst>
                <a:path w="15693" h="19324" extrusionOk="0">
                  <a:moveTo>
                    <a:pt x="7824" y="1132"/>
                  </a:moveTo>
                  <a:cubicBezTo>
                    <a:pt x="8714" y="1132"/>
                    <a:pt x="9554" y="1551"/>
                    <a:pt x="10088" y="2264"/>
                  </a:cubicBezTo>
                  <a:cubicBezTo>
                    <a:pt x="9551" y="2977"/>
                    <a:pt x="8711" y="3393"/>
                    <a:pt x="7824" y="3396"/>
                  </a:cubicBezTo>
                  <a:lnTo>
                    <a:pt x="5049" y="3396"/>
                  </a:lnTo>
                  <a:cubicBezTo>
                    <a:pt x="5321" y="2080"/>
                    <a:pt x="6477" y="1135"/>
                    <a:pt x="7824" y="1132"/>
                  </a:cubicBezTo>
                  <a:close/>
                  <a:moveTo>
                    <a:pt x="10595" y="3393"/>
                  </a:moveTo>
                  <a:cubicBezTo>
                    <a:pt x="10635" y="3580"/>
                    <a:pt x="10653" y="3771"/>
                    <a:pt x="10653" y="3964"/>
                  </a:cubicBezTo>
                  <a:lnTo>
                    <a:pt x="10653" y="6304"/>
                  </a:lnTo>
                  <a:cubicBezTo>
                    <a:pt x="10653" y="7865"/>
                    <a:pt x="9385" y="9133"/>
                    <a:pt x="7824" y="9133"/>
                  </a:cubicBezTo>
                  <a:cubicBezTo>
                    <a:pt x="6260" y="9133"/>
                    <a:pt x="4991" y="7865"/>
                    <a:pt x="4991" y="6304"/>
                  </a:cubicBezTo>
                  <a:lnTo>
                    <a:pt x="4991" y="4529"/>
                  </a:lnTo>
                  <a:lnTo>
                    <a:pt x="7824" y="4529"/>
                  </a:lnTo>
                  <a:cubicBezTo>
                    <a:pt x="8859" y="4525"/>
                    <a:pt x="9856" y="4121"/>
                    <a:pt x="10595" y="3393"/>
                  </a:cubicBezTo>
                  <a:close/>
                  <a:moveTo>
                    <a:pt x="6465" y="10027"/>
                  </a:moveTo>
                  <a:cubicBezTo>
                    <a:pt x="6903" y="10187"/>
                    <a:pt x="7362" y="10267"/>
                    <a:pt x="7823" y="10267"/>
                  </a:cubicBezTo>
                  <a:cubicBezTo>
                    <a:pt x="8283" y="10267"/>
                    <a:pt x="8743" y="10187"/>
                    <a:pt x="9182" y="10027"/>
                  </a:cubicBezTo>
                  <a:lnTo>
                    <a:pt x="9182" y="10027"/>
                  </a:lnTo>
                  <a:lnTo>
                    <a:pt x="7824" y="12071"/>
                  </a:lnTo>
                  <a:lnTo>
                    <a:pt x="6465" y="10027"/>
                  </a:lnTo>
                  <a:close/>
                  <a:moveTo>
                    <a:pt x="10152" y="10610"/>
                  </a:moveTo>
                  <a:lnTo>
                    <a:pt x="11051" y="11476"/>
                  </a:lnTo>
                  <a:lnTo>
                    <a:pt x="9433" y="13904"/>
                  </a:lnTo>
                  <a:lnTo>
                    <a:pt x="8551" y="13022"/>
                  </a:lnTo>
                  <a:lnTo>
                    <a:pt x="10152" y="10610"/>
                  </a:lnTo>
                  <a:close/>
                  <a:moveTo>
                    <a:pt x="5493" y="10610"/>
                  </a:moveTo>
                  <a:lnTo>
                    <a:pt x="7096" y="13022"/>
                  </a:lnTo>
                  <a:lnTo>
                    <a:pt x="6211" y="13907"/>
                  </a:lnTo>
                  <a:lnTo>
                    <a:pt x="4593" y="11476"/>
                  </a:lnTo>
                  <a:lnTo>
                    <a:pt x="5493" y="10610"/>
                  </a:lnTo>
                  <a:close/>
                  <a:moveTo>
                    <a:pt x="3630" y="12074"/>
                  </a:moveTo>
                  <a:lnTo>
                    <a:pt x="5653" y="15109"/>
                  </a:lnTo>
                  <a:cubicBezTo>
                    <a:pt x="5746" y="15251"/>
                    <a:pt x="5900" y="15341"/>
                    <a:pt x="6069" y="15356"/>
                  </a:cubicBezTo>
                  <a:cubicBezTo>
                    <a:pt x="6087" y="15359"/>
                    <a:pt x="6106" y="15359"/>
                    <a:pt x="6124" y="15359"/>
                  </a:cubicBezTo>
                  <a:cubicBezTo>
                    <a:pt x="6275" y="15359"/>
                    <a:pt x="6417" y="15302"/>
                    <a:pt x="6525" y="15193"/>
                  </a:cubicBezTo>
                  <a:lnTo>
                    <a:pt x="7256" y="14463"/>
                  </a:lnTo>
                  <a:lnTo>
                    <a:pt x="7256" y="18192"/>
                  </a:lnTo>
                  <a:lnTo>
                    <a:pt x="2247" y="18192"/>
                  </a:lnTo>
                  <a:lnTo>
                    <a:pt x="1332" y="13502"/>
                  </a:lnTo>
                  <a:cubicBezTo>
                    <a:pt x="1329" y="13493"/>
                    <a:pt x="1326" y="13484"/>
                    <a:pt x="1326" y="13475"/>
                  </a:cubicBezTo>
                  <a:cubicBezTo>
                    <a:pt x="1235" y="13110"/>
                    <a:pt x="1438" y="12735"/>
                    <a:pt x="1791" y="12612"/>
                  </a:cubicBezTo>
                  <a:lnTo>
                    <a:pt x="3630" y="12074"/>
                  </a:lnTo>
                  <a:close/>
                  <a:moveTo>
                    <a:pt x="12015" y="12074"/>
                  </a:moveTo>
                  <a:lnTo>
                    <a:pt x="13899" y="12612"/>
                  </a:lnTo>
                  <a:cubicBezTo>
                    <a:pt x="14252" y="12735"/>
                    <a:pt x="14454" y="13110"/>
                    <a:pt x="14367" y="13475"/>
                  </a:cubicBezTo>
                  <a:cubicBezTo>
                    <a:pt x="14364" y="13481"/>
                    <a:pt x="14361" y="13490"/>
                    <a:pt x="14361" y="13496"/>
                  </a:cubicBezTo>
                  <a:lnTo>
                    <a:pt x="13395" y="18192"/>
                  </a:lnTo>
                  <a:lnTo>
                    <a:pt x="8388" y="18192"/>
                  </a:lnTo>
                  <a:lnTo>
                    <a:pt x="8388" y="14463"/>
                  </a:lnTo>
                  <a:lnTo>
                    <a:pt x="9119" y="15196"/>
                  </a:lnTo>
                  <a:cubicBezTo>
                    <a:pt x="9228" y="15302"/>
                    <a:pt x="9370" y="15362"/>
                    <a:pt x="9521" y="15362"/>
                  </a:cubicBezTo>
                  <a:cubicBezTo>
                    <a:pt x="9539" y="15362"/>
                    <a:pt x="9557" y="15359"/>
                    <a:pt x="9578" y="15359"/>
                  </a:cubicBezTo>
                  <a:cubicBezTo>
                    <a:pt x="9744" y="15341"/>
                    <a:pt x="9898" y="15251"/>
                    <a:pt x="9992" y="15109"/>
                  </a:cubicBezTo>
                  <a:lnTo>
                    <a:pt x="12015" y="12074"/>
                  </a:lnTo>
                  <a:close/>
                  <a:moveTo>
                    <a:pt x="7823" y="1"/>
                  </a:moveTo>
                  <a:cubicBezTo>
                    <a:pt x="7476" y="1"/>
                    <a:pt x="7126" y="46"/>
                    <a:pt x="6779" y="141"/>
                  </a:cubicBezTo>
                  <a:cubicBezTo>
                    <a:pt x="5055" y="612"/>
                    <a:pt x="3859" y="2176"/>
                    <a:pt x="3859" y="3964"/>
                  </a:cubicBezTo>
                  <a:lnTo>
                    <a:pt x="3859" y="6304"/>
                  </a:lnTo>
                  <a:cubicBezTo>
                    <a:pt x="3859" y="7355"/>
                    <a:pt x="4279" y="8363"/>
                    <a:pt x="5022" y="9106"/>
                  </a:cubicBezTo>
                  <a:lnTo>
                    <a:pt x="5022" y="9489"/>
                  </a:lnTo>
                  <a:lnTo>
                    <a:pt x="3539" y="10921"/>
                  </a:lnTo>
                  <a:lnTo>
                    <a:pt x="1462" y="11528"/>
                  </a:lnTo>
                  <a:lnTo>
                    <a:pt x="1444" y="11534"/>
                  </a:lnTo>
                  <a:cubicBezTo>
                    <a:pt x="529" y="11842"/>
                    <a:pt x="0" y="12796"/>
                    <a:pt x="221" y="13735"/>
                  </a:cubicBezTo>
                  <a:lnTo>
                    <a:pt x="1223" y="18868"/>
                  </a:lnTo>
                  <a:cubicBezTo>
                    <a:pt x="1274" y="19131"/>
                    <a:pt x="1507" y="19324"/>
                    <a:pt x="1779" y="19324"/>
                  </a:cubicBezTo>
                  <a:cubicBezTo>
                    <a:pt x="1794" y="19324"/>
                    <a:pt x="1809" y="19324"/>
                    <a:pt x="1824" y="19321"/>
                  </a:cubicBezTo>
                  <a:cubicBezTo>
                    <a:pt x="1839" y="19321"/>
                    <a:pt x="1854" y="19324"/>
                    <a:pt x="1869" y="19324"/>
                  </a:cubicBezTo>
                  <a:lnTo>
                    <a:pt x="13856" y="19324"/>
                  </a:lnTo>
                  <a:cubicBezTo>
                    <a:pt x="14125" y="19324"/>
                    <a:pt x="14358" y="19134"/>
                    <a:pt x="14412" y="18871"/>
                  </a:cubicBezTo>
                  <a:lnTo>
                    <a:pt x="15469" y="13735"/>
                  </a:lnTo>
                  <a:cubicBezTo>
                    <a:pt x="15692" y="12796"/>
                    <a:pt x="15164" y="11842"/>
                    <a:pt x="14249" y="11534"/>
                  </a:cubicBezTo>
                  <a:lnTo>
                    <a:pt x="14225" y="11525"/>
                  </a:lnTo>
                  <a:lnTo>
                    <a:pt x="12108" y="10921"/>
                  </a:lnTo>
                  <a:lnTo>
                    <a:pt x="10623" y="9489"/>
                  </a:lnTo>
                  <a:lnTo>
                    <a:pt x="10623" y="9103"/>
                  </a:lnTo>
                  <a:cubicBezTo>
                    <a:pt x="11368" y="8363"/>
                    <a:pt x="11785" y="7355"/>
                    <a:pt x="11785" y="6304"/>
                  </a:cubicBezTo>
                  <a:lnTo>
                    <a:pt x="11785" y="3964"/>
                  </a:lnTo>
                  <a:cubicBezTo>
                    <a:pt x="11785" y="3281"/>
                    <a:pt x="11610" y="2611"/>
                    <a:pt x="11275" y="2019"/>
                  </a:cubicBezTo>
                  <a:cubicBezTo>
                    <a:pt x="11263" y="1995"/>
                    <a:pt x="11251" y="1971"/>
                    <a:pt x="11233" y="1950"/>
                  </a:cubicBezTo>
                  <a:cubicBezTo>
                    <a:pt x="10507" y="720"/>
                    <a:pt x="9197" y="1"/>
                    <a:pt x="7823"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435D74"/>
                </a:solidFill>
                <a:latin typeface="Arial"/>
                <a:cs typeface="Arial"/>
                <a:sym typeface="Arial"/>
              </a:endParaRPr>
            </a:p>
          </p:txBody>
        </p:sp>
        <p:sp>
          <p:nvSpPr>
            <p:cNvPr id="9554" name="Google Shape;9554;p109"/>
            <p:cNvSpPr/>
            <p:nvPr/>
          </p:nvSpPr>
          <p:spPr>
            <a:xfrm>
              <a:off x="3582300" y="4797475"/>
              <a:ext cx="56650" cy="28350"/>
            </a:xfrm>
            <a:custGeom>
              <a:avLst/>
              <a:gdLst/>
              <a:ahLst/>
              <a:cxnLst/>
              <a:rect l="l" t="t" r="r" b="b"/>
              <a:pathLst>
                <a:path w="2266" h="1134" extrusionOk="0">
                  <a:moveTo>
                    <a:pt x="569" y="1"/>
                  </a:moveTo>
                  <a:cubicBezTo>
                    <a:pt x="254" y="1"/>
                    <a:pt x="1" y="255"/>
                    <a:pt x="1" y="569"/>
                  </a:cubicBezTo>
                  <a:cubicBezTo>
                    <a:pt x="1" y="880"/>
                    <a:pt x="254" y="1133"/>
                    <a:pt x="569" y="1133"/>
                  </a:cubicBezTo>
                  <a:lnTo>
                    <a:pt x="1701" y="1133"/>
                  </a:lnTo>
                  <a:cubicBezTo>
                    <a:pt x="2012" y="1133"/>
                    <a:pt x="2265" y="880"/>
                    <a:pt x="2265" y="569"/>
                  </a:cubicBezTo>
                  <a:cubicBezTo>
                    <a:pt x="2265" y="255"/>
                    <a:pt x="2012" y="1"/>
                    <a:pt x="1701"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435D74"/>
                </a:solidFill>
                <a:latin typeface="Arial"/>
                <a:cs typeface="Arial"/>
                <a:sym typeface="Arial"/>
              </a:endParaRPr>
            </a:p>
          </p:txBody>
        </p:sp>
      </p:grpSp>
      <p:grpSp>
        <p:nvGrpSpPr>
          <p:cNvPr id="9555" name="Google Shape;9555;p109"/>
          <p:cNvGrpSpPr/>
          <p:nvPr/>
        </p:nvGrpSpPr>
        <p:grpSpPr>
          <a:xfrm>
            <a:off x="9580239" y="4726786"/>
            <a:ext cx="338696" cy="453581"/>
            <a:chOff x="3926225" y="4399275"/>
            <a:chExt cx="360775" cy="483150"/>
          </a:xfrm>
        </p:grpSpPr>
        <p:sp>
          <p:nvSpPr>
            <p:cNvPr id="9556" name="Google Shape;9556;p109"/>
            <p:cNvSpPr/>
            <p:nvPr/>
          </p:nvSpPr>
          <p:spPr>
            <a:xfrm>
              <a:off x="4163400" y="4797475"/>
              <a:ext cx="56650" cy="28350"/>
            </a:xfrm>
            <a:custGeom>
              <a:avLst/>
              <a:gdLst/>
              <a:ahLst/>
              <a:cxnLst/>
              <a:rect l="l" t="t" r="r" b="b"/>
              <a:pathLst>
                <a:path w="2266" h="1134" extrusionOk="0">
                  <a:moveTo>
                    <a:pt x="568" y="1"/>
                  </a:moveTo>
                  <a:cubicBezTo>
                    <a:pt x="254" y="1"/>
                    <a:pt x="1" y="255"/>
                    <a:pt x="1" y="569"/>
                  </a:cubicBezTo>
                  <a:cubicBezTo>
                    <a:pt x="1" y="880"/>
                    <a:pt x="254" y="1133"/>
                    <a:pt x="568" y="1133"/>
                  </a:cubicBezTo>
                  <a:lnTo>
                    <a:pt x="1701" y="1133"/>
                  </a:lnTo>
                  <a:cubicBezTo>
                    <a:pt x="2012" y="1133"/>
                    <a:pt x="2265" y="880"/>
                    <a:pt x="2265" y="569"/>
                  </a:cubicBezTo>
                  <a:cubicBezTo>
                    <a:pt x="2265" y="255"/>
                    <a:pt x="2012" y="1"/>
                    <a:pt x="1701"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435D74"/>
                </a:solidFill>
                <a:latin typeface="Arial"/>
                <a:cs typeface="Arial"/>
                <a:sym typeface="Arial"/>
              </a:endParaRPr>
            </a:p>
          </p:txBody>
        </p:sp>
        <p:sp>
          <p:nvSpPr>
            <p:cNvPr id="9557" name="Google Shape;9557;p109"/>
            <p:cNvSpPr/>
            <p:nvPr/>
          </p:nvSpPr>
          <p:spPr>
            <a:xfrm>
              <a:off x="3926225" y="4399275"/>
              <a:ext cx="360775" cy="483150"/>
            </a:xfrm>
            <a:custGeom>
              <a:avLst/>
              <a:gdLst/>
              <a:ahLst/>
              <a:cxnLst/>
              <a:rect l="l" t="t" r="r" b="b"/>
              <a:pathLst>
                <a:path w="14431" h="19326" extrusionOk="0">
                  <a:moveTo>
                    <a:pt x="10055" y="1134"/>
                  </a:moveTo>
                  <a:cubicBezTo>
                    <a:pt x="10547" y="1134"/>
                    <a:pt x="10985" y="1457"/>
                    <a:pt x="11133" y="1928"/>
                  </a:cubicBezTo>
                  <a:cubicBezTo>
                    <a:pt x="11281" y="2399"/>
                    <a:pt x="11106" y="2912"/>
                    <a:pt x="10698" y="3196"/>
                  </a:cubicBezTo>
                  <a:cubicBezTo>
                    <a:pt x="10692" y="3181"/>
                    <a:pt x="10683" y="3169"/>
                    <a:pt x="10677" y="3154"/>
                  </a:cubicBezTo>
                  <a:cubicBezTo>
                    <a:pt x="10665" y="3129"/>
                    <a:pt x="10650" y="3105"/>
                    <a:pt x="10635" y="3081"/>
                  </a:cubicBezTo>
                  <a:cubicBezTo>
                    <a:pt x="10270" y="2468"/>
                    <a:pt x="9750" y="1964"/>
                    <a:pt x="9125" y="1620"/>
                  </a:cubicBezTo>
                  <a:cubicBezTo>
                    <a:pt x="9337" y="1318"/>
                    <a:pt x="9684" y="1134"/>
                    <a:pt x="10055" y="1134"/>
                  </a:cubicBezTo>
                  <a:close/>
                  <a:moveTo>
                    <a:pt x="7223" y="2266"/>
                  </a:moveTo>
                  <a:cubicBezTo>
                    <a:pt x="8114" y="2266"/>
                    <a:pt x="8953" y="2686"/>
                    <a:pt x="9488" y="3398"/>
                  </a:cubicBezTo>
                  <a:cubicBezTo>
                    <a:pt x="8953" y="4111"/>
                    <a:pt x="8114" y="4527"/>
                    <a:pt x="7223" y="4531"/>
                  </a:cubicBezTo>
                  <a:lnTo>
                    <a:pt x="4448" y="4531"/>
                  </a:lnTo>
                  <a:cubicBezTo>
                    <a:pt x="4720" y="3214"/>
                    <a:pt x="5879" y="2269"/>
                    <a:pt x="7223" y="2266"/>
                  </a:cubicBezTo>
                  <a:close/>
                  <a:moveTo>
                    <a:pt x="9998" y="4527"/>
                  </a:moveTo>
                  <a:cubicBezTo>
                    <a:pt x="10034" y="4715"/>
                    <a:pt x="10055" y="4905"/>
                    <a:pt x="10055" y="5098"/>
                  </a:cubicBezTo>
                  <a:lnTo>
                    <a:pt x="10055" y="7363"/>
                  </a:lnTo>
                  <a:cubicBezTo>
                    <a:pt x="10055" y="8924"/>
                    <a:pt x="8787" y="10192"/>
                    <a:pt x="7223" y="10192"/>
                  </a:cubicBezTo>
                  <a:cubicBezTo>
                    <a:pt x="5659" y="10192"/>
                    <a:pt x="4394" y="8924"/>
                    <a:pt x="4394" y="7363"/>
                  </a:cubicBezTo>
                  <a:lnTo>
                    <a:pt x="4394" y="5663"/>
                  </a:lnTo>
                  <a:lnTo>
                    <a:pt x="7223" y="5663"/>
                  </a:lnTo>
                  <a:cubicBezTo>
                    <a:pt x="8262" y="5660"/>
                    <a:pt x="9255" y="5255"/>
                    <a:pt x="9998" y="4527"/>
                  </a:cubicBezTo>
                  <a:close/>
                  <a:moveTo>
                    <a:pt x="5526" y="10941"/>
                  </a:moveTo>
                  <a:cubicBezTo>
                    <a:pt x="6063" y="11196"/>
                    <a:pt x="6643" y="11324"/>
                    <a:pt x="7224" y="11324"/>
                  </a:cubicBezTo>
                  <a:cubicBezTo>
                    <a:pt x="7777" y="11324"/>
                    <a:pt x="8331" y="11208"/>
                    <a:pt x="8847" y="10977"/>
                  </a:cubicBezTo>
                  <a:lnTo>
                    <a:pt x="8847" y="11967"/>
                  </a:lnTo>
                  <a:cubicBezTo>
                    <a:pt x="8847" y="12227"/>
                    <a:pt x="9026" y="12454"/>
                    <a:pt x="9279" y="12517"/>
                  </a:cubicBezTo>
                  <a:lnTo>
                    <a:pt x="9466" y="12562"/>
                  </a:lnTo>
                  <a:cubicBezTo>
                    <a:pt x="8899" y="13298"/>
                    <a:pt x="8061" y="13665"/>
                    <a:pt x="7223" y="13665"/>
                  </a:cubicBezTo>
                  <a:cubicBezTo>
                    <a:pt x="6379" y="13665"/>
                    <a:pt x="5536" y="13293"/>
                    <a:pt x="4970" y="12547"/>
                  </a:cubicBezTo>
                  <a:lnTo>
                    <a:pt x="5097" y="12514"/>
                  </a:lnTo>
                  <a:cubicBezTo>
                    <a:pt x="5348" y="12454"/>
                    <a:pt x="5526" y="12227"/>
                    <a:pt x="5526" y="11964"/>
                  </a:cubicBezTo>
                  <a:lnTo>
                    <a:pt x="5526" y="10941"/>
                  </a:lnTo>
                  <a:close/>
                  <a:moveTo>
                    <a:pt x="3805" y="12837"/>
                  </a:moveTo>
                  <a:cubicBezTo>
                    <a:pt x="4515" y="14051"/>
                    <a:pt x="5813" y="14794"/>
                    <a:pt x="7217" y="14797"/>
                  </a:cubicBezTo>
                  <a:cubicBezTo>
                    <a:pt x="7220" y="14797"/>
                    <a:pt x="7223" y="14797"/>
                    <a:pt x="7225" y="14797"/>
                  </a:cubicBezTo>
                  <a:cubicBezTo>
                    <a:pt x="8626" y="14797"/>
                    <a:pt x="9924" y="14054"/>
                    <a:pt x="10635" y="12849"/>
                  </a:cubicBezTo>
                  <a:lnTo>
                    <a:pt x="11767" y="13124"/>
                  </a:lnTo>
                  <a:cubicBezTo>
                    <a:pt x="12649" y="13344"/>
                    <a:pt x="13201" y="14217"/>
                    <a:pt x="13020" y="15105"/>
                  </a:cubicBezTo>
                  <a:lnTo>
                    <a:pt x="12404" y="18194"/>
                  </a:lnTo>
                  <a:lnTo>
                    <a:pt x="2027" y="18194"/>
                  </a:lnTo>
                  <a:lnTo>
                    <a:pt x="1408" y="15105"/>
                  </a:lnTo>
                  <a:cubicBezTo>
                    <a:pt x="1229" y="14214"/>
                    <a:pt x="1782" y="13341"/>
                    <a:pt x="2661" y="13124"/>
                  </a:cubicBezTo>
                  <a:lnTo>
                    <a:pt x="3805" y="12837"/>
                  </a:lnTo>
                  <a:close/>
                  <a:moveTo>
                    <a:pt x="10061" y="0"/>
                  </a:moveTo>
                  <a:cubicBezTo>
                    <a:pt x="9256" y="0"/>
                    <a:pt x="8461" y="426"/>
                    <a:pt x="8047" y="1221"/>
                  </a:cubicBezTo>
                  <a:cubicBezTo>
                    <a:pt x="7767" y="1162"/>
                    <a:pt x="7489" y="1134"/>
                    <a:pt x="7216" y="1134"/>
                  </a:cubicBezTo>
                  <a:cubicBezTo>
                    <a:pt x="5084" y="1134"/>
                    <a:pt x="3261" y="2863"/>
                    <a:pt x="3261" y="5098"/>
                  </a:cubicBezTo>
                  <a:lnTo>
                    <a:pt x="3261" y="7363"/>
                  </a:lnTo>
                  <a:cubicBezTo>
                    <a:pt x="3258" y="8398"/>
                    <a:pt x="3666" y="9392"/>
                    <a:pt x="4394" y="10132"/>
                  </a:cubicBezTo>
                  <a:lnTo>
                    <a:pt x="4394" y="11524"/>
                  </a:lnTo>
                  <a:lnTo>
                    <a:pt x="2386" y="12025"/>
                  </a:lnTo>
                  <a:cubicBezTo>
                    <a:pt x="921" y="12390"/>
                    <a:pt x="0" y="13846"/>
                    <a:pt x="299" y="15328"/>
                  </a:cubicBezTo>
                  <a:lnTo>
                    <a:pt x="1006" y="18870"/>
                  </a:lnTo>
                  <a:cubicBezTo>
                    <a:pt x="1060" y="19136"/>
                    <a:pt x="1293" y="19326"/>
                    <a:pt x="1562" y="19326"/>
                  </a:cubicBezTo>
                  <a:lnTo>
                    <a:pt x="12866" y="19326"/>
                  </a:lnTo>
                  <a:cubicBezTo>
                    <a:pt x="13138" y="19326"/>
                    <a:pt x="13371" y="19136"/>
                    <a:pt x="13422" y="18870"/>
                  </a:cubicBezTo>
                  <a:lnTo>
                    <a:pt x="14131" y="15328"/>
                  </a:lnTo>
                  <a:cubicBezTo>
                    <a:pt x="14430" y="13842"/>
                    <a:pt x="13506" y="12387"/>
                    <a:pt x="12039" y="12025"/>
                  </a:cubicBezTo>
                  <a:lnTo>
                    <a:pt x="10569" y="11665"/>
                  </a:lnTo>
                  <a:lnTo>
                    <a:pt x="10565" y="11665"/>
                  </a:lnTo>
                  <a:cubicBezTo>
                    <a:pt x="10505" y="11638"/>
                    <a:pt x="10445" y="11626"/>
                    <a:pt x="10378" y="11620"/>
                  </a:cubicBezTo>
                  <a:lnTo>
                    <a:pt x="9980" y="11524"/>
                  </a:lnTo>
                  <a:lnTo>
                    <a:pt x="9980" y="10207"/>
                  </a:lnTo>
                  <a:cubicBezTo>
                    <a:pt x="10750" y="9461"/>
                    <a:pt x="11188" y="8435"/>
                    <a:pt x="11188" y="7363"/>
                  </a:cubicBezTo>
                  <a:lnTo>
                    <a:pt x="11188" y="5098"/>
                  </a:lnTo>
                  <a:cubicBezTo>
                    <a:pt x="11188" y="4820"/>
                    <a:pt x="11157" y="4546"/>
                    <a:pt x="11100" y="4274"/>
                  </a:cubicBezTo>
                  <a:cubicBezTo>
                    <a:pt x="12459" y="3567"/>
                    <a:pt x="12739" y="1747"/>
                    <a:pt x="11659" y="663"/>
                  </a:cubicBezTo>
                  <a:cubicBezTo>
                    <a:pt x="11209" y="214"/>
                    <a:pt x="10632" y="0"/>
                    <a:pt x="10061"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435D74"/>
                </a:solidFill>
                <a:latin typeface="Arial"/>
                <a:cs typeface="Arial"/>
                <a:sym typeface="Arial"/>
              </a:endParaRPr>
            </a:p>
          </p:txBody>
        </p:sp>
      </p:grpSp>
      <p:sp>
        <p:nvSpPr>
          <p:cNvPr id="9558" name="Google Shape;9558;p109"/>
          <p:cNvSpPr/>
          <p:nvPr/>
        </p:nvSpPr>
        <p:spPr>
          <a:xfrm>
            <a:off x="10194178" y="4726104"/>
            <a:ext cx="239183" cy="453488"/>
          </a:xfrm>
          <a:custGeom>
            <a:avLst/>
            <a:gdLst/>
            <a:ahLst/>
            <a:cxnLst/>
            <a:rect l="l" t="t" r="r" b="b"/>
            <a:pathLst>
              <a:path w="10191" h="19322" extrusionOk="0">
                <a:moveTo>
                  <a:pt x="5102" y="1126"/>
                </a:moveTo>
                <a:cubicBezTo>
                  <a:pt x="5353" y="1126"/>
                  <a:pt x="5610" y="1220"/>
                  <a:pt x="5819" y="1429"/>
                </a:cubicBezTo>
                <a:cubicBezTo>
                  <a:pt x="6115" y="1724"/>
                  <a:pt x="6202" y="2165"/>
                  <a:pt x="6042" y="2549"/>
                </a:cubicBezTo>
                <a:cubicBezTo>
                  <a:pt x="5882" y="2932"/>
                  <a:pt x="5508" y="3180"/>
                  <a:pt x="5094" y="3180"/>
                </a:cubicBezTo>
                <a:cubicBezTo>
                  <a:pt x="4526" y="3180"/>
                  <a:pt x="4070" y="2721"/>
                  <a:pt x="4067" y="2156"/>
                </a:cubicBezTo>
                <a:cubicBezTo>
                  <a:pt x="4067" y="1537"/>
                  <a:pt x="4574" y="1126"/>
                  <a:pt x="5102" y="1126"/>
                </a:cubicBezTo>
                <a:close/>
                <a:moveTo>
                  <a:pt x="7513" y="5432"/>
                </a:moveTo>
                <a:cubicBezTo>
                  <a:pt x="8364" y="5432"/>
                  <a:pt x="9059" y="6214"/>
                  <a:pt x="9059" y="7175"/>
                </a:cubicBezTo>
                <a:lnTo>
                  <a:pt x="9059" y="10433"/>
                </a:lnTo>
                <a:cubicBezTo>
                  <a:pt x="9059" y="10747"/>
                  <a:pt x="8805" y="11000"/>
                  <a:pt x="8491" y="11000"/>
                </a:cubicBezTo>
                <a:cubicBezTo>
                  <a:pt x="8177" y="11000"/>
                  <a:pt x="7926" y="10747"/>
                  <a:pt x="7926" y="10433"/>
                </a:cubicBezTo>
                <a:lnTo>
                  <a:pt x="7926" y="7395"/>
                </a:lnTo>
                <a:cubicBezTo>
                  <a:pt x="7926" y="7081"/>
                  <a:pt x="7673" y="6830"/>
                  <a:pt x="7359" y="6830"/>
                </a:cubicBezTo>
                <a:cubicBezTo>
                  <a:pt x="7045" y="6830"/>
                  <a:pt x="6794" y="7081"/>
                  <a:pt x="6794" y="7395"/>
                </a:cubicBezTo>
                <a:lnTo>
                  <a:pt x="6794" y="17625"/>
                </a:lnTo>
                <a:cubicBezTo>
                  <a:pt x="6794" y="17936"/>
                  <a:pt x="6540" y="18190"/>
                  <a:pt x="6226" y="18190"/>
                </a:cubicBezTo>
                <a:cubicBezTo>
                  <a:pt x="5912" y="18190"/>
                  <a:pt x="5662" y="17936"/>
                  <a:pt x="5662" y="17625"/>
                </a:cubicBezTo>
                <a:lnTo>
                  <a:pt x="5662" y="11867"/>
                </a:lnTo>
                <a:cubicBezTo>
                  <a:pt x="5662" y="11556"/>
                  <a:pt x="5408" y="11302"/>
                  <a:pt x="5094" y="11302"/>
                </a:cubicBezTo>
                <a:cubicBezTo>
                  <a:pt x="4780" y="11302"/>
                  <a:pt x="4529" y="11556"/>
                  <a:pt x="4529" y="11867"/>
                </a:cubicBezTo>
                <a:lnTo>
                  <a:pt x="4529" y="17625"/>
                </a:lnTo>
                <a:cubicBezTo>
                  <a:pt x="4529" y="17936"/>
                  <a:pt x="4276" y="18190"/>
                  <a:pt x="3962" y="18190"/>
                </a:cubicBezTo>
                <a:cubicBezTo>
                  <a:pt x="3648" y="18190"/>
                  <a:pt x="3397" y="17936"/>
                  <a:pt x="3397" y="17625"/>
                </a:cubicBezTo>
                <a:lnTo>
                  <a:pt x="3397" y="7395"/>
                </a:lnTo>
                <a:cubicBezTo>
                  <a:pt x="3397" y="7081"/>
                  <a:pt x="3143" y="6830"/>
                  <a:pt x="2829" y="6830"/>
                </a:cubicBezTo>
                <a:cubicBezTo>
                  <a:pt x="2515" y="6830"/>
                  <a:pt x="2265" y="7081"/>
                  <a:pt x="2265" y="7395"/>
                </a:cubicBezTo>
                <a:lnTo>
                  <a:pt x="2265" y="10433"/>
                </a:lnTo>
                <a:cubicBezTo>
                  <a:pt x="2265" y="10747"/>
                  <a:pt x="2011" y="11000"/>
                  <a:pt x="1697" y="11000"/>
                </a:cubicBezTo>
                <a:cubicBezTo>
                  <a:pt x="1383" y="11000"/>
                  <a:pt x="1133" y="10747"/>
                  <a:pt x="1133" y="10433"/>
                </a:cubicBezTo>
                <a:lnTo>
                  <a:pt x="1133" y="7175"/>
                </a:lnTo>
                <a:cubicBezTo>
                  <a:pt x="1133" y="6214"/>
                  <a:pt x="1824" y="5432"/>
                  <a:pt x="2675" y="5432"/>
                </a:cubicBezTo>
                <a:close/>
                <a:moveTo>
                  <a:pt x="5094" y="0"/>
                </a:moveTo>
                <a:cubicBezTo>
                  <a:pt x="3950" y="0"/>
                  <a:pt x="3002" y="894"/>
                  <a:pt x="2938" y="2038"/>
                </a:cubicBezTo>
                <a:cubicBezTo>
                  <a:pt x="2878" y="3180"/>
                  <a:pt x="3720" y="4173"/>
                  <a:pt x="4859" y="4300"/>
                </a:cubicBezTo>
                <a:lnTo>
                  <a:pt x="2675" y="4300"/>
                </a:lnTo>
                <a:cubicBezTo>
                  <a:pt x="1199" y="4300"/>
                  <a:pt x="0" y="5589"/>
                  <a:pt x="0" y="7175"/>
                </a:cubicBezTo>
                <a:lnTo>
                  <a:pt x="0" y="10433"/>
                </a:lnTo>
                <a:cubicBezTo>
                  <a:pt x="0" y="11403"/>
                  <a:pt x="797" y="12134"/>
                  <a:pt x="1698" y="12134"/>
                </a:cubicBezTo>
                <a:cubicBezTo>
                  <a:pt x="1885" y="12134"/>
                  <a:pt x="2076" y="12103"/>
                  <a:pt x="2265" y="12036"/>
                </a:cubicBezTo>
                <a:lnTo>
                  <a:pt x="2265" y="17625"/>
                </a:lnTo>
                <a:cubicBezTo>
                  <a:pt x="2265" y="18561"/>
                  <a:pt x="3023" y="19322"/>
                  <a:pt x="3962" y="19322"/>
                </a:cubicBezTo>
                <a:cubicBezTo>
                  <a:pt x="4378" y="19322"/>
                  <a:pt x="4783" y="19168"/>
                  <a:pt x="5094" y="18887"/>
                </a:cubicBezTo>
                <a:cubicBezTo>
                  <a:pt x="5412" y="19172"/>
                  <a:pt x="5817" y="19321"/>
                  <a:pt x="6228" y="19321"/>
                </a:cubicBezTo>
                <a:cubicBezTo>
                  <a:pt x="6462" y="19321"/>
                  <a:pt x="6697" y="19272"/>
                  <a:pt x="6918" y="19174"/>
                </a:cubicBezTo>
                <a:cubicBezTo>
                  <a:pt x="7531" y="18899"/>
                  <a:pt x="7923" y="18292"/>
                  <a:pt x="7926" y="17625"/>
                </a:cubicBezTo>
                <a:lnTo>
                  <a:pt x="7926" y="12036"/>
                </a:lnTo>
                <a:cubicBezTo>
                  <a:pt x="8115" y="12103"/>
                  <a:pt x="8305" y="12134"/>
                  <a:pt x="8492" y="12134"/>
                </a:cubicBezTo>
                <a:cubicBezTo>
                  <a:pt x="9392" y="12134"/>
                  <a:pt x="10188" y="11403"/>
                  <a:pt x="10191" y="10433"/>
                </a:cubicBezTo>
                <a:lnTo>
                  <a:pt x="10191" y="7175"/>
                </a:lnTo>
                <a:cubicBezTo>
                  <a:pt x="10191" y="5589"/>
                  <a:pt x="8989" y="4300"/>
                  <a:pt x="7513" y="4300"/>
                </a:cubicBezTo>
                <a:lnTo>
                  <a:pt x="5330" y="4300"/>
                </a:lnTo>
                <a:cubicBezTo>
                  <a:pt x="6468" y="4173"/>
                  <a:pt x="7310" y="3180"/>
                  <a:pt x="7250" y="2038"/>
                </a:cubicBezTo>
                <a:cubicBezTo>
                  <a:pt x="7187" y="894"/>
                  <a:pt x="6238" y="0"/>
                  <a:pt x="5094"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435D74"/>
              </a:solidFill>
              <a:latin typeface="Arial"/>
              <a:cs typeface="Arial"/>
              <a:sym typeface="Arial"/>
            </a:endParaRPr>
          </a:p>
        </p:txBody>
      </p:sp>
      <p:grpSp>
        <p:nvGrpSpPr>
          <p:cNvPr id="9559" name="Google Shape;9559;p109"/>
          <p:cNvGrpSpPr/>
          <p:nvPr/>
        </p:nvGrpSpPr>
        <p:grpSpPr>
          <a:xfrm>
            <a:off x="10654317" y="4726869"/>
            <a:ext cx="453440" cy="453417"/>
            <a:chOff x="5053975" y="4399375"/>
            <a:chExt cx="483000" cy="482975"/>
          </a:xfrm>
        </p:grpSpPr>
        <p:sp>
          <p:nvSpPr>
            <p:cNvPr id="9560" name="Google Shape;9560;p109"/>
            <p:cNvSpPr/>
            <p:nvPr/>
          </p:nvSpPr>
          <p:spPr>
            <a:xfrm>
              <a:off x="5053975" y="4399375"/>
              <a:ext cx="483000" cy="482975"/>
            </a:xfrm>
            <a:custGeom>
              <a:avLst/>
              <a:gdLst/>
              <a:ahLst/>
              <a:cxnLst/>
              <a:rect l="l" t="t" r="r" b="b"/>
              <a:pathLst>
                <a:path w="19320" h="19319" extrusionOk="0">
                  <a:moveTo>
                    <a:pt x="9660" y="1130"/>
                  </a:moveTo>
                  <a:cubicBezTo>
                    <a:pt x="11822" y="1130"/>
                    <a:pt x="13981" y="1972"/>
                    <a:pt x="15666" y="3654"/>
                  </a:cubicBezTo>
                  <a:cubicBezTo>
                    <a:pt x="19033" y="7021"/>
                    <a:pt x="19033" y="12299"/>
                    <a:pt x="15666" y="15665"/>
                  </a:cubicBezTo>
                  <a:cubicBezTo>
                    <a:pt x="13983" y="17349"/>
                    <a:pt x="11821" y="18190"/>
                    <a:pt x="9660" y="18190"/>
                  </a:cubicBezTo>
                  <a:cubicBezTo>
                    <a:pt x="7499" y="18190"/>
                    <a:pt x="5338" y="17349"/>
                    <a:pt x="3655" y="15665"/>
                  </a:cubicBezTo>
                  <a:cubicBezTo>
                    <a:pt x="288" y="12299"/>
                    <a:pt x="288" y="7024"/>
                    <a:pt x="3655" y="3654"/>
                  </a:cubicBezTo>
                  <a:cubicBezTo>
                    <a:pt x="5339" y="1972"/>
                    <a:pt x="7498" y="1130"/>
                    <a:pt x="9660" y="1130"/>
                  </a:cubicBezTo>
                  <a:close/>
                  <a:moveTo>
                    <a:pt x="9660" y="0"/>
                  </a:moveTo>
                  <a:cubicBezTo>
                    <a:pt x="7112" y="0"/>
                    <a:pt x="4693" y="1015"/>
                    <a:pt x="2854" y="2854"/>
                  </a:cubicBezTo>
                  <a:cubicBezTo>
                    <a:pt x="1016" y="4693"/>
                    <a:pt x="1" y="7111"/>
                    <a:pt x="1" y="9660"/>
                  </a:cubicBezTo>
                  <a:cubicBezTo>
                    <a:pt x="1" y="12208"/>
                    <a:pt x="1016" y="14627"/>
                    <a:pt x="2854" y="16465"/>
                  </a:cubicBezTo>
                  <a:cubicBezTo>
                    <a:pt x="4693" y="18304"/>
                    <a:pt x="7112" y="19319"/>
                    <a:pt x="9660" y="19319"/>
                  </a:cubicBezTo>
                  <a:cubicBezTo>
                    <a:pt x="12209" y="19319"/>
                    <a:pt x="14627" y="18304"/>
                    <a:pt x="16466" y="16465"/>
                  </a:cubicBezTo>
                  <a:cubicBezTo>
                    <a:pt x="18305" y="14627"/>
                    <a:pt x="19319" y="12208"/>
                    <a:pt x="19319" y="9660"/>
                  </a:cubicBezTo>
                  <a:cubicBezTo>
                    <a:pt x="19319" y="7111"/>
                    <a:pt x="18305" y="4693"/>
                    <a:pt x="16466" y="2854"/>
                  </a:cubicBezTo>
                  <a:cubicBezTo>
                    <a:pt x="14627" y="1015"/>
                    <a:pt x="12209" y="0"/>
                    <a:pt x="9660"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435D74"/>
                </a:solidFill>
                <a:latin typeface="Arial"/>
                <a:cs typeface="Arial"/>
                <a:sym typeface="Arial"/>
              </a:endParaRPr>
            </a:p>
          </p:txBody>
        </p:sp>
        <p:sp>
          <p:nvSpPr>
            <p:cNvPr id="9561" name="Google Shape;9561;p109"/>
            <p:cNvSpPr/>
            <p:nvPr/>
          </p:nvSpPr>
          <p:spPr>
            <a:xfrm>
              <a:off x="5100725" y="4528375"/>
              <a:ext cx="309350" cy="296450"/>
            </a:xfrm>
            <a:custGeom>
              <a:avLst/>
              <a:gdLst/>
              <a:ahLst/>
              <a:cxnLst/>
              <a:rect l="l" t="t" r="r" b="b"/>
              <a:pathLst>
                <a:path w="12374" h="11858" extrusionOk="0">
                  <a:moveTo>
                    <a:pt x="2352" y="1462"/>
                  </a:moveTo>
                  <a:lnTo>
                    <a:pt x="10828" y="9938"/>
                  </a:lnTo>
                  <a:cubicBezTo>
                    <a:pt x="9875" y="10469"/>
                    <a:pt x="8830" y="10728"/>
                    <a:pt x="7793" y="10728"/>
                  </a:cubicBezTo>
                  <a:cubicBezTo>
                    <a:pt x="6180" y="10728"/>
                    <a:pt x="4586" y="10102"/>
                    <a:pt x="3388" y="8902"/>
                  </a:cubicBezTo>
                  <a:cubicBezTo>
                    <a:pt x="1416" y="6933"/>
                    <a:pt x="993" y="3896"/>
                    <a:pt x="2352" y="1462"/>
                  </a:cubicBezTo>
                  <a:close/>
                  <a:moveTo>
                    <a:pt x="2253" y="0"/>
                  </a:moveTo>
                  <a:cubicBezTo>
                    <a:pt x="2078" y="0"/>
                    <a:pt x="1904" y="81"/>
                    <a:pt x="1794" y="236"/>
                  </a:cubicBezTo>
                  <a:cubicBezTo>
                    <a:pt x="257" y="2395"/>
                    <a:pt x="0" y="5215"/>
                    <a:pt x="1120" y="7616"/>
                  </a:cubicBezTo>
                  <a:cubicBezTo>
                    <a:pt x="2243" y="10016"/>
                    <a:pt x="4568" y="11628"/>
                    <a:pt x="7210" y="11837"/>
                  </a:cubicBezTo>
                  <a:lnTo>
                    <a:pt x="7210" y="11834"/>
                  </a:lnTo>
                  <a:cubicBezTo>
                    <a:pt x="7404" y="11849"/>
                    <a:pt x="7597" y="11858"/>
                    <a:pt x="7787" y="11858"/>
                  </a:cubicBezTo>
                  <a:cubicBezTo>
                    <a:pt x="9318" y="11858"/>
                    <a:pt x="10807" y="11384"/>
                    <a:pt x="12057" y="10502"/>
                  </a:cubicBezTo>
                  <a:cubicBezTo>
                    <a:pt x="12340" y="10297"/>
                    <a:pt x="12374" y="9886"/>
                    <a:pt x="12126" y="9639"/>
                  </a:cubicBezTo>
                  <a:lnTo>
                    <a:pt x="2654" y="167"/>
                  </a:lnTo>
                  <a:cubicBezTo>
                    <a:pt x="2542" y="55"/>
                    <a:pt x="2397" y="0"/>
                    <a:pt x="2253"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435D74"/>
                </a:solidFill>
                <a:latin typeface="Arial"/>
                <a:cs typeface="Arial"/>
                <a:sym typeface="Arial"/>
              </a:endParaRPr>
            </a:p>
          </p:txBody>
        </p:sp>
        <p:sp>
          <p:nvSpPr>
            <p:cNvPr id="9562" name="Google Shape;9562;p109"/>
            <p:cNvSpPr/>
            <p:nvPr/>
          </p:nvSpPr>
          <p:spPr>
            <a:xfrm>
              <a:off x="5180875" y="4456850"/>
              <a:ext cx="316625" cy="296575"/>
            </a:xfrm>
            <a:custGeom>
              <a:avLst/>
              <a:gdLst/>
              <a:ahLst/>
              <a:cxnLst/>
              <a:rect l="l" t="t" r="r" b="b"/>
              <a:pathLst>
                <a:path w="12665" h="11863" extrusionOk="0">
                  <a:moveTo>
                    <a:pt x="4584" y="1128"/>
                  </a:moveTo>
                  <a:cubicBezTo>
                    <a:pt x="6196" y="1128"/>
                    <a:pt x="7791" y="1755"/>
                    <a:pt x="8987" y="2958"/>
                  </a:cubicBezTo>
                  <a:cubicBezTo>
                    <a:pt x="10964" y="4924"/>
                    <a:pt x="11387" y="7967"/>
                    <a:pt x="10022" y="10398"/>
                  </a:cubicBezTo>
                  <a:lnTo>
                    <a:pt x="1547" y="1923"/>
                  </a:lnTo>
                  <a:cubicBezTo>
                    <a:pt x="2499" y="1388"/>
                    <a:pt x="3545" y="1128"/>
                    <a:pt x="4584" y="1128"/>
                  </a:cubicBezTo>
                  <a:close/>
                  <a:moveTo>
                    <a:pt x="4578" y="1"/>
                  </a:moveTo>
                  <a:cubicBezTo>
                    <a:pt x="3095" y="1"/>
                    <a:pt x="1604" y="448"/>
                    <a:pt x="321" y="1361"/>
                  </a:cubicBezTo>
                  <a:cubicBezTo>
                    <a:pt x="34" y="1563"/>
                    <a:pt x="1" y="1977"/>
                    <a:pt x="248" y="2224"/>
                  </a:cubicBezTo>
                  <a:lnTo>
                    <a:pt x="9723" y="11697"/>
                  </a:lnTo>
                  <a:cubicBezTo>
                    <a:pt x="9829" y="11802"/>
                    <a:pt x="9971" y="11863"/>
                    <a:pt x="10122" y="11863"/>
                  </a:cubicBezTo>
                  <a:lnTo>
                    <a:pt x="10170" y="11863"/>
                  </a:lnTo>
                  <a:cubicBezTo>
                    <a:pt x="10336" y="11847"/>
                    <a:pt x="10487" y="11763"/>
                    <a:pt x="10584" y="11624"/>
                  </a:cubicBezTo>
                  <a:cubicBezTo>
                    <a:pt x="12664" y="8698"/>
                    <a:pt x="12326" y="4697"/>
                    <a:pt x="9787" y="2158"/>
                  </a:cubicBezTo>
                  <a:cubicBezTo>
                    <a:pt x="8361" y="733"/>
                    <a:pt x="6476" y="1"/>
                    <a:pt x="4578"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435D74"/>
                </a:solidFill>
                <a:latin typeface="Arial"/>
                <a:cs typeface="Arial"/>
                <a:sym typeface="Arial"/>
              </a:endParaRPr>
            </a:p>
          </p:txBody>
        </p:sp>
      </p:grpSp>
      <p:grpSp>
        <p:nvGrpSpPr>
          <p:cNvPr id="9563" name="Google Shape;9563;p109"/>
          <p:cNvGrpSpPr/>
          <p:nvPr/>
        </p:nvGrpSpPr>
        <p:grpSpPr>
          <a:xfrm>
            <a:off x="10334146" y="5274723"/>
            <a:ext cx="453557" cy="453557"/>
            <a:chOff x="5648375" y="4399300"/>
            <a:chExt cx="483125" cy="483125"/>
          </a:xfrm>
        </p:grpSpPr>
        <p:sp>
          <p:nvSpPr>
            <p:cNvPr id="9564" name="Google Shape;9564;p109"/>
            <p:cNvSpPr/>
            <p:nvPr/>
          </p:nvSpPr>
          <p:spPr>
            <a:xfrm>
              <a:off x="5648375" y="4399300"/>
              <a:ext cx="483125" cy="483125"/>
            </a:xfrm>
            <a:custGeom>
              <a:avLst/>
              <a:gdLst/>
              <a:ahLst/>
              <a:cxnLst/>
              <a:rect l="l" t="t" r="r" b="b"/>
              <a:pathLst>
                <a:path w="19325" h="19325" extrusionOk="0">
                  <a:moveTo>
                    <a:pt x="9662" y="1133"/>
                  </a:moveTo>
                  <a:cubicBezTo>
                    <a:pt x="11906" y="1133"/>
                    <a:pt x="14041" y="2029"/>
                    <a:pt x="15668" y="3657"/>
                  </a:cubicBezTo>
                  <a:cubicBezTo>
                    <a:pt x="17295" y="5287"/>
                    <a:pt x="18192" y="7419"/>
                    <a:pt x="18192" y="9663"/>
                  </a:cubicBezTo>
                  <a:cubicBezTo>
                    <a:pt x="18192" y="11906"/>
                    <a:pt x="17295" y="14041"/>
                    <a:pt x="15668" y="15668"/>
                  </a:cubicBezTo>
                  <a:cubicBezTo>
                    <a:pt x="14041" y="17296"/>
                    <a:pt x="11906" y="18193"/>
                    <a:pt x="9662" y="18193"/>
                  </a:cubicBezTo>
                  <a:cubicBezTo>
                    <a:pt x="7419" y="18193"/>
                    <a:pt x="5284" y="17296"/>
                    <a:pt x="3657" y="15668"/>
                  </a:cubicBezTo>
                  <a:cubicBezTo>
                    <a:pt x="290" y="12302"/>
                    <a:pt x="290" y="7024"/>
                    <a:pt x="3657" y="3657"/>
                  </a:cubicBezTo>
                  <a:cubicBezTo>
                    <a:pt x="5287" y="2029"/>
                    <a:pt x="7419" y="1133"/>
                    <a:pt x="9662" y="1133"/>
                  </a:cubicBezTo>
                  <a:close/>
                  <a:moveTo>
                    <a:pt x="9662" y="0"/>
                  </a:moveTo>
                  <a:cubicBezTo>
                    <a:pt x="7117" y="0"/>
                    <a:pt x="4698" y="1015"/>
                    <a:pt x="2856" y="2857"/>
                  </a:cubicBezTo>
                  <a:cubicBezTo>
                    <a:pt x="1015" y="4699"/>
                    <a:pt x="0" y="7117"/>
                    <a:pt x="0" y="9663"/>
                  </a:cubicBezTo>
                  <a:cubicBezTo>
                    <a:pt x="0" y="12208"/>
                    <a:pt x="1015" y="14627"/>
                    <a:pt x="2856" y="16468"/>
                  </a:cubicBezTo>
                  <a:cubicBezTo>
                    <a:pt x="4698" y="18310"/>
                    <a:pt x="7117" y="19325"/>
                    <a:pt x="9662" y="19325"/>
                  </a:cubicBezTo>
                  <a:cubicBezTo>
                    <a:pt x="12208" y="19325"/>
                    <a:pt x="14626" y="18310"/>
                    <a:pt x="16468" y="16468"/>
                  </a:cubicBezTo>
                  <a:cubicBezTo>
                    <a:pt x="18310" y="14627"/>
                    <a:pt x="19325" y="12208"/>
                    <a:pt x="19325" y="9663"/>
                  </a:cubicBezTo>
                  <a:cubicBezTo>
                    <a:pt x="19325" y="7117"/>
                    <a:pt x="18310" y="4699"/>
                    <a:pt x="16468" y="2857"/>
                  </a:cubicBezTo>
                  <a:cubicBezTo>
                    <a:pt x="14626" y="1015"/>
                    <a:pt x="12211" y="0"/>
                    <a:pt x="9662"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435D74"/>
                </a:solidFill>
                <a:latin typeface="Arial"/>
                <a:cs typeface="Arial"/>
                <a:sym typeface="Arial"/>
              </a:endParaRPr>
            </a:p>
          </p:txBody>
        </p:sp>
        <p:sp>
          <p:nvSpPr>
            <p:cNvPr id="9565" name="Google Shape;9565;p109"/>
            <p:cNvSpPr/>
            <p:nvPr/>
          </p:nvSpPr>
          <p:spPr>
            <a:xfrm>
              <a:off x="5734275" y="4598425"/>
              <a:ext cx="311400" cy="84950"/>
            </a:xfrm>
            <a:custGeom>
              <a:avLst/>
              <a:gdLst/>
              <a:ahLst/>
              <a:cxnLst/>
              <a:rect l="l" t="t" r="r" b="b"/>
              <a:pathLst>
                <a:path w="12456" h="3398" extrusionOk="0">
                  <a:moveTo>
                    <a:pt x="11323" y="1133"/>
                  </a:moveTo>
                  <a:lnTo>
                    <a:pt x="11323" y="2265"/>
                  </a:lnTo>
                  <a:lnTo>
                    <a:pt x="1133" y="2265"/>
                  </a:lnTo>
                  <a:lnTo>
                    <a:pt x="1133" y="1133"/>
                  </a:lnTo>
                  <a:close/>
                  <a:moveTo>
                    <a:pt x="565" y="1"/>
                  </a:moveTo>
                  <a:cubicBezTo>
                    <a:pt x="251" y="1"/>
                    <a:pt x="0" y="251"/>
                    <a:pt x="0" y="565"/>
                  </a:cubicBezTo>
                  <a:lnTo>
                    <a:pt x="0" y="2830"/>
                  </a:lnTo>
                  <a:cubicBezTo>
                    <a:pt x="0" y="3144"/>
                    <a:pt x="251" y="3398"/>
                    <a:pt x="565" y="3398"/>
                  </a:cubicBezTo>
                  <a:lnTo>
                    <a:pt x="11888" y="3398"/>
                  </a:lnTo>
                  <a:cubicBezTo>
                    <a:pt x="12202" y="3398"/>
                    <a:pt x="12455" y="3144"/>
                    <a:pt x="12455" y="2830"/>
                  </a:cubicBezTo>
                  <a:lnTo>
                    <a:pt x="12455" y="565"/>
                  </a:lnTo>
                  <a:cubicBezTo>
                    <a:pt x="12455" y="251"/>
                    <a:pt x="12202" y="1"/>
                    <a:pt x="11888"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435D74"/>
                </a:solidFill>
                <a:latin typeface="Arial"/>
                <a:cs typeface="Arial"/>
                <a:sym typeface="Arial"/>
              </a:endParaRPr>
            </a:p>
          </p:txBody>
        </p:sp>
      </p:grpSp>
      <p:grpSp>
        <p:nvGrpSpPr>
          <p:cNvPr id="9566" name="Google Shape;9566;p109"/>
          <p:cNvGrpSpPr/>
          <p:nvPr/>
        </p:nvGrpSpPr>
        <p:grpSpPr>
          <a:xfrm>
            <a:off x="7975109" y="5299516"/>
            <a:ext cx="440009" cy="403659"/>
            <a:chOff x="6239575" y="4416275"/>
            <a:chExt cx="489625" cy="449175"/>
          </a:xfrm>
        </p:grpSpPr>
        <p:sp>
          <p:nvSpPr>
            <p:cNvPr id="9567" name="Google Shape;9567;p109"/>
            <p:cNvSpPr/>
            <p:nvPr/>
          </p:nvSpPr>
          <p:spPr>
            <a:xfrm>
              <a:off x="6239575" y="4416275"/>
              <a:ext cx="489625" cy="449175"/>
            </a:xfrm>
            <a:custGeom>
              <a:avLst/>
              <a:gdLst/>
              <a:ahLst/>
              <a:cxnLst/>
              <a:rect l="l" t="t" r="r" b="b"/>
              <a:pathLst>
                <a:path w="19585" h="17967" extrusionOk="0">
                  <a:moveTo>
                    <a:pt x="9792" y="1132"/>
                  </a:moveTo>
                  <a:cubicBezTo>
                    <a:pt x="10374" y="1132"/>
                    <a:pt x="10955" y="1424"/>
                    <a:pt x="11278" y="2009"/>
                  </a:cubicBezTo>
                  <a:lnTo>
                    <a:pt x="18111" y="14313"/>
                  </a:lnTo>
                  <a:cubicBezTo>
                    <a:pt x="18404" y="14838"/>
                    <a:pt x="18395" y="15481"/>
                    <a:pt x="18087" y="15998"/>
                  </a:cubicBezTo>
                  <a:cubicBezTo>
                    <a:pt x="17786" y="16518"/>
                    <a:pt x="17232" y="16834"/>
                    <a:pt x="16634" y="16834"/>
                  </a:cubicBezTo>
                  <a:cubicBezTo>
                    <a:pt x="16631" y="16834"/>
                    <a:pt x="16628" y="16834"/>
                    <a:pt x="16625" y="16834"/>
                  </a:cubicBezTo>
                  <a:lnTo>
                    <a:pt x="2962" y="16834"/>
                  </a:lnTo>
                  <a:cubicBezTo>
                    <a:pt x="1667" y="16834"/>
                    <a:pt x="849" y="15445"/>
                    <a:pt x="1474" y="14313"/>
                  </a:cubicBezTo>
                  <a:lnTo>
                    <a:pt x="8307" y="2009"/>
                  </a:lnTo>
                  <a:cubicBezTo>
                    <a:pt x="8630" y="1424"/>
                    <a:pt x="9211" y="1132"/>
                    <a:pt x="9792" y="1132"/>
                  </a:cubicBezTo>
                  <a:close/>
                  <a:moveTo>
                    <a:pt x="9792" y="1"/>
                  </a:moveTo>
                  <a:cubicBezTo>
                    <a:pt x="8763" y="1"/>
                    <a:pt x="7815" y="559"/>
                    <a:pt x="7317" y="1462"/>
                  </a:cubicBezTo>
                  <a:lnTo>
                    <a:pt x="483" y="13766"/>
                  </a:lnTo>
                  <a:cubicBezTo>
                    <a:pt x="0" y="14642"/>
                    <a:pt x="15" y="15711"/>
                    <a:pt x="523" y="16574"/>
                  </a:cubicBezTo>
                  <a:cubicBezTo>
                    <a:pt x="1033" y="17435"/>
                    <a:pt x="1960" y="17966"/>
                    <a:pt x="2962" y="17966"/>
                  </a:cubicBezTo>
                  <a:lnTo>
                    <a:pt x="16625" y="17966"/>
                  </a:lnTo>
                  <a:cubicBezTo>
                    <a:pt x="17625" y="17966"/>
                    <a:pt x="18555" y="17435"/>
                    <a:pt x="19062" y="16574"/>
                  </a:cubicBezTo>
                  <a:cubicBezTo>
                    <a:pt x="19572" y="15711"/>
                    <a:pt x="19585" y="14642"/>
                    <a:pt x="19101" y="13766"/>
                  </a:cubicBezTo>
                  <a:lnTo>
                    <a:pt x="12271" y="1462"/>
                  </a:lnTo>
                  <a:cubicBezTo>
                    <a:pt x="11770" y="559"/>
                    <a:pt x="10822" y="1"/>
                    <a:pt x="9792"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435D74"/>
                </a:solidFill>
                <a:latin typeface="Arial"/>
                <a:cs typeface="Arial"/>
                <a:sym typeface="Arial"/>
              </a:endParaRPr>
            </a:p>
          </p:txBody>
        </p:sp>
        <p:sp>
          <p:nvSpPr>
            <p:cNvPr id="9568" name="Google Shape;9568;p109"/>
            <p:cNvSpPr/>
            <p:nvPr/>
          </p:nvSpPr>
          <p:spPr>
            <a:xfrm>
              <a:off x="6438550" y="4723875"/>
              <a:ext cx="88350" cy="84950"/>
            </a:xfrm>
            <a:custGeom>
              <a:avLst/>
              <a:gdLst/>
              <a:ahLst/>
              <a:cxnLst/>
              <a:rect l="l" t="t" r="r" b="b"/>
              <a:pathLst>
                <a:path w="3534" h="3398" extrusionOk="0">
                  <a:moveTo>
                    <a:pt x="1830" y="1132"/>
                  </a:moveTo>
                  <a:cubicBezTo>
                    <a:pt x="2122" y="1132"/>
                    <a:pt x="2401" y="1358"/>
                    <a:pt x="2401" y="1701"/>
                  </a:cubicBezTo>
                  <a:cubicBezTo>
                    <a:pt x="2401" y="2012"/>
                    <a:pt x="2147" y="2266"/>
                    <a:pt x="1833" y="2266"/>
                  </a:cubicBezTo>
                  <a:cubicBezTo>
                    <a:pt x="1329" y="2266"/>
                    <a:pt x="1076" y="1656"/>
                    <a:pt x="1432" y="1299"/>
                  </a:cubicBezTo>
                  <a:cubicBezTo>
                    <a:pt x="1548" y="1184"/>
                    <a:pt x="1691" y="1132"/>
                    <a:pt x="1830" y="1132"/>
                  </a:cubicBezTo>
                  <a:close/>
                  <a:moveTo>
                    <a:pt x="1833" y="1"/>
                  </a:moveTo>
                  <a:cubicBezTo>
                    <a:pt x="1145" y="1"/>
                    <a:pt x="526" y="415"/>
                    <a:pt x="263" y="1049"/>
                  </a:cubicBezTo>
                  <a:cubicBezTo>
                    <a:pt x="1" y="1683"/>
                    <a:pt x="146" y="2414"/>
                    <a:pt x="632" y="2900"/>
                  </a:cubicBezTo>
                  <a:cubicBezTo>
                    <a:pt x="957" y="3225"/>
                    <a:pt x="1391" y="3397"/>
                    <a:pt x="1833" y="3397"/>
                  </a:cubicBezTo>
                  <a:cubicBezTo>
                    <a:pt x="2052" y="3397"/>
                    <a:pt x="2273" y="3355"/>
                    <a:pt x="2483" y="3268"/>
                  </a:cubicBezTo>
                  <a:cubicBezTo>
                    <a:pt x="3117" y="3005"/>
                    <a:pt x="3533" y="2386"/>
                    <a:pt x="3533" y="1701"/>
                  </a:cubicBezTo>
                  <a:cubicBezTo>
                    <a:pt x="3530" y="762"/>
                    <a:pt x="2772" y="1"/>
                    <a:pt x="1833"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435D74"/>
                </a:solidFill>
                <a:latin typeface="Arial"/>
                <a:cs typeface="Arial"/>
                <a:sym typeface="Arial"/>
              </a:endParaRPr>
            </a:p>
          </p:txBody>
        </p:sp>
        <p:sp>
          <p:nvSpPr>
            <p:cNvPr id="9569" name="Google Shape;9569;p109"/>
            <p:cNvSpPr/>
            <p:nvPr/>
          </p:nvSpPr>
          <p:spPr>
            <a:xfrm>
              <a:off x="6441950" y="4497425"/>
              <a:ext cx="84950" cy="198250"/>
            </a:xfrm>
            <a:custGeom>
              <a:avLst/>
              <a:gdLst/>
              <a:ahLst/>
              <a:cxnLst/>
              <a:rect l="l" t="t" r="r" b="b"/>
              <a:pathLst>
                <a:path w="3398" h="7930" extrusionOk="0">
                  <a:moveTo>
                    <a:pt x="1697" y="1133"/>
                  </a:moveTo>
                  <a:cubicBezTo>
                    <a:pt x="2011" y="1133"/>
                    <a:pt x="2265" y="1387"/>
                    <a:pt x="2265" y="1701"/>
                  </a:cubicBezTo>
                  <a:lnTo>
                    <a:pt x="2265" y="6230"/>
                  </a:lnTo>
                  <a:cubicBezTo>
                    <a:pt x="2265" y="6544"/>
                    <a:pt x="2011" y="6797"/>
                    <a:pt x="1697" y="6797"/>
                  </a:cubicBezTo>
                  <a:cubicBezTo>
                    <a:pt x="1383" y="6797"/>
                    <a:pt x="1133" y="6544"/>
                    <a:pt x="1133" y="6230"/>
                  </a:cubicBezTo>
                  <a:lnTo>
                    <a:pt x="1133" y="1701"/>
                  </a:lnTo>
                  <a:cubicBezTo>
                    <a:pt x="1133" y="1387"/>
                    <a:pt x="1383" y="1133"/>
                    <a:pt x="1697" y="1133"/>
                  </a:cubicBezTo>
                  <a:close/>
                  <a:moveTo>
                    <a:pt x="1697" y="1"/>
                  </a:moveTo>
                  <a:cubicBezTo>
                    <a:pt x="758" y="1"/>
                    <a:pt x="1" y="762"/>
                    <a:pt x="1" y="1701"/>
                  </a:cubicBezTo>
                  <a:lnTo>
                    <a:pt x="1" y="6233"/>
                  </a:lnTo>
                  <a:cubicBezTo>
                    <a:pt x="1" y="7169"/>
                    <a:pt x="758" y="7930"/>
                    <a:pt x="1697" y="7930"/>
                  </a:cubicBezTo>
                  <a:cubicBezTo>
                    <a:pt x="2636" y="7930"/>
                    <a:pt x="3397" y="7169"/>
                    <a:pt x="3397" y="6233"/>
                  </a:cubicBezTo>
                  <a:lnTo>
                    <a:pt x="3397" y="1701"/>
                  </a:lnTo>
                  <a:cubicBezTo>
                    <a:pt x="3397" y="762"/>
                    <a:pt x="2636" y="1"/>
                    <a:pt x="1697"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435D74"/>
                </a:solidFill>
                <a:latin typeface="Arial"/>
                <a:cs typeface="Arial"/>
                <a:sym typeface="Arial"/>
              </a:endParaRPr>
            </a:p>
          </p:txBody>
        </p:sp>
      </p:grpSp>
      <p:grpSp>
        <p:nvGrpSpPr>
          <p:cNvPr id="9570" name="Google Shape;9570;p109"/>
          <p:cNvGrpSpPr/>
          <p:nvPr/>
        </p:nvGrpSpPr>
        <p:grpSpPr>
          <a:xfrm>
            <a:off x="4112813" y="5295753"/>
            <a:ext cx="410979" cy="410979"/>
            <a:chOff x="892750" y="4993750"/>
            <a:chExt cx="483125" cy="483125"/>
          </a:xfrm>
        </p:grpSpPr>
        <p:sp>
          <p:nvSpPr>
            <p:cNvPr id="9571" name="Google Shape;9571;p109"/>
            <p:cNvSpPr/>
            <p:nvPr/>
          </p:nvSpPr>
          <p:spPr>
            <a:xfrm>
              <a:off x="892750" y="4993750"/>
              <a:ext cx="483125" cy="483125"/>
            </a:xfrm>
            <a:custGeom>
              <a:avLst/>
              <a:gdLst/>
              <a:ahLst/>
              <a:cxnLst/>
              <a:rect l="l" t="t" r="r" b="b"/>
              <a:pathLst>
                <a:path w="19325" h="19325" extrusionOk="0">
                  <a:moveTo>
                    <a:pt x="9662" y="1133"/>
                  </a:moveTo>
                  <a:cubicBezTo>
                    <a:pt x="11824" y="1133"/>
                    <a:pt x="13983" y="1975"/>
                    <a:pt x="15668" y="3657"/>
                  </a:cubicBezTo>
                  <a:cubicBezTo>
                    <a:pt x="19035" y="7027"/>
                    <a:pt x="19035" y="12302"/>
                    <a:pt x="15668" y="15668"/>
                  </a:cubicBezTo>
                  <a:cubicBezTo>
                    <a:pt x="13985" y="17352"/>
                    <a:pt x="11823" y="18193"/>
                    <a:pt x="9662" y="18193"/>
                  </a:cubicBezTo>
                  <a:cubicBezTo>
                    <a:pt x="7501" y="18193"/>
                    <a:pt x="5340" y="17352"/>
                    <a:pt x="3657" y="15668"/>
                  </a:cubicBezTo>
                  <a:cubicBezTo>
                    <a:pt x="290" y="12302"/>
                    <a:pt x="290" y="7024"/>
                    <a:pt x="3657" y="3657"/>
                  </a:cubicBezTo>
                  <a:cubicBezTo>
                    <a:pt x="5341" y="1975"/>
                    <a:pt x="7500" y="1133"/>
                    <a:pt x="9662" y="1133"/>
                  </a:cubicBezTo>
                  <a:close/>
                  <a:moveTo>
                    <a:pt x="9662" y="1"/>
                  </a:moveTo>
                  <a:cubicBezTo>
                    <a:pt x="7117" y="1"/>
                    <a:pt x="4698" y="1015"/>
                    <a:pt x="2856" y="2857"/>
                  </a:cubicBezTo>
                  <a:cubicBezTo>
                    <a:pt x="1015" y="4699"/>
                    <a:pt x="0" y="7117"/>
                    <a:pt x="0" y="9663"/>
                  </a:cubicBezTo>
                  <a:cubicBezTo>
                    <a:pt x="0" y="12208"/>
                    <a:pt x="1015" y="14627"/>
                    <a:pt x="2856" y="16469"/>
                  </a:cubicBezTo>
                  <a:cubicBezTo>
                    <a:pt x="4698" y="18310"/>
                    <a:pt x="7117" y="19325"/>
                    <a:pt x="9662" y="19325"/>
                  </a:cubicBezTo>
                  <a:cubicBezTo>
                    <a:pt x="12208" y="19325"/>
                    <a:pt x="14626" y="18310"/>
                    <a:pt x="16468" y="16469"/>
                  </a:cubicBezTo>
                  <a:cubicBezTo>
                    <a:pt x="18310" y="14627"/>
                    <a:pt x="19324" y="12208"/>
                    <a:pt x="19324" y="9663"/>
                  </a:cubicBezTo>
                  <a:cubicBezTo>
                    <a:pt x="19324" y="7117"/>
                    <a:pt x="18310" y="4699"/>
                    <a:pt x="16468" y="2857"/>
                  </a:cubicBezTo>
                  <a:cubicBezTo>
                    <a:pt x="14626" y="1015"/>
                    <a:pt x="12208" y="1"/>
                    <a:pt x="9662"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435D74"/>
                </a:solidFill>
                <a:latin typeface="Arial"/>
                <a:cs typeface="Arial"/>
                <a:sym typeface="Arial"/>
              </a:endParaRPr>
            </a:p>
          </p:txBody>
        </p:sp>
        <p:sp>
          <p:nvSpPr>
            <p:cNvPr id="9572" name="Google Shape;9572;p109"/>
            <p:cNvSpPr/>
            <p:nvPr/>
          </p:nvSpPr>
          <p:spPr>
            <a:xfrm>
              <a:off x="1021000" y="5052250"/>
              <a:ext cx="230775" cy="253450"/>
            </a:xfrm>
            <a:custGeom>
              <a:avLst/>
              <a:gdLst/>
              <a:ahLst/>
              <a:cxnLst/>
              <a:rect l="l" t="t" r="r" b="b"/>
              <a:pathLst>
                <a:path w="9231" h="10138" extrusionOk="0">
                  <a:moveTo>
                    <a:pt x="4532" y="1133"/>
                  </a:moveTo>
                  <a:cubicBezTo>
                    <a:pt x="5450" y="1133"/>
                    <a:pt x="6326" y="1483"/>
                    <a:pt x="6936" y="2090"/>
                  </a:cubicBezTo>
                  <a:cubicBezTo>
                    <a:pt x="8261" y="3419"/>
                    <a:pt x="8261" y="5568"/>
                    <a:pt x="6936" y="6894"/>
                  </a:cubicBezTo>
                  <a:lnTo>
                    <a:pt x="6933" y="6894"/>
                  </a:lnTo>
                  <a:cubicBezTo>
                    <a:pt x="6688" y="7142"/>
                    <a:pt x="6404" y="7347"/>
                    <a:pt x="6096" y="7510"/>
                  </a:cubicBezTo>
                  <a:cubicBezTo>
                    <a:pt x="5595" y="7767"/>
                    <a:pt x="5275" y="8135"/>
                    <a:pt x="5154" y="8600"/>
                  </a:cubicBezTo>
                  <a:cubicBezTo>
                    <a:pt x="5079" y="8842"/>
                    <a:pt x="4856" y="9000"/>
                    <a:pt x="4614" y="9000"/>
                  </a:cubicBezTo>
                  <a:cubicBezTo>
                    <a:pt x="4566" y="9000"/>
                    <a:pt x="4517" y="8993"/>
                    <a:pt x="4469" y="8980"/>
                  </a:cubicBezTo>
                  <a:cubicBezTo>
                    <a:pt x="4176" y="8905"/>
                    <a:pt x="3995" y="8612"/>
                    <a:pt x="4058" y="8316"/>
                  </a:cubicBezTo>
                  <a:cubicBezTo>
                    <a:pt x="4254" y="7534"/>
                    <a:pt x="4765" y="6924"/>
                    <a:pt x="5574" y="6504"/>
                  </a:cubicBezTo>
                  <a:cubicBezTo>
                    <a:pt x="6936" y="5801"/>
                    <a:pt x="7220" y="3974"/>
                    <a:pt x="6136" y="2890"/>
                  </a:cubicBezTo>
                  <a:cubicBezTo>
                    <a:pt x="5690" y="2458"/>
                    <a:pt x="5113" y="2243"/>
                    <a:pt x="4535" y="2243"/>
                  </a:cubicBezTo>
                  <a:cubicBezTo>
                    <a:pt x="3958" y="2243"/>
                    <a:pt x="3380" y="2458"/>
                    <a:pt x="2935" y="2890"/>
                  </a:cubicBezTo>
                  <a:cubicBezTo>
                    <a:pt x="2506" y="3313"/>
                    <a:pt x="2268" y="3890"/>
                    <a:pt x="2268" y="4494"/>
                  </a:cubicBezTo>
                  <a:cubicBezTo>
                    <a:pt x="2268" y="4805"/>
                    <a:pt x="2014" y="5058"/>
                    <a:pt x="1703" y="5058"/>
                  </a:cubicBezTo>
                  <a:cubicBezTo>
                    <a:pt x="1389" y="5058"/>
                    <a:pt x="1135" y="4805"/>
                    <a:pt x="1135" y="4494"/>
                  </a:cubicBezTo>
                  <a:cubicBezTo>
                    <a:pt x="1132" y="3591"/>
                    <a:pt x="1492" y="2724"/>
                    <a:pt x="2132" y="2090"/>
                  </a:cubicBezTo>
                  <a:cubicBezTo>
                    <a:pt x="2739" y="1483"/>
                    <a:pt x="3614" y="1133"/>
                    <a:pt x="4532" y="1133"/>
                  </a:cubicBezTo>
                  <a:close/>
                  <a:moveTo>
                    <a:pt x="4532" y="1"/>
                  </a:moveTo>
                  <a:cubicBezTo>
                    <a:pt x="3315" y="1"/>
                    <a:pt x="2150" y="469"/>
                    <a:pt x="1332" y="1290"/>
                  </a:cubicBezTo>
                  <a:cubicBezTo>
                    <a:pt x="477" y="2135"/>
                    <a:pt x="0" y="3289"/>
                    <a:pt x="3" y="4494"/>
                  </a:cubicBezTo>
                  <a:cubicBezTo>
                    <a:pt x="3" y="5430"/>
                    <a:pt x="764" y="6190"/>
                    <a:pt x="1703" y="6190"/>
                  </a:cubicBezTo>
                  <a:cubicBezTo>
                    <a:pt x="2639" y="6190"/>
                    <a:pt x="3400" y="5430"/>
                    <a:pt x="3400" y="4494"/>
                  </a:cubicBezTo>
                  <a:cubicBezTo>
                    <a:pt x="3400" y="3830"/>
                    <a:pt x="3944" y="3358"/>
                    <a:pt x="4535" y="3358"/>
                  </a:cubicBezTo>
                  <a:cubicBezTo>
                    <a:pt x="4731" y="3358"/>
                    <a:pt x="4933" y="3410"/>
                    <a:pt x="5121" y="3524"/>
                  </a:cubicBezTo>
                  <a:cubicBezTo>
                    <a:pt x="5876" y="3986"/>
                    <a:pt x="5837" y="5094"/>
                    <a:pt x="5052" y="5499"/>
                  </a:cubicBezTo>
                  <a:cubicBezTo>
                    <a:pt x="3959" y="6064"/>
                    <a:pt x="3234" y="6945"/>
                    <a:pt x="2959" y="8041"/>
                  </a:cubicBezTo>
                  <a:cubicBezTo>
                    <a:pt x="2742" y="8941"/>
                    <a:pt x="3288" y="9850"/>
                    <a:pt x="4185" y="10083"/>
                  </a:cubicBezTo>
                  <a:cubicBezTo>
                    <a:pt x="4327" y="10119"/>
                    <a:pt x="4470" y="10137"/>
                    <a:pt x="4611" y="10137"/>
                  </a:cubicBezTo>
                  <a:cubicBezTo>
                    <a:pt x="5356" y="10137"/>
                    <a:pt x="6039" y="9642"/>
                    <a:pt x="6247" y="8893"/>
                  </a:cubicBezTo>
                  <a:cubicBezTo>
                    <a:pt x="6262" y="8832"/>
                    <a:pt x="6305" y="8675"/>
                    <a:pt x="6616" y="8515"/>
                  </a:cubicBezTo>
                  <a:cubicBezTo>
                    <a:pt x="7899" y="7851"/>
                    <a:pt x="8787" y="6613"/>
                    <a:pt x="9007" y="5188"/>
                  </a:cubicBezTo>
                  <a:cubicBezTo>
                    <a:pt x="9230" y="3760"/>
                    <a:pt x="8756" y="2313"/>
                    <a:pt x="7736" y="1290"/>
                  </a:cubicBezTo>
                  <a:cubicBezTo>
                    <a:pt x="6918" y="472"/>
                    <a:pt x="5749" y="1"/>
                    <a:pt x="4532"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435D74"/>
                </a:solidFill>
                <a:latin typeface="Arial"/>
                <a:cs typeface="Arial"/>
                <a:sym typeface="Arial"/>
              </a:endParaRPr>
            </a:p>
          </p:txBody>
        </p:sp>
        <p:sp>
          <p:nvSpPr>
            <p:cNvPr id="9573" name="Google Shape;9573;p109"/>
            <p:cNvSpPr/>
            <p:nvPr/>
          </p:nvSpPr>
          <p:spPr>
            <a:xfrm>
              <a:off x="1088475" y="5334425"/>
              <a:ext cx="88350" cy="84925"/>
            </a:xfrm>
            <a:custGeom>
              <a:avLst/>
              <a:gdLst/>
              <a:ahLst/>
              <a:cxnLst/>
              <a:rect l="l" t="t" r="r" b="b"/>
              <a:pathLst>
                <a:path w="3534" h="3397" extrusionOk="0">
                  <a:moveTo>
                    <a:pt x="1829" y="1129"/>
                  </a:moveTo>
                  <a:cubicBezTo>
                    <a:pt x="2121" y="1129"/>
                    <a:pt x="2401" y="1356"/>
                    <a:pt x="2401" y="1697"/>
                  </a:cubicBezTo>
                  <a:cubicBezTo>
                    <a:pt x="2401" y="2011"/>
                    <a:pt x="2147" y="2265"/>
                    <a:pt x="1833" y="2265"/>
                  </a:cubicBezTo>
                  <a:cubicBezTo>
                    <a:pt x="1329" y="2265"/>
                    <a:pt x="1075" y="1655"/>
                    <a:pt x="1432" y="1296"/>
                  </a:cubicBezTo>
                  <a:cubicBezTo>
                    <a:pt x="1548" y="1181"/>
                    <a:pt x="1690" y="1129"/>
                    <a:pt x="1829" y="1129"/>
                  </a:cubicBezTo>
                  <a:close/>
                  <a:moveTo>
                    <a:pt x="1833" y="0"/>
                  </a:moveTo>
                  <a:cubicBezTo>
                    <a:pt x="1145" y="0"/>
                    <a:pt x="526" y="414"/>
                    <a:pt x="263" y="1048"/>
                  </a:cubicBezTo>
                  <a:cubicBezTo>
                    <a:pt x="0" y="1682"/>
                    <a:pt x="145" y="2413"/>
                    <a:pt x="631" y="2899"/>
                  </a:cubicBezTo>
                  <a:cubicBezTo>
                    <a:pt x="957" y="3224"/>
                    <a:pt x="1391" y="3397"/>
                    <a:pt x="1833" y="3397"/>
                  </a:cubicBezTo>
                  <a:cubicBezTo>
                    <a:pt x="2052" y="3397"/>
                    <a:pt x="2272" y="3354"/>
                    <a:pt x="2482" y="3267"/>
                  </a:cubicBezTo>
                  <a:cubicBezTo>
                    <a:pt x="3116" y="3005"/>
                    <a:pt x="3533" y="2386"/>
                    <a:pt x="3533" y="1697"/>
                  </a:cubicBezTo>
                  <a:cubicBezTo>
                    <a:pt x="3530" y="758"/>
                    <a:pt x="2772" y="0"/>
                    <a:pt x="1833"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435D74"/>
                </a:solidFill>
                <a:latin typeface="Arial"/>
                <a:cs typeface="Arial"/>
                <a:sym typeface="Arial"/>
              </a:endParaRPr>
            </a:p>
          </p:txBody>
        </p:sp>
      </p:grpSp>
      <p:grpSp>
        <p:nvGrpSpPr>
          <p:cNvPr id="9574" name="Google Shape;9574;p109"/>
          <p:cNvGrpSpPr/>
          <p:nvPr/>
        </p:nvGrpSpPr>
        <p:grpSpPr>
          <a:xfrm>
            <a:off x="4662959" y="5295753"/>
            <a:ext cx="410979" cy="410979"/>
            <a:chOff x="1487200" y="4993750"/>
            <a:chExt cx="483125" cy="483125"/>
          </a:xfrm>
        </p:grpSpPr>
        <p:sp>
          <p:nvSpPr>
            <p:cNvPr id="9575" name="Google Shape;9575;p109"/>
            <p:cNvSpPr/>
            <p:nvPr/>
          </p:nvSpPr>
          <p:spPr>
            <a:xfrm>
              <a:off x="1487200" y="4993750"/>
              <a:ext cx="483125" cy="483125"/>
            </a:xfrm>
            <a:custGeom>
              <a:avLst/>
              <a:gdLst/>
              <a:ahLst/>
              <a:cxnLst/>
              <a:rect l="l" t="t" r="r" b="b"/>
              <a:pathLst>
                <a:path w="19325" h="19325" extrusionOk="0">
                  <a:moveTo>
                    <a:pt x="9662" y="1133"/>
                  </a:moveTo>
                  <a:cubicBezTo>
                    <a:pt x="11824" y="1133"/>
                    <a:pt x="13983" y="1975"/>
                    <a:pt x="15668" y="3657"/>
                  </a:cubicBezTo>
                  <a:cubicBezTo>
                    <a:pt x="19035" y="7027"/>
                    <a:pt x="19035" y="12302"/>
                    <a:pt x="15668" y="15668"/>
                  </a:cubicBezTo>
                  <a:cubicBezTo>
                    <a:pt x="13983" y="17352"/>
                    <a:pt x="11822" y="18193"/>
                    <a:pt x="9661" y="18193"/>
                  </a:cubicBezTo>
                  <a:cubicBezTo>
                    <a:pt x="7500" y="18193"/>
                    <a:pt x="5340" y="17352"/>
                    <a:pt x="3657" y="15668"/>
                  </a:cubicBezTo>
                  <a:cubicBezTo>
                    <a:pt x="290" y="12302"/>
                    <a:pt x="290" y="7024"/>
                    <a:pt x="3657" y="3657"/>
                  </a:cubicBezTo>
                  <a:cubicBezTo>
                    <a:pt x="5342" y="1975"/>
                    <a:pt x="7500" y="1133"/>
                    <a:pt x="9662" y="1133"/>
                  </a:cubicBezTo>
                  <a:close/>
                  <a:moveTo>
                    <a:pt x="9662" y="1"/>
                  </a:moveTo>
                  <a:cubicBezTo>
                    <a:pt x="7117" y="1"/>
                    <a:pt x="4698" y="1015"/>
                    <a:pt x="2857" y="2857"/>
                  </a:cubicBezTo>
                  <a:cubicBezTo>
                    <a:pt x="1015" y="4699"/>
                    <a:pt x="0" y="7117"/>
                    <a:pt x="0" y="9663"/>
                  </a:cubicBezTo>
                  <a:cubicBezTo>
                    <a:pt x="0" y="12208"/>
                    <a:pt x="1015" y="14627"/>
                    <a:pt x="2857" y="16469"/>
                  </a:cubicBezTo>
                  <a:cubicBezTo>
                    <a:pt x="4698" y="18310"/>
                    <a:pt x="7117" y="19325"/>
                    <a:pt x="9662" y="19325"/>
                  </a:cubicBezTo>
                  <a:cubicBezTo>
                    <a:pt x="12208" y="19325"/>
                    <a:pt x="14626" y="18310"/>
                    <a:pt x="16468" y="16469"/>
                  </a:cubicBezTo>
                  <a:cubicBezTo>
                    <a:pt x="18310" y="14627"/>
                    <a:pt x="19325" y="12208"/>
                    <a:pt x="19325" y="9663"/>
                  </a:cubicBezTo>
                  <a:cubicBezTo>
                    <a:pt x="19325" y="7117"/>
                    <a:pt x="18310" y="4699"/>
                    <a:pt x="16468" y="2857"/>
                  </a:cubicBezTo>
                  <a:cubicBezTo>
                    <a:pt x="14626" y="1015"/>
                    <a:pt x="12208" y="1"/>
                    <a:pt x="9662"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435D74"/>
                </a:solidFill>
                <a:latin typeface="Arial"/>
                <a:cs typeface="Arial"/>
                <a:sym typeface="Arial"/>
              </a:endParaRPr>
            </a:p>
          </p:txBody>
        </p:sp>
        <p:sp>
          <p:nvSpPr>
            <p:cNvPr id="9576" name="Google Shape;9576;p109"/>
            <p:cNvSpPr/>
            <p:nvPr/>
          </p:nvSpPr>
          <p:spPr>
            <a:xfrm>
              <a:off x="1602600" y="5143950"/>
              <a:ext cx="250350" cy="182725"/>
            </a:xfrm>
            <a:custGeom>
              <a:avLst/>
              <a:gdLst/>
              <a:ahLst/>
              <a:cxnLst/>
              <a:rect l="l" t="t" r="r" b="b"/>
              <a:pathLst>
                <a:path w="10014" h="7309" extrusionOk="0">
                  <a:moveTo>
                    <a:pt x="8149" y="1134"/>
                  </a:moveTo>
                  <a:cubicBezTo>
                    <a:pt x="8294" y="1134"/>
                    <a:pt x="8439" y="1189"/>
                    <a:pt x="8549" y="1300"/>
                  </a:cubicBezTo>
                  <a:cubicBezTo>
                    <a:pt x="8769" y="1520"/>
                    <a:pt x="8769" y="1879"/>
                    <a:pt x="8549" y="2100"/>
                  </a:cubicBezTo>
                  <a:lnTo>
                    <a:pt x="4639" y="6007"/>
                  </a:lnTo>
                  <a:cubicBezTo>
                    <a:pt x="4527" y="6120"/>
                    <a:pt x="4377" y="6177"/>
                    <a:pt x="4227" y="6177"/>
                  </a:cubicBezTo>
                  <a:cubicBezTo>
                    <a:pt x="4081" y="6177"/>
                    <a:pt x="3937" y="6123"/>
                    <a:pt x="3830" y="6016"/>
                  </a:cubicBezTo>
                  <a:lnTo>
                    <a:pt x="1547" y="3748"/>
                  </a:lnTo>
                  <a:cubicBezTo>
                    <a:pt x="1296" y="3534"/>
                    <a:pt x="1281" y="3151"/>
                    <a:pt x="1514" y="2918"/>
                  </a:cubicBezTo>
                  <a:cubicBezTo>
                    <a:pt x="1626" y="2806"/>
                    <a:pt x="1771" y="2750"/>
                    <a:pt x="1916" y="2750"/>
                  </a:cubicBezTo>
                  <a:cubicBezTo>
                    <a:pt x="2074" y="2750"/>
                    <a:pt x="2232" y="2817"/>
                    <a:pt x="2344" y="2948"/>
                  </a:cubicBezTo>
                  <a:lnTo>
                    <a:pt x="3784" y="4388"/>
                  </a:lnTo>
                  <a:cubicBezTo>
                    <a:pt x="3793" y="4401"/>
                    <a:pt x="3805" y="4410"/>
                    <a:pt x="3817" y="4419"/>
                  </a:cubicBezTo>
                  <a:cubicBezTo>
                    <a:pt x="3817" y="4422"/>
                    <a:pt x="3820" y="4422"/>
                    <a:pt x="3823" y="4425"/>
                  </a:cubicBezTo>
                  <a:cubicBezTo>
                    <a:pt x="3934" y="4535"/>
                    <a:pt x="4078" y="4590"/>
                    <a:pt x="4222" y="4590"/>
                  </a:cubicBezTo>
                  <a:cubicBezTo>
                    <a:pt x="4367" y="4590"/>
                    <a:pt x="4512" y="4535"/>
                    <a:pt x="4624" y="4425"/>
                  </a:cubicBezTo>
                  <a:lnTo>
                    <a:pt x="7749" y="1300"/>
                  </a:lnTo>
                  <a:cubicBezTo>
                    <a:pt x="7859" y="1189"/>
                    <a:pt x="8004" y="1134"/>
                    <a:pt x="8149" y="1134"/>
                  </a:cubicBezTo>
                  <a:close/>
                  <a:moveTo>
                    <a:pt x="8146" y="1"/>
                  </a:moveTo>
                  <a:cubicBezTo>
                    <a:pt x="7712" y="1"/>
                    <a:pt x="7279" y="166"/>
                    <a:pt x="6949" y="496"/>
                  </a:cubicBezTo>
                  <a:lnTo>
                    <a:pt x="6946" y="496"/>
                  </a:lnTo>
                  <a:lnTo>
                    <a:pt x="4219" y="3223"/>
                  </a:lnTo>
                  <a:lnTo>
                    <a:pt x="3144" y="2148"/>
                  </a:lnTo>
                  <a:cubicBezTo>
                    <a:pt x="2808" y="1779"/>
                    <a:pt x="2348" y="1594"/>
                    <a:pt x="1887" y="1594"/>
                  </a:cubicBezTo>
                  <a:cubicBezTo>
                    <a:pt x="1453" y="1594"/>
                    <a:pt x="1019" y="1758"/>
                    <a:pt x="686" y="2091"/>
                  </a:cubicBezTo>
                  <a:cubicBezTo>
                    <a:pt x="1" y="2776"/>
                    <a:pt x="28" y="3896"/>
                    <a:pt x="747" y="4549"/>
                  </a:cubicBezTo>
                  <a:lnTo>
                    <a:pt x="3029" y="6819"/>
                  </a:lnTo>
                  <a:cubicBezTo>
                    <a:pt x="3344" y="7131"/>
                    <a:pt x="3768" y="7308"/>
                    <a:pt x="4214" y="7308"/>
                  </a:cubicBezTo>
                  <a:cubicBezTo>
                    <a:pt x="4218" y="7308"/>
                    <a:pt x="4221" y="7308"/>
                    <a:pt x="4225" y="7308"/>
                  </a:cubicBezTo>
                  <a:cubicBezTo>
                    <a:pt x="4678" y="7308"/>
                    <a:pt x="5116" y="7127"/>
                    <a:pt x="5439" y="6807"/>
                  </a:cubicBezTo>
                  <a:lnTo>
                    <a:pt x="9349" y="2900"/>
                  </a:lnTo>
                  <a:cubicBezTo>
                    <a:pt x="10013" y="2236"/>
                    <a:pt x="10013" y="1161"/>
                    <a:pt x="9349" y="499"/>
                  </a:cubicBezTo>
                  <a:cubicBezTo>
                    <a:pt x="9017" y="167"/>
                    <a:pt x="8581" y="1"/>
                    <a:pt x="8146"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435D74"/>
                </a:solidFill>
                <a:latin typeface="Arial"/>
                <a:cs typeface="Arial"/>
                <a:sym typeface="Arial"/>
              </a:endParaRPr>
            </a:p>
          </p:txBody>
        </p:sp>
      </p:grpSp>
      <p:grpSp>
        <p:nvGrpSpPr>
          <p:cNvPr id="9577" name="Google Shape;9577;p109"/>
          <p:cNvGrpSpPr/>
          <p:nvPr/>
        </p:nvGrpSpPr>
        <p:grpSpPr>
          <a:xfrm>
            <a:off x="5213105" y="5295753"/>
            <a:ext cx="410979" cy="410979"/>
            <a:chOff x="2081650" y="4993750"/>
            <a:chExt cx="483125" cy="483125"/>
          </a:xfrm>
        </p:grpSpPr>
        <p:sp>
          <p:nvSpPr>
            <p:cNvPr id="9578" name="Google Shape;9578;p109"/>
            <p:cNvSpPr/>
            <p:nvPr/>
          </p:nvSpPr>
          <p:spPr>
            <a:xfrm>
              <a:off x="2081650" y="4993750"/>
              <a:ext cx="483125" cy="483125"/>
            </a:xfrm>
            <a:custGeom>
              <a:avLst/>
              <a:gdLst/>
              <a:ahLst/>
              <a:cxnLst/>
              <a:rect l="l" t="t" r="r" b="b"/>
              <a:pathLst>
                <a:path w="19325" h="19325" extrusionOk="0">
                  <a:moveTo>
                    <a:pt x="9663" y="1133"/>
                  </a:moveTo>
                  <a:cubicBezTo>
                    <a:pt x="11824" y="1133"/>
                    <a:pt x="13983" y="1975"/>
                    <a:pt x="15668" y="3657"/>
                  </a:cubicBezTo>
                  <a:cubicBezTo>
                    <a:pt x="19035" y="7027"/>
                    <a:pt x="19035" y="12302"/>
                    <a:pt x="15668" y="15668"/>
                  </a:cubicBezTo>
                  <a:cubicBezTo>
                    <a:pt x="13983" y="17350"/>
                    <a:pt x="11824" y="18193"/>
                    <a:pt x="9663" y="18193"/>
                  </a:cubicBezTo>
                  <a:cubicBezTo>
                    <a:pt x="7501" y="18193"/>
                    <a:pt x="5342" y="17350"/>
                    <a:pt x="3657" y="15668"/>
                  </a:cubicBezTo>
                  <a:cubicBezTo>
                    <a:pt x="290" y="12302"/>
                    <a:pt x="290" y="7024"/>
                    <a:pt x="3657" y="3657"/>
                  </a:cubicBezTo>
                  <a:cubicBezTo>
                    <a:pt x="5342" y="1975"/>
                    <a:pt x="7501" y="1133"/>
                    <a:pt x="9663" y="1133"/>
                  </a:cubicBezTo>
                  <a:close/>
                  <a:moveTo>
                    <a:pt x="9663" y="1"/>
                  </a:moveTo>
                  <a:cubicBezTo>
                    <a:pt x="7117" y="1"/>
                    <a:pt x="4699" y="1015"/>
                    <a:pt x="2857" y="2857"/>
                  </a:cubicBezTo>
                  <a:cubicBezTo>
                    <a:pt x="1015" y="4699"/>
                    <a:pt x="0" y="7117"/>
                    <a:pt x="0" y="9663"/>
                  </a:cubicBezTo>
                  <a:cubicBezTo>
                    <a:pt x="0" y="12208"/>
                    <a:pt x="1015" y="14627"/>
                    <a:pt x="2857" y="16469"/>
                  </a:cubicBezTo>
                  <a:cubicBezTo>
                    <a:pt x="4699" y="18310"/>
                    <a:pt x="7117" y="19325"/>
                    <a:pt x="9663" y="19325"/>
                  </a:cubicBezTo>
                  <a:cubicBezTo>
                    <a:pt x="12208" y="19325"/>
                    <a:pt x="14626" y="18310"/>
                    <a:pt x="16468" y="16469"/>
                  </a:cubicBezTo>
                  <a:cubicBezTo>
                    <a:pt x="18310" y="14627"/>
                    <a:pt x="19325" y="12208"/>
                    <a:pt x="19325" y="9663"/>
                  </a:cubicBezTo>
                  <a:cubicBezTo>
                    <a:pt x="19325" y="7117"/>
                    <a:pt x="18310" y="4699"/>
                    <a:pt x="16468" y="2857"/>
                  </a:cubicBezTo>
                  <a:cubicBezTo>
                    <a:pt x="14626" y="1015"/>
                    <a:pt x="12208" y="1"/>
                    <a:pt x="9663"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435D74"/>
                </a:solidFill>
                <a:latin typeface="Arial"/>
                <a:cs typeface="Arial"/>
                <a:sym typeface="Arial"/>
              </a:endParaRPr>
            </a:p>
          </p:txBody>
        </p:sp>
        <p:sp>
          <p:nvSpPr>
            <p:cNvPr id="9579" name="Google Shape;9579;p109"/>
            <p:cNvSpPr/>
            <p:nvPr/>
          </p:nvSpPr>
          <p:spPr>
            <a:xfrm>
              <a:off x="2209375" y="5125625"/>
              <a:ext cx="227600" cy="219350"/>
            </a:xfrm>
            <a:custGeom>
              <a:avLst/>
              <a:gdLst/>
              <a:ahLst/>
              <a:cxnLst/>
              <a:rect l="l" t="t" r="r" b="b"/>
              <a:pathLst>
                <a:path w="9104" h="8774" extrusionOk="0">
                  <a:moveTo>
                    <a:pt x="7232" y="1143"/>
                  </a:moveTo>
                  <a:cubicBezTo>
                    <a:pt x="7377" y="1143"/>
                    <a:pt x="7522" y="1198"/>
                    <a:pt x="7633" y="1308"/>
                  </a:cubicBezTo>
                  <a:cubicBezTo>
                    <a:pt x="7851" y="1528"/>
                    <a:pt x="7854" y="1882"/>
                    <a:pt x="7639" y="2102"/>
                  </a:cubicBezTo>
                  <a:lnTo>
                    <a:pt x="5755" y="3986"/>
                  </a:lnTo>
                  <a:cubicBezTo>
                    <a:pt x="5532" y="4210"/>
                    <a:pt x="5532" y="4566"/>
                    <a:pt x="5755" y="4789"/>
                  </a:cubicBezTo>
                  <a:lnTo>
                    <a:pt x="7639" y="6673"/>
                  </a:lnTo>
                  <a:cubicBezTo>
                    <a:pt x="7854" y="6894"/>
                    <a:pt x="7851" y="7247"/>
                    <a:pt x="7633" y="7468"/>
                  </a:cubicBezTo>
                  <a:cubicBezTo>
                    <a:pt x="7522" y="7577"/>
                    <a:pt x="7377" y="7633"/>
                    <a:pt x="7232" y="7633"/>
                  </a:cubicBezTo>
                  <a:cubicBezTo>
                    <a:pt x="7090" y="7633"/>
                    <a:pt x="6948" y="7580"/>
                    <a:pt x="6839" y="7474"/>
                  </a:cubicBezTo>
                  <a:lnTo>
                    <a:pt x="6830" y="7468"/>
                  </a:lnTo>
                  <a:lnTo>
                    <a:pt x="4946" y="5650"/>
                  </a:lnTo>
                  <a:cubicBezTo>
                    <a:pt x="4836" y="5544"/>
                    <a:pt x="4695" y="5491"/>
                    <a:pt x="4554" y="5491"/>
                  </a:cubicBezTo>
                  <a:cubicBezTo>
                    <a:pt x="4412" y="5491"/>
                    <a:pt x="4271" y="5544"/>
                    <a:pt x="4161" y="5650"/>
                  </a:cubicBezTo>
                  <a:lnTo>
                    <a:pt x="2277" y="7468"/>
                  </a:lnTo>
                  <a:lnTo>
                    <a:pt x="2268" y="7474"/>
                  </a:lnTo>
                  <a:cubicBezTo>
                    <a:pt x="2159" y="7580"/>
                    <a:pt x="2017" y="7633"/>
                    <a:pt x="1875" y="7633"/>
                  </a:cubicBezTo>
                  <a:cubicBezTo>
                    <a:pt x="1730" y="7633"/>
                    <a:pt x="1585" y="7577"/>
                    <a:pt x="1474" y="7468"/>
                  </a:cubicBezTo>
                  <a:cubicBezTo>
                    <a:pt x="1256" y="7247"/>
                    <a:pt x="1253" y="6894"/>
                    <a:pt x="1468" y="6673"/>
                  </a:cubicBezTo>
                  <a:lnTo>
                    <a:pt x="3352" y="4789"/>
                  </a:lnTo>
                  <a:cubicBezTo>
                    <a:pt x="3575" y="4566"/>
                    <a:pt x="3575" y="4210"/>
                    <a:pt x="3352" y="3986"/>
                  </a:cubicBezTo>
                  <a:lnTo>
                    <a:pt x="1468" y="2102"/>
                  </a:lnTo>
                  <a:cubicBezTo>
                    <a:pt x="1253" y="1882"/>
                    <a:pt x="1256" y="1528"/>
                    <a:pt x="1474" y="1308"/>
                  </a:cubicBezTo>
                  <a:cubicBezTo>
                    <a:pt x="1585" y="1198"/>
                    <a:pt x="1730" y="1143"/>
                    <a:pt x="1875" y="1143"/>
                  </a:cubicBezTo>
                  <a:cubicBezTo>
                    <a:pt x="2017" y="1143"/>
                    <a:pt x="2159" y="1196"/>
                    <a:pt x="2268" y="1302"/>
                  </a:cubicBezTo>
                  <a:lnTo>
                    <a:pt x="2277" y="1308"/>
                  </a:lnTo>
                  <a:lnTo>
                    <a:pt x="4161" y="3126"/>
                  </a:lnTo>
                  <a:cubicBezTo>
                    <a:pt x="4271" y="3231"/>
                    <a:pt x="4412" y="3284"/>
                    <a:pt x="4554" y="3284"/>
                  </a:cubicBezTo>
                  <a:cubicBezTo>
                    <a:pt x="4695" y="3284"/>
                    <a:pt x="4836" y="3231"/>
                    <a:pt x="4946" y="3126"/>
                  </a:cubicBezTo>
                  <a:lnTo>
                    <a:pt x="6830" y="1308"/>
                  </a:lnTo>
                  <a:lnTo>
                    <a:pt x="6839" y="1302"/>
                  </a:lnTo>
                  <a:cubicBezTo>
                    <a:pt x="6948" y="1196"/>
                    <a:pt x="7090" y="1143"/>
                    <a:pt x="7232" y="1143"/>
                  </a:cubicBezTo>
                  <a:close/>
                  <a:moveTo>
                    <a:pt x="1865" y="0"/>
                  </a:moveTo>
                  <a:cubicBezTo>
                    <a:pt x="1430" y="0"/>
                    <a:pt x="995" y="166"/>
                    <a:pt x="664" y="499"/>
                  </a:cubicBezTo>
                  <a:cubicBezTo>
                    <a:pt x="0" y="1163"/>
                    <a:pt x="3" y="2241"/>
                    <a:pt x="667" y="2902"/>
                  </a:cubicBezTo>
                  <a:lnTo>
                    <a:pt x="2153" y="4388"/>
                  </a:lnTo>
                  <a:lnTo>
                    <a:pt x="667" y="5873"/>
                  </a:lnTo>
                  <a:cubicBezTo>
                    <a:pt x="0" y="6535"/>
                    <a:pt x="0" y="7610"/>
                    <a:pt x="661" y="8274"/>
                  </a:cubicBezTo>
                  <a:cubicBezTo>
                    <a:pt x="995" y="8607"/>
                    <a:pt x="1431" y="8774"/>
                    <a:pt x="1868" y="8774"/>
                  </a:cubicBezTo>
                  <a:cubicBezTo>
                    <a:pt x="2301" y="8774"/>
                    <a:pt x="2734" y="8609"/>
                    <a:pt x="3065" y="8280"/>
                  </a:cubicBezTo>
                  <a:lnTo>
                    <a:pt x="4554" y="6846"/>
                  </a:lnTo>
                  <a:lnTo>
                    <a:pt x="6042" y="8280"/>
                  </a:lnTo>
                  <a:cubicBezTo>
                    <a:pt x="6373" y="8609"/>
                    <a:pt x="6806" y="8774"/>
                    <a:pt x="7239" y="8774"/>
                  </a:cubicBezTo>
                  <a:cubicBezTo>
                    <a:pt x="7675" y="8774"/>
                    <a:pt x="8111" y="8607"/>
                    <a:pt x="8443" y="8274"/>
                  </a:cubicBezTo>
                  <a:cubicBezTo>
                    <a:pt x="9104" y="7610"/>
                    <a:pt x="9104" y="6535"/>
                    <a:pt x="8440" y="5873"/>
                  </a:cubicBezTo>
                  <a:lnTo>
                    <a:pt x="6957" y="4388"/>
                  </a:lnTo>
                  <a:lnTo>
                    <a:pt x="8440" y="2902"/>
                  </a:lnTo>
                  <a:cubicBezTo>
                    <a:pt x="8760" y="2585"/>
                    <a:pt x="8938" y="2153"/>
                    <a:pt x="8938" y="1703"/>
                  </a:cubicBezTo>
                  <a:cubicBezTo>
                    <a:pt x="8938" y="1018"/>
                    <a:pt x="8524" y="399"/>
                    <a:pt x="7893" y="133"/>
                  </a:cubicBezTo>
                  <a:cubicBezTo>
                    <a:pt x="7682" y="46"/>
                    <a:pt x="7460" y="3"/>
                    <a:pt x="7239" y="3"/>
                  </a:cubicBezTo>
                  <a:cubicBezTo>
                    <a:pt x="6799" y="3"/>
                    <a:pt x="6366" y="174"/>
                    <a:pt x="6042" y="496"/>
                  </a:cubicBezTo>
                  <a:lnTo>
                    <a:pt x="4554" y="1930"/>
                  </a:lnTo>
                  <a:lnTo>
                    <a:pt x="3065" y="496"/>
                  </a:lnTo>
                  <a:cubicBezTo>
                    <a:pt x="2733" y="165"/>
                    <a:pt x="2299" y="0"/>
                    <a:pt x="1865"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435D74"/>
                </a:solidFill>
                <a:latin typeface="Arial"/>
                <a:cs typeface="Arial"/>
                <a:sym typeface="Arial"/>
              </a:endParaRPr>
            </a:p>
          </p:txBody>
        </p:sp>
      </p:grpSp>
      <p:grpSp>
        <p:nvGrpSpPr>
          <p:cNvPr id="9580" name="Google Shape;9580;p109"/>
          <p:cNvGrpSpPr/>
          <p:nvPr/>
        </p:nvGrpSpPr>
        <p:grpSpPr>
          <a:xfrm>
            <a:off x="1988437" y="5305584"/>
            <a:ext cx="391976" cy="391976"/>
            <a:chOff x="2676100" y="4993750"/>
            <a:chExt cx="483125" cy="483125"/>
          </a:xfrm>
        </p:grpSpPr>
        <p:sp>
          <p:nvSpPr>
            <p:cNvPr id="9581" name="Google Shape;9581;p109"/>
            <p:cNvSpPr/>
            <p:nvPr/>
          </p:nvSpPr>
          <p:spPr>
            <a:xfrm>
              <a:off x="2676100" y="4993750"/>
              <a:ext cx="483125" cy="483125"/>
            </a:xfrm>
            <a:custGeom>
              <a:avLst/>
              <a:gdLst/>
              <a:ahLst/>
              <a:cxnLst/>
              <a:rect l="l" t="t" r="r" b="b"/>
              <a:pathLst>
                <a:path w="19325" h="19325" extrusionOk="0">
                  <a:moveTo>
                    <a:pt x="17628" y="1133"/>
                  </a:moveTo>
                  <a:cubicBezTo>
                    <a:pt x="17939" y="1133"/>
                    <a:pt x="18193" y="1386"/>
                    <a:pt x="18193" y="1700"/>
                  </a:cubicBezTo>
                  <a:lnTo>
                    <a:pt x="18193" y="17628"/>
                  </a:lnTo>
                  <a:cubicBezTo>
                    <a:pt x="18193" y="17939"/>
                    <a:pt x="17939" y="18193"/>
                    <a:pt x="17628" y="18193"/>
                  </a:cubicBezTo>
                  <a:lnTo>
                    <a:pt x="1700" y="18193"/>
                  </a:lnTo>
                  <a:cubicBezTo>
                    <a:pt x="1386" y="18193"/>
                    <a:pt x="1133" y="17939"/>
                    <a:pt x="1133" y="17628"/>
                  </a:cubicBezTo>
                  <a:lnTo>
                    <a:pt x="1133" y="1700"/>
                  </a:lnTo>
                  <a:cubicBezTo>
                    <a:pt x="1133" y="1386"/>
                    <a:pt x="1386" y="1133"/>
                    <a:pt x="1700" y="1133"/>
                  </a:cubicBezTo>
                  <a:close/>
                  <a:moveTo>
                    <a:pt x="1700" y="1"/>
                  </a:moveTo>
                  <a:cubicBezTo>
                    <a:pt x="761" y="1"/>
                    <a:pt x="0" y="761"/>
                    <a:pt x="0" y="1700"/>
                  </a:cubicBezTo>
                  <a:lnTo>
                    <a:pt x="0" y="17628"/>
                  </a:lnTo>
                  <a:cubicBezTo>
                    <a:pt x="0" y="18564"/>
                    <a:pt x="761" y="19325"/>
                    <a:pt x="1700" y="19325"/>
                  </a:cubicBezTo>
                  <a:lnTo>
                    <a:pt x="17628" y="19325"/>
                  </a:lnTo>
                  <a:cubicBezTo>
                    <a:pt x="18564" y="19325"/>
                    <a:pt x="19325" y="18564"/>
                    <a:pt x="19325" y="17628"/>
                  </a:cubicBezTo>
                  <a:lnTo>
                    <a:pt x="19325" y="1700"/>
                  </a:lnTo>
                  <a:cubicBezTo>
                    <a:pt x="19325" y="761"/>
                    <a:pt x="18564" y="1"/>
                    <a:pt x="17628"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435D74"/>
                </a:solidFill>
                <a:latin typeface="Arial"/>
                <a:cs typeface="Arial"/>
                <a:sym typeface="Arial"/>
              </a:endParaRPr>
            </a:p>
          </p:txBody>
        </p:sp>
        <p:sp>
          <p:nvSpPr>
            <p:cNvPr id="9582" name="Google Shape;9582;p109"/>
            <p:cNvSpPr/>
            <p:nvPr/>
          </p:nvSpPr>
          <p:spPr>
            <a:xfrm>
              <a:off x="2776125" y="5051350"/>
              <a:ext cx="141550" cy="367950"/>
            </a:xfrm>
            <a:custGeom>
              <a:avLst/>
              <a:gdLst/>
              <a:ahLst/>
              <a:cxnLst/>
              <a:rect l="l" t="t" r="r" b="b"/>
              <a:pathLst>
                <a:path w="5662" h="14718" extrusionOk="0">
                  <a:moveTo>
                    <a:pt x="4529" y="4530"/>
                  </a:moveTo>
                  <a:lnTo>
                    <a:pt x="4529" y="5094"/>
                  </a:lnTo>
                  <a:cubicBezTo>
                    <a:pt x="4529" y="5408"/>
                    <a:pt x="4276" y="5662"/>
                    <a:pt x="3965" y="5662"/>
                  </a:cubicBezTo>
                  <a:cubicBezTo>
                    <a:pt x="3651" y="5662"/>
                    <a:pt x="3397" y="5912"/>
                    <a:pt x="3397" y="6226"/>
                  </a:cubicBezTo>
                  <a:lnTo>
                    <a:pt x="3397" y="13020"/>
                  </a:lnTo>
                  <a:cubicBezTo>
                    <a:pt x="3397" y="13334"/>
                    <a:pt x="3143" y="13585"/>
                    <a:pt x="2832" y="13585"/>
                  </a:cubicBezTo>
                  <a:cubicBezTo>
                    <a:pt x="2518" y="13585"/>
                    <a:pt x="2265" y="13334"/>
                    <a:pt x="2265" y="13020"/>
                  </a:cubicBezTo>
                  <a:lnTo>
                    <a:pt x="2265" y="6226"/>
                  </a:lnTo>
                  <a:cubicBezTo>
                    <a:pt x="2265" y="5912"/>
                    <a:pt x="2011" y="5662"/>
                    <a:pt x="1700" y="5662"/>
                  </a:cubicBezTo>
                  <a:cubicBezTo>
                    <a:pt x="1386" y="5662"/>
                    <a:pt x="1132" y="5408"/>
                    <a:pt x="1132" y="5094"/>
                  </a:cubicBezTo>
                  <a:lnTo>
                    <a:pt x="1132" y="4530"/>
                  </a:lnTo>
                  <a:close/>
                  <a:moveTo>
                    <a:pt x="568" y="0"/>
                  </a:moveTo>
                  <a:cubicBezTo>
                    <a:pt x="254" y="0"/>
                    <a:pt x="0" y="251"/>
                    <a:pt x="0" y="565"/>
                  </a:cubicBezTo>
                  <a:lnTo>
                    <a:pt x="0" y="5094"/>
                  </a:lnTo>
                  <a:cubicBezTo>
                    <a:pt x="0" y="5813"/>
                    <a:pt x="453" y="6456"/>
                    <a:pt x="1132" y="6694"/>
                  </a:cubicBezTo>
                  <a:lnTo>
                    <a:pt x="1132" y="13020"/>
                  </a:lnTo>
                  <a:cubicBezTo>
                    <a:pt x="1132" y="13959"/>
                    <a:pt x="1893" y="14717"/>
                    <a:pt x="2832" y="14717"/>
                  </a:cubicBezTo>
                  <a:cubicBezTo>
                    <a:pt x="3768" y="14717"/>
                    <a:pt x="4529" y="13959"/>
                    <a:pt x="4529" y="13020"/>
                  </a:cubicBezTo>
                  <a:lnTo>
                    <a:pt x="4529" y="6694"/>
                  </a:lnTo>
                  <a:cubicBezTo>
                    <a:pt x="5209" y="6456"/>
                    <a:pt x="5662" y="5813"/>
                    <a:pt x="5662" y="5094"/>
                  </a:cubicBezTo>
                  <a:lnTo>
                    <a:pt x="5662" y="565"/>
                  </a:lnTo>
                  <a:cubicBezTo>
                    <a:pt x="5662" y="251"/>
                    <a:pt x="5408" y="0"/>
                    <a:pt x="5097" y="0"/>
                  </a:cubicBezTo>
                  <a:cubicBezTo>
                    <a:pt x="4783" y="0"/>
                    <a:pt x="4529" y="251"/>
                    <a:pt x="4529" y="565"/>
                  </a:cubicBezTo>
                  <a:lnTo>
                    <a:pt x="4529" y="3397"/>
                  </a:lnTo>
                  <a:lnTo>
                    <a:pt x="3397" y="3397"/>
                  </a:lnTo>
                  <a:lnTo>
                    <a:pt x="3397" y="565"/>
                  </a:lnTo>
                  <a:cubicBezTo>
                    <a:pt x="3397" y="251"/>
                    <a:pt x="3143" y="0"/>
                    <a:pt x="2832" y="0"/>
                  </a:cubicBezTo>
                  <a:cubicBezTo>
                    <a:pt x="2518" y="0"/>
                    <a:pt x="2265" y="251"/>
                    <a:pt x="2265" y="565"/>
                  </a:cubicBezTo>
                  <a:lnTo>
                    <a:pt x="2265" y="3397"/>
                  </a:lnTo>
                  <a:lnTo>
                    <a:pt x="1132" y="3397"/>
                  </a:lnTo>
                  <a:lnTo>
                    <a:pt x="1132" y="565"/>
                  </a:lnTo>
                  <a:cubicBezTo>
                    <a:pt x="1132" y="251"/>
                    <a:pt x="879" y="0"/>
                    <a:pt x="568"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435D74"/>
                </a:solidFill>
                <a:latin typeface="Arial"/>
                <a:cs typeface="Arial"/>
                <a:sym typeface="Arial"/>
              </a:endParaRPr>
            </a:p>
          </p:txBody>
        </p:sp>
        <p:sp>
          <p:nvSpPr>
            <p:cNvPr id="9583" name="Google Shape;9583;p109"/>
            <p:cNvSpPr/>
            <p:nvPr/>
          </p:nvSpPr>
          <p:spPr>
            <a:xfrm>
              <a:off x="2945950" y="5051350"/>
              <a:ext cx="113275" cy="367950"/>
            </a:xfrm>
            <a:custGeom>
              <a:avLst/>
              <a:gdLst/>
              <a:ahLst/>
              <a:cxnLst/>
              <a:rect l="l" t="t" r="r" b="b"/>
              <a:pathLst>
                <a:path w="4531" h="14718" extrusionOk="0">
                  <a:moveTo>
                    <a:pt x="3398" y="1187"/>
                  </a:moveTo>
                  <a:lnTo>
                    <a:pt x="3398" y="13020"/>
                  </a:lnTo>
                  <a:cubicBezTo>
                    <a:pt x="3398" y="13334"/>
                    <a:pt x="3144" y="13585"/>
                    <a:pt x="2833" y="13585"/>
                  </a:cubicBezTo>
                  <a:cubicBezTo>
                    <a:pt x="2519" y="13585"/>
                    <a:pt x="2266" y="13334"/>
                    <a:pt x="2266" y="13020"/>
                  </a:cubicBezTo>
                  <a:lnTo>
                    <a:pt x="2266" y="8491"/>
                  </a:lnTo>
                  <a:cubicBezTo>
                    <a:pt x="2266" y="8177"/>
                    <a:pt x="2012" y="7926"/>
                    <a:pt x="1701" y="7926"/>
                  </a:cubicBezTo>
                  <a:lnTo>
                    <a:pt x="1133" y="7926"/>
                  </a:lnTo>
                  <a:lnTo>
                    <a:pt x="1133" y="3962"/>
                  </a:lnTo>
                  <a:cubicBezTo>
                    <a:pt x="1136" y="2618"/>
                    <a:pt x="2081" y="1459"/>
                    <a:pt x="3398" y="1187"/>
                  </a:cubicBezTo>
                  <a:close/>
                  <a:moveTo>
                    <a:pt x="3965" y="0"/>
                  </a:moveTo>
                  <a:cubicBezTo>
                    <a:pt x="1776" y="0"/>
                    <a:pt x="4" y="1773"/>
                    <a:pt x="1" y="3962"/>
                  </a:cubicBezTo>
                  <a:lnTo>
                    <a:pt x="1" y="8491"/>
                  </a:lnTo>
                  <a:cubicBezTo>
                    <a:pt x="1" y="8805"/>
                    <a:pt x="255" y="9059"/>
                    <a:pt x="569" y="9059"/>
                  </a:cubicBezTo>
                  <a:lnTo>
                    <a:pt x="1133" y="9059"/>
                  </a:lnTo>
                  <a:lnTo>
                    <a:pt x="1133" y="13020"/>
                  </a:lnTo>
                  <a:cubicBezTo>
                    <a:pt x="1133" y="13959"/>
                    <a:pt x="1894" y="14717"/>
                    <a:pt x="2833" y="14717"/>
                  </a:cubicBezTo>
                  <a:cubicBezTo>
                    <a:pt x="3769" y="14717"/>
                    <a:pt x="4530" y="13959"/>
                    <a:pt x="4530" y="13020"/>
                  </a:cubicBezTo>
                  <a:lnTo>
                    <a:pt x="4530" y="565"/>
                  </a:lnTo>
                  <a:cubicBezTo>
                    <a:pt x="4530" y="251"/>
                    <a:pt x="4276" y="0"/>
                    <a:pt x="3965"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435D74"/>
                </a:solidFill>
                <a:latin typeface="Arial"/>
                <a:cs typeface="Arial"/>
                <a:sym typeface="Arial"/>
              </a:endParaRPr>
            </a:p>
          </p:txBody>
        </p:sp>
      </p:grpSp>
      <p:grpSp>
        <p:nvGrpSpPr>
          <p:cNvPr id="9584" name="Google Shape;9584;p109"/>
          <p:cNvGrpSpPr/>
          <p:nvPr/>
        </p:nvGrpSpPr>
        <p:grpSpPr>
          <a:xfrm>
            <a:off x="5763247" y="5295753"/>
            <a:ext cx="410979" cy="410979"/>
            <a:chOff x="3270550" y="4993750"/>
            <a:chExt cx="483125" cy="483125"/>
          </a:xfrm>
        </p:grpSpPr>
        <p:sp>
          <p:nvSpPr>
            <p:cNvPr id="9585" name="Google Shape;9585;p109"/>
            <p:cNvSpPr/>
            <p:nvPr/>
          </p:nvSpPr>
          <p:spPr>
            <a:xfrm>
              <a:off x="3270550" y="4993750"/>
              <a:ext cx="483125" cy="483125"/>
            </a:xfrm>
            <a:custGeom>
              <a:avLst/>
              <a:gdLst/>
              <a:ahLst/>
              <a:cxnLst/>
              <a:rect l="l" t="t" r="r" b="b"/>
              <a:pathLst>
                <a:path w="19325" h="19325" extrusionOk="0">
                  <a:moveTo>
                    <a:pt x="17628" y="1133"/>
                  </a:moveTo>
                  <a:cubicBezTo>
                    <a:pt x="17939" y="1133"/>
                    <a:pt x="18193" y="1386"/>
                    <a:pt x="18193" y="1700"/>
                  </a:cubicBezTo>
                  <a:lnTo>
                    <a:pt x="18193" y="17628"/>
                  </a:lnTo>
                  <a:cubicBezTo>
                    <a:pt x="18193" y="17939"/>
                    <a:pt x="17939" y="18193"/>
                    <a:pt x="17628" y="18193"/>
                  </a:cubicBezTo>
                  <a:lnTo>
                    <a:pt x="1700" y="18193"/>
                  </a:lnTo>
                  <a:cubicBezTo>
                    <a:pt x="1386" y="18193"/>
                    <a:pt x="1133" y="17939"/>
                    <a:pt x="1133" y="17628"/>
                  </a:cubicBezTo>
                  <a:lnTo>
                    <a:pt x="1133" y="1700"/>
                  </a:lnTo>
                  <a:cubicBezTo>
                    <a:pt x="1133" y="1386"/>
                    <a:pt x="1386" y="1133"/>
                    <a:pt x="1700" y="1133"/>
                  </a:cubicBezTo>
                  <a:close/>
                  <a:moveTo>
                    <a:pt x="1700" y="1"/>
                  </a:moveTo>
                  <a:cubicBezTo>
                    <a:pt x="761" y="1"/>
                    <a:pt x="1" y="761"/>
                    <a:pt x="1" y="1700"/>
                  </a:cubicBezTo>
                  <a:lnTo>
                    <a:pt x="1" y="17628"/>
                  </a:lnTo>
                  <a:cubicBezTo>
                    <a:pt x="1" y="18564"/>
                    <a:pt x="761" y="19325"/>
                    <a:pt x="1700" y="19325"/>
                  </a:cubicBezTo>
                  <a:lnTo>
                    <a:pt x="17628" y="19325"/>
                  </a:lnTo>
                  <a:cubicBezTo>
                    <a:pt x="18564" y="19325"/>
                    <a:pt x="19325" y="18564"/>
                    <a:pt x="19325" y="17628"/>
                  </a:cubicBezTo>
                  <a:lnTo>
                    <a:pt x="19325" y="1700"/>
                  </a:lnTo>
                  <a:cubicBezTo>
                    <a:pt x="19325" y="761"/>
                    <a:pt x="18564" y="1"/>
                    <a:pt x="17628"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435D74"/>
                </a:solidFill>
                <a:latin typeface="Arial"/>
                <a:cs typeface="Arial"/>
                <a:sym typeface="Arial"/>
              </a:endParaRPr>
            </a:p>
          </p:txBody>
        </p:sp>
        <p:sp>
          <p:nvSpPr>
            <p:cNvPr id="9586" name="Google Shape;9586;p109"/>
            <p:cNvSpPr/>
            <p:nvPr/>
          </p:nvSpPr>
          <p:spPr>
            <a:xfrm>
              <a:off x="3469675" y="5079600"/>
              <a:ext cx="88275" cy="85000"/>
            </a:xfrm>
            <a:custGeom>
              <a:avLst/>
              <a:gdLst/>
              <a:ahLst/>
              <a:cxnLst/>
              <a:rect l="l" t="t" r="r" b="b"/>
              <a:pathLst>
                <a:path w="3531" h="3400" extrusionOk="0">
                  <a:moveTo>
                    <a:pt x="1698" y="1135"/>
                  </a:moveTo>
                  <a:cubicBezTo>
                    <a:pt x="2202" y="1135"/>
                    <a:pt x="2456" y="1742"/>
                    <a:pt x="2099" y="2101"/>
                  </a:cubicBezTo>
                  <a:cubicBezTo>
                    <a:pt x="1983" y="2216"/>
                    <a:pt x="1842" y="2268"/>
                    <a:pt x="1703" y="2268"/>
                  </a:cubicBezTo>
                  <a:cubicBezTo>
                    <a:pt x="1411" y="2268"/>
                    <a:pt x="1133" y="2041"/>
                    <a:pt x="1133" y="1700"/>
                  </a:cubicBezTo>
                  <a:cubicBezTo>
                    <a:pt x="1133" y="1386"/>
                    <a:pt x="1384" y="1135"/>
                    <a:pt x="1698" y="1135"/>
                  </a:cubicBezTo>
                  <a:close/>
                  <a:moveTo>
                    <a:pt x="1698" y="0"/>
                  </a:moveTo>
                  <a:cubicBezTo>
                    <a:pt x="1479" y="0"/>
                    <a:pt x="1259" y="42"/>
                    <a:pt x="1049" y="129"/>
                  </a:cubicBezTo>
                  <a:cubicBezTo>
                    <a:pt x="415" y="392"/>
                    <a:pt x="1" y="1011"/>
                    <a:pt x="1" y="1700"/>
                  </a:cubicBezTo>
                  <a:cubicBezTo>
                    <a:pt x="1" y="2639"/>
                    <a:pt x="759" y="3397"/>
                    <a:pt x="1698" y="3400"/>
                  </a:cubicBezTo>
                  <a:cubicBezTo>
                    <a:pt x="2386" y="3400"/>
                    <a:pt x="3005" y="2983"/>
                    <a:pt x="3268" y="2349"/>
                  </a:cubicBezTo>
                  <a:cubicBezTo>
                    <a:pt x="3531" y="1715"/>
                    <a:pt x="3386" y="984"/>
                    <a:pt x="2900" y="498"/>
                  </a:cubicBezTo>
                  <a:cubicBezTo>
                    <a:pt x="2574" y="173"/>
                    <a:pt x="2140" y="0"/>
                    <a:pt x="1698"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435D74"/>
                </a:solidFill>
                <a:latin typeface="Arial"/>
                <a:cs typeface="Arial"/>
                <a:sym typeface="Arial"/>
              </a:endParaRPr>
            </a:p>
          </p:txBody>
        </p:sp>
        <p:sp>
          <p:nvSpPr>
            <p:cNvPr id="9587" name="Google Shape;9587;p109"/>
            <p:cNvSpPr/>
            <p:nvPr/>
          </p:nvSpPr>
          <p:spPr>
            <a:xfrm>
              <a:off x="3441375" y="5192875"/>
              <a:ext cx="141475" cy="198175"/>
            </a:xfrm>
            <a:custGeom>
              <a:avLst/>
              <a:gdLst/>
              <a:ahLst/>
              <a:cxnLst/>
              <a:rect l="l" t="t" r="r" b="b"/>
              <a:pathLst>
                <a:path w="5659" h="7927" extrusionOk="0">
                  <a:moveTo>
                    <a:pt x="3397" y="1133"/>
                  </a:moveTo>
                  <a:lnTo>
                    <a:pt x="3397" y="6795"/>
                  </a:lnTo>
                  <a:lnTo>
                    <a:pt x="2265" y="6795"/>
                  </a:lnTo>
                  <a:lnTo>
                    <a:pt x="2265" y="1133"/>
                  </a:lnTo>
                  <a:close/>
                  <a:moveTo>
                    <a:pt x="565" y="1"/>
                  </a:moveTo>
                  <a:cubicBezTo>
                    <a:pt x="251" y="1"/>
                    <a:pt x="1" y="251"/>
                    <a:pt x="1" y="565"/>
                  </a:cubicBezTo>
                  <a:cubicBezTo>
                    <a:pt x="1" y="879"/>
                    <a:pt x="251" y="1133"/>
                    <a:pt x="565" y="1133"/>
                  </a:cubicBezTo>
                  <a:lnTo>
                    <a:pt x="1133" y="1133"/>
                  </a:lnTo>
                  <a:lnTo>
                    <a:pt x="1133" y="6795"/>
                  </a:lnTo>
                  <a:lnTo>
                    <a:pt x="565" y="6795"/>
                  </a:lnTo>
                  <a:cubicBezTo>
                    <a:pt x="251" y="6795"/>
                    <a:pt x="1" y="7045"/>
                    <a:pt x="1" y="7359"/>
                  </a:cubicBezTo>
                  <a:cubicBezTo>
                    <a:pt x="1" y="7673"/>
                    <a:pt x="251" y="7927"/>
                    <a:pt x="565" y="7927"/>
                  </a:cubicBezTo>
                  <a:lnTo>
                    <a:pt x="5094" y="7927"/>
                  </a:lnTo>
                  <a:cubicBezTo>
                    <a:pt x="5408" y="7927"/>
                    <a:pt x="5659" y="7673"/>
                    <a:pt x="5659" y="7359"/>
                  </a:cubicBezTo>
                  <a:cubicBezTo>
                    <a:pt x="5659" y="7045"/>
                    <a:pt x="5408" y="6795"/>
                    <a:pt x="5094" y="6795"/>
                  </a:cubicBezTo>
                  <a:lnTo>
                    <a:pt x="4530" y="6795"/>
                  </a:lnTo>
                  <a:lnTo>
                    <a:pt x="4530" y="565"/>
                  </a:lnTo>
                  <a:cubicBezTo>
                    <a:pt x="4530" y="251"/>
                    <a:pt x="4276" y="1"/>
                    <a:pt x="3962"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435D74"/>
                </a:solidFill>
                <a:latin typeface="Arial"/>
                <a:cs typeface="Arial"/>
                <a:sym typeface="Arial"/>
              </a:endParaRPr>
            </a:p>
          </p:txBody>
        </p:sp>
      </p:grpSp>
      <p:sp>
        <p:nvSpPr>
          <p:cNvPr id="9588" name="Google Shape;9588;p109"/>
          <p:cNvSpPr/>
          <p:nvPr/>
        </p:nvSpPr>
        <p:spPr>
          <a:xfrm>
            <a:off x="2519407" y="5305242"/>
            <a:ext cx="391996" cy="392097"/>
          </a:xfrm>
          <a:custGeom>
            <a:avLst/>
            <a:gdLst/>
            <a:ahLst/>
            <a:cxnLst/>
            <a:rect l="l" t="t" r="r" b="b"/>
            <a:pathLst>
              <a:path w="19326" h="19331" extrusionOk="0">
                <a:moveTo>
                  <a:pt x="9470" y="1131"/>
                </a:moveTo>
                <a:cubicBezTo>
                  <a:pt x="9519" y="1131"/>
                  <a:pt x="9569" y="1143"/>
                  <a:pt x="9615" y="1165"/>
                </a:cubicBezTo>
                <a:lnTo>
                  <a:pt x="17504" y="5208"/>
                </a:lnTo>
                <a:lnTo>
                  <a:pt x="14283" y="6820"/>
                </a:lnTo>
                <a:lnTo>
                  <a:pt x="6360" y="2756"/>
                </a:lnTo>
                <a:lnTo>
                  <a:pt x="9325" y="1168"/>
                </a:lnTo>
                <a:cubicBezTo>
                  <a:pt x="9369" y="1143"/>
                  <a:pt x="9419" y="1131"/>
                  <a:pt x="9470" y="1131"/>
                </a:cubicBezTo>
                <a:close/>
                <a:moveTo>
                  <a:pt x="5149" y="3405"/>
                </a:moveTo>
                <a:lnTo>
                  <a:pt x="13027" y="7448"/>
                </a:lnTo>
                <a:lnTo>
                  <a:pt x="9467" y="9230"/>
                </a:lnTo>
                <a:lnTo>
                  <a:pt x="1779" y="5208"/>
                </a:lnTo>
                <a:lnTo>
                  <a:pt x="5149" y="3405"/>
                </a:lnTo>
                <a:close/>
                <a:moveTo>
                  <a:pt x="1133" y="6150"/>
                </a:moveTo>
                <a:lnTo>
                  <a:pt x="8896" y="10208"/>
                </a:lnTo>
                <a:lnTo>
                  <a:pt x="8896" y="17935"/>
                </a:lnTo>
                <a:lnTo>
                  <a:pt x="1299" y="13916"/>
                </a:lnTo>
                <a:cubicBezTo>
                  <a:pt x="1196" y="13862"/>
                  <a:pt x="1133" y="13753"/>
                  <a:pt x="1133" y="13638"/>
                </a:cubicBezTo>
                <a:lnTo>
                  <a:pt x="1133" y="6150"/>
                </a:lnTo>
                <a:close/>
                <a:moveTo>
                  <a:pt x="18190" y="6132"/>
                </a:moveTo>
                <a:lnTo>
                  <a:pt x="18190" y="13629"/>
                </a:lnTo>
                <a:cubicBezTo>
                  <a:pt x="18193" y="13744"/>
                  <a:pt x="18126" y="13853"/>
                  <a:pt x="18021" y="13907"/>
                </a:cubicBezTo>
                <a:lnTo>
                  <a:pt x="10028" y="17953"/>
                </a:lnTo>
                <a:lnTo>
                  <a:pt x="10028" y="10217"/>
                </a:lnTo>
                <a:lnTo>
                  <a:pt x="13730" y="8363"/>
                </a:lnTo>
                <a:lnTo>
                  <a:pt x="13730" y="10281"/>
                </a:lnTo>
                <a:cubicBezTo>
                  <a:pt x="13730" y="10592"/>
                  <a:pt x="13984" y="10845"/>
                  <a:pt x="14298" y="10845"/>
                </a:cubicBezTo>
                <a:cubicBezTo>
                  <a:pt x="14609" y="10845"/>
                  <a:pt x="14862" y="10592"/>
                  <a:pt x="14862" y="10281"/>
                </a:cubicBezTo>
                <a:lnTo>
                  <a:pt x="14862" y="7796"/>
                </a:lnTo>
                <a:lnTo>
                  <a:pt x="18190" y="6132"/>
                </a:lnTo>
                <a:close/>
                <a:moveTo>
                  <a:pt x="9473" y="0"/>
                </a:moveTo>
                <a:cubicBezTo>
                  <a:pt x="9238" y="0"/>
                  <a:pt x="9003" y="58"/>
                  <a:pt x="8790" y="172"/>
                </a:cubicBezTo>
                <a:lnTo>
                  <a:pt x="765" y="4468"/>
                </a:lnTo>
                <a:cubicBezTo>
                  <a:pt x="294" y="4719"/>
                  <a:pt x="1" y="5208"/>
                  <a:pt x="1" y="5739"/>
                </a:cubicBezTo>
                <a:lnTo>
                  <a:pt x="1" y="13638"/>
                </a:lnTo>
                <a:cubicBezTo>
                  <a:pt x="1" y="14173"/>
                  <a:pt x="297" y="14665"/>
                  <a:pt x="771" y="14913"/>
                </a:cubicBezTo>
                <a:lnTo>
                  <a:pt x="8796" y="19164"/>
                </a:lnTo>
                <a:cubicBezTo>
                  <a:pt x="9008" y="19275"/>
                  <a:pt x="9240" y="19331"/>
                  <a:pt x="9473" y="19331"/>
                </a:cubicBezTo>
                <a:cubicBezTo>
                  <a:pt x="9696" y="19331"/>
                  <a:pt x="9919" y="19279"/>
                  <a:pt x="10125" y="19176"/>
                </a:cubicBezTo>
                <a:lnTo>
                  <a:pt x="18534" y="14916"/>
                </a:lnTo>
                <a:cubicBezTo>
                  <a:pt x="19020" y="14671"/>
                  <a:pt x="19325" y="14173"/>
                  <a:pt x="19325" y="13629"/>
                </a:cubicBezTo>
                <a:lnTo>
                  <a:pt x="19325" y="5752"/>
                </a:lnTo>
                <a:cubicBezTo>
                  <a:pt x="19325" y="5208"/>
                  <a:pt x="19023" y="4713"/>
                  <a:pt x="18537" y="4465"/>
                </a:cubicBezTo>
                <a:lnTo>
                  <a:pt x="10131" y="160"/>
                </a:lnTo>
                <a:cubicBezTo>
                  <a:pt x="9924" y="53"/>
                  <a:pt x="9698" y="0"/>
                  <a:pt x="9473"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435D74"/>
              </a:solidFill>
              <a:latin typeface="Arial"/>
              <a:cs typeface="Arial"/>
              <a:sym typeface="Arial"/>
            </a:endParaRPr>
          </a:p>
        </p:txBody>
      </p:sp>
      <p:grpSp>
        <p:nvGrpSpPr>
          <p:cNvPr id="9589" name="Google Shape;9589;p109"/>
          <p:cNvGrpSpPr/>
          <p:nvPr/>
        </p:nvGrpSpPr>
        <p:grpSpPr>
          <a:xfrm>
            <a:off x="3050791" y="5305524"/>
            <a:ext cx="391996" cy="392097"/>
            <a:chOff x="4459450" y="4993700"/>
            <a:chExt cx="483150" cy="483275"/>
          </a:xfrm>
        </p:grpSpPr>
        <p:sp>
          <p:nvSpPr>
            <p:cNvPr id="9590" name="Google Shape;9590;p109"/>
            <p:cNvSpPr/>
            <p:nvPr/>
          </p:nvSpPr>
          <p:spPr>
            <a:xfrm>
              <a:off x="4459450" y="4993700"/>
              <a:ext cx="483150" cy="483275"/>
            </a:xfrm>
            <a:custGeom>
              <a:avLst/>
              <a:gdLst/>
              <a:ahLst/>
              <a:cxnLst/>
              <a:rect l="l" t="t" r="r" b="b"/>
              <a:pathLst>
                <a:path w="19326" h="19331" extrusionOk="0">
                  <a:moveTo>
                    <a:pt x="9470" y="1131"/>
                  </a:moveTo>
                  <a:cubicBezTo>
                    <a:pt x="9519" y="1131"/>
                    <a:pt x="9569" y="1143"/>
                    <a:pt x="9615" y="1165"/>
                  </a:cubicBezTo>
                  <a:lnTo>
                    <a:pt x="17505" y="5208"/>
                  </a:lnTo>
                  <a:lnTo>
                    <a:pt x="14283" y="6820"/>
                  </a:lnTo>
                  <a:lnTo>
                    <a:pt x="6429" y="2720"/>
                  </a:lnTo>
                  <a:lnTo>
                    <a:pt x="9325" y="1168"/>
                  </a:lnTo>
                  <a:cubicBezTo>
                    <a:pt x="9369" y="1143"/>
                    <a:pt x="9419" y="1131"/>
                    <a:pt x="9470" y="1131"/>
                  </a:cubicBezTo>
                  <a:close/>
                  <a:moveTo>
                    <a:pt x="5221" y="3366"/>
                  </a:moveTo>
                  <a:lnTo>
                    <a:pt x="13033" y="7445"/>
                  </a:lnTo>
                  <a:lnTo>
                    <a:pt x="9467" y="9230"/>
                  </a:lnTo>
                  <a:lnTo>
                    <a:pt x="1779" y="5208"/>
                  </a:lnTo>
                  <a:lnTo>
                    <a:pt x="5221" y="3366"/>
                  </a:lnTo>
                  <a:close/>
                  <a:moveTo>
                    <a:pt x="1133" y="6150"/>
                  </a:moveTo>
                  <a:lnTo>
                    <a:pt x="8896" y="10208"/>
                  </a:lnTo>
                  <a:lnTo>
                    <a:pt x="8896" y="17935"/>
                  </a:lnTo>
                  <a:lnTo>
                    <a:pt x="1299" y="13916"/>
                  </a:lnTo>
                  <a:cubicBezTo>
                    <a:pt x="1197" y="13862"/>
                    <a:pt x="1133" y="13753"/>
                    <a:pt x="1133" y="13638"/>
                  </a:cubicBezTo>
                  <a:lnTo>
                    <a:pt x="1133" y="6150"/>
                  </a:lnTo>
                  <a:close/>
                  <a:moveTo>
                    <a:pt x="18193" y="6132"/>
                  </a:moveTo>
                  <a:lnTo>
                    <a:pt x="18193" y="13629"/>
                  </a:lnTo>
                  <a:cubicBezTo>
                    <a:pt x="18193" y="13744"/>
                    <a:pt x="18127" y="13853"/>
                    <a:pt x="18021" y="13907"/>
                  </a:cubicBezTo>
                  <a:lnTo>
                    <a:pt x="10028" y="17953"/>
                  </a:lnTo>
                  <a:lnTo>
                    <a:pt x="10028" y="10217"/>
                  </a:lnTo>
                  <a:lnTo>
                    <a:pt x="13730" y="8363"/>
                  </a:lnTo>
                  <a:lnTo>
                    <a:pt x="13730" y="10281"/>
                  </a:lnTo>
                  <a:cubicBezTo>
                    <a:pt x="13730" y="10592"/>
                    <a:pt x="13984" y="10845"/>
                    <a:pt x="14298" y="10845"/>
                  </a:cubicBezTo>
                  <a:cubicBezTo>
                    <a:pt x="14609" y="10845"/>
                    <a:pt x="14863" y="10592"/>
                    <a:pt x="14863" y="10281"/>
                  </a:cubicBezTo>
                  <a:lnTo>
                    <a:pt x="14863" y="7796"/>
                  </a:lnTo>
                  <a:lnTo>
                    <a:pt x="18193" y="6132"/>
                  </a:lnTo>
                  <a:close/>
                  <a:moveTo>
                    <a:pt x="9472" y="0"/>
                  </a:moveTo>
                  <a:cubicBezTo>
                    <a:pt x="9237" y="0"/>
                    <a:pt x="9002" y="58"/>
                    <a:pt x="8787" y="172"/>
                  </a:cubicBezTo>
                  <a:lnTo>
                    <a:pt x="765" y="4468"/>
                  </a:lnTo>
                  <a:cubicBezTo>
                    <a:pt x="294" y="4719"/>
                    <a:pt x="1" y="5208"/>
                    <a:pt x="1" y="5739"/>
                  </a:cubicBezTo>
                  <a:lnTo>
                    <a:pt x="1" y="13638"/>
                  </a:lnTo>
                  <a:cubicBezTo>
                    <a:pt x="1" y="14173"/>
                    <a:pt x="297" y="14665"/>
                    <a:pt x="771" y="14913"/>
                  </a:cubicBezTo>
                  <a:lnTo>
                    <a:pt x="8796" y="19164"/>
                  </a:lnTo>
                  <a:cubicBezTo>
                    <a:pt x="9008" y="19275"/>
                    <a:pt x="9240" y="19331"/>
                    <a:pt x="9473" y="19331"/>
                  </a:cubicBezTo>
                  <a:cubicBezTo>
                    <a:pt x="9696" y="19331"/>
                    <a:pt x="9920" y="19279"/>
                    <a:pt x="10125" y="19176"/>
                  </a:cubicBezTo>
                  <a:lnTo>
                    <a:pt x="18534" y="14916"/>
                  </a:lnTo>
                  <a:cubicBezTo>
                    <a:pt x="19020" y="14671"/>
                    <a:pt x="19325" y="14173"/>
                    <a:pt x="19325" y="13629"/>
                  </a:cubicBezTo>
                  <a:lnTo>
                    <a:pt x="19325" y="5752"/>
                  </a:lnTo>
                  <a:cubicBezTo>
                    <a:pt x="19325" y="5208"/>
                    <a:pt x="19023" y="4713"/>
                    <a:pt x="18537" y="4465"/>
                  </a:cubicBezTo>
                  <a:lnTo>
                    <a:pt x="10128" y="160"/>
                  </a:lnTo>
                  <a:cubicBezTo>
                    <a:pt x="9922" y="53"/>
                    <a:pt x="9697" y="0"/>
                    <a:pt x="9472"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435D74"/>
                </a:solidFill>
                <a:latin typeface="Arial"/>
                <a:cs typeface="Arial"/>
                <a:sym typeface="Arial"/>
              </a:endParaRPr>
            </a:p>
          </p:txBody>
        </p:sp>
        <p:sp>
          <p:nvSpPr>
            <p:cNvPr id="9591" name="Google Shape;9591;p109"/>
            <p:cNvSpPr/>
            <p:nvPr/>
          </p:nvSpPr>
          <p:spPr>
            <a:xfrm>
              <a:off x="4530800" y="5235675"/>
              <a:ext cx="99650" cy="118650"/>
            </a:xfrm>
            <a:custGeom>
              <a:avLst/>
              <a:gdLst/>
              <a:ahLst/>
              <a:cxnLst/>
              <a:rect l="l" t="t" r="r" b="b"/>
              <a:pathLst>
                <a:path w="3986" h="4746" extrusionOk="0">
                  <a:moveTo>
                    <a:pt x="859" y="1"/>
                  </a:moveTo>
                  <a:cubicBezTo>
                    <a:pt x="757" y="1"/>
                    <a:pt x="654" y="28"/>
                    <a:pt x="562" y="85"/>
                  </a:cubicBezTo>
                  <a:cubicBezTo>
                    <a:pt x="296" y="251"/>
                    <a:pt x="215" y="596"/>
                    <a:pt x="378" y="861"/>
                  </a:cubicBezTo>
                  <a:lnTo>
                    <a:pt x="1136" y="2081"/>
                  </a:lnTo>
                  <a:lnTo>
                    <a:pt x="432" y="2374"/>
                  </a:lnTo>
                  <a:cubicBezTo>
                    <a:pt x="139" y="2492"/>
                    <a:pt x="0" y="2827"/>
                    <a:pt x="121" y="3117"/>
                  </a:cubicBezTo>
                  <a:cubicBezTo>
                    <a:pt x="211" y="3335"/>
                    <a:pt x="422" y="3466"/>
                    <a:pt x="644" y="3466"/>
                  </a:cubicBezTo>
                  <a:cubicBezTo>
                    <a:pt x="719" y="3466"/>
                    <a:pt x="796" y="3451"/>
                    <a:pt x="870" y="3419"/>
                  </a:cubicBezTo>
                  <a:lnTo>
                    <a:pt x="1742" y="3054"/>
                  </a:lnTo>
                  <a:lnTo>
                    <a:pt x="2627" y="4476"/>
                  </a:lnTo>
                  <a:cubicBezTo>
                    <a:pt x="2733" y="4650"/>
                    <a:pt x="2919" y="4746"/>
                    <a:pt x="3110" y="4746"/>
                  </a:cubicBezTo>
                  <a:cubicBezTo>
                    <a:pt x="3212" y="4746"/>
                    <a:pt x="3316" y="4718"/>
                    <a:pt x="3409" y="4660"/>
                  </a:cubicBezTo>
                  <a:cubicBezTo>
                    <a:pt x="3675" y="4494"/>
                    <a:pt x="3756" y="4144"/>
                    <a:pt x="3587" y="3878"/>
                  </a:cubicBezTo>
                  <a:lnTo>
                    <a:pt x="2802" y="2613"/>
                  </a:lnTo>
                  <a:lnTo>
                    <a:pt x="3560" y="2296"/>
                  </a:lnTo>
                  <a:cubicBezTo>
                    <a:pt x="3850" y="2175"/>
                    <a:pt x="3986" y="1843"/>
                    <a:pt x="3865" y="1556"/>
                  </a:cubicBezTo>
                  <a:cubicBezTo>
                    <a:pt x="3774" y="1338"/>
                    <a:pt x="3564" y="1207"/>
                    <a:pt x="3343" y="1207"/>
                  </a:cubicBezTo>
                  <a:cubicBezTo>
                    <a:pt x="3270" y="1207"/>
                    <a:pt x="3196" y="1221"/>
                    <a:pt x="3125" y="1251"/>
                  </a:cubicBezTo>
                  <a:lnTo>
                    <a:pt x="2195" y="1637"/>
                  </a:lnTo>
                  <a:lnTo>
                    <a:pt x="1338" y="264"/>
                  </a:lnTo>
                  <a:cubicBezTo>
                    <a:pt x="1230" y="93"/>
                    <a:pt x="1047" y="1"/>
                    <a:pt x="859"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435D74"/>
                </a:solidFill>
                <a:latin typeface="Arial"/>
                <a:cs typeface="Arial"/>
                <a:sym typeface="Arial"/>
              </a:endParaRPr>
            </a:p>
          </p:txBody>
        </p:sp>
      </p:grpSp>
      <p:grpSp>
        <p:nvGrpSpPr>
          <p:cNvPr id="9592" name="Google Shape;9592;p109"/>
          <p:cNvGrpSpPr/>
          <p:nvPr/>
        </p:nvGrpSpPr>
        <p:grpSpPr>
          <a:xfrm>
            <a:off x="3581962" y="5305524"/>
            <a:ext cx="391996" cy="392097"/>
            <a:chOff x="5053900" y="4993700"/>
            <a:chExt cx="483150" cy="483275"/>
          </a:xfrm>
        </p:grpSpPr>
        <p:sp>
          <p:nvSpPr>
            <p:cNvPr id="9593" name="Google Shape;9593;p109"/>
            <p:cNvSpPr/>
            <p:nvPr/>
          </p:nvSpPr>
          <p:spPr>
            <a:xfrm>
              <a:off x="5053900" y="4993700"/>
              <a:ext cx="483150" cy="483275"/>
            </a:xfrm>
            <a:custGeom>
              <a:avLst/>
              <a:gdLst/>
              <a:ahLst/>
              <a:cxnLst/>
              <a:rect l="l" t="t" r="r" b="b"/>
              <a:pathLst>
                <a:path w="19326" h="19331" extrusionOk="0">
                  <a:moveTo>
                    <a:pt x="9470" y="1131"/>
                  </a:moveTo>
                  <a:cubicBezTo>
                    <a:pt x="9519" y="1131"/>
                    <a:pt x="9569" y="1143"/>
                    <a:pt x="9615" y="1165"/>
                  </a:cubicBezTo>
                  <a:lnTo>
                    <a:pt x="17505" y="5208"/>
                  </a:lnTo>
                  <a:lnTo>
                    <a:pt x="14283" y="6820"/>
                  </a:lnTo>
                  <a:lnTo>
                    <a:pt x="6429" y="2720"/>
                  </a:lnTo>
                  <a:lnTo>
                    <a:pt x="9325" y="1168"/>
                  </a:lnTo>
                  <a:cubicBezTo>
                    <a:pt x="9369" y="1143"/>
                    <a:pt x="9419" y="1131"/>
                    <a:pt x="9470" y="1131"/>
                  </a:cubicBezTo>
                  <a:close/>
                  <a:moveTo>
                    <a:pt x="5222" y="3366"/>
                  </a:moveTo>
                  <a:lnTo>
                    <a:pt x="13033" y="7445"/>
                  </a:lnTo>
                  <a:lnTo>
                    <a:pt x="9467" y="9230"/>
                  </a:lnTo>
                  <a:lnTo>
                    <a:pt x="1779" y="5208"/>
                  </a:lnTo>
                  <a:lnTo>
                    <a:pt x="5222" y="3366"/>
                  </a:lnTo>
                  <a:close/>
                  <a:moveTo>
                    <a:pt x="1133" y="6150"/>
                  </a:moveTo>
                  <a:lnTo>
                    <a:pt x="8896" y="10208"/>
                  </a:lnTo>
                  <a:lnTo>
                    <a:pt x="8896" y="17935"/>
                  </a:lnTo>
                  <a:lnTo>
                    <a:pt x="1299" y="13916"/>
                  </a:lnTo>
                  <a:cubicBezTo>
                    <a:pt x="1197" y="13862"/>
                    <a:pt x="1133" y="13753"/>
                    <a:pt x="1133" y="13638"/>
                  </a:cubicBezTo>
                  <a:lnTo>
                    <a:pt x="1133" y="6150"/>
                  </a:lnTo>
                  <a:close/>
                  <a:moveTo>
                    <a:pt x="18193" y="6132"/>
                  </a:moveTo>
                  <a:lnTo>
                    <a:pt x="18193" y="13629"/>
                  </a:lnTo>
                  <a:cubicBezTo>
                    <a:pt x="18193" y="13744"/>
                    <a:pt x="18127" y="13853"/>
                    <a:pt x="18021" y="13907"/>
                  </a:cubicBezTo>
                  <a:lnTo>
                    <a:pt x="10029" y="17953"/>
                  </a:lnTo>
                  <a:lnTo>
                    <a:pt x="10029" y="10217"/>
                  </a:lnTo>
                  <a:lnTo>
                    <a:pt x="13730" y="8363"/>
                  </a:lnTo>
                  <a:lnTo>
                    <a:pt x="13730" y="10281"/>
                  </a:lnTo>
                  <a:cubicBezTo>
                    <a:pt x="13730" y="10592"/>
                    <a:pt x="13984" y="10845"/>
                    <a:pt x="14298" y="10845"/>
                  </a:cubicBezTo>
                  <a:cubicBezTo>
                    <a:pt x="14609" y="10845"/>
                    <a:pt x="14863" y="10592"/>
                    <a:pt x="14863" y="10281"/>
                  </a:cubicBezTo>
                  <a:lnTo>
                    <a:pt x="14863" y="7796"/>
                  </a:lnTo>
                  <a:lnTo>
                    <a:pt x="18193" y="6132"/>
                  </a:lnTo>
                  <a:close/>
                  <a:moveTo>
                    <a:pt x="9472" y="0"/>
                  </a:moveTo>
                  <a:cubicBezTo>
                    <a:pt x="9237" y="0"/>
                    <a:pt x="9002" y="58"/>
                    <a:pt x="8788" y="172"/>
                  </a:cubicBezTo>
                  <a:lnTo>
                    <a:pt x="765" y="4468"/>
                  </a:lnTo>
                  <a:cubicBezTo>
                    <a:pt x="294" y="4719"/>
                    <a:pt x="1" y="5208"/>
                    <a:pt x="1" y="5739"/>
                  </a:cubicBezTo>
                  <a:lnTo>
                    <a:pt x="1" y="13638"/>
                  </a:lnTo>
                  <a:cubicBezTo>
                    <a:pt x="1" y="14173"/>
                    <a:pt x="297" y="14665"/>
                    <a:pt x="771" y="14913"/>
                  </a:cubicBezTo>
                  <a:lnTo>
                    <a:pt x="8797" y="19164"/>
                  </a:lnTo>
                  <a:cubicBezTo>
                    <a:pt x="9008" y="19275"/>
                    <a:pt x="9240" y="19331"/>
                    <a:pt x="9473" y="19331"/>
                  </a:cubicBezTo>
                  <a:cubicBezTo>
                    <a:pt x="9696" y="19331"/>
                    <a:pt x="9920" y="19279"/>
                    <a:pt x="10125" y="19176"/>
                  </a:cubicBezTo>
                  <a:lnTo>
                    <a:pt x="18534" y="14916"/>
                  </a:lnTo>
                  <a:cubicBezTo>
                    <a:pt x="19020" y="14671"/>
                    <a:pt x="19325" y="14173"/>
                    <a:pt x="19325" y="13629"/>
                  </a:cubicBezTo>
                  <a:lnTo>
                    <a:pt x="19325" y="5752"/>
                  </a:lnTo>
                  <a:cubicBezTo>
                    <a:pt x="19325" y="5208"/>
                    <a:pt x="19023" y="4713"/>
                    <a:pt x="18537" y="4465"/>
                  </a:cubicBezTo>
                  <a:lnTo>
                    <a:pt x="10128" y="160"/>
                  </a:lnTo>
                  <a:cubicBezTo>
                    <a:pt x="9923" y="53"/>
                    <a:pt x="9698" y="0"/>
                    <a:pt x="9472"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435D74"/>
                </a:solidFill>
                <a:latin typeface="Arial"/>
                <a:cs typeface="Arial"/>
                <a:sym typeface="Arial"/>
              </a:endParaRPr>
            </a:p>
          </p:txBody>
        </p:sp>
        <p:sp>
          <p:nvSpPr>
            <p:cNvPr id="9594" name="Google Shape;9594;p109"/>
            <p:cNvSpPr/>
            <p:nvPr/>
          </p:nvSpPr>
          <p:spPr>
            <a:xfrm>
              <a:off x="5123725" y="5264025"/>
              <a:ext cx="105200" cy="61775"/>
            </a:xfrm>
            <a:custGeom>
              <a:avLst/>
              <a:gdLst/>
              <a:ahLst/>
              <a:cxnLst/>
              <a:rect l="l" t="t" r="r" b="b"/>
              <a:pathLst>
                <a:path w="4208" h="2471" extrusionOk="0">
                  <a:moveTo>
                    <a:pt x="3561" y="1"/>
                  </a:moveTo>
                  <a:cubicBezTo>
                    <a:pt x="3462" y="1"/>
                    <a:pt x="3362" y="26"/>
                    <a:pt x="3271" y="81"/>
                  </a:cubicBezTo>
                  <a:lnTo>
                    <a:pt x="1523" y="1122"/>
                  </a:lnTo>
                  <a:lnTo>
                    <a:pt x="1139" y="449"/>
                  </a:lnTo>
                  <a:cubicBezTo>
                    <a:pt x="1035" y="266"/>
                    <a:pt x="844" y="162"/>
                    <a:pt x="647" y="162"/>
                  </a:cubicBezTo>
                  <a:cubicBezTo>
                    <a:pt x="551" y="162"/>
                    <a:pt x="455" y="187"/>
                    <a:pt x="366" y="238"/>
                  </a:cubicBezTo>
                  <a:cubicBezTo>
                    <a:pt x="95" y="392"/>
                    <a:pt x="1" y="736"/>
                    <a:pt x="155" y="1008"/>
                  </a:cubicBezTo>
                  <a:lnTo>
                    <a:pt x="825" y="2185"/>
                  </a:lnTo>
                  <a:lnTo>
                    <a:pt x="831" y="2191"/>
                  </a:lnTo>
                  <a:cubicBezTo>
                    <a:pt x="831" y="2194"/>
                    <a:pt x="831" y="2194"/>
                    <a:pt x="831" y="2194"/>
                  </a:cubicBezTo>
                  <a:cubicBezTo>
                    <a:pt x="834" y="2200"/>
                    <a:pt x="837" y="2203"/>
                    <a:pt x="840" y="2206"/>
                  </a:cubicBezTo>
                  <a:lnTo>
                    <a:pt x="849" y="2224"/>
                  </a:lnTo>
                  <a:lnTo>
                    <a:pt x="861" y="2240"/>
                  </a:lnTo>
                  <a:lnTo>
                    <a:pt x="874" y="2255"/>
                  </a:lnTo>
                  <a:lnTo>
                    <a:pt x="883" y="2270"/>
                  </a:lnTo>
                  <a:lnTo>
                    <a:pt x="898" y="2282"/>
                  </a:lnTo>
                  <a:lnTo>
                    <a:pt x="910" y="2297"/>
                  </a:lnTo>
                  <a:lnTo>
                    <a:pt x="922" y="2312"/>
                  </a:lnTo>
                  <a:lnTo>
                    <a:pt x="937" y="2324"/>
                  </a:lnTo>
                  <a:lnTo>
                    <a:pt x="949" y="2336"/>
                  </a:lnTo>
                  <a:lnTo>
                    <a:pt x="964" y="2348"/>
                  </a:lnTo>
                  <a:cubicBezTo>
                    <a:pt x="970" y="2351"/>
                    <a:pt x="973" y="2354"/>
                    <a:pt x="979" y="2357"/>
                  </a:cubicBezTo>
                  <a:lnTo>
                    <a:pt x="994" y="2369"/>
                  </a:lnTo>
                  <a:lnTo>
                    <a:pt x="1009" y="2378"/>
                  </a:lnTo>
                  <a:lnTo>
                    <a:pt x="1028" y="2391"/>
                  </a:lnTo>
                  <a:lnTo>
                    <a:pt x="1040" y="2400"/>
                  </a:lnTo>
                  <a:lnTo>
                    <a:pt x="1058" y="2409"/>
                  </a:lnTo>
                  <a:lnTo>
                    <a:pt x="1073" y="2415"/>
                  </a:lnTo>
                  <a:cubicBezTo>
                    <a:pt x="1079" y="2418"/>
                    <a:pt x="1085" y="2421"/>
                    <a:pt x="1091" y="2424"/>
                  </a:cubicBezTo>
                  <a:lnTo>
                    <a:pt x="1106" y="2430"/>
                  </a:lnTo>
                  <a:lnTo>
                    <a:pt x="1124" y="2436"/>
                  </a:lnTo>
                  <a:lnTo>
                    <a:pt x="1139" y="2442"/>
                  </a:lnTo>
                  <a:lnTo>
                    <a:pt x="1160" y="2448"/>
                  </a:lnTo>
                  <a:lnTo>
                    <a:pt x="1176" y="2454"/>
                  </a:lnTo>
                  <a:lnTo>
                    <a:pt x="1197" y="2457"/>
                  </a:lnTo>
                  <a:lnTo>
                    <a:pt x="1212" y="2460"/>
                  </a:lnTo>
                  <a:lnTo>
                    <a:pt x="1233" y="2463"/>
                  </a:lnTo>
                  <a:lnTo>
                    <a:pt x="1245" y="2466"/>
                  </a:lnTo>
                  <a:cubicBezTo>
                    <a:pt x="1254" y="2466"/>
                    <a:pt x="1263" y="2466"/>
                    <a:pt x="1269" y="2469"/>
                  </a:cubicBezTo>
                  <a:cubicBezTo>
                    <a:pt x="1272" y="2470"/>
                    <a:pt x="1274" y="2470"/>
                    <a:pt x="1276" y="2470"/>
                  </a:cubicBezTo>
                  <a:cubicBezTo>
                    <a:pt x="1279" y="2470"/>
                    <a:pt x="1279" y="2469"/>
                    <a:pt x="1281" y="2469"/>
                  </a:cubicBezTo>
                  <a:lnTo>
                    <a:pt x="1369" y="2469"/>
                  </a:lnTo>
                  <a:lnTo>
                    <a:pt x="1393" y="2466"/>
                  </a:lnTo>
                  <a:lnTo>
                    <a:pt x="1408" y="2463"/>
                  </a:lnTo>
                  <a:cubicBezTo>
                    <a:pt x="1414" y="2463"/>
                    <a:pt x="1420" y="2463"/>
                    <a:pt x="1426" y="2460"/>
                  </a:cubicBezTo>
                  <a:lnTo>
                    <a:pt x="1444" y="2457"/>
                  </a:lnTo>
                  <a:lnTo>
                    <a:pt x="1462" y="2451"/>
                  </a:lnTo>
                  <a:lnTo>
                    <a:pt x="1480" y="2448"/>
                  </a:lnTo>
                  <a:lnTo>
                    <a:pt x="1499" y="2442"/>
                  </a:lnTo>
                  <a:lnTo>
                    <a:pt x="1517" y="2436"/>
                  </a:lnTo>
                  <a:cubicBezTo>
                    <a:pt x="1523" y="2433"/>
                    <a:pt x="1529" y="2430"/>
                    <a:pt x="1535" y="2427"/>
                  </a:cubicBezTo>
                  <a:lnTo>
                    <a:pt x="1553" y="2421"/>
                  </a:lnTo>
                  <a:lnTo>
                    <a:pt x="1568" y="2412"/>
                  </a:lnTo>
                  <a:lnTo>
                    <a:pt x="1586" y="2403"/>
                  </a:lnTo>
                  <a:cubicBezTo>
                    <a:pt x="1589" y="2403"/>
                    <a:pt x="1595" y="2400"/>
                    <a:pt x="1598" y="2397"/>
                  </a:cubicBezTo>
                  <a:cubicBezTo>
                    <a:pt x="1600" y="2395"/>
                    <a:pt x="1600" y="2395"/>
                    <a:pt x="1601" y="2395"/>
                  </a:cubicBezTo>
                  <a:cubicBezTo>
                    <a:pt x="1601" y="2395"/>
                    <a:pt x="1601" y="2395"/>
                    <a:pt x="1601" y="2394"/>
                  </a:cubicBezTo>
                  <a:lnTo>
                    <a:pt x="1607" y="2391"/>
                  </a:lnTo>
                  <a:lnTo>
                    <a:pt x="3851" y="1053"/>
                  </a:lnTo>
                  <a:cubicBezTo>
                    <a:pt x="4119" y="893"/>
                    <a:pt x="4207" y="546"/>
                    <a:pt x="4047" y="277"/>
                  </a:cubicBezTo>
                  <a:cubicBezTo>
                    <a:pt x="3941" y="99"/>
                    <a:pt x="3753" y="1"/>
                    <a:pt x="3561"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435D74"/>
                </a:solidFill>
                <a:latin typeface="Arial"/>
                <a:cs typeface="Arial"/>
                <a:sym typeface="Arial"/>
              </a:endParaRPr>
            </a:p>
          </p:txBody>
        </p:sp>
      </p:grpSp>
    </p:spTree>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bg>
      <p:bgPr>
        <a:solidFill>
          <a:srgbClr val="0E2A47"/>
        </a:solidFill>
        <a:effectLst/>
      </p:bgPr>
    </p:bg>
    <p:spTree>
      <p:nvGrpSpPr>
        <p:cNvPr id="1" name="Shape 9598"/>
        <p:cNvGrpSpPr/>
        <p:nvPr/>
      </p:nvGrpSpPr>
      <p:grpSpPr>
        <a:xfrm>
          <a:off x="0" y="0"/>
          <a:ext cx="0" cy="0"/>
          <a:chOff x="0" y="0"/>
          <a:chExt cx="0" cy="0"/>
        </a:xfrm>
      </p:grpSpPr>
      <p:sp>
        <p:nvSpPr>
          <p:cNvPr id="9599" name="Google Shape;9599;p110"/>
          <p:cNvSpPr/>
          <p:nvPr/>
        </p:nvSpPr>
        <p:spPr>
          <a:xfrm>
            <a:off x="1125467" y="2045341"/>
            <a:ext cx="431556" cy="498080"/>
          </a:xfrm>
          <a:custGeom>
            <a:avLst/>
            <a:gdLst/>
            <a:ahLst/>
            <a:cxnLst/>
            <a:rect l="l" t="t" r="r" b="b"/>
            <a:pathLst>
              <a:path w="10996" h="12691" extrusionOk="0">
                <a:moveTo>
                  <a:pt x="6050" y="820"/>
                </a:moveTo>
                <a:lnTo>
                  <a:pt x="6050" y="1639"/>
                </a:lnTo>
                <a:lnTo>
                  <a:pt x="5199" y="1639"/>
                </a:lnTo>
                <a:lnTo>
                  <a:pt x="5199" y="820"/>
                </a:lnTo>
                <a:close/>
                <a:moveTo>
                  <a:pt x="9358" y="2458"/>
                </a:moveTo>
                <a:lnTo>
                  <a:pt x="9358" y="8255"/>
                </a:lnTo>
                <a:lnTo>
                  <a:pt x="1923" y="8255"/>
                </a:lnTo>
                <a:lnTo>
                  <a:pt x="1923" y="2458"/>
                </a:lnTo>
                <a:close/>
                <a:moveTo>
                  <a:pt x="9767" y="9074"/>
                </a:moveTo>
                <a:cubicBezTo>
                  <a:pt x="10019" y="9074"/>
                  <a:pt x="10177" y="9295"/>
                  <a:pt x="10208" y="9515"/>
                </a:cubicBezTo>
                <a:cubicBezTo>
                  <a:pt x="10177" y="9704"/>
                  <a:pt x="10051" y="9830"/>
                  <a:pt x="9893" y="9925"/>
                </a:cubicBezTo>
                <a:cubicBezTo>
                  <a:pt x="9862" y="9940"/>
                  <a:pt x="9893" y="9948"/>
                  <a:pt x="9594" y="9948"/>
                </a:cubicBezTo>
                <a:cubicBezTo>
                  <a:pt x="9295" y="9948"/>
                  <a:pt x="8665" y="9940"/>
                  <a:pt x="7310" y="9925"/>
                </a:cubicBezTo>
                <a:lnTo>
                  <a:pt x="1513" y="9925"/>
                </a:lnTo>
                <a:cubicBezTo>
                  <a:pt x="1324" y="9925"/>
                  <a:pt x="1166" y="9799"/>
                  <a:pt x="1103" y="9641"/>
                </a:cubicBezTo>
                <a:cubicBezTo>
                  <a:pt x="1040" y="9358"/>
                  <a:pt x="1229" y="9074"/>
                  <a:pt x="1513" y="9074"/>
                </a:cubicBezTo>
                <a:close/>
                <a:moveTo>
                  <a:pt x="4790" y="1"/>
                </a:moveTo>
                <a:cubicBezTo>
                  <a:pt x="4538" y="1"/>
                  <a:pt x="4348" y="190"/>
                  <a:pt x="4348" y="379"/>
                </a:cubicBezTo>
                <a:lnTo>
                  <a:pt x="4348" y="1639"/>
                </a:lnTo>
                <a:lnTo>
                  <a:pt x="1419" y="1639"/>
                </a:lnTo>
                <a:cubicBezTo>
                  <a:pt x="1198" y="1639"/>
                  <a:pt x="1040" y="1828"/>
                  <a:pt x="1040" y="2080"/>
                </a:cubicBezTo>
                <a:lnTo>
                  <a:pt x="1040" y="8349"/>
                </a:lnTo>
                <a:cubicBezTo>
                  <a:pt x="788" y="8413"/>
                  <a:pt x="568" y="8570"/>
                  <a:pt x="410" y="8791"/>
                </a:cubicBezTo>
                <a:cubicBezTo>
                  <a:pt x="1" y="9358"/>
                  <a:pt x="158" y="10145"/>
                  <a:pt x="725" y="10555"/>
                </a:cubicBezTo>
                <a:cubicBezTo>
                  <a:pt x="914" y="10649"/>
                  <a:pt x="1166" y="10744"/>
                  <a:pt x="1419" y="10744"/>
                </a:cubicBezTo>
                <a:lnTo>
                  <a:pt x="3277" y="10744"/>
                </a:lnTo>
                <a:lnTo>
                  <a:pt x="2679" y="12067"/>
                </a:lnTo>
                <a:cubicBezTo>
                  <a:pt x="2616" y="12288"/>
                  <a:pt x="2679" y="12508"/>
                  <a:pt x="2836" y="12634"/>
                </a:cubicBezTo>
                <a:cubicBezTo>
                  <a:pt x="2913" y="12673"/>
                  <a:pt x="2987" y="12691"/>
                  <a:pt x="3057" y="12691"/>
                </a:cubicBezTo>
                <a:cubicBezTo>
                  <a:pt x="3214" y="12691"/>
                  <a:pt x="3347" y="12598"/>
                  <a:pt x="3435" y="12445"/>
                </a:cubicBezTo>
                <a:lnTo>
                  <a:pt x="4159" y="10744"/>
                </a:lnTo>
                <a:lnTo>
                  <a:pt x="5136" y="10744"/>
                </a:lnTo>
                <a:lnTo>
                  <a:pt x="5136" y="12225"/>
                </a:lnTo>
                <a:cubicBezTo>
                  <a:pt x="5136" y="12445"/>
                  <a:pt x="5294" y="12634"/>
                  <a:pt x="5483" y="12666"/>
                </a:cubicBezTo>
                <a:cubicBezTo>
                  <a:pt x="5501" y="12668"/>
                  <a:pt x="5520" y="12669"/>
                  <a:pt x="5538" y="12669"/>
                </a:cubicBezTo>
                <a:cubicBezTo>
                  <a:pt x="5766" y="12669"/>
                  <a:pt x="5955" y="12492"/>
                  <a:pt x="5955" y="12288"/>
                </a:cubicBezTo>
                <a:lnTo>
                  <a:pt x="5955" y="10744"/>
                </a:lnTo>
                <a:lnTo>
                  <a:pt x="6932" y="10744"/>
                </a:lnTo>
                <a:lnTo>
                  <a:pt x="7657" y="12382"/>
                </a:lnTo>
                <a:cubicBezTo>
                  <a:pt x="7708" y="12538"/>
                  <a:pt x="7888" y="12651"/>
                  <a:pt x="8056" y="12651"/>
                </a:cubicBezTo>
                <a:cubicBezTo>
                  <a:pt x="8092" y="12651"/>
                  <a:pt x="8127" y="12645"/>
                  <a:pt x="8161" y="12634"/>
                </a:cubicBezTo>
                <a:cubicBezTo>
                  <a:pt x="8413" y="12540"/>
                  <a:pt x="8507" y="12256"/>
                  <a:pt x="8444" y="12067"/>
                </a:cubicBezTo>
                <a:lnTo>
                  <a:pt x="7846" y="10744"/>
                </a:lnTo>
                <a:lnTo>
                  <a:pt x="9704" y="10744"/>
                </a:lnTo>
                <a:cubicBezTo>
                  <a:pt x="10366" y="10744"/>
                  <a:pt x="10965" y="10177"/>
                  <a:pt x="10965" y="9484"/>
                </a:cubicBezTo>
                <a:cubicBezTo>
                  <a:pt x="10996" y="8980"/>
                  <a:pt x="10681" y="8507"/>
                  <a:pt x="10177" y="8349"/>
                </a:cubicBezTo>
                <a:lnTo>
                  <a:pt x="10177" y="2080"/>
                </a:lnTo>
                <a:cubicBezTo>
                  <a:pt x="10177" y="1828"/>
                  <a:pt x="9988" y="1639"/>
                  <a:pt x="9736" y="1639"/>
                </a:cubicBezTo>
                <a:lnTo>
                  <a:pt x="6869" y="1639"/>
                </a:lnTo>
                <a:lnTo>
                  <a:pt x="6869" y="379"/>
                </a:lnTo>
                <a:cubicBezTo>
                  <a:pt x="6869" y="158"/>
                  <a:pt x="6680" y="1"/>
                  <a:pt x="6428"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9600" name="Google Shape;9600;p110"/>
          <p:cNvSpPr/>
          <p:nvPr/>
        </p:nvSpPr>
        <p:spPr>
          <a:xfrm>
            <a:off x="1125472" y="2664815"/>
            <a:ext cx="510677" cy="451651"/>
          </a:xfrm>
          <a:custGeom>
            <a:avLst/>
            <a:gdLst/>
            <a:ahLst/>
            <a:cxnLst/>
            <a:rect l="l" t="t" r="r" b="b"/>
            <a:pathLst>
              <a:path w="13012" h="11508" extrusionOk="0">
                <a:moveTo>
                  <a:pt x="9306" y="836"/>
                </a:moveTo>
                <a:cubicBezTo>
                  <a:pt x="9412" y="836"/>
                  <a:pt x="9515" y="875"/>
                  <a:pt x="9578" y="954"/>
                </a:cubicBezTo>
                <a:lnTo>
                  <a:pt x="11909" y="3285"/>
                </a:lnTo>
                <a:cubicBezTo>
                  <a:pt x="12067" y="3443"/>
                  <a:pt x="12067" y="3695"/>
                  <a:pt x="11909" y="3884"/>
                </a:cubicBezTo>
                <a:lnTo>
                  <a:pt x="6900" y="8861"/>
                </a:lnTo>
                <a:lnTo>
                  <a:pt x="4001" y="5963"/>
                </a:lnTo>
                <a:lnTo>
                  <a:pt x="9011" y="954"/>
                </a:lnTo>
                <a:cubicBezTo>
                  <a:pt x="9089" y="875"/>
                  <a:pt x="9200" y="836"/>
                  <a:pt x="9306" y="836"/>
                </a:cubicBezTo>
                <a:close/>
                <a:moveTo>
                  <a:pt x="3466" y="6499"/>
                </a:moveTo>
                <a:lnTo>
                  <a:pt x="6364" y="9428"/>
                </a:lnTo>
                <a:lnTo>
                  <a:pt x="6049" y="9744"/>
                </a:lnTo>
                <a:cubicBezTo>
                  <a:pt x="5986" y="9807"/>
                  <a:pt x="5892" y="9870"/>
                  <a:pt x="5766" y="9870"/>
                </a:cubicBezTo>
                <a:cubicBezTo>
                  <a:pt x="5640" y="9870"/>
                  <a:pt x="5577" y="9807"/>
                  <a:pt x="5514" y="9744"/>
                </a:cubicBezTo>
                <a:cubicBezTo>
                  <a:pt x="5255" y="9506"/>
                  <a:pt x="4936" y="9372"/>
                  <a:pt x="4610" y="9372"/>
                </a:cubicBezTo>
                <a:cubicBezTo>
                  <a:pt x="4460" y="9372"/>
                  <a:pt x="4308" y="9400"/>
                  <a:pt x="4159" y="9460"/>
                </a:cubicBezTo>
                <a:cubicBezTo>
                  <a:pt x="3938" y="9555"/>
                  <a:pt x="3812" y="9712"/>
                  <a:pt x="3686" y="9807"/>
                </a:cubicBezTo>
                <a:lnTo>
                  <a:pt x="3088" y="9239"/>
                </a:lnTo>
                <a:lnTo>
                  <a:pt x="3182" y="9145"/>
                </a:lnTo>
                <a:cubicBezTo>
                  <a:pt x="3655" y="8672"/>
                  <a:pt x="3686" y="7853"/>
                  <a:pt x="3151" y="7381"/>
                </a:cubicBezTo>
                <a:cubicBezTo>
                  <a:pt x="2993" y="7223"/>
                  <a:pt x="3025" y="6940"/>
                  <a:pt x="3182" y="6782"/>
                </a:cubicBezTo>
                <a:lnTo>
                  <a:pt x="3466" y="6499"/>
                </a:lnTo>
                <a:close/>
                <a:moveTo>
                  <a:pt x="2426" y="9807"/>
                </a:moveTo>
                <a:lnTo>
                  <a:pt x="3025" y="10405"/>
                </a:lnTo>
                <a:lnTo>
                  <a:pt x="2773" y="10657"/>
                </a:lnTo>
                <a:lnTo>
                  <a:pt x="1544" y="10657"/>
                </a:lnTo>
                <a:lnTo>
                  <a:pt x="2426" y="9807"/>
                </a:lnTo>
                <a:close/>
                <a:moveTo>
                  <a:pt x="9310" y="1"/>
                </a:moveTo>
                <a:cubicBezTo>
                  <a:pt x="8995" y="1"/>
                  <a:pt x="8680" y="119"/>
                  <a:pt x="8443" y="355"/>
                </a:cubicBezTo>
                <a:lnTo>
                  <a:pt x="2584" y="6247"/>
                </a:lnTo>
                <a:cubicBezTo>
                  <a:pt x="2111" y="6719"/>
                  <a:pt x="2079" y="7538"/>
                  <a:pt x="2552" y="8011"/>
                </a:cubicBezTo>
                <a:cubicBezTo>
                  <a:pt x="2710" y="8137"/>
                  <a:pt x="2710" y="8357"/>
                  <a:pt x="2615" y="8483"/>
                </a:cubicBezTo>
                <a:cubicBezTo>
                  <a:pt x="2584" y="8546"/>
                  <a:pt x="2584" y="8546"/>
                  <a:pt x="2552" y="8609"/>
                </a:cubicBezTo>
                <a:lnTo>
                  <a:pt x="252" y="10815"/>
                </a:lnTo>
                <a:cubicBezTo>
                  <a:pt x="0" y="11067"/>
                  <a:pt x="189" y="11508"/>
                  <a:pt x="536" y="11508"/>
                </a:cubicBezTo>
                <a:lnTo>
                  <a:pt x="2930" y="11508"/>
                </a:lnTo>
                <a:cubicBezTo>
                  <a:pt x="3056" y="11508"/>
                  <a:pt x="3182" y="11476"/>
                  <a:pt x="3245" y="11382"/>
                </a:cubicBezTo>
                <a:lnTo>
                  <a:pt x="4285" y="10374"/>
                </a:lnTo>
                <a:cubicBezTo>
                  <a:pt x="4364" y="10295"/>
                  <a:pt x="4474" y="10255"/>
                  <a:pt x="4584" y="10255"/>
                </a:cubicBezTo>
                <a:cubicBezTo>
                  <a:pt x="4694" y="10255"/>
                  <a:pt x="4805" y="10295"/>
                  <a:pt x="4883" y="10374"/>
                </a:cubicBezTo>
                <a:cubicBezTo>
                  <a:pt x="5092" y="10614"/>
                  <a:pt x="5413" y="10740"/>
                  <a:pt x="5742" y="10740"/>
                </a:cubicBezTo>
                <a:cubicBezTo>
                  <a:pt x="6060" y="10740"/>
                  <a:pt x="6384" y="10622"/>
                  <a:pt x="6616" y="10374"/>
                </a:cubicBezTo>
                <a:lnTo>
                  <a:pt x="12476" y="4482"/>
                </a:lnTo>
                <a:cubicBezTo>
                  <a:pt x="12980" y="3978"/>
                  <a:pt x="13012" y="3191"/>
                  <a:pt x="12508" y="2686"/>
                </a:cubicBezTo>
                <a:lnTo>
                  <a:pt x="10176" y="355"/>
                </a:lnTo>
                <a:cubicBezTo>
                  <a:pt x="9940" y="119"/>
                  <a:pt x="9625" y="1"/>
                  <a:pt x="9310"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9601" name="Google Shape;9601;p110"/>
          <p:cNvSpPr/>
          <p:nvPr/>
        </p:nvSpPr>
        <p:spPr>
          <a:xfrm>
            <a:off x="1136579" y="3237860"/>
            <a:ext cx="488464" cy="497883"/>
          </a:xfrm>
          <a:custGeom>
            <a:avLst/>
            <a:gdLst/>
            <a:ahLst/>
            <a:cxnLst/>
            <a:rect l="l" t="t" r="r" b="b"/>
            <a:pathLst>
              <a:path w="12446" h="12686" extrusionOk="0">
                <a:moveTo>
                  <a:pt x="6176" y="808"/>
                </a:moveTo>
                <a:cubicBezTo>
                  <a:pt x="6428" y="808"/>
                  <a:pt x="6554" y="997"/>
                  <a:pt x="6554" y="1249"/>
                </a:cubicBezTo>
                <a:cubicBezTo>
                  <a:pt x="6554" y="1497"/>
                  <a:pt x="6359" y="1667"/>
                  <a:pt x="6153" y="1667"/>
                </a:cubicBezTo>
                <a:cubicBezTo>
                  <a:pt x="6097" y="1667"/>
                  <a:pt x="6041" y="1654"/>
                  <a:pt x="5987" y="1627"/>
                </a:cubicBezTo>
                <a:cubicBezTo>
                  <a:pt x="5829" y="1564"/>
                  <a:pt x="5735" y="1438"/>
                  <a:pt x="5735" y="1249"/>
                </a:cubicBezTo>
                <a:cubicBezTo>
                  <a:pt x="5766" y="997"/>
                  <a:pt x="5924" y="808"/>
                  <a:pt x="6176" y="808"/>
                </a:cubicBezTo>
                <a:close/>
                <a:moveTo>
                  <a:pt x="1986" y="2541"/>
                </a:moveTo>
                <a:lnTo>
                  <a:pt x="3088" y="5755"/>
                </a:lnTo>
                <a:lnTo>
                  <a:pt x="946" y="5755"/>
                </a:lnTo>
                <a:lnTo>
                  <a:pt x="1986" y="2541"/>
                </a:lnTo>
                <a:close/>
                <a:moveTo>
                  <a:pt x="10303" y="2541"/>
                </a:moveTo>
                <a:lnTo>
                  <a:pt x="11374" y="5755"/>
                </a:lnTo>
                <a:lnTo>
                  <a:pt x="9200" y="5755"/>
                </a:lnTo>
                <a:lnTo>
                  <a:pt x="10303" y="2541"/>
                </a:lnTo>
                <a:close/>
                <a:moveTo>
                  <a:pt x="3183" y="6605"/>
                </a:moveTo>
                <a:cubicBezTo>
                  <a:pt x="3025" y="7109"/>
                  <a:pt x="2584" y="7424"/>
                  <a:pt x="2049" y="7424"/>
                </a:cubicBezTo>
                <a:cubicBezTo>
                  <a:pt x="1481" y="7424"/>
                  <a:pt x="1040" y="7078"/>
                  <a:pt x="851" y="6605"/>
                </a:cubicBezTo>
                <a:close/>
                <a:moveTo>
                  <a:pt x="11437" y="6605"/>
                </a:moveTo>
                <a:cubicBezTo>
                  <a:pt x="11279" y="7109"/>
                  <a:pt x="10870" y="7424"/>
                  <a:pt x="10303" y="7424"/>
                </a:cubicBezTo>
                <a:cubicBezTo>
                  <a:pt x="9767" y="7424"/>
                  <a:pt x="9326" y="7078"/>
                  <a:pt x="9137" y="6605"/>
                </a:cubicBezTo>
                <a:close/>
                <a:moveTo>
                  <a:pt x="6617" y="2415"/>
                </a:moveTo>
                <a:lnTo>
                  <a:pt x="6617" y="8558"/>
                </a:lnTo>
                <a:lnTo>
                  <a:pt x="5766" y="8558"/>
                </a:lnTo>
                <a:lnTo>
                  <a:pt x="5766" y="2415"/>
                </a:lnTo>
                <a:cubicBezTo>
                  <a:pt x="5908" y="2462"/>
                  <a:pt x="6050" y="2486"/>
                  <a:pt x="6191" y="2486"/>
                </a:cubicBezTo>
                <a:cubicBezTo>
                  <a:pt x="6333" y="2486"/>
                  <a:pt x="6475" y="2462"/>
                  <a:pt x="6617" y="2415"/>
                </a:cubicBezTo>
                <a:close/>
                <a:moveTo>
                  <a:pt x="8255" y="9346"/>
                </a:moveTo>
                <a:lnTo>
                  <a:pt x="8255" y="10165"/>
                </a:lnTo>
                <a:lnTo>
                  <a:pt x="4128" y="10165"/>
                </a:lnTo>
                <a:lnTo>
                  <a:pt x="4128" y="9346"/>
                </a:lnTo>
                <a:close/>
                <a:moveTo>
                  <a:pt x="9074" y="11016"/>
                </a:moveTo>
                <a:lnTo>
                  <a:pt x="9074" y="11835"/>
                </a:lnTo>
                <a:lnTo>
                  <a:pt x="3309" y="11835"/>
                </a:lnTo>
                <a:lnTo>
                  <a:pt x="3309" y="11016"/>
                </a:lnTo>
                <a:close/>
                <a:moveTo>
                  <a:pt x="6265" y="1"/>
                </a:moveTo>
                <a:cubicBezTo>
                  <a:pt x="5747" y="1"/>
                  <a:pt x="5253" y="326"/>
                  <a:pt x="5073" y="840"/>
                </a:cubicBezTo>
                <a:lnTo>
                  <a:pt x="1292" y="840"/>
                </a:lnTo>
                <a:cubicBezTo>
                  <a:pt x="1103" y="840"/>
                  <a:pt x="914" y="997"/>
                  <a:pt x="851" y="1186"/>
                </a:cubicBezTo>
                <a:cubicBezTo>
                  <a:pt x="820" y="1438"/>
                  <a:pt x="1009" y="1659"/>
                  <a:pt x="1261" y="1659"/>
                </a:cubicBezTo>
                <a:lnTo>
                  <a:pt x="1481" y="1659"/>
                </a:lnTo>
                <a:cubicBezTo>
                  <a:pt x="30" y="6044"/>
                  <a:pt x="1" y="6133"/>
                  <a:pt x="1" y="6133"/>
                </a:cubicBezTo>
                <a:lnTo>
                  <a:pt x="1" y="6133"/>
                </a:lnTo>
                <a:cubicBezTo>
                  <a:pt x="1" y="6133"/>
                  <a:pt x="1" y="6133"/>
                  <a:pt x="1" y="6133"/>
                </a:cubicBezTo>
                <a:lnTo>
                  <a:pt x="1" y="6196"/>
                </a:lnTo>
                <a:cubicBezTo>
                  <a:pt x="1" y="6479"/>
                  <a:pt x="64" y="6763"/>
                  <a:pt x="158" y="6983"/>
                </a:cubicBezTo>
                <a:cubicBezTo>
                  <a:pt x="464" y="7784"/>
                  <a:pt x="1229" y="8250"/>
                  <a:pt x="2042" y="8250"/>
                </a:cubicBezTo>
                <a:cubicBezTo>
                  <a:pt x="2317" y="8250"/>
                  <a:pt x="2597" y="8197"/>
                  <a:pt x="2868" y="8086"/>
                </a:cubicBezTo>
                <a:cubicBezTo>
                  <a:pt x="3403" y="7865"/>
                  <a:pt x="3844" y="7393"/>
                  <a:pt x="4033" y="6794"/>
                </a:cubicBezTo>
                <a:cubicBezTo>
                  <a:pt x="4128" y="6542"/>
                  <a:pt x="4159" y="6290"/>
                  <a:pt x="4128" y="6164"/>
                </a:cubicBezTo>
                <a:lnTo>
                  <a:pt x="4128" y="6038"/>
                </a:lnTo>
                <a:cubicBezTo>
                  <a:pt x="4128" y="6007"/>
                  <a:pt x="2679" y="1659"/>
                  <a:pt x="2679" y="1627"/>
                </a:cubicBezTo>
                <a:lnTo>
                  <a:pt x="4978" y="1627"/>
                </a:lnTo>
                <a:lnTo>
                  <a:pt x="4978" y="8527"/>
                </a:lnTo>
                <a:lnTo>
                  <a:pt x="3781" y="8527"/>
                </a:lnTo>
                <a:cubicBezTo>
                  <a:pt x="3529" y="8527"/>
                  <a:pt x="3340" y="8716"/>
                  <a:pt x="3340" y="8968"/>
                </a:cubicBezTo>
                <a:lnTo>
                  <a:pt x="3340" y="10165"/>
                </a:lnTo>
                <a:lnTo>
                  <a:pt x="2931" y="10165"/>
                </a:lnTo>
                <a:cubicBezTo>
                  <a:pt x="2710" y="10165"/>
                  <a:pt x="2521" y="10386"/>
                  <a:pt x="2521" y="10606"/>
                </a:cubicBezTo>
                <a:lnTo>
                  <a:pt x="2521" y="12245"/>
                </a:lnTo>
                <a:cubicBezTo>
                  <a:pt x="2521" y="12497"/>
                  <a:pt x="2710" y="12686"/>
                  <a:pt x="2931" y="12686"/>
                </a:cubicBezTo>
                <a:lnTo>
                  <a:pt x="9547" y="12686"/>
                </a:lnTo>
                <a:cubicBezTo>
                  <a:pt x="9673" y="12686"/>
                  <a:pt x="9767" y="12654"/>
                  <a:pt x="9830" y="12560"/>
                </a:cubicBezTo>
                <a:cubicBezTo>
                  <a:pt x="9925" y="12497"/>
                  <a:pt x="9956" y="12371"/>
                  <a:pt x="9956" y="12308"/>
                </a:cubicBezTo>
                <a:lnTo>
                  <a:pt x="9956" y="10638"/>
                </a:lnTo>
                <a:cubicBezTo>
                  <a:pt x="9956" y="10417"/>
                  <a:pt x="9767" y="10228"/>
                  <a:pt x="9515" y="10228"/>
                </a:cubicBezTo>
                <a:lnTo>
                  <a:pt x="9137" y="10228"/>
                </a:lnTo>
                <a:lnTo>
                  <a:pt x="9137" y="8968"/>
                </a:lnTo>
                <a:cubicBezTo>
                  <a:pt x="9137" y="8716"/>
                  <a:pt x="8917" y="8527"/>
                  <a:pt x="8696" y="8527"/>
                </a:cubicBezTo>
                <a:lnTo>
                  <a:pt x="7467" y="8527"/>
                </a:lnTo>
                <a:lnTo>
                  <a:pt x="7467" y="1627"/>
                </a:lnTo>
                <a:lnTo>
                  <a:pt x="9799" y="1627"/>
                </a:lnTo>
                <a:cubicBezTo>
                  <a:pt x="9799" y="1659"/>
                  <a:pt x="8350" y="6038"/>
                  <a:pt x="8350" y="6070"/>
                </a:cubicBezTo>
                <a:lnTo>
                  <a:pt x="8350" y="6164"/>
                </a:lnTo>
                <a:lnTo>
                  <a:pt x="8350" y="6227"/>
                </a:lnTo>
                <a:cubicBezTo>
                  <a:pt x="8350" y="6952"/>
                  <a:pt x="8696" y="7550"/>
                  <a:pt x="9232" y="7928"/>
                </a:cubicBezTo>
                <a:cubicBezTo>
                  <a:pt x="9601" y="8178"/>
                  <a:pt x="10011" y="8295"/>
                  <a:pt x="10411" y="8295"/>
                </a:cubicBezTo>
                <a:cubicBezTo>
                  <a:pt x="11275" y="8295"/>
                  <a:pt x="12092" y="7751"/>
                  <a:pt x="12351" y="6826"/>
                </a:cubicBezTo>
                <a:cubicBezTo>
                  <a:pt x="12382" y="6637"/>
                  <a:pt x="12445" y="6448"/>
                  <a:pt x="12445" y="6227"/>
                </a:cubicBezTo>
                <a:cubicBezTo>
                  <a:pt x="12382" y="6164"/>
                  <a:pt x="12351" y="6133"/>
                  <a:pt x="12351" y="6070"/>
                </a:cubicBezTo>
                <a:lnTo>
                  <a:pt x="10901" y="1659"/>
                </a:lnTo>
                <a:lnTo>
                  <a:pt x="11153" y="1659"/>
                </a:lnTo>
                <a:cubicBezTo>
                  <a:pt x="11342" y="1659"/>
                  <a:pt x="11532" y="1501"/>
                  <a:pt x="11563" y="1312"/>
                </a:cubicBezTo>
                <a:cubicBezTo>
                  <a:pt x="11626" y="1092"/>
                  <a:pt x="11406" y="840"/>
                  <a:pt x="11185" y="840"/>
                </a:cubicBezTo>
                <a:lnTo>
                  <a:pt x="7404" y="840"/>
                </a:lnTo>
                <a:cubicBezTo>
                  <a:pt x="7278" y="462"/>
                  <a:pt x="6963" y="178"/>
                  <a:pt x="6617" y="52"/>
                </a:cubicBezTo>
                <a:cubicBezTo>
                  <a:pt x="6501" y="17"/>
                  <a:pt x="6382" y="1"/>
                  <a:pt x="6265"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nvGrpSpPr>
          <p:cNvPr id="9602" name="Google Shape;9602;p110"/>
          <p:cNvGrpSpPr/>
          <p:nvPr/>
        </p:nvGrpSpPr>
        <p:grpSpPr>
          <a:xfrm>
            <a:off x="3983637" y="2082537"/>
            <a:ext cx="495843" cy="498355"/>
            <a:chOff x="-41270450" y="1973375"/>
            <a:chExt cx="315850" cy="317450"/>
          </a:xfrm>
        </p:grpSpPr>
        <p:sp>
          <p:nvSpPr>
            <p:cNvPr id="9603" name="Google Shape;9603;p110"/>
            <p:cNvSpPr/>
            <p:nvPr/>
          </p:nvSpPr>
          <p:spPr>
            <a:xfrm>
              <a:off x="-41270450" y="1973375"/>
              <a:ext cx="315850" cy="317450"/>
            </a:xfrm>
            <a:custGeom>
              <a:avLst/>
              <a:gdLst/>
              <a:ahLst/>
              <a:cxnLst/>
              <a:rect l="l" t="t" r="r" b="b"/>
              <a:pathLst>
                <a:path w="12634" h="12698" extrusionOk="0">
                  <a:moveTo>
                    <a:pt x="11814" y="820"/>
                  </a:moveTo>
                  <a:lnTo>
                    <a:pt x="11814" y="11847"/>
                  </a:lnTo>
                  <a:lnTo>
                    <a:pt x="788" y="11847"/>
                  </a:lnTo>
                  <a:lnTo>
                    <a:pt x="788" y="820"/>
                  </a:lnTo>
                  <a:close/>
                  <a:moveTo>
                    <a:pt x="378" y="1"/>
                  </a:moveTo>
                  <a:cubicBezTo>
                    <a:pt x="158" y="1"/>
                    <a:pt x="0" y="190"/>
                    <a:pt x="0" y="410"/>
                  </a:cubicBezTo>
                  <a:lnTo>
                    <a:pt x="0" y="12288"/>
                  </a:lnTo>
                  <a:cubicBezTo>
                    <a:pt x="0" y="12508"/>
                    <a:pt x="189" y="12697"/>
                    <a:pt x="378" y="12697"/>
                  </a:cubicBezTo>
                  <a:lnTo>
                    <a:pt x="12224" y="12697"/>
                  </a:lnTo>
                  <a:cubicBezTo>
                    <a:pt x="12476" y="12697"/>
                    <a:pt x="12634" y="12508"/>
                    <a:pt x="12634" y="12288"/>
                  </a:cubicBezTo>
                  <a:lnTo>
                    <a:pt x="12634" y="410"/>
                  </a:lnTo>
                  <a:cubicBezTo>
                    <a:pt x="12634" y="158"/>
                    <a:pt x="12476" y="1"/>
                    <a:pt x="12224"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9604" name="Google Shape;9604;p110"/>
            <p:cNvSpPr/>
            <p:nvPr/>
          </p:nvSpPr>
          <p:spPr>
            <a:xfrm>
              <a:off x="-41230300" y="2015125"/>
              <a:ext cx="235525" cy="192200"/>
            </a:xfrm>
            <a:custGeom>
              <a:avLst/>
              <a:gdLst/>
              <a:ahLst/>
              <a:cxnLst/>
              <a:rect l="l" t="t" r="r" b="b"/>
              <a:pathLst>
                <a:path w="9421" h="7688" extrusionOk="0">
                  <a:moveTo>
                    <a:pt x="8539" y="788"/>
                  </a:moveTo>
                  <a:lnTo>
                    <a:pt x="8539" y="6869"/>
                  </a:lnTo>
                  <a:lnTo>
                    <a:pt x="820" y="6869"/>
                  </a:lnTo>
                  <a:lnTo>
                    <a:pt x="820" y="788"/>
                  </a:lnTo>
                  <a:close/>
                  <a:moveTo>
                    <a:pt x="442" y="1"/>
                  </a:moveTo>
                  <a:cubicBezTo>
                    <a:pt x="190" y="1"/>
                    <a:pt x="1" y="221"/>
                    <a:pt x="1" y="410"/>
                  </a:cubicBezTo>
                  <a:lnTo>
                    <a:pt x="1" y="7310"/>
                  </a:lnTo>
                  <a:cubicBezTo>
                    <a:pt x="1" y="7404"/>
                    <a:pt x="32" y="7499"/>
                    <a:pt x="127" y="7562"/>
                  </a:cubicBezTo>
                  <a:cubicBezTo>
                    <a:pt x="190" y="7656"/>
                    <a:pt x="316" y="7688"/>
                    <a:pt x="442" y="7688"/>
                  </a:cubicBezTo>
                  <a:lnTo>
                    <a:pt x="8980" y="7688"/>
                  </a:lnTo>
                  <a:cubicBezTo>
                    <a:pt x="9232" y="7688"/>
                    <a:pt x="9421" y="7499"/>
                    <a:pt x="9421" y="7310"/>
                  </a:cubicBezTo>
                  <a:lnTo>
                    <a:pt x="9421" y="410"/>
                  </a:lnTo>
                  <a:cubicBezTo>
                    <a:pt x="9421" y="158"/>
                    <a:pt x="9232" y="1"/>
                    <a:pt x="8980"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9605" name="Google Shape;9605;p110"/>
            <p:cNvSpPr/>
            <p:nvPr/>
          </p:nvSpPr>
          <p:spPr>
            <a:xfrm>
              <a:off x="-41139725" y="2061750"/>
              <a:ext cx="83525" cy="103675"/>
            </a:xfrm>
            <a:custGeom>
              <a:avLst/>
              <a:gdLst/>
              <a:ahLst/>
              <a:cxnLst/>
              <a:rect l="l" t="t" r="r" b="b"/>
              <a:pathLst>
                <a:path w="3341" h="4147" extrusionOk="0">
                  <a:moveTo>
                    <a:pt x="789" y="1223"/>
                  </a:moveTo>
                  <a:lnTo>
                    <a:pt x="2112" y="2074"/>
                  </a:lnTo>
                  <a:lnTo>
                    <a:pt x="789" y="2987"/>
                  </a:lnTo>
                  <a:lnTo>
                    <a:pt x="789" y="1223"/>
                  </a:lnTo>
                  <a:close/>
                  <a:moveTo>
                    <a:pt x="389" y="0"/>
                  </a:moveTo>
                  <a:cubicBezTo>
                    <a:pt x="182" y="0"/>
                    <a:pt x="1" y="185"/>
                    <a:pt x="1" y="435"/>
                  </a:cubicBezTo>
                  <a:lnTo>
                    <a:pt x="1" y="3743"/>
                  </a:lnTo>
                  <a:cubicBezTo>
                    <a:pt x="1" y="3981"/>
                    <a:pt x="198" y="4147"/>
                    <a:pt x="416" y="4147"/>
                  </a:cubicBezTo>
                  <a:cubicBezTo>
                    <a:pt x="487" y="4147"/>
                    <a:pt x="561" y="4129"/>
                    <a:pt x="631" y="4090"/>
                  </a:cubicBezTo>
                  <a:lnTo>
                    <a:pt x="3120" y="2452"/>
                  </a:lnTo>
                  <a:cubicBezTo>
                    <a:pt x="3340" y="2294"/>
                    <a:pt x="3340" y="1916"/>
                    <a:pt x="3120" y="1727"/>
                  </a:cubicBezTo>
                  <a:lnTo>
                    <a:pt x="631" y="89"/>
                  </a:lnTo>
                  <a:cubicBezTo>
                    <a:pt x="552" y="28"/>
                    <a:pt x="469" y="0"/>
                    <a:pt x="389"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9606" name="Google Shape;9606;p110"/>
            <p:cNvSpPr/>
            <p:nvPr/>
          </p:nvSpPr>
          <p:spPr>
            <a:xfrm>
              <a:off x="-41230300" y="2227000"/>
              <a:ext cx="235525" cy="21300"/>
            </a:xfrm>
            <a:custGeom>
              <a:avLst/>
              <a:gdLst/>
              <a:ahLst/>
              <a:cxnLst/>
              <a:rect l="l" t="t" r="r" b="b"/>
              <a:pathLst>
                <a:path w="9421" h="852" extrusionOk="0">
                  <a:moveTo>
                    <a:pt x="442" y="0"/>
                  </a:moveTo>
                  <a:cubicBezTo>
                    <a:pt x="190" y="0"/>
                    <a:pt x="1" y="189"/>
                    <a:pt x="1" y="441"/>
                  </a:cubicBezTo>
                  <a:cubicBezTo>
                    <a:pt x="1" y="662"/>
                    <a:pt x="190" y="851"/>
                    <a:pt x="442" y="851"/>
                  </a:cubicBezTo>
                  <a:lnTo>
                    <a:pt x="8980" y="851"/>
                  </a:lnTo>
                  <a:cubicBezTo>
                    <a:pt x="9232" y="851"/>
                    <a:pt x="9421" y="662"/>
                    <a:pt x="9421" y="441"/>
                  </a:cubicBezTo>
                  <a:cubicBezTo>
                    <a:pt x="9421" y="189"/>
                    <a:pt x="9232" y="0"/>
                    <a:pt x="8980"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9607" name="Google Shape;9607;p110"/>
          <p:cNvGrpSpPr/>
          <p:nvPr/>
        </p:nvGrpSpPr>
        <p:grpSpPr>
          <a:xfrm>
            <a:off x="4007210" y="2678479"/>
            <a:ext cx="527828" cy="496117"/>
            <a:chOff x="-41291625" y="2339025"/>
            <a:chExt cx="336225" cy="316025"/>
          </a:xfrm>
        </p:grpSpPr>
        <p:sp>
          <p:nvSpPr>
            <p:cNvPr id="9608" name="Google Shape;9608;p110"/>
            <p:cNvSpPr/>
            <p:nvPr/>
          </p:nvSpPr>
          <p:spPr>
            <a:xfrm>
              <a:off x="-41291625" y="2339025"/>
              <a:ext cx="336225" cy="316025"/>
            </a:xfrm>
            <a:custGeom>
              <a:avLst/>
              <a:gdLst/>
              <a:ahLst/>
              <a:cxnLst/>
              <a:rect l="l" t="t" r="r" b="b"/>
              <a:pathLst>
                <a:path w="13449" h="12641" extrusionOk="0">
                  <a:moveTo>
                    <a:pt x="6644" y="1064"/>
                  </a:moveTo>
                  <a:lnTo>
                    <a:pt x="7810" y="2261"/>
                  </a:lnTo>
                  <a:lnTo>
                    <a:pt x="6644" y="3427"/>
                  </a:lnTo>
                  <a:lnTo>
                    <a:pt x="5447" y="2261"/>
                  </a:lnTo>
                  <a:lnTo>
                    <a:pt x="6644" y="1064"/>
                  </a:lnTo>
                  <a:close/>
                  <a:moveTo>
                    <a:pt x="11307" y="5727"/>
                  </a:moveTo>
                  <a:lnTo>
                    <a:pt x="12504" y="6893"/>
                  </a:lnTo>
                  <a:lnTo>
                    <a:pt x="11307" y="8090"/>
                  </a:lnTo>
                  <a:lnTo>
                    <a:pt x="10141" y="6893"/>
                  </a:lnTo>
                  <a:lnTo>
                    <a:pt x="11307" y="5727"/>
                  </a:lnTo>
                  <a:close/>
                  <a:moveTo>
                    <a:pt x="4848" y="2829"/>
                  </a:moveTo>
                  <a:lnTo>
                    <a:pt x="6045" y="4026"/>
                  </a:lnTo>
                  <a:cubicBezTo>
                    <a:pt x="3872" y="6200"/>
                    <a:pt x="3935" y="6105"/>
                    <a:pt x="3809" y="6294"/>
                  </a:cubicBezTo>
                  <a:cubicBezTo>
                    <a:pt x="2769" y="7712"/>
                    <a:pt x="3494" y="9728"/>
                    <a:pt x="5226" y="10169"/>
                  </a:cubicBezTo>
                  <a:cubicBezTo>
                    <a:pt x="5463" y="10232"/>
                    <a:pt x="5675" y="10248"/>
                    <a:pt x="5825" y="10248"/>
                  </a:cubicBezTo>
                  <a:cubicBezTo>
                    <a:pt x="5975" y="10248"/>
                    <a:pt x="6061" y="10232"/>
                    <a:pt x="6045" y="10232"/>
                  </a:cubicBezTo>
                  <a:cubicBezTo>
                    <a:pt x="6045" y="10232"/>
                    <a:pt x="6108" y="10232"/>
                    <a:pt x="6234" y="10201"/>
                  </a:cubicBezTo>
                  <a:cubicBezTo>
                    <a:pt x="6739" y="10138"/>
                    <a:pt x="7180" y="9886"/>
                    <a:pt x="7526" y="9539"/>
                  </a:cubicBezTo>
                  <a:lnTo>
                    <a:pt x="9542" y="7523"/>
                  </a:lnTo>
                  <a:lnTo>
                    <a:pt x="10740" y="8720"/>
                  </a:lnTo>
                  <a:cubicBezTo>
                    <a:pt x="8566" y="10831"/>
                    <a:pt x="8629" y="10768"/>
                    <a:pt x="8440" y="10925"/>
                  </a:cubicBezTo>
                  <a:cubicBezTo>
                    <a:pt x="7699" y="11547"/>
                    <a:pt x="6741" y="11878"/>
                    <a:pt x="5785" y="11878"/>
                  </a:cubicBezTo>
                  <a:cubicBezTo>
                    <a:pt x="5480" y="11878"/>
                    <a:pt x="5176" y="11844"/>
                    <a:pt x="4880" y="11776"/>
                  </a:cubicBezTo>
                  <a:cubicBezTo>
                    <a:pt x="2769" y="11303"/>
                    <a:pt x="1257" y="9192"/>
                    <a:pt x="1729" y="6924"/>
                  </a:cubicBezTo>
                  <a:cubicBezTo>
                    <a:pt x="1887" y="6231"/>
                    <a:pt x="2202" y="5506"/>
                    <a:pt x="2769" y="4939"/>
                  </a:cubicBezTo>
                  <a:lnTo>
                    <a:pt x="4848" y="2829"/>
                  </a:lnTo>
                  <a:close/>
                  <a:moveTo>
                    <a:pt x="6565" y="1"/>
                  </a:moveTo>
                  <a:cubicBezTo>
                    <a:pt x="6455" y="1"/>
                    <a:pt x="6345" y="40"/>
                    <a:pt x="6266" y="119"/>
                  </a:cubicBezTo>
                  <a:lnTo>
                    <a:pt x="2202" y="4183"/>
                  </a:lnTo>
                  <a:cubicBezTo>
                    <a:pt x="1635" y="4782"/>
                    <a:pt x="1194" y="5538"/>
                    <a:pt x="942" y="6263"/>
                  </a:cubicBezTo>
                  <a:cubicBezTo>
                    <a:pt x="0" y="9451"/>
                    <a:pt x="2425" y="12640"/>
                    <a:pt x="5705" y="12640"/>
                  </a:cubicBezTo>
                  <a:cubicBezTo>
                    <a:pt x="5828" y="12640"/>
                    <a:pt x="5952" y="12636"/>
                    <a:pt x="6077" y="12627"/>
                  </a:cubicBezTo>
                  <a:cubicBezTo>
                    <a:pt x="6077" y="12627"/>
                    <a:pt x="6203" y="12627"/>
                    <a:pt x="6266" y="12564"/>
                  </a:cubicBezTo>
                  <a:cubicBezTo>
                    <a:pt x="7243" y="12469"/>
                    <a:pt x="8188" y="12059"/>
                    <a:pt x="8975" y="11366"/>
                  </a:cubicBezTo>
                  <a:cubicBezTo>
                    <a:pt x="9133" y="11240"/>
                    <a:pt x="8786" y="11555"/>
                    <a:pt x="13229" y="7113"/>
                  </a:cubicBezTo>
                  <a:cubicBezTo>
                    <a:pt x="13323" y="7019"/>
                    <a:pt x="13355" y="6893"/>
                    <a:pt x="13355" y="6830"/>
                  </a:cubicBezTo>
                  <a:cubicBezTo>
                    <a:pt x="13355" y="6735"/>
                    <a:pt x="13449" y="6704"/>
                    <a:pt x="13355" y="6641"/>
                  </a:cubicBezTo>
                  <a:lnTo>
                    <a:pt x="11590" y="4845"/>
                  </a:lnTo>
                  <a:cubicBezTo>
                    <a:pt x="11512" y="4766"/>
                    <a:pt x="11401" y="4727"/>
                    <a:pt x="11291" y="4727"/>
                  </a:cubicBezTo>
                  <a:cubicBezTo>
                    <a:pt x="11181" y="4727"/>
                    <a:pt x="11070" y="4766"/>
                    <a:pt x="10992" y="4845"/>
                  </a:cubicBezTo>
                  <a:lnTo>
                    <a:pt x="6928" y="8909"/>
                  </a:lnTo>
                  <a:cubicBezTo>
                    <a:pt x="6588" y="9236"/>
                    <a:pt x="6159" y="9392"/>
                    <a:pt x="5737" y="9392"/>
                  </a:cubicBezTo>
                  <a:cubicBezTo>
                    <a:pt x="5102" y="9392"/>
                    <a:pt x="4483" y="9036"/>
                    <a:pt x="4218" y="8373"/>
                  </a:cubicBezTo>
                  <a:cubicBezTo>
                    <a:pt x="3998" y="7743"/>
                    <a:pt x="4092" y="7019"/>
                    <a:pt x="4565" y="6546"/>
                  </a:cubicBezTo>
                  <a:lnTo>
                    <a:pt x="8629" y="2482"/>
                  </a:lnTo>
                  <a:cubicBezTo>
                    <a:pt x="8786" y="2324"/>
                    <a:pt x="8786" y="2072"/>
                    <a:pt x="8629" y="1883"/>
                  </a:cubicBezTo>
                  <a:lnTo>
                    <a:pt x="6865" y="119"/>
                  </a:lnTo>
                  <a:cubicBezTo>
                    <a:pt x="6786" y="40"/>
                    <a:pt x="6676" y="1"/>
                    <a:pt x="6565"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9609" name="Google Shape;9609;p110"/>
            <p:cNvSpPr/>
            <p:nvPr/>
          </p:nvSpPr>
          <p:spPr>
            <a:xfrm>
              <a:off x="-41234225" y="2620800"/>
              <a:ext cx="25" cy="25"/>
            </a:xfrm>
            <a:custGeom>
              <a:avLst/>
              <a:gdLst/>
              <a:ahLst/>
              <a:cxnLst/>
              <a:rect l="l" t="t" r="r" b="b"/>
              <a:pathLst>
                <a:path w="1" h="1" extrusionOk="0">
                  <a:moveTo>
                    <a:pt x="0" y="1"/>
                  </a:move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sp>
        <p:nvSpPr>
          <p:cNvPr id="9610" name="Google Shape;9610;p110"/>
          <p:cNvSpPr/>
          <p:nvPr/>
        </p:nvSpPr>
        <p:spPr>
          <a:xfrm>
            <a:off x="3976036" y="2927833"/>
            <a:ext cx="0" cy="39"/>
          </a:xfrm>
          <a:custGeom>
            <a:avLst/>
            <a:gdLst/>
            <a:ahLst/>
            <a:cxnLst/>
            <a:rect l="l" t="t" r="r" b="b"/>
            <a:pathLst>
              <a:path h="1" extrusionOk="0">
                <a:moveTo>
                  <a:pt x="0" y="0"/>
                </a:move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9611" name="Google Shape;9611;p110"/>
          <p:cNvSpPr/>
          <p:nvPr/>
        </p:nvSpPr>
        <p:spPr>
          <a:xfrm>
            <a:off x="4021902" y="3254863"/>
            <a:ext cx="502004" cy="497923"/>
          </a:xfrm>
          <a:custGeom>
            <a:avLst/>
            <a:gdLst/>
            <a:ahLst/>
            <a:cxnLst/>
            <a:rect l="l" t="t" r="r" b="b"/>
            <a:pathLst>
              <a:path w="12791" h="12687" extrusionOk="0">
                <a:moveTo>
                  <a:pt x="2986" y="7684"/>
                </a:moveTo>
                <a:cubicBezTo>
                  <a:pt x="4110" y="7684"/>
                  <a:pt x="5072" y="8568"/>
                  <a:pt x="5072" y="9751"/>
                </a:cubicBezTo>
                <a:cubicBezTo>
                  <a:pt x="5072" y="10727"/>
                  <a:pt x="4474" y="11484"/>
                  <a:pt x="3623" y="11736"/>
                </a:cubicBezTo>
                <a:cubicBezTo>
                  <a:pt x="3405" y="11810"/>
                  <a:pt x="3185" y="11846"/>
                  <a:pt x="2971" y="11846"/>
                </a:cubicBezTo>
                <a:cubicBezTo>
                  <a:pt x="2101" y="11846"/>
                  <a:pt x="1311" y="11265"/>
                  <a:pt x="1008" y="10381"/>
                </a:cubicBezTo>
                <a:cubicBezTo>
                  <a:pt x="662" y="9278"/>
                  <a:pt x="1292" y="8113"/>
                  <a:pt x="2394" y="7766"/>
                </a:cubicBezTo>
                <a:cubicBezTo>
                  <a:pt x="2594" y="7710"/>
                  <a:pt x="2792" y="7684"/>
                  <a:pt x="2986" y="7684"/>
                </a:cubicBezTo>
                <a:close/>
                <a:moveTo>
                  <a:pt x="9886" y="7696"/>
                </a:moveTo>
                <a:cubicBezTo>
                  <a:pt x="10161" y="7696"/>
                  <a:pt x="10441" y="7749"/>
                  <a:pt x="10712" y="7861"/>
                </a:cubicBezTo>
                <a:cubicBezTo>
                  <a:pt x="11468" y="8176"/>
                  <a:pt x="11972" y="8869"/>
                  <a:pt x="11972" y="9751"/>
                </a:cubicBezTo>
                <a:cubicBezTo>
                  <a:pt x="11972" y="10696"/>
                  <a:pt x="11373" y="11484"/>
                  <a:pt x="10523" y="11736"/>
                </a:cubicBezTo>
                <a:cubicBezTo>
                  <a:pt x="10305" y="11810"/>
                  <a:pt x="10085" y="11846"/>
                  <a:pt x="9870" y="11846"/>
                </a:cubicBezTo>
                <a:cubicBezTo>
                  <a:pt x="9001" y="11846"/>
                  <a:pt x="8211" y="11265"/>
                  <a:pt x="7908" y="10381"/>
                </a:cubicBezTo>
                <a:cubicBezTo>
                  <a:pt x="7750" y="9940"/>
                  <a:pt x="7782" y="9436"/>
                  <a:pt x="8002" y="8963"/>
                </a:cubicBezTo>
                <a:cubicBezTo>
                  <a:pt x="8309" y="8162"/>
                  <a:pt x="9073" y="7696"/>
                  <a:pt x="9886" y="7696"/>
                </a:cubicBezTo>
                <a:close/>
                <a:moveTo>
                  <a:pt x="2151" y="1"/>
                </a:moveTo>
                <a:cubicBezTo>
                  <a:pt x="1058" y="1"/>
                  <a:pt x="63" y="900"/>
                  <a:pt x="63" y="2064"/>
                </a:cubicBezTo>
                <a:lnTo>
                  <a:pt x="63" y="9593"/>
                </a:lnTo>
                <a:cubicBezTo>
                  <a:pt x="0" y="10633"/>
                  <a:pt x="504" y="11578"/>
                  <a:pt x="1323" y="12177"/>
                </a:cubicBezTo>
                <a:cubicBezTo>
                  <a:pt x="1822" y="12521"/>
                  <a:pt x="2387" y="12686"/>
                  <a:pt x="2947" y="12686"/>
                </a:cubicBezTo>
                <a:cubicBezTo>
                  <a:pt x="3874" y="12686"/>
                  <a:pt x="4786" y="12233"/>
                  <a:pt x="5356" y="11389"/>
                </a:cubicBezTo>
                <a:cubicBezTo>
                  <a:pt x="5671" y="10916"/>
                  <a:pt x="5860" y="10381"/>
                  <a:pt x="5860" y="9782"/>
                </a:cubicBezTo>
                <a:cubicBezTo>
                  <a:pt x="5860" y="9625"/>
                  <a:pt x="6018" y="9467"/>
                  <a:pt x="6207" y="9373"/>
                </a:cubicBezTo>
                <a:cubicBezTo>
                  <a:pt x="6270" y="9357"/>
                  <a:pt x="6340" y="9349"/>
                  <a:pt x="6411" y="9349"/>
                </a:cubicBezTo>
                <a:cubicBezTo>
                  <a:pt x="6482" y="9349"/>
                  <a:pt x="6553" y="9357"/>
                  <a:pt x="6616" y="9373"/>
                </a:cubicBezTo>
                <a:cubicBezTo>
                  <a:pt x="6805" y="9467"/>
                  <a:pt x="6963" y="9625"/>
                  <a:pt x="6963" y="9782"/>
                </a:cubicBezTo>
                <a:cubicBezTo>
                  <a:pt x="6963" y="10759"/>
                  <a:pt x="7467" y="11641"/>
                  <a:pt x="8223" y="12177"/>
                </a:cubicBezTo>
                <a:cubicBezTo>
                  <a:pt x="8709" y="12521"/>
                  <a:pt x="9272" y="12686"/>
                  <a:pt x="9833" y="12686"/>
                </a:cubicBezTo>
                <a:cubicBezTo>
                  <a:pt x="10762" y="12686"/>
                  <a:pt x="11686" y="12233"/>
                  <a:pt x="12256" y="11389"/>
                </a:cubicBezTo>
                <a:cubicBezTo>
                  <a:pt x="12602" y="10885"/>
                  <a:pt x="12791" y="10223"/>
                  <a:pt x="12728" y="9530"/>
                </a:cubicBezTo>
                <a:cubicBezTo>
                  <a:pt x="12791" y="9467"/>
                  <a:pt x="12791" y="9971"/>
                  <a:pt x="12791" y="2064"/>
                </a:cubicBezTo>
                <a:cubicBezTo>
                  <a:pt x="12791" y="1780"/>
                  <a:pt x="12760" y="1497"/>
                  <a:pt x="12634" y="1276"/>
                </a:cubicBezTo>
                <a:cubicBezTo>
                  <a:pt x="12310" y="458"/>
                  <a:pt x="11539" y="8"/>
                  <a:pt x="10750" y="8"/>
                </a:cubicBezTo>
                <a:cubicBezTo>
                  <a:pt x="10232" y="8"/>
                  <a:pt x="9706" y="202"/>
                  <a:pt x="9294" y="614"/>
                </a:cubicBezTo>
                <a:cubicBezTo>
                  <a:pt x="9137" y="772"/>
                  <a:pt x="9137" y="1024"/>
                  <a:pt x="9294" y="1182"/>
                </a:cubicBezTo>
                <a:cubicBezTo>
                  <a:pt x="9373" y="1260"/>
                  <a:pt x="9483" y="1300"/>
                  <a:pt x="9593" y="1300"/>
                </a:cubicBezTo>
                <a:cubicBezTo>
                  <a:pt x="9704" y="1300"/>
                  <a:pt x="9814" y="1260"/>
                  <a:pt x="9893" y="1182"/>
                </a:cubicBezTo>
                <a:cubicBezTo>
                  <a:pt x="10140" y="935"/>
                  <a:pt x="10448" y="819"/>
                  <a:pt x="10752" y="819"/>
                </a:cubicBezTo>
                <a:cubicBezTo>
                  <a:pt x="11263" y="819"/>
                  <a:pt x="11763" y="1144"/>
                  <a:pt x="11940" y="1717"/>
                </a:cubicBezTo>
                <a:cubicBezTo>
                  <a:pt x="11972" y="1812"/>
                  <a:pt x="11972" y="1938"/>
                  <a:pt x="11972" y="2064"/>
                </a:cubicBezTo>
                <a:lnTo>
                  <a:pt x="11972" y="7766"/>
                </a:lnTo>
                <a:cubicBezTo>
                  <a:pt x="11389" y="7183"/>
                  <a:pt x="10644" y="6907"/>
                  <a:pt x="9909" y="6907"/>
                </a:cubicBezTo>
                <a:cubicBezTo>
                  <a:pt x="8779" y="6907"/>
                  <a:pt x="7673" y="7559"/>
                  <a:pt x="7215" y="8743"/>
                </a:cubicBezTo>
                <a:cubicBezTo>
                  <a:pt x="6994" y="8617"/>
                  <a:pt x="6750" y="8554"/>
                  <a:pt x="6494" y="8554"/>
                </a:cubicBezTo>
                <a:cubicBezTo>
                  <a:pt x="6238" y="8554"/>
                  <a:pt x="5970" y="8617"/>
                  <a:pt x="5702" y="8743"/>
                </a:cubicBezTo>
                <a:cubicBezTo>
                  <a:pt x="5513" y="8207"/>
                  <a:pt x="5135" y="7735"/>
                  <a:pt x="4600" y="7388"/>
                </a:cubicBezTo>
                <a:cubicBezTo>
                  <a:pt x="4117" y="7053"/>
                  <a:pt x="3560" y="6889"/>
                  <a:pt x="3001" y="6889"/>
                </a:cubicBezTo>
                <a:cubicBezTo>
                  <a:pt x="2248" y="6889"/>
                  <a:pt x="1493" y="7187"/>
                  <a:pt x="914" y="7766"/>
                </a:cubicBezTo>
                <a:lnTo>
                  <a:pt x="914" y="2064"/>
                </a:lnTo>
                <a:cubicBezTo>
                  <a:pt x="914" y="1340"/>
                  <a:pt x="1486" y="814"/>
                  <a:pt x="2132" y="814"/>
                </a:cubicBezTo>
                <a:cubicBezTo>
                  <a:pt x="2301" y="814"/>
                  <a:pt x="2476" y="851"/>
                  <a:pt x="2646" y="929"/>
                </a:cubicBezTo>
                <a:cubicBezTo>
                  <a:pt x="2804" y="992"/>
                  <a:pt x="2899" y="1087"/>
                  <a:pt x="3025" y="1182"/>
                </a:cubicBezTo>
                <a:cubicBezTo>
                  <a:pt x="3103" y="1260"/>
                  <a:pt x="3214" y="1300"/>
                  <a:pt x="3324" y="1300"/>
                </a:cubicBezTo>
                <a:cubicBezTo>
                  <a:pt x="3434" y="1300"/>
                  <a:pt x="3544" y="1260"/>
                  <a:pt x="3623" y="1182"/>
                </a:cubicBezTo>
                <a:cubicBezTo>
                  <a:pt x="3781" y="1024"/>
                  <a:pt x="3781" y="772"/>
                  <a:pt x="3623" y="614"/>
                </a:cubicBezTo>
                <a:cubicBezTo>
                  <a:pt x="3434" y="394"/>
                  <a:pt x="3214" y="236"/>
                  <a:pt x="2962" y="173"/>
                </a:cubicBezTo>
                <a:cubicBezTo>
                  <a:pt x="2694" y="55"/>
                  <a:pt x="2420" y="1"/>
                  <a:pt x="2151"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9612" name="Google Shape;9612;p110"/>
          <p:cNvSpPr/>
          <p:nvPr/>
        </p:nvSpPr>
        <p:spPr>
          <a:xfrm>
            <a:off x="2409984" y="3837128"/>
            <a:ext cx="309145" cy="497099"/>
          </a:xfrm>
          <a:custGeom>
            <a:avLst/>
            <a:gdLst/>
            <a:ahLst/>
            <a:cxnLst/>
            <a:rect l="l" t="t" r="r" b="b"/>
            <a:pathLst>
              <a:path w="7877" h="12666" extrusionOk="0">
                <a:moveTo>
                  <a:pt x="6491" y="788"/>
                </a:moveTo>
                <a:cubicBezTo>
                  <a:pt x="6743" y="788"/>
                  <a:pt x="6900" y="977"/>
                  <a:pt x="6932" y="1197"/>
                </a:cubicBezTo>
                <a:cubicBezTo>
                  <a:pt x="6869" y="1449"/>
                  <a:pt x="6711" y="1607"/>
                  <a:pt x="6459" y="1607"/>
                </a:cubicBezTo>
                <a:lnTo>
                  <a:pt x="5640" y="1607"/>
                </a:lnTo>
                <a:cubicBezTo>
                  <a:pt x="5388" y="1607"/>
                  <a:pt x="5230" y="1827"/>
                  <a:pt x="5230" y="2017"/>
                </a:cubicBezTo>
                <a:cubicBezTo>
                  <a:pt x="5230" y="2237"/>
                  <a:pt x="5451" y="2458"/>
                  <a:pt x="5640" y="2458"/>
                </a:cubicBezTo>
                <a:lnTo>
                  <a:pt x="6081" y="2458"/>
                </a:lnTo>
                <a:lnTo>
                  <a:pt x="6081" y="4379"/>
                </a:lnTo>
                <a:lnTo>
                  <a:pt x="1922" y="4379"/>
                </a:lnTo>
                <a:lnTo>
                  <a:pt x="1922" y="2458"/>
                </a:lnTo>
                <a:lnTo>
                  <a:pt x="2364" y="2458"/>
                </a:lnTo>
                <a:cubicBezTo>
                  <a:pt x="2616" y="2458"/>
                  <a:pt x="2805" y="2237"/>
                  <a:pt x="2805" y="2017"/>
                </a:cubicBezTo>
                <a:cubicBezTo>
                  <a:pt x="2805" y="1764"/>
                  <a:pt x="2616" y="1607"/>
                  <a:pt x="2364" y="1607"/>
                </a:cubicBezTo>
                <a:lnTo>
                  <a:pt x="1544" y="1607"/>
                </a:lnTo>
                <a:cubicBezTo>
                  <a:pt x="1292" y="1607"/>
                  <a:pt x="1135" y="1418"/>
                  <a:pt x="1135" y="1197"/>
                </a:cubicBezTo>
                <a:cubicBezTo>
                  <a:pt x="1135" y="945"/>
                  <a:pt x="1355" y="788"/>
                  <a:pt x="1544" y="788"/>
                </a:cubicBezTo>
                <a:close/>
                <a:moveTo>
                  <a:pt x="6018" y="5135"/>
                </a:moveTo>
                <a:lnTo>
                  <a:pt x="6018" y="9641"/>
                </a:lnTo>
                <a:cubicBezTo>
                  <a:pt x="6018" y="10901"/>
                  <a:pt x="5136" y="11815"/>
                  <a:pt x="3970" y="11815"/>
                </a:cubicBezTo>
                <a:cubicBezTo>
                  <a:pt x="2994" y="11815"/>
                  <a:pt x="2143" y="11090"/>
                  <a:pt x="1985" y="10176"/>
                </a:cubicBezTo>
                <a:lnTo>
                  <a:pt x="3151" y="10176"/>
                </a:lnTo>
                <a:cubicBezTo>
                  <a:pt x="3403" y="10176"/>
                  <a:pt x="3561" y="9956"/>
                  <a:pt x="3561" y="9735"/>
                </a:cubicBezTo>
                <a:cubicBezTo>
                  <a:pt x="3561" y="9483"/>
                  <a:pt x="3340" y="9326"/>
                  <a:pt x="3151" y="9326"/>
                </a:cubicBezTo>
                <a:lnTo>
                  <a:pt x="1891" y="9326"/>
                </a:lnTo>
                <a:lnTo>
                  <a:pt x="1891" y="8507"/>
                </a:lnTo>
                <a:lnTo>
                  <a:pt x="3151" y="8507"/>
                </a:lnTo>
                <a:cubicBezTo>
                  <a:pt x="3403" y="8507"/>
                  <a:pt x="3561" y="8317"/>
                  <a:pt x="3561" y="8065"/>
                </a:cubicBezTo>
                <a:cubicBezTo>
                  <a:pt x="3561" y="7845"/>
                  <a:pt x="3340" y="7656"/>
                  <a:pt x="3151" y="7656"/>
                </a:cubicBezTo>
                <a:lnTo>
                  <a:pt x="1891" y="7656"/>
                </a:lnTo>
                <a:lnTo>
                  <a:pt x="1891" y="6805"/>
                </a:lnTo>
                <a:lnTo>
                  <a:pt x="3151" y="6805"/>
                </a:lnTo>
                <a:cubicBezTo>
                  <a:pt x="3403" y="6805"/>
                  <a:pt x="3561" y="6616"/>
                  <a:pt x="3561" y="6396"/>
                </a:cubicBezTo>
                <a:cubicBezTo>
                  <a:pt x="3561" y="6144"/>
                  <a:pt x="3340" y="5955"/>
                  <a:pt x="3151" y="5955"/>
                </a:cubicBezTo>
                <a:lnTo>
                  <a:pt x="1891" y="5955"/>
                </a:lnTo>
                <a:lnTo>
                  <a:pt x="1891" y="5135"/>
                </a:lnTo>
                <a:close/>
                <a:moveTo>
                  <a:pt x="1513" y="0"/>
                </a:moveTo>
                <a:cubicBezTo>
                  <a:pt x="1072" y="0"/>
                  <a:pt x="725" y="189"/>
                  <a:pt x="473" y="567"/>
                </a:cubicBezTo>
                <a:cubicBezTo>
                  <a:pt x="1" y="1229"/>
                  <a:pt x="316" y="2143"/>
                  <a:pt x="1103" y="2395"/>
                </a:cubicBezTo>
                <a:lnTo>
                  <a:pt x="1103" y="9767"/>
                </a:lnTo>
                <a:cubicBezTo>
                  <a:pt x="1103" y="11422"/>
                  <a:pt x="2503" y="12666"/>
                  <a:pt x="4038" y="12666"/>
                </a:cubicBezTo>
                <a:cubicBezTo>
                  <a:pt x="4402" y="12666"/>
                  <a:pt x="4774" y="12596"/>
                  <a:pt x="5136" y="12445"/>
                </a:cubicBezTo>
                <a:cubicBezTo>
                  <a:pt x="6176" y="12004"/>
                  <a:pt x="6900" y="10964"/>
                  <a:pt x="6900" y="9767"/>
                </a:cubicBezTo>
                <a:lnTo>
                  <a:pt x="6900" y="2395"/>
                </a:lnTo>
                <a:cubicBezTo>
                  <a:pt x="7121" y="2332"/>
                  <a:pt x="7373" y="2174"/>
                  <a:pt x="7530" y="1922"/>
                </a:cubicBezTo>
                <a:cubicBezTo>
                  <a:pt x="7877" y="1355"/>
                  <a:pt x="7719" y="599"/>
                  <a:pt x="7184" y="189"/>
                </a:cubicBezTo>
                <a:cubicBezTo>
                  <a:pt x="6963" y="95"/>
                  <a:pt x="6743" y="0"/>
                  <a:pt x="6459"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9613" name="Google Shape;9613;p110"/>
          <p:cNvSpPr/>
          <p:nvPr/>
        </p:nvSpPr>
        <p:spPr>
          <a:xfrm>
            <a:off x="2345699" y="4410502"/>
            <a:ext cx="437719" cy="499885"/>
          </a:xfrm>
          <a:custGeom>
            <a:avLst/>
            <a:gdLst/>
            <a:ahLst/>
            <a:cxnLst/>
            <a:rect l="l" t="t" r="r" b="b"/>
            <a:pathLst>
              <a:path w="11153" h="12737" extrusionOk="0">
                <a:moveTo>
                  <a:pt x="9452" y="4262"/>
                </a:moveTo>
                <a:lnTo>
                  <a:pt x="9452" y="4262"/>
                </a:lnTo>
                <a:cubicBezTo>
                  <a:pt x="9704" y="4703"/>
                  <a:pt x="9609" y="5270"/>
                  <a:pt x="9231" y="5679"/>
                </a:cubicBezTo>
                <a:cubicBezTo>
                  <a:pt x="8976" y="5915"/>
                  <a:pt x="8672" y="6040"/>
                  <a:pt x="8364" y="6040"/>
                </a:cubicBezTo>
                <a:cubicBezTo>
                  <a:pt x="8178" y="6040"/>
                  <a:pt x="7992" y="5995"/>
                  <a:pt x="7814" y="5900"/>
                </a:cubicBezTo>
                <a:lnTo>
                  <a:pt x="9452" y="4262"/>
                </a:lnTo>
                <a:close/>
                <a:moveTo>
                  <a:pt x="6018" y="835"/>
                </a:moveTo>
                <a:cubicBezTo>
                  <a:pt x="6120" y="835"/>
                  <a:pt x="6223" y="875"/>
                  <a:pt x="6301" y="954"/>
                </a:cubicBezTo>
                <a:lnTo>
                  <a:pt x="7215" y="1867"/>
                </a:lnTo>
                <a:cubicBezTo>
                  <a:pt x="7306" y="1935"/>
                  <a:pt x="7397" y="1987"/>
                  <a:pt x="7499" y="1987"/>
                </a:cubicBezTo>
                <a:cubicBezTo>
                  <a:pt x="7539" y="1987"/>
                  <a:pt x="7581" y="1979"/>
                  <a:pt x="7625" y="1962"/>
                </a:cubicBezTo>
                <a:cubicBezTo>
                  <a:pt x="7863" y="1897"/>
                  <a:pt x="8110" y="1865"/>
                  <a:pt x="8359" y="1865"/>
                </a:cubicBezTo>
                <a:cubicBezTo>
                  <a:pt x="8963" y="1865"/>
                  <a:pt x="9578" y="2055"/>
                  <a:pt x="10113" y="2434"/>
                </a:cubicBezTo>
                <a:lnTo>
                  <a:pt x="6049" y="6498"/>
                </a:lnTo>
                <a:cubicBezTo>
                  <a:pt x="5482" y="5774"/>
                  <a:pt x="5356" y="4892"/>
                  <a:pt x="5577" y="4010"/>
                </a:cubicBezTo>
                <a:cubicBezTo>
                  <a:pt x="5608" y="3852"/>
                  <a:pt x="5577" y="3726"/>
                  <a:pt x="5451" y="3631"/>
                </a:cubicBezTo>
                <a:lnTo>
                  <a:pt x="5199" y="3379"/>
                </a:lnTo>
                <a:lnTo>
                  <a:pt x="4537" y="2718"/>
                </a:lnTo>
                <a:cubicBezTo>
                  <a:pt x="4380" y="2560"/>
                  <a:pt x="4380" y="2277"/>
                  <a:pt x="4537" y="2119"/>
                </a:cubicBezTo>
                <a:lnTo>
                  <a:pt x="5734" y="954"/>
                </a:lnTo>
                <a:cubicBezTo>
                  <a:pt x="5813" y="875"/>
                  <a:pt x="5915" y="835"/>
                  <a:pt x="6018" y="835"/>
                </a:cubicBezTo>
                <a:close/>
                <a:moveTo>
                  <a:pt x="1290" y="6917"/>
                </a:moveTo>
                <a:cubicBezTo>
                  <a:pt x="1502" y="6917"/>
                  <a:pt x="1702" y="7106"/>
                  <a:pt x="1702" y="7318"/>
                </a:cubicBezTo>
                <a:cubicBezTo>
                  <a:pt x="1670" y="7538"/>
                  <a:pt x="1544" y="7696"/>
                  <a:pt x="1387" y="7727"/>
                </a:cubicBezTo>
                <a:cubicBezTo>
                  <a:pt x="1342" y="7740"/>
                  <a:pt x="1298" y="7746"/>
                  <a:pt x="1256" y="7746"/>
                </a:cubicBezTo>
                <a:cubicBezTo>
                  <a:pt x="1084" y="7746"/>
                  <a:pt x="933" y="7645"/>
                  <a:pt x="883" y="7444"/>
                </a:cubicBezTo>
                <a:cubicBezTo>
                  <a:pt x="788" y="7223"/>
                  <a:pt x="914" y="7002"/>
                  <a:pt x="1166" y="6939"/>
                </a:cubicBezTo>
                <a:cubicBezTo>
                  <a:pt x="1207" y="6924"/>
                  <a:pt x="1248" y="6917"/>
                  <a:pt x="1290" y="6917"/>
                </a:cubicBezTo>
                <a:close/>
                <a:moveTo>
                  <a:pt x="5807" y="10240"/>
                </a:moveTo>
                <a:cubicBezTo>
                  <a:pt x="6104" y="10240"/>
                  <a:pt x="6409" y="10293"/>
                  <a:pt x="6711" y="10405"/>
                </a:cubicBezTo>
                <a:cubicBezTo>
                  <a:pt x="7373" y="10626"/>
                  <a:pt x="7877" y="11193"/>
                  <a:pt x="8160" y="11886"/>
                </a:cubicBezTo>
                <a:lnTo>
                  <a:pt x="3529" y="11886"/>
                </a:lnTo>
                <a:cubicBezTo>
                  <a:pt x="3847" y="10882"/>
                  <a:pt x="4774" y="10240"/>
                  <a:pt x="5807" y="10240"/>
                </a:cubicBezTo>
                <a:close/>
                <a:moveTo>
                  <a:pt x="6030" y="1"/>
                </a:moveTo>
                <a:cubicBezTo>
                  <a:pt x="5711" y="1"/>
                  <a:pt x="5388" y="119"/>
                  <a:pt x="5136" y="355"/>
                </a:cubicBezTo>
                <a:lnTo>
                  <a:pt x="3938" y="1552"/>
                </a:lnTo>
                <a:cubicBezTo>
                  <a:pt x="3466" y="1993"/>
                  <a:pt x="3466" y="2781"/>
                  <a:pt x="3938" y="3316"/>
                </a:cubicBezTo>
                <a:lnTo>
                  <a:pt x="4348" y="3694"/>
                </a:lnTo>
                <a:lnTo>
                  <a:pt x="1828" y="6215"/>
                </a:lnTo>
                <a:cubicBezTo>
                  <a:pt x="1652" y="6127"/>
                  <a:pt x="1468" y="6087"/>
                  <a:pt x="1287" y="6087"/>
                </a:cubicBezTo>
                <a:cubicBezTo>
                  <a:pt x="623" y="6087"/>
                  <a:pt x="0" y="6625"/>
                  <a:pt x="0" y="7318"/>
                </a:cubicBezTo>
                <a:cubicBezTo>
                  <a:pt x="0" y="8052"/>
                  <a:pt x="611" y="8583"/>
                  <a:pt x="1293" y="8583"/>
                </a:cubicBezTo>
                <a:cubicBezTo>
                  <a:pt x="1459" y="8583"/>
                  <a:pt x="1629" y="8551"/>
                  <a:pt x="1796" y="8483"/>
                </a:cubicBezTo>
                <a:lnTo>
                  <a:pt x="3592" y="10279"/>
                </a:lnTo>
                <a:cubicBezTo>
                  <a:pt x="3056" y="10783"/>
                  <a:pt x="2647" y="11476"/>
                  <a:pt x="2584" y="12264"/>
                </a:cubicBezTo>
                <a:cubicBezTo>
                  <a:pt x="2521" y="12484"/>
                  <a:pt x="2741" y="12736"/>
                  <a:pt x="2962" y="12736"/>
                </a:cubicBezTo>
                <a:lnTo>
                  <a:pt x="8664" y="12736"/>
                </a:lnTo>
                <a:cubicBezTo>
                  <a:pt x="8916" y="12736"/>
                  <a:pt x="9105" y="12484"/>
                  <a:pt x="9074" y="12264"/>
                </a:cubicBezTo>
                <a:cubicBezTo>
                  <a:pt x="8837" y="10556"/>
                  <a:pt x="7367" y="9419"/>
                  <a:pt x="5795" y="9419"/>
                </a:cubicBezTo>
                <a:cubicBezTo>
                  <a:pt x="5279" y="9419"/>
                  <a:pt x="4752" y="9542"/>
                  <a:pt x="4254" y="9806"/>
                </a:cubicBezTo>
                <a:lnTo>
                  <a:pt x="2363" y="7916"/>
                </a:lnTo>
                <a:cubicBezTo>
                  <a:pt x="2521" y="7601"/>
                  <a:pt x="2521" y="7223"/>
                  <a:pt x="2426" y="6845"/>
                </a:cubicBezTo>
                <a:lnTo>
                  <a:pt x="4663" y="4608"/>
                </a:lnTo>
                <a:lnTo>
                  <a:pt x="4663" y="4608"/>
                </a:lnTo>
                <a:cubicBezTo>
                  <a:pt x="4632" y="5679"/>
                  <a:pt x="4978" y="6687"/>
                  <a:pt x="5734" y="7444"/>
                </a:cubicBezTo>
                <a:cubicBezTo>
                  <a:pt x="5813" y="7522"/>
                  <a:pt x="5915" y="7562"/>
                  <a:pt x="6018" y="7562"/>
                </a:cubicBezTo>
                <a:cubicBezTo>
                  <a:pt x="6120" y="7562"/>
                  <a:pt x="6223" y="7522"/>
                  <a:pt x="6301" y="7444"/>
                </a:cubicBezTo>
                <a:lnTo>
                  <a:pt x="7215" y="6530"/>
                </a:lnTo>
                <a:cubicBezTo>
                  <a:pt x="7564" y="6771"/>
                  <a:pt x="7958" y="6887"/>
                  <a:pt x="8352" y="6887"/>
                </a:cubicBezTo>
                <a:cubicBezTo>
                  <a:pt x="8883" y="6887"/>
                  <a:pt x="9414" y="6676"/>
                  <a:pt x="9830" y="6278"/>
                </a:cubicBezTo>
                <a:cubicBezTo>
                  <a:pt x="10523" y="5553"/>
                  <a:pt x="10618" y="4451"/>
                  <a:pt x="10082" y="3663"/>
                </a:cubicBezTo>
                <a:lnTo>
                  <a:pt x="10996" y="2749"/>
                </a:lnTo>
                <a:cubicBezTo>
                  <a:pt x="11153" y="2560"/>
                  <a:pt x="11153" y="2340"/>
                  <a:pt x="10996" y="2119"/>
                </a:cubicBezTo>
                <a:cubicBezTo>
                  <a:pt x="10259" y="1383"/>
                  <a:pt x="9297" y="1056"/>
                  <a:pt x="8341" y="1056"/>
                </a:cubicBezTo>
                <a:cubicBezTo>
                  <a:pt x="8111" y="1056"/>
                  <a:pt x="7882" y="1074"/>
                  <a:pt x="7656" y="1111"/>
                </a:cubicBezTo>
                <a:lnTo>
                  <a:pt x="6900" y="355"/>
                </a:lnTo>
                <a:cubicBezTo>
                  <a:pt x="6664" y="119"/>
                  <a:pt x="6349" y="1"/>
                  <a:pt x="6030"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9614" name="Google Shape;9614;p110"/>
          <p:cNvSpPr/>
          <p:nvPr/>
        </p:nvSpPr>
        <p:spPr>
          <a:xfrm>
            <a:off x="2313585" y="5069213"/>
            <a:ext cx="497099" cy="498747"/>
          </a:xfrm>
          <a:custGeom>
            <a:avLst/>
            <a:gdLst/>
            <a:ahLst/>
            <a:cxnLst/>
            <a:rect l="l" t="t" r="r" b="b"/>
            <a:pathLst>
              <a:path w="12666" h="12708" extrusionOk="0">
                <a:moveTo>
                  <a:pt x="6347" y="841"/>
                </a:moveTo>
                <a:cubicBezTo>
                  <a:pt x="6876" y="841"/>
                  <a:pt x="7350" y="1172"/>
                  <a:pt x="7530" y="1712"/>
                </a:cubicBezTo>
                <a:cubicBezTo>
                  <a:pt x="7719" y="2405"/>
                  <a:pt x="7372" y="3067"/>
                  <a:pt x="6679" y="3256"/>
                </a:cubicBezTo>
                <a:cubicBezTo>
                  <a:pt x="6569" y="3289"/>
                  <a:pt x="6457" y="3305"/>
                  <a:pt x="6345" y="3305"/>
                </a:cubicBezTo>
                <a:cubicBezTo>
                  <a:pt x="5822" y="3305"/>
                  <a:pt x="5323" y="2956"/>
                  <a:pt x="5167" y="2437"/>
                </a:cubicBezTo>
                <a:cubicBezTo>
                  <a:pt x="4947" y="1775"/>
                  <a:pt x="5325" y="1082"/>
                  <a:pt x="5986" y="893"/>
                </a:cubicBezTo>
                <a:cubicBezTo>
                  <a:pt x="6108" y="858"/>
                  <a:pt x="6229" y="841"/>
                  <a:pt x="6347" y="841"/>
                </a:cubicBezTo>
                <a:close/>
                <a:moveTo>
                  <a:pt x="6353" y="5919"/>
                </a:moveTo>
                <a:cubicBezTo>
                  <a:pt x="7021" y="5919"/>
                  <a:pt x="7624" y="6459"/>
                  <a:pt x="7624" y="7162"/>
                </a:cubicBezTo>
                <a:cubicBezTo>
                  <a:pt x="7593" y="7698"/>
                  <a:pt x="7215" y="8170"/>
                  <a:pt x="6742" y="8328"/>
                </a:cubicBezTo>
                <a:cubicBezTo>
                  <a:pt x="6608" y="8371"/>
                  <a:pt x="6474" y="8391"/>
                  <a:pt x="6345" y="8391"/>
                </a:cubicBezTo>
                <a:cubicBezTo>
                  <a:pt x="5810" y="8391"/>
                  <a:pt x="5351" y="8042"/>
                  <a:pt x="5199" y="7509"/>
                </a:cubicBezTo>
                <a:cubicBezTo>
                  <a:pt x="5010" y="6847"/>
                  <a:pt x="5356" y="6186"/>
                  <a:pt x="6018" y="5965"/>
                </a:cubicBezTo>
                <a:cubicBezTo>
                  <a:pt x="6130" y="5934"/>
                  <a:pt x="6242" y="5919"/>
                  <a:pt x="6353" y="5919"/>
                </a:cubicBezTo>
                <a:close/>
                <a:moveTo>
                  <a:pt x="2079" y="9351"/>
                </a:moveTo>
                <a:cubicBezTo>
                  <a:pt x="2744" y="9351"/>
                  <a:pt x="3340" y="9871"/>
                  <a:pt x="3340" y="10596"/>
                </a:cubicBezTo>
                <a:cubicBezTo>
                  <a:pt x="3308" y="11163"/>
                  <a:pt x="2962" y="11604"/>
                  <a:pt x="2426" y="11762"/>
                </a:cubicBezTo>
                <a:cubicBezTo>
                  <a:pt x="2305" y="11797"/>
                  <a:pt x="2183" y="11813"/>
                  <a:pt x="2065" y="11813"/>
                </a:cubicBezTo>
                <a:cubicBezTo>
                  <a:pt x="1538" y="11813"/>
                  <a:pt x="1068" y="11483"/>
                  <a:pt x="914" y="10943"/>
                </a:cubicBezTo>
                <a:cubicBezTo>
                  <a:pt x="693" y="10281"/>
                  <a:pt x="1071" y="9588"/>
                  <a:pt x="1733" y="9399"/>
                </a:cubicBezTo>
                <a:cubicBezTo>
                  <a:pt x="1849" y="9367"/>
                  <a:pt x="1965" y="9351"/>
                  <a:pt x="2079" y="9351"/>
                </a:cubicBezTo>
                <a:close/>
                <a:moveTo>
                  <a:pt x="10617" y="9351"/>
                </a:moveTo>
                <a:cubicBezTo>
                  <a:pt x="11281" y="9351"/>
                  <a:pt x="11878" y="9871"/>
                  <a:pt x="11878" y="10596"/>
                </a:cubicBezTo>
                <a:cubicBezTo>
                  <a:pt x="11846" y="11163"/>
                  <a:pt x="11500" y="11604"/>
                  <a:pt x="10995" y="11762"/>
                </a:cubicBezTo>
                <a:cubicBezTo>
                  <a:pt x="10868" y="11797"/>
                  <a:pt x="10742" y="11813"/>
                  <a:pt x="10620" y="11813"/>
                </a:cubicBezTo>
                <a:cubicBezTo>
                  <a:pt x="10076" y="11813"/>
                  <a:pt x="9606" y="11483"/>
                  <a:pt x="9452" y="10943"/>
                </a:cubicBezTo>
                <a:cubicBezTo>
                  <a:pt x="9263" y="10281"/>
                  <a:pt x="9609" y="9588"/>
                  <a:pt x="10271" y="9399"/>
                </a:cubicBezTo>
                <a:cubicBezTo>
                  <a:pt x="10387" y="9367"/>
                  <a:pt x="10503" y="9351"/>
                  <a:pt x="10617" y="9351"/>
                </a:cubicBezTo>
                <a:close/>
                <a:moveTo>
                  <a:pt x="6344" y="0"/>
                </a:moveTo>
                <a:cubicBezTo>
                  <a:pt x="5677" y="0"/>
                  <a:pt x="5021" y="308"/>
                  <a:pt x="4631" y="893"/>
                </a:cubicBezTo>
                <a:cubicBezTo>
                  <a:pt x="3812" y="2122"/>
                  <a:pt x="4474" y="3760"/>
                  <a:pt x="5955" y="4075"/>
                </a:cubicBezTo>
                <a:lnTo>
                  <a:pt x="5955" y="5146"/>
                </a:lnTo>
                <a:cubicBezTo>
                  <a:pt x="4600" y="5430"/>
                  <a:pt x="3907" y="6910"/>
                  <a:pt x="4537" y="8107"/>
                </a:cubicBezTo>
                <a:lnTo>
                  <a:pt x="3434" y="9021"/>
                </a:lnTo>
                <a:cubicBezTo>
                  <a:pt x="3025" y="8706"/>
                  <a:pt x="2584" y="8548"/>
                  <a:pt x="2080" y="8548"/>
                </a:cubicBezTo>
                <a:cubicBezTo>
                  <a:pt x="945" y="8548"/>
                  <a:pt x="0" y="9494"/>
                  <a:pt x="0" y="10628"/>
                </a:cubicBezTo>
                <a:cubicBezTo>
                  <a:pt x="0" y="11762"/>
                  <a:pt x="945" y="12707"/>
                  <a:pt x="2080" y="12707"/>
                </a:cubicBezTo>
                <a:cubicBezTo>
                  <a:pt x="3214" y="12707"/>
                  <a:pt x="4159" y="11793"/>
                  <a:pt x="4159" y="10628"/>
                </a:cubicBezTo>
                <a:cubicBezTo>
                  <a:pt x="4159" y="10281"/>
                  <a:pt x="4096" y="9966"/>
                  <a:pt x="3938" y="9683"/>
                </a:cubicBezTo>
                <a:lnTo>
                  <a:pt x="5041" y="8769"/>
                </a:lnTo>
                <a:cubicBezTo>
                  <a:pt x="5435" y="9084"/>
                  <a:pt x="5907" y="9242"/>
                  <a:pt x="6376" y="9242"/>
                </a:cubicBezTo>
                <a:cubicBezTo>
                  <a:pt x="6845" y="9242"/>
                  <a:pt x="7309" y="9084"/>
                  <a:pt x="7687" y="8769"/>
                </a:cubicBezTo>
                <a:lnTo>
                  <a:pt x="8790" y="9683"/>
                </a:lnTo>
                <a:cubicBezTo>
                  <a:pt x="8318" y="10596"/>
                  <a:pt x="8570" y="11730"/>
                  <a:pt x="9452" y="12361"/>
                </a:cubicBezTo>
                <a:cubicBezTo>
                  <a:pt x="9803" y="12595"/>
                  <a:pt x="10203" y="12707"/>
                  <a:pt x="10598" y="12707"/>
                </a:cubicBezTo>
                <a:cubicBezTo>
                  <a:pt x="11266" y="12707"/>
                  <a:pt x="11923" y="12387"/>
                  <a:pt x="12319" y="11793"/>
                </a:cubicBezTo>
                <a:cubicBezTo>
                  <a:pt x="12571" y="11478"/>
                  <a:pt x="12665" y="11069"/>
                  <a:pt x="12665" y="10659"/>
                </a:cubicBezTo>
                <a:cubicBezTo>
                  <a:pt x="12665" y="9431"/>
                  <a:pt x="11783" y="8548"/>
                  <a:pt x="10617" y="8548"/>
                </a:cubicBezTo>
                <a:cubicBezTo>
                  <a:pt x="10113" y="8548"/>
                  <a:pt x="9672" y="8706"/>
                  <a:pt x="9294" y="9021"/>
                </a:cubicBezTo>
                <a:lnTo>
                  <a:pt x="8192" y="8107"/>
                </a:lnTo>
                <a:cubicBezTo>
                  <a:pt x="8822" y="6879"/>
                  <a:pt x="8097" y="5398"/>
                  <a:pt x="6774" y="5146"/>
                </a:cubicBezTo>
                <a:lnTo>
                  <a:pt x="6774" y="4075"/>
                </a:lnTo>
                <a:cubicBezTo>
                  <a:pt x="7530" y="3917"/>
                  <a:pt x="8097" y="3382"/>
                  <a:pt x="8349" y="2657"/>
                </a:cubicBezTo>
                <a:cubicBezTo>
                  <a:pt x="8633" y="1806"/>
                  <a:pt x="8318" y="861"/>
                  <a:pt x="7530" y="357"/>
                </a:cubicBezTo>
                <a:cubicBezTo>
                  <a:pt x="7170" y="117"/>
                  <a:pt x="6755" y="0"/>
                  <a:pt x="6344"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9615" name="Google Shape;9615;p110"/>
          <p:cNvSpPr/>
          <p:nvPr/>
        </p:nvSpPr>
        <p:spPr>
          <a:xfrm>
            <a:off x="5270996" y="3837442"/>
            <a:ext cx="499571" cy="496471"/>
          </a:xfrm>
          <a:custGeom>
            <a:avLst/>
            <a:gdLst/>
            <a:ahLst/>
            <a:cxnLst/>
            <a:rect l="l" t="t" r="r" b="b"/>
            <a:pathLst>
              <a:path w="12729" h="12650" extrusionOk="0">
                <a:moveTo>
                  <a:pt x="9326" y="1000"/>
                </a:moveTo>
                <a:lnTo>
                  <a:pt x="11657" y="3332"/>
                </a:lnTo>
                <a:lnTo>
                  <a:pt x="3403" y="11617"/>
                </a:lnTo>
                <a:lnTo>
                  <a:pt x="1072" y="9286"/>
                </a:lnTo>
                <a:lnTo>
                  <a:pt x="2521" y="7837"/>
                </a:lnTo>
                <a:lnTo>
                  <a:pt x="3403" y="8688"/>
                </a:lnTo>
                <a:cubicBezTo>
                  <a:pt x="3482" y="8766"/>
                  <a:pt x="3584" y="8806"/>
                  <a:pt x="3686" y="8806"/>
                </a:cubicBezTo>
                <a:cubicBezTo>
                  <a:pt x="3789" y="8806"/>
                  <a:pt x="3891" y="8766"/>
                  <a:pt x="3970" y="8688"/>
                </a:cubicBezTo>
                <a:cubicBezTo>
                  <a:pt x="4128" y="8530"/>
                  <a:pt x="4128" y="8278"/>
                  <a:pt x="3970" y="8089"/>
                </a:cubicBezTo>
                <a:lnTo>
                  <a:pt x="3119" y="7238"/>
                </a:lnTo>
                <a:lnTo>
                  <a:pt x="4191" y="6167"/>
                </a:lnTo>
                <a:lnTo>
                  <a:pt x="5041" y="7049"/>
                </a:lnTo>
                <a:cubicBezTo>
                  <a:pt x="5120" y="7128"/>
                  <a:pt x="5230" y="7167"/>
                  <a:pt x="5340" y="7167"/>
                </a:cubicBezTo>
                <a:cubicBezTo>
                  <a:pt x="5451" y="7167"/>
                  <a:pt x="5561" y="7128"/>
                  <a:pt x="5640" y="7049"/>
                </a:cubicBezTo>
                <a:cubicBezTo>
                  <a:pt x="5797" y="6892"/>
                  <a:pt x="5797" y="6608"/>
                  <a:pt x="5640" y="6451"/>
                </a:cubicBezTo>
                <a:lnTo>
                  <a:pt x="4758" y="5600"/>
                </a:lnTo>
                <a:lnTo>
                  <a:pt x="5829" y="4529"/>
                </a:lnTo>
                <a:lnTo>
                  <a:pt x="6711" y="5380"/>
                </a:lnTo>
                <a:cubicBezTo>
                  <a:pt x="6790" y="5458"/>
                  <a:pt x="6892" y="5498"/>
                  <a:pt x="6994" y="5498"/>
                </a:cubicBezTo>
                <a:cubicBezTo>
                  <a:pt x="7097" y="5498"/>
                  <a:pt x="7199" y="5458"/>
                  <a:pt x="7278" y="5380"/>
                </a:cubicBezTo>
                <a:cubicBezTo>
                  <a:pt x="7436" y="5222"/>
                  <a:pt x="7436" y="4970"/>
                  <a:pt x="7278" y="4812"/>
                </a:cubicBezTo>
                <a:lnTo>
                  <a:pt x="6427" y="3930"/>
                </a:lnTo>
                <a:lnTo>
                  <a:pt x="7499" y="2859"/>
                </a:lnTo>
                <a:lnTo>
                  <a:pt x="8349" y="3741"/>
                </a:lnTo>
                <a:cubicBezTo>
                  <a:pt x="8428" y="3820"/>
                  <a:pt x="8538" y="3859"/>
                  <a:pt x="8648" y="3859"/>
                </a:cubicBezTo>
                <a:cubicBezTo>
                  <a:pt x="8759" y="3859"/>
                  <a:pt x="8869" y="3820"/>
                  <a:pt x="8948" y="3741"/>
                </a:cubicBezTo>
                <a:cubicBezTo>
                  <a:pt x="9105" y="3584"/>
                  <a:pt x="9105" y="3300"/>
                  <a:pt x="8948" y="3143"/>
                </a:cubicBezTo>
                <a:lnTo>
                  <a:pt x="8066" y="2292"/>
                </a:lnTo>
                <a:lnTo>
                  <a:pt x="9326" y="1000"/>
                </a:lnTo>
                <a:close/>
                <a:moveTo>
                  <a:pt x="9357" y="0"/>
                </a:moveTo>
                <a:cubicBezTo>
                  <a:pt x="9255" y="0"/>
                  <a:pt x="9153" y="39"/>
                  <a:pt x="9074" y="118"/>
                </a:cubicBezTo>
                <a:lnTo>
                  <a:pt x="7247" y="1914"/>
                </a:lnTo>
                <a:lnTo>
                  <a:pt x="7120" y="2040"/>
                </a:lnTo>
                <a:lnTo>
                  <a:pt x="5608" y="3584"/>
                </a:lnTo>
                <a:lnTo>
                  <a:pt x="5482" y="3678"/>
                </a:lnTo>
                <a:lnTo>
                  <a:pt x="3938" y="5222"/>
                </a:lnTo>
                <a:lnTo>
                  <a:pt x="3812" y="5348"/>
                </a:lnTo>
                <a:lnTo>
                  <a:pt x="2300" y="6892"/>
                </a:lnTo>
                <a:lnTo>
                  <a:pt x="2174" y="7018"/>
                </a:lnTo>
                <a:lnTo>
                  <a:pt x="158" y="9003"/>
                </a:lnTo>
                <a:cubicBezTo>
                  <a:pt x="0" y="9160"/>
                  <a:pt x="0" y="9444"/>
                  <a:pt x="158" y="9601"/>
                </a:cubicBezTo>
                <a:lnTo>
                  <a:pt x="3088" y="12531"/>
                </a:lnTo>
                <a:cubicBezTo>
                  <a:pt x="3167" y="12610"/>
                  <a:pt x="3269" y="12649"/>
                  <a:pt x="3371" y="12649"/>
                </a:cubicBezTo>
                <a:cubicBezTo>
                  <a:pt x="3474" y="12649"/>
                  <a:pt x="3576" y="12610"/>
                  <a:pt x="3655" y="12531"/>
                </a:cubicBezTo>
                <a:lnTo>
                  <a:pt x="12539" y="3647"/>
                </a:lnTo>
                <a:cubicBezTo>
                  <a:pt x="12728" y="3458"/>
                  <a:pt x="12728" y="3174"/>
                  <a:pt x="12571" y="3017"/>
                </a:cubicBezTo>
                <a:lnTo>
                  <a:pt x="9641" y="118"/>
                </a:lnTo>
                <a:cubicBezTo>
                  <a:pt x="9562" y="39"/>
                  <a:pt x="9460" y="0"/>
                  <a:pt x="9357"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nvGrpSpPr>
          <p:cNvPr id="9616" name="Google Shape;9616;p110"/>
          <p:cNvGrpSpPr/>
          <p:nvPr/>
        </p:nvGrpSpPr>
        <p:grpSpPr>
          <a:xfrm>
            <a:off x="1639380" y="2045214"/>
            <a:ext cx="529241" cy="497529"/>
            <a:chOff x="-42804750" y="1949600"/>
            <a:chExt cx="337125" cy="316925"/>
          </a:xfrm>
        </p:grpSpPr>
        <p:sp>
          <p:nvSpPr>
            <p:cNvPr id="9617" name="Google Shape;9617;p110"/>
            <p:cNvSpPr/>
            <p:nvPr/>
          </p:nvSpPr>
          <p:spPr>
            <a:xfrm>
              <a:off x="-42731500" y="2013125"/>
              <a:ext cx="189825" cy="189900"/>
            </a:xfrm>
            <a:custGeom>
              <a:avLst/>
              <a:gdLst/>
              <a:ahLst/>
              <a:cxnLst/>
              <a:rect l="l" t="t" r="r" b="b"/>
              <a:pathLst>
                <a:path w="7593" h="7596" extrusionOk="0">
                  <a:moveTo>
                    <a:pt x="3781" y="805"/>
                  </a:moveTo>
                  <a:cubicBezTo>
                    <a:pt x="5419" y="805"/>
                    <a:pt x="6742" y="2128"/>
                    <a:pt x="6742" y="3767"/>
                  </a:cubicBezTo>
                  <a:cubicBezTo>
                    <a:pt x="6774" y="5405"/>
                    <a:pt x="5419" y="6760"/>
                    <a:pt x="3781" y="6760"/>
                  </a:cubicBezTo>
                  <a:cubicBezTo>
                    <a:pt x="2426" y="6760"/>
                    <a:pt x="1292" y="5878"/>
                    <a:pt x="946" y="4649"/>
                  </a:cubicBezTo>
                  <a:cubicBezTo>
                    <a:pt x="347" y="2727"/>
                    <a:pt x="1765" y="805"/>
                    <a:pt x="3781" y="805"/>
                  </a:cubicBezTo>
                  <a:close/>
                  <a:moveTo>
                    <a:pt x="3809" y="1"/>
                  </a:moveTo>
                  <a:cubicBezTo>
                    <a:pt x="3297" y="1"/>
                    <a:pt x="2785" y="105"/>
                    <a:pt x="2300" y="301"/>
                  </a:cubicBezTo>
                  <a:cubicBezTo>
                    <a:pt x="946" y="868"/>
                    <a:pt x="0" y="2223"/>
                    <a:pt x="0" y="3798"/>
                  </a:cubicBezTo>
                  <a:cubicBezTo>
                    <a:pt x="0" y="5058"/>
                    <a:pt x="630" y="6224"/>
                    <a:pt x="1670" y="6949"/>
                  </a:cubicBezTo>
                  <a:cubicBezTo>
                    <a:pt x="2333" y="7390"/>
                    <a:pt x="3060" y="7596"/>
                    <a:pt x="3776" y="7596"/>
                  </a:cubicBezTo>
                  <a:cubicBezTo>
                    <a:pt x="4286" y="7596"/>
                    <a:pt x="4790" y="7492"/>
                    <a:pt x="5262" y="7295"/>
                  </a:cubicBezTo>
                  <a:cubicBezTo>
                    <a:pt x="6648" y="6697"/>
                    <a:pt x="7593" y="5373"/>
                    <a:pt x="7593" y="3798"/>
                  </a:cubicBezTo>
                  <a:cubicBezTo>
                    <a:pt x="7593" y="2506"/>
                    <a:pt x="6931" y="1341"/>
                    <a:pt x="5892" y="648"/>
                  </a:cubicBezTo>
                  <a:cubicBezTo>
                    <a:pt x="5248" y="206"/>
                    <a:pt x="4528" y="1"/>
                    <a:pt x="3809"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9618" name="Google Shape;9618;p110"/>
            <p:cNvSpPr/>
            <p:nvPr/>
          </p:nvSpPr>
          <p:spPr>
            <a:xfrm>
              <a:off x="-42804750" y="1949600"/>
              <a:ext cx="337125" cy="316925"/>
            </a:xfrm>
            <a:custGeom>
              <a:avLst/>
              <a:gdLst/>
              <a:ahLst/>
              <a:cxnLst/>
              <a:rect l="l" t="t" r="r" b="b"/>
              <a:pathLst>
                <a:path w="13485" h="12677" extrusionOk="0">
                  <a:moveTo>
                    <a:pt x="3306" y="817"/>
                  </a:moveTo>
                  <a:cubicBezTo>
                    <a:pt x="3769" y="817"/>
                    <a:pt x="4233" y="967"/>
                    <a:pt x="4600" y="1267"/>
                  </a:cubicBezTo>
                  <a:cubicBezTo>
                    <a:pt x="3277" y="1802"/>
                    <a:pt x="2174" y="2905"/>
                    <a:pt x="1607" y="4260"/>
                  </a:cubicBezTo>
                  <a:cubicBezTo>
                    <a:pt x="914" y="3283"/>
                    <a:pt x="1072" y="1897"/>
                    <a:pt x="2143" y="1172"/>
                  </a:cubicBezTo>
                  <a:cubicBezTo>
                    <a:pt x="2484" y="935"/>
                    <a:pt x="2895" y="817"/>
                    <a:pt x="3306" y="817"/>
                  </a:cubicBezTo>
                  <a:close/>
                  <a:moveTo>
                    <a:pt x="10101" y="823"/>
                  </a:moveTo>
                  <a:cubicBezTo>
                    <a:pt x="10771" y="823"/>
                    <a:pt x="11436" y="1137"/>
                    <a:pt x="11846" y="1771"/>
                  </a:cubicBezTo>
                  <a:cubicBezTo>
                    <a:pt x="12382" y="2527"/>
                    <a:pt x="12319" y="3535"/>
                    <a:pt x="11783" y="4260"/>
                  </a:cubicBezTo>
                  <a:cubicBezTo>
                    <a:pt x="11248" y="2905"/>
                    <a:pt x="10177" y="1802"/>
                    <a:pt x="8790" y="1267"/>
                  </a:cubicBezTo>
                  <a:cubicBezTo>
                    <a:pt x="9176" y="971"/>
                    <a:pt x="9640" y="823"/>
                    <a:pt x="10101" y="823"/>
                  </a:cubicBezTo>
                  <a:close/>
                  <a:moveTo>
                    <a:pt x="6662" y="1686"/>
                  </a:moveTo>
                  <a:cubicBezTo>
                    <a:pt x="7287" y="1686"/>
                    <a:pt x="7908" y="1809"/>
                    <a:pt x="8475" y="2055"/>
                  </a:cubicBezTo>
                  <a:cubicBezTo>
                    <a:pt x="10177" y="2748"/>
                    <a:pt x="11311" y="4417"/>
                    <a:pt x="11311" y="6339"/>
                  </a:cubicBezTo>
                  <a:cubicBezTo>
                    <a:pt x="11374" y="8891"/>
                    <a:pt x="9263" y="10970"/>
                    <a:pt x="6711" y="10970"/>
                  </a:cubicBezTo>
                  <a:cubicBezTo>
                    <a:pt x="4159" y="10970"/>
                    <a:pt x="2048" y="8891"/>
                    <a:pt x="2017" y="6339"/>
                  </a:cubicBezTo>
                  <a:cubicBezTo>
                    <a:pt x="2017" y="4764"/>
                    <a:pt x="2804" y="3346"/>
                    <a:pt x="4065" y="2464"/>
                  </a:cubicBezTo>
                  <a:cubicBezTo>
                    <a:pt x="4846" y="1943"/>
                    <a:pt x="5759" y="1686"/>
                    <a:pt x="6662" y="1686"/>
                  </a:cubicBezTo>
                  <a:close/>
                  <a:moveTo>
                    <a:pt x="3282" y="1"/>
                  </a:moveTo>
                  <a:cubicBezTo>
                    <a:pt x="2347" y="1"/>
                    <a:pt x="1411" y="437"/>
                    <a:pt x="820" y="1298"/>
                  </a:cubicBezTo>
                  <a:cubicBezTo>
                    <a:pt x="0" y="2496"/>
                    <a:pt x="189" y="4165"/>
                    <a:pt x="1292" y="5142"/>
                  </a:cubicBezTo>
                  <a:cubicBezTo>
                    <a:pt x="820" y="7316"/>
                    <a:pt x="1702" y="9553"/>
                    <a:pt x="3497" y="10844"/>
                  </a:cubicBezTo>
                  <a:lnTo>
                    <a:pt x="2867" y="12073"/>
                  </a:lnTo>
                  <a:cubicBezTo>
                    <a:pt x="2773" y="12262"/>
                    <a:pt x="2867" y="12514"/>
                    <a:pt x="3088" y="12640"/>
                  </a:cubicBezTo>
                  <a:cubicBezTo>
                    <a:pt x="3137" y="12665"/>
                    <a:pt x="3189" y="12677"/>
                    <a:pt x="3240" y="12677"/>
                  </a:cubicBezTo>
                  <a:cubicBezTo>
                    <a:pt x="3386" y="12677"/>
                    <a:pt x="3530" y="12582"/>
                    <a:pt x="3623" y="12420"/>
                  </a:cubicBezTo>
                  <a:lnTo>
                    <a:pt x="4222" y="11254"/>
                  </a:lnTo>
                  <a:cubicBezTo>
                    <a:pt x="4994" y="11632"/>
                    <a:pt x="5821" y="11821"/>
                    <a:pt x="6648" y="11821"/>
                  </a:cubicBezTo>
                  <a:cubicBezTo>
                    <a:pt x="7475" y="11821"/>
                    <a:pt x="8302" y="11632"/>
                    <a:pt x="9074" y="11254"/>
                  </a:cubicBezTo>
                  <a:lnTo>
                    <a:pt x="9641" y="12420"/>
                  </a:lnTo>
                  <a:cubicBezTo>
                    <a:pt x="9736" y="12587"/>
                    <a:pt x="9904" y="12663"/>
                    <a:pt x="10062" y="12663"/>
                  </a:cubicBezTo>
                  <a:cubicBezTo>
                    <a:pt x="10113" y="12663"/>
                    <a:pt x="10162" y="12655"/>
                    <a:pt x="10208" y="12640"/>
                  </a:cubicBezTo>
                  <a:cubicBezTo>
                    <a:pt x="10397" y="12514"/>
                    <a:pt x="10492" y="12262"/>
                    <a:pt x="10397" y="12073"/>
                  </a:cubicBezTo>
                  <a:lnTo>
                    <a:pt x="9767" y="10844"/>
                  </a:lnTo>
                  <a:cubicBezTo>
                    <a:pt x="11594" y="9584"/>
                    <a:pt x="12476" y="7347"/>
                    <a:pt x="11972" y="5142"/>
                  </a:cubicBezTo>
                  <a:cubicBezTo>
                    <a:pt x="13485" y="3882"/>
                    <a:pt x="13359" y="1582"/>
                    <a:pt x="11752" y="511"/>
                  </a:cubicBezTo>
                  <a:cubicBezTo>
                    <a:pt x="11243" y="171"/>
                    <a:pt x="10658" y="5"/>
                    <a:pt x="10078" y="5"/>
                  </a:cubicBezTo>
                  <a:cubicBezTo>
                    <a:pt x="9258" y="5"/>
                    <a:pt x="8449" y="338"/>
                    <a:pt x="7877" y="983"/>
                  </a:cubicBezTo>
                  <a:cubicBezTo>
                    <a:pt x="7483" y="905"/>
                    <a:pt x="7081" y="865"/>
                    <a:pt x="6679" y="865"/>
                  </a:cubicBezTo>
                  <a:cubicBezTo>
                    <a:pt x="6278" y="865"/>
                    <a:pt x="5876" y="905"/>
                    <a:pt x="5482" y="983"/>
                  </a:cubicBezTo>
                  <a:cubicBezTo>
                    <a:pt x="4898" y="326"/>
                    <a:pt x="4090" y="1"/>
                    <a:pt x="3282"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9619" name="Google Shape;9619;p110"/>
            <p:cNvSpPr/>
            <p:nvPr/>
          </p:nvSpPr>
          <p:spPr>
            <a:xfrm>
              <a:off x="-42644075" y="2060025"/>
              <a:ext cx="59100" cy="65400"/>
            </a:xfrm>
            <a:custGeom>
              <a:avLst/>
              <a:gdLst/>
              <a:ahLst/>
              <a:cxnLst/>
              <a:rect l="l" t="t" r="r" b="b"/>
              <a:pathLst>
                <a:path w="2364" h="2616" extrusionOk="0">
                  <a:moveTo>
                    <a:pt x="442" y="0"/>
                  </a:moveTo>
                  <a:cubicBezTo>
                    <a:pt x="189" y="0"/>
                    <a:pt x="0" y="189"/>
                    <a:pt x="0" y="410"/>
                  </a:cubicBezTo>
                  <a:lnTo>
                    <a:pt x="0" y="2237"/>
                  </a:lnTo>
                  <a:cubicBezTo>
                    <a:pt x="0" y="2458"/>
                    <a:pt x="189" y="2615"/>
                    <a:pt x="442" y="2615"/>
                  </a:cubicBezTo>
                  <a:lnTo>
                    <a:pt x="1922" y="2615"/>
                  </a:lnTo>
                  <a:cubicBezTo>
                    <a:pt x="2174" y="2615"/>
                    <a:pt x="2363" y="2426"/>
                    <a:pt x="2363" y="2237"/>
                  </a:cubicBezTo>
                  <a:cubicBezTo>
                    <a:pt x="2363" y="1954"/>
                    <a:pt x="2174" y="1796"/>
                    <a:pt x="1922" y="1796"/>
                  </a:cubicBezTo>
                  <a:lnTo>
                    <a:pt x="820" y="1796"/>
                  </a:lnTo>
                  <a:lnTo>
                    <a:pt x="820" y="410"/>
                  </a:lnTo>
                  <a:cubicBezTo>
                    <a:pt x="820" y="189"/>
                    <a:pt x="631" y="0"/>
                    <a:pt x="442"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9620" name="Google Shape;9620;p110"/>
          <p:cNvGrpSpPr/>
          <p:nvPr/>
        </p:nvGrpSpPr>
        <p:grpSpPr>
          <a:xfrm>
            <a:off x="1722948" y="2648810"/>
            <a:ext cx="447608" cy="485677"/>
            <a:chOff x="-42778750" y="2320125"/>
            <a:chExt cx="285125" cy="309375"/>
          </a:xfrm>
        </p:grpSpPr>
        <p:sp>
          <p:nvSpPr>
            <p:cNvPr id="9621" name="Google Shape;9621;p110"/>
            <p:cNvSpPr/>
            <p:nvPr/>
          </p:nvSpPr>
          <p:spPr>
            <a:xfrm>
              <a:off x="-42778750" y="2320125"/>
              <a:ext cx="285125" cy="309375"/>
            </a:xfrm>
            <a:custGeom>
              <a:avLst/>
              <a:gdLst/>
              <a:ahLst/>
              <a:cxnLst/>
              <a:rect l="l" t="t" r="r" b="b"/>
              <a:pathLst>
                <a:path w="11405" h="12375" extrusionOk="0">
                  <a:moveTo>
                    <a:pt x="5654" y="815"/>
                  </a:moveTo>
                  <a:cubicBezTo>
                    <a:pt x="5920" y="815"/>
                    <a:pt x="6185" y="965"/>
                    <a:pt x="6459" y="1253"/>
                  </a:cubicBezTo>
                  <a:cubicBezTo>
                    <a:pt x="6711" y="1568"/>
                    <a:pt x="6963" y="1978"/>
                    <a:pt x="7120" y="2419"/>
                  </a:cubicBezTo>
                  <a:cubicBezTo>
                    <a:pt x="6616" y="2545"/>
                    <a:pt x="6144" y="2734"/>
                    <a:pt x="5671" y="2923"/>
                  </a:cubicBezTo>
                  <a:cubicBezTo>
                    <a:pt x="5198" y="2734"/>
                    <a:pt x="4726" y="2545"/>
                    <a:pt x="4190" y="2419"/>
                  </a:cubicBezTo>
                  <a:cubicBezTo>
                    <a:pt x="4348" y="2072"/>
                    <a:pt x="4568" y="1663"/>
                    <a:pt x="4789" y="1348"/>
                  </a:cubicBezTo>
                  <a:cubicBezTo>
                    <a:pt x="5083" y="988"/>
                    <a:pt x="5368" y="815"/>
                    <a:pt x="5654" y="815"/>
                  </a:cubicBezTo>
                  <a:close/>
                  <a:moveTo>
                    <a:pt x="3938" y="3238"/>
                  </a:moveTo>
                  <a:cubicBezTo>
                    <a:pt x="4159" y="3332"/>
                    <a:pt x="4411" y="3364"/>
                    <a:pt x="4600" y="3427"/>
                  </a:cubicBezTo>
                  <a:cubicBezTo>
                    <a:pt x="4285" y="3616"/>
                    <a:pt x="4033" y="3774"/>
                    <a:pt x="3781" y="3900"/>
                  </a:cubicBezTo>
                  <a:cubicBezTo>
                    <a:pt x="3844" y="3679"/>
                    <a:pt x="3907" y="3427"/>
                    <a:pt x="3938" y="3238"/>
                  </a:cubicBezTo>
                  <a:close/>
                  <a:moveTo>
                    <a:pt x="7341" y="3238"/>
                  </a:moveTo>
                  <a:cubicBezTo>
                    <a:pt x="7435" y="3490"/>
                    <a:pt x="7467" y="3711"/>
                    <a:pt x="7498" y="3963"/>
                  </a:cubicBezTo>
                  <a:cubicBezTo>
                    <a:pt x="7246" y="3805"/>
                    <a:pt x="6963" y="3616"/>
                    <a:pt x="6679" y="3490"/>
                  </a:cubicBezTo>
                  <a:cubicBezTo>
                    <a:pt x="6868" y="3364"/>
                    <a:pt x="7120" y="3301"/>
                    <a:pt x="7341" y="3238"/>
                  </a:cubicBezTo>
                  <a:close/>
                  <a:moveTo>
                    <a:pt x="2340" y="2993"/>
                  </a:moveTo>
                  <a:cubicBezTo>
                    <a:pt x="2618" y="2993"/>
                    <a:pt x="2897" y="3021"/>
                    <a:pt x="3151" y="3049"/>
                  </a:cubicBezTo>
                  <a:cubicBezTo>
                    <a:pt x="3025" y="3522"/>
                    <a:pt x="2899" y="3994"/>
                    <a:pt x="2867" y="4593"/>
                  </a:cubicBezTo>
                  <a:cubicBezTo>
                    <a:pt x="2457" y="4908"/>
                    <a:pt x="2048" y="5223"/>
                    <a:pt x="1670" y="5569"/>
                  </a:cubicBezTo>
                  <a:cubicBezTo>
                    <a:pt x="1040" y="4782"/>
                    <a:pt x="473" y="3616"/>
                    <a:pt x="1355" y="3175"/>
                  </a:cubicBezTo>
                  <a:cubicBezTo>
                    <a:pt x="1651" y="3036"/>
                    <a:pt x="1995" y="2993"/>
                    <a:pt x="2340" y="2993"/>
                  </a:cubicBezTo>
                  <a:close/>
                  <a:moveTo>
                    <a:pt x="8935" y="3013"/>
                  </a:moveTo>
                  <a:cubicBezTo>
                    <a:pt x="9678" y="3013"/>
                    <a:pt x="10397" y="3218"/>
                    <a:pt x="10397" y="3868"/>
                  </a:cubicBezTo>
                  <a:cubicBezTo>
                    <a:pt x="10397" y="4435"/>
                    <a:pt x="9956" y="5097"/>
                    <a:pt x="9609" y="5569"/>
                  </a:cubicBezTo>
                  <a:cubicBezTo>
                    <a:pt x="9294" y="5254"/>
                    <a:pt x="8884" y="4908"/>
                    <a:pt x="8412" y="4593"/>
                  </a:cubicBezTo>
                  <a:cubicBezTo>
                    <a:pt x="8349" y="4089"/>
                    <a:pt x="8254" y="3553"/>
                    <a:pt x="8160" y="3080"/>
                  </a:cubicBezTo>
                  <a:cubicBezTo>
                    <a:pt x="8400" y="3039"/>
                    <a:pt x="8669" y="3013"/>
                    <a:pt x="8935" y="3013"/>
                  </a:cubicBezTo>
                  <a:close/>
                  <a:moveTo>
                    <a:pt x="8538" y="5695"/>
                  </a:moveTo>
                  <a:cubicBezTo>
                    <a:pt x="8727" y="5853"/>
                    <a:pt x="8884" y="6010"/>
                    <a:pt x="9042" y="6168"/>
                  </a:cubicBezTo>
                  <a:cubicBezTo>
                    <a:pt x="8884" y="6325"/>
                    <a:pt x="8695" y="6483"/>
                    <a:pt x="8538" y="6640"/>
                  </a:cubicBezTo>
                  <a:lnTo>
                    <a:pt x="8538" y="5695"/>
                  </a:lnTo>
                  <a:close/>
                  <a:moveTo>
                    <a:pt x="2741" y="5727"/>
                  </a:moveTo>
                  <a:lnTo>
                    <a:pt x="2741" y="6672"/>
                  </a:lnTo>
                  <a:cubicBezTo>
                    <a:pt x="2552" y="6514"/>
                    <a:pt x="2394" y="6357"/>
                    <a:pt x="2237" y="6199"/>
                  </a:cubicBezTo>
                  <a:cubicBezTo>
                    <a:pt x="2426" y="6010"/>
                    <a:pt x="2583" y="5884"/>
                    <a:pt x="2741" y="5727"/>
                  </a:cubicBezTo>
                  <a:close/>
                  <a:moveTo>
                    <a:pt x="5671" y="3837"/>
                  </a:moveTo>
                  <a:cubicBezTo>
                    <a:pt x="6364" y="4152"/>
                    <a:pt x="7026" y="4561"/>
                    <a:pt x="7656" y="5002"/>
                  </a:cubicBezTo>
                  <a:cubicBezTo>
                    <a:pt x="7750" y="5821"/>
                    <a:pt x="7750" y="6609"/>
                    <a:pt x="7656" y="7334"/>
                  </a:cubicBezTo>
                  <a:cubicBezTo>
                    <a:pt x="7026" y="7775"/>
                    <a:pt x="6364" y="8184"/>
                    <a:pt x="5671" y="8531"/>
                  </a:cubicBezTo>
                  <a:cubicBezTo>
                    <a:pt x="4946" y="8216"/>
                    <a:pt x="4285" y="7806"/>
                    <a:pt x="3655" y="7334"/>
                  </a:cubicBezTo>
                  <a:cubicBezTo>
                    <a:pt x="3560" y="6609"/>
                    <a:pt x="3560" y="5821"/>
                    <a:pt x="3655" y="5002"/>
                  </a:cubicBezTo>
                  <a:cubicBezTo>
                    <a:pt x="3970" y="4782"/>
                    <a:pt x="4285" y="4593"/>
                    <a:pt x="4631" y="4404"/>
                  </a:cubicBezTo>
                  <a:cubicBezTo>
                    <a:pt x="4978" y="4183"/>
                    <a:pt x="5356" y="3994"/>
                    <a:pt x="5671" y="3837"/>
                  </a:cubicBezTo>
                  <a:close/>
                  <a:moveTo>
                    <a:pt x="3781" y="8436"/>
                  </a:moveTo>
                  <a:lnTo>
                    <a:pt x="3781" y="8436"/>
                  </a:lnTo>
                  <a:cubicBezTo>
                    <a:pt x="3907" y="8531"/>
                    <a:pt x="4033" y="8594"/>
                    <a:pt x="4222" y="8688"/>
                  </a:cubicBezTo>
                  <a:cubicBezTo>
                    <a:pt x="4241" y="8641"/>
                    <a:pt x="4248" y="8625"/>
                    <a:pt x="4250" y="8625"/>
                  </a:cubicBezTo>
                  <a:lnTo>
                    <a:pt x="4250" y="8625"/>
                  </a:lnTo>
                  <a:cubicBezTo>
                    <a:pt x="4252" y="8625"/>
                    <a:pt x="4233" y="8679"/>
                    <a:pt x="4225" y="8690"/>
                  </a:cubicBezTo>
                  <a:lnTo>
                    <a:pt x="4225" y="8690"/>
                  </a:lnTo>
                  <a:cubicBezTo>
                    <a:pt x="4224" y="8689"/>
                    <a:pt x="4223" y="8689"/>
                    <a:pt x="4222" y="8688"/>
                  </a:cubicBezTo>
                  <a:lnTo>
                    <a:pt x="4222" y="8688"/>
                  </a:lnTo>
                  <a:cubicBezTo>
                    <a:pt x="4222" y="8691"/>
                    <a:pt x="4222" y="8692"/>
                    <a:pt x="4223" y="8692"/>
                  </a:cubicBezTo>
                  <a:cubicBezTo>
                    <a:pt x="4223" y="8692"/>
                    <a:pt x="4224" y="8691"/>
                    <a:pt x="4225" y="8690"/>
                  </a:cubicBezTo>
                  <a:lnTo>
                    <a:pt x="4225" y="8690"/>
                  </a:lnTo>
                  <a:cubicBezTo>
                    <a:pt x="4350" y="8753"/>
                    <a:pt x="4475" y="8846"/>
                    <a:pt x="4631" y="8909"/>
                  </a:cubicBezTo>
                  <a:cubicBezTo>
                    <a:pt x="4411" y="9003"/>
                    <a:pt x="4159" y="9066"/>
                    <a:pt x="3970" y="9129"/>
                  </a:cubicBezTo>
                  <a:cubicBezTo>
                    <a:pt x="3907" y="8909"/>
                    <a:pt x="3844" y="8688"/>
                    <a:pt x="3781" y="8436"/>
                  </a:cubicBezTo>
                  <a:close/>
                  <a:moveTo>
                    <a:pt x="7498" y="8499"/>
                  </a:moveTo>
                  <a:cubicBezTo>
                    <a:pt x="7467" y="8688"/>
                    <a:pt x="7435" y="8909"/>
                    <a:pt x="7341" y="9161"/>
                  </a:cubicBezTo>
                  <a:cubicBezTo>
                    <a:pt x="7120" y="9066"/>
                    <a:pt x="6868" y="9035"/>
                    <a:pt x="6679" y="8972"/>
                  </a:cubicBezTo>
                  <a:cubicBezTo>
                    <a:pt x="6994" y="8814"/>
                    <a:pt x="7278" y="8625"/>
                    <a:pt x="7498" y="8499"/>
                  </a:cubicBezTo>
                  <a:close/>
                  <a:moveTo>
                    <a:pt x="1638" y="6798"/>
                  </a:moveTo>
                  <a:cubicBezTo>
                    <a:pt x="1985" y="7145"/>
                    <a:pt x="2394" y="7491"/>
                    <a:pt x="2836" y="7775"/>
                  </a:cubicBezTo>
                  <a:cubicBezTo>
                    <a:pt x="2899" y="8279"/>
                    <a:pt x="2993" y="8814"/>
                    <a:pt x="3088" y="9287"/>
                  </a:cubicBezTo>
                  <a:cubicBezTo>
                    <a:pt x="2848" y="9347"/>
                    <a:pt x="2583" y="9369"/>
                    <a:pt x="2309" y="9369"/>
                  </a:cubicBezTo>
                  <a:cubicBezTo>
                    <a:pt x="2150" y="9369"/>
                    <a:pt x="1989" y="9361"/>
                    <a:pt x="1827" y="9350"/>
                  </a:cubicBezTo>
                  <a:cubicBezTo>
                    <a:pt x="1103" y="9224"/>
                    <a:pt x="725" y="8846"/>
                    <a:pt x="945" y="8090"/>
                  </a:cubicBezTo>
                  <a:cubicBezTo>
                    <a:pt x="1040" y="7649"/>
                    <a:pt x="1323" y="7239"/>
                    <a:pt x="1638" y="6798"/>
                  </a:cubicBezTo>
                  <a:close/>
                  <a:moveTo>
                    <a:pt x="9641" y="6830"/>
                  </a:moveTo>
                  <a:cubicBezTo>
                    <a:pt x="9987" y="7271"/>
                    <a:pt x="10428" y="7932"/>
                    <a:pt x="10428" y="8531"/>
                  </a:cubicBezTo>
                  <a:cubicBezTo>
                    <a:pt x="10405" y="9192"/>
                    <a:pt x="9707" y="9391"/>
                    <a:pt x="8988" y="9391"/>
                  </a:cubicBezTo>
                  <a:cubicBezTo>
                    <a:pt x="8713" y="9391"/>
                    <a:pt x="8435" y="9362"/>
                    <a:pt x="8191" y="9318"/>
                  </a:cubicBezTo>
                  <a:cubicBezTo>
                    <a:pt x="8286" y="8846"/>
                    <a:pt x="8412" y="8373"/>
                    <a:pt x="8443" y="7806"/>
                  </a:cubicBezTo>
                  <a:cubicBezTo>
                    <a:pt x="8853" y="7491"/>
                    <a:pt x="9294" y="7176"/>
                    <a:pt x="9641" y="6830"/>
                  </a:cubicBezTo>
                  <a:close/>
                  <a:moveTo>
                    <a:pt x="5671" y="9444"/>
                  </a:moveTo>
                  <a:cubicBezTo>
                    <a:pt x="6144" y="9633"/>
                    <a:pt x="6616" y="9822"/>
                    <a:pt x="7120" y="9948"/>
                  </a:cubicBezTo>
                  <a:cubicBezTo>
                    <a:pt x="6868" y="10453"/>
                    <a:pt x="6522" y="11177"/>
                    <a:pt x="6049" y="11429"/>
                  </a:cubicBezTo>
                  <a:cubicBezTo>
                    <a:pt x="5909" y="11527"/>
                    <a:pt x="5782" y="11569"/>
                    <a:pt x="5659" y="11569"/>
                  </a:cubicBezTo>
                  <a:cubicBezTo>
                    <a:pt x="5504" y="11569"/>
                    <a:pt x="5356" y="11503"/>
                    <a:pt x="5198" y="11398"/>
                  </a:cubicBezTo>
                  <a:cubicBezTo>
                    <a:pt x="4757" y="11083"/>
                    <a:pt x="4411" y="10453"/>
                    <a:pt x="4222" y="9948"/>
                  </a:cubicBezTo>
                  <a:cubicBezTo>
                    <a:pt x="4694" y="9822"/>
                    <a:pt x="5198" y="9633"/>
                    <a:pt x="5671" y="9444"/>
                  </a:cubicBezTo>
                  <a:close/>
                  <a:moveTo>
                    <a:pt x="5689" y="1"/>
                  </a:moveTo>
                  <a:cubicBezTo>
                    <a:pt x="5142" y="1"/>
                    <a:pt x="4663" y="283"/>
                    <a:pt x="4285" y="686"/>
                  </a:cubicBezTo>
                  <a:cubicBezTo>
                    <a:pt x="3907" y="1127"/>
                    <a:pt x="3623" y="1663"/>
                    <a:pt x="3434" y="2261"/>
                  </a:cubicBezTo>
                  <a:cubicBezTo>
                    <a:pt x="3054" y="2197"/>
                    <a:pt x="2712" y="2168"/>
                    <a:pt x="2405" y="2168"/>
                  </a:cubicBezTo>
                  <a:cubicBezTo>
                    <a:pt x="753" y="2168"/>
                    <a:pt x="126" y="3018"/>
                    <a:pt x="126" y="3868"/>
                  </a:cubicBezTo>
                  <a:cubicBezTo>
                    <a:pt x="126" y="4687"/>
                    <a:pt x="630" y="5538"/>
                    <a:pt x="1166" y="6168"/>
                  </a:cubicBezTo>
                  <a:cubicBezTo>
                    <a:pt x="788" y="6640"/>
                    <a:pt x="441" y="7176"/>
                    <a:pt x="221" y="7775"/>
                  </a:cubicBezTo>
                  <a:cubicBezTo>
                    <a:pt x="0" y="8499"/>
                    <a:pt x="126" y="9224"/>
                    <a:pt x="693" y="9696"/>
                  </a:cubicBezTo>
                  <a:cubicBezTo>
                    <a:pt x="1155" y="10078"/>
                    <a:pt x="1784" y="10204"/>
                    <a:pt x="2416" y="10204"/>
                  </a:cubicBezTo>
                  <a:cubicBezTo>
                    <a:pt x="2775" y="10204"/>
                    <a:pt x="3135" y="10163"/>
                    <a:pt x="3466" y="10106"/>
                  </a:cubicBezTo>
                  <a:lnTo>
                    <a:pt x="3812" y="10925"/>
                  </a:lnTo>
                  <a:cubicBezTo>
                    <a:pt x="4442" y="12059"/>
                    <a:pt x="5135" y="12374"/>
                    <a:pt x="5702" y="12374"/>
                  </a:cubicBezTo>
                  <a:cubicBezTo>
                    <a:pt x="6837" y="12374"/>
                    <a:pt x="7593" y="11177"/>
                    <a:pt x="8002" y="10106"/>
                  </a:cubicBezTo>
                  <a:cubicBezTo>
                    <a:pt x="8317" y="10159"/>
                    <a:pt x="8660" y="10194"/>
                    <a:pt x="9004" y="10194"/>
                  </a:cubicBezTo>
                  <a:cubicBezTo>
                    <a:pt x="9690" y="10194"/>
                    <a:pt x="10376" y="10054"/>
                    <a:pt x="10838" y="9633"/>
                  </a:cubicBezTo>
                  <a:cubicBezTo>
                    <a:pt x="11310" y="9161"/>
                    <a:pt x="11373" y="8531"/>
                    <a:pt x="11216" y="7901"/>
                  </a:cubicBezTo>
                  <a:cubicBezTo>
                    <a:pt x="10995" y="7302"/>
                    <a:pt x="10617" y="6703"/>
                    <a:pt x="10208" y="6199"/>
                  </a:cubicBezTo>
                  <a:cubicBezTo>
                    <a:pt x="10838" y="5443"/>
                    <a:pt x="11405" y="4435"/>
                    <a:pt x="11184" y="3490"/>
                  </a:cubicBezTo>
                  <a:cubicBezTo>
                    <a:pt x="10995" y="2765"/>
                    <a:pt x="10397" y="2387"/>
                    <a:pt x="9641" y="2230"/>
                  </a:cubicBezTo>
                  <a:cubicBezTo>
                    <a:pt x="9406" y="2175"/>
                    <a:pt x="9153" y="2150"/>
                    <a:pt x="8895" y="2150"/>
                  </a:cubicBezTo>
                  <a:cubicBezTo>
                    <a:pt x="8565" y="2150"/>
                    <a:pt x="8226" y="2191"/>
                    <a:pt x="7908" y="2261"/>
                  </a:cubicBezTo>
                  <a:cubicBezTo>
                    <a:pt x="7593" y="1348"/>
                    <a:pt x="6994" y="340"/>
                    <a:pt x="6112" y="56"/>
                  </a:cubicBezTo>
                  <a:cubicBezTo>
                    <a:pt x="5967" y="18"/>
                    <a:pt x="5826" y="1"/>
                    <a:pt x="5689"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9622" name="Google Shape;9622;p110"/>
            <p:cNvSpPr/>
            <p:nvPr/>
          </p:nvSpPr>
          <p:spPr>
            <a:xfrm>
              <a:off x="-42667700" y="2443600"/>
              <a:ext cx="62250" cy="61475"/>
            </a:xfrm>
            <a:custGeom>
              <a:avLst/>
              <a:gdLst/>
              <a:ahLst/>
              <a:cxnLst/>
              <a:rect l="l" t="t" r="r" b="b"/>
              <a:pathLst>
                <a:path w="2490" h="2459" extrusionOk="0">
                  <a:moveTo>
                    <a:pt x="1249" y="858"/>
                  </a:moveTo>
                  <a:cubicBezTo>
                    <a:pt x="1468" y="858"/>
                    <a:pt x="1639" y="1027"/>
                    <a:pt x="1639" y="1260"/>
                  </a:cubicBezTo>
                  <a:cubicBezTo>
                    <a:pt x="1607" y="1418"/>
                    <a:pt x="1481" y="1575"/>
                    <a:pt x="1323" y="1670"/>
                  </a:cubicBezTo>
                  <a:cubicBezTo>
                    <a:pt x="1285" y="1681"/>
                    <a:pt x="1248" y="1686"/>
                    <a:pt x="1211" y="1686"/>
                  </a:cubicBezTo>
                  <a:cubicBezTo>
                    <a:pt x="1040" y="1686"/>
                    <a:pt x="897" y="1569"/>
                    <a:pt x="819" y="1386"/>
                  </a:cubicBezTo>
                  <a:cubicBezTo>
                    <a:pt x="756" y="1134"/>
                    <a:pt x="851" y="945"/>
                    <a:pt x="1103" y="882"/>
                  </a:cubicBezTo>
                  <a:cubicBezTo>
                    <a:pt x="1153" y="866"/>
                    <a:pt x="1202" y="858"/>
                    <a:pt x="1249" y="858"/>
                  </a:cubicBezTo>
                  <a:close/>
                  <a:moveTo>
                    <a:pt x="1229" y="0"/>
                  </a:moveTo>
                  <a:cubicBezTo>
                    <a:pt x="567" y="0"/>
                    <a:pt x="0" y="567"/>
                    <a:pt x="0" y="1229"/>
                  </a:cubicBezTo>
                  <a:cubicBezTo>
                    <a:pt x="0" y="1874"/>
                    <a:pt x="509" y="2459"/>
                    <a:pt x="1177" y="2459"/>
                  </a:cubicBezTo>
                  <a:cubicBezTo>
                    <a:pt x="1194" y="2459"/>
                    <a:pt x="1211" y="2458"/>
                    <a:pt x="1229" y="2458"/>
                  </a:cubicBezTo>
                  <a:cubicBezTo>
                    <a:pt x="1891" y="2458"/>
                    <a:pt x="2489" y="1891"/>
                    <a:pt x="2489" y="1229"/>
                  </a:cubicBezTo>
                  <a:cubicBezTo>
                    <a:pt x="2426" y="567"/>
                    <a:pt x="1891" y="0"/>
                    <a:pt x="1229"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9623" name="Google Shape;9623;p110"/>
          <p:cNvGrpSpPr/>
          <p:nvPr/>
        </p:nvGrpSpPr>
        <p:grpSpPr>
          <a:xfrm>
            <a:off x="1693173" y="3244816"/>
            <a:ext cx="500788" cy="499571"/>
            <a:chOff x="-42796875" y="2680675"/>
            <a:chExt cx="319000" cy="318225"/>
          </a:xfrm>
        </p:grpSpPr>
        <p:sp>
          <p:nvSpPr>
            <p:cNvPr id="9624" name="Google Shape;9624;p110"/>
            <p:cNvSpPr/>
            <p:nvPr/>
          </p:nvSpPr>
          <p:spPr>
            <a:xfrm>
              <a:off x="-42671650" y="2853950"/>
              <a:ext cx="70125" cy="21275"/>
            </a:xfrm>
            <a:custGeom>
              <a:avLst/>
              <a:gdLst/>
              <a:ahLst/>
              <a:cxnLst/>
              <a:rect l="l" t="t" r="r" b="b"/>
              <a:pathLst>
                <a:path w="2805" h="851" extrusionOk="0">
                  <a:moveTo>
                    <a:pt x="442" y="0"/>
                  </a:moveTo>
                  <a:cubicBezTo>
                    <a:pt x="190" y="0"/>
                    <a:pt x="1" y="221"/>
                    <a:pt x="1" y="410"/>
                  </a:cubicBezTo>
                  <a:cubicBezTo>
                    <a:pt x="1" y="630"/>
                    <a:pt x="190" y="851"/>
                    <a:pt x="442" y="851"/>
                  </a:cubicBezTo>
                  <a:lnTo>
                    <a:pt x="2364" y="851"/>
                  </a:lnTo>
                  <a:cubicBezTo>
                    <a:pt x="2616" y="851"/>
                    <a:pt x="2773" y="630"/>
                    <a:pt x="2773" y="410"/>
                  </a:cubicBezTo>
                  <a:cubicBezTo>
                    <a:pt x="2805" y="221"/>
                    <a:pt x="2584" y="0"/>
                    <a:pt x="2364"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9625" name="Google Shape;9625;p110"/>
            <p:cNvSpPr/>
            <p:nvPr/>
          </p:nvSpPr>
          <p:spPr>
            <a:xfrm>
              <a:off x="-42671650" y="2895675"/>
              <a:ext cx="70125" cy="20525"/>
            </a:xfrm>
            <a:custGeom>
              <a:avLst/>
              <a:gdLst/>
              <a:ahLst/>
              <a:cxnLst/>
              <a:rect l="l" t="t" r="r" b="b"/>
              <a:pathLst>
                <a:path w="2805" h="821" extrusionOk="0">
                  <a:moveTo>
                    <a:pt x="442" y="1"/>
                  </a:moveTo>
                  <a:cubicBezTo>
                    <a:pt x="190" y="1"/>
                    <a:pt x="1" y="190"/>
                    <a:pt x="1" y="442"/>
                  </a:cubicBezTo>
                  <a:cubicBezTo>
                    <a:pt x="1" y="663"/>
                    <a:pt x="190" y="820"/>
                    <a:pt x="442" y="820"/>
                  </a:cubicBezTo>
                  <a:lnTo>
                    <a:pt x="2364" y="820"/>
                  </a:lnTo>
                  <a:cubicBezTo>
                    <a:pt x="2616" y="820"/>
                    <a:pt x="2773" y="631"/>
                    <a:pt x="2773" y="442"/>
                  </a:cubicBezTo>
                  <a:cubicBezTo>
                    <a:pt x="2805" y="190"/>
                    <a:pt x="2584" y="1"/>
                    <a:pt x="2364"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9626" name="Google Shape;9626;p110"/>
            <p:cNvSpPr/>
            <p:nvPr/>
          </p:nvSpPr>
          <p:spPr>
            <a:xfrm>
              <a:off x="-42796875" y="2680675"/>
              <a:ext cx="319000" cy="318225"/>
            </a:xfrm>
            <a:custGeom>
              <a:avLst/>
              <a:gdLst/>
              <a:ahLst/>
              <a:cxnLst/>
              <a:rect l="l" t="t" r="r" b="b"/>
              <a:pathLst>
                <a:path w="12760" h="12729" extrusionOk="0">
                  <a:moveTo>
                    <a:pt x="9011" y="882"/>
                  </a:moveTo>
                  <a:cubicBezTo>
                    <a:pt x="9168" y="882"/>
                    <a:pt x="9357" y="914"/>
                    <a:pt x="9483" y="945"/>
                  </a:cubicBezTo>
                  <a:cubicBezTo>
                    <a:pt x="9799" y="1071"/>
                    <a:pt x="10051" y="1355"/>
                    <a:pt x="10177" y="1701"/>
                  </a:cubicBezTo>
                  <a:lnTo>
                    <a:pt x="2615" y="1701"/>
                  </a:lnTo>
                  <a:cubicBezTo>
                    <a:pt x="2804" y="1229"/>
                    <a:pt x="3245" y="882"/>
                    <a:pt x="3781" y="882"/>
                  </a:cubicBezTo>
                  <a:close/>
                  <a:moveTo>
                    <a:pt x="1733" y="3623"/>
                  </a:moveTo>
                  <a:lnTo>
                    <a:pt x="1733" y="5293"/>
                  </a:lnTo>
                  <a:lnTo>
                    <a:pt x="914" y="5293"/>
                  </a:lnTo>
                  <a:lnTo>
                    <a:pt x="914" y="3623"/>
                  </a:lnTo>
                  <a:close/>
                  <a:moveTo>
                    <a:pt x="11941" y="3623"/>
                  </a:moveTo>
                  <a:lnTo>
                    <a:pt x="11941" y="5293"/>
                  </a:lnTo>
                  <a:lnTo>
                    <a:pt x="11122" y="5293"/>
                  </a:lnTo>
                  <a:lnTo>
                    <a:pt x="11122" y="3623"/>
                  </a:lnTo>
                  <a:close/>
                  <a:moveTo>
                    <a:pt x="10240" y="2521"/>
                  </a:moveTo>
                  <a:lnTo>
                    <a:pt x="10240" y="5316"/>
                  </a:lnTo>
                  <a:lnTo>
                    <a:pt x="10240" y="5316"/>
                  </a:lnTo>
                  <a:cubicBezTo>
                    <a:pt x="10144" y="5293"/>
                    <a:pt x="10003" y="5293"/>
                    <a:pt x="9862" y="5293"/>
                  </a:cubicBezTo>
                  <a:lnTo>
                    <a:pt x="6932" y="5293"/>
                  </a:lnTo>
                  <a:lnTo>
                    <a:pt x="6932" y="2521"/>
                  </a:lnTo>
                  <a:close/>
                  <a:moveTo>
                    <a:pt x="6144" y="2521"/>
                  </a:moveTo>
                  <a:lnTo>
                    <a:pt x="6144" y="5293"/>
                  </a:lnTo>
                  <a:lnTo>
                    <a:pt x="2962" y="5293"/>
                  </a:lnTo>
                  <a:cubicBezTo>
                    <a:pt x="2804" y="5293"/>
                    <a:pt x="2678" y="5293"/>
                    <a:pt x="2552" y="5324"/>
                  </a:cubicBezTo>
                  <a:lnTo>
                    <a:pt x="2552" y="2521"/>
                  </a:lnTo>
                  <a:close/>
                  <a:moveTo>
                    <a:pt x="9893" y="6207"/>
                  </a:moveTo>
                  <a:cubicBezTo>
                    <a:pt x="10555" y="6207"/>
                    <a:pt x="11122" y="6742"/>
                    <a:pt x="11122" y="7404"/>
                  </a:cubicBezTo>
                  <a:lnTo>
                    <a:pt x="11122" y="9861"/>
                  </a:lnTo>
                  <a:cubicBezTo>
                    <a:pt x="11122" y="10019"/>
                    <a:pt x="11027" y="10145"/>
                    <a:pt x="10933" y="10208"/>
                  </a:cubicBezTo>
                  <a:cubicBezTo>
                    <a:pt x="10838" y="10239"/>
                    <a:pt x="10775" y="10302"/>
                    <a:pt x="10681" y="10302"/>
                  </a:cubicBezTo>
                  <a:lnTo>
                    <a:pt x="2143" y="10302"/>
                  </a:lnTo>
                  <a:cubicBezTo>
                    <a:pt x="1922" y="10302"/>
                    <a:pt x="1796" y="10176"/>
                    <a:pt x="1733" y="10019"/>
                  </a:cubicBezTo>
                  <a:cubicBezTo>
                    <a:pt x="1702" y="9924"/>
                    <a:pt x="1733" y="10050"/>
                    <a:pt x="1733" y="8254"/>
                  </a:cubicBezTo>
                  <a:lnTo>
                    <a:pt x="1733" y="7404"/>
                  </a:lnTo>
                  <a:cubicBezTo>
                    <a:pt x="1733" y="6994"/>
                    <a:pt x="1922" y="6616"/>
                    <a:pt x="2300" y="6396"/>
                  </a:cubicBezTo>
                  <a:cubicBezTo>
                    <a:pt x="2489" y="6270"/>
                    <a:pt x="2710" y="6207"/>
                    <a:pt x="2993" y="6207"/>
                  </a:cubicBezTo>
                  <a:close/>
                  <a:moveTo>
                    <a:pt x="3403" y="11090"/>
                  </a:moveTo>
                  <a:lnTo>
                    <a:pt x="3403" y="11909"/>
                  </a:lnTo>
                  <a:lnTo>
                    <a:pt x="2552" y="11909"/>
                  </a:lnTo>
                  <a:lnTo>
                    <a:pt x="2552" y="11090"/>
                  </a:lnTo>
                  <a:close/>
                  <a:moveTo>
                    <a:pt x="10271" y="11090"/>
                  </a:moveTo>
                  <a:lnTo>
                    <a:pt x="10271" y="11909"/>
                  </a:lnTo>
                  <a:lnTo>
                    <a:pt x="9452" y="11909"/>
                  </a:lnTo>
                  <a:lnTo>
                    <a:pt x="9452" y="11090"/>
                  </a:lnTo>
                  <a:close/>
                  <a:moveTo>
                    <a:pt x="3750" y="0"/>
                  </a:moveTo>
                  <a:cubicBezTo>
                    <a:pt x="2615" y="0"/>
                    <a:pt x="1670" y="945"/>
                    <a:pt x="1670" y="2079"/>
                  </a:cubicBezTo>
                  <a:lnTo>
                    <a:pt x="1670" y="2804"/>
                  </a:lnTo>
                  <a:lnTo>
                    <a:pt x="442" y="2804"/>
                  </a:lnTo>
                  <a:cubicBezTo>
                    <a:pt x="190" y="2804"/>
                    <a:pt x="0" y="2993"/>
                    <a:pt x="0" y="3214"/>
                  </a:cubicBezTo>
                  <a:lnTo>
                    <a:pt x="0" y="5671"/>
                  </a:lnTo>
                  <a:cubicBezTo>
                    <a:pt x="0" y="5923"/>
                    <a:pt x="190" y="6112"/>
                    <a:pt x="442" y="6112"/>
                  </a:cubicBezTo>
                  <a:lnTo>
                    <a:pt x="1261" y="6112"/>
                  </a:lnTo>
                  <a:cubicBezTo>
                    <a:pt x="977" y="6459"/>
                    <a:pt x="820" y="6900"/>
                    <a:pt x="820" y="7341"/>
                  </a:cubicBezTo>
                  <a:lnTo>
                    <a:pt x="820" y="9830"/>
                  </a:lnTo>
                  <a:cubicBezTo>
                    <a:pt x="820" y="10365"/>
                    <a:pt x="1198" y="10806"/>
                    <a:pt x="1670" y="10995"/>
                  </a:cubicBezTo>
                  <a:lnTo>
                    <a:pt x="1670" y="12287"/>
                  </a:lnTo>
                  <a:cubicBezTo>
                    <a:pt x="1670" y="12539"/>
                    <a:pt x="1859" y="12728"/>
                    <a:pt x="2048" y="12728"/>
                  </a:cubicBezTo>
                  <a:lnTo>
                    <a:pt x="3718" y="12728"/>
                  </a:lnTo>
                  <a:cubicBezTo>
                    <a:pt x="3939" y="12728"/>
                    <a:pt x="4096" y="12539"/>
                    <a:pt x="4096" y="12287"/>
                  </a:cubicBezTo>
                  <a:lnTo>
                    <a:pt x="4096" y="11090"/>
                  </a:lnTo>
                  <a:lnTo>
                    <a:pt x="8507" y="11090"/>
                  </a:lnTo>
                  <a:lnTo>
                    <a:pt x="8507" y="12287"/>
                  </a:lnTo>
                  <a:cubicBezTo>
                    <a:pt x="8507" y="12539"/>
                    <a:pt x="8696" y="12728"/>
                    <a:pt x="8916" y="12728"/>
                  </a:cubicBezTo>
                  <a:lnTo>
                    <a:pt x="10555" y="12728"/>
                  </a:lnTo>
                  <a:cubicBezTo>
                    <a:pt x="10807" y="12728"/>
                    <a:pt x="10964" y="12539"/>
                    <a:pt x="10964" y="12287"/>
                  </a:cubicBezTo>
                  <a:lnTo>
                    <a:pt x="10964" y="10995"/>
                  </a:lnTo>
                  <a:cubicBezTo>
                    <a:pt x="11468" y="10838"/>
                    <a:pt x="11783" y="10365"/>
                    <a:pt x="11783" y="9830"/>
                  </a:cubicBezTo>
                  <a:lnTo>
                    <a:pt x="11783" y="7341"/>
                  </a:lnTo>
                  <a:cubicBezTo>
                    <a:pt x="11783" y="6868"/>
                    <a:pt x="11626" y="6427"/>
                    <a:pt x="11374" y="6112"/>
                  </a:cubicBezTo>
                  <a:lnTo>
                    <a:pt x="12224" y="6112"/>
                  </a:lnTo>
                  <a:cubicBezTo>
                    <a:pt x="12445" y="6112"/>
                    <a:pt x="12602" y="5923"/>
                    <a:pt x="12602" y="5671"/>
                  </a:cubicBezTo>
                  <a:lnTo>
                    <a:pt x="12602" y="3214"/>
                  </a:lnTo>
                  <a:cubicBezTo>
                    <a:pt x="12760" y="2993"/>
                    <a:pt x="12571" y="2804"/>
                    <a:pt x="12319" y="2804"/>
                  </a:cubicBezTo>
                  <a:lnTo>
                    <a:pt x="11059" y="2804"/>
                  </a:lnTo>
                  <a:lnTo>
                    <a:pt x="11059" y="2079"/>
                  </a:lnTo>
                  <a:cubicBezTo>
                    <a:pt x="11059" y="945"/>
                    <a:pt x="10145" y="0"/>
                    <a:pt x="8979"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9627" name="Google Shape;9627;p110"/>
            <p:cNvSpPr/>
            <p:nvPr/>
          </p:nvSpPr>
          <p:spPr>
            <a:xfrm>
              <a:off x="-42753550" y="2854500"/>
              <a:ext cx="63825" cy="61700"/>
            </a:xfrm>
            <a:custGeom>
              <a:avLst/>
              <a:gdLst/>
              <a:ahLst/>
              <a:cxnLst/>
              <a:rect l="l" t="t" r="r" b="b"/>
              <a:pathLst>
                <a:path w="2553" h="2468" extrusionOk="0">
                  <a:moveTo>
                    <a:pt x="1263" y="829"/>
                  </a:moveTo>
                  <a:cubicBezTo>
                    <a:pt x="1435" y="829"/>
                    <a:pt x="1565" y="949"/>
                    <a:pt x="1639" y="1144"/>
                  </a:cubicBezTo>
                  <a:cubicBezTo>
                    <a:pt x="1718" y="1410"/>
                    <a:pt x="1483" y="1676"/>
                    <a:pt x="1218" y="1676"/>
                  </a:cubicBezTo>
                  <a:cubicBezTo>
                    <a:pt x="1170" y="1676"/>
                    <a:pt x="1120" y="1668"/>
                    <a:pt x="1071" y="1648"/>
                  </a:cubicBezTo>
                  <a:cubicBezTo>
                    <a:pt x="945" y="1616"/>
                    <a:pt x="882" y="1490"/>
                    <a:pt x="851" y="1364"/>
                  </a:cubicBezTo>
                  <a:cubicBezTo>
                    <a:pt x="756" y="1144"/>
                    <a:pt x="914" y="892"/>
                    <a:pt x="1103" y="860"/>
                  </a:cubicBezTo>
                  <a:cubicBezTo>
                    <a:pt x="1160" y="839"/>
                    <a:pt x="1213" y="829"/>
                    <a:pt x="1263" y="829"/>
                  </a:cubicBezTo>
                  <a:close/>
                  <a:moveTo>
                    <a:pt x="1234" y="0"/>
                  </a:moveTo>
                  <a:cubicBezTo>
                    <a:pt x="841" y="0"/>
                    <a:pt x="443" y="194"/>
                    <a:pt x="189" y="545"/>
                  </a:cubicBezTo>
                  <a:cubicBezTo>
                    <a:pt x="95" y="734"/>
                    <a:pt x="0" y="986"/>
                    <a:pt x="0" y="1238"/>
                  </a:cubicBezTo>
                  <a:cubicBezTo>
                    <a:pt x="0" y="1932"/>
                    <a:pt x="567" y="2467"/>
                    <a:pt x="1229" y="2467"/>
                  </a:cubicBezTo>
                  <a:cubicBezTo>
                    <a:pt x="1765" y="2467"/>
                    <a:pt x="2237" y="2121"/>
                    <a:pt x="2395" y="1616"/>
                  </a:cubicBezTo>
                  <a:cubicBezTo>
                    <a:pt x="2552" y="1081"/>
                    <a:pt x="2363" y="514"/>
                    <a:pt x="1922" y="230"/>
                  </a:cubicBezTo>
                  <a:cubicBezTo>
                    <a:pt x="1718" y="74"/>
                    <a:pt x="1477" y="0"/>
                    <a:pt x="1234"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9628" name="Google Shape;9628;p110"/>
            <p:cNvSpPr/>
            <p:nvPr/>
          </p:nvSpPr>
          <p:spPr>
            <a:xfrm>
              <a:off x="-42581850" y="2853950"/>
              <a:ext cx="63025" cy="61475"/>
            </a:xfrm>
            <a:custGeom>
              <a:avLst/>
              <a:gdLst/>
              <a:ahLst/>
              <a:cxnLst/>
              <a:rect l="l" t="t" r="r" b="b"/>
              <a:pathLst>
                <a:path w="2521" h="2459" extrusionOk="0">
                  <a:moveTo>
                    <a:pt x="1269" y="860"/>
                  </a:moveTo>
                  <a:cubicBezTo>
                    <a:pt x="1493" y="860"/>
                    <a:pt x="1670" y="1049"/>
                    <a:pt x="1670" y="1260"/>
                  </a:cubicBezTo>
                  <a:cubicBezTo>
                    <a:pt x="1670" y="1481"/>
                    <a:pt x="1576" y="1638"/>
                    <a:pt x="1355" y="1670"/>
                  </a:cubicBezTo>
                  <a:cubicBezTo>
                    <a:pt x="1311" y="1683"/>
                    <a:pt x="1268" y="1689"/>
                    <a:pt x="1227" y="1689"/>
                  </a:cubicBezTo>
                  <a:cubicBezTo>
                    <a:pt x="1063" y="1689"/>
                    <a:pt x="927" y="1588"/>
                    <a:pt x="851" y="1386"/>
                  </a:cubicBezTo>
                  <a:cubicBezTo>
                    <a:pt x="788" y="1166"/>
                    <a:pt x="882" y="945"/>
                    <a:pt x="1135" y="882"/>
                  </a:cubicBezTo>
                  <a:cubicBezTo>
                    <a:pt x="1180" y="867"/>
                    <a:pt x="1225" y="860"/>
                    <a:pt x="1269" y="860"/>
                  </a:cubicBezTo>
                  <a:close/>
                  <a:moveTo>
                    <a:pt x="1261" y="0"/>
                  </a:moveTo>
                  <a:cubicBezTo>
                    <a:pt x="567" y="0"/>
                    <a:pt x="0" y="567"/>
                    <a:pt x="32" y="1229"/>
                  </a:cubicBezTo>
                  <a:cubicBezTo>
                    <a:pt x="32" y="1874"/>
                    <a:pt x="541" y="2459"/>
                    <a:pt x="1208" y="2459"/>
                  </a:cubicBezTo>
                  <a:cubicBezTo>
                    <a:pt x="1226" y="2459"/>
                    <a:pt x="1243" y="2458"/>
                    <a:pt x="1261" y="2458"/>
                  </a:cubicBezTo>
                  <a:cubicBezTo>
                    <a:pt x="1922" y="2458"/>
                    <a:pt x="2521" y="1891"/>
                    <a:pt x="2458" y="1229"/>
                  </a:cubicBezTo>
                  <a:cubicBezTo>
                    <a:pt x="2521" y="567"/>
                    <a:pt x="1954" y="0"/>
                    <a:pt x="1261"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sp>
        <p:nvSpPr>
          <p:cNvPr id="9629" name="Google Shape;9629;p110"/>
          <p:cNvSpPr/>
          <p:nvPr/>
        </p:nvSpPr>
        <p:spPr>
          <a:xfrm>
            <a:off x="4586193" y="2079367"/>
            <a:ext cx="500788" cy="497373"/>
          </a:xfrm>
          <a:custGeom>
            <a:avLst/>
            <a:gdLst/>
            <a:ahLst/>
            <a:cxnLst/>
            <a:rect l="l" t="t" r="r" b="b"/>
            <a:pathLst>
              <a:path w="12760" h="12673" extrusionOk="0">
                <a:moveTo>
                  <a:pt x="2225" y="866"/>
                </a:moveTo>
                <a:cubicBezTo>
                  <a:pt x="2371" y="866"/>
                  <a:pt x="2521" y="929"/>
                  <a:pt x="2647" y="1056"/>
                </a:cubicBezTo>
                <a:lnTo>
                  <a:pt x="3245" y="1654"/>
                </a:lnTo>
                <a:lnTo>
                  <a:pt x="1702" y="3166"/>
                </a:lnTo>
                <a:lnTo>
                  <a:pt x="1103" y="2599"/>
                </a:lnTo>
                <a:cubicBezTo>
                  <a:pt x="1072" y="2536"/>
                  <a:pt x="977" y="2473"/>
                  <a:pt x="977" y="2379"/>
                </a:cubicBezTo>
                <a:cubicBezTo>
                  <a:pt x="914" y="2190"/>
                  <a:pt x="946" y="1906"/>
                  <a:pt x="1103" y="1749"/>
                </a:cubicBezTo>
                <a:lnTo>
                  <a:pt x="1828" y="1056"/>
                </a:lnTo>
                <a:cubicBezTo>
                  <a:pt x="1938" y="929"/>
                  <a:pt x="2080" y="866"/>
                  <a:pt x="2225" y="866"/>
                </a:cubicBezTo>
                <a:close/>
                <a:moveTo>
                  <a:pt x="3812" y="2221"/>
                </a:moveTo>
                <a:lnTo>
                  <a:pt x="4506" y="2914"/>
                </a:lnTo>
                <a:lnTo>
                  <a:pt x="2962" y="4427"/>
                </a:lnTo>
                <a:lnTo>
                  <a:pt x="2300" y="3765"/>
                </a:lnTo>
                <a:lnTo>
                  <a:pt x="3812" y="2221"/>
                </a:lnTo>
                <a:close/>
                <a:moveTo>
                  <a:pt x="9452" y="1056"/>
                </a:moveTo>
                <a:lnTo>
                  <a:pt x="11783" y="3387"/>
                </a:lnTo>
                <a:lnTo>
                  <a:pt x="8979" y="6159"/>
                </a:lnTo>
                <a:lnTo>
                  <a:pt x="6648" y="3828"/>
                </a:lnTo>
                <a:lnTo>
                  <a:pt x="7908" y="2599"/>
                </a:lnTo>
                <a:lnTo>
                  <a:pt x="8790" y="3450"/>
                </a:lnTo>
                <a:cubicBezTo>
                  <a:pt x="8869" y="3529"/>
                  <a:pt x="8979" y="3568"/>
                  <a:pt x="9090" y="3568"/>
                </a:cubicBezTo>
                <a:cubicBezTo>
                  <a:pt x="9200" y="3568"/>
                  <a:pt x="9310" y="3529"/>
                  <a:pt x="9389" y="3450"/>
                </a:cubicBezTo>
                <a:cubicBezTo>
                  <a:pt x="9546" y="3292"/>
                  <a:pt x="9546" y="3009"/>
                  <a:pt x="9389" y="2851"/>
                </a:cubicBezTo>
                <a:lnTo>
                  <a:pt x="8507" y="2001"/>
                </a:lnTo>
                <a:lnTo>
                  <a:pt x="9452" y="1056"/>
                </a:lnTo>
                <a:close/>
                <a:moveTo>
                  <a:pt x="5041" y="3450"/>
                </a:moveTo>
                <a:cubicBezTo>
                  <a:pt x="5356" y="3765"/>
                  <a:pt x="10366" y="8711"/>
                  <a:pt x="10523" y="8932"/>
                </a:cubicBezTo>
                <a:lnTo>
                  <a:pt x="8948" y="10412"/>
                </a:lnTo>
                <a:lnTo>
                  <a:pt x="3497" y="4994"/>
                </a:lnTo>
                <a:lnTo>
                  <a:pt x="5041" y="3450"/>
                </a:lnTo>
                <a:close/>
                <a:moveTo>
                  <a:pt x="10996" y="9625"/>
                </a:moveTo>
                <a:lnTo>
                  <a:pt x="11657" y="11610"/>
                </a:lnTo>
                <a:lnTo>
                  <a:pt x="9609" y="10948"/>
                </a:lnTo>
                <a:lnTo>
                  <a:pt x="10996" y="9625"/>
                </a:lnTo>
                <a:close/>
                <a:moveTo>
                  <a:pt x="3939" y="6600"/>
                </a:moveTo>
                <a:lnTo>
                  <a:pt x="6270" y="8932"/>
                </a:lnTo>
                <a:lnTo>
                  <a:pt x="3466" y="11736"/>
                </a:lnTo>
                <a:lnTo>
                  <a:pt x="1135" y="9404"/>
                </a:lnTo>
                <a:lnTo>
                  <a:pt x="2489" y="8050"/>
                </a:lnTo>
                <a:lnTo>
                  <a:pt x="3340" y="8932"/>
                </a:lnTo>
                <a:cubicBezTo>
                  <a:pt x="3419" y="9010"/>
                  <a:pt x="3529" y="9050"/>
                  <a:pt x="3639" y="9050"/>
                </a:cubicBezTo>
                <a:cubicBezTo>
                  <a:pt x="3749" y="9050"/>
                  <a:pt x="3860" y="9010"/>
                  <a:pt x="3939" y="8932"/>
                </a:cubicBezTo>
                <a:cubicBezTo>
                  <a:pt x="4096" y="8774"/>
                  <a:pt x="4096" y="8491"/>
                  <a:pt x="3939" y="8333"/>
                </a:cubicBezTo>
                <a:lnTo>
                  <a:pt x="3088" y="7482"/>
                </a:lnTo>
                <a:lnTo>
                  <a:pt x="3939" y="6600"/>
                </a:lnTo>
                <a:close/>
                <a:moveTo>
                  <a:pt x="2194" y="0"/>
                </a:moveTo>
                <a:cubicBezTo>
                  <a:pt x="1828" y="0"/>
                  <a:pt x="1465" y="142"/>
                  <a:pt x="1198" y="425"/>
                </a:cubicBezTo>
                <a:lnTo>
                  <a:pt x="473" y="1119"/>
                </a:lnTo>
                <a:cubicBezTo>
                  <a:pt x="221" y="1402"/>
                  <a:pt x="95" y="1749"/>
                  <a:pt x="95" y="2127"/>
                </a:cubicBezTo>
                <a:cubicBezTo>
                  <a:pt x="95" y="2473"/>
                  <a:pt x="252" y="2851"/>
                  <a:pt x="473" y="3103"/>
                </a:cubicBezTo>
                <a:lnTo>
                  <a:pt x="1387" y="4017"/>
                </a:lnTo>
                <a:cubicBezTo>
                  <a:pt x="1387" y="4017"/>
                  <a:pt x="2647" y="5277"/>
                  <a:pt x="2615" y="5277"/>
                </a:cubicBezTo>
                <a:lnTo>
                  <a:pt x="3277" y="5939"/>
                </a:lnTo>
                <a:lnTo>
                  <a:pt x="2174" y="7041"/>
                </a:lnTo>
                <a:lnTo>
                  <a:pt x="2048" y="7167"/>
                </a:lnTo>
                <a:lnTo>
                  <a:pt x="158" y="9058"/>
                </a:lnTo>
                <a:cubicBezTo>
                  <a:pt x="0" y="9215"/>
                  <a:pt x="0" y="9467"/>
                  <a:pt x="158" y="9625"/>
                </a:cubicBezTo>
                <a:lnTo>
                  <a:pt x="3088" y="12555"/>
                </a:lnTo>
                <a:cubicBezTo>
                  <a:pt x="3167" y="12634"/>
                  <a:pt x="3269" y="12673"/>
                  <a:pt x="3371" y="12673"/>
                </a:cubicBezTo>
                <a:cubicBezTo>
                  <a:pt x="3474" y="12673"/>
                  <a:pt x="3576" y="12634"/>
                  <a:pt x="3655" y="12555"/>
                </a:cubicBezTo>
                <a:lnTo>
                  <a:pt x="6742" y="9467"/>
                </a:lnTo>
                <a:lnTo>
                  <a:pt x="8570" y="11295"/>
                </a:lnTo>
                <a:cubicBezTo>
                  <a:pt x="8601" y="11326"/>
                  <a:pt x="8633" y="11358"/>
                  <a:pt x="8696" y="11358"/>
                </a:cubicBezTo>
                <a:cubicBezTo>
                  <a:pt x="8759" y="11452"/>
                  <a:pt x="8822" y="11515"/>
                  <a:pt x="8948" y="11578"/>
                </a:cubicBezTo>
                <a:lnTo>
                  <a:pt x="12098" y="12618"/>
                </a:lnTo>
                <a:cubicBezTo>
                  <a:pt x="12147" y="12637"/>
                  <a:pt x="12196" y="12646"/>
                  <a:pt x="12243" y="12646"/>
                </a:cubicBezTo>
                <a:cubicBezTo>
                  <a:pt x="12500" y="12646"/>
                  <a:pt x="12709" y="12380"/>
                  <a:pt x="12602" y="12114"/>
                </a:cubicBezTo>
                <a:lnTo>
                  <a:pt x="11657" y="8963"/>
                </a:lnTo>
                <a:cubicBezTo>
                  <a:pt x="11626" y="8900"/>
                  <a:pt x="11594" y="8806"/>
                  <a:pt x="11468" y="8743"/>
                </a:cubicBezTo>
                <a:cubicBezTo>
                  <a:pt x="11437" y="8648"/>
                  <a:pt x="11531" y="8806"/>
                  <a:pt x="9546" y="6758"/>
                </a:cubicBezTo>
                <a:lnTo>
                  <a:pt x="12602" y="3702"/>
                </a:lnTo>
                <a:cubicBezTo>
                  <a:pt x="12760" y="3544"/>
                  <a:pt x="12760" y="3261"/>
                  <a:pt x="12602" y="3103"/>
                </a:cubicBezTo>
                <a:lnTo>
                  <a:pt x="9704" y="173"/>
                </a:lnTo>
                <a:cubicBezTo>
                  <a:pt x="9625" y="95"/>
                  <a:pt x="9515" y="55"/>
                  <a:pt x="9405" y="55"/>
                </a:cubicBezTo>
                <a:cubicBezTo>
                  <a:pt x="9294" y="55"/>
                  <a:pt x="9184" y="95"/>
                  <a:pt x="9105" y="173"/>
                </a:cubicBezTo>
                <a:lnTo>
                  <a:pt x="7656" y="1654"/>
                </a:lnTo>
                <a:lnTo>
                  <a:pt x="7530" y="1749"/>
                </a:lnTo>
                <a:lnTo>
                  <a:pt x="6049" y="3261"/>
                </a:lnTo>
                <a:lnTo>
                  <a:pt x="3214" y="425"/>
                </a:lnTo>
                <a:cubicBezTo>
                  <a:pt x="2930" y="142"/>
                  <a:pt x="2560" y="0"/>
                  <a:pt x="2194"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9630" name="Google Shape;9630;p110"/>
          <p:cNvSpPr/>
          <p:nvPr/>
        </p:nvSpPr>
        <p:spPr>
          <a:xfrm>
            <a:off x="4613031" y="2721323"/>
            <a:ext cx="506988" cy="424139"/>
          </a:xfrm>
          <a:custGeom>
            <a:avLst/>
            <a:gdLst/>
            <a:ahLst/>
            <a:cxnLst/>
            <a:rect l="l" t="t" r="r" b="b"/>
            <a:pathLst>
              <a:path w="12918" h="10807" extrusionOk="0">
                <a:moveTo>
                  <a:pt x="10807" y="851"/>
                </a:moveTo>
                <a:cubicBezTo>
                  <a:pt x="10366" y="1608"/>
                  <a:pt x="10366" y="2584"/>
                  <a:pt x="10807" y="3340"/>
                </a:cubicBezTo>
                <a:lnTo>
                  <a:pt x="2332" y="3340"/>
                </a:lnTo>
                <a:cubicBezTo>
                  <a:pt x="1765" y="3340"/>
                  <a:pt x="1293" y="2962"/>
                  <a:pt x="1135" y="2458"/>
                </a:cubicBezTo>
                <a:cubicBezTo>
                  <a:pt x="915" y="1671"/>
                  <a:pt x="1513" y="851"/>
                  <a:pt x="2332" y="851"/>
                </a:cubicBezTo>
                <a:close/>
                <a:moveTo>
                  <a:pt x="8822" y="4159"/>
                </a:moveTo>
                <a:lnTo>
                  <a:pt x="8822" y="6648"/>
                </a:lnTo>
                <a:lnTo>
                  <a:pt x="1891" y="6648"/>
                </a:lnTo>
                <a:lnTo>
                  <a:pt x="1891" y="4159"/>
                </a:lnTo>
                <a:close/>
                <a:moveTo>
                  <a:pt x="10524" y="4159"/>
                </a:moveTo>
                <a:lnTo>
                  <a:pt x="10524" y="6648"/>
                </a:lnTo>
                <a:lnTo>
                  <a:pt x="9704" y="6648"/>
                </a:lnTo>
                <a:lnTo>
                  <a:pt x="9704" y="4159"/>
                </a:lnTo>
                <a:close/>
                <a:moveTo>
                  <a:pt x="12130" y="4159"/>
                </a:moveTo>
                <a:lnTo>
                  <a:pt x="12130" y="6648"/>
                </a:lnTo>
                <a:lnTo>
                  <a:pt x="11343" y="6648"/>
                </a:lnTo>
                <a:lnTo>
                  <a:pt x="11343" y="4159"/>
                </a:lnTo>
                <a:close/>
                <a:moveTo>
                  <a:pt x="1986" y="7467"/>
                </a:moveTo>
                <a:lnTo>
                  <a:pt x="1986" y="9956"/>
                </a:lnTo>
                <a:lnTo>
                  <a:pt x="1104" y="9956"/>
                </a:lnTo>
                <a:lnTo>
                  <a:pt x="1104" y="7467"/>
                </a:lnTo>
                <a:close/>
                <a:moveTo>
                  <a:pt x="3624" y="7467"/>
                </a:moveTo>
                <a:lnTo>
                  <a:pt x="3624" y="9956"/>
                </a:lnTo>
                <a:lnTo>
                  <a:pt x="2805" y="9956"/>
                </a:lnTo>
                <a:lnTo>
                  <a:pt x="2805" y="7467"/>
                </a:lnTo>
                <a:close/>
                <a:moveTo>
                  <a:pt x="11311" y="7467"/>
                </a:moveTo>
                <a:lnTo>
                  <a:pt x="11311" y="9956"/>
                </a:lnTo>
                <a:lnTo>
                  <a:pt x="4443" y="9956"/>
                </a:lnTo>
                <a:lnTo>
                  <a:pt x="4443" y="7467"/>
                </a:lnTo>
                <a:close/>
                <a:moveTo>
                  <a:pt x="2364" y="1"/>
                </a:moveTo>
                <a:cubicBezTo>
                  <a:pt x="1671" y="1"/>
                  <a:pt x="1041" y="379"/>
                  <a:pt x="631" y="914"/>
                </a:cubicBezTo>
                <a:cubicBezTo>
                  <a:pt x="1" y="1828"/>
                  <a:pt x="253" y="3088"/>
                  <a:pt x="1104" y="3718"/>
                </a:cubicBezTo>
                <a:lnTo>
                  <a:pt x="1104" y="6648"/>
                </a:lnTo>
                <a:lnTo>
                  <a:pt x="694" y="6648"/>
                </a:lnTo>
                <a:cubicBezTo>
                  <a:pt x="442" y="6648"/>
                  <a:pt x="284" y="6837"/>
                  <a:pt x="284" y="7058"/>
                </a:cubicBezTo>
                <a:lnTo>
                  <a:pt x="284" y="10366"/>
                </a:lnTo>
                <a:cubicBezTo>
                  <a:pt x="284" y="10618"/>
                  <a:pt x="473" y="10807"/>
                  <a:pt x="694" y="10807"/>
                </a:cubicBezTo>
                <a:lnTo>
                  <a:pt x="11721" y="10807"/>
                </a:lnTo>
                <a:cubicBezTo>
                  <a:pt x="11941" y="10807"/>
                  <a:pt x="12130" y="10618"/>
                  <a:pt x="12130" y="10366"/>
                </a:cubicBezTo>
                <a:lnTo>
                  <a:pt x="12130" y="7499"/>
                </a:lnTo>
                <a:lnTo>
                  <a:pt x="12540" y="7499"/>
                </a:lnTo>
                <a:cubicBezTo>
                  <a:pt x="12760" y="7499"/>
                  <a:pt x="12918" y="7310"/>
                  <a:pt x="12918" y="7058"/>
                </a:cubicBezTo>
                <a:lnTo>
                  <a:pt x="12918" y="3750"/>
                </a:lnTo>
                <a:cubicBezTo>
                  <a:pt x="12918" y="3529"/>
                  <a:pt x="12760" y="3340"/>
                  <a:pt x="12540" y="3340"/>
                </a:cubicBezTo>
                <a:lnTo>
                  <a:pt x="11878" y="3340"/>
                </a:lnTo>
                <a:cubicBezTo>
                  <a:pt x="11091" y="2647"/>
                  <a:pt x="11122" y="1387"/>
                  <a:pt x="11973" y="757"/>
                </a:cubicBezTo>
                <a:cubicBezTo>
                  <a:pt x="12256" y="536"/>
                  <a:pt x="12130" y="64"/>
                  <a:pt x="11784"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9631" name="Google Shape;9631;p110"/>
          <p:cNvSpPr/>
          <p:nvPr/>
        </p:nvSpPr>
        <p:spPr>
          <a:xfrm>
            <a:off x="4625737" y="3254863"/>
            <a:ext cx="500827" cy="496588"/>
          </a:xfrm>
          <a:custGeom>
            <a:avLst/>
            <a:gdLst/>
            <a:ahLst/>
            <a:cxnLst/>
            <a:rect l="l" t="t" r="r" b="b"/>
            <a:pathLst>
              <a:path w="12761" h="12653" extrusionOk="0">
                <a:moveTo>
                  <a:pt x="6396" y="866"/>
                </a:moveTo>
                <a:lnTo>
                  <a:pt x="11469" y="3796"/>
                </a:lnTo>
                <a:cubicBezTo>
                  <a:pt x="8759" y="5340"/>
                  <a:pt x="12729" y="3072"/>
                  <a:pt x="6396" y="6695"/>
                </a:cubicBezTo>
                <a:cubicBezTo>
                  <a:pt x="1" y="3072"/>
                  <a:pt x="4097" y="5403"/>
                  <a:pt x="1324" y="3796"/>
                </a:cubicBezTo>
                <a:lnTo>
                  <a:pt x="6396" y="866"/>
                </a:lnTo>
                <a:close/>
                <a:moveTo>
                  <a:pt x="10208" y="5498"/>
                </a:moveTo>
                <a:lnTo>
                  <a:pt x="10208" y="8081"/>
                </a:lnTo>
                <a:cubicBezTo>
                  <a:pt x="10177" y="8207"/>
                  <a:pt x="10051" y="8365"/>
                  <a:pt x="9925" y="8428"/>
                </a:cubicBezTo>
                <a:cubicBezTo>
                  <a:pt x="9312" y="8970"/>
                  <a:pt x="7887" y="9300"/>
                  <a:pt x="6364" y="9300"/>
                </a:cubicBezTo>
                <a:cubicBezTo>
                  <a:pt x="5852" y="9300"/>
                  <a:pt x="5329" y="9263"/>
                  <a:pt x="4821" y="9184"/>
                </a:cubicBezTo>
                <a:cubicBezTo>
                  <a:pt x="4317" y="9121"/>
                  <a:pt x="3718" y="8963"/>
                  <a:pt x="3246" y="8711"/>
                </a:cubicBezTo>
                <a:cubicBezTo>
                  <a:pt x="2994" y="8585"/>
                  <a:pt x="2584" y="8333"/>
                  <a:pt x="2584" y="8050"/>
                </a:cubicBezTo>
                <a:lnTo>
                  <a:pt x="2584" y="5498"/>
                </a:lnTo>
                <a:cubicBezTo>
                  <a:pt x="4412" y="6537"/>
                  <a:pt x="4317" y="6474"/>
                  <a:pt x="6207" y="7545"/>
                </a:cubicBezTo>
                <a:cubicBezTo>
                  <a:pt x="6255" y="7577"/>
                  <a:pt x="6318" y="7593"/>
                  <a:pt x="6385" y="7593"/>
                </a:cubicBezTo>
                <a:cubicBezTo>
                  <a:pt x="6452" y="7593"/>
                  <a:pt x="6522" y="7577"/>
                  <a:pt x="6585" y="7545"/>
                </a:cubicBezTo>
                <a:cubicBezTo>
                  <a:pt x="6617" y="7482"/>
                  <a:pt x="9925" y="5592"/>
                  <a:pt x="10208" y="5498"/>
                </a:cubicBezTo>
                <a:close/>
                <a:moveTo>
                  <a:pt x="6385" y="0"/>
                </a:moveTo>
                <a:cubicBezTo>
                  <a:pt x="6318" y="0"/>
                  <a:pt x="6255" y="16"/>
                  <a:pt x="6207" y="47"/>
                </a:cubicBezTo>
                <a:lnTo>
                  <a:pt x="284" y="3450"/>
                </a:lnTo>
                <a:cubicBezTo>
                  <a:pt x="1" y="3607"/>
                  <a:pt x="1" y="3985"/>
                  <a:pt x="284" y="4143"/>
                </a:cubicBezTo>
                <a:lnTo>
                  <a:pt x="1797" y="4962"/>
                </a:lnTo>
                <a:lnTo>
                  <a:pt x="1797" y="8018"/>
                </a:lnTo>
                <a:cubicBezTo>
                  <a:pt x="1797" y="8711"/>
                  <a:pt x="2458" y="9215"/>
                  <a:pt x="3088" y="9499"/>
                </a:cubicBezTo>
                <a:cubicBezTo>
                  <a:pt x="3994" y="9903"/>
                  <a:pt x="5215" y="10104"/>
                  <a:pt x="6430" y="10104"/>
                </a:cubicBezTo>
                <a:cubicBezTo>
                  <a:pt x="7963" y="10104"/>
                  <a:pt x="9488" y="9785"/>
                  <a:pt x="10366" y="9152"/>
                </a:cubicBezTo>
                <a:cubicBezTo>
                  <a:pt x="10776" y="8869"/>
                  <a:pt x="11091" y="8491"/>
                  <a:pt x="11091" y="8018"/>
                </a:cubicBezTo>
                <a:lnTo>
                  <a:pt x="11091" y="4962"/>
                </a:lnTo>
                <a:lnTo>
                  <a:pt x="11941" y="4490"/>
                </a:lnTo>
                <a:lnTo>
                  <a:pt x="11941" y="12208"/>
                </a:lnTo>
                <a:cubicBezTo>
                  <a:pt x="11941" y="12429"/>
                  <a:pt x="12099" y="12618"/>
                  <a:pt x="12288" y="12649"/>
                </a:cubicBezTo>
                <a:cubicBezTo>
                  <a:pt x="12306" y="12652"/>
                  <a:pt x="12325" y="12653"/>
                  <a:pt x="12343" y="12653"/>
                </a:cubicBezTo>
                <a:cubicBezTo>
                  <a:pt x="12571" y="12653"/>
                  <a:pt x="12760" y="12475"/>
                  <a:pt x="12760" y="12271"/>
                </a:cubicBezTo>
                <a:lnTo>
                  <a:pt x="12760" y="3796"/>
                </a:lnTo>
                <a:cubicBezTo>
                  <a:pt x="12729" y="3639"/>
                  <a:pt x="12666" y="3513"/>
                  <a:pt x="12508" y="3450"/>
                </a:cubicBezTo>
                <a:lnTo>
                  <a:pt x="6585" y="47"/>
                </a:lnTo>
                <a:cubicBezTo>
                  <a:pt x="6522" y="16"/>
                  <a:pt x="6452" y="0"/>
                  <a:pt x="6385"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9632" name="Google Shape;9632;p110"/>
          <p:cNvSpPr/>
          <p:nvPr/>
        </p:nvSpPr>
        <p:spPr>
          <a:xfrm>
            <a:off x="2973955" y="3837129"/>
            <a:ext cx="358636" cy="494625"/>
          </a:xfrm>
          <a:custGeom>
            <a:avLst/>
            <a:gdLst/>
            <a:ahLst/>
            <a:cxnLst/>
            <a:rect l="l" t="t" r="r" b="b"/>
            <a:pathLst>
              <a:path w="9138" h="12603" extrusionOk="0">
                <a:moveTo>
                  <a:pt x="5420" y="788"/>
                </a:moveTo>
                <a:cubicBezTo>
                  <a:pt x="7026" y="788"/>
                  <a:pt x="8287" y="2080"/>
                  <a:pt x="8287" y="3655"/>
                </a:cubicBezTo>
                <a:lnTo>
                  <a:pt x="8287" y="4978"/>
                </a:lnTo>
                <a:lnTo>
                  <a:pt x="5829" y="4978"/>
                </a:lnTo>
                <a:lnTo>
                  <a:pt x="5829" y="3718"/>
                </a:lnTo>
                <a:cubicBezTo>
                  <a:pt x="5829" y="3151"/>
                  <a:pt x="5451" y="2710"/>
                  <a:pt x="4979" y="2521"/>
                </a:cubicBezTo>
                <a:lnTo>
                  <a:pt x="4979" y="788"/>
                </a:lnTo>
                <a:close/>
                <a:moveTo>
                  <a:pt x="4159" y="882"/>
                </a:moveTo>
                <a:lnTo>
                  <a:pt x="4159" y="2615"/>
                </a:lnTo>
                <a:cubicBezTo>
                  <a:pt x="3687" y="2773"/>
                  <a:pt x="3340" y="3245"/>
                  <a:pt x="3340" y="3781"/>
                </a:cubicBezTo>
                <a:lnTo>
                  <a:pt x="3340" y="5041"/>
                </a:lnTo>
                <a:lnTo>
                  <a:pt x="851" y="5041"/>
                </a:lnTo>
                <a:lnTo>
                  <a:pt x="851" y="3749"/>
                </a:lnTo>
                <a:cubicBezTo>
                  <a:pt x="851" y="2143"/>
                  <a:pt x="2175" y="882"/>
                  <a:pt x="3781" y="882"/>
                </a:cubicBezTo>
                <a:close/>
                <a:moveTo>
                  <a:pt x="4569" y="3308"/>
                </a:moveTo>
                <a:cubicBezTo>
                  <a:pt x="4790" y="3308"/>
                  <a:pt x="4947" y="3497"/>
                  <a:pt x="4947" y="3749"/>
                </a:cubicBezTo>
                <a:lnTo>
                  <a:pt x="4947" y="5388"/>
                </a:lnTo>
                <a:cubicBezTo>
                  <a:pt x="4947" y="5620"/>
                  <a:pt x="4736" y="5830"/>
                  <a:pt x="4504" y="5830"/>
                </a:cubicBezTo>
                <a:cubicBezTo>
                  <a:pt x="4453" y="5830"/>
                  <a:pt x="4400" y="5820"/>
                  <a:pt x="4348" y="5797"/>
                </a:cubicBezTo>
                <a:cubicBezTo>
                  <a:pt x="4191" y="5703"/>
                  <a:pt x="4128" y="5608"/>
                  <a:pt x="4128" y="5388"/>
                </a:cubicBezTo>
                <a:lnTo>
                  <a:pt x="4128" y="3718"/>
                </a:lnTo>
                <a:cubicBezTo>
                  <a:pt x="4159" y="3466"/>
                  <a:pt x="4348" y="3308"/>
                  <a:pt x="4569" y="3308"/>
                </a:cubicBezTo>
                <a:close/>
                <a:moveTo>
                  <a:pt x="8287" y="5797"/>
                </a:moveTo>
                <a:lnTo>
                  <a:pt x="8287" y="8948"/>
                </a:lnTo>
                <a:cubicBezTo>
                  <a:pt x="8287" y="10554"/>
                  <a:pt x="6995" y="11815"/>
                  <a:pt x="5420" y="11815"/>
                </a:cubicBezTo>
                <a:lnTo>
                  <a:pt x="3781" y="11815"/>
                </a:lnTo>
                <a:cubicBezTo>
                  <a:pt x="2143" y="11815"/>
                  <a:pt x="883" y="10523"/>
                  <a:pt x="851" y="8948"/>
                </a:cubicBezTo>
                <a:lnTo>
                  <a:pt x="851" y="5797"/>
                </a:lnTo>
                <a:lnTo>
                  <a:pt x="3403" y="5797"/>
                </a:lnTo>
                <a:cubicBezTo>
                  <a:pt x="3498" y="6018"/>
                  <a:pt x="3655" y="6270"/>
                  <a:pt x="3876" y="6427"/>
                </a:cubicBezTo>
                <a:cubicBezTo>
                  <a:pt x="4098" y="6579"/>
                  <a:pt x="4340" y="6649"/>
                  <a:pt x="4575" y="6649"/>
                </a:cubicBezTo>
                <a:cubicBezTo>
                  <a:pt x="5073" y="6649"/>
                  <a:pt x="5542" y="6332"/>
                  <a:pt x="5735" y="5797"/>
                </a:cubicBezTo>
                <a:close/>
                <a:moveTo>
                  <a:pt x="3750" y="0"/>
                </a:moveTo>
                <a:cubicBezTo>
                  <a:pt x="1702" y="0"/>
                  <a:pt x="1" y="1670"/>
                  <a:pt x="1" y="3718"/>
                </a:cubicBezTo>
                <a:lnTo>
                  <a:pt x="1" y="8885"/>
                </a:lnTo>
                <a:cubicBezTo>
                  <a:pt x="1" y="10932"/>
                  <a:pt x="1639" y="12602"/>
                  <a:pt x="3750" y="12602"/>
                </a:cubicBezTo>
                <a:lnTo>
                  <a:pt x="5388" y="12602"/>
                </a:lnTo>
                <a:cubicBezTo>
                  <a:pt x="7436" y="12602"/>
                  <a:pt x="9137" y="10964"/>
                  <a:pt x="9074" y="8885"/>
                </a:cubicBezTo>
                <a:lnTo>
                  <a:pt x="9074" y="3686"/>
                </a:lnTo>
                <a:cubicBezTo>
                  <a:pt x="9137" y="1670"/>
                  <a:pt x="7467" y="0"/>
                  <a:pt x="5388"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9633" name="Google Shape;9633;p110"/>
          <p:cNvSpPr/>
          <p:nvPr/>
        </p:nvSpPr>
        <p:spPr>
          <a:xfrm>
            <a:off x="2823309" y="4881877"/>
            <a:ext cx="39" cy="39"/>
          </a:xfrm>
          <a:custGeom>
            <a:avLst/>
            <a:gdLst/>
            <a:ahLst/>
            <a:cxnLst/>
            <a:rect l="l" t="t" r="r" b="b"/>
            <a:pathLst>
              <a:path w="1" h="1" extrusionOk="0">
                <a:moveTo>
                  <a:pt x="1" y="1"/>
                </a:move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nvGrpSpPr>
          <p:cNvPr id="9634" name="Google Shape;9634;p110"/>
          <p:cNvGrpSpPr/>
          <p:nvPr/>
        </p:nvGrpSpPr>
        <p:grpSpPr>
          <a:xfrm>
            <a:off x="2890867" y="4415850"/>
            <a:ext cx="520568" cy="492781"/>
            <a:chOff x="-39055650" y="2315975"/>
            <a:chExt cx="331600" cy="313900"/>
          </a:xfrm>
        </p:grpSpPr>
        <p:sp>
          <p:nvSpPr>
            <p:cNvPr id="9635" name="Google Shape;9635;p110"/>
            <p:cNvSpPr/>
            <p:nvPr/>
          </p:nvSpPr>
          <p:spPr>
            <a:xfrm>
              <a:off x="-38976900" y="2390225"/>
              <a:ext cx="167775" cy="165825"/>
            </a:xfrm>
            <a:custGeom>
              <a:avLst/>
              <a:gdLst/>
              <a:ahLst/>
              <a:cxnLst/>
              <a:rect l="l" t="t" r="r" b="b"/>
              <a:pathLst>
                <a:path w="6711" h="6633" extrusionOk="0">
                  <a:moveTo>
                    <a:pt x="3765" y="1"/>
                  </a:moveTo>
                  <a:cubicBezTo>
                    <a:pt x="3655" y="1"/>
                    <a:pt x="3545" y="40"/>
                    <a:pt x="3466" y="119"/>
                  </a:cubicBezTo>
                  <a:cubicBezTo>
                    <a:pt x="3309" y="276"/>
                    <a:pt x="3309" y="560"/>
                    <a:pt x="3466" y="718"/>
                  </a:cubicBezTo>
                  <a:lnTo>
                    <a:pt x="4411" y="1663"/>
                  </a:lnTo>
                  <a:lnTo>
                    <a:pt x="3340" y="2734"/>
                  </a:lnTo>
                  <a:lnTo>
                    <a:pt x="2395" y="1789"/>
                  </a:lnTo>
                  <a:cubicBezTo>
                    <a:pt x="2316" y="1710"/>
                    <a:pt x="2214" y="1671"/>
                    <a:pt x="2111" y="1671"/>
                  </a:cubicBezTo>
                  <a:cubicBezTo>
                    <a:pt x="2009" y="1671"/>
                    <a:pt x="1907" y="1710"/>
                    <a:pt x="1828" y="1789"/>
                  </a:cubicBezTo>
                  <a:cubicBezTo>
                    <a:pt x="1670" y="1946"/>
                    <a:pt x="1670" y="2198"/>
                    <a:pt x="1828" y="2387"/>
                  </a:cubicBezTo>
                  <a:lnTo>
                    <a:pt x="2773" y="3332"/>
                  </a:lnTo>
                  <a:lnTo>
                    <a:pt x="1702" y="4372"/>
                  </a:lnTo>
                  <a:lnTo>
                    <a:pt x="757" y="3427"/>
                  </a:lnTo>
                  <a:cubicBezTo>
                    <a:pt x="678" y="3348"/>
                    <a:pt x="568" y="3309"/>
                    <a:pt x="457" y="3309"/>
                  </a:cubicBezTo>
                  <a:cubicBezTo>
                    <a:pt x="347" y="3309"/>
                    <a:pt x="237" y="3348"/>
                    <a:pt x="158" y="3427"/>
                  </a:cubicBezTo>
                  <a:cubicBezTo>
                    <a:pt x="1" y="3584"/>
                    <a:pt x="1" y="3868"/>
                    <a:pt x="158" y="4026"/>
                  </a:cubicBezTo>
                  <a:lnTo>
                    <a:pt x="1103" y="4971"/>
                  </a:lnTo>
                  <a:lnTo>
                    <a:pt x="977" y="5097"/>
                  </a:lnTo>
                  <a:cubicBezTo>
                    <a:pt x="820" y="5254"/>
                    <a:pt x="820" y="5538"/>
                    <a:pt x="977" y="5695"/>
                  </a:cubicBezTo>
                  <a:cubicBezTo>
                    <a:pt x="1056" y="5774"/>
                    <a:pt x="1166" y="5813"/>
                    <a:pt x="1276" y="5813"/>
                  </a:cubicBezTo>
                  <a:cubicBezTo>
                    <a:pt x="1387" y="5813"/>
                    <a:pt x="1497" y="5774"/>
                    <a:pt x="1576" y="5695"/>
                  </a:cubicBezTo>
                  <a:lnTo>
                    <a:pt x="1702" y="5569"/>
                  </a:lnTo>
                  <a:lnTo>
                    <a:pt x="2647" y="6514"/>
                  </a:lnTo>
                  <a:cubicBezTo>
                    <a:pt x="2726" y="6593"/>
                    <a:pt x="2836" y="6633"/>
                    <a:pt x="2946" y="6633"/>
                  </a:cubicBezTo>
                  <a:cubicBezTo>
                    <a:pt x="3057" y="6633"/>
                    <a:pt x="3167" y="6593"/>
                    <a:pt x="3246" y="6514"/>
                  </a:cubicBezTo>
                  <a:cubicBezTo>
                    <a:pt x="3403" y="6357"/>
                    <a:pt x="3403" y="6073"/>
                    <a:pt x="3246" y="5916"/>
                  </a:cubicBezTo>
                  <a:lnTo>
                    <a:pt x="2300" y="4971"/>
                  </a:lnTo>
                  <a:lnTo>
                    <a:pt x="3340" y="3899"/>
                  </a:lnTo>
                  <a:lnTo>
                    <a:pt x="4285" y="4845"/>
                  </a:lnTo>
                  <a:cubicBezTo>
                    <a:pt x="4364" y="4923"/>
                    <a:pt x="4474" y="4963"/>
                    <a:pt x="4585" y="4963"/>
                  </a:cubicBezTo>
                  <a:cubicBezTo>
                    <a:pt x="4695" y="4963"/>
                    <a:pt x="4805" y="4923"/>
                    <a:pt x="4884" y="4845"/>
                  </a:cubicBezTo>
                  <a:cubicBezTo>
                    <a:pt x="5041" y="4687"/>
                    <a:pt x="5041" y="4435"/>
                    <a:pt x="4884" y="4278"/>
                  </a:cubicBezTo>
                  <a:lnTo>
                    <a:pt x="3939" y="3332"/>
                  </a:lnTo>
                  <a:lnTo>
                    <a:pt x="5010" y="2261"/>
                  </a:lnTo>
                  <a:lnTo>
                    <a:pt x="5955" y="3206"/>
                  </a:lnTo>
                  <a:cubicBezTo>
                    <a:pt x="6034" y="3285"/>
                    <a:pt x="6144" y="3325"/>
                    <a:pt x="6254" y="3325"/>
                  </a:cubicBezTo>
                  <a:cubicBezTo>
                    <a:pt x="6365" y="3325"/>
                    <a:pt x="6475" y="3285"/>
                    <a:pt x="6554" y="3206"/>
                  </a:cubicBezTo>
                  <a:cubicBezTo>
                    <a:pt x="6711" y="3049"/>
                    <a:pt x="6711" y="2765"/>
                    <a:pt x="6554" y="2608"/>
                  </a:cubicBezTo>
                  <a:lnTo>
                    <a:pt x="5608" y="1663"/>
                  </a:lnTo>
                  <a:lnTo>
                    <a:pt x="5703" y="1537"/>
                  </a:lnTo>
                  <a:cubicBezTo>
                    <a:pt x="5860" y="1379"/>
                    <a:pt x="5860" y="1127"/>
                    <a:pt x="5703" y="970"/>
                  </a:cubicBezTo>
                  <a:cubicBezTo>
                    <a:pt x="5624" y="891"/>
                    <a:pt x="5522" y="851"/>
                    <a:pt x="5419" y="851"/>
                  </a:cubicBezTo>
                  <a:cubicBezTo>
                    <a:pt x="5317" y="851"/>
                    <a:pt x="5215" y="891"/>
                    <a:pt x="5136" y="970"/>
                  </a:cubicBezTo>
                  <a:lnTo>
                    <a:pt x="5010" y="1064"/>
                  </a:lnTo>
                  <a:lnTo>
                    <a:pt x="4065" y="119"/>
                  </a:lnTo>
                  <a:cubicBezTo>
                    <a:pt x="3986" y="40"/>
                    <a:pt x="3876" y="1"/>
                    <a:pt x="3765"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9636" name="Google Shape;9636;p110"/>
            <p:cNvSpPr/>
            <p:nvPr/>
          </p:nvSpPr>
          <p:spPr>
            <a:xfrm>
              <a:off x="-39055650" y="2315975"/>
              <a:ext cx="331600" cy="313900"/>
            </a:xfrm>
            <a:custGeom>
              <a:avLst/>
              <a:gdLst/>
              <a:ahLst/>
              <a:cxnLst/>
              <a:rect l="l" t="t" r="r" b="b"/>
              <a:pathLst>
                <a:path w="13264" h="12556" extrusionOk="0">
                  <a:moveTo>
                    <a:pt x="9083" y="792"/>
                  </a:moveTo>
                  <a:cubicBezTo>
                    <a:pt x="9988" y="792"/>
                    <a:pt x="10673" y="917"/>
                    <a:pt x="11121" y="1041"/>
                  </a:cubicBezTo>
                  <a:cubicBezTo>
                    <a:pt x="11216" y="1073"/>
                    <a:pt x="11373" y="1167"/>
                    <a:pt x="11499" y="1199"/>
                  </a:cubicBezTo>
                  <a:lnTo>
                    <a:pt x="11625" y="1325"/>
                  </a:lnTo>
                  <a:cubicBezTo>
                    <a:pt x="11814" y="1608"/>
                    <a:pt x="11909" y="2144"/>
                    <a:pt x="11940" y="2459"/>
                  </a:cubicBezTo>
                  <a:cubicBezTo>
                    <a:pt x="12003" y="3152"/>
                    <a:pt x="12003" y="3845"/>
                    <a:pt x="11972" y="4475"/>
                  </a:cubicBezTo>
                  <a:lnTo>
                    <a:pt x="8317" y="821"/>
                  </a:lnTo>
                  <a:cubicBezTo>
                    <a:pt x="8588" y="801"/>
                    <a:pt x="8843" y="792"/>
                    <a:pt x="9083" y="792"/>
                  </a:cubicBezTo>
                  <a:close/>
                  <a:moveTo>
                    <a:pt x="7246" y="978"/>
                  </a:moveTo>
                  <a:lnTo>
                    <a:pt x="11814" y="5546"/>
                  </a:lnTo>
                  <a:cubicBezTo>
                    <a:pt x="11184" y="8728"/>
                    <a:pt x="9136" y="11028"/>
                    <a:pt x="5797" y="11595"/>
                  </a:cubicBezTo>
                  <a:lnTo>
                    <a:pt x="1229" y="7027"/>
                  </a:lnTo>
                  <a:cubicBezTo>
                    <a:pt x="1890" y="3845"/>
                    <a:pt x="3907" y="1608"/>
                    <a:pt x="7246" y="978"/>
                  </a:cubicBezTo>
                  <a:close/>
                  <a:moveTo>
                    <a:pt x="1071" y="8004"/>
                  </a:moveTo>
                  <a:lnTo>
                    <a:pt x="4726" y="11690"/>
                  </a:lnTo>
                  <a:cubicBezTo>
                    <a:pt x="4391" y="11722"/>
                    <a:pt x="4083" y="11736"/>
                    <a:pt x="3800" y="11736"/>
                  </a:cubicBezTo>
                  <a:cubicBezTo>
                    <a:pt x="2431" y="11736"/>
                    <a:pt x="1669" y="11411"/>
                    <a:pt x="1512" y="11280"/>
                  </a:cubicBezTo>
                  <a:cubicBezTo>
                    <a:pt x="1229" y="11028"/>
                    <a:pt x="914" y="9799"/>
                    <a:pt x="1071" y="8004"/>
                  </a:cubicBezTo>
                  <a:close/>
                  <a:moveTo>
                    <a:pt x="9132" y="0"/>
                  </a:moveTo>
                  <a:cubicBezTo>
                    <a:pt x="8355" y="0"/>
                    <a:pt x="7508" y="77"/>
                    <a:pt x="6742" y="222"/>
                  </a:cubicBezTo>
                  <a:cubicBezTo>
                    <a:pt x="5482" y="506"/>
                    <a:pt x="4411" y="978"/>
                    <a:pt x="3560" y="1640"/>
                  </a:cubicBezTo>
                  <a:cubicBezTo>
                    <a:pt x="1764" y="2931"/>
                    <a:pt x="756" y="4948"/>
                    <a:pt x="347" y="7090"/>
                  </a:cubicBezTo>
                  <a:lnTo>
                    <a:pt x="347" y="7122"/>
                  </a:lnTo>
                  <a:cubicBezTo>
                    <a:pt x="0" y="9012"/>
                    <a:pt x="189" y="10934"/>
                    <a:pt x="756" y="11721"/>
                  </a:cubicBezTo>
                  <a:cubicBezTo>
                    <a:pt x="882" y="11879"/>
                    <a:pt x="945" y="11942"/>
                    <a:pt x="1103" y="12036"/>
                  </a:cubicBezTo>
                  <a:cubicBezTo>
                    <a:pt x="1678" y="12389"/>
                    <a:pt x="2725" y="12556"/>
                    <a:pt x="3868" y="12556"/>
                  </a:cubicBezTo>
                  <a:cubicBezTo>
                    <a:pt x="4664" y="12556"/>
                    <a:pt x="5506" y="12475"/>
                    <a:pt x="6270" y="12320"/>
                  </a:cubicBezTo>
                  <a:cubicBezTo>
                    <a:pt x="8380" y="11879"/>
                    <a:pt x="9956" y="10776"/>
                    <a:pt x="11058" y="9295"/>
                  </a:cubicBezTo>
                  <a:cubicBezTo>
                    <a:pt x="13264" y="6302"/>
                    <a:pt x="13075" y="2018"/>
                    <a:pt x="12255" y="852"/>
                  </a:cubicBezTo>
                  <a:cubicBezTo>
                    <a:pt x="12129" y="695"/>
                    <a:pt x="11972" y="537"/>
                    <a:pt x="11657" y="411"/>
                  </a:cubicBezTo>
                  <a:cubicBezTo>
                    <a:pt x="11279" y="222"/>
                    <a:pt x="10712" y="159"/>
                    <a:pt x="10271" y="64"/>
                  </a:cubicBezTo>
                  <a:cubicBezTo>
                    <a:pt x="9925" y="21"/>
                    <a:pt x="9538" y="0"/>
                    <a:pt x="9132"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sp>
        <p:nvSpPr>
          <p:cNvPr id="9637" name="Google Shape;9637;p110"/>
          <p:cNvSpPr/>
          <p:nvPr/>
        </p:nvSpPr>
        <p:spPr>
          <a:xfrm>
            <a:off x="2899810" y="5106517"/>
            <a:ext cx="499532" cy="424139"/>
          </a:xfrm>
          <a:custGeom>
            <a:avLst/>
            <a:gdLst/>
            <a:ahLst/>
            <a:cxnLst/>
            <a:rect l="l" t="t" r="r" b="b"/>
            <a:pathLst>
              <a:path w="12728" h="10807" extrusionOk="0">
                <a:moveTo>
                  <a:pt x="11877" y="819"/>
                </a:moveTo>
                <a:lnTo>
                  <a:pt x="11877" y="2489"/>
                </a:lnTo>
                <a:lnTo>
                  <a:pt x="851" y="2489"/>
                </a:lnTo>
                <a:lnTo>
                  <a:pt x="851" y="819"/>
                </a:lnTo>
                <a:close/>
                <a:moveTo>
                  <a:pt x="3340" y="3308"/>
                </a:moveTo>
                <a:lnTo>
                  <a:pt x="3340" y="6616"/>
                </a:lnTo>
                <a:lnTo>
                  <a:pt x="2520" y="6616"/>
                </a:lnTo>
                <a:lnTo>
                  <a:pt x="2520" y="3308"/>
                </a:lnTo>
                <a:close/>
                <a:moveTo>
                  <a:pt x="6648" y="3308"/>
                </a:moveTo>
                <a:lnTo>
                  <a:pt x="6648" y="6616"/>
                </a:lnTo>
                <a:lnTo>
                  <a:pt x="5828" y="6616"/>
                </a:lnTo>
                <a:lnTo>
                  <a:pt x="5828" y="3308"/>
                </a:lnTo>
                <a:close/>
                <a:moveTo>
                  <a:pt x="10239" y="3308"/>
                </a:moveTo>
                <a:lnTo>
                  <a:pt x="10239" y="6616"/>
                </a:lnTo>
                <a:lnTo>
                  <a:pt x="9420" y="6616"/>
                </a:lnTo>
                <a:lnTo>
                  <a:pt x="9420" y="3308"/>
                </a:lnTo>
                <a:close/>
                <a:moveTo>
                  <a:pt x="1701" y="3308"/>
                </a:moveTo>
                <a:lnTo>
                  <a:pt x="1701" y="7026"/>
                </a:lnTo>
                <a:cubicBezTo>
                  <a:pt x="1701" y="7246"/>
                  <a:pt x="1890" y="7435"/>
                  <a:pt x="2111" y="7435"/>
                </a:cubicBezTo>
                <a:lnTo>
                  <a:pt x="2552" y="7435"/>
                </a:lnTo>
                <a:lnTo>
                  <a:pt x="2552" y="9924"/>
                </a:lnTo>
                <a:lnTo>
                  <a:pt x="851" y="9924"/>
                </a:lnTo>
                <a:lnTo>
                  <a:pt x="851" y="3308"/>
                </a:lnTo>
                <a:close/>
                <a:moveTo>
                  <a:pt x="5009" y="3308"/>
                </a:moveTo>
                <a:lnTo>
                  <a:pt x="5009" y="7026"/>
                </a:lnTo>
                <a:cubicBezTo>
                  <a:pt x="5009" y="7246"/>
                  <a:pt x="5198" y="7435"/>
                  <a:pt x="5387" y="7435"/>
                </a:cubicBezTo>
                <a:lnTo>
                  <a:pt x="5828" y="7435"/>
                </a:lnTo>
                <a:lnTo>
                  <a:pt x="5828" y="9924"/>
                </a:lnTo>
                <a:lnTo>
                  <a:pt x="3340" y="9924"/>
                </a:lnTo>
                <a:lnTo>
                  <a:pt x="3340" y="7435"/>
                </a:lnTo>
                <a:lnTo>
                  <a:pt x="3781" y="7435"/>
                </a:lnTo>
                <a:cubicBezTo>
                  <a:pt x="4001" y="7435"/>
                  <a:pt x="4159" y="7246"/>
                  <a:pt x="4159" y="7026"/>
                </a:cubicBezTo>
                <a:lnTo>
                  <a:pt x="4159" y="3308"/>
                </a:lnTo>
                <a:close/>
                <a:moveTo>
                  <a:pt x="8569" y="3308"/>
                </a:moveTo>
                <a:lnTo>
                  <a:pt x="8569" y="7026"/>
                </a:lnTo>
                <a:cubicBezTo>
                  <a:pt x="8569" y="7246"/>
                  <a:pt x="8790" y="7435"/>
                  <a:pt x="9010" y="7435"/>
                </a:cubicBezTo>
                <a:lnTo>
                  <a:pt x="9452" y="7435"/>
                </a:lnTo>
                <a:lnTo>
                  <a:pt x="9452" y="9924"/>
                </a:lnTo>
                <a:lnTo>
                  <a:pt x="6648" y="9924"/>
                </a:lnTo>
                <a:lnTo>
                  <a:pt x="6648" y="7435"/>
                </a:lnTo>
                <a:lnTo>
                  <a:pt x="7089" y="7435"/>
                </a:lnTo>
                <a:cubicBezTo>
                  <a:pt x="7309" y="7435"/>
                  <a:pt x="7467" y="7246"/>
                  <a:pt x="7467" y="7026"/>
                </a:cubicBezTo>
                <a:lnTo>
                  <a:pt x="7467" y="3308"/>
                </a:lnTo>
                <a:close/>
                <a:moveTo>
                  <a:pt x="11940" y="3308"/>
                </a:moveTo>
                <a:lnTo>
                  <a:pt x="11940" y="9924"/>
                </a:lnTo>
                <a:lnTo>
                  <a:pt x="10239" y="9924"/>
                </a:lnTo>
                <a:lnTo>
                  <a:pt x="10239" y="7435"/>
                </a:lnTo>
                <a:lnTo>
                  <a:pt x="10680" y="7435"/>
                </a:lnTo>
                <a:cubicBezTo>
                  <a:pt x="10901" y="7435"/>
                  <a:pt x="11090" y="7246"/>
                  <a:pt x="11090" y="7026"/>
                </a:cubicBezTo>
                <a:lnTo>
                  <a:pt x="11090" y="3308"/>
                </a:lnTo>
                <a:close/>
                <a:moveTo>
                  <a:pt x="441" y="0"/>
                </a:moveTo>
                <a:cubicBezTo>
                  <a:pt x="189" y="0"/>
                  <a:pt x="0" y="189"/>
                  <a:pt x="0" y="441"/>
                </a:cubicBezTo>
                <a:lnTo>
                  <a:pt x="0" y="10365"/>
                </a:lnTo>
                <a:cubicBezTo>
                  <a:pt x="0" y="10586"/>
                  <a:pt x="189" y="10806"/>
                  <a:pt x="441" y="10806"/>
                </a:cubicBezTo>
                <a:lnTo>
                  <a:pt x="12287" y="10806"/>
                </a:lnTo>
                <a:cubicBezTo>
                  <a:pt x="12508" y="10806"/>
                  <a:pt x="12728" y="10586"/>
                  <a:pt x="12728" y="10365"/>
                </a:cubicBezTo>
                <a:lnTo>
                  <a:pt x="12728" y="2930"/>
                </a:lnTo>
                <a:lnTo>
                  <a:pt x="12728" y="441"/>
                </a:lnTo>
                <a:cubicBezTo>
                  <a:pt x="12728" y="189"/>
                  <a:pt x="12508" y="0"/>
                  <a:pt x="12287"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9638" name="Google Shape;9638;p110"/>
          <p:cNvSpPr/>
          <p:nvPr/>
        </p:nvSpPr>
        <p:spPr>
          <a:xfrm>
            <a:off x="5327253" y="4396296"/>
            <a:ext cx="387051" cy="500473"/>
          </a:xfrm>
          <a:custGeom>
            <a:avLst/>
            <a:gdLst/>
            <a:ahLst/>
            <a:cxnLst/>
            <a:rect l="l" t="t" r="r" b="b"/>
            <a:pathLst>
              <a:path w="9862" h="12752" extrusionOk="0">
                <a:moveTo>
                  <a:pt x="2395" y="1001"/>
                </a:moveTo>
                <a:lnTo>
                  <a:pt x="5042" y="3552"/>
                </a:lnTo>
                <a:lnTo>
                  <a:pt x="3971" y="4655"/>
                </a:lnTo>
                <a:lnTo>
                  <a:pt x="1356" y="2103"/>
                </a:lnTo>
                <a:lnTo>
                  <a:pt x="2395" y="1001"/>
                </a:lnTo>
                <a:close/>
                <a:moveTo>
                  <a:pt x="5640" y="4151"/>
                </a:moveTo>
                <a:lnTo>
                  <a:pt x="6302" y="4781"/>
                </a:lnTo>
                <a:lnTo>
                  <a:pt x="5231" y="5884"/>
                </a:lnTo>
                <a:lnTo>
                  <a:pt x="4569" y="5254"/>
                </a:lnTo>
                <a:lnTo>
                  <a:pt x="5640" y="4151"/>
                </a:lnTo>
                <a:close/>
                <a:moveTo>
                  <a:pt x="4443" y="8562"/>
                </a:moveTo>
                <a:cubicBezTo>
                  <a:pt x="4664" y="8562"/>
                  <a:pt x="4821" y="8688"/>
                  <a:pt x="4853" y="8845"/>
                </a:cubicBezTo>
                <a:cubicBezTo>
                  <a:pt x="4884" y="8908"/>
                  <a:pt x="4853" y="8877"/>
                  <a:pt x="4884" y="9790"/>
                </a:cubicBezTo>
                <a:lnTo>
                  <a:pt x="4884" y="10200"/>
                </a:lnTo>
                <a:lnTo>
                  <a:pt x="4065" y="10200"/>
                </a:lnTo>
                <a:lnTo>
                  <a:pt x="4065" y="9003"/>
                </a:lnTo>
                <a:cubicBezTo>
                  <a:pt x="4065" y="8751"/>
                  <a:pt x="4254" y="8562"/>
                  <a:pt x="4443" y="8562"/>
                </a:cubicBezTo>
                <a:close/>
                <a:moveTo>
                  <a:pt x="7814" y="10956"/>
                </a:moveTo>
                <a:cubicBezTo>
                  <a:pt x="8035" y="10956"/>
                  <a:pt x="8224" y="11145"/>
                  <a:pt x="8224" y="11366"/>
                </a:cubicBezTo>
                <a:lnTo>
                  <a:pt x="8224" y="11744"/>
                </a:lnTo>
                <a:lnTo>
                  <a:pt x="789" y="11870"/>
                </a:lnTo>
                <a:lnTo>
                  <a:pt x="789" y="11460"/>
                </a:lnTo>
                <a:cubicBezTo>
                  <a:pt x="789" y="11271"/>
                  <a:pt x="915" y="11114"/>
                  <a:pt x="1072" y="11082"/>
                </a:cubicBezTo>
                <a:cubicBezTo>
                  <a:pt x="1104" y="11066"/>
                  <a:pt x="1072" y="11066"/>
                  <a:pt x="1371" y="11066"/>
                </a:cubicBezTo>
                <a:cubicBezTo>
                  <a:pt x="1671" y="11066"/>
                  <a:pt x="2301" y="11066"/>
                  <a:pt x="3656" y="11051"/>
                </a:cubicBezTo>
                <a:cubicBezTo>
                  <a:pt x="3719" y="11051"/>
                  <a:pt x="5357" y="10988"/>
                  <a:pt x="5325" y="10988"/>
                </a:cubicBezTo>
                <a:cubicBezTo>
                  <a:pt x="5483" y="10988"/>
                  <a:pt x="7121" y="10956"/>
                  <a:pt x="7814" y="10956"/>
                </a:cubicBezTo>
                <a:close/>
                <a:moveTo>
                  <a:pt x="2427" y="0"/>
                </a:moveTo>
                <a:cubicBezTo>
                  <a:pt x="2324" y="0"/>
                  <a:pt x="2222" y="40"/>
                  <a:pt x="2143" y="118"/>
                </a:cubicBezTo>
                <a:lnTo>
                  <a:pt x="505" y="1820"/>
                </a:lnTo>
                <a:cubicBezTo>
                  <a:pt x="348" y="1977"/>
                  <a:pt x="348" y="2261"/>
                  <a:pt x="505" y="2418"/>
                </a:cubicBezTo>
                <a:lnTo>
                  <a:pt x="1608" y="3458"/>
                </a:lnTo>
                <a:cubicBezTo>
                  <a:pt x="726" y="4624"/>
                  <a:pt x="505" y="6104"/>
                  <a:pt x="946" y="7396"/>
                </a:cubicBezTo>
                <a:cubicBezTo>
                  <a:pt x="1356" y="8499"/>
                  <a:pt x="2175" y="9412"/>
                  <a:pt x="3277" y="9885"/>
                </a:cubicBezTo>
                <a:lnTo>
                  <a:pt x="3277" y="10263"/>
                </a:lnTo>
                <a:lnTo>
                  <a:pt x="1230" y="10294"/>
                </a:lnTo>
                <a:cubicBezTo>
                  <a:pt x="568" y="10294"/>
                  <a:pt x="1" y="10862"/>
                  <a:pt x="1" y="11555"/>
                </a:cubicBezTo>
                <a:lnTo>
                  <a:pt x="1" y="12374"/>
                </a:lnTo>
                <a:cubicBezTo>
                  <a:pt x="1" y="12594"/>
                  <a:pt x="222" y="12752"/>
                  <a:pt x="442" y="12752"/>
                </a:cubicBezTo>
                <a:lnTo>
                  <a:pt x="8728" y="12657"/>
                </a:lnTo>
                <a:cubicBezTo>
                  <a:pt x="8948" y="12657"/>
                  <a:pt x="9106" y="12437"/>
                  <a:pt x="9106" y="12216"/>
                </a:cubicBezTo>
                <a:lnTo>
                  <a:pt x="9106" y="11397"/>
                </a:lnTo>
                <a:cubicBezTo>
                  <a:pt x="9106" y="10704"/>
                  <a:pt x="8507" y="10168"/>
                  <a:pt x="7846" y="10168"/>
                </a:cubicBezTo>
                <a:lnTo>
                  <a:pt x="5798" y="10200"/>
                </a:lnTo>
                <a:lnTo>
                  <a:pt x="5798" y="10137"/>
                </a:lnTo>
                <a:cubicBezTo>
                  <a:pt x="7153" y="9853"/>
                  <a:pt x="8255" y="8908"/>
                  <a:pt x="8759" y="7680"/>
                </a:cubicBezTo>
                <a:lnTo>
                  <a:pt x="9452" y="7680"/>
                </a:lnTo>
                <a:cubicBezTo>
                  <a:pt x="9704" y="7680"/>
                  <a:pt x="9862" y="7491"/>
                  <a:pt x="9862" y="7270"/>
                </a:cubicBezTo>
                <a:cubicBezTo>
                  <a:pt x="9799" y="6986"/>
                  <a:pt x="9610" y="6797"/>
                  <a:pt x="9389" y="6797"/>
                </a:cubicBezTo>
                <a:lnTo>
                  <a:pt x="6901" y="6829"/>
                </a:lnTo>
                <a:cubicBezTo>
                  <a:pt x="6649" y="6829"/>
                  <a:pt x="6491" y="7018"/>
                  <a:pt x="6491" y="7270"/>
                </a:cubicBezTo>
                <a:cubicBezTo>
                  <a:pt x="6491" y="7491"/>
                  <a:pt x="6712" y="7648"/>
                  <a:pt x="6932" y="7648"/>
                </a:cubicBezTo>
                <a:lnTo>
                  <a:pt x="7751" y="7648"/>
                </a:lnTo>
                <a:cubicBezTo>
                  <a:pt x="7342" y="8436"/>
                  <a:pt x="6586" y="9003"/>
                  <a:pt x="5703" y="9223"/>
                </a:cubicBezTo>
                <a:lnTo>
                  <a:pt x="5703" y="8908"/>
                </a:lnTo>
                <a:cubicBezTo>
                  <a:pt x="5703" y="8341"/>
                  <a:pt x="5357" y="7900"/>
                  <a:pt x="4821" y="7711"/>
                </a:cubicBezTo>
                <a:cubicBezTo>
                  <a:pt x="4709" y="7680"/>
                  <a:pt x="4598" y="7665"/>
                  <a:pt x="4488" y="7665"/>
                </a:cubicBezTo>
                <a:cubicBezTo>
                  <a:pt x="3826" y="7665"/>
                  <a:pt x="3246" y="8205"/>
                  <a:pt x="3246" y="8908"/>
                </a:cubicBezTo>
                <a:cubicBezTo>
                  <a:pt x="1450" y="7932"/>
                  <a:pt x="1041" y="5569"/>
                  <a:pt x="2206" y="4025"/>
                </a:cubicBezTo>
                <a:lnTo>
                  <a:pt x="2206" y="4025"/>
                </a:lnTo>
                <a:lnTo>
                  <a:pt x="5010" y="6734"/>
                </a:lnTo>
                <a:cubicBezTo>
                  <a:pt x="5089" y="6813"/>
                  <a:pt x="5199" y="6853"/>
                  <a:pt x="5310" y="6853"/>
                </a:cubicBezTo>
                <a:cubicBezTo>
                  <a:pt x="5420" y="6853"/>
                  <a:pt x="5530" y="6813"/>
                  <a:pt x="5609" y="6734"/>
                </a:cubicBezTo>
                <a:lnTo>
                  <a:pt x="7216" y="5033"/>
                </a:lnTo>
                <a:cubicBezTo>
                  <a:pt x="7373" y="4876"/>
                  <a:pt x="7373" y="4624"/>
                  <a:pt x="7216" y="4466"/>
                </a:cubicBezTo>
                <a:lnTo>
                  <a:pt x="5955" y="3237"/>
                </a:lnTo>
                <a:lnTo>
                  <a:pt x="2710" y="118"/>
                </a:lnTo>
                <a:cubicBezTo>
                  <a:pt x="2632" y="40"/>
                  <a:pt x="2529" y="0"/>
                  <a:pt x="2427"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nvGrpSpPr>
          <p:cNvPr id="9639" name="Google Shape;9639;p110"/>
          <p:cNvGrpSpPr/>
          <p:nvPr/>
        </p:nvGrpSpPr>
        <p:grpSpPr>
          <a:xfrm>
            <a:off x="2213089" y="2045450"/>
            <a:ext cx="506988" cy="495724"/>
            <a:chOff x="-42430625" y="1949750"/>
            <a:chExt cx="322950" cy="315775"/>
          </a:xfrm>
        </p:grpSpPr>
        <p:sp>
          <p:nvSpPr>
            <p:cNvPr id="9640" name="Google Shape;9640;p110"/>
            <p:cNvSpPr/>
            <p:nvPr/>
          </p:nvSpPr>
          <p:spPr>
            <a:xfrm>
              <a:off x="-42353450" y="2065525"/>
              <a:ext cx="40975" cy="41000"/>
            </a:xfrm>
            <a:custGeom>
              <a:avLst/>
              <a:gdLst/>
              <a:ahLst/>
              <a:cxnLst/>
              <a:rect l="l" t="t" r="r" b="b"/>
              <a:pathLst>
                <a:path w="1639" h="1640" extrusionOk="0">
                  <a:moveTo>
                    <a:pt x="820" y="1"/>
                  </a:moveTo>
                  <a:cubicBezTo>
                    <a:pt x="379" y="1"/>
                    <a:pt x="1" y="379"/>
                    <a:pt x="1" y="820"/>
                  </a:cubicBezTo>
                  <a:cubicBezTo>
                    <a:pt x="1" y="1293"/>
                    <a:pt x="379" y="1639"/>
                    <a:pt x="820" y="1639"/>
                  </a:cubicBezTo>
                  <a:cubicBezTo>
                    <a:pt x="1261" y="1639"/>
                    <a:pt x="1639" y="1293"/>
                    <a:pt x="1639" y="820"/>
                  </a:cubicBezTo>
                  <a:cubicBezTo>
                    <a:pt x="1639" y="379"/>
                    <a:pt x="1261" y="1"/>
                    <a:pt x="820"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9641" name="Google Shape;9641;p110"/>
            <p:cNvSpPr/>
            <p:nvPr/>
          </p:nvSpPr>
          <p:spPr>
            <a:xfrm>
              <a:off x="-42289650" y="2065525"/>
              <a:ext cx="40975" cy="41000"/>
            </a:xfrm>
            <a:custGeom>
              <a:avLst/>
              <a:gdLst/>
              <a:ahLst/>
              <a:cxnLst/>
              <a:rect l="l" t="t" r="r" b="b"/>
              <a:pathLst>
                <a:path w="1639" h="1640" extrusionOk="0">
                  <a:moveTo>
                    <a:pt x="820" y="1"/>
                  </a:moveTo>
                  <a:cubicBezTo>
                    <a:pt x="379" y="1"/>
                    <a:pt x="1" y="379"/>
                    <a:pt x="1" y="820"/>
                  </a:cubicBezTo>
                  <a:cubicBezTo>
                    <a:pt x="1" y="1293"/>
                    <a:pt x="379" y="1639"/>
                    <a:pt x="820" y="1639"/>
                  </a:cubicBezTo>
                  <a:cubicBezTo>
                    <a:pt x="1292" y="1639"/>
                    <a:pt x="1639" y="1293"/>
                    <a:pt x="1639" y="820"/>
                  </a:cubicBezTo>
                  <a:cubicBezTo>
                    <a:pt x="1639" y="379"/>
                    <a:pt x="1292" y="1"/>
                    <a:pt x="820"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9642" name="Google Shape;9642;p110"/>
            <p:cNvSpPr/>
            <p:nvPr/>
          </p:nvSpPr>
          <p:spPr>
            <a:xfrm>
              <a:off x="-42226625" y="2065525"/>
              <a:ext cx="40975" cy="41000"/>
            </a:xfrm>
            <a:custGeom>
              <a:avLst/>
              <a:gdLst/>
              <a:ahLst/>
              <a:cxnLst/>
              <a:rect l="l" t="t" r="r" b="b"/>
              <a:pathLst>
                <a:path w="1639" h="1640" extrusionOk="0">
                  <a:moveTo>
                    <a:pt x="819" y="1"/>
                  </a:moveTo>
                  <a:cubicBezTo>
                    <a:pt x="378" y="1"/>
                    <a:pt x="0" y="379"/>
                    <a:pt x="0" y="820"/>
                  </a:cubicBezTo>
                  <a:cubicBezTo>
                    <a:pt x="0" y="1293"/>
                    <a:pt x="378" y="1639"/>
                    <a:pt x="819" y="1639"/>
                  </a:cubicBezTo>
                  <a:cubicBezTo>
                    <a:pt x="1292" y="1639"/>
                    <a:pt x="1638" y="1293"/>
                    <a:pt x="1638" y="820"/>
                  </a:cubicBezTo>
                  <a:cubicBezTo>
                    <a:pt x="1638" y="379"/>
                    <a:pt x="1292" y="1"/>
                    <a:pt x="819"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9643" name="Google Shape;9643;p110"/>
            <p:cNvSpPr/>
            <p:nvPr/>
          </p:nvSpPr>
          <p:spPr>
            <a:xfrm>
              <a:off x="-42430625" y="1949750"/>
              <a:ext cx="322950" cy="315775"/>
            </a:xfrm>
            <a:custGeom>
              <a:avLst/>
              <a:gdLst/>
              <a:ahLst/>
              <a:cxnLst/>
              <a:rect l="l" t="t" r="r" b="b"/>
              <a:pathLst>
                <a:path w="12918" h="12631" extrusionOk="0">
                  <a:moveTo>
                    <a:pt x="6427" y="757"/>
                  </a:moveTo>
                  <a:cubicBezTo>
                    <a:pt x="8790" y="757"/>
                    <a:pt x="10712" y="2017"/>
                    <a:pt x="11500" y="3655"/>
                  </a:cubicBezTo>
                  <a:cubicBezTo>
                    <a:pt x="12098" y="4821"/>
                    <a:pt x="12098" y="6081"/>
                    <a:pt x="11500" y="7215"/>
                  </a:cubicBezTo>
                  <a:cubicBezTo>
                    <a:pt x="10679" y="8857"/>
                    <a:pt x="8789" y="10067"/>
                    <a:pt x="6472" y="10067"/>
                  </a:cubicBezTo>
                  <a:cubicBezTo>
                    <a:pt x="6210" y="10067"/>
                    <a:pt x="5943" y="10051"/>
                    <a:pt x="5671" y="10019"/>
                  </a:cubicBezTo>
                  <a:cubicBezTo>
                    <a:pt x="5545" y="10019"/>
                    <a:pt x="5451" y="10051"/>
                    <a:pt x="5325" y="10145"/>
                  </a:cubicBezTo>
                  <a:lnTo>
                    <a:pt x="4285" y="11153"/>
                  </a:lnTo>
                  <a:lnTo>
                    <a:pt x="4285" y="9988"/>
                  </a:lnTo>
                  <a:cubicBezTo>
                    <a:pt x="4285" y="9830"/>
                    <a:pt x="4190" y="9673"/>
                    <a:pt x="4033" y="9578"/>
                  </a:cubicBezTo>
                  <a:cubicBezTo>
                    <a:pt x="3088" y="9200"/>
                    <a:pt x="2300" y="8602"/>
                    <a:pt x="1796" y="7908"/>
                  </a:cubicBezTo>
                  <a:cubicBezTo>
                    <a:pt x="0" y="5577"/>
                    <a:pt x="1071" y="2458"/>
                    <a:pt x="4033" y="1229"/>
                  </a:cubicBezTo>
                  <a:cubicBezTo>
                    <a:pt x="4726" y="914"/>
                    <a:pt x="5545" y="757"/>
                    <a:pt x="6427" y="757"/>
                  </a:cubicBezTo>
                  <a:close/>
                  <a:moveTo>
                    <a:pt x="6427" y="1"/>
                  </a:moveTo>
                  <a:cubicBezTo>
                    <a:pt x="2962" y="1"/>
                    <a:pt x="126" y="2427"/>
                    <a:pt x="126" y="5451"/>
                  </a:cubicBezTo>
                  <a:cubicBezTo>
                    <a:pt x="126" y="7593"/>
                    <a:pt x="1544" y="9389"/>
                    <a:pt x="3497" y="10303"/>
                  </a:cubicBezTo>
                  <a:lnTo>
                    <a:pt x="3497" y="12193"/>
                  </a:lnTo>
                  <a:cubicBezTo>
                    <a:pt x="3497" y="12319"/>
                    <a:pt x="3560" y="12477"/>
                    <a:pt x="3655" y="12540"/>
                  </a:cubicBezTo>
                  <a:cubicBezTo>
                    <a:pt x="3729" y="12599"/>
                    <a:pt x="3825" y="12631"/>
                    <a:pt x="3921" y="12631"/>
                  </a:cubicBezTo>
                  <a:cubicBezTo>
                    <a:pt x="4029" y="12631"/>
                    <a:pt x="4139" y="12591"/>
                    <a:pt x="4222" y="12508"/>
                  </a:cubicBezTo>
                  <a:lnTo>
                    <a:pt x="5829" y="10901"/>
                  </a:lnTo>
                  <a:cubicBezTo>
                    <a:pt x="6063" y="10925"/>
                    <a:pt x="6295" y="10936"/>
                    <a:pt x="6524" y="10936"/>
                  </a:cubicBezTo>
                  <a:cubicBezTo>
                    <a:pt x="9075" y="10936"/>
                    <a:pt x="11304" y="9530"/>
                    <a:pt x="12287" y="7593"/>
                  </a:cubicBezTo>
                  <a:cubicBezTo>
                    <a:pt x="12917" y="6239"/>
                    <a:pt x="12917" y="4663"/>
                    <a:pt x="12256" y="3309"/>
                  </a:cubicBezTo>
                  <a:cubicBezTo>
                    <a:pt x="11311" y="1324"/>
                    <a:pt x="9074" y="1"/>
                    <a:pt x="6427"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sp>
        <p:nvSpPr>
          <p:cNvPr id="9644" name="Google Shape;9644;p110"/>
          <p:cNvSpPr/>
          <p:nvPr/>
        </p:nvSpPr>
        <p:spPr>
          <a:xfrm>
            <a:off x="2292049" y="2642205"/>
            <a:ext cx="432812" cy="497099"/>
          </a:xfrm>
          <a:custGeom>
            <a:avLst/>
            <a:gdLst/>
            <a:ahLst/>
            <a:cxnLst/>
            <a:rect l="l" t="t" r="r" b="b"/>
            <a:pathLst>
              <a:path w="11028" h="12666" extrusionOk="0">
                <a:moveTo>
                  <a:pt x="8538" y="820"/>
                </a:moveTo>
                <a:lnTo>
                  <a:pt x="8538" y="2710"/>
                </a:lnTo>
                <a:lnTo>
                  <a:pt x="8412" y="2584"/>
                </a:lnTo>
                <a:cubicBezTo>
                  <a:pt x="8333" y="2505"/>
                  <a:pt x="8223" y="2466"/>
                  <a:pt x="8113" y="2466"/>
                </a:cubicBezTo>
                <a:cubicBezTo>
                  <a:pt x="8003" y="2466"/>
                  <a:pt x="7892" y="2505"/>
                  <a:pt x="7814" y="2584"/>
                </a:cubicBezTo>
                <a:lnTo>
                  <a:pt x="7719" y="2710"/>
                </a:lnTo>
                <a:lnTo>
                  <a:pt x="7719" y="820"/>
                </a:lnTo>
                <a:close/>
                <a:moveTo>
                  <a:pt x="10177" y="820"/>
                </a:moveTo>
                <a:lnTo>
                  <a:pt x="10177" y="9357"/>
                </a:lnTo>
                <a:lnTo>
                  <a:pt x="2458" y="9357"/>
                </a:lnTo>
                <a:lnTo>
                  <a:pt x="2458" y="820"/>
                </a:lnTo>
                <a:lnTo>
                  <a:pt x="6869" y="820"/>
                </a:lnTo>
                <a:lnTo>
                  <a:pt x="6869" y="3687"/>
                </a:lnTo>
                <a:cubicBezTo>
                  <a:pt x="6869" y="3813"/>
                  <a:pt x="6932" y="3970"/>
                  <a:pt x="7026" y="4033"/>
                </a:cubicBezTo>
                <a:cubicBezTo>
                  <a:pt x="7100" y="4093"/>
                  <a:pt x="7196" y="4124"/>
                  <a:pt x="7292" y="4124"/>
                </a:cubicBezTo>
                <a:cubicBezTo>
                  <a:pt x="7400" y="4124"/>
                  <a:pt x="7510" y="4085"/>
                  <a:pt x="7593" y="4002"/>
                </a:cubicBezTo>
                <a:lnTo>
                  <a:pt x="8129" y="3466"/>
                </a:lnTo>
                <a:lnTo>
                  <a:pt x="8664" y="3970"/>
                </a:lnTo>
                <a:cubicBezTo>
                  <a:pt x="8719" y="4024"/>
                  <a:pt x="8844" y="4102"/>
                  <a:pt x="8958" y="4102"/>
                </a:cubicBezTo>
                <a:cubicBezTo>
                  <a:pt x="8976" y="4102"/>
                  <a:pt x="8994" y="4100"/>
                  <a:pt x="9011" y="4096"/>
                </a:cubicBezTo>
                <a:cubicBezTo>
                  <a:pt x="9200" y="4033"/>
                  <a:pt x="9357" y="3876"/>
                  <a:pt x="9357" y="3687"/>
                </a:cubicBezTo>
                <a:lnTo>
                  <a:pt x="9357" y="820"/>
                </a:lnTo>
                <a:close/>
                <a:moveTo>
                  <a:pt x="1639" y="851"/>
                </a:moveTo>
                <a:lnTo>
                  <a:pt x="1639" y="9326"/>
                </a:lnTo>
                <a:cubicBezTo>
                  <a:pt x="1355" y="9326"/>
                  <a:pt x="1103" y="9389"/>
                  <a:pt x="820" y="9546"/>
                </a:cubicBezTo>
                <a:lnTo>
                  <a:pt x="820" y="2017"/>
                </a:lnTo>
                <a:cubicBezTo>
                  <a:pt x="820" y="1481"/>
                  <a:pt x="1166" y="1040"/>
                  <a:pt x="1639" y="851"/>
                </a:cubicBezTo>
                <a:close/>
                <a:moveTo>
                  <a:pt x="10145" y="10177"/>
                </a:moveTo>
                <a:lnTo>
                  <a:pt x="10145" y="11846"/>
                </a:lnTo>
                <a:lnTo>
                  <a:pt x="1639" y="11846"/>
                </a:lnTo>
                <a:cubicBezTo>
                  <a:pt x="1166" y="11846"/>
                  <a:pt x="820" y="11500"/>
                  <a:pt x="820" y="11027"/>
                </a:cubicBezTo>
                <a:cubicBezTo>
                  <a:pt x="820" y="10555"/>
                  <a:pt x="1166" y="10177"/>
                  <a:pt x="1639" y="10177"/>
                </a:cubicBezTo>
                <a:close/>
                <a:moveTo>
                  <a:pt x="1985" y="0"/>
                </a:moveTo>
                <a:cubicBezTo>
                  <a:pt x="851" y="32"/>
                  <a:pt x="0" y="946"/>
                  <a:pt x="0" y="2017"/>
                </a:cubicBezTo>
                <a:lnTo>
                  <a:pt x="0" y="11027"/>
                </a:lnTo>
                <a:cubicBezTo>
                  <a:pt x="0" y="11909"/>
                  <a:pt x="725" y="12665"/>
                  <a:pt x="1639" y="12665"/>
                </a:cubicBezTo>
                <a:lnTo>
                  <a:pt x="10618" y="12665"/>
                </a:lnTo>
                <a:cubicBezTo>
                  <a:pt x="10870" y="12665"/>
                  <a:pt x="11027" y="12476"/>
                  <a:pt x="11027" y="12224"/>
                </a:cubicBezTo>
                <a:lnTo>
                  <a:pt x="11027" y="379"/>
                </a:lnTo>
                <a:cubicBezTo>
                  <a:pt x="11027" y="189"/>
                  <a:pt x="10807" y="0"/>
                  <a:pt x="10586"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9645" name="Google Shape;9645;p110"/>
          <p:cNvSpPr/>
          <p:nvPr/>
        </p:nvSpPr>
        <p:spPr>
          <a:xfrm>
            <a:off x="2262013" y="3218797"/>
            <a:ext cx="493409" cy="496863"/>
          </a:xfrm>
          <a:custGeom>
            <a:avLst/>
            <a:gdLst/>
            <a:ahLst/>
            <a:cxnLst/>
            <a:rect l="l" t="t" r="r" b="b"/>
            <a:pathLst>
              <a:path w="12572" h="12660" extrusionOk="0">
                <a:moveTo>
                  <a:pt x="2773" y="840"/>
                </a:moveTo>
                <a:cubicBezTo>
                  <a:pt x="3025" y="840"/>
                  <a:pt x="3183" y="1061"/>
                  <a:pt x="3183" y="1250"/>
                </a:cubicBezTo>
                <a:lnTo>
                  <a:pt x="3183" y="2888"/>
                </a:lnTo>
                <a:cubicBezTo>
                  <a:pt x="3183" y="3140"/>
                  <a:pt x="2962" y="3298"/>
                  <a:pt x="2773" y="3298"/>
                </a:cubicBezTo>
                <a:cubicBezTo>
                  <a:pt x="2553" y="3298"/>
                  <a:pt x="2395" y="3109"/>
                  <a:pt x="2332" y="2888"/>
                </a:cubicBezTo>
                <a:lnTo>
                  <a:pt x="2332" y="1250"/>
                </a:lnTo>
                <a:cubicBezTo>
                  <a:pt x="2332" y="998"/>
                  <a:pt x="2553" y="840"/>
                  <a:pt x="2773" y="840"/>
                </a:cubicBezTo>
                <a:close/>
                <a:moveTo>
                  <a:pt x="9673" y="840"/>
                </a:moveTo>
                <a:cubicBezTo>
                  <a:pt x="9925" y="840"/>
                  <a:pt x="10082" y="1061"/>
                  <a:pt x="10082" y="1250"/>
                </a:cubicBezTo>
                <a:lnTo>
                  <a:pt x="10082" y="2888"/>
                </a:lnTo>
                <a:cubicBezTo>
                  <a:pt x="10082" y="3140"/>
                  <a:pt x="9862" y="3298"/>
                  <a:pt x="9673" y="3298"/>
                </a:cubicBezTo>
                <a:cubicBezTo>
                  <a:pt x="9452" y="3298"/>
                  <a:pt x="9295" y="3109"/>
                  <a:pt x="9232" y="2888"/>
                </a:cubicBezTo>
                <a:lnTo>
                  <a:pt x="9232" y="1250"/>
                </a:lnTo>
                <a:cubicBezTo>
                  <a:pt x="9232" y="998"/>
                  <a:pt x="9452" y="840"/>
                  <a:pt x="9673" y="840"/>
                </a:cubicBezTo>
                <a:close/>
                <a:moveTo>
                  <a:pt x="11374" y="2479"/>
                </a:moveTo>
                <a:cubicBezTo>
                  <a:pt x="11469" y="2479"/>
                  <a:pt x="11595" y="2542"/>
                  <a:pt x="11689" y="2668"/>
                </a:cubicBezTo>
                <a:cubicBezTo>
                  <a:pt x="11752" y="2794"/>
                  <a:pt x="11721" y="2857"/>
                  <a:pt x="11721" y="2983"/>
                </a:cubicBezTo>
                <a:lnTo>
                  <a:pt x="11721" y="4936"/>
                </a:lnTo>
                <a:lnTo>
                  <a:pt x="694" y="4936"/>
                </a:lnTo>
                <a:lnTo>
                  <a:pt x="694" y="2983"/>
                </a:lnTo>
                <a:cubicBezTo>
                  <a:pt x="694" y="2857"/>
                  <a:pt x="694" y="2794"/>
                  <a:pt x="725" y="2668"/>
                </a:cubicBezTo>
                <a:cubicBezTo>
                  <a:pt x="820" y="2542"/>
                  <a:pt x="946" y="2479"/>
                  <a:pt x="1040" y="2479"/>
                </a:cubicBezTo>
                <a:lnTo>
                  <a:pt x="1513" y="2479"/>
                </a:lnTo>
                <a:lnTo>
                  <a:pt x="1513" y="2888"/>
                </a:lnTo>
                <a:cubicBezTo>
                  <a:pt x="1513" y="3614"/>
                  <a:pt x="2132" y="4133"/>
                  <a:pt x="2803" y="4133"/>
                </a:cubicBezTo>
                <a:cubicBezTo>
                  <a:pt x="2919" y="4133"/>
                  <a:pt x="3036" y="4118"/>
                  <a:pt x="3151" y="4085"/>
                </a:cubicBezTo>
                <a:cubicBezTo>
                  <a:pt x="3655" y="3928"/>
                  <a:pt x="4002" y="3455"/>
                  <a:pt x="4002" y="2888"/>
                </a:cubicBezTo>
                <a:lnTo>
                  <a:pt x="4002" y="2479"/>
                </a:lnTo>
                <a:lnTo>
                  <a:pt x="8413" y="2479"/>
                </a:lnTo>
                <a:lnTo>
                  <a:pt x="8413" y="2888"/>
                </a:lnTo>
                <a:cubicBezTo>
                  <a:pt x="8413" y="3455"/>
                  <a:pt x="8759" y="3928"/>
                  <a:pt x="9263" y="4085"/>
                </a:cubicBezTo>
                <a:cubicBezTo>
                  <a:pt x="9379" y="4118"/>
                  <a:pt x="9496" y="4133"/>
                  <a:pt x="9612" y="4133"/>
                </a:cubicBezTo>
                <a:cubicBezTo>
                  <a:pt x="10282" y="4133"/>
                  <a:pt x="10902" y="3614"/>
                  <a:pt x="10902" y="2888"/>
                </a:cubicBezTo>
                <a:lnTo>
                  <a:pt x="10902" y="2479"/>
                </a:lnTo>
                <a:close/>
                <a:moveTo>
                  <a:pt x="11721" y="5787"/>
                </a:moveTo>
                <a:lnTo>
                  <a:pt x="11721" y="11457"/>
                </a:lnTo>
                <a:cubicBezTo>
                  <a:pt x="11721" y="11678"/>
                  <a:pt x="11532" y="11835"/>
                  <a:pt x="11280" y="11867"/>
                </a:cubicBezTo>
                <a:lnTo>
                  <a:pt x="1072" y="11867"/>
                </a:lnTo>
                <a:cubicBezTo>
                  <a:pt x="851" y="11867"/>
                  <a:pt x="694" y="11678"/>
                  <a:pt x="694" y="11457"/>
                </a:cubicBezTo>
                <a:lnTo>
                  <a:pt x="694" y="5787"/>
                </a:lnTo>
                <a:close/>
                <a:moveTo>
                  <a:pt x="2825" y="1"/>
                </a:moveTo>
                <a:cubicBezTo>
                  <a:pt x="2180" y="1"/>
                  <a:pt x="1608" y="526"/>
                  <a:pt x="1608" y="1250"/>
                </a:cubicBezTo>
                <a:lnTo>
                  <a:pt x="1608" y="1691"/>
                </a:lnTo>
                <a:lnTo>
                  <a:pt x="1135" y="1691"/>
                </a:lnTo>
                <a:cubicBezTo>
                  <a:pt x="851" y="1691"/>
                  <a:pt x="568" y="1785"/>
                  <a:pt x="379" y="2006"/>
                </a:cubicBezTo>
                <a:cubicBezTo>
                  <a:pt x="158" y="2227"/>
                  <a:pt x="1" y="2542"/>
                  <a:pt x="1" y="2888"/>
                </a:cubicBezTo>
                <a:lnTo>
                  <a:pt x="1" y="11457"/>
                </a:lnTo>
                <a:cubicBezTo>
                  <a:pt x="1" y="12087"/>
                  <a:pt x="486" y="12659"/>
                  <a:pt x="1102" y="12659"/>
                </a:cubicBezTo>
                <a:cubicBezTo>
                  <a:pt x="1134" y="12659"/>
                  <a:pt x="1166" y="12658"/>
                  <a:pt x="1198" y="12655"/>
                </a:cubicBezTo>
                <a:lnTo>
                  <a:pt x="11311" y="12655"/>
                </a:lnTo>
                <a:cubicBezTo>
                  <a:pt x="12004" y="12655"/>
                  <a:pt x="12571" y="12119"/>
                  <a:pt x="12571" y="11457"/>
                </a:cubicBezTo>
                <a:lnTo>
                  <a:pt x="12571" y="2888"/>
                </a:lnTo>
                <a:cubicBezTo>
                  <a:pt x="12571" y="2542"/>
                  <a:pt x="12414" y="2227"/>
                  <a:pt x="12193" y="2006"/>
                </a:cubicBezTo>
                <a:cubicBezTo>
                  <a:pt x="12004" y="1785"/>
                  <a:pt x="11721" y="1691"/>
                  <a:pt x="11437" y="1691"/>
                </a:cubicBezTo>
                <a:lnTo>
                  <a:pt x="10965" y="1691"/>
                </a:lnTo>
                <a:lnTo>
                  <a:pt x="10965" y="1250"/>
                </a:lnTo>
                <a:cubicBezTo>
                  <a:pt x="10965" y="526"/>
                  <a:pt x="10392" y="1"/>
                  <a:pt x="9747" y="1"/>
                </a:cubicBezTo>
                <a:cubicBezTo>
                  <a:pt x="9577" y="1"/>
                  <a:pt x="9402" y="37"/>
                  <a:pt x="9232" y="116"/>
                </a:cubicBezTo>
                <a:cubicBezTo>
                  <a:pt x="8759" y="305"/>
                  <a:pt x="8507" y="746"/>
                  <a:pt x="8507" y="1250"/>
                </a:cubicBezTo>
                <a:lnTo>
                  <a:pt x="8507" y="1691"/>
                </a:lnTo>
                <a:lnTo>
                  <a:pt x="4096" y="1691"/>
                </a:lnTo>
                <a:lnTo>
                  <a:pt x="4096" y="1250"/>
                </a:lnTo>
                <a:cubicBezTo>
                  <a:pt x="4096" y="746"/>
                  <a:pt x="3781" y="305"/>
                  <a:pt x="3340" y="116"/>
                </a:cubicBezTo>
                <a:cubicBezTo>
                  <a:pt x="3170" y="37"/>
                  <a:pt x="2995" y="1"/>
                  <a:pt x="2825"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9646" name="Google Shape;9646;p110"/>
          <p:cNvSpPr/>
          <p:nvPr/>
        </p:nvSpPr>
        <p:spPr>
          <a:xfrm>
            <a:off x="5222695" y="2091102"/>
            <a:ext cx="498355" cy="453809"/>
          </a:xfrm>
          <a:custGeom>
            <a:avLst/>
            <a:gdLst/>
            <a:ahLst/>
            <a:cxnLst/>
            <a:rect l="l" t="t" r="r" b="b"/>
            <a:pathLst>
              <a:path w="12698" h="11563" extrusionOk="0">
                <a:moveTo>
                  <a:pt x="2490" y="820"/>
                </a:moveTo>
                <a:cubicBezTo>
                  <a:pt x="3529" y="914"/>
                  <a:pt x="4600" y="1292"/>
                  <a:pt x="5483" y="2017"/>
                </a:cubicBezTo>
                <a:lnTo>
                  <a:pt x="5798" y="2237"/>
                </a:lnTo>
                <a:lnTo>
                  <a:pt x="5798" y="10334"/>
                </a:lnTo>
                <a:lnTo>
                  <a:pt x="5766" y="10334"/>
                </a:lnTo>
                <a:cubicBezTo>
                  <a:pt x="4789" y="9609"/>
                  <a:pt x="3655" y="9168"/>
                  <a:pt x="2490" y="9105"/>
                </a:cubicBezTo>
                <a:lnTo>
                  <a:pt x="2490" y="820"/>
                </a:lnTo>
                <a:close/>
                <a:moveTo>
                  <a:pt x="9925" y="883"/>
                </a:moveTo>
                <a:lnTo>
                  <a:pt x="9925" y="9137"/>
                </a:lnTo>
                <a:cubicBezTo>
                  <a:pt x="8728" y="9200"/>
                  <a:pt x="7593" y="9609"/>
                  <a:pt x="6617" y="10334"/>
                </a:cubicBezTo>
                <a:lnTo>
                  <a:pt x="6617" y="2300"/>
                </a:lnTo>
                <a:lnTo>
                  <a:pt x="6932" y="2048"/>
                </a:lnTo>
                <a:cubicBezTo>
                  <a:pt x="7782" y="1355"/>
                  <a:pt x="8854" y="946"/>
                  <a:pt x="9925" y="883"/>
                </a:cubicBezTo>
                <a:close/>
                <a:moveTo>
                  <a:pt x="1702" y="2458"/>
                </a:moveTo>
                <a:lnTo>
                  <a:pt x="1702" y="9483"/>
                </a:lnTo>
                <a:cubicBezTo>
                  <a:pt x="1702" y="9735"/>
                  <a:pt x="1891" y="9924"/>
                  <a:pt x="2080" y="9924"/>
                </a:cubicBezTo>
                <a:cubicBezTo>
                  <a:pt x="3057" y="9924"/>
                  <a:pt x="4096" y="10208"/>
                  <a:pt x="4978" y="10744"/>
                </a:cubicBezTo>
                <a:lnTo>
                  <a:pt x="1261" y="10744"/>
                </a:lnTo>
                <a:cubicBezTo>
                  <a:pt x="1009" y="10744"/>
                  <a:pt x="851" y="10555"/>
                  <a:pt x="851" y="10334"/>
                </a:cubicBezTo>
                <a:lnTo>
                  <a:pt x="851" y="2867"/>
                </a:lnTo>
                <a:cubicBezTo>
                  <a:pt x="851" y="2647"/>
                  <a:pt x="1040" y="2489"/>
                  <a:pt x="1261" y="2458"/>
                </a:cubicBezTo>
                <a:close/>
                <a:moveTo>
                  <a:pt x="11406" y="2458"/>
                </a:moveTo>
                <a:cubicBezTo>
                  <a:pt x="11658" y="2458"/>
                  <a:pt x="11815" y="2647"/>
                  <a:pt x="11847" y="2867"/>
                </a:cubicBezTo>
                <a:lnTo>
                  <a:pt x="11847" y="10334"/>
                </a:lnTo>
                <a:cubicBezTo>
                  <a:pt x="11847" y="10555"/>
                  <a:pt x="11658" y="10712"/>
                  <a:pt x="11406" y="10744"/>
                </a:cubicBezTo>
                <a:lnTo>
                  <a:pt x="7436" y="10744"/>
                </a:lnTo>
                <a:cubicBezTo>
                  <a:pt x="8255" y="10239"/>
                  <a:pt x="9295" y="9924"/>
                  <a:pt x="10303" y="9924"/>
                </a:cubicBezTo>
                <a:cubicBezTo>
                  <a:pt x="10555" y="9924"/>
                  <a:pt x="10712" y="9735"/>
                  <a:pt x="10712" y="9483"/>
                </a:cubicBezTo>
                <a:lnTo>
                  <a:pt x="10712" y="2458"/>
                </a:lnTo>
                <a:close/>
                <a:moveTo>
                  <a:pt x="2080" y="0"/>
                </a:moveTo>
                <a:cubicBezTo>
                  <a:pt x="1828" y="0"/>
                  <a:pt x="1670" y="189"/>
                  <a:pt x="1670" y="410"/>
                </a:cubicBezTo>
                <a:lnTo>
                  <a:pt x="1670" y="1670"/>
                </a:lnTo>
                <a:lnTo>
                  <a:pt x="1261" y="1670"/>
                </a:lnTo>
                <a:cubicBezTo>
                  <a:pt x="568" y="1670"/>
                  <a:pt x="1" y="2206"/>
                  <a:pt x="32" y="2930"/>
                </a:cubicBezTo>
                <a:lnTo>
                  <a:pt x="32" y="10334"/>
                </a:lnTo>
                <a:cubicBezTo>
                  <a:pt x="32" y="10996"/>
                  <a:pt x="568" y="11563"/>
                  <a:pt x="1261" y="11563"/>
                </a:cubicBezTo>
                <a:lnTo>
                  <a:pt x="11437" y="11563"/>
                </a:lnTo>
                <a:cubicBezTo>
                  <a:pt x="12130" y="11563"/>
                  <a:pt x="12697" y="11027"/>
                  <a:pt x="12697" y="10334"/>
                </a:cubicBezTo>
                <a:lnTo>
                  <a:pt x="12697" y="2867"/>
                </a:lnTo>
                <a:cubicBezTo>
                  <a:pt x="12666" y="2206"/>
                  <a:pt x="12130" y="1670"/>
                  <a:pt x="11437" y="1670"/>
                </a:cubicBezTo>
                <a:lnTo>
                  <a:pt x="10744" y="1670"/>
                </a:lnTo>
                <a:lnTo>
                  <a:pt x="10744" y="410"/>
                </a:lnTo>
                <a:cubicBezTo>
                  <a:pt x="10744" y="158"/>
                  <a:pt x="10555" y="0"/>
                  <a:pt x="10334" y="0"/>
                </a:cubicBezTo>
                <a:cubicBezTo>
                  <a:pt x="8980" y="0"/>
                  <a:pt x="7562" y="473"/>
                  <a:pt x="6396" y="1387"/>
                </a:cubicBezTo>
                <a:lnTo>
                  <a:pt x="6207" y="1544"/>
                </a:lnTo>
                <a:lnTo>
                  <a:pt x="6018" y="1387"/>
                </a:lnTo>
                <a:cubicBezTo>
                  <a:pt x="4915" y="473"/>
                  <a:pt x="3498" y="0"/>
                  <a:pt x="2080"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9647" name="Google Shape;9647;p110"/>
          <p:cNvSpPr/>
          <p:nvPr/>
        </p:nvSpPr>
        <p:spPr>
          <a:xfrm>
            <a:off x="5248555" y="2676819"/>
            <a:ext cx="505772" cy="498355"/>
          </a:xfrm>
          <a:custGeom>
            <a:avLst/>
            <a:gdLst/>
            <a:ahLst/>
            <a:cxnLst/>
            <a:rect l="l" t="t" r="r" b="b"/>
            <a:pathLst>
              <a:path w="12887" h="12698" extrusionOk="0">
                <a:moveTo>
                  <a:pt x="7814" y="3309"/>
                </a:moveTo>
                <a:cubicBezTo>
                  <a:pt x="7782" y="3592"/>
                  <a:pt x="7782" y="3907"/>
                  <a:pt x="7814" y="4159"/>
                </a:cubicBezTo>
                <a:lnTo>
                  <a:pt x="4947" y="4159"/>
                </a:lnTo>
                <a:cubicBezTo>
                  <a:pt x="4978" y="3876"/>
                  <a:pt x="4978" y="3592"/>
                  <a:pt x="4947" y="3309"/>
                </a:cubicBezTo>
                <a:close/>
                <a:moveTo>
                  <a:pt x="9830" y="788"/>
                </a:moveTo>
                <a:cubicBezTo>
                  <a:pt x="10082" y="788"/>
                  <a:pt x="10366" y="820"/>
                  <a:pt x="10618" y="946"/>
                </a:cubicBezTo>
                <a:cubicBezTo>
                  <a:pt x="11721" y="1481"/>
                  <a:pt x="12193" y="2678"/>
                  <a:pt x="11752" y="3718"/>
                </a:cubicBezTo>
                <a:cubicBezTo>
                  <a:pt x="11500" y="4254"/>
                  <a:pt x="11027" y="4695"/>
                  <a:pt x="10460" y="4884"/>
                </a:cubicBezTo>
                <a:cubicBezTo>
                  <a:pt x="10261" y="4950"/>
                  <a:pt x="10035" y="4990"/>
                  <a:pt x="9816" y="4990"/>
                </a:cubicBezTo>
                <a:cubicBezTo>
                  <a:pt x="9619" y="4990"/>
                  <a:pt x="9427" y="4958"/>
                  <a:pt x="9263" y="4884"/>
                </a:cubicBezTo>
                <a:cubicBezTo>
                  <a:pt x="9074" y="4821"/>
                  <a:pt x="8885" y="4663"/>
                  <a:pt x="8791" y="4474"/>
                </a:cubicBezTo>
                <a:cubicBezTo>
                  <a:pt x="8791" y="4411"/>
                  <a:pt x="8759" y="4380"/>
                  <a:pt x="8728" y="4348"/>
                </a:cubicBezTo>
                <a:cubicBezTo>
                  <a:pt x="8570" y="3970"/>
                  <a:pt x="8570" y="3561"/>
                  <a:pt x="8728" y="3183"/>
                </a:cubicBezTo>
                <a:cubicBezTo>
                  <a:pt x="8759" y="3151"/>
                  <a:pt x="8759" y="3120"/>
                  <a:pt x="8791" y="3088"/>
                </a:cubicBezTo>
                <a:cubicBezTo>
                  <a:pt x="8980" y="2710"/>
                  <a:pt x="9358" y="2521"/>
                  <a:pt x="9830" y="2521"/>
                </a:cubicBezTo>
                <a:cubicBezTo>
                  <a:pt x="9956" y="2521"/>
                  <a:pt x="10019" y="2552"/>
                  <a:pt x="10082" y="2615"/>
                </a:cubicBezTo>
                <a:cubicBezTo>
                  <a:pt x="10240" y="2773"/>
                  <a:pt x="10240" y="3025"/>
                  <a:pt x="10145" y="3183"/>
                </a:cubicBezTo>
                <a:cubicBezTo>
                  <a:pt x="10051" y="3309"/>
                  <a:pt x="9956" y="3340"/>
                  <a:pt x="9830" y="3340"/>
                </a:cubicBezTo>
                <a:cubicBezTo>
                  <a:pt x="9578" y="3340"/>
                  <a:pt x="9389" y="3561"/>
                  <a:pt x="9389" y="3781"/>
                </a:cubicBezTo>
                <a:cubicBezTo>
                  <a:pt x="9389" y="4033"/>
                  <a:pt x="9578" y="4222"/>
                  <a:pt x="9830" y="4222"/>
                </a:cubicBezTo>
                <a:cubicBezTo>
                  <a:pt x="10555" y="4222"/>
                  <a:pt x="11059" y="3655"/>
                  <a:pt x="11059" y="2962"/>
                </a:cubicBezTo>
                <a:cubicBezTo>
                  <a:pt x="11059" y="2395"/>
                  <a:pt x="10681" y="1891"/>
                  <a:pt x="10114" y="1733"/>
                </a:cubicBezTo>
                <a:cubicBezTo>
                  <a:pt x="10034" y="1721"/>
                  <a:pt x="9933" y="1712"/>
                  <a:pt x="9817" y="1712"/>
                </a:cubicBezTo>
                <a:cubicBezTo>
                  <a:pt x="9339" y="1712"/>
                  <a:pt x="8611" y="1861"/>
                  <a:pt x="8129" y="2521"/>
                </a:cubicBezTo>
                <a:lnTo>
                  <a:pt x="4600" y="2521"/>
                </a:lnTo>
                <a:cubicBezTo>
                  <a:pt x="4191" y="1985"/>
                  <a:pt x="3592" y="1702"/>
                  <a:pt x="2931" y="1702"/>
                </a:cubicBezTo>
                <a:cubicBezTo>
                  <a:pt x="2395" y="1702"/>
                  <a:pt x="1986" y="1985"/>
                  <a:pt x="1796" y="2458"/>
                </a:cubicBezTo>
                <a:cubicBezTo>
                  <a:pt x="1481" y="3246"/>
                  <a:pt x="1954" y="4191"/>
                  <a:pt x="2931" y="4191"/>
                </a:cubicBezTo>
                <a:cubicBezTo>
                  <a:pt x="3183" y="4191"/>
                  <a:pt x="3340" y="3970"/>
                  <a:pt x="3340" y="3750"/>
                </a:cubicBezTo>
                <a:cubicBezTo>
                  <a:pt x="3340" y="3498"/>
                  <a:pt x="3120" y="3309"/>
                  <a:pt x="2931" y="3309"/>
                </a:cubicBezTo>
                <a:cubicBezTo>
                  <a:pt x="2805" y="3309"/>
                  <a:pt x="2742" y="3277"/>
                  <a:pt x="2647" y="3246"/>
                </a:cubicBezTo>
                <a:cubicBezTo>
                  <a:pt x="2458" y="3057"/>
                  <a:pt x="2490" y="2615"/>
                  <a:pt x="2805" y="2521"/>
                </a:cubicBezTo>
                <a:cubicBezTo>
                  <a:pt x="2836" y="2513"/>
                  <a:pt x="2879" y="2509"/>
                  <a:pt x="2931" y="2509"/>
                </a:cubicBezTo>
                <a:cubicBezTo>
                  <a:pt x="3084" y="2509"/>
                  <a:pt x="3309" y="2545"/>
                  <a:pt x="3498" y="2615"/>
                </a:cubicBezTo>
                <a:cubicBezTo>
                  <a:pt x="3687" y="2678"/>
                  <a:pt x="3876" y="2836"/>
                  <a:pt x="3970" y="3025"/>
                </a:cubicBezTo>
                <a:cubicBezTo>
                  <a:pt x="3970" y="3088"/>
                  <a:pt x="4002" y="3120"/>
                  <a:pt x="4033" y="3151"/>
                </a:cubicBezTo>
                <a:cubicBezTo>
                  <a:pt x="4191" y="3498"/>
                  <a:pt x="4191" y="3939"/>
                  <a:pt x="4033" y="4285"/>
                </a:cubicBezTo>
                <a:cubicBezTo>
                  <a:pt x="4002" y="4348"/>
                  <a:pt x="4002" y="4380"/>
                  <a:pt x="3970" y="4411"/>
                </a:cubicBezTo>
                <a:cubicBezTo>
                  <a:pt x="3750" y="4726"/>
                  <a:pt x="3403" y="4978"/>
                  <a:pt x="2931" y="4978"/>
                </a:cubicBezTo>
                <a:cubicBezTo>
                  <a:pt x="1796" y="4978"/>
                  <a:pt x="851" y="4033"/>
                  <a:pt x="851" y="2899"/>
                </a:cubicBezTo>
                <a:cubicBezTo>
                  <a:pt x="851" y="1733"/>
                  <a:pt x="1765" y="851"/>
                  <a:pt x="2931" y="788"/>
                </a:cubicBezTo>
                <a:close/>
                <a:moveTo>
                  <a:pt x="7751" y="4915"/>
                </a:moveTo>
                <a:lnTo>
                  <a:pt x="7751" y="10618"/>
                </a:lnTo>
                <a:cubicBezTo>
                  <a:pt x="7751" y="10838"/>
                  <a:pt x="7940" y="11027"/>
                  <a:pt x="8129" y="11027"/>
                </a:cubicBezTo>
                <a:cubicBezTo>
                  <a:pt x="8318" y="11027"/>
                  <a:pt x="8570" y="10838"/>
                  <a:pt x="8570" y="10618"/>
                </a:cubicBezTo>
                <a:lnTo>
                  <a:pt x="8570" y="5419"/>
                </a:lnTo>
                <a:cubicBezTo>
                  <a:pt x="8791" y="5577"/>
                  <a:pt x="9074" y="5671"/>
                  <a:pt x="9389" y="5766"/>
                </a:cubicBezTo>
                <a:lnTo>
                  <a:pt x="9389" y="11878"/>
                </a:lnTo>
                <a:lnTo>
                  <a:pt x="3372" y="11878"/>
                </a:lnTo>
                <a:lnTo>
                  <a:pt x="3372" y="5766"/>
                </a:lnTo>
                <a:cubicBezTo>
                  <a:pt x="3687" y="5734"/>
                  <a:pt x="3970" y="5608"/>
                  <a:pt x="4191" y="5419"/>
                </a:cubicBezTo>
                <a:lnTo>
                  <a:pt x="4191" y="10618"/>
                </a:lnTo>
                <a:cubicBezTo>
                  <a:pt x="4191" y="10838"/>
                  <a:pt x="4380" y="11027"/>
                  <a:pt x="4600" y="11027"/>
                </a:cubicBezTo>
                <a:cubicBezTo>
                  <a:pt x="4821" y="11027"/>
                  <a:pt x="5010" y="10838"/>
                  <a:pt x="5010" y="10618"/>
                </a:cubicBezTo>
                <a:lnTo>
                  <a:pt x="5010" y="4915"/>
                </a:lnTo>
                <a:lnTo>
                  <a:pt x="5861" y="4915"/>
                </a:lnTo>
                <a:lnTo>
                  <a:pt x="5861" y="10618"/>
                </a:lnTo>
                <a:cubicBezTo>
                  <a:pt x="5861" y="10838"/>
                  <a:pt x="6050" y="11027"/>
                  <a:pt x="6239" y="11027"/>
                </a:cubicBezTo>
                <a:cubicBezTo>
                  <a:pt x="6428" y="11027"/>
                  <a:pt x="6648" y="10838"/>
                  <a:pt x="6648" y="10618"/>
                </a:cubicBezTo>
                <a:lnTo>
                  <a:pt x="6648" y="4915"/>
                </a:lnTo>
                <a:close/>
                <a:moveTo>
                  <a:pt x="2931" y="1"/>
                </a:moveTo>
                <a:cubicBezTo>
                  <a:pt x="1324" y="1"/>
                  <a:pt x="1" y="1324"/>
                  <a:pt x="1" y="2899"/>
                </a:cubicBezTo>
                <a:cubicBezTo>
                  <a:pt x="1" y="4348"/>
                  <a:pt x="1072" y="5514"/>
                  <a:pt x="2490" y="5766"/>
                </a:cubicBezTo>
                <a:lnTo>
                  <a:pt x="2490" y="12256"/>
                </a:lnTo>
                <a:cubicBezTo>
                  <a:pt x="2490" y="12508"/>
                  <a:pt x="2679" y="12697"/>
                  <a:pt x="2931" y="12697"/>
                </a:cubicBezTo>
                <a:lnTo>
                  <a:pt x="9830" y="12697"/>
                </a:lnTo>
                <a:cubicBezTo>
                  <a:pt x="10051" y="12697"/>
                  <a:pt x="10208" y="12508"/>
                  <a:pt x="10208" y="12256"/>
                </a:cubicBezTo>
                <a:lnTo>
                  <a:pt x="10208" y="5797"/>
                </a:lnTo>
                <a:cubicBezTo>
                  <a:pt x="10964" y="5671"/>
                  <a:pt x="11721" y="5293"/>
                  <a:pt x="12193" y="4537"/>
                </a:cubicBezTo>
                <a:cubicBezTo>
                  <a:pt x="12823" y="3718"/>
                  <a:pt x="12886" y="2678"/>
                  <a:pt x="12508" y="1796"/>
                </a:cubicBezTo>
                <a:cubicBezTo>
                  <a:pt x="12067" y="725"/>
                  <a:pt x="10996" y="1"/>
                  <a:pt x="9830"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9648" name="Google Shape;9648;p110"/>
          <p:cNvSpPr/>
          <p:nvPr/>
        </p:nvSpPr>
        <p:spPr>
          <a:xfrm>
            <a:off x="5209145" y="3253253"/>
            <a:ext cx="498355" cy="498315"/>
          </a:xfrm>
          <a:custGeom>
            <a:avLst/>
            <a:gdLst/>
            <a:ahLst/>
            <a:cxnLst/>
            <a:rect l="l" t="t" r="r" b="b"/>
            <a:pathLst>
              <a:path w="12698" h="12697" extrusionOk="0">
                <a:moveTo>
                  <a:pt x="11784" y="970"/>
                </a:moveTo>
                <a:lnTo>
                  <a:pt x="11784" y="2577"/>
                </a:lnTo>
                <a:lnTo>
                  <a:pt x="5168" y="4026"/>
                </a:lnTo>
                <a:lnTo>
                  <a:pt x="5168" y="2420"/>
                </a:lnTo>
                <a:lnTo>
                  <a:pt x="11784" y="970"/>
                </a:lnTo>
                <a:close/>
                <a:moveTo>
                  <a:pt x="10115" y="7741"/>
                </a:moveTo>
                <a:cubicBezTo>
                  <a:pt x="10982" y="7741"/>
                  <a:pt x="11784" y="8286"/>
                  <a:pt x="11784" y="8973"/>
                </a:cubicBezTo>
                <a:cubicBezTo>
                  <a:pt x="11784" y="9666"/>
                  <a:pt x="11027" y="10201"/>
                  <a:pt x="10145" y="10201"/>
                </a:cubicBezTo>
                <a:cubicBezTo>
                  <a:pt x="9358" y="10201"/>
                  <a:pt x="8665" y="9792"/>
                  <a:pt x="8507" y="9225"/>
                </a:cubicBezTo>
                <a:cubicBezTo>
                  <a:pt x="8350" y="8689"/>
                  <a:pt x="8728" y="8154"/>
                  <a:pt x="9263" y="7933"/>
                </a:cubicBezTo>
                <a:cubicBezTo>
                  <a:pt x="9537" y="7800"/>
                  <a:pt x="9829" y="7741"/>
                  <a:pt x="10115" y="7741"/>
                </a:cubicBezTo>
                <a:close/>
                <a:moveTo>
                  <a:pt x="2665" y="9393"/>
                </a:moveTo>
                <a:cubicBezTo>
                  <a:pt x="3537" y="9393"/>
                  <a:pt x="4348" y="9928"/>
                  <a:pt x="4348" y="10642"/>
                </a:cubicBezTo>
                <a:cubicBezTo>
                  <a:pt x="4348" y="11304"/>
                  <a:pt x="3592" y="11871"/>
                  <a:pt x="2679" y="11871"/>
                </a:cubicBezTo>
                <a:cubicBezTo>
                  <a:pt x="1891" y="11871"/>
                  <a:pt x="1229" y="11430"/>
                  <a:pt x="1072" y="10894"/>
                </a:cubicBezTo>
                <a:cubicBezTo>
                  <a:pt x="914" y="10327"/>
                  <a:pt x="1261" y="9823"/>
                  <a:pt x="1828" y="9571"/>
                </a:cubicBezTo>
                <a:cubicBezTo>
                  <a:pt x="2097" y="9448"/>
                  <a:pt x="2384" y="9393"/>
                  <a:pt x="2665" y="9393"/>
                </a:cubicBezTo>
                <a:close/>
                <a:moveTo>
                  <a:pt x="12242" y="1"/>
                </a:moveTo>
                <a:cubicBezTo>
                  <a:pt x="12197" y="1"/>
                  <a:pt x="12149" y="9"/>
                  <a:pt x="12099" y="25"/>
                </a:cubicBezTo>
                <a:lnTo>
                  <a:pt x="4663" y="1664"/>
                </a:lnTo>
                <a:cubicBezTo>
                  <a:pt x="4474" y="1695"/>
                  <a:pt x="4348" y="1853"/>
                  <a:pt x="4348" y="2073"/>
                </a:cubicBezTo>
                <a:lnTo>
                  <a:pt x="4348" y="9067"/>
                </a:lnTo>
                <a:cubicBezTo>
                  <a:pt x="3876" y="8721"/>
                  <a:pt x="3277" y="8563"/>
                  <a:pt x="2679" y="8563"/>
                </a:cubicBezTo>
                <a:cubicBezTo>
                  <a:pt x="1481" y="8563"/>
                  <a:pt x="536" y="9256"/>
                  <a:pt x="284" y="10138"/>
                </a:cubicBezTo>
                <a:cubicBezTo>
                  <a:pt x="1" y="11084"/>
                  <a:pt x="568" y="12060"/>
                  <a:pt x="1670" y="12501"/>
                </a:cubicBezTo>
                <a:cubicBezTo>
                  <a:pt x="1997" y="12634"/>
                  <a:pt x="2349" y="12697"/>
                  <a:pt x="2700" y="12697"/>
                </a:cubicBezTo>
                <a:cubicBezTo>
                  <a:pt x="3600" y="12697"/>
                  <a:pt x="4494" y="12281"/>
                  <a:pt x="4947" y="11556"/>
                </a:cubicBezTo>
                <a:cubicBezTo>
                  <a:pt x="5104" y="11273"/>
                  <a:pt x="5199" y="10957"/>
                  <a:pt x="5199" y="10611"/>
                </a:cubicBezTo>
                <a:lnTo>
                  <a:pt x="5199" y="4909"/>
                </a:lnTo>
                <a:lnTo>
                  <a:pt x="11815" y="3428"/>
                </a:lnTo>
                <a:lnTo>
                  <a:pt x="11815" y="7460"/>
                </a:lnTo>
                <a:cubicBezTo>
                  <a:pt x="11342" y="7114"/>
                  <a:pt x="10775" y="6956"/>
                  <a:pt x="10177" y="6956"/>
                </a:cubicBezTo>
                <a:cubicBezTo>
                  <a:pt x="8948" y="6956"/>
                  <a:pt x="8003" y="7649"/>
                  <a:pt x="7782" y="8532"/>
                </a:cubicBezTo>
                <a:cubicBezTo>
                  <a:pt x="7499" y="9477"/>
                  <a:pt x="8034" y="10453"/>
                  <a:pt x="9137" y="10894"/>
                </a:cubicBezTo>
                <a:cubicBezTo>
                  <a:pt x="9470" y="11017"/>
                  <a:pt x="9823" y="11076"/>
                  <a:pt x="10172" y="11076"/>
                </a:cubicBezTo>
                <a:cubicBezTo>
                  <a:pt x="11077" y="11076"/>
                  <a:pt x="11959" y="10677"/>
                  <a:pt x="12414" y="9949"/>
                </a:cubicBezTo>
                <a:cubicBezTo>
                  <a:pt x="12571" y="9666"/>
                  <a:pt x="12697" y="9351"/>
                  <a:pt x="12697" y="8973"/>
                </a:cubicBezTo>
                <a:cubicBezTo>
                  <a:pt x="12603" y="8941"/>
                  <a:pt x="12603" y="403"/>
                  <a:pt x="12603" y="403"/>
                </a:cubicBezTo>
                <a:cubicBezTo>
                  <a:pt x="12603" y="170"/>
                  <a:pt x="12453" y="1"/>
                  <a:pt x="12242"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9649" name="Google Shape;9649;p110"/>
          <p:cNvSpPr/>
          <p:nvPr/>
        </p:nvSpPr>
        <p:spPr>
          <a:xfrm>
            <a:off x="3488467" y="3833085"/>
            <a:ext cx="499571" cy="500827"/>
          </a:xfrm>
          <a:custGeom>
            <a:avLst/>
            <a:gdLst/>
            <a:ahLst/>
            <a:cxnLst/>
            <a:rect l="l" t="t" r="r" b="b"/>
            <a:pathLst>
              <a:path w="12729" h="12761" extrusionOk="0">
                <a:moveTo>
                  <a:pt x="10595" y="882"/>
                </a:moveTo>
                <a:cubicBezTo>
                  <a:pt x="11081" y="882"/>
                  <a:pt x="11558" y="1164"/>
                  <a:pt x="11752" y="1647"/>
                </a:cubicBezTo>
                <a:cubicBezTo>
                  <a:pt x="11941" y="2120"/>
                  <a:pt x="11846" y="2624"/>
                  <a:pt x="11500" y="3033"/>
                </a:cubicBezTo>
                <a:lnTo>
                  <a:pt x="11374" y="3128"/>
                </a:lnTo>
                <a:lnTo>
                  <a:pt x="9609" y="1363"/>
                </a:lnTo>
                <a:lnTo>
                  <a:pt x="9735" y="1237"/>
                </a:lnTo>
                <a:cubicBezTo>
                  <a:pt x="9979" y="994"/>
                  <a:pt x="10288" y="882"/>
                  <a:pt x="10595" y="882"/>
                </a:cubicBezTo>
                <a:close/>
                <a:moveTo>
                  <a:pt x="9011" y="1899"/>
                </a:moveTo>
                <a:lnTo>
                  <a:pt x="10807" y="3695"/>
                </a:lnTo>
                <a:lnTo>
                  <a:pt x="7656" y="6845"/>
                </a:lnTo>
                <a:lnTo>
                  <a:pt x="5860" y="5049"/>
                </a:lnTo>
                <a:lnTo>
                  <a:pt x="9011" y="1899"/>
                </a:lnTo>
                <a:close/>
                <a:moveTo>
                  <a:pt x="5293" y="5648"/>
                </a:moveTo>
                <a:lnTo>
                  <a:pt x="7057" y="7444"/>
                </a:lnTo>
                <a:lnTo>
                  <a:pt x="4065" y="10437"/>
                </a:lnTo>
                <a:lnTo>
                  <a:pt x="2300" y="8641"/>
                </a:lnTo>
                <a:lnTo>
                  <a:pt x="5293" y="5648"/>
                </a:lnTo>
                <a:close/>
                <a:moveTo>
                  <a:pt x="2017" y="9523"/>
                </a:moveTo>
                <a:lnTo>
                  <a:pt x="3245" y="10752"/>
                </a:lnTo>
                <a:lnTo>
                  <a:pt x="1733" y="11004"/>
                </a:lnTo>
                <a:lnTo>
                  <a:pt x="2017" y="9523"/>
                </a:lnTo>
                <a:close/>
                <a:moveTo>
                  <a:pt x="7762" y="1"/>
                </a:moveTo>
                <a:cubicBezTo>
                  <a:pt x="7443" y="1"/>
                  <a:pt x="7120" y="119"/>
                  <a:pt x="6868" y="355"/>
                </a:cubicBezTo>
                <a:lnTo>
                  <a:pt x="4569" y="2624"/>
                </a:lnTo>
                <a:cubicBezTo>
                  <a:pt x="4411" y="2781"/>
                  <a:pt x="4411" y="3065"/>
                  <a:pt x="4569" y="3222"/>
                </a:cubicBezTo>
                <a:cubicBezTo>
                  <a:pt x="4647" y="3301"/>
                  <a:pt x="4758" y="3340"/>
                  <a:pt x="4868" y="3340"/>
                </a:cubicBezTo>
                <a:cubicBezTo>
                  <a:pt x="4978" y="3340"/>
                  <a:pt x="5088" y="3301"/>
                  <a:pt x="5167" y="3222"/>
                </a:cubicBezTo>
                <a:lnTo>
                  <a:pt x="7436" y="922"/>
                </a:lnTo>
                <a:cubicBezTo>
                  <a:pt x="7514" y="844"/>
                  <a:pt x="7625" y="804"/>
                  <a:pt x="7735" y="804"/>
                </a:cubicBezTo>
                <a:cubicBezTo>
                  <a:pt x="7845" y="804"/>
                  <a:pt x="7955" y="844"/>
                  <a:pt x="8034" y="922"/>
                </a:cubicBezTo>
                <a:lnTo>
                  <a:pt x="8475" y="1363"/>
                </a:lnTo>
                <a:lnTo>
                  <a:pt x="5041" y="4797"/>
                </a:lnTo>
                <a:lnTo>
                  <a:pt x="1450" y="8389"/>
                </a:lnTo>
                <a:cubicBezTo>
                  <a:pt x="1418" y="8420"/>
                  <a:pt x="1387" y="8483"/>
                  <a:pt x="1355" y="8578"/>
                </a:cubicBezTo>
                <a:cubicBezTo>
                  <a:pt x="1355" y="8610"/>
                  <a:pt x="1387" y="8420"/>
                  <a:pt x="883" y="11319"/>
                </a:cubicBezTo>
                <a:lnTo>
                  <a:pt x="158" y="12044"/>
                </a:lnTo>
                <a:cubicBezTo>
                  <a:pt x="0" y="12201"/>
                  <a:pt x="0" y="12485"/>
                  <a:pt x="158" y="12642"/>
                </a:cubicBezTo>
                <a:cubicBezTo>
                  <a:pt x="237" y="12721"/>
                  <a:pt x="347" y="12760"/>
                  <a:pt x="457" y="12760"/>
                </a:cubicBezTo>
                <a:cubicBezTo>
                  <a:pt x="567" y="12760"/>
                  <a:pt x="678" y="12721"/>
                  <a:pt x="756" y="12642"/>
                </a:cubicBezTo>
                <a:lnTo>
                  <a:pt x="1450" y="11918"/>
                </a:lnTo>
                <a:cubicBezTo>
                  <a:pt x="1513" y="11918"/>
                  <a:pt x="4191" y="11445"/>
                  <a:pt x="4191" y="11445"/>
                </a:cubicBezTo>
                <a:cubicBezTo>
                  <a:pt x="4254" y="11445"/>
                  <a:pt x="4317" y="11413"/>
                  <a:pt x="4380" y="11382"/>
                </a:cubicBezTo>
                <a:lnTo>
                  <a:pt x="12130" y="3600"/>
                </a:lnTo>
                <a:cubicBezTo>
                  <a:pt x="12539" y="3222"/>
                  <a:pt x="12728" y="2718"/>
                  <a:pt x="12728" y="2151"/>
                </a:cubicBezTo>
                <a:cubicBezTo>
                  <a:pt x="12697" y="985"/>
                  <a:pt x="11783" y="72"/>
                  <a:pt x="10649" y="72"/>
                </a:cubicBezTo>
                <a:cubicBezTo>
                  <a:pt x="10082" y="72"/>
                  <a:pt x="9578" y="261"/>
                  <a:pt x="9168" y="670"/>
                </a:cubicBezTo>
                <a:lnTo>
                  <a:pt x="9074" y="765"/>
                </a:lnTo>
                <a:lnTo>
                  <a:pt x="8633" y="355"/>
                </a:lnTo>
                <a:cubicBezTo>
                  <a:pt x="8396" y="119"/>
                  <a:pt x="8081" y="1"/>
                  <a:pt x="7762"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nvGrpSpPr>
          <p:cNvPr id="9650" name="Google Shape;9650;p110"/>
          <p:cNvGrpSpPr/>
          <p:nvPr/>
        </p:nvGrpSpPr>
        <p:grpSpPr>
          <a:xfrm>
            <a:off x="3497792" y="4413376"/>
            <a:ext cx="497099" cy="496077"/>
            <a:chOff x="-38686275" y="2314400"/>
            <a:chExt cx="316650" cy="316000"/>
          </a:xfrm>
        </p:grpSpPr>
        <p:sp>
          <p:nvSpPr>
            <p:cNvPr id="9651" name="Google Shape;9651;p110"/>
            <p:cNvSpPr/>
            <p:nvPr/>
          </p:nvSpPr>
          <p:spPr>
            <a:xfrm>
              <a:off x="-38686275" y="2314400"/>
              <a:ext cx="316650" cy="316000"/>
            </a:xfrm>
            <a:custGeom>
              <a:avLst/>
              <a:gdLst/>
              <a:ahLst/>
              <a:cxnLst/>
              <a:rect l="l" t="t" r="r" b="b"/>
              <a:pathLst>
                <a:path w="12666" h="12640" extrusionOk="0">
                  <a:moveTo>
                    <a:pt x="8161" y="852"/>
                  </a:moveTo>
                  <a:cubicBezTo>
                    <a:pt x="8381" y="852"/>
                    <a:pt x="8539" y="1041"/>
                    <a:pt x="8570" y="1262"/>
                  </a:cubicBezTo>
                  <a:lnTo>
                    <a:pt x="8570" y="1703"/>
                  </a:lnTo>
                  <a:lnTo>
                    <a:pt x="4160" y="1703"/>
                  </a:lnTo>
                  <a:lnTo>
                    <a:pt x="4160" y="1230"/>
                  </a:lnTo>
                  <a:lnTo>
                    <a:pt x="4128" y="1230"/>
                  </a:lnTo>
                  <a:cubicBezTo>
                    <a:pt x="4128" y="1199"/>
                    <a:pt x="4128" y="1104"/>
                    <a:pt x="4160" y="1073"/>
                  </a:cubicBezTo>
                  <a:cubicBezTo>
                    <a:pt x="4254" y="915"/>
                    <a:pt x="4380" y="852"/>
                    <a:pt x="4569" y="852"/>
                  </a:cubicBezTo>
                  <a:close/>
                  <a:moveTo>
                    <a:pt x="11437" y="2427"/>
                  </a:moveTo>
                  <a:cubicBezTo>
                    <a:pt x="11658" y="2427"/>
                    <a:pt x="11815" y="2616"/>
                    <a:pt x="11847" y="2805"/>
                  </a:cubicBezTo>
                  <a:lnTo>
                    <a:pt x="11847" y="5641"/>
                  </a:lnTo>
                  <a:cubicBezTo>
                    <a:pt x="11847" y="5830"/>
                    <a:pt x="11721" y="5987"/>
                    <a:pt x="11563" y="6050"/>
                  </a:cubicBezTo>
                  <a:cubicBezTo>
                    <a:pt x="11542" y="6061"/>
                    <a:pt x="11532" y="6064"/>
                    <a:pt x="11478" y="6064"/>
                  </a:cubicBezTo>
                  <a:cubicBezTo>
                    <a:pt x="11371" y="6064"/>
                    <a:pt x="11091" y="6050"/>
                    <a:pt x="10208" y="6050"/>
                  </a:cubicBezTo>
                  <a:lnTo>
                    <a:pt x="10208" y="4822"/>
                  </a:lnTo>
                  <a:cubicBezTo>
                    <a:pt x="10208" y="4570"/>
                    <a:pt x="9988" y="4381"/>
                    <a:pt x="9767" y="4381"/>
                  </a:cubicBezTo>
                  <a:lnTo>
                    <a:pt x="8129" y="4381"/>
                  </a:lnTo>
                  <a:cubicBezTo>
                    <a:pt x="7877" y="4381"/>
                    <a:pt x="7688" y="4570"/>
                    <a:pt x="7688" y="4822"/>
                  </a:cubicBezTo>
                  <a:lnTo>
                    <a:pt x="7688" y="6050"/>
                  </a:lnTo>
                  <a:lnTo>
                    <a:pt x="4916" y="6050"/>
                  </a:lnTo>
                  <a:lnTo>
                    <a:pt x="4916" y="4822"/>
                  </a:lnTo>
                  <a:cubicBezTo>
                    <a:pt x="4916" y="4570"/>
                    <a:pt x="4727" y="4381"/>
                    <a:pt x="4506" y="4381"/>
                  </a:cubicBezTo>
                  <a:lnTo>
                    <a:pt x="2836" y="4381"/>
                  </a:lnTo>
                  <a:cubicBezTo>
                    <a:pt x="2710" y="4381"/>
                    <a:pt x="2647" y="4412"/>
                    <a:pt x="2553" y="4507"/>
                  </a:cubicBezTo>
                  <a:cubicBezTo>
                    <a:pt x="2490" y="4570"/>
                    <a:pt x="2458" y="4696"/>
                    <a:pt x="2458" y="4790"/>
                  </a:cubicBezTo>
                  <a:lnTo>
                    <a:pt x="2458" y="5987"/>
                  </a:lnTo>
                  <a:lnTo>
                    <a:pt x="1230" y="5987"/>
                  </a:lnTo>
                  <a:cubicBezTo>
                    <a:pt x="978" y="5987"/>
                    <a:pt x="820" y="5798"/>
                    <a:pt x="788" y="5578"/>
                  </a:cubicBezTo>
                  <a:lnTo>
                    <a:pt x="788" y="2805"/>
                  </a:lnTo>
                  <a:cubicBezTo>
                    <a:pt x="788" y="2585"/>
                    <a:pt x="978" y="2427"/>
                    <a:pt x="1230" y="2427"/>
                  </a:cubicBezTo>
                  <a:close/>
                  <a:moveTo>
                    <a:pt x="4128" y="5200"/>
                  </a:moveTo>
                  <a:lnTo>
                    <a:pt x="4128" y="6428"/>
                  </a:lnTo>
                  <a:cubicBezTo>
                    <a:pt x="4128" y="6586"/>
                    <a:pt x="4065" y="6712"/>
                    <a:pt x="3939" y="6775"/>
                  </a:cubicBezTo>
                  <a:cubicBezTo>
                    <a:pt x="3857" y="6826"/>
                    <a:pt x="3768" y="6851"/>
                    <a:pt x="3684" y="6851"/>
                  </a:cubicBezTo>
                  <a:cubicBezTo>
                    <a:pt x="3508" y="6851"/>
                    <a:pt x="3351" y="6746"/>
                    <a:pt x="3309" y="6554"/>
                  </a:cubicBezTo>
                  <a:lnTo>
                    <a:pt x="3309" y="5200"/>
                  </a:lnTo>
                  <a:close/>
                  <a:moveTo>
                    <a:pt x="9358" y="5200"/>
                  </a:moveTo>
                  <a:lnTo>
                    <a:pt x="9358" y="6428"/>
                  </a:lnTo>
                  <a:cubicBezTo>
                    <a:pt x="9358" y="6586"/>
                    <a:pt x="9295" y="6712"/>
                    <a:pt x="9169" y="6775"/>
                  </a:cubicBezTo>
                  <a:cubicBezTo>
                    <a:pt x="9097" y="6826"/>
                    <a:pt x="9015" y="6851"/>
                    <a:pt x="8934" y="6851"/>
                  </a:cubicBezTo>
                  <a:cubicBezTo>
                    <a:pt x="8766" y="6851"/>
                    <a:pt x="8602" y="6746"/>
                    <a:pt x="8539" y="6554"/>
                  </a:cubicBezTo>
                  <a:lnTo>
                    <a:pt x="8539" y="5200"/>
                  </a:lnTo>
                  <a:close/>
                  <a:moveTo>
                    <a:pt x="11059" y="6869"/>
                  </a:moveTo>
                  <a:lnTo>
                    <a:pt x="11059" y="11438"/>
                  </a:lnTo>
                  <a:lnTo>
                    <a:pt x="11028" y="11438"/>
                  </a:lnTo>
                  <a:cubicBezTo>
                    <a:pt x="11028" y="11658"/>
                    <a:pt x="10839" y="11816"/>
                    <a:pt x="10618" y="11816"/>
                  </a:cubicBezTo>
                  <a:lnTo>
                    <a:pt x="2080" y="11816"/>
                  </a:lnTo>
                  <a:cubicBezTo>
                    <a:pt x="1860" y="11816"/>
                    <a:pt x="1702" y="11627"/>
                    <a:pt x="1702" y="11438"/>
                  </a:cubicBezTo>
                  <a:lnTo>
                    <a:pt x="1702" y="6869"/>
                  </a:lnTo>
                  <a:lnTo>
                    <a:pt x="2616" y="6869"/>
                  </a:lnTo>
                  <a:cubicBezTo>
                    <a:pt x="2710" y="7216"/>
                    <a:pt x="3025" y="7531"/>
                    <a:pt x="3403" y="7657"/>
                  </a:cubicBezTo>
                  <a:cubicBezTo>
                    <a:pt x="3520" y="7692"/>
                    <a:pt x="3637" y="7709"/>
                    <a:pt x="3752" y="7709"/>
                  </a:cubicBezTo>
                  <a:cubicBezTo>
                    <a:pt x="4263" y="7709"/>
                    <a:pt x="4736" y="7383"/>
                    <a:pt x="4916" y="6869"/>
                  </a:cubicBezTo>
                  <a:lnTo>
                    <a:pt x="7846" y="6869"/>
                  </a:lnTo>
                  <a:cubicBezTo>
                    <a:pt x="8017" y="7384"/>
                    <a:pt x="8513" y="7708"/>
                    <a:pt x="9036" y="7708"/>
                  </a:cubicBezTo>
                  <a:cubicBezTo>
                    <a:pt x="9185" y="7708"/>
                    <a:pt x="9337" y="7682"/>
                    <a:pt x="9484" y="7626"/>
                  </a:cubicBezTo>
                  <a:cubicBezTo>
                    <a:pt x="9799" y="7500"/>
                    <a:pt x="10082" y="7216"/>
                    <a:pt x="10145" y="6869"/>
                  </a:cubicBezTo>
                  <a:close/>
                  <a:moveTo>
                    <a:pt x="8211" y="0"/>
                  </a:moveTo>
                  <a:cubicBezTo>
                    <a:pt x="8194" y="0"/>
                    <a:pt x="8177" y="1"/>
                    <a:pt x="8161" y="1"/>
                  </a:cubicBezTo>
                  <a:lnTo>
                    <a:pt x="4569" y="1"/>
                  </a:lnTo>
                  <a:cubicBezTo>
                    <a:pt x="3907" y="1"/>
                    <a:pt x="3309" y="569"/>
                    <a:pt x="3340" y="1230"/>
                  </a:cubicBezTo>
                  <a:lnTo>
                    <a:pt x="3340" y="1671"/>
                  </a:lnTo>
                  <a:lnTo>
                    <a:pt x="1261" y="1671"/>
                  </a:lnTo>
                  <a:cubicBezTo>
                    <a:pt x="599" y="1671"/>
                    <a:pt x="1" y="2207"/>
                    <a:pt x="1" y="2868"/>
                  </a:cubicBezTo>
                  <a:lnTo>
                    <a:pt x="1" y="5641"/>
                  </a:lnTo>
                  <a:cubicBezTo>
                    <a:pt x="1" y="6145"/>
                    <a:pt x="316" y="6617"/>
                    <a:pt x="820" y="6838"/>
                  </a:cubicBezTo>
                  <a:lnTo>
                    <a:pt x="820" y="11438"/>
                  </a:lnTo>
                  <a:cubicBezTo>
                    <a:pt x="820" y="12067"/>
                    <a:pt x="1333" y="12639"/>
                    <a:pt x="1953" y="12639"/>
                  </a:cubicBezTo>
                  <a:cubicBezTo>
                    <a:pt x="1984" y="12639"/>
                    <a:pt x="2016" y="12638"/>
                    <a:pt x="2049" y="12635"/>
                  </a:cubicBezTo>
                  <a:lnTo>
                    <a:pt x="10587" y="12635"/>
                  </a:lnTo>
                  <a:cubicBezTo>
                    <a:pt x="11248" y="12635"/>
                    <a:pt x="11847" y="12099"/>
                    <a:pt x="11815" y="11438"/>
                  </a:cubicBezTo>
                  <a:lnTo>
                    <a:pt x="11815" y="6838"/>
                  </a:lnTo>
                  <a:cubicBezTo>
                    <a:pt x="12288" y="6680"/>
                    <a:pt x="12634" y="6208"/>
                    <a:pt x="12634" y="5641"/>
                  </a:cubicBezTo>
                  <a:lnTo>
                    <a:pt x="12634" y="2868"/>
                  </a:lnTo>
                  <a:cubicBezTo>
                    <a:pt x="12666" y="2207"/>
                    <a:pt x="12130" y="1640"/>
                    <a:pt x="11469" y="1640"/>
                  </a:cubicBezTo>
                  <a:lnTo>
                    <a:pt x="9358" y="1640"/>
                  </a:lnTo>
                  <a:lnTo>
                    <a:pt x="9358" y="1230"/>
                  </a:lnTo>
                  <a:cubicBezTo>
                    <a:pt x="9358" y="585"/>
                    <a:pt x="8849" y="0"/>
                    <a:pt x="8211"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9652" name="Google Shape;9652;p110"/>
            <p:cNvSpPr/>
            <p:nvPr/>
          </p:nvSpPr>
          <p:spPr>
            <a:xfrm>
              <a:off x="-38583075" y="2527075"/>
              <a:ext cx="111075" cy="63050"/>
            </a:xfrm>
            <a:custGeom>
              <a:avLst/>
              <a:gdLst/>
              <a:ahLst/>
              <a:cxnLst/>
              <a:rect l="l" t="t" r="r" b="b"/>
              <a:pathLst>
                <a:path w="4443" h="2522" extrusionOk="0">
                  <a:moveTo>
                    <a:pt x="3592" y="851"/>
                  </a:moveTo>
                  <a:lnTo>
                    <a:pt x="3592" y="1670"/>
                  </a:lnTo>
                  <a:lnTo>
                    <a:pt x="819" y="1670"/>
                  </a:lnTo>
                  <a:lnTo>
                    <a:pt x="819" y="851"/>
                  </a:lnTo>
                  <a:close/>
                  <a:moveTo>
                    <a:pt x="441" y="1"/>
                  </a:moveTo>
                  <a:cubicBezTo>
                    <a:pt x="189" y="1"/>
                    <a:pt x="0" y="221"/>
                    <a:pt x="0" y="442"/>
                  </a:cubicBezTo>
                  <a:lnTo>
                    <a:pt x="0" y="2112"/>
                  </a:lnTo>
                  <a:cubicBezTo>
                    <a:pt x="0" y="2332"/>
                    <a:pt x="189" y="2521"/>
                    <a:pt x="441" y="2521"/>
                  </a:cubicBezTo>
                  <a:lnTo>
                    <a:pt x="4033" y="2521"/>
                  </a:lnTo>
                  <a:cubicBezTo>
                    <a:pt x="4253" y="2521"/>
                    <a:pt x="4442" y="2332"/>
                    <a:pt x="4442" y="2112"/>
                  </a:cubicBezTo>
                  <a:lnTo>
                    <a:pt x="4442" y="442"/>
                  </a:lnTo>
                  <a:cubicBezTo>
                    <a:pt x="4411" y="221"/>
                    <a:pt x="4253" y="1"/>
                    <a:pt x="4033"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9653" name="Google Shape;9653;p110"/>
          <p:cNvGrpSpPr/>
          <p:nvPr/>
        </p:nvGrpSpPr>
        <p:grpSpPr>
          <a:xfrm>
            <a:off x="3495928" y="5069429"/>
            <a:ext cx="500827" cy="498315"/>
            <a:chOff x="-38686275" y="2682250"/>
            <a:chExt cx="319025" cy="317425"/>
          </a:xfrm>
        </p:grpSpPr>
        <p:sp>
          <p:nvSpPr>
            <p:cNvPr id="9654" name="Google Shape;9654;p110"/>
            <p:cNvSpPr/>
            <p:nvPr/>
          </p:nvSpPr>
          <p:spPr>
            <a:xfrm>
              <a:off x="-38686275" y="2682250"/>
              <a:ext cx="319025" cy="317425"/>
            </a:xfrm>
            <a:custGeom>
              <a:avLst/>
              <a:gdLst/>
              <a:ahLst/>
              <a:cxnLst/>
              <a:rect l="l" t="t" r="r" b="b"/>
              <a:pathLst>
                <a:path w="12761" h="12697" extrusionOk="0">
                  <a:moveTo>
                    <a:pt x="11511" y="5995"/>
                  </a:moveTo>
                  <a:cubicBezTo>
                    <a:pt x="11742" y="5995"/>
                    <a:pt x="11941" y="6184"/>
                    <a:pt x="11941" y="6396"/>
                  </a:cubicBezTo>
                  <a:cubicBezTo>
                    <a:pt x="11941" y="6616"/>
                    <a:pt x="11815" y="6774"/>
                    <a:pt x="11626" y="6805"/>
                  </a:cubicBezTo>
                  <a:cubicBezTo>
                    <a:pt x="11576" y="6818"/>
                    <a:pt x="11528" y="6824"/>
                    <a:pt x="11483" y="6824"/>
                  </a:cubicBezTo>
                  <a:cubicBezTo>
                    <a:pt x="11302" y="6824"/>
                    <a:pt x="11166" y="6723"/>
                    <a:pt x="11091" y="6522"/>
                  </a:cubicBezTo>
                  <a:cubicBezTo>
                    <a:pt x="11028" y="6301"/>
                    <a:pt x="11154" y="6081"/>
                    <a:pt x="11374" y="6018"/>
                  </a:cubicBezTo>
                  <a:cubicBezTo>
                    <a:pt x="11420" y="6002"/>
                    <a:pt x="11466" y="5995"/>
                    <a:pt x="11511" y="5995"/>
                  </a:cubicBezTo>
                  <a:close/>
                  <a:moveTo>
                    <a:pt x="5042" y="788"/>
                  </a:moveTo>
                  <a:cubicBezTo>
                    <a:pt x="7310" y="788"/>
                    <a:pt x="9169" y="2615"/>
                    <a:pt x="9169" y="4915"/>
                  </a:cubicBezTo>
                  <a:cubicBezTo>
                    <a:pt x="9169" y="7183"/>
                    <a:pt x="7310" y="9042"/>
                    <a:pt x="5042" y="9042"/>
                  </a:cubicBezTo>
                  <a:cubicBezTo>
                    <a:pt x="3624" y="9042"/>
                    <a:pt x="2364" y="8317"/>
                    <a:pt x="1608" y="7246"/>
                  </a:cubicBezTo>
                  <a:cubicBezTo>
                    <a:pt x="820" y="6049"/>
                    <a:pt x="694" y="4568"/>
                    <a:pt x="1230" y="3308"/>
                  </a:cubicBezTo>
                  <a:cubicBezTo>
                    <a:pt x="1860" y="1827"/>
                    <a:pt x="3309" y="788"/>
                    <a:pt x="5042" y="788"/>
                  </a:cubicBezTo>
                  <a:close/>
                  <a:moveTo>
                    <a:pt x="7531" y="9200"/>
                  </a:moveTo>
                  <a:lnTo>
                    <a:pt x="7531" y="11373"/>
                  </a:lnTo>
                  <a:cubicBezTo>
                    <a:pt x="7531" y="11594"/>
                    <a:pt x="7310" y="11751"/>
                    <a:pt x="7089" y="11814"/>
                  </a:cubicBezTo>
                  <a:lnTo>
                    <a:pt x="2962" y="11814"/>
                  </a:lnTo>
                  <a:cubicBezTo>
                    <a:pt x="2710" y="11814"/>
                    <a:pt x="2553" y="11594"/>
                    <a:pt x="2553" y="11373"/>
                  </a:cubicBezTo>
                  <a:lnTo>
                    <a:pt x="2553" y="9200"/>
                  </a:lnTo>
                  <a:cubicBezTo>
                    <a:pt x="3316" y="9645"/>
                    <a:pt x="4174" y="9873"/>
                    <a:pt x="5041" y="9873"/>
                  </a:cubicBezTo>
                  <a:cubicBezTo>
                    <a:pt x="5892" y="9873"/>
                    <a:pt x="6750" y="9652"/>
                    <a:pt x="7531" y="9200"/>
                  </a:cubicBezTo>
                  <a:close/>
                  <a:moveTo>
                    <a:pt x="4947" y="0"/>
                  </a:moveTo>
                  <a:cubicBezTo>
                    <a:pt x="4296" y="0"/>
                    <a:pt x="3643" y="126"/>
                    <a:pt x="3025" y="378"/>
                  </a:cubicBezTo>
                  <a:cubicBezTo>
                    <a:pt x="1230" y="1134"/>
                    <a:pt x="1" y="2930"/>
                    <a:pt x="1" y="4946"/>
                  </a:cubicBezTo>
                  <a:cubicBezTo>
                    <a:pt x="1" y="6396"/>
                    <a:pt x="631" y="7750"/>
                    <a:pt x="1639" y="8664"/>
                  </a:cubicBezTo>
                  <a:lnTo>
                    <a:pt x="1639" y="11436"/>
                  </a:lnTo>
                  <a:cubicBezTo>
                    <a:pt x="1639" y="12098"/>
                    <a:pt x="2206" y="12697"/>
                    <a:pt x="2868" y="12697"/>
                  </a:cubicBezTo>
                  <a:lnTo>
                    <a:pt x="6995" y="12697"/>
                  </a:lnTo>
                  <a:cubicBezTo>
                    <a:pt x="7562" y="12697"/>
                    <a:pt x="8035" y="12350"/>
                    <a:pt x="8192" y="11877"/>
                  </a:cubicBezTo>
                  <a:cubicBezTo>
                    <a:pt x="10114" y="11720"/>
                    <a:pt x="11847" y="10113"/>
                    <a:pt x="11847" y="8160"/>
                  </a:cubicBezTo>
                  <a:lnTo>
                    <a:pt x="11847" y="7719"/>
                  </a:lnTo>
                  <a:cubicBezTo>
                    <a:pt x="12351" y="7530"/>
                    <a:pt x="12666" y="7089"/>
                    <a:pt x="12666" y="6522"/>
                  </a:cubicBezTo>
                  <a:cubicBezTo>
                    <a:pt x="12760" y="5734"/>
                    <a:pt x="12193" y="5198"/>
                    <a:pt x="11500" y="5198"/>
                  </a:cubicBezTo>
                  <a:cubicBezTo>
                    <a:pt x="10839" y="5198"/>
                    <a:pt x="10240" y="5734"/>
                    <a:pt x="10240" y="6459"/>
                  </a:cubicBezTo>
                  <a:cubicBezTo>
                    <a:pt x="10240" y="6994"/>
                    <a:pt x="10587" y="7435"/>
                    <a:pt x="11059" y="7624"/>
                  </a:cubicBezTo>
                  <a:lnTo>
                    <a:pt x="11059" y="8097"/>
                  </a:lnTo>
                  <a:cubicBezTo>
                    <a:pt x="11059" y="9546"/>
                    <a:pt x="9767" y="10775"/>
                    <a:pt x="8318" y="10964"/>
                  </a:cubicBezTo>
                  <a:lnTo>
                    <a:pt x="8318" y="8664"/>
                  </a:lnTo>
                  <a:cubicBezTo>
                    <a:pt x="8633" y="8380"/>
                    <a:pt x="8885" y="8065"/>
                    <a:pt x="9106" y="7750"/>
                  </a:cubicBezTo>
                  <a:cubicBezTo>
                    <a:pt x="10618" y="5514"/>
                    <a:pt x="10051" y="2395"/>
                    <a:pt x="7751" y="851"/>
                  </a:cubicBezTo>
                  <a:cubicBezTo>
                    <a:pt x="6900" y="284"/>
                    <a:pt x="5925" y="0"/>
                    <a:pt x="4947"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9655" name="Google Shape;9655;p110"/>
            <p:cNvSpPr/>
            <p:nvPr/>
          </p:nvSpPr>
          <p:spPr>
            <a:xfrm>
              <a:off x="-38591750" y="2773600"/>
              <a:ext cx="63025" cy="61350"/>
            </a:xfrm>
            <a:custGeom>
              <a:avLst/>
              <a:gdLst/>
              <a:ahLst/>
              <a:cxnLst/>
              <a:rect l="l" t="t" r="r" b="b"/>
              <a:pathLst>
                <a:path w="2521" h="2454" extrusionOk="0">
                  <a:moveTo>
                    <a:pt x="1264" y="788"/>
                  </a:moveTo>
                  <a:cubicBezTo>
                    <a:pt x="1315" y="788"/>
                    <a:pt x="1368" y="798"/>
                    <a:pt x="1418" y="820"/>
                  </a:cubicBezTo>
                  <a:cubicBezTo>
                    <a:pt x="1544" y="851"/>
                    <a:pt x="1607" y="977"/>
                    <a:pt x="1639" y="1103"/>
                  </a:cubicBezTo>
                  <a:cubicBezTo>
                    <a:pt x="1716" y="1387"/>
                    <a:pt x="1519" y="1649"/>
                    <a:pt x="1273" y="1649"/>
                  </a:cubicBezTo>
                  <a:cubicBezTo>
                    <a:pt x="1218" y="1649"/>
                    <a:pt x="1161" y="1636"/>
                    <a:pt x="1103" y="1607"/>
                  </a:cubicBezTo>
                  <a:cubicBezTo>
                    <a:pt x="914" y="1544"/>
                    <a:pt x="788" y="1292"/>
                    <a:pt x="851" y="1072"/>
                  </a:cubicBezTo>
                  <a:cubicBezTo>
                    <a:pt x="924" y="902"/>
                    <a:pt x="1090" y="788"/>
                    <a:pt x="1264" y="788"/>
                  </a:cubicBezTo>
                  <a:close/>
                  <a:moveTo>
                    <a:pt x="1261" y="1"/>
                  </a:moveTo>
                  <a:cubicBezTo>
                    <a:pt x="599" y="1"/>
                    <a:pt x="0" y="536"/>
                    <a:pt x="32" y="1229"/>
                  </a:cubicBezTo>
                  <a:cubicBezTo>
                    <a:pt x="32" y="1765"/>
                    <a:pt x="379" y="2238"/>
                    <a:pt x="914" y="2395"/>
                  </a:cubicBezTo>
                  <a:cubicBezTo>
                    <a:pt x="1038" y="2435"/>
                    <a:pt x="1163" y="2453"/>
                    <a:pt x="1285" y="2453"/>
                  </a:cubicBezTo>
                  <a:cubicBezTo>
                    <a:pt x="1939" y="2453"/>
                    <a:pt x="2521" y="1920"/>
                    <a:pt x="2521" y="1229"/>
                  </a:cubicBezTo>
                  <a:cubicBezTo>
                    <a:pt x="2489" y="536"/>
                    <a:pt x="1922" y="1"/>
                    <a:pt x="1261"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9656" name="Google Shape;9656;p110"/>
          <p:cNvGrpSpPr/>
          <p:nvPr/>
        </p:nvGrpSpPr>
        <p:grpSpPr>
          <a:xfrm>
            <a:off x="5253771" y="5067487"/>
            <a:ext cx="521824" cy="502200"/>
            <a:chOff x="-37534750" y="2668075"/>
            <a:chExt cx="332400" cy="319900"/>
          </a:xfrm>
        </p:grpSpPr>
        <p:sp>
          <p:nvSpPr>
            <p:cNvPr id="9657" name="Google Shape;9657;p110"/>
            <p:cNvSpPr/>
            <p:nvPr/>
          </p:nvSpPr>
          <p:spPr>
            <a:xfrm>
              <a:off x="-37534750" y="2668075"/>
              <a:ext cx="332400" cy="319900"/>
            </a:xfrm>
            <a:custGeom>
              <a:avLst/>
              <a:gdLst/>
              <a:ahLst/>
              <a:cxnLst/>
              <a:rect l="l" t="t" r="r" b="b"/>
              <a:pathLst>
                <a:path w="13296" h="12796" extrusionOk="0">
                  <a:moveTo>
                    <a:pt x="5258" y="834"/>
                  </a:moveTo>
                  <a:cubicBezTo>
                    <a:pt x="5799" y="834"/>
                    <a:pt x="6338" y="935"/>
                    <a:pt x="6837" y="1134"/>
                  </a:cubicBezTo>
                  <a:cubicBezTo>
                    <a:pt x="9105" y="2142"/>
                    <a:pt x="10019" y="4852"/>
                    <a:pt x="8822" y="6963"/>
                  </a:cubicBezTo>
                  <a:cubicBezTo>
                    <a:pt x="8790" y="7026"/>
                    <a:pt x="8790" y="7026"/>
                    <a:pt x="8790" y="7057"/>
                  </a:cubicBezTo>
                  <a:cubicBezTo>
                    <a:pt x="8632" y="7372"/>
                    <a:pt x="8412" y="7656"/>
                    <a:pt x="8160" y="7876"/>
                  </a:cubicBezTo>
                  <a:cubicBezTo>
                    <a:pt x="8002" y="8002"/>
                    <a:pt x="7876" y="8128"/>
                    <a:pt x="7782" y="8191"/>
                  </a:cubicBezTo>
                  <a:cubicBezTo>
                    <a:pt x="7687" y="8223"/>
                    <a:pt x="7719" y="8223"/>
                    <a:pt x="7687" y="8286"/>
                  </a:cubicBezTo>
                  <a:cubicBezTo>
                    <a:pt x="7152" y="8664"/>
                    <a:pt x="6585" y="8947"/>
                    <a:pt x="5923" y="9073"/>
                  </a:cubicBezTo>
                  <a:cubicBezTo>
                    <a:pt x="5694" y="9110"/>
                    <a:pt x="5468" y="9128"/>
                    <a:pt x="5245" y="9128"/>
                  </a:cubicBezTo>
                  <a:cubicBezTo>
                    <a:pt x="2977" y="9128"/>
                    <a:pt x="1071" y="7298"/>
                    <a:pt x="1071" y="4946"/>
                  </a:cubicBezTo>
                  <a:cubicBezTo>
                    <a:pt x="1071" y="3592"/>
                    <a:pt x="1796" y="2268"/>
                    <a:pt x="2899" y="1544"/>
                  </a:cubicBezTo>
                  <a:cubicBezTo>
                    <a:pt x="3603" y="1068"/>
                    <a:pt x="4433" y="834"/>
                    <a:pt x="5258" y="834"/>
                  </a:cubicBezTo>
                  <a:close/>
                  <a:moveTo>
                    <a:pt x="9200" y="7876"/>
                  </a:moveTo>
                  <a:lnTo>
                    <a:pt x="11909" y="10586"/>
                  </a:lnTo>
                  <a:cubicBezTo>
                    <a:pt x="12067" y="10743"/>
                    <a:pt x="12130" y="10901"/>
                    <a:pt x="12130" y="11153"/>
                  </a:cubicBezTo>
                  <a:cubicBezTo>
                    <a:pt x="12130" y="11594"/>
                    <a:pt x="11783" y="11909"/>
                    <a:pt x="11405" y="11909"/>
                  </a:cubicBezTo>
                  <a:cubicBezTo>
                    <a:pt x="11184" y="11909"/>
                    <a:pt x="10995" y="11814"/>
                    <a:pt x="10838" y="11657"/>
                  </a:cubicBezTo>
                  <a:lnTo>
                    <a:pt x="8128" y="8947"/>
                  </a:lnTo>
                  <a:cubicBezTo>
                    <a:pt x="8160" y="8916"/>
                    <a:pt x="8759" y="8506"/>
                    <a:pt x="9200" y="7876"/>
                  </a:cubicBezTo>
                  <a:close/>
                  <a:moveTo>
                    <a:pt x="5198" y="0"/>
                  </a:moveTo>
                  <a:cubicBezTo>
                    <a:pt x="3529" y="0"/>
                    <a:pt x="1985" y="882"/>
                    <a:pt x="1103" y="2205"/>
                  </a:cubicBezTo>
                  <a:cubicBezTo>
                    <a:pt x="158" y="3623"/>
                    <a:pt x="0" y="5387"/>
                    <a:pt x="630" y="6931"/>
                  </a:cubicBezTo>
                  <a:cubicBezTo>
                    <a:pt x="1470" y="8860"/>
                    <a:pt x="3356" y="9972"/>
                    <a:pt x="5251" y="9972"/>
                  </a:cubicBezTo>
                  <a:cubicBezTo>
                    <a:pt x="5988" y="9972"/>
                    <a:pt x="6725" y="9804"/>
                    <a:pt x="7404" y="9452"/>
                  </a:cubicBezTo>
                  <a:lnTo>
                    <a:pt x="10302" y="12318"/>
                  </a:lnTo>
                  <a:cubicBezTo>
                    <a:pt x="10588" y="12626"/>
                    <a:pt x="11026" y="12796"/>
                    <a:pt x="11468" y="12796"/>
                  </a:cubicBezTo>
                  <a:cubicBezTo>
                    <a:pt x="11661" y="12796"/>
                    <a:pt x="11854" y="12763"/>
                    <a:pt x="12035" y="12697"/>
                  </a:cubicBezTo>
                  <a:cubicBezTo>
                    <a:pt x="13043" y="12161"/>
                    <a:pt x="13295" y="10806"/>
                    <a:pt x="12539" y="10050"/>
                  </a:cubicBezTo>
                  <a:lnTo>
                    <a:pt x="9672" y="7183"/>
                  </a:lnTo>
                  <a:cubicBezTo>
                    <a:pt x="10334" y="5860"/>
                    <a:pt x="10334" y="4348"/>
                    <a:pt x="9767" y="3025"/>
                  </a:cubicBezTo>
                  <a:cubicBezTo>
                    <a:pt x="9042" y="1229"/>
                    <a:pt x="7215" y="0"/>
                    <a:pt x="5198"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9658" name="Google Shape;9658;p110"/>
            <p:cNvSpPr/>
            <p:nvPr/>
          </p:nvSpPr>
          <p:spPr>
            <a:xfrm>
              <a:off x="-37487500" y="2709475"/>
              <a:ext cx="165425" cy="164450"/>
            </a:xfrm>
            <a:custGeom>
              <a:avLst/>
              <a:gdLst/>
              <a:ahLst/>
              <a:cxnLst/>
              <a:rect l="l" t="t" r="r" b="b"/>
              <a:pathLst>
                <a:path w="6617" h="6578" extrusionOk="0">
                  <a:moveTo>
                    <a:pt x="3308" y="833"/>
                  </a:moveTo>
                  <a:cubicBezTo>
                    <a:pt x="4695" y="833"/>
                    <a:pt x="5797" y="1936"/>
                    <a:pt x="5797" y="3290"/>
                  </a:cubicBezTo>
                  <a:cubicBezTo>
                    <a:pt x="5797" y="4614"/>
                    <a:pt x="4726" y="5779"/>
                    <a:pt x="3308" y="5779"/>
                  </a:cubicBezTo>
                  <a:cubicBezTo>
                    <a:pt x="1954" y="5779"/>
                    <a:pt x="851" y="4677"/>
                    <a:pt x="851" y="3290"/>
                  </a:cubicBezTo>
                  <a:cubicBezTo>
                    <a:pt x="851" y="1936"/>
                    <a:pt x="1954" y="833"/>
                    <a:pt x="3308" y="833"/>
                  </a:cubicBezTo>
                  <a:close/>
                  <a:moveTo>
                    <a:pt x="3319" y="0"/>
                  </a:moveTo>
                  <a:cubicBezTo>
                    <a:pt x="2880" y="0"/>
                    <a:pt x="2438" y="81"/>
                    <a:pt x="2017" y="234"/>
                  </a:cubicBezTo>
                  <a:cubicBezTo>
                    <a:pt x="851" y="738"/>
                    <a:pt x="0" y="1936"/>
                    <a:pt x="0" y="3259"/>
                  </a:cubicBezTo>
                  <a:cubicBezTo>
                    <a:pt x="0" y="4362"/>
                    <a:pt x="568" y="5401"/>
                    <a:pt x="1481" y="6031"/>
                  </a:cubicBezTo>
                  <a:cubicBezTo>
                    <a:pt x="2033" y="6405"/>
                    <a:pt x="2645" y="6578"/>
                    <a:pt x="3255" y="6578"/>
                  </a:cubicBezTo>
                  <a:cubicBezTo>
                    <a:pt x="3725" y="6578"/>
                    <a:pt x="4193" y="6475"/>
                    <a:pt x="4632" y="6283"/>
                  </a:cubicBezTo>
                  <a:cubicBezTo>
                    <a:pt x="5829" y="5748"/>
                    <a:pt x="6585" y="4551"/>
                    <a:pt x="6585" y="3259"/>
                  </a:cubicBezTo>
                  <a:cubicBezTo>
                    <a:pt x="6616" y="2219"/>
                    <a:pt x="6081" y="1180"/>
                    <a:pt x="5167" y="549"/>
                  </a:cubicBezTo>
                  <a:cubicBezTo>
                    <a:pt x="4605" y="175"/>
                    <a:pt x="3965" y="0"/>
                    <a:pt x="3319"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sp>
        <p:nvSpPr>
          <p:cNvPr id="9659" name="Google Shape;9659;p110"/>
          <p:cNvSpPr/>
          <p:nvPr/>
        </p:nvSpPr>
        <p:spPr>
          <a:xfrm>
            <a:off x="2809002" y="2044439"/>
            <a:ext cx="500788" cy="496784"/>
          </a:xfrm>
          <a:custGeom>
            <a:avLst/>
            <a:gdLst/>
            <a:ahLst/>
            <a:cxnLst/>
            <a:rect l="l" t="t" r="r" b="b"/>
            <a:pathLst>
              <a:path w="12760" h="12658" extrusionOk="0">
                <a:moveTo>
                  <a:pt x="6270" y="1032"/>
                </a:moveTo>
                <a:lnTo>
                  <a:pt x="6932" y="1693"/>
                </a:lnTo>
                <a:lnTo>
                  <a:pt x="5640" y="1693"/>
                </a:lnTo>
                <a:lnTo>
                  <a:pt x="6270" y="1032"/>
                </a:lnTo>
                <a:close/>
                <a:moveTo>
                  <a:pt x="11342" y="2481"/>
                </a:moveTo>
                <a:lnTo>
                  <a:pt x="10523" y="3300"/>
                </a:lnTo>
                <a:lnTo>
                  <a:pt x="2332" y="3300"/>
                </a:lnTo>
                <a:lnTo>
                  <a:pt x="1513" y="2481"/>
                </a:lnTo>
                <a:close/>
                <a:moveTo>
                  <a:pt x="8381" y="9381"/>
                </a:moveTo>
                <a:lnTo>
                  <a:pt x="8381" y="10200"/>
                </a:lnTo>
                <a:lnTo>
                  <a:pt x="6711" y="10200"/>
                </a:lnTo>
                <a:lnTo>
                  <a:pt x="6711" y="9381"/>
                </a:lnTo>
                <a:close/>
                <a:moveTo>
                  <a:pt x="10303" y="4151"/>
                </a:moveTo>
                <a:lnTo>
                  <a:pt x="10303" y="10200"/>
                </a:lnTo>
                <a:lnTo>
                  <a:pt x="9200" y="10200"/>
                </a:lnTo>
                <a:lnTo>
                  <a:pt x="9200" y="9003"/>
                </a:lnTo>
                <a:cubicBezTo>
                  <a:pt x="9200" y="8751"/>
                  <a:pt x="8980" y="8562"/>
                  <a:pt x="8759" y="8562"/>
                </a:cubicBezTo>
                <a:lnTo>
                  <a:pt x="6270" y="8562"/>
                </a:lnTo>
                <a:cubicBezTo>
                  <a:pt x="6050" y="8562"/>
                  <a:pt x="5892" y="8751"/>
                  <a:pt x="5892" y="9003"/>
                </a:cubicBezTo>
                <a:lnTo>
                  <a:pt x="5892" y="10200"/>
                </a:lnTo>
                <a:lnTo>
                  <a:pt x="2584" y="10200"/>
                </a:lnTo>
                <a:lnTo>
                  <a:pt x="2584" y="4151"/>
                </a:lnTo>
                <a:close/>
                <a:moveTo>
                  <a:pt x="914" y="3080"/>
                </a:moveTo>
                <a:lnTo>
                  <a:pt x="1733" y="3899"/>
                </a:lnTo>
                <a:lnTo>
                  <a:pt x="1733" y="10452"/>
                </a:lnTo>
                <a:lnTo>
                  <a:pt x="914" y="11271"/>
                </a:lnTo>
                <a:lnTo>
                  <a:pt x="914" y="3080"/>
                </a:lnTo>
                <a:close/>
                <a:moveTo>
                  <a:pt x="11941" y="3080"/>
                </a:moveTo>
                <a:lnTo>
                  <a:pt x="11941" y="11271"/>
                </a:lnTo>
                <a:lnTo>
                  <a:pt x="11122" y="10452"/>
                </a:lnTo>
                <a:lnTo>
                  <a:pt x="11122" y="3899"/>
                </a:lnTo>
                <a:lnTo>
                  <a:pt x="11941" y="3080"/>
                </a:lnTo>
                <a:close/>
                <a:moveTo>
                  <a:pt x="10492" y="11050"/>
                </a:moveTo>
                <a:lnTo>
                  <a:pt x="11311" y="11870"/>
                </a:lnTo>
                <a:lnTo>
                  <a:pt x="1481" y="11870"/>
                </a:lnTo>
                <a:lnTo>
                  <a:pt x="2300" y="11050"/>
                </a:lnTo>
                <a:close/>
                <a:moveTo>
                  <a:pt x="6254" y="0"/>
                </a:moveTo>
                <a:cubicBezTo>
                  <a:pt x="6144" y="0"/>
                  <a:pt x="6034" y="39"/>
                  <a:pt x="5955" y="118"/>
                </a:cubicBezTo>
                <a:lnTo>
                  <a:pt x="4443" y="1662"/>
                </a:lnTo>
                <a:lnTo>
                  <a:pt x="379" y="1662"/>
                </a:lnTo>
                <a:cubicBezTo>
                  <a:pt x="221" y="1693"/>
                  <a:pt x="95" y="1819"/>
                  <a:pt x="64" y="1946"/>
                </a:cubicBezTo>
                <a:cubicBezTo>
                  <a:pt x="1" y="2009"/>
                  <a:pt x="64" y="1473"/>
                  <a:pt x="64" y="12248"/>
                </a:cubicBezTo>
                <a:cubicBezTo>
                  <a:pt x="64" y="12374"/>
                  <a:pt x="95" y="12500"/>
                  <a:pt x="221" y="12563"/>
                </a:cubicBezTo>
                <a:cubicBezTo>
                  <a:pt x="284" y="12657"/>
                  <a:pt x="379" y="12657"/>
                  <a:pt x="473" y="12657"/>
                </a:cubicBezTo>
                <a:lnTo>
                  <a:pt x="12351" y="12657"/>
                </a:lnTo>
                <a:cubicBezTo>
                  <a:pt x="12571" y="12657"/>
                  <a:pt x="12729" y="12468"/>
                  <a:pt x="12729" y="12216"/>
                </a:cubicBezTo>
                <a:lnTo>
                  <a:pt x="12729" y="2009"/>
                </a:lnTo>
                <a:cubicBezTo>
                  <a:pt x="12760" y="1851"/>
                  <a:pt x="12571" y="1662"/>
                  <a:pt x="12351" y="1662"/>
                </a:cubicBezTo>
                <a:lnTo>
                  <a:pt x="8097" y="1662"/>
                </a:lnTo>
                <a:lnTo>
                  <a:pt x="6554" y="118"/>
                </a:lnTo>
                <a:cubicBezTo>
                  <a:pt x="6475" y="39"/>
                  <a:pt x="6365" y="0"/>
                  <a:pt x="6254"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nvGrpSpPr>
          <p:cNvPr id="9660" name="Google Shape;9660;p110"/>
          <p:cNvGrpSpPr/>
          <p:nvPr/>
        </p:nvGrpSpPr>
        <p:grpSpPr>
          <a:xfrm>
            <a:off x="2842259" y="2642333"/>
            <a:ext cx="500788" cy="498747"/>
            <a:chOff x="-42062025" y="2316000"/>
            <a:chExt cx="319000" cy="317700"/>
          </a:xfrm>
        </p:grpSpPr>
        <p:sp>
          <p:nvSpPr>
            <p:cNvPr id="9661" name="Google Shape;9661;p110"/>
            <p:cNvSpPr/>
            <p:nvPr/>
          </p:nvSpPr>
          <p:spPr>
            <a:xfrm>
              <a:off x="-41965150" y="2477075"/>
              <a:ext cx="124475" cy="112675"/>
            </a:xfrm>
            <a:custGeom>
              <a:avLst/>
              <a:gdLst/>
              <a:ahLst/>
              <a:cxnLst/>
              <a:rect l="l" t="t" r="r" b="b"/>
              <a:pathLst>
                <a:path w="4979" h="4507" extrusionOk="0">
                  <a:moveTo>
                    <a:pt x="2521" y="1371"/>
                  </a:moveTo>
                  <a:lnTo>
                    <a:pt x="2773" y="1812"/>
                  </a:lnTo>
                  <a:cubicBezTo>
                    <a:pt x="2836" y="1938"/>
                    <a:pt x="2931" y="2001"/>
                    <a:pt x="3088" y="2064"/>
                  </a:cubicBezTo>
                  <a:lnTo>
                    <a:pt x="3592" y="2127"/>
                  </a:lnTo>
                  <a:lnTo>
                    <a:pt x="3151" y="2473"/>
                  </a:lnTo>
                  <a:cubicBezTo>
                    <a:pt x="3088" y="2568"/>
                    <a:pt x="2994" y="2725"/>
                    <a:pt x="3057" y="2851"/>
                  </a:cubicBezTo>
                  <a:lnTo>
                    <a:pt x="3120" y="3355"/>
                  </a:lnTo>
                  <a:lnTo>
                    <a:pt x="2679" y="3103"/>
                  </a:lnTo>
                  <a:cubicBezTo>
                    <a:pt x="2631" y="3072"/>
                    <a:pt x="2568" y="3056"/>
                    <a:pt x="2501" y="3056"/>
                  </a:cubicBezTo>
                  <a:cubicBezTo>
                    <a:pt x="2434" y="3056"/>
                    <a:pt x="2364" y="3072"/>
                    <a:pt x="2301" y="3103"/>
                  </a:cubicBezTo>
                  <a:lnTo>
                    <a:pt x="1860" y="3355"/>
                  </a:lnTo>
                  <a:lnTo>
                    <a:pt x="1954" y="2851"/>
                  </a:lnTo>
                  <a:cubicBezTo>
                    <a:pt x="1986" y="2725"/>
                    <a:pt x="1891" y="2568"/>
                    <a:pt x="1828" y="2473"/>
                  </a:cubicBezTo>
                  <a:lnTo>
                    <a:pt x="1481" y="2127"/>
                  </a:lnTo>
                  <a:lnTo>
                    <a:pt x="1986" y="2064"/>
                  </a:lnTo>
                  <a:cubicBezTo>
                    <a:pt x="2112" y="2064"/>
                    <a:pt x="2206" y="1938"/>
                    <a:pt x="2301" y="1812"/>
                  </a:cubicBezTo>
                  <a:lnTo>
                    <a:pt x="2521" y="1371"/>
                  </a:lnTo>
                  <a:close/>
                  <a:moveTo>
                    <a:pt x="2474" y="0"/>
                  </a:moveTo>
                  <a:cubicBezTo>
                    <a:pt x="2332" y="0"/>
                    <a:pt x="2190" y="79"/>
                    <a:pt x="2112" y="236"/>
                  </a:cubicBezTo>
                  <a:lnTo>
                    <a:pt x="1576" y="1276"/>
                  </a:lnTo>
                  <a:lnTo>
                    <a:pt x="473" y="1434"/>
                  </a:lnTo>
                  <a:cubicBezTo>
                    <a:pt x="127" y="1465"/>
                    <a:pt x="1" y="1906"/>
                    <a:pt x="253" y="2127"/>
                  </a:cubicBezTo>
                  <a:lnTo>
                    <a:pt x="1040" y="2914"/>
                  </a:lnTo>
                  <a:lnTo>
                    <a:pt x="851" y="4017"/>
                  </a:lnTo>
                  <a:cubicBezTo>
                    <a:pt x="802" y="4291"/>
                    <a:pt x="1028" y="4506"/>
                    <a:pt x="1249" y="4506"/>
                  </a:cubicBezTo>
                  <a:cubicBezTo>
                    <a:pt x="1308" y="4506"/>
                    <a:pt x="1366" y="4491"/>
                    <a:pt x="1418" y="4458"/>
                  </a:cubicBezTo>
                  <a:lnTo>
                    <a:pt x="2427" y="3954"/>
                  </a:lnTo>
                  <a:lnTo>
                    <a:pt x="3403" y="4458"/>
                  </a:lnTo>
                  <a:cubicBezTo>
                    <a:pt x="3465" y="4489"/>
                    <a:pt x="3528" y="4503"/>
                    <a:pt x="3589" y="4503"/>
                  </a:cubicBezTo>
                  <a:cubicBezTo>
                    <a:pt x="3839" y="4503"/>
                    <a:pt x="4052" y="4270"/>
                    <a:pt x="4002" y="4017"/>
                  </a:cubicBezTo>
                  <a:lnTo>
                    <a:pt x="3781" y="2914"/>
                  </a:lnTo>
                  <a:lnTo>
                    <a:pt x="4569" y="2127"/>
                  </a:lnTo>
                  <a:cubicBezTo>
                    <a:pt x="4978" y="1906"/>
                    <a:pt x="4821" y="1465"/>
                    <a:pt x="4474" y="1434"/>
                  </a:cubicBezTo>
                  <a:lnTo>
                    <a:pt x="3372" y="1276"/>
                  </a:lnTo>
                  <a:lnTo>
                    <a:pt x="2836" y="236"/>
                  </a:lnTo>
                  <a:cubicBezTo>
                    <a:pt x="2757" y="79"/>
                    <a:pt x="2616" y="0"/>
                    <a:pt x="2474"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9662" name="Google Shape;9662;p110"/>
            <p:cNvSpPr/>
            <p:nvPr/>
          </p:nvSpPr>
          <p:spPr>
            <a:xfrm>
              <a:off x="-42062025" y="2316000"/>
              <a:ext cx="319000" cy="317700"/>
            </a:xfrm>
            <a:custGeom>
              <a:avLst/>
              <a:gdLst/>
              <a:ahLst/>
              <a:cxnLst/>
              <a:rect l="l" t="t" r="r" b="b"/>
              <a:pathLst>
                <a:path w="12760" h="12708" extrusionOk="0">
                  <a:moveTo>
                    <a:pt x="9610" y="851"/>
                  </a:moveTo>
                  <a:lnTo>
                    <a:pt x="8129" y="2615"/>
                  </a:lnTo>
                  <a:cubicBezTo>
                    <a:pt x="8097" y="2584"/>
                    <a:pt x="8034" y="2584"/>
                    <a:pt x="7940" y="2584"/>
                  </a:cubicBezTo>
                  <a:lnTo>
                    <a:pt x="4821" y="2584"/>
                  </a:lnTo>
                  <a:cubicBezTo>
                    <a:pt x="4758" y="2584"/>
                    <a:pt x="4726" y="2584"/>
                    <a:pt x="4632" y="2615"/>
                  </a:cubicBezTo>
                  <a:lnTo>
                    <a:pt x="3183" y="851"/>
                  </a:lnTo>
                  <a:close/>
                  <a:moveTo>
                    <a:pt x="7530" y="3371"/>
                  </a:moveTo>
                  <a:lnTo>
                    <a:pt x="6396" y="4726"/>
                  </a:lnTo>
                  <a:lnTo>
                    <a:pt x="5293" y="3371"/>
                  </a:lnTo>
                  <a:close/>
                  <a:moveTo>
                    <a:pt x="10555" y="1009"/>
                  </a:moveTo>
                  <a:lnTo>
                    <a:pt x="11783" y="2237"/>
                  </a:lnTo>
                  <a:lnTo>
                    <a:pt x="8759" y="5923"/>
                  </a:lnTo>
                  <a:cubicBezTo>
                    <a:pt x="8255" y="5545"/>
                    <a:pt x="7719" y="5262"/>
                    <a:pt x="7121" y="5136"/>
                  </a:cubicBezTo>
                  <a:lnTo>
                    <a:pt x="10555" y="1009"/>
                  </a:lnTo>
                  <a:close/>
                  <a:moveTo>
                    <a:pt x="2269" y="1040"/>
                  </a:moveTo>
                  <a:lnTo>
                    <a:pt x="5703" y="5199"/>
                  </a:lnTo>
                  <a:cubicBezTo>
                    <a:pt x="5104" y="5293"/>
                    <a:pt x="4506" y="5545"/>
                    <a:pt x="4033" y="5986"/>
                  </a:cubicBezTo>
                  <a:cubicBezTo>
                    <a:pt x="3214" y="4947"/>
                    <a:pt x="1040" y="2269"/>
                    <a:pt x="1040" y="2269"/>
                  </a:cubicBezTo>
                  <a:lnTo>
                    <a:pt x="2269" y="1040"/>
                  </a:lnTo>
                  <a:close/>
                  <a:moveTo>
                    <a:pt x="6349" y="5978"/>
                  </a:moveTo>
                  <a:cubicBezTo>
                    <a:pt x="7097" y="5978"/>
                    <a:pt x="7845" y="6254"/>
                    <a:pt x="8412" y="6805"/>
                  </a:cubicBezTo>
                  <a:lnTo>
                    <a:pt x="8538" y="6932"/>
                  </a:lnTo>
                  <a:cubicBezTo>
                    <a:pt x="8633" y="7026"/>
                    <a:pt x="8727" y="7152"/>
                    <a:pt x="8822" y="7278"/>
                  </a:cubicBezTo>
                  <a:cubicBezTo>
                    <a:pt x="9452" y="8097"/>
                    <a:pt x="9484" y="9168"/>
                    <a:pt x="9137" y="10082"/>
                  </a:cubicBezTo>
                  <a:cubicBezTo>
                    <a:pt x="8662" y="11199"/>
                    <a:pt x="7524" y="11885"/>
                    <a:pt x="6358" y="11885"/>
                  </a:cubicBezTo>
                  <a:cubicBezTo>
                    <a:pt x="5978" y="11885"/>
                    <a:pt x="5595" y="11812"/>
                    <a:pt x="5230" y="11657"/>
                  </a:cubicBezTo>
                  <a:cubicBezTo>
                    <a:pt x="3340" y="10870"/>
                    <a:pt x="2805" y="8412"/>
                    <a:pt x="4159" y="6932"/>
                  </a:cubicBezTo>
                  <a:lnTo>
                    <a:pt x="4285" y="6805"/>
                  </a:lnTo>
                  <a:cubicBezTo>
                    <a:pt x="4852" y="6254"/>
                    <a:pt x="5601" y="5978"/>
                    <a:pt x="6349" y="5978"/>
                  </a:cubicBezTo>
                  <a:close/>
                  <a:moveTo>
                    <a:pt x="2269" y="0"/>
                  </a:moveTo>
                  <a:cubicBezTo>
                    <a:pt x="2143" y="0"/>
                    <a:pt x="2048" y="32"/>
                    <a:pt x="1954" y="95"/>
                  </a:cubicBezTo>
                  <a:lnTo>
                    <a:pt x="158" y="1922"/>
                  </a:lnTo>
                  <a:cubicBezTo>
                    <a:pt x="1" y="2080"/>
                    <a:pt x="1" y="2300"/>
                    <a:pt x="95" y="2458"/>
                  </a:cubicBezTo>
                  <a:lnTo>
                    <a:pt x="3372" y="6522"/>
                  </a:lnTo>
                  <a:cubicBezTo>
                    <a:pt x="1985" y="8255"/>
                    <a:pt x="2395" y="10807"/>
                    <a:pt x="4254" y="12035"/>
                  </a:cubicBezTo>
                  <a:cubicBezTo>
                    <a:pt x="4911" y="12489"/>
                    <a:pt x="5659" y="12708"/>
                    <a:pt x="6397" y="12708"/>
                  </a:cubicBezTo>
                  <a:cubicBezTo>
                    <a:pt x="7606" y="12708"/>
                    <a:pt x="8791" y="12122"/>
                    <a:pt x="9515" y="11027"/>
                  </a:cubicBezTo>
                  <a:cubicBezTo>
                    <a:pt x="10429" y="9641"/>
                    <a:pt x="10397" y="7814"/>
                    <a:pt x="9326" y="6522"/>
                  </a:cubicBezTo>
                  <a:lnTo>
                    <a:pt x="12634" y="2458"/>
                  </a:lnTo>
                  <a:cubicBezTo>
                    <a:pt x="12760" y="2300"/>
                    <a:pt x="12760" y="2080"/>
                    <a:pt x="12603" y="1922"/>
                  </a:cubicBezTo>
                  <a:lnTo>
                    <a:pt x="10775" y="95"/>
                  </a:lnTo>
                  <a:cubicBezTo>
                    <a:pt x="10712" y="32"/>
                    <a:pt x="10555" y="0"/>
                    <a:pt x="10429"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sp>
        <p:nvSpPr>
          <p:cNvPr id="9663" name="Google Shape;9663;p110"/>
          <p:cNvSpPr/>
          <p:nvPr/>
        </p:nvSpPr>
        <p:spPr>
          <a:xfrm>
            <a:off x="2846703" y="3217580"/>
            <a:ext cx="504516" cy="500395"/>
          </a:xfrm>
          <a:custGeom>
            <a:avLst/>
            <a:gdLst/>
            <a:ahLst/>
            <a:cxnLst/>
            <a:rect l="l" t="t" r="r" b="b"/>
            <a:pathLst>
              <a:path w="12855" h="12750" extrusionOk="0">
                <a:moveTo>
                  <a:pt x="6304" y="770"/>
                </a:moveTo>
                <a:cubicBezTo>
                  <a:pt x="6519" y="770"/>
                  <a:pt x="6711" y="952"/>
                  <a:pt x="6711" y="1186"/>
                </a:cubicBezTo>
                <a:lnTo>
                  <a:pt x="6711" y="1659"/>
                </a:lnTo>
                <a:cubicBezTo>
                  <a:pt x="6569" y="1643"/>
                  <a:pt x="6435" y="1635"/>
                  <a:pt x="6302" y="1635"/>
                </a:cubicBezTo>
                <a:cubicBezTo>
                  <a:pt x="6168" y="1635"/>
                  <a:pt x="6034" y="1643"/>
                  <a:pt x="5892" y="1659"/>
                </a:cubicBezTo>
                <a:lnTo>
                  <a:pt x="5892" y="1186"/>
                </a:lnTo>
                <a:cubicBezTo>
                  <a:pt x="5892" y="1029"/>
                  <a:pt x="5955" y="934"/>
                  <a:pt x="6081" y="840"/>
                </a:cubicBezTo>
                <a:cubicBezTo>
                  <a:pt x="6154" y="791"/>
                  <a:pt x="6230" y="770"/>
                  <a:pt x="6304" y="770"/>
                </a:cubicBezTo>
                <a:close/>
                <a:moveTo>
                  <a:pt x="6249" y="2423"/>
                </a:moveTo>
                <a:cubicBezTo>
                  <a:pt x="7067" y="2423"/>
                  <a:pt x="7748" y="3312"/>
                  <a:pt x="7373" y="4148"/>
                </a:cubicBezTo>
                <a:cubicBezTo>
                  <a:pt x="7184" y="4619"/>
                  <a:pt x="6731" y="4914"/>
                  <a:pt x="6251" y="4914"/>
                </a:cubicBezTo>
                <a:cubicBezTo>
                  <a:pt x="6089" y="4914"/>
                  <a:pt x="5925" y="4881"/>
                  <a:pt x="5766" y="4809"/>
                </a:cubicBezTo>
                <a:cubicBezTo>
                  <a:pt x="5136" y="4557"/>
                  <a:pt x="4852" y="3707"/>
                  <a:pt x="5230" y="3045"/>
                </a:cubicBezTo>
                <a:cubicBezTo>
                  <a:pt x="5325" y="2856"/>
                  <a:pt x="5482" y="2699"/>
                  <a:pt x="5640" y="2604"/>
                </a:cubicBezTo>
                <a:cubicBezTo>
                  <a:pt x="5766" y="2541"/>
                  <a:pt x="5892" y="2510"/>
                  <a:pt x="6018" y="2447"/>
                </a:cubicBezTo>
                <a:cubicBezTo>
                  <a:pt x="6096" y="2431"/>
                  <a:pt x="6173" y="2423"/>
                  <a:pt x="6249" y="2423"/>
                </a:cubicBezTo>
                <a:close/>
                <a:moveTo>
                  <a:pt x="4852" y="5156"/>
                </a:moveTo>
                <a:cubicBezTo>
                  <a:pt x="5041" y="5377"/>
                  <a:pt x="5293" y="5534"/>
                  <a:pt x="5577" y="5597"/>
                </a:cubicBezTo>
                <a:lnTo>
                  <a:pt x="3939" y="8243"/>
                </a:lnTo>
                <a:lnTo>
                  <a:pt x="2962" y="8243"/>
                </a:lnTo>
                <a:lnTo>
                  <a:pt x="4852" y="5156"/>
                </a:lnTo>
                <a:close/>
                <a:moveTo>
                  <a:pt x="7719" y="5187"/>
                </a:moveTo>
                <a:lnTo>
                  <a:pt x="9610" y="8243"/>
                </a:lnTo>
                <a:lnTo>
                  <a:pt x="8633" y="8243"/>
                </a:lnTo>
                <a:lnTo>
                  <a:pt x="7026" y="5597"/>
                </a:lnTo>
                <a:cubicBezTo>
                  <a:pt x="7310" y="5503"/>
                  <a:pt x="7530" y="5377"/>
                  <a:pt x="7719" y="5187"/>
                </a:cubicBezTo>
                <a:close/>
                <a:moveTo>
                  <a:pt x="6333" y="6007"/>
                </a:moveTo>
                <a:lnTo>
                  <a:pt x="7688" y="8275"/>
                </a:lnTo>
                <a:lnTo>
                  <a:pt x="7467" y="8275"/>
                </a:lnTo>
                <a:lnTo>
                  <a:pt x="7467" y="8243"/>
                </a:lnTo>
                <a:cubicBezTo>
                  <a:pt x="7373" y="7960"/>
                  <a:pt x="7215" y="7771"/>
                  <a:pt x="6995" y="7613"/>
                </a:cubicBezTo>
                <a:cubicBezTo>
                  <a:pt x="6783" y="7462"/>
                  <a:pt x="6545" y="7391"/>
                  <a:pt x="6310" y="7391"/>
                </a:cubicBezTo>
                <a:cubicBezTo>
                  <a:pt x="5812" y="7391"/>
                  <a:pt x="5329" y="7708"/>
                  <a:pt x="5136" y="8243"/>
                </a:cubicBezTo>
                <a:lnTo>
                  <a:pt x="4947" y="8243"/>
                </a:lnTo>
                <a:lnTo>
                  <a:pt x="6333" y="6007"/>
                </a:lnTo>
                <a:close/>
                <a:moveTo>
                  <a:pt x="6274" y="8212"/>
                </a:moveTo>
                <a:cubicBezTo>
                  <a:pt x="6325" y="8212"/>
                  <a:pt x="6377" y="8222"/>
                  <a:pt x="6428" y="8243"/>
                </a:cubicBezTo>
                <a:cubicBezTo>
                  <a:pt x="6585" y="8306"/>
                  <a:pt x="6680" y="8495"/>
                  <a:pt x="6680" y="8653"/>
                </a:cubicBezTo>
                <a:cubicBezTo>
                  <a:pt x="6704" y="8901"/>
                  <a:pt x="6515" y="9071"/>
                  <a:pt x="6295" y="9071"/>
                </a:cubicBezTo>
                <a:cubicBezTo>
                  <a:pt x="6235" y="9071"/>
                  <a:pt x="6173" y="9058"/>
                  <a:pt x="6113" y="9031"/>
                </a:cubicBezTo>
                <a:cubicBezTo>
                  <a:pt x="5924" y="8968"/>
                  <a:pt x="5798" y="8716"/>
                  <a:pt x="5892" y="8495"/>
                </a:cubicBezTo>
                <a:cubicBezTo>
                  <a:pt x="5941" y="8326"/>
                  <a:pt x="6101" y="8212"/>
                  <a:pt x="6274" y="8212"/>
                </a:cubicBezTo>
                <a:close/>
                <a:moveTo>
                  <a:pt x="3435" y="9063"/>
                </a:moveTo>
                <a:lnTo>
                  <a:pt x="1891" y="11583"/>
                </a:lnTo>
                <a:cubicBezTo>
                  <a:pt x="1576" y="11205"/>
                  <a:pt x="1513" y="10606"/>
                  <a:pt x="1796" y="10165"/>
                </a:cubicBezTo>
                <a:lnTo>
                  <a:pt x="2458" y="9063"/>
                </a:lnTo>
                <a:close/>
                <a:moveTo>
                  <a:pt x="10145" y="9063"/>
                </a:moveTo>
                <a:lnTo>
                  <a:pt x="10807" y="10165"/>
                </a:lnTo>
                <a:cubicBezTo>
                  <a:pt x="11027" y="10606"/>
                  <a:pt x="10996" y="11205"/>
                  <a:pt x="10681" y="11583"/>
                </a:cubicBezTo>
                <a:lnTo>
                  <a:pt x="9169" y="9063"/>
                </a:lnTo>
                <a:close/>
                <a:moveTo>
                  <a:pt x="6256" y="1"/>
                </a:moveTo>
                <a:cubicBezTo>
                  <a:pt x="5728" y="1"/>
                  <a:pt x="5259" y="331"/>
                  <a:pt x="5104" y="871"/>
                </a:cubicBezTo>
                <a:cubicBezTo>
                  <a:pt x="5041" y="997"/>
                  <a:pt x="5041" y="1123"/>
                  <a:pt x="5041" y="1218"/>
                </a:cubicBezTo>
                <a:lnTo>
                  <a:pt x="5041" y="2069"/>
                </a:lnTo>
                <a:cubicBezTo>
                  <a:pt x="4317" y="2604"/>
                  <a:pt x="4033" y="3581"/>
                  <a:pt x="4348" y="4431"/>
                </a:cubicBezTo>
                <a:cubicBezTo>
                  <a:pt x="4002" y="4998"/>
                  <a:pt x="2836" y="6920"/>
                  <a:pt x="1985" y="8275"/>
                </a:cubicBezTo>
                <a:lnTo>
                  <a:pt x="473" y="8275"/>
                </a:lnTo>
                <a:cubicBezTo>
                  <a:pt x="284" y="8275"/>
                  <a:pt x="95" y="8432"/>
                  <a:pt x="64" y="8653"/>
                </a:cubicBezTo>
                <a:cubicBezTo>
                  <a:pt x="1" y="8874"/>
                  <a:pt x="221" y="9094"/>
                  <a:pt x="442" y="9094"/>
                </a:cubicBezTo>
                <a:lnTo>
                  <a:pt x="1418" y="9094"/>
                </a:lnTo>
                <a:lnTo>
                  <a:pt x="1009" y="9787"/>
                </a:lnTo>
                <a:cubicBezTo>
                  <a:pt x="599" y="10417"/>
                  <a:pt x="599" y="11236"/>
                  <a:pt x="946" y="11866"/>
                </a:cubicBezTo>
                <a:cubicBezTo>
                  <a:pt x="1103" y="12182"/>
                  <a:pt x="1387" y="12465"/>
                  <a:pt x="1702" y="12654"/>
                </a:cubicBezTo>
                <a:cubicBezTo>
                  <a:pt x="1761" y="12694"/>
                  <a:pt x="1827" y="12711"/>
                  <a:pt x="1893" y="12711"/>
                </a:cubicBezTo>
                <a:cubicBezTo>
                  <a:pt x="2037" y="12711"/>
                  <a:pt x="2182" y="12626"/>
                  <a:pt x="2269" y="12497"/>
                </a:cubicBezTo>
                <a:lnTo>
                  <a:pt x="4348" y="9094"/>
                </a:lnTo>
                <a:lnTo>
                  <a:pt x="5041" y="9094"/>
                </a:lnTo>
                <a:cubicBezTo>
                  <a:pt x="5167" y="9504"/>
                  <a:pt x="5482" y="9787"/>
                  <a:pt x="5829" y="9882"/>
                </a:cubicBezTo>
                <a:cubicBezTo>
                  <a:pt x="5961" y="9928"/>
                  <a:pt x="6096" y="9950"/>
                  <a:pt x="6227" y="9950"/>
                </a:cubicBezTo>
                <a:cubicBezTo>
                  <a:pt x="6628" y="9950"/>
                  <a:pt x="7002" y="9749"/>
                  <a:pt x="7215" y="9441"/>
                </a:cubicBezTo>
                <a:cubicBezTo>
                  <a:pt x="7310" y="9346"/>
                  <a:pt x="7373" y="9189"/>
                  <a:pt x="7373" y="9189"/>
                </a:cubicBezTo>
                <a:lnTo>
                  <a:pt x="8097" y="9189"/>
                </a:lnTo>
                <a:lnTo>
                  <a:pt x="10145" y="12528"/>
                </a:lnTo>
                <a:cubicBezTo>
                  <a:pt x="10207" y="12673"/>
                  <a:pt x="10337" y="12750"/>
                  <a:pt x="10473" y="12750"/>
                </a:cubicBezTo>
                <a:cubicBezTo>
                  <a:pt x="10544" y="12750"/>
                  <a:pt x="10616" y="12729"/>
                  <a:pt x="10681" y="12686"/>
                </a:cubicBezTo>
                <a:cubicBezTo>
                  <a:pt x="11657" y="12119"/>
                  <a:pt x="11972" y="10795"/>
                  <a:pt x="11405" y="9850"/>
                </a:cubicBezTo>
                <a:lnTo>
                  <a:pt x="10996" y="9189"/>
                </a:lnTo>
                <a:lnTo>
                  <a:pt x="12288" y="9189"/>
                </a:lnTo>
                <a:cubicBezTo>
                  <a:pt x="12508" y="9189"/>
                  <a:pt x="12697" y="9031"/>
                  <a:pt x="12729" y="8842"/>
                </a:cubicBezTo>
                <a:cubicBezTo>
                  <a:pt x="12855" y="8432"/>
                  <a:pt x="12666" y="8243"/>
                  <a:pt x="12382" y="8243"/>
                </a:cubicBezTo>
                <a:lnTo>
                  <a:pt x="10555" y="8243"/>
                </a:lnTo>
                <a:lnTo>
                  <a:pt x="8192" y="4368"/>
                </a:lnTo>
                <a:cubicBezTo>
                  <a:pt x="8507" y="3549"/>
                  <a:pt x="8255" y="2573"/>
                  <a:pt x="7499" y="2005"/>
                </a:cubicBezTo>
                <a:lnTo>
                  <a:pt x="7499" y="1218"/>
                </a:lnTo>
                <a:cubicBezTo>
                  <a:pt x="7499" y="682"/>
                  <a:pt x="7152" y="210"/>
                  <a:pt x="6617" y="52"/>
                </a:cubicBezTo>
                <a:cubicBezTo>
                  <a:pt x="6495" y="18"/>
                  <a:pt x="6374" y="1"/>
                  <a:pt x="6256"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nvGrpSpPr>
          <p:cNvPr id="9664" name="Google Shape;9664;p110"/>
          <p:cNvGrpSpPr/>
          <p:nvPr/>
        </p:nvGrpSpPr>
        <p:grpSpPr>
          <a:xfrm>
            <a:off x="1168759" y="3857138"/>
            <a:ext cx="440191" cy="490897"/>
            <a:chOff x="-40150450" y="1977325"/>
            <a:chExt cx="280400" cy="312700"/>
          </a:xfrm>
        </p:grpSpPr>
        <p:sp>
          <p:nvSpPr>
            <p:cNvPr id="9665" name="Google Shape;9665;p110"/>
            <p:cNvSpPr/>
            <p:nvPr/>
          </p:nvSpPr>
          <p:spPr>
            <a:xfrm>
              <a:off x="-40052800" y="2041125"/>
              <a:ext cx="25" cy="25"/>
            </a:xfrm>
            <a:custGeom>
              <a:avLst/>
              <a:gdLst/>
              <a:ahLst/>
              <a:cxnLst/>
              <a:rect l="l" t="t" r="r" b="b"/>
              <a:pathLst>
                <a:path w="1" h="1" extrusionOk="0">
                  <a:moveTo>
                    <a:pt x="1" y="0"/>
                  </a:move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9666" name="Google Shape;9666;p110"/>
            <p:cNvSpPr/>
            <p:nvPr/>
          </p:nvSpPr>
          <p:spPr>
            <a:xfrm>
              <a:off x="-40150450" y="1977325"/>
              <a:ext cx="280400" cy="312700"/>
            </a:xfrm>
            <a:custGeom>
              <a:avLst/>
              <a:gdLst/>
              <a:ahLst/>
              <a:cxnLst/>
              <a:rect l="l" t="t" r="r" b="b"/>
              <a:pathLst>
                <a:path w="11216" h="12508" extrusionOk="0">
                  <a:moveTo>
                    <a:pt x="8379" y="838"/>
                  </a:moveTo>
                  <a:cubicBezTo>
                    <a:pt x="8626" y="838"/>
                    <a:pt x="8880" y="873"/>
                    <a:pt x="9137" y="946"/>
                  </a:cubicBezTo>
                  <a:cubicBezTo>
                    <a:pt x="8948" y="1733"/>
                    <a:pt x="8506" y="2300"/>
                    <a:pt x="7971" y="2615"/>
                  </a:cubicBezTo>
                  <a:cubicBezTo>
                    <a:pt x="7908" y="2678"/>
                    <a:pt x="7876" y="2678"/>
                    <a:pt x="7876" y="2678"/>
                  </a:cubicBezTo>
                  <a:cubicBezTo>
                    <a:pt x="7861" y="2694"/>
                    <a:pt x="7853" y="2694"/>
                    <a:pt x="7845" y="2694"/>
                  </a:cubicBezTo>
                  <a:cubicBezTo>
                    <a:pt x="7837" y="2694"/>
                    <a:pt x="7829" y="2694"/>
                    <a:pt x="7813" y="2710"/>
                  </a:cubicBezTo>
                  <a:cubicBezTo>
                    <a:pt x="7470" y="2868"/>
                    <a:pt x="7083" y="2938"/>
                    <a:pt x="6744" y="2938"/>
                  </a:cubicBezTo>
                  <a:cubicBezTo>
                    <a:pt x="6678" y="2938"/>
                    <a:pt x="6615" y="2935"/>
                    <a:pt x="6553" y="2930"/>
                  </a:cubicBezTo>
                  <a:lnTo>
                    <a:pt x="6459" y="2930"/>
                  </a:lnTo>
                  <a:cubicBezTo>
                    <a:pt x="6301" y="2930"/>
                    <a:pt x="6112" y="2899"/>
                    <a:pt x="5955" y="2867"/>
                  </a:cubicBezTo>
                  <a:cubicBezTo>
                    <a:pt x="6240" y="1597"/>
                    <a:pt x="7230" y="838"/>
                    <a:pt x="8379" y="838"/>
                  </a:cubicBezTo>
                  <a:close/>
                  <a:moveTo>
                    <a:pt x="9798" y="8538"/>
                  </a:moveTo>
                  <a:lnTo>
                    <a:pt x="9798" y="8538"/>
                  </a:lnTo>
                  <a:cubicBezTo>
                    <a:pt x="9831" y="8545"/>
                    <a:pt x="9862" y="8554"/>
                    <a:pt x="9892" y="8565"/>
                  </a:cubicBezTo>
                  <a:lnTo>
                    <a:pt x="9892" y="8565"/>
                  </a:lnTo>
                  <a:cubicBezTo>
                    <a:pt x="9829" y="8546"/>
                    <a:pt x="9798" y="8538"/>
                    <a:pt x="9798" y="8538"/>
                  </a:cubicBezTo>
                  <a:close/>
                  <a:moveTo>
                    <a:pt x="3433" y="3256"/>
                  </a:moveTo>
                  <a:cubicBezTo>
                    <a:pt x="3506" y="3256"/>
                    <a:pt x="3570" y="3264"/>
                    <a:pt x="3623" y="3277"/>
                  </a:cubicBezTo>
                  <a:cubicBezTo>
                    <a:pt x="4064" y="3403"/>
                    <a:pt x="4631" y="3970"/>
                    <a:pt x="5167" y="4128"/>
                  </a:cubicBezTo>
                  <a:cubicBezTo>
                    <a:pt x="5293" y="4159"/>
                    <a:pt x="5419" y="4159"/>
                    <a:pt x="5514" y="4159"/>
                  </a:cubicBezTo>
                  <a:lnTo>
                    <a:pt x="5577" y="4159"/>
                  </a:lnTo>
                  <a:cubicBezTo>
                    <a:pt x="5923" y="4159"/>
                    <a:pt x="6270" y="3907"/>
                    <a:pt x="6585" y="3718"/>
                  </a:cubicBezTo>
                  <a:cubicBezTo>
                    <a:pt x="7152" y="3718"/>
                    <a:pt x="7687" y="3592"/>
                    <a:pt x="8160" y="3371"/>
                  </a:cubicBezTo>
                  <a:cubicBezTo>
                    <a:pt x="9294" y="3812"/>
                    <a:pt x="10838" y="5388"/>
                    <a:pt x="9767" y="8475"/>
                  </a:cubicBezTo>
                  <a:cubicBezTo>
                    <a:pt x="9420" y="9672"/>
                    <a:pt x="8506" y="11342"/>
                    <a:pt x="7561" y="11594"/>
                  </a:cubicBezTo>
                  <a:cubicBezTo>
                    <a:pt x="7484" y="11627"/>
                    <a:pt x="7404" y="11641"/>
                    <a:pt x="7319" y="11641"/>
                  </a:cubicBezTo>
                  <a:cubicBezTo>
                    <a:pt x="7161" y="11641"/>
                    <a:pt x="6990" y="11593"/>
                    <a:pt x="6805" y="11531"/>
                  </a:cubicBezTo>
                  <a:cubicBezTo>
                    <a:pt x="6459" y="11279"/>
                    <a:pt x="6081" y="11027"/>
                    <a:pt x="5608" y="11027"/>
                  </a:cubicBezTo>
                  <a:cubicBezTo>
                    <a:pt x="5482" y="11027"/>
                    <a:pt x="5356" y="11027"/>
                    <a:pt x="5135" y="11059"/>
                  </a:cubicBezTo>
                  <a:cubicBezTo>
                    <a:pt x="4820" y="11122"/>
                    <a:pt x="4537" y="11311"/>
                    <a:pt x="4253" y="11468"/>
                  </a:cubicBezTo>
                  <a:cubicBezTo>
                    <a:pt x="4094" y="11568"/>
                    <a:pt x="3934" y="11630"/>
                    <a:pt x="3767" y="11630"/>
                  </a:cubicBezTo>
                  <a:cubicBezTo>
                    <a:pt x="3670" y="11630"/>
                    <a:pt x="3570" y="11609"/>
                    <a:pt x="3466" y="11563"/>
                  </a:cubicBezTo>
                  <a:cubicBezTo>
                    <a:pt x="3119" y="11437"/>
                    <a:pt x="2804" y="11122"/>
                    <a:pt x="2552" y="10838"/>
                  </a:cubicBezTo>
                  <a:cubicBezTo>
                    <a:pt x="1386" y="9515"/>
                    <a:pt x="0" y="6207"/>
                    <a:pt x="1670" y="4222"/>
                  </a:cubicBezTo>
                  <a:cubicBezTo>
                    <a:pt x="2238" y="3518"/>
                    <a:pt x="2992" y="3256"/>
                    <a:pt x="3433" y="3256"/>
                  </a:cubicBezTo>
                  <a:close/>
                  <a:moveTo>
                    <a:pt x="8415" y="0"/>
                  </a:moveTo>
                  <a:cubicBezTo>
                    <a:pt x="7084" y="0"/>
                    <a:pt x="5925" y="752"/>
                    <a:pt x="5356" y="1985"/>
                  </a:cubicBezTo>
                  <a:cubicBezTo>
                    <a:pt x="5104" y="1576"/>
                    <a:pt x="4663" y="1198"/>
                    <a:pt x="4190" y="977"/>
                  </a:cubicBezTo>
                  <a:lnTo>
                    <a:pt x="4033" y="883"/>
                  </a:lnTo>
                  <a:cubicBezTo>
                    <a:pt x="3975" y="858"/>
                    <a:pt x="3917" y="846"/>
                    <a:pt x="3862" y="846"/>
                  </a:cubicBezTo>
                  <a:cubicBezTo>
                    <a:pt x="3703" y="846"/>
                    <a:pt x="3559" y="940"/>
                    <a:pt x="3466" y="1103"/>
                  </a:cubicBezTo>
                  <a:cubicBezTo>
                    <a:pt x="3340" y="1292"/>
                    <a:pt x="3466" y="1513"/>
                    <a:pt x="3655" y="1639"/>
                  </a:cubicBezTo>
                  <a:lnTo>
                    <a:pt x="3812" y="1733"/>
                  </a:lnTo>
                  <a:cubicBezTo>
                    <a:pt x="4411" y="1985"/>
                    <a:pt x="4820" y="2521"/>
                    <a:pt x="4978" y="3088"/>
                  </a:cubicBezTo>
                  <a:cubicBezTo>
                    <a:pt x="4600" y="2867"/>
                    <a:pt x="4253" y="2615"/>
                    <a:pt x="3907" y="2521"/>
                  </a:cubicBezTo>
                  <a:cubicBezTo>
                    <a:pt x="3773" y="2479"/>
                    <a:pt x="3623" y="2459"/>
                    <a:pt x="3462" y="2459"/>
                  </a:cubicBezTo>
                  <a:cubicBezTo>
                    <a:pt x="2151" y="2459"/>
                    <a:pt x="126" y="3831"/>
                    <a:pt x="126" y="6553"/>
                  </a:cubicBezTo>
                  <a:cubicBezTo>
                    <a:pt x="126" y="8034"/>
                    <a:pt x="725" y="9641"/>
                    <a:pt x="1544" y="10870"/>
                  </a:cubicBezTo>
                  <a:cubicBezTo>
                    <a:pt x="2365" y="12070"/>
                    <a:pt x="3159" y="12482"/>
                    <a:pt x="3830" y="12482"/>
                  </a:cubicBezTo>
                  <a:cubicBezTo>
                    <a:pt x="4162" y="12482"/>
                    <a:pt x="4465" y="12381"/>
                    <a:pt x="4726" y="12224"/>
                  </a:cubicBezTo>
                  <a:cubicBezTo>
                    <a:pt x="4978" y="12067"/>
                    <a:pt x="5324" y="11846"/>
                    <a:pt x="5514" y="11846"/>
                  </a:cubicBezTo>
                  <a:cubicBezTo>
                    <a:pt x="5545" y="11846"/>
                    <a:pt x="5573" y="11844"/>
                    <a:pt x="5602" y="11844"/>
                  </a:cubicBezTo>
                  <a:cubicBezTo>
                    <a:pt x="5689" y="11844"/>
                    <a:pt x="5789" y="11862"/>
                    <a:pt x="6049" y="12004"/>
                  </a:cubicBezTo>
                  <a:lnTo>
                    <a:pt x="6396" y="12224"/>
                  </a:lnTo>
                  <a:cubicBezTo>
                    <a:pt x="6711" y="12445"/>
                    <a:pt x="6994" y="12508"/>
                    <a:pt x="7309" y="12508"/>
                  </a:cubicBezTo>
                  <a:cubicBezTo>
                    <a:pt x="8822" y="12508"/>
                    <a:pt x="10082" y="10302"/>
                    <a:pt x="10617" y="8853"/>
                  </a:cubicBezTo>
                  <a:cubicBezTo>
                    <a:pt x="11121" y="7246"/>
                    <a:pt x="11216" y="5514"/>
                    <a:pt x="10271" y="4096"/>
                  </a:cubicBezTo>
                  <a:cubicBezTo>
                    <a:pt x="9924" y="3560"/>
                    <a:pt x="9452" y="3151"/>
                    <a:pt x="8979" y="2867"/>
                  </a:cubicBezTo>
                  <a:cubicBezTo>
                    <a:pt x="9546" y="2363"/>
                    <a:pt x="9924" y="1607"/>
                    <a:pt x="10050" y="693"/>
                  </a:cubicBezTo>
                  <a:cubicBezTo>
                    <a:pt x="10082" y="504"/>
                    <a:pt x="9956" y="347"/>
                    <a:pt x="9767" y="252"/>
                  </a:cubicBezTo>
                  <a:cubicBezTo>
                    <a:pt x="9308" y="81"/>
                    <a:pt x="8852" y="0"/>
                    <a:pt x="8415"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9667" name="Google Shape;9667;p110"/>
            <p:cNvSpPr/>
            <p:nvPr/>
          </p:nvSpPr>
          <p:spPr>
            <a:xfrm>
              <a:off x="-39925200" y="2108075"/>
              <a:ext cx="25" cy="25"/>
            </a:xfrm>
            <a:custGeom>
              <a:avLst/>
              <a:gdLst/>
              <a:ahLst/>
              <a:cxnLst/>
              <a:rect l="l" t="t" r="r" b="b"/>
              <a:pathLst>
                <a:path w="1" h="1" extrusionOk="0">
                  <a:moveTo>
                    <a:pt x="1" y="0"/>
                  </a:move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9668" name="Google Shape;9668;p110"/>
            <p:cNvSpPr/>
            <p:nvPr/>
          </p:nvSpPr>
          <p:spPr>
            <a:xfrm>
              <a:off x="-39958275" y="2087025"/>
              <a:ext cx="44925" cy="105350"/>
            </a:xfrm>
            <a:custGeom>
              <a:avLst/>
              <a:gdLst/>
              <a:ahLst/>
              <a:cxnLst/>
              <a:rect l="l" t="t" r="r" b="b"/>
              <a:pathLst>
                <a:path w="1797" h="4214" extrusionOk="0">
                  <a:moveTo>
                    <a:pt x="439" y="1"/>
                  </a:moveTo>
                  <a:cubicBezTo>
                    <a:pt x="326" y="1"/>
                    <a:pt x="216" y="55"/>
                    <a:pt x="126" y="181"/>
                  </a:cubicBezTo>
                  <a:cubicBezTo>
                    <a:pt x="0" y="370"/>
                    <a:pt x="0" y="590"/>
                    <a:pt x="189" y="748"/>
                  </a:cubicBezTo>
                  <a:cubicBezTo>
                    <a:pt x="1009" y="1378"/>
                    <a:pt x="914" y="2638"/>
                    <a:pt x="536" y="3678"/>
                  </a:cubicBezTo>
                  <a:cubicBezTo>
                    <a:pt x="473" y="3867"/>
                    <a:pt x="599" y="4087"/>
                    <a:pt x="819" y="4182"/>
                  </a:cubicBezTo>
                  <a:cubicBezTo>
                    <a:pt x="862" y="4203"/>
                    <a:pt x="908" y="4213"/>
                    <a:pt x="954" y="4213"/>
                  </a:cubicBezTo>
                  <a:cubicBezTo>
                    <a:pt x="1112" y="4213"/>
                    <a:pt x="1275" y="4093"/>
                    <a:pt x="1324" y="3898"/>
                  </a:cubicBezTo>
                  <a:cubicBezTo>
                    <a:pt x="1639" y="2922"/>
                    <a:pt x="1796" y="1787"/>
                    <a:pt x="1324" y="842"/>
                  </a:cubicBezTo>
                  <a:cubicBezTo>
                    <a:pt x="1166" y="559"/>
                    <a:pt x="977" y="275"/>
                    <a:pt x="693" y="86"/>
                  </a:cubicBezTo>
                  <a:cubicBezTo>
                    <a:pt x="612" y="32"/>
                    <a:pt x="525" y="1"/>
                    <a:pt x="439"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9669" name="Google Shape;9669;p110"/>
          <p:cNvGrpSpPr/>
          <p:nvPr/>
        </p:nvGrpSpPr>
        <p:grpSpPr>
          <a:xfrm>
            <a:off x="1160713" y="4469429"/>
            <a:ext cx="456281" cy="497099"/>
            <a:chOff x="-40160700" y="2339625"/>
            <a:chExt cx="290650" cy="316650"/>
          </a:xfrm>
        </p:grpSpPr>
        <p:sp>
          <p:nvSpPr>
            <p:cNvPr id="9670" name="Google Shape;9670;p110"/>
            <p:cNvSpPr/>
            <p:nvPr/>
          </p:nvSpPr>
          <p:spPr>
            <a:xfrm>
              <a:off x="-40005525" y="2552600"/>
              <a:ext cx="70900" cy="62175"/>
            </a:xfrm>
            <a:custGeom>
              <a:avLst/>
              <a:gdLst/>
              <a:ahLst/>
              <a:cxnLst/>
              <a:rect l="l" t="t" r="r" b="b"/>
              <a:pathLst>
                <a:path w="2836" h="2487" extrusionOk="0">
                  <a:moveTo>
                    <a:pt x="1408" y="807"/>
                  </a:moveTo>
                  <a:cubicBezTo>
                    <a:pt x="1461" y="807"/>
                    <a:pt x="1518" y="817"/>
                    <a:pt x="1575" y="839"/>
                  </a:cubicBezTo>
                  <a:cubicBezTo>
                    <a:pt x="1733" y="902"/>
                    <a:pt x="1796" y="1028"/>
                    <a:pt x="1796" y="1248"/>
                  </a:cubicBezTo>
                  <a:cubicBezTo>
                    <a:pt x="1845" y="1496"/>
                    <a:pt x="1661" y="1666"/>
                    <a:pt x="1442" y="1666"/>
                  </a:cubicBezTo>
                  <a:cubicBezTo>
                    <a:pt x="1383" y="1666"/>
                    <a:pt x="1321" y="1653"/>
                    <a:pt x="1260" y="1626"/>
                  </a:cubicBezTo>
                  <a:cubicBezTo>
                    <a:pt x="1071" y="1563"/>
                    <a:pt x="945" y="1311"/>
                    <a:pt x="1008" y="1091"/>
                  </a:cubicBezTo>
                  <a:cubicBezTo>
                    <a:pt x="1081" y="921"/>
                    <a:pt x="1229" y="807"/>
                    <a:pt x="1408" y="807"/>
                  </a:cubicBezTo>
                  <a:close/>
                  <a:moveTo>
                    <a:pt x="1438" y="1"/>
                  </a:moveTo>
                  <a:cubicBezTo>
                    <a:pt x="1040" y="1"/>
                    <a:pt x="635" y="188"/>
                    <a:pt x="378" y="523"/>
                  </a:cubicBezTo>
                  <a:cubicBezTo>
                    <a:pt x="0" y="1091"/>
                    <a:pt x="158" y="1878"/>
                    <a:pt x="693" y="2256"/>
                  </a:cubicBezTo>
                  <a:cubicBezTo>
                    <a:pt x="909" y="2412"/>
                    <a:pt x="1158" y="2486"/>
                    <a:pt x="1405" y="2486"/>
                  </a:cubicBezTo>
                  <a:cubicBezTo>
                    <a:pt x="1806" y="2486"/>
                    <a:pt x="2204" y="2292"/>
                    <a:pt x="2457" y="1941"/>
                  </a:cubicBezTo>
                  <a:cubicBezTo>
                    <a:pt x="2836" y="1406"/>
                    <a:pt x="2678" y="618"/>
                    <a:pt x="2111" y="208"/>
                  </a:cubicBezTo>
                  <a:cubicBezTo>
                    <a:pt x="1911" y="67"/>
                    <a:pt x="1676" y="1"/>
                    <a:pt x="1438"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9671" name="Google Shape;9671;p110"/>
            <p:cNvSpPr/>
            <p:nvPr/>
          </p:nvSpPr>
          <p:spPr>
            <a:xfrm>
              <a:off x="-40039400" y="2605050"/>
              <a:ext cx="29150" cy="20500"/>
            </a:xfrm>
            <a:custGeom>
              <a:avLst/>
              <a:gdLst/>
              <a:ahLst/>
              <a:cxnLst/>
              <a:rect l="l" t="t" r="r" b="b"/>
              <a:pathLst>
                <a:path w="1166" h="820" extrusionOk="0">
                  <a:moveTo>
                    <a:pt x="725" y="1"/>
                  </a:moveTo>
                  <a:cubicBezTo>
                    <a:pt x="473" y="1"/>
                    <a:pt x="0" y="190"/>
                    <a:pt x="0" y="410"/>
                  </a:cubicBezTo>
                  <a:cubicBezTo>
                    <a:pt x="0" y="631"/>
                    <a:pt x="473" y="820"/>
                    <a:pt x="725" y="820"/>
                  </a:cubicBezTo>
                  <a:cubicBezTo>
                    <a:pt x="945" y="820"/>
                    <a:pt x="1166" y="631"/>
                    <a:pt x="1166" y="410"/>
                  </a:cubicBezTo>
                  <a:cubicBezTo>
                    <a:pt x="1103" y="158"/>
                    <a:pt x="914" y="1"/>
                    <a:pt x="725"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9672" name="Google Shape;9672;p110"/>
            <p:cNvSpPr/>
            <p:nvPr/>
          </p:nvSpPr>
          <p:spPr>
            <a:xfrm>
              <a:off x="-40079575" y="2584575"/>
              <a:ext cx="19725" cy="19725"/>
            </a:xfrm>
            <a:custGeom>
              <a:avLst/>
              <a:gdLst/>
              <a:ahLst/>
              <a:cxnLst/>
              <a:rect l="l" t="t" r="r" b="b"/>
              <a:pathLst>
                <a:path w="789" h="789" extrusionOk="0">
                  <a:moveTo>
                    <a:pt x="410" y="1"/>
                  </a:moveTo>
                  <a:cubicBezTo>
                    <a:pt x="190" y="1"/>
                    <a:pt x="1" y="158"/>
                    <a:pt x="1" y="379"/>
                  </a:cubicBezTo>
                  <a:cubicBezTo>
                    <a:pt x="1" y="599"/>
                    <a:pt x="190" y="788"/>
                    <a:pt x="410" y="788"/>
                  </a:cubicBezTo>
                  <a:cubicBezTo>
                    <a:pt x="631" y="788"/>
                    <a:pt x="788" y="599"/>
                    <a:pt x="788" y="379"/>
                  </a:cubicBezTo>
                  <a:cubicBezTo>
                    <a:pt x="788" y="158"/>
                    <a:pt x="631" y="1"/>
                    <a:pt x="410"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9673" name="Google Shape;9673;p110"/>
            <p:cNvSpPr/>
            <p:nvPr/>
          </p:nvSpPr>
          <p:spPr>
            <a:xfrm>
              <a:off x="-40160700" y="2339625"/>
              <a:ext cx="290650" cy="316650"/>
            </a:xfrm>
            <a:custGeom>
              <a:avLst/>
              <a:gdLst/>
              <a:ahLst/>
              <a:cxnLst/>
              <a:rect l="l" t="t" r="r" b="b"/>
              <a:pathLst>
                <a:path w="11626" h="12666" extrusionOk="0">
                  <a:moveTo>
                    <a:pt x="7656" y="820"/>
                  </a:moveTo>
                  <a:cubicBezTo>
                    <a:pt x="7845" y="820"/>
                    <a:pt x="8003" y="946"/>
                    <a:pt x="8066" y="1072"/>
                  </a:cubicBezTo>
                  <a:cubicBezTo>
                    <a:pt x="8129" y="1355"/>
                    <a:pt x="7940" y="1639"/>
                    <a:pt x="7656" y="1639"/>
                  </a:cubicBezTo>
                  <a:lnTo>
                    <a:pt x="4065" y="1639"/>
                  </a:lnTo>
                  <a:cubicBezTo>
                    <a:pt x="3876" y="1639"/>
                    <a:pt x="3687" y="1450"/>
                    <a:pt x="3687" y="1261"/>
                  </a:cubicBezTo>
                  <a:cubicBezTo>
                    <a:pt x="3687" y="1009"/>
                    <a:pt x="3876" y="851"/>
                    <a:pt x="4065" y="820"/>
                  </a:cubicBezTo>
                  <a:close/>
                  <a:moveTo>
                    <a:pt x="7310" y="2458"/>
                  </a:moveTo>
                  <a:lnTo>
                    <a:pt x="7310" y="5860"/>
                  </a:lnTo>
                  <a:cubicBezTo>
                    <a:pt x="7310" y="6270"/>
                    <a:pt x="7467" y="6711"/>
                    <a:pt x="7656" y="7026"/>
                  </a:cubicBezTo>
                  <a:cubicBezTo>
                    <a:pt x="7026" y="7152"/>
                    <a:pt x="6396" y="7404"/>
                    <a:pt x="5797" y="7782"/>
                  </a:cubicBezTo>
                  <a:cubicBezTo>
                    <a:pt x="5146" y="8207"/>
                    <a:pt x="4241" y="8453"/>
                    <a:pt x="3401" y="8453"/>
                  </a:cubicBezTo>
                  <a:cubicBezTo>
                    <a:pt x="3306" y="8453"/>
                    <a:pt x="3212" y="8450"/>
                    <a:pt x="3120" y="8444"/>
                  </a:cubicBezTo>
                  <a:lnTo>
                    <a:pt x="4128" y="7026"/>
                  </a:lnTo>
                  <a:cubicBezTo>
                    <a:pt x="4380" y="6680"/>
                    <a:pt x="4537" y="6239"/>
                    <a:pt x="4537" y="5829"/>
                  </a:cubicBezTo>
                  <a:lnTo>
                    <a:pt x="4537" y="2458"/>
                  </a:lnTo>
                  <a:close/>
                  <a:moveTo>
                    <a:pt x="8192" y="7782"/>
                  </a:moveTo>
                  <a:cubicBezTo>
                    <a:pt x="10775" y="11500"/>
                    <a:pt x="10586" y="11216"/>
                    <a:pt x="10618" y="11279"/>
                  </a:cubicBezTo>
                  <a:cubicBezTo>
                    <a:pt x="10681" y="11563"/>
                    <a:pt x="10523" y="11846"/>
                    <a:pt x="10208" y="11846"/>
                  </a:cubicBezTo>
                  <a:lnTo>
                    <a:pt x="1576" y="11846"/>
                  </a:lnTo>
                  <a:cubicBezTo>
                    <a:pt x="1198" y="11846"/>
                    <a:pt x="1040" y="11437"/>
                    <a:pt x="1198" y="11216"/>
                  </a:cubicBezTo>
                  <a:lnTo>
                    <a:pt x="2584" y="9232"/>
                  </a:lnTo>
                  <a:cubicBezTo>
                    <a:pt x="2825" y="9263"/>
                    <a:pt x="3077" y="9280"/>
                    <a:pt x="3333" y="9280"/>
                  </a:cubicBezTo>
                  <a:cubicBezTo>
                    <a:pt x="4347" y="9280"/>
                    <a:pt x="5434" y="9022"/>
                    <a:pt x="6239" y="8444"/>
                  </a:cubicBezTo>
                  <a:cubicBezTo>
                    <a:pt x="6837" y="8066"/>
                    <a:pt x="7499" y="7814"/>
                    <a:pt x="8192" y="7782"/>
                  </a:cubicBezTo>
                  <a:close/>
                  <a:moveTo>
                    <a:pt x="4128" y="1"/>
                  </a:moveTo>
                  <a:cubicBezTo>
                    <a:pt x="3435" y="1"/>
                    <a:pt x="2899" y="536"/>
                    <a:pt x="2899" y="1261"/>
                  </a:cubicBezTo>
                  <a:cubicBezTo>
                    <a:pt x="2899" y="1765"/>
                    <a:pt x="3214" y="2237"/>
                    <a:pt x="3718" y="2426"/>
                  </a:cubicBezTo>
                  <a:lnTo>
                    <a:pt x="3718" y="5860"/>
                  </a:lnTo>
                  <a:cubicBezTo>
                    <a:pt x="3718" y="6081"/>
                    <a:pt x="3655" y="6365"/>
                    <a:pt x="3498" y="6554"/>
                  </a:cubicBezTo>
                  <a:lnTo>
                    <a:pt x="568" y="10744"/>
                  </a:lnTo>
                  <a:cubicBezTo>
                    <a:pt x="1" y="11563"/>
                    <a:pt x="568" y="12666"/>
                    <a:pt x="1607" y="12666"/>
                  </a:cubicBezTo>
                  <a:lnTo>
                    <a:pt x="10271" y="12666"/>
                  </a:lnTo>
                  <a:cubicBezTo>
                    <a:pt x="10555" y="12666"/>
                    <a:pt x="10870" y="12540"/>
                    <a:pt x="11090" y="12350"/>
                  </a:cubicBezTo>
                  <a:cubicBezTo>
                    <a:pt x="11531" y="11972"/>
                    <a:pt x="11626" y="11248"/>
                    <a:pt x="11248" y="10744"/>
                  </a:cubicBezTo>
                  <a:lnTo>
                    <a:pt x="8318" y="6554"/>
                  </a:lnTo>
                  <a:cubicBezTo>
                    <a:pt x="8160" y="6365"/>
                    <a:pt x="8097" y="6081"/>
                    <a:pt x="8097" y="5860"/>
                  </a:cubicBezTo>
                  <a:lnTo>
                    <a:pt x="8097" y="2426"/>
                  </a:lnTo>
                  <a:cubicBezTo>
                    <a:pt x="8570" y="2269"/>
                    <a:pt x="8916" y="1796"/>
                    <a:pt x="8916" y="1261"/>
                  </a:cubicBezTo>
                  <a:cubicBezTo>
                    <a:pt x="8916" y="568"/>
                    <a:pt x="8381" y="1"/>
                    <a:pt x="7688"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9674" name="Google Shape;9674;p110"/>
          <p:cNvGrpSpPr/>
          <p:nvPr/>
        </p:nvGrpSpPr>
        <p:grpSpPr>
          <a:xfrm>
            <a:off x="1136479" y="5070039"/>
            <a:ext cx="500788" cy="497099"/>
            <a:chOff x="-40171725" y="2705875"/>
            <a:chExt cx="319000" cy="316650"/>
          </a:xfrm>
        </p:grpSpPr>
        <p:sp>
          <p:nvSpPr>
            <p:cNvPr id="9675" name="Google Shape;9675;p110"/>
            <p:cNvSpPr/>
            <p:nvPr/>
          </p:nvSpPr>
          <p:spPr>
            <a:xfrm>
              <a:off x="-40068550" y="2788575"/>
              <a:ext cx="48075" cy="58775"/>
            </a:xfrm>
            <a:custGeom>
              <a:avLst/>
              <a:gdLst/>
              <a:ahLst/>
              <a:cxnLst/>
              <a:rect l="l" t="t" r="r" b="b"/>
              <a:pathLst>
                <a:path w="1923" h="2351" extrusionOk="0">
                  <a:moveTo>
                    <a:pt x="442" y="0"/>
                  </a:moveTo>
                  <a:cubicBezTo>
                    <a:pt x="190" y="0"/>
                    <a:pt x="1" y="158"/>
                    <a:pt x="32" y="410"/>
                  </a:cubicBezTo>
                  <a:cubicBezTo>
                    <a:pt x="32" y="1261"/>
                    <a:pt x="505" y="1985"/>
                    <a:pt x="1261" y="2300"/>
                  </a:cubicBezTo>
                  <a:cubicBezTo>
                    <a:pt x="1322" y="2335"/>
                    <a:pt x="1386" y="2351"/>
                    <a:pt x="1448" y="2351"/>
                  </a:cubicBezTo>
                  <a:cubicBezTo>
                    <a:pt x="1607" y="2351"/>
                    <a:pt x="1751" y="2247"/>
                    <a:pt x="1796" y="2111"/>
                  </a:cubicBezTo>
                  <a:cubicBezTo>
                    <a:pt x="1922" y="1891"/>
                    <a:pt x="1796" y="1639"/>
                    <a:pt x="1607" y="1576"/>
                  </a:cubicBezTo>
                  <a:cubicBezTo>
                    <a:pt x="1135" y="1355"/>
                    <a:pt x="851" y="945"/>
                    <a:pt x="851" y="410"/>
                  </a:cubicBezTo>
                  <a:cubicBezTo>
                    <a:pt x="851" y="189"/>
                    <a:pt x="662" y="0"/>
                    <a:pt x="442"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9676" name="Google Shape;9676;p110"/>
            <p:cNvSpPr/>
            <p:nvPr/>
          </p:nvSpPr>
          <p:spPr>
            <a:xfrm>
              <a:off x="-40171725" y="2705875"/>
              <a:ext cx="319000" cy="316650"/>
            </a:xfrm>
            <a:custGeom>
              <a:avLst/>
              <a:gdLst/>
              <a:ahLst/>
              <a:cxnLst/>
              <a:rect l="l" t="t" r="r" b="b"/>
              <a:pathLst>
                <a:path w="12760" h="12666" extrusionOk="0">
                  <a:moveTo>
                    <a:pt x="2489" y="1639"/>
                  </a:moveTo>
                  <a:lnTo>
                    <a:pt x="2489" y="3718"/>
                  </a:lnTo>
                  <a:cubicBezTo>
                    <a:pt x="2489" y="4127"/>
                    <a:pt x="2552" y="4506"/>
                    <a:pt x="2678" y="4884"/>
                  </a:cubicBezTo>
                  <a:cubicBezTo>
                    <a:pt x="1639" y="4600"/>
                    <a:pt x="820" y="3623"/>
                    <a:pt x="820" y="2458"/>
                  </a:cubicBezTo>
                  <a:lnTo>
                    <a:pt x="820" y="2048"/>
                  </a:lnTo>
                  <a:cubicBezTo>
                    <a:pt x="820" y="1796"/>
                    <a:pt x="1009" y="1639"/>
                    <a:pt x="1261" y="1639"/>
                  </a:cubicBezTo>
                  <a:close/>
                  <a:moveTo>
                    <a:pt x="11500" y="1639"/>
                  </a:moveTo>
                  <a:cubicBezTo>
                    <a:pt x="11720" y="1639"/>
                    <a:pt x="11878" y="1828"/>
                    <a:pt x="11878" y="2048"/>
                  </a:cubicBezTo>
                  <a:lnTo>
                    <a:pt x="11878" y="2426"/>
                  </a:lnTo>
                  <a:cubicBezTo>
                    <a:pt x="11878" y="3623"/>
                    <a:pt x="11090" y="4569"/>
                    <a:pt x="10019" y="4884"/>
                  </a:cubicBezTo>
                  <a:cubicBezTo>
                    <a:pt x="10145" y="4506"/>
                    <a:pt x="10240" y="4127"/>
                    <a:pt x="10240" y="3718"/>
                  </a:cubicBezTo>
                  <a:lnTo>
                    <a:pt x="10240" y="1639"/>
                  </a:lnTo>
                  <a:close/>
                  <a:moveTo>
                    <a:pt x="9389" y="788"/>
                  </a:moveTo>
                  <a:lnTo>
                    <a:pt x="9389" y="3686"/>
                  </a:lnTo>
                  <a:cubicBezTo>
                    <a:pt x="9389" y="4789"/>
                    <a:pt x="8759" y="5860"/>
                    <a:pt x="7656" y="6333"/>
                  </a:cubicBezTo>
                  <a:cubicBezTo>
                    <a:pt x="7247" y="6522"/>
                    <a:pt x="6932" y="6963"/>
                    <a:pt x="6932" y="7467"/>
                  </a:cubicBezTo>
                  <a:cubicBezTo>
                    <a:pt x="6932" y="7467"/>
                    <a:pt x="6932" y="7908"/>
                    <a:pt x="7026" y="8507"/>
                  </a:cubicBezTo>
                  <a:cubicBezTo>
                    <a:pt x="7121" y="8759"/>
                    <a:pt x="7247" y="9074"/>
                    <a:pt x="7341" y="9357"/>
                  </a:cubicBezTo>
                  <a:lnTo>
                    <a:pt x="5356" y="9357"/>
                  </a:lnTo>
                  <a:cubicBezTo>
                    <a:pt x="5671" y="8759"/>
                    <a:pt x="5766" y="8066"/>
                    <a:pt x="5766" y="7498"/>
                  </a:cubicBezTo>
                  <a:cubicBezTo>
                    <a:pt x="5766" y="6994"/>
                    <a:pt x="5451" y="6553"/>
                    <a:pt x="5041" y="6364"/>
                  </a:cubicBezTo>
                  <a:cubicBezTo>
                    <a:pt x="4569" y="6144"/>
                    <a:pt x="4128" y="5766"/>
                    <a:pt x="3813" y="5293"/>
                  </a:cubicBezTo>
                  <a:cubicBezTo>
                    <a:pt x="3498" y="4821"/>
                    <a:pt x="3340" y="4285"/>
                    <a:pt x="3340" y="3686"/>
                  </a:cubicBezTo>
                  <a:lnTo>
                    <a:pt x="3340" y="788"/>
                  </a:lnTo>
                  <a:close/>
                  <a:moveTo>
                    <a:pt x="8696" y="10176"/>
                  </a:moveTo>
                  <a:lnTo>
                    <a:pt x="9263" y="11846"/>
                  </a:lnTo>
                  <a:lnTo>
                    <a:pt x="3498" y="11846"/>
                  </a:lnTo>
                  <a:lnTo>
                    <a:pt x="4033" y="10176"/>
                  </a:lnTo>
                  <a:close/>
                  <a:moveTo>
                    <a:pt x="2930" y="0"/>
                  </a:moveTo>
                  <a:cubicBezTo>
                    <a:pt x="2710" y="0"/>
                    <a:pt x="2552" y="189"/>
                    <a:pt x="2552" y="410"/>
                  </a:cubicBezTo>
                  <a:lnTo>
                    <a:pt x="2552" y="851"/>
                  </a:lnTo>
                  <a:lnTo>
                    <a:pt x="1324" y="851"/>
                  </a:lnTo>
                  <a:cubicBezTo>
                    <a:pt x="1302" y="850"/>
                    <a:pt x="1280" y="850"/>
                    <a:pt x="1258" y="850"/>
                  </a:cubicBezTo>
                  <a:cubicBezTo>
                    <a:pt x="506" y="850"/>
                    <a:pt x="1" y="1374"/>
                    <a:pt x="1" y="2048"/>
                  </a:cubicBezTo>
                  <a:lnTo>
                    <a:pt x="1" y="2426"/>
                  </a:lnTo>
                  <a:cubicBezTo>
                    <a:pt x="1" y="4190"/>
                    <a:pt x="1355" y="5608"/>
                    <a:pt x="3088" y="5766"/>
                  </a:cubicBezTo>
                  <a:cubicBezTo>
                    <a:pt x="3498" y="6364"/>
                    <a:pt x="4033" y="6837"/>
                    <a:pt x="4726" y="7120"/>
                  </a:cubicBezTo>
                  <a:cubicBezTo>
                    <a:pt x="4884" y="7183"/>
                    <a:pt x="4947" y="7309"/>
                    <a:pt x="4947" y="7498"/>
                  </a:cubicBezTo>
                  <a:cubicBezTo>
                    <a:pt x="4947" y="8097"/>
                    <a:pt x="4726" y="8885"/>
                    <a:pt x="4348" y="9357"/>
                  </a:cubicBezTo>
                  <a:lnTo>
                    <a:pt x="3718" y="9357"/>
                  </a:lnTo>
                  <a:cubicBezTo>
                    <a:pt x="3529" y="9357"/>
                    <a:pt x="3372" y="9483"/>
                    <a:pt x="3340" y="9641"/>
                  </a:cubicBezTo>
                  <a:lnTo>
                    <a:pt x="2521" y="12130"/>
                  </a:lnTo>
                  <a:cubicBezTo>
                    <a:pt x="2426" y="12382"/>
                    <a:pt x="2615" y="12665"/>
                    <a:pt x="2899" y="12665"/>
                  </a:cubicBezTo>
                  <a:lnTo>
                    <a:pt x="9799" y="12665"/>
                  </a:lnTo>
                  <a:cubicBezTo>
                    <a:pt x="10082" y="12665"/>
                    <a:pt x="10271" y="12382"/>
                    <a:pt x="10177" y="12130"/>
                  </a:cubicBezTo>
                  <a:lnTo>
                    <a:pt x="9357" y="9641"/>
                  </a:lnTo>
                  <a:cubicBezTo>
                    <a:pt x="9326" y="9483"/>
                    <a:pt x="9168" y="9357"/>
                    <a:pt x="8979" y="9357"/>
                  </a:cubicBezTo>
                  <a:lnTo>
                    <a:pt x="8349" y="9357"/>
                  </a:lnTo>
                  <a:cubicBezTo>
                    <a:pt x="7971" y="8885"/>
                    <a:pt x="7751" y="8097"/>
                    <a:pt x="7751" y="7498"/>
                  </a:cubicBezTo>
                  <a:cubicBezTo>
                    <a:pt x="7751" y="7341"/>
                    <a:pt x="7877" y="7183"/>
                    <a:pt x="7971" y="7152"/>
                  </a:cubicBezTo>
                  <a:cubicBezTo>
                    <a:pt x="8601" y="6868"/>
                    <a:pt x="9200" y="6396"/>
                    <a:pt x="9610" y="5829"/>
                  </a:cubicBezTo>
                  <a:cubicBezTo>
                    <a:pt x="10901" y="5734"/>
                    <a:pt x="12004" y="4947"/>
                    <a:pt x="12476" y="3781"/>
                  </a:cubicBezTo>
                  <a:cubicBezTo>
                    <a:pt x="12760" y="3056"/>
                    <a:pt x="12760" y="2552"/>
                    <a:pt x="12760" y="2080"/>
                  </a:cubicBezTo>
                  <a:cubicBezTo>
                    <a:pt x="12760" y="1435"/>
                    <a:pt x="12221" y="850"/>
                    <a:pt x="11581" y="850"/>
                  </a:cubicBezTo>
                  <a:cubicBezTo>
                    <a:pt x="11565" y="850"/>
                    <a:pt x="11548" y="850"/>
                    <a:pt x="11531" y="851"/>
                  </a:cubicBezTo>
                  <a:lnTo>
                    <a:pt x="10271" y="851"/>
                  </a:lnTo>
                  <a:lnTo>
                    <a:pt x="10271" y="410"/>
                  </a:lnTo>
                  <a:cubicBezTo>
                    <a:pt x="10271" y="189"/>
                    <a:pt x="10082" y="0"/>
                    <a:pt x="9830"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9677" name="Google Shape;9677;p110"/>
          <p:cNvGrpSpPr/>
          <p:nvPr/>
        </p:nvGrpSpPr>
        <p:grpSpPr>
          <a:xfrm>
            <a:off x="4146610" y="3835979"/>
            <a:ext cx="363581" cy="498355"/>
            <a:chOff x="-38275925" y="1946600"/>
            <a:chExt cx="231600" cy="317450"/>
          </a:xfrm>
        </p:grpSpPr>
        <p:sp>
          <p:nvSpPr>
            <p:cNvPr id="9678" name="Google Shape;9678;p110"/>
            <p:cNvSpPr/>
            <p:nvPr/>
          </p:nvSpPr>
          <p:spPr>
            <a:xfrm>
              <a:off x="-38275925" y="1946600"/>
              <a:ext cx="231600" cy="317450"/>
            </a:xfrm>
            <a:custGeom>
              <a:avLst/>
              <a:gdLst/>
              <a:ahLst/>
              <a:cxnLst/>
              <a:rect l="l" t="t" r="r" b="b"/>
              <a:pathLst>
                <a:path w="9264" h="12698" extrusionOk="0">
                  <a:moveTo>
                    <a:pt x="4546" y="892"/>
                  </a:moveTo>
                  <a:cubicBezTo>
                    <a:pt x="4811" y="892"/>
                    <a:pt x="5082" y="920"/>
                    <a:pt x="5357" y="977"/>
                  </a:cubicBezTo>
                  <a:cubicBezTo>
                    <a:pt x="6964" y="1292"/>
                    <a:pt x="8287" y="2742"/>
                    <a:pt x="8287" y="4600"/>
                  </a:cubicBezTo>
                  <a:cubicBezTo>
                    <a:pt x="8287" y="5987"/>
                    <a:pt x="7531" y="7215"/>
                    <a:pt x="6396" y="7845"/>
                  </a:cubicBezTo>
                  <a:cubicBezTo>
                    <a:pt x="5987" y="8034"/>
                    <a:pt x="5798" y="8475"/>
                    <a:pt x="5798" y="8885"/>
                  </a:cubicBezTo>
                  <a:lnTo>
                    <a:pt x="5798" y="9169"/>
                  </a:lnTo>
                  <a:lnTo>
                    <a:pt x="3309" y="9169"/>
                  </a:lnTo>
                  <a:lnTo>
                    <a:pt x="3309" y="8854"/>
                  </a:lnTo>
                  <a:cubicBezTo>
                    <a:pt x="3309" y="8412"/>
                    <a:pt x="3088" y="8034"/>
                    <a:pt x="2679" y="7782"/>
                  </a:cubicBezTo>
                  <a:cubicBezTo>
                    <a:pt x="1545" y="7121"/>
                    <a:pt x="820" y="5955"/>
                    <a:pt x="820" y="4600"/>
                  </a:cubicBezTo>
                  <a:cubicBezTo>
                    <a:pt x="820" y="2536"/>
                    <a:pt x="2499" y="892"/>
                    <a:pt x="4546" y="892"/>
                  </a:cubicBezTo>
                  <a:close/>
                  <a:moveTo>
                    <a:pt x="5798" y="9956"/>
                  </a:moveTo>
                  <a:lnTo>
                    <a:pt x="5798" y="10681"/>
                  </a:lnTo>
                  <a:cubicBezTo>
                    <a:pt x="5798" y="10901"/>
                    <a:pt x="5609" y="11059"/>
                    <a:pt x="5357" y="11090"/>
                  </a:cubicBezTo>
                  <a:lnTo>
                    <a:pt x="3719" y="11090"/>
                  </a:lnTo>
                  <a:cubicBezTo>
                    <a:pt x="3467" y="11090"/>
                    <a:pt x="3309" y="10901"/>
                    <a:pt x="3277" y="10681"/>
                  </a:cubicBezTo>
                  <a:lnTo>
                    <a:pt x="3277" y="9956"/>
                  </a:lnTo>
                  <a:close/>
                  <a:moveTo>
                    <a:pt x="4443" y="1"/>
                  </a:moveTo>
                  <a:cubicBezTo>
                    <a:pt x="2049" y="32"/>
                    <a:pt x="1" y="2080"/>
                    <a:pt x="1" y="4600"/>
                  </a:cubicBezTo>
                  <a:cubicBezTo>
                    <a:pt x="1" y="6270"/>
                    <a:pt x="883" y="7719"/>
                    <a:pt x="2238" y="8539"/>
                  </a:cubicBezTo>
                  <a:cubicBezTo>
                    <a:pt x="2332" y="8570"/>
                    <a:pt x="2395" y="8696"/>
                    <a:pt x="2458" y="8759"/>
                  </a:cubicBezTo>
                  <a:lnTo>
                    <a:pt x="2458" y="10681"/>
                  </a:lnTo>
                  <a:cubicBezTo>
                    <a:pt x="2458" y="11216"/>
                    <a:pt x="2805" y="11689"/>
                    <a:pt x="3309" y="11847"/>
                  </a:cubicBezTo>
                  <a:cubicBezTo>
                    <a:pt x="3467" y="12351"/>
                    <a:pt x="3939" y="12697"/>
                    <a:pt x="4506" y="12697"/>
                  </a:cubicBezTo>
                  <a:cubicBezTo>
                    <a:pt x="5042" y="12697"/>
                    <a:pt x="5514" y="12351"/>
                    <a:pt x="5672" y="11847"/>
                  </a:cubicBezTo>
                  <a:cubicBezTo>
                    <a:pt x="6176" y="11689"/>
                    <a:pt x="6554" y="11216"/>
                    <a:pt x="6554" y="10681"/>
                  </a:cubicBezTo>
                  <a:lnTo>
                    <a:pt x="6554" y="8854"/>
                  </a:lnTo>
                  <a:cubicBezTo>
                    <a:pt x="6554" y="8728"/>
                    <a:pt x="6617" y="8570"/>
                    <a:pt x="6712" y="8507"/>
                  </a:cubicBezTo>
                  <a:cubicBezTo>
                    <a:pt x="8318" y="7593"/>
                    <a:pt x="9263" y="5735"/>
                    <a:pt x="8948" y="3750"/>
                  </a:cubicBezTo>
                  <a:cubicBezTo>
                    <a:pt x="8602" y="1702"/>
                    <a:pt x="6806" y="1"/>
                    <a:pt x="4443"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9679" name="Google Shape;9679;p110"/>
            <p:cNvSpPr/>
            <p:nvPr/>
          </p:nvSpPr>
          <p:spPr>
            <a:xfrm>
              <a:off x="-38235750" y="1989125"/>
              <a:ext cx="84300" cy="83525"/>
            </a:xfrm>
            <a:custGeom>
              <a:avLst/>
              <a:gdLst/>
              <a:ahLst/>
              <a:cxnLst/>
              <a:rect l="l" t="t" r="r" b="b"/>
              <a:pathLst>
                <a:path w="3372" h="3341" extrusionOk="0">
                  <a:moveTo>
                    <a:pt x="2931" y="1"/>
                  </a:moveTo>
                  <a:cubicBezTo>
                    <a:pt x="1355" y="1"/>
                    <a:pt x="64" y="1293"/>
                    <a:pt x="1" y="2899"/>
                  </a:cubicBezTo>
                  <a:cubicBezTo>
                    <a:pt x="1" y="3120"/>
                    <a:pt x="158" y="3340"/>
                    <a:pt x="410" y="3340"/>
                  </a:cubicBezTo>
                  <a:cubicBezTo>
                    <a:pt x="631" y="3340"/>
                    <a:pt x="851" y="3120"/>
                    <a:pt x="851" y="2899"/>
                  </a:cubicBezTo>
                  <a:cubicBezTo>
                    <a:pt x="883" y="1765"/>
                    <a:pt x="1796" y="820"/>
                    <a:pt x="2931" y="820"/>
                  </a:cubicBezTo>
                  <a:cubicBezTo>
                    <a:pt x="3151" y="820"/>
                    <a:pt x="3372" y="631"/>
                    <a:pt x="3372" y="379"/>
                  </a:cubicBezTo>
                  <a:cubicBezTo>
                    <a:pt x="3372" y="190"/>
                    <a:pt x="3151" y="1"/>
                    <a:pt x="2931"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sp>
        <p:nvSpPr>
          <p:cNvPr id="9680" name="Google Shape;9680;p110"/>
          <p:cNvSpPr/>
          <p:nvPr/>
        </p:nvSpPr>
        <p:spPr>
          <a:xfrm>
            <a:off x="4077164" y="4411601"/>
            <a:ext cx="499571" cy="498785"/>
          </a:xfrm>
          <a:custGeom>
            <a:avLst/>
            <a:gdLst/>
            <a:ahLst/>
            <a:cxnLst/>
            <a:rect l="l" t="t" r="r" b="b"/>
            <a:pathLst>
              <a:path w="12729" h="12709" extrusionOk="0">
                <a:moveTo>
                  <a:pt x="7089" y="894"/>
                </a:moveTo>
                <a:lnTo>
                  <a:pt x="7089" y="894"/>
                </a:lnTo>
                <a:cubicBezTo>
                  <a:pt x="8160" y="989"/>
                  <a:pt x="9137" y="1461"/>
                  <a:pt x="9956" y="2186"/>
                </a:cubicBezTo>
                <a:lnTo>
                  <a:pt x="8192" y="3950"/>
                </a:lnTo>
                <a:cubicBezTo>
                  <a:pt x="7436" y="3099"/>
                  <a:pt x="7089" y="1934"/>
                  <a:pt x="7089" y="894"/>
                </a:cubicBezTo>
                <a:close/>
                <a:moveTo>
                  <a:pt x="10555" y="2721"/>
                </a:moveTo>
                <a:cubicBezTo>
                  <a:pt x="11248" y="3572"/>
                  <a:pt x="11689" y="4549"/>
                  <a:pt x="11847" y="5620"/>
                </a:cubicBezTo>
                <a:cubicBezTo>
                  <a:pt x="10775" y="5620"/>
                  <a:pt x="9673" y="5242"/>
                  <a:pt x="8791" y="4486"/>
                </a:cubicBezTo>
                <a:lnTo>
                  <a:pt x="10555" y="2721"/>
                </a:lnTo>
                <a:close/>
                <a:moveTo>
                  <a:pt x="6270" y="831"/>
                </a:moveTo>
                <a:cubicBezTo>
                  <a:pt x="6207" y="2154"/>
                  <a:pt x="6680" y="3477"/>
                  <a:pt x="7593" y="4549"/>
                </a:cubicBezTo>
                <a:lnTo>
                  <a:pt x="6365" y="5777"/>
                </a:lnTo>
                <a:lnTo>
                  <a:pt x="2805" y="2186"/>
                </a:lnTo>
                <a:cubicBezTo>
                  <a:pt x="3781" y="1304"/>
                  <a:pt x="5010" y="831"/>
                  <a:pt x="6270" y="831"/>
                </a:cubicBezTo>
                <a:close/>
                <a:moveTo>
                  <a:pt x="2206" y="2721"/>
                </a:moveTo>
                <a:lnTo>
                  <a:pt x="5798" y="6313"/>
                </a:lnTo>
                <a:lnTo>
                  <a:pt x="4569" y="7542"/>
                </a:lnTo>
                <a:cubicBezTo>
                  <a:pt x="3648" y="6620"/>
                  <a:pt x="2337" y="6028"/>
                  <a:pt x="958" y="6028"/>
                </a:cubicBezTo>
                <a:cubicBezTo>
                  <a:pt x="923" y="6028"/>
                  <a:pt x="887" y="6029"/>
                  <a:pt x="851" y="6029"/>
                </a:cubicBezTo>
                <a:cubicBezTo>
                  <a:pt x="946" y="4864"/>
                  <a:pt x="1387" y="3666"/>
                  <a:pt x="2206" y="2721"/>
                </a:cubicBezTo>
                <a:close/>
                <a:moveTo>
                  <a:pt x="8192" y="5147"/>
                </a:moveTo>
                <a:cubicBezTo>
                  <a:pt x="9263" y="6029"/>
                  <a:pt x="10586" y="6470"/>
                  <a:pt x="11878" y="6470"/>
                </a:cubicBezTo>
                <a:cubicBezTo>
                  <a:pt x="11847" y="7699"/>
                  <a:pt x="11405" y="8959"/>
                  <a:pt x="10555" y="9936"/>
                </a:cubicBezTo>
                <a:lnTo>
                  <a:pt x="6963" y="6344"/>
                </a:lnTo>
                <a:lnTo>
                  <a:pt x="8192" y="5147"/>
                </a:lnTo>
                <a:close/>
                <a:moveTo>
                  <a:pt x="1027" y="6910"/>
                </a:moveTo>
                <a:cubicBezTo>
                  <a:pt x="2180" y="6910"/>
                  <a:pt x="3239" y="7378"/>
                  <a:pt x="4002" y="8172"/>
                </a:cubicBezTo>
                <a:lnTo>
                  <a:pt x="2206" y="9967"/>
                </a:lnTo>
                <a:cubicBezTo>
                  <a:pt x="1450" y="9117"/>
                  <a:pt x="1009" y="8046"/>
                  <a:pt x="914" y="6911"/>
                </a:cubicBezTo>
                <a:cubicBezTo>
                  <a:pt x="952" y="6910"/>
                  <a:pt x="989" y="6910"/>
                  <a:pt x="1027" y="6910"/>
                </a:cubicBezTo>
                <a:close/>
                <a:moveTo>
                  <a:pt x="4537" y="8770"/>
                </a:moveTo>
                <a:cubicBezTo>
                  <a:pt x="5104" y="9652"/>
                  <a:pt x="5325" y="10692"/>
                  <a:pt x="5199" y="11700"/>
                </a:cubicBezTo>
                <a:cubicBezTo>
                  <a:pt x="4285" y="11511"/>
                  <a:pt x="3498" y="11133"/>
                  <a:pt x="2805" y="10503"/>
                </a:cubicBezTo>
                <a:lnTo>
                  <a:pt x="4537" y="8770"/>
                </a:lnTo>
                <a:close/>
                <a:moveTo>
                  <a:pt x="6365" y="6911"/>
                </a:moveTo>
                <a:lnTo>
                  <a:pt x="9956" y="10503"/>
                </a:lnTo>
                <a:cubicBezTo>
                  <a:pt x="8948" y="11399"/>
                  <a:pt x="7716" y="11847"/>
                  <a:pt x="6481" y="11847"/>
                </a:cubicBezTo>
                <a:cubicBezTo>
                  <a:pt x="6327" y="11847"/>
                  <a:pt x="6172" y="11840"/>
                  <a:pt x="6018" y="11826"/>
                </a:cubicBezTo>
                <a:cubicBezTo>
                  <a:pt x="6176" y="10566"/>
                  <a:pt x="5892" y="9274"/>
                  <a:pt x="5104" y="8172"/>
                </a:cubicBezTo>
                <a:lnTo>
                  <a:pt x="6365" y="6911"/>
                </a:lnTo>
                <a:close/>
                <a:moveTo>
                  <a:pt x="6349" y="0"/>
                </a:moveTo>
                <a:cubicBezTo>
                  <a:pt x="2842" y="0"/>
                  <a:pt x="1" y="2821"/>
                  <a:pt x="1" y="6344"/>
                </a:cubicBezTo>
                <a:cubicBezTo>
                  <a:pt x="1" y="9873"/>
                  <a:pt x="2836" y="12708"/>
                  <a:pt x="6333" y="12708"/>
                </a:cubicBezTo>
                <a:cubicBezTo>
                  <a:pt x="9830" y="12708"/>
                  <a:pt x="12666" y="9873"/>
                  <a:pt x="12666" y="6344"/>
                </a:cubicBezTo>
                <a:cubicBezTo>
                  <a:pt x="12729" y="2973"/>
                  <a:pt x="10082" y="201"/>
                  <a:pt x="6743" y="12"/>
                </a:cubicBezTo>
                <a:cubicBezTo>
                  <a:pt x="6611" y="4"/>
                  <a:pt x="6479" y="0"/>
                  <a:pt x="6349"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9681" name="Google Shape;9681;p110"/>
          <p:cNvSpPr/>
          <p:nvPr/>
        </p:nvSpPr>
        <p:spPr>
          <a:xfrm>
            <a:off x="4183934" y="5068801"/>
            <a:ext cx="293095" cy="499571"/>
          </a:xfrm>
          <a:custGeom>
            <a:avLst/>
            <a:gdLst/>
            <a:ahLst/>
            <a:cxnLst/>
            <a:rect l="l" t="t" r="r" b="b"/>
            <a:pathLst>
              <a:path w="7468" h="12729" extrusionOk="0">
                <a:moveTo>
                  <a:pt x="3715" y="5763"/>
                </a:moveTo>
                <a:cubicBezTo>
                  <a:pt x="3853" y="5763"/>
                  <a:pt x="3994" y="5833"/>
                  <a:pt x="4096" y="5955"/>
                </a:cubicBezTo>
                <a:cubicBezTo>
                  <a:pt x="4285" y="6239"/>
                  <a:pt x="4096" y="6585"/>
                  <a:pt x="3718" y="6585"/>
                </a:cubicBezTo>
                <a:cubicBezTo>
                  <a:pt x="3561" y="6585"/>
                  <a:pt x="3466" y="6491"/>
                  <a:pt x="3372" y="6396"/>
                </a:cubicBezTo>
                <a:cubicBezTo>
                  <a:pt x="3246" y="6239"/>
                  <a:pt x="3309" y="5955"/>
                  <a:pt x="3498" y="5829"/>
                </a:cubicBezTo>
                <a:cubicBezTo>
                  <a:pt x="3565" y="5784"/>
                  <a:pt x="3639" y="5763"/>
                  <a:pt x="3715" y="5763"/>
                </a:cubicBezTo>
                <a:close/>
                <a:moveTo>
                  <a:pt x="4128" y="1922"/>
                </a:moveTo>
                <a:lnTo>
                  <a:pt x="6554" y="6176"/>
                </a:lnTo>
                <a:lnTo>
                  <a:pt x="5104" y="9074"/>
                </a:lnTo>
                <a:lnTo>
                  <a:pt x="2300" y="9074"/>
                </a:lnTo>
                <a:cubicBezTo>
                  <a:pt x="1954" y="8349"/>
                  <a:pt x="977" y="6333"/>
                  <a:pt x="851" y="6176"/>
                </a:cubicBezTo>
                <a:lnTo>
                  <a:pt x="3309" y="1922"/>
                </a:lnTo>
                <a:lnTo>
                  <a:pt x="3309" y="5010"/>
                </a:lnTo>
                <a:cubicBezTo>
                  <a:pt x="2836" y="5167"/>
                  <a:pt x="2458" y="5640"/>
                  <a:pt x="2458" y="6176"/>
                </a:cubicBezTo>
                <a:cubicBezTo>
                  <a:pt x="2458" y="6837"/>
                  <a:pt x="3025" y="7436"/>
                  <a:pt x="3718" y="7436"/>
                </a:cubicBezTo>
                <a:cubicBezTo>
                  <a:pt x="4411" y="7436"/>
                  <a:pt x="4978" y="6900"/>
                  <a:pt x="4947" y="6176"/>
                </a:cubicBezTo>
                <a:cubicBezTo>
                  <a:pt x="4947" y="5640"/>
                  <a:pt x="4600" y="5199"/>
                  <a:pt x="4128" y="5010"/>
                </a:cubicBezTo>
                <a:lnTo>
                  <a:pt x="4128" y="1922"/>
                </a:lnTo>
                <a:close/>
                <a:moveTo>
                  <a:pt x="4947" y="9893"/>
                </a:moveTo>
                <a:lnTo>
                  <a:pt x="4947" y="11815"/>
                </a:lnTo>
                <a:lnTo>
                  <a:pt x="2458" y="11815"/>
                </a:lnTo>
                <a:lnTo>
                  <a:pt x="2458" y="9893"/>
                </a:lnTo>
                <a:close/>
                <a:moveTo>
                  <a:pt x="3592" y="1"/>
                </a:moveTo>
                <a:cubicBezTo>
                  <a:pt x="3529" y="32"/>
                  <a:pt x="3466" y="95"/>
                  <a:pt x="3435" y="127"/>
                </a:cubicBezTo>
                <a:cubicBezTo>
                  <a:pt x="3435" y="127"/>
                  <a:pt x="3435" y="158"/>
                  <a:pt x="3372" y="158"/>
                </a:cubicBezTo>
                <a:lnTo>
                  <a:pt x="3372" y="190"/>
                </a:lnTo>
                <a:lnTo>
                  <a:pt x="64" y="5987"/>
                </a:lnTo>
                <a:cubicBezTo>
                  <a:pt x="1" y="6113"/>
                  <a:pt x="1" y="6270"/>
                  <a:pt x="64" y="6396"/>
                </a:cubicBezTo>
                <a:lnTo>
                  <a:pt x="1670" y="9610"/>
                </a:lnTo>
                <a:lnTo>
                  <a:pt x="1670" y="12288"/>
                </a:lnTo>
                <a:cubicBezTo>
                  <a:pt x="1670" y="12540"/>
                  <a:pt x="1891" y="12729"/>
                  <a:pt x="2080" y="12729"/>
                </a:cubicBezTo>
                <a:lnTo>
                  <a:pt x="5388" y="12729"/>
                </a:lnTo>
                <a:cubicBezTo>
                  <a:pt x="5608" y="12729"/>
                  <a:pt x="5829" y="12540"/>
                  <a:pt x="5829" y="12288"/>
                </a:cubicBezTo>
                <a:lnTo>
                  <a:pt x="5829" y="9610"/>
                </a:lnTo>
                <a:lnTo>
                  <a:pt x="7436" y="6396"/>
                </a:lnTo>
                <a:cubicBezTo>
                  <a:pt x="7467" y="6239"/>
                  <a:pt x="7436" y="6113"/>
                  <a:pt x="7404" y="5987"/>
                </a:cubicBezTo>
                <a:lnTo>
                  <a:pt x="4096" y="190"/>
                </a:lnTo>
                <a:lnTo>
                  <a:pt x="4096" y="158"/>
                </a:lnTo>
                <a:cubicBezTo>
                  <a:pt x="4096" y="158"/>
                  <a:pt x="4096" y="127"/>
                  <a:pt x="4033" y="127"/>
                </a:cubicBezTo>
                <a:cubicBezTo>
                  <a:pt x="4002" y="95"/>
                  <a:pt x="3970" y="32"/>
                  <a:pt x="3876"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nvGrpSpPr>
          <p:cNvPr id="9682" name="Google Shape;9682;p110"/>
          <p:cNvGrpSpPr/>
          <p:nvPr/>
        </p:nvGrpSpPr>
        <p:grpSpPr>
          <a:xfrm>
            <a:off x="2898455" y="5699236"/>
            <a:ext cx="509461" cy="495881"/>
            <a:chOff x="-37190575" y="1951325"/>
            <a:chExt cx="324525" cy="315875"/>
          </a:xfrm>
        </p:grpSpPr>
        <p:sp>
          <p:nvSpPr>
            <p:cNvPr id="9683" name="Google Shape;9683;p110"/>
            <p:cNvSpPr/>
            <p:nvPr/>
          </p:nvSpPr>
          <p:spPr>
            <a:xfrm>
              <a:off x="-37190575" y="1951325"/>
              <a:ext cx="324525" cy="315875"/>
            </a:xfrm>
            <a:custGeom>
              <a:avLst/>
              <a:gdLst/>
              <a:ahLst/>
              <a:cxnLst/>
              <a:rect l="l" t="t" r="r" b="b"/>
              <a:pathLst>
                <a:path w="12981" h="12635" extrusionOk="0">
                  <a:moveTo>
                    <a:pt x="6693" y="790"/>
                  </a:moveTo>
                  <a:cubicBezTo>
                    <a:pt x="8301" y="790"/>
                    <a:pt x="9913" y="1489"/>
                    <a:pt x="11028" y="2868"/>
                  </a:cubicBezTo>
                  <a:cubicBezTo>
                    <a:pt x="11752" y="3813"/>
                    <a:pt x="12193" y="5010"/>
                    <a:pt x="12193" y="6270"/>
                  </a:cubicBezTo>
                  <a:cubicBezTo>
                    <a:pt x="12162" y="7058"/>
                    <a:pt x="11563" y="7593"/>
                    <a:pt x="10870" y="7593"/>
                  </a:cubicBezTo>
                  <a:lnTo>
                    <a:pt x="10019" y="7593"/>
                  </a:lnTo>
                  <a:cubicBezTo>
                    <a:pt x="8854" y="7593"/>
                    <a:pt x="7940" y="8539"/>
                    <a:pt x="7940" y="9704"/>
                  </a:cubicBezTo>
                  <a:lnTo>
                    <a:pt x="7940" y="10523"/>
                  </a:lnTo>
                  <a:cubicBezTo>
                    <a:pt x="7940" y="11216"/>
                    <a:pt x="7404" y="11784"/>
                    <a:pt x="6680" y="11815"/>
                  </a:cubicBezTo>
                  <a:cubicBezTo>
                    <a:pt x="6239" y="11815"/>
                    <a:pt x="5892" y="11784"/>
                    <a:pt x="5420" y="11658"/>
                  </a:cubicBezTo>
                  <a:cubicBezTo>
                    <a:pt x="3844" y="11311"/>
                    <a:pt x="2490" y="10208"/>
                    <a:pt x="1765" y="8791"/>
                  </a:cubicBezTo>
                  <a:cubicBezTo>
                    <a:pt x="536" y="6428"/>
                    <a:pt x="1261" y="3340"/>
                    <a:pt x="3624" y="1733"/>
                  </a:cubicBezTo>
                  <a:cubicBezTo>
                    <a:pt x="4545" y="1102"/>
                    <a:pt x="5618" y="790"/>
                    <a:pt x="6693" y="790"/>
                  </a:cubicBezTo>
                  <a:close/>
                  <a:moveTo>
                    <a:pt x="6648" y="1"/>
                  </a:moveTo>
                  <a:cubicBezTo>
                    <a:pt x="4474" y="1"/>
                    <a:pt x="2553" y="1103"/>
                    <a:pt x="1419" y="2805"/>
                  </a:cubicBezTo>
                  <a:cubicBezTo>
                    <a:pt x="95" y="4726"/>
                    <a:pt x="1" y="7215"/>
                    <a:pt x="1009" y="9169"/>
                  </a:cubicBezTo>
                  <a:cubicBezTo>
                    <a:pt x="2080" y="11216"/>
                    <a:pt x="4191" y="12634"/>
                    <a:pt x="6680" y="12634"/>
                  </a:cubicBezTo>
                  <a:cubicBezTo>
                    <a:pt x="7814" y="12634"/>
                    <a:pt x="8791" y="11689"/>
                    <a:pt x="8791" y="10523"/>
                  </a:cubicBezTo>
                  <a:lnTo>
                    <a:pt x="8791" y="9704"/>
                  </a:lnTo>
                  <a:cubicBezTo>
                    <a:pt x="8791" y="8980"/>
                    <a:pt x="9358" y="8444"/>
                    <a:pt x="10019" y="8444"/>
                  </a:cubicBezTo>
                  <a:lnTo>
                    <a:pt x="10870" y="8444"/>
                  </a:lnTo>
                  <a:cubicBezTo>
                    <a:pt x="12004" y="8444"/>
                    <a:pt x="12981" y="7499"/>
                    <a:pt x="12981" y="6333"/>
                  </a:cubicBezTo>
                  <a:cubicBezTo>
                    <a:pt x="12981" y="2962"/>
                    <a:pt x="10240" y="1"/>
                    <a:pt x="6648"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9684" name="Google Shape;9684;p110"/>
            <p:cNvSpPr/>
            <p:nvPr/>
          </p:nvSpPr>
          <p:spPr>
            <a:xfrm>
              <a:off x="-37081875" y="2162600"/>
              <a:ext cx="72475" cy="63100"/>
            </a:xfrm>
            <a:custGeom>
              <a:avLst/>
              <a:gdLst/>
              <a:ahLst/>
              <a:cxnLst/>
              <a:rect l="l" t="t" r="r" b="b"/>
              <a:pathLst>
                <a:path w="2899" h="2524" extrusionOk="0">
                  <a:moveTo>
                    <a:pt x="1418" y="812"/>
                  </a:moveTo>
                  <a:cubicBezTo>
                    <a:pt x="1670" y="812"/>
                    <a:pt x="1859" y="1001"/>
                    <a:pt x="1859" y="1253"/>
                  </a:cubicBezTo>
                  <a:cubicBezTo>
                    <a:pt x="1859" y="1474"/>
                    <a:pt x="1670" y="1663"/>
                    <a:pt x="1418" y="1663"/>
                  </a:cubicBezTo>
                  <a:cubicBezTo>
                    <a:pt x="1198" y="1663"/>
                    <a:pt x="1009" y="1474"/>
                    <a:pt x="1009" y="1253"/>
                  </a:cubicBezTo>
                  <a:cubicBezTo>
                    <a:pt x="1009" y="1001"/>
                    <a:pt x="1198" y="812"/>
                    <a:pt x="1418" y="812"/>
                  </a:cubicBezTo>
                  <a:close/>
                  <a:moveTo>
                    <a:pt x="1405" y="0"/>
                  </a:moveTo>
                  <a:cubicBezTo>
                    <a:pt x="1250" y="0"/>
                    <a:pt x="1094" y="28"/>
                    <a:pt x="946" y="88"/>
                  </a:cubicBezTo>
                  <a:cubicBezTo>
                    <a:pt x="316" y="371"/>
                    <a:pt x="0" y="1127"/>
                    <a:pt x="284" y="1757"/>
                  </a:cubicBezTo>
                  <a:cubicBezTo>
                    <a:pt x="496" y="2229"/>
                    <a:pt x="973" y="2524"/>
                    <a:pt x="1463" y="2524"/>
                  </a:cubicBezTo>
                  <a:cubicBezTo>
                    <a:pt x="1628" y="2524"/>
                    <a:pt x="1795" y="2490"/>
                    <a:pt x="1954" y="2419"/>
                  </a:cubicBezTo>
                  <a:cubicBezTo>
                    <a:pt x="2584" y="2135"/>
                    <a:pt x="2899" y="1379"/>
                    <a:pt x="2615" y="749"/>
                  </a:cubicBezTo>
                  <a:cubicBezTo>
                    <a:pt x="2399" y="292"/>
                    <a:pt x="1907" y="0"/>
                    <a:pt x="1405"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9685" name="Google Shape;9685;p110"/>
            <p:cNvSpPr/>
            <p:nvPr/>
          </p:nvSpPr>
          <p:spPr>
            <a:xfrm>
              <a:off x="-37144875" y="2099025"/>
              <a:ext cx="72475" cy="62875"/>
            </a:xfrm>
            <a:custGeom>
              <a:avLst/>
              <a:gdLst/>
              <a:ahLst/>
              <a:cxnLst/>
              <a:rect l="l" t="t" r="r" b="b"/>
              <a:pathLst>
                <a:path w="2899" h="2515" extrusionOk="0">
                  <a:moveTo>
                    <a:pt x="1418" y="835"/>
                  </a:moveTo>
                  <a:cubicBezTo>
                    <a:pt x="1670" y="835"/>
                    <a:pt x="1859" y="1024"/>
                    <a:pt x="1859" y="1276"/>
                  </a:cubicBezTo>
                  <a:cubicBezTo>
                    <a:pt x="1859" y="1496"/>
                    <a:pt x="1670" y="1685"/>
                    <a:pt x="1418" y="1685"/>
                  </a:cubicBezTo>
                  <a:cubicBezTo>
                    <a:pt x="1197" y="1685"/>
                    <a:pt x="1008" y="1496"/>
                    <a:pt x="1008" y="1276"/>
                  </a:cubicBezTo>
                  <a:cubicBezTo>
                    <a:pt x="1008" y="1024"/>
                    <a:pt x="1197" y="835"/>
                    <a:pt x="1418" y="835"/>
                  </a:cubicBezTo>
                  <a:close/>
                  <a:moveTo>
                    <a:pt x="1411" y="0"/>
                  </a:moveTo>
                  <a:cubicBezTo>
                    <a:pt x="1254" y="0"/>
                    <a:pt x="1096" y="26"/>
                    <a:pt x="945" y="79"/>
                  </a:cubicBezTo>
                  <a:cubicBezTo>
                    <a:pt x="315" y="362"/>
                    <a:pt x="0" y="1118"/>
                    <a:pt x="284" y="1748"/>
                  </a:cubicBezTo>
                  <a:cubicBezTo>
                    <a:pt x="496" y="2220"/>
                    <a:pt x="972" y="2515"/>
                    <a:pt x="1463" y="2515"/>
                  </a:cubicBezTo>
                  <a:cubicBezTo>
                    <a:pt x="1628" y="2515"/>
                    <a:pt x="1795" y="2481"/>
                    <a:pt x="1953" y="2410"/>
                  </a:cubicBezTo>
                  <a:cubicBezTo>
                    <a:pt x="2583" y="2126"/>
                    <a:pt x="2899" y="1370"/>
                    <a:pt x="2615" y="740"/>
                  </a:cubicBezTo>
                  <a:cubicBezTo>
                    <a:pt x="2399" y="261"/>
                    <a:pt x="1910" y="0"/>
                    <a:pt x="1411"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9686" name="Google Shape;9686;p110"/>
            <p:cNvSpPr/>
            <p:nvPr/>
          </p:nvSpPr>
          <p:spPr>
            <a:xfrm>
              <a:off x="-37123625" y="2014875"/>
              <a:ext cx="71700" cy="62775"/>
            </a:xfrm>
            <a:custGeom>
              <a:avLst/>
              <a:gdLst/>
              <a:ahLst/>
              <a:cxnLst/>
              <a:rect l="l" t="t" r="r" b="b"/>
              <a:pathLst>
                <a:path w="2868" h="2511" extrusionOk="0">
                  <a:moveTo>
                    <a:pt x="1418" y="798"/>
                  </a:moveTo>
                  <a:cubicBezTo>
                    <a:pt x="1639" y="798"/>
                    <a:pt x="1828" y="1019"/>
                    <a:pt x="1828" y="1239"/>
                  </a:cubicBezTo>
                  <a:cubicBezTo>
                    <a:pt x="1828" y="1460"/>
                    <a:pt x="1639" y="1680"/>
                    <a:pt x="1418" y="1680"/>
                  </a:cubicBezTo>
                  <a:cubicBezTo>
                    <a:pt x="1166" y="1680"/>
                    <a:pt x="977" y="1460"/>
                    <a:pt x="977" y="1239"/>
                  </a:cubicBezTo>
                  <a:cubicBezTo>
                    <a:pt x="1009" y="1019"/>
                    <a:pt x="1166" y="798"/>
                    <a:pt x="1418" y="798"/>
                  </a:cubicBezTo>
                  <a:close/>
                  <a:moveTo>
                    <a:pt x="1431" y="0"/>
                  </a:moveTo>
                  <a:cubicBezTo>
                    <a:pt x="1269" y="0"/>
                    <a:pt x="1105" y="34"/>
                    <a:pt x="946" y="105"/>
                  </a:cubicBezTo>
                  <a:cubicBezTo>
                    <a:pt x="316" y="389"/>
                    <a:pt x="1" y="1113"/>
                    <a:pt x="253" y="1743"/>
                  </a:cubicBezTo>
                  <a:cubicBezTo>
                    <a:pt x="472" y="2231"/>
                    <a:pt x="974" y="2511"/>
                    <a:pt x="1481" y="2511"/>
                  </a:cubicBezTo>
                  <a:cubicBezTo>
                    <a:pt x="1630" y="2511"/>
                    <a:pt x="1780" y="2487"/>
                    <a:pt x="1923" y="2436"/>
                  </a:cubicBezTo>
                  <a:cubicBezTo>
                    <a:pt x="2553" y="2153"/>
                    <a:pt x="2868" y="1397"/>
                    <a:pt x="2584" y="767"/>
                  </a:cubicBezTo>
                  <a:cubicBezTo>
                    <a:pt x="2372" y="295"/>
                    <a:pt x="1913" y="0"/>
                    <a:pt x="1431"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9687" name="Google Shape;9687;p110"/>
            <p:cNvSpPr/>
            <p:nvPr/>
          </p:nvSpPr>
          <p:spPr>
            <a:xfrm>
              <a:off x="-37039350" y="1993250"/>
              <a:ext cx="71700" cy="63125"/>
            </a:xfrm>
            <a:custGeom>
              <a:avLst/>
              <a:gdLst/>
              <a:ahLst/>
              <a:cxnLst/>
              <a:rect l="l" t="t" r="r" b="b"/>
              <a:pathLst>
                <a:path w="2868" h="2525" extrusionOk="0">
                  <a:moveTo>
                    <a:pt x="1418" y="844"/>
                  </a:moveTo>
                  <a:cubicBezTo>
                    <a:pt x="1671" y="844"/>
                    <a:pt x="1860" y="1033"/>
                    <a:pt x="1860" y="1285"/>
                  </a:cubicBezTo>
                  <a:cubicBezTo>
                    <a:pt x="1860" y="1506"/>
                    <a:pt x="1671" y="1726"/>
                    <a:pt x="1418" y="1726"/>
                  </a:cubicBezTo>
                  <a:cubicBezTo>
                    <a:pt x="1198" y="1726"/>
                    <a:pt x="977" y="1506"/>
                    <a:pt x="977" y="1285"/>
                  </a:cubicBezTo>
                  <a:cubicBezTo>
                    <a:pt x="977" y="1033"/>
                    <a:pt x="1198" y="844"/>
                    <a:pt x="1418" y="844"/>
                  </a:cubicBezTo>
                  <a:close/>
                  <a:moveTo>
                    <a:pt x="1402" y="1"/>
                  </a:moveTo>
                  <a:cubicBezTo>
                    <a:pt x="1248" y="1"/>
                    <a:pt x="1094" y="29"/>
                    <a:pt x="946" y="88"/>
                  </a:cubicBezTo>
                  <a:cubicBezTo>
                    <a:pt x="316" y="372"/>
                    <a:pt x="1" y="1128"/>
                    <a:pt x="284" y="1758"/>
                  </a:cubicBezTo>
                  <a:cubicBezTo>
                    <a:pt x="496" y="2229"/>
                    <a:pt x="955" y="2524"/>
                    <a:pt x="1437" y="2524"/>
                  </a:cubicBezTo>
                  <a:cubicBezTo>
                    <a:pt x="1599" y="2524"/>
                    <a:pt x="1764" y="2491"/>
                    <a:pt x="1923" y="2419"/>
                  </a:cubicBezTo>
                  <a:cubicBezTo>
                    <a:pt x="2553" y="2136"/>
                    <a:pt x="2868" y="1411"/>
                    <a:pt x="2616" y="781"/>
                  </a:cubicBezTo>
                  <a:cubicBezTo>
                    <a:pt x="2399" y="299"/>
                    <a:pt x="1905" y="1"/>
                    <a:pt x="1402"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sp>
        <p:nvSpPr>
          <p:cNvPr id="9688" name="Google Shape;9688;p110"/>
          <p:cNvSpPr/>
          <p:nvPr/>
        </p:nvSpPr>
        <p:spPr>
          <a:xfrm>
            <a:off x="3388795" y="2041967"/>
            <a:ext cx="504516" cy="498315"/>
          </a:xfrm>
          <a:custGeom>
            <a:avLst/>
            <a:gdLst/>
            <a:ahLst/>
            <a:cxnLst/>
            <a:rect l="l" t="t" r="r" b="b"/>
            <a:pathLst>
              <a:path w="12855" h="12697" extrusionOk="0">
                <a:moveTo>
                  <a:pt x="8035" y="1032"/>
                </a:moveTo>
                <a:lnTo>
                  <a:pt x="11847" y="4844"/>
                </a:lnTo>
                <a:lnTo>
                  <a:pt x="7468" y="9223"/>
                </a:lnTo>
                <a:lnTo>
                  <a:pt x="3655" y="5380"/>
                </a:lnTo>
                <a:lnTo>
                  <a:pt x="8035" y="1032"/>
                </a:lnTo>
                <a:close/>
                <a:moveTo>
                  <a:pt x="3057" y="5978"/>
                </a:moveTo>
                <a:lnTo>
                  <a:pt x="6869" y="9790"/>
                </a:lnTo>
                <a:lnTo>
                  <a:pt x="4916" y="11775"/>
                </a:lnTo>
                <a:cubicBezTo>
                  <a:pt x="4837" y="11854"/>
                  <a:pt x="4727" y="11893"/>
                  <a:pt x="4616" y="11893"/>
                </a:cubicBezTo>
                <a:cubicBezTo>
                  <a:pt x="4506" y="11893"/>
                  <a:pt x="4396" y="11854"/>
                  <a:pt x="4317" y="11775"/>
                </a:cubicBezTo>
                <a:lnTo>
                  <a:pt x="1104" y="8530"/>
                </a:lnTo>
                <a:cubicBezTo>
                  <a:pt x="946" y="8372"/>
                  <a:pt x="946" y="8120"/>
                  <a:pt x="1104" y="7963"/>
                </a:cubicBezTo>
                <a:lnTo>
                  <a:pt x="3057" y="5978"/>
                </a:lnTo>
                <a:close/>
                <a:moveTo>
                  <a:pt x="7987" y="0"/>
                </a:moveTo>
                <a:cubicBezTo>
                  <a:pt x="7877" y="0"/>
                  <a:pt x="7767" y="39"/>
                  <a:pt x="7688" y="118"/>
                </a:cubicBezTo>
                <a:lnTo>
                  <a:pt x="442" y="7364"/>
                </a:lnTo>
                <a:cubicBezTo>
                  <a:pt x="1" y="7837"/>
                  <a:pt x="1" y="8625"/>
                  <a:pt x="442" y="9129"/>
                </a:cubicBezTo>
                <a:lnTo>
                  <a:pt x="3687" y="12342"/>
                </a:lnTo>
                <a:cubicBezTo>
                  <a:pt x="3923" y="12578"/>
                  <a:pt x="4238" y="12697"/>
                  <a:pt x="4557" y="12697"/>
                </a:cubicBezTo>
                <a:cubicBezTo>
                  <a:pt x="4876" y="12697"/>
                  <a:pt x="5199" y="12578"/>
                  <a:pt x="5451" y="12342"/>
                </a:cubicBezTo>
                <a:lnTo>
                  <a:pt x="12697" y="5096"/>
                </a:lnTo>
                <a:cubicBezTo>
                  <a:pt x="12855" y="4970"/>
                  <a:pt x="12855" y="4686"/>
                  <a:pt x="12697" y="4529"/>
                </a:cubicBezTo>
                <a:lnTo>
                  <a:pt x="8287" y="118"/>
                </a:lnTo>
                <a:cubicBezTo>
                  <a:pt x="8208" y="39"/>
                  <a:pt x="8098" y="0"/>
                  <a:pt x="7987"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nvGrpSpPr>
          <p:cNvPr id="9689" name="Google Shape;9689;p110"/>
          <p:cNvGrpSpPr/>
          <p:nvPr/>
        </p:nvGrpSpPr>
        <p:grpSpPr>
          <a:xfrm>
            <a:off x="3432192" y="2747437"/>
            <a:ext cx="498315" cy="390740"/>
            <a:chOff x="-41694200" y="2382950"/>
            <a:chExt cx="317425" cy="248900"/>
          </a:xfrm>
        </p:grpSpPr>
        <p:sp>
          <p:nvSpPr>
            <p:cNvPr id="9690" name="Google Shape;9690;p110"/>
            <p:cNvSpPr/>
            <p:nvPr/>
          </p:nvSpPr>
          <p:spPr>
            <a:xfrm>
              <a:off x="-41694200" y="2382950"/>
              <a:ext cx="317425" cy="248900"/>
            </a:xfrm>
            <a:custGeom>
              <a:avLst/>
              <a:gdLst/>
              <a:ahLst/>
              <a:cxnLst/>
              <a:rect l="l" t="t" r="r" b="b"/>
              <a:pathLst>
                <a:path w="12697" h="9956" extrusionOk="0">
                  <a:moveTo>
                    <a:pt x="10555" y="851"/>
                  </a:moveTo>
                  <a:cubicBezTo>
                    <a:pt x="10807" y="851"/>
                    <a:pt x="10964" y="1040"/>
                    <a:pt x="10964" y="1292"/>
                  </a:cubicBezTo>
                  <a:lnTo>
                    <a:pt x="10964" y="7499"/>
                  </a:lnTo>
                  <a:lnTo>
                    <a:pt x="1576" y="7499"/>
                  </a:lnTo>
                  <a:lnTo>
                    <a:pt x="1576" y="1292"/>
                  </a:lnTo>
                  <a:lnTo>
                    <a:pt x="1607" y="1292"/>
                  </a:lnTo>
                  <a:cubicBezTo>
                    <a:pt x="1607" y="1040"/>
                    <a:pt x="1828" y="882"/>
                    <a:pt x="2017" y="851"/>
                  </a:cubicBezTo>
                  <a:close/>
                  <a:moveTo>
                    <a:pt x="8507" y="8286"/>
                  </a:moveTo>
                  <a:lnTo>
                    <a:pt x="8507" y="8727"/>
                  </a:lnTo>
                  <a:cubicBezTo>
                    <a:pt x="8507" y="8918"/>
                    <a:pt x="8633" y="9073"/>
                    <a:pt x="8777" y="9137"/>
                  </a:cubicBezTo>
                  <a:lnTo>
                    <a:pt x="1198" y="9137"/>
                  </a:lnTo>
                  <a:cubicBezTo>
                    <a:pt x="1009" y="9137"/>
                    <a:pt x="851" y="9011"/>
                    <a:pt x="788" y="8853"/>
                  </a:cubicBezTo>
                  <a:cubicBezTo>
                    <a:pt x="757" y="8759"/>
                    <a:pt x="788" y="8759"/>
                    <a:pt x="788" y="8286"/>
                  </a:cubicBezTo>
                  <a:close/>
                  <a:moveTo>
                    <a:pt x="10145" y="8286"/>
                  </a:moveTo>
                  <a:lnTo>
                    <a:pt x="10145" y="8727"/>
                  </a:lnTo>
                  <a:cubicBezTo>
                    <a:pt x="10145" y="8918"/>
                    <a:pt x="10254" y="9073"/>
                    <a:pt x="10402" y="9137"/>
                  </a:cubicBezTo>
                  <a:lnTo>
                    <a:pt x="9051" y="9137"/>
                  </a:lnTo>
                  <a:cubicBezTo>
                    <a:pt x="9186" y="9073"/>
                    <a:pt x="9294" y="8918"/>
                    <a:pt x="9294" y="8727"/>
                  </a:cubicBezTo>
                  <a:lnTo>
                    <a:pt x="9294" y="8286"/>
                  </a:lnTo>
                  <a:close/>
                  <a:moveTo>
                    <a:pt x="11783" y="8286"/>
                  </a:moveTo>
                  <a:lnTo>
                    <a:pt x="11783" y="8727"/>
                  </a:lnTo>
                  <a:cubicBezTo>
                    <a:pt x="11815" y="8979"/>
                    <a:pt x="11626" y="9137"/>
                    <a:pt x="11374" y="9137"/>
                  </a:cubicBezTo>
                  <a:lnTo>
                    <a:pt x="10720" y="9137"/>
                  </a:lnTo>
                  <a:cubicBezTo>
                    <a:pt x="10874" y="9073"/>
                    <a:pt x="10964" y="8918"/>
                    <a:pt x="10964" y="8727"/>
                  </a:cubicBezTo>
                  <a:lnTo>
                    <a:pt x="10964" y="8286"/>
                  </a:lnTo>
                  <a:close/>
                  <a:moveTo>
                    <a:pt x="2048" y="0"/>
                  </a:moveTo>
                  <a:cubicBezTo>
                    <a:pt x="1387" y="0"/>
                    <a:pt x="788" y="536"/>
                    <a:pt x="820" y="1261"/>
                  </a:cubicBezTo>
                  <a:lnTo>
                    <a:pt x="820" y="7467"/>
                  </a:lnTo>
                  <a:lnTo>
                    <a:pt x="347" y="7467"/>
                  </a:lnTo>
                  <a:cubicBezTo>
                    <a:pt x="158" y="7467"/>
                    <a:pt x="0" y="7625"/>
                    <a:pt x="0" y="7814"/>
                  </a:cubicBezTo>
                  <a:lnTo>
                    <a:pt x="0" y="8696"/>
                  </a:lnTo>
                  <a:cubicBezTo>
                    <a:pt x="0" y="9357"/>
                    <a:pt x="568" y="9956"/>
                    <a:pt x="1229" y="9956"/>
                  </a:cubicBezTo>
                  <a:lnTo>
                    <a:pt x="11437" y="9956"/>
                  </a:lnTo>
                  <a:cubicBezTo>
                    <a:pt x="12098" y="9956"/>
                    <a:pt x="12697" y="9389"/>
                    <a:pt x="12697" y="8696"/>
                  </a:cubicBezTo>
                  <a:lnTo>
                    <a:pt x="12697" y="7877"/>
                  </a:lnTo>
                  <a:cubicBezTo>
                    <a:pt x="12634" y="7656"/>
                    <a:pt x="12445" y="7467"/>
                    <a:pt x="12224" y="7467"/>
                  </a:cubicBezTo>
                  <a:lnTo>
                    <a:pt x="11815" y="7467"/>
                  </a:lnTo>
                  <a:lnTo>
                    <a:pt x="11815" y="1261"/>
                  </a:lnTo>
                  <a:cubicBezTo>
                    <a:pt x="11815" y="567"/>
                    <a:pt x="11279" y="0"/>
                    <a:pt x="10586"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9691" name="Google Shape;9691;p110"/>
            <p:cNvSpPr/>
            <p:nvPr/>
          </p:nvSpPr>
          <p:spPr>
            <a:xfrm>
              <a:off x="-41586600" y="2425550"/>
              <a:ext cx="107450" cy="102925"/>
            </a:xfrm>
            <a:custGeom>
              <a:avLst/>
              <a:gdLst/>
              <a:ahLst/>
              <a:cxnLst/>
              <a:rect l="l" t="t" r="r" b="b"/>
              <a:pathLst>
                <a:path w="4298" h="4117" extrusionOk="0">
                  <a:moveTo>
                    <a:pt x="1147" y="1037"/>
                  </a:moveTo>
                  <a:lnTo>
                    <a:pt x="2218" y="1384"/>
                  </a:lnTo>
                  <a:lnTo>
                    <a:pt x="1493" y="2108"/>
                  </a:lnTo>
                  <a:lnTo>
                    <a:pt x="1147" y="1037"/>
                  </a:lnTo>
                  <a:close/>
                  <a:moveTo>
                    <a:pt x="466" y="1"/>
                  </a:moveTo>
                  <a:cubicBezTo>
                    <a:pt x="209" y="1"/>
                    <a:pt x="1" y="267"/>
                    <a:pt x="107" y="533"/>
                  </a:cubicBezTo>
                  <a:lnTo>
                    <a:pt x="926" y="3022"/>
                  </a:lnTo>
                  <a:cubicBezTo>
                    <a:pt x="987" y="3184"/>
                    <a:pt x="1164" y="3293"/>
                    <a:pt x="1341" y="3293"/>
                  </a:cubicBezTo>
                  <a:cubicBezTo>
                    <a:pt x="1441" y="3293"/>
                    <a:pt x="1540" y="3259"/>
                    <a:pt x="1619" y="3180"/>
                  </a:cubicBezTo>
                  <a:lnTo>
                    <a:pt x="2155" y="2613"/>
                  </a:lnTo>
                  <a:lnTo>
                    <a:pt x="3541" y="3999"/>
                  </a:lnTo>
                  <a:cubicBezTo>
                    <a:pt x="3620" y="4077"/>
                    <a:pt x="3730" y="4117"/>
                    <a:pt x="3840" y="4117"/>
                  </a:cubicBezTo>
                  <a:cubicBezTo>
                    <a:pt x="3951" y="4117"/>
                    <a:pt x="4061" y="4077"/>
                    <a:pt x="4140" y="3999"/>
                  </a:cubicBezTo>
                  <a:cubicBezTo>
                    <a:pt x="4297" y="3841"/>
                    <a:pt x="4297" y="3558"/>
                    <a:pt x="4140" y="3400"/>
                  </a:cubicBezTo>
                  <a:lnTo>
                    <a:pt x="2722" y="2077"/>
                  </a:lnTo>
                  <a:lnTo>
                    <a:pt x="3258" y="1510"/>
                  </a:lnTo>
                  <a:cubicBezTo>
                    <a:pt x="3510" y="1289"/>
                    <a:pt x="3384" y="911"/>
                    <a:pt x="3100" y="848"/>
                  </a:cubicBezTo>
                  <a:lnTo>
                    <a:pt x="611" y="29"/>
                  </a:lnTo>
                  <a:cubicBezTo>
                    <a:pt x="562" y="10"/>
                    <a:pt x="514" y="1"/>
                    <a:pt x="466"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9692" name="Google Shape;9692;p110"/>
          <p:cNvGrpSpPr/>
          <p:nvPr/>
        </p:nvGrpSpPr>
        <p:grpSpPr>
          <a:xfrm>
            <a:off x="3427957" y="3218513"/>
            <a:ext cx="500788" cy="498355"/>
            <a:chOff x="-41695775" y="2683025"/>
            <a:chExt cx="319000" cy="317450"/>
          </a:xfrm>
        </p:grpSpPr>
        <p:sp>
          <p:nvSpPr>
            <p:cNvPr id="9693" name="Google Shape;9693;p110"/>
            <p:cNvSpPr/>
            <p:nvPr/>
          </p:nvSpPr>
          <p:spPr>
            <a:xfrm>
              <a:off x="-41695775" y="2683025"/>
              <a:ext cx="319000" cy="317450"/>
            </a:xfrm>
            <a:custGeom>
              <a:avLst/>
              <a:gdLst/>
              <a:ahLst/>
              <a:cxnLst/>
              <a:rect l="l" t="t" r="r" b="b"/>
              <a:pathLst>
                <a:path w="12760" h="12698" extrusionOk="0">
                  <a:moveTo>
                    <a:pt x="6238" y="2521"/>
                  </a:moveTo>
                  <a:lnTo>
                    <a:pt x="10240" y="5199"/>
                  </a:lnTo>
                  <a:lnTo>
                    <a:pt x="10240" y="11815"/>
                  </a:lnTo>
                  <a:lnTo>
                    <a:pt x="2521" y="11815"/>
                  </a:lnTo>
                  <a:lnTo>
                    <a:pt x="2521" y="5199"/>
                  </a:lnTo>
                  <a:lnTo>
                    <a:pt x="6238" y="2521"/>
                  </a:lnTo>
                  <a:close/>
                  <a:moveTo>
                    <a:pt x="6270" y="1"/>
                  </a:moveTo>
                  <a:cubicBezTo>
                    <a:pt x="6049" y="1"/>
                    <a:pt x="5860" y="190"/>
                    <a:pt x="5860" y="379"/>
                  </a:cubicBezTo>
                  <a:lnTo>
                    <a:pt x="5860" y="1859"/>
                  </a:lnTo>
                  <a:lnTo>
                    <a:pt x="1891" y="4695"/>
                  </a:lnTo>
                  <a:lnTo>
                    <a:pt x="221" y="5861"/>
                  </a:lnTo>
                  <a:cubicBezTo>
                    <a:pt x="32" y="5987"/>
                    <a:pt x="0" y="6270"/>
                    <a:pt x="158" y="6459"/>
                  </a:cubicBezTo>
                  <a:cubicBezTo>
                    <a:pt x="229" y="6566"/>
                    <a:pt x="342" y="6623"/>
                    <a:pt x="466" y="6623"/>
                  </a:cubicBezTo>
                  <a:cubicBezTo>
                    <a:pt x="560" y="6623"/>
                    <a:pt x="661" y="6590"/>
                    <a:pt x="757" y="6522"/>
                  </a:cubicBezTo>
                  <a:lnTo>
                    <a:pt x="1733" y="5829"/>
                  </a:lnTo>
                  <a:lnTo>
                    <a:pt x="1733" y="12288"/>
                  </a:lnTo>
                  <a:cubicBezTo>
                    <a:pt x="1733" y="12508"/>
                    <a:pt x="1922" y="12697"/>
                    <a:pt x="2111" y="12697"/>
                  </a:cubicBezTo>
                  <a:lnTo>
                    <a:pt x="10649" y="12697"/>
                  </a:lnTo>
                  <a:cubicBezTo>
                    <a:pt x="10901" y="12697"/>
                    <a:pt x="11059" y="12508"/>
                    <a:pt x="11059" y="12288"/>
                  </a:cubicBezTo>
                  <a:lnTo>
                    <a:pt x="11059" y="5798"/>
                  </a:lnTo>
                  <a:lnTo>
                    <a:pt x="12035" y="6491"/>
                  </a:lnTo>
                  <a:cubicBezTo>
                    <a:pt x="12114" y="6543"/>
                    <a:pt x="12204" y="6568"/>
                    <a:pt x="12294" y="6568"/>
                  </a:cubicBezTo>
                  <a:cubicBezTo>
                    <a:pt x="12418" y="6568"/>
                    <a:pt x="12542" y="6519"/>
                    <a:pt x="12634" y="6428"/>
                  </a:cubicBezTo>
                  <a:cubicBezTo>
                    <a:pt x="12760" y="6207"/>
                    <a:pt x="12697" y="5987"/>
                    <a:pt x="12571" y="5829"/>
                  </a:cubicBezTo>
                  <a:lnTo>
                    <a:pt x="10901" y="4632"/>
                  </a:lnTo>
                  <a:cubicBezTo>
                    <a:pt x="10901" y="4632"/>
                    <a:pt x="6679" y="1796"/>
                    <a:pt x="6648" y="1796"/>
                  </a:cubicBezTo>
                  <a:lnTo>
                    <a:pt x="6648" y="379"/>
                  </a:lnTo>
                  <a:cubicBezTo>
                    <a:pt x="6648" y="158"/>
                    <a:pt x="6459" y="1"/>
                    <a:pt x="6270"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9694" name="Google Shape;9694;p110"/>
            <p:cNvSpPr/>
            <p:nvPr/>
          </p:nvSpPr>
          <p:spPr>
            <a:xfrm>
              <a:off x="-41615450" y="2813750"/>
              <a:ext cx="152050" cy="144975"/>
            </a:xfrm>
            <a:custGeom>
              <a:avLst/>
              <a:gdLst/>
              <a:ahLst/>
              <a:cxnLst/>
              <a:rect l="l" t="t" r="r" b="b"/>
              <a:pathLst>
                <a:path w="6082" h="5799" extrusionOk="0">
                  <a:moveTo>
                    <a:pt x="3050" y="782"/>
                  </a:moveTo>
                  <a:cubicBezTo>
                    <a:pt x="3325" y="782"/>
                    <a:pt x="3606" y="835"/>
                    <a:pt x="3876" y="947"/>
                  </a:cubicBezTo>
                  <a:cubicBezTo>
                    <a:pt x="4853" y="1419"/>
                    <a:pt x="5357" y="2616"/>
                    <a:pt x="4916" y="3656"/>
                  </a:cubicBezTo>
                  <a:cubicBezTo>
                    <a:pt x="4601" y="4412"/>
                    <a:pt x="3908" y="4916"/>
                    <a:pt x="3025" y="4916"/>
                  </a:cubicBezTo>
                  <a:cubicBezTo>
                    <a:pt x="1545" y="4916"/>
                    <a:pt x="568" y="3436"/>
                    <a:pt x="1135" y="2049"/>
                  </a:cubicBezTo>
                  <a:cubicBezTo>
                    <a:pt x="1465" y="1248"/>
                    <a:pt x="2235" y="782"/>
                    <a:pt x="3050" y="782"/>
                  </a:cubicBezTo>
                  <a:close/>
                  <a:moveTo>
                    <a:pt x="2968" y="0"/>
                  </a:moveTo>
                  <a:cubicBezTo>
                    <a:pt x="1995" y="0"/>
                    <a:pt x="1120" y="497"/>
                    <a:pt x="631" y="1262"/>
                  </a:cubicBezTo>
                  <a:cubicBezTo>
                    <a:pt x="95" y="2081"/>
                    <a:pt x="1" y="3152"/>
                    <a:pt x="347" y="4034"/>
                  </a:cubicBezTo>
                  <a:cubicBezTo>
                    <a:pt x="789" y="5074"/>
                    <a:pt x="1860" y="5798"/>
                    <a:pt x="3057" y="5798"/>
                  </a:cubicBezTo>
                  <a:cubicBezTo>
                    <a:pt x="4034" y="5798"/>
                    <a:pt x="4884" y="5326"/>
                    <a:pt x="5451" y="4538"/>
                  </a:cubicBezTo>
                  <a:cubicBezTo>
                    <a:pt x="5987" y="3719"/>
                    <a:pt x="6081" y="2648"/>
                    <a:pt x="5735" y="1766"/>
                  </a:cubicBezTo>
                  <a:cubicBezTo>
                    <a:pt x="5294" y="726"/>
                    <a:pt x="4223" y="1"/>
                    <a:pt x="3057" y="1"/>
                  </a:cubicBezTo>
                  <a:cubicBezTo>
                    <a:pt x="3027" y="1"/>
                    <a:pt x="2997" y="0"/>
                    <a:pt x="2968"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9695" name="Google Shape;9695;p110"/>
            <p:cNvSpPr/>
            <p:nvPr/>
          </p:nvSpPr>
          <p:spPr>
            <a:xfrm>
              <a:off x="-41550075" y="2853950"/>
              <a:ext cx="40200" cy="42550"/>
            </a:xfrm>
            <a:custGeom>
              <a:avLst/>
              <a:gdLst/>
              <a:ahLst/>
              <a:cxnLst/>
              <a:rect l="l" t="t" r="r" b="b"/>
              <a:pathLst>
                <a:path w="1608" h="1702" extrusionOk="0">
                  <a:moveTo>
                    <a:pt x="379" y="0"/>
                  </a:moveTo>
                  <a:cubicBezTo>
                    <a:pt x="190" y="0"/>
                    <a:pt x="1" y="221"/>
                    <a:pt x="1" y="441"/>
                  </a:cubicBezTo>
                  <a:lnTo>
                    <a:pt x="1" y="1260"/>
                  </a:lnTo>
                  <a:cubicBezTo>
                    <a:pt x="1" y="1512"/>
                    <a:pt x="190" y="1701"/>
                    <a:pt x="379" y="1701"/>
                  </a:cubicBezTo>
                  <a:lnTo>
                    <a:pt x="1230" y="1701"/>
                  </a:lnTo>
                  <a:cubicBezTo>
                    <a:pt x="1450" y="1701"/>
                    <a:pt x="1608" y="1512"/>
                    <a:pt x="1608" y="1260"/>
                  </a:cubicBezTo>
                  <a:cubicBezTo>
                    <a:pt x="1608" y="1040"/>
                    <a:pt x="1419" y="851"/>
                    <a:pt x="1230" y="851"/>
                  </a:cubicBezTo>
                  <a:lnTo>
                    <a:pt x="788" y="851"/>
                  </a:lnTo>
                  <a:lnTo>
                    <a:pt x="788" y="410"/>
                  </a:lnTo>
                  <a:cubicBezTo>
                    <a:pt x="788" y="158"/>
                    <a:pt x="568" y="0"/>
                    <a:pt x="379"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9696" name="Google Shape;9696;p110"/>
          <p:cNvGrpSpPr/>
          <p:nvPr/>
        </p:nvGrpSpPr>
        <p:grpSpPr>
          <a:xfrm>
            <a:off x="1751022" y="3875540"/>
            <a:ext cx="456281" cy="500827"/>
            <a:chOff x="-39792875" y="1971800"/>
            <a:chExt cx="290650" cy="319025"/>
          </a:xfrm>
        </p:grpSpPr>
        <p:sp>
          <p:nvSpPr>
            <p:cNvPr id="9697" name="Google Shape;9697;p110"/>
            <p:cNvSpPr/>
            <p:nvPr/>
          </p:nvSpPr>
          <p:spPr>
            <a:xfrm>
              <a:off x="-39667650" y="2145075"/>
              <a:ext cx="40975" cy="41775"/>
            </a:xfrm>
            <a:custGeom>
              <a:avLst/>
              <a:gdLst/>
              <a:ahLst/>
              <a:cxnLst/>
              <a:rect l="l" t="t" r="r" b="b"/>
              <a:pathLst>
                <a:path w="1639" h="1671" extrusionOk="0">
                  <a:moveTo>
                    <a:pt x="820" y="1"/>
                  </a:moveTo>
                  <a:cubicBezTo>
                    <a:pt x="379" y="1"/>
                    <a:pt x="1" y="379"/>
                    <a:pt x="1" y="852"/>
                  </a:cubicBezTo>
                  <a:cubicBezTo>
                    <a:pt x="1" y="1293"/>
                    <a:pt x="379" y="1671"/>
                    <a:pt x="820" y="1671"/>
                  </a:cubicBezTo>
                  <a:cubicBezTo>
                    <a:pt x="1261" y="1671"/>
                    <a:pt x="1639" y="1293"/>
                    <a:pt x="1639" y="852"/>
                  </a:cubicBezTo>
                  <a:cubicBezTo>
                    <a:pt x="1639" y="379"/>
                    <a:pt x="1261" y="1"/>
                    <a:pt x="820"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9698" name="Google Shape;9698;p110"/>
            <p:cNvSpPr/>
            <p:nvPr/>
          </p:nvSpPr>
          <p:spPr>
            <a:xfrm>
              <a:off x="-39792875" y="1971800"/>
              <a:ext cx="290650" cy="319025"/>
            </a:xfrm>
            <a:custGeom>
              <a:avLst/>
              <a:gdLst/>
              <a:ahLst/>
              <a:cxnLst/>
              <a:rect l="l" t="t" r="r" b="b"/>
              <a:pathLst>
                <a:path w="11626" h="12761" extrusionOk="0">
                  <a:moveTo>
                    <a:pt x="6207" y="3687"/>
                  </a:moveTo>
                  <a:cubicBezTo>
                    <a:pt x="6900" y="3687"/>
                    <a:pt x="7436" y="4222"/>
                    <a:pt x="7436" y="4884"/>
                  </a:cubicBezTo>
                  <a:lnTo>
                    <a:pt x="7436" y="11910"/>
                  </a:lnTo>
                  <a:lnTo>
                    <a:pt x="4159" y="11910"/>
                  </a:lnTo>
                  <a:lnTo>
                    <a:pt x="4159" y="4884"/>
                  </a:lnTo>
                  <a:cubicBezTo>
                    <a:pt x="4159" y="4222"/>
                    <a:pt x="4726" y="3687"/>
                    <a:pt x="5388" y="3687"/>
                  </a:cubicBezTo>
                  <a:close/>
                  <a:moveTo>
                    <a:pt x="10744" y="914"/>
                  </a:moveTo>
                  <a:lnTo>
                    <a:pt x="10744" y="3939"/>
                  </a:lnTo>
                  <a:cubicBezTo>
                    <a:pt x="9767" y="4412"/>
                    <a:pt x="9105" y="5420"/>
                    <a:pt x="9105" y="6554"/>
                  </a:cubicBezTo>
                  <a:cubicBezTo>
                    <a:pt x="9105" y="7688"/>
                    <a:pt x="9767" y="8665"/>
                    <a:pt x="10744" y="9137"/>
                  </a:cubicBezTo>
                  <a:cubicBezTo>
                    <a:pt x="10775" y="10145"/>
                    <a:pt x="10775" y="11280"/>
                    <a:pt x="10775" y="11910"/>
                  </a:cubicBezTo>
                  <a:lnTo>
                    <a:pt x="8318" y="11910"/>
                  </a:lnTo>
                  <a:lnTo>
                    <a:pt x="8318" y="4884"/>
                  </a:lnTo>
                  <a:cubicBezTo>
                    <a:pt x="8318" y="3750"/>
                    <a:pt x="7373" y="2805"/>
                    <a:pt x="6207" y="2805"/>
                  </a:cubicBezTo>
                  <a:lnTo>
                    <a:pt x="5388" y="2805"/>
                  </a:lnTo>
                  <a:cubicBezTo>
                    <a:pt x="4254" y="2805"/>
                    <a:pt x="3308" y="3750"/>
                    <a:pt x="3308" y="4884"/>
                  </a:cubicBezTo>
                  <a:lnTo>
                    <a:pt x="3308" y="11910"/>
                  </a:lnTo>
                  <a:lnTo>
                    <a:pt x="820" y="11910"/>
                  </a:lnTo>
                  <a:lnTo>
                    <a:pt x="820" y="9137"/>
                  </a:lnTo>
                  <a:cubicBezTo>
                    <a:pt x="2174" y="8507"/>
                    <a:pt x="2804" y="7026"/>
                    <a:pt x="2332" y="5640"/>
                  </a:cubicBezTo>
                  <a:cubicBezTo>
                    <a:pt x="2080" y="4884"/>
                    <a:pt x="1544" y="4254"/>
                    <a:pt x="820" y="3939"/>
                  </a:cubicBezTo>
                  <a:lnTo>
                    <a:pt x="820" y="914"/>
                  </a:lnTo>
                  <a:close/>
                  <a:moveTo>
                    <a:pt x="441" y="1"/>
                  </a:moveTo>
                  <a:cubicBezTo>
                    <a:pt x="189" y="1"/>
                    <a:pt x="0" y="221"/>
                    <a:pt x="0" y="442"/>
                  </a:cubicBezTo>
                  <a:lnTo>
                    <a:pt x="0" y="4191"/>
                  </a:lnTo>
                  <a:cubicBezTo>
                    <a:pt x="0" y="4349"/>
                    <a:pt x="126" y="4506"/>
                    <a:pt x="284" y="4569"/>
                  </a:cubicBezTo>
                  <a:cubicBezTo>
                    <a:pt x="1072" y="4853"/>
                    <a:pt x="1639" y="5609"/>
                    <a:pt x="1639" y="6522"/>
                  </a:cubicBezTo>
                  <a:cubicBezTo>
                    <a:pt x="1639" y="7404"/>
                    <a:pt x="1072" y="8161"/>
                    <a:pt x="284" y="8476"/>
                  </a:cubicBezTo>
                  <a:cubicBezTo>
                    <a:pt x="126" y="8507"/>
                    <a:pt x="0" y="8665"/>
                    <a:pt x="0" y="8885"/>
                  </a:cubicBezTo>
                  <a:lnTo>
                    <a:pt x="0" y="12351"/>
                  </a:lnTo>
                  <a:cubicBezTo>
                    <a:pt x="0" y="12571"/>
                    <a:pt x="189" y="12760"/>
                    <a:pt x="441" y="12760"/>
                  </a:cubicBezTo>
                  <a:lnTo>
                    <a:pt x="11185" y="12760"/>
                  </a:lnTo>
                  <a:cubicBezTo>
                    <a:pt x="11405" y="12760"/>
                    <a:pt x="11563" y="12571"/>
                    <a:pt x="11626" y="12382"/>
                  </a:cubicBezTo>
                  <a:lnTo>
                    <a:pt x="11626" y="8885"/>
                  </a:lnTo>
                  <a:cubicBezTo>
                    <a:pt x="11626" y="8696"/>
                    <a:pt x="11500" y="8539"/>
                    <a:pt x="11342" y="8476"/>
                  </a:cubicBezTo>
                  <a:cubicBezTo>
                    <a:pt x="10555" y="8192"/>
                    <a:pt x="9956" y="7404"/>
                    <a:pt x="9956" y="6522"/>
                  </a:cubicBezTo>
                  <a:cubicBezTo>
                    <a:pt x="9956" y="5609"/>
                    <a:pt x="10555" y="4853"/>
                    <a:pt x="11342" y="4569"/>
                  </a:cubicBezTo>
                  <a:cubicBezTo>
                    <a:pt x="11500" y="4538"/>
                    <a:pt x="11626" y="4380"/>
                    <a:pt x="11626" y="4191"/>
                  </a:cubicBezTo>
                  <a:lnTo>
                    <a:pt x="11626" y="442"/>
                  </a:lnTo>
                  <a:cubicBezTo>
                    <a:pt x="11626" y="221"/>
                    <a:pt x="11405" y="1"/>
                    <a:pt x="11185"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9699" name="Google Shape;9699;p110"/>
          <p:cNvGrpSpPr/>
          <p:nvPr/>
        </p:nvGrpSpPr>
        <p:grpSpPr>
          <a:xfrm>
            <a:off x="1762758" y="4450309"/>
            <a:ext cx="432812" cy="499767"/>
            <a:chOff x="-39783425" y="2337925"/>
            <a:chExt cx="275700" cy="318350"/>
          </a:xfrm>
        </p:grpSpPr>
        <p:sp>
          <p:nvSpPr>
            <p:cNvPr id="9700" name="Google Shape;9700;p110"/>
            <p:cNvSpPr/>
            <p:nvPr/>
          </p:nvSpPr>
          <p:spPr>
            <a:xfrm>
              <a:off x="-39739325" y="2468600"/>
              <a:ext cx="194575" cy="148500"/>
            </a:xfrm>
            <a:custGeom>
              <a:avLst/>
              <a:gdLst/>
              <a:ahLst/>
              <a:cxnLst/>
              <a:rect l="l" t="t" r="r" b="b"/>
              <a:pathLst>
                <a:path w="7783" h="5940" extrusionOk="0">
                  <a:moveTo>
                    <a:pt x="6349" y="772"/>
                  </a:moveTo>
                  <a:cubicBezTo>
                    <a:pt x="6459" y="772"/>
                    <a:pt x="6570" y="812"/>
                    <a:pt x="6648" y="891"/>
                  </a:cubicBezTo>
                  <a:cubicBezTo>
                    <a:pt x="6711" y="954"/>
                    <a:pt x="6743" y="1017"/>
                    <a:pt x="6806" y="1080"/>
                  </a:cubicBezTo>
                  <a:cubicBezTo>
                    <a:pt x="6837" y="1300"/>
                    <a:pt x="6837" y="1458"/>
                    <a:pt x="6711" y="1552"/>
                  </a:cubicBezTo>
                  <a:lnTo>
                    <a:pt x="3340" y="4955"/>
                  </a:lnTo>
                  <a:cubicBezTo>
                    <a:pt x="3261" y="5033"/>
                    <a:pt x="3151" y="5073"/>
                    <a:pt x="3041" y="5073"/>
                  </a:cubicBezTo>
                  <a:cubicBezTo>
                    <a:pt x="2931" y="5073"/>
                    <a:pt x="2820" y="5033"/>
                    <a:pt x="2742" y="4955"/>
                  </a:cubicBezTo>
                  <a:lnTo>
                    <a:pt x="1040" y="3253"/>
                  </a:lnTo>
                  <a:cubicBezTo>
                    <a:pt x="883" y="3096"/>
                    <a:pt x="883" y="2812"/>
                    <a:pt x="1040" y="2655"/>
                  </a:cubicBezTo>
                  <a:lnTo>
                    <a:pt x="1135" y="2592"/>
                  </a:lnTo>
                  <a:cubicBezTo>
                    <a:pt x="1214" y="2513"/>
                    <a:pt x="1316" y="2474"/>
                    <a:pt x="1418" y="2474"/>
                  </a:cubicBezTo>
                  <a:cubicBezTo>
                    <a:pt x="1521" y="2474"/>
                    <a:pt x="1623" y="2513"/>
                    <a:pt x="1702" y="2592"/>
                  </a:cubicBezTo>
                  <a:lnTo>
                    <a:pt x="2742" y="3600"/>
                  </a:lnTo>
                  <a:cubicBezTo>
                    <a:pt x="2820" y="3679"/>
                    <a:pt x="2931" y="3718"/>
                    <a:pt x="3041" y="3718"/>
                  </a:cubicBezTo>
                  <a:cubicBezTo>
                    <a:pt x="3151" y="3718"/>
                    <a:pt x="3261" y="3679"/>
                    <a:pt x="3340" y="3600"/>
                  </a:cubicBezTo>
                  <a:lnTo>
                    <a:pt x="6050" y="891"/>
                  </a:lnTo>
                  <a:cubicBezTo>
                    <a:pt x="6128" y="812"/>
                    <a:pt x="6239" y="772"/>
                    <a:pt x="6349" y="772"/>
                  </a:cubicBezTo>
                  <a:close/>
                  <a:moveTo>
                    <a:pt x="6369" y="1"/>
                  </a:moveTo>
                  <a:cubicBezTo>
                    <a:pt x="6050" y="1"/>
                    <a:pt x="5719" y="119"/>
                    <a:pt x="5451" y="355"/>
                  </a:cubicBezTo>
                  <a:lnTo>
                    <a:pt x="3025" y="2781"/>
                  </a:lnTo>
                  <a:lnTo>
                    <a:pt x="2269" y="2025"/>
                  </a:lnTo>
                  <a:cubicBezTo>
                    <a:pt x="2040" y="1796"/>
                    <a:pt x="1742" y="1663"/>
                    <a:pt x="1421" y="1663"/>
                  </a:cubicBezTo>
                  <a:cubicBezTo>
                    <a:pt x="1256" y="1663"/>
                    <a:pt x="1085" y="1698"/>
                    <a:pt x="914" y="1773"/>
                  </a:cubicBezTo>
                  <a:cubicBezTo>
                    <a:pt x="694" y="1867"/>
                    <a:pt x="536" y="1993"/>
                    <a:pt x="473" y="2119"/>
                  </a:cubicBezTo>
                  <a:cubicBezTo>
                    <a:pt x="1" y="2592"/>
                    <a:pt x="1" y="3379"/>
                    <a:pt x="473" y="3883"/>
                  </a:cubicBezTo>
                  <a:lnTo>
                    <a:pt x="2143" y="5585"/>
                  </a:lnTo>
                  <a:cubicBezTo>
                    <a:pt x="2379" y="5821"/>
                    <a:pt x="2694" y="5939"/>
                    <a:pt x="3017" y="5939"/>
                  </a:cubicBezTo>
                  <a:cubicBezTo>
                    <a:pt x="3340" y="5939"/>
                    <a:pt x="3671" y="5821"/>
                    <a:pt x="3939" y="5585"/>
                  </a:cubicBezTo>
                  <a:lnTo>
                    <a:pt x="7310" y="2182"/>
                  </a:lnTo>
                  <a:cubicBezTo>
                    <a:pt x="7656" y="1836"/>
                    <a:pt x="7782" y="1300"/>
                    <a:pt x="7593" y="859"/>
                  </a:cubicBezTo>
                  <a:cubicBezTo>
                    <a:pt x="7467" y="575"/>
                    <a:pt x="7310" y="418"/>
                    <a:pt x="7215" y="355"/>
                  </a:cubicBezTo>
                  <a:cubicBezTo>
                    <a:pt x="6995" y="119"/>
                    <a:pt x="6688" y="1"/>
                    <a:pt x="6369"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9701" name="Google Shape;9701;p110"/>
            <p:cNvSpPr/>
            <p:nvPr/>
          </p:nvSpPr>
          <p:spPr>
            <a:xfrm>
              <a:off x="-39783425" y="2337925"/>
              <a:ext cx="275700" cy="318350"/>
            </a:xfrm>
            <a:custGeom>
              <a:avLst/>
              <a:gdLst/>
              <a:ahLst/>
              <a:cxnLst/>
              <a:rect l="l" t="t" r="r" b="b"/>
              <a:pathLst>
                <a:path w="11028" h="12734" extrusionOk="0">
                  <a:moveTo>
                    <a:pt x="5608" y="793"/>
                  </a:moveTo>
                  <a:cubicBezTo>
                    <a:pt x="5829" y="793"/>
                    <a:pt x="5986" y="1014"/>
                    <a:pt x="6049" y="1234"/>
                  </a:cubicBezTo>
                  <a:cubicBezTo>
                    <a:pt x="6049" y="1486"/>
                    <a:pt x="6238" y="1644"/>
                    <a:pt x="6459" y="1644"/>
                  </a:cubicBezTo>
                  <a:lnTo>
                    <a:pt x="8129" y="1644"/>
                  </a:lnTo>
                  <a:cubicBezTo>
                    <a:pt x="8349" y="1644"/>
                    <a:pt x="8507" y="1833"/>
                    <a:pt x="8570" y="2053"/>
                  </a:cubicBezTo>
                  <a:lnTo>
                    <a:pt x="8570" y="2494"/>
                  </a:lnTo>
                  <a:lnTo>
                    <a:pt x="2773" y="2494"/>
                  </a:lnTo>
                  <a:lnTo>
                    <a:pt x="2773" y="2116"/>
                  </a:lnTo>
                  <a:lnTo>
                    <a:pt x="2741" y="2116"/>
                  </a:lnTo>
                  <a:cubicBezTo>
                    <a:pt x="2741" y="1864"/>
                    <a:pt x="2930" y="1707"/>
                    <a:pt x="3119" y="1675"/>
                  </a:cubicBezTo>
                  <a:lnTo>
                    <a:pt x="4789" y="1675"/>
                  </a:lnTo>
                  <a:cubicBezTo>
                    <a:pt x="5010" y="1675"/>
                    <a:pt x="5167" y="1486"/>
                    <a:pt x="5167" y="1234"/>
                  </a:cubicBezTo>
                  <a:cubicBezTo>
                    <a:pt x="5167" y="1014"/>
                    <a:pt x="5356" y="856"/>
                    <a:pt x="5608" y="793"/>
                  </a:cubicBezTo>
                  <a:close/>
                  <a:moveTo>
                    <a:pt x="10177" y="2494"/>
                  </a:moveTo>
                  <a:lnTo>
                    <a:pt x="10177" y="11883"/>
                  </a:lnTo>
                  <a:lnTo>
                    <a:pt x="788" y="11883"/>
                  </a:lnTo>
                  <a:lnTo>
                    <a:pt x="788" y="2494"/>
                  </a:lnTo>
                  <a:lnTo>
                    <a:pt x="1891" y="2494"/>
                  </a:lnTo>
                  <a:lnTo>
                    <a:pt x="1891" y="2904"/>
                  </a:lnTo>
                  <a:cubicBezTo>
                    <a:pt x="1891" y="3125"/>
                    <a:pt x="2111" y="3314"/>
                    <a:pt x="2332" y="3314"/>
                  </a:cubicBezTo>
                  <a:lnTo>
                    <a:pt x="8948" y="3314"/>
                  </a:lnTo>
                  <a:cubicBezTo>
                    <a:pt x="9200" y="3314"/>
                    <a:pt x="9357" y="3125"/>
                    <a:pt x="9357" y="2904"/>
                  </a:cubicBezTo>
                  <a:lnTo>
                    <a:pt x="9357" y="2494"/>
                  </a:lnTo>
                  <a:close/>
                  <a:moveTo>
                    <a:pt x="5615" y="1"/>
                  </a:moveTo>
                  <a:cubicBezTo>
                    <a:pt x="5456" y="1"/>
                    <a:pt x="5293" y="33"/>
                    <a:pt x="5136" y="100"/>
                  </a:cubicBezTo>
                  <a:cubicBezTo>
                    <a:pt x="4821" y="226"/>
                    <a:pt x="4537" y="478"/>
                    <a:pt x="4474" y="856"/>
                  </a:cubicBezTo>
                  <a:lnTo>
                    <a:pt x="3151" y="856"/>
                  </a:lnTo>
                  <a:cubicBezTo>
                    <a:pt x="2647" y="856"/>
                    <a:pt x="2174" y="1203"/>
                    <a:pt x="1985" y="1675"/>
                  </a:cubicBezTo>
                  <a:lnTo>
                    <a:pt x="410" y="1675"/>
                  </a:lnTo>
                  <a:cubicBezTo>
                    <a:pt x="158" y="1675"/>
                    <a:pt x="0" y="1864"/>
                    <a:pt x="0" y="2116"/>
                  </a:cubicBezTo>
                  <a:lnTo>
                    <a:pt x="0" y="12292"/>
                  </a:lnTo>
                  <a:cubicBezTo>
                    <a:pt x="0" y="12544"/>
                    <a:pt x="221" y="12734"/>
                    <a:pt x="410" y="12734"/>
                  </a:cubicBezTo>
                  <a:lnTo>
                    <a:pt x="10618" y="12734"/>
                  </a:lnTo>
                  <a:cubicBezTo>
                    <a:pt x="10838" y="12734"/>
                    <a:pt x="11027" y="12544"/>
                    <a:pt x="11027" y="12292"/>
                  </a:cubicBezTo>
                  <a:lnTo>
                    <a:pt x="11027" y="2116"/>
                  </a:lnTo>
                  <a:cubicBezTo>
                    <a:pt x="10996" y="1864"/>
                    <a:pt x="10807" y="1675"/>
                    <a:pt x="10555" y="1675"/>
                  </a:cubicBezTo>
                  <a:lnTo>
                    <a:pt x="9263" y="1675"/>
                  </a:lnTo>
                  <a:cubicBezTo>
                    <a:pt x="9105" y="1203"/>
                    <a:pt x="8633" y="856"/>
                    <a:pt x="8097" y="856"/>
                  </a:cubicBezTo>
                  <a:lnTo>
                    <a:pt x="6774" y="856"/>
                  </a:lnTo>
                  <a:cubicBezTo>
                    <a:pt x="6606" y="328"/>
                    <a:pt x="6127" y="1"/>
                    <a:pt x="5615"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sp>
        <p:nvSpPr>
          <p:cNvPr id="9702" name="Google Shape;9702;p110"/>
          <p:cNvSpPr/>
          <p:nvPr/>
        </p:nvSpPr>
        <p:spPr>
          <a:xfrm>
            <a:off x="1728578" y="5069745"/>
            <a:ext cx="495881" cy="497687"/>
          </a:xfrm>
          <a:custGeom>
            <a:avLst/>
            <a:gdLst/>
            <a:ahLst/>
            <a:cxnLst/>
            <a:rect l="l" t="t" r="r" b="b"/>
            <a:pathLst>
              <a:path w="12635" h="12681" extrusionOk="0">
                <a:moveTo>
                  <a:pt x="2017" y="865"/>
                </a:moveTo>
                <a:lnTo>
                  <a:pt x="3624" y="1275"/>
                </a:lnTo>
                <a:cubicBezTo>
                  <a:pt x="3655" y="1370"/>
                  <a:pt x="2679" y="4961"/>
                  <a:pt x="2679" y="4961"/>
                </a:cubicBezTo>
                <a:lnTo>
                  <a:pt x="2553" y="5339"/>
                </a:lnTo>
                <a:lnTo>
                  <a:pt x="946" y="4898"/>
                </a:lnTo>
                <a:lnTo>
                  <a:pt x="2017" y="865"/>
                </a:lnTo>
                <a:close/>
                <a:moveTo>
                  <a:pt x="10460" y="4867"/>
                </a:moveTo>
                <a:lnTo>
                  <a:pt x="11689" y="5182"/>
                </a:lnTo>
                <a:lnTo>
                  <a:pt x="11469" y="6001"/>
                </a:lnTo>
                <a:lnTo>
                  <a:pt x="10240" y="5686"/>
                </a:lnTo>
                <a:lnTo>
                  <a:pt x="10460" y="4867"/>
                </a:lnTo>
                <a:close/>
                <a:moveTo>
                  <a:pt x="4159" y="2346"/>
                </a:moveTo>
                <a:lnTo>
                  <a:pt x="9799" y="3858"/>
                </a:lnTo>
                <a:lnTo>
                  <a:pt x="9200" y="6284"/>
                </a:lnTo>
                <a:lnTo>
                  <a:pt x="8381" y="6064"/>
                </a:lnTo>
                <a:cubicBezTo>
                  <a:pt x="8413" y="5465"/>
                  <a:pt x="8161" y="4867"/>
                  <a:pt x="7625" y="4552"/>
                </a:cubicBezTo>
                <a:cubicBezTo>
                  <a:pt x="7341" y="4366"/>
                  <a:pt x="7014" y="4275"/>
                  <a:pt x="6691" y="4275"/>
                </a:cubicBezTo>
                <a:cubicBezTo>
                  <a:pt x="6084" y="4275"/>
                  <a:pt x="5487" y="4596"/>
                  <a:pt x="5199" y="5213"/>
                </a:cubicBezTo>
                <a:cubicBezTo>
                  <a:pt x="4601" y="5056"/>
                  <a:pt x="3529" y="4804"/>
                  <a:pt x="3529" y="4804"/>
                </a:cubicBezTo>
                <a:cubicBezTo>
                  <a:pt x="3624" y="4552"/>
                  <a:pt x="4128" y="2630"/>
                  <a:pt x="4159" y="2346"/>
                </a:cubicBezTo>
                <a:close/>
                <a:moveTo>
                  <a:pt x="6746" y="5106"/>
                </a:moveTo>
                <a:cubicBezTo>
                  <a:pt x="7102" y="5106"/>
                  <a:pt x="7435" y="5355"/>
                  <a:pt x="7562" y="5686"/>
                </a:cubicBezTo>
                <a:cubicBezTo>
                  <a:pt x="7594" y="5906"/>
                  <a:pt x="7594" y="6095"/>
                  <a:pt x="7531" y="6284"/>
                </a:cubicBezTo>
                <a:cubicBezTo>
                  <a:pt x="7368" y="6610"/>
                  <a:pt x="7067" y="6798"/>
                  <a:pt x="6756" y="6798"/>
                </a:cubicBezTo>
                <a:cubicBezTo>
                  <a:pt x="6646" y="6798"/>
                  <a:pt x="6535" y="6775"/>
                  <a:pt x="6428" y="6725"/>
                </a:cubicBezTo>
                <a:cubicBezTo>
                  <a:pt x="6176" y="6631"/>
                  <a:pt x="6018" y="6442"/>
                  <a:pt x="5955" y="6221"/>
                </a:cubicBezTo>
                <a:cubicBezTo>
                  <a:pt x="5798" y="5749"/>
                  <a:pt x="6050" y="5276"/>
                  <a:pt x="6491" y="5150"/>
                </a:cubicBezTo>
                <a:cubicBezTo>
                  <a:pt x="6575" y="5120"/>
                  <a:pt x="6661" y="5106"/>
                  <a:pt x="6746" y="5106"/>
                </a:cubicBezTo>
                <a:close/>
                <a:moveTo>
                  <a:pt x="7531" y="7387"/>
                </a:moveTo>
                <a:lnTo>
                  <a:pt x="8476" y="9277"/>
                </a:lnTo>
                <a:lnTo>
                  <a:pt x="4947" y="9277"/>
                </a:lnTo>
                <a:lnTo>
                  <a:pt x="5955" y="7387"/>
                </a:lnTo>
                <a:cubicBezTo>
                  <a:pt x="6192" y="7529"/>
                  <a:pt x="6451" y="7600"/>
                  <a:pt x="6719" y="7600"/>
                </a:cubicBezTo>
                <a:cubicBezTo>
                  <a:pt x="6987" y="7600"/>
                  <a:pt x="7263" y="7529"/>
                  <a:pt x="7531" y="7387"/>
                </a:cubicBezTo>
                <a:close/>
                <a:moveTo>
                  <a:pt x="1791" y="1"/>
                </a:moveTo>
                <a:cubicBezTo>
                  <a:pt x="1607" y="1"/>
                  <a:pt x="1440" y="138"/>
                  <a:pt x="1387" y="298"/>
                </a:cubicBezTo>
                <a:lnTo>
                  <a:pt x="95" y="5150"/>
                </a:lnTo>
                <a:cubicBezTo>
                  <a:pt x="1" y="5371"/>
                  <a:pt x="158" y="5591"/>
                  <a:pt x="347" y="5654"/>
                </a:cubicBezTo>
                <a:lnTo>
                  <a:pt x="2742" y="6284"/>
                </a:lnTo>
                <a:cubicBezTo>
                  <a:pt x="2773" y="6288"/>
                  <a:pt x="2804" y="6290"/>
                  <a:pt x="2833" y="6290"/>
                </a:cubicBezTo>
                <a:cubicBezTo>
                  <a:pt x="3040" y="6290"/>
                  <a:pt x="3195" y="6194"/>
                  <a:pt x="3277" y="6001"/>
                </a:cubicBezTo>
                <a:lnTo>
                  <a:pt x="3403" y="5623"/>
                </a:lnTo>
                <a:lnTo>
                  <a:pt x="5073" y="6095"/>
                </a:lnTo>
                <a:cubicBezTo>
                  <a:pt x="5073" y="6379"/>
                  <a:pt x="5199" y="6631"/>
                  <a:pt x="5325" y="6883"/>
                </a:cubicBezTo>
                <a:lnTo>
                  <a:pt x="2616" y="12081"/>
                </a:lnTo>
                <a:cubicBezTo>
                  <a:pt x="2490" y="12270"/>
                  <a:pt x="2553" y="12522"/>
                  <a:pt x="2773" y="12617"/>
                </a:cubicBezTo>
                <a:cubicBezTo>
                  <a:pt x="2838" y="12660"/>
                  <a:pt x="2907" y="12681"/>
                  <a:pt x="2974" y="12681"/>
                </a:cubicBezTo>
                <a:cubicBezTo>
                  <a:pt x="3103" y="12681"/>
                  <a:pt x="3226" y="12604"/>
                  <a:pt x="3309" y="12459"/>
                </a:cubicBezTo>
                <a:lnTo>
                  <a:pt x="4538" y="10191"/>
                </a:lnTo>
                <a:cubicBezTo>
                  <a:pt x="4559" y="10201"/>
                  <a:pt x="4538" y="10205"/>
                  <a:pt x="4668" y="10205"/>
                </a:cubicBezTo>
                <a:cubicBezTo>
                  <a:pt x="4930" y="10205"/>
                  <a:pt x="5798" y="10191"/>
                  <a:pt x="8822" y="10191"/>
                </a:cubicBezTo>
                <a:lnTo>
                  <a:pt x="8917" y="10191"/>
                </a:lnTo>
                <a:lnTo>
                  <a:pt x="10082" y="12459"/>
                </a:lnTo>
                <a:cubicBezTo>
                  <a:pt x="10165" y="12604"/>
                  <a:pt x="10289" y="12681"/>
                  <a:pt x="10426" y="12681"/>
                </a:cubicBezTo>
                <a:cubicBezTo>
                  <a:pt x="10498" y="12681"/>
                  <a:pt x="10574" y="12660"/>
                  <a:pt x="10650" y="12617"/>
                </a:cubicBezTo>
                <a:cubicBezTo>
                  <a:pt x="10839" y="12522"/>
                  <a:pt x="10902" y="12270"/>
                  <a:pt x="10807" y="12081"/>
                </a:cubicBezTo>
                <a:lnTo>
                  <a:pt x="8129" y="6914"/>
                </a:lnTo>
                <a:lnTo>
                  <a:pt x="9389" y="7261"/>
                </a:lnTo>
                <a:cubicBezTo>
                  <a:pt x="9428" y="7272"/>
                  <a:pt x="9466" y="7277"/>
                  <a:pt x="9503" y="7277"/>
                </a:cubicBezTo>
                <a:cubicBezTo>
                  <a:pt x="9674" y="7277"/>
                  <a:pt x="9816" y="7164"/>
                  <a:pt x="9893" y="7009"/>
                </a:cubicBezTo>
                <a:lnTo>
                  <a:pt x="10019" y="6599"/>
                </a:lnTo>
                <a:lnTo>
                  <a:pt x="11626" y="7040"/>
                </a:lnTo>
                <a:cubicBezTo>
                  <a:pt x="11660" y="7050"/>
                  <a:pt x="11694" y="7055"/>
                  <a:pt x="11727" y="7055"/>
                </a:cubicBezTo>
                <a:cubicBezTo>
                  <a:pt x="11910" y="7055"/>
                  <a:pt x="12077" y="6917"/>
                  <a:pt x="12130" y="6757"/>
                </a:cubicBezTo>
                <a:lnTo>
                  <a:pt x="12571" y="5150"/>
                </a:lnTo>
                <a:cubicBezTo>
                  <a:pt x="12634" y="4804"/>
                  <a:pt x="12508" y="4583"/>
                  <a:pt x="12288" y="4520"/>
                </a:cubicBezTo>
                <a:lnTo>
                  <a:pt x="10681" y="4079"/>
                </a:lnTo>
                <a:lnTo>
                  <a:pt x="10776" y="3701"/>
                </a:lnTo>
                <a:cubicBezTo>
                  <a:pt x="10839" y="3449"/>
                  <a:pt x="10713" y="3260"/>
                  <a:pt x="10523" y="3165"/>
                </a:cubicBezTo>
                <a:lnTo>
                  <a:pt x="4443" y="1559"/>
                </a:lnTo>
                <a:lnTo>
                  <a:pt x="4569" y="1181"/>
                </a:lnTo>
                <a:cubicBezTo>
                  <a:pt x="4601" y="928"/>
                  <a:pt x="4506" y="739"/>
                  <a:pt x="4285" y="645"/>
                </a:cubicBezTo>
                <a:lnTo>
                  <a:pt x="1891" y="15"/>
                </a:lnTo>
                <a:cubicBezTo>
                  <a:pt x="1857" y="5"/>
                  <a:pt x="1824" y="1"/>
                  <a:pt x="1791"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nvGrpSpPr>
          <p:cNvPr id="9703" name="Google Shape;9703;p110"/>
          <p:cNvGrpSpPr/>
          <p:nvPr/>
        </p:nvGrpSpPr>
        <p:grpSpPr>
          <a:xfrm>
            <a:off x="4653771" y="3838452"/>
            <a:ext cx="511933" cy="496824"/>
            <a:chOff x="-37956150" y="1948175"/>
            <a:chExt cx="326100" cy="316475"/>
          </a:xfrm>
        </p:grpSpPr>
        <p:sp>
          <p:nvSpPr>
            <p:cNvPr id="9704" name="Google Shape;9704;p110"/>
            <p:cNvSpPr/>
            <p:nvPr/>
          </p:nvSpPr>
          <p:spPr>
            <a:xfrm>
              <a:off x="-37956150" y="1948175"/>
              <a:ext cx="326100" cy="316475"/>
            </a:xfrm>
            <a:custGeom>
              <a:avLst/>
              <a:gdLst/>
              <a:ahLst/>
              <a:cxnLst/>
              <a:rect l="l" t="t" r="r" b="b"/>
              <a:pathLst>
                <a:path w="13044" h="12659" extrusionOk="0">
                  <a:moveTo>
                    <a:pt x="11627" y="844"/>
                  </a:moveTo>
                  <a:cubicBezTo>
                    <a:pt x="11847" y="844"/>
                    <a:pt x="12067" y="993"/>
                    <a:pt x="12067" y="1229"/>
                  </a:cubicBezTo>
                  <a:cubicBezTo>
                    <a:pt x="12067" y="1355"/>
                    <a:pt x="12036" y="1418"/>
                    <a:pt x="11941" y="1513"/>
                  </a:cubicBezTo>
                  <a:lnTo>
                    <a:pt x="9106" y="4254"/>
                  </a:lnTo>
                  <a:cubicBezTo>
                    <a:pt x="8948" y="4065"/>
                    <a:pt x="8759" y="3876"/>
                    <a:pt x="8507" y="3687"/>
                  </a:cubicBezTo>
                  <a:cubicBezTo>
                    <a:pt x="9358" y="2899"/>
                    <a:pt x="11343" y="946"/>
                    <a:pt x="11343" y="946"/>
                  </a:cubicBezTo>
                  <a:cubicBezTo>
                    <a:pt x="11423" y="876"/>
                    <a:pt x="11525" y="844"/>
                    <a:pt x="11627" y="844"/>
                  </a:cubicBezTo>
                  <a:close/>
                  <a:moveTo>
                    <a:pt x="3845" y="10712"/>
                  </a:moveTo>
                  <a:lnTo>
                    <a:pt x="4412" y="11311"/>
                  </a:lnTo>
                  <a:lnTo>
                    <a:pt x="4065" y="11657"/>
                  </a:lnTo>
                  <a:cubicBezTo>
                    <a:pt x="3986" y="11736"/>
                    <a:pt x="3876" y="11776"/>
                    <a:pt x="3766" y="11776"/>
                  </a:cubicBezTo>
                  <a:cubicBezTo>
                    <a:pt x="3656" y="11776"/>
                    <a:pt x="3545" y="11736"/>
                    <a:pt x="3467" y="11657"/>
                  </a:cubicBezTo>
                  <a:cubicBezTo>
                    <a:pt x="3309" y="11500"/>
                    <a:pt x="3309" y="11248"/>
                    <a:pt x="3467" y="11090"/>
                  </a:cubicBezTo>
                  <a:lnTo>
                    <a:pt x="3845" y="10712"/>
                  </a:lnTo>
                  <a:close/>
                  <a:moveTo>
                    <a:pt x="6222" y="3658"/>
                  </a:moveTo>
                  <a:cubicBezTo>
                    <a:pt x="6719" y="3658"/>
                    <a:pt x="7224" y="3789"/>
                    <a:pt x="7688" y="4065"/>
                  </a:cubicBezTo>
                  <a:cubicBezTo>
                    <a:pt x="8035" y="4254"/>
                    <a:pt x="8350" y="4569"/>
                    <a:pt x="8602" y="4884"/>
                  </a:cubicBezTo>
                  <a:cubicBezTo>
                    <a:pt x="9389" y="6207"/>
                    <a:pt x="9106" y="7782"/>
                    <a:pt x="8129" y="8759"/>
                  </a:cubicBezTo>
                  <a:lnTo>
                    <a:pt x="7027" y="9862"/>
                  </a:lnTo>
                  <a:cubicBezTo>
                    <a:pt x="6838" y="10051"/>
                    <a:pt x="6712" y="10334"/>
                    <a:pt x="6680" y="10649"/>
                  </a:cubicBezTo>
                  <a:cubicBezTo>
                    <a:pt x="6680" y="11027"/>
                    <a:pt x="6554" y="11468"/>
                    <a:pt x="6270" y="11752"/>
                  </a:cubicBezTo>
                  <a:cubicBezTo>
                    <a:pt x="6255" y="11768"/>
                    <a:pt x="6215" y="11776"/>
                    <a:pt x="6176" y="11776"/>
                  </a:cubicBezTo>
                  <a:cubicBezTo>
                    <a:pt x="6137" y="11776"/>
                    <a:pt x="6097" y="11768"/>
                    <a:pt x="6081" y="11752"/>
                  </a:cubicBezTo>
                  <a:cubicBezTo>
                    <a:pt x="726" y="6396"/>
                    <a:pt x="1009" y="6680"/>
                    <a:pt x="1009" y="6617"/>
                  </a:cubicBezTo>
                  <a:lnTo>
                    <a:pt x="1009" y="6522"/>
                  </a:lnTo>
                  <a:cubicBezTo>
                    <a:pt x="1009" y="6459"/>
                    <a:pt x="1041" y="6459"/>
                    <a:pt x="1041" y="6459"/>
                  </a:cubicBezTo>
                  <a:cubicBezTo>
                    <a:pt x="1198" y="6302"/>
                    <a:pt x="1419" y="6207"/>
                    <a:pt x="1671" y="6113"/>
                  </a:cubicBezTo>
                  <a:cubicBezTo>
                    <a:pt x="2049" y="5987"/>
                    <a:pt x="2269" y="6081"/>
                    <a:pt x="2616" y="5955"/>
                  </a:cubicBezTo>
                  <a:cubicBezTo>
                    <a:pt x="2773" y="5892"/>
                    <a:pt x="2899" y="5798"/>
                    <a:pt x="2994" y="5672"/>
                  </a:cubicBezTo>
                  <a:lnTo>
                    <a:pt x="4191" y="4506"/>
                  </a:lnTo>
                  <a:cubicBezTo>
                    <a:pt x="4741" y="3956"/>
                    <a:pt x="5473" y="3658"/>
                    <a:pt x="6222" y="3658"/>
                  </a:cubicBezTo>
                  <a:close/>
                  <a:moveTo>
                    <a:pt x="11637" y="1"/>
                  </a:moveTo>
                  <a:cubicBezTo>
                    <a:pt x="11322" y="1"/>
                    <a:pt x="11007" y="127"/>
                    <a:pt x="10776" y="379"/>
                  </a:cubicBezTo>
                  <a:lnTo>
                    <a:pt x="7814" y="3277"/>
                  </a:lnTo>
                  <a:cubicBezTo>
                    <a:pt x="7301" y="3032"/>
                    <a:pt x="6741" y="2908"/>
                    <a:pt x="6181" y="2908"/>
                  </a:cubicBezTo>
                  <a:cubicBezTo>
                    <a:pt x="5227" y="2908"/>
                    <a:pt x="4275" y="3268"/>
                    <a:pt x="3561" y="4002"/>
                  </a:cubicBezTo>
                  <a:lnTo>
                    <a:pt x="2364" y="5167"/>
                  </a:lnTo>
                  <a:cubicBezTo>
                    <a:pt x="2301" y="5262"/>
                    <a:pt x="2175" y="5294"/>
                    <a:pt x="2049" y="5294"/>
                  </a:cubicBezTo>
                  <a:cubicBezTo>
                    <a:pt x="915" y="5325"/>
                    <a:pt x="474" y="5924"/>
                    <a:pt x="411" y="5955"/>
                  </a:cubicBezTo>
                  <a:cubicBezTo>
                    <a:pt x="1" y="6365"/>
                    <a:pt x="64" y="6932"/>
                    <a:pt x="411" y="7341"/>
                  </a:cubicBezTo>
                  <a:lnTo>
                    <a:pt x="3246" y="10177"/>
                  </a:lnTo>
                  <a:lnTo>
                    <a:pt x="2836" y="10555"/>
                  </a:lnTo>
                  <a:cubicBezTo>
                    <a:pt x="2206" y="11185"/>
                    <a:pt x="2458" y="12256"/>
                    <a:pt x="3246" y="12571"/>
                  </a:cubicBezTo>
                  <a:cubicBezTo>
                    <a:pt x="3395" y="12631"/>
                    <a:pt x="3547" y="12659"/>
                    <a:pt x="3696" y="12659"/>
                  </a:cubicBezTo>
                  <a:cubicBezTo>
                    <a:pt x="4020" y="12659"/>
                    <a:pt x="4332" y="12525"/>
                    <a:pt x="4569" y="12288"/>
                  </a:cubicBezTo>
                  <a:lnTo>
                    <a:pt x="4979" y="11910"/>
                  </a:lnTo>
                  <a:lnTo>
                    <a:pt x="5451" y="12382"/>
                  </a:lnTo>
                  <a:cubicBezTo>
                    <a:pt x="5636" y="12567"/>
                    <a:pt x="5874" y="12654"/>
                    <a:pt x="6116" y="12654"/>
                  </a:cubicBezTo>
                  <a:cubicBezTo>
                    <a:pt x="6370" y="12654"/>
                    <a:pt x="6628" y="12559"/>
                    <a:pt x="6838" y="12382"/>
                  </a:cubicBezTo>
                  <a:cubicBezTo>
                    <a:pt x="7247" y="11941"/>
                    <a:pt x="7468" y="11342"/>
                    <a:pt x="7499" y="10712"/>
                  </a:cubicBezTo>
                  <a:cubicBezTo>
                    <a:pt x="7499" y="10649"/>
                    <a:pt x="7531" y="10523"/>
                    <a:pt x="7625" y="10460"/>
                  </a:cubicBezTo>
                  <a:lnTo>
                    <a:pt x="8728" y="9358"/>
                  </a:lnTo>
                  <a:cubicBezTo>
                    <a:pt x="9862" y="8192"/>
                    <a:pt x="10209" y="6428"/>
                    <a:pt x="9547" y="5010"/>
                  </a:cubicBezTo>
                  <a:lnTo>
                    <a:pt x="12540" y="2112"/>
                  </a:lnTo>
                  <a:cubicBezTo>
                    <a:pt x="12666" y="1986"/>
                    <a:pt x="12729" y="1828"/>
                    <a:pt x="12823" y="1670"/>
                  </a:cubicBezTo>
                  <a:cubicBezTo>
                    <a:pt x="13044" y="1072"/>
                    <a:pt x="12729" y="379"/>
                    <a:pt x="12099" y="95"/>
                  </a:cubicBezTo>
                  <a:cubicBezTo>
                    <a:pt x="11952" y="32"/>
                    <a:pt x="11794" y="1"/>
                    <a:pt x="11637"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9705" name="Google Shape;9705;p110"/>
            <p:cNvSpPr/>
            <p:nvPr/>
          </p:nvSpPr>
          <p:spPr>
            <a:xfrm>
              <a:off x="-37729300" y="2054500"/>
              <a:ext cx="25" cy="25"/>
            </a:xfrm>
            <a:custGeom>
              <a:avLst/>
              <a:gdLst/>
              <a:ahLst/>
              <a:cxnLst/>
              <a:rect l="l" t="t" r="r" b="b"/>
              <a:pathLst>
                <a:path w="1" h="1" extrusionOk="0">
                  <a:moveTo>
                    <a:pt x="0" y="1"/>
                  </a:move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9706" name="Google Shape;9706;p110"/>
            <p:cNvSpPr/>
            <p:nvPr/>
          </p:nvSpPr>
          <p:spPr>
            <a:xfrm>
              <a:off x="-37839575" y="2058625"/>
              <a:ext cx="81950" cy="34300"/>
            </a:xfrm>
            <a:custGeom>
              <a:avLst/>
              <a:gdLst/>
              <a:ahLst/>
              <a:cxnLst/>
              <a:rect l="l" t="t" r="r" b="b"/>
              <a:pathLst>
                <a:path w="3278" h="1372" extrusionOk="0">
                  <a:moveTo>
                    <a:pt x="1497" y="0"/>
                  </a:moveTo>
                  <a:cubicBezTo>
                    <a:pt x="1030" y="0"/>
                    <a:pt x="577" y="150"/>
                    <a:pt x="221" y="434"/>
                  </a:cubicBezTo>
                  <a:cubicBezTo>
                    <a:pt x="32" y="623"/>
                    <a:pt x="1" y="876"/>
                    <a:pt x="158" y="1065"/>
                  </a:cubicBezTo>
                  <a:cubicBezTo>
                    <a:pt x="245" y="1151"/>
                    <a:pt x="350" y="1200"/>
                    <a:pt x="465" y="1200"/>
                  </a:cubicBezTo>
                  <a:cubicBezTo>
                    <a:pt x="558" y="1200"/>
                    <a:pt x="657" y="1167"/>
                    <a:pt x="757" y="1096"/>
                  </a:cubicBezTo>
                  <a:cubicBezTo>
                    <a:pt x="968" y="927"/>
                    <a:pt x="1241" y="840"/>
                    <a:pt x="1524" y="840"/>
                  </a:cubicBezTo>
                  <a:cubicBezTo>
                    <a:pt x="1876" y="840"/>
                    <a:pt x="2242" y="974"/>
                    <a:pt x="2521" y="1254"/>
                  </a:cubicBezTo>
                  <a:cubicBezTo>
                    <a:pt x="2600" y="1332"/>
                    <a:pt x="2710" y="1372"/>
                    <a:pt x="2820" y="1372"/>
                  </a:cubicBezTo>
                  <a:cubicBezTo>
                    <a:pt x="2931" y="1372"/>
                    <a:pt x="3041" y="1332"/>
                    <a:pt x="3120" y="1254"/>
                  </a:cubicBezTo>
                  <a:cubicBezTo>
                    <a:pt x="3277" y="1096"/>
                    <a:pt x="3277" y="844"/>
                    <a:pt x="3120" y="686"/>
                  </a:cubicBezTo>
                  <a:cubicBezTo>
                    <a:pt x="2653" y="220"/>
                    <a:pt x="2064" y="0"/>
                    <a:pt x="1497"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9707" name="Google Shape;9707;p110"/>
          <p:cNvGrpSpPr/>
          <p:nvPr/>
        </p:nvGrpSpPr>
        <p:grpSpPr>
          <a:xfrm>
            <a:off x="4663796" y="4514790"/>
            <a:ext cx="500827" cy="324020"/>
            <a:chOff x="-37953000" y="2379000"/>
            <a:chExt cx="319025" cy="206400"/>
          </a:xfrm>
        </p:grpSpPr>
        <p:sp>
          <p:nvSpPr>
            <p:cNvPr id="9708" name="Google Shape;9708;p110"/>
            <p:cNvSpPr/>
            <p:nvPr/>
          </p:nvSpPr>
          <p:spPr>
            <a:xfrm>
              <a:off x="-37953000" y="2379000"/>
              <a:ext cx="319025" cy="206400"/>
            </a:xfrm>
            <a:custGeom>
              <a:avLst/>
              <a:gdLst/>
              <a:ahLst/>
              <a:cxnLst/>
              <a:rect l="l" t="t" r="r" b="b"/>
              <a:pathLst>
                <a:path w="12761" h="8256" extrusionOk="0">
                  <a:moveTo>
                    <a:pt x="11469" y="788"/>
                  </a:moveTo>
                  <a:cubicBezTo>
                    <a:pt x="11721" y="788"/>
                    <a:pt x="11878" y="977"/>
                    <a:pt x="11910" y="1198"/>
                  </a:cubicBezTo>
                  <a:lnTo>
                    <a:pt x="11910" y="6207"/>
                  </a:lnTo>
                  <a:lnTo>
                    <a:pt x="11847" y="6207"/>
                  </a:lnTo>
                  <a:cubicBezTo>
                    <a:pt x="11847" y="6396"/>
                    <a:pt x="11752" y="6554"/>
                    <a:pt x="11595" y="6617"/>
                  </a:cubicBezTo>
                  <a:cubicBezTo>
                    <a:pt x="11563" y="6627"/>
                    <a:pt x="11612" y="6631"/>
                    <a:pt x="11289" y="6631"/>
                  </a:cubicBezTo>
                  <a:cubicBezTo>
                    <a:pt x="10643" y="6631"/>
                    <a:pt x="8507" y="6617"/>
                    <a:pt x="1261" y="6617"/>
                  </a:cubicBezTo>
                  <a:cubicBezTo>
                    <a:pt x="1041" y="6617"/>
                    <a:pt x="883" y="6396"/>
                    <a:pt x="852" y="6176"/>
                  </a:cubicBezTo>
                  <a:lnTo>
                    <a:pt x="852" y="1198"/>
                  </a:lnTo>
                  <a:cubicBezTo>
                    <a:pt x="852" y="977"/>
                    <a:pt x="1041" y="820"/>
                    <a:pt x="1261" y="788"/>
                  </a:cubicBezTo>
                  <a:close/>
                  <a:moveTo>
                    <a:pt x="1261" y="1"/>
                  </a:moveTo>
                  <a:cubicBezTo>
                    <a:pt x="600" y="1"/>
                    <a:pt x="1" y="536"/>
                    <a:pt x="1" y="1198"/>
                  </a:cubicBezTo>
                  <a:lnTo>
                    <a:pt x="1" y="6176"/>
                  </a:lnTo>
                  <a:cubicBezTo>
                    <a:pt x="1" y="6711"/>
                    <a:pt x="348" y="7152"/>
                    <a:pt x="820" y="7341"/>
                  </a:cubicBezTo>
                  <a:lnTo>
                    <a:pt x="820" y="7814"/>
                  </a:lnTo>
                  <a:cubicBezTo>
                    <a:pt x="820" y="8066"/>
                    <a:pt x="1041" y="8255"/>
                    <a:pt x="1261" y="8255"/>
                  </a:cubicBezTo>
                  <a:lnTo>
                    <a:pt x="2931" y="8255"/>
                  </a:lnTo>
                  <a:cubicBezTo>
                    <a:pt x="3151" y="8255"/>
                    <a:pt x="3341" y="8066"/>
                    <a:pt x="3341" y="7814"/>
                  </a:cubicBezTo>
                  <a:lnTo>
                    <a:pt x="3341" y="7404"/>
                  </a:lnTo>
                  <a:lnTo>
                    <a:pt x="9421" y="7404"/>
                  </a:lnTo>
                  <a:lnTo>
                    <a:pt x="9421" y="7814"/>
                  </a:lnTo>
                  <a:cubicBezTo>
                    <a:pt x="9421" y="8066"/>
                    <a:pt x="9610" y="8255"/>
                    <a:pt x="9862" y="8255"/>
                  </a:cubicBezTo>
                  <a:lnTo>
                    <a:pt x="11500" y="8255"/>
                  </a:lnTo>
                  <a:cubicBezTo>
                    <a:pt x="11752" y="8255"/>
                    <a:pt x="11941" y="8066"/>
                    <a:pt x="11941" y="7814"/>
                  </a:cubicBezTo>
                  <a:lnTo>
                    <a:pt x="11941" y="7341"/>
                  </a:lnTo>
                  <a:cubicBezTo>
                    <a:pt x="12445" y="7184"/>
                    <a:pt x="12760" y="6711"/>
                    <a:pt x="12760" y="6176"/>
                  </a:cubicBezTo>
                  <a:lnTo>
                    <a:pt x="12760" y="1198"/>
                  </a:lnTo>
                  <a:cubicBezTo>
                    <a:pt x="12697" y="536"/>
                    <a:pt x="12130" y="1"/>
                    <a:pt x="11469"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9709" name="Google Shape;9709;p110"/>
            <p:cNvSpPr/>
            <p:nvPr/>
          </p:nvSpPr>
          <p:spPr>
            <a:xfrm>
              <a:off x="-37780500" y="2419975"/>
              <a:ext cx="110300" cy="104075"/>
            </a:xfrm>
            <a:custGeom>
              <a:avLst/>
              <a:gdLst/>
              <a:ahLst/>
              <a:cxnLst/>
              <a:rect l="l" t="t" r="r" b="b"/>
              <a:pathLst>
                <a:path w="4412" h="4163" extrusionOk="0">
                  <a:moveTo>
                    <a:pt x="2043" y="804"/>
                  </a:moveTo>
                  <a:cubicBezTo>
                    <a:pt x="2447" y="804"/>
                    <a:pt x="2859" y="1006"/>
                    <a:pt x="3120" y="1386"/>
                  </a:cubicBezTo>
                  <a:cubicBezTo>
                    <a:pt x="3466" y="1922"/>
                    <a:pt x="3340" y="2709"/>
                    <a:pt x="2742" y="3119"/>
                  </a:cubicBezTo>
                  <a:cubicBezTo>
                    <a:pt x="2544" y="3259"/>
                    <a:pt x="2312" y="3325"/>
                    <a:pt x="2077" y="3325"/>
                  </a:cubicBezTo>
                  <a:cubicBezTo>
                    <a:pt x="1676" y="3325"/>
                    <a:pt x="1267" y="3130"/>
                    <a:pt x="1009" y="2773"/>
                  </a:cubicBezTo>
                  <a:cubicBezTo>
                    <a:pt x="631" y="2205"/>
                    <a:pt x="788" y="1418"/>
                    <a:pt x="1387" y="1008"/>
                  </a:cubicBezTo>
                  <a:cubicBezTo>
                    <a:pt x="1582" y="870"/>
                    <a:pt x="1811" y="804"/>
                    <a:pt x="2043" y="804"/>
                  </a:cubicBezTo>
                  <a:close/>
                  <a:moveTo>
                    <a:pt x="2080" y="0"/>
                  </a:moveTo>
                  <a:cubicBezTo>
                    <a:pt x="946" y="0"/>
                    <a:pt x="1" y="945"/>
                    <a:pt x="1" y="2079"/>
                  </a:cubicBezTo>
                  <a:cubicBezTo>
                    <a:pt x="1" y="2993"/>
                    <a:pt x="599" y="3781"/>
                    <a:pt x="1450" y="4064"/>
                  </a:cubicBezTo>
                  <a:cubicBezTo>
                    <a:pt x="1647" y="4130"/>
                    <a:pt x="1849" y="4163"/>
                    <a:pt x="2050" y="4163"/>
                  </a:cubicBezTo>
                  <a:cubicBezTo>
                    <a:pt x="2332" y="4163"/>
                    <a:pt x="2610" y="4098"/>
                    <a:pt x="2868" y="3970"/>
                  </a:cubicBezTo>
                  <a:cubicBezTo>
                    <a:pt x="3939" y="3560"/>
                    <a:pt x="4411" y="2331"/>
                    <a:pt x="3970" y="1260"/>
                  </a:cubicBezTo>
                  <a:cubicBezTo>
                    <a:pt x="3655" y="504"/>
                    <a:pt x="2899" y="0"/>
                    <a:pt x="2080"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9710" name="Google Shape;9710;p110"/>
            <p:cNvSpPr/>
            <p:nvPr/>
          </p:nvSpPr>
          <p:spPr>
            <a:xfrm>
              <a:off x="-37910450" y="2419975"/>
              <a:ext cx="103200" cy="21275"/>
            </a:xfrm>
            <a:custGeom>
              <a:avLst/>
              <a:gdLst/>
              <a:ahLst/>
              <a:cxnLst/>
              <a:rect l="l" t="t" r="r" b="b"/>
              <a:pathLst>
                <a:path w="4128" h="851" extrusionOk="0">
                  <a:moveTo>
                    <a:pt x="378" y="0"/>
                  </a:moveTo>
                  <a:cubicBezTo>
                    <a:pt x="158" y="0"/>
                    <a:pt x="0" y="189"/>
                    <a:pt x="0" y="441"/>
                  </a:cubicBezTo>
                  <a:cubicBezTo>
                    <a:pt x="0" y="662"/>
                    <a:pt x="189" y="851"/>
                    <a:pt x="378" y="851"/>
                  </a:cubicBezTo>
                  <a:lnTo>
                    <a:pt x="3686" y="851"/>
                  </a:lnTo>
                  <a:cubicBezTo>
                    <a:pt x="3938" y="851"/>
                    <a:pt x="4127" y="662"/>
                    <a:pt x="4127" y="441"/>
                  </a:cubicBezTo>
                  <a:cubicBezTo>
                    <a:pt x="4096" y="189"/>
                    <a:pt x="3907" y="0"/>
                    <a:pt x="3686"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9711" name="Google Shape;9711;p110"/>
            <p:cNvSpPr/>
            <p:nvPr/>
          </p:nvSpPr>
          <p:spPr>
            <a:xfrm>
              <a:off x="-37910450" y="2461700"/>
              <a:ext cx="103200" cy="21300"/>
            </a:xfrm>
            <a:custGeom>
              <a:avLst/>
              <a:gdLst/>
              <a:ahLst/>
              <a:cxnLst/>
              <a:rect l="l" t="t" r="r" b="b"/>
              <a:pathLst>
                <a:path w="4128" h="852" extrusionOk="0">
                  <a:moveTo>
                    <a:pt x="378" y="1"/>
                  </a:moveTo>
                  <a:cubicBezTo>
                    <a:pt x="158" y="1"/>
                    <a:pt x="0" y="190"/>
                    <a:pt x="0" y="410"/>
                  </a:cubicBezTo>
                  <a:cubicBezTo>
                    <a:pt x="0" y="662"/>
                    <a:pt x="189" y="851"/>
                    <a:pt x="378" y="851"/>
                  </a:cubicBezTo>
                  <a:lnTo>
                    <a:pt x="3686" y="851"/>
                  </a:lnTo>
                  <a:cubicBezTo>
                    <a:pt x="3938" y="851"/>
                    <a:pt x="4127" y="662"/>
                    <a:pt x="4127" y="410"/>
                  </a:cubicBezTo>
                  <a:cubicBezTo>
                    <a:pt x="4127" y="190"/>
                    <a:pt x="3907" y="1"/>
                    <a:pt x="3686"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9712" name="Google Shape;9712;p110"/>
            <p:cNvSpPr/>
            <p:nvPr/>
          </p:nvSpPr>
          <p:spPr>
            <a:xfrm>
              <a:off x="-37910450" y="2502675"/>
              <a:ext cx="103200" cy="22075"/>
            </a:xfrm>
            <a:custGeom>
              <a:avLst/>
              <a:gdLst/>
              <a:ahLst/>
              <a:cxnLst/>
              <a:rect l="l" t="t" r="r" b="b"/>
              <a:pathLst>
                <a:path w="4128" h="883" extrusionOk="0">
                  <a:moveTo>
                    <a:pt x="378" y="0"/>
                  </a:moveTo>
                  <a:cubicBezTo>
                    <a:pt x="158" y="0"/>
                    <a:pt x="0" y="189"/>
                    <a:pt x="0" y="441"/>
                  </a:cubicBezTo>
                  <a:cubicBezTo>
                    <a:pt x="0" y="662"/>
                    <a:pt x="189" y="882"/>
                    <a:pt x="378" y="882"/>
                  </a:cubicBezTo>
                  <a:lnTo>
                    <a:pt x="3686" y="882"/>
                  </a:lnTo>
                  <a:cubicBezTo>
                    <a:pt x="3938" y="882"/>
                    <a:pt x="4127" y="662"/>
                    <a:pt x="4127" y="441"/>
                  </a:cubicBezTo>
                  <a:cubicBezTo>
                    <a:pt x="4127" y="189"/>
                    <a:pt x="3907" y="0"/>
                    <a:pt x="3686"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sp>
        <p:nvSpPr>
          <p:cNvPr id="9713" name="Google Shape;9713;p110"/>
          <p:cNvSpPr/>
          <p:nvPr/>
        </p:nvSpPr>
        <p:spPr>
          <a:xfrm>
            <a:off x="4654601" y="5068801"/>
            <a:ext cx="514407" cy="499571"/>
          </a:xfrm>
          <a:custGeom>
            <a:avLst/>
            <a:gdLst/>
            <a:ahLst/>
            <a:cxnLst/>
            <a:rect l="l" t="t" r="r" b="b"/>
            <a:pathLst>
              <a:path w="13107" h="12729" extrusionOk="0">
                <a:moveTo>
                  <a:pt x="10240" y="838"/>
                </a:moveTo>
                <a:cubicBezTo>
                  <a:pt x="10457" y="838"/>
                  <a:pt x="10681" y="882"/>
                  <a:pt x="10902" y="977"/>
                </a:cubicBezTo>
                <a:cubicBezTo>
                  <a:pt x="11752" y="1323"/>
                  <a:pt x="12130" y="2332"/>
                  <a:pt x="11784" y="3151"/>
                </a:cubicBezTo>
                <a:cubicBezTo>
                  <a:pt x="11505" y="3793"/>
                  <a:pt x="10877" y="4159"/>
                  <a:pt x="10226" y="4159"/>
                </a:cubicBezTo>
                <a:cubicBezTo>
                  <a:pt x="9920" y="4159"/>
                  <a:pt x="9609" y="4078"/>
                  <a:pt x="9326" y="3907"/>
                </a:cubicBezTo>
                <a:cubicBezTo>
                  <a:pt x="8917" y="3592"/>
                  <a:pt x="8602" y="3056"/>
                  <a:pt x="8602" y="2521"/>
                </a:cubicBezTo>
                <a:cubicBezTo>
                  <a:pt x="8627" y="1538"/>
                  <a:pt x="9377" y="838"/>
                  <a:pt x="10240" y="838"/>
                </a:cubicBezTo>
                <a:close/>
                <a:moveTo>
                  <a:pt x="11059" y="4852"/>
                </a:moveTo>
                <a:lnTo>
                  <a:pt x="11059" y="5990"/>
                </a:lnTo>
                <a:lnTo>
                  <a:pt x="10555" y="5514"/>
                </a:lnTo>
                <a:cubicBezTo>
                  <a:pt x="10476" y="5435"/>
                  <a:pt x="10366" y="5395"/>
                  <a:pt x="10256" y="5395"/>
                </a:cubicBezTo>
                <a:cubicBezTo>
                  <a:pt x="10146" y="5395"/>
                  <a:pt x="10035" y="5435"/>
                  <a:pt x="9957" y="5514"/>
                </a:cubicBezTo>
                <a:lnTo>
                  <a:pt x="9421" y="6049"/>
                </a:lnTo>
                <a:lnTo>
                  <a:pt x="9421" y="4852"/>
                </a:lnTo>
                <a:cubicBezTo>
                  <a:pt x="9673" y="4946"/>
                  <a:pt x="9949" y="4994"/>
                  <a:pt x="10228" y="4994"/>
                </a:cubicBezTo>
                <a:cubicBezTo>
                  <a:pt x="10508" y="4994"/>
                  <a:pt x="10791" y="4946"/>
                  <a:pt x="11059" y="4852"/>
                </a:cubicBezTo>
                <a:close/>
                <a:moveTo>
                  <a:pt x="11847" y="11027"/>
                </a:moveTo>
                <a:cubicBezTo>
                  <a:pt x="11658" y="11531"/>
                  <a:pt x="11217" y="11846"/>
                  <a:pt x="10681" y="11846"/>
                </a:cubicBezTo>
                <a:lnTo>
                  <a:pt x="3782" y="11846"/>
                </a:lnTo>
                <a:cubicBezTo>
                  <a:pt x="3971" y="11625"/>
                  <a:pt x="4097" y="11342"/>
                  <a:pt x="4128" y="11027"/>
                </a:cubicBezTo>
                <a:close/>
                <a:moveTo>
                  <a:pt x="8444" y="851"/>
                </a:moveTo>
                <a:cubicBezTo>
                  <a:pt x="7531" y="1890"/>
                  <a:pt x="7594" y="3466"/>
                  <a:pt x="8633" y="4379"/>
                </a:cubicBezTo>
                <a:lnTo>
                  <a:pt x="8633" y="7089"/>
                </a:lnTo>
                <a:cubicBezTo>
                  <a:pt x="8633" y="7246"/>
                  <a:pt x="8759" y="7404"/>
                  <a:pt x="8854" y="7467"/>
                </a:cubicBezTo>
                <a:cubicBezTo>
                  <a:pt x="8916" y="7504"/>
                  <a:pt x="8978" y="7522"/>
                  <a:pt x="9038" y="7522"/>
                </a:cubicBezTo>
                <a:cubicBezTo>
                  <a:pt x="9131" y="7522"/>
                  <a:pt x="9219" y="7480"/>
                  <a:pt x="9295" y="7404"/>
                </a:cubicBezTo>
                <a:lnTo>
                  <a:pt x="10240" y="6459"/>
                </a:lnTo>
                <a:lnTo>
                  <a:pt x="10240" y="10271"/>
                </a:lnTo>
                <a:lnTo>
                  <a:pt x="3782" y="10271"/>
                </a:lnTo>
                <a:cubicBezTo>
                  <a:pt x="3752" y="10262"/>
                  <a:pt x="3724" y="10258"/>
                  <a:pt x="3697" y="10258"/>
                </a:cubicBezTo>
                <a:cubicBezTo>
                  <a:pt x="3522" y="10258"/>
                  <a:pt x="3404" y="10426"/>
                  <a:pt x="3404" y="10617"/>
                </a:cubicBezTo>
                <a:cubicBezTo>
                  <a:pt x="3404" y="11331"/>
                  <a:pt x="2805" y="11880"/>
                  <a:pt x="2143" y="11880"/>
                </a:cubicBezTo>
                <a:cubicBezTo>
                  <a:pt x="1987" y="11880"/>
                  <a:pt x="1827" y="11849"/>
                  <a:pt x="1671" y="11783"/>
                </a:cubicBezTo>
                <a:cubicBezTo>
                  <a:pt x="1293" y="11625"/>
                  <a:pt x="1072" y="11342"/>
                  <a:pt x="946" y="10995"/>
                </a:cubicBezTo>
                <a:cubicBezTo>
                  <a:pt x="883" y="10743"/>
                  <a:pt x="915" y="10617"/>
                  <a:pt x="915" y="10302"/>
                </a:cubicBezTo>
                <a:lnTo>
                  <a:pt x="915" y="851"/>
                </a:lnTo>
                <a:close/>
                <a:moveTo>
                  <a:pt x="442" y="0"/>
                </a:moveTo>
                <a:cubicBezTo>
                  <a:pt x="190" y="0"/>
                  <a:pt x="1" y="189"/>
                  <a:pt x="1" y="441"/>
                </a:cubicBezTo>
                <a:lnTo>
                  <a:pt x="1" y="10617"/>
                </a:lnTo>
                <a:cubicBezTo>
                  <a:pt x="1" y="11783"/>
                  <a:pt x="946" y="12728"/>
                  <a:pt x="2080" y="12728"/>
                </a:cubicBezTo>
                <a:lnTo>
                  <a:pt x="10650" y="12728"/>
                </a:lnTo>
                <a:cubicBezTo>
                  <a:pt x="11784" y="12728"/>
                  <a:pt x="12729" y="11783"/>
                  <a:pt x="12729" y="10617"/>
                </a:cubicBezTo>
                <a:cubicBezTo>
                  <a:pt x="12760" y="10397"/>
                  <a:pt x="12571" y="10208"/>
                  <a:pt x="12319" y="10208"/>
                </a:cubicBezTo>
                <a:lnTo>
                  <a:pt x="11122" y="10208"/>
                </a:lnTo>
                <a:lnTo>
                  <a:pt x="11122" y="7215"/>
                </a:lnTo>
                <a:lnTo>
                  <a:pt x="11217" y="7309"/>
                </a:lnTo>
                <a:cubicBezTo>
                  <a:pt x="11301" y="7393"/>
                  <a:pt x="11413" y="7435"/>
                  <a:pt x="11515" y="7435"/>
                </a:cubicBezTo>
                <a:cubicBezTo>
                  <a:pt x="11567" y="7435"/>
                  <a:pt x="11616" y="7425"/>
                  <a:pt x="11658" y="7404"/>
                </a:cubicBezTo>
                <a:cubicBezTo>
                  <a:pt x="11815" y="7309"/>
                  <a:pt x="11910" y="7215"/>
                  <a:pt x="11910" y="6994"/>
                </a:cubicBezTo>
                <a:lnTo>
                  <a:pt x="11910" y="4285"/>
                </a:lnTo>
                <a:cubicBezTo>
                  <a:pt x="13107" y="3214"/>
                  <a:pt x="12950" y="1292"/>
                  <a:pt x="11626" y="378"/>
                </a:cubicBezTo>
                <a:cubicBezTo>
                  <a:pt x="11437" y="221"/>
                  <a:pt x="11154" y="126"/>
                  <a:pt x="10902" y="63"/>
                </a:cubicBezTo>
                <a:cubicBezTo>
                  <a:pt x="10839" y="0"/>
                  <a:pt x="10744" y="0"/>
                  <a:pt x="10650"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9714" name="Google Shape;9714;p110"/>
          <p:cNvSpPr/>
          <p:nvPr/>
        </p:nvSpPr>
        <p:spPr>
          <a:xfrm>
            <a:off x="3558935" y="5697976"/>
            <a:ext cx="358636" cy="498355"/>
          </a:xfrm>
          <a:custGeom>
            <a:avLst/>
            <a:gdLst/>
            <a:ahLst/>
            <a:cxnLst/>
            <a:rect l="l" t="t" r="r" b="b"/>
            <a:pathLst>
              <a:path w="9138" h="12698" extrusionOk="0">
                <a:moveTo>
                  <a:pt x="7467" y="851"/>
                </a:moveTo>
                <a:lnTo>
                  <a:pt x="7467" y="1765"/>
                </a:lnTo>
                <a:cubicBezTo>
                  <a:pt x="7467" y="2363"/>
                  <a:pt x="7373" y="2931"/>
                  <a:pt x="7152" y="3466"/>
                </a:cubicBezTo>
                <a:cubicBezTo>
                  <a:pt x="6849" y="3390"/>
                  <a:pt x="6530" y="3352"/>
                  <a:pt x="6209" y="3352"/>
                </a:cubicBezTo>
                <a:cubicBezTo>
                  <a:pt x="5595" y="3352"/>
                  <a:pt x="4969" y="3492"/>
                  <a:pt x="4411" y="3781"/>
                </a:cubicBezTo>
                <a:cubicBezTo>
                  <a:pt x="3936" y="4019"/>
                  <a:pt x="3406" y="4131"/>
                  <a:pt x="2877" y="4131"/>
                </a:cubicBezTo>
                <a:cubicBezTo>
                  <a:pt x="2705" y="4131"/>
                  <a:pt x="2533" y="4119"/>
                  <a:pt x="2364" y="4096"/>
                </a:cubicBezTo>
                <a:cubicBezTo>
                  <a:pt x="1891" y="3403"/>
                  <a:pt x="1702" y="2584"/>
                  <a:pt x="1702" y="1765"/>
                </a:cubicBezTo>
                <a:lnTo>
                  <a:pt x="1702" y="851"/>
                </a:lnTo>
                <a:close/>
                <a:moveTo>
                  <a:pt x="6278" y="4137"/>
                </a:moveTo>
                <a:cubicBezTo>
                  <a:pt x="6425" y="4137"/>
                  <a:pt x="6570" y="4145"/>
                  <a:pt x="6711" y="4159"/>
                </a:cubicBezTo>
                <a:cubicBezTo>
                  <a:pt x="6428" y="4506"/>
                  <a:pt x="6081" y="4789"/>
                  <a:pt x="5672" y="4978"/>
                </a:cubicBezTo>
                <a:cubicBezTo>
                  <a:pt x="5168" y="5230"/>
                  <a:pt x="4916" y="5829"/>
                  <a:pt x="4947" y="6365"/>
                </a:cubicBezTo>
                <a:lnTo>
                  <a:pt x="4569" y="7152"/>
                </a:lnTo>
                <a:lnTo>
                  <a:pt x="4159" y="6365"/>
                </a:lnTo>
                <a:cubicBezTo>
                  <a:pt x="4222" y="5829"/>
                  <a:pt x="3970" y="5230"/>
                  <a:pt x="3466" y="4978"/>
                </a:cubicBezTo>
                <a:cubicBezTo>
                  <a:pt x="3372" y="4978"/>
                  <a:pt x="3340" y="4947"/>
                  <a:pt x="3277" y="4915"/>
                </a:cubicBezTo>
                <a:cubicBezTo>
                  <a:pt x="3781" y="4884"/>
                  <a:pt x="4285" y="4726"/>
                  <a:pt x="4758" y="4474"/>
                </a:cubicBezTo>
                <a:cubicBezTo>
                  <a:pt x="5246" y="4230"/>
                  <a:pt x="5773" y="4137"/>
                  <a:pt x="6278" y="4137"/>
                </a:cubicBezTo>
                <a:close/>
                <a:moveTo>
                  <a:pt x="5388" y="7436"/>
                </a:moveTo>
                <a:cubicBezTo>
                  <a:pt x="5483" y="7499"/>
                  <a:pt x="5577" y="7593"/>
                  <a:pt x="5703" y="7656"/>
                </a:cubicBezTo>
                <a:cubicBezTo>
                  <a:pt x="6932" y="8255"/>
                  <a:pt x="7499" y="9610"/>
                  <a:pt x="7499" y="10933"/>
                </a:cubicBezTo>
                <a:lnTo>
                  <a:pt x="7499" y="11437"/>
                </a:lnTo>
                <a:lnTo>
                  <a:pt x="7467" y="11437"/>
                </a:lnTo>
                <a:lnTo>
                  <a:pt x="4853" y="9484"/>
                </a:lnTo>
                <a:cubicBezTo>
                  <a:pt x="4774" y="9421"/>
                  <a:pt x="4679" y="9389"/>
                  <a:pt x="4585" y="9389"/>
                </a:cubicBezTo>
                <a:cubicBezTo>
                  <a:pt x="4490" y="9389"/>
                  <a:pt x="4396" y="9421"/>
                  <a:pt x="4317" y="9484"/>
                </a:cubicBezTo>
                <a:lnTo>
                  <a:pt x="1702" y="11437"/>
                </a:lnTo>
                <a:lnTo>
                  <a:pt x="1702" y="10933"/>
                </a:lnTo>
                <a:cubicBezTo>
                  <a:pt x="1702" y="9547"/>
                  <a:pt x="2269" y="8255"/>
                  <a:pt x="3466" y="7656"/>
                </a:cubicBezTo>
                <a:cubicBezTo>
                  <a:pt x="3592" y="7625"/>
                  <a:pt x="3655" y="7530"/>
                  <a:pt x="3781" y="7436"/>
                </a:cubicBezTo>
                <a:lnTo>
                  <a:pt x="4222" y="8286"/>
                </a:lnTo>
                <a:cubicBezTo>
                  <a:pt x="4301" y="8444"/>
                  <a:pt x="4443" y="8523"/>
                  <a:pt x="4585" y="8523"/>
                </a:cubicBezTo>
                <a:cubicBezTo>
                  <a:pt x="4726" y="8523"/>
                  <a:pt x="4868" y="8444"/>
                  <a:pt x="4947" y="8286"/>
                </a:cubicBezTo>
                <a:lnTo>
                  <a:pt x="5388" y="7436"/>
                </a:lnTo>
                <a:close/>
                <a:moveTo>
                  <a:pt x="4600" y="10303"/>
                </a:moveTo>
                <a:lnTo>
                  <a:pt x="6711" y="11846"/>
                </a:lnTo>
                <a:lnTo>
                  <a:pt x="2521" y="11846"/>
                </a:lnTo>
                <a:lnTo>
                  <a:pt x="4600" y="10303"/>
                </a:lnTo>
                <a:close/>
                <a:moveTo>
                  <a:pt x="442" y="1"/>
                </a:moveTo>
                <a:cubicBezTo>
                  <a:pt x="190" y="1"/>
                  <a:pt x="1" y="190"/>
                  <a:pt x="1" y="410"/>
                </a:cubicBezTo>
                <a:cubicBezTo>
                  <a:pt x="1" y="662"/>
                  <a:pt x="190" y="851"/>
                  <a:pt x="442" y="851"/>
                </a:cubicBezTo>
                <a:lnTo>
                  <a:pt x="851" y="851"/>
                </a:lnTo>
                <a:lnTo>
                  <a:pt x="851" y="1765"/>
                </a:lnTo>
                <a:cubicBezTo>
                  <a:pt x="851" y="3466"/>
                  <a:pt x="1607" y="5041"/>
                  <a:pt x="3120" y="5766"/>
                </a:cubicBezTo>
                <a:cubicBezTo>
                  <a:pt x="3309" y="5860"/>
                  <a:pt x="3340" y="6144"/>
                  <a:pt x="3340" y="6365"/>
                </a:cubicBezTo>
                <a:cubicBezTo>
                  <a:pt x="3340" y="6396"/>
                  <a:pt x="3309" y="6491"/>
                  <a:pt x="3340" y="6522"/>
                </a:cubicBezTo>
                <a:cubicBezTo>
                  <a:pt x="3309" y="6680"/>
                  <a:pt x="3214" y="6869"/>
                  <a:pt x="3120" y="6932"/>
                </a:cubicBezTo>
                <a:cubicBezTo>
                  <a:pt x="1607" y="7656"/>
                  <a:pt x="851" y="9232"/>
                  <a:pt x="851" y="10933"/>
                </a:cubicBezTo>
                <a:lnTo>
                  <a:pt x="851" y="11846"/>
                </a:lnTo>
                <a:lnTo>
                  <a:pt x="442" y="11846"/>
                </a:lnTo>
                <a:cubicBezTo>
                  <a:pt x="190" y="11846"/>
                  <a:pt x="1" y="12035"/>
                  <a:pt x="1" y="12287"/>
                </a:cubicBezTo>
                <a:cubicBezTo>
                  <a:pt x="1" y="12508"/>
                  <a:pt x="190" y="12697"/>
                  <a:pt x="442" y="12697"/>
                </a:cubicBezTo>
                <a:lnTo>
                  <a:pt x="8696" y="12697"/>
                </a:lnTo>
                <a:cubicBezTo>
                  <a:pt x="8948" y="12697"/>
                  <a:pt x="9137" y="12508"/>
                  <a:pt x="9137" y="12287"/>
                </a:cubicBezTo>
                <a:cubicBezTo>
                  <a:pt x="9137" y="12035"/>
                  <a:pt x="8948" y="11846"/>
                  <a:pt x="8696" y="11846"/>
                </a:cubicBezTo>
                <a:lnTo>
                  <a:pt x="8255" y="11846"/>
                </a:lnTo>
                <a:lnTo>
                  <a:pt x="8255" y="10933"/>
                </a:lnTo>
                <a:cubicBezTo>
                  <a:pt x="8255" y="9232"/>
                  <a:pt x="7530" y="7656"/>
                  <a:pt x="6018" y="6932"/>
                </a:cubicBezTo>
                <a:cubicBezTo>
                  <a:pt x="5892" y="6837"/>
                  <a:pt x="5829" y="6680"/>
                  <a:pt x="5798" y="6522"/>
                </a:cubicBezTo>
                <a:lnTo>
                  <a:pt x="5798" y="6365"/>
                </a:lnTo>
                <a:cubicBezTo>
                  <a:pt x="5798" y="6144"/>
                  <a:pt x="5861" y="5860"/>
                  <a:pt x="6018" y="5766"/>
                </a:cubicBezTo>
                <a:cubicBezTo>
                  <a:pt x="7530" y="5041"/>
                  <a:pt x="8255" y="3435"/>
                  <a:pt x="8255" y="1765"/>
                </a:cubicBezTo>
                <a:lnTo>
                  <a:pt x="8255" y="851"/>
                </a:lnTo>
                <a:lnTo>
                  <a:pt x="8696" y="851"/>
                </a:lnTo>
                <a:cubicBezTo>
                  <a:pt x="8948" y="851"/>
                  <a:pt x="9137" y="662"/>
                  <a:pt x="9137" y="410"/>
                </a:cubicBezTo>
                <a:cubicBezTo>
                  <a:pt x="9137" y="190"/>
                  <a:pt x="8948" y="1"/>
                  <a:pt x="8696"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9715" name="Google Shape;9715;p110"/>
          <p:cNvSpPr txBox="1">
            <a:spLocks noGrp="1"/>
          </p:cNvSpPr>
          <p:nvPr>
            <p:ph type="title" idx="4294967295"/>
          </p:nvPr>
        </p:nvSpPr>
        <p:spPr>
          <a:xfrm>
            <a:off x="1132900" y="1263900"/>
            <a:ext cx="4642800" cy="643200"/>
          </a:xfrm>
          <a:prstGeom prst="rect">
            <a:avLst/>
          </a:prstGeom>
        </p:spPr>
        <p:txBody>
          <a:bodyPr spcFirstLastPara="1" wrap="square" lIns="121900" tIns="121900" rIns="121900" bIns="121900" anchor="t" anchorCtr="0">
            <a:noAutofit/>
          </a:bodyPr>
          <a:lstStyle/>
          <a:p>
            <a:pPr>
              <a:buClr>
                <a:srgbClr val="000000"/>
              </a:buClr>
              <a:buSzPts val="1100"/>
            </a:pPr>
            <a:r>
              <a:rPr lang="en">
                <a:latin typeface="Arial"/>
                <a:ea typeface="Arial"/>
                <a:cs typeface="Arial"/>
                <a:sym typeface="Arial"/>
              </a:rPr>
              <a:t>Educational I</a:t>
            </a:r>
            <a:r>
              <a:rPr lang="en">
                <a:solidFill>
                  <a:srgbClr val="FFFFFF"/>
                </a:solidFill>
                <a:latin typeface="Arial"/>
                <a:ea typeface="Arial"/>
                <a:cs typeface="Arial"/>
                <a:sym typeface="Arial"/>
              </a:rPr>
              <a:t>cons</a:t>
            </a:r>
            <a:endParaRPr>
              <a:solidFill>
                <a:srgbClr val="FFFFFF"/>
              </a:solidFill>
              <a:latin typeface="Arial"/>
              <a:ea typeface="Arial"/>
              <a:cs typeface="Arial"/>
              <a:sym typeface="Arial"/>
            </a:endParaRPr>
          </a:p>
        </p:txBody>
      </p:sp>
      <p:sp>
        <p:nvSpPr>
          <p:cNvPr id="9716" name="Google Shape;9716;p110"/>
          <p:cNvSpPr txBox="1">
            <a:spLocks noGrp="1"/>
          </p:cNvSpPr>
          <p:nvPr>
            <p:ph type="title" idx="4294967295"/>
          </p:nvPr>
        </p:nvSpPr>
        <p:spPr>
          <a:xfrm>
            <a:off x="6477867" y="1263900"/>
            <a:ext cx="4642800" cy="643200"/>
          </a:xfrm>
          <a:prstGeom prst="rect">
            <a:avLst/>
          </a:prstGeom>
        </p:spPr>
        <p:txBody>
          <a:bodyPr spcFirstLastPara="1" wrap="square" lIns="121900" tIns="121900" rIns="121900" bIns="121900" anchor="t" anchorCtr="0">
            <a:noAutofit/>
          </a:bodyPr>
          <a:lstStyle/>
          <a:p>
            <a:pPr>
              <a:buClr>
                <a:srgbClr val="000000"/>
              </a:buClr>
              <a:buSzPts val="1100"/>
            </a:pPr>
            <a:r>
              <a:rPr lang="en">
                <a:latin typeface="Arial"/>
                <a:ea typeface="Arial"/>
                <a:cs typeface="Arial"/>
                <a:sym typeface="Arial"/>
              </a:rPr>
              <a:t>Medical Icons</a:t>
            </a:r>
            <a:endParaRPr>
              <a:solidFill>
                <a:srgbClr val="FFFFFF"/>
              </a:solidFill>
              <a:latin typeface="Arial"/>
              <a:ea typeface="Arial"/>
              <a:cs typeface="Arial"/>
              <a:sym typeface="Arial"/>
            </a:endParaRPr>
          </a:p>
        </p:txBody>
      </p:sp>
      <p:sp>
        <p:nvSpPr>
          <p:cNvPr id="9717" name="Google Shape;9717;p110"/>
          <p:cNvSpPr/>
          <p:nvPr/>
        </p:nvSpPr>
        <p:spPr>
          <a:xfrm>
            <a:off x="6488727" y="2108321"/>
            <a:ext cx="470907" cy="419452"/>
          </a:xfrm>
          <a:custGeom>
            <a:avLst/>
            <a:gdLst/>
            <a:ahLst/>
            <a:cxnLst/>
            <a:rect l="l" t="t" r="r" b="b"/>
            <a:pathLst>
              <a:path w="11815" h="10524" extrusionOk="0">
                <a:moveTo>
                  <a:pt x="8664" y="726"/>
                </a:moveTo>
                <a:cubicBezTo>
                  <a:pt x="9326" y="726"/>
                  <a:pt x="9956" y="1009"/>
                  <a:pt x="10428" y="1482"/>
                </a:cubicBezTo>
                <a:cubicBezTo>
                  <a:pt x="10869" y="1954"/>
                  <a:pt x="11090" y="2616"/>
                  <a:pt x="11090" y="3309"/>
                </a:cubicBezTo>
                <a:cubicBezTo>
                  <a:pt x="11090" y="4191"/>
                  <a:pt x="10712" y="4853"/>
                  <a:pt x="10082" y="5577"/>
                </a:cubicBezTo>
                <a:lnTo>
                  <a:pt x="7435" y="5577"/>
                </a:lnTo>
                <a:cubicBezTo>
                  <a:pt x="7309" y="5577"/>
                  <a:pt x="7215" y="5640"/>
                  <a:pt x="7120" y="5735"/>
                </a:cubicBezTo>
                <a:lnTo>
                  <a:pt x="6648" y="6522"/>
                </a:lnTo>
                <a:lnTo>
                  <a:pt x="5545" y="3687"/>
                </a:lnTo>
                <a:cubicBezTo>
                  <a:pt x="5514" y="3561"/>
                  <a:pt x="5388" y="3435"/>
                  <a:pt x="5230" y="3435"/>
                </a:cubicBezTo>
                <a:cubicBezTo>
                  <a:pt x="5073" y="3435"/>
                  <a:pt x="4947" y="3529"/>
                  <a:pt x="4915" y="3624"/>
                </a:cubicBezTo>
                <a:lnTo>
                  <a:pt x="4096" y="5514"/>
                </a:lnTo>
                <a:lnTo>
                  <a:pt x="1702" y="5514"/>
                </a:lnTo>
                <a:cubicBezTo>
                  <a:pt x="1103" y="4853"/>
                  <a:pt x="693" y="4191"/>
                  <a:pt x="693" y="3309"/>
                </a:cubicBezTo>
                <a:cubicBezTo>
                  <a:pt x="693" y="2616"/>
                  <a:pt x="945" y="1986"/>
                  <a:pt x="1355" y="1482"/>
                </a:cubicBezTo>
                <a:cubicBezTo>
                  <a:pt x="1796" y="1009"/>
                  <a:pt x="2426" y="726"/>
                  <a:pt x="3151" y="726"/>
                </a:cubicBezTo>
                <a:cubicBezTo>
                  <a:pt x="4096" y="726"/>
                  <a:pt x="4726" y="1293"/>
                  <a:pt x="5073" y="1797"/>
                </a:cubicBezTo>
                <a:cubicBezTo>
                  <a:pt x="5388" y="2206"/>
                  <a:pt x="5545" y="2647"/>
                  <a:pt x="5577" y="2836"/>
                </a:cubicBezTo>
                <a:cubicBezTo>
                  <a:pt x="5608" y="2994"/>
                  <a:pt x="5766" y="3088"/>
                  <a:pt x="5892" y="3088"/>
                </a:cubicBezTo>
                <a:cubicBezTo>
                  <a:pt x="6049" y="3088"/>
                  <a:pt x="6175" y="2994"/>
                  <a:pt x="6207" y="2836"/>
                </a:cubicBezTo>
                <a:cubicBezTo>
                  <a:pt x="6238" y="2679"/>
                  <a:pt x="6459" y="2206"/>
                  <a:pt x="6742" y="1797"/>
                </a:cubicBezTo>
                <a:cubicBezTo>
                  <a:pt x="7089" y="1293"/>
                  <a:pt x="7687" y="726"/>
                  <a:pt x="8664" y="726"/>
                </a:cubicBezTo>
                <a:close/>
                <a:moveTo>
                  <a:pt x="5293" y="4790"/>
                </a:moveTo>
                <a:lnTo>
                  <a:pt x="6364" y="7468"/>
                </a:lnTo>
                <a:cubicBezTo>
                  <a:pt x="6396" y="7562"/>
                  <a:pt x="6522" y="7657"/>
                  <a:pt x="6648" y="7688"/>
                </a:cubicBezTo>
                <a:lnTo>
                  <a:pt x="6679" y="7688"/>
                </a:lnTo>
                <a:cubicBezTo>
                  <a:pt x="6805" y="7688"/>
                  <a:pt x="6931" y="7625"/>
                  <a:pt x="6994" y="7531"/>
                </a:cubicBezTo>
                <a:lnTo>
                  <a:pt x="7750" y="6302"/>
                </a:lnTo>
                <a:lnTo>
                  <a:pt x="9483" y="6302"/>
                </a:lnTo>
                <a:cubicBezTo>
                  <a:pt x="9168" y="6459"/>
                  <a:pt x="8916" y="6711"/>
                  <a:pt x="8664" y="6932"/>
                </a:cubicBezTo>
                <a:cubicBezTo>
                  <a:pt x="7813" y="7688"/>
                  <a:pt x="6868" y="8507"/>
                  <a:pt x="5923" y="9610"/>
                </a:cubicBezTo>
                <a:cubicBezTo>
                  <a:pt x="4978" y="8507"/>
                  <a:pt x="4033" y="7688"/>
                  <a:pt x="3214" y="6932"/>
                </a:cubicBezTo>
                <a:cubicBezTo>
                  <a:pt x="2930" y="6711"/>
                  <a:pt x="2710" y="6459"/>
                  <a:pt x="2458" y="6270"/>
                </a:cubicBezTo>
                <a:lnTo>
                  <a:pt x="4411" y="6270"/>
                </a:lnTo>
                <a:cubicBezTo>
                  <a:pt x="4505" y="6270"/>
                  <a:pt x="4663" y="6207"/>
                  <a:pt x="4726" y="6081"/>
                </a:cubicBezTo>
                <a:lnTo>
                  <a:pt x="5293" y="4790"/>
                </a:lnTo>
                <a:close/>
                <a:moveTo>
                  <a:pt x="3151" y="1"/>
                </a:moveTo>
                <a:cubicBezTo>
                  <a:pt x="2269" y="1"/>
                  <a:pt x="1449" y="379"/>
                  <a:pt x="851" y="1009"/>
                </a:cubicBezTo>
                <a:cubicBezTo>
                  <a:pt x="315" y="1576"/>
                  <a:pt x="0" y="2427"/>
                  <a:pt x="0" y="3309"/>
                </a:cubicBezTo>
                <a:cubicBezTo>
                  <a:pt x="0" y="4097"/>
                  <a:pt x="252" y="4821"/>
                  <a:pt x="819" y="5514"/>
                </a:cubicBezTo>
                <a:lnTo>
                  <a:pt x="819" y="5577"/>
                </a:lnTo>
                <a:lnTo>
                  <a:pt x="347" y="5577"/>
                </a:lnTo>
                <a:cubicBezTo>
                  <a:pt x="158" y="5577"/>
                  <a:pt x="0" y="5735"/>
                  <a:pt x="0" y="5924"/>
                </a:cubicBezTo>
                <a:cubicBezTo>
                  <a:pt x="0" y="6113"/>
                  <a:pt x="158" y="6270"/>
                  <a:pt x="347" y="6270"/>
                </a:cubicBezTo>
                <a:lnTo>
                  <a:pt x="1418" y="6270"/>
                </a:lnTo>
                <a:cubicBezTo>
                  <a:pt x="1796" y="6680"/>
                  <a:pt x="2237" y="7058"/>
                  <a:pt x="2710" y="7468"/>
                </a:cubicBezTo>
                <a:cubicBezTo>
                  <a:pt x="3623" y="8255"/>
                  <a:pt x="4600" y="9137"/>
                  <a:pt x="5640" y="10366"/>
                </a:cubicBezTo>
                <a:lnTo>
                  <a:pt x="5640" y="10397"/>
                </a:lnTo>
                <a:cubicBezTo>
                  <a:pt x="5703" y="10492"/>
                  <a:pt x="5797" y="10524"/>
                  <a:pt x="5892" y="10524"/>
                </a:cubicBezTo>
                <a:cubicBezTo>
                  <a:pt x="6018" y="10524"/>
                  <a:pt x="6081" y="10492"/>
                  <a:pt x="6175" y="10397"/>
                </a:cubicBezTo>
                <a:lnTo>
                  <a:pt x="6175" y="10366"/>
                </a:lnTo>
                <a:cubicBezTo>
                  <a:pt x="7152" y="9137"/>
                  <a:pt x="8192" y="8287"/>
                  <a:pt x="9074" y="7468"/>
                </a:cubicBezTo>
                <a:cubicBezTo>
                  <a:pt x="9546" y="7026"/>
                  <a:pt x="9987" y="6617"/>
                  <a:pt x="10397" y="6270"/>
                </a:cubicBezTo>
                <a:lnTo>
                  <a:pt x="11437" y="6270"/>
                </a:lnTo>
                <a:cubicBezTo>
                  <a:pt x="11657" y="6270"/>
                  <a:pt x="11815" y="6113"/>
                  <a:pt x="11815" y="5924"/>
                </a:cubicBezTo>
                <a:cubicBezTo>
                  <a:pt x="11815" y="5735"/>
                  <a:pt x="11657" y="5577"/>
                  <a:pt x="11437" y="5577"/>
                </a:cubicBezTo>
                <a:lnTo>
                  <a:pt x="10964" y="5577"/>
                </a:lnTo>
                <a:lnTo>
                  <a:pt x="10964" y="5514"/>
                </a:lnTo>
                <a:cubicBezTo>
                  <a:pt x="11531" y="4821"/>
                  <a:pt x="11815" y="4097"/>
                  <a:pt x="11815" y="3309"/>
                </a:cubicBezTo>
                <a:cubicBezTo>
                  <a:pt x="11815" y="2458"/>
                  <a:pt x="11500" y="1639"/>
                  <a:pt x="10932" y="1009"/>
                </a:cubicBezTo>
                <a:cubicBezTo>
                  <a:pt x="10365" y="379"/>
                  <a:pt x="9578" y="1"/>
                  <a:pt x="8664" y="1"/>
                </a:cubicBezTo>
                <a:cubicBezTo>
                  <a:pt x="7404" y="1"/>
                  <a:pt x="6616" y="757"/>
                  <a:pt x="6175" y="1387"/>
                </a:cubicBezTo>
                <a:cubicBezTo>
                  <a:pt x="6049" y="1545"/>
                  <a:pt x="5986" y="1702"/>
                  <a:pt x="5892" y="1860"/>
                </a:cubicBezTo>
                <a:cubicBezTo>
                  <a:pt x="5829" y="1702"/>
                  <a:pt x="5703" y="1545"/>
                  <a:pt x="5640" y="1387"/>
                </a:cubicBezTo>
                <a:cubicBezTo>
                  <a:pt x="5199" y="757"/>
                  <a:pt x="4411" y="1"/>
                  <a:pt x="3151"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nvGrpSpPr>
          <p:cNvPr id="9718" name="Google Shape;9718;p110"/>
          <p:cNvGrpSpPr/>
          <p:nvPr/>
        </p:nvGrpSpPr>
        <p:grpSpPr>
          <a:xfrm>
            <a:off x="6487459" y="2677805"/>
            <a:ext cx="472143" cy="473417"/>
            <a:chOff x="-28467625" y="2331750"/>
            <a:chExt cx="296150" cy="296950"/>
          </a:xfrm>
        </p:grpSpPr>
        <p:sp>
          <p:nvSpPr>
            <p:cNvPr id="9719" name="Google Shape;9719;p110"/>
            <p:cNvSpPr/>
            <p:nvPr/>
          </p:nvSpPr>
          <p:spPr>
            <a:xfrm>
              <a:off x="-28467625" y="2331750"/>
              <a:ext cx="296150" cy="296950"/>
            </a:xfrm>
            <a:custGeom>
              <a:avLst/>
              <a:gdLst/>
              <a:ahLst/>
              <a:cxnLst/>
              <a:rect l="l" t="t" r="r" b="b"/>
              <a:pathLst>
                <a:path w="11846" h="11878" extrusionOk="0">
                  <a:moveTo>
                    <a:pt x="1733" y="3466"/>
                  </a:moveTo>
                  <a:cubicBezTo>
                    <a:pt x="1922" y="3466"/>
                    <a:pt x="2080" y="3624"/>
                    <a:pt x="2080" y="3813"/>
                  </a:cubicBezTo>
                  <a:cubicBezTo>
                    <a:pt x="2080" y="4002"/>
                    <a:pt x="1922" y="4159"/>
                    <a:pt x="1733" y="4159"/>
                  </a:cubicBezTo>
                  <a:lnTo>
                    <a:pt x="693" y="4159"/>
                  </a:lnTo>
                  <a:lnTo>
                    <a:pt x="693" y="3466"/>
                  </a:lnTo>
                  <a:close/>
                  <a:moveTo>
                    <a:pt x="1418" y="4821"/>
                  </a:moveTo>
                  <a:lnTo>
                    <a:pt x="1418" y="6963"/>
                  </a:lnTo>
                  <a:lnTo>
                    <a:pt x="693" y="6963"/>
                  </a:lnTo>
                  <a:lnTo>
                    <a:pt x="693" y="4821"/>
                  </a:lnTo>
                  <a:close/>
                  <a:moveTo>
                    <a:pt x="1733" y="7656"/>
                  </a:moveTo>
                  <a:cubicBezTo>
                    <a:pt x="1922" y="7656"/>
                    <a:pt x="2080" y="7814"/>
                    <a:pt x="2080" y="8034"/>
                  </a:cubicBezTo>
                  <a:cubicBezTo>
                    <a:pt x="2080" y="8223"/>
                    <a:pt x="1922" y="8381"/>
                    <a:pt x="1733" y="8381"/>
                  </a:cubicBezTo>
                  <a:lnTo>
                    <a:pt x="693" y="8381"/>
                  </a:lnTo>
                  <a:lnTo>
                    <a:pt x="693" y="7656"/>
                  </a:lnTo>
                  <a:close/>
                  <a:moveTo>
                    <a:pt x="9389" y="2080"/>
                  </a:moveTo>
                  <a:cubicBezTo>
                    <a:pt x="9609" y="2080"/>
                    <a:pt x="9767" y="2237"/>
                    <a:pt x="9767" y="2426"/>
                  </a:cubicBezTo>
                  <a:lnTo>
                    <a:pt x="9767" y="9389"/>
                  </a:lnTo>
                  <a:cubicBezTo>
                    <a:pt x="9767" y="9610"/>
                    <a:pt x="9609" y="9767"/>
                    <a:pt x="9389" y="9767"/>
                  </a:cubicBezTo>
                  <a:lnTo>
                    <a:pt x="2426" y="9767"/>
                  </a:lnTo>
                  <a:cubicBezTo>
                    <a:pt x="2237" y="9767"/>
                    <a:pt x="2080" y="9610"/>
                    <a:pt x="2080" y="9389"/>
                  </a:cubicBezTo>
                  <a:lnTo>
                    <a:pt x="2080" y="9011"/>
                  </a:lnTo>
                  <a:cubicBezTo>
                    <a:pt x="2458" y="8853"/>
                    <a:pt x="2773" y="8507"/>
                    <a:pt x="2773" y="8034"/>
                  </a:cubicBezTo>
                  <a:cubicBezTo>
                    <a:pt x="2773" y="7562"/>
                    <a:pt x="2521" y="7184"/>
                    <a:pt x="2080" y="7026"/>
                  </a:cubicBezTo>
                  <a:lnTo>
                    <a:pt x="2080" y="4789"/>
                  </a:lnTo>
                  <a:cubicBezTo>
                    <a:pt x="2458" y="4632"/>
                    <a:pt x="2773" y="4285"/>
                    <a:pt x="2773" y="3813"/>
                  </a:cubicBezTo>
                  <a:cubicBezTo>
                    <a:pt x="2773" y="3340"/>
                    <a:pt x="2521" y="2994"/>
                    <a:pt x="2080" y="2836"/>
                  </a:cubicBezTo>
                  <a:lnTo>
                    <a:pt x="2080" y="2426"/>
                  </a:lnTo>
                  <a:cubicBezTo>
                    <a:pt x="2080" y="2237"/>
                    <a:pt x="2237" y="2080"/>
                    <a:pt x="2426" y="2080"/>
                  </a:cubicBezTo>
                  <a:close/>
                  <a:moveTo>
                    <a:pt x="9389" y="694"/>
                  </a:moveTo>
                  <a:cubicBezTo>
                    <a:pt x="10334" y="694"/>
                    <a:pt x="11121" y="1481"/>
                    <a:pt x="11121" y="2426"/>
                  </a:cubicBezTo>
                  <a:lnTo>
                    <a:pt x="11121" y="9389"/>
                  </a:lnTo>
                  <a:cubicBezTo>
                    <a:pt x="11121" y="10334"/>
                    <a:pt x="10334" y="11122"/>
                    <a:pt x="9389" y="11122"/>
                  </a:cubicBezTo>
                  <a:lnTo>
                    <a:pt x="2426" y="11122"/>
                  </a:lnTo>
                  <a:cubicBezTo>
                    <a:pt x="1481" y="11122"/>
                    <a:pt x="693" y="10334"/>
                    <a:pt x="693" y="9389"/>
                  </a:cubicBezTo>
                  <a:lnTo>
                    <a:pt x="693" y="9042"/>
                  </a:lnTo>
                  <a:lnTo>
                    <a:pt x="1418" y="9042"/>
                  </a:lnTo>
                  <a:lnTo>
                    <a:pt x="1418" y="9389"/>
                  </a:lnTo>
                  <a:cubicBezTo>
                    <a:pt x="1418" y="9988"/>
                    <a:pt x="1891" y="10429"/>
                    <a:pt x="2426" y="10429"/>
                  </a:cubicBezTo>
                  <a:lnTo>
                    <a:pt x="9389" y="10429"/>
                  </a:lnTo>
                  <a:cubicBezTo>
                    <a:pt x="9987" y="10429"/>
                    <a:pt x="10428" y="9956"/>
                    <a:pt x="10428" y="9389"/>
                  </a:cubicBezTo>
                  <a:lnTo>
                    <a:pt x="10428" y="2426"/>
                  </a:lnTo>
                  <a:cubicBezTo>
                    <a:pt x="10428" y="1828"/>
                    <a:pt x="9956" y="1418"/>
                    <a:pt x="9389" y="1418"/>
                  </a:cubicBezTo>
                  <a:lnTo>
                    <a:pt x="2426" y="1418"/>
                  </a:lnTo>
                  <a:cubicBezTo>
                    <a:pt x="1828" y="1418"/>
                    <a:pt x="1418" y="1891"/>
                    <a:pt x="1418" y="2426"/>
                  </a:cubicBezTo>
                  <a:lnTo>
                    <a:pt x="1418" y="2773"/>
                  </a:lnTo>
                  <a:lnTo>
                    <a:pt x="693" y="2773"/>
                  </a:lnTo>
                  <a:lnTo>
                    <a:pt x="693" y="2426"/>
                  </a:lnTo>
                  <a:cubicBezTo>
                    <a:pt x="693" y="1481"/>
                    <a:pt x="1481" y="694"/>
                    <a:pt x="2426" y="694"/>
                  </a:cubicBezTo>
                  <a:close/>
                  <a:moveTo>
                    <a:pt x="2426" y="1"/>
                  </a:moveTo>
                  <a:cubicBezTo>
                    <a:pt x="1103" y="1"/>
                    <a:pt x="0" y="1103"/>
                    <a:pt x="0" y="2426"/>
                  </a:cubicBezTo>
                  <a:lnTo>
                    <a:pt x="0" y="3151"/>
                  </a:lnTo>
                  <a:lnTo>
                    <a:pt x="0" y="4506"/>
                  </a:lnTo>
                  <a:lnTo>
                    <a:pt x="0" y="7341"/>
                  </a:lnTo>
                  <a:lnTo>
                    <a:pt x="0" y="8727"/>
                  </a:lnTo>
                  <a:lnTo>
                    <a:pt x="0" y="9452"/>
                  </a:lnTo>
                  <a:cubicBezTo>
                    <a:pt x="0" y="10775"/>
                    <a:pt x="1103" y="11878"/>
                    <a:pt x="2426" y="11878"/>
                  </a:cubicBezTo>
                  <a:lnTo>
                    <a:pt x="9389" y="11878"/>
                  </a:lnTo>
                  <a:cubicBezTo>
                    <a:pt x="10743" y="11878"/>
                    <a:pt x="11846" y="10775"/>
                    <a:pt x="11846" y="9452"/>
                  </a:cubicBezTo>
                  <a:lnTo>
                    <a:pt x="11846" y="2458"/>
                  </a:lnTo>
                  <a:cubicBezTo>
                    <a:pt x="11846" y="1103"/>
                    <a:pt x="10743" y="1"/>
                    <a:pt x="9389"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9720" name="Google Shape;9720;p110"/>
            <p:cNvSpPr/>
            <p:nvPr/>
          </p:nvSpPr>
          <p:spPr>
            <a:xfrm>
              <a:off x="-28371550" y="2419175"/>
              <a:ext cx="121325" cy="121325"/>
            </a:xfrm>
            <a:custGeom>
              <a:avLst/>
              <a:gdLst/>
              <a:ahLst/>
              <a:cxnLst/>
              <a:rect l="l" t="t" r="r" b="b"/>
              <a:pathLst>
                <a:path w="4853" h="4853" extrusionOk="0">
                  <a:moveTo>
                    <a:pt x="2773" y="662"/>
                  </a:moveTo>
                  <a:lnTo>
                    <a:pt x="2773" y="1670"/>
                  </a:lnTo>
                  <a:cubicBezTo>
                    <a:pt x="2773" y="1891"/>
                    <a:pt x="2931" y="2048"/>
                    <a:pt x="3120" y="2048"/>
                  </a:cubicBezTo>
                  <a:lnTo>
                    <a:pt x="4159" y="2048"/>
                  </a:lnTo>
                  <a:lnTo>
                    <a:pt x="4159" y="2741"/>
                  </a:lnTo>
                  <a:lnTo>
                    <a:pt x="3120" y="2741"/>
                  </a:lnTo>
                  <a:cubicBezTo>
                    <a:pt x="2931" y="2741"/>
                    <a:pt x="2773" y="2899"/>
                    <a:pt x="2773" y="3120"/>
                  </a:cubicBezTo>
                  <a:lnTo>
                    <a:pt x="2773" y="4128"/>
                  </a:lnTo>
                  <a:lnTo>
                    <a:pt x="2049" y="4128"/>
                  </a:lnTo>
                  <a:lnTo>
                    <a:pt x="2049" y="3120"/>
                  </a:lnTo>
                  <a:cubicBezTo>
                    <a:pt x="2049" y="2899"/>
                    <a:pt x="1891" y="2741"/>
                    <a:pt x="1702" y="2741"/>
                  </a:cubicBezTo>
                  <a:lnTo>
                    <a:pt x="662" y="2741"/>
                  </a:lnTo>
                  <a:lnTo>
                    <a:pt x="662" y="2048"/>
                  </a:lnTo>
                  <a:lnTo>
                    <a:pt x="1702" y="2048"/>
                  </a:lnTo>
                  <a:cubicBezTo>
                    <a:pt x="1891" y="2048"/>
                    <a:pt x="2049" y="1891"/>
                    <a:pt x="2049" y="1670"/>
                  </a:cubicBezTo>
                  <a:lnTo>
                    <a:pt x="2049" y="662"/>
                  </a:lnTo>
                  <a:close/>
                  <a:moveTo>
                    <a:pt x="1734" y="1"/>
                  </a:moveTo>
                  <a:cubicBezTo>
                    <a:pt x="1545" y="1"/>
                    <a:pt x="1387" y="158"/>
                    <a:pt x="1387" y="347"/>
                  </a:cubicBezTo>
                  <a:lnTo>
                    <a:pt x="1387" y="1387"/>
                  </a:lnTo>
                  <a:lnTo>
                    <a:pt x="347" y="1387"/>
                  </a:lnTo>
                  <a:cubicBezTo>
                    <a:pt x="158" y="1387"/>
                    <a:pt x="1" y="1544"/>
                    <a:pt x="1" y="1733"/>
                  </a:cubicBezTo>
                  <a:lnTo>
                    <a:pt x="1" y="3120"/>
                  </a:lnTo>
                  <a:cubicBezTo>
                    <a:pt x="1" y="3309"/>
                    <a:pt x="158" y="3466"/>
                    <a:pt x="347" y="3466"/>
                  </a:cubicBezTo>
                  <a:lnTo>
                    <a:pt x="1387" y="3466"/>
                  </a:lnTo>
                  <a:lnTo>
                    <a:pt x="1387" y="4474"/>
                  </a:lnTo>
                  <a:cubicBezTo>
                    <a:pt x="1387" y="4695"/>
                    <a:pt x="1545" y="4852"/>
                    <a:pt x="1734" y="4852"/>
                  </a:cubicBezTo>
                  <a:lnTo>
                    <a:pt x="3120" y="4852"/>
                  </a:lnTo>
                  <a:cubicBezTo>
                    <a:pt x="3309" y="4852"/>
                    <a:pt x="3466" y="4695"/>
                    <a:pt x="3466" y="4474"/>
                  </a:cubicBezTo>
                  <a:lnTo>
                    <a:pt x="3466" y="3466"/>
                  </a:lnTo>
                  <a:lnTo>
                    <a:pt x="4506" y="3466"/>
                  </a:lnTo>
                  <a:cubicBezTo>
                    <a:pt x="4695" y="3466"/>
                    <a:pt x="4853" y="3309"/>
                    <a:pt x="4853" y="3120"/>
                  </a:cubicBezTo>
                  <a:lnTo>
                    <a:pt x="4853" y="1733"/>
                  </a:lnTo>
                  <a:cubicBezTo>
                    <a:pt x="4853" y="1544"/>
                    <a:pt x="4695" y="1387"/>
                    <a:pt x="4506" y="1387"/>
                  </a:cubicBezTo>
                  <a:lnTo>
                    <a:pt x="3466" y="1387"/>
                  </a:lnTo>
                  <a:lnTo>
                    <a:pt x="3466" y="347"/>
                  </a:lnTo>
                  <a:cubicBezTo>
                    <a:pt x="3466" y="158"/>
                    <a:pt x="3309" y="1"/>
                    <a:pt x="3120"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9721" name="Google Shape;9721;p110"/>
          <p:cNvGrpSpPr/>
          <p:nvPr/>
        </p:nvGrpSpPr>
        <p:grpSpPr>
          <a:xfrm>
            <a:off x="6506292" y="3268579"/>
            <a:ext cx="434477" cy="468436"/>
            <a:chOff x="-28461325" y="2701925"/>
            <a:chExt cx="272525" cy="293825"/>
          </a:xfrm>
        </p:grpSpPr>
        <p:sp>
          <p:nvSpPr>
            <p:cNvPr id="9722" name="Google Shape;9722;p110"/>
            <p:cNvSpPr/>
            <p:nvPr/>
          </p:nvSpPr>
          <p:spPr>
            <a:xfrm>
              <a:off x="-28427475" y="2789200"/>
              <a:ext cx="54375" cy="80525"/>
            </a:xfrm>
            <a:custGeom>
              <a:avLst/>
              <a:gdLst/>
              <a:ahLst/>
              <a:cxnLst/>
              <a:rect l="l" t="t" r="r" b="b"/>
              <a:pathLst>
                <a:path w="2175" h="3221" extrusionOk="0">
                  <a:moveTo>
                    <a:pt x="1805" y="1"/>
                  </a:moveTo>
                  <a:cubicBezTo>
                    <a:pt x="1782" y="1"/>
                    <a:pt x="1758" y="3"/>
                    <a:pt x="1734" y="7"/>
                  </a:cubicBezTo>
                  <a:cubicBezTo>
                    <a:pt x="946" y="164"/>
                    <a:pt x="285" y="826"/>
                    <a:pt x="127" y="1645"/>
                  </a:cubicBezTo>
                  <a:cubicBezTo>
                    <a:pt x="1" y="2275"/>
                    <a:pt x="190" y="2811"/>
                    <a:pt x="348" y="3063"/>
                  </a:cubicBezTo>
                  <a:cubicBezTo>
                    <a:pt x="442" y="3189"/>
                    <a:pt x="537" y="3220"/>
                    <a:pt x="663" y="3220"/>
                  </a:cubicBezTo>
                  <a:cubicBezTo>
                    <a:pt x="694" y="3220"/>
                    <a:pt x="789" y="3220"/>
                    <a:pt x="820" y="3189"/>
                  </a:cubicBezTo>
                  <a:cubicBezTo>
                    <a:pt x="978" y="3126"/>
                    <a:pt x="1072" y="2874"/>
                    <a:pt x="946" y="2716"/>
                  </a:cubicBezTo>
                  <a:cubicBezTo>
                    <a:pt x="820" y="2527"/>
                    <a:pt x="726" y="2181"/>
                    <a:pt x="789" y="1740"/>
                  </a:cubicBezTo>
                  <a:cubicBezTo>
                    <a:pt x="883" y="1173"/>
                    <a:pt x="1356" y="763"/>
                    <a:pt x="1860" y="637"/>
                  </a:cubicBezTo>
                  <a:cubicBezTo>
                    <a:pt x="2049" y="605"/>
                    <a:pt x="2175" y="448"/>
                    <a:pt x="2112" y="227"/>
                  </a:cubicBezTo>
                  <a:cubicBezTo>
                    <a:pt x="2084" y="90"/>
                    <a:pt x="1961" y="1"/>
                    <a:pt x="1805"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9723" name="Google Shape;9723;p110"/>
            <p:cNvSpPr/>
            <p:nvPr/>
          </p:nvSpPr>
          <p:spPr>
            <a:xfrm>
              <a:off x="-28362875" y="2824025"/>
              <a:ext cx="124475" cy="103200"/>
            </a:xfrm>
            <a:custGeom>
              <a:avLst/>
              <a:gdLst/>
              <a:ahLst/>
              <a:cxnLst/>
              <a:rect l="l" t="t" r="r" b="b"/>
              <a:pathLst>
                <a:path w="4979" h="4128" extrusionOk="0">
                  <a:moveTo>
                    <a:pt x="3434" y="693"/>
                  </a:moveTo>
                  <a:cubicBezTo>
                    <a:pt x="3844" y="693"/>
                    <a:pt x="4159" y="1008"/>
                    <a:pt x="4159" y="1418"/>
                  </a:cubicBezTo>
                  <a:cubicBezTo>
                    <a:pt x="4159" y="1922"/>
                    <a:pt x="3592" y="2394"/>
                    <a:pt x="2741" y="3056"/>
                  </a:cubicBezTo>
                  <a:cubicBezTo>
                    <a:pt x="2615" y="3151"/>
                    <a:pt x="2521" y="3214"/>
                    <a:pt x="2426" y="3340"/>
                  </a:cubicBezTo>
                  <a:cubicBezTo>
                    <a:pt x="2300" y="3245"/>
                    <a:pt x="2174" y="3182"/>
                    <a:pt x="2111" y="3056"/>
                  </a:cubicBezTo>
                  <a:cubicBezTo>
                    <a:pt x="1229" y="2394"/>
                    <a:pt x="694" y="1922"/>
                    <a:pt x="694" y="1418"/>
                  </a:cubicBezTo>
                  <a:cubicBezTo>
                    <a:pt x="694" y="977"/>
                    <a:pt x="1009" y="693"/>
                    <a:pt x="1387" y="693"/>
                  </a:cubicBezTo>
                  <a:cubicBezTo>
                    <a:pt x="1891" y="693"/>
                    <a:pt x="2111" y="1260"/>
                    <a:pt x="2111" y="1292"/>
                  </a:cubicBezTo>
                  <a:cubicBezTo>
                    <a:pt x="2143" y="1449"/>
                    <a:pt x="2269" y="1512"/>
                    <a:pt x="2426" y="1512"/>
                  </a:cubicBezTo>
                  <a:cubicBezTo>
                    <a:pt x="2584" y="1512"/>
                    <a:pt x="2678" y="1418"/>
                    <a:pt x="2741" y="1292"/>
                  </a:cubicBezTo>
                  <a:cubicBezTo>
                    <a:pt x="2741" y="1260"/>
                    <a:pt x="2930" y="693"/>
                    <a:pt x="3434" y="693"/>
                  </a:cubicBezTo>
                  <a:close/>
                  <a:moveTo>
                    <a:pt x="1387" y="0"/>
                  </a:moveTo>
                  <a:cubicBezTo>
                    <a:pt x="599" y="0"/>
                    <a:pt x="0" y="630"/>
                    <a:pt x="0" y="1418"/>
                  </a:cubicBezTo>
                  <a:cubicBezTo>
                    <a:pt x="0" y="2268"/>
                    <a:pt x="725" y="2835"/>
                    <a:pt x="1702" y="3623"/>
                  </a:cubicBezTo>
                  <a:cubicBezTo>
                    <a:pt x="1859" y="3718"/>
                    <a:pt x="2048" y="3875"/>
                    <a:pt x="2269" y="4033"/>
                  </a:cubicBezTo>
                  <a:cubicBezTo>
                    <a:pt x="2332" y="4064"/>
                    <a:pt x="2426" y="4127"/>
                    <a:pt x="2489" y="4127"/>
                  </a:cubicBezTo>
                  <a:cubicBezTo>
                    <a:pt x="2584" y="4127"/>
                    <a:pt x="2647" y="4064"/>
                    <a:pt x="2741" y="4033"/>
                  </a:cubicBezTo>
                  <a:cubicBezTo>
                    <a:pt x="2930" y="3875"/>
                    <a:pt x="3088" y="3718"/>
                    <a:pt x="3277" y="3623"/>
                  </a:cubicBezTo>
                  <a:cubicBezTo>
                    <a:pt x="4254" y="2835"/>
                    <a:pt x="4978" y="2268"/>
                    <a:pt x="4978" y="1418"/>
                  </a:cubicBezTo>
                  <a:cubicBezTo>
                    <a:pt x="4852" y="630"/>
                    <a:pt x="4222" y="0"/>
                    <a:pt x="3434" y="0"/>
                  </a:cubicBezTo>
                  <a:cubicBezTo>
                    <a:pt x="3056" y="0"/>
                    <a:pt x="2647" y="158"/>
                    <a:pt x="2426" y="504"/>
                  </a:cubicBezTo>
                  <a:cubicBezTo>
                    <a:pt x="2143" y="189"/>
                    <a:pt x="1796" y="0"/>
                    <a:pt x="1387"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9724" name="Google Shape;9724;p110"/>
            <p:cNvSpPr/>
            <p:nvPr/>
          </p:nvSpPr>
          <p:spPr>
            <a:xfrm>
              <a:off x="-28461325" y="2701925"/>
              <a:ext cx="272525" cy="293825"/>
            </a:xfrm>
            <a:custGeom>
              <a:avLst/>
              <a:gdLst/>
              <a:ahLst/>
              <a:cxnLst/>
              <a:rect l="l" t="t" r="r" b="b"/>
              <a:pathLst>
                <a:path w="10901" h="11753" extrusionOk="0">
                  <a:moveTo>
                    <a:pt x="7845" y="2647"/>
                  </a:moveTo>
                  <a:cubicBezTo>
                    <a:pt x="9168" y="2647"/>
                    <a:pt x="10208" y="3781"/>
                    <a:pt x="10208" y="5136"/>
                  </a:cubicBezTo>
                  <a:cubicBezTo>
                    <a:pt x="10208" y="5577"/>
                    <a:pt x="10145" y="5924"/>
                    <a:pt x="9987" y="6239"/>
                  </a:cubicBezTo>
                  <a:lnTo>
                    <a:pt x="8034" y="10303"/>
                  </a:lnTo>
                  <a:cubicBezTo>
                    <a:pt x="7814" y="10807"/>
                    <a:pt x="7341" y="11090"/>
                    <a:pt x="6837" y="11090"/>
                  </a:cubicBezTo>
                  <a:cubicBezTo>
                    <a:pt x="6396" y="11090"/>
                    <a:pt x="6049" y="10901"/>
                    <a:pt x="5766" y="10555"/>
                  </a:cubicBezTo>
                  <a:cubicBezTo>
                    <a:pt x="5703" y="10460"/>
                    <a:pt x="5608" y="10429"/>
                    <a:pt x="5482" y="10429"/>
                  </a:cubicBezTo>
                  <a:cubicBezTo>
                    <a:pt x="5388" y="10429"/>
                    <a:pt x="5293" y="10460"/>
                    <a:pt x="5230" y="10555"/>
                  </a:cubicBezTo>
                  <a:cubicBezTo>
                    <a:pt x="4947" y="10901"/>
                    <a:pt x="4537" y="11090"/>
                    <a:pt x="4159" y="11090"/>
                  </a:cubicBezTo>
                  <a:cubicBezTo>
                    <a:pt x="3655" y="11090"/>
                    <a:pt x="3182" y="10775"/>
                    <a:pt x="2930" y="10303"/>
                  </a:cubicBezTo>
                  <a:lnTo>
                    <a:pt x="1008" y="6239"/>
                  </a:lnTo>
                  <a:cubicBezTo>
                    <a:pt x="851" y="5892"/>
                    <a:pt x="756" y="5546"/>
                    <a:pt x="756" y="5136"/>
                  </a:cubicBezTo>
                  <a:cubicBezTo>
                    <a:pt x="756" y="3781"/>
                    <a:pt x="1828" y="2647"/>
                    <a:pt x="3119" y="2647"/>
                  </a:cubicBezTo>
                  <a:cubicBezTo>
                    <a:pt x="3970" y="2647"/>
                    <a:pt x="4758" y="3120"/>
                    <a:pt x="5167" y="3876"/>
                  </a:cubicBezTo>
                  <a:cubicBezTo>
                    <a:pt x="5262" y="4002"/>
                    <a:pt x="5325" y="4033"/>
                    <a:pt x="5482" y="4033"/>
                  </a:cubicBezTo>
                  <a:cubicBezTo>
                    <a:pt x="5640" y="4033"/>
                    <a:pt x="5734" y="3970"/>
                    <a:pt x="5797" y="3876"/>
                  </a:cubicBezTo>
                  <a:cubicBezTo>
                    <a:pt x="6238" y="3120"/>
                    <a:pt x="7026" y="2647"/>
                    <a:pt x="7845" y="2647"/>
                  </a:cubicBezTo>
                  <a:close/>
                  <a:moveTo>
                    <a:pt x="6774" y="1"/>
                  </a:moveTo>
                  <a:cubicBezTo>
                    <a:pt x="5829" y="1"/>
                    <a:pt x="5104" y="788"/>
                    <a:pt x="5104" y="1734"/>
                  </a:cubicBezTo>
                  <a:lnTo>
                    <a:pt x="5104" y="2773"/>
                  </a:lnTo>
                  <a:cubicBezTo>
                    <a:pt x="4537" y="2301"/>
                    <a:pt x="3844" y="1986"/>
                    <a:pt x="3088" y="1986"/>
                  </a:cubicBezTo>
                  <a:cubicBezTo>
                    <a:pt x="1386" y="1986"/>
                    <a:pt x="0" y="3403"/>
                    <a:pt x="0" y="5136"/>
                  </a:cubicBezTo>
                  <a:cubicBezTo>
                    <a:pt x="0" y="5609"/>
                    <a:pt x="126" y="6081"/>
                    <a:pt x="315" y="6522"/>
                  </a:cubicBezTo>
                  <a:lnTo>
                    <a:pt x="2269" y="10586"/>
                  </a:lnTo>
                  <a:cubicBezTo>
                    <a:pt x="2615" y="11343"/>
                    <a:pt x="3308" y="11752"/>
                    <a:pt x="4096" y="11752"/>
                  </a:cubicBezTo>
                  <a:cubicBezTo>
                    <a:pt x="4632" y="11752"/>
                    <a:pt x="5104" y="11563"/>
                    <a:pt x="5451" y="11248"/>
                  </a:cubicBezTo>
                  <a:cubicBezTo>
                    <a:pt x="5797" y="11563"/>
                    <a:pt x="6270" y="11752"/>
                    <a:pt x="6774" y="11752"/>
                  </a:cubicBezTo>
                  <a:cubicBezTo>
                    <a:pt x="7561" y="11752"/>
                    <a:pt x="8286" y="11280"/>
                    <a:pt x="8633" y="10586"/>
                  </a:cubicBezTo>
                  <a:lnTo>
                    <a:pt x="10554" y="6522"/>
                  </a:lnTo>
                  <a:cubicBezTo>
                    <a:pt x="10775" y="6081"/>
                    <a:pt x="10901" y="5609"/>
                    <a:pt x="10901" y="5136"/>
                  </a:cubicBezTo>
                  <a:cubicBezTo>
                    <a:pt x="10869" y="3466"/>
                    <a:pt x="9515" y="1986"/>
                    <a:pt x="7814" y="1986"/>
                  </a:cubicBezTo>
                  <a:cubicBezTo>
                    <a:pt x="7057" y="1986"/>
                    <a:pt x="6364" y="2269"/>
                    <a:pt x="5797" y="2773"/>
                  </a:cubicBezTo>
                  <a:lnTo>
                    <a:pt x="5797" y="1734"/>
                  </a:lnTo>
                  <a:cubicBezTo>
                    <a:pt x="5797" y="1135"/>
                    <a:pt x="6238" y="694"/>
                    <a:pt x="6774" y="694"/>
                  </a:cubicBezTo>
                  <a:cubicBezTo>
                    <a:pt x="6994" y="694"/>
                    <a:pt x="7152" y="536"/>
                    <a:pt x="7152" y="347"/>
                  </a:cubicBezTo>
                  <a:cubicBezTo>
                    <a:pt x="7152" y="158"/>
                    <a:pt x="6994" y="1"/>
                    <a:pt x="6774"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9725" name="Google Shape;9725;p110"/>
          <p:cNvGrpSpPr/>
          <p:nvPr/>
        </p:nvGrpSpPr>
        <p:grpSpPr>
          <a:xfrm>
            <a:off x="9471881" y="2166761"/>
            <a:ext cx="472143" cy="302632"/>
            <a:chOff x="-26585200" y="2025375"/>
            <a:chExt cx="296150" cy="189825"/>
          </a:xfrm>
        </p:grpSpPr>
        <p:sp>
          <p:nvSpPr>
            <p:cNvPr id="9726" name="Google Shape;9726;p110"/>
            <p:cNvSpPr/>
            <p:nvPr/>
          </p:nvSpPr>
          <p:spPr>
            <a:xfrm>
              <a:off x="-26340250" y="2127750"/>
              <a:ext cx="51200" cy="70125"/>
            </a:xfrm>
            <a:custGeom>
              <a:avLst/>
              <a:gdLst/>
              <a:ahLst/>
              <a:cxnLst/>
              <a:rect l="l" t="t" r="r" b="b"/>
              <a:pathLst>
                <a:path w="2048" h="2805" extrusionOk="0">
                  <a:moveTo>
                    <a:pt x="1008" y="977"/>
                  </a:moveTo>
                  <a:cubicBezTo>
                    <a:pt x="1229" y="1324"/>
                    <a:pt x="1386" y="1608"/>
                    <a:pt x="1386" y="1734"/>
                  </a:cubicBezTo>
                  <a:cubicBezTo>
                    <a:pt x="1323" y="1923"/>
                    <a:pt x="1166" y="2080"/>
                    <a:pt x="1008" y="2080"/>
                  </a:cubicBezTo>
                  <a:cubicBezTo>
                    <a:pt x="819" y="2080"/>
                    <a:pt x="662" y="1923"/>
                    <a:pt x="662" y="1734"/>
                  </a:cubicBezTo>
                  <a:cubicBezTo>
                    <a:pt x="662" y="1608"/>
                    <a:pt x="819" y="1324"/>
                    <a:pt x="1008" y="977"/>
                  </a:cubicBezTo>
                  <a:close/>
                  <a:moveTo>
                    <a:pt x="1008" y="1"/>
                  </a:moveTo>
                  <a:cubicBezTo>
                    <a:pt x="914" y="1"/>
                    <a:pt x="788" y="32"/>
                    <a:pt x="756" y="158"/>
                  </a:cubicBezTo>
                  <a:cubicBezTo>
                    <a:pt x="756" y="158"/>
                    <a:pt x="536" y="442"/>
                    <a:pt x="378" y="757"/>
                  </a:cubicBezTo>
                  <a:cubicBezTo>
                    <a:pt x="32" y="1324"/>
                    <a:pt x="0" y="1608"/>
                    <a:pt x="0" y="1765"/>
                  </a:cubicBezTo>
                  <a:cubicBezTo>
                    <a:pt x="0" y="2364"/>
                    <a:pt x="473" y="2805"/>
                    <a:pt x="1008" y="2805"/>
                  </a:cubicBezTo>
                  <a:cubicBezTo>
                    <a:pt x="1607" y="2805"/>
                    <a:pt x="2048" y="2332"/>
                    <a:pt x="2048" y="1765"/>
                  </a:cubicBezTo>
                  <a:cubicBezTo>
                    <a:pt x="2048" y="1608"/>
                    <a:pt x="2016" y="1387"/>
                    <a:pt x="1638" y="757"/>
                  </a:cubicBezTo>
                  <a:cubicBezTo>
                    <a:pt x="1449" y="442"/>
                    <a:pt x="1292" y="158"/>
                    <a:pt x="1292" y="158"/>
                  </a:cubicBezTo>
                  <a:cubicBezTo>
                    <a:pt x="1229" y="64"/>
                    <a:pt x="1134" y="1"/>
                    <a:pt x="1008"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9727" name="Google Shape;9727;p110"/>
            <p:cNvSpPr/>
            <p:nvPr/>
          </p:nvSpPr>
          <p:spPr>
            <a:xfrm>
              <a:off x="-26585200" y="2025375"/>
              <a:ext cx="295375" cy="189825"/>
            </a:xfrm>
            <a:custGeom>
              <a:avLst/>
              <a:gdLst/>
              <a:ahLst/>
              <a:cxnLst/>
              <a:rect l="l" t="t" r="r" b="b"/>
              <a:pathLst>
                <a:path w="11815" h="7593" extrusionOk="0">
                  <a:moveTo>
                    <a:pt x="10775" y="2016"/>
                  </a:moveTo>
                  <a:cubicBezTo>
                    <a:pt x="10964" y="2016"/>
                    <a:pt x="11121" y="2174"/>
                    <a:pt x="11121" y="2363"/>
                  </a:cubicBezTo>
                  <a:cubicBezTo>
                    <a:pt x="11121" y="2552"/>
                    <a:pt x="10964" y="2710"/>
                    <a:pt x="10775" y="2710"/>
                  </a:cubicBezTo>
                  <a:lnTo>
                    <a:pt x="9830" y="2710"/>
                  </a:lnTo>
                  <a:lnTo>
                    <a:pt x="9987" y="2016"/>
                  </a:lnTo>
                  <a:close/>
                  <a:moveTo>
                    <a:pt x="6238" y="693"/>
                  </a:moveTo>
                  <a:cubicBezTo>
                    <a:pt x="6081" y="1103"/>
                    <a:pt x="5734" y="1418"/>
                    <a:pt x="5261" y="1418"/>
                  </a:cubicBezTo>
                  <a:lnTo>
                    <a:pt x="3875" y="1418"/>
                  </a:lnTo>
                  <a:cubicBezTo>
                    <a:pt x="3686" y="1418"/>
                    <a:pt x="3529" y="1575"/>
                    <a:pt x="3529" y="1764"/>
                  </a:cubicBezTo>
                  <a:cubicBezTo>
                    <a:pt x="3529" y="1953"/>
                    <a:pt x="3686" y="2111"/>
                    <a:pt x="3875" y="2111"/>
                  </a:cubicBezTo>
                  <a:lnTo>
                    <a:pt x="9326" y="2111"/>
                  </a:lnTo>
                  <a:lnTo>
                    <a:pt x="9168" y="2836"/>
                  </a:lnTo>
                  <a:lnTo>
                    <a:pt x="5923" y="2836"/>
                  </a:lnTo>
                  <a:lnTo>
                    <a:pt x="5923" y="2710"/>
                  </a:lnTo>
                  <a:cubicBezTo>
                    <a:pt x="5734" y="2710"/>
                    <a:pt x="5576" y="2867"/>
                    <a:pt x="5576" y="3056"/>
                  </a:cubicBezTo>
                  <a:cubicBezTo>
                    <a:pt x="5576" y="3277"/>
                    <a:pt x="5734" y="3434"/>
                    <a:pt x="5923" y="3434"/>
                  </a:cubicBezTo>
                  <a:lnTo>
                    <a:pt x="8034" y="3434"/>
                  </a:lnTo>
                  <a:cubicBezTo>
                    <a:pt x="8223" y="3434"/>
                    <a:pt x="8380" y="3592"/>
                    <a:pt x="8380" y="3781"/>
                  </a:cubicBezTo>
                  <a:cubicBezTo>
                    <a:pt x="8380" y="3970"/>
                    <a:pt x="8223" y="4127"/>
                    <a:pt x="8034" y="4127"/>
                  </a:cubicBezTo>
                  <a:lnTo>
                    <a:pt x="5923" y="4127"/>
                  </a:lnTo>
                  <a:cubicBezTo>
                    <a:pt x="5734" y="4127"/>
                    <a:pt x="5576" y="4285"/>
                    <a:pt x="5576" y="4474"/>
                  </a:cubicBezTo>
                  <a:cubicBezTo>
                    <a:pt x="5576" y="4694"/>
                    <a:pt x="5734" y="4852"/>
                    <a:pt x="5923" y="4852"/>
                  </a:cubicBezTo>
                  <a:lnTo>
                    <a:pt x="7309" y="4852"/>
                  </a:lnTo>
                  <a:cubicBezTo>
                    <a:pt x="7498" y="4852"/>
                    <a:pt x="7656" y="5009"/>
                    <a:pt x="7656" y="5198"/>
                  </a:cubicBezTo>
                  <a:cubicBezTo>
                    <a:pt x="7656" y="5388"/>
                    <a:pt x="7498" y="5545"/>
                    <a:pt x="7309" y="5545"/>
                  </a:cubicBezTo>
                  <a:lnTo>
                    <a:pt x="5923" y="5545"/>
                  </a:lnTo>
                  <a:cubicBezTo>
                    <a:pt x="5734" y="5545"/>
                    <a:pt x="5576" y="5703"/>
                    <a:pt x="5576" y="5892"/>
                  </a:cubicBezTo>
                  <a:cubicBezTo>
                    <a:pt x="5576" y="6112"/>
                    <a:pt x="5734" y="6270"/>
                    <a:pt x="5923" y="6270"/>
                  </a:cubicBezTo>
                  <a:lnTo>
                    <a:pt x="6648" y="6270"/>
                  </a:lnTo>
                  <a:cubicBezTo>
                    <a:pt x="6837" y="6270"/>
                    <a:pt x="6994" y="6427"/>
                    <a:pt x="6994" y="6616"/>
                  </a:cubicBezTo>
                  <a:cubicBezTo>
                    <a:pt x="6994" y="6805"/>
                    <a:pt x="6837" y="6963"/>
                    <a:pt x="6648" y="6963"/>
                  </a:cubicBezTo>
                  <a:lnTo>
                    <a:pt x="3151" y="6963"/>
                  </a:lnTo>
                  <a:cubicBezTo>
                    <a:pt x="1796" y="6963"/>
                    <a:pt x="693" y="5860"/>
                    <a:pt x="693" y="4537"/>
                  </a:cubicBezTo>
                  <a:lnTo>
                    <a:pt x="693" y="3151"/>
                  </a:lnTo>
                  <a:cubicBezTo>
                    <a:pt x="693" y="1796"/>
                    <a:pt x="1796" y="693"/>
                    <a:pt x="3151" y="693"/>
                  </a:cubicBezTo>
                  <a:close/>
                  <a:moveTo>
                    <a:pt x="3088" y="0"/>
                  </a:moveTo>
                  <a:cubicBezTo>
                    <a:pt x="1355" y="0"/>
                    <a:pt x="0" y="1418"/>
                    <a:pt x="0" y="3119"/>
                  </a:cubicBezTo>
                  <a:lnTo>
                    <a:pt x="0" y="4474"/>
                  </a:lnTo>
                  <a:cubicBezTo>
                    <a:pt x="0" y="6207"/>
                    <a:pt x="1418" y="7593"/>
                    <a:pt x="3088" y="7593"/>
                  </a:cubicBezTo>
                  <a:lnTo>
                    <a:pt x="6616" y="7593"/>
                  </a:lnTo>
                  <a:cubicBezTo>
                    <a:pt x="7183" y="7593"/>
                    <a:pt x="7624" y="7120"/>
                    <a:pt x="7624" y="6585"/>
                  </a:cubicBezTo>
                  <a:cubicBezTo>
                    <a:pt x="7624" y="6459"/>
                    <a:pt x="7593" y="6301"/>
                    <a:pt x="7561" y="6175"/>
                  </a:cubicBezTo>
                  <a:cubicBezTo>
                    <a:pt x="7971" y="6049"/>
                    <a:pt x="8317" y="5671"/>
                    <a:pt x="8317" y="5198"/>
                  </a:cubicBezTo>
                  <a:cubicBezTo>
                    <a:pt x="8317" y="5072"/>
                    <a:pt x="8254" y="4915"/>
                    <a:pt x="8223" y="4789"/>
                  </a:cubicBezTo>
                  <a:cubicBezTo>
                    <a:pt x="8664" y="4694"/>
                    <a:pt x="8979" y="4285"/>
                    <a:pt x="8979" y="3812"/>
                  </a:cubicBezTo>
                  <a:cubicBezTo>
                    <a:pt x="8979" y="3686"/>
                    <a:pt x="8948" y="3592"/>
                    <a:pt x="8884" y="3466"/>
                  </a:cubicBezTo>
                  <a:lnTo>
                    <a:pt x="9389" y="3403"/>
                  </a:lnTo>
                  <a:lnTo>
                    <a:pt x="10775" y="3403"/>
                  </a:lnTo>
                  <a:cubicBezTo>
                    <a:pt x="11373" y="3403"/>
                    <a:pt x="11814" y="2930"/>
                    <a:pt x="11814" y="2395"/>
                  </a:cubicBezTo>
                  <a:cubicBezTo>
                    <a:pt x="11814" y="1796"/>
                    <a:pt x="11342" y="1386"/>
                    <a:pt x="10775" y="1386"/>
                  </a:cubicBezTo>
                  <a:lnTo>
                    <a:pt x="6616" y="1386"/>
                  </a:lnTo>
                  <a:cubicBezTo>
                    <a:pt x="6837" y="1103"/>
                    <a:pt x="6963" y="693"/>
                    <a:pt x="6963" y="347"/>
                  </a:cubicBezTo>
                  <a:cubicBezTo>
                    <a:pt x="6963" y="158"/>
                    <a:pt x="6805" y="0"/>
                    <a:pt x="6616"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9728" name="Google Shape;9728;p110"/>
            <p:cNvSpPr/>
            <p:nvPr/>
          </p:nvSpPr>
          <p:spPr>
            <a:xfrm>
              <a:off x="-26480450" y="2093100"/>
              <a:ext cx="18125" cy="18150"/>
            </a:xfrm>
            <a:custGeom>
              <a:avLst/>
              <a:gdLst/>
              <a:ahLst/>
              <a:cxnLst/>
              <a:rect l="l" t="t" r="r" b="b"/>
              <a:pathLst>
                <a:path w="725" h="726" extrusionOk="0">
                  <a:moveTo>
                    <a:pt x="378" y="1"/>
                  </a:moveTo>
                  <a:cubicBezTo>
                    <a:pt x="158" y="1"/>
                    <a:pt x="0" y="158"/>
                    <a:pt x="0" y="347"/>
                  </a:cubicBezTo>
                  <a:cubicBezTo>
                    <a:pt x="0" y="568"/>
                    <a:pt x="158" y="725"/>
                    <a:pt x="378" y="725"/>
                  </a:cubicBezTo>
                  <a:cubicBezTo>
                    <a:pt x="567" y="725"/>
                    <a:pt x="725" y="568"/>
                    <a:pt x="725" y="347"/>
                  </a:cubicBezTo>
                  <a:cubicBezTo>
                    <a:pt x="725" y="158"/>
                    <a:pt x="567" y="1"/>
                    <a:pt x="378"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9729" name="Google Shape;9729;p110"/>
            <p:cNvSpPr/>
            <p:nvPr/>
          </p:nvSpPr>
          <p:spPr>
            <a:xfrm>
              <a:off x="-26480450" y="2127750"/>
              <a:ext cx="18125" cy="17350"/>
            </a:xfrm>
            <a:custGeom>
              <a:avLst/>
              <a:gdLst/>
              <a:ahLst/>
              <a:cxnLst/>
              <a:rect l="l" t="t" r="r" b="b"/>
              <a:pathLst>
                <a:path w="725" h="694" extrusionOk="0">
                  <a:moveTo>
                    <a:pt x="378" y="1"/>
                  </a:moveTo>
                  <a:cubicBezTo>
                    <a:pt x="158" y="1"/>
                    <a:pt x="0" y="158"/>
                    <a:pt x="0" y="347"/>
                  </a:cubicBezTo>
                  <a:cubicBezTo>
                    <a:pt x="0" y="536"/>
                    <a:pt x="158" y="694"/>
                    <a:pt x="378" y="694"/>
                  </a:cubicBezTo>
                  <a:cubicBezTo>
                    <a:pt x="567" y="694"/>
                    <a:pt x="725" y="536"/>
                    <a:pt x="725" y="347"/>
                  </a:cubicBezTo>
                  <a:cubicBezTo>
                    <a:pt x="725" y="158"/>
                    <a:pt x="567" y="1"/>
                    <a:pt x="378"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9730" name="Google Shape;9730;p110"/>
            <p:cNvSpPr/>
            <p:nvPr/>
          </p:nvSpPr>
          <p:spPr>
            <a:xfrm>
              <a:off x="-26480450" y="2162425"/>
              <a:ext cx="18125" cy="17350"/>
            </a:xfrm>
            <a:custGeom>
              <a:avLst/>
              <a:gdLst/>
              <a:ahLst/>
              <a:cxnLst/>
              <a:rect l="l" t="t" r="r" b="b"/>
              <a:pathLst>
                <a:path w="725" h="694" extrusionOk="0">
                  <a:moveTo>
                    <a:pt x="378" y="0"/>
                  </a:moveTo>
                  <a:cubicBezTo>
                    <a:pt x="158" y="0"/>
                    <a:pt x="0" y="158"/>
                    <a:pt x="0" y="347"/>
                  </a:cubicBezTo>
                  <a:cubicBezTo>
                    <a:pt x="0" y="536"/>
                    <a:pt x="158" y="693"/>
                    <a:pt x="378" y="693"/>
                  </a:cubicBezTo>
                  <a:cubicBezTo>
                    <a:pt x="567" y="693"/>
                    <a:pt x="725" y="536"/>
                    <a:pt x="725" y="347"/>
                  </a:cubicBezTo>
                  <a:cubicBezTo>
                    <a:pt x="725" y="158"/>
                    <a:pt x="567" y="0"/>
                    <a:pt x="378"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9731" name="Google Shape;9731;p110"/>
          <p:cNvGrpSpPr/>
          <p:nvPr/>
        </p:nvGrpSpPr>
        <p:grpSpPr>
          <a:xfrm>
            <a:off x="9472497" y="2679059"/>
            <a:ext cx="470907" cy="470907"/>
            <a:chOff x="-26584425" y="2340425"/>
            <a:chExt cx="295375" cy="295375"/>
          </a:xfrm>
        </p:grpSpPr>
        <p:sp>
          <p:nvSpPr>
            <p:cNvPr id="9732" name="Google Shape;9732;p110"/>
            <p:cNvSpPr/>
            <p:nvPr/>
          </p:nvSpPr>
          <p:spPr>
            <a:xfrm>
              <a:off x="-26462350" y="2463275"/>
              <a:ext cx="51225" cy="51225"/>
            </a:xfrm>
            <a:custGeom>
              <a:avLst/>
              <a:gdLst/>
              <a:ahLst/>
              <a:cxnLst/>
              <a:rect l="l" t="t" r="r" b="b"/>
              <a:pathLst>
                <a:path w="2049" h="2049" extrusionOk="0">
                  <a:moveTo>
                    <a:pt x="1009" y="631"/>
                  </a:moveTo>
                  <a:cubicBezTo>
                    <a:pt x="1230" y="631"/>
                    <a:pt x="1387" y="788"/>
                    <a:pt x="1387" y="977"/>
                  </a:cubicBezTo>
                  <a:cubicBezTo>
                    <a:pt x="1324" y="1230"/>
                    <a:pt x="1167" y="1356"/>
                    <a:pt x="1009" y="1356"/>
                  </a:cubicBezTo>
                  <a:cubicBezTo>
                    <a:pt x="820" y="1356"/>
                    <a:pt x="662" y="1198"/>
                    <a:pt x="662" y="977"/>
                  </a:cubicBezTo>
                  <a:cubicBezTo>
                    <a:pt x="662" y="788"/>
                    <a:pt x="820" y="631"/>
                    <a:pt x="1009" y="631"/>
                  </a:cubicBezTo>
                  <a:close/>
                  <a:moveTo>
                    <a:pt x="1009" y="1"/>
                  </a:moveTo>
                  <a:cubicBezTo>
                    <a:pt x="442" y="1"/>
                    <a:pt x="1" y="473"/>
                    <a:pt x="1" y="1041"/>
                  </a:cubicBezTo>
                  <a:cubicBezTo>
                    <a:pt x="1" y="1608"/>
                    <a:pt x="473" y="2049"/>
                    <a:pt x="1009" y="2049"/>
                  </a:cubicBezTo>
                  <a:cubicBezTo>
                    <a:pt x="1576" y="2049"/>
                    <a:pt x="2049" y="1576"/>
                    <a:pt x="2049" y="1041"/>
                  </a:cubicBezTo>
                  <a:cubicBezTo>
                    <a:pt x="2049" y="442"/>
                    <a:pt x="1576" y="1"/>
                    <a:pt x="1009"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9733" name="Google Shape;9733;p110"/>
            <p:cNvSpPr/>
            <p:nvPr/>
          </p:nvSpPr>
          <p:spPr>
            <a:xfrm>
              <a:off x="-26500150" y="2376650"/>
              <a:ext cx="121325" cy="75175"/>
            </a:xfrm>
            <a:custGeom>
              <a:avLst/>
              <a:gdLst/>
              <a:ahLst/>
              <a:cxnLst/>
              <a:rect l="l" t="t" r="r" b="b"/>
              <a:pathLst>
                <a:path w="4853" h="3007" extrusionOk="0">
                  <a:moveTo>
                    <a:pt x="2521" y="662"/>
                  </a:moveTo>
                  <a:cubicBezTo>
                    <a:pt x="3088" y="662"/>
                    <a:pt x="3592" y="788"/>
                    <a:pt x="4065" y="977"/>
                  </a:cubicBezTo>
                  <a:lnTo>
                    <a:pt x="3403" y="2206"/>
                  </a:lnTo>
                  <a:cubicBezTo>
                    <a:pt x="3120" y="2080"/>
                    <a:pt x="2836" y="2048"/>
                    <a:pt x="2553" y="2048"/>
                  </a:cubicBezTo>
                  <a:cubicBezTo>
                    <a:pt x="2206" y="2048"/>
                    <a:pt x="1954" y="2080"/>
                    <a:pt x="1670" y="2206"/>
                  </a:cubicBezTo>
                  <a:lnTo>
                    <a:pt x="1009" y="977"/>
                  </a:lnTo>
                  <a:cubicBezTo>
                    <a:pt x="1481" y="788"/>
                    <a:pt x="1985" y="662"/>
                    <a:pt x="2521" y="662"/>
                  </a:cubicBezTo>
                  <a:close/>
                  <a:moveTo>
                    <a:pt x="2458" y="0"/>
                  </a:moveTo>
                  <a:cubicBezTo>
                    <a:pt x="1702" y="0"/>
                    <a:pt x="914" y="189"/>
                    <a:pt x="253" y="567"/>
                  </a:cubicBezTo>
                  <a:cubicBezTo>
                    <a:pt x="95" y="630"/>
                    <a:pt x="1" y="882"/>
                    <a:pt x="127" y="1040"/>
                  </a:cubicBezTo>
                  <a:lnTo>
                    <a:pt x="1198" y="2836"/>
                  </a:lnTo>
                  <a:cubicBezTo>
                    <a:pt x="1229" y="2930"/>
                    <a:pt x="1324" y="2993"/>
                    <a:pt x="1387" y="2993"/>
                  </a:cubicBezTo>
                  <a:cubicBezTo>
                    <a:pt x="1415" y="3003"/>
                    <a:pt x="1442" y="3006"/>
                    <a:pt x="1470" y="3006"/>
                  </a:cubicBezTo>
                  <a:cubicBezTo>
                    <a:pt x="1537" y="3006"/>
                    <a:pt x="1604" y="2984"/>
                    <a:pt x="1670" y="2962"/>
                  </a:cubicBezTo>
                  <a:cubicBezTo>
                    <a:pt x="1891" y="2804"/>
                    <a:pt x="2206" y="2710"/>
                    <a:pt x="2490" y="2710"/>
                  </a:cubicBezTo>
                  <a:cubicBezTo>
                    <a:pt x="2773" y="2710"/>
                    <a:pt x="3088" y="2804"/>
                    <a:pt x="3309" y="2962"/>
                  </a:cubicBezTo>
                  <a:cubicBezTo>
                    <a:pt x="3372" y="2993"/>
                    <a:pt x="3435" y="2993"/>
                    <a:pt x="3466" y="2993"/>
                  </a:cubicBezTo>
                  <a:lnTo>
                    <a:pt x="3561" y="2993"/>
                  </a:lnTo>
                  <a:cubicBezTo>
                    <a:pt x="3624" y="2962"/>
                    <a:pt x="3718" y="2930"/>
                    <a:pt x="3750" y="2836"/>
                  </a:cubicBezTo>
                  <a:lnTo>
                    <a:pt x="4789" y="1040"/>
                  </a:lnTo>
                  <a:cubicBezTo>
                    <a:pt x="4852" y="882"/>
                    <a:pt x="4821" y="630"/>
                    <a:pt x="4663" y="567"/>
                  </a:cubicBezTo>
                  <a:cubicBezTo>
                    <a:pt x="4002" y="189"/>
                    <a:pt x="3246" y="0"/>
                    <a:pt x="2458"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9734" name="Google Shape;9734;p110"/>
            <p:cNvSpPr/>
            <p:nvPr/>
          </p:nvSpPr>
          <p:spPr>
            <a:xfrm>
              <a:off x="-26549775" y="2480750"/>
              <a:ext cx="95325" cy="105425"/>
            </a:xfrm>
            <a:custGeom>
              <a:avLst/>
              <a:gdLst/>
              <a:ahLst/>
              <a:cxnLst/>
              <a:rect l="l" t="t" r="r" b="b"/>
              <a:pathLst>
                <a:path w="3813" h="4217" extrusionOk="0">
                  <a:moveTo>
                    <a:pt x="2080" y="688"/>
                  </a:moveTo>
                  <a:cubicBezTo>
                    <a:pt x="2143" y="1287"/>
                    <a:pt x="2458" y="1791"/>
                    <a:pt x="2931" y="2169"/>
                  </a:cubicBezTo>
                  <a:lnTo>
                    <a:pt x="2238" y="3397"/>
                  </a:lnTo>
                  <a:cubicBezTo>
                    <a:pt x="1387" y="2767"/>
                    <a:pt x="820" y="1791"/>
                    <a:pt x="694" y="720"/>
                  </a:cubicBezTo>
                  <a:lnTo>
                    <a:pt x="2080" y="688"/>
                  </a:lnTo>
                  <a:close/>
                  <a:moveTo>
                    <a:pt x="2503" y="0"/>
                  </a:moveTo>
                  <a:cubicBezTo>
                    <a:pt x="2479" y="0"/>
                    <a:pt x="2454" y="8"/>
                    <a:pt x="2427" y="26"/>
                  </a:cubicBezTo>
                  <a:lnTo>
                    <a:pt x="347" y="58"/>
                  </a:lnTo>
                  <a:cubicBezTo>
                    <a:pt x="158" y="58"/>
                    <a:pt x="1" y="215"/>
                    <a:pt x="1" y="405"/>
                  </a:cubicBezTo>
                  <a:cubicBezTo>
                    <a:pt x="1" y="1192"/>
                    <a:pt x="221" y="1948"/>
                    <a:pt x="631" y="2610"/>
                  </a:cubicBezTo>
                  <a:cubicBezTo>
                    <a:pt x="1009" y="3240"/>
                    <a:pt x="1513" y="3807"/>
                    <a:pt x="2206" y="4185"/>
                  </a:cubicBezTo>
                  <a:cubicBezTo>
                    <a:pt x="2238" y="4217"/>
                    <a:pt x="2301" y="4217"/>
                    <a:pt x="2395" y="4217"/>
                  </a:cubicBezTo>
                  <a:lnTo>
                    <a:pt x="2458" y="4217"/>
                  </a:lnTo>
                  <a:cubicBezTo>
                    <a:pt x="2553" y="4185"/>
                    <a:pt x="2616" y="4154"/>
                    <a:pt x="2679" y="4059"/>
                  </a:cubicBezTo>
                  <a:lnTo>
                    <a:pt x="3718" y="2295"/>
                  </a:lnTo>
                  <a:cubicBezTo>
                    <a:pt x="3813" y="2106"/>
                    <a:pt x="3781" y="1917"/>
                    <a:pt x="3624" y="1791"/>
                  </a:cubicBezTo>
                  <a:cubicBezTo>
                    <a:pt x="3088" y="1476"/>
                    <a:pt x="2773" y="909"/>
                    <a:pt x="2773" y="342"/>
                  </a:cubicBezTo>
                  <a:cubicBezTo>
                    <a:pt x="2773" y="247"/>
                    <a:pt x="2742" y="121"/>
                    <a:pt x="2679" y="89"/>
                  </a:cubicBezTo>
                  <a:cubicBezTo>
                    <a:pt x="2612" y="45"/>
                    <a:pt x="2561" y="0"/>
                    <a:pt x="2503"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9735" name="Google Shape;9735;p110"/>
            <p:cNvSpPr/>
            <p:nvPr/>
          </p:nvSpPr>
          <p:spPr>
            <a:xfrm>
              <a:off x="-26421375" y="2481400"/>
              <a:ext cx="96900" cy="104000"/>
            </a:xfrm>
            <a:custGeom>
              <a:avLst/>
              <a:gdLst/>
              <a:ahLst/>
              <a:cxnLst/>
              <a:rect l="l" t="t" r="r" b="b"/>
              <a:pathLst>
                <a:path w="3876" h="4160" extrusionOk="0">
                  <a:moveTo>
                    <a:pt x="1796" y="694"/>
                  </a:moveTo>
                  <a:lnTo>
                    <a:pt x="3151" y="725"/>
                  </a:lnTo>
                  <a:cubicBezTo>
                    <a:pt x="3056" y="1765"/>
                    <a:pt x="2489" y="2741"/>
                    <a:pt x="1638" y="3371"/>
                  </a:cubicBezTo>
                  <a:lnTo>
                    <a:pt x="914" y="2206"/>
                  </a:lnTo>
                  <a:cubicBezTo>
                    <a:pt x="1386" y="1796"/>
                    <a:pt x="1701" y="1292"/>
                    <a:pt x="1796" y="694"/>
                  </a:cubicBezTo>
                  <a:close/>
                  <a:moveTo>
                    <a:pt x="1418" y="0"/>
                  </a:moveTo>
                  <a:cubicBezTo>
                    <a:pt x="1355" y="0"/>
                    <a:pt x="1229" y="32"/>
                    <a:pt x="1197" y="63"/>
                  </a:cubicBezTo>
                  <a:cubicBezTo>
                    <a:pt x="1103" y="158"/>
                    <a:pt x="1071" y="221"/>
                    <a:pt x="1071" y="316"/>
                  </a:cubicBezTo>
                  <a:cubicBezTo>
                    <a:pt x="1071" y="883"/>
                    <a:pt x="756" y="1450"/>
                    <a:pt x="252" y="1765"/>
                  </a:cubicBezTo>
                  <a:cubicBezTo>
                    <a:pt x="95" y="1891"/>
                    <a:pt x="0" y="2080"/>
                    <a:pt x="126" y="2237"/>
                  </a:cubicBezTo>
                  <a:lnTo>
                    <a:pt x="1197" y="4002"/>
                  </a:lnTo>
                  <a:cubicBezTo>
                    <a:pt x="1229" y="4065"/>
                    <a:pt x="1323" y="4128"/>
                    <a:pt x="1386" y="4159"/>
                  </a:cubicBezTo>
                  <a:lnTo>
                    <a:pt x="1481" y="4159"/>
                  </a:lnTo>
                  <a:cubicBezTo>
                    <a:pt x="1544" y="4159"/>
                    <a:pt x="1575" y="4159"/>
                    <a:pt x="1670" y="4128"/>
                  </a:cubicBezTo>
                  <a:cubicBezTo>
                    <a:pt x="2300" y="3718"/>
                    <a:pt x="2836" y="3182"/>
                    <a:pt x="3245" y="2552"/>
                  </a:cubicBezTo>
                  <a:cubicBezTo>
                    <a:pt x="3623" y="1891"/>
                    <a:pt x="3844" y="1135"/>
                    <a:pt x="3875" y="347"/>
                  </a:cubicBezTo>
                  <a:cubicBezTo>
                    <a:pt x="3875" y="189"/>
                    <a:pt x="3718" y="32"/>
                    <a:pt x="3529" y="32"/>
                  </a:cubicBezTo>
                  <a:lnTo>
                    <a:pt x="1418" y="0"/>
                  </a:ln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9736" name="Google Shape;9736;p110"/>
            <p:cNvSpPr/>
            <p:nvPr/>
          </p:nvSpPr>
          <p:spPr>
            <a:xfrm>
              <a:off x="-26584425" y="2340425"/>
              <a:ext cx="295375" cy="295375"/>
            </a:xfrm>
            <a:custGeom>
              <a:avLst/>
              <a:gdLst/>
              <a:ahLst/>
              <a:cxnLst/>
              <a:rect l="l" t="t" r="r" b="b"/>
              <a:pathLst>
                <a:path w="11815" h="11815" extrusionOk="0">
                  <a:moveTo>
                    <a:pt x="5861" y="693"/>
                  </a:moveTo>
                  <a:cubicBezTo>
                    <a:pt x="7247" y="693"/>
                    <a:pt x="8570" y="1260"/>
                    <a:pt x="9578" y="2237"/>
                  </a:cubicBezTo>
                  <a:cubicBezTo>
                    <a:pt x="10555" y="3214"/>
                    <a:pt x="11090" y="4537"/>
                    <a:pt x="11090" y="5955"/>
                  </a:cubicBezTo>
                  <a:cubicBezTo>
                    <a:pt x="11090" y="7309"/>
                    <a:pt x="10586" y="8632"/>
                    <a:pt x="9578" y="9641"/>
                  </a:cubicBezTo>
                  <a:cubicBezTo>
                    <a:pt x="8570" y="10617"/>
                    <a:pt x="7278" y="11184"/>
                    <a:pt x="5861" y="11184"/>
                  </a:cubicBezTo>
                  <a:cubicBezTo>
                    <a:pt x="4474" y="11184"/>
                    <a:pt x="3151" y="10617"/>
                    <a:pt x="2174" y="9641"/>
                  </a:cubicBezTo>
                  <a:cubicBezTo>
                    <a:pt x="1166" y="8664"/>
                    <a:pt x="631" y="7372"/>
                    <a:pt x="631" y="5955"/>
                  </a:cubicBezTo>
                  <a:cubicBezTo>
                    <a:pt x="631" y="4568"/>
                    <a:pt x="1166" y="3214"/>
                    <a:pt x="2174" y="2237"/>
                  </a:cubicBezTo>
                  <a:cubicBezTo>
                    <a:pt x="3151" y="1260"/>
                    <a:pt x="4443" y="693"/>
                    <a:pt x="5861" y="693"/>
                  </a:cubicBezTo>
                  <a:close/>
                  <a:moveTo>
                    <a:pt x="5892" y="0"/>
                  </a:moveTo>
                  <a:cubicBezTo>
                    <a:pt x="4317" y="0"/>
                    <a:pt x="2836" y="630"/>
                    <a:pt x="1733" y="1733"/>
                  </a:cubicBezTo>
                  <a:cubicBezTo>
                    <a:pt x="631" y="2836"/>
                    <a:pt x="1" y="4316"/>
                    <a:pt x="1" y="5891"/>
                  </a:cubicBezTo>
                  <a:cubicBezTo>
                    <a:pt x="1" y="7467"/>
                    <a:pt x="631" y="8979"/>
                    <a:pt x="1733" y="10082"/>
                  </a:cubicBezTo>
                  <a:cubicBezTo>
                    <a:pt x="2836" y="11184"/>
                    <a:pt x="4317" y="11814"/>
                    <a:pt x="5892" y="11814"/>
                  </a:cubicBezTo>
                  <a:cubicBezTo>
                    <a:pt x="7467" y="11814"/>
                    <a:pt x="8980" y="11184"/>
                    <a:pt x="10082" y="10082"/>
                  </a:cubicBezTo>
                  <a:cubicBezTo>
                    <a:pt x="11185" y="8979"/>
                    <a:pt x="11815" y="7467"/>
                    <a:pt x="11815" y="5891"/>
                  </a:cubicBezTo>
                  <a:cubicBezTo>
                    <a:pt x="11815" y="4379"/>
                    <a:pt x="11185" y="2867"/>
                    <a:pt x="10082" y="1733"/>
                  </a:cubicBezTo>
                  <a:cubicBezTo>
                    <a:pt x="8980" y="630"/>
                    <a:pt x="7467" y="0"/>
                    <a:pt x="5892"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9737" name="Google Shape;9737;p110"/>
          <p:cNvGrpSpPr/>
          <p:nvPr/>
        </p:nvGrpSpPr>
        <p:grpSpPr>
          <a:xfrm>
            <a:off x="9465604" y="3267185"/>
            <a:ext cx="484697" cy="471225"/>
            <a:chOff x="-26585200" y="2710400"/>
            <a:chExt cx="304025" cy="295575"/>
          </a:xfrm>
        </p:grpSpPr>
        <p:sp>
          <p:nvSpPr>
            <p:cNvPr id="9738" name="Google Shape;9738;p110"/>
            <p:cNvSpPr/>
            <p:nvPr/>
          </p:nvSpPr>
          <p:spPr>
            <a:xfrm>
              <a:off x="-26585200" y="2710400"/>
              <a:ext cx="304025" cy="295575"/>
            </a:xfrm>
            <a:custGeom>
              <a:avLst/>
              <a:gdLst/>
              <a:ahLst/>
              <a:cxnLst/>
              <a:rect l="l" t="t" r="r" b="b"/>
              <a:pathLst>
                <a:path w="12161" h="11823" extrusionOk="0">
                  <a:moveTo>
                    <a:pt x="8711" y="717"/>
                  </a:moveTo>
                  <a:cubicBezTo>
                    <a:pt x="9333" y="717"/>
                    <a:pt x="9956" y="954"/>
                    <a:pt x="10428" y="1426"/>
                  </a:cubicBezTo>
                  <a:cubicBezTo>
                    <a:pt x="11373" y="2371"/>
                    <a:pt x="11373" y="3915"/>
                    <a:pt x="10428" y="4829"/>
                  </a:cubicBezTo>
                  <a:lnTo>
                    <a:pt x="9830" y="5427"/>
                  </a:lnTo>
                  <a:lnTo>
                    <a:pt x="7404" y="3001"/>
                  </a:lnTo>
                  <a:lnTo>
                    <a:pt x="7971" y="2403"/>
                  </a:lnTo>
                  <a:cubicBezTo>
                    <a:pt x="8191" y="2214"/>
                    <a:pt x="8443" y="2088"/>
                    <a:pt x="8727" y="2088"/>
                  </a:cubicBezTo>
                  <a:cubicBezTo>
                    <a:pt x="9011" y="2088"/>
                    <a:pt x="9294" y="2214"/>
                    <a:pt x="9483" y="2403"/>
                  </a:cubicBezTo>
                  <a:cubicBezTo>
                    <a:pt x="9546" y="2466"/>
                    <a:pt x="9633" y="2497"/>
                    <a:pt x="9719" y="2497"/>
                  </a:cubicBezTo>
                  <a:cubicBezTo>
                    <a:pt x="9806" y="2497"/>
                    <a:pt x="9893" y="2466"/>
                    <a:pt x="9956" y="2403"/>
                  </a:cubicBezTo>
                  <a:cubicBezTo>
                    <a:pt x="10082" y="2277"/>
                    <a:pt x="10082" y="2056"/>
                    <a:pt x="9956" y="1930"/>
                  </a:cubicBezTo>
                  <a:cubicBezTo>
                    <a:pt x="9641" y="1615"/>
                    <a:pt x="9200" y="1426"/>
                    <a:pt x="8727" y="1426"/>
                  </a:cubicBezTo>
                  <a:cubicBezTo>
                    <a:pt x="8254" y="1426"/>
                    <a:pt x="7813" y="1615"/>
                    <a:pt x="7530" y="1930"/>
                  </a:cubicBezTo>
                  <a:lnTo>
                    <a:pt x="6931" y="2529"/>
                  </a:lnTo>
                  <a:lnTo>
                    <a:pt x="6459" y="2056"/>
                  </a:lnTo>
                  <a:lnTo>
                    <a:pt x="6994" y="1426"/>
                  </a:lnTo>
                  <a:cubicBezTo>
                    <a:pt x="7467" y="954"/>
                    <a:pt x="8089" y="717"/>
                    <a:pt x="8711" y="717"/>
                  </a:cubicBezTo>
                  <a:close/>
                  <a:moveTo>
                    <a:pt x="2048" y="6372"/>
                  </a:moveTo>
                  <a:lnTo>
                    <a:pt x="4474" y="8830"/>
                  </a:lnTo>
                  <a:lnTo>
                    <a:pt x="3875" y="9397"/>
                  </a:lnTo>
                  <a:cubicBezTo>
                    <a:pt x="3686" y="9602"/>
                    <a:pt x="3426" y="9704"/>
                    <a:pt x="3162" y="9704"/>
                  </a:cubicBezTo>
                  <a:cubicBezTo>
                    <a:pt x="2899" y="9704"/>
                    <a:pt x="2631" y="9602"/>
                    <a:pt x="2426" y="9397"/>
                  </a:cubicBezTo>
                  <a:cubicBezTo>
                    <a:pt x="2363" y="9350"/>
                    <a:pt x="2276" y="9326"/>
                    <a:pt x="2190" y="9326"/>
                  </a:cubicBezTo>
                  <a:cubicBezTo>
                    <a:pt x="2103" y="9326"/>
                    <a:pt x="2016" y="9350"/>
                    <a:pt x="1953" y="9397"/>
                  </a:cubicBezTo>
                  <a:cubicBezTo>
                    <a:pt x="1827" y="9523"/>
                    <a:pt x="1827" y="9775"/>
                    <a:pt x="1953" y="9869"/>
                  </a:cubicBezTo>
                  <a:cubicBezTo>
                    <a:pt x="2331" y="10247"/>
                    <a:pt x="2741" y="10405"/>
                    <a:pt x="3182" y="10405"/>
                  </a:cubicBezTo>
                  <a:cubicBezTo>
                    <a:pt x="3623" y="10405"/>
                    <a:pt x="4096" y="10247"/>
                    <a:pt x="4411" y="9869"/>
                  </a:cubicBezTo>
                  <a:lnTo>
                    <a:pt x="4978" y="9302"/>
                  </a:lnTo>
                  <a:lnTo>
                    <a:pt x="5450" y="9775"/>
                  </a:lnTo>
                  <a:lnTo>
                    <a:pt x="4820" y="10436"/>
                  </a:lnTo>
                  <a:cubicBezTo>
                    <a:pt x="4348" y="10909"/>
                    <a:pt x="3733" y="11145"/>
                    <a:pt x="3119" y="11145"/>
                  </a:cubicBezTo>
                  <a:cubicBezTo>
                    <a:pt x="2505" y="11145"/>
                    <a:pt x="1890" y="10909"/>
                    <a:pt x="1418" y="10436"/>
                  </a:cubicBezTo>
                  <a:cubicBezTo>
                    <a:pt x="473" y="9491"/>
                    <a:pt x="473" y="7948"/>
                    <a:pt x="1449" y="6971"/>
                  </a:cubicBezTo>
                  <a:lnTo>
                    <a:pt x="2048" y="6372"/>
                  </a:lnTo>
                  <a:close/>
                  <a:moveTo>
                    <a:pt x="3151" y="701"/>
                  </a:moveTo>
                  <a:cubicBezTo>
                    <a:pt x="3781" y="701"/>
                    <a:pt x="4411" y="954"/>
                    <a:pt x="4883" y="1426"/>
                  </a:cubicBezTo>
                  <a:lnTo>
                    <a:pt x="10460" y="7002"/>
                  </a:lnTo>
                  <a:cubicBezTo>
                    <a:pt x="11373" y="7948"/>
                    <a:pt x="11373" y="9491"/>
                    <a:pt x="10428" y="10436"/>
                  </a:cubicBezTo>
                  <a:cubicBezTo>
                    <a:pt x="9956" y="10909"/>
                    <a:pt x="9333" y="11145"/>
                    <a:pt x="8711" y="11145"/>
                  </a:cubicBezTo>
                  <a:cubicBezTo>
                    <a:pt x="8089" y="11145"/>
                    <a:pt x="7467" y="10909"/>
                    <a:pt x="6994" y="10436"/>
                  </a:cubicBezTo>
                  <a:lnTo>
                    <a:pt x="6175" y="9617"/>
                  </a:lnTo>
                  <a:lnTo>
                    <a:pt x="5198" y="8641"/>
                  </a:lnTo>
                  <a:lnTo>
                    <a:pt x="2237" y="5679"/>
                  </a:lnTo>
                  <a:lnTo>
                    <a:pt x="1418" y="4860"/>
                  </a:lnTo>
                  <a:cubicBezTo>
                    <a:pt x="473" y="3915"/>
                    <a:pt x="473" y="2371"/>
                    <a:pt x="1418" y="1426"/>
                  </a:cubicBezTo>
                  <a:cubicBezTo>
                    <a:pt x="1890" y="954"/>
                    <a:pt x="2520" y="701"/>
                    <a:pt x="3151" y="701"/>
                  </a:cubicBezTo>
                  <a:close/>
                  <a:moveTo>
                    <a:pt x="8727" y="0"/>
                  </a:moveTo>
                  <a:cubicBezTo>
                    <a:pt x="7931" y="0"/>
                    <a:pt x="7136" y="308"/>
                    <a:pt x="6522" y="922"/>
                  </a:cubicBezTo>
                  <a:lnTo>
                    <a:pt x="5955" y="1489"/>
                  </a:lnTo>
                  <a:lnTo>
                    <a:pt x="5356" y="922"/>
                  </a:lnTo>
                  <a:cubicBezTo>
                    <a:pt x="4757" y="323"/>
                    <a:pt x="3970" y="8"/>
                    <a:pt x="3151" y="8"/>
                  </a:cubicBezTo>
                  <a:cubicBezTo>
                    <a:pt x="2331" y="8"/>
                    <a:pt x="1544" y="323"/>
                    <a:pt x="945" y="922"/>
                  </a:cubicBezTo>
                  <a:cubicBezTo>
                    <a:pt x="347" y="1489"/>
                    <a:pt x="32" y="2277"/>
                    <a:pt x="32" y="3127"/>
                  </a:cubicBezTo>
                  <a:cubicBezTo>
                    <a:pt x="32" y="3946"/>
                    <a:pt x="347" y="4734"/>
                    <a:pt x="945" y="5333"/>
                  </a:cubicBezTo>
                  <a:lnTo>
                    <a:pt x="1544" y="5900"/>
                  </a:lnTo>
                  <a:lnTo>
                    <a:pt x="945" y="6498"/>
                  </a:lnTo>
                  <a:cubicBezTo>
                    <a:pt x="347" y="7097"/>
                    <a:pt x="32" y="7885"/>
                    <a:pt x="0" y="8704"/>
                  </a:cubicBezTo>
                  <a:cubicBezTo>
                    <a:pt x="0" y="9523"/>
                    <a:pt x="315" y="10310"/>
                    <a:pt x="914" y="10909"/>
                  </a:cubicBezTo>
                  <a:cubicBezTo>
                    <a:pt x="1481" y="11508"/>
                    <a:pt x="2331" y="11823"/>
                    <a:pt x="3119" y="11823"/>
                  </a:cubicBezTo>
                  <a:cubicBezTo>
                    <a:pt x="3907" y="11823"/>
                    <a:pt x="4726" y="11508"/>
                    <a:pt x="5324" y="10909"/>
                  </a:cubicBezTo>
                  <a:lnTo>
                    <a:pt x="5892" y="10310"/>
                  </a:lnTo>
                  <a:lnTo>
                    <a:pt x="6490" y="10909"/>
                  </a:lnTo>
                  <a:cubicBezTo>
                    <a:pt x="7089" y="11508"/>
                    <a:pt x="7876" y="11823"/>
                    <a:pt x="8695" y="11823"/>
                  </a:cubicBezTo>
                  <a:cubicBezTo>
                    <a:pt x="9515" y="11823"/>
                    <a:pt x="10302" y="11508"/>
                    <a:pt x="10901" y="10909"/>
                  </a:cubicBezTo>
                  <a:cubicBezTo>
                    <a:pt x="11499" y="10310"/>
                    <a:pt x="11814" y="9523"/>
                    <a:pt x="11814" y="8704"/>
                  </a:cubicBezTo>
                  <a:cubicBezTo>
                    <a:pt x="11846" y="7885"/>
                    <a:pt x="11531" y="7097"/>
                    <a:pt x="10932" y="6498"/>
                  </a:cubicBezTo>
                  <a:lnTo>
                    <a:pt x="10334" y="5900"/>
                  </a:lnTo>
                  <a:lnTo>
                    <a:pt x="10932" y="5333"/>
                  </a:lnTo>
                  <a:cubicBezTo>
                    <a:pt x="12161" y="4104"/>
                    <a:pt x="12161" y="2119"/>
                    <a:pt x="10932" y="922"/>
                  </a:cubicBezTo>
                  <a:cubicBezTo>
                    <a:pt x="10318" y="308"/>
                    <a:pt x="9522" y="0"/>
                    <a:pt x="8727"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9739" name="Google Shape;9739;p110"/>
            <p:cNvSpPr/>
            <p:nvPr/>
          </p:nvSpPr>
          <p:spPr>
            <a:xfrm>
              <a:off x="-26495425" y="2801375"/>
              <a:ext cx="118175" cy="113250"/>
            </a:xfrm>
            <a:custGeom>
              <a:avLst/>
              <a:gdLst/>
              <a:ahLst/>
              <a:cxnLst/>
              <a:rect l="l" t="t" r="r" b="b"/>
              <a:pathLst>
                <a:path w="4727" h="4530" extrusionOk="0">
                  <a:moveTo>
                    <a:pt x="2111" y="749"/>
                  </a:moveTo>
                  <a:cubicBezTo>
                    <a:pt x="2175" y="749"/>
                    <a:pt x="2301" y="780"/>
                    <a:pt x="2364" y="843"/>
                  </a:cubicBezTo>
                  <a:lnTo>
                    <a:pt x="3813" y="2324"/>
                  </a:lnTo>
                  <a:cubicBezTo>
                    <a:pt x="3907" y="2418"/>
                    <a:pt x="3907" y="2639"/>
                    <a:pt x="3813" y="2796"/>
                  </a:cubicBezTo>
                  <a:lnTo>
                    <a:pt x="2805" y="3773"/>
                  </a:lnTo>
                  <a:cubicBezTo>
                    <a:pt x="2757" y="3836"/>
                    <a:pt x="2671" y="3868"/>
                    <a:pt x="2584" y="3868"/>
                  </a:cubicBezTo>
                  <a:cubicBezTo>
                    <a:pt x="2497" y="3868"/>
                    <a:pt x="2411" y="3836"/>
                    <a:pt x="2364" y="3773"/>
                  </a:cubicBezTo>
                  <a:lnTo>
                    <a:pt x="883" y="2324"/>
                  </a:lnTo>
                  <a:cubicBezTo>
                    <a:pt x="788" y="2198"/>
                    <a:pt x="788" y="1946"/>
                    <a:pt x="883" y="1851"/>
                  </a:cubicBezTo>
                  <a:lnTo>
                    <a:pt x="1891" y="843"/>
                  </a:lnTo>
                  <a:cubicBezTo>
                    <a:pt x="1954" y="780"/>
                    <a:pt x="2048" y="749"/>
                    <a:pt x="2111" y="749"/>
                  </a:cubicBezTo>
                  <a:close/>
                  <a:moveTo>
                    <a:pt x="2092" y="0"/>
                  </a:moveTo>
                  <a:cubicBezTo>
                    <a:pt x="1828" y="0"/>
                    <a:pt x="1560" y="103"/>
                    <a:pt x="1355" y="307"/>
                  </a:cubicBezTo>
                  <a:lnTo>
                    <a:pt x="379" y="1284"/>
                  </a:lnTo>
                  <a:cubicBezTo>
                    <a:pt x="1" y="1694"/>
                    <a:pt x="1" y="2355"/>
                    <a:pt x="379" y="2733"/>
                  </a:cubicBezTo>
                  <a:lnTo>
                    <a:pt x="1828" y="4183"/>
                  </a:lnTo>
                  <a:cubicBezTo>
                    <a:pt x="2017" y="4403"/>
                    <a:pt x="2301" y="4529"/>
                    <a:pt x="2584" y="4529"/>
                  </a:cubicBezTo>
                  <a:cubicBezTo>
                    <a:pt x="2868" y="4529"/>
                    <a:pt x="3151" y="4403"/>
                    <a:pt x="3340" y="4183"/>
                  </a:cubicBezTo>
                  <a:lnTo>
                    <a:pt x="4317" y="3206"/>
                  </a:lnTo>
                  <a:cubicBezTo>
                    <a:pt x="4726" y="2828"/>
                    <a:pt x="4726" y="2166"/>
                    <a:pt x="4317" y="1757"/>
                  </a:cubicBezTo>
                  <a:lnTo>
                    <a:pt x="2805" y="307"/>
                  </a:lnTo>
                  <a:cubicBezTo>
                    <a:pt x="2616" y="103"/>
                    <a:pt x="2356" y="0"/>
                    <a:pt x="2092"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9740" name="Google Shape;9740;p110"/>
            <p:cNvSpPr/>
            <p:nvPr/>
          </p:nvSpPr>
          <p:spPr>
            <a:xfrm>
              <a:off x="-26375700" y="2956325"/>
              <a:ext cx="17350" cy="18150"/>
            </a:xfrm>
            <a:custGeom>
              <a:avLst/>
              <a:gdLst/>
              <a:ahLst/>
              <a:cxnLst/>
              <a:rect l="l" t="t" r="r" b="b"/>
              <a:pathLst>
                <a:path w="694" h="726" extrusionOk="0">
                  <a:moveTo>
                    <a:pt x="347" y="1"/>
                  </a:moveTo>
                  <a:cubicBezTo>
                    <a:pt x="158" y="1"/>
                    <a:pt x="0" y="158"/>
                    <a:pt x="0" y="379"/>
                  </a:cubicBezTo>
                  <a:cubicBezTo>
                    <a:pt x="0" y="568"/>
                    <a:pt x="158" y="725"/>
                    <a:pt x="347" y="725"/>
                  </a:cubicBezTo>
                  <a:cubicBezTo>
                    <a:pt x="536" y="725"/>
                    <a:pt x="694" y="568"/>
                    <a:pt x="694" y="379"/>
                  </a:cubicBezTo>
                  <a:cubicBezTo>
                    <a:pt x="694" y="158"/>
                    <a:pt x="536" y="1"/>
                    <a:pt x="347"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9741" name="Google Shape;9741;p110"/>
            <p:cNvSpPr/>
            <p:nvPr/>
          </p:nvSpPr>
          <p:spPr>
            <a:xfrm>
              <a:off x="-26339475" y="2920100"/>
              <a:ext cx="18150" cy="18150"/>
            </a:xfrm>
            <a:custGeom>
              <a:avLst/>
              <a:gdLst/>
              <a:ahLst/>
              <a:cxnLst/>
              <a:rect l="l" t="t" r="r" b="b"/>
              <a:pathLst>
                <a:path w="726" h="726" extrusionOk="0">
                  <a:moveTo>
                    <a:pt x="347" y="1"/>
                  </a:moveTo>
                  <a:cubicBezTo>
                    <a:pt x="158" y="1"/>
                    <a:pt x="1" y="158"/>
                    <a:pt x="1" y="347"/>
                  </a:cubicBezTo>
                  <a:cubicBezTo>
                    <a:pt x="1" y="536"/>
                    <a:pt x="158" y="725"/>
                    <a:pt x="347" y="725"/>
                  </a:cubicBezTo>
                  <a:cubicBezTo>
                    <a:pt x="568" y="725"/>
                    <a:pt x="725" y="536"/>
                    <a:pt x="725" y="347"/>
                  </a:cubicBezTo>
                  <a:cubicBezTo>
                    <a:pt x="725" y="158"/>
                    <a:pt x="568" y="1"/>
                    <a:pt x="347"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9742" name="Google Shape;9742;p110"/>
            <p:cNvSpPr/>
            <p:nvPr/>
          </p:nvSpPr>
          <p:spPr>
            <a:xfrm>
              <a:off x="-26363900" y="2895675"/>
              <a:ext cx="17350" cy="17375"/>
            </a:xfrm>
            <a:custGeom>
              <a:avLst/>
              <a:gdLst/>
              <a:ahLst/>
              <a:cxnLst/>
              <a:rect l="l" t="t" r="r" b="b"/>
              <a:pathLst>
                <a:path w="694" h="695" extrusionOk="0">
                  <a:moveTo>
                    <a:pt x="348" y="1"/>
                  </a:moveTo>
                  <a:cubicBezTo>
                    <a:pt x="159" y="1"/>
                    <a:pt x="1" y="159"/>
                    <a:pt x="1" y="348"/>
                  </a:cubicBezTo>
                  <a:cubicBezTo>
                    <a:pt x="1" y="537"/>
                    <a:pt x="159" y="694"/>
                    <a:pt x="348" y="694"/>
                  </a:cubicBezTo>
                  <a:cubicBezTo>
                    <a:pt x="537" y="694"/>
                    <a:pt x="694" y="537"/>
                    <a:pt x="694" y="348"/>
                  </a:cubicBezTo>
                  <a:cubicBezTo>
                    <a:pt x="694" y="159"/>
                    <a:pt x="537" y="1"/>
                    <a:pt x="348"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9743" name="Google Shape;9743;p110"/>
            <p:cNvSpPr/>
            <p:nvPr/>
          </p:nvSpPr>
          <p:spPr>
            <a:xfrm>
              <a:off x="-26369400" y="2925625"/>
              <a:ext cx="17350" cy="18125"/>
            </a:xfrm>
            <a:custGeom>
              <a:avLst/>
              <a:gdLst/>
              <a:ahLst/>
              <a:cxnLst/>
              <a:rect l="l" t="t" r="r" b="b"/>
              <a:pathLst>
                <a:path w="694" h="725" extrusionOk="0">
                  <a:moveTo>
                    <a:pt x="347" y="0"/>
                  </a:moveTo>
                  <a:cubicBezTo>
                    <a:pt x="158" y="0"/>
                    <a:pt x="0" y="189"/>
                    <a:pt x="0" y="378"/>
                  </a:cubicBezTo>
                  <a:cubicBezTo>
                    <a:pt x="0" y="567"/>
                    <a:pt x="158" y="725"/>
                    <a:pt x="347" y="725"/>
                  </a:cubicBezTo>
                  <a:cubicBezTo>
                    <a:pt x="536" y="725"/>
                    <a:pt x="694" y="567"/>
                    <a:pt x="694" y="378"/>
                  </a:cubicBezTo>
                  <a:cubicBezTo>
                    <a:pt x="694" y="189"/>
                    <a:pt x="536" y="0"/>
                    <a:pt x="347"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9744" name="Google Shape;9744;p110"/>
            <p:cNvSpPr/>
            <p:nvPr/>
          </p:nvSpPr>
          <p:spPr>
            <a:xfrm>
              <a:off x="-26400125" y="2932125"/>
              <a:ext cx="17350" cy="17150"/>
            </a:xfrm>
            <a:custGeom>
              <a:avLst/>
              <a:gdLst/>
              <a:ahLst/>
              <a:cxnLst/>
              <a:rect l="l" t="t" r="r" b="b"/>
              <a:pathLst>
                <a:path w="694" h="686" extrusionOk="0">
                  <a:moveTo>
                    <a:pt x="343" y="0"/>
                  </a:moveTo>
                  <a:cubicBezTo>
                    <a:pt x="253" y="0"/>
                    <a:pt x="158" y="39"/>
                    <a:pt x="95" y="118"/>
                  </a:cubicBezTo>
                  <a:cubicBezTo>
                    <a:pt x="1" y="244"/>
                    <a:pt x="1" y="465"/>
                    <a:pt x="95" y="591"/>
                  </a:cubicBezTo>
                  <a:cubicBezTo>
                    <a:pt x="158" y="654"/>
                    <a:pt x="253" y="685"/>
                    <a:pt x="343" y="685"/>
                  </a:cubicBezTo>
                  <a:cubicBezTo>
                    <a:pt x="434" y="685"/>
                    <a:pt x="521" y="654"/>
                    <a:pt x="568" y="591"/>
                  </a:cubicBezTo>
                  <a:cubicBezTo>
                    <a:pt x="694" y="465"/>
                    <a:pt x="694" y="244"/>
                    <a:pt x="568" y="118"/>
                  </a:cubicBezTo>
                  <a:cubicBezTo>
                    <a:pt x="521" y="39"/>
                    <a:pt x="434" y="0"/>
                    <a:pt x="343"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9745" name="Google Shape;9745;p110"/>
            <p:cNvSpPr/>
            <p:nvPr/>
          </p:nvSpPr>
          <p:spPr>
            <a:xfrm>
              <a:off x="-26528500" y="2804325"/>
              <a:ext cx="18125" cy="17350"/>
            </a:xfrm>
            <a:custGeom>
              <a:avLst/>
              <a:gdLst/>
              <a:ahLst/>
              <a:cxnLst/>
              <a:rect l="l" t="t" r="r" b="b"/>
              <a:pathLst>
                <a:path w="725" h="694" extrusionOk="0">
                  <a:moveTo>
                    <a:pt x="347" y="0"/>
                  </a:moveTo>
                  <a:cubicBezTo>
                    <a:pt x="158" y="0"/>
                    <a:pt x="0" y="158"/>
                    <a:pt x="0" y="347"/>
                  </a:cubicBezTo>
                  <a:cubicBezTo>
                    <a:pt x="0" y="536"/>
                    <a:pt x="158" y="694"/>
                    <a:pt x="347" y="694"/>
                  </a:cubicBezTo>
                  <a:cubicBezTo>
                    <a:pt x="568" y="694"/>
                    <a:pt x="725" y="536"/>
                    <a:pt x="725" y="347"/>
                  </a:cubicBezTo>
                  <a:cubicBezTo>
                    <a:pt x="725" y="158"/>
                    <a:pt x="568" y="0"/>
                    <a:pt x="347"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9746" name="Google Shape;9746;p110"/>
            <p:cNvSpPr/>
            <p:nvPr/>
          </p:nvSpPr>
          <p:spPr>
            <a:xfrm>
              <a:off x="-26490700" y="2768100"/>
              <a:ext cx="17350" cy="17150"/>
            </a:xfrm>
            <a:custGeom>
              <a:avLst/>
              <a:gdLst/>
              <a:ahLst/>
              <a:cxnLst/>
              <a:rect l="l" t="t" r="r" b="b"/>
              <a:pathLst>
                <a:path w="694" h="686" extrusionOk="0">
                  <a:moveTo>
                    <a:pt x="343" y="0"/>
                  </a:moveTo>
                  <a:cubicBezTo>
                    <a:pt x="253" y="0"/>
                    <a:pt x="158" y="32"/>
                    <a:pt x="95" y="95"/>
                  </a:cubicBezTo>
                  <a:cubicBezTo>
                    <a:pt x="1" y="221"/>
                    <a:pt x="1" y="441"/>
                    <a:pt x="95" y="567"/>
                  </a:cubicBezTo>
                  <a:cubicBezTo>
                    <a:pt x="158" y="646"/>
                    <a:pt x="237" y="685"/>
                    <a:pt x="320" y="685"/>
                  </a:cubicBezTo>
                  <a:cubicBezTo>
                    <a:pt x="402" y="685"/>
                    <a:pt x="489" y="646"/>
                    <a:pt x="568" y="567"/>
                  </a:cubicBezTo>
                  <a:cubicBezTo>
                    <a:pt x="694" y="441"/>
                    <a:pt x="694" y="221"/>
                    <a:pt x="568" y="95"/>
                  </a:cubicBezTo>
                  <a:cubicBezTo>
                    <a:pt x="521" y="32"/>
                    <a:pt x="434" y="0"/>
                    <a:pt x="343"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9747" name="Google Shape;9747;p110"/>
            <p:cNvSpPr/>
            <p:nvPr/>
          </p:nvSpPr>
          <p:spPr>
            <a:xfrm>
              <a:off x="-26515100" y="2742900"/>
              <a:ext cx="17350" cy="18125"/>
            </a:xfrm>
            <a:custGeom>
              <a:avLst/>
              <a:gdLst/>
              <a:ahLst/>
              <a:cxnLst/>
              <a:rect l="l" t="t" r="r" b="b"/>
              <a:pathLst>
                <a:path w="694" h="725" extrusionOk="0">
                  <a:moveTo>
                    <a:pt x="347" y="0"/>
                  </a:moveTo>
                  <a:cubicBezTo>
                    <a:pt x="158" y="0"/>
                    <a:pt x="0" y="158"/>
                    <a:pt x="0" y="347"/>
                  </a:cubicBezTo>
                  <a:cubicBezTo>
                    <a:pt x="0" y="536"/>
                    <a:pt x="158" y="725"/>
                    <a:pt x="347" y="725"/>
                  </a:cubicBezTo>
                  <a:cubicBezTo>
                    <a:pt x="536" y="725"/>
                    <a:pt x="693" y="536"/>
                    <a:pt x="693" y="347"/>
                  </a:cubicBezTo>
                  <a:cubicBezTo>
                    <a:pt x="693" y="158"/>
                    <a:pt x="536" y="0"/>
                    <a:pt x="347"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9748" name="Google Shape;9748;p110"/>
            <p:cNvSpPr/>
            <p:nvPr/>
          </p:nvSpPr>
          <p:spPr>
            <a:xfrm>
              <a:off x="-26522200" y="2774400"/>
              <a:ext cx="17350" cy="15975"/>
            </a:xfrm>
            <a:custGeom>
              <a:avLst/>
              <a:gdLst/>
              <a:ahLst/>
              <a:cxnLst/>
              <a:rect l="l" t="t" r="r" b="b"/>
              <a:pathLst>
                <a:path w="694" h="639" extrusionOk="0">
                  <a:moveTo>
                    <a:pt x="355" y="0"/>
                  </a:moveTo>
                  <a:cubicBezTo>
                    <a:pt x="268" y="0"/>
                    <a:pt x="174" y="32"/>
                    <a:pt x="95" y="95"/>
                  </a:cubicBezTo>
                  <a:cubicBezTo>
                    <a:pt x="0" y="189"/>
                    <a:pt x="0" y="441"/>
                    <a:pt x="95" y="567"/>
                  </a:cubicBezTo>
                  <a:cubicBezTo>
                    <a:pt x="158" y="615"/>
                    <a:pt x="253" y="638"/>
                    <a:pt x="343" y="638"/>
                  </a:cubicBezTo>
                  <a:cubicBezTo>
                    <a:pt x="434" y="638"/>
                    <a:pt x="520" y="615"/>
                    <a:pt x="568" y="567"/>
                  </a:cubicBezTo>
                  <a:cubicBezTo>
                    <a:pt x="694" y="441"/>
                    <a:pt x="694" y="189"/>
                    <a:pt x="568" y="95"/>
                  </a:cubicBezTo>
                  <a:cubicBezTo>
                    <a:pt x="520" y="32"/>
                    <a:pt x="442" y="0"/>
                    <a:pt x="355"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9749" name="Google Shape;9749;p110"/>
            <p:cNvSpPr/>
            <p:nvPr/>
          </p:nvSpPr>
          <p:spPr>
            <a:xfrm>
              <a:off x="-26552925" y="2779125"/>
              <a:ext cx="17350" cy="18125"/>
            </a:xfrm>
            <a:custGeom>
              <a:avLst/>
              <a:gdLst/>
              <a:ahLst/>
              <a:cxnLst/>
              <a:rect l="l" t="t" r="r" b="b"/>
              <a:pathLst>
                <a:path w="694" h="725" extrusionOk="0">
                  <a:moveTo>
                    <a:pt x="347" y="0"/>
                  </a:moveTo>
                  <a:cubicBezTo>
                    <a:pt x="158" y="0"/>
                    <a:pt x="1" y="158"/>
                    <a:pt x="1" y="378"/>
                  </a:cubicBezTo>
                  <a:cubicBezTo>
                    <a:pt x="1" y="567"/>
                    <a:pt x="158" y="725"/>
                    <a:pt x="347" y="725"/>
                  </a:cubicBezTo>
                  <a:cubicBezTo>
                    <a:pt x="536" y="725"/>
                    <a:pt x="694" y="567"/>
                    <a:pt x="694" y="378"/>
                  </a:cubicBezTo>
                  <a:cubicBezTo>
                    <a:pt x="694" y="158"/>
                    <a:pt x="536" y="0"/>
                    <a:pt x="347"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9750" name="Google Shape;9750;p110"/>
          <p:cNvGrpSpPr/>
          <p:nvPr/>
        </p:nvGrpSpPr>
        <p:grpSpPr>
          <a:xfrm>
            <a:off x="7672450" y="3855821"/>
            <a:ext cx="472181" cy="470947"/>
            <a:chOff x="-24709875" y="1970225"/>
            <a:chExt cx="296175" cy="295400"/>
          </a:xfrm>
        </p:grpSpPr>
        <p:sp>
          <p:nvSpPr>
            <p:cNvPr id="9751" name="Google Shape;9751;p110"/>
            <p:cNvSpPr/>
            <p:nvPr/>
          </p:nvSpPr>
          <p:spPr>
            <a:xfrm>
              <a:off x="-24709875" y="1970225"/>
              <a:ext cx="296175" cy="295400"/>
            </a:xfrm>
            <a:custGeom>
              <a:avLst/>
              <a:gdLst/>
              <a:ahLst/>
              <a:cxnLst/>
              <a:rect l="l" t="t" r="r" b="b"/>
              <a:pathLst>
                <a:path w="11847" h="11816" extrusionOk="0">
                  <a:moveTo>
                    <a:pt x="9767" y="1450"/>
                  </a:moveTo>
                  <a:cubicBezTo>
                    <a:pt x="9956" y="1450"/>
                    <a:pt x="10366" y="1545"/>
                    <a:pt x="10681" y="1734"/>
                  </a:cubicBezTo>
                  <a:cubicBezTo>
                    <a:pt x="11027" y="1923"/>
                    <a:pt x="11153" y="2080"/>
                    <a:pt x="11153" y="2175"/>
                  </a:cubicBezTo>
                  <a:cubicBezTo>
                    <a:pt x="11153" y="2238"/>
                    <a:pt x="11027" y="2395"/>
                    <a:pt x="10681" y="2584"/>
                  </a:cubicBezTo>
                  <a:cubicBezTo>
                    <a:pt x="10334" y="2773"/>
                    <a:pt x="9956" y="2868"/>
                    <a:pt x="9767" y="2868"/>
                  </a:cubicBezTo>
                  <a:cubicBezTo>
                    <a:pt x="9389" y="2868"/>
                    <a:pt x="9042" y="2553"/>
                    <a:pt x="9042" y="2175"/>
                  </a:cubicBezTo>
                  <a:cubicBezTo>
                    <a:pt x="9105" y="1765"/>
                    <a:pt x="9420" y="1450"/>
                    <a:pt x="9767" y="1450"/>
                  </a:cubicBezTo>
                  <a:close/>
                  <a:moveTo>
                    <a:pt x="4915" y="694"/>
                  </a:moveTo>
                  <a:cubicBezTo>
                    <a:pt x="5671" y="694"/>
                    <a:pt x="6301" y="1324"/>
                    <a:pt x="6301" y="2080"/>
                  </a:cubicBezTo>
                  <a:cubicBezTo>
                    <a:pt x="6301" y="2584"/>
                    <a:pt x="6018" y="3025"/>
                    <a:pt x="5577" y="3309"/>
                  </a:cubicBezTo>
                  <a:lnTo>
                    <a:pt x="5577" y="3151"/>
                  </a:lnTo>
                  <a:cubicBezTo>
                    <a:pt x="5577" y="2553"/>
                    <a:pt x="5104" y="2112"/>
                    <a:pt x="4569" y="2112"/>
                  </a:cubicBezTo>
                  <a:lnTo>
                    <a:pt x="1418" y="2112"/>
                  </a:lnTo>
                  <a:cubicBezTo>
                    <a:pt x="1009" y="2112"/>
                    <a:pt x="693" y="1797"/>
                    <a:pt x="693" y="1419"/>
                  </a:cubicBezTo>
                  <a:cubicBezTo>
                    <a:pt x="693" y="1009"/>
                    <a:pt x="1009" y="694"/>
                    <a:pt x="1418" y="694"/>
                  </a:cubicBezTo>
                  <a:close/>
                  <a:moveTo>
                    <a:pt x="725" y="2584"/>
                  </a:moveTo>
                  <a:cubicBezTo>
                    <a:pt x="914" y="2710"/>
                    <a:pt x="1135" y="2805"/>
                    <a:pt x="1418" y="2805"/>
                  </a:cubicBezTo>
                  <a:lnTo>
                    <a:pt x="4569" y="2805"/>
                  </a:lnTo>
                  <a:cubicBezTo>
                    <a:pt x="4758" y="2805"/>
                    <a:pt x="4915" y="2962"/>
                    <a:pt x="4915" y="3151"/>
                  </a:cubicBezTo>
                  <a:lnTo>
                    <a:pt x="4915" y="3498"/>
                  </a:lnTo>
                  <a:lnTo>
                    <a:pt x="2458" y="3498"/>
                  </a:lnTo>
                  <a:cubicBezTo>
                    <a:pt x="1859" y="3498"/>
                    <a:pt x="1418" y="3970"/>
                    <a:pt x="1418" y="4538"/>
                  </a:cubicBezTo>
                  <a:lnTo>
                    <a:pt x="1418" y="6270"/>
                  </a:lnTo>
                  <a:cubicBezTo>
                    <a:pt x="1009" y="6113"/>
                    <a:pt x="725" y="5703"/>
                    <a:pt x="725" y="5262"/>
                  </a:cubicBezTo>
                  <a:lnTo>
                    <a:pt x="725" y="2584"/>
                  </a:lnTo>
                  <a:close/>
                  <a:moveTo>
                    <a:pt x="10460" y="4884"/>
                  </a:moveTo>
                  <a:cubicBezTo>
                    <a:pt x="10870" y="4884"/>
                    <a:pt x="11185" y="5199"/>
                    <a:pt x="11185" y="5577"/>
                  </a:cubicBezTo>
                  <a:cubicBezTo>
                    <a:pt x="11185" y="5987"/>
                    <a:pt x="10870" y="6302"/>
                    <a:pt x="10460" y="6302"/>
                  </a:cubicBezTo>
                  <a:cubicBezTo>
                    <a:pt x="10082" y="6302"/>
                    <a:pt x="9767" y="5987"/>
                    <a:pt x="9767" y="5577"/>
                  </a:cubicBezTo>
                  <a:cubicBezTo>
                    <a:pt x="9767" y="5199"/>
                    <a:pt x="10082" y="4884"/>
                    <a:pt x="10460" y="4884"/>
                  </a:cubicBezTo>
                  <a:close/>
                  <a:moveTo>
                    <a:pt x="6301" y="3655"/>
                  </a:moveTo>
                  <a:lnTo>
                    <a:pt x="6301" y="6648"/>
                  </a:lnTo>
                  <a:cubicBezTo>
                    <a:pt x="6301" y="7247"/>
                    <a:pt x="5829" y="7657"/>
                    <a:pt x="5293" y="7657"/>
                  </a:cubicBezTo>
                  <a:lnTo>
                    <a:pt x="2458" y="7657"/>
                  </a:lnTo>
                  <a:cubicBezTo>
                    <a:pt x="2439" y="7659"/>
                    <a:pt x="2420" y="7661"/>
                    <a:pt x="2402" y="7661"/>
                  </a:cubicBezTo>
                  <a:cubicBezTo>
                    <a:pt x="2211" y="7661"/>
                    <a:pt x="2080" y="7517"/>
                    <a:pt x="2080" y="7373"/>
                  </a:cubicBezTo>
                  <a:lnTo>
                    <a:pt x="2080" y="4538"/>
                  </a:lnTo>
                  <a:cubicBezTo>
                    <a:pt x="2080" y="4317"/>
                    <a:pt x="2237" y="4159"/>
                    <a:pt x="2458" y="4159"/>
                  </a:cubicBezTo>
                  <a:lnTo>
                    <a:pt x="4915" y="4159"/>
                  </a:lnTo>
                  <a:cubicBezTo>
                    <a:pt x="5073" y="4159"/>
                    <a:pt x="5199" y="4159"/>
                    <a:pt x="5325" y="4128"/>
                  </a:cubicBezTo>
                  <a:lnTo>
                    <a:pt x="5356" y="4128"/>
                  </a:lnTo>
                  <a:cubicBezTo>
                    <a:pt x="5703" y="4033"/>
                    <a:pt x="6081" y="3907"/>
                    <a:pt x="6301" y="3655"/>
                  </a:cubicBezTo>
                  <a:close/>
                  <a:moveTo>
                    <a:pt x="1387" y="1"/>
                  </a:moveTo>
                  <a:cubicBezTo>
                    <a:pt x="630" y="1"/>
                    <a:pt x="0" y="631"/>
                    <a:pt x="0" y="1387"/>
                  </a:cubicBezTo>
                  <a:lnTo>
                    <a:pt x="0" y="5231"/>
                  </a:lnTo>
                  <a:cubicBezTo>
                    <a:pt x="0" y="6050"/>
                    <a:pt x="599" y="6774"/>
                    <a:pt x="1387" y="6932"/>
                  </a:cubicBezTo>
                  <a:lnTo>
                    <a:pt x="1387" y="7310"/>
                  </a:lnTo>
                  <a:cubicBezTo>
                    <a:pt x="1387" y="7909"/>
                    <a:pt x="1859" y="8350"/>
                    <a:pt x="2395" y="8350"/>
                  </a:cubicBezTo>
                  <a:lnTo>
                    <a:pt x="3497" y="8350"/>
                  </a:lnTo>
                  <a:cubicBezTo>
                    <a:pt x="3592" y="10271"/>
                    <a:pt x="5199" y="11815"/>
                    <a:pt x="7120" y="11815"/>
                  </a:cubicBezTo>
                  <a:cubicBezTo>
                    <a:pt x="8066" y="11815"/>
                    <a:pt x="9011" y="11311"/>
                    <a:pt x="9735" y="10366"/>
                  </a:cubicBezTo>
                  <a:cubicBezTo>
                    <a:pt x="10397" y="9515"/>
                    <a:pt x="10744" y="8413"/>
                    <a:pt x="10744" y="7467"/>
                  </a:cubicBezTo>
                  <a:lnTo>
                    <a:pt x="10744" y="6932"/>
                  </a:lnTo>
                  <a:cubicBezTo>
                    <a:pt x="11342" y="6774"/>
                    <a:pt x="11783" y="6207"/>
                    <a:pt x="11783" y="5577"/>
                  </a:cubicBezTo>
                  <a:cubicBezTo>
                    <a:pt x="11846" y="4853"/>
                    <a:pt x="11216" y="4222"/>
                    <a:pt x="10460" y="4222"/>
                  </a:cubicBezTo>
                  <a:cubicBezTo>
                    <a:pt x="9735" y="4222"/>
                    <a:pt x="9105" y="4821"/>
                    <a:pt x="9105" y="5577"/>
                  </a:cubicBezTo>
                  <a:cubicBezTo>
                    <a:pt x="9105" y="6207"/>
                    <a:pt x="9515" y="6774"/>
                    <a:pt x="10113" y="6932"/>
                  </a:cubicBezTo>
                  <a:lnTo>
                    <a:pt x="10113" y="7467"/>
                  </a:lnTo>
                  <a:cubicBezTo>
                    <a:pt x="10113" y="8318"/>
                    <a:pt x="9798" y="9200"/>
                    <a:pt x="9200" y="9956"/>
                  </a:cubicBezTo>
                  <a:cubicBezTo>
                    <a:pt x="8633" y="10712"/>
                    <a:pt x="7908" y="11154"/>
                    <a:pt x="7152" y="11154"/>
                  </a:cubicBezTo>
                  <a:cubicBezTo>
                    <a:pt x="5577" y="11154"/>
                    <a:pt x="4317" y="9925"/>
                    <a:pt x="4222" y="8381"/>
                  </a:cubicBezTo>
                  <a:lnTo>
                    <a:pt x="4915" y="8381"/>
                  </a:lnTo>
                  <a:cubicBezTo>
                    <a:pt x="5010" y="8791"/>
                    <a:pt x="5199" y="9106"/>
                    <a:pt x="5514" y="9358"/>
                  </a:cubicBezTo>
                  <a:cubicBezTo>
                    <a:pt x="5829" y="9641"/>
                    <a:pt x="6238" y="9767"/>
                    <a:pt x="6648" y="9767"/>
                  </a:cubicBezTo>
                  <a:cubicBezTo>
                    <a:pt x="6742" y="9767"/>
                    <a:pt x="6837" y="9767"/>
                    <a:pt x="6931" y="9736"/>
                  </a:cubicBezTo>
                  <a:cubicBezTo>
                    <a:pt x="7751" y="9610"/>
                    <a:pt x="8381" y="8822"/>
                    <a:pt x="8381" y="7940"/>
                  </a:cubicBezTo>
                  <a:lnTo>
                    <a:pt x="8381" y="3183"/>
                  </a:lnTo>
                  <a:cubicBezTo>
                    <a:pt x="8381" y="3025"/>
                    <a:pt x="8412" y="2868"/>
                    <a:pt x="8507" y="2710"/>
                  </a:cubicBezTo>
                  <a:cubicBezTo>
                    <a:pt x="8696" y="3183"/>
                    <a:pt x="9200" y="3529"/>
                    <a:pt x="9767" y="3529"/>
                  </a:cubicBezTo>
                  <a:cubicBezTo>
                    <a:pt x="10113" y="3529"/>
                    <a:pt x="10586" y="3435"/>
                    <a:pt x="11027" y="3183"/>
                  </a:cubicBezTo>
                  <a:cubicBezTo>
                    <a:pt x="11563" y="2899"/>
                    <a:pt x="11846" y="2521"/>
                    <a:pt x="11846" y="2175"/>
                  </a:cubicBezTo>
                  <a:cubicBezTo>
                    <a:pt x="11846" y="1765"/>
                    <a:pt x="11531" y="1419"/>
                    <a:pt x="11027" y="1135"/>
                  </a:cubicBezTo>
                  <a:cubicBezTo>
                    <a:pt x="10618" y="946"/>
                    <a:pt x="10113" y="788"/>
                    <a:pt x="9767" y="788"/>
                  </a:cubicBezTo>
                  <a:cubicBezTo>
                    <a:pt x="9137" y="788"/>
                    <a:pt x="8570" y="1198"/>
                    <a:pt x="8412" y="1765"/>
                  </a:cubicBezTo>
                  <a:cubicBezTo>
                    <a:pt x="7940" y="2080"/>
                    <a:pt x="7688" y="2647"/>
                    <a:pt x="7688" y="3183"/>
                  </a:cubicBezTo>
                  <a:lnTo>
                    <a:pt x="7688" y="7940"/>
                  </a:lnTo>
                  <a:cubicBezTo>
                    <a:pt x="7688" y="8507"/>
                    <a:pt x="7310" y="8980"/>
                    <a:pt x="6805" y="9043"/>
                  </a:cubicBezTo>
                  <a:cubicBezTo>
                    <a:pt x="6740" y="9056"/>
                    <a:pt x="6674" y="9062"/>
                    <a:pt x="6609" y="9062"/>
                  </a:cubicBezTo>
                  <a:cubicBezTo>
                    <a:pt x="6363" y="9062"/>
                    <a:pt x="6129" y="8972"/>
                    <a:pt x="5955" y="8822"/>
                  </a:cubicBezTo>
                  <a:cubicBezTo>
                    <a:pt x="5797" y="8696"/>
                    <a:pt x="5671" y="8507"/>
                    <a:pt x="5640" y="8350"/>
                  </a:cubicBezTo>
                  <a:cubicBezTo>
                    <a:pt x="6427" y="8161"/>
                    <a:pt x="6963" y="7467"/>
                    <a:pt x="6963" y="6648"/>
                  </a:cubicBezTo>
                  <a:lnTo>
                    <a:pt x="6963" y="2427"/>
                  </a:lnTo>
                  <a:lnTo>
                    <a:pt x="6963" y="2080"/>
                  </a:lnTo>
                  <a:cubicBezTo>
                    <a:pt x="6963" y="946"/>
                    <a:pt x="6018" y="1"/>
                    <a:pt x="4884"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9752" name="Google Shape;9752;p110"/>
            <p:cNvSpPr/>
            <p:nvPr/>
          </p:nvSpPr>
          <p:spPr>
            <a:xfrm>
              <a:off x="-24639775" y="2092325"/>
              <a:ext cx="17350" cy="17350"/>
            </a:xfrm>
            <a:custGeom>
              <a:avLst/>
              <a:gdLst/>
              <a:ahLst/>
              <a:cxnLst/>
              <a:rect l="l" t="t" r="r" b="b"/>
              <a:pathLst>
                <a:path w="694" h="694" extrusionOk="0">
                  <a:moveTo>
                    <a:pt x="347" y="0"/>
                  </a:moveTo>
                  <a:cubicBezTo>
                    <a:pt x="158" y="0"/>
                    <a:pt x="0" y="158"/>
                    <a:pt x="0" y="347"/>
                  </a:cubicBezTo>
                  <a:cubicBezTo>
                    <a:pt x="0" y="536"/>
                    <a:pt x="158" y="693"/>
                    <a:pt x="347" y="693"/>
                  </a:cubicBezTo>
                  <a:cubicBezTo>
                    <a:pt x="536" y="693"/>
                    <a:pt x="693" y="536"/>
                    <a:pt x="693" y="347"/>
                  </a:cubicBezTo>
                  <a:cubicBezTo>
                    <a:pt x="693" y="158"/>
                    <a:pt x="536" y="0"/>
                    <a:pt x="347"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9753" name="Google Shape;9753;p110"/>
          <p:cNvGrpSpPr/>
          <p:nvPr/>
        </p:nvGrpSpPr>
        <p:grpSpPr>
          <a:xfrm>
            <a:off x="7715137" y="4451659"/>
            <a:ext cx="386809" cy="472143"/>
            <a:chOff x="-24683100" y="2340425"/>
            <a:chExt cx="242625" cy="296150"/>
          </a:xfrm>
        </p:grpSpPr>
        <p:sp>
          <p:nvSpPr>
            <p:cNvPr id="9754" name="Google Shape;9754;p110"/>
            <p:cNvSpPr/>
            <p:nvPr/>
          </p:nvSpPr>
          <p:spPr>
            <a:xfrm>
              <a:off x="-24683100" y="2392400"/>
              <a:ext cx="104000" cy="244175"/>
            </a:xfrm>
            <a:custGeom>
              <a:avLst/>
              <a:gdLst/>
              <a:ahLst/>
              <a:cxnLst/>
              <a:rect l="l" t="t" r="r" b="b"/>
              <a:pathLst>
                <a:path w="4160" h="9767" extrusionOk="0">
                  <a:moveTo>
                    <a:pt x="2080" y="725"/>
                  </a:moveTo>
                  <a:cubicBezTo>
                    <a:pt x="2836" y="725"/>
                    <a:pt x="3466" y="1324"/>
                    <a:pt x="3466" y="2080"/>
                  </a:cubicBezTo>
                  <a:lnTo>
                    <a:pt x="3466" y="4537"/>
                  </a:lnTo>
                  <a:lnTo>
                    <a:pt x="694" y="4537"/>
                  </a:lnTo>
                  <a:lnTo>
                    <a:pt x="694" y="2080"/>
                  </a:lnTo>
                  <a:cubicBezTo>
                    <a:pt x="694" y="1324"/>
                    <a:pt x="1324" y="725"/>
                    <a:pt x="2080" y="725"/>
                  </a:cubicBezTo>
                  <a:close/>
                  <a:moveTo>
                    <a:pt x="3466" y="5230"/>
                  </a:moveTo>
                  <a:lnTo>
                    <a:pt x="3466" y="7688"/>
                  </a:lnTo>
                  <a:cubicBezTo>
                    <a:pt x="3498" y="8475"/>
                    <a:pt x="2867" y="9074"/>
                    <a:pt x="2080" y="9074"/>
                  </a:cubicBezTo>
                  <a:cubicBezTo>
                    <a:pt x="1324" y="9074"/>
                    <a:pt x="694" y="8444"/>
                    <a:pt x="694" y="7688"/>
                  </a:cubicBezTo>
                  <a:lnTo>
                    <a:pt x="694" y="5230"/>
                  </a:lnTo>
                  <a:close/>
                  <a:moveTo>
                    <a:pt x="2080" y="0"/>
                  </a:moveTo>
                  <a:cubicBezTo>
                    <a:pt x="946" y="0"/>
                    <a:pt x="1" y="946"/>
                    <a:pt x="1" y="2080"/>
                  </a:cubicBezTo>
                  <a:lnTo>
                    <a:pt x="1" y="7688"/>
                  </a:lnTo>
                  <a:cubicBezTo>
                    <a:pt x="1" y="8822"/>
                    <a:pt x="946" y="9767"/>
                    <a:pt x="2080" y="9767"/>
                  </a:cubicBezTo>
                  <a:cubicBezTo>
                    <a:pt x="3214" y="9767"/>
                    <a:pt x="4159" y="8822"/>
                    <a:pt x="4159" y="7688"/>
                  </a:cubicBezTo>
                  <a:lnTo>
                    <a:pt x="4159" y="2080"/>
                  </a:lnTo>
                  <a:cubicBezTo>
                    <a:pt x="4159" y="946"/>
                    <a:pt x="3246" y="0"/>
                    <a:pt x="2080"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9755" name="Google Shape;9755;p110"/>
            <p:cNvSpPr/>
            <p:nvPr/>
          </p:nvSpPr>
          <p:spPr>
            <a:xfrm>
              <a:off x="-24649225" y="2541250"/>
              <a:ext cx="26800" cy="60675"/>
            </a:xfrm>
            <a:custGeom>
              <a:avLst/>
              <a:gdLst/>
              <a:ahLst/>
              <a:cxnLst/>
              <a:rect l="l" t="t" r="r" b="b"/>
              <a:pathLst>
                <a:path w="1072" h="2427" extrusionOk="0">
                  <a:moveTo>
                    <a:pt x="378" y="1"/>
                  </a:moveTo>
                  <a:cubicBezTo>
                    <a:pt x="158" y="1"/>
                    <a:pt x="0" y="158"/>
                    <a:pt x="0" y="347"/>
                  </a:cubicBezTo>
                  <a:lnTo>
                    <a:pt x="0" y="1734"/>
                  </a:lnTo>
                  <a:cubicBezTo>
                    <a:pt x="0" y="2112"/>
                    <a:pt x="315" y="2427"/>
                    <a:pt x="725" y="2427"/>
                  </a:cubicBezTo>
                  <a:cubicBezTo>
                    <a:pt x="914" y="2427"/>
                    <a:pt x="1071" y="2269"/>
                    <a:pt x="1071" y="2080"/>
                  </a:cubicBezTo>
                  <a:cubicBezTo>
                    <a:pt x="1071" y="1891"/>
                    <a:pt x="914" y="1734"/>
                    <a:pt x="725" y="1734"/>
                  </a:cubicBezTo>
                  <a:lnTo>
                    <a:pt x="725" y="347"/>
                  </a:lnTo>
                  <a:cubicBezTo>
                    <a:pt x="725" y="158"/>
                    <a:pt x="567" y="1"/>
                    <a:pt x="378"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9756" name="Google Shape;9756;p110"/>
            <p:cNvSpPr/>
            <p:nvPr/>
          </p:nvSpPr>
          <p:spPr>
            <a:xfrm>
              <a:off x="-24544475" y="2340425"/>
              <a:ext cx="104000" cy="244175"/>
            </a:xfrm>
            <a:custGeom>
              <a:avLst/>
              <a:gdLst/>
              <a:ahLst/>
              <a:cxnLst/>
              <a:rect l="l" t="t" r="r" b="b"/>
              <a:pathLst>
                <a:path w="4160" h="9767" extrusionOk="0">
                  <a:moveTo>
                    <a:pt x="2080" y="693"/>
                  </a:moveTo>
                  <a:cubicBezTo>
                    <a:pt x="2836" y="693"/>
                    <a:pt x="3466" y="1323"/>
                    <a:pt x="3466" y="2079"/>
                  </a:cubicBezTo>
                  <a:lnTo>
                    <a:pt x="3466" y="4537"/>
                  </a:lnTo>
                  <a:lnTo>
                    <a:pt x="694" y="4537"/>
                  </a:lnTo>
                  <a:lnTo>
                    <a:pt x="694" y="2079"/>
                  </a:lnTo>
                  <a:cubicBezTo>
                    <a:pt x="694" y="1323"/>
                    <a:pt x="1324" y="693"/>
                    <a:pt x="2080" y="693"/>
                  </a:cubicBezTo>
                  <a:close/>
                  <a:moveTo>
                    <a:pt x="3466" y="5261"/>
                  </a:moveTo>
                  <a:lnTo>
                    <a:pt x="3466" y="7719"/>
                  </a:lnTo>
                  <a:cubicBezTo>
                    <a:pt x="3497" y="8475"/>
                    <a:pt x="2867" y="9105"/>
                    <a:pt x="2080" y="9105"/>
                  </a:cubicBezTo>
                  <a:cubicBezTo>
                    <a:pt x="1324" y="9105"/>
                    <a:pt x="694" y="8475"/>
                    <a:pt x="694" y="7719"/>
                  </a:cubicBezTo>
                  <a:lnTo>
                    <a:pt x="694" y="5261"/>
                  </a:lnTo>
                  <a:close/>
                  <a:moveTo>
                    <a:pt x="2080" y="0"/>
                  </a:moveTo>
                  <a:cubicBezTo>
                    <a:pt x="946" y="0"/>
                    <a:pt x="0" y="945"/>
                    <a:pt x="0" y="2079"/>
                  </a:cubicBezTo>
                  <a:lnTo>
                    <a:pt x="0" y="7687"/>
                  </a:lnTo>
                  <a:cubicBezTo>
                    <a:pt x="0" y="8821"/>
                    <a:pt x="946" y="9767"/>
                    <a:pt x="2080" y="9767"/>
                  </a:cubicBezTo>
                  <a:cubicBezTo>
                    <a:pt x="3214" y="9767"/>
                    <a:pt x="4159" y="8821"/>
                    <a:pt x="4159" y="7687"/>
                  </a:cubicBezTo>
                  <a:lnTo>
                    <a:pt x="4159" y="2079"/>
                  </a:lnTo>
                  <a:cubicBezTo>
                    <a:pt x="4159" y="945"/>
                    <a:pt x="3277" y="0"/>
                    <a:pt x="2080"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9757" name="Google Shape;9757;p110"/>
            <p:cNvSpPr/>
            <p:nvPr/>
          </p:nvSpPr>
          <p:spPr>
            <a:xfrm>
              <a:off x="-24501150" y="2375075"/>
              <a:ext cx="26800" cy="60675"/>
            </a:xfrm>
            <a:custGeom>
              <a:avLst/>
              <a:gdLst/>
              <a:ahLst/>
              <a:cxnLst/>
              <a:rect l="l" t="t" r="r" b="b"/>
              <a:pathLst>
                <a:path w="1072" h="2427" extrusionOk="0">
                  <a:moveTo>
                    <a:pt x="347" y="0"/>
                  </a:moveTo>
                  <a:cubicBezTo>
                    <a:pt x="158" y="0"/>
                    <a:pt x="0" y="158"/>
                    <a:pt x="0" y="347"/>
                  </a:cubicBezTo>
                  <a:cubicBezTo>
                    <a:pt x="32" y="536"/>
                    <a:pt x="189" y="693"/>
                    <a:pt x="347" y="693"/>
                  </a:cubicBezTo>
                  <a:lnTo>
                    <a:pt x="347" y="2080"/>
                  </a:lnTo>
                  <a:cubicBezTo>
                    <a:pt x="347" y="2269"/>
                    <a:pt x="504" y="2426"/>
                    <a:pt x="693" y="2426"/>
                  </a:cubicBezTo>
                  <a:cubicBezTo>
                    <a:pt x="914" y="2426"/>
                    <a:pt x="1071" y="2269"/>
                    <a:pt x="1071" y="2080"/>
                  </a:cubicBezTo>
                  <a:lnTo>
                    <a:pt x="1071" y="693"/>
                  </a:lnTo>
                  <a:cubicBezTo>
                    <a:pt x="1071" y="315"/>
                    <a:pt x="756" y="0"/>
                    <a:pt x="347"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sp>
        <p:nvSpPr>
          <p:cNvPr id="9758" name="Google Shape;9758;p110"/>
          <p:cNvSpPr/>
          <p:nvPr/>
        </p:nvSpPr>
        <p:spPr>
          <a:xfrm>
            <a:off x="7715720" y="5039880"/>
            <a:ext cx="386769" cy="472181"/>
          </a:xfrm>
          <a:custGeom>
            <a:avLst/>
            <a:gdLst/>
            <a:ahLst/>
            <a:cxnLst/>
            <a:rect l="l" t="t" r="r" b="b"/>
            <a:pathLst>
              <a:path w="9704" h="11847" extrusionOk="0">
                <a:moveTo>
                  <a:pt x="7593" y="693"/>
                </a:moveTo>
                <a:lnTo>
                  <a:pt x="7593" y="1418"/>
                </a:lnTo>
                <a:lnTo>
                  <a:pt x="6900" y="1418"/>
                </a:lnTo>
                <a:lnTo>
                  <a:pt x="6900" y="693"/>
                </a:lnTo>
                <a:close/>
                <a:moveTo>
                  <a:pt x="7939" y="2080"/>
                </a:moveTo>
                <a:cubicBezTo>
                  <a:pt x="8160" y="2080"/>
                  <a:pt x="8317" y="2237"/>
                  <a:pt x="8317" y="2426"/>
                </a:cubicBezTo>
                <a:lnTo>
                  <a:pt x="8317" y="5577"/>
                </a:lnTo>
                <a:lnTo>
                  <a:pt x="6868" y="5577"/>
                </a:lnTo>
                <a:cubicBezTo>
                  <a:pt x="6900" y="5482"/>
                  <a:pt x="6931" y="5356"/>
                  <a:pt x="6931" y="5230"/>
                </a:cubicBezTo>
                <a:cubicBezTo>
                  <a:pt x="6931" y="4789"/>
                  <a:pt x="6648" y="4411"/>
                  <a:pt x="6207" y="4254"/>
                </a:cubicBezTo>
                <a:lnTo>
                  <a:pt x="6207" y="2426"/>
                </a:lnTo>
                <a:cubicBezTo>
                  <a:pt x="6207" y="2237"/>
                  <a:pt x="6364" y="2080"/>
                  <a:pt x="6585" y="2080"/>
                </a:cubicBezTo>
                <a:close/>
                <a:moveTo>
                  <a:pt x="5860" y="4915"/>
                </a:moveTo>
                <a:cubicBezTo>
                  <a:pt x="6049" y="4915"/>
                  <a:pt x="6207" y="5073"/>
                  <a:pt x="6207" y="5262"/>
                </a:cubicBezTo>
                <a:cubicBezTo>
                  <a:pt x="6207" y="5482"/>
                  <a:pt x="6049" y="5640"/>
                  <a:pt x="5860" y="5640"/>
                </a:cubicBezTo>
                <a:cubicBezTo>
                  <a:pt x="5671" y="5640"/>
                  <a:pt x="5513" y="5482"/>
                  <a:pt x="5513" y="5262"/>
                </a:cubicBezTo>
                <a:cubicBezTo>
                  <a:pt x="5545" y="5073"/>
                  <a:pt x="5671" y="4915"/>
                  <a:pt x="5860" y="4915"/>
                </a:cubicBezTo>
                <a:close/>
                <a:moveTo>
                  <a:pt x="8317" y="6270"/>
                </a:moveTo>
                <a:lnTo>
                  <a:pt x="8317" y="6616"/>
                </a:lnTo>
                <a:cubicBezTo>
                  <a:pt x="8317" y="6837"/>
                  <a:pt x="8160" y="6963"/>
                  <a:pt x="7939" y="6963"/>
                </a:cubicBezTo>
                <a:lnTo>
                  <a:pt x="6585" y="6963"/>
                </a:lnTo>
                <a:cubicBezTo>
                  <a:pt x="6364" y="6963"/>
                  <a:pt x="6207" y="6805"/>
                  <a:pt x="6207" y="6616"/>
                </a:cubicBezTo>
                <a:lnTo>
                  <a:pt x="6207" y="6270"/>
                </a:lnTo>
                <a:close/>
                <a:moveTo>
                  <a:pt x="7593" y="7688"/>
                </a:moveTo>
                <a:lnTo>
                  <a:pt x="7593" y="8381"/>
                </a:lnTo>
                <a:lnTo>
                  <a:pt x="6900" y="8381"/>
                </a:lnTo>
                <a:lnTo>
                  <a:pt x="6900" y="7688"/>
                </a:lnTo>
                <a:close/>
                <a:moveTo>
                  <a:pt x="5513" y="3529"/>
                </a:moveTo>
                <a:lnTo>
                  <a:pt x="5513" y="4285"/>
                </a:lnTo>
                <a:cubicBezTo>
                  <a:pt x="5198" y="4411"/>
                  <a:pt x="4946" y="4632"/>
                  <a:pt x="4883" y="4947"/>
                </a:cubicBezTo>
                <a:cubicBezTo>
                  <a:pt x="4064" y="5104"/>
                  <a:pt x="3434" y="5829"/>
                  <a:pt x="3434" y="6648"/>
                </a:cubicBezTo>
                <a:lnTo>
                  <a:pt x="3434" y="10113"/>
                </a:lnTo>
                <a:cubicBezTo>
                  <a:pt x="3434" y="10302"/>
                  <a:pt x="3592" y="10460"/>
                  <a:pt x="3781" y="10460"/>
                </a:cubicBezTo>
                <a:lnTo>
                  <a:pt x="5639" y="10460"/>
                </a:lnTo>
                <a:lnTo>
                  <a:pt x="5986" y="11185"/>
                </a:lnTo>
                <a:lnTo>
                  <a:pt x="2048" y="11185"/>
                </a:lnTo>
                <a:lnTo>
                  <a:pt x="2048" y="11153"/>
                </a:lnTo>
                <a:lnTo>
                  <a:pt x="2048" y="7309"/>
                </a:lnTo>
                <a:cubicBezTo>
                  <a:pt x="2048" y="5356"/>
                  <a:pt x="3592" y="3686"/>
                  <a:pt x="5513" y="3529"/>
                </a:cubicBezTo>
                <a:close/>
                <a:moveTo>
                  <a:pt x="5923" y="0"/>
                </a:moveTo>
                <a:cubicBezTo>
                  <a:pt x="5702" y="0"/>
                  <a:pt x="5545" y="158"/>
                  <a:pt x="5545" y="347"/>
                </a:cubicBezTo>
                <a:cubicBezTo>
                  <a:pt x="5545" y="536"/>
                  <a:pt x="5702" y="693"/>
                  <a:pt x="5923" y="693"/>
                </a:cubicBezTo>
                <a:lnTo>
                  <a:pt x="6270" y="693"/>
                </a:lnTo>
                <a:lnTo>
                  <a:pt x="6270" y="1450"/>
                </a:lnTo>
                <a:cubicBezTo>
                  <a:pt x="5860" y="1607"/>
                  <a:pt x="5545" y="1954"/>
                  <a:pt x="5545" y="2426"/>
                </a:cubicBezTo>
                <a:lnTo>
                  <a:pt x="5545" y="2836"/>
                </a:lnTo>
                <a:cubicBezTo>
                  <a:pt x="3245" y="3025"/>
                  <a:pt x="1386" y="4947"/>
                  <a:pt x="1386" y="7309"/>
                </a:cubicBezTo>
                <a:lnTo>
                  <a:pt x="1386" y="11153"/>
                </a:lnTo>
                <a:lnTo>
                  <a:pt x="347" y="11153"/>
                </a:lnTo>
                <a:cubicBezTo>
                  <a:pt x="158" y="11153"/>
                  <a:pt x="0" y="11311"/>
                  <a:pt x="0" y="11500"/>
                </a:cubicBezTo>
                <a:cubicBezTo>
                  <a:pt x="0" y="11689"/>
                  <a:pt x="158" y="11846"/>
                  <a:pt x="347" y="11846"/>
                </a:cubicBezTo>
                <a:lnTo>
                  <a:pt x="7971" y="11846"/>
                </a:lnTo>
                <a:cubicBezTo>
                  <a:pt x="8160" y="11846"/>
                  <a:pt x="8317" y="11689"/>
                  <a:pt x="8317" y="11500"/>
                </a:cubicBezTo>
                <a:cubicBezTo>
                  <a:pt x="8317" y="11311"/>
                  <a:pt x="8160" y="11153"/>
                  <a:pt x="7971" y="11153"/>
                </a:cubicBezTo>
                <a:lnTo>
                  <a:pt x="6774" y="11153"/>
                </a:lnTo>
                <a:lnTo>
                  <a:pt x="6427" y="10428"/>
                </a:lnTo>
                <a:lnTo>
                  <a:pt x="9326" y="10428"/>
                </a:lnTo>
                <a:cubicBezTo>
                  <a:pt x="9546" y="10428"/>
                  <a:pt x="9704" y="10271"/>
                  <a:pt x="9704" y="10082"/>
                </a:cubicBezTo>
                <a:cubicBezTo>
                  <a:pt x="9672" y="9924"/>
                  <a:pt x="9515" y="9767"/>
                  <a:pt x="9326" y="9767"/>
                </a:cubicBezTo>
                <a:lnTo>
                  <a:pt x="4127" y="9767"/>
                </a:lnTo>
                <a:lnTo>
                  <a:pt x="4127" y="6648"/>
                </a:lnTo>
                <a:cubicBezTo>
                  <a:pt x="4127" y="6175"/>
                  <a:pt x="4442" y="5797"/>
                  <a:pt x="4883" y="5671"/>
                </a:cubicBezTo>
                <a:cubicBezTo>
                  <a:pt x="5009" y="5955"/>
                  <a:pt x="5230" y="6175"/>
                  <a:pt x="5513" y="6270"/>
                </a:cubicBezTo>
                <a:lnTo>
                  <a:pt x="5513" y="6648"/>
                </a:lnTo>
                <a:cubicBezTo>
                  <a:pt x="5513" y="7089"/>
                  <a:pt x="5797" y="7467"/>
                  <a:pt x="6238" y="7625"/>
                </a:cubicBezTo>
                <a:lnTo>
                  <a:pt x="6238" y="8727"/>
                </a:lnTo>
                <a:cubicBezTo>
                  <a:pt x="6238" y="8948"/>
                  <a:pt x="6396" y="9105"/>
                  <a:pt x="6585" y="9105"/>
                </a:cubicBezTo>
                <a:lnTo>
                  <a:pt x="7971" y="9105"/>
                </a:lnTo>
                <a:cubicBezTo>
                  <a:pt x="8160" y="9105"/>
                  <a:pt x="8317" y="8948"/>
                  <a:pt x="8317" y="8727"/>
                </a:cubicBezTo>
                <a:lnTo>
                  <a:pt x="8317" y="7625"/>
                </a:lnTo>
                <a:cubicBezTo>
                  <a:pt x="8695" y="7467"/>
                  <a:pt x="9010" y="7120"/>
                  <a:pt x="9010" y="6648"/>
                </a:cubicBezTo>
                <a:lnTo>
                  <a:pt x="9010" y="2426"/>
                </a:lnTo>
                <a:cubicBezTo>
                  <a:pt x="9010" y="2017"/>
                  <a:pt x="8758" y="1607"/>
                  <a:pt x="8317" y="1450"/>
                </a:cubicBezTo>
                <a:lnTo>
                  <a:pt x="8317" y="693"/>
                </a:lnTo>
                <a:lnTo>
                  <a:pt x="8664" y="693"/>
                </a:lnTo>
                <a:cubicBezTo>
                  <a:pt x="8853" y="693"/>
                  <a:pt x="9010" y="536"/>
                  <a:pt x="9010" y="347"/>
                </a:cubicBezTo>
                <a:cubicBezTo>
                  <a:pt x="9010" y="158"/>
                  <a:pt x="8853" y="0"/>
                  <a:pt x="8664"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nvGrpSpPr>
          <p:cNvPr id="9759" name="Google Shape;9759;p110"/>
          <p:cNvGrpSpPr/>
          <p:nvPr/>
        </p:nvGrpSpPr>
        <p:grpSpPr>
          <a:xfrm>
            <a:off x="10656793" y="3855821"/>
            <a:ext cx="480951" cy="470947"/>
            <a:chOff x="-22881800" y="1971800"/>
            <a:chExt cx="301675" cy="295400"/>
          </a:xfrm>
        </p:grpSpPr>
        <p:sp>
          <p:nvSpPr>
            <p:cNvPr id="9760" name="Google Shape;9760;p110"/>
            <p:cNvSpPr/>
            <p:nvPr/>
          </p:nvSpPr>
          <p:spPr>
            <a:xfrm>
              <a:off x="-22773100" y="2041900"/>
              <a:ext cx="86650" cy="86675"/>
            </a:xfrm>
            <a:custGeom>
              <a:avLst/>
              <a:gdLst/>
              <a:ahLst/>
              <a:cxnLst/>
              <a:rect l="l" t="t" r="r" b="b"/>
              <a:pathLst>
                <a:path w="3466" h="3467" extrusionOk="0">
                  <a:moveTo>
                    <a:pt x="1733" y="725"/>
                  </a:moveTo>
                  <a:cubicBezTo>
                    <a:pt x="2268" y="725"/>
                    <a:pt x="2741" y="1198"/>
                    <a:pt x="2741" y="1734"/>
                  </a:cubicBezTo>
                  <a:cubicBezTo>
                    <a:pt x="2741" y="2269"/>
                    <a:pt x="2300" y="2742"/>
                    <a:pt x="1733" y="2742"/>
                  </a:cubicBezTo>
                  <a:cubicBezTo>
                    <a:pt x="1134" y="2742"/>
                    <a:pt x="693" y="2269"/>
                    <a:pt x="693" y="1734"/>
                  </a:cubicBezTo>
                  <a:cubicBezTo>
                    <a:pt x="693" y="1198"/>
                    <a:pt x="1166" y="725"/>
                    <a:pt x="1733" y="725"/>
                  </a:cubicBezTo>
                  <a:close/>
                  <a:moveTo>
                    <a:pt x="1733" y="1"/>
                  </a:moveTo>
                  <a:cubicBezTo>
                    <a:pt x="788" y="1"/>
                    <a:pt x="0" y="788"/>
                    <a:pt x="0" y="1734"/>
                  </a:cubicBezTo>
                  <a:cubicBezTo>
                    <a:pt x="0" y="2679"/>
                    <a:pt x="788" y="3466"/>
                    <a:pt x="1733" y="3466"/>
                  </a:cubicBezTo>
                  <a:cubicBezTo>
                    <a:pt x="2678" y="3466"/>
                    <a:pt x="3466" y="2679"/>
                    <a:pt x="3466" y="1734"/>
                  </a:cubicBezTo>
                  <a:cubicBezTo>
                    <a:pt x="3466" y="757"/>
                    <a:pt x="2678" y="1"/>
                    <a:pt x="1733"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9761" name="Google Shape;9761;p110"/>
            <p:cNvSpPr/>
            <p:nvPr/>
          </p:nvSpPr>
          <p:spPr>
            <a:xfrm>
              <a:off x="-22737675" y="2145075"/>
              <a:ext cx="51225" cy="51225"/>
            </a:xfrm>
            <a:custGeom>
              <a:avLst/>
              <a:gdLst/>
              <a:ahLst/>
              <a:cxnLst/>
              <a:rect l="l" t="t" r="r" b="b"/>
              <a:pathLst>
                <a:path w="2049" h="2049" extrusionOk="0">
                  <a:moveTo>
                    <a:pt x="1009" y="726"/>
                  </a:moveTo>
                  <a:cubicBezTo>
                    <a:pt x="1198" y="726"/>
                    <a:pt x="1387" y="883"/>
                    <a:pt x="1387" y="1072"/>
                  </a:cubicBezTo>
                  <a:cubicBezTo>
                    <a:pt x="1387" y="1261"/>
                    <a:pt x="1198" y="1419"/>
                    <a:pt x="1009" y="1419"/>
                  </a:cubicBezTo>
                  <a:cubicBezTo>
                    <a:pt x="820" y="1419"/>
                    <a:pt x="662" y="1261"/>
                    <a:pt x="662" y="1072"/>
                  </a:cubicBezTo>
                  <a:cubicBezTo>
                    <a:pt x="662" y="883"/>
                    <a:pt x="820" y="726"/>
                    <a:pt x="1009" y="726"/>
                  </a:cubicBezTo>
                  <a:close/>
                  <a:moveTo>
                    <a:pt x="1009" y="1"/>
                  </a:moveTo>
                  <a:cubicBezTo>
                    <a:pt x="410" y="1"/>
                    <a:pt x="1" y="473"/>
                    <a:pt x="1" y="1041"/>
                  </a:cubicBezTo>
                  <a:cubicBezTo>
                    <a:pt x="1" y="1608"/>
                    <a:pt x="473" y="2049"/>
                    <a:pt x="1009" y="2049"/>
                  </a:cubicBezTo>
                  <a:cubicBezTo>
                    <a:pt x="1576" y="2049"/>
                    <a:pt x="2049" y="1576"/>
                    <a:pt x="2049" y="1041"/>
                  </a:cubicBezTo>
                  <a:cubicBezTo>
                    <a:pt x="2049" y="473"/>
                    <a:pt x="1576" y="1"/>
                    <a:pt x="1009"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9762" name="Google Shape;9762;p110"/>
            <p:cNvSpPr/>
            <p:nvPr/>
          </p:nvSpPr>
          <p:spPr>
            <a:xfrm>
              <a:off x="-22807775" y="2110425"/>
              <a:ext cx="17350" cy="18150"/>
            </a:xfrm>
            <a:custGeom>
              <a:avLst/>
              <a:gdLst/>
              <a:ahLst/>
              <a:cxnLst/>
              <a:rect l="l" t="t" r="r" b="b"/>
              <a:pathLst>
                <a:path w="694" h="726" extrusionOk="0">
                  <a:moveTo>
                    <a:pt x="347" y="1"/>
                  </a:moveTo>
                  <a:cubicBezTo>
                    <a:pt x="158" y="1"/>
                    <a:pt x="1" y="190"/>
                    <a:pt x="1" y="379"/>
                  </a:cubicBezTo>
                  <a:cubicBezTo>
                    <a:pt x="1" y="568"/>
                    <a:pt x="158" y="725"/>
                    <a:pt x="347" y="725"/>
                  </a:cubicBezTo>
                  <a:cubicBezTo>
                    <a:pt x="536" y="725"/>
                    <a:pt x="694" y="568"/>
                    <a:pt x="694" y="379"/>
                  </a:cubicBezTo>
                  <a:cubicBezTo>
                    <a:pt x="694" y="190"/>
                    <a:pt x="536" y="1"/>
                    <a:pt x="347"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9763" name="Google Shape;9763;p110"/>
            <p:cNvSpPr/>
            <p:nvPr/>
          </p:nvSpPr>
          <p:spPr>
            <a:xfrm>
              <a:off x="-22773100" y="2163200"/>
              <a:ext cx="17350" cy="17350"/>
            </a:xfrm>
            <a:custGeom>
              <a:avLst/>
              <a:gdLst/>
              <a:ahLst/>
              <a:cxnLst/>
              <a:rect l="l" t="t" r="r" b="b"/>
              <a:pathLst>
                <a:path w="694" h="694" extrusionOk="0">
                  <a:moveTo>
                    <a:pt x="347" y="1"/>
                  </a:moveTo>
                  <a:cubicBezTo>
                    <a:pt x="158" y="1"/>
                    <a:pt x="0" y="158"/>
                    <a:pt x="0" y="347"/>
                  </a:cubicBezTo>
                  <a:cubicBezTo>
                    <a:pt x="0" y="536"/>
                    <a:pt x="158" y="694"/>
                    <a:pt x="347" y="694"/>
                  </a:cubicBezTo>
                  <a:cubicBezTo>
                    <a:pt x="536" y="694"/>
                    <a:pt x="693" y="536"/>
                    <a:pt x="693" y="347"/>
                  </a:cubicBezTo>
                  <a:cubicBezTo>
                    <a:pt x="693" y="158"/>
                    <a:pt x="536" y="1"/>
                    <a:pt x="347"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9764" name="Google Shape;9764;p110"/>
            <p:cNvSpPr/>
            <p:nvPr/>
          </p:nvSpPr>
          <p:spPr>
            <a:xfrm>
              <a:off x="-22669150" y="2110425"/>
              <a:ext cx="18150" cy="18150"/>
            </a:xfrm>
            <a:custGeom>
              <a:avLst/>
              <a:gdLst/>
              <a:ahLst/>
              <a:cxnLst/>
              <a:rect l="l" t="t" r="r" b="b"/>
              <a:pathLst>
                <a:path w="726" h="726" extrusionOk="0">
                  <a:moveTo>
                    <a:pt x="347" y="1"/>
                  </a:moveTo>
                  <a:cubicBezTo>
                    <a:pt x="158" y="1"/>
                    <a:pt x="1" y="190"/>
                    <a:pt x="1" y="379"/>
                  </a:cubicBezTo>
                  <a:cubicBezTo>
                    <a:pt x="1" y="568"/>
                    <a:pt x="158" y="725"/>
                    <a:pt x="347" y="725"/>
                  </a:cubicBezTo>
                  <a:cubicBezTo>
                    <a:pt x="568" y="725"/>
                    <a:pt x="725" y="568"/>
                    <a:pt x="725" y="379"/>
                  </a:cubicBezTo>
                  <a:cubicBezTo>
                    <a:pt x="662" y="190"/>
                    <a:pt x="568" y="1"/>
                    <a:pt x="347"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9765" name="Google Shape;9765;p110"/>
            <p:cNvSpPr/>
            <p:nvPr/>
          </p:nvSpPr>
          <p:spPr>
            <a:xfrm>
              <a:off x="-22881800" y="1971800"/>
              <a:ext cx="301675" cy="295400"/>
            </a:xfrm>
            <a:custGeom>
              <a:avLst/>
              <a:gdLst/>
              <a:ahLst/>
              <a:cxnLst/>
              <a:rect l="l" t="t" r="r" b="b"/>
              <a:pathLst>
                <a:path w="12067" h="11816" extrusionOk="0">
                  <a:moveTo>
                    <a:pt x="6081" y="2112"/>
                  </a:moveTo>
                  <a:cubicBezTo>
                    <a:pt x="6553" y="2112"/>
                    <a:pt x="6963" y="2175"/>
                    <a:pt x="7373" y="2332"/>
                  </a:cubicBezTo>
                  <a:cubicBezTo>
                    <a:pt x="8633" y="2805"/>
                    <a:pt x="9578" y="3907"/>
                    <a:pt x="9798" y="5262"/>
                  </a:cubicBezTo>
                  <a:cubicBezTo>
                    <a:pt x="9861" y="5451"/>
                    <a:pt x="9861" y="5672"/>
                    <a:pt x="9861" y="5924"/>
                  </a:cubicBezTo>
                  <a:cubicBezTo>
                    <a:pt x="9861" y="6144"/>
                    <a:pt x="9861" y="6333"/>
                    <a:pt x="9798" y="6585"/>
                  </a:cubicBezTo>
                  <a:cubicBezTo>
                    <a:pt x="9609" y="7909"/>
                    <a:pt x="8633" y="9043"/>
                    <a:pt x="7373" y="9484"/>
                  </a:cubicBezTo>
                  <a:cubicBezTo>
                    <a:pt x="6963" y="9673"/>
                    <a:pt x="6522" y="9736"/>
                    <a:pt x="6081" y="9736"/>
                  </a:cubicBezTo>
                  <a:cubicBezTo>
                    <a:pt x="5640" y="9736"/>
                    <a:pt x="5167" y="9673"/>
                    <a:pt x="4758" y="9484"/>
                  </a:cubicBezTo>
                  <a:cubicBezTo>
                    <a:pt x="3497" y="9043"/>
                    <a:pt x="2552" y="7909"/>
                    <a:pt x="2332" y="6585"/>
                  </a:cubicBezTo>
                  <a:cubicBezTo>
                    <a:pt x="2300" y="6396"/>
                    <a:pt x="2300" y="6144"/>
                    <a:pt x="2300" y="5924"/>
                  </a:cubicBezTo>
                  <a:cubicBezTo>
                    <a:pt x="2300" y="5672"/>
                    <a:pt x="2300" y="5483"/>
                    <a:pt x="2332" y="5262"/>
                  </a:cubicBezTo>
                  <a:cubicBezTo>
                    <a:pt x="2552" y="3907"/>
                    <a:pt x="3497" y="2805"/>
                    <a:pt x="4758" y="2332"/>
                  </a:cubicBezTo>
                  <a:cubicBezTo>
                    <a:pt x="5167" y="2175"/>
                    <a:pt x="5608" y="2112"/>
                    <a:pt x="6081" y="2112"/>
                  </a:cubicBezTo>
                  <a:close/>
                  <a:moveTo>
                    <a:pt x="5329" y="1"/>
                  </a:moveTo>
                  <a:cubicBezTo>
                    <a:pt x="5238" y="1"/>
                    <a:pt x="5151" y="32"/>
                    <a:pt x="5104" y="95"/>
                  </a:cubicBezTo>
                  <a:cubicBezTo>
                    <a:pt x="4978" y="221"/>
                    <a:pt x="4978" y="442"/>
                    <a:pt x="5104" y="568"/>
                  </a:cubicBezTo>
                  <a:cubicBezTo>
                    <a:pt x="5356" y="851"/>
                    <a:pt x="5577" y="1072"/>
                    <a:pt x="5640" y="1387"/>
                  </a:cubicBezTo>
                  <a:cubicBezTo>
                    <a:pt x="5356" y="1419"/>
                    <a:pt x="5041" y="1482"/>
                    <a:pt x="4789" y="1545"/>
                  </a:cubicBezTo>
                  <a:cubicBezTo>
                    <a:pt x="4506" y="1041"/>
                    <a:pt x="4096" y="851"/>
                    <a:pt x="3592" y="599"/>
                  </a:cubicBezTo>
                  <a:cubicBezTo>
                    <a:pt x="3551" y="583"/>
                    <a:pt x="3506" y="575"/>
                    <a:pt x="3461" y="575"/>
                  </a:cubicBezTo>
                  <a:cubicBezTo>
                    <a:pt x="3329" y="575"/>
                    <a:pt x="3189" y="640"/>
                    <a:pt x="3119" y="757"/>
                  </a:cubicBezTo>
                  <a:cubicBezTo>
                    <a:pt x="3056" y="914"/>
                    <a:pt x="3119" y="1167"/>
                    <a:pt x="3277" y="1230"/>
                  </a:cubicBezTo>
                  <a:cubicBezTo>
                    <a:pt x="3623" y="1387"/>
                    <a:pt x="3907" y="1545"/>
                    <a:pt x="4065" y="1828"/>
                  </a:cubicBezTo>
                  <a:cubicBezTo>
                    <a:pt x="3781" y="1954"/>
                    <a:pt x="3560" y="2112"/>
                    <a:pt x="3308" y="2269"/>
                  </a:cubicBezTo>
                  <a:cubicBezTo>
                    <a:pt x="2899" y="1860"/>
                    <a:pt x="2426" y="1828"/>
                    <a:pt x="1891" y="1734"/>
                  </a:cubicBezTo>
                  <a:cubicBezTo>
                    <a:pt x="1702" y="1734"/>
                    <a:pt x="1544" y="1860"/>
                    <a:pt x="1513" y="2049"/>
                  </a:cubicBezTo>
                  <a:cubicBezTo>
                    <a:pt x="1513" y="2269"/>
                    <a:pt x="1639" y="2427"/>
                    <a:pt x="1828" y="2458"/>
                  </a:cubicBezTo>
                  <a:cubicBezTo>
                    <a:pt x="2206" y="2490"/>
                    <a:pt x="2489" y="2521"/>
                    <a:pt x="2773" y="2742"/>
                  </a:cubicBezTo>
                  <a:cubicBezTo>
                    <a:pt x="2584" y="2931"/>
                    <a:pt x="2363" y="3151"/>
                    <a:pt x="2206" y="3403"/>
                  </a:cubicBezTo>
                  <a:cubicBezTo>
                    <a:pt x="1964" y="3318"/>
                    <a:pt x="1741" y="3284"/>
                    <a:pt x="1524" y="3284"/>
                  </a:cubicBezTo>
                  <a:cubicBezTo>
                    <a:pt x="1259" y="3284"/>
                    <a:pt x="1002" y="3334"/>
                    <a:pt x="725" y="3403"/>
                  </a:cubicBezTo>
                  <a:cubicBezTo>
                    <a:pt x="536" y="3435"/>
                    <a:pt x="441" y="3624"/>
                    <a:pt x="473" y="3844"/>
                  </a:cubicBezTo>
                  <a:cubicBezTo>
                    <a:pt x="526" y="4003"/>
                    <a:pt x="667" y="4073"/>
                    <a:pt x="823" y="4073"/>
                  </a:cubicBezTo>
                  <a:cubicBezTo>
                    <a:pt x="853" y="4073"/>
                    <a:pt x="883" y="4070"/>
                    <a:pt x="914" y="4065"/>
                  </a:cubicBezTo>
                  <a:cubicBezTo>
                    <a:pt x="1162" y="3989"/>
                    <a:pt x="1352" y="3947"/>
                    <a:pt x="1534" y="3947"/>
                  </a:cubicBezTo>
                  <a:cubicBezTo>
                    <a:pt x="1652" y="3947"/>
                    <a:pt x="1766" y="3965"/>
                    <a:pt x="1891" y="4002"/>
                  </a:cubicBezTo>
                  <a:cubicBezTo>
                    <a:pt x="1796" y="4254"/>
                    <a:pt x="1670" y="4538"/>
                    <a:pt x="1639" y="4821"/>
                  </a:cubicBezTo>
                  <a:cubicBezTo>
                    <a:pt x="1040" y="4821"/>
                    <a:pt x="630" y="5042"/>
                    <a:pt x="221" y="5357"/>
                  </a:cubicBezTo>
                  <a:cubicBezTo>
                    <a:pt x="63" y="5483"/>
                    <a:pt x="0" y="5672"/>
                    <a:pt x="126" y="5829"/>
                  </a:cubicBezTo>
                  <a:cubicBezTo>
                    <a:pt x="221" y="5924"/>
                    <a:pt x="284" y="5987"/>
                    <a:pt x="410" y="5987"/>
                  </a:cubicBezTo>
                  <a:cubicBezTo>
                    <a:pt x="473" y="5987"/>
                    <a:pt x="567" y="5955"/>
                    <a:pt x="599" y="5924"/>
                  </a:cubicBezTo>
                  <a:cubicBezTo>
                    <a:pt x="914" y="5672"/>
                    <a:pt x="1198" y="5514"/>
                    <a:pt x="1513" y="5514"/>
                  </a:cubicBezTo>
                  <a:lnTo>
                    <a:pt x="1513" y="5924"/>
                  </a:lnTo>
                  <a:cubicBezTo>
                    <a:pt x="1513" y="6081"/>
                    <a:pt x="1513" y="6239"/>
                    <a:pt x="1544" y="6396"/>
                  </a:cubicBezTo>
                  <a:cubicBezTo>
                    <a:pt x="1009" y="6585"/>
                    <a:pt x="725" y="6932"/>
                    <a:pt x="410" y="7373"/>
                  </a:cubicBezTo>
                  <a:cubicBezTo>
                    <a:pt x="284" y="7531"/>
                    <a:pt x="315" y="7720"/>
                    <a:pt x="473" y="7846"/>
                  </a:cubicBezTo>
                  <a:cubicBezTo>
                    <a:pt x="567" y="7877"/>
                    <a:pt x="599" y="7940"/>
                    <a:pt x="694" y="7940"/>
                  </a:cubicBezTo>
                  <a:cubicBezTo>
                    <a:pt x="788" y="7940"/>
                    <a:pt x="914" y="7877"/>
                    <a:pt x="946" y="7783"/>
                  </a:cubicBezTo>
                  <a:cubicBezTo>
                    <a:pt x="1198" y="7467"/>
                    <a:pt x="1355" y="7215"/>
                    <a:pt x="1670" y="7089"/>
                  </a:cubicBezTo>
                  <a:cubicBezTo>
                    <a:pt x="1733" y="7373"/>
                    <a:pt x="1828" y="7657"/>
                    <a:pt x="1985" y="7940"/>
                  </a:cubicBezTo>
                  <a:cubicBezTo>
                    <a:pt x="1544" y="8287"/>
                    <a:pt x="1387" y="8728"/>
                    <a:pt x="1229" y="9232"/>
                  </a:cubicBezTo>
                  <a:cubicBezTo>
                    <a:pt x="1198" y="9421"/>
                    <a:pt x="1324" y="9610"/>
                    <a:pt x="1481" y="9673"/>
                  </a:cubicBezTo>
                  <a:lnTo>
                    <a:pt x="1544" y="9673"/>
                  </a:lnTo>
                  <a:cubicBezTo>
                    <a:pt x="1702" y="9673"/>
                    <a:pt x="1828" y="9547"/>
                    <a:pt x="1891" y="9389"/>
                  </a:cubicBezTo>
                  <a:cubicBezTo>
                    <a:pt x="2017" y="8980"/>
                    <a:pt x="2111" y="8728"/>
                    <a:pt x="2332" y="8476"/>
                  </a:cubicBezTo>
                  <a:cubicBezTo>
                    <a:pt x="2489" y="8728"/>
                    <a:pt x="2678" y="8948"/>
                    <a:pt x="2899" y="9137"/>
                  </a:cubicBezTo>
                  <a:cubicBezTo>
                    <a:pt x="2584" y="9610"/>
                    <a:pt x="2615" y="10082"/>
                    <a:pt x="2647" y="10649"/>
                  </a:cubicBezTo>
                  <a:cubicBezTo>
                    <a:pt x="2647" y="10839"/>
                    <a:pt x="2804" y="10965"/>
                    <a:pt x="2993" y="10965"/>
                  </a:cubicBezTo>
                  <a:lnTo>
                    <a:pt x="3056" y="10965"/>
                  </a:lnTo>
                  <a:cubicBezTo>
                    <a:pt x="3245" y="10965"/>
                    <a:pt x="3371" y="10775"/>
                    <a:pt x="3371" y="10555"/>
                  </a:cubicBezTo>
                  <a:cubicBezTo>
                    <a:pt x="3308" y="10177"/>
                    <a:pt x="3308" y="9862"/>
                    <a:pt x="3434" y="9578"/>
                  </a:cubicBezTo>
                  <a:cubicBezTo>
                    <a:pt x="3686" y="9736"/>
                    <a:pt x="3907" y="9893"/>
                    <a:pt x="4191" y="10019"/>
                  </a:cubicBezTo>
                  <a:cubicBezTo>
                    <a:pt x="4065" y="10555"/>
                    <a:pt x="4222" y="10996"/>
                    <a:pt x="4474" y="11500"/>
                  </a:cubicBezTo>
                  <a:cubicBezTo>
                    <a:pt x="4506" y="11626"/>
                    <a:pt x="4663" y="11721"/>
                    <a:pt x="4789" y="11721"/>
                  </a:cubicBezTo>
                  <a:cubicBezTo>
                    <a:pt x="4821" y="11721"/>
                    <a:pt x="4884" y="11721"/>
                    <a:pt x="4947" y="11658"/>
                  </a:cubicBezTo>
                  <a:cubicBezTo>
                    <a:pt x="5104" y="11595"/>
                    <a:pt x="5167" y="11406"/>
                    <a:pt x="5104" y="11185"/>
                  </a:cubicBezTo>
                  <a:cubicBezTo>
                    <a:pt x="4947" y="10839"/>
                    <a:pt x="4821" y="10555"/>
                    <a:pt x="4852" y="10240"/>
                  </a:cubicBezTo>
                  <a:lnTo>
                    <a:pt x="4852" y="10240"/>
                  </a:lnTo>
                  <a:cubicBezTo>
                    <a:pt x="5136" y="10334"/>
                    <a:pt x="5419" y="10366"/>
                    <a:pt x="5734" y="10397"/>
                  </a:cubicBezTo>
                  <a:cubicBezTo>
                    <a:pt x="5797" y="10965"/>
                    <a:pt x="6112" y="11311"/>
                    <a:pt x="6522" y="11721"/>
                  </a:cubicBezTo>
                  <a:cubicBezTo>
                    <a:pt x="6585" y="11784"/>
                    <a:pt x="6679" y="11815"/>
                    <a:pt x="6742" y="11815"/>
                  </a:cubicBezTo>
                  <a:cubicBezTo>
                    <a:pt x="6837" y="11815"/>
                    <a:pt x="6931" y="11784"/>
                    <a:pt x="6994" y="11721"/>
                  </a:cubicBezTo>
                  <a:cubicBezTo>
                    <a:pt x="7089" y="11595"/>
                    <a:pt x="7089" y="11343"/>
                    <a:pt x="6994" y="11248"/>
                  </a:cubicBezTo>
                  <a:cubicBezTo>
                    <a:pt x="6711" y="10965"/>
                    <a:pt x="6522" y="10712"/>
                    <a:pt x="6427" y="10397"/>
                  </a:cubicBezTo>
                  <a:cubicBezTo>
                    <a:pt x="6711" y="10366"/>
                    <a:pt x="7026" y="10334"/>
                    <a:pt x="7310" y="10240"/>
                  </a:cubicBezTo>
                  <a:cubicBezTo>
                    <a:pt x="7562" y="10775"/>
                    <a:pt x="7971" y="10965"/>
                    <a:pt x="8475" y="11185"/>
                  </a:cubicBezTo>
                  <a:cubicBezTo>
                    <a:pt x="8507" y="11248"/>
                    <a:pt x="8570" y="11248"/>
                    <a:pt x="8633" y="11248"/>
                  </a:cubicBezTo>
                  <a:cubicBezTo>
                    <a:pt x="8759" y="11248"/>
                    <a:pt x="8885" y="11154"/>
                    <a:pt x="8948" y="11028"/>
                  </a:cubicBezTo>
                  <a:cubicBezTo>
                    <a:pt x="9042" y="10870"/>
                    <a:pt x="8948" y="10649"/>
                    <a:pt x="8790" y="10555"/>
                  </a:cubicBezTo>
                  <a:cubicBezTo>
                    <a:pt x="8444" y="10397"/>
                    <a:pt x="8160" y="10240"/>
                    <a:pt x="8003" y="9988"/>
                  </a:cubicBezTo>
                  <a:cubicBezTo>
                    <a:pt x="8286" y="9862"/>
                    <a:pt x="8507" y="9704"/>
                    <a:pt x="8759" y="9547"/>
                  </a:cubicBezTo>
                  <a:cubicBezTo>
                    <a:pt x="9200" y="9925"/>
                    <a:pt x="9672" y="9988"/>
                    <a:pt x="10176" y="10051"/>
                  </a:cubicBezTo>
                  <a:lnTo>
                    <a:pt x="10208" y="10051"/>
                  </a:lnTo>
                  <a:cubicBezTo>
                    <a:pt x="10397" y="10051"/>
                    <a:pt x="10523" y="9925"/>
                    <a:pt x="10555" y="9736"/>
                  </a:cubicBezTo>
                  <a:cubicBezTo>
                    <a:pt x="10555" y="9547"/>
                    <a:pt x="10460" y="9389"/>
                    <a:pt x="10240" y="9358"/>
                  </a:cubicBezTo>
                  <a:cubicBezTo>
                    <a:pt x="9861" y="9295"/>
                    <a:pt x="9578" y="9263"/>
                    <a:pt x="9294" y="9074"/>
                  </a:cubicBezTo>
                  <a:cubicBezTo>
                    <a:pt x="9515" y="8885"/>
                    <a:pt x="9704" y="8633"/>
                    <a:pt x="9861" y="8413"/>
                  </a:cubicBezTo>
                  <a:cubicBezTo>
                    <a:pt x="10082" y="8476"/>
                    <a:pt x="10303" y="8507"/>
                    <a:pt x="10523" y="8507"/>
                  </a:cubicBezTo>
                  <a:cubicBezTo>
                    <a:pt x="10807" y="8507"/>
                    <a:pt x="11090" y="8444"/>
                    <a:pt x="11405" y="8350"/>
                  </a:cubicBezTo>
                  <a:cubicBezTo>
                    <a:pt x="11594" y="8318"/>
                    <a:pt x="11657" y="8129"/>
                    <a:pt x="11626" y="7940"/>
                  </a:cubicBezTo>
                  <a:cubicBezTo>
                    <a:pt x="11599" y="7754"/>
                    <a:pt x="11461" y="7680"/>
                    <a:pt x="11287" y="7680"/>
                  </a:cubicBezTo>
                  <a:cubicBezTo>
                    <a:pt x="11254" y="7680"/>
                    <a:pt x="11220" y="7683"/>
                    <a:pt x="11185" y="7688"/>
                  </a:cubicBezTo>
                  <a:cubicBezTo>
                    <a:pt x="10933" y="7772"/>
                    <a:pt x="10723" y="7814"/>
                    <a:pt x="10517" y="7814"/>
                  </a:cubicBezTo>
                  <a:cubicBezTo>
                    <a:pt x="10415" y="7814"/>
                    <a:pt x="10313" y="7804"/>
                    <a:pt x="10208" y="7783"/>
                  </a:cubicBezTo>
                  <a:cubicBezTo>
                    <a:pt x="10334" y="7499"/>
                    <a:pt x="10460" y="7215"/>
                    <a:pt x="10492" y="6932"/>
                  </a:cubicBezTo>
                  <a:lnTo>
                    <a:pt x="10523" y="6932"/>
                  </a:lnTo>
                  <a:cubicBezTo>
                    <a:pt x="11090" y="6932"/>
                    <a:pt x="11468" y="6711"/>
                    <a:pt x="11909" y="6396"/>
                  </a:cubicBezTo>
                  <a:cubicBezTo>
                    <a:pt x="12004" y="6333"/>
                    <a:pt x="12067" y="6144"/>
                    <a:pt x="11941" y="5987"/>
                  </a:cubicBezTo>
                  <a:cubicBezTo>
                    <a:pt x="11867" y="5895"/>
                    <a:pt x="11773" y="5846"/>
                    <a:pt x="11675" y="5846"/>
                  </a:cubicBezTo>
                  <a:cubicBezTo>
                    <a:pt x="11605" y="5846"/>
                    <a:pt x="11534" y="5871"/>
                    <a:pt x="11468" y="5924"/>
                  </a:cubicBezTo>
                  <a:cubicBezTo>
                    <a:pt x="11153" y="6144"/>
                    <a:pt x="10870" y="6302"/>
                    <a:pt x="10555" y="6302"/>
                  </a:cubicBezTo>
                  <a:lnTo>
                    <a:pt x="10555" y="5924"/>
                  </a:lnTo>
                  <a:cubicBezTo>
                    <a:pt x="10555" y="5766"/>
                    <a:pt x="10555" y="5609"/>
                    <a:pt x="10523" y="5451"/>
                  </a:cubicBezTo>
                  <a:cubicBezTo>
                    <a:pt x="11090" y="5262"/>
                    <a:pt x="11342" y="4884"/>
                    <a:pt x="11657" y="4475"/>
                  </a:cubicBezTo>
                  <a:cubicBezTo>
                    <a:pt x="11783" y="4317"/>
                    <a:pt x="11752" y="4096"/>
                    <a:pt x="11594" y="4002"/>
                  </a:cubicBezTo>
                  <a:cubicBezTo>
                    <a:pt x="11528" y="3949"/>
                    <a:pt x="11457" y="3924"/>
                    <a:pt x="11387" y="3924"/>
                  </a:cubicBezTo>
                  <a:cubicBezTo>
                    <a:pt x="11290" y="3924"/>
                    <a:pt x="11195" y="3973"/>
                    <a:pt x="11122" y="4065"/>
                  </a:cubicBezTo>
                  <a:cubicBezTo>
                    <a:pt x="10870" y="4380"/>
                    <a:pt x="10712" y="4632"/>
                    <a:pt x="10397" y="4727"/>
                  </a:cubicBezTo>
                  <a:cubicBezTo>
                    <a:pt x="10334" y="4475"/>
                    <a:pt x="10240" y="4191"/>
                    <a:pt x="10082" y="3907"/>
                  </a:cubicBezTo>
                  <a:cubicBezTo>
                    <a:pt x="10523" y="3561"/>
                    <a:pt x="10681" y="3120"/>
                    <a:pt x="10838" y="2616"/>
                  </a:cubicBezTo>
                  <a:cubicBezTo>
                    <a:pt x="10870" y="2427"/>
                    <a:pt x="10775" y="2206"/>
                    <a:pt x="10618" y="2175"/>
                  </a:cubicBezTo>
                  <a:cubicBezTo>
                    <a:pt x="10595" y="2171"/>
                    <a:pt x="10572" y="2170"/>
                    <a:pt x="10550" y="2170"/>
                  </a:cubicBezTo>
                  <a:cubicBezTo>
                    <a:pt x="10359" y="2170"/>
                    <a:pt x="10205" y="2286"/>
                    <a:pt x="10176" y="2427"/>
                  </a:cubicBezTo>
                  <a:cubicBezTo>
                    <a:pt x="10050" y="2805"/>
                    <a:pt x="9987" y="3088"/>
                    <a:pt x="9735" y="3309"/>
                  </a:cubicBezTo>
                  <a:cubicBezTo>
                    <a:pt x="9578" y="3088"/>
                    <a:pt x="9389" y="2836"/>
                    <a:pt x="9200" y="2647"/>
                  </a:cubicBezTo>
                  <a:cubicBezTo>
                    <a:pt x="9515" y="2175"/>
                    <a:pt x="9452" y="1702"/>
                    <a:pt x="9420" y="1167"/>
                  </a:cubicBezTo>
                  <a:cubicBezTo>
                    <a:pt x="9420" y="946"/>
                    <a:pt x="9231" y="851"/>
                    <a:pt x="9042" y="851"/>
                  </a:cubicBezTo>
                  <a:cubicBezTo>
                    <a:pt x="8822" y="851"/>
                    <a:pt x="8727" y="1041"/>
                    <a:pt x="8727" y="1230"/>
                  </a:cubicBezTo>
                  <a:cubicBezTo>
                    <a:pt x="8759" y="1639"/>
                    <a:pt x="8759" y="1954"/>
                    <a:pt x="8633" y="2206"/>
                  </a:cubicBezTo>
                  <a:cubicBezTo>
                    <a:pt x="8412" y="2049"/>
                    <a:pt x="8160" y="1891"/>
                    <a:pt x="7877" y="1797"/>
                  </a:cubicBezTo>
                  <a:cubicBezTo>
                    <a:pt x="8003" y="1230"/>
                    <a:pt x="7845" y="788"/>
                    <a:pt x="7625" y="284"/>
                  </a:cubicBezTo>
                  <a:cubicBezTo>
                    <a:pt x="7554" y="168"/>
                    <a:pt x="7432" y="103"/>
                    <a:pt x="7297" y="103"/>
                  </a:cubicBezTo>
                  <a:cubicBezTo>
                    <a:pt x="7250" y="103"/>
                    <a:pt x="7201" y="111"/>
                    <a:pt x="7152" y="127"/>
                  </a:cubicBezTo>
                  <a:cubicBezTo>
                    <a:pt x="6994" y="221"/>
                    <a:pt x="6900" y="410"/>
                    <a:pt x="6994" y="599"/>
                  </a:cubicBezTo>
                  <a:cubicBezTo>
                    <a:pt x="7152" y="946"/>
                    <a:pt x="7247" y="1230"/>
                    <a:pt x="7215" y="1545"/>
                  </a:cubicBezTo>
                  <a:cubicBezTo>
                    <a:pt x="6931" y="1482"/>
                    <a:pt x="6679" y="1419"/>
                    <a:pt x="6364" y="1387"/>
                  </a:cubicBezTo>
                  <a:cubicBezTo>
                    <a:pt x="6270" y="851"/>
                    <a:pt x="5955" y="473"/>
                    <a:pt x="5577" y="95"/>
                  </a:cubicBezTo>
                  <a:cubicBezTo>
                    <a:pt x="5514" y="32"/>
                    <a:pt x="5419" y="1"/>
                    <a:pt x="5329"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sp>
        <p:nvSpPr>
          <p:cNvPr id="9766" name="Google Shape;9766;p110"/>
          <p:cNvSpPr/>
          <p:nvPr/>
        </p:nvSpPr>
        <p:spPr>
          <a:xfrm>
            <a:off x="7101455" y="2081955"/>
            <a:ext cx="419452" cy="472181"/>
          </a:xfrm>
          <a:custGeom>
            <a:avLst/>
            <a:gdLst/>
            <a:ahLst/>
            <a:cxnLst/>
            <a:rect l="l" t="t" r="r" b="b"/>
            <a:pathLst>
              <a:path w="10524" h="11847" extrusionOk="0">
                <a:moveTo>
                  <a:pt x="7278" y="662"/>
                </a:moveTo>
                <a:cubicBezTo>
                  <a:pt x="7499" y="662"/>
                  <a:pt x="7656" y="820"/>
                  <a:pt x="7656" y="1009"/>
                </a:cubicBezTo>
                <a:lnTo>
                  <a:pt x="7656" y="3151"/>
                </a:lnTo>
                <a:cubicBezTo>
                  <a:pt x="7404" y="3057"/>
                  <a:pt x="7184" y="2994"/>
                  <a:pt x="6932" y="2994"/>
                </a:cubicBezTo>
                <a:lnTo>
                  <a:pt x="6932" y="1009"/>
                </a:lnTo>
                <a:cubicBezTo>
                  <a:pt x="6932" y="820"/>
                  <a:pt x="7089" y="662"/>
                  <a:pt x="7278" y="662"/>
                </a:cubicBezTo>
                <a:close/>
                <a:moveTo>
                  <a:pt x="3120" y="662"/>
                </a:moveTo>
                <a:cubicBezTo>
                  <a:pt x="3309" y="662"/>
                  <a:pt x="3466" y="820"/>
                  <a:pt x="3466" y="1009"/>
                </a:cubicBezTo>
                <a:lnTo>
                  <a:pt x="3466" y="2994"/>
                </a:lnTo>
                <a:cubicBezTo>
                  <a:pt x="3246" y="3025"/>
                  <a:pt x="2994" y="3057"/>
                  <a:pt x="2773" y="3183"/>
                </a:cubicBezTo>
                <a:lnTo>
                  <a:pt x="2773" y="1009"/>
                </a:lnTo>
                <a:cubicBezTo>
                  <a:pt x="2773" y="820"/>
                  <a:pt x="2931" y="662"/>
                  <a:pt x="3120" y="662"/>
                </a:cubicBezTo>
                <a:close/>
                <a:moveTo>
                  <a:pt x="4506" y="1702"/>
                </a:moveTo>
                <a:cubicBezTo>
                  <a:pt x="4695" y="1702"/>
                  <a:pt x="4852" y="1860"/>
                  <a:pt x="4852" y="2049"/>
                </a:cubicBezTo>
                <a:lnTo>
                  <a:pt x="4852" y="3309"/>
                </a:lnTo>
                <a:cubicBezTo>
                  <a:pt x="4663" y="3183"/>
                  <a:pt x="4411" y="3057"/>
                  <a:pt x="4128" y="3025"/>
                </a:cubicBezTo>
                <a:lnTo>
                  <a:pt x="4128" y="2049"/>
                </a:lnTo>
                <a:cubicBezTo>
                  <a:pt x="4128" y="1860"/>
                  <a:pt x="4285" y="1702"/>
                  <a:pt x="4506" y="1702"/>
                </a:cubicBezTo>
                <a:close/>
                <a:moveTo>
                  <a:pt x="5861" y="1702"/>
                </a:moveTo>
                <a:cubicBezTo>
                  <a:pt x="6081" y="1702"/>
                  <a:pt x="6239" y="1860"/>
                  <a:pt x="6239" y="2049"/>
                </a:cubicBezTo>
                <a:lnTo>
                  <a:pt x="6239" y="3025"/>
                </a:lnTo>
                <a:cubicBezTo>
                  <a:pt x="5987" y="3120"/>
                  <a:pt x="5766" y="3183"/>
                  <a:pt x="5514" y="3340"/>
                </a:cubicBezTo>
                <a:lnTo>
                  <a:pt x="5514" y="2049"/>
                </a:lnTo>
                <a:cubicBezTo>
                  <a:pt x="5546" y="1860"/>
                  <a:pt x="5703" y="1702"/>
                  <a:pt x="5861" y="1702"/>
                </a:cubicBezTo>
                <a:close/>
                <a:moveTo>
                  <a:pt x="1733" y="1324"/>
                </a:moveTo>
                <a:cubicBezTo>
                  <a:pt x="1922" y="1324"/>
                  <a:pt x="2080" y="1482"/>
                  <a:pt x="2080" y="1702"/>
                </a:cubicBezTo>
                <a:lnTo>
                  <a:pt x="2080" y="3624"/>
                </a:lnTo>
                <a:cubicBezTo>
                  <a:pt x="2017" y="3687"/>
                  <a:pt x="1922" y="3781"/>
                  <a:pt x="1859" y="3907"/>
                </a:cubicBezTo>
                <a:cubicBezTo>
                  <a:pt x="1733" y="3687"/>
                  <a:pt x="1576" y="3529"/>
                  <a:pt x="1387" y="3435"/>
                </a:cubicBezTo>
                <a:lnTo>
                  <a:pt x="1387" y="1702"/>
                </a:lnTo>
                <a:cubicBezTo>
                  <a:pt x="1387" y="1482"/>
                  <a:pt x="1544" y="1324"/>
                  <a:pt x="1733" y="1324"/>
                </a:cubicBezTo>
                <a:close/>
                <a:moveTo>
                  <a:pt x="8665" y="1324"/>
                </a:moveTo>
                <a:cubicBezTo>
                  <a:pt x="8854" y="1324"/>
                  <a:pt x="9011" y="1482"/>
                  <a:pt x="9011" y="1702"/>
                </a:cubicBezTo>
                <a:lnTo>
                  <a:pt x="9011" y="3466"/>
                </a:lnTo>
                <a:cubicBezTo>
                  <a:pt x="8854" y="3592"/>
                  <a:pt x="8759" y="3750"/>
                  <a:pt x="8633" y="3907"/>
                </a:cubicBezTo>
                <a:cubicBezTo>
                  <a:pt x="8539" y="3781"/>
                  <a:pt x="8476" y="3687"/>
                  <a:pt x="8381" y="3592"/>
                </a:cubicBezTo>
                <a:lnTo>
                  <a:pt x="8349" y="3529"/>
                </a:lnTo>
                <a:lnTo>
                  <a:pt x="8349" y="1702"/>
                </a:lnTo>
                <a:cubicBezTo>
                  <a:pt x="8318" y="1482"/>
                  <a:pt x="8476" y="1324"/>
                  <a:pt x="8665" y="1324"/>
                </a:cubicBezTo>
                <a:close/>
                <a:moveTo>
                  <a:pt x="6774" y="3647"/>
                </a:moveTo>
                <a:cubicBezTo>
                  <a:pt x="7160" y="3647"/>
                  <a:pt x="7546" y="3797"/>
                  <a:pt x="7845" y="4096"/>
                </a:cubicBezTo>
                <a:cubicBezTo>
                  <a:pt x="8318" y="4569"/>
                  <a:pt x="8444" y="5294"/>
                  <a:pt x="8066" y="5892"/>
                </a:cubicBezTo>
                <a:cubicBezTo>
                  <a:pt x="7089" y="6176"/>
                  <a:pt x="6333" y="7058"/>
                  <a:pt x="6239" y="8098"/>
                </a:cubicBezTo>
                <a:lnTo>
                  <a:pt x="5199" y="9043"/>
                </a:lnTo>
                <a:lnTo>
                  <a:pt x="4128" y="8035"/>
                </a:lnTo>
                <a:cubicBezTo>
                  <a:pt x="4065" y="6995"/>
                  <a:pt x="3309" y="6144"/>
                  <a:pt x="2332" y="5892"/>
                </a:cubicBezTo>
                <a:cubicBezTo>
                  <a:pt x="1985" y="5325"/>
                  <a:pt x="2112" y="4569"/>
                  <a:pt x="2553" y="4096"/>
                </a:cubicBezTo>
                <a:cubicBezTo>
                  <a:pt x="2836" y="3813"/>
                  <a:pt x="3246" y="3655"/>
                  <a:pt x="3624" y="3655"/>
                </a:cubicBezTo>
                <a:cubicBezTo>
                  <a:pt x="4033" y="3655"/>
                  <a:pt x="4411" y="3813"/>
                  <a:pt x="4695" y="4096"/>
                </a:cubicBezTo>
                <a:lnTo>
                  <a:pt x="4915" y="4317"/>
                </a:lnTo>
                <a:lnTo>
                  <a:pt x="4978" y="4348"/>
                </a:lnTo>
                <a:cubicBezTo>
                  <a:pt x="5026" y="4411"/>
                  <a:pt x="5112" y="4443"/>
                  <a:pt x="5203" y="4443"/>
                </a:cubicBezTo>
                <a:cubicBezTo>
                  <a:pt x="5294" y="4443"/>
                  <a:pt x="5388" y="4411"/>
                  <a:pt x="5451" y="4348"/>
                </a:cubicBezTo>
                <a:lnTo>
                  <a:pt x="5703" y="4096"/>
                </a:lnTo>
                <a:cubicBezTo>
                  <a:pt x="6002" y="3797"/>
                  <a:pt x="6388" y="3647"/>
                  <a:pt x="6774" y="3647"/>
                </a:cubicBezTo>
                <a:close/>
                <a:moveTo>
                  <a:pt x="662" y="3813"/>
                </a:moveTo>
                <a:cubicBezTo>
                  <a:pt x="1103" y="3970"/>
                  <a:pt x="1418" y="4380"/>
                  <a:pt x="1418" y="4884"/>
                </a:cubicBezTo>
                <a:lnTo>
                  <a:pt x="1418" y="6176"/>
                </a:lnTo>
                <a:cubicBezTo>
                  <a:pt x="1418" y="6365"/>
                  <a:pt x="1576" y="6522"/>
                  <a:pt x="1765" y="6522"/>
                </a:cubicBezTo>
                <a:cubicBezTo>
                  <a:pt x="2679" y="6522"/>
                  <a:pt x="3435" y="7247"/>
                  <a:pt x="3435" y="8161"/>
                </a:cubicBezTo>
                <a:lnTo>
                  <a:pt x="3435" y="8224"/>
                </a:lnTo>
                <a:lnTo>
                  <a:pt x="3435" y="8980"/>
                </a:lnTo>
                <a:cubicBezTo>
                  <a:pt x="3435" y="9169"/>
                  <a:pt x="3592" y="9326"/>
                  <a:pt x="3781" y="9326"/>
                </a:cubicBezTo>
                <a:cubicBezTo>
                  <a:pt x="3970" y="9326"/>
                  <a:pt x="4128" y="9169"/>
                  <a:pt x="4128" y="8980"/>
                </a:cubicBezTo>
                <a:lnTo>
                  <a:pt x="4852" y="9610"/>
                </a:lnTo>
                <a:lnTo>
                  <a:pt x="4852" y="11059"/>
                </a:lnTo>
                <a:lnTo>
                  <a:pt x="2080" y="11059"/>
                </a:lnTo>
                <a:lnTo>
                  <a:pt x="2080" y="9925"/>
                </a:lnTo>
                <a:cubicBezTo>
                  <a:pt x="2080" y="9673"/>
                  <a:pt x="1985" y="9421"/>
                  <a:pt x="1765" y="9200"/>
                </a:cubicBezTo>
                <a:lnTo>
                  <a:pt x="1198" y="8633"/>
                </a:lnTo>
                <a:cubicBezTo>
                  <a:pt x="883" y="8287"/>
                  <a:pt x="662" y="7877"/>
                  <a:pt x="662" y="7404"/>
                </a:cubicBezTo>
                <a:lnTo>
                  <a:pt x="662" y="3813"/>
                </a:lnTo>
                <a:close/>
                <a:moveTo>
                  <a:pt x="9767" y="3844"/>
                </a:moveTo>
                <a:lnTo>
                  <a:pt x="9767" y="7436"/>
                </a:lnTo>
                <a:cubicBezTo>
                  <a:pt x="9767" y="7909"/>
                  <a:pt x="9578" y="8350"/>
                  <a:pt x="9263" y="8665"/>
                </a:cubicBezTo>
                <a:lnTo>
                  <a:pt x="8665" y="9263"/>
                </a:lnTo>
                <a:cubicBezTo>
                  <a:pt x="8476" y="9452"/>
                  <a:pt x="8349" y="9704"/>
                  <a:pt x="8349" y="9988"/>
                </a:cubicBezTo>
                <a:lnTo>
                  <a:pt x="8349" y="11153"/>
                </a:lnTo>
                <a:lnTo>
                  <a:pt x="5514" y="11153"/>
                </a:lnTo>
                <a:lnTo>
                  <a:pt x="5514" y="9736"/>
                </a:lnTo>
                <a:lnTo>
                  <a:pt x="6239" y="9043"/>
                </a:lnTo>
                <a:cubicBezTo>
                  <a:pt x="6270" y="9200"/>
                  <a:pt x="6396" y="9326"/>
                  <a:pt x="6585" y="9326"/>
                </a:cubicBezTo>
                <a:cubicBezTo>
                  <a:pt x="6774" y="9326"/>
                  <a:pt x="6932" y="9169"/>
                  <a:pt x="6932" y="8980"/>
                </a:cubicBezTo>
                <a:lnTo>
                  <a:pt x="6932" y="8255"/>
                </a:lnTo>
                <a:cubicBezTo>
                  <a:pt x="6932" y="7404"/>
                  <a:pt x="7530" y="6711"/>
                  <a:pt x="8349" y="6554"/>
                </a:cubicBezTo>
                <a:lnTo>
                  <a:pt x="8665" y="6554"/>
                </a:lnTo>
                <a:cubicBezTo>
                  <a:pt x="8854" y="6554"/>
                  <a:pt x="9011" y="6396"/>
                  <a:pt x="9011" y="6207"/>
                </a:cubicBezTo>
                <a:lnTo>
                  <a:pt x="9011" y="4916"/>
                </a:lnTo>
                <a:cubicBezTo>
                  <a:pt x="9011" y="4443"/>
                  <a:pt x="9326" y="4002"/>
                  <a:pt x="9767" y="3844"/>
                </a:cubicBezTo>
                <a:close/>
                <a:moveTo>
                  <a:pt x="3120" y="1"/>
                </a:moveTo>
                <a:cubicBezTo>
                  <a:pt x="2647" y="1"/>
                  <a:pt x="2238" y="316"/>
                  <a:pt x="2143" y="757"/>
                </a:cubicBezTo>
                <a:cubicBezTo>
                  <a:pt x="2017" y="694"/>
                  <a:pt x="1891" y="662"/>
                  <a:pt x="1733" y="662"/>
                </a:cubicBezTo>
                <a:cubicBezTo>
                  <a:pt x="1135" y="662"/>
                  <a:pt x="725" y="1135"/>
                  <a:pt x="725" y="1702"/>
                </a:cubicBezTo>
                <a:lnTo>
                  <a:pt x="725" y="3120"/>
                </a:lnTo>
                <a:cubicBezTo>
                  <a:pt x="599" y="3057"/>
                  <a:pt x="473" y="3057"/>
                  <a:pt x="347" y="3057"/>
                </a:cubicBezTo>
                <a:cubicBezTo>
                  <a:pt x="158" y="3057"/>
                  <a:pt x="1" y="3214"/>
                  <a:pt x="1" y="3435"/>
                </a:cubicBezTo>
                <a:lnTo>
                  <a:pt x="1" y="7436"/>
                </a:lnTo>
                <a:cubicBezTo>
                  <a:pt x="1" y="8066"/>
                  <a:pt x="253" y="8696"/>
                  <a:pt x="725" y="9169"/>
                </a:cubicBezTo>
                <a:lnTo>
                  <a:pt x="1292" y="9767"/>
                </a:lnTo>
                <a:cubicBezTo>
                  <a:pt x="1387" y="9830"/>
                  <a:pt x="1418" y="9925"/>
                  <a:pt x="1418" y="9988"/>
                </a:cubicBezTo>
                <a:lnTo>
                  <a:pt x="1418" y="11153"/>
                </a:lnTo>
                <a:lnTo>
                  <a:pt x="1072" y="11153"/>
                </a:lnTo>
                <a:cubicBezTo>
                  <a:pt x="883" y="11153"/>
                  <a:pt x="725" y="11311"/>
                  <a:pt x="725" y="11500"/>
                </a:cubicBezTo>
                <a:cubicBezTo>
                  <a:pt x="725" y="11689"/>
                  <a:pt x="883" y="11847"/>
                  <a:pt x="1072" y="11847"/>
                </a:cubicBezTo>
                <a:lnTo>
                  <a:pt x="9389" y="11847"/>
                </a:lnTo>
                <a:cubicBezTo>
                  <a:pt x="9578" y="11847"/>
                  <a:pt x="9736" y="11689"/>
                  <a:pt x="9736" y="11500"/>
                </a:cubicBezTo>
                <a:cubicBezTo>
                  <a:pt x="9736" y="11311"/>
                  <a:pt x="9578" y="11153"/>
                  <a:pt x="9389" y="11153"/>
                </a:cubicBezTo>
                <a:lnTo>
                  <a:pt x="9106" y="11153"/>
                </a:lnTo>
                <a:lnTo>
                  <a:pt x="9106" y="9988"/>
                </a:lnTo>
                <a:cubicBezTo>
                  <a:pt x="9106" y="9925"/>
                  <a:pt x="9137" y="9799"/>
                  <a:pt x="9232" y="9767"/>
                </a:cubicBezTo>
                <a:lnTo>
                  <a:pt x="9830" y="9169"/>
                </a:lnTo>
                <a:cubicBezTo>
                  <a:pt x="10271" y="8696"/>
                  <a:pt x="10523" y="8098"/>
                  <a:pt x="10523" y="7436"/>
                </a:cubicBezTo>
                <a:lnTo>
                  <a:pt x="10523" y="3466"/>
                </a:lnTo>
                <a:cubicBezTo>
                  <a:pt x="10492" y="3214"/>
                  <a:pt x="10334" y="3057"/>
                  <a:pt x="10114" y="3057"/>
                </a:cubicBezTo>
                <a:cubicBezTo>
                  <a:pt x="9956" y="3057"/>
                  <a:pt x="9862" y="3057"/>
                  <a:pt x="9704" y="3120"/>
                </a:cubicBezTo>
                <a:lnTo>
                  <a:pt x="9704" y="1702"/>
                </a:lnTo>
                <a:cubicBezTo>
                  <a:pt x="9704" y="1103"/>
                  <a:pt x="9232" y="662"/>
                  <a:pt x="8665" y="662"/>
                </a:cubicBezTo>
                <a:cubicBezTo>
                  <a:pt x="8539" y="662"/>
                  <a:pt x="8413" y="694"/>
                  <a:pt x="8286" y="757"/>
                </a:cubicBezTo>
                <a:cubicBezTo>
                  <a:pt x="8160" y="316"/>
                  <a:pt x="7751" y="1"/>
                  <a:pt x="7278" y="1"/>
                </a:cubicBezTo>
                <a:cubicBezTo>
                  <a:pt x="6711" y="1"/>
                  <a:pt x="6270" y="473"/>
                  <a:pt x="6270" y="1009"/>
                </a:cubicBezTo>
                <a:lnTo>
                  <a:pt x="6270" y="1103"/>
                </a:lnTo>
                <a:cubicBezTo>
                  <a:pt x="6144" y="1072"/>
                  <a:pt x="6050" y="1009"/>
                  <a:pt x="5924" y="1009"/>
                </a:cubicBezTo>
                <a:cubicBezTo>
                  <a:pt x="5640" y="1009"/>
                  <a:pt x="5388" y="1135"/>
                  <a:pt x="5199" y="1292"/>
                </a:cubicBezTo>
                <a:cubicBezTo>
                  <a:pt x="5010" y="1135"/>
                  <a:pt x="4758" y="1009"/>
                  <a:pt x="4506" y="1009"/>
                </a:cubicBezTo>
                <a:cubicBezTo>
                  <a:pt x="4380" y="1009"/>
                  <a:pt x="4254" y="1072"/>
                  <a:pt x="4128" y="1103"/>
                </a:cubicBezTo>
                <a:lnTo>
                  <a:pt x="4128" y="1009"/>
                </a:lnTo>
                <a:cubicBezTo>
                  <a:pt x="4128" y="442"/>
                  <a:pt x="3655" y="1"/>
                  <a:pt x="3120"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9767" name="Google Shape;9767;p110"/>
          <p:cNvSpPr/>
          <p:nvPr/>
        </p:nvSpPr>
        <p:spPr>
          <a:xfrm>
            <a:off x="7072579" y="2678543"/>
            <a:ext cx="477204" cy="471863"/>
          </a:xfrm>
          <a:custGeom>
            <a:avLst/>
            <a:gdLst/>
            <a:ahLst/>
            <a:cxnLst/>
            <a:rect l="l" t="t" r="r" b="b"/>
            <a:pathLst>
              <a:path w="11973" h="11839" extrusionOk="0">
                <a:moveTo>
                  <a:pt x="9322" y="655"/>
                </a:moveTo>
                <a:cubicBezTo>
                  <a:pt x="9413" y="655"/>
                  <a:pt x="9499" y="686"/>
                  <a:pt x="9547" y="749"/>
                </a:cubicBezTo>
                <a:lnTo>
                  <a:pt x="11027" y="2198"/>
                </a:lnTo>
                <a:cubicBezTo>
                  <a:pt x="11122" y="2324"/>
                  <a:pt x="11122" y="2545"/>
                  <a:pt x="11027" y="2671"/>
                </a:cubicBezTo>
                <a:cubicBezTo>
                  <a:pt x="10964" y="2718"/>
                  <a:pt x="10870" y="2742"/>
                  <a:pt x="10779" y="2742"/>
                </a:cubicBezTo>
                <a:cubicBezTo>
                  <a:pt x="10689" y="2742"/>
                  <a:pt x="10602" y="2718"/>
                  <a:pt x="10555" y="2671"/>
                </a:cubicBezTo>
                <a:lnTo>
                  <a:pt x="10303" y="2419"/>
                </a:lnTo>
                <a:lnTo>
                  <a:pt x="9074" y="1190"/>
                </a:lnTo>
                <a:cubicBezTo>
                  <a:pt x="8916" y="1096"/>
                  <a:pt x="8916" y="907"/>
                  <a:pt x="9074" y="749"/>
                </a:cubicBezTo>
                <a:cubicBezTo>
                  <a:pt x="9137" y="686"/>
                  <a:pt x="9232" y="655"/>
                  <a:pt x="9322" y="655"/>
                </a:cubicBezTo>
                <a:close/>
                <a:moveTo>
                  <a:pt x="9106" y="2230"/>
                </a:moveTo>
                <a:lnTo>
                  <a:pt x="9547" y="2702"/>
                </a:lnTo>
                <a:lnTo>
                  <a:pt x="9011" y="3270"/>
                </a:lnTo>
                <a:lnTo>
                  <a:pt x="8538" y="2797"/>
                </a:lnTo>
                <a:lnTo>
                  <a:pt x="9106" y="2230"/>
                </a:lnTo>
                <a:close/>
                <a:moveTo>
                  <a:pt x="6333" y="1694"/>
                </a:moveTo>
                <a:cubicBezTo>
                  <a:pt x="6396" y="1694"/>
                  <a:pt x="6522" y="1726"/>
                  <a:pt x="6554" y="1789"/>
                </a:cubicBezTo>
                <a:lnTo>
                  <a:pt x="8759" y="3994"/>
                </a:lnTo>
                <a:lnTo>
                  <a:pt x="9988" y="5223"/>
                </a:lnTo>
                <a:cubicBezTo>
                  <a:pt x="10082" y="5254"/>
                  <a:pt x="10114" y="5349"/>
                  <a:pt x="10114" y="5475"/>
                </a:cubicBezTo>
                <a:cubicBezTo>
                  <a:pt x="10114" y="5538"/>
                  <a:pt x="10082" y="5664"/>
                  <a:pt x="9988" y="5695"/>
                </a:cubicBezTo>
                <a:cubicBezTo>
                  <a:pt x="9925" y="5727"/>
                  <a:pt x="9830" y="5821"/>
                  <a:pt x="9767" y="5821"/>
                </a:cubicBezTo>
                <a:cubicBezTo>
                  <a:pt x="9673" y="5821"/>
                  <a:pt x="9547" y="5790"/>
                  <a:pt x="9515" y="5695"/>
                </a:cubicBezTo>
                <a:lnTo>
                  <a:pt x="6081" y="2261"/>
                </a:lnTo>
                <a:cubicBezTo>
                  <a:pt x="6018" y="2198"/>
                  <a:pt x="5987" y="2104"/>
                  <a:pt x="5987" y="2041"/>
                </a:cubicBezTo>
                <a:cubicBezTo>
                  <a:pt x="5987" y="1946"/>
                  <a:pt x="6018" y="1852"/>
                  <a:pt x="6081" y="1789"/>
                </a:cubicBezTo>
                <a:cubicBezTo>
                  <a:pt x="6176" y="1726"/>
                  <a:pt x="6239" y="1694"/>
                  <a:pt x="6333" y="1694"/>
                </a:cubicBezTo>
                <a:close/>
                <a:moveTo>
                  <a:pt x="6333" y="3459"/>
                </a:moveTo>
                <a:lnTo>
                  <a:pt x="8286" y="5412"/>
                </a:lnTo>
                <a:lnTo>
                  <a:pt x="7782" y="5947"/>
                </a:lnTo>
                <a:lnTo>
                  <a:pt x="7026" y="5191"/>
                </a:lnTo>
                <a:cubicBezTo>
                  <a:pt x="6979" y="5128"/>
                  <a:pt x="6892" y="5097"/>
                  <a:pt x="6802" y="5097"/>
                </a:cubicBezTo>
                <a:cubicBezTo>
                  <a:pt x="6711" y="5097"/>
                  <a:pt x="6617" y="5128"/>
                  <a:pt x="6554" y="5191"/>
                </a:cubicBezTo>
                <a:cubicBezTo>
                  <a:pt x="6459" y="5317"/>
                  <a:pt x="6459" y="5538"/>
                  <a:pt x="6554" y="5664"/>
                </a:cubicBezTo>
                <a:lnTo>
                  <a:pt x="7310" y="6420"/>
                </a:lnTo>
                <a:lnTo>
                  <a:pt x="6837" y="6893"/>
                </a:lnTo>
                <a:lnTo>
                  <a:pt x="4884" y="4908"/>
                </a:lnTo>
                <a:lnTo>
                  <a:pt x="6333" y="3459"/>
                </a:lnTo>
                <a:close/>
                <a:moveTo>
                  <a:pt x="4348" y="5506"/>
                </a:moveTo>
                <a:lnTo>
                  <a:pt x="6333" y="7460"/>
                </a:lnTo>
                <a:lnTo>
                  <a:pt x="5860" y="7932"/>
                </a:lnTo>
                <a:lnTo>
                  <a:pt x="5388" y="7460"/>
                </a:lnTo>
                <a:cubicBezTo>
                  <a:pt x="5325" y="7412"/>
                  <a:pt x="5238" y="7389"/>
                  <a:pt x="5152" y="7389"/>
                </a:cubicBezTo>
                <a:cubicBezTo>
                  <a:pt x="5065" y="7389"/>
                  <a:pt x="4978" y="7412"/>
                  <a:pt x="4915" y="7460"/>
                </a:cubicBezTo>
                <a:cubicBezTo>
                  <a:pt x="4789" y="7586"/>
                  <a:pt x="4789" y="7838"/>
                  <a:pt x="4915" y="7932"/>
                </a:cubicBezTo>
                <a:lnTo>
                  <a:pt x="5388" y="8405"/>
                </a:lnTo>
                <a:lnTo>
                  <a:pt x="5167" y="8657"/>
                </a:lnTo>
                <a:cubicBezTo>
                  <a:pt x="4915" y="8846"/>
                  <a:pt x="4632" y="8940"/>
                  <a:pt x="4360" y="8940"/>
                </a:cubicBezTo>
                <a:cubicBezTo>
                  <a:pt x="4088" y="8940"/>
                  <a:pt x="3828" y="8846"/>
                  <a:pt x="3624" y="8657"/>
                </a:cubicBezTo>
                <a:lnTo>
                  <a:pt x="3151" y="8184"/>
                </a:lnTo>
                <a:cubicBezTo>
                  <a:pt x="2742" y="7775"/>
                  <a:pt x="2742" y="7113"/>
                  <a:pt x="3151" y="6735"/>
                </a:cubicBezTo>
                <a:lnTo>
                  <a:pt x="4348" y="5506"/>
                </a:lnTo>
                <a:close/>
                <a:moveTo>
                  <a:pt x="2678" y="8657"/>
                </a:moveTo>
                <a:lnTo>
                  <a:pt x="3151" y="9129"/>
                </a:lnTo>
                <a:lnTo>
                  <a:pt x="2899" y="9350"/>
                </a:lnTo>
                <a:cubicBezTo>
                  <a:pt x="2836" y="9413"/>
                  <a:pt x="2749" y="9444"/>
                  <a:pt x="2663" y="9444"/>
                </a:cubicBezTo>
                <a:cubicBezTo>
                  <a:pt x="2576" y="9444"/>
                  <a:pt x="2489" y="9413"/>
                  <a:pt x="2426" y="9350"/>
                </a:cubicBezTo>
                <a:cubicBezTo>
                  <a:pt x="2300" y="9255"/>
                  <a:pt x="2300" y="9003"/>
                  <a:pt x="2426" y="8877"/>
                </a:cubicBezTo>
                <a:lnTo>
                  <a:pt x="2678" y="8657"/>
                </a:lnTo>
                <a:close/>
                <a:moveTo>
                  <a:pt x="9389" y="1"/>
                </a:moveTo>
                <a:cubicBezTo>
                  <a:pt x="9121" y="1"/>
                  <a:pt x="8853" y="103"/>
                  <a:pt x="8664" y="308"/>
                </a:cubicBezTo>
                <a:cubicBezTo>
                  <a:pt x="8255" y="686"/>
                  <a:pt x="8255" y="1379"/>
                  <a:pt x="8664" y="1757"/>
                </a:cubicBezTo>
                <a:lnTo>
                  <a:pt x="8097" y="2324"/>
                </a:lnTo>
                <a:lnTo>
                  <a:pt x="7121" y="1316"/>
                </a:lnTo>
                <a:cubicBezTo>
                  <a:pt x="6932" y="1127"/>
                  <a:pt x="6648" y="1001"/>
                  <a:pt x="6365" y="1001"/>
                </a:cubicBezTo>
                <a:cubicBezTo>
                  <a:pt x="6081" y="1001"/>
                  <a:pt x="5829" y="1127"/>
                  <a:pt x="5608" y="1316"/>
                </a:cubicBezTo>
                <a:cubicBezTo>
                  <a:pt x="5419" y="1537"/>
                  <a:pt x="5293" y="1789"/>
                  <a:pt x="5293" y="2072"/>
                </a:cubicBezTo>
                <a:cubicBezTo>
                  <a:pt x="5293" y="2356"/>
                  <a:pt x="5419" y="2639"/>
                  <a:pt x="5608" y="2828"/>
                </a:cubicBezTo>
                <a:lnTo>
                  <a:pt x="5860" y="3049"/>
                </a:lnTo>
                <a:lnTo>
                  <a:pt x="2678" y="6263"/>
                </a:lnTo>
                <a:cubicBezTo>
                  <a:pt x="2143" y="6767"/>
                  <a:pt x="2048" y="7460"/>
                  <a:pt x="2269" y="8090"/>
                </a:cubicBezTo>
                <a:lnTo>
                  <a:pt x="1922" y="8468"/>
                </a:lnTo>
                <a:cubicBezTo>
                  <a:pt x="1607" y="8783"/>
                  <a:pt x="1513" y="9255"/>
                  <a:pt x="1733" y="9634"/>
                </a:cubicBezTo>
                <a:lnTo>
                  <a:pt x="95" y="11240"/>
                </a:lnTo>
                <a:cubicBezTo>
                  <a:pt x="1" y="11366"/>
                  <a:pt x="1" y="11618"/>
                  <a:pt x="95" y="11713"/>
                </a:cubicBezTo>
                <a:cubicBezTo>
                  <a:pt x="190" y="11807"/>
                  <a:pt x="284" y="11839"/>
                  <a:pt x="347" y="11839"/>
                </a:cubicBezTo>
                <a:cubicBezTo>
                  <a:pt x="410" y="11839"/>
                  <a:pt x="536" y="11807"/>
                  <a:pt x="568" y="11713"/>
                </a:cubicBezTo>
                <a:lnTo>
                  <a:pt x="2206" y="10106"/>
                </a:lnTo>
                <a:cubicBezTo>
                  <a:pt x="2363" y="10201"/>
                  <a:pt x="2458" y="10232"/>
                  <a:pt x="2615" y="10232"/>
                </a:cubicBezTo>
                <a:cubicBezTo>
                  <a:pt x="2899" y="10232"/>
                  <a:pt x="3183" y="10106"/>
                  <a:pt x="3372" y="9917"/>
                </a:cubicBezTo>
                <a:lnTo>
                  <a:pt x="3718" y="9571"/>
                </a:lnTo>
                <a:cubicBezTo>
                  <a:pt x="3939" y="9634"/>
                  <a:pt x="4159" y="9665"/>
                  <a:pt x="4348" y="9665"/>
                </a:cubicBezTo>
                <a:cubicBezTo>
                  <a:pt x="4789" y="9665"/>
                  <a:pt x="5262" y="9508"/>
                  <a:pt x="5577" y="9161"/>
                </a:cubicBezTo>
                <a:lnTo>
                  <a:pt x="8759" y="5979"/>
                </a:lnTo>
                <a:lnTo>
                  <a:pt x="9011" y="6199"/>
                </a:lnTo>
                <a:cubicBezTo>
                  <a:pt x="9200" y="6420"/>
                  <a:pt x="9484" y="6515"/>
                  <a:pt x="9767" y="6515"/>
                </a:cubicBezTo>
                <a:cubicBezTo>
                  <a:pt x="10019" y="6515"/>
                  <a:pt x="10303" y="6420"/>
                  <a:pt x="10492" y="6199"/>
                </a:cubicBezTo>
                <a:cubicBezTo>
                  <a:pt x="10712" y="6010"/>
                  <a:pt x="10807" y="5727"/>
                  <a:pt x="10807" y="5475"/>
                </a:cubicBezTo>
                <a:cubicBezTo>
                  <a:pt x="10807" y="5191"/>
                  <a:pt x="10712" y="4908"/>
                  <a:pt x="10492" y="4719"/>
                </a:cubicBezTo>
                <a:lnTo>
                  <a:pt x="9515" y="3711"/>
                </a:lnTo>
                <a:lnTo>
                  <a:pt x="10082" y="3207"/>
                </a:lnTo>
                <a:cubicBezTo>
                  <a:pt x="10271" y="3427"/>
                  <a:pt x="10555" y="3522"/>
                  <a:pt x="10807" y="3522"/>
                </a:cubicBezTo>
                <a:cubicBezTo>
                  <a:pt x="11090" y="3522"/>
                  <a:pt x="11374" y="3427"/>
                  <a:pt x="11563" y="3207"/>
                </a:cubicBezTo>
                <a:cubicBezTo>
                  <a:pt x="11972" y="2828"/>
                  <a:pt x="11972" y="2167"/>
                  <a:pt x="11563" y="1757"/>
                </a:cubicBezTo>
                <a:lnTo>
                  <a:pt x="10114" y="308"/>
                </a:lnTo>
                <a:cubicBezTo>
                  <a:pt x="9925" y="103"/>
                  <a:pt x="9657" y="1"/>
                  <a:pt x="9389"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nvGrpSpPr>
          <p:cNvPr id="9768" name="Google Shape;9768;p110"/>
          <p:cNvGrpSpPr/>
          <p:nvPr/>
        </p:nvGrpSpPr>
        <p:grpSpPr>
          <a:xfrm>
            <a:off x="7158585" y="3266706"/>
            <a:ext cx="303907" cy="472181"/>
            <a:chOff x="-28043900" y="2701925"/>
            <a:chExt cx="190625" cy="296175"/>
          </a:xfrm>
        </p:grpSpPr>
        <p:sp>
          <p:nvSpPr>
            <p:cNvPr id="9769" name="Google Shape;9769;p110"/>
            <p:cNvSpPr/>
            <p:nvPr/>
          </p:nvSpPr>
          <p:spPr>
            <a:xfrm>
              <a:off x="-28043900" y="2701925"/>
              <a:ext cx="190625" cy="296175"/>
            </a:xfrm>
            <a:custGeom>
              <a:avLst/>
              <a:gdLst/>
              <a:ahLst/>
              <a:cxnLst/>
              <a:rect l="l" t="t" r="r" b="b"/>
              <a:pathLst>
                <a:path w="7625" h="11847" extrusionOk="0">
                  <a:moveTo>
                    <a:pt x="5136" y="662"/>
                  </a:moveTo>
                  <a:cubicBezTo>
                    <a:pt x="5325" y="662"/>
                    <a:pt x="5483" y="820"/>
                    <a:pt x="5483" y="1009"/>
                  </a:cubicBezTo>
                  <a:cubicBezTo>
                    <a:pt x="5483" y="1198"/>
                    <a:pt x="5325" y="1356"/>
                    <a:pt x="5136" y="1356"/>
                  </a:cubicBezTo>
                  <a:lnTo>
                    <a:pt x="2364" y="1356"/>
                  </a:lnTo>
                  <a:cubicBezTo>
                    <a:pt x="2175" y="1356"/>
                    <a:pt x="2017" y="1198"/>
                    <a:pt x="2017" y="1009"/>
                  </a:cubicBezTo>
                  <a:cubicBezTo>
                    <a:pt x="2017" y="820"/>
                    <a:pt x="2175" y="662"/>
                    <a:pt x="2364" y="662"/>
                  </a:cubicBezTo>
                  <a:close/>
                  <a:moveTo>
                    <a:pt x="4790" y="2080"/>
                  </a:moveTo>
                  <a:lnTo>
                    <a:pt x="4790" y="4411"/>
                  </a:lnTo>
                  <a:cubicBezTo>
                    <a:pt x="4790" y="4758"/>
                    <a:pt x="4979" y="5105"/>
                    <a:pt x="5294" y="5294"/>
                  </a:cubicBezTo>
                  <a:cubicBezTo>
                    <a:pt x="6113" y="5766"/>
                    <a:pt x="6680" y="6554"/>
                    <a:pt x="6837" y="7499"/>
                  </a:cubicBezTo>
                  <a:cubicBezTo>
                    <a:pt x="6504" y="7632"/>
                    <a:pt x="6166" y="7699"/>
                    <a:pt x="5828" y="7699"/>
                  </a:cubicBezTo>
                  <a:cubicBezTo>
                    <a:pt x="5207" y="7699"/>
                    <a:pt x="4582" y="7475"/>
                    <a:pt x="3971" y="7026"/>
                  </a:cubicBezTo>
                  <a:cubicBezTo>
                    <a:pt x="3372" y="6648"/>
                    <a:pt x="2773" y="6396"/>
                    <a:pt x="2143" y="6333"/>
                  </a:cubicBezTo>
                  <a:cubicBezTo>
                    <a:pt x="1970" y="6318"/>
                    <a:pt x="1805" y="6310"/>
                    <a:pt x="1639" y="6310"/>
                  </a:cubicBezTo>
                  <a:cubicBezTo>
                    <a:pt x="1474" y="6310"/>
                    <a:pt x="1308" y="6318"/>
                    <a:pt x="1135" y="6333"/>
                  </a:cubicBezTo>
                  <a:cubicBezTo>
                    <a:pt x="1387" y="5892"/>
                    <a:pt x="1734" y="5546"/>
                    <a:pt x="2175" y="5294"/>
                  </a:cubicBezTo>
                  <a:cubicBezTo>
                    <a:pt x="2490" y="5105"/>
                    <a:pt x="2679" y="4790"/>
                    <a:pt x="2679" y="4443"/>
                  </a:cubicBezTo>
                  <a:lnTo>
                    <a:pt x="2679" y="2080"/>
                  </a:lnTo>
                  <a:close/>
                  <a:moveTo>
                    <a:pt x="1670" y="6939"/>
                  </a:moveTo>
                  <a:cubicBezTo>
                    <a:pt x="2308" y="6939"/>
                    <a:pt x="2942" y="7156"/>
                    <a:pt x="3561" y="7562"/>
                  </a:cubicBezTo>
                  <a:cubicBezTo>
                    <a:pt x="4160" y="7940"/>
                    <a:pt x="4790" y="8192"/>
                    <a:pt x="5420" y="8255"/>
                  </a:cubicBezTo>
                  <a:cubicBezTo>
                    <a:pt x="5577" y="8255"/>
                    <a:pt x="5672" y="8287"/>
                    <a:pt x="5829" y="8287"/>
                  </a:cubicBezTo>
                  <a:cubicBezTo>
                    <a:pt x="6207" y="8287"/>
                    <a:pt x="6554" y="8255"/>
                    <a:pt x="6869" y="8129"/>
                  </a:cubicBezTo>
                  <a:lnTo>
                    <a:pt x="6869" y="8129"/>
                  </a:lnTo>
                  <a:cubicBezTo>
                    <a:pt x="6869" y="8255"/>
                    <a:pt x="6837" y="8381"/>
                    <a:pt x="6837" y="8507"/>
                  </a:cubicBezTo>
                  <a:cubicBezTo>
                    <a:pt x="6585" y="9799"/>
                    <a:pt x="5640" y="10807"/>
                    <a:pt x="4412" y="11059"/>
                  </a:cubicBezTo>
                  <a:cubicBezTo>
                    <a:pt x="4192" y="11103"/>
                    <a:pt x="3970" y="11125"/>
                    <a:pt x="3750" y="11125"/>
                  </a:cubicBezTo>
                  <a:cubicBezTo>
                    <a:pt x="3027" y="11125"/>
                    <a:pt x="2328" y="10888"/>
                    <a:pt x="1797" y="10429"/>
                  </a:cubicBezTo>
                  <a:cubicBezTo>
                    <a:pt x="1041" y="9830"/>
                    <a:pt x="631" y="8917"/>
                    <a:pt x="631" y="7972"/>
                  </a:cubicBezTo>
                  <a:cubicBezTo>
                    <a:pt x="631" y="7656"/>
                    <a:pt x="694" y="7404"/>
                    <a:pt x="757" y="7089"/>
                  </a:cubicBezTo>
                  <a:cubicBezTo>
                    <a:pt x="1062" y="6988"/>
                    <a:pt x="1366" y="6939"/>
                    <a:pt x="1670" y="6939"/>
                  </a:cubicBezTo>
                  <a:close/>
                  <a:moveTo>
                    <a:pt x="2427" y="1"/>
                  </a:moveTo>
                  <a:cubicBezTo>
                    <a:pt x="1828" y="1"/>
                    <a:pt x="1387" y="473"/>
                    <a:pt x="1387" y="1009"/>
                  </a:cubicBezTo>
                  <a:cubicBezTo>
                    <a:pt x="1387" y="1450"/>
                    <a:pt x="1671" y="1828"/>
                    <a:pt x="2112" y="1986"/>
                  </a:cubicBezTo>
                  <a:lnTo>
                    <a:pt x="2112" y="4443"/>
                  </a:lnTo>
                  <a:cubicBezTo>
                    <a:pt x="2112" y="4569"/>
                    <a:pt x="2017" y="4632"/>
                    <a:pt x="1891" y="4727"/>
                  </a:cubicBezTo>
                  <a:cubicBezTo>
                    <a:pt x="1356" y="5042"/>
                    <a:pt x="883" y="5514"/>
                    <a:pt x="536" y="6081"/>
                  </a:cubicBezTo>
                  <a:cubicBezTo>
                    <a:pt x="410" y="6302"/>
                    <a:pt x="284" y="6522"/>
                    <a:pt x="221" y="6711"/>
                  </a:cubicBezTo>
                  <a:lnTo>
                    <a:pt x="221" y="6743"/>
                  </a:lnTo>
                  <a:cubicBezTo>
                    <a:pt x="64" y="7152"/>
                    <a:pt x="1" y="7593"/>
                    <a:pt x="1" y="8003"/>
                  </a:cubicBezTo>
                  <a:cubicBezTo>
                    <a:pt x="1" y="9169"/>
                    <a:pt x="536" y="10271"/>
                    <a:pt x="1419" y="10964"/>
                  </a:cubicBezTo>
                  <a:cubicBezTo>
                    <a:pt x="2112" y="11532"/>
                    <a:pt x="2962" y="11847"/>
                    <a:pt x="3845" y="11847"/>
                  </a:cubicBezTo>
                  <a:cubicBezTo>
                    <a:pt x="4097" y="11847"/>
                    <a:pt x="4380" y="11784"/>
                    <a:pt x="4664" y="11752"/>
                  </a:cubicBezTo>
                  <a:cubicBezTo>
                    <a:pt x="5420" y="11595"/>
                    <a:pt x="6081" y="11248"/>
                    <a:pt x="6585" y="10681"/>
                  </a:cubicBezTo>
                  <a:cubicBezTo>
                    <a:pt x="7090" y="10145"/>
                    <a:pt x="7468" y="9484"/>
                    <a:pt x="7625" y="8728"/>
                  </a:cubicBezTo>
                  <a:cubicBezTo>
                    <a:pt x="7562" y="8350"/>
                    <a:pt x="7562" y="7972"/>
                    <a:pt x="7531" y="7656"/>
                  </a:cubicBezTo>
                  <a:cubicBezTo>
                    <a:pt x="7499" y="7184"/>
                    <a:pt x="7373" y="6743"/>
                    <a:pt x="7184" y="6333"/>
                  </a:cubicBezTo>
                  <a:cubicBezTo>
                    <a:pt x="6837" y="5609"/>
                    <a:pt x="6302" y="5073"/>
                    <a:pt x="5640" y="4664"/>
                  </a:cubicBezTo>
                  <a:cubicBezTo>
                    <a:pt x="5577" y="4632"/>
                    <a:pt x="5483" y="4506"/>
                    <a:pt x="5483" y="4411"/>
                  </a:cubicBezTo>
                  <a:lnTo>
                    <a:pt x="5483" y="1986"/>
                  </a:lnTo>
                  <a:cubicBezTo>
                    <a:pt x="5892" y="1828"/>
                    <a:pt x="6207" y="1482"/>
                    <a:pt x="6207" y="1009"/>
                  </a:cubicBezTo>
                  <a:cubicBezTo>
                    <a:pt x="6207" y="410"/>
                    <a:pt x="5735" y="1"/>
                    <a:pt x="5168"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9770" name="Google Shape;9770;p110"/>
            <p:cNvSpPr/>
            <p:nvPr/>
          </p:nvSpPr>
          <p:spPr>
            <a:xfrm>
              <a:off x="-27976950" y="2910650"/>
              <a:ext cx="18150" cy="17350"/>
            </a:xfrm>
            <a:custGeom>
              <a:avLst/>
              <a:gdLst/>
              <a:ahLst/>
              <a:cxnLst/>
              <a:rect l="l" t="t" r="r" b="b"/>
              <a:pathLst>
                <a:path w="726" h="694" extrusionOk="0">
                  <a:moveTo>
                    <a:pt x="379" y="1"/>
                  </a:moveTo>
                  <a:cubicBezTo>
                    <a:pt x="158" y="1"/>
                    <a:pt x="1" y="158"/>
                    <a:pt x="1" y="347"/>
                  </a:cubicBezTo>
                  <a:cubicBezTo>
                    <a:pt x="1" y="536"/>
                    <a:pt x="158" y="694"/>
                    <a:pt x="379" y="694"/>
                  </a:cubicBezTo>
                  <a:cubicBezTo>
                    <a:pt x="568" y="694"/>
                    <a:pt x="725" y="536"/>
                    <a:pt x="725" y="347"/>
                  </a:cubicBezTo>
                  <a:cubicBezTo>
                    <a:pt x="725" y="158"/>
                    <a:pt x="568" y="1"/>
                    <a:pt x="379"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9771" name="Google Shape;9771;p110"/>
            <p:cNvSpPr/>
            <p:nvPr/>
          </p:nvSpPr>
          <p:spPr>
            <a:xfrm>
              <a:off x="-27924175" y="2927975"/>
              <a:ext cx="17350" cy="18150"/>
            </a:xfrm>
            <a:custGeom>
              <a:avLst/>
              <a:gdLst/>
              <a:ahLst/>
              <a:cxnLst/>
              <a:rect l="l" t="t" r="r" b="b"/>
              <a:pathLst>
                <a:path w="694" h="726" extrusionOk="0">
                  <a:moveTo>
                    <a:pt x="347" y="1"/>
                  </a:moveTo>
                  <a:cubicBezTo>
                    <a:pt x="158" y="1"/>
                    <a:pt x="1" y="158"/>
                    <a:pt x="1" y="347"/>
                  </a:cubicBezTo>
                  <a:cubicBezTo>
                    <a:pt x="1" y="568"/>
                    <a:pt x="158" y="725"/>
                    <a:pt x="347" y="725"/>
                  </a:cubicBezTo>
                  <a:cubicBezTo>
                    <a:pt x="536" y="725"/>
                    <a:pt x="694" y="568"/>
                    <a:pt x="694" y="347"/>
                  </a:cubicBezTo>
                  <a:cubicBezTo>
                    <a:pt x="694" y="158"/>
                    <a:pt x="536" y="1"/>
                    <a:pt x="347"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9772" name="Google Shape;9772;p110"/>
            <p:cNvSpPr/>
            <p:nvPr/>
          </p:nvSpPr>
          <p:spPr>
            <a:xfrm>
              <a:off x="-27976950" y="2946100"/>
              <a:ext cx="18150" cy="17350"/>
            </a:xfrm>
            <a:custGeom>
              <a:avLst/>
              <a:gdLst/>
              <a:ahLst/>
              <a:cxnLst/>
              <a:rect l="l" t="t" r="r" b="b"/>
              <a:pathLst>
                <a:path w="726" h="694" extrusionOk="0">
                  <a:moveTo>
                    <a:pt x="379" y="0"/>
                  </a:moveTo>
                  <a:cubicBezTo>
                    <a:pt x="158" y="0"/>
                    <a:pt x="1" y="158"/>
                    <a:pt x="1" y="347"/>
                  </a:cubicBezTo>
                  <a:cubicBezTo>
                    <a:pt x="1" y="536"/>
                    <a:pt x="158" y="693"/>
                    <a:pt x="379" y="693"/>
                  </a:cubicBezTo>
                  <a:cubicBezTo>
                    <a:pt x="568" y="693"/>
                    <a:pt x="725" y="536"/>
                    <a:pt x="725" y="347"/>
                  </a:cubicBezTo>
                  <a:cubicBezTo>
                    <a:pt x="725" y="158"/>
                    <a:pt x="568" y="0"/>
                    <a:pt x="379"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9773" name="Google Shape;9773;p110"/>
            <p:cNvSpPr/>
            <p:nvPr/>
          </p:nvSpPr>
          <p:spPr>
            <a:xfrm>
              <a:off x="-28010800" y="2893325"/>
              <a:ext cx="17350" cy="18150"/>
            </a:xfrm>
            <a:custGeom>
              <a:avLst/>
              <a:gdLst/>
              <a:ahLst/>
              <a:cxnLst/>
              <a:rect l="l" t="t" r="r" b="b"/>
              <a:pathLst>
                <a:path w="694" h="726" extrusionOk="0">
                  <a:moveTo>
                    <a:pt x="347" y="0"/>
                  </a:moveTo>
                  <a:cubicBezTo>
                    <a:pt x="158" y="0"/>
                    <a:pt x="0" y="158"/>
                    <a:pt x="0" y="379"/>
                  </a:cubicBezTo>
                  <a:cubicBezTo>
                    <a:pt x="0" y="568"/>
                    <a:pt x="158" y="725"/>
                    <a:pt x="347" y="725"/>
                  </a:cubicBezTo>
                  <a:cubicBezTo>
                    <a:pt x="536" y="725"/>
                    <a:pt x="693" y="568"/>
                    <a:pt x="693" y="379"/>
                  </a:cubicBezTo>
                  <a:cubicBezTo>
                    <a:pt x="693" y="158"/>
                    <a:pt x="536" y="0"/>
                    <a:pt x="347"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9774" name="Google Shape;9774;p110"/>
          <p:cNvGrpSpPr/>
          <p:nvPr/>
        </p:nvGrpSpPr>
        <p:grpSpPr>
          <a:xfrm>
            <a:off x="10055740" y="2082624"/>
            <a:ext cx="472181" cy="470907"/>
            <a:chOff x="-26215025" y="1971025"/>
            <a:chExt cx="296175" cy="295375"/>
          </a:xfrm>
        </p:grpSpPr>
        <p:sp>
          <p:nvSpPr>
            <p:cNvPr id="9775" name="Google Shape;9775;p110"/>
            <p:cNvSpPr/>
            <p:nvPr/>
          </p:nvSpPr>
          <p:spPr>
            <a:xfrm>
              <a:off x="-26092950" y="1971025"/>
              <a:ext cx="51225" cy="225275"/>
            </a:xfrm>
            <a:custGeom>
              <a:avLst/>
              <a:gdLst/>
              <a:ahLst/>
              <a:cxnLst/>
              <a:rect l="l" t="t" r="r" b="b"/>
              <a:pathLst>
                <a:path w="2049" h="9011" extrusionOk="0">
                  <a:moveTo>
                    <a:pt x="1009" y="7246"/>
                  </a:moveTo>
                  <a:cubicBezTo>
                    <a:pt x="1198" y="7593"/>
                    <a:pt x="1355" y="7877"/>
                    <a:pt x="1355" y="8003"/>
                  </a:cubicBezTo>
                  <a:cubicBezTo>
                    <a:pt x="1355" y="8192"/>
                    <a:pt x="1198" y="8349"/>
                    <a:pt x="1009" y="8349"/>
                  </a:cubicBezTo>
                  <a:cubicBezTo>
                    <a:pt x="820" y="8349"/>
                    <a:pt x="662" y="8192"/>
                    <a:pt x="662" y="8003"/>
                  </a:cubicBezTo>
                  <a:cubicBezTo>
                    <a:pt x="694" y="7877"/>
                    <a:pt x="820" y="7562"/>
                    <a:pt x="1009" y="7246"/>
                  </a:cubicBezTo>
                  <a:close/>
                  <a:moveTo>
                    <a:pt x="977" y="0"/>
                  </a:moveTo>
                  <a:cubicBezTo>
                    <a:pt x="788" y="0"/>
                    <a:pt x="631" y="158"/>
                    <a:pt x="631" y="347"/>
                  </a:cubicBezTo>
                  <a:lnTo>
                    <a:pt x="631" y="6490"/>
                  </a:lnTo>
                  <a:cubicBezTo>
                    <a:pt x="536" y="6616"/>
                    <a:pt x="410" y="6774"/>
                    <a:pt x="316" y="6963"/>
                  </a:cubicBezTo>
                  <a:cubicBezTo>
                    <a:pt x="32" y="7562"/>
                    <a:pt x="1" y="7845"/>
                    <a:pt x="1" y="8003"/>
                  </a:cubicBezTo>
                  <a:cubicBezTo>
                    <a:pt x="1" y="8601"/>
                    <a:pt x="473" y="9011"/>
                    <a:pt x="1009" y="9011"/>
                  </a:cubicBezTo>
                  <a:cubicBezTo>
                    <a:pt x="1576" y="9011"/>
                    <a:pt x="2048" y="8538"/>
                    <a:pt x="2048" y="8003"/>
                  </a:cubicBezTo>
                  <a:cubicBezTo>
                    <a:pt x="2048" y="7845"/>
                    <a:pt x="1985" y="7593"/>
                    <a:pt x="1639" y="6963"/>
                  </a:cubicBezTo>
                  <a:cubicBezTo>
                    <a:pt x="1513" y="6774"/>
                    <a:pt x="1418" y="6585"/>
                    <a:pt x="1324" y="6490"/>
                  </a:cubicBezTo>
                  <a:lnTo>
                    <a:pt x="1324" y="347"/>
                  </a:lnTo>
                  <a:cubicBezTo>
                    <a:pt x="1324" y="158"/>
                    <a:pt x="1166" y="0"/>
                    <a:pt x="977"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9776" name="Google Shape;9776;p110"/>
            <p:cNvSpPr/>
            <p:nvPr/>
          </p:nvSpPr>
          <p:spPr>
            <a:xfrm>
              <a:off x="-26179575" y="2214400"/>
              <a:ext cx="17350" cy="17350"/>
            </a:xfrm>
            <a:custGeom>
              <a:avLst/>
              <a:gdLst/>
              <a:ahLst/>
              <a:cxnLst/>
              <a:rect l="l" t="t" r="r" b="b"/>
              <a:pathLst>
                <a:path w="694" h="694" extrusionOk="0">
                  <a:moveTo>
                    <a:pt x="347" y="0"/>
                  </a:moveTo>
                  <a:cubicBezTo>
                    <a:pt x="158" y="0"/>
                    <a:pt x="0" y="158"/>
                    <a:pt x="0" y="347"/>
                  </a:cubicBezTo>
                  <a:cubicBezTo>
                    <a:pt x="0" y="536"/>
                    <a:pt x="158" y="693"/>
                    <a:pt x="347" y="693"/>
                  </a:cubicBezTo>
                  <a:cubicBezTo>
                    <a:pt x="536" y="693"/>
                    <a:pt x="693" y="536"/>
                    <a:pt x="693" y="347"/>
                  </a:cubicBezTo>
                  <a:cubicBezTo>
                    <a:pt x="693" y="158"/>
                    <a:pt x="536" y="0"/>
                    <a:pt x="347"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9777" name="Google Shape;9777;p110"/>
            <p:cNvSpPr/>
            <p:nvPr/>
          </p:nvSpPr>
          <p:spPr>
            <a:xfrm>
              <a:off x="-26163050" y="2178950"/>
              <a:ext cx="17350" cy="17350"/>
            </a:xfrm>
            <a:custGeom>
              <a:avLst/>
              <a:gdLst/>
              <a:ahLst/>
              <a:cxnLst/>
              <a:rect l="l" t="t" r="r" b="b"/>
              <a:pathLst>
                <a:path w="694" h="694" extrusionOk="0">
                  <a:moveTo>
                    <a:pt x="347" y="1"/>
                  </a:moveTo>
                  <a:cubicBezTo>
                    <a:pt x="158" y="1"/>
                    <a:pt x="1" y="158"/>
                    <a:pt x="1" y="347"/>
                  </a:cubicBezTo>
                  <a:cubicBezTo>
                    <a:pt x="1" y="536"/>
                    <a:pt x="158" y="694"/>
                    <a:pt x="347" y="694"/>
                  </a:cubicBezTo>
                  <a:cubicBezTo>
                    <a:pt x="536" y="694"/>
                    <a:pt x="694" y="536"/>
                    <a:pt x="694" y="347"/>
                  </a:cubicBezTo>
                  <a:cubicBezTo>
                    <a:pt x="694" y="158"/>
                    <a:pt x="536" y="1"/>
                    <a:pt x="347"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9778" name="Google Shape;9778;p110"/>
            <p:cNvSpPr/>
            <p:nvPr/>
          </p:nvSpPr>
          <p:spPr>
            <a:xfrm>
              <a:off x="-26145725" y="2214400"/>
              <a:ext cx="18150" cy="17350"/>
            </a:xfrm>
            <a:custGeom>
              <a:avLst/>
              <a:gdLst/>
              <a:ahLst/>
              <a:cxnLst/>
              <a:rect l="l" t="t" r="r" b="b"/>
              <a:pathLst>
                <a:path w="726" h="694" extrusionOk="0">
                  <a:moveTo>
                    <a:pt x="379" y="0"/>
                  </a:moveTo>
                  <a:cubicBezTo>
                    <a:pt x="158" y="0"/>
                    <a:pt x="1" y="158"/>
                    <a:pt x="1" y="347"/>
                  </a:cubicBezTo>
                  <a:cubicBezTo>
                    <a:pt x="1" y="536"/>
                    <a:pt x="158" y="693"/>
                    <a:pt x="379" y="693"/>
                  </a:cubicBezTo>
                  <a:cubicBezTo>
                    <a:pt x="568" y="693"/>
                    <a:pt x="725" y="536"/>
                    <a:pt x="725" y="347"/>
                  </a:cubicBezTo>
                  <a:cubicBezTo>
                    <a:pt x="725" y="158"/>
                    <a:pt x="568" y="0"/>
                    <a:pt x="379"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9779" name="Google Shape;9779;p110"/>
            <p:cNvSpPr/>
            <p:nvPr/>
          </p:nvSpPr>
          <p:spPr>
            <a:xfrm>
              <a:off x="-25988975" y="2178950"/>
              <a:ext cx="18125" cy="17350"/>
            </a:xfrm>
            <a:custGeom>
              <a:avLst/>
              <a:gdLst/>
              <a:ahLst/>
              <a:cxnLst/>
              <a:rect l="l" t="t" r="r" b="b"/>
              <a:pathLst>
                <a:path w="725" h="694" extrusionOk="0">
                  <a:moveTo>
                    <a:pt x="347" y="1"/>
                  </a:moveTo>
                  <a:cubicBezTo>
                    <a:pt x="158" y="1"/>
                    <a:pt x="0" y="158"/>
                    <a:pt x="0" y="347"/>
                  </a:cubicBezTo>
                  <a:cubicBezTo>
                    <a:pt x="0" y="536"/>
                    <a:pt x="158" y="694"/>
                    <a:pt x="347" y="694"/>
                  </a:cubicBezTo>
                  <a:cubicBezTo>
                    <a:pt x="567" y="694"/>
                    <a:pt x="725" y="536"/>
                    <a:pt x="725" y="347"/>
                  </a:cubicBezTo>
                  <a:cubicBezTo>
                    <a:pt x="662" y="158"/>
                    <a:pt x="504" y="1"/>
                    <a:pt x="347"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9780" name="Google Shape;9780;p110"/>
            <p:cNvSpPr/>
            <p:nvPr/>
          </p:nvSpPr>
          <p:spPr>
            <a:xfrm>
              <a:off x="-26006300" y="2214400"/>
              <a:ext cx="17350" cy="17350"/>
            </a:xfrm>
            <a:custGeom>
              <a:avLst/>
              <a:gdLst/>
              <a:ahLst/>
              <a:cxnLst/>
              <a:rect l="l" t="t" r="r" b="b"/>
              <a:pathLst>
                <a:path w="694" h="694" extrusionOk="0">
                  <a:moveTo>
                    <a:pt x="347" y="0"/>
                  </a:moveTo>
                  <a:cubicBezTo>
                    <a:pt x="158" y="0"/>
                    <a:pt x="0" y="158"/>
                    <a:pt x="0" y="347"/>
                  </a:cubicBezTo>
                  <a:cubicBezTo>
                    <a:pt x="0" y="536"/>
                    <a:pt x="158" y="693"/>
                    <a:pt x="347" y="693"/>
                  </a:cubicBezTo>
                  <a:cubicBezTo>
                    <a:pt x="536" y="693"/>
                    <a:pt x="693" y="536"/>
                    <a:pt x="693" y="347"/>
                  </a:cubicBezTo>
                  <a:cubicBezTo>
                    <a:pt x="693" y="158"/>
                    <a:pt x="536" y="0"/>
                    <a:pt x="347"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9781" name="Google Shape;9781;p110"/>
            <p:cNvSpPr/>
            <p:nvPr/>
          </p:nvSpPr>
          <p:spPr>
            <a:xfrm>
              <a:off x="-25972450" y="2214400"/>
              <a:ext cx="18150" cy="17350"/>
            </a:xfrm>
            <a:custGeom>
              <a:avLst/>
              <a:gdLst/>
              <a:ahLst/>
              <a:cxnLst/>
              <a:rect l="l" t="t" r="r" b="b"/>
              <a:pathLst>
                <a:path w="726" h="694" extrusionOk="0">
                  <a:moveTo>
                    <a:pt x="379" y="0"/>
                  </a:moveTo>
                  <a:cubicBezTo>
                    <a:pt x="158" y="0"/>
                    <a:pt x="1" y="158"/>
                    <a:pt x="1" y="347"/>
                  </a:cubicBezTo>
                  <a:cubicBezTo>
                    <a:pt x="1" y="536"/>
                    <a:pt x="158" y="693"/>
                    <a:pt x="379" y="693"/>
                  </a:cubicBezTo>
                  <a:cubicBezTo>
                    <a:pt x="568" y="693"/>
                    <a:pt x="726" y="536"/>
                    <a:pt x="726" y="347"/>
                  </a:cubicBezTo>
                  <a:cubicBezTo>
                    <a:pt x="726" y="158"/>
                    <a:pt x="568" y="0"/>
                    <a:pt x="379"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9782" name="Google Shape;9782;p110"/>
            <p:cNvSpPr/>
            <p:nvPr/>
          </p:nvSpPr>
          <p:spPr>
            <a:xfrm>
              <a:off x="-26215025" y="2108850"/>
              <a:ext cx="296175" cy="157550"/>
            </a:xfrm>
            <a:custGeom>
              <a:avLst/>
              <a:gdLst/>
              <a:ahLst/>
              <a:cxnLst/>
              <a:rect l="l" t="t" r="r" b="b"/>
              <a:pathLst>
                <a:path w="11847" h="6302" extrusionOk="0">
                  <a:moveTo>
                    <a:pt x="4128" y="725"/>
                  </a:moveTo>
                  <a:cubicBezTo>
                    <a:pt x="3970" y="946"/>
                    <a:pt x="3844" y="1198"/>
                    <a:pt x="3781" y="1418"/>
                  </a:cubicBezTo>
                  <a:cubicBezTo>
                    <a:pt x="3781" y="1450"/>
                    <a:pt x="3749" y="1513"/>
                    <a:pt x="3749" y="1544"/>
                  </a:cubicBezTo>
                  <a:cubicBezTo>
                    <a:pt x="3403" y="1355"/>
                    <a:pt x="2993" y="1261"/>
                    <a:pt x="2615" y="1261"/>
                  </a:cubicBezTo>
                  <a:cubicBezTo>
                    <a:pt x="2111" y="1261"/>
                    <a:pt x="1450" y="1418"/>
                    <a:pt x="1166" y="1891"/>
                  </a:cubicBezTo>
                  <a:cubicBezTo>
                    <a:pt x="1040" y="2080"/>
                    <a:pt x="851" y="2175"/>
                    <a:pt x="694" y="2175"/>
                  </a:cubicBezTo>
                  <a:lnTo>
                    <a:pt x="694" y="1072"/>
                  </a:lnTo>
                  <a:cubicBezTo>
                    <a:pt x="694" y="851"/>
                    <a:pt x="851" y="725"/>
                    <a:pt x="1040" y="725"/>
                  </a:cubicBezTo>
                  <a:close/>
                  <a:moveTo>
                    <a:pt x="10775" y="725"/>
                  </a:moveTo>
                  <a:cubicBezTo>
                    <a:pt x="10964" y="725"/>
                    <a:pt x="11122" y="883"/>
                    <a:pt x="11122" y="1072"/>
                  </a:cubicBezTo>
                  <a:lnTo>
                    <a:pt x="11122" y="2175"/>
                  </a:lnTo>
                  <a:cubicBezTo>
                    <a:pt x="10933" y="2175"/>
                    <a:pt x="10775" y="2080"/>
                    <a:pt x="10649" y="1891"/>
                  </a:cubicBezTo>
                  <a:cubicBezTo>
                    <a:pt x="10429" y="1513"/>
                    <a:pt x="10050" y="1261"/>
                    <a:pt x="9546" y="1261"/>
                  </a:cubicBezTo>
                  <a:cubicBezTo>
                    <a:pt x="9074" y="1261"/>
                    <a:pt x="8696" y="1513"/>
                    <a:pt x="8444" y="1891"/>
                  </a:cubicBezTo>
                  <a:cubicBezTo>
                    <a:pt x="8412" y="1985"/>
                    <a:pt x="8349" y="2049"/>
                    <a:pt x="8286" y="2143"/>
                  </a:cubicBezTo>
                  <a:cubicBezTo>
                    <a:pt x="8255" y="1828"/>
                    <a:pt x="8097" y="1355"/>
                    <a:pt x="7719" y="725"/>
                  </a:cubicBezTo>
                  <a:close/>
                  <a:moveTo>
                    <a:pt x="9609" y="1922"/>
                  </a:moveTo>
                  <a:cubicBezTo>
                    <a:pt x="9830" y="1922"/>
                    <a:pt x="9987" y="2049"/>
                    <a:pt x="10113" y="2206"/>
                  </a:cubicBezTo>
                  <a:cubicBezTo>
                    <a:pt x="10334" y="2616"/>
                    <a:pt x="10744" y="2836"/>
                    <a:pt x="11185" y="2836"/>
                  </a:cubicBezTo>
                  <a:lnTo>
                    <a:pt x="11185" y="5546"/>
                  </a:lnTo>
                  <a:lnTo>
                    <a:pt x="694" y="5546"/>
                  </a:lnTo>
                  <a:lnTo>
                    <a:pt x="694" y="2931"/>
                  </a:lnTo>
                  <a:cubicBezTo>
                    <a:pt x="1135" y="2931"/>
                    <a:pt x="1576" y="2679"/>
                    <a:pt x="1765" y="2301"/>
                  </a:cubicBezTo>
                  <a:cubicBezTo>
                    <a:pt x="1828" y="2143"/>
                    <a:pt x="2143" y="2017"/>
                    <a:pt x="2615" y="2017"/>
                  </a:cubicBezTo>
                  <a:cubicBezTo>
                    <a:pt x="3056" y="2017"/>
                    <a:pt x="3371" y="2175"/>
                    <a:pt x="3497" y="2301"/>
                  </a:cubicBezTo>
                  <a:lnTo>
                    <a:pt x="3529" y="2364"/>
                  </a:lnTo>
                  <a:cubicBezTo>
                    <a:pt x="3529" y="2395"/>
                    <a:pt x="3560" y="2395"/>
                    <a:pt x="3560" y="2395"/>
                  </a:cubicBezTo>
                  <a:cubicBezTo>
                    <a:pt x="3560" y="2868"/>
                    <a:pt x="3686" y="3309"/>
                    <a:pt x="3939" y="3718"/>
                  </a:cubicBezTo>
                  <a:cubicBezTo>
                    <a:pt x="4317" y="4380"/>
                    <a:pt x="4947" y="4758"/>
                    <a:pt x="5671" y="4852"/>
                  </a:cubicBezTo>
                  <a:lnTo>
                    <a:pt x="5923" y="4852"/>
                  </a:lnTo>
                  <a:cubicBezTo>
                    <a:pt x="7121" y="4852"/>
                    <a:pt x="8097" y="4033"/>
                    <a:pt x="8286" y="2868"/>
                  </a:cubicBezTo>
                  <a:cubicBezTo>
                    <a:pt x="8727" y="2773"/>
                    <a:pt x="8916" y="2458"/>
                    <a:pt x="9074" y="2206"/>
                  </a:cubicBezTo>
                  <a:cubicBezTo>
                    <a:pt x="9200" y="2017"/>
                    <a:pt x="9357" y="1922"/>
                    <a:pt x="9609" y="1922"/>
                  </a:cubicBezTo>
                  <a:close/>
                  <a:moveTo>
                    <a:pt x="1040" y="1"/>
                  </a:moveTo>
                  <a:cubicBezTo>
                    <a:pt x="473" y="1"/>
                    <a:pt x="0" y="473"/>
                    <a:pt x="0" y="1072"/>
                  </a:cubicBezTo>
                  <a:lnTo>
                    <a:pt x="0" y="5955"/>
                  </a:lnTo>
                  <a:cubicBezTo>
                    <a:pt x="0" y="6144"/>
                    <a:pt x="158" y="6302"/>
                    <a:pt x="347" y="6302"/>
                  </a:cubicBezTo>
                  <a:lnTo>
                    <a:pt x="11500" y="6302"/>
                  </a:lnTo>
                  <a:cubicBezTo>
                    <a:pt x="11689" y="6302"/>
                    <a:pt x="11846" y="6144"/>
                    <a:pt x="11846" y="5955"/>
                  </a:cubicBezTo>
                  <a:lnTo>
                    <a:pt x="11846" y="1072"/>
                  </a:lnTo>
                  <a:cubicBezTo>
                    <a:pt x="11846" y="505"/>
                    <a:pt x="11374" y="1"/>
                    <a:pt x="10775" y="1"/>
                  </a:cubicBezTo>
                  <a:lnTo>
                    <a:pt x="7089" y="1"/>
                  </a:lnTo>
                  <a:cubicBezTo>
                    <a:pt x="6963" y="1"/>
                    <a:pt x="6837" y="64"/>
                    <a:pt x="6774" y="190"/>
                  </a:cubicBezTo>
                  <a:cubicBezTo>
                    <a:pt x="6679" y="316"/>
                    <a:pt x="6711" y="442"/>
                    <a:pt x="6774" y="568"/>
                  </a:cubicBezTo>
                  <a:lnTo>
                    <a:pt x="6805" y="599"/>
                  </a:lnTo>
                  <a:cubicBezTo>
                    <a:pt x="7341" y="1387"/>
                    <a:pt x="7625" y="2017"/>
                    <a:pt x="7625" y="2490"/>
                  </a:cubicBezTo>
                  <a:cubicBezTo>
                    <a:pt x="7625" y="3435"/>
                    <a:pt x="6868" y="4191"/>
                    <a:pt x="5923" y="4191"/>
                  </a:cubicBezTo>
                  <a:lnTo>
                    <a:pt x="5734" y="4191"/>
                  </a:lnTo>
                  <a:cubicBezTo>
                    <a:pt x="5230" y="4128"/>
                    <a:pt x="4789" y="3813"/>
                    <a:pt x="4506" y="3340"/>
                  </a:cubicBezTo>
                  <a:cubicBezTo>
                    <a:pt x="4191" y="2836"/>
                    <a:pt x="4159" y="2206"/>
                    <a:pt x="4411" y="1702"/>
                  </a:cubicBezTo>
                  <a:cubicBezTo>
                    <a:pt x="4506" y="1387"/>
                    <a:pt x="4758" y="977"/>
                    <a:pt x="5041" y="599"/>
                  </a:cubicBezTo>
                  <a:lnTo>
                    <a:pt x="5073" y="568"/>
                  </a:lnTo>
                  <a:cubicBezTo>
                    <a:pt x="5136" y="442"/>
                    <a:pt x="5136" y="316"/>
                    <a:pt x="5073" y="190"/>
                  </a:cubicBezTo>
                  <a:cubicBezTo>
                    <a:pt x="4978" y="95"/>
                    <a:pt x="4884" y="1"/>
                    <a:pt x="4758"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9783" name="Google Shape;9783;p110"/>
          <p:cNvGrpSpPr/>
          <p:nvPr/>
        </p:nvGrpSpPr>
        <p:grpSpPr>
          <a:xfrm>
            <a:off x="10055104" y="2679678"/>
            <a:ext cx="473457" cy="469671"/>
            <a:chOff x="-26215825" y="2341200"/>
            <a:chExt cx="296975" cy="294600"/>
          </a:xfrm>
        </p:grpSpPr>
        <p:sp>
          <p:nvSpPr>
            <p:cNvPr id="9784" name="Google Shape;9784;p110"/>
            <p:cNvSpPr/>
            <p:nvPr/>
          </p:nvSpPr>
          <p:spPr>
            <a:xfrm>
              <a:off x="-26215025" y="2463275"/>
              <a:ext cx="296175" cy="172525"/>
            </a:xfrm>
            <a:custGeom>
              <a:avLst/>
              <a:gdLst/>
              <a:ahLst/>
              <a:cxnLst/>
              <a:rect l="l" t="t" r="r" b="b"/>
              <a:pathLst>
                <a:path w="11847" h="6901" extrusionOk="0">
                  <a:moveTo>
                    <a:pt x="10113" y="725"/>
                  </a:moveTo>
                  <a:cubicBezTo>
                    <a:pt x="10712" y="725"/>
                    <a:pt x="11122" y="1198"/>
                    <a:pt x="11122" y="1734"/>
                  </a:cubicBezTo>
                  <a:cubicBezTo>
                    <a:pt x="11122" y="2332"/>
                    <a:pt x="10649" y="2773"/>
                    <a:pt x="10113" y="2773"/>
                  </a:cubicBezTo>
                  <a:lnTo>
                    <a:pt x="6994" y="2773"/>
                  </a:lnTo>
                  <a:cubicBezTo>
                    <a:pt x="6616" y="2773"/>
                    <a:pt x="6301" y="2458"/>
                    <a:pt x="6301" y="2049"/>
                  </a:cubicBezTo>
                  <a:cubicBezTo>
                    <a:pt x="6301" y="1860"/>
                    <a:pt x="6396" y="1671"/>
                    <a:pt x="6553" y="1545"/>
                  </a:cubicBezTo>
                  <a:cubicBezTo>
                    <a:pt x="6837" y="1891"/>
                    <a:pt x="7247" y="2080"/>
                    <a:pt x="7688" y="2080"/>
                  </a:cubicBezTo>
                  <a:cubicBezTo>
                    <a:pt x="8255" y="2080"/>
                    <a:pt x="8727" y="1671"/>
                    <a:pt x="9137" y="1293"/>
                  </a:cubicBezTo>
                  <a:cubicBezTo>
                    <a:pt x="9452" y="977"/>
                    <a:pt x="9767" y="725"/>
                    <a:pt x="10113" y="725"/>
                  </a:cubicBezTo>
                  <a:close/>
                  <a:moveTo>
                    <a:pt x="7656" y="3466"/>
                  </a:moveTo>
                  <a:lnTo>
                    <a:pt x="7656" y="4853"/>
                  </a:lnTo>
                  <a:lnTo>
                    <a:pt x="6963" y="4853"/>
                  </a:lnTo>
                  <a:lnTo>
                    <a:pt x="6963" y="3466"/>
                  </a:lnTo>
                  <a:close/>
                  <a:moveTo>
                    <a:pt x="9074" y="3466"/>
                  </a:moveTo>
                  <a:lnTo>
                    <a:pt x="9074" y="4853"/>
                  </a:lnTo>
                  <a:lnTo>
                    <a:pt x="8381" y="4853"/>
                  </a:lnTo>
                  <a:lnTo>
                    <a:pt x="8381" y="3466"/>
                  </a:lnTo>
                  <a:close/>
                  <a:moveTo>
                    <a:pt x="10460" y="3435"/>
                  </a:moveTo>
                  <a:lnTo>
                    <a:pt x="10460" y="4853"/>
                  </a:lnTo>
                  <a:lnTo>
                    <a:pt x="9767" y="4853"/>
                  </a:lnTo>
                  <a:lnTo>
                    <a:pt x="9767" y="3466"/>
                  </a:lnTo>
                  <a:lnTo>
                    <a:pt x="10113" y="3466"/>
                  </a:lnTo>
                  <a:cubicBezTo>
                    <a:pt x="10240" y="3466"/>
                    <a:pt x="10334" y="3466"/>
                    <a:pt x="10460" y="3435"/>
                  </a:cubicBezTo>
                  <a:close/>
                  <a:moveTo>
                    <a:pt x="2993" y="4128"/>
                  </a:moveTo>
                  <a:cubicBezTo>
                    <a:pt x="3371" y="4128"/>
                    <a:pt x="3781" y="4254"/>
                    <a:pt x="4128" y="4412"/>
                  </a:cubicBezTo>
                  <a:lnTo>
                    <a:pt x="5829" y="5325"/>
                  </a:lnTo>
                  <a:cubicBezTo>
                    <a:pt x="6049" y="5451"/>
                    <a:pt x="6364" y="5514"/>
                    <a:pt x="6648" y="5514"/>
                  </a:cubicBezTo>
                  <a:lnTo>
                    <a:pt x="10838" y="5514"/>
                  </a:lnTo>
                  <a:cubicBezTo>
                    <a:pt x="11027" y="5514"/>
                    <a:pt x="11185" y="5672"/>
                    <a:pt x="11185" y="5861"/>
                  </a:cubicBezTo>
                  <a:cubicBezTo>
                    <a:pt x="11185" y="6050"/>
                    <a:pt x="10964" y="6239"/>
                    <a:pt x="10775" y="6239"/>
                  </a:cubicBezTo>
                  <a:lnTo>
                    <a:pt x="6616" y="6239"/>
                  </a:lnTo>
                  <a:cubicBezTo>
                    <a:pt x="6459" y="6239"/>
                    <a:pt x="6238" y="6176"/>
                    <a:pt x="6144" y="6113"/>
                  </a:cubicBezTo>
                  <a:lnTo>
                    <a:pt x="4443" y="5199"/>
                  </a:lnTo>
                  <a:cubicBezTo>
                    <a:pt x="4002" y="4979"/>
                    <a:pt x="3497" y="4853"/>
                    <a:pt x="2993" y="4853"/>
                  </a:cubicBezTo>
                  <a:lnTo>
                    <a:pt x="694" y="4853"/>
                  </a:lnTo>
                  <a:lnTo>
                    <a:pt x="694" y="4128"/>
                  </a:lnTo>
                  <a:close/>
                  <a:moveTo>
                    <a:pt x="10113" y="1"/>
                  </a:moveTo>
                  <a:cubicBezTo>
                    <a:pt x="9515" y="1"/>
                    <a:pt x="9042" y="442"/>
                    <a:pt x="8664" y="788"/>
                  </a:cubicBezTo>
                  <a:cubicBezTo>
                    <a:pt x="8349" y="1104"/>
                    <a:pt x="8034" y="1387"/>
                    <a:pt x="7656" y="1387"/>
                  </a:cubicBezTo>
                  <a:cubicBezTo>
                    <a:pt x="7404" y="1387"/>
                    <a:pt x="7121" y="1230"/>
                    <a:pt x="7026" y="946"/>
                  </a:cubicBezTo>
                  <a:cubicBezTo>
                    <a:pt x="6973" y="815"/>
                    <a:pt x="6855" y="749"/>
                    <a:pt x="6708" y="749"/>
                  </a:cubicBezTo>
                  <a:cubicBezTo>
                    <a:pt x="6679" y="749"/>
                    <a:pt x="6648" y="752"/>
                    <a:pt x="6616" y="757"/>
                  </a:cubicBezTo>
                  <a:cubicBezTo>
                    <a:pt x="6018" y="914"/>
                    <a:pt x="5577" y="1450"/>
                    <a:pt x="5577" y="2080"/>
                  </a:cubicBezTo>
                  <a:cubicBezTo>
                    <a:pt x="5577" y="2616"/>
                    <a:pt x="5860" y="3025"/>
                    <a:pt x="6301" y="3277"/>
                  </a:cubicBezTo>
                  <a:lnTo>
                    <a:pt x="6301" y="4758"/>
                  </a:lnTo>
                  <a:cubicBezTo>
                    <a:pt x="6270" y="4758"/>
                    <a:pt x="6207" y="4727"/>
                    <a:pt x="6144" y="4695"/>
                  </a:cubicBezTo>
                  <a:lnTo>
                    <a:pt x="4443" y="3781"/>
                  </a:lnTo>
                  <a:cubicBezTo>
                    <a:pt x="4002" y="3561"/>
                    <a:pt x="3497" y="3435"/>
                    <a:pt x="2993" y="3435"/>
                  </a:cubicBezTo>
                  <a:lnTo>
                    <a:pt x="347" y="3435"/>
                  </a:lnTo>
                  <a:cubicBezTo>
                    <a:pt x="158" y="3435"/>
                    <a:pt x="0" y="3592"/>
                    <a:pt x="0" y="3781"/>
                  </a:cubicBezTo>
                  <a:lnTo>
                    <a:pt x="0" y="5168"/>
                  </a:lnTo>
                  <a:cubicBezTo>
                    <a:pt x="0" y="5357"/>
                    <a:pt x="158" y="5514"/>
                    <a:pt x="347" y="5514"/>
                  </a:cubicBezTo>
                  <a:lnTo>
                    <a:pt x="2993" y="5514"/>
                  </a:lnTo>
                  <a:cubicBezTo>
                    <a:pt x="3371" y="5514"/>
                    <a:pt x="3781" y="5640"/>
                    <a:pt x="4128" y="5798"/>
                  </a:cubicBezTo>
                  <a:lnTo>
                    <a:pt x="5829" y="6711"/>
                  </a:lnTo>
                  <a:cubicBezTo>
                    <a:pt x="6049" y="6806"/>
                    <a:pt x="6364" y="6900"/>
                    <a:pt x="6648" y="6900"/>
                  </a:cubicBezTo>
                  <a:lnTo>
                    <a:pt x="10838" y="6900"/>
                  </a:lnTo>
                  <a:cubicBezTo>
                    <a:pt x="11405" y="6900"/>
                    <a:pt x="11846" y="6428"/>
                    <a:pt x="11846" y="5861"/>
                  </a:cubicBezTo>
                  <a:cubicBezTo>
                    <a:pt x="11846" y="5451"/>
                    <a:pt x="11563" y="5042"/>
                    <a:pt x="11122" y="4884"/>
                  </a:cubicBezTo>
                  <a:lnTo>
                    <a:pt x="11122" y="3088"/>
                  </a:lnTo>
                  <a:cubicBezTo>
                    <a:pt x="11563" y="2805"/>
                    <a:pt x="11846" y="2301"/>
                    <a:pt x="11846" y="1734"/>
                  </a:cubicBezTo>
                  <a:cubicBezTo>
                    <a:pt x="11846" y="788"/>
                    <a:pt x="11059" y="1"/>
                    <a:pt x="10113"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9785" name="Google Shape;9785;p110"/>
            <p:cNvSpPr/>
            <p:nvPr/>
          </p:nvSpPr>
          <p:spPr>
            <a:xfrm>
              <a:off x="-26215825" y="2341200"/>
              <a:ext cx="296975" cy="119750"/>
            </a:xfrm>
            <a:custGeom>
              <a:avLst/>
              <a:gdLst/>
              <a:ahLst/>
              <a:cxnLst/>
              <a:rect l="l" t="t" r="r" b="b"/>
              <a:pathLst>
                <a:path w="11879" h="4790" extrusionOk="0">
                  <a:moveTo>
                    <a:pt x="10807" y="1702"/>
                  </a:moveTo>
                  <a:cubicBezTo>
                    <a:pt x="10996" y="1702"/>
                    <a:pt x="11154" y="1859"/>
                    <a:pt x="11154" y="2048"/>
                  </a:cubicBezTo>
                  <a:cubicBezTo>
                    <a:pt x="11154" y="2237"/>
                    <a:pt x="10996" y="2395"/>
                    <a:pt x="10807" y="2395"/>
                  </a:cubicBezTo>
                  <a:lnTo>
                    <a:pt x="10461" y="2395"/>
                  </a:lnTo>
                  <a:lnTo>
                    <a:pt x="10461" y="1702"/>
                  </a:lnTo>
                  <a:close/>
                  <a:moveTo>
                    <a:pt x="2112" y="788"/>
                  </a:moveTo>
                  <a:lnTo>
                    <a:pt x="9484" y="1292"/>
                  </a:lnTo>
                  <a:cubicBezTo>
                    <a:pt x="9641" y="1355"/>
                    <a:pt x="9799" y="1450"/>
                    <a:pt x="9799" y="1670"/>
                  </a:cubicBezTo>
                  <a:lnTo>
                    <a:pt x="9799" y="2489"/>
                  </a:lnTo>
                  <a:cubicBezTo>
                    <a:pt x="9799" y="2647"/>
                    <a:pt x="9673" y="2805"/>
                    <a:pt x="9515" y="2836"/>
                  </a:cubicBezTo>
                  <a:lnTo>
                    <a:pt x="2112" y="3907"/>
                  </a:lnTo>
                  <a:lnTo>
                    <a:pt x="2112" y="788"/>
                  </a:lnTo>
                  <a:close/>
                  <a:moveTo>
                    <a:pt x="726" y="725"/>
                  </a:moveTo>
                  <a:lnTo>
                    <a:pt x="1450" y="757"/>
                  </a:lnTo>
                  <a:lnTo>
                    <a:pt x="1450" y="3970"/>
                  </a:lnTo>
                  <a:lnTo>
                    <a:pt x="726" y="4065"/>
                  </a:lnTo>
                  <a:lnTo>
                    <a:pt x="726" y="725"/>
                  </a:lnTo>
                  <a:close/>
                  <a:moveTo>
                    <a:pt x="379" y="1"/>
                  </a:moveTo>
                  <a:cubicBezTo>
                    <a:pt x="316" y="1"/>
                    <a:pt x="190" y="32"/>
                    <a:pt x="95" y="64"/>
                  </a:cubicBezTo>
                  <a:cubicBezTo>
                    <a:pt x="32" y="158"/>
                    <a:pt x="1" y="221"/>
                    <a:pt x="1" y="316"/>
                  </a:cubicBezTo>
                  <a:lnTo>
                    <a:pt x="1" y="4506"/>
                  </a:lnTo>
                  <a:cubicBezTo>
                    <a:pt x="32" y="4569"/>
                    <a:pt x="64" y="4695"/>
                    <a:pt x="127" y="4726"/>
                  </a:cubicBezTo>
                  <a:cubicBezTo>
                    <a:pt x="221" y="4758"/>
                    <a:pt x="284" y="4789"/>
                    <a:pt x="379" y="4789"/>
                  </a:cubicBezTo>
                  <a:lnTo>
                    <a:pt x="410" y="4789"/>
                  </a:lnTo>
                  <a:lnTo>
                    <a:pt x="9578" y="3498"/>
                  </a:lnTo>
                  <a:cubicBezTo>
                    <a:pt x="9862" y="3466"/>
                    <a:pt x="10145" y="3309"/>
                    <a:pt x="10303" y="3057"/>
                  </a:cubicBezTo>
                  <a:lnTo>
                    <a:pt x="10870" y="3057"/>
                  </a:lnTo>
                  <a:cubicBezTo>
                    <a:pt x="11437" y="3057"/>
                    <a:pt x="11878" y="2584"/>
                    <a:pt x="11878" y="2048"/>
                  </a:cubicBezTo>
                  <a:cubicBezTo>
                    <a:pt x="11878" y="1481"/>
                    <a:pt x="11406" y="1009"/>
                    <a:pt x="10870" y="1009"/>
                  </a:cubicBezTo>
                  <a:lnTo>
                    <a:pt x="10272" y="1009"/>
                  </a:lnTo>
                  <a:cubicBezTo>
                    <a:pt x="10114" y="788"/>
                    <a:pt x="9830" y="662"/>
                    <a:pt x="9515" y="631"/>
                  </a:cubicBezTo>
                  <a:lnTo>
                    <a:pt x="379" y="1"/>
                  </a:ln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9786" name="Google Shape;9786;p110"/>
          <p:cNvGrpSpPr/>
          <p:nvPr/>
        </p:nvGrpSpPr>
        <p:grpSpPr>
          <a:xfrm>
            <a:off x="10097810" y="3267344"/>
            <a:ext cx="388044" cy="470907"/>
            <a:chOff x="-26179575" y="2710600"/>
            <a:chExt cx="243400" cy="295375"/>
          </a:xfrm>
        </p:grpSpPr>
        <p:sp>
          <p:nvSpPr>
            <p:cNvPr id="9787" name="Google Shape;9787;p110"/>
            <p:cNvSpPr/>
            <p:nvPr/>
          </p:nvSpPr>
          <p:spPr>
            <a:xfrm>
              <a:off x="-26179575" y="2710600"/>
              <a:ext cx="243400" cy="295375"/>
            </a:xfrm>
            <a:custGeom>
              <a:avLst/>
              <a:gdLst/>
              <a:ahLst/>
              <a:cxnLst/>
              <a:rect l="l" t="t" r="r" b="b"/>
              <a:pathLst>
                <a:path w="9736" h="11815" extrusionOk="0">
                  <a:moveTo>
                    <a:pt x="7719" y="693"/>
                  </a:moveTo>
                  <a:cubicBezTo>
                    <a:pt x="7845" y="977"/>
                    <a:pt x="7971" y="1166"/>
                    <a:pt x="8191" y="1418"/>
                  </a:cubicBezTo>
                  <a:lnTo>
                    <a:pt x="1008" y="1418"/>
                  </a:lnTo>
                  <a:cubicBezTo>
                    <a:pt x="819" y="1418"/>
                    <a:pt x="662" y="1261"/>
                    <a:pt x="662" y="1072"/>
                  </a:cubicBezTo>
                  <a:cubicBezTo>
                    <a:pt x="662" y="851"/>
                    <a:pt x="819" y="693"/>
                    <a:pt x="1008" y="693"/>
                  </a:cubicBezTo>
                  <a:close/>
                  <a:moveTo>
                    <a:pt x="8979" y="2080"/>
                  </a:moveTo>
                  <a:lnTo>
                    <a:pt x="8979" y="11153"/>
                  </a:lnTo>
                  <a:lnTo>
                    <a:pt x="2048" y="11153"/>
                  </a:lnTo>
                  <a:lnTo>
                    <a:pt x="2048" y="2080"/>
                  </a:lnTo>
                  <a:close/>
                  <a:moveTo>
                    <a:pt x="662" y="2048"/>
                  </a:moveTo>
                  <a:cubicBezTo>
                    <a:pt x="788" y="2080"/>
                    <a:pt x="882" y="2111"/>
                    <a:pt x="1008" y="2111"/>
                  </a:cubicBezTo>
                  <a:lnTo>
                    <a:pt x="1355" y="2111"/>
                  </a:lnTo>
                  <a:lnTo>
                    <a:pt x="1355" y="11185"/>
                  </a:lnTo>
                  <a:cubicBezTo>
                    <a:pt x="977" y="11153"/>
                    <a:pt x="662" y="10838"/>
                    <a:pt x="662" y="10460"/>
                  </a:cubicBezTo>
                  <a:lnTo>
                    <a:pt x="662" y="2048"/>
                  </a:lnTo>
                  <a:close/>
                  <a:moveTo>
                    <a:pt x="1008" y="0"/>
                  </a:moveTo>
                  <a:cubicBezTo>
                    <a:pt x="410" y="0"/>
                    <a:pt x="0" y="473"/>
                    <a:pt x="0" y="1009"/>
                  </a:cubicBezTo>
                  <a:lnTo>
                    <a:pt x="0" y="10428"/>
                  </a:lnTo>
                  <a:cubicBezTo>
                    <a:pt x="0" y="11185"/>
                    <a:pt x="630" y="11815"/>
                    <a:pt x="1355" y="11815"/>
                  </a:cubicBezTo>
                  <a:lnTo>
                    <a:pt x="9357" y="11815"/>
                  </a:lnTo>
                  <a:cubicBezTo>
                    <a:pt x="9578" y="11815"/>
                    <a:pt x="9735" y="11657"/>
                    <a:pt x="9735" y="11468"/>
                  </a:cubicBezTo>
                  <a:lnTo>
                    <a:pt x="9672" y="1733"/>
                  </a:lnTo>
                  <a:cubicBezTo>
                    <a:pt x="9672" y="1576"/>
                    <a:pt x="9609" y="1450"/>
                    <a:pt x="9452" y="1418"/>
                  </a:cubicBezTo>
                  <a:cubicBezTo>
                    <a:pt x="8885" y="1229"/>
                    <a:pt x="8443" y="788"/>
                    <a:pt x="8254" y="221"/>
                  </a:cubicBezTo>
                  <a:cubicBezTo>
                    <a:pt x="8223" y="63"/>
                    <a:pt x="8065" y="0"/>
                    <a:pt x="7939"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9788" name="Google Shape;9788;p110"/>
            <p:cNvSpPr/>
            <p:nvPr/>
          </p:nvSpPr>
          <p:spPr>
            <a:xfrm>
              <a:off x="-26092950" y="2797225"/>
              <a:ext cx="120525" cy="121325"/>
            </a:xfrm>
            <a:custGeom>
              <a:avLst/>
              <a:gdLst/>
              <a:ahLst/>
              <a:cxnLst/>
              <a:rect l="l" t="t" r="r" b="b"/>
              <a:pathLst>
                <a:path w="4821" h="4853" extrusionOk="0">
                  <a:moveTo>
                    <a:pt x="2742" y="694"/>
                  </a:moveTo>
                  <a:lnTo>
                    <a:pt x="2742" y="1734"/>
                  </a:lnTo>
                  <a:cubicBezTo>
                    <a:pt x="2742" y="1923"/>
                    <a:pt x="2899" y="2080"/>
                    <a:pt x="3088" y="2080"/>
                  </a:cubicBezTo>
                  <a:lnTo>
                    <a:pt x="4128" y="2080"/>
                  </a:lnTo>
                  <a:lnTo>
                    <a:pt x="4128" y="2805"/>
                  </a:lnTo>
                  <a:lnTo>
                    <a:pt x="3088" y="2805"/>
                  </a:lnTo>
                  <a:cubicBezTo>
                    <a:pt x="2899" y="2805"/>
                    <a:pt x="2742" y="2962"/>
                    <a:pt x="2742" y="3151"/>
                  </a:cubicBezTo>
                  <a:lnTo>
                    <a:pt x="2742" y="4160"/>
                  </a:lnTo>
                  <a:lnTo>
                    <a:pt x="2048" y="4160"/>
                  </a:lnTo>
                  <a:lnTo>
                    <a:pt x="2048" y="3151"/>
                  </a:lnTo>
                  <a:cubicBezTo>
                    <a:pt x="2048" y="2962"/>
                    <a:pt x="1891" y="2805"/>
                    <a:pt x="1670" y="2805"/>
                  </a:cubicBezTo>
                  <a:lnTo>
                    <a:pt x="662" y="2805"/>
                  </a:lnTo>
                  <a:lnTo>
                    <a:pt x="662" y="2080"/>
                  </a:lnTo>
                  <a:lnTo>
                    <a:pt x="1670" y="2080"/>
                  </a:lnTo>
                  <a:cubicBezTo>
                    <a:pt x="1891" y="2080"/>
                    <a:pt x="2048" y="1923"/>
                    <a:pt x="2048" y="1734"/>
                  </a:cubicBezTo>
                  <a:lnTo>
                    <a:pt x="2048" y="694"/>
                  </a:lnTo>
                  <a:close/>
                  <a:moveTo>
                    <a:pt x="1733" y="1"/>
                  </a:moveTo>
                  <a:cubicBezTo>
                    <a:pt x="1513" y="1"/>
                    <a:pt x="1355" y="158"/>
                    <a:pt x="1355" y="347"/>
                  </a:cubicBezTo>
                  <a:lnTo>
                    <a:pt x="1355" y="1387"/>
                  </a:lnTo>
                  <a:lnTo>
                    <a:pt x="347" y="1387"/>
                  </a:lnTo>
                  <a:cubicBezTo>
                    <a:pt x="158" y="1387"/>
                    <a:pt x="1" y="1545"/>
                    <a:pt x="1" y="1734"/>
                  </a:cubicBezTo>
                  <a:lnTo>
                    <a:pt x="1" y="3120"/>
                  </a:lnTo>
                  <a:cubicBezTo>
                    <a:pt x="1" y="3309"/>
                    <a:pt x="158" y="3466"/>
                    <a:pt x="347" y="3466"/>
                  </a:cubicBezTo>
                  <a:lnTo>
                    <a:pt x="1355" y="3466"/>
                  </a:lnTo>
                  <a:lnTo>
                    <a:pt x="1355" y="4475"/>
                  </a:lnTo>
                  <a:cubicBezTo>
                    <a:pt x="1355" y="4695"/>
                    <a:pt x="1513" y="4853"/>
                    <a:pt x="1733" y="4853"/>
                  </a:cubicBezTo>
                  <a:lnTo>
                    <a:pt x="3088" y="4853"/>
                  </a:lnTo>
                  <a:cubicBezTo>
                    <a:pt x="3309" y="4853"/>
                    <a:pt x="3466" y="4695"/>
                    <a:pt x="3466" y="4475"/>
                  </a:cubicBezTo>
                  <a:lnTo>
                    <a:pt x="3466" y="3466"/>
                  </a:lnTo>
                  <a:lnTo>
                    <a:pt x="4474" y="3466"/>
                  </a:lnTo>
                  <a:cubicBezTo>
                    <a:pt x="4663" y="3466"/>
                    <a:pt x="4821" y="3309"/>
                    <a:pt x="4821" y="3120"/>
                  </a:cubicBezTo>
                  <a:lnTo>
                    <a:pt x="4821" y="1734"/>
                  </a:lnTo>
                  <a:cubicBezTo>
                    <a:pt x="4821" y="1545"/>
                    <a:pt x="4663" y="1387"/>
                    <a:pt x="4474" y="1387"/>
                  </a:cubicBezTo>
                  <a:lnTo>
                    <a:pt x="3466" y="1387"/>
                  </a:lnTo>
                  <a:lnTo>
                    <a:pt x="3466" y="347"/>
                  </a:lnTo>
                  <a:cubicBezTo>
                    <a:pt x="3466" y="158"/>
                    <a:pt x="3309" y="1"/>
                    <a:pt x="3088"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9789" name="Google Shape;9789;p110"/>
            <p:cNvSpPr/>
            <p:nvPr/>
          </p:nvSpPr>
          <p:spPr>
            <a:xfrm>
              <a:off x="-26094525" y="2954750"/>
              <a:ext cx="122100" cy="17350"/>
            </a:xfrm>
            <a:custGeom>
              <a:avLst/>
              <a:gdLst/>
              <a:ahLst/>
              <a:cxnLst/>
              <a:rect l="l" t="t" r="r" b="b"/>
              <a:pathLst>
                <a:path w="4884" h="694" extrusionOk="0">
                  <a:moveTo>
                    <a:pt x="379" y="1"/>
                  </a:moveTo>
                  <a:cubicBezTo>
                    <a:pt x="158" y="1"/>
                    <a:pt x="1" y="158"/>
                    <a:pt x="1" y="347"/>
                  </a:cubicBezTo>
                  <a:cubicBezTo>
                    <a:pt x="1" y="536"/>
                    <a:pt x="158" y="694"/>
                    <a:pt x="379" y="694"/>
                  </a:cubicBezTo>
                  <a:lnTo>
                    <a:pt x="4537" y="694"/>
                  </a:lnTo>
                  <a:cubicBezTo>
                    <a:pt x="4726" y="694"/>
                    <a:pt x="4884" y="536"/>
                    <a:pt x="4884" y="347"/>
                  </a:cubicBezTo>
                  <a:cubicBezTo>
                    <a:pt x="4884" y="158"/>
                    <a:pt x="4726" y="1"/>
                    <a:pt x="4537"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9790" name="Google Shape;9790;p110"/>
          <p:cNvGrpSpPr/>
          <p:nvPr/>
        </p:nvGrpSpPr>
        <p:grpSpPr>
          <a:xfrm>
            <a:off x="8283223" y="3855841"/>
            <a:ext cx="449583" cy="470907"/>
            <a:chOff x="-24328675" y="1971025"/>
            <a:chExt cx="282000" cy="295375"/>
          </a:xfrm>
        </p:grpSpPr>
        <p:sp>
          <p:nvSpPr>
            <p:cNvPr id="9791" name="Google Shape;9791;p110"/>
            <p:cNvSpPr/>
            <p:nvPr/>
          </p:nvSpPr>
          <p:spPr>
            <a:xfrm>
              <a:off x="-24217625" y="2092325"/>
              <a:ext cx="52025" cy="51200"/>
            </a:xfrm>
            <a:custGeom>
              <a:avLst/>
              <a:gdLst/>
              <a:ahLst/>
              <a:cxnLst/>
              <a:rect l="l" t="t" r="r" b="b"/>
              <a:pathLst>
                <a:path w="2081" h="2048" extrusionOk="0">
                  <a:moveTo>
                    <a:pt x="1009" y="693"/>
                  </a:moveTo>
                  <a:cubicBezTo>
                    <a:pt x="1230" y="693"/>
                    <a:pt x="1387" y="851"/>
                    <a:pt x="1387" y="1071"/>
                  </a:cubicBezTo>
                  <a:cubicBezTo>
                    <a:pt x="1387" y="1260"/>
                    <a:pt x="1230" y="1418"/>
                    <a:pt x="1009" y="1418"/>
                  </a:cubicBezTo>
                  <a:cubicBezTo>
                    <a:pt x="820" y="1418"/>
                    <a:pt x="663" y="1260"/>
                    <a:pt x="663" y="1071"/>
                  </a:cubicBezTo>
                  <a:cubicBezTo>
                    <a:pt x="663" y="851"/>
                    <a:pt x="820" y="693"/>
                    <a:pt x="1009" y="693"/>
                  </a:cubicBezTo>
                  <a:close/>
                  <a:moveTo>
                    <a:pt x="1009" y="0"/>
                  </a:moveTo>
                  <a:cubicBezTo>
                    <a:pt x="442" y="0"/>
                    <a:pt x="1" y="473"/>
                    <a:pt x="1" y="1008"/>
                  </a:cubicBezTo>
                  <a:cubicBezTo>
                    <a:pt x="1" y="1607"/>
                    <a:pt x="474" y="2048"/>
                    <a:pt x="1009" y="2048"/>
                  </a:cubicBezTo>
                  <a:cubicBezTo>
                    <a:pt x="1576" y="2048"/>
                    <a:pt x="2049" y="1575"/>
                    <a:pt x="2049" y="1008"/>
                  </a:cubicBezTo>
                  <a:cubicBezTo>
                    <a:pt x="2080" y="473"/>
                    <a:pt x="1608" y="0"/>
                    <a:pt x="1009"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9792" name="Google Shape;9792;p110"/>
            <p:cNvSpPr/>
            <p:nvPr/>
          </p:nvSpPr>
          <p:spPr>
            <a:xfrm>
              <a:off x="-24328675" y="1971025"/>
              <a:ext cx="282000" cy="295375"/>
            </a:xfrm>
            <a:custGeom>
              <a:avLst/>
              <a:gdLst/>
              <a:ahLst/>
              <a:cxnLst/>
              <a:rect l="l" t="t" r="r" b="b"/>
              <a:pathLst>
                <a:path w="11280" h="11815" extrusionOk="0">
                  <a:moveTo>
                    <a:pt x="2017" y="2080"/>
                  </a:moveTo>
                  <a:cubicBezTo>
                    <a:pt x="2206" y="2080"/>
                    <a:pt x="2364" y="2237"/>
                    <a:pt x="2364" y="2458"/>
                  </a:cubicBezTo>
                  <a:cubicBezTo>
                    <a:pt x="2364" y="2647"/>
                    <a:pt x="2206" y="2804"/>
                    <a:pt x="2017" y="2804"/>
                  </a:cubicBezTo>
                  <a:cubicBezTo>
                    <a:pt x="1797" y="2804"/>
                    <a:pt x="1639" y="2647"/>
                    <a:pt x="1639" y="2458"/>
                  </a:cubicBezTo>
                  <a:cubicBezTo>
                    <a:pt x="1639" y="2237"/>
                    <a:pt x="1797" y="2080"/>
                    <a:pt x="2017" y="2080"/>
                  </a:cubicBezTo>
                  <a:close/>
                  <a:moveTo>
                    <a:pt x="5451" y="662"/>
                  </a:moveTo>
                  <a:cubicBezTo>
                    <a:pt x="5861" y="662"/>
                    <a:pt x="6302" y="1198"/>
                    <a:pt x="6617" y="2080"/>
                  </a:cubicBezTo>
                  <a:cubicBezTo>
                    <a:pt x="6680" y="2237"/>
                    <a:pt x="6743" y="2458"/>
                    <a:pt x="6806" y="2647"/>
                  </a:cubicBezTo>
                  <a:cubicBezTo>
                    <a:pt x="6365" y="2804"/>
                    <a:pt x="5955" y="2962"/>
                    <a:pt x="5451" y="3151"/>
                  </a:cubicBezTo>
                  <a:cubicBezTo>
                    <a:pt x="5042" y="2962"/>
                    <a:pt x="4569" y="2773"/>
                    <a:pt x="4128" y="2647"/>
                  </a:cubicBezTo>
                  <a:cubicBezTo>
                    <a:pt x="4191" y="2458"/>
                    <a:pt x="4254" y="2237"/>
                    <a:pt x="4317" y="2080"/>
                  </a:cubicBezTo>
                  <a:cubicBezTo>
                    <a:pt x="4632" y="1229"/>
                    <a:pt x="5073" y="662"/>
                    <a:pt x="5451" y="662"/>
                  </a:cubicBezTo>
                  <a:close/>
                  <a:moveTo>
                    <a:pt x="3970" y="3308"/>
                  </a:moveTo>
                  <a:cubicBezTo>
                    <a:pt x="4191" y="3403"/>
                    <a:pt x="4411" y="3466"/>
                    <a:pt x="4632" y="3560"/>
                  </a:cubicBezTo>
                  <a:cubicBezTo>
                    <a:pt x="4506" y="3623"/>
                    <a:pt x="4380" y="3718"/>
                    <a:pt x="4254" y="3781"/>
                  </a:cubicBezTo>
                  <a:cubicBezTo>
                    <a:pt x="4128" y="3875"/>
                    <a:pt x="4002" y="3938"/>
                    <a:pt x="3844" y="4033"/>
                  </a:cubicBezTo>
                  <a:lnTo>
                    <a:pt x="3970" y="3308"/>
                  </a:lnTo>
                  <a:close/>
                  <a:moveTo>
                    <a:pt x="6963" y="3340"/>
                  </a:moveTo>
                  <a:lnTo>
                    <a:pt x="7089" y="4064"/>
                  </a:lnTo>
                  <a:cubicBezTo>
                    <a:pt x="6963" y="3970"/>
                    <a:pt x="6806" y="3907"/>
                    <a:pt x="6680" y="3812"/>
                  </a:cubicBezTo>
                  <a:cubicBezTo>
                    <a:pt x="6554" y="3718"/>
                    <a:pt x="6396" y="3655"/>
                    <a:pt x="6302" y="3592"/>
                  </a:cubicBezTo>
                  <a:cubicBezTo>
                    <a:pt x="6522" y="3497"/>
                    <a:pt x="6774" y="3403"/>
                    <a:pt x="6963" y="3340"/>
                  </a:cubicBezTo>
                  <a:close/>
                  <a:moveTo>
                    <a:pt x="10240" y="4285"/>
                  </a:moveTo>
                  <a:cubicBezTo>
                    <a:pt x="10271" y="4285"/>
                    <a:pt x="10366" y="4285"/>
                    <a:pt x="10397" y="4317"/>
                  </a:cubicBezTo>
                  <a:cubicBezTo>
                    <a:pt x="10460" y="4380"/>
                    <a:pt x="10523" y="4443"/>
                    <a:pt x="10555" y="4537"/>
                  </a:cubicBezTo>
                  <a:cubicBezTo>
                    <a:pt x="10586" y="4600"/>
                    <a:pt x="10555" y="4726"/>
                    <a:pt x="10492" y="4821"/>
                  </a:cubicBezTo>
                  <a:cubicBezTo>
                    <a:pt x="10452" y="4920"/>
                    <a:pt x="10336" y="4982"/>
                    <a:pt x="10225" y="4982"/>
                  </a:cubicBezTo>
                  <a:cubicBezTo>
                    <a:pt x="10160" y="4982"/>
                    <a:pt x="10097" y="4961"/>
                    <a:pt x="10051" y="4915"/>
                  </a:cubicBezTo>
                  <a:cubicBezTo>
                    <a:pt x="9956" y="4884"/>
                    <a:pt x="9925" y="4821"/>
                    <a:pt x="9893" y="4726"/>
                  </a:cubicBezTo>
                  <a:cubicBezTo>
                    <a:pt x="9830" y="4663"/>
                    <a:pt x="9893" y="4537"/>
                    <a:pt x="9925" y="4443"/>
                  </a:cubicBezTo>
                  <a:cubicBezTo>
                    <a:pt x="9988" y="4348"/>
                    <a:pt x="10114" y="4285"/>
                    <a:pt x="10240" y="4285"/>
                  </a:cubicBezTo>
                  <a:close/>
                  <a:moveTo>
                    <a:pt x="8922" y="2925"/>
                  </a:moveTo>
                  <a:cubicBezTo>
                    <a:pt x="9452" y="2925"/>
                    <a:pt x="9823" y="3054"/>
                    <a:pt x="9956" y="3277"/>
                  </a:cubicBezTo>
                  <a:cubicBezTo>
                    <a:pt x="9988" y="3340"/>
                    <a:pt x="10019" y="3466"/>
                    <a:pt x="10019" y="3592"/>
                  </a:cubicBezTo>
                  <a:cubicBezTo>
                    <a:pt x="9704" y="3623"/>
                    <a:pt x="9452" y="3812"/>
                    <a:pt x="9295" y="4096"/>
                  </a:cubicBezTo>
                  <a:cubicBezTo>
                    <a:pt x="9137" y="4317"/>
                    <a:pt x="9137" y="4600"/>
                    <a:pt x="9169" y="4884"/>
                  </a:cubicBezTo>
                  <a:cubicBezTo>
                    <a:pt x="9169" y="4978"/>
                    <a:pt x="9200" y="5010"/>
                    <a:pt x="9232" y="5041"/>
                  </a:cubicBezTo>
                  <a:cubicBezTo>
                    <a:pt x="9169" y="5167"/>
                    <a:pt x="9043" y="5293"/>
                    <a:pt x="8917" y="5388"/>
                  </a:cubicBezTo>
                  <a:cubicBezTo>
                    <a:pt x="8570" y="5073"/>
                    <a:pt x="8224" y="4821"/>
                    <a:pt x="7814" y="4537"/>
                  </a:cubicBezTo>
                  <a:cubicBezTo>
                    <a:pt x="7783" y="4033"/>
                    <a:pt x="7719" y="3560"/>
                    <a:pt x="7625" y="3119"/>
                  </a:cubicBezTo>
                  <a:cubicBezTo>
                    <a:pt x="7814" y="3088"/>
                    <a:pt x="8035" y="3025"/>
                    <a:pt x="8192" y="2993"/>
                  </a:cubicBezTo>
                  <a:cubicBezTo>
                    <a:pt x="8459" y="2947"/>
                    <a:pt x="8704" y="2925"/>
                    <a:pt x="8922" y="2925"/>
                  </a:cubicBezTo>
                  <a:close/>
                  <a:moveTo>
                    <a:pt x="2868" y="3088"/>
                  </a:moveTo>
                  <a:lnTo>
                    <a:pt x="3340" y="3182"/>
                  </a:lnTo>
                  <a:cubicBezTo>
                    <a:pt x="3246" y="3623"/>
                    <a:pt x="3183" y="4096"/>
                    <a:pt x="3151" y="4600"/>
                  </a:cubicBezTo>
                  <a:cubicBezTo>
                    <a:pt x="2742" y="4884"/>
                    <a:pt x="2364" y="5199"/>
                    <a:pt x="2049" y="5482"/>
                  </a:cubicBezTo>
                  <a:cubicBezTo>
                    <a:pt x="1891" y="5325"/>
                    <a:pt x="1765" y="5199"/>
                    <a:pt x="1639" y="5041"/>
                  </a:cubicBezTo>
                  <a:cubicBezTo>
                    <a:pt x="1009" y="4253"/>
                    <a:pt x="788" y="3623"/>
                    <a:pt x="977" y="3308"/>
                  </a:cubicBezTo>
                  <a:cubicBezTo>
                    <a:pt x="1009" y="3245"/>
                    <a:pt x="1103" y="3151"/>
                    <a:pt x="1198" y="3119"/>
                  </a:cubicBezTo>
                  <a:cubicBezTo>
                    <a:pt x="1419" y="3340"/>
                    <a:pt x="1671" y="3497"/>
                    <a:pt x="1986" y="3497"/>
                  </a:cubicBezTo>
                  <a:cubicBezTo>
                    <a:pt x="2364" y="3497"/>
                    <a:pt x="2679" y="3308"/>
                    <a:pt x="2868" y="3088"/>
                  </a:cubicBezTo>
                  <a:close/>
                  <a:moveTo>
                    <a:pt x="3057" y="5451"/>
                  </a:moveTo>
                  <a:lnTo>
                    <a:pt x="3057" y="5923"/>
                  </a:lnTo>
                  <a:lnTo>
                    <a:pt x="3057" y="6364"/>
                  </a:lnTo>
                  <a:cubicBezTo>
                    <a:pt x="2868" y="6207"/>
                    <a:pt x="2679" y="6049"/>
                    <a:pt x="2521" y="5923"/>
                  </a:cubicBezTo>
                  <a:cubicBezTo>
                    <a:pt x="2679" y="5766"/>
                    <a:pt x="2868" y="5577"/>
                    <a:pt x="3057" y="5451"/>
                  </a:cubicBezTo>
                  <a:close/>
                  <a:moveTo>
                    <a:pt x="7909" y="5451"/>
                  </a:moveTo>
                  <a:cubicBezTo>
                    <a:pt x="8098" y="5577"/>
                    <a:pt x="8318" y="5766"/>
                    <a:pt x="8476" y="5923"/>
                  </a:cubicBezTo>
                  <a:cubicBezTo>
                    <a:pt x="8318" y="6081"/>
                    <a:pt x="8098" y="6238"/>
                    <a:pt x="7909" y="6364"/>
                  </a:cubicBezTo>
                  <a:lnTo>
                    <a:pt x="7909" y="5923"/>
                  </a:lnTo>
                  <a:lnTo>
                    <a:pt x="7909" y="5451"/>
                  </a:lnTo>
                  <a:close/>
                  <a:moveTo>
                    <a:pt x="5483" y="3938"/>
                  </a:moveTo>
                  <a:cubicBezTo>
                    <a:pt x="5735" y="4096"/>
                    <a:pt x="6050" y="4253"/>
                    <a:pt x="6333" y="4411"/>
                  </a:cubicBezTo>
                  <a:cubicBezTo>
                    <a:pt x="6617" y="4569"/>
                    <a:pt x="6900" y="4758"/>
                    <a:pt x="7152" y="4915"/>
                  </a:cubicBezTo>
                  <a:cubicBezTo>
                    <a:pt x="7184" y="5230"/>
                    <a:pt x="7184" y="5545"/>
                    <a:pt x="7184" y="5923"/>
                  </a:cubicBezTo>
                  <a:cubicBezTo>
                    <a:pt x="7184" y="6238"/>
                    <a:pt x="7184" y="6585"/>
                    <a:pt x="7152" y="6900"/>
                  </a:cubicBezTo>
                  <a:cubicBezTo>
                    <a:pt x="6932" y="7057"/>
                    <a:pt x="6648" y="7246"/>
                    <a:pt x="6333" y="7404"/>
                  </a:cubicBezTo>
                  <a:cubicBezTo>
                    <a:pt x="6050" y="7562"/>
                    <a:pt x="5735" y="7719"/>
                    <a:pt x="5483" y="7877"/>
                  </a:cubicBezTo>
                  <a:cubicBezTo>
                    <a:pt x="5199" y="7719"/>
                    <a:pt x="4884" y="7562"/>
                    <a:pt x="4601" y="7404"/>
                  </a:cubicBezTo>
                  <a:cubicBezTo>
                    <a:pt x="4317" y="7246"/>
                    <a:pt x="4065" y="7057"/>
                    <a:pt x="3781" y="6900"/>
                  </a:cubicBezTo>
                  <a:cubicBezTo>
                    <a:pt x="3750" y="6585"/>
                    <a:pt x="3750" y="6238"/>
                    <a:pt x="3750" y="5923"/>
                  </a:cubicBezTo>
                  <a:cubicBezTo>
                    <a:pt x="3750" y="5577"/>
                    <a:pt x="3750" y="5230"/>
                    <a:pt x="3781" y="4915"/>
                  </a:cubicBezTo>
                  <a:cubicBezTo>
                    <a:pt x="4065" y="4726"/>
                    <a:pt x="4317" y="4569"/>
                    <a:pt x="4601" y="4411"/>
                  </a:cubicBezTo>
                  <a:cubicBezTo>
                    <a:pt x="4884" y="4253"/>
                    <a:pt x="5199" y="4096"/>
                    <a:pt x="5483" y="3938"/>
                  </a:cubicBezTo>
                  <a:close/>
                  <a:moveTo>
                    <a:pt x="3876" y="7751"/>
                  </a:moveTo>
                  <a:cubicBezTo>
                    <a:pt x="4002" y="7845"/>
                    <a:pt x="4159" y="7908"/>
                    <a:pt x="4285" y="8003"/>
                  </a:cubicBezTo>
                  <a:cubicBezTo>
                    <a:pt x="4411" y="8066"/>
                    <a:pt x="4506" y="8160"/>
                    <a:pt x="4664" y="8223"/>
                  </a:cubicBezTo>
                  <a:cubicBezTo>
                    <a:pt x="4443" y="8318"/>
                    <a:pt x="4191" y="8444"/>
                    <a:pt x="4002" y="8475"/>
                  </a:cubicBezTo>
                  <a:lnTo>
                    <a:pt x="3876" y="7751"/>
                  </a:lnTo>
                  <a:close/>
                  <a:moveTo>
                    <a:pt x="7089" y="7751"/>
                  </a:moveTo>
                  <a:lnTo>
                    <a:pt x="6963" y="8475"/>
                  </a:lnTo>
                  <a:cubicBezTo>
                    <a:pt x="6711" y="8381"/>
                    <a:pt x="6522" y="8318"/>
                    <a:pt x="6302" y="8223"/>
                  </a:cubicBezTo>
                  <a:cubicBezTo>
                    <a:pt x="6396" y="8160"/>
                    <a:pt x="6554" y="8066"/>
                    <a:pt x="6680" y="8003"/>
                  </a:cubicBezTo>
                  <a:cubicBezTo>
                    <a:pt x="6806" y="7908"/>
                    <a:pt x="6963" y="7845"/>
                    <a:pt x="7089" y="7751"/>
                  </a:cubicBezTo>
                  <a:close/>
                  <a:moveTo>
                    <a:pt x="1986" y="6396"/>
                  </a:moveTo>
                  <a:cubicBezTo>
                    <a:pt x="2364" y="6711"/>
                    <a:pt x="2710" y="6963"/>
                    <a:pt x="3088" y="7278"/>
                  </a:cubicBezTo>
                  <a:cubicBezTo>
                    <a:pt x="3151" y="7814"/>
                    <a:pt x="3214" y="8286"/>
                    <a:pt x="3309" y="8696"/>
                  </a:cubicBezTo>
                  <a:cubicBezTo>
                    <a:pt x="3088" y="8727"/>
                    <a:pt x="2931" y="8790"/>
                    <a:pt x="2742" y="8790"/>
                  </a:cubicBezTo>
                  <a:cubicBezTo>
                    <a:pt x="2475" y="8836"/>
                    <a:pt x="2230" y="8858"/>
                    <a:pt x="2011" y="8858"/>
                  </a:cubicBezTo>
                  <a:cubicBezTo>
                    <a:pt x="1482" y="8858"/>
                    <a:pt x="1111" y="8730"/>
                    <a:pt x="977" y="8507"/>
                  </a:cubicBezTo>
                  <a:cubicBezTo>
                    <a:pt x="788" y="8160"/>
                    <a:pt x="1009" y="7530"/>
                    <a:pt x="1608" y="6805"/>
                  </a:cubicBezTo>
                  <a:cubicBezTo>
                    <a:pt x="1734" y="6648"/>
                    <a:pt x="1828" y="6553"/>
                    <a:pt x="1986" y="6396"/>
                  </a:cubicBezTo>
                  <a:close/>
                  <a:moveTo>
                    <a:pt x="8980" y="6364"/>
                  </a:moveTo>
                  <a:cubicBezTo>
                    <a:pt x="9137" y="6553"/>
                    <a:pt x="9232" y="6648"/>
                    <a:pt x="9358" y="6805"/>
                  </a:cubicBezTo>
                  <a:cubicBezTo>
                    <a:pt x="9956" y="7530"/>
                    <a:pt x="10177" y="8160"/>
                    <a:pt x="9988" y="8507"/>
                  </a:cubicBezTo>
                  <a:cubicBezTo>
                    <a:pt x="9858" y="8745"/>
                    <a:pt x="9505" y="8864"/>
                    <a:pt x="9000" y="8864"/>
                  </a:cubicBezTo>
                  <a:cubicBezTo>
                    <a:pt x="8770" y="8864"/>
                    <a:pt x="8509" y="8839"/>
                    <a:pt x="8224" y="8790"/>
                  </a:cubicBezTo>
                  <a:cubicBezTo>
                    <a:pt x="8035" y="8727"/>
                    <a:pt x="7877" y="8696"/>
                    <a:pt x="7656" y="8664"/>
                  </a:cubicBezTo>
                  <a:cubicBezTo>
                    <a:pt x="7751" y="8223"/>
                    <a:pt x="7814" y="7751"/>
                    <a:pt x="7877" y="7246"/>
                  </a:cubicBezTo>
                  <a:cubicBezTo>
                    <a:pt x="8255" y="6963"/>
                    <a:pt x="8665" y="6648"/>
                    <a:pt x="8980" y="6364"/>
                  </a:cubicBezTo>
                  <a:close/>
                  <a:moveTo>
                    <a:pt x="4159" y="10334"/>
                  </a:moveTo>
                  <a:cubicBezTo>
                    <a:pt x="4285" y="10334"/>
                    <a:pt x="4411" y="10397"/>
                    <a:pt x="4474" y="10491"/>
                  </a:cubicBezTo>
                  <a:cubicBezTo>
                    <a:pt x="4537" y="10554"/>
                    <a:pt x="4537" y="10649"/>
                    <a:pt x="4537" y="10743"/>
                  </a:cubicBezTo>
                  <a:cubicBezTo>
                    <a:pt x="4474" y="10838"/>
                    <a:pt x="4443" y="10901"/>
                    <a:pt x="4380" y="10964"/>
                  </a:cubicBezTo>
                  <a:cubicBezTo>
                    <a:pt x="4319" y="10994"/>
                    <a:pt x="4259" y="11008"/>
                    <a:pt x="4200" y="11008"/>
                  </a:cubicBezTo>
                  <a:cubicBezTo>
                    <a:pt x="4076" y="11008"/>
                    <a:pt x="3962" y="10945"/>
                    <a:pt x="3876" y="10838"/>
                  </a:cubicBezTo>
                  <a:cubicBezTo>
                    <a:pt x="3844" y="10743"/>
                    <a:pt x="3844" y="10680"/>
                    <a:pt x="3844" y="10554"/>
                  </a:cubicBezTo>
                  <a:cubicBezTo>
                    <a:pt x="3876" y="10491"/>
                    <a:pt x="3939" y="10397"/>
                    <a:pt x="4002" y="10365"/>
                  </a:cubicBezTo>
                  <a:cubicBezTo>
                    <a:pt x="4033" y="10334"/>
                    <a:pt x="4128" y="10334"/>
                    <a:pt x="4159" y="10334"/>
                  </a:cubicBezTo>
                  <a:close/>
                  <a:moveTo>
                    <a:pt x="5420" y="8664"/>
                  </a:moveTo>
                  <a:cubicBezTo>
                    <a:pt x="5861" y="8853"/>
                    <a:pt x="6333" y="9042"/>
                    <a:pt x="6774" y="9168"/>
                  </a:cubicBezTo>
                  <a:cubicBezTo>
                    <a:pt x="6774" y="9326"/>
                    <a:pt x="6680" y="9515"/>
                    <a:pt x="6617" y="9735"/>
                  </a:cubicBezTo>
                  <a:cubicBezTo>
                    <a:pt x="6302" y="10586"/>
                    <a:pt x="5861" y="11153"/>
                    <a:pt x="5451" y="11153"/>
                  </a:cubicBezTo>
                  <a:cubicBezTo>
                    <a:pt x="5388" y="11153"/>
                    <a:pt x="5262" y="11090"/>
                    <a:pt x="5136" y="11059"/>
                  </a:cubicBezTo>
                  <a:cubicBezTo>
                    <a:pt x="5136" y="11027"/>
                    <a:pt x="5199" y="10996"/>
                    <a:pt x="5199" y="10933"/>
                  </a:cubicBezTo>
                  <a:cubicBezTo>
                    <a:pt x="5262" y="10680"/>
                    <a:pt x="5231" y="10397"/>
                    <a:pt x="5073" y="10145"/>
                  </a:cubicBezTo>
                  <a:cubicBezTo>
                    <a:pt x="4916" y="9830"/>
                    <a:pt x="4601" y="9704"/>
                    <a:pt x="4254" y="9641"/>
                  </a:cubicBezTo>
                  <a:cubicBezTo>
                    <a:pt x="4191" y="9483"/>
                    <a:pt x="4128" y="9326"/>
                    <a:pt x="4096" y="9168"/>
                  </a:cubicBezTo>
                  <a:cubicBezTo>
                    <a:pt x="4506" y="9011"/>
                    <a:pt x="4947" y="8853"/>
                    <a:pt x="5420" y="8664"/>
                  </a:cubicBezTo>
                  <a:close/>
                  <a:moveTo>
                    <a:pt x="5420" y="0"/>
                  </a:moveTo>
                  <a:cubicBezTo>
                    <a:pt x="4727" y="0"/>
                    <a:pt x="4096" y="662"/>
                    <a:pt x="3624" y="1859"/>
                  </a:cubicBezTo>
                  <a:cubicBezTo>
                    <a:pt x="3529" y="2048"/>
                    <a:pt x="3498" y="2237"/>
                    <a:pt x="3403" y="2458"/>
                  </a:cubicBezTo>
                  <a:cubicBezTo>
                    <a:pt x="3246" y="2395"/>
                    <a:pt x="3151" y="2363"/>
                    <a:pt x="2994" y="2363"/>
                  </a:cubicBezTo>
                  <a:cubicBezTo>
                    <a:pt x="2962" y="1828"/>
                    <a:pt x="2521" y="1418"/>
                    <a:pt x="1954" y="1418"/>
                  </a:cubicBezTo>
                  <a:cubicBezTo>
                    <a:pt x="1387" y="1418"/>
                    <a:pt x="946" y="1891"/>
                    <a:pt x="946" y="2426"/>
                  </a:cubicBezTo>
                  <a:cubicBezTo>
                    <a:pt x="662" y="2552"/>
                    <a:pt x="473" y="2710"/>
                    <a:pt x="347" y="2962"/>
                  </a:cubicBezTo>
                  <a:cubicBezTo>
                    <a:pt x="1" y="3592"/>
                    <a:pt x="221" y="4443"/>
                    <a:pt x="1072" y="5419"/>
                  </a:cubicBezTo>
                  <a:cubicBezTo>
                    <a:pt x="1166" y="5577"/>
                    <a:pt x="1324" y="5766"/>
                    <a:pt x="1482" y="5892"/>
                  </a:cubicBezTo>
                  <a:cubicBezTo>
                    <a:pt x="1324" y="6049"/>
                    <a:pt x="1229" y="6207"/>
                    <a:pt x="1072" y="6364"/>
                  </a:cubicBezTo>
                  <a:cubicBezTo>
                    <a:pt x="221" y="7372"/>
                    <a:pt x="1" y="8223"/>
                    <a:pt x="347" y="8853"/>
                  </a:cubicBezTo>
                  <a:cubicBezTo>
                    <a:pt x="631" y="9326"/>
                    <a:pt x="1166" y="9578"/>
                    <a:pt x="2017" y="9578"/>
                  </a:cubicBezTo>
                  <a:cubicBezTo>
                    <a:pt x="2269" y="9578"/>
                    <a:pt x="2553" y="9515"/>
                    <a:pt x="2868" y="9483"/>
                  </a:cubicBezTo>
                  <a:lnTo>
                    <a:pt x="3466" y="9357"/>
                  </a:lnTo>
                  <a:cubicBezTo>
                    <a:pt x="3498" y="9515"/>
                    <a:pt x="3529" y="9704"/>
                    <a:pt x="3624" y="9798"/>
                  </a:cubicBezTo>
                  <a:cubicBezTo>
                    <a:pt x="3403" y="9956"/>
                    <a:pt x="3246" y="10145"/>
                    <a:pt x="3183" y="10397"/>
                  </a:cubicBezTo>
                  <a:cubicBezTo>
                    <a:pt x="3120" y="10680"/>
                    <a:pt x="3151" y="10933"/>
                    <a:pt x="3309" y="11185"/>
                  </a:cubicBezTo>
                  <a:cubicBezTo>
                    <a:pt x="3498" y="11500"/>
                    <a:pt x="3844" y="11689"/>
                    <a:pt x="4222" y="11689"/>
                  </a:cubicBezTo>
                  <a:cubicBezTo>
                    <a:pt x="4380" y="11689"/>
                    <a:pt x="4569" y="11657"/>
                    <a:pt x="4727" y="11531"/>
                  </a:cubicBezTo>
                  <a:cubicBezTo>
                    <a:pt x="4947" y="11689"/>
                    <a:pt x="5199" y="11815"/>
                    <a:pt x="5483" y="11815"/>
                  </a:cubicBezTo>
                  <a:cubicBezTo>
                    <a:pt x="6176" y="11815"/>
                    <a:pt x="6806" y="11153"/>
                    <a:pt x="7278" y="9956"/>
                  </a:cubicBezTo>
                  <a:cubicBezTo>
                    <a:pt x="7373" y="9767"/>
                    <a:pt x="7404" y="9578"/>
                    <a:pt x="7467" y="9357"/>
                  </a:cubicBezTo>
                  <a:cubicBezTo>
                    <a:pt x="7688" y="9420"/>
                    <a:pt x="7909" y="9452"/>
                    <a:pt x="8098" y="9483"/>
                  </a:cubicBezTo>
                  <a:cubicBezTo>
                    <a:pt x="8413" y="9515"/>
                    <a:pt x="8696" y="9578"/>
                    <a:pt x="8980" y="9578"/>
                  </a:cubicBezTo>
                  <a:cubicBezTo>
                    <a:pt x="9767" y="9578"/>
                    <a:pt x="10366" y="9326"/>
                    <a:pt x="10618" y="8853"/>
                  </a:cubicBezTo>
                  <a:cubicBezTo>
                    <a:pt x="10996" y="8223"/>
                    <a:pt x="10744" y="7372"/>
                    <a:pt x="9925" y="6364"/>
                  </a:cubicBezTo>
                  <a:cubicBezTo>
                    <a:pt x="9799" y="6207"/>
                    <a:pt x="9641" y="6049"/>
                    <a:pt x="9484" y="5892"/>
                  </a:cubicBezTo>
                  <a:cubicBezTo>
                    <a:pt x="9610" y="5797"/>
                    <a:pt x="9673" y="5671"/>
                    <a:pt x="9799" y="5577"/>
                  </a:cubicBezTo>
                  <a:cubicBezTo>
                    <a:pt x="9956" y="5671"/>
                    <a:pt x="10114" y="5703"/>
                    <a:pt x="10240" y="5703"/>
                  </a:cubicBezTo>
                  <a:cubicBezTo>
                    <a:pt x="10586" y="5703"/>
                    <a:pt x="10933" y="5514"/>
                    <a:pt x="11154" y="5199"/>
                  </a:cubicBezTo>
                  <a:cubicBezTo>
                    <a:pt x="11248" y="4915"/>
                    <a:pt x="11280" y="4663"/>
                    <a:pt x="11217" y="4380"/>
                  </a:cubicBezTo>
                  <a:cubicBezTo>
                    <a:pt x="11122" y="4096"/>
                    <a:pt x="10965" y="3875"/>
                    <a:pt x="10744" y="3749"/>
                  </a:cubicBezTo>
                  <a:cubicBezTo>
                    <a:pt x="10775" y="3466"/>
                    <a:pt x="10712" y="3182"/>
                    <a:pt x="10586" y="2962"/>
                  </a:cubicBezTo>
                  <a:cubicBezTo>
                    <a:pt x="10325" y="2486"/>
                    <a:pt x="9740" y="2262"/>
                    <a:pt x="8927" y="2262"/>
                  </a:cubicBezTo>
                  <a:cubicBezTo>
                    <a:pt x="8663" y="2262"/>
                    <a:pt x="8375" y="2285"/>
                    <a:pt x="8066" y="2332"/>
                  </a:cubicBezTo>
                  <a:cubicBezTo>
                    <a:pt x="7877" y="2363"/>
                    <a:pt x="7656" y="2395"/>
                    <a:pt x="7436" y="2458"/>
                  </a:cubicBezTo>
                  <a:cubicBezTo>
                    <a:pt x="7341" y="2237"/>
                    <a:pt x="7310" y="2017"/>
                    <a:pt x="7247" y="1859"/>
                  </a:cubicBezTo>
                  <a:cubicBezTo>
                    <a:pt x="6806" y="630"/>
                    <a:pt x="6144" y="0"/>
                    <a:pt x="5420"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9793" name="Google Shape;9793;p110"/>
          <p:cNvGrpSpPr/>
          <p:nvPr/>
        </p:nvGrpSpPr>
        <p:grpSpPr>
          <a:xfrm>
            <a:off x="8286371" y="4452276"/>
            <a:ext cx="443285" cy="470907"/>
            <a:chOff x="-24330250" y="2340425"/>
            <a:chExt cx="278050" cy="295375"/>
          </a:xfrm>
        </p:grpSpPr>
        <p:sp>
          <p:nvSpPr>
            <p:cNvPr id="9794" name="Google Shape;9794;p110"/>
            <p:cNvSpPr/>
            <p:nvPr/>
          </p:nvSpPr>
          <p:spPr>
            <a:xfrm>
              <a:off x="-24330250" y="2340425"/>
              <a:ext cx="278050" cy="295375"/>
            </a:xfrm>
            <a:custGeom>
              <a:avLst/>
              <a:gdLst/>
              <a:ahLst/>
              <a:cxnLst/>
              <a:rect l="l" t="t" r="r" b="b"/>
              <a:pathLst>
                <a:path w="11122" h="11815" extrusionOk="0">
                  <a:moveTo>
                    <a:pt x="5577" y="693"/>
                  </a:moveTo>
                  <a:cubicBezTo>
                    <a:pt x="6711" y="693"/>
                    <a:pt x="7656" y="1638"/>
                    <a:pt x="7656" y="2804"/>
                  </a:cubicBezTo>
                  <a:lnTo>
                    <a:pt x="7656" y="3151"/>
                  </a:lnTo>
                  <a:cubicBezTo>
                    <a:pt x="7656" y="3340"/>
                    <a:pt x="7499" y="3497"/>
                    <a:pt x="7310" y="3497"/>
                  </a:cubicBezTo>
                  <a:lnTo>
                    <a:pt x="5924" y="3497"/>
                  </a:lnTo>
                  <a:lnTo>
                    <a:pt x="5924" y="3151"/>
                  </a:lnTo>
                  <a:cubicBezTo>
                    <a:pt x="5924" y="2962"/>
                    <a:pt x="5766" y="2804"/>
                    <a:pt x="5577" y="2804"/>
                  </a:cubicBezTo>
                  <a:cubicBezTo>
                    <a:pt x="5357" y="2804"/>
                    <a:pt x="5199" y="2962"/>
                    <a:pt x="5199" y="3151"/>
                  </a:cubicBezTo>
                  <a:lnTo>
                    <a:pt x="5199" y="3497"/>
                  </a:lnTo>
                  <a:lnTo>
                    <a:pt x="3844" y="3497"/>
                  </a:lnTo>
                  <a:cubicBezTo>
                    <a:pt x="3624" y="3497"/>
                    <a:pt x="3466" y="3340"/>
                    <a:pt x="3466" y="3151"/>
                  </a:cubicBezTo>
                  <a:lnTo>
                    <a:pt x="3466" y="2804"/>
                  </a:lnTo>
                  <a:cubicBezTo>
                    <a:pt x="3466" y="1638"/>
                    <a:pt x="4411" y="693"/>
                    <a:pt x="5577" y="693"/>
                  </a:cubicBezTo>
                  <a:close/>
                  <a:moveTo>
                    <a:pt x="8318" y="2867"/>
                  </a:moveTo>
                  <a:cubicBezTo>
                    <a:pt x="8728" y="2993"/>
                    <a:pt x="9043" y="3371"/>
                    <a:pt x="9043" y="3844"/>
                  </a:cubicBezTo>
                  <a:lnTo>
                    <a:pt x="9043" y="8727"/>
                  </a:lnTo>
                  <a:cubicBezTo>
                    <a:pt x="9043" y="9326"/>
                    <a:pt x="8570" y="9767"/>
                    <a:pt x="8003" y="9767"/>
                  </a:cubicBezTo>
                  <a:lnTo>
                    <a:pt x="5924" y="9767"/>
                  </a:lnTo>
                  <a:lnTo>
                    <a:pt x="5924" y="7309"/>
                  </a:lnTo>
                  <a:cubicBezTo>
                    <a:pt x="5924" y="7120"/>
                    <a:pt x="5766" y="6963"/>
                    <a:pt x="5577" y="6963"/>
                  </a:cubicBezTo>
                  <a:cubicBezTo>
                    <a:pt x="5357" y="6963"/>
                    <a:pt x="5199" y="7120"/>
                    <a:pt x="5199" y="7309"/>
                  </a:cubicBezTo>
                  <a:lnTo>
                    <a:pt x="5199" y="9767"/>
                  </a:lnTo>
                  <a:lnTo>
                    <a:pt x="3120" y="9767"/>
                  </a:lnTo>
                  <a:cubicBezTo>
                    <a:pt x="2521" y="9767"/>
                    <a:pt x="2112" y="9294"/>
                    <a:pt x="2112" y="8727"/>
                  </a:cubicBezTo>
                  <a:lnTo>
                    <a:pt x="2112" y="3844"/>
                  </a:lnTo>
                  <a:cubicBezTo>
                    <a:pt x="2112" y="3434"/>
                    <a:pt x="2364" y="3025"/>
                    <a:pt x="2805" y="2867"/>
                  </a:cubicBezTo>
                  <a:lnTo>
                    <a:pt x="2805" y="3151"/>
                  </a:lnTo>
                  <a:cubicBezTo>
                    <a:pt x="2805" y="3749"/>
                    <a:pt x="3277" y="4159"/>
                    <a:pt x="3844" y="4159"/>
                  </a:cubicBezTo>
                  <a:lnTo>
                    <a:pt x="7310" y="4159"/>
                  </a:lnTo>
                  <a:cubicBezTo>
                    <a:pt x="7877" y="4159"/>
                    <a:pt x="8318" y="3686"/>
                    <a:pt x="8318" y="3151"/>
                  </a:cubicBezTo>
                  <a:lnTo>
                    <a:pt x="8318" y="2867"/>
                  </a:lnTo>
                  <a:close/>
                  <a:moveTo>
                    <a:pt x="7972" y="693"/>
                  </a:moveTo>
                  <a:cubicBezTo>
                    <a:pt x="9326" y="693"/>
                    <a:pt x="10429" y="1796"/>
                    <a:pt x="10429" y="3151"/>
                  </a:cubicBezTo>
                  <a:lnTo>
                    <a:pt x="10429" y="8727"/>
                  </a:lnTo>
                  <a:lnTo>
                    <a:pt x="10397" y="8727"/>
                  </a:lnTo>
                  <a:cubicBezTo>
                    <a:pt x="10397" y="10082"/>
                    <a:pt x="9295" y="11184"/>
                    <a:pt x="7972" y="11184"/>
                  </a:cubicBezTo>
                  <a:lnTo>
                    <a:pt x="3120" y="11184"/>
                  </a:lnTo>
                  <a:cubicBezTo>
                    <a:pt x="1797" y="11184"/>
                    <a:pt x="694" y="10082"/>
                    <a:pt x="694" y="8727"/>
                  </a:cubicBezTo>
                  <a:lnTo>
                    <a:pt x="694" y="3151"/>
                  </a:lnTo>
                  <a:cubicBezTo>
                    <a:pt x="694" y="1796"/>
                    <a:pt x="1797" y="693"/>
                    <a:pt x="3120" y="693"/>
                  </a:cubicBezTo>
                  <a:lnTo>
                    <a:pt x="3718" y="693"/>
                  </a:lnTo>
                  <a:cubicBezTo>
                    <a:pt x="3277" y="1071"/>
                    <a:pt x="2994" y="1575"/>
                    <a:pt x="2868" y="2111"/>
                  </a:cubicBezTo>
                  <a:cubicBezTo>
                    <a:pt x="2017" y="2237"/>
                    <a:pt x="1387" y="2993"/>
                    <a:pt x="1387" y="3844"/>
                  </a:cubicBezTo>
                  <a:lnTo>
                    <a:pt x="1387" y="8727"/>
                  </a:lnTo>
                  <a:cubicBezTo>
                    <a:pt x="1387" y="9672"/>
                    <a:pt x="2175" y="10460"/>
                    <a:pt x="3120" y="10460"/>
                  </a:cubicBezTo>
                  <a:lnTo>
                    <a:pt x="7972" y="10460"/>
                  </a:lnTo>
                  <a:cubicBezTo>
                    <a:pt x="8917" y="10460"/>
                    <a:pt x="9704" y="9672"/>
                    <a:pt x="9704" y="8727"/>
                  </a:cubicBezTo>
                  <a:lnTo>
                    <a:pt x="9704" y="3844"/>
                  </a:lnTo>
                  <a:cubicBezTo>
                    <a:pt x="9704" y="2993"/>
                    <a:pt x="9074" y="2237"/>
                    <a:pt x="8255" y="2111"/>
                  </a:cubicBezTo>
                  <a:cubicBezTo>
                    <a:pt x="8098" y="1575"/>
                    <a:pt x="7814" y="1071"/>
                    <a:pt x="7373" y="693"/>
                  </a:cubicBezTo>
                  <a:close/>
                  <a:moveTo>
                    <a:pt x="3120" y="0"/>
                  </a:moveTo>
                  <a:cubicBezTo>
                    <a:pt x="1387" y="0"/>
                    <a:pt x="1" y="1418"/>
                    <a:pt x="1" y="3119"/>
                  </a:cubicBezTo>
                  <a:lnTo>
                    <a:pt x="1" y="8695"/>
                  </a:lnTo>
                  <a:cubicBezTo>
                    <a:pt x="1" y="10428"/>
                    <a:pt x="1418" y="11814"/>
                    <a:pt x="3120" y="11814"/>
                  </a:cubicBezTo>
                  <a:lnTo>
                    <a:pt x="7972" y="11814"/>
                  </a:lnTo>
                  <a:cubicBezTo>
                    <a:pt x="9704" y="11814"/>
                    <a:pt x="11091" y="10397"/>
                    <a:pt x="11091" y="8695"/>
                  </a:cubicBezTo>
                  <a:lnTo>
                    <a:pt x="11091" y="3119"/>
                  </a:lnTo>
                  <a:cubicBezTo>
                    <a:pt x="11122" y="1418"/>
                    <a:pt x="9704" y="0"/>
                    <a:pt x="7972"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9795" name="Google Shape;9795;p110"/>
            <p:cNvSpPr/>
            <p:nvPr/>
          </p:nvSpPr>
          <p:spPr>
            <a:xfrm>
              <a:off x="-24225500" y="2375850"/>
              <a:ext cx="68550" cy="34700"/>
            </a:xfrm>
            <a:custGeom>
              <a:avLst/>
              <a:gdLst/>
              <a:ahLst/>
              <a:cxnLst/>
              <a:rect l="l" t="t" r="r" b="b"/>
              <a:pathLst>
                <a:path w="2742" h="1388" extrusionOk="0">
                  <a:moveTo>
                    <a:pt x="1387" y="1"/>
                  </a:moveTo>
                  <a:cubicBezTo>
                    <a:pt x="789" y="1"/>
                    <a:pt x="284" y="347"/>
                    <a:pt x="64" y="914"/>
                  </a:cubicBezTo>
                  <a:cubicBezTo>
                    <a:pt x="1" y="1103"/>
                    <a:pt x="64" y="1293"/>
                    <a:pt x="284" y="1324"/>
                  </a:cubicBezTo>
                  <a:cubicBezTo>
                    <a:pt x="330" y="1347"/>
                    <a:pt x="375" y="1357"/>
                    <a:pt x="418" y="1357"/>
                  </a:cubicBezTo>
                  <a:cubicBezTo>
                    <a:pt x="555" y="1357"/>
                    <a:pt x="670" y="1255"/>
                    <a:pt x="694" y="1135"/>
                  </a:cubicBezTo>
                  <a:cubicBezTo>
                    <a:pt x="789" y="851"/>
                    <a:pt x="1072" y="662"/>
                    <a:pt x="1387" y="662"/>
                  </a:cubicBezTo>
                  <a:cubicBezTo>
                    <a:pt x="1639" y="662"/>
                    <a:pt x="1923" y="851"/>
                    <a:pt x="2049" y="1135"/>
                  </a:cubicBezTo>
                  <a:cubicBezTo>
                    <a:pt x="2080" y="1293"/>
                    <a:pt x="2238" y="1387"/>
                    <a:pt x="2364" y="1387"/>
                  </a:cubicBezTo>
                  <a:cubicBezTo>
                    <a:pt x="2395" y="1387"/>
                    <a:pt x="2427" y="1387"/>
                    <a:pt x="2490" y="1324"/>
                  </a:cubicBezTo>
                  <a:cubicBezTo>
                    <a:pt x="2679" y="1261"/>
                    <a:pt x="2742" y="1072"/>
                    <a:pt x="2679" y="914"/>
                  </a:cubicBezTo>
                  <a:cubicBezTo>
                    <a:pt x="2490" y="347"/>
                    <a:pt x="1954" y="1"/>
                    <a:pt x="1387"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9796" name="Google Shape;9796;p110"/>
            <p:cNvSpPr/>
            <p:nvPr/>
          </p:nvSpPr>
          <p:spPr>
            <a:xfrm>
              <a:off x="-24260925" y="2462500"/>
              <a:ext cx="138650" cy="17350"/>
            </a:xfrm>
            <a:custGeom>
              <a:avLst/>
              <a:gdLst/>
              <a:ahLst/>
              <a:cxnLst/>
              <a:rect l="l" t="t" r="r" b="b"/>
              <a:pathLst>
                <a:path w="5546" h="694" extrusionOk="0">
                  <a:moveTo>
                    <a:pt x="347" y="0"/>
                  </a:moveTo>
                  <a:cubicBezTo>
                    <a:pt x="158" y="0"/>
                    <a:pt x="0" y="158"/>
                    <a:pt x="0" y="347"/>
                  </a:cubicBezTo>
                  <a:cubicBezTo>
                    <a:pt x="0" y="536"/>
                    <a:pt x="158" y="693"/>
                    <a:pt x="347" y="693"/>
                  </a:cubicBezTo>
                  <a:lnTo>
                    <a:pt x="5199" y="693"/>
                  </a:lnTo>
                  <a:cubicBezTo>
                    <a:pt x="5388" y="693"/>
                    <a:pt x="5545" y="536"/>
                    <a:pt x="5545" y="347"/>
                  </a:cubicBezTo>
                  <a:cubicBezTo>
                    <a:pt x="5545" y="158"/>
                    <a:pt x="5388" y="0"/>
                    <a:pt x="5199"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9797" name="Google Shape;9797;p110"/>
            <p:cNvSpPr/>
            <p:nvPr/>
          </p:nvSpPr>
          <p:spPr>
            <a:xfrm>
              <a:off x="-24260150" y="2515275"/>
              <a:ext cx="43350" cy="18125"/>
            </a:xfrm>
            <a:custGeom>
              <a:avLst/>
              <a:gdLst/>
              <a:ahLst/>
              <a:cxnLst/>
              <a:rect l="l" t="t" r="r" b="b"/>
              <a:pathLst>
                <a:path w="1734" h="725" extrusionOk="0">
                  <a:moveTo>
                    <a:pt x="347" y="0"/>
                  </a:moveTo>
                  <a:cubicBezTo>
                    <a:pt x="158" y="0"/>
                    <a:pt x="1" y="158"/>
                    <a:pt x="1" y="378"/>
                  </a:cubicBezTo>
                  <a:cubicBezTo>
                    <a:pt x="1" y="567"/>
                    <a:pt x="158" y="725"/>
                    <a:pt x="347" y="725"/>
                  </a:cubicBezTo>
                  <a:lnTo>
                    <a:pt x="1387" y="725"/>
                  </a:lnTo>
                  <a:cubicBezTo>
                    <a:pt x="1576" y="725"/>
                    <a:pt x="1733" y="567"/>
                    <a:pt x="1733" y="378"/>
                  </a:cubicBezTo>
                  <a:cubicBezTo>
                    <a:pt x="1702" y="158"/>
                    <a:pt x="1544" y="0"/>
                    <a:pt x="1387"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9798" name="Google Shape;9798;p110"/>
            <p:cNvSpPr/>
            <p:nvPr/>
          </p:nvSpPr>
          <p:spPr>
            <a:xfrm>
              <a:off x="-24260925" y="2549925"/>
              <a:ext cx="35450" cy="18125"/>
            </a:xfrm>
            <a:custGeom>
              <a:avLst/>
              <a:gdLst/>
              <a:ahLst/>
              <a:cxnLst/>
              <a:rect l="l" t="t" r="r" b="b"/>
              <a:pathLst>
                <a:path w="1418" h="725" extrusionOk="0">
                  <a:moveTo>
                    <a:pt x="347" y="0"/>
                  </a:moveTo>
                  <a:cubicBezTo>
                    <a:pt x="158" y="0"/>
                    <a:pt x="0" y="158"/>
                    <a:pt x="0" y="347"/>
                  </a:cubicBezTo>
                  <a:cubicBezTo>
                    <a:pt x="0" y="567"/>
                    <a:pt x="158" y="725"/>
                    <a:pt x="347" y="725"/>
                  </a:cubicBezTo>
                  <a:lnTo>
                    <a:pt x="1071" y="725"/>
                  </a:lnTo>
                  <a:cubicBezTo>
                    <a:pt x="1260" y="725"/>
                    <a:pt x="1418" y="567"/>
                    <a:pt x="1418" y="347"/>
                  </a:cubicBezTo>
                  <a:cubicBezTo>
                    <a:pt x="1418" y="158"/>
                    <a:pt x="1260" y="0"/>
                    <a:pt x="1071"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9799" name="Google Shape;9799;p110"/>
            <p:cNvSpPr/>
            <p:nvPr/>
          </p:nvSpPr>
          <p:spPr>
            <a:xfrm>
              <a:off x="-24165625" y="2515275"/>
              <a:ext cx="43350" cy="18125"/>
            </a:xfrm>
            <a:custGeom>
              <a:avLst/>
              <a:gdLst/>
              <a:ahLst/>
              <a:cxnLst/>
              <a:rect l="l" t="t" r="r" b="b"/>
              <a:pathLst>
                <a:path w="1734" h="725" extrusionOk="0">
                  <a:moveTo>
                    <a:pt x="378" y="0"/>
                  </a:moveTo>
                  <a:cubicBezTo>
                    <a:pt x="158" y="0"/>
                    <a:pt x="0" y="158"/>
                    <a:pt x="0" y="378"/>
                  </a:cubicBezTo>
                  <a:cubicBezTo>
                    <a:pt x="0" y="567"/>
                    <a:pt x="158" y="725"/>
                    <a:pt x="378" y="725"/>
                  </a:cubicBezTo>
                  <a:lnTo>
                    <a:pt x="1387" y="725"/>
                  </a:lnTo>
                  <a:cubicBezTo>
                    <a:pt x="1576" y="725"/>
                    <a:pt x="1733" y="567"/>
                    <a:pt x="1733" y="378"/>
                  </a:cubicBezTo>
                  <a:cubicBezTo>
                    <a:pt x="1733" y="158"/>
                    <a:pt x="1576" y="0"/>
                    <a:pt x="1387"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9800" name="Google Shape;9800;p110"/>
            <p:cNvSpPr/>
            <p:nvPr/>
          </p:nvSpPr>
          <p:spPr>
            <a:xfrm>
              <a:off x="-24157750" y="2549925"/>
              <a:ext cx="35475" cy="18125"/>
            </a:xfrm>
            <a:custGeom>
              <a:avLst/>
              <a:gdLst/>
              <a:ahLst/>
              <a:cxnLst/>
              <a:rect l="l" t="t" r="r" b="b"/>
              <a:pathLst>
                <a:path w="1419" h="725" extrusionOk="0">
                  <a:moveTo>
                    <a:pt x="347" y="0"/>
                  </a:moveTo>
                  <a:cubicBezTo>
                    <a:pt x="158" y="0"/>
                    <a:pt x="0" y="158"/>
                    <a:pt x="0" y="347"/>
                  </a:cubicBezTo>
                  <a:cubicBezTo>
                    <a:pt x="0" y="567"/>
                    <a:pt x="158" y="725"/>
                    <a:pt x="347" y="725"/>
                  </a:cubicBezTo>
                  <a:lnTo>
                    <a:pt x="1072" y="725"/>
                  </a:lnTo>
                  <a:cubicBezTo>
                    <a:pt x="1261" y="725"/>
                    <a:pt x="1418" y="567"/>
                    <a:pt x="1418" y="347"/>
                  </a:cubicBezTo>
                  <a:cubicBezTo>
                    <a:pt x="1418" y="158"/>
                    <a:pt x="1261" y="0"/>
                    <a:pt x="1072"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9801" name="Google Shape;9801;p110"/>
          <p:cNvGrpSpPr/>
          <p:nvPr/>
        </p:nvGrpSpPr>
        <p:grpSpPr>
          <a:xfrm>
            <a:off x="8272560" y="5040560"/>
            <a:ext cx="470907" cy="470907"/>
            <a:chOff x="-24338900" y="2710600"/>
            <a:chExt cx="295375" cy="295375"/>
          </a:xfrm>
        </p:grpSpPr>
        <p:sp>
          <p:nvSpPr>
            <p:cNvPr id="9802" name="Google Shape;9802;p110"/>
            <p:cNvSpPr/>
            <p:nvPr/>
          </p:nvSpPr>
          <p:spPr>
            <a:xfrm>
              <a:off x="-24250700" y="2816925"/>
              <a:ext cx="123675" cy="103200"/>
            </a:xfrm>
            <a:custGeom>
              <a:avLst/>
              <a:gdLst/>
              <a:ahLst/>
              <a:cxnLst/>
              <a:rect l="l" t="t" r="r" b="b"/>
              <a:pathLst>
                <a:path w="4947" h="4128" extrusionOk="0">
                  <a:moveTo>
                    <a:pt x="3403" y="662"/>
                  </a:moveTo>
                  <a:cubicBezTo>
                    <a:pt x="3813" y="662"/>
                    <a:pt x="4128" y="977"/>
                    <a:pt x="4128" y="1387"/>
                  </a:cubicBezTo>
                  <a:cubicBezTo>
                    <a:pt x="4128" y="1922"/>
                    <a:pt x="3561" y="2363"/>
                    <a:pt x="2710" y="3025"/>
                  </a:cubicBezTo>
                  <a:cubicBezTo>
                    <a:pt x="2584" y="3119"/>
                    <a:pt x="2490" y="3182"/>
                    <a:pt x="2395" y="3309"/>
                  </a:cubicBezTo>
                  <a:cubicBezTo>
                    <a:pt x="2269" y="3214"/>
                    <a:pt x="2143" y="3151"/>
                    <a:pt x="2080" y="3025"/>
                  </a:cubicBezTo>
                  <a:cubicBezTo>
                    <a:pt x="1198" y="2363"/>
                    <a:pt x="662" y="1891"/>
                    <a:pt x="662" y="1387"/>
                  </a:cubicBezTo>
                  <a:cubicBezTo>
                    <a:pt x="662" y="946"/>
                    <a:pt x="977" y="662"/>
                    <a:pt x="1355" y="662"/>
                  </a:cubicBezTo>
                  <a:cubicBezTo>
                    <a:pt x="1860" y="662"/>
                    <a:pt x="2080" y="1229"/>
                    <a:pt x="2080" y="1261"/>
                  </a:cubicBezTo>
                  <a:cubicBezTo>
                    <a:pt x="2112" y="1418"/>
                    <a:pt x="2238" y="1481"/>
                    <a:pt x="2395" y="1481"/>
                  </a:cubicBezTo>
                  <a:cubicBezTo>
                    <a:pt x="2553" y="1481"/>
                    <a:pt x="2647" y="1355"/>
                    <a:pt x="2710" y="1261"/>
                  </a:cubicBezTo>
                  <a:cubicBezTo>
                    <a:pt x="2710" y="1229"/>
                    <a:pt x="2899" y="662"/>
                    <a:pt x="3403" y="662"/>
                  </a:cubicBezTo>
                  <a:close/>
                  <a:moveTo>
                    <a:pt x="1355" y="1"/>
                  </a:moveTo>
                  <a:cubicBezTo>
                    <a:pt x="568" y="1"/>
                    <a:pt x="1" y="631"/>
                    <a:pt x="1" y="1418"/>
                  </a:cubicBezTo>
                  <a:cubicBezTo>
                    <a:pt x="1" y="2269"/>
                    <a:pt x="694" y="2836"/>
                    <a:pt x="1671" y="3624"/>
                  </a:cubicBezTo>
                  <a:cubicBezTo>
                    <a:pt x="1828" y="3750"/>
                    <a:pt x="2049" y="3907"/>
                    <a:pt x="2238" y="4065"/>
                  </a:cubicBezTo>
                  <a:cubicBezTo>
                    <a:pt x="2301" y="4096"/>
                    <a:pt x="2395" y="4128"/>
                    <a:pt x="2458" y="4128"/>
                  </a:cubicBezTo>
                  <a:cubicBezTo>
                    <a:pt x="2553" y="4128"/>
                    <a:pt x="2616" y="4096"/>
                    <a:pt x="2710" y="4065"/>
                  </a:cubicBezTo>
                  <a:cubicBezTo>
                    <a:pt x="2899" y="3907"/>
                    <a:pt x="3057" y="3718"/>
                    <a:pt x="3246" y="3624"/>
                  </a:cubicBezTo>
                  <a:cubicBezTo>
                    <a:pt x="4254" y="2836"/>
                    <a:pt x="4947" y="2269"/>
                    <a:pt x="4947" y="1418"/>
                  </a:cubicBezTo>
                  <a:cubicBezTo>
                    <a:pt x="4821" y="599"/>
                    <a:pt x="4191" y="1"/>
                    <a:pt x="3403" y="1"/>
                  </a:cubicBezTo>
                  <a:cubicBezTo>
                    <a:pt x="3025" y="1"/>
                    <a:pt x="2616" y="158"/>
                    <a:pt x="2395" y="505"/>
                  </a:cubicBezTo>
                  <a:cubicBezTo>
                    <a:pt x="2112" y="190"/>
                    <a:pt x="1765" y="1"/>
                    <a:pt x="1355"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9803" name="Google Shape;9803;p110"/>
            <p:cNvSpPr/>
            <p:nvPr/>
          </p:nvSpPr>
          <p:spPr>
            <a:xfrm>
              <a:off x="-24338900" y="2710600"/>
              <a:ext cx="295375" cy="295375"/>
            </a:xfrm>
            <a:custGeom>
              <a:avLst/>
              <a:gdLst/>
              <a:ahLst/>
              <a:cxnLst/>
              <a:rect l="l" t="t" r="r" b="b"/>
              <a:pathLst>
                <a:path w="11815" h="11815" extrusionOk="0">
                  <a:moveTo>
                    <a:pt x="7341" y="725"/>
                  </a:moveTo>
                  <a:cubicBezTo>
                    <a:pt x="7530" y="725"/>
                    <a:pt x="7687" y="882"/>
                    <a:pt x="7687" y="1103"/>
                  </a:cubicBezTo>
                  <a:lnTo>
                    <a:pt x="7687" y="3844"/>
                  </a:lnTo>
                  <a:cubicBezTo>
                    <a:pt x="7687" y="4033"/>
                    <a:pt x="7845" y="4222"/>
                    <a:pt x="8034" y="4222"/>
                  </a:cubicBezTo>
                  <a:lnTo>
                    <a:pt x="10806" y="4222"/>
                  </a:lnTo>
                  <a:cubicBezTo>
                    <a:pt x="10995" y="4222"/>
                    <a:pt x="11153" y="4380"/>
                    <a:pt x="11153" y="4569"/>
                  </a:cubicBezTo>
                  <a:lnTo>
                    <a:pt x="11153" y="7309"/>
                  </a:lnTo>
                  <a:cubicBezTo>
                    <a:pt x="11153" y="7530"/>
                    <a:pt x="10995" y="7688"/>
                    <a:pt x="10806" y="7688"/>
                  </a:cubicBezTo>
                  <a:lnTo>
                    <a:pt x="8034" y="7688"/>
                  </a:lnTo>
                  <a:cubicBezTo>
                    <a:pt x="7845" y="7688"/>
                    <a:pt x="7687" y="7845"/>
                    <a:pt x="7687" y="8034"/>
                  </a:cubicBezTo>
                  <a:lnTo>
                    <a:pt x="7687" y="10775"/>
                  </a:lnTo>
                  <a:cubicBezTo>
                    <a:pt x="7687" y="10996"/>
                    <a:pt x="7530" y="11153"/>
                    <a:pt x="7341" y="11153"/>
                  </a:cubicBezTo>
                  <a:lnTo>
                    <a:pt x="4568" y="11153"/>
                  </a:lnTo>
                  <a:cubicBezTo>
                    <a:pt x="4379" y="11153"/>
                    <a:pt x="4222" y="10996"/>
                    <a:pt x="4222" y="10775"/>
                  </a:cubicBezTo>
                  <a:lnTo>
                    <a:pt x="4222" y="8034"/>
                  </a:lnTo>
                  <a:cubicBezTo>
                    <a:pt x="4222" y="7845"/>
                    <a:pt x="4064" y="7688"/>
                    <a:pt x="3875" y="7688"/>
                  </a:cubicBezTo>
                  <a:lnTo>
                    <a:pt x="1103" y="7688"/>
                  </a:lnTo>
                  <a:cubicBezTo>
                    <a:pt x="914" y="7688"/>
                    <a:pt x="756" y="7530"/>
                    <a:pt x="756" y="7309"/>
                  </a:cubicBezTo>
                  <a:lnTo>
                    <a:pt x="756" y="4569"/>
                  </a:lnTo>
                  <a:cubicBezTo>
                    <a:pt x="756" y="4380"/>
                    <a:pt x="914" y="4222"/>
                    <a:pt x="1103" y="4222"/>
                  </a:cubicBezTo>
                  <a:lnTo>
                    <a:pt x="3875" y="4222"/>
                  </a:lnTo>
                  <a:cubicBezTo>
                    <a:pt x="4064" y="4222"/>
                    <a:pt x="4222" y="4033"/>
                    <a:pt x="4222" y="3844"/>
                  </a:cubicBezTo>
                  <a:lnTo>
                    <a:pt x="4222" y="1103"/>
                  </a:lnTo>
                  <a:cubicBezTo>
                    <a:pt x="4222" y="882"/>
                    <a:pt x="4379" y="725"/>
                    <a:pt x="4568" y="725"/>
                  </a:cubicBezTo>
                  <a:close/>
                  <a:moveTo>
                    <a:pt x="4537" y="0"/>
                  </a:moveTo>
                  <a:cubicBezTo>
                    <a:pt x="3938" y="0"/>
                    <a:pt x="3466" y="473"/>
                    <a:pt x="3466" y="1072"/>
                  </a:cubicBezTo>
                  <a:lnTo>
                    <a:pt x="3466" y="3466"/>
                  </a:lnTo>
                  <a:lnTo>
                    <a:pt x="1071" y="3466"/>
                  </a:lnTo>
                  <a:cubicBezTo>
                    <a:pt x="473" y="3466"/>
                    <a:pt x="0" y="3938"/>
                    <a:pt x="0" y="4537"/>
                  </a:cubicBezTo>
                  <a:lnTo>
                    <a:pt x="0" y="7278"/>
                  </a:lnTo>
                  <a:cubicBezTo>
                    <a:pt x="0" y="7877"/>
                    <a:pt x="473" y="8349"/>
                    <a:pt x="1071" y="8349"/>
                  </a:cubicBezTo>
                  <a:lnTo>
                    <a:pt x="3466" y="8349"/>
                  </a:lnTo>
                  <a:lnTo>
                    <a:pt x="3466" y="10743"/>
                  </a:lnTo>
                  <a:cubicBezTo>
                    <a:pt x="3466" y="11342"/>
                    <a:pt x="3938" y="11815"/>
                    <a:pt x="4537" y="11815"/>
                  </a:cubicBezTo>
                  <a:lnTo>
                    <a:pt x="7309" y="11815"/>
                  </a:lnTo>
                  <a:cubicBezTo>
                    <a:pt x="7876" y="11815"/>
                    <a:pt x="8349" y="11342"/>
                    <a:pt x="8349" y="10743"/>
                  </a:cubicBezTo>
                  <a:lnTo>
                    <a:pt x="8349" y="8349"/>
                  </a:lnTo>
                  <a:lnTo>
                    <a:pt x="10743" y="8349"/>
                  </a:lnTo>
                  <a:cubicBezTo>
                    <a:pt x="11342" y="8349"/>
                    <a:pt x="11815" y="7877"/>
                    <a:pt x="11815" y="7278"/>
                  </a:cubicBezTo>
                  <a:lnTo>
                    <a:pt x="11815" y="4537"/>
                  </a:lnTo>
                  <a:cubicBezTo>
                    <a:pt x="11815" y="3938"/>
                    <a:pt x="11342" y="3466"/>
                    <a:pt x="10743" y="3466"/>
                  </a:cubicBezTo>
                  <a:lnTo>
                    <a:pt x="8349" y="3466"/>
                  </a:lnTo>
                  <a:lnTo>
                    <a:pt x="8349" y="1072"/>
                  </a:lnTo>
                  <a:cubicBezTo>
                    <a:pt x="8349" y="473"/>
                    <a:pt x="7876" y="0"/>
                    <a:pt x="7309"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9804" name="Google Shape;9804;p110"/>
          <p:cNvGrpSpPr/>
          <p:nvPr/>
        </p:nvGrpSpPr>
        <p:grpSpPr>
          <a:xfrm>
            <a:off x="10660560" y="4453073"/>
            <a:ext cx="473417" cy="469312"/>
            <a:chOff x="-22859750" y="2335900"/>
            <a:chExt cx="296950" cy="294375"/>
          </a:xfrm>
        </p:grpSpPr>
        <p:sp>
          <p:nvSpPr>
            <p:cNvPr id="9805" name="Google Shape;9805;p110"/>
            <p:cNvSpPr/>
            <p:nvPr/>
          </p:nvSpPr>
          <p:spPr>
            <a:xfrm>
              <a:off x="-22859750" y="2335900"/>
              <a:ext cx="296950" cy="294375"/>
            </a:xfrm>
            <a:custGeom>
              <a:avLst/>
              <a:gdLst/>
              <a:ahLst/>
              <a:cxnLst/>
              <a:rect l="l" t="t" r="r" b="b"/>
              <a:pathLst>
                <a:path w="11878" h="11775" extrusionOk="0">
                  <a:moveTo>
                    <a:pt x="7306" y="663"/>
                  </a:moveTo>
                  <a:cubicBezTo>
                    <a:pt x="7389" y="663"/>
                    <a:pt x="7475" y="671"/>
                    <a:pt x="7562" y="685"/>
                  </a:cubicBezTo>
                  <a:cubicBezTo>
                    <a:pt x="7814" y="780"/>
                    <a:pt x="8034" y="937"/>
                    <a:pt x="8192" y="1126"/>
                  </a:cubicBezTo>
                  <a:cubicBezTo>
                    <a:pt x="7908" y="1189"/>
                    <a:pt x="7656" y="1347"/>
                    <a:pt x="7467" y="1567"/>
                  </a:cubicBezTo>
                  <a:cubicBezTo>
                    <a:pt x="7341" y="1662"/>
                    <a:pt x="7341" y="1914"/>
                    <a:pt x="7467" y="2008"/>
                  </a:cubicBezTo>
                  <a:cubicBezTo>
                    <a:pt x="7530" y="2071"/>
                    <a:pt x="7617" y="2103"/>
                    <a:pt x="7703" y="2103"/>
                  </a:cubicBezTo>
                  <a:cubicBezTo>
                    <a:pt x="7790" y="2103"/>
                    <a:pt x="7877" y="2071"/>
                    <a:pt x="7940" y="2008"/>
                  </a:cubicBezTo>
                  <a:cubicBezTo>
                    <a:pt x="8129" y="1819"/>
                    <a:pt x="8412" y="1693"/>
                    <a:pt x="8696" y="1693"/>
                  </a:cubicBezTo>
                  <a:cubicBezTo>
                    <a:pt x="8979" y="1693"/>
                    <a:pt x="9231" y="1819"/>
                    <a:pt x="9452" y="2008"/>
                  </a:cubicBezTo>
                  <a:cubicBezTo>
                    <a:pt x="9767" y="2355"/>
                    <a:pt x="9830" y="2764"/>
                    <a:pt x="9673" y="3174"/>
                  </a:cubicBezTo>
                  <a:cubicBezTo>
                    <a:pt x="9389" y="3237"/>
                    <a:pt x="9137" y="3395"/>
                    <a:pt x="8885" y="3584"/>
                  </a:cubicBezTo>
                  <a:cubicBezTo>
                    <a:pt x="8759" y="3710"/>
                    <a:pt x="8759" y="3962"/>
                    <a:pt x="8885" y="4056"/>
                  </a:cubicBezTo>
                  <a:cubicBezTo>
                    <a:pt x="8948" y="4119"/>
                    <a:pt x="9035" y="4151"/>
                    <a:pt x="9121" y="4151"/>
                  </a:cubicBezTo>
                  <a:cubicBezTo>
                    <a:pt x="9208" y="4151"/>
                    <a:pt x="9294" y="4119"/>
                    <a:pt x="9358" y="4056"/>
                  </a:cubicBezTo>
                  <a:cubicBezTo>
                    <a:pt x="9547" y="3867"/>
                    <a:pt x="9830" y="3741"/>
                    <a:pt x="10114" y="3741"/>
                  </a:cubicBezTo>
                  <a:cubicBezTo>
                    <a:pt x="10397" y="3741"/>
                    <a:pt x="10649" y="3867"/>
                    <a:pt x="10870" y="4056"/>
                  </a:cubicBezTo>
                  <a:cubicBezTo>
                    <a:pt x="11059" y="4277"/>
                    <a:pt x="11185" y="4529"/>
                    <a:pt x="11185" y="4812"/>
                  </a:cubicBezTo>
                  <a:cubicBezTo>
                    <a:pt x="11185" y="5096"/>
                    <a:pt x="11059" y="5379"/>
                    <a:pt x="10870" y="5568"/>
                  </a:cubicBezTo>
                  <a:cubicBezTo>
                    <a:pt x="10649" y="5757"/>
                    <a:pt x="10397" y="5883"/>
                    <a:pt x="10114" y="5883"/>
                  </a:cubicBezTo>
                  <a:cubicBezTo>
                    <a:pt x="9925" y="5883"/>
                    <a:pt x="9767" y="6041"/>
                    <a:pt x="9767" y="6230"/>
                  </a:cubicBezTo>
                  <a:cubicBezTo>
                    <a:pt x="9767" y="6451"/>
                    <a:pt x="9925" y="6608"/>
                    <a:pt x="10114" y="6608"/>
                  </a:cubicBezTo>
                  <a:cubicBezTo>
                    <a:pt x="10429" y="6608"/>
                    <a:pt x="10712" y="6514"/>
                    <a:pt x="10964" y="6356"/>
                  </a:cubicBezTo>
                  <a:cubicBezTo>
                    <a:pt x="11090" y="6514"/>
                    <a:pt x="11122" y="6703"/>
                    <a:pt x="11122" y="6955"/>
                  </a:cubicBezTo>
                  <a:cubicBezTo>
                    <a:pt x="11122" y="7270"/>
                    <a:pt x="11027" y="7553"/>
                    <a:pt x="10807" y="7742"/>
                  </a:cubicBezTo>
                  <a:cubicBezTo>
                    <a:pt x="10618" y="7931"/>
                    <a:pt x="10366" y="8057"/>
                    <a:pt x="10082" y="8057"/>
                  </a:cubicBezTo>
                  <a:cubicBezTo>
                    <a:pt x="9799" y="8057"/>
                    <a:pt x="9515" y="7931"/>
                    <a:pt x="9326" y="7742"/>
                  </a:cubicBezTo>
                  <a:cubicBezTo>
                    <a:pt x="9137" y="7553"/>
                    <a:pt x="9011" y="7270"/>
                    <a:pt x="9011" y="6986"/>
                  </a:cubicBezTo>
                  <a:cubicBezTo>
                    <a:pt x="9011" y="6703"/>
                    <a:pt x="9137" y="6419"/>
                    <a:pt x="9326" y="6230"/>
                  </a:cubicBezTo>
                  <a:cubicBezTo>
                    <a:pt x="9452" y="6104"/>
                    <a:pt x="9452" y="5883"/>
                    <a:pt x="9326" y="5757"/>
                  </a:cubicBezTo>
                  <a:cubicBezTo>
                    <a:pt x="9263" y="5694"/>
                    <a:pt x="9176" y="5663"/>
                    <a:pt x="9090" y="5663"/>
                  </a:cubicBezTo>
                  <a:cubicBezTo>
                    <a:pt x="9003" y="5663"/>
                    <a:pt x="8916" y="5694"/>
                    <a:pt x="8853" y="5757"/>
                  </a:cubicBezTo>
                  <a:cubicBezTo>
                    <a:pt x="8538" y="6072"/>
                    <a:pt x="8349" y="6514"/>
                    <a:pt x="8349" y="6986"/>
                  </a:cubicBezTo>
                  <a:cubicBezTo>
                    <a:pt x="8349" y="7112"/>
                    <a:pt x="8349" y="7207"/>
                    <a:pt x="8381" y="7333"/>
                  </a:cubicBezTo>
                  <a:cubicBezTo>
                    <a:pt x="7562" y="7459"/>
                    <a:pt x="6932" y="8215"/>
                    <a:pt x="6932" y="9034"/>
                  </a:cubicBezTo>
                  <a:cubicBezTo>
                    <a:pt x="6932" y="9223"/>
                    <a:pt x="7089" y="9381"/>
                    <a:pt x="7278" y="9381"/>
                  </a:cubicBezTo>
                  <a:cubicBezTo>
                    <a:pt x="7467" y="9381"/>
                    <a:pt x="7625" y="9223"/>
                    <a:pt x="7625" y="9034"/>
                  </a:cubicBezTo>
                  <a:cubicBezTo>
                    <a:pt x="7625" y="8435"/>
                    <a:pt x="8097" y="8026"/>
                    <a:pt x="8664" y="8026"/>
                  </a:cubicBezTo>
                  <a:lnTo>
                    <a:pt x="8696" y="8026"/>
                  </a:lnTo>
                  <a:cubicBezTo>
                    <a:pt x="8727" y="8089"/>
                    <a:pt x="8822" y="8120"/>
                    <a:pt x="8853" y="8215"/>
                  </a:cubicBezTo>
                  <a:cubicBezTo>
                    <a:pt x="9074" y="8435"/>
                    <a:pt x="9326" y="8561"/>
                    <a:pt x="9641" y="8656"/>
                  </a:cubicBezTo>
                  <a:cubicBezTo>
                    <a:pt x="9673" y="8750"/>
                    <a:pt x="9704" y="8908"/>
                    <a:pt x="9704" y="9034"/>
                  </a:cubicBezTo>
                  <a:cubicBezTo>
                    <a:pt x="9704" y="9507"/>
                    <a:pt x="9452" y="9853"/>
                    <a:pt x="9011" y="10011"/>
                  </a:cubicBezTo>
                  <a:cubicBezTo>
                    <a:pt x="8979" y="9853"/>
                    <a:pt x="8853" y="9759"/>
                    <a:pt x="8664" y="9759"/>
                  </a:cubicBezTo>
                  <a:cubicBezTo>
                    <a:pt x="8444" y="9759"/>
                    <a:pt x="8286" y="9916"/>
                    <a:pt x="8286" y="10105"/>
                  </a:cubicBezTo>
                  <a:cubicBezTo>
                    <a:pt x="8286" y="10704"/>
                    <a:pt x="7814" y="11113"/>
                    <a:pt x="7278" y="11113"/>
                  </a:cubicBezTo>
                  <a:cubicBezTo>
                    <a:pt x="6711" y="11113"/>
                    <a:pt x="6239" y="10641"/>
                    <a:pt x="6239" y="10105"/>
                  </a:cubicBezTo>
                  <a:lnTo>
                    <a:pt x="6239" y="6640"/>
                  </a:lnTo>
                  <a:cubicBezTo>
                    <a:pt x="6522" y="6860"/>
                    <a:pt x="6932" y="6986"/>
                    <a:pt x="7278" y="6986"/>
                  </a:cubicBezTo>
                  <a:cubicBezTo>
                    <a:pt x="7467" y="6986"/>
                    <a:pt x="7625" y="6829"/>
                    <a:pt x="7625" y="6640"/>
                  </a:cubicBezTo>
                  <a:cubicBezTo>
                    <a:pt x="7625" y="6451"/>
                    <a:pt x="7467" y="6293"/>
                    <a:pt x="7278" y="6293"/>
                  </a:cubicBezTo>
                  <a:cubicBezTo>
                    <a:pt x="6680" y="6293"/>
                    <a:pt x="6239" y="5820"/>
                    <a:pt x="6239" y="5253"/>
                  </a:cubicBezTo>
                  <a:lnTo>
                    <a:pt x="6239" y="1788"/>
                  </a:lnTo>
                  <a:lnTo>
                    <a:pt x="6239" y="1756"/>
                  </a:lnTo>
                  <a:lnTo>
                    <a:pt x="6239" y="1725"/>
                  </a:lnTo>
                  <a:cubicBezTo>
                    <a:pt x="6239" y="1441"/>
                    <a:pt x="6365" y="1158"/>
                    <a:pt x="6554" y="969"/>
                  </a:cubicBezTo>
                  <a:cubicBezTo>
                    <a:pt x="6772" y="750"/>
                    <a:pt x="7027" y="663"/>
                    <a:pt x="7306" y="663"/>
                  </a:cubicBezTo>
                  <a:close/>
                  <a:moveTo>
                    <a:pt x="4492" y="726"/>
                  </a:moveTo>
                  <a:cubicBezTo>
                    <a:pt x="4756" y="726"/>
                    <a:pt x="5012" y="813"/>
                    <a:pt x="5230" y="1032"/>
                  </a:cubicBezTo>
                  <a:cubicBezTo>
                    <a:pt x="5419" y="1221"/>
                    <a:pt x="5545" y="1504"/>
                    <a:pt x="5545" y="1788"/>
                  </a:cubicBezTo>
                  <a:lnTo>
                    <a:pt x="5545" y="1819"/>
                  </a:lnTo>
                  <a:lnTo>
                    <a:pt x="5545" y="5285"/>
                  </a:lnTo>
                  <a:cubicBezTo>
                    <a:pt x="5545" y="5883"/>
                    <a:pt x="5073" y="6325"/>
                    <a:pt x="4506" y="6325"/>
                  </a:cubicBezTo>
                  <a:cubicBezTo>
                    <a:pt x="4317" y="6325"/>
                    <a:pt x="4159" y="6482"/>
                    <a:pt x="4159" y="6671"/>
                  </a:cubicBezTo>
                  <a:cubicBezTo>
                    <a:pt x="4159" y="6860"/>
                    <a:pt x="4317" y="7018"/>
                    <a:pt x="4506" y="7018"/>
                  </a:cubicBezTo>
                  <a:cubicBezTo>
                    <a:pt x="4915" y="7018"/>
                    <a:pt x="5262" y="6892"/>
                    <a:pt x="5545" y="6671"/>
                  </a:cubicBezTo>
                  <a:lnTo>
                    <a:pt x="5545" y="10105"/>
                  </a:lnTo>
                  <a:lnTo>
                    <a:pt x="5545" y="10137"/>
                  </a:lnTo>
                  <a:cubicBezTo>
                    <a:pt x="5545" y="10704"/>
                    <a:pt x="5073" y="11176"/>
                    <a:pt x="4506" y="11176"/>
                  </a:cubicBezTo>
                  <a:cubicBezTo>
                    <a:pt x="3939" y="11176"/>
                    <a:pt x="3498" y="10704"/>
                    <a:pt x="3498" y="10137"/>
                  </a:cubicBezTo>
                  <a:cubicBezTo>
                    <a:pt x="3498" y="9948"/>
                    <a:pt x="3340" y="9790"/>
                    <a:pt x="3151" y="9790"/>
                  </a:cubicBezTo>
                  <a:cubicBezTo>
                    <a:pt x="2994" y="9790"/>
                    <a:pt x="2836" y="9916"/>
                    <a:pt x="2773" y="10074"/>
                  </a:cubicBezTo>
                  <a:cubicBezTo>
                    <a:pt x="2395" y="9916"/>
                    <a:pt x="2080" y="9538"/>
                    <a:pt x="2080" y="9065"/>
                  </a:cubicBezTo>
                  <a:cubicBezTo>
                    <a:pt x="2080" y="8908"/>
                    <a:pt x="2111" y="8813"/>
                    <a:pt x="2143" y="8687"/>
                  </a:cubicBezTo>
                  <a:cubicBezTo>
                    <a:pt x="2426" y="8593"/>
                    <a:pt x="2710" y="8435"/>
                    <a:pt x="2930" y="8246"/>
                  </a:cubicBezTo>
                  <a:cubicBezTo>
                    <a:pt x="2994" y="8215"/>
                    <a:pt x="3057" y="8120"/>
                    <a:pt x="3088" y="8057"/>
                  </a:cubicBezTo>
                  <a:lnTo>
                    <a:pt x="3151" y="8057"/>
                  </a:lnTo>
                  <a:cubicBezTo>
                    <a:pt x="3718" y="8057"/>
                    <a:pt x="4159" y="8530"/>
                    <a:pt x="4159" y="9065"/>
                  </a:cubicBezTo>
                  <a:cubicBezTo>
                    <a:pt x="4159" y="9286"/>
                    <a:pt x="4317" y="9444"/>
                    <a:pt x="4506" y="9444"/>
                  </a:cubicBezTo>
                  <a:cubicBezTo>
                    <a:pt x="4726" y="9444"/>
                    <a:pt x="4884" y="9286"/>
                    <a:pt x="4884" y="9065"/>
                  </a:cubicBezTo>
                  <a:cubicBezTo>
                    <a:pt x="4884" y="8215"/>
                    <a:pt x="4254" y="7490"/>
                    <a:pt x="3403" y="7396"/>
                  </a:cubicBezTo>
                  <a:cubicBezTo>
                    <a:pt x="3466" y="7270"/>
                    <a:pt x="3466" y="7144"/>
                    <a:pt x="3466" y="7018"/>
                  </a:cubicBezTo>
                  <a:cubicBezTo>
                    <a:pt x="3466" y="6545"/>
                    <a:pt x="3246" y="6104"/>
                    <a:pt x="2930" y="5820"/>
                  </a:cubicBezTo>
                  <a:cubicBezTo>
                    <a:pt x="2883" y="5757"/>
                    <a:pt x="2797" y="5726"/>
                    <a:pt x="2706" y="5726"/>
                  </a:cubicBezTo>
                  <a:cubicBezTo>
                    <a:pt x="2615" y="5726"/>
                    <a:pt x="2521" y="5757"/>
                    <a:pt x="2458" y="5820"/>
                  </a:cubicBezTo>
                  <a:cubicBezTo>
                    <a:pt x="2363" y="5915"/>
                    <a:pt x="2363" y="6167"/>
                    <a:pt x="2458" y="6262"/>
                  </a:cubicBezTo>
                  <a:cubicBezTo>
                    <a:pt x="2678" y="6482"/>
                    <a:pt x="2773" y="6734"/>
                    <a:pt x="2773" y="7018"/>
                  </a:cubicBezTo>
                  <a:cubicBezTo>
                    <a:pt x="2773" y="7301"/>
                    <a:pt x="2678" y="7585"/>
                    <a:pt x="2458" y="7774"/>
                  </a:cubicBezTo>
                  <a:cubicBezTo>
                    <a:pt x="2269" y="7963"/>
                    <a:pt x="1985" y="8089"/>
                    <a:pt x="1733" y="8089"/>
                  </a:cubicBezTo>
                  <a:cubicBezTo>
                    <a:pt x="1450" y="8089"/>
                    <a:pt x="1166" y="7963"/>
                    <a:pt x="977" y="7774"/>
                  </a:cubicBezTo>
                  <a:cubicBezTo>
                    <a:pt x="788" y="7585"/>
                    <a:pt x="662" y="7301"/>
                    <a:pt x="662" y="7018"/>
                  </a:cubicBezTo>
                  <a:cubicBezTo>
                    <a:pt x="662" y="6829"/>
                    <a:pt x="725" y="6640"/>
                    <a:pt x="820" y="6419"/>
                  </a:cubicBezTo>
                  <a:cubicBezTo>
                    <a:pt x="1103" y="6608"/>
                    <a:pt x="1355" y="6671"/>
                    <a:pt x="1670" y="6671"/>
                  </a:cubicBezTo>
                  <a:cubicBezTo>
                    <a:pt x="1891" y="6671"/>
                    <a:pt x="2048" y="6514"/>
                    <a:pt x="2048" y="6325"/>
                  </a:cubicBezTo>
                  <a:cubicBezTo>
                    <a:pt x="2048" y="6104"/>
                    <a:pt x="1891" y="5946"/>
                    <a:pt x="1670" y="5946"/>
                  </a:cubicBezTo>
                  <a:cubicBezTo>
                    <a:pt x="1418" y="5946"/>
                    <a:pt x="1135" y="5852"/>
                    <a:pt x="946" y="5631"/>
                  </a:cubicBezTo>
                  <a:cubicBezTo>
                    <a:pt x="725" y="5442"/>
                    <a:pt x="631" y="5159"/>
                    <a:pt x="631" y="4907"/>
                  </a:cubicBezTo>
                  <a:cubicBezTo>
                    <a:pt x="631" y="4623"/>
                    <a:pt x="725" y="4340"/>
                    <a:pt x="946" y="4151"/>
                  </a:cubicBezTo>
                  <a:cubicBezTo>
                    <a:pt x="1135" y="3962"/>
                    <a:pt x="1418" y="3836"/>
                    <a:pt x="1670" y="3836"/>
                  </a:cubicBezTo>
                  <a:cubicBezTo>
                    <a:pt x="1954" y="3836"/>
                    <a:pt x="2237" y="3962"/>
                    <a:pt x="2426" y="4151"/>
                  </a:cubicBezTo>
                  <a:cubicBezTo>
                    <a:pt x="2489" y="4214"/>
                    <a:pt x="2576" y="4245"/>
                    <a:pt x="2663" y="4245"/>
                  </a:cubicBezTo>
                  <a:cubicBezTo>
                    <a:pt x="2749" y="4245"/>
                    <a:pt x="2836" y="4214"/>
                    <a:pt x="2899" y="4151"/>
                  </a:cubicBezTo>
                  <a:cubicBezTo>
                    <a:pt x="3025" y="4025"/>
                    <a:pt x="3025" y="3804"/>
                    <a:pt x="2899" y="3678"/>
                  </a:cubicBezTo>
                  <a:cubicBezTo>
                    <a:pt x="2678" y="3426"/>
                    <a:pt x="2426" y="3332"/>
                    <a:pt x="2111" y="3237"/>
                  </a:cubicBezTo>
                  <a:cubicBezTo>
                    <a:pt x="1954" y="2859"/>
                    <a:pt x="2048" y="2418"/>
                    <a:pt x="2363" y="2103"/>
                  </a:cubicBezTo>
                  <a:cubicBezTo>
                    <a:pt x="2552" y="1914"/>
                    <a:pt x="2836" y="1788"/>
                    <a:pt x="3088" y="1788"/>
                  </a:cubicBezTo>
                  <a:cubicBezTo>
                    <a:pt x="3372" y="1788"/>
                    <a:pt x="3655" y="1914"/>
                    <a:pt x="3844" y="2103"/>
                  </a:cubicBezTo>
                  <a:cubicBezTo>
                    <a:pt x="3907" y="2166"/>
                    <a:pt x="3994" y="2197"/>
                    <a:pt x="4080" y="2197"/>
                  </a:cubicBezTo>
                  <a:cubicBezTo>
                    <a:pt x="4167" y="2197"/>
                    <a:pt x="4254" y="2166"/>
                    <a:pt x="4317" y="2103"/>
                  </a:cubicBezTo>
                  <a:cubicBezTo>
                    <a:pt x="4443" y="1977"/>
                    <a:pt x="4443" y="1756"/>
                    <a:pt x="4317" y="1630"/>
                  </a:cubicBezTo>
                  <a:cubicBezTo>
                    <a:pt x="4128" y="1441"/>
                    <a:pt x="3876" y="1284"/>
                    <a:pt x="3624" y="1189"/>
                  </a:cubicBezTo>
                  <a:cubicBezTo>
                    <a:pt x="3781" y="969"/>
                    <a:pt x="3970" y="811"/>
                    <a:pt x="4254" y="748"/>
                  </a:cubicBezTo>
                  <a:cubicBezTo>
                    <a:pt x="4333" y="734"/>
                    <a:pt x="4413" y="726"/>
                    <a:pt x="4492" y="726"/>
                  </a:cubicBezTo>
                  <a:close/>
                  <a:moveTo>
                    <a:pt x="7254" y="0"/>
                  </a:moveTo>
                  <a:cubicBezTo>
                    <a:pt x="6817" y="0"/>
                    <a:pt x="6387" y="190"/>
                    <a:pt x="6049" y="528"/>
                  </a:cubicBezTo>
                  <a:cubicBezTo>
                    <a:pt x="6018" y="559"/>
                    <a:pt x="5923" y="654"/>
                    <a:pt x="5892" y="717"/>
                  </a:cubicBezTo>
                  <a:cubicBezTo>
                    <a:pt x="5860" y="654"/>
                    <a:pt x="5766" y="622"/>
                    <a:pt x="5734" y="528"/>
                  </a:cubicBezTo>
                  <a:cubicBezTo>
                    <a:pt x="5391" y="185"/>
                    <a:pt x="4972" y="13"/>
                    <a:pt x="4521" y="13"/>
                  </a:cubicBezTo>
                  <a:cubicBezTo>
                    <a:pt x="4392" y="13"/>
                    <a:pt x="4261" y="27"/>
                    <a:pt x="4128" y="55"/>
                  </a:cubicBezTo>
                  <a:cubicBezTo>
                    <a:pt x="3561" y="181"/>
                    <a:pt x="3151" y="559"/>
                    <a:pt x="2899" y="1126"/>
                  </a:cubicBezTo>
                  <a:cubicBezTo>
                    <a:pt x="2552" y="1158"/>
                    <a:pt x="2206" y="1347"/>
                    <a:pt x="1922" y="1599"/>
                  </a:cubicBezTo>
                  <a:cubicBezTo>
                    <a:pt x="1481" y="2040"/>
                    <a:pt x="1324" y="2607"/>
                    <a:pt x="1450" y="3206"/>
                  </a:cubicBezTo>
                  <a:cubicBezTo>
                    <a:pt x="1103" y="3237"/>
                    <a:pt x="788" y="3458"/>
                    <a:pt x="505" y="3678"/>
                  </a:cubicBezTo>
                  <a:cubicBezTo>
                    <a:pt x="190" y="3993"/>
                    <a:pt x="1" y="4434"/>
                    <a:pt x="1" y="4907"/>
                  </a:cubicBezTo>
                  <a:cubicBezTo>
                    <a:pt x="1" y="5285"/>
                    <a:pt x="127" y="5663"/>
                    <a:pt x="347" y="5915"/>
                  </a:cubicBezTo>
                  <a:cubicBezTo>
                    <a:pt x="127" y="6230"/>
                    <a:pt x="1" y="6608"/>
                    <a:pt x="1" y="6955"/>
                  </a:cubicBezTo>
                  <a:cubicBezTo>
                    <a:pt x="1" y="7427"/>
                    <a:pt x="190" y="7868"/>
                    <a:pt x="505" y="8183"/>
                  </a:cubicBezTo>
                  <a:cubicBezTo>
                    <a:pt x="788" y="8435"/>
                    <a:pt x="1103" y="8593"/>
                    <a:pt x="1450" y="8624"/>
                  </a:cubicBezTo>
                  <a:cubicBezTo>
                    <a:pt x="1418" y="8750"/>
                    <a:pt x="1418" y="8876"/>
                    <a:pt x="1418" y="9002"/>
                  </a:cubicBezTo>
                  <a:cubicBezTo>
                    <a:pt x="1418" y="9916"/>
                    <a:pt x="2080" y="10609"/>
                    <a:pt x="2962" y="10735"/>
                  </a:cubicBezTo>
                  <a:cubicBezTo>
                    <a:pt x="3214" y="11365"/>
                    <a:pt x="3813" y="11775"/>
                    <a:pt x="4569" y="11775"/>
                  </a:cubicBezTo>
                  <a:cubicBezTo>
                    <a:pt x="5104" y="11775"/>
                    <a:pt x="5640" y="11523"/>
                    <a:pt x="5955" y="11082"/>
                  </a:cubicBezTo>
                  <a:cubicBezTo>
                    <a:pt x="6270" y="11523"/>
                    <a:pt x="6774" y="11775"/>
                    <a:pt x="7310" y="11775"/>
                  </a:cubicBezTo>
                  <a:cubicBezTo>
                    <a:pt x="8034" y="11775"/>
                    <a:pt x="8664" y="11365"/>
                    <a:pt x="8948" y="10735"/>
                  </a:cubicBezTo>
                  <a:cubicBezTo>
                    <a:pt x="9799" y="10609"/>
                    <a:pt x="10460" y="9916"/>
                    <a:pt x="10460" y="9002"/>
                  </a:cubicBezTo>
                  <a:cubicBezTo>
                    <a:pt x="10460" y="8876"/>
                    <a:pt x="10460" y="8750"/>
                    <a:pt x="10429" y="8624"/>
                  </a:cubicBezTo>
                  <a:cubicBezTo>
                    <a:pt x="10775" y="8593"/>
                    <a:pt x="11090" y="8404"/>
                    <a:pt x="11374" y="8183"/>
                  </a:cubicBezTo>
                  <a:cubicBezTo>
                    <a:pt x="11689" y="7837"/>
                    <a:pt x="11878" y="7427"/>
                    <a:pt x="11878" y="6955"/>
                  </a:cubicBezTo>
                  <a:cubicBezTo>
                    <a:pt x="11878" y="6545"/>
                    <a:pt x="11783" y="6199"/>
                    <a:pt x="11531" y="5915"/>
                  </a:cubicBezTo>
                  <a:cubicBezTo>
                    <a:pt x="11689" y="5663"/>
                    <a:pt x="11815" y="5285"/>
                    <a:pt x="11815" y="4907"/>
                  </a:cubicBezTo>
                  <a:cubicBezTo>
                    <a:pt x="11815" y="4434"/>
                    <a:pt x="11594" y="3993"/>
                    <a:pt x="11279" y="3678"/>
                  </a:cubicBezTo>
                  <a:cubicBezTo>
                    <a:pt x="11027" y="3395"/>
                    <a:pt x="10712" y="3237"/>
                    <a:pt x="10334" y="3206"/>
                  </a:cubicBezTo>
                  <a:cubicBezTo>
                    <a:pt x="10460" y="2670"/>
                    <a:pt x="10303" y="2040"/>
                    <a:pt x="9862" y="1599"/>
                  </a:cubicBezTo>
                  <a:cubicBezTo>
                    <a:pt x="9610" y="1315"/>
                    <a:pt x="9231" y="1158"/>
                    <a:pt x="8885" y="1126"/>
                  </a:cubicBezTo>
                  <a:cubicBezTo>
                    <a:pt x="8664" y="559"/>
                    <a:pt x="8223" y="181"/>
                    <a:pt x="7656" y="55"/>
                  </a:cubicBezTo>
                  <a:cubicBezTo>
                    <a:pt x="7523" y="18"/>
                    <a:pt x="7388" y="0"/>
                    <a:pt x="7254"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9806" name="Google Shape;9806;p110"/>
            <p:cNvSpPr/>
            <p:nvPr/>
          </p:nvSpPr>
          <p:spPr>
            <a:xfrm>
              <a:off x="-22685675" y="2408150"/>
              <a:ext cx="27575" cy="66175"/>
            </a:xfrm>
            <a:custGeom>
              <a:avLst/>
              <a:gdLst/>
              <a:ahLst/>
              <a:cxnLst/>
              <a:rect l="l" t="t" r="r" b="b"/>
              <a:pathLst>
                <a:path w="1103" h="2647" extrusionOk="0">
                  <a:moveTo>
                    <a:pt x="740" y="1"/>
                  </a:moveTo>
                  <a:cubicBezTo>
                    <a:pt x="654" y="1"/>
                    <a:pt x="567" y="32"/>
                    <a:pt x="504" y="95"/>
                  </a:cubicBezTo>
                  <a:cubicBezTo>
                    <a:pt x="189" y="410"/>
                    <a:pt x="0" y="820"/>
                    <a:pt x="0" y="1292"/>
                  </a:cubicBezTo>
                  <a:cubicBezTo>
                    <a:pt x="0" y="1765"/>
                    <a:pt x="189" y="2206"/>
                    <a:pt x="504" y="2521"/>
                  </a:cubicBezTo>
                  <a:cubicBezTo>
                    <a:pt x="599" y="2584"/>
                    <a:pt x="662" y="2647"/>
                    <a:pt x="756" y="2647"/>
                  </a:cubicBezTo>
                  <a:cubicBezTo>
                    <a:pt x="819" y="2647"/>
                    <a:pt x="945" y="2615"/>
                    <a:pt x="977" y="2521"/>
                  </a:cubicBezTo>
                  <a:cubicBezTo>
                    <a:pt x="1103" y="2395"/>
                    <a:pt x="1103" y="2174"/>
                    <a:pt x="977" y="2048"/>
                  </a:cubicBezTo>
                  <a:cubicBezTo>
                    <a:pt x="788" y="1859"/>
                    <a:pt x="662" y="1576"/>
                    <a:pt x="662" y="1292"/>
                  </a:cubicBezTo>
                  <a:cubicBezTo>
                    <a:pt x="662" y="1040"/>
                    <a:pt x="788" y="757"/>
                    <a:pt x="977" y="536"/>
                  </a:cubicBezTo>
                  <a:cubicBezTo>
                    <a:pt x="1103" y="442"/>
                    <a:pt x="1103" y="253"/>
                    <a:pt x="977" y="95"/>
                  </a:cubicBezTo>
                  <a:cubicBezTo>
                    <a:pt x="914" y="32"/>
                    <a:pt x="827" y="1"/>
                    <a:pt x="740"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9807" name="Google Shape;9807;p110"/>
            <p:cNvSpPr/>
            <p:nvPr/>
          </p:nvSpPr>
          <p:spPr>
            <a:xfrm>
              <a:off x="-22766800" y="2408950"/>
              <a:ext cx="27575" cy="66175"/>
            </a:xfrm>
            <a:custGeom>
              <a:avLst/>
              <a:gdLst/>
              <a:ahLst/>
              <a:cxnLst/>
              <a:rect l="l" t="t" r="r" b="b"/>
              <a:pathLst>
                <a:path w="1103" h="2647" extrusionOk="0">
                  <a:moveTo>
                    <a:pt x="362" y="0"/>
                  </a:moveTo>
                  <a:cubicBezTo>
                    <a:pt x="276" y="0"/>
                    <a:pt x="189" y="32"/>
                    <a:pt x="126" y="95"/>
                  </a:cubicBezTo>
                  <a:cubicBezTo>
                    <a:pt x="0" y="221"/>
                    <a:pt x="0" y="441"/>
                    <a:pt x="126" y="567"/>
                  </a:cubicBezTo>
                  <a:cubicBezTo>
                    <a:pt x="315" y="756"/>
                    <a:pt x="441" y="1040"/>
                    <a:pt x="441" y="1323"/>
                  </a:cubicBezTo>
                  <a:cubicBezTo>
                    <a:pt x="441" y="1575"/>
                    <a:pt x="315" y="1859"/>
                    <a:pt x="126" y="2048"/>
                  </a:cubicBezTo>
                  <a:cubicBezTo>
                    <a:pt x="0" y="2174"/>
                    <a:pt x="0" y="2426"/>
                    <a:pt x="126" y="2520"/>
                  </a:cubicBezTo>
                  <a:cubicBezTo>
                    <a:pt x="221" y="2615"/>
                    <a:pt x="284" y="2646"/>
                    <a:pt x="378" y="2646"/>
                  </a:cubicBezTo>
                  <a:cubicBezTo>
                    <a:pt x="441" y="2646"/>
                    <a:pt x="567" y="2615"/>
                    <a:pt x="599" y="2520"/>
                  </a:cubicBezTo>
                  <a:cubicBezTo>
                    <a:pt x="977" y="2174"/>
                    <a:pt x="1103" y="1733"/>
                    <a:pt x="1103" y="1323"/>
                  </a:cubicBezTo>
                  <a:cubicBezTo>
                    <a:pt x="1103" y="851"/>
                    <a:pt x="914" y="410"/>
                    <a:pt x="599" y="95"/>
                  </a:cubicBezTo>
                  <a:cubicBezTo>
                    <a:pt x="536" y="32"/>
                    <a:pt x="449" y="0"/>
                    <a:pt x="362"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9808" name="Google Shape;9808;p110"/>
          <p:cNvGrpSpPr/>
          <p:nvPr/>
        </p:nvGrpSpPr>
        <p:grpSpPr>
          <a:xfrm>
            <a:off x="7699690" y="2082604"/>
            <a:ext cx="415665" cy="470947"/>
            <a:chOff x="-27710725" y="1959200"/>
            <a:chExt cx="260725" cy="295400"/>
          </a:xfrm>
        </p:grpSpPr>
        <p:sp>
          <p:nvSpPr>
            <p:cNvPr id="9809" name="Google Shape;9809;p110"/>
            <p:cNvSpPr/>
            <p:nvPr/>
          </p:nvSpPr>
          <p:spPr>
            <a:xfrm>
              <a:off x="-27710725" y="1959200"/>
              <a:ext cx="260725" cy="295400"/>
            </a:xfrm>
            <a:custGeom>
              <a:avLst/>
              <a:gdLst/>
              <a:ahLst/>
              <a:cxnLst/>
              <a:rect l="l" t="t" r="r" b="b"/>
              <a:pathLst>
                <a:path w="10429" h="11816" extrusionOk="0">
                  <a:moveTo>
                    <a:pt x="1072" y="3561"/>
                  </a:moveTo>
                  <a:cubicBezTo>
                    <a:pt x="1261" y="3561"/>
                    <a:pt x="1418" y="3718"/>
                    <a:pt x="1418" y="3907"/>
                  </a:cubicBezTo>
                  <a:lnTo>
                    <a:pt x="1418" y="4916"/>
                  </a:lnTo>
                  <a:lnTo>
                    <a:pt x="694" y="4916"/>
                  </a:lnTo>
                  <a:lnTo>
                    <a:pt x="694" y="3907"/>
                  </a:lnTo>
                  <a:cubicBezTo>
                    <a:pt x="694" y="3718"/>
                    <a:pt x="851" y="3561"/>
                    <a:pt x="1072" y="3561"/>
                  </a:cubicBezTo>
                  <a:close/>
                  <a:moveTo>
                    <a:pt x="5230" y="3561"/>
                  </a:moveTo>
                  <a:cubicBezTo>
                    <a:pt x="5419" y="3561"/>
                    <a:pt x="5577" y="3718"/>
                    <a:pt x="5577" y="3907"/>
                  </a:cubicBezTo>
                  <a:lnTo>
                    <a:pt x="5577" y="4916"/>
                  </a:lnTo>
                  <a:lnTo>
                    <a:pt x="4884" y="4916"/>
                  </a:lnTo>
                  <a:lnTo>
                    <a:pt x="4884" y="3907"/>
                  </a:lnTo>
                  <a:cubicBezTo>
                    <a:pt x="4884" y="3718"/>
                    <a:pt x="5041" y="3561"/>
                    <a:pt x="5230" y="3561"/>
                  </a:cubicBezTo>
                  <a:close/>
                  <a:moveTo>
                    <a:pt x="8696" y="4348"/>
                  </a:moveTo>
                  <a:cubicBezTo>
                    <a:pt x="9294" y="4348"/>
                    <a:pt x="9736" y="4821"/>
                    <a:pt x="9736" y="5357"/>
                  </a:cubicBezTo>
                  <a:cubicBezTo>
                    <a:pt x="9736" y="5924"/>
                    <a:pt x="9263" y="6396"/>
                    <a:pt x="8696" y="6396"/>
                  </a:cubicBezTo>
                  <a:cubicBezTo>
                    <a:pt x="8097" y="6396"/>
                    <a:pt x="7688" y="5924"/>
                    <a:pt x="7688" y="5357"/>
                  </a:cubicBezTo>
                  <a:cubicBezTo>
                    <a:pt x="7688" y="4821"/>
                    <a:pt x="8160" y="4348"/>
                    <a:pt x="8696" y="4348"/>
                  </a:cubicBezTo>
                  <a:close/>
                  <a:moveTo>
                    <a:pt x="5482" y="5609"/>
                  </a:moveTo>
                  <a:cubicBezTo>
                    <a:pt x="5388" y="6176"/>
                    <a:pt x="5073" y="6774"/>
                    <a:pt x="4569" y="7121"/>
                  </a:cubicBezTo>
                  <a:cubicBezTo>
                    <a:pt x="4120" y="7475"/>
                    <a:pt x="3582" y="7653"/>
                    <a:pt x="3036" y="7653"/>
                  </a:cubicBezTo>
                  <a:cubicBezTo>
                    <a:pt x="2854" y="7653"/>
                    <a:pt x="2671" y="7633"/>
                    <a:pt x="2489" y="7593"/>
                  </a:cubicBezTo>
                  <a:cubicBezTo>
                    <a:pt x="1639" y="7404"/>
                    <a:pt x="946" y="6617"/>
                    <a:pt x="757" y="5640"/>
                  </a:cubicBezTo>
                  <a:lnTo>
                    <a:pt x="1418" y="5640"/>
                  </a:lnTo>
                  <a:cubicBezTo>
                    <a:pt x="1481" y="5955"/>
                    <a:pt x="1639" y="6270"/>
                    <a:pt x="1891" y="6491"/>
                  </a:cubicBezTo>
                  <a:cubicBezTo>
                    <a:pt x="2206" y="6806"/>
                    <a:pt x="2647" y="7026"/>
                    <a:pt x="3119" y="7026"/>
                  </a:cubicBezTo>
                  <a:cubicBezTo>
                    <a:pt x="3183" y="7026"/>
                    <a:pt x="3309" y="7026"/>
                    <a:pt x="3372" y="6963"/>
                  </a:cubicBezTo>
                  <a:cubicBezTo>
                    <a:pt x="4096" y="6837"/>
                    <a:pt x="4600" y="6302"/>
                    <a:pt x="4758" y="5609"/>
                  </a:cubicBezTo>
                  <a:close/>
                  <a:moveTo>
                    <a:pt x="2426" y="1"/>
                  </a:moveTo>
                  <a:cubicBezTo>
                    <a:pt x="2237" y="1"/>
                    <a:pt x="2080" y="158"/>
                    <a:pt x="2080" y="347"/>
                  </a:cubicBezTo>
                  <a:lnTo>
                    <a:pt x="2080" y="725"/>
                  </a:lnTo>
                  <a:lnTo>
                    <a:pt x="1733" y="725"/>
                  </a:lnTo>
                  <a:cubicBezTo>
                    <a:pt x="1135" y="725"/>
                    <a:pt x="694" y="1198"/>
                    <a:pt x="694" y="1734"/>
                  </a:cubicBezTo>
                  <a:lnTo>
                    <a:pt x="694" y="2836"/>
                  </a:lnTo>
                  <a:cubicBezTo>
                    <a:pt x="316" y="2994"/>
                    <a:pt x="1" y="3340"/>
                    <a:pt x="1" y="3813"/>
                  </a:cubicBezTo>
                  <a:lnTo>
                    <a:pt x="1" y="5073"/>
                  </a:lnTo>
                  <a:lnTo>
                    <a:pt x="1" y="5231"/>
                  </a:lnTo>
                  <a:cubicBezTo>
                    <a:pt x="32" y="5924"/>
                    <a:pt x="284" y="6554"/>
                    <a:pt x="662" y="7058"/>
                  </a:cubicBezTo>
                  <a:cubicBezTo>
                    <a:pt x="1103" y="7656"/>
                    <a:pt x="1702" y="8035"/>
                    <a:pt x="2395" y="8224"/>
                  </a:cubicBezTo>
                  <a:cubicBezTo>
                    <a:pt x="2521" y="8287"/>
                    <a:pt x="2678" y="8287"/>
                    <a:pt x="2804" y="8318"/>
                  </a:cubicBezTo>
                  <a:lnTo>
                    <a:pt x="2804" y="8696"/>
                  </a:lnTo>
                  <a:cubicBezTo>
                    <a:pt x="2804" y="10429"/>
                    <a:pt x="4222" y="11815"/>
                    <a:pt x="5892" y="11815"/>
                  </a:cubicBezTo>
                  <a:cubicBezTo>
                    <a:pt x="7625" y="11815"/>
                    <a:pt x="9011" y="10397"/>
                    <a:pt x="9011" y="8696"/>
                  </a:cubicBezTo>
                  <a:lnTo>
                    <a:pt x="9011" y="6932"/>
                  </a:lnTo>
                  <a:cubicBezTo>
                    <a:pt x="9830" y="6837"/>
                    <a:pt x="10429" y="6176"/>
                    <a:pt x="10429" y="5325"/>
                  </a:cubicBezTo>
                  <a:cubicBezTo>
                    <a:pt x="10429" y="4380"/>
                    <a:pt x="9641" y="3592"/>
                    <a:pt x="8696" y="3592"/>
                  </a:cubicBezTo>
                  <a:cubicBezTo>
                    <a:pt x="7751" y="3592"/>
                    <a:pt x="6963" y="4380"/>
                    <a:pt x="6963" y="5325"/>
                  </a:cubicBezTo>
                  <a:cubicBezTo>
                    <a:pt x="6963" y="6144"/>
                    <a:pt x="7562" y="6837"/>
                    <a:pt x="8349" y="7026"/>
                  </a:cubicBezTo>
                  <a:lnTo>
                    <a:pt x="8349" y="8791"/>
                  </a:lnTo>
                  <a:cubicBezTo>
                    <a:pt x="8349" y="10114"/>
                    <a:pt x="7247" y="11216"/>
                    <a:pt x="5892" y="11216"/>
                  </a:cubicBezTo>
                  <a:cubicBezTo>
                    <a:pt x="4569" y="11216"/>
                    <a:pt x="3466" y="10114"/>
                    <a:pt x="3466" y="8791"/>
                  </a:cubicBezTo>
                  <a:lnTo>
                    <a:pt x="3466" y="8350"/>
                  </a:lnTo>
                  <a:cubicBezTo>
                    <a:pt x="4065" y="8287"/>
                    <a:pt x="4600" y="8066"/>
                    <a:pt x="5073" y="7688"/>
                  </a:cubicBezTo>
                  <a:cubicBezTo>
                    <a:pt x="5829" y="7089"/>
                    <a:pt x="6270" y="6176"/>
                    <a:pt x="6270" y="5231"/>
                  </a:cubicBezTo>
                  <a:lnTo>
                    <a:pt x="6270" y="3876"/>
                  </a:lnTo>
                  <a:cubicBezTo>
                    <a:pt x="6270" y="3435"/>
                    <a:pt x="5986" y="3025"/>
                    <a:pt x="5545" y="2868"/>
                  </a:cubicBezTo>
                  <a:lnTo>
                    <a:pt x="5545" y="1765"/>
                  </a:lnTo>
                  <a:cubicBezTo>
                    <a:pt x="5545" y="1198"/>
                    <a:pt x="5073" y="757"/>
                    <a:pt x="4537" y="757"/>
                  </a:cubicBezTo>
                  <a:lnTo>
                    <a:pt x="4159" y="757"/>
                  </a:lnTo>
                  <a:lnTo>
                    <a:pt x="4159" y="410"/>
                  </a:lnTo>
                  <a:cubicBezTo>
                    <a:pt x="4159" y="190"/>
                    <a:pt x="4002" y="32"/>
                    <a:pt x="3813" y="32"/>
                  </a:cubicBezTo>
                  <a:cubicBezTo>
                    <a:pt x="3624" y="32"/>
                    <a:pt x="3466" y="190"/>
                    <a:pt x="3466" y="410"/>
                  </a:cubicBezTo>
                  <a:lnTo>
                    <a:pt x="3466" y="1765"/>
                  </a:lnTo>
                  <a:cubicBezTo>
                    <a:pt x="3466" y="1986"/>
                    <a:pt x="3624" y="2143"/>
                    <a:pt x="3813" y="2143"/>
                  </a:cubicBezTo>
                  <a:cubicBezTo>
                    <a:pt x="4002" y="2143"/>
                    <a:pt x="4159" y="1986"/>
                    <a:pt x="4159" y="1765"/>
                  </a:cubicBezTo>
                  <a:lnTo>
                    <a:pt x="4159" y="1418"/>
                  </a:lnTo>
                  <a:lnTo>
                    <a:pt x="4537" y="1418"/>
                  </a:lnTo>
                  <a:cubicBezTo>
                    <a:pt x="4726" y="1418"/>
                    <a:pt x="4884" y="1576"/>
                    <a:pt x="4884" y="1765"/>
                  </a:cubicBezTo>
                  <a:lnTo>
                    <a:pt x="4884" y="2868"/>
                  </a:lnTo>
                  <a:cubicBezTo>
                    <a:pt x="4474" y="3025"/>
                    <a:pt x="4159" y="3403"/>
                    <a:pt x="4159" y="3876"/>
                  </a:cubicBezTo>
                  <a:lnTo>
                    <a:pt x="4159" y="5168"/>
                  </a:lnTo>
                  <a:cubicBezTo>
                    <a:pt x="4159" y="5703"/>
                    <a:pt x="3813" y="6176"/>
                    <a:pt x="3309" y="6270"/>
                  </a:cubicBezTo>
                  <a:lnTo>
                    <a:pt x="3151" y="6270"/>
                  </a:lnTo>
                  <a:cubicBezTo>
                    <a:pt x="2867" y="6270"/>
                    <a:pt x="2584" y="6144"/>
                    <a:pt x="2395" y="5955"/>
                  </a:cubicBezTo>
                  <a:cubicBezTo>
                    <a:pt x="2206" y="5766"/>
                    <a:pt x="2080" y="5483"/>
                    <a:pt x="2080" y="5199"/>
                  </a:cubicBezTo>
                  <a:lnTo>
                    <a:pt x="2080" y="3813"/>
                  </a:lnTo>
                  <a:cubicBezTo>
                    <a:pt x="2080" y="3403"/>
                    <a:pt x="1796" y="2994"/>
                    <a:pt x="1387" y="2836"/>
                  </a:cubicBezTo>
                  <a:lnTo>
                    <a:pt x="1387" y="1734"/>
                  </a:lnTo>
                  <a:cubicBezTo>
                    <a:pt x="1387" y="1545"/>
                    <a:pt x="1544" y="1387"/>
                    <a:pt x="1733" y="1387"/>
                  </a:cubicBezTo>
                  <a:lnTo>
                    <a:pt x="2080" y="1387"/>
                  </a:lnTo>
                  <a:lnTo>
                    <a:pt x="2080" y="1734"/>
                  </a:lnTo>
                  <a:cubicBezTo>
                    <a:pt x="2080" y="1923"/>
                    <a:pt x="2237" y="2080"/>
                    <a:pt x="2426" y="2080"/>
                  </a:cubicBezTo>
                  <a:cubicBezTo>
                    <a:pt x="2647" y="2080"/>
                    <a:pt x="2804" y="1923"/>
                    <a:pt x="2804" y="1734"/>
                  </a:cubicBezTo>
                  <a:lnTo>
                    <a:pt x="2804" y="347"/>
                  </a:lnTo>
                  <a:cubicBezTo>
                    <a:pt x="2804" y="158"/>
                    <a:pt x="2647" y="1"/>
                    <a:pt x="2426"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9810" name="Google Shape;9810;p110"/>
            <p:cNvSpPr/>
            <p:nvPr/>
          </p:nvSpPr>
          <p:spPr>
            <a:xfrm>
              <a:off x="-27502000" y="2084450"/>
              <a:ext cx="17350" cy="17350"/>
            </a:xfrm>
            <a:custGeom>
              <a:avLst/>
              <a:gdLst/>
              <a:ahLst/>
              <a:cxnLst/>
              <a:rect l="l" t="t" r="r" b="b"/>
              <a:pathLst>
                <a:path w="694" h="694" extrusionOk="0">
                  <a:moveTo>
                    <a:pt x="347" y="0"/>
                  </a:moveTo>
                  <a:cubicBezTo>
                    <a:pt x="158" y="0"/>
                    <a:pt x="0" y="158"/>
                    <a:pt x="0" y="347"/>
                  </a:cubicBezTo>
                  <a:cubicBezTo>
                    <a:pt x="0" y="536"/>
                    <a:pt x="158" y="693"/>
                    <a:pt x="347" y="693"/>
                  </a:cubicBezTo>
                  <a:cubicBezTo>
                    <a:pt x="536" y="693"/>
                    <a:pt x="693" y="536"/>
                    <a:pt x="693" y="347"/>
                  </a:cubicBezTo>
                  <a:cubicBezTo>
                    <a:pt x="693" y="158"/>
                    <a:pt x="536" y="0"/>
                    <a:pt x="347"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9811" name="Google Shape;9811;p110"/>
          <p:cNvGrpSpPr/>
          <p:nvPr/>
        </p:nvGrpSpPr>
        <p:grpSpPr>
          <a:xfrm>
            <a:off x="7670175" y="2760666"/>
            <a:ext cx="474693" cy="307693"/>
            <a:chOff x="-27728850" y="2382950"/>
            <a:chExt cx="297750" cy="193000"/>
          </a:xfrm>
        </p:grpSpPr>
        <p:sp>
          <p:nvSpPr>
            <p:cNvPr id="9812" name="Google Shape;9812;p110"/>
            <p:cNvSpPr/>
            <p:nvPr/>
          </p:nvSpPr>
          <p:spPr>
            <a:xfrm>
              <a:off x="-27606750" y="2453825"/>
              <a:ext cx="35450" cy="35475"/>
            </a:xfrm>
            <a:custGeom>
              <a:avLst/>
              <a:gdLst/>
              <a:ahLst/>
              <a:cxnLst/>
              <a:rect l="l" t="t" r="r" b="b"/>
              <a:pathLst>
                <a:path w="1418" h="1419" extrusionOk="0">
                  <a:moveTo>
                    <a:pt x="725" y="1"/>
                  </a:moveTo>
                  <a:cubicBezTo>
                    <a:pt x="315" y="1"/>
                    <a:pt x="0" y="316"/>
                    <a:pt x="0" y="694"/>
                  </a:cubicBezTo>
                  <a:cubicBezTo>
                    <a:pt x="0" y="1103"/>
                    <a:pt x="315" y="1419"/>
                    <a:pt x="725" y="1419"/>
                  </a:cubicBezTo>
                  <a:cubicBezTo>
                    <a:pt x="1103" y="1419"/>
                    <a:pt x="1418" y="1103"/>
                    <a:pt x="1418" y="694"/>
                  </a:cubicBezTo>
                  <a:cubicBezTo>
                    <a:pt x="1418" y="316"/>
                    <a:pt x="1103" y="1"/>
                    <a:pt x="725"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9813" name="Google Shape;9813;p110"/>
            <p:cNvSpPr/>
            <p:nvPr/>
          </p:nvSpPr>
          <p:spPr>
            <a:xfrm>
              <a:off x="-27728850" y="2382950"/>
              <a:ext cx="297750" cy="193000"/>
            </a:xfrm>
            <a:custGeom>
              <a:avLst/>
              <a:gdLst/>
              <a:ahLst/>
              <a:cxnLst/>
              <a:rect l="l" t="t" r="r" b="b"/>
              <a:pathLst>
                <a:path w="11910" h="7720" extrusionOk="0">
                  <a:moveTo>
                    <a:pt x="5955" y="756"/>
                  </a:moveTo>
                  <a:cubicBezTo>
                    <a:pt x="7405" y="756"/>
                    <a:pt x="8791" y="1670"/>
                    <a:pt x="9673" y="2426"/>
                  </a:cubicBezTo>
                  <a:cubicBezTo>
                    <a:pt x="10335" y="3025"/>
                    <a:pt x="10839" y="3592"/>
                    <a:pt x="11091" y="3938"/>
                  </a:cubicBezTo>
                  <a:cubicBezTo>
                    <a:pt x="10524" y="4632"/>
                    <a:pt x="8413" y="7026"/>
                    <a:pt x="5955" y="7026"/>
                  </a:cubicBezTo>
                  <a:cubicBezTo>
                    <a:pt x="4506" y="7026"/>
                    <a:pt x="3120" y="6144"/>
                    <a:pt x="2269" y="5388"/>
                  </a:cubicBezTo>
                  <a:cubicBezTo>
                    <a:pt x="1576" y="4789"/>
                    <a:pt x="1072" y="4190"/>
                    <a:pt x="852" y="3875"/>
                  </a:cubicBezTo>
                  <a:cubicBezTo>
                    <a:pt x="1419" y="3182"/>
                    <a:pt x="3529" y="788"/>
                    <a:pt x="5955" y="756"/>
                  </a:cubicBezTo>
                  <a:close/>
                  <a:moveTo>
                    <a:pt x="5955" y="0"/>
                  </a:moveTo>
                  <a:cubicBezTo>
                    <a:pt x="5199" y="0"/>
                    <a:pt x="4412" y="189"/>
                    <a:pt x="3624" y="567"/>
                  </a:cubicBezTo>
                  <a:cubicBezTo>
                    <a:pt x="2994" y="882"/>
                    <a:pt x="2364" y="1324"/>
                    <a:pt x="1797" y="1828"/>
                  </a:cubicBezTo>
                  <a:cubicBezTo>
                    <a:pt x="757" y="2741"/>
                    <a:pt x="127" y="3623"/>
                    <a:pt x="95" y="3655"/>
                  </a:cubicBezTo>
                  <a:cubicBezTo>
                    <a:pt x="1" y="3781"/>
                    <a:pt x="1" y="3938"/>
                    <a:pt x="95" y="4033"/>
                  </a:cubicBezTo>
                  <a:cubicBezTo>
                    <a:pt x="127" y="4096"/>
                    <a:pt x="757" y="4978"/>
                    <a:pt x="1797" y="5860"/>
                  </a:cubicBezTo>
                  <a:cubicBezTo>
                    <a:pt x="2427" y="6396"/>
                    <a:pt x="2994" y="6805"/>
                    <a:pt x="3624" y="7120"/>
                  </a:cubicBezTo>
                  <a:cubicBezTo>
                    <a:pt x="4412" y="7499"/>
                    <a:pt x="5199" y="7719"/>
                    <a:pt x="5955" y="7719"/>
                  </a:cubicBezTo>
                  <a:cubicBezTo>
                    <a:pt x="6711" y="7719"/>
                    <a:pt x="7499" y="7499"/>
                    <a:pt x="8287" y="7120"/>
                  </a:cubicBezTo>
                  <a:cubicBezTo>
                    <a:pt x="8917" y="6805"/>
                    <a:pt x="9547" y="6364"/>
                    <a:pt x="10145" y="5860"/>
                  </a:cubicBezTo>
                  <a:cubicBezTo>
                    <a:pt x="11154" y="4947"/>
                    <a:pt x="11784" y="4096"/>
                    <a:pt x="11815" y="4033"/>
                  </a:cubicBezTo>
                  <a:cubicBezTo>
                    <a:pt x="11910" y="3938"/>
                    <a:pt x="11910" y="3781"/>
                    <a:pt x="11815" y="3655"/>
                  </a:cubicBezTo>
                  <a:cubicBezTo>
                    <a:pt x="11784" y="3623"/>
                    <a:pt x="11154" y="2710"/>
                    <a:pt x="10145" y="1828"/>
                  </a:cubicBezTo>
                  <a:cubicBezTo>
                    <a:pt x="9515" y="1292"/>
                    <a:pt x="8917" y="882"/>
                    <a:pt x="8287" y="567"/>
                  </a:cubicBezTo>
                  <a:cubicBezTo>
                    <a:pt x="7499" y="189"/>
                    <a:pt x="6711" y="0"/>
                    <a:pt x="5955"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9814" name="Google Shape;9814;p110"/>
            <p:cNvSpPr/>
            <p:nvPr/>
          </p:nvSpPr>
          <p:spPr>
            <a:xfrm>
              <a:off x="-27640625" y="2419175"/>
              <a:ext cx="122100" cy="122100"/>
            </a:xfrm>
            <a:custGeom>
              <a:avLst/>
              <a:gdLst/>
              <a:ahLst/>
              <a:cxnLst/>
              <a:rect l="l" t="t" r="r" b="b"/>
              <a:pathLst>
                <a:path w="4884" h="4884" extrusionOk="0">
                  <a:moveTo>
                    <a:pt x="2426" y="694"/>
                  </a:moveTo>
                  <a:cubicBezTo>
                    <a:pt x="3403" y="694"/>
                    <a:pt x="4159" y="1481"/>
                    <a:pt x="4159" y="2426"/>
                  </a:cubicBezTo>
                  <a:cubicBezTo>
                    <a:pt x="4159" y="3372"/>
                    <a:pt x="3371" y="4159"/>
                    <a:pt x="2426" y="4159"/>
                  </a:cubicBezTo>
                  <a:cubicBezTo>
                    <a:pt x="1481" y="4159"/>
                    <a:pt x="694" y="3372"/>
                    <a:pt x="694" y="2426"/>
                  </a:cubicBezTo>
                  <a:cubicBezTo>
                    <a:pt x="694" y="1481"/>
                    <a:pt x="1481" y="694"/>
                    <a:pt x="2426" y="694"/>
                  </a:cubicBezTo>
                  <a:close/>
                  <a:moveTo>
                    <a:pt x="2426" y="1"/>
                  </a:moveTo>
                  <a:cubicBezTo>
                    <a:pt x="1103" y="1"/>
                    <a:pt x="0" y="1103"/>
                    <a:pt x="0" y="2426"/>
                  </a:cubicBezTo>
                  <a:cubicBezTo>
                    <a:pt x="0" y="3781"/>
                    <a:pt x="1103" y="4884"/>
                    <a:pt x="2426" y="4884"/>
                  </a:cubicBezTo>
                  <a:cubicBezTo>
                    <a:pt x="3781" y="4884"/>
                    <a:pt x="4884" y="3781"/>
                    <a:pt x="4884" y="2426"/>
                  </a:cubicBezTo>
                  <a:cubicBezTo>
                    <a:pt x="4884" y="1103"/>
                    <a:pt x="3781" y="1"/>
                    <a:pt x="2426"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sp>
        <p:nvSpPr>
          <p:cNvPr id="9815" name="Google Shape;9815;p110"/>
          <p:cNvSpPr/>
          <p:nvPr/>
        </p:nvSpPr>
        <p:spPr>
          <a:xfrm>
            <a:off x="7671426" y="3275769"/>
            <a:ext cx="473457" cy="453968"/>
          </a:xfrm>
          <a:custGeom>
            <a:avLst/>
            <a:gdLst/>
            <a:ahLst/>
            <a:cxnLst/>
            <a:rect l="l" t="t" r="r" b="b"/>
            <a:pathLst>
              <a:path w="11879" h="11390" extrusionOk="0">
                <a:moveTo>
                  <a:pt x="10047" y="655"/>
                </a:moveTo>
                <a:cubicBezTo>
                  <a:pt x="10369" y="655"/>
                  <a:pt x="10689" y="746"/>
                  <a:pt x="10965" y="930"/>
                </a:cubicBezTo>
                <a:lnTo>
                  <a:pt x="7499" y="4490"/>
                </a:lnTo>
                <a:cubicBezTo>
                  <a:pt x="7468" y="4427"/>
                  <a:pt x="7468" y="4396"/>
                  <a:pt x="7405" y="4364"/>
                </a:cubicBezTo>
                <a:lnTo>
                  <a:pt x="7090" y="4049"/>
                </a:lnTo>
                <a:cubicBezTo>
                  <a:pt x="7058" y="3986"/>
                  <a:pt x="7026" y="3954"/>
                  <a:pt x="6995" y="3954"/>
                </a:cubicBezTo>
                <a:lnTo>
                  <a:pt x="7216" y="3734"/>
                </a:lnTo>
                <a:cubicBezTo>
                  <a:pt x="7405" y="3545"/>
                  <a:pt x="7531" y="3261"/>
                  <a:pt x="7531" y="2978"/>
                </a:cubicBezTo>
                <a:cubicBezTo>
                  <a:pt x="7531" y="2820"/>
                  <a:pt x="7499" y="2663"/>
                  <a:pt x="7405" y="2537"/>
                </a:cubicBezTo>
                <a:lnTo>
                  <a:pt x="8791" y="1182"/>
                </a:lnTo>
                <a:cubicBezTo>
                  <a:pt x="9140" y="833"/>
                  <a:pt x="9596" y="655"/>
                  <a:pt x="10047" y="655"/>
                </a:cubicBezTo>
                <a:close/>
                <a:moveTo>
                  <a:pt x="6365" y="4427"/>
                </a:moveTo>
                <a:cubicBezTo>
                  <a:pt x="6428" y="4427"/>
                  <a:pt x="6554" y="4490"/>
                  <a:pt x="6585" y="4553"/>
                </a:cubicBezTo>
                <a:lnTo>
                  <a:pt x="6900" y="4868"/>
                </a:lnTo>
                <a:cubicBezTo>
                  <a:pt x="7058" y="4994"/>
                  <a:pt x="7058" y="5183"/>
                  <a:pt x="6932" y="5341"/>
                </a:cubicBezTo>
                <a:lnTo>
                  <a:pt x="6365" y="5971"/>
                </a:lnTo>
                <a:lnTo>
                  <a:pt x="5483" y="5120"/>
                </a:lnTo>
                <a:lnTo>
                  <a:pt x="6113" y="4522"/>
                </a:lnTo>
                <a:cubicBezTo>
                  <a:pt x="6207" y="4490"/>
                  <a:pt x="6270" y="4427"/>
                  <a:pt x="6365" y="4427"/>
                </a:cubicBezTo>
                <a:close/>
                <a:moveTo>
                  <a:pt x="4947" y="5624"/>
                </a:moveTo>
                <a:lnTo>
                  <a:pt x="5829" y="6538"/>
                </a:lnTo>
                <a:lnTo>
                  <a:pt x="5388" y="7042"/>
                </a:lnTo>
                <a:lnTo>
                  <a:pt x="5136" y="6790"/>
                </a:lnTo>
                <a:cubicBezTo>
                  <a:pt x="5073" y="6743"/>
                  <a:pt x="4987" y="6719"/>
                  <a:pt x="4900" y="6719"/>
                </a:cubicBezTo>
                <a:cubicBezTo>
                  <a:pt x="4813" y="6719"/>
                  <a:pt x="4727" y="6743"/>
                  <a:pt x="4664" y="6790"/>
                </a:cubicBezTo>
                <a:cubicBezTo>
                  <a:pt x="4538" y="6916"/>
                  <a:pt x="4538" y="7168"/>
                  <a:pt x="4664" y="7262"/>
                </a:cubicBezTo>
                <a:lnTo>
                  <a:pt x="4947" y="7546"/>
                </a:lnTo>
                <a:lnTo>
                  <a:pt x="4475" y="8050"/>
                </a:lnTo>
                <a:lnTo>
                  <a:pt x="4128" y="7704"/>
                </a:lnTo>
                <a:cubicBezTo>
                  <a:pt x="4065" y="7641"/>
                  <a:pt x="3971" y="7609"/>
                  <a:pt x="3880" y="7609"/>
                </a:cubicBezTo>
                <a:cubicBezTo>
                  <a:pt x="3789" y="7609"/>
                  <a:pt x="3703" y="7641"/>
                  <a:pt x="3655" y="7704"/>
                </a:cubicBezTo>
                <a:cubicBezTo>
                  <a:pt x="3529" y="7830"/>
                  <a:pt x="3529" y="8050"/>
                  <a:pt x="3655" y="8176"/>
                </a:cubicBezTo>
                <a:lnTo>
                  <a:pt x="4034" y="8586"/>
                </a:lnTo>
                <a:lnTo>
                  <a:pt x="3561" y="9090"/>
                </a:lnTo>
                <a:lnTo>
                  <a:pt x="3088" y="8617"/>
                </a:lnTo>
                <a:cubicBezTo>
                  <a:pt x="3025" y="8554"/>
                  <a:pt x="2939" y="8523"/>
                  <a:pt x="2852" y="8523"/>
                </a:cubicBezTo>
                <a:cubicBezTo>
                  <a:pt x="2765" y="8523"/>
                  <a:pt x="2679" y="8554"/>
                  <a:pt x="2616" y="8617"/>
                </a:cubicBezTo>
                <a:cubicBezTo>
                  <a:pt x="2490" y="8743"/>
                  <a:pt x="2490" y="8964"/>
                  <a:pt x="2616" y="9090"/>
                </a:cubicBezTo>
                <a:lnTo>
                  <a:pt x="3120" y="9594"/>
                </a:lnTo>
                <a:lnTo>
                  <a:pt x="2647" y="10098"/>
                </a:lnTo>
                <a:lnTo>
                  <a:pt x="2080" y="9531"/>
                </a:lnTo>
                <a:cubicBezTo>
                  <a:pt x="2017" y="9468"/>
                  <a:pt x="1923" y="9436"/>
                  <a:pt x="1832" y="9436"/>
                </a:cubicBezTo>
                <a:cubicBezTo>
                  <a:pt x="1742" y="9436"/>
                  <a:pt x="1655" y="9468"/>
                  <a:pt x="1608" y="9531"/>
                </a:cubicBezTo>
                <a:cubicBezTo>
                  <a:pt x="1482" y="9625"/>
                  <a:pt x="1482" y="9877"/>
                  <a:pt x="1608" y="10003"/>
                </a:cubicBezTo>
                <a:lnTo>
                  <a:pt x="2175" y="10570"/>
                </a:lnTo>
                <a:cubicBezTo>
                  <a:pt x="2017" y="10696"/>
                  <a:pt x="1860" y="10728"/>
                  <a:pt x="1702" y="10728"/>
                </a:cubicBezTo>
                <a:cubicBezTo>
                  <a:pt x="1419" y="10728"/>
                  <a:pt x="1198" y="10665"/>
                  <a:pt x="1009" y="10476"/>
                </a:cubicBezTo>
                <a:cubicBezTo>
                  <a:pt x="789" y="10255"/>
                  <a:pt x="726" y="10035"/>
                  <a:pt x="726" y="9751"/>
                </a:cubicBezTo>
                <a:cubicBezTo>
                  <a:pt x="726" y="9468"/>
                  <a:pt x="852" y="9247"/>
                  <a:pt x="1041" y="9090"/>
                </a:cubicBezTo>
                <a:lnTo>
                  <a:pt x="4947" y="5624"/>
                </a:lnTo>
                <a:close/>
                <a:moveTo>
                  <a:pt x="10035" y="1"/>
                </a:moveTo>
                <a:cubicBezTo>
                  <a:pt x="9413" y="1"/>
                  <a:pt x="8791" y="237"/>
                  <a:pt x="8318" y="709"/>
                </a:cubicBezTo>
                <a:lnTo>
                  <a:pt x="6743" y="2285"/>
                </a:lnTo>
                <a:cubicBezTo>
                  <a:pt x="6680" y="2348"/>
                  <a:pt x="6617" y="2442"/>
                  <a:pt x="6617" y="2505"/>
                </a:cubicBezTo>
                <a:cubicBezTo>
                  <a:pt x="6617" y="2600"/>
                  <a:pt x="6680" y="2694"/>
                  <a:pt x="6743" y="2757"/>
                </a:cubicBezTo>
                <a:cubicBezTo>
                  <a:pt x="6837" y="2820"/>
                  <a:pt x="6869" y="2915"/>
                  <a:pt x="6869" y="2978"/>
                </a:cubicBezTo>
                <a:cubicBezTo>
                  <a:pt x="6869" y="3041"/>
                  <a:pt x="6837" y="3167"/>
                  <a:pt x="6743" y="3198"/>
                </a:cubicBezTo>
                <a:lnTo>
                  <a:pt x="6207" y="3765"/>
                </a:lnTo>
                <a:cubicBezTo>
                  <a:pt x="5987" y="3797"/>
                  <a:pt x="5798" y="3891"/>
                  <a:pt x="5640" y="3986"/>
                </a:cubicBezTo>
                <a:lnTo>
                  <a:pt x="568" y="8523"/>
                </a:lnTo>
                <a:cubicBezTo>
                  <a:pt x="221" y="8838"/>
                  <a:pt x="1" y="9247"/>
                  <a:pt x="1" y="9720"/>
                </a:cubicBezTo>
                <a:cubicBezTo>
                  <a:pt x="1" y="10192"/>
                  <a:pt x="158" y="10633"/>
                  <a:pt x="473" y="10917"/>
                </a:cubicBezTo>
                <a:cubicBezTo>
                  <a:pt x="789" y="11264"/>
                  <a:pt x="1230" y="11390"/>
                  <a:pt x="1671" y="11390"/>
                </a:cubicBezTo>
                <a:lnTo>
                  <a:pt x="1702" y="11390"/>
                </a:lnTo>
                <a:cubicBezTo>
                  <a:pt x="2143" y="11390"/>
                  <a:pt x="2584" y="11169"/>
                  <a:pt x="2899" y="10854"/>
                </a:cubicBezTo>
                <a:lnTo>
                  <a:pt x="7405" y="5782"/>
                </a:lnTo>
                <a:cubicBezTo>
                  <a:pt x="7562" y="5624"/>
                  <a:pt x="7657" y="5404"/>
                  <a:pt x="7657" y="5215"/>
                </a:cubicBezTo>
                <a:lnTo>
                  <a:pt x="11752" y="1119"/>
                </a:lnTo>
                <a:cubicBezTo>
                  <a:pt x="11878" y="1088"/>
                  <a:pt x="11878" y="1025"/>
                  <a:pt x="11878" y="930"/>
                </a:cubicBezTo>
                <a:cubicBezTo>
                  <a:pt x="11878" y="867"/>
                  <a:pt x="11815" y="741"/>
                  <a:pt x="11752" y="709"/>
                </a:cubicBezTo>
                <a:cubicBezTo>
                  <a:pt x="11280" y="237"/>
                  <a:pt x="10657" y="1"/>
                  <a:pt x="10035"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9816" name="Google Shape;9816;p110"/>
          <p:cNvSpPr/>
          <p:nvPr/>
        </p:nvSpPr>
        <p:spPr>
          <a:xfrm>
            <a:off x="10645890" y="2081955"/>
            <a:ext cx="472181" cy="472181"/>
          </a:xfrm>
          <a:custGeom>
            <a:avLst/>
            <a:gdLst/>
            <a:ahLst/>
            <a:cxnLst/>
            <a:rect l="l" t="t" r="r" b="b"/>
            <a:pathLst>
              <a:path w="11847" h="11847" extrusionOk="0">
                <a:moveTo>
                  <a:pt x="5546" y="662"/>
                </a:moveTo>
                <a:lnTo>
                  <a:pt x="5546" y="2741"/>
                </a:lnTo>
                <a:lnTo>
                  <a:pt x="4821" y="2741"/>
                </a:lnTo>
                <a:lnTo>
                  <a:pt x="4821" y="1040"/>
                </a:lnTo>
                <a:cubicBezTo>
                  <a:pt x="4821" y="819"/>
                  <a:pt x="4979" y="662"/>
                  <a:pt x="5199" y="662"/>
                </a:cubicBezTo>
                <a:close/>
                <a:moveTo>
                  <a:pt x="6932" y="662"/>
                </a:moveTo>
                <a:lnTo>
                  <a:pt x="6932" y="2773"/>
                </a:lnTo>
                <a:lnTo>
                  <a:pt x="6207" y="2773"/>
                </a:lnTo>
                <a:lnTo>
                  <a:pt x="6207" y="662"/>
                </a:lnTo>
                <a:close/>
                <a:moveTo>
                  <a:pt x="8350" y="662"/>
                </a:moveTo>
                <a:lnTo>
                  <a:pt x="8350" y="2773"/>
                </a:lnTo>
                <a:lnTo>
                  <a:pt x="7625" y="2773"/>
                </a:lnTo>
                <a:lnTo>
                  <a:pt x="7625" y="662"/>
                </a:lnTo>
                <a:close/>
                <a:moveTo>
                  <a:pt x="9704" y="662"/>
                </a:moveTo>
                <a:lnTo>
                  <a:pt x="9704" y="2773"/>
                </a:lnTo>
                <a:lnTo>
                  <a:pt x="9011" y="2773"/>
                </a:lnTo>
                <a:lnTo>
                  <a:pt x="9011" y="662"/>
                </a:lnTo>
                <a:close/>
                <a:moveTo>
                  <a:pt x="10744" y="662"/>
                </a:moveTo>
                <a:cubicBezTo>
                  <a:pt x="10933" y="662"/>
                  <a:pt x="11090" y="819"/>
                  <a:pt x="11090" y="1040"/>
                </a:cubicBezTo>
                <a:lnTo>
                  <a:pt x="11090" y="2773"/>
                </a:lnTo>
                <a:lnTo>
                  <a:pt x="10397" y="2773"/>
                </a:lnTo>
                <a:lnTo>
                  <a:pt x="10397" y="662"/>
                </a:lnTo>
                <a:close/>
                <a:moveTo>
                  <a:pt x="6270" y="5577"/>
                </a:moveTo>
                <a:lnTo>
                  <a:pt x="6270" y="9074"/>
                </a:lnTo>
                <a:lnTo>
                  <a:pt x="5546" y="9074"/>
                </a:lnTo>
                <a:lnTo>
                  <a:pt x="5546" y="5577"/>
                </a:lnTo>
                <a:close/>
                <a:moveTo>
                  <a:pt x="10397" y="5640"/>
                </a:moveTo>
                <a:lnTo>
                  <a:pt x="10397" y="6270"/>
                </a:lnTo>
                <a:lnTo>
                  <a:pt x="9358" y="6270"/>
                </a:lnTo>
                <a:cubicBezTo>
                  <a:pt x="9169" y="6270"/>
                  <a:pt x="9011" y="6427"/>
                  <a:pt x="9011" y="6616"/>
                </a:cubicBezTo>
                <a:cubicBezTo>
                  <a:pt x="9011" y="6805"/>
                  <a:pt x="9169" y="6963"/>
                  <a:pt x="9358" y="6963"/>
                </a:cubicBezTo>
                <a:lnTo>
                  <a:pt x="10397" y="6963"/>
                </a:lnTo>
                <a:lnTo>
                  <a:pt x="10397" y="7688"/>
                </a:lnTo>
                <a:lnTo>
                  <a:pt x="9358" y="7688"/>
                </a:lnTo>
                <a:cubicBezTo>
                  <a:pt x="9169" y="7688"/>
                  <a:pt x="9011" y="7845"/>
                  <a:pt x="9011" y="8034"/>
                </a:cubicBezTo>
                <a:cubicBezTo>
                  <a:pt x="9011" y="8223"/>
                  <a:pt x="9169" y="8381"/>
                  <a:pt x="9358" y="8381"/>
                </a:cubicBezTo>
                <a:lnTo>
                  <a:pt x="10397" y="8381"/>
                </a:lnTo>
                <a:lnTo>
                  <a:pt x="10397" y="9105"/>
                </a:lnTo>
                <a:lnTo>
                  <a:pt x="8287" y="9105"/>
                </a:lnTo>
                <a:lnTo>
                  <a:pt x="8287" y="5640"/>
                </a:lnTo>
                <a:close/>
                <a:moveTo>
                  <a:pt x="2080" y="7688"/>
                </a:moveTo>
                <a:cubicBezTo>
                  <a:pt x="2301" y="7688"/>
                  <a:pt x="2521" y="7719"/>
                  <a:pt x="2710" y="7845"/>
                </a:cubicBezTo>
                <a:cubicBezTo>
                  <a:pt x="2427" y="7971"/>
                  <a:pt x="2206" y="8129"/>
                  <a:pt x="1954" y="8318"/>
                </a:cubicBezTo>
                <a:lnTo>
                  <a:pt x="1923" y="8349"/>
                </a:lnTo>
                <a:cubicBezTo>
                  <a:pt x="1576" y="8696"/>
                  <a:pt x="1355" y="9200"/>
                  <a:pt x="1355" y="9767"/>
                </a:cubicBezTo>
                <a:cubicBezTo>
                  <a:pt x="1355" y="9956"/>
                  <a:pt x="1418" y="10113"/>
                  <a:pt x="1450" y="10302"/>
                </a:cubicBezTo>
                <a:cubicBezTo>
                  <a:pt x="977" y="10050"/>
                  <a:pt x="694" y="9578"/>
                  <a:pt x="694" y="9074"/>
                </a:cubicBezTo>
                <a:cubicBezTo>
                  <a:pt x="694" y="8318"/>
                  <a:pt x="1324" y="7688"/>
                  <a:pt x="2080" y="7688"/>
                </a:cubicBezTo>
                <a:close/>
                <a:moveTo>
                  <a:pt x="3403" y="8318"/>
                </a:moveTo>
                <a:cubicBezTo>
                  <a:pt x="4191" y="8349"/>
                  <a:pt x="4821" y="8979"/>
                  <a:pt x="4821" y="9735"/>
                </a:cubicBezTo>
                <a:cubicBezTo>
                  <a:pt x="4821" y="9987"/>
                  <a:pt x="4758" y="10239"/>
                  <a:pt x="4600" y="10491"/>
                </a:cubicBezTo>
                <a:lnTo>
                  <a:pt x="2679" y="8538"/>
                </a:lnTo>
                <a:cubicBezTo>
                  <a:pt x="2868" y="8381"/>
                  <a:pt x="3151" y="8318"/>
                  <a:pt x="3403" y="8318"/>
                </a:cubicBezTo>
                <a:close/>
                <a:moveTo>
                  <a:pt x="2238" y="9074"/>
                </a:moveTo>
                <a:lnTo>
                  <a:pt x="4128" y="10964"/>
                </a:lnTo>
                <a:cubicBezTo>
                  <a:pt x="3939" y="11059"/>
                  <a:pt x="3687" y="11122"/>
                  <a:pt x="3466" y="11122"/>
                </a:cubicBezTo>
                <a:cubicBezTo>
                  <a:pt x="3448" y="11122"/>
                  <a:pt x="3430" y="11123"/>
                  <a:pt x="3412" y="11123"/>
                </a:cubicBezTo>
                <a:cubicBezTo>
                  <a:pt x="2680" y="11123"/>
                  <a:pt x="2080" y="10504"/>
                  <a:pt x="2080" y="9735"/>
                </a:cubicBezTo>
                <a:cubicBezTo>
                  <a:pt x="2080" y="9483"/>
                  <a:pt x="2143" y="9263"/>
                  <a:pt x="2238" y="9074"/>
                </a:cubicBezTo>
                <a:close/>
                <a:moveTo>
                  <a:pt x="10334" y="3466"/>
                </a:moveTo>
                <a:lnTo>
                  <a:pt x="10334" y="4884"/>
                </a:lnTo>
                <a:lnTo>
                  <a:pt x="7940" y="4884"/>
                </a:lnTo>
                <a:cubicBezTo>
                  <a:pt x="7751" y="4884"/>
                  <a:pt x="7593" y="5041"/>
                  <a:pt x="7593" y="5230"/>
                </a:cubicBezTo>
                <a:lnTo>
                  <a:pt x="7593" y="9420"/>
                </a:lnTo>
                <a:cubicBezTo>
                  <a:pt x="7593" y="9609"/>
                  <a:pt x="7751" y="9767"/>
                  <a:pt x="7940" y="9767"/>
                </a:cubicBezTo>
                <a:lnTo>
                  <a:pt x="10397" y="9767"/>
                </a:lnTo>
                <a:lnTo>
                  <a:pt x="10397" y="10806"/>
                </a:lnTo>
                <a:cubicBezTo>
                  <a:pt x="10397" y="10996"/>
                  <a:pt x="10240" y="11153"/>
                  <a:pt x="10019" y="11153"/>
                </a:cubicBezTo>
                <a:lnTo>
                  <a:pt x="5861" y="11153"/>
                </a:lnTo>
                <a:cubicBezTo>
                  <a:pt x="5672" y="11153"/>
                  <a:pt x="5514" y="10996"/>
                  <a:pt x="5514" y="10806"/>
                </a:cubicBezTo>
                <a:lnTo>
                  <a:pt x="5514" y="9767"/>
                </a:lnTo>
                <a:lnTo>
                  <a:pt x="6522" y="9767"/>
                </a:lnTo>
                <a:cubicBezTo>
                  <a:pt x="6711" y="9767"/>
                  <a:pt x="6869" y="9609"/>
                  <a:pt x="6869" y="9420"/>
                </a:cubicBezTo>
                <a:lnTo>
                  <a:pt x="6869" y="5230"/>
                </a:lnTo>
                <a:cubicBezTo>
                  <a:pt x="6869" y="5041"/>
                  <a:pt x="6711" y="4884"/>
                  <a:pt x="6522" y="4884"/>
                </a:cubicBezTo>
                <a:lnTo>
                  <a:pt x="5514" y="4884"/>
                </a:lnTo>
                <a:lnTo>
                  <a:pt x="5514" y="3466"/>
                </a:lnTo>
                <a:close/>
                <a:moveTo>
                  <a:pt x="5199" y="0"/>
                </a:moveTo>
                <a:cubicBezTo>
                  <a:pt x="4600" y="0"/>
                  <a:pt x="4159" y="473"/>
                  <a:pt x="4159" y="1040"/>
                </a:cubicBezTo>
                <a:lnTo>
                  <a:pt x="4159" y="3119"/>
                </a:lnTo>
                <a:cubicBezTo>
                  <a:pt x="4159" y="3308"/>
                  <a:pt x="4317" y="3466"/>
                  <a:pt x="4506" y="3466"/>
                </a:cubicBezTo>
                <a:lnTo>
                  <a:pt x="4884" y="3466"/>
                </a:lnTo>
                <a:lnTo>
                  <a:pt x="4884" y="8192"/>
                </a:lnTo>
                <a:cubicBezTo>
                  <a:pt x="4569" y="7908"/>
                  <a:pt x="4128" y="7719"/>
                  <a:pt x="3655" y="7688"/>
                </a:cubicBezTo>
                <a:cubicBezTo>
                  <a:pt x="3277" y="7246"/>
                  <a:pt x="2710" y="6963"/>
                  <a:pt x="2080" y="6963"/>
                </a:cubicBezTo>
                <a:cubicBezTo>
                  <a:pt x="946" y="6963"/>
                  <a:pt x="1" y="7908"/>
                  <a:pt x="1" y="9074"/>
                </a:cubicBezTo>
                <a:cubicBezTo>
                  <a:pt x="1" y="10176"/>
                  <a:pt x="820" y="11027"/>
                  <a:pt x="1923" y="11153"/>
                </a:cubicBezTo>
                <a:cubicBezTo>
                  <a:pt x="2332" y="11594"/>
                  <a:pt x="2868" y="11846"/>
                  <a:pt x="3498" y="11846"/>
                </a:cubicBezTo>
                <a:cubicBezTo>
                  <a:pt x="4065" y="11846"/>
                  <a:pt x="4506" y="11657"/>
                  <a:pt x="4916" y="11311"/>
                </a:cubicBezTo>
                <a:cubicBezTo>
                  <a:pt x="4916" y="11311"/>
                  <a:pt x="4979" y="11279"/>
                  <a:pt x="4979" y="11216"/>
                </a:cubicBezTo>
                <a:cubicBezTo>
                  <a:pt x="5136" y="11594"/>
                  <a:pt x="5514" y="11846"/>
                  <a:pt x="5924" y="11846"/>
                </a:cubicBezTo>
                <a:lnTo>
                  <a:pt x="10114" y="11846"/>
                </a:lnTo>
                <a:cubicBezTo>
                  <a:pt x="10712" y="11846"/>
                  <a:pt x="11122" y="11374"/>
                  <a:pt x="11122" y="10838"/>
                </a:cubicBezTo>
                <a:lnTo>
                  <a:pt x="11122" y="3497"/>
                </a:lnTo>
                <a:lnTo>
                  <a:pt x="11500" y="3497"/>
                </a:lnTo>
                <a:cubicBezTo>
                  <a:pt x="11689" y="3497"/>
                  <a:pt x="11847" y="3340"/>
                  <a:pt x="11847" y="3151"/>
                </a:cubicBezTo>
                <a:lnTo>
                  <a:pt x="11847" y="1072"/>
                </a:lnTo>
                <a:cubicBezTo>
                  <a:pt x="11752" y="441"/>
                  <a:pt x="11343" y="0"/>
                  <a:pt x="10744"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nvGrpSpPr>
          <p:cNvPr id="9817" name="Google Shape;9817;p110"/>
          <p:cNvGrpSpPr/>
          <p:nvPr/>
        </p:nvGrpSpPr>
        <p:grpSpPr>
          <a:xfrm>
            <a:off x="10645300" y="2691614"/>
            <a:ext cx="472181" cy="445797"/>
            <a:chOff x="-25844850" y="2357750"/>
            <a:chExt cx="296175" cy="279625"/>
          </a:xfrm>
        </p:grpSpPr>
        <p:sp>
          <p:nvSpPr>
            <p:cNvPr id="9818" name="Google Shape;9818;p110"/>
            <p:cNvSpPr/>
            <p:nvPr/>
          </p:nvSpPr>
          <p:spPr>
            <a:xfrm>
              <a:off x="-25792075" y="2428625"/>
              <a:ext cx="191425" cy="208750"/>
            </a:xfrm>
            <a:custGeom>
              <a:avLst/>
              <a:gdLst/>
              <a:ahLst/>
              <a:cxnLst/>
              <a:rect l="l" t="t" r="r" b="b"/>
              <a:pathLst>
                <a:path w="7657" h="8350" extrusionOk="0">
                  <a:moveTo>
                    <a:pt x="3781" y="2773"/>
                  </a:moveTo>
                  <a:cubicBezTo>
                    <a:pt x="3970" y="2773"/>
                    <a:pt x="4128" y="2931"/>
                    <a:pt x="4128" y="3120"/>
                  </a:cubicBezTo>
                  <a:cubicBezTo>
                    <a:pt x="4128" y="3309"/>
                    <a:pt x="3970" y="3466"/>
                    <a:pt x="3781" y="3466"/>
                  </a:cubicBezTo>
                  <a:cubicBezTo>
                    <a:pt x="3592" y="3466"/>
                    <a:pt x="3435" y="3309"/>
                    <a:pt x="3435" y="3120"/>
                  </a:cubicBezTo>
                  <a:cubicBezTo>
                    <a:pt x="3435" y="2931"/>
                    <a:pt x="3592" y="2773"/>
                    <a:pt x="3781" y="2773"/>
                  </a:cubicBezTo>
                  <a:close/>
                  <a:moveTo>
                    <a:pt x="3813" y="694"/>
                  </a:moveTo>
                  <a:cubicBezTo>
                    <a:pt x="5167" y="694"/>
                    <a:pt x="6270" y="1796"/>
                    <a:pt x="6270" y="3120"/>
                  </a:cubicBezTo>
                  <a:lnTo>
                    <a:pt x="6270" y="6239"/>
                  </a:lnTo>
                  <a:lnTo>
                    <a:pt x="4191" y="6239"/>
                  </a:lnTo>
                  <a:lnTo>
                    <a:pt x="4191" y="4096"/>
                  </a:lnTo>
                  <a:cubicBezTo>
                    <a:pt x="4569" y="3939"/>
                    <a:pt x="4884" y="3592"/>
                    <a:pt x="4884" y="3120"/>
                  </a:cubicBezTo>
                  <a:cubicBezTo>
                    <a:pt x="4884" y="2521"/>
                    <a:pt x="4411" y="2111"/>
                    <a:pt x="3876" y="2111"/>
                  </a:cubicBezTo>
                  <a:cubicBezTo>
                    <a:pt x="3277" y="2111"/>
                    <a:pt x="2836" y="2584"/>
                    <a:pt x="2836" y="3120"/>
                  </a:cubicBezTo>
                  <a:cubicBezTo>
                    <a:pt x="2836" y="3561"/>
                    <a:pt x="3120" y="3939"/>
                    <a:pt x="3561" y="4096"/>
                  </a:cubicBezTo>
                  <a:lnTo>
                    <a:pt x="3561" y="6239"/>
                  </a:lnTo>
                  <a:lnTo>
                    <a:pt x="1450" y="6239"/>
                  </a:lnTo>
                  <a:lnTo>
                    <a:pt x="1450" y="3120"/>
                  </a:lnTo>
                  <a:lnTo>
                    <a:pt x="1387" y="3120"/>
                  </a:lnTo>
                  <a:cubicBezTo>
                    <a:pt x="1387" y="1796"/>
                    <a:pt x="2489" y="694"/>
                    <a:pt x="3813" y="694"/>
                  </a:cubicBezTo>
                  <a:close/>
                  <a:moveTo>
                    <a:pt x="6585" y="6932"/>
                  </a:moveTo>
                  <a:cubicBezTo>
                    <a:pt x="6774" y="6932"/>
                    <a:pt x="6932" y="7089"/>
                    <a:pt x="6932" y="7310"/>
                  </a:cubicBezTo>
                  <a:lnTo>
                    <a:pt x="6932" y="7625"/>
                  </a:lnTo>
                  <a:lnTo>
                    <a:pt x="662" y="7625"/>
                  </a:lnTo>
                  <a:lnTo>
                    <a:pt x="662" y="7310"/>
                  </a:lnTo>
                  <a:cubicBezTo>
                    <a:pt x="662" y="7089"/>
                    <a:pt x="820" y="6932"/>
                    <a:pt x="1040" y="6932"/>
                  </a:cubicBezTo>
                  <a:close/>
                  <a:moveTo>
                    <a:pt x="3813" y="1"/>
                  </a:moveTo>
                  <a:cubicBezTo>
                    <a:pt x="2080" y="1"/>
                    <a:pt x="725" y="1418"/>
                    <a:pt x="725" y="3120"/>
                  </a:cubicBezTo>
                  <a:lnTo>
                    <a:pt x="725" y="6302"/>
                  </a:lnTo>
                  <a:cubicBezTo>
                    <a:pt x="316" y="6459"/>
                    <a:pt x="1" y="6837"/>
                    <a:pt x="1" y="7310"/>
                  </a:cubicBezTo>
                  <a:lnTo>
                    <a:pt x="1" y="8003"/>
                  </a:lnTo>
                  <a:cubicBezTo>
                    <a:pt x="1" y="8192"/>
                    <a:pt x="158" y="8349"/>
                    <a:pt x="347" y="8349"/>
                  </a:cubicBezTo>
                  <a:lnTo>
                    <a:pt x="7278" y="8349"/>
                  </a:lnTo>
                  <a:cubicBezTo>
                    <a:pt x="7499" y="8349"/>
                    <a:pt x="7656" y="8192"/>
                    <a:pt x="7656" y="8003"/>
                  </a:cubicBezTo>
                  <a:lnTo>
                    <a:pt x="7656" y="7310"/>
                  </a:lnTo>
                  <a:cubicBezTo>
                    <a:pt x="7593" y="6837"/>
                    <a:pt x="7341" y="6428"/>
                    <a:pt x="6932" y="6302"/>
                  </a:cubicBezTo>
                  <a:lnTo>
                    <a:pt x="6932" y="3120"/>
                  </a:lnTo>
                  <a:cubicBezTo>
                    <a:pt x="6932" y="1387"/>
                    <a:pt x="5514" y="1"/>
                    <a:pt x="3813"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9819" name="Google Shape;9819;p110"/>
            <p:cNvSpPr/>
            <p:nvPr/>
          </p:nvSpPr>
          <p:spPr>
            <a:xfrm>
              <a:off x="-25602250" y="2497950"/>
              <a:ext cx="53575" cy="17350"/>
            </a:xfrm>
            <a:custGeom>
              <a:avLst/>
              <a:gdLst/>
              <a:ahLst/>
              <a:cxnLst/>
              <a:rect l="l" t="t" r="r" b="b"/>
              <a:pathLst>
                <a:path w="2143" h="694" extrusionOk="0">
                  <a:moveTo>
                    <a:pt x="378" y="0"/>
                  </a:moveTo>
                  <a:cubicBezTo>
                    <a:pt x="158" y="0"/>
                    <a:pt x="0" y="158"/>
                    <a:pt x="0" y="347"/>
                  </a:cubicBezTo>
                  <a:cubicBezTo>
                    <a:pt x="0" y="536"/>
                    <a:pt x="158" y="693"/>
                    <a:pt x="378" y="693"/>
                  </a:cubicBezTo>
                  <a:lnTo>
                    <a:pt x="1796" y="693"/>
                  </a:lnTo>
                  <a:cubicBezTo>
                    <a:pt x="1985" y="693"/>
                    <a:pt x="2143" y="536"/>
                    <a:pt x="2143" y="347"/>
                  </a:cubicBezTo>
                  <a:cubicBezTo>
                    <a:pt x="2143" y="158"/>
                    <a:pt x="1985" y="0"/>
                    <a:pt x="1796"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9820" name="Google Shape;9820;p110"/>
            <p:cNvSpPr/>
            <p:nvPr/>
          </p:nvSpPr>
          <p:spPr>
            <a:xfrm>
              <a:off x="-25844850" y="2497950"/>
              <a:ext cx="52800" cy="17350"/>
            </a:xfrm>
            <a:custGeom>
              <a:avLst/>
              <a:gdLst/>
              <a:ahLst/>
              <a:cxnLst/>
              <a:rect l="l" t="t" r="r" b="b"/>
              <a:pathLst>
                <a:path w="2112" h="694" extrusionOk="0">
                  <a:moveTo>
                    <a:pt x="347" y="0"/>
                  </a:moveTo>
                  <a:cubicBezTo>
                    <a:pt x="158" y="0"/>
                    <a:pt x="1" y="158"/>
                    <a:pt x="1" y="347"/>
                  </a:cubicBezTo>
                  <a:cubicBezTo>
                    <a:pt x="1" y="536"/>
                    <a:pt x="158" y="693"/>
                    <a:pt x="347" y="693"/>
                  </a:cubicBezTo>
                  <a:lnTo>
                    <a:pt x="1765" y="693"/>
                  </a:lnTo>
                  <a:cubicBezTo>
                    <a:pt x="1954" y="693"/>
                    <a:pt x="2112" y="536"/>
                    <a:pt x="2112" y="347"/>
                  </a:cubicBezTo>
                  <a:cubicBezTo>
                    <a:pt x="2080" y="158"/>
                    <a:pt x="1923" y="0"/>
                    <a:pt x="1765"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9821" name="Google Shape;9821;p110"/>
            <p:cNvSpPr/>
            <p:nvPr/>
          </p:nvSpPr>
          <p:spPr>
            <a:xfrm>
              <a:off x="-25706225" y="2357750"/>
              <a:ext cx="17350" cy="53575"/>
            </a:xfrm>
            <a:custGeom>
              <a:avLst/>
              <a:gdLst/>
              <a:ahLst/>
              <a:cxnLst/>
              <a:rect l="l" t="t" r="r" b="b"/>
              <a:pathLst>
                <a:path w="694" h="2143" extrusionOk="0">
                  <a:moveTo>
                    <a:pt x="347" y="0"/>
                  </a:moveTo>
                  <a:cubicBezTo>
                    <a:pt x="158" y="0"/>
                    <a:pt x="1" y="158"/>
                    <a:pt x="1" y="347"/>
                  </a:cubicBezTo>
                  <a:lnTo>
                    <a:pt x="1" y="1764"/>
                  </a:lnTo>
                  <a:cubicBezTo>
                    <a:pt x="1" y="1985"/>
                    <a:pt x="158" y="2143"/>
                    <a:pt x="347" y="2143"/>
                  </a:cubicBezTo>
                  <a:cubicBezTo>
                    <a:pt x="536" y="2143"/>
                    <a:pt x="694" y="1985"/>
                    <a:pt x="694" y="1764"/>
                  </a:cubicBezTo>
                  <a:lnTo>
                    <a:pt x="694" y="347"/>
                  </a:lnTo>
                  <a:cubicBezTo>
                    <a:pt x="694" y="158"/>
                    <a:pt x="536" y="0"/>
                    <a:pt x="347"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9822" name="Google Shape;9822;p110"/>
            <p:cNvSpPr/>
            <p:nvPr/>
          </p:nvSpPr>
          <p:spPr>
            <a:xfrm>
              <a:off x="-25804675" y="2400275"/>
              <a:ext cx="42550" cy="41775"/>
            </a:xfrm>
            <a:custGeom>
              <a:avLst/>
              <a:gdLst/>
              <a:ahLst/>
              <a:cxnLst/>
              <a:rect l="l" t="t" r="r" b="b"/>
              <a:pathLst>
                <a:path w="1702" h="1671" extrusionOk="0">
                  <a:moveTo>
                    <a:pt x="351" y="0"/>
                  </a:moveTo>
                  <a:cubicBezTo>
                    <a:pt x="260" y="0"/>
                    <a:pt x="174" y="32"/>
                    <a:pt x="127" y="95"/>
                  </a:cubicBezTo>
                  <a:cubicBezTo>
                    <a:pt x="0" y="189"/>
                    <a:pt x="0" y="442"/>
                    <a:pt x="127" y="568"/>
                  </a:cubicBezTo>
                  <a:lnTo>
                    <a:pt x="1103" y="1544"/>
                  </a:lnTo>
                  <a:cubicBezTo>
                    <a:pt x="1166" y="1607"/>
                    <a:pt x="1261" y="1670"/>
                    <a:pt x="1324" y="1670"/>
                  </a:cubicBezTo>
                  <a:cubicBezTo>
                    <a:pt x="1418" y="1670"/>
                    <a:pt x="1544" y="1607"/>
                    <a:pt x="1576" y="1544"/>
                  </a:cubicBezTo>
                  <a:cubicBezTo>
                    <a:pt x="1702" y="1418"/>
                    <a:pt x="1702" y="1198"/>
                    <a:pt x="1576" y="1072"/>
                  </a:cubicBezTo>
                  <a:lnTo>
                    <a:pt x="599" y="95"/>
                  </a:lnTo>
                  <a:cubicBezTo>
                    <a:pt x="536" y="32"/>
                    <a:pt x="442" y="0"/>
                    <a:pt x="351"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9823" name="Google Shape;9823;p110"/>
            <p:cNvSpPr/>
            <p:nvPr/>
          </p:nvSpPr>
          <p:spPr>
            <a:xfrm>
              <a:off x="-25632175" y="2400275"/>
              <a:ext cx="41750" cy="41775"/>
            </a:xfrm>
            <a:custGeom>
              <a:avLst/>
              <a:gdLst/>
              <a:ahLst/>
              <a:cxnLst/>
              <a:rect l="l" t="t" r="r" b="b"/>
              <a:pathLst>
                <a:path w="1670" h="1671" extrusionOk="0">
                  <a:moveTo>
                    <a:pt x="1327" y="0"/>
                  </a:moveTo>
                  <a:cubicBezTo>
                    <a:pt x="1237" y="0"/>
                    <a:pt x="1150" y="32"/>
                    <a:pt x="1103" y="95"/>
                  </a:cubicBezTo>
                  <a:lnTo>
                    <a:pt x="95" y="1072"/>
                  </a:lnTo>
                  <a:cubicBezTo>
                    <a:pt x="0" y="1198"/>
                    <a:pt x="0" y="1418"/>
                    <a:pt x="95" y="1544"/>
                  </a:cubicBezTo>
                  <a:cubicBezTo>
                    <a:pt x="158" y="1607"/>
                    <a:pt x="252" y="1670"/>
                    <a:pt x="347" y="1670"/>
                  </a:cubicBezTo>
                  <a:cubicBezTo>
                    <a:pt x="410" y="1670"/>
                    <a:pt x="536" y="1607"/>
                    <a:pt x="567" y="1544"/>
                  </a:cubicBezTo>
                  <a:lnTo>
                    <a:pt x="1575" y="568"/>
                  </a:lnTo>
                  <a:cubicBezTo>
                    <a:pt x="1670" y="442"/>
                    <a:pt x="1670" y="189"/>
                    <a:pt x="1575" y="95"/>
                  </a:cubicBezTo>
                  <a:cubicBezTo>
                    <a:pt x="1512" y="32"/>
                    <a:pt x="1418" y="0"/>
                    <a:pt x="1327"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sp>
        <p:nvSpPr>
          <p:cNvPr id="9824" name="Google Shape;9824;p110"/>
          <p:cNvSpPr/>
          <p:nvPr/>
        </p:nvSpPr>
        <p:spPr>
          <a:xfrm>
            <a:off x="10642761" y="3266822"/>
            <a:ext cx="478440" cy="471863"/>
          </a:xfrm>
          <a:custGeom>
            <a:avLst/>
            <a:gdLst/>
            <a:ahLst/>
            <a:cxnLst/>
            <a:rect l="l" t="t" r="r" b="b"/>
            <a:pathLst>
              <a:path w="12004" h="11839" extrusionOk="0">
                <a:moveTo>
                  <a:pt x="7435" y="685"/>
                </a:moveTo>
                <a:cubicBezTo>
                  <a:pt x="7530" y="685"/>
                  <a:pt x="7656" y="748"/>
                  <a:pt x="7687" y="811"/>
                </a:cubicBezTo>
                <a:lnTo>
                  <a:pt x="11121" y="4246"/>
                </a:lnTo>
                <a:cubicBezTo>
                  <a:pt x="11279" y="4372"/>
                  <a:pt x="11279" y="4592"/>
                  <a:pt x="11121" y="4718"/>
                </a:cubicBezTo>
                <a:cubicBezTo>
                  <a:pt x="11058" y="4781"/>
                  <a:pt x="10964" y="4813"/>
                  <a:pt x="10873" y="4813"/>
                </a:cubicBezTo>
                <a:cubicBezTo>
                  <a:pt x="10783" y="4813"/>
                  <a:pt x="10696" y="4781"/>
                  <a:pt x="10649" y="4718"/>
                </a:cubicBezTo>
                <a:lnTo>
                  <a:pt x="7215" y="1284"/>
                </a:lnTo>
                <a:cubicBezTo>
                  <a:pt x="7089" y="1158"/>
                  <a:pt x="7089" y="938"/>
                  <a:pt x="7215" y="811"/>
                </a:cubicBezTo>
                <a:cubicBezTo>
                  <a:pt x="7278" y="748"/>
                  <a:pt x="7372" y="685"/>
                  <a:pt x="7435" y="685"/>
                </a:cubicBezTo>
                <a:close/>
                <a:moveTo>
                  <a:pt x="7971" y="2985"/>
                </a:moveTo>
                <a:lnTo>
                  <a:pt x="8948" y="3962"/>
                </a:lnTo>
                <a:lnTo>
                  <a:pt x="7404" y="5506"/>
                </a:lnTo>
                <a:lnTo>
                  <a:pt x="6427" y="4529"/>
                </a:lnTo>
                <a:lnTo>
                  <a:pt x="7971" y="2985"/>
                </a:lnTo>
                <a:close/>
                <a:moveTo>
                  <a:pt x="5923" y="5033"/>
                </a:moveTo>
                <a:lnTo>
                  <a:pt x="6900" y="6010"/>
                </a:lnTo>
                <a:lnTo>
                  <a:pt x="6459" y="6451"/>
                </a:lnTo>
                <a:cubicBezTo>
                  <a:pt x="6135" y="6775"/>
                  <a:pt x="5672" y="6937"/>
                  <a:pt x="5229" y="6937"/>
                </a:cubicBezTo>
                <a:cubicBezTo>
                  <a:pt x="5155" y="6937"/>
                  <a:pt x="5082" y="6932"/>
                  <a:pt x="5010" y="6923"/>
                </a:cubicBezTo>
                <a:cubicBezTo>
                  <a:pt x="4946" y="6356"/>
                  <a:pt x="5136" y="5821"/>
                  <a:pt x="5482" y="5474"/>
                </a:cubicBezTo>
                <a:lnTo>
                  <a:pt x="5923" y="5033"/>
                </a:lnTo>
                <a:close/>
                <a:moveTo>
                  <a:pt x="6931" y="1946"/>
                </a:moveTo>
                <a:lnTo>
                  <a:pt x="7404" y="2418"/>
                </a:lnTo>
                <a:lnTo>
                  <a:pt x="4978" y="4876"/>
                </a:lnTo>
                <a:cubicBezTo>
                  <a:pt x="4379" y="5443"/>
                  <a:pt x="4127" y="6230"/>
                  <a:pt x="4285" y="7081"/>
                </a:cubicBezTo>
                <a:lnTo>
                  <a:pt x="4348" y="7175"/>
                </a:lnTo>
                <a:cubicBezTo>
                  <a:pt x="4379" y="7301"/>
                  <a:pt x="4442" y="7427"/>
                  <a:pt x="4600" y="7459"/>
                </a:cubicBezTo>
                <a:lnTo>
                  <a:pt x="4726" y="7491"/>
                </a:lnTo>
                <a:cubicBezTo>
                  <a:pt x="4883" y="7554"/>
                  <a:pt x="5041" y="7554"/>
                  <a:pt x="5199" y="7554"/>
                </a:cubicBezTo>
                <a:cubicBezTo>
                  <a:pt x="5829" y="7554"/>
                  <a:pt x="6459" y="7301"/>
                  <a:pt x="6931" y="6829"/>
                </a:cubicBezTo>
                <a:lnTo>
                  <a:pt x="9389" y="4403"/>
                </a:lnTo>
                <a:lnTo>
                  <a:pt x="9861" y="4876"/>
                </a:lnTo>
                <a:lnTo>
                  <a:pt x="7687" y="7207"/>
                </a:lnTo>
                <a:cubicBezTo>
                  <a:pt x="6964" y="7905"/>
                  <a:pt x="6050" y="8306"/>
                  <a:pt x="5066" y="8306"/>
                </a:cubicBezTo>
                <a:cubicBezTo>
                  <a:pt x="4851" y="8306"/>
                  <a:pt x="4632" y="8286"/>
                  <a:pt x="4411" y="8247"/>
                </a:cubicBezTo>
                <a:lnTo>
                  <a:pt x="4348" y="8247"/>
                </a:lnTo>
                <a:cubicBezTo>
                  <a:pt x="4222" y="8247"/>
                  <a:pt x="4096" y="8310"/>
                  <a:pt x="4033" y="8341"/>
                </a:cubicBezTo>
                <a:lnTo>
                  <a:pt x="2080" y="10263"/>
                </a:lnTo>
                <a:lnTo>
                  <a:pt x="1607" y="9790"/>
                </a:lnTo>
                <a:lnTo>
                  <a:pt x="3560" y="7869"/>
                </a:lnTo>
                <a:cubicBezTo>
                  <a:pt x="3623" y="7774"/>
                  <a:pt x="3655" y="7680"/>
                  <a:pt x="3623" y="7554"/>
                </a:cubicBezTo>
                <a:lnTo>
                  <a:pt x="3623" y="7459"/>
                </a:lnTo>
                <a:cubicBezTo>
                  <a:pt x="3466" y="6293"/>
                  <a:pt x="3875" y="5065"/>
                  <a:pt x="4694" y="4214"/>
                </a:cubicBezTo>
                <a:lnTo>
                  <a:pt x="6931" y="1946"/>
                </a:lnTo>
                <a:close/>
                <a:moveTo>
                  <a:pt x="1103" y="10357"/>
                </a:moveTo>
                <a:lnTo>
                  <a:pt x="1575" y="10830"/>
                </a:lnTo>
                <a:lnTo>
                  <a:pt x="1355" y="11051"/>
                </a:lnTo>
                <a:cubicBezTo>
                  <a:pt x="1292" y="11114"/>
                  <a:pt x="1213" y="11145"/>
                  <a:pt x="1130" y="11145"/>
                </a:cubicBezTo>
                <a:cubicBezTo>
                  <a:pt x="1048" y="11145"/>
                  <a:pt x="961" y="11114"/>
                  <a:pt x="882" y="11051"/>
                </a:cubicBezTo>
                <a:cubicBezTo>
                  <a:pt x="756" y="10925"/>
                  <a:pt x="756" y="10704"/>
                  <a:pt x="882" y="10578"/>
                </a:cubicBezTo>
                <a:lnTo>
                  <a:pt x="1103" y="10357"/>
                </a:lnTo>
                <a:close/>
                <a:moveTo>
                  <a:pt x="7479" y="0"/>
                </a:moveTo>
                <a:cubicBezTo>
                  <a:pt x="7215" y="0"/>
                  <a:pt x="6947" y="103"/>
                  <a:pt x="6742" y="307"/>
                </a:cubicBezTo>
                <a:cubicBezTo>
                  <a:pt x="6427" y="622"/>
                  <a:pt x="6364" y="1095"/>
                  <a:pt x="6553" y="1473"/>
                </a:cubicBezTo>
                <a:lnTo>
                  <a:pt x="4253" y="3773"/>
                </a:lnTo>
                <a:cubicBezTo>
                  <a:pt x="3277" y="4750"/>
                  <a:pt x="2804" y="6136"/>
                  <a:pt x="2962" y="7522"/>
                </a:cubicBezTo>
                <a:lnTo>
                  <a:pt x="410" y="10074"/>
                </a:lnTo>
                <a:cubicBezTo>
                  <a:pt x="0" y="10452"/>
                  <a:pt x="0" y="11145"/>
                  <a:pt x="410" y="11523"/>
                </a:cubicBezTo>
                <a:cubicBezTo>
                  <a:pt x="599" y="11712"/>
                  <a:pt x="882" y="11838"/>
                  <a:pt x="1134" y="11838"/>
                </a:cubicBezTo>
                <a:cubicBezTo>
                  <a:pt x="1418" y="11838"/>
                  <a:pt x="1701" y="11712"/>
                  <a:pt x="1891" y="11523"/>
                </a:cubicBezTo>
                <a:lnTo>
                  <a:pt x="4442" y="8971"/>
                </a:lnTo>
                <a:cubicBezTo>
                  <a:pt x="4618" y="8991"/>
                  <a:pt x="4793" y="9001"/>
                  <a:pt x="4968" y="9001"/>
                </a:cubicBezTo>
                <a:cubicBezTo>
                  <a:pt x="6173" y="9001"/>
                  <a:pt x="7338" y="8533"/>
                  <a:pt x="8192" y="7680"/>
                </a:cubicBezTo>
                <a:lnTo>
                  <a:pt x="10491" y="5380"/>
                </a:lnTo>
                <a:cubicBezTo>
                  <a:pt x="10649" y="5443"/>
                  <a:pt x="10743" y="5506"/>
                  <a:pt x="10901" y="5506"/>
                </a:cubicBezTo>
                <a:cubicBezTo>
                  <a:pt x="11184" y="5506"/>
                  <a:pt x="11468" y="5380"/>
                  <a:pt x="11657" y="5191"/>
                </a:cubicBezTo>
                <a:cubicBezTo>
                  <a:pt x="12004" y="4781"/>
                  <a:pt x="12004" y="4119"/>
                  <a:pt x="11626" y="3741"/>
                </a:cubicBezTo>
                <a:lnTo>
                  <a:pt x="8192" y="307"/>
                </a:lnTo>
                <a:cubicBezTo>
                  <a:pt x="8002" y="103"/>
                  <a:pt x="7743" y="0"/>
                  <a:pt x="7479"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nvGrpSpPr>
          <p:cNvPr id="9825" name="Google Shape;9825;p110"/>
          <p:cNvGrpSpPr/>
          <p:nvPr/>
        </p:nvGrpSpPr>
        <p:grpSpPr>
          <a:xfrm>
            <a:off x="8950511" y="3855821"/>
            <a:ext cx="305183" cy="470947"/>
            <a:chOff x="-23917525" y="1970225"/>
            <a:chExt cx="191425" cy="295400"/>
          </a:xfrm>
        </p:grpSpPr>
        <p:sp>
          <p:nvSpPr>
            <p:cNvPr id="9826" name="Google Shape;9826;p110"/>
            <p:cNvSpPr/>
            <p:nvPr/>
          </p:nvSpPr>
          <p:spPr>
            <a:xfrm>
              <a:off x="-23917525" y="1970225"/>
              <a:ext cx="191425" cy="295400"/>
            </a:xfrm>
            <a:custGeom>
              <a:avLst/>
              <a:gdLst/>
              <a:ahLst/>
              <a:cxnLst/>
              <a:rect l="l" t="t" r="r" b="b"/>
              <a:pathLst>
                <a:path w="7657" h="11816" extrusionOk="0">
                  <a:moveTo>
                    <a:pt x="6616" y="694"/>
                  </a:moveTo>
                  <a:cubicBezTo>
                    <a:pt x="6805" y="694"/>
                    <a:pt x="6963" y="851"/>
                    <a:pt x="6963" y="1072"/>
                  </a:cubicBezTo>
                  <a:lnTo>
                    <a:pt x="6963" y="1450"/>
                  </a:lnTo>
                  <a:lnTo>
                    <a:pt x="725" y="1450"/>
                  </a:lnTo>
                  <a:lnTo>
                    <a:pt x="725" y="1072"/>
                  </a:lnTo>
                  <a:cubicBezTo>
                    <a:pt x="725" y="851"/>
                    <a:pt x="883" y="694"/>
                    <a:pt x="1072" y="694"/>
                  </a:cubicBezTo>
                  <a:close/>
                  <a:moveTo>
                    <a:pt x="6994" y="2175"/>
                  </a:moveTo>
                  <a:lnTo>
                    <a:pt x="6994" y="8413"/>
                  </a:lnTo>
                  <a:lnTo>
                    <a:pt x="725" y="8413"/>
                  </a:lnTo>
                  <a:lnTo>
                    <a:pt x="725" y="2175"/>
                  </a:lnTo>
                  <a:close/>
                  <a:moveTo>
                    <a:pt x="6931" y="9106"/>
                  </a:moveTo>
                  <a:lnTo>
                    <a:pt x="6931" y="10838"/>
                  </a:lnTo>
                  <a:cubicBezTo>
                    <a:pt x="6931" y="11028"/>
                    <a:pt x="6774" y="11185"/>
                    <a:pt x="6585" y="11185"/>
                  </a:cubicBezTo>
                  <a:lnTo>
                    <a:pt x="1040" y="11185"/>
                  </a:lnTo>
                  <a:cubicBezTo>
                    <a:pt x="819" y="11185"/>
                    <a:pt x="662" y="11028"/>
                    <a:pt x="662" y="10838"/>
                  </a:cubicBezTo>
                  <a:lnTo>
                    <a:pt x="662" y="9106"/>
                  </a:lnTo>
                  <a:close/>
                  <a:moveTo>
                    <a:pt x="1040" y="1"/>
                  </a:moveTo>
                  <a:cubicBezTo>
                    <a:pt x="441" y="1"/>
                    <a:pt x="0" y="473"/>
                    <a:pt x="0" y="1009"/>
                  </a:cubicBezTo>
                  <a:lnTo>
                    <a:pt x="0" y="10775"/>
                  </a:lnTo>
                  <a:cubicBezTo>
                    <a:pt x="0" y="11374"/>
                    <a:pt x="473" y="11815"/>
                    <a:pt x="1040" y="11815"/>
                  </a:cubicBezTo>
                  <a:lnTo>
                    <a:pt x="6585" y="11815"/>
                  </a:lnTo>
                  <a:cubicBezTo>
                    <a:pt x="7184" y="11815"/>
                    <a:pt x="7593" y="11343"/>
                    <a:pt x="7593" y="10775"/>
                  </a:cubicBezTo>
                  <a:lnTo>
                    <a:pt x="7593" y="1009"/>
                  </a:lnTo>
                  <a:cubicBezTo>
                    <a:pt x="7656" y="473"/>
                    <a:pt x="7184" y="1"/>
                    <a:pt x="6585"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9827" name="Google Shape;9827;p110"/>
            <p:cNvSpPr/>
            <p:nvPr/>
          </p:nvSpPr>
          <p:spPr>
            <a:xfrm>
              <a:off x="-23882075" y="2041125"/>
              <a:ext cx="121300" cy="121325"/>
            </a:xfrm>
            <a:custGeom>
              <a:avLst/>
              <a:gdLst/>
              <a:ahLst/>
              <a:cxnLst/>
              <a:rect l="l" t="t" r="r" b="b"/>
              <a:pathLst>
                <a:path w="4852" h="4853" extrusionOk="0">
                  <a:moveTo>
                    <a:pt x="2773" y="662"/>
                  </a:moveTo>
                  <a:lnTo>
                    <a:pt x="2773" y="1702"/>
                  </a:lnTo>
                  <a:cubicBezTo>
                    <a:pt x="2773" y="1891"/>
                    <a:pt x="2930" y="2048"/>
                    <a:pt x="3119" y="2048"/>
                  </a:cubicBezTo>
                  <a:lnTo>
                    <a:pt x="4127" y="2048"/>
                  </a:lnTo>
                  <a:lnTo>
                    <a:pt x="4127" y="2773"/>
                  </a:lnTo>
                  <a:lnTo>
                    <a:pt x="3119" y="2773"/>
                  </a:lnTo>
                  <a:cubicBezTo>
                    <a:pt x="2930" y="2773"/>
                    <a:pt x="2773" y="2962"/>
                    <a:pt x="2773" y="3151"/>
                  </a:cubicBezTo>
                  <a:lnTo>
                    <a:pt x="2773" y="4159"/>
                  </a:lnTo>
                  <a:lnTo>
                    <a:pt x="2048" y="4159"/>
                  </a:lnTo>
                  <a:lnTo>
                    <a:pt x="2048" y="3119"/>
                  </a:lnTo>
                  <a:cubicBezTo>
                    <a:pt x="2048" y="2899"/>
                    <a:pt x="1890" y="2741"/>
                    <a:pt x="1701" y="2741"/>
                  </a:cubicBezTo>
                  <a:lnTo>
                    <a:pt x="662" y="2741"/>
                  </a:lnTo>
                  <a:lnTo>
                    <a:pt x="662" y="2048"/>
                  </a:lnTo>
                  <a:lnTo>
                    <a:pt x="1701" y="2048"/>
                  </a:lnTo>
                  <a:cubicBezTo>
                    <a:pt x="1890" y="2048"/>
                    <a:pt x="2048" y="1891"/>
                    <a:pt x="2048" y="1702"/>
                  </a:cubicBezTo>
                  <a:lnTo>
                    <a:pt x="2048" y="662"/>
                  </a:lnTo>
                  <a:close/>
                  <a:moveTo>
                    <a:pt x="1733" y="0"/>
                  </a:moveTo>
                  <a:cubicBezTo>
                    <a:pt x="1544" y="0"/>
                    <a:pt x="1386" y="158"/>
                    <a:pt x="1386" y="347"/>
                  </a:cubicBezTo>
                  <a:lnTo>
                    <a:pt x="1386" y="1386"/>
                  </a:lnTo>
                  <a:lnTo>
                    <a:pt x="347" y="1386"/>
                  </a:lnTo>
                  <a:cubicBezTo>
                    <a:pt x="158" y="1386"/>
                    <a:pt x="0" y="1544"/>
                    <a:pt x="0" y="1733"/>
                  </a:cubicBezTo>
                  <a:lnTo>
                    <a:pt x="0" y="3119"/>
                  </a:lnTo>
                  <a:cubicBezTo>
                    <a:pt x="0" y="3308"/>
                    <a:pt x="158" y="3466"/>
                    <a:pt x="347" y="3466"/>
                  </a:cubicBezTo>
                  <a:lnTo>
                    <a:pt x="1386" y="3466"/>
                  </a:lnTo>
                  <a:lnTo>
                    <a:pt x="1386" y="4474"/>
                  </a:lnTo>
                  <a:cubicBezTo>
                    <a:pt x="1386" y="4694"/>
                    <a:pt x="1544" y="4852"/>
                    <a:pt x="1733" y="4852"/>
                  </a:cubicBezTo>
                  <a:lnTo>
                    <a:pt x="3119" y="4852"/>
                  </a:lnTo>
                  <a:cubicBezTo>
                    <a:pt x="3308" y="4852"/>
                    <a:pt x="3466" y="4694"/>
                    <a:pt x="3466" y="4474"/>
                  </a:cubicBezTo>
                  <a:lnTo>
                    <a:pt x="3466" y="3466"/>
                  </a:lnTo>
                  <a:lnTo>
                    <a:pt x="4505" y="3466"/>
                  </a:lnTo>
                  <a:cubicBezTo>
                    <a:pt x="4694" y="3466"/>
                    <a:pt x="4852" y="3308"/>
                    <a:pt x="4852" y="3119"/>
                  </a:cubicBezTo>
                  <a:lnTo>
                    <a:pt x="4852" y="1733"/>
                  </a:lnTo>
                  <a:cubicBezTo>
                    <a:pt x="4852" y="1544"/>
                    <a:pt x="4694" y="1386"/>
                    <a:pt x="4505" y="1386"/>
                  </a:cubicBezTo>
                  <a:lnTo>
                    <a:pt x="3466" y="1386"/>
                  </a:lnTo>
                  <a:lnTo>
                    <a:pt x="3466" y="347"/>
                  </a:lnTo>
                  <a:cubicBezTo>
                    <a:pt x="3466" y="158"/>
                    <a:pt x="3308" y="0"/>
                    <a:pt x="3119"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9828" name="Google Shape;9828;p110"/>
            <p:cNvSpPr/>
            <p:nvPr/>
          </p:nvSpPr>
          <p:spPr>
            <a:xfrm>
              <a:off x="-23839550" y="2214400"/>
              <a:ext cx="35475" cy="17350"/>
            </a:xfrm>
            <a:custGeom>
              <a:avLst/>
              <a:gdLst/>
              <a:ahLst/>
              <a:cxnLst/>
              <a:rect l="l" t="t" r="r" b="b"/>
              <a:pathLst>
                <a:path w="1419" h="694" extrusionOk="0">
                  <a:moveTo>
                    <a:pt x="347" y="0"/>
                  </a:moveTo>
                  <a:cubicBezTo>
                    <a:pt x="158" y="0"/>
                    <a:pt x="0" y="158"/>
                    <a:pt x="0" y="347"/>
                  </a:cubicBezTo>
                  <a:cubicBezTo>
                    <a:pt x="0" y="536"/>
                    <a:pt x="158" y="693"/>
                    <a:pt x="347" y="693"/>
                  </a:cubicBezTo>
                  <a:lnTo>
                    <a:pt x="1072" y="693"/>
                  </a:lnTo>
                  <a:cubicBezTo>
                    <a:pt x="1261" y="693"/>
                    <a:pt x="1418" y="536"/>
                    <a:pt x="1418" y="347"/>
                  </a:cubicBezTo>
                  <a:cubicBezTo>
                    <a:pt x="1418" y="158"/>
                    <a:pt x="1261" y="0"/>
                    <a:pt x="1072"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9829" name="Google Shape;9829;p110"/>
          <p:cNvGrpSpPr/>
          <p:nvPr/>
        </p:nvGrpSpPr>
        <p:grpSpPr>
          <a:xfrm>
            <a:off x="8890886" y="4451659"/>
            <a:ext cx="424433" cy="472143"/>
            <a:chOff x="-23952175" y="2340425"/>
            <a:chExt cx="266225" cy="296150"/>
          </a:xfrm>
        </p:grpSpPr>
        <p:sp>
          <p:nvSpPr>
            <p:cNvPr id="9830" name="Google Shape;9830;p110"/>
            <p:cNvSpPr/>
            <p:nvPr/>
          </p:nvSpPr>
          <p:spPr>
            <a:xfrm>
              <a:off x="-23952175" y="2340425"/>
              <a:ext cx="266225" cy="296150"/>
            </a:xfrm>
            <a:custGeom>
              <a:avLst/>
              <a:gdLst/>
              <a:ahLst/>
              <a:cxnLst/>
              <a:rect l="l" t="t" r="r" b="b"/>
              <a:pathLst>
                <a:path w="10649" h="11846" extrusionOk="0">
                  <a:moveTo>
                    <a:pt x="3844" y="693"/>
                  </a:moveTo>
                  <a:cubicBezTo>
                    <a:pt x="4033" y="693"/>
                    <a:pt x="4190" y="851"/>
                    <a:pt x="4190" y="1040"/>
                  </a:cubicBezTo>
                  <a:lnTo>
                    <a:pt x="4190" y="1449"/>
                  </a:lnTo>
                  <a:lnTo>
                    <a:pt x="2804" y="1449"/>
                  </a:lnTo>
                  <a:lnTo>
                    <a:pt x="2804" y="1040"/>
                  </a:lnTo>
                  <a:lnTo>
                    <a:pt x="2773" y="1040"/>
                  </a:lnTo>
                  <a:cubicBezTo>
                    <a:pt x="2773" y="851"/>
                    <a:pt x="2930" y="693"/>
                    <a:pt x="3119" y="693"/>
                  </a:cubicBezTo>
                  <a:close/>
                  <a:moveTo>
                    <a:pt x="5230" y="2111"/>
                  </a:moveTo>
                  <a:cubicBezTo>
                    <a:pt x="5608" y="2111"/>
                    <a:pt x="5955" y="2363"/>
                    <a:pt x="6175" y="2710"/>
                  </a:cubicBezTo>
                  <a:cubicBezTo>
                    <a:pt x="5703" y="2993"/>
                    <a:pt x="5387" y="3497"/>
                    <a:pt x="5387" y="4096"/>
                  </a:cubicBezTo>
                  <a:cubicBezTo>
                    <a:pt x="5387" y="4442"/>
                    <a:pt x="5482" y="4726"/>
                    <a:pt x="5640" y="4946"/>
                  </a:cubicBezTo>
                  <a:cubicBezTo>
                    <a:pt x="5547" y="4960"/>
                    <a:pt x="5454" y="4966"/>
                    <a:pt x="5362" y="4966"/>
                  </a:cubicBezTo>
                  <a:cubicBezTo>
                    <a:pt x="4796" y="4966"/>
                    <a:pt x="4246" y="4723"/>
                    <a:pt x="3812" y="4316"/>
                  </a:cubicBezTo>
                  <a:lnTo>
                    <a:pt x="3718" y="4253"/>
                  </a:lnTo>
                  <a:cubicBezTo>
                    <a:pt x="3245" y="3812"/>
                    <a:pt x="2647" y="3529"/>
                    <a:pt x="2016" y="3466"/>
                  </a:cubicBezTo>
                  <a:cubicBezTo>
                    <a:pt x="1874" y="3433"/>
                    <a:pt x="1727" y="3419"/>
                    <a:pt x="1578" y="3419"/>
                  </a:cubicBezTo>
                  <a:cubicBezTo>
                    <a:pt x="1299" y="3419"/>
                    <a:pt x="1012" y="3467"/>
                    <a:pt x="725" y="3529"/>
                  </a:cubicBezTo>
                  <a:lnTo>
                    <a:pt x="725" y="3151"/>
                  </a:lnTo>
                  <a:cubicBezTo>
                    <a:pt x="693" y="2583"/>
                    <a:pt x="1166" y="2111"/>
                    <a:pt x="1733" y="2111"/>
                  </a:cubicBezTo>
                  <a:close/>
                  <a:moveTo>
                    <a:pt x="8979" y="3182"/>
                  </a:moveTo>
                  <a:cubicBezTo>
                    <a:pt x="9515" y="3182"/>
                    <a:pt x="9924" y="3623"/>
                    <a:pt x="9924" y="4127"/>
                  </a:cubicBezTo>
                  <a:cubicBezTo>
                    <a:pt x="9924" y="4568"/>
                    <a:pt x="9546" y="4883"/>
                    <a:pt x="9137" y="5198"/>
                  </a:cubicBezTo>
                  <a:cubicBezTo>
                    <a:pt x="9074" y="5230"/>
                    <a:pt x="8097" y="6112"/>
                    <a:pt x="7971" y="6207"/>
                  </a:cubicBezTo>
                  <a:cubicBezTo>
                    <a:pt x="7845" y="6144"/>
                    <a:pt x="6679" y="5104"/>
                    <a:pt x="6679" y="5104"/>
                  </a:cubicBezTo>
                  <a:cubicBezTo>
                    <a:pt x="6270" y="4757"/>
                    <a:pt x="5986" y="4505"/>
                    <a:pt x="5986" y="4127"/>
                  </a:cubicBezTo>
                  <a:cubicBezTo>
                    <a:pt x="5986" y="3623"/>
                    <a:pt x="6427" y="3182"/>
                    <a:pt x="6931" y="3182"/>
                  </a:cubicBezTo>
                  <a:cubicBezTo>
                    <a:pt x="7215" y="3182"/>
                    <a:pt x="7498" y="3308"/>
                    <a:pt x="7687" y="3529"/>
                  </a:cubicBezTo>
                  <a:cubicBezTo>
                    <a:pt x="7782" y="3623"/>
                    <a:pt x="7845" y="3686"/>
                    <a:pt x="7971" y="3686"/>
                  </a:cubicBezTo>
                  <a:cubicBezTo>
                    <a:pt x="8097" y="3686"/>
                    <a:pt x="8160" y="3655"/>
                    <a:pt x="8254" y="3529"/>
                  </a:cubicBezTo>
                  <a:cubicBezTo>
                    <a:pt x="8443" y="3308"/>
                    <a:pt x="8664" y="3182"/>
                    <a:pt x="8979" y="3182"/>
                  </a:cubicBezTo>
                  <a:close/>
                  <a:moveTo>
                    <a:pt x="1561" y="4127"/>
                  </a:moveTo>
                  <a:cubicBezTo>
                    <a:pt x="2142" y="4127"/>
                    <a:pt x="2710" y="4337"/>
                    <a:pt x="3151" y="4757"/>
                  </a:cubicBezTo>
                  <a:lnTo>
                    <a:pt x="3245" y="4820"/>
                  </a:lnTo>
                  <a:cubicBezTo>
                    <a:pt x="3844" y="5356"/>
                    <a:pt x="4568" y="5671"/>
                    <a:pt x="5324" y="5671"/>
                  </a:cubicBezTo>
                  <a:cubicBezTo>
                    <a:pt x="5608" y="5671"/>
                    <a:pt x="5860" y="5639"/>
                    <a:pt x="6112" y="5545"/>
                  </a:cubicBezTo>
                  <a:cubicBezTo>
                    <a:pt x="6144" y="5545"/>
                    <a:pt x="6144" y="5576"/>
                    <a:pt x="6207" y="5576"/>
                  </a:cubicBezTo>
                  <a:lnTo>
                    <a:pt x="6207" y="7278"/>
                  </a:lnTo>
                  <a:cubicBezTo>
                    <a:pt x="6207" y="7876"/>
                    <a:pt x="5734" y="8286"/>
                    <a:pt x="5167" y="8286"/>
                  </a:cubicBezTo>
                  <a:lnTo>
                    <a:pt x="1701" y="8286"/>
                  </a:lnTo>
                  <a:cubicBezTo>
                    <a:pt x="1655" y="8294"/>
                    <a:pt x="1610" y="8298"/>
                    <a:pt x="1565" y="8298"/>
                  </a:cubicBezTo>
                  <a:cubicBezTo>
                    <a:pt x="1088" y="8298"/>
                    <a:pt x="693" y="7856"/>
                    <a:pt x="693" y="7309"/>
                  </a:cubicBezTo>
                  <a:lnTo>
                    <a:pt x="693" y="4285"/>
                  </a:lnTo>
                  <a:cubicBezTo>
                    <a:pt x="977" y="4180"/>
                    <a:pt x="1271" y="4127"/>
                    <a:pt x="1561" y="4127"/>
                  </a:cubicBezTo>
                  <a:close/>
                  <a:moveTo>
                    <a:pt x="3844" y="9105"/>
                  </a:moveTo>
                  <a:lnTo>
                    <a:pt x="3844" y="9452"/>
                  </a:lnTo>
                  <a:cubicBezTo>
                    <a:pt x="3844" y="9641"/>
                    <a:pt x="3686" y="9798"/>
                    <a:pt x="3466" y="9798"/>
                  </a:cubicBezTo>
                  <a:cubicBezTo>
                    <a:pt x="3277" y="9798"/>
                    <a:pt x="3119" y="9641"/>
                    <a:pt x="3119" y="9452"/>
                  </a:cubicBezTo>
                  <a:lnTo>
                    <a:pt x="3119" y="9105"/>
                  </a:lnTo>
                  <a:close/>
                  <a:moveTo>
                    <a:pt x="6994" y="6207"/>
                  </a:moveTo>
                  <a:cubicBezTo>
                    <a:pt x="7057" y="6301"/>
                    <a:pt x="7530" y="6679"/>
                    <a:pt x="7687" y="6805"/>
                  </a:cubicBezTo>
                  <a:lnTo>
                    <a:pt x="7687" y="10082"/>
                  </a:lnTo>
                  <a:cubicBezTo>
                    <a:pt x="7656" y="10680"/>
                    <a:pt x="7183" y="11153"/>
                    <a:pt x="6585" y="11153"/>
                  </a:cubicBezTo>
                  <a:lnTo>
                    <a:pt x="4852" y="11153"/>
                  </a:lnTo>
                  <a:cubicBezTo>
                    <a:pt x="4379" y="11153"/>
                    <a:pt x="4001" y="10838"/>
                    <a:pt x="3875" y="10397"/>
                  </a:cubicBezTo>
                  <a:cubicBezTo>
                    <a:pt x="4253" y="10239"/>
                    <a:pt x="4537" y="9893"/>
                    <a:pt x="4537" y="9420"/>
                  </a:cubicBezTo>
                  <a:lnTo>
                    <a:pt x="4537" y="9042"/>
                  </a:lnTo>
                  <a:lnTo>
                    <a:pt x="5261" y="9042"/>
                  </a:lnTo>
                  <a:cubicBezTo>
                    <a:pt x="6207" y="9042"/>
                    <a:pt x="6994" y="8254"/>
                    <a:pt x="6994" y="7309"/>
                  </a:cubicBezTo>
                  <a:lnTo>
                    <a:pt x="6994" y="6207"/>
                  </a:lnTo>
                  <a:close/>
                  <a:moveTo>
                    <a:pt x="3119" y="0"/>
                  </a:moveTo>
                  <a:cubicBezTo>
                    <a:pt x="2521" y="0"/>
                    <a:pt x="2111" y="473"/>
                    <a:pt x="2111" y="1008"/>
                  </a:cubicBezTo>
                  <a:lnTo>
                    <a:pt x="2111" y="1418"/>
                  </a:lnTo>
                  <a:lnTo>
                    <a:pt x="1733" y="1418"/>
                  </a:lnTo>
                  <a:cubicBezTo>
                    <a:pt x="788" y="1418"/>
                    <a:pt x="0" y="2205"/>
                    <a:pt x="0" y="3151"/>
                  </a:cubicBezTo>
                  <a:lnTo>
                    <a:pt x="0" y="7309"/>
                  </a:lnTo>
                  <a:cubicBezTo>
                    <a:pt x="0" y="8254"/>
                    <a:pt x="788" y="9042"/>
                    <a:pt x="1733" y="9042"/>
                  </a:cubicBezTo>
                  <a:lnTo>
                    <a:pt x="2458" y="9042"/>
                  </a:lnTo>
                  <a:lnTo>
                    <a:pt x="2458" y="9420"/>
                  </a:lnTo>
                  <a:cubicBezTo>
                    <a:pt x="2458" y="9893"/>
                    <a:pt x="2773" y="10271"/>
                    <a:pt x="3182" y="10397"/>
                  </a:cubicBezTo>
                  <a:cubicBezTo>
                    <a:pt x="3340" y="11216"/>
                    <a:pt x="4033" y="11846"/>
                    <a:pt x="4852" y="11846"/>
                  </a:cubicBezTo>
                  <a:lnTo>
                    <a:pt x="6585" y="11846"/>
                  </a:lnTo>
                  <a:cubicBezTo>
                    <a:pt x="7530" y="11846"/>
                    <a:pt x="8317" y="11058"/>
                    <a:pt x="8317" y="10113"/>
                  </a:cubicBezTo>
                  <a:lnTo>
                    <a:pt x="8317" y="6837"/>
                  </a:lnTo>
                  <a:cubicBezTo>
                    <a:pt x="8443" y="6742"/>
                    <a:pt x="9546" y="5797"/>
                    <a:pt x="9578" y="5734"/>
                  </a:cubicBezTo>
                  <a:cubicBezTo>
                    <a:pt x="10050" y="5356"/>
                    <a:pt x="10617" y="4883"/>
                    <a:pt x="10617" y="4127"/>
                  </a:cubicBezTo>
                  <a:cubicBezTo>
                    <a:pt x="10649" y="3214"/>
                    <a:pt x="9893" y="2489"/>
                    <a:pt x="9011" y="2489"/>
                  </a:cubicBezTo>
                  <a:cubicBezTo>
                    <a:pt x="8601" y="2489"/>
                    <a:pt x="8254" y="2583"/>
                    <a:pt x="7971" y="2836"/>
                  </a:cubicBezTo>
                  <a:cubicBezTo>
                    <a:pt x="7687" y="2583"/>
                    <a:pt x="7341" y="2489"/>
                    <a:pt x="6963" y="2489"/>
                  </a:cubicBezTo>
                  <a:lnTo>
                    <a:pt x="6805" y="2489"/>
                  </a:lnTo>
                  <a:cubicBezTo>
                    <a:pt x="6522" y="1859"/>
                    <a:pt x="5892" y="1418"/>
                    <a:pt x="5230" y="1418"/>
                  </a:cubicBezTo>
                  <a:lnTo>
                    <a:pt x="4852" y="1418"/>
                  </a:lnTo>
                  <a:lnTo>
                    <a:pt x="4852" y="1008"/>
                  </a:lnTo>
                  <a:cubicBezTo>
                    <a:pt x="4852" y="441"/>
                    <a:pt x="4379" y="0"/>
                    <a:pt x="3844"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9831" name="Google Shape;9831;p110"/>
            <p:cNvSpPr/>
            <p:nvPr/>
          </p:nvSpPr>
          <p:spPr>
            <a:xfrm>
              <a:off x="-23918325" y="2479025"/>
              <a:ext cx="53600" cy="52375"/>
            </a:xfrm>
            <a:custGeom>
              <a:avLst/>
              <a:gdLst/>
              <a:ahLst/>
              <a:cxnLst/>
              <a:rect l="l" t="t" r="r" b="b"/>
              <a:pathLst>
                <a:path w="2144" h="2095" extrusionOk="0">
                  <a:moveTo>
                    <a:pt x="347" y="1"/>
                  </a:moveTo>
                  <a:cubicBezTo>
                    <a:pt x="158" y="1"/>
                    <a:pt x="1" y="158"/>
                    <a:pt x="1" y="347"/>
                  </a:cubicBezTo>
                  <a:lnTo>
                    <a:pt x="1" y="1072"/>
                  </a:lnTo>
                  <a:cubicBezTo>
                    <a:pt x="1" y="1671"/>
                    <a:pt x="473" y="2080"/>
                    <a:pt x="1009" y="2080"/>
                  </a:cubicBezTo>
                  <a:lnTo>
                    <a:pt x="1734" y="2080"/>
                  </a:lnTo>
                  <a:cubicBezTo>
                    <a:pt x="1767" y="2090"/>
                    <a:pt x="1800" y="2094"/>
                    <a:pt x="1831" y="2094"/>
                  </a:cubicBezTo>
                  <a:cubicBezTo>
                    <a:pt x="2007" y="2094"/>
                    <a:pt x="2143" y="1952"/>
                    <a:pt x="2143" y="1765"/>
                  </a:cubicBezTo>
                  <a:cubicBezTo>
                    <a:pt x="2143" y="1576"/>
                    <a:pt x="1954" y="1419"/>
                    <a:pt x="1765" y="1419"/>
                  </a:cubicBezTo>
                  <a:lnTo>
                    <a:pt x="1072" y="1419"/>
                  </a:lnTo>
                  <a:cubicBezTo>
                    <a:pt x="851" y="1419"/>
                    <a:pt x="694" y="1261"/>
                    <a:pt x="694" y="1072"/>
                  </a:cubicBezTo>
                  <a:lnTo>
                    <a:pt x="694" y="347"/>
                  </a:lnTo>
                  <a:cubicBezTo>
                    <a:pt x="694" y="158"/>
                    <a:pt x="536" y="1"/>
                    <a:pt x="347"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sp>
        <p:nvSpPr>
          <p:cNvPr id="9832" name="Google Shape;9832;p110"/>
          <p:cNvSpPr/>
          <p:nvPr/>
        </p:nvSpPr>
        <p:spPr>
          <a:xfrm>
            <a:off x="8855005" y="5040976"/>
            <a:ext cx="497292" cy="469989"/>
          </a:xfrm>
          <a:custGeom>
            <a:avLst/>
            <a:gdLst/>
            <a:ahLst/>
            <a:cxnLst/>
            <a:rect l="l" t="t" r="r" b="b"/>
            <a:pathLst>
              <a:path w="12477" h="11792" extrusionOk="0">
                <a:moveTo>
                  <a:pt x="10845" y="690"/>
                </a:moveTo>
                <a:cubicBezTo>
                  <a:pt x="11072" y="690"/>
                  <a:pt x="11264" y="705"/>
                  <a:pt x="11406" y="733"/>
                </a:cubicBezTo>
                <a:cubicBezTo>
                  <a:pt x="11469" y="1049"/>
                  <a:pt x="11469" y="1616"/>
                  <a:pt x="11374" y="2246"/>
                </a:cubicBezTo>
                <a:lnTo>
                  <a:pt x="9894" y="765"/>
                </a:lnTo>
                <a:cubicBezTo>
                  <a:pt x="10240" y="713"/>
                  <a:pt x="10568" y="690"/>
                  <a:pt x="10845" y="690"/>
                </a:cubicBezTo>
                <a:close/>
                <a:moveTo>
                  <a:pt x="9106" y="923"/>
                </a:moveTo>
                <a:lnTo>
                  <a:pt x="11280" y="3096"/>
                </a:lnTo>
                <a:cubicBezTo>
                  <a:pt x="11185" y="3317"/>
                  <a:pt x="11091" y="3569"/>
                  <a:pt x="10996" y="3789"/>
                </a:cubicBezTo>
                <a:lnTo>
                  <a:pt x="8350" y="1143"/>
                </a:lnTo>
                <a:cubicBezTo>
                  <a:pt x="8602" y="1049"/>
                  <a:pt x="8822" y="954"/>
                  <a:pt x="9106" y="923"/>
                </a:cubicBezTo>
                <a:close/>
                <a:moveTo>
                  <a:pt x="7720" y="1458"/>
                </a:moveTo>
                <a:lnTo>
                  <a:pt x="10618" y="4388"/>
                </a:lnTo>
                <a:cubicBezTo>
                  <a:pt x="10555" y="4451"/>
                  <a:pt x="10461" y="4577"/>
                  <a:pt x="10398" y="4672"/>
                </a:cubicBezTo>
                <a:cubicBezTo>
                  <a:pt x="10303" y="4766"/>
                  <a:pt x="10240" y="4861"/>
                  <a:pt x="10114" y="4892"/>
                </a:cubicBezTo>
                <a:lnTo>
                  <a:pt x="7216" y="1994"/>
                </a:lnTo>
                <a:cubicBezTo>
                  <a:pt x="7279" y="1899"/>
                  <a:pt x="7373" y="1773"/>
                  <a:pt x="7436" y="1710"/>
                </a:cubicBezTo>
                <a:cubicBezTo>
                  <a:pt x="7531" y="1616"/>
                  <a:pt x="7594" y="1553"/>
                  <a:pt x="7720" y="1458"/>
                </a:cubicBezTo>
                <a:close/>
                <a:moveTo>
                  <a:pt x="6901" y="2655"/>
                </a:moveTo>
                <a:lnTo>
                  <a:pt x="9515" y="5270"/>
                </a:lnTo>
                <a:cubicBezTo>
                  <a:pt x="9263" y="5365"/>
                  <a:pt x="9011" y="5459"/>
                  <a:pt x="8791" y="5522"/>
                </a:cubicBezTo>
                <a:lnTo>
                  <a:pt x="6649" y="3411"/>
                </a:lnTo>
                <a:cubicBezTo>
                  <a:pt x="6680" y="3159"/>
                  <a:pt x="6775" y="2876"/>
                  <a:pt x="6901" y="2655"/>
                </a:cubicBezTo>
                <a:close/>
                <a:moveTo>
                  <a:pt x="6491" y="4231"/>
                </a:moveTo>
                <a:lnTo>
                  <a:pt x="7877" y="5617"/>
                </a:lnTo>
                <a:cubicBezTo>
                  <a:pt x="7638" y="5643"/>
                  <a:pt x="7409" y="5653"/>
                  <a:pt x="7204" y="5653"/>
                </a:cubicBezTo>
                <a:cubicBezTo>
                  <a:pt x="6923" y="5653"/>
                  <a:pt x="6686" y="5635"/>
                  <a:pt x="6523" y="5617"/>
                </a:cubicBezTo>
                <a:cubicBezTo>
                  <a:pt x="6491" y="5333"/>
                  <a:pt x="6460" y="4829"/>
                  <a:pt x="6491" y="4231"/>
                </a:cubicBezTo>
                <a:close/>
                <a:moveTo>
                  <a:pt x="4982" y="6171"/>
                </a:moveTo>
                <a:cubicBezTo>
                  <a:pt x="5371" y="6171"/>
                  <a:pt x="5708" y="6201"/>
                  <a:pt x="5892" y="6247"/>
                </a:cubicBezTo>
                <a:cubicBezTo>
                  <a:pt x="5955" y="6499"/>
                  <a:pt x="5987" y="7034"/>
                  <a:pt x="5955" y="7602"/>
                </a:cubicBezTo>
                <a:lnTo>
                  <a:pt x="4538" y="6184"/>
                </a:lnTo>
                <a:cubicBezTo>
                  <a:pt x="4690" y="6175"/>
                  <a:pt x="4839" y="6171"/>
                  <a:pt x="4982" y="6171"/>
                </a:cubicBezTo>
                <a:close/>
                <a:moveTo>
                  <a:pt x="3719" y="6310"/>
                </a:moveTo>
                <a:lnTo>
                  <a:pt x="5829" y="8452"/>
                </a:lnTo>
                <a:cubicBezTo>
                  <a:pt x="5798" y="8673"/>
                  <a:pt x="5703" y="8956"/>
                  <a:pt x="5609" y="9177"/>
                </a:cubicBezTo>
                <a:lnTo>
                  <a:pt x="2962" y="6562"/>
                </a:lnTo>
                <a:cubicBezTo>
                  <a:pt x="3183" y="6436"/>
                  <a:pt x="3435" y="6341"/>
                  <a:pt x="3719" y="6310"/>
                </a:cubicBezTo>
                <a:close/>
                <a:moveTo>
                  <a:pt x="2332" y="6908"/>
                </a:moveTo>
                <a:lnTo>
                  <a:pt x="5231" y="9807"/>
                </a:lnTo>
                <a:cubicBezTo>
                  <a:pt x="5168" y="9901"/>
                  <a:pt x="5073" y="10027"/>
                  <a:pt x="5010" y="10090"/>
                </a:cubicBezTo>
                <a:cubicBezTo>
                  <a:pt x="4916" y="10185"/>
                  <a:pt x="4853" y="10248"/>
                  <a:pt x="4727" y="10342"/>
                </a:cubicBezTo>
                <a:lnTo>
                  <a:pt x="1797" y="7412"/>
                </a:lnTo>
                <a:cubicBezTo>
                  <a:pt x="1891" y="7349"/>
                  <a:pt x="1954" y="7223"/>
                  <a:pt x="2049" y="7129"/>
                </a:cubicBezTo>
                <a:cubicBezTo>
                  <a:pt x="2112" y="7066"/>
                  <a:pt x="2206" y="6971"/>
                  <a:pt x="2332" y="6908"/>
                </a:cubicBezTo>
                <a:close/>
                <a:moveTo>
                  <a:pt x="1450" y="8011"/>
                </a:moveTo>
                <a:lnTo>
                  <a:pt x="4097" y="10657"/>
                </a:lnTo>
                <a:cubicBezTo>
                  <a:pt x="3908" y="10752"/>
                  <a:pt x="3624" y="10847"/>
                  <a:pt x="3372" y="10910"/>
                </a:cubicBezTo>
                <a:lnTo>
                  <a:pt x="1230" y="8767"/>
                </a:lnTo>
                <a:cubicBezTo>
                  <a:pt x="1293" y="8515"/>
                  <a:pt x="1387" y="8232"/>
                  <a:pt x="1450" y="8011"/>
                </a:cubicBezTo>
                <a:close/>
                <a:moveTo>
                  <a:pt x="1072" y="9586"/>
                </a:moveTo>
                <a:lnTo>
                  <a:pt x="2553" y="11067"/>
                </a:lnTo>
                <a:cubicBezTo>
                  <a:pt x="2175" y="11124"/>
                  <a:pt x="1831" y="11135"/>
                  <a:pt x="1534" y="11135"/>
                </a:cubicBezTo>
                <a:cubicBezTo>
                  <a:pt x="1337" y="11135"/>
                  <a:pt x="1160" y="11130"/>
                  <a:pt x="1009" y="11130"/>
                </a:cubicBezTo>
                <a:cubicBezTo>
                  <a:pt x="978" y="10815"/>
                  <a:pt x="978" y="10216"/>
                  <a:pt x="1072" y="9586"/>
                </a:cubicBezTo>
                <a:close/>
                <a:moveTo>
                  <a:pt x="10872" y="1"/>
                </a:moveTo>
                <a:cubicBezTo>
                  <a:pt x="9797" y="1"/>
                  <a:pt x="8028" y="173"/>
                  <a:pt x="6964" y="1238"/>
                </a:cubicBezTo>
                <a:cubicBezTo>
                  <a:pt x="6775" y="1427"/>
                  <a:pt x="6617" y="1616"/>
                  <a:pt x="6491" y="1836"/>
                </a:cubicBezTo>
                <a:cubicBezTo>
                  <a:pt x="5735" y="3033"/>
                  <a:pt x="5735" y="4703"/>
                  <a:pt x="5829" y="5491"/>
                </a:cubicBezTo>
                <a:cubicBezTo>
                  <a:pt x="5619" y="5469"/>
                  <a:pt x="5344" y="5450"/>
                  <a:pt x="5031" y="5450"/>
                </a:cubicBezTo>
                <a:cubicBezTo>
                  <a:pt x="3989" y="5450"/>
                  <a:pt x="2521" y="5655"/>
                  <a:pt x="1576" y="6625"/>
                </a:cubicBezTo>
                <a:cubicBezTo>
                  <a:pt x="1" y="8200"/>
                  <a:pt x="348" y="11319"/>
                  <a:pt x="379" y="11445"/>
                </a:cubicBezTo>
                <a:cubicBezTo>
                  <a:pt x="442" y="11603"/>
                  <a:pt x="568" y="11697"/>
                  <a:pt x="726" y="11760"/>
                </a:cubicBezTo>
                <a:cubicBezTo>
                  <a:pt x="757" y="11760"/>
                  <a:pt x="1135" y="11792"/>
                  <a:pt x="1671" y="11792"/>
                </a:cubicBezTo>
                <a:cubicBezTo>
                  <a:pt x="2710" y="11792"/>
                  <a:pt x="4443" y="11603"/>
                  <a:pt x="5514" y="10531"/>
                </a:cubicBezTo>
                <a:cubicBezTo>
                  <a:pt x="6775" y="9271"/>
                  <a:pt x="6743" y="7192"/>
                  <a:pt x="6649" y="6278"/>
                </a:cubicBezTo>
                <a:cubicBezTo>
                  <a:pt x="6869" y="6278"/>
                  <a:pt x="7121" y="6310"/>
                  <a:pt x="7405" y="6310"/>
                </a:cubicBezTo>
                <a:cubicBezTo>
                  <a:pt x="8476" y="6310"/>
                  <a:pt x="9925" y="6121"/>
                  <a:pt x="10902" y="5144"/>
                </a:cubicBezTo>
                <a:cubicBezTo>
                  <a:pt x="12477" y="3600"/>
                  <a:pt x="12099" y="481"/>
                  <a:pt x="12099" y="355"/>
                </a:cubicBezTo>
                <a:cubicBezTo>
                  <a:pt x="12036" y="198"/>
                  <a:pt x="11941" y="103"/>
                  <a:pt x="11784" y="40"/>
                </a:cubicBezTo>
                <a:cubicBezTo>
                  <a:pt x="11743" y="40"/>
                  <a:pt x="11387" y="1"/>
                  <a:pt x="10872"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nvGrpSpPr>
          <p:cNvPr id="9833" name="Google Shape;9833;p110"/>
          <p:cNvGrpSpPr/>
          <p:nvPr/>
        </p:nvGrpSpPr>
        <p:grpSpPr>
          <a:xfrm>
            <a:off x="10737782" y="5038667"/>
            <a:ext cx="318973" cy="474693"/>
            <a:chOff x="-22811700" y="2700350"/>
            <a:chExt cx="200075" cy="297750"/>
          </a:xfrm>
        </p:grpSpPr>
        <p:sp>
          <p:nvSpPr>
            <p:cNvPr id="9834" name="Google Shape;9834;p110"/>
            <p:cNvSpPr/>
            <p:nvPr/>
          </p:nvSpPr>
          <p:spPr>
            <a:xfrm>
              <a:off x="-22811700" y="2700350"/>
              <a:ext cx="86650" cy="296975"/>
            </a:xfrm>
            <a:custGeom>
              <a:avLst/>
              <a:gdLst/>
              <a:ahLst/>
              <a:cxnLst/>
              <a:rect l="l" t="t" r="r" b="b"/>
              <a:pathLst>
                <a:path w="3466" h="11879" extrusionOk="0">
                  <a:moveTo>
                    <a:pt x="1702" y="725"/>
                  </a:moveTo>
                  <a:cubicBezTo>
                    <a:pt x="2269" y="725"/>
                    <a:pt x="2710" y="1198"/>
                    <a:pt x="2710" y="1734"/>
                  </a:cubicBezTo>
                  <a:cubicBezTo>
                    <a:pt x="2710" y="2332"/>
                    <a:pt x="2237" y="2773"/>
                    <a:pt x="1702" y="2773"/>
                  </a:cubicBezTo>
                  <a:cubicBezTo>
                    <a:pt x="1684" y="2774"/>
                    <a:pt x="1666" y="2775"/>
                    <a:pt x="1648" y="2775"/>
                  </a:cubicBezTo>
                  <a:cubicBezTo>
                    <a:pt x="1105" y="2775"/>
                    <a:pt x="662" y="2313"/>
                    <a:pt x="662" y="1734"/>
                  </a:cubicBezTo>
                  <a:cubicBezTo>
                    <a:pt x="662" y="1166"/>
                    <a:pt x="1135" y="725"/>
                    <a:pt x="1702" y="725"/>
                  </a:cubicBezTo>
                  <a:close/>
                  <a:moveTo>
                    <a:pt x="1765" y="5609"/>
                  </a:moveTo>
                  <a:cubicBezTo>
                    <a:pt x="1954" y="5609"/>
                    <a:pt x="2080" y="5766"/>
                    <a:pt x="2111" y="5924"/>
                  </a:cubicBezTo>
                  <a:lnTo>
                    <a:pt x="2111" y="6302"/>
                  </a:lnTo>
                  <a:lnTo>
                    <a:pt x="1324" y="6302"/>
                  </a:lnTo>
                  <a:lnTo>
                    <a:pt x="1324" y="5955"/>
                  </a:lnTo>
                  <a:cubicBezTo>
                    <a:pt x="1324" y="5766"/>
                    <a:pt x="1481" y="5609"/>
                    <a:pt x="1702" y="5609"/>
                  </a:cubicBezTo>
                  <a:close/>
                  <a:moveTo>
                    <a:pt x="2174" y="7026"/>
                  </a:moveTo>
                  <a:lnTo>
                    <a:pt x="2332" y="9767"/>
                  </a:lnTo>
                  <a:lnTo>
                    <a:pt x="1261" y="9767"/>
                  </a:lnTo>
                  <a:lnTo>
                    <a:pt x="1324" y="7026"/>
                  </a:lnTo>
                  <a:close/>
                  <a:moveTo>
                    <a:pt x="2363" y="10523"/>
                  </a:moveTo>
                  <a:lnTo>
                    <a:pt x="2363" y="10586"/>
                  </a:lnTo>
                  <a:cubicBezTo>
                    <a:pt x="2363" y="10712"/>
                    <a:pt x="2332" y="10870"/>
                    <a:pt x="2206" y="10996"/>
                  </a:cubicBezTo>
                  <a:cubicBezTo>
                    <a:pt x="2080" y="11122"/>
                    <a:pt x="1985" y="11185"/>
                    <a:pt x="1796" y="11185"/>
                  </a:cubicBezTo>
                  <a:cubicBezTo>
                    <a:pt x="1639" y="11185"/>
                    <a:pt x="1481" y="11122"/>
                    <a:pt x="1418" y="11027"/>
                  </a:cubicBezTo>
                  <a:cubicBezTo>
                    <a:pt x="1292" y="10933"/>
                    <a:pt x="1261" y="10807"/>
                    <a:pt x="1261" y="10649"/>
                  </a:cubicBezTo>
                  <a:lnTo>
                    <a:pt x="1261" y="10523"/>
                  </a:lnTo>
                  <a:close/>
                  <a:moveTo>
                    <a:pt x="1733" y="1"/>
                  </a:moveTo>
                  <a:cubicBezTo>
                    <a:pt x="788" y="1"/>
                    <a:pt x="0" y="788"/>
                    <a:pt x="0" y="1734"/>
                  </a:cubicBezTo>
                  <a:cubicBezTo>
                    <a:pt x="0" y="2584"/>
                    <a:pt x="599" y="3277"/>
                    <a:pt x="1387" y="3435"/>
                  </a:cubicBezTo>
                  <a:lnTo>
                    <a:pt x="1387" y="4979"/>
                  </a:lnTo>
                  <a:cubicBezTo>
                    <a:pt x="977" y="5105"/>
                    <a:pt x="662" y="5483"/>
                    <a:pt x="662" y="5924"/>
                  </a:cubicBezTo>
                  <a:lnTo>
                    <a:pt x="536" y="10555"/>
                  </a:lnTo>
                  <a:cubicBezTo>
                    <a:pt x="536" y="10933"/>
                    <a:pt x="662" y="11248"/>
                    <a:pt x="914" y="11469"/>
                  </a:cubicBezTo>
                  <a:cubicBezTo>
                    <a:pt x="1135" y="11721"/>
                    <a:pt x="1450" y="11878"/>
                    <a:pt x="1796" y="11878"/>
                  </a:cubicBezTo>
                  <a:cubicBezTo>
                    <a:pt x="2174" y="11878"/>
                    <a:pt x="2489" y="11721"/>
                    <a:pt x="2710" y="11469"/>
                  </a:cubicBezTo>
                  <a:cubicBezTo>
                    <a:pt x="2962" y="11248"/>
                    <a:pt x="3056" y="10870"/>
                    <a:pt x="3056" y="10523"/>
                  </a:cubicBezTo>
                  <a:lnTo>
                    <a:pt x="2836" y="5924"/>
                  </a:lnTo>
                  <a:cubicBezTo>
                    <a:pt x="2804" y="5483"/>
                    <a:pt x="2521" y="5136"/>
                    <a:pt x="2080" y="4979"/>
                  </a:cubicBezTo>
                  <a:lnTo>
                    <a:pt x="2080" y="3466"/>
                  </a:lnTo>
                  <a:cubicBezTo>
                    <a:pt x="2836" y="3277"/>
                    <a:pt x="3466" y="2616"/>
                    <a:pt x="3466" y="1734"/>
                  </a:cubicBezTo>
                  <a:cubicBezTo>
                    <a:pt x="3466" y="788"/>
                    <a:pt x="2678" y="1"/>
                    <a:pt x="1733"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9835" name="Google Shape;9835;p110"/>
            <p:cNvSpPr/>
            <p:nvPr/>
          </p:nvSpPr>
          <p:spPr>
            <a:xfrm>
              <a:off x="-22693550" y="2701225"/>
              <a:ext cx="81925" cy="296875"/>
            </a:xfrm>
            <a:custGeom>
              <a:avLst/>
              <a:gdLst/>
              <a:ahLst/>
              <a:cxnLst/>
              <a:rect l="l" t="t" r="r" b="b"/>
              <a:pathLst>
                <a:path w="3277" h="11875" extrusionOk="0">
                  <a:moveTo>
                    <a:pt x="1229" y="5574"/>
                  </a:moveTo>
                  <a:cubicBezTo>
                    <a:pt x="1418" y="5574"/>
                    <a:pt x="1544" y="5731"/>
                    <a:pt x="1575" y="5889"/>
                  </a:cubicBezTo>
                  <a:lnTo>
                    <a:pt x="1575" y="6267"/>
                  </a:lnTo>
                  <a:lnTo>
                    <a:pt x="788" y="6267"/>
                  </a:lnTo>
                  <a:lnTo>
                    <a:pt x="788" y="5920"/>
                  </a:lnTo>
                  <a:cubicBezTo>
                    <a:pt x="788" y="5731"/>
                    <a:pt x="945" y="5574"/>
                    <a:pt x="1134" y="5574"/>
                  </a:cubicBezTo>
                  <a:close/>
                  <a:moveTo>
                    <a:pt x="1575" y="6991"/>
                  </a:moveTo>
                  <a:lnTo>
                    <a:pt x="1733" y="9732"/>
                  </a:lnTo>
                  <a:lnTo>
                    <a:pt x="662" y="9732"/>
                  </a:lnTo>
                  <a:lnTo>
                    <a:pt x="756" y="6991"/>
                  </a:lnTo>
                  <a:close/>
                  <a:moveTo>
                    <a:pt x="1764" y="10488"/>
                  </a:moveTo>
                  <a:lnTo>
                    <a:pt x="1764" y="10551"/>
                  </a:lnTo>
                  <a:cubicBezTo>
                    <a:pt x="1796" y="10677"/>
                    <a:pt x="1733" y="10835"/>
                    <a:pt x="1607" y="10961"/>
                  </a:cubicBezTo>
                  <a:cubicBezTo>
                    <a:pt x="1481" y="11087"/>
                    <a:pt x="1386" y="11150"/>
                    <a:pt x="1229" y="11150"/>
                  </a:cubicBezTo>
                  <a:cubicBezTo>
                    <a:pt x="1071" y="11150"/>
                    <a:pt x="914" y="11087"/>
                    <a:pt x="819" y="10992"/>
                  </a:cubicBezTo>
                  <a:cubicBezTo>
                    <a:pt x="693" y="10898"/>
                    <a:pt x="662" y="10772"/>
                    <a:pt x="662" y="10614"/>
                  </a:cubicBezTo>
                  <a:lnTo>
                    <a:pt x="662" y="10488"/>
                  </a:lnTo>
                  <a:close/>
                  <a:moveTo>
                    <a:pt x="2885" y="1"/>
                  </a:moveTo>
                  <a:cubicBezTo>
                    <a:pt x="2797" y="1"/>
                    <a:pt x="2713" y="40"/>
                    <a:pt x="2646" y="123"/>
                  </a:cubicBezTo>
                  <a:lnTo>
                    <a:pt x="914" y="2234"/>
                  </a:lnTo>
                  <a:cubicBezTo>
                    <a:pt x="882" y="2297"/>
                    <a:pt x="819" y="2392"/>
                    <a:pt x="819" y="2455"/>
                  </a:cubicBezTo>
                  <a:lnTo>
                    <a:pt x="819" y="4975"/>
                  </a:lnTo>
                  <a:cubicBezTo>
                    <a:pt x="441" y="5101"/>
                    <a:pt x="126" y="5479"/>
                    <a:pt x="126" y="5920"/>
                  </a:cubicBezTo>
                  <a:lnTo>
                    <a:pt x="0" y="10583"/>
                  </a:lnTo>
                  <a:cubicBezTo>
                    <a:pt x="0" y="10929"/>
                    <a:pt x="126" y="11245"/>
                    <a:pt x="347" y="11465"/>
                  </a:cubicBezTo>
                  <a:cubicBezTo>
                    <a:pt x="599" y="11717"/>
                    <a:pt x="914" y="11875"/>
                    <a:pt x="1260" y="11875"/>
                  </a:cubicBezTo>
                  <a:cubicBezTo>
                    <a:pt x="1607" y="11875"/>
                    <a:pt x="1922" y="11717"/>
                    <a:pt x="2174" y="11465"/>
                  </a:cubicBezTo>
                  <a:cubicBezTo>
                    <a:pt x="2394" y="11245"/>
                    <a:pt x="2520" y="10898"/>
                    <a:pt x="2520" y="10520"/>
                  </a:cubicBezTo>
                  <a:lnTo>
                    <a:pt x="2300" y="5920"/>
                  </a:lnTo>
                  <a:cubicBezTo>
                    <a:pt x="2237" y="5479"/>
                    <a:pt x="1985" y="5133"/>
                    <a:pt x="1544" y="4975"/>
                  </a:cubicBezTo>
                  <a:lnTo>
                    <a:pt x="1544" y="2581"/>
                  </a:lnTo>
                  <a:lnTo>
                    <a:pt x="3151" y="564"/>
                  </a:lnTo>
                  <a:cubicBezTo>
                    <a:pt x="3277" y="407"/>
                    <a:pt x="3277" y="218"/>
                    <a:pt x="3119" y="92"/>
                  </a:cubicBezTo>
                  <a:cubicBezTo>
                    <a:pt x="3045" y="32"/>
                    <a:pt x="2963" y="1"/>
                    <a:pt x="2885"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9836" name="Google Shape;9836;p110"/>
            <p:cNvSpPr/>
            <p:nvPr/>
          </p:nvSpPr>
          <p:spPr>
            <a:xfrm>
              <a:off x="-22778625" y="2735025"/>
              <a:ext cx="18150" cy="18125"/>
            </a:xfrm>
            <a:custGeom>
              <a:avLst/>
              <a:gdLst/>
              <a:ahLst/>
              <a:cxnLst/>
              <a:rect l="l" t="t" r="r" b="b"/>
              <a:pathLst>
                <a:path w="726" h="725" extrusionOk="0">
                  <a:moveTo>
                    <a:pt x="379" y="0"/>
                  </a:moveTo>
                  <a:cubicBezTo>
                    <a:pt x="158" y="0"/>
                    <a:pt x="1" y="158"/>
                    <a:pt x="1" y="347"/>
                  </a:cubicBezTo>
                  <a:cubicBezTo>
                    <a:pt x="1" y="567"/>
                    <a:pt x="158" y="725"/>
                    <a:pt x="379" y="725"/>
                  </a:cubicBezTo>
                  <a:cubicBezTo>
                    <a:pt x="568" y="725"/>
                    <a:pt x="725" y="567"/>
                    <a:pt x="725" y="347"/>
                  </a:cubicBezTo>
                  <a:cubicBezTo>
                    <a:pt x="725" y="158"/>
                    <a:pt x="568" y="0"/>
                    <a:pt x="379"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9837" name="Google Shape;9837;p110"/>
          <p:cNvGrpSpPr/>
          <p:nvPr/>
        </p:nvGrpSpPr>
        <p:grpSpPr>
          <a:xfrm>
            <a:off x="8269050" y="2081987"/>
            <a:ext cx="473417" cy="472181"/>
            <a:chOff x="-27358650" y="1961575"/>
            <a:chExt cx="296950" cy="296175"/>
          </a:xfrm>
        </p:grpSpPr>
        <p:sp>
          <p:nvSpPr>
            <p:cNvPr id="9838" name="Google Shape;9838;p110"/>
            <p:cNvSpPr/>
            <p:nvPr/>
          </p:nvSpPr>
          <p:spPr>
            <a:xfrm>
              <a:off x="-27358650" y="1961575"/>
              <a:ext cx="296950" cy="296175"/>
            </a:xfrm>
            <a:custGeom>
              <a:avLst/>
              <a:gdLst/>
              <a:ahLst/>
              <a:cxnLst/>
              <a:rect l="l" t="t" r="r" b="b"/>
              <a:pathLst>
                <a:path w="11878" h="11847" extrusionOk="0">
                  <a:moveTo>
                    <a:pt x="7719" y="2080"/>
                  </a:moveTo>
                  <a:lnTo>
                    <a:pt x="7719" y="2836"/>
                  </a:lnTo>
                  <a:lnTo>
                    <a:pt x="4222" y="2836"/>
                  </a:lnTo>
                  <a:lnTo>
                    <a:pt x="4222" y="2080"/>
                  </a:lnTo>
                  <a:close/>
                  <a:moveTo>
                    <a:pt x="8034" y="693"/>
                  </a:moveTo>
                  <a:cubicBezTo>
                    <a:pt x="8633" y="693"/>
                    <a:pt x="9074" y="1166"/>
                    <a:pt x="9074" y="1733"/>
                  </a:cubicBezTo>
                  <a:lnTo>
                    <a:pt x="9074" y="2836"/>
                  </a:lnTo>
                  <a:lnTo>
                    <a:pt x="8349" y="2836"/>
                  </a:lnTo>
                  <a:lnTo>
                    <a:pt x="8349" y="1733"/>
                  </a:lnTo>
                  <a:cubicBezTo>
                    <a:pt x="8349" y="1513"/>
                    <a:pt x="8192" y="1355"/>
                    <a:pt x="8002" y="1355"/>
                  </a:cubicBezTo>
                  <a:lnTo>
                    <a:pt x="3781" y="1355"/>
                  </a:lnTo>
                  <a:cubicBezTo>
                    <a:pt x="3592" y="1355"/>
                    <a:pt x="3434" y="1513"/>
                    <a:pt x="3434" y="1733"/>
                  </a:cubicBezTo>
                  <a:lnTo>
                    <a:pt x="3434" y="2836"/>
                  </a:lnTo>
                  <a:lnTo>
                    <a:pt x="2741" y="2836"/>
                  </a:lnTo>
                  <a:lnTo>
                    <a:pt x="2741" y="1733"/>
                  </a:lnTo>
                  <a:lnTo>
                    <a:pt x="2804" y="1733"/>
                  </a:lnTo>
                  <a:cubicBezTo>
                    <a:pt x="2804" y="1134"/>
                    <a:pt x="3277" y="693"/>
                    <a:pt x="3844" y="693"/>
                  </a:cubicBezTo>
                  <a:close/>
                  <a:moveTo>
                    <a:pt x="10176" y="3497"/>
                  </a:moveTo>
                  <a:cubicBezTo>
                    <a:pt x="10617" y="3497"/>
                    <a:pt x="10995" y="3781"/>
                    <a:pt x="11153" y="4190"/>
                  </a:cubicBezTo>
                  <a:lnTo>
                    <a:pt x="851" y="4190"/>
                  </a:lnTo>
                  <a:cubicBezTo>
                    <a:pt x="914" y="3812"/>
                    <a:pt x="1323" y="3497"/>
                    <a:pt x="1796" y="3497"/>
                  </a:cubicBezTo>
                  <a:close/>
                  <a:moveTo>
                    <a:pt x="11153" y="4915"/>
                  </a:moveTo>
                  <a:lnTo>
                    <a:pt x="11153" y="6301"/>
                  </a:lnTo>
                  <a:lnTo>
                    <a:pt x="10460" y="6301"/>
                  </a:lnTo>
                  <a:lnTo>
                    <a:pt x="10460" y="5923"/>
                  </a:lnTo>
                  <a:cubicBezTo>
                    <a:pt x="10491" y="5734"/>
                    <a:pt x="10334" y="5577"/>
                    <a:pt x="10145" y="5577"/>
                  </a:cubicBezTo>
                  <a:lnTo>
                    <a:pt x="8759" y="5577"/>
                  </a:lnTo>
                  <a:cubicBezTo>
                    <a:pt x="8570" y="5577"/>
                    <a:pt x="8412" y="5734"/>
                    <a:pt x="8412" y="5923"/>
                  </a:cubicBezTo>
                  <a:lnTo>
                    <a:pt x="8412" y="6301"/>
                  </a:lnTo>
                  <a:lnTo>
                    <a:pt x="3529" y="6301"/>
                  </a:lnTo>
                  <a:lnTo>
                    <a:pt x="3529" y="5923"/>
                  </a:lnTo>
                  <a:cubicBezTo>
                    <a:pt x="3529" y="5734"/>
                    <a:pt x="3371" y="5577"/>
                    <a:pt x="3151" y="5577"/>
                  </a:cubicBezTo>
                  <a:lnTo>
                    <a:pt x="1796" y="5577"/>
                  </a:lnTo>
                  <a:cubicBezTo>
                    <a:pt x="1575" y="5577"/>
                    <a:pt x="1418" y="5734"/>
                    <a:pt x="1418" y="5923"/>
                  </a:cubicBezTo>
                  <a:lnTo>
                    <a:pt x="1418" y="6301"/>
                  </a:lnTo>
                  <a:lnTo>
                    <a:pt x="725" y="6301"/>
                  </a:lnTo>
                  <a:lnTo>
                    <a:pt x="725" y="4915"/>
                  </a:lnTo>
                  <a:close/>
                  <a:moveTo>
                    <a:pt x="2836" y="6301"/>
                  </a:moveTo>
                  <a:lnTo>
                    <a:pt x="2836" y="8034"/>
                  </a:lnTo>
                  <a:cubicBezTo>
                    <a:pt x="2836" y="8223"/>
                    <a:pt x="2678" y="8381"/>
                    <a:pt x="2489" y="8381"/>
                  </a:cubicBezTo>
                  <a:cubicBezTo>
                    <a:pt x="2300" y="8381"/>
                    <a:pt x="2143" y="8223"/>
                    <a:pt x="2143" y="8034"/>
                  </a:cubicBezTo>
                  <a:lnTo>
                    <a:pt x="2143" y="6301"/>
                  </a:lnTo>
                  <a:close/>
                  <a:moveTo>
                    <a:pt x="9830" y="6301"/>
                  </a:moveTo>
                  <a:lnTo>
                    <a:pt x="9830" y="8034"/>
                  </a:lnTo>
                  <a:cubicBezTo>
                    <a:pt x="9830" y="8223"/>
                    <a:pt x="9672" y="8381"/>
                    <a:pt x="9452" y="8381"/>
                  </a:cubicBezTo>
                  <a:cubicBezTo>
                    <a:pt x="9263" y="8381"/>
                    <a:pt x="9105" y="8223"/>
                    <a:pt x="9105" y="8034"/>
                  </a:cubicBezTo>
                  <a:lnTo>
                    <a:pt x="9105" y="6301"/>
                  </a:lnTo>
                  <a:close/>
                  <a:moveTo>
                    <a:pt x="11121" y="6994"/>
                  </a:moveTo>
                  <a:lnTo>
                    <a:pt x="11121" y="10113"/>
                  </a:lnTo>
                  <a:cubicBezTo>
                    <a:pt x="11184" y="10649"/>
                    <a:pt x="10712" y="11121"/>
                    <a:pt x="10145" y="11121"/>
                  </a:cubicBezTo>
                  <a:lnTo>
                    <a:pt x="1733" y="11121"/>
                  </a:lnTo>
                  <a:cubicBezTo>
                    <a:pt x="1166" y="11121"/>
                    <a:pt x="725" y="10649"/>
                    <a:pt x="725" y="10113"/>
                  </a:cubicBezTo>
                  <a:lnTo>
                    <a:pt x="725" y="6994"/>
                  </a:lnTo>
                  <a:lnTo>
                    <a:pt x="1418" y="6994"/>
                  </a:lnTo>
                  <a:lnTo>
                    <a:pt x="1418" y="8034"/>
                  </a:lnTo>
                  <a:cubicBezTo>
                    <a:pt x="1418" y="8601"/>
                    <a:pt x="1891" y="9042"/>
                    <a:pt x="2458" y="9042"/>
                  </a:cubicBezTo>
                  <a:cubicBezTo>
                    <a:pt x="2993" y="9042"/>
                    <a:pt x="3466" y="8570"/>
                    <a:pt x="3466" y="8034"/>
                  </a:cubicBezTo>
                  <a:lnTo>
                    <a:pt x="3466" y="6994"/>
                  </a:lnTo>
                  <a:lnTo>
                    <a:pt x="8349" y="6994"/>
                  </a:lnTo>
                  <a:lnTo>
                    <a:pt x="8349" y="8034"/>
                  </a:lnTo>
                  <a:cubicBezTo>
                    <a:pt x="8349" y="8601"/>
                    <a:pt x="8822" y="9042"/>
                    <a:pt x="9389" y="9042"/>
                  </a:cubicBezTo>
                  <a:cubicBezTo>
                    <a:pt x="9924" y="9042"/>
                    <a:pt x="10397" y="8570"/>
                    <a:pt x="10397" y="8034"/>
                  </a:cubicBezTo>
                  <a:lnTo>
                    <a:pt x="10397" y="6994"/>
                  </a:lnTo>
                  <a:close/>
                  <a:moveTo>
                    <a:pt x="3844" y="0"/>
                  </a:moveTo>
                  <a:cubicBezTo>
                    <a:pt x="2899" y="0"/>
                    <a:pt x="2111" y="788"/>
                    <a:pt x="2111" y="1733"/>
                  </a:cubicBezTo>
                  <a:lnTo>
                    <a:pt x="2111" y="2836"/>
                  </a:lnTo>
                  <a:lnTo>
                    <a:pt x="1733" y="2836"/>
                  </a:lnTo>
                  <a:cubicBezTo>
                    <a:pt x="788" y="2836"/>
                    <a:pt x="0" y="3623"/>
                    <a:pt x="0" y="4568"/>
                  </a:cubicBezTo>
                  <a:lnTo>
                    <a:pt x="0" y="10113"/>
                  </a:lnTo>
                  <a:cubicBezTo>
                    <a:pt x="0" y="11058"/>
                    <a:pt x="788" y="11846"/>
                    <a:pt x="1733" y="11846"/>
                  </a:cubicBezTo>
                  <a:lnTo>
                    <a:pt x="10145" y="11846"/>
                  </a:lnTo>
                  <a:cubicBezTo>
                    <a:pt x="11090" y="11846"/>
                    <a:pt x="11878" y="11058"/>
                    <a:pt x="11878" y="10113"/>
                  </a:cubicBezTo>
                  <a:lnTo>
                    <a:pt x="11878" y="4568"/>
                  </a:lnTo>
                  <a:cubicBezTo>
                    <a:pt x="11878" y="3623"/>
                    <a:pt x="11121" y="2836"/>
                    <a:pt x="10145" y="2836"/>
                  </a:cubicBezTo>
                  <a:lnTo>
                    <a:pt x="9767" y="2836"/>
                  </a:lnTo>
                  <a:lnTo>
                    <a:pt x="9767" y="1733"/>
                  </a:lnTo>
                  <a:cubicBezTo>
                    <a:pt x="9767" y="788"/>
                    <a:pt x="8979" y="0"/>
                    <a:pt x="8034"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9839" name="Google Shape;9839;p110"/>
            <p:cNvSpPr/>
            <p:nvPr/>
          </p:nvSpPr>
          <p:spPr>
            <a:xfrm>
              <a:off x="-27246025" y="2152175"/>
              <a:ext cx="70900" cy="70900"/>
            </a:xfrm>
            <a:custGeom>
              <a:avLst/>
              <a:gdLst/>
              <a:ahLst/>
              <a:cxnLst/>
              <a:rect l="l" t="t" r="r" b="b"/>
              <a:pathLst>
                <a:path w="2836" h="2836" extrusionOk="0">
                  <a:moveTo>
                    <a:pt x="1418" y="0"/>
                  </a:moveTo>
                  <a:cubicBezTo>
                    <a:pt x="1229" y="0"/>
                    <a:pt x="1072" y="158"/>
                    <a:pt x="1072" y="347"/>
                  </a:cubicBezTo>
                  <a:lnTo>
                    <a:pt x="1072" y="1072"/>
                  </a:lnTo>
                  <a:lnTo>
                    <a:pt x="347" y="1072"/>
                  </a:lnTo>
                  <a:cubicBezTo>
                    <a:pt x="158" y="1072"/>
                    <a:pt x="0" y="1229"/>
                    <a:pt x="0" y="1418"/>
                  </a:cubicBezTo>
                  <a:cubicBezTo>
                    <a:pt x="0" y="1607"/>
                    <a:pt x="158" y="1765"/>
                    <a:pt x="347" y="1765"/>
                  </a:cubicBezTo>
                  <a:lnTo>
                    <a:pt x="1072" y="1765"/>
                  </a:lnTo>
                  <a:lnTo>
                    <a:pt x="1072" y="2489"/>
                  </a:lnTo>
                  <a:cubicBezTo>
                    <a:pt x="1072" y="2678"/>
                    <a:pt x="1229" y="2836"/>
                    <a:pt x="1418" y="2836"/>
                  </a:cubicBezTo>
                  <a:cubicBezTo>
                    <a:pt x="1607" y="2836"/>
                    <a:pt x="1765" y="2678"/>
                    <a:pt x="1765" y="2489"/>
                  </a:cubicBezTo>
                  <a:lnTo>
                    <a:pt x="1765" y="1765"/>
                  </a:lnTo>
                  <a:lnTo>
                    <a:pt x="2489" y="1765"/>
                  </a:lnTo>
                  <a:cubicBezTo>
                    <a:pt x="2678" y="1765"/>
                    <a:pt x="2836" y="1607"/>
                    <a:pt x="2836" y="1418"/>
                  </a:cubicBezTo>
                  <a:cubicBezTo>
                    <a:pt x="2836" y="1229"/>
                    <a:pt x="2678" y="1072"/>
                    <a:pt x="2489" y="1072"/>
                  </a:cubicBezTo>
                  <a:lnTo>
                    <a:pt x="1765" y="1072"/>
                  </a:lnTo>
                  <a:lnTo>
                    <a:pt x="1765" y="347"/>
                  </a:lnTo>
                  <a:cubicBezTo>
                    <a:pt x="1765" y="158"/>
                    <a:pt x="1607" y="0"/>
                    <a:pt x="1418"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sp>
        <p:nvSpPr>
          <p:cNvPr id="9840" name="Google Shape;9840;p110"/>
          <p:cNvSpPr/>
          <p:nvPr/>
        </p:nvSpPr>
        <p:spPr>
          <a:xfrm>
            <a:off x="8324915" y="2678981"/>
            <a:ext cx="362935" cy="470987"/>
          </a:xfrm>
          <a:custGeom>
            <a:avLst/>
            <a:gdLst/>
            <a:ahLst/>
            <a:cxnLst/>
            <a:rect l="l" t="t" r="r" b="b"/>
            <a:pathLst>
              <a:path w="9106" h="11817" extrusionOk="0">
                <a:moveTo>
                  <a:pt x="4649" y="623"/>
                </a:moveTo>
                <a:cubicBezTo>
                  <a:pt x="5216" y="623"/>
                  <a:pt x="5756" y="897"/>
                  <a:pt x="6270" y="1325"/>
                </a:cubicBezTo>
                <a:lnTo>
                  <a:pt x="5987" y="2365"/>
                </a:lnTo>
                <a:cubicBezTo>
                  <a:pt x="5546" y="2144"/>
                  <a:pt x="5042" y="2050"/>
                  <a:pt x="4569" y="2050"/>
                </a:cubicBezTo>
                <a:cubicBezTo>
                  <a:pt x="4097" y="2050"/>
                  <a:pt x="3593" y="2144"/>
                  <a:pt x="3151" y="2365"/>
                </a:cubicBezTo>
                <a:lnTo>
                  <a:pt x="2868" y="1325"/>
                </a:lnTo>
                <a:cubicBezTo>
                  <a:pt x="3340" y="916"/>
                  <a:pt x="3939" y="664"/>
                  <a:pt x="4475" y="632"/>
                </a:cubicBezTo>
                <a:cubicBezTo>
                  <a:pt x="4533" y="626"/>
                  <a:pt x="4591" y="623"/>
                  <a:pt x="4649" y="623"/>
                </a:cubicBezTo>
                <a:close/>
                <a:moveTo>
                  <a:pt x="4601" y="4791"/>
                </a:moveTo>
                <a:cubicBezTo>
                  <a:pt x="4853" y="5074"/>
                  <a:pt x="5199" y="5358"/>
                  <a:pt x="5640" y="5610"/>
                </a:cubicBezTo>
                <a:lnTo>
                  <a:pt x="5640" y="6555"/>
                </a:lnTo>
                <a:cubicBezTo>
                  <a:pt x="5640" y="7154"/>
                  <a:pt x="5168" y="7595"/>
                  <a:pt x="4601" y="7595"/>
                </a:cubicBezTo>
                <a:cubicBezTo>
                  <a:pt x="4065" y="7595"/>
                  <a:pt x="3593" y="7122"/>
                  <a:pt x="3593" y="6555"/>
                </a:cubicBezTo>
                <a:lnTo>
                  <a:pt x="3593" y="5641"/>
                </a:lnTo>
                <a:cubicBezTo>
                  <a:pt x="3939" y="5358"/>
                  <a:pt x="4254" y="5169"/>
                  <a:pt x="4475" y="4917"/>
                </a:cubicBezTo>
                <a:lnTo>
                  <a:pt x="4601" y="4791"/>
                </a:lnTo>
                <a:close/>
                <a:moveTo>
                  <a:pt x="4569" y="2806"/>
                </a:moveTo>
                <a:cubicBezTo>
                  <a:pt x="5073" y="2806"/>
                  <a:pt x="5577" y="2964"/>
                  <a:pt x="6018" y="3216"/>
                </a:cubicBezTo>
                <a:cubicBezTo>
                  <a:pt x="6491" y="3499"/>
                  <a:pt x="6901" y="3972"/>
                  <a:pt x="7121" y="4476"/>
                </a:cubicBezTo>
                <a:lnTo>
                  <a:pt x="7877" y="6902"/>
                </a:lnTo>
                <a:lnTo>
                  <a:pt x="7877" y="6933"/>
                </a:lnTo>
                <a:cubicBezTo>
                  <a:pt x="8003" y="7217"/>
                  <a:pt x="7909" y="7469"/>
                  <a:pt x="7783" y="7626"/>
                </a:cubicBezTo>
                <a:cubicBezTo>
                  <a:pt x="7562" y="8036"/>
                  <a:pt x="7090" y="8319"/>
                  <a:pt x="6617" y="8351"/>
                </a:cubicBezTo>
                <a:cubicBezTo>
                  <a:pt x="6270" y="8351"/>
                  <a:pt x="5955" y="8162"/>
                  <a:pt x="5766" y="7878"/>
                </a:cubicBezTo>
                <a:cubicBezTo>
                  <a:pt x="6081" y="7563"/>
                  <a:pt x="6302" y="7122"/>
                  <a:pt x="6302" y="6618"/>
                </a:cubicBezTo>
                <a:lnTo>
                  <a:pt x="6302" y="6114"/>
                </a:lnTo>
                <a:cubicBezTo>
                  <a:pt x="6333" y="6145"/>
                  <a:pt x="6428" y="6177"/>
                  <a:pt x="6459" y="6208"/>
                </a:cubicBezTo>
                <a:cubicBezTo>
                  <a:pt x="6554" y="6272"/>
                  <a:pt x="6585" y="6272"/>
                  <a:pt x="6648" y="6272"/>
                </a:cubicBezTo>
                <a:cubicBezTo>
                  <a:pt x="6775" y="6272"/>
                  <a:pt x="6901" y="6208"/>
                  <a:pt x="6932" y="6114"/>
                </a:cubicBezTo>
                <a:cubicBezTo>
                  <a:pt x="7058" y="5956"/>
                  <a:pt x="6995" y="5704"/>
                  <a:pt x="6869" y="5641"/>
                </a:cubicBezTo>
                <a:cubicBezTo>
                  <a:pt x="6617" y="5484"/>
                  <a:pt x="6428" y="5358"/>
                  <a:pt x="6239" y="5232"/>
                </a:cubicBezTo>
                <a:cubicBezTo>
                  <a:pt x="6176" y="5200"/>
                  <a:pt x="6144" y="5169"/>
                  <a:pt x="6113" y="5169"/>
                </a:cubicBezTo>
                <a:cubicBezTo>
                  <a:pt x="5199" y="4570"/>
                  <a:pt x="4979" y="4381"/>
                  <a:pt x="4979" y="3814"/>
                </a:cubicBezTo>
                <a:cubicBezTo>
                  <a:pt x="4979" y="3625"/>
                  <a:pt x="4821" y="3468"/>
                  <a:pt x="4601" y="3468"/>
                </a:cubicBezTo>
                <a:cubicBezTo>
                  <a:pt x="4412" y="3468"/>
                  <a:pt x="4254" y="3625"/>
                  <a:pt x="4254" y="3814"/>
                </a:cubicBezTo>
                <a:cubicBezTo>
                  <a:pt x="4254" y="4381"/>
                  <a:pt x="4034" y="4570"/>
                  <a:pt x="3120" y="5169"/>
                </a:cubicBezTo>
                <a:cubicBezTo>
                  <a:pt x="3057" y="5169"/>
                  <a:pt x="3025" y="5200"/>
                  <a:pt x="2994" y="5232"/>
                </a:cubicBezTo>
                <a:cubicBezTo>
                  <a:pt x="2805" y="5358"/>
                  <a:pt x="2584" y="5484"/>
                  <a:pt x="2364" y="5641"/>
                </a:cubicBezTo>
                <a:cubicBezTo>
                  <a:pt x="2206" y="5736"/>
                  <a:pt x="2175" y="5956"/>
                  <a:pt x="2269" y="6114"/>
                </a:cubicBezTo>
                <a:cubicBezTo>
                  <a:pt x="2343" y="6206"/>
                  <a:pt x="2448" y="6255"/>
                  <a:pt x="2548" y="6255"/>
                </a:cubicBezTo>
                <a:cubicBezTo>
                  <a:pt x="2620" y="6255"/>
                  <a:pt x="2689" y="6230"/>
                  <a:pt x="2742" y="6177"/>
                </a:cubicBezTo>
                <a:cubicBezTo>
                  <a:pt x="2805" y="6145"/>
                  <a:pt x="2868" y="6114"/>
                  <a:pt x="2899" y="6051"/>
                </a:cubicBezTo>
                <a:lnTo>
                  <a:pt x="2899" y="6587"/>
                </a:lnTo>
                <a:cubicBezTo>
                  <a:pt x="2899" y="7059"/>
                  <a:pt x="3120" y="7532"/>
                  <a:pt x="3466" y="7847"/>
                </a:cubicBezTo>
                <a:cubicBezTo>
                  <a:pt x="3277" y="8099"/>
                  <a:pt x="2962" y="8319"/>
                  <a:pt x="2616" y="8319"/>
                </a:cubicBezTo>
                <a:cubicBezTo>
                  <a:pt x="2143" y="8256"/>
                  <a:pt x="1671" y="8004"/>
                  <a:pt x="1419" y="7595"/>
                </a:cubicBezTo>
                <a:cubicBezTo>
                  <a:pt x="1230" y="7437"/>
                  <a:pt x="1135" y="7217"/>
                  <a:pt x="1261" y="6933"/>
                </a:cubicBezTo>
                <a:lnTo>
                  <a:pt x="2017" y="4476"/>
                </a:lnTo>
                <a:cubicBezTo>
                  <a:pt x="2238" y="3940"/>
                  <a:pt x="2647" y="3499"/>
                  <a:pt x="3120" y="3216"/>
                </a:cubicBezTo>
                <a:cubicBezTo>
                  <a:pt x="3529" y="2964"/>
                  <a:pt x="4065" y="2806"/>
                  <a:pt x="4569" y="2806"/>
                </a:cubicBezTo>
                <a:close/>
                <a:moveTo>
                  <a:pt x="5231" y="8225"/>
                </a:moveTo>
                <a:cubicBezTo>
                  <a:pt x="5325" y="8382"/>
                  <a:pt x="5420" y="8508"/>
                  <a:pt x="5577" y="8634"/>
                </a:cubicBezTo>
                <a:lnTo>
                  <a:pt x="4569" y="9580"/>
                </a:lnTo>
                <a:lnTo>
                  <a:pt x="3624" y="8634"/>
                </a:lnTo>
                <a:cubicBezTo>
                  <a:pt x="3750" y="8508"/>
                  <a:pt x="3845" y="8382"/>
                  <a:pt x="3971" y="8225"/>
                </a:cubicBezTo>
                <a:cubicBezTo>
                  <a:pt x="4160" y="8319"/>
                  <a:pt x="4380" y="8351"/>
                  <a:pt x="4601" y="8351"/>
                </a:cubicBezTo>
                <a:cubicBezTo>
                  <a:pt x="4853" y="8351"/>
                  <a:pt x="5042" y="8319"/>
                  <a:pt x="5231" y="8225"/>
                </a:cubicBezTo>
                <a:close/>
                <a:moveTo>
                  <a:pt x="2994" y="8949"/>
                </a:moveTo>
                <a:lnTo>
                  <a:pt x="4254" y="10210"/>
                </a:lnTo>
                <a:lnTo>
                  <a:pt x="4254" y="11092"/>
                </a:lnTo>
                <a:lnTo>
                  <a:pt x="789" y="11092"/>
                </a:lnTo>
                <a:lnTo>
                  <a:pt x="789" y="10745"/>
                </a:lnTo>
                <a:cubicBezTo>
                  <a:pt x="789" y="9800"/>
                  <a:pt x="1576" y="9012"/>
                  <a:pt x="2521" y="9012"/>
                </a:cubicBezTo>
                <a:cubicBezTo>
                  <a:pt x="2679" y="9012"/>
                  <a:pt x="2836" y="8981"/>
                  <a:pt x="2994" y="8949"/>
                </a:cubicBezTo>
                <a:close/>
                <a:moveTo>
                  <a:pt x="6176" y="8949"/>
                </a:moveTo>
                <a:cubicBezTo>
                  <a:pt x="6333" y="8981"/>
                  <a:pt x="6491" y="9012"/>
                  <a:pt x="6648" y="9012"/>
                </a:cubicBezTo>
                <a:cubicBezTo>
                  <a:pt x="7594" y="9012"/>
                  <a:pt x="8381" y="9800"/>
                  <a:pt x="8381" y="10745"/>
                </a:cubicBezTo>
                <a:lnTo>
                  <a:pt x="8381" y="11092"/>
                </a:lnTo>
                <a:lnTo>
                  <a:pt x="4916" y="11092"/>
                </a:lnTo>
                <a:lnTo>
                  <a:pt x="4916" y="10210"/>
                </a:lnTo>
                <a:lnTo>
                  <a:pt x="6176" y="8949"/>
                </a:lnTo>
                <a:close/>
                <a:moveTo>
                  <a:pt x="4553" y="0"/>
                </a:moveTo>
                <a:cubicBezTo>
                  <a:pt x="4517" y="0"/>
                  <a:pt x="4480" y="1"/>
                  <a:pt x="4443" y="2"/>
                </a:cubicBezTo>
                <a:cubicBezTo>
                  <a:pt x="3656" y="34"/>
                  <a:pt x="2836" y="380"/>
                  <a:pt x="2206" y="1010"/>
                </a:cubicBezTo>
                <a:cubicBezTo>
                  <a:pt x="2143" y="1105"/>
                  <a:pt x="2080" y="1231"/>
                  <a:pt x="2143" y="1325"/>
                </a:cubicBezTo>
                <a:lnTo>
                  <a:pt x="2490" y="2743"/>
                </a:lnTo>
                <a:cubicBezTo>
                  <a:pt x="1986" y="3121"/>
                  <a:pt x="1576" y="3625"/>
                  <a:pt x="1293" y="4224"/>
                </a:cubicBezTo>
                <a:lnTo>
                  <a:pt x="1293" y="4255"/>
                </a:lnTo>
                <a:lnTo>
                  <a:pt x="568" y="6650"/>
                </a:lnTo>
                <a:cubicBezTo>
                  <a:pt x="411" y="7091"/>
                  <a:pt x="442" y="7563"/>
                  <a:pt x="663" y="8004"/>
                </a:cubicBezTo>
                <a:cubicBezTo>
                  <a:pt x="820" y="8225"/>
                  <a:pt x="1041" y="8477"/>
                  <a:pt x="1261" y="8634"/>
                </a:cubicBezTo>
                <a:cubicBezTo>
                  <a:pt x="505" y="9012"/>
                  <a:pt x="1" y="9832"/>
                  <a:pt x="1" y="10745"/>
                </a:cubicBezTo>
                <a:lnTo>
                  <a:pt x="1" y="11470"/>
                </a:lnTo>
                <a:cubicBezTo>
                  <a:pt x="1" y="11659"/>
                  <a:pt x="158" y="11816"/>
                  <a:pt x="347" y="11816"/>
                </a:cubicBezTo>
                <a:lnTo>
                  <a:pt x="8665" y="11816"/>
                </a:lnTo>
                <a:cubicBezTo>
                  <a:pt x="8854" y="11816"/>
                  <a:pt x="9011" y="11659"/>
                  <a:pt x="9011" y="11470"/>
                </a:cubicBezTo>
                <a:lnTo>
                  <a:pt x="9011" y="10745"/>
                </a:lnTo>
                <a:cubicBezTo>
                  <a:pt x="9106" y="9832"/>
                  <a:pt x="8570" y="9012"/>
                  <a:pt x="7783" y="8634"/>
                </a:cubicBezTo>
                <a:cubicBezTo>
                  <a:pt x="8035" y="8477"/>
                  <a:pt x="8255" y="8225"/>
                  <a:pt x="8381" y="8004"/>
                </a:cubicBezTo>
                <a:cubicBezTo>
                  <a:pt x="8665" y="7563"/>
                  <a:pt x="8696" y="7091"/>
                  <a:pt x="8507" y="6650"/>
                </a:cubicBezTo>
                <a:lnTo>
                  <a:pt x="7751" y="4255"/>
                </a:lnTo>
                <a:lnTo>
                  <a:pt x="7751" y="4224"/>
                </a:lnTo>
                <a:cubicBezTo>
                  <a:pt x="7531" y="3625"/>
                  <a:pt x="7090" y="3121"/>
                  <a:pt x="6585" y="2743"/>
                </a:cubicBezTo>
                <a:lnTo>
                  <a:pt x="6932" y="1325"/>
                </a:lnTo>
                <a:cubicBezTo>
                  <a:pt x="6964" y="1231"/>
                  <a:pt x="6932" y="1105"/>
                  <a:pt x="6838" y="1010"/>
                </a:cubicBezTo>
                <a:cubicBezTo>
                  <a:pt x="6173" y="346"/>
                  <a:pt x="5393" y="0"/>
                  <a:pt x="4553"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9841" name="Google Shape;9841;p110"/>
          <p:cNvSpPr/>
          <p:nvPr/>
        </p:nvSpPr>
        <p:spPr>
          <a:xfrm>
            <a:off x="8269674" y="3266663"/>
            <a:ext cx="473417" cy="472181"/>
          </a:xfrm>
          <a:custGeom>
            <a:avLst/>
            <a:gdLst/>
            <a:ahLst/>
            <a:cxnLst/>
            <a:rect l="l" t="t" r="r" b="b"/>
            <a:pathLst>
              <a:path w="11878" h="11847" extrusionOk="0">
                <a:moveTo>
                  <a:pt x="10523" y="694"/>
                </a:moveTo>
                <a:cubicBezTo>
                  <a:pt x="10680" y="694"/>
                  <a:pt x="10901" y="788"/>
                  <a:pt x="10995" y="883"/>
                </a:cubicBezTo>
                <a:cubicBezTo>
                  <a:pt x="11121" y="1009"/>
                  <a:pt x="11184" y="1198"/>
                  <a:pt x="11184" y="1356"/>
                </a:cubicBezTo>
                <a:cubicBezTo>
                  <a:pt x="11184" y="1576"/>
                  <a:pt x="11121" y="1734"/>
                  <a:pt x="10995" y="1828"/>
                </a:cubicBezTo>
                <a:lnTo>
                  <a:pt x="9389" y="3466"/>
                </a:lnTo>
                <a:cubicBezTo>
                  <a:pt x="9105" y="3718"/>
                  <a:pt x="8948" y="4096"/>
                  <a:pt x="8916" y="4443"/>
                </a:cubicBezTo>
                <a:lnTo>
                  <a:pt x="7467" y="2994"/>
                </a:lnTo>
                <a:cubicBezTo>
                  <a:pt x="7813" y="2931"/>
                  <a:pt x="8160" y="2773"/>
                  <a:pt x="8444" y="2521"/>
                </a:cubicBezTo>
                <a:lnTo>
                  <a:pt x="10050" y="883"/>
                </a:lnTo>
                <a:cubicBezTo>
                  <a:pt x="10176" y="788"/>
                  <a:pt x="10365" y="694"/>
                  <a:pt x="10523" y="694"/>
                </a:cubicBezTo>
                <a:close/>
                <a:moveTo>
                  <a:pt x="5766" y="2427"/>
                </a:moveTo>
                <a:cubicBezTo>
                  <a:pt x="5860" y="2427"/>
                  <a:pt x="5955" y="2458"/>
                  <a:pt x="6018" y="2553"/>
                </a:cubicBezTo>
                <a:lnTo>
                  <a:pt x="9420" y="5987"/>
                </a:lnTo>
                <a:cubicBezTo>
                  <a:pt x="9515" y="6050"/>
                  <a:pt x="9546" y="6144"/>
                  <a:pt x="9546" y="6207"/>
                </a:cubicBezTo>
                <a:cubicBezTo>
                  <a:pt x="9452" y="6239"/>
                  <a:pt x="9452" y="6333"/>
                  <a:pt x="9389" y="6396"/>
                </a:cubicBezTo>
                <a:cubicBezTo>
                  <a:pt x="9326" y="6459"/>
                  <a:pt x="9239" y="6491"/>
                  <a:pt x="9152" y="6491"/>
                </a:cubicBezTo>
                <a:cubicBezTo>
                  <a:pt x="9066" y="6491"/>
                  <a:pt x="8979" y="6459"/>
                  <a:pt x="8916" y="6396"/>
                </a:cubicBezTo>
                <a:lnTo>
                  <a:pt x="8444" y="5924"/>
                </a:lnTo>
                <a:lnTo>
                  <a:pt x="6018" y="3498"/>
                </a:lnTo>
                <a:lnTo>
                  <a:pt x="5545" y="3025"/>
                </a:lnTo>
                <a:cubicBezTo>
                  <a:pt x="5419" y="2899"/>
                  <a:pt x="5419" y="2679"/>
                  <a:pt x="5545" y="2553"/>
                </a:cubicBezTo>
                <a:cubicBezTo>
                  <a:pt x="5608" y="2458"/>
                  <a:pt x="5703" y="2427"/>
                  <a:pt x="5766" y="2427"/>
                </a:cubicBezTo>
                <a:close/>
                <a:moveTo>
                  <a:pt x="5734" y="4159"/>
                </a:moveTo>
                <a:lnTo>
                  <a:pt x="7687" y="6144"/>
                </a:lnTo>
                <a:lnTo>
                  <a:pt x="7183" y="6648"/>
                </a:lnTo>
                <a:lnTo>
                  <a:pt x="6427" y="5892"/>
                </a:lnTo>
                <a:cubicBezTo>
                  <a:pt x="6364" y="5829"/>
                  <a:pt x="6278" y="5798"/>
                  <a:pt x="6191" y="5798"/>
                </a:cubicBezTo>
                <a:cubicBezTo>
                  <a:pt x="6104" y="5798"/>
                  <a:pt x="6018" y="5829"/>
                  <a:pt x="5955" y="5892"/>
                </a:cubicBezTo>
                <a:cubicBezTo>
                  <a:pt x="5829" y="6018"/>
                  <a:pt x="5829" y="6239"/>
                  <a:pt x="5955" y="6365"/>
                </a:cubicBezTo>
                <a:lnTo>
                  <a:pt x="6711" y="7121"/>
                </a:lnTo>
                <a:lnTo>
                  <a:pt x="6238" y="7593"/>
                </a:lnTo>
                <a:lnTo>
                  <a:pt x="4253" y="5609"/>
                </a:lnTo>
                <a:lnTo>
                  <a:pt x="5734" y="4159"/>
                </a:lnTo>
                <a:close/>
                <a:moveTo>
                  <a:pt x="3718" y="6176"/>
                </a:moveTo>
                <a:lnTo>
                  <a:pt x="5703" y="8129"/>
                </a:lnTo>
                <a:lnTo>
                  <a:pt x="5230" y="8602"/>
                </a:lnTo>
                <a:lnTo>
                  <a:pt x="4474" y="7877"/>
                </a:lnTo>
                <a:cubicBezTo>
                  <a:pt x="4411" y="7814"/>
                  <a:pt x="4324" y="7782"/>
                  <a:pt x="4238" y="7782"/>
                </a:cubicBezTo>
                <a:cubicBezTo>
                  <a:pt x="4151" y="7782"/>
                  <a:pt x="4064" y="7814"/>
                  <a:pt x="4001" y="7877"/>
                </a:cubicBezTo>
                <a:cubicBezTo>
                  <a:pt x="3875" y="7972"/>
                  <a:pt x="3875" y="8224"/>
                  <a:pt x="4001" y="8350"/>
                </a:cubicBezTo>
                <a:lnTo>
                  <a:pt x="4694" y="9043"/>
                </a:lnTo>
                <a:cubicBezTo>
                  <a:pt x="4537" y="9169"/>
                  <a:pt x="4379" y="9232"/>
                  <a:pt x="4190" y="9295"/>
                </a:cubicBezTo>
                <a:cubicBezTo>
                  <a:pt x="3119" y="9547"/>
                  <a:pt x="2332" y="9988"/>
                  <a:pt x="1733" y="10586"/>
                </a:cubicBezTo>
                <a:lnTo>
                  <a:pt x="1355" y="10964"/>
                </a:lnTo>
                <a:cubicBezTo>
                  <a:pt x="1292" y="11027"/>
                  <a:pt x="1205" y="11059"/>
                  <a:pt x="1119" y="11059"/>
                </a:cubicBezTo>
                <a:cubicBezTo>
                  <a:pt x="1032" y="11059"/>
                  <a:pt x="945" y="11027"/>
                  <a:pt x="882" y="10964"/>
                </a:cubicBezTo>
                <a:cubicBezTo>
                  <a:pt x="819" y="10901"/>
                  <a:pt x="756" y="10807"/>
                  <a:pt x="756" y="10744"/>
                </a:cubicBezTo>
                <a:cubicBezTo>
                  <a:pt x="756" y="10649"/>
                  <a:pt x="788" y="10555"/>
                  <a:pt x="882" y="10492"/>
                </a:cubicBezTo>
                <a:lnTo>
                  <a:pt x="1260" y="10114"/>
                </a:lnTo>
                <a:cubicBezTo>
                  <a:pt x="1859" y="9515"/>
                  <a:pt x="2300" y="8696"/>
                  <a:pt x="2584" y="7656"/>
                </a:cubicBezTo>
                <a:cubicBezTo>
                  <a:pt x="2647" y="7404"/>
                  <a:pt x="2804" y="7121"/>
                  <a:pt x="3025" y="6869"/>
                </a:cubicBezTo>
                <a:lnTo>
                  <a:pt x="3718" y="6176"/>
                </a:lnTo>
                <a:close/>
                <a:moveTo>
                  <a:pt x="10491" y="1"/>
                </a:moveTo>
                <a:cubicBezTo>
                  <a:pt x="10145" y="1"/>
                  <a:pt x="9767" y="158"/>
                  <a:pt x="9515" y="379"/>
                </a:cubicBezTo>
                <a:lnTo>
                  <a:pt x="7876" y="1986"/>
                </a:lnTo>
                <a:cubicBezTo>
                  <a:pt x="7687" y="2190"/>
                  <a:pt x="7428" y="2293"/>
                  <a:pt x="7164" y="2293"/>
                </a:cubicBezTo>
                <a:cubicBezTo>
                  <a:pt x="6900" y="2293"/>
                  <a:pt x="6632" y="2190"/>
                  <a:pt x="6427" y="1986"/>
                </a:cubicBezTo>
                <a:cubicBezTo>
                  <a:pt x="6238" y="1797"/>
                  <a:pt x="5978" y="1702"/>
                  <a:pt x="5714" y="1702"/>
                </a:cubicBezTo>
                <a:cubicBezTo>
                  <a:pt x="5451" y="1702"/>
                  <a:pt x="5183" y="1797"/>
                  <a:pt x="4978" y="1986"/>
                </a:cubicBezTo>
                <a:cubicBezTo>
                  <a:pt x="4600" y="2395"/>
                  <a:pt x="4600" y="3057"/>
                  <a:pt x="4978" y="3435"/>
                </a:cubicBezTo>
                <a:lnTo>
                  <a:pt x="5199" y="3687"/>
                </a:lnTo>
                <a:lnTo>
                  <a:pt x="3466" y="5420"/>
                </a:lnTo>
                <a:lnTo>
                  <a:pt x="2489" y="6396"/>
                </a:lnTo>
                <a:cubicBezTo>
                  <a:pt x="2174" y="6711"/>
                  <a:pt x="1985" y="7058"/>
                  <a:pt x="1859" y="7499"/>
                </a:cubicBezTo>
                <a:cubicBezTo>
                  <a:pt x="1638" y="8413"/>
                  <a:pt x="1229" y="9106"/>
                  <a:pt x="725" y="9641"/>
                </a:cubicBezTo>
                <a:lnTo>
                  <a:pt x="315" y="10019"/>
                </a:lnTo>
                <a:cubicBezTo>
                  <a:pt x="126" y="10240"/>
                  <a:pt x="0" y="10492"/>
                  <a:pt x="0" y="10775"/>
                </a:cubicBezTo>
                <a:cubicBezTo>
                  <a:pt x="0" y="11059"/>
                  <a:pt x="126" y="11343"/>
                  <a:pt x="315" y="11532"/>
                </a:cubicBezTo>
                <a:cubicBezTo>
                  <a:pt x="536" y="11721"/>
                  <a:pt x="788" y="11847"/>
                  <a:pt x="1071" y="11847"/>
                </a:cubicBezTo>
                <a:cubicBezTo>
                  <a:pt x="1355" y="11847"/>
                  <a:pt x="1638" y="11721"/>
                  <a:pt x="1828" y="11532"/>
                </a:cubicBezTo>
                <a:lnTo>
                  <a:pt x="2237" y="11122"/>
                </a:lnTo>
                <a:cubicBezTo>
                  <a:pt x="2741" y="10618"/>
                  <a:pt x="3434" y="10240"/>
                  <a:pt x="4348" y="9988"/>
                </a:cubicBezTo>
                <a:cubicBezTo>
                  <a:pt x="4757" y="9862"/>
                  <a:pt x="5136" y="9673"/>
                  <a:pt x="5419" y="9389"/>
                </a:cubicBezTo>
                <a:lnTo>
                  <a:pt x="6396" y="8413"/>
                </a:lnTo>
                <a:lnTo>
                  <a:pt x="7372" y="7436"/>
                </a:lnTo>
                <a:lnTo>
                  <a:pt x="8129" y="6680"/>
                </a:lnTo>
                <a:lnTo>
                  <a:pt x="8349" y="6932"/>
                </a:lnTo>
                <a:cubicBezTo>
                  <a:pt x="8570" y="7121"/>
                  <a:pt x="8822" y="7247"/>
                  <a:pt x="9105" y="7247"/>
                </a:cubicBezTo>
                <a:cubicBezTo>
                  <a:pt x="9389" y="7247"/>
                  <a:pt x="9672" y="7121"/>
                  <a:pt x="9861" y="6932"/>
                </a:cubicBezTo>
                <a:cubicBezTo>
                  <a:pt x="10050" y="6711"/>
                  <a:pt x="10176" y="6459"/>
                  <a:pt x="10176" y="6176"/>
                </a:cubicBezTo>
                <a:cubicBezTo>
                  <a:pt x="10176" y="5892"/>
                  <a:pt x="10050" y="5609"/>
                  <a:pt x="9861" y="5420"/>
                </a:cubicBezTo>
                <a:cubicBezTo>
                  <a:pt x="9672" y="5231"/>
                  <a:pt x="9546" y="4947"/>
                  <a:pt x="9546" y="4664"/>
                </a:cubicBezTo>
                <a:cubicBezTo>
                  <a:pt x="9546" y="4380"/>
                  <a:pt x="9672" y="4128"/>
                  <a:pt x="9861" y="3907"/>
                </a:cubicBezTo>
                <a:lnTo>
                  <a:pt x="11468" y="2364"/>
                </a:lnTo>
                <a:cubicBezTo>
                  <a:pt x="11752" y="2080"/>
                  <a:pt x="11878" y="1734"/>
                  <a:pt x="11878" y="1356"/>
                </a:cubicBezTo>
                <a:cubicBezTo>
                  <a:pt x="11878" y="1009"/>
                  <a:pt x="11720" y="662"/>
                  <a:pt x="11468" y="379"/>
                </a:cubicBezTo>
                <a:cubicBezTo>
                  <a:pt x="11184" y="95"/>
                  <a:pt x="10838" y="1"/>
                  <a:pt x="10491"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9842" name="Google Shape;9842;p110"/>
          <p:cNvSpPr/>
          <p:nvPr/>
        </p:nvSpPr>
        <p:spPr>
          <a:xfrm>
            <a:off x="6511305" y="3856429"/>
            <a:ext cx="429496" cy="469671"/>
          </a:xfrm>
          <a:custGeom>
            <a:avLst/>
            <a:gdLst/>
            <a:ahLst/>
            <a:cxnLst/>
            <a:rect l="l" t="t" r="r" b="b"/>
            <a:pathLst>
              <a:path w="10776" h="11784" extrusionOk="0">
                <a:moveTo>
                  <a:pt x="5388" y="662"/>
                </a:moveTo>
                <a:cubicBezTo>
                  <a:pt x="6144" y="662"/>
                  <a:pt x="6774" y="1355"/>
                  <a:pt x="6774" y="2080"/>
                </a:cubicBezTo>
                <a:cubicBezTo>
                  <a:pt x="6774" y="2206"/>
                  <a:pt x="6711" y="2332"/>
                  <a:pt x="6680" y="2489"/>
                </a:cubicBezTo>
                <a:cubicBezTo>
                  <a:pt x="6333" y="2206"/>
                  <a:pt x="5861" y="2017"/>
                  <a:pt x="5388" y="2017"/>
                </a:cubicBezTo>
                <a:cubicBezTo>
                  <a:pt x="4915" y="2017"/>
                  <a:pt x="4443" y="2174"/>
                  <a:pt x="4096" y="2489"/>
                </a:cubicBezTo>
                <a:cubicBezTo>
                  <a:pt x="4033" y="2332"/>
                  <a:pt x="4002" y="2206"/>
                  <a:pt x="4002" y="2080"/>
                </a:cubicBezTo>
                <a:cubicBezTo>
                  <a:pt x="4002" y="1355"/>
                  <a:pt x="4632" y="662"/>
                  <a:pt x="5388" y="662"/>
                </a:cubicBezTo>
                <a:close/>
                <a:moveTo>
                  <a:pt x="5388" y="2710"/>
                </a:moveTo>
                <a:cubicBezTo>
                  <a:pt x="5766" y="2710"/>
                  <a:pt x="6144" y="2867"/>
                  <a:pt x="6365" y="3151"/>
                </a:cubicBezTo>
                <a:cubicBezTo>
                  <a:pt x="6176" y="3592"/>
                  <a:pt x="5829" y="4096"/>
                  <a:pt x="5419" y="4663"/>
                </a:cubicBezTo>
                <a:cubicBezTo>
                  <a:pt x="5293" y="4506"/>
                  <a:pt x="5230" y="4380"/>
                  <a:pt x="5104" y="4253"/>
                </a:cubicBezTo>
                <a:cubicBezTo>
                  <a:pt x="4852" y="3812"/>
                  <a:pt x="4600" y="3466"/>
                  <a:pt x="4411" y="3151"/>
                </a:cubicBezTo>
                <a:cubicBezTo>
                  <a:pt x="4663" y="2867"/>
                  <a:pt x="5041" y="2710"/>
                  <a:pt x="5388" y="2710"/>
                </a:cubicBezTo>
                <a:close/>
                <a:moveTo>
                  <a:pt x="7404" y="1576"/>
                </a:moveTo>
                <a:lnTo>
                  <a:pt x="7404" y="1576"/>
                </a:lnTo>
                <a:cubicBezTo>
                  <a:pt x="7908" y="2048"/>
                  <a:pt x="8192" y="2773"/>
                  <a:pt x="8192" y="3497"/>
                </a:cubicBezTo>
                <a:cubicBezTo>
                  <a:pt x="8192" y="4222"/>
                  <a:pt x="7719" y="5230"/>
                  <a:pt x="6806" y="6490"/>
                </a:cubicBezTo>
                <a:cubicBezTo>
                  <a:pt x="6459" y="6081"/>
                  <a:pt x="6144" y="5640"/>
                  <a:pt x="5829" y="5230"/>
                </a:cubicBezTo>
                <a:cubicBezTo>
                  <a:pt x="6050" y="4915"/>
                  <a:pt x="6428" y="4443"/>
                  <a:pt x="6743" y="3938"/>
                </a:cubicBezTo>
                <a:cubicBezTo>
                  <a:pt x="7215" y="3151"/>
                  <a:pt x="7467" y="2552"/>
                  <a:pt x="7467" y="2143"/>
                </a:cubicBezTo>
                <a:cubicBezTo>
                  <a:pt x="7467" y="1922"/>
                  <a:pt x="7436" y="1733"/>
                  <a:pt x="7404" y="1576"/>
                </a:cubicBezTo>
                <a:close/>
                <a:moveTo>
                  <a:pt x="3970" y="7593"/>
                </a:moveTo>
                <a:cubicBezTo>
                  <a:pt x="4002" y="7656"/>
                  <a:pt x="4033" y="7688"/>
                  <a:pt x="4033" y="7719"/>
                </a:cubicBezTo>
                <a:lnTo>
                  <a:pt x="4947" y="8853"/>
                </a:lnTo>
                <a:lnTo>
                  <a:pt x="3151" y="11153"/>
                </a:lnTo>
                <a:lnTo>
                  <a:pt x="1135" y="11153"/>
                </a:lnTo>
                <a:cubicBezTo>
                  <a:pt x="2300" y="9641"/>
                  <a:pt x="3214" y="8538"/>
                  <a:pt x="3876" y="7719"/>
                </a:cubicBezTo>
                <a:lnTo>
                  <a:pt x="3970" y="7593"/>
                </a:lnTo>
                <a:close/>
                <a:moveTo>
                  <a:pt x="3435" y="1576"/>
                </a:moveTo>
                <a:lnTo>
                  <a:pt x="3435" y="1576"/>
                </a:lnTo>
                <a:cubicBezTo>
                  <a:pt x="3372" y="1765"/>
                  <a:pt x="3340" y="1922"/>
                  <a:pt x="3340" y="2143"/>
                </a:cubicBezTo>
                <a:cubicBezTo>
                  <a:pt x="3340" y="2710"/>
                  <a:pt x="3687" y="3466"/>
                  <a:pt x="4569" y="4663"/>
                </a:cubicBezTo>
                <a:cubicBezTo>
                  <a:pt x="4726" y="4884"/>
                  <a:pt x="5167" y="5482"/>
                  <a:pt x="5199" y="5482"/>
                </a:cubicBezTo>
                <a:cubicBezTo>
                  <a:pt x="5892" y="6396"/>
                  <a:pt x="6774" y="7498"/>
                  <a:pt x="7782" y="8759"/>
                </a:cubicBezTo>
                <a:cubicBezTo>
                  <a:pt x="8381" y="9452"/>
                  <a:pt x="9011" y="10239"/>
                  <a:pt x="9673" y="11122"/>
                </a:cubicBezTo>
                <a:lnTo>
                  <a:pt x="7656" y="11122"/>
                </a:lnTo>
                <a:lnTo>
                  <a:pt x="7656" y="11153"/>
                </a:lnTo>
                <a:lnTo>
                  <a:pt x="5672" y="8633"/>
                </a:lnTo>
                <a:lnTo>
                  <a:pt x="4600" y="7278"/>
                </a:lnTo>
                <a:cubicBezTo>
                  <a:pt x="4474" y="7120"/>
                  <a:pt x="4380" y="7026"/>
                  <a:pt x="4254" y="6868"/>
                </a:cubicBezTo>
                <a:lnTo>
                  <a:pt x="4254" y="6805"/>
                </a:lnTo>
                <a:cubicBezTo>
                  <a:pt x="3214" y="5451"/>
                  <a:pt x="2647" y="4253"/>
                  <a:pt x="2647" y="3497"/>
                </a:cubicBezTo>
                <a:cubicBezTo>
                  <a:pt x="2647" y="2773"/>
                  <a:pt x="2899" y="2048"/>
                  <a:pt x="3435" y="1576"/>
                </a:cubicBezTo>
                <a:close/>
                <a:moveTo>
                  <a:pt x="5388" y="0"/>
                </a:moveTo>
                <a:cubicBezTo>
                  <a:pt x="4474" y="0"/>
                  <a:pt x="3592" y="347"/>
                  <a:pt x="2962" y="1009"/>
                </a:cubicBezTo>
                <a:cubicBezTo>
                  <a:pt x="2269" y="1702"/>
                  <a:pt x="1922" y="2552"/>
                  <a:pt x="1922" y="3497"/>
                </a:cubicBezTo>
                <a:cubicBezTo>
                  <a:pt x="1922" y="4569"/>
                  <a:pt x="2710" y="5892"/>
                  <a:pt x="3498" y="6994"/>
                </a:cubicBezTo>
                <a:lnTo>
                  <a:pt x="3309" y="7246"/>
                </a:lnTo>
                <a:cubicBezTo>
                  <a:pt x="2553" y="8192"/>
                  <a:pt x="1544" y="9452"/>
                  <a:pt x="127" y="11216"/>
                </a:cubicBezTo>
                <a:cubicBezTo>
                  <a:pt x="32" y="11342"/>
                  <a:pt x="1" y="11468"/>
                  <a:pt x="64" y="11563"/>
                </a:cubicBezTo>
                <a:cubicBezTo>
                  <a:pt x="127" y="11689"/>
                  <a:pt x="284" y="11783"/>
                  <a:pt x="379" y="11783"/>
                </a:cubicBezTo>
                <a:lnTo>
                  <a:pt x="3277" y="11783"/>
                </a:lnTo>
                <a:cubicBezTo>
                  <a:pt x="3372" y="11783"/>
                  <a:pt x="3466" y="11720"/>
                  <a:pt x="3529" y="11657"/>
                </a:cubicBezTo>
                <a:lnTo>
                  <a:pt x="5388" y="9357"/>
                </a:lnTo>
                <a:lnTo>
                  <a:pt x="7247" y="11657"/>
                </a:lnTo>
                <a:cubicBezTo>
                  <a:pt x="7310" y="11720"/>
                  <a:pt x="7404" y="11783"/>
                  <a:pt x="7530" y="11783"/>
                </a:cubicBezTo>
                <a:lnTo>
                  <a:pt x="10397" y="11783"/>
                </a:lnTo>
                <a:cubicBezTo>
                  <a:pt x="10523" y="11783"/>
                  <a:pt x="10618" y="11689"/>
                  <a:pt x="10712" y="11563"/>
                </a:cubicBezTo>
                <a:cubicBezTo>
                  <a:pt x="10775" y="11500"/>
                  <a:pt x="10775" y="11374"/>
                  <a:pt x="10649" y="11279"/>
                </a:cubicBezTo>
                <a:cubicBezTo>
                  <a:pt x="9799" y="10208"/>
                  <a:pt x="9011" y="9231"/>
                  <a:pt x="8286" y="8349"/>
                </a:cubicBezTo>
                <a:cubicBezTo>
                  <a:pt x="7940" y="7877"/>
                  <a:pt x="7593" y="7435"/>
                  <a:pt x="7247" y="7057"/>
                </a:cubicBezTo>
                <a:cubicBezTo>
                  <a:pt x="8003" y="5986"/>
                  <a:pt x="8854" y="4600"/>
                  <a:pt x="8854" y="3497"/>
                </a:cubicBezTo>
                <a:cubicBezTo>
                  <a:pt x="8854" y="2552"/>
                  <a:pt x="8507" y="1702"/>
                  <a:pt x="7814" y="1009"/>
                </a:cubicBezTo>
                <a:cubicBezTo>
                  <a:pt x="7152" y="347"/>
                  <a:pt x="6302" y="0"/>
                  <a:pt x="5388"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nvGrpSpPr>
          <p:cNvPr id="9843" name="Google Shape;9843;p110"/>
          <p:cNvGrpSpPr/>
          <p:nvPr/>
        </p:nvGrpSpPr>
        <p:grpSpPr>
          <a:xfrm>
            <a:off x="6487508" y="4466087"/>
            <a:ext cx="475928" cy="443285"/>
            <a:chOff x="-25477800" y="2357750"/>
            <a:chExt cx="298525" cy="278050"/>
          </a:xfrm>
        </p:grpSpPr>
        <p:sp>
          <p:nvSpPr>
            <p:cNvPr id="9844" name="Google Shape;9844;p110"/>
            <p:cNvSpPr/>
            <p:nvPr/>
          </p:nvSpPr>
          <p:spPr>
            <a:xfrm>
              <a:off x="-25477800" y="2357750"/>
              <a:ext cx="298525" cy="278050"/>
            </a:xfrm>
            <a:custGeom>
              <a:avLst/>
              <a:gdLst/>
              <a:ahLst/>
              <a:cxnLst/>
              <a:rect l="l" t="t" r="r" b="b"/>
              <a:pathLst>
                <a:path w="11941" h="11122" extrusionOk="0">
                  <a:moveTo>
                    <a:pt x="7057" y="1229"/>
                  </a:moveTo>
                  <a:lnTo>
                    <a:pt x="7971" y="2143"/>
                  </a:lnTo>
                  <a:lnTo>
                    <a:pt x="7057" y="2143"/>
                  </a:lnTo>
                  <a:lnTo>
                    <a:pt x="7057" y="1229"/>
                  </a:lnTo>
                  <a:close/>
                  <a:moveTo>
                    <a:pt x="6333" y="756"/>
                  </a:moveTo>
                  <a:lnTo>
                    <a:pt x="6333" y="2489"/>
                  </a:lnTo>
                  <a:cubicBezTo>
                    <a:pt x="6333" y="2678"/>
                    <a:pt x="6490" y="2836"/>
                    <a:pt x="6679" y="2836"/>
                  </a:cubicBezTo>
                  <a:lnTo>
                    <a:pt x="8412" y="2836"/>
                  </a:lnTo>
                  <a:lnTo>
                    <a:pt x="8412" y="4946"/>
                  </a:lnTo>
                  <a:lnTo>
                    <a:pt x="7593" y="4946"/>
                  </a:lnTo>
                  <a:lnTo>
                    <a:pt x="7215" y="4096"/>
                  </a:lnTo>
                  <a:cubicBezTo>
                    <a:pt x="7026" y="3749"/>
                    <a:pt x="6648" y="3529"/>
                    <a:pt x="6270" y="3529"/>
                  </a:cubicBezTo>
                  <a:lnTo>
                    <a:pt x="3245" y="3529"/>
                  </a:lnTo>
                  <a:cubicBezTo>
                    <a:pt x="3119" y="3529"/>
                    <a:pt x="2993" y="3560"/>
                    <a:pt x="2867" y="3592"/>
                  </a:cubicBezTo>
                  <a:lnTo>
                    <a:pt x="2867" y="756"/>
                  </a:lnTo>
                  <a:close/>
                  <a:moveTo>
                    <a:pt x="10901" y="6994"/>
                  </a:moveTo>
                  <a:cubicBezTo>
                    <a:pt x="11027" y="6994"/>
                    <a:pt x="11090" y="7026"/>
                    <a:pt x="11184" y="7089"/>
                  </a:cubicBezTo>
                  <a:cubicBezTo>
                    <a:pt x="11247" y="7183"/>
                    <a:pt x="11247" y="7246"/>
                    <a:pt x="11247" y="7372"/>
                  </a:cubicBezTo>
                  <a:lnTo>
                    <a:pt x="10995" y="9105"/>
                  </a:lnTo>
                  <a:lnTo>
                    <a:pt x="10428" y="6994"/>
                  </a:lnTo>
                  <a:close/>
                  <a:moveTo>
                    <a:pt x="6270" y="4190"/>
                  </a:moveTo>
                  <a:cubicBezTo>
                    <a:pt x="6364" y="4190"/>
                    <a:pt x="6490" y="4253"/>
                    <a:pt x="6585" y="4379"/>
                  </a:cubicBezTo>
                  <a:lnTo>
                    <a:pt x="7089" y="5356"/>
                  </a:lnTo>
                  <a:cubicBezTo>
                    <a:pt x="7120" y="5482"/>
                    <a:pt x="7278" y="5577"/>
                    <a:pt x="7404" y="5577"/>
                  </a:cubicBezTo>
                  <a:lnTo>
                    <a:pt x="9105" y="5577"/>
                  </a:lnTo>
                  <a:cubicBezTo>
                    <a:pt x="9262" y="5577"/>
                    <a:pt x="9420" y="5671"/>
                    <a:pt x="9452" y="5829"/>
                  </a:cubicBezTo>
                  <a:lnTo>
                    <a:pt x="10586" y="10397"/>
                  </a:lnTo>
                  <a:lnTo>
                    <a:pt x="2205" y="10397"/>
                  </a:lnTo>
                  <a:lnTo>
                    <a:pt x="2205" y="10460"/>
                  </a:lnTo>
                  <a:cubicBezTo>
                    <a:pt x="2048" y="10460"/>
                    <a:pt x="1890" y="10334"/>
                    <a:pt x="1859" y="10176"/>
                  </a:cubicBezTo>
                  <a:lnTo>
                    <a:pt x="788" y="5986"/>
                  </a:lnTo>
                  <a:cubicBezTo>
                    <a:pt x="756" y="5892"/>
                    <a:pt x="788" y="5797"/>
                    <a:pt x="851" y="5734"/>
                  </a:cubicBezTo>
                  <a:cubicBezTo>
                    <a:pt x="945" y="5640"/>
                    <a:pt x="1008" y="5608"/>
                    <a:pt x="1134" y="5608"/>
                  </a:cubicBezTo>
                  <a:lnTo>
                    <a:pt x="2520" y="5608"/>
                  </a:lnTo>
                  <a:cubicBezTo>
                    <a:pt x="2709" y="5608"/>
                    <a:pt x="2867" y="5451"/>
                    <a:pt x="2867" y="5262"/>
                  </a:cubicBezTo>
                  <a:lnTo>
                    <a:pt x="2867" y="4537"/>
                  </a:lnTo>
                  <a:cubicBezTo>
                    <a:pt x="2867" y="4348"/>
                    <a:pt x="3025" y="4190"/>
                    <a:pt x="3214" y="4190"/>
                  </a:cubicBezTo>
                  <a:close/>
                  <a:moveTo>
                    <a:pt x="2489" y="0"/>
                  </a:moveTo>
                  <a:cubicBezTo>
                    <a:pt x="2268" y="0"/>
                    <a:pt x="2111" y="158"/>
                    <a:pt x="2111" y="378"/>
                  </a:cubicBezTo>
                  <a:lnTo>
                    <a:pt x="2111" y="4537"/>
                  </a:lnTo>
                  <a:lnTo>
                    <a:pt x="2111" y="4883"/>
                  </a:lnTo>
                  <a:lnTo>
                    <a:pt x="1103" y="4883"/>
                  </a:lnTo>
                  <a:cubicBezTo>
                    <a:pt x="788" y="4883"/>
                    <a:pt x="473" y="5041"/>
                    <a:pt x="284" y="5293"/>
                  </a:cubicBezTo>
                  <a:cubicBezTo>
                    <a:pt x="63" y="5514"/>
                    <a:pt x="0" y="5829"/>
                    <a:pt x="63" y="6144"/>
                  </a:cubicBezTo>
                  <a:lnTo>
                    <a:pt x="1134" y="10334"/>
                  </a:lnTo>
                  <a:cubicBezTo>
                    <a:pt x="1260" y="10806"/>
                    <a:pt x="1701" y="11121"/>
                    <a:pt x="2174" y="11121"/>
                  </a:cubicBezTo>
                  <a:lnTo>
                    <a:pt x="10995" y="11121"/>
                  </a:lnTo>
                  <a:cubicBezTo>
                    <a:pt x="11153" y="11121"/>
                    <a:pt x="11310" y="10995"/>
                    <a:pt x="11342" y="10838"/>
                  </a:cubicBezTo>
                  <a:lnTo>
                    <a:pt x="11877" y="7467"/>
                  </a:lnTo>
                  <a:cubicBezTo>
                    <a:pt x="11940" y="7152"/>
                    <a:pt x="11846" y="6868"/>
                    <a:pt x="11657" y="6616"/>
                  </a:cubicBezTo>
                  <a:cubicBezTo>
                    <a:pt x="11499" y="6427"/>
                    <a:pt x="11216" y="6301"/>
                    <a:pt x="10901" y="6301"/>
                  </a:cubicBezTo>
                  <a:lnTo>
                    <a:pt x="10239" y="6301"/>
                  </a:lnTo>
                  <a:lnTo>
                    <a:pt x="10082" y="5734"/>
                  </a:lnTo>
                  <a:cubicBezTo>
                    <a:pt x="9956" y="5262"/>
                    <a:pt x="9578" y="4946"/>
                    <a:pt x="9105" y="4883"/>
                  </a:cubicBezTo>
                  <a:lnTo>
                    <a:pt x="9105" y="2458"/>
                  </a:lnTo>
                  <a:cubicBezTo>
                    <a:pt x="9105" y="2363"/>
                    <a:pt x="9042" y="2269"/>
                    <a:pt x="8979" y="2206"/>
                  </a:cubicBezTo>
                  <a:lnTo>
                    <a:pt x="6900" y="126"/>
                  </a:lnTo>
                  <a:cubicBezTo>
                    <a:pt x="6805" y="63"/>
                    <a:pt x="6742" y="0"/>
                    <a:pt x="6648"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9845" name="Google Shape;9845;p110"/>
            <p:cNvSpPr/>
            <p:nvPr/>
          </p:nvSpPr>
          <p:spPr>
            <a:xfrm>
              <a:off x="-25388025" y="2514850"/>
              <a:ext cx="104000" cy="88650"/>
            </a:xfrm>
            <a:custGeom>
              <a:avLst/>
              <a:gdLst/>
              <a:ahLst/>
              <a:cxnLst/>
              <a:rect l="l" t="t" r="r" b="b"/>
              <a:pathLst>
                <a:path w="4160" h="3546" extrusionOk="0">
                  <a:moveTo>
                    <a:pt x="1752" y="1"/>
                  </a:moveTo>
                  <a:cubicBezTo>
                    <a:pt x="1716" y="1"/>
                    <a:pt x="1678" y="6"/>
                    <a:pt x="1639" y="17"/>
                  </a:cubicBezTo>
                  <a:cubicBezTo>
                    <a:pt x="1450" y="80"/>
                    <a:pt x="1324" y="269"/>
                    <a:pt x="1418" y="458"/>
                  </a:cubicBezTo>
                  <a:lnTo>
                    <a:pt x="1639" y="1403"/>
                  </a:lnTo>
                  <a:lnTo>
                    <a:pt x="347" y="1403"/>
                  </a:lnTo>
                  <a:cubicBezTo>
                    <a:pt x="158" y="1403"/>
                    <a:pt x="1" y="1561"/>
                    <a:pt x="1" y="1750"/>
                  </a:cubicBezTo>
                  <a:cubicBezTo>
                    <a:pt x="1" y="1970"/>
                    <a:pt x="158" y="2128"/>
                    <a:pt x="347" y="2128"/>
                  </a:cubicBezTo>
                  <a:lnTo>
                    <a:pt x="1796" y="2128"/>
                  </a:lnTo>
                  <a:lnTo>
                    <a:pt x="2080" y="3262"/>
                  </a:lnTo>
                  <a:cubicBezTo>
                    <a:pt x="2111" y="3420"/>
                    <a:pt x="2269" y="3546"/>
                    <a:pt x="2426" y="3546"/>
                  </a:cubicBezTo>
                  <a:lnTo>
                    <a:pt x="2521" y="3546"/>
                  </a:lnTo>
                  <a:cubicBezTo>
                    <a:pt x="2710" y="3483"/>
                    <a:pt x="2836" y="3294"/>
                    <a:pt x="2742" y="3105"/>
                  </a:cubicBezTo>
                  <a:lnTo>
                    <a:pt x="2521" y="2159"/>
                  </a:lnTo>
                  <a:lnTo>
                    <a:pt x="3813" y="2159"/>
                  </a:lnTo>
                  <a:cubicBezTo>
                    <a:pt x="4002" y="2159"/>
                    <a:pt x="4159" y="2002"/>
                    <a:pt x="4159" y="1813"/>
                  </a:cubicBezTo>
                  <a:cubicBezTo>
                    <a:pt x="4159" y="1561"/>
                    <a:pt x="4002" y="1403"/>
                    <a:pt x="3813" y="1403"/>
                  </a:cubicBezTo>
                  <a:lnTo>
                    <a:pt x="2363" y="1403"/>
                  </a:lnTo>
                  <a:lnTo>
                    <a:pt x="2080" y="269"/>
                  </a:lnTo>
                  <a:cubicBezTo>
                    <a:pt x="2054" y="114"/>
                    <a:pt x="1921" y="1"/>
                    <a:pt x="1752"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sp>
        <p:nvSpPr>
          <p:cNvPr id="9846" name="Google Shape;9846;p110"/>
          <p:cNvSpPr/>
          <p:nvPr/>
        </p:nvSpPr>
        <p:spPr>
          <a:xfrm>
            <a:off x="6489346" y="5040418"/>
            <a:ext cx="473417" cy="471105"/>
          </a:xfrm>
          <a:custGeom>
            <a:avLst/>
            <a:gdLst/>
            <a:ahLst/>
            <a:cxnLst/>
            <a:rect l="l" t="t" r="r" b="b"/>
            <a:pathLst>
              <a:path w="11878" h="11820" extrusionOk="0">
                <a:moveTo>
                  <a:pt x="9704" y="729"/>
                </a:moveTo>
                <a:cubicBezTo>
                  <a:pt x="10019" y="729"/>
                  <a:pt x="10303" y="792"/>
                  <a:pt x="10523" y="982"/>
                </a:cubicBezTo>
                <a:cubicBezTo>
                  <a:pt x="10838" y="1234"/>
                  <a:pt x="10996" y="1612"/>
                  <a:pt x="11059" y="2021"/>
                </a:cubicBezTo>
                <a:cubicBezTo>
                  <a:pt x="11153" y="2368"/>
                  <a:pt x="11059" y="2714"/>
                  <a:pt x="10744" y="2998"/>
                </a:cubicBezTo>
                <a:lnTo>
                  <a:pt x="8255" y="5487"/>
                </a:lnTo>
                <a:lnTo>
                  <a:pt x="6270" y="3502"/>
                </a:lnTo>
                <a:lnTo>
                  <a:pt x="6743" y="3029"/>
                </a:lnTo>
                <a:lnTo>
                  <a:pt x="7499" y="3785"/>
                </a:lnTo>
                <a:cubicBezTo>
                  <a:pt x="7593" y="3880"/>
                  <a:pt x="7656" y="3911"/>
                  <a:pt x="7751" y="3911"/>
                </a:cubicBezTo>
                <a:cubicBezTo>
                  <a:pt x="7814" y="3911"/>
                  <a:pt x="7940" y="3880"/>
                  <a:pt x="7971" y="3785"/>
                </a:cubicBezTo>
                <a:cubicBezTo>
                  <a:pt x="8097" y="3659"/>
                  <a:pt x="8097" y="3439"/>
                  <a:pt x="7971" y="3313"/>
                </a:cubicBezTo>
                <a:lnTo>
                  <a:pt x="7215" y="2557"/>
                </a:lnTo>
                <a:lnTo>
                  <a:pt x="7688" y="2084"/>
                </a:lnTo>
                <a:lnTo>
                  <a:pt x="8444" y="2840"/>
                </a:lnTo>
                <a:cubicBezTo>
                  <a:pt x="8538" y="2935"/>
                  <a:pt x="8601" y="2966"/>
                  <a:pt x="8696" y="2966"/>
                </a:cubicBezTo>
                <a:cubicBezTo>
                  <a:pt x="8759" y="2966"/>
                  <a:pt x="8885" y="2935"/>
                  <a:pt x="8916" y="2840"/>
                </a:cubicBezTo>
                <a:cubicBezTo>
                  <a:pt x="9042" y="2714"/>
                  <a:pt x="9042" y="2494"/>
                  <a:pt x="8916" y="2368"/>
                </a:cubicBezTo>
                <a:lnTo>
                  <a:pt x="8160" y="1612"/>
                </a:lnTo>
                <a:lnTo>
                  <a:pt x="8601" y="1202"/>
                </a:lnTo>
                <a:cubicBezTo>
                  <a:pt x="8916" y="887"/>
                  <a:pt x="9326" y="729"/>
                  <a:pt x="9704" y="729"/>
                </a:cubicBezTo>
                <a:close/>
                <a:moveTo>
                  <a:pt x="5766" y="4132"/>
                </a:moveTo>
                <a:lnTo>
                  <a:pt x="7751" y="6117"/>
                </a:lnTo>
                <a:lnTo>
                  <a:pt x="5577" y="8196"/>
                </a:lnTo>
                <a:cubicBezTo>
                  <a:pt x="5230" y="8543"/>
                  <a:pt x="4789" y="8763"/>
                  <a:pt x="4317" y="8826"/>
                </a:cubicBezTo>
                <a:cubicBezTo>
                  <a:pt x="3687" y="8921"/>
                  <a:pt x="3088" y="9236"/>
                  <a:pt x="2678" y="9645"/>
                </a:cubicBezTo>
                <a:lnTo>
                  <a:pt x="1324" y="11000"/>
                </a:lnTo>
                <a:cubicBezTo>
                  <a:pt x="1261" y="11063"/>
                  <a:pt x="1174" y="11095"/>
                  <a:pt x="1087" y="11095"/>
                </a:cubicBezTo>
                <a:cubicBezTo>
                  <a:pt x="1001" y="11095"/>
                  <a:pt x="914" y="11063"/>
                  <a:pt x="851" y="11000"/>
                </a:cubicBezTo>
                <a:cubicBezTo>
                  <a:pt x="725" y="10874"/>
                  <a:pt x="725" y="10653"/>
                  <a:pt x="851" y="10527"/>
                </a:cubicBezTo>
                <a:lnTo>
                  <a:pt x="2206" y="9173"/>
                </a:lnTo>
                <a:cubicBezTo>
                  <a:pt x="2615" y="8763"/>
                  <a:pt x="2931" y="8165"/>
                  <a:pt x="3025" y="7535"/>
                </a:cubicBezTo>
                <a:cubicBezTo>
                  <a:pt x="3088" y="7062"/>
                  <a:pt x="3309" y="6589"/>
                  <a:pt x="3655" y="6274"/>
                </a:cubicBezTo>
                <a:lnTo>
                  <a:pt x="3876" y="6022"/>
                </a:lnTo>
                <a:lnTo>
                  <a:pt x="4632" y="6778"/>
                </a:lnTo>
                <a:cubicBezTo>
                  <a:pt x="4726" y="6873"/>
                  <a:pt x="4789" y="6904"/>
                  <a:pt x="4884" y="6904"/>
                </a:cubicBezTo>
                <a:cubicBezTo>
                  <a:pt x="4947" y="6904"/>
                  <a:pt x="5073" y="6873"/>
                  <a:pt x="5104" y="6778"/>
                </a:cubicBezTo>
                <a:cubicBezTo>
                  <a:pt x="5230" y="6652"/>
                  <a:pt x="5230" y="6432"/>
                  <a:pt x="5104" y="6306"/>
                </a:cubicBezTo>
                <a:lnTo>
                  <a:pt x="4348" y="5550"/>
                </a:lnTo>
                <a:lnTo>
                  <a:pt x="4821" y="5077"/>
                </a:lnTo>
                <a:lnTo>
                  <a:pt x="5577" y="5833"/>
                </a:lnTo>
                <a:cubicBezTo>
                  <a:pt x="5640" y="5928"/>
                  <a:pt x="5734" y="5959"/>
                  <a:pt x="5797" y="5959"/>
                </a:cubicBezTo>
                <a:cubicBezTo>
                  <a:pt x="5892" y="5959"/>
                  <a:pt x="6018" y="5928"/>
                  <a:pt x="6050" y="5833"/>
                </a:cubicBezTo>
                <a:cubicBezTo>
                  <a:pt x="6176" y="5707"/>
                  <a:pt x="6176" y="5487"/>
                  <a:pt x="6050" y="5361"/>
                </a:cubicBezTo>
                <a:lnTo>
                  <a:pt x="5293" y="4605"/>
                </a:lnTo>
                <a:lnTo>
                  <a:pt x="5766" y="4132"/>
                </a:lnTo>
                <a:close/>
                <a:moveTo>
                  <a:pt x="9769" y="1"/>
                </a:moveTo>
                <a:cubicBezTo>
                  <a:pt x="9726" y="1"/>
                  <a:pt x="9683" y="2"/>
                  <a:pt x="9641" y="5"/>
                </a:cubicBezTo>
                <a:cubicBezTo>
                  <a:pt x="9105" y="36"/>
                  <a:pt x="8601" y="288"/>
                  <a:pt x="8255" y="666"/>
                </a:cubicBezTo>
                <a:lnTo>
                  <a:pt x="3183" y="5802"/>
                </a:lnTo>
                <a:cubicBezTo>
                  <a:pt x="2741" y="6211"/>
                  <a:pt x="2426" y="6810"/>
                  <a:pt x="2363" y="7440"/>
                </a:cubicBezTo>
                <a:cubicBezTo>
                  <a:pt x="2269" y="7913"/>
                  <a:pt x="2080" y="8385"/>
                  <a:pt x="1733" y="8700"/>
                </a:cubicBezTo>
                <a:lnTo>
                  <a:pt x="379" y="10055"/>
                </a:lnTo>
                <a:cubicBezTo>
                  <a:pt x="1" y="10433"/>
                  <a:pt x="1" y="11095"/>
                  <a:pt x="379" y="11504"/>
                </a:cubicBezTo>
                <a:cubicBezTo>
                  <a:pt x="568" y="11693"/>
                  <a:pt x="851" y="11819"/>
                  <a:pt x="1135" y="11819"/>
                </a:cubicBezTo>
                <a:cubicBezTo>
                  <a:pt x="1418" y="11819"/>
                  <a:pt x="1670" y="11693"/>
                  <a:pt x="1891" y="11504"/>
                </a:cubicBezTo>
                <a:lnTo>
                  <a:pt x="3214" y="10149"/>
                </a:lnTo>
                <a:cubicBezTo>
                  <a:pt x="3561" y="9803"/>
                  <a:pt x="4002" y="9614"/>
                  <a:pt x="4474" y="9519"/>
                </a:cubicBezTo>
                <a:cubicBezTo>
                  <a:pt x="5104" y="9456"/>
                  <a:pt x="5703" y="9141"/>
                  <a:pt x="6144" y="8700"/>
                </a:cubicBezTo>
                <a:lnTo>
                  <a:pt x="11279" y="3502"/>
                </a:lnTo>
                <a:cubicBezTo>
                  <a:pt x="11657" y="3092"/>
                  <a:pt x="11878" y="2525"/>
                  <a:pt x="11846" y="1927"/>
                </a:cubicBezTo>
                <a:cubicBezTo>
                  <a:pt x="11815" y="1360"/>
                  <a:pt x="11531" y="792"/>
                  <a:pt x="11090" y="446"/>
                </a:cubicBezTo>
                <a:cubicBezTo>
                  <a:pt x="10715" y="157"/>
                  <a:pt x="10234" y="1"/>
                  <a:pt x="9769"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nvGrpSpPr>
          <p:cNvPr id="9847" name="Google Shape;9847;p110"/>
          <p:cNvGrpSpPr/>
          <p:nvPr/>
        </p:nvGrpSpPr>
        <p:grpSpPr>
          <a:xfrm>
            <a:off x="9467143" y="3855841"/>
            <a:ext cx="472181" cy="470907"/>
            <a:chOff x="-23599325" y="1971025"/>
            <a:chExt cx="296175" cy="295375"/>
          </a:xfrm>
        </p:grpSpPr>
        <p:sp>
          <p:nvSpPr>
            <p:cNvPr id="9848" name="Google Shape;9848;p110"/>
            <p:cNvSpPr/>
            <p:nvPr/>
          </p:nvSpPr>
          <p:spPr>
            <a:xfrm>
              <a:off x="-23599325" y="1971025"/>
              <a:ext cx="296175" cy="295375"/>
            </a:xfrm>
            <a:custGeom>
              <a:avLst/>
              <a:gdLst/>
              <a:ahLst/>
              <a:cxnLst/>
              <a:rect l="l" t="t" r="r" b="b"/>
              <a:pathLst>
                <a:path w="11847" h="11815" extrusionOk="0">
                  <a:moveTo>
                    <a:pt x="7656" y="662"/>
                  </a:moveTo>
                  <a:lnTo>
                    <a:pt x="7656" y="4190"/>
                  </a:lnTo>
                  <a:lnTo>
                    <a:pt x="4159" y="4190"/>
                  </a:lnTo>
                  <a:lnTo>
                    <a:pt x="4159" y="662"/>
                  </a:lnTo>
                  <a:close/>
                  <a:moveTo>
                    <a:pt x="5577" y="4884"/>
                  </a:moveTo>
                  <a:lnTo>
                    <a:pt x="5577" y="5577"/>
                  </a:lnTo>
                  <a:lnTo>
                    <a:pt x="4222" y="5577"/>
                  </a:lnTo>
                  <a:lnTo>
                    <a:pt x="4222" y="4884"/>
                  </a:lnTo>
                  <a:close/>
                  <a:moveTo>
                    <a:pt x="7625" y="4884"/>
                  </a:moveTo>
                  <a:lnTo>
                    <a:pt x="7625" y="5608"/>
                  </a:lnTo>
                  <a:lnTo>
                    <a:pt x="6270" y="5608"/>
                  </a:lnTo>
                  <a:lnTo>
                    <a:pt x="6270" y="4884"/>
                  </a:lnTo>
                  <a:close/>
                  <a:moveTo>
                    <a:pt x="2111" y="5577"/>
                  </a:moveTo>
                  <a:lnTo>
                    <a:pt x="2111" y="6301"/>
                  </a:lnTo>
                  <a:lnTo>
                    <a:pt x="693" y="6301"/>
                  </a:lnTo>
                  <a:lnTo>
                    <a:pt x="693" y="5923"/>
                  </a:lnTo>
                  <a:cubicBezTo>
                    <a:pt x="693" y="5766"/>
                    <a:pt x="851" y="5577"/>
                    <a:pt x="1072" y="5577"/>
                  </a:cubicBezTo>
                  <a:close/>
                  <a:moveTo>
                    <a:pt x="10775" y="5577"/>
                  </a:moveTo>
                  <a:cubicBezTo>
                    <a:pt x="10996" y="5577"/>
                    <a:pt x="11153" y="5766"/>
                    <a:pt x="11153" y="5955"/>
                  </a:cubicBezTo>
                  <a:lnTo>
                    <a:pt x="11153" y="6301"/>
                  </a:lnTo>
                  <a:lnTo>
                    <a:pt x="9735" y="6301"/>
                  </a:lnTo>
                  <a:lnTo>
                    <a:pt x="9735" y="5577"/>
                  </a:lnTo>
                  <a:close/>
                  <a:moveTo>
                    <a:pt x="5545" y="6270"/>
                  </a:moveTo>
                  <a:lnTo>
                    <a:pt x="5545" y="6963"/>
                  </a:lnTo>
                  <a:lnTo>
                    <a:pt x="4159" y="6963"/>
                  </a:lnTo>
                  <a:lnTo>
                    <a:pt x="4159" y="6270"/>
                  </a:lnTo>
                  <a:close/>
                  <a:moveTo>
                    <a:pt x="7625" y="6270"/>
                  </a:moveTo>
                  <a:lnTo>
                    <a:pt x="7625" y="6963"/>
                  </a:lnTo>
                  <a:lnTo>
                    <a:pt x="6270" y="6963"/>
                  </a:lnTo>
                  <a:lnTo>
                    <a:pt x="6270" y="6270"/>
                  </a:lnTo>
                  <a:close/>
                  <a:moveTo>
                    <a:pt x="2111" y="6931"/>
                  </a:moveTo>
                  <a:lnTo>
                    <a:pt x="2111" y="7656"/>
                  </a:lnTo>
                  <a:lnTo>
                    <a:pt x="693" y="7656"/>
                  </a:lnTo>
                  <a:lnTo>
                    <a:pt x="693" y="6931"/>
                  </a:lnTo>
                  <a:close/>
                  <a:moveTo>
                    <a:pt x="11153" y="6963"/>
                  </a:moveTo>
                  <a:lnTo>
                    <a:pt x="11153" y="7688"/>
                  </a:lnTo>
                  <a:lnTo>
                    <a:pt x="9735" y="7688"/>
                  </a:lnTo>
                  <a:lnTo>
                    <a:pt x="9735" y="6963"/>
                  </a:lnTo>
                  <a:close/>
                  <a:moveTo>
                    <a:pt x="5545" y="7625"/>
                  </a:moveTo>
                  <a:lnTo>
                    <a:pt x="5545" y="8349"/>
                  </a:lnTo>
                  <a:lnTo>
                    <a:pt x="4159" y="8349"/>
                  </a:lnTo>
                  <a:lnTo>
                    <a:pt x="4159" y="7625"/>
                  </a:lnTo>
                  <a:close/>
                  <a:moveTo>
                    <a:pt x="7625" y="7656"/>
                  </a:moveTo>
                  <a:lnTo>
                    <a:pt x="7625" y="8349"/>
                  </a:lnTo>
                  <a:lnTo>
                    <a:pt x="6270" y="8349"/>
                  </a:lnTo>
                  <a:lnTo>
                    <a:pt x="6270" y="7656"/>
                  </a:lnTo>
                  <a:close/>
                  <a:moveTo>
                    <a:pt x="2111" y="8349"/>
                  </a:moveTo>
                  <a:lnTo>
                    <a:pt x="2111" y="9074"/>
                  </a:lnTo>
                  <a:lnTo>
                    <a:pt x="693" y="9074"/>
                  </a:lnTo>
                  <a:lnTo>
                    <a:pt x="693" y="8349"/>
                  </a:lnTo>
                  <a:close/>
                  <a:moveTo>
                    <a:pt x="11153" y="8349"/>
                  </a:moveTo>
                  <a:lnTo>
                    <a:pt x="11153" y="9074"/>
                  </a:lnTo>
                  <a:lnTo>
                    <a:pt x="9735" y="9074"/>
                  </a:lnTo>
                  <a:lnTo>
                    <a:pt x="9735" y="8349"/>
                  </a:lnTo>
                  <a:close/>
                  <a:moveTo>
                    <a:pt x="2111" y="9735"/>
                  </a:moveTo>
                  <a:lnTo>
                    <a:pt x="2111" y="11090"/>
                  </a:lnTo>
                  <a:lnTo>
                    <a:pt x="693" y="11090"/>
                  </a:lnTo>
                  <a:lnTo>
                    <a:pt x="693" y="9735"/>
                  </a:lnTo>
                  <a:close/>
                  <a:moveTo>
                    <a:pt x="8759" y="2048"/>
                  </a:moveTo>
                  <a:cubicBezTo>
                    <a:pt x="8948" y="2048"/>
                    <a:pt x="9105" y="2206"/>
                    <a:pt x="9105" y="2395"/>
                  </a:cubicBezTo>
                  <a:lnTo>
                    <a:pt x="9105" y="11090"/>
                  </a:lnTo>
                  <a:lnTo>
                    <a:pt x="7719" y="11090"/>
                  </a:lnTo>
                  <a:lnTo>
                    <a:pt x="7719" y="10082"/>
                  </a:lnTo>
                  <a:cubicBezTo>
                    <a:pt x="7719" y="9893"/>
                    <a:pt x="7562" y="9735"/>
                    <a:pt x="7373" y="9735"/>
                  </a:cubicBezTo>
                  <a:lnTo>
                    <a:pt x="4600" y="9735"/>
                  </a:lnTo>
                  <a:cubicBezTo>
                    <a:pt x="4411" y="9735"/>
                    <a:pt x="4254" y="9893"/>
                    <a:pt x="4254" y="10082"/>
                  </a:cubicBezTo>
                  <a:lnTo>
                    <a:pt x="4254" y="11090"/>
                  </a:lnTo>
                  <a:lnTo>
                    <a:pt x="2867" y="11090"/>
                  </a:lnTo>
                  <a:lnTo>
                    <a:pt x="2867" y="2395"/>
                  </a:lnTo>
                  <a:lnTo>
                    <a:pt x="2804" y="2395"/>
                  </a:lnTo>
                  <a:cubicBezTo>
                    <a:pt x="2804" y="2206"/>
                    <a:pt x="2962" y="2048"/>
                    <a:pt x="3151" y="2048"/>
                  </a:cubicBezTo>
                  <a:lnTo>
                    <a:pt x="3497" y="2048"/>
                  </a:lnTo>
                  <a:lnTo>
                    <a:pt x="3497" y="8696"/>
                  </a:lnTo>
                  <a:cubicBezTo>
                    <a:pt x="3497" y="8916"/>
                    <a:pt x="3655" y="9074"/>
                    <a:pt x="3875" y="9074"/>
                  </a:cubicBezTo>
                  <a:lnTo>
                    <a:pt x="8034" y="9074"/>
                  </a:lnTo>
                  <a:cubicBezTo>
                    <a:pt x="8223" y="9074"/>
                    <a:pt x="8381" y="8916"/>
                    <a:pt x="8381" y="8696"/>
                  </a:cubicBezTo>
                  <a:lnTo>
                    <a:pt x="8381" y="2048"/>
                  </a:lnTo>
                  <a:close/>
                  <a:moveTo>
                    <a:pt x="6963" y="10428"/>
                  </a:moveTo>
                  <a:lnTo>
                    <a:pt x="6963" y="11153"/>
                  </a:lnTo>
                  <a:lnTo>
                    <a:pt x="4884" y="11153"/>
                  </a:lnTo>
                  <a:lnTo>
                    <a:pt x="4884" y="10428"/>
                  </a:lnTo>
                  <a:close/>
                  <a:moveTo>
                    <a:pt x="11153" y="9767"/>
                  </a:moveTo>
                  <a:lnTo>
                    <a:pt x="11153" y="11153"/>
                  </a:lnTo>
                  <a:lnTo>
                    <a:pt x="9735" y="11153"/>
                  </a:lnTo>
                  <a:lnTo>
                    <a:pt x="9735" y="9767"/>
                  </a:lnTo>
                  <a:close/>
                  <a:moveTo>
                    <a:pt x="3812" y="0"/>
                  </a:moveTo>
                  <a:cubicBezTo>
                    <a:pt x="3623" y="0"/>
                    <a:pt x="3466" y="158"/>
                    <a:pt x="3466" y="347"/>
                  </a:cubicBezTo>
                  <a:lnTo>
                    <a:pt x="3466" y="1387"/>
                  </a:lnTo>
                  <a:lnTo>
                    <a:pt x="3119" y="1387"/>
                  </a:lnTo>
                  <a:cubicBezTo>
                    <a:pt x="2521" y="1387"/>
                    <a:pt x="2080" y="1859"/>
                    <a:pt x="2080" y="2395"/>
                  </a:cubicBezTo>
                  <a:lnTo>
                    <a:pt x="2080" y="4884"/>
                  </a:lnTo>
                  <a:lnTo>
                    <a:pt x="1009" y="4884"/>
                  </a:lnTo>
                  <a:cubicBezTo>
                    <a:pt x="441" y="4884"/>
                    <a:pt x="0" y="5356"/>
                    <a:pt x="0" y="5923"/>
                  </a:cubicBezTo>
                  <a:lnTo>
                    <a:pt x="0" y="11468"/>
                  </a:lnTo>
                  <a:cubicBezTo>
                    <a:pt x="0" y="11657"/>
                    <a:pt x="158" y="11815"/>
                    <a:pt x="347" y="11815"/>
                  </a:cubicBezTo>
                  <a:lnTo>
                    <a:pt x="11468" y="11815"/>
                  </a:lnTo>
                  <a:cubicBezTo>
                    <a:pt x="11657" y="11815"/>
                    <a:pt x="11815" y="11657"/>
                    <a:pt x="11815" y="11468"/>
                  </a:cubicBezTo>
                  <a:lnTo>
                    <a:pt x="11815" y="5923"/>
                  </a:lnTo>
                  <a:cubicBezTo>
                    <a:pt x="11846" y="5356"/>
                    <a:pt x="11374" y="4884"/>
                    <a:pt x="10775" y="4884"/>
                  </a:cubicBezTo>
                  <a:lnTo>
                    <a:pt x="9735" y="4884"/>
                  </a:lnTo>
                  <a:lnTo>
                    <a:pt x="9735" y="2395"/>
                  </a:lnTo>
                  <a:cubicBezTo>
                    <a:pt x="9735" y="1828"/>
                    <a:pt x="9263" y="1387"/>
                    <a:pt x="8696" y="1387"/>
                  </a:cubicBezTo>
                  <a:lnTo>
                    <a:pt x="8349" y="1387"/>
                  </a:lnTo>
                  <a:lnTo>
                    <a:pt x="8349" y="347"/>
                  </a:lnTo>
                  <a:cubicBezTo>
                    <a:pt x="8349" y="158"/>
                    <a:pt x="8192" y="0"/>
                    <a:pt x="8003"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9849" name="Google Shape;9849;p110"/>
            <p:cNvSpPr/>
            <p:nvPr/>
          </p:nvSpPr>
          <p:spPr>
            <a:xfrm>
              <a:off x="-23477250" y="2004100"/>
              <a:ext cx="53575" cy="53575"/>
            </a:xfrm>
            <a:custGeom>
              <a:avLst/>
              <a:gdLst/>
              <a:ahLst/>
              <a:cxnLst/>
              <a:rect l="l" t="t" r="r" b="b"/>
              <a:pathLst>
                <a:path w="2143" h="2143" extrusionOk="0">
                  <a:moveTo>
                    <a:pt x="1072" y="1"/>
                  </a:moveTo>
                  <a:cubicBezTo>
                    <a:pt x="851" y="1"/>
                    <a:pt x="694" y="158"/>
                    <a:pt x="694" y="379"/>
                  </a:cubicBezTo>
                  <a:lnTo>
                    <a:pt x="694" y="725"/>
                  </a:lnTo>
                  <a:lnTo>
                    <a:pt x="347" y="725"/>
                  </a:lnTo>
                  <a:cubicBezTo>
                    <a:pt x="158" y="725"/>
                    <a:pt x="1" y="883"/>
                    <a:pt x="1" y="1072"/>
                  </a:cubicBezTo>
                  <a:cubicBezTo>
                    <a:pt x="1" y="1292"/>
                    <a:pt x="158" y="1450"/>
                    <a:pt x="347" y="1450"/>
                  </a:cubicBezTo>
                  <a:lnTo>
                    <a:pt x="694" y="1450"/>
                  </a:lnTo>
                  <a:lnTo>
                    <a:pt x="694" y="1796"/>
                  </a:lnTo>
                  <a:cubicBezTo>
                    <a:pt x="694" y="1985"/>
                    <a:pt x="851" y="2143"/>
                    <a:pt x="1072" y="2143"/>
                  </a:cubicBezTo>
                  <a:cubicBezTo>
                    <a:pt x="1261" y="2143"/>
                    <a:pt x="1418" y="1985"/>
                    <a:pt x="1418" y="1796"/>
                  </a:cubicBezTo>
                  <a:lnTo>
                    <a:pt x="1418" y="1450"/>
                  </a:lnTo>
                  <a:lnTo>
                    <a:pt x="1765" y="1450"/>
                  </a:lnTo>
                  <a:cubicBezTo>
                    <a:pt x="1985" y="1450"/>
                    <a:pt x="2143" y="1292"/>
                    <a:pt x="2143" y="1072"/>
                  </a:cubicBezTo>
                  <a:cubicBezTo>
                    <a:pt x="2143" y="883"/>
                    <a:pt x="1985" y="725"/>
                    <a:pt x="1765" y="725"/>
                  </a:cubicBezTo>
                  <a:lnTo>
                    <a:pt x="1418" y="725"/>
                  </a:lnTo>
                  <a:lnTo>
                    <a:pt x="1418" y="379"/>
                  </a:lnTo>
                  <a:cubicBezTo>
                    <a:pt x="1418" y="158"/>
                    <a:pt x="1261" y="1"/>
                    <a:pt x="1072"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sp>
        <p:nvSpPr>
          <p:cNvPr id="9850" name="Google Shape;9850;p110"/>
          <p:cNvSpPr/>
          <p:nvPr/>
        </p:nvSpPr>
        <p:spPr>
          <a:xfrm>
            <a:off x="9468319" y="4450984"/>
            <a:ext cx="470907" cy="473417"/>
          </a:xfrm>
          <a:custGeom>
            <a:avLst/>
            <a:gdLst/>
            <a:ahLst/>
            <a:cxnLst/>
            <a:rect l="l" t="t" r="r" b="b"/>
            <a:pathLst>
              <a:path w="11815" h="11878" extrusionOk="0">
                <a:moveTo>
                  <a:pt x="6301" y="725"/>
                </a:moveTo>
                <a:lnTo>
                  <a:pt x="6301" y="1670"/>
                </a:lnTo>
                <a:cubicBezTo>
                  <a:pt x="6301" y="2143"/>
                  <a:pt x="6490" y="2584"/>
                  <a:pt x="6805" y="2899"/>
                </a:cubicBezTo>
                <a:lnTo>
                  <a:pt x="7120" y="3214"/>
                </a:lnTo>
                <a:cubicBezTo>
                  <a:pt x="7026" y="3340"/>
                  <a:pt x="6868" y="3529"/>
                  <a:pt x="6742" y="3781"/>
                </a:cubicBezTo>
                <a:lnTo>
                  <a:pt x="6648" y="3781"/>
                </a:lnTo>
                <a:cubicBezTo>
                  <a:pt x="6459" y="3576"/>
                  <a:pt x="6191" y="3474"/>
                  <a:pt x="5923" y="3474"/>
                </a:cubicBezTo>
                <a:cubicBezTo>
                  <a:pt x="5656" y="3474"/>
                  <a:pt x="5388" y="3576"/>
                  <a:pt x="5199" y="3781"/>
                </a:cubicBezTo>
                <a:lnTo>
                  <a:pt x="5167" y="3813"/>
                </a:lnTo>
                <a:cubicBezTo>
                  <a:pt x="5167" y="3813"/>
                  <a:pt x="5167" y="3781"/>
                  <a:pt x="5136" y="3781"/>
                </a:cubicBezTo>
                <a:cubicBezTo>
                  <a:pt x="5010" y="3529"/>
                  <a:pt x="4884" y="3372"/>
                  <a:pt x="4758" y="3214"/>
                </a:cubicBezTo>
                <a:lnTo>
                  <a:pt x="5073" y="2899"/>
                </a:lnTo>
                <a:cubicBezTo>
                  <a:pt x="5388" y="2584"/>
                  <a:pt x="5608" y="2143"/>
                  <a:pt x="5608" y="1670"/>
                </a:cubicBezTo>
                <a:lnTo>
                  <a:pt x="5608" y="725"/>
                </a:lnTo>
                <a:close/>
                <a:moveTo>
                  <a:pt x="3970" y="3529"/>
                </a:moveTo>
                <a:cubicBezTo>
                  <a:pt x="4159" y="3529"/>
                  <a:pt x="4348" y="3687"/>
                  <a:pt x="4506" y="4002"/>
                </a:cubicBezTo>
                <a:cubicBezTo>
                  <a:pt x="4569" y="4128"/>
                  <a:pt x="4600" y="4285"/>
                  <a:pt x="4663" y="4474"/>
                </a:cubicBezTo>
                <a:cubicBezTo>
                  <a:pt x="4758" y="4852"/>
                  <a:pt x="4821" y="5293"/>
                  <a:pt x="4852" y="5829"/>
                </a:cubicBezTo>
                <a:lnTo>
                  <a:pt x="3812" y="6837"/>
                </a:lnTo>
                <a:lnTo>
                  <a:pt x="3340" y="6396"/>
                </a:lnTo>
                <a:cubicBezTo>
                  <a:pt x="3293" y="6333"/>
                  <a:pt x="3206" y="6302"/>
                  <a:pt x="3115" y="6302"/>
                </a:cubicBezTo>
                <a:cubicBezTo>
                  <a:pt x="3025" y="6302"/>
                  <a:pt x="2930" y="6333"/>
                  <a:pt x="2867" y="6396"/>
                </a:cubicBezTo>
                <a:cubicBezTo>
                  <a:pt x="2804" y="6491"/>
                  <a:pt x="2804" y="6554"/>
                  <a:pt x="2804" y="6648"/>
                </a:cubicBezTo>
                <a:cubicBezTo>
                  <a:pt x="2804" y="6711"/>
                  <a:pt x="2836" y="6837"/>
                  <a:pt x="2930" y="6869"/>
                </a:cubicBezTo>
                <a:lnTo>
                  <a:pt x="3340" y="7310"/>
                </a:lnTo>
                <a:lnTo>
                  <a:pt x="2206" y="8444"/>
                </a:lnTo>
                <a:cubicBezTo>
                  <a:pt x="2080" y="8570"/>
                  <a:pt x="2080" y="8822"/>
                  <a:pt x="2206" y="8916"/>
                </a:cubicBezTo>
                <a:cubicBezTo>
                  <a:pt x="2300" y="9011"/>
                  <a:pt x="2363" y="9042"/>
                  <a:pt x="2458" y="9042"/>
                </a:cubicBezTo>
                <a:cubicBezTo>
                  <a:pt x="2521" y="9042"/>
                  <a:pt x="2647" y="9011"/>
                  <a:pt x="2678" y="8916"/>
                </a:cubicBezTo>
                <a:lnTo>
                  <a:pt x="4852" y="6743"/>
                </a:lnTo>
                <a:lnTo>
                  <a:pt x="4852" y="6806"/>
                </a:lnTo>
                <a:cubicBezTo>
                  <a:pt x="4758" y="7971"/>
                  <a:pt x="4569" y="8979"/>
                  <a:pt x="4254" y="9358"/>
                </a:cubicBezTo>
                <a:cubicBezTo>
                  <a:pt x="3970" y="9767"/>
                  <a:pt x="3529" y="9988"/>
                  <a:pt x="3056" y="10271"/>
                </a:cubicBezTo>
                <a:cubicBezTo>
                  <a:pt x="2867" y="10397"/>
                  <a:pt x="2710" y="10492"/>
                  <a:pt x="2521" y="10618"/>
                </a:cubicBezTo>
                <a:cubicBezTo>
                  <a:pt x="2111" y="10901"/>
                  <a:pt x="1702" y="11185"/>
                  <a:pt x="1292" y="11185"/>
                </a:cubicBezTo>
                <a:cubicBezTo>
                  <a:pt x="851" y="11122"/>
                  <a:pt x="662" y="10712"/>
                  <a:pt x="693" y="9862"/>
                </a:cubicBezTo>
                <a:cubicBezTo>
                  <a:pt x="756" y="8759"/>
                  <a:pt x="1261" y="7152"/>
                  <a:pt x="1954" y="5766"/>
                </a:cubicBezTo>
                <a:cubicBezTo>
                  <a:pt x="2332" y="5104"/>
                  <a:pt x="2710" y="4506"/>
                  <a:pt x="3056" y="4128"/>
                </a:cubicBezTo>
                <a:cubicBezTo>
                  <a:pt x="3434" y="3781"/>
                  <a:pt x="3749" y="3529"/>
                  <a:pt x="3970" y="3529"/>
                </a:cubicBezTo>
                <a:close/>
                <a:moveTo>
                  <a:pt x="7845" y="3624"/>
                </a:moveTo>
                <a:cubicBezTo>
                  <a:pt x="8066" y="3624"/>
                  <a:pt x="8381" y="3813"/>
                  <a:pt x="8759" y="4191"/>
                </a:cubicBezTo>
                <a:cubicBezTo>
                  <a:pt x="9105" y="4600"/>
                  <a:pt x="9483" y="5136"/>
                  <a:pt x="9861" y="5860"/>
                </a:cubicBezTo>
                <a:cubicBezTo>
                  <a:pt x="10555" y="7247"/>
                  <a:pt x="11059" y="8853"/>
                  <a:pt x="11122" y="9956"/>
                </a:cubicBezTo>
                <a:cubicBezTo>
                  <a:pt x="11153" y="10744"/>
                  <a:pt x="10933" y="11185"/>
                  <a:pt x="10523" y="11185"/>
                </a:cubicBezTo>
                <a:cubicBezTo>
                  <a:pt x="10504" y="11186"/>
                  <a:pt x="10485" y="11187"/>
                  <a:pt x="10466" y="11187"/>
                </a:cubicBezTo>
                <a:cubicBezTo>
                  <a:pt x="10072" y="11187"/>
                  <a:pt x="9655" y="10888"/>
                  <a:pt x="9294" y="10618"/>
                </a:cubicBezTo>
                <a:cubicBezTo>
                  <a:pt x="9105" y="10492"/>
                  <a:pt x="8948" y="10397"/>
                  <a:pt x="8727" y="10271"/>
                </a:cubicBezTo>
                <a:cubicBezTo>
                  <a:pt x="8286" y="9988"/>
                  <a:pt x="7845" y="9767"/>
                  <a:pt x="7562" y="9358"/>
                </a:cubicBezTo>
                <a:cubicBezTo>
                  <a:pt x="7278" y="8979"/>
                  <a:pt x="7057" y="7971"/>
                  <a:pt x="6963" y="6869"/>
                </a:cubicBezTo>
                <a:lnTo>
                  <a:pt x="6963" y="6837"/>
                </a:lnTo>
                <a:lnTo>
                  <a:pt x="9137" y="9011"/>
                </a:lnTo>
                <a:cubicBezTo>
                  <a:pt x="9200" y="9074"/>
                  <a:pt x="9294" y="9137"/>
                  <a:pt x="9357" y="9137"/>
                </a:cubicBezTo>
                <a:cubicBezTo>
                  <a:pt x="9452" y="9137"/>
                  <a:pt x="9578" y="9074"/>
                  <a:pt x="9609" y="9011"/>
                </a:cubicBezTo>
                <a:cubicBezTo>
                  <a:pt x="9735" y="8885"/>
                  <a:pt x="9735" y="8633"/>
                  <a:pt x="9609" y="8538"/>
                </a:cubicBezTo>
                <a:lnTo>
                  <a:pt x="8475" y="7404"/>
                </a:lnTo>
                <a:lnTo>
                  <a:pt x="8885" y="6963"/>
                </a:lnTo>
                <a:cubicBezTo>
                  <a:pt x="9011" y="6837"/>
                  <a:pt x="9011" y="6617"/>
                  <a:pt x="8885" y="6491"/>
                </a:cubicBezTo>
                <a:cubicBezTo>
                  <a:pt x="8838" y="6428"/>
                  <a:pt x="8751" y="6396"/>
                  <a:pt x="8660" y="6396"/>
                </a:cubicBezTo>
                <a:cubicBezTo>
                  <a:pt x="8570" y="6396"/>
                  <a:pt x="8475" y="6428"/>
                  <a:pt x="8412" y="6491"/>
                </a:cubicBezTo>
                <a:lnTo>
                  <a:pt x="8003" y="6932"/>
                </a:lnTo>
                <a:lnTo>
                  <a:pt x="6963" y="5892"/>
                </a:lnTo>
                <a:cubicBezTo>
                  <a:pt x="6994" y="5388"/>
                  <a:pt x="7057" y="4915"/>
                  <a:pt x="7152" y="4569"/>
                </a:cubicBezTo>
                <a:cubicBezTo>
                  <a:pt x="7215" y="4411"/>
                  <a:pt x="7278" y="4222"/>
                  <a:pt x="7310" y="4096"/>
                </a:cubicBezTo>
                <a:cubicBezTo>
                  <a:pt x="7499" y="3781"/>
                  <a:pt x="7656" y="3624"/>
                  <a:pt x="7845" y="3624"/>
                </a:cubicBezTo>
                <a:close/>
                <a:moveTo>
                  <a:pt x="5230" y="1"/>
                </a:moveTo>
                <a:cubicBezTo>
                  <a:pt x="5041" y="1"/>
                  <a:pt x="4884" y="158"/>
                  <a:pt x="4884" y="347"/>
                </a:cubicBezTo>
                <a:lnTo>
                  <a:pt x="4884" y="1639"/>
                </a:lnTo>
                <a:cubicBezTo>
                  <a:pt x="4884" y="1922"/>
                  <a:pt x="4758" y="2206"/>
                  <a:pt x="4569" y="2395"/>
                </a:cubicBezTo>
                <a:lnTo>
                  <a:pt x="4096" y="2868"/>
                </a:lnTo>
                <a:lnTo>
                  <a:pt x="4002" y="2868"/>
                </a:lnTo>
                <a:cubicBezTo>
                  <a:pt x="3991" y="2867"/>
                  <a:pt x="3981" y="2867"/>
                  <a:pt x="3970" y="2867"/>
                </a:cubicBezTo>
                <a:cubicBezTo>
                  <a:pt x="2880" y="2867"/>
                  <a:pt x="1886" y="4484"/>
                  <a:pt x="1387" y="5451"/>
                </a:cubicBezTo>
                <a:cubicBezTo>
                  <a:pt x="599" y="6963"/>
                  <a:pt x="63" y="8601"/>
                  <a:pt x="32" y="9862"/>
                </a:cubicBezTo>
                <a:cubicBezTo>
                  <a:pt x="0" y="10429"/>
                  <a:pt x="63" y="10901"/>
                  <a:pt x="284" y="11216"/>
                </a:cubicBezTo>
                <a:cubicBezTo>
                  <a:pt x="473" y="11657"/>
                  <a:pt x="820" y="11878"/>
                  <a:pt x="1292" y="11878"/>
                </a:cubicBezTo>
                <a:lnTo>
                  <a:pt x="1387" y="11878"/>
                </a:lnTo>
                <a:cubicBezTo>
                  <a:pt x="1954" y="11878"/>
                  <a:pt x="2489" y="11531"/>
                  <a:pt x="2962" y="11216"/>
                </a:cubicBezTo>
                <a:cubicBezTo>
                  <a:pt x="3119" y="11090"/>
                  <a:pt x="3277" y="10964"/>
                  <a:pt x="3434" y="10901"/>
                </a:cubicBezTo>
                <a:cubicBezTo>
                  <a:pt x="3970" y="10586"/>
                  <a:pt x="4474" y="10303"/>
                  <a:pt x="4852" y="9799"/>
                </a:cubicBezTo>
                <a:cubicBezTo>
                  <a:pt x="5199" y="9263"/>
                  <a:pt x="5482" y="8223"/>
                  <a:pt x="5545" y="6963"/>
                </a:cubicBezTo>
                <a:cubicBezTo>
                  <a:pt x="5545" y="6648"/>
                  <a:pt x="5577" y="6365"/>
                  <a:pt x="5545" y="6081"/>
                </a:cubicBezTo>
                <a:lnTo>
                  <a:pt x="5545" y="5987"/>
                </a:lnTo>
                <a:cubicBezTo>
                  <a:pt x="5545" y="5451"/>
                  <a:pt x="5482" y="4978"/>
                  <a:pt x="5388" y="4569"/>
                </a:cubicBezTo>
                <a:lnTo>
                  <a:pt x="5671" y="4285"/>
                </a:lnTo>
                <a:cubicBezTo>
                  <a:pt x="5734" y="4222"/>
                  <a:pt x="5821" y="4191"/>
                  <a:pt x="5908" y="4191"/>
                </a:cubicBezTo>
                <a:cubicBezTo>
                  <a:pt x="5994" y="4191"/>
                  <a:pt x="6081" y="4222"/>
                  <a:pt x="6144" y="4285"/>
                </a:cubicBezTo>
                <a:lnTo>
                  <a:pt x="6427" y="4569"/>
                </a:lnTo>
                <a:cubicBezTo>
                  <a:pt x="6270" y="5230"/>
                  <a:pt x="6207" y="6050"/>
                  <a:pt x="6270" y="6963"/>
                </a:cubicBezTo>
                <a:cubicBezTo>
                  <a:pt x="6333" y="8223"/>
                  <a:pt x="6616" y="9295"/>
                  <a:pt x="6963" y="9799"/>
                </a:cubicBezTo>
                <a:cubicBezTo>
                  <a:pt x="7310" y="10303"/>
                  <a:pt x="7845" y="10618"/>
                  <a:pt x="8381" y="10901"/>
                </a:cubicBezTo>
                <a:cubicBezTo>
                  <a:pt x="8538" y="10964"/>
                  <a:pt x="8696" y="11090"/>
                  <a:pt x="8853" y="11216"/>
                </a:cubicBezTo>
                <a:cubicBezTo>
                  <a:pt x="9326" y="11531"/>
                  <a:pt x="9830" y="11878"/>
                  <a:pt x="10429" y="11878"/>
                </a:cubicBezTo>
                <a:lnTo>
                  <a:pt x="10523" y="11878"/>
                </a:lnTo>
                <a:cubicBezTo>
                  <a:pt x="10996" y="11846"/>
                  <a:pt x="11342" y="11594"/>
                  <a:pt x="11531" y="11216"/>
                </a:cubicBezTo>
                <a:cubicBezTo>
                  <a:pt x="11720" y="10870"/>
                  <a:pt x="11815" y="10429"/>
                  <a:pt x="11783" y="9862"/>
                </a:cubicBezTo>
                <a:cubicBezTo>
                  <a:pt x="11720" y="8664"/>
                  <a:pt x="11216" y="6963"/>
                  <a:pt x="10429" y="5451"/>
                </a:cubicBezTo>
                <a:cubicBezTo>
                  <a:pt x="9924" y="4474"/>
                  <a:pt x="8885" y="2868"/>
                  <a:pt x="7782" y="2868"/>
                </a:cubicBezTo>
                <a:lnTo>
                  <a:pt x="7751" y="2868"/>
                </a:lnTo>
                <a:lnTo>
                  <a:pt x="7278" y="2395"/>
                </a:lnTo>
                <a:cubicBezTo>
                  <a:pt x="7089" y="2206"/>
                  <a:pt x="6963" y="1922"/>
                  <a:pt x="6963" y="1639"/>
                </a:cubicBezTo>
                <a:lnTo>
                  <a:pt x="6963" y="347"/>
                </a:lnTo>
                <a:cubicBezTo>
                  <a:pt x="6963" y="158"/>
                  <a:pt x="6805" y="1"/>
                  <a:pt x="6616"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9851" name="Google Shape;9851;p110"/>
          <p:cNvSpPr/>
          <p:nvPr/>
        </p:nvSpPr>
        <p:spPr>
          <a:xfrm>
            <a:off x="9465170" y="5054945"/>
            <a:ext cx="477204" cy="442051"/>
          </a:xfrm>
          <a:custGeom>
            <a:avLst/>
            <a:gdLst/>
            <a:ahLst/>
            <a:cxnLst/>
            <a:rect l="l" t="t" r="r" b="b"/>
            <a:pathLst>
              <a:path w="11973" h="11091" extrusionOk="0">
                <a:moveTo>
                  <a:pt x="2143" y="694"/>
                </a:moveTo>
                <a:cubicBezTo>
                  <a:pt x="2206" y="694"/>
                  <a:pt x="2332" y="726"/>
                  <a:pt x="2363" y="820"/>
                </a:cubicBezTo>
                <a:cubicBezTo>
                  <a:pt x="2489" y="915"/>
                  <a:pt x="2489" y="1167"/>
                  <a:pt x="2363" y="1293"/>
                </a:cubicBezTo>
                <a:lnTo>
                  <a:pt x="1387" y="2269"/>
                </a:lnTo>
                <a:cubicBezTo>
                  <a:pt x="1324" y="2332"/>
                  <a:pt x="1229" y="2395"/>
                  <a:pt x="1135" y="2395"/>
                </a:cubicBezTo>
                <a:cubicBezTo>
                  <a:pt x="1072" y="2395"/>
                  <a:pt x="977" y="2332"/>
                  <a:pt x="914" y="2269"/>
                </a:cubicBezTo>
                <a:cubicBezTo>
                  <a:pt x="788" y="2143"/>
                  <a:pt x="788" y="1923"/>
                  <a:pt x="914" y="1797"/>
                </a:cubicBezTo>
                <a:lnTo>
                  <a:pt x="1891" y="820"/>
                </a:lnTo>
                <a:cubicBezTo>
                  <a:pt x="1985" y="726"/>
                  <a:pt x="2048" y="694"/>
                  <a:pt x="2143" y="694"/>
                </a:cubicBezTo>
                <a:close/>
                <a:moveTo>
                  <a:pt x="2647" y="2017"/>
                </a:moveTo>
                <a:lnTo>
                  <a:pt x="5325" y="4191"/>
                </a:lnTo>
                <a:lnTo>
                  <a:pt x="3151" y="4191"/>
                </a:lnTo>
                <a:lnTo>
                  <a:pt x="2111" y="2584"/>
                </a:lnTo>
                <a:lnTo>
                  <a:pt x="2647" y="2017"/>
                </a:lnTo>
                <a:close/>
                <a:moveTo>
                  <a:pt x="10555" y="2805"/>
                </a:moveTo>
                <a:lnTo>
                  <a:pt x="10555" y="2805"/>
                </a:lnTo>
                <a:cubicBezTo>
                  <a:pt x="10523" y="3277"/>
                  <a:pt x="10334" y="3750"/>
                  <a:pt x="10050" y="4191"/>
                </a:cubicBezTo>
                <a:lnTo>
                  <a:pt x="8318" y="4191"/>
                </a:lnTo>
                <a:cubicBezTo>
                  <a:pt x="8822" y="3403"/>
                  <a:pt x="9641" y="2931"/>
                  <a:pt x="10555" y="2805"/>
                </a:cubicBezTo>
                <a:close/>
                <a:moveTo>
                  <a:pt x="10964" y="4853"/>
                </a:moveTo>
                <a:cubicBezTo>
                  <a:pt x="11153" y="4853"/>
                  <a:pt x="11311" y="5010"/>
                  <a:pt x="11311" y="5231"/>
                </a:cubicBezTo>
                <a:cubicBezTo>
                  <a:pt x="11279" y="5294"/>
                  <a:pt x="11279" y="5388"/>
                  <a:pt x="11185" y="5420"/>
                </a:cubicBezTo>
                <a:cubicBezTo>
                  <a:pt x="11122" y="5483"/>
                  <a:pt x="11027" y="5577"/>
                  <a:pt x="10933" y="5577"/>
                </a:cubicBezTo>
                <a:lnTo>
                  <a:pt x="1198" y="5577"/>
                </a:lnTo>
                <a:cubicBezTo>
                  <a:pt x="1072" y="5577"/>
                  <a:pt x="1009" y="5546"/>
                  <a:pt x="914" y="5420"/>
                </a:cubicBezTo>
                <a:cubicBezTo>
                  <a:pt x="882" y="5325"/>
                  <a:pt x="851" y="5294"/>
                  <a:pt x="851" y="5231"/>
                </a:cubicBezTo>
                <a:cubicBezTo>
                  <a:pt x="851" y="5010"/>
                  <a:pt x="1009" y="4853"/>
                  <a:pt x="1198" y="4853"/>
                </a:cubicBezTo>
                <a:close/>
                <a:moveTo>
                  <a:pt x="10555" y="6239"/>
                </a:moveTo>
                <a:cubicBezTo>
                  <a:pt x="10428" y="7058"/>
                  <a:pt x="10082" y="8098"/>
                  <a:pt x="8759" y="9043"/>
                </a:cubicBezTo>
                <a:lnTo>
                  <a:pt x="3340" y="9043"/>
                </a:lnTo>
                <a:cubicBezTo>
                  <a:pt x="2363" y="8381"/>
                  <a:pt x="1765" y="7657"/>
                  <a:pt x="1576" y="6270"/>
                </a:cubicBezTo>
                <a:lnTo>
                  <a:pt x="9137" y="6270"/>
                </a:lnTo>
                <a:cubicBezTo>
                  <a:pt x="9074" y="6711"/>
                  <a:pt x="8822" y="7216"/>
                  <a:pt x="8192" y="7751"/>
                </a:cubicBezTo>
                <a:cubicBezTo>
                  <a:pt x="8034" y="7846"/>
                  <a:pt x="8034" y="8098"/>
                  <a:pt x="8160" y="8224"/>
                </a:cubicBezTo>
                <a:cubicBezTo>
                  <a:pt x="8223" y="8287"/>
                  <a:pt x="8318" y="8318"/>
                  <a:pt x="8444" y="8318"/>
                </a:cubicBezTo>
                <a:cubicBezTo>
                  <a:pt x="8507" y="8318"/>
                  <a:pt x="8601" y="8287"/>
                  <a:pt x="8633" y="8255"/>
                </a:cubicBezTo>
                <a:cubicBezTo>
                  <a:pt x="9483" y="7531"/>
                  <a:pt x="9767" y="6838"/>
                  <a:pt x="9861" y="6239"/>
                </a:cubicBezTo>
                <a:close/>
                <a:moveTo>
                  <a:pt x="8475" y="9704"/>
                </a:moveTo>
                <a:lnTo>
                  <a:pt x="8475" y="10051"/>
                </a:lnTo>
                <a:cubicBezTo>
                  <a:pt x="8507" y="10272"/>
                  <a:pt x="8349" y="10429"/>
                  <a:pt x="8160" y="10429"/>
                </a:cubicBezTo>
                <a:lnTo>
                  <a:pt x="3938" y="10429"/>
                </a:lnTo>
                <a:cubicBezTo>
                  <a:pt x="3749" y="10429"/>
                  <a:pt x="3592" y="10272"/>
                  <a:pt x="3592" y="10051"/>
                </a:cubicBezTo>
                <a:lnTo>
                  <a:pt x="3592" y="9704"/>
                </a:lnTo>
                <a:close/>
                <a:moveTo>
                  <a:pt x="2143" y="1"/>
                </a:moveTo>
                <a:cubicBezTo>
                  <a:pt x="1859" y="1"/>
                  <a:pt x="1576" y="127"/>
                  <a:pt x="1387" y="348"/>
                </a:cubicBezTo>
                <a:lnTo>
                  <a:pt x="410" y="1324"/>
                </a:lnTo>
                <a:cubicBezTo>
                  <a:pt x="0" y="1702"/>
                  <a:pt x="0" y="2364"/>
                  <a:pt x="410" y="2773"/>
                </a:cubicBezTo>
                <a:cubicBezTo>
                  <a:pt x="599" y="2962"/>
                  <a:pt x="882" y="3088"/>
                  <a:pt x="1135" y="3088"/>
                </a:cubicBezTo>
                <a:cubicBezTo>
                  <a:pt x="1261" y="3088"/>
                  <a:pt x="1418" y="3057"/>
                  <a:pt x="1544" y="3025"/>
                </a:cubicBezTo>
                <a:lnTo>
                  <a:pt x="2332" y="4191"/>
                </a:lnTo>
                <a:lnTo>
                  <a:pt x="1198" y="4191"/>
                </a:lnTo>
                <a:cubicBezTo>
                  <a:pt x="599" y="4191"/>
                  <a:pt x="158" y="4664"/>
                  <a:pt x="158" y="5231"/>
                </a:cubicBezTo>
                <a:cubicBezTo>
                  <a:pt x="158" y="5451"/>
                  <a:pt x="252" y="5640"/>
                  <a:pt x="347" y="5861"/>
                </a:cubicBezTo>
                <a:cubicBezTo>
                  <a:pt x="473" y="6050"/>
                  <a:pt x="662" y="6176"/>
                  <a:pt x="914" y="6207"/>
                </a:cubicBezTo>
                <a:cubicBezTo>
                  <a:pt x="977" y="6995"/>
                  <a:pt x="1229" y="7625"/>
                  <a:pt x="1544" y="8161"/>
                </a:cubicBezTo>
                <a:cubicBezTo>
                  <a:pt x="1859" y="8696"/>
                  <a:pt x="2300" y="9106"/>
                  <a:pt x="2930" y="9547"/>
                </a:cubicBezTo>
                <a:lnTo>
                  <a:pt x="2930" y="10051"/>
                </a:lnTo>
                <a:cubicBezTo>
                  <a:pt x="2930" y="10650"/>
                  <a:pt x="3403" y="11091"/>
                  <a:pt x="3938" y="11091"/>
                </a:cubicBezTo>
                <a:lnTo>
                  <a:pt x="8160" y="11091"/>
                </a:lnTo>
                <a:cubicBezTo>
                  <a:pt x="8759" y="11091"/>
                  <a:pt x="9168" y="10618"/>
                  <a:pt x="9168" y="10051"/>
                </a:cubicBezTo>
                <a:lnTo>
                  <a:pt x="9168" y="9547"/>
                </a:lnTo>
                <a:cubicBezTo>
                  <a:pt x="10428" y="8696"/>
                  <a:pt x="11122" y="7594"/>
                  <a:pt x="11216" y="6207"/>
                </a:cubicBezTo>
                <a:cubicBezTo>
                  <a:pt x="11437" y="6113"/>
                  <a:pt x="11626" y="6018"/>
                  <a:pt x="11752" y="5861"/>
                </a:cubicBezTo>
                <a:cubicBezTo>
                  <a:pt x="11846" y="5640"/>
                  <a:pt x="11941" y="5451"/>
                  <a:pt x="11941" y="5231"/>
                </a:cubicBezTo>
                <a:cubicBezTo>
                  <a:pt x="11972" y="4632"/>
                  <a:pt x="11500" y="4191"/>
                  <a:pt x="10901" y="4191"/>
                </a:cubicBezTo>
                <a:lnTo>
                  <a:pt x="10838" y="4191"/>
                </a:lnTo>
                <a:cubicBezTo>
                  <a:pt x="11122" y="3656"/>
                  <a:pt x="11279" y="3057"/>
                  <a:pt x="11279" y="2458"/>
                </a:cubicBezTo>
                <a:cubicBezTo>
                  <a:pt x="11279" y="2269"/>
                  <a:pt x="11122" y="2112"/>
                  <a:pt x="10901" y="2112"/>
                </a:cubicBezTo>
                <a:cubicBezTo>
                  <a:pt x="9452" y="2112"/>
                  <a:pt x="8160" y="2931"/>
                  <a:pt x="7530" y="4191"/>
                </a:cubicBezTo>
                <a:lnTo>
                  <a:pt x="6427" y="4191"/>
                </a:lnTo>
                <a:lnTo>
                  <a:pt x="3088" y="1482"/>
                </a:lnTo>
                <a:cubicBezTo>
                  <a:pt x="3245" y="1072"/>
                  <a:pt x="3151" y="663"/>
                  <a:pt x="2867" y="348"/>
                </a:cubicBezTo>
                <a:cubicBezTo>
                  <a:pt x="2678" y="127"/>
                  <a:pt x="2395" y="1"/>
                  <a:pt x="2143"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9852" name="Google Shape;9852;p110"/>
          <p:cNvSpPr/>
          <p:nvPr/>
        </p:nvSpPr>
        <p:spPr>
          <a:xfrm>
            <a:off x="8269266" y="5697296"/>
            <a:ext cx="474693" cy="472181"/>
          </a:xfrm>
          <a:custGeom>
            <a:avLst/>
            <a:gdLst/>
            <a:ahLst/>
            <a:cxnLst/>
            <a:rect l="l" t="t" r="r" b="b"/>
            <a:pathLst>
              <a:path w="11910" h="11847" extrusionOk="0">
                <a:moveTo>
                  <a:pt x="1104" y="693"/>
                </a:moveTo>
                <a:cubicBezTo>
                  <a:pt x="2521" y="693"/>
                  <a:pt x="3592" y="1702"/>
                  <a:pt x="3813" y="3371"/>
                </a:cubicBezTo>
                <a:lnTo>
                  <a:pt x="3939" y="4190"/>
                </a:lnTo>
                <a:lnTo>
                  <a:pt x="3781" y="4190"/>
                </a:lnTo>
                <a:cubicBezTo>
                  <a:pt x="3592" y="4190"/>
                  <a:pt x="3435" y="4190"/>
                  <a:pt x="3246" y="4222"/>
                </a:cubicBezTo>
                <a:lnTo>
                  <a:pt x="3151" y="3497"/>
                </a:lnTo>
                <a:cubicBezTo>
                  <a:pt x="2962" y="2143"/>
                  <a:pt x="2206" y="1418"/>
                  <a:pt x="1104" y="1418"/>
                </a:cubicBezTo>
                <a:cubicBezTo>
                  <a:pt x="915" y="1418"/>
                  <a:pt x="757" y="1260"/>
                  <a:pt x="757" y="1040"/>
                </a:cubicBezTo>
                <a:cubicBezTo>
                  <a:pt x="757" y="851"/>
                  <a:pt x="915" y="693"/>
                  <a:pt x="1104" y="693"/>
                </a:cubicBezTo>
                <a:close/>
                <a:moveTo>
                  <a:pt x="6617" y="3529"/>
                </a:moveTo>
                <a:cubicBezTo>
                  <a:pt x="7184" y="3529"/>
                  <a:pt x="7657" y="4001"/>
                  <a:pt x="7657" y="4568"/>
                </a:cubicBezTo>
                <a:lnTo>
                  <a:pt x="7657" y="5577"/>
                </a:lnTo>
                <a:lnTo>
                  <a:pt x="6774" y="5577"/>
                </a:lnTo>
                <a:lnTo>
                  <a:pt x="6554" y="5356"/>
                </a:lnTo>
                <a:lnTo>
                  <a:pt x="6522" y="5293"/>
                </a:lnTo>
                <a:cubicBezTo>
                  <a:pt x="6050" y="4820"/>
                  <a:pt x="5388" y="4474"/>
                  <a:pt x="4695" y="4316"/>
                </a:cubicBezTo>
                <a:lnTo>
                  <a:pt x="4569" y="3529"/>
                </a:lnTo>
                <a:close/>
                <a:moveTo>
                  <a:pt x="3466" y="4915"/>
                </a:moveTo>
                <a:lnTo>
                  <a:pt x="3466" y="5608"/>
                </a:lnTo>
                <a:cubicBezTo>
                  <a:pt x="3088" y="5671"/>
                  <a:pt x="2679" y="5860"/>
                  <a:pt x="2364" y="6081"/>
                </a:cubicBezTo>
                <a:lnTo>
                  <a:pt x="1860" y="5577"/>
                </a:lnTo>
                <a:cubicBezTo>
                  <a:pt x="2332" y="5230"/>
                  <a:pt x="2868" y="4978"/>
                  <a:pt x="3466" y="4915"/>
                </a:cubicBezTo>
                <a:close/>
                <a:moveTo>
                  <a:pt x="4191" y="4915"/>
                </a:moveTo>
                <a:cubicBezTo>
                  <a:pt x="4790" y="4978"/>
                  <a:pt x="5325" y="5230"/>
                  <a:pt x="5798" y="5577"/>
                </a:cubicBezTo>
                <a:lnTo>
                  <a:pt x="5294" y="6081"/>
                </a:lnTo>
                <a:cubicBezTo>
                  <a:pt x="4979" y="5860"/>
                  <a:pt x="4569" y="5703"/>
                  <a:pt x="4191" y="5608"/>
                </a:cubicBezTo>
                <a:lnTo>
                  <a:pt x="4191" y="4915"/>
                </a:lnTo>
                <a:close/>
                <a:moveTo>
                  <a:pt x="6270" y="6049"/>
                </a:moveTo>
                <a:cubicBezTo>
                  <a:pt x="6617" y="6522"/>
                  <a:pt x="6869" y="7057"/>
                  <a:pt x="6932" y="7656"/>
                </a:cubicBezTo>
                <a:lnTo>
                  <a:pt x="6239" y="7656"/>
                </a:lnTo>
                <a:cubicBezTo>
                  <a:pt x="6176" y="7278"/>
                  <a:pt x="5987" y="6868"/>
                  <a:pt x="5766" y="6553"/>
                </a:cubicBezTo>
                <a:lnTo>
                  <a:pt x="6270" y="6049"/>
                </a:lnTo>
                <a:close/>
                <a:moveTo>
                  <a:pt x="1387" y="6081"/>
                </a:moveTo>
                <a:lnTo>
                  <a:pt x="1891" y="6616"/>
                </a:lnTo>
                <a:cubicBezTo>
                  <a:pt x="1671" y="6931"/>
                  <a:pt x="1513" y="7309"/>
                  <a:pt x="1419" y="7719"/>
                </a:cubicBezTo>
                <a:lnTo>
                  <a:pt x="725" y="7719"/>
                </a:lnTo>
                <a:cubicBezTo>
                  <a:pt x="788" y="7057"/>
                  <a:pt x="1041" y="6522"/>
                  <a:pt x="1387" y="6081"/>
                </a:cubicBezTo>
                <a:close/>
                <a:moveTo>
                  <a:pt x="8792" y="6327"/>
                </a:moveTo>
                <a:cubicBezTo>
                  <a:pt x="9316" y="6327"/>
                  <a:pt x="9736" y="6806"/>
                  <a:pt x="9736" y="7341"/>
                </a:cubicBezTo>
                <a:lnTo>
                  <a:pt x="9736" y="7719"/>
                </a:lnTo>
                <a:lnTo>
                  <a:pt x="7657" y="7719"/>
                </a:lnTo>
                <a:cubicBezTo>
                  <a:pt x="7594" y="7183"/>
                  <a:pt x="7436" y="6774"/>
                  <a:pt x="7247" y="6333"/>
                </a:cubicBezTo>
                <a:lnTo>
                  <a:pt x="8696" y="6333"/>
                </a:lnTo>
                <a:cubicBezTo>
                  <a:pt x="8729" y="6329"/>
                  <a:pt x="8761" y="6327"/>
                  <a:pt x="8792" y="6327"/>
                </a:cubicBezTo>
                <a:close/>
                <a:moveTo>
                  <a:pt x="3813" y="6270"/>
                </a:moveTo>
                <a:cubicBezTo>
                  <a:pt x="4790" y="6270"/>
                  <a:pt x="5577" y="7057"/>
                  <a:pt x="5577" y="8034"/>
                </a:cubicBezTo>
                <a:cubicBezTo>
                  <a:pt x="5577" y="8979"/>
                  <a:pt x="4790" y="9767"/>
                  <a:pt x="3813" y="9767"/>
                </a:cubicBezTo>
                <a:cubicBezTo>
                  <a:pt x="2868" y="9767"/>
                  <a:pt x="2080" y="8979"/>
                  <a:pt x="2080" y="8034"/>
                </a:cubicBezTo>
                <a:cubicBezTo>
                  <a:pt x="2080" y="7057"/>
                  <a:pt x="2868" y="6270"/>
                  <a:pt x="3813" y="6270"/>
                </a:cubicBezTo>
                <a:close/>
                <a:moveTo>
                  <a:pt x="1419" y="8381"/>
                </a:moveTo>
                <a:cubicBezTo>
                  <a:pt x="1450" y="8759"/>
                  <a:pt x="1671" y="9168"/>
                  <a:pt x="1891" y="9483"/>
                </a:cubicBezTo>
                <a:lnTo>
                  <a:pt x="1387" y="9987"/>
                </a:lnTo>
                <a:cubicBezTo>
                  <a:pt x="1041" y="9515"/>
                  <a:pt x="788" y="8979"/>
                  <a:pt x="725" y="8381"/>
                </a:cubicBezTo>
                <a:close/>
                <a:moveTo>
                  <a:pt x="6932" y="8381"/>
                </a:moveTo>
                <a:cubicBezTo>
                  <a:pt x="6869" y="8979"/>
                  <a:pt x="6617" y="9515"/>
                  <a:pt x="6270" y="9987"/>
                </a:cubicBezTo>
                <a:lnTo>
                  <a:pt x="5766" y="9483"/>
                </a:lnTo>
                <a:cubicBezTo>
                  <a:pt x="5987" y="9168"/>
                  <a:pt x="6144" y="8759"/>
                  <a:pt x="6239" y="8381"/>
                </a:cubicBezTo>
                <a:close/>
                <a:moveTo>
                  <a:pt x="5294" y="9956"/>
                </a:moveTo>
                <a:lnTo>
                  <a:pt x="5798" y="10460"/>
                </a:lnTo>
                <a:cubicBezTo>
                  <a:pt x="5357" y="10806"/>
                  <a:pt x="4821" y="11058"/>
                  <a:pt x="4191" y="11121"/>
                </a:cubicBezTo>
                <a:lnTo>
                  <a:pt x="4191" y="10428"/>
                </a:lnTo>
                <a:cubicBezTo>
                  <a:pt x="4569" y="10397"/>
                  <a:pt x="4979" y="10176"/>
                  <a:pt x="5294" y="9956"/>
                </a:cubicBezTo>
                <a:close/>
                <a:moveTo>
                  <a:pt x="2364" y="9987"/>
                </a:moveTo>
                <a:cubicBezTo>
                  <a:pt x="2679" y="10208"/>
                  <a:pt x="3088" y="10397"/>
                  <a:pt x="3466" y="10460"/>
                </a:cubicBezTo>
                <a:lnTo>
                  <a:pt x="3466" y="11184"/>
                </a:lnTo>
                <a:cubicBezTo>
                  <a:pt x="2868" y="11090"/>
                  <a:pt x="2332" y="10838"/>
                  <a:pt x="1860" y="10491"/>
                </a:cubicBezTo>
                <a:lnTo>
                  <a:pt x="2364" y="9987"/>
                </a:lnTo>
                <a:close/>
                <a:moveTo>
                  <a:pt x="9389" y="10460"/>
                </a:moveTo>
                <a:cubicBezTo>
                  <a:pt x="9578" y="10460"/>
                  <a:pt x="9736" y="10617"/>
                  <a:pt x="9736" y="10806"/>
                </a:cubicBezTo>
                <a:cubicBezTo>
                  <a:pt x="9736" y="10995"/>
                  <a:pt x="9578" y="11184"/>
                  <a:pt x="9389" y="11184"/>
                </a:cubicBezTo>
                <a:cubicBezTo>
                  <a:pt x="9169" y="11184"/>
                  <a:pt x="9011" y="10995"/>
                  <a:pt x="9011" y="10806"/>
                </a:cubicBezTo>
                <a:cubicBezTo>
                  <a:pt x="9011" y="10617"/>
                  <a:pt x="9169" y="10460"/>
                  <a:pt x="9389" y="10460"/>
                </a:cubicBezTo>
                <a:close/>
                <a:moveTo>
                  <a:pt x="1104" y="0"/>
                </a:moveTo>
                <a:cubicBezTo>
                  <a:pt x="505" y="0"/>
                  <a:pt x="95" y="473"/>
                  <a:pt x="95" y="1008"/>
                </a:cubicBezTo>
                <a:cubicBezTo>
                  <a:pt x="95" y="1544"/>
                  <a:pt x="568" y="2048"/>
                  <a:pt x="1104" y="2048"/>
                </a:cubicBezTo>
                <a:cubicBezTo>
                  <a:pt x="2049" y="2048"/>
                  <a:pt x="2364" y="2867"/>
                  <a:pt x="2490" y="3529"/>
                </a:cubicBezTo>
                <a:lnTo>
                  <a:pt x="2616" y="4348"/>
                </a:lnTo>
                <a:cubicBezTo>
                  <a:pt x="2049" y="4537"/>
                  <a:pt x="1576" y="4852"/>
                  <a:pt x="1167" y="5262"/>
                </a:cubicBezTo>
                <a:lnTo>
                  <a:pt x="1104" y="5293"/>
                </a:lnTo>
                <a:cubicBezTo>
                  <a:pt x="442" y="5955"/>
                  <a:pt x="1" y="6900"/>
                  <a:pt x="1" y="7971"/>
                </a:cubicBezTo>
                <a:cubicBezTo>
                  <a:pt x="1" y="9011"/>
                  <a:pt x="442" y="9956"/>
                  <a:pt x="1104" y="10649"/>
                </a:cubicBezTo>
                <a:lnTo>
                  <a:pt x="1167" y="10680"/>
                </a:lnTo>
                <a:lnTo>
                  <a:pt x="1198" y="10743"/>
                </a:lnTo>
                <a:cubicBezTo>
                  <a:pt x="1860" y="11405"/>
                  <a:pt x="2805" y="11846"/>
                  <a:pt x="3876" y="11846"/>
                </a:cubicBezTo>
                <a:cubicBezTo>
                  <a:pt x="4884" y="11846"/>
                  <a:pt x="5829" y="11405"/>
                  <a:pt x="6554" y="10743"/>
                </a:cubicBezTo>
                <a:lnTo>
                  <a:pt x="6585" y="10680"/>
                </a:lnTo>
                <a:lnTo>
                  <a:pt x="6617" y="10649"/>
                </a:lnTo>
                <a:cubicBezTo>
                  <a:pt x="7216" y="10019"/>
                  <a:pt x="7625" y="9231"/>
                  <a:pt x="7688" y="8318"/>
                </a:cubicBezTo>
                <a:lnTo>
                  <a:pt x="9106" y="8318"/>
                </a:lnTo>
                <a:lnTo>
                  <a:pt x="9106" y="9798"/>
                </a:lnTo>
                <a:cubicBezTo>
                  <a:pt x="8728" y="9956"/>
                  <a:pt x="8381" y="10302"/>
                  <a:pt x="8381" y="10775"/>
                </a:cubicBezTo>
                <a:cubicBezTo>
                  <a:pt x="8381" y="11373"/>
                  <a:pt x="8854" y="11783"/>
                  <a:pt x="9421" y="11783"/>
                </a:cubicBezTo>
                <a:cubicBezTo>
                  <a:pt x="9862" y="11783"/>
                  <a:pt x="10240" y="11531"/>
                  <a:pt x="10398" y="11090"/>
                </a:cubicBezTo>
                <a:lnTo>
                  <a:pt x="11532" y="11090"/>
                </a:lnTo>
                <a:cubicBezTo>
                  <a:pt x="11752" y="11090"/>
                  <a:pt x="11910" y="10932"/>
                  <a:pt x="11910" y="10743"/>
                </a:cubicBezTo>
                <a:cubicBezTo>
                  <a:pt x="11910" y="10523"/>
                  <a:pt x="11689" y="10460"/>
                  <a:pt x="11500" y="10460"/>
                </a:cubicBezTo>
                <a:lnTo>
                  <a:pt x="10366" y="10460"/>
                </a:lnTo>
                <a:cubicBezTo>
                  <a:pt x="10240" y="10176"/>
                  <a:pt x="10019" y="9956"/>
                  <a:pt x="9736" y="9830"/>
                </a:cubicBezTo>
                <a:lnTo>
                  <a:pt x="9736" y="8381"/>
                </a:lnTo>
                <a:lnTo>
                  <a:pt x="10807" y="8381"/>
                </a:lnTo>
                <a:cubicBezTo>
                  <a:pt x="10996" y="8381"/>
                  <a:pt x="11154" y="8223"/>
                  <a:pt x="11154" y="8034"/>
                </a:cubicBezTo>
                <a:cubicBezTo>
                  <a:pt x="11154" y="7813"/>
                  <a:pt x="10996" y="7656"/>
                  <a:pt x="10807" y="7656"/>
                </a:cubicBezTo>
                <a:lnTo>
                  <a:pt x="10461" y="7656"/>
                </a:lnTo>
                <a:lnTo>
                  <a:pt x="10461" y="7309"/>
                </a:lnTo>
                <a:cubicBezTo>
                  <a:pt x="10461" y="6364"/>
                  <a:pt x="9673" y="5577"/>
                  <a:pt x="8728" y="5577"/>
                </a:cubicBezTo>
                <a:lnTo>
                  <a:pt x="8350" y="5577"/>
                </a:lnTo>
                <a:lnTo>
                  <a:pt x="8350" y="4568"/>
                </a:lnTo>
                <a:cubicBezTo>
                  <a:pt x="8350" y="3623"/>
                  <a:pt x="7562" y="2836"/>
                  <a:pt x="6617" y="2836"/>
                </a:cubicBezTo>
                <a:lnTo>
                  <a:pt x="4443" y="2836"/>
                </a:lnTo>
                <a:cubicBezTo>
                  <a:pt x="4254" y="2048"/>
                  <a:pt x="3907" y="1418"/>
                  <a:pt x="3403" y="882"/>
                </a:cubicBezTo>
                <a:cubicBezTo>
                  <a:pt x="2773" y="315"/>
                  <a:pt x="1986" y="0"/>
                  <a:pt x="1104"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nvGrpSpPr>
          <p:cNvPr id="9853" name="Google Shape;9853;p110"/>
          <p:cNvGrpSpPr/>
          <p:nvPr/>
        </p:nvGrpSpPr>
        <p:grpSpPr>
          <a:xfrm>
            <a:off x="8859735" y="2082146"/>
            <a:ext cx="480951" cy="471863"/>
            <a:chOff x="-26993200" y="1961775"/>
            <a:chExt cx="301675" cy="295975"/>
          </a:xfrm>
        </p:grpSpPr>
        <p:sp>
          <p:nvSpPr>
            <p:cNvPr id="9854" name="Google Shape;9854;p110"/>
            <p:cNvSpPr/>
            <p:nvPr/>
          </p:nvSpPr>
          <p:spPr>
            <a:xfrm>
              <a:off x="-26993200" y="1961775"/>
              <a:ext cx="301675" cy="295975"/>
            </a:xfrm>
            <a:custGeom>
              <a:avLst/>
              <a:gdLst/>
              <a:ahLst/>
              <a:cxnLst/>
              <a:rect l="l" t="t" r="r" b="b"/>
              <a:pathLst>
                <a:path w="12067" h="11839" extrusionOk="0">
                  <a:moveTo>
                    <a:pt x="8601" y="685"/>
                  </a:moveTo>
                  <a:cubicBezTo>
                    <a:pt x="8664" y="685"/>
                    <a:pt x="8790" y="717"/>
                    <a:pt x="8822" y="811"/>
                  </a:cubicBezTo>
                  <a:lnTo>
                    <a:pt x="11279" y="3237"/>
                  </a:lnTo>
                  <a:cubicBezTo>
                    <a:pt x="11342" y="3332"/>
                    <a:pt x="11374" y="3395"/>
                    <a:pt x="11374" y="3489"/>
                  </a:cubicBezTo>
                  <a:cubicBezTo>
                    <a:pt x="11374" y="3552"/>
                    <a:pt x="11342" y="3647"/>
                    <a:pt x="11279" y="3710"/>
                  </a:cubicBezTo>
                  <a:cubicBezTo>
                    <a:pt x="11216" y="3773"/>
                    <a:pt x="11122" y="3804"/>
                    <a:pt x="11031" y="3804"/>
                  </a:cubicBezTo>
                  <a:cubicBezTo>
                    <a:pt x="10941" y="3804"/>
                    <a:pt x="10854" y="3773"/>
                    <a:pt x="10807" y="3710"/>
                  </a:cubicBezTo>
                  <a:lnTo>
                    <a:pt x="8349" y="1284"/>
                  </a:lnTo>
                  <a:cubicBezTo>
                    <a:pt x="8286" y="1189"/>
                    <a:pt x="8223" y="1126"/>
                    <a:pt x="8223" y="1032"/>
                  </a:cubicBezTo>
                  <a:cubicBezTo>
                    <a:pt x="8223" y="969"/>
                    <a:pt x="8286" y="843"/>
                    <a:pt x="8349" y="811"/>
                  </a:cubicBezTo>
                  <a:cubicBezTo>
                    <a:pt x="8444" y="717"/>
                    <a:pt x="8507" y="685"/>
                    <a:pt x="8601" y="685"/>
                  </a:cubicBezTo>
                  <a:close/>
                  <a:moveTo>
                    <a:pt x="7971" y="2103"/>
                  </a:moveTo>
                  <a:lnTo>
                    <a:pt x="8759" y="2891"/>
                  </a:lnTo>
                  <a:lnTo>
                    <a:pt x="9925" y="4056"/>
                  </a:lnTo>
                  <a:lnTo>
                    <a:pt x="7058" y="6955"/>
                  </a:lnTo>
                  <a:cubicBezTo>
                    <a:pt x="6617" y="6545"/>
                    <a:pt x="5986" y="6356"/>
                    <a:pt x="5325" y="6356"/>
                  </a:cubicBezTo>
                  <a:lnTo>
                    <a:pt x="5293" y="6356"/>
                  </a:lnTo>
                  <a:cubicBezTo>
                    <a:pt x="5256" y="6359"/>
                    <a:pt x="5219" y="6360"/>
                    <a:pt x="5182" y="6360"/>
                  </a:cubicBezTo>
                  <a:cubicBezTo>
                    <a:pt x="4779" y="6360"/>
                    <a:pt x="4385" y="6206"/>
                    <a:pt x="4096" y="5947"/>
                  </a:cubicBezTo>
                  <a:lnTo>
                    <a:pt x="5136" y="4939"/>
                  </a:lnTo>
                  <a:lnTo>
                    <a:pt x="5356" y="5159"/>
                  </a:lnTo>
                  <a:cubicBezTo>
                    <a:pt x="5451" y="5254"/>
                    <a:pt x="5514" y="5285"/>
                    <a:pt x="5608" y="5285"/>
                  </a:cubicBezTo>
                  <a:cubicBezTo>
                    <a:pt x="5671" y="5285"/>
                    <a:pt x="5797" y="5254"/>
                    <a:pt x="5829" y="5159"/>
                  </a:cubicBezTo>
                  <a:cubicBezTo>
                    <a:pt x="5955" y="5065"/>
                    <a:pt x="5955" y="4813"/>
                    <a:pt x="5829" y="4687"/>
                  </a:cubicBezTo>
                  <a:lnTo>
                    <a:pt x="5608" y="4466"/>
                  </a:lnTo>
                  <a:lnTo>
                    <a:pt x="6081" y="3993"/>
                  </a:lnTo>
                  <a:lnTo>
                    <a:pt x="6302" y="4214"/>
                  </a:lnTo>
                  <a:cubicBezTo>
                    <a:pt x="6396" y="4308"/>
                    <a:pt x="6459" y="4340"/>
                    <a:pt x="6554" y="4340"/>
                  </a:cubicBezTo>
                  <a:cubicBezTo>
                    <a:pt x="6617" y="4340"/>
                    <a:pt x="6743" y="4308"/>
                    <a:pt x="6774" y="4214"/>
                  </a:cubicBezTo>
                  <a:cubicBezTo>
                    <a:pt x="6900" y="4119"/>
                    <a:pt x="6900" y="3867"/>
                    <a:pt x="6774" y="3741"/>
                  </a:cubicBezTo>
                  <a:lnTo>
                    <a:pt x="6554" y="3521"/>
                  </a:lnTo>
                  <a:lnTo>
                    <a:pt x="7026" y="3048"/>
                  </a:lnTo>
                  <a:lnTo>
                    <a:pt x="7247" y="3269"/>
                  </a:lnTo>
                  <a:cubicBezTo>
                    <a:pt x="7341" y="3363"/>
                    <a:pt x="7404" y="3395"/>
                    <a:pt x="7499" y="3395"/>
                  </a:cubicBezTo>
                  <a:cubicBezTo>
                    <a:pt x="7562" y="3395"/>
                    <a:pt x="7688" y="3363"/>
                    <a:pt x="7719" y="3269"/>
                  </a:cubicBezTo>
                  <a:cubicBezTo>
                    <a:pt x="7845" y="3174"/>
                    <a:pt x="7845" y="2922"/>
                    <a:pt x="7719" y="2796"/>
                  </a:cubicBezTo>
                  <a:lnTo>
                    <a:pt x="7499" y="2576"/>
                  </a:lnTo>
                  <a:lnTo>
                    <a:pt x="7971" y="2103"/>
                  </a:lnTo>
                  <a:close/>
                  <a:moveTo>
                    <a:pt x="3592" y="6482"/>
                  </a:moveTo>
                  <a:cubicBezTo>
                    <a:pt x="4038" y="6839"/>
                    <a:pt x="4596" y="7084"/>
                    <a:pt x="5213" y="7084"/>
                  </a:cubicBezTo>
                  <a:cubicBezTo>
                    <a:pt x="5250" y="7084"/>
                    <a:pt x="5288" y="7083"/>
                    <a:pt x="5325" y="7081"/>
                  </a:cubicBezTo>
                  <a:cubicBezTo>
                    <a:pt x="5797" y="7081"/>
                    <a:pt x="6239" y="7175"/>
                    <a:pt x="6554" y="7459"/>
                  </a:cubicBezTo>
                  <a:lnTo>
                    <a:pt x="3277" y="10735"/>
                  </a:lnTo>
                  <a:cubicBezTo>
                    <a:pt x="2993" y="11003"/>
                    <a:pt x="2639" y="11137"/>
                    <a:pt x="2285" y="11137"/>
                  </a:cubicBezTo>
                  <a:cubicBezTo>
                    <a:pt x="1930" y="11137"/>
                    <a:pt x="1576" y="11003"/>
                    <a:pt x="1292" y="10735"/>
                  </a:cubicBezTo>
                  <a:cubicBezTo>
                    <a:pt x="757" y="10168"/>
                    <a:pt x="757" y="9318"/>
                    <a:pt x="1292" y="8751"/>
                  </a:cubicBezTo>
                  <a:lnTo>
                    <a:pt x="3592" y="6482"/>
                  </a:lnTo>
                  <a:close/>
                  <a:moveTo>
                    <a:pt x="8582" y="0"/>
                  </a:moveTo>
                  <a:cubicBezTo>
                    <a:pt x="8318" y="0"/>
                    <a:pt x="8050" y="103"/>
                    <a:pt x="7845" y="307"/>
                  </a:cubicBezTo>
                  <a:cubicBezTo>
                    <a:pt x="7656" y="496"/>
                    <a:pt x="7530" y="780"/>
                    <a:pt x="7530" y="1032"/>
                  </a:cubicBezTo>
                  <a:cubicBezTo>
                    <a:pt x="7530" y="1189"/>
                    <a:pt x="7562" y="1347"/>
                    <a:pt x="7656" y="1473"/>
                  </a:cubicBezTo>
                  <a:lnTo>
                    <a:pt x="6869" y="2261"/>
                  </a:lnTo>
                  <a:lnTo>
                    <a:pt x="4884" y="4245"/>
                  </a:lnTo>
                  <a:lnTo>
                    <a:pt x="820" y="8278"/>
                  </a:lnTo>
                  <a:cubicBezTo>
                    <a:pt x="1" y="9097"/>
                    <a:pt x="1" y="10420"/>
                    <a:pt x="820" y="11240"/>
                  </a:cubicBezTo>
                  <a:cubicBezTo>
                    <a:pt x="1229" y="11649"/>
                    <a:pt x="1796" y="11838"/>
                    <a:pt x="2300" y="11838"/>
                  </a:cubicBezTo>
                  <a:cubicBezTo>
                    <a:pt x="2836" y="11838"/>
                    <a:pt x="3340" y="11649"/>
                    <a:pt x="3750" y="11240"/>
                  </a:cubicBezTo>
                  <a:lnTo>
                    <a:pt x="10555" y="4434"/>
                  </a:lnTo>
                  <a:cubicBezTo>
                    <a:pt x="10712" y="4497"/>
                    <a:pt x="10838" y="4560"/>
                    <a:pt x="10996" y="4560"/>
                  </a:cubicBezTo>
                  <a:cubicBezTo>
                    <a:pt x="11279" y="4560"/>
                    <a:pt x="11531" y="4434"/>
                    <a:pt x="11752" y="4245"/>
                  </a:cubicBezTo>
                  <a:cubicBezTo>
                    <a:pt x="11941" y="4025"/>
                    <a:pt x="12067" y="3773"/>
                    <a:pt x="12067" y="3489"/>
                  </a:cubicBezTo>
                  <a:cubicBezTo>
                    <a:pt x="12067" y="3206"/>
                    <a:pt x="11941" y="2922"/>
                    <a:pt x="11752" y="2733"/>
                  </a:cubicBezTo>
                  <a:lnTo>
                    <a:pt x="9294" y="307"/>
                  </a:lnTo>
                  <a:cubicBezTo>
                    <a:pt x="9105" y="103"/>
                    <a:pt x="8846" y="0"/>
                    <a:pt x="8582"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9855" name="Google Shape;9855;p110"/>
            <p:cNvSpPr/>
            <p:nvPr/>
          </p:nvSpPr>
          <p:spPr>
            <a:xfrm>
              <a:off x="-26900250" y="2164775"/>
              <a:ext cx="17350" cy="18150"/>
            </a:xfrm>
            <a:custGeom>
              <a:avLst/>
              <a:gdLst/>
              <a:ahLst/>
              <a:cxnLst/>
              <a:rect l="l" t="t" r="r" b="b"/>
              <a:pathLst>
                <a:path w="694" h="726" extrusionOk="0">
                  <a:moveTo>
                    <a:pt x="347" y="1"/>
                  </a:moveTo>
                  <a:cubicBezTo>
                    <a:pt x="158" y="1"/>
                    <a:pt x="0" y="158"/>
                    <a:pt x="0" y="379"/>
                  </a:cubicBezTo>
                  <a:cubicBezTo>
                    <a:pt x="0" y="568"/>
                    <a:pt x="158" y="725"/>
                    <a:pt x="347" y="725"/>
                  </a:cubicBezTo>
                  <a:cubicBezTo>
                    <a:pt x="536" y="725"/>
                    <a:pt x="693" y="568"/>
                    <a:pt x="693" y="379"/>
                  </a:cubicBezTo>
                  <a:cubicBezTo>
                    <a:pt x="693" y="158"/>
                    <a:pt x="536" y="1"/>
                    <a:pt x="347"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9856" name="Google Shape;9856;p110"/>
            <p:cNvSpPr/>
            <p:nvPr/>
          </p:nvSpPr>
          <p:spPr>
            <a:xfrm>
              <a:off x="-26938075" y="2177375"/>
              <a:ext cx="18150" cy="16575"/>
            </a:xfrm>
            <a:custGeom>
              <a:avLst/>
              <a:gdLst/>
              <a:ahLst/>
              <a:cxnLst/>
              <a:rect l="l" t="t" r="r" b="b"/>
              <a:pathLst>
                <a:path w="726" h="663" extrusionOk="0">
                  <a:moveTo>
                    <a:pt x="375" y="1"/>
                  </a:moveTo>
                  <a:cubicBezTo>
                    <a:pt x="292" y="1"/>
                    <a:pt x="206" y="32"/>
                    <a:pt x="127" y="95"/>
                  </a:cubicBezTo>
                  <a:cubicBezTo>
                    <a:pt x="1" y="221"/>
                    <a:pt x="1" y="442"/>
                    <a:pt x="127" y="568"/>
                  </a:cubicBezTo>
                  <a:cubicBezTo>
                    <a:pt x="190" y="631"/>
                    <a:pt x="277" y="662"/>
                    <a:pt x="363" y="662"/>
                  </a:cubicBezTo>
                  <a:cubicBezTo>
                    <a:pt x="450" y="662"/>
                    <a:pt x="536" y="631"/>
                    <a:pt x="599" y="568"/>
                  </a:cubicBezTo>
                  <a:cubicBezTo>
                    <a:pt x="725" y="442"/>
                    <a:pt x="725" y="221"/>
                    <a:pt x="599" y="95"/>
                  </a:cubicBezTo>
                  <a:cubicBezTo>
                    <a:pt x="536" y="32"/>
                    <a:pt x="458" y="1"/>
                    <a:pt x="375"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9857" name="Google Shape;9857;p110"/>
          <p:cNvGrpSpPr/>
          <p:nvPr/>
        </p:nvGrpSpPr>
        <p:grpSpPr>
          <a:xfrm>
            <a:off x="8893015" y="2679059"/>
            <a:ext cx="414389" cy="470907"/>
            <a:chOff x="-26970350" y="2332550"/>
            <a:chExt cx="259925" cy="295375"/>
          </a:xfrm>
        </p:grpSpPr>
        <p:sp>
          <p:nvSpPr>
            <p:cNvPr id="9858" name="Google Shape;9858;p110"/>
            <p:cNvSpPr/>
            <p:nvPr/>
          </p:nvSpPr>
          <p:spPr>
            <a:xfrm>
              <a:off x="-26970350" y="2332550"/>
              <a:ext cx="259925" cy="295375"/>
            </a:xfrm>
            <a:custGeom>
              <a:avLst/>
              <a:gdLst/>
              <a:ahLst/>
              <a:cxnLst/>
              <a:rect l="l" t="t" r="r" b="b"/>
              <a:pathLst>
                <a:path w="10397" h="11815" extrusionOk="0">
                  <a:moveTo>
                    <a:pt x="6963" y="662"/>
                  </a:moveTo>
                  <a:cubicBezTo>
                    <a:pt x="7152" y="662"/>
                    <a:pt x="7404" y="693"/>
                    <a:pt x="7593" y="756"/>
                  </a:cubicBezTo>
                  <a:cubicBezTo>
                    <a:pt x="8538" y="977"/>
                    <a:pt x="9294" y="1733"/>
                    <a:pt x="9515" y="2646"/>
                  </a:cubicBezTo>
                  <a:cubicBezTo>
                    <a:pt x="9672" y="3466"/>
                    <a:pt x="9483" y="4285"/>
                    <a:pt x="8979" y="4946"/>
                  </a:cubicBezTo>
                  <a:cubicBezTo>
                    <a:pt x="8475" y="5639"/>
                    <a:pt x="8160" y="6522"/>
                    <a:pt x="8160" y="7467"/>
                  </a:cubicBezTo>
                  <a:lnTo>
                    <a:pt x="8160" y="10208"/>
                  </a:lnTo>
                  <a:cubicBezTo>
                    <a:pt x="8160" y="10712"/>
                    <a:pt x="7719" y="11090"/>
                    <a:pt x="7246" y="11090"/>
                  </a:cubicBezTo>
                  <a:cubicBezTo>
                    <a:pt x="6742" y="11090"/>
                    <a:pt x="6333" y="10680"/>
                    <a:pt x="6333" y="10208"/>
                  </a:cubicBezTo>
                  <a:lnTo>
                    <a:pt x="6333" y="8538"/>
                  </a:lnTo>
                  <a:cubicBezTo>
                    <a:pt x="6333" y="7908"/>
                    <a:pt x="5829" y="7404"/>
                    <a:pt x="5198" y="7404"/>
                  </a:cubicBezTo>
                  <a:cubicBezTo>
                    <a:pt x="4568" y="7404"/>
                    <a:pt x="4064" y="7908"/>
                    <a:pt x="4064" y="8538"/>
                  </a:cubicBezTo>
                  <a:lnTo>
                    <a:pt x="4064" y="10208"/>
                  </a:lnTo>
                  <a:cubicBezTo>
                    <a:pt x="4064" y="10712"/>
                    <a:pt x="3623" y="11090"/>
                    <a:pt x="3151" y="11090"/>
                  </a:cubicBezTo>
                  <a:cubicBezTo>
                    <a:pt x="2647" y="11090"/>
                    <a:pt x="2237" y="10680"/>
                    <a:pt x="2237" y="10208"/>
                  </a:cubicBezTo>
                  <a:lnTo>
                    <a:pt x="2237" y="7467"/>
                  </a:lnTo>
                  <a:cubicBezTo>
                    <a:pt x="2237" y="6522"/>
                    <a:pt x="1953" y="5639"/>
                    <a:pt x="1418" y="4946"/>
                  </a:cubicBezTo>
                  <a:cubicBezTo>
                    <a:pt x="914" y="4285"/>
                    <a:pt x="756" y="3466"/>
                    <a:pt x="945" y="2646"/>
                  </a:cubicBezTo>
                  <a:cubicBezTo>
                    <a:pt x="1166" y="1701"/>
                    <a:pt x="1922" y="945"/>
                    <a:pt x="2867" y="756"/>
                  </a:cubicBezTo>
                  <a:cubicBezTo>
                    <a:pt x="3056" y="693"/>
                    <a:pt x="3308" y="662"/>
                    <a:pt x="3497" y="662"/>
                  </a:cubicBezTo>
                  <a:cubicBezTo>
                    <a:pt x="4064" y="662"/>
                    <a:pt x="4600" y="819"/>
                    <a:pt x="5041" y="1134"/>
                  </a:cubicBezTo>
                  <a:cubicBezTo>
                    <a:pt x="5104" y="1166"/>
                    <a:pt x="5175" y="1181"/>
                    <a:pt x="5242" y="1181"/>
                  </a:cubicBezTo>
                  <a:cubicBezTo>
                    <a:pt x="5309" y="1181"/>
                    <a:pt x="5372" y="1166"/>
                    <a:pt x="5419" y="1134"/>
                  </a:cubicBezTo>
                  <a:cubicBezTo>
                    <a:pt x="5860" y="819"/>
                    <a:pt x="6427" y="662"/>
                    <a:pt x="6963" y="662"/>
                  </a:cubicBezTo>
                  <a:close/>
                  <a:moveTo>
                    <a:pt x="3466" y="0"/>
                  </a:moveTo>
                  <a:cubicBezTo>
                    <a:pt x="3182" y="0"/>
                    <a:pt x="2899" y="32"/>
                    <a:pt x="2678" y="63"/>
                  </a:cubicBezTo>
                  <a:cubicBezTo>
                    <a:pt x="1481" y="347"/>
                    <a:pt x="504" y="1292"/>
                    <a:pt x="221" y="2489"/>
                  </a:cubicBezTo>
                  <a:cubicBezTo>
                    <a:pt x="0" y="3497"/>
                    <a:pt x="189" y="4568"/>
                    <a:pt x="851" y="5387"/>
                  </a:cubicBezTo>
                  <a:cubicBezTo>
                    <a:pt x="1292" y="5954"/>
                    <a:pt x="1544" y="6679"/>
                    <a:pt x="1544" y="7467"/>
                  </a:cubicBezTo>
                  <a:lnTo>
                    <a:pt x="1544" y="10208"/>
                  </a:lnTo>
                  <a:cubicBezTo>
                    <a:pt x="1544" y="11090"/>
                    <a:pt x="2237" y="11814"/>
                    <a:pt x="3151" y="11814"/>
                  </a:cubicBezTo>
                  <a:cubicBezTo>
                    <a:pt x="4064" y="11814"/>
                    <a:pt x="4757" y="11090"/>
                    <a:pt x="4757" y="10208"/>
                  </a:cubicBezTo>
                  <a:lnTo>
                    <a:pt x="4757" y="8538"/>
                  </a:lnTo>
                  <a:cubicBezTo>
                    <a:pt x="4757" y="8317"/>
                    <a:pt x="4946" y="8065"/>
                    <a:pt x="5230" y="8065"/>
                  </a:cubicBezTo>
                  <a:cubicBezTo>
                    <a:pt x="5482" y="8065"/>
                    <a:pt x="5703" y="8254"/>
                    <a:pt x="5703" y="8538"/>
                  </a:cubicBezTo>
                  <a:lnTo>
                    <a:pt x="5703" y="10208"/>
                  </a:lnTo>
                  <a:cubicBezTo>
                    <a:pt x="5703" y="11090"/>
                    <a:pt x="6427" y="11814"/>
                    <a:pt x="7309" y="11814"/>
                  </a:cubicBezTo>
                  <a:cubicBezTo>
                    <a:pt x="8223" y="11814"/>
                    <a:pt x="8948" y="11090"/>
                    <a:pt x="8948" y="10208"/>
                  </a:cubicBezTo>
                  <a:lnTo>
                    <a:pt x="8948" y="7467"/>
                  </a:lnTo>
                  <a:cubicBezTo>
                    <a:pt x="8948" y="6679"/>
                    <a:pt x="9168" y="5954"/>
                    <a:pt x="9609" y="5387"/>
                  </a:cubicBezTo>
                  <a:cubicBezTo>
                    <a:pt x="10145" y="4568"/>
                    <a:pt x="10397" y="3497"/>
                    <a:pt x="10145" y="2489"/>
                  </a:cubicBezTo>
                  <a:cubicBezTo>
                    <a:pt x="9893" y="1292"/>
                    <a:pt x="8885" y="347"/>
                    <a:pt x="7719" y="63"/>
                  </a:cubicBezTo>
                  <a:cubicBezTo>
                    <a:pt x="7435" y="0"/>
                    <a:pt x="7152" y="0"/>
                    <a:pt x="6931" y="0"/>
                  </a:cubicBezTo>
                  <a:cubicBezTo>
                    <a:pt x="6333" y="0"/>
                    <a:pt x="5703" y="158"/>
                    <a:pt x="5198" y="473"/>
                  </a:cubicBezTo>
                  <a:cubicBezTo>
                    <a:pt x="4694" y="158"/>
                    <a:pt x="4064" y="0"/>
                    <a:pt x="3466"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9859" name="Google Shape;9859;p110"/>
            <p:cNvSpPr/>
            <p:nvPr/>
          </p:nvSpPr>
          <p:spPr>
            <a:xfrm>
              <a:off x="-26831725" y="2365650"/>
              <a:ext cx="82700" cy="81900"/>
            </a:xfrm>
            <a:custGeom>
              <a:avLst/>
              <a:gdLst/>
              <a:ahLst/>
              <a:cxnLst/>
              <a:rect l="l" t="t" r="r" b="b"/>
              <a:pathLst>
                <a:path w="3308" h="3276" extrusionOk="0">
                  <a:moveTo>
                    <a:pt x="1335" y="0"/>
                  </a:moveTo>
                  <a:cubicBezTo>
                    <a:pt x="937" y="0"/>
                    <a:pt x="544" y="121"/>
                    <a:pt x="189" y="377"/>
                  </a:cubicBezTo>
                  <a:cubicBezTo>
                    <a:pt x="32" y="472"/>
                    <a:pt x="0" y="692"/>
                    <a:pt x="126" y="818"/>
                  </a:cubicBezTo>
                  <a:cubicBezTo>
                    <a:pt x="202" y="932"/>
                    <a:pt x="300" y="989"/>
                    <a:pt x="401" y="989"/>
                  </a:cubicBezTo>
                  <a:cubicBezTo>
                    <a:pt x="468" y="989"/>
                    <a:pt x="536" y="963"/>
                    <a:pt x="599" y="913"/>
                  </a:cubicBezTo>
                  <a:cubicBezTo>
                    <a:pt x="818" y="753"/>
                    <a:pt x="1075" y="669"/>
                    <a:pt x="1331" y="669"/>
                  </a:cubicBezTo>
                  <a:cubicBezTo>
                    <a:pt x="1479" y="669"/>
                    <a:pt x="1626" y="698"/>
                    <a:pt x="1764" y="755"/>
                  </a:cubicBezTo>
                  <a:cubicBezTo>
                    <a:pt x="2174" y="913"/>
                    <a:pt x="2457" y="1196"/>
                    <a:pt x="2520" y="1574"/>
                  </a:cubicBezTo>
                  <a:cubicBezTo>
                    <a:pt x="2646" y="1984"/>
                    <a:pt x="2520" y="2394"/>
                    <a:pt x="2300" y="2709"/>
                  </a:cubicBezTo>
                  <a:cubicBezTo>
                    <a:pt x="2174" y="2866"/>
                    <a:pt x="2205" y="3087"/>
                    <a:pt x="2331" y="3181"/>
                  </a:cubicBezTo>
                  <a:cubicBezTo>
                    <a:pt x="2394" y="3244"/>
                    <a:pt x="2489" y="3276"/>
                    <a:pt x="2520" y="3276"/>
                  </a:cubicBezTo>
                  <a:cubicBezTo>
                    <a:pt x="2646" y="3276"/>
                    <a:pt x="2709" y="3244"/>
                    <a:pt x="2804" y="3150"/>
                  </a:cubicBezTo>
                  <a:cubicBezTo>
                    <a:pt x="3182" y="2677"/>
                    <a:pt x="3308" y="2047"/>
                    <a:pt x="3151" y="1417"/>
                  </a:cubicBezTo>
                  <a:cubicBezTo>
                    <a:pt x="3119" y="818"/>
                    <a:pt x="2646" y="377"/>
                    <a:pt x="2048" y="125"/>
                  </a:cubicBezTo>
                  <a:cubicBezTo>
                    <a:pt x="1813" y="43"/>
                    <a:pt x="1573" y="0"/>
                    <a:pt x="1335"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9860" name="Google Shape;9860;p110"/>
          <p:cNvGrpSpPr/>
          <p:nvPr/>
        </p:nvGrpSpPr>
        <p:grpSpPr>
          <a:xfrm>
            <a:off x="8865395" y="3309413"/>
            <a:ext cx="469631" cy="386769"/>
            <a:chOff x="-26986100" y="2735800"/>
            <a:chExt cx="294575" cy="242600"/>
          </a:xfrm>
        </p:grpSpPr>
        <p:sp>
          <p:nvSpPr>
            <p:cNvPr id="9861" name="Google Shape;9861;p110"/>
            <p:cNvSpPr/>
            <p:nvPr/>
          </p:nvSpPr>
          <p:spPr>
            <a:xfrm>
              <a:off x="-26986100" y="2735800"/>
              <a:ext cx="294575" cy="242600"/>
            </a:xfrm>
            <a:custGeom>
              <a:avLst/>
              <a:gdLst/>
              <a:ahLst/>
              <a:cxnLst/>
              <a:rect l="l" t="t" r="r" b="b"/>
              <a:pathLst>
                <a:path w="11783" h="9704" extrusionOk="0">
                  <a:moveTo>
                    <a:pt x="3781" y="757"/>
                  </a:moveTo>
                  <a:cubicBezTo>
                    <a:pt x="3970" y="757"/>
                    <a:pt x="4127" y="914"/>
                    <a:pt x="4127" y="1103"/>
                  </a:cubicBezTo>
                  <a:lnTo>
                    <a:pt x="4127" y="1481"/>
                  </a:lnTo>
                  <a:lnTo>
                    <a:pt x="3434" y="1481"/>
                  </a:lnTo>
                  <a:lnTo>
                    <a:pt x="3434" y="1103"/>
                  </a:lnTo>
                  <a:cubicBezTo>
                    <a:pt x="3434" y="914"/>
                    <a:pt x="3592" y="757"/>
                    <a:pt x="3781" y="757"/>
                  </a:cubicBezTo>
                  <a:close/>
                  <a:moveTo>
                    <a:pt x="9137" y="2804"/>
                  </a:moveTo>
                  <a:cubicBezTo>
                    <a:pt x="9515" y="2836"/>
                    <a:pt x="9924" y="3088"/>
                    <a:pt x="10082" y="3466"/>
                  </a:cubicBezTo>
                  <a:lnTo>
                    <a:pt x="10932" y="5608"/>
                  </a:lnTo>
                  <a:lnTo>
                    <a:pt x="9357" y="5608"/>
                  </a:lnTo>
                  <a:cubicBezTo>
                    <a:pt x="9168" y="5608"/>
                    <a:pt x="9010" y="5451"/>
                    <a:pt x="9010" y="5262"/>
                  </a:cubicBezTo>
                  <a:lnTo>
                    <a:pt x="9010" y="2804"/>
                  </a:lnTo>
                  <a:close/>
                  <a:moveTo>
                    <a:pt x="6522" y="2143"/>
                  </a:moveTo>
                  <a:cubicBezTo>
                    <a:pt x="6742" y="2143"/>
                    <a:pt x="6900" y="2300"/>
                    <a:pt x="6900" y="2489"/>
                  </a:cubicBezTo>
                  <a:lnTo>
                    <a:pt x="6900" y="6301"/>
                  </a:lnTo>
                  <a:lnTo>
                    <a:pt x="630" y="6301"/>
                  </a:lnTo>
                  <a:lnTo>
                    <a:pt x="630" y="2489"/>
                  </a:lnTo>
                  <a:cubicBezTo>
                    <a:pt x="630" y="2300"/>
                    <a:pt x="788" y="2143"/>
                    <a:pt x="977" y="2143"/>
                  </a:cubicBezTo>
                  <a:close/>
                  <a:moveTo>
                    <a:pt x="6900" y="7026"/>
                  </a:moveTo>
                  <a:lnTo>
                    <a:pt x="6900" y="8412"/>
                  </a:lnTo>
                  <a:lnTo>
                    <a:pt x="3340" y="8412"/>
                  </a:lnTo>
                  <a:cubicBezTo>
                    <a:pt x="3182" y="8003"/>
                    <a:pt x="2836" y="7688"/>
                    <a:pt x="2363" y="7688"/>
                  </a:cubicBezTo>
                  <a:cubicBezTo>
                    <a:pt x="1890" y="7688"/>
                    <a:pt x="1544" y="7971"/>
                    <a:pt x="1386" y="8412"/>
                  </a:cubicBezTo>
                  <a:lnTo>
                    <a:pt x="977" y="8412"/>
                  </a:lnTo>
                  <a:cubicBezTo>
                    <a:pt x="788" y="8412"/>
                    <a:pt x="630" y="8255"/>
                    <a:pt x="630" y="8034"/>
                  </a:cubicBezTo>
                  <a:lnTo>
                    <a:pt x="630" y="7026"/>
                  </a:lnTo>
                  <a:close/>
                  <a:moveTo>
                    <a:pt x="8349" y="2836"/>
                  </a:moveTo>
                  <a:lnTo>
                    <a:pt x="8349" y="5293"/>
                  </a:lnTo>
                  <a:cubicBezTo>
                    <a:pt x="8349" y="5892"/>
                    <a:pt x="8821" y="6301"/>
                    <a:pt x="9357" y="6301"/>
                  </a:cubicBezTo>
                  <a:lnTo>
                    <a:pt x="11090" y="6301"/>
                  </a:lnTo>
                  <a:lnTo>
                    <a:pt x="11090" y="7026"/>
                  </a:lnTo>
                  <a:lnTo>
                    <a:pt x="10743" y="7026"/>
                  </a:lnTo>
                  <a:cubicBezTo>
                    <a:pt x="10554" y="7026"/>
                    <a:pt x="10397" y="7184"/>
                    <a:pt x="10397" y="7373"/>
                  </a:cubicBezTo>
                  <a:cubicBezTo>
                    <a:pt x="10397" y="7562"/>
                    <a:pt x="10554" y="7719"/>
                    <a:pt x="10743" y="7719"/>
                  </a:cubicBezTo>
                  <a:lnTo>
                    <a:pt x="11090" y="7719"/>
                  </a:lnTo>
                  <a:lnTo>
                    <a:pt x="11090" y="8097"/>
                  </a:lnTo>
                  <a:cubicBezTo>
                    <a:pt x="11090" y="8255"/>
                    <a:pt x="10932" y="8412"/>
                    <a:pt x="10743" y="8412"/>
                  </a:cubicBezTo>
                  <a:lnTo>
                    <a:pt x="10365" y="8412"/>
                  </a:lnTo>
                  <a:cubicBezTo>
                    <a:pt x="10208" y="8003"/>
                    <a:pt x="9830" y="7688"/>
                    <a:pt x="9357" y="7688"/>
                  </a:cubicBezTo>
                  <a:cubicBezTo>
                    <a:pt x="8947" y="7688"/>
                    <a:pt x="8538" y="7971"/>
                    <a:pt x="8380" y="8412"/>
                  </a:cubicBezTo>
                  <a:lnTo>
                    <a:pt x="7593" y="8412"/>
                  </a:lnTo>
                  <a:lnTo>
                    <a:pt x="7593" y="2836"/>
                  </a:lnTo>
                  <a:close/>
                  <a:moveTo>
                    <a:pt x="2363" y="8349"/>
                  </a:moveTo>
                  <a:cubicBezTo>
                    <a:pt x="2552" y="8349"/>
                    <a:pt x="2709" y="8507"/>
                    <a:pt x="2709" y="8727"/>
                  </a:cubicBezTo>
                  <a:cubicBezTo>
                    <a:pt x="2709" y="8916"/>
                    <a:pt x="2552" y="9074"/>
                    <a:pt x="2363" y="9074"/>
                  </a:cubicBezTo>
                  <a:cubicBezTo>
                    <a:pt x="2174" y="9074"/>
                    <a:pt x="2016" y="8916"/>
                    <a:pt x="2016" y="8727"/>
                  </a:cubicBezTo>
                  <a:cubicBezTo>
                    <a:pt x="2016" y="8507"/>
                    <a:pt x="2174" y="8349"/>
                    <a:pt x="2363" y="8349"/>
                  </a:cubicBezTo>
                  <a:close/>
                  <a:moveTo>
                    <a:pt x="9326" y="8349"/>
                  </a:moveTo>
                  <a:cubicBezTo>
                    <a:pt x="9515" y="8349"/>
                    <a:pt x="9672" y="8507"/>
                    <a:pt x="9672" y="8727"/>
                  </a:cubicBezTo>
                  <a:cubicBezTo>
                    <a:pt x="9672" y="8916"/>
                    <a:pt x="9515" y="9074"/>
                    <a:pt x="9326" y="9074"/>
                  </a:cubicBezTo>
                  <a:cubicBezTo>
                    <a:pt x="9137" y="9074"/>
                    <a:pt x="8979" y="8916"/>
                    <a:pt x="8979" y="8727"/>
                  </a:cubicBezTo>
                  <a:cubicBezTo>
                    <a:pt x="8979" y="8507"/>
                    <a:pt x="9137" y="8349"/>
                    <a:pt x="9326" y="8349"/>
                  </a:cubicBezTo>
                  <a:close/>
                  <a:moveTo>
                    <a:pt x="3781" y="1"/>
                  </a:moveTo>
                  <a:cubicBezTo>
                    <a:pt x="3182" y="1"/>
                    <a:pt x="2741" y="473"/>
                    <a:pt x="2741" y="1040"/>
                  </a:cubicBezTo>
                  <a:lnTo>
                    <a:pt x="2741" y="1387"/>
                  </a:lnTo>
                  <a:lnTo>
                    <a:pt x="1008" y="1387"/>
                  </a:lnTo>
                  <a:cubicBezTo>
                    <a:pt x="441" y="1387"/>
                    <a:pt x="0" y="1859"/>
                    <a:pt x="0" y="2395"/>
                  </a:cubicBezTo>
                  <a:lnTo>
                    <a:pt x="0" y="7971"/>
                  </a:lnTo>
                  <a:cubicBezTo>
                    <a:pt x="0" y="8538"/>
                    <a:pt x="473" y="8979"/>
                    <a:pt x="1008" y="8979"/>
                  </a:cubicBezTo>
                  <a:lnTo>
                    <a:pt x="1418" y="8979"/>
                  </a:lnTo>
                  <a:cubicBezTo>
                    <a:pt x="1575" y="9389"/>
                    <a:pt x="1922" y="9704"/>
                    <a:pt x="2394" y="9704"/>
                  </a:cubicBezTo>
                  <a:cubicBezTo>
                    <a:pt x="2867" y="9704"/>
                    <a:pt x="3214" y="9420"/>
                    <a:pt x="3371" y="8979"/>
                  </a:cubicBezTo>
                  <a:lnTo>
                    <a:pt x="8380" y="8979"/>
                  </a:lnTo>
                  <a:cubicBezTo>
                    <a:pt x="8538" y="9389"/>
                    <a:pt x="8916" y="9704"/>
                    <a:pt x="9389" y="9704"/>
                  </a:cubicBezTo>
                  <a:cubicBezTo>
                    <a:pt x="9798" y="9704"/>
                    <a:pt x="10208" y="9420"/>
                    <a:pt x="10365" y="8979"/>
                  </a:cubicBezTo>
                  <a:lnTo>
                    <a:pt x="10743" y="8979"/>
                  </a:lnTo>
                  <a:cubicBezTo>
                    <a:pt x="11342" y="8979"/>
                    <a:pt x="11783" y="8507"/>
                    <a:pt x="11783" y="7971"/>
                  </a:cubicBezTo>
                  <a:lnTo>
                    <a:pt x="11783" y="6144"/>
                  </a:lnTo>
                  <a:cubicBezTo>
                    <a:pt x="11783" y="6112"/>
                    <a:pt x="11783" y="5986"/>
                    <a:pt x="11720" y="5892"/>
                  </a:cubicBezTo>
                  <a:cubicBezTo>
                    <a:pt x="11688" y="5766"/>
                    <a:pt x="11688" y="5671"/>
                    <a:pt x="11657" y="5577"/>
                  </a:cubicBezTo>
                  <a:lnTo>
                    <a:pt x="10712" y="3214"/>
                  </a:lnTo>
                  <a:cubicBezTo>
                    <a:pt x="10428" y="2521"/>
                    <a:pt x="9798" y="2080"/>
                    <a:pt x="9105" y="2080"/>
                  </a:cubicBezTo>
                  <a:lnTo>
                    <a:pt x="7530" y="2080"/>
                  </a:lnTo>
                  <a:cubicBezTo>
                    <a:pt x="7372" y="1702"/>
                    <a:pt x="6994" y="1387"/>
                    <a:pt x="6522" y="1387"/>
                  </a:cubicBezTo>
                  <a:lnTo>
                    <a:pt x="4789" y="1387"/>
                  </a:lnTo>
                  <a:lnTo>
                    <a:pt x="4789" y="1040"/>
                  </a:lnTo>
                  <a:cubicBezTo>
                    <a:pt x="4789" y="442"/>
                    <a:pt x="4316" y="1"/>
                    <a:pt x="3781"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9862" name="Google Shape;9862;p110"/>
            <p:cNvSpPr/>
            <p:nvPr/>
          </p:nvSpPr>
          <p:spPr>
            <a:xfrm>
              <a:off x="-26927050" y="2805900"/>
              <a:ext cx="70925" cy="70900"/>
            </a:xfrm>
            <a:custGeom>
              <a:avLst/>
              <a:gdLst/>
              <a:ahLst/>
              <a:cxnLst/>
              <a:rect l="l" t="t" r="r" b="b"/>
              <a:pathLst>
                <a:path w="2837" h="2836" extrusionOk="0">
                  <a:moveTo>
                    <a:pt x="1419" y="0"/>
                  </a:moveTo>
                  <a:cubicBezTo>
                    <a:pt x="1230" y="0"/>
                    <a:pt x="1072" y="158"/>
                    <a:pt x="1072" y="347"/>
                  </a:cubicBezTo>
                  <a:lnTo>
                    <a:pt x="1072" y="1072"/>
                  </a:lnTo>
                  <a:lnTo>
                    <a:pt x="347" y="1072"/>
                  </a:lnTo>
                  <a:cubicBezTo>
                    <a:pt x="158" y="1072"/>
                    <a:pt x="1" y="1229"/>
                    <a:pt x="1" y="1418"/>
                  </a:cubicBezTo>
                  <a:cubicBezTo>
                    <a:pt x="1" y="1607"/>
                    <a:pt x="158" y="1765"/>
                    <a:pt x="347" y="1765"/>
                  </a:cubicBezTo>
                  <a:lnTo>
                    <a:pt x="1072" y="1765"/>
                  </a:lnTo>
                  <a:lnTo>
                    <a:pt x="1072" y="2489"/>
                  </a:lnTo>
                  <a:cubicBezTo>
                    <a:pt x="1072" y="2678"/>
                    <a:pt x="1230" y="2836"/>
                    <a:pt x="1419" y="2836"/>
                  </a:cubicBezTo>
                  <a:cubicBezTo>
                    <a:pt x="1608" y="2836"/>
                    <a:pt x="1765" y="2678"/>
                    <a:pt x="1765" y="2489"/>
                  </a:cubicBezTo>
                  <a:lnTo>
                    <a:pt x="1765" y="1765"/>
                  </a:lnTo>
                  <a:lnTo>
                    <a:pt x="2490" y="1765"/>
                  </a:lnTo>
                  <a:cubicBezTo>
                    <a:pt x="2679" y="1765"/>
                    <a:pt x="2836" y="1607"/>
                    <a:pt x="2836" y="1418"/>
                  </a:cubicBezTo>
                  <a:cubicBezTo>
                    <a:pt x="2836" y="1229"/>
                    <a:pt x="2679" y="1072"/>
                    <a:pt x="2490" y="1072"/>
                  </a:cubicBezTo>
                  <a:lnTo>
                    <a:pt x="1765" y="1072"/>
                  </a:lnTo>
                  <a:lnTo>
                    <a:pt x="1765" y="347"/>
                  </a:lnTo>
                  <a:cubicBezTo>
                    <a:pt x="1765" y="158"/>
                    <a:pt x="1608" y="0"/>
                    <a:pt x="1419"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sp>
        <p:nvSpPr>
          <p:cNvPr id="9863" name="Google Shape;9863;p110"/>
          <p:cNvSpPr/>
          <p:nvPr/>
        </p:nvSpPr>
        <p:spPr>
          <a:xfrm>
            <a:off x="7078259" y="3855809"/>
            <a:ext cx="470907" cy="470907"/>
          </a:xfrm>
          <a:custGeom>
            <a:avLst/>
            <a:gdLst/>
            <a:ahLst/>
            <a:cxnLst/>
            <a:rect l="l" t="t" r="r" b="b"/>
            <a:pathLst>
              <a:path w="11815" h="11815" extrusionOk="0">
                <a:moveTo>
                  <a:pt x="6270" y="662"/>
                </a:moveTo>
                <a:lnTo>
                  <a:pt x="6270" y="2048"/>
                </a:lnTo>
                <a:cubicBezTo>
                  <a:pt x="6270" y="2678"/>
                  <a:pt x="6616" y="3245"/>
                  <a:pt x="7247" y="3497"/>
                </a:cubicBezTo>
                <a:cubicBezTo>
                  <a:pt x="7467" y="3623"/>
                  <a:pt x="7625" y="3875"/>
                  <a:pt x="7625" y="4127"/>
                </a:cubicBezTo>
                <a:cubicBezTo>
                  <a:pt x="7625" y="4537"/>
                  <a:pt x="7310" y="4852"/>
                  <a:pt x="6931" y="4852"/>
                </a:cubicBezTo>
                <a:cubicBezTo>
                  <a:pt x="6711" y="4852"/>
                  <a:pt x="6522" y="4758"/>
                  <a:pt x="6396" y="4600"/>
                </a:cubicBezTo>
                <a:cubicBezTo>
                  <a:pt x="6301" y="4443"/>
                  <a:pt x="6081" y="4380"/>
                  <a:pt x="5892" y="4380"/>
                </a:cubicBezTo>
                <a:cubicBezTo>
                  <a:pt x="5703" y="4380"/>
                  <a:pt x="5514" y="4443"/>
                  <a:pt x="5388" y="4600"/>
                </a:cubicBezTo>
                <a:cubicBezTo>
                  <a:pt x="5262" y="4758"/>
                  <a:pt x="5073" y="4852"/>
                  <a:pt x="4884" y="4852"/>
                </a:cubicBezTo>
                <a:cubicBezTo>
                  <a:pt x="4663" y="4852"/>
                  <a:pt x="4474" y="4758"/>
                  <a:pt x="4348" y="4600"/>
                </a:cubicBezTo>
                <a:cubicBezTo>
                  <a:pt x="4254" y="4443"/>
                  <a:pt x="4159" y="4285"/>
                  <a:pt x="4159" y="4096"/>
                </a:cubicBezTo>
                <a:cubicBezTo>
                  <a:pt x="4159" y="3875"/>
                  <a:pt x="4348" y="3623"/>
                  <a:pt x="4600" y="3497"/>
                </a:cubicBezTo>
                <a:cubicBezTo>
                  <a:pt x="5136" y="3277"/>
                  <a:pt x="5545" y="2647"/>
                  <a:pt x="5545" y="1922"/>
                </a:cubicBezTo>
                <a:lnTo>
                  <a:pt x="5545" y="662"/>
                </a:lnTo>
                <a:close/>
                <a:moveTo>
                  <a:pt x="6963" y="788"/>
                </a:moveTo>
                <a:cubicBezTo>
                  <a:pt x="7940" y="977"/>
                  <a:pt x="8885" y="1513"/>
                  <a:pt x="9609" y="2206"/>
                </a:cubicBezTo>
                <a:cubicBezTo>
                  <a:pt x="10586" y="3182"/>
                  <a:pt x="11153" y="4506"/>
                  <a:pt x="11153" y="5923"/>
                </a:cubicBezTo>
                <a:cubicBezTo>
                  <a:pt x="11122" y="7278"/>
                  <a:pt x="10586" y="8633"/>
                  <a:pt x="9609" y="9609"/>
                </a:cubicBezTo>
                <a:cubicBezTo>
                  <a:pt x="8853" y="10365"/>
                  <a:pt x="7940" y="10838"/>
                  <a:pt x="6963" y="11027"/>
                </a:cubicBezTo>
                <a:lnTo>
                  <a:pt x="6963" y="9735"/>
                </a:lnTo>
                <a:cubicBezTo>
                  <a:pt x="6963" y="9357"/>
                  <a:pt x="7215" y="9074"/>
                  <a:pt x="7562" y="8916"/>
                </a:cubicBezTo>
                <a:cubicBezTo>
                  <a:pt x="8034" y="8664"/>
                  <a:pt x="8349" y="8192"/>
                  <a:pt x="8349" y="7656"/>
                </a:cubicBezTo>
                <a:cubicBezTo>
                  <a:pt x="8349" y="6900"/>
                  <a:pt x="7719" y="6270"/>
                  <a:pt x="6963" y="6270"/>
                </a:cubicBezTo>
                <a:cubicBezTo>
                  <a:pt x="6585" y="6270"/>
                  <a:pt x="6175" y="6427"/>
                  <a:pt x="5955" y="6742"/>
                </a:cubicBezTo>
                <a:cubicBezTo>
                  <a:pt x="5671" y="6427"/>
                  <a:pt x="5325" y="6270"/>
                  <a:pt x="4915" y="6270"/>
                </a:cubicBezTo>
                <a:cubicBezTo>
                  <a:pt x="4537" y="6270"/>
                  <a:pt x="4159" y="6427"/>
                  <a:pt x="3907" y="6711"/>
                </a:cubicBezTo>
                <a:cubicBezTo>
                  <a:pt x="3623" y="6963"/>
                  <a:pt x="3497" y="7372"/>
                  <a:pt x="3529" y="7751"/>
                </a:cubicBezTo>
                <a:cubicBezTo>
                  <a:pt x="3592" y="8286"/>
                  <a:pt x="3907" y="8696"/>
                  <a:pt x="4380" y="8948"/>
                </a:cubicBezTo>
                <a:cubicBezTo>
                  <a:pt x="4695" y="9105"/>
                  <a:pt x="4915" y="9483"/>
                  <a:pt x="4915" y="9924"/>
                </a:cubicBezTo>
                <a:lnTo>
                  <a:pt x="4915" y="11059"/>
                </a:lnTo>
                <a:cubicBezTo>
                  <a:pt x="3939" y="10870"/>
                  <a:pt x="2993" y="10365"/>
                  <a:pt x="2269" y="9641"/>
                </a:cubicBezTo>
                <a:cubicBezTo>
                  <a:pt x="1292" y="8664"/>
                  <a:pt x="757" y="7372"/>
                  <a:pt x="757" y="5955"/>
                </a:cubicBezTo>
                <a:cubicBezTo>
                  <a:pt x="757" y="4569"/>
                  <a:pt x="1292" y="3214"/>
                  <a:pt x="2269" y="2237"/>
                </a:cubicBezTo>
                <a:cubicBezTo>
                  <a:pt x="3025" y="1481"/>
                  <a:pt x="3939" y="1040"/>
                  <a:pt x="4915" y="819"/>
                </a:cubicBezTo>
                <a:lnTo>
                  <a:pt x="4915" y="1985"/>
                </a:lnTo>
                <a:cubicBezTo>
                  <a:pt x="4915" y="2395"/>
                  <a:pt x="4695" y="2804"/>
                  <a:pt x="4380" y="2962"/>
                </a:cubicBezTo>
                <a:cubicBezTo>
                  <a:pt x="3907" y="3151"/>
                  <a:pt x="3592" y="3623"/>
                  <a:pt x="3529" y="4127"/>
                </a:cubicBezTo>
                <a:cubicBezTo>
                  <a:pt x="3497" y="4537"/>
                  <a:pt x="3655" y="4884"/>
                  <a:pt x="3907" y="5199"/>
                </a:cubicBezTo>
                <a:cubicBezTo>
                  <a:pt x="4159" y="5482"/>
                  <a:pt x="4537" y="5640"/>
                  <a:pt x="4915" y="5640"/>
                </a:cubicBezTo>
                <a:cubicBezTo>
                  <a:pt x="5325" y="5640"/>
                  <a:pt x="5703" y="5482"/>
                  <a:pt x="5955" y="5167"/>
                </a:cubicBezTo>
                <a:cubicBezTo>
                  <a:pt x="6207" y="5482"/>
                  <a:pt x="6585" y="5640"/>
                  <a:pt x="6963" y="5640"/>
                </a:cubicBezTo>
                <a:cubicBezTo>
                  <a:pt x="7719" y="5640"/>
                  <a:pt x="8349" y="5010"/>
                  <a:pt x="8349" y="4253"/>
                </a:cubicBezTo>
                <a:cubicBezTo>
                  <a:pt x="8349" y="3749"/>
                  <a:pt x="8034" y="3245"/>
                  <a:pt x="7562" y="2993"/>
                </a:cubicBezTo>
                <a:cubicBezTo>
                  <a:pt x="7152" y="2804"/>
                  <a:pt x="6963" y="2489"/>
                  <a:pt x="6963" y="2174"/>
                </a:cubicBezTo>
                <a:lnTo>
                  <a:pt x="6963" y="788"/>
                </a:lnTo>
                <a:close/>
                <a:moveTo>
                  <a:pt x="6931" y="6900"/>
                </a:moveTo>
                <a:cubicBezTo>
                  <a:pt x="7310" y="6900"/>
                  <a:pt x="7625" y="7215"/>
                  <a:pt x="7625" y="7593"/>
                </a:cubicBezTo>
                <a:cubicBezTo>
                  <a:pt x="7625" y="7877"/>
                  <a:pt x="7467" y="8129"/>
                  <a:pt x="7247" y="8223"/>
                </a:cubicBezTo>
                <a:cubicBezTo>
                  <a:pt x="6616" y="8538"/>
                  <a:pt x="6270" y="9105"/>
                  <a:pt x="6270" y="9735"/>
                </a:cubicBezTo>
                <a:lnTo>
                  <a:pt x="6270" y="11090"/>
                </a:lnTo>
                <a:lnTo>
                  <a:pt x="5545" y="11090"/>
                </a:lnTo>
                <a:lnTo>
                  <a:pt x="5545" y="9861"/>
                </a:lnTo>
                <a:cubicBezTo>
                  <a:pt x="5545" y="9137"/>
                  <a:pt x="5136" y="8507"/>
                  <a:pt x="4600" y="8223"/>
                </a:cubicBezTo>
                <a:cubicBezTo>
                  <a:pt x="4348" y="8129"/>
                  <a:pt x="4191" y="7877"/>
                  <a:pt x="4159" y="7656"/>
                </a:cubicBezTo>
                <a:cubicBezTo>
                  <a:pt x="4159" y="7435"/>
                  <a:pt x="4191" y="7246"/>
                  <a:pt x="4348" y="7120"/>
                </a:cubicBezTo>
                <a:cubicBezTo>
                  <a:pt x="4474" y="6963"/>
                  <a:pt x="4695" y="6900"/>
                  <a:pt x="4884" y="6900"/>
                </a:cubicBezTo>
                <a:cubicBezTo>
                  <a:pt x="5073" y="6900"/>
                  <a:pt x="5262" y="6963"/>
                  <a:pt x="5388" y="7120"/>
                </a:cubicBezTo>
                <a:cubicBezTo>
                  <a:pt x="5514" y="7278"/>
                  <a:pt x="5703" y="7372"/>
                  <a:pt x="5892" y="7372"/>
                </a:cubicBezTo>
                <a:cubicBezTo>
                  <a:pt x="6112" y="7372"/>
                  <a:pt x="6301" y="7278"/>
                  <a:pt x="6427" y="7120"/>
                </a:cubicBezTo>
                <a:cubicBezTo>
                  <a:pt x="6522" y="6963"/>
                  <a:pt x="6742" y="6900"/>
                  <a:pt x="6931" y="6900"/>
                </a:cubicBezTo>
                <a:close/>
                <a:moveTo>
                  <a:pt x="5892" y="0"/>
                </a:moveTo>
                <a:cubicBezTo>
                  <a:pt x="4317" y="0"/>
                  <a:pt x="2836" y="630"/>
                  <a:pt x="1733" y="1733"/>
                </a:cubicBezTo>
                <a:cubicBezTo>
                  <a:pt x="630" y="2836"/>
                  <a:pt x="0" y="4348"/>
                  <a:pt x="0" y="5923"/>
                </a:cubicBezTo>
                <a:cubicBezTo>
                  <a:pt x="0" y="7498"/>
                  <a:pt x="630" y="8979"/>
                  <a:pt x="1733" y="10082"/>
                </a:cubicBezTo>
                <a:cubicBezTo>
                  <a:pt x="2836" y="11185"/>
                  <a:pt x="4317" y="11815"/>
                  <a:pt x="5892" y="11815"/>
                </a:cubicBezTo>
                <a:cubicBezTo>
                  <a:pt x="7467" y="11815"/>
                  <a:pt x="8979" y="11185"/>
                  <a:pt x="10082" y="10082"/>
                </a:cubicBezTo>
                <a:cubicBezTo>
                  <a:pt x="11185" y="8979"/>
                  <a:pt x="11815" y="7498"/>
                  <a:pt x="11815" y="5923"/>
                </a:cubicBezTo>
                <a:cubicBezTo>
                  <a:pt x="11815" y="4348"/>
                  <a:pt x="11216" y="2836"/>
                  <a:pt x="10082" y="1733"/>
                </a:cubicBezTo>
                <a:cubicBezTo>
                  <a:pt x="8979" y="630"/>
                  <a:pt x="7467" y="0"/>
                  <a:pt x="5892"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nvGrpSpPr>
          <p:cNvPr id="9864" name="Google Shape;9864;p110"/>
          <p:cNvGrpSpPr/>
          <p:nvPr/>
        </p:nvGrpSpPr>
        <p:grpSpPr>
          <a:xfrm>
            <a:off x="7077687" y="4451659"/>
            <a:ext cx="470907" cy="472143"/>
            <a:chOff x="-25104475" y="2340425"/>
            <a:chExt cx="295375" cy="296150"/>
          </a:xfrm>
        </p:grpSpPr>
        <p:sp>
          <p:nvSpPr>
            <p:cNvPr id="9865" name="Google Shape;9865;p110"/>
            <p:cNvSpPr/>
            <p:nvPr/>
          </p:nvSpPr>
          <p:spPr>
            <a:xfrm>
              <a:off x="-25104475" y="2340425"/>
              <a:ext cx="225275" cy="296150"/>
            </a:xfrm>
            <a:custGeom>
              <a:avLst/>
              <a:gdLst/>
              <a:ahLst/>
              <a:cxnLst/>
              <a:rect l="l" t="t" r="r" b="b"/>
              <a:pathLst>
                <a:path w="9011" h="11846" extrusionOk="0">
                  <a:moveTo>
                    <a:pt x="4474" y="693"/>
                  </a:moveTo>
                  <a:cubicBezTo>
                    <a:pt x="5041" y="693"/>
                    <a:pt x="5514" y="1166"/>
                    <a:pt x="5514" y="1733"/>
                  </a:cubicBezTo>
                  <a:cubicBezTo>
                    <a:pt x="5514" y="1922"/>
                    <a:pt x="5671" y="2079"/>
                    <a:pt x="5860" y="2079"/>
                  </a:cubicBezTo>
                  <a:lnTo>
                    <a:pt x="6585" y="2079"/>
                  </a:lnTo>
                  <a:cubicBezTo>
                    <a:pt x="6774" y="2079"/>
                    <a:pt x="6931" y="2237"/>
                    <a:pt x="6931" y="2426"/>
                  </a:cubicBezTo>
                  <a:lnTo>
                    <a:pt x="6931" y="2804"/>
                  </a:lnTo>
                  <a:lnTo>
                    <a:pt x="2080" y="2804"/>
                  </a:lnTo>
                  <a:lnTo>
                    <a:pt x="2080" y="2426"/>
                  </a:lnTo>
                  <a:cubicBezTo>
                    <a:pt x="2048" y="2237"/>
                    <a:pt x="2206" y="2079"/>
                    <a:pt x="2395" y="2079"/>
                  </a:cubicBezTo>
                  <a:lnTo>
                    <a:pt x="3119" y="2079"/>
                  </a:lnTo>
                  <a:cubicBezTo>
                    <a:pt x="3308" y="2079"/>
                    <a:pt x="3466" y="1922"/>
                    <a:pt x="3466" y="1733"/>
                  </a:cubicBezTo>
                  <a:cubicBezTo>
                    <a:pt x="3466" y="1134"/>
                    <a:pt x="3939" y="693"/>
                    <a:pt x="4474" y="693"/>
                  </a:cubicBezTo>
                  <a:close/>
                  <a:moveTo>
                    <a:pt x="8003" y="2804"/>
                  </a:moveTo>
                  <a:cubicBezTo>
                    <a:pt x="8192" y="2804"/>
                    <a:pt x="8349" y="2962"/>
                    <a:pt x="8349" y="3151"/>
                  </a:cubicBezTo>
                  <a:lnTo>
                    <a:pt x="8349" y="10838"/>
                  </a:lnTo>
                  <a:lnTo>
                    <a:pt x="8286" y="10838"/>
                  </a:lnTo>
                  <a:cubicBezTo>
                    <a:pt x="8286" y="11027"/>
                    <a:pt x="8129" y="11184"/>
                    <a:pt x="7940" y="11184"/>
                  </a:cubicBezTo>
                  <a:lnTo>
                    <a:pt x="1009" y="11184"/>
                  </a:lnTo>
                  <a:cubicBezTo>
                    <a:pt x="820" y="11184"/>
                    <a:pt x="662" y="11027"/>
                    <a:pt x="662" y="10838"/>
                  </a:cubicBezTo>
                  <a:lnTo>
                    <a:pt x="662" y="3151"/>
                  </a:lnTo>
                  <a:cubicBezTo>
                    <a:pt x="662" y="2962"/>
                    <a:pt x="820" y="2804"/>
                    <a:pt x="1009" y="2804"/>
                  </a:cubicBezTo>
                  <a:lnTo>
                    <a:pt x="1355" y="2804"/>
                  </a:lnTo>
                  <a:lnTo>
                    <a:pt x="1355" y="3151"/>
                  </a:lnTo>
                  <a:cubicBezTo>
                    <a:pt x="1355" y="3340"/>
                    <a:pt x="1544" y="3497"/>
                    <a:pt x="1733" y="3497"/>
                  </a:cubicBezTo>
                  <a:lnTo>
                    <a:pt x="7278" y="3497"/>
                  </a:lnTo>
                  <a:cubicBezTo>
                    <a:pt x="7467" y="3497"/>
                    <a:pt x="7625" y="3340"/>
                    <a:pt x="7625" y="3151"/>
                  </a:cubicBezTo>
                  <a:lnTo>
                    <a:pt x="7625" y="2804"/>
                  </a:lnTo>
                  <a:close/>
                  <a:moveTo>
                    <a:pt x="4474" y="0"/>
                  </a:moveTo>
                  <a:cubicBezTo>
                    <a:pt x="3655" y="0"/>
                    <a:pt x="2930" y="599"/>
                    <a:pt x="2773" y="1386"/>
                  </a:cubicBezTo>
                  <a:lnTo>
                    <a:pt x="2395" y="1386"/>
                  </a:lnTo>
                  <a:cubicBezTo>
                    <a:pt x="1954" y="1386"/>
                    <a:pt x="1576" y="1638"/>
                    <a:pt x="1418" y="2079"/>
                  </a:cubicBezTo>
                  <a:lnTo>
                    <a:pt x="1009" y="2079"/>
                  </a:lnTo>
                  <a:cubicBezTo>
                    <a:pt x="410" y="2079"/>
                    <a:pt x="0" y="2552"/>
                    <a:pt x="0" y="3119"/>
                  </a:cubicBezTo>
                  <a:lnTo>
                    <a:pt x="0" y="10838"/>
                  </a:lnTo>
                  <a:cubicBezTo>
                    <a:pt x="0" y="11405"/>
                    <a:pt x="473" y="11846"/>
                    <a:pt x="1009" y="11846"/>
                  </a:cubicBezTo>
                  <a:lnTo>
                    <a:pt x="7940" y="11846"/>
                  </a:lnTo>
                  <a:cubicBezTo>
                    <a:pt x="8538" y="11846"/>
                    <a:pt x="8979" y="11373"/>
                    <a:pt x="8979" y="10838"/>
                  </a:cubicBezTo>
                  <a:lnTo>
                    <a:pt x="8979" y="3151"/>
                  </a:lnTo>
                  <a:cubicBezTo>
                    <a:pt x="9011" y="2552"/>
                    <a:pt x="8538" y="2079"/>
                    <a:pt x="7940" y="2079"/>
                  </a:cubicBezTo>
                  <a:lnTo>
                    <a:pt x="7562" y="2079"/>
                  </a:lnTo>
                  <a:cubicBezTo>
                    <a:pt x="7404" y="1701"/>
                    <a:pt x="7026" y="1386"/>
                    <a:pt x="6553" y="1386"/>
                  </a:cubicBezTo>
                  <a:lnTo>
                    <a:pt x="6175" y="1386"/>
                  </a:lnTo>
                  <a:cubicBezTo>
                    <a:pt x="6018" y="599"/>
                    <a:pt x="5293" y="0"/>
                    <a:pt x="4474"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9866" name="Google Shape;9866;p110"/>
            <p:cNvSpPr/>
            <p:nvPr/>
          </p:nvSpPr>
          <p:spPr>
            <a:xfrm>
              <a:off x="-25001300" y="2375075"/>
              <a:ext cx="18150" cy="17350"/>
            </a:xfrm>
            <a:custGeom>
              <a:avLst/>
              <a:gdLst/>
              <a:ahLst/>
              <a:cxnLst/>
              <a:rect l="l" t="t" r="r" b="b"/>
              <a:pathLst>
                <a:path w="726" h="694" extrusionOk="0">
                  <a:moveTo>
                    <a:pt x="347" y="0"/>
                  </a:moveTo>
                  <a:cubicBezTo>
                    <a:pt x="158" y="0"/>
                    <a:pt x="1" y="158"/>
                    <a:pt x="1" y="347"/>
                  </a:cubicBezTo>
                  <a:cubicBezTo>
                    <a:pt x="1" y="536"/>
                    <a:pt x="158" y="693"/>
                    <a:pt x="347" y="693"/>
                  </a:cubicBezTo>
                  <a:cubicBezTo>
                    <a:pt x="568" y="693"/>
                    <a:pt x="725" y="536"/>
                    <a:pt x="725" y="347"/>
                  </a:cubicBezTo>
                  <a:cubicBezTo>
                    <a:pt x="725" y="158"/>
                    <a:pt x="568" y="0"/>
                    <a:pt x="347"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9867" name="Google Shape;9867;p110"/>
            <p:cNvSpPr/>
            <p:nvPr/>
          </p:nvSpPr>
          <p:spPr>
            <a:xfrm>
              <a:off x="-25070600" y="2444375"/>
              <a:ext cx="87450" cy="86675"/>
            </a:xfrm>
            <a:custGeom>
              <a:avLst/>
              <a:gdLst/>
              <a:ahLst/>
              <a:cxnLst/>
              <a:rect l="l" t="t" r="r" b="b"/>
              <a:pathLst>
                <a:path w="3498" h="3467" extrusionOk="0">
                  <a:moveTo>
                    <a:pt x="2773" y="725"/>
                  </a:moveTo>
                  <a:lnTo>
                    <a:pt x="2773" y="2805"/>
                  </a:lnTo>
                  <a:lnTo>
                    <a:pt x="693" y="2805"/>
                  </a:lnTo>
                  <a:lnTo>
                    <a:pt x="693" y="725"/>
                  </a:lnTo>
                  <a:close/>
                  <a:moveTo>
                    <a:pt x="378" y="1"/>
                  </a:moveTo>
                  <a:cubicBezTo>
                    <a:pt x="189" y="1"/>
                    <a:pt x="0" y="158"/>
                    <a:pt x="0" y="379"/>
                  </a:cubicBezTo>
                  <a:lnTo>
                    <a:pt x="0" y="3120"/>
                  </a:lnTo>
                  <a:cubicBezTo>
                    <a:pt x="0" y="3309"/>
                    <a:pt x="189" y="3466"/>
                    <a:pt x="378" y="3466"/>
                  </a:cubicBezTo>
                  <a:lnTo>
                    <a:pt x="3119" y="3466"/>
                  </a:lnTo>
                  <a:cubicBezTo>
                    <a:pt x="3340" y="3466"/>
                    <a:pt x="3497" y="3309"/>
                    <a:pt x="3497" y="3120"/>
                  </a:cubicBezTo>
                  <a:lnTo>
                    <a:pt x="3497" y="379"/>
                  </a:lnTo>
                  <a:cubicBezTo>
                    <a:pt x="3497" y="158"/>
                    <a:pt x="3340" y="1"/>
                    <a:pt x="3119"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9868" name="Google Shape;9868;p110"/>
            <p:cNvSpPr/>
            <p:nvPr/>
          </p:nvSpPr>
          <p:spPr>
            <a:xfrm>
              <a:off x="-24966650" y="2479025"/>
              <a:ext cx="52025" cy="18150"/>
            </a:xfrm>
            <a:custGeom>
              <a:avLst/>
              <a:gdLst/>
              <a:ahLst/>
              <a:cxnLst/>
              <a:rect l="l" t="t" r="r" b="b"/>
              <a:pathLst>
                <a:path w="2081" h="726" extrusionOk="0">
                  <a:moveTo>
                    <a:pt x="347" y="1"/>
                  </a:moveTo>
                  <a:cubicBezTo>
                    <a:pt x="158" y="1"/>
                    <a:pt x="1" y="158"/>
                    <a:pt x="1" y="347"/>
                  </a:cubicBezTo>
                  <a:cubicBezTo>
                    <a:pt x="1" y="568"/>
                    <a:pt x="158" y="726"/>
                    <a:pt x="347" y="726"/>
                  </a:cubicBezTo>
                  <a:lnTo>
                    <a:pt x="1734" y="726"/>
                  </a:lnTo>
                  <a:cubicBezTo>
                    <a:pt x="1923" y="726"/>
                    <a:pt x="2080" y="568"/>
                    <a:pt x="2080" y="347"/>
                  </a:cubicBezTo>
                  <a:cubicBezTo>
                    <a:pt x="2080" y="158"/>
                    <a:pt x="1923" y="1"/>
                    <a:pt x="1734"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9869" name="Google Shape;9869;p110"/>
            <p:cNvSpPr/>
            <p:nvPr/>
          </p:nvSpPr>
          <p:spPr>
            <a:xfrm>
              <a:off x="-24966650" y="2444375"/>
              <a:ext cx="52025" cy="18150"/>
            </a:xfrm>
            <a:custGeom>
              <a:avLst/>
              <a:gdLst/>
              <a:ahLst/>
              <a:cxnLst/>
              <a:rect l="l" t="t" r="r" b="b"/>
              <a:pathLst>
                <a:path w="2081" h="726" extrusionOk="0">
                  <a:moveTo>
                    <a:pt x="347" y="1"/>
                  </a:moveTo>
                  <a:cubicBezTo>
                    <a:pt x="158" y="1"/>
                    <a:pt x="1" y="158"/>
                    <a:pt x="1" y="379"/>
                  </a:cubicBezTo>
                  <a:cubicBezTo>
                    <a:pt x="1" y="568"/>
                    <a:pt x="158" y="725"/>
                    <a:pt x="347" y="725"/>
                  </a:cubicBezTo>
                  <a:lnTo>
                    <a:pt x="1734" y="725"/>
                  </a:lnTo>
                  <a:cubicBezTo>
                    <a:pt x="1923" y="725"/>
                    <a:pt x="2080" y="568"/>
                    <a:pt x="2080" y="379"/>
                  </a:cubicBezTo>
                  <a:cubicBezTo>
                    <a:pt x="2080" y="158"/>
                    <a:pt x="1923" y="1"/>
                    <a:pt x="1734"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9870" name="Google Shape;9870;p110"/>
            <p:cNvSpPr/>
            <p:nvPr/>
          </p:nvSpPr>
          <p:spPr>
            <a:xfrm>
              <a:off x="-24966650" y="2513700"/>
              <a:ext cx="52025" cy="17350"/>
            </a:xfrm>
            <a:custGeom>
              <a:avLst/>
              <a:gdLst/>
              <a:ahLst/>
              <a:cxnLst/>
              <a:rect l="l" t="t" r="r" b="b"/>
              <a:pathLst>
                <a:path w="2081" h="694" extrusionOk="0">
                  <a:moveTo>
                    <a:pt x="347" y="0"/>
                  </a:moveTo>
                  <a:cubicBezTo>
                    <a:pt x="158" y="0"/>
                    <a:pt x="1" y="158"/>
                    <a:pt x="1" y="347"/>
                  </a:cubicBezTo>
                  <a:cubicBezTo>
                    <a:pt x="1" y="536"/>
                    <a:pt x="158" y="693"/>
                    <a:pt x="347" y="693"/>
                  </a:cubicBezTo>
                  <a:lnTo>
                    <a:pt x="1734" y="693"/>
                  </a:lnTo>
                  <a:cubicBezTo>
                    <a:pt x="1923" y="693"/>
                    <a:pt x="2080" y="536"/>
                    <a:pt x="2080" y="347"/>
                  </a:cubicBezTo>
                  <a:cubicBezTo>
                    <a:pt x="2080" y="158"/>
                    <a:pt x="1923" y="0"/>
                    <a:pt x="1734"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9871" name="Google Shape;9871;p110"/>
            <p:cNvSpPr/>
            <p:nvPr/>
          </p:nvSpPr>
          <p:spPr>
            <a:xfrm>
              <a:off x="-25071400" y="2549125"/>
              <a:ext cx="156775" cy="17350"/>
            </a:xfrm>
            <a:custGeom>
              <a:avLst/>
              <a:gdLst/>
              <a:ahLst/>
              <a:cxnLst/>
              <a:rect l="l" t="t" r="r" b="b"/>
              <a:pathLst>
                <a:path w="6271" h="694" extrusionOk="0">
                  <a:moveTo>
                    <a:pt x="379" y="1"/>
                  </a:moveTo>
                  <a:cubicBezTo>
                    <a:pt x="158" y="1"/>
                    <a:pt x="1" y="158"/>
                    <a:pt x="1" y="347"/>
                  </a:cubicBezTo>
                  <a:cubicBezTo>
                    <a:pt x="1" y="536"/>
                    <a:pt x="158" y="694"/>
                    <a:pt x="379" y="694"/>
                  </a:cubicBezTo>
                  <a:lnTo>
                    <a:pt x="5924" y="694"/>
                  </a:lnTo>
                  <a:cubicBezTo>
                    <a:pt x="6113" y="694"/>
                    <a:pt x="6270" y="536"/>
                    <a:pt x="6270" y="347"/>
                  </a:cubicBezTo>
                  <a:cubicBezTo>
                    <a:pt x="6270" y="158"/>
                    <a:pt x="6113" y="1"/>
                    <a:pt x="5924"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9872" name="Google Shape;9872;p110"/>
            <p:cNvSpPr/>
            <p:nvPr/>
          </p:nvSpPr>
          <p:spPr>
            <a:xfrm>
              <a:off x="-25071400" y="2583800"/>
              <a:ext cx="156775" cy="17350"/>
            </a:xfrm>
            <a:custGeom>
              <a:avLst/>
              <a:gdLst/>
              <a:ahLst/>
              <a:cxnLst/>
              <a:rect l="l" t="t" r="r" b="b"/>
              <a:pathLst>
                <a:path w="6271" h="694" extrusionOk="0">
                  <a:moveTo>
                    <a:pt x="379" y="0"/>
                  </a:moveTo>
                  <a:cubicBezTo>
                    <a:pt x="158" y="0"/>
                    <a:pt x="1" y="158"/>
                    <a:pt x="1" y="347"/>
                  </a:cubicBezTo>
                  <a:cubicBezTo>
                    <a:pt x="1" y="536"/>
                    <a:pt x="158" y="693"/>
                    <a:pt x="379" y="693"/>
                  </a:cubicBezTo>
                  <a:lnTo>
                    <a:pt x="5924" y="693"/>
                  </a:lnTo>
                  <a:cubicBezTo>
                    <a:pt x="6113" y="693"/>
                    <a:pt x="6270" y="536"/>
                    <a:pt x="6270" y="347"/>
                  </a:cubicBezTo>
                  <a:cubicBezTo>
                    <a:pt x="6270" y="158"/>
                    <a:pt x="6113" y="0"/>
                    <a:pt x="5924"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9873" name="Google Shape;9873;p110"/>
            <p:cNvSpPr/>
            <p:nvPr/>
          </p:nvSpPr>
          <p:spPr>
            <a:xfrm>
              <a:off x="-24862675" y="2375850"/>
              <a:ext cx="53575" cy="260725"/>
            </a:xfrm>
            <a:custGeom>
              <a:avLst/>
              <a:gdLst/>
              <a:ahLst/>
              <a:cxnLst/>
              <a:rect l="l" t="t" r="r" b="b"/>
              <a:pathLst>
                <a:path w="2143" h="10429" extrusionOk="0">
                  <a:moveTo>
                    <a:pt x="1103" y="1103"/>
                  </a:moveTo>
                  <a:lnTo>
                    <a:pt x="1481" y="1797"/>
                  </a:lnTo>
                  <a:lnTo>
                    <a:pt x="1481" y="7625"/>
                  </a:lnTo>
                  <a:lnTo>
                    <a:pt x="757" y="7625"/>
                  </a:lnTo>
                  <a:lnTo>
                    <a:pt x="757" y="1797"/>
                  </a:lnTo>
                  <a:lnTo>
                    <a:pt x="1103" y="1103"/>
                  </a:lnTo>
                  <a:close/>
                  <a:moveTo>
                    <a:pt x="1481" y="8255"/>
                  </a:moveTo>
                  <a:lnTo>
                    <a:pt x="1481" y="9358"/>
                  </a:lnTo>
                  <a:cubicBezTo>
                    <a:pt x="1450" y="9578"/>
                    <a:pt x="1324" y="9736"/>
                    <a:pt x="1103" y="9736"/>
                  </a:cubicBezTo>
                  <a:cubicBezTo>
                    <a:pt x="914" y="9736"/>
                    <a:pt x="757" y="9578"/>
                    <a:pt x="757" y="9358"/>
                  </a:cubicBezTo>
                  <a:lnTo>
                    <a:pt x="757" y="8255"/>
                  </a:lnTo>
                  <a:close/>
                  <a:moveTo>
                    <a:pt x="1072" y="1"/>
                  </a:moveTo>
                  <a:cubicBezTo>
                    <a:pt x="946" y="1"/>
                    <a:pt x="820" y="64"/>
                    <a:pt x="757" y="190"/>
                  </a:cubicBezTo>
                  <a:lnTo>
                    <a:pt x="32" y="1576"/>
                  </a:lnTo>
                  <a:cubicBezTo>
                    <a:pt x="0" y="1608"/>
                    <a:pt x="0" y="1702"/>
                    <a:pt x="0" y="1734"/>
                  </a:cubicBezTo>
                  <a:lnTo>
                    <a:pt x="0" y="9421"/>
                  </a:lnTo>
                  <a:cubicBezTo>
                    <a:pt x="0" y="9988"/>
                    <a:pt x="473" y="10429"/>
                    <a:pt x="1040" y="10429"/>
                  </a:cubicBezTo>
                  <a:cubicBezTo>
                    <a:pt x="1607" y="10429"/>
                    <a:pt x="2048" y="9956"/>
                    <a:pt x="2048" y="9421"/>
                  </a:cubicBezTo>
                  <a:lnTo>
                    <a:pt x="2048" y="1734"/>
                  </a:lnTo>
                  <a:cubicBezTo>
                    <a:pt x="2143" y="1639"/>
                    <a:pt x="2143" y="1608"/>
                    <a:pt x="2111" y="1576"/>
                  </a:cubicBezTo>
                  <a:lnTo>
                    <a:pt x="1387" y="190"/>
                  </a:lnTo>
                  <a:cubicBezTo>
                    <a:pt x="1355" y="64"/>
                    <a:pt x="1198" y="1"/>
                    <a:pt x="1072"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sp>
        <p:nvSpPr>
          <p:cNvPr id="9874" name="Google Shape;9874;p110"/>
          <p:cNvSpPr/>
          <p:nvPr/>
        </p:nvSpPr>
        <p:spPr>
          <a:xfrm>
            <a:off x="7075748" y="5100163"/>
            <a:ext cx="475928" cy="351616"/>
          </a:xfrm>
          <a:custGeom>
            <a:avLst/>
            <a:gdLst/>
            <a:ahLst/>
            <a:cxnLst/>
            <a:rect l="l" t="t" r="r" b="b"/>
            <a:pathLst>
              <a:path w="11941" h="8822" extrusionOk="0">
                <a:moveTo>
                  <a:pt x="7184" y="1229"/>
                </a:moveTo>
                <a:lnTo>
                  <a:pt x="7184" y="1922"/>
                </a:lnTo>
                <a:lnTo>
                  <a:pt x="6459" y="1922"/>
                </a:lnTo>
                <a:lnTo>
                  <a:pt x="6459" y="1229"/>
                </a:lnTo>
                <a:close/>
                <a:moveTo>
                  <a:pt x="5797" y="1261"/>
                </a:moveTo>
                <a:lnTo>
                  <a:pt x="5797" y="1954"/>
                </a:lnTo>
                <a:lnTo>
                  <a:pt x="5073" y="1954"/>
                </a:lnTo>
                <a:lnTo>
                  <a:pt x="5073" y="1607"/>
                </a:lnTo>
                <a:cubicBezTo>
                  <a:pt x="5073" y="1418"/>
                  <a:pt x="5230" y="1261"/>
                  <a:pt x="5419" y="1261"/>
                </a:cubicBezTo>
                <a:close/>
                <a:moveTo>
                  <a:pt x="8192" y="1261"/>
                </a:moveTo>
                <a:cubicBezTo>
                  <a:pt x="8381" y="1261"/>
                  <a:pt x="8538" y="1418"/>
                  <a:pt x="8538" y="1607"/>
                </a:cubicBezTo>
                <a:lnTo>
                  <a:pt x="8538" y="1954"/>
                </a:lnTo>
                <a:lnTo>
                  <a:pt x="7845" y="1954"/>
                </a:lnTo>
                <a:lnTo>
                  <a:pt x="7845" y="1261"/>
                </a:lnTo>
                <a:close/>
                <a:moveTo>
                  <a:pt x="1450" y="694"/>
                </a:moveTo>
                <a:cubicBezTo>
                  <a:pt x="1607" y="694"/>
                  <a:pt x="1796" y="788"/>
                  <a:pt x="1922" y="914"/>
                </a:cubicBezTo>
                <a:lnTo>
                  <a:pt x="3182" y="2174"/>
                </a:lnTo>
                <a:cubicBezTo>
                  <a:pt x="3497" y="2489"/>
                  <a:pt x="3938" y="2679"/>
                  <a:pt x="4411" y="2679"/>
                </a:cubicBezTo>
                <a:lnTo>
                  <a:pt x="10523" y="2679"/>
                </a:lnTo>
                <a:cubicBezTo>
                  <a:pt x="10901" y="2679"/>
                  <a:pt x="11216" y="2994"/>
                  <a:pt x="11216" y="3372"/>
                </a:cubicBezTo>
                <a:cubicBezTo>
                  <a:pt x="11216" y="3781"/>
                  <a:pt x="10901" y="4096"/>
                  <a:pt x="10523" y="4096"/>
                </a:cubicBezTo>
                <a:lnTo>
                  <a:pt x="3812" y="4096"/>
                </a:lnTo>
                <a:cubicBezTo>
                  <a:pt x="3340" y="4096"/>
                  <a:pt x="2899" y="3907"/>
                  <a:pt x="2584" y="3592"/>
                </a:cubicBezTo>
                <a:lnTo>
                  <a:pt x="977" y="1891"/>
                </a:lnTo>
                <a:cubicBezTo>
                  <a:pt x="693" y="1607"/>
                  <a:pt x="693" y="1166"/>
                  <a:pt x="977" y="914"/>
                </a:cubicBezTo>
                <a:cubicBezTo>
                  <a:pt x="1103" y="788"/>
                  <a:pt x="1292" y="694"/>
                  <a:pt x="1450" y="694"/>
                </a:cubicBezTo>
                <a:close/>
                <a:moveTo>
                  <a:pt x="8255" y="4726"/>
                </a:moveTo>
                <a:lnTo>
                  <a:pt x="6805" y="5545"/>
                </a:lnTo>
                <a:lnTo>
                  <a:pt x="5356" y="4726"/>
                </a:lnTo>
                <a:close/>
                <a:moveTo>
                  <a:pt x="6805" y="6333"/>
                </a:moveTo>
                <a:lnTo>
                  <a:pt x="8822" y="7467"/>
                </a:lnTo>
                <a:lnTo>
                  <a:pt x="4821" y="7467"/>
                </a:lnTo>
                <a:lnTo>
                  <a:pt x="6805" y="6333"/>
                </a:lnTo>
                <a:close/>
                <a:moveTo>
                  <a:pt x="3340" y="7467"/>
                </a:moveTo>
                <a:cubicBezTo>
                  <a:pt x="3529" y="7467"/>
                  <a:pt x="3686" y="7625"/>
                  <a:pt x="3686" y="7845"/>
                </a:cubicBezTo>
                <a:cubicBezTo>
                  <a:pt x="3686" y="8034"/>
                  <a:pt x="3529" y="8192"/>
                  <a:pt x="3340" y="8192"/>
                </a:cubicBezTo>
                <a:cubicBezTo>
                  <a:pt x="3151" y="8192"/>
                  <a:pt x="2993" y="8034"/>
                  <a:pt x="2993" y="7845"/>
                </a:cubicBezTo>
                <a:cubicBezTo>
                  <a:pt x="2993" y="7625"/>
                  <a:pt x="3151" y="7467"/>
                  <a:pt x="3340" y="7467"/>
                </a:cubicBezTo>
                <a:close/>
                <a:moveTo>
                  <a:pt x="10271" y="7467"/>
                </a:moveTo>
                <a:cubicBezTo>
                  <a:pt x="10460" y="7467"/>
                  <a:pt x="10618" y="7625"/>
                  <a:pt x="10618" y="7845"/>
                </a:cubicBezTo>
                <a:cubicBezTo>
                  <a:pt x="10618" y="8034"/>
                  <a:pt x="10460" y="8192"/>
                  <a:pt x="10271" y="8192"/>
                </a:cubicBezTo>
                <a:cubicBezTo>
                  <a:pt x="10082" y="8192"/>
                  <a:pt x="9924" y="8034"/>
                  <a:pt x="9924" y="7845"/>
                </a:cubicBezTo>
                <a:cubicBezTo>
                  <a:pt x="9924" y="7625"/>
                  <a:pt x="10082" y="7467"/>
                  <a:pt x="10271" y="7467"/>
                </a:cubicBezTo>
                <a:close/>
                <a:moveTo>
                  <a:pt x="1544" y="1"/>
                </a:moveTo>
                <a:cubicBezTo>
                  <a:pt x="1166" y="1"/>
                  <a:pt x="820" y="158"/>
                  <a:pt x="536" y="379"/>
                </a:cubicBezTo>
                <a:cubicBezTo>
                  <a:pt x="0" y="946"/>
                  <a:pt x="0" y="1796"/>
                  <a:pt x="536" y="2363"/>
                </a:cubicBezTo>
                <a:lnTo>
                  <a:pt x="2206" y="4002"/>
                </a:lnTo>
                <a:cubicBezTo>
                  <a:pt x="2678" y="4474"/>
                  <a:pt x="3277" y="4726"/>
                  <a:pt x="3938" y="4726"/>
                </a:cubicBezTo>
                <a:lnTo>
                  <a:pt x="4002" y="4726"/>
                </a:lnTo>
                <a:lnTo>
                  <a:pt x="6175" y="5955"/>
                </a:lnTo>
                <a:lnTo>
                  <a:pt x="4128" y="7089"/>
                </a:lnTo>
                <a:cubicBezTo>
                  <a:pt x="3938" y="6900"/>
                  <a:pt x="3686" y="6774"/>
                  <a:pt x="3371" y="6774"/>
                </a:cubicBezTo>
                <a:cubicBezTo>
                  <a:pt x="2804" y="6774"/>
                  <a:pt x="2363" y="7247"/>
                  <a:pt x="2363" y="7782"/>
                </a:cubicBezTo>
                <a:cubicBezTo>
                  <a:pt x="2363" y="8381"/>
                  <a:pt x="2836" y="8822"/>
                  <a:pt x="3371" y="8822"/>
                </a:cubicBezTo>
                <a:cubicBezTo>
                  <a:pt x="3812" y="8822"/>
                  <a:pt x="4222" y="8538"/>
                  <a:pt x="4380" y="8097"/>
                </a:cubicBezTo>
                <a:lnTo>
                  <a:pt x="9326" y="8097"/>
                </a:lnTo>
                <a:cubicBezTo>
                  <a:pt x="9483" y="8507"/>
                  <a:pt x="9830" y="8822"/>
                  <a:pt x="10302" y="8822"/>
                </a:cubicBezTo>
                <a:cubicBezTo>
                  <a:pt x="10901" y="8822"/>
                  <a:pt x="11342" y="8349"/>
                  <a:pt x="11342" y="7782"/>
                </a:cubicBezTo>
                <a:cubicBezTo>
                  <a:pt x="11342" y="7184"/>
                  <a:pt x="10870" y="6774"/>
                  <a:pt x="10302" y="6774"/>
                </a:cubicBezTo>
                <a:cubicBezTo>
                  <a:pt x="10050" y="6774"/>
                  <a:pt x="9767" y="6900"/>
                  <a:pt x="9578" y="7089"/>
                </a:cubicBezTo>
                <a:lnTo>
                  <a:pt x="7530" y="5955"/>
                </a:lnTo>
                <a:lnTo>
                  <a:pt x="9672" y="4726"/>
                </a:lnTo>
                <a:lnTo>
                  <a:pt x="10555" y="4726"/>
                </a:lnTo>
                <a:cubicBezTo>
                  <a:pt x="11311" y="4726"/>
                  <a:pt x="11941" y="4096"/>
                  <a:pt x="11941" y="3340"/>
                </a:cubicBezTo>
                <a:cubicBezTo>
                  <a:pt x="11941" y="2584"/>
                  <a:pt x="11311" y="1954"/>
                  <a:pt x="10555" y="1954"/>
                </a:cubicBezTo>
                <a:lnTo>
                  <a:pt x="9263" y="1954"/>
                </a:lnTo>
                <a:lnTo>
                  <a:pt x="9263" y="1607"/>
                </a:lnTo>
                <a:cubicBezTo>
                  <a:pt x="9263" y="1009"/>
                  <a:pt x="8790" y="599"/>
                  <a:pt x="8223" y="599"/>
                </a:cubicBezTo>
                <a:lnTo>
                  <a:pt x="5482" y="599"/>
                </a:lnTo>
                <a:cubicBezTo>
                  <a:pt x="4884" y="599"/>
                  <a:pt x="4443" y="1072"/>
                  <a:pt x="4443" y="1607"/>
                </a:cubicBezTo>
                <a:lnTo>
                  <a:pt x="4443" y="1954"/>
                </a:lnTo>
                <a:cubicBezTo>
                  <a:pt x="4222" y="1954"/>
                  <a:pt x="3970" y="1859"/>
                  <a:pt x="3781" y="1639"/>
                </a:cubicBezTo>
                <a:lnTo>
                  <a:pt x="2521" y="379"/>
                </a:lnTo>
                <a:cubicBezTo>
                  <a:pt x="2237" y="127"/>
                  <a:pt x="1891" y="1"/>
                  <a:pt x="1544"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nvGrpSpPr>
          <p:cNvPr id="9875" name="Google Shape;9875;p110"/>
          <p:cNvGrpSpPr/>
          <p:nvPr/>
        </p:nvGrpSpPr>
        <p:grpSpPr>
          <a:xfrm>
            <a:off x="10064125" y="3855204"/>
            <a:ext cx="473417" cy="472181"/>
            <a:chOff x="-23229925" y="1970225"/>
            <a:chExt cx="296950" cy="296175"/>
          </a:xfrm>
        </p:grpSpPr>
        <p:sp>
          <p:nvSpPr>
            <p:cNvPr id="9876" name="Google Shape;9876;p110"/>
            <p:cNvSpPr/>
            <p:nvPr/>
          </p:nvSpPr>
          <p:spPr>
            <a:xfrm>
              <a:off x="-23229925" y="1970225"/>
              <a:ext cx="296950" cy="296175"/>
            </a:xfrm>
            <a:custGeom>
              <a:avLst/>
              <a:gdLst/>
              <a:ahLst/>
              <a:cxnLst/>
              <a:rect l="l" t="t" r="r" b="b"/>
              <a:pathLst>
                <a:path w="11878" h="11847" extrusionOk="0">
                  <a:moveTo>
                    <a:pt x="10145" y="694"/>
                  </a:moveTo>
                  <a:cubicBezTo>
                    <a:pt x="10743" y="694"/>
                    <a:pt x="11184" y="1167"/>
                    <a:pt x="11184" y="1734"/>
                  </a:cubicBezTo>
                  <a:lnTo>
                    <a:pt x="11184" y="10114"/>
                  </a:lnTo>
                  <a:cubicBezTo>
                    <a:pt x="11184" y="10712"/>
                    <a:pt x="10712" y="11122"/>
                    <a:pt x="10145" y="11122"/>
                  </a:cubicBezTo>
                  <a:lnTo>
                    <a:pt x="1764" y="11122"/>
                  </a:lnTo>
                  <a:cubicBezTo>
                    <a:pt x="1166" y="11122"/>
                    <a:pt x="725" y="10681"/>
                    <a:pt x="725" y="10114"/>
                  </a:cubicBezTo>
                  <a:lnTo>
                    <a:pt x="725" y="1734"/>
                  </a:lnTo>
                  <a:cubicBezTo>
                    <a:pt x="725" y="1135"/>
                    <a:pt x="1197" y="694"/>
                    <a:pt x="1764" y="694"/>
                  </a:cubicBezTo>
                  <a:close/>
                  <a:moveTo>
                    <a:pt x="1733" y="1"/>
                  </a:moveTo>
                  <a:cubicBezTo>
                    <a:pt x="788" y="1"/>
                    <a:pt x="0" y="788"/>
                    <a:pt x="0" y="1734"/>
                  </a:cubicBezTo>
                  <a:lnTo>
                    <a:pt x="0" y="10114"/>
                  </a:lnTo>
                  <a:cubicBezTo>
                    <a:pt x="0" y="11059"/>
                    <a:pt x="788" y="11847"/>
                    <a:pt x="1733" y="11847"/>
                  </a:cubicBezTo>
                  <a:lnTo>
                    <a:pt x="10113" y="11847"/>
                  </a:lnTo>
                  <a:cubicBezTo>
                    <a:pt x="11058" y="11847"/>
                    <a:pt x="11846" y="11059"/>
                    <a:pt x="11846" y="10114"/>
                  </a:cubicBezTo>
                  <a:lnTo>
                    <a:pt x="11846" y="1734"/>
                  </a:lnTo>
                  <a:cubicBezTo>
                    <a:pt x="11878" y="788"/>
                    <a:pt x="11090" y="1"/>
                    <a:pt x="10113"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9877" name="Google Shape;9877;p110"/>
            <p:cNvSpPr/>
            <p:nvPr/>
          </p:nvSpPr>
          <p:spPr>
            <a:xfrm>
              <a:off x="-23196075" y="2005675"/>
              <a:ext cx="227650" cy="192200"/>
            </a:xfrm>
            <a:custGeom>
              <a:avLst/>
              <a:gdLst/>
              <a:ahLst/>
              <a:cxnLst/>
              <a:rect l="l" t="t" r="r" b="b"/>
              <a:pathLst>
                <a:path w="9106" h="7688" extrusionOk="0">
                  <a:moveTo>
                    <a:pt x="8444" y="662"/>
                  </a:moveTo>
                  <a:lnTo>
                    <a:pt x="8444" y="3435"/>
                  </a:lnTo>
                  <a:lnTo>
                    <a:pt x="6144" y="3435"/>
                  </a:lnTo>
                  <a:cubicBezTo>
                    <a:pt x="5987" y="3435"/>
                    <a:pt x="5892" y="3498"/>
                    <a:pt x="5829" y="3624"/>
                  </a:cubicBezTo>
                  <a:lnTo>
                    <a:pt x="5357" y="4852"/>
                  </a:lnTo>
                  <a:lnTo>
                    <a:pt x="4317" y="1576"/>
                  </a:lnTo>
                  <a:cubicBezTo>
                    <a:pt x="4254" y="1450"/>
                    <a:pt x="4160" y="1324"/>
                    <a:pt x="4002" y="1324"/>
                  </a:cubicBezTo>
                  <a:cubicBezTo>
                    <a:pt x="3845" y="1324"/>
                    <a:pt x="3718" y="1418"/>
                    <a:pt x="3624" y="1544"/>
                  </a:cubicBezTo>
                  <a:lnTo>
                    <a:pt x="2805" y="3435"/>
                  </a:lnTo>
                  <a:lnTo>
                    <a:pt x="757" y="3435"/>
                  </a:lnTo>
                  <a:lnTo>
                    <a:pt x="757" y="662"/>
                  </a:lnTo>
                  <a:close/>
                  <a:moveTo>
                    <a:pt x="3876" y="2678"/>
                  </a:moveTo>
                  <a:lnTo>
                    <a:pt x="4947" y="5986"/>
                  </a:lnTo>
                  <a:cubicBezTo>
                    <a:pt x="4979" y="6144"/>
                    <a:pt x="5105" y="6207"/>
                    <a:pt x="5262" y="6207"/>
                  </a:cubicBezTo>
                  <a:cubicBezTo>
                    <a:pt x="5420" y="6207"/>
                    <a:pt x="5514" y="6144"/>
                    <a:pt x="5577" y="6018"/>
                  </a:cubicBezTo>
                  <a:lnTo>
                    <a:pt x="6333" y="4159"/>
                  </a:lnTo>
                  <a:lnTo>
                    <a:pt x="8413" y="4159"/>
                  </a:lnTo>
                  <a:lnTo>
                    <a:pt x="8413" y="6995"/>
                  </a:lnTo>
                  <a:lnTo>
                    <a:pt x="757" y="6995"/>
                  </a:lnTo>
                  <a:lnTo>
                    <a:pt x="757" y="6963"/>
                  </a:lnTo>
                  <a:lnTo>
                    <a:pt x="757" y="4128"/>
                  </a:lnTo>
                  <a:lnTo>
                    <a:pt x="2994" y="4128"/>
                  </a:lnTo>
                  <a:cubicBezTo>
                    <a:pt x="3120" y="4128"/>
                    <a:pt x="3277" y="4065"/>
                    <a:pt x="3309" y="3939"/>
                  </a:cubicBezTo>
                  <a:lnTo>
                    <a:pt x="3876" y="2678"/>
                  </a:lnTo>
                  <a:close/>
                  <a:moveTo>
                    <a:pt x="379" y="1"/>
                  </a:moveTo>
                  <a:cubicBezTo>
                    <a:pt x="158" y="1"/>
                    <a:pt x="1" y="158"/>
                    <a:pt x="1" y="347"/>
                  </a:cubicBezTo>
                  <a:lnTo>
                    <a:pt x="1" y="7310"/>
                  </a:lnTo>
                  <a:cubicBezTo>
                    <a:pt x="1" y="7530"/>
                    <a:pt x="158" y="7688"/>
                    <a:pt x="379" y="7688"/>
                  </a:cubicBezTo>
                  <a:lnTo>
                    <a:pt x="8759" y="7688"/>
                  </a:lnTo>
                  <a:cubicBezTo>
                    <a:pt x="8948" y="7688"/>
                    <a:pt x="9106" y="7530"/>
                    <a:pt x="9106" y="7310"/>
                  </a:cubicBezTo>
                  <a:lnTo>
                    <a:pt x="9106" y="347"/>
                  </a:lnTo>
                  <a:cubicBezTo>
                    <a:pt x="9106" y="158"/>
                    <a:pt x="8948" y="1"/>
                    <a:pt x="8759"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9878" name="Google Shape;9878;p110"/>
            <p:cNvSpPr/>
            <p:nvPr/>
          </p:nvSpPr>
          <p:spPr>
            <a:xfrm>
              <a:off x="-23142500" y="2214400"/>
              <a:ext cx="17350" cy="17350"/>
            </a:xfrm>
            <a:custGeom>
              <a:avLst/>
              <a:gdLst/>
              <a:ahLst/>
              <a:cxnLst/>
              <a:rect l="l" t="t" r="r" b="b"/>
              <a:pathLst>
                <a:path w="694" h="694" extrusionOk="0">
                  <a:moveTo>
                    <a:pt x="347" y="0"/>
                  </a:moveTo>
                  <a:cubicBezTo>
                    <a:pt x="158" y="0"/>
                    <a:pt x="0" y="158"/>
                    <a:pt x="0" y="347"/>
                  </a:cubicBezTo>
                  <a:cubicBezTo>
                    <a:pt x="0" y="536"/>
                    <a:pt x="158" y="693"/>
                    <a:pt x="347" y="693"/>
                  </a:cubicBezTo>
                  <a:cubicBezTo>
                    <a:pt x="536" y="693"/>
                    <a:pt x="693" y="536"/>
                    <a:pt x="693" y="347"/>
                  </a:cubicBezTo>
                  <a:cubicBezTo>
                    <a:pt x="693" y="158"/>
                    <a:pt x="536" y="0"/>
                    <a:pt x="347"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9879" name="Google Shape;9879;p110"/>
            <p:cNvSpPr/>
            <p:nvPr/>
          </p:nvSpPr>
          <p:spPr>
            <a:xfrm>
              <a:off x="-23177150" y="2214400"/>
              <a:ext cx="18125" cy="17350"/>
            </a:xfrm>
            <a:custGeom>
              <a:avLst/>
              <a:gdLst/>
              <a:ahLst/>
              <a:cxnLst/>
              <a:rect l="l" t="t" r="r" b="b"/>
              <a:pathLst>
                <a:path w="725" h="694" extrusionOk="0">
                  <a:moveTo>
                    <a:pt x="347" y="0"/>
                  </a:moveTo>
                  <a:cubicBezTo>
                    <a:pt x="158" y="0"/>
                    <a:pt x="0" y="158"/>
                    <a:pt x="0" y="347"/>
                  </a:cubicBezTo>
                  <a:cubicBezTo>
                    <a:pt x="0" y="536"/>
                    <a:pt x="158" y="693"/>
                    <a:pt x="347" y="693"/>
                  </a:cubicBezTo>
                  <a:cubicBezTo>
                    <a:pt x="567" y="693"/>
                    <a:pt x="725" y="536"/>
                    <a:pt x="725" y="347"/>
                  </a:cubicBezTo>
                  <a:cubicBezTo>
                    <a:pt x="662" y="158"/>
                    <a:pt x="504" y="0"/>
                    <a:pt x="347"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9880" name="Google Shape;9880;p110"/>
          <p:cNvGrpSpPr/>
          <p:nvPr/>
        </p:nvGrpSpPr>
        <p:grpSpPr>
          <a:xfrm>
            <a:off x="10120621" y="4451022"/>
            <a:ext cx="360424" cy="473417"/>
            <a:chOff x="-23177950" y="2340425"/>
            <a:chExt cx="226075" cy="296950"/>
          </a:xfrm>
        </p:grpSpPr>
        <p:sp>
          <p:nvSpPr>
            <p:cNvPr id="9881" name="Google Shape;9881;p110"/>
            <p:cNvSpPr/>
            <p:nvPr/>
          </p:nvSpPr>
          <p:spPr>
            <a:xfrm>
              <a:off x="-23177950" y="2340425"/>
              <a:ext cx="226075" cy="296950"/>
            </a:xfrm>
            <a:custGeom>
              <a:avLst/>
              <a:gdLst/>
              <a:ahLst/>
              <a:cxnLst/>
              <a:rect l="l" t="t" r="r" b="b"/>
              <a:pathLst>
                <a:path w="9043" h="11878" extrusionOk="0">
                  <a:moveTo>
                    <a:pt x="1418" y="693"/>
                  </a:moveTo>
                  <a:lnTo>
                    <a:pt x="1418" y="1449"/>
                  </a:lnTo>
                  <a:cubicBezTo>
                    <a:pt x="1418" y="2048"/>
                    <a:pt x="1891" y="2457"/>
                    <a:pt x="2426" y="2457"/>
                  </a:cubicBezTo>
                  <a:lnTo>
                    <a:pt x="2804" y="2457"/>
                  </a:lnTo>
                  <a:cubicBezTo>
                    <a:pt x="2899" y="2457"/>
                    <a:pt x="2993" y="2426"/>
                    <a:pt x="3057" y="2300"/>
                  </a:cubicBezTo>
                  <a:cubicBezTo>
                    <a:pt x="3340" y="1953"/>
                    <a:pt x="3750" y="1764"/>
                    <a:pt x="4159" y="1764"/>
                  </a:cubicBezTo>
                  <a:cubicBezTo>
                    <a:pt x="6459" y="1764"/>
                    <a:pt x="8349" y="3623"/>
                    <a:pt x="8349" y="5923"/>
                  </a:cubicBezTo>
                  <a:cubicBezTo>
                    <a:pt x="8349" y="8254"/>
                    <a:pt x="6491" y="10113"/>
                    <a:pt x="4159" y="10113"/>
                  </a:cubicBezTo>
                  <a:cubicBezTo>
                    <a:pt x="3750" y="10113"/>
                    <a:pt x="3340" y="9924"/>
                    <a:pt x="3057" y="9578"/>
                  </a:cubicBezTo>
                  <a:cubicBezTo>
                    <a:pt x="2993" y="9483"/>
                    <a:pt x="2899" y="9389"/>
                    <a:pt x="2804" y="9389"/>
                  </a:cubicBezTo>
                  <a:lnTo>
                    <a:pt x="2426" y="9389"/>
                  </a:lnTo>
                  <a:cubicBezTo>
                    <a:pt x="1859" y="9389"/>
                    <a:pt x="1418" y="9861"/>
                    <a:pt x="1418" y="10428"/>
                  </a:cubicBezTo>
                  <a:lnTo>
                    <a:pt x="1418" y="11153"/>
                  </a:lnTo>
                  <a:lnTo>
                    <a:pt x="694" y="11153"/>
                  </a:lnTo>
                  <a:lnTo>
                    <a:pt x="694" y="10428"/>
                  </a:lnTo>
                  <a:cubicBezTo>
                    <a:pt x="694" y="9483"/>
                    <a:pt x="1481" y="8695"/>
                    <a:pt x="2426" y="8695"/>
                  </a:cubicBezTo>
                  <a:lnTo>
                    <a:pt x="2489" y="8695"/>
                  </a:lnTo>
                  <a:cubicBezTo>
                    <a:pt x="2647" y="8695"/>
                    <a:pt x="2804" y="8569"/>
                    <a:pt x="2836" y="8412"/>
                  </a:cubicBezTo>
                  <a:cubicBezTo>
                    <a:pt x="2962" y="7782"/>
                    <a:pt x="3529" y="7309"/>
                    <a:pt x="4222" y="7309"/>
                  </a:cubicBezTo>
                  <a:cubicBezTo>
                    <a:pt x="4947" y="7309"/>
                    <a:pt x="5577" y="6679"/>
                    <a:pt x="5577" y="5923"/>
                  </a:cubicBezTo>
                  <a:cubicBezTo>
                    <a:pt x="5577" y="5198"/>
                    <a:pt x="4947" y="4568"/>
                    <a:pt x="4222" y="4568"/>
                  </a:cubicBezTo>
                  <a:cubicBezTo>
                    <a:pt x="3529" y="4568"/>
                    <a:pt x="2993" y="4096"/>
                    <a:pt x="2836" y="3466"/>
                  </a:cubicBezTo>
                  <a:cubicBezTo>
                    <a:pt x="2804" y="3308"/>
                    <a:pt x="2678" y="3182"/>
                    <a:pt x="2489" y="3182"/>
                  </a:cubicBezTo>
                  <a:lnTo>
                    <a:pt x="2426" y="3182"/>
                  </a:lnTo>
                  <a:cubicBezTo>
                    <a:pt x="1481" y="3182"/>
                    <a:pt x="694" y="2394"/>
                    <a:pt x="694" y="1449"/>
                  </a:cubicBezTo>
                  <a:lnTo>
                    <a:pt x="694" y="693"/>
                  </a:lnTo>
                  <a:close/>
                  <a:moveTo>
                    <a:pt x="347" y="0"/>
                  </a:moveTo>
                  <a:cubicBezTo>
                    <a:pt x="158" y="0"/>
                    <a:pt x="1" y="158"/>
                    <a:pt x="1" y="347"/>
                  </a:cubicBezTo>
                  <a:lnTo>
                    <a:pt x="1" y="1449"/>
                  </a:lnTo>
                  <a:cubicBezTo>
                    <a:pt x="1" y="2710"/>
                    <a:pt x="977" y="3749"/>
                    <a:pt x="2206" y="3844"/>
                  </a:cubicBezTo>
                  <a:cubicBezTo>
                    <a:pt x="2489" y="4694"/>
                    <a:pt x="3277" y="5261"/>
                    <a:pt x="4159" y="5261"/>
                  </a:cubicBezTo>
                  <a:cubicBezTo>
                    <a:pt x="4569" y="5261"/>
                    <a:pt x="4884" y="5576"/>
                    <a:pt x="4884" y="5986"/>
                  </a:cubicBezTo>
                  <a:cubicBezTo>
                    <a:pt x="4884" y="6364"/>
                    <a:pt x="4569" y="6679"/>
                    <a:pt x="4159" y="6679"/>
                  </a:cubicBezTo>
                  <a:cubicBezTo>
                    <a:pt x="3277" y="6679"/>
                    <a:pt x="2489" y="7278"/>
                    <a:pt x="2206" y="8097"/>
                  </a:cubicBezTo>
                  <a:cubicBezTo>
                    <a:pt x="977" y="8223"/>
                    <a:pt x="1" y="9263"/>
                    <a:pt x="1" y="10523"/>
                  </a:cubicBezTo>
                  <a:lnTo>
                    <a:pt x="1" y="11531"/>
                  </a:lnTo>
                  <a:cubicBezTo>
                    <a:pt x="1" y="11720"/>
                    <a:pt x="158" y="11877"/>
                    <a:pt x="347" y="11877"/>
                  </a:cubicBezTo>
                  <a:lnTo>
                    <a:pt x="1733" y="11877"/>
                  </a:lnTo>
                  <a:cubicBezTo>
                    <a:pt x="1922" y="11877"/>
                    <a:pt x="2080" y="11720"/>
                    <a:pt x="2080" y="11531"/>
                  </a:cubicBezTo>
                  <a:lnTo>
                    <a:pt x="2080" y="10523"/>
                  </a:lnTo>
                  <a:cubicBezTo>
                    <a:pt x="2080" y="10302"/>
                    <a:pt x="2237" y="10145"/>
                    <a:pt x="2426" y="10145"/>
                  </a:cubicBezTo>
                  <a:lnTo>
                    <a:pt x="2647" y="10145"/>
                  </a:lnTo>
                  <a:cubicBezTo>
                    <a:pt x="3025" y="10586"/>
                    <a:pt x="3592" y="10869"/>
                    <a:pt x="4159" y="10869"/>
                  </a:cubicBezTo>
                  <a:cubicBezTo>
                    <a:pt x="6837" y="10869"/>
                    <a:pt x="9011" y="8695"/>
                    <a:pt x="9011" y="6018"/>
                  </a:cubicBezTo>
                  <a:cubicBezTo>
                    <a:pt x="9042" y="3277"/>
                    <a:pt x="6837" y="1103"/>
                    <a:pt x="4159" y="1103"/>
                  </a:cubicBezTo>
                  <a:cubicBezTo>
                    <a:pt x="3592" y="1103"/>
                    <a:pt x="3025" y="1323"/>
                    <a:pt x="2647" y="1796"/>
                  </a:cubicBezTo>
                  <a:lnTo>
                    <a:pt x="2426" y="1796"/>
                  </a:lnTo>
                  <a:cubicBezTo>
                    <a:pt x="2237" y="1796"/>
                    <a:pt x="2080" y="1638"/>
                    <a:pt x="2080" y="1449"/>
                  </a:cubicBezTo>
                  <a:lnTo>
                    <a:pt x="2080" y="347"/>
                  </a:lnTo>
                  <a:cubicBezTo>
                    <a:pt x="2080" y="158"/>
                    <a:pt x="1922" y="0"/>
                    <a:pt x="1733"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9882" name="Google Shape;9882;p110"/>
            <p:cNvSpPr/>
            <p:nvPr/>
          </p:nvSpPr>
          <p:spPr>
            <a:xfrm>
              <a:off x="-23081850" y="2425475"/>
              <a:ext cx="96100" cy="151250"/>
            </a:xfrm>
            <a:custGeom>
              <a:avLst/>
              <a:gdLst/>
              <a:ahLst/>
              <a:cxnLst/>
              <a:rect l="l" t="t" r="r" b="b"/>
              <a:pathLst>
                <a:path w="3844" h="6050" extrusionOk="0">
                  <a:moveTo>
                    <a:pt x="2568" y="1"/>
                  </a:moveTo>
                  <a:cubicBezTo>
                    <a:pt x="2481" y="1"/>
                    <a:pt x="2395" y="32"/>
                    <a:pt x="2332" y="95"/>
                  </a:cubicBezTo>
                  <a:cubicBezTo>
                    <a:pt x="2205" y="221"/>
                    <a:pt x="2205" y="442"/>
                    <a:pt x="2332" y="568"/>
                  </a:cubicBezTo>
                  <a:cubicBezTo>
                    <a:pt x="2867" y="1072"/>
                    <a:pt x="3151" y="1796"/>
                    <a:pt x="3151" y="2553"/>
                  </a:cubicBezTo>
                  <a:cubicBezTo>
                    <a:pt x="3151" y="3277"/>
                    <a:pt x="2899" y="3970"/>
                    <a:pt x="2332" y="4506"/>
                  </a:cubicBezTo>
                  <a:cubicBezTo>
                    <a:pt x="1827" y="5010"/>
                    <a:pt x="1134" y="5325"/>
                    <a:pt x="378" y="5325"/>
                  </a:cubicBezTo>
                  <a:cubicBezTo>
                    <a:pt x="189" y="5325"/>
                    <a:pt x="0" y="5482"/>
                    <a:pt x="0" y="5703"/>
                  </a:cubicBezTo>
                  <a:cubicBezTo>
                    <a:pt x="0" y="5892"/>
                    <a:pt x="189" y="6050"/>
                    <a:pt x="378" y="6050"/>
                  </a:cubicBezTo>
                  <a:cubicBezTo>
                    <a:pt x="1292" y="6050"/>
                    <a:pt x="2174" y="5703"/>
                    <a:pt x="2804" y="5010"/>
                  </a:cubicBezTo>
                  <a:cubicBezTo>
                    <a:pt x="3466" y="4348"/>
                    <a:pt x="3844" y="3498"/>
                    <a:pt x="3844" y="2584"/>
                  </a:cubicBezTo>
                  <a:cubicBezTo>
                    <a:pt x="3844" y="1670"/>
                    <a:pt x="3434" y="757"/>
                    <a:pt x="2804" y="95"/>
                  </a:cubicBezTo>
                  <a:cubicBezTo>
                    <a:pt x="2741" y="32"/>
                    <a:pt x="2654" y="1"/>
                    <a:pt x="2568"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9883" name="Google Shape;9883;p110"/>
          <p:cNvGrpSpPr/>
          <p:nvPr/>
        </p:nvGrpSpPr>
        <p:grpSpPr>
          <a:xfrm>
            <a:off x="10064742" y="5039923"/>
            <a:ext cx="472181" cy="472181"/>
            <a:chOff x="-23229150" y="2710600"/>
            <a:chExt cx="296175" cy="296175"/>
          </a:xfrm>
        </p:grpSpPr>
        <p:sp>
          <p:nvSpPr>
            <p:cNvPr id="9884" name="Google Shape;9884;p110"/>
            <p:cNvSpPr/>
            <p:nvPr/>
          </p:nvSpPr>
          <p:spPr>
            <a:xfrm>
              <a:off x="-23177150" y="2727925"/>
              <a:ext cx="191400" cy="258375"/>
            </a:xfrm>
            <a:custGeom>
              <a:avLst/>
              <a:gdLst/>
              <a:ahLst/>
              <a:cxnLst/>
              <a:rect l="l" t="t" r="r" b="b"/>
              <a:pathLst>
                <a:path w="7656" h="10335" extrusionOk="0">
                  <a:moveTo>
                    <a:pt x="3812" y="725"/>
                  </a:moveTo>
                  <a:cubicBezTo>
                    <a:pt x="4033" y="725"/>
                    <a:pt x="4190" y="883"/>
                    <a:pt x="4190" y="1072"/>
                  </a:cubicBezTo>
                  <a:lnTo>
                    <a:pt x="4190" y="1418"/>
                  </a:lnTo>
                  <a:lnTo>
                    <a:pt x="3466" y="1418"/>
                  </a:lnTo>
                  <a:lnTo>
                    <a:pt x="3466" y="1072"/>
                  </a:lnTo>
                  <a:cubicBezTo>
                    <a:pt x="3466" y="883"/>
                    <a:pt x="3623" y="725"/>
                    <a:pt x="3812" y="725"/>
                  </a:cubicBezTo>
                  <a:close/>
                  <a:moveTo>
                    <a:pt x="6238" y="1387"/>
                  </a:moveTo>
                  <a:cubicBezTo>
                    <a:pt x="6648" y="1418"/>
                    <a:pt x="6931" y="1702"/>
                    <a:pt x="6931" y="2111"/>
                  </a:cubicBezTo>
                  <a:cubicBezTo>
                    <a:pt x="6931" y="2206"/>
                    <a:pt x="6900" y="2363"/>
                    <a:pt x="6805" y="2458"/>
                  </a:cubicBezTo>
                  <a:cubicBezTo>
                    <a:pt x="6585" y="2206"/>
                    <a:pt x="6238" y="2111"/>
                    <a:pt x="5860" y="2111"/>
                  </a:cubicBezTo>
                  <a:lnTo>
                    <a:pt x="4852" y="2111"/>
                  </a:lnTo>
                  <a:lnTo>
                    <a:pt x="4852" y="1387"/>
                  </a:lnTo>
                  <a:close/>
                  <a:moveTo>
                    <a:pt x="2804" y="1418"/>
                  </a:moveTo>
                  <a:lnTo>
                    <a:pt x="2804" y="2143"/>
                  </a:lnTo>
                  <a:lnTo>
                    <a:pt x="1796" y="2143"/>
                  </a:lnTo>
                  <a:cubicBezTo>
                    <a:pt x="1418" y="2143"/>
                    <a:pt x="1071" y="2300"/>
                    <a:pt x="851" y="2489"/>
                  </a:cubicBezTo>
                  <a:cubicBezTo>
                    <a:pt x="756" y="2363"/>
                    <a:pt x="725" y="2269"/>
                    <a:pt x="725" y="2143"/>
                  </a:cubicBezTo>
                  <a:cubicBezTo>
                    <a:pt x="725" y="1702"/>
                    <a:pt x="1040" y="1418"/>
                    <a:pt x="1418" y="1418"/>
                  </a:cubicBezTo>
                  <a:close/>
                  <a:moveTo>
                    <a:pt x="4190" y="2111"/>
                  </a:moveTo>
                  <a:lnTo>
                    <a:pt x="4190" y="2804"/>
                  </a:lnTo>
                  <a:lnTo>
                    <a:pt x="3466" y="2804"/>
                  </a:lnTo>
                  <a:lnTo>
                    <a:pt x="3466" y="2111"/>
                  </a:lnTo>
                  <a:close/>
                  <a:moveTo>
                    <a:pt x="2772" y="2773"/>
                  </a:moveTo>
                  <a:lnTo>
                    <a:pt x="2772" y="3466"/>
                  </a:lnTo>
                  <a:lnTo>
                    <a:pt x="2079" y="3466"/>
                  </a:lnTo>
                  <a:cubicBezTo>
                    <a:pt x="1733" y="3466"/>
                    <a:pt x="1386" y="3624"/>
                    <a:pt x="1134" y="3844"/>
                  </a:cubicBezTo>
                  <a:cubicBezTo>
                    <a:pt x="1071" y="3718"/>
                    <a:pt x="1040" y="3592"/>
                    <a:pt x="1040" y="3466"/>
                  </a:cubicBezTo>
                  <a:cubicBezTo>
                    <a:pt x="1040" y="3088"/>
                    <a:pt x="1355" y="2773"/>
                    <a:pt x="1733" y="2773"/>
                  </a:cubicBezTo>
                  <a:close/>
                  <a:moveTo>
                    <a:pt x="5860" y="2804"/>
                  </a:moveTo>
                  <a:cubicBezTo>
                    <a:pt x="6270" y="2804"/>
                    <a:pt x="6585" y="3119"/>
                    <a:pt x="6585" y="3529"/>
                  </a:cubicBezTo>
                  <a:cubicBezTo>
                    <a:pt x="6585" y="3624"/>
                    <a:pt x="6553" y="3781"/>
                    <a:pt x="6459" y="3876"/>
                  </a:cubicBezTo>
                  <a:cubicBezTo>
                    <a:pt x="6270" y="3624"/>
                    <a:pt x="5923" y="3466"/>
                    <a:pt x="5576" y="3466"/>
                  </a:cubicBezTo>
                  <a:lnTo>
                    <a:pt x="4852" y="3466"/>
                  </a:lnTo>
                  <a:lnTo>
                    <a:pt x="4852" y="2804"/>
                  </a:lnTo>
                  <a:close/>
                  <a:moveTo>
                    <a:pt x="4190" y="3466"/>
                  </a:moveTo>
                  <a:lnTo>
                    <a:pt x="4190" y="4191"/>
                  </a:lnTo>
                  <a:lnTo>
                    <a:pt x="3466" y="4191"/>
                  </a:lnTo>
                  <a:lnTo>
                    <a:pt x="3466" y="3466"/>
                  </a:lnTo>
                  <a:close/>
                  <a:moveTo>
                    <a:pt x="4190" y="4884"/>
                  </a:moveTo>
                  <a:lnTo>
                    <a:pt x="4190" y="5608"/>
                  </a:lnTo>
                  <a:lnTo>
                    <a:pt x="3466" y="5608"/>
                  </a:lnTo>
                  <a:lnTo>
                    <a:pt x="3466" y="4884"/>
                  </a:lnTo>
                  <a:close/>
                  <a:moveTo>
                    <a:pt x="4190" y="6270"/>
                  </a:moveTo>
                  <a:lnTo>
                    <a:pt x="4190" y="7152"/>
                  </a:lnTo>
                  <a:lnTo>
                    <a:pt x="4190" y="7310"/>
                  </a:lnTo>
                  <a:cubicBezTo>
                    <a:pt x="4190" y="7499"/>
                    <a:pt x="4033" y="7656"/>
                    <a:pt x="3812" y="7656"/>
                  </a:cubicBezTo>
                  <a:cubicBezTo>
                    <a:pt x="3623" y="7656"/>
                    <a:pt x="3466" y="7499"/>
                    <a:pt x="3466" y="7310"/>
                  </a:cubicBezTo>
                  <a:lnTo>
                    <a:pt x="3466" y="7152"/>
                  </a:lnTo>
                  <a:lnTo>
                    <a:pt x="3466" y="6270"/>
                  </a:lnTo>
                  <a:close/>
                  <a:moveTo>
                    <a:pt x="5923" y="7656"/>
                  </a:moveTo>
                  <a:cubicBezTo>
                    <a:pt x="6112" y="7656"/>
                    <a:pt x="6270" y="7814"/>
                    <a:pt x="6270" y="8003"/>
                  </a:cubicBezTo>
                  <a:cubicBezTo>
                    <a:pt x="6270" y="8192"/>
                    <a:pt x="6144" y="8286"/>
                    <a:pt x="5986" y="8318"/>
                  </a:cubicBezTo>
                  <a:cubicBezTo>
                    <a:pt x="5734" y="8412"/>
                    <a:pt x="5450" y="8475"/>
                    <a:pt x="5198" y="8633"/>
                  </a:cubicBezTo>
                  <a:cubicBezTo>
                    <a:pt x="4789" y="8885"/>
                    <a:pt x="4411" y="9200"/>
                    <a:pt x="4096" y="9578"/>
                  </a:cubicBezTo>
                  <a:cubicBezTo>
                    <a:pt x="4064" y="9609"/>
                    <a:pt x="3938" y="9735"/>
                    <a:pt x="3812" y="9735"/>
                  </a:cubicBezTo>
                  <a:cubicBezTo>
                    <a:pt x="3655" y="9735"/>
                    <a:pt x="3592" y="9672"/>
                    <a:pt x="3560" y="9578"/>
                  </a:cubicBezTo>
                  <a:cubicBezTo>
                    <a:pt x="3088" y="8948"/>
                    <a:pt x="2426" y="8507"/>
                    <a:pt x="1670" y="8349"/>
                  </a:cubicBezTo>
                  <a:cubicBezTo>
                    <a:pt x="1544" y="8318"/>
                    <a:pt x="1386" y="8192"/>
                    <a:pt x="1386" y="8003"/>
                  </a:cubicBezTo>
                  <a:cubicBezTo>
                    <a:pt x="1386" y="7814"/>
                    <a:pt x="1544" y="7656"/>
                    <a:pt x="1733" y="7656"/>
                  </a:cubicBezTo>
                  <a:lnTo>
                    <a:pt x="2835" y="7656"/>
                  </a:lnTo>
                  <a:cubicBezTo>
                    <a:pt x="2993" y="8034"/>
                    <a:pt x="3371" y="8349"/>
                    <a:pt x="3844" y="8349"/>
                  </a:cubicBezTo>
                  <a:cubicBezTo>
                    <a:pt x="4316" y="8349"/>
                    <a:pt x="4663" y="8097"/>
                    <a:pt x="4820" y="7656"/>
                  </a:cubicBezTo>
                  <a:close/>
                  <a:moveTo>
                    <a:pt x="3812" y="0"/>
                  </a:moveTo>
                  <a:cubicBezTo>
                    <a:pt x="3371" y="0"/>
                    <a:pt x="2993" y="284"/>
                    <a:pt x="2835" y="725"/>
                  </a:cubicBezTo>
                  <a:lnTo>
                    <a:pt x="1386" y="725"/>
                  </a:lnTo>
                  <a:cubicBezTo>
                    <a:pt x="630" y="725"/>
                    <a:pt x="0" y="1355"/>
                    <a:pt x="0" y="2111"/>
                  </a:cubicBezTo>
                  <a:cubicBezTo>
                    <a:pt x="0" y="2489"/>
                    <a:pt x="158" y="2804"/>
                    <a:pt x="410" y="3088"/>
                  </a:cubicBezTo>
                  <a:cubicBezTo>
                    <a:pt x="378" y="3214"/>
                    <a:pt x="315" y="3340"/>
                    <a:pt x="315" y="3466"/>
                  </a:cubicBezTo>
                  <a:cubicBezTo>
                    <a:pt x="315" y="3876"/>
                    <a:pt x="473" y="4191"/>
                    <a:pt x="725" y="4474"/>
                  </a:cubicBezTo>
                  <a:cubicBezTo>
                    <a:pt x="693" y="4569"/>
                    <a:pt x="630" y="4726"/>
                    <a:pt x="630" y="4852"/>
                  </a:cubicBezTo>
                  <a:cubicBezTo>
                    <a:pt x="630" y="5608"/>
                    <a:pt x="1260" y="6238"/>
                    <a:pt x="2016" y="6238"/>
                  </a:cubicBezTo>
                  <a:cubicBezTo>
                    <a:pt x="2205" y="6238"/>
                    <a:pt x="2363" y="6081"/>
                    <a:pt x="2363" y="5892"/>
                  </a:cubicBezTo>
                  <a:cubicBezTo>
                    <a:pt x="2363" y="5671"/>
                    <a:pt x="2205" y="5514"/>
                    <a:pt x="2016" y="5514"/>
                  </a:cubicBezTo>
                  <a:cubicBezTo>
                    <a:pt x="1638" y="5514"/>
                    <a:pt x="1323" y="5199"/>
                    <a:pt x="1323" y="4821"/>
                  </a:cubicBezTo>
                  <a:cubicBezTo>
                    <a:pt x="1323" y="4411"/>
                    <a:pt x="1638" y="4096"/>
                    <a:pt x="2016" y="4096"/>
                  </a:cubicBezTo>
                  <a:lnTo>
                    <a:pt x="2741" y="4096"/>
                  </a:lnTo>
                  <a:lnTo>
                    <a:pt x="2741" y="6869"/>
                  </a:lnTo>
                  <a:lnTo>
                    <a:pt x="1701" y="6869"/>
                  </a:lnTo>
                  <a:cubicBezTo>
                    <a:pt x="1103" y="6869"/>
                    <a:pt x="693" y="7341"/>
                    <a:pt x="693" y="7877"/>
                  </a:cubicBezTo>
                  <a:cubicBezTo>
                    <a:pt x="693" y="8349"/>
                    <a:pt x="1008" y="8759"/>
                    <a:pt x="1481" y="8916"/>
                  </a:cubicBezTo>
                  <a:cubicBezTo>
                    <a:pt x="2048" y="9074"/>
                    <a:pt x="2615" y="9420"/>
                    <a:pt x="2961" y="9893"/>
                  </a:cubicBezTo>
                  <a:cubicBezTo>
                    <a:pt x="3151" y="10177"/>
                    <a:pt x="3466" y="10334"/>
                    <a:pt x="3781" y="10334"/>
                  </a:cubicBezTo>
                  <a:cubicBezTo>
                    <a:pt x="4096" y="10334"/>
                    <a:pt x="4411" y="10177"/>
                    <a:pt x="4631" y="9924"/>
                  </a:cubicBezTo>
                  <a:cubicBezTo>
                    <a:pt x="4852" y="9609"/>
                    <a:pt x="5135" y="9389"/>
                    <a:pt x="5482" y="9168"/>
                  </a:cubicBezTo>
                  <a:cubicBezTo>
                    <a:pt x="5671" y="9074"/>
                    <a:pt x="5891" y="8979"/>
                    <a:pt x="6112" y="8948"/>
                  </a:cubicBezTo>
                  <a:cubicBezTo>
                    <a:pt x="6585" y="8822"/>
                    <a:pt x="6900" y="8444"/>
                    <a:pt x="6900" y="7971"/>
                  </a:cubicBezTo>
                  <a:cubicBezTo>
                    <a:pt x="6900" y="7373"/>
                    <a:pt x="6427" y="6932"/>
                    <a:pt x="5891" y="6932"/>
                  </a:cubicBezTo>
                  <a:lnTo>
                    <a:pt x="4852" y="6932"/>
                  </a:lnTo>
                  <a:lnTo>
                    <a:pt x="4852" y="4191"/>
                  </a:lnTo>
                  <a:lnTo>
                    <a:pt x="5576" y="4191"/>
                  </a:lnTo>
                  <a:cubicBezTo>
                    <a:pt x="5954" y="4191"/>
                    <a:pt x="6270" y="4506"/>
                    <a:pt x="6270" y="4884"/>
                  </a:cubicBezTo>
                  <a:cubicBezTo>
                    <a:pt x="6270" y="5293"/>
                    <a:pt x="5954" y="5608"/>
                    <a:pt x="5576" y="5608"/>
                  </a:cubicBezTo>
                  <a:cubicBezTo>
                    <a:pt x="5356" y="5608"/>
                    <a:pt x="5198" y="5766"/>
                    <a:pt x="5198" y="5955"/>
                  </a:cubicBezTo>
                  <a:cubicBezTo>
                    <a:pt x="5198" y="6144"/>
                    <a:pt x="5356" y="6301"/>
                    <a:pt x="5576" y="6301"/>
                  </a:cubicBezTo>
                  <a:cubicBezTo>
                    <a:pt x="6301" y="6301"/>
                    <a:pt x="6931" y="5671"/>
                    <a:pt x="6931" y="4915"/>
                  </a:cubicBezTo>
                  <a:cubicBezTo>
                    <a:pt x="6931" y="4758"/>
                    <a:pt x="6900" y="4663"/>
                    <a:pt x="6868" y="4537"/>
                  </a:cubicBezTo>
                  <a:cubicBezTo>
                    <a:pt x="7152" y="4254"/>
                    <a:pt x="7246" y="3939"/>
                    <a:pt x="7246" y="3561"/>
                  </a:cubicBezTo>
                  <a:cubicBezTo>
                    <a:pt x="7246" y="3403"/>
                    <a:pt x="7215" y="3277"/>
                    <a:pt x="7183" y="3151"/>
                  </a:cubicBezTo>
                  <a:cubicBezTo>
                    <a:pt x="7498" y="2836"/>
                    <a:pt x="7656" y="2489"/>
                    <a:pt x="7656" y="2111"/>
                  </a:cubicBezTo>
                  <a:cubicBezTo>
                    <a:pt x="7656" y="1355"/>
                    <a:pt x="7026" y="725"/>
                    <a:pt x="6270" y="725"/>
                  </a:cubicBezTo>
                  <a:lnTo>
                    <a:pt x="4820" y="725"/>
                  </a:lnTo>
                  <a:cubicBezTo>
                    <a:pt x="4663" y="316"/>
                    <a:pt x="4285" y="0"/>
                    <a:pt x="3812"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9885" name="Google Shape;9885;p110"/>
            <p:cNvSpPr/>
            <p:nvPr/>
          </p:nvSpPr>
          <p:spPr>
            <a:xfrm>
              <a:off x="-23229150" y="2710600"/>
              <a:ext cx="296175" cy="296175"/>
            </a:xfrm>
            <a:custGeom>
              <a:avLst/>
              <a:gdLst/>
              <a:ahLst/>
              <a:cxnLst/>
              <a:rect l="l" t="t" r="r" b="b"/>
              <a:pathLst>
                <a:path w="11847" h="11847" extrusionOk="0">
                  <a:moveTo>
                    <a:pt x="10775" y="693"/>
                  </a:moveTo>
                  <a:cubicBezTo>
                    <a:pt x="10996" y="693"/>
                    <a:pt x="11153" y="851"/>
                    <a:pt x="11153" y="1072"/>
                  </a:cubicBezTo>
                  <a:lnTo>
                    <a:pt x="11153" y="10775"/>
                  </a:lnTo>
                  <a:cubicBezTo>
                    <a:pt x="11153" y="10996"/>
                    <a:pt x="10996" y="11153"/>
                    <a:pt x="10775" y="11153"/>
                  </a:cubicBezTo>
                  <a:lnTo>
                    <a:pt x="1072" y="11153"/>
                  </a:lnTo>
                  <a:cubicBezTo>
                    <a:pt x="851" y="11153"/>
                    <a:pt x="694" y="10996"/>
                    <a:pt x="694" y="10775"/>
                  </a:cubicBezTo>
                  <a:lnTo>
                    <a:pt x="694" y="1072"/>
                  </a:lnTo>
                  <a:cubicBezTo>
                    <a:pt x="694" y="851"/>
                    <a:pt x="851" y="693"/>
                    <a:pt x="1072" y="693"/>
                  </a:cubicBezTo>
                  <a:close/>
                  <a:moveTo>
                    <a:pt x="1072" y="0"/>
                  </a:moveTo>
                  <a:cubicBezTo>
                    <a:pt x="473" y="0"/>
                    <a:pt x="1" y="473"/>
                    <a:pt x="1" y="1072"/>
                  </a:cubicBezTo>
                  <a:lnTo>
                    <a:pt x="1" y="10775"/>
                  </a:lnTo>
                  <a:cubicBezTo>
                    <a:pt x="1" y="11374"/>
                    <a:pt x="473" y="11846"/>
                    <a:pt x="1072" y="11846"/>
                  </a:cubicBezTo>
                  <a:lnTo>
                    <a:pt x="10807" y="11846"/>
                  </a:lnTo>
                  <a:cubicBezTo>
                    <a:pt x="11374" y="11846"/>
                    <a:pt x="11847" y="11374"/>
                    <a:pt x="11847" y="10775"/>
                  </a:cubicBezTo>
                  <a:lnTo>
                    <a:pt x="11847" y="1072"/>
                  </a:lnTo>
                  <a:cubicBezTo>
                    <a:pt x="11847" y="473"/>
                    <a:pt x="11342" y="0"/>
                    <a:pt x="10807"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sp>
        <p:nvSpPr>
          <p:cNvPr id="9886" name="Google Shape;9886;p110"/>
          <p:cNvSpPr/>
          <p:nvPr/>
        </p:nvSpPr>
        <p:spPr>
          <a:xfrm>
            <a:off x="8867399" y="5697939"/>
            <a:ext cx="472181" cy="470907"/>
          </a:xfrm>
          <a:custGeom>
            <a:avLst/>
            <a:gdLst/>
            <a:ahLst/>
            <a:cxnLst/>
            <a:rect l="l" t="t" r="r" b="b"/>
            <a:pathLst>
              <a:path w="11847" h="11815" extrusionOk="0">
                <a:moveTo>
                  <a:pt x="5829" y="662"/>
                </a:moveTo>
                <a:cubicBezTo>
                  <a:pt x="6018" y="662"/>
                  <a:pt x="6176" y="820"/>
                  <a:pt x="6176" y="1009"/>
                </a:cubicBezTo>
                <a:cubicBezTo>
                  <a:pt x="6176" y="1229"/>
                  <a:pt x="6018" y="1387"/>
                  <a:pt x="5829" y="1387"/>
                </a:cubicBezTo>
                <a:cubicBezTo>
                  <a:pt x="5640" y="1387"/>
                  <a:pt x="5483" y="1229"/>
                  <a:pt x="5483" y="1009"/>
                </a:cubicBezTo>
                <a:cubicBezTo>
                  <a:pt x="5483" y="820"/>
                  <a:pt x="5640" y="662"/>
                  <a:pt x="5829" y="662"/>
                </a:cubicBezTo>
                <a:close/>
                <a:moveTo>
                  <a:pt x="3225" y="2798"/>
                </a:moveTo>
                <a:cubicBezTo>
                  <a:pt x="3766" y="2798"/>
                  <a:pt x="4911" y="3708"/>
                  <a:pt x="5483" y="4159"/>
                </a:cubicBezTo>
                <a:lnTo>
                  <a:pt x="5483" y="4884"/>
                </a:lnTo>
                <a:lnTo>
                  <a:pt x="4727" y="4884"/>
                </a:lnTo>
                <a:cubicBezTo>
                  <a:pt x="4758" y="4758"/>
                  <a:pt x="4790" y="4632"/>
                  <a:pt x="4790" y="4537"/>
                </a:cubicBezTo>
                <a:cubicBezTo>
                  <a:pt x="4790" y="4317"/>
                  <a:pt x="4632" y="4159"/>
                  <a:pt x="4443" y="4159"/>
                </a:cubicBezTo>
                <a:cubicBezTo>
                  <a:pt x="4254" y="4159"/>
                  <a:pt x="4097" y="4317"/>
                  <a:pt x="4097" y="4537"/>
                </a:cubicBezTo>
                <a:cubicBezTo>
                  <a:pt x="4097" y="4726"/>
                  <a:pt x="3939" y="4884"/>
                  <a:pt x="3750" y="4884"/>
                </a:cubicBezTo>
                <a:lnTo>
                  <a:pt x="3435" y="4884"/>
                </a:lnTo>
                <a:cubicBezTo>
                  <a:pt x="3655" y="4569"/>
                  <a:pt x="3813" y="4254"/>
                  <a:pt x="3908" y="3939"/>
                </a:cubicBezTo>
                <a:cubicBezTo>
                  <a:pt x="3971" y="3750"/>
                  <a:pt x="3844" y="3529"/>
                  <a:pt x="3655" y="3498"/>
                </a:cubicBezTo>
                <a:cubicBezTo>
                  <a:pt x="3617" y="3485"/>
                  <a:pt x="3578" y="3478"/>
                  <a:pt x="3541" y="3478"/>
                </a:cubicBezTo>
                <a:cubicBezTo>
                  <a:pt x="3395" y="3478"/>
                  <a:pt x="3265" y="3574"/>
                  <a:pt x="3214" y="3750"/>
                </a:cubicBezTo>
                <a:cubicBezTo>
                  <a:pt x="3025" y="4380"/>
                  <a:pt x="2710" y="4726"/>
                  <a:pt x="2269" y="4884"/>
                </a:cubicBezTo>
                <a:lnTo>
                  <a:pt x="1482" y="4884"/>
                </a:lnTo>
                <a:cubicBezTo>
                  <a:pt x="2049" y="4411"/>
                  <a:pt x="2364" y="3907"/>
                  <a:pt x="2584" y="3466"/>
                </a:cubicBezTo>
                <a:cubicBezTo>
                  <a:pt x="2836" y="3057"/>
                  <a:pt x="2962" y="2836"/>
                  <a:pt x="3151" y="2805"/>
                </a:cubicBezTo>
                <a:cubicBezTo>
                  <a:pt x="3174" y="2800"/>
                  <a:pt x="3199" y="2798"/>
                  <a:pt x="3225" y="2798"/>
                </a:cubicBezTo>
                <a:close/>
                <a:moveTo>
                  <a:pt x="8424" y="2770"/>
                </a:moveTo>
                <a:cubicBezTo>
                  <a:pt x="8442" y="2770"/>
                  <a:pt x="8459" y="2771"/>
                  <a:pt x="8476" y="2773"/>
                </a:cubicBezTo>
                <a:cubicBezTo>
                  <a:pt x="8665" y="2836"/>
                  <a:pt x="8791" y="3057"/>
                  <a:pt x="9011" y="3466"/>
                </a:cubicBezTo>
                <a:cubicBezTo>
                  <a:pt x="9263" y="3876"/>
                  <a:pt x="9578" y="4411"/>
                  <a:pt x="10082" y="4884"/>
                </a:cubicBezTo>
                <a:lnTo>
                  <a:pt x="9326" y="4884"/>
                </a:lnTo>
                <a:cubicBezTo>
                  <a:pt x="8885" y="4726"/>
                  <a:pt x="8570" y="4348"/>
                  <a:pt x="8381" y="3750"/>
                </a:cubicBezTo>
                <a:cubicBezTo>
                  <a:pt x="8328" y="3564"/>
                  <a:pt x="8164" y="3490"/>
                  <a:pt x="8019" y="3490"/>
                </a:cubicBezTo>
                <a:cubicBezTo>
                  <a:pt x="7992" y="3490"/>
                  <a:pt x="7965" y="3493"/>
                  <a:pt x="7940" y="3498"/>
                </a:cubicBezTo>
                <a:cubicBezTo>
                  <a:pt x="7783" y="3529"/>
                  <a:pt x="7688" y="3781"/>
                  <a:pt x="7720" y="3939"/>
                </a:cubicBezTo>
                <a:cubicBezTo>
                  <a:pt x="7783" y="4191"/>
                  <a:pt x="7940" y="4569"/>
                  <a:pt x="8192" y="4884"/>
                </a:cubicBezTo>
                <a:lnTo>
                  <a:pt x="7877" y="4884"/>
                </a:lnTo>
                <a:cubicBezTo>
                  <a:pt x="7688" y="4884"/>
                  <a:pt x="7531" y="4726"/>
                  <a:pt x="7531" y="4537"/>
                </a:cubicBezTo>
                <a:cubicBezTo>
                  <a:pt x="7531" y="4317"/>
                  <a:pt x="7373" y="4159"/>
                  <a:pt x="7153" y="4159"/>
                </a:cubicBezTo>
                <a:cubicBezTo>
                  <a:pt x="6963" y="4159"/>
                  <a:pt x="6806" y="4317"/>
                  <a:pt x="6806" y="4537"/>
                </a:cubicBezTo>
                <a:cubicBezTo>
                  <a:pt x="6806" y="4632"/>
                  <a:pt x="6837" y="4758"/>
                  <a:pt x="6900" y="4884"/>
                </a:cubicBezTo>
                <a:lnTo>
                  <a:pt x="6144" y="4884"/>
                </a:lnTo>
                <a:lnTo>
                  <a:pt x="6144" y="4159"/>
                </a:lnTo>
                <a:cubicBezTo>
                  <a:pt x="6663" y="3701"/>
                  <a:pt x="7863" y="2770"/>
                  <a:pt x="8424" y="2770"/>
                </a:cubicBezTo>
                <a:close/>
                <a:moveTo>
                  <a:pt x="7216" y="5545"/>
                </a:moveTo>
                <a:cubicBezTo>
                  <a:pt x="7405" y="5545"/>
                  <a:pt x="7562" y="5703"/>
                  <a:pt x="7562" y="5892"/>
                </a:cubicBezTo>
                <a:cubicBezTo>
                  <a:pt x="7562" y="6113"/>
                  <a:pt x="7405" y="6270"/>
                  <a:pt x="7216" y="6270"/>
                </a:cubicBezTo>
                <a:lnTo>
                  <a:pt x="6176" y="6270"/>
                </a:lnTo>
                <a:lnTo>
                  <a:pt x="6176" y="5545"/>
                </a:lnTo>
                <a:close/>
                <a:moveTo>
                  <a:pt x="5483" y="6963"/>
                </a:moveTo>
                <a:lnTo>
                  <a:pt x="5483" y="7688"/>
                </a:lnTo>
                <a:lnTo>
                  <a:pt x="4443" y="7688"/>
                </a:lnTo>
                <a:cubicBezTo>
                  <a:pt x="4254" y="7688"/>
                  <a:pt x="4097" y="7530"/>
                  <a:pt x="4097" y="7310"/>
                </a:cubicBezTo>
                <a:cubicBezTo>
                  <a:pt x="4097" y="7121"/>
                  <a:pt x="4254" y="6963"/>
                  <a:pt x="4443" y="6963"/>
                </a:cubicBezTo>
                <a:close/>
                <a:moveTo>
                  <a:pt x="6491" y="8349"/>
                </a:moveTo>
                <a:cubicBezTo>
                  <a:pt x="6680" y="8349"/>
                  <a:pt x="6837" y="8507"/>
                  <a:pt x="6837" y="8696"/>
                </a:cubicBezTo>
                <a:cubicBezTo>
                  <a:pt x="6837" y="8885"/>
                  <a:pt x="6680" y="9042"/>
                  <a:pt x="6491" y="9042"/>
                </a:cubicBezTo>
                <a:lnTo>
                  <a:pt x="6144" y="9042"/>
                </a:lnTo>
                <a:lnTo>
                  <a:pt x="6144" y="8349"/>
                </a:lnTo>
                <a:close/>
                <a:moveTo>
                  <a:pt x="5483" y="9736"/>
                </a:moveTo>
                <a:lnTo>
                  <a:pt x="5483" y="10429"/>
                </a:lnTo>
                <a:lnTo>
                  <a:pt x="5105" y="10429"/>
                </a:lnTo>
                <a:cubicBezTo>
                  <a:pt x="4916" y="10429"/>
                  <a:pt x="4758" y="10271"/>
                  <a:pt x="4758" y="10082"/>
                </a:cubicBezTo>
                <a:cubicBezTo>
                  <a:pt x="4758" y="9893"/>
                  <a:pt x="4916" y="9736"/>
                  <a:pt x="5105" y="9736"/>
                </a:cubicBezTo>
                <a:close/>
                <a:moveTo>
                  <a:pt x="5861" y="1"/>
                </a:moveTo>
                <a:cubicBezTo>
                  <a:pt x="5325" y="1"/>
                  <a:pt x="4853" y="473"/>
                  <a:pt x="4853" y="1009"/>
                </a:cubicBezTo>
                <a:cubicBezTo>
                  <a:pt x="4853" y="1450"/>
                  <a:pt x="5136" y="1828"/>
                  <a:pt x="5546" y="1985"/>
                </a:cubicBezTo>
                <a:lnTo>
                  <a:pt x="5546" y="3309"/>
                </a:lnTo>
                <a:cubicBezTo>
                  <a:pt x="4475" y="2440"/>
                  <a:pt x="3776" y="2104"/>
                  <a:pt x="3254" y="2104"/>
                </a:cubicBezTo>
                <a:cubicBezTo>
                  <a:pt x="3208" y="2104"/>
                  <a:pt x="3163" y="2106"/>
                  <a:pt x="3120" y="2111"/>
                </a:cubicBezTo>
                <a:cubicBezTo>
                  <a:pt x="2616" y="2206"/>
                  <a:pt x="2332" y="2678"/>
                  <a:pt x="2080" y="3151"/>
                </a:cubicBezTo>
                <a:cubicBezTo>
                  <a:pt x="1734" y="3750"/>
                  <a:pt x="1356" y="4474"/>
                  <a:pt x="253" y="4915"/>
                </a:cubicBezTo>
                <a:cubicBezTo>
                  <a:pt x="95" y="4978"/>
                  <a:pt x="1" y="5167"/>
                  <a:pt x="32" y="5325"/>
                </a:cubicBezTo>
                <a:cubicBezTo>
                  <a:pt x="95" y="5482"/>
                  <a:pt x="190" y="5577"/>
                  <a:pt x="410" y="5577"/>
                </a:cubicBezTo>
                <a:lnTo>
                  <a:pt x="5609" y="5577"/>
                </a:lnTo>
                <a:lnTo>
                  <a:pt x="5609" y="6302"/>
                </a:lnTo>
                <a:lnTo>
                  <a:pt x="4569" y="6302"/>
                </a:lnTo>
                <a:cubicBezTo>
                  <a:pt x="3971" y="6302"/>
                  <a:pt x="3561" y="6774"/>
                  <a:pt x="3561" y="7310"/>
                </a:cubicBezTo>
                <a:cubicBezTo>
                  <a:pt x="3561" y="7908"/>
                  <a:pt x="4034" y="8349"/>
                  <a:pt x="4569" y="8349"/>
                </a:cubicBezTo>
                <a:lnTo>
                  <a:pt x="5609" y="8349"/>
                </a:lnTo>
                <a:lnTo>
                  <a:pt x="5609" y="9042"/>
                </a:lnTo>
                <a:lnTo>
                  <a:pt x="5231" y="9042"/>
                </a:lnTo>
                <a:cubicBezTo>
                  <a:pt x="4664" y="9042"/>
                  <a:pt x="4223" y="9515"/>
                  <a:pt x="4223" y="10082"/>
                </a:cubicBezTo>
                <a:cubicBezTo>
                  <a:pt x="4223" y="10681"/>
                  <a:pt x="4695" y="11090"/>
                  <a:pt x="5231" y="11090"/>
                </a:cubicBezTo>
                <a:lnTo>
                  <a:pt x="5609" y="11090"/>
                </a:lnTo>
                <a:lnTo>
                  <a:pt x="5609" y="11468"/>
                </a:lnTo>
                <a:cubicBezTo>
                  <a:pt x="5609" y="11657"/>
                  <a:pt x="5766" y="11815"/>
                  <a:pt x="5955" y="11815"/>
                </a:cubicBezTo>
                <a:cubicBezTo>
                  <a:pt x="6144" y="11815"/>
                  <a:pt x="6302" y="11657"/>
                  <a:pt x="6302" y="11468"/>
                </a:cubicBezTo>
                <a:lnTo>
                  <a:pt x="6302" y="11090"/>
                </a:lnTo>
                <a:lnTo>
                  <a:pt x="6648" y="11090"/>
                </a:lnTo>
                <a:cubicBezTo>
                  <a:pt x="6869" y="11090"/>
                  <a:pt x="7027" y="10933"/>
                  <a:pt x="7027" y="10744"/>
                </a:cubicBezTo>
                <a:cubicBezTo>
                  <a:pt x="7027" y="10555"/>
                  <a:pt x="6869" y="10397"/>
                  <a:pt x="6648" y="10397"/>
                </a:cubicBezTo>
                <a:lnTo>
                  <a:pt x="6302" y="10397"/>
                </a:lnTo>
                <a:lnTo>
                  <a:pt x="6302" y="9673"/>
                </a:lnTo>
                <a:lnTo>
                  <a:pt x="6648" y="9673"/>
                </a:lnTo>
                <a:cubicBezTo>
                  <a:pt x="7247" y="9673"/>
                  <a:pt x="7688" y="9200"/>
                  <a:pt x="7688" y="8664"/>
                </a:cubicBezTo>
                <a:cubicBezTo>
                  <a:pt x="7688" y="8066"/>
                  <a:pt x="7216" y="7625"/>
                  <a:pt x="6648" y="7625"/>
                </a:cubicBezTo>
                <a:lnTo>
                  <a:pt x="6302" y="7625"/>
                </a:lnTo>
                <a:lnTo>
                  <a:pt x="6302" y="6932"/>
                </a:lnTo>
                <a:lnTo>
                  <a:pt x="7342" y="6932"/>
                </a:lnTo>
                <a:cubicBezTo>
                  <a:pt x="7909" y="6932"/>
                  <a:pt x="8350" y="6459"/>
                  <a:pt x="8350" y="5892"/>
                </a:cubicBezTo>
                <a:cubicBezTo>
                  <a:pt x="8350" y="5766"/>
                  <a:pt x="8318" y="5671"/>
                  <a:pt x="8287" y="5545"/>
                </a:cubicBezTo>
                <a:lnTo>
                  <a:pt x="11469" y="5545"/>
                </a:lnTo>
                <a:cubicBezTo>
                  <a:pt x="11626" y="5545"/>
                  <a:pt x="11784" y="5419"/>
                  <a:pt x="11815" y="5262"/>
                </a:cubicBezTo>
                <a:cubicBezTo>
                  <a:pt x="11847" y="5104"/>
                  <a:pt x="11658" y="4947"/>
                  <a:pt x="11500" y="4915"/>
                </a:cubicBezTo>
                <a:cubicBezTo>
                  <a:pt x="10398" y="4474"/>
                  <a:pt x="9988" y="3750"/>
                  <a:pt x="9641" y="3151"/>
                </a:cubicBezTo>
                <a:cubicBezTo>
                  <a:pt x="9389" y="2678"/>
                  <a:pt x="9137" y="2237"/>
                  <a:pt x="8633" y="2111"/>
                </a:cubicBezTo>
                <a:cubicBezTo>
                  <a:pt x="8563" y="2096"/>
                  <a:pt x="8491" y="2088"/>
                  <a:pt x="8417" y="2088"/>
                </a:cubicBezTo>
                <a:cubicBezTo>
                  <a:pt x="7893" y="2088"/>
                  <a:pt x="7252" y="2481"/>
                  <a:pt x="6176" y="3309"/>
                </a:cubicBezTo>
                <a:lnTo>
                  <a:pt x="6176" y="1985"/>
                </a:lnTo>
                <a:cubicBezTo>
                  <a:pt x="6585" y="1828"/>
                  <a:pt x="6900" y="1481"/>
                  <a:pt x="6900" y="1009"/>
                </a:cubicBezTo>
                <a:cubicBezTo>
                  <a:pt x="6900" y="410"/>
                  <a:pt x="6428" y="1"/>
                  <a:pt x="5861"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Tree>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bg>
      <p:bgPr>
        <a:solidFill>
          <a:srgbClr val="0E2A47"/>
        </a:solidFill>
        <a:effectLst/>
      </p:bgPr>
    </p:bg>
    <p:spTree>
      <p:nvGrpSpPr>
        <p:cNvPr id="1" name="Shape 9890"/>
        <p:cNvGrpSpPr/>
        <p:nvPr/>
      </p:nvGrpSpPr>
      <p:grpSpPr>
        <a:xfrm>
          <a:off x="0" y="0"/>
          <a:ext cx="0" cy="0"/>
          <a:chOff x="0" y="0"/>
          <a:chExt cx="0" cy="0"/>
        </a:xfrm>
      </p:grpSpPr>
      <p:sp>
        <p:nvSpPr>
          <p:cNvPr id="9891" name="Google Shape;9891;p111"/>
          <p:cNvSpPr txBox="1">
            <a:spLocks noGrp="1"/>
          </p:cNvSpPr>
          <p:nvPr>
            <p:ph type="title" idx="4294967295"/>
          </p:nvPr>
        </p:nvSpPr>
        <p:spPr>
          <a:xfrm>
            <a:off x="1132900" y="1258367"/>
            <a:ext cx="4642800" cy="643200"/>
          </a:xfrm>
          <a:prstGeom prst="rect">
            <a:avLst/>
          </a:prstGeom>
        </p:spPr>
        <p:txBody>
          <a:bodyPr spcFirstLastPara="1" wrap="square" lIns="121900" tIns="121900" rIns="121900" bIns="121900" anchor="t" anchorCtr="0">
            <a:noAutofit/>
          </a:bodyPr>
          <a:lstStyle/>
          <a:p>
            <a:pPr>
              <a:buClr>
                <a:srgbClr val="000000"/>
              </a:buClr>
              <a:buSzPts val="1100"/>
            </a:pPr>
            <a:r>
              <a:rPr lang="en">
                <a:solidFill>
                  <a:srgbClr val="FFFFFF"/>
                </a:solidFill>
                <a:latin typeface="Arial"/>
                <a:ea typeface="Arial"/>
                <a:cs typeface="Arial"/>
                <a:sym typeface="Arial"/>
              </a:rPr>
              <a:t>Business </a:t>
            </a:r>
            <a:r>
              <a:rPr lang="en">
                <a:latin typeface="Arial"/>
                <a:ea typeface="Arial"/>
                <a:cs typeface="Arial"/>
                <a:sym typeface="Arial"/>
              </a:rPr>
              <a:t>I</a:t>
            </a:r>
            <a:r>
              <a:rPr lang="en">
                <a:solidFill>
                  <a:srgbClr val="FFFFFF"/>
                </a:solidFill>
                <a:latin typeface="Arial"/>
                <a:ea typeface="Arial"/>
                <a:cs typeface="Arial"/>
                <a:sym typeface="Arial"/>
              </a:rPr>
              <a:t>cons</a:t>
            </a:r>
            <a:endParaRPr>
              <a:solidFill>
                <a:srgbClr val="FFFFFF"/>
              </a:solidFill>
              <a:latin typeface="Arial"/>
              <a:ea typeface="Arial"/>
              <a:cs typeface="Arial"/>
              <a:sym typeface="Arial"/>
            </a:endParaRPr>
          </a:p>
        </p:txBody>
      </p:sp>
      <p:sp>
        <p:nvSpPr>
          <p:cNvPr id="9892" name="Google Shape;9892;p111"/>
          <p:cNvSpPr txBox="1">
            <a:spLocks noGrp="1"/>
          </p:cNvSpPr>
          <p:nvPr>
            <p:ph type="title" idx="4294967295"/>
          </p:nvPr>
        </p:nvSpPr>
        <p:spPr>
          <a:xfrm>
            <a:off x="6477867" y="1258367"/>
            <a:ext cx="4642800" cy="643200"/>
          </a:xfrm>
          <a:prstGeom prst="rect">
            <a:avLst/>
          </a:prstGeom>
        </p:spPr>
        <p:txBody>
          <a:bodyPr spcFirstLastPara="1" wrap="square" lIns="121900" tIns="121900" rIns="121900" bIns="121900" anchor="t" anchorCtr="0">
            <a:noAutofit/>
          </a:bodyPr>
          <a:lstStyle/>
          <a:p>
            <a:pPr>
              <a:buClr>
                <a:srgbClr val="000000"/>
              </a:buClr>
              <a:buSzPts val="1100"/>
            </a:pPr>
            <a:r>
              <a:rPr lang="en">
                <a:latin typeface="Arial"/>
                <a:ea typeface="Arial"/>
                <a:cs typeface="Arial"/>
                <a:sym typeface="Arial"/>
              </a:rPr>
              <a:t>Teamwork Icons</a:t>
            </a:r>
            <a:endParaRPr>
              <a:solidFill>
                <a:srgbClr val="FFFFFF"/>
              </a:solidFill>
              <a:latin typeface="Arial"/>
              <a:ea typeface="Arial"/>
              <a:cs typeface="Arial"/>
              <a:sym typeface="Arial"/>
            </a:endParaRPr>
          </a:p>
        </p:txBody>
      </p:sp>
      <p:grpSp>
        <p:nvGrpSpPr>
          <p:cNvPr id="9893" name="Google Shape;9893;p111"/>
          <p:cNvGrpSpPr/>
          <p:nvPr/>
        </p:nvGrpSpPr>
        <p:grpSpPr>
          <a:xfrm>
            <a:off x="1139158" y="2055627"/>
            <a:ext cx="488359" cy="488320"/>
            <a:chOff x="-65131525" y="1914325"/>
            <a:chExt cx="316650" cy="316625"/>
          </a:xfrm>
        </p:grpSpPr>
        <p:sp>
          <p:nvSpPr>
            <p:cNvPr id="9894" name="Google Shape;9894;p111"/>
            <p:cNvSpPr/>
            <p:nvPr/>
          </p:nvSpPr>
          <p:spPr>
            <a:xfrm>
              <a:off x="-65024400" y="1949750"/>
              <a:ext cx="103175" cy="247350"/>
            </a:xfrm>
            <a:custGeom>
              <a:avLst/>
              <a:gdLst/>
              <a:ahLst/>
              <a:cxnLst/>
              <a:rect l="l" t="t" r="r" b="b"/>
              <a:pathLst>
                <a:path w="4127" h="9894" extrusionOk="0">
                  <a:moveTo>
                    <a:pt x="2048" y="1"/>
                  </a:moveTo>
                  <a:cubicBezTo>
                    <a:pt x="1859" y="1"/>
                    <a:pt x="1638" y="190"/>
                    <a:pt x="1638" y="379"/>
                  </a:cubicBezTo>
                  <a:lnTo>
                    <a:pt x="1638" y="851"/>
                  </a:lnTo>
                  <a:cubicBezTo>
                    <a:pt x="725" y="1040"/>
                    <a:pt x="0" y="1891"/>
                    <a:pt x="0" y="2868"/>
                  </a:cubicBezTo>
                  <a:cubicBezTo>
                    <a:pt x="0" y="3970"/>
                    <a:pt x="977" y="4632"/>
                    <a:pt x="1827" y="5262"/>
                  </a:cubicBezTo>
                  <a:cubicBezTo>
                    <a:pt x="2552" y="5829"/>
                    <a:pt x="3308" y="6333"/>
                    <a:pt x="3308" y="6995"/>
                  </a:cubicBezTo>
                  <a:cubicBezTo>
                    <a:pt x="3308" y="7656"/>
                    <a:pt x="2772" y="8255"/>
                    <a:pt x="2079" y="8255"/>
                  </a:cubicBezTo>
                  <a:cubicBezTo>
                    <a:pt x="1418" y="8255"/>
                    <a:pt x="851" y="7688"/>
                    <a:pt x="851" y="6995"/>
                  </a:cubicBezTo>
                  <a:cubicBezTo>
                    <a:pt x="851" y="6774"/>
                    <a:pt x="662" y="6617"/>
                    <a:pt x="441" y="6617"/>
                  </a:cubicBezTo>
                  <a:cubicBezTo>
                    <a:pt x="189" y="6617"/>
                    <a:pt x="32" y="6806"/>
                    <a:pt x="32" y="6995"/>
                  </a:cubicBezTo>
                  <a:cubicBezTo>
                    <a:pt x="32" y="7971"/>
                    <a:pt x="756" y="8854"/>
                    <a:pt x="1701" y="9011"/>
                  </a:cubicBezTo>
                  <a:lnTo>
                    <a:pt x="1701" y="9484"/>
                  </a:lnTo>
                  <a:cubicBezTo>
                    <a:pt x="1701" y="9704"/>
                    <a:pt x="1890" y="9893"/>
                    <a:pt x="2079" y="9893"/>
                  </a:cubicBezTo>
                  <a:cubicBezTo>
                    <a:pt x="2268" y="9893"/>
                    <a:pt x="2489" y="9704"/>
                    <a:pt x="2489" y="9484"/>
                  </a:cubicBezTo>
                  <a:lnTo>
                    <a:pt x="2489" y="9011"/>
                  </a:lnTo>
                  <a:cubicBezTo>
                    <a:pt x="3434" y="8791"/>
                    <a:pt x="4127" y="7971"/>
                    <a:pt x="4127" y="6995"/>
                  </a:cubicBezTo>
                  <a:cubicBezTo>
                    <a:pt x="4127" y="5892"/>
                    <a:pt x="3151" y="5231"/>
                    <a:pt x="2331" y="4600"/>
                  </a:cubicBezTo>
                  <a:cubicBezTo>
                    <a:pt x="1575" y="4033"/>
                    <a:pt x="819" y="3529"/>
                    <a:pt x="819" y="2868"/>
                  </a:cubicBezTo>
                  <a:cubicBezTo>
                    <a:pt x="788" y="2143"/>
                    <a:pt x="1386" y="1607"/>
                    <a:pt x="2048" y="1607"/>
                  </a:cubicBezTo>
                  <a:cubicBezTo>
                    <a:pt x="2709" y="1607"/>
                    <a:pt x="3277" y="2143"/>
                    <a:pt x="3277" y="2868"/>
                  </a:cubicBezTo>
                  <a:cubicBezTo>
                    <a:pt x="3277" y="3088"/>
                    <a:pt x="3466" y="3246"/>
                    <a:pt x="3686" y="3246"/>
                  </a:cubicBezTo>
                  <a:cubicBezTo>
                    <a:pt x="3938" y="3246"/>
                    <a:pt x="4096" y="3057"/>
                    <a:pt x="4096" y="2868"/>
                  </a:cubicBezTo>
                  <a:cubicBezTo>
                    <a:pt x="4096" y="1891"/>
                    <a:pt x="3371" y="1009"/>
                    <a:pt x="2426" y="851"/>
                  </a:cubicBezTo>
                  <a:lnTo>
                    <a:pt x="2426" y="379"/>
                  </a:lnTo>
                  <a:cubicBezTo>
                    <a:pt x="2426" y="158"/>
                    <a:pt x="2237" y="1"/>
                    <a:pt x="2048"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9895" name="Google Shape;9895;p111"/>
            <p:cNvSpPr/>
            <p:nvPr/>
          </p:nvSpPr>
          <p:spPr>
            <a:xfrm>
              <a:off x="-65131525" y="1914325"/>
              <a:ext cx="316650" cy="316625"/>
            </a:xfrm>
            <a:custGeom>
              <a:avLst/>
              <a:gdLst/>
              <a:ahLst/>
              <a:cxnLst/>
              <a:rect l="l" t="t" r="r" b="b"/>
              <a:pathLst>
                <a:path w="12666" h="12665" extrusionOk="0">
                  <a:moveTo>
                    <a:pt x="6333" y="819"/>
                  </a:moveTo>
                  <a:cubicBezTo>
                    <a:pt x="9357" y="819"/>
                    <a:pt x="11846" y="3308"/>
                    <a:pt x="11846" y="6332"/>
                  </a:cubicBezTo>
                  <a:cubicBezTo>
                    <a:pt x="11846" y="9357"/>
                    <a:pt x="9357" y="11846"/>
                    <a:pt x="6333" y="11846"/>
                  </a:cubicBezTo>
                  <a:cubicBezTo>
                    <a:pt x="3308" y="11846"/>
                    <a:pt x="819" y="9357"/>
                    <a:pt x="819" y="6332"/>
                  </a:cubicBezTo>
                  <a:cubicBezTo>
                    <a:pt x="819" y="3308"/>
                    <a:pt x="3308" y="819"/>
                    <a:pt x="6333" y="819"/>
                  </a:cubicBezTo>
                  <a:close/>
                  <a:moveTo>
                    <a:pt x="6333" y="0"/>
                  </a:moveTo>
                  <a:cubicBezTo>
                    <a:pt x="2836" y="0"/>
                    <a:pt x="0" y="2835"/>
                    <a:pt x="0" y="6332"/>
                  </a:cubicBezTo>
                  <a:cubicBezTo>
                    <a:pt x="0" y="9830"/>
                    <a:pt x="2836" y="12665"/>
                    <a:pt x="6333" y="12665"/>
                  </a:cubicBezTo>
                  <a:cubicBezTo>
                    <a:pt x="9830" y="12665"/>
                    <a:pt x="12665" y="9830"/>
                    <a:pt x="12665" y="6332"/>
                  </a:cubicBezTo>
                  <a:cubicBezTo>
                    <a:pt x="12665" y="2835"/>
                    <a:pt x="9830" y="0"/>
                    <a:pt x="6333"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9896" name="Google Shape;9896;p111"/>
          <p:cNvGrpSpPr/>
          <p:nvPr/>
        </p:nvGrpSpPr>
        <p:grpSpPr>
          <a:xfrm>
            <a:off x="1139158" y="2696010"/>
            <a:ext cx="488359" cy="488359"/>
            <a:chOff x="-65131525" y="2281350"/>
            <a:chExt cx="316650" cy="316650"/>
          </a:xfrm>
        </p:grpSpPr>
        <p:sp>
          <p:nvSpPr>
            <p:cNvPr id="9897" name="Google Shape;9897;p111"/>
            <p:cNvSpPr/>
            <p:nvPr/>
          </p:nvSpPr>
          <p:spPr>
            <a:xfrm>
              <a:off x="-65131525" y="2322300"/>
              <a:ext cx="275675" cy="275700"/>
            </a:xfrm>
            <a:custGeom>
              <a:avLst/>
              <a:gdLst/>
              <a:ahLst/>
              <a:cxnLst/>
              <a:rect l="l" t="t" r="r" b="b"/>
              <a:pathLst>
                <a:path w="11027" h="11028" extrusionOk="0">
                  <a:moveTo>
                    <a:pt x="5073" y="820"/>
                  </a:moveTo>
                  <a:lnTo>
                    <a:pt x="5073" y="5514"/>
                  </a:lnTo>
                  <a:cubicBezTo>
                    <a:pt x="5073" y="5766"/>
                    <a:pt x="5262" y="5923"/>
                    <a:pt x="5482" y="5923"/>
                  </a:cubicBezTo>
                  <a:lnTo>
                    <a:pt x="10145" y="5923"/>
                  </a:lnTo>
                  <a:cubicBezTo>
                    <a:pt x="9956" y="8318"/>
                    <a:pt x="7940" y="10208"/>
                    <a:pt x="5482" y="10208"/>
                  </a:cubicBezTo>
                  <a:cubicBezTo>
                    <a:pt x="2867" y="10208"/>
                    <a:pt x="788" y="8129"/>
                    <a:pt x="788" y="5514"/>
                  </a:cubicBezTo>
                  <a:cubicBezTo>
                    <a:pt x="788" y="3088"/>
                    <a:pt x="2678" y="1072"/>
                    <a:pt x="5073" y="820"/>
                  </a:cubicBezTo>
                  <a:close/>
                  <a:moveTo>
                    <a:pt x="5514" y="0"/>
                  </a:moveTo>
                  <a:cubicBezTo>
                    <a:pt x="2458" y="0"/>
                    <a:pt x="0" y="2489"/>
                    <a:pt x="0" y="5514"/>
                  </a:cubicBezTo>
                  <a:cubicBezTo>
                    <a:pt x="0" y="8538"/>
                    <a:pt x="2458" y="11027"/>
                    <a:pt x="5514" y="11027"/>
                  </a:cubicBezTo>
                  <a:cubicBezTo>
                    <a:pt x="8538" y="11027"/>
                    <a:pt x="11027" y="8538"/>
                    <a:pt x="11027" y="5514"/>
                  </a:cubicBezTo>
                  <a:cubicBezTo>
                    <a:pt x="11027" y="5293"/>
                    <a:pt x="10807" y="5104"/>
                    <a:pt x="10618" y="5104"/>
                  </a:cubicBezTo>
                  <a:lnTo>
                    <a:pt x="5923" y="5104"/>
                  </a:lnTo>
                  <a:lnTo>
                    <a:pt x="5923" y="410"/>
                  </a:lnTo>
                  <a:cubicBezTo>
                    <a:pt x="5892" y="158"/>
                    <a:pt x="5734" y="0"/>
                    <a:pt x="5514"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9898" name="Google Shape;9898;p111"/>
            <p:cNvSpPr/>
            <p:nvPr/>
          </p:nvSpPr>
          <p:spPr>
            <a:xfrm>
              <a:off x="-64963775" y="2281350"/>
              <a:ext cx="148900" cy="148875"/>
            </a:xfrm>
            <a:custGeom>
              <a:avLst/>
              <a:gdLst/>
              <a:ahLst/>
              <a:cxnLst/>
              <a:rect l="l" t="t" r="r" b="b"/>
              <a:pathLst>
                <a:path w="5956" h="5955" extrusionOk="0">
                  <a:moveTo>
                    <a:pt x="852" y="819"/>
                  </a:moveTo>
                  <a:cubicBezTo>
                    <a:pt x="3088" y="1008"/>
                    <a:pt x="4884" y="2836"/>
                    <a:pt x="5105" y="5073"/>
                  </a:cubicBezTo>
                  <a:lnTo>
                    <a:pt x="852" y="5073"/>
                  </a:lnTo>
                  <a:lnTo>
                    <a:pt x="852" y="819"/>
                  </a:lnTo>
                  <a:close/>
                  <a:moveTo>
                    <a:pt x="442" y="0"/>
                  </a:moveTo>
                  <a:cubicBezTo>
                    <a:pt x="221" y="0"/>
                    <a:pt x="1" y="189"/>
                    <a:pt x="1" y="441"/>
                  </a:cubicBezTo>
                  <a:lnTo>
                    <a:pt x="1" y="5514"/>
                  </a:lnTo>
                  <a:cubicBezTo>
                    <a:pt x="1" y="5734"/>
                    <a:pt x="221" y="5955"/>
                    <a:pt x="442" y="5955"/>
                  </a:cubicBezTo>
                  <a:lnTo>
                    <a:pt x="5514" y="5955"/>
                  </a:lnTo>
                  <a:cubicBezTo>
                    <a:pt x="5766" y="5955"/>
                    <a:pt x="5955" y="5734"/>
                    <a:pt x="5955" y="5514"/>
                  </a:cubicBezTo>
                  <a:cubicBezTo>
                    <a:pt x="5955" y="2426"/>
                    <a:pt x="3466" y="0"/>
                    <a:pt x="442"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9899" name="Google Shape;9899;p111"/>
          <p:cNvGrpSpPr/>
          <p:nvPr/>
        </p:nvGrpSpPr>
        <p:grpSpPr>
          <a:xfrm>
            <a:off x="1143419" y="3316009"/>
            <a:ext cx="479837" cy="489553"/>
            <a:chOff x="-65129950" y="2646800"/>
            <a:chExt cx="311125" cy="317425"/>
          </a:xfrm>
        </p:grpSpPr>
        <p:sp>
          <p:nvSpPr>
            <p:cNvPr id="9900" name="Google Shape;9900;p111"/>
            <p:cNvSpPr/>
            <p:nvPr/>
          </p:nvSpPr>
          <p:spPr>
            <a:xfrm>
              <a:off x="-65129950" y="2646800"/>
              <a:ext cx="311125" cy="317425"/>
            </a:xfrm>
            <a:custGeom>
              <a:avLst/>
              <a:gdLst/>
              <a:ahLst/>
              <a:cxnLst/>
              <a:rect l="l" t="t" r="r" b="b"/>
              <a:pathLst>
                <a:path w="12445" h="12697" extrusionOk="0">
                  <a:moveTo>
                    <a:pt x="6648" y="851"/>
                  </a:moveTo>
                  <a:lnTo>
                    <a:pt x="6648" y="1954"/>
                  </a:lnTo>
                  <a:lnTo>
                    <a:pt x="5860" y="1954"/>
                  </a:lnTo>
                  <a:lnTo>
                    <a:pt x="5860" y="851"/>
                  </a:lnTo>
                  <a:close/>
                  <a:moveTo>
                    <a:pt x="1261" y="1954"/>
                  </a:moveTo>
                  <a:cubicBezTo>
                    <a:pt x="1355" y="1954"/>
                    <a:pt x="1450" y="1985"/>
                    <a:pt x="1544" y="2080"/>
                  </a:cubicBezTo>
                  <a:cubicBezTo>
                    <a:pt x="1733" y="2237"/>
                    <a:pt x="1733" y="2521"/>
                    <a:pt x="1576" y="2678"/>
                  </a:cubicBezTo>
                  <a:cubicBezTo>
                    <a:pt x="1497" y="2757"/>
                    <a:pt x="1387" y="2797"/>
                    <a:pt x="1276" y="2797"/>
                  </a:cubicBezTo>
                  <a:cubicBezTo>
                    <a:pt x="1166" y="2797"/>
                    <a:pt x="1056" y="2757"/>
                    <a:pt x="977" y="2678"/>
                  </a:cubicBezTo>
                  <a:cubicBezTo>
                    <a:pt x="819" y="2521"/>
                    <a:pt x="819" y="2237"/>
                    <a:pt x="977" y="2080"/>
                  </a:cubicBezTo>
                  <a:cubicBezTo>
                    <a:pt x="1072" y="1985"/>
                    <a:pt x="1198" y="1954"/>
                    <a:pt x="1261" y="1954"/>
                  </a:cubicBezTo>
                  <a:close/>
                  <a:moveTo>
                    <a:pt x="11216" y="1954"/>
                  </a:moveTo>
                  <a:cubicBezTo>
                    <a:pt x="11468" y="1954"/>
                    <a:pt x="11626" y="2143"/>
                    <a:pt x="11626" y="2395"/>
                  </a:cubicBezTo>
                  <a:cubicBezTo>
                    <a:pt x="11626" y="2615"/>
                    <a:pt x="11437" y="2836"/>
                    <a:pt x="11216" y="2836"/>
                  </a:cubicBezTo>
                  <a:cubicBezTo>
                    <a:pt x="11027" y="2836"/>
                    <a:pt x="10807" y="2615"/>
                    <a:pt x="10807" y="2395"/>
                  </a:cubicBezTo>
                  <a:cubicBezTo>
                    <a:pt x="10807" y="2143"/>
                    <a:pt x="10996" y="1954"/>
                    <a:pt x="11216" y="1954"/>
                  </a:cubicBezTo>
                  <a:close/>
                  <a:moveTo>
                    <a:pt x="6270" y="2773"/>
                  </a:moveTo>
                  <a:cubicBezTo>
                    <a:pt x="8759" y="2773"/>
                    <a:pt x="10807" y="4821"/>
                    <a:pt x="10807" y="7341"/>
                  </a:cubicBezTo>
                  <a:cubicBezTo>
                    <a:pt x="10807" y="9861"/>
                    <a:pt x="8759" y="11909"/>
                    <a:pt x="6270" y="11909"/>
                  </a:cubicBezTo>
                  <a:cubicBezTo>
                    <a:pt x="3781" y="11909"/>
                    <a:pt x="1733" y="9861"/>
                    <a:pt x="1733" y="7341"/>
                  </a:cubicBezTo>
                  <a:cubicBezTo>
                    <a:pt x="1733" y="4821"/>
                    <a:pt x="3781" y="2773"/>
                    <a:pt x="6270" y="2773"/>
                  </a:cubicBezTo>
                  <a:close/>
                  <a:moveTo>
                    <a:pt x="4663" y="0"/>
                  </a:moveTo>
                  <a:cubicBezTo>
                    <a:pt x="4411" y="0"/>
                    <a:pt x="4254" y="189"/>
                    <a:pt x="4254" y="410"/>
                  </a:cubicBezTo>
                  <a:cubicBezTo>
                    <a:pt x="4254" y="662"/>
                    <a:pt x="4474" y="851"/>
                    <a:pt x="4663" y="851"/>
                  </a:cubicBezTo>
                  <a:lnTo>
                    <a:pt x="5104" y="851"/>
                  </a:lnTo>
                  <a:lnTo>
                    <a:pt x="5104" y="2111"/>
                  </a:lnTo>
                  <a:cubicBezTo>
                    <a:pt x="4254" y="2300"/>
                    <a:pt x="3466" y="2710"/>
                    <a:pt x="2836" y="3245"/>
                  </a:cubicBezTo>
                  <a:lnTo>
                    <a:pt x="2489" y="2899"/>
                  </a:lnTo>
                  <a:cubicBezTo>
                    <a:pt x="2741" y="2426"/>
                    <a:pt x="2647" y="1891"/>
                    <a:pt x="2269" y="1481"/>
                  </a:cubicBezTo>
                  <a:cubicBezTo>
                    <a:pt x="2032" y="1245"/>
                    <a:pt x="1717" y="1127"/>
                    <a:pt x="1394" y="1127"/>
                  </a:cubicBezTo>
                  <a:cubicBezTo>
                    <a:pt x="1072" y="1127"/>
                    <a:pt x="741" y="1245"/>
                    <a:pt x="473" y="1481"/>
                  </a:cubicBezTo>
                  <a:cubicBezTo>
                    <a:pt x="0" y="1954"/>
                    <a:pt x="0" y="2741"/>
                    <a:pt x="473" y="3245"/>
                  </a:cubicBezTo>
                  <a:cubicBezTo>
                    <a:pt x="725" y="3498"/>
                    <a:pt x="1040" y="3624"/>
                    <a:pt x="1355" y="3624"/>
                  </a:cubicBezTo>
                  <a:cubicBezTo>
                    <a:pt x="1544" y="3624"/>
                    <a:pt x="1702" y="3561"/>
                    <a:pt x="1891" y="3498"/>
                  </a:cubicBezTo>
                  <a:lnTo>
                    <a:pt x="2269" y="3844"/>
                  </a:lnTo>
                  <a:cubicBezTo>
                    <a:pt x="1481" y="4789"/>
                    <a:pt x="946" y="6018"/>
                    <a:pt x="946" y="7341"/>
                  </a:cubicBezTo>
                  <a:cubicBezTo>
                    <a:pt x="946" y="10303"/>
                    <a:pt x="3371" y="12697"/>
                    <a:pt x="6301" y="12697"/>
                  </a:cubicBezTo>
                  <a:cubicBezTo>
                    <a:pt x="9263" y="12697"/>
                    <a:pt x="11657" y="10303"/>
                    <a:pt x="11657" y="7341"/>
                  </a:cubicBezTo>
                  <a:cubicBezTo>
                    <a:pt x="11657" y="6018"/>
                    <a:pt x="11185" y="4789"/>
                    <a:pt x="10365" y="3844"/>
                  </a:cubicBezTo>
                  <a:lnTo>
                    <a:pt x="10712" y="3498"/>
                  </a:lnTo>
                  <a:cubicBezTo>
                    <a:pt x="10838" y="3561"/>
                    <a:pt x="11027" y="3624"/>
                    <a:pt x="11216" y="3624"/>
                  </a:cubicBezTo>
                  <a:cubicBezTo>
                    <a:pt x="11909" y="3624"/>
                    <a:pt x="12445" y="3056"/>
                    <a:pt x="12445" y="2363"/>
                  </a:cubicBezTo>
                  <a:cubicBezTo>
                    <a:pt x="12445" y="1670"/>
                    <a:pt x="11909" y="1135"/>
                    <a:pt x="11216" y="1135"/>
                  </a:cubicBezTo>
                  <a:cubicBezTo>
                    <a:pt x="10555" y="1135"/>
                    <a:pt x="10019" y="1670"/>
                    <a:pt x="10019" y="2363"/>
                  </a:cubicBezTo>
                  <a:cubicBezTo>
                    <a:pt x="10019" y="2552"/>
                    <a:pt x="10050" y="2710"/>
                    <a:pt x="10113" y="2899"/>
                  </a:cubicBezTo>
                  <a:lnTo>
                    <a:pt x="9767" y="3245"/>
                  </a:lnTo>
                  <a:cubicBezTo>
                    <a:pt x="9137" y="2710"/>
                    <a:pt x="8349" y="2300"/>
                    <a:pt x="7530" y="2111"/>
                  </a:cubicBezTo>
                  <a:lnTo>
                    <a:pt x="7530" y="851"/>
                  </a:lnTo>
                  <a:lnTo>
                    <a:pt x="7971" y="851"/>
                  </a:lnTo>
                  <a:cubicBezTo>
                    <a:pt x="8192" y="851"/>
                    <a:pt x="8349" y="662"/>
                    <a:pt x="8349" y="410"/>
                  </a:cubicBezTo>
                  <a:cubicBezTo>
                    <a:pt x="8349" y="189"/>
                    <a:pt x="8160" y="0"/>
                    <a:pt x="7971"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9901" name="Google Shape;9901;p111"/>
            <p:cNvSpPr/>
            <p:nvPr/>
          </p:nvSpPr>
          <p:spPr>
            <a:xfrm>
              <a:off x="-65066950" y="2738175"/>
              <a:ext cx="187475" cy="185100"/>
            </a:xfrm>
            <a:custGeom>
              <a:avLst/>
              <a:gdLst/>
              <a:ahLst/>
              <a:cxnLst/>
              <a:rect l="l" t="t" r="r" b="b"/>
              <a:pathLst>
                <a:path w="7499" h="7404" extrusionOk="0">
                  <a:moveTo>
                    <a:pt x="3309" y="819"/>
                  </a:moveTo>
                  <a:lnTo>
                    <a:pt x="3309" y="3686"/>
                  </a:lnTo>
                  <a:cubicBezTo>
                    <a:pt x="3309" y="3938"/>
                    <a:pt x="3498" y="4127"/>
                    <a:pt x="3718" y="4127"/>
                  </a:cubicBezTo>
                  <a:lnTo>
                    <a:pt x="6612" y="4127"/>
                  </a:lnTo>
                  <a:cubicBezTo>
                    <a:pt x="6410" y="5529"/>
                    <a:pt x="5188" y="6585"/>
                    <a:pt x="3750" y="6585"/>
                  </a:cubicBezTo>
                  <a:cubicBezTo>
                    <a:pt x="2143" y="6585"/>
                    <a:pt x="820" y="5261"/>
                    <a:pt x="820" y="3686"/>
                  </a:cubicBezTo>
                  <a:cubicBezTo>
                    <a:pt x="820" y="2237"/>
                    <a:pt x="1891" y="1008"/>
                    <a:pt x="3309" y="819"/>
                  </a:cubicBezTo>
                  <a:close/>
                  <a:moveTo>
                    <a:pt x="3750" y="0"/>
                  </a:moveTo>
                  <a:cubicBezTo>
                    <a:pt x="1702" y="0"/>
                    <a:pt x="1" y="1638"/>
                    <a:pt x="1" y="3686"/>
                  </a:cubicBezTo>
                  <a:cubicBezTo>
                    <a:pt x="1" y="5734"/>
                    <a:pt x="1671" y="7404"/>
                    <a:pt x="3750" y="7404"/>
                  </a:cubicBezTo>
                  <a:cubicBezTo>
                    <a:pt x="5798" y="7404"/>
                    <a:pt x="7499" y="5734"/>
                    <a:pt x="7499" y="3686"/>
                  </a:cubicBezTo>
                  <a:cubicBezTo>
                    <a:pt x="7499" y="3466"/>
                    <a:pt x="7278" y="3277"/>
                    <a:pt x="7058" y="3277"/>
                  </a:cubicBezTo>
                  <a:lnTo>
                    <a:pt x="4128" y="3277"/>
                  </a:lnTo>
                  <a:lnTo>
                    <a:pt x="4128" y="378"/>
                  </a:lnTo>
                  <a:cubicBezTo>
                    <a:pt x="4128" y="158"/>
                    <a:pt x="3939" y="0"/>
                    <a:pt x="3750"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9902" name="Google Shape;9902;p111"/>
          <p:cNvGrpSpPr/>
          <p:nvPr/>
        </p:nvGrpSpPr>
        <p:grpSpPr>
          <a:xfrm>
            <a:off x="4081197" y="2053776"/>
            <a:ext cx="491983" cy="492021"/>
            <a:chOff x="-63252250" y="1930850"/>
            <a:chExt cx="319000" cy="319025"/>
          </a:xfrm>
        </p:grpSpPr>
        <p:sp>
          <p:nvSpPr>
            <p:cNvPr id="9903" name="Google Shape;9903;p111"/>
            <p:cNvSpPr/>
            <p:nvPr/>
          </p:nvSpPr>
          <p:spPr>
            <a:xfrm>
              <a:off x="-63252250" y="1930850"/>
              <a:ext cx="319000" cy="319025"/>
            </a:xfrm>
            <a:custGeom>
              <a:avLst/>
              <a:gdLst/>
              <a:ahLst/>
              <a:cxnLst/>
              <a:rect l="l" t="t" r="r" b="b"/>
              <a:pathLst>
                <a:path w="12760" h="12761" extrusionOk="0">
                  <a:moveTo>
                    <a:pt x="7026" y="914"/>
                  </a:moveTo>
                  <a:lnTo>
                    <a:pt x="7026" y="1954"/>
                  </a:lnTo>
                  <a:cubicBezTo>
                    <a:pt x="7026" y="2174"/>
                    <a:pt x="7120" y="2332"/>
                    <a:pt x="7341" y="2363"/>
                  </a:cubicBezTo>
                  <a:cubicBezTo>
                    <a:pt x="7813" y="2489"/>
                    <a:pt x="8286" y="2647"/>
                    <a:pt x="8664" y="2899"/>
                  </a:cubicBezTo>
                  <a:cubicBezTo>
                    <a:pt x="8733" y="2954"/>
                    <a:pt x="8820" y="2979"/>
                    <a:pt x="8905" y="2979"/>
                  </a:cubicBezTo>
                  <a:cubicBezTo>
                    <a:pt x="9012" y="2979"/>
                    <a:pt x="9115" y="2938"/>
                    <a:pt x="9168" y="2868"/>
                  </a:cubicBezTo>
                  <a:lnTo>
                    <a:pt x="9924" y="2111"/>
                  </a:lnTo>
                  <a:lnTo>
                    <a:pt x="10712" y="2899"/>
                  </a:lnTo>
                  <a:lnTo>
                    <a:pt x="9956" y="3655"/>
                  </a:lnTo>
                  <a:cubicBezTo>
                    <a:pt x="9861" y="3781"/>
                    <a:pt x="9798" y="4002"/>
                    <a:pt x="9924" y="4159"/>
                  </a:cubicBezTo>
                  <a:cubicBezTo>
                    <a:pt x="10208" y="4600"/>
                    <a:pt x="10397" y="5041"/>
                    <a:pt x="10460" y="5514"/>
                  </a:cubicBezTo>
                  <a:cubicBezTo>
                    <a:pt x="10523" y="5703"/>
                    <a:pt x="10680" y="5829"/>
                    <a:pt x="10869" y="5829"/>
                  </a:cubicBezTo>
                  <a:lnTo>
                    <a:pt x="11941" y="5829"/>
                  </a:lnTo>
                  <a:lnTo>
                    <a:pt x="11941" y="6932"/>
                  </a:lnTo>
                  <a:lnTo>
                    <a:pt x="10869" y="6932"/>
                  </a:lnTo>
                  <a:cubicBezTo>
                    <a:pt x="10680" y="6932"/>
                    <a:pt x="10523" y="7058"/>
                    <a:pt x="10460" y="7247"/>
                  </a:cubicBezTo>
                  <a:cubicBezTo>
                    <a:pt x="10365" y="7719"/>
                    <a:pt x="10208" y="8192"/>
                    <a:pt x="9924" y="8570"/>
                  </a:cubicBezTo>
                  <a:cubicBezTo>
                    <a:pt x="9798" y="8727"/>
                    <a:pt x="9861" y="8979"/>
                    <a:pt x="9956" y="9105"/>
                  </a:cubicBezTo>
                  <a:lnTo>
                    <a:pt x="10712" y="9830"/>
                  </a:lnTo>
                  <a:lnTo>
                    <a:pt x="9924" y="10618"/>
                  </a:lnTo>
                  <a:lnTo>
                    <a:pt x="9168" y="9893"/>
                  </a:lnTo>
                  <a:cubicBezTo>
                    <a:pt x="9111" y="9817"/>
                    <a:pt x="8996" y="9775"/>
                    <a:pt x="8879" y="9775"/>
                  </a:cubicBezTo>
                  <a:cubicBezTo>
                    <a:pt x="8803" y="9775"/>
                    <a:pt x="8726" y="9793"/>
                    <a:pt x="8664" y="9830"/>
                  </a:cubicBezTo>
                  <a:cubicBezTo>
                    <a:pt x="8223" y="10114"/>
                    <a:pt x="7813" y="10303"/>
                    <a:pt x="7341" y="10397"/>
                  </a:cubicBezTo>
                  <a:cubicBezTo>
                    <a:pt x="7120" y="10429"/>
                    <a:pt x="7026" y="10586"/>
                    <a:pt x="7026" y="10775"/>
                  </a:cubicBezTo>
                  <a:lnTo>
                    <a:pt x="7026" y="11846"/>
                  </a:lnTo>
                  <a:lnTo>
                    <a:pt x="5923" y="11846"/>
                  </a:lnTo>
                  <a:lnTo>
                    <a:pt x="5923" y="10775"/>
                  </a:lnTo>
                  <a:cubicBezTo>
                    <a:pt x="5923" y="10586"/>
                    <a:pt x="5797" y="10429"/>
                    <a:pt x="5577" y="10397"/>
                  </a:cubicBezTo>
                  <a:cubicBezTo>
                    <a:pt x="5135" y="10271"/>
                    <a:pt x="4663" y="10114"/>
                    <a:pt x="4253" y="9830"/>
                  </a:cubicBezTo>
                  <a:cubicBezTo>
                    <a:pt x="4191" y="9793"/>
                    <a:pt x="4119" y="9775"/>
                    <a:pt x="4047" y="9775"/>
                  </a:cubicBezTo>
                  <a:cubicBezTo>
                    <a:pt x="3937" y="9775"/>
                    <a:pt x="3826" y="9817"/>
                    <a:pt x="3749" y="9893"/>
                  </a:cubicBezTo>
                  <a:lnTo>
                    <a:pt x="2993" y="10618"/>
                  </a:lnTo>
                  <a:lnTo>
                    <a:pt x="2206" y="9830"/>
                  </a:lnTo>
                  <a:lnTo>
                    <a:pt x="2962" y="9105"/>
                  </a:lnTo>
                  <a:cubicBezTo>
                    <a:pt x="3088" y="8979"/>
                    <a:pt x="3119" y="8727"/>
                    <a:pt x="2993" y="8570"/>
                  </a:cubicBezTo>
                  <a:cubicBezTo>
                    <a:pt x="2710" y="8160"/>
                    <a:pt x="2521" y="7719"/>
                    <a:pt x="2458" y="7247"/>
                  </a:cubicBezTo>
                  <a:cubicBezTo>
                    <a:pt x="2395" y="7058"/>
                    <a:pt x="2237" y="6932"/>
                    <a:pt x="2048" y="6932"/>
                  </a:cubicBezTo>
                  <a:lnTo>
                    <a:pt x="977" y="6932"/>
                  </a:lnTo>
                  <a:lnTo>
                    <a:pt x="977" y="5829"/>
                  </a:lnTo>
                  <a:lnTo>
                    <a:pt x="2048" y="5829"/>
                  </a:lnTo>
                  <a:cubicBezTo>
                    <a:pt x="2237" y="5829"/>
                    <a:pt x="2395" y="5703"/>
                    <a:pt x="2458" y="5514"/>
                  </a:cubicBezTo>
                  <a:cubicBezTo>
                    <a:pt x="2552" y="5041"/>
                    <a:pt x="2710" y="4569"/>
                    <a:pt x="2993" y="4159"/>
                  </a:cubicBezTo>
                  <a:cubicBezTo>
                    <a:pt x="3119" y="4002"/>
                    <a:pt x="3088" y="3781"/>
                    <a:pt x="2962" y="3655"/>
                  </a:cubicBezTo>
                  <a:lnTo>
                    <a:pt x="2206" y="2899"/>
                  </a:lnTo>
                  <a:lnTo>
                    <a:pt x="2993" y="2111"/>
                  </a:lnTo>
                  <a:lnTo>
                    <a:pt x="3749" y="2868"/>
                  </a:lnTo>
                  <a:cubicBezTo>
                    <a:pt x="3820" y="2938"/>
                    <a:pt x="3921" y="2979"/>
                    <a:pt x="4023" y="2979"/>
                  </a:cubicBezTo>
                  <a:cubicBezTo>
                    <a:pt x="4103" y="2979"/>
                    <a:pt x="4184" y="2954"/>
                    <a:pt x="4253" y="2899"/>
                  </a:cubicBezTo>
                  <a:cubicBezTo>
                    <a:pt x="4694" y="2647"/>
                    <a:pt x="5135" y="2426"/>
                    <a:pt x="5577" y="2363"/>
                  </a:cubicBezTo>
                  <a:cubicBezTo>
                    <a:pt x="5797" y="2332"/>
                    <a:pt x="5923" y="2174"/>
                    <a:pt x="5923" y="1954"/>
                  </a:cubicBezTo>
                  <a:lnTo>
                    <a:pt x="5923" y="914"/>
                  </a:lnTo>
                  <a:close/>
                  <a:moveTo>
                    <a:pt x="5829" y="1"/>
                  </a:moveTo>
                  <a:cubicBezTo>
                    <a:pt x="5356" y="1"/>
                    <a:pt x="5009" y="347"/>
                    <a:pt x="5009" y="820"/>
                  </a:cubicBezTo>
                  <a:lnTo>
                    <a:pt x="5009" y="1576"/>
                  </a:lnTo>
                  <a:cubicBezTo>
                    <a:pt x="4631" y="1702"/>
                    <a:pt x="4285" y="1796"/>
                    <a:pt x="3970" y="2017"/>
                  </a:cubicBezTo>
                  <a:lnTo>
                    <a:pt x="3466" y="1481"/>
                  </a:lnTo>
                  <a:cubicBezTo>
                    <a:pt x="3308" y="1324"/>
                    <a:pt x="3103" y="1245"/>
                    <a:pt x="2891" y="1245"/>
                  </a:cubicBezTo>
                  <a:cubicBezTo>
                    <a:pt x="2678" y="1245"/>
                    <a:pt x="2458" y="1324"/>
                    <a:pt x="2269" y="1481"/>
                  </a:cubicBezTo>
                  <a:lnTo>
                    <a:pt x="1481" y="2269"/>
                  </a:lnTo>
                  <a:cubicBezTo>
                    <a:pt x="1166" y="2584"/>
                    <a:pt x="1166" y="3120"/>
                    <a:pt x="1481" y="3466"/>
                  </a:cubicBezTo>
                  <a:lnTo>
                    <a:pt x="2017" y="3970"/>
                  </a:lnTo>
                  <a:cubicBezTo>
                    <a:pt x="1796" y="4285"/>
                    <a:pt x="1701" y="4632"/>
                    <a:pt x="1575" y="5010"/>
                  </a:cubicBezTo>
                  <a:lnTo>
                    <a:pt x="819" y="5010"/>
                  </a:lnTo>
                  <a:cubicBezTo>
                    <a:pt x="347" y="5010"/>
                    <a:pt x="0" y="5356"/>
                    <a:pt x="0" y="5829"/>
                  </a:cubicBezTo>
                  <a:lnTo>
                    <a:pt x="0" y="6932"/>
                  </a:lnTo>
                  <a:cubicBezTo>
                    <a:pt x="0" y="7404"/>
                    <a:pt x="347" y="7751"/>
                    <a:pt x="819" y="7751"/>
                  </a:cubicBezTo>
                  <a:lnTo>
                    <a:pt x="1575" y="7751"/>
                  </a:lnTo>
                  <a:cubicBezTo>
                    <a:pt x="1701" y="8097"/>
                    <a:pt x="1796" y="8475"/>
                    <a:pt x="2017" y="8759"/>
                  </a:cubicBezTo>
                  <a:lnTo>
                    <a:pt x="1481" y="9295"/>
                  </a:lnTo>
                  <a:cubicBezTo>
                    <a:pt x="1166" y="9610"/>
                    <a:pt x="1166" y="10114"/>
                    <a:pt x="1481" y="10460"/>
                  </a:cubicBezTo>
                  <a:lnTo>
                    <a:pt x="2269" y="11248"/>
                  </a:lnTo>
                  <a:cubicBezTo>
                    <a:pt x="2426" y="11405"/>
                    <a:pt x="2639" y="11484"/>
                    <a:pt x="2855" y="11484"/>
                  </a:cubicBezTo>
                  <a:cubicBezTo>
                    <a:pt x="3072" y="11484"/>
                    <a:pt x="3292" y="11405"/>
                    <a:pt x="3466" y="11248"/>
                  </a:cubicBezTo>
                  <a:lnTo>
                    <a:pt x="3970" y="10744"/>
                  </a:lnTo>
                  <a:cubicBezTo>
                    <a:pt x="4285" y="10933"/>
                    <a:pt x="4631" y="11059"/>
                    <a:pt x="5009" y="11185"/>
                  </a:cubicBezTo>
                  <a:lnTo>
                    <a:pt x="5009" y="11909"/>
                  </a:lnTo>
                  <a:cubicBezTo>
                    <a:pt x="5009" y="12382"/>
                    <a:pt x="5356" y="12760"/>
                    <a:pt x="5829" y="12760"/>
                  </a:cubicBezTo>
                  <a:lnTo>
                    <a:pt x="6931" y="12760"/>
                  </a:lnTo>
                  <a:cubicBezTo>
                    <a:pt x="7404" y="12760"/>
                    <a:pt x="7750" y="12382"/>
                    <a:pt x="7750" y="11909"/>
                  </a:cubicBezTo>
                  <a:lnTo>
                    <a:pt x="7750" y="11185"/>
                  </a:lnTo>
                  <a:cubicBezTo>
                    <a:pt x="8097" y="11059"/>
                    <a:pt x="8475" y="10933"/>
                    <a:pt x="8790" y="10744"/>
                  </a:cubicBezTo>
                  <a:lnTo>
                    <a:pt x="9294" y="11248"/>
                  </a:lnTo>
                  <a:cubicBezTo>
                    <a:pt x="9452" y="11405"/>
                    <a:pt x="9656" y="11484"/>
                    <a:pt x="9865" y="11484"/>
                  </a:cubicBezTo>
                  <a:cubicBezTo>
                    <a:pt x="10074" y="11484"/>
                    <a:pt x="10287" y="11405"/>
                    <a:pt x="10460" y="11248"/>
                  </a:cubicBezTo>
                  <a:lnTo>
                    <a:pt x="11247" y="10460"/>
                  </a:lnTo>
                  <a:cubicBezTo>
                    <a:pt x="11563" y="10145"/>
                    <a:pt x="11563" y="9641"/>
                    <a:pt x="11247" y="9295"/>
                  </a:cubicBezTo>
                  <a:lnTo>
                    <a:pt x="10743" y="8759"/>
                  </a:lnTo>
                  <a:cubicBezTo>
                    <a:pt x="10932" y="8444"/>
                    <a:pt x="11058" y="8097"/>
                    <a:pt x="11184" y="7751"/>
                  </a:cubicBezTo>
                  <a:lnTo>
                    <a:pt x="11941" y="7751"/>
                  </a:lnTo>
                  <a:cubicBezTo>
                    <a:pt x="12413" y="7751"/>
                    <a:pt x="12760" y="7404"/>
                    <a:pt x="12760" y="6932"/>
                  </a:cubicBezTo>
                  <a:lnTo>
                    <a:pt x="12760" y="5829"/>
                  </a:lnTo>
                  <a:cubicBezTo>
                    <a:pt x="12760" y="5356"/>
                    <a:pt x="12350" y="5010"/>
                    <a:pt x="11941" y="5010"/>
                  </a:cubicBezTo>
                  <a:lnTo>
                    <a:pt x="11184" y="5010"/>
                  </a:lnTo>
                  <a:cubicBezTo>
                    <a:pt x="11058" y="4632"/>
                    <a:pt x="10932" y="4285"/>
                    <a:pt x="10743" y="3970"/>
                  </a:cubicBezTo>
                  <a:lnTo>
                    <a:pt x="11247" y="3466"/>
                  </a:lnTo>
                  <a:cubicBezTo>
                    <a:pt x="11563" y="3151"/>
                    <a:pt x="11563" y="2647"/>
                    <a:pt x="11247" y="2269"/>
                  </a:cubicBezTo>
                  <a:lnTo>
                    <a:pt x="10460" y="1481"/>
                  </a:lnTo>
                  <a:cubicBezTo>
                    <a:pt x="10302" y="1324"/>
                    <a:pt x="10098" y="1245"/>
                    <a:pt x="9889" y="1245"/>
                  </a:cubicBezTo>
                  <a:cubicBezTo>
                    <a:pt x="9680" y="1245"/>
                    <a:pt x="9467" y="1324"/>
                    <a:pt x="9294" y="1481"/>
                  </a:cubicBezTo>
                  <a:lnTo>
                    <a:pt x="8790" y="2017"/>
                  </a:lnTo>
                  <a:cubicBezTo>
                    <a:pt x="8475" y="1796"/>
                    <a:pt x="8097" y="1702"/>
                    <a:pt x="7750" y="1576"/>
                  </a:cubicBezTo>
                  <a:lnTo>
                    <a:pt x="7750" y="820"/>
                  </a:lnTo>
                  <a:cubicBezTo>
                    <a:pt x="7750" y="347"/>
                    <a:pt x="7404" y="1"/>
                    <a:pt x="6931"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9904" name="Google Shape;9904;p111"/>
            <p:cNvSpPr/>
            <p:nvPr/>
          </p:nvSpPr>
          <p:spPr>
            <a:xfrm>
              <a:off x="-63160900" y="2021425"/>
              <a:ext cx="137850" cy="137850"/>
            </a:xfrm>
            <a:custGeom>
              <a:avLst/>
              <a:gdLst/>
              <a:ahLst/>
              <a:cxnLst/>
              <a:rect l="l" t="t" r="r" b="b"/>
              <a:pathLst>
                <a:path w="5514" h="5514" extrusionOk="0">
                  <a:moveTo>
                    <a:pt x="2773" y="820"/>
                  </a:moveTo>
                  <a:cubicBezTo>
                    <a:pt x="3813" y="820"/>
                    <a:pt x="4695" y="1702"/>
                    <a:pt x="4695" y="2742"/>
                  </a:cubicBezTo>
                  <a:cubicBezTo>
                    <a:pt x="4695" y="3813"/>
                    <a:pt x="3813" y="4695"/>
                    <a:pt x="2773" y="4695"/>
                  </a:cubicBezTo>
                  <a:cubicBezTo>
                    <a:pt x="1702" y="4695"/>
                    <a:pt x="820" y="3813"/>
                    <a:pt x="820" y="2742"/>
                  </a:cubicBezTo>
                  <a:cubicBezTo>
                    <a:pt x="820" y="1702"/>
                    <a:pt x="1702" y="820"/>
                    <a:pt x="2773" y="820"/>
                  </a:cubicBezTo>
                  <a:close/>
                  <a:moveTo>
                    <a:pt x="2773" y="1"/>
                  </a:moveTo>
                  <a:cubicBezTo>
                    <a:pt x="1229" y="1"/>
                    <a:pt x="1" y="1198"/>
                    <a:pt x="1" y="2742"/>
                  </a:cubicBezTo>
                  <a:cubicBezTo>
                    <a:pt x="1" y="4285"/>
                    <a:pt x="1229" y="5514"/>
                    <a:pt x="2773" y="5514"/>
                  </a:cubicBezTo>
                  <a:cubicBezTo>
                    <a:pt x="4285" y="5514"/>
                    <a:pt x="5514" y="4285"/>
                    <a:pt x="5514" y="2742"/>
                  </a:cubicBezTo>
                  <a:cubicBezTo>
                    <a:pt x="5514" y="1229"/>
                    <a:pt x="4254" y="1"/>
                    <a:pt x="2773"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sp>
        <p:nvSpPr>
          <p:cNvPr id="9905" name="Google Shape;9905;p111"/>
          <p:cNvSpPr/>
          <p:nvPr/>
        </p:nvSpPr>
        <p:spPr>
          <a:xfrm>
            <a:off x="4070525" y="2694892"/>
            <a:ext cx="496495" cy="490595"/>
          </a:xfrm>
          <a:custGeom>
            <a:avLst/>
            <a:gdLst/>
            <a:ahLst/>
            <a:cxnLst/>
            <a:rect l="l" t="t" r="r" b="b"/>
            <a:pathLst>
              <a:path w="12877" h="12724" extrusionOk="0">
                <a:moveTo>
                  <a:pt x="10492" y="1603"/>
                </a:moveTo>
                <a:lnTo>
                  <a:pt x="10429" y="1855"/>
                </a:lnTo>
                <a:cubicBezTo>
                  <a:pt x="10429" y="1981"/>
                  <a:pt x="10492" y="2138"/>
                  <a:pt x="10555" y="2201"/>
                </a:cubicBezTo>
                <a:cubicBezTo>
                  <a:pt x="10649" y="2296"/>
                  <a:pt x="10807" y="2327"/>
                  <a:pt x="10901" y="2327"/>
                </a:cubicBezTo>
                <a:lnTo>
                  <a:pt x="11153" y="2296"/>
                </a:lnTo>
                <a:lnTo>
                  <a:pt x="10492" y="2957"/>
                </a:lnTo>
                <a:lnTo>
                  <a:pt x="9736" y="3083"/>
                </a:lnTo>
                <a:lnTo>
                  <a:pt x="9799" y="2296"/>
                </a:lnTo>
                <a:lnTo>
                  <a:pt x="10492" y="1603"/>
                </a:lnTo>
                <a:close/>
                <a:moveTo>
                  <a:pt x="6270" y="6108"/>
                </a:moveTo>
                <a:cubicBezTo>
                  <a:pt x="6396" y="6108"/>
                  <a:pt x="6459" y="6139"/>
                  <a:pt x="6554" y="6234"/>
                </a:cubicBezTo>
                <a:cubicBezTo>
                  <a:pt x="6617" y="6265"/>
                  <a:pt x="6648" y="6391"/>
                  <a:pt x="6648" y="6486"/>
                </a:cubicBezTo>
                <a:cubicBezTo>
                  <a:pt x="6648" y="6738"/>
                  <a:pt x="6459" y="6927"/>
                  <a:pt x="6270" y="6927"/>
                </a:cubicBezTo>
                <a:cubicBezTo>
                  <a:pt x="6081" y="6927"/>
                  <a:pt x="5861" y="6738"/>
                  <a:pt x="5861" y="6486"/>
                </a:cubicBezTo>
                <a:cubicBezTo>
                  <a:pt x="5861" y="6265"/>
                  <a:pt x="6081" y="6108"/>
                  <a:pt x="6270" y="6108"/>
                </a:cubicBezTo>
                <a:close/>
                <a:moveTo>
                  <a:pt x="6176" y="4375"/>
                </a:moveTo>
                <a:cubicBezTo>
                  <a:pt x="6617" y="4375"/>
                  <a:pt x="7026" y="4501"/>
                  <a:pt x="7341" y="4722"/>
                </a:cubicBezTo>
                <a:lnTo>
                  <a:pt x="6743" y="5320"/>
                </a:lnTo>
                <a:cubicBezTo>
                  <a:pt x="6617" y="5289"/>
                  <a:pt x="6428" y="5226"/>
                  <a:pt x="6239" y="5226"/>
                </a:cubicBezTo>
                <a:cubicBezTo>
                  <a:pt x="5546" y="5226"/>
                  <a:pt x="5010" y="5793"/>
                  <a:pt x="5010" y="6454"/>
                </a:cubicBezTo>
                <a:cubicBezTo>
                  <a:pt x="5010" y="7116"/>
                  <a:pt x="5546" y="7715"/>
                  <a:pt x="6239" y="7715"/>
                </a:cubicBezTo>
                <a:cubicBezTo>
                  <a:pt x="6900" y="7715"/>
                  <a:pt x="7467" y="7147"/>
                  <a:pt x="7467" y="6454"/>
                </a:cubicBezTo>
                <a:cubicBezTo>
                  <a:pt x="7467" y="6265"/>
                  <a:pt x="7404" y="6108"/>
                  <a:pt x="7341" y="5887"/>
                </a:cubicBezTo>
                <a:lnTo>
                  <a:pt x="7908" y="5320"/>
                </a:lnTo>
                <a:cubicBezTo>
                  <a:pt x="8160" y="5635"/>
                  <a:pt x="8286" y="6013"/>
                  <a:pt x="8286" y="6454"/>
                </a:cubicBezTo>
                <a:cubicBezTo>
                  <a:pt x="8286" y="7588"/>
                  <a:pt x="7341" y="8534"/>
                  <a:pt x="6176" y="8534"/>
                </a:cubicBezTo>
                <a:cubicBezTo>
                  <a:pt x="5041" y="8534"/>
                  <a:pt x="4096" y="7588"/>
                  <a:pt x="4096" y="6454"/>
                </a:cubicBezTo>
                <a:cubicBezTo>
                  <a:pt x="4096" y="5320"/>
                  <a:pt x="5041" y="4375"/>
                  <a:pt x="6176" y="4375"/>
                </a:cubicBezTo>
                <a:close/>
                <a:moveTo>
                  <a:pt x="6239" y="2800"/>
                </a:moveTo>
                <a:cubicBezTo>
                  <a:pt x="7089" y="2800"/>
                  <a:pt x="7908" y="3115"/>
                  <a:pt x="8539" y="3619"/>
                </a:cubicBezTo>
                <a:lnTo>
                  <a:pt x="7971" y="4217"/>
                </a:lnTo>
                <a:cubicBezTo>
                  <a:pt x="7499" y="3839"/>
                  <a:pt x="6869" y="3619"/>
                  <a:pt x="6239" y="3619"/>
                </a:cubicBezTo>
                <a:cubicBezTo>
                  <a:pt x="4600" y="3619"/>
                  <a:pt x="3309" y="4911"/>
                  <a:pt x="3309" y="6486"/>
                </a:cubicBezTo>
                <a:cubicBezTo>
                  <a:pt x="3309" y="8124"/>
                  <a:pt x="4632" y="9416"/>
                  <a:pt x="6239" y="9416"/>
                </a:cubicBezTo>
                <a:cubicBezTo>
                  <a:pt x="7845" y="9416"/>
                  <a:pt x="9137" y="8124"/>
                  <a:pt x="9137" y="6486"/>
                </a:cubicBezTo>
                <a:cubicBezTo>
                  <a:pt x="9137" y="5856"/>
                  <a:pt x="8948" y="5226"/>
                  <a:pt x="8539" y="4753"/>
                </a:cubicBezTo>
                <a:lnTo>
                  <a:pt x="9137" y="4154"/>
                </a:lnTo>
                <a:cubicBezTo>
                  <a:pt x="9641" y="4816"/>
                  <a:pt x="9956" y="5604"/>
                  <a:pt x="9956" y="6486"/>
                </a:cubicBezTo>
                <a:cubicBezTo>
                  <a:pt x="9956" y="8534"/>
                  <a:pt x="8318" y="10235"/>
                  <a:pt x="6239" y="10235"/>
                </a:cubicBezTo>
                <a:cubicBezTo>
                  <a:pt x="4191" y="10235"/>
                  <a:pt x="2490" y="8597"/>
                  <a:pt x="2490" y="6486"/>
                </a:cubicBezTo>
                <a:cubicBezTo>
                  <a:pt x="2490" y="4438"/>
                  <a:pt x="4128" y="2800"/>
                  <a:pt x="6239" y="2800"/>
                </a:cubicBezTo>
                <a:close/>
                <a:moveTo>
                  <a:pt x="6270" y="1130"/>
                </a:moveTo>
                <a:cubicBezTo>
                  <a:pt x="7247" y="1130"/>
                  <a:pt x="8223" y="1414"/>
                  <a:pt x="9074" y="1918"/>
                </a:cubicBezTo>
                <a:cubicBezTo>
                  <a:pt x="9074" y="1949"/>
                  <a:pt x="9011" y="2012"/>
                  <a:pt x="9011" y="2044"/>
                </a:cubicBezTo>
                <a:lnTo>
                  <a:pt x="8917" y="2831"/>
                </a:lnTo>
                <a:cubicBezTo>
                  <a:pt x="8160" y="2296"/>
                  <a:pt x="7247" y="1981"/>
                  <a:pt x="6270" y="1981"/>
                </a:cubicBezTo>
                <a:cubicBezTo>
                  <a:pt x="3750" y="1981"/>
                  <a:pt x="1733" y="4028"/>
                  <a:pt x="1733" y="6486"/>
                </a:cubicBezTo>
                <a:cubicBezTo>
                  <a:pt x="1733" y="9006"/>
                  <a:pt x="3781" y="11054"/>
                  <a:pt x="6270" y="11054"/>
                </a:cubicBezTo>
                <a:cubicBezTo>
                  <a:pt x="8759" y="11054"/>
                  <a:pt x="10807" y="9006"/>
                  <a:pt x="10807" y="6486"/>
                </a:cubicBezTo>
                <a:cubicBezTo>
                  <a:pt x="10807" y="5509"/>
                  <a:pt x="10492" y="4596"/>
                  <a:pt x="9925" y="3871"/>
                </a:cubicBezTo>
                <a:lnTo>
                  <a:pt x="10712" y="3745"/>
                </a:lnTo>
                <a:cubicBezTo>
                  <a:pt x="10744" y="3745"/>
                  <a:pt x="10807" y="3745"/>
                  <a:pt x="10838" y="3713"/>
                </a:cubicBezTo>
                <a:cubicBezTo>
                  <a:pt x="11342" y="4533"/>
                  <a:pt x="11626" y="5478"/>
                  <a:pt x="11626" y="6486"/>
                </a:cubicBezTo>
                <a:cubicBezTo>
                  <a:pt x="11626" y="9447"/>
                  <a:pt x="9232" y="11873"/>
                  <a:pt x="6270" y="11873"/>
                </a:cubicBezTo>
                <a:cubicBezTo>
                  <a:pt x="3309" y="11873"/>
                  <a:pt x="914" y="9479"/>
                  <a:pt x="914" y="6486"/>
                </a:cubicBezTo>
                <a:cubicBezTo>
                  <a:pt x="914" y="3524"/>
                  <a:pt x="3309" y="1130"/>
                  <a:pt x="6270" y="1130"/>
                </a:cubicBezTo>
                <a:close/>
                <a:moveTo>
                  <a:pt x="11030" y="0"/>
                </a:moveTo>
                <a:cubicBezTo>
                  <a:pt x="10930" y="0"/>
                  <a:pt x="10829" y="37"/>
                  <a:pt x="10744" y="122"/>
                </a:cubicBezTo>
                <a:lnTo>
                  <a:pt x="9610" y="1256"/>
                </a:lnTo>
                <a:cubicBezTo>
                  <a:pt x="8602" y="594"/>
                  <a:pt x="7467" y="279"/>
                  <a:pt x="6239" y="279"/>
                </a:cubicBezTo>
                <a:cubicBezTo>
                  <a:pt x="2805" y="279"/>
                  <a:pt x="1" y="3020"/>
                  <a:pt x="1" y="6486"/>
                </a:cubicBezTo>
                <a:cubicBezTo>
                  <a:pt x="1" y="9920"/>
                  <a:pt x="2773" y="12724"/>
                  <a:pt x="6239" y="12724"/>
                </a:cubicBezTo>
                <a:cubicBezTo>
                  <a:pt x="9641" y="12724"/>
                  <a:pt x="12445" y="9951"/>
                  <a:pt x="12445" y="6486"/>
                </a:cubicBezTo>
                <a:cubicBezTo>
                  <a:pt x="12445" y="5289"/>
                  <a:pt x="12099" y="4123"/>
                  <a:pt x="11468" y="3115"/>
                </a:cubicBezTo>
                <a:lnTo>
                  <a:pt x="12603" y="1981"/>
                </a:lnTo>
                <a:cubicBezTo>
                  <a:pt x="12877" y="1706"/>
                  <a:pt x="12650" y="1255"/>
                  <a:pt x="12292" y="1255"/>
                </a:cubicBezTo>
                <a:cubicBezTo>
                  <a:pt x="12280" y="1255"/>
                  <a:pt x="12268" y="1255"/>
                  <a:pt x="12256" y="1256"/>
                </a:cubicBezTo>
                <a:lnTo>
                  <a:pt x="11342" y="1382"/>
                </a:lnTo>
                <a:lnTo>
                  <a:pt x="11468" y="468"/>
                </a:lnTo>
                <a:cubicBezTo>
                  <a:pt x="11491" y="203"/>
                  <a:pt x="11265" y="0"/>
                  <a:pt x="11030"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nvGrpSpPr>
          <p:cNvPr id="9906" name="Google Shape;9906;p111"/>
          <p:cNvGrpSpPr/>
          <p:nvPr/>
        </p:nvGrpSpPr>
        <p:grpSpPr>
          <a:xfrm>
            <a:off x="4082412" y="3315391"/>
            <a:ext cx="489553" cy="490788"/>
            <a:chOff x="-63250675" y="2664125"/>
            <a:chExt cx="317425" cy="318225"/>
          </a:xfrm>
        </p:grpSpPr>
        <p:sp>
          <p:nvSpPr>
            <p:cNvPr id="9907" name="Google Shape;9907;p111"/>
            <p:cNvSpPr/>
            <p:nvPr/>
          </p:nvSpPr>
          <p:spPr>
            <a:xfrm>
              <a:off x="-63250675" y="2664125"/>
              <a:ext cx="317425" cy="318225"/>
            </a:xfrm>
            <a:custGeom>
              <a:avLst/>
              <a:gdLst/>
              <a:ahLst/>
              <a:cxnLst/>
              <a:rect l="l" t="t" r="r" b="b"/>
              <a:pathLst>
                <a:path w="12697" h="12729" extrusionOk="0">
                  <a:moveTo>
                    <a:pt x="6364" y="2521"/>
                  </a:moveTo>
                  <a:cubicBezTo>
                    <a:pt x="8475" y="2521"/>
                    <a:pt x="10208" y="4254"/>
                    <a:pt x="10208" y="6396"/>
                  </a:cubicBezTo>
                  <a:cubicBezTo>
                    <a:pt x="10208" y="8507"/>
                    <a:pt x="8475" y="10240"/>
                    <a:pt x="6364" y="10240"/>
                  </a:cubicBezTo>
                  <a:cubicBezTo>
                    <a:pt x="4222" y="10240"/>
                    <a:pt x="2489" y="8507"/>
                    <a:pt x="2489" y="6396"/>
                  </a:cubicBezTo>
                  <a:cubicBezTo>
                    <a:pt x="2489" y="4254"/>
                    <a:pt x="4222" y="2521"/>
                    <a:pt x="6364" y="2521"/>
                  </a:cubicBezTo>
                  <a:close/>
                  <a:moveTo>
                    <a:pt x="6364" y="1"/>
                  </a:moveTo>
                  <a:cubicBezTo>
                    <a:pt x="6112" y="1"/>
                    <a:pt x="5923" y="190"/>
                    <a:pt x="5923" y="442"/>
                  </a:cubicBezTo>
                  <a:lnTo>
                    <a:pt x="5923" y="1702"/>
                  </a:lnTo>
                  <a:cubicBezTo>
                    <a:pt x="4946" y="1765"/>
                    <a:pt x="4033" y="2174"/>
                    <a:pt x="3308" y="2773"/>
                  </a:cubicBezTo>
                  <a:lnTo>
                    <a:pt x="2426" y="1859"/>
                  </a:lnTo>
                  <a:cubicBezTo>
                    <a:pt x="2347" y="1781"/>
                    <a:pt x="2237" y="1741"/>
                    <a:pt x="2127" y="1741"/>
                  </a:cubicBezTo>
                  <a:cubicBezTo>
                    <a:pt x="2017" y="1741"/>
                    <a:pt x="1906" y="1781"/>
                    <a:pt x="1827" y="1859"/>
                  </a:cubicBezTo>
                  <a:cubicBezTo>
                    <a:pt x="1670" y="2017"/>
                    <a:pt x="1670" y="2300"/>
                    <a:pt x="1827" y="2458"/>
                  </a:cubicBezTo>
                  <a:lnTo>
                    <a:pt x="2741" y="3340"/>
                  </a:lnTo>
                  <a:cubicBezTo>
                    <a:pt x="2143" y="4065"/>
                    <a:pt x="1733" y="4978"/>
                    <a:pt x="1670" y="5955"/>
                  </a:cubicBezTo>
                  <a:lnTo>
                    <a:pt x="410" y="5955"/>
                  </a:lnTo>
                  <a:cubicBezTo>
                    <a:pt x="158" y="5955"/>
                    <a:pt x="0" y="6144"/>
                    <a:pt x="0" y="6333"/>
                  </a:cubicBezTo>
                  <a:cubicBezTo>
                    <a:pt x="0" y="6585"/>
                    <a:pt x="221" y="6774"/>
                    <a:pt x="410" y="6774"/>
                  </a:cubicBezTo>
                  <a:lnTo>
                    <a:pt x="1670" y="6774"/>
                  </a:lnTo>
                  <a:cubicBezTo>
                    <a:pt x="1733" y="7751"/>
                    <a:pt x="2143" y="8664"/>
                    <a:pt x="2741" y="9389"/>
                  </a:cubicBezTo>
                  <a:lnTo>
                    <a:pt x="1827" y="10271"/>
                  </a:lnTo>
                  <a:cubicBezTo>
                    <a:pt x="1670" y="10429"/>
                    <a:pt x="1670" y="10712"/>
                    <a:pt x="1827" y="10870"/>
                  </a:cubicBezTo>
                  <a:cubicBezTo>
                    <a:pt x="1890" y="10964"/>
                    <a:pt x="2017" y="10996"/>
                    <a:pt x="2111" y="10996"/>
                  </a:cubicBezTo>
                  <a:cubicBezTo>
                    <a:pt x="2174" y="10996"/>
                    <a:pt x="2300" y="10964"/>
                    <a:pt x="2363" y="10870"/>
                  </a:cubicBezTo>
                  <a:lnTo>
                    <a:pt x="3277" y="9956"/>
                  </a:lnTo>
                  <a:cubicBezTo>
                    <a:pt x="4001" y="10555"/>
                    <a:pt x="4883" y="10964"/>
                    <a:pt x="5892" y="11027"/>
                  </a:cubicBezTo>
                  <a:lnTo>
                    <a:pt x="5892" y="12287"/>
                  </a:lnTo>
                  <a:cubicBezTo>
                    <a:pt x="5892" y="12508"/>
                    <a:pt x="6081" y="12729"/>
                    <a:pt x="6301" y="12729"/>
                  </a:cubicBezTo>
                  <a:cubicBezTo>
                    <a:pt x="6553" y="12729"/>
                    <a:pt x="6711" y="12508"/>
                    <a:pt x="6711" y="12287"/>
                  </a:cubicBezTo>
                  <a:lnTo>
                    <a:pt x="6711" y="11027"/>
                  </a:lnTo>
                  <a:cubicBezTo>
                    <a:pt x="7687" y="10964"/>
                    <a:pt x="8601" y="10555"/>
                    <a:pt x="9294" y="9956"/>
                  </a:cubicBezTo>
                  <a:lnTo>
                    <a:pt x="10208" y="10870"/>
                  </a:lnTo>
                  <a:cubicBezTo>
                    <a:pt x="10302" y="10964"/>
                    <a:pt x="10397" y="10996"/>
                    <a:pt x="10491" y="10996"/>
                  </a:cubicBezTo>
                  <a:cubicBezTo>
                    <a:pt x="10617" y="10996"/>
                    <a:pt x="10680" y="10964"/>
                    <a:pt x="10775" y="10870"/>
                  </a:cubicBezTo>
                  <a:cubicBezTo>
                    <a:pt x="10932" y="10712"/>
                    <a:pt x="10932" y="10429"/>
                    <a:pt x="10775" y="10271"/>
                  </a:cubicBezTo>
                  <a:lnTo>
                    <a:pt x="9861" y="9389"/>
                  </a:lnTo>
                  <a:cubicBezTo>
                    <a:pt x="10460" y="8664"/>
                    <a:pt x="10838" y="7751"/>
                    <a:pt x="10932" y="6774"/>
                  </a:cubicBezTo>
                  <a:lnTo>
                    <a:pt x="12193" y="6774"/>
                  </a:lnTo>
                  <a:cubicBezTo>
                    <a:pt x="12413" y="6774"/>
                    <a:pt x="12602" y="6585"/>
                    <a:pt x="12602" y="6333"/>
                  </a:cubicBezTo>
                  <a:cubicBezTo>
                    <a:pt x="12697" y="6144"/>
                    <a:pt x="12508" y="5955"/>
                    <a:pt x="12256" y="5955"/>
                  </a:cubicBezTo>
                  <a:lnTo>
                    <a:pt x="10995" y="5955"/>
                  </a:lnTo>
                  <a:cubicBezTo>
                    <a:pt x="10932" y="4978"/>
                    <a:pt x="10523" y="4065"/>
                    <a:pt x="9924" y="3340"/>
                  </a:cubicBezTo>
                  <a:lnTo>
                    <a:pt x="10838" y="2458"/>
                  </a:lnTo>
                  <a:cubicBezTo>
                    <a:pt x="10995" y="2300"/>
                    <a:pt x="10995" y="2017"/>
                    <a:pt x="10838" y="1859"/>
                  </a:cubicBezTo>
                  <a:cubicBezTo>
                    <a:pt x="10759" y="1781"/>
                    <a:pt x="10649" y="1741"/>
                    <a:pt x="10539" y="1741"/>
                  </a:cubicBezTo>
                  <a:cubicBezTo>
                    <a:pt x="10428" y="1741"/>
                    <a:pt x="10318" y="1781"/>
                    <a:pt x="10239" y="1859"/>
                  </a:cubicBezTo>
                  <a:lnTo>
                    <a:pt x="9357" y="2773"/>
                  </a:lnTo>
                  <a:cubicBezTo>
                    <a:pt x="8633" y="2174"/>
                    <a:pt x="7719" y="1765"/>
                    <a:pt x="6742" y="1702"/>
                  </a:cubicBezTo>
                  <a:lnTo>
                    <a:pt x="6742" y="442"/>
                  </a:lnTo>
                  <a:cubicBezTo>
                    <a:pt x="6742" y="190"/>
                    <a:pt x="6553" y="1"/>
                    <a:pt x="6364"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9908" name="Google Shape;9908;p111"/>
            <p:cNvSpPr/>
            <p:nvPr/>
          </p:nvSpPr>
          <p:spPr>
            <a:xfrm>
              <a:off x="-63167975" y="2747625"/>
              <a:ext cx="152025" cy="152025"/>
            </a:xfrm>
            <a:custGeom>
              <a:avLst/>
              <a:gdLst/>
              <a:ahLst/>
              <a:cxnLst/>
              <a:rect l="l" t="t" r="r" b="b"/>
              <a:pathLst>
                <a:path w="6081" h="6081" extrusionOk="0">
                  <a:moveTo>
                    <a:pt x="2615" y="819"/>
                  </a:moveTo>
                  <a:lnTo>
                    <a:pt x="2615" y="1701"/>
                  </a:lnTo>
                  <a:cubicBezTo>
                    <a:pt x="2521" y="1733"/>
                    <a:pt x="2458" y="1733"/>
                    <a:pt x="2363" y="1764"/>
                  </a:cubicBezTo>
                  <a:lnTo>
                    <a:pt x="1796" y="1197"/>
                  </a:lnTo>
                  <a:cubicBezTo>
                    <a:pt x="2017" y="1040"/>
                    <a:pt x="2300" y="914"/>
                    <a:pt x="2615" y="819"/>
                  </a:cubicBezTo>
                  <a:close/>
                  <a:moveTo>
                    <a:pt x="3434" y="882"/>
                  </a:moveTo>
                  <a:cubicBezTo>
                    <a:pt x="3749" y="914"/>
                    <a:pt x="4033" y="1040"/>
                    <a:pt x="4253" y="1229"/>
                  </a:cubicBezTo>
                  <a:lnTo>
                    <a:pt x="3686" y="1827"/>
                  </a:lnTo>
                  <a:cubicBezTo>
                    <a:pt x="3592" y="1796"/>
                    <a:pt x="3529" y="1733"/>
                    <a:pt x="3434" y="1733"/>
                  </a:cubicBezTo>
                  <a:lnTo>
                    <a:pt x="3434" y="882"/>
                  </a:lnTo>
                  <a:close/>
                  <a:moveTo>
                    <a:pt x="1197" y="1796"/>
                  </a:moveTo>
                  <a:lnTo>
                    <a:pt x="1796" y="2363"/>
                  </a:lnTo>
                  <a:cubicBezTo>
                    <a:pt x="1733" y="2457"/>
                    <a:pt x="1701" y="2520"/>
                    <a:pt x="1701" y="2615"/>
                  </a:cubicBezTo>
                  <a:lnTo>
                    <a:pt x="851" y="2615"/>
                  </a:lnTo>
                  <a:cubicBezTo>
                    <a:pt x="914" y="2300"/>
                    <a:pt x="1040" y="2016"/>
                    <a:pt x="1197" y="1796"/>
                  </a:cubicBezTo>
                  <a:close/>
                  <a:moveTo>
                    <a:pt x="4852" y="1796"/>
                  </a:moveTo>
                  <a:cubicBezTo>
                    <a:pt x="5010" y="2016"/>
                    <a:pt x="5136" y="2300"/>
                    <a:pt x="5199" y="2615"/>
                  </a:cubicBezTo>
                  <a:lnTo>
                    <a:pt x="4348" y="2615"/>
                  </a:lnTo>
                  <a:cubicBezTo>
                    <a:pt x="4316" y="2520"/>
                    <a:pt x="4316" y="2457"/>
                    <a:pt x="4253" y="2363"/>
                  </a:cubicBezTo>
                  <a:lnTo>
                    <a:pt x="4852" y="1796"/>
                  </a:lnTo>
                  <a:close/>
                  <a:moveTo>
                    <a:pt x="3056" y="2457"/>
                  </a:moveTo>
                  <a:cubicBezTo>
                    <a:pt x="3214" y="2457"/>
                    <a:pt x="3308" y="2520"/>
                    <a:pt x="3434" y="2615"/>
                  </a:cubicBezTo>
                  <a:cubicBezTo>
                    <a:pt x="3560" y="2741"/>
                    <a:pt x="3592" y="2836"/>
                    <a:pt x="3592" y="2993"/>
                  </a:cubicBezTo>
                  <a:cubicBezTo>
                    <a:pt x="3592" y="3151"/>
                    <a:pt x="3529" y="3308"/>
                    <a:pt x="3434" y="3403"/>
                  </a:cubicBezTo>
                  <a:cubicBezTo>
                    <a:pt x="3308" y="3529"/>
                    <a:pt x="3214" y="3560"/>
                    <a:pt x="3056" y="3560"/>
                  </a:cubicBezTo>
                  <a:cubicBezTo>
                    <a:pt x="2899" y="3560"/>
                    <a:pt x="2773" y="3466"/>
                    <a:pt x="2647" y="3403"/>
                  </a:cubicBezTo>
                  <a:cubicBezTo>
                    <a:pt x="2521" y="3277"/>
                    <a:pt x="2489" y="3151"/>
                    <a:pt x="2489" y="2993"/>
                  </a:cubicBezTo>
                  <a:cubicBezTo>
                    <a:pt x="2489" y="2836"/>
                    <a:pt x="2584" y="2741"/>
                    <a:pt x="2647" y="2615"/>
                  </a:cubicBezTo>
                  <a:cubicBezTo>
                    <a:pt x="2773" y="2489"/>
                    <a:pt x="2899" y="2457"/>
                    <a:pt x="3056" y="2457"/>
                  </a:cubicBezTo>
                  <a:close/>
                  <a:moveTo>
                    <a:pt x="1733" y="3434"/>
                  </a:moveTo>
                  <a:cubicBezTo>
                    <a:pt x="1796" y="3529"/>
                    <a:pt x="1796" y="3592"/>
                    <a:pt x="1828" y="3686"/>
                  </a:cubicBezTo>
                  <a:lnTo>
                    <a:pt x="1229" y="4253"/>
                  </a:lnTo>
                  <a:cubicBezTo>
                    <a:pt x="1040" y="4033"/>
                    <a:pt x="914" y="3749"/>
                    <a:pt x="882" y="3434"/>
                  </a:cubicBezTo>
                  <a:close/>
                  <a:moveTo>
                    <a:pt x="5199" y="3434"/>
                  </a:moveTo>
                  <a:cubicBezTo>
                    <a:pt x="5136" y="3749"/>
                    <a:pt x="5010" y="4033"/>
                    <a:pt x="4852" y="4253"/>
                  </a:cubicBezTo>
                  <a:lnTo>
                    <a:pt x="4253" y="3686"/>
                  </a:lnTo>
                  <a:cubicBezTo>
                    <a:pt x="4316" y="3592"/>
                    <a:pt x="4348" y="3529"/>
                    <a:pt x="4348" y="3434"/>
                  </a:cubicBezTo>
                  <a:close/>
                  <a:moveTo>
                    <a:pt x="2363" y="4253"/>
                  </a:moveTo>
                  <a:cubicBezTo>
                    <a:pt x="2458" y="4316"/>
                    <a:pt x="2521" y="4348"/>
                    <a:pt x="2615" y="4348"/>
                  </a:cubicBezTo>
                  <a:lnTo>
                    <a:pt x="2615" y="5198"/>
                  </a:lnTo>
                  <a:cubicBezTo>
                    <a:pt x="2300" y="5167"/>
                    <a:pt x="2017" y="5041"/>
                    <a:pt x="1796" y="4852"/>
                  </a:cubicBezTo>
                  <a:lnTo>
                    <a:pt x="2363" y="4253"/>
                  </a:lnTo>
                  <a:close/>
                  <a:moveTo>
                    <a:pt x="3686" y="4253"/>
                  </a:moveTo>
                  <a:lnTo>
                    <a:pt x="4253" y="4852"/>
                  </a:lnTo>
                  <a:cubicBezTo>
                    <a:pt x="4033" y="5009"/>
                    <a:pt x="3749" y="5135"/>
                    <a:pt x="3434" y="5198"/>
                  </a:cubicBezTo>
                  <a:lnTo>
                    <a:pt x="3434" y="4348"/>
                  </a:lnTo>
                  <a:cubicBezTo>
                    <a:pt x="3529" y="4316"/>
                    <a:pt x="3592" y="4316"/>
                    <a:pt x="3686" y="4253"/>
                  </a:cubicBezTo>
                  <a:close/>
                  <a:moveTo>
                    <a:pt x="3056" y="0"/>
                  </a:moveTo>
                  <a:cubicBezTo>
                    <a:pt x="1355" y="0"/>
                    <a:pt x="0" y="1386"/>
                    <a:pt x="0" y="3056"/>
                  </a:cubicBezTo>
                  <a:cubicBezTo>
                    <a:pt x="0" y="3875"/>
                    <a:pt x="315" y="4631"/>
                    <a:pt x="882" y="5167"/>
                  </a:cubicBezTo>
                  <a:cubicBezTo>
                    <a:pt x="1229" y="5608"/>
                    <a:pt x="2111" y="6081"/>
                    <a:pt x="3056" y="6081"/>
                  </a:cubicBezTo>
                  <a:cubicBezTo>
                    <a:pt x="4694" y="6081"/>
                    <a:pt x="6081" y="4726"/>
                    <a:pt x="6081" y="3056"/>
                  </a:cubicBezTo>
                  <a:cubicBezTo>
                    <a:pt x="6081" y="1355"/>
                    <a:pt x="4694" y="0"/>
                    <a:pt x="3056"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9909" name="Google Shape;9909;p111"/>
          <p:cNvGrpSpPr/>
          <p:nvPr/>
        </p:nvGrpSpPr>
        <p:grpSpPr>
          <a:xfrm>
            <a:off x="2317961" y="3950600"/>
            <a:ext cx="484696" cy="481688"/>
            <a:chOff x="-61354075" y="1940500"/>
            <a:chExt cx="314275" cy="312325"/>
          </a:xfrm>
        </p:grpSpPr>
        <p:sp>
          <p:nvSpPr>
            <p:cNvPr id="9910" name="Google Shape;9910;p111"/>
            <p:cNvSpPr/>
            <p:nvPr/>
          </p:nvSpPr>
          <p:spPr>
            <a:xfrm>
              <a:off x="-61354075" y="1940500"/>
              <a:ext cx="314275" cy="312325"/>
            </a:xfrm>
            <a:custGeom>
              <a:avLst/>
              <a:gdLst/>
              <a:ahLst/>
              <a:cxnLst/>
              <a:rect l="l" t="t" r="r" b="b"/>
              <a:pathLst>
                <a:path w="12571" h="12493" extrusionOk="0">
                  <a:moveTo>
                    <a:pt x="6270" y="1001"/>
                  </a:moveTo>
                  <a:lnTo>
                    <a:pt x="7687" y="2419"/>
                  </a:lnTo>
                  <a:cubicBezTo>
                    <a:pt x="7750" y="2482"/>
                    <a:pt x="7876" y="2513"/>
                    <a:pt x="7971" y="2513"/>
                  </a:cubicBezTo>
                  <a:lnTo>
                    <a:pt x="9956" y="2513"/>
                  </a:lnTo>
                  <a:lnTo>
                    <a:pt x="9956" y="4529"/>
                  </a:lnTo>
                  <a:cubicBezTo>
                    <a:pt x="9956" y="4655"/>
                    <a:pt x="10019" y="4718"/>
                    <a:pt x="10082" y="4813"/>
                  </a:cubicBezTo>
                  <a:lnTo>
                    <a:pt x="11499" y="6231"/>
                  </a:lnTo>
                  <a:lnTo>
                    <a:pt x="10082" y="7648"/>
                  </a:lnTo>
                  <a:cubicBezTo>
                    <a:pt x="10019" y="7711"/>
                    <a:pt x="9956" y="7837"/>
                    <a:pt x="9956" y="7900"/>
                  </a:cubicBezTo>
                  <a:lnTo>
                    <a:pt x="9956" y="9917"/>
                  </a:lnTo>
                  <a:lnTo>
                    <a:pt x="7971" y="9917"/>
                  </a:lnTo>
                  <a:cubicBezTo>
                    <a:pt x="7845" y="9917"/>
                    <a:pt x="7750" y="9948"/>
                    <a:pt x="7687" y="10043"/>
                  </a:cubicBezTo>
                  <a:lnTo>
                    <a:pt x="6270" y="11460"/>
                  </a:lnTo>
                  <a:lnTo>
                    <a:pt x="4852" y="10043"/>
                  </a:lnTo>
                  <a:cubicBezTo>
                    <a:pt x="4757" y="9948"/>
                    <a:pt x="4631" y="9917"/>
                    <a:pt x="4568" y="9917"/>
                  </a:cubicBezTo>
                  <a:lnTo>
                    <a:pt x="2552" y="9917"/>
                  </a:lnTo>
                  <a:lnTo>
                    <a:pt x="2552" y="7900"/>
                  </a:lnTo>
                  <a:cubicBezTo>
                    <a:pt x="2552" y="7806"/>
                    <a:pt x="2521" y="7711"/>
                    <a:pt x="2426" y="7648"/>
                  </a:cubicBezTo>
                  <a:lnTo>
                    <a:pt x="1008" y="6231"/>
                  </a:lnTo>
                  <a:lnTo>
                    <a:pt x="2426" y="4813"/>
                  </a:lnTo>
                  <a:cubicBezTo>
                    <a:pt x="2521" y="4718"/>
                    <a:pt x="2552" y="4624"/>
                    <a:pt x="2552" y="4529"/>
                  </a:cubicBezTo>
                  <a:lnTo>
                    <a:pt x="2552" y="2513"/>
                  </a:lnTo>
                  <a:lnTo>
                    <a:pt x="4568" y="2513"/>
                  </a:lnTo>
                  <a:cubicBezTo>
                    <a:pt x="4694" y="2513"/>
                    <a:pt x="4757" y="2482"/>
                    <a:pt x="4852" y="2419"/>
                  </a:cubicBezTo>
                  <a:lnTo>
                    <a:pt x="6270" y="1001"/>
                  </a:lnTo>
                  <a:close/>
                  <a:moveTo>
                    <a:pt x="6285" y="1"/>
                  </a:moveTo>
                  <a:cubicBezTo>
                    <a:pt x="6175" y="1"/>
                    <a:pt x="6065" y="40"/>
                    <a:pt x="5986" y="119"/>
                  </a:cubicBezTo>
                  <a:lnTo>
                    <a:pt x="4411" y="1694"/>
                  </a:lnTo>
                  <a:lnTo>
                    <a:pt x="2174" y="1694"/>
                  </a:lnTo>
                  <a:cubicBezTo>
                    <a:pt x="1922" y="1694"/>
                    <a:pt x="1733" y="1883"/>
                    <a:pt x="1733" y="2135"/>
                  </a:cubicBezTo>
                  <a:lnTo>
                    <a:pt x="1733" y="4372"/>
                  </a:lnTo>
                  <a:lnTo>
                    <a:pt x="158" y="5947"/>
                  </a:lnTo>
                  <a:cubicBezTo>
                    <a:pt x="0" y="6105"/>
                    <a:pt x="0" y="6388"/>
                    <a:pt x="158" y="6546"/>
                  </a:cubicBezTo>
                  <a:lnTo>
                    <a:pt x="1733" y="8121"/>
                  </a:lnTo>
                  <a:lnTo>
                    <a:pt x="1733" y="10358"/>
                  </a:lnTo>
                  <a:cubicBezTo>
                    <a:pt x="1733" y="10578"/>
                    <a:pt x="1922" y="10736"/>
                    <a:pt x="2174" y="10736"/>
                  </a:cubicBezTo>
                  <a:lnTo>
                    <a:pt x="4411" y="10736"/>
                  </a:lnTo>
                  <a:lnTo>
                    <a:pt x="5986" y="12374"/>
                  </a:lnTo>
                  <a:cubicBezTo>
                    <a:pt x="6065" y="12453"/>
                    <a:pt x="6175" y="12492"/>
                    <a:pt x="6285" y="12492"/>
                  </a:cubicBezTo>
                  <a:cubicBezTo>
                    <a:pt x="6396" y="12492"/>
                    <a:pt x="6506" y="12453"/>
                    <a:pt x="6585" y="12374"/>
                  </a:cubicBezTo>
                  <a:lnTo>
                    <a:pt x="8160" y="10736"/>
                  </a:lnTo>
                  <a:lnTo>
                    <a:pt x="10397" y="10736"/>
                  </a:lnTo>
                  <a:cubicBezTo>
                    <a:pt x="10617" y="10736"/>
                    <a:pt x="10775" y="10547"/>
                    <a:pt x="10775" y="10358"/>
                  </a:cubicBezTo>
                  <a:lnTo>
                    <a:pt x="10775" y="8121"/>
                  </a:lnTo>
                  <a:lnTo>
                    <a:pt x="12413" y="6546"/>
                  </a:lnTo>
                  <a:cubicBezTo>
                    <a:pt x="12571" y="6388"/>
                    <a:pt x="12571" y="6105"/>
                    <a:pt x="12413" y="5947"/>
                  </a:cubicBezTo>
                  <a:lnTo>
                    <a:pt x="10775" y="4372"/>
                  </a:lnTo>
                  <a:lnTo>
                    <a:pt x="10775" y="2135"/>
                  </a:lnTo>
                  <a:cubicBezTo>
                    <a:pt x="10775" y="1883"/>
                    <a:pt x="10586" y="1694"/>
                    <a:pt x="10397" y="1694"/>
                  </a:cubicBezTo>
                  <a:lnTo>
                    <a:pt x="8160" y="1694"/>
                  </a:lnTo>
                  <a:lnTo>
                    <a:pt x="6585" y="119"/>
                  </a:lnTo>
                  <a:cubicBezTo>
                    <a:pt x="6506" y="40"/>
                    <a:pt x="6396" y="1"/>
                    <a:pt x="6285"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9911" name="Google Shape;9911;p111"/>
            <p:cNvSpPr/>
            <p:nvPr/>
          </p:nvSpPr>
          <p:spPr>
            <a:xfrm>
              <a:off x="-61268225" y="2024575"/>
              <a:ext cx="60650" cy="61475"/>
            </a:xfrm>
            <a:custGeom>
              <a:avLst/>
              <a:gdLst/>
              <a:ahLst/>
              <a:cxnLst/>
              <a:rect l="l" t="t" r="r" b="b"/>
              <a:pathLst>
                <a:path w="2426" h="2459" extrusionOk="0">
                  <a:moveTo>
                    <a:pt x="1197" y="820"/>
                  </a:moveTo>
                  <a:cubicBezTo>
                    <a:pt x="1449" y="820"/>
                    <a:pt x="1607" y="1009"/>
                    <a:pt x="1607" y="1261"/>
                  </a:cubicBezTo>
                  <a:cubicBezTo>
                    <a:pt x="1607" y="1481"/>
                    <a:pt x="1418" y="1639"/>
                    <a:pt x="1197" y="1639"/>
                  </a:cubicBezTo>
                  <a:cubicBezTo>
                    <a:pt x="1008" y="1639"/>
                    <a:pt x="819" y="1450"/>
                    <a:pt x="819" y="1261"/>
                  </a:cubicBezTo>
                  <a:cubicBezTo>
                    <a:pt x="788" y="977"/>
                    <a:pt x="977" y="820"/>
                    <a:pt x="1197" y="820"/>
                  </a:cubicBezTo>
                  <a:close/>
                  <a:moveTo>
                    <a:pt x="1197" y="1"/>
                  </a:moveTo>
                  <a:cubicBezTo>
                    <a:pt x="536" y="1"/>
                    <a:pt x="0" y="536"/>
                    <a:pt x="0" y="1261"/>
                  </a:cubicBezTo>
                  <a:cubicBezTo>
                    <a:pt x="0" y="1954"/>
                    <a:pt x="504" y="2458"/>
                    <a:pt x="1197" y="2458"/>
                  </a:cubicBezTo>
                  <a:cubicBezTo>
                    <a:pt x="1890" y="2458"/>
                    <a:pt x="2426" y="1922"/>
                    <a:pt x="2426" y="1261"/>
                  </a:cubicBezTo>
                  <a:cubicBezTo>
                    <a:pt x="2426" y="568"/>
                    <a:pt x="1890" y="1"/>
                    <a:pt x="1197"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9912" name="Google Shape;9912;p111"/>
            <p:cNvSpPr/>
            <p:nvPr/>
          </p:nvSpPr>
          <p:spPr>
            <a:xfrm>
              <a:off x="-61187100" y="2107275"/>
              <a:ext cx="61450" cy="61475"/>
            </a:xfrm>
            <a:custGeom>
              <a:avLst/>
              <a:gdLst/>
              <a:ahLst/>
              <a:cxnLst/>
              <a:rect l="l" t="t" r="r" b="b"/>
              <a:pathLst>
                <a:path w="2458" h="2459" extrusionOk="0">
                  <a:moveTo>
                    <a:pt x="1229" y="788"/>
                  </a:moveTo>
                  <a:cubicBezTo>
                    <a:pt x="1512" y="820"/>
                    <a:pt x="1670" y="977"/>
                    <a:pt x="1670" y="1198"/>
                  </a:cubicBezTo>
                  <a:cubicBezTo>
                    <a:pt x="1670" y="1450"/>
                    <a:pt x="1481" y="1639"/>
                    <a:pt x="1229" y="1639"/>
                  </a:cubicBezTo>
                  <a:cubicBezTo>
                    <a:pt x="1008" y="1639"/>
                    <a:pt x="851" y="1450"/>
                    <a:pt x="851" y="1198"/>
                  </a:cubicBezTo>
                  <a:cubicBezTo>
                    <a:pt x="851" y="977"/>
                    <a:pt x="1040" y="788"/>
                    <a:pt x="1229" y="788"/>
                  </a:cubicBezTo>
                  <a:close/>
                  <a:moveTo>
                    <a:pt x="1229" y="1"/>
                  </a:moveTo>
                  <a:cubicBezTo>
                    <a:pt x="567" y="1"/>
                    <a:pt x="0" y="536"/>
                    <a:pt x="0" y="1198"/>
                  </a:cubicBezTo>
                  <a:cubicBezTo>
                    <a:pt x="0" y="1891"/>
                    <a:pt x="567" y="2458"/>
                    <a:pt x="1229" y="2458"/>
                  </a:cubicBezTo>
                  <a:cubicBezTo>
                    <a:pt x="1922" y="2458"/>
                    <a:pt x="2458" y="1922"/>
                    <a:pt x="2458" y="1198"/>
                  </a:cubicBezTo>
                  <a:cubicBezTo>
                    <a:pt x="2458" y="536"/>
                    <a:pt x="1922" y="1"/>
                    <a:pt x="1229"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9913" name="Google Shape;9913;p111"/>
            <p:cNvSpPr/>
            <p:nvPr/>
          </p:nvSpPr>
          <p:spPr>
            <a:xfrm>
              <a:off x="-61250125" y="2044475"/>
              <a:ext cx="105575" cy="103600"/>
            </a:xfrm>
            <a:custGeom>
              <a:avLst/>
              <a:gdLst/>
              <a:ahLst/>
              <a:cxnLst/>
              <a:rect l="l" t="t" r="r" b="b"/>
              <a:pathLst>
                <a:path w="4223" h="4144" extrusionOk="0">
                  <a:moveTo>
                    <a:pt x="3766" y="0"/>
                  </a:moveTo>
                  <a:cubicBezTo>
                    <a:pt x="3655" y="0"/>
                    <a:pt x="3545" y="40"/>
                    <a:pt x="3466" y="118"/>
                  </a:cubicBezTo>
                  <a:lnTo>
                    <a:pt x="158" y="3426"/>
                  </a:lnTo>
                  <a:cubicBezTo>
                    <a:pt x="1" y="3615"/>
                    <a:pt x="1" y="3836"/>
                    <a:pt x="158" y="4025"/>
                  </a:cubicBezTo>
                  <a:cubicBezTo>
                    <a:pt x="237" y="4104"/>
                    <a:pt x="347" y="4143"/>
                    <a:pt x="458" y="4143"/>
                  </a:cubicBezTo>
                  <a:cubicBezTo>
                    <a:pt x="568" y="4143"/>
                    <a:pt x="678" y="4104"/>
                    <a:pt x="757" y="4025"/>
                  </a:cubicBezTo>
                  <a:lnTo>
                    <a:pt x="4065" y="717"/>
                  </a:lnTo>
                  <a:cubicBezTo>
                    <a:pt x="4222" y="559"/>
                    <a:pt x="4222" y="276"/>
                    <a:pt x="4065" y="118"/>
                  </a:cubicBezTo>
                  <a:cubicBezTo>
                    <a:pt x="3986" y="40"/>
                    <a:pt x="3876" y="0"/>
                    <a:pt x="3766"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9914" name="Google Shape;9914;p111"/>
          <p:cNvGrpSpPr/>
          <p:nvPr/>
        </p:nvGrpSpPr>
        <p:grpSpPr>
          <a:xfrm>
            <a:off x="2316131" y="4548670"/>
            <a:ext cx="488359" cy="448260"/>
            <a:chOff x="-61354875" y="2322300"/>
            <a:chExt cx="316650" cy="290650"/>
          </a:xfrm>
        </p:grpSpPr>
        <p:sp>
          <p:nvSpPr>
            <p:cNvPr id="9915" name="Google Shape;9915;p111"/>
            <p:cNvSpPr/>
            <p:nvPr/>
          </p:nvSpPr>
          <p:spPr>
            <a:xfrm>
              <a:off x="-61354875" y="2322300"/>
              <a:ext cx="316650" cy="290650"/>
            </a:xfrm>
            <a:custGeom>
              <a:avLst/>
              <a:gdLst/>
              <a:ahLst/>
              <a:cxnLst/>
              <a:rect l="l" t="t" r="r" b="b"/>
              <a:pathLst>
                <a:path w="12666" h="11626" extrusionOk="0">
                  <a:moveTo>
                    <a:pt x="11405" y="788"/>
                  </a:moveTo>
                  <a:cubicBezTo>
                    <a:pt x="11657" y="788"/>
                    <a:pt x="11847" y="1009"/>
                    <a:pt x="11847" y="1229"/>
                  </a:cubicBezTo>
                  <a:lnTo>
                    <a:pt x="11847" y="10334"/>
                  </a:lnTo>
                  <a:cubicBezTo>
                    <a:pt x="11847" y="10555"/>
                    <a:pt x="11657" y="10775"/>
                    <a:pt x="11405" y="10775"/>
                  </a:cubicBezTo>
                  <a:lnTo>
                    <a:pt x="1198" y="10775"/>
                  </a:lnTo>
                  <a:cubicBezTo>
                    <a:pt x="977" y="10775"/>
                    <a:pt x="820" y="10555"/>
                    <a:pt x="820" y="10334"/>
                  </a:cubicBezTo>
                  <a:lnTo>
                    <a:pt x="820" y="1229"/>
                  </a:lnTo>
                  <a:cubicBezTo>
                    <a:pt x="820" y="1009"/>
                    <a:pt x="1009" y="788"/>
                    <a:pt x="1198" y="788"/>
                  </a:cubicBezTo>
                  <a:close/>
                  <a:moveTo>
                    <a:pt x="1198" y="0"/>
                  </a:moveTo>
                  <a:cubicBezTo>
                    <a:pt x="536" y="0"/>
                    <a:pt x="1" y="568"/>
                    <a:pt x="1" y="1261"/>
                  </a:cubicBezTo>
                  <a:lnTo>
                    <a:pt x="1" y="10366"/>
                  </a:lnTo>
                  <a:cubicBezTo>
                    <a:pt x="1" y="11027"/>
                    <a:pt x="536" y="11626"/>
                    <a:pt x="1198" y="11626"/>
                  </a:cubicBezTo>
                  <a:lnTo>
                    <a:pt x="11405" y="11626"/>
                  </a:lnTo>
                  <a:cubicBezTo>
                    <a:pt x="12067" y="11626"/>
                    <a:pt x="12666" y="11059"/>
                    <a:pt x="12666" y="10366"/>
                  </a:cubicBezTo>
                  <a:lnTo>
                    <a:pt x="12666" y="1261"/>
                  </a:lnTo>
                  <a:cubicBezTo>
                    <a:pt x="12666" y="568"/>
                    <a:pt x="12130" y="0"/>
                    <a:pt x="11405"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9916" name="Google Shape;9916;p111"/>
            <p:cNvSpPr/>
            <p:nvPr/>
          </p:nvSpPr>
          <p:spPr>
            <a:xfrm>
              <a:off x="-61313925" y="2364050"/>
              <a:ext cx="234750" cy="206375"/>
            </a:xfrm>
            <a:custGeom>
              <a:avLst/>
              <a:gdLst/>
              <a:ahLst/>
              <a:cxnLst/>
              <a:rect l="l" t="t" r="r" b="b"/>
              <a:pathLst>
                <a:path w="9390" h="8255" extrusionOk="0">
                  <a:moveTo>
                    <a:pt x="8539" y="819"/>
                  </a:moveTo>
                  <a:lnTo>
                    <a:pt x="8539" y="7435"/>
                  </a:lnTo>
                  <a:lnTo>
                    <a:pt x="820" y="7435"/>
                  </a:lnTo>
                  <a:lnTo>
                    <a:pt x="820" y="6207"/>
                  </a:lnTo>
                  <a:lnTo>
                    <a:pt x="1671" y="6207"/>
                  </a:lnTo>
                  <a:cubicBezTo>
                    <a:pt x="1891" y="6207"/>
                    <a:pt x="2080" y="6018"/>
                    <a:pt x="2080" y="5797"/>
                  </a:cubicBezTo>
                  <a:cubicBezTo>
                    <a:pt x="2080" y="5545"/>
                    <a:pt x="1891" y="5356"/>
                    <a:pt x="1671" y="5356"/>
                  </a:cubicBezTo>
                  <a:lnTo>
                    <a:pt x="820" y="5356"/>
                  </a:lnTo>
                  <a:lnTo>
                    <a:pt x="820" y="2867"/>
                  </a:lnTo>
                  <a:lnTo>
                    <a:pt x="1671" y="2867"/>
                  </a:lnTo>
                  <a:cubicBezTo>
                    <a:pt x="1891" y="2867"/>
                    <a:pt x="2080" y="2678"/>
                    <a:pt x="2080" y="2426"/>
                  </a:cubicBezTo>
                  <a:cubicBezTo>
                    <a:pt x="2080" y="2206"/>
                    <a:pt x="1891" y="2048"/>
                    <a:pt x="1671" y="2048"/>
                  </a:cubicBezTo>
                  <a:lnTo>
                    <a:pt x="820" y="2048"/>
                  </a:lnTo>
                  <a:lnTo>
                    <a:pt x="820" y="819"/>
                  </a:lnTo>
                  <a:close/>
                  <a:moveTo>
                    <a:pt x="410" y="0"/>
                  </a:moveTo>
                  <a:cubicBezTo>
                    <a:pt x="158" y="0"/>
                    <a:pt x="1" y="189"/>
                    <a:pt x="1" y="378"/>
                  </a:cubicBezTo>
                  <a:lnTo>
                    <a:pt x="1" y="7845"/>
                  </a:lnTo>
                  <a:cubicBezTo>
                    <a:pt x="1" y="8065"/>
                    <a:pt x="190" y="8255"/>
                    <a:pt x="410" y="8255"/>
                  </a:cubicBezTo>
                  <a:lnTo>
                    <a:pt x="8948" y="8255"/>
                  </a:lnTo>
                  <a:cubicBezTo>
                    <a:pt x="9169" y="8255"/>
                    <a:pt x="9326" y="8065"/>
                    <a:pt x="9326" y="7845"/>
                  </a:cubicBezTo>
                  <a:lnTo>
                    <a:pt x="9326" y="378"/>
                  </a:lnTo>
                  <a:cubicBezTo>
                    <a:pt x="9389" y="158"/>
                    <a:pt x="9169" y="0"/>
                    <a:pt x="8948"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9917" name="Google Shape;9917;p111"/>
            <p:cNvSpPr/>
            <p:nvPr/>
          </p:nvSpPr>
          <p:spPr>
            <a:xfrm>
              <a:off x="-61234375" y="2416225"/>
              <a:ext cx="104775" cy="102225"/>
            </a:xfrm>
            <a:custGeom>
              <a:avLst/>
              <a:gdLst/>
              <a:ahLst/>
              <a:cxnLst/>
              <a:rect l="l" t="t" r="r" b="b"/>
              <a:pathLst>
                <a:path w="4191" h="4089" extrusionOk="0">
                  <a:moveTo>
                    <a:pt x="2175" y="1221"/>
                  </a:moveTo>
                  <a:cubicBezTo>
                    <a:pt x="2647" y="1221"/>
                    <a:pt x="2994" y="1568"/>
                    <a:pt x="2994" y="2040"/>
                  </a:cubicBezTo>
                  <a:cubicBezTo>
                    <a:pt x="2994" y="2513"/>
                    <a:pt x="2647" y="2859"/>
                    <a:pt x="2175" y="2859"/>
                  </a:cubicBezTo>
                  <a:cubicBezTo>
                    <a:pt x="1702" y="2859"/>
                    <a:pt x="1356" y="2513"/>
                    <a:pt x="1356" y="2040"/>
                  </a:cubicBezTo>
                  <a:cubicBezTo>
                    <a:pt x="1356" y="1568"/>
                    <a:pt x="1702" y="1221"/>
                    <a:pt x="2175" y="1221"/>
                  </a:cubicBezTo>
                  <a:close/>
                  <a:moveTo>
                    <a:pt x="458" y="0"/>
                  </a:moveTo>
                  <a:cubicBezTo>
                    <a:pt x="347" y="0"/>
                    <a:pt x="237" y="40"/>
                    <a:pt x="158" y="119"/>
                  </a:cubicBezTo>
                  <a:cubicBezTo>
                    <a:pt x="1" y="276"/>
                    <a:pt x="1" y="560"/>
                    <a:pt x="158" y="717"/>
                  </a:cubicBezTo>
                  <a:lnTo>
                    <a:pt x="694" y="1221"/>
                  </a:lnTo>
                  <a:cubicBezTo>
                    <a:pt x="536" y="1442"/>
                    <a:pt x="442" y="1757"/>
                    <a:pt x="442" y="2040"/>
                  </a:cubicBezTo>
                  <a:cubicBezTo>
                    <a:pt x="442" y="2324"/>
                    <a:pt x="536" y="2639"/>
                    <a:pt x="694" y="2859"/>
                  </a:cubicBezTo>
                  <a:lnTo>
                    <a:pt x="158" y="3395"/>
                  </a:lnTo>
                  <a:cubicBezTo>
                    <a:pt x="95" y="3553"/>
                    <a:pt x="95" y="3805"/>
                    <a:pt x="253" y="3962"/>
                  </a:cubicBezTo>
                  <a:cubicBezTo>
                    <a:pt x="316" y="4057"/>
                    <a:pt x="442" y="4088"/>
                    <a:pt x="536" y="4088"/>
                  </a:cubicBezTo>
                  <a:cubicBezTo>
                    <a:pt x="631" y="4088"/>
                    <a:pt x="726" y="4057"/>
                    <a:pt x="789" y="3962"/>
                  </a:cubicBezTo>
                  <a:lnTo>
                    <a:pt x="1324" y="3458"/>
                  </a:lnTo>
                  <a:cubicBezTo>
                    <a:pt x="1545" y="3616"/>
                    <a:pt x="1860" y="3710"/>
                    <a:pt x="2143" y="3710"/>
                  </a:cubicBezTo>
                  <a:cubicBezTo>
                    <a:pt x="2427" y="3710"/>
                    <a:pt x="2742" y="3616"/>
                    <a:pt x="2962" y="3458"/>
                  </a:cubicBezTo>
                  <a:lnTo>
                    <a:pt x="3498" y="3962"/>
                  </a:lnTo>
                  <a:cubicBezTo>
                    <a:pt x="3561" y="4057"/>
                    <a:pt x="3687" y="4088"/>
                    <a:pt x="3750" y="4088"/>
                  </a:cubicBezTo>
                  <a:cubicBezTo>
                    <a:pt x="3876" y="4088"/>
                    <a:pt x="3971" y="4057"/>
                    <a:pt x="4034" y="3962"/>
                  </a:cubicBezTo>
                  <a:cubicBezTo>
                    <a:pt x="4191" y="3805"/>
                    <a:pt x="4191" y="3553"/>
                    <a:pt x="4034" y="3395"/>
                  </a:cubicBezTo>
                  <a:lnTo>
                    <a:pt x="3529" y="2859"/>
                  </a:lnTo>
                  <a:cubicBezTo>
                    <a:pt x="3687" y="2639"/>
                    <a:pt x="3750" y="2324"/>
                    <a:pt x="3750" y="2040"/>
                  </a:cubicBezTo>
                  <a:cubicBezTo>
                    <a:pt x="3750" y="1757"/>
                    <a:pt x="3687" y="1442"/>
                    <a:pt x="3529" y="1221"/>
                  </a:cubicBezTo>
                  <a:lnTo>
                    <a:pt x="4034" y="717"/>
                  </a:lnTo>
                  <a:cubicBezTo>
                    <a:pt x="4191" y="560"/>
                    <a:pt x="4191" y="276"/>
                    <a:pt x="4034" y="119"/>
                  </a:cubicBezTo>
                  <a:cubicBezTo>
                    <a:pt x="3955" y="40"/>
                    <a:pt x="3845" y="0"/>
                    <a:pt x="3734" y="0"/>
                  </a:cubicBezTo>
                  <a:cubicBezTo>
                    <a:pt x="3624" y="0"/>
                    <a:pt x="3514" y="40"/>
                    <a:pt x="3435" y="119"/>
                  </a:cubicBezTo>
                  <a:lnTo>
                    <a:pt x="2931" y="623"/>
                  </a:lnTo>
                  <a:cubicBezTo>
                    <a:pt x="2679" y="465"/>
                    <a:pt x="2395" y="402"/>
                    <a:pt x="2112" y="402"/>
                  </a:cubicBezTo>
                  <a:cubicBezTo>
                    <a:pt x="1828" y="402"/>
                    <a:pt x="1513" y="465"/>
                    <a:pt x="1261" y="623"/>
                  </a:cubicBezTo>
                  <a:lnTo>
                    <a:pt x="757" y="119"/>
                  </a:lnTo>
                  <a:cubicBezTo>
                    <a:pt x="678" y="40"/>
                    <a:pt x="568" y="0"/>
                    <a:pt x="458"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9918" name="Google Shape;9918;p111"/>
          <p:cNvGrpSpPr/>
          <p:nvPr/>
        </p:nvGrpSpPr>
        <p:grpSpPr>
          <a:xfrm>
            <a:off x="2316131" y="5118755"/>
            <a:ext cx="488359" cy="488359"/>
            <a:chOff x="-61354875" y="2671225"/>
            <a:chExt cx="316650" cy="316650"/>
          </a:xfrm>
        </p:grpSpPr>
        <p:sp>
          <p:nvSpPr>
            <p:cNvPr id="9919" name="Google Shape;9919;p111"/>
            <p:cNvSpPr/>
            <p:nvPr/>
          </p:nvSpPr>
          <p:spPr>
            <a:xfrm>
              <a:off x="-61354875" y="2671225"/>
              <a:ext cx="316650" cy="316650"/>
            </a:xfrm>
            <a:custGeom>
              <a:avLst/>
              <a:gdLst/>
              <a:ahLst/>
              <a:cxnLst/>
              <a:rect l="l" t="t" r="r" b="b"/>
              <a:pathLst>
                <a:path w="12666" h="12666" extrusionOk="0">
                  <a:moveTo>
                    <a:pt x="11405" y="1701"/>
                  </a:moveTo>
                  <a:cubicBezTo>
                    <a:pt x="11657" y="1701"/>
                    <a:pt x="11847" y="1890"/>
                    <a:pt x="11847" y="2111"/>
                  </a:cubicBezTo>
                  <a:lnTo>
                    <a:pt x="11847" y="3340"/>
                  </a:lnTo>
                  <a:lnTo>
                    <a:pt x="820" y="3340"/>
                  </a:lnTo>
                  <a:lnTo>
                    <a:pt x="820" y="2111"/>
                  </a:lnTo>
                  <a:cubicBezTo>
                    <a:pt x="820" y="1890"/>
                    <a:pt x="1009" y="1701"/>
                    <a:pt x="1198" y="1701"/>
                  </a:cubicBezTo>
                  <a:lnTo>
                    <a:pt x="1639" y="1701"/>
                  </a:lnTo>
                  <a:lnTo>
                    <a:pt x="1639" y="2111"/>
                  </a:lnTo>
                  <a:cubicBezTo>
                    <a:pt x="1639" y="2363"/>
                    <a:pt x="1828" y="2552"/>
                    <a:pt x="2048" y="2552"/>
                  </a:cubicBezTo>
                  <a:cubicBezTo>
                    <a:pt x="2237" y="2552"/>
                    <a:pt x="2427" y="2363"/>
                    <a:pt x="2427" y="2111"/>
                  </a:cubicBezTo>
                  <a:lnTo>
                    <a:pt x="2427" y="1701"/>
                  </a:lnTo>
                  <a:lnTo>
                    <a:pt x="5892" y="1701"/>
                  </a:lnTo>
                  <a:lnTo>
                    <a:pt x="5892" y="2111"/>
                  </a:lnTo>
                  <a:cubicBezTo>
                    <a:pt x="5892" y="2363"/>
                    <a:pt x="6081" y="2552"/>
                    <a:pt x="6333" y="2552"/>
                  </a:cubicBezTo>
                  <a:cubicBezTo>
                    <a:pt x="6585" y="2552"/>
                    <a:pt x="6743" y="2363"/>
                    <a:pt x="6743" y="2111"/>
                  </a:cubicBezTo>
                  <a:lnTo>
                    <a:pt x="6743" y="1701"/>
                  </a:lnTo>
                  <a:lnTo>
                    <a:pt x="10208" y="1701"/>
                  </a:lnTo>
                  <a:lnTo>
                    <a:pt x="10208" y="2111"/>
                  </a:lnTo>
                  <a:cubicBezTo>
                    <a:pt x="10208" y="2363"/>
                    <a:pt x="10397" y="2552"/>
                    <a:pt x="10618" y="2552"/>
                  </a:cubicBezTo>
                  <a:cubicBezTo>
                    <a:pt x="10870" y="2552"/>
                    <a:pt x="11027" y="2363"/>
                    <a:pt x="11027" y="2111"/>
                  </a:cubicBezTo>
                  <a:lnTo>
                    <a:pt x="11027" y="1701"/>
                  </a:lnTo>
                  <a:close/>
                  <a:moveTo>
                    <a:pt x="11878" y="4159"/>
                  </a:moveTo>
                  <a:lnTo>
                    <a:pt x="11878" y="6112"/>
                  </a:lnTo>
                  <a:lnTo>
                    <a:pt x="11847" y="6112"/>
                  </a:lnTo>
                  <a:cubicBezTo>
                    <a:pt x="11090" y="5072"/>
                    <a:pt x="9862" y="4442"/>
                    <a:pt x="8538" y="4442"/>
                  </a:cubicBezTo>
                  <a:cubicBezTo>
                    <a:pt x="6239" y="4442"/>
                    <a:pt x="4411" y="6301"/>
                    <a:pt x="4411" y="8569"/>
                  </a:cubicBezTo>
                  <a:cubicBezTo>
                    <a:pt x="4411" y="9168"/>
                    <a:pt x="4506" y="9735"/>
                    <a:pt x="4758" y="10239"/>
                  </a:cubicBezTo>
                  <a:lnTo>
                    <a:pt x="1261" y="10239"/>
                  </a:lnTo>
                  <a:cubicBezTo>
                    <a:pt x="1009" y="10239"/>
                    <a:pt x="851" y="10050"/>
                    <a:pt x="851" y="9830"/>
                  </a:cubicBezTo>
                  <a:lnTo>
                    <a:pt x="851" y="4159"/>
                  </a:lnTo>
                  <a:close/>
                  <a:moveTo>
                    <a:pt x="8538" y="5261"/>
                  </a:moveTo>
                  <a:cubicBezTo>
                    <a:pt x="10334" y="5261"/>
                    <a:pt x="11847" y="6774"/>
                    <a:pt x="11847" y="8569"/>
                  </a:cubicBezTo>
                  <a:cubicBezTo>
                    <a:pt x="11847" y="10397"/>
                    <a:pt x="10334" y="11877"/>
                    <a:pt x="8538" y="11877"/>
                  </a:cubicBezTo>
                  <a:cubicBezTo>
                    <a:pt x="6711" y="11877"/>
                    <a:pt x="5230" y="10397"/>
                    <a:pt x="5230" y="8569"/>
                  </a:cubicBezTo>
                  <a:cubicBezTo>
                    <a:pt x="5230" y="6774"/>
                    <a:pt x="6743" y="5261"/>
                    <a:pt x="8538" y="5261"/>
                  </a:cubicBezTo>
                  <a:close/>
                  <a:moveTo>
                    <a:pt x="2048" y="0"/>
                  </a:moveTo>
                  <a:cubicBezTo>
                    <a:pt x="1828" y="0"/>
                    <a:pt x="1639" y="189"/>
                    <a:pt x="1639" y="441"/>
                  </a:cubicBezTo>
                  <a:lnTo>
                    <a:pt x="1639" y="851"/>
                  </a:lnTo>
                  <a:lnTo>
                    <a:pt x="1198" y="851"/>
                  </a:lnTo>
                  <a:cubicBezTo>
                    <a:pt x="536" y="851"/>
                    <a:pt x="1" y="1418"/>
                    <a:pt x="1" y="2079"/>
                  </a:cubicBezTo>
                  <a:lnTo>
                    <a:pt x="1" y="9798"/>
                  </a:lnTo>
                  <a:cubicBezTo>
                    <a:pt x="1" y="10460"/>
                    <a:pt x="536" y="11027"/>
                    <a:pt x="1198" y="11027"/>
                  </a:cubicBezTo>
                  <a:lnTo>
                    <a:pt x="5230" y="11027"/>
                  </a:lnTo>
                  <a:cubicBezTo>
                    <a:pt x="5987" y="12003"/>
                    <a:pt x="7184" y="12665"/>
                    <a:pt x="8538" y="12665"/>
                  </a:cubicBezTo>
                  <a:cubicBezTo>
                    <a:pt x="10807" y="12665"/>
                    <a:pt x="12666" y="10838"/>
                    <a:pt x="12666" y="8538"/>
                  </a:cubicBezTo>
                  <a:lnTo>
                    <a:pt x="12666" y="2079"/>
                  </a:lnTo>
                  <a:cubicBezTo>
                    <a:pt x="12666" y="1418"/>
                    <a:pt x="12130" y="851"/>
                    <a:pt x="11405" y="851"/>
                  </a:cubicBezTo>
                  <a:lnTo>
                    <a:pt x="11027" y="851"/>
                  </a:lnTo>
                  <a:lnTo>
                    <a:pt x="11027" y="441"/>
                  </a:lnTo>
                  <a:cubicBezTo>
                    <a:pt x="11027" y="189"/>
                    <a:pt x="10807" y="0"/>
                    <a:pt x="10618" y="0"/>
                  </a:cubicBezTo>
                  <a:cubicBezTo>
                    <a:pt x="10397" y="0"/>
                    <a:pt x="10177" y="189"/>
                    <a:pt x="10177" y="441"/>
                  </a:cubicBezTo>
                  <a:lnTo>
                    <a:pt x="10177" y="851"/>
                  </a:lnTo>
                  <a:lnTo>
                    <a:pt x="6711" y="851"/>
                  </a:lnTo>
                  <a:lnTo>
                    <a:pt x="6711" y="441"/>
                  </a:lnTo>
                  <a:cubicBezTo>
                    <a:pt x="6711" y="189"/>
                    <a:pt x="6522" y="0"/>
                    <a:pt x="6333" y="0"/>
                  </a:cubicBezTo>
                  <a:cubicBezTo>
                    <a:pt x="6081" y="0"/>
                    <a:pt x="5892" y="189"/>
                    <a:pt x="5892" y="441"/>
                  </a:cubicBezTo>
                  <a:lnTo>
                    <a:pt x="5892" y="851"/>
                  </a:lnTo>
                  <a:lnTo>
                    <a:pt x="2427" y="851"/>
                  </a:lnTo>
                  <a:lnTo>
                    <a:pt x="2427" y="441"/>
                  </a:lnTo>
                  <a:cubicBezTo>
                    <a:pt x="2427" y="189"/>
                    <a:pt x="2237" y="0"/>
                    <a:pt x="2048"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9920" name="Google Shape;9920;p111"/>
            <p:cNvSpPr/>
            <p:nvPr/>
          </p:nvSpPr>
          <p:spPr>
            <a:xfrm>
              <a:off x="-61172925" y="2813775"/>
              <a:ext cx="62225" cy="145725"/>
            </a:xfrm>
            <a:custGeom>
              <a:avLst/>
              <a:gdLst/>
              <a:ahLst/>
              <a:cxnLst/>
              <a:rect l="l" t="t" r="r" b="b"/>
              <a:pathLst>
                <a:path w="2489" h="5829" extrusionOk="0">
                  <a:moveTo>
                    <a:pt x="1260" y="0"/>
                  </a:moveTo>
                  <a:cubicBezTo>
                    <a:pt x="1008" y="0"/>
                    <a:pt x="819" y="190"/>
                    <a:pt x="819" y="410"/>
                  </a:cubicBezTo>
                  <a:lnTo>
                    <a:pt x="819" y="662"/>
                  </a:lnTo>
                  <a:cubicBezTo>
                    <a:pt x="347" y="820"/>
                    <a:pt x="0" y="1292"/>
                    <a:pt x="0" y="1859"/>
                  </a:cubicBezTo>
                  <a:cubicBezTo>
                    <a:pt x="0" y="2521"/>
                    <a:pt x="536" y="2899"/>
                    <a:pt x="977" y="3245"/>
                  </a:cubicBezTo>
                  <a:cubicBezTo>
                    <a:pt x="1292" y="3466"/>
                    <a:pt x="1639" y="3687"/>
                    <a:pt x="1639" y="3939"/>
                  </a:cubicBezTo>
                  <a:cubicBezTo>
                    <a:pt x="1639" y="4191"/>
                    <a:pt x="1450" y="4380"/>
                    <a:pt x="1260" y="4380"/>
                  </a:cubicBezTo>
                  <a:cubicBezTo>
                    <a:pt x="1008" y="4380"/>
                    <a:pt x="819" y="4191"/>
                    <a:pt x="819" y="3939"/>
                  </a:cubicBezTo>
                  <a:cubicBezTo>
                    <a:pt x="819" y="3718"/>
                    <a:pt x="630" y="3498"/>
                    <a:pt x="441" y="3498"/>
                  </a:cubicBezTo>
                  <a:cubicBezTo>
                    <a:pt x="189" y="3498"/>
                    <a:pt x="0" y="3718"/>
                    <a:pt x="0" y="3939"/>
                  </a:cubicBezTo>
                  <a:cubicBezTo>
                    <a:pt x="0" y="4506"/>
                    <a:pt x="347" y="4915"/>
                    <a:pt x="819" y="5136"/>
                  </a:cubicBezTo>
                  <a:lnTo>
                    <a:pt x="819" y="5388"/>
                  </a:lnTo>
                  <a:cubicBezTo>
                    <a:pt x="819" y="5640"/>
                    <a:pt x="1008" y="5829"/>
                    <a:pt x="1260" y="5829"/>
                  </a:cubicBezTo>
                  <a:cubicBezTo>
                    <a:pt x="1481" y="5829"/>
                    <a:pt x="1639" y="5640"/>
                    <a:pt x="1639" y="5388"/>
                  </a:cubicBezTo>
                  <a:lnTo>
                    <a:pt x="1639" y="5136"/>
                  </a:lnTo>
                  <a:cubicBezTo>
                    <a:pt x="2111" y="4978"/>
                    <a:pt x="2489" y="4506"/>
                    <a:pt x="2489" y="3939"/>
                  </a:cubicBezTo>
                  <a:cubicBezTo>
                    <a:pt x="2489" y="3277"/>
                    <a:pt x="1922" y="2867"/>
                    <a:pt x="1481" y="2552"/>
                  </a:cubicBezTo>
                  <a:cubicBezTo>
                    <a:pt x="1166" y="2332"/>
                    <a:pt x="819" y="2080"/>
                    <a:pt x="819" y="1859"/>
                  </a:cubicBezTo>
                  <a:cubicBezTo>
                    <a:pt x="819" y="1607"/>
                    <a:pt x="1008" y="1418"/>
                    <a:pt x="1260" y="1418"/>
                  </a:cubicBezTo>
                  <a:cubicBezTo>
                    <a:pt x="1513" y="1418"/>
                    <a:pt x="1639" y="1607"/>
                    <a:pt x="1639" y="1859"/>
                  </a:cubicBezTo>
                  <a:cubicBezTo>
                    <a:pt x="1639" y="2080"/>
                    <a:pt x="1859" y="2269"/>
                    <a:pt x="2048" y="2269"/>
                  </a:cubicBezTo>
                  <a:cubicBezTo>
                    <a:pt x="2300" y="2269"/>
                    <a:pt x="2489" y="2080"/>
                    <a:pt x="2489" y="1859"/>
                  </a:cubicBezTo>
                  <a:cubicBezTo>
                    <a:pt x="2489" y="1292"/>
                    <a:pt x="2143" y="883"/>
                    <a:pt x="1639" y="662"/>
                  </a:cubicBezTo>
                  <a:lnTo>
                    <a:pt x="1639" y="410"/>
                  </a:lnTo>
                  <a:cubicBezTo>
                    <a:pt x="1639" y="158"/>
                    <a:pt x="1450" y="0"/>
                    <a:pt x="1260"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9921" name="Google Shape;9921;p111"/>
            <p:cNvSpPr/>
            <p:nvPr/>
          </p:nvSpPr>
          <p:spPr>
            <a:xfrm>
              <a:off x="-61313925" y="2796450"/>
              <a:ext cx="40975" cy="20500"/>
            </a:xfrm>
            <a:custGeom>
              <a:avLst/>
              <a:gdLst/>
              <a:ahLst/>
              <a:cxnLst/>
              <a:rect l="l" t="t" r="r" b="b"/>
              <a:pathLst>
                <a:path w="1639" h="820" extrusionOk="0">
                  <a:moveTo>
                    <a:pt x="410" y="0"/>
                  </a:moveTo>
                  <a:cubicBezTo>
                    <a:pt x="158" y="0"/>
                    <a:pt x="1" y="189"/>
                    <a:pt x="1" y="378"/>
                  </a:cubicBezTo>
                  <a:cubicBezTo>
                    <a:pt x="1" y="630"/>
                    <a:pt x="158" y="820"/>
                    <a:pt x="410" y="820"/>
                  </a:cubicBezTo>
                  <a:lnTo>
                    <a:pt x="1230" y="820"/>
                  </a:lnTo>
                  <a:cubicBezTo>
                    <a:pt x="1482" y="820"/>
                    <a:pt x="1639" y="630"/>
                    <a:pt x="1639" y="378"/>
                  </a:cubicBezTo>
                  <a:cubicBezTo>
                    <a:pt x="1639" y="158"/>
                    <a:pt x="1419" y="0"/>
                    <a:pt x="1230"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9922" name="Google Shape;9922;p111"/>
            <p:cNvSpPr/>
            <p:nvPr/>
          </p:nvSpPr>
          <p:spPr>
            <a:xfrm>
              <a:off x="-61313925" y="2837400"/>
              <a:ext cx="40975" cy="20500"/>
            </a:xfrm>
            <a:custGeom>
              <a:avLst/>
              <a:gdLst/>
              <a:ahLst/>
              <a:cxnLst/>
              <a:rect l="l" t="t" r="r" b="b"/>
              <a:pathLst>
                <a:path w="1639" h="820" extrusionOk="0">
                  <a:moveTo>
                    <a:pt x="410" y="1"/>
                  </a:moveTo>
                  <a:cubicBezTo>
                    <a:pt x="158" y="1"/>
                    <a:pt x="1" y="190"/>
                    <a:pt x="1" y="442"/>
                  </a:cubicBezTo>
                  <a:cubicBezTo>
                    <a:pt x="1" y="631"/>
                    <a:pt x="158" y="820"/>
                    <a:pt x="410" y="820"/>
                  </a:cubicBezTo>
                  <a:lnTo>
                    <a:pt x="1230" y="820"/>
                  </a:lnTo>
                  <a:cubicBezTo>
                    <a:pt x="1482" y="820"/>
                    <a:pt x="1639" y="631"/>
                    <a:pt x="1639" y="442"/>
                  </a:cubicBezTo>
                  <a:cubicBezTo>
                    <a:pt x="1639" y="190"/>
                    <a:pt x="1419" y="1"/>
                    <a:pt x="1230"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9923" name="Google Shape;9923;p111"/>
            <p:cNvSpPr/>
            <p:nvPr/>
          </p:nvSpPr>
          <p:spPr>
            <a:xfrm>
              <a:off x="-61313925" y="2877575"/>
              <a:ext cx="40975" cy="22075"/>
            </a:xfrm>
            <a:custGeom>
              <a:avLst/>
              <a:gdLst/>
              <a:ahLst/>
              <a:cxnLst/>
              <a:rect l="l" t="t" r="r" b="b"/>
              <a:pathLst>
                <a:path w="1639" h="883" extrusionOk="0">
                  <a:moveTo>
                    <a:pt x="410" y="0"/>
                  </a:moveTo>
                  <a:cubicBezTo>
                    <a:pt x="158" y="0"/>
                    <a:pt x="1" y="221"/>
                    <a:pt x="1" y="441"/>
                  </a:cubicBezTo>
                  <a:cubicBezTo>
                    <a:pt x="1" y="693"/>
                    <a:pt x="158" y="883"/>
                    <a:pt x="410" y="883"/>
                  </a:cubicBezTo>
                  <a:lnTo>
                    <a:pt x="1230" y="883"/>
                  </a:lnTo>
                  <a:cubicBezTo>
                    <a:pt x="1482" y="883"/>
                    <a:pt x="1639" y="693"/>
                    <a:pt x="1639" y="441"/>
                  </a:cubicBezTo>
                  <a:cubicBezTo>
                    <a:pt x="1639" y="221"/>
                    <a:pt x="1419" y="0"/>
                    <a:pt x="1230"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9924" name="Google Shape;9924;p111"/>
          <p:cNvGrpSpPr/>
          <p:nvPr/>
        </p:nvGrpSpPr>
        <p:grpSpPr>
          <a:xfrm>
            <a:off x="5270003" y="3945068"/>
            <a:ext cx="491983" cy="492755"/>
            <a:chOff x="-59502375" y="1904375"/>
            <a:chExt cx="319000" cy="319500"/>
          </a:xfrm>
        </p:grpSpPr>
        <p:sp>
          <p:nvSpPr>
            <p:cNvPr id="9925" name="Google Shape;9925;p111"/>
            <p:cNvSpPr/>
            <p:nvPr/>
          </p:nvSpPr>
          <p:spPr>
            <a:xfrm>
              <a:off x="-59455125" y="2097050"/>
              <a:ext cx="227650" cy="62225"/>
            </a:xfrm>
            <a:custGeom>
              <a:avLst/>
              <a:gdLst/>
              <a:ahLst/>
              <a:cxnLst/>
              <a:rect l="l" t="t" r="r" b="b"/>
              <a:pathLst>
                <a:path w="9106" h="2489" extrusionOk="0">
                  <a:moveTo>
                    <a:pt x="1670" y="819"/>
                  </a:moveTo>
                  <a:lnTo>
                    <a:pt x="1670" y="1670"/>
                  </a:lnTo>
                  <a:lnTo>
                    <a:pt x="820" y="1670"/>
                  </a:lnTo>
                  <a:lnTo>
                    <a:pt x="820" y="819"/>
                  </a:lnTo>
                  <a:close/>
                  <a:moveTo>
                    <a:pt x="3309" y="819"/>
                  </a:moveTo>
                  <a:lnTo>
                    <a:pt x="3309" y="1670"/>
                  </a:lnTo>
                  <a:lnTo>
                    <a:pt x="2489" y="1670"/>
                  </a:lnTo>
                  <a:lnTo>
                    <a:pt x="2489" y="819"/>
                  </a:lnTo>
                  <a:close/>
                  <a:moveTo>
                    <a:pt x="4978" y="819"/>
                  </a:moveTo>
                  <a:lnTo>
                    <a:pt x="4978" y="1670"/>
                  </a:lnTo>
                  <a:lnTo>
                    <a:pt x="4128" y="1670"/>
                  </a:lnTo>
                  <a:lnTo>
                    <a:pt x="4128" y="819"/>
                  </a:lnTo>
                  <a:close/>
                  <a:moveTo>
                    <a:pt x="6617" y="819"/>
                  </a:moveTo>
                  <a:lnTo>
                    <a:pt x="6617" y="1670"/>
                  </a:lnTo>
                  <a:lnTo>
                    <a:pt x="5798" y="1670"/>
                  </a:lnTo>
                  <a:lnTo>
                    <a:pt x="5798" y="819"/>
                  </a:lnTo>
                  <a:close/>
                  <a:moveTo>
                    <a:pt x="8286" y="819"/>
                  </a:moveTo>
                  <a:lnTo>
                    <a:pt x="8286" y="1670"/>
                  </a:lnTo>
                  <a:lnTo>
                    <a:pt x="7436" y="1670"/>
                  </a:lnTo>
                  <a:lnTo>
                    <a:pt x="7436" y="819"/>
                  </a:lnTo>
                  <a:close/>
                  <a:moveTo>
                    <a:pt x="410" y="0"/>
                  </a:moveTo>
                  <a:cubicBezTo>
                    <a:pt x="158" y="0"/>
                    <a:pt x="1" y="189"/>
                    <a:pt x="1" y="410"/>
                  </a:cubicBezTo>
                  <a:lnTo>
                    <a:pt x="1" y="2048"/>
                  </a:lnTo>
                  <a:cubicBezTo>
                    <a:pt x="1" y="2300"/>
                    <a:pt x="190" y="2489"/>
                    <a:pt x="410" y="2489"/>
                  </a:cubicBezTo>
                  <a:lnTo>
                    <a:pt x="8664" y="2489"/>
                  </a:lnTo>
                  <a:cubicBezTo>
                    <a:pt x="8917" y="2489"/>
                    <a:pt x="9106" y="2300"/>
                    <a:pt x="9106" y="2048"/>
                  </a:cubicBezTo>
                  <a:lnTo>
                    <a:pt x="9106" y="410"/>
                  </a:lnTo>
                  <a:cubicBezTo>
                    <a:pt x="9106" y="158"/>
                    <a:pt x="8917" y="0"/>
                    <a:pt x="8664"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9926" name="Google Shape;9926;p111"/>
            <p:cNvSpPr/>
            <p:nvPr/>
          </p:nvSpPr>
          <p:spPr>
            <a:xfrm>
              <a:off x="-59502375" y="1966300"/>
              <a:ext cx="319000" cy="257575"/>
            </a:xfrm>
            <a:custGeom>
              <a:avLst/>
              <a:gdLst/>
              <a:ahLst/>
              <a:cxnLst/>
              <a:rect l="l" t="t" r="r" b="b"/>
              <a:pathLst>
                <a:path w="12760" h="10303" extrusionOk="0">
                  <a:moveTo>
                    <a:pt x="8633" y="1639"/>
                  </a:moveTo>
                  <a:lnTo>
                    <a:pt x="8633" y="3592"/>
                  </a:lnTo>
                  <a:lnTo>
                    <a:pt x="7814" y="3592"/>
                  </a:lnTo>
                  <a:lnTo>
                    <a:pt x="7814" y="1639"/>
                  </a:lnTo>
                  <a:close/>
                  <a:moveTo>
                    <a:pt x="11941" y="819"/>
                  </a:moveTo>
                  <a:lnTo>
                    <a:pt x="11941" y="3592"/>
                  </a:lnTo>
                  <a:lnTo>
                    <a:pt x="11122" y="3592"/>
                  </a:lnTo>
                  <a:lnTo>
                    <a:pt x="11122" y="819"/>
                  </a:lnTo>
                  <a:close/>
                  <a:moveTo>
                    <a:pt x="5041" y="3119"/>
                  </a:moveTo>
                  <a:lnTo>
                    <a:pt x="5041" y="3970"/>
                  </a:lnTo>
                  <a:cubicBezTo>
                    <a:pt x="5041" y="4222"/>
                    <a:pt x="5230" y="4411"/>
                    <a:pt x="5482" y="4411"/>
                  </a:cubicBezTo>
                  <a:lnTo>
                    <a:pt x="11941" y="4411"/>
                  </a:lnTo>
                  <a:lnTo>
                    <a:pt x="11941" y="9357"/>
                  </a:lnTo>
                  <a:lnTo>
                    <a:pt x="914" y="9357"/>
                  </a:lnTo>
                  <a:lnTo>
                    <a:pt x="914" y="4222"/>
                  </a:lnTo>
                  <a:lnTo>
                    <a:pt x="2552" y="3119"/>
                  </a:lnTo>
                  <a:lnTo>
                    <a:pt x="2552" y="3970"/>
                  </a:lnTo>
                  <a:cubicBezTo>
                    <a:pt x="2552" y="4207"/>
                    <a:pt x="2767" y="4373"/>
                    <a:pt x="2980" y="4373"/>
                  </a:cubicBezTo>
                  <a:cubicBezTo>
                    <a:pt x="3050" y="4373"/>
                    <a:pt x="3120" y="4355"/>
                    <a:pt x="3182" y="4316"/>
                  </a:cubicBezTo>
                  <a:lnTo>
                    <a:pt x="5041" y="3119"/>
                  </a:lnTo>
                  <a:close/>
                  <a:moveTo>
                    <a:pt x="10712" y="0"/>
                  </a:moveTo>
                  <a:cubicBezTo>
                    <a:pt x="10491" y="0"/>
                    <a:pt x="10334" y="189"/>
                    <a:pt x="10334" y="441"/>
                  </a:cubicBezTo>
                  <a:lnTo>
                    <a:pt x="10334" y="3592"/>
                  </a:lnTo>
                  <a:lnTo>
                    <a:pt x="9483" y="3592"/>
                  </a:lnTo>
                  <a:lnTo>
                    <a:pt x="9483" y="1261"/>
                  </a:lnTo>
                  <a:cubicBezTo>
                    <a:pt x="9483" y="1008"/>
                    <a:pt x="9294" y="819"/>
                    <a:pt x="9074" y="819"/>
                  </a:cubicBezTo>
                  <a:lnTo>
                    <a:pt x="7404" y="819"/>
                  </a:lnTo>
                  <a:cubicBezTo>
                    <a:pt x="7183" y="819"/>
                    <a:pt x="6963" y="1008"/>
                    <a:pt x="6963" y="1261"/>
                  </a:cubicBezTo>
                  <a:lnTo>
                    <a:pt x="6963" y="3592"/>
                  </a:lnTo>
                  <a:lnTo>
                    <a:pt x="5860" y="3592"/>
                  </a:lnTo>
                  <a:lnTo>
                    <a:pt x="5860" y="2363"/>
                  </a:lnTo>
                  <a:cubicBezTo>
                    <a:pt x="5860" y="2206"/>
                    <a:pt x="5797" y="2080"/>
                    <a:pt x="5640" y="2017"/>
                  </a:cubicBezTo>
                  <a:cubicBezTo>
                    <a:pt x="5581" y="1973"/>
                    <a:pt x="5509" y="1949"/>
                    <a:pt x="5436" y="1949"/>
                  </a:cubicBezTo>
                  <a:cubicBezTo>
                    <a:pt x="5352" y="1949"/>
                    <a:pt x="5266" y="1981"/>
                    <a:pt x="5199" y="2048"/>
                  </a:cubicBezTo>
                  <a:lnTo>
                    <a:pt x="3340" y="3245"/>
                  </a:lnTo>
                  <a:lnTo>
                    <a:pt x="3340" y="2395"/>
                  </a:lnTo>
                  <a:cubicBezTo>
                    <a:pt x="3340" y="2237"/>
                    <a:pt x="3277" y="2111"/>
                    <a:pt x="3119" y="2048"/>
                  </a:cubicBezTo>
                  <a:cubicBezTo>
                    <a:pt x="3061" y="2004"/>
                    <a:pt x="2989" y="1981"/>
                    <a:pt x="2916" y="1981"/>
                  </a:cubicBezTo>
                  <a:cubicBezTo>
                    <a:pt x="2831" y="1981"/>
                    <a:pt x="2746" y="2012"/>
                    <a:pt x="2678" y="2080"/>
                  </a:cubicBezTo>
                  <a:lnTo>
                    <a:pt x="189" y="3718"/>
                  </a:lnTo>
                  <a:cubicBezTo>
                    <a:pt x="95" y="3812"/>
                    <a:pt x="0" y="3938"/>
                    <a:pt x="0" y="4096"/>
                  </a:cubicBezTo>
                  <a:lnTo>
                    <a:pt x="0" y="9861"/>
                  </a:lnTo>
                  <a:cubicBezTo>
                    <a:pt x="0" y="10113"/>
                    <a:pt x="189" y="10302"/>
                    <a:pt x="441" y="10302"/>
                  </a:cubicBezTo>
                  <a:lnTo>
                    <a:pt x="12287" y="10302"/>
                  </a:lnTo>
                  <a:cubicBezTo>
                    <a:pt x="12539" y="10302"/>
                    <a:pt x="12697" y="10113"/>
                    <a:pt x="12697" y="9861"/>
                  </a:cubicBezTo>
                  <a:lnTo>
                    <a:pt x="12697" y="504"/>
                  </a:lnTo>
                  <a:cubicBezTo>
                    <a:pt x="12760" y="158"/>
                    <a:pt x="12602" y="0"/>
                    <a:pt x="12382"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9927" name="Google Shape;9927;p111"/>
            <p:cNvSpPr/>
            <p:nvPr/>
          </p:nvSpPr>
          <p:spPr>
            <a:xfrm>
              <a:off x="-59322800" y="1904375"/>
              <a:ext cx="106350" cy="41175"/>
            </a:xfrm>
            <a:custGeom>
              <a:avLst/>
              <a:gdLst/>
              <a:ahLst/>
              <a:cxnLst/>
              <a:rect l="l" t="t" r="r" b="b"/>
              <a:pathLst>
                <a:path w="4254" h="1647" extrusionOk="0">
                  <a:moveTo>
                    <a:pt x="1291" y="0"/>
                  </a:moveTo>
                  <a:cubicBezTo>
                    <a:pt x="890" y="0"/>
                    <a:pt x="485" y="181"/>
                    <a:pt x="158" y="556"/>
                  </a:cubicBezTo>
                  <a:cubicBezTo>
                    <a:pt x="0" y="713"/>
                    <a:pt x="32" y="965"/>
                    <a:pt x="189" y="1123"/>
                  </a:cubicBezTo>
                  <a:cubicBezTo>
                    <a:pt x="265" y="1198"/>
                    <a:pt x="369" y="1237"/>
                    <a:pt x="474" y="1237"/>
                  </a:cubicBezTo>
                  <a:cubicBezTo>
                    <a:pt x="589" y="1237"/>
                    <a:pt x="706" y="1190"/>
                    <a:pt x="788" y="1091"/>
                  </a:cubicBezTo>
                  <a:cubicBezTo>
                    <a:pt x="946" y="918"/>
                    <a:pt x="1119" y="831"/>
                    <a:pt x="1292" y="831"/>
                  </a:cubicBezTo>
                  <a:cubicBezTo>
                    <a:pt x="1465" y="831"/>
                    <a:pt x="1639" y="918"/>
                    <a:pt x="1796" y="1091"/>
                  </a:cubicBezTo>
                  <a:cubicBezTo>
                    <a:pt x="2115" y="1457"/>
                    <a:pt x="2530" y="1646"/>
                    <a:pt x="2948" y="1646"/>
                  </a:cubicBezTo>
                  <a:cubicBezTo>
                    <a:pt x="3357" y="1646"/>
                    <a:pt x="3769" y="1465"/>
                    <a:pt x="4096" y="1091"/>
                  </a:cubicBezTo>
                  <a:cubicBezTo>
                    <a:pt x="4254" y="902"/>
                    <a:pt x="4191" y="650"/>
                    <a:pt x="4033" y="493"/>
                  </a:cubicBezTo>
                  <a:cubicBezTo>
                    <a:pt x="3975" y="420"/>
                    <a:pt x="3885" y="381"/>
                    <a:pt x="3788" y="381"/>
                  </a:cubicBezTo>
                  <a:cubicBezTo>
                    <a:pt x="3674" y="381"/>
                    <a:pt x="3551" y="436"/>
                    <a:pt x="3466" y="556"/>
                  </a:cubicBezTo>
                  <a:cubicBezTo>
                    <a:pt x="3308" y="729"/>
                    <a:pt x="3127" y="815"/>
                    <a:pt x="2946" y="815"/>
                  </a:cubicBezTo>
                  <a:cubicBezTo>
                    <a:pt x="2765" y="815"/>
                    <a:pt x="2584" y="729"/>
                    <a:pt x="2426" y="556"/>
                  </a:cubicBezTo>
                  <a:cubicBezTo>
                    <a:pt x="2108" y="189"/>
                    <a:pt x="1701" y="0"/>
                    <a:pt x="1291"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9928" name="Google Shape;9928;p111"/>
          <p:cNvGrpSpPr/>
          <p:nvPr/>
        </p:nvGrpSpPr>
        <p:grpSpPr>
          <a:xfrm>
            <a:off x="1731495" y="2057343"/>
            <a:ext cx="491983" cy="484888"/>
            <a:chOff x="-64774725" y="1916550"/>
            <a:chExt cx="319000" cy="314400"/>
          </a:xfrm>
        </p:grpSpPr>
        <p:sp>
          <p:nvSpPr>
            <p:cNvPr id="9929" name="Google Shape;9929;p111"/>
            <p:cNvSpPr/>
            <p:nvPr/>
          </p:nvSpPr>
          <p:spPr>
            <a:xfrm>
              <a:off x="-64774725" y="1916550"/>
              <a:ext cx="319000" cy="314400"/>
            </a:xfrm>
            <a:custGeom>
              <a:avLst/>
              <a:gdLst/>
              <a:ahLst/>
              <a:cxnLst/>
              <a:rect l="l" t="t" r="r" b="b"/>
              <a:pathLst>
                <a:path w="12760" h="12576" extrusionOk="0">
                  <a:moveTo>
                    <a:pt x="11436" y="856"/>
                  </a:moveTo>
                  <a:cubicBezTo>
                    <a:pt x="11562" y="856"/>
                    <a:pt x="11657" y="888"/>
                    <a:pt x="11783" y="951"/>
                  </a:cubicBezTo>
                  <a:cubicBezTo>
                    <a:pt x="11877" y="1077"/>
                    <a:pt x="11940" y="1203"/>
                    <a:pt x="11909" y="1329"/>
                  </a:cubicBezTo>
                  <a:cubicBezTo>
                    <a:pt x="11814" y="2431"/>
                    <a:pt x="11562" y="3440"/>
                    <a:pt x="11090" y="4416"/>
                  </a:cubicBezTo>
                  <a:lnTo>
                    <a:pt x="8317" y="1675"/>
                  </a:lnTo>
                  <a:cubicBezTo>
                    <a:pt x="9263" y="1234"/>
                    <a:pt x="10334" y="951"/>
                    <a:pt x="11436" y="856"/>
                  </a:cubicBezTo>
                  <a:close/>
                  <a:moveTo>
                    <a:pt x="3781" y="4542"/>
                  </a:moveTo>
                  <a:lnTo>
                    <a:pt x="3781" y="4542"/>
                  </a:lnTo>
                  <a:cubicBezTo>
                    <a:pt x="3529" y="4983"/>
                    <a:pt x="3245" y="5456"/>
                    <a:pt x="3056" y="5960"/>
                  </a:cubicBezTo>
                  <a:cubicBezTo>
                    <a:pt x="2878" y="5949"/>
                    <a:pt x="2699" y="5942"/>
                    <a:pt x="2522" y="5942"/>
                  </a:cubicBezTo>
                  <a:cubicBezTo>
                    <a:pt x="2167" y="5942"/>
                    <a:pt x="1817" y="5970"/>
                    <a:pt x="1481" y="6054"/>
                  </a:cubicBezTo>
                  <a:cubicBezTo>
                    <a:pt x="1544" y="5928"/>
                    <a:pt x="1670" y="5802"/>
                    <a:pt x="1733" y="5739"/>
                  </a:cubicBezTo>
                  <a:cubicBezTo>
                    <a:pt x="2331" y="5141"/>
                    <a:pt x="2993" y="4731"/>
                    <a:pt x="3781" y="4542"/>
                  </a:cubicBezTo>
                  <a:close/>
                  <a:moveTo>
                    <a:pt x="7561" y="2022"/>
                  </a:moveTo>
                  <a:lnTo>
                    <a:pt x="10680" y="5141"/>
                  </a:lnTo>
                  <a:cubicBezTo>
                    <a:pt x="9546" y="7157"/>
                    <a:pt x="7687" y="8669"/>
                    <a:pt x="5419" y="9331"/>
                  </a:cubicBezTo>
                  <a:lnTo>
                    <a:pt x="3403" y="7346"/>
                  </a:lnTo>
                  <a:cubicBezTo>
                    <a:pt x="4064" y="5109"/>
                    <a:pt x="5576" y="3219"/>
                    <a:pt x="7561" y="2022"/>
                  </a:cubicBezTo>
                  <a:close/>
                  <a:moveTo>
                    <a:pt x="2899" y="8008"/>
                  </a:moveTo>
                  <a:lnTo>
                    <a:pt x="4789" y="9898"/>
                  </a:lnTo>
                  <a:lnTo>
                    <a:pt x="4316" y="10623"/>
                  </a:lnTo>
                  <a:lnTo>
                    <a:pt x="2142" y="8449"/>
                  </a:lnTo>
                  <a:lnTo>
                    <a:pt x="2899" y="8008"/>
                  </a:lnTo>
                  <a:close/>
                  <a:moveTo>
                    <a:pt x="2363" y="9867"/>
                  </a:moveTo>
                  <a:lnTo>
                    <a:pt x="2899" y="10371"/>
                  </a:lnTo>
                  <a:cubicBezTo>
                    <a:pt x="2741" y="10497"/>
                    <a:pt x="2520" y="10654"/>
                    <a:pt x="2300" y="10780"/>
                  </a:cubicBezTo>
                  <a:cubicBezTo>
                    <a:pt x="1985" y="10969"/>
                    <a:pt x="1733" y="11095"/>
                    <a:pt x="1638" y="11127"/>
                  </a:cubicBezTo>
                  <a:cubicBezTo>
                    <a:pt x="1701" y="10969"/>
                    <a:pt x="1796" y="10780"/>
                    <a:pt x="1985" y="10465"/>
                  </a:cubicBezTo>
                  <a:cubicBezTo>
                    <a:pt x="2142" y="10213"/>
                    <a:pt x="2268" y="10024"/>
                    <a:pt x="2363" y="9867"/>
                  </a:cubicBezTo>
                  <a:close/>
                  <a:moveTo>
                    <a:pt x="8191" y="8984"/>
                  </a:moveTo>
                  <a:lnTo>
                    <a:pt x="8191" y="8984"/>
                  </a:lnTo>
                  <a:cubicBezTo>
                    <a:pt x="7971" y="9867"/>
                    <a:pt x="7467" y="10686"/>
                    <a:pt x="6711" y="11284"/>
                  </a:cubicBezTo>
                  <a:cubicBezTo>
                    <a:pt x="6837" y="10749"/>
                    <a:pt x="6837" y="10245"/>
                    <a:pt x="6774" y="9741"/>
                  </a:cubicBezTo>
                  <a:cubicBezTo>
                    <a:pt x="7309" y="9551"/>
                    <a:pt x="7782" y="9268"/>
                    <a:pt x="8191" y="8984"/>
                  </a:cubicBezTo>
                  <a:close/>
                  <a:moveTo>
                    <a:pt x="11509" y="1"/>
                  </a:moveTo>
                  <a:cubicBezTo>
                    <a:pt x="11474" y="1"/>
                    <a:pt x="11440" y="2"/>
                    <a:pt x="11405" y="6"/>
                  </a:cubicBezTo>
                  <a:cubicBezTo>
                    <a:pt x="10365" y="100"/>
                    <a:pt x="9389" y="321"/>
                    <a:pt x="8412" y="730"/>
                  </a:cubicBezTo>
                  <a:cubicBezTo>
                    <a:pt x="7498" y="1077"/>
                    <a:pt x="6616" y="1644"/>
                    <a:pt x="5797" y="2274"/>
                  </a:cubicBezTo>
                  <a:cubicBezTo>
                    <a:pt x="5324" y="2652"/>
                    <a:pt x="4852" y="3093"/>
                    <a:pt x="4474" y="3566"/>
                  </a:cubicBezTo>
                  <a:cubicBezTo>
                    <a:pt x="3245" y="3629"/>
                    <a:pt x="2048" y="4196"/>
                    <a:pt x="1166" y="5109"/>
                  </a:cubicBezTo>
                  <a:cubicBezTo>
                    <a:pt x="725" y="5519"/>
                    <a:pt x="378" y="6054"/>
                    <a:pt x="95" y="6590"/>
                  </a:cubicBezTo>
                  <a:cubicBezTo>
                    <a:pt x="0" y="6748"/>
                    <a:pt x="63" y="6937"/>
                    <a:pt x="158" y="7063"/>
                  </a:cubicBezTo>
                  <a:cubicBezTo>
                    <a:pt x="252" y="7157"/>
                    <a:pt x="378" y="7189"/>
                    <a:pt x="441" y="7189"/>
                  </a:cubicBezTo>
                  <a:cubicBezTo>
                    <a:pt x="536" y="7189"/>
                    <a:pt x="567" y="7189"/>
                    <a:pt x="630" y="7157"/>
                  </a:cubicBezTo>
                  <a:cubicBezTo>
                    <a:pt x="1198" y="6873"/>
                    <a:pt x="1842" y="6743"/>
                    <a:pt x="2471" y="6743"/>
                  </a:cubicBezTo>
                  <a:cubicBezTo>
                    <a:pt x="2540" y="6743"/>
                    <a:pt x="2609" y="6744"/>
                    <a:pt x="2678" y="6748"/>
                  </a:cubicBezTo>
                  <a:cubicBezTo>
                    <a:pt x="2647" y="6905"/>
                    <a:pt x="2615" y="7031"/>
                    <a:pt x="2584" y="7189"/>
                  </a:cubicBezTo>
                  <a:lnTo>
                    <a:pt x="1229" y="7976"/>
                  </a:lnTo>
                  <a:cubicBezTo>
                    <a:pt x="1008" y="8134"/>
                    <a:pt x="945" y="8449"/>
                    <a:pt x="1166" y="8606"/>
                  </a:cubicBezTo>
                  <a:lnTo>
                    <a:pt x="1733" y="9173"/>
                  </a:lnTo>
                  <a:cubicBezTo>
                    <a:pt x="1544" y="9425"/>
                    <a:pt x="1323" y="9772"/>
                    <a:pt x="1103" y="10119"/>
                  </a:cubicBezTo>
                  <a:cubicBezTo>
                    <a:pt x="945" y="10465"/>
                    <a:pt x="788" y="10717"/>
                    <a:pt x="725" y="10906"/>
                  </a:cubicBezTo>
                  <a:cubicBezTo>
                    <a:pt x="599" y="11316"/>
                    <a:pt x="630" y="11599"/>
                    <a:pt x="851" y="11788"/>
                  </a:cubicBezTo>
                  <a:cubicBezTo>
                    <a:pt x="981" y="11918"/>
                    <a:pt x="1144" y="11961"/>
                    <a:pt x="1320" y="11961"/>
                  </a:cubicBezTo>
                  <a:cubicBezTo>
                    <a:pt x="1443" y="11961"/>
                    <a:pt x="1572" y="11940"/>
                    <a:pt x="1701" y="11914"/>
                  </a:cubicBezTo>
                  <a:cubicBezTo>
                    <a:pt x="1953" y="11820"/>
                    <a:pt x="2174" y="11694"/>
                    <a:pt x="2489" y="11505"/>
                  </a:cubicBezTo>
                  <a:cubicBezTo>
                    <a:pt x="2836" y="11316"/>
                    <a:pt x="3151" y="11095"/>
                    <a:pt x="3434" y="10875"/>
                  </a:cubicBezTo>
                  <a:lnTo>
                    <a:pt x="4033" y="11473"/>
                  </a:lnTo>
                  <a:cubicBezTo>
                    <a:pt x="4116" y="11557"/>
                    <a:pt x="4225" y="11597"/>
                    <a:pt x="4330" y="11597"/>
                  </a:cubicBezTo>
                  <a:cubicBezTo>
                    <a:pt x="4464" y="11597"/>
                    <a:pt x="4593" y="11533"/>
                    <a:pt x="4663" y="11410"/>
                  </a:cubicBezTo>
                  <a:lnTo>
                    <a:pt x="5450" y="10056"/>
                  </a:lnTo>
                  <a:cubicBezTo>
                    <a:pt x="5608" y="10024"/>
                    <a:pt x="5734" y="9993"/>
                    <a:pt x="5892" y="9930"/>
                  </a:cubicBezTo>
                  <a:lnTo>
                    <a:pt x="5892" y="9930"/>
                  </a:lnTo>
                  <a:cubicBezTo>
                    <a:pt x="5923" y="10591"/>
                    <a:pt x="5797" y="11316"/>
                    <a:pt x="5482" y="11977"/>
                  </a:cubicBezTo>
                  <a:cubicBezTo>
                    <a:pt x="5419" y="12135"/>
                    <a:pt x="5450" y="12324"/>
                    <a:pt x="5576" y="12450"/>
                  </a:cubicBezTo>
                  <a:cubicBezTo>
                    <a:pt x="5639" y="12534"/>
                    <a:pt x="5759" y="12576"/>
                    <a:pt x="5878" y="12576"/>
                  </a:cubicBezTo>
                  <a:cubicBezTo>
                    <a:pt x="5937" y="12576"/>
                    <a:pt x="5997" y="12565"/>
                    <a:pt x="6049" y="12544"/>
                  </a:cubicBezTo>
                  <a:cubicBezTo>
                    <a:pt x="6585" y="12261"/>
                    <a:pt x="7089" y="11914"/>
                    <a:pt x="7530" y="11473"/>
                  </a:cubicBezTo>
                  <a:cubicBezTo>
                    <a:pt x="8443" y="10560"/>
                    <a:pt x="8979" y="9394"/>
                    <a:pt x="9074" y="8165"/>
                  </a:cubicBezTo>
                  <a:cubicBezTo>
                    <a:pt x="9546" y="7756"/>
                    <a:pt x="9987" y="7346"/>
                    <a:pt x="10365" y="6811"/>
                  </a:cubicBezTo>
                  <a:cubicBezTo>
                    <a:pt x="11027" y="5991"/>
                    <a:pt x="11562" y="5141"/>
                    <a:pt x="11940" y="4227"/>
                  </a:cubicBezTo>
                  <a:cubicBezTo>
                    <a:pt x="12350" y="3282"/>
                    <a:pt x="12571" y="2242"/>
                    <a:pt x="12665" y="1234"/>
                  </a:cubicBezTo>
                  <a:cubicBezTo>
                    <a:pt x="12760" y="1014"/>
                    <a:pt x="12665" y="636"/>
                    <a:pt x="12382" y="384"/>
                  </a:cubicBezTo>
                  <a:cubicBezTo>
                    <a:pt x="12126" y="128"/>
                    <a:pt x="11820" y="1"/>
                    <a:pt x="11509"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9930" name="Google Shape;9930;p111"/>
            <p:cNvSpPr/>
            <p:nvPr/>
          </p:nvSpPr>
          <p:spPr>
            <a:xfrm>
              <a:off x="-64636900" y="2010600"/>
              <a:ext cx="89800" cy="82525"/>
            </a:xfrm>
            <a:custGeom>
              <a:avLst/>
              <a:gdLst/>
              <a:ahLst/>
              <a:cxnLst/>
              <a:rect l="l" t="t" r="r" b="b"/>
              <a:pathLst>
                <a:path w="3592" h="3301" extrusionOk="0">
                  <a:moveTo>
                    <a:pt x="1828" y="827"/>
                  </a:moveTo>
                  <a:cubicBezTo>
                    <a:pt x="2048" y="827"/>
                    <a:pt x="2269" y="906"/>
                    <a:pt x="2426" y="1064"/>
                  </a:cubicBezTo>
                  <a:cubicBezTo>
                    <a:pt x="2741" y="1410"/>
                    <a:pt x="2741" y="1914"/>
                    <a:pt x="2426" y="2229"/>
                  </a:cubicBezTo>
                  <a:cubicBezTo>
                    <a:pt x="2269" y="2387"/>
                    <a:pt x="2048" y="2466"/>
                    <a:pt x="1828" y="2466"/>
                  </a:cubicBezTo>
                  <a:cubicBezTo>
                    <a:pt x="1607" y="2466"/>
                    <a:pt x="1387" y="2387"/>
                    <a:pt x="1229" y="2229"/>
                  </a:cubicBezTo>
                  <a:cubicBezTo>
                    <a:pt x="914" y="1914"/>
                    <a:pt x="914" y="1379"/>
                    <a:pt x="1229" y="1064"/>
                  </a:cubicBezTo>
                  <a:cubicBezTo>
                    <a:pt x="1387" y="906"/>
                    <a:pt x="1607" y="827"/>
                    <a:pt x="1828" y="827"/>
                  </a:cubicBezTo>
                  <a:close/>
                  <a:moveTo>
                    <a:pt x="1820" y="0"/>
                  </a:moveTo>
                  <a:cubicBezTo>
                    <a:pt x="1402" y="0"/>
                    <a:pt x="977" y="166"/>
                    <a:pt x="631" y="497"/>
                  </a:cubicBezTo>
                  <a:cubicBezTo>
                    <a:pt x="0" y="1127"/>
                    <a:pt x="0" y="2198"/>
                    <a:pt x="631" y="2828"/>
                  </a:cubicBezTo>
                  <a:cubicBezTo>
                    <a:pt x="946" y="3143"/>
                    <a:pt x="1371" y="3301"/>
                    <a:pt x="1796" y="3301"/>
                  </a:cubicBezTo>
                  <a:cubicBezTo>
                    <a:pt x="2222" y="3301"/>
                    <a:pt x="2647" y="3143"/>
                    <a:pt x="2962" y="2828"/>
                  </a:cubicBezTo>
                  <a:cubicBezTo>
                    <a:pt x="3592" y="2198"/>
                    <a:pt x="3592" y="1127"/>
                    <a:pt x="2962" y="497"/>
                  </a:cubicBezTo>
                  <a:cubicBezTo>
                    <a:pt x="2647" y="166"/>
                    <a:pt x="2237" y="0"/>
                    <a:pt x="1820"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9931" name="Google Shape;9931;p111"/>
          <p:cNvGrpSpPr/>
          <p:nvPr/>
        </p:nvGrpSpPr>
        <p:grpSpPr>
          <a:xfrm>
            <a:off x="1733306" y="2693582"/>
            <a:ext cx="488359" cy="493217"/>
            <a:chOff x="-64764500" y="2280550"/>
            <a:chExt cx="316650" cy="319800"/>
          </a:xfrm>
        </p:grpSpPr>
        <p:sp>
          <p:nvSpPr>
            <p:cNvPr id="9932" name="Google Shape;9932;p111"/>
            <p:cNvSpPr/>
            <p:nvPr/>
          </p:nvSpPr>
          <p:spPr>
            <a:xfrm>
              <a:off x="-64764500" y="2280550"/>
              <a:ext cx="316650" cy="319800"/>
            </a:xfrm>
            <a:custGeom>
              <a:avLst/>
              <a:gdLst/>
              <a:ahLst/>
              <a:cxnLst/>
              <a:rect l="l" t="t" r="r" b="b"/>
              <a:pathLst>
                <a:path w="12666" h="12792" extrusionOk="0">
                  <a:moveTo>
                    <a:pt x="11405" y="820"/>
                  </a:moveTo>
                  <a:cubicBezTo>
                    <a:pt x="11657" y="820"/>
                    <a:pt x="11815" y="1009"/>
                    <a:pt x="11815" y="1261"/>
                  </a:cubicBezTo>
                  <a:cubicBezTo>
                    <a:pt x="11815" y="1481"/>
                    <a:pt x="11657" y="1670"/>
                    <a:pt x="11405" y="1670"/>
                  </a:cubicBezTo>
                  <a:lnTo>
                    <a:pt x="1229" y="1670"/>
                  </a:lnTo>
                  <a:cubicBezTo>
                    <a:pt x="977" y="1670"/>
                    <a:pt x="788" y="1481"/>
                    <a:pt x="788" y="1261"/>
                  </a:cubicBezTo>
                  <a:cubicBezTo>
                    <a:pt x="788" y="1009"/>
                    <a:pt x="977" y="820"/>
                    <a:pt x="1229" y="820"/>
                  </a:cubicBezTo>
                  <a:close/>
                  <a:moveTo>
                    <a:pt x="10996" y="2521"/>
                  </a:moveTo>
                  <a:lnTo>
                    <a:pt x="10996" y="8286"/>
                  </a:lnTo>
                  <a:lnTo>
                    <a:pt x="1607" y="8286"/>
                  </a:lnTo>
                  <a:lnTo>
                    <a:pt x="1607" y="2521"/>
                  </a:lnTo>
                  <a:close/>
                  <a:moveTo>
                    <a:pt x="6302" y="11027"/>
                  </a:moveTo>
                  <a:cubicBezTo>
                    <a:pt x="6554" y="11027"/>
                    <a:pt x="6743" y="11216"/>
                    <a:pt x="6743" y="11437"/>
                  </a:cubicBezTo>
                  <a:cubicBezTo>
                    <a:pt x="6743" y="11689"/>
                    <a:pt x="6522" y="11878"/>
                    <a:pt x="6302" y="11878"/>
                  </a:cubicBezTo>
                  <a:cubicBezTo>
                    <a:pt x="6050" y="11878"/>
                    <a:pt x="5892" y="11689"/>
                    <a:pt x="5892" y="11437"/>
                  </a:cubicBezTo>
                  <a:cubicBezTo>
                    <a:pt x="5892" y="11216"/>
                    <a:pt x="6113" y="11027"/>
                    <a:pt x="6302" y="11027"/>
                  </a:cubicBezTo>
                  <a:close/>
                  <a:moveTo>
                    <a:pt x="1229" y="1"/>
                  </a:moveTo>
                  <a:cubicBezTo>
                    <a:pt x="536" y="1"/>
                    <a:pt x="1" y="536"/>
                    <a:pt x="1" y="1261"/>
                  </a:cubicBezTo>
                  <a:cubicBezTo>
                    <a:pt x="1" y="1797"/>
                    <a:pt x="347" y="2238"/>
                    <a:pt x="820" y="2427"/>
                  </a:cubicBezTo>
                  <a:lnTo>
                    <a:pt x="820" y="8286"/>
                  </a:lnTo>
                  <a:lnTo>
                    <a:pt x="442" y="8286"/>
                  </a:lnTo>
                  <a:cubicBezTo>
                    <a:pt x="190" y="8286"/>
                    <a:pt x="32" y="8507"/>
                    <a:pt x="32" y="8728"/>
                  </a:cubicBezTo>
                  <a:cubicBezTo>
                    <a:pt x="32" y="8980"/>
                    <a:pt x="221" y="9169"/>
                    <a:pt x="442" y="9169"/>
                  </a:cubicBezTo>
                  <a:lnTo>
                    <a:pt x="5955" y="9169"/>
                  </a:lnTo>
                  <a:lnTo>
                    <a:pt x="5955" y="10334"/>
                  </a:lnTo>
                  <a:cubicBezTo>
                    <a:pt x="5483" y="10492"/>
                    <a:pt x="5104" y="10964"/>
                    <a:pt x="5104" y="11531"/>
                  </a:cubicBezTo>
                  <a:cubicBezTo>
                    <a:pt x="5104" y="12193"/>
                    <a:pt x="5672" y="12792"/>
                    <a:pt x="6333" y="12792"/>
                  </a:cubicBezTo>
                  <a:cubicBezTo>
                    <a:pt x="6995" y="12792"/>
                    <a:pt x="7593" y="12225"/>
                    <a:pt x="7593" y="11531"/>
                  </a:cubicBezTo>
                  <a:cubicBezTo>
                    <a:pt x="7593" y="10964"/>
                    <a:pt x="7247" y="10555"/>
                    <a:pt x="6774" y="10334"/>
                  </a:cubicBezTo>
                  <a:lnTo>
                    <a:pt x="6774" y="9169"/>
                  </a:lnTo>
                  <a:lnTo>
                    <a:pt x="12288" y="9169"/>
                  </a:lnTo>
                  <a:cubicBezTo>
                    <a:pt x="12508" y="9169"/>
                    <a:pt x="12666" y="8980"/>
                    <a:pt x="12666" y="8728"/>
                  </a:cubicBezTo>
                  <a:cubicBezTo>
                    <a:pt x="12666" y="8507"/>
                    <a:pt x="12477" y="8286"/>
                    <a:pt x="12288" y="8286"/>
                  </a:cubicBezTo>
                  <a:lnTo>
                    <a:pt x="11847" y="8286"/>
                  </a:lnTo>
                  <a:lnTo>
                    <a:pt x="11847" y="2427"/>
                  </a:lnTo>
                  <a:cubicBezTo>
                    <a:pt x="12319" y="2238"/>
                    <a:pt x="12634" y="1797"/>
                    <a:pt x="12634" y="1261"/>
                  </a:cubicBezTo>
                  <a:cubicBezTo>
                    <a:pt x="12634" y="568"/>
                    <a:pt x="12099" y="1"/>
                    <a:pt x="11405"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9933" name="Google Shape;9933;p111"/>
            <p:cNvSpPr/>
            <p:nvPr/>
          </p:nvSpPr>
          <p:spPr>
            <a:xfrm>
              <a:off x="-64679425" y="2364825"/>
              <a:ext cx="146500" cy="102450"/>
            </a:xfrm>
            <a:custGeom>
              <a:avLst/>
              <a:gdLst/>
              <a:ahLst/>
              <a:cxnLst/>
              <a:rect l="l" t="t" r="r" b="b"/>
              <a:pathLst>
                <a:path w="5860" h="4098" extrusionOk="0">
                  <a:moveTo>
                    <a:pt x="3749" y="1"/>
                  </a:moveTo>
                  <a:cubicBezTo>
                    <a:pt x="3529" y="1"/>
                    <a:pt x="3371" y="190"/>
                    <a:pt x="3371" y="442"/>
                  </a:cubicBezTo>
                  <a:cubicBezTo>
                    <a:pt x="3371" y="662"/>
                    <a:pt x="3560" y="820"/>
                    <a:pt x="3749" y="820"/>
                  </a:cubicBezTo>
                  <a:lnTo>
                    <a:pt x="4442" y="820"/>
                  </a:lnTo>
                  <a:lnTo>
                    <a:pt x="2930" y="2332"/>
                  </a:lnTo>
                  <a:lnTo>
                    <a:pt x="2395" y="1765"/>
                  </a:lnTo>
                  <a:cubicBezTo>
                    <a:pt x="2316" y="1686"/>
                    <a:pt x="2206" y="1647"/>
                    <a:pt x="2095" y="1647"/>
                  </a:cubicBezTo>
                  <a:cubicBezTo>
                    <a:pt x="1985" y="1647"/>
                    <a:pt x="1875" y="1686"/>
                    <a:pt x="1796" y="1765"/>
                  </a:cubicBezTo>
                  <a:lnTo>
                    <a:pt x="126" y="3435"/>
                  </a:lnTo>
                  <a:cubicBezTo>
                    <a:pt x="0" y="3592"/>
                    <a:pt x="0" y="3844"/>
                    <a:pt x="126" y="4033"/>
                  </a:cubicBezTo>
                  <a:cubicBezTo>
                    <a:pt x="195" y="4075"/>
                    <a:pt x="288" y="4098"/>
                    <a:pt x="384" y="4098"/>
                  </a:cubicBezTo>
                  <a:cubicBezTo>
                    <a:pt x="507" y="4098"/>
                    <a:pt x="636" y="4059"/>
                    <a:pt x="725" y="3970"/>
                  </a:cubicBezTo>
                  <a:lnTo>
                    <a:pt x="2111" y="2616"/>
                  </a:lnTo>
                  <a:lnTo>
                    <a:pt x="2647" y="3151"/>
                  </a:lnTo>
                  <a:cubicBezTo>
                    <a:pt x="2725" y="3230"/>
                    <a:pt x="2836" y="3269"/>
                    <a:pt x="2946" y="3269"/>
                  </a:cubicBezTo>
                  <a:cubicBezTo>
                    <a:pt x="3056" y="3269"/>
                    <a:pt x="3166" y="3230"/>
                    <a:pt x="3245" y="3151"/>
                  </a:cubicBezTo>
                  <a:lnTo>
                    <a:pt x="5009" y="1387"/>
                  </a:lnTo>
                  <a:lnTo>
                    <a:pt x="5009" y="2049"/>
                  </a:lnTo>
                  <a:cubicBezTo>
                    <a:pt x="5009" y="2269"/>
                    <a:pt x="5230" y="2490"/>
                    <a:pt x="5451" y="2490"/>
                  </a:cubicBezTo>
                  <a:cubicBezTo>
                    <a:pt x="5703" y="2490"/>
                    <a:pt x="5860" y="2269"/>
                    <a:pt x="5860" y="2049"/>
                  </a:cubicBezTo>
                  <a:lnTo>
                    <a:pt x="5860" y="410"/>
                  </a:lnTo>
                  <a:cubicBezTo>
                    <a:pt x="5860" y="158"/>
                    <a:pt x="5640" y="1"/>
                    <a:pt x="5419"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sp>
        <p:nvSpPr>
          <p:cNvPr id="9934" name="Google Shape;9934;p111"/>
          <p:cNvSpPr/>
          <p:nvPr/>
        </p:nvSpPr>
        <p:spPr>
          <a:xfrm>
            <a:off x="1755671" y="3316606"/>
            <a:ext cx="426399" cy="488359"/>
          </a:xfrm>
          <a:custGeom>
            <a:avLst/>
            <a:gdLst/>
            <a:ahLst/>
            <a:cxnLst/>
            <a:rect l="l" t="t" r="r" b="b"/>
            <a:pathLst>
              <a:path w="11059" h="12666" extrusionOk="0">
                <a:moveTo>
                  <a:pt x="4285" y="789"/>
                </a:moveTo>
                <a:cubicBezTo>
                  <a:pt x="4758" y="789"/>
                  <a:pt x="5136" y="1135"/>
                  <a:pt x="5136" y="1608"/>
                </a:cubicBezTo>
                <a:lnTo>
                  <a:pt x="5136" y="4128"/>
                </a:lnTo>
                <a:cubicBezTo>
                  <a:pt x="4190" y="4317"/>
                  <a:pt x="3466" y="5168"/>
                  <a:pt x="3466" y="6144"/>
                </a:cubicBezTo>
                <a:cubicBezTo>
                  <a:pt x="3466" y="6365"/>
                  <a:pt x="3655" y="6585"/>
                  <a:pt x="3907" y="6585"/>
                </a:cubicBezTo>
                <a:cubicBezTo>
                  <a:pt x="4127" y="6585"/>
                  <a:pt x="4285" y="6365"/>
                  <a:pt x="4285" y="6144"/>
                </a:cubicBezTo>
                <a:cubicBezTo>
                  <a:pt x="4285" y="5577"/>
                  <a:pt x="4663" y="5168"/>
                  <a:pt x="5136" y="4947"/>
                </a:cubicBezTo>
                <a:lnTo>
                  <a:pt x="5136" y="8192"/>
                </a:lnTo>
                <a:cubicBezTo>
                  <a:pt x="5136" y="8665"/>
                  <a:pt x="4758" y="9011"/>
                  <a:pt x="4285" y="9011"/>
                </a:cubicBezTo>
                <a:cubicBezTo>
                  <a:pt x="3938" y="9011"/>
                  <a:pt x="3592" y="8791"/>
                  <a:pt x="3497" y="8381"/>
                </a:cubicBezTo>
                <a:cubicBezTo>
                  <a:pt x="3434" y="8318"/>
                  <a:pt x="3277" y="8192"/>
                  <a:pt x="3119" y="8192"/>
                </a:cubicBezTo>
                <a:cubicBezTo>
                  <a:pt x="2962" y="8192"/>
                  <a:pt x="2899" y="8255"/>
                  <a:pt x="2647" y="8255"/>
                </a:cubicBezTo>
                <a:cubicBezTo>
                  <a:pt x="1544" y="8255"/>
                  <a:pt x="1544" y="6617"/>
                  <a:pt x="2647" y="6617"/>
                </a:cubicBezTo>
                <a:cubicBezTo>
                  <a:pt x="2867" y="6617"/>
                  <a:pt x="3025" y="6428"/>
                  <a:pt x="3025" y="6176"/>
                </a:cubicBezTo>
                <a:cubicBezTo>
                  <a:pt x="3025" y="5955"/>
                  <a:pt x="2836" y="5735"/>
                  <a:pt x="2647" y="5735"/>
                </a:cubicBezTo>
                <a:cubicBezTo>
                  <a:pt x="2080" y="5735"/>
                  <a:pt x="1607" y="6018"/>
                  <a:pt x="1292" y="6428"/>
                </a:cubicBezTo>
                <a:cubicBezTo>
                  <a:pt x="1103" y="6270"/>
                  <a:pt x="977" y="6018"/>
                  <a:pt x="977" y="5735"/>
                </a:cubicBezTo>
                <a:cubicBezTo>
                  <a:pt x="977" y="5483"/>
                  <a:pt x="1103" y="5325"/>
                  <a:pt x="1166" y="5199"/>
                </a:cubicBezTo>
                <a:cubicBezTo>
                  <a:pt x="1323" y="5042"/>
                  <a:pt x="1323" y="4790"/>
                  <a:pt x="1166" y="4632"/>
                </a:cubicBezTo>
                <a:cubicBezTo>
                  <a:pt x="662" y="4097"/>
                  <a:pt x="1103" y="3277"/>
                  <a:pt x="1828" y="3277"/>
                </a:cubicBezTo>
                <a:cubicBezTo>
                  <a:pt x="2048" y="3277"/>
                  <a:pt x="2237" y="3340"/>
                  <a:pt x="2395" y="3498"/>
                </a:cubicBezTo>
                <a:cubicBezTo>
                  <a:pt x="2473" y="3577"/>
                  <a:pt x="2584" y="3616"/>
                  <a:pt x="2694" y="3616"/>
                </a:cubicBezTo>
                <a:cubicBezTo>
                  <a:pt x="2804" y="3616"/>
                  <a:pt x="2914" y="3577"/>
                  <a:pt x="2993" y="3498"/>
                </a:cubicBezTo>
                <a:cubicBezTo>
                  <a:pt x="3151" y="3340"/>
                  <a:pt x="3151" y="3057"/>
                  <a:pt x="2993" y="2899"/>
                </a:cubicBezTo>
                <a:cubicBezTo>
                  <a:pt x="2678" y="2584"/>
                  <a:pt x="2269" y="2427"/>
                  <a:pt x="1828" y="2427"/>
                </a:cubicBezTo>
                <a:cubicBezTo>
                  <a:pt x="1828" y="1954"/>
                  <a:pt x="2174" y="1608"/>
                  <a:pt x="2647" y="1608"/>
                </a:cubicBezTo>
                <a:cubicBezTo>
                  <a:pt x="2773" y="1608"/>
                  <a:pt x="2836" y="1639"/>
                  <a:pt x="2962" y="1702"/>
                </a:cubicBezTo>
                <a:cubicBezTo>
                  <a:pt x="3000" y="1713"/>
                  <a:pt x="3040" y="1718"/>
                  <a:pt x="3079" y="1718"/>
                </a:cubicBezTo>
                <a:cubicBezTo>
                  <a:pt x="3264" y="1718"/>
                  <a:pt x="3445" y="1601"/>
                  <a:pt x="3497" y="1419"/>
                </a:cubicBezTo>
                <a:cubicBezTo>
                  <a:pt x="3592" y="1072"/>
                  <a:pt x="3938" y="789"/>
                  <a:pt x="4285" y="789"/>
                </a:cubicBezTo>
                <a:close/>
                <a:moveTo>
                  <a:pt x="6711" y="915"/>
                </a:moveTo>
                <a:cubicBezTo>
                  <a:pt x="7057" y="915"/>
                  <a:pt x="7404" y="1135"/>
                  <a:pt x="7498" y="1545"/>
                </a:cubicBezTo>
                <a:cubicBezTo>
                  <a:pt x="7547" y="1715"/>
                  <a:pt x="7708" y="1828"/>
                  <a:pt x="7880" y="1828"/>
                </a:cubicBezTo>
                <a:cubicBezTo>
                  <a:pt x="7931" y="1828"/>
                  <a:pt x="7983" y="1818"/>
                  <a:pt x="8034" y="1797"/>
                </a:cubicBezTo>
                <a:cubicBezTo>
                  <a:pt x="8160" y="1765"/>
                  <a:pt x="8223" y="1734"/>
                  <a:pt x="8349" y="1734"/>
                </a:cubicBezTo>
                <a:cubicBezTo>
                  <a:pt x="8822" y="1734"/>
                  <a:pt x="9168" y="2080"/>
                  <a:pt x="9168" y="2553"/>
                </a:cubicBezTo>
                <a:cubicBezTo>
                  <a:pt x="8759" y="2553"/>
                  <a:pt x="8318" y="2710"/>
                  <a:pt x="8003" y="3025"/>
                </a:cubicBezTo>
                <a:cubicBezTo>
                  <a:pt x="7845" y="3183"/>
                  <a:pt x="7845" y="3467"/>
                  <a:pt x="8003" y="3624"/>
                </a:cubicBezTo>
                <a:cubicBezTo>
                  <a:pt x="8081" y="3703"/>
                  <a:pt x="8192" y="3742"/>
                  <a:pt x="8302" y="3742"/>
                </a:cubicBezTo>
                <a:cubicBezTo>
                  <a:pt x="8412" y="3742"/>
                  <a:pt x="8522" y="3703"/>
                  <a:pt x="8601" y="3624"/>
                </a:cubicBezTo>
                <a:cubicBezTo>
                  <a:pt x="8759" y="3467"/>
                  <a:pt x="8948" y="3372"/>
                  <a:pt x="9168" y="3372"/>
                </a:cubicBezTo>
                <a:cubicBezTo>
                  <a:pt x="9893" y="3372"/>
                  <a:pt x="10271" y="4191"/>
                  <a:pt x="9798" y="4758"/>
                </a:cubicBezTo>
                <a:cubicBezTo>
                  <a:pt x="9735" y="4853"/>
                  <a:pt x="9735" y="5073"/>
                  <a:pt x="9830" y="5231"/>
                </a:cubicBezTo>
                <a:cubicBezTo>
                  <a:pt x="9956" y="5357"/>
                  <a:pt x="10050" y="5514"/>
                  <a:pt x="10050" y="5798"/>
                </a:cubicBezTo>
                <a:cubicBezTo>
                  <a:pt x="10050" y="6050"/>
                  <a:pt x="9924" y="6302"/>
                  <a:pt x="9735" y="6459"/>
                </a:cubicBezTo>
                <a:cubicBezTo>
                  <a:pt x="9420" y="6050"/>
                  <a:pt x="8948" y="5798"/>
                  <a:pt x="8381" y="5798"/>
                </a:cubicBezTo>
                <a:cubicBezTo>
                  <a:pt x="8160" y="5798"/>
                  <a:pt x="8003" y="5987"/>
                  <a:pt x="8003" y="6207"/>
                </a:cubicBezTo>
                <a:cubicBezTo>
                  <a:pt x="8003" y="6459"/>
                  <a:pt x="8192" y="6648"/>
                  <a:pt x="8381" y="6648"/>
                </a:cubicBezTo>
                <a:cubicBezTo>
                  <a:pt x="9483" y="6648"/>
                  <a:pt x="9483" y="8318"/>
                  <a:pt x="8381" y="8318"/>
                </a:cubicBezTo>
                <a:cubicBezTo>
                  <a:pt x="8255" y="8318"/>
                  <a:pt x="8192" y="8255"/>
                  <a:pt x="8066" y="8224"/>
                </a:cubicBezTo>
                <a:cubicBezTo>
                  <a:pt x="8021" y="8211"/>
                  <a:pt x="7976" y="8205"/>
                  <a:pt x="7931" y="8205"/>
                </a:cubicBezTo>
                <a:cubicBezTo>
                  <a:pt x="7752" y="8205"/>
                  <a:pt x="7580" y="8306"/>
                  <a:pt x="7530" y="8507"/>
                </a:cubicBezTo>
                <a:cubicBezTo>
                  <a:pt x="7435" y="8854"/>
                  <a:pt x="7089" y="9137"/>
                  <a:pt x="6742" y="9137"/>
                </a:cubicBezTo>
                <a:cubicBezTo>
                  <a:pt x="6270" y="9137"/>
                  <a:pt x="5892" y="8759"/>
                  <a:pt x="5892" y="8318"/>
                </a:cubicBezTo>
                <a:lnTo>
                  <a:pt x="5892" y="5073"/>
                </a:lnTo>
                <a:cubicBezTo>
                  <a:pt x="6364" y="5231"/>
                  <a:pt x="6742" y="5703"/>
                  <a:pt x="6742" y="6270"/>
                </a:cubicBezTo>
                <a:cubicBezTo>
                  <a:pt x="6742" y="6491"/>
                  <a:pt x="6931" y="6680"/>
                  <a:pt x="7120" y="6680"/>
                </a:cubicBezTo>
                <a:cubicBezTo>
                  <a:pt x="7341" y="6680"/>
                  <a:pt x="7530" y="6491"/>
                  <a:pt x="7530" y="6270"/>
                </a:cubicBezTo>
                <a:cubicBezTo>
                  <a:pt x="7530" y="5262"/>
                  <a:pt x="6805" y="4412"/>
                  <a:pt x="5860" y="4254"/>
                </a:cubicBezTo>
                <a:lnTo>
                  <a:pt x="5860" y="1734"/>
                </a:lnTo>
                <a:cubicBezTo>
                  <a:pt x="5860" y="1261"/>
                  <a:pt x="6207" y="915"/>
                  <a:pt x="6711" y="915"/>
                </a:cubicBezTo>
                <a:close/>
                <a:moveTo>
                  <a:pt x="5514" y="9358"/>
                </a:moveTo>
                <a:cubicBezTo>
                  <a:pt x="5829" y="9736"/>
                  <a:pt x="6270" y="9925"/>
                  <a:pt x="6774" y="9925"/>
                </a:cubicBezTo>
                <a:lnTo>
                  <a:pt x="6774" y="10209"/>
                </a:lnTo>
                <a:lnTo>
                  <a:pt x="4285" y="10209"/>
                </a:lnTo>
                <a:lnTo>
                  <a:pt x="4285" y="9925"/>
                </a:lnTo>
                <a:cubicBezTo>
                  <a:pt x="4789" y="9925"/>
                  <a:pt x="5230" y="9673"/>
                  <a:pt x="5514" y="9358"/>
                </a:cubicBezTo>
                <a:close/>
                <a:moveTo>
                  <a:pt x="6648" y="11028"/>
                </a:moveTo>
                <a:cubicBezTo>
                  <a:pt x="6522" y="11500"/>
                  <a:pt x="6049" y="11847"/>
                  <a:pt x="5514" y="11847"/>
                </a:cubicBezTo>
                <a:cubicBezTo>
                  <a:pt x="4978" y="11847"/>
                  <a:pt x="4537" y="11500"/>
                  <a:pt x="4316" y="11028"/>
                </a:cubicBezTo>
                <a:close/>
                <a:moveTo>
                  <a:pt x="4285" y="1"/>
                </a:moveTo>
                <a:cubicBezTo>
                  <a:pt x="3686" y="1"/>
                  <a:pt x="3151" y="316"/>
                  <a:pt x="2867" y="820"/>
                </a:cubicBezTo>
                <a:cubicBezTo>
                  <a:pt x="2796" y="811"/>
                  <a:pt x="2724" y="806"/>
                  <a:pt x="2654" y="806"/>
                </a:cubicBezTo>
                <a:cubicBezTo>
                  <a:pt x="1762" y="806"/>
                  <a:pt x="977" y="1526"/>
                  <a:pt x="977" y="2490"/>
                </a:cubicBezTo>
                <a:lnTo>
                  <a:pt x="977" y="2679"/>
                </a:lnTo>
                <a:cubicBezTo>
                  <a:pt x="851" y="2742"/>
                  <a:pt x="756" y="2836"/>
                  <a:pt x="630" y="2962"/>
                </a:cubicBezTo>
                <a:cubicBezTo>
                  <a:pt x="63" y="3498"/>
                  <a:pt x="0" y="4286"/>
                  <a:pt x="347" y="4947"/>
                </a:cubicBezTo>
                <a:cubicBezTo>
                  <a:pt x="189" y="5199"/>
                  <a:pt x="126" y="5514"/>
                  <a:pt x="126" y="5766"/>
                </a:cubicBezTo>
                <a:cubicBezTo>
                  <a:pt x="126" y="6365"/>
                  <a:pt x="441" y="6932"/>
                  <a:pt x="945" y="7184"/>
                </a:cubicBezTo>
                <a:cubicBezTo>
                  <a:pt x="819" y="8192"/>
                  <a:pt x="1576" y="9043"/>
                  <a:pt x="2584" y="9043"/>
                </a:cubicBezTo>
                <a:lnTo>
                  <a:pt x="2836" y="9043"/>
                </a:lnTo>
                <a:cubicBezTo>
                  <a:pt x="2993" y="9326"/>
                  <a:pt x="3182" y="9515"/>
                  <a:pt x="3434" y="9673"/>
                </a:cubicBezTo>
                <a:lnTo>
                  <a:pt x="3434" y="10587"/>
                </a:lnTo>
                <a:cubicBezTo>
                  <a:pt x="3434" y="11721"/>
                  <a:pt x="4379" y="12666"/>
                  <a:pt x="5514" y="12666"/>
                </a:cubicBezTo>
                <a:cubicBezTo>
                  <a:pt x="6648" y="12666"/>
                  <a:pt x="7593" y="11721"/>
                  <a:pt x="7593" y="10587"/>
                </a:cubicBezTo>
                <a:lnTo>
                  <a:pt x="7593" y="9673"/>
                </a:lnTo>
                <a:cubicBezTo>
                  <a:pt x="7845" y="9515"/>
                  <a:pt x="8066" y="9326"/>
                  <a:pt x="8192" y="9043"/>
                </a:cubicBezTo>
                <a:lnTo>
                  <a:pt x="8444" y="9043"/>
                </a:lnTo>
                <a:cubicBezTo>
                  <a:pt x="9420" y="9043"/>
                  <a:pt x="10208" y="8129"/>
                  <a:pt x="10082" y="7153"/>
                </a:cubicBezTo>
                <a:cubicBezTo>
                  <a:pt x="10586" y="6869"/>
                  <a:pt x="10901" y="6333"/>
                  <a:pt x="10901" y="5735"/>
                </a:cubicBezTo>
                <a:cubicBezTo>
                  <a:pt x="10901" y="5451"/>
                  <a:pt x="10838" y="5136"/>
                  <a:pt x="10680" y="4916"/>
                </a:cubicBezTo>
                <a:cubicBezTo>
                  <a:pt x="11059" y="4317"/>
                  <a:pt x="10933" y="3498"/>
                  <a:pt x="10428" y="2962"/>
                </a:cubicBezTo>
                <a:cubicBezTo>
                  <a:pt x="10302" y="2836"/>
                  <a:pt x="10208" y="2742"/>
                  <a:pt x="10082" y="2679"/>
                </a:cubicBezTo>
                <a:lnTo>
                  <a:pt x="10082" y="2490"/>
                </a:lnTo>
                <a:cubicBezTo>
                  <a:pt x="10082" y="1576"/>
                  <a:pt x="9326" y="820"/>
                  <a:pt x="8444" y="820"/>
                </a:cubicBezTo>
                <a:lnTo>
                  <a:pt x="8192" y="820"/>
                </a:lnTo>
                <a:cubicBezTo>
                  <a:pt x="7908" y="316"/>
                  <a:pt x="7372" y="1"/>
                  <a:pt x="6774" y="1"/>
                </a:cubicBezTo>
                <a:cubicBezTo>
                  <a:pt x="6270" y="1"/>
                  <a:pt x="5829" y="222"/>
                  <a:pt x="5514" y="537"/>
                </a:cubicBezTo>
                <a:cubicBezTo>
                  <a:pt x="5199" y="190"/>
                  <a:pt x="4758" y="1"/>
                  <a:pt x="4285"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nvGrpSpPr>
          <p:cNvPr id="9935" name="Google Shape;9935;p111"/>
          <p:cNvGrpSpPr/>
          <p:nvPr/>
        </p:nvGrpSpPr>
        <p:grpSpPr>
          <a:xfrm>
            <a:off x="4682698" y="2106618"/>
            <a:ext cx="487125" cy="386337"/>
            <a:chOff x="-62882850" y="1999375"/>
            <a:chExt cx="315850" cy="250500"/>
          </a:xfrm>
        </p:grpSpPr>
        <p:sp>
          <p:nvSpPr>
            <p:cNvPr id="9936" name="Google Shape;9936;p111"/>
            <p:cNvSpPr/>
            <p:nvPr/>
          </p:nvSpPr>
          <p:spPr>
            <a:xfrm>
              <a:off x="-62882850" y="1999375"/>
              <a:ext cx="315850" cy="250500"/>
            </a:xfrm>
            <a:custGeom>
              <a:avLst/>
              <a:gdLst/>
              <a:ahLst/>
              <a:cxnLst/>
              <a:rect l="l" t="t" r="r" b="b"/>
              <a:pathLst>
                <a:path w="12634" h="10020" extrusionOk="0">
                  <a:moveTo>
                    <a:pt x="10586" y="851"/>
                  </a:moveTo>
                  <a:cubicBezTo>
                    <a:pt x="10838" y="851"/>
                    <a:pt x="11027" y="1040"/>
                    <a:pt x="11027" y="1261"/>
                  </a:cubicBezTo>
                  <a:lnTo>
                    <a:pt x="11027" y="7499"/>
                  </a:lnTo>
                  <a:lnTo>
                    <a:pt x="1638" y="7499"/>
                  </a:lnTo>
                  <a:lnTo>
                    <a:pt x="1638" y="1261"/>
                  </a:lnTo>
                  <a:lnTo>
                    <a:pt x="1607" y="1261"/>
                  </a:lnTo>
                  <a:cubicBezTo>
                    <a:pt x="1607" y="1040"/>
                    <a:pt x="1796" y="851"/>
                    <a:pt x="2048" y="851"/>
                  </a:cubicBezTo>
                  <a:close/>
                  <a:moveTo>
                    <a:pt x="11814" y="8318"/>
                  </a:moveTo>
                  <a:lnTo>
                    <a:pt x="11814" y="8727"/>
                  </a:lnTo>
                  <a:cubicBezTo>
                    <a:pt x="11814" y="8948"/>
                    <a:pt x="11594" y="9137"/>
                    <a:pt x="11405" y="9137"/>
                  </a:cubicBezTo>
                  <a:lnTo>
                    <a:pt x="1197" y="9137"/>
                  </a:lnTo>
                  <a:cubicBezTo>
                    <a:pt x="977" y="9137"/>
                    <a:pt x="788" y="8948"/>
                    <a:pt x="788" y="8727"/>
                  </a:cubicBezTo>
                  <a:lnTo>
                    <a:pt x="788" y="8318"/>
                  </a:lnTo>
                  <a:close/>
                  <a:moveTo>
                    <a:pt x="2048" y="1"/>
                  </a:moveTo>
                  <a:cubicBezTo>
                    <a:pt x="1355" y="1"/>
                    <a:pt x="788" y="568"/>
                    <a:pt x="788" y="1261"/>
                  </a:cubicBezTo>
                  <a:lnTo>
                    <a:pt x="788" y="7499"/>
                  </a:lnTo>
                  <a:lnTo>
                    <a:pt x="378" y="7499"/>
                  </a:lnTo>
                  <a:cubicBezTo>
                    <a:pt x="158" y="7499"/>
                    <a:pt x="0" y="7688"/>
                    <a:pt x="0" y="7940"/>
                  </a:cubicBezTo>
                  <a:lnTo>
                    <a:pt x="0" y="8759"/>
                  </a:lnTo>
                  <a:cubicBezTo>
                    <a:pt x="0" y="9420"/>
                    <a:pt x="536" y="10019"/>
                    <a:pt x="1197" y="10019"/>
                  </a:cubicBezTo>
                  <a:lnTo>
                    <a:pt x="11405" y="10019"/>
                  </a:lnTo>
                  <a:cubicBezTo>
                    <a:pt x="12066" y="10019"/>
                    <a:pt x="12634" y="9452"/>
                    <a:pt x="12634" y="8759"/>
                  </a:cubicBezTo>
                  <a:lnTo>
                    <a:pt x="12634" y="7940"/>
                  </a:lnTo>
                  <a:cubicBezTo>
                    <a:pt x="12634" y="7656"/>
                    <a:pt x="12444" y="7499"/>
                    <a:pt x="12224" y="7499"/>
                  </a:cubicBezTo>
                  <a:lnTo>
                    <a:pt x="11814" y="7499"/>
                  </a:lnTo>
                  <a:lnTo>
                    <a:pt x="11814" y="1261"/>
                  </a:lnTo>
                  <a:cubicBezTo>
                    <a:pt x="11814" y="599"/>
                    <a:pt x="11247" y="1"/>
                    <a:pt x="10586"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9937" name="Google Shape;9937;p111"/>
            <p:cNvSpPr/>
            <p:nvPr/>
          </p:nvSpPr>
          <p:spPr>
            <a:xfrm>
              <a:off x="-62806475" y="2062375"/>
              <a:ext cx="146525" cy="103800"/>
            </a:xfrm>
            <a:custGeom>
              <a:avLst/>
              <a:gdLst/>
              <a:ahLst/>
              <a:cxnLst/>
              <a:rect l="l" t="t" r="r" b="b"/>
              <a:pathLst>
                <a:path w="5861" h="4152" extrusionOk="0">
                  <a:moveTo>
                    <a:pt x="3782" y="1"/>
                  </a:moveTo>
                  <a:cubicBezTo>
                    <a:pt x="3561" y="1"/>
                    <a:pt x="3341" y="221"/>
                    <a:pt x="3341" y="410"/>
                  </a:cubicBezTo>
                  <a:cubicBezTo>
                    <a:pt x="3341" y="631"/>
                    <a:pt x="3561" y="852"/>
                    <a:pt x="3782" y="852"/>
                  </a:cubicBezTo>
                  <a:lnTo>
                    <a:pt x="4443" y="852"/>
                  </a:lnTo>
                  <a:lnTo>
                    <a:pt x="2962" y="2332"/>
                  </a:lnTo>
                  <a:lnTo>
                    <a:pt x="2395" y="1765"/>
                  </a:lnTo>
                  <a:cubicBezTo>
                    <a:pt x="2332" y="1686"/>
                    <a:pt x="2230" y="1647"/>
                    <a:pt x="2124" y="1647"/>
                  </a:cubicBezTo>
                  <a:cubicBezTo>
                    <a:pt x="2017" y="1647"/>
                    <a:pt x="1907" y="1686"/>
                    <a:pt x="1828" y="1765"/>
                  </a:cubicBezTo>
                  <a:lnTo>
                    <a:pt x="159" y="3435"/>
                  </a:lnTo>
                  <a:cubicBezTo>
                    <a:pt x="1" y="3592"/>
                    <a:pt x="1" y="3876"/>
                    <a:pt x="159" y="4034"/>
                  </a:cubicBezTo>
                  <a:cubicBezTo>
                    <a:pt x="237" y="4112"/>
                    <a:pt x="348" y="4152"/>
                    <a:pt x="458" y="4152"/>
                  </a:cubicBezTo>
                  <a:cubicBezTo>
                    <a:pt x="568" y="4152"/>
                    <a:pt x="678" y="4112"/>
                    <a:pt x="757" y="4034"/>
                  </a:cubicBezTo>
                  <a:lnTo>
                    <a:pt x="2143" y="2647"/>
                  </a:lnTo>
                  <a:lnTo>
                    <a:pt x="2679" y="3183"/>
                  </a:lnTo>
                  <a:cubicBezTo>
                    <a:pt x="2758" y="3262"/>
                    <a:pt x="2868" y="3301"/>
                    <a:pt x="2978" y="3301"/>
                  </a:cubicBezTo>
                  <a:cubicBezTo>
                    <a:pt x="3088" y="3301"/>
                    <a:pt x="3199" y="3262"/>
                    <a:pt x="3278" y="3183"/>
                  </a:cubicBezTo>
                  <a:lnTo>
                    <a:pt x="5042" y="1419"/>
                  </a:lnTo>
                  <a:lnTo>
                    <a:pt x="5042" y="2080"/>
                  </a:lnTo>
                  <a:cubicBezTo>
                    <a:pt x="5042" y="2332"/>
                    <a:pt x="5231" y="2521"/>
                    <a:pt x="5451" y="2521"/>
                  </a:cubicBezTo>
                  <a:cubicBezTo>
                    <a:pt x="5640" y="2521"/>
                    <a:pt x="5861" y="2332"/>
                    <a:pt x="5861" y="2080"/>
                  </a:cubicBezTo>
                  <a:lnTo>
                    <a:pt x="5861" y="442"/>
                  </a:lnTo>
                  <a:cubicBezTo>
                    <a:pt x="5861" y="158"/>
                    <a:pt x="5672" y="1"/>
                    <a:pt x="5451"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9938" name="Google Shape;9938;p111"/>
          <p:cNvGrpSpPr/>
          <p:nvPr/>
        </p:nvGrpSpPr>
        <p:grpSpPr>
          <a:xfrm>
            <a:off x="4671150" y="2695393"/>
            <a:ext cx="510220" cy="489592"/>
            <a:chOff x="-62890750" y="2296300"/>
            <a:chExt cx="330825" cy="317450"/>
          </a:xfrm>
        </p:grpSpPr>
        <p:sp>
          <p:nvSpPr>
            <p:cNvPr id="9939" name="Google Shape;9939;p111"/>
            <p:cNvSpPr/>
            <p:nvPr/>
          </p:nvSpPr>
          <p:spPr>
            <a:xfrm>
              <a:off x="-62890750" y="2296300"/>
              <a:ext cx="313500" cy="195375"/>
            </a:xfrm>
            <a:custGeom>
              <a:avLst/>
              <a:gdLst/>
              <a:ahLst/>
              <a:cxnLst/>
              <a:rect l="l" t="t" r="r" b="b"/>
              <a:pathLst>
                <a:path w="12540" h="7815" extrusionOk="0">
                  <a:moveTo>
                    <a:pt x="11437" y="2080"/>
                  </a:moveTo>
                  <a:lnTo>
                    <a:pt x="11658" y="2931"/>
                  </a:lnTo>
                  <a:lnTo>
                    <a:pt x="10776" y="2742"/>
                  </a:lnTo>
                  <a:lnTo>
                    <a:pt x="11437" y="2080"/>
                  </a:lnTo>
                  <a:close/>
                  <a:moveTo>
                    <a:pt x="6617" y="1"/>
                  </a:moveTo>
                  <a:cubicBezTo>
                    <a:pt x="4916" y="1"/>
                    <a:pt x="3340" y="662"/>
                    <a:pt x="2112" y="1828"/>
                  </a:cubicBezTo>
                  <a:cubicBezTo>
                    <a:pt x="663" y="3277"/>
                    <a:pt x="1" y="5420"/>
                    <a:pt x="379" y="7467"/>
                  </a:cubicBezTo>
                  <a:cubicBezTo>
                    <a:pt x="442" y="7656"/>
                    <a:pt x="568" y="7814"/>
                    <a:pt x="789" y="7814"/>
                  </a:cubicBezTo>
                  <a:lnTo>
                    <a:pt x="852" y="7814"/>
                  </a:lnTo>
                  <a:cubicBezTo>
                    <a:pt x="1104" y="7783"/>
                    <a:pt x="1198" y="7562"/>
                    <a:pt x="1167" y="7341"/>
                  </a:cubicBezTo>
                  <a:cubicBezTo>
                    <a:pt x="852" y="5577"/>
                    <a:pt x="1419" y="3718"/>
                    <a:pt x="2710" y="2458"/>
                  </a:cubicBezTo>
                  <a:cubicBezTo>
                    <a:pt x="3719" y="1450"/>
                    <a:pt x="5136" y="851"/>
                    <a:pt x="6617" y="851"/>
                  </a:cubicBezTo>
                  <a:cubicBezTo>
                    <a:pt x="7940" y="851"/>
                    <a:pt x="9200" y="1324"/>
                    <a:pt x="10177" y="2206"/>
                  </a:cubicBezTo>
                  <a:lnTo>
                    <a:pt x="9610" y="2773"/>
                  </a:lnTo>
                  <a:cubicBezTo>
                    <a:pt x="9484" y="2899"/>
                    <a:pt x="9452" y="3057"/>
                    <a:pt x="9484" y="3183"/>
                  </a:cubicBezTo>
                  <a:cubicBezTo>
                    <a:pt x="9515" y="3340"/>
                    <a:pt x="9641" y="3403"/>
                    <a:pt x="9799" y="3466"/>
                  </a:cubicBezTo>
                  <a:lnTo>
                    <a:pt x="12036" y="3939"/>
                  </a:lnTo>
                  <a:lnTo>
                    <a:pt x="12130" y="3939"/>
                  </a:lnTo>
                  <a:cubicBezTo>
                    <a:pt x="12225" y="3939"/>
                    <a:pt x="12319" y="3876"/>
                    <a:pt x="12382" y="3813"/>
                  </a:cubicBezTo>
                  <a:cubicBezTo>
                    <a:pt x="12508" y="3687"/>
                    <a:pt x="12540" y="3561"/>
                    <a:pt x="12508" y="3403"/>
                  </a:cubicBezTo>
                  <a:lnTo>
                    <a:pt x="12036" y="1167"/>
                  </a:lnTo>
                  <a:cubicBezTo>
                    <a:pt x="12004" y="1009"/>
                    <a:pt x="11878" y="883"/>
                    <a:pt x="11752" y="851"/>
                  </a:cubicBezTo>
                  <a:cubicBezTo>
                    <a:pt x="11715" y="844"/>
                    <a:pt x="11678" y="840"/>
                    <a:pt x="11642" y="840"/>
                  </a:cubicBezTo>
                  <a:cubicBezTo>
                    <a:pt x="11526" y="840"/>
                    <a:pt x="11422" y="881"/>
                    <a:pt x="11374" y="977"/>
                  </a:cubicBezTo>
                  <a:lnTo>
                    <a:pt x="10776" y="1576"/>
                  </a:lnTo>
                  <a:cubicBezTo>
                    <a:pt x="9641" y="536"/>
                    <a:pt x="8129" y="1"/>
                    <a:pt x="6617"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9940" name="Google Shape;9940;p111"/>
            <p:cNvSpPr/>
            <p:nvPr/>
          </p:nvSpPr>
          <p:spPr>
            <a:xfrm>
              <a:off x="-62874975" y="2417475"/>
              <a:ext cx="315050" cy="196275"/>
            </a:xfrm>
            <a:custGeom>
              <a:avLst/>
              <a:gdLst/>
              <a:ahLst/>
              <a:cxnLst/>
              <a:rect l="l" t="t" r="r" b="b"/>
              <a:pathLst>
                <a:path w="12602" h="7851" extrusionOk="0">
                  <a:moveTo>
                    <a:pt x="977" y="4857"/>
                  </a:moveTo>
                  <a:lnTo>
                    <a:pt x="1827" y="5078"/>
                  </a:lnTo>
                  <a:lnTo>
                    <a:pt x="1166" y="5739"/>
                  </a:lnTo>
                  <a:lnTo>
                    <a:pt x="977" y="4857"/>
                  </a:lnTo>
                  <a:close/>
                  <a:moveTo>
                    <a:pt x="11779" y="1"/>
                  </a:moveTo>
                  <a:cubicBezTo>
                    <a:pt x="11759" y="1"/>
                    <a:pt x="11739" y="2"/>
                    <a:pt x="11720" y="6"/>
                  </a:cubicBezTo>
                  <a:cubicBezTo>
                    <a:pt x="11499" y="69"/>
                    <a:pt x="11373" y="289"/>
                    <a:pt x="11405" y="478"/>
                  </a:cubicBezTo>
                  <a:cubicBezTo>
                    <a:pt x="11720" y="2274"/>
                    <a:pt x="11184" y="4101"/>
                    <a:pt x="9861" y="5361"/>
                  </a:cubicBezTo>
                  <a:cubicBezTo>
                    <a:pt x="8853" y="6401"/>
                    <a:pt x="7435" y="7000"/>
                    <a:pt x="5986" y="7000"/>
                  </a:cubicBezTo>
                  <a:cubicBezTo>
                    <a:pt x="4631" y="7000"/>
                    <a:pt x="3371" y="6527"/>
                    <a:pt x="2394" y="5645"/>
                  </a:cubicBezTo>
                  <a:lnTo>
                    <a:pt x="2993" y="5046"/>
                  </a:lnTo>
                  <a:cubicBezTo>
                    <a:pt x="3088" y="4952"/>
                    <a:pt x="3151" y="4794"/>
                    <a:pt x="3088" y="4668"/>
                  </a:cubicBezTo>
                  <a:cubicBezTo>
                    <a:pt x="3056" y="4511"/>
                    <a:pt x="2962" y="4416"/>
                    <a:pt x="2772" y="4385"/>
                  </a:cubicBezTo>
                  <a:lnTo>
                    <a:pt x="536" y="3912"/>
                  </a:lnTo>
                  <a:cubicBezTo>
                    <a:pt x="506" y="3905"/>
                    <a:pt x="476" y="3901"/>
                    <a:pt x="446" y="3901"/>
                  </a:cubicBezTo>
                  <a:cubicBezTo>
                    <a:pt x="350" y="3901"/>
                    <a:pt x="254" y="3942"/>
                    <a:pt x="158" y="4038"/>
                  </a:cubicBezTo>
                  <a:cubicBezTo>
                    <a:pt x="32" y="4164"/>
                    <a:pt x="0" y="4290"/>
                    <a:pt x="32" y="4448"/>
                  </a:cubicBezTo>
                  <a:lnTo>
                    <a:pt x="504" y="6685"/>
                  </a:lnTo>
                  <a:cubicBezTo>
                    <a:pt x="536" y="6842"/>
                    <a:pt x="662" y="6937"/>
                    <a:pt x="788" y="7000"/>
                  </a:cubicBezTo>
                  <a:lnTo>
                    <a:pt x="882" y="7000"/>
                  </a:lnTo>
                  <a:cubicBezTo>
                    <a:pt x="1008" y="7000"/>
                    <a:pt x="1103" y="6968"/>
                    <a:pt x="1166" y="6874"/>
                  </a:cubicBezTo>
                  <a:lnTo>
                    <a:pt x="1764" y="6275"/>
                  </a:lnTo>
                  <a:cubicBezTo>
                    <a:pt x="2899" y="7315"/>
                    <a:pt x="4411" y="7850"/>
                    <a:pt x="5923" y="7850"/>
                  </a:cubicBezTo>
                  <a:cubicBezTo>
                    <a:pt x="7624" y="7850"/>
                    <a:pt x="9200" y="7189"/>
                    <a:pt x="10428" y="6023"/>
                  </a:cubicBezTo>
                  <a:cubicBezTo>
                    <a:pt x="11909" y="4511"/>
                    <a:pt x="12602" y="2400"/>
                    <a:pt x="12192" y="321"/>
                  </a:cubicBezTo>
                  <a:cubicBezTo>
                    <a:pt x="12164" y="123"/>
                    <a:pt x="11958" y="1"/>
                    <a:pt x="11779"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9941" name="Google Shape;9941;p111"/>
            <p:cNvSpPr/>
            <p:nvPr/>
          </p:nvSpPr>
          <p:spPr>
            <a:xfrm>
              <a:off x="-62822225" y="2357750"/>
              <a:ext cx="193000" cy="192975"/>
            </a:xfrm>
            <a:custGeom>
              <a:avLst/>
              <a:gdLst/>
              <a:ahLst/>
              <a:cxnLst/>
              <a:rect l="l" t="t" r="r" b="b"/>
              <a:pathLst>
                <a:path w="7720" h="7719" extrusionOk="0">
                  <a:moveTo>
                    <a:pt x="2238" y="1323"/>
                  </a:moveTo>
                  <a:lnTo>
                    <a:pt x="2238" y="1323"/>
                  </a:lnTo>
                  <a:cubicBezTo>
                    <a:pt x="2143" y="1544"/>
                    <a:pt x="2049" y="1827"/>
                    <a:pt x="1986" y="2111"/>
                  </a:cubicBezTo>
                  <a:lnTo>
                    <a:pt x="1419" y="2111"/>
                  </a:lnTo>
                  <a:cubicBezTo>
                    <a:pt x="1671" y="1796"/>
                    <a:pt x="1923" y="1512"/>
                    <a:pt x="2238" y="1323"/>
                  </a:cubicBezTo>
                  <a:close/>
                  <a:moveTo>
                    <a:pt x="3466" y="1040"/>
                  </a:moveTo>
                  <a:lnTo>
                    <a:pt x="3466" y="2111"/>
                  </a:lnTo>
                  <a:lnTo>
                    <a:pt x="2836" y="2111"/>
                  </a:lnTo>
                  <a:cubicBezTo>
                    <a:pt x="2994" y="1575"/>
                    <a:pt x="3246" y="1229"/>
                    <a:pt x="3466" y="1040"/>
                  </a:cubicBezTo>
                  <a:close/>
                  <a:moveTo>
                    <a:pt x="4254" y="1040"/>
                  </a:moveTo>
                  <a:cubicBezTo>
                    <a:pt x="4538" y="1229"/>
                    <a:pt x="4727" y="1575"/>
                    <a:pt x="4884" y="2111"/>
                  </a:cubicBezTo>
                  <a:lnTo>
                    <a:pt x="4254" y="2111"/>
                  </a:lnTo>
                  <a:lnTo>
                    <a:pt x="4254" y="1040"/>
                  </a:lnTo>
                  <a:close/>
                  <a:moveTo>
                    <a:pt x="5483" y="1323"/>
                  </a:moveTo>
                  <a:lnTo>
                    <a:pt x="5483" y="1323"/>
                  </a:lnTo>
                  <a:cubicBezTo>
                    <a:pt x="5798" y="1512"/>
                    <a:pt x="6081" y="1796"/>
                    <a:pt x="6302" y="2111"/>
                  </a:cubicBezTo>
                  <a:lnTo>
                    <a:pt x="5766" y="2111"/>
                  </a:lnTo>
                  <a:cubicBezTo>
                    <a:pt x="5672" y="1827"/>
                    <a:pt x="5609" y="1544"/>
                    <a:pt x="5483" y="1323"/>
                  </a:cubicBezTo>
                  <a:close/>
                  <a:moveTo>
                    <a:pt x="1765" y="2930"/>
                  </a:moveTo>
                  <a:cubicBezTo>
                    <a:pt x="1734" y="3245"/>
                    <a:pt x="1702" y="3560"/>
                    <a:pt x="1702" y="3875"/>
                  </a:cubicBezTo>
                  <a:cubicBezTo>
                    <a:pt x="1702" y="4190"/>
                    <a:pt x="1734" y="4537"/>
                    <a:pt x="1765" y="4820"/>
                  </a:cubicBezTo>
                  <a:lnTo>
                    <a:pt x="978" y="4820"/>
                  </a:lnTo>
                  <a:cubicBezTo>
                    <a:pt x="883" y="4537"/>
                    <a:pt x="820" y="4222"/>
                    <a:pt x="820" y="3875"/>
                  </a:cubicBezTo>
                  <a:cubicBezTo>
                    <a:pt x="820" y="3497"/>
                    <a:pt x="883" y="3214"/>
                    <a:pt x="978" y="2930"/>
                  </a:cubicBezTo>
                  <a:close/>
                  <a:moveTo>
                    <a:pt x="5136" y="2930"/>
                  </a:moveTo>
                  <a:cubicBezTo>
                    <a:pt x="5168" y="3245"/>
                    <a:pt x="5199" y="3560"/>
                    <a:pt x="5199" y="3875"/>
                  </a:cubicBezTo>
                  <a:cubicBezTo>
                    <a:pt x="5199" y="4222"/>
                    <a:pt x="5168" y="4537"/>
                    <a:pt x="5136" y="4820"/>
                  </a:cubicBezTo>
                  <a:lnTo>
                    <a:pt x="4286" y="4820"/>
                  </a:lnTo>
                  <a:lnTo>
                    <a:pt x="4286" y="2930"/>
                  </a:lnTo>
                  <a:close/>
                  <a:moveTo>
                    <a:pt x="6743" y="2930"/>
                  </a:moveTo>
                  <a:cubicBezTo>
                    <a:pt x="6869" y="3245"/>
                    <a:pt x="6900" y="3560"/>
                    <a:pt x="6900" y="3875"/>
                  </a:cubicBezTo>
                  <a:cubicBezTo>
                    <a:pt x="6900" y="4222"/>
                    <a:pt x="6869" y="4537"/>
                    <a:pt x="6743" y="4820"/>
                  </a:cubicBezTo>
                  <a:lnTo>
                    <a:pt x="5955" y="4820"/>
                  </a:lnTo>
                  <a:cubicBezTo>
                    <a:pt x="5987" y="4505"/>
                    <a:pt x="6018" y="4190"/>
                    <a:pt x="6018" y="3875"/>
                  </a:cubicBezTo>
                  <a:cubicBezTo>
                    <a:pt x="6018" y="3560"/>
                    <a:pt x="5987" y="3214"/>
                    <a:pt x="5955" y="2930"/>
                  </a:cubicBezTo>
                  <a:close/>
                  <a:moveTo>
                    <a:pt x="3466" y="2930"/>
                  </a:moveTo>
                  <a:lnTo>
                    <a:pt x="3466" y="4852"/>
                  </a:lnTo>
                  <a:lnTo>
                    <a:pt x="2647" y="4852"/>
                  </a:lnTo>
                  <a:cubicBezTo>
                    <a:pt x="2553" y="4537"/>
                    <a:pt x="2553" y="4222"/>
                    <a:pt x="2553" y="3875"/>
                  </a:cubicBezTo>
                  <a:cubicBezTo>
                    <a:pt x="2553" y="3497"/>
                    <a:pt x="2616" y="3214"/>
                    <a:pt x="2647" y="2930"/>
                  </a:cubicBezTo>
                  <a:close/>
                  <a:moveTo>
                    <a:pt x="6302" y="5640"/>
                  </a:moveTo>
                  <a:cubicBezTo>
                    <a:pt x="6081" y="5955"/>
                    <a:pt x="5798" y="6238"/>
                    <a:pt x="5483" y="6427"/>
                  </a:cubicBezTo>
                  <a:cubicBezTo>
                    <a:pt x="5609" y="6207"/>
                    <a:pt x="5672" y="5923"/>
                    <a:pt x="5766" y="5640"/>
                  </a:cubicBezTo>
                  <a:close/>
                  <a:moveTo>
                    <a:pt x="1986" y="5671"/>
                  </a:moveTo>
                  <a:cubicBezTo>
                    <a:pt x="2049" y="5955"/>
                    <a:pt x="2143" y="6238"/>
                    <a:pt x="2238" y="6459"/>
                  </a:cubicBezTo>
                  <a:cubicBezTo>
                    <a:pt x="1923" y="6238"/>
                    <a:pt x="1671" y="5955"/>
                    <a:pt x="1419" y="5671"/>
                  </a:cubicBezTo>
                  <a:close/>
                  <a:moveTo>
                    <a:pt x="4916" y="5640"/>
                  </a:moveTo>
                  <a:cubicBezTo>
                    <a:pt x="4727" y="6144"/>
                    <a:pt x="4538" y="6522"/>
                    <a:pt x="4286" y="6711"/>
                  </a:cubicBezTo>
                  <a:lnTo>
                    <a:pt x="4286" y="5640"/>
                  </a:lnTo>
                  <a:close/>
                  <a:moveTo>
                    <a:pt x="3466" y="5671"/>
                  </a:moveTo>
                  <a:lnTo>
                    <a:pt x="3466" y="6742"/>
                  </a:lnTo>
                  <a:cubicBezTo>
                    <a:pt x="3246" y="6553"/>
                    <a:pt x="2994" y="6144"/>
                    <a:pt x="2836" y="5671"/>
                  </a:cubicBezTo>
                  <a:close/>
                  <a:moveTo>
                    <a:pt x="3876" y="0"/>
                  </a:moveTo>
                  <a:cubicBezTo>
                    <a:pt x="2301" y="0"/>
                    <a:pt x="915" y="945"/>
                    <a:pt x="316" y="2332"/>
                  </a:cubicBezTo>
                  <a:cubicBezTo>
                    <a:pt x="127" y="2804"/>
                    <a:pt x="1" y="3308"/>
                    <a:pt x="1" y="3875"/>
                  </a:cubicBezTo>
                  <a:cubicBezTo>
                    <a:pt x="1" y="4411"/>
                    <a:pt x="127" y="4946"/>
                    <a:pt x="316" y="5419"/>
                  </a:cubicBezTo>
                  <a:cubicBezTo>
                    <a:pt x="915" y="6774"/>
                    <a:pt x="2301" y="7719"/>
                    <a:pt x="3876" y="7719"/>
                  </a:cubicBezTo>
                  <a:cubicBezTo>
                    <a:pt x="5451" y="7719"/>
                    <a:pt x="6806" y="6774"/>
                    <a:pt x="7405" y="5419"/>
                  </a:cubicBezTo>
                  <a:cubicBezTo>
                    <a:pt x="7594" y="4946"/>
                    <a:pt x="7720" y="4411"/>
                    <a:pt x="7720" y="3875"/>
                  </a:cubicBezTo>
                  <a:cubicBezTo>
                    <a:pt x="7720" y="3308"/>
                    <a:pt x="7594" y="2804"/>
                    <a:pt x="7405" y="2332"/>
                  </a:cubicBezTo>
                  <a:cubicBezTo>
                    <a:pt x="6806" y="945"/>
                    <a:pt x="5451" y="0"/>
                    <a:pt x="3876"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9942" name="Google Shape;9942;p111"/>
          <p:cNvGrpSpPr/>
          <p:nvPr/>
        </p:nvGrpSpPr>
        <p:grpSpPr>
          <a:xfrm>
            <a:off x="4682698" y="3316009"/>
            <a:ext cx="487125" cy="489553"/>
            <a:chOff x="-62882850" y="2664925"/>
            <a:chExt cx="315850" cy="317425"/>
          </a:xfrm>
        </p:grpSpPr>
        <p:sp>
          <p:nvSpPr>
            <p:cNvPr id="9943" name="Google Shape;9943;p111"/>
            <p:cNvSpPr/>
            <p:nvPr/>
          </p:nvSpPr>
          <p:spPr>
            <a:xfrm>
              <a:off x="-62882850" y="2664925"/>
              <a:ext cx="315850" cy="317425"/>
            </a:xfrm>
            <a:custGeom>
              <a:avLst/>
              <a:gdLst/>
              <a:ahLst/>
              <a:cxnLst/>
              <a:rect l="l" t="t" r="r" b="b"/>
              <a:pathLst>
                <a:path w="12634" h="12697" extrusionOk="0">
                  <a:moveTo>
                    <a:pt x="11405" y="851"/>
                  </a:moveTo>
                  <a:cubicBezTo>
                    <a:pt x="11657" y="851"/>
                    <a:pt x="11814" y="1040"/>
                    <a:pt x="11814" y="1260"/>
                  </a:cubicBezTo>
                  <a:lnTo>
                    <a:pt x="11814" y="7719"/>
                  </a:lnTo>
                  <a:lnTo>
                    <a:pt x="788" y="7719"/>
                  </a:lnTo>
                  <a:lnTo>
                    <a:pt x="788" y="1260"/>
                  </a:lnTo>
                  <a:cubicBezTo>
                    <a:pt x="788" y="1040"/>
                    <a:pt x="977" y="851"/>
                    <a:pt x="1197" y="851"/>
                  </a:cubicBezTo>
                  <a:close/>
                  <a:moveTo>
                    <a:pt x="11814" y="8506"/>
                  </a:moveTo>
                  <a:lnTo>
                    <a:pt x="11814" y="8947"/>
                  </a:lnTo>
                  <a:cubicBezTo>
                    <a:pt x="11814" y="9199"/>
                    <a:pt x="11594" y="9389"/>
                    <a:pt x="11405" y="9389"/>
                  </a:cubicBezTo>
                  <a:lnTo>
                    <a:pt x="1197" y="9389"/>
                  </a:lnTo>
                  <a:cubicBezTo>
                    <a:pt x="977" y="9389"/>
                    <a:pt x="788" y="9199"/>
                    <a:pt x="788" y="8947"/>
                  </a:cubicBezTo>
                  <a:lnTo>
                    <a:pt x="788" y="8506"/>
                  </a:lnTo>
                  <a:close/>
                  <a:moveTo>
                    <a:pt x="7782" y="10208"/>
                  </a:moveTo>
                  <a:lnTo>
                    <a:pt x="8349" y="11877"/>
                  </a:lnTo>
                  <a:lnTo>
                    <a:pt x="4253" y="11877"/>
                  </a:lnTo>
                  <a:lnTo>
                    <a:pt x="4789" y="10208"/>
                  </a:lnTo>
                  <a:close/>
                  <a:moveTo>
                    <a:pt x="1197" y="0"/>
                  </a:moveTo>
                  <a:cubicBezTo>
                    <a:pt x="536" y="0"/>
                    <a:pt x="0" y="567"/>
                    <a:pt x="0" y="1229"/>
                  </a:cubicBezTo>
                  <a:lnTo>
                    <a:pt x="0" y="8947"/>
                  </a:lnTo>
                  <a:cubicBezTo>
                    <a:pt x="0" y="9609"/>
                    <a:pt x="536" y="10176"/>
                    <a:pt x="1197" y="10176"/>
                  </a:cubicBezTo>
                  <a:lnTo>
                    <a:pt x="3938" y="10176"/>
                  </a:lnTo>
                  <a:lnTo>
                    <a:pt x="3371" y="11814"/>
                  </a:lnTo>
                  <a:lnTo>
                    <a:pt x="2867" y="11814"/>
                  </a:lnTo>
                  <a:cubicBezTo>
                    <a:pt x="2615" y="11814"/>
                    <a:pt x="2457" y="12003"/>
                    <a:pt x="2457" y="12255"/>
                  </a:cubicBezTo>
                  <a:cubicBezTo>
                    <a:pt x="2457" y="12476"/>
                    <a:pt x="2678" y="12697"/>
                    <a:pt x="2867" y="12697"/>
                  </a:cubicBezTo>
                  <a:lnTo>
                    <a:pt x="9767" y="12697"/>
                  </a:lnTo>
                  <a:cubicBezTo>
                    <a:pt x="9987" y="12697"/>
                    <a:pt x="10176" y="12476"/>
                    <a:pt x="10176" y="12255"/>
                  </a:cubicBezTo>
                  <a:cubicBezTo>
                    <a:pt x="10176" y="12003"/>
                    <a:pt x="9987" y="11814"/>
                    <a:pt x="9767" y="11814"/>
                  </a:cubicBezTo>
                  <a:lnTo>
                    <a:pt x="9231" y="11814"/>
                  </a:lnTo>
                  <a:lnTo>
                    <a:pt x="8695" y="10176"/>
                  </a:lnTo>
                  <a:lnTo>
                    <a:pt x="11405" y="10176"/>
                  </a:lnTo>
                  <a:cubicBezTo>
                    <a:pt x="12066" y="10176"/>
                    <a:pt x="12634" y="9609"/>
                    <a:pt x="12634" y="8947"/>
                  </a:cubicBezTo>
                  <a:lnTo>
                    <a:pt x="12634" y="1229"/>
                  </a:lnTo>
                  <a:cubicBezTo>
                    <a:pt x="12634" y="567"/>
                    <a:pt x="12066" y="0"/>
                    <a:pt x="11405"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9944" name="Google Shape;9944;p111"/>
            <p:cNvSpPr/>
            <p:nvPr/>
          </p:nvSpPr>
          <p:spPr>
            <a:xfrm>
              <a:off x="-62756050" y="2702725"/>
              <a:ext cx="62225" cy="146525"/>
            </a:xfrm>
            <a:custGeom>
              <a:avLst/>
              <a:gdLst/>
              <a:ahLst/>
              <a:cxnLst/>
              <a:rect l="l" t="t" r="r" b="b"/>
              <a:pathLst>
                <a:path w="2489" h="5861" extrusionOk="0">
                  <a:moveTo>
                    <a:pt x="1229" y="0"/>
                  </a:moveTo>
                  <a:cubicBezTo>
                    <a:pt x="977" y="0"/>
                    <a:pt x="819" y="189"/>
                    <a:pt x="819" y="441"/>
                  </a:cubicBezTo>
                  <a:lnTo>
                    <a:pt x="819" y="693"/>
                  </a:lnTo>
                  <a:cubicBezTo>
                    <a:pt x="347" y="851"/>
                    <a:pt x="0" y="1324"/>
                    <a:pt x="0" y="1891"/>
                  </a:cubicBezTo>
                  <a:cubicBezTo>
                    <a:pt x="0" y="2552"/>
                    <a:pt x="536" y="2962"/>
                    <a:pt x="977" y="3277"/>
                  </a:cubicBezTo>
                  <a:cubicBezTo>
                    <a:pt x="1292" y="3497"/>
                    <a:pt x="1639" y="3749"/>
                    <a:pt x="1639" y="3970"/>
                  </a:cubicBezTo>
                  <a:cubicBezTo>
                    <a:pt x="1639" y="4222"/>
                    <a:pt x="1450" y="4411"/>
                    <a:pt x="1229" y="4411"/>
                  </a:cubicBezTo>
                  <a:cubicBezTo>
                    <a:pt x="977" y="4411"/>
                    <a:pt x="819" y="4222"/>
                    <a:pt x="819" y="3970"/>
                  </a:cubicBezTo>
                  <a:cubicBezTo>
                    <a:pt x="819" y="3749"/>
                    <a:pt x="630" y="3529"/>
                    <a:pt x="441" y="3529"/>
                  </a:cubicBezTo>
                  <a:cubicBezTo>
                    <a:pt x="189" y="3529"/>
                    <a:pt x="0" y="3749"/>
                    <a:pt x="0" y="3970"/>
                  </a:cubicBezTo>
                  <a:cubicBezTo>
                    <a:pt x="0" y="4537"/>
                    <a:pt x="347" y="4947"/>
                    <a:pt x="819" y="5167"/>
                  </a:cubicBezTo>
                  <a:lnTo>
                    <a:pt x="819" y="5419"/>
                  </a:lnTo>
                  <a:cubicBezTo>
                    <a:pt x="819" y="5671"/>
                    <a:pt x="1008" y="5860"/>
                    <a:pt x="1229" y="5860"/>
                  </a:cubicBezTo>
                  <a:cubicBezTo>
                    <a:pt x="1450" y="5860"/>
                    <a:pt x="1639" y="5671"/>
                    <a:pt x="1639" y="5419"/>
                  </a:cubicBezTo>
                  <a:lnTo>
                    <a:pt x="1639" y="5167"/>
                  </a:lnTo>
                  <a:cubicBezTo>
                    <a:pt x="2111" y="5010"/>
                    <a:pt x="2489" y="4537"/>
                    <a:pt x="2489" y="3970"/>
                  </a:cubicBezTo>
                  <a:cubicBezTo>
                    <a:pt x="2489" y="3308"/>
                    <a:pt x="1922" y="2899"/>
                    <a:pt x="1481" y="2584"/>
                  </a:cubicBezTo>
                  <a:cubicBezTo>
                    <a:pt x="1166" y="2363"/>
                    <a:pt x="819" y="2111"/>
                    <a:pt x="819" y="1891"/>
                  </a:cubicBezTo>
                  <a:cubicBezTo>
                    <a:pt x="819" y="1639"/>
                    <a:pt x="977" y="1450"/>
                    <a:pt x="1229" y="1450"/>
                  </a:cubicBezTo>
                  <a:cubicBezTo>
                    <a:pt x="1450" y="1450"/>
                    <a:pt x="1639" y="1639"/>
                    <a:pt x="1639" y="1891"/>
                  </a:cubicBezTo>
                  <a:cubicBezTo>
                    <a:pt x="1639" y="2111"/>
                    <a:pt x="1859" y="2332"/>
                    <a:pt x="2048" y="2332"/>
                  </a:cubicBezTo>
                  <a:cubicBezTo>
                    <a:pt x="2237" y="2332"/>
                    <a:pt x="2489" y="2111"/>
                    <a:pt x="2489" y="1891"/>
                  </a:cubicBezTo>
                  <a:cubicBezTo>
                    <a:pt x="2489" y="1324"/>
                    <a:pt x="2143" y="914"/>
                    <a:pt x="1639" y="693"/>
                  </a:cubicBezTo>
                  <a:lnTo>
                    <a:pt x="1639" y="441"/>
                  </a:lnTo>
                  <a:cubicBezTo>
                    <a:pt x="1639" y="189"/>
                    <a:pt x="1450" y="0"/>
                    <a:pt x="1229"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sp>
        <p:nvSpPr>
          <p:cNvPr id="9945" name="Google Shape;9945;p111"/>
          <p:cNvSpPr/>
          <p:nvPr/>
        </p:nvSpPr>
        <p:spPr>
          <a:xfrm>
            <a:off x="2900950" y="3948403"/>
            <a:ext cx="492021" cy="486084"/>
          </a:xfrm>
          <a:custGeom>
            <a:avLst/>
            <a:gdLst/>
            <a:ahLst/>
            <a:cxnLst/>
            <a:rect l="l" t="t" r="r" b="b"/>
            <a:pathLst>
              <a:path w="12761" h="12607" extrusionOk="0">
                <a:moveTo>
                  <a:pt x="1860" y="2084"/>
                </a:moveTo>
                <a:lnTo>
                  <a:pt x="7373" y="2997"/>
                </a:lnTo>
                <a:lnTo>
                  <a:pt x="5861" y="4509"/>
                </a:lnTo>
                <a:lnTo>
                  <a:pt x="1261" y="2682"/>
                </a:lnTo>
                <a:lnTo>
                  <a:pt x="1860" y="2084"/>
                </a:lnTo>
                <a:close/>
                <a:moveTo>
                  <a:pt x="11229" y="836"/>
                </a:moveTo>
                <a:cubicBezTo>
                  <a:pt x="11412" y="836"/>
                  <a:pt x="11578" y="881"/>
                  <a:pt x="11689" y="981"/>
                </a:cubicBezTo>
                <a:cubicBezTo>
                  <a:pt x="11847" y="1107"/>
                  <a:pt x="11878" y="1359"/>
                  <a:pt x="11847" y="1611"/>
                </a:cubicBezTo>
                <a:cubicBezTo>
                  <a:pt x="11815" y="1894"/>
                  <a:pt x="11658" y="2210"/>
                  <a:pt x="11500" y="2367"/>
                </a:cubicBezTo>
                <a:lnTo>
                  <a:pt x="7405" y="6463"/>
                </a:lnTo>
                <a:lnTo>
                  <a:pt x="5168" y="8700"/>
                </a:lnTo>
                <a:cubicBezTo>
                  <a:pt x="5073" y="8794"/>
                  <a:pt x="5010" y="8952"/>
                  <a:pt x="5042" y="9078"/>
                </a:cubicBezTo>
                <a:lnTo>
                  <a:pt x="5262" y="10306"/>
                </a:lnTo>
                <a:lnTo>
                  <a:pt x="4223" y="11377"/>
                </a:lnTo>
                <a:lnTo>
                  <a:pt x="3782" y="9204"/>
                </a:lnTo>
                <a:cubicBezTo>
                  <a:pt x="3750" y="9046"/>
                  <a:pt x="3624" y="8952"/>
                  <a:pt x="3466" y="8889"/>
                </a:cubicBezTo>
                <a:lnTo>
                  <a:pt x="1293" y="8479"/>
                </a:lnTo>
                <a:lnTo>
                  <a:pt x="2364" y="7408"/>
                </a:lnTo>
                <a:lnTo>
                  <a:pt x="3624" y="7628"/>
                </a:lnTo>
                <a:cubicBezTo>
                  <a:pt x="3659" y="7646"/>
                  <a:pt x="3697" y="7654"/>
                  <a:pt x="3734" y="7654"/>
                </a:cubicBezTo>
                <a:cubicBezTo>
                  <a:pt x="3831" y="7654"/>
                  <a:pt x="3925" y="7602"/>
                  <a:pt x="3971" y="7534"/>
                </a:cubicBezTo>
                <a:lnTo>
                  <a:pt x="6207" y="5266"/>
                </a:lnTo>
                <a:lnTo>
                  <a:pt x="10272" y="1233"/>
                </a:lnTo>
                <a:cubicBezTo>
                  <a:pt x="10496" y="988"/>
                  <a:pt x="10892" y="836"/>
                  <a:pt x="11229" y="836"/>
                </a:cubicBezTo>
                <a:close/>
                <a:moveTo>
                  <a:pt x="9641" y="5360"/>
                </a:moveTo>
                <a:lnTo>
                  <a:pt x="10587" y="10873"/>
                </a:lnTo>
                <a:lnTo>
                  <a:pt x="9988" y="11472"/>
                </a:lnTo>
                <a:lnTo>
                  <a:pt x="8161" y="6872"/>
                </a:lnTo>
                <a:lnTo>
                  <a:pt x="9641" y="5360"/>
                </a:lnTo>
                <a:close/>
                <a:moveTo>
                  <a:pt x="11241" y="1"/>
                </a:moveTo>
                <a:cubicBezTo>
                  <a:pt x="10688" y="1"/>
                  <a:pt x="10104" y="248"/>
                  <a:pt x="9736" y="634"/>
                </a:cubicBezTo>
                <a:lnTo>
                  <a:pt x="8066" y="2304"/>
                </a:lnTo>
                <a:lnTo>
                  <a:pt x="1765" y="1233"/>
                </a:lnTo>
                <a:cubicBezTo>
                  <a:pt x="1742" y="1227"/>
                  <a:pt x="1718" y="1225"/>
                  <a:pt x="1693" y="1225"/>
                </a:cubicBezTo>
                <a:cubicBezTo>
                  <a:pt x="1585" y="1225"/>
                  <a:pt x="1470" y="1276"/>
                  <a:pt x="1419" y="1327"/>
                </a:cubicBezTo>
                <a:lnTo>
                  <a:pt x="221" y="2525"/>
                </a:lnTo>
                <a:cubicBezTo>
                  <a:pt x="158" y="2588"/>
                  <a:pt x="64" y="2745"/>
                  <a:pt x="127" y="2903"/>
                </a:cubicBezTo>
                <a:cubicBezTo>
                  <a:pt x="158" y="3029"/>
                  <a:pt x="221" y="3155"/>
                  <a:pt x="348" y="3218"/>
                </a:cubicBezTo>
                <a:lnTo>
                  <a:pt x="5199" y="5171"/>
                </a:lnTo>
                <a:lnTo>
                  <a:pt x="3561" y="6809"/>
                </a:lnTo>
                <a:lnTo>
                  <a:pt x="2301" y="6589"/>
                </a:lnTo>
                <a:cubicBezTo>
                  <a:pt x="2267" y="6572"/>
                  <a:pt x="2231" y="6564"/>
                  <a:pt x="2195" y="6564"/>
                </a:cubicBezTo>
                <a:cubicBezTo>
                  <a:pt x="2095" y="6564"/>
                  <a:pt x="1992" y="6622"/>
                  <a:pt x="1923" y="6715"/>
                </a:cubicBezTo>
                <a:lnTo>
                  <a:pt x="158" y="8479"/>
                </a:lnTo>
                <a:cubicBezTo>
                  <a:pt x="32" y="8605"/>
                  <a:pt x="1" y="8731"/>
                  <a:pt x="32" y="8857"/>
                </a:cubicBezTo>
                <a:cubicBezTo>
                  <a:pt x="95" y="9015"/>
                  <a:pt x="190" y="9109"/>
                  <a:pt x="348" y="9141"/>
                </a:cubicBezTo>
                <a:lnTo>
                  <a:pt x="2994" y="9645"/>
                </a:lnTo>
                <a:lnTo>
                  <a:pt x="3498" y="12291"/>
                </a:lnTo>
                <a:cubicBezTo>
                  <a:pt x="3561" y="12449"/>
                  <a:pt x="3656" y="12575"/>
                  <a:pt x="3782" y="12606"/>
                </a:cubicBezTo>
                <a:lnTo>
                  <a:pt x="3908" y="12606"/>
                </a:lnTo>
                <a:cubicBezTo>
                  <a:pt x="4034" y="12606"/>
                  <a:pt x="4097" y="12575"/>
                  <a:pt x="4191" y="12480"/>
                </a:cubicBezTo>
                <a:lnTo>
                  <a:pt x="5955" y="10716"/>
                </a:lnTo>
                <a:cubicBezTo>
                  <a:pt x="6018" y="10653"/>
                  <a:pt x="6113" y="10464"/>
                  <a:pt x="6081" y="10369"/>
                </a:cubicBezTo>
                <a:lnTo>
                  <a:pt x="5829" y="9109"/>
                </a:lnTo>
                <a:lnTo>
                  <a:pt x="7499" y="7439"/>
                </a:lnTo>
                <a:lnTo>
                  <a:pt x="9421" y="12291"/>
                </a:lnTo>
                <a:cubicBezTo>
                  <a:pt x="9452" y="12417"/>
                  <a:pt x="9578" y="12543"/>
                  <a:pt x="9736" y="12543"/>
                </a:cubicBezTo>
                <a:lnTo>
                  <a:pt x="9799" y="12543"/>
                </a:lnTo>
                <a:cubicBezTo>
                  <a:pt x="9925" y="12543"/>
                  <a:pt x="9988" y="12480"/>
                  <a:pt x="10083" y="12417"/>
                </a:cubicBezTo>
                <a:lnTo>
                  <a:pt x="11248" y="11220"/>
                </a:lnTo>
                <a:cubicBezTo>
                  <a:pt x="11343" y="11157"/>
                  <a:pt x="11374" y="10999"/>
                  <a:pt x="11374" y="10873"/>
                </a:cubicBezTo>
                <a:lnTo>
                  <a:pt x="10303" y="4572"/>
                </a:lnTo>
                <a:lnTo>
                  <a:pt x="11973" y="2903"/>
                </a:lnTo>
                <a:cubicBezTo>
                  <a:pt x="12288" y="2588"/>
                  <a:pt x="12477" y="2178"/>
                  <a:pt x="12571" y="1705"/>
                </a:cubicBezTo>
                <a:cubicBezTo>
                  <a:pt x="12760" y="1201"/>
                  <a:pt x="12603" y="729"/>
                  <a:pt x="12288" y="414"/>
                </a:cubicBezTo>
                <a:cubicBezTo>
                  <a:pt x="12013" y="126"/>
                  <a:pt x="11635" y="1"/>
                  <a:pt x="11241"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nvGrpSpPr>
          <p:cNvPr id="9946" name="Google Shape;9946;p111"/>
          <p:cNvGrpSpPr/>
          <p:nvPr/>
        </p:nvGrpSpPr>
        <p:grpSpPr>
          <a:xfrm>
            <a:off x="2910897" y="4532862"/>
            <a:ext cx="488359" cy="479876"/>
            <a:chOff x="-60988625" y="2310475"/>
            <a:chExt cx="316650" cy="311150"/>
          </a:xfrm>
        </p:grpSpPr>
        <p:sp>
          <p:nvSpPr>
            <p:cNvPr id="9947" name="Google Shape;9947;p111"/>
            <p:cNvSpPr/>
            <p:nvPr/>
          </p:nvSpPr>
          <p:spPr>
            <a:xfrm>
              <a:off x="-60988625" y="2310475"/>
              <a:ext cx="311125" cy="311150"/>
            </a:xfrm>
            <a:custGeom>
              <a:avLst/>
              <a:gdLst/>
              <a:ahLst/>
              <a:cxnLst/>
              <a:rect l="l" t="t" r="r" b="b"/>
              <a:pathLst>
                <a:path w="12445" h="12446" extrusionOk="0">
                  <a:moveTo>
                    <a:pt x="7877" y="883"/>
                  </a:moveTo>
                  <a:cubicBezTo>
                    <a:pt x="8097" y="883"/>
                    <a:pt x="8318" y="1072"/>
                    <a:pt x="8318" y="1324"/>
                  </a:cubicBezTo>
                  <a:lnTo>
                    <a:pt x="8318" y="10398"/>
                  </a:lnTo>
                  <a:cubicBezTo>
                    <a:pt x="8318" y="10870"/>
                    <a:pt x="8444" y="11311"/>
                    <a:pt x="8727" y="11626"/>
                  </a:cubicBezTo>
                  <a:lnTo>
                    <a:pt x="2111" y="11626"/>
                  </a:lnTo>
                  <a:cubicBezTo>
                    <a:pt x="1450" y="11626"/>
                    <a:pt x="851" y="11091"/>
                    <a:pt x="851" y="10398"/>
                  </a:cubicBezTo>
                  <a:lnTo>
                    <a:pt x="851" y="1324"/>
                  </a:lnTo>
                  <a:lnTo>
                    <a:pt x="820" y="1324"/>
                  </a:lnTo>
                  <a:cubicBezTo>
                    <a:pt x="820" y="1072"/>
                    <a:pt x="1009" y="883"/>
                    <a:pt x="1261" y="883"/>
                  </a:cubicBezTo>
                  <a:close/>
                  <a:moveTo>
                    <a:pt x="11500" y="10807"/>
                  </a:moveTo>
                  <a:cubicBezTo>
                    <a:pt x="11342" y="11280"/>
                    <a:pt x="10870" y="11626"/>
                    <a:pt x="10303" y="11626"/>
                  </a:cubicBezTo>
                  <a:cubicBezTo>
                    <a:pt x="9767" y="11626"/>
                    <a:pt x="9326" y="11280"/>
                    <a:pt x="9137" y="10807"/>
                  </a:cubicBezTo>
                  <a:close/>
                  <a:moveTo>
                    <a:pt x="1261" y="1"/>
                  </a:moveTo>
                  <a:cubicBezTo>
                    <a:pt x="568" y="1"/>
                    <a:pt x="32" y="568"/>
                    <a:pt x="32" y="1230"/>
                  </a:cubicBezTo>
                  <a:lnTo>
                    <a:pt x="32" y="10334"/>
                  </a:lnTo>
                  <a:cubicBezTo>
                    <a:pt x="0" y="11563"/>
                    <a:pt x="946" y="12445"/>
                    <a:pt x="2080" y="12445"/>
                  </a:cubicBezTo>
                  <a:lnTo>
                    <a:pt x="10334" y="12445"/>
                  </a:lnTo>
                  <a:cubicBezTo>
                    <a:pt x="11500" y="12445"/>
                    <a:pt x="12445" y="11500"/>
                    <a:pt x="12445" y="10366"/>
                  </a:cubicBezTo>
                  <a:cubicBezTo>
                    <a:pt x="12445" y="10145"/>
                    <a:pt x="12224" y="9925"/>
                    <a:pt x="12004" y="9925"/>
                  </a:cubicBezTo>
                  <a:lnTo>
                    <a:pt x="9074" y="9925"/>
                  </a:lnTo>
                  <a:lnTo>
                    <a:pt x="9074" y="1230"/>
                  </a:lnTo>
                  <a:cubicBezTo>
                    <a:pt x="9074" y="568"/>
                    <a:pt x="8538" y="1"/>
                    <a:pt x="7877"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9948" name="Google Shape;9948;p111"/>
            <p:cNvSpPr/>
            <p:nvPr/>
          </p:nvSpPr>
          <p:spPr>
            <a:xfrm>
              <a:off x="-60947675" y="2353025"/>
              <a:ext cx="145725" cy="20500"/>
            </a:xfrm>
            <a:custGeom>
              <a:avLst/>
              <a:gdLst/>
              <a:ahLst/>
              <a:cxnLst/>
              <a:rect l="l" t="t" r="r" b="b"/>
              <a:pathLst>
                <a:path w="5829" h="820" extrusionOk="0">
                  <a:moveTo>
                    <a:pt x="442" y="0"/>
                  </a:moveTo>
                  <a:cubicBezTo>
                    <a:pt x="190" y="0"/>
                    <a:pt x="1" y="189"/>
                    <a:pt x="1" y="441"/>
                  </a:cubicBezTo>
                  <a:cubicBezTo>
                    <a:pt x="1" y="630"/>
                    <a:pt x="190" y="819"/>
                    <a:pt x="442" y="819"/>
                  </a:cubicBezTo>
                  <a:lnTo>
                    <a:pt x="5388" y="819"/>
                  </a:lnTo>
                  <a:cubicBezTo>
                    <a:pt x="5640" y="819"/>
                    <a:pt x="5829" y="630"/>
                    <a:pt x="5829" y="441"/>
                  </a:cubicBezTo>
                  <a:cubicBezTo>
                    <a:pt x="5829" y="189"/>
                    <a:pt x="5640" y="0"/>
                    <a:pt x="5388"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9949" name="Google Shape;9949;p111"/>
            <p:cNvSpPr/>
            <p:nvPr/>
          </p:nvSpPr>
          <p:spPr>
            <a:xfrm>
              <a:off x="-60947675" y="2415250"/>
              <a:ext cx="145725" cy="20500"/>
            </a:xfrm>
            <a:custGeom>
              <a:avLst/>
              <a:gdLst/>
              <a:ahLst/>
              <a:cxnLst/>
              <a:rect l="l" t="t" r="r" b="b"/>
              <a:pathLst>
                <a:path w="5829" h="820" extrusionOk="0">
                  <a:moveTo>
                    <a:pt x="442" y="0"/>
                  </a:moveTo>
                  <a:cubicBezTo>
                    <a:pt x="190" y="0"/>
                    <a:pt x="1" y="189"/>
                    <a:pt x="1" y="378"/>
                  </a:cubicBezTo>
                  <a:cubicBezTo>
                    <a:pt x="1" y="630"/>
                    <a:pt x="190" y="819"/>
                    <a:pt x="442" y="819"/>
                  </a:cubicBezTo>
                  <a:lnTo>
                    <a:pt x="5388" y="819"/>
                  </a:lnTo>
                  <a:cubicBezTo>
                    <a:pt x="5640" y="819"/>
                    <a:pt x="5829" y="630"/>
                    <a:pt x="5829" y="378"/>
                  </a:cubicBezTo>
                  <a:cubicBezTo>
                    <a:pt x="5829" y="158"/>
                    <a:pt x="5640" y="0"/>
                    <a:pt x="5388"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9950" name="Google Shape;9950;p111"/>
            <p:cNvSpPr/>
            <p:nvPr/>
          </p:nvSpPr>
          <p:spPr>
            <a:xfrm>
              <a:off x="-60947675" y="2475875"/>
              <a:ext cx="145725" cy="22100"/>
            </a:xfrm>
            <a:custGeom>
              <a:avLst/>
              <a:gdLst/>
              <a:ahLst/>
              <a:cxnLst/>
              <a:rect l="l" t="t" r="r" b="b"/>
              <a:pathLst>
                <a:path w="5829" h="884" extrusionOk="0">
                  <a:moveTo>
                    <a:pt x="442" y="1"/>
                  </a:moveTo>
                  <a:cubicBezTo>
                    <a:pt x="190" y="1"/>
                    <a:pt x="1" y="221"/>
                    <a:pt x="1" y="442"/>
                  </a:cubicBezTo>
                  <a:cubicBezTo>
                    <a:pt x="1" y="694"/>
                    <a:pt x="190" y="883"/>
                    <a:pt x="442" y="883"/>
                  </a:cubicBezTo>
                  <a:lnTo>
                    <a:pt x="5388" y="883"/>
                  </a:lnTo>
                  <a:cubicBezTo>
                    <a:pt x="5640" y="883"/>
                    <a:pt x="5829" y="694"/>
                    <a:pt x="5829" y="442"/>
                  </a:cubicBezTo>
                  <a:cubicBezTo>
                    <a:pt x="5829" y="221"/>
                    <a:pt x="5640" y="1"/>
                    <a:pt x="5388"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9951" name="Google Shape;9951;p111"/>
            <p:cNvSpPr/>
            <p:nvPr/>
          </p:nvSpPr>
          <p:spPr>
            <a:xfrm>
              <a:off x="-60947675" y="2538100"/>
              <a:ext cx="145725" cy="22075"/>
            </a:xfrm>
            <a:custGeom>
              <a:avLst/>
              <a:gdLst/>
              <a:ahLst/>
              <a:cxnLst/>
              <a:rect l="l" t="t" r="r" b="b"/>
              <a:pathLst>
                <a:path w="5829" h="883" extrusionOk="0">
                  <a:moveTo>
                    <a:pt x="442" y="1"/>
                  </a:moveTo>
                  <a:cubicBezTo>
                    <a:pt x="190" y="1"/>
                    <a:pt x="1" y="190"/>
                    <a:pt x="1" y="442"/>
                  </a:cubicBezTo>
                  <a:cubicBezTo>
                    <a:pt x="1" y="662"/>
                    <a:pt x="190" y="883"/>
                    <a:pt x="442" y="883"/>
                  </a:cubicBezTo>
                  <a:lnTo>
                    <a:pt x="5388" y="883"/>
                  </a:lnTo>
                  <a:cubicBezTo>
                    <a:pt x="5640" y="883"/>
                    <a:pt x="5829" y="662"/>
                    <a:pt x="5829" y="442"/>
                  </a:cubicBezTo>
                  <a:cubicBezTo>
                    <a:pt x="5829" y="190"/>
                    <a:pt x="5640" y="1"/>
                    <a:pt x="5388"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9952" name="Google Shape;9952;p111"/>
            <p:cNvSpPr/>
            <p:nvPr/>
          </p:nvSpPr>
          <p:spPr>
            <a:xfrm>
              <a:off x="-60740525" y="2312050"/>
              <a:ext cx="68550" cy="233950"/>
            </a:xfrm>
            <a:custGeom>
              <a:avLst/>
              <a:gdLst/>
              <a:ahLst/>
              <a:cxnLst/>
              <a:rect l="l" t="t" r="r" b="b"/>
              <a:pathLst>
                <a:path w="2742" h="9358" extrusionOk="0">
                  <a:moveTo>
                    <a:pt x="1796" y="789"/>
                  </a:moveTo>
                  <a:cubicBezTo>
                    <a:pt x="1891" y="789"/>
                    <a:pt x="1922" y="852"/>
                    <a:pt x="1922" y="946"/>
                  </a:cubicBezTo>
                  <a:lnTo>
                    <a:pt x="1922" y="1639"/>
                  </a:lnTo>
                  <a:lnTo>
                    <a:pt x="820" y="1639"/>
                  </a:lnTo>
                  <a:lnTo>
                    <a:pt x="820" y="946"/>
                  </a:lnTo>
                  <a:cubicBezTo>
                    <a:pt x="820" y="852"/>
                    <a:pt x="883" y="789"/>
                    <a:pt x="977" y="789"/>
                  </a:cubicBezTo>
                  <a:close/>
                  <a:moveTo>
                    <a:pt x="1922" y="2458"/>
                  </a:moveTo>
                  <a:lnTo>
                    <a:pt x="1922" y="6617"/>
                  </a:lnTo>
                  <a:lnTo>
                    <a:pt x="820" y="6617"/>
                  </a:lnTo>
                  <a:lnTo>
                    <a:pt x="820" y="2458"/>
                  </a:lnTo>
                  <a:close/>
                  <a:moveTo>
                    <a:pt x="1639" y="7436"/>
                  </a:moveTo>
                  <a:lnTo>
                    <a:pt x="1355" y="8035"/>
                  </a:lnTo>
                  <a:lnTo>
                    <a:pt x="1040" y="7436"/>
                  </a:lnTo>
                  <a:close/>
                  <a:moveTo>
                    <a:pt x="977" y="1"/>
                  </a:moveTo>
                  <a:cubicBezTo>
                    <a:pt x="410" y="1"/>
                    <a:pt x="1" y="410"/>
                    <a:pt x="1" y="946"/>
                  </a:cubicBezTo>
                  <a:lnTo>
                    <a:pt x="1" y="6995"/>
                  </a:lnTo>
                  <a:cubicBezTo>
                    <a:pt x="1" y="7090"/>
                    <a:pt x="1" y="7121"/>
                    <a:pt x="32" y="7184"/>
                  </a:cubicBezTo>
                  <a:lnTo>
                    <a:pt x="1009" y="9137"/>
                  </a:lnTo>
                  <a:cubicBezTo>
                    <a:pt x="1103" y="9295"/>
                    <a:pt x="1198" y="9358"/>
                    <a:pt x="1355" y="9358"/>
                  </a:cubicBezTo>
                  <a:cubicBezTo>
                    <a:pt x="1513" y="9358"/>
                    <a:pt x="1670" y="9295"/>
                    <a:pt x="1733" y="9137"/>
                  </a:cubicBezTo>
                  <a:lnTo>
                    <a:pt x="2678" y="7184"/>
                  </a:lnTo>
                  <a:cubicBezTo>
                    <a:pt x="2710" y="7153"/>
                    <a:pt x="2710" y="7090"/>
                    <a:pt x="2710" y="6995"/>
                  </a:cubicBezTo>
                  <a:lnTo>
                    <a:pt x="2710" y="946"/>
                  </a:lnTo>
                  <a:cubicBezTo>
                    <a:pt x="2741" y="410"/>
                    <a:pt x="2300" y="1"/>
                    <a:pt x="1796"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9953" name="Google Shape;9953;p111"/>
          <p:cNvGrpSpPr/>
          <p:nvPr/>
        </p:nvGrpSpPr>
        <p:grpSpPr>
          <a:xfrm>
            <a:off x="2911512" y="5117080"/>
            <a:ext cx="487125" cy="491713"/>
            <a:chOff x="-60987050" y="2671400"/>
            <a:chExt cx="315850" cy="318825"/>
          </a:xfrm>
        </p:grpSpPr>
        <p:sp>
          <p:nvSpPr>
            <p:cNvPr id="9954" name="Google Shape;9954;p111"/>
            <p:cNvSpPr/>
            <p:nvPr/>
          </p:nvSpPr>
          <p:spPr>
            <a:xfrm>
              <a:off x="-60987050" y="2671400"/>
              <a:ext cx="315850" cy="318825"/>
            </a:xfrm>
            <a:custGeom>
              <a:avLst/>
              <a:gdLst/>
              <a:ahLst/>
              <a:cxnLst/>
              <a:rect l="l" t="t" r="r" b="b"/>
              <a:pathLst>
                <a:path w="12634" h="12753" extrusionOk="0">
                  <a:moveTo>
                    <a:pt x="6270" y="844"/>
                  </a:moveTo>
                  <a:lnTo>
                    <a:pt x="11783" y="3175"/>
                  </a:lnTo>
                  <a:lnTo>
                    <a:pt x="11783" y="4152"/>
                  </a:lnTo>
                  <a:lnTo>
                    <a:pt x="757" y="4152"/>
                  </a:lnTo>
                  <a:lnTo>
                    <a:pt x="757" y="3175"/>
                  </a:lnTo>
                  <a:lnTo>
                    <a:pt x="6270" y="844"/>
                  </a:lnTo>
                  <a:close/>
                  <a:moveTo>
                    <a:pt x="2552" y="5002"/>
                  </a:moveTo>
                  <a:lnTo>
                    <a:pt x="2552" y="10232"/>
                  </a:lnTo>
                  <a:lnTo>
                    <a:pt x="1733" y="10232"/>
                  </a:lnTo>
                  <a:lnTo>
                    <a:pt x="1733" y="5002"/>
                  </a:lnTo>
                  <a:close/>
                  <a:moveTo>
                    <a:pt x="5041" y="5002"/>
                  </a:moveTo>
                  <a:lnTo>
                    <a:pt x="5041" y="10232"/>
                  </a:lnTo>
                  <a:lnTo>
                    <a:pt x="3403" y="10232"/>
                  </a:lnTo>
                  <a:lnTo>
                    <a:pt x="3403" y="5002"/>
                  </a:lnTo>
                  <a:close/>
                  <a:moveTo>
                    <a:pt x="6711" y="5002"/>
                  </a:moveTo>
                  <a:lnTo>
                    <a:pt x="6711" y="10232"/>
                  </a:lnTo>
                  <a:lnTo>
                    <a:pt x="5860" y="10232"/>
                  </a:lnTo>
                  <a:lnTo>
                    <a:pt x="5860" y="5002"/>
                  </a:lnTo>
                  <a:close/>
                  <a:moveTo>
                    <a:pt x="9168" y="5002"/>
                  </a:moveTo>
                  <a:lnTo>
                    <a:pt x="9168" y="10232"/>
                  </a:lnTo>
                  <a:lnTo>
                    <a:pt x="7530" y="10232"/>
                  </a:lnTo>
                  <a:lnTo>
                    <a:pt x="7530" y="5002"/>
                  </a:lnTo>
                  <a:close/>
                  <a:moveTo>
                    <a:pt x="10838" y="5002"/>
                  </a:moveTo>
                  <a:lnTo>
                    <a:pt x="10838" y="10232"/>
                  </a:lnTo>
                  <a:lnTo>
                    <a:pt x="10019" y="10232"/>
                  </a:lnTo>
                  <a:lnTo>
                    <a:pt x="10019" y="5002"/>
                  </a:lnTo>
                  <a:close/>
                  <a:moveTo>
                    <a:pt x="11374" y="11020"/>
                  </a:moveTo>
                  <a:cubicBezTo>
                    <a:pt x="11594" y="11051"/>
                    <a:pt x="11783" y="11209"/>
                    <a:pt x="11783" y="11461"/>
                  </a:cubicBezTo>
                  <a:lnTo>
                    <a:pt x="11783" y="11870"/>
                  </a:lnTo>
                  <a:lnTo>
                    <a:pt x="757" y="11870"/>
                  </a:lnTo>
                  <a:lnTo>
                    <a:pt x="757" y="11461"/>
                  </a:lnTo>
                  <a:cubicBezTo>
                    <a:pt x="757" y="11209"/>
                    <a:pt x="946" y="11020"/>
                    <a:pt x="1198" y="11020"/>
                  </a:cubicBezTo>
                  <a:close/>
                  <a:moveTo>
                    <a:pt x="6290" y="1"/>
                  </a:moveTo>
                  <a:cubicBezTo>
                    <a:pt x="6238" y="1"/>
                    <a:pt x="6191" y="9"/>
                    <a:pt x="6144" y="25"/>
                  </a:cubicBezTo>
                  <a:lnTo>
                    <a:pt x="252" y="2514"/>
                  </a:lnTo>
                  <a:cubicBezTo>
                    <a:pt x="95" y="2577"/>
                    <a:pt x="0" y="2703"/>
                    <a:pt x="0" y="2892"/>
                  </a:cubicBezTo>
                  <a:lnTo>
                    <a:pt x="0" y="4561"/>
                  </a:lnTo>
                  <a:cubicBezTo>
                    <a:pt x="0" y="4782"/>
                    <a:pt x="189" y="5002"/>
                    <a:pt x="410" y="5002"/>
                  </a:cubicBezTo>
                  <a:lnTo>
                    <a:pt x="946" y="5002"/>
                  </a:lnTo>
                  <a:lnTo>
                    <a:pt x="946" y="10264"/>
                  </a:lnTo>
                  <a:cubicBezTo>
                    <a:pt x="410" y="10390"/>
                    <a:pt x="0" y="10894"/>
                    <a:pt x="0" y="11492"/>
                  </a:cubicBezTo>
                  <a:lnTo>
                    <a:pt x="0" y="12311"/>
                  </a:lnTo>
                  <a:cubicBezTo>
                    <a:pt x="0" y="12532"/>
                    <a:pt x="189" y="12753"/>
                    <a:pt x="410" y="12753"/>
                  </a:cubicBezTo>
                  <a:lnTo>
                    <a:pt x="12256" y="12753"/>
                  </a:lnTo>
                  <a:cubicBezTo>
                    <a:pt x="12476" y="12753"/>
                    <a:pt x="12634" y="12532"/>
                    <a:pt x="12634" y="12311"/>
                  </a:cubicBezTo>
                  <a:lnTo>
                    <a:pt x="12634" y="11492"/>
                  </a:lnTo>
                  <a:cubicBezTo>
                    <a:pt x="12634" y="10894"/>
                    <a:pt x="12256" y="10390"/>
                    <a:pt x="11689" y="10264"/>
                  </a:cubicBezTo>
                  <a:lnTo>
                    <a:pt x="11689" y="5002"/>
                  </a:lnTo>
                  <a:lnTo>
                    <a:pt x="12256" y="5002"/>
                  </a:lnTo>
                  <a:cubicBezTo>
                    <a:pt x="12476" y="5002"/>
                    <a:pt x="12634" y="4782"/>
                    <a:pt x="12634" y="4561"/>
                  </a:cubicBezTo>
                  <a:lnTo>
                    <a:pt x="12634" y="2892"/>
                  </a:lnTo>
                  <a:cubicBezTo>
                    <a:pt x="12602" y="2734"/>
                    <a:pt x="12539" y="2577"/>
                    <a:pt x="12382" y="2514"/>
                  </a:cubicBezTo>
                  <a:lnTo>
                    <a:pt x="6459" y="25"/>
                  </a:lnTo>
                  <a:cubicBezTo>
                    <a:pt x="6396" y="9"/>
                    <a:pt x="6341" y="1"/>
                    <a:pt x="6290"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9955" name="Google Shape;9955;p111"/>
            <p:cNvSpPr/>
            <p:nvPr/>
          </p:nvSpPr>
          <p:spPr>
            <a:xfrm>
              <a:off x="-60839775" y="2731075"/>
              <a:ext cx="19725" cy="19725"/>
            </a:xfrm>
            <a:custGeom>
              <a:avLst/>
              <a:gdLst/>
              <a:ahLst/>
              <a:cxnLst/>
              <a:rect l="l" t="t" r="r" b="b"/>
              <a:pathLst>
                <a:path w="789" h="789" extrusionOk="0">
                  <a:moveTo>
                    <a:pt x="379" y="0"/>
                  </a:moveTo>
                  <a:cubicBezTo>
                    <a:pt x="158" y="0"/>
                    <a:pt x="1" y="190"/>
                    <a:pt x="1" y="379"/>
                  </a:cubicBezTo>
                  <a:cubicBezTo>
                    <a:pt x="1" y="599"/>
                    <a:pt x="158" y="788"/>
                    <a:pt x="379" y="788"/>
                  </a:cubicBezTo>
                  <a:cubicBezTo>
                    <a:pt x="599" y="788"/>
                    <a:pt x="789" y="599"/>
                    <a:pt x="789" y="379"/>
                  </a:cubicBezTo>
                  <a:cubicBezTo>
                    <a:pt x="789" y="190"/>
                    <a:pt x="599" y="0"/>
                    <a:pt x="379"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9956" name="Google Shape;9956;p111"/>
          <p:cNvGrpSpPr/>
          <p:nvPr/>
        </p:nvGrpSpPr>
        <p:grpSpPr>
          <a:xfrm>
            <a:off x="5270001" y="4534095"/>
            <a:ext cx="491983" cy="477408"/>
            <a:chOff x="-59481900" y="2290800"/>
            <a:chExt cx="319000" cy="309550"/>
          </a:xfrm>
        </p:grpSpPr>
        <p:sp>
          <p:nvSpPr>
            <p:cNvPr id="9957" name="Google Shape;9957;p111"/>
            <p:cNvSpPr/>
            <p:nvPr/>
          </p:nvSpPr>
          <p:spPr>
            <a:xfrm>
              <a:off x="-59481900" y="2290800"/>
              <a:ext cx="319000" cy="309550"/>
            </a:xfrm>
            <a:custGeom>
              <a:avLst/>
              <a:gdLst/>
              <a:ahLst/>
              <a:cxnLst/>
              <a:rect l="l" t="t" r="r" b="b"/>
              <a:pathLst>
                <a:path w="12760" h="12382" extrusionOk="0">
                  <a:moveTo>
                    <a:pt x="6427" y="851"/>
                  </a:moveTo>
                  <a:cubicBezTo>
                    <a:pt x="6900" y="851"/>
                    <a:pt x="7247" y="1197"/>
                    <a:pt x="7247" y="1670"/>
                  </a:cubicBezTo>
                  <a:lnTo>
                    <a:pt x="7247" y="4159"/>
                  </a:lnTo>
                  <a:lnTo>
                    <a:pt x="5608" y="4159"/>
                  </a:lnTo>
                  <a:lnTo>
                    <a:pt x="5608" y="1670"/>
                  </a:lnTo>
                  <a:cubicBezTo>
                    <a:pt x="5608" y="1197"/>
                    <a:pt x="5955" y="851"/>
                    <a:pt x="6427" y="851"/>
                  </a:cubicBezTo>
                  <a:close/>
                  <a:moveTo>
                    <a:pt x="11594" y="3308"/>
                  </a:moveTo>
                  <a:cubicBezTo>
                    <a:pt x="11846" y="3308"/>
                    <a:pt x="12004" y="3529"/>
                    <a:pt x="12004" y="3749"/>
                  </a:cubicBezTo>
                  <a:lnTo>
                    <a:pt x="12004" y="11185"/>
                  </a:lnTo>
                  <a:lnTo>
                    <a:pt x="11941" y="11185"/>
                  </a:lnTo>
                  <a:cubicBezTo>
                    <a:pt x="11941" y="11437"/>
                    <a:pt x="11752" y="11594"/>
                    <a:pt x="11563" y="11594"/>
                  </a:cubicBezTo>
                  <a:lnTo>
                    <a:pt x="1355" y="11594"/>
                  </a:lnTo>
                  <a:cubicBezTo>
                    <a:pt x="1103" y="11594"/>
                    <a:pt x="914" y="11405"/>
                    <a:pt x="914" y="11185"/>
                  </a:cubicBezTo>
                  <a:lnTo>
                    <a:pt x="914" y="3749"/>
                  </a:lnTo>
                  <a:cubicBezTo>
                    <a:pt x="914" y="3529"/>
                    <a:pt x="1103" y="3308"/>
                    <a:pt x="1355" y="3308"/>
                  </a:cubicBezTo>
                  <a:lnTo>
                    <a:pt x="4821" y="3308"/>
                  </a:lnTo>
                  <a:lnTo>
                    <a:pt x="4821" y="4568"/>
                  </a:lnTo>
                  <a:cubicBezTo>
                    <a:pt x="4821" y="4821"/>
                    <a:pt x="5010" y="5010"/>
                    <a:pt x="5199" y="5010"/>
                  </a:cubicBezTo>
                  <a:lnTo>
                    <a:pt x="7688" y="5010"/>
                  </a:lnTo>
                  <a:cubicBezTo>
                    <a:pt x="7940" y="5010"/>
                    <a:pt x="8129" y="4821"/>
                    <a:pt x="8129" y="4568"/>
                  </a:cubicBezTo>
                  <a:lnTo>
                    <a:pt x="8129" y="3308"/>
                  </a:lnTo>
                  <a:close/>
                  <a:moveTo>
                    <a:pt x="6396" y="0"/>
                  </a:moveTo>
                  <a:cubicBezTo>
                    <a:pt x="5482" y="0"/>
                    <a:pt x="4726" y="756"/>
                    <a:pt x="4726" y="1670"/>
                  </a:cubicBezTo>
                  <a:lnTo>
                    <a:pt x="4726" y="2489"/>
                  </a:lnTo>
                  <a:lnTo>
                    <a:pt x="1261" y="2489"/>
                  </a:lnTo>
                  <a:cubicBezTo>
                    <a:pt x="599" y="2489"/>
                    <a:pt x="0" y="3056"/>
                    <a:pt x="0" y="3718"/>
                  </a:cubicBezTo>
                  <a:lnTo>
                    <a:pt x="0" y="11153"/>
                  </a:lnTo>
                  <a:cubicBezTo>
                    <a:pt x="0" y="11815"/>
                    <a:pt x="568" y="12382"/>
                    <a:pt x="1261" y="12382"/>
                  </a:cubicBezTo>
                  <a:lnTo>
                    <a:pt x="11468" y="12382"/>
                  </a:lnTo>
                  <a:cubicBezTo>
                    <a:pt x="12130" y="12382"/>
                    <a:pt x="12697" y="11815"/>
                    <a:pt x="12697" y="11153"/>
                  </a:cubicBezTo>
                  <a:lnTo>
                    <a:pt x="12697" y="3749"/>
                  </a:lnTo>
                  <a:cubicBezTo>
                    <a:pt x="12760" y="3025"/>
                    <a:pt x="12193" y="2489"/>
                    <a:pt x="11500" y="2489"/>
                  </a:cubicBezTo>
                  <a:lnTo>
                    <a:pt x="8034" y="2489"/>
                  </a:lnTo>
                  <a:lnTo>
                    <a:pt x="8034" y="1670"/>
                  </a:lnTo>
                  <a:cubicBezTo>
                    <a:pt x="8034" y="756"/>
                    <a:pt x="7310" y="0"/>
                    <a:pt x="6396"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9958" name="Google Shape;9958;p111"/>
            <p:cNvSpPr/>
            <p:nvPr/>
          </p:nvSpPr>
          <p:spPr>
            <a:xfrm>
              <a:off x="-59287350" y="2456200"/>
              <a:ext cx="83500" cy="21275"/>
            </a:xfrm>
            <a:custGeom>
              <a:avLst/>
              <a:gdLst/>
              <a:ahLst/>
              <a:cxnLst/>
              <a:rect l="l" t="t" r="r" b="b"/>
              <a:pathLst>
                <a:path w="3340" h="851" extrusionOk="0">
                  <a:moveTo>
                    <a:pt x="410" y="0"/>
                  </a:moveTo>
                  <a:cubicBezTo>
                    <a:pt x="189" y="0"/>
                    <a:pt x="0" y="221"/>
                    <a:pt x="0" y="441"/>
                  </a:cubicBezTo>
                  <a:cubicBezTo>
                    <a:pt x="0" y="693"/>
                    <a:pt x="189" y="851"/>
                    <a:pt x="410" y="851"/>
                  </a:cubicBezTo>
                  <a:lnTo>
                    <a:pt x="2899" y="851"/>
                  </a:lnTo>
                  <a:cubicBezTo>
                    <a:pt x="3151" y="851"/>
                    <a:pt x="3308" y="630"/>
                    <a:pt x="3308" y="441"/>
                  </a:cubicBezTo>
                  <a:cubicBezTo>
                    <a:pt x="3340" y="221"/>
                    <a:pt x="3151" y="0"/>
                    <a:pt x="2899"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9959" name="Google Shape;9959;p111"/>
            <p:cNvSpPr/>
            <p:nvPr/>
          </p:nvSpPr>
          <p:spPr>
            <a:xfrm>
              <a:off x="-59287350" y="2497950"/>
              <a:ext cx="83500" cy="21275"/>
            </a:xfrm>
            <a:custGeom>
              <a:avLst/>
              <a:gdLst/>
              <a:ahLst/>
              <a:cxnLst/>
              <a:rect l="l" t="t" r="r" b="b"/>
              <a:pathLst>
                <a:path w="3340" h="851" extrusionOk="0">
                  <a:moveTo>
                    <a:pt x="410" y="0"/>
                  </a:moveTo>
                  <a:cubicBezTo>
                    <a:pt x="189" y="0"/>
                    <a:pt x="0" y="189"/>
                    <a:pt x="0" y="441"/>
                  </a:cubicBezTo>
                  <a:cubicBezTo>
                    <a:pt x="0" y="662"/>
                    <a:pt x="189" y="851"/>
                    <a:pt x="410" y="851"/>
                  </a:cubicBezTo>
                  <a:lnTo>
                    <a:pt x="2899" y="851"/>
                  </a:lnTo>
                  <a:cubicBezTo>
                    <a:pt x="3151" y="851"/>
                    <a:pt x="3308" y="662"/>
                    <a:pt x="3308" y="441"/>
                  </a:cubicBezTo>
                  <a:cubicBezTo>
                    <a:pt x="3340" y="189"/>
                    <a:pt x="3151" y="0"/>
                    <a:pt x="2899"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9960" name="Google Shape;9960;p111"/>
            <p:cNvSpPr/>
            <p:nvPr/>
          </p:nvSpPr>
          <p:spPr>
            <a:xfrm>
              <a:off x="-59287350" y="2538900"/>
              <a:ext cx="82700" cy="22075"/>
            </a:xfrm>
            <a:custGeom>
              <a:avLst/>
              <a:gdLst/>
              <a:ahLst/>
              <a:cxnLst/>
              <a:rect l="l" t="t" r="r" b="b"/>
              <a:pathLst>
                <a:path w="3308" h="883" extrusionOk="0">
                  <a:moveTo>
                    <a:pt x="410" y="0"/>
                  </a:moveTo>
                  <a:cubicBezTo>
                    <a:pt x="189" y="0"/>
                    <a:pt x="0" y="221"/>
                    <a:pt x="0" y="441"/>
                  </a:cubicBezTo>
                  <a:cubicBezTo>
                    <a:pt x="0" y="662"/>
                    <a:pt x="189" y="882"/>
                    <a:pt x="410" y="882"/>
                  </a:cubicBezTo>
                  <a:lnTo>
                    <a:pt x="2899" y="882"/>
                  </a:lnTo>
                  <a:cubicBezTo>
                    <a:pt x="3151" y="882"/>
                    <a:pt x="3308" y="662"/>
                    <a:pt x="3308" y="441"/>
                  </a:cubicBezTo>
                  <a:cubicBezTo>
                    <a:pt x="3308" y="221"/>
                    <a:pt x="3151" y="0"/>
                    <a:pt x="2899"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9961" name="Google Shape;9961;p111"/>
            <p:cNvSpPr/>
            <p:nvPr/>
          </p:nvSpPr>
          <p:spPr>
            <a:xfrm>
              <a:off x="-59439375" y="2425425"/>
              <a:ext cx="125250" cy="134750"/>
            </a:xfrm>
            <a:custGeom>
              <a:avLst/>
              <a:gdLst/>
              <a:ahLst/>
              <a:cxnLst/>
              <a:rect l="l" t="t" r="r" b="b"/>
              <a:pathLst>
                <a:path w="5010" h="5390" extrusionOk="0">
                  <a:moveTo>
                    <a:pt x="2518" y="855"/>
                  </a:moveTo>
                  <a:cubicBezTo>
                    <a:pt x="2722" y="855"/>
                    <a:pt x="2928" y="925"/>
                    <a:pt x="3088" y="1074"/>
                  </a:cubicBezTo>
                  <a:cubicBezTo>
                    <a:pt x="3277" y="1294"/>
                    <a:pt x="3340" y="1609"/>
                    <a:pt x="3277" y="1924"/>
                  </a:cubicBezTo>
                  <a:cubicBezTo>
                    <a:pt x="3183" y="2176"/>
                    <a:pt x="2994" y="2428"/>
                    <a:pt x="2710" y="2460"/>
                  </a:cubicBezTo>
                  <a:cubicBezTo>
                    <a:pt x="2626" y="2485"/>
                    <a:pt x="2546" y="2497"/>
                    <a:pt x="2469" y="2497"/>
                  </a:cubicBezTo>
                  <a:cubicBezTo>
                    <a:pt x="2260" y="2497"/>
                    <a:pt x="2076" y="2409"/>
                    <a:pt x="1891" y="2271"/>
                  </a:cubicBezTo>
                  <a:cubicBezTo>
                    <a:pt x="1702" y="2019"/>
                    <a:pt x="1607" y="1704"/>
                    <a:pt x="1702" y="1452"/>
                  </a:cubicBezTo>
                  <a:cubicBezTo>
                    <a:pt x="1802" y="1070"/>
                    <a:pt x="2158" y="855"/>
                    <a:pt x="2518" y="855"/>
                  </a:cubicBezTo>
                  <a:close/>
                  <a:moveTo>
                    <a:pt x="2521" y="3342"/>
                  </a:moveTo>
                  <a:cubicBezTo>
                    <a:pt x="3309" y="3342"/>
                    <a:pt x="3939" y="3846"/>
                    <a:pt x="4159" y="4539"/>
                  </a:cubicBezTo>
                  <a:lnTo>
                    <a:pt x="914" y="4539"/>
                  </a:lnTo>
                  <a:cubicBezTo>
                    <a:pt x="1103" y="3846"/>
                    <a:pt x="1733" y="3342"/>
                    <a:pt x="2521" y="3342"/>
                  </a:cubicBezTo>
                  <a:close/>
                  <a:moveTo>
                    <a:pt x="2473" y="0"/>
                  </a:moveTo>
                  <a:cubicBezTo>
                    <a:pt x="1781" y="0"/>
                    <a:pt x="1110" y="436"/>
                    <a:pt x="914" y="1200"/>
                  </a:cubicBezTo>
                  <a:cubicBezTo>
                    <a:pt x="757" y="1798"/>
                    <a:pt x="914" y="2334"/>
                    <a:pt x="1292" y="2775"/>
                  </a:cubicBezTo>
                  <a:cubicBezTo>
                    <a:pt x="568" y="3216"/>
                    <a:pt x="1" y="4004"/>
                    <a:pt x="1" y="4949"/>
                  </a:cubicBezTo>
                  <a:cubicBezTo>
                    <a:pt x="1" y="5169"/>
                    <a:pt x="190" y="5390"/>
                    <a:pt x="410" y="5390"/>
                  </a:cubicBezTo>
                  <a:lnTo>
                    <a:pt x="4537" y="5390"/>
                  </a:lnTo>
                  <a:cubicBezTo>
                    <a:pt x="4758" y="5390"/>
                    <a:pt x="4978" y="5169"/>
                    <a:pt x="4978" y="4949"/>
                  </a:cubicBezTo>
                  <a:cubicBezTo>
                    <a:pt x="5010" y="4035"/>
                    <a:pt x="4506" y="3216"/>
                    <a:pt x="3718" y="2807"/>
                  </a:cubicBezTo>
                  <a:cubicBezTo>
                    <a:pt x="3907" y="2618"/>
                    <a:pt x="4033" y="2397"/>
                    <a:pt x="4096" y="2113"/>
                  </a:cubicBezTo>
                  <a:cubicBezTo>
                    <a:pt x="4254" y="1515"/>
                    <a:pt x="4096" y="916"/>
                    <a:pt x="3655" y="507"/>
                  </a:cubicBezTo>
                  <a:cubicBezTo>
                    <a:pt x="3322" y="161"/>
                    <a:pt x="2894" y="0"/>
                    <a:pt x="2473"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9962" name="Google Shape;9962;p111"/>
            <p:cNvSpPr/>
            <p:nvPr/>
          </p:nvSpPr>
          <p:spPr>
            <a:xfrm>
              <a:off x="-59327525" y="2325450"/>
              <a:ext cx="13400" cy="13425"/>
            </a:xfrm>
            <a:custGeom>
              <a:avLst/>
              <a:gdLst/>
              <a:ahLst/>
              <a:cxnLst/>
              <a:rect l="l" t="t" r="r" b="b"/>
              <a:pathLst>
                <a:path w="536" h="537" extrusionOk="0">
                  <a:moveTo>
                    <a:pt x="252" y="1"/>
                  </a:moveTo>
                  <a:cubicBezTo>
                    <a:pt x="95" y="1"/>
                    <a:pt x="0" y="127"/>
                    <a:pt x="0" y="284"/>
                  </a:cubicBezTo>
                  <a:cubicBezTo>
                    <a:pt x="0" y="442"/>
                    <a:pt x="95" y="536"/>
                    <a:pt x="252" y="536"/>
                  </a:cubicBezTo>
                  <a:cubicBezTo>
                    <a:pt x="410" y="536"/>
                    <a:pt x="536" y="442"/>
                    <a:pt x="536" y="284"/>
                  </a:cubicBezTo>
                  <a:cubicBezTo>
                    <a:pt x="536" y="127"/>
                    <a:pt x="410" y="1"/>
                    <a:pt x="252"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9963" name="Google Shape;9963;p111"/>
          <p:cNvGrpSpPr/>
          <p:nvPr/>
        </p:nvGrpSpPr>
        <p:grpSpPr>
          <a:xfrm>
            <a:off x="2322407" y="2055125"/>
            <a:ext cx="491983" cy="489323"/>
            <a:chOff x="-64401400" y="1914475"/>
            <a:chExt cx="319000" cy="317275"/>
          </a:xfrm>
        </p:grpSpPr>
        <p:sp>
          <p:nvSpPr>
            <p:cNvPr id="9964" name="Google Shape;9964;p111"/>
            <p:cNvSpPr/>
            <p:nvPr/>
          </p:nvSpPr>
          <p:spPr>
            <a:xfrm>
              <a:off x="-64401400" y="1914475"/>
              <a:ext cx="319000" cy="317275"/>
            </a:xfrm>
            <a:custGeom>
              <a:avLst/>
              <a:gdLst/>
              <a:ahLst/>
              <a:cxnLst/>
              <a:rect l="l" t="t" r="r" b="b"/>
              <a:pathLst>
                <a:path w="12760" h="12691" extrusionOk="0">
                  <a:moveTo>
                    <a:pt x="4726" y="1317"/>
                  </a:moveTo>
                  <a:lnTo>
                    <a:pt x="4726" y="2703"/>
                  </a:lnTo>
                  <a:cubicBezTo>
                    <a:pt x="4663" y="2735"/>
                    <a:pt x="4600" y="2829"/>
                    <a:pt x="4569" y="2861"/>
                  </a:cubicBezTo>
                  <a:lnTo>
                    <a:pt x="4065" y="3554"/>
                  </a:lnTo>
                  <a:cubicBezTo>
                    <a:pt x="3970" y="3176"/>
                    <a:pt x="3907" y="2703"/>
                    <a:pt x="3907" y="2388"/>
                  </a:cubicBezTo>
                  <a:cubicBezTo>
                    <a:pt x="3876" y="1947"/>
                    <a:pt x="3970" y="1632"/>
                    <a:pt x="4222" y="1475"/>
                  </a:cubicBezTo>
                  <a:cubicBezTo>
                    <a:pt x="4348" y="1349"/>
                    <a:pt x="4537" y="1317"/>
                    <a:pt x="4726" y="1317"/>
                  </a:cubicBezTo>
                  <a:close/>
                  <a:moveTo>
                    <a:pt x="7046" y="813"/>
                  </a:moveTo>
                  <a:cubicBezTo>
                    <a:pt x="7507" y="813"/>
                    <a:pt x="7937" y="916"/>
                    <a:pt x="8286" y="1128"/>
                  </a:cubicBezTo>
                  <a:cubicBezTo>
                    <a:pt x="8759" y="1412"/>
                    <a:pt x="8979" y="1821"/>
                    <a:pt x="8948" y="2420"/>
                  </a:cubicBezTo>
                  <a:cubicBezTo>
                    <a:pt x="8948" y="2703"/>
                    <a:pt x="8853" y="3113"/>
                    <a:pt x="8790" y="3554"/>
                  </a:cubicBezTo>
                  <a:lnTo>
                    <a:pt x="8286" y="2861"/>
                  </a:lnTo>
                  <a:cubicBezTo>
                    <a:pt x="8066" y="2609"/>
                    <a:pt x="7814" y="2451"/>
                    <a:pt x="7499" y="2451"/>
                  </a:cubicBezTo>
                  <a:lnTo>
                    <a:pt x="5514" y="2451"/>
                  </a:lnTo>
                  <a:lnTo>
                    <a:pt x="5514" y="1160"/>
                  </a:lnTo>
                  <a:cubicBezTo>
                    <a:pt x="6020" y="931"/>
                    <a:pt x="6551" y="813"/>
                    <a:pt x="7046" y="813"/>
                  </a:cubicBezTo>
                  <a:close/>
                  <a:moveTo>
                    <a:pt x="7530" y="3334"/>
                  </a:moveTo>
                  <a:cubicBezTo>
                    <a:pt x="7562" y="3334"/>
                    <a:pt x="7593" y="3365"/>
                    <a:pt x="7656" y="3365"/>
                  </a:cubicBezTo>
                  <a:lnTo>
                    <a:pt x="8601" y="4657"/>
                  </a:lnTo>
                  <a:cubicBezTo>
                    <a:pt x="8444" y="5917"/>
                    <a:pt x="7688" y="7177"/>
                    <a:pt x="6427" y="7177"/>
                  </a:cubicBezTo>
                  <a:cubicBezTo>
                    <a:pt x="5167" y="7177"/>
                    <a:pt x="4411" y="5980"/>
                    <a:pt x="4254" y="4657"/>
                  </a:cubicBezTo>
                  <a:lnTo>
                    <a:pt x="5199" y="3365"/>
                  </a:lnTo>
                  <a:cubicBezTo>
                    <a:pt x="5230" y="3334"/>
                    <a:pt x="5293" y="3334"/>
                    <a:pt x="5325" y="3334"/>
                  </a:cubicBezTo>
                  <a:close/>
                  <a:moveTo>
                    <a:pt x="5199" y="7681"/>
                  </a:moveTo>
                  <a:cubicBezTo>
                    <a:pt x="5608" y="7902"/>
                    <a:pt x="5986" y="8028"/>
                    <a:pt x="6427" y="8028"/>
                  </a:cubicBezTo>
                  <a:cubicBezTo>
                    <a:pt x="6869" y="8028"/>
                    <a:pt x="7310" y="7902"/>
                    <a:pt x="7688" y="7713"/>
                  </a:cubicBezTo>
                  <a:lnTo>
                    <a:pt x="7688" y="7807"/>
                  </a:lnTo>
                  <a:cubicBezTo>
                    <a:pt x="7688" y="8028"/>
                    <a:pt x="7719" y="8185"/>
                    <a:pt x="7814" y="8343"/>
                  </a:cubicBezTo>
                  <a:lnTo>
                    <a:pt x="6427" y="9634"/>
                  </a:lnTo>
                  <a:lnTo>
                    <a:pt x="5073" y="8280"/>
                  </a:lnTo>
                  <a:cubicBezTo>
                    <a:pt x="5167" y="8122"/>
                    <a:pt x="5199" y="7965"/>
                    <a:pt x="5199" y="7776"/>
                  </a:cubicBezTo>
                  <a:lnTo>
                    <a:pt x="5199" y="7681"/>
                  </a:lnTo>
                  <a:close/>
                  <a:moveTo>
                    <a:pt x="4537" y="8878"/>
                  </a:moveTo>
                  <a:lnTo>
                    <a:pt x="5829" y="10170"/>
                  </a:lnTo>
                  <a:lnTo>
                    <a:pt x="5230" y="10769"/>
                  </a:lnTo>
                  <a:lnTo>
                    <a:pt x="4065" y="9036"/>
                  </a:lnTo>
                  <a:cubicBezTo>
                    <a:pt x="4222" y="9036"/>
                    <a:pt x="4380" y="9004"/>
                    <a:pt x="4537" y="8878"/>
                  </a:cubicBezTo>
                  <a:close/>
                  <a:moveTo>
                    <a:pt x="8318" y="8878"/>
                  </a:moveTo>
                  <a:cubicBezTo>
                    <a:pt x="8475" y="8973"/>
                    <a:pt x="8633" y="9036"/>
                    <a:pt x="8790" y="9036"/>
                  </a:cubicBezTo>
                  <a:lnTo>
                    <a:pt x="7593" y="10769"/>
                  </a:lnTo>
                  <a:lnTo>
                    <a:pt x="7026" y="10170"/>
                  </a:lnTo>
                  <a:lnTo>
                    <a:pt x="8318" y="8878"/>
                  </a:lnTo>
                  <a:close/>
                  <a:moveTo>
                    <a:pt x="10460" y="9067"/>
                  </a:moveTo>
                  <a:cubicBezTo>
                    <a:pt x="11279" y="9067"/>
                    <a:pt x="11941" y="9760"/>
                    <a:pt x="11941" y="10580"/>
                  </a:cubicBezTo>
                  <a:lnTo>
                    <a:pt x="11941" y="11840"/>
                  </a:lnTo>
                  <a:lnTo>
                    <a:pt x="7814" y="11840"/>
                  </a:lnTo>
                  <a:cubicBezTo>
                    <a:pt x="7908" y="11808"/>
                    <a:pt x="8003" y="11745"/>
                    <a:pt x="8034" y="11682"/>
                  </a:cubicBezTo>
                  <a:lnTo>
                    <a:pt x="9798" y="9067"/>
                  </a:lnTo>
                  <a:close/>
                  <a:moveTo>
                    <a:pt x="3088" y="9067"/>
                  </a:moveTo>
                  <a:lnTo>
                    <a:pt x="4852" y="11651"/>
                  </a:lnTo>
                  <a:cubicBezTo>
                    <a:pt x="4915" y="11745"/>
                    <a:pt x="5041" y="11808"/>
                    <a:pt x="5167" y="11840"/>
                  </a:cubicBezTo>
                  <a:lnTo>
                    <a:pt x="5199" y="11840"/>
                  </a:lnTo>
                  <a:cubicBezTo>
                    <a:pt x="5325" y="11840"/>
                    <a:pt x="5419" y="11808"/>
                    <a:pt x="5482" y="11714"/>
                  </a:cubicBezTo>
                  <a:lnTo>
                    <a:pt x="6427" y="10769"/>
                  </a:lnTo>
                  <a:lnTo>
                    <a:pt x="7404" y="11745"/>
                  </a:lnTo>
                  <a:cubicBezTo>
                    <a:pt x="7436" y="11777"/>
                    <a:pt x="7530" y="11840"/>
                    <a:pt x="7593" y="11871"/>
                  </a:cubicBezTo>
                  <a:lnTo>
                    <a:pt x="914" y="11871"/>
                  </a:lnTo>
                  <a:lnTo>
                    <a:pt x="914" y="11840"/>
                  </a:lnTo>
                  <a:lnTo>
                    <a:pt x="914" y="10580"/>
                  </a:lnTo>
                  <a:cubicBezTo>
                    <a:pt x="914" y="9760"/>
                    <a:pt x="1576" y="9067"/>
                    <a:pt x="2395" y="9067"/>
                  </a:cubicBezTo>
                  <a:close/>
                  <a:moveTo>
                    <a:pt x="7043" y="1"/>
                  </a:moveTo>
                  <a:cubicBezTo>
                    <a:pt x="6380" y="1"/>
                    <a:pt x="5673" y="166"/>
                    <a:pt x="5010" y="498"/>
                  </a:cubicBezTo>
                  <a:cubicBezTo>
                    <a:pt x="4898" y="477"/>
                    <a:pt x="4788" y="467"/>
                    <a:pt x="4680" y="467"/>
                  </a:cubicBezTo>
                  <a:cubicBezTo>
                    <a:pt x="4300" y="467"/>
                    <a:pt x="3942" y="592"/>
                    <a:pt x="3624" y="813"/>
                  </a:cubicBezTo>
                  <a:cubicBezTo>
                    <a:pt x="3308" y="1034"/>
                    <a:pt x="2962" y="1506"/>
                    <a:pt x="2962" y="2388"/>
                  </a:cubicBezTo>
                  <a:cubicBezTo>
                    <a:pt x="2962" y="3144"/>
                    <a:pt x="3277" y="4405"/>
                    <a:pt x="3340" y="4625"/>
                  </a:cubicBezTo>
                  <a:cubicBezTo>
                    <a:pt x="3466" y="5570"/>
                    <a:pt x="3781" y="6389"/>
                    <a:pt x="4285" y="6988"/>
                  </a:cubicBezTo>
                  <a:lnTo>
                    <a:pt x="4285" y="7744"/>
                  </a:lnTo>
                  <a:cubicBezTo>
                    <a:pt x="4285" y="8028"/>
                    <a:pt x="4065" y="8248"/>
                    <a:pt x="3781" y="8248"/>
                  </a:cubicBezTo>
                  <a:lnTo>
                    <a:pt x="2332" y="8248"/>
                  </a:lnTo>
                  <a:cubicBezTo>
                    <a:pt x="1072" y="8248"/>
                    <a:pt x="0" y="9288"/>
                    <a:pt x="0" y="10580"/>
                  </a:cubicBezTo>
                  <a:lnTo>
                    <a:pt x="0" y="12281"/>
                  </a:lnTo>
                  <a:cubicBezTo>
                    <a:pt x="0" y="12501"/>
                    <a:pt x="189" y="12690"/>
                    <a:pt x="410" y="12690"/>
                  </a:cubicBezTo>
                  <a:lnTo>
                    <a:pt x="12256" y="12690"/>
                  </a:lnTo>
                  <a:cubicBezTo>
                    <a:pt x="12508" y="12690"/>
                    <a:pt x="12697" y="12501"/>
                    <a:pt x="12697" y="12281"/>
                  </a:cubicBezTo>
                  <a:lnTo>
                    <a:pt x="12697" y="10580"/>
                  </a:lnTo>
                  <a:cubicBezTo>
                    <a:pt x="12760" y="9319"/>
                    <a:pt x="11689" y="8248"/>
                    <a:pt x="10429" y="8248"/>
                  </a:cubicBezTo>
                  <a:lnTo>
                    <a:pt x="8979" y="8248"/>
                  </a:lnTo>
                  <a:cubicBezTo>
                    <a:pt x="8696" y="8248"/>
                    <a:pt x="8475" y="8028"/>
                    <a:pt x="8475" y="7744"/>
                  </a:cubicBezTo>
                  <a:lnTo>
                    <a:pt x="8475" y="6957"/>
                  </a:lnTo>
                  <a:cubicBezTo>
                    <a:pt x="8979" y="6358"/>
                    <a:pt x="9294" y="5539"/>
                    <a:pt x="9389" y="4625"/>
                  </a:cubicBezTo>
                  <a:cubicBezTo>
                    <a:pt x="9546" y="4121"/>
                    <a:pt x="9735" y="3050"/>
                    <a:pt x="9767" y="2420"/>
                  </a:cubicBezTo>
                  <a:cubicBezTo>
                    <a:pt x="9767" y="1538"/>
                    <a:pt x="9420" y="845"/>
                    <a:pt x="8664" y="404"/>
                  </a:cubicBezTo>
                  <a:cubicBezTo>
                    <a:pt x="8202" y="135"/>
                    <a:pt x="7640" y="1"/>
                    <a:pt x="7043"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9965" name="Google Shape;9965;p111"/>
            <p:cNvSpPr/>
            <p:nvPr/>
          </p:nvSpPr>
          <p:spPr>
            <a:xfrm>
              <a:off x="-64172200" y="2175800"/>
              <a:ext cx="48850" cy="22075"/>
            </a:xfrm>
            <a:custGeom>
              <a:avLst/>
              <a:gdLst/>
              <a:ahLst/>
              <a:cxnLst/>
              <a:rect l="l" t="t" r="r" b="b"/>
              <a:pathLst>
                <a:path w="1954" h="883" extrusionOk="0">
                  <a:moveTo>
                    <a:pt x="410" y="1"/>
                  </a:moveTo>
                  <a:cubicBezTo>
                    <a:pt x="158" y="1"/>
                    <a:pt x="0" y="190"/>
                    <a:pt x="0" y="442"/>
                  </a:cubicBezTo>
                  <a:cubicBezTo>
                    <a:pt x="0" y="662"/>
                    <a:pt x="221" y="883"/>
                    <a:pt x="410" y="883"/>
                  </a:cubicBezTo>
                  <a:lnTo>
                    <a:pt x="1513" y="883"/>
                  </a:lnTo>
                  <a:cubicBezTo>
                    <a:pt x="1765" y="883"/>
                    <a:pt x="1891" y="662"/>
                    <a:pt x="1891" y="442"/>
                  </a:cubicBezTo>
                  <a:cubicBezTo>
                    <a:pt x="1954" y="190"/>
                    <a:pt x="1733" y="1"/>
                    <a:pt x="1513"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9966" name="Google Shape;9966;p111"/>
            <p:cNvSpPr/>
            <p:nvPr/>
          </p:nvSpPr>
          <p:spPr>
            <a:xfrm>
              <a:off x="-64212375" y="2210450"/>
              <a:ext cx="5525" cy="25"/>
            </a:xfrm>
            <a:custGeom>
              <a:avLst/>
              <a:gdLst/>
              <a:ahLst/>
              <a:cxnLst/>
              <a:rect l="l" t="t" r="r" b="b"/>
              <a:pathLst>
                <a:path w="221" h="1" extrusionOk="0">
                  <a:moveTo>
                    <a:pt x="1" y="1"/>
                  </a:moveTo>
                  <a:lnTo>
                    <a:pt x="221" y="1"/>
                  </a:lnTo>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9967" name="Google Shape;9967;p111"/>
          <p:cNvGrpSpPr/>
          <p:nvPr/>
        </p:nvGrpSpPr>
        <p:grpSpPr>
          <a:xfrm>
            <a:off x="2408657" y="2696511"/>
            <a:ext cx="319480" cy="487356"/>
            <a:chOff x="-64343900" y="2282125"/>
            <a:chExt cx="207150" cy="316000"/>
          </a:xfrm>
        </p:grpSpPr>
        <p:sp>
          <p:nvSpPr>
            <p:cNvPr id="9968" name="Google Shape;9968;p111"/>
            <p:cNvSpPr/>
            <p:nvPr/>
          </p:nvSpPr>
          <p:spPr>
            <a:xfrm>
              <a:off x="-64270650" y="2310475"/>
              <a:ext cx="61450" cy="147325"/>
            </a:xfrm>
            <a:custGeom>
              <a:avLst/>
              <a:gdLst/>
              <a:ahLst/>
              <a:cxnLst/>
              <a:rect l="l" t="t" r="r" b="b"/>
              <a:pathLst>
                <a:path w="2458" h="5893" extrusionOk="0">
                  <a:moveTo>
                    <a:pt x="1229" y="1"/>
                  </a:moveTo>
                  <a:cubicBezTo>
                    <a:pt x="1008" y="1"/>
                    <a:pt x="851" y="221"/>
                    <a:pt x="851" y="442"/>
                  </a:cubicBezTo>
                  <a:lnTo>
                    <a:pt x="851" y="726"/>
                  </a:lnTo>
                  <a:cubicBezTo>
                    <a:pt x="378" y="883"/>
                    <a:pt x="0" y="1356"/>
                    <a:pt x="0" y="1891"/>
                  </a:cubicBezTo>
                  <a:cubicBezTo>
                    <a:pt x="0" y="2584"/>
                    <a:pt x="567" y="2962"/>
                    <a:pt x="1008" y="3277"/>
                  </a:cubicBezTo>
                  <a:cubicBezTo>
                    <a:pt x="1323" y="3529"/>
                    <a:pt x="1670" y="3750"/>
                    <a:pt x="1670" y="4002"/>
                  </a:cubicBezTo>
                  <a:cubicBezTo>
                    <a:pt x="1670" y="4223"/>
                    <a:pt x="1481" y="4412"/>
                    <a:pt x="1229" y="4412"/>
                  </a:cubicBezTo>
                  <a:cubicBezTo>
                    <a:pt x="1008" y="4412"/>
                    <a:pt x="851" y="4223"/>
                    <a:pt x="851" y="4002"/>
                  </a:cubicBezTo>
                  <a:cubicBezTo>
                    <a:pt x="851" y="3750"/>
                    <a:pt x="630" y="3592"/>
                    <a:pt x="441" y="3592"/>
                  </a:cubicBezTo>
                  <a:cubicBezTo>
                    <a:pt x="221" y="3592"/>
                    <a:pt x="0" y="3781"/>
                    <a:pt x="0" y="4002"/>
                  </a:cubicBezTo>
                  <a:cubicBezTo>
                    <a:pt x="0" y="4538"/>
                    <a:pt x="378" y="4979"/>
                    <a:pt x="851" y="5168"/>
                  </a:cubicBezTo>
                  <a:lnTo>
                    <a:pt x="851" y="5451"/>
                  </a:lnTo>
                  <a:cubicBezTo>
                    <a:pt x="851" y="5672"/>
                    <a:pt x="1040" y="5892"/>
                    <a:pt x="1229" y="5892"/>
                  </a:cubicBezTo>
                  <a:cubicBezTo>
                    <a:pt x="1481" y="5829"/>
                    <a:pt x="1639" y="5640"/>
                    <a:pt x="1639" y="5451"/>
                  </a:cubicBezTo>
                  <a:lnTo>
                    <a:pt x="1639" y="5168"/>
                  </a:lnTo>
                  <a:cubicBezTo>
                    <a:pt x="2111" y="5010"/>
                    <a:pt x="2458" y="4538"/>
                    <a:pt x="2458" y="4002"/>
                  </a:cubicBezTo>
                  <a:cubicBezTo>
                    <a:pt x="2458" y="3309"/>
                    <a:pt x="1891" y="2931"/>
                    <a:pt x="1481" y="2616"/>
                  </a:cubicBezTo>
                  <a:cubicBezTo>
                    <a:pt x="1166" y="2364"/>
                    <a:pt x="788" y="2143"/>
                    <a:pt x="788" y="1891"/>
                  </a:cubicBezTo>
                  <a:cubicBezTo>
                    <a:pt x="788" y="1671"/>
                    <a:pt x="1008" y="1513"/>
                    <a:pt x="1197" y="1513"/>
                  </a:cubicBezTo>
                  <a:cubicBezTo>
                    <a:pt x="1418" y="1513"/>
                    <a:pt x="1639" y="1702"/>
                    <a:pt x="1639" y="1891"/>
                  </a:cubicBezTo>
                  <a:cubicBezTo>
                    <a:pt x="1639" y="2143"/>
                    <a:pt x="1828" y="2332"/>
                    <a:pt x="2017" y="2332"/>
                  </a:cubicBezTo>
                  <a:cubicBezTo>
                    <a:pt x="2269" y="2332"/>
                    <a:pt x="2458" y="2143"/>
                    <a:pt x="2458" y="1891"/>
                  </a:cubicBezTo>
                  <a:cubicBezTo>
                    <a:pt x="2458" y="1356"/>
                    <a:pt x="2111" y="915"/>
                    <a:pt x="1639" y="726"/>
                  </a:cubicBezTo>
                  <a:lnTo>
                    <a:pt x="1639" y="442"/>
                  </a:lnTo>
                  <a:cubicBezTo>
                    <a:pt x="1639" y="221"/>
                    <a:pt x="1418" y="1"/>
                    <a:pt x="1229"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9969" name="Google Shape;9969;p111"/>
            <p:cNvSpPr/>
            <p:nvPr/>
          </p:nvSpPr>
          <p:spPr>
            <a:xfrm>
              <a:off x="-64343900" y="2282125"/>
              <a:ext cx="207150" cy="316000"/>
            </a:xfrm>
            <a:custGeom>
              <a:avLst/>
              <a:gdLst/>
              <a:ahLst/>
              <a:cxnLst/>
              <a:rect l="l" t="t" r="r" b="b"/>
              <a:pathLst>
                <a:path w="8286" h="12640" extrusionOk="0">
                  <a:moveTo>
                    <a:pt x="4159" y="788"/>
                  </a:moveTo>
                  <a:cubicBezTo>
                    <a:pt x="5986" y="788"/>
                    <a:pt x="7467" y="2301"/>
                    <a:pt x="7467" y="4096"/>
                  </a:cubicBezTo>
                  <a:cubicBezTo>
                    <a:pt x="7467" y="5924"/>
                    <a:pt x="5986" y="7404"/>
                    <a:pt x="4159" y="7404"/>
                  </a:cubicBezTo>
                  <a:cubicBezTo>
                    <a:pt x="2300" y="7404"/>
                    <a:pt x="851" y="5924"/>
                    <a:pt x="851" y="4096"/>
                  </a:cubicBezTo>
                  <a:cubicBezTo>
                    <a:pt x="851" y="2301"/>
                    <a:pt x="2363" y="788"/>
                    <a:pt x="4159" y="788"/>
                  </a:cubicBezTo>
                  <a:close/>
                  <a:moveTo>
                    <a:pt x="851" y="8917"/>
                  </a:moveTo>
                  <a:cubicBezTo>
                    <a:pt x="1513" y="8980"/>
                    <a:pt x="2206" y="9295"/>
                    <a:pt x="2773" y="9862"/>
                  </a:cubicBezTo>
                  <a:cubicBezTo>
                    <a:pt x="3340" y="10429"/>
                    <a:pt x="3655" y="11122"/>
                    <a:pt x="3718" y="11784"/>
                  </a:cubicBezTo>
                  <a:cubicBezTo>
                    <a:pt x="3056" y="11689"/>
                    <a:pt x="2395" y="11374"/>
                    <a:pt x="1796" y="10838"/>
                  </a:cubicBezTo>
                  <a:cubicBezTo>
                    <a:pt x="1261" y="10271"/>
                    <a:pt x="945" y="9578"/>
                    <a:pt x="851" y="8917"/>
                  </a:cubicBezTo>
                  <a:close/>
                  <a:moveTo>
                    <a:pt x="7467" y="8917"/>
                  </a:moveTo>
                  <a:lnTo>
                    <a:pt x="7467" y="8917"/>
                  </a:lnTo>
                  <a:cubicBezTo>
                    <a:pt x="7404" y="9578"/>
                    <a:pt x="7089" y="10240"/>
                    <a:pt x="6522" y="10838"/>
                  </a:cubicBezTo>
                  <a:cubicBezTo>
                    <a:pt x="5923" y="11374"/>
                    <a:pt x="5262" y="11689"/>
                    <a:pt x="4600" y="11784"/>
                  </a:cubicBezTo>
                  <a:cubicBezTo>
                    <a:pt x="4663" y="11122"/>
                    <a:pt x="4947" y="10429"/>
                    <a:pt x="5545" y="9862"/>
                  </a:cubicBezTo>
                  <a:cubicBezTo>
                    <a:pt x="6081" y="9295"/>
                    <a:pt x="6805" y="8980"/>
                    <a:pt x="7467" y="8917"/>
                  </a:cubicBezTo>
                  <a:close/>
                  <a:moveTo>
                    <a:pt x="4159" y="1"/>
                  </a:moveTo>
                  <a:cubicBezTo>
                    <a:pt x="1891" y="1"/>
                    <a:pt x="32" y="1860"/>
                    <a:pt x="32" y="4128"/>
                  </a:cubicBezTo>
                  <a:cubicBezTo>
                    <a:pt x="32" y="6270"/>
                    <a:pt x="1670" y="8034"/>
                    <a:pt x="3781" y="8223"/>
                  </a:cubicBezTo>
                  <a:lnTo>
                    <a:pt x="3781" y="9736"/>
                  </a:lnTo>
                  <a:cubicBezTo>
                    <a:pt x="3623" y="9578"/>
                    <a:pt x="3497" y="9421"/>
                    <a:pt x="3371" y="9295"/>
                  </a:cubicBezTo>
                  <a:cubicBezTo>
                    <a:pt x="2584" y="8507"/>
                    <a:pt x="1576" y="8066"/>
                    <a:pt x="410" y="8066"/>
                  </a:cubicBezTo>
                  <a:cubicBezTo>
                    <a:pt x="189" y="8066"/>
                    <a:pt x="32" y="8287"/>
                    <a:pt x="32" y="8476"/>
                  </a:cubicBezTo>
                  <a:cubicBezTo>
                    <a:pt x="0" y="9578"/>
                    <a:pt x="410" y="10649"/>
                    <a:pt x="1261" y="11437"/>
                  </a:cubicBezTo>
                  <a:cubicBezTo>
                    <a:pt x="2048" y="12225"/>
                    <a:pt x="3056" y="12634"/>
                    <a:pt x="4096" y="12634"/>
                  </a:cubicBezTo>
                  <a:lnTo>
                    <a:pt x="4159" y="12634"/>
                  </a:lnTo>
                  <a:cubicBezTo>
                    <a:pt x="4225" y="12638"/>
                    <a:pt x="4290" y="12640"/>
                    <a:pt x="4355" y="12640"/>
                  </a:cubicBezTo>
                  <a:cubicBezTo>
                    <a:pt x="5385" y="12640"/>
                    <a:pt x="6348" y="12178"/>
                    <a:pt x="7089" y="11437"/>
                  </a:cubicBezTo>
                  <a:cubicBezTo>
                    <a:pt x="7877" y="10649"/>
                    <a:pt x="8286" y="9610"/>
                    <a:pt x="8286" y="8476"/>
                  </a:cubicBezTo>
                  <a:cubicBezTo>
                    <a:pt x="8286" y="8223"/>
                    <a:pt x="8097" y="8066"/>
                    <a:pt x="7908" y="8066"/>
                  </a:cubicBezTo>
                  <a:cubicBezTo>
                    <a:pt x="7872" y="8065"/>
                    <a:pt x="7837" y="8064"/>
                    <a:pt x="7801" y="8064"/>
                  </a:cubicBezTo>
                  <a:cubicBezTo>
                    <a:pt x="6709" y="8064"/>
                    <a:pt x="5709" y="8532"/>
                    <a:pt x="4947" y="9295"/>
                  </a:cubicBezTo>
                  <a:cubicBezTo>
                    <a:pt x="4821" y="9452"/>
                    <a:pt x="4663" y="9578"/>
                    <a:pt x="4569" y="9736"/>
                  </a:cubicBezTo>
                  <a:lnTo>
                    <a:pt x="4569" y="8223"/>
                  </a:lnTo>
                  <a:cubicBezTo>
                    <a:pt x="6648" y="8034"/>
                    <a:pt x="8286" y="6270"/>
                    <a:pt x="8286" y="4128"/>
                  </a:cubicBezTo>
                  <a:cubicBezTo>
                    <a:pt x="8286" y="1860"/>
                    <a:pt x="6459" y="1"/>
                    <a:pt x="4159"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sp>
        <p:nvSpPr>
          <p:cNvPr id="9970" name="Google Shape;9970;p111"/>
          <p:cNvSpPr/>
          <p:nvPr/>
        </p:nvSpPr>
        <p:spPr>
          <a:xfrm>
            <a:off x="2315052" y="3314178"/>
            <a:ext cx="489553" cy="493217"/>
          </a:xfrm>
          <a:custGeom>
            <a:avLst/>
            <a:gdLst/>
            <a:ahLst/>
            <a:cxnLst/>
            <a:rect l="l" t="t" r="r" b="b"/>
            <a:pathLst>
              <a:path w="12697" h="12792" extrusionOk="0">
                <a:moveTo>
                  <a:pt x="7310" y="3435"/>
                </a:moveTo>
                <a:cubicBezTo>
                  <a:pt x="7404" y="3435"/>
                  <a:pt x="7467" y="3498"/>
                  <a:pt x="7436" y="3624"/>
                </a:cubicBezTo>
                <a:cubicBezTo>
                  <a:pt x="7310" y="3939"/>
                  <a:pt x="7247" y="4223"/>
                  <a:pt x="7215" y="4538"/>
                </a:cubicBezTo>
                <a:lnTo>
                  <a:pt x="5419" y="4538"/>
                </a:lnTo>
                <a:cubicBezTo>
                  <a:pt x="5388" y="4223"/>
                  <a:pt x="5293" y="3908"/>
                  <a:pt x="5199" y="3624"/>
                </a:cubicBezTo>
                <a:cubicBezTo>
                  <a:pt x="5167" y="3498"/>
                  <a:pt x="5230" y="3435"/>
                  <a:pt x="5325" y="3435"/>
                </a:cubicBezTo>
                <a:close/>
                <a:moveTo>
                  <a:pt x="7121" y="5357"/>
                </a:moveTo>
                <a:cubicBezTo>
                  <a:pt x="7089" y="6428"/>
                  <a:pt x="7310" y="7436"/>
                  <a:pt x="7845" y="8381"/>
                </a:cubicBezTo>
                <a:lnTo>
                  <a:pt x="8003" y="8665"/>
                </a:lnTo>
                <a:lnTo>
                  <a:pt x="4726" y="8665"/>
                </a:lnTo>
                <a:lnTo>
                  <a:pt x="4852" y="8381"/>
                </a:lnTo>
                <a:cubicBezTo>
                  <a:pt x="5356" y="7436"/>
                  <a:pt x="5577" y="6396"/>
                  <a:pt x="5545" y="5357"/>
                </a:cubicBezTo>
                <a:close/>
                <a:moveTo>
                  <a:pt x="8381" y="9484"/>
                </a:moveTo>
                <a:cubicBezTo>
                  <a:pt x="8633" y="9484"/>
                  <a:pt x="8790" y="9704"/>
                  <a:pt x="8790" y="9925"/>
                </a:cubicBezTo>
                <a:lnTo>
                  <a:pt x="8790" y="10335"/>
                </a:lnTo>
                <a:lnTo>
                  <a:pt x="3813" y="10335"/>
                </a:lnTo>
                <a:lnTo>
                  <a:pt x="3813" y="9925"/>
                </a:lnTo>
                <a:lnTo>
                  <a:pt x="3844" y="9925"/>
                </a:lnTo>
                <a:cubicBezTo>
                  <a:pt x="3844" y="9704"/>
                  <a:pt x="4065" y="9484"/>
                  <a:pt x="4254" y="9484"/>
                </a:cubicBezTo>
                <a:close/>
                <a:moveTo>
                  <a:pt x="9200" y="11154"/>
                </a:moveTo>
                <a:cubicBezTo>
                  <a:pt x="9452" y="11154"/>
                  <a:pt x="9609" y="11343"/>
                  <a:pt x="9609" y="11595"/>
                </a:cubicBezTo>
                <a:lnTo>
                  <a:pt x="9609" y="12004"/>
                </a:lnTo>
                <a:lnTo>
                  <a:pt x="2993" y="12004"/>
                </a:lnTo>
                <a:lnTo>
                  <a:pt x="2993" y="11595"/>
                </a:lnTo>
                <a:lnTo>
                  <a:pt x="3025" y="11595"/>
                </a:lnTo>
                <a:cubicBezTo>
                  <a:pt x="3025" y="11343"/>
                  <a:pt x="3214" y="11154"/>
                  <a:pt x="3435" y="11154"/>
                </a:cubicBezTo>
                <a:close/>
                <a:moveTo>
                  <a:pt x="6333" y="1"/>
                </a:moveTo>
                <a:cubicBezTo>
                  <a:pt x="6144" y="1"/>
                  <a:pt x="5955" y="190"/>
                  <a:pt x="5955" y="442"/>
                </a:cubicBezTo>
                <a:lnTo>
                  <a:pt x="5955" y="883"/>
                </a:lnTo>
                <a:lnTo>
                  <a:pt x="5514" y="883"/>
                </a:lnTo>
                <a:cubicBezTo>
                  <a:pt x="5262" y="883"/>
                  <a:pt x="5104" y="1072"/>
                  <a:pt x="5104" y="1261"/>
                </a:cubicBezTo>
                <a:cubicBezTo>
                  <a:pt x="5104" y="1513"/>
                  <a:pt x="5325" y="1702"/>
                  <a:pt x="5514" y="1702"/>
                </a:cubicBezTo>
                <a:lnTo>
                  <a:pt x="5955" y="1702"/>
                </a:lnTo>
                <a:lnTo>
                  <a:pt x="5955" y="2521"/>
                </a:lnTo>
                <a:lnTo>
                  <a:pt x="5356" y="2521"/>
                </a:lnTo>
                <a:cubicBezTo>
                  <a:pt x="4695" y="2521"/>
                  <a:pt x="4222" y="3183"/>
                  <a:pt x="4443" y="3813"/>
                </a:cubicBezTo>
                <a:cubicBezTo>
                  <a:pt x="4537" y="4034"/>
                  <a:pt x="4569" y="4254"/>
                  <a:pt x="4632" y="4443"/>
                </a:cubicBezTo>
                <a:lnTo>
                  <a:pt x="4285" y="4443"/>
                </a:lnTo>
                <a:cubicBezTo>
                  <a:pt x="4065" y="4443"/>
                  <a:pt x="3907" y="4664"/>
                  <a:pt x="3907" y="4884"/>
                </a:cubicBezTo>
                <a:cubicBezTo>
                  <a:pt x="3907" y="5136"/>
                  <a:pt x="4096" y="5325"/>
                  <a:pt x="4285" y="5325"/>
                </a:cubicBezTo>
                <a:lnTo>
                  <a:pt x="4726" y="5325"/>
                </a:lnTo>
                <a:cubicBezTo>
                  <a:pt x="4821" y="6901"/>
                  <a:pt x="4191" y="7846"/>
                  <a:pt x="3718" y="8791"/>
                </a:cubicBezTo>
                <a:cubicBezTo>
                  <a:pt x="3308" y="8980"/>
                  <a:pt x="3025" y="9421"/>
                  <a:pt x="3025" y="9893"/>
                </a:cubicBezTo>
                <a:lnTo>
                  <a:pt x="3025" y="10366"/>
                </a:lnTo>
                <a:cubicBezTo>
                  <a:pt x="2552" y="10524"/>
                  <a:pt x="2206" y="10996"/>
                  <a:pt x="2206" y="11532"/>
                </a:cubicBezTo>
                <a:lnTo>
                  <a:pt x="2206" y="11973"/>
                </a:lnTo>
                <a:lnTo>
                  <a:pt x="442" y="11973"/>
                </a:lnTo>
                <a:cubicBezTo>
                  <a:pt x="189" y="11973"/>
                  <a:pt x="0" y="12162"/>
                  <a:pt x="0" y="12382"/>
                </a:cubicBezTo>
                <a:cubicBezTo>
                  <a:pt x="0" y="12603"/>
                  <a:pt x="158" y="12792"/>
                  <a:pt x="379" y="12792"/>
                </a:cubicBezTo>
                <a:lnTo>
                  <a:pt x="12256" y="12792"/>
                </a:lnTo>
                <a:cubicBezTo>
                  <a:pt x="12476" y="12792"/>
                  <a:pt x="12697" y="12603"/>
                  <a:pt x="12697" y="12382"/>
                </a:cubicBezTo>
                <a:cubicBezTo>
                  <a:pt x="12697" y="12130"/>
                  <a:pt x="12476" y="11973"/>
                  <a:pt x="12256" y="11973"/>
                </a:cubicBezTo>
                <a:lnTo>
                  <a:pt x="10460" y="11973"/>
                </a:lnTo>
                <a:lnTo>
                  <a:pt x="10460" y="11532"/>
                </a:lnTo>
                <a:cubicBezTo>
                  <a:pt x="10460" y="10996"/>
                  <a:pt x="10114" y="10555"/>
                  <a:pt x="9641" y="10366"/>
                </a:cubicBezTo>
                <a:lnTo>
                  <a:pt x="9641" y="9893"/>
                </a:lnTo>
                <a:cubicBezTo>
                  <a:pt x="9641" y="9421"/>
                  <a:pt x="9357" y="8980"/>
                  <a:pt x="8979" y="8791"/>
                </a:cubicBezTo>
                <a:cubicBezTo>
                  <a:pt x="8507" y="7877"/>
                  <a:pt x="7877" y="6932"/>
                  <a:pt x="7940" y="5325"/>
                </a:cubicBezTo>
                <a:lnTo>
                  <a:pt x="8381" y="5325"/>
                </a:lnTo>
                <a:cubicBezTo>
                  <a:pt x="8633" y="5325"/>
                  <a:pt x="8790" y="5136"/>
                  <a:pt x="8790" y="4884"/>
                </a:cubicBezTo>
                <a:cubicBezTo>
                  <a:pt x="8790" y="4664"/>
                  <a:pt x="8570" y="4443"/>
                  <a:pt x="8381" y="4443"/>
                </a:cubicBezTo>
                <a:lnTo>
                  <a:pt x="8034" y="4443"/>
                </a:lnTo>
                <a:cubicBezTo>
                  <a:pt x="8066" y="4254"/>
                  <a:pt x="8160" y="4034"/>
                  <a:pt x="8223" y="3813"/>
                </a:cubicBezTo>
                <a:cubicBezTo>
                  <a:pt x="8475" y="3183"/>
                  <a:pt x="8003" y="2521"/>
                  <a:pt x="7310" y="2521"/>
                </a:cubicBezTo>
                <a:lnTo>
                  <a:pt x="6743" y="2521"/>
                </a:lnTo>
                <a:lnTo>
                  <a:pt x="6743" y="1702"/>
                </a:lnTo>
                <a:lnTo>
                  <a:pt x="7184" y="1702"/>
                </a:lnTo>
                <a:cubicBezTo>
                  <a:pt x="7404" y="1702"/>
                  <a:pt x="7562" y="1513"/>
                  <a:pt x="7562" y="1261"/>
                </a:cubicBezTo>
                <a:cubicBezTo>
                  <a:pt x="7562" y="1041"/>
                  <a:pt x="7373" y="883"/>
                  <a:pt x="7184" y="883"/>
                </a:cubicBezTo>
                <a:lnTo>
                  <a:pt x="6743" y="883"/>
                </a:lnTo>
                <a:lnTo>
                  <a:pt x="6743" y="442"/>
                </a:lnTo>
                <a:cubicBezTo>
                  <a:pt x="6743" y="190"/>
                  <a:pt x="6522" y="1"/>
                  <a:pt x="6333"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nvGrpSpPr>
          <p:cNvPr id="9971" name="Google Shape;9971;p111"/>
          <p:cNvGrpSpPr/>
          <p:nvPr/>
        </p:nvGrpSpPr>
        <p:grpSpPr>
          <a:xfrm>
            <a:off x="5315922" y="2055473"/>
            <a:ext cx="425164" cy="488628"/>
            <a:chOff x="-62496925" y="1931475"/>
            <a:chExt cx="275675" cy="316825"/>
          </a:xfrm>
        </p:grpSpPr>
        <p:sp>
          <p:nvSpPr>
            <p:cNvPr id="9972" name="Google Shape;9972;p111"/>
            <p:cNvSpPr/>
            <p:nvPr/>
          </p:nvSpPr>
          <p:spPr>
            <a:xfrm>
              <a:off x="-62496925" y="1931475"/>
              <a:ext cx="275675" cy="316825"/>
            </a:xfrm>
            <a:custGeom>
              <a:avLst/>
              <a:gdLst/>
              <a:ahLst/>
              <a:cxnLst/>
              <a:rect l="l" t="t" r="r" b="b"/>
              <a:pathLst>
                <a:path w="11027" h="12673" extrusionOk="0">
                  <a:moveTo>
                    <a:pt x="5514" y="1047"/>
                  </a:moveTo>
                  <a:cubicBezTo>
                    <a:pt x="6238" y="1519"/>
                    <a:pt x="7215" y="1834"/>
                    <a:pt x="8003" y="1834"/>
                  </a:cubicBezTo>
                  <a:cubicBezTo>
                    <a:pt x="8538" y="1834"/>
                    <a:pt x="9294" y="1708"/>
                    <a:pt x="10208" y="1204"/>
                  </a:cubicBezTo>
                  <a:lnTo>
                    <a:pt x="10208" y="5237"/>
                  </a:lnTo>
                  <a:cubicBezTo>
                    <a:pt x="10177" y="8198"/>
                    <a:pt x="8349" y="10845"/>
                    <a:pt x="5514" y="11821"/>
                  </a:cubicBezTo>
                  <a:cubicBezTo>
                    <a:pt x="2710" y="10845"/>
                    <a:pt x="820" y="8198"/>
                    <a:pt x="820" y="5237"/>
                  </a:cubicBezTo>
                  <a:lnTo>
                    <a:pt x="820" y="1204"/>
                  </a:lnTo>
                  <a:cubicBezTo>
                    <a:pt x="1513" y="1582"/>
                    <a:pt x="2269" y="1834"/>
                    <a:pt x="3025" y="1834"/>
                  </a:cubicBezTo>
                  <a:cubicBezTo>
                    <a:pt x="3844" y="1834"/>
                    <a:pt x="4758" y="1551"/>
                    <a:pt x="5514" y="1047"/>
                  </a:cubicBezTo>
                  <a:close/>
                  <a:moveTo>
                    <a:pt x="10654" y="1"/>
                  </a:moveTo>
                  <a:cubicBezTo>
                    <a:pt x="10567" y="1"/>
                    <a:pt x="10476" y="33"/>
                    <a:pt x="10397" y="102"/>
                  </a:cubicBezTo>
                  <a:cubicBezTo>
                    <a:pt x="9389" y="826"/>
                    <a:pt x="8538" y="952"/>
                    <a:pt x="8034" y="952"/>
                  </a:cubicBezTo>
                  <a:cubicBezTo>
                    <a:pt x="7310" y="952"/>
                    <a:pt x="6396" y="637"/>
                    <a:pt x="5766" y="165"/>
                  </a:cubicBezTo>
                  <a:cubicBezTo>
                    <a:pt x="5703" y="102"/>
                    <a:pt x="5616" y="70"/>
                    <a:pt x="5526" y="70"/>
                  </a:cubicBezTo>
                  <a:cubicBezTo>
                    <a:pt x="5435" y="70"/>
                    <a:pt x="5341" y="102"/>
                    <a:pt x="5262" y="165"/>
                  </a:cubicBezTo>
                  <a:cubicBezTo>
                    <a:pt x="4632" y="637"/>
                    <a:pt x="3781" y="952"/>
                    <a:pt x="3025" y="952"/>
                  </a:cubicBezTo>
                  <a:cubicBezTo>
                    <a:pt x="2237" y="952"/>
                    <a:pt x="1450" y="637"/>
                    <a:pt x="662" y="102"/>
                  </a:cubicBezTo>
                  <a:cubicBezTo>
                    <a:pt x="582" y="40"/>
                    <a:pt x="495" y="13"/>
                    <a:pt x="411" y="13"/>
                  </a:cubicBezTo>
                  <a:cubicBezTo>
                    <a:pt x="196" y="13"/>
                    <a:pt x="0" y="190"/>
                    <a:pt x="0" y="417"/>
                  </a:cubicBezTo>
                  <a:lnTo>
                    <a:pt x="0" y="5237"/>
                  </a:lnTo>
                  <a:cubicBezTo>
                    <a:pt x="0" y="8608"/>
                    <a:pt x="2080" y="11601"/>
                    <a:pt x="5388" y="12641"/>
                  </a:cubicBezTo>
                  <a:cubicBezTo>
                    <a:pt x="5419" y="12641"/>
                    <a:pt x="5451" y="12672"/>
                    <a:pt x="5514" y="12672"/>
                  </a:cubicBezTo>
                  <a:cubicBezTo>
                    <a:pt x="5545" y="12672"/>
                    <a:pt x="5577" y="12672"/>
                    <a:pt x="5640" y="12641"/>
                  </a:cubicBezTo>
                  <a:cubicBezTo>
                    <a:pt x="8979" y="11538"/>
                    <a:pt x="11027" y="8513"/>
                    <a:pt x="11027" y="5237"/>
                  </a:cubicBezTo>
                  <a:lnTo>
                    <a:pt x="11027" y="417"/>
                  </a:lnTo>
                  <a:cubicBezTo>
                    <a:pt x="11027" y="157"/>
                    <a:pt x="10848" y="1"/>
                    <a:pt x="10654"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9973" name="Google Shape;9973;p111"/>
            <p:cNvSpPr/>
            <p:nvPr/>
          </p:nvSpPr>
          <p:spPr>
            <a:xfrm>
              <a:off x="-62390600" y="2016700"/>
              <a:ext cx="63025" cy="146525"/>
            </a:xfrm>
            <a:custGeom>
              <a:avLst/>
              <a:gdLst/>
              <a:ahLst/>
              <a:cxnLst/>
              <a:rect l="l" t="t" r="r" b="b"/>
              <a:pathLst>
                <a:path w="2521" h="5861" extrusionOk="0">
                  <a:moveTo>
                    <a:pt x="1261" y="1"/>
                  </a:moveTo>
                  <a:cubicBezTo>
                    <a:pt x="1009" y="1"/>
                    <a:pt x="820" y="190"/>
                    <a:pt x="820" y="410"/>
                  </a:cubicBezTo>
                  <a:lnTo>
                    <a:pt x="820" y="694"/>
                  </a:lnTo>
                  <a:cubicBezTo>
                    <a:pt x="347" y="851"/>
                    <a:pt x="1" y="1324"/>
                    <a:pt x="1" y="1891"/>
                  </a:cubicBezTo>
                  <a:cubicBezTo>
                    <a:pt x="1" y="2553"/>
                    <a:pt x="536" y="2931"/>
                    <a:pt x="977" y="3246"/>
                  </a:cubicBezTo>
                  <a:cubicBezTo>
                    <a:pt x="1292" y="3498"/>
                    <a:pt x="1639" y="3718"/>
                    <a:pt x="1639" y="3970"/>
                  </a:cubicBezTo>
                  <a:cubicBezTo>
                    <a:pt x="1639" y="4191"/>
                    <a:pt x="1450" y="4411"/>
                    <a:pt x="1261" y="4411"/>
                  </a:cubicBezTo>
                  <a:cubicBezTo>
                    <a:pt x="1040" y="4411"/>
                    <a:pt x="820" y="4191"/>
                    <a:pt x="820" y="3970"/>
                  </a:cubicBezTo>
                  <a:cubicBezTo>
                    <a:pt x="820" y="3718"/>
                    <a:pt x="631" y="3561"/>
                    <a:pt x="410" y="3561"/>
                  </a:cubicBezTo>
                  <a:cubicBezTo>
                    <a:pt x="221" y="3561"/>
                    <a:pt x="32" y="3781"/>
                    <a:pt x="32" y="3970"/>
                  </a:cubicBezTo>
                  <a:cubicBezTo>
                    <a:pt x="32" y="4506"/>
                    <a:pt x="379" y="4947"/>
                    <a:pt x="851" y="5136"/>
                  </a:cubicBezTo>
                  <a:lnTo>
                    <a:pt x="851" y="5419"/>
                  </a:lnTo>
                  <a:cubicBezTo>
                    <a:pt x="851" y="5671"/>
                    <a:pt x="1040" y="5861"/>
                    <a:pt x="1292" y="5861"/>
                  </a:cubicBezTo>
                  <a:cubicBezTo>
                    <a:pt x="1513" y="5861"/>
                    <a:pt x="1670" y="5671"/>
                    <a:pt x="1670" y="5419"/>
                  </a:cubicBezTo>
                  <a:lnTo>
                    <a:pt x="1670" y="5136"/>
                  </a:lnTo>
                  <a:cubicBezTo>
                    <a:pt x="2143" y="4978"/>
                    <a:pt x="2521" y="4506"/>
                    <a:pt x="2521" y="3970"/>
                  </a:cubicBezTo>
                  <a:cubicBezTo>
                    <a:pt x="2521" y="3309"/>
                    <a:pt x="1954" y="2899"/>
                    <a:pt x="1513" y="2584"/>
                  </a:cubicBezTo>
                  <a:cubicBezTo>
                    <a:pt x="1198" y="2363"/>
                    <a:pt x="851" y="2111"/>
                    <a:pt x="851" y="1891"/>
                  </a:cubicBezTo>
                  <a:cubicBezTo>
                    <a:pt x="851" y="1670"/>
                    <a:pt x="1040" y="1481"/>
                    <a:pt x="1261" y="1481"/>
                  </a:cubicBezTo>
                  <a:cubicBezTo>
                    <a:pt x="1481" y="1481"/>
                    <a:pt x="1639" y="1670"/>
                    <a:pt x="1639" y="1891"/>
                  </a:cubicBezTo>
                  <a:cubicBezTo>
                    <a:pt x="1639" y="2111"/>
                    <a:pt x="1828" y="2300"/>
                    <a:pt x="2080" y="2300"/>
                  </a:cubicBezTo>
                  <a:cubicBezTo>
                    <a:pt x="2300" y="2300"/>
                    <a:pt x="2458" y="2111"/>
                    <a:pt x="2458" y="1891"/>
                  </a:cubicBezTo>
                  <a:cubicBezTo>
                    <a:pt x="2458" y="1324"/>
                    <a:pt x="2111" y="883"/>
                    <a:pt x="1639" y="694"/>
                  </a:cubicBezTo>
                  <a:lnTo>
                    <a:pt x="1639" y="410"/>
                  </a:lnTo>
                  <a:cubicBezTo>
                    <a:pt x="1639" y="190"/>
                    <a:pt x="1450" y="1"/>
                    <a:pt x="1261"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9974" name="Google Shape;9974;p111"/>
          <p:cNvGrpSpPr/>
          <p:nvPr/>
        </p:nvGrpSpPr>
        <p:grpSpPr>
          <a:xfrm>
            <a:off x="5284922" y="2695239"/>
            <a:ext cx="487164" cy="489901"/>
            <a:chOff x="-62516625" y="2297875"/>
            <a:chExt cx="315875" cy="317650"/>
          </a:xfrm>
        </p:grpSpPr>
        <p:sp>
          <p:nvSpPr>
            <p:cNvPr id="9975" name="Google Shape;9975;p111"/>
            <p:cNvSpPr/>
            <p:nvPr/>
          </p:nvSpPr>
          <p:spPr>
            <a:xfrm>
              <a:off x="-62516625" y="2297875"/>
              <a:ext cx="315875" cy="317650"/>
            </a:xfrm>
            <a:custGeom>
              <a:avLst/>
              <a:gdLst/>
              <a:ahLst/>
              <a:cxnLst/>
              <a:rect l="l" t="t" r="r" b="b"/>
              <a:pathLst>
                <a:path w="12635" h="12706" extrusionOk="0">
                  <a:moveTo>
                    <a:pt x="4632" y="3309"/>
                  </a:moveTo>
                  <a:cubicBezTo>
                    <a:pt x="5388" y="3309"/>
                    <a:pt x="6018" y="3939"/>
                    <a:pt x="6018" y="4695"/>
                  </a:cubicBezTo>
                  <a:cubicBezTo>
                    <a:pt x="6018" y="4916"/>
                    <a:pt x="5924" y="5168"/>
                    <a:pt x="5829" y="5388"/>
                  </a:cubicBezTo>
                  <a:lnTo>
                    <a:pt x="5357" y="5861"/>
                  </a:lnTo>
                  <a:cubicBezTo>
                    <a:pt x="5136" y="5987"/>
                    <a:pt x="4916" y="6081"/>
                    <a:pt x="4632" y="6081"/>
                  </a:cubicBezTo>
                  <a:cubicBezTo>
                    <a:pt x="3876" y="6081"/>
                    <a:pt x="3246" y="5451"/>
                    <a:pt x="3246" y="4695"/>
                  </a:cubicBezTo>
                  <a:cubicBezTo>
                    <a:pt x="3246" y="3939"/>
                    <a:pt x="3876" y="3309"/>
                    <a:pt x="4632" y="3309"/>
                  </a:cubicBezTo>
                  <a:close/>
                  <a:moveTo>
                    <a:pt x="4632" y="820"/>
                  </a:moveTo>
                  <a:cubicBezTo>
                    <a:pt x="6617" y="820"/>
                    <a:pt x="8287" y="2364"/>
                    <a:pt x="8444" y="4285"/>
                  </a:cubicBezTo>
                  <a:lnTo>
                    <a:pt x="8444" y="4412"/>
                  </a:lnTo>
                  <a:cubicBezTo>
                    <a:pt x="7877" y="4412"/>
                    <a:pt x="7310" y="4538"/>
                    <a:pt x="6806" y="4758"/>
                  </a:cubicBezTo>
                  <a:lnTo>
                    <a:pt x="6806" y="4695"/>
                  </a:lnTo>
                  <a:cubicBezTo>
                    <a:pt x="6806" y="3466"/>
                    <a:pt x="5829" y="2490"/>
                    <a:pt x="4601" y="2490"/>
                  </a:cubicBezTo>
                  <a:cubicBezTo>
                    <a:pt x="3372" y="2490"/>
                    <a:pt x="2395" y="3466"/>
                    <a:pt x="2395" y="4695"/>
                  </a:cubicBezTo>
                  <a:cubicBezTo>
                    <a:pt x="2395" y="5924"/>
                    <a:pt x="3372" y="6900"/>
                    <a:pt x="4601" y="6900"/>
                  </a:cubicBezTo>
                  <a:lnTo>
                    <a:pt x="4664" y="6900"/>
                  </a:lnTo>
                  <a:cubicBezTo>
                    <a:pt x="4443" y="7404"/>
                    <a:pt x="4317" y="7972"/>
                    <a:pt x="4317" y="8539"/>
                  </a:cubicBezTo>
                  <a:cubicBezTo>
                    <a:pt x="4317" y="9421"/>
                    <a:pt x="4601" y="10240"/>
                    <a:pt x="5073" y="10902"/>
                  </a:cubicBezTo>
                  <a:lnTo>
                    <a:pt x="4601" y="11532"/>
                  </a:lnTo>
                  <a:lnTo>
                    <a:pt x="1513" y="7026"/>
                  </a:lnTo>
                  <a:cubicBezTo>
                    <a:pt x="1009" y="6333"/>
                    <a:pt x="725" y="5546"/>
                    <a:pt x="725" y="4695"/>
                  </a:cubicBezTo>
                  <a:cubicBezTo>
                    <a:pt x="788" y="2553"/>
                    <a:pt x="2521" y="820"/>
                    <a:pt x="4632" y="820"/>
                  </a:cubicBezTo>
                  <a:close/>
                  <a:moveTo>
                    <a:pt x="8507" y="5231"/>
                  </a:moveTo>
                  <a:cubicBezTo>
                    <a:pt x="10334" y="5231"/>
                    <a:pt x="11815" y="6743"/>
                    <a:pt x="11815" y="8539"/>
                  </a:cubicBezTo>
                  <a:cubicBezTo>
                    <a:pt x="11815" y="10366"/>
                    <a:pt x="10303" y="11847"/>
                    <a:pt x="8507" y="11847"/>
                  </a:cubicBezTo>
                  <a:cubicBezTo>
                    <a:pt x="6680" y="11847"/>
                    <a:pt x="5199" y="10366"/>
                    <a:pt x="5199" y="8539"/>
                  </a:cubicBezTo>
                  <a:cubicBezTo>
                    <a:pt x="5199" y="6743"/>
                    <a:pt x="6680" y="5231"/>
                    <a:pt x="8507" y="5231"/>
                  </a:cubicBezTo>
                  <a:close/>
                  <a:moveTo>
                    <a:pt x="4664" y="1"/>
                  </a:moveTo>
                  <a:cubicBezTo>
                    <a:pt x="2080" y="1"/>
                    <a:pt x="1" y="2080"/>
                    <a:pt x="1" y="4695"/>
                  </a:cubicBezTo>
                  <a:cubicBezTo>
                    <a:pt x="1" y="5703"/>
                    <a:pt x="316" y="6711"/>
                    <a:pt x="946" y="7499"/>
                  </a:cubicBezTo>
                  <a:lnTo>
                    <a:pt x="4317" y="12540"/>
                  </a:lnTo>
                  <a:cubicBezTo>
                    <a:pt x="4396" y="12650"/>
                    <a:pt x="4522" y="12705"/>
                    <a:pt x="4648" y="12705"/>
                  </a:cubicBezTo>
                  <a:cubicBezTo>
                    <a:pt x="4774" y="12705"/>
                    <a:pt x="4900" y="12650"/>
                    <a:pt x="4979" y="12540"/>
                  </a:cubicBezTo>
                  <a:lnTo>
                    <a:pt x="5672" y="11532"/>
                  </a:lnTo>
                  <a:cubicBezTo>
                    <a:pt x="6396" y="12256"/>
                    <a:pt x="7404" y="12697"/>
                    <a:pt x="8507" y="12697"/>
                  </a:cubicBezTo>
                  <a:cubicBezTo>
                    <a:pt x="10776" y="12697"/>
                    <a:pt x="12634" y="10838"/>
                    <a:pt x="12634" y="8539"/>
                  </a:cubicBezTo>
                  <a:cubicBezTo>
                    <a:pt x="12634" y="6554"/>
                    <a:pt x="11217" y="4884"/>
                    <a:pt x="9326" y="4506"/>
                  </a:cubicBezTo>
                  <a:lnTo>
                    <a:pt x="9326" y="4222"/>
                  </a:lnTo>
                  <a:cubicBezTo>
                    <a:pt x="9074" y="1891"/>
                    <a:pt x="7121" y="1"/>
                    <a:pt x="4664"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9976" name="Google Shape;9976;p111"/>
            <p:cNvSpPr/>
            <p:nvPr/>
          </p:nvSpPr>
          <p:spPr>
            <a:xfrm>
              <a:off x="-62335475" y="2438075"/>
              <a:ext cx="62250" cy="145750"/>
            </a:xfrm>
            <a:custGeom>
              <a:avLst/>
              <a:gdLst/>
              <a:ahLst/>
              <a:cxnLst/>
              <a:rect l="l" t="t" r="r" b="b"/>
              <a:pathLst>
                <a:path w="2490" h="5830" extrusionOk="0">
                  <a:moveTo>
                    <a:pt x="1261" y="1"/>
                  </a:moveTo>
                  <a:cubicBezTo>
                    <a:pt x="1009" y="1"/>
                    <a:pt x="820" y="190"/>
                    <a:pt x="820" y="410"/>
                  </a:cubicBezTo>
                  <a:lnTo>
                    <a:pt x="820" y="694"/>
                  </a:lnTo>
                  <a:cubicBezTo>
                    <a:pt x="348" y="851"/>
                    <a:pt x="1" y="1324"/>
                    <a:pt x="1" y="1891"/>
                  </a:cubicBezTo>
                  <a:cubicBezTo>
                    <a:pt x="1" y="2553"/>
                    <a:pt x="537" y="2931"/>
                    <a:pt x="978" y="3246"/>
                  </a:cubicBezTo>
                  <a:cubicBezTo>
                    <a:pt x="1293" y="3498"/>
                    <a:pt x="1639" y="3718"/>
                    <a:pt x="1639" y="3970"/>
                  </a:cubicBezTo>
                  <a:cubicBezTo>
                    <a:pt x="1671" y="4191"/>
                    <a:pt x="1482" y="4411"/>
                    <a:pt x="1261" y="4411"/>
                  </a:cubicBezTo>
                  <a:cubicBezTo>
                    <a:pt x="1009" y="4411"/>
                    <a:pt x="820" y="4191"/>
                    <a:pt x="820" y="3970"/>
                  </a:cubicBezTo>
                  <a:cubicBezTo>
                    <a:pt x="820" y="3718"/>
                    <a:pt x="631" y="3529"/>
                    <a:pt x="411" y="3529"/>
                  </a:cubicBezTo>
                  <a:cubicBezTo>
                    <a:pt x="190" y="3529"/>
                    <a:pt x="1" y="3718"/>
                    <a:pt x="1" y="3970"/>
                  </a:cubicBezTo>
                  <a:cubicBezTo>
                    <a:pt x="1" y="4506"/>
                    <a:pt x="348" y="4947"/>
                    <a:pt x="820" y="5136"/>
                  </a:cubicBezTo>
                  <a:lnTo>
                    <a:pt x="820" y="5420"/>
                  </a:lnTo>
                  <a:cubicBezTo>
                    <a:pt x="820" y="5672"/>
                    <a:pt x="1009" y="5829"/>
                    <a:pt x="1261" y="5829"/>
                  </a:cubicBezTo>
                  <a:cubicBezTo>
                    <a:pt x="1482" y="5829"/>
                    <a:pt x="1639" y="5609"/>
                    <a:pt x="1639" y="5420"/>
                  </a:cubicBezTo>
                  <a:lnTo>
                    <a:pt x="1639" y="5136"/>
                  </a:lnTo>
                  <a:cubicBezTo>
                    <a:pt x="2112" y="4978"/>
                    <a:pt x="2458" y="4506"/>
                    <a:pt x="2458" y="3970"/>
                  </a:cubicBezTo>
                  <a:cubicBezTo>
                    <a:pt x="2458" y="3309"/>
                    <a:pt x="1923" y="2899"/>
                    <a:pt x="1482" y="2584"/>
                  </a:cubicBezTo>
                  <a:cubicBezTo>
                    <a:pt x="1167" y="2364"/>
                    <a:pt x="820" y="2112"/>
                    <a:pt x="820" y="1891"/>
                  </a:cubicBezTo>
                  <a:cubicBezTo>
                    <a:pt x="820" y="1639"/>
                    <a:pt x="1009" y="1450"/>
                    <a:pt x="1261" y="1450"/>
                  </a:cubicBezTo>
                  <a:cubicBezTo>
                    <a:pt x="1482" y="1450"/>
                    <a:pt x="1639" y="1639"/>
                    <a:pt x="1639" y="1891"/>
                  </a:cubicBezTo>
                  <a:cubicBezTo>
                    <a:pt x="1639" y="2112"/>
                    <a:pt x="1860" y="2301"/>
                    <a:pt x="2049" y="2301"/>
                  </a:cubicBezTo>
                  <a:cubicBezTo>
                    <a:pt x="2269" y="2301"/>
                    <a:pt x="2490" y="2112"/>
                    <a:pt x="2490" y="1891"/>
                  </a:cubicBezTo>
                  <a:cubicBezTo>
                    <a:pt x="2490" y="1324"/>
                    <a:pt x="2112" y="883"/>
                    <a:pt x="1639" y="694"/>
                  </a:cubicBezTo>
                  <a:lnTo>
                    <a:pt x="1639" y="410"/>
                  </a:lnTo>
                  <a:cubicBezTo>
                    <a:pt x="1639" y="190"/>
                    <a:pt x="1450" y="1"/>
                    <a:pt x="1261"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9977" name="Google Shape;9977;p111"/>
          <p:cNvGrpSpPr/>
          <p:nvPr/>
        </p:nvGrpSpPr>
        <p:grpSpPr>
          <a:xfrm>
            <a:off x="5283110" y="3337851"/>
            <a:ext cx="490788" cy="445869"/>
            <a:chOff x="-62518200" y="2692475"/>
            <a:chExt cx="318225" cy="289100"/>
          </a:xfrm>
        </p:grpSpPr>
        <p:sp>
          <p:nvSpPr>
            <p:cNvPr id="9978" name="Google Shape;9978;p111"/>
            <p:cNvSpPr/>
            <p:nvPr/>
          </p:nvSpPr>
          <p:spPr>
            <a:xfrm>
              <a:off x="-62518200" y="2692475"/>
              <a:ext cx="318225" cy="289100"/>
            </a:xfrm>
            <a:custGeom>
              <a:avLst/>
              <a:gdLst/>
              <a:ahLst/>
              <a:cxnLst/>
              <a:rect l="l" t="t" r="r" b="b"/>
              <a:pathLst>
                <a:path w="12729" h="11564" extrusionOk="0">
                  <a:moveTo>
                    <a:pt x="3750" y="851"/>
                  </a:moveTo>
                  <a:cubicBezTo>
                    <a:pt x="5420" y="851"/>
                    <a:pt x="6617" y="1513"/>
                    <a:pt x="6617" y="2112"/>
                  </a:cubicBezTo>
                  <a:cubicBezTo>
                    <a:pt x="6617" y="2679"/>
                    <a:pt x="5420" y="3309"/>
                    <a:pt x="3750" y="3309"/>
                  </a:cubicBezTo>
                  <a:cubicBezTo>
                    <a:pt x="2206" y="3309"/>
                    <a:pt x="851" y="2679"/>
                    <a:pt x="851" y="2112"/>
                  </a:cubicBezTo>
                  <a:cubicBezTo>
                    <a:pt x="851" y="1481"/>
                    <a:pt x="2112" y="851"/>
                    <a:pt x="3750" y="851"/>
                  </a:cubicBezTo>
                  <a:close/>
                  <a:moveTo>
                    <a:pt x="6617" y="3403"/>
                  </a:moveTo>
                  <a:lnTo>
                    <a:pt x="6617" y="3781"/>
                  </a:lnTo>
                  <a:cubicBezTo>
                    <a:pt x="5829" y="4222"/>
                    <a:pt x="5199" y="4884"/>
                    <a:pt x="4821" y="5672"/>
                  </a:cubicBezTo>
                  <a:cubicBezTo>
                    <a:pt x="4475" y="5766"/>
                    <a:pt x="4096" y="5766"/>
                    <a:pt x="3750" y="5766"/>
                  </a:cubicBezTo>
                  <a:cubicBezTo>
                    <a:pt x="2206" y="5766"/>
                    <a:pt x="851" y="5136"/>
                    <a:pt x="851" y="4506"/>
                  </a:cubicBezTo>
                  <a:lnTo>
                    <a:pt x="851" y="3403"/>
                  </a:lnTo>
                  <a:cubicBezTo>
                    <a:pt x="1639" y="3939"/>
                    <a:pt x="2742" y="4159"/>
                    <a:pt x="3750" y="4159"/>
                  </a:cubicBezTo>
                  <a:cubicBezTo>
                    <a:pt x="4727" y="4159"/>
                    <a:pt x="5829" y="3939"/>
                    <a:pt x="6617" y="3403"/>
                  </a:cubicBezTo>
                  <a:close/>
                  <a:moveTo>
                    <a:pt x="883" y="5913"/>
                  </a:moveTo>
                  <a:cubicBezTo>
                    <a:pt x="1396" y="6254"/>
                    <a:pt x="2361" y="6617"/>
                    <a:pt x="3750" y="6617"/>
                  </a:cubicBezTo>
                  <a:cubicBezTo>
                    <a:pt x="4033" y="6617"/>
                    <a:pt x="4254" y="6617"/>
                    <a:pt x="4538" y="6585"/>
                  </a:cubicBezTo>
                  <a:lnTo>
                    <a:pt x="4538" y="6585"/>
                  </a:lnTo>
                  <a:cubicBezTo>
                    <a:pt x="4475" y="6869"/>
                    <a:pt x="4475" y="7184"/>
                    <a:pt x="4475" y="7467"/>
                  </a:cubicBezTo>
                  <a:cubicBezTo>
                    <a:pt x="4475" y="7719"/>
                    <a:pt x="4506" y="7971"/>
                    <a:pt x="4538" y="8255"/>
                  </a:cubicBezTo>
                  <a:cubicBezTo>
                    <a:pt x="4317" y="8287"/>
                    <a:pt x="4033" y="8287"/>
                    <a:pt x="3781" y="8287"/>
                  </a:cubicBezTo>
                  <a:cubicBezTo>
                    <a:pt x="2269" y="8287"/>
                    <a:pt x="883" y="7656"/>
                    <a:pt x="883" y="7026"/>
                  </a:cubicBezTo>
                  <a:lnTo>
                    <a:pt x="883" y="5913"/>
                  </a:lnTo>
                  <a:close/>
                  <a:moveTo>
                    <a:pt x="851" y="8350"/>
                  </a:moveTo>
                  <a:cubicBezTo>
                    <a:pt x="1639" y="8917"/>
                    <a:pt x="2773" y="9106"/>
                    <a:pt x="3750" y="9106"/>
                  </a:cubicBezTo>
                  <a:cubicBezTo>
                    <a:pt x="4096" y="9106"/>
                    <a:pt x="4412" y="9074"/>
                    <a:pt x="4727" y="9043"/>
                  </a:cubicBezTo>
                  <a:cubicBezTo>
                    <a:pt x="4979" y="9547"/>
                    <a:pt x="5294" y="10019"/>
                    <a:pt x="5672" y="10397"/>
                  </a:cubicBezTo>
                  <a:cubicBezTo>
                    <a:pt x="5136" y="10649"/>
                    <a:pt x="4475" y="10775"/>
                    <a:pt x="3750" y="10775"/>
                  </a:cubicBezTo>
                  <a:cubicBezTo>
                    <a:pt x="2112" y="10775"/>
                    <a:pt x="851" y="10082"/>
                    <a:pt x="851" y="9547"/>
                  </a:cubicBezTo>
                  <a:lnTo>
                    <a:pt x="851" y="8350"/>
                  </a:lnTo>
                  <a:close/>
                  <a:moveTo>
                    <a:pt x="8570" y="4159"/>
                  </a:moveTo>
                  <a:cubicBezTo>
                    <a:pt x="10366" y="4159"/>
                    <a:pt x="11878" y="5640"/>
                    <a:pt x="11878" y="7467"/>
                  </a:cubicBezTo>
                  <a:cubicBezTo>
                    <a:pt x="11878" y="9263"/>
                    <a:pt x="10366" y="10775"/>
                    <a:pt x="8570" y="10775"/>
                  </a:cubicBezTo>
                  <a:cubicBezTo>
                    <a:pt x="6743" y="10775"/>
                    <a:pt x="5262" y="9263"/>
                    <a:pt x="5262" y="7467"/>
                  </a:cubicBezTo>
                  <a:cubicBezTo>
                    <a:pt x="5262" y="5609"/>
                    <a:pt x="6743" y="4159"/>
                    <a:pt x="8570" y="4159"/>
                  </a:cubicBezTo>
                  <a:close/>
                  <a:moveTo>
                    <a:pt x="3781" y="1"/>
                  </a:moveTo>
                  <a:cubicBezTo>
                    <a:pt x="1797" y="1"/>
                    <a:pt x="64" y="851"/>
                    <a:pt x="64" y="2112"/>
                  </a:cubicBezTo>
                  <a:lnTo>
                    <a:pt x="64" y="9547"/>
                  </a:lnTo>
                  <a:cubicBezTo>
                    <a:pt x="1" y="10082"/>
                    <a:pt x="442" y="10649"/>
                    <a:pt x="1230" y="11027"/>
                  </a:cubicBezTo>
                  <a:cubicBezTo>
                    <a:pt x="1891" y="11405"/>
                    <a:pt x="2805" y="11563"/>
                    <a:pt x="3750" y="11563"/>
                  </a:cubicBezTo>
                  <a:cubicBezTo>
                    <a:pt x="4790" y="11563"/>
                    <a:pt x="5735" y="11311"/>
                    <a:pt x="6428" y="10964"/>
                  </a:cubicBezTo>
                  <a:cubicBezTo>
                    <a:pt x="7058" y="11342"/>
                    <a:pt x="7814" y="11563"/>
                    <a:pt x="8602" y="11563"/>
                  </a:cubicBezTo>
                  <a:cubicBezTo>
                    <a:pt x="10870" y="11563"/>
                    <a:pt x="12729" y="9704"/>
                    <a:pt x="12729" y="7404"/>
                  </a:cubicBezTo>
                  <a:cubicBezTo>
                    <a:pt x="12729" y="5136"/>
                    <a:pt x="10870" y="3277"/>
                    <a:pt x="8602" y="3277"/>
                  </a:cubicBezTo>
                  <a:cubicBezTo>
                    <a:pt x="8192" y="3277"/>
                    <a:pt x="7846" y="3309"/>
                    <a:pt x="7499" y="3435"/>
                  </a:cubicBezTo>
                  <a:lnTo>
                    <a:pt x="7499" y="2049"/>
                  </a:lnTo>
                  <a:cubicBezTo>
                    <a:pt x="7499" y="1481"/>
                    <a:pt x="7058" y="914"/>
                    <a:pt x="6302" y="536"/>
                  </a:cubicBezTo>
                  <a:cubicBezTo>
                    <a:pt x="5640" y="158"/>
                    <a:pt x="4727" y="1"/>
                    <a:pt x="3781"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9979" name="Google Shape;9979;p111"/>
            <p:cNvSpPr/>
            <p:nvPr/>
          </p:nvSpPr>
          <p:spPr>
            <a:xfrm>
              <a:off x="-62335475" y="2804325"/>
              <a:ext cx="62250" cy="146525"/>
            </a:xfrm>
            <a:custGeom>
              <a:avLst/>
              <a:gdLst/>
              <a:ahLst/>
              <a:cxnLst/>
              <a:rect l="l" t="t" r="r" b="b"/>
              <a:pathLst>
                <a:path w="2490" h="5861" extrusionOk="0">
                  <a:moveTo>
                    <a:pt x="1261" y="0"/>
                  </a:moveTo>
                  <a:cubicBezTo>
                    <a:pt x="1009" y="0"/>
                    <a:pt x="820" y="189"/>
                    <a:pt x="820" y="410"/>
                  </a:cubicBezTo>
                  <a:lnTo>
                    <a:pt x="820" y="694"/>
                  </a:lnTo>
                  <a:cubicBezTo>
                    <a:pt x="348" y="851"/>
                    <a:pt x="1" y="1324"/>
                    <a:pt x="1" y="1891"/>
                  </a:cubicBezTo>
                  <a:cubicBezTo>
                    <a:pt x="1" y="2552"/>
                    <a:pt x="537" y="2930"/>
                    <a:pt x="978" y="3245"/>
                  </a:cubicBezTo>
                  <a:cubicBezTo>
                    <a:pt x="1293" y="3497"/>
                    <a:pt x="1639" y="3718"/>
                    <a:pt x="1639" y="3970"/>
                  </a:cubicBezTo>
                  <a:cubicBezTo>
                    <a:pt x="1671" y="4254"/>
                    <a:pt x="1482" y="4411"/>
                    <a:pt x="1261" y="4411"/>
                  </a:cubicBezTo>
                  <a:cubicBezTo>
                    <a:pt x="1009" y="4411"/>
                    <a:pt x="820" y="4191"/>
                    <a:pt x="820" y="3970"/>
                  </a:cubicBezTo>
                  <a:cubicBezTo>
                    <a:pt x="820" y="3718"/>
                    <a:pt x="631" y="3529"/>
                    <a:pt x="411" y="3529"/>
                  </a:cubicBezTo>
                  <a:cubicBezTo>
                    <a:pt x="190" y="3529"/>
                    <a:pt x="1" y="3718"/>
                    <a:pt x="1" y="3970"/>
                  </a:cubicBezTo>
                  <a:cubicBezTo>
                    <a:pt x="1" y="4506"/>
                    <a:pt x="348" y="4947"/>
                    <a:pt x="820" y="5136"/>
                  </a:cubicBezTo>
                  <a:lnTo>
                    <a:pt x="820" y="5419"/>
                  </a:lnTo>
                  <a:cubicBezTo>
                    <a:pt x="820" y="5671"/>
                    <a:pt x="1009" y="5860"/>
                    <a:pt x="1261" y="5860"/>
                  </a:cubicBezTo>
                  <a:cubicBezTo>
                    <a:pt x="1482" y="5860"/>
                    <a:pt x="1639" y="5671"/>
                    <a:pt x="1639" y="5419"/>
                  </a:cubicBezTo>
                  <a:lnTo>
                    <a:pt x="1639" y="5136"/>
                  </a:lnTo>
                  <a:cubicBezTo>
                    <a:pt x="2112" y="4978"/>
                    <a:pt x="2458" y="4506"/>
                    <a:pt x="2458" y="3970"/>
                  </a:cubicBezTo>
                  <a:cubicBezTo>
                    <a:pt x="2458" y="3308"/>
                    <a:pt x="1923" y="2899"/>
                    <a:pt x="1482" y="2584"/>
                  </a:cubicBezTo>
                  <a:cubicBezTo>
                    <a:pt x="1167" y="2363"/>
                    <a:pt x="820" y="2111"/>
                    <a:pt x="820" y="1891"/>
                  </a:cubicBezTo>
                  <a:cubicBezTo>
                    <a:pt x="820" y="1639"/>
                    <a:pt x="1009" y="1450"/>
                    <a:pt x="1261" y="1450"/>
                  </a:cubicBezTo>
                  <a:cubicBezTo>
                    <a:pt x="1482" y="1450"/>
                    <a:pt x="1639" y="1639"/>
                    <a:pt x="1639" y="1891"/>
                  </a:cubicBezTo>
                  <a:cubicBezTo>
                    <a:pt x="1639" y="2111"/>
                    <a:pt x="1860" y="2300"/>
                    <a:pt x="2049" y="2300"/>
                  </a:cubicBezTo>
                  <a:cubicBezTo>
                    <a:pt x="2269" y="2300"/>
                    <a:pt x="2490" y="2111"/>
                    <a:pt x="2490" y="1891"/>
                  </a:cubicBezTo>
                  <a:cubicBezTo>
                    <a:pt x="2490" y="1324"/>
                    <a:pt x="2112" y="883"/>
                    <a:pt x="1639" y="694"/>
                  </a:cubicBezTo>
                  <a:lnTo>
                    <a:pt x="1639" y="410"/>
                  </a:lnTo>
                  <a:cubicBezTo>
                    <a:pt x="1639" y="189"/>
                    <a:pt x="1450" y="0"/>
                    <a:pt x="1261"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9980" name="Google Shape;9980;p111"/>
          <p:cNvGrpSpPr/>
          <p:nvPr/>
        </p:nvGrpSpPr>
        <p:grpSpPr>
          <a:xfrm>
            <a:off x="3531982" y="3947883"/>
            <a:ext cx="413057" cy="487125"/>
            <a:chOff x="-60597975" y="1939525"/>
            <a:chExt cx="267825" cy="315850"/>
          </a:xfrm>
        </p:grpSpPr>
        <p:sp>
          <p:nvSpPr>
            <p:cNvPr id="9981" name="Google Shape;9981;p111"/>
            <p:cNvSpPr/>
            <p:nvPr/>
          </p:nvSpPr>
          <p:spPr>
            <a:xfrm>
              <a:off x="-60597975" y="1939525"/>
              <a:ext cx="267825" cy="315850"/>
            </a:xfrm>
            <a:custGeom>
              <a:avLst/>
              <a:gdLst/>
              <a:ahLst/>
              <a:cxnLst/>
              <a:rect l="l" t="t" r="r" b="b"/>
              <a:pathLst>
                <a:path w="10713" h="12634" extrusionOk="0">
                  <a:moveTo>
                    <a:pt x="7436" y="788"/>
                  </a:moveTo>
                  <a:lnTo>
                    <a:pt x="7436" y="1859"/>
                  </a:lnTo>
                  <a:cubicBezTo>
                    <a:pt x="7310" y="1733"/>
                    <a:pt x="7247" y="1607"/>
                    <a:pt x="6995" y="1607"/>
                  </a:cubicBezTo>
                  <a:cubicBezTo>
                    <a:pt x="6806" y="1607"/>
                    <a:pt x="6743" y="1733"/>
                    <a:pt x="6617" y="1859"/>
                  </a:cubicBezTo>
                  <a:lnTo>
                    <a:pt x="6617" y="788"/>
                  </a:lnTo>
                  <a:close/>
                  <a:moveTo>
                    <a:pt x="9515" y="788"/>
                  </a:moveTo>
                  <a:cubicBezTo>
                    <a:pt x="9767" y="788"/>
                    <a:pt x="9925" y="977"/>
                    <a:pt x="9925" y="1197"/>
                  </a:cubicBezTo>
                  <a:lnTo>
                    <a:pt x="9925" y="4222"/>
                  </a:lnTo>
                  <a:lnTo>
                    <a:pt x="2490" y="4222"/>
                  </a:lnTo>
                  <a:lnTo>
                    <a:pt x="2490" y="788"/>
                  </a:lnTo>
                  <a:lnTo>
                    <a:pt x="5798" y="788"/>
                  </a:lnTo>
                  <a:lnTo>
                    <a:pt x="5798" y="2867"/>
                  </a:lnTo>
                  <a:cubicBezTo>
                    <a:pt x="5798" y="3119"/>
                    <a:pt x="5980" y="3287"/>
                    <a:pt x="6185" y="3287"/>
                  </a:cubicBezTo>
                  <a:cubicBezTo>
                    <a:pt x="6288" y="3287"/>
                    <a:pt x="6396" y="3245"/>
                    <a:pt x="6491" y="3151"/>
                  </a:cubicBezTo>
                  <a:lnTo>
                    <a:pt x="7058" y="2615"/>
                  </a:lnTo>
                  <a:lnTo>
                    <a:pt x="7594" y="3151"/>
                  </a:lnTo>
                  <a:cubicBezTo>
                    <a:pt x="7688" y="3245"/>
                    <a:pt x="7800" y="3287"/>
                    <a:pt x="7907" y="3287"/>
                  </a:cubicBezTo>
                  <a:cubicBezTo>
                    <a:pt x="8122" y="3287"/>
                    <a:pt x="8318" y="3119"/>
                    <a:pt x="8318" y="2867"/>
                  </a:cubicBezTo>
                  <a:lnTo>
                    <a:pt x="8318" y="788"/>
                  </a:lnTo>
                  <a:close/>
                  <a:moveTo>
                    <a:pt x="9925" y="5041"/>
                  </a:moveTo>
                  <a:lnTo>
                    <a:pt x="9925" y="8349"/>
                  </a:lnTo>
                  <a:lnTo>
                    <a:pt x="2490" y="8349"/>
                  </a:lnTo>
                  <a:lnTo>
                    <a:pt x="2490" y="5041"/>
                  </a:lnTo>
                  <a:close/>
                  <a:moveTo>
                    <a:pt x="9925" y="9168"/>
                  </a:moveTo>
                  <a:lnTo>
                    <a:pt x="9925" y="11373"/>
                  </a:lnTo>
                  <a:cubicBezTo>
                    <a:pt x="9925" y="11625"/>
                    <a:pt x="9736" y="11783"/>
                    <a:pt x="9515" y="11783"/>
                  </a:cubicBezTo>
                  <a:lnTo>
                    <a:pt x="2490" y="11783"/>
                  </a:lnTo>
                  <a:lnTo>
                    <a:pt x="2490" y="9168"/>
                  </a:lnTo>
                  <a:close/>
                  <a:moveTo>
                    <a:pt x="1639" y="788"/>
                  </a:moveTo>
                  <a:lnTo>
                    <a:pt x="1639" y="11814"/>
                  </a:lnTo>
                  <a:lnTo>
                    <a:pt x="820" y="11814"/>
                  </a:lnTo>
                  <a:lnTo>
                    <a:pt x="820" y="788"/>
                  </a:lnTo>
                  <a:close/>
                  <a:moveTo>
                    <a:pt x="379" y="0"/>
                  </a:moveTo>
                  <a:cubicBezTo>
                    <a:pt x="158" y="0"/>
                    <a:pt x="1" y="189"/>
                    <a:pt x="1" y="410"/>
                  </a:cubicBezTo>
                  <a:lnTo>
                    <a:pt x="1" y="12256"/>
                  </a:lnTo>
                  <a:cubicBezTo>
                    <a:pt x="1" y="12445"/>
                    <a:pt x="190" y="12634"/>
                    <a:pt x="379" y="12634"/>
                  </a:cubicBezTo>
                  <a:lnTo>
                    <a:pt x="9484" y="12634"/>
                  </a:lnTo>
                  <a:cubicBezTo>
                    <a:pt x="10146" y="12634"/>
                    <a:pt x="10713" y="12098"/>
                    <a:pt x="10713" y="11436"/>
                  </a:cubicBezTo>
                  <a:lnTo>
                    <a:pt x="10713" y="1229"/>
                  </a:lnTo>
                  <a:cubicBezTo>
                    <a:pt x="10713" y="567"/>
                    <a:pt x="10177" y="0"/>
                    <a:pt x="9484"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9982" name="Google Shape;9982;p111"/>
            <p:cNvSpPr/>
            <p:nvPr/>
          </p:nvSpPr>
          <p:spPr>
            <a:xfrm>
              <a:off x="-60494775" y="2097050"/>
              <a:ext cx="103175" cy="20500"/>
            </a:xfrm>
            <a:custGeom>
              <a:avLst/>
              <a:gdLst/>
              <a:ahLst/>
              <a:cxnLst/>
              <a:rect l="l" t="t" r="r" b="b"/>
              <a:pathLst>
                <a:path w="4127" h="820" extrusionOk="0">
                  <a:moveTo>
                    <a:pt x="410" y="0"/>
                  </a:moveTo>
                  <a:cubicBezTo>
                    <a:pt x="158" y="0"/>
                    <a:pt x="0" y="189"/>
                    <a:pt x="0" y="410"/>
                  </a:cubicBezTo>
                  <a:cubicBezTo>
                    <a:pt x="0" y="630"/>
                    <a:pt x="189" y="819"/>
                    <a:pt x="410" y="819"/>
                  </a:cubicBezTo>
                  <a:lnTo>
                    <a:pt x="3718" y="819"/>
                  </a:lnTo>
                  <a:cubicBezTo>
                    <a:pt x="3938" y="819"/>
                    <a:pt x="4127" y="630"/>
                    <a:pt x="4127" y="410"/>
                  </a:cubicBezTo>
                  <a:cubicBezTo>
                    <a:pt x="4127" y="158"/>
                    <a:pt x="3938" y="0"/>
                    <a:pt x="3718"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9983" name="Google Shape;9983;p111"/>
          <p:cNvGrpSpPr/>
          <p:nvPr/>
        </p:nvGrpSpPr>
        <p:grpSpPr>
          <a:xfrm>
            <a:off x="3492519" y="4527117"/>
            <a:ext cx="491983" cy="491367"/>
            <a:chOff x="-60620800" y="2304600"/>
            <a:chExt cx="319000" cy="318600"/>
          </a:xfrm>
        </p:grpSpPr>
        <p:sp>
          <p:nvSpPr>
            <p:cNvPr id="9984" name="Google Shape;9984;p111"/>
            <p:cNvSpPr/>
            <p:nvPr/>
          </p:nvSpPr>
          <p:spPr>
            <a:xfrm>
              <a:off x="-60620800" y="2304600"/>
              <a:ext cx="319000" cy="318600"/>
            </a:xfrm>
            <a:custGeom>
              <a:avLst/>
              <a:gdLst/>
              <a:ahLst/>
              <a:cxnLst/>
              <a:rect l="l" t="t" r="r" b="b"/>
              <a:pathLst>
                <a:path w="12760" h="12744" extrusionOk="0">
                  <a:moveTo>
                    <a:pt x="10939" y="845"/>
                  </a:moveTo>
                  <a:cubicBezTo>
                    <a:pt x="10969" y="845"/>
                    <a:pt x="11001" y="853"/>
                    <a:pt x="11027" y="866"/>
                  </a:cubicBezTo>
                  <a:lnTo>
                    <a:pt x="11752" y="1276"/>
                  </a:lnTo>
                  <a:cubicBezTo>
                    <a:pt x="11783" y="1339"/>
                    <a:pt x="11815" y="1433"/>
                    <a:pt x="11783" y="1465"/>
                  </a:cubicBezTo>
                  <a:lnTo>
                    <a:pt x="11437" y="2063"/>
                  </a:lnTo>
                  <a:lnTo>
                    <a:pt x="10491" y="1496"/>
                  </a:lnTo>
                  <a:lnTo>
                    <a:pt x="10838" y="898"/>
                  </a:lnTo>
                  <a:cubicBezTo>
                    <a:pt x="10856" y="861"/>
                    <a:pt x="10897" y="845"/>
                    <a:pt x="10939" y="845"/>
                  </a:cubicBezTo>
                  <a:close/>
                  <a:moveTo>
                    <a:pt x="10050" y="2252"/>
                  </a:moveTo>
                  <a:lnTo>
                    <a:pt x="10995" y="2819"/>
                  </a:lnTo>
                  <a:lnTo>
                    <a:pt x="8916" y="6379"/>
                  </a:lnTo>
                  <a:lnTo>
                    <a:pt x="7971" y="5844"/>
                  </a:lnTo>
                  <a:lnTo>
                    <a:pt x="10050" y="2252"/>
                  </a:lnTo>
                  <a:close/>
                  <a:moveTo>
                    <a:pt x="7813" y="6663"/>
                  </a:moveTo>
                  <a:lnTo>
                    <a:pt x="8318" y="6978"/>
                  </a:lnTo>
                  <a:lnTo>
                    <a:pt x="7782" y="7324"/>
                  </a:lnTo>
                  <a:lnTo>
                    <a:pt x="7813" y="6663"/>
                  </a:lnTo>
                  <a:close/>
                  <a:moveTo>
                    <a:pt x="11342" y="5245"/>
                  </a:moveTo>
                  <a:cubicBezTo>
                    <a:pt x="11594" y="5245"/>
                    <a:pt x="11752" y="5434"/>
                    <a:pt x="11752" y="5686"/>
                  </a:cubicBezTo>
                  <a:lnTo>
                    <a:pt x="11752" y="11483"/>
                  </a:lnTo>
                  <a:cubicBezTo>
                    <a:pt x="11752" y="11704"/>
                    <a:pt x="11531" y="11893"/>
                    <a:pt x="11342" y="11893"/>
                  </a:cubicBezTo>
                  <a:lnTo>
                    <a:pt x="1197" y="11893"/>
                  </a:lnTo>
                  <a:cubicBezTo>
                    <a:pt x="945" y="11893"/>
                    <a:pt x="788" y="11704"/>
                    <a:pt x="788" y="11483"/>
                  </a:cubicBezTo>
                  <a:lnTo>
                    <a:pt x="788" y="5686"/>
                  </a:lnTo>
                  <a:cubicBezTo>
                    <a:pt x="788" y="5434"/>
                    <a:pt x="977" y="5245"/>
                    <a:pt x="1197" y="5245"/>
                  </a:cubicBezTo>
                  <a:lnTo>
                    <a:pt x="7372" y="5245"/>
                  </a:lnTo>
                  <a:lnTo>
                    <a:pt x="7057" y="5749"/>
                  </a:lnTo>
                  <a:cubicBezTo>
                    <a:pt x="7026" y="5812"/>
                    <a:pt x="7026" y="5875"/>
                    <a:pt x="7026" y="5970"/>
                  </a:cubicBezTo>
                  <a:lnTo>
                    <a:pt x="6900" y="7734"/>
                  </a:lnTo>
                  <a:lnTo>
                    <a:pt x="5545" y="7734"/>
                  </a:lnTo>
                  <a:cubicBezTo>
                    <a:pt x="5325" y="7734"/>
                    <a:pt x="5167" y="7923"/>
                    <a:pt x="5167" y="8175"/>
                  </a:cubicBezTo>
                  <a:cubicBezTo>
                    <a:pt x="5167" y="8396"/>
                    <a:pt x="5356" y="8585"/>
                    <a:pt x="5545" y="8585"/>
                  </a:cubicBezTo>
                  <a:lnTo>
                    <a:pt x="10523" y="8585"/>
                  </a:lnTo>
                  <a:cubicBezTo>
                    <a:pt x="10743" y="8585"/>
                    <a:pt x="10964" y="8396"/>
                    <a:pt x="10964" y="8175"/>
                  </a:cubicBezTo>
                  <a:cubicBezTo>
                    <a:pt x="10964" y="7923"/>
                    <a:pt x="10743" y="7734"/>
                    <a:pt x="10523" y="7734"/>
                  </a:cubicBezTo>
                  <a:lnTo>
                    <a:pt x="8633" y="7734"/>
                  </a:lnTo>
                  <a:lnTo>
                    <a:pt x="9294" y="7293"/>
                  </a:lnTo>
                  <a:cubicBezTo>
                    <a:pt x="9326" y="7261"/>
                    <a:pt x="9420" y="7230"/>
                    <a:pt x="9420" y="7135"/>
                  </a:cubicBezTo>
                  <a:lnTo>
                    <a:pt x="10523" y="5245"/>
                  </a:lnTo>
                  <a:close/>
                  <a:moveTo>
                    <a:pt x="10933" y="0"/>
                  </a:moveTo>
                  <a:cubicBezTo>
                    <a:pt x="10599" y="0"/>
                    <a:pt x="10280" y="175"/>
                    <a:pt x="10113" y="488"/>
                  </a:cubicBezTo>
                  <a:lnTo>
                    <a:pt x="9578" y="1433"/>
                  </a:lnTo>
                  <a:lnTo>
                    <a:pt x="7877" y="4395"/>
                  </a:lnTo>
                  <a:lnTo>
                    <a:pt x="1229" y="4395"/>
                  </a:lnTo>
                  <a:cubicBezTo>
                    <a:pt x="567" y="4395"/>
                    <a:pt x="0" y="4930"/>
                    <a:pt x="0" y="5592"/>
                  </a:cubicBezTo>
                  <a:lnTo>
                    <a:pt x="0" y="11483"/>
                  </a:lnTo>
                  <a:cubicBezTo>
                    <a:pt x="0" y="12145"/>
                    <a:pt x="567" y="12743"/>
                    <a:pt x="1229" y="12743"/>
                  </a:cubicBezTo>
                  <a:lnTo>
                    <a:pt x="11374" y="12743"/>
                  </a:lnTo>
                  <a:cubicBezTo>
                    <a:pt x="12067" y="12743"/>
                    <a:pt x="12602" y="12176"/>
                    <a:pt x="12602" y="11483"/>
                  </a:cubicBezTo>
                  <a:lnTo>
                    <a:pt x="12602" y="5686"/>
                  </a:lnTo>
                  <a:cubicBezTo>
                    <a:pt x="12602" y="5025"/>
                    <a:pt x="12067" y="4458"/>
                    <a:pt x="11374" y="4458"/>
                  </a:cubicBezTo>
                  <a:lnTo>
                    <a:pt x="11027" y="4458"/>
                  </a:lnTo>
                  <a:lnTo>
                    <a:pt x="12508" y="1937"/>
                  </a:lnTo>
                  <a:cubicBezTo>
                    <a:pt x="12760" y="1433"/>
                    <a:pt x="12602" y="835"/>
                    <a:pt x="12130" y="551"/>
                  </a:cubicBezTo>
                  <a:lnTo>
                    <a:pt x="11437" y="141"/>
                  </a:lnTo>
                  <a:cubicBezTo>
                    <a:pt x="11277" y="46"/>
                    <a:pt x="11103" y="0"/>
                    <a:pt x="10933"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9985" name="Google Shape;9985;p111"/>
            <p:cNvSpPr/>
            <p:nvPr/>
          </p:nvSpPr>
          <p:spPr>
            <a:xfrm>
              <a:off x="-60491625" y="2560150"/>
              <a:ext cx="144925" cy="20525"/>
            </a:xfrm>
            <a:custGeom>
              <a:avLst/>
              <a:gdLst/>
              <a:ahLst/>
              <a:cxnLst/>
              <a:rect l="l" t="t" r="r" b="b"/>
              <a:pathLst>
                <a:path w="5797" h="821" extrusionOk="0">
                  <a:moveTo>
                    <a:pt x="378" y="1"/>
                  </a:moveTo>
                  <a:cubicBezTo>
                    <a:pt x="158" y="1"/>
                    <a:pt x="0" y="190"/>
                    <a:pt x="0" y="411"/>
                  </a:cubicBezTo>
                  <a:cubicBezTo>
                    <a:pt x="0" y="663"/>
                    <a:pt x="189" y="820"/>
                    <a:pt x="378" y="820"/>
                  </a:cubicBezTo>
                  <a:lnTo>
                    <a:pt x="5356" y="820"/>
                  </a:lnTo>
                  <a:cubicBezTo>
                    <a:pt x="5576" y="820"/>
                    <a:pt x="5797" y="631"/>
                    <a:pt x="5797" y="411"/>
                  </a:cubicBezTo>
                  <a:cubicBezTo>
                    <a:pt x="5797" y="190"/>
                    <a:pt x="5576" y="1"/>
                    <a:pt x="5356"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9986" name="Google Shape;9986;p111"/>
            <p:cNvSpPr/>
            <p:nvPr/>
          </p:nvSpPr>
          <p:spPr>
            <a:xfrm>
              <a:off x="-60573550" y="2445950"/>
              <a:ext cx="62250" cy="146525"/>
            </a:xfrm>
            <a:custGeom>
              <a:avLst/>
              <a:gdLst/>
              <a:ahLst/>
              <a:cxnLst/>
              <a:rect l="l" t="t" r="r" b="b"/>
              <a:pathLst>
                <a:path w="2490" h="5861" extrusionOk="0">
                  <a:moveTo>
                    <a:pt x="1229" y="1"/>
                  </a:moveTo>
                  <a:cubicBezTo>
                    <a:pt x="977" y="1"/>
                    <a:pt x="820" y="190"/>
                    <a:pt x="820" y="410"/>
                  </a:cubicBezTo>
                  <a:lnTo>
                    <a:pt x="820" y="694"/>
                  </a:lnTo>
                  <a:cubicBezTo>
                    <a:pt x="347" y="851"/>
                    <a:pt x="1" y="1324"/>
                    <a:pt x="1" y="1891"/>
                  </a:cubicBezTo>
                  <a:cubicBezTo>
                    <a:pt x="1" y="2553"/>
                    <a:pt x="568" y="2931"/>
                    <a:pt x="977" y="3246"/>
                  </a:cubicBezTo>
                  <a:cubicBezTo>
                    <a:pt x="1292" y="3498"/>
                    <a:pt x="1670" y="3718"/>
                    <a:pt x="1670" y="3970"/>
                  </a:cubicBezTo>
                  <a:cubicBezTo>
                    <a:pt x="1670" y="4191"/>
                    <a:pt x="1450" y="4348"/>
                    <a:pt x="1229" y="4348"/>
                  </a:cubicBezTo>
                  <a:cubicBezTo>
                    <a:pt x="977" y="4348"/>
                    <a:pt x="820" y="4159"/>
                    <a:pt x="820" y="3970"/>
                  </a:cubicBezTo>
                  <a:cubicBezTo>
                    <a:pt x="820" y="3718"/>
                    <a:pt x="631" y="3529"/>
                    <a:pt x="442" y="3529"/>
                  </a:cubicBezTo>
                  <a:cubicBezTo>
                    <a:pt x="190" y="3529"/>
                    <a:pt x="1" y="3718"/>
                    <a:pt x="1" y="3970"/>
                  </a:cubicBezTo>
                  <a:cubicBezTo>
                    <a:pt x="1" y="4506"/>
                    <a:pt x="347" y="4947"/>
                    <a:pt x="820" y="5136"/>
                  </a:cubicBezTo>
                  <a:lnTo>
                    <a:pt x="820" y="5420"/>
                  </a:lnTo>
                  <a:cubicBezTo>
                    <a:pt x="820" y="5672"/>
                    <a:pt x="1040" y="5861"/>
                    <a:pt x="1229" y="5861"/>
                  </a:cubicBezTo>
                  <a:cubicBezTo>
                    <a:pt x="1450" y="5861"/>
                    <a:pt x="1670" y="5672"/>
                    <a:pt x="1670" y="5420"/>
                  </a:cubicBezTo>
                  <a:lnTo>
                    <a:pt x="1670" y="5136"/>
                  </a:lnTo>
                  <a:cubicBezTo>
                    <a:pt x="2143" y="4979"/>
                    <a:pt x="2489" y="4506"/>
                    <a:pt x="2489" y="3970"/>
                  </a:cubicBezTo>
                  <a:cubicBezTo>
                    <a:pt x="2489" y="3309"/>
                    <a:pt x="1922" y="2899"/>
                    <a:pt x="1513" y="2584"/>
                  </a:cubicBezTo>
                  <a:cubicBezTo>
                    <a:pt x="1198" y="2364"/>
                    <a:pt x="820" y="2112"/>
                    <a:pt x="820" y="1891"/>
                  </a:cubicBezTo>
                  <a:cubicBezTo>
                    <a:pt x="788" y="1639"/>
                    <a:pt x="977" y="1450"/>
                    <a:pt x="1229" y="1450"/>
                  </a:cubicBezTo>
                  <a:cubicBezTo>
                    <a:pt x="1450" y="1450"/>
                    <a:pt x="1670" y="1639"/>
                    <a:pt x="1670" y="1891"/>
                  </a:cubicBezTo>
                  <a:cubicBezTo>
                    <a:pt x="1670" y="2112"/>
                    <a:pt x="1859" y="2269"/>
                    <a:pt x="2048" y="2269"/>
                  </a:cubicBezTo>
                  <a:cubicBezTo>
                    <a:pt x="2300" y="2269"/>
                    <a:pt x="2489" y="2080"/>
                    <a:pt x="2489" y="1891"/>
                  </a:cubicBezTo>
                  <a:cubicBezTo>
                    <a:pt x="2489" y="1324"/>
                    <a:pt x="2143" y="883"/>
                    <a:pt x="1670" y="694"/>
                  </a:cubicBezTo>
                  <a:lnTo>
                    <a:pt x="1670" y="410"/>
                  </a:lnTo>
                  <a:cubicBezTo>
                    <a:pt x="1670" y="190"/>
                    <a:pt x="1450" y="1"/>
                    <a:pt x="1229"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9987" name="Google Shape;9987;p111"/>
          <p:cNvGrpSpPr/>
          <p:nvPr/>
        </p:nvGrpSpPr>
        <p:grpSpPr>
          <a:xfrm>
            <a:off x="3494331" y="5187984"/>
            <a:ext cx="488359" cy="349901"/>
            <a:chOff x="-60621600" y="2716100"/>
            <a:chExt cx="316650" cy="226875"/>
          </a:xfrm>
        </p:grpSpPr>
        <p:sp>
          <p:nvSpPr>
            <p:cNvPr id="9988" name="Google Shape;9988;p111"/>
            <p:cNvSpPr/>
            <p:nvPr/>
          </p:nvSpPr>
          <p:spPr>
            <a:xfrm>
              <a:off x="-60621600" y="2716100"/>
              <a:ext cx="316650" cy="226875"/>
            </a:xfrm>
            <a:custGeom>
              <a:avLst/>
              <a:gdLst/>
              <a:ahLst/>
              <a:cxnLst/>
              <a:rect l="l" t="t" r="r" b="b"/>
              <a:pathLst>
                <a:path w="12666" h="9075" extrusionOk="0">
                  <a:moveTo>
                    <a:pt x="11374" y="789"/>
                  </a:moveTo>
                  <a:cubicBezTo>
                    <a:pt x="11626" y="789"/>
                    <a:pt x="11815" y="1009"/>
                    <a:pt x="11815" y="1230"/>
                  </a:cubicBezTo>
                  <a:lnTo>
                    <a:pt x="11815" y="1671"/>
                  </a:lnTo>
                  <a:lnTo>
                    <a:pt x="788" y="1671"/>
                  </a:lnTo>
                  <a:lnTo>
                    <a:pt x="788" y="1230"/>
                  </a:lnTo>
                  <a:cubicBezTo>
                    <a:pt x="788" y="1009"/>
                    <a:pt x="977" y="789"/>
                    <a:pt x="1166" y="789"/>
                  </a:cubicBezTo>
                  <a:close/>
                  <a:moveTo>
                    <a:pt x="11815" y="2490"/>
                  </a:moveTo>
                  <a:lnTo>
                    <a:pt x="11815" y="7877"/>
                  </a:lnTo>
                  <a:cubicBezTo>
                    <a:pt x="11815" y="8129"/>
                    <a:pt x="11626" y="8318"/>
                    <a:pt x="11374" y="8318"/>
                  </a:cubicBezTo>
                  <a:lnTo>
                    <a:pt x="1166" y="8318"/>
                  </a:lnTo>
                  <a:cubicBezTo>
                    <a:pt x="946" y="8318"/>
                    <a:pt x="788" y="8129"/>
                    <a:pt x="788" y="7877"/>
                  </a:cubicBezTo>
                  <a:lnTo>
                    <a:pt x="788" y="2490"/>
                  </a:lnTo>
                  <a:close/>
                  <a:moveTo>
                    <a:pt x="1229" y="1"/>
                  </a:moveTo>
                  <a:cubicBezTo>
                    <a:pt x="536" y="1"/>
                    <a:pt x="1" y="568"/>
                    <a:pt x="1" y="1230"/>
                  </a:cubicBezTo>
                  <a:lnTo>
                    <a:pt x="1" y="7846"/>
                  </a:lnTo>
                  <a:cubicBezTo>
                    <a:pt x="1" y="8507"/>
                    <a:pt x="536" y="9074"/>
                    <a:pt x="1229" y="9074"/>
                  </a:cubicBezTo>
                  <a:lnTo>
                    <a:pt x="11406" y="9074"/>
                  </a:lnTo>
                  <a:cubicBezTo>
                    <a:pt x="12099" y="9074"/>
                    <a:pt x="12666" y="8507"/>
                    <a:pt x="12666" y="7846"/>
                  </a:cubicBezTo>
                  <a:lnTo>
                    <a:pt x="12666" y="1230"/>
                  </a:lnTo>
                  <a:cubicBezTo>
                    <a:pt x="12634" y="568"/>
                    <a:pt x="12099" y="1"/>
                    <a:pt x="11406"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9989" name="Google Shape;9989;p111"/>
            <p:cNvSpPr/>
            <p:nvPr/>
          </p:nvSpPr>
          <p:spPr>
            <a:xfrm>
              <a:off x="-60546775" y="2798025"/>
              <a:ext cx="166225" cy="104775"/>
            </a:xfrm>
            <a:custGeom>
              <a:avLst/>
              <a:gdLst/>
              <a:ahLst/>
              <a:cxnLst/>
              <a:rect l="l" t="t" r="r" b="b"/>
              <a:pathLst>
                <a:path w="6649" h="4191" extrusionOk="0">
                  <a:moveTo>
                    <a:pt x="2080" y="883"/>
                  </a:moveTo>
                  <a:cubicBezTo>
                    <a:pt x="2332" y="883"/>
                    <a:pt x="2553" y="946"/>
                    <a:pt x="2805" y="1072"/>
                  </a:cubicBezTo>
                  <a:cubicBezTo>
                    <a:pt x="2647" y="1387"/>
                    <a:pt x="2521" y="1733"/>
                    <a:pt x="2521" y="2080"/>
                  </a:cubicBezTo>
                  <a:cubicBezTo>
                    <a:pt x="2521" y="2489"/>
                    <a:pt x="2647" y="2804"/>
                    <a:pt x="2805" y="3119"/>
                  </a:cubicBezTo>
                  <a:cubicBezTo>
                    <a:pt x="2584" y="3245"/>
                    <a:pt x="2364" y="3308"/>
                    <a:pt x="2080" y="3308"/>
                  </a:cubicBezTo>
                  <a:cubicBezTo>
                    <a:pt x="1418" y="3308"/>
                    <a:pt x="820" y="2741"/>
                    <a:pt x="820" y="2048"/>
                  </a:cubicBezTo>
                  <a:cubicBezTo>
                    <a:pt x="820" y="1418"/>
                    <a:pt x="1418" y="883"/>
                    <a:pt x="2080" y="883"/>
                  </a:cubicBezTo>
                  <a:close/>
                  <a:moveTo>
                    <a:pt x="4569" y="883"/>
                  </a:moveTo>
                  <a:cubicBezTo>
                    <a:pt x="5231" y="883"/>
                    <a:pt x="5798" y="1418"/>
                    <a:pt x="5798" y="2080"/>
                  </a:cubicBezTo>
                  <a:cubicBezTo>
                    <a:pt x="5798" y="2741"/>
                    <a:pt x="5231" y="3340"/>
                    <a:pt x="4569" y="3340"/>
                  </a:cubicBezTo>
                  <a:cubicBezTo>
                    <a:pt x="3907" y="3340"/>
                    <a:pt x="3340" y="2804"/>
                    <a:pt x="3340" y="2080"/>
                  </a:cubicBezTo>
                  <a:cubicBezTo>
                    <a:pt x="3309" y="1418"/>
                    <a:pt x="3907" y="883"/>
                    <a:pt x="4569" y="883"/>
                  </a:cubicBezTo>
                  <a:close/>
                  <a:moveTo>
                    <a:pt x="2080" y="0"/>
                  </a:moveTo>
                  <a:cubicBezTo>
                    <a:pt x="946" y="0"/>
                    <a:pt x="1" y="946"/>
                    <a:pt x="1" y="2080"/>
                  </a:cubicBezTo>
                  <a:cubicBezTo>
                    <a:pt x="1" y="3245"/>
                    <a:pt x="946" y="4191"/>
                    <a:pt x="2080" y="4191"/>
                  </a:cubicBezTo>
                  <a:cubicBezTo>
                    <a:pt x="2521" y="4191"/>
                    <a:pt x="2962" y="4033"/>
                    <a:pt x="3340" y="3749"/>
                  </a:cubicBezTo>
                  <a:cubicBezTo>
                    <a:pt x="3687" y="4033"/>
                    <a:pt x="4128" y="4191"/>
                    <a:pt x="4569" y="4191"/>
                  </a:cubicBezTo>
                  <a:cubicBezTo>
                    <a:pt x="5703" y="4191"/>
                    <a:pt x="6648" y="3245"/>
                    <a:pt x="6648" y="2080"/>
                  </a:cubicBezTo>
                  <a:cubicBezTo>
                    <a:pt x="6648" y="946"/>
                    <a:pt x="5703" y="0"/>
                    <a:pt x="4569" y="0"/>
                  </a:cubicBezTo>
                  <a:cubicBezTo>
                    <a:pt x="4096" y="0"/>
                    <a:pt x="3655" y="158"/>
                    <a:pt x="3340" y="441"/>
                  </a:cubicBezTo>
                  <a:cubicBezTo>
                    <a:pt x="2994" y="158"/>
                    <a:pt x="2553" y="0"/>
                    <a:pt x="2080"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9990" name="Google Shape;9990;p111"/>
          <p:cNvGrpSpPr/>
          <p:nvPr/>
        </p:nvGrpSpPr>
        <p:grpSpPr>
          <a:xfrm>
            <a:off x="5277287" y="5118775"/>
            <a:ext cx="477408" cy="488320"/>
            <a:chOff x="-59475600" y="2658625"/>
            <a:chExt cx="309550" cy="316625"/>
          </a:xfrm>
        </p:grpSpPr>
        <p:sp>
          <p:nvSpPr>
            <p:cNvPr id="9991" name="Google Shape;9991;p111"/>
            <p:cNvSpPr/>
            <p:nvPr/>
          </p:nvSpPr>
          <p:spPr>
            <a:xfrm>
              <a:off x="-59427550" y="2913025"/>
              <a:ext cx="19700" cy="19700"/>
            </a:xfrm>
            <a:custGeom>
              <a:avLst/>
              <a:gdLst/>
              <a:ahLst/>
              <a:cxnLst/>
              <a:rect l="l" t="t" r="r" b="b"/>
              <a:pathLst>
                <a:path w="788" h="788" extrusionOk="0">
                  <a:moveTo>
                    <a:pt x="410" y="0"/>
                  </a:moveTo>
                  <a:cubicBezTo>
                    <a:pt x="189" y="0"/>
                    <a:pt x="0" y="189"/>
                    <a:pt x="0" y="410"/>
                  </a:cubicBezTo>
                  <a:cubicBezTo>
                    <a:pt x="0" y="630"/>
                    <a:pt x="189" y="788"/>
                    <a:pt x="410" y="788"/>
                  </a:cubicBezTo>
                  <a:cubicBezTo>
                    <a:pt x="630" y="788"/>
                    <a:pt x="788" y="630"/>
                    <a:pt x="788" y="410"/>
                  </a:cubicBezTo>
                  <a:cubicBezTo>
                    <a:pt x="788" y="189"/>
                    <a:pt x="630" y="0"/>
                    <a:pt x="410"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9992" name="Google Shape;9992;p111"/>
            <p:cNvSpPr/>
            <p:nvPr/>
          </p:nvSpPr>
          <p:spPr>
            <a:xfrm>
              <a:off x="-59428350" y="2699575"/>
              <a:ext cx="20500" cy="152825"/>
            </a:xfrm>
            <a:custGeom>
              <a:avLst/>
              <a:gdLst/>
              <a:ahLst/>
              <a:cxnLst/>
              <a:rect l="l" t="t" r="r" b="b"/>
              <a:pathLst>
                <a:path w="820" h="6113" extrusionOk="0">
                  <a:moveTo>
                    <a:pt x="442" y="0"/>
                  </a:moveTo>
                  <a:cubicBezTo>
                    <a:pt x="190" y="0"/>
                    <a:pt x="1" y="189"/>
                    <a:pt x="1" y="441"/>
                  </a:cubicBezTo>
                  <a:lnTo>
                    <a:pt x="1" y="5671"/>
                  </a:lnTo>
                  <a:cubicBezTo>
                    <a:pt x="1" y="5923"/>
                    <a:pt x="190" y="6112"/>
                    <a:pt x="442" y="6112"/>
                  </a:cubicBezTo>
                  <a:cubicBezTo>
                    <a:pt x="662" y="6112"/>
                    <a:pt x="820" y="5923"/>
                    <a:pt x="820" y="5671"/>
                  </a:cubicBezTo>
                  <a:lnTo>
                    <a:pt x="820" y="410"/>
                  </a:lnTo>
                  <a:cubicBezTo>
                    <a:pt x="820" y="158"/>
                    <a:pt x="631" y="0"/>
                    <a:pt x="442"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9993" name="Google Shape;9993;p111"/>
            <p:cNvSpPr/>
            <p:nvPr/>
          </p:nvSpPr>
          <p:spPr>
            <a:xfrm>
              <a:off x="-59330675" y="2913025"/>
              <a:ext cx="19700" cy="19700"/>
            </a:xfrm>
            <a:custGeom>
              <a:avLst/>
              <a:gdLst/>
              <a:ahLst/>
              <a:cxnLst/>
              <a:rect l="l" t="t" r="r" b="b"/>
              <a:pathLst>
                <a:path w="788" h="788" extrusionOk="0">
                  <a:moveTo>
                    <a:pt x="378" y="0"/>
                  </a:moveTo>
                  <a:cubicBezTo>
                    <a:pt x="158" y="0"/>
                    <a:pt x="0" y="189"/>
                    <a:pt x="0" y="410"/>
                  </a:cubicBezTo>
                  <a:cubicBezTo>
                    <a:pt x="0" y="630"/>
                    <a:pt x="158" y="788"/>
                    <a:pt x="378" y="788"/>
                  </a:cubicBezTo>
                  <a:cubicBezTo>
                    <a:pt x="599" y="788"/>
                    <a:pt x="788" y="630"/>
                    <a:pt x="788" y="410"/>
                  </a:cubicBezTo>
                  <a:cubicBezTo>
                    <a:pt x="788" y="189"/>
                    <a:pt x="599" y="0"/>
                    <a:pt x="378"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9994" name="Google Shape;9994;p111"/>
            <p:cNvSpPr/>
            <p:nvPr/>
          </p:nvSpPr>
          <p:spPr>
            <a:xfrm>
              <a:off x="-59330675" y="2699575"/>
              <a:ext cx="20500" cy="152825"/>
            </a:xfrm>
            <a:custGeom>
              <a:avLst/>
              <a:gdLst/>
              <a:ahLst/>
              <a:cxnLst/>
              <a:rect l="l" t="t" r="r" b="b"/>
              <a:pathLst>
                <a:path w="820" h="6113" extrusionOk="0">
                  <a:moveTo>
                    <a:pt x="378" y="0"/>
                  </a:moveTo>
                  <a:cubicBezTo>
                    <a:pt x="158" y="0"/>
                    <a:pt x="0" y="189"/>
                    <a:pt x="0" y="441"/>
                  </a:cubicBezTo>
                  <a:lnTo>
                    <a:pt x="0" y="5671"/>
                  </a:lnTo>
                  <a:cubicBezTo>
                    <a:pt x="0" y="5923"/>
                    <a:pt x="189" y="6112"/>
                    <a:pt x="378" y="6112"/>
                  </a:cubicBezTo>
                  <a:cubicBezTo>
                    <a:pt x="630" y="6112"/>
                    <a:pt x="820" y="5923"/>
                    <a:pt x="820" y="5671"/>
                  </a:cubicBezTo>
                  <a:lnTo>
                    <a:pt x="820" y="410"/>
                  </a:lnTo>
                  <a:cubicBezTo>
                    <a:pt x="788" y="158"/>
                    <a:pt x="567" y="0"/>
                    <a:pt x="378"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9995" name="Google Shape;9995;p111"/>
            <p:cNvSpPr/>
            <p:nvPr/>
          </p:nvSpPr>
          <p:spPr>
            <a:xfrm>
              <a:off x="-59475600" y="2658625"/>
              <a:ext cx="309550" cy="316625"/>
            </a:xfrm>
            <a:custGeom>
              <a:avLst/>
              <a:gdLst/>
              <a:ahLst/>
              <a:cxnLst/>
              <a:rect l="l" t="t" r="r" b="b"/>
              <a:pathLst>
                <a:path w="12382" h="12665" extrusionOk="0">
                  <a:moveTo>
                    <a:pt x="3372" y="788"/>
                  </a:moveTo>
                  <a:cubicBezTo>
                    <a:pt x="3624" y="788"/>
                    <a:pt x="3813" y="977"/>
                    <a:pt x="3813" y="1197"/>
                  </a:cubicBezTo>
                  <a:lnTo>
                    <a:pt x="3813" y="8538"/>
                  </a:lnTo>
                  <a:lnTo>
                    <a:pt x="788" y="8538"/>
                  </a:lnTo>
                  <a:lnTo>
                    <a:pt x="788" y="1197"/>
                  </a:lnTo>
                  <a:cubicBezTo>
                    <a:pt x="788" y="977"/>
                    <a:pt x="977" y="788"/>
                    <a:pt x="1166" y="788"/>
                  </a:cubicBezTo>
                  <a:close/>
                  <a:moveTo>
                    <a:pt x="7278" y="788"/>
                  </a:moveTo>
                  <a:cubicBezTo>
                    <a:pt x="7530" y="788"/>
                    <a:pt x="7688" y="977"/>
                    <a:pt x="7688" y="1197"/>
                  </a:cubicBezTo>
                  <a:lnTo>
                    <a:pt x="7688" y="8538"/>
                  </a:lnTo>
                  <a:lnTo>
                    <a:pt x="4632" y="8538"/>
                  </a:lnTo>
                  <a:lnTo>
                    <a:pt x="4632" y="1197"/>
                  </a:lnTo>
                  <a:cubicBezTo>
                    <a:pt x="4632" y="977"/>
                    <a:pt x="4852" y="788"/>
                    <a:pt x="5073" y="788"/>
                  </a:cubicBezTo>
                  <a:close/>
                  <a:moveTo>
                    <a:pt x="11122" y="788"/>
                  </a:moveTo>
                  <a:cubicBezTo>
                    <a:pt x="11342" y="788"/>
                    <a:pt x="11500" y="977"/>
                    <a:pt x="11500" y="1197"/>
                  </a:cubicBezTo>
                  <a:lnTo>
                    <a:pt x="11500" y="8538"/>
                  </a:lnTo>
                  <a:lnTo>
                    <a:pt x="8507" y="8538"/>
                  </a:lnTo>
                  <a:lnTo>
                    <a:pt x="8507" y="1197"/>
                  </a:lnTo>
                  <a:cubicBezTo>
                    <a:pt x="8507" y="977"/>
                    <a:pt x="8696" y="788"/>
                    <a:pt x="8885" y="788"/>
                  </a:cubicBezTo>
                  <a:close/>
                  <a:moveTo>
                    <a:pt x="3813" y="9325"/>
                  </a:moveTo>
                  <a:lnTo>
                    <a:pt x="3813" y="11405"/>
                  </a:lnTo>
                  <a:cubicBezTo>
                    <a:pt x="3813" y="11657"/>
                    <a:pt x="3624" y="11846"/>
                    <a:pt x="3372" y="11846"/>
                  </a:cubicBezTo>
                  <a:lnTo>
                    <a:pt x="1166" y="11846"/>
                  </a:lnTo>
                  <a:cubicBezTo>
                    <a:pt x="946" y="11846"/>
                    <a:pt x="788" y="11657"/>
                    <a:pt x="788" y="11405"/>
                  </a:cubicBezTo>
                  <a:lnTo>
                    <a:pt x="788" y="9325"/>
                  </a:lnTo>
                  <a:close/>
                  <a:moveTo>
                    <a:pt x="7688" y="9325"/>
                  </a:moveTo>
                  <a:lnTo>
                    <a:pt x="7688" y="11405"/>
                  </a:lnTo>
                  <a:cubicBezTo>
                    <a:pt x="7688" y="11657"/>
                    <a:pt x="7467" y="11846"/>
                    <a:pt x="7278" y="11846"/>
                  </a:cubicBezTo>
                  <a:lnTo>
                    <a:pt x="5073" y="11846"/>
                  </a:lnTo>
                  <a:cubicBezTo>
                    <a:pt x="4852" y="11846"/>
                    <a:pt x="4632" y="11657"/>
                    <a:pt x="4632" y="11405"/>
                  </a:cubicBezTo>
                  <a:lnTo>
                    <a:pt x="4632" y="9325"/>
                  </a:lnTo>
                  <a:close/>
                  <a:moveTo>
                    <a:pt x="11563" y="9325"/>
                  </a:moveTo>
                  <a:lnTo>
                    <a:pt x="11563" y="11405"/>
                  </a:lnTo>
                  <a:lnTo>
                    <a:pt x="11531" y="11405"/>
                  </a:lnTo>
                  <a:cubicBezTo>
                    <a:pt x="11531" y="11657"/>
                    <a:pt x="11342" y="11846"/>
                    <a:pt x="11153" y="11846"/>
                  </a:cubicBezTo>
                  <a:lnTo>
                    <a:pt x="8948" y="11846"/>
                  </a:lnTo>
                  <a:cubicBezTo>
                    <a:pt x="8696" y="11846"/>
                    <a:pt x="8538" y="11657"/>
                    <a:pt x="8538" y="11405"/>
                  </a:cubicBezTo>
                  <a:lnTo>
                    <a:pt x="8538" y="9325"/>
                  </a:lnTo>
                  <a:close/>
                  <a:moveTo>
                    <a:pt x="1229" y="0"/>
                  </a:moveTo>
                  <a:cubicBezTo>
                    <a:pt x="536" y="0"/>
                    <a:pt x="0" y="536"/>
                    <a:pt x="0" y="1197"/>
                  </a:cubicBezTo>
                  <a:lnTo>
                    <a:pt x="0" y="11405"/>
                  </a:lnTo>
                  <a:cubicBezTo>
                    <a:pt x="0" y="12066"/>
                    <a:pt x="536" y="12665"/>
                    <a:pt x="1229" y="12665"/>
                  </a:cubicBezTo>
                  <a:lnTo>
                    <a:pt x="3435" y="12665"/>
                  </a:lnTo>
                  <a:cubicBezTo>
                    <a:pt x="3750" y="12665"/>
                    <a:pt x="4002" y="12539"/>
                    <a:pt x="4254" y="12350"/>
                  </a:cubicBezTo>
                  <a:cubicBezTo>
                    <a:pt x="4474" y="12539"/>
                    <a:pt x="4758" y="12665"/>
                    <a:pt x="5073" y="12665"/>
                  </a:cubicBezTo>
                  <a:lnTo>
                    <a:pt x="7278" y="12665"/>
                  </a:lnTo>
                  <a:cubicBezTo>
                    <a:pt x="7593" y="12665"/>
                    <a:pt x="7877" y="12539"/>
                    <a:pt x="8097" y="12350"/>
                  </a:cubicBezTo>
                  <a:cubicBezTo>
                    <a:pt x="8349" y="12539"/>
                    <a:pt x="8633" y="12665"/>
                    <a:pt x="8948" y="12665"/>
                  </a:cubicBezTo>
                  <a:lnTo>
                    <a:pt x="11153" y="12665"/>
                  </a:lnTo>
                  <a:cubicBezTo>
                    <a:pt x="11815" y="12665"/>
                    <a:pt x="12382" y="12129"/>
                    <a:pt x="12382" y="11405"/>
                  </a:cubicBezTo>
                  <a:lnTo>
                    <a:pt x="12382" y="1197"/>
                  </a:lnTo>
                  <a:cubicBezTo>
                    <a:pt x="12350" y="536"/>
                    <a:pt x="11815" y="0"/>
                    <a:pt x="11153" y="0"/>
                  </a:cubicBezTo>
                  <a:lnTo>
                    <a:pt x="8948" y="0"/>
                  </a:lnTo>
                  <a:cubicBezTo>
                    <a:pt x="8633" y="0"/>
                    <a:pt x="8349" y="95"/>
                    <a:pt x="8097" y="315"/>
                  </a:cubicBezTo>
                  <a:cubicBezTo>
                    <a:pt x="7877" y="95"/>
                    <a:pt x="7593" y="0"/>
                    <a:pt x="7278" y="0"/>
                  </a:cubicBezTo>
                  <a:lnTo>
                    <a:pt x="5073" y="0"/>
                  </a:lnTo>
                  <a:cubicBezTo>
                    <a:pt x="4758" y="0"/>
                    <a:pt x="4474" y="95"/>
                    <a:pt x="4254" y="315"/>
                  </a:cubicBezTo>
                  <a:cubicBezTo>
                    <a:pt x="4002" y="95"/>
                    <a:pt x="3750" y="0"/>
                    <a:pt x="3435"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9996" name="Google Shape;9996;p111"/>
            <p:cNvSpPr/>
            <p:nvPr/>
          </p:nvSpPr>
          <p:spPr>
            <a:xfrm>
              <a:off x="-59234600" y="2913025"/>
              <a:ext cx="19725" cy="19700"/>
            </a:xfrm>
            <a:custGeom>
              <a:avLst/>
              <a:gdLst/>
              <a:ahLst/>
              <a:cxnLst/>
              <a:rect l="l" t="t" r="r" b="b"/>
              <a:pathLst>
                <a:path w="789" h="788" extrusionOk="0">
                  <a:moveTo>
                    <a:pt x="411" y="0"/>
                  </a:moveTo>
                  <a:cubicBezTo>
                    <a:pt x="190" y="0"/>
                    <a:pt x="1" y="189"/>
                    <a:pt x="1" y="410"/>
                  </a:cubicBezTo>
                  <a:cubicBezTo>
                    <a:pt x="1" y="630"/>
                    <a:pt x="190" y="788"/>
                    <a:pt x="411" y="788"/>
                  </a:cubicBezTo>
                  <a:cubicBezTo>
                    <a:pt x="631" y="788"/>
                    <a:pt x="789" y="630"/>
                    <a:pt x="789" y="410"/>
                  </a:cubicBezTo>
                  <a:cubicBezTo>
                    <a:pt x="789" y="189"/>
                    <a:pt x="631" y="0"/>
                    <a:pt x="411"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9997" name="Google Shape;9997;p111"/>
            <p:cNvSpPr/>
            <p:nvPr/>
          </p:nvSpPr>
          <p:spPr>
            <a:xfrm>
              <a:off x="-59235375" y="2699575"/>
              <a:ext cx="20500" cy="152825"/>
            </a:xfrm>
            <a:custGeom>
              <a:avLst/>
              <a:gdLst/>
              <a:ahLst/>
              <a:cxnLst/>
              <a:rect l="l" t="t" r="r" b="b"/>
              <a:pathLst>
                <a:path w="820" h="6113" extrusionOk="0">
                  <a:moveTo>
                    <a:pt x="442" y="0"/>
                  </a:moveTo>
                  <a:cubicBezTo>
                    <a:pt x="190" y="0"/>
                    <a:pt x="0" y="189"/>
                    <a:pt x="0" y="441"/>
                  </a:cubicBezTo>
                  <a:lnTo>
                    <a:pt x="0" y="5671"/>
                  </a:lnTo>
                  <a:cubicBezTo>
                    <a:pt x="0" y="5923"/>
                    <a:pt x="190" y="6112"/>
                    <a:pt x="442" y="6112"/>
                  </a:cubicBezTo>
                  <a:cubicBezTo>
                    <a:pt x="662" y="6112"/>
                    <a:pt x="820" y="5923"/>
                    <a:pt x="820" y="5671"/>
                  </a:cubicBezTo>
                  <a:lnTo>
                    <a:pt x="820" y="410"/>
                  </a:lnTo>
                  <a:cubicBezTo>
                    <a:pt x="820" y="158"/>
                    <a:pt x="631" y="0"/>
                    <a:pt x="442"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sp>
        <p:nvSpPr>
          <p:cNvPr id="9998" name="Google Shape;9998;p111"/>
          <p:cNvSpPr/>
          <p:nvPr/>
        </p:nvSpPr>
        <p:spPr>
          <a:xfrm>
            <a:off x="2900877" y="2056224"/>
            <a:ext cx="487164" cy="487125"/>
          </a:xfrm>
          <a:custGeom>
            <a:avLst/>
            <a:gdLst/>
            <a:ahLst/>
            <a:cxnLst/>
            <a:rect l="l" t="t" r="r" b="b"/>
            <a:pathLst>
              <a:path w="12635" h="12634" extrusionOk="0">
                <a:moveTo>
                  <a:pt x="6302" y="2741"/>
                </a:moveTo>
                <a:cubicBezTo>
                  <a:pt x="6774" y="2741"/>
                  <a:pt x="7152" y="3087"/>
                  <a:pt x="7152" y="3560"/>
                </a:cubicBezTo>
                <a:cubicBezTo>
                  <a:pt x="7152" y="4033"/>
                  <a:pt x="6774" y="4411"/>
                  <a:pt x="6302" y="4411"/>
                </a:cubicBezTo>
                <a:cubicBezTo>
                  <a:pt x="5861" y="4411"/>
                  <a:pt x="5483" y="4033"/>
                  <a:pt x="5483" y="3560"/>
                </a:cubicBezTo>
                <a:cubicBezTo>
                  <a:pt x="5483" y="3087"/>
                  <a:pt x="5829" y="2741"/>
                  <a:pt x="6302" y="2741"/>
                </a:cubicBezTo>
                <a:close/>
                <a:moveTo>
                  <a:pt x="11910" y="819"/>
                </a:moveTo>
                <a:lnTo>
                  <a:pt x="11910" y="5230"/>
                </a:lnTo>
                <a:lnTo>
                  <a:pt x="8161" y="5230"/>
                </a:lnTo>
                <a:cubicBezTo>
                  <a:pt x="7972" y="5041"/>
                  <a:pt x="7751" y="4820"/>
                  <a:pt x="7530" y="4726"/>
                </a:cubicBezTo>
                <a:cubicBezTo>
                  <a:pt x="7814" y="4411"/>
                  <a:pt x="8003" y="4001"/>
                  <a:pt x="8003" y="3560"/>
                </a:cubicBezTo>
                <a:cubicBezTo>
                  <a:pt x="8003" y="2678"/>
                  <a:pt x="7247" y="1922"/>
                  <a:pt x="6333" y="1922"/>
                </a:cubicBezTo>
                <a:cubicBezTo>
                  <a:pt x="5451" y="1922"/>
                  <a:pt x="4695" y="2678"/>
                  <a:pt x="4695" y="3560"/>
                </a:cubicBezTo>
                <a:cubicBezTo>
                  <a:pt x="4695" y="4001"/>
                  <a:pt x="4853" y="4411"/>
                  <a:pt x="5168" y="4726"/>
                </a:cubicBezTo>
                <a:cubicBezTo>
                  <a:pt x="4916" y="4820"/>
                  <a:pt x="4695" y="5041"/>
                  <a:pt x="4537" y="5230"/>
                </a:cubicBezTo>
                <a:lnTo>
                  <a:pt x="883" y="5230"/>
                </a:lnTo>
                <a:lnTo>
                  <a:pt x="883" y="819"/>
                </a:lnTo>
                <a:close/>
                <a:moveTo>
                  <a:pt x="6302" y="5230"/>
                </a:moveTo>
                <a:cubicBezTo>
                  <a:pt x="7215" y="5230"/>
                  <a:pt x="7972" y="5986"/>
                  <a:pt x="7972" y="6868"/>
                </a:cubicBezTo>
                <a:lnTo>
                  <a:pt x="4664" y="6868"/>
                </a:lnTo>
                <a:cubicBezTo>
                  <a:pt x="4664" y="5986"/>
                  <a:pt x="5388" y="5230"/>
                  <a:pt x="6302" y="5230"/>
                </a:cubicBezTo>
                <a:close/>
                <a:moveTo>
                  <a:pt x="8287" y="7719"/>
                </a:moveTo>
                <a:lnTo>
                  <a:pt x="7593" y="11846"/>
                </a:lnTo>
                <a:lnTo>
                  <a:pt x="5010" y="11846"/>
                </a:lnTo>
                <a:lnTo>
                  <a:pt x="4285" y="7719"/>
                </a:lnTo>
                <a:close/>
                <a:moveTo>
                  <a:pt x="410" y="0"/>
                </a:moveTo>
                <a:cubicBezTo>
                  <a:pt x="158" y="0"/>
                  <a:pt x="1" y="189"/>
                  <a:pt x="1" y="378"/>
                </a:cubicBezTo>
                <a:lnTo>
                  <a:pt x="1" y="5608"/>
                </a:lnTo>
                <a:cubicBezTo>
                  <a:pt x="1" y="5860"/>
                  <a:pt x="190" y="6017"/>
                  <a:pt x="410" y="6017"/>
                </a:cubicBezTo>
                <a:lnTo>
                  <a:pt x="3970" y="6017"/>
                </a:lnTo>
                <a:cubicBezTo>
                  <a:pt x="3907" y="6301"/>
                  <a:pt x="3813" y="6553"/>
                  <a:pt x="3813" y="6837"/>
                </a:cubicBezTo>
                <a:lnTo>
                  <a:pt x="2994" y="6837"/>
                </a:lnTo>
                <a:cubicBezTo>
                  <a:pt x="2773" y="6837"/>
                  <a:pt x="2616" y="7026"/>
                  <a:pt x="2616" y="7246"/>
                </a:cubicBezTo>
                <a:cubicBezTo>
                  <a:pt x="2616" y="7467"/>
                  <a:pt x="2805" y="7656"/>
                  <a:pt x="2994" y="7656"/>
                </a:cubicBezTo>
                <a:lnTo>
                  <a:pt x="3466" y="7656"/>
                </a:lnTo>
                <a:lnTo>
                  <a:pt x="4254" y="12255"/>
                </a:lnTo>
                <a:cubicBezTo>
                  <a:pt x="4285" y="12476"/>
                  <a:pt x="4443" y="12633"/>
                  <a:pt x="4664" y="12633"/>
                </a:cubicBezTo>
                <a:lnTo>
                  <a:pt x="7972" y="12633"/>
                </a:lnTo>
                <a:cubicBezTo>
                  <a:pt x="8161" y="12633"/>
                  <a:pt x="8350" y="12476"/>
                  <a:pt x="8350" y="12255"/>
                </a:cubicBezTo>
                <a:lnTo>
                  <a:pt x="9137" y="7656"/>
                </a:lnTo>
                <a:lnTo>
                  <a:pt x="9610" y="7656"/>
                </a:lnTo>
                <a:cubicBezTo>
                  <a:pt x="9862" y="7656"/>
                  <a:pt x="10019" y="7467"/>
                  <a:pt x="10019" y="7215"/>
                </a:cubicBezTo>
                <a:cubicBezTo>
                  <a:pt x="10019" y="6994"/>
                  <a:pt x="9799" y="6837"/>
                  <a:pt x="9610" y="6837"/>
                </a:cubicBezTo>
                <a:lnTo>
                  <a:pt x="8791" y="6837"/>
                </a:lnTo>
                <a:cubicBezTo>
                  <a:pt x="8791" y="6553"/>
                  <a:pt x="8759" y="6269"/>
                  <a:pt x="8633" y="6017"/>
                </a:cubicBezTo>
                <a:lnTo>
                  <a:pt x="12225" y="6017"/>
                </a:lnTo>
                <a:cubicBezTo>
                  <a:pt x="12445" y="6017"/>
                  <a:pt x="12603" y="5797"/>
                  <a:pt x="12603" y="5608"/>
                </a:cubicBezTo>
                <a:lnTo>
                  <a:pt x="12603" y="378"/>
                </a:lnTo>
                <a:cubicBezTo>
                  <a:pt x="12634" y="189"/>
                  <a:pt x="12445" y="0"/>
                  <a:pt x="12256"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9999" name="Google Shape;9999;p111"/>
          <p:cNvSpPr/>
          <p:nvPr/>
        </p:nvSpPr>
        <p:spPr>
          <a:xfrm>
            <a:off x="2937335" y="2694179"/>
            <a:ext cx="414253" cy="492021"/>
          </a:xfrm>
          <a:custGeom>
            <a:avLst/>
            <a:gdLst/>
            <a:ahLst/>
            <a:cxnLst/>
            <a:rect l="l" t="t" r="r" b="b"/>
            <a:pathLst>
              <a:path w="10744" h="12761" extrusionOk="0">
                <a:moveTo>
                  <a:pt x="5419" y="820"/>
                </a:moveTo>
                <a:cubicBezTo>
                  <a:pt x="6585" y="820"/>
                  <a:pt x="7530" y="1765"/>
                  <a:pt x="7530" y="2899"/>
                </a:cubicBezTo>
                <a:cubicBezTo>
                  <a:pt x="7530" y="3655"/>
                  <a:pt x="7121" y="4317"/>
                  <a:pt x="6490" y="4663"/>
                </a:cubicBezTo>
                <a:cubicBezTo>
                  <a:pt x="6364" y="4758"/>
                  <a:pt x="6301" y="4884"/>
                  <a:pt x="6301" y="5042"/>
                </a:cubicBezTo>
                <a:lnTo>
                  <a:pt x="6301" y="7436"/>
                </a:lnTo>
                <a:lnTo>
                  <a:pt x="4632" y="7436"/>
                </a:lnTo>
                <a:lnTo>
                  <a:pt x="4632" y="5042"/>
                </a:lnTo>
                <a:cubicBezTo>
                  <a:pt x="4632" y="4884"/>
                  <a:pt x="4569" y="4758"/>
                  <a:pt x="4443" y="4663"/>
                </a:cubicBezTo>
                <a:cubicBezTo>
                  <a:pt x="3687" y="4317"/>
                  <a:pt x="3340" y="3655"/>
                  <a:pt x="3340" y="2899"/>
                </a:cubicBezTo>
                <a:cubicBezTo>
                  <a:pt x="3340" y="1765"/>
                  <a:pt x="4285" y="820"/>
                  <a:pt x="5419" y="820"/>
                </a:cubicBezTo>
                <a:close/>
                <a:moveTo>
                  <a:pt x="8696" y="8286"/>
                </a:moveTo>
                <a:cubicBezTo>
                  <a:pt x="9357" y="8286"/>
                  <a:pt x="9924" y="8854"/>
                  <a:pt x="9924" y="9547"/>
                </a:cubicBezTo>
                <a:lnTo>
                  <a:pt x="9924" y="10271"/>
                </a:lnTo>
                <a:lnTo>
                  <a:pt x="820" y="10271"/>
                </a:lnTo>
                <a:lnTo>
                  <a:pt x="820" y="9547"/>
                </a:lnTo>
                <a:cubicBezTo>
                  <a:pt x="820" y="8885"/>
                  <a:pt x="1387" y="8286"/>
                  <a:pt x="2048" y="8286"/>
                </a:cubicBezTo>
                <a:close/>
                <a:moveTo>
                  <a:pt x="9137" y="11059"/>
                </a:moveTo>
                <a:lnTo>
                  <a:pt x="9137" y="11878"/>
                </a:lnTo>
                <a:lnTo>
                  <a:pt x="1702" y="11878"/>
                </a:lnTo>
                <a:lnTo>
                  <a:pt x="1702" y="11059"/>
                </a:lnTo>
                <a:close/>
                <a:moveTo>
                  <a:pt x="5325" y="1"/>
                </a:moveTo>
                <a:cubicBezTo>
                  <a:pt x="3718" y="1"/>
                  <a:pt x="2458" y="1292"/>
                  <a:pt x="2458" y="2899"/>
                </a:cubicBezTo>
                <a:cubicBezTo>
                  <a:pt x="2458" y="3403"/>
                  <a:pt x="2615" y="3939"/>
                  <a:pt x="2836" y="4348"/>
                </a:cubicBezTo>
                <a:cubicBezTo>
                  <a:pt x="3025" y="4726"/>
                  <a:pt x="3340" y="5010"/>
                  <a:pt x="3655" y="5262"/>
                </a:cubicBezTo>
                <a:lnTo>
                  <a:pt x="3655" y="7467"/>
                </a:lnTo>
                <a:lnTo>
                  <a:pt x="2080" y="7467"/>
                </a:lnTo>
                <a:cubicBezTo>
                  <a:pt x="946" y="7467"/>
                  <a:pt x="0" y="8413"/>
                  <a:pt x="0" y="9547"/>
                </a:cubicBezTo>
                <a:lnTo>
                  <a:pt x="0" y="10649"/>
                </a:lnTo>
                <a:cubicBezTo>
                  <a:pt x="0" y="10901"/>
                  <a:pt x="189" y="11059"/>
                  <a:pt x="441" y="11059"/>
                </a:cubicBezTo>
                <a:lnTo>
                  <a:pt x="820" y="11059"/>
                </a:lnTo>
                <a:lnTo>
                  <a:pt x="820" y="12319"/>
                </a:lnTo>
                <a:cubicBezTo>
                  <a:pt x="820" y="12540"/>
                  <a:pt x="1009" y="12760"/>
                  <a:pt x="1229" y="12760"/>
                </a:cubicBezTo>
                <a:lnTo>
                  <a:pt x="9483" y="12760"/>
                </a:lnTo>
                <a:cubicBezTo>
                  <a:pt x="9735" y="12760"/>
                  <a:pt x="9924" y="12540"/>
                  <a:pt x="9924" y="12319"/>
                </a:cubicBezTo>
                <a:lnTo>
                  <a:pt x="9924" y="11059"/>
                </a:lnTo>
                <a:lnTo>
                  <a:pt x="10303" y="11059"/>
                </a:lnTo>
                <a:cubicBezTo>
                  <a:pt x="10555" y="11059"/>
                  <a:pt x="10744" y="10870"/>
                  <a:pt x="10744" y="10649"/>
                </a:cubicBezTo>
                <a:lnTo>
                  <a:pt x="10744" y="9547"/>
                </a:lnTo>
                <a:cubicBezTo>
                  <a:pt x="10744" y="8413"/>
                  <a:pt x="9798" y="7467"/>
                  <a:pt x="8664" y="7467"/>
                </a:cubicBezTo>
                <a:lnTo>
                  <a:pt x="7026" y="7467"/>
                </a:lnTo>
                <a:lnTo>
                  <a:pt x="7026" y="5262"/>
                </a:lnTo>
                <a:cubicBezTo>
                  <a:pt x="7373" y="5042"/>
                  <a:pt x="7656" y="4726"/>
                  <a:pt x="7845" y="4348"/>
                </a:cubicBezTo>
                <a:cubicBezTo>
                  <a:pt x="8129" y="3939"/>
                  <a:pt x="8223" y="3403"/>
                  <a:pt x="8223" y="2899"/>
                </a:cubicBezTo>
                <a:cubicBezTo>
                  <a:pt x="8223" y="1292"/>
                  <a:pt x="6932" y="1"/>
                  <a:pt x="5325"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nvGrpSpPr>
          <p:cNvPr id="10000" name="Google Shape;10000;p111"/>
          <p:cNvGrpSpPr/>
          <p:nvPr/>
        </p:nvGrpSpPr>
        <p:grpSpPr>
          <a:xfrm>
            <a:off x="2977448" y="3316009"/>
            <a:ext cx="351059" cy="489553"/>
            <a:chOff x="-63987100" y="2646800"/>
            <a:chExt cx="227625" cy="317425"/>
          </a:xfrm>
        </p:grpSpPr>
        <p:sp>
          <p:nvSpPr>
            <p:cNvPr id="10001" name="Google Shape;10001;p111"/>
            <p:cNvSpPr/>
            <p:nvPr/>
          </p:nvSpPr>
          <p:spPr>
            <a:xfrm>
              <a:off x="-63987100" y="2646800"/>
              <a:ext cx="227625" cy="317425"/>
            </a:xfrm>
            <a:custGeom>
              <a:avLst/>
              <a:gdLst/>
              <a:ahLst/>
              <a:cxnLst/>
              <a:rect l="l" t="t" r="r" b="b"/>
              <a:pathLst>
                <a:path w="9105" h="12697" extrusionOk="0">
                  <a:moveTo>
                    <a:pt x="7467" y="851"/>
                  </a:moveTo>
                  <a:lnTo>
                    <a:pt x="7467" y="2426"/>
                  </a:lnTo>
                  <a:cubicBezTo>
                    <a:pt x="7152" y="2300"/>
                    <a:pt x="6711" y="2237"/>
                    <a:pt x="6238" y="2237"/>
                  </a:cubicBezTo>
                  <a:cubicBezTo>
                    <a:pt x="5198" y="2237"/>
                    <a:pt x="4411" y="2678"/>
                    <a:pt x="4379" y="2710"/>
                  </a:cubicBezTo>
                  <a:cubicBezTo>
                    <a:pt x="4379" y="2710"/>
                    <a:pt x="3718" y="3056"/>
                    <a:pt x="2930" y="3056"/>
                  </a:cubicBezTo>
                  <a:cubicBezTo>
                    <a:pt x="2426" y="3056"/>
                    <a:pt x="1953" y="2899"/>
                    <a:pt x="1701" y="2773"/>
                  </a:cubicBezTo>
                  <a:lnTo>
                    <a:pt x="1701" y="851"/>
                  </a:lnTo>
                  <a:close/>
                  <a:moveTo>
                    <a:pt x="6207" y="3088"/>
                  </a:moveTo>
                  <a:cubicBezTo>
                    <a:pt x="6711" y="3088"/>
                    <a:pt x="7183" y="3245"/>
                    <a:pt x="7404" y="3371"/>
                  </a:cubicBezTo>
                  <a:cubicBezTo>
                    <a:pt x="7309" y="4789"/>
                    <a:pt x="6049" y="5986"/>
                    <a:pt x="4537" y="5986"/>
                  </a:cubicBezTo>
                  <a:cubicBezTo>
                    <a:pt x="3151" y="5986"/>
                    <a:pt x="2016" y="5041"/>
                    <a:pt x="1701" y="3718"/>
                  </a:cubicBezTo>
                  <a:lnTo>
                    <a:pt x="1701" y="3718"/>
                  </a:lnTo>
                  <a:cubicBezTo>
                    <a:pt x="2016" y="3844"/>
                    <a:pt x="2426" y="3939"/>
                    <a:pt x="2899" y="3939"/>
                  </a:cubicBezTo>
                  <a:cubicBezTo>
                    <a:pt x="3907" y="3939"/>
                    <a:pt x="4694" y="3498"/>
                    <a:pt x="4726" y="3466"/>
                  </a:cubicBezTo>
                  <a:cubicBezTo>
                    <a:pt x="4726" y="3466"/>
                    <a:pt x="5419" y="3088"/>
                    <a:pt x="6207" y="3088"/>
                  </a:cubicBezTo>
                  <a:close/>
                  <a:moveTo>
                    <a:pt x="4537" y="10240"/>
                  </a:moveTo>
                  <a:cubicBezTo>
                    <a:pt x="5135" y="10240"/>
                    <a:pt x="5639" y="10933"/>
                    <a:pt x="5765" y="11878"/>
                  </a:cubicBezTo>
                  <a:lnTo>
                    <a:pt x="3308" y="11878"/>
                  </a:lnTo>
                  <a:cubicBezTo>
                    <a:pt x="3434" y="10933"/>
                    <a:pt x="3938" y="10240"/>
                    <a:pt x="4537" y="10240"/>
                  </a:cubicBezTo>
                  <a:close/>
                  <a:moveTo>
                    <a:pt x="4505" y="6774"/>
                  </a:moveTo>
                  <a:cubicBezTo>
                    <a:pt x="6144" y="6806"/>
                    <a:pt x="7467" y="8066"/>
                    <a:pt x="7467" y="9672"/>
                  </a:cubicBezTo>
                  <a:lnTo>
                    <a:pt x="7467" y="11878"/>
                  </a:lnTo>
                  <a:lnTo>
                    <a:pt x="6585" y="11878"/>
                  </a:lnTo>
                  <a:cubicBezTo>
                    <a:pt x="6553" y="11279"/>
                    <a:pt x="6364" y="10744"/>
                    <a:pt x="6049" y="10303"/>
                  </a:cubicBezTo>
                  <a:cubicBezTo>
                    <a:pt x="5639" y="9704"/>
                    <a:pt x="5104" y="9389"/>
                    <a:pt x="4537" y="9389"/>
                  </a:cubicBezTo>
                  <a:cubicBezTo>
                    <a:pt x="3938" y="9389"/>
                    <a:pt x="3434" y="9704"/>
                    <a:pt x="3056" y="10303"/>
                  </a:cubicBezTo>
                  <a:cubicBezTo>
                    <a:pt x="2772" y="10744"/>
                    <a:pt x="2583" y="11279"/>
                    <a:pt x="2489" y="11878"/>
                  </a:cubicBezTo>
                  <a:lnTo>
                    <a:pt x="1638" y="11878"/>
                  </a:lnTo>
                  <a:lnTo>
                    <a:pt x="1638" y="9672"/>
                  </a:lnTo>
                  <a:cubicBezTo>
                    <a:pt x="1638" y="8066"/>
                    <a:pt x="2930" y="6774"/>
                    <a:pt x="4505" y="6774"/>
                  </a:cubicBezTo>
                  <a:close/>
                  <a:moveTo>
                    <a:pt x="410" y="0"/>
                  </a:moveTo>
                  <a:cubicBezTo>
                    <a:pt x="158" y="0"/>
                    <a:pt x="0" y="189"/>
                    <a:pt x="0" y="410"/>
                  </a:cubicBezTo>
                  <a:cubicBezTo>
                    <a:pt x="0" y="662"/>
                    <a:pt x="221" y="851"/>
                    <a:pt x="410" y="851"/>
                  </a:cubicBezTo>
                  <a:lnTo>
                    <a:pt x="851" y="851"/>
                  </a:lnTo>
                  <a:lnTo>
                    <a:pt x="851" y="3056"/>
                  </a:lnTo>
                  <a:cubicBezTo>
                    <a:pt x="851" y="4506"/>
                    <a:pt x="1670" y="5734"/>
                    <a:pt x="2867" y="6364"/>
                  </a:cubicBezTo>
                  <a:cubicBezTo>
                    <a:pt x="1670" y="6995"/>
                    <a:pt x="851" y="8223"/>
                    <a:pt x="851" y="9672"/>
                  </a:cubicBezTo>
                  <a:lnTo>
                    <a:pt x="851" y="11878"/>
                  </a:lnTo>
                  <a:lnTo>
                    <a:pt x="410" y="11878"/>
                  </a:lnTo>
                  <a:cubicBezTo>
                    <a:pt x="158" y="11878"/>
                    <a:pt x="0" y="12067"/>
                    <a:pt x="0" y="12287"/>
                  </a:cubicBezTo>
                  <a:cubicBezTo>
                    <a:pt x="0" y="12508"/>
                    <a:pt x="221" y="12697"/>
                    <a:pt x="410" y="12697"/>
                  </a:cubicBezTo>
                  <a:lnTo>
                    <a:pt x="8664" y="12697"/>
                  </a:lnTo>
                  <a:cubicBezTo>
                    <a:pt x="8916" y="12697"/>
                    <a:pt x="9105" y="12508"/>
                    <a:pt x="9105" y="12287"/>
                  </a:cubicBezTo>
                  <a:cubicBezTo>
                    <a:pt x="9105" y="12035"/>
                    <a:pt x="8916" y="11878"/>
                    <a:pt x="8664" y="11878"/>
                  </a:cubicBezTo>
                  <a:lnTo>
                    <a:pt x="8286" y="11878"/>
                  </a:lnTo>
                  <a:lnTo>
                    <a:pt x="8286" y="9672"/>
                  </a:lnTo>
                  <a:cubicBezTo>
                    <a:pt x="8286" y="8223"/>
                    <a:pt x="7467" y="6995"/>
                    <a:pt x="6270" y="6364"/>
                  </a:cubicBezTo>
                  <a:cubicBezTo>
                    <a:pt x="7467" y="5734"/>
                    <a:pt x="8286" y="4506"/>
                    <a:pt x="8286" y="3056"/>
                  </a:cubicBezTo>
                  <a:lnTo>
                    <a:pt x="8286" y="851"/>
                  </a:lnTo>
                  <a:lnTo>
                    <a:pt x="8664" y="851"/>
                  </a:lnTo>
                  <a:cubicBezTo>
                    <a:pt x="8916" y="851"/>
                    <a:pt x="9105" y="662"/>
                    <a:pt x="9105" y="410"/>
                  </a:cubicBezTo>
                  <a:cubicBezTo>
                    <a:pt x="9105" y="189"/>
                    <a:pt x="8916" y="0"/>
                    <a:pt x="8664"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002" name="Google Shape;10002;p111"/>
            <p:cNvSpPr/>
            <p:nvPr/>
          </p:nvSpPr>
          <p:spPr>
            <a:xfrm>
              <a:off x="-63883150" y="2826375"/>
              <a:ext cx="20500" cy="41775"/>
            </a:xfrm>
            <a:custGeom>
              <a:avLst/>
              <a:gdLst/>
              <a:ahLst/>
              <a:cxnLst/>
              <a:rect l="l" t="t" r="r" b="b"/>
              <a:pathLst>
                <a:path w="820" h="1671" extrusionOk="0">
                  <a:moveTo>
                    <a:pt x="379" y="1"/>
                  </a:moveTo>
                  <a:cubicBezTo>
                    <a:pt x="158" y="1"/>
                    <a:pt x="1" y="221"/>
                    <a:pt x="1" y="442"/>
                  </a:cubicBezTo>
                  <a:lnTo>
                    <a:pt x="1" y="1261"/>
                  </a:lnTo>
                  <a:cubicBezTo>
                    <a:pt x="1" y="1513"/>
                    <a:pt x="190" y="1670"/>
                    <a:pt x="379" y="1670"/>
                  </a:cubicBezTo>
                  <a:cubicBezTo>
                    <a:pt x="631" y="1670"/>
                    <a:pt x="820" y="1481"/>
                    <a:pt x="820" y="1261"/>
                  </a:cubicBezTo>
                  <a:lnTo>
                    <a:pt x="820" y="442"/>
                  </a:lnTo>
                  <a:cubicBezTo>
                    <a:pt x="820" y="221"/>
                    <a:pt x="631" y="1"/>
                    <a:pt x="379"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10003" name="Google Shape;10003;p111"/>
          <p:cNvGrpSpPr/>
          <p:nvPr/>
        </p:nvGrpSpPr>
        <p:grpSpPr>
          <a:xfrm>
            <a:off x="1136571" y="3944837"/>
            <a:ext cx="477408" cy="493217"/>
            <a:chOff x="-62148000" y="1930075"/>
            <a:chExt cx="309550" cy="319800"/>
          </a:xfrm>
        </p:grpSpPr>
        <p:sp>
          <p:nvSpPr>
            <p:cNvPr id="10004" name="Google Shape;10004;p111"/>
            <p:cNvSpPr/>
            <p:nvPr/>
          </p:nvSpPr>
          <p:spPr>
            <a:xfrm>
              <a:off x="-62148000" y="1930075"/>
              <a:ext cx="309550" cy="319800"/>
            </a:xfrm>
            <a:custGeom>
              <a:avLst/>
              <a:gdLst/>
              <a:ahLst/>
              <a:cxnLst/>
              <a:rect l="l" t="t" r="r" b="b"/>
              <a:pathLst>
                <a:path w="12382" h="12792" extrusionOk="0">
                  <a:moveTo>
                    <a:pt x="11594" y="1670"/>
                  </a:moveTo>
                  <a:lnTo>
                    <a:pt x="11594" y="2899"/>
                  </a:lnTo>
                  <a:cubicBezTo>
                    <a:pt x="11594" y="3970"/>
                    <a:pt x="10775" y="4883"/>
                    <a:pt x="9735" y="4946"/>
                  </a:cubicBezTo>
                  <a:cubicBezTo>
                    <a:pt x="9861" y="4631"/>
                    <a:pt x="9924" y="4190"/>
                    <a:pt x="9924" y="3781"/>
                  </a:cubicBezTo>
                  <a:lnTo>
                    <a:pt x="9924" y="1670"/>
                  </a:lnTo>
                  <a:close/>
                  <a:moveTo>
                    <a:pt x="2489" y="1733"/>
                  </a:moveTo>
                  <a:lnTo>
                    <a:pt x="2489" y="3812"/>
                  </a:lnTo>
                  <a:cubicBezTo>
                    <a:pt x="2489" y="4253"/>
                    <a:pt x="2584" y="4631"/>
                    <a:pt x="2678" y="5041"/>
                  </a:cubicBezTo>
                  <a:cubicBezTo>
                    <a:pt x="1638" y="4915"/>
                    <a:pt x="851" y="4033"/>
                    <a:pt x="851" y="2993"/>
                  </a:cubicBezTo>
                  <a:lnTo>
                    <a:pt x="851" y="1733"/>
                  </a:lnTo>
                  <a:close/>
                  <a:moveTo>
                    <a:pt x="9105" y="882"/>
                  </a:moveTo>
                  <a:lnTo>
                    <a:pt x="9105" y="3812"/>
                  </a:lnTo>
                  <a:cubicBezTo>
                    <a:pt x="9105" y="5419"/>
                    <a:pt x="7813" y="6679"/>
                    <a:pt x="6207" y="6679"/>
                  </a:cubicBezTo>
                  <a:cubicBezTo>
                    <a:pt x="4600" y="6679"/>
                    <a:pt x="3308" y="5387"/>
                    <a:pt x="3308" y="3812"/>
                  </a:cubicBezTo>
                  <a:lnTo>
                    <a:pt x="3308" y="882"/>
                  </a:lnTo>
                  <a:close/>
                  <a:moveTo>
                    <a:pt x="6648" y="7467"/>
                  </a:moveTo>
                  <a:lnTo>
                    <a:pt x="6648" y="8601"/>
                  </a:lnTo>
                  <a:lnTo>
                    <a:pt x="5797" y="8601"/>
                  </a:lnTo>
                  <a:lnTo>
                    <a:pt x="5797" y="7467"/>
                  </a:lnTo>
                  <a:cubicBezTo>
                    <a:pt x="5923" y="7467"/>
                    <a:pt x="6081" y="7498"/>
                    <a:pt x="6207" y="7498"/>
                  </a:cubicBezTo>
                  <a:cubicBezTo>
                    <a:pt x="6301" y="7498"/>
                    <a:pt x="6459" y="7498"/>
                    <a:pt x="6648" y="7467"/>
                  </a:cubicBezTo>
                  <a:close/>
                  <a:moveTo>
                    <a:pt x="7057" y="9389"/>
                  </a:moveTo>
                  <a:cubicBezTo>
                    <a:pt x="7309" y="9389"/>
                    <a:pt x="7498" y="9609"/>
                    <a:pt x="7498" y="9830"/>
                  </a:cubicBezTo>
                  <a:lnTo>
                    <a:pt x="7498" y="10271"/>
                  </a:lnTo>
                  <a:lnTo>
                    <a:pt x="5009" y="10271"/>
                  </a:lnTo>
                  <a:lnTo>
                    <a:pt x="5009" y="9830"/>
                  </a:lnTo>
                  <a:lnTo>
                    <a:pt x="4978" y="9830"/>
                  </a:lnTo>
                  <a:cubicBezTo>
                    <a:pt x="4978" y="9609"/>
                    <a:pt x="5167" y="9389"/>
                    <a:pt x="5419" y="9389"/>
                  </a:cubicBezTo>
                  <a:close/>
                  <a:moveTo>
                    <a:pt x="8727" y="11090"/>
                  </a:moveTo>
                  <a:cubicBezTo>
                    <a:pt x="8948" y="11090"/>
                    <a:pt x="9105" y="11279"/>
                    <a:pt x="9105" y="11499"/>
                  </a:cubicBezTo>
                  <a:lnTo>
                    <a:pt x="9105" y="11909"/>
                  </a:lnTo>
                  <a:lnTo>
                    <a:pt x="3308" y="11909"/>
                  </a:lnTo>
                  <a:lnTo>
                    <a:pt x="3308" y="11499"/>
                  </a:lnTo>
                  <a:cubicBezTo>
                    <a:pt x="3308" y="11247"/>
                    <a:pt x="3529" y="11090"/>
                    <a:pt x="3718" y="11090"/>
                  </a:cubicBezTo>
                  <a:close/>
                  <a:moveTo>
                    <a:pt x="2899" y="0"/>
                  </a:moveTo>
                  <a:cubicBezTo>
                    <a:pt x="2647" y="0"/>
                    <a:pt x="2489" y="189"/>
                    <a:pt x="2489" y="410"/>
                  </a:cubicBezTo>
                  <a:lnTo>
                    <a:pt x="2489" y="819"/>
                  </a:lnTo>
                  <a:lnTo>
                    <a:pt x="410" y="819"/>
                  </a:lnTo>
                  <a:cubicBezTo>
                    <a:pt x="221" y="882"/>
                    <a:pt x="0" y="1040"/>
                    <a:pt x="0" y="1292"/>
                  </a:cubicBezTo>
                  <a:lnTo>
                    <a:pt x="0" y="2930"/>
                  </a:lnTo>
                  <a:cubicBezTo>
                    <a:pt x="0" y="4568"/>
                    <a:pt x="1323" y="5860"/>
                    <a:pt x="2930" y="5860"/>
                  </a:cubicBezTo>
                  <a:lnTo>
                    <a:pt x="3119" y="5860"/>
                  </a:lnTo>
                  <a:cubicBezTo>
                    <a:pt x="3560" y="6522"/>
                    <a:pt x="4222" y="7026"/>
                    <a:pt x="4978" y="7309"/>
                  </a:cubicBezTo>
                  <a:lnTo>
                    <a:pt x="4978" y="8695"/>
                  </a:lnTo>
                  <a:cubicBezTo>
                    <a:pt x="4505" y="8853"/>
                    <a:pt x="4159" y="9326"/>
                    <a:pt x="4159" y="9861"/>
                  </a:cubicBezTo>
                  <a:lnTo>
                    <a:pt x="4159" y="10302"/>
                  </a:lnTo>
                  <a:lnTo>
                    <a:pt x="3749" y="10302"/>
                  </a:lnTo>
                  <a:cubicBezTo>
                    <a:pt x="3088" y="10302"/>
                    <a:pt x="2521" y="10869"/>
                    <a:pt x="2521" y="11531"/>
                  </a:cubicBezTo>
                  <a:lnTo>
                    <a:pt x="2521" y="12350"/>
                  </a:lnTo>
                  <a:cubicBezTo>
                    <a:pt x="2521" y="12571"/>
                    <a:pt x="2741" y="12791"/>
                    <a:pt x="2930" y="12791"/>
                  </a:cubicBezTo>
                  <a:lnTo>
                    <a:pt x="9546" y="12791"/>
                  </a:lnTo>
                  <a:cubicBezTo>
                    <a:pt x="9767" y="12791"/>
                    <a:pt x="9924" y="12571"/>
                    <a:pt x="9924" y="12350"/>
                  </a:cubicBezTo>
                  <a:lnTo>
                    <a:pt x="9924" y="11499"/>
                  </a:lnTo>
                  <a:cubicBezTo>
                    <a:pt x="9924" y="10806"/>
                    <a:pt x="9389" y="10271"/>
                    <a:pt x="8727" y="10271"/>
                  </a:cubicBezTo>
                  <a:lnTo>
                    <a:pt x="8286" y="10271"/>
                  </a:lnTo>
                  <a:lnTo>
                    <a:pt x="8286" y="9830"/>
                  </a:lnTo>
                  <a:cubicBezTo>
                    <a:pt x="8286" y="9294"/>
                    <a:pt x="7939" y="8853"/>
                    <a:pt x="7467" y="8664"/>
                  </a:cubicBezTo>
                  <a:lnTo>
                    <a:pt x="7467" y="7278"/>
                  </a:lnTo>
                  <a:cubicBezTo>
                    <a:pt x="8191" y="6994"/>
                    <a:pt x="8885" y="6490"/>
                    <a:pt x="9294" y="5828"/>
                  </a:cubicBezTo>
                  <a:lnTo>
                    <a:pt x="9515" y="5828"/>
                  </a:lnTo>
                  <a:cubicBezTo>
                    <a:pt x="11121" y="5828"/>
                    <a:pt x="12382" y="4505"/>
                    <a:pt x="12382" y="2899"/>
                  </a:cubicBezTo>
                  <a:lnTo>
                    <a:pt x="12382" y="1260"/>
                  </a:lnTo>
                  <a:cubicBezTo>
                    <a:pt x="12382" y="1008"/>
                    <a:pt x="12193" y="819"/>
                    <a:pt x="11972" y="819"/>
                  </a:cubicBezTo>
                  <a:lnTo>
                    <a:pt x="9893" y="819"/>
                  </a:lnTo>
                  <a:lnTo>
                    <a:pt x="9893" y="410"/>
                  </a:lnTo>
                  <a:cubicBezTo>
                    <a:pt x="9893" y="189"/>
                    <a:pt x="9704" y="0"/>
                    <a:pt x="9515"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005" name="Google Shape;10005;p111"/>
            <p:cNvSpPr/>
            <p:nvPr/>
          </p:nvSpPr>
          <p:spPr>
            <a:xfrm>
              <a:off x="-62044825" y="1972200"/>
              <a:ext cx="107125" cy="97700"/>
            </a:xfrm>
            <a:custGeom>
              <a:avLst/>
              <a:gdLst/>
              <a:ahLst/>
              <a:cxnLst/>
              <a:rect l="l" t="t" r="r" b="b"/>
              <a:pathLst>
                <a:path w="4285" h="3908" extrusionOk="0">
                  <a:moveTo>
                    <a:pt x="2111" y="1308"/>
                  </a:moveTo>
                  <a:lnTo>
                    <a:pt x="2237" y="1560"/>
                  </a:lnTo>
                  <a:cubicBezTo>
                    <a:pt x="2300" y="1686"/>
                    <a:pt x="2395" y="1781"/>
                    <a:pt x="2552" y="1812"/>
                  </a:cubicBezTo>
                  <a:lnTo>
                    <a:pt x="2867" y="1844"/>
                  </a:lnTo>
                  <a:lnTo>
                    <a:pt x="2615" y="2033"/>
                  </a:lnTo>
                  <a:cubicBezTo>
                    <a:pt x="2552" y="2127"/>
                    <a:pt x="2458" y="2285"/>
                    <a:pt x="2521" y="2411"/>
                  </a:cubicBezTo>
                  <a:lnTo>
                    <a:pt x="2552" y="2726"/>
                  </a:lnTo>
                  <a:lnTo>
                    <a:pt x="2269" y="2568"/>
                  </a:lnTo>
                  <a:cubicBezTo>
                    <a:pt x="2206" y="2505"/>
                    <a:pt x="2143" y="2505"/>
                    <a:pt x="2080" y="2505"/>
                  </a:cubicBezTo>
                  <a:cubicBezTo>
                    <a:pt x="1985" y="2505"/>
                    <a:pt x="1954" y="2505"/>
                    <a:pt x="1891" y="2568"/>
                  </a:cubicBezTo>
                  <a:lnTo>
                    <a:pt x="1607" y="2726"/>
                  </a:lnTo>
                  <a:lnTo>
                    <a:pt x="1639" y="2411"/>
                  </a:lnTo>
                  <a:cubicBezTo>
                    <a:pt x="1670" y="2285"/>
                    <a:pt x="1607" y="2127"/>
                    <a:pt x="1513" y="2033"/>
                  </a:cubicBezTo>
                  <a:lnTo>
                    <a:pt x="1292" y="1844"/>
                  </a:lnTo>
                  <a:lnTo>
                    <a:pt x="1670" y="1812"/>
                  </a:lnTo>
                  <a:cubicBezTo>
                    <a:pt x="1796" y="1812"/>
                    <a:pt x="1922" y="1686"/>
                    <a:pt x="1985" y="1560"/>
                  </a:cubicBezTo>
                  <a:lnTo>
                    <a:pt x="2111" y="1308"/>
                  </a:lnTo>
                  <a:close/>
                  <a:moveTo>
                    <a:pt x="2143" y="1"/>
                  </a:moveTo>
                  <a:cubicBezTo>
                    <a:pt x="1993" y="1"/>
                    <a:pt x="1843" y="79"/>
                    <a:pt x="1765" y="237"/>
                  </a:cubicBezTo>
                  <a:lnTo>
                    <a:pt x="1355" y="1056"/>
                  </a:lnTo>
                  <a:lnTo>
                    <a:pt x="473" y="1182"/>
                  </a:lnTo>
                  <a:cubicBezTo>
                    <a:pt x="95" y="1214"/>
                    <a:pt x="0" y="1655"/>
                    <a:pt x="221" y="1875"/>
                  </a:cubicBezTo>
                  <a:lnTo>
                    <a:pt x="851" y="2505"/>
                  </a:lnTo>
                  <a:lnTo>
                    <a:pt x="693" y="3419"/>
                  </a:lnTo>
                  <a:cubicBezTo>
                    <a:pt x="668" y="3693"/>
                    <a:pt x="880" y="3908"/>
                    <a:pt x="1110" y="3908"/>
                  </a:cubicBezTo>
                  <a:cubicBezTo>
                    <a:pt x="1171" y="3908"/>
                    <a:pt x="1233" y="3893"/>
                    <a:pt x="1292" y="3860"/>
                  </a:cubicBezTo>
                  <a:lnTo>
                    <a:pt x="2111" y="3419"/>
                  </a:lnTo>
                  <a:lnTo>
                    <a:pt x="2930" y="3860"/>
                  </a:lnTo>
                  <a:cubicBezTo>
                    <a:pt x="2992" y="3891"/>
                    <a:pt x="3056" y="3905"/>
                    <a:pt x="3119" y="3905"/>
                  </a:cubicBezTo>
                  <a:cubicBezTo>
                    <a:pt x="3376" y="3905"/>
                    <a:pt x="3605" y="3672"/>
                    <a:pt x="3529" y="3419"/>
                  </a:cubicBezTo>
                  <a:lnTo>
                    <a:pt x="3371" y="2505"/>
                  </a:lnTo>
                  <a:lnTo>
                    <a:pt x="4033" y="1875"/>
                  </a:lnTo>
                  <a:cubicBezTo>
                    <a:pt x="4285" y="1655"/>
                    <a:pt x="4159" y="1214"/>
                    <a:pt x="3812" y="1182"/>
                  </a:cubicBezTo>
                  <a:lnTo>
                    <a:pt x="2899" y="1056"/>
                  </a:lnTo>
                  <a:lnTo>
                    <a:pt x="2521" y="237"/>
                  </a:lnTo>
                  <a:cubicBezTo>
                    <a:pt x="2442" y="79"/>
                    <a:pt x="2292" y="1"/>
                    <a:pt x="2143"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10006" name="Google Shape;10006;p111"/>
          <p:cNvGrpSpPr/>
          <p:nvPr/>
        </p:nvGrpSpPr>
        <p:grpSpPr>
          <a:xfrm>
            <a:off x="1132927" y="4529218"/>
            <a:ext cx="484696" cy="487164"/>
            <a:chOff x="-62150375" y="2297875"/>
            <a:chExt cx="314275" cy="315875"/>
          </a:xfrm>
        </p:grpSpPr>
        <p:sp>
          <p:nvSpPr>
            <p:cNvPr id="10007" name="Google Shape;10007;p111"/>
            <p:cNvSpPr/>
            <p:nvPr/>
          </p:nvSpPr>
          <p:spPr>
            <a:xfrm>
              <a:off x="-61994425" y="2297875"/>
              <a:ext cx="64600" cy="69925"/>
            </a:xfrm>
            <a:custGeom>
              <a:avLst/>
              <a:gdLst/>
              <a:ahLst/>
              <a:cxnLst/>
              <a:rect l="l" t="t" r="r" b="b"/>
              <a:pathLst>
                <a:path w="2584" h="2797" extrusionOk="0">
                  <a:moveTo>
                    <a:pt x="1324" y="1"/>
                  </a:moveTo>
                  <a:cubicBezTo>
                    <a:pt x="1072" y="1"/>
                    <a:pt x="883" y="190"/>
                    <a:pt x="883" y="442"/>
                  </a:cubicBezTo>
                  <a:lnTo>
                    <a:pt x="883" y="1387"/>
                  </a:lnTo>
                  <a:lnTo>
                    <a:pt x="757" y="1261"/>
                  </a:lnTo>
                  <a:cubicBezTo>
                    <a:pt x="678" y="1182"/>
                    <a:pt x="568" y="1143"/>
                    <a:pt x="457" y="1143"/>
                  </a:cubicBezTo>
                  <a:cubicBezTo>
                    <a:pt x="347" y="1143"/>
                    <a:pt x="237" y="1182"/>
                    <a:pt x="158" y="1261"/>
                  </a:cubicBezTo>
                  <a:cubicBezTo>
                    <a:pt x="1" y="1419"/>
                    <a:pt x="1" y="1702"/>
                    <a:pt x="158" y="1860"/>
                  </a:cubicBezTo>
                  <a:lnTo>
                    <a:pt x="1009" y="2679"/>
                  </a:lnTo>
                  <a:cubicBezTo>
                    <a:pt x="1088" y="2758"/>
                    <a:pt x="1190" y="2797"/>
                    <a:pt x="1292" y="2797"/>
                  </a:cubicBezTo>
                  <a:cubicBezTo>
                    <a:pt x="1395" y="2797"/>
                    <a:pt x="1497" y="2758"/>
                    <a:pt x="1576" y="2679"/>
                  </a:cubicBezTo>
                  <a:lnTo>
                    <a:pt x="2426" y="1860"/>
                  </a:lnTo>
                  <a:cubicBezTo>
                    <a:pt x="2584" y="1702"/>
                    <a:pt x="2584" y="1419"/>
                    <a:pt x="2426" y="1261"/>
                  </a:cubicBezTo>
                  <a:cubicBezTo>
                    <a:pt x="2348" y="1182"/>
                    <a:pt x="2237" y="1143"/>
                    <a:pt x="2127" y="1143"/>
                  </a:cubicBezTo>
                  <a:cubicBezTo>
                    <a:pt x="2017" y="1143"/>
                    <a:pt x="1907" y="1182"/>
                    <a:pt x="1828" y="1261"/>
                  </a:cubicBezTo>
                  <a:lnTo>
                    <a:pt x="1702" y="1387"/>
                  </a:lnTo>
                  <a:lnTo>
                    <a:pt x="1702" y="442"/>
                  </a:lnTo>
                  <a:cubicBezTo>
                    <a:pt x="1733" y="190"/>
                    <a:pt x="1544" y="1"/>
                    <a:pt x="1324"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008" name="Google Shape;10008;p111"/>
            <p:cNvSpPr/>
            <p:nvPr/>
          </p:nvSpPr>
          <p:spPr>
            <a:xfrm>
              <a:off x="-62150375" y="2338050"/>
              <a:ext cx="314275" cy="275700"/>
            </a:xfrm>
            <a:custGeom>
              <a:avLst/>
              <a:gdLst/>
              <a:ahLst/>
              <a:cxnLst/>
              <a:rect l="l" t="t" r="r" b="b"/>
              <a:pathLst>
                <a:path w="12571" h="11028" extrusionOk="0">
                  <a:moveTo>
                    <a:pt x="11752" y="2805"/>
                  </a:moveTo>
                  <a:lnTo>
                    <a:pt x="11059" y="6932"/>
                  </a:lnTo>
                  <a:lnTo>
                    <a:pt x="3970" y="6932"/>
                  </a:lnTo>
                  <a:lnTo>
                    <a:pt x="3183" y="2805"/>
                  </a:lnTo>
                  <a:close/>
                  <a:moveTo>
                    <a:pt x="5199" y="9421"/>
                  </a:moveTo>
                  <a:cubicBezTo>
                    <a:pt x="5388" y="9452"/>
                    <a:pt x="5514" y="9610"/>
                    <a:pt x="5514" y="9830"/>
                  </a:cubicBezTo>
                  <a:cubicBezTo>
                    <a:pt x="5514" y="10051"/>
                    <a:pt x="5293" y="10240"/>
                    <a:pt x="5073" y="10240"/>
                  </a:cubicBezTo>
                  <a:cubicBezTo>
                    <a:pt x="4821" y="10240"/>
                    <a:pt x="4663" y="10051"/>
                    <a:pt x="4663" y="9830"/>
                  </a:cubicBezTo>
                  <a:cubicBezTo>
                    <a:pt x="4663" y="9610"/>
                    <a:pt x="4789" y="9452"/>
                    <a:pt x="4978" y="9421"/>
                  </a:cubicBezTo>
                  <a:close/>
                  <a:moveTo>
                    <a:pt x="9830" y="9421"/>
                  </a:moveTo>
                  <a:cubicBezTo>
                    <a:pt x="10019" y="9452"/>
                    <a:pt x="10145" y="9610"/>
                    <a:pt x="10145" y="9830"/>
                  </a:cubicBezTo>
                  <a:cubicBezTo>
                    <a:pt x="10145" y="10051"/>
                    <a:pt x="9956" y="10240"/>
                    <a:pt x="9704" y="10240"/>
                  </a:cubicBezTo>
                  <a:cubicBezTo>
                    <a:pt x="9484" y="10240"/>
                    <a:pt x="9326" y="10051"/>
                    <a:pt x="9326" y="9830"/>
                  </a:cubicBezTo>
                  <a:cubicBezTo>
                    <a:pt x="9358" y="9610"/>
                    <a:pt x="9484" y="9452"/>
                    <a:pt x="9673" y="9421"/>
                  </a:cubicBezTo>
                  <a:close/>
                  <a:moveTo>
                    <a:pt x="284" y="1"/>
                  </a:moveTo>
                  <a:cubicBezTo>
                    <a:pt x="190" y="64"/>
                    <a:pt x="1" y="253"/>
                    <a:pt x="1" y="473"/>
                  </a:cubicBezTo>
                  <a:cubicBezTo>
                    <a:pt x="1" y="725"/>
                    <a:pt x="190" y="883"/>
                    <a:pt x="379" y="883"/>
                  </a:cubicBezTo>
                  <a:lnTo>
                    <a:pt x="1954" y="883"/>
                  </a:lnTo>
                  <a:lnTo>
                    <a:pt x="3151" y="7058"/>
                  </a:lnTo>
                  <a:cubicBezTo>
                    <a:pt x="2710" y="7247"/>
                    <a:pt x="2427" y="7688"/>
                    <a:pt x="2427" y="8192"/>
                  </a:cubicBezTo>
                  <a:cubicBezTo>
                    <a:pt x="2427" y="8885"/>
                    <a:pt x="2994" y="9421"/>
                    <a:pt x="3655" y="9421"/>
                  </a:cubicBezTo>
                  <a:lnTo>
                    <a:pt x="3844" y="9421"/>
                  </a:lnTo>
                  <a:cubicBezTo>
                    <a:pt x="3813" y="9547"/>
                    <a:pt x="3781" y="9704"/>
                    <a:pt x="3781" y="9830"/>
                  </a:cubicBezTo>
                  <a:cubicBezTo>
                    <a:pt x="3781" y="10492"/>
                    <a:pt x="4317" y="11027"/>
                    <a:pt x="5010" y="11027"/>
                  </a:cubicBezTo>
                  <a:cubicBezTo>
                    <a:pt x="5672" y="11027"/>
                    <a:pt x="6207" y="10492"/>
                    <a:pt x="6207" y="9830"/>
                  </a:cubicBezTo>
                  <a:cubicBezTo>
                    <a:pt x="6207" y="9673"/>
                    <a:pt x="6176" y="9547"/>
                    <a:pt x="6144" y="9421"/>
                  </a:cubicBezTo>
                  <a:lnTo>
                    <a:pt x="8475" y="9421"/>
                  </a:lnTo>
                  <a:cubicBezTo>
                    <a:pt x="8412" y="9547"/>
                    <a:pt x="8381" y="9704"/>
                    <a:pt x="8381" y="9830"/>
                  </a:cubicBezTo>
                  <a:cubicBezTo>
                    <a:pt x="8381" y="10492"/>
                    <a:pt x="8948" y="11027"/>
                    <a:pt x="9610" y="11027"/>
                  </a:cubicBezTo>
                  <a:cubicBezTo>
                    <a:pt x="10271" y="11027"/>
                    <a:pt x="10870" y="10492"/>
                    <a:pt x="10870" y="9830"/>
                  </a:cubicBezTo>
                  <a:cubicBezTo>
                    <a:pt x="10870" y="9673"/>
                    <a:pt x="10838" y="9547"/>
                    <a:pt x="10775" y="9421"/>
                  </a:cubicBezTo>
                  <a:lnTo>
                    <a:pt x="11405" y="9421"/>
                  </a:lnTo>
                  <a:cubicBezTo>
                    <a:pt x="11657" y="9421"/>
                    <a:pt x="11815" y="9231"/>
                    <a:pt x="11815" y="9042"/>
                  </a:cubicBezTo>
                  <a:cubicBezTo>
                    <a:pt x="11815" y="8822"/>
                    <a:pt x="11626" y="8601"/>
                    <a:pt x="11405" y="8601"/>
                  </a:cubicBezTo>
                  <a:lnTo>
                    <a:pt x="3529" y="8601"/>
                  </a:lnTo>
                  <a:cubicBezTo>
                    <a:pt x="3309" y="8601"/>
                    <a:pt x="3151" y="8412"/>
                    <a:pt x="3151" y="8160"/>
                  </a:cubicBezTo>
                  <a:cubicBezTo>
                    <a:pt x="3151" y="7940"/>
                    <a:pt x="3340" y="7719"/>
                    <a:pt x="3529" y="7719"/>
                  </a:cubicBezTo>
                  <a:lnTo>
                    <a:pt x="11311" y="7719"/>
                  </a:lnTo>
                  <a:cubicBezTo>
                    <a:pt x="11500" y="7719"/>
                    <a:pt x="11689" y="7562"/>
                    <a:pt x="11689" y="7373"/>
                  </a:cubicBezTo>
                  <a:lnTo>
                    <a:pt x="12508" y="2426"/>
                  </a:lnTo>
                  <a:cubicBezTo>
                    <a:pt x="12571" y="2174"/>
                    <a:pt x="12351" y="1954"/>
                    <a:pt x="12130" y="1954"/>
                  </a:cubicBezTo>
                  <a:lnTo>
                    <a:pt x="2899" y="1954"/>
                  </a:lnTo>
                  <a:lnTo>
                    <a:pt x="2584" y="379"/>
                  </a:lnTo>
                  <a:cubicBezTo>
                    <a:pt x="2553" y="158"/>
                    <a:pt x="2395" y="1"/>
                    <a:pt x="2206"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009" name="Google Shape;10009;p111"/>
            <p:cNvSpPr/>
            <p:nvPr/>
          </p:nvSpPr>
          <p:spPr>
            <a:xfrm>
              <a:off x="-61972375" y="2430200"/>
              <a:ext cx="20500" cy="60675"/>
            </a:xfrm>
            <a:custGeom>
              <a:avLst/>
              <a:gdLst/>
              <a:ahLst/>
              <a:cxnLst/>
              <a:rect l="l" t="t" r="r" b="b"/>
              <a:pathLst>
                <a:path w="820" h="2427" extrusionOk="0">
                  <a:moveTo>
                    <a:pt x="442" y="1"/>
                  </a:moveTo>
                  <a:cubicBezTo>
                    <a:pt x="190" y="1"/>
                    <a:pt x="1" y="190"/>
                    <a:pt x="1" y="379"/>
                  </a:cubicBezTo>
                  <a:lnTo>
                    <a:pt x="1" y="2048"/>
                  </a:lnTo>
                  <a:cubicBezTo>
                    <a:pt x="32" y="2269"/>
                    <a:pt x="221" y="2427"/>
                    <a:pt x="442" y="2427"/>
                  </a:cubicBezTo>
                  <a:cubicBezTo>
                    <a:pt x="662" y="2427"/>
                    <a:pt x="820" y="2237"/>
                    <a:pt x="820" y="2048"/>
                  </a:cubicBezTo>
                  <a:lnTo>
                    <a:pt x="820" y="379"/>
                  </a:lnTo>
                  <a:cubicBezTo>
                    <a:pt x="820" y="158"/>
                    <a:pt x="631" y="1"/>
                    <a:pt x="442"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010" name="Google Shape;10010;p111"/>
            <p:cNvSpPr/>
            <p:nvPr/>
          </p:nvSpPr>
          <p:spPr>
            <a:xfrm>
              <a:off x="-61909350" y="2430200"/>
              <a:ext cx="19700" cy="60675"/>
            </a:xfrm>
            <a:custGeom>
              <a:avLst/>
              <a:gdLst/>
              <a:ahLst/>
              <a:cxnLst/>
              <a:rect l="l" t="t" r="r" b="b"/>
              <a:pathLst>
                <a:path w="788" h="2427" extrusionOk="0">
                  <a:moveTo>
                    <a:pt x="378" y="1"/>
                  </a:moveTo>
                  <a:cubicBezTo>
                    <a:pt x="189" y="1"/>
                    <a:pt x="0" y="190"/>
                    <a:pt x="0" y="379"/>
                  </a:cubicBezTo>
                  <a:lnTo>
                    <a:pt x="0" y="2048"/>
                  </a:lnTo>
                  <a:cubicBezTo>
                    <a:pt x="0" y="2269"/>
                    <a:pt x="189" y="2427"/>
                    <a:pt x="378" y="2427"/>
                  </a:cubicBezTo>
                  <a:cubicBezTo>
                    <a:pt x="630" y="2427"/>
                    <a:pt x="788" y="2237"/>
                    <a:pt x="788" y="2048"/>
                  </a:cubicBezTo>
                  <a:lnTo>
                    <a:pt x="788" y="379"/>
                  </a:lnTo>
                  <a:cubicBezTo>
                    <a:pt x="788" y="158"/>
                    <a:pt x="599" y="1"/>
                    <a:pt x="378"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011" name="Google Shape;10011;p111"/>
            <p:cNvSpPr/>
            <p:nvPr/>
          </p:nvSpPr>
          <p:spPr>
            <a:xfrm>
              <a:off x="-62033800" y="2430200"/>
              <a:ext cx="21275" cy="60675"/>
            </a:xfrm>
            <a:custGeom>
              <a:avLst/>
              <a:gdLst/>
              <a:ahLst/>
              <a:cxnLst/>
              <a:rect l="l" t="t" r="r" b="b"/>
              <a:pathLst>
                <a:path w="851" h="2427" extrusionOk="0">
                  <a:moveTo>
                    <a:pt x="410" y="1"/>
                  </a:moveTo>
                  <a:cubicBezTo>
                    <a:pt x="158" y="1"/>
                    <a:pt x="0" y="190"/>
                    <a:pt x="0" y="379"/>
                  </a:cubicBezTo>
                  <a:lnTo>
                    <a:pt x="0" y="2048"/>
                  </a:lnTo>
                  <a:cubicBezTo>
                    <a:pt x="0" y="2269"/>
                    <a:pt x="221" y="2427"/>
                    <a:pt x="410" y="2427"/>
                  </a:cubicBezTo>
                  <a:cubicBezTo>
                    <a:pt x="630" y="2427"/>
                    <a:pt x="851" y="2237"/>
                    <a:pt x="851" y="2048"/>
                  </a:cubicBezTo>
                  <a:lnTo>
                    <a:pt x="851" y="379"/>
                  </a:lnTo>
                  <a:cubicBezTo>
                    <a:pt x="851" y="158"/>
                    <a:pt x="630" y="1"/>
                    <a:pt x="410"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10012" name="Google Shape;10012;p111"/>
          <p:cNvGrpSpPr/>
          <p:nvPr/>
        </p:nvGrpSpPr>
        <p:grpSpPr>
          <a:xfrm>
            <a:off x="1131097" y="5117542"/>
            <a:ext cx="488359" cy="490788"/>
            <a:chOff x="-62150375" y="2664925"/>
            <a:chExt cx="316650" cy="318225"/>
          </a:xfrm>
        </p:grpSpPr>
        <p:sp>
          <p:nvSpPr>
            <p:cNvPr id="10013" name="Google Shape;10013;p111"/>
            <p:cNvSpPr/>
            <p:nvPr/>
          </p:nvSpPr>
          <p:spPr>
            <a:xfrm>
              <a:off x="-62150375" y="2961850"/>
              <a:ext cx="316650" cy="21300"/>
            </a:xfrm>
            <a:custGeom>
              <a:avLst/>
              <a:gdLst/>
              <a:ahLst/>
              <a:cxnLst/>
              <a:rect l="l" t="t" r="r" b="b"/>
              <a:pathLst>
                <a:path w="12666" h="852" extrusionOk="0">
                  <a:moveTo>
                    <a:pt x="379" y="0"/>
                  </a:moveTo>
                  <a:cubicBezTo>
                    <a:pt x="158" y="0"/>
                    <a:pt x="1" y="189"/>
                    <a:pt x="1" y="410"/>
                  </a:cubicBezTo>
                  <a:cubicBezTo>
                    <a:pt x="1" y="662"/>
                    <a:pt x="190" y="851"/>
                    <a:pt x="379" y="851"/>
                  </a:cubicBezTo>
                  <a:lnTo>
                    <a:pt x="12225" y="851"/>
                  </a:lnTo>
                  <a:cubicBezTo>
                    <a:pt x="12477" y="851"/>
                    <a:pt x="12634" y="662"/>
                    <a:pt x="12634" y="410"/>
                  </a:cubicBezTo>
                  <a:cubicBezTo>
                    <a:pt x="12666" y="158"/>
                    <a:pt x="12477" y="0"/>
                    <a:pt x="12225"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014" name="Google Shape;10014;p111"/>
            <p:cNvSpPr/>
            <p:nvPr/>
          </p:nvSpPr>
          <p:spPr>
            <a:xfrm>
              <a:off x="-62150375" y="2838200"/>
              <a:ext cx="82725" cy="102400"/>
            </a:xfrm>
            <a:custGeom>
              <a:avLst/>
              <a:gdLst/>
              <a:ahLst/>
              <a:cxnLst/>
              <a:rect l="l" t="t" r="r" b="b"/>
              <a:pathLst>
                <a:path w="3309" h="4096" extrusionOk="0">
                  <a:moveTo>
                    <a:pt x="2363" y="756"/>
                  </a:moveTo>
                  <a:cubicBezTo>
                    <a:pt x="2427" y="756"/>
                    <a:pt x="2521" y="851"/>
                    <a:pt x="2521" y="914"/>
                  </a:cubicBezTo>
                  <a:lnTo>
                    <a:pt x="2521" y="3119"/>
                  </a:lnTo>
                  <a:cubicBezTo>
                    <a:pt x="2521" y="3214"/>
                    <a:pt x="2427" y="3245"/>
                    <a:pt x="2363" y="3245"/>
                  </a:cubicBezTo>
                  <a:lnTo>
                    <a:pt x="977" y="3245"/>
                  </a:lnTo>
                  <a:cubicBezTo>
                    <a:pt x="883" y="3245"/>
                    <a:pt x="820" y="3151"/>
                    <a:pt x="820" y="3119"/>
                  </a:cubicBezTo>
                  <a:lnTo>
                    <a:pt x="820" y="914"/>
                  </a:lnTo>
                  <a:cubicBezTo>
                    <a:pt x="820" y="851"/>
                    <a:pt x="883" y="756"/>
                    <a:pt x="977" y="756"/>
                  </a:cubicBezTo>
                  <a:close/>
                  <a:moveTo>
                    <a:pt x="946" y="0"/>
                  </a:moveTo>
                  <a:cubicBezTo>
                    <a:pt x="379" y="0"/>
                    <a:pt x="1" y="441"/>
                    <a:pt x="1" y="945"/>
                  </a:cubicBezTo>
                  <a:lnTo>
                    <a:pt x="1" y="3151"/>
                  </a:lnTo>
                  <a:cubicBezTo>
                    <a:pt x="1" y="3686"/>
                    <a:pt x="410" y="4096"/>
                    <a:pt x="946" y="4096"/>
                  </a:cubicBezTo>
                  <a:lnTo>
                    <a:pt x="2300" y="4096"/>
                  </a:lnTo>
                  <a:cubicBezTo>
                    <a:pt x="2868" y="4096"/>
                    <a:pt x="3309" y="3686"/>
                    <a:pt x="3309" y="3151"/>
                  </a:cubicBezTo>
                  <a:lnTo>
                    <a:pt x="3309" y="945"/>
                  </a:lnTo>
                  <a:cubicBezTo>
                    <a:pt x="3309" y="410"/>
                    <a:pt x="2868" y="0"/>
                    <a:pt x="2300"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015" name="Google Shape;10015;p111"/>
            <p:cNvSpPr/>
            <p:nvPr/>
          </p:nvSpPr>
          <p:spPr>
            <a:xfrm>
              <a:off x="-62033800" y="2664925"/>
              <a:ext cx="82725" cy="274900"/>
            </a:xfrm>
            <a:custGeom>
              <a:avLst/>
              <a:gdLst/>
              <a:ahLst/>
              <a:cxnLst/>
              <a:rect l="l" t="t" r="r" b="b"/>
              <a:pathLst>
                <a:path w="3309" h="10996" extrusionOk="0">
                  <a:moveTo>
                    <a:pt x="2332" y="788"/>
                  </a:moveTo>
                  <a:cubicBezTo>
                    <a:pt x="2426" y="851"/>
                    <a:pt x="2489" y="882"/>
                    <a:pt x="2489" y="945"/>
                  </a:cubicBezTo>
                  <a:lnTo>
                    <a:pt x="2489" y="10050"/>
                  </a:lnTo>
                  <a:cubicBezTo>
                    <a:pt x="2489" y="10145"/>
                    <a:pt x="2426" y="10176"/>
                    <a:pt x="2332" y="10176"/>
                  </a:cubicBezTo>
                  <a:lnTo>
                    <a:pt x="946" y="10176"/>
                  </a:lnTo>
                  <a:cubicBezTo>
                    <a:pt x="882" y="10176"/>
                    <a:pt x="851" y="10082"/>
                    <a:pt x="851" y="10050"/>
                  </a:cubicBezTo>
                  <a:lnTo>
                    <a:pt x="851" y="945"/>
                  </a:lnTo>
                  <a:cubicBezTo>
                    <a:pt x="851" y="882"/>
                    <a:pt x="914" y="788"/>
                    <a:pt x="946" y="788"/>
                  </a:cubicBezTo>
                  <a:close/>
                  <a:moveTo>
                    <a:pt x="946" y="0"/>
                  </a:moveTo>
                  <a:cubicBezTo>
                    <a:pt x="410" y="0"/>
                    <a:pt x="0" y="441"/>
                    <a:pt x="0" y="945"/>
                  </a:cubicBezTo>
                  <a:lnTo>
                    <a:pt x="0" y="10050"/>
                  </a:lnTo>
                  <a:cubicBezTo>
                    <a:pt x="0" y="10617"/>
                    <a:pt x="441" y="10995"/>
                    <a:pt x="946" y="10995"/>
                  </a:cubicBezTo>
                  <a:lnTo>
                    <a:pt x="2332" y="10995"/>
                  </a:lnTo>
                  <a:cubicBezTo>
                    <a:pt x="2899" y="10995"/>
                    <a:pt x="3308" y="10554"/>
                    <a:pt x="3308" y="10050"/>
                  </a:cubicBezTo>
                  <a:lnTo>
                    <a:pt x="3308" y="945"/>
                  </a:lnTo>
                  <a:cubicBezTo>
                    <a:pt x="3308" y="410"/>
                    <a:pt x="2899" y="0"/>
                    <a:pt x="2332"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016" name="Google Shape;10016;p111"/>
            <p:cNvSpPr/>
            <p:nvPr/>
          </p:nvSpPr>
          <p:spPr>
            <a:xfrm>
              <a:off x="-61917225" y="2754700"/>
              <a:ext cx="83500" cy="185900"/>
            </a:xfrm>
            <a:custGeom>
              <a:avLst/>
              <a:gdLst/>
              <a:ahLst/>
              <a:cxnLst/>
              <a:rect l="l" t="t" r="r" b="b"/>
              <a:pathLst>
                <a:path w="3340" h="7436" extrusionOk="0">
                  <a:moveTo>
                    <a:pt x="2394" y="788"/>
                  </a:moveTo>
                  <a:cubicBezTo>
                    <a:pt x="2489" y="788"/>
                    <a:pt x="2520" y="883"/>
                    <a:pt x="2520" y="946"/>
                  </a:cubicBezTo>
                  <a:lnTo>
                    <a:pt x="2520" y="6459"/>
                  </a:lnTo>
                  <a:cubicBezTo>
                    <a:pt x="2520" y="6554"/>
                    <a:pt x="2426" y="6585"/>
                    <a:pt x="2394" y="6585"/>
                  </a:cubicBezTo>
                  <a:lnTo>
                    <a:pt x="1008" y="6585"/>
                  </a:lnTo>
                  <a:cubicBezTo>
                    <a:pt x="945" y="6585"/>
                    <a:pt x="851" y="6491"/>
                    <a:pt x="851" y="6459"/>
                  </a:cubicBezTo>
                  <a:lnTo>
                    <a:pt x="851" y="946"/>
                  </a:lnTo>
                  <a:cubicBezTo>
                    <a:pt x="851" y="883"/>
                    <a:pt x="945" y="788"/>
                    <a:pt x="1008" y="788"/>
                  </a:cubicBezTo>
                  <a:close/>
                  <a:moveTo>
                    <a:pt x="977" y="1"/>
                  </a:moveTo>
                  <a:cubicBezTo>
                    <a:pt x="441" y="1"/>
                    <a:pt x="0" y="442"/>
                    <a:pt x="0" y="977"/>
                  </a:cubicBezTo>
                  <a:lnTo>
                    <a:pt x="0" y="6491"/>
                  </a:lnTo>
                  <a:cubicBezTo>
                    <a:pt x="0" y="7058"/>
                    <a:pt x="441" y="7436"/>
                    <a:pt x="977" y="7436"/>
                  </a:cubicBezTo>
                  <a:lnTo>
                    <a:pt x="2363" y="7436"/>
                  </a:lnTo>
                  <a:cubicBezTo>
                    <a:pt x="2899" y="7436"/>
                    <a:pt x="3308" y="7026"/>
                    <a:pt x="3308" y="6491"/>
                  </a:cubicBezTo>
                  <a:lnTo>
                    <a:pt x="3308" y="977"/>
                  </a:lnTo>
                  <a:cubicBezTo>
                    <a:pt x="3340" y="442"/>
                    <a:pt x="2899" y="1"/>
                    <a:pt x="2363"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10017" name="Google Shape;10017;p111"/>
          <p:cNvGrpSpPr/>
          <p:nvPr/>
        </p:nvGrpSpPr>
        <p:grpSpPr>
          <a:xfrm>
            <a:off x="4087882" y="3945511"/>
            <a:ext cx="489553" cy="491868"/>
            <a:chOff x="-60254550" y="1938025"/>
            <a:chExt cx="317425" cy="318925"/>
          </a:xfrm>
        </p:grpSpPr>
        <p:sp>
          <p:nvSpPr>
            <p:cNvPr id="10018" name="Google Shape;10018;p111"/>
            <p:cNvSpPr/>
            <p:nvPr/>
          </p:nvSpPr>
          <p:spPr>
            <a:xfrm>
              <a:off x="-60254550" y="2049000"/>
              <a:ext cx="317425" cy="207950"/>
            </a:xfrm>
            <a:custGeom>
              <a:avLst/>
              <a:gdLst/>
              <a:ahLst/>
              <a:cxnLst/>
              <a:rect l="l" t="t" r="r" b="b"/>
              <a:pathLst>
                <a:path w="12697" h="8318" extrusionOk="0">
                  <a:moveTo>
                    <a:pt x="10428" y="1639"/>
                  </a:moveTo>
                  <a:cubicBezTo>
                    <a:pt x="11184" y="1639"/>
                    <a:pt x="11814" y="2269"/>
                    <a:pt x="11814" y="3025"/>
                  </a:cubicBezTo>
                  <a:cubicBezTo>
                    <a:pt x="11814" y="3781"/>
                    <a:pt x="11184" y="4411"/>
                    <a:pt x="10428" y="4411"/>
                  </a:cubicBezTo>
                  <a:lnTo>
                    <a:pt x="9767" y="4411"/>
                  </a:lnTo>
                  <a:cubicBezTo>
                    <a:pt x="9861" y="4033"/>
                    <a:pt x="9893" y="3686"/>
                    <a:pt x="9893" y="3308"/>
                  </a:cubicBezTo>
                  <a:lnTo>
                    <a:pt x="9893" y="1639"/>
                  </a:lnTo>
                  <a:close/>
                  <a:moveTo>
                    <a:pt x="9073" y="819"/>
                  </a:moveTo>
                  <a:lnTo>
                    <a:pt x="9073" y="3308"/>
                  </a:lnTo>
                  <a:cubicBezTo>
                    <a:pt x="9073" y="5577"/>
                    <a:pt x="7215" y="7435"/>
                    <a:pt x="4915" y="7435"/>
                  </a:cubicBezTo>
                  <a:cubicBezTo>
                    <a:pt x="2646" y="7435"/>
                    <a:pt x="788" y="5577"/>
                    <a:pt x="788" y="3308"/>
                  </a:cubicBezTo>
                  <a:lnTo>
                    <a:pt x="788" y="819"/>
                  </a:lnTo>
                  <a:close/>
                  <a:moveTo>
                    <a:pt x="410" y="0"/>
                  </a:moveTo>
                  <a:cubicBezTo>
                    <a:pt x="158" y="0"/>
                    <a:pt x="0" y="189"/>
                    <a:pt x="0" y="441"/>
                  </a:cubicBezTo>
                  <a:lnTo>
                    <a:pt x="0" y="3308"/>
                  </a:lnTo>
                  <a:cubicBezTo>
                    <a:pt x="0" y="5041"/>
                    <a:pt x="882" y="6522"/>
                    <a:pt x="2205" y="7435"/>
                  </a:cubicBezTo>
                  <a:lnTo>
                    <a:pt x="410" y="7435"/>
                  </a:lnTo>
                  <a:cubicBezTo>
                    <a:pt x="158" y="7435"/>
                    <a:pt x="0" y="7624"/>
                    <a:pt x="0" y="7877"/>
                  </a:cubicBezTo>
                  <a:cubicBezTo>
                    <a:pt x="0" y="8097"/>
                    <a:pt x="189" y="8318"/>
                    <a:pt x="410" y="8318"/>
                  </a:cubicBezTo>
                  <a:lnTo>
                    <a:pt x="9483" y="8318"/>
                  </a:lnTo>
                  <a:cubicBezTo>
                    <a:pt x="9735" y="8318"/>
                    <a:pt x="9893" y="8097"/>
                    <a:pt x="9893" y="7877"/>
                  </a:cubicBezTo>
                  <a:cubicBezTo>
                    <a:pt x="9893" y="7624"/>
                    <a:pt x="9704" y="7435"/>
                    <a:pt x="9483" y="7435"/>
                  </a:cubicBezTo>
                  <a:lnTo>
                    <a:pt x="7687" y="7435"/>
                  </a:lnTo>
                  <a:cubicBezTo>
                    <a:pt x="8506" y="6900"/>
                    <a:pt x="9137" y="6144"/>
                    <a:pt x="9546" y="5230"/>
                  </a:cubicBezTo>
                  <a:lnTo>
                    <a:pt x="10491" y="5230"/>
                  </a:lnTo>
                  <a:cubicBezTo>
                    <a:pt x="11688" y="5230"/>
                    <a:pt x="12697" y="4253"/>
                    <a:pt x="12697" y="3025"/>
                  </a:cubicBezTo>
                  <a:cubicBezTo>
                    <a:pt x="12697" y="1796"/>
                    <a:pt x="11657" y="819"/>
                    <a:pt x="10428" y="819"/>
                  </a:cubicBezTo>
                  <a:lnTo>
                    <a:pt x="9893" y="819"/>
                  </a:lnTo>
                  <a:lnTo>
                    <a:pt x="9893" y="441"/>
                  </a:lnTo>
                  <a:cubicBezTo>
                    <a:pt x="9893" y="189"/>
                    <a:pt x="9704" y="0"/>
                    <a:pt x="9483"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019" name="Google Shape;10019;p111"/>
            <p:cNvSpPr/>
            <p:nvPr/>
          </p:nvSpPr>
          <p:spPr>
            <a:xfrm>
              <a:off x="-60219125" y="1938025"/>
              <a:ext cx="51225" cy="103625"/>
            </a:xfrm>
            <a:custGeom>
              <a:avLst/>
              <a:gdLst/>
              <a:ahLst/>
              <a:cxnLst/>
              <a:rect l="l" t="t" r="r" b="b"/>
              <a:pathLst>
                <a:path w="2049" h="4145" extrusionOk="0">
                  <a:moveTo>
                    <a:pt x="1068" y="0"/>
                  </a:moveTo>
                  <a:cubicBezTo>
                    <a:pt x="947" y="0"/>
                    <a:pt x="819" y="61"/>
                    <a:pt x="725" y="155"/>
                  </a:cubicBezTo>
                  <a:cubicBezTo>
                    <a:pt x="568" y="312"/>
                    <a:pt x="568" y="564"/>
                    <a:pt x="757" y="722"/>
                  </a:cubicBezTo>
                  <a:cubicBezTo>
                    <a:pt x="1103" y="1100"/>
                    <a:pt x="1103" y="1446"/>
                    <a:pt x="757" y="1761"/>
                  </a:cubicBezTo>
                  <a:cubicBezTo>
                    <a:pt x="32" y="2392"/>
                    <a:pt x="1" y="3368"/>
                    <a:pt x="757" y="4030"/>
                  </a:cubicBezTo>
                  <a:cubicBezTo>
                    <a:pt x="832" y="4105"/>
                    <a:pt x="936" y="4144"/>
                    <a:pt x="1041" y="4144"/>
                  </a:cubicBezTo>
                  <a:cubicBezTo>
                    <a:pt x="1156" y="4144"/>
                    <a:pt x="1273" y="4097"/>
                    <a:pt x="1356" y="3998"/>
                  </a:cubicBezTo>
                  <a:cubicBezTo>
                    <a:pt x="1513" y="3841"/>
                    <a:pt x="1513" y="3557"/>
                    <a:pt x="1292" y="3400"/>
                  </a:cubicBezTo>
                  <a:cubicBezTo>
                    <a:pt x="946" y="3085"/>
                    <a:pt x="946" y="2707"/>
                    <a:pt x="1292" y="2392"/>
                  </a:cubicBezTo>
                  <a:cubicBezTo>
                    <a:pt x="2017" y="1761"/>
                    <a:pt x="2049" y="785"/>
                    <a:pt x="1292" y="92"/>
                  </a:cubicBezTo>
                  <a:cubicBezTo>
                    <a:pt x="1229" y="28"/>
                    <a:pt x="1150" y="0"/>
                    <a:pt x="1068"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020" name="Google Shape;10020;p111"/>
            <p:cNvSpPr/>
            <p:nvPr/>
          </p:nvSpPr>
          <p:spPr>
            <a:xfrm>
              <a:off x="-60156900" y="1938025"/>
              <a:ext cx="51225" cy="103625"/>
            </a:xfrm>
            <a:custGeom>
              <a:avLst/>
              <a:gdLst/>
              <a:ahLst/>
              <a:cxnLst/>
              <a:rect l="l" t="t" r="r" b="b"/>
              <a:pathLst>
                <a:path w="2049" h="4145" extrusionOk="0">
                  <a:moveTo>
                    <a:pt x="1057" y="0"/>
                  </a:moveTo>
                  <a:cubicBezTo>
                    <a:pt x="926" y="0"/>
                    <a:pt x="788" y="61"/>
                    <a:pt x="694" y="155"/>
                  </a:cubicBezTo>
                  <a:cubicBezTo>
                    <a:pt x="536" y="312"/>
                    <a:pt x="536" y="564"/>
                    <a:pt x="757" y="722"/>
                  </a:cubicBezTo>
                  <a:cubicBezTo>
                    <a:pt x="1103" y="1100"/>
                    <a:pt x="1103" y="1446"/>
                    <a:pt x="757" y="1761"/>
                  </a:cubicBezTo>
                  <a:cubicBezTo>
                    <a:pt x="32" y="2392"/>
                    <a:pt x="1" y="3368"/>
                    <a:pt x="757" y="4030"/>
                  </a:cubicBezTo>
                  <a:cubicBezTo>
                    <a:pt x="832" y="4105"/>
                    <a:pt x="929" y="4144"/>
                    <a:pt x="1026" y="4144"/>
                  </a:cubicBezTo>
                  <a:cubicBezTo>
                    <a:pt x="1133" y="4144"/>
                    <a:pt x="1242" y="4097"/>
                    <a:pt x="1324" y="3998"/>
                  </a:cubicBezTo>
                  <a:cubicBezTo>
                    <a:pt x="1859" y="3463"/>
                    <a:pt x="473" y="3179"/>
                    <a:pt x="1292" y="2392"/>
                  </a:cubicBezTo>
                  <a:cubicBezTo>
                    <a:pt x="2017" y="1761"/>
                    <a:pt x="2049" y="785"/>
                    <a:pt x="1292" y="92"/>
                  </a:cubicBezTo>
                  <a:cubicBezTo>
                    <a:pt x="1229" y="28"/>
                    <a:pt x="1145" y="0"/>
                    <a:pt x="1057"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021" name="Google Shape;10021;p111"/>
            <p:cNvSpPr/>
            <p:nvPr/>
          </p:nvSpPr>
          <p:spPr>
            <a:xfrm>
              <a:off x="-60094675" y="1938025"/>
              <a:ext cx="51225" cy="103625"/>
            </a:xfrm>
            <a:custGeom>
              <a:avLst/>
              <a:gdLst/>
              <a:ahLst/>
              <a:cxnLst/>
              <a:rect l="l" t="t" r="r" b="b"/>
              <a:pathLst>
                <a:path w="2049" h="4145" extrusionOk="0">
                  <a:moveTo>
                    <a:pt x="1056" y="0"/>
                  </a:moveTo>
                  <a:cubicBezTo>
                    <a:pt x="926" y="0"/>
                    <a:pt x="788" y="61"/>
                    <a:pt x="694" y="155"/>
                  </a:cubicBezTo>
                  <a:cubicBezTo>
                    <a:pt x="536" y="312"/>
                    <a:pt x="536" y="564"/>
                    <a:pt x="725" y="722"/>
                  </a:cubicBezTo>
                  <a:cubicBezTo>
                    <a:pt x="1103" y="1100"/>
                    <a:pt x="1103" y="1446"/>
                    <a:pt x="725" y="1761"/>
                  </a:cubicBezTo>
                  <a:cubicBezTo>
                    <a:pt x="32" y="2392"/>
                    <a:pt x="1" y="3368"/>
                    <a:pt x="725" y="4030"/>
                  </a:cubicBezTo>
                  <a:cubicBezTo>
                    <a:pt x="800" y="4105"/>
                    <a:pt x="904" y="4144"/>
                    <a:pt x="1009" y="4144"/>
                  </a:cubicBezTo>
                  <a:cubicBezTo>
                    <a:pt x="1125" y="4144"/>
                    <a:pt x="1241" y="4097"/>
                    <a:pt x="1324" y="3998"/>
                  </a:cubicBezTo>
                  <a:cubicBezTo>
                    <a:pt x="1481" y="3841"/>
                    <a:pt x="1481" y="3557"/>
                    <a:pt x="1292" y="3400"/>
                  </a:cubicBezTo>
                  <a:cubicBezTo>
                    <a:pt x="946" y="3085"/>
                    <a:pt x="946" y="2707"/>
                    <a:pt x="1292" y="2392"/>
                  </a:cubicBezTo>
                  <a:cubicBezTo>
                    <a:pt x="1985" y="1761"/>
                    <a:pt x="2048" y="785"/>
                    <a:pt x="1292" y="92"/>
                  </a:cubicBezTo>
                  <a:cubicBezTo>
                    <a:pt x="1229" y="28"/>
                    <a:pt x="1145" y="0"/>
                    <a:pt x="1056"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10022" name="Google Shape;10022;p111"/>
          <p:cNvGrpSpPr/>
          <p:nvPr/>
        </p:nvGrpSpPr>
        <p:grpSpPr>
          <a:xfrm>
            <a:off x="4053665" y="4528519"/>
            <a:ext cx="488864" cy="488560"/>
            <a:chOff x="6479471" y="2079003"/>
            <a:chExt cx="348923" cy="348706"/>
          </a:xfrm>
        </p:grpSpPr>
        <p:sp>
          <p:nvSpPr>
            <p:cNvPr id="10023" name="Google Shape;10023;p111"/>
            <p:cNvSpPr/>
            <p:nvPr/>
          </p:nvSpPr>
          <p:spPr>
            <a:xfrm>
              <a:off x="6479471" y="2200291"/>
              <a:ext cx="38170" cy="22566"/>
            </a:xfrm>
            <a:custGeom>
              <a:avLst/>
              <a:gdLst/>
              <a:ahLst/>
              <a:cxnLst/>
              <a:rect l="l" t="t" r="r" b="b"/>
              <a:pathLst>
                <a:path w="1387" h="820" extrusionOk="0">
                  <a:moveTo>
                    <a:pt x="379" y="0"/>
                  </a:moveTo>
                  <a:cubicBezTo>
                    <a:pt x="158" y="0"/>
                    <a:pt x="1" y="189"/>
                    <a:pt x="1" y="378"/>
                  </a:cubicBezTo>
                  <a:cubicBezTo>
                    <a:pt x="1" y="630"/>
                    <a:pt x="190" y="819"/>
                    <a:pt x="379" y="819"/>
                  </a:cubicBezTo>
                  <a:lnTo>
                    <a:pt x="946" y="819"/>
                  </a:lnTo>
                  <a:cubicBezTo>
                    <a:pt x="1166" y="819"/>
                    <a:pt x="1387" y="630"/>
                    <a:pt x="1387" y="378"/>
                  </a:cubicBezTo>
                  <a:cubicBezTo>
                    <a:pt x="1387" y="189"/>
                    <a:pt x="1166" y="0"/>
                    <a:pt x="946"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nvGrpSpPr>
            <p:cNvPr id="10024" name="Google Shape;10024;p111"/>
            <p:cNvGrpSpPr/>
            <p:nvPr/>
          </p:nvGrpSpPr>
          <p:grpSpPr>
            <a:xfrm>
              <a:off x="6520582" y="2079003"/>
              <a:ext cx="307811" cy="348706"/>
              <a:chOff x="-60218325" y="2304850"/>
              <a:chExt cx="279625" cy="316775"/>
            </a:xfrm>
          </p:grpSpPr>
          <p:sp>
            <p:nvSpPr>
              <p:cNvPr id="10025" name="Google Shape;10025;p111"/>
              <p:cNvSpPr/>
              <p:nvPr/>
            </p:nvSpPr>
            <p:spPr>
              <a:xfrm>
                <a:off x="-60218325" y="2304850"/>
                <a:ext cx="235525" cy="316775"/>
              </a:xfrm>
              <a:custGeom>
                <a:avLst/>
                <a:gdLst/>
                <a:ahLst/>
                <a:cxnLst/>
                <a:rect l="l" t="t" r="r" b="b"/>
                <a:pathLst>
                  <a:path w="9421" h="12671" extrusionOk="0">
                    <a:moveTo>
                      <a:pt x="4884" y="825"/>
                    </a:moveTo>
                    <a:cubicBezTo>
                      <a:pt x="6994" y="825"/>
                      <a:pt x="8633" y="2463"/>
                      <a:pt x="8633" y="4542"/>
                    </a:cubicBezTo>
                    <a:cubicBezTo>
                      <a:pt x="8570" y="6023"/>
                      <a:pt x="7688" y="7378"/>
                      <a:pt x="6364" y="7945"/>
                    </a:cubicBezTo>
                    <a:cubicBezTo>
                      <a:pt x="6207" y="8039"/>
                      <a:pt x="6112" y="8165"/>
                      <a:pt x="6112" y="8354"/>
                    </a:cubicBezTo>
                    <a:lnTo>
                      <a:pt x="6112" y="8543"/>
                    </a:lnTo>
                    <a:lnTo>
                      <a:pt x="3623" y="8543"/>
                    </a:lnTo>
                    <a:lnTo>
                      <a:pt x="3623" y="8354"/>
                    </a:lnTo>
                    <a:cubicBezTo>
                      <a:pt x="3623" y="8197"/>
                      <a:pt x="3560" y="8039"/>
                      <a:pt x="3403" y="7945"/>
                    </a:cubicBezTo>
                    <a:cubicBezTo>
                      <a:pt x="1828" y="7251"/>
                      <a:pt x="914" y="5582"/>
                      <a:pt x="1229" y="3880"/>
                    </a:cubicBezTo>
                    <a:cubicBezTo>
                      <a:pt x="1481" y="2431"/>
                      <a:pt x="2647" y="1203"/>
                      <a:pt x="4096" y="888"/>
                    </a:cubicBezTo>
                    <a:cubicBezTo>
                      <a:pt x="4379" y="856"/>
                      <a:pt x="4663" y="825"/>
                      <a:pt x="4884" y="825"/>
                    </a:cubicBezTo>
                    <a:close/>
                    <a:moveTo>
                      <a:pt x="6081" y="9362"/>
                    </a:moveTo>
                    <a:lnTo>
                      <a:pt x="6081" y="10213"/>
                    </a:lnTo>
                    <a:lnTo>
                      <a:pt x="3592" y="10213"/>
                    </a:lnTo>
                    <a:lnTo>
                      <a:pt x="3592" y="9362"/>
                    </a:lnTo>
                    <a:close/>
                    <a:moveTo>
                      <a:pt x="5986" y="11032"/>
                    </a:moveTo>
                    <a:cubicBezTo>
                      <a:pt x="5829" y="11505"/>
                      <a:pt x="5419" y="11851"/>
                      <a:pt x="4852" y="11851"/>
                    </a:cubicBezTo>
                    <a:cubicBezTo>
                      <a:pt x="4316" y="11851"/>
                      <a:pt x="3875" y="11505"/>
                      <a:pt x="3686" y="11032"/>
                    </a:cubicBezTo>
                    <a:close/>
                    <a:moveTo>
                      <a:pt x="4842" y="0"/>
                    </a:moveTo>
                    <a:cubicBezTo>
                      <a:pt x="4526" y="0"/>
                      <a:pt x="4202" y="32"/>
                      <a:pt x="3875" y="100"/>
                    </a:cubicBezTo>
                    <a:cubicBezTo>
                      <a:pt x="2111" y="509"/>
                      <a:pt x="693" y="1959"/>
                      <a:pt x="378" y="3723"/>
                    </a:cubicBezTo>
                    <a:cubicBezTo>
                      <a:pt x="0" y="5834"/>
                      <a:pt x="1071" y="7724"/>
                      <a:pt x="2773" y="8575"/>
                    </a:cubicBezTo>
                    <a:lnTo>
                      <a:pt x="2773" y="10591"/>
                    </a:lnTo>
                    <a:cubicBezTo>
                      <a:pt x="2773" y="11725"/>
                      <a:pt x="3718" y="12670"/>
                      <a:pt x="4852" y="12670"/>
                    </a:cubicBezTo>
                    <a:cubicBezTo>
                      <a:pt x="5986" y="12670"/>
                      <a:pt x="6963" y="11725"/>
                      <a:pt x="6963" y="10591"/>
                    </a:cubicBezTo>
                    <a:lnTo>
                      <a:pt x="6963" y="8575"/>
                    </a:lnTo>
                    <a:cubicBezTo>
                      <a:pt x="8444" y="7787"/>
                      <a:pt x="9420" y="6243"/>
                      <a:pt x="9420" y="4511"/>
                    </a:cubicBezTo>
                    <a:cubicBezTo>
                      <a:pt x="9392" y="1995"/>
                      <a:pt x="7331" y="0"/>
                      <a:pt x="4842"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026" name="Google Shape;10026;p111"/>
              <p:cNvSpPr/>
              <p:nvPr/>
            </p:nvSpPr>
            <p:spPr>
              <a:xfrm>
                <a:off x="-60127750" y="2347500"/>
                <a:ext cx="62250" cy="145750"/>
              </a:xfrm>
              <a:custGeom>
                <a:avLst/>
                <a:gdLst/>
                <a:ahLst/>
                <a:cxnLst/>
                <a:rect l="l" t="t" r="r" b="b"/>
                <a:pathLst>
                  <a:path w="2490" h="5830" extrusionOk="0">
                    <a:moveTo>
                      <a:pt x="1229" y="1"/>
                    </a:moveTo>
                    <a:cubicBezTo>
                      <a:pt x="1009" y="1"/>
                      <a:pt x="851" y="190"/>
                      <a:pt x="851" y="379"/>
                    </a:cubicBezTo>
                    <a:lnTo>
                      <a:pt x="851" y="662"/>
                    </a:lnTo>
                    <a:cubicBezTo>
                      <a:pt x="378" y="820"/>
                      <a:pt x="0" y="1292"/>
                      <a:pt x="0" y="1828"/>
                    </a:cubicBezTo>
                    <a:cubicBezTo>
                      <a:pt x="0" y="2521"/>
                      <a:pt x="567" y="2899"/>
                      <a:pt x="1009" y="3214"/>
                    </a:cubicBezTo>
                    <a:cubicBezTo>
                      <a:pt x="1324" y="3466"/>
                      <a:pt x="1670" y="3687"/>
                      <a:pt x="1670" y="3939"/>
                    </a:cubicBezTo>
                    <a:cubicBezTo>
                      <a:pt x="1670" y="4159"/>
                      <a:pt x="1481" y="4348"/>
                      <a:pt x="1229" y="4348"/>
                    </a:cubicBezTo>
                    <a:cubicBezTo>
                      <a:pt x="1009" y="4348"/>
                      <a:pt x="851" y="4159"/>
                      <a:pt x="851" y="3939"/>
                    </a:cubicBezTo>
                    <a:cubicBezTo>
                      <a:pt x="851" y="3687"/>
                      <a:pt x="630" y="3498"/>
                      <a:pt x="441" y="3498"/>
                    </a:cubicBezTo>
                    <a:cubicBezTo>
                      <a:pt x="221" y="3498"/>
                      <a:pt x="0" y="3687"/>
                      <a:pt x="0" y="3939"/>
                    </a:cubicBezTo>
                    <a:cubicBezTo>
                      <a:pt x="0" y="4474"/>
                      <a:pt x="378" y="4915"/>
                      <a:pt x="851" y="5104"/>
                    </a:cubicBezTo>
                    <a:lnTo>
                      <a:pt x="851" y="5388"/>
                    </a:lnTo>
                    <a:cubicBezTo>
                      <a:pt x="851" y="5608"/>
                      <a:pt x="1040" y="5829"/>
                      <a:pt x="1229" y="5829"/>
                    </a:cubicBezTo>
                    <a:cubicBezTo>
                      <a:pt x="1481" y="5829"/>
                      <a:pt x="1670" y="5608"/>
                      <a:pt x="1670" y="5388"/>
                    </a:cubicBezTo>
                    <a:lnTo>
                      <a:pt x="1670" y="5104"/>
                    </a:lnTo>
                    <a:cubicBezTo>
                      <a:pt x="2143" y="4947"/>
                      <a:pt x="2489" y="4474"/>
                      <a:pt x="2489" y="3939"/>
                    </a:cubicBezTo>
                    <a:cubicBezTo>
                      <a:pt x="2489" y="3246"/>
                      <a:pt x="1954" y="2868"/>
                      <a:pt x="1513" y="2553"/>
                    </a:cubicBezTo>
                    <a:cubicBezTo>
                      <a:pt x="1198" y="2300"/>
                      <a:pt x="851" y="2080"/>
                      <a:pt x="851" y="1828"/>
                    </a:cubicBezTo>
                    <a:cubicBezTo>
                      <a:pt x="788" y="1607"/>
                      <a:pt x="1009" y="1418"/>
                      <a:pt x="1229" y="1418"/>
                    </a:cubicBezTo>
                    <a:cubicBezTo>
                      <a:pt x="1481" y="1418"/>
                      <a:pt x="1670" y="1607"/>
                      <a:pt x="1670" y="1828"/>
                    </a:cubicBezTo>
                    <a:cubicBezTo>
                      <a:pt x="1670" y="2080"/>
                      <a:pt x="1859" y="2269"/>
                      <a:pt x="2048" y="2269"/>
                    </a:cubicBezTo>
                    <a:cubicBezTo>
                      <a:pt x="2300" y="2269"/>
                      <a:pt x="2489" y="2080"/>
                      <a:pt x="2489" y="1828"/>
                    </a:cubicBezTo>
                    <a:cubicBezTo>
                      <a:pt x="2489" y="1292"/>
                      <a:pt x="2143" y="851"/>
                      <a:pt x="1670" y="662"/>
                    </a:cubicBezTo>
                    <a:lnTo>
                      <a:pt x="1670" y="379"/>
                    </a:lnTo>
                    <a:cubicBezTo>
                      <a:pt x="1670" y="158"/>
                      <a:pt x="1481" y="1"/>
                      <a:pt x="1229"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027" name="Google Shape;10027;p111"/>
              <p:cNvSpPr/>
              <p:nvPr/>
            </p:nvSpPr>
            <p:spPr>
              <a:xfrm>
                <a:off x="-60212825" y="2510750"/>
                <a:ext cx="32325" cy="30325"/>
              </a:xfrm>
              <a:custGeom>
                <a:avLst/>
                <a:gdLst/>
                <a:ahLst/>
                <a:cxnLst/>
                <a:rect l="l" t="t" r="r" b="b"/>
                <a:pathLst>
                  <a:path w="1293" h="1213" extrusionOk="0">
                    <a:moveTo>
                      <a:pt x="836" y="0"/>
                    </a:moveTo>
                    <a:cubicBezTo>
                      <a:pt x="725" y="0"/>
                      <a:pt x="615" y="39"/>
                      <a:pt x="536" y="118"/>
                    </a:cubicBezTo>
                    <a:lnTo>
                      <a:pt x="158" y="496"/>
                    </a:lnTo>
                    <a:cubicBezTo>
                      <a:pt x="1" y="654"/>
                      <a:pt x="1" y="906"/>
                      <a:pt x="158" y="1095"/>
                    </a:cubicBezTo>
                    <a:cubicBezTo>
                      <a:pt x="237" y="1174"/>
                      <a:pt x="340" y="1213"/>
                      <a:pt x="442" y="1213"/>
                    </a:cubicBezTo>
                    <a:cubicBezTo>
                      <a:pt x="544" y="1213"/>
                      <a:pt x="647" y="1174"/>
                      <a:pt x="725" y="1095"/>
                    </a:cubicBezTo>
                    <a:lnTo>
                      <a:pt x="1135" y="717"/>
                    </a:lnTo>
                    <a:cubicBezTo>
                      <a:pt x="1293" y="559"/>
                      <a:pt x="1293" y="276"/>
                      <a:pt x="1135" y="118"/>
                    </a:cubicBezTo>
                    <a:cubicBezTo>
                      <a:pt x="1056" y="39"/>
                      <a:pt x="946" y="0"/>
                      <a:pt x="836"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028" name="Google Shape;10028;p111"/>
              <p:cNvSpPr/>
              <p:nvPr/>
            </p:nvSpPr>
            <p:spPr>
              <a:xfrm>
                <a:off x="-60012750" y="2310675"/>
                <a:ext cx="32300" cy="30350"/>
              </a:xfrm>
              <a:custGeom>
                <a:avLst/>
                <a:gdLst/>
                <a:ahLst/>
                <a:cxnLst/>
                <a:rect l="l" t="t" r="r" b="b"/>
                <a:pathLst>
                  <a:path w="1292" h="1214" extrusionOk="0">
                    <a:moveTo>
                      <a:pt x="835" y="1"/>
                    </a:moveTo>
                    <a:cubicBezTo>
                      <a:pt x="725" y="1"/>
                      <a:pt x="614" y="40"/>
                      <a:pt x="536" y="119"/>
                    </a:cubicBezTo>
                    <a:lnTo>
                      <a:pt x="126" y="528"/>
                    </a:lnTo>
                    <a:cubicBezTo>
                      <a:pt x="0" y="686"/>
                      <a:pt x="0" y="938"/>
                      <a:pt x="126" y="1096"/>
                    </a:cubicBezTo>
                    <a:cubicBezTo>
                      <a:pt x="205" y="1174"/>
                      <a:pt x="315" y="1214"/>
                      <a:pt x="425" y="1214"/>
                    </a:cubicBezTo>
                    <a:cubicBezTo>
                      <a:pt x="536" y="1214"/>
                      <a:pt x="646" y="1174"/>
                      <a:pt x="725" y="1096"/>
                    </a:cubicBezTo>
                    <a:lnTo>
                      <a:pt x="1134" y="718"/>
                    </a:lnTo>
                    <a:cubicBezTo>
                      <a:pt x="1292" y="560"/>
                      <a:pt x="1292" y="276"/>
                      <a:pt x="1134" y="119"/>
                    </a:cubicBezTo>
                    <a:cubicBezTo>
                      <a:pt x="1056" y="40"/>
                      <a:pt x="945" y="1"/>
                      <a:pt x="835"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029" name="Google Shape;10029;p111"/>
              <p:cNvSpPr/>
              <p:nvPr/>
            </p:nvSpPr>
            <p:spPr>
              <a:xfrm>
                <a:off x="-60012750" y="2510750"/>
                <a:ext cx="32300" cy="30325"/>
              </a:xfrm>
              <a:custGeom>
                <a:avLst/>
                <a:gdLst/>
                <a:ahLst/>
                <a:cxnLst/>
                <a:rect l="l" t="t" r="r" b="b"/>
                <a:pathLst>
                  <a:path w="1292" h="1213" extrusionOk="0">
                    <a:moveTo>
                      <a:pt x="425" y="0"/>
                    </a:moveTo>
                    <a:cubicBezTo>
                      <a:pt x="315" y="0"/>
                      <a:pt x="205" y="39"/>
                      <a:pt x="126" y="118"/>
                    </a:cubicBezTo>
                    <a:cubicBezTo>
                      <a:pt x="0" y="276"/>
                      <a:pt x="0" y="559"/>
                      <a:pt x="126" y="717"/>
                    </a:cubicBezTo>
                    <a:lnTo>
                      <a:pt x="536" y="1095"/>
                    </a:lnTo>
                    <a:cubicBezTo>
                      <a:pt x="614" y="1174"/>
                      <a:pt x="725" y="1213"/>
                      <a:pt x="835" y="1213"/>
                    </a:cubicBezTo>
                    <a:cubicBezTo>
                      <a:pt x="945" y="1213"/>
                      <a:pt x="1056" y="1174"/>
                      <a:pt x="1134" y="1095"/>
                    </a:cubicBezTo>
                    <a:cubicBezTo>
                      <a:pt x="1292" y="937"/>
                      <a:pt x="1292" y="654"/>
                      <a:pt x="1134" y="496"/>
                    </a:cubicBezTo>
                    <a:lnTo>
                      <a:pt x="725" y="118"/>
                    </a:lnTo>
                    <a:cubicBezTo>
                      <a:pt x="646" y="39"/>
                      <a:pt x="536" y="0"/>
                      <a:pt x="425"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030" name="Google Shape;10030;p111"/>
              <p:cNvSpPr/>
              <p:nvPr/>
            </p:nvSpPr>
            <p:spPr>
              <a:xfrm>
                <a:off x="-60212825" y="2310675"/>
                <a:ext cx="32325" cy="30350"/>
              </a:xfrm>
              <a:custGeom>
                <a:avLst/>
                <a:gdLst/>
                <a:ahLst/>
                <a:cxnLst/>
                <a:rect l="l" t="t" r="r" b="b"/>
                <a:pathLst>
                  <a:path w="1293" h="1214" extrusionOk="0">
                    <a:moveTo>
                      <a:pt x="442" y="1"/>
                    </a:moveTo>
                    <a:cubicBezTo>
                      <a:pt x="340" y="1"/>
                      <a:pt x="237" y="40"/>
                      <a:pt x="158" y="119"/>
                    </a:cubicBezTo>
                    <a:cubicBezTo>
                      <a:pt x="1" y="276"/>
                      <a:pt x="1" y="560"/>
                      <a:pt x="158" y="718"/>
                    </a:cubicBezTo>
                    <a:lnTo>
                      <a:pt x="536" y="1096"/>
                    </a:lnTo>
                    <a:cubicBezTo>
                      <a:pt x="615" y="1174"/>
                      <a:pt x="725" y="1214"/>
                      <a:pt x="836" y="1214"/>
                    </a:cubicBezTo>
                    <a:cubicBezTo>
                      <a:pt x="946" y="1214"/>
                      <a:pt x="1056" y="1174"/>
                      <a:pt x="1135" y="1096"/>
                    </a:cubicBezTo>
                    <a:cubicBezTo>
                      <a:pt x="1293" y="938"/>
                      <a:pt x="1293" y="686"/>
                      <a:pt x="1135" y="528"/>
                    </a:cubicBezTo>
                    <a:lnTo>
                      <a:pt x="725" y="119"/>
                    </a:lnTo>
                    <a:cubicBezTo>
                      <a:pt x="647" y="40"/>
                      <a:pt x="544" y="1"/>
                      <a:pt x="442"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031" name="Google Shape;10031;p111"/>
              <p:cNvSpPr/>
              <p:nvPr/>
            </p:nvSpPr>
            <p:spPr>
              <a:xfrm>
                <a:off x="-59974175" y="2415250"/>
                <a:ext cx="35475" cy="20500"/>
              </a:xfrm>
              <a:custGeom>
                <a:avLst/>
                <a:gdLst/>
                <a:ahLst/>
                <a:cxnLst/>
                <a:rect l="l" t="t" r="r" b="b"/>
                <a:pathLst>
                  <a:path w="1419" h="820" extrusionOk="0">
                    <a:moveTo>
                      <a:pt x="442" y="0"/>
                    </a:moveTo>
                    <a:cubicBezTo>
                      <a:pt x="221" y="0"/>
                      <a:pt x="1" y="189"/>
                      <a:pt x="1" y="378"/>
                    </a:cubicBezTo>
                    <a:cubicBezTo>
                      <a:pt x="1" y="630"/>
                      <a:pt x="221" y="819"/>
                      <a:pt x="442" y="819"/>
                    </a:cubicBezTo>
                    <a:lnTo>
                      <a:pt x="1009" y="819"/>
                    </a:lnTo>
                    <a:cubicBezTo>
                      <a:pt x="1230" y="819"/>
                      <a:pt x="1387" y="630"/>
                      <a:pt x="1387" y="378"/>
                    </a:cubicBezTo>
                    <a:cubicBezTo>
                      <a:pt x="1419" y="189"/>
                      <a:pt x="1230" y="0"/>
                      <a:pt x="1009"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grpSp>
        <p:nvGrpSpPr>
          <p:cNvPr id="10032" name="Google Shape;10032;p111"/>
          <p:cNvGrpSpPr/>
          <p:nvPr/>
        </p:nvGrpSpPr>
        <p:grpSpPr>
          <a:xfrm>
            <a:off x="4125532" y="5116943"/>
            <a:ext cx="414253" cy="491983"/>
            <a:chOff x="-60232500" y="2671225"/>
            <a:chExt cx="268600" cy="319000"/>
          </a:xfrm>
        </p:grpSpPr>
        <p:sp>
          <p:nvSpPr>
            <p:cNvPr id="10033" name="Google Shape;10033;p111"/>
            <p:cNvSpPr/>
            <p:nvPr/>
          </p:nvSpPr>
          <p:spPr>
            <a:xfrm>
              <a:off x="-60222275" y="2843700"/>
              <a:ext cx="63025" cy="146525"/>
            </a:xfrm>
            <a:custGeom>
              <a:avLst/>
              <a:gdLst/>
              <a:ahLst/>
              <a:cxnLst/>
              <a:rect l="l" t="t" r="r" b="b"/>
              <a:pathLst>
                <a:path w="2521" h="5861" extrusionOk="0">
                  <a:moveTo>
                    <a:pt x="1261" y="1"/>
                  </a:moveTo>
                  <a:cubicBezTo>
                    <a:pt x="1040" y="1"/>
                    <a:pt x="851" y="190"/>
                    <a:pt x="851" y="410"/>
                  </a:cubicBezTo>
                  <a:lnTo>
                    <a:pt x="851" y="694"/>
                  </a:lnTo>
                  <a:cubicBezTo>
                    <a:pt x="379" y="851"/>
                    <a:pt x="1" y="1324"/>
                    <a:pt x="1" y="1891"/>
                  </a:cubicBezTo>
                  <a:cubicBezTo>
                    <a:pt x="1" y="2553"/>
                    <a:pt x="568" y="2931"/>
                    <a:pt x="1009" y="3246"/>
                  </a:cubicBezTo>
                  <a:cubicBezTo>
                    <a:pt x="1324" y="3498"/>
                    <a:pt x="1671" y="3718"/>
                    <a:pt x="1671" y="3970"/>
                  </a:cubicBezTo>
                  <a:cubicBezTo>
                    <a:pt x="1671" y="4191"/>
                    <a:pt x="1482" y="4348"/>
                    <a:pt x="1261" y="4348"/>
                  </a:cubicBezTo>
                  <a:cubicBezTo>
                    <a:pt x="1072" y="4348"/>
                    <a:pt x="851" y="4159"/>
                    <a:pt x="851" y="3970"/>
                  </a:cubicBezTo>
                  <a:cubicBezTo>
                    <a:pt x="851" y="3718"/>
                    <a:pt x="631" y="3529"/>
                    <a:pt x="442" y="3529"/>
                  </a:cubicBezTo>
                  <a:cubicBezTo>
                    <a:pt x="253" y="3529"/>
                    <a:pt x="64" y="3718"/>
                    <a:pt x="64" y="3970"/>
                  </a:cubicBezTo>
                  <a:cubicBezTo>
                    <a:pt x="64" y="4506"/>
                    <a:pt x="410" y="4947"/>
                    <a:pt x="883" y="5136"/>
                  </a:cubicBezTo>
                  <a:lnTo>
                    <a:pt x="883" y="5419"/>
                  </a:lnTo>
                  <a:cubicBezTo>
                    <a:pt x="883" y="5672"/>
                    <a:pt x="1072" y="5861"/>
                    <a:pt x="1324" y="5861"/>
                  </a:cubicBezTo>
                  <a:cubicBezTo>
                    <a:pt x="1545" y="5861"/>
                    <a:pt x="1702" y="5672"/>
                    <a:pt x="1702" y="5419"/>
                  </a:cubicBezTo>
                  <a:lnTo>
                    <a:pt x="1702" y="5136"/>
                  </a:lnTo>
                  <a:cubicBezTo>
                    <a:pt x="2175" y="4978"/>
                    <a:pt x="2521" y="4506"/>
                    <a:pt x="2521" y="3970"/>
                  </a:cubicBezTo>
                  <a:cubicBezTo>
                    <a:pt x="2521" y="3309"/>
                    <a:pt x="1986" y="2899"/>
                    <a:pt x="1545" y="2584"/>
                  </a:cubicBezTo>
                  <a:cubicBezTo>
                    <a:pt x="1229" y="2364"/>
                    <a:pt x="883" y="2111"/>
                    <a:pt x="883" y="1891"/>
                  </a:cubicBezTo>
                  <a:cubicBezTo>
                    <a:pt x="883" y="1639"/>
                    <a:pt x="1072" y="1450"/>
                    <a:pt x="1261" y="1450"/>
                  </a:cubicBezTo>
                  <a:cubicBezTo>
                    <a:pt x="1513" y="1450"/>
                    <a:pt x="1671" y="1639"/>
                    <a:pt x="1671" y="1891"/>
                  </a:cubicBezTo>
                  <a:cubicBezTo>
                    <a:pt x="1671" y="2111"/>
                    <a:pt x="1860" y="2269"/>
                    <a:pt x="2112" y="2269"/>
                  </a:cubicBezTo>
                  <a:cubicBezTo>
                    <a:pt x="2332" y="2269"/>
                    <a:pt x="2490" y="2080"/>
                    <a:pt x="2490" y="1891"/>
                  </a:cubicBezTo>
                  <a:cubicBezTo>
                    <a:pt x="2490" y="1324"/>
                    <a:pt x="2143" y="883"/>
                    <a:pt x="1671" y="694"/>
                  </a:cubicBezTo>
                  <a:lnTo>
                    <a:pt x="1671" y="410"/>
                  </a:lnTo>
                  <a:cubicBezTo>
                    <a:pt x="1671" y="190"/>
                    <a:pt x="1482" y="1"/>
                    <a:pt x="1261"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034" name="Google Shape;10034;p111"/>
            <p:cNvSpPr/>
            <p:nvPr/>
          </p:nvSpPr>
          <p:spPr>
            <a:xfrm>
              <a:off x="-60232500" y="2671225"/>
              <a:ext cx="268600" cy="318225"/>
            </a:xfrm>
            <a:custGeom>
              <a:avLst/>
              <a:gdLst/>
              <a:ahLst/>
              <a:cxnLst/>
              <a:rect l="l" t="t" r="r" b="b"/>
              <a:pathLst>
                <a:path w="10744" h="12729" extrusionOk="0">
                  <a:moveTo>
                    <a:pt x="5419" y="1701"/>
                  </a:moveTo>
                  <a:cubicBezTo>
                    <a:pt x="7561" y="1701"/>
                    <a:pt x="9357" y="3151"/>
                    <a:pt x="9830" y="5167"/>
                  </a:cubicBezTo>
                  <a:cubicBezTo>
                    <a:pt x="9641" y="5041"/>
                    <a:pt x="9389" y="5009"/>
                    <a:pt x="9137" y="5009"/>
                  </a:cubicBezTo>
                  <a:cubicBezTo>
                    <a:pt x="8601" y="5009"/>
                    <a:pt x="8191" y="5230"/>
                    <a:pt x="7908" y="5545"/>
                  </a:cubicBezTo>
                  <a:cubicBezTo>
                    <a:pt x="7593" y="5198"/>
                    <a:pt x="7152" y="5009"/>
                    <a:pt x="6679" y="5009"/>
                  </a:cubicBezTo>
                  <a:cubicBezTo>
                    <a:pt x="6175" y="5009"/>
                    <a:pt x="5734" y="5230"/>
                    <a:pt x="5419" y="5545"/>
                  </a:cubicBezTo>
                  <a:cubicBezTo>
                    <a:pt x="5104" y="5198"/>
                    <a:pt x="4663" y="5009"/>
                    <a:pt x="4190" y="5009"/>
                  </a:cubicBezTo>
                  <a:cubicBezTo>
                    <a:pt x="3686" y="5009"/>
                    <a:pt x="3245" y="5230"/>
                    <a:pt x="2993" y="5545"/>
                  </a:cubicBezTo>
                  <a:cubicBezTo>
                    <a:pt x="2678" y="5198"/>
                    <a:pt x="2237" y="5009"/>
                    <a:pt x="1764" y="5009"/>
                  </a:cubicBezTo>
                  <a:cubicBezTo>
                    <a:pt x="1512" y="5009"/>
                    <a:pt x="1292" y="5041"/>
                    <a:pt x="1040" y="5167"/>
                  </a:cubicBezTo>
                  <a:cubicBezTo>
                    <a:pt x="1481" y="3151"/>
                    <a:pt x="3308" y="1701"/>
                    <a:pt x="5419" y="1701"/>
                  </a:cubicBezTo>
                  <a:close/>
                  <a:moveTo>
                    <a:pt x="5356" y="0"/>
                  </a:moveTo>
                  <a:cubicBezTo>
                    <a:pt x="5104" y="0"/>
                    <a:pt x="4946" y="189"/>
                    <a:pt x="4946" y="441"/>
                  </a:cubicBezTo>
                  <a:lnTo>
                    <a:pt x="4946" y="851"/>
                  </a:lnTo>
                  <a:cubicBezTo>
                    <a:pt x="2206" y="1071"/>
                    <a:pt x="0" y="3371"/>
                    <a:pt x="0" y="6207"/>
                  </a:cubicBezTo>
                  <a:lnTo>
                    <a:pt x="0" y="6648"/>
                  </a:lnTo>
                  <a:lnTo>
                    <a:pt x="32" y="6648"/>
                  </a:lnTo>
                  <a:cubicBezTo>
                    <a:pt x="32" y="6900"/>
                    <a:pt x="221" y="7089"/>
                    <a:pt x="473" y="7089"/>
                  </a:cubicBezTo>
                  <a:cubicBezTo>
                    <a:pt x="693" y="7089"/>
                    <a:pt x="851" y="6900"/>
                    <a:pt x="851" y="6648"/>
                  </a:cubicBezTo>
                  <a:cubicBezTo>
                    <a:pt x="851" y="6175"/>
                    <a:pt x="1197" y="5829"/>
                    <a:pt x="1701" y="5829"/>
                  </a:cubicBezTo>
                  <a:cubicBezTo>
                    <a:pt x="2143" y="5829"/>
                    <a:pt x="2521" y="6175"/>
                    <a:pt x="2521" y="6648"/>
                  </a:cubicBezTo>
                  <a:cubicBezTo>
                    <a:pt x="2521" y="6900"/>
                    <a:pt x="2710" y="7089"/>
                    <a:pt x="2899" y="7089"/>
                  </a:cubicBezTo>
                  <a:cubicBezTo>
                    <a:pt x="3119" y="7089"/>
                    <a:pt x="3308" y="6900"/>
                    <a:pt x="3308" y="6648"/>
                  </a:cubicBezTo>
                  <a:cubicBezTo>
                    <a:pt x="3308" y="6175"/>
                    <a:pt x="3655" y="5829"/>
                    <a:pt x="4127" y="5829"/>
                  </a:cubicBezTo>
                  <a:cubicBezTo>
                    <a:pt x="4600" y="5829"/>
                    <a:pt x="4946" y="6175"/>
                    <a:pt x="4946" y="6648"/>
                  </a:cubicBezTo>
                  <a:lnTo>
                    <a:pt x="4946" y="11499"/>
                  </a:lnTo>
                  <a:cubicBezTo>
                    <a:pt x="4946" y="12161"/>
                    <a:pt x="5514" y="12728"/>
                    <a:pt x="6175" y="12728"/>
                  </a:cubicBezTo>
                  <a:cubicBezTo>
                    <a:pt x="6837" y="12728"/>
                    <a:pt x="7404" y="12161"/>
                    <a:pt x="7404" y="11499"/>
                  </a:cubicBezTo>
                  <a:lnTo>
                    <a:pt x="7404" y="10680"/>
                  </a:lnTo>
                  <a:cubicBezTo>
                    <a:pt x="7404" y="10428"/>
                    <a:pt x="7215" y="10239"/>
                    <a:pt x="6994" y="10239"/>
                  </a:cubicBezTo>
                  <a:cubicBezTo>
                    <a:pt x="6805" y="10239"/>
                    <a:pt x="6616" y="10428"/>
                    <a:pt x="6616" y="10680"/>
                  </a:cubicBezTo>
                  <a:lnTo>
                    <a:pt x="6616" y="11499"/>
                  </a:lnTo>
                  <a:cubicBezTo>
                    <a:pt x="6616" y="11720"/>
                    <a:pt x="6427" y="11940"/>
                    <a:pt x="6175" y="11940"/>
                  </a:cubicBezTo>
                  <a:cubicBezTo>
                    <a:pt x="5955" y="11940"/>
                    <a:pt x="5797" y="11720"/>
                    <a:pt x="5797" y="11499"/>
                  </a:cubicBezTo>
                  <a:lnTo>
                    <a:pt x="5797" y="6648"/>
                  </a:lnTo>
                  <a:cubicBezTo>
                    <a:pt x="5797" y="6175"/>
                    <a:pt x="6144" y="5829"/>
                    <a:pt x="6616" y="5829"/>
                  </a:cubicBezTo>
                  <a:cubicBezTo>
                    <a:pt x="7089" y="5829"/>
                    <a:pt x="7435" y="6175"/>
                    <a:pt x="7435" y="6648"/>
                  </a:cubicBezTo>
                  <a:cubicBezTo>
                    <a:pt x="7435" y="6900"/>
                    <a:pt x="7624" y="7089"/>
                    <a:pt x="7876" y="7089"/>
                  </a:cubicBezTo>
                  <a:cubicBezTo>
                    <a:pt x="8097" y="7089"/>
                    <a:pt x="8255" y="6900"/>
                    <a:pt x="8255" y="6648"/>
                  </a:cubicBezTo>
                  <a:cubicBezTo>
                    <a:pt x="8255" y="6175"/>
                    <a:pt x="8633" y="5829"/>
                    <a:pt x="9105" y="5829"/>
                  </a:cubicBezTo>
                  <a:cubicBezTo>
                    <a:pt x="9578" y="5829"/>
                    <a:pt x="9924" y="6175"/>
                    <a:pt x="9924" y="6648"/>
                  </a:cubicBezTo>
                  <a:cubicBezTo>
                    <a:pt x="9924" y="6900"/>
                    <a:pt x="10113" y="7089"/>
                    <a:pt x="10302" y="7089"/>
                  </a:cubicBezTo>
                  <a:cubicBezTo>
                    <a:pt x="10554" y="7089"/>
                    <a:pt x="10743" y="6900"/>
                    <a:pt x="10743" y="6648"/>
                  </a:cubicBezTo>
                  <a:lnTo>
                    <a:pt x="10743" y="6207"/>
                  </a:lnTo>
                  <a:cubicBezTo>
                    <a:pt x="10743" y="3371"/>
                    <a:pt x="8538" y="1071"/>
                    <a:pt x="5797" y="851"/>
                  </a:cubicBezTo>
                  <a:lnTo>
                    <a:pt x="5797" y="441"/>
                  </a:lnTo>
                  <a:cubicBezTo>
                    <a:pt x="5797" y="189"/>
                    <a:pt x="5577" y="0"/>
                    <a:pt x="5356"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10035" name="Google Shape;10035;p111"/>
          <p:cNvGrpSpPr/>
          <p:nvPr/>
        </p:nvGrpSpPr>
        <p:grpSpPr>
          <a:xfrm>
            <a:off x="2906191" y="5715122"/>
            <a:ext cx="487164" cy="491983"/>
            <a:chOff x="-59100700" y="1911950"/>
            <a:chExt cx="315875" cy="319000"/>
          </a:xfrm>
        </p:grpSpPr>
        <p:sp>
          <p:nvSpPr>
            <p:cNvPr id="10036" name="Google Shape;10036;p111"/>
            <p:cNvSpPr/>
            <p:nvPr/>
          </p:nvSpPr>
          <p:spPr>
            <a:xfrm>
              <a:off x="-59015625" y="1993850"/>
              <a:ext cx="20500" cy="20525"/>
            </a:xfrm>
            <a:custGeom>
              <a:avLst/>
              <a:gdLst/>
              <a:ahLst/>
              <a:cxnLst/>
              <a:rect l="l" t="t" r="r" b="b"/>
              <a:pathLst>
                <a:path w="820" h="821" extrusionOk="0">
                  <a:moveTo>
                    <a:pt x="189" y="1"/>
                  </a:moveTo>
                  <a:cubicBezTo>
                    <a:pt x="63" y="1"/>
                    <a:pt x="0" y="64"/>
                    <a:pt x="0" y="190"/>
                  </a:cubicBezTo>
                  <a:lnTo>
                    <a:pt x="0" y="631"/>
                  </a:lnTo>
                  <a:cubicBezTo>
                    <a:pt x="0" y="757"/>
                    <a:pt x="95" y="820"/>
                    <a:pt x="189" y="820"/>
                  </a:cubicBezTo>
                  <a:lnTo>
                    <a:pt x="630" y="820"/>
                  </a:lnTo>
                  <a:cubicBezTo>
                    <a:pt x="725" y="820"/>
                    <a:pt x="820" y="757"/>
                    <a:pt x="820" y="631"/>
                  </a:cubicBezTo>
                  <a:lnTo>
                    <a:pt x="820" y="190"/>
                  </a:lnTo>
                  <a:cubicBezTo>
                    <a:pt x="820" y="64"/>
                    <a:pt x="725" y="1"/>
                    <a:pt x="630"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037" name="Google Shape;10037;p111"/>
            <p:cNvSpPr/>
            <p:nvPr/>
          </p:nvSpPr>
          <p:spPr>
            <a:xfrm>
              <a:off x="-58954200" y="1993850"/>
              <a:ext cx="21300" cy="20525"/>
            </a:xfrm>
            <a:custGeom>
              <a:avLst/>
              <a:gdLst/>
              <a:ahLst/>
              <a:cxnLst/>
              <a:rect l="l" t="t" r="r" b="b"/>
              <a:pathLst>
                <a:path w="852" h="821" extrusionOk="0">
                  <a:moveTo>
                    <a:pt x="221" y="1"/>
                  </a:moveTo>
                  <a:cubicBezTo>
                    <a:pt x="95" y="1"/>
                    <a:pt x="1" y="64"/>
                    <a:pt x="1" y="190"/>
                  </a:cubicBezTo>
                  <a:lnTo>
                    <a:pt x="1" y="631"/>
                  </a:lnTo>
                  <a:cubicBezTo>
                    <a:pt x="1" y="757"/>
                    <a:pt x="127" y="820"/>
                    <a:pt x="221" y="820"/>
                  </a:cubicBezTo>
                  <a:lnTo>
                    <a:pt x="631" y="820"/>
                  </a:lnTo>
                  <a:cubicBezTo>
                    <a:pt x="757" y="820"/>
                    <a:pt x="851" y="757"/>
                    <a:pt x="851" y="631"/>
                  </a:cubicBezTo>
                  <a:lnTo>
                    <a:pt x="851" y="190"/>
                  </a:lnTo>
                  <a:cubicBezTo>
                    <a:pt x="851" y="64"/>
                    <a:pt x="757" y="1"/>
                    <a:pt x="631"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038" name="Google Shape;10038;p111"/>
            <p:cNvSpPr/>
            <p:nvPr/>
          </p:nvSpPr>
          <p:spPr>
            <a:xfrm>
              <a:off x="-58891975" y="1993850"/>
              <a:ext cx="21300" cy="20525"/>
            </a:xfrm>
            <a:custGeom>
              <a:avLst/>
              <a:gdLst/>
              <a:ahLst/>
              <a:cxnLst/>
              <a:rect l="l" t="t" r="r" b="b"/>
              <a:pathLst>
                <a:path w="852" h="821" extrusionOk="0">
                  <a:moveTo>
                    <a:pt x="190" y="1"/>
                  </a:moveTo>
                  <a:cubicBezTo>
                    <a:pt x="95" y="1"/>
                    <a:pt x="1" y="64"/>
                    <a:pt x="1" y="190"/>
                  </a:cubicBezTo>
                  <a:lnTo>
                    <a:pt x="1" y="631"/>
                  </a:lnTo>
                  <a:cubicBezTo>
                    <a:pt x="1" y="757"/>
                    <a:pt x="127" y="820"/>
                    <a:pt x="190" y="820"/>
                  </a:cubicBezTo>
                  <a:lnTo>
                    <a:pt x="631" y="820"/>
                  </a:lnTo>
                  <a:cubicBezTo>
                    <a:pt x="757" y="820"/>
                    <a:pt x="851" y="757"/>
                    <a:pt x="851" y="631"/>
                  </a:cubicBezTo>
                  <a:lnTo>
                    <a:pt x="851" y="190"/>
                  </a:lnTo>
                  <a:cubicBezTo>
                    <a:pt x="851" y="64"/>
                    <a:pt x="757" y="1"/>
                    <a:pt x="631"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039" name="Google Shape;10039;p111"/>
            <p:cNvSpPr/>
            <p:nvPr/>
          </p:nvSpPr>
          <p:spPr>
            <a:xfrm>
              <a:off x="-59015625" y="2034825"/>
              <a:ext cx="20500" cy="21275"/>
            </a:xfrm>
            <a:custGeom>
              <a:avLst/>
              <a:gdLst/>
              <a:ahLst/>
              <a:cxnLst/>
              <a:rect l="l" t="t" r="r" b="b"/>
              <a:pathLst>
                <a:path w="820" h="851" extrusionOk="0">
                  <a:moveTo>
                    <a:pt x="189" y="0"/>
                  </a:moveTo>
                  <a:cubicBezTo>
                    <a:pt x="63" y="0"/>
                    <a:pt x="0" y="95"/>
                    <a:pt x="0" y="221"/>
                  </a:cubicBezTo>
                  <a:lnTo>
                    <a:pt x="0" y="630"/>
                  </a:lnTo>
                  <a:cubicBezTo>
                    <a:pt x="0" y="756"/>
                    <a:pt x="95" y="851"/>
                    <a:pt x="189" y="851"/>
                  </a:cubicBezTo>
                  <a:lnTo>
                    <a:pt x="630" y="851"/>
                  </a:lnTo>
                  <a:cubicBezTo>
                    <a:pt x="725" y="851"/>
                    <a:pt x="820" y="756"/>
                    <a:pt x="820" y="630"/>
                  </a:cubicBezTo>
                  <a:lnTo>
                    <a:pt x="820" y="221"/>
                  </a:lnTo>
                  <a:cubicBezTo>
                    <a:pt x="820" y="95"/>
                    <a:pt x="725" y="0"/>
                    <a:pt x="630"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040" name="Google Shape;10040;p111"/>
            <p:cNvSpPr/>
            <p:nvPr/>
          </p:nvSpPr>
          <p:spPr>
            <a:xfrm>
              <a:off x="-58954200" y="2034825"/>
              <a:ext cx="21300" cy="21275"/>
            </a:xfrm>
            <a:custGeom>
              <a:avLst/>
              <a:gdLst/>
              <a:ahLst/>
              <a:cxnLst/>
              <a:rect l="l" t="t" r="r" b="b"/>
              <a:pathLst>
                <a:path w="852" h="851" extrusionOk="0">
                  <a:moveTo>
                    <a:pt x="221" y="0"/>
                  </a:moveTo>
                  <a:cubicBezTo>
                    <a:pt x="95" y="0"/>
                    <a:pt x="1" y="95"/>
                    <a:pt x="1" y="221"/>
                  </a:cubicBezTo>
                  <a:lnTo>
                    <a:pt x="1" y="630"/>
                  </a:lnTo>
                  <a:cubicBezTo>
                    <a:pt x="1" y="756"/>
                    <a:pt x="127" y="851"/>
                    <a:pt x="221" y="851"/>
                  </a:cubicBezTo>
                  <a:lnTo>
                    <a:pt x="631" y="851"/>
                  </a:lnTo>
                  <a:cubicBezTo>
                    <a:pt x="757" y="851"/>
                    <a:pt x="851" y="756"/>
                    <a:pt x="851" y="630"/>
                  </a:cubicBezTo>
                  <a:lnTo>
                    <a:pt x="851" y="221"/>
                  </a:lnTo>
                  <a:cubicBezTo>
                    <a:pt x="851" y="95"/>
                    <a:pt x="757" y="0"/>
                    <a:pt x="631"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041" name="Google Shape;10041;p111"/>
            <p:cNvSpPr/>
            <p:nvPr/>
          </p:nvSpPr>
          <p:spPr>
            <a:xfrm>
              <a:off x="-58891975" y="2034825"/>
              <a:ext cx="21300" cy="21275"/>
            </a:xfrm>
            <a:custGeom>
              <a:avLst/>
              <a:gdLst/>
              <a:ahLst/>
              <a:cxnLst/>
              <a:rect l="l" t="t" r="r" b="b"/>
              <a:pathLst>
                <a:path w="852" h="851" extrusionOk="0">
                  <a:moveTo>
                    <a:pt x="190" y="0"/>
                  </a:moveTo>
                  <a:cubicBezTo>
                    <a:pt x="95" y="0"/>
                    <a:pt x="1" y="95"/>
                    <a:pt x="1" y="221"/>
                  </a:cubicBezTo>
                  <a:lnTo>
                    <a:pt x="1" y="630"/>
                  </a:lnTo>
                  <a:cubicBezTo>
                    <a:pt x="1" y="756"/>
                    <a:pt x="127" y="851"/>
                    <a:pt x="190" y="851"/>
                  </a:cubicBezTo>
                  <a:lnTo>
                    <a:pt x="631" y="851"/>
                  </a:lnTo>
                  <a:cubicBezTo>
                    <a:pt x="757" y="851"/>
                    <a:pt x="851" y="756"/>
                    <a:pt x="851" y="630"/>
                  </a:cubicBezTo>
                  <a:lnTo>
                    <a:pt x="851" y="221"/>
                  </a:lnTo>
                  <a:cubicBezTo>
                    <a:pt x="851" y="95"/>
                    <a:pt x="757" y="0"/>
                    <a:pt x="631"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042" name="Google Shape;10042;p111"/>
            <p:cNvSpPr/>
            <p:nvPr/>
          </p:nvSpPr>
          <p:spPr>
            <a:xfrm>
              <a:off x="-59015625" y="2076550"/>
              <a:ext cx="20500" cy="20525"/>
            </a:xfrm>
            <a:custGeom>
              <a:avLst/>
              <a:gdLst/>
              <a:ahLst/>
              <a:cxnLst/>
              <a:rect l="l" t="t" r="r" b="b"/>
              <a:pathLst>
                <a:path w="820" h="821" extrusionOk="0">
                  <a:moveTo>
                    <a:pt x="189" y="1"/>
                  </a:moveTo>
                  <a:cubicBezTo>
                    <a:pt x="63" y="1"/>
                    <a:pt x="0" y="64"/>
                    <a:pt x="0" y="190"/>
                  </a:cubicBezTo>
                  <a:lnTo>
                    <a:pt x="0" y="631"/>
                  </a:lnTo>
                  <a:cubicBezTo>
                    <a:pt x="0" y="757"/>
                    <a:pt x="95" y="820"/>
                    <a:pt x="189" y="820"/>
                  </a:cubicBezTo>
                  <a:lnTo>
                    <a:pt x="630" y="820"/>
                  </a:lnTo>
                  <a:cubicBezTo>
                    <a:pt x="725" y="820"/>
                    <a:pt x="820" y="757"/>
                    <a:pt x="820" y="631"/>
                  </a:cubicBezTo>
                  <a:lnTo>
                    <a:pt x="820" y="190"/>
                  </a:lnTo>
                  <a:cubicBezTo>
                    <a:pt x="820" y="64"/>
                    <a:pt x="725" y="1"/>
                    <a:pt x="630"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043" name="Google Shape;10043;p111"/>
            <p:cNvSpPr/>
            <p:nvPr/>
          </p:nvSpPr>
          <p:spPr>
            <a:xfrm>
              <a:off x="-58954200" y="2076550"/>
              <a:ext cx="21300" cy="20525"/>
            </a:xfrm>
            <a:custGeom>
              <a:avLst/>
              <a:gdLst/>
              <a:ahLst/>
              <a:cxnLst/>
              <a:rect l="l" t="t" r="r" b="b"/>
              <a:pathLst>
                <a:path w="852" h="821" extrusionOk="0">
                  <a:moveTo>
                    <a:pt x="221" y="1"/>
                  </a:moveTo>
                  <a:cubicBezTo>
                    <a:pt x="95" y="1"/>
                    <a:pt x="1" y="64"/>
                    <a:pt x="1" y="190"/>
                  </a:cubicBezTo>
                  <a:lnTo>
                    <a:pt x="1" y="631"/>
                  </a:lnTo>
                  <a:cubicBezTo>
                    <a:pt x="1" y="757"/>
                    <a:pt x="127" y="820"/>
                    <a:pt x="221" y="820"/>
                  </a:cubicBezTo>
                  <a:lnTo>
                    <a:pt x="631" y="820"/>
                  </a:lnTo>
                  <a:cubicBezTo>
                    <a:pt x="757" y="820"/>
                    <a:pt x="851" y="757"/>
                    <a:pt x="851" y="631"/>
                  </a:cubicBezTo>
                  <a:lnTo>
                    <a:pt x="851" y="190"/>
                  </a:lnTo>
                  <a:cubicBezTo>
                    <a:pt x="851" y="64"/>
                    <a:pt x="757" y="1"/>
                    <a:pt x="631"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044" name="Google Shape;10044;p111"/>
            <p:cNvSpPr/>
            <p:nvPr/>
          </p:nvSpPr>
          <p:spPr>
            <a:xfrm>
              <a:off x="-58891975" y="2076550"/>
              <a:ext cx="21300" cy="20525"/>
            </a:xfrm>
            <a:custGeom>
              <a:avLst/>
              <a:gdLst/>
              <a:ahLst/>
              <a:cxnLst/>
              <a:rect l="l" t="t" r="r" b="b"/>
              <a:pathLst>
                <a:path w="852" h="821" extrusionOk="0">
                  <a:moveTo>
                    <a:pt x="190" y="1"/>
                  </a:moveTo>
                  <a:cubicBezTo>
                    <a:pt x="95" y="1"/>
                    <a:pt x="1" y="64"/>
                    <a:pt x="1" y="190"/>
                  </a:cubicBezTo>
                  <a:lnTo>
                    <a:pt x="1" y="631"/>
                  </a:lnTo>
                  <a:cubicBezTo>
                    <a:pt x="1" y="757"/>
                    <a:pt x="127" y="820"/>
                    <a:pt x="190" y="820"/>
                  </a:cubicBezTo>
                  <a:lnTo>
                    <a:pt x="631" y="820"/>
                  </a:lnTo>
                  <a:cubicBezTo>
                    <a:pt x="757" y="820"/>
                    <a:pt x="851" y="757"/>
                    <a:pt x="851" y="631"/>
                  </a:cubicBezTo>
                  <a:lnTo>
                    <a:pt x="851" y="190"/>
                  </a:lnTo>
                  <a:cubicBezTo>
                    <a:pt x="851" y="64"/>
                    <a:pt x="757" y="1"/>
                    <a:pt x="631"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045" name="Google Shape;10045;p111"/>
            <p:cNvSpPr/>
            <p:nvPr/>
          </p:nvSpPr>
          <p:spPr>
            <a:xfrm>
              <a:off x="-59100700" y="1911950"/>
              <a:ext cx="315875" cy="319000"/>
            </a:xfrm>
            <a:custGeom>
              <a:avLst/>
              <a:gdLst/>
              <a:ahLst/>
              <a:cxnLst/>
              <a:rect l="l" t="t" r="r" b="b"/>
              <a:pathLst>
                <a:path w="12635" h="12760" extrusionOk="0">
                  <a:moveTo>
                    <a:pt x="9169" y="788"/>
                  </a:moveTo>
                  <a:lnTo>
                    <a:pt x="9169" y="1607"/>
                  </a:lnTo>
                  <a:lnTo>
                    <a:pt x="3403" y="1607"/>
                  </a:lnTo>
                  <a:lnTo>
                    <a:pt x="3403" y="788"/>
                  </a:lnTo>
                  <a:close/>
                  <a:moveTo>
                    <a:pt x="1734" y="9074"/>
                  </a:moveTo>
                  <a:lnTo>
                    <a:pt x="1734" y="11815"/>
                  </a:lnTo>
                  <a:lnTo>
                    <a:pt x="788" y="11815"/>
                  </a:lnTo>
                  <a:lnTo>
                    <a:pt x="788" y="9074"/>
                  </a:lnTo>
                  <a:close/>
                  <a:moveTo>
                    <a:pt x="5861" y="9074"/>
                  </a:moveTo>
                  <a:lnTo>
                    <a:pt x="5861" y="11815"/>
                  </a:lnTo>
                  <a:lnTo>
                    <a:pt x="4223" y="11815"/>
                  </a:lnTo>
                  <a:lnTo>
                    <a:pt x="4223" y="9074"/>
                  </a:lnTo>
                  <a:close/>
                  <a:moveTo>
                    <a:pt x="8350" y="9074"/>
                  </a:moveTo>
                  <a:lnTo>
                    <a:pt x="8350" y="11815"/>
                  </a:lnTo>
                  <a:lnTo>
                    <a:pt x="6711" y="11815"/>
                  </a:lnTo>
                  <a:lnTo>
                    <a:pt x="6711" y="9074"/>
                  </a:lnTo>
                  <a:close/>
                  <a:moveTo>
                    <a:pt x="10051" y="2458"/>
                  </a:moveTo>
                  <a:lnTo>
                    <a:pt x="10051" y="11815"/>
                  </a:lnTo>
                  <a:lnTo>
                    <a:pt x="9169" y="11815"/>
                  </a:lnTo>
                  <a:lnTo>
                    <a:pt x="9169" y="8664"/>
                  </a:lnTo>
                  <a:cubicBezTo>
                    <a:pt x="9169" y="8444"/>
                    <a:pt x="8980" y="8223"/>
                    <a:pt x="8791" y="8223"/>
                  </a:cubicBezTo>
                  <a:lnTo>
                    <a:pt x="3813" y="8223"/>
                  </a:lnTo>
                  <a:cubicBezTo>
                    <a:pt x="3592" y="8223"/>
                    <a:pt x="3435" y="8444"/>
                    <a:pt x="3435" y="8664"/>
                  </a:cubicBezTo>
                  <a:lnTo>
                    <a:pt x="3435" y="11815"/>
                  </a:lnTo>
                  <a:lnTo>
                    <a:pt x="2616" y="11815"/>
                  </a:lnTo>
                  <a:lnTo>
                    <a:pt x="2616" y="2458"/>
                  </a:lnTo>
                  <a:close/>
                  <a:moveTo>
                    <a:pt x="11815" y="9074"/>
                  </a:moveTo>
                  <a:lnTo>
                    <a:pt x="11815" y="11815"/>
                  </a:lnTo>
                  <a:lnTo>
                    <a:pt x="10839" y="11815"/>
                  </a:lnTo>
                  <a:lnTo>
                    <a:pt x="10839" y="9074"/>
                  </a:lnTo>
                  <a:close/>
                  <a:moveTo>
                    <a:pt x="2994" y="0"/>
                  </a:moveTo>
                  <a:cubicBezTo>
                    <a:pt x="2773" y="0"/>
                    <a:pt x="2616" y="190"/>
                    <a:pt x="2616" y="410"/>
                  </a:cubicBezTo>
                  <a:lnTo>
                    <a:pt x="2616" y="1670"/>
                  </a:lnTo>
                  <a:lnTo>
                    <a:pt x="2206" y="1670"/>
                  </a:lnTo>
                  <a:cubicBezTo>
                    <a:pt x="1986" y="1670"/>
                    <a:pt x="1765" y="1859"/>
                    <a:pt x="1765" y="2080"/>
                  </a:cubicBezTo>
                  <a:lnTo>
                    <a:pt x="1765" y="8318"/>
                  </a:lnTo>
                  <a:lnTo>
                    <a:pt x="410" y="8318"/>
                  </a:lnTo>
                  <a:cubicBezTo>
                    <a:pt x="158" y="8318"/>
                    <a:pt x="1" y="8507"/>
                    <a:pt x="1" y="8727"/>
                  </a:cubicBezTo>
                  <a:lnTo>
                    <a:pt x="1" y="12319"/>
                  </a:lnTo>
                  <a:cubicBezTo>
                    <a:pt x="1" y="12571"/>
                    <a:pt x="190" y="12760"/>
                    <a:pt x="410" y="12760"/>
                  </a:cubicBezTo>
                  <a:lnTo>
                    <a:pt x="12256" y="12760"/>
                  </a:lnTo>
                  <a:cubicBezTo>
                    <a:pt x="12477" y="12760"/>
                    <a:pt x="12634" y="12571"/>
                    <a:pt x="12634" y="12319"/>
                  </a:cubicBezTo>
                  <a:lnTo>
                    <a:pt x="12634" y="8664"/>
                  </a:lnTo>
                  <a:cubicBezTo>
                    <a:pt x="12634" y="8444"/>
                    <a:pt x="12445" y="8223"/>
                    <a:pt x="12225" y="8223"/>
                  </a:cubicBezTo>
                  <a:lnTo>
                    <a:pt x="10839" y="8223"/>
                  </a:lnTo>
                  <a:lnTo>
                    <a:pt x="10839" y="2017"/>
                  </a:lnTo>
                  <a:cubicBezTo>
                    <a:pt x="10839" y="1765"/>
                    <a:pt x="10650" y="1576"/>
                    <a:pt x="10429" y="1576"/>
                  </a:cubicBezTo>
                  <a:lnTo>
                    <a:pt x="10019" y="1576"/>
                  </a:lnTo>
                  <a:lnTo>
                    <a:pt x="10019" y="410"/>
                  </a:lnTo>
                  <a:cubicBezTo>
                    <a:pt x="10019" y="158"/>
                    <a:pt x="9799" y="0"/>
                    <a:pt x="9610"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10046" name="Google Shape;10046;p111"/>
          <p:cNvGrpSpPr/>
          <p:nvPr/>
        </p:nvGrpSpPr>
        <p:grpSpPr>
          <a:xfrm>
            <a:off x="3495747" y="2055761"/>
            <a:ext cx="506557" cy="488051"/>
            <a:chOff x="-63665750" y="1914325"/>
            <a:chExt cx="328450" cy="316450"/>
          </a:xfrm>
        </p:grpSpPr>
        <p:sp>
          <p:nvSpPr>
            <p:cNvPr id="10047" name="Google Shape;10047;p111"/>
            <p:cNvSpPr/>
            <p:nvPr/>
          </p:nvSpPr>
          <p:spPr>
            <a:xfrm>
              <a:off x="-63665750" y="1914325"/>
              <a:ext cx="328450" cy="316450"/>
            </a:xfrm>
            <a:custGeom>
              <a:avLst/>
              <a:gdLst/>
              <a:ahLst/>
              <a:cxnLst/>
              <a:rect l="l" t="t" r="r" b="b"/>
              <a:pathLst>
                <a:path w="13138" h="12658" extrusionOk="0">
                  <a:moveTo>
                    <a:pt x="8144" y="835"/>
                  </a:moveTo>
                  <a:cubicBezTo>
                    <a:pt x="9097" y="835"/>
                    <a:pt x="10050" y="1197"/>
                    <a:pt x="10775" y="1922"/>
                  </a:cubicBezTo>
                  <a:cubicBezTo>
                    <a:pt x="12256" y="3371"/>
                    <a:pt x="12256" y="5734"/>
                    <a:pt x="10775" y="7183"/>
                  </a:cubicBezTo>
                  <a:cubicBezTo>
                    <a:pt x="10050" y="7908"/>
                    <a:pt x="9097" y="8270"/>
                    <a:pt x="8144" y="8270"/>
                  </a:cubicBezTo>
                  <a:cubicBezTo>
                    <a:pt x="7191" y="8270"/>
                    <a:pt x="6238" y="7908"/>
                    <a:pt x="5513" y="7183"/>
                  </a:cubicBezTo>
                  <a:cubicBezTo>
                    <a:pt x="4064" y="5734"/>
                    <a:pt x="4064" y="3371"/>
                    <a:pt x="5513" y="1922"/>
                  </a:cubicBezTo>
                  <a:cubicBezTo>
                    <a:pt x="6238" y="1197"/>
                    <a:pt x="7191" y="835"/>
                    <a:pt x="8144" y="835"/>
                  </a:cubicBezTo>
                  <a:close/>
                  <a:moveTo>
                    <a:pt x="3466" y="8632"/>
                  </a:moveTo>
                  <a:lnTo>
                    <a:pt x="4064" y="9231"/>
                  </a:lnTo>
                  <a:lnTo>
                    <a:pt x="1607" y="11688"/>
                  </a:lnTo>
                  <a:lnTo>
                    <a:pt x="1008" y="11090"/>
                  </a:lnTo>
                  <a:lnTo>
                    <a:pt x="3466" y="8632"/>
                  </a:lnTo>
                  <a:close/>
                  <a:moveTo>
                    <a:pt x="8172" y="0"/>
                  </a:moveTo>
                  <a:cubicBezTo>
                    <a:pt x="7010" y="0"/>
                    <a:pt x="5844" y="441"/>
                    <a:pt x="4946" y="1323"/>
                  </a:cubicBezTo>
                  <a:cubicBezTo>
                    <a:pt x="3277" y="3024"/>
                    <a:pt x="3182" y="5671"/>
                    <a:pt x="4694" y="7467"/>
                  </a:cubicBezTo>
                  <a:lnTo>
                    <a:pt x="4096" y="8065"/>
                  </a:lnTo>
                  <a:lnTo>
                    <a:pt x="3214" y="7183"/>
                  </a:lnTo>
                  <a:cubicBezTo>
                    <a:pt x="3151" y="7104"/>
                    <a:pt x="3048" y="7065"/>
                    <a:pt x="2942" y="7065"/>
                  </a:cubicBezTo>
                  <a:cubicBezTo>
                    <a:pt x="2836" y="7065"/>
                    <a:pt x="2725" y="7104"/>
                    <a:pt x="2646" y="7183"/>
                  </a:cubicBezTo>
                  <a:cubicBezTo>
                    <a:pt x="2489" y="7341"/>
                    <a:pt x="2489" y="7624"/>
                    <a:pt x="2646" y="7782"/>
                  </a:cubicBezTo>
                  <a:lnTo>
                    <a:pt x="2899" y="8065"/>
                  </a:lnTo>
                  <a:lnTo>
                    <a:pt x="158" y="10806"/>
                  </a:lnTo>
                  <a:cubicBezTo>
                    <a:pt x="0" y="10964"/>
                    <a:pt x="0" y="11247"/>
                    <a:pt x="158" y="11405"/>
                  </a:cubicBezTo>
                  <a:lnTo>
                    <a:pt x="1292" y="12539"/>
                  </a:lnTo>
                  <a:cubicBezTo>
                    <a:pt x="1371" y="12618"/>
                    <a:pt x="1481" y="12657"/>
                    <a:pt x="1591" y="12657"/>
                  </a:cubicBezTo>
                  <a:cubicBezTo>
                    <a:pt x="1701" y="12657"/>
                    <a:pt x="1812" y="12618"/>
                    <a:pt x="1890" y="12539"/>
                  </a:cubicBezTo>
                  <a:lnTo>
                    <a:pt x="4631" y="9798"/>
                  </a:lnTo>
                  <a:lnTo>
                    <a:pt x="4915" y="10050"/>
                  </a:lnTo>
                  <a:cubicBezTo>
                    <a:pt x="4994" y="10129"/>
                    <a:pt x="5104" y="10168"/>
                    <a:pt x="5214" y="10168"/>
                  </a:cubicBezTo>
                  <a:cubicBezTo>
                    <a:pt x="5324" y="10168"/>
                    <a:pt x="5435" y="10129"/>
                    <a:pt x="5513" y="10050"/>
                  </a:cubicBezTo>
                  <a:cubicBezTo>
                    <a:pt x="5671" y="9893"/>
                    <a:pt x="5671" y="9640"/>
                    <a:pt x="5513" y="9483"/>
                  </a:cubicBezTo>
                  <a:lnTo>
                    <a:pt x="4631" y="8601"/>
                  </a:lnTo>
                  <a:lnTo>
                    <a:pt x="5230" y="8034"/>
                  </a:lnTo>
                  <a:cubicBezTo>
                    <a:pt x="6059" y="8730"/>
                    <a:pt x="7090" y="9078"/>
                    <a:pt x="8127" y="9078"/>
                  </a:cubicBezTo>
                  <a:cubicBezTo>
                    <a:pt x="9296" y="9078"/>
                    <a:pt x="10472" y="8635"/>
                    <a:pt x="11373" y="7750"/>
                  </a:cubicBezTo>
                  <a:cubicBezTo>
                    <a:pt x="13138" y="5986"/>
                    <a:pt x="13138" y="3087"/>
                    <a:pt x="11373" y="1323"/>
                  </a:cubicBezTo>
                  <a:cubicBezTo>
                    <a:pt x="10491" y="441"/>
                    <a:pt x="9333" y="0"/>
                    <a:pt x="8172"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048" name="Google Shape;10048;p111"/>
            <p:cNvSpPr/>
            <p:nvPr/>
          </p:nvSpPr>
          <p:spPr>
            <a:xfrm>
              <a:off x="-63524775" y="1955275"/>
              <a:ext cx="123675" cy="134700"/>
            </a:xfrm>
            <a:custGeom>
              <a:avLst/>
              <a:gdLst/>
              <a:ahLst/>
              <a:cxnLst/>
              <a:rect l="l" t="t" r="r" b="b"/>
              <a:pathLst>
                <a:path w="4947" h="5388" extrusionOk="0">
                  <a:moveTo>
                    <a:pt x="2458" y="882"/>
                  </a:moveTo>
                  <a:cubicBezTo>
                    <a:pt x="2930" y="882"/>
                    <a:pt x="3308" y="1229"/>
                    <a:pt x="3308" y="1702"/>
                  </a:cubicBezTo>
                  <a:cubicBezTo>
                    <a:pt x="3308" y="2174"/>
                    <a:pt x="2962" y="2521"/>
                    <a:pt x="2458" y="2521"/>
                  </a:cubicBezTo>
                  <a:cubicBezTo>
                    <a:pt x="1985" y="2521"/>
                    <a:pt x="1639" y="2174"/>
                    <a:pt x="1639" y="1702"/>
                  </a:cubicBezTo>
                  <a:cubicBezTo>
                    <a:pt x="1639" y="1229"/>
                    <a:pt x="2048" y="882"/>
                    <a:pt x="2458" y="882"/>
                  </a:cubicBezTo>
                  <a:close/>
                  <a:moveTo>
                    <a:pt x="2458" y="3340"/>
                  </a:moveTo>
                  <a:cubicBezTo>
                    <a:pt x="3245" y="3340"/>
                    <a:pt x="3876" y="3875"/>
                    <a:pt x="4096" y="4600"/>
                  </a:cubicBezTo>
                  <a:lnTo>
                    <a:pt x="883" y="4600"/>
                  </a:lnTo>
                  <a:cubicBezTo>
                    <a:pt x="1040" y="3875"/>
                    <a:pt x="1733" y="3340"/>
                    <a:pt x="2458" y="3340"/>
                  </a:cubicBezTo>
                  <a:close/>
                  <a:moveTo>
                    <a:pt x="2458" y="0"/>
                  </a:moveTo>
                  <a:cubicBezTo>
                    <a:pt x="1576" y="0"/>
                    <a:pt x="820" y="756"/>
                    <a:pt x="820" y="1670"/>
                  </a:cubicBezTo>
                  <a:cubicBezTo>
                    <a:pt x="820" y="2080"/>
                    <a:pt x="977" y="2489"/>
                    <a:pt x="1292" y="2804"/>
                  </a:cubicBezTo>
                  <a:cubicBezTo>
                    <a:pt x="536" y="3245"/>
                    <a:pt x="0" y="4033"/>
                    <a:pt x="0" y="4978"/>
                  </a:cubicBezTo>
                  <a:cubicBezTo>
                    <a:pt x="0" y="5230"/>
                    <a:pt x="189" y="5388"/>
                    <a:pt x="410" y="5388"/>
                  </a:cubicBezTo>
                  <a:lnTo>
                    <a:pt x="4569" y="5388"/>
                  </a:lnTo>
                  <a:cubicBezTo>
                    <a:pt x="4789" y="5388"/>
                    <a:pt x="4947" y="5199"/>
                    <a:pt x="4947" y="4978"/>
                  </a:cubicBezTo>
                  <a:cubicBezTo>
                    <a:pt x="4947" y="4033"/>
                    <a:pt x="4443" y="3245"/>
                    <a:pt x="3655" y="2804"/>
                  </a:cubicBezTo>
                  <a:cubicBezTo>
                    <a:pt x="3939" y="2489"/>
                    <a:pt x="4128" y="2080"/>
                    <a:pt x="4128" y="1670"/>
                  </a:cubicBezTo>
                  <a:cubicBezTo>
                    <a:pt x="4128" y="756"/>
                    <a:pt x="3371" y="0"/>
                    <a:pt x="2458"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10049" name="Google Shape;10049;p111"/>
          <p:cNvGrpSpPr/>
          <p:nvPr/>
        </p:nvGrpSpPr>
        <p:grpSpPr>
          <a:xfrm>
            <a:off x="3502420" y="2694487"/>
            <a:ext cx="493217" cy="491405"/>
            <a:chOff x="-63666550" y="2278975"/>
            <a:chExt cx="319800" cy="318625"/>
          </a:xfrm>
        </p:grpSpPr>
        <p:sp>
          <p:nvSpPr>
            <p:cNvPr id="10050" name="Google Shape;10050;p111"/>
            <p:cNvSpPr/>
            <p:nvPr/>
          </p:nvSpPr>
          <p:spPr>
            <a:xfrm>
              <a:off x="-63481450" y="2309700"/>
              <a:ext cx="62225" cy="146525"/>
            </a:xfrm>
            <a:custGeom>
              <a:avLst/>
              <a:gdLst/>
              <a:ahLst/>
              <a:cxnLst/>
              <a:rect l="l" t="t" r="r" b="b"/>
              <a:pathLst>
                <a:path w="2489" h="5861" extrusionOk="0">
                  <a:moveTo>
                    <a:pt x="1229" y="0"/>
                  </a:moveTo>
                  <a:cubicBezTo>
                    <a:pt x="977" y="0"/>
                    <a:pt x="819" y="189"/>
                    <a:pt x="819" y="441"/>
                  </a:cubicBezTo>
                  <a:lnTo>
                    <a:pt x="819" y="694"/>
                  </a:lnTo>
                  <a:cubicBezTo>
                    <a:pt x="347" y="883"/>
                    <a:pt x="0" y="1324"/>
                    <a:pt x="0" y="1891"/>
                  </a:cubicBezTo>
                  <a:cubicBezTo>
                    <a:pt x="0" y="2552"/>
                    <a:pt x="536" y="2962"/>
                    <a:pt x="977" y="3277"/>
                  </a:cubicBezTo>
                  <a:cubicBezTo>
                    <a:pt x="1292" y="3497"/>
                    <a:pt x="1638" y="3749"/>
                    <a:pt x="1638" y="3970"/>
                  </a:cubicBezTo>
                  <a:cubicBezTo>
                    <a:pt x="1607" y="4254"/>
                    <a:pt x="1418" y="4411"/>
                    <a:pt x="1197" y="4411"/>
                  </a:cubicBezTo>
                  <a:cubicBezTo>
                    <a:pt x="977" y="4411"/>
                    <a:pt x="819" y="4222"/>
                    <a:pt x="819" y="3970"/>
                  </a:cubicBezTo>
                  <a:cubicBezTo>
                    <a:pt x="819" y="3749"/>
                    <a:pt x="630" y="3560"/>
                    <a:pt x="410" y="3560"/>
                  </a:cubicBezTo>
                  <a:cubicBezTo>
                    <a:pt x="189" y="3560"/>
                    <a:pt x="0" y="3749"/>
                    <a:pt x="0" y="3970"/>
                  </a:cubicBezTo>
                  <a:cubicBezTo>
                    <a:pt x="0" y="4537"/>
                    <a:pt x="347" y="4978"/>
                    <a:pt x="819" y="5167"/>
                  </a:cubicBezTo>
                  <a:lnTo>
                    <a:pt x="819" y="5419"/>
                  </a:lnTo>
                  <a:cubicBezTo>
                    <a:pt x="819" y="5671"/>
                    <a:pt x="1008" y="5860"/>
                    <a:pt x="1197" y="5860"/>
                  </a:cubicBezTo>
                  <a:cubicBezTo>
                    <a:pt x="1449" y="5860"/>
                    <a:pt x="1638" y="5671"/>
                    <a:pt x="1638" y="5419"/>
                  </a:cubicBezTo>
                  <a:lnTo>
                    <a:pt x="1638" y="5167"/>
                  </a:lnTo>
                  <a:cubicBezTo>
                    <a:pt x="2111" y="5010"/>
                    <a:pt x="2489" y="4537"/>
                    <a:pt x="2489" y="3970"/>
                  </a:cubicBezTo>
                  <a:cubicBezTo>
                    <a:pt x="2489" y="3308"/>
                    <a:pt x="1922" y="2930"/>
                    <a:pt x="1481" y="2615"/>
                  </a:cubicBezTo>
                  <a:cubicBezTo>
                    <a:pt x="1166" y="2363"/>
                    <a:pt x="819" y="2143"/>
                    <a:pt x="819" y="1891"/>
                  </a:cubicBezTo>
                  <a:cubicBezTo>
                    <a:pt x="819" y="1670"/>
                    <a:pt x="1008" y="1450"/>
                    <a:pt x="1229" y="1450"/>
                  </a:cubicBezTo>
                  <a:cubicBezTo>
                    <a:pt x="1449" y="1450"/>
                    <a:pt x="1638" y="1670"/>
                    <a:pt x="1638" y="1891"/>
                  </a:cubicBezTo>
                  <a:cubicBezTo>
                    <a:pt x="1638" y="2111"/>
                    <a:pt x="1859" y="2332"/>
                    <a:pt x="2048" y="2332"/>
                  </a:cubicBezTo>
                  <a:cubicBezTo>
                    <a:pt x="2269" y="2332"/>
                    <a:pt x="2489" y="2111"/>
                    <a:pt x="2489" y="1891"/>
                  </a:cubicBezTo>
                  <a:cubicBezTo>
                    <a:pt x="2489" y="1324"/>
                    <a:pt x="2111" y="914"/>
                    <a:pt x="1638" y="694"/>
                  </a:cubicBezTo>
                  <a:lnTo>
                    <a:pt x="1638" y="441"/>
                  </a:lnTo>
                  <a:cubicBezTo>
                    <a:pt x="1638" y="189"/>
                    <a:pt x="1449" y="0"/>
                    <a:pt x="1229"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051" name="Google Shape;10051;p111"/>
            <p:cNvSpPr/>
            <p:nvPr/>
          </p:nvSpPr>
          <p:spPr>
            <a:xfrm>
              <a:off x="-63666550" y="2278975"/>
              <a:ext cx="319800" cy="318625"/>
            </a:xfrm>
            <a:custGeom>
              <a:avLst/>
              <a:gdLst/>
              <a:ahLst/>
              <a:cxnLst/>
              <a:rect l="l" t="t" r="r" b="b"/>
              <a:pathLst>
                <a:path w="12792" h="12745" extrusionOk="0">
                  <a:moveTo>
                    <a:pt x="8601" y="914"/>
                  </a:moveTo>
                  <a:cubicBezTo>
                    <a:pt x="10429" y="914"/>
                    <a:pt x="11909" y="2427"/>
                    <a:pt x="11909" y="4222"/>
                  </a:cubicBezTo>
                  <a:cubicBezTo>
                    <a:pt x="11909" y="6050"/>
                    <a:pt x="10429" y="7530"/>
                    <a:pt x="8601" y="7530"/>
                  </a:cubicBezTo>
                  <a:cubicBezTo>
                    <a:pt x="7971" y="7530"/>
                    <a:pt x="7404" y="7373"/>
                    <a:pt x="6869" y="7026"/>
                  </a:cubicBezTo>
                  <a:lnTo>
                    <a:pt x="7089" y="6270"/>
                  </a:lnTo>
                  <a:cubicBezTo>
                    <a:pt x="7144" y="5997"/>
                    <a:pt x="6938" y="5748"/>
                    <a:pt x="6677" y="5748"/>
                  </a:cubicBezTo>
                  <a:cubicBezTo>
                    <a:pt x="6637" y="5748"/>
                    <a:pt x="6596" y="5754"/>
                    <a:pt x="6554" y="5766"/>
                  </a:cubicBezTo>
                  <a:lnTo>
                    <a:pt x="5829" y="5955"/>
                  </a:lnTo>
                  <a:cubicBezTo>
                    <a:pt x="5514" y="5451"/>
                    <a:pt x="5293" y="4852"/>
                    <a:pt x="5293" y="4222"/>
                  </a:cubicBezTo>
                  <a:cubicBezTo>
                    <a:pt x="5293" y="2364"/>
                    <a:pt x="6774" y="914"/>
                    <a:pt x="8601" y="914"/>
                  </a:cubicBezTo>
                  <a:close/>
                  <a:moveTo>
                    <a:pt x="6050" y="6711"/>
                  </a:moveTo>
                  <a:lnTo>
                    <a:pt x="5041" y="10303"/>
                  </a:lnTo>
                  <a:lnTo>
                    <a:pt x="4789" y="9421"/>
                  </a:lnTo>
                  <a:cubicBezTo>
                    <a:pt x="4749" y="9221"/>
                    <a:pt x="4571" y="9098"/>
                    <a:pt x="4389" y="9098"/>
                  </a:cubicBezTo>
                  <a:cubicBezTo>
                    <a:pt x="4284" y="9098"/>
                    <a:pt x="4177" y="9139"/>
                    <a:pt x="4096" y="9232"/>
                  </a:cubicBezTo>
                  <a:lnTo>
                    <a:pt x="1418" y="11910"/>
                  </a:lnTo>
                  <a:lnTo>
                    <a:pt x="820" y="11311"/>
                  </a:lnTo>
                  <a:lnTo>
                    <a:pt x="3529" y="8665"/>
                  </a:lnTo>
                  <a:cubicBezTo>
                    <a:pt x="3781" y="8444"/>
                    <a:pt x="3655" y="8034"/>
                    <a:pt x="3340" y="7971"/>
                  </a:cubicBezTo>
                  <a:lnTo>
                    <a:pt x="2458" y="7719"/>
                  </a:lnTo>
                  <a:lnTo>
                    <a:pt x="6050" y="6711"/>
                  </a:lnTo>
                  <a:close/>
                  <a:moveTo>
                    <a:pt x="8664" y="1"/>
                  </a:moveTo>
                  <a:cubicBezTo>
                    <a:pt x="6365" y="1"/>
                    <a:pt x="4506" y="1860"/>
                    <a:pt x="4506" y="4159"/>
                  </a:cubicBezTo>
                  <a:cubicBezTo>
                    <a:pt x="4506" y="4852"/>
                    <a:pt x="4663" y="5514"/>
                    <a:pt x="5041" y="6113"/>
                  </a:cubicBezTo>
                  <a:lnTo>
                    <a:pt x="820" y="7341"/>
                  </a:lnTo>
                  <a:cubicBezTo>
                    <a:pt x="631" y="7373"/>
                    <a:pt x="505" y="7562"/>
                    <a:pt x="505" y="7719"/>
                  </a:cubicBezTo>
                  <a:cubicBezTo>
                    <a:pt x="505" y="7940"/>
                    <a:pt x="631" y="8097"/>
                    <a:pt x="820" y="8129"/>
                  </a:cubicBezTo>
                  <a:lnTo>
                    <a:pt x="2458" y="8570"/>
                  </a:lnTo>
                  <a:lnTo>
                    <a:pt x="316" y="10712"/>
                  </a:lnTo>
                  <a:cubicBezTo>
                    <a:pt x="1" y="11027"/>
                    <a:pt x="1" y="11563"/>
                    <a:pt x="316" y="11910"/>
                  </a:cubicBezTo>
                  <a:lnTo>
                    <a:pt x="883" y="12508"/>
                  </a:lnTo>
                  <a:cubicBezTo>
                    <a:pt x="1040" y="12666"/>
                    <a:pt x="1253" y="12744"/>
                    <a:pt x="1469" y="12744"/>
                  </a:cubicBezTo>
                  <a:cubicBezTo>
                    <a:pt x="1686" y="12744"/>
                    <a:pt x="1907" y="12666"/>
                    <a:pt x="2080" y="12508"/>
                  </a:cubicBezTo>
                  <a:lnTo>
                    <a:pt x="4254" y="10334"/>
                  </a:lnTo>
                  <a:lnTo>
                    <a:pt x="4663" y="11973"/>
                  </a:lnTo>
                  <a:cubicBezTo>
                    <a:pt x="4727" y="12181"/>
                    <a:pt x="4906" y="12292"/>
                    <a:pt x="5078" y="12292"/>
                  </a:cubicBezTo>
                  <a:cubicBezTo>
                    <a:pt x="5244" y="12292"/>
                    <a:pt x="5405" y="12189"/>
                    <a:pt x="5451" y="11973"/>
                  </a:cubicBezTo>
                  <a:lnTo>
                    <a:pt x="6680" y="7782"/>
                  </a:lnTo>
                  <a:cubicBezTo>
                    <a:pt x="7278" y="8097"/>
                    <a:pt x="7940" y="8286"/>
                    <a:pt x="8664" y="8286"/>
                  </a:cubicBezTo>
                  <a:cubicBezTo>
                    <a:pt x="10933" y="8286"/>
                    <a:pt x="12792" y="6428"/>
                    <a:pt x="12792" y="4159"/>
                  </a:cubicBezTo>
                  <a:cubicBezTo>
                    <a:pt x="12792" y="1860"/>
                    <a:pt x="10933" y="1"/>
                    <a:pt x="8664"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10052" name="Google Shape;10052;p111"/>
          <p:cNvGrpSpPr/>
          <p:nvPr/>
        </p:nvGrpSpPr>
        <p:grpSpPr>
          <a:xfrm>
            <a:off x="3498775" y="3315854"/>
            <a:ext cx="500504" cy="489863"/>
            <a:chOff x="-63669700" y="2646600"/>
            <a:chExt cx="324525" cy="317625"/>
          </a:xfrm>
        </p:grpSpPr>
        <p:sp>
          <p:nvSpPr>
            <p:cNvPr id="10053" name="Google Shape;10053;p111"/>
            <p:cNvSpPr/>
            <p:nvPr/>
          </p:nvSpPr>
          <p:spPr>
            <a:xfrm>
              <a:off x="-63669700" y="2646600"/>
              <a:ext cx="324525" cy="317550"/>
            </a:xfrm>
            <a:custGeom>
              <a:avLst/>
              <a:gdLst/>
              <a:ahLst/>
              <a:cxnLst/>
              <a:rect l="l" t="t" r="r" b="b"/>
              <a:pathLst>
                <a:path w="12981" h="12702" extrusionOk="0">
                  <a:moveTo>
                    <a:pt x="6947" y="867"/>
                  </a:moveTo>
                  <a:cubicBezTo>
                    <a:pt x="7058" y="867"/>
                    <a:pt x="7168" y="906"/>
                    <a:pt x="7247" y="985"/>
                  </a:cubicBezTo>
                  <a:cubicBezTo>
                    <a:pt x="7404" y="1143"/>
                    <a:pt x="7404" y="1426"/>
                    <a:pt x="7247" y="1584"/>
                  </a:cubicBezTo>
                  <a:lnTo>
                    <a:pt x="5199" y="3632"/>
                  </a:lnTo>
                  <a:cubicBezTo>
                    <a:pt x="5120" y="3710"/>
                    <a:pt x="5010" y="3750"/>
                    <a:pt x="4900" y="3750"/>
                  </a:cubicBezTo>
                  <a:cubicBezTo>
                    <a:pt x="4789" y="3750"/>
                    <a:pt x="4679" y="3710"/>
                    <a:pt x="4600" y="3632"/>
                  </a:cubicBezTo>
                  <a:cubicBezTo>
                    <a:pt x="4443" y="3474"/>
                    <a:pt x="4443" y="3190"/>
                    <a:pt x="4600" y="3033"/>
                  </a:cubicBezTo>
                  <a:lnTo>
                    <a:pt x="6648" y="985"/>
                  </a:lnTo>
                  <a:cubicBezTo>
                    <a:pt x="6727" y="906"/>
                    <a:pt x="6837" y="867"/>
                    <a:pt x="6947" y="867"/>
                  </a:cubicBezTo>
                  <a:close/>
                  <a:moveTo>
                    <a:pt x="7530" y="2434"/>
                  </a:moveTo>
                  <a:lnTo>
                    <a:pt x="10429" y="5364"/>
                  </a:lnTo>
                  <a:lnTo>
                    <a:pt x="8979" y="6814"/>
                  </a:lnTo>
                  <a:lnTo>
                    <a:pt x="6050" y="3884"/>
                  </a:lnTo>
                  <a:lnTo>
                    <a:pt x="7530" y="2434"/>
                  </a:lnTo>
                  <a:close/>
                  <a:moveTo>
                    <a:pt x="6648" y="5679"/>
                  </a:moveTo>
                  <a:lnTo>
                    <a:pt x="7247" y="6246"/>
                  </a:lnTo>
                  <a:lnTo>
                    <a:pt x="5482" y="8042"/>
                  </a:lnTo>
                  <a:lnTo>
                    <a:pt x="4884" y="7444"/>
                  </a:lnTo>
                  <a:lnTo>
                    <a:pt x="6648" y="5679"/>
                  </a:lnTo>
                  <a:close/>
                  <a:moveTo>
                    <a:pt x="11642" y="5561"/>
                  </a:moveTo>
                  <a:cubicBezTo>
                    <a:pt x="11752" y="5561"/>
                    <a:pt x="11862" y="5601"/>
                    <a:pt x="11941" y="5679"/>
                  </a:cubicBezTo>
                  <a:cubicBezTo>
                    <a:pt x="12098" y="5837"/>
                    <a:pt x="12098" y="6089"/>
                    <a:pt x="11941" y="6246"/>
                  </a:cubicBezTo>
                  <a:lnTo>
                    <a:pt x="9893" y="8294"/>
                  </a:lnTo>
                  <a:cubicBezTo>
                    <a:pt x="9814" y="8373"/>
                    <a:pt x="9704" y="8412"/>
                    <a:pt x="9594" y="8412"/>
                  </a:cubicBezTo>
                  <a:cubicBezTo>
                    <a:pt x="9484" y="8412"/>
                    <a:pt x="9373" y="8373"/>
                    <a:pt x="9295" y="8294"/>
                  </a:cubicBezTo>
                  <a:cubicBezTo>
                    <a:pt x="9137" y="8137"/>
                    <a:pt x="9137" y="7885"/>
                    <a:pt x="9295" y="7727"/>
                  </a:cubicBezTo>
                  <a:lnTo>
                    <a:pt x="11342" y="5679"/>
                  </a:lnTo>
                  <a:cubicBezTo>
                    <a:pt x="11421" y="5601"/>
                    <a:pt x="11531" y="5561"/>
                    <a:pt x="11642" y="5561"/>
                  </a:cubicBezTo>
                  <a:close/>
                  <a:moveTo>
                    <a:pt x="4065" y="7664"/>
                  </a:moveTo>
                  <a:lnTo>
                    <a:pt x="5230" y="8861"/>
                  </a:lnTo>
                  <a:lnTo>
                    <a:pt x="2426" y="11665"/>
                  </a:lnTo>
                  <a:cubicBezTo>
                    <a:pt x="2269" y="11823"/>
                    <a:pt x="2064" y="11902"/>
                    <a:pt x="1855" y="11902"/>
                  </a:cubicBezTo>
                  <a:cubicBezTo>
                    <a:pt x="1647" y="11902"/>
                    <a:pt x="1434" y="11823"/>
                    <a:pt x="1261" y="11665"/>
                  </a:cubicBezTo>
                  <a:cubicBezTo>
                    <a:pt x="914" y="11350"/>
                    <a:pt x="914" y="10783"/>
                    <a:pt x="1261" y="10468"/>
                  </a:cubicBezTo>
                  <a:lnTo>
                    <a:pt x="4065" y="7664"/>
                  </a:lnTo>
                  <a:close/>
                  <a:moveTo>
                    <a:pt x="6971" y="1"/>
                  </a:moveTo>
                  <a:cubicBezTo>
                    <a:pt x="6648" y="1"/>
                    <a:pt x="6317" y="119"/>
                    <a:pt x="6050" y="355"/>
                  </a:cubicBezTo>
                  <a:lnTo>
                    <a:pt x="4002" y="2403"/>
                  </a:lnTo>
                  <a:cubicBezTo>
                    <a:pt x="3529" y="2875"/>
                    <a:pt x="3529" y="3663"/>
                    <a:pt x="4002" y="4167"/>
                  </a:cubicBezTo>
                  <a:cubicBezTo>
                    <a:pt x="4258" y="4424"/>
                    <a:pt x="4564" y="4544"/>
                    <a:pt x="4874" y="4544"/>
                  </a:cubicBezTo>
                  <a:cubicBezTo>
                    <a:pt x="5058" y="4544"/>
                    <a:pt x="5243" y="4501"/>
                    <a:pt x="5419" y="4419"/>
                  </a:cubicBezTo>
                  <a:lnTo>
                    <a:pt x="6081" y="5018"/>
                  </a:lnTo>
                  <a:lnTo>
                    <a:pt x="4285" y="6814"/>
                  </a:lnTo>
                  <a:cubicBezTo>
                    <a:pt x="4206" y="6735"/>
                    <a:pt x="4096" y="6695"/>
                    <a:pt x="3990" y="6695"/>
                  </a:cubicBezTo>
                  <a:cubicBezTo>
                    <a:pt x="3884" y="6695"/>
                    <a:pt x="3781" y="6735"/>
                    <a:pt x="3718" y="6814"/>
                  </a:cubicBezTo>
                  <a:lnTo>
                    <a:pt x="631" y="9869"/>
                  </a:lnTo>
                  <a:cubicBezTo>
                    <a:pt x="1" y="10500"/>
                    <a:pt x="1" y="11571"/>
                    <a:pt x="631" y="12201"/>
                  </a:cubicBezTo>
                  <a:cubicBezTo>
                    <a:pt x="965" y="12536"/>
                    <a:pt x="1405" y="12701"/>
                    <a:pt x="1840" y="12701"/>
                  </a:cubicBezTo>
                  <a:cubicBezTo>
                    <a:pt x="2264" y="12701"/>
                    <a:pt x="2682" y="12544"/>
                    <a:pt x="2994" y="12232"/>
                  </a:cubicBezTo>
                  <a:lnTo>
                    <a:pt x="6050" y="9176"/>
                  </a:lnTo>
                  <a:cubicBezTo>
                    <a:pt x="6207" y="9019"/>
                    <a:pt x="6207" y="8735"/>
                    <a:pt x="6050" y="8578"/>
                  </a:cubicBezTo>
                  <a:lnTo>
                    <a:pt x="7845" y="6814"/>
                  </a:lnTo>
                  <a:lnTo>
                    <a:pt x="8475" y="7444"/>
                  </a:lnTo>
                  <a:cubicBezTo>
                    <a:pt x="8255" y="7853"/>
                    <a:pt x="8318" y="8452"/>
                    <a:pt x="8696" y="8861"/>
                  </a:cubicBezTo>
                  <a:cubicBezTo>
                    <a:pt x="8932" y="9098"/>
                    <a:pt x="9247" y="9216"/>
                    <a:pt x="9566" y="9216"/>
                  </a:cubicBezTo>
                  <a:cubicBezTo>
                    <a:pt x="9885" y="9216"/>
                    <a:pt x="10208" y="9098"/>
                    <a:pt x="10460" y="8861"/>
                  </a:cubicBezTo>
                  <a:lnTo>
                    <a:pt x="12508" y="6814"/>
                  </a:lnTo>
                  <a:cubicBezTo>
                    <a:pt x="12981" y="6341"/>
                    <a:pt x="12981" y="5553"/>
                    <a:pt x="12508" y="5018"/>
                  </a:cubicBezTo>
                  <a:cubicBezTo>
                    <a:pt x="12274" y="4784"/>
                    <a:pt x="11979" y="4670"/>
                    <a:pt x="11669" y="4670"/>
                  </a:cubicBezTo>
                  <a:cubicBezTo>
                    <a:pt x="11479" y="4670"/>
                    <a:pt x="11282" y="4713"/>
                    <a:pt x="11090" y="4797"/>
                  </a:cubicBezTo>
                  <a:lnTo>
                    <a:pt x="8066" y="1773"/>
                  </a:lnTo>
                  <a:cubicBezTo>
                    <a:pt x="8255" y="1332"/>
                    <a:pt x="8223" y="733"/>
                    <a:pt x="7845" y="355"/>
                  </a:cubicBezTo>
                  <a:cubicBezTo>
                    <a:pt x="7609" y="119"/>
                    <a:pt x="7294" y="1"/>
                    <a:pt x="6971"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054" name="Google Shape;10054;p111"/>
            <p:cNvSpPr/>
            <p:nvPr/>
          </p:nvSpPr>
          <p:spPr>
            <a:xfrm>
              <a:off x="-63532650" y="2901200"/>
              <a:ext cx="185900" cy="63025"/>
            </a:xfrm>
            <a:custGeom>
              <a:avLst/>
              <a:gdLst/>
              <a:ahLst/>
              <a:cxnLst/>
              <a:rect l="l" t="t" r="r" b="b"/>
              <a:pathLst>
                <a:path w="7436" h="2521" extrusionOk="0">
                  <a:moveTo>
                    <a:pt x="5356" y="851"/>
                  </a:moveTo>
                  <a:cubicBezTo>
                    <a:pt x="5577" y="851"/>
                    <a:pt x="5734" y="1040"/>
                    <a:pt x="5734" y="1261"/>
                  </a:cubicBezTo>
                  <a:lnTo>
                    <a:pt x="5734" y="1702"/>
                  </a:lnTo>
                  <a:lnTo>
                    <a:pt x="1607" y="1702"/>
                  </a:lnTo>
                  <a:lnTo>
                    <a:pt x="1607" y="1261"/>
                  </a:lnTo>
                  <a:cubicBezTo>
                    <a:pt x="1607" y="1040"/>
                    <a:pt x="1796" y="851"/>
                    <a:pt x="2048" y="851"/>
                  </a:cubicBezTo>
                  <a:close/>
                  <a:moveTo>
                    <a:pt x="2048" y="1"/>
                  </a:moveTo>
                  <a:cubicBezTo>
                    <a:pt x="1355" y="1"/>
                    <a:pt x="788" y="568"/>
                    <a:pt x="788" y="1261"/>
                  </a:cubicBezTo>
                  <a:lnTo>
                    <a:pt x="788" y="1702"/>
                  </a:lnTo>
                  <a:lnTo>
                    <a:pt x="378" y="1702"/>
                  </a:lnTo>
                  <a:cubicBezTo>
                    <a:pt x="158" y="1702"/>
                    <a:pt x="0" y="1891"/>
                    <a:pt x="0" y="2111"/>
                  </a:cubicBezTo>
                  <a:cubicBezTo>
                    <a:pt x="0" y="2332"/>
                    <a:pt x="189" y="2521"/>
                    <a:pt x="378" y="2521"/>
                  </a:cubicBezTo>
                  <a:lnTo>
                    <a:pt x="6995" y="2521"/>
                  </a:lnTo>
                  <a:cubicBezTo>
                    <a:pt x="7247" y="2521"/>
                    <a:pt x="7436" y="2332"/>
                    <a:pt x="7436" y="2111"/>
                  </a:cubicBezTo>
                  <a:cubicBezTo>
                    <a:pt x="7404" y="1891"/>
                    <a:pt x="7184" y="1702"/>
                    <a:pt x="6963" y="1702"/>
                  </a:cubicBezTo>
                  <a:lnTo>
                    <a:pt x="6553" y="1702"/>
                  </a:lnTo>
                  <a:lnTo>
                    <a:pt x="6553" y="1261"/>
                  </a:lnTo>
                  <a:cubicBezTo>
                    <a:pt x="6553" y="599"/>
                    <a:pt x="6018" y="1"/>
                    <a:pt x="5356"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10055" name="Google Shape;10055;p111"/>
          <p:cNvGrpSpPr/>
          <p:nvPr/>
        </p:nvGrpSpPr>
        <p:grpSpPr>
          <a:xfrm>
            <a:off x="1715149" y="3946957"/>
            <a:ext cx="488359" cy="488976"/>
            <a:chOff x="-61784125" y="1931250"/>
            <a:chExt cx="316650" cy="317050"/>
          </a:xfrm>
        </p:grpSpPr>
        <p:sp>
          <p:nvSpPr>
            <p:cNvPr id="10056" name="Google Shape;10056;p111"/>
            <p:cNvSpPr/>
            <p:nvPr/>
          </p:nvSpPr>
          <p:spPr>
            <a:xfrm>
              <a:off x="-61688025" y="1931250"/>
              <a:ext cx="124450" cy="134300"/>
            </a:xfrm>
            <a:custGeom>
              <a:avLst/>
              <a:gdLst/>
              <a:ahLst/>
              <a:cxnLst/>
              <a:rect l="l" t="t" r="r" b="b"/>
              <a:pathLst>
                <a:path w="4978" h="5372" extrusionOk="0">
                  <a:moveTo>
                    <a:pt x="2497" y="845"/>
                  </a:moveTo>
                  <a:cubicBezTo>
                    <a:pt x="2709" y="845"/>
                    <a:pt x="2922" y="922"/>
                    <a:pt x="3088" y="1087"/>
                  </a:cubicBezTo>
                  <a:cubicBezTo>
                    <a:pt x="3277" y="1276"/>
                    <a:pt x="3340" y="1591"/>
                    <a:pt x="3277" y="1906"/>
                  </a:cubicBezTo>
                  <a:cubicBezTo>
                    <a:pt x="3182" y="2190"/>
                    <a:pt x="2993" y="2410"/>
                    <a:pt x="2709" y="2442"/>
                  </a:cubicBezTo>
                  <a:cubicBezTo>
                    <a:pt x="2625" y="2467"/>
                    <a:pt x="2545" y="2479"/>
                    <a:pt x="2469" y="2479"/>
                  </a:cubicBezTo>
                  <a:cubicBezTo>
                    <a:pt x="2259" y="2479"/>
                    <a:pt x="2075" y="2391"/>
                    <a:pt x="1890" y="2253"/>
                  </a:cubicBezTo>
                  <a:cubicBezTo>
                    <a:pt x="1701" y="2032"/>
                    <a:pt x="1607" y="1717"/>
                    <a:pt x="1701" y="1434"/>
                  </a:cubicBezTo>
                  <a:cubicBezTo>
                    <a:pt x="1800" y="1059"/>
                    <a:pt x="2145" y="845"/>
                    <a:pt x="2497" y="845"/>
                  </a:cubicBezTo>
                  <a:close/>
                  <a:moveTo>
                    <a:pt x="2520" y="3324"/>
                  </a:moveTo>
                  <a:cubicBezTo>
                    <a:pt x="3277" y="3324"/>
                    <a:pt x="3907" y="3828"/>
                    <a:pt x="4096" y="4553"/>
                  </a:cubicBezTo>
                  <a:lnTo>
                    <a:pt x="914" y="4553"/>
                  </a:lnTo>
                  <a:cubicBezTo>
                    <a:pt x="1103" y="3828"/>
                    <a:pt x="1733" y="3324"/>
                    <a:pt x="2520" y="3324"/>
                  </a:cubicBezTo>
                  <a:close/>
                  <a:moveTo>
                    <a:pt x="2510" y="1"/>
                  </a:moveTo>
                  <a:cubicBezTo>
                    <a:pt x="1805" y="1"/>
                    <a:pt x="1113" y="455"/>
                    <a:pt x="914" y="1213"/>
                  </a:cubicBezTo>
                  <a:cubicBezTo>
                    <a:pt x="756" y="1780"/>
                    <a:pt x="914" y="2347"/>
                    <a:pt x="1292" y="2789"/>
                  </a:cubicBezTo>
                  <a:cubicBezTo>
                    <a:pt x="567" y="3198"/>
                    <a:pt x="0" y="3986"/>
                    <a:pt x="0" y="4931"/>
                  </a:cubicBezTo>
                  <a:cubicBezTo>
                    <a:pt x="0" y="5183"/>
                    <a:pt x="189" y="5372"/>
                    <a:pt x="441" y="5372"/>
                  </a:cubicBezTo>
                  <a:lnTo>
                    <a:pt x="4568" y="5372"/>
                  </a:lnTo>
                  <a:cubicBezTo>
                    <a:pt x="4820" y="5372"/>
                    <a:pt x="4978" y="5183"/>
                    <a:pt x="4978" y="4931"/>
                  </a:cubicBezTo>
                  <a:cubicBezTo>
                    <a:pt x="4978" y="3986"/>
                    <a:pt x="4442" y="3198"/>
                    <a:pt x="3718" y="2789"/>
                  </a:cubicBezTo>
                  <a:cubicBezTo>
                    <a:pt x="3907" y="2568"/>
                    <a:pt x="4033" y="2347"/>
                    <a:pt x="4096" y="2064"/>
                  </a:cubicBezTo>
                  <a:cubicBezTo>
                    <a:pt x="4253" y="1528"/>
                    <a:pt x="4096" y="930"/>
                    <a:pt x="3655" y="489"/>
                  </a:cubicBezTo>
                  <a:cubicBezTo>
                    <a:pt x="3331" y="153"/>
                    <a:pt x="2918" y="1"/>
                    <a:pt x="2510"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057" name="Google Shape;10057;p111"/>
            <p:cNvSpPr/>
            <p:nvPr/>
          </p:nvSpPr>
          <p:spPr>
            <a:xfrm>
              <a:off x="-61784125" y="2113325"/>
              <a:ext cx="124450" cy="134975"/>
            </a:xfrm>
            <a:custGeom>
              <a:avLst/>
              <a:gdLst/>
              <a:ahLst/>
              <a:cxnLst/>
              <a:rect l="l" t="t" r="r" b="b"/>
              <a:pathLst>
                <a:path w="4978" h="5399" extrusionOk="0">
                  <a:moveTo>
                    <a:pt x="2482" y="848"/>
                  </a:moveTo>
                  <a:cubicBezTo>
                    <a:pt x="2688" y="848"/>
                    <a:pt x="2895" y="921"/>
                    <a:pt x="3056" y="1082"/>
                  </a:cubicBezTo>
                  <a:cubicBezTo>
                    <a:pt x="3245" y="1271"/>
                    <a:pt x="3340" y="1586"/>
                    <a:pt x="3245" y="1901"/>
                  </a:cubicBezTo>
                  <a:cubicBezTo>
                    <a:pt x="3182" y="2185"/>
                    <a:pt x="2993" y="2437"/>
                    <a:pt x="2710" y="2468"/>
                  </a:cubicBezTo>
                  <a:cubicBezTo>
                    <a:pt x="2633" y="2483"/>
                    <a:pt x="2559" y="2491"/>
                    <a:pt x="2487" y="2491"/>
                  </a:cubicBezTo>
                  <a:cubicBezTo>
                    <a:pt x="2261" y="2491"/>
                    <a:pt x="2058" y="2415"/>
                    <a:pt x="1891" y="2248"/>
                  </a:cubicBezTo>
                  <a:cubicBezTo>
                    <a:pt x="1670" y="2059"/>
                    <a:pt x="1607" y="1743"/>
                    <a:pt x="1670" y="1428"/>
                  </a:cubicBezTo>
                  <a:cubicBezTo>
                    <a:pt x="1770" y="1068"/>
                    <a:pt x="2124" y="848"/>
                    <a:pt x="2482" y="848"/>
                  </a:cubicBezTo>
                  <a:close/>
                  <a:moveTo>
                    <a:pt x="2458" y="3319"/>
                  </a:moveTo>
                  <a:cubicBezTo>
                    <a:pt x="3245" y="3319"/>
                    <a:pt x="3907" y="3854"/>
                    <a:pt x="4096" y="4547"/>
                  </a:cubicBezTo>
                  <a:lnTo>
                    <a:pt x="883" y="4547"/>
                  </a:lnTo>
                  <a:cubicBezTo>
                    <a:pt x="1040" y="3886"/>
                    <a:pt x="1733" y="3319"/>
                    <a:pt x="2458" y="3319"/>
                  </a:cubicBezTo>
                  <a:close/>
                  <a:moveTo>
                    <a:pt x="2509" y="1"/>
                  </a:moveTo>
                  <a:cubicBezTo>
                    <a:pt x="1812" y="1"/>
                    <a:pt x="1143" y="437"/>
                    <a:pt x="946" y="1208"/>
                  </a:cubicBezTo>
                  <a:cubicBezTo>
                    <a:pt x="788" y="1806"/>
                    <a:pt x="946" y="2342"/>
                    <a:pt x="1324" y="2783"/>
                  </a:cubicBezTo>
                  <a:cubicBezTo>
                    <a:pt x="568" y="3224"/>
                    <a:pt x="32" y="4012"/>
                    <a:pt x="32" y="4957"/>
                  </a:cubicBezTo>
                  <a:cubicBezTo>
                    <a:pt x="0" y="5209"/>
                    <a:pt x="189" y="5398"/>
                    <a:pt x="410" y="5398"/>
                  </a:cubicBezTo>
                  <a:lnTo>
                    <a:pt x="4569" y="5398"/>
                  </a:lnTo>
                  <a:cubicBezTo>
                    <a:pt x="4789" y="5398"/>
                    <a:pt x="4978" y="5209"/>
                    <a:pt x="4978" y="4988"/>
                  </a:cubicBezTo>
                  <a:cubicBezTo>
                    <a:pt x="4978" y="4043"/>
                    <a:pt x="4474" y="3256"/>
                    <a:pt x="3718" y="2815"/>
                  </a:cubicBezTo>
                  <a:cubicBezTo>
                    <a:pt x="3939" y="2626"/>
                    <a:pt x="4033" y="2374"/>
                    <a:pt x="4128" y="2090"/>
                  </a:cubicBezTo>
                  <a:cubicBezTo>
                    <a:pt x="4285" y="1523"/>
                    <a:pt x="4128" y="924"/>
                    <a:pt x="3687" y="483"/>
                  </a:cubicBezTo>
                  <a:cubicBezTo>
                    <a:pt x="3346" y="155"/>
                    <a:pt x="2923" y="1"/>
                    <a:pt x="2509"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058" name="Google Shape;10058;p111"/>
            <p:cNvSpPr/>
            <p:nvPr/>
          </p:nvSpPr>
          <p:spPr>
            <a:xfrm>
              <a:off x="-61591150" y="2113325"/>
              <a:ext cx="123675" cy="134175"/>
            </a:xfrm>
            <a:custGeom>
              <a:avLst/>
              <a:gdLst/>
              <a:ahLst/>
              <a:cxnLst/>
              <a:rect l="l" t="t" r="r" b="b"/>
              <a:pathLst>
                <a:path w="4947" h="5367" extrusionOk="0">
                  <a:moveTo>
                    <a:pt x="2482" y="848"/>
                  </a:moveTo>
                  <a:cubicBezTo>
                    <a:pt x="2688" y="848"/>
                    <a:pt x="2895" y="921"/>
                    <a:pt x="3056" y="1082"/>
                  </a:cubicBezTo>
                  <a:cubicBezTo>
                    <a:pt x="3245" y="1271"/>
                    <a:pt x="3340" y="1586"/>
                    <a:pt x="3245" y="1901"/>
                  </a:cubicBezTo>
                  <a:cubicBezTo>
                    <a:pt x="3182" y="2185"/>
                    <a:pt x="2993" y="2437"/>
                    <a:pt x="2710" y="2468"/>
                  </a:cubicBezTo>
                  <a:cubicBezTo>
                    <a:pt x="2633" y="2483"/>
                    <a:pt x="2559" y="2491"/>
                    <a:pt x="2486" y="2491"/>
                  </a:cubicBezTo>
                  <a:cubicBezTo>
                    <a:pt x="2261" y="2491"/>
                    <a:pt x="2057" y="2415"/>
                    <a:pt x="1890" y="2248"/>
                  </a:cubicBezTo>
                  <a:cubicBezTo>
                    <a:pt x="1670" y="2059"/>
                    <a:pt x="1607" y="1743"/>
                    <a:pt x="1670" y="1428"/>
                  </a:cubicBezTo>
                  <a:cubicBezTo>
                    <a:pt x="1770" y="1068"/>
                    <a:pt x="2124" y="848"/>
                    <a:pt x="2482" y="848"/>
                  </a:cubicBezTo>
                  <a:close/>
                  <a:moveTo>
                    <a:pt x="2521" y="3382"/>
                  </a:moveTo>
                  <a:cubicBezTo>
                    <a:pt x="3308" y="3382"/>
                    <a:pt x="3938" y="3886"/>
                    <a:pt x="4127" y="4579"/>
                  </a:cubicBezTo>
                  <a:lnTo>
                    <a:pt x="882" y="4579"/>
                  </a:lnTo>
                  <a:cubicBezTo>
                    <a:pt x="1103" y="3886"/>
                    <a:pt x="1733" y="3382"/>
                    <a:pt x="2521" y="3382"/>
                  </a:cubicBezTo>
                  <a:close/>
                  <a:moveTo>
                    <a:pt x="2467" y="1"/>
                  </a:moveTo>
                  <a:cubicBezTo>
                    <a:pt x="1761" y="1"/>
                    <a:pt x="1080" y="437"/>
                    <a:pt x="882" y="1208"/>
                  </a:cubicBezTo>
                  <a:cubicBezTo>
                    <a:pt x="725" y="1806"/>
                    <a:pt x="882" y="2342"/>
                    <a:pt x="1292" y="2783"/>
                  </a:cubicBezTo>
                  <a:cubicBezTo>
                    <a:pt x="536" y="3224"/>
                    <a:pt x="0" y="4012"/>
                    <a:pt x="0" y="4957"/>
                  </a:cubicBezTo>
                  <a:cubicBezTo>
                    <a:pt x="0" y="5178"/>
                    <a:pt x="189" y="5367"/>
                    <a:pt x="378" y="5367"/>
                  </a:cubicBezTo>
                  <a:lnTo>
                    <a:pt x="4505" y="5367"/>
                  </a:lnTo>
                  <a:cubicBezTo>
                    <a:pt x="4757" y="5367"/>
                    <a:pt x="4946" y="5178"/>
                    <a:pt x="4946" y="4957"/>
                  </a:cubicBezTo>
                  <a:cubicBezTo>
                    <a:pt x="4946" y="4075"/>
                    <a:pt x="4442" y="3256"/>
                    <a:pt x="3686" y="2815"/>
                  </a:cubicBezTo>
                  <a:cubicBezTo>
                    <a:pt x="3875" y="2626"/>
                    <a:pt x="4001" y="2374"/>
                    <a:pt x="4096" y="2090"/>
                  </a:cubicBezTo>
                  <a:cubicBezTo>
                    <a:pt x="4253" y="1523"/>
                    <a:pt x="4096" y="924"/>
                    <a:pt x="3655" y="483"/>
                  </a:cubicBezTo>
                  <a:cubicBezTo>
                    <a:pt x="3314" y="155"/>
                    <a:pt x="2887" y="1"/>
                    <a:pt x="2467"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059" name="Google Shape;10059;p111"/>
            <p:cNvSpPr/>
            <p:nvPr/>
          </p:nvSpPr>
          <p:spPr>
            <a:xfrm>
              <a:off x="-61677800" y="2072225"/>
              <a:ext cx="106350" cy="62450"/>
            </a:xfrm>
            <a:custGeom>
              <a:avLst/>
              <a:gdLst/>
              <a:ahLst/>
              <a:cxnLst/>
              <a:rect l="l" t="t" r="r" b="b"/>
              <a:pathLst>
                <a:path w="4254" h="2498" extrusionOk="0">
                  <a:moveTo>
                    <a:pt x="2096" y="1"/>
                  </a:moveTo>
                  <a:cubicBezTo>
                    <a:pt x="1985" y="1"/>
                    <a:pt x="1875" y="48"/>
                    <a:pt x="1796" y="142"/>
                  </a:cubicBezTo>
                  <a:lnTo>
                    <a:pt x="158" y="1781"/>
                  </a:lnTo>
                  <a:cubicBezTo>
                    <a:pt x="1" y="1938"/>
                    <a:pt x="1" y="2222"/>
                    <a:pt x="158" y="2379"/>
                  </a:cubicBezTo>
                  <a:cubicBezTo>
                    <a:pt x="237" y="2458"/>
                    <a:pt x="339" y="2497"/>
                    <a:pt x="442" y="2497"/>
                  </a:cubicBezTo>
                  <a:cubicBezTo>
                    <a:pt x="544" y="2497"/>
                    <a:pt x="646" y="2458"/>
                    <a:pt x="725" y="2379"/>
                  </a:cubicBezTo>
                  <a:lnTo>
                    <a:pt x="2111" y="993"/>
                  </a:lnTo>
                  <a:lnTo>
                    <a:pt x="3498" y="2379"/>
                  </a:lnTo>
                  <a:cubicBezTo>
                    <a:pt x="3576" y="2458"/>
                    <a:pt x="3687" y="2497"/>
                    <a:pt x="3797" y="2497"/>
                  </a:cubicBezTo>
                  <a:cubicBezTo>
                    <a:pt x="3907" y="2497"/>
                    <a:pt x="4017" y="2458"/>
                    <a:pt x="4096" y="2379"/>
                  </a:cubicBezTo>
                  <a:cubicBezTo>
                    <a:pt x="4254" y="2222"/>
                    <a:pt x="4254" y="1938"/>
                    <a:pt x="4096" y="1781"/>
                  </a:cubicBezTo>
                  <a:lnTo>
                    <a:pt x="2395" y="142"/>
                  </a:lnTo>
                  <a:cubicBezTo>
                    <a:pt x="2316" y="48"/>
                    <a:pt x="2206" y="1"/>
                    <a:pt x="2096"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10060" name="Google Shape;10060;p111"/>
          <p:cNvGrpSpPr/>
          <p:nvPr/>
        </p:nvGrpSpPr>
        <p:grpSpPr>
          <a:xfrm>
            <a:off x="1715147" y="4528621"/>
            <a:ext cx="488359" cy="488359"/>
            <a:chOff x="-61783350" y="2297100"/>
            <a:chExt cx="316650" cy="316650"/>
          </a:xfrm>
        </p:grpSpPr>
        <p:sp>
          <p:nvSpPr>
            <p:cNvPr id="10061" name="Google Shape;10061;p111"/>
            <p:cNvSpPr/>
            <p:nvPr/>
          </p:nvSpPr>
          <p:spPr>
            <a:xfrm>
              <a:off x="-61783350" y="2297100"/>
              <a:ext cx="316650" cy="316650"/>
            </a:xfrm>
            <a:custGeom>
              <a:avLst/>
              <a:gdLst/>
              <a:ahLst/>
              <a:cxnLst/>
              <a:rect l="l" t="t" r="r" b="b"/>
              <a:pathLst>
                <a:path w="12666" h="12666" extrusionOk="0">
                  <a:moveTo>
                    <a:pt x="379" y="0"/>
                  </a:moveTo>
                  <a:cubicBezTo>
                    <a:pt x="158" y="0"/>
                    <a:pt x="1" y="189"/>
                    <a:pt x="1" y="441"/>
                  </a:cubicBezTo>
                  <a:lnTo>
                    <a:pt x="1" y="12287"/>
                  </a:lnTo>
                  <a:cubicBezTo>
                    <a:pt x="1" y="12508"/>
                    <a:pt x="190" y="12665"/>
                    <a:pt x="379" y="12665"/>
                  </a:cubicBezTo>
                  <a:lnTo>
                    <a:pt x="12256" y="12665"/>
                  </a:lnTo>
                  <a:cubicBezTo>
                    <a:pt x="12477" y="12665"/>
                    <a:pt x="12666" y="12476"/>
                    <a:pt x="12666" y="12287"/>
                  </a:cubicBezTo>
                  <a:cubicBezTo>
                    <a:pt x="12634" y="12098"/>
                    <a:pt x="12477" y="11878"/>
                    <a:pt x="12256" y="11878"/>
                  </a:cubicBezTo>
                  <a:lnTo>
                    <a:pt x="820" y="11878"/>
                  </a:lnTo>
                  <a:lnTo>
                    <a:pt x="820" y="441"/>
                  </a:lnTo>
                  <a:cubicBezTo>
                    <a:pt x="820" y="189"/>
                    <a:pt x="631" y="0"/>
                    <a:pt x="379"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062" name="Google Shape;10062;p111"/>
            <p:cNvSpPr/>
            <p:nvPr/>
          </p:nvSpPr>
          <p:spPr>
            <a:xfrm>
              <a:off x="-61742375" y="2387675"/>
              <a:ext cx="275675" cy="151250"/>
            </a:xfrm>
            <a:custGeom>
              <a:avLst/>
              <a:gdLst/>
              <a:ahLst/>
              <a:cxnLst/>
              <a:rect l="l" t="t" r="r" b="b"/>
              <a:pathLst>
                <a:path w="11027" h="6050" extrusionOk="0">
                  <a:moveTo>
                    <a:pt x="9767" y="788"/>
                  </a:moveTo>
                  <a:cubicBezTo>
                    <a:pt x="10019" y="788"/>
                    <a:pt x="10208" y="977"/>
                    <a:pt x="10208" y="1229"/>
                  </a:cubicBezTo>
                  <a:cubicBezTo>
                    <a:pt x="10176" y="1450"/>
                    <a:pt x="10019" y="1639"/>
                    <a:pt x="9767" y="1639"/>
                  </a:cubicBezTo>
                  <a:cubicBezTo>
                    <a:pt x="9546" y="1639"/>
                    <a:pt x="9389" y="1450"/>
                    <a:pt x="9389" y="1229"/>
                  </a:cubicBezTo>
                  <a:cubicBezTo>
                    <a:pt x="9389" y="977"/>
                    <a:pt x="9578" y="788"/>
                    <a:pt x="9767" y="788"/>
                  </a:cubicBezTo>
                  <a:close/>
                  <a:moveTo>
                    <a:pt x="4001" y="1607"/>
                  </a:moveTo>
                  <a:cubicBezTo>
                    <a:pt x="4222" y="1607"/>
                    <a:pt x="4379" y="1796"/>
                    <a:pt x="4379" y="2048"/>
                  </a:cubicBezTo>
                  <a:cubicBezTo>
                    <a:pt x="4379" y="2269"/>
                    <a:pt x="4222" y="2489"/>
                    <a:pt x="4001" y="2489"/>
                  </a:cubicBezTo>
                  <a:cubicBezTo>
                    <a:pt x="3749" y="2489"/>
                    <a:pt x="3560" y="2269"/>
                    <a:pt x="3560" y="2048"/>
                  </a:cubicBezTo>
                  <a:cubicBezTo>
                    <a:pt x="3560" y="1796"/>
                    <a:pt x="3749" y="1607"/>
                    <a:pt x="4001" y="1607"/>
                  </a:cubicBezTo>
                  <a:close/>
                  <a:moveTo>
                    <a:pt x="6459" y="4128"/>
                  </a:moveTo>
                  <a:cubicBezTo>
                    <a:pt x="6679" y="4128"/>
                    <a:pt x="6900" y="4317"/>
                    <a:pt x="6900" y="4569"/>
                  </a:cubicBezTo>
                  <a:cubicBezTo>
                    <a:pt x="6868" y="4758"/>
                    <a:pt x="6711" y="4947"/>
                    <a:pt x="6459" y="4947"/>
                  </a:cubicBezTo>
                  <a:cubicBezTo>
                    <a:pt x="6238" y="4947"/>
                    <a:pt x="6081" y="4758"/>
                    <a:pt x="6081" y="4569"/>
                  </a:cubicBezTo>
                  <a:cubicBezTo>
                    <a:pt x="6081" y="4317"/>
                    <a:pt x="6270" y="4128"/>
                    <a:pt x="6459" y="4128"/>
                  </a:cubicBezTo>
                  <a:close/>
                  <a:moveTo>
                    <a:pt x="1229" y="4380"/>
                  </a:moveTo>
                  <a:cubicBezTo>
                    <a:pt x="1481" y="4380"/>
                    <a:pt x="1638" y="4569"/>
                    <a:pt x="1638" y="4789"/>
                  </a:cubicBezTo>
                  <a:cubicBezTo>
                    <a:pt x="1638" y="5041"/>
                    <a:pt x="1481" y="5230"/>
                    <a:pt x="1229" y="5230"/>
                  </a:cubicBezTo>
                  <a:cubicBezTo>
                    <a:pt x="1008" y="5230"/>
                    <a:pt x="788" y="5041"/>
                    <a:pt x="788" y="4789"/>
                  </a:cubicBezTo>
                  <a:cubicBezTo>
                    <a:pt x="788" y="4569"/>
                    <a:pt x="1008" y="4380"/>
                    <a:pt x="1229" y="4380"/>
                  </a:cubicBezTo>
                  <a:close/>
                  <a:moveTo>
                    <a:pt x="9767" y="0"/>
                  </a:moveTo>
                  <a:cubicBezTo>
                    <a:pt x="9105" y="0"/>
                    <a:pt x="8570" y="536"/>
                    <a:pt x="8570" y="1229"/>
                  </a:cubicBezTo>
                  <a:cubicBezTo>
                    <a:pt x="8570" y="1418"/>
                    <a:pt x="8601" y="1576"/>
                    <a:pt x="8664" y="1765"/>
                  </a:cubicBezTo>
                  <a:lnTo>
                    <a:pt x="7026" y="3434"/>
                  </a:lnTo>
                  <a:cubicBezTo>
                    <a:pt x="6868" y="3340"/>
                    <a:pt x="6679" y="3308"/>
                    <a:pt x="6459" y="3308"/>
                  </a:cubicBezTo>
                  <a:cubicBezTo>
                    <a:pt x="6270" y="3308"/>
                    <a:pt x="6112" y="3340"/>
                    <a:pt x="5923" y="3434"/>
                  </a:cubicBezTo>
                  <a:lnTo>
                    <a:pt x="5104" y="2584"/>
                  </a:lnTo>
                  <a:cubicBezTo>
                    <a:pt x="5167" y="2426"/>
                    <a:pt x="5199" y="2237"/>
                    <a:pt x="5199" y="2048"/>
                  </a:cubicBezTo>
                  <a:cubicBezTo>
                    <a:pt x="5199" y="1387"/>
                    <a:pt x="4663" y="788"/>
                    <a:pt x="4001" y="788"/>
                  </a:cubicBezTo>
                  <a:cubicBezTo>
                    <a:pt x="3308" y="788"/>
                    <a:pt x="2773" y="1324"/>
                    <a:pt x="2773" y="2048"/>
                  </a:cubicBezTo>
                  <a:cubicBezTo>
                    <a:pt x="2773" y="2237"/>
                    <a:pt x="2804" y="2395"/>
                    <a:pt x="2899" y="2584"/>
                  </a:cubicBezTo>
                  <a:lnTo>
                    <a:pt x="1796" y="3686"/>
                  </a:lnTo>
                  <a:cubicBezTo>
                    <a:pt x="1638" y="3623"/>
                    <a:pt x="1418" y="3592"/>
                    <a:pt x="1229" y="3592"/>
                  </a:cubicBezTo>
                  <a:cubicBezTo>
                    <a:pt x="567" y="3592"/>
                    <a:pt x="0" y="4128"/>
                    <a:pt x="0" y="4852"/>
                  </a:cubicBezTo>
                  <a:cubicBezTo>
                    <a:pt x="0" y="5514"/>
                    <a:pt x="567" y="6049"/>
                    <a:pt x="1229" y="6049"/>
                  </a:cubicBezTo>
                  <a:cubicBezTo>
                    <a:pt x="1890" y="6049"/>
                    <a:pt x="2458" y="5514"/>
                    <a:pt x="2458" y="4852"/>
                  </a:cubicBezTo>
                  <a:cubicBezTo>
                    <a:pt x="2458" y="4632"/>
                    <a:pt x="2426" y="4474"/>
                    <a:pt x="2332" y="4285"/>
                  </a:cubicBezTo>
                  <a:lnTo>
                    <a:pt x="3434" y="3182"/>
                  </a:lnTo>
                  <a:cubicBezTo>
                    <a:pt x="3592" y="3245"/>
                    <a:pt x="3781" y="3308"/>
                    <a:pt x="4001" y="3308"/>
                  </a:cubicBezTo>
                  <a:cubicBezTo>
                    <a:pt x="4190" y="3308"/>
                    <a:pt x="4348" y="3277"/>
                    <a:pt x="4537" y="3182"/>
                  </a:cubicBezTo>
                  <a:lnTo>
                    <a:pt x="5356" y="4001"/>
                  </a:lnTo>
                  <a:cubicBezTo>
                    <a:pt x="5293" y="4159"/>
                    <a:pt x="5262" y="4348"/>
                    <a:pt x="5262" y="4569"/>
                  </a:cubicBezTo>
                  <a:cubicBezTo>
                    <a:pt x="5262" y="5230"/>
                    <a:pt x="5797" y="5766"/>
                    <a:pt x="6459" y="5766"/>
                  </a:cubicBezTo>
                  <a:cubicBezTo>
                    <a:pt x="7152" y="5766"/>
                    <a:pt x="7687" y="5230"/>
                    <a:pt x="7687" y="4569"/>
                  </a:cubicBezTo>
                  <a:cubicBezTo>
                    <a:pt x="7687" y="4348"/>
                    <a:pt x="7656" y="4191"/>
                    <a:pt x="7561" y="4001"/>
                  </a:cubicBezTo>
                  <a:lnTo>
                    <a:pt x="9231" y="2363"/>
                  </a:lnTo>
                  <a:cubicBezTo>
                    <a:pt x="9389" y="2426"/>
                    <a:pt x="9578" y="2489"/>
                    <a:pt x="9767" y="2489"/>
                  </a:cubicBezTo>
                  <a:cubicBezTo>
                    <a:pt x="10460" y="2489"/>
                    <a:pt x="11027" y="1922"/>
                    <a:pt x="11027" y="1229"/>
                  </a:cubicBezTo>
                  <a:cubicBezTo>
                    <a:pt x="10995" y="536"/>
                    <a:pt x="10460" y="0"/>
                    <a:pt x="9767"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10063" name="Google Shape;10063;p111"/>
          <p:cNvGrpSpPr/>
          <p:nvPr/>
        </p:nvGrpSpPr>
        <p:grpSpPr>
          <a:xfrm>
            <a:off x="1715147" y="5116731"/>
            <a:ext cx="488359" cy="492407"/>
            <a:chOff x="-61782550" y="2664925"/>
            <a:chExt cx="316650" cy="319275"/>
          </a:xfrm>
        </p:grpSpPr>
        <p:sp>
          <p:nvSpPr>
            <p:cNvPr id="10064" name="Google Shape;10064;p111"/>
            <p:cNvSpPr/>
            <p:nvPr/>
          </p:nvSpPr>
          <p:spPr>
            <a:xfrm>
              <a:off x="-61782550" y="2664925"/>
              <a:ext cx="316650" cy="319275"/>
            </a:xfrm>
            <a:custGeom>
              <a:avLst/>
              <a:gdLst/>
              <a:ahLst/>
              <a:cxnLst/>
              <a:rect l="l" t="t" r="r" b="b"/>
              <a:pathLst>
                <a:path w="12666" h="12771" extrusionOk="0">
                  <a:moveTo>
                    <a:pt x="10208" y="851"/>
                  </a:moveTo>
                  <a:cubicBezTo>
                    <a:pt x="10366" y="1670"/>
                    <a:pt x="10996" y="2300"/>
                    <a:pt x="11815" y="2457"/>
                  </a:cubicBezTo>
                  <a:lnTo>
                    <a:pt x="11815" y="6679"/>
                  </a:lnTo>
                  <a:lnTo>
                    <a:pt x="11783" y="6679"/>
                  </a:lnTo>
                  <a:cubicBezTo>
                    <a:pt x="10964" y="6837"/>
                    <a:pt x="10334" y="7467"/>
                    <a:pt x="10177" y="8286"/>
                  </a:cubicBezTo>
                  <a:lnTo>
                    <a:pt x="9011" y="8286"/>
                  </a:lnTo>
                  <a:cubicBezTo>
                    <a:pt x="9105" y="8002"/>
                    <a:pt x="9168" y="7719"/>
                    <a:pt x="9168" y="7467"/>
                  </a:cubicBezTo>
                  <a:cubicBezTo>
                    <a:pt x="9168" y="6081"/>
                    <a:pt x="8066" y="4978"/>
                    <a:pt x="6711" y="4978"/>
                  </a:cubicBezTo>
                  <a:cubicBezTo>
                    <a:pt x="5325" y="4978"/>
                    <a:pt x="4222" y="6081"/>
                    <a:pt x="4222" y="7467"/>
                  </a:cubicBezTo>
                  <a:cubicBezTo>
                    <a:pt x="4222" y="7719"/>
                    <a:pt x="4254" y="8002"/>
                    <a:pt x="4380" y="8286"/>
                  </a:cubicBezTo>
                  <a:lnTo>
                    <a:pt x="2395" y="8286"/>
                  </a:lnTo>
                  <a:cubicBezTo>
                    <a:pt x="2237" y="7467"/>
                    <a:pt x="1607" y="6837"/>
                    <a:pt x="788" y="6679"/>
                  </a:cubicBezTo>
                  <a:lnTo>
                    <a:pt x="788" y="2457"/>
                  </a:lnTo>
                  <a:cubicBezTo>
                    <a:pt x="1607" y="2300"/>
                    <a:pt x="2237" y="1670"/>
                    <a:pt x="2395" y="851"/>
                  </a:cubicBezTo>
                  <a:close/>
                  <a:moveTo>
                    <a:pt x="6711" y="5797"/>
                  </a:moveTo>
                  <a:cubicBezTo>
                    <a:pt x="7593" y="5797"/>
                    <a:pt x="8349" y="6553"/>
                    <a:pt x="8349" y="7467"/>
                  </a:cubicBezTo>
                  <a:cubicBezTo>
                    <a:pt x="8349" y="8349"/>
                    <a:pt x="7593" y="9105"/>
                    <a:pt x="6711" y="9105"/>
                  </a:cubicBezTo>
                  <a:cubicBezTo>
                    <a:pt x="5797" y="9105"/>
                    <a:pt x="5041" y="8349"/>
                    <a:pt x="5041" y="7467"/>
                  </a:cubicBezTo>
                  <a:cubicBezTo>
                    <a:pt x="5041" y="6553"/>
                    <a:pt x="5797" y="5797"/>
                    <a:pt x="6711" y="5797"/>
                  </a:cubicBezTo>
                  <a:close/>
                  <a:moveTo>
                    <a:pt x="7530" y="9767"/>
                  </a:moveTo>
                  <a:lnTo>
                    <a:pt x="7530" y="11468"/>
                  </a:lnTo>
                  <a:lnTo>
                    <a:pt x="6932" y="11090"/>
                  </a:lnTo>
                  <a:cubicBezTo>
                    <a:pt x="6853" y="11043"/>
                    <a:pt x="6774" y="11019"/>
                    <a:pt x="6695" y="11019"/>
                  </a:cubicBezTo>
                  <a:cubicBezTo>
                    <a:pt x="6616" y="11019"/>
                    <a:pt x="6538" y="11043"/>
                    <a:pt x="6459" y="11090"/>
                  </a:cubicBezTo>
                  <a:lnTo>
                    <a:pt x="5860" y="11468"/>
                  </a:lnTo>
                  <a:lnTo>
                    <a:pt x="5860" y="9767"/>
                  </a:lnTo>
                  <a:cubicBezTo>
                    <a:pt x="6144" y="9861"/>
                    <a:pt x="6427" y="9924"/>
                    <a:pt x="6711" y="9924"/>
                  </a:cubicBezTo>
                  <a:cubicBezTo>
                    <a:pt x="6995" y="9924"/>
                    <a:pt x="7247" y="9893"/>
                    <a:pt x="7530" y="9767"/>
                  </a:cubicBezTo>
                  <a:close/>
                  <a:moveTo>
                    <a:pt x="2048" y="0"/>
                  </a:moveTo>
                  <a:cubicBezTo>
                    <a:pt x="1828" y="0"/>
                    <a:pt x="1670" y="221"/>
                    <a:pt x="1670" y="441"/>
                  </a:cubicBezTo>
                  <a:cubicBezTo>
                    <a:pt x="1670" y="1103"/>
                    <a:pt x="1103" y="1670"/>
                    <a:pt x="410" y="1670"/>
                  </a:cubicBezTo>
                  <a:cubicBezTo>
                    <a:pt x="158" y="1670"/>
                    <a:pt x="0" y="1859"/>
                    <a:pt x="0" y="2111"/>
                  </a:cubicBezTo>
                  <a:lnTo>
                    <a:pt x="0" y="7057"/>
                  </a:lnTo>
                  <a:cubicBezTo>
                    <a:pt x="0" y="7278"/>
                    <a:pt x="189" y="7498"/>
                    <a:pt x="410" y="7498"/>
                  </a:cubicBezTo>
                  <a:cubicBezTo>
                    <a:pt x="1072" y="7498"/>
                    <a:pt x="1670" y="8034"/>
                    <a:pt x="1670" y="8758"/>
                  </a:cubicBezTo>
                  <a:cubicBezTo>
                    <a:pt x="1670" y="8979"/>
                    <a:pt x="1859" y="9136"/>
                    <a:pt x="2048" y="9136"/>
                  </a:cubicBezTo>
                  <a:lnTo>
                    <a:pt x="4884" y="9136"/>
                  </a:lnTo>
                  <a:lnTo>
                    <a:pt x="5073" y="9326"/>
                  </a:lnTo>
                  <a:lnTo>
                    <a:pt x="5073" y="12318"/>
                  </a:lnTo>
                  <a:cubicBezTo>
                    <a:pt x="5073" y="12562"/>
                    <a:pt x="5298" y="12749"/>
                    <a:pt x="5517" y="12749"/>
                  </a:cubicBezTo>
                  <a:cubicBezTo>
                    <a:pt x="5581" y="12749"/>
                    <a:pt x="5645" y="12732"/>
                    <a:pt x="5703" y="12697"/>
                  </a:cubicBezTo>
                  <a:lnTo>
                    <a:pt x="6743" y="12003"/>
                  </a:lnTo>
                  <a:lnTo>
                    <a:pt x="7782" y="12697"/>
                  </a:lnTo>
                  <a:cubicBezTo>
                    <a:pt x="7850" y="12747"/>
                    <a:pt x="7926" y="12771"/>
                    <a:pt x="8002" y="12771"/>
                  </a:cubicBezTo>
                  <a:cubicBezTo>
                    <a:pt x="8210" y="12771"/>
                    <a:pt x="8412" y="12595"/>
                    <a:pt x="8412" y="12318"/>
                  </a:cubicBezTo>
                  <a:lnTo>
                    <a:pt x="8412" y="9262"/>
                  </a:lnTo>
                  <a:lnTo>
                    <a:pt x="8601" y="9073"/>
                  </a:lnTo>
                  <a:lnTo>
                    <a:pt x="10618" y="9073"/>
                  </a:lnTo>
                  <a:cubicBezTo>
                    <a:pt x="10838" y="9073"/>
                    <a:pt x="10996" y="8884"/>
                    <a:pt x="10996" y="8664"/>
                  </a:cubicBezTo>
                  <a:cubicBezTo>
                    <a:pt x="10996" y="8002"/>
                    <a:pt x="11563" y="7404"/>
                    <a:pt x="12224" y="7404"/>
                  </a:cubicBezTo>
                  <a:cubicBezTo>
                    <a:pt x="12445" y="7404"/>
                    <a:pt x="12665" y="7215"/>
                    <a:pt x="12665" y="6994"/>
                  </a:cubicBezTo>
                  <a:lnTo>
                    <a:pt x="12665" y="2016"/>
                  </a:lnTo>
                  <a:cubicBezTo>
                    <a:pt x="12602" y="1827"/>
                    <a:pt x="12445" y="1670"/>
                    <a:pt x="12224" y="1670"/>
                  </a:cubicBezTo>
                  <a:cubicBezTo>
                    <a:pt x="11531" y="1670"/>
                    <a:pt x="10996" y="1103"/>
                    <a:pt x="10996" y="441"/>
                  </a:cubicBezTo>
                  <a:cubicBezTo>
                    <a:pt x="10996" y="221"/>
                    <a:pt x="10807" y="0"/>
                    <a:pt x="10586"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065" name="Google Shape;10065;p111"/>
            <p:cNvSpPr/>
            <p:nvPr/>
          </p:nvSpPr>
          <p:spPr>
            <a:xfrm>
              <a:off x="-61701425" y="2705875"/>
              <a:ext cx="151250" cy="21275"/>
            </a:xfrm>
            <a:custGeom>
              <a:avLst/>
              <a:gdLst/>
              <a:ahLst/>
              <a:cxnLst/>
              <a:rect l="l" t="t" r="r" b="b"/>
              <a:pathLst>
                <a:path w="6050" h="851" extrusionOk="0">
                  <a:moveTo>
                    <a:pt x="410" y="0"/>
                  </a:moveTo>
                  <a:cubicBezTo>
                    <a:pt x="189" y="0"/>
                    <a:pt x="0" y="189"/>
                    <a:pt x="0" y="410"/>
                  </a:cubicBezTo>
                  <a:cubicBezTo>
                    <a:pt x="0" y="662"/>
                    <a:pt x="189" y="851"/>
                    <a:pt x="410" y="851"/>
                  </a:cubicBezTo>
                  <a:lnTo>
                    <a:pt x="5671" y="851"/>
                  </a:lnTo>
                  <a:cubicBezTo>
                    <a:pt x="5892" y="851"/>
                    <a:pt x="6049" y="662"/>
                    <a:pt x="6049" y="410"/>
                  </a:cubicBezTo>
                  <a:cubicBezTo>
                    <a:pt x="6049" y="189"/>
                    <a:pt x="5860" y="0"/>
                    <a:pt x="5671"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066" name="Google Shape;10066;p111"/>
            <p:cNvSpPr/>
            <p:nvPr/>
          </p:nvSpPr>
          <p:spPr>
            <a:xfrm>
              <a:off x="-61742375" y="2747625"/>
              <a:ext cx="233925" cy="22075"/>
            </a:xfrm>
            <a:custGeom>
              <a:avLst/>
              <a:gdLst/>
              <a:ahLst/>
              <a:cxnLst/>
              <a:rect l="l" t="t" r="r" b="b"/>
              <a:pathLst>
                <a:path w="9357" h="883" extrusionOk="0">
                  <a:moveTo>
                    <a:pt x="410" y="0"/>
                  </a:moveTo>
                  <a:cubicBezTo>
                    <a:pt x="158" y="0"/>
                    <a:pt x="0" y="221"/>
                    <a:pt x="0" y="441"/>
                  </a:cubicBezTo>
                  <a:cubicBezTo>
                    <a:pt x="0" y="693"/>
                    <a:pt x="221" y="882"/>
                    <a:pt x="410" y="882"/>
                  </a:cubicBezTo>
                  <a:lnTo>
                    <a:pt x="8948" y="882"/>
                  </a:lnTo>
                  <a:cubicBezTo>
                    <a:pt x="9200" y="882"/>
                    <a:pt x="9357" y="693"/>
                    <a:pt x="9357" y="441"/>
                  </a:cubicBezTo>
                  <a:cubicBezTo>
                    <a:pt x="9357" y="221"/>
                    <a:pt x="9137" y="0"/>
                    <a:pt x="8948"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10067" name="Google Shape;10067;p111"/>
          <p:cNvGrpSpPr/>
          <p:nvPr/>
        </p:nvGrpSpPr>
        <p:grpSpPr>
          <a:xfrm>
            <a:off x="4677517" y="3958582"/>
            <a:ext cx="489553" cy="465725"/>
            <a:chOff x="-59889100" y="1945025"/>
            <a:chExt cx="317425" cy="301975"/>
          </a:xfrm>
        </p:grpSpPr>
        <p:sp>
          <p:nvSpPr>
            <p:cNvPr id="10068" name="Google Shape;10068;p111"/>
            <p:cNvSpPr/>
            <p:nvPr/>
          </p:nvSpPr>
          <p:spPr>
            <a:xfrm>
              <a:off x="-59845000" y="2074200"/>
              <a:ext cx="63025" cy="61450"/>
            </a:xfrm>
            <a:custGeom>
              <a:avLst/>
              <a:gdLst/>
              <a:ahLst/>
              <a:cxnLst/>
              <a:rect l="l" t="t" r="r" b="b"/>
              <a:pathLst>
                <a:path w="2521" h="2458" extrusionOk="0">
                  <a:moveTo>
                    <a:pt x="1702" y="788"/>
                  </a:moveTo>
                  <a:lnTo>
                    <a:pt x="1702" y="1639"/>
                  </a:lnTo>
                  <a:lnTo>
                    <a:pt x="883" y="1639"/>
                  </a:lnTo>
                  <a:lnTo>
                    <a:pt x="883" y="788"/>
                  </a:lnTo>
                  <a:close/>
                  <a:moveTo>
                    <a:pt x="442" y="0"/>
                  </a:moveTo>
                  <a:cubicBezTo>
                    <a:pt x="190" y="0"/>
                    <a:pt x="1" y="190"/>
                    <a:pt x="1" y="410"/>
                  </a:cubicBezTo>
                  <a:lnTo>
                    <a:pt x="1" y="2048"/>
                  </a:lnTo>
                  <a:cubicBezTo>
                    <a:pt x="1" y="2300"/>
                    <a:pt x="190" y="2458"/>
                    <a:pt x="442" y="2458"/>
                  </a:cubicBezTo>
                  <a:lnTo>
                    <a:pt x="2080" y="2458"/>
                  </a:lnTo>
                  <a:cubicBezTo>
                    <a:pt x="2332" y="2458"/>
                    <a:pt x="2521" y="2237"/>
                    <a:pt x="2521" y="2048"/>
                  </a:cubicBezTo>
                  <a:lnTo>
                    <a:pt x="2521" y="410"/>
                  </a:lnTo>
                  <a:cubicBezTo>
                    <a:pt x="2521" y="158"/>
                    <a:pt x="2332" y="0"/>
                    <a:pt x="2080"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069" name="Google Shape;10069;p111"/>
            <p:cNvSpPr/>
            <p:nvPr/>
          </p:nvSpPr>
          <p:spPr>
            <a:xfrm>
              <a:off x="-59761500" y="1990700"/>
              <a:ext cx="61450" cy="144950"/>
            </a:xfrm>
            <a:custGeom>
              <a:avLst/>
              <a:gdLst/>
              <a:ahLst/>
              <a:cxnLst/>
              <a:rect l="l" t="t" r="r" b="b"/>
              <a:pathLst>
                <a:path w="2458" h="5798" extrusionOk="0">
                  <a:moveTo>
                    <a:pt x="1670" y="820"/>
                  </a:moveTo>
                  <a:lnTo>
                    <a:pt x="1670" y="4979"/>
                  </a:lnTo>
                  <a:lnTo>
                    <a:pt x="851" y="4979"/>
                  </a:lnTo>
                  <a:lnTo>
                    <a:pt x="851" y="820"/>
                  </a:lnTo>
                  <a:close/>
                  <a:moveTo>
                    <a:pt x="410" y="1"/>
                  </a:moveTo>
                  <a:cubicBezTo>
                    <a:pt x="158" y="1"/>
                    <a:pt x="0" y="190"/>
                    <a:pt x="0" y="411"/>
                  </a:cubicBezTo>
                  <a:lnTo>
                    <a:pt x="0" y="5357"/>
                  </a:lnTo>
                  <a:cubicBezTo>
                    <a:pt x="0" y="5577"/>
                    <a:pt x="158" y="5798"/>
                    <a:pt x="410" y="5798"/>
                  </a:cubicBezTo>
                  <a:lnTo>
                    <a:pt x="2048" y="5798"/>
                  </a:lnTo>
                  <a:cubicBezTo>
                    <a:pt x="2300" y="5798"/>
                    <a:pt x="2458" y="5577"/>
                    <a:pt x="2458" y="5388"/>
                  </a:cubicBezTo>
                  <a:lnTo>
                    <a:pt x="2458" y="411"/>
                  </a:lnTo>
                  <a:cubicBezTo>
                    <a:pt x="2458" y="158"/>
                    <a:pt x="2269" y="1"/>
                    <a:pt x="2048"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070" name="Google Shape;10070;p111"/>
            <p:cNvSpPr/>
            <p:nvPr/>
          </p:nvSpPr>
          <p:spPr>
            <a:xfrm>
              <a:off x="-59678800" y="2053725"/>
              <a:ext cx="61450" cy="81925"/>
            </a:xfrm>
            <a:custGeom>
              <a:avLst/>
              <a:gdLst/>
              <a:ahLst/>
              <a:cxnLst/>
              <a:rect l="l" t="t" r="r" b="b"/>
              <a:pathLst>
                <a:path w="2458" h="3277" extrusionOk="0">
                  <a:moveTo>
                    <a:pt x="1670" y="788"/>
                  </a:moveTo>
                  <a:lnTo>
                    <a:pt x="1670" y="2458"/>
                  </a:lnTo>
                  <a:lnTo>
                    <a:pt x="851" y="2458"/>
                  </a:lnTo>
                  <a:lnTo>
                    <a:pt x="851" y="788"/>
                  </a:lnTo>
                  <a:close/>
                  <a:moveTo>
                    <a:pt x="410" y="0"/>
                  </a:moveTo>
                  <a:cubicBezTo>
                    <a:pt x="158" y="0"/>
                    <a:pt x="0" y="189"/>
                    <a:pt x="0" y="410"/>
                  </a:cubicBezTo>
                  <a:lnTo>
                    <a:pt x="0" y="2867"/>
                  </a:lnTo>
                  <a:cubicBezTo>
                    <a:pt x="0" y="3056"/>
                    <a:pt x="158" y="3277"/>
                    <a:pt x="410" y="3277"/>
                  </a:cubicBezTo>
                  <a:lnTo>
                    <a:pt x="2048" y="3277"/>
                  </a:lnTo>
                  <a:cubicBezTo>
                    <a:pt x="2300" y="3277"/>
                    <a:pt x="2458" y="3056"/>
                    <a:pt x="2458" y="2867"/>
                  </a:cubicBezTo>
                  <a:lnTo>
                    <a:pt x="2458" y="410"/>
                  </a:lnTo>
                  <a:cubicBezTo>
                    <a:pt x="2458" y="158"/>
                    <a:pt x="2269" y="0"/>
                    <a:pt x="2048"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071" name="Google Shape;10071;p111"/>
            <p:cNvSpPr/>
            <p:nvPr/>
          </p:nvSpPr>
          <p:spPr>
            <a:xfrm>
              <a:off x="-59889100" y="1945025"/>
              <a:ext cx="317425" cy="301975"/>
            </a:xfrm>
            <a:custGeom>
              <a:avLst/>
              <a:gdLst/>
              <a:ahLst/>
              <a:cxnLst/>
              <a:rect l="l" t="t" r="r" b="b"/>
              <a:pathLst>
                <a:path w="12697" h="12079" extrusionOk="0">
                  <a:moveTo>
                    <a:pt x="6333" y="851"/>
                  </a:moveTo>
                  <a:cubicBezTo>
                    <a:pt x="9357" y="851"/>
                    <a:pt x="11846" y="2931"/>
                    <a:pt x="11846" y="5546"/>
                  </a:cubicBezTo>
                  <a:cubicBezTo>
                    <a:pt x="11846" y="8129"/>
                    <a:pt x="9357" y="10208"/>
                    <a:pt x="6333" y="10208"/>
                  </a:cubicBezTo>
                  <a:cubicBezTo>
                    <a:pt x="5482" y="10208"/>
                    <a:pt x="4600" y="10019"/>
                    <a:pt x="3812" y="9704"/>
                  </a:cubicBezTo>
                  <a:cubicBezTo>
                    <a:pt x="3757" y="9682"/>
                    <a:pt x="3697" y="9671"/>
                    <a:pt x="3637" y="9671"/>
                  </a:cubicBezTo>
                  <a:cubicBezTo>
                    <a:pt x="3529" y="9671"/>
                    <a:pt x="3421" y="9706"/>
                    <a:pt x="3340" y="9767"/>
                  </a:cubicBezTo>
                  <a:lnTo>
                    <a:pt x="2489" y="10649"/>
                  </a:lnTo>
                  <a:lnTo>
                    <a:pt x="2489" y="9074"/>
                  </a:lnTo>
                  <a:cubicBezTo>
                    <a:pt x="2489" y="8948"/>
                    <a:pt x="2426" y="8822"/>
                    <a:pt x="2363" y="8759"/>
                  </a:cubicBezTo>
                  <a:cubicBezTo>
                    <a:pt x="1387" y="7877"/>
                    <a:pt x="819" y="6743"/>
                    <a:pt x="819" y="5514"/>
                  </a:cubicBezTo>
                  <a:cubicBezTo>
                    <a:pt x="819" y="2962"/>
                    <a:pt x="3308" y="851"/>
                    <a:pt x="6333" y="851"/>
                  </a:cubicBezTo>
                  <a:close/>
                  <a:moveTo>
                    <a:pt x="6333" y="1"/>
                  </a:moveTo>
                  <a:cubicBezTo>
                    <a:pt x="2836" y="1"/>
                    <a:pt x="0" y="2490"/>
                    <a:pt x="0" y="5514"/>
                  </a:cubicBezTo>
                  <a:cubicBezTo>
                    <a:pt x="0" y="6963"/>
                    <a:pt x="599" y="8255"/>
                    <a:pt x="1639" y="9263"/>
                  </a:cubicBezTo>
                  <a:lnTo>
                    <a:pt x="1639" y="11689"/>
                  </a:lnTo>
                  <a:cubicBezTo>
                    <a:pt x="1639" y="11918"/>
                    <a:pt x="1832" y="12079"/>
                    <a:pt x="2045" y="12079"/>
                  </a:cubicBezTo>
                  <a:cubicBezTo>
                    <a:pt x="2153" y="12079"/>
                    <a:pt x="2267" y="12037"/>
                    <a:pt x="2363" y="11941"/>
                  </a:cubicBezTo>
                  <a:lnTo>
                    <a:pt x="3749" y="10555"/>
                  </a:lnTo>
                  <a:cubicBezTo>
                    <a:pt x="4569" y="10901"/>
                    <a:pt x="5419" y="11027"/>
                    <a:pt x="6333" y="11027"/>
                  </a:cubicBezTo>
                  <a:cubicBezTo>
                    <a:pt x="9830" y="11027"/>
                    <a:pt x="12697" y="8570"/>
                    <a:pt x="12697" y="5514"/>
                  </a:cubicBezTo>
                  <a:cubicBezTo>
                    <a:pt x="12697" y="2490"/>
                    <a:pt x="9861" y="1"/>
                    <a:pt x="6333"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sp>
        <p:nvSpPr>
          <p:cNvPr id="10072" name="Google Shape;10072;p111"/>
          <p:cNvSpPr/>
          <p:nvPr/>
        </p:nvSpPr>
        <p:spPr>
          <a:xfrm>
            <a:off x="4668930" y="4581461"/>
            <a:ext cx="490788" cy="382675"/>
          </a:xfrm>
          <a:custGeom>
            <a:avLst/>
            <a:gdLst/>
            <a:ahLst/>
            <a:cxnLst/>
            <a:rect l="l" t="t" r="r" b="b"/>
            <a:pathLst>
              <a:path w="12729" h="9925" extrusionOk="0">
                <a:moveTo>
                  <a:pt x="925" y="3644"/>
                </a:moveTo>
                <a:cubicBezTo>
                  <a:pt x="944" y="3644"/>
                  <a:pt x="963" y="3648"/>
                  <a:pt x="978" y="3655"/>
                </a:cubicBezTo>
                <a:lnTo>
                  <a:pt x="1608" y="3970"/>
                </a:lnTo>
                <a:lnTo>
                  <a:pt x="1608" y="5923"/>
                </a:lnTo>
                <a:lnTo>
                  <a:pt x="978" y="6239"/>
                </a:lnTo>
                <a:cubicBezTo>
                  <a:pt x="963" y="6253"/>
                  <a:pt x="945" y="6259"/>
                  <a:pt x="926" y="6259"/>
                </a:cubicBezTo>
                <a:cubicBezTo>
                  <a:pt x="863" y="6259"/>
                  <a:pt x="788" y="6192"/>
                  <a:pt x="788" y="6144"/>
                </a:cubicBezTo>
                <a:lnTo>
                  <a:pt x="788" y="3781"/>
                </a:lnTo>
                <a:cubicBezTo>
                  <a:pt x="788" y="3685"/>
                  <a:pt x="862" y="3644"/>
                  <a:pt x="925" y="3644"/>
                </a:cubicBezTo>
                <a:close/>
                <a:moveTo>
                  <a:pt x="10177" y="1796"/>
                </a:moveTo>
                <a:lnTo>
                  <a:pt x="10177" y="8129"/>
                </a:lnTo>
                <a:lnTo>
                  <a:pt x="2458" y="5892"/>
                </a:lnTo>
                <a:lnTo>
                  <a:pt x="2458" y="4033"/>
                </a:lnTo>
                <a:lnTo>
                  <a:pt x="10177" y="1796"/>
                </a:lnTo>
                <a:close/>
                <a:moveTo>
                  <a:pt x="4128" y="7247"/>
                </a:moveTo>
                <a:lnTo>
                  <a:pt x="6963" y="8066"/>
                </a:lnTo>
                <a:cubicBezTo>
                  <a:pt x="6648" y="8507"/>
                  <a:pt x="6176" y="8822"/>
                  <a:pt x="5640" y="8822"/>
                </a:cubicBezTo>
                <a:cubicBezTo>
                  <a:pt x="4758" y="8822"/>
                  <a:pt x="4097" y="8097"/>
                  <a:pt x="4128" y="7247"/>
                </a:cubicBezTo>
                <a:close/>
                <a:moveTo>
                  <a:pt x="11374" y="820"/>
                </a:moveTo>
                <a:cubicBezTo>
                  <a:pt x="11626" y="820"/>
                  <a:pt x="11815" y="1009"/>
                  <a:pt x="11815" y="1261"/>
                </a:cubicBezTo>
                <a:lnTo>
                  <a:pt x="11815" y="8696"/>
                </a:lnTo>
                <a:cubicBezTo>
                  <a:pt x="11815" y="8916"/>
                  <a:pt x="11626" y="9137"/>
                  <a:pt x="11374" y="9137"/>
                </a:cubicBezTo>
                <a:cubicBezTo>
                  <a:pt x="11154" y="9137"/>
                  <a:pt x="10996" y="8916"/>
                  <a:pt x="10996" y="8696"/>
                </a:cubicBezTo>
                <a:lnTo>
                  <a:pt x="10996" y="1261"/>
                </a:lnTo>
                <a:cubicBezTo>
                  <a:pt x="10996" y="1009"/>
                  <a:pt x="11185" y="820"/>
                  <a:pt x="11374" y="820"/>
                </a:cubicBezTo>
                <a:close/>
                <a:moveTo>
                  <a:pt x="11437" y="1"/>
                </a:moveTo>
                <a:cubicBezTo>
                  <a:pt x="10839" y="1"/>
                  <a:pt x="10366" y="379"/>
                  <a:pt x="10240" y="883"/>
                </a:cubicBezTo>
                <a:lnTo>
                  <a:pt x="2080" y="3246"/>
                </a:lnTo>
                <a:lnTo>
                  <a:pt x="1387" y="2899"/>
                </a:lnTo>
                <a:cubicBezTo>
                  <a:pt x="1251" y="2831"/>
                  <a:pt x="1109" y="2800"/>
                  <a:pt x="970" y="2800"/>
                </a:cubicBezTo>
                <a:cubicBezTo>
                  <a:pt x="466" y="2800"/>
                  <a:pt x="1" y="3213"/>
                  <a:pt x="1" y="3781"/>
                </a:cubicBezTo>
                <a:lnTo>
                  <a:pt x="1" y="6144"/>
                </a:lnTo>
                <a:cubicBezTo>
                  <a:pt x="1" y="6687"/>
                  <a:pt x="465" y="7094"/>
                  <a:pt x="983" y="7094"/>
                </a:cubicBezTo>
                <a:cubicBezTo>
                  <a:pt x="1127" y="7094"/>
                  <a:pt x="1275" y="7063"/>
                  <a:pt x="1419" y="6995"/>
                </a:cubicBezTo>
                <a:lnTo>
                  <a:pt x="2143" y="6648"/>
                </a:lnTo>
                <a:lnTo>
                  <a:pt x="3340" y="6995"/>
                </a:lnTo>
                <a:cubicBezTo>
                  <a:pt x="3151" y="8412"/>
                  <a:pt x="4254" y="9641"/>
                  <a:pt x="5672" y="9641"/>
                </a:cubicBezTo>
                <a:cubicBezTo>
                  <a:pt x="6585" y="9641"/>
                  <a:pt x="7405" y="9074"/>
                  <a:pt x="7814" y="8286"/>
                </a:cubicBezTo>
                <a:lnTo>
                  <a:pt x="10271" y="9011"/>
                </a:lnTo>
                <a:cubicBezTo>
                  <a:pt x="10429" y="9515"/>
                  <a:pt x="10902" y="9925"/>
                  <a:pt x="11469" y="9925"/>
                </a:cubicBezTo>
                <a:cubicBezTo>
                  <a:pt x="12130" y="9925"/>
                  <a:pt x="12729" y="9358"/>
                  <a:pt x="12729" y="8664"/>
                </a:cubicBezTo>
                <a:lnTo>
                  <a:pt x="12729" y="1198"/>
                </a:lnTo>
                <a:cubicBezTo>
                  <a:pt x="12634" y="536"/>
                  <a:pt x="12099" y="1"/>
                  <a:pt x="11437"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nvGrpSpPr>
          <p:cNvPr id="10073" name="Google Shape;10073;p111"/>
          <p:cNvGrpSpPr/>
          <p:nvPr/>
        </p:nvGrpSpPr>
        <p:grpSpPr>
          <a:xfrm>
            <a:off x="4676302" y="5119295"/>
            <a:ext cx="491983" cy="487279"/>
            <a:chOff x="-59889100" y="2671925"/>
            <a:chExt cx="319000" cy="315950"/>
          </a:xfrm>
        </p:grpSpPr>
        <p:sp>
          <p:nvSpPr>
            <p:cNvPr id="10074" name="Google Shape;10074;p111"/>
            <p:cNvSpPr/>
            <p:nvPr/>
          </p:nvSpPr>
          <p:spPr>
            <a:xfrm>
              <a:off x="-59889100" y="2672000"/>
              <a:ext cx="149675" cy="256025"/>
            </a:xfrm>
            <a:custGeom>
              <a:avLst/>
              <a:gdLst/>
              <a:ahLst/>
              <a:cxnLst/>
              <a:rect l="l" t="t" r="r" b="b"/>
              <a:pathLst>
                <a:path w="5987" h="10241" extrusionOk="0">
                  <a:moveTo>
                    <a:pt x="5073" y="946"/>
                  </a:moveTo>
                  <a:lnTo>
                    <a:pt x="5073" y="2647"/>
                  </a:lnTo>
                  <a:lnTo>
                    <a:pt x="5104" y="2647"/>
                  </a:lnTo>
                  <a:cubicBezTo>
                    <a:pt x="3623" y="3151"/>
                    <a:pt x="2489" y="4569"/>
                    <a:pt x="2489" y="6302"/>
                  </a:cubicBezTo>
                  <a:cubicBezTo>
                    <a:pt x="2489" y="6900"/>
                    <a:pt x="2647" y="7499"/>
                    <a:pt x="2867" y="8034"/>
                  </a:cubicBezTo>
                  <a:lnTo>
                    <a:pt x="1639" y="9263"/>
                  </a:lnTo>
                  <a:cubicBezTo>
                    <a:pt x="1103" y="8381"/>
                    <a:pt x="788" y="7373"/>
                    <a:pt x="788" y="6302"/>
                  </a:cubicBezTo>
                  <a:cubicBezTo>
                    <a:pt x="788" y="3750"/>
                    <a:pt x="2584" y="1513"/>
                    <a:pt x="5073" y="946"/>
                  </a:cubicBezTo>
                  <a:close/>
                  <a:moveTo>
                    <a:pt x="5482" y="1"/>
                  </a:moveTo>
                  <a:cubicBezTo>
                    <a:pt x="2395" y="442"/>
                    <a:pt x="0" y="3088"/>
                    <a:pt x="0" y="6270"/>
                  </a:cubicBezTo>
                  <a:cubicBezTo>
                    <a:pt x="0" y="7688"/>
                    <a:pt x="441" y="8979"/>
                    <a:pt x="1292" y="10082"/>
                  </a:cubicBezTo>
                  <a:cubicBezTo>
                    <a:pt x="1377" y="10184"/>
                    <a:pt x="1500" y="10241"/>
                    <a:pt x="1624" y="10241"/>
                  </a:cubicBezTo>
                  <a:cubicBezTo>
                    <a:pt x="1729" y="10241"/>
                    <a:pt x="1835" y="10200"/>
                    <a:pt x="1922" y="10114"/>
                  </a:cubicBezTo>
                  <a:lnTo>
                    <a:pt x="3718" y="8349"/>
                  </a:lnTo>
                  <a:cubicBezTo>
                    <a:pt x="3812" y="8223"/>
                    <a:pt x="3844" y="8003"/>
                    <a:pt x="3781" y="7845"/>
                  </a:cubicBezTo>
                  <a:cubicBezTo>
                    <a:pt x="3497" y="7373"/>
                    <a:pt x="3340" y="6806"/>
                    <a:pt x="3340" y="6270"/>
                  </a:cubicBezTo>
                  <a:cubicBezTo>
                    <a:pt x="3340" y="4884"/>
                    <a:pt x="4285" y="3655"/>
                    <a:pt x="5671" y="3309"/>
                  </a:cubicBezTo>
                  <a:cubicBezTo>
                    <a:pt x="5860" y="3277"/>
                    <a:pt x="5986" y="3120"/>
                    <a:pt x="5986" y="2899"/>
                  </a:cubicBezTo>
                  <a:lnTo>
                    <a:pt x="5986" y="379"/>
                  </a:lnTo>
                  <a:cubicBezTo>
                    <a:pt x="5955" y="190"/>
                    <a:pt x="5703" y="1"/>
                    <a:pt x="5482"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075" name="Google Shape;10075;p111"/>
            <p:cNvSpPr/>
            <p:nvPr/>
          </p:nvSpPr>
          <p:spPr>
            <a:xfrm>
              <a:off x="-59830825" y="2892525"/>
              <a:ext cx="201650" cy="95350"/>
            </a:xfrm>
            <a:custGeom>
              <a:avLst/>
              <a:gdLst/>
              <a:ahLst/>
              <a:cxnLst/>
              <a:rect l="l" t="t" r="r" b="b"/>
              <a:pathLst>
                <a:path w="8066" h="3814" extrusionOk="0">
                  <a:moveTo>
                    <a:pt x="5735" y="946"/>
                  </a:moveTo>
                  <a:lnTo>
                    <a:pt x="6963" y="2175"/>
                  </a:lnTo>
                  <a:cubicBezTo>
                    <a:pt x="6113" y="2710"/>
                    <a:pt x="5073" y="2994"/>
                    <a:pt x="4065" y="2994"/>
                  </a:cubicBezTo>
                  <a:cubicBezTo>
                    <a:pt x="3025" y="2994"/>
                    <a:pt x="2017" y="2710"/>
                    <a:pt x="1135" y="2175"/>
                  </a:cubicBezTo>
                  <a:lnTo>
                    <a:pt x="2364" y="946"/>
                  </a:lnTo>
                  <a:cubicBezTo>
                    <a:pt x="2868" y="1198"/>
                    <a:pt x="3466" y="1356"/>
                    <a:pt x="4065" y="1356"/>
                  </a:cubicBezTo>
                  <a:cubicBezTo>
                    <a:pt x="4600" y="1356"/>
                    <a:pt x="5199" y="1198"/>
                    <a:pt x="5735" y="946"/>
                  </a:cubicBezTo>
                  <a:close/>
                  <a:moveTo>
                    <a:pt x="5758" y="1"/>
                  </a:moveTo>
                  <a:cubicBezTo>
                    <a:pt x="5693" y="1"/>
                    <a:pt x="5630" y="11"/>
                    <a:pt x="5577" y="32"/>
                  </a:cubicBezTo>
                  <a:cubicBezTo>
                    <a:pt x="5105" y="316"/>
                    <a:pt x="4569" y="474"/>
                    <a:pt x="4002" y="474"/>
                  </a:cubicBezTo>
                  <a:cubicBezTo>
                    <a:pt x="3956" y="476"/>
                    <a:pt x="3911" y="478"/>
                    <a:pt x="3865" y="478"/>
                  </a:cubicBezTo>
                  <a:cubicBezTo>
                    <a:pt x="3376" y="478"/>
                    <a:pt x="2890" y="326"/>
                    <a:pt x="2458" y="95"/>
                  </a:cubicBezTo>
                  <a:cubicBezTo>
                    <a:pt x="2389" y="54"/>
                    <a:pt x="2315" y="31"/>
                    <a:pt x="2239" y="31"/>
                  </a:cubicBezTo>
                  <a:cubicBezTo>
                    <a:pt x="2142" y="31"/>
                    <a:pt x="2043" y="70"/>
                    <a:pt x="1954" y="158"/>
                  </a:cubicBezTo>
                  <a:lnTo>
                    <a:pt x="190" y="1923"/>
                  </a:lnTo>
                  <a:cubicBezTo>
                    <a:pt x="1" y="2143"/>
                    <a:pt x="32" y="2395"/>
                    <a:pt x="221" y="2553"/>
                  </a:cubicBezTo>
                  <a:cubicBezTo>
                    <a:pt x="1324" y="3403"/>
                    <a:pt x="2616" y="3813"/>
                    <a:pt x="4002" y="3813"/>
                  </a:cubicBezTo>
                  <a:cubicBezTo>
                    <a:pt x="5388" y="3813"/>
                    <a:pt x="6711" y="3403"/>
                    <a:pt x="7814" y="2521"/>
                  </a:cubicBezTo>
                  <a:cubicBezTo>
                    <a:pt x="8035" y="2364"/>
                    <a:pt x="8066" y="2080"/>
                    <a:pt x="7877" y="1891"/>
                  </a:cubicBezTo>
                  <a:lnTo>
                    <a:pt x="6113" y="127"/>
                  </a:lnTo>
                  <a:cubicBezTo>
                    <a:pt x="6029" y="43"/>
                    <a:pt x="5889" y="1"/>
                    <a:pt x="5758"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076" name="Google Shape;10076;p111"/>
            <p:cNvSpPr/>
            <p:nvPr/>
          </p:nvSpPr>
          <p:spPr>
            <a:xfrm>
              <a:off x="-59719775" y="2671925"/>
              <a:ext cx="149675" cy="256425"/>
            </a:xfrm>
            <a:custGeom>
              <a:avLst/>
              <a:gdLst/>
              <a:ahLst/>
              <a:cxnLst/>
              <a:rect l="l" t="t" r="r" b="b"/>
              <a:pathLst>
                <a:path w="5987" h="10257" extrusionOk="0">
                  <a:moveTo>
                    <a:pt x="820" y="917"/>
                  </a:moveTo>
                  <a:cubicBezTo>
                    <a:pt x="3309" y="1453"/>
                    <a:pt x="5105" y="3690"/>
                    <a:pt x="5105" y="6273"/>
                  </a:cubicBezTo>
                  <a:cubicBezTo>
                    <a:pt x="5073" y="7344"/>
                    <a:pt x="4790" y="8352"/>
                    <a:pt x="4254" y="9235"/>
                  </a:cubicBezTo>
                  <a:lnTo>
                    <a:pt x="3025" y="8006"/>
                  </a:lnTo>
                  <a:cubicBezTo>
                    <a:pt x="3309" y="7502"/>
                    <a:pt x="3435" y="6903"/>
                    <a:pt x="3435" y="6305"/>
                  </a:cubicBezTo>
                  <a:cubicBezTo>
                    <a:pt x="3435" y="4572"/>
                    <a:pt x="2332" y="3154"/>
                    <a:pt x="820" y="2650"/>
                  </a:cubicBezTo>
                  <a:lnTo>
                    <a:pt x="820" y="917"/>
                  </a:lnTo>
                  <a:close/>
                  <a:moveTo>
                    <a:pt x="419" y="0"/>
                  </a:moveTo>
                  <a:cubicBezTo>
                    <a:pt x="190" y="0"/>
                    <a:pt x="1" y="180"/>
                    <a:pt x="1" y="413"/>
                  </a:cubicBezTo>
                  <a:lnTo>
                    <a:pt x="1" y="2934"/>
                  </a:lnTo>
                  <a:cubicBezTo>
                    <a:pt x="1" y="3123"/>
                    <a:pt x="127" y="3280"/>
                    <a:pt x="316" y="3312"/>
                  </a:cubicBezTo>
                  <a:cubicBezTo>
                    <a:pt x="1639" y="3658"/>
                    <a:pt x="2647" y="4855"/>
                    <a:pt x="2647" y="6273"/>
                  </a:cubicBezTo>
                  <a:cubicBezTo>
                    <a:pt x="2647" y="6809"/>
                    <a:pt x="2490" y="7376"/>
                    <a:pt x="2206" y="7848"/>
                  </a:cubicBezTo>
                  <a:cubicBezTo>
                    <a:pt x="2080" y="8006"/>
                    <a:pt x="2112" y="8195"/>
                    <a:pt x="2269" y="8352"/>
                  </a:cubicBezTo>
                  <a:lnTo>
                    <a:pt x="4065" y="10117"/>
                  </a:lnTo>
                  <a:cubicBezTo>
                    <a:pt x="4149" y="10214"/>
                    <a:pt x="4251" y="10257"/>
                    <a:pt x="4353" y="10257"/>
                  </a:cubicBezTo>
                  <a:cubicBezTo>
                    <a:pt x="4481" y="10257"/>
                    <a:pt x="4608" y="10190"/>
                    <a:pt x="4695" y="10085"/>
                  </a:cubicBezTo>
                  <a:cubicBezTo>
                    <a:pt x="5514" y="8982"/>
                    <a:pt x="5987" y="7659"/>
                    <a:pt x="5987" y="6273"/>
                  </a:cubicBezTo>
                  <a:cubicBezTo>
                    <a:pt x="5892" y="3123"/>
                    <a:pt x="3529" y="445"/>
                    <a:pt x="474" y="4"/>
                  </a:cubicBezTo>
                  <a:cubicBezTo>
                    <a:pt x="455" y="1"/>
                    <a:pt x="437" y="0"/>
                    <a:pt x="419"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077" name="Google Shape;10077;p111"/>
            <p:cNvSpPr/>
            <p:nvPr/>
          </p:nvSpPr>
          <p:spPr>
            <a:xfrm>
              <a:off x="-59762300" y="2757075"/>
              <a:ext cx="63025" cy="145725"/>
            </a:xfrm>
            <a:custGeom>
              <a:avLst/>
              <a:gdLst/>
              <a:ahLst/>
              <a:cxnLst/>
              <a:rect l="l" t="t" r="r" b="b"/>
              <a:pathLst>
                <a:path w="2521" h="5829" extrusionOk="0">
                  <a:moveTo>
                    <a:pt x="1261" y="0"/>
                  </a:moveTo>
                  <a:cubicBezTo>
                    <a:pt x="1040" y="0"/>
                    <a:pt x="820" y="189"/>
                    <a:pt x="820" y="378"/>
                  </a:cubicBezTo>
                  <a:lnTo>
                    <a:pt x="820" y="662"/>
                  </a:lnTo>
                  <a:cubicBezTo>
                    <a:pt x="347" y="819"/>
                    <a:pt x="1" y="1292"/>
                    <a:pt x="1" y="1827"/>
                  </a:cubicBezTo>
                  <a:cubicBezTo>
                    <a:pt x="1" y="2521"/>
                    <a:pt x="568" y="2899"/>
                    <a:pt x="977" y="3214"/>
                  </a:cubicBezTo>
                  <a:cubicBezTo>
                    <a:pt x="1292" y="3466"/>
                    <a:pt x="1670" y="3686"/>
                    <a:pt x="1670" y="3938"/>
                  </a:cubicBezTo>
                  <a:cubicBezTo>
                    <a:pt x="1670" y="4159"/>
                    <a:pt x="1450" y="4348"/>
                    <a:pt x="1261" y="4348"/>
                  </a:cubicBezTo>
                  <a:cubicBezTo>
                    <a:pt x="1072" y="4348"/>
                    <a:pt x="820" y="4159"/>
                    <a:pt x="820" y="3938"/>
                  </a:cubicBezTo>
                  <a:cubicBezTo>
                    <a:pt x="820" y="3686"/>
                    <a:pt x="631" y="3497"/>
                    <a:pt x="442" y="3497"/>
                  </a:cubicBezTo>
                  <a:cubicBezTo>
                    <a:pt x="253" y="3497"/>
                    <a:pt x="32" y="3686"/>
                    <a:pt x="32" y="3938"/>
                  </a:cubicBezTo>
                  <a:cubicBezTo>
                    <a:pt x="32" y="4474"/>
                    <a:pt x="410" y="4915"/>
                    <a:pt x="883" y="5104"/>
                  </a:cubicBezTo>
                  <a:lnTo>
                    <a:pt x="883" y="5387"/>
                  </a:lnTo>
                  <a:cubicBezTo>
                    <a:pt x="883" y="5608"/>
                    <a:pt x="1072" y="5829"/>
                    <a:pt x="1292" y="5829"/>
                  </a:cubicBezTo>
                  <a:cubicBezTo>
                    <a:pt x="1544" y="5829"/>
                    <a:pt x="1702" y="5608"/>
                    <a:pt x="1702" y="5387"/>
                  </a:cubicBezTo>
                  <a:lnTo>
                    <a:pt x="1702" y="5104"/>
                  </a:lnTo>
                  <a:cubicBezTo>
                    <a:pt x="2175" y="4946"/>
                    <a:pt x="2521" y="4474"/>
                    <a:pt x="2521" y="3938"/>
                  </a:cubicBezTo>
                  <a:cubicBezTo>
                    <a:pt x="2521" y="3245"/>
                    <a:pt x="1985" y="2867"/>
                    <a:pt x="1544" y="2552"/>
                  </a:cubicBezTo>
                  <a:cubicBezTo>
                    <a:pt x="1229" y="2300"/>
                    <a:pt x="883" y="2079"/>
                    <a:pt x="883" y="1827"/>
                  </a:cubicBezTo>
                  <a:cubicBezTo>
                    <a:pt x="883" y="1607"/>
                    <a:pt x="1072" y="1418"/>
                    <a:pt x="1292" y="1418"/>
                  </a:cubicBezTo>
                  <a:cubicBezTo>
                    <a:pt x="1544" y="1418"/>
                    <a:pt x="1702" y="1607"/>
                    <a:pt x="1702" y="1827"/>
                  </a:cubicBezTo>
                  <a:cubicBezTo>
                    <a:pt x="1702" y="2079"/>
                    <a:pt x="1891" y="2268"/>
                    <a:pt x="2143" y="2268"/>
                  </a:cubicBezTo>
                  <a:cubicBezTo>
                    <a:pt x="2364" y="2268"/>
                    <a:pt x="2521" y="2079"/>
                    <a:pt x="2521" y="1827"/>
                  </a:cubicBezTo>
                  <a:cubicBezTo>
                    <a:pt x="2521" y="1292"/>
                    <a:pt x="2175" y="851"/>
                    <a:pt x="1702" y="662"/>
                  </a:cubicBezTo>
                  <a:lnTo>
                    <a:pt x="1702" y="378"/>
                  </a:lnTo>
                  <a:cubicBezTo>
                    <a:pt x="1702" y="189"/>
                    <a:pt x="1513" y="0"/>
                    <a:pt x="1261"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10078" name="Google Shape;10078;p111"/>
          <p:cNvGrpSpPr/>
          <p:nvPr/>
        </p:nvGrpSpPr>
        <p:grpSpPr>
          <a:xfrm>
            <a:off x="3493606" y="5709302"/>
            <a:ext cx="489553" cy="488359"/>
            <a:chOff x="-59092025" y="2296300"/>
            <a:chExt cx="317425" cy="316650"/>
          </a:xfrm>
        </p:grpSpPr>
        <p:sp>
          <p:nvSpPr>
            <p:cNvPr id="10079" name="Google Shape;10079;p111"/>
            <p:cNvSpPr/>
            <p:nvPr/>
          </p:nvSpPr>
          <p:spPr>
            <a:xfrm>
              <a:off x="-58994350" y="2382950"/>
              <a:ext cx="122875" cy="133925"/>
            </a:xfrm>
            <a:custGeom>
              <a:avLst/>
              <a:gdLst/>
              <a:ahLst/>
              <a:cxnLst/>
              <a:rect l="l" t="t" r="r" b="b"/>
              <a:pathLst>
                <a:path w="4915" h="5357" extrusionOk="0">
                  <a:moveTo>
                    <a:pt x="2457" y="819"/>
                  </a:moveTo>
                  <a:cubicBezTo>
                    <a:pt x="2930" y="819"/>
                    <a:pt x="3277" y="1166"/>
                    <a:pt x="3277" y="1639"/>
                  </a:cubicBezTo>
                  <a:cubicBezTo>
                    <a:pt x="3277" y="2111"/>
                    <a:pt x="2930" y="2458"/>
                    <a:pt x="2457" y="2458"/>
                  </a:cubicBezTo>
                  <a:cubicBezTo>
                    <a:pt x="1985" y="2458"/>
                    <a:pt x="1607" y="2111"/>
                    <a:pt x="1607" y="1639"/>
                  </a:cubicBezTo>
                  <a:cubicBezTo>
                    <a:pt x="1607" y="1166"/>
                    <a:pt x="2016" y="819"/>
                    <a:pt x="2457" y="819"/>
                  </a:cubicBezTo>
                  <a:close/>
                  <a:moveTo>
                    <a:pt x="2489" y="3245"/>
                  </a:moveTo>
                  <a:cubicBezTo>
                    <a:pt x="3277" y="3245"/>
                    <a:pt x="3907" y="3781"/>
                    <a:pt x="4096" y="4506"/>
                  </a:cubicBezTo>
                  <a:lnTo>
                    <a:pt x="882" y="4506"/>
                  </a:lnTo>
                  <a:cubicBezTo>
                    <a:pt x="1071" y="3812"/>
                    <a:pt x="1701" y="3245"/>
                    <a:pt x="2489" y="3245"/>
                  </a:cubicBezTo>
                  <a:close/>
                  <a:moveTo>
                    <a:pt x="2489" y="0"/>
                  </a:moveTo>
                  <a:cubicBezTo>
                    <a:pt x="1575" y="0"/>
                    <a:pt x="819" y="725"/>
                    <a:pt x="819" y="1639"/>
                  </a:cubicBezTo>
                  <a:cubicBezTo>
                    <a:pt x="819" y="2080"/>
                    <a:pt x="977" y="2458"/>
                    <a:pt x="1292" y="2773"/>
                  </a:cubicBezTo>
                  <a:cubicBezTo>
                    <a:pt x="567" y="3214"/>
                    <a:pt x="0" y="4001"/>
                    <a:pt x="0" y="4947"/>
                  </a:cubicBezTo>
                  <a:cubicBezTo>
                    <a:pt x="0" y="5199"/>
                    <a:pt x="189" y="5356"/>
                    <a:pt x="410" y="5356"/>
                  </a:cubicBezTo>
                  <a:lnTo>
                    <a:pt x="4537" y="5356"/>
                  </a:lnTo>
                  <a:cubicBezTo>
                    <a:pt x="4757" y="5356"/>
                    <a:pt x="4915" y="5136"/>
                    <a:pt x="4915" y="4947"/>
                  </a:cubicBezTo>
                  <a:cubicBezTo>
                    <a:pt x="4915" y="4001"/>
                    <a:pt x="4411" y="3182"/>
                    <a:pt x="3655" y="2773"/>
                  </a:cubicBezTo>
                  <a:cubicBezTo>
                    <a:pt x="3938" y="2458"/>
                    <a:pt x="4127" y="2080"/>
                    <a:pt x="4127" y="1639"/>
                  </a:cubicBezTo>
                  <a:cubicBezTo>
                    <a:pt x="4127" y="725"/>
                    <a:pt x="3403" y="0"/>
                    <a:pt x="2489"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080" name="Google Shape;10080;p111"/>
            <p:cNvSpPr/>
            <p:nvPr/>
          </p:nvSpPr>
          <p:spPr>
            <a:xfrm>
              <a:off x="-59092025" y="2296300"/>
              <a:ext cx="317425" cy="316650"/>
            </a:xfrm>
            <a:custGeom>
              <a:avLst/>
              <a:gdLst/>
              <a:ahLst/>
              <a:cxnLst/>
              <a:rect l="l" t="t" r="r" b="b"/>
              <a:pathLst>
                <a:path w="12697" h="12666" extrusionOk="0">
                  <a:moveTo>
                    <a:pt x="1261" y="820"/>
                  </a:moveTo>
                  <a:cubicBezTo>
                    <a:pt x="1513" y="820"/>
                    <a:pt x="1702" y="1009"/>
                    <a:pt x="1702" y="1198"/>
                  </a:cubicBezTo>
                  <a:cubicBezTo>
                    <a:pt x="1670" y="1450"/>
                    <a:pt x="1513" y="1639"/>
                    <a:pt x="1261" y="1639"/>
                  </a:cubicBezTo>
                  <a:cubicBezTo>
                    <a:pt x="1040" y="1639"/>
                    <a:pt x="883" y="1450"/>
                    <a:pt x="883" y="1198"/>
                  </a:cubicBezTo>
                  <a:cubicBezTo>
                    <a:pt x="883" y="977"/>
                    <a:pt x="1072" y="820"/>
                    <a:pt x="1261" y="820"/>
                  </a:cubicBezTo>
                  <a:close/>
                  <a:moveTo>
                    <a:pt x="11468" y="820"/>
                  </a:moveTo>
                  <a:cubicBezTo>
                    <a:pt x="11720" y="820"/>
                    <a:pt x="11878" y="1009"/>
                    <a:pt x="11878" y="1198"/>
                  </a:cubicBezTo>
                  <a:cubicBezTo>
                    <a:pt x="11878" y="1450"/>
                    <a:pt x="11657" y="1639"/>
                    <a:pt x="11468" y="1639"/>
                  </a:cubicBezTo>
                  <a:cubicBezTo>
                    <a:pt x="11248" y="1639"/>
                    <a:pt x="11027" y="1450"/>
                    <a:pt x="11027" y="1198"/>
                  </a:cubicBezTo>
                  <a:cubicBezTo>
                    <a:pt x="11027" y="1009"/>
                    <a:pt x="11248" y="820"/>
                    <a:pt x="11468" y="820"/>
                  </a:cubicBezTo>
                  <a:close/>
                  <a:moveTo>
                    <a:pt x="6396" y="2616"/>
                  </a:moveTo>
                  <a:cubicBezTo>
                    <a:pt x="7341" y="2616"/>
                    <a:pt x="8286" y="2994"/>
                    <a:pt x="9042" y="3718"/>
                  </a:cubicBezTo>
                  <a:cubicBezTo>
                    <a:pt x="10492" y="5136"/>
                    <a:pt x="10492" y="7499"/>
                    <a:pt x="9042" y="8917"/>
                  </a:cubicBezTo>
                  <a:cubicBezTo>
                    <a:pt x="8318" y="9641"/>
                    <a:pt x="7373" y="10019"/>
                    <a:pt x="6396" y="10019"/>
                  </a:cubicBezTo>
                  <a:cubicBezTo>
                    <a:pt x="4348" y="10019"/>
                    <a:pt x="2647" y="8381"/>
                    <a:pt x="2647" y="6333"/>
                  </a:cubicBezTo>
                  <a:cubicBezTo>
                    <a:pt x="2647" y="4222"/>
                    <a:pt x="4348" y="2616"/>
                    <a:pt x="6396" y="2616"/>
                  </a:cubicBezTo>
                  <a:close/>
                  <a:moveTo>
                    <a:pt x="1261" y="10965"/>
                  </a:moveTo>
                  <a:cubicBezTo>
                    <a:pt x="1513" y="10965"/>
                    <a:pt x="1702" y="11185"/>
                    <a:pt x="1702" y="11406"/>
                  </a:cubicBezTo>
                  <a:cubicBezTo>
                    <a:pt x="1670" y="11658"/>
                    <a:pt x="1513" y="11847"/>
                    <a:pt x="1261" y="11847"/>
                  </a:cubicBezTo>
                  <a:cubicBezTo>
                    <a:pt x="1040" y="11847"/>
                    <a:pt x="883" y="11658"/>
                    <a:pt x="883" y="11406"/>
                  </a:cubicBezTo>
                  <a:cubicBezTo>
                    <a:pt x="883" y="11185"/>
                    <a:pt x="1072" y="10965"/>
                    <a:pt x="1261" y="10965"/>
                  </a:cubicBezTo>
                  <a:close/>
                  <a:moveTo>
                    <a:pt x="11468" y="11028"/>
                  </a:moveTo>
                  <a:cubicBezTo>
                    <a:pt x="11720" y="11028"/>
                    <a:pt x="11878" y="11217"/>
                    <a:pt x="11878" y="11437"/>
                  </a:cubicBezTo>
                  <a:cubicBezTo>
                    <a:pt x="11878" y="11689"/>
                    <a:pt x="11657" y="11878"/>
                    <a:pt x="11468" y="11878"/>
                  </a:cubicBezTo>
                  <a:cubicBezTo>
                    <a:pt x="11248" y="11878"/>
                    <a:pt x="11027" y="11689"/>
                    <a:pt x="11027" y="11437"/>
                  </a:cubicBezTo>
                  <a:cubicBezTo>
                    <a:pt x="11027" y="11217"/>
                    <a:pt x="11248" y="11028"/>
                    <a:pt x="11468" y="11028"/>
                  </a:cubicBezTo>
                  <a:close/>
                  <a:moveTo>
                    <a:pt x="1229" y="1"/>
                  </a:moveTo>
                  <a:cubicBezTo>
                    <a:pt x="567" y="1"/>
                    <a:pt x="0" y="536"/>
                    <a:pt x="0" y="1198"/>
                  </a:cubicBezTo>
                  <a:cubicBezTo>
                    <a:pt x="0" y="1891"/>
                    <a:pt x="567" y="2458"/>
                    <a:pt x="1229" y="2458"/>
                  </a:cubicBezTo>
                  <a:cubicBezTo>
                    <a:pt x="1418" y="2458"/>
                    <a:pt x="1576" y="2427"/>
                    <a:pt x="1796" y="2364"/>
                  </a:cubicBezTo>
                  <a:lnTo>
                    <a:pt x="2836" y="3403"/>
                  </a:lnTo>
                  <a:cubicBezTo>
                    <a:pt x="2174" y="4222"/>
                    <a:pt x="1828" y="5231"/>
                    <a:pt x="1828" y="6302"/>
                  </a:cubicBezTo>
                  <a:cubicBezTo>
                    <a:pt x="1828" y="7341"/>
                    <a:pt x="2174" y="8381"/>
                    <a:pt x="2899" y="9200"/>
                  </a:cubicBezTo>
                  <a:lnTo>
                    <a:pt x="1796" y="10303"/>
                  </a:lnTo>
                  <a:cubicBezTo>
                    <a:pt x="1639" y="10240"/>
                    <a:pt x="1418" y="10177"/>
                    <a:pt x="1229" y="10177"/>
                  </a:cubicBezTo>
                  <a:cubicBezTo>
                    <a:pt x="567" y="10177"/>
                    <a:pt x="0" y="10744"/>
                    <a:pt x="0" y="11437"/>
                  </a:cubicBezTo>
                  <a:cubicBezTo>
                    <a:pt x="0" y="12130"/>
                    <a:pt x="567" y="12666"/>
                    <a:pt x="1229" y="12666"/>
                  </a:cubicBezTo>
                  <a:cubicBezTo>
                    <a:pt x="1891" y="12666"/>
                    <a:pt x="2489" y="12130"/>
                    <a:pt x="2489" y="11437"/>
                  </a:cubicBezTo>
                  <a:cubicBezTo>
                    <a:pt x="2489" y="11248"/>
                    <a:pt x="2458" y="11091"/>
                    <a:pt x="2363" y="10901"/>
                  </a:cubicBezTo>
                  <a:lnTo>
                    <a:pt x="3466" y="9799"/>
                  </a:lnTo>
                  <a:cubicBezTo>
                    <a:pt x="4317" y="10460"/>
                    <a:pt x="5325" y="10838"/>
                    <a:pt x="6396" y="10838"/>
                  </a:cubicBezTo>
                  <a:cubicBezTo>
                    <a:pt x="7467" y="10838"/>
                    <a:pt x="8475" y="10492"/>
                    <a:pt x="9263" y="9830"/>
                  </a:cubicBezTo>
                  <a:lnTo>
                    <a:pt x="10334" y="10901"/>
                  </a:lnTo>
                  <a:cubicBezTo>
                    <a:pt x="10240" y="11059"/>
                    <a:pt x="10208" y="11248"/>
                    <a:pt x="10208" y="11437"/>
                  </a:cubicBezTo>
                  <a:cubicBezTo>
                    <a:pt x="10208" y="12099"/>
                    <a:pt x="10775" y="12666"/>
                    <a:pt x="11468" y="12666"/>
                  </a:cubicBezTo>
                  <a:cubicBezTo>
                    <a:pt x="12130" y="12666"/>
                    <a:pt x="12697" y="12099"/>
                    <a:pt x="12697" y="11437"/>
                  </a:cubicBezTo>
                  <a:cubicBezTo>
                    <a:pt x="12697" y="10775"/>
                    <a:pt x="12130" y="10177"/>
                    <a:pt x="11468" y="10177"/>
                  </a:cubicBezTo>
                  <a:cubicBezTo>
                    <a:pt x="11279" y="10177"/>
                    <a:pt x="11122" y="10208"/>
                    <a:pt x="10933" y="10303"/>
                  </a:cubicBezTo>
                  <a:lnTo>
                    <a:pt x="9861" y="9232"/>
                  </a:lnTo>
                  <a:cubicBezTo>
                    <a:pt x="11279" y="7562"/>
                    <a:pt x="11279" y="5073"/>
                    <a:pt x="9861" y="3403"/>
                  </a:cubicBezTo>
                  <a:lnTo>
                    <a:pt x="10933" y="2364"/>
                  </a:lnTo>
                  <a:cubicBezTo>
                    <a:pt x="11122" y="2427"/>
                    <a:pt x="11279" y="2458"/>
                    <a:pt x="11468" y="2458"/>
                  </a:cubicBezTo>
                  <a:cubicBezTo>
                    <a:pt x="12130" y="2458"/>
                    <a:pt x="12697" y="1923"/>
                    <a:pt x="12697" y="1198"/>
                  </a:cubicBezTo>
                  <a:cubicBezTo>
                    <a:pt x="12697" y="536"/>
                    <a:pt x="12130" y="1"/>
                    <a:pt x="11468" y="1"/>
                  </a:cubicBezTo>
                  <a:cubicBezTo>
                    <a:pt x="10807" y="1"/>
                    <a:pt x="10208" y="536"/>
                    <a:pt x="10208" y="1198"/>
                  </a:cubicBezTo>
                  <a:cubicBezTo>
                    <a:pt x="10208" y="1419"/>
                    <a:pt x="10240" y="1576"/>
                    <a:pt x="10334" y="1765"/>
                  </a:cubicBezTo>
                  <a:lnTo>
                    <a:pt x="9263" y="2836"/>
                  </a:lnTo>
                  <a:cubicBezTo>
                    <a:pt x="8412" y="2127"/>
                    <a:pt x="7373" y="1773"/>
                    <a:pt x="6337" y="1773"/>
                  </a:cubicBezTo>
                  <a:cubicBezTo>
                    <a:pt x="5301" y="1773"/>
                    <a:pt x="4269" y="2127"/>
                    <a:pt x="3434" y="2836"/>
                  </a:cubicBezTo>
                  <a:lnTo>
                    <a:pt x="2363" y="1765"/>
                  </a:lnTo>
                  <a:cubicBezTo>
                    <a:pt x="2458" y="1608"/>
                    <a:pt x="2489" y="1419"/>
                    <a:pt x="2489" y="1198"/>
                  </a:cubicBezTo>
                  <a:cubicBezTo>
                    <a:pt x="2489" y="536"/>
                    <a:pt x="1954" y="1"/>
                    <a:pt x="1229"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10081" name="Google Shape;10081;p111"/>
          <p:cNvGrpSpPr/>
          <p:nvPr/>
        </p:nvGrpSpPr>
        <p:grpSpPr>
          <a:xfrm>
            <a:off x="6487481" y="2043861"/>
            <a:ext cx="470899" cy="463465"/>
            <a:chOff x="683125" y="1955275"/>
            <a:chExt cx="299325" cy="294600"/>
          </a:xfrm>
        </p:grpSpPr>
        <p:sp>
          <p:nvSpPr>
            <p:cNvPr id="10082" name="Google Shape;10082;p111"/>
            <p:cNvSpPr/>
            <p:nvPr/>
          </p:nvSpPr>
          <p:spPr>
            <a:xfrm>
              <a:off x="876875" y="1989925"/>
              <a:ext cx="52800" cy="63825"/>
            </a:xfrm>
            <a:custGeom>
              <a:avLst/>
              <a:gdLst/>
              <a:ahLst/>
              <a:cxnLst/>
              <a:rect l="l" t="t" r="r" b="b"/>
              <a:pathLst>
                <a:path w="2112" h="2553" extrusionOk="0">
                  <a:moveTo>
                    <a:pt x="1072" y="0"/>
                  </a:moveTo>
                  <a:cubicBezTo>
                    <a:pt x="473" y="0"/>
                    <a:pt x="64" y="473"/>
                    <a:pt x="64" y="1009"/>
                  </a:cubicBezTo>
                  <a:cubicBezTo>
                    <a:pt x="1" y="1229"/>
                    <a:pt x="158" y="1324"/>
                    <a:pt x="379" y="1324"/>
                  </a:cubicBezTo>
                  <a:cubicBezTo>
                    <a:pt x="568" y="1324"/>
                    <a:pt x="725" y="1166"/>
                    <a:pt x="725" y="977"/>
                  </a:cubicBezTo>
                  <a:cubicBezTo>
                    <a:pt x="725" y="788"/>
                    <a:pt x="883" y="631"/>
                    <a:pt x="1072" y="631"/>
                  </a:cubicBezTo>
                  <a:cubicBezTo>
                    <a:pt x="1261" y="631"/>
                    <a:pt x="1418" y="788"/>
                    <a:pt x="1418" y="977"/>
                  </a:cubicBezTo>
                  <a:cubicBezTo>
                    <a:pt x="1418" y="1103"/>
                    <a:pt x="1355" y="1198"/>
                    <a:pt x="1229" y="1292"/>
                  </a:cubicBezTo>
                  <a:cubicBezTo>
                    <a:pt x="914" y="1450"/>
                    <a:pt x="725" y="1796"/>
                    <a:pt x="725" y="2206"/>
                  </a:cubicBezTo>
                  <a:cubicBezTo>
                    <a:pt x="725" y="2395"/>
                    <a:pt x="883" y="2552"/>
                    <a:pt x="1072" y="2552"/>
                  </a:cubicBezTo>
                  <a:cubicBezTo>
                    <a:pt x="1261" y="2552"/>
                    <a:pt x="1418" y="2395"/>
                    <a:pt x="1418" y="2206"/>
                  </a:cubicBezTo>
                  <a:cubicBezTo>
                    <a:pt x="1418" y="2080"/>
                    <a:pt x="1481" y="1954"/>
                    <a:pt x="1544" y="1922"/>
                  </a:cubicBezTo>
                  <a:cubicBezTo>
                    <a:pt x="1891" y="1733"/>
                    <a:pt x="2111" y="1355"/>
                    <a:pt x="2111" y="1009"/>
                  </a:cubicBezTo>
                  <a:cubicBezTo>
                    <a:pt x="2111" y="410"/>
                    <a:pt x="1639" y="0"/>
                    <a:pt x="1072"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083" name="Google Shape;10083;p111"/>
            <p:cNvSpPr/>
            <p:nvPr/>
          </p:nvSpPr>
          <p:spPr>
            <a:xfrm>
              <a:off x="683125" y="2058450"/>
              <a:ext cx="159900" cy="191425"/>
            </a:xfrm>
            <a:custGeom>
              <a:avLst/>
              <a:gdLst/>
              <a:ahLst/>
              <a:cxnLst/>
              <a:rect l="l" t="t" r="r" b="b"/>
              <a:pathLst>
                <a:path w="6396" h="7657" extrusionOk="0">
                  <a:moveTo>
                    <a:pt x="3245" y="693"/>
                  </a:moveTo>
                  <a:cubicBezTo>
                    <a:pt x="3812" y="693"/>
                    <a:pt x="4285" y="1166"/>
                    <a:pt x="4285" y="1702"/>
                  </a:cubicBezTo>
                  <a:cubicBezTo>
                    <a:pt x="4285" y="2269"/>
                    <a:pt x="3812" y="2710"/>
                    <a:pt x="3245" y="2710"/>
                  </a:cubicBezTo>
                  <a:cubicBezTo>
                    <a:pt x="2647" y="2710"/>
                    <a:pt x="2174" y="2269"/>
                    <a:pt x="2174" y="1702"/>
                  </a:cubicBezTo>
                  <a:cubicBezTo>
                    <a:pt x="2174" y="1166"/>
                    <a:pt x="2678" y="693"/>
                    <a:pt x="3245" y="693"/>
                  </a:cubicBezTo>
                  <a:close/>
                  <a:moveTo>
                    <a:pt x="3245" y="3434"/>
                  </a:moveTo>
                  <a:cubicBezTo>
                    <a:pt x="4569" y="3434"/>
                    <a:pt x="5671" y="4537"/>
                    <a:pt x="5671" y="5892"/>
                  </a:cubicBezTo>
                  <a:lnTo>
                    <a:pt x="5671" y="6994"/>
                  </a:lnTo>
                  <a:lnTo>
                    <a:pt x="788" y="6994"/>
                  </a:lnTo>
                  <a:lnTo>
                    <a:pt x="788" y="5892"/>
                  </a:lnTo>
                  <a:cubicBezTo>
                    <a:pt x="788" y="4537"/>
                    <a:pt x="1891" y="3434"/>
                    <a:pt x="3245" y="3434"/>
                  </a:cubicBezTo>
                  <a:close/>
                  <a:moveTo>
                    <a:pt x="3182" y="0"/>
                  </a:moveTo>
                  <a:cubicBezTo>
                    <a:pt x="2237" y="0"/>
                    <a:pt x="1418" y="788"/>
                    <a:pt x="1418" y="1733"/>
                  </a:cubicBezTo>
                  <a:cubicBezTo>
                    <a:pt x="1418" y="2206"/>
                    <a:pt x="1607" y="2678"/>
                    <a:pt x="1985" y="2993"/>
                  </a:cubicBezTo>
                  <a:cubicBezTo>
                    <a:pt x="819" y="3466"/>
                    <a:pt x="0" y="4569"/>
                    <a:pt x="0" y="5892"/>
                  </a:cubicBezTo>
                  <a:lnTo>
                    <a:pt x="0" y="7309"/>
                  </a:lnTo>
                  <a:cubicBezTo>
                    <a:pt x="126" y="7499"/>
                    <a:pt x="284" y="7656"/>
                    <a:pt x="441" y="7656"/>
                  </a:cubicBezTo>
                  <a:lnTo>
                    <a:pt x="6018" y="7656"/>
                  </a:lnTo>
                  <a:cubicBezTo>
                    <a:pt x="6238" y="7656"/>
                    <a:pt x="6396" y="7499"/>
                    <a:pt x="6396" y="7309"/>
                  </a:cubicBezTo>
                  <a:lnTo>
                    <a:pt x="6396" y="5892"/>
                  </a:lnTo>
                  <a:cubicBezTo>
                    <a:pt x="6396" y="4569"/>
                    <a:pt x="5545" y="3466"/>
                    <a:pt x="4411" y="2993"/>
                  </a:cubicBezTo>
                  <a:cubicBezTo>
                    <a:pt x="4758" y="2647"/>
                    <a:pt x="4978" y="2206"/>
                    <a:pt x="4978" y="1733"/>
                  </a:cubicBezTo>
                  <a:cubicBezTo>
                    <a:pt x="4978" y="788"/>
                    <a:pt x="4190" y="0"/>
                    <a:pt x="3182"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084" name="Google Shape;10084;p111"/>
            <p:cNvSpPr/>
            <p:nvPr/>
          </p:nvSpPr>
          <p:spPr>
            <a:xfrm>
              <a:off x="824900" y="1955275"/>
              <a:ext cx="157550" cy="155975"/>
            </a:xfrm>
            <a:custGeom>
              <a:avLst/>
              <a:gdLst/>
              <a:ahLst/>
              <a:cxnLst/>
              <a:rect l="l" t="t" r="r" b="b"/>
              <a:pathLst>
                <a:path w="6302" h="6239" extrusionOk="0">
                  <a:moveTo>
                    <a:pt x="3151" y="662"/>
                  </a:moveTo>
                  <a:cubicBezTo>
                    <a:pt x="4505" y="662"/>
                    <a:pt x="5608" y="1765"/>
                    <a:pt x="5608" y="3119"/>
                  </a:cubicBezTo>
                  <a:cubicBezTo>
                    <a:pt x="5608" y="4442"/>
                    <a:pt x="4505" y="5545"/>
                    <a:pt x="3151" y="5545"/>
                  </a:cubicBezTo>
                  <a:cubicBezTo>
                    <a:pt x="2710" y="5545"/>
                    <a:pt x="2332" y="5451"/>
                    <a:pt x="1954" y="5230"/>
                  </a:cubicBezTo>
                  <a:cubicBezTo>
                    <a:pt x="1890" y="5199"/>
                    <a:pt x="1796" y="5199"/>
                    <a:pt x="1733" y="5199"/>
                  </a:cubicBezTo>
                  <a:lnTo>
                    <a:pt x="945" y="5388"/>
                  </a:lnTo>
                  <a:lnTo>
                    <a:pt x="1166" y="4694"/>
                  </a:lnTo>
                  <a:cubicBezTo>
                    <a:pt x="1229" y="4568"/>
                    <a:pt x="1166" y="4505"/>
                    <a:pt x="1134" y="4411"/>
                  </a:cubicBezTo>
                  <a:cubicBezTo>
                    <a:pt x="914" y="4033"/>
                    <a:pt x="756" y="3592"/>
                    <a:pt x="756" y="3119"/>
                  </a:cubicBezTo>
                  <a:cubicBezTo>
                    <a:pt x="725" y="1733"/>
                    <a:pt x="1827" y="662"/>
                    <a:pt x="3151" y="662"/>
                  </a:cubicBezTo>
                  <a:close/>
                  <a:moveTo>
                    <a:pt x="3182" y="0"/>
                  </a:moveTo>
                  <a:cubicBezTo>
                    <a:pt x="1449" y="0"/>
                    <a:pt x="95" y="1418"/>
                    <a:pt x="95" y="3119"/>
                  </a:cubicBezTo>
                  <a:cubicBezTo>
                    <a:pt x="95" y="3655"/>
                    <a:pt x="189" y="4190"/>
                    <a:pt x="473" y="4663"/>
                  </a:cubicBezTo>
                  <a:lnTo>
                    <a:pt x="32" y="5766"/>
                  </a:lnTo>
                  <a:cubicBezTo>
                    <a:pt x="0" y="5860"/>
                    <a:pt x="32" y="5986"/>
                    <a:pt x="126" y="6112"/>
                  </a:cubicBezTo>
                  <a:cubicBezTo>
                    <a:pt x="189" y="6175"/>
                    <a:pt x="315" y="6238"/>
                    <a:pt x="473" y="6238"/>
                  </a:cubicBezTo>
                  <a:lnTo>
                    <a:pt x="1764" y="5923"/>
                  </a:lnTo>
                  <a:cubicBezTo>
                    <a:pt x="2206" y="6144"/>
                    <a:pt x="2678" y="6238"/>
                    <a:pt x="3182" y="6238"/>
                  </a:cubicBezTo>
                  <a:cubicBezTo>
                    <a:pt x="4915" y="6238"/>
                    <a:pt x="6301" y="4820"/>
                    <a:pt x="6301" y="3119"/>
                  </a:cubicBezTo>
                  <a:cubicBezTo>
                    <a:pt x="6301" y="1386"/>
                    <a:pt x="4883" y="0"/>
                    <a:pt x="3182"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085" name="Google Shape;10085;p111"/>
            <p:cNvSpPr/>
            <p:nvPr/>
          </p:nvSpPr>
          <p:spPr>
            <a:xfrm>
              <a:off x="895000" y="2058450"/>
              <a:ext cx="17350" cy="18125"/>
            </a:xfrm>
            <a:custGeom>
              <a:avLst/>
              <a:gdLst/>
              <a:ahLst/>
              <a:cxnLst/>
              <a:rect l="l" t="t" r="r" b="b"/>
              <a:pathLst>
                <a:path w="694" h="725" extrusionOk="0">
                  <a:moveTo>
                    <a:pt x="347" y="0"/>
                  </a:moveTo>
                  <a:cubicBezTo>
                    <a:pt x="158" y="0"/>
                    <a:pt x="0" y="158"/>
                    <a:pt x="0" y="378"/>
                  </a:cubicBezTo>
                  <a:cubicBezTo>
                    <a:pt x="0" y="567"/>
                    <a:pt x="158" y="725"/>
                    <a:pt x="347" y="725"/>
                  </a:cubicBezTo>
                  <a:cubicBezTo>
                    <a:pt x="536" y="725"/>
                    <a:pt x="693" y="567"/>
                    <a:pt x="693" y="378"/>
                  </a:cubicBezTo>
                  <a:cubicBezTo>
                    <a:pt x="693" y="158"/>
                    <a:pt x="536" y="0"/>
                    <a:pt x="347"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10086" name="Google Shape;10086;p111"/>
          <p:cNvGrpSpPr/>
          <p:nvPr/>
        </p:nvGrpSpPr>
        <p:grpSpPr>
          <a:xfrm>
            <a:off x="6488722" y="2644604"/>
            <a:ext cx="468420" cy="465981"/>
            <a:chOff x="685475" y="2318350"/>
            <a:chExt cx="297750" cy="296200"/>
          </a:xfrm>
        </p:grpSpPr>
        <p:sp>
          <p:nvSpPr>
            <p:cNvPr id="10087" name="Google Shape;10087;p111"/>
            <p:cNvSpPr/>
            <p:nvPr/>
          </p:nvSpPr>
          <p:spPr>
            <a:xfrm>
              <a:off x="685475" y="2371925"/>
              <a:ext cx="142600" cy="241975"/>
            </a:xfrm>
            <a:custGeom>
              <a:avLst/>
              <a:gdLst/>
              <a:ahLst/>
              <a:cxnLst/>
              <a:rect l="l" t="t" r="r" b="b"/>
              <a:pathLst>
                <a:path w="5704" h="9679" extrusionOk="0">
                  <a:moveTo>
                    <a:pt x="2080" y="662"/>
                  </a:moveTo>
                  <a:cubicBezTo>
                    <a:pt x="2458" y="662"/>
                    <a:pt x="2773" y="977"/>
                    <a:pt x="2773" y="1387"/>
                  </a:cubicBezTo>
                  <a:cubicBezTo>
                    <a:pt x="2773" y="1765"/>
                    <a:pt x="2458" y="2080"/>
                    <a:pt x="2080" y="2080"/>
                  </a:cubicBezTo>
                  <a:cubicBezTo>
                    <a:pt x="1671" y="2080"/>
                    <a:pt x="1356" y="1765"/>
                    <a:pt x="1356" y="1387"/>
                  </a:cubicBezTo>
                  <a:cubicBezTo>
                    <a:pt x="1356" y="977"/>
                    <a:pt x="1734" y="662"/>
                    <a:pt x="2080" y="662"/>
                  </a:cubicBezTo>
                  <a:close/>
                  <a:moveTo>
                    <a:pt x="2962" y="6900"/>
                  </a:moveTo>
                  <a:lnTo>
                    <a:pt x="3120" y="7593"/>
                  </a:lnTo>
                  <a:lnTo>
                    <a:pt x="1135" y="7593"/>
                  </a:lnTo>
                  <a:lnTo>
                    <a:pt x="1293" y="6900"/>
                  </a:lnTo>
                  <a:close/>
                  <a:moveTo>
                    <a:pt x="1742" y="2767"/>
                  </a:moveTo>
                  <a:cubicBezTo>
                    <a:pt x="1866" y="2767"/>
                    <a:pt x="1991" y="2831"/>
                    <a:pt x="2049" y="2962"/>
                  </a:cubicBezTo>
                  <a:lnTo>
                    <a:pt x="2553" y="3938"/>
                  </a:lnTo>
                  <a:cubicBezTo>
                    <a:pt x="2584" y="4064"/>
                    <a:pt x="2742" y="4127"/>
                    <a:pt x="2868" y="4127"/>
                  </a:cubicBezTo>
                  <a:lnTo>
                    <a:pt x="3813" y="4127"/>
                  </a:lnTo>
                  <a:cubicBezTo>
                    <a:pt x="4002" y="4127"/>
                    <a:pt x="4159" y="4285"/>
                    <a:pt x="4159" y="4474"/>
                  </a:cubicBezTo>
                  <a:cubicBezTo>
                    <a:pt x="4159" y="4695"/>
                    <a:pt x="4002" y="4852"/>
                    <a:pt x="3813" y="4852"/>
                  </a:cubicBezTo>
                  <a:lnTo>
                    <a:pt x="2427" y="4852"/>
                  </a:lnTo>
                  <a:cubicBezTo>
                    <a:pt x="2301" y="4852"/>
                    <a:pt x="2175" y="4758"/>
                    <a:pt x="2112" y="4631"/>
                  </a:cubicBezTo>
                  <a:cubicBezTo>
                    <a:pt x="2042" y="4515"/>
                    <a:pt x="1919" y="4450"/>
                    <a:pt x="1784" y="4450"/>
                  </a:cubicBezTo>
                  <a:cubicBezTo>
                    <a:pt x="1737" y="4450"/>
                    <a:pt x="1688" y="4458"/>
                    <a:pt x="1639" y="4474"/>
                  </a:cubicBezTo>
                  <a:cubicBezTo>
                    <a:pt x="1482" y="4568"/>
                    <a:pt x="1387" y="4758"/>
                    <a:pt x="1482" y="4947"/>
                  </a:cubicBezTo>
                  <a:cubicBezTo>
                    <a:pt x="1671" y="5325"/>
                    <a:pt x="2017" y="5545"/>
                    <a:pt x="2427" y="5545"/>
                  </a:cubicBezTo>
                  <a:lnTo>
                    <a:pt x="3813" y="5545"/>
                  </a:lnTo>
                  <a:cubicBezTo>
                    <a:pt x="3970" y="5545"/>
                    <a:pt x="4128" y="5671"/>
                    <a:pt x="4159" y="5829"/>
                  </a:cubicBezTo>
                  <a:lnTo>
                    <a:pt x="4853" y="8570"/>
                  </a:lnTo>
                  <a:cubicBezTo>
                    <a:pt x="4916" y="8790"/>
                    <a:pt x="4790" y="8979"/>
                    <a:pt x="4632" y="9011"/>
                  </a:cubicBezTo>
                  <a:cubicBezTo>
                    <a:pt x="4608" y="9015"/>
                    <a:pt x="4584" y="9017"/>
                    <a:pt x="4560" y="9017"/>
                  </a:cubicBezTo>
                  <a:cubicBezTo>
                    <a:pt x="4403" y="9017"/>
                    <a:pt x="4273" y="8927"/>
                    <a:pt x="4191" y="8790"/>
                  </a:cubicBezTo>
                  <a:lnTo>
                    <a:pt x="3655" y="6522"/>
                  </a:lnTo>
                  <a:cubicBezTo>
                    <a:pt x="3592" y="6364"/>
                    <a:pt x="3498" y="6270"/>
                    <a:pt x="3277" y="6270"/>
                  </a:cubicBezTo>
                  <a:lnTo>
                    <a:pt x="1040" y="6270"/>
                  </a:lnTo>
                  <a:cubicBezTo>
                    <a:pt x="914" y="6270"/>
                    <a:pt x="851" y="6207"/>
                    <a:pt x="757" y="6144"/>
                  </a:cubicBezTo>
                  <a:cubicBezTo>
                    <a:pt x="694" y="5986"/>
                    <a:pt x="694" y="5892"/>
                    <a:pt x="694" y="5797"/>
                  </a:cubicBezTo>
                  <a:lnTo>
                    <a:pt x="1419" y="3025"/>
                  </a:lnTo>
                  <a:cubicBezTo>
                    <a:pt x="1453" y="2855"/>
                    <a:pt x="1597" y="2767"/>
                    <a:pt x="1742" y="2767"/>
                  </a:cubicBezTo>
                  <a:close/>
                  <a:moveTo>
                    <a:pt x="2143" y="0"/>
                  </a:moveTo>
                  <a:cubicBezTo>
                    <a:pt x="1419" y="0"/>
                    <a:pt x="788" y="630"/>
                    <a:pt x="788" y="1387"/>
                  </a:cubicBezTo>
                  <a:cubicBezTo>
                    <a:pt x="788" y="1733"/>
                    <a:pt x="946" y="2080"/>
                    <a:pt x="1135" y="2332"/>
                  </a:cubicBezTo>
                  <a:cubicBezTo>
                    <a:pt x="977" y="2426"/>
                    <a:pt x="851" y="2647"/>
                    <a:pt x="788" y="2867"/>
                  </a:cubicBezTo>
                  <a:lnTo>
                    <a:pt x="64" y="5640"/>
                  </a:lnTo>
                  <a:cubicBezTo>
                    <a:pt x="1" y="5955"/>
                    <a:pt x="64" y="6270"/>
                    <a:pt x="253" y="6522"/>
                  </a:cubicBezTo>
                  <a:cubicBezTo>
                    <a:pt x="347" y="6648"/>
                    <a:pt x="473" y="6774"/>
                    <a:pt x="631" y="6805"/>
                  </a:cubicBezTo>
                  <a:lnTo>
                    <a:pt x="32" y="9263"/>
                  </a:lnTo>
                  <a:cubicBezTo>
                    <a:pt x="1" y="9452"/>
                    <a:pt x="95" y="9609"/>
                    <a:pt x="253" y="9672"/>
                  </a:cubicBezTo>
                  <a:cubicBezTo>
                    <a:pt x="281" y="9676"/>
                    <a:pt x="309" y="9678"/>
                    <a:pt x="335" y="9678"/>
                  </a:cubicBezTo>
                  <a:cubicBezTo>
                    <a:pt x="513" y="9678"/>
                    <a:pt x="639" y="9589"/>
                    <a:pt x="694" y="9452"/>
                  </a:cubicBezTo>
                  <a:lnTo>
                    <a:pt x="977" y="8318"/>
                  </a:lnTo>
                  <a:lnTo>
                    <a:pt x="3372" y="8318"/>
                  </a:lnTo>
                  <a:lnTo>
                    <a:pt x="3529" y="8885"/>
                  </a:lnTo>
                  <a:cubicBezTo>
                    <a:pt x="3661" y="9359"/>
                    <a:pt x="4079" y="9679"/>
                    <a:pt x="4526" y="9679"/>
                  </a:cubicBezTo>
                  <a:cubicBezTo>
                    <a:pt x="4613" y="9679"/>
                    <a:pt x="4702" y="9667"/>
                    <a:pt x="4790" y="9641"/>
                  </a:cubicBezTo>
                  <a:cubicBezTo>
                    <a:pt x="5357" y="9483"/>
                    <a:pt x="5703" y="8916"/>
                    <a:pt x="5546" y="8381"/>
                  </a:cubicBezTo>
                  <a:lnTo>
                    <a:pt x="4821" y="5640"/>
                  </a:lnTo>
                  <a:cubicBezTo>
                    <a:pt x="4790" y="5482"/>
                    <a:pt x="4727" y="5325"/>
                    <a:pt x="4601" y="5199"/>
                  </a:cubicBezTo>
                  <a:cubicBezTo>
                    <a:pt x="4758" y="5010"/>
                    <a:pt x="4884" y="4758"/>
                    <a:pt x="4884" y="4474"/>
                  </a:cubicBezTo>
                  <a:cubicBezTo>
                    <a:pt x="4884" y="3907"/>
                    <a:pt x="4412" y="3466"/>
                    <a:pt x="3844" y="3466"/>
                  </a:cubicBezTo>
                  <a:lnTo>
                    <a:pt x="3088" y="3466"/>
                  </a:lnTo>
                  <a:lnTo>
                    <a:pt x="2710" y="2647"/>
                  </a:lnTo>
                  <a:cubicBezTo>
                    <a:pt x="3183" y="2395"/>
                    <a:pt x="3529" y="1922"/>
                    <a:pt x="3529" y="1387"/>
                  </a:cubicBezTo>
                  <a:cubicBezTo>
                    <a:pt x="3529" y="630"/>
                    <a:pt x="2899" y="0"/>
                    <a:pt x="2143"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088" name="Google Shape;10088;p111"/>
            <p:cNvSpPr/>
            <p:nvPr/>
          </p:nvSpPr>
          <p:spPr>
            <a:xfrm>
              <a:off x="839850" y="2371925"/>
              <a:ext cx="143375" cy="242625"/>
            </a:xfrm>
            <a:custGeom>
              <a:avLst/>
              <a:gdLst/>
              <a:ahLst/>
              <a:cxnLst/>
              <a:rect l="l" t="t" r="r" b="b"/>
              <a:pathLst>
                <a:path w="5735" h="9705" extrusionOk="0">
                  <a:moveTo>
                    <a:pt x="3624" y="662"/>
                  </a:moveTo>
                  <a:cubicBezTo>
                    <a:pt x="4002" y="662"/>
                    <a:pt x="4317" y="977"/>
                    <a:pt x="4317" y="1355"/>
                  </a:cubicBezTo>
                  <a:cubicBezTo>
                    <a:pt x="4317" y="1765"/>
                    <a:pt x="4002" y="2080"/>
                    <a:pt x="3624" y="2080"/>
                  </a:cubicBezTo>
                  <a:cubicBezTo>
                    <a:pt x="3214" y="2080"/>
                    <a:pt x="2899" y="1765"/>
                    <a:pt x="2899" y="1355"/>
                  </a:cubicBezTo>
                  <a:cubicBezTo>
                    <a:pt x="2899" y="977"/>
                    <a:pt x="3214" y="662"/>
                    <a:pt x="3624" y="662"/>
                  </a:cubicBezTo>
                  <a:close/>
                  <a:moveTo>
                    <a:pt x="4317" y="6900"/>
                  </a:moveTo>
                  <a:lnTo>
                    <a:pt x="4474" y="7593"/>
                  </a:lnTo>
                  <a:lnTo>
                    <a:pt x="2490" y="7593"/>
                  </a:lnTo>
                  <a:lnTo>
                    <a:pt x="2647" y="6900"/>
                  </a:lnTo>
                  <a:close/>
                  <a:moveTo>
                    <a:pt x="3962" y="2731"/>
                  </a:moveTo>
                  <a:cubicBezTo>
                    <a:pt x="4108" y="2731"/>
                    <a:pt x="4250" y="2818"/>
                    <a:pt x="4285" y="2993"/>
                  </a:cubicBezTo>
                  <a:lnTo>
                    <a:pt x="4979" y="5734"/>
                  </a:lnTo>
                  <a:cubicBezTo>
                    <a:pt x="5010" y="6018"/>
                    <a:pt x="4853" y="6207"/>
                    <a:pt x="4632" y="6207"/>
                  </a:cubicBezTo>
                  <a:lnTo>
                    <a:pt x="2395" y="6207"/>
                  </a:lnTo>
                  <a:cubicBezTo>
                    <a:pt x="2238" y="6207"/>
                    <a:pt x="2080" y="6333"/>
                    <a:pt x="2049" y="6490"/>
                  </a:cubicBezTo>
                  <a:lnTo>
                    <a:pt x="1482" y="8727"/>
                  </a:lnTo>
                  <a:cubicBezTo>
                    <a:pt x="1456" y="8883"/>
                    <a:pt x="1323" y="8996"/>
                    <a:pt x="1154" y="8996"/>
                  </a:cubicBezTo>
                  <a:cubicBezTo>
                    <a:pt x="1118" y="8996"/>
                    <a:pt x="1080" y="8990"/>
                    <a:pt x="1040" y="8979"/>
                  </a:cubicBezTo>
                  <a:cubicBezTo>
                    <a:pt x="851" y="8916"/>
                    <a:pt x="725" y="8727"/>
                    <a:pt x="820" y="8538"/>
                  </a:cubicBezTo>
                  <a:lnTo>
                    <a:pt x="1513" y="5766"/>
                  </a:lnTo>
                  <a:cubicBezTo>
                    <a:pt x="1576" y="5608"/>
                    <a:pt x="1671" y="5514"/>
                    <a:pt x="1891" y="5514"/>
                  </a:cubicBezTo>
                  <a:lnTo>
                    <a:pt x="3246" y="5514"/>
                  </a:lnTo>
                  <a:cubicBezTo>
                    <a:pt x="3655" y="5514"/>
                    <a:pt x="4002" y="5262"/>
                    <a:pt x="4222" y="4915"/>
                  </a:cubicBezTo>
                  <a:cubicBezTo>
                    <a:pt x="4285" y="4758"/>
                    <a:pt x="4222" y="4537"/>
                    <a:pt x="4033" y="4442"/>
                  </a:cubicBezTo>
                  <a:cubicBezTo>
                    <a:pt x="3993" y="4426"/>
                    <a:pt x="3948" y="4418"/>
                    <a:pt x="3902" y="4418"/>
                  </a:cubicBezTo>
                  <a:cubicBezTo>
                    <a:pt x="3770" y="4418"/>
                    <a:pt x="3631" y="4483"/>
                    <a:pt x="3561" y="4600"/>
                  </a:cubicBezTo>
                  <a:cubicBezTo>
                    <a:pt x="3529" y="4726"/>
                    <a:pt x="3372" y="4789"/>
                    <a:pt x="3246" y="4789"/>
                  </a:cubicBezTo>
                  <a:lnTo>
                    <a:pt x="1891" y="4789"/>
                  </a:lnTo>
                  <a:cubicBezTo>
                    <a:pt x="1671" y="4789"/>
                    <a:pt x="1513" y="4631"/>
                    <a:pt x="1513" y="4442"/>
                  </a:cubicBezTo>
                  <a:cubicBezTo>
                    <a:pt x="1513" y="4253"/>
                    <a:pt x="1671" y="4096"/>
                    <a:pt x="1891" y="4096"/>
                  </a:cubicBezTo>
                  <a:lnTo>
                    <a:pt x="2836" y="4096"/>
                  </a:lnTo>
                  <a:cubicBezTo>
                    <a:pt x="2931" y="4096"/>
                    <a:pt x="3057" y="4001"/>
                    <a:pt x="3151" y="3907"/>
                  </a:cubicBezTo>
                  <a:cubicBezTo>
                    <a:pt x="3151" y="3844"/>
                    <a:pt x="3655" y="2899"/>
                    <a:pt x="3655" y="2899"/>
                  </a:cubicBezTo>
                  <a:cubicBezTo>
                    <a:pt x="3725" y="2787"/>
                    <a:pt x="3845" y="2731"/>
                    <a:pt x="3962" y="2731"/>
                  </a:cubicBezTo>
                  <a:close/>
                  <a:moveTo>
                    <a:pt x="3529" y="0"/>
                  </a:moveTo>
                  <a:cubicBezTo>
                    <a:pt x="2805" y="0"/>
                    <a:pt x="2175" y="630"/>
                    <a:pt x="2175" y="1355"/>
                  </a:cubicBezTo>
                  <a:cubicBezTo>
                    <a:pt x="2175" y="1922"/>
                    <a:pt x="2490" y="2395"/>
                    <a:pt x="2994" y="2615"/>
                  </a:cubicBezTo>
                  <a:lnTo>
                    <a:pt x="2584" y="3466"/>
                  </a:lnTo>
                  <a:lnTo>
                    <a:pt x="1860" y="3466"/>
                  </a:lnTo>
                  <a:cubicBezTo>
                    <a:pt x="1261" y="3466"/>
                    <a:pt x="820" y="3938"/>
                    <a:pt x="820" y="4474"/>
                  </a:cubicBezTo>
                  <a:cubicBezTo>
                    <a:pt x="820" y="4758"/>
                    <a:pt x="946" y="4978"/>
                    <a:pt x="1103" y="5199"/>
                  </a:cubicBezTo>
                  <a:cubicBezTo>
                    <a:pt x="977" y="5325"/>
                    <a:pt x="914" y="5451"/>
                    <a:pt x="851" y="5608"/>
                  </a:cubicBezTo>
                  <a:lnTo>
                    <a:pt x="158" y="8381"/>
                  </a:lnTo>
                  <a:cubicBezTo>
                    <a:pt x="1" y="8916"/>
                    <a:pt x="347" y="9483"/>
                    <a:pt x="914" y="9641"/>
                  </a:cubicBezTo>
                  <a:cubicBezTo>
                    <a:pt x="1002" y="9667"/>
                    <a:pt x="1091" y="9679"/>
                    <a:pt x="1178" y="9679"/>
                  </a:cubicBezTo>
                  <a:cubicBezTo>
                    <a:pt x="1624" y="9679"/>
                    <a:pt x="2038" y="9359"/>
                    <a:pt x="2143" y="8885"/>
                  </a:cubicBezTo>
                  <a:lnTo>
                    <a:pt x="2332" y="8286"/>
                  </a:lnTo>
                  <a:lnTo>
                    <a:pt x="4695" y="8286"/>
                  </a:lnTo>
                  <a:lnTo>
                    <a:pt x="4947" y="9452"/>
                  </a:lnTo>
                  <a:cubicBezTo>
                    <a:pt x="4995" y="9597"/>
                    <a:pt x="5118" y="9704"/>
                    <a:pt x="5257" y="9704"/>
                  </a:cubicBezTo>
                  <a:cubicBezTo>
                    <a:pt x="5300" y="9704"/>
                    <a:pt x="5344" y="9694"/>
                    <a:pt x="5388" y="9672"/>
                  </a:cubicBezTo>
                  <a:cubicBezTo>
                    <a:pt x="5577" y="9641"/>
                    <a:pt x="5703" y="9452"/>
                    <a:pt x="5609" y="9231"/>
                  </a:cubicBezTo>
                  <a:lnTo>
                    <a:pt x="5042" y="6805"/>
                  </a:lnTo>
                  <a:cubicBezTo>
                    <a:pt x="5514" y="6616"/>
                    <a:pt x="5735" y="6144"/>
                    <a:pt x="5640" y="5640"/>
                  </a:cubicBezTo>
                  <a:lnTo>
                    <a:pt x="4916" y="2867"/>
                  </a:lnTo>
                  <a:cubicBezTo>
                    <a:pt x="4884" y="2647"/>
                    <a:pt x="4758" y="2489"/>
                    <a:pt x="4569" y="2332"/>
                  </a:cubicBezTo>
                  <a:cubicBezTo>
                    <a:pt x="4790" y="2080"/>
                    <a:pt x="4916" y="1733"/>
                    <a:pt x="4916" y="1355"/>
                  </a:cubicBezTo>
                  <a:cubicBezTo>
                    <a:pt x="4916" y="630"/>
                    <a:pt x="4285" y="0"/>
                    <a:pt x="3529"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089" name="Google Shape;10089;p111"/>
            <p:cNvSpPr/>
            <p:nvPr/>
          </p:nvSpPr>
          <p:spPr>
            <a:xfrm>
              <a:off x="772900" y="2318350"/>
              <a:ext cx="122125" cy="105075"/>
            </a:xfrm>
            <a:custGeom>
              <a:avLst/>
              <a:gdLst/>
              <a:ahLst/>
              <a:cxnLst/>
              <a:rect l="l" t="t" r="r" b="b"/>
              <a:pathLst>
                <a:path w="4885" h="4203" extrusionOk="0">
                  <a:moveTo>
                    <a:pt x="3844" y="631"/>
                  </a:moveTo>
                  <a:cubicBezTo>
                    <a:pt x="4034" y="631"/>
                    <a:pt x="4223" y="789"/>
                    <a:pt x="4223" y="978"/>
                  </a:cubicBezTo>
                  <a:lnTo>
                    <a:pt x="4223" y="1734"/>
                  </a:lnTo>
                  <a:cubicBezTo>
                    <a:pt x="4223" y="1923"/>
                    <a:pt x="4034" y="2112"/>
                    <a:pt x="3844" y="2112"/>
                  </a:cubicBezTo>
                  <a:cubicBezTo>
                    <a:pt x="3655" y="2143"/>
                    <a:pt x="3498" y="2301"/>
                    <a:pt x="3498" y="2458"/>
                  </a:cubicBezTo>
                  <a:lnTo>
                    <a:pt x="3498" y="2994"/>
                  </a:lnTo>
                  <a:lnTo>
                    <a:pt x="2679" y="2206"/>
                  </a:lnTo>
                  <a:cubicBezTo>
                    <a:pt x="2584" y="2143"/>
                    <a:pt x="2521" y="2112"/>
                    <a:pt x="2427" y="2112"/>
                  </a:cubicBezTo>
                  <a:lnTo>
                    <a:pt x="1009" y="2112"/>
                  </a:lnTo>
                  <a:cubicBezTo>
                    <a:pt x="820" y="2112"/>
                    <a:pt x="662" y="1923"/>
                    <a:pt x="662" y="1734"/>
                  </a:cubicBezTo>
                  <a:lnTo>
                    <a:pt x="662" y="978"/>
                  </a:lnTo>
                  <a:cubicBezTo>
                    <a:pt x="662" y="789"/>
                    <a:pt x="820" y="631"/>
                    <a:pt x="1009" y="631"/>
                  </a:cubicBezTo>
                  <a:close/>
                  <a:moveTo>
                    <a:pt x="1009" y="1"/>
                  </a:moveTo>
                  <a:cubicBezTo>
                    <a:pt x="442" y="1"/>
                    <a:pt x="1" y="474"/>
                    <a:pt x="1" y="1041"/>
                  </a:cubicBezTo>
                  <a:lnTo>
                    <a:pt x="1" y="1765"/>
                  </a:lnTo>
                  <a:cubicBezTo>
                    <a:pt x="1" y="2364"/>
                    <a:pt x="473" y="2805"/>
                    <a:pt x="1009" y="2805"/>
                  </a:cubicBezTo>
                  <a:lnTo>
                    <a:pt x="2269" y="2805"/>
                  </a:lnTo>
                  <a:lnTo>
                    <a:pt x="3592" y="4097"/>
                  </a:lnTo>
                  <a:cubicBezTo>
                    <a:pt x="3663" y="4167"/>
                    <a:pt x="3770" y="4203"/>
                    <a:pt x="3872" y="4203"/>
                  </a:cubicBezTo>
                  <a:cubicBezTo>
                    <a:pt x="3906" y="4203"/>
                    <a:pt x="3939" y="4199"/>
                    <a:pt x="3970" y="4191"/>
                  </a:cubicBezTo>
                  <a:cubicBezTo>
                    <a:pt x="4097" y="4160"/>
                    <a:pt x="4160" y="4002"/>
                    <a:pt x="4160" y="3876"/>
                  </a:cubicBezTo>
                  <a:lnTo>
                    <a:pt x="4160" y="2773"/>
                  </a:lnTo>
                  <a:cubicBezTo>
                    <a:pt x="4569" y="2616"/>
                    <a:pt x="4884" y="2238"/>
                    <a:pt x="4884" y="1765"/>
                  </a:cubicBezTo>
                  <a:lnTo>
                    <a:pt x="4884" y="1041"/>
                  </a:lnTo>
                  <a:cubicBezTo>
                    <a:pt x="4884" y="442"/>
                    <a:pt x="4412" y="1"/>
                    <a:pt x="3844"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sp>
        <p:nvSpPr>
          <p:cNvPr id="10090" name="Google Shape;10090;p111"/>
          <p:cNvSpPr/>
          <p:nvPr/>
        </p:nvSpPr>
        <p:spPr>
          <a:xfrm>
            <a:off x="6490566" y="3233673"/>
            <a:ext cx="464684" cy="465903"/>
          </a:xfrm>
          <a:custGeom>
            <a:avLst/>
            <a:gdLst/>
            <a:ahLst/>
            <a:cxnLst/>
            <a:rect l="l" t="t" r="r" b="b"/>
            <a:pathLst>
              <a:path w="11815" h="11846" extrusionOk="0">
                <a:moveTo>
                  <a:pt x="5829" y="693"/>
                </a:moveTo>
                <a:cubicBezTo>
                  <a:pt x="6238" y="693"/>
                  <a:pt x="6553" y="1008"/>
                  <a:pt x="6553" y="1418"/>
                </a:cubicBezTo>
                <a:cubicBezTo>
                  <a:pt x="6553" y="1796"/>
                  <a:pt x="6238" y="2111"/>
                  <a:pt x="5829" y="2111"/>
                </a:cubicBezTo>
                <a:cubicBezTo>
                  <a:pt x="5451" y="2111"/>
                  <a:pt x="5136" y="1796"/>
                  <a:pt x="5136" y="1418"/>
                </a:cubicBezTo>
                <a:cubicBezTo>
                  <a:pt x="5136" y="1008"/>
                  <a:pt x="5482" y="693"/>
                  <a:pt x="5829" y="693"/>
                </a:cubicBezTo>
                <a:close/>
                <a:moveTo>
                  <a:pt x="5829" y="2773"/>
                </a:moveTo>
                <a:cubicBezTo>
                  <a:pt x="6774" y="2773"/>
                  <a:pt x="7562" y="3560"/>
                  <a:pt x="7562" y="4568"/>
                </a:cubicBezTo>
                <a:lnTo>
                  <a:pt x="7562" y="4915"/>
                </a:lnTo>
                <a:lnTo>
                  <a:pt x="4096" y="4915"/>
                </a:lnTo>
                <a:lnTo>
                  <a:pt x="4096" y="4568"/>
                </a:lnTo>
                <a:cubicBezTo>
                  <a:pt x="4096" y="3560"/>
                  <a:pt x="4884" y="2773"/>
                  <a:pt x="5829" y="2773"/>
                </a:cubicBezTo>
                <a:close/>
                <a:moveTo>
                  <a:pt x="2363" y="6963"/>
                </a:moveTo>
                <a:cubicBezTo>
                  <a:pt x="2773" y="6963"/>
                  <a:pt x="3088" y="7278"/>
                  <a:pt x="3088" y="7656"/>
                </a:cubicBezTo>
                <a:cubicBezTo>
                  <a:pt x="3088" y="8065"/>
                  <a:pt x="2773" y="8380"/>
                  <a:pt x="2363" y="8380"/>
                </a:cubicBezTo>
                <a:cubicBezTo>
                  <a:pt x="1985" y="8380"/>
                  <a:pt x="1670" y="8065"/>
                  <a:pt x="1670" y="7656"/>
                </a:cubicBezTo>
                <a:cubicBezTo>
                  <a:pt x="1670" y="7278"/>
                  <a:pt x="1985" y="6963"/>
                  <a:pt x="2363" y="6963"/>
                </a:cubicBezTo>
                <a:close/>
                <a:moveTo>
                  <a:pt x="9357" y="6963"/>
                </a:moveTo>
                <a:cubicBezTo>
                  <a:pt x="9735" y="6963"/>
                  <a:pt x="10050" y="7278"/>
                  <a:pt x="10050" y="7656"/>
                </a:cubicBezTo>
                <a:cubicBezTo>
                  <a:pt x="10050" y="8065"/>
                  <a:pt x="9735" y="8380"/>
                  <a:pt x="9357" y="8380"/>
                </a:cubicBezTo>
                <a:cubicBezTo>
                  <a:pt x="8948" y="8380"/>
                  <a:pt x="8633" y="8065"/>
                  <a:pt x="8633" y="7656"/>
                </a:cubicBezTo>
                <a:cubicBezTo>
                  <a:pt x="8633" y="7278"/>
                  <a:pt x="8948" y="6963"/>
                  <a:pt x="9357" y="6963"/>
                </a:cubicBezTo>
                <a:close/>
                <a:moveTo>
                  <a:pt x="2363" y="9042"/>
                </a:moveTo>
                <a:cubicBezTo>
                  <a:pt x="3308" y="9042"/>
                  <a:pt x="4096" y="9830"/>
                  <a:pt x="4096" y="10806"/>
                </a:cubicBezTo>
                <a:lnTo>
                  <a:pt x="4096" y="11184"/>
                </a:lnTo>
                <a:lnTo>
                  <a:pt x="630" y="11184"/>
                </a:lnTo>
                <a:lnTo>
                  <a:pt x="630" y="10806"/>
                </a:lnTo>
                <a:cubicBezTo>
                  <a:pt x="630" y="9830"/>
                  <a:pt x="1418" y="9042"/>
                  <a:pt x="2363" y="9042"/>
                </a:cubicBezTo>
                <a:close/>
                <a:moveTo>
                  <a:pt x="9357" y="9042"/>
                </a:moveTo>
                <a:cubicBezTo>
                  <a:pt x="10302" y="9042"/>
                  <a:pt x="11090" y="9830"/>
                  <a:pt x="11090" y="10806"/>
                </a:cubicBezTo>
                <a:lnTo>
                  <a:pt x="11090" y="11184"/>
                </a:lnTo>
                <a:lnTo>
                  <a:pt x="7625" y="11184"/>
                </a:lnTo>
                <a:lnTo>
                  <a:pt x="7625" y="10806"/>
                </a:lnTo>
                <a:cubicBezTo>
                  <a:pt x="7625" y="9830"/>
                  <a:pt x="8412" y="9042"/>
                  <a:pt x="9357" y="9042"/>
                </a:cubicBezTo>
                <a:close/>
                <a:moveTo>
                  <a:pt x="5892" y="0"/>
                </a:moveTo>
                <a:cubicBezTo>
                  <a:pt x="5136" y="0"/>
                  <a:pt x="4506" y="630"/>
                  <a:pt x="4506" y="1355"/>
                </a:cubicBezTo>
                <a:cubicBezTo>
                  <a:pt x="4506" y="1733"/>
                  <a:pt x="4632" y="2016"/>
                  <a:pt x="4852" y="2300"/>
                </a:cubicBezTo>
                <a:cubicBezTo>
                  <a:pt x="4033" y="2710"/>
                  <a:pt x="3466" y="3529"/>
                  <a:pt x="3466" y="4505"/>
                </a:cubicBezTo>
                <a:lnTo>
                  <a:pt x="3466" y="5230"/>
                </a:lnTo>
                <a:cubicBezTo>
                  <a:pt x="3466" y="5419"/>
                  <a:pt x="3623" y="5577"/>
                  <a:pt x="3844" y="5577"/>
                </a:cubicBezTo>
                <a:lnTo>
                  <a:pt x="5577" y="5577"/>
                </a:lnTo>
                <a:lnTo>
                  <a:pt x="5577" y="7152"/>
                </a:lnTo>
                <a:lnTo>
                  <a:pt x="3875" y="8822"/>
                </a:lnTo>
                <a:cubicBezTo>
                  <a:pt x="3749" y="8696"/>
                  <a:pt x="3592" y="8601"/>
                  <a:pt x="3434" y="8569"/>
                </a:cubicBezTo>
                <a:cubicBezTo>
                  <a:pt x="3686" y="8349"/>
                  <a:pt x="3781" y="8034"/>
                  <a:pt x="3781" y="7624"/>
                </a:cubicBezTo>
                <a:cubicBezTo>
                  <a:pt x="3781" y="6868"/>
                  <a:pt x="3151" y="6238"/>
                  <a:pt x="2426" y="6238"/>
                </a:cubicBezTo>
                <a:cubicBezTo>
                  <a:pt x="1670" y="6238"/>
                  <a:pt x="1040" y="6868"/>
                  <a:pt x="1040" y="7624"/>
                </a:cubicBezTo>
                <a:cubicBezTo>
                  <a:pt x="1040" y="7971"/>
                  <a:pt x="1166" y="8286"/>
                  <a:pt x="1387" y="8569"/>
                </a:cubicBezTo>
                <a:cubicBezTo>
                  <a:pt x="567" y="8979"/>
                  <a:pt x="0" y="9798"/>
                  <a:pt x="0" y="10775"/>
                </a:cubicBezTo>
                <a:lnTo>
                  <a:pt x="0" y="11499"/>
                </a:lnTo>
                <a:cubicBezTo>
                  <a:pt x="0" y="11688"/>
                  <a:pt x="158" y="11846"/>
                  <a:pt x="378" y="11846"/>
                </a:cubicBezTo>
                <a:lnTo>
                  <a:pt x="4474" y="11846"/>
                </a:lnTo>
                <a:cubicBezTo>
                  <a:pt x="4663" y="11846"/>
                  <a:pt x="4821" y="11688"/>
                  <a:pt x="4821" y="11499"/>
                </a:cubicBezTo>
                <a:lnTo>
                  <a:pt x="4821" y="10775"/>
                </a:lnTo>
                <a:cubicBezTo>
                  <a:pt x="4821" y="10239"/>
                  <a:pt x="4632" y="9704"/>
                  <a:pt x="4348" y="9326"/>
                </a:cubicBezTo>
                <a:lnTo>
                  <a:pt x="5860" y="7782"/>
                </a:lnTo>
                <a:lnTo>
                  <a:pt x="7404" y="9326"/>
                </a:lnTo>
                <a:cubicBezTo>
                  <a:pt x="7089" y="9704"/>
                  <a:pt x="6931" y="10239"/>
                  <a:pt x="6931" y="10775"/>
                </a:cubicBezTo>
                <a:lnTo>
                  <a:pt x="6931" y="11499"/>
                </a:lnTo>
                <a:cubicBezTo>
                  <a:pt x="6931" y="11688"/>
                  <a:pt x="7089" y="11846"/>
                  <a:pt x="7309" y="11846"/>
                </a:cubicBezTo>
                <a:lnTo>
                  <a:pt x="11468" y="11846"/>
                </a:lnTo>
                <a:cubicBezTo>
                  <a:pt x="11657" y="11846"/>
                  <a:pt x="11815" y="11688"/>
                  <a:pt x="11815" y="11499"/>
                </a:cubicBezTo>
                <a:lnTo>
                  <a:pt x="11815" y="10775"/>
                </a:lnTo>
                <a:cubicBezTo>
                  <a:pt x="11783" y="9830"/>
                  <a:pt x="11185" y="8979"/>
                  <a:pt x="10365" y="8569"/>
                </a:cubicBezTo>
                <a:cubicBezTo>
                  <a:pt x="10586" y="8349"/>
                  <a:pt x="10712" y="8034"/>
                  <a:pt x="10712" y="7624"/>
                </a:cubicBezTo>
                <a:cubicBezTo>
                  <a:pt x="10712" y="6868"/>
                  <a:pt x="10082" y="6238"/>
                  <a:pt x="9357" y="6238"/>
                </a:cubicBezTo>
                <a:cubicBezTo>
                  <a:pt x="8601" y="6238"/>
                  <a:pt x="7971" y="6868"/>
                  <a:pt x="7971" y="7624"/>
                </a:cubicBezTo>
                <a:cubicBezTo>
                  <a:pt x="7971" y="7971"/>
                  <a:pt x="8097" y="8286"/>
                  <a:pt x="8318" y="8569"/>
                </a:cubicBezTo>
                <a:cubicBezTo>
                  <a:pt x="8160" y="8664"/>
                  <a:pt x="8034" y="8727"/>
                  <a:pt x="7877" y="8822"/>
                </a:cubicBezTo>
                <a:lnTo>
                  <a:pt x="6207" y="7152"/>
                </a:lnTo>
                <a:lnTo>
                  <a:pt x="6207" y="5577"/>
                </a:lnTo>
                <a:lnTo>
                  <a:pt x="7940" y="5577"/>
                </a:lnTo>
                <a:cubicBezTo>
                  <a:pt x="8129" y="5577"/>
                  <a:pt x="8286" y="5419"/>
                  <a:pt x="8286" y="5230"/>
                </a:cubicBezTo>
                <a:lnTo>
                  <a:pt x="8286" y="4505"/>
                </a:lnTo>
                <a:cubicBezTo>
                  <a:pt x="8286" y="3529"/>
                  <a:pt x="7688" y="2710"/>
                  <a:pt x="6900" y="2300"/>
                </a:cubicBezTo>
                <a:cubicBezTo>
                  <a:pt x="7152" y="2080"/>
                  <a:pt x="7246" y="1764"/>
                  <a:pt x="7246" y="1355"/>
                </a:cubicBezTo>
                <a:cubicBezTo>
                  <a:pt x="7246" y="630"/>
                  <a:pt x="6616" y="0"/>
                  <a:pt x="5892"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nvGrpSpPr>
          <p:cNvPr id="10091" name="Google Shape;10091;p111"/>
          <p:cNvGrpSpPr/>
          <p:nvPr/>
        </p:nvGrpSpPr>
        <p:grpSpPr>
          <a:xfrm>
            <a:off x="9459600" y="2043546"/>
            <a:ext cx="412689" cy="464095"/>
            <a:chOff x="2523000" y="1954875"/>
            <a:chExt cx="262325" cy="295000"/>
          </a:xfrm>
        </p:grpSpPr>
        <p:sp>
          <p:nvSpPr>
            <p:cNvPr id="10092" name="Google Shape;10092;p111"/>
            <p:cNvSpPr/>
            <p:nvPr/>
          </p:nvSpPr>
          <p:spPr>
            <a:xfrm>
              <a:off x="2523000" y="1954875"/>
              <a:ext cx="262325" cy="295000"/>
            </a:xfrm>
            <a:custGeom>
              <a:avLst/>
              <a:gdLst/>
              <a:ahLst/>
              <a:cxnLst/>
              <a:rect l="l" t="t" r="r" b="b"/>
              <a:pathLst>
                <a:path w="10493" h="11800" extrusionOk="0">
                  <a:moveTo>
                    <a:pt x="5294" y="709"/>
                  </a:moveTo>
                  <a:cubicBezTo>
                    <a:pt x="6350" y="1316"/>
                    <a:pt x="7422" y="1602"/>
                    <a:pt x="8487" y="1602"/>
                  </a:cubicBezTo>
                  <a:cubicBezTo>
                    <a:pt x="8915" y="1602"/>
                    <a:pt x="9343" y="1556"/>
                    <a:pt x="9767" y="1465"/>
                  </a:cubicBezTo>
                  <a:lnTo>
                    <a:pt x="9767" y="5026"/>
                  </a:lnTo>
                  <a:cubicBezTo>
                    <a:pt x="9767" y="7798"/>
                    <a:pt x="7940" y="10287"/>
                    <a:pt x="5294" y="11137"/>
                  </a:cubicBezTo>
                  <a:cubicBezTo>
                    <a:pt x="2647" y="10350"/>
                    <a:pt x="789" y="7798"/>
                    <a:pt x="789" y="5026"/>
                  </a:cubicBezTo>
                  <a:lnTo>
                    <a:pt x="789" y="1465"/>
                  </a:lnTo>
                  <a:cubicBezTo>
                    <a:pt x="1222" y="1556"/>
                    <a:pt x="1654" y="1602"/>
                    <a:pt x="2084" y="1602"/>
                  </a:cubicBezTo>
                  <a:cubicBezTo>
                    <a:pt x="3153" y="1602"/>
                    <a:pt x="4215" y="1316"/>
                    <a:pt x="5294" y="709"/>
                  </a:cubicBezTo>
                  <a:close/>
                  <a:moveTo>
                    <a:pt x="5266" y="0"/>
                  </a:moveTo>
                  <a:cubicBezTo>
                    <a:pt x="5207" y="0"/>
                    <a:pt x="5152" y="16"/>
                    <a:pt x="5105" y="48"/>
                  </a:cubicBezTo>
                  <a:cubicBezTo>
                    <a:pt x="4065" y="646"/>
                    <a:pt x="3057" y="930"/>
                    <a:pt x="2017" y="930"/>
                  </a:cubicBezTo>
                  <a:cubicBezTo>
                    <a:pt x="1513" y="930"/>
                    <a:pt x="1009" y="835"/>
                    <a:pt x="473" y="678"/>
                  </a:cubicBezTo>
                  <a:cubicBezTo>
                    <a:pt x="440" y="669"/>
                    <a:pt x="408" y="665"/>
                    <a:pt x="378" y="665"/>
                  </a:cubicBezTo>
                  <a:cubicBezTo>
                    <a:pt x="297" y="665"/>
                    <a:pt x="228" y="695"/>
                    <a:pt x="158" y="741"/>
                  </a:cubicBezTo>
                  <a:cubicBezTo>
                    <a:pt x="95" y="804"/>
                    <a:pt x="1" y="898"/>
                    <a:pt x="1" y="993"/>
                  </a:cubicBezTo>
                  <a:lnTo>
                    <a:pt x="1" y="4994"/>
                  </a:lnTo>
                  <a:cubicBezTo>
                    <a:pt x="127" y="8176"/>
                    <a:pt x="2206" y="10917"/>
                    <a:pt x="5199" y="11799"/>
                  </a:cubicBezTo>
                  <a:lnTo>
                    <a:pt x="5357" y="11799"/>
                  </a:lnTo>
                  <a:cubicBezTo>
                    <a:pt x="8350" y="10917"/>
                    <a:pt x="10492" y="8176"/>
                    <a:pt x="10492" y="5026"/>
                  </a:cubicBezTo>
                  <a:lnTo>
                    <a:pt x="10492" y="1056"/>
                  </a:lnTo>
                  <a:cubicBezTo>
                    <a:pt x="10492" y="930"/>
                    <a:pt x="10429" y="835"/>
                    <a:pt x="10335" y="772"/>
                  </a:cubicBezTo>
                  <a:cubicBezTo>
                    <a:pt x="10282" y="720"/>
                    <a:pt x="10230" y="697"/>
                    <a:pt x="10173" y="697"/>
                  </a:cubicBezTo>
                  <a:cubicBezTo>
                    <a:pt x="10126" y="697"/>
                    <a:pt x="10076" y="713"/>
                    <a:pt x="10019" y="741"/>
                  </a:cubicBezTo>
                  <a:cubicBezTo>
                    <a:pt x="9509" y="876"/>
                    <a:pt x="9006" y="946"/>
                    <a:pt x="8504" y="946"/>
                  </a:cubicBezTo>
                  <a:cubicBezTo>
                    <a:pt x="7490" y="946"/>
                    <a:pt x="6485" y="659"/>
                    <a:pt x="5451" y="48"/>
                  </a:cubicBezTo>
                  <a:cubicBezTo>
                    <a:pt x="5388" y="16"/>
                    <a:pt x="5325" y="0"/>
                    <a:pt x="5266"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093" name="Google Shape;10093;p111"/>
            <p:cNvSpPr/>
            <p:nvPr/>
          </p:nvSpPr>
          <p:spPr>
            <a:xfrm>
              <a:off x="2595475" y="2024575"/>
              <a:ext cx="122100" cy="138650"/>
            </a:xfrm>
            <a:custGeom>
              <a:avLst/>
              <a:gdLst/>
              <a:ahLst/>
              <a:cxnLst/>
              <a:rect l="l" t="t" r="r" b="b"/>
              <a:pathLst>
                <a:path w="4884" h="5546" extrusionOk="0">
                  <a:moveTo>
                    <a:pt x="2426" y="694"/>
                  </a:moveTo>
                  <a:cubicBezTo>
                    <a:pt x="2836" y="694"/>
                    <a:pt x="3151" y="1009"/>
                    <a:pt x="3151" y="1418"/>
                  </a:cubicBezTo>
                  <a:cubicBezTo>
                    <a:pt x="3151" y="1796"/>
                    <a:pt x="2836" y="2111"/>
                    <a:pt x="2426" y="2111"/>
                  </a:cubicBezTo>
                  <a:cubicBezTo>
                    <a:pt x="2048" y="2111"/>
                    <a:pt x="1733" y="1796"/>
                    <a:pt x="1733" y="1418"/>
                  </a:cubicBezTo>
                  <a:cubicBezTo>
                    <a:pt x="1733" y="1009"/>
                    <a:pt x="2048" y="694"/>
                    <a:pt x="2426" y="694"/>
                  </a:cubicBezTo>
                  <a:close/>
                  <a:moveTo>
                    <a:pt x="2426" y="2742"/>
                  </a:moveTo>
                  <a:cubicBezTo>
                    <a:pt x="3371" y="2742"/>
                    <a:pt x="4159" y="3529"/>
                    <a:pt x="4159" y="4474"/>
                  </a:cubicBezTo>
                  <a:lnTo>
                    <a:pt x="4159" y="4821"/>
                  </a:lnTo>
                  <a:lnTo>
                    <a:pt x="693" y="4821"/>
                  </a:lnTo>
                  <a:lnTo>
                    <a:pt x="693" y="4474"/>
                  </a:lnTo>
                  <a:cubicBezTo>
                    <a:pt x="693" y="3529"/>
                    <a:pt x="1481" y="2742"/>
                    <a:pt x="2426" y="2742"/>
                  </a:cubicBezTo>
                  <a:close/>
                  <a:moveTo>
                    <a:pt x="2458" y="1"/>
                  </a:moveTo>
                  <a:cubicBezTo>
                    <a:pt x="1733" y="1"/>
                    <a:pt x="1103" y="599"/>
                    <a:pt x="1103" y="1355"/>
                  </a:cubicBezTo>
                  <a:cubicBezTo>
                    <a:pt x="1103" y="1733"/>
                    <a:pt x="1198" y="2048"/>
                    <a:pt x="1450" y="2269"/>
                  </a:cubicBezTo>
                  <a:cubicBezTo>
                    <a:pt x="630" y="2647"/>
                    <a:pt x="63" y="3498"/>
                    <a:pt x="63" y="4474"/>
                  </a:cubicBezTo>
                  <a:lnTo>
                    <a:pt x="63" y="5199"/>
                  </a:lnTo>
                  <a:cubicBezTo>
                    <a:pt x="0" y="5388"/>
                    <a:pt x="158" y="5546"/>
                    <a:pt x="347" y="5546"/>
                  </a:cubicBezTo>
                  <a:lnTo>
                    <a:pt x="4506" y="5546"/>
                  </a:lnTo>
                  <a:cubicBezTo>
                    <a:pt x="4726" y="5546"/>
                    <a:pt x="4884" y="5388"/>
                    <a:pt x="4884" y="5199"/>
                  </a:cubicBezTo>
                  <a:lnTo>
                    <a:pt x="4884" y="4474"/>
                  </a:lnTo>
                  <a:cubicBezTo>
                    <a:pt x="4884" y="3498"/>
                    <a:pt x="4317" y="2647"/>
                    <a:pt x="3497" y="2269"/>
                  </a:cubicBezTo>
                  <a:cubicBezTo>
                    <a:pt x="3718" y="2048"/>
                    <a:pt x="3844" y="1702"/>
                    <a:pt x="3844" y="1355"/>
                  </a:cubicBezTo>
                  <a:cubicBezTo>
                    <a:pt x="3844" y="599"/>
                    <a:pt x="3214" y="1"/>
                    <a:pt x="2458"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10094" name="Google Shape;10094;p111"/>
          <p:cNvGrpSpPr/>
          <p:nvPr/>
        </p:nvGrpSpPr>
        <p:grpSpPr>
          <a:xfrm>
            <a:off x="9431734" y="2645233"/>
            <a:ext cx="468420" cy="464723"/>
            <a:chOff x="2508825" y="2318350"/>
            <a:chExt cx="297750" cy="295400"/>
          </a:xfrm>
        </p:grpSpPr>
        <p:sp>
          <p:nvSpPr>
            <p:cNvPr id="10095" name="Google Shape;10095;p111"/>
            <p:cNvSpPr/>
            <p:nvPr/>
          </p:nvSpPr>
          <p:spPr>
            <a:xfrm>
              <a:off x="2508825" y="2318350"/>
              <a:ext cx="297750" cy="295400"/>
            </a:xfrm>
            <a:custGeom>
              <a:avLst/>
              <a:gdLst/>
              <a:ahLst/>
              <a:cxnLst/>
              <a:rect l="l" t="t" r="r" b="b"/>
              <a:pathLst>
                <a:path w="11910" h="11816" extrusionOk="0">
                  <a:moveTo>
                    <a:pt x="5892" y="694"/>
                  </a:moveTo>
                  <a:cubicBezTo>
                    <a:pt x="7625" y="694"/>
                    <a:pt x="9043" y="2112"/>
                    <a:pt x="9043" y="3845"/>
                  </a:cubicBezTo>
                  <a:cubicBezTo>
                    <a:pt x="9043" y="5483"/>
                    <a:pt x="7751" y="6838"/>
                    <a:pt x="6081" y="6932"/>
                  </a:cubicBezTo>
                  <a:cubicBezTo>
                    <a:pt x="6018" y="6932"/>
                    <a:pt x="5987" y="6901"/>
                    <a:pt x="5924" y="6869"/>
                  </a:cubicBezTo>
                  <a:lnTo>
                    <a:pt x="5766" y="6711"/>
                  </a:lnTo>
                  <a:cubicBezTo>
                    <a:pt x="5297" y="6298"/>
                    <a:pt x="4683" y="6101"/>
                    <a:pt x="4072" y="6101"/>
                  </a:cubicBezTo>
                  <a:cubicBezTo>
                    <a:pt x="3985" y="6101"/>
                    <a:pt x="3899" y="6105"/>
                    <a:pt x="3813" y="6113"/>
                  </a:cubicBezTo>
                  <a:cubicBezTo>
                    <a:pt x="3151" y="5577"/>
                    <a:pt x="2773" y="4727"/>
                    <a:pt x="2773" y="3845"/>
                  </a:cubicBezTo>
                  <a:cubicBezTo>
                    <a:pt x="2773" y="2112"/>
                    <a:pt x="4191" y="694"/>
                    <a:pt x="5892" y="694"/>
                  </a:cubicBezTo>
                  <a:close/>
                  <a:moveTo>
                    <a:pt x="4171" y="6822"/>
                  </a:moveTo>
                  <a:cubicBezTo>
                    <a:pt x="4577" y="6822"/>
                    <a:pt x="4979" y="6964"/>
                    <a:pt x="5294" y="7247"/>
                  </a:cubicBezTo>
                  <a:cubicBezTo>
                    <a:pt x="5420" y="7373"/>
                    <a:pt x="5735" y="7657"/>
                    <a:pt x="5892" y="7657"/>
                  </a:cubicBezTo>
                  <a:lnTo>
                    <a:pt x="7972" y="7657"/>
                  </a:lnTo>
                  <a:cubicBezTo>
                    <a:pt x="8192" y="7657"/>
                    <a:pt x="8350" y="7814"/>
                    <a:pt x="8350" y="8003"/>
                  </a:cubicBezTo>
                  <a:cubicBezTo>
                    <a:pt x="8350" y="8192"/>
                    <a:pt x="8192" y="8350"/>
                    <a:pt x="7972" y="8350"/>
                  </a:cubicBezTo>
                  <a:lnTo>
                    <a:pt x="5514" y="8350"/>
                  </a:lnTo>
                  <a:cubicBezTo>
                    <a:pt x="5294" y="8350"/>
                    <a:pt x="5136" y="8507"/>
                    <a:pt x="5136" y="8728"/>
                  </a:cubicBezTo>
                  <a:cubicBezTo>
                    <a:pt x="5136" y="8917"/>
                    <a:pt x="5294" y="9074"/>
                    <a:pt x="5514" y="9074"/>
                  </a:cubicBezTo>
                  <a:lnTo>
                    <a:pt x="8224" y="9074"/>
                  </a:lnTo>
                  <a:cubicBezTo>
                    <a:pt x="8507" y="9074"/>
                    <a:pt x="8759" y="8948"/>
                    <a:pt x="8980" y="8759"/>
                  </a:cubicBezTo>
                  <a:lnTo>
                    <a:pt x="10492" y="7090"/>
                  </a:lnTo>
                  <a:cubicBezTo>
                    <a:pt x="10568" y="7033"/>
                    <a:pt x="10666" y="6987"/>
                    <a:pt x="10766" y="6987"/>
                  </a:cubicBezTo>
                  <a:cubicBezTo>
                    <a:pt x="10833" y="6987"/>
                    <a:pt x="10902" y="7008"/>
                    <a:pt x="10965" y="7058"/>
                  </a:cubicBezTo>
                  <a:cubicBezTo>
                    <a:pt x="11122" y="7184"/>
                    <a:pt x="11185" y="7373"/>
                    <a:pt x="11059" y="7531"/>
                  </a:cubicBezTo>
                  <a:lnTo>
                    <a:pt x="9389" y="9767"/>
                  </a:lnTo>
                  <a:cubicBezTo>
                    <a:pt x="9074" y="10209"/>
                    <a:pt x="8570" y="10492"/>
                    <a:pt x="8035" y="10492"/>
                  </a:cubicBezTo>
                  <a:lnTo>
                    <a:pt x="2773" y="10492"/>
                  </a:lnTo>
                  <a:lnTo>
                    <a:pt x="2773" y="7468"/>
                  </a:lnTo>
                  <a:lnTo>
                    <a:pt x="3025" y="7247"/>
                  </a:lnTo>
                  <a:cubicBezTo>
                    <a:pt x="3356" y="6964"/>
                    <a:pt x="3766" y="6822"/>
                    <a:pt x="4171" y="6822"/>
                  </a:cubicBezTo>
                  <a:close/>
                  <a:moveTo>
                    <a:pt x="1734" y="6932"/>
                  </a:moveTo>
                  <a:cubicBezTo>
                    <a:pt x="1923" y="6932"/>
                    <a:pt x="2080" y="7090"/>
                    <a:pt x="2080" y="7310"/>
                  </a:cubicBezTo>
                  <a:lnTo>
                    <a:pt x="2080" y="10807"/>
                  </a:lnTo>
                  <a:cubicBezTo>
                    <a:pt x="2080" y="10996"/>
                    <a:pt x="1923" y="11154"/>
                    <a:pt x="1734" y="11154"/>
                  </a:cubicBezTo>
                  <a:lnTo>
                    <a:pt x="662" y="11154"/>
                  </a:lnTo>
                  <a:lnTo>
                    <a:pt x="662" y="6932"/>
                  </a:lnTo>
                  <a:close/>
                  <a:moveTo>
                    <a:pt x="5924" y="1"/>
                  </a:moveTo>
                  <a:cubicBezTo>
                    <a:pt x="3844" y="1"/>
                    <a:pt x="2112" y="1734"/>
                    <a:pt x="2112" y="3845"/>
                  </a:cubicBezTo>
                  <a:cubicBezTo>
                    <a:pt x="2112" y="4790"/>
                    <a:pt x="2458" y="5672"/>
                    <a:pt x="3088" y="6396"/>
                  </a:cubicBezTo>
                  <a:cubicBezTo>
                    <a:pt x="2931" y="6459"/>
                    <a:pt x="2773" y="6585"/>
                    <a:pt x="2616" y="6711"/>
                  </a:cubicBezTo>
                  <a:cubicBezTo>
                    <a:pt x="2427" y="6428"/>
                    <a:pt x="2112" y="6270"/>
                    <a:pt x="1765" y="6270"/>
                  </a:cubicBezTo>
                  <a:lnTo>
                    <a:pt x="347" y="6270"/>
                  </a:lnTo>
                  <a:cubicBezTo>
                    <a:pt x="158" y="6270"/>
                    <a:pt x="1" y="6428"/>
                    <a:pt x="1" y="6585"/>
                  </a:cubicBezTo>
                  <a:lnTo>
                    <a:pt x="1" y="11469"/>
                  </a:lnTo>
                  <a:cubicBezTo>
                    <a:pt x="1" y="11658"/>
                    <a:pt x="158" y="11815"/>
                    <a:pt x="347" y="11815"/>
                  </a:cubicBezTo>
                  <a:lnTo>
                    <a:pt x="1765" y="11815"/>
                  </a:lnTo>
                  <a:cubicBezTo>
                    <a:pt x="2238" y="11815"/>
                    <a:pt x="2584" y="11563"/>
                    <a:pt x="2742" y="11122"/>
                  </a:cubicBezTo>
                  <a:lnTo>
                    <a:pt x="8035" y="11122"/>
                  </a:lnTo>
                  <a:cubicBezTo>
                    <a:pt x="8759" y="11122"/>
                    <a:pt x="9515" y="10776"/>
                    <a:pt x="9956" y="10146"/>
                  </a:cubicBezTo>
                  <a:lnTo>
                    <a:pt x="11595" y="7877"/>
                  </a:lnTo>
                  <a:cubicBezTo>
                    <a:pt x="11910" y="7468"/>
                    <a:pt x="11878" y="6838"/>
                    <a:pt x="11437" y="6459"/>
                  </a:cubicBezTo>
                  <a:cubicBezTo>
                    <a:pt x="11249" y="6301"/>
                    <a:pt x="11015" y="6221"/>
                    <a:pt x="10780" y="6221"/>
                  </a:cubicBezTo>
                  <a:cubicBezTo>
                    <a:pt x="10503" y="6221"/>
                    <a:pt x="10224" y="6332"/>
                    <a:pt x="10019" y="6554"/>
                  </a:cubicBezTo>
                  <a:lnTo>
                    <a:pt x="9011" y="7657"/>
                  </a:lnTo>
                  <a:cubicBezTo>
                    <a:pt x="8885" y="7247"/>
                    <a:pt x="8539" y="6932"/>
                    <a:pt x="8098" y="6932"/>
                  </a:cubicBezTo>
                  <a:cubicBezTo>
                    <a:pt x="8287" y="6838"/>
                    <a:pt x="8444" y="6680"/>
                    <a:pt x="8602" y="6522"/>
                  </a:cubicBezTo>
                  <a:cubicBezTo>
                    <a:pt x="9358" y="5798"/>
                    <a:pt x="9767" y="4821"/>
                    <a:pt x="9767" y="3845"/>
                  </a:cubicBezTo>
                  <a:cubicBezTo>
                    <a:pt x="9767" y="1734"/>
                    <a:pt x="8035" y="1"/>
                    <a:pt x="5924"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096" name="Google Shape;10096;p111"/>
            <p:cNvSpPr/>
            <p:nvPr/>
          </p:nvSpPr>
          <p:spPr>
            <a:xfrm>
              <a:off x="2629350" y="2353025"/>
              <a:ext cx="54350" cy="121300"/>
            </a:xfrm>
            <a:custGeom>
              <a:avLst/>
              <a:gdLst/>
              <a:ahLst/>
              <a:cxnLst/>
              <a:rect l="l" t="t" r="r" b="b"/>
              <a:pathLst>
                <a:path w="2174" h="4852" extrusionOk="0">
                  <a:moveTo>
                    <a:pt x="1071" y="0"/>
                  </a:moveTo>
                  <a:cubicBezTo>
                    <a:pt x="882" y="0"/>
                    <a:pt x="725" y="158"/>
                    <a:pt x="725" y="347"/>
                  </a:cubicBezTo>
                  <a:lnTo>
                    <a:pt x="725" y="756"/>
                  </a:lnTo>
                  <a:cubicBezTo>
                    <a:pt x="315" y="914"/>
                    <a:pt x="63" y="1292"/>
                    <a:pt x="63" y="1733"/>
                  </a:cubicBezTo>
                  <a:cubicBezTo>
                    <a:pt x="0" y="2332"/>
                    <a:pt x="473" y="2804"/>
                    <a:pt x="1071" y="2804"/>
                  </a:cubicBezTo>
                  <a:cubicBezTo>
                    <a:pt x="1260" y="2804"/>
                    <a:pt x="1418" y="2962"/>
                    <a:pt x="1418" y="3151"/>
                  </a:cubicBezTo>
                  <a:cubicBezTo>
                    <a:pt x="1418" y="3308"/>
                    <a:pt x="1355" y="3434"/>
                    <a:pt x="1229" y="3466"/>
                  </a:cubicBezTo>
                  <a:cubicBezTo>
                    <a:pt x="1185" y="3492"/>
                    <a:pt x="1140" y="3503"/>
                    <a:pt x="1093" y="3503"/>
                  </a:cubicBezTo>
                  <a:cubicBezTo>
                    <a:pt x="970" y="3503"/>
                    <a:pt x="839" y="3422"/>
                    <a:pt x="725" y="3308"/>
                  </a:cubicBezTo>
                  <a:cubicBezTo>
                    <a:pt x="662" y="3245"/>
                    <a:pt x="575" y="3214"/>
                    <a:pt x="488" y="3214"/>
                  </a:cubicBezTo>
                  <a:cubicBezTo>
                    <a:pt x="402" y="3214"/>
                    <a:pt x="315" y="3245"/>
                    <a:pt x="252" y="3308"/>
                  </a:cubicBezTo>
                  <a:cubicBezTo>
                    <a:pt x="126" y="3434"/>
                    <a:pt x="126" y="3655"/>
                    <a:pt x="252" y="3781"/>
                  </a:cubicBezTo>
                  <a:cubicBezTo>
                    <a:pt x="410" y="3938"/>
                    <a:pt x="567" y="4064"/>
                    <a:pt x="756" y="4096"/>
                  </a:cubicBezTo>
                  <a:lnTo>
                    <a:pt x="756" y="4505"/>
                  </a:lnTo>
                  <a:cubicBezTo>
                    <a:pt x="756" y="4694"/>
                    <a:pt x="914" y="4852"/>
                    <a:pt x="1103" y="4852"/>
                  </a:cubicBezTo>
                  <a:cubicBezTo>
                    <a:pt x="1323" y="4852"/>
                    <a:pt x="1481" y="4694"/>
                    <a:pt x="1481" y="4505"/>
                  </a:cubicBezTo>
                  <a:lnTo>
                    <a:pt x="1481" y="4096"/>
                  </a:lnTo>
                  <a:cubicBezTo>
                    <a:pt x="1481" y="4096"/>
                    <a:pt x="1512" y="4096"/>
                    <a:pt x="1512" y="4064"/>
                  </a:cubicBezTo>
                  <a:cubicBezTo>
                    <a:pt x="1890" y="3907"/>
                    <a:pt x="2142" y="3497"/>
                    <a:pt x="2142" y="3119"/>
                  </a:cubicBezTo>
                  <a:cubicBezTo>
                    <a:pt x="2142" y="2521"/>
                    <a:pt x="1670" y="2079"/>
                    <a:pt x="1103" y="2079"/>
                  </a:cubicBezTo>
                  <a:cubicBezTo>
                    <a:pt x="914" y="2079"/>
                    <a:pt x="756" y="1922"/>
                    <a:pt x="756" y="1733"/>
                  </a:cubicBezTo>
                  <a:cubicBezTo>
                    <a:pt x="756" y="1575"/>
                    <a:pt x="851" y="1449"/>
                    <a:pt x="1008" y="1418"/>
                  </a:cubicBezTo>
                  <a:cubicBezTo>
                    <a:pt x="1047" y="1405"/>
                    <a:pt x="1085" y="1399"/>
                    <a:pt x="1124" y="1399"/>
                  </a:cubicBezTo>
                  <a:cubicBezTo>
                    <a:pt x="1273" y="1399"/>
                    <a:pt x="1418" y="1494"/>
                    <a:pt x="1544" y="1670"/>
                  </a:cubicBezTo>
                  <a:cubicBezTo>
                    <a:pt x="1610" y="1753"/>
                    <a:pt x="1703" y="1792"/>
                    <a:pt x="1795" y="1792"/>
                  </a:cubicBezTo>
                  <a:cubicBezTo>
                    <a:pt x="1876" y="1792"/>
                    <a:pt x="1957" y="1761"/>
                    <a:pt x="2016" y="1701"/>
                  </a:cubicBezTo>
                  <a:cubicBezTo>
                    <a:pt x="2174" y="1575"/>
                    <a:pt x="2174" y="1323"/>
                    <a:pt x="2048" y="1229"/>
                  </a:cubicBezTo>
                  <a:cubicBezTo>
                    <a:pt x="1859" y="977"/>
                    <a:pt x="1670" y="819"/>
                    <a:pt x="1418" y="756"/>
                  </a:cubicBezTo>
                  <a:lnTo>
                    <a:pt x="1418" y="347"/>
                  </a:lnTo>
                  <a:cubicBezTo>
                    <a:pt x="1418" y="158"/>
                    <a:pt x="1260" y="0"/>
                    <a:pt x="1071"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sp>
        <p:nvSpPr>
          <p:cNvPr id="10097" name="Google Shape;10097;p111"/>
          <p:cNvSpPr/>
          <p:nvPr/>
        </p:nvSpPr>
        <p:spPr>
          <a:xfrm>
            <a:off x="9432885" y="3233673"/>
            <a:ext cx="465943" cy="465903"/>
          </a:xfrm>
          <a:custGeom>
            <a:avLst/>
            <a:gdLst/>
            <a:ahLst/>
            <a:cxnLst/>
            <a:rect l="l" t="t" r="r" b="b"/>
            <a:pathLst>
              <a:path w="11847" h="11846" extrusionOk="0">
                <a:moveTo>
                  <a:pt x="10744" y="3718"/>
                </a:moveTo>
                <a:lnTo>
                  <a:pt x="10428" y="4348"/>
                </a:lnTo>
                <a:cubicBezTo>
                  <a:pt x="10397" y="4442"/>
                  <a:pt x="10397" y="4568"/>
                  <a:pt x="10428" y="4663"/>
                </a:cubicBezTo>
                <a:lnTo>
                  <a:pt x="10744" y="5293"/>
                </a:lnTo>
                <a:lnTo>
                  <a:pt x="9483" y="4915"/>
                </a:lnTo>
                <a:lnTo>
                  <a:pt x="9105" y="4505"/>
                </a:lnTo>
                <a:lnTo>
                  <a:pt x="9483" y="4127"/>
                </a:lnTo>
                <a:lnTo>
                  <a:pt x="10744" y="3718"/>
                </a:lnTo>
                <a:close/>
                <a:moveTo>
                  <a:pt x="4443" y="3497"/>
                </a:moveTo>
                <a:cubicBezTo>
                  <a:pt x="4884" y="3497"/>
                  <a:pt x="5262" y="3781"/>
                  <a:pt x="5419" y="4190"/>
                </a:cubicBezTo>
                <a:lnTo>
                  <a:pt x="4443" y="4190"/>
                </a:lnTo>
                <a:cubicBezTo>
                  <a:pt x="4253" y="4190"/>
                  <a:pt x="4096" y="4348"/>
                  <a:pt x="4096" y="4568"/>
                </a:cubicBezTo>
                <a:cubicBezTo>
                  <a:pt x="4096" y="4663"/>
                  <a:pt x="4253" y="4820"/>
                  <a:pt x="4443" y="4820"/>
                </a:cubicBezTo>
                <a:lnTo>
                  <a:pt x="5419" y="4820"/>
                </a:lnTo>
                <a:cubicBezTo>
                  <a:pt x="5262" y="5230"/>
                  <a:pt x="4915" y="5545"/>
                  <a:pt x="4443" y="5545"/>
                </a:cubicBezTo>
                <a:cubicBezTo>
                  <a:pt x="3844" y="5545"/>
                  <a:pt x="3434" y="5072"/>
                  <a:pt x="3434" y="4505"/>
                </a:cubicBezTo>
                <a:cubicBezTo>
                  <a:pt x="3434" y="3970"/>
                  <a:pt x="3907" y="3497"/>
                  <a:pt x="4443" y="3497"/>
                </a:cubicBezTo>
                <a:close/>
                <a:moveTo>
                  <a:pt x="4443" y="2080"/>
                </a:moveTo>
                <a:cubicBezTo>
                  <a:pt x="5671" y="2080"/>
                  <a:pt x="6679" y="2993"/>
                  <a:pt x="6837" y="4159"/>
                </a:cubicBezTo>
                <a:lnTo>
                  <a:pt x="6144" y="4159"/>
                </a:lnTo>
                <a:cubicBezTo>
                  <a:pt x="5986" y="3371"/>
                  <a:pt x="5262" y="2773"/>
                  <a:pt x="4443" y="2773"/>
                </a:cubicBezTo>
                <a:cubicBezTo>
                  <a:pt x="3497" y="2773"/>
                  <a:pt x="2710" y="3560"/>
                  <a:pt x="2710" y="4505"/>
                </a:cubicBezTo>
                <a:cubicBezTo>
                  <a:pt x="2710" y="5451"/>
                  <a:pt x="3497" y="6238"/>
                  <a:pt x="4443" y="6238"/>
                </a:cubicBezTo>
                <a:cubicBezTo>
                  <a:pt x="5262" y="6238"/>
                  <a:pt x="5986" y="5671"/>
                  <a:pt x="6144" y="4883"/>
                </a:cubicBezTo>
                <a:lnTo>
                  <a:pt x="6837" y="4883"/>
                </a:lnTo>
                <a:cubicBezTo>
                  <a:pt x="6679" y="6049"/>
                  <a:pt x="5671" y="6963"/>
                  <a:pt x="4443" y="6963"/>
                </a:cubicBezTo>
                <a:cubicBezTo>
                  <a:pt x="3119" y="6963"/>
                  <a:pt x="2017" y="5860"/>
                  <a:pt x="2017" y="4505"/>
                </a:cubicBezTo>
                <a:cubicBezTo>
                  <a:pt x="2017" y="3182"/>
                  <a:pt x="3119" y="2080"/>
                  <a:pt x="4443" y="2080"/>
                </a:cubicBezTo>
                <a:close/>
                <a:moveTo>
                  <a:pt x="4474" y="662"/>
                </a:moveTo>
                <a:cubicBezTo>
                  <a:pt x="6459" y="662"/>
                  <a:pt x="8097" y="2206"/>
                  <a:pt x="8255" y="4127"/>
                </a:cubicBezTo>
                <a:lnTo>
                  <a:pt x="7562" y="4127"/>
                </a:lnTo>
                <a:cubicBezTo>
                  <a:pt x="7372" y="2584"/>
                  <a:pt x="6049" y="1355"/>
                  <a:pt x="4443" y="1355"/>
                </a:cubicBezTo>
                <a:cubicBezTo>
                  <a:pt x="2710" y="1355"/>
                  <a:pt x="1324" y="2773"/>
                  <a:pt x="1324" y="4474"/>
                </a:cubicBezTo>
                <a:cubicBezTo>
                  <a:pt x="1324" y="6175"/>
                  <a:pt x="2741" y="7593"/>
                  <a:pt x="4443" y="7593"/>
                </a:cubicBezTo>
                <a:cubicBezTo>
                  <a:pt x="6049" y="7593"/>
                  <a:pt x="7372" y="6364"/>
                  <a:pt x="7562" y="4820"/>
                </a:cubicBezTo>
                <a:lnTo>
                  <a:pt x="8255" y="4820"/>
                </a:lnTo>
                <a:cubicBezTo>
                  <a:pt x="8097" y="6774"/>
                  <a:pt x="6459" y="8286"/>
                  <a:pt x="4474" y="8286"/>
                </a:cubicBezTo>
                <a:cubicBezTo>
                  <a:pt x="2395" y="8286"/>
                  <a:pt x="662" y="6616"/>
                  <a:pt x="662" y="4474"/>
                </a:cubicBezTo>
                <a:cubicBezTo>
                  <a:pt x="662" y="2363"/>
                  <a:pt x="2363" y="662"/>
                  <a:pt x="4474" y="662"/>
                </a:cubicBezTo>
                <a:close/>
                <a:moveTo>
                  <a:pt x="5734" y="8822"/>
                </a:moveTo>
                <a:lnTo>
                  <a:pt x="6049" y="9767"/>
                </a:lnTo>
                <a:lnTo>
                  <a:pt x="2836" y="9767"/>
                </a:lnTo>
                <a:lnTo>
                  <a:pt x="3151" y="8822"/>
                </a:lnTo>
                <a:cubicBezTo>
                  <a:pt x="3529" y="8916"/>
                  <a:pt x="4001" y="9011"/>
                  <a:pt x="4443" y="9011"/>
                </a:cubicBezTo>
                <a:cubicBezTo>
                  <a:pt x="4884" y="9011"/>
                  <a:pt x="5356" y="8916"/>
                  <a:pt x="5734" y="8822"/>
                </a:cubicBezTo>
                <a:close/>
                <a:moveTo>
                  <a:pt x="6522" y="10428"/>
                </a:moveTo>
                <a:cubicBezTo>
                  <a:pt x="6963" y="10428"/>
                  <a:pt x="7372" y="10680"/>
                  <a:pt x="7530" y="11121"/>
                </a:cubicBezTo>
                <a:lnTo>
                  <a:pt x="1418" y="11121"/>
                </a:lnTo>
                <a:cubicBezTo>
                  <a:pt x="1576" y="10743"/>
                  <a:pt x="1922" y="10428"/>
                  <a:pt x="2395" y="10428"/>
                </a:cubicBezTo>
                <a:close/>
                <a:moveTo>
                  <a:pt x="4474" y="0"/>
                </a:moveTo>
                <a:cubicBezTo>
                  <a:pt x="1985" y="0"/>
                  <a:pt x="0" y="1985"/>
                  <a:pt x="0" y="4474"/>
                </a:cubicBezTo>
                <a:cubicBezTo>
                  <a:pt x="0" y="6238"/>
                  <a:pt x="1040" y="7813"/>
                  <a:pt x="2552" y="8538"/>
                </a:cubicBezTo>
                <a:lnTo>
                  <a:pt x="2143" y="9767"/>
                </a:lnTo>
                <a:cubicBezTo>
                  <a:pt x="1324" y="9861"/>
                  <a:pt x="693" y="10586"/>
                  <a:pt x="693" y="11499"/>
                </a:cubicBezTo>
                <a:cubicBezTo>
                  <a:pt x="693" y="11688"/>
                  <a:pt x="851" y="11846"/>
                  <a:pt x="1040" y="11846"/>
                </a:cubicBezTo>
                <a:lnTo>
                  <a:pt x="7971" y="11846"/>
                </a:lnTo>
                <a:cubicBezTo>
                  <a:pt x="8192" y="11846"/>
                  <a:pt x="8349" y="11688"/>
                  <a:pt x="8349" y="11499"/>
                </a:cubicBezTo>
                <a:cubicBezTo>
                  <a:pt x="8349" y="10617"/>
                  <a:pt x="7719" y="9924"/>
                  <a:pt x="6900" y="9767"/>
                </a:cubicBezTo>
                <a:lnTo>
                  <a:pt x="6490" y="8538"/>
                </a:lnTo>
                <a:cubicBezTo>
                  <a:pt x="7782" y="7908"/>
                  <a:pt x="8727" y="6679"/>
                  <a:pt x="8979" y="5230"/>
                </a:cubicBezTo>
                <a:lnTo>
                  <a:pt x="9137" y="5388"/>
                </a:lnTo>
                <a:cubicBezTo>
                  <a:pt x="9168" y="5419"/>
                  <a:pt x="9200" y="5451"/>
                  <a:pt x="9263" y="5451"/>
                </a:cubicBezTo>
                <a:lnTo>
                  <a:pt x="11374" y="6175"/>
                </a:lnTo>
                <a:cubicBezTo>
                  <a:pt x="11403" y="6183"/>
                  <a:pt x="11435" y="6186"/>
                  <a:pt x="11466" y="6186"/>
                </a:cubicBezTo>
                <a:cubicBezTo>
                  <a:pt x="11569" y="6186"/>
                  <a:pt x="11672" y="6145"/>
                  <a:pt x="11720" y="6049"/>
                </a:cubicBezTo>
                <a:cubicBezTo>
                  <a:pt x="11815" y="5923"/>
                  <a:pt x="11846" y="5766"/>
                  <a:pt x="11783" y="5671"/>
                </a:cubicBezTo>
                <a:lnTo>
                  <a:pt x="11153" y="4442"/>
                </a:lnTo>
                <a:lnTo>
                  <a:pt x="11783" y="3214"/>
                </a:lnTo>
                <a:cubicBezTo>
                  <a:pt x="11815" y="3151"/>
                  <a:pt x="11783" y="2993"/>
                  <a:pt x="11689" y="2899"/>
                </a:cubicBezTo>
                <a:cubicBezTo>
                  <a:pt x="11641" y="2802"/>
                  <a:pt x="11519" y="2761"/>
                  <a:pt x="11422" y="2761"/>
                </a:cubicBezTo>
                <a:cubicBezTo>
                  <a:pt x="11392" y="2761"/>
                  <a:pt x="11364" y="2765"/>
                  <a:pt x="11342" y="2773"/>
                </a:cubicBezTo>
                <a:lnTo>
                  <a:pt x="9200" y="3497"/>
                </a:lnTo>
                <a:cubicBezTo>
                  <a:pt x="9168" y="3497"/>
                  <a:pt x="9105" y="3529"/>
                  <a:pt x="9105" y="3560"/>
                </a:cubicBezTo>
                <a:lnTo>
                  <a:pt x="8916" y="3718"/>
                </a:lnTo>
                <a:cubicBezTo>
                  <a:pt x="8570" y="1607"/>
                  <a:pt x="6742" y="0"/>
                  <a:pt x="4474"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nvGrpSpPr>
          <p:cNvPr id="10098" name="Google Shape;10098;p111"/>
          <p:cNvGrpSpPr/>
          <p:nvPr/>
        </p:nvGrpSpPr>
        <p:grpSpPr>
          <a:xfrm>
            <a:off x="7663165" y="3863971"/>
            <a:ext cx="463465" cy="464684"/>
            <a:chOff x="4321150" y="1946600"/>
            <a:chExt cx="294600" cy="295375"/>
          </a:xfrm>
        </p:grpSpPr>
        <p:sp>
          <p:nvSpPr>
            <p:cNvPr id="10099" name="Google Shape;10099;p111"/>
            <p:cNvSpPr/>
            <p:nvPr/>
          </p:nvSpPr>
          <p:spPr>
            <a:xfrm>
              <a:off x="4321150" y="1946600"/>
              <a:ext cx="294600" cy="295375"/>
            </a:xfrm>
            <a:custGeom>
              <a:avLst/>
              <a:gdLst/>
              <a:ahLst/>
              <a:cxnLst/>
              <a:rect l="l" t="t" r="r" b="b"/>
              <a:pathLst>
                <a:path w="11784" h="11815" extrusionOk="0">
                  <a:moveTo>
                    <a:pt x="9043" y="662"/>
                  </a:moveTo>
                  <a:lnTo>
                    <a:pt x="9043" y="2080"/>
                  </a:lnTo>
                  <a:lnTo>
                    <a:pt x="2742" y="2080"/>
                  </a:lnTo>
                  <a:lnTo>
                    <a:pt x="2742" y="662"/>
                  </a:lnTo>
                  <a:close/>
                  <a:moveTo>
                    <a:pt x="10775" y="2742"/>
                  </a:moveTo>
                  <a:cubicBezTo>
                    <a:pt x="10996" y="2742"/>
                    <a:pt x="11153" y="2899"/>
                    <a:pt x="11153" y="3120"/>
                  </a:cubicBezTo>
                  <a:lnTo>
                    <a:pt x="11153" y="6554"/>
                  </a:lnTo>
                  <a:cubicBezTo>
                    <a:pt x="11153" y="6774"/>
                    <a:pt x="10996" y="6932"/>
                    <a:pt x="10775" y="6932"/>
                  </a:cubicBezTo>
                  <a:lnTo>
                    <a:pt x="9767" y="6932"/>
                  </a:lnTo>
                  <a:lnTo>
                    <a:pt x="9767" y="4474"/>
                  </a:lnTo>
                  <a:cubicBezTo>
                    <a:pt x="9767" y="4285"/>
                    <a:pt x="9610" y="4128"/>
                    <a:pt x="9421" y="4128"/>
                  </a:cubicBezTo>
                  <a:lnTo>
                    <a:pt x="2427" y="4128"/>
                  </a:lnTo>
                  <a:cubicBezTo>
                    <a:pt x="2238" y="4128"/>
                    <a:pt x="2080" y="4285"/>
                    <a:pt x="2080" y="4474"/>
                  </a:cubicBezTo>
                  <a:lnTo>
                    <a:pt x="2080" y="6932"/>
                  </a:lnTo>
                  <a:lnTo>
                    <a:pt x="1009" y="6932"/>
                  </a:lnTo>
                  <a:cubicBezTo>
                    <a:pt x="820" y="6932"/>
                    <a:pt x="662" y="6774"/>
                    <a:pt x="662" y="6554"/>
                  </a:cubicBezTo>
                  <a:lnTo>
                    <a:pt x="662" y="3120"/>
                  </a:lnTo>
                  <a:cubicBezTo>
                    <a:pt x="662" y="2899"/>
                    <a:pt x="820" y="2742"/>
                    <a:pt x="1009" y="2742"/>
                  </a:cubicBezTo>
                  <a:close/>
                  <a:moveTo>
                    <a:pt x="9011" y="4821"/>
                  </a:moveTo>
                  <a:lnTo>
                    <a:pt x="9011" y="11090"/>
                  </a:lnTo>
                  <a:lnTo>
                    <a:pt x="2710" y="11090"/>
                  </a:lnTo>
                  <a:lnTo>
                    <a:pt x="2710" y="4821"/>
                  </a:lnTo>
                  <a:close/>
                  <a:moveTo>
                    <a:pt x="2395" y="1"/>
                  </a:moveTo>
                  <a:cubicBezTo>
                    <a:pt x="2206" y="1"/>
                    <a:pt x="2049" y="158"/>
                    <a:pt x="2049" y="347"/>
                  </a:cubicBezTo>
                  <a:lnTo>
                    <a:pt x="2049" y="2112"/>
                  </a:lnTo>
                  <a:lnTo>
                    <a:pt x="1009" y="2112"/>
                  </a:lnTo>
                  <a:cubicBezTo>
                    <a:pt x="442" y="2112"/>
                    <a:pt x="1" y="2584"/>
                    <a:pt x="1" y="3151"/>
                  </a:cubicBezTo>
                  <a:lnTo>
                    <a:pt x="1" y="6617"/>
                  </a:lnTo>
                  <a:cubicBezTo>
                    <a:pt x="1" y="7215"/>
                    <a:pt x="473" y="7625"/>
                    <a:pt x="1009" y="7625"/>
                  </a:cubicBezTo>
                  <a:lnTo>
                    <a:pt x="2049" y="7625"/>
                  </a:lnTo>
                  <a:lnTo>
                    <a:pt x="2049" y="11468"/>
                  </a:lnTo>
                  <a:cubicBezTo>
                    <a:pt x="2049" y="11657"/>
                    <a:pt x="2206" y="11815"/>
                    <a:pt x="2395" y="11815"/>
                  </a:cubicBezTo>
                  <a:lnTo>
                    <a:pt x="9358" y="11815"/>
                  </a:lnTo>
                  <a:cubicBezTo>
                    <a:pt x="9578" y="11815"/>
                    <a:pt x="9736" y="11657"/>
                    <a:pt x="9736" y="11468"/>
                  </a:cubicBezTo>
                  <a:lnTo>
                    <a:pt x="9736" y="7625"/>
                  </a:lnTo>
                  <a:lnTo>
                    <a:pt x="10744" y="7625"/>
                  </a:lnTo>
                  <a:cubicBezTo>
                    <a:pt x="11343" y="7625"/>
                    <a:pt x="11784" y="7152"/>
                    <a:pt x="11784" y="6617"/>
                  </a:cubicBezTo>
                  <a:lnTo>
                    <a:pt x="11784" y="3151"/>
                  </a:lnTo>
                  <a:cubicBezTo>
                    <a:pt x="11784" y="2553"/>
                    <a:pt x="11311" y="2112"/>
                    <a:pt x="10744" y="2112"/>
                  </a:cubicBezTo>
                  <a:lnTo>
                    <a:pt x="9736" y="2112"/>
                  </a:lnTo>
                  <a:lnTo>
                    <a:pt x="9736" y="347"/>
                  </a:lnTo>
                  <a:cubicBezTo>
                    <a:pt x="9736" y="158"/>
                    <a:pt x="9578" y="1"/>
                    <a:pt x="9358"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100" name="Google Shape;10100;p111"/>
            <p:cNvSpPr/>
            <p:nvPr/>
          </p:nvSpPr>
          <p:spPr>
            <a:xfrm>
              <a:off x="4564525" y="2031675"/>
              <a:ext cx="17350" cy="18125"/>
            </a:xfrm>
            <a:custGeom>
              <a:avLst/>
              <a:gdLst/>
              <a:ahLst/>
              <a:cxnLst/>
              <a:rect l="l" t="t" r="r" b="b"/>
              <a:pathLst>
                <a:path w="694" h="725" extrusionOk="0">
                  <a:moveTo>
                    <a:pt x="347" y="0"/>
                  </a:moveTo>
                  <a:cubicBezTo>
                    <a:pt x="158" y="0"/>
                    <a:pt x="1" y="189"/>
                    <a:pt x="1" y="378"/>
                  </a:cubicBezTo>
                  <a:cubicBezTo>
                    <a:pt x="1" y="599"/>
                    <a:pt x="158" y="725"/>
                    <a:pt x="347" y="725"/>
                  </a:cubicBezTo>
                  <a:cubicBezTo>
                    <a:pt x="536" y="725"/>
                    <a:pt x="694" y="567"/>
                    <a:pt x="694" y="378"/>
                  </a:cubicBezTo>
                  <a:cubicBezTo>
                    <a:pt x="694" y="189"/>
                    <a:pt x="536" y="0"/>
                    <a:pt x="347"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101" name="Google Shape;10101;p111"/>
            <p:cNvSpPr/>
            <p:nvPr/>
          </p:nvSpPr>
          <p:spPr>
            <a:xfrm>
              <a:off x="4414100" y="2084450"/>
              <a:ext cx="106350" cy="122100"/>
            </a:xfrm>
            <a:custGeom>
              <a:avLst/>
              <a:gdLst/>
              <a:ahLst/>
              <a:cxnLst/>
              <a:rect l="l" t="t" r="r" b="b"/>
              <a:pathLst>
                <a:path w="4254" h="4884" extrusionOk="0">
                  <a:moveTo>
                    <a:pt x="2174" y="693"/>
                  </a:moveTo>
                  <a:cubicBezTo>
                    <a:pt x="2584" y="693"/>
                    <a:pt x="2899" y="1008"/>
                    <a:pt x="2899" y="1418"/>
                  </a:cubicBezTo>
                  <a:cubicBezTo>
                    <a:pt x="2899" y="1796"/>
                    <a:pt x="2584" y="2111"/>
                    <a:pt x="2174" y="2111"/>
                  </a:cubicBezTo>
                  <a:cubicBezTo>
                    <a:pt x="1796" y="2111"/>
                    <a:pt x="1481" y="1796"/>
                    <a:pt x="1481" y="1418"/>
                  </a:cubicBezTo>
                  <a:cubicBezTo>
                    <a:pt x="1481" y="1008"/>
                    <a:pt x="1796" y="693"/>
                    <a:pt x="2174" y="693"/>
                  </a:cubicBezTo>
                  <a:close/>
                  <a:moveTo>
                    <a:pt x="2174" y="2804"/>
                  </a:moveTo>
                  <a:cubicBezTo>
                    <a:pt x="2930" y="2804"/>
                    <a:pt x="3592" y="3403"/>
                    <a:pt x="3592" y="4190"/>
                  </a:cubicBezTo>
                  <a:lnTo>
                    <a:pt x="756" y="4190"/>
                  </a:lnTo>
                  <a:cubicBezTo>
                    <a:pt x="756" y="3403"/>
                    <a:pt x="1387" y="2804"/>
                    <a:pt x="2174" y="2804"/>
                  </a:cubicBezTo>
                  <a:close/>
                  <a:moveTo>
                    <a:pt x="2143" y="0"/>
                  </a:moveTo>
                  <a:cubicBezTo>
                    <a:pt x="1387" y="0"/>
                    <a:pt x="725" y="630"/>
                    <a:pt x="725" y="1386"/>
                  </a:cubicBezTo>
                  <a:cubicBezTo>
                    <a:pt x="725" y="1733"/>
                    <a:pt x="882" y="2079"/>
                    <a:pt x="1103" y="2331"/>
                  </a:cubicBezTo>
                  <a:cubicBezTo>
                    <a:pt x="473" y="2678"/>
                    <a:pt x="0" y="3340"/>
                    <a:pt x="0" y="4159"/>
                  </a:cubicBezTo>
                  <a:lnTo>
                    <a:pt x="0" y="4537"/>
                  </a:lnTo>
                  <a:cubicBezTo>
                    <a:pt x="63" y="4726"/>
                    <a:pt x="221" y="4883"/>
                    <a:pt x="410" y="4883"/>
                  </a:cubicBezTo>
                  <a:lnTo>
                    <a:pt x="3907" y="4883"/>
                  </a:lnTo>
                  <a:cubicBezTo>
                    <a:pt x="4127" y="4883"/>
                    <a:pt x="4253" y="4726"/>
                    <a:pt x="4253" y="4537"/>
                  </a:cubicBezTo>
                  <a:lnTo>
                    <a:pt x="4253" y="4159"/>
                  </a:lnTo>
                  <a:cubicBezTo>
                    <a:pt x="4253" y="3371"/>
                    <a:pt x="3844" y="2709"/>
                    <a:pt x="3151" y="2331"/>
                  </a:cubicBezTo>
                  <a:cubicBezTo>
                    <a:pt x="3403" y="2048"/>
                    <a:pt x="3560" y="1733"/>
                    <a:pt x="3560" y="1386"/>
                  </a:cubicBezTo>
                  <a:cubicBezTo>
                    <a:pt x="3560" y="599"/>
                    <a:pt x="2930" y="0"/>
                    <a:pt x="2143"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sp>
        <p:nvSpPr>
          <p:cNvPr id="10102" name="Google Shape;10102;p111"/>
          <p:cNvSpPr/>
          <p:nvPr/>
        </p:nvSpPr>
        <p:spPr>
          <a:xfrm>
            <a:off x="7658667" y="4530747"/>
            <a:ext cx="472156" cy="434989"/>
          </a:xfrm>
          <a:custGeom>
            <a:avLst/>
            <a:gdLst/>
            <a:ahLst/>
            <a:cxnLst/>
            <a:rect l="l" t="t" r="r" b="b"/>
            <a:pathLst>
              <a:path w="12005" h="11060" extrusionOk="0">
                <a:moveTo>
                  <a:pt x="2049" y="2049"/>
                </a:moveTo>
                <a:cubicBezTo>
                  <a:pt x="2238" y="2049"/>
                  <a:pt x="2395" y="2206"/>
                  <a:pt x="2395" y="2395"/>
                </a:cubicBezTo>
                <a:cubicBezTo>
                  <a:pt x="2395" y="2584"/>
                  <a:pt x="2238" y="2742"/>
                  <a:pt x="2049" y="2742"/>
                </a:cubicBezTo>
                <a:cubicBezTo>
                  <a:pt x="1860" y="2742"/>
                  <a:pt x="1702" y="2584"/>
                  <a:pt x="1702" y="2395"/>
                </a:cubicBezTo>
                <a:cubicBezTo>
                  <a:pt x="1734" y="2206"/>
                  <a:pt x="1860" y="2049"/>
                  <a:pt x="2049" y="2049"/>
                </a:cubicBezTo>
                <a:close/>
                <a:moveTo>
                  <a:pt x="9736" y="2049"/>
                </a:moveTo>
                <a:cubicBezTo>
                  <a:pt x="9925" y="2049"/>
                  <a:pt x="10082" y="2206"/>
                  <a:pt x="10082" y="2395"/>
                </a:cubicBezTo>
                <a:cubicBezTo>
                  <a:pt x="10082" y="2584"/>
                  <a:pt x="9925" y="2742"/>
                  <a:pt x="9736" y="2742"/>
                </a:cubicBezTo>
                <a:cubicBezTo>
                  <a:pt x="9515" y="2742"/>
                  <a:pt x="9358" y="2584"/>
                  <a:pt x="9358" y="2395"/>
                </a:cubicBezTo>
                <a:cubicBezTo>
                  <a:pt x="9358" y="2206"/>
                  <a:pt x="9515" y="2049"/>
                  <a:pt x="9736" y="2049"/>
                </a:cubicBezTo>
                <a:close/>
                <a:moveTo>
                  <a:pt x="2049" y="3719"/>
                </a:moveTo>
                <a:lnTo>
                  <a:pt x="3151" y="5514"/>
                </a:lnTo>
                <a:lnTo>
                  <a:pt x="946" y="5514"/>
                </a:lnTo>
                <a:lnTo>
                  <a:pt x="2049" y="3719"/>
                </a:lnTo>
                <a:close/>
                <a:moveTo>
                  <a:pt x="9736" y="3719"/>
                </a:moveTo>
                <a:lnTo>
                  <a:pt x="10838" y="5514"/>
                </a:lnTo>
                <a:lnTo>
                  <a:pt x="8633" y="5514"/>
                </a:lnTo>
                <a:lnTo>
                  <a:pt x="9736" y="3719"/>
                </a:lnTo>
                <a:close/>
                <a:moveTo>
                  <a:pt x="3435" y="6207"/>
                </a:moveTo>
                <a:cubicBezTo>
                  <a:pt x="3466" y="6964"/>
                  <a:pt x="2836" y="7594"/>
                  <a:pt x="2049" y="7594"/>
                </a:cubicBezTo>
                <a:cubicBezTo>
                  <a:pt x="1292" y="7594"/>
                  <a:pt x="662" y="6964"/>
                  <a:pt x="662" y="6207"/>
                </a:cubicBezTo>
                <a:close/>
                <a:moveTo>
                  <a:pt x="11090" y="6207"/>
                </a:moveTo>
                <a:cubicBezTo>
                  <a:pt x="11090" y="6964"/>
                  <a:pt x="10460" y="7594"/>
                  <a:pt x="9736" y="7594"/>
                </a:cubicBezTo>
                <a:cubicBezTo>
                  <a:pt x="8980" y="7594"/>
                  <a:pt x="8350" y="6964"/>
                  <a:pt x="8350" y="6207"/>
                </a:cubicBezTo>
                <a:close/>
                <a:moveTo>
                  <a:pt x="5892" y="663"/>
                </a:moveTo>
                <a:cubicBezTo>
                  <a:pt x="6113" y="663"/>
                  <a:pt x="6270" y="820"/>
                  <a:pt x="6270" y="1009"/>
                </a:cubicBezTo>
                <a:lnTo>
                  <a:pt x="6270" y="8980"/>
                </a:lnTo>
                <a:lnTo>
                  <a:pt x="5546" y="8980"/>
                </a:lnTo>
                <a:lnTo>
                  <a:pt x="5546" y="1009"/>
                </a:lnTo>
                <a:cubicBezTo>
                  <a:pt x="5546" y="820"/>
                  <a:pt x="5703" y="663"/>
                  <a:pt x="5892" y="663"/>
                </a:cubicBezTo>
                <a:close/>
                <a:moveTo>
                  <a:pt x="8003" y="9673"/>
                </a:moveTo>
                <a:cubicBezTo>
                  <a:pt x="8192" y="9673"/>
                  <a:pt x="8350" y="9830"/>
                  <a:pt x="8350" y="10020"/>
                </a:cubicBezTo>
                <a:lnTo>
                  <a:pt x="8350" y="10398"/>
                </a:lnTo>
                <a:lnTo>
                  <a:pt x="3466" y="10398"/>
                </a:lnTo>
                <a:lnTo>
                  <a:pt x="3466" y="10020"/>
                </a:lnTo>
                <a:cubicBezTo>
                  <a:pt x="3466" y="9830"/>
                  <a:pt x="3624" y="9673"/>
                  <a:pt x="3813" y="9673"/>
                </a:cubicBezTo>
                <a:close/>
                <a:moveTo>
                  <a:pt x="5955" y="1"/>
                </a:moveTo>
                <a:cubicBezTo>
                  <a:pt x="5357" y="1"/>
                  <a:pt x="4916" y="474"/>
                  <a:pt x="4916" y="1009"/>
                </a:cubicBezTo>
                <a:lnTo>
                  <a:pt x="4916" y="1167"/>
                </a:lnTo>
                <a:cubicBezTo>
                  <a:pt x="3970" y="1671"/>
                  <a:pt x="3655" y="1891"/>
                  <a:pt x="3057" y="1954"/>
                </a:cubicBezTo>
                <a:cubicBezTo>
                  <a:pt x="2899" y="1608"/>
                  <a:pt x="2553" y="1324"/>
                  <a:pt x="2112" y="1324"/>
                </a:cubicBezTo>
                <a:cubicBezTo>
                  <a:pt x="1734" y="1324"/>
                  <a:pt x="1387" y="1576"/>
                  <a:pt x="1166" y="1923"/>
                </a:cubicBezTo>
                <a:cubicBezTo>
                  <a:pt x="946" y="1891"/>
                  <a:pt x="694" y="1797"/>
                  <a:pt x="505" y="1734"/>
                </a:cubicBezTo>
                <a:cubicBezTo>
                  <a:pt x="454" y="1708"/>
                  <a:pt x="404" y="1697"/>
                  <a:pt x="355" y="1697"/>
                </a:cubicBezTo>
                <a:cubicBezTo>
                  <a:pt x="224" y="1697"/>
                  <a:pt x="110" y="1784"/>
                  <a:pt x="64" y="1923"/>
                </a:cubicBezTo>
                <a:cubicBezTo>
                  <a:pt x="1" y="2112"/>
                  <a:pt x="64" y="2301"/>
                  <a:pt x="284" y="2364"/>
                </a:cubicBezTo>
                <a:cubicBezTo>
                  <a:pt x="536" y="2458"/>
                  <a:pt x="820" y="2553"/>
                  <a:pt x="1135" y="2616"/>
                </a:cubicBezTo>
                <a:cubicBezTo>
                  <a:pt x="1229" y="2899"/>
                  <a:pt x="1387" y="3151"/>
                  <a:pt x="1607" y="3277"/>
                </a:cubicBezTo>
                <a:lnTo>
                  <a:pt x="127" y="5703"/>
                </a:lnTo>
                <a:cubicBezTo>
                  <a:pt x="64" y="5735"/>
                  <a:pt x="64" y="5829"/>
                  <a:pt x="64" y="5892"/>
                </a:cubicBezTo>
                <a:lnTo>
                  <a:pt x="64" y="6239"/>
                </a:lnTo>
                <a:cubicBezTo>
                  <a:pt x="64" y="7405"/>
                  <a:pt x="1009" y="8350"/>
                  <a:pt x="2175" y="8350"/>
                </a:cubicBezTo>
                <a:cubicBezTo>
                  <a:pt x="3309" y="8350"/>
                  <a:pt x="4254" y="7405"/>
                  <a:pt x="4254" y="6239"/>
                </a:cubicBezTo>
                <a:lnTo>
                  <a:pt x="4254" y="5892"/>
                </a:lnTo>
                <a:cubicBezTo>
                  <a:pt x="4254" y="5829"/>
                  <a:pt x="4254" y="5766"/>
                  <a:pt x="4222" y="5703"/>
                </a:cubicBezTo>
                <a:lnTo>
                  <a:pt x="2710" y="3277"/>
                </a:lnTo>
                <a:cubicBezTo>
                  <a:pt x="2962" y="3183"/>
                  <a:pt x="3120" y="2931"/>
                  <a:pt x="3183" y="2647"/>
                </a:cubicBezTo>
                <a:cubicBezTo>
                  <a:pt x="3844" y="2553"/>
                  <a:pt x="4222" y="2332"/>
                  <a:pt x="4947" y="1954"/>
                </a:cubicBezTo>
                <a:lnTo>
                  <a:pt x="4947" y="8980"/>
                </a:lnTo>
                <a:lnTo>
                  <a:pt x="3939" y="8980"/>
                </a:lnTo>
                <a:cubicBezTo>
                  <a:pt x="3340" y="8980"/>
                  <a:pt x="2899" y="9421"/>
                  <a:pt x="2899" y="9988"/>
                </a:cubicBezTo>
                <a:lnTo>
                  <a:pt x="2899" y="10713"/>
                </a:lnTo>
                <a:cubicBezTo>
                  <a:pt x="2899" y="10902"/>
                  <a:pt x="3057" y="11059"/>
                  <a:pt x="3246" y="11059"/>
                </a:cubicBezTo>
                <a:lnTo>
                  <a:pt x="8822" y="11059"/>
                </a:lnTo>
                <a:cubicBezTo>
                  <a:pt x="9011" y="11059"/>
                  <a:pt x="9169" y="10902"/>
                  <a:pt x="9169" y="10713"/>
                </a:cubicBezTo>
                <a:lnTo>
                  <a:pt x="9169" y="9988"/>
                </a:lnTo>
                <a:cubicBezTo>
                  <a:pt x="9169" y="9389"/>
                  <a:pt x="8696" y="8980"/>
                  <a:pt x="8129" y="8980"/>
                </a:cubicBezTo>
                <a:lnTo>
                  <a:pt x="7089" y="8980"/>
                </a:lnTo>
                <a:lnTo>
                  <a:pt x="7089" y="1954"/>
                </a:lnTo>
                <a:cubicBezTo>
                  <a:pt x="7814" y="2332"/>
                  <a:pt x="8224" y="2553"/>
                  <a:pt x="8885" y="2647"/>
                </a:cubicBezTo>
                <a:cubicBezTo>
                  <a:pt x="8980" y="2931"/>
                  <a:pt x="9137" y="3120"/>
                  <a:pt x="9358" y="3277"/>
                </a:cubicBezTo>
                <a:lnTo>
                  <a:pt x="7877" y="5703"/>
                </a:lnTo>
                <a:cubicBezTo>
                  <a:pt x="7814" y="5735"/>
                  <a:pt x="7814" y="5829"/>
                  <a:pt x="7814" y="5892"/>
                </a:cubicBezTo>
                <a:lnTo>
                  <a:pt x="7814" y="6239"/>
                </a:lnTo>
                <a:cubicBezTo>
                  <a:pt x="7814" y="7405"/>
                  <a:pt x="8759" y="8350"/>
                  <a:pt x="9925" y="8350"/>
                </a:cubicBezTo>
                <a:cubicBezTo>
                  <a:pt x="11059" y="8350"/>
                  <a:pt x="12004" y="7405"/>
                  <a:pt x="12004" y="6239"/>
                </a:cubicBezTo>
                <a:lnTo>
                  <a:pt x="12004" y="5892"/>
                </a:lnTo>
                <a:cubicBezTo>
                  <a:pt x="12004" y="5829"/>
                  <a:pt x="12004" y="5766"/>
                  <a:pt x="11973" y="5703"/>
                </a:cubicBezTo>
                <a:lnTo>
                  <a:pt x="10460" y="3277"/>
                </a:lnTo>
                <a:cubicBezTo>
                  <a:pt x="10523" y="3151"/>
                  <a:pt x="10681" y="2899"/>
                  <a:pt x="10744" y="2616"/>
                </a:cubicBezTo>
                <a:cubicBezTo>
                  <a:pt x="11027" y="2553"/>
                  <a:pt x="11343" y="2458"/>
                  <a:pt x="11626" y="2364"/>
                </a:cubicBezTo>
                <a:cubicBezTo>
                  <a:pt x="11815" y="2269"/>
                  <a:pt x="11878" y="2080"/>
                  <a:pt x="11815" y="1923"/>
                </a:cubicBezTo>
                <a:cubicBezTo>
                  <a:pt x="11746" y="1784"/>
                  <a:pt x="11626" y="1697"/>
                  <a:pt x="11505" y="1697"/>
                </a:cubicBezTo>
                <a:cubicBezTo>
                  <a:pt x="11461" y="1697"/>
                  <a:pt x="11416" y="1708"/>
                  <a:pt x="11374" y="1734"/>
                </a:cubicBezTo>
                <a:cubicBezTo>
                  <a:pt x="11122" y="1797"/>
                  <a:pt x="10933" y="1891"/>
                  <a:pt x="10712" y="1923"/>
                </a:cubicBezTo>
                <a:cubicBezTo>
                  <a:pt x="10555" y="1576"/>
                  <a:pt x="10208" y="1324"/>
                  <a:pt x="9767" y="1324"/>
                </a:cubicBezTo>
                <a:cubicBezTo>
                  <a:pt x="9326" y="1324"/>
                  <a:pt x="8980" y="1576"/>
                  <a:pt x="8822" y="1954"/>
                </a:cubicBezTo>
                <a:cubicBezTo>
                  <a:pt x="8224" y="1828"/>
                  <a:pt x="7908" y="1639"/>
                  <a:pt x="6963" y="1167"/>
                </a:cubicBezTo>
                <a:lnTo>
                  <a:pt x="6963" y="1009"/>
                </a:lnTo>
                <a:cubicBezTo>
                  <a:pt x="6963" y="411"/>
                  <a:pt x="6491" y="1"/>
                  <a:pt x="5955"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103" name="Google Shape;10103;p111"/>
          <p:cNvSpPr/>
          <p:nvPr/>
        </p:nvSpPr>
        <p:spPr>
          <a:xfrm>
            <a:off x="7659296" y="5114967"/>
            <a:ext cx="470899" cy="464684"/>
          </a:xfrm>
          <a:custGeom>
            <a:avLst/>
            <a:gdLst/>
            <a:ahLst/>
            <a:cxnLst/>
            <a:rect l="l" t="t" r="r" b="b"/>
            <a:pathLst>
              <a:path w="11973" h="11815" extrusionOk="0">
                <a:moveTo>
                  <a:pt x="5986" y="631"/>
                </a:moveTo>
                <a:cubicBezTo>
                  <a:pt x="6396" y="631"/>
                  <a:pt x="6711" y="946"/>
                  <a:pt x="6711" y="1324"/>
                </a:cubicBezTo>
                <a:cubicBezTo>
                  <a:pt x="6711" y="1733"/>
                  <a:pt x="6396" y="2048"/>
                  <a:pt x="5986" y="2048"/>
                </a:cubicBezTo>
                <a:cubicBezTo>
                  <a:pt x="5608" y="2048"/>
                  <a:pt x="5293" y="1733"/>
                  <a:pt x="5293" y="1324"/>
                </a:cubicBezTo>
                <a:cubicBezTo>
                  <a:pt x="5293" y="946"/>
                  <a:pt x="5608" y="631"/>
                  <a:pt x="5986" y="631"/>
                </a:cubicBezTo>
                <a:close/>
                <a:moveTo>
                  <a:pt x="5986" y="2710"/>
                </a:moveTo>
                <a:cubicBezTo>
                  <a:pt x="6931" y="2710"/>
                  <a:pt x="7719" y="3498"/>
                  <a:pt x="7719" y="4443"/>
                </a:cubicBezTo>
                <a:lnTo>
                  <a:pt x="7719" y="4789"/>
                </a:lnTo>
                <a:lnTo>
                  <a:pt x="4253" y="4789"/>
                </a:lnTo>
                <a:lnTo>
                  <a:pt x="4253" y="4443"/>
                </a:lnTo>
                <a:cubicBezTo>
                  <a:pt x="4253" y="3498"/>
                  <a:pt x="5041" y="2710"/>
                  <a:pt x="5986" y="2710"/>
                </a:cubicBezTo>
                <a:close/>
                <a:moveTo>
                  <a:pt x="3245" y="6900"/>
                </a:moveTo>
                <a:cubicBezTo>
                  <a:pt x="3623" y="6900"/>
                  <a:pt x="3938" y="7215"/>
                  <a:pt x="3938" y="7593"/>
                </a:cubicBezTo>
                <a:cubicBezTo>
                  <a:pt x="3938" y="8003"/>
                  <a:pt x="3623" y="8318"/>
                  <a:pt x="3245" y="8318"/>
                </a:cubicBezTo>
                <a:cubicBezTo>
                  <a:pt x="2836" y="8255"/>
                  <a:pt x="2521" y="7940"/>
                  <a:pt x="2521" y="7593"/>
                </a:cubicBezTo>
                <a:cubicBezTo>
                  <a:pt x="2521" y="7215"/>
                  <a:pt x="2836" y="6900"/>
                  <a:pt x="3245" y="6900"/>
                </a:cubicBezTo>
                <a:close/>
                <a:moveTo>
                  <a:pt x="8759" y="6900"/>
                </a:moveTo>
                <a:cubicBezTo>
                  <a:pt x="9137" y="6900"/>
                  <a:pt x="9452" y="7215"/>
                  <a:pt x="9452" y="7593"/>
                </a:cubicBezTo>
                <a:cubicBezTo>
                  <a:pt x="9452" y="8003"/>
                  <a:pt x="9137" y="8318"/>
                  <a:pt x="8759" y="8318"/>
                </a:cubicBezTo>
                <a:cubicBezTo>
                  <a:pt x="8349" y="8318"/>
                  <a:pt x="8034" y="7940"/>
                  <a:pt x="8034" y="7593"/>
                </a:cubicBezTo>
                <a:cubicBezTo>
                  <a:pt x="8034" y="7215"/>
                  <a:pt x="8349" y="6900"/>
                  <a:pt x="8759" y="6900"/>
                </a:cubicBezTo>
                <a:close/>
                <a:moveTo>
                  <a:pt x="10365" y="5545"/>
                </a:moveTo>
                <a:cubicBezTo>
                  <a:pt x="10523" y="5545"/>
                  <a:pt x="10680" y="5672"/>
                  <a:pt x="10712" y="5829"/>
                </a:cubicBezTo>
                <a:lnTo>
                  <a:pt x="11216" y="8570"/>
                </a:lnTo>
                <a:cubicBezTo>
                  <a:pt x="11247" y="8790"/>
                  <a:pt x="11027" y="8980"/>
                  <a:pt x="10838" y="8980"/>
                </a:cubicBezTo>
                <a:lnTo>
                  <a:pt x="10460" y="8980"/>
                </a:lnTo>
                <a:cubicBezTo>
                  <a:pt x="10239" y="8790"/>
                  <a:pt x="10019" y="8633"/>
                  <a:pt x="9767" y="8507"/>
                </a:cubicBezTo>
                <a:cubicBezTo>
                  <a:pt x="10019" y="8255"/>
                  <a:pt x="10145" y="7940"/>
                  <a:pt x="10145" y="7562"/>
                </a:cubicBezTo>
                <a:cubicBezTo>
                  <a:pt x="10145" y="6806"/>
                  <a:pt x="9515" y="6176"/>
                  <a:pt x="8759" y="6176"/>
                </a:cubicBezTo>
                <a:cubicBezTo>
                  <a:pt x="8002" y="6176"/>
                  <a:pt x="7372" y="6806"/>
                  <a:pt x="7372" y="7562"/>
                </a:cubicBezTo>
                <a:cubicBezTo>
                  <a:pt x="7372" y="7908"/>
                  <a:pt x="7498" y="8223"/>
                  <a:pt x="7719" y="8507"/>
                </a:cubicBezTo>
                <a:cubicBezTo>
                  <a:pt x="7498" y="8633"/>
                  <a:pt x="7246" y="8790"/>
                  <a:pt x="7057" y="8980"/>
                </a:cubicBezTo>
                <a:lnTo>
                  <a:pt x="4883" y="8980"/>
                </a:lnTo>
                <a:cubicBezTo>
                  <a:pt x="4694" y="8790"/>
                  <a:pt x="4442" y="8633"/>
                  <a:pt x="4222" y="8507"/>
                </a:cubicBezTo>
                <a:cubicBezTo>
                  <a:pt x="4474" y="8255"/>
                  <a:pt x="4568" y="7940"/>
                  <a:pt x="4568" y="7562"/>
                </a:cubicBezTo>
                <a:cubicBezTo>
                  <a:pt x="4568" y="6806"/>
                  <a:pt x="3938" y="6176"/>
                  <a:pt x="3214" y="6176"/>
                </a:cubicBezTo>
                <a:cubicBezTo>
                  <a:pt x="2458" y="6176"/>
                  <a:pt x="1828" y="6806"/>
                  <a:pt x="1828" y="7562"/>
                </a:cubicBezTo>
                <a:cubicBezTo>
                  <a:pt x="1828" y="7908"/>
                  <a:pt x="1954" y="8223"/>
                  <a:pt x="2174" y="8507"/>
                </a:cubicBezTo>
                <a:cubicBezTo>
                  <a:pt x="1922" y="8633"/>
                  <a:pt x="1701" y="8790"/>
                  <a:pt x="1512" y="8980"/>
                </a:cubicBezTo>
                <a:lnTo>
                  <a:pt x="1103" y="8980"/>
                </a:lnTo>
                <a:cubicBezTo>
                  <a:pt x="882" y="8980"/>
                  <a:pt x="725" y="8790"/>
                  <a:pt x="756" y="8570"/>
                </a:cubicBezTo>
                <a:lnTo>
                  <a:pt x="1260" y="5829"/>
                </a:lnTo>
                <a:cubicBezTo>
                  <a:pt x="1323" y="5672"/>
                  <a:pt x="1418" y="5545"/>
                  <a:pt x="1638" y="5545"/>
                </a:cubicBezTo>
                <a:close/>
                <a:moveTo>
                  <a:pt x="3214" y="8948"/>
                </a:moveTo>
                <a:cubicBezTo>
                  <a:pt x="4127" y="8948"/>
                  <a:pt x="4915" y="9736"/>
                  <a:pt x="4915" y="10712"/>
                </a:cubicBezTo>
                <a:lnTo>
                  <a:pt x="4915" y="11059"/>
                </a:lnTo>
                <a:lnTo>
                  <a:pt x="1481" y="11059"/>
                </a:lnTo>
                <a:lnTo>
                  <a:pt x="1481" y="10712"/>
                </a:lnTo>
                <a:cubicBezTo>
                  <a:pt x="1481" y="9736"/>
                  <a:pt x="2269" y="8948"/>
                  <a:pt x="3214" y="8948"/>
                </a:cubicBezTo>
                <a:close/>
                <a:moveTo>
                  <a:pt x="8759" y="8948"/>
                </a:moveTo>
                <a:cubicBezTo>
                  <a:pt x="9704" y="8948"/>
                  <a:pt x="10491" y="9736"/>
                  <a:pt x="10491" y="10712"/>
                </a:cubicBezTo>
                <a:lnTo>
                  <a:pt x="10491" y="11059"/>
                </a:lnTo>
                <a:lnTo>
                  <a:pt x="7026" y="11059"/>
                </a:lnTo>
                <a:lnTo>
                  <a:pt x="7026" y="10712"/>
                </a:lnTo>
                <a:cubicBezTo>
                  <a:pt x="7026" y="9736"/>
                  <a:pt x="7813" y="8948"/>
                  <a:pt x="8759" y="8948"/>
                </a:cubicBezTo>
                <a:close/>
                <a:moveTo>
                  <a:pt x="5986" y="1"/>
                </a:moveTo>
                <a:cubicBezTo>
                  <a:pt x="5262" y="1"/>
                  <a:pt x="4631" y="631"/>
                  <a:pt x="4631" y="1387"/>
                </a:cubicBezTo>
                <a:cubicBezTo>
                  <a:pt x="4631" y="1733"/>
                  <a:pt x="4726" y="2048"/>
                  <a:pt x="4978" y="2269"/>
                </a:cubicBezTo>
                <a:cubicBezTo>
                  <a:pt x="4127" y="2679"/>
                  <a:pt x="3592" y="3498"/>
                  <a:pt x="3592" y="4474"/>
                </a:cubicBezTo>
                <a:lnTo>
                  <a:pt x="3592" y="4852"/>
                </a:lnTo>
                <a:lnTo>
                  <a:pt x="1670" y="4852"/>
                </a:lnTo>
                <a:cubicBezTo>
                  <a:pt x="1166" y="4852"/>
                  <a:pt x="725" y="5199"/>
                  <a:pt x="630" y="5703"/>
                </a:cubicBezTo>
                <a:lnTo>
                  <a:pt x="126" y="8475"/>
                </a:lnTo>
                <a:cubicBezTo>
                  <a:pt x="0" y="9043"/>
                  <a:pt x="473" y="9610"/>
                  <a:pt x="1071" y="9673"/>
                </a:cubicBezTo>
                <a:cubicBezTo>
                  <a:pt x="914" y="9988"/>
                  <a:pt x="819" y="10366"/>
                  <a:pt x="819" y="10744"/>
                </a:cubicBezTo>
                <a:lnTo>
                  <a:pt x="819" y="11468"/>
                </a:lnTo>
                <a:cubicBezTo>
                  <a:pt x="819" y="11657"/>
                  <a:pt x="977" y="11815"/>
                  <a:pt x="1197" y="11815"/>
                </a:cubicBezTo>
                <a:lnTo>
                  <a:pt x="5356" y="11815"/>
                </a:lnTo>
                <a:cubicBezTo>
                  <a:pt x="5545" y="11815"/>
                  <a:pt x="5703" y="11657"/>
                  <a:pt x="5703" y="11468"/>
                </a:cubicBezTo>
                <a:lnTo>
                  <a:pt x="5703" y="10744"/>
                </a:lnTo>
                <a:cubicBezTo>
                  <a:pt x="5703" y="10366"/>
                  <a:pt x="5640" y="9988"/>
                  <a:pt x="5482" y="9673"/>
                </a:cubicBezTo>
                <a:lnTo>
                  <a:pt x="6648" y="9673"/>
                </a:lnTo>
                <a:cubicBezTo>
                  <a:pt x="6490" y="9988"/>
                  <a:pt x="6427" y="10366"/>
                  <a:pt x="6427" y="10744"/>
                </a:cubicBezTo>
                <a:lnTo>
                  <a:pt x="6427" y="11468"/>
                </a:lnTo>
                <a:cubicBezTo>
                  <a:pt x="6427" y="11657"/>
                  <a:pt x="6585" y="11815"/>
                  <a:pt x="6774" y="11815"/>
                </a:cubicBezTo>
                <a:lnTo>
                  <a:pt x="10838" y="11815"/>
                </a:lnTo>
                <a:cubicBezTo>
                  <a:pt x="11027" y="11815"/>
                  <a:pt x="11184" y="11657"/>
                  <a:pt x="11184" y="11468"/>
                </a:cubicBezTo>
                <a:lnTo>
                  <a:pt x="11184" y="10744"/>
                </a:lnTo>
                <a:cubicBezTo>
                  <a:pt x="11184" y="10366"/>
                  <a:pt x="11121" y="9988"/>
                  <a:pt x="10964" y="9673"/>
                </a:cubicBezTo>
                <a:cubicBezTo>
                  <a:pt x="11563" y="9610"/>
                  <a:pt x="11972" y="9043"/>
                  <a:pt x="11878" y="8475"/>
                </a:cubicBezTo>
                <a:lnTo>
                  <a:pt x="11342" y="5703"/>
                </a:lnTo>
                <a:cubicBezTo>
                  <a:pt x="11279" y="5199"/>
                  <a:pt x="10838" y="4852"/>
                  <a:pt x="10334" y="4852"/>
                </a:cubicBezTo>
                <a:lnTo>
                  <a:pt x="8412" y="4852"/>
                </a:lnTo>
                <a:lnTo>
                  <a:pt x="8412" y="4474"/>
                </a:lnTo>
                <a:cubicBezTo>
                  <a:pt x="8412" y="3498"/>
                  <a:pt x="7845" y="2679"/>
                  <a:pt x="7026" y="2269"/>
                </a:cubicBezTo>
                <a:cubicBezTo>
                  <a:pt x="7246" y="2048"/>
                  <a:pt x="7372" y="1733"/>
                  <a:pt x="7372" y="1387"/>
                </a:cubicBezTo>
                <a:cubicBezTo>
                  <a:pt x="7372" y="631"/>
                  <a:pt x="6742" y="1"/>
                  <a:pt x="5986"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104" name="Google Shape;10104;p111"/>
          <p:cNvSpPr/>
          <p:nvPr/>
        </p:nvSpPr>
        <p:spPr>
          <a:xfrm>
            <a:off x="10693461" y="3865161"/>
            <a:ext cx="298672" cy="462207"/>
          </a:xfrm>
          <a:custGeom>
            <a:avLst/>
            <a:gdLst/>
            <a:ahLst/>
            <a:cxnLst/>
            <a:rect l="l" t="t" r="r" b="b"/>
            <a:pathLst>
              <a:path w="7594" h="11752" extrusionOk="0">
                <a:moveTo>
                  <a:pt x="6585" y="662"/>
                </a:moveTo>
                <a:cubicBezTo>
                  <a:pt x="6774" y="662"/>
                  <a:pt x="6932" y="819"/>
                  <a:pt x="6932" y="1008"/>
                </a:cubicBezTo>
                <a:cubicBezTo>
                  <a:pt x="6932" y="1197"/>
                  <a:pt x="6774" y="1355"/>
                  <a:pt x="6585" y="1355"/>
                </a:cubicBezTo>
                <a:lnTo>
                  <a:pt x="1040" y="1355"/>
                </a:lnTo>
                <a:cubicBezTo>
                  <a:pt x="820" y="1355"/>
                  <a:pt x="662" y="1197"/>
                  <a:pt x="662" y="1008"/>
                </a:cubicBezTo>
                <a:cubicBezTo>
                  <a:pt x="662" y="819"/>
                  <a:pt x="820" y="662"/>
                  <a:pt x="1040" y="662"/>
                </a:cubicBezTo>
                <a:close/>
                <a:moveTo>
                  <a:pt x="6175" y="2048"/>
                </a:moveTo>
                <a:lnTo>
                  <a:pt x="6175" y="2867"/>
                </a:lnTo>
                <a:cubicBezTo>
                  <a:pt x="5435" y="3277"/>
                  <a:pt x="4600" y="3481"/>
                  <a:pt x="3765" y="3481"/>
                </a:cubicBezTo>
                <a:cubicBezTo>
                  <a:pt x="2930" y="3481"/>
                  <a:pt x="2096" y="3277"/>
                  <a:pt x="1355" y="2867"/>
                </a:cubicBezTo>
                <a:lnTo>
                  <a:pt x="1355" y="2048"/>
                </a:lnTo>
                <a:close/>
                <a:moveTo>
                  <a:pt x="1418" y="3686"/>
                </a:moveTo>
                <a:lnTo>
                  <a:pt x="1418" y="3686"/>
                </a:lnTo>
                <a:cubicBezTo>
                  <a:pt x="2174" y="4001"/>
                  <a:pt x="2962" y="4190"/>
                  <a:pt x="3781" y="4190"/>
                </a:cubicBezTo>
                <a:cubicBezTo>
                  <a:pt x="4600" y="4190"/>
                  <a:pt x="5388" y="4033"/>
                  <a:pt x="6144" y="3686"/>
                </a:cubicBezTo>
                <a:lnTo>
                  <a:pt x="6144" y="3686"/>
                </a:lnTo>
                <a:cubicBezTo>
                  <a:pt x="5860" y="4757"/>
                  <a:pt x="4915" y="5545"/>
                  <a:pt x="3781" y="5545"/>
                </a:cubicBezTo>
                <a:cubicBezTo>
                  <a:pt x="2647" y="5545"/>
                  <a:pt x="1702" y="4757"/>
                  <a:pt x="1418" y="3686"/>
                </a:cubicBezTo>
                <a:close/>
                <a:moveTo>
                  <a:pt x="3435" y="6238"/>
                </a:moveTo>
                <a:lnTo>
                  <a:pt x="3435" y="7813"/>
                </a:lnTo>
                <a:lnTo>
                  <a:pt x="1544" y="9704"/>
                </a:lnTo>
                <a:lnTo>
                  <a:pt x="1355" y="9704"/>
                </a:lnTo>
                <a:lnTo>
                  <a:pt x="1355" y="8695"/>
                </a:lnTo>
                <a:cubicBezTo>
                  <a:pt x="1355" y="7467"/>
                  <a:pt x="2237" y="6427"/>
                  <a:pt x="3435" y="6238"/>
                </a:cubicBezTo>
                <a:close/>
                <a:moveTo>
                  <a:pt x="3781" y="8443"/>
                </a:moveTo>
                <a:lnTo>
                  <a:pt x="5041" y="9704"/>
                </a:lnTo>
                <a:lnTo>
                  <a:pt x="2552" y="9704"/>
                </a:lnTo>
                <a:lnTo>
                  <a:pt x="3781" y="8443"/>
                </a:lnTo>
                <a:close/>
                <a:moveTo>
                  <a:pt x="4128" y="6238"/>
                </a:moveTo>
                <a:cubicBezTo>
                  <a:pt x="5325" y="6396"/>
                  <a:pt x="6207" y="7435"/>
                  <a:pt x="6207" y="8695"/>
                </a:cubicBezTo>
                <a:lnTo>
                  <a:pt x="6207" y="9704"/>
                </a:lnTo>
                <a:lnTo>
                  <a:pt x="6018" y="9704"/>
                </a:lnTo>
                <a:lnTo>
                  <a:pt x="4128" y="7813"/>
                </a:lnTo>
                <a:lnTo>
                  <a:pt x="4128" y="6238"/>
                </a:lnTo>
                <a:close/>
                <a:moveTo>
                  <a:pt x="6553" y="10397"/>
                </a:moveTo>
                <a:cubicBezTo>
                  <a:pt x="6743" y="10428"/>
                  <a:pt x="6900" y="10586"/>
                  <a:pt x="6900" y="10743"/>
                </a:cubicBezTo>
                <a:cubicBezTo>
                  <a:pt x="6900" y="10932"/>
                  <a:pt x="6743" y="11090"/>
                  <a:pt x="6553" y="11090"/>
                </a:cubicBezTo>
                <a:lnTo>
                  <a:pt x="977" y="11090"/>
                </a:lnTo>
                <a:cubicBezTo>
                  <a:pt x="788" y="11090"/>
                  <a:pt x="631" y="10932"/>
                  <a:pt x="631" y="10743"/>
                </a:cubicBezTo>
                <a:cubicBezTo>
                  <a:pt x="631" y="10554"/>
                  <a:pt x="788" y="10397"/>
                  <a:pt x="977" y="10397"/>
                </a:cubicBezTo>
                <a:close/>
                <a:moveTo>
                  <a:pt x="1009" y="0"/>
                </a:moveTo>
                <a:cubicBezTo>
                  <a:pt x="442" y="0"/>
                  <a:pt x="0" y="473"/>
                  <a:pt x="0" y="1008"/>
                </a:cubicBezTo>
                <a:cubicBezTo>
                  <a:pt x="0" y="1449"/>
                  <a:pt x="284" y="1827"/>
                  <a:pt x="694" y="1985"/>
                </a:cubicBezTo>
                <a:lnTo>
                  <a:pt x="694" y="3088"/>
                </a:lnTo>
                <a:cubicBezTo>
                  <a:pt x="694" y="4316"/>
                  <a:pt x="1387" y="5356"/>
                  <a:pt x="2395" y="5860"/>
                </a:cubicBezTo>
                <a:cubicBezTo>
                  <a:pt x="1387" y="6364"/>
                  <a:pt x="694" y="7435"/>
                  <a:pt x="694" y="8664"/>
                </a:cubicBezTo>
                <a:lnTo>
                  <a:pt x="694" y="9767"/>
                </a:lnTo>
                <a:cubicBezTo>
                  <a:pt x="316" y="9924"/>
                  <a:pt x="0" y="10271"/>
                  <a:pt x="0" y="10743"/>
                </a:cubicBezTo>
                <a:cubicBezTo>
                  <a:pt x="0" y="11342"/>
                  <a:pt x="473" y="11751"/>
                  <a:pt x="1009" y="11751"/>
                </a:cubicBezTo>
                <a:lnTo>
                  <a:pt x="6585" y="11751"/>
                </a:lnTo>
                <a:cubicBezTo>
                  <a:pt x="7152" y="11751"/>
                  <a:pt x="7593" y="11279"/>
                  <a:pt x="7593" y="10743"/>
                </a:cubicBezTo>
                <a:cubicBezTo>
                  <a:pt x="7593" y="10302"/>
                  <a:pt x="7310" y="9924"/>
                  <a:pt x="6900" y="9767"/>
                </a:cubicBezTo>
                <a:lnTo>
                  <a:pt x="6900" y="8664"/>
                </a:lnTo>
                <a:cubicBezTo>
                  <a:pt x="6900" y="7435"/>
                  <a:pt x="6207" y="6364"/>
                  <a:pt x="5199" y="5860"/>
                </a:cubicBezTo>
                <a:cubicBezTo>
                  <a:pt x="6207" y="5387"/>
                  <a:pt x="6900" y="4316"/>
                  <a:pt x="6900" y="3088"/>
                </a:cubicBezTo>
                <a:lnTo>
                  <a:pt x="6900" y="1985"/>
                </a:lnTo>
                <a:cubicBezTo>
                  <a:pt x="7278" y="1827"/>
                  <a:pt x="7593" y="1481"/>
                  <a:pt x="7593" y="1008"/>
                </a:cubicBezTo>
                <a:cubicBezTo>
                  <a:pt x="7593" y="410"/>
                  <a:pt x="7121" y="0"/>
                  <a:pt x="6585"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105" name="Google Shape;10105;p111"/>
          <p:cNvSpPr/>
          <p:nvPr/>
        </p:nvSpPr>
        <p:spPr>
          <a:xfrm>
            <a:off x="7080487" y="2042573"/>
            <a:ext cx="468381" cy="465943"/>
          </a:xfrm>
          <a:custGeom>
            <a:avLst/>
            <a:gdLst/>
            <a:ahLst/>
            <a:cxnLst/>
            <a:rect l="l" t="t" r="r" b="b"/>
            <a:pathLst>
              <a:path w="11909" h="11847" extrusionOk="0">
                <a:moveTo>
                  <a:pt x="3560" y="2647"/>
                </a:moveTo>
                <a:lnTo>
                  <a:pt x="3560" y="3561"/>
                </a:lnTo>
                <a:lnTo>
                  <a:pt x="2615" y="3561"/>
                </a:lnTo>
                <a:lnTo>
                  <a:pt x="3560" y="2647"/>
                </a:lnTo>
                <a:close/>
                <a:moveTo>
                  <a:pt x="6616" y="4222"/>
                </a:moveTo>
                <a:cubicBezTo>
                  <a:pt x="7971" y="4285"/>
                  <a:pt x="9074" y="5325"/>
                  <a:pt x="9074" y="6680"/>
                </a:cubicBezTo>
                <a:cubicBezTo>
                  <a:pt x="9074" y="8003"/>
                  <a:pt x="7971" y="9106"/>
                  <a:pt x="6616" y="9106"/>
                </a:cubicBezTo>
                <a:cubicBezTo>
                  <a:pt x="5293" y="9106"/>
                  <a:pt x="4190" y="8003"/>
                  <a:pt x="4190" y="6680"/>
                </a:cubicBezTo>
                <a:cubicBezTo>
                  <a:pt x="4190" y="5325"/>
                  <a:pt x="5293" y="4222"/>
                  <a:pt x="6616" y="4222"/>
                </a:cubicBezTo>
                <a:close/>
                <a:moveTo>
                  <a:pt x="7687" y="757"/>
                </a:moveTo>
                <a:lnTo>
                  <a:pt x="7687" y="1513"/>
                </a:lnTo>
                <a:lnTo>
                  <a:pt x="3875" y="1513"/>
                </a:lnTo>
                <a:cubicBezTo>
                  <a:pt x="3781" y="1513"/>
                  <a:pt x="3655" y="1544"/>
                  <a:pt x="3623" y="1639"/>
                </a:cubicBezTo>
                <a:lnTo>
                  <a:pt x="1512" y="3718"/>
                </a:lnTo>
                <a:cubicBezTo>
                  <a:pt x="1418" y="3813"/>
                  <a:pt x="1386" y="3876"/>
                  <a:pt x="1386" y="3939"/>
                </a:cubicBezTo>
                <a:lnTo>
                  <a:pt x="1386" y="9862"/>
                </a:lnTo>
                <a:lnTo>
                  <a:pt x="662" y="9862"/>
                </a:lnTo>
                <a:lnTo>
                  <a:pt x="662" y="757"/>
                </a:lnTo>
                <a:close/>
                <a:moveTo>
                  <a:pt x="8380" y="2175"/>
                </a:moveTo>
                <a:lnTo>
                  <a:pt x="8380" y="4128"/>
                </a:lnTo>
                <a:cubicBezTo>
                  <a:pt x="7876" y="3813"/>
                  <a:pt x="7278" y="3592"/>
                  <a:pt x="6648" y="3592"/>
                </a:cubicBezTo>
                <a:cubicBezTo>
                  <a:pt x="4915" y="3592"/>
                  <a:pt x="3560" y="5010"/>
                  <a:pt x="3560" y="6711"/>
                </a:cubicBezTo>
                <a:cubicBezTo>
                  <a:pt x="3560" y="8444"/>
                  <a:pt x="4946" y="9830"/>
                  <a:pt x="6648" y="9830"/>
                </a:cubicBezTo>
                <a:cubicBezTo>
                  <a:pt x="7120" y="9830"/>
                  <a:pt x="7593" y="9704"/>
                  <a:pt x="8002" y="9515"/>
                </a:cubicBezTo>
                <a:lnTo>
                  <a:pt x="8380" y="9893"/>
                </a:lnTo>
                <a:lnTo>
                  <a:pt x="8380" y="10492"/>
                </a:lnTo>
                <a:lnTo>
                  <a:pt x="2079" y="10492"/>
                </a:lnTo>
                <a:lnTo>
                  <a:pt x="2079" y="4285"/>
                </a:lnTo>
                <a:lnTo>
                  <a:pt x="3875" y="4285"/>
                </a:lnTo>
                <a:cubicBezTo>
                  <a:pt x="4064" y="4285"/>
                  <a:pt x="4222" y="4128"/>
                  <a:pt x="4222" y="3907"/>
                </a:cubicBezTo>
                <a:lnTo>
                  <a:pt x="4222" y="2175"/>
                </a:lnTo>
                <a:close/>
                <a:moveTo>
                  <a:pt x="9074" y="8633"/>
                </a:moveTo>
                <a:lnTo>
                  <a:pt x="11027" y="10618"/>
                </a:lnTo>
                <a:cubicBezTo>
                  <a:pt x="11153" y="10744"/>
                  <a:pt x="11153" y="10964"/>
                  <a:pt x="11027" y="11090"/>
                </a:cubicBezTo>
                <a:cubicBezTo>
                  <a:pt x="10964" y="11153"/>
                  <a:pt x="10877" y="11185"/>
                  <a:pt x="10791" y="11185"/>
                </a:cubicBezTo>
                <a:cubicBezTo>
                  <a:pt x="10704" y="11185"/>
                  <a:pt x="10617" y="11153"/>
                  <a:pt x="10554" y="11090"/>
                </a:cubicBezTo>
                <a:lnTo>
                  <a:pt x="8601" y="9106"/>
                </a:lnTo>
                <a:cubicBezTo>
                  <a:pt x="8790" y="9011"/>
                  <a:pt x="8948" y="8791"/>
                  <a:pt x="9074" y="8633"/>
                </a:cubicBezTo>
                <a:close/>
                <a:moveTo>
                  <a:pt x="347" y="1"/>
                </a:moveTo>
                <a:cubicBezTo>
                  <a:pt x="158" y="1"/>
                  <a:pt x="0" y="190"/>
                  <a:pt x="0" y="379"/>
                </a:cubicBezTo>
                <a:lnTo>
                  <a:pt x="0" y="10145"/>
                </a:lnTo>
                <a:cubicBezTo>
                  <a:pt x="0" y="10334"/>
                  <a:pt x="158" y="10492"/>
                  <a:pt x="347" y="10492"/>
                </a:cubicBezTo>
                <a:lnTo>
                  <a:pt x="1386" y="10492"/>
                </a:lnTo>
                <a:lnTo>
                  <a:pt x="1386" y="10838"/>
                </a:lnTo>
                <a:cubicBezTo>
                  <a:pt x="1386" y="11059"/>
                  <a:pt x="1544" y="11216"/>
                  <a:pt x="1733" y="11216"/>
                </a:cubicBezTo>
                <a:lnTo>
                  <a:pt x="8695" y="11216"/>
                </a:lnTo>
                <a:cubicBezTo>
                  <a:pt x="8916" y="11216"/>
                  <a:pt x="9074" y="11059"/>
                  <a:pt x="9074" y="10838"/>
                </a:cubicBezTo>
                <a:lnTo>
                  <a:pt x="9074" y="10586"/>
                </a:lnTo>
                <a:lnTo>
                  <a:pt x="10050" y="11563"/>
                </a:lnTo>
                <a:cubicBezTo>
                  <a:pt x="10239" y="11752"/>
                  <a:pt x="10507" y="11847"/>
                  <a:pt x="10775" y="11847"/>
                </a:cubicBezTo>
                <a:cubicBezTo>
                  <a:pt x="11043" y="11847"/>
                  <a:pt x="11310" y="11752"/>
                  <a:pt x="11499" y="11563"/>
                </a:cubicBezTo>
                <a:cubicBezTo>
                  <a:pt x="11909" y="11153"/>
                  <a:pt x="11909" y="10492"/>
                  <a:pt x="11499" y="10114"/>
                </a:cubicBezTo>
                <a:lnTo>
                  <a:pt x="9420" y="8003"/>
                </a:lnTo>
                <a:cubicBezTo>
                  <a:pt x="9609" y="7625"/>
                  <a:pt x="9735" y="7152"/>
                  <a:pt x="9735" y="6680"/>
                </a:cubicBezTo>
                <a:cubicBezTo>
                  <a:pt x="9735" y="5924"/>
                  <a:pt x="9452" y="5262"/>
                  <a:pt x="9011" y="4695"/>
                </a:cubicBezTo>
                <a:lnTo>
                  <a:pt x="9011" y="1828"/>
                </a:lnTo>
                <a:cubicBezTo>
                  <a:pt x="9011" y="1639"/>
                  <a:pt x="8853" y="1481"/>
                  <a:pt x="8664" y="1481"/>
                </a:cubicBezTo>
                <a:lnTo>
                  <a:pt x="8317" y="1481"/>
                </a:lnTo>
                <a:lnTo>
                  <a:pt x="8317" y="379"/>
                </a:lnTo>
                <a:cubicBezTo>
                  <a:pt x="8317" y="190"/>
                  <a:pt x="8160" y="1"/>
                  <a:pt x="7971"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nvGrpSpPr>
          <p:cNvPr id="10106" name="Google Shape;10106;p111"/>
          <p:cNvGrpSpPr/>
          <p:nvPr/>
        </p:nvGrpSpPr>
        <p:grpSpPr>
          <a:xfrm>
            <a:off x="7079895" y="2645233"/>
            <a:ext cx="469640" cy="464723"/>
            <a:chOff x="1049375" y="2318350"/>
            <a:chExt cx="298525" cy="295400"/>
          </a:xfrm>
        </p:grpSpPr>
        <p:sp>
          <p:nvSpPr>
            <p:cNvPr id="10107" name="Google Shape;10107;p111"/>
            <p:cNvSpPr/>
            <p:nvPr/>
          </p:nvSpPr>
          <p:spPr>
            <a:xfrm>
              <a:off x="1101350" y="2492325"/>
              <a:ext cx="70125" cy="50525"/>
            </a:xfrm>
            <a:custGeom>
              <a:avLst/>
              <a:gdLst/>
              <a:ahLst/>
              <a:cxnLst/>
              <a:rect l="l" t="t" r="r" b="b"/>
              <a:pathLst>
                <a:path w="2805" h="2021" extrusionOk="0">
                  <a:moveTo>
                    <a:pt x="2473" y="0"/>
                  </a:moveTo>
                  <a:cubicBezTo>
                    <a:pt x="2377" y="0"/>
                    <a:pt x="2273" y="32"/>
                    <a:pt x="2206" y="99"/>
                  </a:cubicBezTo>
                  <a:lnTo>
                    <a:pt x="1072" y="1233"/>
                  </a:lnTo>
                  <a:lnTo>
                    <a:pt x="599" y="761"/>
                  </a:lnTo>
                  <a:cubicBezTo>
                    <a:pt x="536" y="713"/>
                    <a:pt x="449" y="690"/>
                    <a:pt x="363" y="690"/>
                  </a:cubicBezTo>
                  <a:cubicBezTo>
                    <a:pt x="276" y="690"/>
                    <a:pt x="189" y="713"/>
                    <a:pt x="126" y="761"/>
                  </a:cubicBezTo>
                  <a:cubicBezTo>
                    <a:pt x="0" y="887"/>
                    <a:pt x="0" y="1139"/>
                    <a:pt x="126" y="1233"/>
                  </a:cubicBezTo>
                  <a:lnTo>
                    <a:pt x="820" y="1958"/>
                  </a:lnTo>
                  <a:cubicBezTo>
                    <a:pt x="914" y="2021"/>
                    <a:pt x="977" y="2021"/>
                    <a:pt x="1072" y="2021"/>
                  </a:cubicBezTo>
                  <a:cubicBezTo>
                    <a:pt x="1135" y="2021"/>
                    <a:pt x="1261" y="1989"/>
                    <a:pt x="1292" y="1926"/>
                  </a:cubicBezTo>
                  <a:lnTo>
                    <a:pt x="2678" y="540"/>
                  </a:lnTo>
                  <a:cubicBezTo>
                    <a:pt x="2804" y="414"/>
                    <a:pt x="2804" y="162"/>
                    <a:pt x="2678" y="68"/>
                  </a:cubicBezTo>
                  <a:cubicBezTo>
                    <a:pt x="2634" y="24"/>
                    <a:pt x="2557" y="0"/>
                    <a:pt x="2473"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108" name="Google Shape;10108;p111"/>
            <p:cNvSpPr/>
            <p:nvPr/>
          </p:nvSpPr>
          <p:spPr>
            <a:xfrm>
              <a:off x="1101350" y="2440525"/>
              <a:ext cx="70125" cy="51150"/>
            </a:xfrm>
            <a:custGeom>
              <a:avLst/>
              <a:gdLst/>
              <a:ahLst/>
              <a:cxnLst/>
              <a:rect l="l" t="t" r="r" b="b"/>
              <a:pathLst>
                <a:path w="2805" h="2046" extrusionOk="0">
                  <a:moveTo>
                    <a:pt x="2469" y="1"/>
                  </a:moveTo>
                  <a:cubicBezTo>
                    <a:pt x="2374" y="1"/>
                    <a:pt x="2272" y="40"/>
                    <a:pt x="2206" y="123"/>
                  </a:cubicBezTo>
                  <a:lnTo>
                    <a:pt x="1072" y="1257"/>
                  </a:lnTo>
                  <a:lnTo>
                    <a:pt x="599" y="785"/>
                  </a:lnTo>
                  <a:cubicBezTo>
                    <a:pt x="536" y="738"/>
                    <a:pt x="449" y="714"/>
                    <a:pt x="363" y="714"/>
                  </a:cubicBezTo>
                  <a:cubicBezTo>
                    <a:pt x="276" y="714"/>
                    <a:pt x="189" y="738"/>
                    <a:pt x="126" y="785"/>
                  </a:cubicBezTo>
                  <a:cubicBezTo>
                    <a:pt x="0" y="911"/>
                    <a:pt x="0" y="1163"/>
                    <a:pt x="126" y="1257"/>
                  </a:cubicBezTo>
                  <a:lnTo>
                    <a:pt x="820" y="1982"/>
                  </a:lnTo>
                  <a:cubicBezTo>
                    <a:pt x="914" y="2045"/>
                    <a:pt x="977" y="2045"/>
                    <a:pt x="1072" y="2045"/>
                  </a:cubicBezTo>
                  <a:cubicBezTo>
                    <a:pt x="1135" y="2045"/>
                    <a:pt x="1261" y="2014"/>
                    <a:pt x="1292" y="1951"/>
                  </a:cubicBezTo>
                  <a:lnTo>
                    <a:pt x="2678" y="564"/>
                  </a:lnTo>
                  <a:cubicBezTo>
                    <a:pt x="2804" y="438"/>
                    <a:pt x="2804" y="186"/>
                    <a:pt x="2678" y="92"/>
                  </a:cubicBezTo>
                  <a:cubicBezTo>
                    <a:pt x="2634" y="32"/>
                    <a:pt x="2554" y="1"/>
                    <a:pt x="2469"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109" name="Google Shape;10109;p111"/>
            <p:cNvSpPr/>
            <p:nvPr/>
          </p:nvSpPr>
          <p:spPr>
            <a:xfrm>
              <a:off x="1101350" y="2388550"/>
              <a:ext cx="70125" cy="51125"/>
            </a:xfrm>
            <a:custGeom>
              <a:avLst/>
              <a:gdLst/>
              <a:ahLst/>
              <a:cxnLst/>
              <a:rect l="l" t="t" r="r" b="b"/>
              <a:pathLst>
                <a:path w="2805" h="2045" extrusionOk="0">
                  <a:moveTo>
                    <a:pt x="2469" y="1"/>
                  </a:moveTo>
                  <a:cubicBezTo>
                    <a:pt x="2374" y="1"/>
                    <a:pt x="2272" y="40"/>
                    <a:pt x="2206" y="123"/>
                  </a:cubicBezTo>
                  <a:lnTo>
                    <a:pt x="1072" y="1257"/>
                  </a:lnTo>
                  <a:lnTo>
                    <a:pt x="599" y="785"/>
                  </a:lnTo>
                  <a:cubicBezTo>
                    <a:pt x="536" y="722"/>
                    <a:pt x="449" y="690"/>
                    <a:pt x="363" y="690"/>
                  </a:cubicBezTo>
                  <a:cubicBezTo>
                    <a:pt x="276" y="690"/>
                    <a:pt x="189" y="722"/>
                    <a:pt x="126" y="785"/>
                  </a:cubicBezTo>
                  <a:cubicBezTo>
                    <a:pt x="0" y="911"/>
                    <a:pt x="0" y="1131"/>
                    <a:pt x="126" y="1257"/>
                  </a:cubicBezTo>
                  <a:lnTo>
                    <a:pt x="820" y="1982"/>
                  </a:lnTo>
                  <a:cubicBezTo>
                    <a:pt x="914" y="2045"/>
                    <a:pt x="977" y="2045"/>
                    <a:pt x="1072" y="2045"/>
                  </a:cubicBezTo>
                  <a:cubicBezTo>
                    <a:pt x="1135" y="2045"/>
                    <a:pt x="1261" y="2013"/>
                    <a:pt x="1292" y="1919"/>
                  </a:cubicBezTo>
                  <a:lnTo>
                    <a:pt x="2678" y="532"/>
                  </a:lnTo>
                  <a:cubicBezTo>
                    <a:pt x="2804" y="438"/>
                    <a:pt x="2804" y="186"/>
                    <a:pt x="2678" y="91"/>
                  </a:cubicBezTo>
                  <a:cubicBezTo>
                    <a:pt x="2634" y="32"/>
                    <a:pt x="2554" y="1"/>
                    <a:pt x="2469"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110" name="Google Shape;10110;p111"/>
            <p:cNvSpPr/>
            <p:nvPr/>
          </p:nvSpPr>
          <p:spPr>
            <a:xfrm>
              <a:off x="1049375" y="2318350"/>
              <a:ext cx="298525" cy="295400"/>
            </a:xfrm>
            <a:custGeom>
              <a:avLst/>
              <a:gdLst/>
              <a:ahLst/>
              <a:cxnLst/>
              <a:rect l="l" t="t" r="r" b="b"/>
              <a:pathLst>
                <a:path w="11941" h="11816" extrusionOk="0">
                  <a:moveTo>
                    <a:pt x="6963" y="1198"/>
                  </a:moveTo>
                  <a:lnTo>
                    <a:pt x="7876" y="2143"/>
                  </a:lnTo>
                  <a:lnTo>
                    <a:pt x="6963" y="2143"/>
                  </a:lnTo>
                  <a:lnTo>
                    <a:pt x="6963" y="1198"/>
                  </a:lnTo>
                  <a:close/>
                  <a:moveTo>
                    <a:pt x="10286" y="3498"/>
                  </a:moveTo>
                  <a:cubicBezTo>
                    <a:pt x="10373" y="3498"/>
                    <a:pt x="10460" y="3530"/>
                    <a:pt x="10523" y="3593"/>
                  </a:cubicBezTo>
                  <a:lnTo>
                    <a:pt x="10995" y="4065"/>
                  </a:lnTo>
                  <a:cubicBezTo>
                    <a:pt x="11184" y="4223"/>
                    <a:pt x="11184" y="4475"/>
                    <a:pt x="11027" y="4569"/>
                  </a:cubicBezTo>
                  <a:lnTo>
                    <a:pt x="10806" y="4821"/>
                  </a:lnTo>
                  <a:lnTo>
                    <a:pt x="9798" y="3845"/>
                  </a:lnTo>
                  <a:lnTo>
                    <a:pt x="10050" y="3593"/>
                  </a:lnTo>
                  <a:cubicBezTo>
                    <a:pt x="10113" y="3530"/>
                    <a:pt x="10200" y="3498"/>
                    <a:pt x="10286" y="3498"/>
                  </a:cubicBezTo>
                  <a:close/>
                  <a:moveTo>
                    <a:pt x="9294" y="4349"/>
                  </a:moveTo>
                  <a:lnTo>
                    <a:pt x="10271" y="5325"/>
                  </a:lnTo>
                  <a:lnTo>
                    <a:pt x="7845" y="7783"/>
                  </a:lnTo>
                  <a:lnTo>
                    <a:pt x="6868" y="6774"/>
                  </a:lnTo>
                  <a:lnTo>
                    <a:pt x="9294" y="4349"/>
                  </a:lnTo>
                  <a:close/>
                  <a:moveTo>
                    <a:pt x="6585" y="7499"/>
                  </a:moveTo>
                  <a:lnTo>
                    <a:pt x="7183" y="8098"/>
                  </a:lnTo>
                  <a:lnTo>
                    <a:pt x="6427" y="8255"/>
                  </a:lnTo>
                  <a:lnTo>
                    <a:pt x="6585" y="7499"/>
                  </a:lnTo>
                  <a:close/>
                  <a:moveTo>
                    <a:pt x="6994" y="10398"/>
                  </a:moveTo>
                  <a:lnTo>
                    <a:pt x="6994" y="10776"/>
                  </a:lnTo>
                  <a:cubicBezTo>
                    <a:pt x="6994" y="10870"/>
                    <a:pt x="7057" y="10996"/>
                    <a:pt x="7089" y="11122"/>
                  </a:cubicBezTo>
                  <a:lnTo>
                    <a:pt x="1071" y="11122"/>
                  </a:lnTo>
                  <a:cubicBezTo>
                    <a:pt x="882" y="11122"/>
                    <a:pt x="693" y="10965"/>
                    <a:pt x="693" y="10776"/>
                  </a:cubicBezTo>
                  <a:lnTo>
                    <a:pt x="693" y="10398"/>
                  </a:lnTo>
                  <a:close/>
                  <a:moveTo>
                    <a:pt x="6270" y="663"/>
                  </a:moveTo>
                  <a:lnTo>
                    <a:pt x="6270" y="2458"/>
                  </a:lnTo>
                  <a:cubicBezTo>
                    <a:pt x="6270" y="2647"/>
                    <a:pt x="6427" y="2805"/>
                    <a:pt x="6616" y="2805"/>
                  </a:cubicBezTo>
                  <a:lnTo>
                    <a:pt x="8349" y="2805"/>
                  </a:lnTo>
                  <a:lnTo>
                    <a:pt x="8349" y="4286"/>
                  </a:lnTo>
                  <a:lnTo>
                    <a:pt x="6112" y="6554"/>
                  </a:lnTo>
                  <a:cubicBezTo>
                    <a:pt x="6081" y="6585"/>
                    <a:pt x="6018" y="6680"/>
                    <a:pt x="6018" y="6711"/>
                  </a:cubicBezTo>
                  <a:lnTo>
                    <a:pt x="5608" y="8633"/>
                  </a:lnTo>
                  <a:cubicBezTo>
                    <a:pt x="5545" y="8759"/>
                    <a:pt x="5608" y="8885"/>
                    <a:pt x="5671" y="8948"/>
                  </a:cubicBezTo>
                  <a:cubicBezTo>
                    <a:pt x="5742" y="9019"/>
                    <a:pt x="5813" y="9055"/>
                    <a:pt x="5897" y="9055"/>
                  </a:cubicBezTo>
                  <a:cubicBezTo>
                    <a:pt x="5925" y="9055"/>
                    <a:pt x="5955" y="9051"/>
                    <a:pt x="5986" y="9043"/>
                  </a:cubicBezTo>
                  <a:lnTo>
                    <a:pt x="7908" y="8602"/>
                  </a:lnTo>
                  <a:cubicBezTo>
                    <a:pt x="8002" y="8602"/>
                    <a:pt x="8034" y="8570"/>
                    <a:pt x="8065" y="8507"/>
                  </a:cubicBezTo>
                  <a:lnTo>
                    <a:pt x="8349" y="8255"/>
                  </a:lnTo>
                  <a:lnTo>
                    <a:pt x="8349" y="10807"/>
                  </a:lnTo>
                  <a:lnTo>
                    <a:pt x="8380" y="10807"/>
                  </a:lnTo>
                  <a:cubicBezTo>
                    <a:pt x="8380" y="10996"/>
                    <a:pt x="8223" y="11154"/>
                    <a:pt x="8034" y="11154"/>
                  </a:cubicBezTo>
                  <a:cubicBezTo>
                    <a:pt x="7845" y="11154"/>
                    <a:pt x="7687" y="10996"/>
                    <a:pt x="7687" y="10807"/>
                  </a:cubicBezTo>
                  <a:lnTo>
                    <a:pt x="7687" y="10083"/>
                  </a:lnTo>
                  <a:cubicBezTo>
                    <a:pt x="7687" y="9893"/>
                    <a:pt x="7530" y="9736"/>
                    <a:pt x="7309" y="9736"/>
                  </a:cubicBezTo>
                  <a:lnTo>
                    <a:pt x="1386" y="9736"/>
                  </a:lnTo>
                  <a:lnTo>
                    <a:pt x="1386" y="663"/>
                  </a:lnTo>
                  <a:close/>
                  <a:moveTo>
                    <a:pt x="1071" y="1"/>
                  </a:moveTo>
                  <a:cubicBezTo>
                    <a:pt x="882" y="1"/>
                    <a:pt x="693" y="158"/>
                    <a:pt x="693" y="379"/>
                  </a:cubicBezTo>
                  <a:lnTo>
                    <a:pt x="693" y="9736"/>
                  </a:lnTo>
                  <a:lnTo>
                    <a:pt x="347" y="9736"/>
                  </a:lnTo>
                  <a:cubicBezTo>
                    <a:pt x="158" y="9736"/>
                    <a:pt x="0" y="9893"/>
                    <a:pt x="0" y="10083"/>
                  </a:cubicBezTo>
                  <a:lnTo>
                    <a:pt x="0" y="10807"/>
                  </a:lnTo>
                  <a:cubicBezTo>
                    <a:pt x="0" y="11406"/>
                    <a:pt x="473" y="11815"/>
                    <a:pt x="1008" y="11815"/>
                  </a:cubicBezTo>
                  <a:lnTo>
                    <a:pt x="8002" y="11815"/>
                  </a:lnTo>
                  <a:cubicBezTo>
                    <a:pt x="8569" y="11815"/>
                    <a:pt x="9011" y="11343"/>
                    <a:pt x="9011" y="10807"/>
                  </a:cubicBezTo>
                  <a:lnTo>
                    <a:pt x="9011" y="7562"/>
                  </a:lnTo>
                  <a:lnTo>
                    <a:pt x="11499" y="5105"/>
                  </a:lnTo>
                  <a:cubicBezTo>
                    <a:pt x="11940" y="4664"/>
                    <a:pt x="11940" y="4034"/>
                    <a:pt x="11531" y="3593"/>
                  </a:cubicBezTo>
                  <a:lnTo>
                    <a:pt x="11058" y="3120"/>
                  </a:lnTo>
                  <a:cubicBezTo>
                    <a:pt x="10869" y="2931"/>
                    <a:pt x="10609" y="2836"/>
                    <a:pt x="10346" y="2836"/>
                  </a:cubicBezTo>
                  <a:cubicBezTo>
                    <a:pt x="10082" y="2836"/>
                    <a:pt x="9814" y="2931"/>
                    <a:pt x="9609" y="3120"/>
                  </a:cubicBezTo>
                  <a:lnTo>
                    <a:pt x="9105" y="3624"/>
                  </a:lnTo>
                  <a:lnTo>
                    <a:pt x="9105" y="2490"/>
                  </a:lnTo>
                  <a:cubicBezTo>
                    <a:pt x="9105" y="2427"/>
                    <a:pt x="9074" y="2332"/>
                    <a:pt x="8979" y="2269"/>
                  </a:cubicBezTo>
                  <a:lnTo>
                    <a:pt x="6900" y="127"/>
                  </a:lnTo>
                  <a:cubicBezTo>
                    <a:pt x="6805" y="64"/>
                    <a:pt x="6742" y="1"/>
                    <a:pt x="6648"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10111" name="Google Shape;10111;p111"/>
          <p:cNvGrpSpPr/>
          <p:nvPr/>
        </p:nvGrpSpPr>
        <p:grpSpPr>
          <a:xfrm>
            <a:off x="7080524" y="3232502"/>
            <a:ext cx="468381" cy="468381"/>
            <a:chOff x="1049375" y="2680675"/>
            <a:chExt cx="297725" cy="297725"/>
          </a:xfrm>
        </p:grpSpPr>
        <p:sp>
          <p:nvSpPr>
            <p:cNvPr id="10112" name="Google Shape;10112;p111"/>
            <p:cNvSpPr/>
            <p:nvPr/>
          </p:nvSpPr>
          <p:spPr>
            <a:xfrm>
              <a:off x="1113175" y="2752350"/>
              <a:ext cx="161475" cy="155975"/>
            </a:xfrm>
            <a:custGeom>
              <a:avLst/>
              <a:gdLst/>
              <a:ahLst/>
              <a:cxnLst/>
              <a:rect l="l" t="t" r="r" b="b"/>
              <a:pathLst>
                <a:path w="6459" h="6239" extrusionOk="0">
                  <a:moveTo>
                    <a:pt x="3403" y="2079"/>
                  </a:moveTo>
                  <a:cubicBezTo>
                    <a:pt x="3781" y="2079"/>
                    <a:pt x="4096" y="2394"/>
                    <a:pt x="4096" y="2773"/>
                  </a:cubicBezTo>
                  <a:cubicBezTo>
                    <a:pt x="4096" y="3182"/>
                    <a:pt x="3781" y="3497"/>
                    <a:pt x="3403" y="3497"/>
                  </a:cubicBezTo>
                  <a:cubicBezTo>
                    <a:pt x="2993" y="3434"/>
                    <a:pt x="2678" y="3119"/>
                    <a:pt x="2678" y="2773"/>
                  </a:cubicBezTo>
                  <a:cubicBezTo>
                    <a:pt x="2678" y="2394"/>
                    <a:pt x="2993" y="2079"/>
                    <a:pt x="3403" y="2079"/>
                  </a:cubicBezTo>
                  <a:close/>
                  <a:moveTo>
                    <a:pt x="3371" y="693"/>
                  </a:moveTo>
                  <a:cubicBezTo>
                    <a:pt x="4694" y="693"/>
                    <a:pt x="5765" y="1796"/>
                    <a:pt x="5765" y="3119"/>
                  </a:cubicBezTo>
                  <a:cubicBezTo>
                    <a:pt x="5765" y="3686"/>
                    <a:pt x="5545" y="4222"/>
                    <a:pt x="5198" y="4663"/>
                  </a:cubicBezTo>
                  <a:cubicBezTo>
                    <a:pt x="5072" y="4442"/>
                    <a:pt x="4915" y="4190"/>
                    <a:pt x="4694" y="4001"/>
                  </a:cubicBezTo>
                  <a:cubicBezTo>
                    <a:pt x="4568" y="3907"/>
                    <a:pt x="4442" y="3812"/>
                    <a:pt x="4348" y="3749"/>
                  </a:cubicBezTo>
                  <a:cubicBezTo>
                    <a:pt x="4568" y="3529"/>
                    <a:pt x="4726" y="3182"/>
                    <a:pt x="4726" y="2804"/>
                  </a:cubicBezTo>
                  <a:cubicBezTo>
                    <a:pt x="4726" y="2079"/>
                    <a:pt x="4096" y="1449"/>
                    <a:pt x="3340" y="1449"/>
                  </a:cubicBezTo>
                  <a:cubicBezTo>
                    <a:pt x="2615" y="1449"/>
                    <a:pt x="1985" y="2079"/>
                    <a:pt x="1985" y="2804"/>
                  </a:cubicBezTo>
                  <a:cubicBezTo>
                    <a:pt x="1985" y="3182"/>
                    <a:pt x="2142" y="3529"/>
                    <a:pt x="2363" y="3749"/>
                  </a:cubicBezTo>
                  <a:lnTo>
                    <a:pt x="2016" y="4001"/>
                  </a:lnTo>
                  <a:cubicBezTo>
                    <a:pt x="1827" y="4190"/>
                    <a:pt x="1607" y="4442"/>
                    <a:pt x="1512" y="4663"/>
                  </a:cubicBezTo>
                  <a:cubicBezTo>
                    <a:pt x="1040" y="4064"/>
                    <a:pt x="882" y="3434"/>
                    <a:pt x="945" y="2773"/>
                  </a:cubicBezTo>
                  <a:cubicBezTo>
                    <a:pt x="1103" y="1670"/>
                    <a:pt x="2111" y="693"/>
                    <a:pt x="3371" y="693"/>
                  </a:cubicBezTo>
                  <a:close/>
                  <a:moveTo>
                    <a:pt x="3371" y="4159"/>
                  </a:moveTo>
                  <a:cubicBezTo>
                    <a:pt x="4001" y="4159"/>
                    <a:pt x="4505" y="4600"/>
                    <a:pt x="4694" y="5135"/>
                  </a:cubicBezTo>
                  <a:cubicBezTo>
                    <a:pt x="4316" y="5387"/>
                    <a:pt x="3875" y="5545"/>
                    <a:pt x="3371" y="5545"/>
                  </a:cubicBezTo>
                  <a:cubicBezTo>
                    <a:pt x="2898" y="5545"/>
                    <a:pt x="2426" y="5387"/>
                    <a:pt x="2016" y="5135"/>
                  </a:cubicBezTo>
                  <a:cubicBezTo>
                    <a:pt x="2174" y="4537"/>
                    <a:pt x="2741" y="4159"/>
                    <a:pt x="3371" y="4159"/>
                  </a:cubicBezTo>
                  <a:close/>
                  <a:moveTo>
                    <a:pt x="3308" y="0"/>
                  </a:moveTo>
                  <a:cubicBezTo>
                    <a:pt x="1701" y="0"/>
                    <a:pt x="441" y="1229"/>
                    <a:pt x="252" y="2710"/>
                  </a:cubicBezTo>
                  <a:cubicBezTo>
                    <a:pt x="0" y="4600"/>
                    <a:pt x="1512" y="6238"/>
                    <a:pt x="3371" y="6238"/>
                  </a:cubicBezTo>
                  <a:cubicBezTo>
                    <a:pt x="5104" y="6238"/>
                    <a:pt x="6459" y="4820"/>
                    <a:pt x="6459" y="3119"/>
                  </a:cubicBezTo>
                  <a:cubicBezTo>
                    <a:pt x="6459" y="1386"/>
                    <a:pt x="5041" y="0"/>
                    <a:pt x="3308"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113" name="Google Shape;10113;p111"/>
            <p:cNvSpPr/>
            <p:nvPr/>
          </p:nvSpPr>
          <p:spPr>
            <a:xfrm>
              <a:off x="1049375" y="2680675"/>
              <a:ext cx="297725" cy="297725"/>
            </a:xfrm>
            <a:custGeom>
              <a:avLst/>
              <a:gdLst/>
              <a:ahLst/>
              <a:cxnLst/>
              <a:rect l="l" t="t" r="r" b="b"/>
              <a:pathLst>
                <a:path w="11909" h="11909" extrusionOk="0">
                  <a:moveTo>
                    <a:pt x="6270" y="1512"/>
                  </a:moveTo>
                  <a:cubicBezTo>
                    <a:pt x="8475" y="1670"/>
                    <a:pt x="10239" y="3434"/>
                    <a:pt x="10397" y="5640"/>
                  </a:cubicBezTo>
                  <a:lnTo>
                    <a:pt x="10082" y="5640"/>
                  </a:lnTo>
                  <a:cubicBezTo>
                    <a:pt x="9893" y="5640"/>
                    <a:pt x="9735" y="5797"/>
                    <a:pt x="9735" y="5986"/>
                  </a:cubicBezTo>
                  <a:cubicBezTo>
                    <a:pt x="9735" y="6207"/>
                    <a:pt x="9893" y="6364"/>
                    <a:pt x="10082" y="6364"/>
                  </a:cubicBezTo>
                  <a:lnTo>
                    <a:pt x="10397" y="6364"/>
                  </a:lnTo>
                  <a:cubicBezTo>
                    <a:pt x="10239" y="8569"/>
                    <a:pt x="8475" y="10334"/>
                    <a:pt x="6270" y="10491"/>
                  </a:cubicBezTo>
                  <a:lnTo>
                    <a:pt x="6270" y="10176"/>
                  </a:lnTo>
                  <a:cubicBezTo>
                    <a:pt x="6270" y="9987"/>
                    <a:pt x="6112" y="9830"/>
                    <a:pt x="5923" y="9830"/>
                  </a:cubicBezTo>
                  <a:cubicBezTo>
                    <a:pt x="5703" y="9830"/>
                    <a:pt x="5545" y="9987"/>
                    <a:pt x="5545" y="10176"/>
                  </a:cubicBezTo>
                  <a:lnTo>
                    <a:pt x="5545" y="10491"/>
                  </a:lnTo>
                  <a:cubicBezTo>
                    <a:pt x="3340" y="10334"/>
                    <a:pt x="1575" y="8569"/>
                    <a:pt x="1418" y="6364"/>
                  </a:cubicBezTo>
                  <a:lnTo>
                    <a:pt x="1733" y="6364"/>
                  </a:lnTo>
                  <a:cubicBezTo>
                    <a:pt x="1922" y="6364"/>
                    <a:pt x="2079" y="6207"/>
                    <a:pt x="2079" y="5986"/>
                  </a:cubicBezTo>
                  <a:cubicBezTo>
                    <a:pt x="2142" y="5797"/>
                    <a:pt x="1985" y="5640"/>
                    <a:pt x="1764" y="5640"/>
                  </a:cubicBezTo>
                  <a:lnTo>
                    <a:pt x="1418" y="5640"/>
                  </a:lnTo>
                  <a:cubicBezTo>
                    <a:pt x="1575" y="3434"/>
                    <a:pt x="3340" y="1670"/>
                    <a:pt x="5545" y="1512"/>
                  </a:cubicBezTo>
                  <a:lnTo>
                    <a:pt x="5545" y="1827"/>
                  </a:lnTo>
                  <a:cubicBezTo>
                    <a:pt x="5545" y="2016"/>
                    <a:pt x="5703" y="2174"/>
                    <a:pt x="5923" y="2174"/>
                  </a:cubicBezTo>
                  <a:cubicBezTo>
                    <a:pt x="6112" y="2174"/>
                    <a:pt x="6270" y="2016"/>
                    <a:pt x="6270" y="1827"/>
                  </a:cubicBezTo>
                  <a:lnTo>
                    <a:pt x="6270" y="1512"/>
                  </a:lnTo>
                  <a:close/>
                  <a:moveTo>
                    <a:pt x="5955" y="0"/>
                  </a:moveTo>
                  <a:cubicBezTo>
                    <a:pt x="5766" y="0"/>
                    <a:pt x="5608" y="158"/>
                    <a:pt x="5608" y="347"/>
                  </a:cubicBezTo>
                  <a:lnTo>
                    <a:pt x="5608" y="756"/>
                  </a:lnTo>
                  <a:cubicBezTo>
                    <a:pt x="2993" y="914"/>
                    <a:pt x="914" y="2993"/>
                    <a:pt x="756" y="5608"/>
                  </a:cubicBezTo>
                  <a:lnTo>
                    <a:pt x="347" y="5608"/>
                  </a:lnTo>
                  <a:cubicBezTo>
                    <a:pt x="158" y="5608"/>
                    <a:pt x="0" y="5766"/>
                    <a:pt x="0" y="5955"/>
                  </a:cubicBezTo>
                  <a:cubicBezTo>
                    <a:pt x="0" y="6144"/>
                    <a:pt x="158" y="6301"/>
                    <a:pt x="347" y="6301"/>
                  </a:cubicBezTo>
                  <a:lnTo>
                    <a:pt x="756" y="6301"/>
                  </a:lnTo>
                  <a:cubicBezTo>
                    <a:pt x="914" y="8916"/>
                    <a:pt x="2993" y="10995"/>
                    <a:pt x="5608" y="11153"/>
                  </a:cubicBezTo>
                  <a:lnTo>
                    <a:pt x="5608" y="11562"/>
                  </a:lnTo>
                  <a:cubicBezTo>
                    <a:pt x="5608" y="11751"/>
                    <a:pt x="5766" y="11909"/>
                    <a:pt x="5955" y="11909"/>
                  </a:cubicBezTo>
                  <a:cubicBezTo>
                    <a:pt x="6144" y="11909"/>
                    <a:pt x="6301" y="11751"/>
                    <a:pt x="6301" y="11562"/>
                  </a:cubicBezTo>
                  <a:lnTo>
                    <a:pt x="6301" y="11153"/>
                  </a:lnTo>
                  <a:cubicBezTo>
                    <a:pt x="8916" y="10995"/>
                    <a:pt x="10995" y="8916"/>
                    <a:pt x="11153" y="6301"/>
                  </a:cubicBezTo>
                  <a:lnTo>
                    <a:pt x="11531" y="6301"/>
                  </a:lnTo>
                  <a:cubicBezTo>
                    <a:pt x="11751" y="6301"/>
                    <a:pt x="11909" y="6144"/>
                    <a:pt x="11909" y="5955"/>
                  </a:cubicBezTo>
                  <a:cubicBezTo>
                    <a:pt x="11909" y="5766"/>
                    <a:pt x="11751" y="5608"/>
                    <a:pt x="11531" y="5608"/>
                  </a:cubicBezTo>
                  <a:lnTo>
                    <a:pt x="11153" y="5608"/>
                  </a:lnTo>
                  <a:cubicBezTo>
                    <a:pt x="10995" y="2993"/>
                    <a:pt x="8916" y="914"/>
                    <a:pt x="6301" y="756"/>
                  </a:cubicBezTo>
                  <a:lnTo>
                    <a:pt x="6301" y="347"/>
                  </a:lnTo>
                  <a:cubicBezTo>
                    <a:pt x="6301" y="158"/>
                    <a:pt x="6144" y="0"/>
                    <a:pt x="5955"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10114" name="Google Shape;10114;p111"/>
          <p:cNvGrpSpPr/>
          <p:nvPr/>
        </p:nvGrpSpPr>
        <p:grpSpPr>
          <a:xfrm>
            <a:off x="10031794" y="2043231"/>
            <a:ext cx="464684" cy="464723"/>
            <a:chOff x="2872725" y="1954475"/>
            <a:chExt cx="295375" cy="295400"/>
          </a:xfrm>
        </p:grpSpPr>
        <p:sp>
          <p:nvSpPr>
            <p:cNvPr id="10115" name="Google Shape;10115;p111"/>
            <p:cNvSpPr/>
            <p:nvPr/>
          </p:nvSpPr>
          <p:spPr>
            <a:xfrm>
              <a:off x="2959350" y="1954475"/>
              <a:ext cx="122100" cy="139450"/>
            </a:xfrm>
            <a:custGeom>
              <a:avLst/>
              <a:gdLst/>
              <a:ahLst/>
              <a:cxnLst/>
              <a:rect l="l" t="t" r="r" b="b"/>
              <a:pathLst>
                <a:path w="4884" h="5578" extrusionOk="0">
                  <a:moveTo>
                    <a:pt x="2395" y="694"/>
                  </a:moveTo>
                  <a:cubicBezTo>
                    <a:pt x="2805" y="694"/>
                    <a:pt x="3120" y="1009"/>
                    <a:pt x="3120" y="1418"/>
                  </a:cubicBezTo>
                  <a:cubicBezTo>
                    <a:pt x="3120" y="1797"/>
                    <a:pt x="2805" y="2112"/>
                    <a:pt x="2395" y="2112"/>
                  </a:cubicBezTo>
                  <a:cubicBezTo>
                    <a:pt x="2017" y="2112"/>
                    <a:pt x="1702" y="1797"/>
                    <a:pt x="1702" y="1418"/>
                  </a:cubicBezTo>
                  <a:cubicBezTo>
                    <a:pt x="1733" y="1009"/>
                    <a:pt x="2048" y="694"/>
                    <a:pt x="2395" y="694"/>
                  </a:cubicBezTo>
                  <a:close/>
                  <a:moveTo>
                    <a:pt x="2395" y="2742"/>
                  </a:moveTo>
                  <a:cubicBezTo>
                    <a:pt x="3340" y="2742"/>
                    <a:pt x="4128" y="3529"/>
                    <a:pt x="4128" y="4537"/>
                  </a:cubicBezTo>
                  <a:lnTo>
                    <a:pt x="4128" y="4884"/>
                  </a:lnTo>
                  <a:lnTo>
                    <a:pt x="662" y="4884"/>
                  </a:lnTo>
                  <a:lnTo>
                    <a:pt x="662" y="4537"/>
                  </a:lnTo>
                  <a:cubicBezTo>
                    <a:pt x="662" y="3529"/>
                    <a:pt x="1450" y="2742"/>
                    <a:pt x="2395" y="2742"/>
                  </a:cubicBezTo>
                  <a:close/>
                  <a:moveTo>
                    <a:pt x="2490" y="1"/>
                  </a:moveTo>
                  <a:cubicBezTo>
                    <a:pt x="1733" y="1"/>
                    <a:pt x="1103" y="631"/>
                    <a:pt x="1103" y="1387"/>
                  </a:cubicBezTo>
                  <a:cubicBezTo>
                    <a:pt x="1103" y="1734"/>
                    <a:pt x="1229" y="2049"/>
                    <a:pt x="1450" y="2332"/>
                  </a:cubicBezTo>
                  <a:cubicBezTo>
                    <a:pt x="568" y="2710"/>
                    <a:pt x="1" y="3529"/>
                    <a:pt x="1" y="4537"/>
                  </a:cubicBezTo>
                  <a:lnTo>
                    <a:pt x="1" y="5231"/>
                  </a:lnTo>
                  <a:cubicBezTo>
                    <a:pt x="1" y="5420"/>
                    <a:pt x="158" y="5577"/>
                    <a:pt x="347" y="5577"/>
                  </a:cubicBezTo>
                  <a:lnTo>
                    <a:pt x="4537" y="5577"/>
                  </a:lnTo>
                  <a:cubicBezTo>
                    <a:pt x="4726" y="5577"/>
                    <a:pt x="4884" y="5420"/>
                    <a:pt x="4884" y="5231"/>
                  </a:cubicBezTo>
                  <a:lnTo>
                    <a:pt x="4884" y="4537"/>
                  </a:lnTo>
                  <a:cubicBezTo>
                    <a:pt x="4884" y="3529"/>
                    <a:pt x="4317" y="2710"/>
                    <a:pt x="3498" y="2332"/>
                  </a:cubicBezTo>
                  <a:cubicBezTo>
                    <a:pt x="3750" y="2080"/>
                    <a:pt x="3844" y="1765"/>
                    <a:pt x="3844" y="1387"/>
                  </a:cubicBezTo>
                  <a:cubicBezTo>
                    <a:pt x="3844" y="631"/>
                    <a:pt x="3214" y="1"/>
                    <a:pt x="2490"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116" name="Google Shape;10116;p111"/>
            <p:cNvSpPr/>
            <p:nvPr/>
          </p:nvSpPr>
          <p:spPr>
            <a:xfrm>
              <a:off x="2906575" y="2146650"/>
              <a:ext cx="191425" cy="69350"/>
            </a:xfrm>
            <a:custGeom>
              <a:avLst/>
              <a:gdLst/>
              <a:ahLst/>
              <a:cxnLst/>
              <a:rect l="l" t="t" r="r" b="b"/>
              <a:pathLst>
                <a:path w="7657" h="2774" extrusionOk="0">
                  <a:moveTo>
                    <a:pt x="1419" y="694"/>
                  </a:moveTo>
                  <a:lnTo>
                    <a:pt x="1419" y="2080"/>
                  </a:lnTo>
                  <a:lnTo>
                    <a:pt x="694" y="2080"/>
                  </a:lnTo>
                  <a:lnTo>
                    <a:pt x="694" y="694"/>
                  </a:lnTo>
                  <a:close/>
                  <a:moveTo>
                    <a:pt x="2773" y="694"/>
                  </a:moveTo>
                  <a:lnTo>
                    <a:pt x="2773" y="2080"/>
                  </a:lnTo>
                  <a:lnTo>
                    <a:pt x="2080" y="2080"/>
                  </a:lnTo>
                  <a:lnTo>
                    <a:pt x="2080" y="694"/>
                  </a:lnTo>
                  <a:close/>
                  <a:moveTo>
                    <a:pt x="4159" y="694"/>
                  </a:moveTo>
                  <a:lnTo>
                    <a:pt x="4159" y="2080"/>
                  </a:lnTo>
                  <a:lnTo>
                    <a:pt x="3466" y="2080"/>
                  </a:lnTo>
                  <a:lnTo>
                    <a:pt x="3466" y="694"/>
                  </a:lnTo>
                  <a:close/>
                  <a:moveTo>
                    <a:pt x="6995" y="694"/>
                  </a:moveTo>
                  <a:lnTo>
                    <a:pt x="6995" y="2080"/>
                  </a:lnTo>
                  <a:lnTo>
                    <a:pt x="4884" y="2080"/>
                  </a:lnTo>
                  <a:lnTo>
                    <a:pt x="4884" y="694"/>
                  </a:lnTo>
                  <a:close/>
                  <a:moveTo>
                    <a:pt x="347" y="1"/>
                  </a:moveTo>
                  <a:cubicBezTo>
                    <a:pt x="158" y="1"/>
                    <a:pt x="1" y="158"/>
                    <a:pt x="1" y="347"/>
                  </a:cubicBezTo>
                  <a:lnTo>
                    <a:pt x="1" y="2427"/>
                  </a:lnTo>
                  <a:cubicBezTo>
                    <a:pt x="1" y="2616"/>
                    <a:pt x="158" y="2773"/>
                    <a:pt x="347" y="2773"/>
                  </a:cubicBezTo>
                  <a:lnTo>
                    <a:pt x="7310" y="2773"/>
                  </a:lnTo>
                  <a:cubicBezTo>
                    <a:pt x="7499" y="2773"/>
                    <a:pt x="7657" y="2616"/>
                    <a:pt x="7657" y="2427"/>
                  </a:cubicBezTo>
                  <a:lnTo>
                    <a:pt x="7657" y="347"/>
                  </a:lnTo>
                  <a:cubicBezTo>
                    <a:pt x="7657" y="127"/>
                    <a:pt x="7499" y="1"/>
                    <a:pt x="7310"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117" name="Google Shape;10117;p111"/>
            <p:cNvSpPr/>
            <p:nvPr/>
          </p:nvSpPr>
          <p:spPr>
            <a:xfrm>
              <a:off x="2872725" y="2112000"/>
              <a:ext cx="295375" cy="137875"/>
            </a:xfrm>
            <a:custGeom>
              <a:avLst/>
              <a:gdLst/>
              <a:ahLst/>
              <a:cxnLst/>
              <a:rect l="l" t="t" r="r" b="b"/>
              <a:pathLst>
                <a:path w="11815" h="5515" extrusionOk="0">
                  <a:moveTo>
                    <a:pt x="11121" y="2080"/>
                  </a:moveTo>
                  <a:lnTo>
                    <a:pt x="11121" y="3466"/>
                  </a:lnTo>
                  <a:lnTo>
                    <a:pt x="10397" y="3466"/>
                  </a:lnTo>
                  <a:lnTo>
                    <a:pt x="10397" y="2080"/>
                  </a:lnTo>
                  <a:close/>
                  <a:moveTo>
                    <a:pt x="9389" y="662"/>
                  </a:moveTo>
                  <a:cubicBezTo>
                    <a:pt x="9578" y="662"/>
                    <a:pt x="9735" y="820"/>
                    <a:pt x="9735" y="1009"/>
                  </a:cubicBezTo>
                  <a:lnTo>
                    <a:pt x="9735" y="4474"/>
                  </a:lnTo>
                  <a:cubicBezTo>
                    <a:pt x="9735" y="4663"/>
                    <a:pt x="9578" y="4852"/>
                    <a:pt x="9389" y="4852"/>
                  </a:cubicBezTo>
                  <a:lnTo>
                    <a:pt x="1040" y="4852"/>
                  </a:lnTo>
                  <a:cubicBezTo>
                    <a:pt x="819" y="4852"/>
                    <a:pt x="662" y="4663"/>
                    <a:pt x="662" y="4474"/>
                  </a:cubicBezTo>
                  <a:lnTo>
                    <a:pt x="662" y="1009"/>
                  </a:lnTo>
                  <a:cubicBezTo>
                    <a:pt x="662" y="820"/>
                    <a:pt x="819" y="662"/>
                    <a:pt x="1040" y="662"/>
                  </a:cubicBezTo>
                  <a:close/>
                  <a:moveTo>
                    <a:pt x="1040" y="1"/>
                  </a:moveTo>
                  <a:cubicBezTo>
                    <a:pt x="441" y="1"/>
                    <a:pt x="0" y="473"/>
                    <a:pt x="0" y="1009"/>
                  </a:cubicBezTo>
                  <a:lnTo>
                    <a:pt x="0" y="4474"/>
                  </a:lnTo>
                  <a:cubicBezTo>
                    <a:pt x="0" y="5073"/>
                    <a:pt x="473" y="5514"/>
                    <a:pt x="1040" y="5514"/>
                  </a:cubicBezTo>
                  <a:lnTo>
                    <a:pt x="9357" y="5514"/>
                  </a:lnTo>
                  <a:cubicBezTo>
                    <a:pt x="9956" y="5514"/>
                    <a:pt x="10397" y="5041"/>
                    <a:pt x="10397" y="4474"/>
                  </a:cubicBezTo>
                  <a:lnTo>
                    <a:pt x="10397" y="4128"/>
                  </a:lnTo>
                  <a:lnTo>
                    <a:pt x="11436" y="4128"/>
                  </a:lnTo>
                  <a:cubicBezTo>
                    <a:pt x="11625" y="4128"/>
                    <a:pt x="11783" y="3970"/>
                    <a:pt x="11783" y="3781"/>
                  </a:cubicBezTo>
                  <a:lnTo>
                    <a:pt x="11783" y="1702"/>
                  </a:lnTo>
                  <a:cubicBezTo>
                    <a:pt x="11814" y="1513"/>
                    <a:pt x="11657" y="1387"/>
                    <a:pt x="11468" y="1387"/>
                  </a:cubicBezTo>
                  <a:lnTo>
                    <a:pt x="10397" y="1387"/>
                  </a:lnTo>
                  <a:lnTo>
                    <a:pt x="10397" y="1009"/>
                  </a:lnTo>
                  <a:cubicBezTo>
                    <a:pt x="10397" y="442"/>
                    <a:pt x="9924" y="1"/>
                    <a:pt x="9357"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10118" name="Google Shape;10118;p111"/>
          <p:cNvGrpSpPr/>
          <p:nvPr/>
        </p:nvGrpSpPr>
        <p:grpSpPr>
          <a:xfrm>
            <a:off x="10060289" y="2643996"/>
            <a:ext cx="407695" cy="467201"/>
            <a:chOff x="2890050" y="2318350"/>
            <a:chExt cx="259150" cy="296975"/>
          </a:xfrm>
        </p:grpSpPr>
        <p:sp>
          <p:nvSpPr>
            <p:cNvPr id="10119" name="Google Shape;10119;p111"/>
            <p:cNvSpPr/>
            <p:nvPr/>
          </p:nvSpPr>
          <p:spPr>
            <a:xfrm>
              <a:off x="2936525" y="2353025"/>
              <a:ext cx="160700" cy="155975"/>
            </a:xfrm>
            <a:custGeom>
              <a:avLst/>
              <a:gdLst/>
              <a:ahLst/>
              <a:cxnLst/>
              <a:rect l="l" t="t" r="r" b="b"/>
              <a:pathLst>
                <a:path w="6428" h="6239" extrusionOk="0">
                  <a:moveTo>
                    <a:pt x="3371" y="2048"/>
                  </a:moveTo>
                  <a:cubicBezTo>
                    <a:pt x="3749" y="2048"/>
                    <a:pt x="4064" y="2363"/>
                    <a:pt x="4064" y="2773"/>
                  </a:cubicBezTo>
                  <a:cubicBezTo>
                    <a:pt x="4064" y="3151"/>
                    <a:pt x="3749" y="3466"/>
                    <a:pt x="3371" y="3466"/>
                  </a:cubicBezTo>
                  <a:cubicBezTo>
                    <a:pt x="2961" y="3466"/>
                    <a:pt x="2646" y="3151"/>
                    <a:pt x="2646" y="2773"/>
                  </a:cubicBezTo>
                  <a:cubicBezTo>
                    <a:pt x="2646" y="2363"/>
                    <a:pt x="2961" y="2048"/>
                    <a:pt x="3371" y="2048"/>
                  </a:cubicBezTo>
                  <a:close/>
                  <a:moveTo>
                    <a:pt x="3308" y="662"/>
                  </a:moveTo>
                  <a:cubicBezTo>
                    <a:pt x="4663" y="662"/>
                    <a:pt x="5734" y="1764"/>
                    <a:pt x="5734" y="3119"/>
                  </a:cubicBezTo>
                  <a:cubicBezTo>
                    <a:pt x="5734" y="3655"/>
                    <a:pt x="5513" y="4159"/>
                    <a:pt x="5167" y="4663"/>
                  </a:cubicBezTo>
                  <a:cubicBezTo>
                    <a:pt x="4978" y="4253"/>
                    <a:pt x="4694" y="3938"/>
                    <a:pt x="4316" y="3686"/>
                  </a:cubicBezTo>
                  <a:cubicBezTo>
                    <a:pt x="4537" y="3466"/>
                    <a:pt x="4694" y="3119"/>
                    <a:pt x="4694" y="2741"/>
                  </a:cubicBezTo>
                  <a:cubicBezTo>
                    <a:pt x="4694" y="2016"/>
                    <a:pt x="4064" y="1386"/>
                    <a:pt x="3308" y="1386"/>
                  </a:cubicBezTo>
                  <a:cubicBezTo>
                    <a:pt x="2583" y="1386"/>
                    <a:pt x="1953" y="2016"/>
                    <a:pt x="1953" y="2741"/>
                  </a:cubicBezTo>
                  <a:cubicBezTo>
                    <a:pt x="1953" y="3119"/>
                    <a:pt x="2111" y="3466"/>
                    <a:pt x="2331" y="3686"/>
                  </a:cubicBezTo>
                  <a:cubicBezTo>
                    <a:pt x="1953" y="3907"/>
                    <a:pt x="1670" y="4253"/>
                    <a:pt x="1481" y="4663"/>
                  </a:cubicBezTo>
                  <a:cubicBezTo>
                    <a:pt x="1008" y="4096"/>
                    <a:pt x="851" y="3434"/>
                    <a:pt x="914" y="2773"/>
                  </a:cubicBezTo>
                  <a:cubicBezTo>
                    <a:pt x="1071" y="1670"/>
                    <a:pt x="2048" y="662"/>
                    <a:pt x="3308" y="662"/>
                  </a:cubicBezTo>
                  <a:close/>
                  <a:moveTo>
                    <a:pt x="3308" y="4190"/>
                  </a:moveTo>
                  <a:cubicBezTo>
                    <a:pt x="3938" y="4190"/>
                    <a:pt x="4442" y="4600"/>
                    <a:pt x="4663" y="5167"/>
                  </a:cubicBezTo>
                  <a:cubicBezTo>
                    <a:pt x="4253" y="5387"/>
                    <a:pt x="3844" y="5545"/>
                    <a:pt x="3308" y="5545"/>
                  </a:cubicBezTo>
                  <a:cubicBezTo>
                    <a:pt x="2835" y="5545"/>
                    <a:pt x="2363" y="5387"/>
                    <a:pt x="1985" y="5167"/>
                  </a:cubicBezTo>
                  <a:cubicBezTo>
                    <a:pt x="2142" y="4568"/>
                    <a:pt x="2678" y="4190"/>
                    <a:pt x="3308" y="4190"/>
                  </a:cubicBezTo>
                  <a:close/>
                  <a:moveTo>
                    <a:pt x="3308" y="0"/>
                  </a:moveTo>
                  <a:cubicBezTo>
                    <a:pt x="1701" y="0"/>
                    <a:pt x="410" y="1229"/>
                    <a:pt x="252" y="2678"/>
                  </a:cubicBezTo>
                  <a:cubicBezTo>
                    <a:pt x="0" y="4600"/>
                    <a:pt x="1481" y="6238"/>
                    <a:pt x="3308" y="6238"/>
                  </a:cubicBezTo>
                  <a:cubicBezTo>
                    <a:pt x="5041" y="6238"/>
                    <a:pt x="6427" y="4820"/>
                    <a:pt x="6427" y="3119"/>
                  </a:cubicBezTo>
                  <a:cubicBezTo>
                    <a:pt x="6427" y="1386"/>
                    <a:pt x="5009" y="0"/>
                    <a:pt x="3308"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120" name="Google Shape;10120;p111"/>
            <p:cNvSpPr/>
            <p:nvPr/>
          </p:nvSpPr>
          <p:spPr>
            <a:xfrm>
              <a:off x="2890050" y="2318350"/>
              <a:ext cx="259150" cy="296975"/>
            </a:xfrm>
            <a:custGeom>
              <a:avLst/>
              <a:gdLst/>
              <a:ahLst/>
              <a:cxnLst/>
              <a:rect l="l" t="t" r="r" b="b"/>
              <a:pathLst>
                <a:path w="10366" h="11879" extrusionOk="0">
                  <a:moveTo>
                    <a:pt x="5167" y="694"/>
                  </a:moveTo>
                  <a:cubicBezTo>
                    <a:pt x="7309" y="694"/>
                    <a:pt x="9011" y="2427"/>
                    <a:pt x="9011" y="4506"/>
                  </a:cubicBezTo>
                  <a:cubicBezTo>
                    <a:pt x="9011" y="5640"/>
                    <a:pt x="8475" y="6711"/>
                    <a:pt x="7656" y="7405"/>
                  </a:cubicBezTo>
                  <a:lnTo>
                    <a:pt x="5167" y="9547"/>
                  </a:lnTo>
                  <a:lnTo>
                    <a:pt x="2710" y="7405"/>
                  </a:lnTo>
                  <a:cubicBezTo>
                    <a:pt x="1796" y="6585"/>
                    <a:pt x="1229" y="5420"/>
                    <a:pt x="1386" y="4034"/>
                  </a:cubicBezTo>
                  <a:cubicBezTo>
                    <a:pt x="1575" y="2206"/>
                    <a:pt x="3151" y="694"/>
                    <a:pt x="5167" y="694"/>
                  </a:cubicBezTo>
                  <a:close/>
                  <a:moveTo>
                    <a:pt x="8475" y="8980"/>
                  </a:moveTo>
                  <a:lnTo>
                    <a:pt x="9546" y="11122"/>
                  </a:lnTo>
                  <a:lnTo>
                    <a:pt x="977" y="11122"/>
                  </a:lnTo>
                  <a:lnTo>
                    <a:pt x="2017" y="8980"/>
                  </a:lnTo>
                  <a:lnTo>
                    <a:pt x="3529" y="8980"/>
                  </a:lnTo>
                  <a:lnTo>
                    <a:pt x="4978" y="10240"/>
                  </a:lnTo>
                  <a:cubicBezTo>
                    <a:pt x="5073" y="10272"/>
                    <a:pt x="5136" y="10335"/>
                    <a:pt x="5230" y="10335"/>
                  </a:cubicBezTo>
                  <a:cubicBezTo>
                    <a:pt x="5293" y="10335"/>
                    <a:pt x="5388" y="10272"/>
                    <a:pt x="5451" y="10240"/>
                  </a:cubicBezTo>
                  <a:lnTo>
                    <a:pt x="6900" y="8980"/>
                  </a:lnTo>
                  <a:close/>
                  <a:moveTo>
                    <a:pt x="5107" y="1"/>
                  </a:moveTo>
                  <a:cubicBezTo>
                    <a:pt x="2772" y="1"/>
                    <a:pt x="912" y="1815"/>
                    <a:pt x="662" y="3939"/>
                  </a:cubicBezTo>
                  <a:cubicBezTo>
                    <a:pt x="441" y="5483"/>
                    <a:pt x="1040" y="6932"/>
                    <a:pt x="2174" y="7940"/>
                  </a:cubicBezTo>
                  <a:lnTo>
                    <a:pt x="2615" y="8318"/>
                  </a:lnTo>
                  <a:lnTo>
                    <a:pt x="1638" y="8318"/>
                  </a:lnTo>
                  <a:cubicBezTo>
                    <a:pt x="1575" y="8318"/>
                    <a:pt x="1481" y="8413"/>
                    <a:pt x="1449" y="8507"/>
                  </a:cubicBezTo>
                  <a:lnTo>
                    <a:pt x="63" y="11343"/>
                  </a:lnTo>
                  <a:cubicBezTo>
                    <a:pt x="0" y="11469"/>
                    <a:pt x="0" y="11595"/>
                    <a:pt x="63" y="11721"/>
                  </a:cubicBezTo>
                  <a:cubicBezTo>
                    <a:pt x="126" y="11815"/>
                    <a:pt x="221" y="11878"/>
                    <a:pt x="347" y="11878"/>
                  </a:cubicBezTo>
                  <a:lnTo>
                    <a:pt x="10019" y="11878"/>
                  </a:lnTo>
                  <a:cubicBezTo>
                    <a:pt x="10145" y="11878"/>
                    <a:pt x="10271" y="11784"/>
                    <a:pt x="10302" y="11721"/>
                  </a:cubicBezTo>
                  <a:cubicBezTo>
                    <a:pt x="10365" y="11595"/>
                    <a:pt x="10365" y="11469"/>
                    <a:pt x="10302" y="11343"/>
                  </a:cubicBezTo>
                  <a:lnTo>
                    <a:pt x="8916" y="8507"/>
                  </a:lnTo>
                  <a:cubicBezTo>
                    <a:pt x="8885" y="8413"/>
                    <a:pt x="8727" y="8318"/>
                    <a:pt x="8601" y="8318"/>
                  </a:cubicBezTo>
                  <a:lnTo>
                    <a:pt x="7624" y="8318"/>
                  </a:lnTo>
                  <a:lnTo>
                    <a:pt x="8065" y="7940"/>
                  </a:lnTo>
                  <a:cubicBezTo>
                    <a:pt x="9042" y="7090"/>
                    <a:pt x="9641" y="5829"/>
                    <a:pt x="9641" y="4506"/>
                  </a:cubicBezTo>
                  <a:cubicBezTo>
                    <a:pt x="9641" y="2049"/>
                    <a:pt x="7656" y="1"/>
                    <a:pt x="5167" y="1"/>
                  </a:cubicBezTo>
                  <a:cubicBezTo>
                    <a:pt x="5147" y="1"/>
                    <a:pt x="5127" y="1"/>
                    <a:pt x="5107"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sp>
        <p:nvSpPr>
          <p:cNvPr id="10121" name="Google Shape;10121;p111"/>
          <p:cNvSpPr/>
          <p:nvPr/>
        </p:nvSpPr>
        <p:spPr>
          <a:xfrm>
            <a:off x="10113458" y="3233044"/>
            <a:ext cx="301149" cy="467161"/>
          </a:xfrm>
          <a:custGeom>
            <a:avLst/>
            <a:gdLst/>
            <a:ahLst/>
            <a:cxnLst/>
            <a:rect l="l" t="t" r="r" b="b"/>
            <a:pathLst>
              <a:path w="7657" h="11878" extrusionOk="0">
                <a:moveTo>
                  <a:pt x="3813" y="1387"/>
                </a:moveTo>
                <a:cubicBezTo>
                  <a:pt x="4254" y="1387"/>
                  <a:pt x="4664" y="1670"/>
                  <a:pt x="4821" y="2112"/>
                </a:cubicBezTo>
                <a:lnTo>
                  <a:pt x="2836" y="2112"/>
                </a:lnTo>
                <a:cubicBezTo>
                  <a:pt x="2994" y="1702"/>
                  <a:pt x="3372" y="1387"/>
                  <a:pt x="3813" y="1387"/>
                </a:cubicBezTo>
                <a:close/>
                <a:moveTo>
                  <a:pt x="4947" y="2805"/>
                </a:moveTo>
                <a:cubicBezTo>
                  <a:pt x="5199" y="2805"/>
                  <a:pt x="5357" y="3057"/>
                  <a:pt x="5294" y="3277"/>
                </a:cubicBezTo>
                <a:lnTo>
                  <a:pt x="4947" y="4222"/>
                </a:lnTo>
                <a:lnTo>
                  <a:pt x="2679" y="4222"/>
                </a:lnTo>
                <a:lnTo>
                  <a:pt x="2364" y="3277"/>
                </a:lnTo>
                <a:cubicBezTo>
                  <a:pt x="2332" y="3025"/>
                  <a:pt x="2490" y="2805"/>
                  <a:pt x="2710" y="2805"/>
                </a:cubicBezTo>
                <a:close/>
                <a:moveTo>
                  <a:pt x="4916" y="4852"/>
                </a:moveTo>
                <a:lnTo>
                  <a:pt x="5514" y="8381"/>
                </a:lnTo>
                <a:lnTo>
                  <a:pt x="2175" y="8381"/>
                </a:lnTo>
                <a:lnTo>
                  <a:pt x="2773" y="4852"/>
                </a:lnTo>
                <a:close/>
                <a:moveTo>
                  <a:pt x="5955" y="9074"/>
                </a:moveTo>
                <a:cubicBezTo>
                  <a:pt x="6144" y="9074"/>
                  <a:pt x="6302" y="9232"/>
                  <a:pt x="6302" y="9421"/>
                </a:cubicBezTo>
                <a:lnTo>
                  <a:pt x="6302" y="9799"/>
                </a:lnTo>
                <a:lnTo>
                  <a:pt x="1450" y="9799"/>
                </a:lnTo>
                <a:lnTo>
                  <a:pt x="1450" y="9421"/>
                </a:lnTo>
                <a:cubicBezTo>
                  <a:pt x="1419" y="9232"/>
                  <a:pt x="1576" y="9074"/>
                  <a:pt x="1765" y="9074"/>
                </a:cubicBezTo>
                <a:close/>
                <a:moveTo>
                  <a:pt x="6648" y="10460"/>
                </a:moveTo>
                <a:cubicBezTo>
                  <a:pt x="6806" y="10460"/>
                  <a:pt x="6964" y="10618"/>
                  <a:pt x="6964" y="10807"/>
                </a:cubicBezTo>
                <a:lnTo>
                  <a:pt x="6964" y="11153"/>
                </a:lnTo>
                <a:lnTo>
                  <a:pt x="757" y="11153"/>
                </a:lnTo>
                <a:lnTo>
                  <a:pt x="757" y="10807"/>
                </a:lnTo>
                <a:cubicBezTo>
                  <a:pt x="757" y="10618"/>
                  <a:pt x="915" y="10460"/>
                  <a:pt x="1104" y="10460"/>
                </a:cubicBezTo>
                <a:close/>
                <a:moveTo>
                  <a:pt x="3782" y="1"/>
                </a:moveTo>
                <a:cubicBezTo>
                  <a:pt x="3592" y="1"/>
                  <a:pt x="3435" y="158"/>
                  <a:pt x="3435" y="379"/>
                </a:cubicBezTo>
                <a:lnTo>
                  <a:pt x="3435" y="757"/>
                </a:lnTo>
                <a:cubicBezTo>
                  <a:pt x="2679" y="914"/>
                  <a:pt x="2143" y="1544"/>
                  <a:pt x="2049" y="2301"/>
                </a:cubicBezTo>
                <a:cubicBezTo>
                  <a:pt x="1702" y="2521"/>
                  <a:pt x="1545" y="3025"/>
                  <a:pt x="1671" y="3466"/>
                </a:cubicBezTo>
                <a:lnTo>
                  <a:pt x="1891" y="4191"/>
                </a:lnTo>
                <a:lnTo>
                  <a:pt x="1702" y="4191"/>
                </a:lnTo>
                <a:cubicBezTo>
                  <a:pt x="1513" y="4191"/>
                  <a:pt x="1356" y="4348"/>
                  <a:pt x="1356" y="4537"/>
                </a:cubicBezTo>
                <a:cubicBezTo>
                  <a:pt x="1356" y="4758"/>
                  <a:pt x="1513" y="4915"/>
                  <a:pt x="1702" y="4915"/>
                </a:cubicBezTo>
                <a:lnTo>
                  <a:pt x="1986" y="4915"/>
                </a:lnTo>
                <a:lnTo>
                  <a:pt x="1387" y="8444"/>
                </a:lnTo>
                <a:cubicBezTo>
                  <a:pt x="1009" y="8570"/>
                  <a:pt x="726" y="8948"/>
                  <a:pt x="726" y="9421"/>
                </a:cubicBezTo>
                <a:lnTo>
                  <a:pt x="726" y="9830"/>
                </a:lnTo>
                <a:cubicBezTo>
                  <a:pt x="316" y="9988"/>
                  <a:pt x="1" y="10334"/>
                  <a:pt x="1" y="10807"/>
                </a:cubicBezTo>
                <a:lnTo>
                  <a:pt x="1" y="11531"/>
                </a:lnTo>
                <a:cubicBezTo>
                  <a:pt x="1" y="11720"/>
                  <a:pt x="158" y="11878"/>
                  <a:pt x="347" y="11878"/>
                </a:cubicBezTo>
                <a:lnTo>
                  <a:pt x="7279" y="11878"/>
                </a:lnTo>
                <a:cubicBezTo>
                  <a:pt x="7499" y="11878"/>
                  <a:pt x="7657" y="11720"/>
                  <a:pt x="7657" y="11531"/>
                </a:cubicBezTo>
                <a:lnTo>
                  <a:pt x="7657" y="10807"/>
                </a:lnTo>
                <a:cubicBezTo>
                  <a:pt x="7657" y="10366"/>
                  <a:pt x="7373" y="9988"/>
                  <a:pt x="6932" y="9830"/>
                </a:cubicBezTo>
                <a:lnTo>
                  <a:pt x="6932" y="9421"/>
                </a:lnTo>
                <a:cubicBezTo>
                  <a:pt x="6932" y="8948"/>
                  <a:pt x="6617" y="8570"/>
                  <a:pt x="6176" y="8444"/>
                </a:cubicBezTo>
                <a:lnTo>
                  <a:pt x="5609" y="4915"/>
                </a:lnTo>
                <a:lnTo>
                  <a:pt x="5861" y="4915"/>
                </a:lnTo>
                <a:cubicBezTo>
                  <a:pt x="6081" y="4915"/>
                  <a:pt x="6207" y="4758"/>
                  <a:pt x="6207" y="4537"/>
                </a:cubicBezTo>
                <a:cubicBezTo>
                  <a:pt x="6207" y="4348"/>
                  <a:pt x="6081" y="4191"/>
                  <a:pt x="5861" y="4191"/>
                </a:cubicBezTo>
                <a:lnTo>
                  <a:pt x="5672" y="4191"/>
                </a:lnTo>
                <a:lnTo>
                  <a:pt x="5924" y="3466"/>
                </a:lnTo>
                <a:cubicBezTo>
                  <a:pt x="6081" y="3025"/>
                  <a:pt x="5861" y="2584"/>
                  <a:pt x="5514" y="2301"/>
                </a:cubicBezTo>
                <a:cubicBezTo>
                  <a:pt x="5451" y="1513"/>
                  <a:pt x="4884" y="914"/>
                  <a:pt x="4128" y="757"/>
                </a:cubicBezTo>
                <a:lnTo>
                  <a:pt x="4128" y="379"/>
                </a:lnTo>
                <a:cubicBezTo>
                  <a:pt x="4128" y="158"/>
                  <a:pt x="3971" y="1"/>
                  <a:pt x="3782"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nvGrpSpPr>
          <p:cNvPr id="10122" name="Google Shape;10122;p111"/>
          <p:cNvGrpSpPr/>
          <p:nvPr/>
        </p:nvGrpSpPr>
        <p:grpSpPr>
          <a:xfrm>
            <a:off x="8250310" y="3864601"/>
            <a:ext cx="463425" cy="463425"/>
            <a:chOff x="4685050" y="1945825"/>
            <a:chExt cx="294575" cy="294575"/>
          </a:xfrm>
        </p:grpSpPr>
        <p:sp>
          <p:nvSpPr>
            <p:cNvPr id="10123" name="Google Shape;10123;p111"/>
            <p:cNvSpPr/>
            <p:nvPr/>
          </p:nvSpPr>
          <p:spPr>
            <a:xfrm>
              <a:off x="4720475" y="2086025"/>
              <a:ext cx="104775" cy="121300"/>
            </a:xfrm>
            <a:custGeom>
              <a:avLst/>
              <a:gdLst/>
              <a:ahLst/>
              <a:cxnLst/>
              <a:rect l="l" t="t" r="r" b="b"/>
              <a:pathLst>
                <a:path w="4191" h="4852" extrusionOk="0">
                  <a:moveTo>
                    <a:pt x="2017" y="693"/>
                  </a:moveTo>
                  <a:cubicBezTo>
                    <a:pt x="2427" y="693"/>
                    <a:pt x="2742" y="1008"/>
                    <a:pt x="2742" y="1386"/>
                  </a:cubicBezTo>
                  <a:cubicBezTo>
                    <a:pt x="2742" y="1796"/>
                    <a:pt x="2427" y="2111"/>
                    <a:pt x="2017" y="2111"/>
                  </a:cubicBezTo>
                  <a:cubicBezTo>
                    <a:pt x="1639" y="2111"/>
                    <a:pt x="1324" y="1796"/>
                    <a:pt x="1324" y="1386"/>
                  </a:cubicBezTo>
                  <a:cubicBezTo>
                    <a:pt x="1324" y="1008"/>
                    <a:pt x="1639" y="693"/>
                    <a:pt x="2017" y="693"/>
                  </a:cubicBezTo>
                  <a:close/>
                  <a:moveTo>
                    <a:pt x="2017" y="2772"/>
                  </a:moveTo>
                  <a:cubicBezTo>
                    <a:pt x="2773" y="2772"/>
                    <a:pt x="3403" y="3403"/>
                    <a:pt x="3403" y="4127"/>
                  </a:cubicBezTo>
                  <a:lnTo>
                    <a:pt x="631" y="4127"/>
                  </a:lnTo>
                  <a:cubicBezTo>
                    <a:pt x="631" y="3403"/>
                    <a:pt x="1261" y="2772"/>
                    <a:pt x="2017" y="2772"/>
                  </a:cubicBezTo>
                  <a:close/>
                  <a:moveTo>
                    <a:pt x="2049" y="0"/>
                  </a:moveTo>
                  <a:cubicBezTo>
                    <a:pt x="1324" y="0"/>
                    <a:pt x="694" y="630"/>
                    <a:pt x="694" y="1386"/>
                  </a:cubicBezTo>
                  <a:cubicBezTo>
                    <a:pt x="694" y="1733"/>
                    <a:pt x="851" y="2111"/>
                    <a:pt x="1072" y="2331"/>
                  </a:cubicBezTo>
                  <a:cubicBezTo>
                    <a:pt x="442" y="2678"/>
                    <a:pt x="1" y="3340"/>
                    <a:pt x="1" y="4127"/>
                  </a:cubicBezTo>
                  <a:lnTo>
                    <a:pt x="1" y="4505"/>
                  </a:lnTo>
                  <a:cubicBezTo>
                    <a:pt x="1" y="4694"/>
                    <a:pt x="158" y="4852"/>
                    <a:pt x="379" y="4852"/>
                  </a:cubicBezTo>
                  <a:lnTo>
                    <a:pt x="3844" y="4852"/>
                  </a:lnTo>
                  <a:cubicBezTo>
                    <a:pt x="4033" y="4852"/>
                    <a:pt x="4191" y="4694"/>
                    <a:pt x="4191" y="4505"/>
                  </a:cubicBezTo>
                  <a:lnTo>
                    <a:pt x="4191" y="4127"/>
                  </a:lnTo>
                  <a:cubicBezTo>
                    <a:pt x="4096" y="3340"/>
                    <a:pt x="3687" y="2678"/>
                    <a:pt x="3057" y="2331"/>
                  </a:cubicBezTo>
                  <a:cubicBezTo>
                    <a:pt x="3277" y="2111"/>
                    <a:pt x="3435" y="1733"/>
                    <a:pt x="3435" y="1386"/>
                  </a:cubicBezTo>
                  <a:cubicBezTo>
                    <a:pt x="3435" y="630"/>
                    <a:pt x="2805" y="0"/>
                    <a:pt x="2049"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124" name="Google Shape;10124;p111"/>
            <p:cNvSpPr/>
            <p:nvPr/>
          </p:nvSpPr>
          <p:spPr>
            <a:xfrm>
              <a:off x="4685050" y="1945825"/>
              <a:ext cx="294575" cy="294575"/>
            </a:xfrm>
            <a:custGeom>
              <a:avLst/>
              <a:gdLst/>
              <a:ahLst/>
              <a:cxnLst/>
              <a:rect l="l" t="t" r="r" b="b"/>
              <a:pathLst>
                <a:path w="11783" h="11783" extrusionOk="0">
                  <a:moveTo>
                    <a:pt x="6900" y="693"/>
                  </a:moveTo>
                  <a:lnTo>
                    <a:pt x="6900" y="1418"/>
                  </a:lnTo>
                  <a:lnTo>
                    <a:pt x="4820" y="1418"/>
                  </a:lnTo>
                  <a:lnTo>
                    <a:pt x="4820" y="693"/>
                  </a:lnTo>
                  <a:close/>
                  <a:moveTo>
                    <a:pt x="7215" y="2111"/>
                  </a:moveTo>
                  <a:cubicBezTo>
                    <a:pt x="7404" y="2111"/>
                    <a:pt x="7561" y="2269"/>
                    <a:pt x="7561" y="2458"/>
                  </a:cubicBezTo>
                  <a:cubicBezTo>
                    <a:pt x="7561" y="2678"/>
                    <a:pt x="7404" y="2836"/>
                    <a:pt x="7215" y="2836"/>
                  </a:cubicBezTo>
                  <a:lnTo>
                    <a:pt x="4474" y="2836"/>
                  </a:lnTo>
                  <a:cubicBezTo>
                    <a:pt x="4253" y="2836"/>
                    <a:pt x="4096" y="2678"/>
                    <a:pt x="4096" y="2458"/>
                  </a:cubicBezTo>
                  <a:cubicBezTo>
                    <a:pt x="4096" y="2269"/>
                    <a:pt x="4316" y="2111"/>
                    <a:pt x="4474" y="2111"/>
                  </a:cubicBezTo>
                  <a:close/>
                  <a:moveTo>
                    <a:pt x="6900" y="3497"/>
                  </a:moveTo>
                  <a:lnTo>
                    <a:pt x="6900" y="4568"/>
                  </a:lnTo>
                  <a:cubicBezTo>
                    <a:pt x="6900" y="4757"/>
                    <a:pt x="6742" y="4915"/>
                    <a:pt x="6553" y="4915"/>
                  </a:cubicBezTo>
                  <a:lnTo>
                    <a:pt x="5167" y="4915"/>
                  </a:lnTo>
                  <a:cubicBezTo>
                    <a:pt x="4978" y="4915"/>
                    <a:pt x="4820" y="4757"/>
                    <a:pt x="4820" y="4568"/>
                  </a:cubicBezTo>
                  <a:lnTo>
                    <a:pt x="4820" y="3497"/>
                  </a:lnTo>
                  <a:close/>
                  <a:moveTo>
                    <a:pt x="10775" y="4883"/>
                  </a:moveTo>
                  <a:cubicBezTo>
                    <a:pt x="10964" y="4883"/>
                    <a:pt x="11121" y="5041"/>
                    <a:pt x="11121" y="5230"/>
                  </a:cubicBezTo>
                  <a:lnTo>
                    <a:pt x="11121" y="10775"/>
                  </a:lnTo>
                  <a:cubicBezTo>
                    <a:pt x="11121" y="10964"/>
                    <a:pt x="10964" y="11121"/>
                    <a:pt x="10775" y="11121"/>
                  </a:cubicBezTo>
                  <a:lnTo>
                    <a:pt x="1008" y="11121"/>
                  </a:lnTo>
                  <a:cubicBezTo>
                    <a:pt x="788" y="11121"/>
                    <a:pt x="630" y="10964"/>
                    <a:pt x="630" y="10775"/>
                  </a:cubicBezTo>
                  <a:lnTo>
                    <a:pt x="630" y="5230"/>
                  </a:lnTo>
                  <a:cubicBezTo>
                    <a:pt x="630" y="5041"/>
                    <a:pt x="788" y="4883"/>
                    <a:pt x="1008" y="4883"/>
                  </a:cubicBezTo>
                  <a:lnTo>
                    <a:pt x="4190" y="4883"/>
                  </a:lnTo>
                  <a:cubicBezTo>
                    <a:pt x="4348" y="5261"/>
                    <a:pt x="4694" y="5577"/>
                    <a:pt x="5167" y="5577"/>
                  </a:cubicBezTo>
                  <a:lnTo>
                    <a:pt x="6553" y="5577"/>
                  </a:lnTo>
                  <a:cubicBezTo>
                    <a:pt x="6994" y="5577"/>
                    <a:pt x="7372" y="5293"/>
                    <a:pt x="7530" y="4883"/>
                  </a:cubicBezTo>
                  <a:close/>
                  <a:moveTo>
                    <a:pt x="4505" y="0"/>
                  </a:moveTo>
                  <a:cubicBezTo>
                    <a:pt x="4316" y="0"/>
                    <a:pt x="4159" y="158"/>
                    <a:pt x="4159" y="347"/>
                  </a:cubicBezTo>
                  <a:lnTo>
                    <a:pt x="4159" y="1449"/>
                  </a:lnTo>
                  <a:cubicBezTo>
                    <a:pt x="3749" y="1607"/>
                    <a:pt x="3434" y="1953"/>
                    <a:pt x="3434" y="2426"/>
                  </a:cubicBezTo>
                  <a:cubicBezTo>
                    <a:pt x="3434" y="2867"/>
                    <a:pt x="3718" y="3245"/>
                    <a:pt x="4159" y="3403"/>
                  </a:cubicBezTo>
                  <a:lnTo>
                    <a:pt x="4159" y="4190"/>
                  </a:lnTo>
                  <a:lnTo>
                    <a:pt x="1040" y="4190"/>
                  </a:lnTo>
                  <a:cubicBezTo>
                    <a:pt x="441" y="4190"/>
                    <a:pt x="0" y="4663"/>
                    <a:pt x="0" y="5230"/>
                  </a:cubicBezTo>
                  <a:lnTo>
                    <a:pt x="0" y="10775"/>
                  </a:lnTo>
                  <a:cubicBezTo>
                    <a:pt x="0" y="11373"/>
                    <a:pt x="473" y="11783"/>
                    <a:pt x="1040" y="11783"/>
                  </a:cubicBezTo>
                  <a:lnTo>
                    <a:pt x="10775" y="11783"/>
                  </a:lnTo>
                  <a:cubicBezTo>
                    <a:pt x="11342" y="11783"/>
                    <a:pt x="11783" y="11310"/>
                    <a:pt x="11783" y="10775"/>
                  </a:cubicBezTo>
                  <a:lnTo>
                    <a:pt x="11783" y="5230"/>
                  </a:lnTo>
                  <a:cubicBezTo>
                    <a:pt x="11783" y="4663"/>
                    <a:pt x="11342" y="4190"/>
                    <a:pt x="10775" y="4190"/>
                  </a:cubicBezTo>
                  <a:lnTo>
                    <a:pt x="7624" y="4190"/>
                  </a:lnTo>
                  <a:lnTo>
                    <a:pt x="7624" y="3403"/>
                  </a:lnTo>
                  <a:cubicBezTo>
                    <a:pt x="8002" y="3245"/>
                    <a:pt x="8317" y="2899"/>
                    <a:pt x="8317" y="2426"/>
                  </a:cubicBezTo>
                  <a:cubicBezTo>
                    <a:pt x="8317" y="1985"/>
                    <a:pt x="8034" y="1607"/>
                    <a:pt x="7624" y="1449"/>
                  </a:cubicBezTo>
                  <a:lnTo>
                    <a:pt x="7624" y="347"/>
                  </a:lnTo>
                  <a:cubicBezTo>
                    <a:pt x="7624" y="158"/>
                    <a:pt x="7467" y="0"/>
                    <a:pt x="7246"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125" name="Google Shape;10125;p111"/>
            <p:cNvSpPr/>
            <p:nvPr/>
          </p:nvSpPr>
          <p:spPr>
            <a:xfrm>
              <a:off x="4840200" y="2103350"/>
              <a:ext cx="104775" cy="17350"/>
            </a:xfrm>
            <a:custGeom>
              <a:avLst/>
              <a:gdLst/>
              <a:ahLst/>
              <a:cxnLst/>
              <a:rect l="l" t="t" r="r" b="b"/>
              <a:pathLst>
                <a:path w="4191" h="694" extrusionOk="0">
                  <a:moveTo>
                    <a:pt x="347" y="0"/>
                  </a:moveTo>
                  <a:cubicBezTo>
                    <a:pt x="158" y="0"/>
                    <a:pt x="0" y="158"/>
                    <a:pt x="0" y="347"/>
                  </a:cubicBezTo>
                  <a:cubicBezTo>
                    <a:pt x="0" y="536"/>
                    <a:pt x="158" y="693"/>
                    <a:pt x="347" y="693"/>
                  </a:cubicBezTo>
                  <a:lnTo>
                    <a:pt x="3844" y="693"/>
                  </a:lnTo>
                  <a:cubicBezTo>
                    <a:pt x="4033" y="693"/>
                    <a:pt x="4191" y="536"/>
                    <a:pt x="4191" y="347"/>
                  </a:cubicBezTo>
                  <a:cubicBezTo>
                    <a:pt x="4191" y="158"/>
                    <a:pt x="4033" y="0"/>
                    <a:pt x="3844"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126" name="Google Shape;10126;p111"/>
            <p:cNvSpPr/>
            <p:nvPr/>
          </p:nvSpPr>
          <p:spPr>
            <a:xfrm>
              <a:off x="4840200" y="2137200"/>
              <a:ext cx="104775" cy="18150"/>
            </a:xfrm>
            <a:custGeom>
              <a:avLst/>
              <a:gdLst/>
              <a:ahLst/>
              <a:cxnLst/>
              <a:rect l="l" t="t" r="r" b="b"/>
              <a:pathLst>
                <a:path w="4191" h="726" extrusionOk="0">
                  <a:moveTo>
                    <a:pt x="347" y="1"/>
                  </a:moveTo>
                  <a:cubicBezTo>
                    <a:pt x="158" y="1"/>
                    <a:pt x="0" y="158"/>
                    <a:pt x="0" y="379"/>
                  </a:cubicBezTo>
                  <a:cubicBezTo>
                    <a:pt x="0" y="568"/>
                    <a:pt x="158" y="725"/>
                    <a:pt x="347" y="725"/>
                  </a:cubicBezTo>
                  <a:lnTo>
                    <a:pt x="3844" y="725"/>
                  </a:lnTo>
                  <a:cubicBezTo>
                    <a:pt x="4033" y="725"/>
                    <a:pt x="4191" y="568"/>
                    <a:pt x="4191" y="379"/>
                  </a:cubicBezTo>
                  <a:cubicBezTo>
                    <a:pt x="4191" y="158"/>
                    <a:pt x="4033" y="1"/>
                    <a:pt x="3844"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127" name="Google Shape;10127;p111"/>
            <p:cNvSpPr/>
            <p:nvPr/>
          </p:nvSpPr>
          <p:spPr>
            <a:xfrm>
              <a:off x="4840200" y="2171875"/>
              <a:ext cx="104775" cy="18125"/>
            </a:xfrm>
            <a:custGeom>
              <a:avLst/>
              <a:gdLst/>
              <a:ahLst/>
              <a:cxnLst/>
              <a:rect l="l" t="t" r="r" b="b"/>
              <a:pathLst>
                <a:path w="4191" h="725" extrusionOk="0">
                  <a:moveTo>
                    <a:pt x="347" y="0"/>
                  </a:moveTo>
                  <a:cubicBezTo>
                    <a:pt x="158" y="0"/>
                    <a:pt x="0" y="158"/>
                    <a:pt x="0" y="347"/>
                  </a:cubicBezTo>
                  <a:cubicBezTo>
                    <a:pt x="0" y="567"/>
                    <a:pt x="158" y="725"/>
                    <a:pt x="347" y="725"/>
                  </a:cubicBezTo>
                  <a:lnTo>
                    <a:pt x="3844" y="725"/>
                  </a:lnTo>
                  <a:cubicBezTo>
                    <a:pt x="4033" y="725"/>
                    <a:pt x="4191" y="567"/>
                    <a:pt x="4191" y="347"/>
                  </a:cubicBezTo>
                  <a:cubicBezTo>
                    <a:pt x="4191" y="158"/>
                    <a:pt x="4033" y="0"/>
                    <a:pt x="3844"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sp>
        <p:nvSpPr>
          <p:cNvPr id="10128" name="Google Shape;10128;p111"/>
          <p:cNvSpPr/>
          <p:nvPr/>
        </p:nvSpPr>
        <p:spPr>
          <a:xfrm>
            <a:off x="8249517" y="4516510"/>
            <a:ext cx="464684" cy="463465"/>
          </a:xfrm>
          <a:custGeom>
            <a:avLst/>
            <a:gdLst/>
            <a:ahLst/>
            <a:cxnLst/>
            <a:rect l="l" t="t" r="r" b="b"/>
            <a:pathLst>
              <a:path w="11815" h="11784" extrusionOk="0">
                <a:moveTo>
                  <a:pt x="5923" y="2080"/>
                </a:moveTo>
                <a:cubicBezTo>
                  <a:pt x="6459" y="2080"/>
                  <a:pt x="6932" y="2552"/>
                  <a:pt x="6932" y="3119"/>
                </a:cubicBezTo>
                <a:lnTo>
                  <a:pt x="6932" y="3466"/>
                </a:lnTo>
                <a:lnTo>
                  <a:pt x="4884" y="3466"/>
                </a:lnTo>
                <a:lnTo>
                  <a:pt x="4884" y="3119"/>
                </a:lnTo>
                <a:cubicBezTo>
                  <a:pt x="4884" y="2521"/>
                  <a:pt x="5356" y="2080"/>
                  <a:pt x="5923" y="2080"/>
                </a:cubicBezTo>
                <a:close/>
                <a:moveTo>
                  <a:pt x="5923" y="662"/>
                </a:moveTo>
                <a:cubicBezTo>
                  <a:pt x="7247" y="662"/>
                  <a:pt x="8349" y="1765"/>
                  <a:pt x="8349" y="3119"/>
                </a:cubicBezTo>
                <a:lnTo>
                  <a:pt x="8349" y="3466"/>
                </a:lnTo>
                <a:lnTo>
                  <a:pt x="7656" y="3466"/>
                </a:lnTo>
                <a:lnTo>
                  <a:pt x="7656" y="3119"/>
                </a:lnTo>
                <a:cubicBezTo>
                  <a:pt x="7656" y="2174"/>
                  <a:pt x="6869" y="1387"/>
                  <a:pt x="5923" y="1387"/>
                </a:cubicBezTo>
                <a:cubicBezTo>
                  <a:pt x="4978" y="1387"/>
                  <a:pt x="4191" y="2174"/>
                  <a:pt x="4191" y="3119"/>
                </a:cubicBezTo>
                <a:lnTo>
                  <a:pt x="4191" y="3466"/>
                </a:lnTo>
                <a:lnTo>
                  <a:pt x="3466" y="3466"/>
                </a:lnTo>
                <a:lnTo>
                  <a:pt x="3466" y="3119"/>
                </a:lnTo>
                <a:cubicBezTo>
                  <a:pt x="3466" y="1765"/>
                  <a:pt x="4569" y="662"/>
                  <a:pt x="5923" y="662"/>
                </a:cubicBezTo>
                <a:close/>
                <a:moveTo>
                  <a:pt x="1387" y="4191"/>
                </a:moveTo>
                <a:lnTo>
                  <a:pt x="1387" y="6742"/>
                </a:lnTo>
                <a:cubicBezTo>
                  <a:pt x="946" y="6490"/>
                  <a:pt x="662" y="6018"/>
                  <a:pt x="662" y="5545"/>
                </a:cubicBezTo>
                <a:lnTo>
                  <a:pt x="662" y="4537"/>
                </a:lnTo>
                <a:cubicBezTo>
                  <a:pt x="662" y="4348"/>
                  <a:pt x="820" y="4191"/>
                  <a:pt x="1040" y="4191"/>
                </a:cubicBezTo>
                <a:close/>
                <a:moveTo>
                  <a:pt x="10775" y="4128"/>
                </a:moveTo>
                <a:cubicBezTo>
                  <a:pt x="10996" y="4128"/>
                  <a:pt x="11153" y="4285"/>
                  <a:pt x="11153" y="4506"/>
                </a:cubicBezTo>
                <a:lnTo>
                  <a:pt x="11153" y="5545"/>
                </a:lnTo>
                <a:cubicBezTo>
                  <a:pt x="11153" y="6081"/>
                  <a:pt x="10870" y="6490"/>
                  <a:pt x="10429" y="6742"/>
                </a:cubicBezTo>
                <a:lnTo>
                  <a:pt x="10429" y="4128"/>
                </a:lnTo>
                <a:close/>
                <a:moveTo>
                  <a:pt x="8349" y="4191"/>
                </a:moveTo>
                <a:lnTo>
                  <a:pt x="8349" y="6931"/>
                </a:lnTo>
                <a:lnTo>
                  <a:pt x="3498" y="6931"/>
                </a:lnTo>
                <a:lnTo>
                  <a:pt x="3498" y="4191"/>
                </a:lnTo>
                <a:close/>
                <a:moveTo>
                  <a:pt x="6270" y="7593"/>
                </a:moveTo>
                <a:lnTo>
                  <a:pt x="6270" y="7971"/>
                </a:lnTo>
                <a:cubicBezTo>
                  <a:pt x="6270" y="8160"/>
                  <a:pt x="6112" y="8318"/>
                  <a:pt x="5923" y="8318"/>
                </a:cubicBezTo>
                <a:cubicBezTo>
                  <a:pt x="5703" y="8318"/>
                  <a:pt x="5545" y="8160"/>
                  <a:pt x="5545" y="7971"/>
                </a:cubicBezTo>
                <a:lnTo>
                  <a:pt x="5545" y="7593"/>
                </a:lnTo>
                <a:close/>
                <a:moveTo>
                  <a:pt x="662" y="7089"/>
                </a:moveTo>
                <a:cubicBezTo>
                  <a:pt x="883" y="7278"/>
                  <a:pt x="1103" y="7404"/>
                  <a:pt x="1387" y="7467"/>
                </a:cubicBezTo>
                <a:lnTo>
                  <a:pt x="1387" y="11153"/>
                </a:lnTo>
                <a:lnTo>
                  <a:pt x="1040" y="11153"/>
                </a:lnTo>
                <a:cubicBezTo>
                  <a:pt x="820" y="11153"/>
                  <a:pt x="662" y="10996"/>
                  <a:pt x="662" y="10807"/>
                </a:cubicBezTo>
                <a:lnTo>
                  <a:pt x="662" y="7089"/>
                </a:lnTo>
                <a:close/>
                <a:moveTo>
                  <a:pt x="2804" y="4191"/>
                </a:moveTo>
                <a:lnTo>
                  <a:pt x="2804" y="11153"/>
                </a:lnTo>
                <a:lnTo>
                  <a:pt x="2080" y="11153"/>
                </a:lnTo>
                <a:lnTo>
                  <a:pt x="2080" y="4191"/>
                </a:lnTo>
                <a:close/>
                <a:moveTo>
                  <a:pt x="8318" y="7656"/>
                </a:moveTo>
                <a:lnTo>
                  <a:pt x="8318" y="11153"/>
                </a:lnTo>
                <a:lnTo>
                  <a:pt x="3498" y="11153"/>
                </a:lnTo>
                <a:lnTo>
                  <a:pt x="3498" y="7656"/>
                </a:lnTo>
                <a:lnTo>
                  <a:pt x="4884" y="7656"/>
                </a:lnTo>
                <a:lnTo>
                  <a:pt x="4884" y="8003"/>
                </a:lnTo>
                <a:cubicBezTo>
                  <a:pt x="4884" y="8601"/>
                  <a:pt x="5356" y="9011"/>
                  <a:pt x="5923" y="9011"/>
                </a:cubicBezTo>
                <a:cubicBezTo>
                  <a:pt x="6459" y="9011"/>
                  <a:pt x="6932" y="8538"/>
                  <a:pt x="6932" y="8003"/>
                </a:cubicBezTo>
                <a:lnTo>
                  <a:pt x="6932" y="7656"/>
                </a:lnTo>
                <a:close/>
                <a:moveTo>
                  <a:pt x="9767" y="4191"/>
                </a:moveTo>
                <a:lnTo>
                  <a:pt x="9767" y="11153"/>
                </a:lnTo>
                <a:lnTo>
                  <a:pt x="9074" y="11153"/>
                </a:lnTo>
                <a:lnTo>
                  <a:pt x="9074" y="4191"/>
                </a:lnTo>
                <a:close/>
                <a:moveTo>
                  <a:pt x="11153" y="7120"/>
                </a:moveTo>
                <a:lnTo>
                  <a:pt x="11153" y="10807"/>
                </a:lnTo>
                <a:cubicBezTo>
                  <a:pt x="11153" y="10996"/>
                  <a:pt x="10996" y="11153"/>
                  <a:pt x="10807" y="11153"/>
                </a:cubicBezTo>
                <a:lnTo>
                  <a:pt x="10429" y="11153"/>
                </a:lnTo>
                <a:lnTo>
                  <a:pt x="10429" y="7530"/>
                </a:lnTo>
                <a:cubicBezTo>
                  <a:pt x="10712" y="7436"/>
                  <a:pt x="10964" y="7278"/>
                  <a:pt x="11153" y="7120"/>
                </a:cubicBezTo>
                <a:close/>
                <a:moveTo>
                  <a:pt x="5923" y="0"/>
                </a:moveTo>
                <a:cubicBezTo>
                  <a:pt x="4191" y="0"/>
                  <a:pt x="2804" y="1418"/>
                  <a:pt x="2804" y="3119"/>
                </a:cubicBezTo>
                <a:lnTo>
                  <a:pt x="2804" y="3466"/>
                </a:lnTo>
                <a:lnTo>
                  <a:pt x="1040" y="3466"/>
                </a:lnTo>
                <a:cubicBezTo>
                  <a:pt x="442" y="3466"/>
                  <a:pt x="1" y="3939"/>
                  <a:pt x="1" y="4474"/>
                </a:cubicBezTo>
                <a:lnTo>
                  <a:pt x="1" y="5514"/>
                </a:lnTo>
                <a:lnTo>
                  <a:pt x="1" y="10744"/>
                </a:lnTo>
                <a:cubicBezTo>
                  <a:pt x="1" y="11342"/>
                  <a:pt x="473" y="11783"/>
                  <a:pt x="1040" y="11783"/>
                </a:cubicBezTo>
                <a:lnTo>
                  <a:pt x="10807" y="11783"/>
                </a:lnTo>
                <a:cubicBezTo>
                  <a:pt x="11374" y="11783"/>
                  <a:pt x="11815" y="11311"/>
                  <a:pt x="11815" y="10744"/>
                </a:cubicBezTo>
                <a:lnTo>
                  <a:pt x="11815" y="5514"/>
                </a:lnTo>
                <a:lnTo>
                  <a:pt x="11815" y="4474"/>
                </a:lnTo>
                <a:cubicBezTo>
                  <a:pt x="11815" y="3939"/>
                  <a:pt x="11374" y="3466"/>
                  <a:pt x="10807" y="3466"/>
                </a:cubicBezTo>
                <a:lnTo>
                  <a:pt x="9011" y="3466"/>
                </a:lnTo>
                <a:lnTo>
                  <a:pt x="9011" y="3119"/>
                </a:lnTo>
                <a:cubicBezTo>
                  <a:pt x="9011" y="1387"/>
                  <a:pt x="7593" y="0"/>
                  <a:pt x="5923"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129" name="Google Shape;10129;p111"/>
          <p:cNvSpPr/>
          <p:nvPr/>
        </p:nvSpPr>
        <p:spPr>
          <a:xfrm>
            <a:off x="8277400" y="5113729"/>
            <a:ext cx="408915" cy="467161"/>
          </a:xfrm>
          <a:custGeom>
            <a:avLst/>
            <a:gdLst/>
            <a:ahLst/>
            <a:cxnLst/>
            <a:rect l="l" t="t" r="r" b="b"/>
            <a:pathLst>
              <a:path w="10397" h="11878" extrusionOk="0">
                <a:moveTo>
                  <a:pt x="5135" y="725"/>
                </a:moveTo>
                <a:cubicBezTo>
                  <a:pt x="6868" y="725"/>
                  <a:pt x="8254" y="2142"/>
                  <a:pt x="8254" y="3844"/>
                </a:cubicBezTo>
                <a:lnTo>
                  <a:pt x="8254" y="5923"/>
                </a:lnTo>
                <a:cubicBezTo>
                  <a:pt x="8254" y="6112"/>
                  <a:pt x="8097" y="6270"/>
                  <a:pt x="7908" y="6270"/>
                </a:cubicBezTo>
                <a:lnTo>
                  <a:pt x="7498" y="6270"/>
                </a:lnTo>
                <a:cubicBezTo>
                  <a:pt x="7561" y="6144"/>
                  <a:pt x="7561" y="6049"/>
                  <a:pt x="7561" y="5923"/>
                </a:cubicBezTo>
                <a:lnTo>
                  <a:pt x="7561" y="3844"/>
                </a:lnTo>
                <a:cubicBezTo>
                  <a:pt x="7561" y="3623"/>
                  <a:pt x="7404" y="3466"/>
                  <a:pt x="7183" y="3466"/>
                </a:cubicBezTo>
                <a:lnTo>
                  <a:pt x="6490" y="3466"/>
                </a:lnTo>
                <a:cubicBezTo>
                  <a:pt x="5892" y="3466"/>
                  <a:pt x="5450" y="2993"/>
                  <a:pt x="5450" y="2458"/>
                </a:cubicBezTo>
                <a:lnTo>
                  <a:pt x="5450" y="1733"/>
                </a:lnTo>
                <a:cubicBezTo>
                  <a:pt x="5450" y="1544"/>
                  <a:pt x="5293" y="1386"/>
                  <a:pt x="5104" y="1386"/>
                </a:cubicBezTo>
                <a:cubicBezTo>
                  <a:pt x="4915" y="1386"/>
                  <a:pt x="4757" y="1544"/>
                  <a:pt x="4757" y="1733"/>
                </a:cubicBezTo>
                <a:lnTo>
                  <a:pt x="4757" y="2458"/>
                </a:lnTo>
                <a:cubicBezTo>
                  <a:pt x="4757" y="3056"/>
                  <a:pt x="4285" y="3466"/>
                  <a:pt x="3718" y="3466"/>
                </a:cubicBezTo>
                <a:lnTo>
                  <a:pt x="3088" y="3466"/>
                </a:lnTo>
                <a:cubicBezTo>
                  <a:pt x="2899" y="3466"/>
                  <a:pt x="2741" y="3623"/>
                  <a:pt x="2741" y="3844"/>
                </a:cubicBezTo>
                <a:lnTo>
                  <a:pt x="2741" y="5923"/>
                </a:lnTo>
                <a:cubicBezTo>
                  <a:pt x="2741" y="6049"/>
                  <a:pt x="2741" y="6144"/>
                  <a:pt x="2773" y="6270"/>
                </a:cubicBezTo>
                <a:lnTo>
                  <a:pt x="2395" y="6270"/>
                </a:lnTo>
                <a:cubicBezTo>
                  <a:pt x="2205" y="6270"/>
                  <a:pt x="2048" y="6112"/>
                  <a:pt x="2048" y="5923"/>
                </a:cubicBezTo>
                <a:lnTo>
                  <a:pt x="2048" y="3844"/>
                </a:lnTo>
                <a:cubicBezTo>
                  <a:pt x="2048" y="2111"/>
                  <a:pt x="3466" y="725"/>
                  <a:pt x="5135" y="725"/>
                </a:cubicBezTo>
                <a:close/>
                <a:moveTo>
                  <a:pt x="5230" y="3466"/>
                </a:moveTo>
                <a:cubicBezTo>
                  <a:pt x="5545" y="3907"/>
                  <a:pt x="6049" y="4190"/>
                  <a:pt x="6585" y="4190"/>
                </a:cubicBezTo>
                <a:lnTo>
                  <a:pt x="6963" y="4190"/>
                </a:lnTo>
                <a:lnTo>
                  <a:pt x="6963" y="5955"/>
                </a:lnTo>
                <a:lnTo>
                  <a:pt x="6931" y="5955"/>
                </a:lnTo>
                <a:cubicBezTo>
                  <a:pt x="6931" y="6553"/>
                  <a:pt x="6459" y="6994"/>
                  <a:pt x="5892" y="6994"/>
                </a:cubicBezTo>
                <a:lnTo>
                  <a:pt x="4505" y="6994"/>
                </a:lnTo>
                <a:cubicBezTo>
                  <a:pt x="3938" y="6994"/>
                  <a:pt x="3497" y="6522"/>
                  <a:pt x="3497" y="5955"/>
                </a:cubicBezTo>
                <a:lnTo>
                  <a:pt x="3497" y="4190"/>
                </a:lnTo>
                <a:lnTo>
                  <a:pt x="3844" y="4190"/>
                </a:lnTo>
                <a:cubicBezTo>
                  <a:pt x="4379" y="4190"/>
                  <a:pt x="4915" y="3907"/>
                  <a:pt x="5230" y="3466"/>
                </a:cubicBezTo>
                <a:close/>
                <a:moveTo>
                  <a:pt x="6301" y="7624"/>
                </a:moveTo>
                <a:cubicBezTo>
                  <a:pt x="6396" y="8034"/>
                  <a:pt x="6805" y="8349"/>
                  <a:pt x="7278" y="8349"/>
                </a:cubicBezTo>
                <a:lnTo>
                  <a:pt x="7624" y="8349"/>
                </a:lnTo>
                <a:lnTo>
                  <a:pt x="7624" y="9200"/>
                </a:lnTo>
                <a:cubicBezTo>
                  <a:pt x="6852" y="9546"/>
                  <a:pt x="6025" y="9719"/>
                  <a:pt x="5198" y="9719"/>
                </a:cubicBezTo>
                <a:cubicBezTo>
                  <a:pt x="4371" y="9719"/>
                  <a:pt x="3544" y="9546"/>
                  <a:pt x="2773" y="9200"/>
                </a:cubicBezTo>
                <a:lnTo>
                  <a:pt x="2773" y="8349"/>
                </a:lnTo>
                <a:lnTo>
                  <a:pt x="3119" y="8349"/>
                </a:lnTo>
                <a:cubicBezTo>
                  <a:pt x="3560" y="8349"/>
                  <a:pt x="3970" y="8034"/>
                  <a:pt x="4127" y="7624"/>
                </a:cubicBezTo>
                <a:cubicBezTo>
                  <a:pt x="4253" y="7656"/>
                  <a:pt x="4411" y="7656"/>
                  <a:pt x="4505" y="7656"/>
                </a:cubicBezTo>
                <a:lnTo>
                  <a:pt x="5892" y="7656"/>
                </a:lnTo>
                <a:cubicBezTo>
                  <a:pt x="6018" y="7656"/>
                  <a:pt x="6175" y="7656"/>
                  <a:pt x="6301" y="7624"/>
                </a:cubicBezTo>
                <a:close/>
                <a:moveTo>
                  <a:pt x="2079" y="8349"/>
                </a:moveTo>
                <a:lnTo>
                  <a:pt x="2079" y="11153"/>
                </a:lnTo>
                <a:lnTo>
                  <a:pt x="693" y="11153"/>
                </a:lnTo>
                <a:lnTo>
                  <a:pt x="693" y="9389"/>
                </a:lnTo>
                <a:cubicBezTo>
                  <a:pt x="693" y="8790"/>
                  <a:pt x="1166" y="8349"/>
                  <a:pt x="1733" y="8349"/>
                </a:cubicBezTo>
                <a:close/>
                <a:moveTo>
                  <a:pt x="7656" y="9924"/>
                </a:moveTo>
                <a:lnTo>
                  <a:pt x="7656" y="11153"/>
                </a:lnTo>
                <a:lnTo>
                  <a:pt x="2773" y="11153"/>
                </a:lnTo>
                <a:lnTo>
                  <a:pt x="2773" y="9924"/>
                </a:lnTo>
                <a:cubicBezTo>
                  <a:pt x="3560" y="10239"/>
                  <a:pt x="4411" y="10397"/>
                  <a:pt x="5230" y="10397"/>
                </a:cubicBezTo>
                <a:cubicBezTo>
                  <a:pt x="6049" y="10397"/>
                  <a:pt x="6868" y="10239"/>
                  <a:pt x="7656" y="9924"/>
                </a:cubicBezTo>
                <a:close/>
                <a:moveTo>
                  <a:pt x="8664" y="8349"/>
                </a:moveTo>
                <a:cubicBezTo>
                  <a:pt x="9231" y="8349"/>
                  <a:pt x="9672" y="8821"/>
                  <a:pt x="9672" y="9389"/>
                </a:cubicBezTo>
                <a:lnTo>
                  <a:pt x="9672" y="11153"/>
                </a:lnTo>
                <a:lnTo>
                  <a:pt x="8286" y="11153"/>
                </a:lnTo>
                <a:lnTo>
                  <a:pt x="8286" y="8349"/>
                </a:lnTo>
                <a:close/>
                <a:moveTo>
                  <a:pt x="5198" y="0"/>
                </a:moveTo>
                <a:cubicBezTo>
                  <a:pt x="3088" y="0"/>
                  <a:pt x="1355" y="1701"/>
                  <a:pt x="1355" y="3844"/>
                </a:cubicBezTo>
                <a:lnTo>
                  <a:pt x="1355" y="5923"/>
                </a:lnTo>
                <a:cubicBezTo>
                  <a:pt x="1355" y="6522"/>
                  <a:pt x="1827" y="6931"/>
                  <a:pt x="2395" y="6931"/>
                </a:cubicBezTo>
                <a:lnTo>
                  <a:pt x="3088" y="6931"/>
                </a:lnTo>
                <a:cubicBezTo>
                  <a:pt x="3182" y="7057"/>
                  <a:pt x="3308" y="7183"/>
                  <a:pt x="3466" y="7309"/>
                </a:cubicBezTo>
                <a:cubicBezTo>
                  <a:pt x="3466" y="7530"/>
                  <a:pt x="3308" y="7687"/>
                  <a:pt x="3088" y="7687"/>
                </a:cubicBezTo>
                <a:lnTo>
                  <a:pt x="1733" y="7687"/>
                </a:lnTo>
                <a:cubicBezTo>
                  <a:pt x="788" y="7687"/>
                  <a:pt x="0" y="8475"/>
                  <a:pt x="0" y="9420"/>
                </a:cubicBezTo>
                <a:lnTo>
                  <a:pt x="0" y="11499"/>
                </a:lnTo>
                <a:cubicBezTo>
                  <a:pt x="0" y="11720"/>
                  <a:pt x="158" y="11877"/>
                  <a:pt x="347" y="11877"/>
                </a:cubicBezTo>
                <a:lnTo>
                  <a:pt x="10019" y="11877"/>
                </a:lnTo>
                <a:cubicBezTo>
                  <a:pt x="10239" y="11877"/>
                  <a:pt x="10397" y="11720"/>
                  <a:pt x="10397" y="11499"/>
                </a:cubicBezTo>
                <a:lnTo>
                  <a:pt x="10397" y="9420"/>
                </a:lnTo>
                <a:cubicBezTo>
                  <a:pt x="10397" y="8475"/>
                  <a:pt x="9609" y="7687"/>
                  <a:pt x="8664" y="7687"/>
                </a:cubicBezTo>
                <a:lnTo>
                  <a:pt x="7278" y="7687"/>
                </a:lnTo>
                <a:cubicBezTo>
                  <a:pt x="7089" y="7687"/>
                  <a:pt x="6931" y="7530"/>
                  <a:pt x="6931" y="7341"/>
                </a:cubicBezTo>
                <a:cubicBezTo>
                  <a:pt x="7026" y="7246"/>
                  <a:pt x="7152" y="7152"/>
                  <a:pt x="7278" y="6994"/>
                </a:cubicBezTo>
                <a:lnTo>
                  <a:pt x="7971" y="6994"/>
                </a:lnTo>
                <a:cubicBezTo>
                  <a:pt x="8569" y="6994"/>
                  <a:pt x="9011" y="6522"/>
                  <a:pt x="9011" y="5955"/>
                </a:cubicBezTo>
                <a:lnTo>
                  <a:pt x="9011" y="3844"/>
                </a:lnTo>
                <a:cubicBezTo>
                  <a:pt x="9011" y="1733"/>
                  <a:pt x="7309" y="0"/>
                  <a:pt x="5198"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nvGrpSpPr>
          <p:cNvPr id="10130" name="Google Shape;10130;p111"/>
          <p:cNvGrpSpPr/>
          <p:nvPr/>
        </p:nvGrpSpPr>
        <p:grpSpPr>
          <a:xfrm>
            <a:off x="10610673" y="4516568"/>
            <a:ext cx="464684" cy="463465"/>
            <a:chOff x="6131900" y="2301825"/>
            <a:chExt cx="295375" cy="294600"/>
          </a:xfrm>
        </p:grpSpPr>
        <p:sp>
          <p:nvSpPr>
            <p:cNvPr id="10131" name="Google Shape;10131;p111"/>
            <p:cNvSpPr/>
            <p:nvPr/>
          </p:nvSpPr>
          <p:spPr>
            <a:xfrm>
              <a:off x="6131900" y="2301825"/>
              <a:ext cx="295375" cy="294600"/>
            </a:xfrm>
            <a:custGeom>
              <a:avLst/>
              <a:gdLst/>
              <a:ahLst/>
              <a:cxnLst/>
              <a:rect l="l" t="t" r="r" b="b"/>
              <a:pathLst>
                <a:path w="11815" h="11784" extrusionOk="0">
                  <a:moveTo>
                    <a:pt x="3813" y="630"/>
                  </a:moveTo>
                  <a:cubicBezTo>
                    <a:pt x="4002" y="630"/>
                    <a:pt x="4159" y="788"/>
                    <a:pt x="4159" y="977"/>
                  </a:cubicBezTo>
                  <a:lnTo>
                    <a:pt x="4159" y="1355"/>
                  </a:lnTo>
                  <a:lnTo>
                    <a:pt x="1387" y="1355"/>
                  </a:lnTo>
                  <a:lnTo>
                    <a:pt x="1387" y="977"/>
                  </a:lnTo>
                  <a:lnTo>
                    <a:pt x="1355" y="977"/>
                  </a:lnTo>
                  <a:cubicBezTo>
                    <a:pt x="1355" y="788"/>
                    <a:pt x="1513" y="630"/>
                    <a:pt x="1733" y="630"/>
                  </a:cubicBezTo>
                  <a:close/>
                  <a:moveTo>
                    <a:pt x="10114" y="1355"/>
                  </a:moveTo>
                  <a:cubicBezTo>
                    <a:pt x="10303" y="1355"/>
                    <a:pt x="10460" y="1513"/>
                    <a:pt x="10460" y="1702"/>
                  </a:cubicBezTo>
                  <a:lnTo>
                    <a:pt x="10460" y="3434"/>
                  </a:lnTo>
                  <a:lnTo>
                    <a:pt x="7688" y="3434"/>
                  </a:lnTo>
                  <a:cubicBezTo>
                    <a:pt x="7656" y="3277"/>
                    <a:pt x="7656" y="1859"/>
                    <a:pt x="7656" y="1702"/>
                  </a:cubicBezTo>
                  <a:cubicBezTo>
                    <a:pt x="7656" y="1513"/>
                    <a:pt x="7814" y="1355"/>
                    <a:pt x="8034" y="1355"/>
                  </a:cubicBezTo>
                  <a:close/>
                  <a:moveTo>
                    <a:pt x="4128" y="2048"/>
                  </a:moveTo>
                  <a:lnTo>
                    <a:pt x="4128" y="4821"/>
                  </a:lnTo>
                  <a:lnTo>
                    <a:pt x="1355" y="4821"/>
                  </a:lnTo>
                  <a:lnTo>
                    <a:pt x="1355" y="2048"/>
                  </a:lnTo>
                  <a:close/>
                  <a:moveTo>
                    <a:pt x="6617" y="2048"/>
                  </a:moveTo>
                  <a:cubicBezTo>
                    <a:pt x="6806" y="2048"/>
                    <a:pt x="6963" y="2206"/>
                    <a:pt x="6963" y="2395"/>
                  </a:cubicBezTo>
                  <a:lnTo>
                    <a:pt x="6963" y="4852"/>
                  </a:lnTo>
                  <a:lnTo>
                    <a:pt x="4821" y="4852"/>
                  </a:lnTo>
                  <a:lnTo>
                    <a:pt x="4821" y="2395"/>
                  </a:lnTo>
                  <a:cubicBezTo>
                    <a:pt x="4821" y="2206"/>
                    <a:pt x="4978" y="2048"/>
                    <a:pt x="5167" y="2048"/>
                  </a:cubicBezTo>
                  <a:close/>
                  <a:moveTo>
                    <a:pt x="10429" y="4127"/>
                  </a:moveTo>
                  <a:lnTo>
                    <a:pt x="10429" y="4852"/>
                  </a:lnTo>
                  <a:lnTo>
                    <a:pt x="7656" y="4852"/>
                  </a:lnTo>
                  <a:lnTo>
                    <a:pt x="7656" y="4127"/>
                  </a:lnTo>
                  <a:close/>
                  <a:moveTo>
                    <a:pt x="10775" y="5514"/>
                  </a:moveTo>
                  <a:cubicBezTo>
                    <a:pt x="10964" y="5514"/>
                    <a:pt x="11122" y="5671"/>
                    <a:pt x="11122" y="5860"/>
                  </a:cubicBezTo>
                  <a:lnTo>
                    <a:pt x="11122" y="10744"/>
                  </a:lnTo>
                  <a:cubicBezTo>
                    <a:pt x="11122" y="10964"/>
                    <a:pt x="10964" y="11122"/>
                    <a:pt x="10775" y="11122"/>
                  </a:cubicBezTo>
                  <a:lnTo>
                    <a:pt x="1009" y="11122"/>
                  </a:lnTo>
                  <a:cubicBezTo>
                    <a:pt x="820" y="11122"/>
                    <a:pt x="662" y="10964"/>
                    <a:pt x="662" y="10744"/>
                  </a:cubicBezTo>
                  <a:lnTo>
                    <a:pt x="662" y="5860"/>
                  </a:lnTo>
                  <a:cubicBezTo>
                    <a:pt x="662" y="5671"/>
                    <a:pt x="820" y="5514"/>
                    <a:pt x="1009" y="5514"/>
                  </a:cubicBezTo>
                  <a:close/>
                  <a:moveTo>
                    <a:pt x="1733" y="0"/>
                  </a:moveTo>
                  <a:cubicBezTo>
                    <a:pt x="1135" y="0"/>
                    <a:pt x="694" y="473"/>
                    <a:pt x="694" y="1040"/>
                  </a:cubicBezTo>
                  <a:lnTo>
                    <a:pt x="694" y="4884"/>
                  </a:lnTo>
                  <a:cubicBezTo>
                    <a:pt x="316" y="5041"/>
                    <a:pt x="1" y="5388"/>
                    <a:pt x="1" y="5860"/>
                  </a:cubicBezTo>
                  <a:lnTo>
                    <a:pt x="1" y="10744"/>
                  </a:lnTo>
                  <a:cubicBezTo>
                    <a:pt x="1" y="11342"/>
                    <a:pt x="473" y="11783"/>
                    <a:pt x="1009" y="11783"/>
                  </a:cubicBezTo>
                  <a:lnTo>
                    <a:pt x="10775" y="11783"/>
                  </a:lnTo>
                  <a:cubicBezTo>
                    <a:pt x="11374" y="11783"/>
                    <a:pt x="11815" y="11311"/>
                    <a:pt x="11815" y="10744"/>
                  </a:cubicBezTo>
                  <a:lnTo>
                    <a:pt x="11815" y="5860"/>
                  </a:lnTo>
                  <a:cubicBezTo>
                    <a:pt x="11815" y="5388"/>
                    <a:pt x="11531" y="5010"/>
                    <a:pt x="11122" y="4884"/>
                  </a:cubicBezTo>
                  <a:lnTo>
                    <a:pt x="11122" y="1702"/>
                  </a:lnTo>
                  <a:cubicBezTo>
                    <a:pt x="11122" y="1103"/>
                    <a:pt x="10649" y="662"/>
                    <a:pt x="10114" y="662"/>
                  </a:cubicBezTo>
                  <a:lnTo>
                    <a:pt x="8034" y="662"/>
                  </a:lnTo>
                  <a:cubicBezTo>
                    <a:pt x="7530" y="662"/>
                    <a:pt x="7152" y="977"/>
                    <a:pt x="7026" y="1418"/>
                  </a:cubicBezTo>
                  <a:cubicBezTo>
                    <a:pt x="6932" y="1387"/>
                    <a:pt x="6806" y="1355"/>
                    <a:pt x="6648" y="1355"/>
                  </a:cubicBezTo>
                  <a:lnTo>
                    <a:pt x="5230" y="1355"/>
                  </a:lnTo>
                  <a:cubicBezTo>
                    <a:pt x="5104" y="1355"/>
                    <a:pt x="4978" y="1387"/>
                    <a:pt x="4884" y="1418"/>
                  </a:cubicBezTo>
                  <a:lnTo>
                    <a:pt x="4884" y="1040"/>
                  </a:lnTo>
                  <a:cubicBezTo>
                    <a:pt x="4884" y="441"/>
                    <a:pt x="4380" y="0"/>
                    <a:pt x="3844"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132" name="Google Shape;10132;p111"/>
            <p:cNvSpPr/>
            <p:nvPr/>
          </p:nvSpPr>
          <p:spPr>
            <a:xfrm>
              <a:off x="6218550" y="2456200"/>
              <a:ext cx="122100" cy="51225"/>
            </a:xfrm>
            <a:custGeom>
              <a:avLst/>
              <a:gdLst/>
              <a:ahLst/>
              <a:cxnLst/>
              <a:rect l="l" t="t" r="r" b="b"/>
              <a:pathLst>
                <a:path w="4884" h="2049" extrusionOk="0">
                  <a:moveTo>
                    <a:pt x="3844" y="725"/>
                  </a:moveTo>
                  <a:cubicBezTo>
                    <a:pt x="4033" y="725"/>
                    <a:pt x="4190" y="882"/>
                    <a:pt x="4190" y="1071"/>
                  </a:cubicBezTo>
                  <a:cubicBezTo>
                    <a:pt x="4190" y="1260"/>
                    <a:pt x="4033" y="1418"/>
                    <a:pt x="3844" y="1418"/>
                  </a:cubicBezTo>
                  <a:lnTo>
                    <a:pt x="1008" y="1418"/>
                  </a:lnTo>
                  <a:cubicBezTo>
                    <a:pt x="819" y="1418"/>
                    <a:pt x="662" y="1260"/>
                    <a:pt x="662" y="1071"/>
                  </a:cubicBezTo>
                  <a:cubicBezTo>
                    <a:pt x="662" y="882"/>
                    <a:pt x="819" y="725"/>
                    <a:pt x="1008" y="725"/>
                  </a:cubicBezTo>
                  <a:close/>
                  <a:moveTo>
                    <a:pt x="1008" y="0"/>
                  </a:moveTo>
                  <a:cubicBezTo>
                    <a:pt x="410" y="0"/>
                    <a:pt x="0" y="473"/>
                    <a:pt x="0" y="1040"/>
                  </a:cubicBezTo>
                  <a:cubicBezTo>
                    <a:pt x="0" y="1639"/>
                    <a:pt x="473" y="2048"/>
                    <a:pt x="1008" y="2048"/>
                  </a:cubicBezTo>
                  <a:lnTo>
                    <a:pt x="3844" y="2048"/>
                  </a:lnTo>
                  <a:cubicBezTo>
                    <a:pt x="4442" y="2048"/>
                    <a:pt x="4883" y="1576"/>
                    <a:pt x="4883" y="1040"/>
                  </a:cubicBezTo>
                  <a:cubicBezTo>
                    <a:pt x="4852" y="473"/>
                    <a:pt x="4411" y="0"/>
                    <a:pt x="3844"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133" name="Google Shape;10133;p111"/>
            <p:cNvSpPr/>
            <p:nvPr/>
          </p:nvSpPr>
          <p:spPr>
            <a:xfrm>
              <a:off x="6340625" y="2353025"/>
              <a:ext cx="35475" cy="18125"/>
            </a:xfrm>
            <a:custGeom>
              <a:avLst/>
              <a:gdLst/>
              <a:ahLst/>
              <a:cxnLst/>
              <a:rect l="l" t="t" r="r" b="b"/>
              <a:pathLst>
                <a:path w="1419" h="725" extrusionOk="0">
                  <a:moveTo>
                    <a:pt x="347" y="0"/>
                  </a:moveTo>
                  <a:cubicBezTo>
                    <a:pt x="158" y="0"/>
                    <a:pt x="0" y="158"/>
                    <a:pt x="0" y="347"/>
                  </a:cubicBezTo>
                  <a:cubicBezTo>
                    <a:pt x="0" y="567"/>
                    <a:pt x="158" y="725"/>
                    <a:pt x="347" y="725"/>
                  </a:cubicBezTo>
                  <a:lnTo>
                    <a:pt x="1040" y="725"/>
                  </a:lnTo>
                  <a:cubicBezTo>
                    <a:pt x="1261" y="725"/>
                    <a:pt x="1418" y="567"/>
                    <a:pt x="1418" y="347"/>
                  </a:cubicBezTo>
                  <a:cubicBezTo>
                    <a:pt x="1355" y="158"/>
                    <a:pt x="1198" y="0"/>
                    <a:pt x="1040"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134" name="Google Shape;10134;p111"/>
            <p:cNvSpPr/>
            <p:nvPr/>
          </p:nvSpPr>
          <p:spPr>
            <a:xfrm>
              <a:off x="6183100" y="2369550"/>
              <a:ext cx="35475" cy="18150"/>
            </a:xfrm>
            <a:custGeom>
              <a:avLst/>
              <a:gdLst/>
              <a:ahLst/>
              <a:cxnLst/>
              <a:rect l="l" t="t" r="r" b="b"/>
              <a:pathLst>
                <a:path w="1419" h="726" extrusionOk="0">
                  <a:moveTo>
                    <a:pt x="347" y="1"/>
                  </a:moveTo>
                  <a:cubicBezTo>
                    <a:pt x="158" y="1"/>
                    <a:pt x="0" y="158"/>
                    <a:pt x="0" y="379"/>
                  </a:cubicBezTo>
                  <a:cubicBezTo>
                    <a:pt x="0" y="568"/>
                    <a:pt x="158" y="725"/>
                    <a:pt x="347" y="725"/>
                  </a:cubicBezTo>
                  <a:lnTo>
                    <a:pt x="1040" y="725"/>
                  </a:lnTo>
                  <a:cubicBezTo>
                    <a:pt x="1261" y="725"/>
                    <a:pt x="1418" y="568"/>
                    <a:pt x="1418" y="379"/>
                  </a:cubicBezTo>
                  <a:cubicBezTo>
                    <a:pt x="1418" y="158"/>
                    <a:pt x="1261" y="1"/>
                    <a:pt x="1040"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10135" name="Google Shape;10135;p111"/>
          <p:cNvGrpSpPr/>
          <p:nvPr/>
        </p:nvGrpSpPr>
        <p:grpSpPr>
          <a:xfrm>
            <a:off x="7671997" y="2042622"/>
            <a:ext cx="468420" cy="465943"/>
            <a:chOff x="1412450" y="1954475"/>
            <a:chExt cx="297750" cy="296175"/>
          </a:xfrm>
        </p:grpSpPr>
        <p:sp>
          <p:nvSpPr>
            <p:cNvPr id="10136" name="Google Shape;10136;p111"/>
            <p:cNvSpPr/>
            <p:nvPr/>
          </p:nvSpPr>
          <p:spPr>
            <a:xfrm>
              <a:off x="1483350" y="2023800"/>
              <a:ext cx="155975" cy="155975"/>
            </a:xfrm>
            <a:custGeom>
              <a:avLst/>
              <a:gdLst/>
              <a:ahLst/>
              <a:cxnLst/>
              <a:rect l="l" t="t" r="r" b="b"/>
              <a:pathLst>
                <a:path w="6239" h="6239" extrusionOk="0">
                  <a:moveTo>
                    <a:pt x="3119" y="2079"/>
                  </a:moveTo>
                  <a:cubicBezTo>
                    <a:pt x="3529" y="2079"/>
                    <a:pt x="3844" y="2395"/>
                    <a:pt x="3844" y="2773"/>
                  </a:cubicBezTo>
                  <a:cubicBezTo>
                    <a:pt x="3844" y="3182"/>
                    <a:pt x="3529" y="3497"/>
                    <a:pt x="3119" y="3497"/>
                  </a:cubicBezTo>
                  <a:cubicBezTo>
                    <a:pt x="2741" y="3497"/>
                    <a:pt x="2426" y="3182"/>
                    <a:pt x="2426" y="2773"/>
                  </a:cubicBezTo>
                  <a:cubicBezTo>
                    <a:pt x="2426" y="2395"/>
                    <a:pt x="2741" y="2079"/>
                    <a:pt x="3119" y="2079"/>
                  </a:cubicBezTo>
                  <a:close/>
                  <a:moveTo>
                    <a:pt x="3119" y="725"/>
                  </a:moveTo>
                  <a:cubicBezTo>
                    <a:pt x="4474" y="725"/>
                    <a:pt x="5577" y="1827"/>
                    <a:pt x="5577" y="3182"/>
                  </a:cubicBezTo>
                  <a:cubicBezTo>
                    <a:pt x="5577" y="3686"/>
                    <a:pt x="5388" y="4159"/>
                    <a:pt x="5136" y="4537"/>
                  </a:cubicBezTo>
                  <a:cubicBezTo>
                    <a:pt x="4884" y="4190"/>
                    <a:pt x="4537" y="3907"/>
                    <a:pt x="4191" y="3718"/>
                  </a:cubicBezTo>
                  <a:cubicBezTo>
                    <a:pt x="4411" y="3497"/>
                    <a:pt x="4537" y="3182"/>
                    <a:pt x="4537" y="2804"/>
                  </a:cubicBezTo>
                  <a:cubicBezTo>
                    <a:pt x="4537" y="2079"/>
                    <a:pt x="3907" y="1449"/>
                    <a:pt x="3151" y="1449"/>
                  </a:cubicBezTo>
                  <a:cubicBezTo>
                    <a:pt x="2426" y="1449"/>
                    <a:pt x="1796" y="2079"/>
                    <a:pt x="1796" y="2804"/>
                  </a:cubicBezTo>
                  <a:cubicBezTo>
                    <a:pt x="1796" y="3182"/>
                    <a:pt x="1891" y="3497"/>
                    <a:pt x="2143" y="3718"/>
                  </a:cubicBezTo>
                  <a:cubicBezTo>
                    <a:pt x="1733" y="3907"/>
                    <a:pt x="1418" y="4190"/>
                    <a:pt x="1198" y="4537"/>
                  </a:cubicBezTo>
                  <a:cubicBezTo>
                    <a:pt x="914" y="4159"/>
                    <a:pt x="756" y="3686"/>
                    <a:pt x="756" y="3182"/>
                  </a:cubicBezTo>
                  <a:cubicBezTo>
                    <a:pt x="662" y="1796"/>
                    <a:pt x="1796" y="725"/>
                    <a:pt x="3119" y="725"/>
                  </a:cubicBezTo>
                  <a:close/>
                  <a:moveTo>
                    <a:pt x="3119" y="4190"/>
                  </a:moveTo>
                  <a:cubicBezTo>
                    <a:pt x="3749" y="4190"/>
                    <a:pt x="4317" y="4505"/>
                    <a:pt x="4632" y="5041"/>
                  </a:cubicBezTo>
                  <a:cubicBezTo>
                    <a:pt x="4222" y="5387"/>
                    <a:pt x="3686" y="5577"/>
                    <a:pt x="3119" y="5577"/>
                  </a:cubicBezTo>
                  <a:cubicBezTo>
                    <a:pt x="2584" y="5577"/>
                    <a:pt x="2017" y="5387"/>
                    <a:pt x="1639" y="5041"/>
                  </a:cubicBezTo>
                  <a:cubicBezTo>
                    <a:pt x="1954" y="4505"/>
                    <a:pt x="2489" y="4190"/>
                    <a:pt x="3119" y="4190"/>
                  </a:cubicBezTo>
                  <a:close/>
                  <a:moveTo>
                    <a:pt x="3119" y="0"/>
                  </a:moveTo>
                  <a:cubicBezTo>
                    <a:pt x="1387" y="0"/>
                    <a:pt x="0" y="1418"/>
                    <a:pt x="0" y="3119"/>
                  </a:cubicBezTo>
                  <a:cubicBezTo>
                    <a:pt x="0" y="4852"/>
                    <a:pt x="1387" y="6238"/>
                    <a:pt x="3119" y="6238"/>
                  </a:cubicBezTo>
                  <a:cubicBezTo>
                    <a:pt x="4852" y="6238"/>
                    <a:pt x="6238" y="4820"/>
                    <a:pt x="6238" y="3119"/>
                  </a:cubicBezTo>
                  <a:cubicBezTo>
                    <a:pt x="6238" y="1386"/>
                    <a:pt x="4821" y="0"/>
                    <a:pt x="3119"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137" name="Google Shape;10137;p111"/>
            <p:cNvSpPr/>
            <p:nvPr/>
          </p:nvSpPr>
          <p:spPr>
            <a:xfrm>
              <a:off x="1412450" y="1954475"/>
              <a:ext cx="297750" cy="296175"/>
            </a:xfrm>
            <a:custGeom>
              <a:avLst/>
              <a:gdLst/>
              <a:ahLst/>
              <a:cxnLst/>
              <a:rect l="l" t="t" r="r" b="b"/>
              <a:pathLst>
                <a:path w="11910" h="11847" extrusionOk="0">
                  <a:moveTo>
                    <a:pt x="6365" y="662"/>
                  </a:moveTo>
                  <a:lnTo>
                    <a:pt x="6522" y="1513"/>
                  </a:lnTo>
                  <a:cubicBezTo>
                    <a:pt x="6554" y="1702"/>
                    <a:pt x="6617" y="1765"/>
                    <a:pt x="6774" y="1797"/>
                  </a:cubicBezTo>
                  <a:cubicBezTo>
                    <a:pt x="7342" y="1923"/>
                    <a:pt x="7814" y="2112"/>
                    <a:pt x="8287" y="2427"/>
                  </a:cubicBezTo>
                  <a:cubicBezTo>
                    <a:pt x="8350" y="2474"/>
                    <a:pt x="8421" y="2498"/>
                    <a:pt x="8488" y="2498"/>
                  </a:cubicBezTo>
                  <a:cubicBezTo>
                    <a:pt x="8554" y="2498"/>
                    <a:pt x="8618" y="2474"/>
                    <a:pt x="8665" y="2427"/>
                  </a:cubicBezTo>
                  <a:lnTo>
                    <a:pt x="9389" y="1923"/>
                  </a:lnTo>
                  <a:lnTo>
                    <a:pt x="9925" y="2490"/>
                  </a:lnTo>
                  <a:lnTo>
                    <a:pt x="9421" y="3183"/>
                  </a:lnTo>
                  <a:cubicBezTo>
                    <a:pt x="9358" y="3309"/>
                    <a:pt x="9358" y="3466"/>
                    <a:pt x="9421" y="3592"/>
                  </a:cubicBezTo>
                  <a:cubicBezTo>
                    <a:pt x="9736" y="4065"/>
                    <a:pt x="9925" y="4537"/>
                    <a:pt x="10051" y="5073"/>
                  </a:cubicBezTo>
                  <a:cubicBezTo>
                    <a:pt x="10082" y="5231"/>
                    <a:pt x="10209" y="5294"/>
                    <a:pt x="10335" y="5357"/>
                  </a:cubicBezTo>
                  <a:lnTo>
                    <a:pt x="11185" y="5514"/>
                  </a:lnTo>
                  <a:lnTo>
                    <a:pt x="11185" y="6302"/>
                  </a:lnTo>
                  <a:lnTo>
                    <a:pt x="10335" y="6459"/>
                  </a:lnTo>
                  <a:cubicBezTo>
                    <a:pt x="10177" y="6491"/>
                    <a:pt x="10082" y="6585"/>
                    <a:pt x="10051" y="6743"/>
                  </a:cubicBezTo>
                  <a:cubicBezTo>
                    <a:pt x="9925" y="7278"/>
                    <a:pt x="9736" y="7751"/>
                    <a:pt x="9421" y="8224"/>
                  </a:cubicBezTo>
                  <a:cubicBezTo>
                    <a:pt x="9358" y="8350"/>
                    <a:pt x="9358" y="8507"/>
                    <a:pt x="9421" y="8633"/>
                  </a:cubicBezTo>
                  <a:lnTo>
                    <a:pt x="9925" y="9326"/>
                  </a:lnTo>
                  <a:lnTo>
                    <a:pt x="9389" y="9893"/>
                  </a:lnTo>
                  <a:lnTo>
                    <a:pt x="8665" y="9358"/>
                  </a:lnTo>
                  <a:cubicBezTo>
                    <a:pt x="8618" y="9326"/>
                    <a:pt x="8554" y="9310"/>
                    <a:pt x="8488" y="9310"/>
                  </a:cubicBezTo>
                  <a:cubicBezTo>
                    <a:pt x="8421" y="9310"/>
                    <a:pt x="8350" y="9326"/>
                    <a:pt x="8287" y="9358"/>
                  </a:cubicBezTo>
                  <a:cubicBezTo>
                    <a:pt x="7814" y="9673"/>
                    <a:pt x="7342" y="9893"/>
                    <a:pt x="6774" y="9988"/>
                  </a:cubicBezTo>
                  <a:cubicBezTo>
                    <a:pt x="6617" y="10051"/>
                    <a:pt x="6554" y="10145"/>
                    <a:pt x="6522" y="10271"/>
                  </a:cubicBezTo>
                  <a:lnTo>
                    <a:pt x="6365" y="11153"/>
                  </a:lnTo>
                  <a:lnTo>
                    <a:pt x="5577" y="11153"/>
                  </a:lnTo>
                  <a:lnTo>
                    <a:pt x="5420" y="10271"/>
                  </a:lnTo>
                  <a:cubicBezTo>
                    <a:pt x="5357" y="10114"/>
                    <a:pt x="5294" y="10051"/>
                    <a:pt x="5136" y="9988"/>
                  </a:cubicBezTo>
                  <a:cubicBezTo>
                    <a:pt x="4569" y="9893"/>
                    <a:pt x="4097" y="9673"/>
                    <a:pt x="3624" y="9358"/>
                  </a:cubicBezTo>
                  <a:cubicBezTo>
                    <a:pt x="3561" y="9326"/>
                    <a:pt x="3498" y="9310"/>
                    <a:pt x="3435" y="9310"/>
                  </a:cubicBezTo>
                  <a:cubicBezTo>
                    <a:pt x="3372" y="9310"/>
                    <a:pt x="3309" y="9326"/>
                    <a:pt x="3246" y="9358"/>
                  </a:cubicBezTo>
                  <a:lnTo>
                    <a:pt x="2521" y="9893"/>
                  </a:lnTo>
                  <a:lnTo>
                    <a:pt x="1986" y="9326"/>
                  </a:lnTo>
                  <a:lnTo>
                    <a:pt x="2490" y="8633"/>
                  </a:lnTo>
                  <a:cubicBezTo>
                    <a:pt x="2584" y="8507"/>
                    <a:pt x="2584" y="8350"/>
                    <a:pt x="2490" y="8224"/>
                  </a:cubicBezTo>
                  <a:cubicBezTo>
                    <a:pt x="2175" y="7751"/>
                    <a:pt x="1986" y="7278"/>
                    <a:pt x="1860" y="6743"/>
                  </a:cubicBezTo>
                  <a:cubicBezTo>
                    <a:pt x="1828" y="6585"/>
                    <a:pt x="1702" y="6491"/>
                    <a:pt x="1576" y="6459"/>
                  </a:cubicBezTo>
                  <a:lnTo>
                    <a:pt x="726" y="6302"/>
                  </a:lnTo>
                  <a:lnTo>
                    <a:pt x="726" y="5514"/>
                  </a:lnTo>
                  <a:lnTo>
                    <a:pt x="1576" y="5357"/>
                  </a:lnTo>
                  <a:cubicBezTo>
                    <a:pt x="1734" y="5325"/>
                    <a:pt x="1828" y="5231"/>
                    <a:pt x="1860" y="5073"/>
                  </a:cubicBezTo>
                  <a:cubicBezTo>
                    <a:pt x="1986" y="4506"/>
                    <a:pt x="2175" y="4065"/>
                    <a:pt x="2490" y="3592"/>
                  </a:cubicBezTo>
                  <a:cubicBezTo>
                    <a:pt x="2584" y="3466"/>
                    <a:pt x="2584" y="3309"/>
                    <a:pt x="2490" y="3183"/>
                  </a:cubicBezTo>
                  <a:lnTo>
                    <a:pt x="1986" y="2490"/>
                  </a:lnTo>
                  <a:lnTo>
                    <a:pt x="2521" y="1923"/>
                  </a:lnTo>
                  <a:lnTo>
                    <a:pt x="3246" y="2427"/>
                  </a:lnTo>
                  <a:cubicBezTo>
                    <a:pt x="3309" y="2474"/>
                    <a:pt x="3372" y="2498"/>
                    <a:pt x="3435" y="2498"/>
                  </a:cubicBezTo>
                  <a:cubicBezTo>
                    <a:pt x="3498" y="2498"/>
                    <a:pt x="3561" y="2474"/>
                    <a:pt x="3624" y="2427"/>
                  </a:cubicBezTo>
                  <a:cubicBezTo>
                    <a:pt x="4097" y="2112"/>
                    <a:pt x="4569" y="1923"/>
                    <a:pt x="5136" y="1797"/>
                  </a:cubicBezTo>
                  <a:cubicBezTo>
                    <a:pt x="5294" y="1765"/>
                    <a:pt x="5357" y="1639"/>
                    <a:pt x="5420" y="1513"/>
                  </a:cubicBezTo>
                  <a:lnTo>
                    <a:pt x="5577" y="662"/>
                  </a:lnTo>
                  <a:close/>
                  <a:moveTo>
                    <a:pt x="5262" y="1"/>
                  </a:moveTo>
                  <a:cubicBezTo>
                    <a:pt x="5073" y="1"/>
                    <a:pt x="4916" y="127"/>
                    <a:pt x="4884" y="284"/>
                  </a:cubicBezTo>
                  <a:lnTo>
                    <a:pt x="4727" y="1166"/>
                  </a:lnTo>
                  <a:cubicBezTo>
                    <a:pt x="4254" y="1292"/>
                    <a:pt x="3813" y="1481"/>
                    <a:pt x="3435" y="1734"/>
                  </a:cubicBezTo>
                  <a:lnTo>
                    <a:pt x="2679" y="1229"/>
                  </a:lnTo>
                  <a:cubicBezTo>
                    <a:pt x="2610" y="1174"/>
                    <a:pt x="2541" y="1149"/>
                    <a:pt x="2474" y="1149"/>
                  </a:cubicBezTo>
                  <a:cubicBezTo>
                    <a:pt x="2389" y="1149"/>
                    <a:pt x="2309" y="1190"/>
                    <a:pt x="2238" y="1261"/>
                  </a:cubicBezTo>
                  <a:lnTo>
                    <a:pt x="1261" y="2238"/>
                  </a:lnTo>
                  <a:cubicBezTo>
                    <a:pt x="1135" y="2364"/>
                    <a:pt x="1135" y="2553"/>
                    <a:pt x="1230" y="2679"/>
                  </a:cubicBezTo>
                  <a:lnTo>
                    <a:pt x="1734" y="3435"/>
                  </a:lnTo>
                  <a:cubicBezTo>
                    <a:pt x="1513" y="3813"/>
                    <a:pt x="1324" y="4254"/>
                    <a:pt x="1198" y="4726"/>
                  </a:cubicBezTo>
                  <a:lnTo>
                    <a:pt x="284" y="4884"/>
                  </a:lnTo>
                  <a:cubicBezTo>
                    <a:pt x="127" y="4915"/>
                    <a:pt x="1" y="5042"/>
                    <a:pt x="1" y="5231"/>
                  </a:cubicBezTo>
                  <a:lnTo>
                    <a:pt x="1" y="6617"/>
                  </a:lnTo>
                  <a:cubicBezTo>
                    <a:pt x="64" y="6774"/>
                    <a:pt x="158" y="6932"/>
                    <a:pt x="316" y="6963"/>
                  </a:cubicBezTo>
                  <a:lnTo>
                    <a:pt x="1230" y="7121"/>
                  </a:lnTo>
                  <a:cubicBezTo>
                    <a:pt x="1356" y="7593"/>
                    <a:pt x="1545" y="8034"/>
                    <a:pt x="1797" y="8413"/>
                  </a:cubicBezTo>
                  <a:lnTo>
                    <a:pt x="1261" y="9169"/>
                  </a:lnTo>
                  <a:cubicBezTo>
                    <a:pt x="1167" y="9295"/>
                    <a:pt x="1198" y="9484"/>
                    <a:pt x="1324" y="9610"/>
                  </a:cubicBezTo>
                  <a:lnTo>
                    <a:pt x="2301" y="10586"/>
                  </a:lnTo>
                  <a:cubicBezTo>
                    <a:pt x="2368" y="10654"/>
                    <a:pt x="2454" y="10685"/>
                    <a:pt x="2533" y="10685"/>
                  </a:cubicBezTo>
                  <a:cubicBezTo>
                    <a:pt x="2602" y="10685"/>
                    <a:pt x="2666" y="10662"/>
                    <a:pt x="2710" y="10618"/>
                  </a:cubicBezTo>
                  <a:lnTo>
                    <a:pt x="3466" y="10114"/>
                  </a:lnTo>
                  <a:cubicBezTo>
                    <a:pt x="3876" y="10366"/>
                    <a:pt x="4286" y="10555"/>
                    <a:pt x="4790" y="10681"/>
                  </a:cubicBezTo>
                  <a:lnTo>
                    <a:pt x="4947" y="11563"/>
                  </a:lnTo>
                  <a:cubicBezTo>
                    <a:pt x="4979" y="11721"/>
                    <a:pt x="5105" y="11847"/>
                    <a:pt x="5294" y="11847"/>
                  </a:cubicBezTo>
                  <a:lnTo>
                    <a:pt x="6680" y="11847"/>
                  </a:lnTo>
                  <a:cubicBezTo>
                    <a:pt x="6837" y="11847"/>
                    <a:pt x="6995" y="11721"/>
                    <a:pt x="7027" y="11563"/>
                  </a:cubicBezTo>
                  <a:lnTo>
                    <a:pt x="7184" y="10681"/>
                  </a:lnTo>
                  <a:cubicBezTo>
                    <a:pt x="7657" y="10555"/>
                    <a:pt x="8098" y="10366"/>
                    <a:pt x="8476" y="10114"/>
                  </a:cubicBezTo>
                  <a:lnTo>
                    <a:pt x="9232" y="10618"/>
                  </a:lnTo>
                  <a:cubicBezTo>
                    <a:pt x="9301" y="10673"/>
                    <a:pt x="9370" y="10698"/>
                    <a:pt x="9436" y="10698"/>
                  </a:cubicBezTo>
                  <a:cubicBezTo>
                    <a:pt x="9521" y="10698"/>
                    <a:pt x="9602" y="10657"/>
                    <a:pt x="9673" y="10586"/>
                  </a:cubicBezTo>
                  <a:lnTo>
                    <a:pt x="10650" y="9610"/>
                  </a:lnTo>
                  <a:cubicBezTo>
                    <a:pt x="10776" y="9484"/>
                    <a:pt x="10776" y="9295"/>
                    <a:pt x="10681" y="9169"/>
                  </a:cubicBezTo>
                  <a:lnTo>
                    <a:pt x="10177" y="8413"/>
                  </a:lnTo>
                  <a:cubicBezTo>
                    <a:pt x="10398" y="8034"/>
                    <a:pt x="10618" y="7593"/>
                    <a:pt x="10713" y="7121"/>
                  </a:cubicBezTo>
                  <a:lnTo>
                    <a:pt x="11626" y="6963"/>
                  </a:lnTo>
                  <a:cubicBezTo>
                    <a:pt x="11784" y="6932"/>
                    <a:pt x="11910" y="6806"/>
                    <a:pt x="11910" y="6617"/>
                  </a:cubicBezTo>
                  <a:lnTo>
                    <a:pt x="11910" y="5231"/>
                  </a:lnTo>
                  <a:cubicBezTo>
                    <a:pt x="11910" y="5073"/>
                    <a:pt x="11784" y="4915"/>
                    <a:pt x="11626" y="4884"/>
                  </a:cubicBezTo>
                  <a:lnTo>
                    <a:pt x="10713" y="4726"/>
                  </a:lnTo>
                  <a:cubicBezTo>
                    <a:pt x="10618" y="4254"/>
                    <a:pt x="10398" y="3813"/>
                    <a:pt x="10177" y="3403"/>
                  </a:cubicBezTo>
                  <a:lnTo>
                    <a:pt x="10681" y="2679"/>
                  </a:lnTo>
                  <a:cubicBezTo>
                    <a:pt x="10807" y="2553"/>
                    <a:pt x="10776" y="2364"/>
                    <a:pt x="10650" y="2238"/>
                  </a:cubicBezTo>
                  <a:lnTo>
                    <a:pt x="9673" y="1261"/>
                  </a:lnTo>
                  <a:cubicBezTo>
                    <a:pt x="9605" y="1193"/>
                    <a:pt x="9520" y="1162"/>
                    <a:pt x="9435" y="1162"/>
                  </a:cubicBezTo>
                  <a:cubicBezTo>
                    <a:pt x="9362" y="1162"/>
                    <a:pt x="9290" y="1186"/>
                    <a:pt x="9232" y="1229"/>
                  </a:cubicBezTo>
                  <a:lnTo>
                    <a:pt x="8476" y="1734"/>
                  </a:lnTo>
                  <a:cubicBezTo>
                    <a:pt x="8098" y="1481"/>
                    <a:pt x="7657" y="1292"/>
                    <a:pt x="7184" y="1166"/>
                  </a:cubicBezTo>
                  <a:lnTo>
                    <a:pt x="6995" y="284"/>
                  </a:lnTo>
                  <a:cubicBezTo>
                    <a:pt x="6932" y="127"/>
                    <a:pt x="6837" y="1"/>
                    <a:pt x="6617"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sp>
        <p:nvSpPr>
          <p:cNvPr id="10138" name="Google Shape;10138;p111"/>
          <p:cNvSpPr/>
          <p:nvPr/>
        </p:nvSpPr>
        <p:spPr>
          <a:xfrm>
            <a:off x="7673795" y="2647043"/>
            <a:ext cx="464723" cy="460987"/>
          </a:xfrm>
          <a:custGeom>
            <a:avLst/>
            <a:gdLst/>
            <a:ahLst/>
            <a:cxnLst/>
            <a:rect l="l" t="t" r="r" b="b"/>
            <a:pathLst>
              <a:path w="11816" h="11721" extrusionOk="0">
                <a:moveTo>
                  <a:pt x="2395" y="631"/>
                </a:moveTo>
                <a:cubicBezTo>
                  <a:pt x="2584" y="631"/>
                  <a:pt x="2742" y="789"/>
                  <a:pt x="2742" y="978"/>
                </a:cubicBezTo>
                <a:cubicBezTo>
                  <a:pt x="2742" y="1167"/>
                  <a:pt x="2584" y="1324"/>
                  <a:pt x="2395" y="1324"/>
                </a:cubicBezTo>
                <a:lnTo>
                  <a:pt x="1009" y="1324"/>
                </a:lnTo>
                <a:cubicBezTo>
                  <a:pt x="820" y="1324"/>
                  <a:pt x="663" y="1167"/>
                  <a:pt x="663" y="978"/>
                </a:cubicBezTo>
                <a:cubicBezTo>
                  <a:pt x="663" y="789"/>
                  <a:pt x="820" y="631"/>
                  <a:pt x="1009" y="631"/>
                </a:cubicBezTo>
                <a:close/>
                <a:moveTo>
                  <a:pt x="6554" y="631"/>
                </a:moveTo>
                <a:cubicBezTo>
                  <a:pt x="6774" y="631"/>
                  <a:pt x="6932" y="789"/>
                  <a:pt x="6932" y="978"/>
                </a:cubicBezTo>
                <a:cubicBezTo>
                  <a:pt x="6932" y="1167"/>
                  <a:pt x="6774" y="1324"/>
                  <a:pt x="6554" y="1324"/>
                </a:cubicBezTo>
                <a:lnTo>
                  <a:pt x="5199" y="1324"/>
                </a:lnTo>
                <a:cubicBezTo>
                  <a:pt x="4979" y="1324"/>
                  <a:pt x="4821" y="1167"/>
                  <a:pt x="4821" y="978"/>
                </a:cubicBezTo>
                <a:cubicBezTo>
                  <a:pt x="4821" y="789"/>
                  <a:pt x="4979" y="631"/>
                  <a:pt x="5199" y="631"/>
                </a:cubicBezTo>
                <a:close/>
                <a:moveTo>
                  <a:pt x="10776" y="631"/>
                </a:moveTo>
                <a:cubicBezTo>
                  <a:pt x="10965" y="631"/>
                  <a:pt x="11122" y="789"/>
                  <a:pt x="11122" y="978"/>
                </a:cubicBezTo>
                <a:cubicBezTo>
                  <a:pt x="11122" y="1167"/>
                  <a:pt x="10965" y="1324"/>
                  <a:pt x="10776" y="1324"/>
                </a:cubicBezTo>
                <a:lnTo>
                  <a:pt x="9389" y="1324"/>
                </a:lnTo>
                <a:cubicBezTo>
                  <a:pt x="9200" y="1324"/>
                  <a:pt x="9043" y="1167"/>
                  <a:pt x="9043" y="978"/>
                </a:cubicBezTo>
                <a:cubicBezTo>
                  <a:pt x="9043" y="789"/>
                  <a:pt x="9200" y="631"/>
                  <a:pt x="9389" y="631"/>
                </a:cubicBezTo>
                <a:close/>
                <a:moveTo>
                  <a:pt x="7279" y="4790"/>
                </a:moveTo>
                <a:cubicBezTo>
                  <a:pt x="7468" y="4790"/>
                  <a:pt x="7625" y="4947"/>
                  <a:pt x="7625" y="5136"/>
                </a:cubicBezTo>
                <a:lnTo>
                  <a:pt x="7625" y="6554"/>
                </a:lnTo>
                <a:cubicBezTo>
                  <a:pt x="7625" y="6775"/>
                  <a:pt x="7468" y="6932"/>
                  <a:pt x="7279" y="6932"/>
                </a:cubicBezTo>
                <a:lnTo>
                  <a:pt x="4506" y="6932"/>
                </a:lnTo>
                <a:cubicBezTo>
                  <a:pt x="4317" y="6932"/>
                  <a:pt x="4160" y="6775"/>
                  <a:pt x="4160" y="6554"/>
                </a:cubicBezTo>
                <a:lnTo>
                  <a:pt x="4160" y="5136"/>
                </a:lnTo>
                <a:cubicBezTo>
                  <a:pt x="4160" y="4947"/>
                  <a:pt x="4317" y="4790"/>
                  <a:pt x="4506" y="4790"/>
                </a:cubicBezTo>
                <a:close/>
                <a:moveTo>
                  <a:pt x="2395" y="10398"/>
                </a:moveTo>
                <a:cubicBezTo>
                  <a:pt x="2584" y="10398"/>
                  <a:pt x="2742" y="10555"/>
                  <a:pt x="2742" y="10744"/>
                </a:cubicBezTo>
                <a:cubicBezTo>
                  <a:pt x="2742" y="10933"/>
                  <a:pt x="2584" y="11091"/>
                  <a:pt x="2395" y="11091"/>
                </a:cubicBezTo>
                <a:lnTo>
                  <a:pt x="1009" y="11091"/>
                </a:lnTo>
                <a:cubicBezTo>
                  <a:pt x="820" y="11091"/>
                  <a:pt x="663" y="10933"/>
                  <a:pt x="663" y="10744"/>
                </a:cubicBezTo>
                <a:cubicBezTo>
                  <a:pt x="663" y="10555"/>
                  <a:pt x="820" y="10398"/>
                  <a:pt x="1009" y="10398"/>
                </a:cubicBezTo>
                <a:close/>
                <a:moveTo>
                  <a:pt x="6585" y="10398"/>
                </a:moveTo>
                <a:cubicBezTo>
                  <a:pt x="6806" y="10398"/>
                  <a:pt x="6964" y="10555"/>
                  <a:pt x="6964" y="10744"/>
                </a:cubicBezTo>
                <a:cubicBezTo>
                  <a:pt x="6964" y="10933"/>
                  <a:pt x="6806" y="11091"/>
                  <a:pt x="6585" y="11091"/>
                </a:cubicBezTo>
                <a:lnTo>
                  <a:pt x="5231" y="11091"/>
                </a:lnTo>
                <a:cubicBezTo>
                  <a:pt x="5010" y="11091"/>
                  <a:pt x="4853" y="10933"/>
                  <a:pt x="4853" y="10744"/>
                </a:cubicBezTo>
                <a:cubicBezTo>
                  <a:pt x="4853" y="10555"/>
                  <a:pt x="5010" y="10398"/>
                  <a:pt x="5231" y="10398"/>
                </a:cubicBezTo>
                <a:close/>
                <a:moveTo>
                  <a:pt x="10776" y="10398"/>
                </a:moveTo>
                <a:cubicBezTo>
                  <a:pt x="10965" y="10398"/>
                  <a:pt x="11122" y="10555"/>
                  <a:pt x="11122" y="10744"/>
                </a:cubicBezTo>
                <a:cubicBezTo>
                  <a:pt x="11122" y="10933"/>
                  <a:pt x="10965" y="11091"/>
                  <a:pt x="10776" y="11091"/>
                </a:cubicBezTo>
                <a:lnTo>
                  <a:pt x="9389" y="11091"/>
                </a:lnTo>
                <a:cubicBezTo>
                  <a:pt x="9200" y="11091"/>
                  <a:pt x="9043" y="10933"/>
                  <a:pt x="9043" y="10744"/>
                </a:cubicBezTo>
                <a:cubicBezTo>
                  <a:pt x="9043" y="10555"/>
                  <a:pt x="9200" y="10398"/>
                  <a:pt x="9389" y="10398"/>
                </a:cubicBezTo>
                <a:close/>
                <a:moveTo>
                  <a:pt x="1009" y="1"/>
                </a:moveTo>
                <a:cubicBezTo>
                  <a:pt x="410" y="1"/>
                  <a:pt x="1" y="474"/>
                  <a:pt x="1" y="1009"/>
                </a:cubicBezTo>
                <a:cubicBezTo>
                  <a:pt x="1" y="1608"/>
                  <a:pt x="473" y="2049"/>
                  <a:pt x="1009" y="2049"/>
                </a:cubicBezTo>
                <a:lnTo>
                  <a:pt x="1356" y="2049"/>
                </a:lnTo>
                <a:lnTo>
                  <a:pt x="1356" y="2395"/>
                </a:lnTo>
                <a:cubicBezTo>
                  <a:pt x="1356" y="2994"/>
                  <a:pt x="1828" y="3403"/>
                  <a:pt x="2395" y="3403"/>
                </a:cubicBezTo>
                <a:lnTo>
                  <a:pt x="5546" y="3403"/>
                </a:lnTo>
                <a:lnTo>
                  <a:pt x="5546" y="4128"/>
                </a:lnTo>
                <a:lnTo>
                  <a:pt x="4506" y="4128"/>
                </a:lnTo>
                <a:cubicBezTo>
                  <a:pt x="3939" y="4128"/>
                  <a:pt x="3466" y="4601"/>
                  <a:pt x="3466" y="5136"/>
                </a:cubicBezTo>
                <a:lnTo>
                  <a:pt x="3466" y="6554"/>
                </a:lnTo>
                <a:cubicBezTo>
                  <a:pt x="3466" y="7153"/>
                  <a:pt x="3939" y="7594"/>
                  <a:pt x="4506" y="7594"/>
                </a:cubicBezTo>
                <a:lnTo>
                  <a:pt x="5546" y="7594"/>
                </a:lnTo>
                <a:lnTo>
                  <a:pt x="5546" y="8287"/>
                </a:lnTo>
                <a:lnTo>
                  <a:pt x="2395" y="8287"/>
                </a:lnTo>
                <a:cubicBezTo>
                  <a:pt x="1797" y="8287"/>
                  <a:pt x="1356" y="8759"/>
                  <a:pt x="1356" y="9326"/>
                </a:cubicBezTo>
                <a:lnTo>
                  <a:pt x="1356" y="9673"/>
                </a:lnTo>
                <a:lnTo>
                  <a:pt x="1009" y="9673"/>
                </a:lnTo>
                <a:cubicBezTo>
                  <a:pt x="410" y="9673"/>
                  <a:pt x="1" y="10146"/>
                  <a:pt x="1" y="10713"/>
                </a:cubicBezTo>
                <a:cubicBezTo>
                  <a:pt x="1" y="11280"/>
                  <a:pt x="473" y="11721"/>
                  <a:pt x="1009" y="11721"/>
                </a:cubicBezTo>
                <a:lnTo>
                  <a:pt x="2395" y="11721"/>
                </a:lnTo>
                <a:cubicBezTo>
                  <a:pt x="2994" y="11721"/>
                  <a:pt x="3403" y="11248"/>
                  <a:pt x="3403" y="10713"/>
                </a:cubicBezTo>
                <a:cubicBezTo>
                  <a:pt x="3403" y="10114"/>
                  <a:pt x="2931" y="9673"/>
                  <a:pt x="2395" y="9673"/>
                </a:cubicBezTo>
                <a:lnTo>
                  <a:pt x="2049" y="9673"/>
                </a:lnTo>
                <a:lnTo>
                  <a:pt x="2049" y="9326"/>
                </a:lnTo>
                <a:cubicBezTo>
                  <a:pt x="2049" y="9137"/>
                  <a:pt x="2206" y="8980"/>
                  <a:pt x="2395" y="8980"/>
                </a:cubicBezTo>
                <a:lnTo>
                  <a:pt x="5546" y="8980"/>
                </a:lnTo>
                <a:lnTo>
                  <a:pt x="5546" y="9673"/>
                </a:lnTo>
                <a:lnTo>
                  <a:pt x="5199" y="9673"/>
                </a:lnTo>
                <a:cubicBezTo>
                  <a:pt x="4601" y="9673"/>
                  <a:pt x="4160" y="10146"/>
                  <a:pt x="4160" y="10713"/>
                </a:cubicBezTo>
                <a:cubicBezTo>
                  <a:pt x="4160" y="11280"/>
                  <a:pt x="4632" y="11721"/>
                  <a:pt x="5199" y="11721"/>
                </a:cubicBezTo>
                <a:lnTo>
                  <a:pt x="6554" y="11721"/>
                </a:lnTo>
                <a:cubicBezTo>
                  <a:pt x="7153" y="11721"/>
                  <a:pt x="7594" y="11248"/>
                  <a:pt x="7594" y="10713"/>
                </a:cubicBezTo>
                <a:cubicBezTo>
                  <a:pt x="7594" y="10114"/>
                  <a:pt x="7121" y="9673"/>
                  <a:pt x="6554" y="9673"/>
                </a:cubicBezTo>
                <a:lnTo>
                  <a:pt x="6207" y="9673"/>
                </a:lnTo>
                <a:lnTo>
                  <a:pt x="6207" y="8980"/>
                </a:lnTo>
                <a:lnTo>
                  <a:pt x="9358" y="8980"/>
                </a:lnTo>
                <a:cubicBezTo>
                  <a:pt x="9547" y="8980"/>
                  <a:pt x="9704" y="9137"/>
                  <a:pt x="9704" y="9326"/>
                </a:cubicBezTo>
                <a:lnTo>
                  <a:pt x="9704" y="9673"/>
                </a:lnTo>
                <a:lnTo>
                  <a:pt x="9358" y="9673"/>
                </a:lnTo>
                <a:cubicBezTo>
                  <a:pt x="8759" y="9673"/>
                  <a:pt x="8350" y="10146"/>
                  <a:pt x="8350" y="10713"/>
                </a:cubicBezTo>
                <a:cubicBezTo>
                  <a:pt x="8350" y="11280"/>
                  <a:pt x="8791" y="11721"/>
                  <a:pt x="9358" y="11721"/>
                </a:cubicBezTo>
                <a:lnTo>
                  <a:pt x="10744" y="11721"/>
                </a:lnTo>
                <a:cubicBezTo>
                  <a:pt x="11311" y="11721"/>
                  <a:pt x="11752" y="11248"/>
                  <a:pt x="11752" y="10713"/>
                </a:cubicBezTo>
                <a:cubicBezTo>
                  <a:pt x="11752" y="10114"/>
                  <a:pt x="11280" y="9673"/>
                  <a:pt x="10744" y="9673"/>
                </a:cubicBezTo>
                <a:lnTo>
                  <a:pt x="10366" y="9673"/>
                </a:lnTo>
                <a:lnTo>
                  <a:pt x="10366" y="9326"/>
                </a:lnTo>
                <a:cubicBezTo>
                  <a:pt x="10366" y="8728"/>
                  <a:pt x="9925" y="8287"/>
                  <a:pt x="9358" y="8287"/>
                </a:cubicBezTo>
                <a:lnTo>
                  <a:pt x="6207" y="8287"/>
                </a:lnTo>
                <a:lnTo>
                  <a:pt x="6207" y="7594"/>
                </a:lnTo>
                <a:lnTo>
                  <a:pt x="7216" y="7594"/>
                </a:lnTo>
                <a:cubicBezTo>
                  <a:pt x="7814" y="7594"/>
                  <a:pt x="8287" y="7121"/>
                  <a:pt x="8287" y="6554"/>
                </a:cubicBezTo>
                <a:lnTo>
                  <a:pt x="8287" y="5136"/>
                </a:lnTo>
                <a:cubicBezTo>
                  <a:pt x="8287" y="4569"/>
                  <a:pt x="7814" y="4128"/>
                  <a:pt x="7216" y="4128"/>
                </a:cubicBezTo>
                <a:lnTo>
                  <a:pt x="6207" y="4128"/>
                </a:lnTo>
                <a:lnTo>
                  <a:pt x="6207" y="3403"/>
                </a:lnTo>
                <a:lnTo>
                  <a:pt x="9389" y="3403"/>
                </a:lnTo>
                <a:cubicBezTo>
                  <a:pt x="9988" y="3403"/>
                  <a:pt x="10429" y="2931"/>
                  <a:pt x="10429" y="2395"/>
                </a:cubicBezTo>
                <a:lnTo>
                  <a:pt x="10429" y="2049"/>
                </a:lnTo>
                <a:lnTo>
                  <a:pt x="10776" y="2049"/>
                </a:lnTo>
                <a:cubicBezTo>
                  <a:pt x="11374" y="2049"/>
                  <a:pt x="11815" y="1576"/>
                  <a:pt x="11815" y="1009"/>
                </a:cubicBezTo>
                <a:cubicBezTo>
                  <a:pt x="11815" y="411"/>
                  <a:pt x="11343" y="1"/>
                  <a:pt x="10776" y="1"/>
                </a:cubicBezTo>
                <a:lnTo>
                  <a:pt x="9389" y="1"/>
                </a:lnTo>
                <a:cubicBezTo>
                  <a:pt x="8822" y="1"/>
                  <a:pt x="8381" y="474"/>
                  <a:pt x="8381" y="1009"/>
                </a:cubicBezTo>
                <a:cubicBezTo>
                  <a:pt x="8381" y="1608"/>
                  <a:pt x="8854" y="2049"/>
                  <a:pt x="9389" y="2049"/>
                </a:cubicBezTo>
                <a:lnTo>
                  <a:pt x="9767" y="2049"/>
                </a:lnTo>
                <a:lnTo>
                  <a:pt x="9767" y="2395"/>
                </a:lnTo>
                <a:cubicBezTo>
                  <a:pt x="9767" y="2584"/>
                  <a:pt x="9610" y="2742"/>
                  <a:pt x="9389" y="2742"/>
                </a:cubicBezTo>
                <a:lnTo>
                  <a:pt x="6239" y="2742"/>
                </a:lnTo>
                <a:lnTo>
                  <a:pt x="6239" y="2049"/>
                </a:lnTo>
                <a:lnTo>
                  <a:pt x="6617" y="2049"/>
                </a:lnTo>
                <a:cubicBezTo>
                  <a:pt x="7184" y="2049"/>
                  <a:pt x="7625" y="1576"/>
                  <a:pt x="7625" y="1009"/>
                </a:cubicBezTo>
                <a:cubicBezTo>
                  <a:pt x="7625" y="411"/>
                  <a:pt x="7153" y="1"/>
                  <a:pt x="6617" y="1"/>
                </a:cubicBezTo>
                <a:lnTo>
                  <a:pt x="5231" y="1"/>
                </a:lnTo>
                <a:cubicBezTo>
                  <a:pt x="4632" y="1"/>
                  <a:pt x="4191" y="474"/>
                  <a:pt x="4191" y="1009"/>
                </a:cubicBezTo>
                <a:cubicBezTo>
                  <a:pt x="4191" y="1608"/>
                  <a:pt x="4664" y="2049"/>
                  <a:pt x="5231" y="2049"/>
                </a:cubicBezTo>
                <a:lnTo>
                  <a:pt x="5577" y="2049"/>
                </a:lnTo>
                <a:lnTo>
                  <a:pt x="5577" y="2742"/>
                </a:lnTo>
                <a:lnTo>
                  <a:pt x="2427" y="2742"/>
                </a:lnTo>
                <a:cubicBezTo>
                  <a:pt x="2238" y="2742"/>
                  <a:pt x="2080" y="2584"/>
                  <a:pt x="2080" y="2395"/>
                </a:cubicBezTo>
                <a:lnTo>
                  <a:pt x="2080" y="2049"/>
                </a:lnTo>
                <a:lnTo>
                  <a:pt x="2427" y="2049"/>
                </a:lnTo>
                <a:cubicBezTo>
                  <a:pt x="3025" y="2049"/>
                  <a:pt x="3466" y="1576"/>
                  <a:pt x="3466" y="1009"/>
                </a:cubicBezTo>
                <a:cubicBezTo>
                  <a:pt x="3466" y="411"/>
                  <a:pt x="2994" y="1"/>
                  <a:pt x="2427"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nvGrpSpPr>
          <p:cNvPr id="10139" name="Google Shape;10139;p111"/>
          <p:cNvGrpSpPr/>
          <p:nvPr/>
        </p:nvGrpSpPr>
        <p:grpSpPr>
          <a:xfrm>
            <a:off x="7671997" y="3232659"/>
            <a:ext cx="468420" cy="468067"/>
            <a:chOff x="1413250" y="2680675"/>
            <a:chExt cx="297750" cy="297525"/>
          </a:xfrm>
        </p:grpSpPr>
        <p:sp>
          <p:nvSpPr>
            <p:cNvPr id="10140" name="Google Shape;10140;p111"/>
            <p:cNvSpPr/>
            <p:nvPr/>
          </p:nvSpPr>
          <p:spPr>
            <a:xfrm>
              <a:off x="1413250" y="2680675"/>
              <a:ext cx="297750" cy="297525"/>
            </a:xfrm>
            <a:custGeom>
              <a:avLst/>
              <a:gdLst/>
              <a:ahLst/>
              <a:cxnLst/>
              <a:rect l="l" t="t" r="r" b="b"/>
              <a:pathLst>
                <a:path w="11910" h="11901" extrusionOk="0">
                  <a:moveTo>
                    <a:pt x="10460" y="1418"/>
                  </a:moveTo>
                  <a:lnTo>
                    <a:pt x="10460" y="7719"/>
                  </a:lnTo>
                  <a:lnTo>
                    <a:pt x="1387" y="7719"/>
                  </a:lnTo>
                  <a:lnTo>
                    <a:pt x="1387" y="1418"/>
                  </a:lnTo>
                  <a:close/>
                  <a:moveTo>
                    <a:pt x="5577" y="8380"/>
                  </a:moveTo>
                  <a:lnTo>
                    <a:pt x="5577" y="9105"/>
                  </a:lnTo>
                  <a:lnTo>
                    <a:pt x="5167" y="9105"/>
                  </a:lnTo>
                  <a:lnTo>
                    <a:pt x="5451" y="8380"/>
                  </a:lnTo>
                  <a:close/>
                  <a:moveTo>
                    <a:pt x="6396" y="8380"/>
                  </a:moveTo>
                  <a:lnTo>
                    <a:pt x="6679" y="9105"/>
                  </a:lnTo>
                  <a:lnTo>
                    <a:pt x="6270" y="9105"/>
                  </a:lnTo>
                  <a:lnTo>
                    <a:pt x="6270" y="8380"/>
                  </a:lnTo>
                  <a:close/>
                  <a:moveTo>
                    <a:pt x="5955" y="0"/>
                  </a:moveTo>
                  <a:cubicBezTo>
                    <a:pt x="5766" y="0"/>
                    <a:pt x="5608" y="158"/>
                    <a:pt x="5608" y="347"/>
                  </a:cubicBezTo>
                  <a:lnTo>
                    <a:pt x="5608" y="725"/>
                  </a:lnTo>
                  <a:lnTo>
                    <a:pt x="378" y="725"/>
                  </a:lnTo>
                  <a:cubicBezTo>
                    <a:pt x="158" y="725"/>
                    <a:pt x="0" y="882"/>
                    <a:pt x="0" y="1071"/>
                  </a:cubicBezTo>
                  <a:cubicBezTo>
                    <a:pt x="0" y="1260"/>
                    <a:pt x="158" y="1418"/>
                    <a:pt x="378" y="1418"/>
                  </a:cubicBezTo>
                  <a:lnTo>
                    <a:pt x="725" y="1418"/>
                  </a:lnTo>
                  <a:lnTo>
                    <a:pt x="725" y="7719"/>
                  </a:lnTo>
                  <a:lnTo>
                    <a:pt x="378" y="7719"/>
                  </a:lnTo>
                  <a:cubicBezTo>
                    <a:pt x="189" y="7719"/>
                    <a:pt x="32" y="7876"/>
                    <a:pt x="32" y="8097"/>
                  </a:cubicBezTo>
                  <a:cubicBezTo>
                    <a:pt x="32" y="8286"/>
                    <a:pt x="189" y="8443"/>
                    <a:pt x="378" y="8443"/>
                  </a:cubicBezTo>
                  <a:lnTo>
                    <a:pt x="4758" y="8443"/>
                  </a:lnTo>
                  <a:lnTo>
                    <a:pt x="3560" y="11436"/>
                  </a:lnTo>
                  <a:cubicBezTo>
                    <a:pt x="3497" y="11625"/>
                    <a:pt x="3560" y="11814"/>
                    <a:pt x="3749" y="11877"/>
                  </a:cubicBezTo>
                  <a:cubicBezTo>
                    <a:pt x="3803" y="11893"/>
                    <a:pt x="3855" y="11901"/>
                    <a:pt x="3903" y="11901"/>
                  </a:cubicBezTo>
                  <a:cubicBezTo>
                    <a:pt x="4052" y="11901"/>
                    <a:pt x="4167" y="11824"/>
                    <a:pt x="4191" y="11657"/>
                  </a:cubicBezTo>
                  <a:lnTo>
                    <a:pt x="4947" y="9830"/>
                  </a:lnTo>
                  <a:lnTo>
                    <a:pt x="5608" y="9830"/>
                  </a:lnTo>
                  <a:lnTo>
                    <a:pt x="5608" y="10838"/>
                  </a:lnTo>
                  <a:cubicBezTo>
                    <a:pt x="5608" y="11027"/>
                    <a:pt x="5766" y="11184"/>
                    <a:pt x="5955" y="11184"/>
                  </a:cubicBezTo>
                  <a:cubicBezTo>
                    <a:pt x="6175" y="11184"/>
                    <a:pt x="6333" y="11027"/>
                    <a:pt x="6333" y="10838"/>
                  </a:cubicBezTo>
                  <a:lnTo>
                    <a:pt x="6333" y="9830"/>
                  </a:lnTo>
                  <a:lnTo>
                    <a:pt x="6995" y="9830"/>
                  </a:lnTo>
                  <a:lnTo>
                    <a:pt x="7751" y="11657"/>
                  </a:lnTo>
                  <a:cubicBezTo>
                    <a:pt x="7798" y="11824"/>
                    <a:pt x="7918" y="11901"/>
                    <a:pt x="8042" y="11901"/>
                  </a:cubicBezTo>
                  <a:cubicBezTo>
                    <a:pt x="8082" y="11901"/>
                    <a:pt x="8122" y="11893"/>
                    <a:pt x="8160" y="11877"/>
                  </a:cubicBezTo>
                  <a:cubicBezTo>
                    <a:pt x="8381" y="11783"/>
                    <a:pt x="8444" y="11594"/>
                    <a:pt x="8381" y="11436"/>
                  </a:cubicBezTo>
                  <a:lnTo>
                    <a:pt x="7184" y="8443"/>
                  </a:lnTo>
                  <a:lnTo>
                    <a:pt x="11563" y="8443"/>
                  </a:lnTo>
                  <a:cubicBezTo>
                    <a:pt x="11752" y="8443"/>
                    <a:pt x="11909" y="8286"/>
                    <a:pt x="11909" y="8097"/>
                  </a:cubicBezTo>
                  <a:cubicBezTo>
                    <a:pt x="11909" y="7876"/>
                    <a:pt x="11752" y="7719"/>
                    <a:pt x="11563" y="7719"/>
                  </a:cubicBezTo>
                  <a:lnTo>
                    <a:pt x="11185" y="7719"/>
                  </a:lnTo>
                  <a:lnTo>
                    <a:pt x="11185" y="1418"/>
                  </a:lnTo>
                  <a:lnTo>
                    <a:pt x="11563" y="1418"/>
                  </a:lnTo>
                  <a:cubicBezTo>
                    <a:pt x="11752" y="1418"/>
                    <a:pt x="11909" y="1260"/>
                    <a:pt x="11909" y="1071"/>
                  </a:cubicBezTo>
                  <a:cubicBezTo>
                    <a:pt x="11909" y="882"/>
                    <a:pt x="11752" y="725"/>
                    <a:pt x="11563" y="725"/>
                  </a:cubicBezTo>
                  <a:lnTo>
                    <a:pt x="6301" y="725"/>
                  </a:lnTo>
                  <a:lnTo>
                    <a:pt x="6301" y="347"/>
                  </a:lnTo>
                  <a:cubicBezTo>
                    <a:pt x="6301" y="158"/>
                    <a:pt x="6144" y="0"/>
                    <a:pt x="5955"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141" name="Google Shape;10141;p111"/>
            <p:cNvSpPr/>
            <p:nvPr/>
          </p:nvSpPr>
          <p:spPr>
            <a:xfrm>
              <a:off x="1465225" y="2805100"/>
              <a:ext cx="52800" cy="52025"/>
            </a:xfrm>
            <a:custGeom>
              <a:avLst/>
              <a:gdLst/>
              <a:ahLst/>
              <a:cxnLst/>
              <a:rect l="l" t="t" r="r" b="b"/>
              <a:pathLst>
                <a:path w="2112" h="2081" extrusionOk="0">
                  <a:moveTo>
                    <a:pt x="1387" y="663"/>
                  </a:moveTo>
                  <a:lnTo>
                    <a:pt x="1387" y="1387"/>
                  </a:lnTo>
                  <a:lnTo>
                    <a:pt x="694" y="1387"/>
                  </a:lnTo>
                  <a:lnTo>
                    <a:pt x="694" y="663"/>
                  </a:lnTo>
                  <a:close/>
                  <a:moveTo>
                    <a:pt x="347" y="1"/>
                  </a:moveTo>
                  <a:cubicBezTo>
                    <a:pt x="158" y="1"/>
                    <a:pt x="1" y="158"/>
                    <a:pt x="1" y="347"/>
                  </a:cubicBezTo>
                  <a:lnTo>
                    <a:pt x="1" y="1734"/>
                  </a:lnTo>
                  <a:cubicBezTo>
                    <a:pt x="1" y="1923"/>
                    <a:pt x="158" y="2080"/>
                    <a:pt x="347" y="2080"/>
                  </a:cubicBezTo>
                  <a:lnTo>
                    <a:pt x="1765" y="2080"/>
                  </a:lnTo>
                  <a:cubicBezTo>
                    <a:pt x="1954" y="2080"/>
                    <a:pt x="2112" y="1923"/>
                    <a:pt x="2112" y="1734"/>
                  </a:cubicBezTo>
                  <a:lnTo>
                    <a:pt x="2112" y="347"/>
                  </a:lnTo>
                  <a:cubicBezTo>
                    <a:pt x="2112" y="158"/>
                    <a:pt x="1954" y="1"/>
                    <a:pt x="1765"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142" name="Google Shape;10142;p111"/>
            <p:cNvSpPr/>
            <p:nvPr/>
          </p:nvSpPr>
          <p:spPr>
            <a:xfrm>
              <a:off x="1535325" y="2769675"/>
              <a:ext cx="52800" cy="87450"/>
            </a:xfrm>
            <a:custGeom>
              <a:avLst/>
              <a:gdLst/>
              <a:ahLst/>
              <a:cxnLst/>
              <a:rect l="l" t="t" r="r" b="b"/>
              <a:pathLst>
                <a:path w="2112" h="3498" extrusionOk="0">
                  <a:moveTo>
                    <a:pt x="1387" y="662"/>
                  </a:moveTo>
                  <a:lnTo>
                    <a:pt x="1387" y="2741"/>
                  </a:lnTo>
                  <a:lnTo>
                    <a:pt x="694" y="2741"/>
                  </a:lnTo>
                  <a:lnTo>
                    <a:pt x="694" y="662"/>
                  </a:lnTo>
                  <a:close/>
                  <a:moveTo>
                    <a:pt x="379" y="0"/>
                  </a:moveTo>
                  <a:cubicBezTo>
                    <a:pt x="158" y="0"/>
                    <a:pt x="1" y="158"/>
                    <a:pt x="1" y="347"/>
                  </a:cubicBezTo>
                  <a:lnTo>
                    <a:pt x="1" y="3151"/>
                  </a:lnTo>
                  <a:cubicBezTo>
                    <a:pt x="1" y="3340"/>
                    <a:pt x="158" y="3497"/>
                    <a:pt x="379" y="3497"/>
                  </a:cubicBezTo>
                  <a:lnTo>
                    <a:pt x="1733" y="3497"/>
                  </a:lnTo>
                  <a:lnTo>
                    <a:pt x="1733" y="3466"/>
                  </a:lnTo>
                  <a:cubicBezTo>
                    <a:pt x="1954" y="3466"/>
                    <a:pt x="2112" y="3308"/>
                    <a:pt x="2112" y="3119"/>
                  </a:cubicBezTo>
                  <a:lnTo>
                    <a:pt x="2112" y="347"/>
                  </a:lnTo>
                  <a:cubicBezTo>
                    <a:pt x="2112" y="158"/>
                    <a:pt x="1954" y="0"/>
                    <a:pt x="1733"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143" name="Google Shape;10143;p111"/>
            <p:cNvSpPr/>
            <p:nvPr/>
          </p:nvSpPr>
          <p:spPr>
            <a:xfrm>
              <a:off x="1604650" y="2733425"/>
              <a:ext cx="52775" cy="122900"/>
            </a:xfrm>
            <a:custGeom>
              <a:avLst/>
              <a:gdLst/>
              <a:ahLst/>
              <a:cxnLst/>
              <a:rect l="l" t="t" r="r" b="b"/>
              <a:pathLst>
                <a:path w="2111" h="4916" extrusionOk="0">
                  <a:moveTo>
                    <a:pt x="1418" y="726"/>
                  </a:moveTo>
                  <a:lnTo>
                    <a:pt x="1418" y="4254"/>
                  </a:lnTo>
                  <a:lnTo>
                    <a:pt x="725" y="4254"/>
                  </a:lnTo>
                  <a:lnTo>
                    <a:pt x="725" y="726"/>
                  </a:lnTo>
                  <a:close/>
                  <a:moveTo>
                    <a:pt x="347" y="1"/>
                  </a:moveTo>
                  <a:cubicBezTo>
                    <a:pt x="158" y="1"/>
                    <a:pt x="0" y="159"/>
                    <a:pt x="0" y="348"/>
                  </a:cubicBezTo>
                  <a:lnTo>
                    <a:pt x="0" y="4569"/>
                  </a:lnTo>
                  <a:cubicBezTo>
                    <a:pt x="0" y="4758"/>
                    <a:pt x="158" y="4916"/>
                    <a:pt x="347" y="4916"/>
                  </a:cubicBezTo>
                  <a:lnTo>
                    <a:pt x="1764" y="4916"/>
                  </a:lnTo>
                  <a:cubicBezTo>
                    <a:pt x="1953" y="4916"/>
                    <a:pt x="2111" y="4758"/>
                    <a:pt x="2111" y="4569"/>
                  </a:cubicBezTo>
                  <a:lnTo>
                    <a:pt x="2111" y="348"/>
                  </a:lnTo>
                  <a:cubicBezTo>
                    <a:pt x="2111" y="159"/>
                    <a:pt x="1953" y="1"/>
                    <a:pt x="1764"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sp>
        <p:nvSpPr>
          <p:cNvPr id="10144" name="Google Shape;10144;p111"/>
          <p:cNvSpPr/>
          <p:nvPr/>
        </p:nvSpPr>
        <p:spPr>
          <a:xfrm>
            <a:off x="10683144" y="2042593"/>
            <a:ext cx="360617" cy="465903"/>
          </a:xfrm>
          <a:custGeom>
            <a:avLst/>
            <a:gdLst/>
            <a:ahLst/>
            <a:cxnLst/>
            <a:rect l="l" t="t" r="r" b="b"/>
            <a:pathLst>
              <a:path w="9169" h="11846" extrusionOk="0">
                <a:moveTo>
                  <a:pt x="4695" y="2079"/>
                </a:moveTo>
                <a:cubicBezTo>
                  <a:pt x="5073" y="2079"/>
                  <a:pt x="5388" y="2394"/>
                  <a:pt x="5388" y="2772"/>
                </a:cubicBezTo>
                <a:cubicBezTo>
                  <a:pt x="5388" y="3181"/>
                  <a:pt x="5073" y="3496"/>
                  <a:pt x="4695" y="3496"/>
                </a:cubicBezTo>
                <a:cubicBezTo>
                  <a:pt x="4285" y="3496"/>
                  <a:pt x="3970" y="3181"/>
                  <a:pt x="3970" y="2772"/>
                </a:cubicBezTo>
                <a:cubicBezTo>
                  <a:pt x="3970" y="2394"/>
                  <a:pt x="4285" y="2079"/>
                  <a:pt x="4695" y="2079"/>
                </a:cubicBezTo>
                <a:close/>
                <a:moveTo>
                  <a:pt x="4695" y="4189"/>
                </a:moveTo>
                <a:cubicBezTo>
                  <a:pt x="5640" y="4189"/>
                  <a:pt x="6428" y="4977"/>
                  <a:pt x="6428" y="5922"/>
                </a:cubicBezTo>
                <a:lnTo>
                  <a:pt x="6428" y="6300"/>
                </a:lnTo>
                <a:lnTo>
                  <a:pt x="2962" y="6300"/>
                </a:lnTo>
                <a:lnTo>
                  <a:pt x="2962" y="5922"/>
                </a:lnTo>
                <a:cubicBezTo>
                  <a:pt x="2962" y="4945"/>
                  <a:pt x="3750" y="4189"/>
                  <a:pt x="4695" y="4189"/>
                </a:cubicBezTo>
                <a:close/>
                <a:moveTo>
                  <a:pt x="4730" y="664"/>
                </a:moveTo>
                <a:cubicBezTo>
                  <a:pt x="6870" y="664"/>
                  <a:pt x="8538" y="2418"/>
                  <a:pt x="8538" y="4473"/>
                </a:cubicBezTo>
                <a:cubicBezTo>
                  <a:pt x="8538" y="5544"/>
                  <a:pt x="8097" y="6552"/>
                  <a:pt x="7310" y="7277"/>
                </a:cubicBezTo>
                <a:cubicBezTo>
                  <a:pt x="7215" y="7403"/>
                  <a:pt x="7121" y="7466"/>
                  <a:pt x="6995" y="7497"/>
                </a:cubicBezTo>
                <a:cubicBezTo>
                  <a:pt x="6774" y="7718"/>
                  <a:pt x="6522" y="7907"/>
                  <a:pt x="6459" y="8285"/>
                </a:cubicBezTo>
                <a:lnTo>
                  <a:pt x="5041" y="8285"/>
                </a:lnTo>
                <a:lnTo>
                  <a:pt x="5041" y="6993"/>
                </a:lnTo>
                <a:lnTo>
                  <a:pt x="6774" y="6993"/>
                </a:lnTo>
                <a:cubicBezTo>
                  <a:pt x="6963" y="6993"/>
                  <a:pt x="7121" y="6836"/>
                  <a:pt x="7121" y="6647"/>
                </a:cubicBezTo>
                <a:lnTo>
                  <a:pt x="7121" y="5922"/>
                </a:lnTo>
                <a:cubicBezTo>
                  <a:pt x="7121" y="4945"/>
                  <a:pt x="6585" y="4126"/>
                  <a:pt x="5734" y="3717"/>
                </a:cubicBezTo>
                <a:cubicBezTo>
                  <a:pt x="5987" y="3496"/>
                  <a:pt x="6113" y="3181"/>
                  <a:pt x="6113" y="2835"/>
                </a:cubicBezTo>
                <a:cubicBezTo>
                  <a:pt x="6113" y="2079"/>
                  <a:pt x="5482" y="1448"/>
                  <a:pt x="4726" y="1448"/>
                </a:cubicBezTo>
                <a:cubicBezTo>
                  <a:pt x="3970" y="1448"/>
                  <a:pt x="3340" y="2079"/>
                  <a:pt x="3340" y="2835"/>
                </a:cubicBezTo>
                <a:cubicBezTo>
                  <a:pt x="3340" y="3181"/>
                  <a:pt x="3466" y="3496"/>
                  <a:pt x="3687" y="3717"/>
                </a:cubicBezTo>
                <a:cubicBezTo>
                  <a:pt x="2868" y="4126"/>
                  <a:pt x="2332" y="4945"/>
                  <a:pt x="2332" y="5922"/>
                </a:cubicBezTo>
                <a:lnTo>
                  <a:pt x="2332" y="6647"/>
                </a:lnTo>
                <a:cubicBezTo>
                  <a:pt x="2332" y="6836"/>
                  <a:pt x="2489" y="6993"/>
                  <a:pt x="2679" y="6993"/>
                </a:cubicBezTo>
                <a:lnTo>
                  <a:pt x="4411" y="6993"/>
                </a:lnTo>
                <a:lnTo>
                  <a:pt x="4411" y="8411"/>
                </a:lnTo>
                <a:lnTo>
                  <a:pt x="2931" y="8411"/>
                </a:lnTo>
                <a:lnTo>
                  <a:pt x="2931" y="8380"/>
                </a:lnTo>
                <a:cubicBezTo>
                  <a:pt x="2836" y="7938"/>
                  <a:pt x="2615" y="7749"/>
                  <a:pt x="2363" y="7560"/>
                </a:cubicBezTo>
                <a:cubicBezTo>
                  <a:pt x="2300" y="7466"/>
                  <a:pt x="2174" y="7403"/>
                  <a:pt x="2048" y="7277"/>
                </a:cubicBezTo>
                <a:cubicBezTo>
                  <a:pt x="1135" y="6395"/>
                  <a:pt x="757" y="5135"/>
                  <a:pt x="946" y="3874"/>
                </a:cubicBezTo>
                <a:cubicBezTo>
                  <a:pt x="1198" y="2236"/>
                  <a:pt x="2615" y="881"/>
                  <a:pt x="4254" y="692"/>
                </a:cubicBezTo>
                <a:cubicBezTo>
                  <a:pt x="4415" y="673"/>
                  <a:pt x="4574" y="664"/>
                  <a:pt x="4730" y="664"/>
                </a:cubicBezTo>
                <a:close/>
                <a:moveTo>
                  <a:pt x="6428" y="9073"/>
                </a:moveTo>
                <a:lnTo>
                  <a:pt x="6428" y="9419"/>
                </a:lnTo>
                <a:cubicBezTo>
                  <a:pt x="6428" y="9640"/>
                  <a:pt x="6270" y="9797"/>
                  <a:pt x="6081" y="9797"/>
                </a:cubicBezTo>
                <a:lnTo>
                  <a:pt x="3309" y="9797"/>
                </a:lnTo>
                <a:cubicBezTo>
                  <a:pt x="3120" y="9797"/>
                  <a:pt x="2962" y="9640"/>
                  <a:pt x="2962" y="9419"/>
                </a:cubicBezTo>
                <a:lnTo>
                  <a:pt x="2962" y="9073"/>
                </a:lnTo>
                <a:close/>
                <a:moveTo>
                  <a:pt x="5703" y="10459"/>
                </a:moveTo>
                <a:lnTo>
                  <a:pt x="5703" y="10805"/>
                </a:lnTo>
                <a:cubicBezTo>
                  <a:pt x="5703" y="10994"/>
                  <a:pt x="5545" y="11183"/>
                  <a:pt x="5356" y="11183"/>
                </a:cubicBezTo>
                <a:lnTo>
                  <a:pt x="3970" y="11183"/>
                </a:lnTo>
                <a:cubicBezTo>
                  <a:pt x="3781" y="11183"/>
                  <a:pt x="3624" y="10994"/>
                  <a:pt x="3624" y="10805"/>
                </a:cubicBezTo>
                <a:lnTo>
                  <a:pt x="3624" y="10459"/>
                </a:lnTo>
                <a:close/>
                <a:moveTo>
                  <a:pt x="4662" y="0"/>
                </a:moveTo>
                <a:cubicBezTo>
                  <a:pt x="4486" y="0"/>
                  <a:pt x="4308" y="10"/>
                  <a:pt x="4128" y="31"/>
                </a:cubicBezTo>
                <a:cubicBezTo>
                  <a:pt x="2174" y="251"/>
                  <a:pt x="568" y="1827"/>
                  <a:pt x="253" y="3780"/>
                </a:cubicBezTo>
                <a:cubicBezTo>
                  <a:pt x="1" y="5229"/>
                  <a:pt x="505" y="6710"/>
                  <a:pt x="1576" y="7749"/>
                </a:cubicBezTo>
                <a:cubicBezTo>
                  <a:pt x="1733" y="7875"/>
                  <a:pt x="1859" y="7970"/>
                  <a:pt x="1922" y="8064"/>
                </a:cubicBezTo>
                <a:cubicBezTo>
                  <a:pt x="2206" y="8285"/>
                  <a:pt x="2237" y="8348"/>
                  <a:pt x="2237" y="8695"/>
                </a:cubicBezTo>
                <a:lnTo>
                  <a:pt x="2237" y="9388"/>
                </a:lnTo>
                <a:cubicBezTo>
                  <a:pt x="2237" y="9829"/>
                  <a:pt x="2521" y="10238"/>
                  <a:pt x="2962" y="10396"/>
                </a:cubicBezTo>
                <a:lnTo>
                  <a:pt x="2962" y="10774"/>
                </a:lnTo>
                <a:cubicBezTo>
                  <a:pt x="2962" y="11404"/>
                  <a:pt x="3435" y="11845"/>
                  <a:pt x="3970" y="11845"/>
                </a:cubicBezTo>
                <a:lnTo>
                  <a:pt x="5356" y="11845"/>
                </a:lnTo>
                <a:cubicBezTo>
                  <a:pt x="5955" y="11845"/>
                  <a:pt x="6396" y="11372"/>
                  <a:pt x="6396" y="10805"/>
                </a:cubicBezTo>
                <a:lnTo>
                  <a:pt x="6396" y="10427"/>
                </a:lnTo>
                <a:cubicBezTo>
                  <a:pt x="6774" y="10270"/>
                  <a:pt x="7089" y="9923"/>
                  <a:pt x="7089" y="9451"/>
                </a:cubicBezTo>
                <a:lnTo>
                  <a:pt x="7089" y="8726"/>
                </a:lnTo>
                <a:cubicBezTo>
                  <a:pt x="7089" y="8380"/>
                  <a:pt x="7121" y="8348"/>
                  <a:pt x="7404" y="8096"/>
                </a:cubicBezTo>
                <a:cubicBezTo>
                  <a:pt x="7499" y="8033"/>
                  <a:pt x="7593" y="7938"/>
                  <a:pt x="7751" y="7812"/>
                </a:cubicBezTo>
                <a:cubicBezTo>
                  <a:pt x="8664" y="6962"/>
                  <a:pt x="9169" y="5765"/>
                  <a:pt x="9169" y="4504"/>
                </a:cubicBezTo>
                <a:cubicBezTo>
                  <a:pt x="9169" y="2060"/>
                  <a:pt x="7186" y="0"/>
                  <a:pt x="4662"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145" name="Google Shape;10145;p111"/>
          <p:cNvSpPr/>
          <p:nvPr/>
        </p:nvSpPr>
        <p:spPr>
          <a:xfrm>
            <a:off x="10619331" y="2645509"/>
            <a:ext cx="488243" cy="464055"/>
          </a:xfrm>
          <a:custGeom>
            <a:avLst/>
            <a:gdLst/>
            <a:ahLst/>
            <a:cxnLst/>
            <a:rect l="l" t="t" r="r" b="b"/>
            <a:pathLst>
              <a:path w="12414" h="11799" extrusionOk="0">
                <a:moveTo>
                  <a:pt x="8979" y="2127"/>
                </a:moveTo>
                <a:cubicBezTo>
                  <a:pt x="9247" y="2127"/>
                  <a:pt x="9515" y="2229"/>
                  <a:pt x="9704" y="2434"/>
                </a:cubicBezTo>
                <a:cubicBezTo>
                  <a:pt x="10113" y="2812"/>
                  <a:pt x="10113" y="3473"/>
                  <a:pt x="9704" y="3883"/>
                </a:cubicBezTo>
                <a:lnTo>
                  <a:pt x="8885" y="4702"/>
                </a:lnTo>
                <a:cubicBezTo>
                  <a:pt x="8790" y="4765"/>
                  <a:pt x="8696" y="4860"/>
                  <a:pt x="8601" y="4891"/>
                </a:cubicBezTo>
                <a:cubicBezTo>
                  <a:pt x="8790" y="4513"/>
                  <a:pt x="8727" y="4041"/>
                  <a:pt x="8412" y="3726"/>
                </a:cubicBezTo>
                <a:cubicBezTo>
                  <a:pt x="8206" y="3520"/>
                  <a:pt x="7933" y="3408"/>
                  <a:pt x="7654" y="3408"/>
                </a:cubicBezTo>
                <a:cubicBezTo>
                  <a:pt x="7507" y="3408"/>
                  <a:pt x="7357" y="3439"/>
                  <a:pt x="7215" y="3505"/>
                </a:cubicBezTo>
                <a:cubicBezTo>
                  <a:pt x="7278" y="3410"/>
                  <a:pt x="7341" y="3316"/>
                  <a:pt x="7436" y="3253"/>
                </a:cubicBezTo>
                <a:lnTo>
                  <a:pt x="8255" y="2434"/>
                </a:lnTo>
                <a:cubicBezTo>
                  <a:pt x="8444" y="2229"/>
                  <a:pt x="8711" y="2127"/>
                  <a:pt x="8979" y="2127"/>
                </a:cubicBezTo>
                <a:close/>
                <a:moveTo>
                  <a:pt x="9027" y="685"/>
                </a:moveTo>
                <a:cubicBezTo>
                  <a:pt x="9649" y="685"/>
                  <a:pt x="10271" y="922"/>
                  <a:pt x="10744" y="1394"/>
                </a:cubicBezTo>
                <a:cubicBezTo>
                  <a:pt x="11689" y="2339"/>
                  <a:pt x="11689" y="3883"/>
                  <a:pt x="10744" y="4828"/>
                </a:cubicBezTo>
                <a:lnTo>
                  <a:pt x="9893" y="5647"/>
                </a:lnTo>
                <a:cubicBezTo>
                  <a:pt x="9431" y="6109"/>
                  <a:pt x="8816" y="6356"/>
                  <a:pt x="8187" y="6356"/>
                </a:cubicBezTo>
                <a:cubicBezTo>
                  <a:pt x="7914" y="6356"/>
                  <a:pt x="7639" y="6310"/>
                  <a:pt x="7373" y="6214"/>
                </a:cubicBezTo>
                <a:lnTo>
                  <a:pt x="7940" y="5647"/>
                </a:lnTo>
                <a:cubicBezTo>
                  <a:pt x="8008" y="5655"/>
                  <a:pt x="8077" y="5659"/>
                  <a:pt x="8146" y="5659"/>
                </a:cubicBezTo>
                <a:cubicBezTo>
                  <a:pt x="8617" y="5659"/>
                  <a:pt x="9087" y="5477"/>
                  <a:pt x="9389" y="5175"/>
                </a:cubicBezTo>
                <a:lnTo>
                  <a:pt x="10208" y="4356"/>
                </a:lnTo>
                <a:cubicBezTo>
                  <a:pt x="10901" y="3694"/>
                  <a:pt x="10901" y="2591"/>
                  <a:pt x="10208" y="1898"/>
                </a:cubicBezTo>
                <a:cubicBezTo>
                  <a:pt x="9877" y="1567"/>
                  <a:pt x="9436" y="1402"/>
                  <a:pt x="8995" y="1402"/>
                </a:cubicBezTo>
                <a:cubicBezTo>
                  <a:pt x="8554" y="1402"/>
                  <a:pt x="8113" y="1567"/>
                  <a:pt x="7782" y="1898"/>
                </a:cubicBezTo>
                <a:lnTo>
                  <a:pt x="6931" y="2749"/>
                </a:lnTo>
                <a:cubicBezTo>
                  <a:pt x="6553" y="3127"/>
                  <a:pt x="6396" y="3694"/>
                  <a:pt x="6490" y="4198"/>
                </a:cubicBezTo>
                <a:lnTo>
                  <a:pt x="5923" y="4734"/>
                </a:lnTo>
                <a:cubicBezTo>
                  <a:pt x="5608" y="3883"/>
                  <a:pt x="5797" y="2906"/>
                  <a:pt x="6490" y="2213"/>
                </a:cubicBezTo>
                <a:lnTo>
                  <a:pt x="7309" y="1394"/>
                </a:lnTo>
                <a:cubicBezTo>
                  <a:pt x="7782" y="922"/>
                  <a:pt x="8404" y="685"/>
                  <a:pt x="9027" y="685"/>
                </a:cubicBezTo>
                <a:close/>
                <a:moveTo>
                  <a:pt x="7703" y="4104"/>
                </a:moveTo>
                <a:cubicBezTo>
                  <a:pt x="7790" y="4104"/>
                  <a:pt x="7877" y="4135"/>
                  <a:pt x="7940" y="4198"/>
                </a:cubicBezTo>
                <a:cubicBezTo>
                  <a:pt x="8066" y="4324"/>
                  <a:pt x="8066" y="4545"/>
                  <a:pt x="7940" y="4671"/>
                </a:cubicBezTo>
                <a:lnTo>
                  <a:pt x="4978" y="7632"/>
                </a:lnTo>
                <a:cubicBezTo>
                  <a:pt x="4915" y="7679"/>
                  <a:pt x="4828" y="7703"/>
                  <a:pt x="4742" y="7703"/>
                </a:cubicBezTo>
                <a:cubicBezTo>
                  <a:pt x="4655" y="7703"/>
                  <a:pt x="4569" y="7679"/>
                  <a:pt x="4506" y="7632"/>
                </a:cubicBezTo>
                <a:cubicBezTo>
                  <a:pt x="4380" y="7506"/>
                  <a:pt x="4380" y="7254"/>
                  <a:pt x="4506" y="7160"/>
                </a:cubicBezTo>
                <a:lnTo>
                  <a:pt x="7467" y="4198"/>
                </a:lnTo>
                <a:cubicBezTo>
                  <a:pt x="7530" y="4135"/>
                  <a:pt x="7617" y="4104"/>
                  <a:pt x="7703" y="4104"/>
                </a:cubicBezTo>
                <a:close/>
                <a:moveTo>
                  <a:pt x="3781" y="6939"/>
                </a:moveTo>
                <a:lnTo>
                  <a:pt x="3781" y="6939"/>
                </a:lnTo>
                <a:cubicBezTo>
                  <a:pt x="3592" y="7349"/>
                  <a:pt x="3686" y="7821"/>
                  <a:pt x="4001" y="8136"/>
                </a:cubicBezTo>
                <a:cubicBezTo>
                  <a:pt x="4198" y="8333"/>
                  <a:pt x="4457" y="8432"/>
                  <a:pt x="4715" y="8432"/>
                </a:cubicBezTo>
                <a:cubicBezTo>
                  <a:pt x="4870" y="8432"/>
                  <a:pt x="5025" y="8396"/>
                  <a:pt x="5167" y="8325"/>
                </a:cubicBezTo>
                <a:lnTo>
                  <a:pt x="5167" y="8325"/>
                </a:lnTo>
                <a:cubicBezTo>
                  <a:pt x="5136" y="8451"/>
                  <a:pt x="5041" y="8514"/>
                  <a:pt x="4978" y="8609"/>
                </a:cubicBezTo>
                <a:lnTo>
                  <a:pt x="4159" y="9428"/>
                </a:lnTo>
                <a:cubicBezTo>
                  <a:pt x="3954" y="9633"/>
                  <a:pt x="3686" y="9735"/>
                  <a:pt x="3419" y="9735"/>
                </a:cubicBezTo>
                <a:cubicBezTo>
                  <a:pt x="3151" y="9735"/>
                  <a:pt x="2883" y="9633"/>
                  <a:pt x="2678" y="9428"/>
                </a:cubicBezTo>
                <a:cubicBezTo>
                  <a:pt x="2300" y="9050"/>
                  <a:pt x="2300" y="8357"/>
                  <a:pt x="2678" y="7979"/>
                </a:cubicBezTo>
                <a:lnTo>
                  <a:pt x="3529" y="7160"/>
                </a:lnTo>
                <a:cubicBezTo>
                  <a:pt x="3592" y="7065"/>
                  <a:pt x="3718" y="7002"/>
                  <a:pt x="3781" y="6939"/>
                </a:cubicBezTo>
                <a:close/>
                <a:moveTo>
                  <a:pt x="4212" y="5467"/>
                </a:moveTo>
                <a:cubicBezTo>
                  <a:pt x="4492" y="5467"/>
                  <a:pt x="4773" y="5516"/>
                  <a:pt x="5041" y="5616"/>
                </a:cubicBezTo>
                <a:lnTo>
                  <a:pt x="4506" y="6151"/>
                </a:lnTo>
                <a:cubicBezTo>
                  <a:pt x="4437" y="6143"/>
                  <a:pt x="4368" y="6139"/>
                  <a:pt x="4299" y="6139"/>
                </a:cubicBezTo>
                <a:cubicBezTo>
                  <a:pt x="3828" y="6139"/>
                  <a:pt x="3358" y="6322"/>
                  <a:pt x="3056" y="6624"/>
                </a:cubicBezTo>
                <a:lnTo>
                  <a:pt x="2206" y="7475"/>
                </a:lnTo>
                <a:cubicBezTo>
                  <a:pt x="1544" y="8136"/>
                  <a:pt x="1544" y="9239"/>
                  <a:pt x="2206" y="9900"/>
                </a:cubicBezTo>
                <a:cubicBezTo>
                  <a:pt x="2552" y="10231"/>
                  <a:pt x="3001" y="10397"/>
                  <a:pt x="3446" y="10397"/>
                </a:cubicBezTo>
                <a:cubicBezTo>
                  <a:pt x="3891" y="10397"/>
                  <a:pt x="4332" y="10231"/>
                  <a:pt x="4663" y="9900"/>
                </a:cubicBezTo>
                <a:lnTo>
                  <a:pt x="5482" y="9081"/>
                </a:lnTo>
                <a:cubicBezTo>
                  <a:pt x="5892" y="8672"/>
                  <a:pt x="6049" y="8136"/>
                  <a:pt x="5955" y="7632"/>
                </a:cubicBezTo>
                <a:lnTo>
                  <a:pt x="6522" y="7065"/>
                </a:lnTo>
                <a:lnTo>
                  <a:pt x="6522" y="7065"/>
                </a:lnTo>
                <a:cubicBezTo>
                  <a:pt x="6837" y="7947"/>
                  <a:pt x="6648" y="8924"/>
                  <a:pt x="5955" y="9585"/>
                </a:cubicBezTo>
                <a:lnTo>
                  <a:pt x="5136" y="10405"/>
                </a:lnTo>
                <a:cubicBezTo>
                  <a:pt x="4663" y="10877"/>
                  <a:pt x="4041" y="11113"/>
                  <a:pt x="3419" y="11113"/>
                </a:cubicBezTo>
                <a:cubicBezTo>
                  <a:pt x="2796" y="11113"/>
                  <a:pt x="2174" y="10877"/>
                  <a:pt x="1702" y="10405"/>
                </a:cubicBezTo>
                <a:cubicBezTo>
                  <a:pt x="756" y="9459"/>
                  <a:pt x="756" y="7916"/>
                  <a:pt x="1702" y="7002"/>
                </a:cubicBezTo>
                <a:lnTo>
                  <a:pt x="2552" y="6151"/>
                </a:lnTo>
                <a:cubicBezTo>
                  <a:pt x="3005" y="5699"/>
                  <a:pt x="3605" y="5467"/>
                  <a:pt x="4212" y="5467"/>
                </a:cubicBezTo>
                <a:close/>
                <a:moveTo>
                  <a:pt x="8999" y="0"/>
                </a:moveTo>
                <a:cubicBezTo>
                  <a:pt x="8200" y="0"/>
                  <a:pt x="7404" y="307"/>
                  <a:pt x="6805" y="922"/>
                </a:cubicBezTo>
                <a:lnTo>
                  <a:pt x="5955" y="1741"/>
                </a:lnTo>
                <a:cubicBezTo>
                  <a:pt x="5136" y="2560"/>
                  <a:pt x="4852" y="3789"/>
                  <a:pt x="5230" y="4891"/>
                </a:cubicBezTo>
                <a:cubicBezTo>
                  <a:pt x="4920" y="4794"/>
                  <a:pt x="4601" y="4746"/>
                  <a:pt x="4283" y="4746"/>
                </a:cubicBezTo>
                <a:cubicBezTo>
                  <a:pt x="3469" y="4746"/>
                  <a:pt x="2669" y="5058"/>
                  <a:pt x="2080" y="5647"/>
                </a:cubicBezTo>
                <a:lnTo>
                  <a:pt x="1229" y="6466"/>
                </a:lnTo>
                <a:cubicBezTo>
                  <a:pt x="0" y="7695"/>
                  <a:pt x="0" y="9680"/>
                  <a:pt x="1229" y="10877"/>
                </a:cubicBezTo>
                <a:cubicBezTo>
                  <a:pt x="1843" y="11491"/>
                  <a:pt x="2647" y="11799"/>
                  <a:pt x="3446" y="11799"/>
                </a:cubicBezTo>
                <a:cubicBezTo>
                  <a:pt x="4246" y="11799"/>
                  <a:pt x="5041" y="11491"/>
                  <a:pt x="5640" y="10877"/>
                </a:cubicBezTo>
                <a:lnTo>
                  <a:pt x="6490" y="10058"/>
                </a:lnTo>
                <a:cubicBezTo>
                  <a:pt x="7309" y="9239"/>
                  <a:pt x="7593" y="8010"/>
                  <a:pt x="7215" y="6908"/>
                </a:cubicBezTo>
                <a:lnTo>
                  <a:pt x="7215" y="6908"/>
                </a:lnTo>
                <a:cubicBezTo>
                  <a:pt x="7525" y="7005"/>
                  <a:pt x="7844" y="7053"/>
                  <a:pt x="8162" y="7053"/>
                </a:cubicBezTo>
                <a:cubicBezTo>
                  <a:pt x="8976" y="7053"/>
                  <a:pt x="9776" y="6740"/>
                  <a:pt x="10365" y="6151"/>
                </a:cubicBezTo>
                <a:lnTo>
                  <a:pt x="11216" y="5332"/>
                </a:lnTo>
                <a:cubicBezTo>
                  <a:pt x="12413" y="4104"/>
                  <a:pt x="12413" y="2150"/>
                  <a:pt x="11216" y="922"/>
                </a:cubicBezTo>
                <a:cubicBezTo>
                  <a:pt x="10602" y="307"/>
                  <a:pt x="9798" y="0"/>
                  <a:pt x="8999"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146" name="Google Shape;10146;p111"/>
          <p:cNvSpPr/>
          <p:nvPr/>
        </p:nvSpPr>
        <p:spPr>
          <a:xfrm>
            <a:off x="10629242" y="3233673"/>
            <a:ext cx="468420" cy="465903"/>
          </a:xfrm>
          <a:custGeom>
            <a:avLst/>
            <a:gdLst/>
            <a:ahLst/>
            <a:cxnLst/>
            <a:rect l="l" t="t" r="r" b="b"/>
            <a:pathLst>
              <a:path w="11910" h="11846" extrusionOk="0">
                <a:moveTo>
                  <a:pt x="5924" y="2080"/>
                </a:moveTo>
                <a:cubicBezTo>
                  <a:pt x="6302" y="2080"/>
                  <a:pt x="6617" y="2395"/>
                  <a:pt x="6617" y="2773"/>
                </a:cubicBezTo>
                <a:cubicBezTo>
                  <a:pt x="6617" y="3182"/>
                  <a:pt x="6302" y="3497"/>
                  <a:pt x="5924" y="3497"/>
                </a:cubicBezTo>
                <a:cubicBezTo>
                  <a:pt x="5514" y="3497"/>
                  <a:pt x="5199" y="3182"/>
                  <a:pt x="5199" y="2773"/>
                </a:cubicBezTo>
                <a:cubicBezTo>
                  <a:pt x="5199" y="2395"/>
                  <a:pt x="5514" y="2080"/>
                  <a:pt x="5924" y="2080"/>
                </a:cubicBezTo>
                <a:close/>
                <a:moveTo>
                  <a:pt x="5924" y="662"/>
                </a:moveTo>
                <a:cubicBezTo>
                  <a:pt x="7247" y="662"/>
                  <a:pt x="8318" y="1764"/>
                  <a:pt x="8318" y="3088"/>
                </a:cubicBezTo>
                <a:cubicBezTo>
                  <a:pt x="8318" y="3655"/>
                  <a:pt x="8129" y="4190"/>
                  <a:pt x="7783" y="4631"/>
                </a:cubicBezTo>
                <a:cubicBezTo>
                  <a:pt x="7562" y="4222"/>
                  <a:pt x="7310" y="3907"/>
                  <a:pt x="6900" y="3686"/>
                </a:cubicBezTo>
                <a:cubicBezTo>
                  <a:pt x="7153" y="3434"/>
                  <a:pt x="7310" y="3088"/>
                  <a:pt x="7310" y="2741"/>
                </a:cubicBezTo>
                <a:cubicBezTo>
                  <a:pt x="7310" y="1985"/>
                  <a:pt x="6680" y="1355"/>
                  <a:pt x="5924" y="1355"/>
                </a:cubicBezTo>
                <a:cubicBezTo>
                  <a:pt x="5168" y="1355"/>
                  <a:pt x="4538" y="1985"/>
                  <a:pt x="4538" y="2741"/>
                </a:cubicBezTo>
                <a:cubicBezTo>
                  <a:pt x="4538" y="3088"/>
                  <a:pt x="4695" y="3434"/>
                  <a:pt x="4947" y="3686"/>
                </a:cubicBezTo>
                <a:cubicBezTo>
                  <a:pt x="4538" y="3938"/>
                  <a:pt x="4223" y="4285"/>
                  <a:pt x="4034" y="4631"/>
                </a:cubicBezTo>
                <a:cubicBezTo>
                  <a:pt x="3592" y="4096"/>
                  <a:pt x="3403" y="3403"/>
                  <a:pt x="3498" y="2741"/>
                </a:cubicBezTo>
                <a:cubicBezTo>
                  <a:pt x="3655" y="1638"/>
                  <a:pt x="4664" y="662"/>
                  <a:pt x="5924" y="662"/>
                </a:cubicBezTo>
                <a:close/>
                <a:moveTo>
                  <a:pt x="5924" y="4159"/>
                </a:moveTo>
                <a:cubicBezTo>
                  <a:pt x="6554" y="4159"/>
                  <a:pt x="7058" y="4600"/>
                  <a:pt x="7247" y="5135"/>
                </a:cubicBezTo>
                <a:cubicBezTo>
                  <a:pt x="6869" y="5388"/>
                  <a:pt x="6428" y="5545"/>
                  <a:pt x="5924" y="5545"/>
                </a:cubicBezTo>
                <a:cubicBezTo>
                  <a:pt x="5451" y="5545"/>
                  <a:pt x="4979" y="5388"/>
                  <a:pt x="4569" y="5135"/>
                </a:cubicBezTo>
                <a:cubicBezTo>
                  <a:pt x="4727" y="4568"/>
                  <a:pt x="5294" y="4159"/>
                  <a:pt x="5924" y="4159"/>
                </a:cubicBezTo>
                <a:close/>
                <a:moveTo>
                  <a:pt x="1734" y="9042"/>
                </a:moveTo>
                <a:cubicBezTo>
                  <a:pt x="2301" y="9042"/>
                  <a:pt x="2773" y="9483"/>
                  <a:pt x="2773" y="10082"/>
                </a:cubicBezTo>
                <a:cubicBezTo>
                  <a:pt x="2773" y="10649"/>
                  <a:pt x="2301" y="11121"/>
                  <a:pt x="1734" y="11121"/>
                </a:cubicBezTo>
                <a:cubicBezTo>
                  <a:pt x="1198" y="11121"/>
                  <a:pt x="726" y="10649"/>
                  <a:pt x="726" y="10082"/>
                </a:cubicBezTo>
                <a:cubicBezTo>
                  <a:pt x="726" y="9483"/>
                  <a:pt x="1198" y="9042"/>
                  <a:pt x="1734" y="9042"/>
                </a:cubicBezTo>
                <a:close/>
                <a:moveTo>
                  <a:pt x="5924" y="9042"/>
                </a:moveTo>
                <a:cubicBezTo>
                  <a:pt x="6522" y="9042"/>
                  <a:pt x="6932" y="9515"/>
                  <a:pt x="6932" y="10082"/>
                </a:cubicBezTo>
                <a:cubicBezTo>
                  <a:pt x="6932" y="10649"/>
                  <a:pt x="6459" y="11121"/>
                  <a:pt x="5924" y="11121"/>
                </a:cubicBezTo>
                <a:cubicBezTo>
                  <a:pt x="5357" y="11121"/>
                  <a:pt x="4884" y="10649"/>
                  <a:pt x="4884" y="10082"/>
                </a:cubicBezTo>
                <a:cubicBezTo>
                  <a:pt x="4884" y="9483"/>
                  <a:pt x="5325" y="9042"/>
                  <a:pt x="5924" y="9042"/>
                </a:cubicBezTo>
                <a:close/>
                <a:moveTo>
                  <a:pt x="10145" y="9042"/>
                </a:moveTo>
                <a:cubicBezTo>
                  <a:pt x="10681" y="9042"/>
                  <a:pt x="11154" y="9483"/>
                  <a:pt x="11154" y="10082"/>
                </a:cubicBezTo>
                <a:cubicBezTo>
                  <a:pt x="11154" y="10649"/>
                  <a:pt x="10681" y="11121"/>
                  <a:pt x="10145" y="11121"/>
                </a:cubicBezTo>
                <a:cubicBezTo>
                  <a:pt x="9578" y="11121"/>
                  <a:pt x="9106" y="10649"/>
                  <a:pt x="9106" y="10082"/>
                </a:cubicBezTo>
                <a:cubicBezTo>
                  <a:pt x="9106" y="9483"/>
                  <a:pt x="9578" y="9042"/>
                  <a:pt x="10145" y="9042"/>
                </a:cubicBezTo>
                <a:close/>
                <a:moveTo>
                  <a:pt x="5955" y="0"/>
                </a:moveTo>
                <a:cubicBezTo>
                  <a:pt x="4349" y="0"/>
                  <a:pt x="3088" y="1197"/>
                  <a:pt x="2868" y="2678"/>
                </a:cubicBezTo>
                <a:cubicBezTo>
                  <a:pt x="2647" y="4442"/>
                  <a:pt x="3908" y="6018"/>
                  <a:pt x="5640" y="6207"/>
                </a:cubicBezTo>
                <a:lnTo>
                  <a:pt x="5640" y="6963"/>
                </a:lnTo>
                <a:lnTo>
                  <a:pt x="2427" y="6963"/>
                </a:lnTo>
                <a:cubicBezTo>
                  <a:pt x="1828" y="6963"/>
                  <a:pt x="1387" y="7435"/>
                  <a:pt x="1387" y="7971"/>
                </a:cubicBezTo>
                <a:lnTo>
                  <a:pt x="1387" y="8380"/>
                </a:lnTo>
                <a:cubicBezTo>
                  <a:pt x="599" y="8538"/>
                  <a:pt x="1" y="9231"/>
                  <a:pt x="1" y="10082"/>
                </a:cubicBezTo>
                <a:cubicBezTo>
                  <a:pt x="1" y="11027"/>
                  <a:pt x="789" y="11846"/>
                  <a:pt x="1734" y="11846"/>
                </a:cubicBezTo>
                <a:cubicBezTo>
                  <a:pt x="2679" y="11846"/>
                  <a:pt x="3466" y="11058"/>
                  <a:pt x="3466" y="10082"/>
                </a:cubicBezTo>
                <a:cubicBezTo>
                  <a:pt x="3466" y="9231"/>
                  <a:pt x="2868" y="8538"/>
                  <a:pt x="2080" y="8380"/>
                </a:cubicBezTo>
                <a:lnTo>
                  <a:pt x="2080" y="7971"/>
                </a:lnTo>
                <a:cubicBezTo>
                  <a:pt x="2080" y="7782"/>
                  <a:pt x="2238" y="7624"/>
                  <a:pt x="2458" y="7624"/>
                </a:cubicBezTo>
                <a:lnTo>
                  <a:pt x="5609" y="7624"/>
                </a:lnTo>
                <a:lnTo>
                  <a:pt x="5609" y="8349"/>
                </a:lnTo>
                <a:cubicBezTo>
                  <a:pt x="4821" y="8506"/>
                  <a:pt x="4223" y="9200"/>
                  <a:pt x="4223" y="10019"/>
                </a:cubicBezTo>
                <a:cubicBezTo>
                  <a:pt x="4223" y="10964"/>
                  <a:pt x="5010" y="11814"/>
                  <a:pt x="5955" y="11814"/>
                </a:cubicBezTo>
                <a:cubicBezTo>
                  <a:pt x="6900" y="11814"/>
                  <a:pt x="7688" y="11027"/>
                  <a:pt x="7688" y="10019"/>
                </a:cubicBezTo>
                <a:cubicBezTo>
                  <a:pt x="7688" y="9200"/>
                  <a:pt x="7090" y="8506"/>
                  <a:pt x="6302" y="8349"/>
                </a:cubicBezTo>
                <a:lnTo>
                  <a:pt x="6302" y="7624"/>
                </a:lnTo>
                <a:lnTo>
                  <a:pt x="9452" y="7624"/>
                </a:lnTo>
                <a:cubicBezTo>
                  <a:pt x="9641" y="7624"/>
                  <a:pt x="9799" y="7782"/>
                  <a:pt x="9799" y="7971"/>
                </a:cubicBezTo>
                <a:lnTo>
                  <a:pt x="9799" y="8380"/>
                </a:lnTo>
                <a:cubicBezTo>
                  <a:pt x="9011" y="8538"/>
                  <a:pt x="8444" y="9231"/>
                  <a:pt x="8444" y="10082"/>
                </a:cubicBezTo>
                <a:cubicBezTo>
                  <a:pt x="8444" y="11027"/>
                  <a:pt x="9232" y="11846"/>
                  <a:pt x="10177" y="11846"/>
                </a:cubicBezTo>
                <a:cubicBezTo>
                  <a:pt x="11122" y="11846"/>
                  <a:pt x="11910" y="11058"/>
                  <a:pt x="11910" y="10082"/>
                </a:cubicBezTo>
                <a:cubicBezTo>
                  <a:pt x="11910" y="9231"/>
                  <a:pt x="11311" y="8538"/>
                  <a:pt x="10524" y="8380"/>
                </a:cubicBezTo>
                <a:lnTo>
                  <a:pt x="10524" y="7971"/>
                </a:lnTo>
                <a:cubicBezTo>
                  <a:pt x="10524" y="7404"/>
                  <a:pt x="10051" y="6963"/>
                  <a:pt x="9484" y="6963"/>
                </a:cubicBezTo>
                <a:lnTo>
                  <a:pt x="6333" y="6963"/>
                </a:lnTo>
                <a:lnTo>
                  <a:pt x="6333" y="6207"/>
                </a:lnTo>
                <a:cubicBezTo>
                  <a:pt x="7909" y="6049"/>
                  <a:pt x="9106" y="4726"/>
                  <a:pt x="9106" y="3088"/>
                </a:cubicBezTo>
                <a:cubicBezTo>
                  <a:pt x="9106" y="1355"/>
                  <a:pt x="7688" y="0"/>
                  <a:pt x="5955"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nvGrpSpPr>
          <p:cNvPr id="10147" name="Google Shape;10147;p111"/>
          <p:cNvGrpSpPr/>
          <p:nvPr/>
        </p:nvGrpSpPr>
        <p:grpSpPr>
          <a:xfrm>
            <a:off x="8840544" y="3864149"/>
            <a:ext cx="467161" cy="464329"/>
            <a:chOff x="5045775" y="1946400"/>
            <a:chExt cx="296950" cy="295150"/>
          </a:xfrm>
        </p:grpSpPr>
        <p:sp>
          <p:nvSpPr>
            <p:cNvPr id="10148" name="Google Shape;10148;p111"/>
            <p:cNvSpPr/>
            <p:nvPr/>
          </p:nvSpPr>
          <p:spPr>
            <a:xfrm>
              <a:off x="5113500" y="1998600"/>
              <a:ext cx="160700" cy="155950"/>
            </a:xfrm>
            <a:custGeom>
              <a:avLst/>
              <a:gdLst/>
              <a:ahLst/>
              <a:cxnLst/>
              <a:rect l="l" t="t" r="r" b="b"/>
              <a:pathLst>
                <a:path w="6428" h="6238" extrusionOk="0">
                  <a:moveTo>
                    <a:pt x="3309" y="2079"/>
                  </a:moveTo>
                  <a:cubicBezTo>
                    <a:pt x="3718" y="2079"/>
                    <a:pt x="4033" y="2394"/>
                    <a:pt x="4033" y="2804"/>
                  </a:cubicBezTo>
                  <a:cubicBezTo>
                    <a:pt x="4033" y="3182"/>
                    <a:pt x="3718" y="3497"/>
                    <a:pt x="3309" y="3497"/>
                  </a:cubicBezTo>
                  <a:cubicBezTo>
                    <a:pt x="2931" y="3497"/>
                    <a:pt x="2616" y="3150"/>
                    <a:pt x="2616" y="2804"/>
                  </a:cubicBezTo>
                  <a:cubicBezTo>
                    <a:pt x="2616" y="2394"/>
                    <a:pt x="2931" y="2079"/>
                    <a:pt x="3309" y="2079"/>
                  </a:cubicBezTo>
                  <a:close/>
                  <a:moveTo>
                    <a:pt x="3403" y="662"/>
                  </a:moveTo>
                  <a:cubicBezTo>
                    <a:pt x="4726" y="662"/>
                    <a:pt x="5798" y="1764"/>
                    <a:pt x="5798" y="3119"/>
                  </a:cubicBezTo>
                  <a:cubicBezTo>
                    <a:pt x="5703" y="3655"/>
                    <a:pt x="5546" y="4222"/>
                    <a:pt x="5199" y="4663"/>
                  </a:cubicBezTo>
                  <a:cubicBezTo>
                    <a:pt x="5010" y="4253"/>
                    <a:pt x="4726" y="3938"/>
                    <a:pt x="4348" y="3686"/>
                  </a:cubicBezTo>
                  <a:cubicBezTo>
                    <a:pt x="4569" y="3466"/>
                    <a:pt x="4726" y="3119"/>
                    <a:pt x="4726" y="2741"/>
                  </a:cubicBezTo>
                  <a:cubicBezTo>
                    <a:pt x="4726" y="2016"/>
                    <a:pt x="4096" y="1386"/>
                    <a:pt x="3340" y="1386"/>
                  </a:cubicBezTo>
                  <a:cubicBezTo>
                    <a:pt x="2616" y="1386"/>
                    <a:pt x="1986" y="2016"/>
                    <a:pt x="1986" y="2741"/>
                  </a:cubicBezTo>
                  <a:cubicBezTo>
                    <a:pt x="1986" y="3119"/>
                    <a:pt x="2143" y="3466"/>
                    <a:pt x="2364" y="3686"/>
                  </a:cubicBezTo>
                  <a:cubicBezTo>
                    <a:pt x="1986" y="3907"/>
                    <a:pt x="1702" y="4253"/>
                    <a:pt x="1513" y="4663"/>
                  </a:cubicBezTo>
                  <a:cubicBezTo>
                    <a:pt x="1072" y="4096"/>
                    <a:pt x="883" y="3434"/>
                    <a:pt x="977" y="2772"/>
                  </a:cubicBezTo>
                  <a:cubicBezTo>
                    <a:pt x="1135" y="1670"/>
                    <a:pt x="2143" y="662"/>
                    <a:pt x="3403" y="662"/>
                  </a:cubicBezTo>
                  <a:close/>
                  <a:moveTo>
                    <a:pt x="3309" y="4190"/>
                  </a:moveTo>
                  <a:cubicBezTo>
                    <a:pt x="3939" y="4190"/>
                    <a:pt x="4443" y="4600"/>
                    <a:pt x="4663" y="5167"/>
                  </a:cubicBezTo>
                  <a:cubicBezTo>
                    <a:pt x="4254" y="5450"/>
                    <a:pt x="3781" y="5545"/>
                    <a:pt x="3309" y="5545"/>
                  </a:cubicBezTo>
                  <a:cubicBezTo>
                    <a:pt x="2836" y="5545"/>
                    <a:pt x="2364" y="5387"/>
                    <a:pt x="1986" y="5167"/>
                  </a:cubicBezTo>
                  <a:cubicBezTo>
                    <a:pt x="2143" y="4568"/>
                    <a:pt x="2679" y="4190"/>
                    <a:pt x="3309" y="4190"/>
                  </a:cubicBezTo>
                  <a:close/>
                  <a:moveTo>
                    <a:pt x="3309" y="0"/>
                  </a:moveTo>
                  <a:cubicBezTo>
                    <a:pt x="1733" y="0"/>
                    <a:pt x="410" y="1229"/>
                    <a:pt x="253" y="2678"/>
                  </a:cubicBezTo>
                  <a:cubicBezTo>
                    <a:pt x="1" y="4600"/>
                    <a:pt x="1450" y="6238"/>
                    <a:pt x="3309" y="6238"/>
                  </a:cubicBezTo>
                  <a:cubicBezTo>
                    <a:pt x="5042" y="6238"/>
                    <a:pt x="6428" y="4820"/>
                    <a:pt x="6428" y="3119"/>
                  </a:cubicBezTo>
                  <a:cubicBezTo>
                    <a:pt x="6428" y="1418"/>
                    <a:pt x="5042" y="0"/>
                    <a:pt x="3309"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149" name="Google Shape;10149;p111"/>
            <p:cNvSpPr/>
            <p:nvPr/>
          </p:nvSpPr>
          <p:spPr>
            <a:xfrm>
              <a:off x="5045775" y="1946400"/>
              <a:ext cx="296950" cy="295150"/>
            </a:xfrm>
            <a:custGeom>
              <a:avLst/>
              <a:gdLst/>
              <a:ahLst/>
              <a:cxnLst/>
              <a:rect l="l" t="t" r="r" b="b"/>
              <a:pathLst>
                <a:path w="11878" h="11806" extrusionOk="0">
                  <a:moveTo>
                    <a:pt x="6018" y="765"/>
                  </a:moveTo>
                  <a:lnTo>
                    <a:pt x="6868" y="1426"/>
                  </a:lnTo>
                  <a:cubicBezTo>
                    <a:pt x="6963" y="1458"/>
                    <a:pt x="7026" y="1489"/>
                    <a:pt x="7152" y="1489"/>
                  </a:cubicBezTo>
                  <a:lnTo>
                    <a:pt x="8223" y="1332"/>
                  </a:lnTo>
                  <a:lnTo>
                    <a:pt x="8664" y="2372"/>
                  </a:lnTo>
                  <a:cubicBezTo>
                    <a:pt x="8696" y="2435"/>
                    <a:pt x="8790" y="2529"/>
                    <a:pt x="8853" y="2561"/>
                  </a:cubicBezTo>
                  <a:lnTo>
                    <a:pt x="9893" y="2970"/>
                  </a:lnTo>
                  <a:lnTo>
                    <a:pt x="9735" y="4073"/>
                  </a:lnTo>
                  <a:cubicBezTo>
                    <a:pt x="9735" y="4136"/>
                    <a:pt x="9735" y="4262"/>
                    <a:pt x="9798" y="4325"/>
                  </a:cubicBezTo>
                  <a:lnTo>
                    <a:pt x="10460" y="5207"/>
                  </a:lnTo>
                  <a:lnTo>
                    <a:pt x="9798" y="6058"/>
                  </a:lnTo>
                  <a:cubicBezTo>
                    <a:pt x="9767" y="6152"/>
                    <a:pt x="9735" y="6215"/>
                    <a:pt x="9735" y="6341"/>
                  </a:cubicBezTo>
                  <a:lnTo>
                    <a:pt x="9893" y="7444"/>
                  </a:lnTo>
                  <a:lnTo>
                    <a:pt x="8853" y="7853"/>
                  </a:lnTo>
                  <a:cubicBezTo>
                    <a:pt x="8790" y="7885"/>
                    <a:pt x="8696" y="7948"/>
                    <a:pt x="8664" y="8042"/>
                  </a:cubicBezTo>
                  <a:lnTo>
                    <a:pt x="8255" y="9051"/>
                  </a:lnTo>
                  <a:lnTo>
                    <a:pt x="7120" y="8893"/>
                  </a:lnTo>
                  <a:cubicBezTo>
                    <a:pt x="7057" y="8893"/>
                    <a:pt x="6931" y="8893"/>
                    <a:pt x="6837" y="8988"/>
                  </a:cubicBezTo>
                  <a:lnTo>
                    <a:pt x="5986" y="9649"/>
                  </a:lnTo>
                  <a:lnTo>
                    <a:pt x="5104" y="8988"/>
                  </a:lnTo>
                  <a:cubicBezTo>
                    <a:pt x="5041" y="8925"/>
                    <a:pt x="5010" y="8893"/>
                    <a:pt x="4915" y="8893"/>
                  </a:cubicBezTo>
                  <a:lnTo>
                    <a:pt x="4884" y="8893"/>
                  </a:lnTo>
                  <a:lnTo>
                    <a:pt x="3781" y="9051"/>
                  </a:lnTo>
                  <a:lnTo>
                    <a:pt x="3371" y="8042"/>
                  </a:lnTo>
                  <a:cubicBezTo>
                    <a:pt x="3340" y="7948"/>
                    <a:pt x="3277" y="7885"/>
                    <a:pt x="3182" y="7853"/>
                  </a:cubicBezTo>
                  <a:lnTo>
                    <a:pt x="2143" y="7444"/>
                  </a:lnTo>
                  <a:lnTo>
                    <a:pt x="2300" y="6341"/>
                  </a:lnTo>
                  <a:cubicBezTo>
                    <a:pt x="2300" y="6278"/>
                    <a:pt x="2300" y="6152"/>
                    <a:pt x="2237" y="6058"/>
                  </a:cubicBezTo>
                  <a:lnTo>
                    <a:pt x="1576" y="5207"/>
                  </a:lnTo>
                  <a:lnTo>
                    <a:pt x="2237" y="4325"/>
                  </a:lnTo>
                  <a:cubicBezTo>
                    <a:pt x="2269" y="4262"/>
                    <a:pt x="2300" y="4167"/>
                    <a:pt x="2300" y="4073"/>
                  </a:cubicBezTo>
                  <a:lnTo>
                    <a:pt x="2143" y="2970"/>
                  </a:lnTo>
                  <a:lnTo>
                    <a:pt x="3182" y="2561"/>
                  </a:lnTo>
                  <a:cubicBezTo>
                    <a:pt x="3277" y="2529"/>
                    <a:pt x="3340" y="2435"/>
                    <a:pt x="3371" y="2372"/>
                  </a:cubicBezTo>
                  <a:lnTo>
                    <a:pt x="3812" y="1332"/>
                  </a:lnTo>
                  <a:lnTo>
                    <a:pt x="4884" y="1489"/>
                  </a:lnTo>
                  <a:cubicBezTo>
                    <a:pt x="4947" y="1489"/>
                    <a:pt x="5073" y="1489"/>
                    <a:pt x="5167" y="1426"/>
                  </a:cubicBezTo>
                  <a:lnTo>
                    <a:pt x="6018" y="765"/>
                  </a:lnTo>
                  <a:close/>
                  <a:moveTo>
                    <a:pt x="2174" y="8168"/>
                  </a:moveTo>
                  <a:lnTo>
                    <a:pt x="2804" y="8420"/>
                  </a:lnTo>
                  <a:lnTo>
                    <a:pt x="3277" y="9586"/>
                  </a:lnTo>
                  <a:cubicBezTo>
                    <a:pt x="3308" y="9681"/>
                    <a:pt x="3434" y="9775"/>
                    <a:pt x="3529" y="9775"/>
                  </a:cubicBezTo>
                  <a:lnTo>
                    <a:pt x="2647" y="10720"/>
                  </a:lnTo>
                  <a:lnTo>
                    <a:pt x="2426" y="9649"/>
                  </a:lnTo>
                  <a:cubicBezTo>
                    <a:pt x="2395" y="9523"/>
                    <a:pt x="2332" y="9429"/>
                    <a:pt x="2174" y="9366"/>
                  </a:cubicBezTo>
                  <a:lnTo>
                    <a:pt x="1134" y="9177"/>
                  </a:lnTo>
                  <a:lnTo>
                    <a:pt x="2174" y="8168"/>
                  </a:lnTo>
                  <a:close/>
                  <a:moveTo>
                    <a:pt x="9861" y="8105"/>
                  </a:moveTo>
                  <a:lnTo>
                    <a:pt x="10901" y="9145"/>
                  </a:lnTo>
                  <a:lnTo>
                    <a:pt x="9893" y="9366"/>
                  </a:lnTo>
                  <a:cubicBezTo>
                    <a:pt x="9767" y="9429"/>
                    <a:pt x="9641" y="9492"/>
                    <a:pt x="9609" y="9649"/>
                  </a:cubicBezTo>
                  <a:lnTo>
                    <a:pt x="9389" y="10720"/>
                  </a:lnTo>
                  <a:lnTo>
                    <a:pt x="8507" y="9712"/>
                  </a:lnTo>
                  <a:cubicBezTo>
                    <a:pt x="8601" y="9712"/>
                    <a:pt x="8727" y="9649"/>
                    <a:pt x="8759" y="9523"/>
                  </a:cubicBezTo>
                  <a:lnTo>
                    <a:pt x="9231" y="8389"/>
                  </a:lnTo>
                  <a:lnTo>
                    <a:pt x="9861" y="8105"/>
                  </a:lnTo>
                  <a:close/>
                  <a:moveTo>
                    <a:pt x="6002" y="1"/>
                  </a:moveTo>
                  <a:cubicBezTo>
                    <a:pt x="5923" y="1"/>
                    <a:pt x="5844" y="24"/>
                    <a:pt x="5797" y="72"/>
                  </a:cubicBezTo>
                  <a:lnTo>
                    <a:pt x="4852" y="828"/>
                  </a:lnTo>
                  <a:lnTo>
                    <a:pt x="3623" y="670"/>
                  </a:lnTo>
                  <a:cubicBezTo>
                    <a:pt x="3607" y="667"/>
                    <a:pt x="3590" y="665"/>
                    <a:pt x="3573" y="665"/>
                  </a:cubicBezTo>
                  <a:cubicBezTo>
                    <a:pt x="3434" y="665"/>
                    <a:pt x="3305" y="775"/>
                    <a:pt x="3277" y="859"/>
                  </a:cubicBezTo>
                  <a:lnTo>
                    <a:pt x="2804" y="2025"/>
                  </a:lnTo>
                  <a:lnTo>
                    <a:pt x="1639" y="2498"/>
                  </a:lnTo>
                  <a:cubicBezTo>
                    <a:pt x="1481" y="2561"/>
                    <a:pt x="1418" y="2687"/>
                    <a:pt x="1450" y="2844"/>
                  </a:cubicBezTo>
                  <a:lnTo>
                    <a:pt x="1607" y="4073"/>
                  </a:lnTo>
                  <a:lnTo>
                    <a:pt x="851" y="5018"/>
                  </a:lnTo>
                  <a:cubicBezTo>
                    <a:pt x="788" y="5112"/>
                    <a:pt x="788" y="5333"/>
                    <a:pt x="851" y="5428"/>
                  </a:cubicBezTo>
                  <a:lnTo>
                    <a:pt x="1607" y="6373"/>
                  </a:lnTo>
                  <a:lnTo>
                    <a:pt x="1450" y="7601"/>
                  </a:lnTo>
                  <a:cubicBezTo>
                    <a:pt x="1450" y="7696"/>
                    <a:pt x="1450" y="7759"/>
                    <a:pt x="1481" y="7853"/>
                  </a:cubicBezTo>
                  <a:lnTo>
                    <a:pt x="189" y="9145"/>
                  </a:lnTo>
                  <a:cubicBezTo>
                    <a:pt x="0" y="9334"/>
                    <a:pt x="126" y="9649"/>
                    <a:pt x="347" y="9744"/>
                  </a:cubicBezTo>
                  <a:lnTo>
                    <a:pt x="1765" y="10059"/>
                  </a:lnTo>
                  <a:lnTo>
                    <a:pt x="2080" y="11539"/>
                  </a:lnTo>
                  <a:cubicBezTo>
                    <a:pt x="2099" y="11714"/>
                    <a:pt x="2250" y="11805"/>
                    <a:pt x="2407" y="11805"/>
                  </a:cubicBezTo>
                  <a:cubicBezTo>
                    <a:pt x="2505" y="11805"/>
                    <a:pt x="2606" y="11770"/>
                    <a:pt x="2678" y="11697"/>
                  </a:cubicBezTo>
                  <a:cubicBezTo>
                    <a:pt x="4410" y="9858"/>
                    <a:pt x="4587" y="9665"/>
                    <a:pt x="4601" y="9649"/>
                  </a:cubicBezTo>
                  <a:lnTo>
                    <a:pt x="4601" y="9649"/>
                  </a:lnTo>
                  <a:lnTo>
                    <a:pt x="4789" y="9618"/>
                  </a:lnTo>
                  <a:lnTo>
                    <a:pt x="5734" y="10374"/>
                  </a:lnTo>
                  <a:cubicBezTo>
                    <a:pt x="5829" y="10405"/>
                    <a:pt x="5860" y="10437"/>
                    <a:pt x="5955" y="10437"/>
                  </a:cubicBezTo>
                  <a:cubicBezTo>
                    <a:pt x="6018" y="10437"/>
                    <a:pt x="6112" y="10405"/>
                    <a:pt x="6144" y="10374"/>
                  </a:cubicBezTo>
                  <a:lnTo>
                    <a:pt x="7089" y="9618"/>
                  </a:lnTo>
                  <a:lnTo>
                    <a:pt x="7278" y="9649"/>
                  </a:lnTo>
                  <a:lnTo>
                    <a:pt x="9200" y="11697"/>
                  </a:lnTo>
                  <a:cubicBezTo>
                    <a:pt x="9284" y="11770"/>
                    <a:pt x="9388" y="11805"/>
                    <a:pt x="9485" y="11805"/>
                  </a:cubicBezTo>
                  <a:cubicBezTo>
                    <a:pt x="9640" y="11805"/>
                    <a:pt x="9779" y="11714"/>
                    <a:pt x="9798" y="11539"/>
                  </a:cubicBezTo>
                  <a:lnTo>
                    <a:pt x="10113" y="10059"/>
                  </a:lnTo>
                  <a:lnTo>
                    <a:pt x="11531" y="9744"/>
                  </a:lnTo>
                  <a:cubicBezTo>
                    <a:pt x="11815" y="9681"/>
                    <a:pt x="11878" y="9334"/>
                    <a:pt x="11689" y="9145"/>
                  </a:cubicBezTo>
                  <a:lnTo>
                    <a:pt x="10523" y="7853"/>
                  </a:lnTo>
                  <a:cubicBezTo>
                    <a:pt x="10554" y="7759"/>
                    <a:pt x="10586" y="7696"/>
                    <a:pt x="10554" y="7601"/>
                  </a:cubicBezTo>
                  <a:lnTo>
                    <a:pt x="10397" y="6373"/>
                  </a:lnTo>
                  <a:lnTo>
                    <a:pt x="11153" y="5428"/>
                  </a:lnTo>
                  <a:cubicBezTo>
                    <a:pt x="11216" y="5333"/>
                    <a:pt x="11216" y="5112"/>
                    <a:pt x="11153" y="5018"/>
                  </a:cubicBezTo>
                  <a:lnTo>
                    <a:pt x="10397" y="4073"/>
                  </a:lnTo>
                  <a:lnTo>
                    <a:pt x="10554" y="2844"/>
                  </a:lnTo>
                  <a:cubicBezTo>
                    <a:pt x="10586" y="2687"/>
                    <a:pt x="10460" y="2529"/>
                    <a:pt x="10365" y="2498"/>
                  </a:cubicBezTo>
                  <a:lnTo>
                    <a:pt x="9200" y="2025"/>
                  </a:lnTo>
                  <a:lnTo>
                    <a:pt x="8727" y="859"/>
                  </a:lnTo>
                  <a:cubicBezTo>
                    <a:pt x="8675" y="728"/>
                    <a:pt x="8578" y="662"/>
                    <a:pt x="8457" y="662"/>
                  </a:cubicBezTo>
                  <a:cubicBezTo>
                    <a:pt x="8432" y="662"/>
                    <a:pt x="8407" y="665"/>
                    <a:pt x="8381" y="670"/>
                  </a:cubicBezTo>
                  <a:lnTo>
                    <a:pt x="7152" y="828"/>
                  </a:lnTo>
                  <a:lnTo>
                    <a:pt x="6207" y="72"/>
                  </a:lnTo>
                  <a:cubicBezTo>
                    <a:pt x="6160" y="24"/>
                    <a:pt x="6081" y="1"/>
                    <a:pt x="6002"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10150" name="Google Shape;10150;p111"/>
          <p:cNvGrpSpPr/>
          <p:nvPr/>
        </p:nvGrpSpPr>
        <p:grpSpPr>
          <a:xfrm>
            <a:off x="8838675" y="4542585"/>
            <a:ext cx="470899" cy="411431"/>
            <a:chOff x="5046550" y="2327025"/>
            <a:chExt cx="299325" cy="261525"/>
          </a:xfrm>
        </p:grpSpPr>
        <p:sp>
          <p:nvSpPr>
            <p:cNvPr id="10151" name="Google Shape;10151;p111"/>
            <p:cNvSpPr/>
            <p:nvPr/>
          </p:nvSpPr>
          <p:spPr>
            <a:xfrm>
              <a:off x="5046550" y="2448325"/>
              <a:ext cx="297750" cy="140225"/>
            </a:xfrm>
            <a:custGeom>
              <a:avLst/>
              <a:gdLst/>
              <a:ahLst/>
              <a:cxnLst/>
              <a:rect l="l" t="t" r="r" b="b"/>
              <a:pathLst>
                <a:path w="11910" h="5609" extrusionOk="0">
                  <a:moveTo>
                    <a:pt x="4569" y="1386"/>
                  </a:moveTo>
                  <a:cubicBezTo>
                    <a:pt x="4538" y="1575"/>
                    <a:pt x="4506" y="1828"/>
                    <a:pt x="4443" y="2111"/>
                  </a:cubicBezTo>
                  <a:lnTo>
                    <a:pt x="757" y="2111"/>
                  </a:lnTo>
                  <a:lnTo>
                    <a:pt x="757" y="1386"/>
                  </a:lnTo>
                  <a:close/>
                  <a:moveTo>
                    <a:pt x="11185" y="1386"/>
                  </a:moveTo>
                  <a:lnTo>
                    <a:pt x="11185" y="2111"/>
                  </a:lnTo>
                  <a:lnTo>
                    <a:pt x="7530" y="2111"/>
                  </a:lnTo>
                  <a:cubicBezTo>
                    <a:pt x="7467" y="1828"/>
                    <a:pt x="7436" y="1575"/>
                    <a:pt x="7373" y="1386"/>
                  </a:cubicBezTo>
                  <a:close/>
                  <a:moveTo>
                    <a:pt x="5955" y="725"/>
                  </a:moveTo>
                  <a:cubicBezTo>
                    <a:pt x="6270" y="725"/>
                    <a:pt x="6396" y="788"/>
                    <a:pt x="6491" y="1071"/>
                  </a:cubicBezTo>
                  <a:cubicBezTo>
                    <a:pt x="6743" y="1639"/>
                    <a:pt x="6900" y="2804"/>
                    <a:pt x="7247" y="4852"/>
                  </a:cubicBezTo>
                  <a:lnTo>
                    <a:pt x="4664" y="4852"/>
                  </a:lnTo>
                  <a:cubicBezTo>
                    <a:pt x="5010" y="2804"/>
                    <a:pt x="5168" y="1639"/>
                    <a:pt x="5388" y="1071"/>
                  </a:cubicBezTo>
                  <a:cubicBezTo>
                    <a:pt x="5514" y="788"/>
                    <a:pt x="5640" y="725"/>
                    <a:pt x="5955" y="725"/>
                  </a:cubicBezTo>
                  <a:close/>
                  <a:moveTo>
                    <a:pt x="5955" y="0"/>
                  </a:moveTo>
                  <a:cubicBezTo>
                    <a:pt x="5357" y="0"/>
                    <a:pt x="5010" y="221"/>
                    <a:pt x="4758" y="725"/>
                  </a:cubicBezTo>
                  <a:lnTo>
                    <a:pt x="347" y="725"/>
                  </a:lnTo>
                  <a:cubicBezTo>
                    <a:pt x="158" y="725"/>
                    <a:pt x="1" y="882"/>
                    <a:pt x="1" y="1071"/>
                  </a:cubicBezTo>
                  <a:lnTo>
                    <a:pt x="1" y="2458"/>
                  </a:lnTo>
                  <a:cubicBezTo>
                    <a:pt x="1" y="2647"/>
                    <a:pt x="158" y="2804"/>
                    <a:pt x="347" y="2804"/>
                  </a:cubicBezTo>
                  <a:lnTo>
                    <a:pt x="4254" y="2804"/>
                  </a:lnTo>
                  <a:cubicBezTo>
                    <a:pt x="4191" y="3371"/>
                    <a:pt x="4065" y="4064"/>
                    <a:pt x="3907" y="4884"/>
                  </a:cubicBezTo>
                  <a:lnTo>
                    <a:pt x="3498" y="4884"/>
                  </a:lnTo>
                  <a:cubicBezTo>
                    <a:pt x="3309" y="4884"/>
                    <a:pt x="3151" y="5041"/>
                    <a:pt x="3151" y="5262"/>
                  </a:cubicBezTo>
                  <a:cubicBezTo>
                    <a:pt x="3151" y="5451"/>
                    <a:pt x="3309" y="5608"/>
                    <a:pt x="3498" y="5608"/>
                  </a:cubicBezTo>
                  <a:lnTo>
                    <a:pt x="8350" y="5608"/>
                  </a:lnTo>
                  <a:cubicBezTo>
                    <a:pt x="8539" y="5608"/>
                    <a:pt x="8696" y="5451"/>
                    <a:pt x="8696" y="5262"/>
                  </a:cubicBezTo>
                  <a:cubicBezTo>
                    <a:pt x="8696" y="5041"/>
                    <a:pt x="8539" y="4884"/>
                    <a:pt x="8350" y="4884"/>
                  </a:cubicBezTo>
                  <a:lnTo>
                    <a:pt x="7972" y="4884"/>
                  </a:lnTo>
                  <a:cubicBezTo>
                    <a:pt x="7814" y="4064"/>
                    <a:pt x="7688" y="3403"/>
                    <a:pt x="7593" y="2804"/>
                  </a:cubicBezTo>
                  <a:lnTo>
                    <a:pt x="11500" y="2804"/>
                  </a:lnTo>
                  <a:cubicBezTo>
                    <a:pt x="11689" y="2804"/>
                    <a:pt x="11847" y="2647"/>
                    <a:pt x="11847" y="2458"/>
                  </a:cubicBezTo>
                  <a:lnTo>
                    <a:pt x="11847" y="1071"/>
                  </a:lnTo>
                  <a:cubicBezTo>
                    <a:pt x="11910" y="882"/>
                    <a:pt x="11752" y="725"/>
                    <a:pt x="11532" y="725"/>
                  </a:cubicBezTo>
                  <a:lnTo>
                    <a:pt x="7121" y="725"/>
                  </a:lnTo>
                  <a:cubicBezTo>
                    <a:pt x="6900" y="252"/>
                    <a:pt x="6554" y="0"/>
                    <a:pt x="5955"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152" name="Google Shape;10152;p111"/>
            <p:cNvSpPr/>
            <p:nvPr/>
          </p:nvSpPr>
          <p:spPr>
            <a:xfrm>
              <a:off x="5241900" y="2327025"/>
              <a:ext cx="103975" cy="121325"/>
            </a:xfrm>
            <a:custGeom>
              <a:avLst/>
              <a:gdLst/>
              <a:ahLst/>
              <a:cxnLst/>
              <a:rect l="l" t="t" r="r" b="b"/>
              <a:pathLst>
                <a:path w="4159" h="4853" extrusionOk="0">
                  <a:moveTo>
                    <a:pt x="1985" y="725"/>
                  </a:moveTo>
                  <a:cubicBezTo>
                    <a:pt x="2394" y="725"/>
                    <a:pt x="2709" y="1040"/>
                    <a:pt x="2709" y="1450"/>
                  </a:cubicBezTo>
                  <a:cubicBezTo>
                    <a:pt x="2709" y="1828"/>
                    <a:pt x="2394" y="2143"/>
                    <a:pt x="1985" y="2143"/>
                  </a:cubicBezTo>
                  <a:cubicBezTo>
                    <a:pt x="1607" y="2143"/>
                    <a:pt x="1292" y="1828"/>
                    <a:pt x="1292" y="1450"/>
                  </a:cubicBezTo>
                  <a:cubicBezTo>
                    <a:pt x="1292" y="1040"/>
                    <a:pt x="1638" y="725"/>
                    <a:pt x="1985" y="725"/>
                  </a:cubicBezTo>
                  <a:close/>
                  <a:moveTo>
                    <a:pt x="1985" y="2804"/>
                  </a:moveTo>
                  <a:cubicBezTo>
                    <a:pt x="2741" y="2804"/>
                    <a:pt x="3371" y="3435"/>
                    <a:pt x="3371" y="4191"/>
                  </a:cubicBezTo>
                  <a:lnTo>
                    <a:pt x="630" y="4191"/>
                  </a:lnTo>
                  <a:cubicBezTo>
                    <a:pt x="630" y="3435"/>
                    <a:pt x="1260" y="2804"/>
                    <a:pt x="1985" y="2804"/>
                  </a:cubicBezTo>
                  <a:close/>
                  <a:moveTo>
                    <a:pt x="2048" y="1"/>
                  </a:moveTo>
                  <a:cubicBezTo>
                    <a:pt x="1292" y="1"/>
                    <a:pt x="662" y="631"/>
                    <a:pt x="662" y="1387"/>
                  </a:cubicBezTo>
                  <a:cubicBezTo>
                    <a:pt x="662" y="1765"/>
                    <a:pt x="819" y="2111"/>
                    <a:pt x="1040" y="2332"/>
                  </a:cubicBezTo>
                  <a:cubicBezTo>
                    <a:pt x="410" y="2710"/>
                    <a:pt x="0" y="3372"/>
                    <a:pt x="0" y="4159"/>
                  </a:cubicBezTo>
                  <a:lnTo>
                    <a:pt x="0" y="4506"/>
                  </a:lnTo>
                  <a:cubicBezTo>
                    <a:pt x="0" y="4695"/>
                    <a:pt x="158" y="4852"/>
                    <a:pt x="347" y="4852"/>
                  </a:cubicBezTo>
                  <a:lnTo>
                    <a:pt x="3812" y="4852"/>
                  </a:lnTo>
                  <a:cubicBezTo>
                    <a:pt x="4001" y="4852"/>
                    <a:pt x="4159" y="4695"/>
                    <a:pt x="4159" y="4506"/>
                  </a:cubicBezTo>
                  <a:lnTo>
                    <a:pt x="4159" y="4159"/>
                  </a:lnTo>
                  <a:cubicBezTo>
                    <a:pt x="4096" y="3403"/>
                    <a:pt x="3655" y="2710"/>
                    <a:pt x="3025" y="2332"/>
                  </a:cubicBezTo>
                  <a:cubicBezTo>
                    <a:pt x="3245" y="2111"/>
                    <a:pt x="3403" y="1765"/>
                    <a:pt x="3403" y="1387"/>
                  </a:cubicBezTo>
                  <a:cubicBezTo>
                    <a:pt x="3403" y="631"/>
                    <a:pt x="2772" y="1"/>
                    <a:pt x="2048"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153" name="Google Shape;10153;p111"/>
            <p:cNvSpPr/>
            <p:nvPr/>
          </p:nvSpPr>
          <p:spPr>
            <a:xfrm>
              <a:off x="5048925" y="2328600"/>
              <a:ext cx="103975" cy="121325"/>
            </a:xfrm>
            <a:custGeom>
              <a:avLst/>
              <a:gdLst/>
              <a:ahLst/>
              <a:cxnLst/>
              <a:rect l="l" t="t" r="r" b="b"/>
              <a:pathLst>
                <a:path w="4159" h="4853" extrusionOk="0">
                  <a:moveTo>
                    <a:pt x="2048" y="662"/>
                  </a:moveTo>
                  <a:cubicBezTo>
                    <a:pt x="2426" y="662"/>
                    <a:pt x="2741" y="977"/>
                    <a:pt x="2741" y="1387"/>
                  </a:cubicBezTo>
                  <a:cubicBezTo>
                    <a:pt x="2741" y="1765"/>
                    <a:pt x="2426" y="2080"/>
                    <a:pt x="2048" y="2080"/>
                  </a:cubicBezTo>
                  <a:cubicBezTo>
                    <a:pt x="1639" y="2080"/>
                    <a:pt x="1324" y="1765"/>
                    <a:pt x="1324" y="1387"/>
                  </a:cubicBezTo>
                  <a:cubicBezTo>
                    <a:pt x="1324" y="977"/>
                    <a:pt x="1670" y="662"/>
                    <a:pt x="2048" y="662"/>
                  </a:cubicBezTo>
                  <a:close/>
                  <a:moveTo>
                    <a:pt x="2048" y="2710"/>
                  </a:moveTo>
                  <a:cubicBezTo>
                    <a:pt x="2773" y="2710"/>
                    <a:pt x="3403" y="3340"/>
                    <a:pt x="3403" y="4096"/>
                  </a:cubicBezTo>
                  <a:lnTo>
                    <a:pt x="662" y="4096"/>
                  </a:lnTo>
                  <a:cubicBezTo>
                    <a:pt x="662" y="3340"/>
                    <a:pt x="1292" y="2710"/>
                    <a:pt x="2048" y="2710"/>
                  </a:cubicBezTo>
                  <a:close/>
                  <a:moveTo>
                    <a:pt x="2111" y="1"/>
                  </a:moveTo>
                  <a:cubicBezTo>
                    <a:pt x="1355" y="1"/>
                    <a:pt x="725" y="631"/>
                    <a:pt x="725" y="1387"/>
                  </a:cubicBezTo>
                  <a:cubicBezTo>
                    <a:pt x="725" y="1733"/>
                    <a:pt x="882" y="2080"/>
                    <a:pt x="1134" y="2332"/>
                  </a:cubicBezTo>
                  <a:cubicBezTo>
                    <a:pt x="410" y="2647"/>
                    <a:pt x="0" y="3340"/>
                    <a:pt x="0" y="4128"/>
                  </a:cubicBezTo>
                  <a:lnTo>
                    <a:pt x="0" y="4474"/>
                  </a:lnTo>
                  <a:cubicBezTo>
                    <a:pt x="0" y="4695"/>
                    <a:pt x="158" y="4852"/>
                    <a:pt x="347" y="4852"/>
                  </a:cubicBezTo>
                  <a:lnTo>
                    <a:pt x="3812" y="4852"/>
                  </a:lnTo>
                  <a:cubicBezTo>
                    <a:pt x="4001" y="4852"/>
                    <a:pt x="4159" y="4695"/>
                    <a:pt x="4159" y="4474"/>
                  </a:cubicBezTo>
                  <a:lnTo>
                    <a:pt x="4159" y="4128"/>
                  </a:lnTo>
                  <a:cubicBezTo>
                    <a:pt x="4159" y="3340"/>
                    <a:pt x="3718" y="2678"/>
                    <a:pt x="3088" y="2332"/>
                  </a:cubicBezTo>
                  <a:cubicBezTo>
                    <a:pt x="3340" y="2080"/>
                    <a:pt x="3497" y="1733"/>
                    <a:pt x="3497" y="1387"/>
                  </a:cubicBezTo>
                  <a:cubicBezTo>
                    <a:pt x="3497" y="631"/>
                    <a:pt x="2867" y="1"/>
                    <a:pt x="2111"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sp>
        <p:nvSpPr>
          <p:cNvPr id="10154" name="Google Shape;10154;p111"/>
          <p:cNvSpPr/>
          <p:nvPr/>
        </p:nvSpPr>
        <p:spPr>
          <a:xfrm>
            <a:off x="8943822" y="5113729"/>
            <a:ext cx="260247" cy="467161"/>
          </a:xfrm>
          <a:custGeom>
            <a:avLst/>
            <a:gdLst/>
            <a:ahLst/>
            <a:cxnLst/>
            <a:rect l="l" t="t" r="r" b="b"/>
            <a:pathLst>
              <a:path w="6617" h="11878" extrusionOk="0">
                <a:moveTo>
                  <a:pt x="2962" y="725"/>
                </a:moveTo>
                <a:lnTo>
                  <a:pt x="2489" y="2111"/>
                </a:lnTo>
                <a:lnTo>
                  <a:pt x="1575" y="2111"/>
                </a:lnTo>
                <a:lnTo>
                  <a:pt x="1103" y="725"/>
                </a:lnTo>
                <a:close/>
                <a:moveTo>
                  <a:pt x="3277" y="3529"/>
                </a:moveTo>
                <a:lnTo>
                  <a:pt x="5892" y="6144"/>
                </a:lnTo>
                <a:lnTo>
                  <a:pt x="5892" y="6616"/>
                </a:lnTo>
                <a:lnTo>
                  <a:pt x="5419" y="6616"/>
                </a:lnTo>
                <a:lnTo>
                  <a:pt x="3434" y="4663"/>
                </a:lnTo>
                <a:lnTo>
                  <a:pt x="3277" y="3529"/>
                </a:lnTo>
                <a:close/>
                <a:moveTo>
                  <a:pt x="2458" y="2804"/>
                </a:moveTo>
                <a:lnTo>
                  <a:pt x="3434" y="9357"/>
                </a:lnTo>
                <a:lnTo>
                  <a:pt x="2048" y="10964"/>
                </a:lnTo>
                <a:lnTo>
                  <a:pt x="693" y="9357"/>
                </a:lnTo>
                <a:lnTo>
                  <a:pt x="1670" y="2804"/>
                </a:lnTo>
                <a:close/>
                <a:moveTo>
                  <a:pt x="693" y="0"/>
                </a:moveTo>
                <a:cubicBezTo>
                  <a:pt x="567" y="0"/>
                  <a:pt x="473" y="32"/>
                  <a:pt x="410" y="158"/>
                </a:cubicBezTo>
                <a:cubicBezTo>
                  <a:pt x="315" y="252"/>
                  <a:pt x="315" y="378"/>
                  <a:pt x="378" y="473"/>
                </a:cubicBezTo>
                <a:lnTo>
                  <a:pt x="1040" y="2489"/>
                </a:lnTo>
                <a:lnTo>
                  <a:pt x="0" y="9389"/>
                </a:lnTo>
                <a:cubicBezTo>
                  <a:pt x="0" y="9452"/>
                  <a:pt x="0" y="9578"/>
                  <a:pt x="95" y="9672"/>
                </a:cubicBezTo>
                <a:lnTo>
                  <a:pt x="1828" y="11751"/>
                </a:lnTo>
                <a:cubicBezTo>
                  <a:pt x="1891" y="11814"/>
                  <a:pt x="1985" y="11877"/>
                  <a:pt x="2080" y="11877"/>
                </a:cubicBezTo>
                <a:cubicBezTo>
                  <a:pt x="2206" y="11877"/>
                  <a:pt x="2300" y="11814"/>
                  <a:pt x="2363" y="11751"/>
                </a:cubicBezTo>
                <a:lnTo>
                  <a:pt x="4096" y="9672"/>
                </a:lnTo>
                <a:cubicBezTo>
                  <a:pt x="4190" y="9578"/>
                  <a:pt x="4190" y="9483"/>
                  <a:pt x="4190" y="9389"/>
                </a:cubicBezTo>
                <a:lnTo>
                  <a:pt x="3623" y="5797"/>
                </a:lnTo>
                <a:lnTo>
                  <a:pt x="5041" y="7183"/>
                </a:lnTo>
                <a:cubicBezTo>
                  <a:pt x="5136" y="7246"/>
                  <a:pt x="5199" y="7309"/>
                  <a:pt x="5293" y="7309"/>
                </a:cubicBezTo>
                <a:lnTo>
                  <a:pt x="6270" y="7309"/>
                </a:lnTo>
                <a:cubicBezTo>
                  <a:pt x="6459" y="7309"/>
                  <a:pt x="6616" y="7152"/>
                  <a:pt x="6616" y="6931"/>
                </a:cubicBezTo>
                <a:lnTo>
                  <a:pt x="6616" y="5955"/>
                </a:lnTo>
                <a:cubicBezTo>
                  <a:pt x="6616" y="5892"/>
                  <a:pt x="6585" y="5766"/>
                  <a:pt x="6490" y="5734"/>
                </a:cubicBezTo>
                <a:lnTo>
                  <a:pt x="3119" y="2426"/>
                </a:lnTo>
                <a:lnTo>
                  <a:pt x="3749" y="473"/>
                </a:lnTo>
                <a:cubicBezTo>
                  <a:pt x="3781" y="378"/>
                  <a:pt x="3749" y="252"/>
                  <a:pt x="3718" y="158"/>
                </a:cubicBezTo>
                <a:cubicBezTo>
                  <a:pt x="3623" y="95"/>
                  <a:pt x="3560" y="0"/>
                  <a:pt x="3434"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nvGrpSpPr>
          <p:cNvPr id="10155" name="Google Shape;10155;p111"/>
          <p:cNvGrpSpPr/>
          <p:nvPr/>
        </p:nvGrpSpPr>
        <p:grpSpPr>
          <a:xfrm>
            <a:off x="10608806" y="5115035"/>
            <a:ext cx="468420" cy="464684"/>
            <a:chOff x="6167350" y="2672800"/>
            <a:chExt cx="297750" cy="295375"/>
          </a:xfrm>
        </p:grpSpPr>
        <p:sp>
          <p:nvSpPr>
            <p:cNvPr id="10156" name="Google Shape;10156;p111"/>
            <p:cNvSpPr/>
            <p:nvPr/>
          </p:nvSpPr>
          <p:spPr>
            <a:xfrm>
              <a:off x="6167350" y="2672800"/>
              <a:ext cx="226850" cy="295375"/>
            </a:xfrm>
            <a:custGeom>
              <a:avLst/>
              <a:gdLst/>
              <a:ahLst/>
              <a:cxnLst/>
              <a:rect l="l" t="t" r="r" b="b"/>
              <a:pathLst>
                <a:path w="9074" h="11815" extrusionOk="0">
                  <a:moveTo>
                    <a:pt x="4537" y="725"/>
                  </a:moveTo>
                  <a:cubicBezTo>
                    <a:pt x="4758" y="725"/>
                    <a:pt x="4915" y="882"/>
                    <a:pt x="4915" y="1071"/>
                  </a:cubicBezTo>
                  <a:cubicBezTo>
                    <a:pt x="4915" y="1260"/>
                    <a:pt x="5073" y="1418"/>
                    <a:pt x="5262" y="1418"/>
                  </a:cubicBezTo>
                  <a:lnTo>
                    <a:pt x="5955" y="1418"/>
                  </a:lnTo>
                  <a:cubicBezTo>
                    <a:pt x="6175" y="1418"/>
                    <a:pt x="6333" y="1575"/>
                    <a:pt x="6333" y="1796"/>
                  </a:cubicBezTo>
                  <a:cubicBezTo>
                    <a:pt x="6333" y="1985"/>
                    <a:pt x="6175" y="2142"/>
                    <a:pt x="5955" y="2142"/>
                  </a:cubicBezTo>
                  <a:lnTo>
                    <a:pt x="3119" y="2142"/>
                  </a:lnTo>
                  <a:cubicBezTo>
                    <a:pt x="2930" y="2142"/>
                    <a:pt x="2773" y="1985"/>
                    <a:pt x="2773" y="1796"/>
                  </a:cubicBezTo>
                  <a:cubicBezTo>
                    <a:pt x="2773" y="1575"/>
                    <a:pt x="2930" y="1418"/>
                    <a:pt x="3151" y="1418"/>
                  </a:cubicBezTo>
                  <a:lnTo>
                    <a:pt x="3844" y="1418"/>
                  </a:lnTo>
                  <a:cubicBezTo>
                    <a:pt x="4033" y="1418"/>
                    <a:pt x="4191" y="1260"/>
                    <a:pt x="4191" y="1071"/>
                  </a:cubicBezTo>
                  <a:cubicBezTo>
                    <a:pt x="4191" y="882"/>
                    <a:pt x="4348" y="725"/>
                    <a:pt x="4537" y="725"/>
                  </a:cubicBezTo>
                  <a:close/>
                  <a:moveTo>
                    <a:pt x="8066" y="2111"/>
                  </a:moveTo>
                  <a:cubicBezTo>
                    <a:pt x="8255" y="2111"/>
                    <a:pt x="8412" y="2268"/>
                    <a:pt x="8412" y="2458"/>
                  </a:cubicBezTo>
                  <a:lnTo>
                    <a:pt x="8412" y="10806"/>
                  </a:lnTo>
                  <a:lnTo>
                    <a:pt x="8381" y="10806"/>
                  </a:lnTo>
                  <a:cubicBezTo>
                    <a:pt x="8381" y="10995"/>
                    <a:pt x="8223" y="11153"/>
                    <a:pt x="8034" y="11153"/>
                  </a:cubicBezTo>
                  <a:lnTo>
                    <a:pt x="1040" y="11153"/>
                  </a:lnTo>
                  <a:cubicBezTo>
                    <a:pt x="851" y="11153"/>
                    <a:pt x="693" y="10995"/>
                    <a:pt x="693" y="10806"/>
                  </a:cubicBezTo>
                  <a:lnTo>
                    <a:pt x="693" y="2458"/>
                  </a:lnTo>
                  <a:cubicBezTo>
                    <a:pt x="693" y="2268"/>
                    <a:pt x="851" y="2111"/>
                    <a:pt x="1040" y="2111"/>
                  </a:cubicBezTo>
                  <a:lnTo>
                    <a:pt x="2143" y="2111"/>
                  </a:lnTo>
                  <a:cubicBezTo>
                    <a:pt x="2300" y="2489"/>
                    <a:pt x="2647" y="2804"/>
                    <a:pt x="3119" y="2804"/>
                  </a:cubicBezTo>
                  <a:lnTo>
                    <a:pt x="5986" y="2804"/>
                  </a:lnTo>
                  <a:cubicBezTo>
                    <a:pt x="6396" y="2804"/>
                    <a:pt x="6805" y="2521"/>
                    <a:pt x="6963" y="2111"/>
                  </a:cubicBezTo>
                  <a:close/>
                  <a:moveTo>
                    <a:pt x="4506" y="0"/>
                  </a:moveTo>
                  <a:cubicBezTo>
                    <a:pt x="4096" y="0"/>
                    <a:pt x="3686" y="284"/>
                    <a:pt x="3529" y="725"/>
                  </a:cubicBezTo>
                  <a:lnTo>
                    <a:pt x="3088" y="725"/>
                  </a:lnTo>
                  <a:cubicBezTo>
                    <a:pt x="2678" y="725"/>
                    <a:pt x="2269" y="1008"/>
                    <a:pt x="2111" y="1418"/>
                  </a:cubicBezTo>
                  <a:lnTo>
                    <a:pt x="1009" y="1418"/>
                  </a:lnTo>
                  <a:cubicBezTo>
                    <a:pt x="410" y="1418"/>
                    <a:pt x="0" y="1890"/>
                    <a:pt x="0" y="2458"/>
                  </a:cubicBezTo>
                  <a:lnTo>
                    <a:pt x="0" y="10806"/>
                  </a:lnTo>
                  <a:cubicBezTo>
                    <a:pt x="0" y="11405"/>
                    <a:pt x="473" y="11814"/>
                    <a:pt x="1009" y="11814"/>
                  </a:cubicBezTo>
                  <a:lnTo>
                    <a:pt x="7971" y="11814"/>
                  </a:lnTo>
                  <a:cubicBezTo>
                    <a:pt x="8570" y="11814"/>
                    <a:pt x="9011" y="11342"/>
                    <a:pt x="9011" y="10806"/>
                  </a:cubicBezTo>
                  <a:lnTo>
                    <a:pt x="9011" y="2458"/>
                  </a:lnTo>
                  <a:cubicBezTo>
                    <a:pt x="9074" y="1859"/>
                    <a:pt x="8601" y="1418"/>
                    <a:pt x="8034" y="1418"/>
                  </a:cubicBezTo>
                  <a:lnTo>
                    <a:pt x="6931" y="1418"/>
                  </a:lnTo>
                  <a:cubicBezTo>
                    <a:pt x="6774" y="1040"/>
                    <a:pt x="6396" y="725"/>
                    <a:pt x="5923" y="725"/>
                  </a:cubicBezTo>
                  <a:lnTo>
                    <a:pt x="5545" y="725"/>
                  </a:lnTo>
                  <a:cubicBezTo>
                    <a:pt x="5514" y="567"/>
                    <a:pt x="5388" y="441"/>
                    <a:pt x="5262" y="315"/>
                  </a:cubicBezTo>
                  <a:cubicBezTo>
                    <a:pt x="5073" y="126"/>
                    <a:pt x="4789" y="0"/>
                    <a:pt x="4506"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157" name="Google Shape;10157;p111"/>
            <p:cNvSpPr/>
            <p:nvPr/>
          </p:nvSpPr>
          <p:spPr>
            <a:xfrm>
              <a:off x="6201225" y="2762575"/>
              <a:ext cx="52775" cy="49650"/>
            </a:xfrm>
            <a:custGeom>
              <a:avLst/>
              <a:gdLst/>
              <a:ahLst/>
              <a:cxnLst/>
              <a:rect l="l" t="t" r="r" b="b"/>
              <a:pathLst>
                <a:path w="2111" h="1986" extrusionOk="0">
                  <a:moveTo>
                    <a:pt x="406" y="1"/>
                  </a:moveTo>
                  <a:cubicBezTo>
                    <a:pt x="315" y="1"/>
                    <a:pt x="221" y="32"/>
                    <a:pt x="158" y="95"/>
                  </a:cubicBezTo>
                  <a:cubicBezTo>
                    <a:pt x="63" y="190"/>
                    <a:pt x="63" y="442"/>
                    <a:pt x="158" y="568"/>
                  </a:cubicBezTo>
                  <a:lnTo>
                    <a:pt x="599" y="977"/>
                  </a:lnTo>
                  <a:lnTo>
                    <a:pt x="158" y="1418"/>
                  </a:lnTo>
                  <a:cubicBezTo>
                    <a:pt x="0" y="1544"/>
                    <a:pt x="0" y="1733"/>
                    <a:pt x="158" y="1891"/>
                  </a:cubicBezTo>
                  <a:cubicBezTo>
                    <a:pt x="221" y="1954"/>
                    <a:pt x="315" y="1985"/>
                    <a:pt x="406" y="1985"/>
                  </a:cubicBezTo>
                  <a:cubicBezTo>
                    <a:pt x="496" y="1985"/>
                    <a:pt x="583" y="1954"/>
                    <a:pt x="630" y="1891"/>
                  </a:cubicBezTo>
                  <a:lnTo>
                    <a:pt x="1071" y="1450"/>
                  </a:lnTo>
                  <a:lnTo>
                    <a:pt x="1512" y="1891"/>
                  </a:lnTo>
                  <a:cubicBezTo>
                    <a:pt x="1575" y="1954"/>
                    <a:pt x="1662" y="1985"/>
                    <a:pt x="1749" y="1985"/>
                  </a:cubicBezTo>
                  <a:cubicBezTo>
                    <a:pt x="1835" y="1985"/>
                    <a:pt x="1922" y="1954"/>
                    <a:pt x="1985" y="1891"/>
                  </a:cubicBezTo>
                  <a:cubicBezTo>
                    <a:pt x="2111" y="1765"/>
                    <a:pt x="2111" y="1544"/>
                    <a:pt x="1985" y="1418"/>
                  </a:cubicBezTo>
                  <a:lnTo>
                    <a:pt x="1544" y="977"/>
                  </a:lnTo>
                  <a:lnTo>
                    <a:pt x="1985" y="568"/>
                  </a:lnTo>
                  <a:cubicBezTo>
                    <a:pt x="2111" y="442"/>
                    <a:pt x="2111" y="190"/>
                    <a:pt x="1985" y="95"/>
                  </a:cubicBezTo>
                  <a:cubicBezTo>
                    <a:pt x="1922" y="32"/>
                    <a:pt x="1835" y="1"/>
                    <a:pt x="1749" y="1"/>
                  </a:cubicBezTo>
                  <a:cubicBezTo>
                    <a:pt x="1662" y="1"/>
                    <a:pt x="1575" y="32"/>
                    <a:pt x="1512" y="95"/>
                  </a:cubicBezTo>
                  <a:lnTo>
                    <a:pt x="1071" y="505"/>
                  </a:lnTo>
                  <a:lnTo>
                    <a:pt x="630" y="95"/>
                  </a:lnTo>
                  <a:cubicBezTo>
                    <a:pt x="583" y="32"/>
                    <a:pt x="496" y="1"/>
                    <a:pt x="406"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158" name="Google Shape;10158;p111"/>
            <p:cNvSpPr/>
            <p:nvPr/>
          </p:nvSpPr>
          <p:spPr>
            <a:xfrm>
              <a:off x="6308325" y="2882300"/>
              <a:ext cx="51225" cy="49650"/>
            </a:xfrm>
            <a:custGeom>
              <a:avLst/>
              <a:gdLst/>
              <a:ahLst/>
              <a:cxnLst/>
              <a:rect l="l" t="t" r="r" b="b"/>
              <a:pathLst>
                <a:path w="2049" h="1986" extrusionOk="0">
                  <a:moveTo>
                    <a:pt x="363" y="0"/>
                  </a:moveTo>
                  <a:cubicBezTo>
                    <a:pt x="276" y="0"/>
                    <a:pt x="190" y="32"/>
                    <a:pt x="127" y="95"/>
                  </a:cubicBezTo>
                  <a:cubicBezTo>
                    <a:pt x="1" y="221"/>
                    <a:pt x="1" y="441"/>
                    <a:pt x="127" y="567"/>
                  </a:cubicBezTo>
                  <a:lnTo>
                    <a:pt x="568" y="1009"/>
                  </a:lnTo>
                  <a:lnTo>
                    <a:pt x="127" y="1450"/>
                  </a:lnTo>
                  <a:cubicBezTo>
                    <a:pt x="1" y="1544"/>
                    <a:pt x="1" y="1796"/>
                    <a:pt x="127" y="1891"/>
                  </a:cubicBezTo>
                  <a:cubicBezTo>
                    <a:pt x="190" y="1954"/>
                    <a:pt x="276" y="1985"/>
                    <a:pt x="363" y="1985"/>
                  </a:cubicBezTo>
                  <a:cubicBezTo>
                    <a:pt x="450" y="1985"/>
                    <a:pt x="536" y="1954"/>
                    <a:pt x="599" y="1891"/>
                  </a:cubicBezTo>
                  <a:lnTo>
                    <a:pt x="1040" y="1481"/>
                  </a:lnTo>
                  <a:lnTo>
                    <a:pt x="1481" y="1891"/>
                  </a:lnTo>
                  <a:cubicBezTo>
                    <a:pt x="1529" y="1954"/>
                    <a:pt x="1615" y="1985"/>
                    <a:pt x="1706" y="1985"/>
                  </a:cubicBezTo>
                  <a:cubicBezTo>
                    <a:pt x="1797" y="1985"/>
                    <a:pt x="1891" y="1954"/>
                    <a:pt x="1954" y="1891"/>
                  </a:cubicBezTo>
                  <a:cubicBezTo>
                    <a:pt x="2049" y="1796"/>
                    <a:pt x="2049" y="1544"/>
                    <a:pt x="1954" y="1450"/>
                  </a:cubicBezTo>
                  <a:lnTo>
                    <a:pt x="1513" y="1009"/>
                  </a:lnTo>
                  <a:lnTo>
                    <a:pt x="1954" y="567"/>
                  </a:lnTo>
                  <a:cubicBezTo>
                    <a:pt x="2049" y="441"/>
                    <a:pt x="2049" y="252"/>
                    <a:pt x="1954" y="95"/>
                  </a:cubicBezTo>
                  <a:cubicBezTo>
                    <a:pt x="1891" y="32"/>
                    <a:pt x="1804" y="0"/>
                    <a:pt x="1718" y="0"/>
                  </a:cubicBezTo>
                  <a:cubicBezTo>
                    <a:pt x="1631" y="0"/>
                    <a:pt x="1544" y="32"/>
                    <a:pt x="1481" y="95"/>
                  </a:cubicBezTo>
                  <a:lnTo>
                    <a:pt x="1040" y="536"/>
                  </a:lnTo>
                  <a:lnTo>
                    <a:pt x="599" y="95"/>
                  </a:lnTo>
                  <a:cubicBezTo>
                    <a:pt x="536" y="32"/>
                    <a:pt x="450" y="0"/>
                    <a:pt x="363"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159" name="Google Shape;10159;p111"/>
            <p:cNvSpPr/>
            <p:nvPr/>
          </p:nvSpPr>
          <p:spPr>
            <a:xfrm>
              <a:off x="6200425" y="2759425"/>
              <a:ext cx="156775" cy="174875"/>
            </a:xfrm>
            <a:custGeom>
              <a:avLst/>
              <a:gdLst/>
              <a:ahLst/>
              <a:cxnLst/>
              <a:rect l="l" t="t" r="r" b="b"/>
              <a:pathLst>
                <a:path w="6271" h="6995" extrusionOk="0">
                  <a:moveTo>
                    <a:pt x="1103" y="5609"/>
                  </a:moveTo>
                  <a:cubicBezTo>
                    <a:pt x="1292" y="5609"/>
                    <a:pt x="1450" y="5766"/>
                    <a:pt x="1450" y="5955"/>
                  </a:cubicBezTo>
                  <a:cubicBezTo>
                    <a:pt x="1450" y="6144"/>
                    <a:pt x="1292" y="6302"/>
                    <a:pt x="1103" y="6302"/>
                  </a:cubicBezTo>
                  <a:cubicBezTo>
                    <a:pt x="914" y="6302"/>
                    <a:pt x="757" y="6144"/>
                    <a:pt x="757" y="5955"/>
                  </a:cubicBezTo>
                  <a:cubicBezTo>
                    <a:pt x="757" y="5766"/>
                    <a:pt x="914" y="5609"/>
                    <a:pt x="1103" y="5609"/>
                  </a:cubicBezTo>
                  <a:close/>
                  <a:moveTo>
                    <a:pt x="5325" y="1"/>
                  </a:moveTo>
                  <a:cubicBezTo>
                    <a:pt x="5230" y="1"/>
                    <a:pt x="5136" y="64"/>
                    <a:pt x="5073" y="127"/>
                  </a:cubicBezTo>
                  <a:lnTo>
                    <a:pt x="4380" y="851"/>
                  </a:lnTo>
                  <a:cubicBezTo>
                    <a:pt x="4254" y="946"/>
                    <a:pt x="4254" y="1198"/>
                    <a:pt x="4380" y="1324"/>
                  </a:cubicBezTo>
                  <a:cubicBezTo>
                    <a:pt x="4443" y="1371"/>
                    <a:pt x="4529" y="1395"/>
                    <a:pt x="4616" y="1395"/>
                  </a:cubicBezTo>
                  <a:cubicBezTo>
                    <a:pt x="4703" y="1395"/>
                    <a:pt x="4789" y="1371"/>
                    <a:pt x="4852" y="1324"/>
                  </a:cubicBezTo>
                  <a:lnTo>
                    <a:pt x="4978" y="1198"/>
                  </a:lnTo>
                  <a:lnTo>
                    <a:pt x="4978" y="2458"/>
                  </a:lnTo>
                  <a:cubicBezTo>
                    <a:pt x="4978" y="2647"/>
                    <a:pt x="4821" y="2805"/>
                    <a:pt x="4600" y="2805"/>
                  </a:cubicBezTo>
                  <a:lnTo>
                    <a:pt x="1765" y="2805"/>
                  </a:lnTo>
                  <a:cubicBezTo>
                    <a:pt x="1513" y="2805"/>
                    <a:pt x="1229" y="2931"/>
                    <a:pt x="1040" y="3120"/>
                  </a:cubicBezTo>
                  <a:cubicBezTo>
                    <a:pt x="820" y="3309"/>
                    <a:pt x="725" y="3592"/>
                    <a:pt x="725" y="3876"/>
                  </a:cubicBezTo>
                  <a:lnTo>
                    <a:pt x="725" y="4978"/>
                  </a:lnTo>
                  <a:cubicBezTo>
                    <a:pt x="316" y="5136"/>
                    <a:pt x="1" y="5482"/>
                    <a:pt x="1" y="5955"/>
                  </a:cubicBezTo>
                  <a:cubicBezTo>
                    <a:pt x="1" y="6554"/>
                    <a:pt x="473" y="6995"/>
                    <a:pt x="1040" y="6995"/>
                  </a:cubicBezTo>
                  <a:cubicBezTo>
                    <a:pt x="1607" y="6995"/>
                    <a:pt x="2048" y="6522"/>
                    <a:pt x="2048" y="5955"/>
                  </a:cubicBezTo>
                  <a:cubicBezTo>
                    <a:pt x="2048" y="5514"/>
                    <a:pt x="1765" y="5136"/>
                    <a:pt x="1355" y="4978"/>
                  </a:cubicBezTo>
                  <a:lnTo>
                    <a:pt x="1355" y="3876"/>
                  </a:lnTo>
                  <a:cubicBezTo>
                    <a:pt x="1355" y="3687"/>
                    <a:pt x="1513" y="3529"/>
                    <a:pt x="1702" y="3529"/>
                  </a:cubicBezTo>
                  <a:lnTo>
                    <a:pt x="4537" y="3529"/>
                  </a:lnTo>
                  <a:cubicBezTo>
                    <a:pt x="5136" y="3529"/>
                    <a:pt x="5545" y="3057"/>
                    <a:pt x="5545" y="2490"/>
                  </a:cubicBezTo>
                  <a:lnTo>
                    <a:pt x="5545" y="1229"/>
                  </a:lnTo>
                  <a:lnTo>
                    <a:pt x="5671" y="1355"/>
                  </a:lnTo>
                  <a:cubicBezTo>
                    <a:pt x="5734" y="1418"/>
                    <a:pt x="5821" y="1450"/>
                    <a:pt x="5908" y="1450"/>
                  </a:cubicBezTo>
                  <a:cubicBezTo>
                    <a:pt x="5994" y="1450"/>
                    <a:pt x="6081" y="1418"/>
                    <a:pt x="6144" y="1355"/>
                  </a:cubicBezTo>
                  <a:cubicBezTo>
                    <a:pt x="6270" y="1229"/>
                    <a:pt x="6270" y="1009"/>
                    <a:pt x="6144" y="883"/>
                  </a:cubicBezTo>
                  <a:lnTo>
                    <a:pt x="5545" y="127"/>
                  </a:lnTo>
                  <a:cubicBezTo>
                    <a:pt x="5482" y="64"/>
                    <a:pt x="5388" y="1"/>
                    <a:pt x="5325"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160" name="Google Shape;10160;p111"/>
            <p:cNvSpPr/>
            <p:nvPr/>
          </p:nvSpPr>
          <p:spPr>
            <a:xfrm>
              <a:off x="6412300" y="2742900"/>
              <a:ext cx="52800" cy="208725"/>
            </a:xfrm>
            <a:custGeom>
              <a:avLst/>
              <a:gdLst/>
              <a:ahLst/>
              <a:cxnLst/>
              <a:rect l="l" t="t" r="r" b="b"/>
              <a:pathLst>
                <a:path w="2112" h="8349" extrusionOk="0">
                  <a:moveTo>
                    <a:pt x="1009" y="662"/>
                  </a:moveTo>
                  <a:cubicBezTo>
                    <a:pt x="1229" y="662"/>
                    <a:pt x="1387" y="819"/>
                    <a:pt x="1387" y="1040"/>
                  </a:cubicBezTo>
                  <a:lnTo>
                    <a:pt x="1387" y="1386"/>
                  </a:lnTo>
                  <a:lnTo>
                    <a:pt x="662" y="1386"/>
                  </a:lnTo>
                  <a:lnTo>
                    <a:pt x="662" y="1040"/>
                  </a:lnTo>
                  <a:cubicBezTo>
                    <a:pt x="662" y="819"/>
                    <a:pt x="820" y="662"/>
                    <a:pt x="1009" y="662"/>
                  </a:cubicBezTo>
                  <a:close/>
                  <a:moveTo>
                    <a:pt x="1387" y="2048"/>
                  </a:moveTo>
                  <a:lnTo>
                    <a:pt x="1387" y="6017"/>
                  </a:lnTo>
                  <a:cubicBezTo>
                    <a:pt x="1261" y="5986"/>
                    <a:pt x="1142" y="5970"/>
                    <a:pt x="1024" y="5970"/>
                  </a:cubicBezTo>
                  <a:cubicBezTo>
                    <a:pt x="906" y="5970"/>
                    <a:pt x="788" y="5986"/>
                    <a:pt x="662" y="6017"/>
                  </a:cubicBezTo>
                  <a:lnTo>
                    <a:pt x="662" y="2048"/>
                  </a:lnTo>
                  <a:close/>
                  <a:moveTo>
                    <a:pt x="1009" y="6711"/>
                  </a:moveTo>
                  <a:cubicBezTo>
                    <a:pt x="1103" y="6711"/>
                    <a:pt x="1166" y="6711"/>
                    <a:pt x="1261" y="6742"/>
                  </a:cubicBezTo>
                  <a:lnTo>
                    <a:pt x="1009" y="7246"/>
                  </a:lnTo>
                  <a:lnTo>
                    <a:pt x="788" y="6742"/>
                  </a:lnTo>
                  <a:cubicBezTo>
                    <a:pt x="851" y="6711"/>
                    <a:pt x="946" y="6711"/>
                    <a:pt x="1009" y="6711"/>
                  </a:cubicBezTo>
                  <a:close/>
                  <a:moveTo>
                    <a:pt x="1009" y="0"/>
                  </a:moveTo>
                  <a:cubicBezTo>
                    <a:pt x="441" y="0"/>
                    <a:pt x="0" y="473"/>
                    <a:pt x="0" y="1040"/>
                  </a:cubicBezTo>
                  <a:lnTo>
                    <a:pt x="0" y="6616"/>
                  </a:lnTo>
                  <a:cubicBezTo>
                    <a:pt x="0" y="6648"/>
                    <a:pt x="0" y="6742"/>
                    <a:pt x="32" y="6774"/>
                  </a:cubicBezTo>
                  <a:lnTo>
                    <a:pt x="757" y="8160"/>
                  </a:lnTo>
                  <a:cubicBezTo>
                    <a:pt x="788" y="8286"/>
                    <a:pt x="946" y="8349"/>
                    <a:pt x="1040" y="8349"/>
                  </a:cubicBezTo>
                  <a:cubicBezTo>
                    <a:pt x="1166" y="8349"/>
                    <a:pt x="1292" y="8286"/>
                    <a:pt x="1355" y="8160"/>
                  </a:cubicBezTo>
                  <a:lnTo>
                    <a:pt x="2080" y="6774"/>
                  </a:lnTo>
                  <a:cubicBezTo>
                    <a:pt x="2111" y="6742"/>
                    <a:pt x="2111" y="6648"/>
                    <a:pt x="2111" y="6616"/>
                  </a:cubicBezTo>
                  <a:lnTo>
                    <a:pt x="2111" y="1040"/>
                  </a:lnTo>
                  <a:cubicBezTo>
                    <a:pt x="2048" y="473"/>
                    <a:pt x="1576" y="0"/>
                    <a:pt x="1009"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10161" name="Google Shape;10161;p111"/>
          <p:cNvGrpSpPr/>
          <p:nvPr/>
        </p:nvGrpSpPr>
        <p:grpSpPr>
          <a:xfrm>
            <a:off x="8263469" y="2042013"/>
            <a:ext cx="463465" cy="467161"/>
            <a:chOff x="1777925" y="1953700"/>
            <a:chExt cx="294600" cy="296950"/>
          </a:xfrm>
        </p:grpSpPr>
        <p:sp>
          <p:nvSpPr>
            <p:cNvPr id="10162" name="Google Shape;10162;p111"/>
            <p:cNvSpPr/>
            <p:nvPr/>
          </p:nvSpPr>
          <p:spPr>
            <a:xfrm>
              <a:off x="1794450" y="2052125"/>
              <a:ext cx="278075" cy="198525"/>
            </a:xfrm>
            <a:custGeom>
              <a:avLst/>
              <a:gdLst/>
              <a:ahLst/>
              <a:cxnLst/>
              <a:rect l="l" t="t" r="r" b="b"/>
              <a:pathLst>
                <a:path w="11123" h="7941" extrusionOk="0">
                  <a:moveTo>
                    <a:pt x="10545" y="1"/>
                  </a:moveTo>
                  <a:cubicBezTo>
                    <a:pt x="10499" y="1"/>
                    <a:pt x="10449" y="11"/>
                    <a:pt x="10397" y="33"/>
                  </a:cubicBezTo>
                  <a:cubicBezTo>
                    <a:pt x="10208" y="64"/>
                    <a:pt x="10145" y="253"/>
                    <a:pt x="10177" y="474"/>
                  </a:cubicBezTo>
                  <a:cubicBezTo>
                    <a:pt x="10334" y="1009"/>
                    <a:pt x="10460" y="1514"/>
                    <a:pt x="10460" y="1986"/>
                  </a:cubicBezTo>
                  <a:cubicBezTo>
                    <a:pt x="10460" y="4885"/>
                    <a:pt x="8129" y="7247"/>
                    <a:pt x="5199" y="7247"/>
                  </a:cubicBezTo>
                  <a:cubicBezTo>
                    <a:pt x="3561" y="7247"/>
                    <a:pt x="2017" y="6460"/>
                    <a:pt x="1040" y="5137"/>
                  </a:cubicBezTo>
                  <a:lnTo>
                    <a:pt x="1734" y="5137"/>
                  </a:lnTo>
                  <a:cubicBezTo>
                    <a:pt x="1954" y="5137"/>
                    <a:pt x="2112" y="4979"/>
                    <a:pt x="2112" y="4790"/>
                  </a:cubicBezTo>
                  <a:cubicBezTo>
                    <a:pt x="2112" y="4601"/>
                    <a:pt x="1954" y="4444"/>
                    <a:pt x="1734" y="4444"/>
                  </a:cubicBezTo>
                  <a:lnTo>
                    <a:pt x="379" y="4444"/>
                  </a:lnTo>
                  <a:cubicBezTo>
                    <a:pt x="158" y="4444"/>
                    <a:pt x="1" y="4601"/>
                    <a:pt x="1" y="4790"/>
                  </a:cubicBezTo>
                  <a:lnTo>
                    <a:pt x="1" y="6176"/>
                  </a:lnTo>
                  <a:cubicBezTo>
                    <a:pt x="1" y="6365"/>
                    <a:pt x="158" y="6523"/>
                    <a:pt x="379" y="6523"/>
                  </a:cubicBezTo>
                  <a:cubicBezTo>
                    <a:pt x="568" y="6523"/>
                    <a:pt x="725" y="6365"/>
                    <a:pt x="725" y="6176"/>
                  </a:cubicBezTo>
                  <a:lnTo>
                    <a:pt x="725" y="5830"/>
                  </a:lnTo>
                  <a:cubicBezTo>
                    <a:pt x="1860" y="7184"/>
                    <a:pt x="3529" y="7941"/>
                    <a:pt x="5199" y="7941"/>
                  </a:cubicBezTo>
                  <a:cubicBezTo>
                    <a:pt x="8476" y="7941"/>
                    <a:pt x="11122" y="5294"/>
                    <a:pt x="11122" y="2049"/>
                  </a:cubicBezTo>
                  <a:cubicBezTo>
                    <a:pt x="11122" y="1482"/>
                    <a:pt x="11028" y="883"/>
                    <a:pt x="10839" y="253"/>
                  </a:cubicBezTo>
                  <a:cubicBezTo>
                    <a:pt x="10814" y="109"/>
                    <a:pt x="10698" y="1"/>
                    <a:pt x="10545"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163" name="Google Shape;10163;p111"/>
            <p:cNvSpPr/>
            <p:nvPr/>
          </p:nvSpPr>
          <p:spPr>
            <a:xfrm>
              <a:off x="1777925" y="1953700"/>
              <a:ext cx="278050" cy="198675"/>
            </a:xfrm>
            <a:custGeom>
              <a:avLst/>
              <a:gdLst/>
              <a:ahLst/>
              <a:cxnLst/>
              <a:rect l="l" t="t" r="r" b="b"/>
              <a:pathLst>
                <a:path w="11122" h="7947" extrusionOk="0">
                  <a:moveTo>
                    <a:pt x="5892" y="0"/>
                  </a:moveTo>
                  <a:cubicBezTo>
                    <a:pt x="2647" y="0"/>
                    <a:pt x="0" y="2615"/>
                    <a:pt x="0" y="5892"/>
                  </a:cubicBezTo>
                  <a:cubicBezTo>
                    <a:pt x="0" y="6459"/>
                    <a:pt x="63" y="7026"/>
                    <a:pt x="284" y="7656"/>
                  </a:cubicBezTo>
                  <a:cubicBezTo>
                    <a:pt x="310" y="7869"/>
                    <a:pt x="450" y="7947"/>
                    <a:pt x="606" y="7947"/>
                  </a:cubicBezTo>
                  <a:cubicBezTo>
                    <a:pt x="635" y="7947"/>
                    <a:pt x="664" y="7944"/>
                    <a:pt x="693" y="7939"/>
                  </a:cubicBezTo>
                  <a:cubicBezTo>
                    <a:pt x="914" y="7908"/>
                    <a:pt x="977" y="7719"/>
                    <a:pt x="945" y="7498"/>
                  </a:cubicBezTo>
                  <a:cubicBezTo>
                    <a:pt x="788" y="6963"/>
                    <a:pt x="662" y="6459"/>
                    <a:pt x="662" y="5923"/>
                  </a:cubicBezTo>
                  <a:cubicBezTo>
                    <a:pt x="662" y="3056"/>
                    <a:pt x="2993" y="693"/>
                    <a:pt x="5923" y="693"/>
                  </a:cubicBezTo>
                  <a:cubicBezTo>
                    <a:pt x="7561" y="693"/>
                    <a:pt x="9105" y="1481"/>
                    <a:pt x="10082" y="2773"/>
                  </a:cubicBezTo>
                  <a:lnTo>
                    <a:pt x="9389" y="2773"/>
                  </a:lnTo>
                  <a:cubicBezTo>
                    <a:pt x="9168" y="2773"/>
                    <a:pt x="9011" y="2930"/>
                    <a:pt x="9011" y="3151"/>
                  </a:cubicBezTo>
                  <a:cubicBezTo>
                    <a:pt x="9011" y="3340"/>
                    <a:pt x="9168" y="3497"/>
                    <a:pt x="9389" y="3497"/>
                  </a:cubicBezTo>
                  <a:lnTo>
                    <a:pt x="10743" y="3497"/>
                  </a:lnTo>
                  <a:cubicBezTo>
                    <a:pt x="10964" y="3497"/>
                    <a:pt x="11121" y="3340"/>
                    <a:pt x="11121" y="3151"/>
                  </a:cubicBezTo>
                  <a:lnTo>
                    <a:pt x="11121" y="1765"/>
                  </a:lnTo>
                  <a:cubicBezTo>
                    <a:pt x="11121" y="1575"/>
                    <a:pt x="10964" y="1418"/>
                    <a:pt x="10743" y="1418"/>
                  </a:cubicBezTo>
                  <a:cubicBezTo>
                    <a:pt x="10554" y="1418"/>
                    <a:pt x="10397" y="1575"/>
                    <a:pt x="10397" y="1765"/>
                  </a:cubicBezTo>
                  <a:lnTo>
                    <a:pt x="10397" y="2111"/>
                  </a:lnTo>
                  <a:cubicBezTo>
                    <a:pt x="9263" y="725"/>
                    <a:pt x="7593" y="0"/>
                    <a:pt x="5892"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164" name="Google Shape;10164;p111"/>
            <p:cNvSpPr/>
            <p:nvPr/>
          </p:nvSpPr>
          <p:spPr>
            <a:xfrm>
              <a:off x="1829125" y="2006475"/>
              <a:ext cx="191400" cy="191400"/>
            </a:xfrm>
            <a:custGeom>
              <a:avLst/>
              <a:gdLst/>
              <a:ahLst/>
              <a:cxnLst/>
              <a:rect l="l" t="t" r="r" b="b"/>
              <a:pathLst>
                <a:path w="7656" h="7656" extrusionOk="0">
                  <a:moveTo>
                    <a:pt x="4190" y="693"/>
                  </a:moveTo>
                  <a:cubicBezTo>
                    <a:pt x="4757" y="788"/>
                    <a:pt x="5324" y="1008"/>
                    <a:pt x="5797" y="1386"/>
                  </a:cubicBezTo>
                  <a:lnTo>
                    <a:pt x="5545" y="1607"/>
                  </a:lnTo>
                  <a:cubicBezTo>
                    <a:pt x="5450" y="1733"/>
                    <a:pt x="5450" y="1953"/>
                    <a:pt x="5545" y="2079"/>
                  </a:cubicBezTo>
                  <a:cubicBezTo>
                    <a:pt x="5608" y="2142"/>
                    <a:pt x="5702" y="2174"/>
                    <a:pt x="5793" y="2174"/>
                  </a:cubicBezTo>
                  <a:cubicBezTo>
                    <a:pt x="5884" y="2174"/>
                    <a:pt x="5970" y="2142"/>
                    <a:pt x="6017" y="2079"/>
                  </a:cubicBezTo>
                  <a:lnTo>
                    <a:pt x="6270" y="1859"/>
                  </a:lnTo>
                  <a:cubicBezTo>
                    <a:pt x="6616" y="2268"/>
                    <a:pt x="6868" y="2835"/>
                    <a:pt x="6931" y="3466"/>
                  </a:cubicBezTo>
                  <a:lnTo>
                    <a:pt x="6616" y="3466"/>
                  </a:lnTo>
                  <a:cubicBezTo>
                    <a:pt x="6427" y="3466"/>
                    <a:pt x="6270" y="3623"/>
                    <a:pt x="6270" y="3812"/>
                  </a:cubicBezTo>
                  <a:cubicBezTo>
                    <a:pt x="6270" y="4001"/>
                    <a:pt x="6427" y="4159"/>
                    <a:pt x="6616" y="4159"/>
                  </a:cubicBezTo>
                  <a:lnTo>
                    <a:pt x="6931" y="4159"/>
                  </a:lnTo>
                  <a:cubicBezTo>
                    <a:pt x="6868" y="4757"/>
                    <a:pt x="6616" y="5324"/>
                    <a:pt x="6270" y="5797"/>
                  </a:cubicBezTo>
                  <a:lnTo>
                    <a:pt x="6017" y="5545"/>
                  </a:lnTo>
                  <a:cubicBezTo>
                    <a:pt x="5970" y="5482"/>
                    <a:pt x="5884" y="5450"/>
                    <a:pt x="5793" y="5450"/>
                  </a:cubicBezTo>
                  <a:cubicBezTo>
                    <a:pt x="5702" y="5450"/>
                    <a:pt x="5608" y="5482"/>
                    <a:pt x="5545" y="5545"/>
                  </a:cubicBezTo>
                  <a:cubicBezTo>
                    <a:pt x="5450" y="5671"/>
                    <a:pt x="5450" y="5923"/>
                    <a:pt x="5545" y="6017"/>
                  </a:cubicBezTo>
                  <a:lnTo>
                    <a:pt x="5797" y="6270"/>
                  </a:lnTo>
                  <a:cubicBezTo>
                    <a:pt x="5356" y="6616"/>
                    <a:pt x="4820" y="6837"/>
                    <a:pt x="4190" y="6931"/>
                  </a:cubicBezTo>
                  <a:lnTo>
                    <a:pt x="4190" y="6616"/>
                  </a:lnTo>
                  <a:cubicBezTo>
                    <a:pt x="4190" y="6427"/>
                    <a:pt x="4033" y="6270"/>
                    <a:pt x="3812" y="6270"/>
                  </a:cubicBezTo>
                  <a:cubicBezTo>
                    <a:pt x="3623" y="6270"/>
                    <a:pt x="3466" y="6427"/>
                    <a:pt x="3466" y="6616"/>
                  </a:cubicBezTo>
                  <a:lnTo>
                    <a:pt x="3466" y="6931"/>
                  </a:lnTo>
                  <a:cubicBezTo>
                    <a:pt x="2867" y="6837"/>
                    <a:pt x="2331" y="6616"/>
                    <a:pt x="1859" y="6270"/>
                  </a:cubicBezTo>
                  <a:lnTo>
                    <a:pt x="2079" y="6017"/>
                  </a:lnTo>
                  <a:cubicBezTo>
                    <a:pt x="2205" y="5891"/>
                    <a:pt x="2205" y="5671"/>
                    <a:pt x="2079" y="5545"/>
                  </a:cubicBezTo>
                  <a:cubicBezTo>
                    <a:pt x="2032" y="5482"/>
                    <a:pt x="1945" y="5450"/>
                    <a:pt x="1855" y="5450"/>
                  </a:cubicBezTo>
                  <a:cubicBezTo>
                    <a:pt x="1764" y="5450"/>
                    <a:pt x="1670" y="5482"/>
                    <a:pt x="1607" y="5545"/>
                  </a:cubicBezTo>
                  <a:lnTo>
                    <a:pt x="1386" y="5797"/>
                  </a:lnTo>
                  <a:cubicBezTo>
                    <a:pt x="1040" y="5356"/>
                    <a:pt x="788" y="4789"/>
                    <a:pt x="725" y="4159"/>
                  </a:cubicBezTo>
                  <a:lnTo>
                    <a:pt x="1040" y="4159"/>
                  </a:lnTo>
                  <a:cubicBezTo>
                    <a:pt x="1229" y="4159"/>
                    <a:pt x="1386" y="4001"/>
                    <a:pt x="1386" y="3812"/>
                  </a:cubicBezTo>
                  <a:cubicBezTo>
                    <a:pt x="1386" y="3623"/>
                    <a:pt x="1229" y="3466"/>
                    <a:pt x="1040" y="3466"/>
                  </a:cubicBezTo>
                  <a:lnTo>
                    <a:pt x="725" y="3466"/>
                  </a:lnTo>
                  <a:cubicBezTo>
                    <a:pt x="788" y="2867"/>
                    <a:pt x="1040" y="2331"/>
                    <a:pt x="1386" y="1859"/>
                  </a:cubicBezTo>
                  <a:lnTo>
                    <a:pt x="1607" y="2079"/>
                  </a:lnTo>
                  <a:cubicBezTo>
                    <a:pt x="1701" y="2174"/>
                    <a:pt x="1764" y="2205"/>
                    <a:pt x="1859" y="2205"/>
                  </a:cubicBezTo>
                  <a:cubicBezTo>
                    <a:pt x="1922" y="2205"/>
                    <a:pt x="2048" y="2174"/>
                    <a:pt x="2079" y="2079"/>
                  </a:cubicBezTo>
                  <a:cubicBezTo>
                    <a:pt x="2205" y="1953"/>
                    <a:pt x="2205" y="1733"/>
                    <a:pt x="2079" y="1607"/>
                  </a:cubicBezTo>
                  <a:lnTo>
                    <a:pt x="1859" y="1386"/>
                  </a:lnTo>
                  <a:cubicBezTo>
                    <a:pt x="2300" y="1008"/>
                    <a:pt x="2835" y="788"/>
                    <a:pt x="3466" y="693"/>
                  </a:cubicBezTo>
                  <a:lnTo>
                    <a:pt x="3466" y="1008"/>
                  </a:lnTo>
                  <a:cubicBezTo>
                    <a:pt x="3466" y="1229"/>
                    <a:pt x="3623" y="1386"/>
                    <a:pt x="3812" y="1386"/>
                  </a:cubicBezTo>
                  <a:cubicBezTo>
                    <a:pt x="4033" y="1386"/>
                    <a:pt x="4190" y="1229"/>
                    <a:pt x="4190" y="1008"/>
                  </a:cubicBezTo>
                  <a:lnTo>
                    <a:pt x="4190" y="693"/>
                  </a:lnTo>
                  <a:close/>
                  <a:moveTo>
                    <a:pt x="3812" y="0"/>
                  </a:moveTo>
                  <a:cubicBezTo>
                    <a:pt x="1733" y="0"/>
                    <a:pt x="0" y="1701"/>
                    <a:pt x="0" y="3812"/>
                  </a:cubicBezTo>
                  <a:cubicBezTo>
                    <a:pt x="0" y="5923"/>
                    <a:pt x="1701" y="7656"/>
                    <a:pt x="3812" y="7656"/>
                  </a:cubicBezTo>
                  <a:cubicBezTo>
                    <a:pt x="5923" y="7656"/>
                    <a:pt x="7656" y="5954"/>
                    <a:pt x="7656" y="3812"/>
                  </a:cubicBezTo>
                  <a:cubicBezTo>
                    <a:pt x="7656" y="1733"/>
                    <a:pt x="5954" y="0"/>
                    <a:pt x="3812"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165" name="Google Shape;10165;p111"/>
            <p:cNvSpPr/>
            <p:nvPr/>
          </p:nvSpPr>
          <p:spPr>
            <a:xfrm>
              <a:off x="1915750" y="2058450"/>
              <a:ext cx="35475" cy="52800"/>
            </a:xfrm>
            <a:custGeom>
              <a:avLst/>
              <a:gdLst/>
              <a:ahLst/>
              <a:cxnLst/>
              <a:rect l="l" t="t" r="r" b="b"/>
              <a:pathLst>
                <a:path w="1419" h="2112" extrusionOk="0">
                  <a:moveTo>
                    <a:pt x="347" y="0"/>
                  </a:moveTo>
                  <a:cubicBezTo>
                    <a:pt x="158" y="0"/>
                    <a:pt x="1" y="158"/>
                    <a:pt x="1" y="378"/>
                  </a:cubicBezTo>
                  <a:lnTo>
                    <a:pt x="1" y="1733"/>
                  </a:lnTo>
                  <a:cubicBezTo>
                    <a:pt x="1" y="1954"/>
                    <a:pt x="158" y="2111"/>
                    <a:pt x="347" y="2111"/>
                  </a:cubicBezTo>
                  <a:lnTo>
                    <a:pt x="1072" y="2111"/>
                  </a:lnTo>
                  <a:cubicBezTo>
                    <a:pt x="1261" y="2111"/>
                    <a:pt x="1418" y="1954"/>
                    <a:pt x="1418" y="1733"/>
                  </a:cubicBezTo>
                  <a:cubicBezTo>
                    <a:pt x="1418" y="1544"/>
                    <a:pt x="1261" y="1387"/>
                    <a:pt x="1072" y="1387"/>
                  </a:cubicBezTo>
                  <a:lnTo>
                    <a:pt x="725" y="1387"/>
                  </a:lnTo>
                  <a:lnTo>
                    <a:pt x="725" y="378"/>
                  </a:lnTo>
                  <a:cubicBezTo>
                    <a:pt x="725" y="158"/>
                    <a:pt x="568" y="0"/>
                    <a:pt x="347"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10166" name="Google Shape;10166;p111"/>
          <p:cNvGrpSpPr/>
          <p:nvPr/>
        </p:nvGrpSpPr>
        <p:grpSpPr>
          <a:xfrm>
            <a:off x="8284549" y="2645864"/>
            <a:ext cx="421303" cy="463465"/>
            <a:chOff x="1790525" y="2319150"/>
            <a:chExt cx="267800" cy="294600"/>
          </a:xfrm>
        </p:grpSpPr>
        <p:sp>
          <p:nvSpPr>
            <p:cNvPr id="10167" name="Google Shape;10167;p111"/>
            <p:cNvSpPr/>
            <p:nvPr/>
          </p:nvSpPr>
          <p:spPr>
            <a:xfrm>
              <a:off x="1881100" y="2423125"/>
              <a:ext cx="88225" cy="155175"/>
            </a:xfrm>
            <a:custGeom>
              <a:avLst/>
              <a:gdLst/>
              <a:ahLst/>
              <a:cxnLst/>
              <a:rect l="l" t="t" r="r" b="b"/>
              <a:pathLst>
                <a:path w="3529" h="6207" extrusionOk="0">
                  <a:moveTo>
                    <a:pt x="1418" y="1323"/>
                  </a:moveTo>
                  <a:lnTo>
                    <a:pt x="1418" y="2741"/>
                  </a:lnTo>
                  <a:lnTo>
                    <a:pt x="1072" y="2741"/>
                  </a:lnTo>
                  <a:cubicBezTo>
                    <a:pt x="882" y="2741"/>
                    <a:pt x="725" y="2583"/>
                    <a:pt x="725" y="2394"/>
                  </a:cubicBezTo>
                  <a:lnTo>
                    <a:pt x="725" y="1701"/>
                  </a:lnTo>
                  <a:cubicBezTo>
                    <a:pt x="725" y="1481"/>
                    <a:pt x="882" y="1323"/>
                    <a:pt x="1072" y="1323"/>
                  </a:cubicBezTo>
                  <a:close/>
                  <a:moveTo>
                    <a:pt x="2458" y="3466"/>
                  </a:moveTo>
                  <a:cubicBezTo>
                    <a:pt x="2647" y="3466"/>
                    <a:pt x="2804" y="3623"/>
                    <a:pt x="2804" y="3812"/>
                  </a:cubicBezTo>
                  <a:lnTo>
                    <a:pt x="2804" y="4537"/>
                  </a:lnTo>
                  <a:cubicBezTo>
                    <a:pt x="2804" y="4726"/>
                    <a:pt x="2647" y="4883"/>
                    <a:pt x="2458" y="4883"/>
                  </a:cubicBezTo>
                  <a:lnTo>
                    <a:pt x="2111" y="4883"/>
                  </a:lnTo>
                  <a:lnTo>
                    <a:pt x="2111" y="3466"/>
                  </a:lnTo>
                  <a:close/>
                  <a:moveTo>
                    <a:pt x="1796" y="0"/>
                  </a:moveTo>
                  <a:cubicBezTo>
                    <a:pt x="1576" y="0"/>
                    <a:pt x="1418" y="158"/>
                    <a:pt x="1418" y="347"/>
                  </a:cubicBezTo>
                  <a:lnTo>
                    <a:pt x="1418" y="693"/>
                  </a:lnTo>
                  <a:lnTo>
                    <a:pt x="1072" y="693"/>
                  </a:lnTo>
                  <a:cubicBezTo>
                    <a:pt x="473" y="693"/>
                    <a:pt x="63" y="1166"/>
                    <a:pt x="63" y="1733"/>
                  </a:cubicBezTo>
                  <a:lnTo>
                    <a:pt x="63" y="2426"/>
                  </a:lnTo>
                  <a:cubicBezTo>
                    <a:pt x="63" y="3025"/>
                    <a:pt x="536" y="3466"/>
                    <a:pt x="1072" y="3466"/>
                  </a:cubicBezTo>
                  <a:lnTo>
                    <a:pt x="1418" y="3466"/>
                  </a:lnTo>
                  <a:lnTo>
                    <a:pt x="1418" y="4852"/>
                  </a:lnTo>
                  <a:lnTo>
                    <a:pt x="1072" y="4852"/>
                  </a:lnTo>
                  <a:cubicBezTo>
                    <a:pt x="882" y="4852"/>
                    <a:pt x="725" y="4694"/>
                    <a:pt x="725" y="4474"/>
                  </a:cubicBezTo>
                  <a:cubicBezTo>
                    <a:pt x="725" y="4285"/>
                    <a:pt x="567" y="4127"/>
                    <a:pt x="378" y="4127"/>
                  </a:cubicBezTo>
                  <a:cubicBezTo>
                    <a:pt x="158" y="4127"/>
                    <a:pt x="0" y="4285"/>
                    <a:pt x="0" y="4474"/>
                  </a:cubicBezTo>
                  <a:cubicBezTo>
                    <a:pt x="0" y="5072"/>
                    <a:pt x="473" y="5513"/>
                    <a:pt x="1040" y="5513"/>
                  </a:cubicBezTo>
                  <a:lnTo>
                    <a:pt x="1387" y="5513"/>
                  </a:lnTo>
                  <a:lnTo>
                    <a:pt x="1387" y="5860"/>
                  </a:lnTo>
                  <a:cubicBezTo>
                    <a:pt x="1387" y="6049"/>
                    <a:pt x="1544" y="6207"/>
                    <a:pt x="1733" y="6207"/>
                  </a:cubicBezTo>
                  <a:cubicBezTo>
                    <a:pt x="1954" y="6207"/>
                    <a:pt x="2111" y="6049"/>
                    <a:pt x="2111" y="5860"/>
                  </a:cubicBezTo>
                  <a:lnTo>
                    <a:pt x="2111" y="5545"/>
                  </a:lnTo>
                  <a:lnTo>
                    <a:pt x="2458" y="5545"/>
                  </a:lnTo>
                  <a:cubicBezTo>
                    <a:pt x="3056" y="5545"/>
                    <a:pt x="3466" y="5072"/>
                    <a:pt x="3466" y="4537"/>
                  </a:cubicBezTo>
                  <a:lnTo>
                    <a:pt x="3466" y="3812"/>
                  </a:lnTo>
                  <a:cubicBezTo>
                    <a:pt x="3466" y="3214"/>
                    <a:pt x="2993" y="2804"/>
                    <a:pt x="2458" y="2804"/>
                  </a:cubicBezTo>
                  <a:lnTo>
                    <a:pt x="2111" y="2804"/>
                  </a:lnTo>
                  <a:lnTo>
                    <a:pt x="2111" y="1386"/>
                  </a:lnTo>
                  <a:lnTo>
                    <a:pt x="2458" y="1386"/>
                  </a:lnTo>
                  <a:cubicBezTo>
                    <a:pt x="2647" y="1386"/>
                    <a:pt x="2804" y="1544"/>
                    <a:pt x="2804" y="1733"/>
                  </a:cubicBezTo>
                  <a:cubicBezTo>
                    <a:pt x="2804" y="1922"/>
                    <a:pt x="2962" y="2079"/>
                    <a:pt x="3151" y="2079"/>
                  </a:cubicBezTo>
                  <a:cubicBezTo>
                    <a:pt x="3371" y="2079"/>
                    <a:pt x="3529" y="1922"/>
                    <a:pt x="3529" y="1733"/>
                  </a:cubicBezTo>
                  <a:cubicBezTo>
                    <a:pt x="3529" y="1134"/>
                    <a:pt x="3056" y="693"/>
                    <a:pt x="2489" y="693"/>
                  </a:cubicBezTo>
                  <a:lnTo>
                    <a:pt x="2143" y="693"/>
                  </a:lnTo>
                  <a:lnTo>
                    <a:pt x="2143" y="347"/>
                  </a:lnTo>
                  <a:cubicBezTo>
                    <a:pt x="2143" y="158"/>
                    <a:pt x="1985" y="0"/>
                    <a:pt x="1796"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168" name="Google Shape;10168;p111"/>
            <p:cNvSpPr/>
            <p:nvPr/>
          </p:nvSpPr>
          <p:spPr>
            <a:xfrm>
              <a:off x="1790525" y="2319150"/>
              <a:ext cx="267800" cy="294600"/>
            </a:xfrm>
            <a:custGeom>
              <a:avLst/>
              <a:gdLst/>
              <a:ahLst/>
              <a:cxnLst/>
              <a:rect l="l" t="t" r="r" b="b"/>
              <a:pathLst>
                <a:path w="10712" h="11784" extrusionOk="0">
                  <a:moveTo>
                    <a:pt x="6427" y="662"/>
                  </a:moveTo>
                  <a:cubicBezTo>
                    <a:pt x="6837" y="662"/>
                    <a:pt x="7152" y="977"/>
                    <a:pt x="7152" y="1355"/>
                  </a:cubicBezTo>
                  <a:cubicBezTo>
                    <a:pt x="7152" y="1765"/>
                    <a:pt x="6837" y="2080"/>
                    <a:pt x="6427" y="2080"/>
                  </a:cubicBezTo>
                  <a:lnTo>
                    <a:pt x="6427" y="1702"/>
                  </a:lnTo>
                  <a:cubicBezTo>
                    <a:pt x="6427" y="1513"/>
                    <a:pt x="6270" y="1355"/>
                    <a:pt x="6081" y="1355"/>
                  </a:cubicBezTo>
                  <a:lnTo>
                    <a:pt x="4695" y="1355"/>
                  </a:lnTo>
                  <a:cubicBezTo>
                    <a:pt x="4505" y="1355"/>
                    <a:pt x="4348" y="1513"/>
                    <a:pt x="4348" y="1702"/>
                  </a:cubicBezTo>
                  <a:lnTo>
                    <a:pt x="4348" y="2080"/>
                  </a:lnTo>
                  <a:cubicBezTo>
                    <a:pt x="3938" y="2017"/>
                    <a:pt x="3623" y="1765"/>
                    <a:pt x="3623" y="1355"/>
                  </a:cubicBezTo>
                  <a:cubicBezTo>
                    <a:pt x="3623" y="977"/>
                    <a:pt x="3938" y="662"/>
                    <a:pt x="4348" y="662"/>
                  </a:cubicBezTo>
                  <a:close/>
                  <a:moveTo>
                    <a:pt x="5734" y="2017"/>
                  </a:moveTo>
                  <a:lnTo>
                    <a:pt x="5734" y="2741"/>
                  </a:lnTo>
                  <a:lnTo>
                    <a:pt x="5010" y="2741"/>
                  </a:lnTo>
                  <a:lnTo>
                    <a:pt x="5010" y="2017"/>
                  </a:lnTo>
                  <a:close/>
                  <a:moveTo>
                    <a:pt x="1418" y="1985"/>
                  </a:moveTo>
                  <a:lnTo>
                    <a:pt x="1859" y="2489"/>
                  </a:lnTo>
                  <a:lnTo>
                    <a:pt x="1355" y="2930"/>
                  </a:lnTo>
                  <a:lnTo>
                    <a:pt x="914" y="2426"/>
                  </a:lnTo>
                  <a:lnTo>
                    <a:pt x="1418" y="1985"/>
                  </a:lnTo>
                  <a:close/>
                  <a:moveTo>
                    <a:pt x="9357" y="1985"/>
                  </a:moveTo>
                  <a:lnTo>
                    <a:pt x="9861" y="2426"/>
                  </a:lnTo>
                  <a:lnTo>
                    <a:pt x="9420" y="2930"/>
                  </a:lnTo>
                  <a:lnTo>
                    <a:pt x="8916" y="2489"/>
                  </a:lnTo>
                  <a:lnTo>
                    <a:pt x="9357" y="1985"/>
                  </a:lnTo>
                  <a:close/>
                  <a:moveTo>
                    <a:pt x="5356" y="3434"/>
                  </a:moveTo>
                  <a:cubicBezTo>
                    <a:pt x="7467" y="3434"/>
                    <a:pt x="9200" y="5167"/>
                    <a:pt x="9200" y="7278"/>
                  </a:cubicBezTo>
                  <a:cubicBezTo>
                    <a:pt x="9200" y="9389"/>
                    <a:pt x="7498" y="11090"/>
                    <a:pt x="5356" y="11090"/>
                  </a:cubicBezTo>
                  <a:cubicBezTo>
                    <a:pt x="3277" y="11090"/>
                    <a:pt x="1544" y="9357"/>
                    <a:pt x="1544" y="7278"/>
                  </a:cubicBezTo>
                  <a:cubicBezTo>
                    <a:pt x="1576" y="5136"/>
                    <a:pt x="3277" y="3434"/>
                    <a:pt x="5356" y="3434"/>
                  </a:cubicBezTo>
                  <a:close/>
                  <a:moveTo>
                    <a:pt x="4316" y="0"/>
                  </a:moveTo>
                  <a:cubicBezTo>
                    <a:pt x="3560" y="0"/>
                    <a:pt x="2930" y="631"/>
                    <a:pt x="2930" y="1387"/>
                  </a:cubicBezTo>
                  <a:cubicBezTo>
                    <a:pt x="2930" y="2143"/>
                    <a:pt x="3560" y="2773"/>
                    <a:pt x="4316" y="2773"/>
                  </a:cubicBezTo>
                  <a:lnTo>
                    <a:pt x="4316" y="2899"/>
                  </a:lnTo>
                  <a:cubicBezTo>
                    <a:pt x="3749" y="3025"/>
                    <a:pt x="3214" y="3277"/>
                    <a:pt x="2741" y="3592"/>
                  </a:cubicBezTo>
                  <a:lnTo>
                    <a:pt x="2269" y="3056"/>
                  </a:lnTo>
                  <a:lnTo>
                    <a:pt x="2521" y="2804"/>
                  </a:lnTo>
                  <a:cubicBezTo>
                    <a:pt x="2741" y="2678"/>
                    <a:pt x="2741" y="2458"/>
                    <a:pt x="2615" y="2332"/>
                  </a:cubicBezTo>
                  <a:lnTo>
                    <a:pt x="1702" y="1292"/>
                  </a:lnTo>
                  <a:cubicBezTo>
                    <a:pt x="1631" y="1203"/>
                    <a:pt x="1530" y="1165"/>
                    <a:pt x="1432" y="1165"/>
                  </a:cubicBezTo>
                  <a:cubicBezTo>
                    <a:pt x="1357" y="1165"/>
                    <a:pt x="1284" y="1188"/>
                    <a:pt x="1229" y="1229"/>
                  </a:cubicBezTo>
                  <a:lnTo>
                    <a:pt x="158" y="2143"/>
                  </a:lnTo>
                  <a:cubicBezTo>
                    <a:pt x="0" y="2269"/>
                    <a:pt x="0" y="2489"/>
                    <a:pt x="126" y="2615"/>
                  </a:cubicBezTo>
                  <a:lnTo>
                    <a:pt x="1040" y="3687"/>
                  </a:lnTo>
                  <a:cubicBezTo>
                    <a:pt x="1106" y="3770"/>
                    <a:pt x="1199" y="3809"/>
                    <a:pt x="1291" y="3809"/>
                  </a:cubicBezTo>
                  <a:cubicBezTo>
                    <a:pt x="1372" y="3809"/>
                    <a:pt x="1453" y="3778"/>
                    <a:pt x="1513" y="3718"/>
                  </a:cubicBezTo>
                  <a:lnTo>
                    <a:pt x="1796" y="3498"/>
                  </a:lnTo>
                  <a:lnTo>
                    <a:pt x="2269" y="4033"/>
                  </a:lnTo>
                  <a:cubicBezTo>
                    <a:pt x="1387" y="4852"/>
                    <a:pt x="882" y="6018"/>
                    <a:pt x="882" y="7278"/>
                  </a:cubicBezTo>
                  <a:cubicBezTo>
                    <a:pt x="882" y="9735"/>
                    <a:pt x="2899" y="11783"/>
                    <a:pt x="5356" y="11783"/>
                  </a:cubicBezTo>
                  <a:cubicBezTo>
                    <a:pt x="7845" y="11783"/>
                    <a:pt x="9861" y="9735"/>
                    <a:pt x="9861" y="7278"/>
                  </a:cubicBezTo>
                  <a:cubicBezTo>
                    <a:pt x="9861" y="6081"/>
                    <a:pt x="9389" y="4915"/>
                    <a:pt x="8475" y="4033"/>
                  </a:cubicBezTo>
                  <a:lnTo>
                    <a:pt x="8948" y="3498"/>
                  </a:lnTo>
                  <a:lnTo>
                    <a:pt x="9231" y="3718"/>
                  </a:lnTo>
                  <a:cubicBezTo>
                    <a:pt x="9306" y="3778"/>
                    <a:pt x="9387" y="3809"/>
                    <a:pt x="9465" y="3809"/>
                  </a:cubicBezTo>
                  <a:cubicBezTo>
                    <a:pt x="9553" y="3809"/>
                    <a:pt x="9637" y="3770"/>
                    <a:pt x="9704" y="3687"/>
                  </a:cubicBezTo>
                  <a:lnTo>
                    <a:pt x="10617" y="2615"/>
                  </a:lnTo>
                  <a:cubicBezTo>
                    <a:pt x="10712" y="2458"/>
                    <a:pt x="10712" y="2269"/>
                    <a:pt x="10554" y="2143"/>
                  </a:cubicBezTo>
                  <a:lnTo>
                    <a:pt x="9515" y="1229"/>
                  </a:lnTo>
                  <a:cubicBezTo>
                    <a:pt x="9446" y="1188"/>
                    <a:pt x="9365" y="1165"/>
                    <a:pt x="9288" y="1165"/>
                  </a:cubicBezTo>
                  <a:cubicBezTo>
                    <a:pt x="9189" y="1165"/>
                    <a:pt x="9095" y="1203"/>
                    <a:pt x="9042" y="1292"/>
                  </a:cubicBezTo>
                  <a:lnTo>
                    <a:pt x="8129" y="2332"/>
                  </a:lnTo>
                  <a:cubicBezTo>
                    <a:pt x="8003" y="2489"/>
                    <a:pt x="8003" y="2710"/>
                    <a:pt x="8160" y="2804"/>
                  </a:cubicBezTo>
                  <a:lnTo>
                    <a:pt x="8444" y="3056"/>
                  </a:lnTo>
                  <a:lnTo>
                    <a:pt x="7971" y="3592"/>
                  </a:lnTo>
                  <a:cubicBezTo>
                    <a:pt x="7498" y="3245"/>
                    <a:pt x="6931" y="3025"/>
                    <a:pt x="6396" y="2899"/>
                  </a:cubicBezTo>
                  <a:lnTo>
                    <a:pt x="6396" y="2773"/>
                  </a:lnTo>
                  <a:cubicBezTo>
                    <a:pt x="7152" y="2773"/>
                    <a:pt x="7782" y="2143"/>
                    <a:pt x="7782" y="1387"/>
                  </a:cubicBezTo>
                  <a:cubicBezTo>
                    <a:pt x="7782" y="631"/>
                    <a:pt x="7152" y="0"/>
                    <a:pt x="6396"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sp>
        <p:nvSpPr>
          <p:cNvPr id="10169" name="Google Shape;10169;p111"/>
          <p:cNvSpPr/>
          <p:nvPr/>
        </p:nvSpPr>
        <p:spPr>
          <a:xfrm>
            <a:off x="8261538" y="3233044"/>
            <a:ext cx="467201" cy="467161"/>
          </a:xfrm>
          <a:custGeom>
            <a:avLst/>
            <a:gdLst/>
            <a:ahLst/>
            <a:cxnLst/>
            <a:rect l="l" t="t" r="r" b="b"/>
            <a:pathLst>
              <a:path w="11879" h="11878" extrusionOk="0">
                <a:moveTo>
                  <a:pt x="5892" y="693"/>
                </a:moveTo>
                <a:cubicBezTo>
                  <a:pt x="6302" y="693"/>
                  <a:pt x="6617" y="1008"/>
                  <a:pt x="6617" y="1418"/>
                </a:cubicBezTo>
                <a:cubicBezTo>
                  <a:pt x="6617" y="1796"/>
                  <a:pt x="6302" y="2111"/>
                  <a:pt x="5892" y="2111"/>
                </a:cubicBezTo>
                <a:cubicBezTo>
                  <a:pt x="5514" y="2111"/>
                  <a:pt x="5199" y="1796"/>
                  <a:pt x="5199" y="1418"/>
                </a:cubicBezTo>
                <a:cubicBezTo>
                  <a:pt x="5231" y="1008"/>
                  <a:pt x="5546" y="693"/>
                  <a:pt x="5892" y="693"/>
                </a:cubicBezTo>
                <a:close/>
                <a:moveTo>
                  <a:pt x="5892" y="2741"/>
                </a:moveTo>
                <a:cubicBezTo>
                  <a:pt x="6837" y="2741"/>
                  <a:pt x="7625" y="3529"/>
                  <a:pt x="7625" y="4505"/>
                </a:cubicBezTo>
                <a:lnTo>
                  <a:pt x="7625" y="5545"/>
                </a:lnTo>
                <a:lnTo>
                  <a:pt x="4159" y="5545"/>
                </a:lnTo>
                <a:lnTo>
                  <a:pt x="4159" y="4505"/>
                </a:lnTo>
                <a:cubicBezTo>
                  <a:pt x="4159" y="3529"/>
                  <a:pt x="4947" y="2741"/>
                  <a:pt x="5892" y="2741"/>
                </a:cubicBezTo>
                <a:close/>
                <a:moveTo>
                  <a:pt x="8381" y="5104"/>
                </a:moveTo>
                <a:cubicBezTo>
                  <a:pt x="9326" y="5356"/>
                  <a:pt x="9767" y="5703"/>
                  <a:pt x="9767" y="5892"/>
                </a:cubicBezTo>
                <a:cubicBezTo>
                  <a:pt x="9767" y="6238"/>
                  <a:pt x="8381" y="6931"/>
                  <a:pt x="5955" y="6931"/>
                </a:cubicBezTo>
                <a:cubicBezTo>
                  <a:pt x="5898" y="6932"/>
                  <a:pt x="5842" y="6932"/>
                  <a:pt x="5787" y="6932"/>
                </a:cubicBezTo>
                <a:cubicBezTo>
                  <a:pt x="3434" y="6932"/>
                  <a:pt x="2112" y="6292"/>
                  <a:pt x="2112" y="5892"/>
                </a:cubicBezTo>
                <a:cubicBezTo>
                  <a:pt x="2112" y="5703"/>
                  <a:pt x="2553" y="5388"/>
                  <a:pt x="3498" y="5104"/>
                </a:cubicBezTo>
                <a:lnTo>
                  <a:pt x="3498" y="5892"/>
                </a:lnTo>
                <a:cubicBezTo>
                  <a:pt x="3498" y="6081"/>
                  <a:pt x="3655" y="6238"/>
                  <a:pt x="3844" y="6238"/>
                </a:cubicBezTo>
                <a:lnTo>
                  <a:pt x="8034" y="6238"/>
                </a:lnTo>
                <a:cubicBezTo>
                  <a:pt x="8223" y="6238"/>
                  <a:pt x="8381" y="6081"/>
                  <a:pt x="8381" y="5892"/>
                </a:cubicBezTo>
                <a:lnTo>
                  <a:pt x="8381" y="5104"/>
                </a:lnTo>
                <a:close/>
                <a:moveTo>
                  <a:pt x="1765" y="10428"/>
                </a:moveTo>
                <a:cubicBezTo>
                  <a:pt x="2427" y="10428"/>
                  <a:pt x="2805" y="10680"/>
                  <a:pt x="2805" y="10775"/>
                </a:cubicBezTo>
                <a:cubicBezTo>
                  <a:pt x="2805" y="10869"/>
                  <a:pt x="2427" y="11121"/>
                  <a:pt x="1765" y="11121"/>
                </a:cubicBezTo>
                <a:cubicBezTo>
                  <a:pt x="1072" y="11121"/>
                  <a:pt x="694" y="10869"/>
                  <a:pt x="694" y="10775"/>
                </a:cubicBezTo>
                <a:cubicBezTo>
                  <a:pt x="694" y="10712"/>
                  <a:pt x="1072" y="10428"/>
                  <a:pt x="1765" y="10428"/>
                </a:cubicBezTo>
                <a:close/>
                <a:moveTo>
                  <a:pt x="5955" y="10428"/>
                </a:moveTo>
                <a:cubicBezTo>
                  <a:pt x="6617" y="10428"/>
                  <a:pt x="6963" y="10712"/>
                  <a:pt x="6963" y="10775"/>
                </a:cubicBezTo>
                <a:cubicBezTo>
                  <a:pt x="6963" y="10869"/>
                  <a:pt x="6617" y="11121"/>
                  <a:pt x="5955" y="11121"/>
                </a:cubicBezTo>
                <a:cubicBezTo>
                  <a:pt x="5262" y="11121"/>
                  <a:pt x="4915" y="10869"/>
                  <a:pt x="4915" y="10775"/>
                </a:cubicBezTo>
                <a:cubicBezTo>
                  <a:pt x="4915" y="10712"/>
                  <a:pt x="5262" y="10428"/>
                  <a:pt x="5955" y="10428"/>
                </a:cubicBezTo>
                <a:close/>
                <a:moveTo>
                  <a:pt x="10082" y="10428"/>
                </a:moveTo>
                <a:cubicBezTo>
                  <a:pt x="10775" y="10428"/>
                  <a:pt x="11153" y="10680"/>
                  <a:pt x="11153" y="10775"/>
                </a:cubicBezTo>
                <a:cubicBezTo>
                  <a:pt x="11153" y="10869"/>
                  <a:pt x="10775" y="11121"/>
                  <a:pt x="10082" y="11121"/>
                </a:cubicBezTo>
                <a:cubicBezTo>
                  <a:pt x="9421" y="11121"/>
                  <a:pt x="9043" y="10869"/>
                  <a:pt x="9043" y="10775"/>
                </a:cubicBezTo>
                <a:cubicBezTo>
                  <a:pt x="9043" y="10712"/>
                  <a:pt x="9421" y="10428"/>
                  <a:pt x="10082" y="10428"/>
                </a:cubicBezTo>
                <a:close/>
                <a:moveTo>
                  <a:pt x="5987" y="0"/>
                </a:moveTo>
                <a:cubicBezTo>
                  <a:pt x="5231" y="0"/>
                  <a:pt x="4600" y="630"/>
                  <a:pt x="4600" y="1355"/>
                </a:cubicBezTo>
                <a:cubicBezTo>
                  <a:pt x="4600" y="1733"/>
                  <a:pt x="4726" y="2016"/>
                  <a:pt x="4947" y="2300"/>
                </a:cubicBezTo>
                <a:cubicBezTo>
                  <a:pt x="4159" y="2710"/>
                  <a:pt x="3624" y="3497"/>
                  <a:pt x="3561" y="4442"/>
                </a:cubicBezTo>
                <a:cubicBezTo>
                  <a:pt x="2742" y="4631"/>
                  <a:pt x="1481" y="5072"/>
                  <a:pt x="1481" y="5923"/>
                </a:cubicBezTo>
                <a:cubicBezTo>
                  <a:pt x="1481" y="6679"/>
                  <a:pt x="2427" y="7120"/>
                  <a:pt x="3151" y="7309"/>
                </a:cubicBezTo>
                <a:lnTo>
                  <a:pt x="1954" y="9798"/>
                </a:lnTo>
                <a:lnTo>
                  <a:pt x="1828" y="9798"/>
                </a:lnTo>
                <a:cubicBezTo>
                  <a:pt x="851" y="9798"/>
                  <a:pt x="64" y="10239"/>
                  <a:pt x="64" y="10806"/>
                </a:cubicBezTo>
                <a:cubicBezTo>
                  <a:pt x="1" y="11373"/>
                  <a:pt x="725" y="11846"/>
                  <a:pt x="1765" y="11846"/>
                </a:cubicBezTo>
                <a:cubicBezTo>
                  <a:pt x="2679" y="11846"/>
                  <a:pt x="3498" y="11436"/>
                  <a:pt x="3498" y="10806"/>
                </a:cubicBezTo>
                <a:cubicBezTo>
                  <a:pt x="3498" y="10334"/>
                  <a:pt x="3057" y="10019"/>
                  <a:pt x="2584" y="9924"/>
                </a:cubicBezTo>
                <a:lnTo>
                  <a:pt x="3781" y="7498"/>
                </a:lnTo>
                <a:cubicBezTo>
                  <a:pt x="4317" y="7624"/>
                  <a:pt x="4947" y="7656"/>
                  <a:pt x="5577" y="7719"/>
                </a:cubicBezTo>
                <a:lnTo>
                  <a:pt x="5577" y="9830"/>
                </a:lnTo>
                <a:cubicBezTo>
                  <a:pt x="4947" y="9924"/>
                  <a:pt x="4222" y="10239"/>
                  <a:pt x="4222" y="10869"/>
                </a:cubicBezTo>
                <a:cubicBezTo>
                  <a:pt x="4222" y="11499"/>
                  <a:pt x="5041" y="11877"/>
                  <a:pt x="5955" y="11877"/>
                </a:cubicBezTo>
                <a:cubicBezTo>
                  <a:pt x="6837" y="11877"/>
                  <a:pt x="7688" y="11499"/>
                  <a:pt x="7688" y="10869"/>
                </a:cubicBezTo>
                <a:cubicBezTo>
                  <a:pt x="7688" y="10239"/>
                  <a:pt x="6932" y="9924"/>
                  <a:pt x="6302" y="9830"/>
                </a:cubicBezTo>
                <a:lnTo>
                  <a:pt x="6302" y="7719"/>
                </a:lnTo>
                <a:cubicBezTo>
                  <a:pt x="6932" y="7719"/>
                  <a:pt x="7562" y="7624"/>
                  <a:pt x="8097" y="7498"/>
                </a:cubicBezTo>
                <a:lnTo>
                  <a:pt x="9295" y="9924"/>
                </a:lnTo>
                <a:cubicBezTo>
                  <a:pt x="8822" y="10082"/>
                  <a:pt x="8381" y="10334"/>
                  <a:pt x="8381" y="10806"/>
                </a:cubicBezTo>
                <a:cubicBezTo>
                  <a:pt x="8381" y="11436"/>
                  <a:pt x="9200" y="11846"/>
                  <a:pt x="10114" y="11846"/>
                </a:cubicBezTo>
                <a:cubicBezTo>
                  <a:pt x="11090" y="11846"/>
                  <a:pt x="11878" y="11405"/>
                  <a:pt x="11878" y="10806"/>
                </a:cubicBezTo>
                <a:cubicBezTo>
                  <a:pt x="11878" y="10239"/>
                  <a:pt x="11153" y="9798"/>
                  <a:pt x="10114" y="9798"/>
                </a:cubicBezTo>
                <a:lnTo>
                  <a:pt x="9988" y="9798"/>
                </a:lnTo>
                <a:lnTo>
                  <a:pt x="8822" y="7309"/>
                </a:lnTo>
                <a:cubicBezTo>
                  <a:pt x="9515" y="7120"/>
                  <a:pt x="10460" y="6679"/>
                  <a:pt x="10460" y="5923"/>
                </a:cubicBezTo>
                <a:cubicBezTo>
                  <a:pt x="10460" y="5072"/>
                  <a:pt x="9200" y="4631"/>
                  <a:pt x="8381" y="4442"/>
                </a:cubicBezTo>
                <a:cubicBezTo>
                  <a:pt x="8350" y="3497"/>
                  <a:pt x="7782" y="2710"/>
                  <a:pt x="6995" y="2300"/>
                </a:cubicBezTo>
                <a:cubicBezTo>
                  <a:pt x="7247" y="2080"/>
                  <a:pt x="7341" y="1764"/>
                  <a:pt x="7341" y="1355"/>
                </a:cubicBezTo>
                <a:cubicBezTo>
                  <a:pt x="7341" y="630"/>
                  <a:pt x="6711" y="0"/>
                  <a:pt x="5987"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nvGrpSpPr>
          <p:cNvPr id="10170" name="Google Shape;10170;p111"/>
          <p:cNvGrpSpPr/>
          <p:nvPr/>
        </p:nvGrpSpPr>
        <p:grpSpPr>
          <a:xfrm>
            <a:off x="6488515" y="3863951"/>
            <a:ext cx="465943" cy="464723"/>
            <a:chOff x="3599700" y="1954475"/>
            <a:chExt cx="296175" cy="295400"/>
          </a:xfrm>
        </p:grpSpPr>
        <p:sp>
          <p:nvSpPr>
            <p:cNvPr id="10171" name="Google Shape;10171;p111"/>
            <p:cNvSpPr/>
            <p:nvPr/>
          </p:nvSpPr>
          <p:spPr>
            <a:xfrm>
              <a:off x="3599700" y="1954475"/>
              <a:ext cx="296175" cy="295400"/>
            </a:xfrm>
            <a:custGeom>
              <a:avLst/>
              <a:gdLst/>
              <a:ahLst/>
              <a:cxnLst/>
              <a:rect l="l" t="t" r="r" b="b"/>
              <a:pathLst>
                <a:path w="11847" h="11816" extrusionOk="0">
                  <a:moveTo>
                    <a:pt x="3151" y="694"/>
                  </a:moveTo>
                  <a:cubicBezTo>
                    <a:pt x="3718" y="694"/>
                    <a:pt x="4159" y="1166"/>
                    <a:pt x="4159" y="1734"/>
                  </a:cubicBezTo>
                  <a:cubicBezTo>
                    <a:pt x="4159" y="2301"/>
                    <a:pt x="3686" y="2742"/>
                    <a:pt x="3151" y="2742"/>
                  </a:cubicBezTo>
                  <a:cubicBezTo>
                    <a:pt x="2584" y="2742"/>
                    <a:pt x="2111" y="2269"/>
                    <a:pt x="2111" y="1734"/>
                  </a:cubicBezTo>
                  <a:cubicBezTo>
                    <a:pt x="2080" y="1166"/>
                    <a:pt x="2552" y="694"/>
                    <a:pt x="3151" y="694"/>
                  </a:cubicBezTo>
                  <a:close/>
                  <a:moveTo>
                    <a:pt x="8727" y="694"/>
                  </a:moveTo>
                  <a:cubicBezTo>
                    <a:pt x="9326" y="694"/>
                    <a:pt x="9767" y="1166"/>
                    <a:pt x="9767" y="1734"/>
                  </a:cubicBezTo>
                  <a:cubicBezTo>
                    <a:pt x="9767" y="2301"/>
                    <a:pt x="9294" y="2742"/>
                    <a:pt x="8727" y="2742"/>
                  </a:cubicBezTo>
                  <a:cubicBezTo>
                    <a:pt x="8128" y="2742"/>
                    <a:pt x="7719" y="2269"/>
                    <a:pt x="7719" y="1734"/>
                  </a:cubicBezTo>
                  <a:cubicBezTo>
                    <a:pt x="7656" y="1166"/>
                    <a:pt x="8128" y="694"/>
                    <a:pt x="8727" y="694"/>
                  </a:cubicBezTo>
                  <a:close/>
                  <a:moveTo>
                    <a:pt x="5923" y="4852"/>
                  </a:moveTo>
                  <a:cubicBezTo>
                    <a:pt x="6522" y="4852"/>
                    <a:pt x="6994" y="5325"/>
                    <a:pt x="6994" y="5861"/>
                  </a:cubicBezTo>
                  <a:cubicBezTo>
                    <a:pt x="6994" y="6396"/>
                    <a:pt x="6522" y="6869"/>
                    <a:pt x="5923" y="6869"/>
                  </a:cubicBezTo>
                  <a:cubicBezTo>
                    <a:pt x="5356" y="6869"/>
                    <a:pt x="4883" y="6428"/>
                    <a:pt x="4883" y="5861"/>
                  </a:cubicBezTo>
                  <a:cubicBezTo>
                    <a:pt x="4883" y="5294"/>
                    <a:pt x="5356" y="4852"/>
                    <a:pt x="5923" y="4852"/>
                  </a:cubicBezTo>
                  <a:close/>
                  <a:moveTo>
                    <a:pt x="3151" y="3466"/>
                  </a:moveTo>
                  <a:cubicBezTo>
                    <a:pt x="3875" y="3466"/>
                    <a:pt x="4600" y="3813"/>
                    <a:pt x="5072" y="4380"/>
                  </a:cubicBezTo>
                  <a:cubicBezTo>
                    <a:pt x="4537" y="4695"/>
                    <a:pt x="4159" y="5231"/>
                    <a:pt x="4159" y="5861"/>
                  </a:cubicBezTo>
                  <a:cubicBezTo>
                    <a:pt x="4159" y="6239"/>
                    <a:pt x="4285" y="6617"/>
                    <a:pt x="4505" y="6900"/>
                  </a:cubicBezTo>
                  <a:lnTo>
                    <a:pt x="693" y="6900"/>
                  </a:lnTo>
                  <a:lnTo>
                    <a:pt x="693" y="5892"/>
                  </a:lnTo>
                  <a:cubicBezTo>
                    <a:pt x="693" y="4569"/>
                    <a:pt x="1796" y="3466"/>
                    <a:pt x="3151" y="3466"/>
                  </a:cubicBezTo>
                  <a:close/>
                  <a:moveTo>
                    <a:pt x="8696" y="3498"/>
                  </a:moveTo>
                  <a:cubicBezTo>
                    <a:pt x="10019" y="3498"/>
                    <a:pt x="11121" y="4600"/>
                    <a:pt x="11121" y="5955"/>
                  </a:cubicBezTo>
                  <a:lnTo>
                    <a:pt x="11121" y="6932"/>
                  </a:lnTo>
                  <a:lnTo>
                    <a:pt x="7309" y="6932"/>
                  </a:lnTo>
                  <a:cubicBezTo>
                    <a:pt x="7561" y="6617"/>
                    <a:pt x="7656" y="6270"/>
                    <a:pt x="7656" y="5892"/>
                  </a:cubicBezTo>
                  <a:cubicBezTo>
                    <a:pt x="7656" y="5262"/>
                    <a:pt x="7309" y="4726"/>
                    <a:pt x="6774" y="4411"/>
                  </a:cubicBezTo>
                  <a:cubicBezTo>
                    <a:pt x="7215" y="3813"/>
                    <a:pt x="7939" y="3498"/>
                    <a:pt x="8696" y="3498"/>
                  </a:cubicBezTo>
                  <a:close/>
                  <a:moveTo>
                    <a:pt x="5923" y="7625"/>
                  </a:moveTo>
                  <a:cubicBezTo>
                    <a:pt x="6207" y="7625"/>
                    <a:pt x="6490" y="7656"/>
                    <a:pt x="6711" y="7751"/>
                  </a:cubicBezTo>
                  <a:lnTo>
                    <a:pt x="5923" y="8791"/>
                  </a:lnTo>
                  <a:lnTo>
                    <a:pt x="5135" y="7751"/>
                  </a:lnTo>
                  <a:cubicBezTo>
                    <a:pt x="5388" y="7688"/>
                    <a:pt x="5671" y="7625"/>
                    <a:pt x="5923" y="7625"/>
                  </a:cubicBezTo>
                  <a:close/>
                  <a:moveTo>
                    <a:pt x="4505" y="8066"/>
                  </a:moveTo>
                  <a:lnTo>
                    <a:pt x="5577" y="9484"/>
                  </a:lnTo>
                  <a:lnTo>
                    <a:pt x="5577" y="11153"/>
                  </a:lnTo>
                  <a:lnTo>
                    <a:pt x="3497" y="11153"/>
                  </a:lnTo>
                  <a:lnTo>
                    <a:pt x="3497" y="10019"/>
                  </a:lnTo>
                  <a:cubicBezTo>
                    <a:pt x="3497" y="9200"/>
                    <a:pt x="3875" y="8507"/>
                    <a:pt x="4505" y="8066"/>
                  </a:cubicBezTo>
                  <a:close/>
                  <a:moveTo>
                    <a:pt x="7341" y="8066"/>
                  </a:moveTo>
                  <a:cubicBezTo>
                    <a:pt x="7939" y="8507"/>
                    <a:pt x="8381" y="9263"/>
                    <a:pt x="8381" y="10051"/>
                  </a:cubicBezTo>
                  <a:lnTo>
                    <a:pt x="8381" y="11153"/>
                  </a:lnTo>
                  <a:lnTo>
                    <a:pt x="6301" y="11153"/>
                  </a:lnTo>
                  <a:lnTo>
                    <a:pt x="6301" y="9484"/>
                  </a:lnTo>
                  <a:lnTo>
                    <a:pt x="7341" y="8066"/>
                  </a:lnTo>
                  <a:close/>
                  <a:moveTo>
                    <a:pt x="3088" y="1"/>
                  </a:moveTo>
                  <a:cubicBezTo>
                    <a:pt x="2143" y="1"/>
                    <a:pt x="1355" y="788"/>
                    <a:pt x="1355" y="1734"/>
                  </a:cubicBezTo>
                  <a:cubicBezTo>
                    <a:pt x="1355" y="2238"/>
                    <a:pt x="1575" y="2679"/>
                    <a:pt x="1922" y="2994"/>
                  </a:cubicBezTo>
                  <a:cubicBezTo>
                    <a:pt x="788" y="3466"/>
                    <a:pt x="0" y="4569"/>
                    <a:pt x="0" y="5861"/>
                  </a:cubicBezTo>
                  <a:lnTo>
                    <a:pt x="0" y="7247"/>
                  </a:lnTo>
                  <a:cubicBezTo>
                    <a:pt x="0" y="7436"/>
                    <a:pt x="158" y="7593"/>
                    <a:pt x="347" y="7593"/>
                  </a:cubicBezTo>
                  <a:lnTo>
                    <a:pt x="3938" y="7593"/>
                  </a:lnTo>
                  <a:cubicBezTo>
                    <a:pt x="3214" y="8192"/>
                    <a:pt x="2741" y="9043"/>
                    <a:pt x="2741" y="10019"/>
                  </a:cubicBezTo>
                  <a:lnTo>
                    <a:pt x="2741" y="11437"/>
                  </a:lnTo>
                  <a:cubicBezTo>
                    <a:pt x="2741" y="11658"/>
                    <a:pt x="2899" y="11815"/>
                    <a:pt x="3088" y="11815"/>
                  </a:cubicBezTo>
                  <a:lnTo>
                    <a:pt x="8696" y="11815"/>
                  </a:lnTo>
                  <a:cubicBezTo>
                    <a:pt x="8885" y="11815"/>
                    <a:pt x="9042" y="11658"/>
                    <a:pt x="9042" y="11437"/>
                  </a:cubicBezTo>
                  <a:lnTo>
                    <a:pt x="9042" y="10019"/>
                  </a:lnTo>
                  <a:cubicBezTo>
                    <a:pt x="9042" y="9043"/>
                    <a:pt x="8570" y="8192"/>
                    <a:pt x="7876" y="7593"/>
                  </a:cubicBezTo>
                  <a:lnTo>
                    <a:pt x="11436" y="7593"/>
                  </a:lnTo>
                  <a:cubicBezTo>
                    <a:pt x="11657" y="7593"/>
                    <a:pt x="11815" y="7436"/>
                    <a:pt x="11815" y="7247"/>
                  </a:cubicBezTo>
                  <a:lnTo>
                    <a:pt x="11815" y="5861"/>
                  </a:lnTo>
                  <a:cubicBezTo>
                    <a:pt x="11846" y="4600"/>
                    <a:pt x="11027" y="3466"/>
                    <a:pt x="9861" y="2994"/>
                  </a:cubicBezTo>
                  <a:cubicBezTo>
                    <a:pt x="10239" y="2679"/>
                    <a:pt x="10428" y="2206"/>
                    <a:pt x="10428" y="1734"/>
                  </a:cubicBezTo>
                  <a:cubicBezTo>
                    <a:pt x="10428" y="788"/>
                    <a:pt x="9641" y="1"/>
                    <a:pt x="8696" y="1"/>
                  </a:cubicBezTo>
                  <a:cubicBezTo>
                    <a:pt x="7750" y="1"/>
                    <a:pt x="6963" y="788"/>
                    <a:pt x="6963" y="1734"/>
                  </a:cubicBezTo>
                  <a:cubicBezTo>
                    <a:pt x="6963" y="2238"/>
                    <a:pt x="7152" y="2679"/>
                    <a:pt x="7498" y="2994"/>
                  </a:cubicBezTo>
                  <a:cubicBezTo>
                    <a:pt x="6931" y="3214"/>
                    <a:pt x="6396" y="3624"/>
                    <a:pt x="6049" y="4159"/>
                  </a:cubicBezTo>
                  <a:lnTo>
                    <a:pt x="5734" y="4159"/>
                  </a:lnTo>
                  <a:cubicBezTo>
                    <a:pt x="5388" y="3655"/>
                    <a:pt x="4883" y="3214"/>
                    <a:pt x="4285" y="2994"/>
                  </a:cubicBezTo>
                  <a:cubicBezTo>
                    <a:pt x="4631" y="2679"/>
                    <a:pt x="4820" y="2238"/>
                    <a:pt x="4820" y="1734"/>
                  </a:cubicBezTo>
                  <a:cubicBezTo>
                    <a:pt x="4820" y="788"/>
                    <a:pt x="4033" y="1"/>
                    <a:pt x="3088"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172" name="Google Shape;10172;p111"/>
            <p:cNvSpPr/>
            <p:nvPr/>
          </p:nvSpPr>
          <p:spPr>
            <a:xfrm>
              <a:off x="3825750" y="2075775"/>
              <a:ext cx="35450" cy="17350"/>
            </a:xfrm>
            <a:custGeom>
              <a:avLst/>
              <a:gdLst/>
              <a:ahLst/>
              <a:cxnLst/>
              <a:rect l="l" t="t" r="r" b="b"/>
              <a:pathLst>
                <a:path w="1418" h="694" extrusionOk="0">
                  <a:moveTo>
                    <a:pt x="347" y="0"/>
                  </a:moveTo>
                  <a:cubicBezTo>
                    <a:pt x="158" y="0"/>
                    <a:pt x="0" y="158"/>
                    <a:pt x="0" y="347"/>
                  </a:cubicBezTo>
                  <a:cubicBezTo>
                    <a:pt x="0" y="536"/>
                    <a:pt x="158" y="694"/>
                    <a:pt x="347" y="694"/>
                  </a:cubicBezTo>
                  <a:lnTo>
                    <a:pt x="1071" y="694"/>
                  </a:lnTo>
                  <a:cubicBezTo>
                    <a:pt x="1260" y="694"/>
                    <a:pt x="1418" y="536"/>
                    <a:pt x="1418" y="347"/>
                  </a:cubicBezTo>
                  <a:cubicBezTo>
                    <a:pt x="1418" y="158"/>
                    <a:pt x="1260" y="0"/>
                    <a:pt x="1071"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173" name="Google Shape;10173;p111"/>
            <p:cNvSpPr/>
            <p:nvPr/>
          </p:nvSpPr>
          <p:spPr>
            <a:xfrm>
              <a:off x="3633550" y="2075775"/>
              <a:ext cx="35475" cy="17350"/>
            </a:xfrm>
            <a:custGeom>
              <a:avLst/>
              <a:gdLst/>
              <a:ahLst/>
              <a:cxnLst/>
              <a:rect l="l" t="t" r="r" b="b"/>
              <a:pathLst>
                <a:path w="1419" h="694" extrusionOk="0">
                  <a:moveTo>
                    <a:pt x="379" y="0"/>
                  </a:moveTo>
                  <a:cubicBezTo>
                    <a:pt x="158" y="0"/>
                    <a:pt x="1" y="158"/>
                    <a:pt x="1" y="347"/>
                  </a:cubicBezTo>
                  <a:cubicBezTo>
                    <a:pt x="1" y="536"/>
                    <a:pt x="158" y="694"/>
                    <a:pt x="379" y="694"/>
                  </a:cubicBezTo>
                  <a:lnTo>
                    <a:pt x="1072" y="694"/>
                  </a:lnTo>
                  <a:cubicBezTo>
                    <a:pt x="1261" y="694"/>
                    <a:pt x="1419" y="536"/>
                    <a:pt x="1419" y="347"/>
                  </a:cubicBezTo>
                  <a:cubicBezTo>
                    <a:pt x="1419" y="158"/>
                    <a:pt x="1261" y="0"/>
                    <a:pt x="1072"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10174" name="Google Shape;10174;p111"/>
          <p:cNvGrpSpPr/>
          <p:nvPr/>
        </p:nvGrpSpPr>
        <p:grpSpPr>
          <a:xfrm>
            <a:off x="6489756" y="4516569"/>
            <a:ext cx="463465" cy="463465"/>
            <a:chOff x="3601275" y="2319150"/>
            <a:chExt cx="294600" cy="294600"/>
          </a:xfrm>
        </p:grpSpPr>
        <p:sp>
          <p:nvSpPr>
            <p:cNvPr id="10175" name="Google Shape;10175;p111"/>
            <p:cNvSpPr/>
            <p:nvPr/>
          </p:nvSpPr>
          <p:spPr>
            <a:xfrm>
              <a:off x="3601275" y="2319150"/>
              <a:ext cx="294600" cy="294600"/>
            </a:xfrm>
            <a:custGeom>
              <a:avLst/>
              <a:gdLst/>
              <a:ahLst/>
              <a:cxnLst/>
              <a:rect l="l" t="t" r="r" b="b"/>
              <a:pathLst>
                <a:path w="11784" h="11784" extrusionOk="0">
                  <a:moveTo>
                    <a:pt x="8223" y="694"/>
                  </a:moveTo>
                  <a:cubicBezTo>
                    <a:pt x="8696" y="725"/>
                    <a:pt x="9168" y="914"/>
                    <a:pt x="9546" y="1198"/>
                  </a:cubicBezTo>
                  <a:lnTo>
                    <a:pt x="7057" y="3687"/>
                  </a:lnTo>
                  <a:cubicBezTo>
                    <a:pt x="6774" y="3498"/>
                    <a:pt x="6459" y="3340"/>
                    <a:pt x="6144" y="3245"/>
                  </a:cubicBezTo>
                  <a:lnTo>
                    <a:pt x="8223" y="694"/>
                  </a:lnTo>
                  <a:close/>
                  <a:moveTo>
                    <a:pt x="10523" y="1198"/>
                  </a:moveTo>
                  <a:cubicBezTo>
                    <a:pt x="10838" y="1576"/>
                    <a:pt x="11027" y="2111"/>
                    <a:pt x="11027" y="2615"/>
                  </a:cubicBezTo>
                  <a:lnTo>
                    <a:pt x="8286" y="4852"/>
                  </a:lnTo>
                  <a:lnTo>
                    <a:pt x="7561" y="4159"/>
                  </a:lnTo>
                  <a:lnTo>
                    <a:pt x="10523" y="1198"/>
                  </a:lnTo>
                  <a:close/>
                  <a:moveTo>
                    <a:pt x="5592" y="3923"/>
                  </a:moveTo>
                  <a:cubicBezTo>
                    <a:pt x="6033" y="3923"/>
                    <a:pt x="6474" y="4096"/>
                    <a:pt x="6805" y="4443"/>
                  </a:cubicBezTo>
                  <a:cubicBezTo>
                    <a:pt x="7498" y="5104"/>
                    <a:pt x="7498" y="6207"/>
                    <a:pt x="6805" y="6869"/>
                  </a:cubicBezTo>
                  <a:cubicBezTo>
                    <a:pt x="6474" y="7199"/>
                    <a:pt x="6033" y="7365"/>
                    <a:pt x="5592" y="7365"/>
                  </a:cubicBezTo>
                  <a:cubicBezTo>
                    <a:pt x="5151" y="7365"/>
                    <a:pt x="4710" y="7199"/>
                    <a:pt x="4379" y="6869"/>
                  </a:cubicBezTo>
                  <a:cubicBezTo>
                    <a:pt x="3718" y="6207"/>
                    <a:pt x="3718" y="5104"/>
                    <a:pt x="4379" y="4443"/>
                  </a:cubicBezTo>
                  <a:cubicBezTo>
                    <a:pt x="4710" y="4096"/>
                    <a:pt x="5151" y="3923"/>
                    <a:pt x="5592" y="3923"/>
                  </a:cubicBezTo>
                  <a:close/>
                  <a:moveTo>
                    <a:pt x="8034" y="5577"/>
                  </a:moveTo>
                  <a:lnTo>
                    <a:pt x="8191" y="5734"/>
                  </a:lnTo>
                  <a:cubicBezTo>
                    <a:pt x="8696" y="6270"/>
                    <a:pt x="9326" y="6742"/>
                    <a:pt x="10019" y="7058"/>
                  </a:cubicBezTo>
                  <a:lnTo>
                    <a:pt x="9420" y="7278"/>
                  </a:lnTo>
                  <a:cubicBezTo>
                    <a:pt x="9263" y="7310"/>
                    <a:pt x="9168" y="7467"/>
                    <a:pt x="9168" y="7593"/>
                  </a:cubicBezTo>
                  <a:lnTo>
                    <a:pt x="9168" y="8066"/>
                  </a:lnTo>
                  <a:cubicBezTo>
                    <a:pt x="8601" y="7814"/>
                    <a:pt x="8034" y="7467"/>
                    <a:pt x="7561" y="7058"/>
                  </a:cubicBezTo>
                  <a:cubicBezTo>
                    <a:pt x="7876" y="6648"/>
                    <a:pt x="8034" y="6175"/>
                    <a:pt x="8034" y="5608"/>
                  </a:cubicBezTo>
                  <a:lnTo>
                    <a:pt x="8034" y="5577"/>
                  </a:lnTo>
                  <a:close/>
                  <a:moveTo>
                    <a:pt x="3245" y="6081"/>
                  </a:moveTo>
                  <a:cubicBezTo>
                    <a:pt x="3308" y="6427"/>
                    <a:pt x="3466" y="6806"/>
                    <a:pt x="3655" y="7058"/>
                  </a:cubicBezTo>
                  <a:lnTo>
                    <a:pt x="1197" y="9546"/>
                  </a:lnTo>
                  <a:cubicBezTo>
                    <a:pt x="882" y="9200"/>
                    <a:pt x="662" y="8696"/>
                    <a:pt x="630" y="8160"/>
                  </a:cubicBezTo>
                  <a:lnTo>
                    <a:pt x="3245" y="6081"/>
                  </a:lnTo>
                  <a:close/>
                  <a:moveTo>
                    <a:pt x="7057" y="7593"/>
                  </a:moveTo>
                  <a:cubicBezTo>
                    <a:pt x="7435" y="8066"/>
                    <a:pt x="7813" y="8601"/>
                    <a:pt x="8034" y="9200"/>
                  </a:cubicBezTo>
                  <a:lnTo>
                    <a:pt x="7561" y="9200"/>
                  </a:lnTo>
                  <a:cubicBezTo>
                    <a:pt x="7404" y="9200"/>
                    <a:pt x="7278" y="9263"/>
                    <a:pt x="7246" y="9420"/>
                  </a:cubicBezTo>
                  <a:lnTo>
                    <a:pt x="7057" y="10019"/>
                  </a:lnTo>
                  <a:cubicBezTo>
                    <a:pt x="6742" y="9357"/>
                    <a:pt x="6270" y="8727"/>
                    <a:pt x="5766" y="8223"/>
                  </a:cubicBezTo>
                  <a:lnTo>
                    <a:pt x="5608" y="8066"/>
                  </a:lnTo>
                  <a:lnTo>
                    <a:pt x="5640" y="8066"/>
                  </a:lnTo>
                  <a:cubicBezTo>
                    <a:pt x="6144" y="8066"/>
                    <a:pt x="6648" y="7877"/>
                    <a:pt x="7057" y="7593"/>
                  </a:cubicBezTo>
                  <a:close/>
                  <a:moveTo>
                    <a:pt x="4096" y="7625"/>
                  </a:moveTo>
                  <a:lnTo>
                    <a:pt x="4820" y="8318"/>
                  </a:lnTo>
                  <a:lnTo>
                    <a:pt x="2552" y="11090"/>
                  </a:lnTo>
                  <a:cubicBezTo>
                    <a:pt x="2048" y="11059"/>
                    <a:pt x="1575" y="10901"/>
                    <a:pt x="1134" y="10586"/>
                  </a:cubicBezTo>
                  <a:lnTo>
                    <a:pt x="4096" y="7625"/>
                  </a:lnTo>
                  <a:close/>
                  <a:moveTo>
                    <a:pt x="8160" y="0"/>
                  </a:moveTo>
                  <a:cubicBezTo>
                    <a:pt x="8034" y="0"/>
                    <a:pt x="7971" y="63"/>
                    <a:pt x="7876" y="126"/>
                  </a:cubicBezTo>
                  <a:lnTo>
                    <a:pt x="5356" y="3245"/>
                  </a:lnTo>
                  <a:cubicBezTo>
                    <a:pt x="4852" y="3308"/>
                    <a:pt x="4348" y="3529"/>
                    <a:pt x="3938" y="3970"/>
                  </a:cubicBezTo>
                  <a:cubicBezTo>
                    <a:pt x="3592" y="4317"/>
                    <a:pt x="3340" y="4758"/>
                    <a:pt x="3277" y="5262"/>
                  </a:cubicBezTo>
                  <a:lnTo>
                    <a:pt x="126" y="7782"/>
                  </a:lnTo>
                  <a:cubicBezTo>
                    <a:pt x="32" y="7845"/>
                    <a:pt x="0" y="7940"/>
                    <a:pt x="0" y="8066"/>
                  </a:cubicBezTo>
                  <a:cubicBezTo>
                    <a:pt x="0" y="8790"/>
                    <a:pt x="284" y="9546"/>
                    <a:pt x="756" y="10114"/>
                  </a:cubicBezTo>
                  <a:lnTo>
                    <a:pt x="473" y="10366"/>
                  </a:lnTo>
                  <a:cubicBezTo>
                    <a:pt x="410" y="10460"/>
                    <a:pt x="347" y="10523"/>
                    <a:pt x="347" y="10618"/>
                  </a:cubicBezTo>
                  <a:cubicBezTo>
                    <a:pt x="347" y="10681"/>
                    <a:pt x="410" y="10807"/>
                    <a:pt x="473" y="10838"/>
                  </a:cubicBezTo>
                  <a:cubicBezTo>
                    <a:pt x="1103" y="11468"/>
                    <a:pt x="1922" y="11783"/>
                    <a:pt x="2804" y="11783"/>
                  </a:cubicBezTo>
                  <a:cubicBezTo>
                    <a:pt x="2930" y="11783"/>
                    <a:pt x="2993" y="11752"/>
                    <a:pt x="3088" y="11657"/>
                  </a:cubicBezTo>
                  <a:lnTo>
                    <a:pt x="5388" y="8790"/>
                  </a:lnTo>
                  <a:cubicBezTo>
                    <a:pt x="6018" y="9452"/>
                    <a:pt x="6553" y="10303"/>
                    <a:pt x="6805" y="11153"/>
                  </a:cubicBezTo>
                  <a:cubicBezTo>
                    <a:pt x="6868" y="11311"/>
                    <a:pt x="7026" y="11405"/>
                    <a:pt x="7120" y="11405"/>
                  </a:cubicBezTo>
                  <a:cubicBezTo>
                    <a:pt x="7278" y="11405"/>
                    <a:pt x="7404" y="11311"/>
                    <a:pt x="7435" y="11153"/>
                  </a:cubicBezTo>
                  <a:lnTo>
                    <a:pt x="7845" y="9924"/>
                  </a:lnTo>
                  <a:lnTo>
                    <a:pt x="8601" y="9924"/>
                  </a:lnTo>
                  <a:cubicBezTo>
                    <a:pt x="8696" y="9924"/>
                    <a:pt x="8790" y="9893"/>
                    <a:pt x="8853" y="9767"/>
                  </a:cubicBezTo>
                  <a:cubicBezTo>
                    <a:pt x="8948" y="9704"/>
                    <a:pt x="8948" y="9578"/>
                    <a:pt x="8916" y="9452"/>
                  </a:cubicBezTo>
                  <a:cubicBezTo>
                    <a:pt x="8790" y="9137"/>
                    <a:pt x="8664" y="8822"/>
                    <a:pt x="8507" y="8507"/>
                  </a:cubicBezTo>
                  <a:lnTo>
                    <a:pt x="8507" y="8507"/>
                  </a:lnTo>
                  <a:cubicBezTo>
                    <a:pt x="8822" y="8664"/>
                    <a:pt x="9137" y="8790"/>
                    <a:pt x="9452" y="8916"/>
                  </a:cubicBezTo>
                  <a:cubicBezTo>
                    <a:pt x="9489" y="8926"/>
                    <a:pt x="9526" y="8929"/>
                    <a:pt x="9561" y="8929"/>
                  </a:cubicBezTo>
                  <a:cubicBezTo>
                    <a:pt x="9646" y="8929"/>
                    <a:pt x="9722" y="8907"/>
                    <a:pt x="9767" y="8885"/>
                  </a:cubicBezTo>
                  <a:cubicBezTo>
                    <a:pt x="9861" y="8790"/>
                    <a:pt x="9924" y="8727"/>
                    <a:pt x="9924" y="8601"/>
                  </a:cubicBezTo>
                  <a:lnTo>
                    <a:pt x="9924" y="7845"/>
                  </a:lnTo>
                  <a:lnTo>
                    <a:pt x="11153" y="7467"/>
                  </a:lnTo>
                  <a:cubicBezTo>
                    <a:pt x="11310" y="7404"/>
                    <a:pt x="11373" y="7247"/>
                    <a:pt x="11373" y="7152"/>
                  </a:cubicBezTo>
                  <a:cubicBezTo>
                    <a:pt x="11373" y="6995"/>
                    <a:pt x="11310" y="6869"/>
                    <a:pt x="11153" y="6837"/>
                  </a:cubicBezTo>
                  <a:cubicBezTo>
                    <a:pt x="10271" y="6553"/>
                    <a:pt x="9452" y="6049"/>
                    <a:pt x="8790" y="5419"/>
                  </a:cubicBezTo>
                  <a:lnTo>
                    <a:pt x="11657" y="3088"/>
                  </a:lnTo>
                  <a:cubicBezTo>
                    <a:pt x="11689" y="2962"/>
                    <a:pt x="11783" y="2867"/>
                    <a:pt x="11783" y="2773"/>
                  </a:cubicBezTo>
                  <a:cubicBezTo>
                    <a:pt x="11783" y="1922"/>
                    <a:pt x="11436" y="1072"/>
                    <a:pt x="10838" y="442"/>
                  </a:cubicBezTo>
                  <a:cubicBezTo>
                    <a:pt x="10775" y="379"/>
                    <a:pt x="10688" y="347"/>
                    <a:pt x="10602" y="347"/>
                  </a:cubicBezTo>
                  <a:cubicBezTo>
                    <a:pt x="10515" y="347"/>
                    <a:pt x="10428" y="379"/>
                    <a:pt x="10365" y="442"/>
                  </a:cubicBezTo>
                  <a:lnTo>
                    <a:pt x="10082" y="725"/>
                  </a:lnTo>
                  <a:cubicBezTo>
                    <a:pt x="9546" y="284"/>
                    <a:pt x="8853" y="0"/>
                    <a:pt x="8160"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176" name="Google Shape;10176;p111"/>
            <p:cNvSpPr/>
            <p:nvPr/>
          </p:nvSpPr>
          <p:spPr>
            <a:xfrm>
              <a:off x="3713900" y="2434350"/>
              <a:ext cx="55950" cy="52200"/>
            </a:xfrm>
            <a:custGeom>
              <a:avLst/>
              <a:gdLst/>
              <a:ahLst/>
              <a:cxnLst/>
              <a:rect l="l" t="t" r="r" b="b"/>
              <a:pathLst>
                <a:path w="2238" h="2088" extrusionOk="0">
                  <a:moveTo>
                    <a:pt x="1087" y="685"/>
                  </a:moveTo>
                  <a:cubicBezTo>
                    <a:pt x="1174" y="685"/>
                    <a:pt x="1261" y="717"/>
                    <a:pt x="1324" y="780"/>
                  </a:cubicBezTo>
                  <a:cubicBezTo>
                    <a:pt x="1450" y="874"/>
                    <a:pt x="1450" y="1126"/>
                    <a:pt x="1324" y="1252"/>
                  </a:cubicBezTo>
                  <a:cubicBezTo>
                    <a:pt x="1261" y="1300"/>
                    <a:pt x="1174" y="1323"/>
                    <a:pt x="1087" y="1323"/>
                  </a:cubicBezTo>
                  <a:cubicBezTo>
                    <a:pt x="1001" y="1323"/>
                    <a:pt x="914" y="1300"/>
                    <a:pt x="851" y="1252"/>
                  </a:cubicBezTo>
                  <a:cubicBezTo>
                    <a:pt x="725" y="1126"/>
                    <a:pt x="725" y="937"/>
                    <a:pt x="851" y="780"/>
                  </a:cubicBezTo>
                  <a:cubicBezTo>
                    <a:pt x="914" y="717"/>
                    <a:pt x="1001" y="685"/>
                    <a:pt x="1087" y="685"/>
                  </a:cubicBezTo>
                  <a:close/>
                  <a:moveTo>
                    <a:pt x="1115" y="0"/>
                  </a:moveTo>
                  <a:cubicBezTo>
                    <a:pt x="851" y="0"/>
                    <a:pt x="583" y="102"/>
                    <a:pt x="378" y="307"/>
                  </a:cubicBezTo>
                  <a:cubicBezTo>
                    <a:pt x="0" y="685"/>
                    <a:pt x="0" y="1347"/>
                    <a:pt x="378" y="1756"/>
                  </a:cubicBezTo>
                  <a:cubicBezTo>
                    <a:pt x="583" y="1977"/>
                    <a:pt x="851" y="2087"/>
                    <a:pt x="1115" y="2087"/>
                  </a:cubicBezTo>
                  <a:cubicBezTo>
                    <a:pt x="1379" y="2087"/>
                    <a:pt x="1639" y="1977"/>
                    <a:pt x="1828" y="1756"/>
                  </a:cubicBezTo>
                  <a:cubicBezTo>
                    <a:pt x="2237" y="1347"/>
                    <a:pt x="2237" y="685"/>
                    <a:pt x="1828" y="307"/>
                  </a:cubicBezTo>
                  <a:cubicBezTo>
                    <a:pt x="1639" y="102"/>
                    <a:pt x="1379" y="0"/>
                    <a:pt x="1115"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sp>
        <p:nvSpPr>
          <p:cNvPr id="10177" name="Google Shape;10177;p111"/>
          <p:cNvSpPr/>
          <p:nvPr/>
        </p:nvSpPr>
        <p:spPr>
          <a:xfrm>
            <a:off x="6488999" y="5114967"/>
            <a:ext cx="464723" cy="464684"/>
          </a:xfrm>
          <a:custGeom>
            <a:avLst/>
            <a:gdLst/>
            <a:ahLst/>
            <a:cxnLst/>
            <a:rect l="l" t="t" r="r" b="b"/>
            <a:pathLst>
              <a:path w="11816" h="11815" extrusionOk="0">
                <a:moveTo>
                  <a:pt x="6207" y="693"/>
                </a:moveTo>
                <a:cubicBezTo>
                  <a:pt x="7877" y="819"/>
                  <a:pt x="9326" y="1670"/>
                  <a:pt x="10208" y="2993"/>
                </a:cubicBezTo>
                <a:lnTo>
                  <a:pt x="6207" y="5293"/>
                </a:lnTo>
                <a:lnTo>
                  <a:pt x="6207" y="693"/>
                </a:lnTo>
                <a:close/>
                <a:moveTo>
                  <a:pt x="10555" y="3623"/>
                </a:moveTo>
                <a:cubicBezTo>
                  <a:pt x="10901" y="4316"/>
                  <a:pt x="11090" y="5104"/>
                  <a:pt x="11090" y="5923"/>
                </a:cubicBezTo>
                <a:cubicBezTo>
                  <a:pt x="11090" y="7026"/>
                  <a:pt x="10744" y="8097"/>
                  <a:pt x="10114" y="8979"/>
                </a:cubicBezTo>
                <a:lnTo>
                  <a:pt x="6491" y="5986"/>
                </a:lnTo>
                <a:lnTo>
                  <a:pt x="10555" y="3623"/>
                </a:lnTo>
                <a:close/>
                <a:moveTo>
                  <a:pt x="5546" y="693"/>
                </a:moveTo>
                <a:lnTo>
                  <a:pt x="5546" y="5892"/>
                </a:lnTo>
                <a:cubicBezTo>
                  <a:pt x="5546" y="6018"/>
                  <a:pt x="5577" y="6081"/>
                  <a:pt x="5672" y="6175"/>
                </a:cubicBezTo>
                <a:lnTo>
                  <a:pt x="9673" y="9483"/>
                </a:lnTo>
                <a:cubicBezTo>
                  <a:pt x="8728" y="10491"/>
                  <a:pt x="7373" y="11121"/>
                  <a:pt x="5892" y="11121"/>
                </a:cubicBezTo>
                <a:cubicBezTo>
                  <a:pt x="3025" y="11121"/>
                  <a:pt x="662" y="8822"/>
                  <a:pt x="662" y="5892"/>
                </a:cubicBezTo>
                <a:cubicBezTo>
                  <a:pt x="662" y="3151"/>
                  <a:pt x="2836" y="851"/>
                  <a:pt x="5546" y="693"/>
                </a:cubicBezTo>
                <a:close/>
                <a:moveTo>
                  <a:pt x="5892" y="0"/>
                </a:moveTo>
                <a:cubicBezTo>
                  <a:pt x="2647" y="0"/>
                  <a:pt x="1" y="2615"/>
                  <a:pt x="1" y="5892"/>
                </a:cubicBezTo>
                <a:cubicBezTo>
                  <a:pt x="1" y="9168"/>
                  <a:pt x="2647" y="11814"/>
                  <a:pt x="5892" y="11814"/>
                </a:cubicBezTo>
                <a:cubicBezTo>
                  <a:pt x="9169" y="11814"/>
                  <a:pt x="11815" y="9168"/>
                  <a:pt x="11815" y="5892"/>
                </a:cubicBezTo>
                <a:cubicBezTo>
                  <a:pt x="11815" y="2678"/>
                  <a:pt x="9137" y="0"/>
                  <a:pt x="5892"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nvGrpSpPr>
          <p:cNvPr id="10178" name="Google Shape;10178;p111"/>
          <p:cNvGrpSpPr/>
          <p:nvPr/>
        </p:nvGrpSpPr>
        <p:grpSpPr>
          <a:xfrm>
            <a:off x="9449359" y="3863362"/>
            <a:ext cx="437428" cy="465903"/>
            <a:chOff x="5421475" y="1945825"/>
            <a:chExt cx="278050" cy="296150"/>
          </a:xfrm>
        </p:grpSpPr>
        <p:sp>
          <p:nvSpPr>
            <p:cNvPr id="10179" name="Google Shape;10179;p111"/>
            <p:cNvSpPr/>
            <p:nvPr/>
          </p:nvSpPr>
          <p:spPr>
            <a:xfrm>
              <a:off x="5472650" y="1999375"/>
              <a:ext cx="172525" cy="242600"/>
            </a:xfrm>
            <a:custGeom>
              <a:avLst/>
              <a:gdLst/>
              <a:ahLst/>
              <a:cxnLst/>
              <a:rect l="l" t="t" r="r" b="b"/>
              <a:pathLst>
                <a:path w="6901" h="9704" extrusionOk="0">
                  <a:moveTo>
                    <a:pt x="1765" y="1355"/>
                  </a:moveTo>
                  <a:cubicBezTo>
                    <a:pt x="1986" y="1355"/>
                    <a:pt x="2143" y="1513"/>
                    <a:pt x="2143" y="1702"/>
                  </a:cubicBezTo>
                  <a:lnTo>
                    <a:pt x="2143" y="2048"/>
                  </a:lnTo>
                  <a:lnTo>
                    <a:pt x="1765" y="2048"/>
                  </a:lnTo>
                  <a:cubicBezTo>
                    <a:pt x="1671" y="2048"/>
                    <a:pt x="1545" y="2048"/>
                    <a:pt x="1419" y="2111"/>
                  </a:cubicBezTo>
                  <a:lnTo>
                    <a:pt x="1419" y="1702"/>
                  </a:lnTo>
                  <a:cubicBezTo>
                    <a:pt x="1419" y="1513"/>
                    <a:pt x="1576" y="1355"/>
                    <a:pt x="1765" y="1355"/>
                  </a:cubicBezTo>
                  <a:close/>
                  <a:moveTo>
                    <a:pt x="3151" y="631"/>
                  </a:moveTo>
                  <a:cubicBezTo>
                    <a:pt x="3341" y="631"/>
                    <a:pt x="3498" y="788"/>
                    <a:pt x="3498" y="1009"/>
                  </a:cubicBezTo>
                  <a:lnTo>
                    <a:pt x="3498" y="2111"/>
                  </a:lnTo>
                  <a:cubicBezTo>
                    <a:pt x="3404" y="2048"/>
                    <a:pt x="3277" y="2017"/>
                    <a:pt x="3151" y="2017"/>
                  </a:cubicBezTo>
                  <a:lnTo>
                    <a:pt x="2805" y="2017"/>
                  </a:lnTo>
                  <a:lnTo>
                    <a:pt x="2805" y="1009"/>
                  </a:lnTo>
                  <a:cubicBezTo>
                    <a:pt x="2805" y="788"/>
                    <a:pt x="2962" y="631"/>
                    <a:pt x="3151" y="631"/>
                  </a:cubicBezTo>
                  <a:close/>
                  <a:moveTo>
                    <a:pt x="4538" y="1355"/>
                  </a:moveTo>
                  <a:cubicBezTo>
                    <a:pt x="4727" y="1355"/>
                    <a:pt x="4884" y="1513"/>
                    <a:pt x="4884" y="1702"/>
                  </a:cubicBezTo>
                  <a:lnTo>
                    <a:pt x="4884" y="3088"/>
                  </a:lnTo>
                  <a:cubicBezTo>
                    <a:pt x="4884" y="3277"/>
                    <a:pt x="4727" y="3435"/>
                    <a:pt x="4538" y="3435"/>
                  </a:cubicBezTo>
                  <a:cubicBezTo>
                    <a:pt x="4349" y="3435"/>
                    <a:pt x="4191" y="3277"/>
                    <a:pt x="4191" y="3088"/>
                  </a:cubicBezTo>
                  <a:lnTo>
                    <a:pt x="4191" y="1702"/>
                  </a:lnTo>
                  <a:cubicBezTo>
                    <a:pt x="4191" y="1513"/>
                    <a:pt x="4349" y="1355"/>
                    <a:pt x="4538" y="1355"/>
                  </a:cubicBezTo>
                  <a:close/>
                  <a:moveTo>
                    <a:pt x="5924" y="2017"/>
                  </a:moveTo>
                  <a:cubicBezTo>
                    <a:pt x="6113" y="2017"/>
                    <a:pt x="6270" y="2174"/>
                    <a:pt x="6270" y="2363"/>
                  </a:cubicBezTo>
                  <a:lnTo>
                    <a:pt x="6270" y="3088"/>
                  </a:lnTo>
                  <a:cubicBezTo>
                    <a:pt x="6270" y="3277"/>
                    <a:pt x="6113" y="3435"/>
                    <a:pt x="5924" y="3435"/>
                  </a:cubicBezTo>
                  <a:cubicBezTo>
                    <a:pt x="5703" y="3435"/>
                    <a:pt x="5546" y="3277"/>
                    <a:pt x="5546" y="3088"/>
                  </a:cubicBezTo>
                  <a:lnTo>
                    <a:pt x="5546" y="2363"/>
                  </a:lnTo>
                  <a:cubicBezTo>
                    <a:pt x="5546" y="2174"/>
                    <a:pt x="5703" y="2017"/>
                    <a:pt x="5924" y="2017"/>
                  </a:cubicBezTo>
                  <a:close/>
                  <a:moveTo>
                    <a:pt x="3120" y="2741"/>
                  </a:moveTo>
                  <a:cubicBezTo>
                    <a:pt x="3309" y="2741"/>
                    <a:pt x="3467" y="2899"/>
                    <a:pt x="3467" y="3088"/>
                  </a:cubicBezTo>
                  <a:cubicBezTo>
                    <a:pt x="3467" y="3277"/>
                    <a:pt x="3309" y="3435"/>
                    <a:pt x="3120" y="3435"/>
                  </a:cubicBezTo>
                  <a:lnTo>
                    <a:pt x="1734" y="3435"/>
                  </a:lnTo>
                  <a:cubicBezTo>
                    <a:pt x="1545" y="3435"/>
                    <a:pt x="1387" y="3592"/>
                    <a:pt x="1387" y="3781"/>
                  </a:cubicBezTo>
                  <a:cubicBezTo>
                    <a:pt x="1387" y="4002"/>
                    <a:pt x="1545" y="4159"/>
                    <a:pt x="1734" y="4159"/>
                  </a:cubicBezTo>
                  <a:cubicBezTo>
                    <a:pt x="2679" y="4159"/>
                    <a:pt x="3467" y="4947"/>
                    <a:pt x="3467" y="5892"/>
                  </a:cubicBezTo>
                  <a:cubicBezTo>
                    <a:pt x="3467" y="6081"/>
                    <a:pt x="3624" y="6238"/>
                    <a:pt x="3845" y="6238"/>
                  </a:cubicBezTo>
                  <a:cubicBezTo>
                    <a:pt x="4034" y="6238"/>
                    <a:pt x="4191" y="6081"/>
                    <a:pt x="4191" y="5892"/>
                  </a:cubicBezTo>
                  <a:cubicBezTo>
                    <a:pt x="4191" y="5167"/>
                    <a:pt x="3876" y="4537"/>
                    <a:pt x="3435" y="4096"/>
                  </a:cubicBezTo>
                  <a:cubicBezTo>
                    <a:pt x="3593" y="4065"/>
                    <a:pt x="3750" y="4002"/>
                    <a:pt x="3876" y="3876"/>
                  </a:cubicBezTo>
                  <a:cubicBezTo>
                    <a:pt x="4065" y="4033"/>
                    <a:pt x="4317" y="4159"/>
                    <a:pt x="4569" y="4159"/>
                  </a:cubicBezTo>
                  <a:cubicBezTo>
                    <a:pt x="4853" y="4159"/>
                    <a:pt x="5073" y="4033"/>
                    <a:pt x="5294" y="3876"/>
                  </a:cubicBezTo>
                  <a:cubicBezTo>
                    <a:pt x="5483" y="4033"/>
                    <a:pt x="5703" y="4159"/>
                    <a:pt x="5987" y="4159"/>
                  </a:cubicBezTo>
                  <a:cubicBezTo>
                    <a:pt x="6113" y="4159"/>
                    <a:pt x="6239" y="4096"/>
                    <a:pt x="6333" y="4065"/>
                  </a:cubicBezTo>
                  <a:lnTo>
                    <a:pt x="6333" y="5167"/>
                  </a:lnTo>
                  <a:cubicBezTo>
                    <a:pt x="6333" y="5923"/>
                    <a:pt x="5861" y="6554"/>
                    <a:pt x="5199" y="6774"/>
                  </a:cubicBezTo>
                  <a:cubicBezTo>
                    <a:pt x="5042" y="6837"/>
                    <a:pt x="4979" y="6995"/>
                    <a:pt x="4979" y="7089"/>
                  </a:cubicBezTo>
                  <a:lnTo>
                    <a:pt x="4979" y="7562"/>
                  </a:lnTo>
                  <a:lnTo>
                    <a:pt x="2206" y="7562"/>
                  </a:lnTo>
                  <a:lnTo>
                    <a:pt x="2206" y="7089"/>
                  </a:lnTo>
                  <a:cubicBezTo>
                    <a:pt x="2206" y="6932"/>
                    <a:pt x="2143" y="6837"/>
                    <a:pt x="1986" y="6774"/>
                  </a:cubicBezTo>
                  <a:cubicBezTo>
                    <a:pt x="1261" y="6554"/>
                    <a:pt x="820" y="5892"/>
                    <a:pt x="820" y="5167"/>
                  </a:cubicBezTo>
                  <a:lnTo>
                    <a:pt x="820" y="3750"/>
                  </a:lnTo>
                  <a:lnTo>
                    <a:pt x="726" y="3750"/>
                  </a:lnTo>
                  <a:cubicBezTo>
                    <a:pt x="726" y="3151"/>
                    <a:pt x="1198" y="2741"/>
                    <a:pt x="1734" y="2741"/>
                  </a:cubicBezTo>
                  <a:close/>
                  <a:moveTo>
                    <a:pt x="5199" y="8286"/>
                  </a:moveTo>
                  <a:cubicBezTo>
                    <a:pt x="5388" y="8286"/>
                    <a:pt x="5546" y="8444"/>
                    <a:pt x="5546" y="8633"/>
                  </a:cubicBezTo>
                  <a:lnTo>
                    <a:pt x="5546" y="8979"/>
                  </a:lnTo>
                  <a:lnTo>
                    <a:pt x="1387" y="8979"/>
                  </a:lnTo>
                  <a:lnTo>
                    <a:pt x="1387" y="8633"/>
                  </a:lnTo>
                  <a:cubicBezTo>
                    <a:pt x="1387" y="8444"/>
                    <a:pt x="1545" y="8286"/>
                    <a:pt x="1734" y="8286"/>
                  </a:cubicBezTo>
                  <a:close/>
                  <a:moveTo>
                    <a:pt x="3120" y="1"/>
                  </a:moveTo>
                  <a:cubicBezTo>
                    <a:pt x="2647" y="1"/>
                    <a:pt x="2269" y="316"/>
                    <a:pt x="2143" y="757"/>
                  </a:cubicBezTo>
                  <a:cubicBezTo>
                    <a:pt x="2017" y="725"/>
                    <a:pt x="1891" y="694"/>
                    <a:pt x="1734" y="694"/>
                  </a:cubicBezTo>
                  <a:cubicBezTo>
                    <a:pt x="1167" y="694"/>
                    <a:pt x="726" y="1166"/>
                    <a:pt x="726" y="1702"/>
                  </a:cubicBezTo>
                  <a:lnTo>
                    <a:pt x="726" y="2426"/>
                  </a:lnTo>
                  <a:cubicBezTo>
                    <a:pt x="285" y="2678"/>
                    <a:pt x="1" y="3214"/>
                    <a:pt x="1" y="3750"/>
                  </a:cubicBezTo>
                  <a:lnTo>
                    <a:pt x="1" y="5136"/>
                  </a:lnTo>
                  <a:cubicBezTo>
                    <a:pt x="1" y="6081"/>
                    <a:pt x="568" y="6932"/>
                    <a:pt x="1387" y="7341"/>
                  </a:cubicBezTo>
                  <a:lnTo>
                    <a:pt x="1387" y="7656"/>
                  </a:lnTo>
                  <a:cubicBezTo>
                    <a:pt x="1009" y="7814"/>
                    <a:pt x="694" y="8160"/>
                    <a:pt x="694" y="8633"/>
                  </a:cubicBezTo>
                  <a:lnTo>
                    <a:pt x="694" y="9357"/>
                  </a:lnTo>
                  <a:cubicBezTo>
                    <a:pt x="694" y="9546"/>
                    <a:pt x="852" y="9704"/>
                    <a:pt x="1041" y="9704"/>
                  </a:cubicBezTo>
                  <a:lnTo>
                    <a:pt x="5892" y="9704"/>
                  </a:lnTo>
                  <a:cubicBezTo>
                    <a:pt x="6081" y="9704"/>
                    <a:pt x="6239" y="9546"/>
                    <a:pt x="6239" y="9357"/>
                  </a:cubicBezTo>
                  <a:lnTo>
                    <a:pt x="6239" y="8633"/>
                  </a:lnTo>
                  <a:cubicBezTo>
                    <a:pt x="6239" y="8192"/>
                    <a:pt x="5955" y="7814"/>
                    <a:pt x="5514" y="7656"/>
                  </a:cubicBezTo>
                  <a:lnTo>
                    <a:pt x="5514" y="7341"/>
                  </a:lnTo>
                  <a:cubicBezTo>
                    <a:pt x="6365" y="6932"/>
                    <a:pt x="6901" y="6081"/>
                    <a:pt x="6901" y="5136"/>
                  </a:cubicBezTo>
                  <a:lnTo>
                    <a:pt x="6901" y="2363"/>
                  </a:lnTo>
                  <a:cubicBezTo>
                    <a:pt x="6901" y="1796"/>
                    <a:pt x="6428" y="1355"/>
                    <a:pt x="5892" y="1355"/>
                  </a:cubicBezTo>
                  <a:cubicBezTo>
                    <a:pt x="5766" y="1355"/>
                    <a:pt x="5609" y="1387"/>
                    <a:pt x="5483" y="1418"/>
                  </a:cubicBezTo>
                  <a:cubicBezTo>
                    <a:pt x="5357" y="1009"/>
                    <a:pt x="4979" y="694"/>
                    <a:pt x="4506" y="694"/>
                  </a:cubicBezTo>
                  <a:cubicBezTo>
                    <a:pt x="4380" y="694"/>
                    <a:pt x="4223" y="725"/>
                    <a:pt x="4097" y="757"/>
                  </a:cubicBezTo>
                  <a:cubicBezTo>
                    <a:pt x="4002" y="316"/>
                    <a:pt x="3593" y="1"/>
                    <a:pt x="3120"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180" name="Google Shape;10180;p111"/>
            <p:cNvSpPr/>
            <p:nvPr/>
          </p:nvSpPr>
          <p:spPr>
            <a:xfrm>
              <a:off x="5559300" y="1945825"/>
              <a:ext cx="18150" cy="44125"/>
            </a:xfrm>
            <a:custGeom>
              <a:avLst/>
              <a:gdLst/>
              <a:ahLst/>
              <a:cxnLst/>
              <a:rect l="l" t="t" r="r" b="b"/>
              <a:pathLst>
                <a:path w="726" h="1765" extrusionOk="0">
                  <a:moveTo>
                    <a:pt x="379" y="0"/>
                  </a:moveTo>
                  <a:cubicBezTo>
                    <a:pt x="158" y="0"/>
                    <a:pt x="1" y="158"/>
                    <a:pt x="1" y="347"/>
                  </a:cubicBezTo>
                  <a:lnTo>
                    <a:pt x="1" y="1418"/>
                  </a:lnTo>
                  <a:cubicBezTo>
                    <a:pt x="1" y="1607"/>
                    <a:pt x="158" y="1764"/>
                    <a:pt x="379" y="1764"/>
                  </a:cubicBezTo>
                  <a:cubicBezTo>
                    <a:pt x="568" y="1764"/>
                    <a:pt x="725" y="1607"/>
                    <a:pt x="725" y="1418"/>
                  </a:cubicBezTo>
                  <a:lnTo>
                    <a:pt x="725" y="347"/>
                  </a:lnTo>
                  <a:cubicBezTo>
                    <a:pt x="725" y="158"/>
                    <a:pt x="568" y="0"/>
                    <a:pt x="379"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181" name="Google Shape;10181;p111"/>
            <p:cNvSpPr/>
            <p:nvPr/>
          </p:nvSpPr>
          <p:spPr>
            <a:xfrm>
              <a:off x="5611275" y="1963925"/>
              <a:ext cx="35475" cy="34500"/>
            </a:xfrm>
            <a:custGeom>
              <a:avLst/>
              <a:gdLst/>
              <a:ahLst/>
              <a:cxnLst/>
              <a:rect l="l" t="t" r="r" b="b"/>
              <a:pathLst>
                <a:path w="1419" h="1380" extrusionOk="0">
                  <a:moveTo>
                    <a:pt x="1076" y="1"/>
                  </a:moveTo>
                  <a:cubicBezTo>
                    <a:pt x="985" y="1"/>
                    <a:pt x="899" y="32"/>
                    <a:pt x="851" y="95"/>
                  </a:cubicBezTo>
                  <a:lnTo>
                    <a:pt x="127" y="788"/>
                  </a:lnTo>
                  <a:cubicBezTo>
                    <a:pt x="1" y="914"/>
                    <a:pt x="1" y="1166"/>
                    <a:pt x="127" y="1261"/>
                  </a:cubicBezTo>
                  <a:cubicBezTo>
                    <a:pt x="190" y="1340"/>
                    <a:pt x="284" y="1379"/>
                    <a:pt x="375" y="1379"/>
                  </a:cubicBezTo>
                  <a:cubicBezTo>
                    <a:pt x="466" y="1379"/>
                    <a:pt x="552" y="1340"/>
                    <a:pt x="599" y="1261"/>
                  </a:cubicBezTo>
                  <a:lnTo>
                    <a:pt x="1324" y="568"/>
                  </a:lnTo>
                  <a:cubicBezTo>
                    <a:pt x="1419" y="442"/>
                    <a:pt x="1419" y="221"/>
                    <a:pt x="1324" y="95"/>
                  </a:cubicBezTo>
                  <a:cubicBezTo>
                    <a:pt x="1261" y="32"/>
                    <a:pt x="1167" y="1"/>
                    <a:pt x="1076"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182" name="Google Shape;10182;p111"/>
            <p:cNvSpPr/>
            <p:nvPr/>
          </p:nvSpPr>
          <p:spPr>
            <a:xfrm>
              <a:off x="5664050" y="2067900"/>
              <a:ext cx="35475" cy="17350"/>
            </a:xfrm>
            <a:custGeom>
              <a:avLst/>
              <a:gdLst/>
              <a:ahLst/>
              <a:cxnLst/>
              <a:rect l="l" t="t" r="r" b="b"/>
              <a:pathLst>
                <a:path w="1419" h="694" extrusionOk="0">
                  <a:moveTo>
                    <a:pt x="347" y="0"/>
                  </a:moveTo>
                  <a:cubicBezTo>
                    <a:pt x="158" y="0"/>
                    <a:pt x="1" y="158"/>
                    <a:pt x="1" y="347"/>
                  </a:cubicBezTo>
                  <a:cubicBezTo>
                    <a:pt x="1" y="536"/>
                    <a:pt x="158" y="694"/>
                    <a:pt x="347" y="694"/>
                  </a:cubicBezTo>
                  <a:lnTo>
                    <a:pt x="1040" y="694"/>
                  </a:lnTo>
                  <a:cubicBezTo>
                    <a:pt x="1261" y="694"/>
                    <a:pt x="1418" y="536"/>
                    <a:pt x="1418" y="347"/>
                  </a:cubicBezTo>
                  <a:cubicBezTo>
                    <a:pt x="1418" y="158"/>
                    <a:pt x="1261" y="0"/>
                    <a:pt x="1040"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183" name="Google Shape;10183;p111"/>
            <p:cNvSpPr/>
            <p:nvPr/>
          </p:nvSpPr>
          <p:spPr>
            <a:xfrm>
              <a:off x="5421475" y="2067900"/>
              <a:ext cx="35450" cy="17350"/>
            </a:xfrm>
            <a:custGeom>
              <a:avLst/>
              <a:gdLst/>
              <a:ahLst/>
              <a:cxnLst/>
              <a:rect l="l" t="t" r="r" b="b"/>
              <a:pathLst>
                <a:path w="1418" h="694" extrusionOk="0">
                  <a:moveTo>
                    <a:pt x="378" y="0"/>
                  </a:moveTo>
                  <a:cubicBezTo>
                    <a:pt x="158" y="0"/>
                    <a:pt x="0" y="158"/>
                    <a:pt x="0" y="347"/>
                  </a:cubicBezTo>
                  <a:cubicBezTo>
                    <a:pt x="0" y="536"/>
                    <a:pt x="158" y="694"/>
                    <a:pt x="378" y="694"/>
                  </a:cubicBezTo>
                  <a:lnTo>
                    <a:pt x="1071" y="694"/>
                  </a:lnTo>
                  <a:cubicBezTo>
                    <a:pt x="1260" y="694"/>
                    <a:pt x="1418" y="536"/>
                    <a:pt x="1418" y="347"/>
                  </a:cubicBezTo>
                  <a:cubicBezTo>
                    <a:pt x="1418" y="158"/>
                    <a:pt x="1260" y="0"/>
                    <a:pt x="1071"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184" name="Google Shape;10184;p111"/>
            <p:cNvSpPr/>
            <p:nvPr/>
          </p:nvSpPr>
          <p:spPr>
            <a:xfrm>
              <a:off x="5490000" y="1963925"/>
              <a:ext cx="35450" cy="33900"/>
            </a:xfrm>
            <a:custGeom>
              <a:avLst/>
              <a:gdLst/>
              <a:ahLst/>
              <a:cxnLst/>
              <a:rect l="l" t="t" r="r" b="b"/>
              <a:pathLst>
                <a:path w="1418" h="1356" extrusionOk="0">
                  <a:moveTo>
                    <a:pt x="343" y="1"/>
                  </a:moveTo>
                  <a:cubicBezTo>
                    <a:pt x="252" y="1"/>
                    <a:pt x="158" y="32"/>
                    <a:pt x="95" y="95"/>
                  </a:cubicBezTo>
                  <a:cubicBezTo>
                    <a:pt x="0" y="221"/>
                    <a:pt x="0" y="442"/>
                    <a:pt x="95" y="568"/>
                  </a:cubicBezTo>
                  <a:lnTo>
                    <a:pt x="819" y="1261"/>
                  </a:lnTo>
                  <a:cubicBezTo>
                    <a:pt x="866" y="1324"/>
                    <a:pt x="953" y="1356"/>
                    <a:pt x="1044" y="1356"/>
                  </a:cubicBezTo>
                  <a:cubicBezTo>
                    <a:pt x="1134" y="1356"/>
                    <a:pt x="1229" y="1324"/>
                    <a:pt x="1292" y="1261"/>
                  </a:cubicBezTo>
                  <a:cubicBezTo>
                    <a:pt x="1418" y="1166"/>
                    <a:pt x="1418" y="914"/>
                    <a:pt x="1292" y="788"/>
                  </a:cubicBezTo>
                  <a:lnTo>
                    <a:pt x="567" y="95"/>
                  </a:lnTo>
                  <a:cubicBezTo>
                    <a:pt x="520" y="32"/>
                    <a:pt x="433" y="1"/>
                    <a:pt x="343"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185" name="Google Shape;10185;p111"/>
            <p:cNvSpPr/>
            <p:nvPr/>
          </p:nvSpPr>
          <p:spPr>
            <a:xfrm>
              <a:off x="5437225" y="1997650"/>
              <a:ext cx="37825" cy="26325"/>
            </a:xfrm>
            <a:custGeom>
              <a:avLst/>
              <a:gdLst/>
              <a:ahLst/>
              <a:cxnLst/>
              <a:rect l="l" t="t" r="r" b="b"/>
              <a:pathLst>
                <a:path w="1513" h="1053" extrusionOk="0">
                  <a:moveTo>
                    <a:pt x="422" y="0"/>
                  </a:moveTo>
                  <a:cubicBezTo>
                    <a:pt x="285" y="0"/>
                    <a:pt x="140" y="81"/>
                    <a:pt x="95" y="196"/>
                  </a:cubicBezTo>
                  <a:cubicBezTo>
                    <a:pt x="0" y="353"/>
                    <a:pt x="95" y="574"/>
                    <a:pt x="252" y="668"/>
                  </a:cubicBezTo>
                  <a:lnTo>
                    <a:pt x="945" y="1015"/>
                  </a:lnTo>
                  <a:cubicBezTo>
                    <a:pt x="989" y="1041"/>
                    <a:pt x="1039" y="1052"/>
                    <a:pt x="1091" y="1052"/>
                  </a:cubicBezTo>
                  <a:cubicBezTo>
                    <a:pt x="1227" y="1052"/>
                    <a:pt x="1372" y="971"/>
                    <a:pt x="1418" y="857"/>
                  </a:cubicBezTo>
                  <a:cubicBezTo>
                    <a:pt x="1512" y="700"/>
                    <a:pt x="1418" y="479"/>
                    <a:pt x="1260" y="385"/>
                  </a:cubicBezTo>
                  <a:lnTo>
                    <a:pt x="567" y="38"/>
                  </a:lnTo>
                  <a:cubicBezTo>
                    <a:pt x="524" y="12"/>
                    <a:pt x="473" y="0"/>
                    <a:pt x="422"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186" name="Google Shape;10186;p111"/>
            <p:cNvSpPr/>
            <p:nvPr/>
          </p:nvSpPr>
          <p:spPr>
            <a:xfrm>
              <a:off x="5645150" y="1998300"/>
              <a:ext cx="37825" cy="26900"/>
            </a:xfrm>
            <a:custGeom>
              <a:avLst/>
              <a:gdLst/>
              <a:ahLst/>
              <a:cxnLst/>
              <a:rect l="l" t="t" r="r" b="b"/>
              <a:pathLst>
                <a:path w="1513" h="1076" extrusionOk="0">
                  <a:moveTo>
                    <a:pt x="1098" y="0"/>
                  </a:moveTo>
                  <a:cubicBezTo>
                    <a:pt x="1046" y="0"/>
                    <a:pt x="994" y="14"/>
                    <a:pt x="946" y="44"/>
                  </a:cubicBezTo>
                  <a:lnTo>
                    <a:pt x="253" y="422"/>
                  </a:lnTo>
                  <a:cubicBezTo>
                    <a:pt x="95" y="485"/>
                    <a:pt x="1" y="674"/>
                    <a:pt x="95" y="894"/>
                  </a:cubicBezTo>
                  <a:cubicBezTo>
                    <a:pt x="142" y="1011"/>
                    <a:pt x="258" y="1076"/>
                    <a:pt x="405" y="1076"/>
                  </a:cubicBezTo>
                  <a:cubicBezTo>
                    <a:pt x="456" y="1076"/>
                    <a:pt x="511" y="1068"/>
                    <a:pt x="568" y="1052"/>
                  </a:cubicBezTo>
                  <a:lnTo>
                    <a:pt x="1261" y="674"/>
                  </a:lnTo>
                  <a:cubicBezTo>
                    <a:pt x="1418" y="611"/>
                    <a:pt x="1513" y="422"/>
                    <a:pt x="1418" y="201"/>
                  </a:cubicBezTo>
                  <a:cubicBezTo>
                    <a:pt x="1331" y="71"/>
                    <a:pt x="1214" y="0"/>
                    <a:pt x="1098"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sp>
        <p:nvSpPr>
          <p:cNvPr id="10187" name="Google Shape;10187;p111"/>
          <p:cNvSpPr/>
          <p:nvPr/>
        </p:nvSpPr>
        <p:spPr>
          <a:xfrm>
            <a:off x="9432435" y="4514031"/>
            <a:ext cx="470899" cy="468420"/>
          </a:xfrm>
          <a:custGeom>
            <a:avLst/>
            <a:gdLst/>
            <a:ahLst/>
            <a:cxnLst/>
            <a:rect l="l" t="t" r="r" b="b"/>
            <a:pathLst>
              <a:path w="11973" h="11910" extrusionOk="0">
                <a:moveTo>
                  <a:pt x="11027" y="662"/>
                </a:moveTo>
                <a:lnTo>
                  <a:pt x="11027" y="1387"/>
                </a:lnTo>
                <a:lnTo>
                  <a:pt x="8601" y="1387"/>
                </a:lnTo>
                <a:cubicBezTo>
                  <a:pt x="8412" y="1387"/>
                  <a:pt x="8255" y="1229"/>
                  <a:pt x="8255" y="1040"/>
                </a:cubicBezTo>
                <a:cubicBezTo>
                  <a:pt x="8255" y="820"/>
                  <a:pt x="8412" y="662"/>
                  <a:pt x="8601" y="662"/>
                </a:cubicBezTo>
                <a:close/>
                <a:moveTo>
                  <a:pt x="10366" y="2048"/>
                </a:moveTo>
                <a:lnTo>
                  <a:pt x="10366" y="2773"/>
                </a:lnTo>
                <a:lnTo>
                  <a:pt x="7940" y="2773"/>
                </a:lnTo>
                <a:cubicBezTo>
                  <a:pt x="7926" y="2775"/>
                  <a:pt x="7912" y="2776"/>
                  <a:pt x="7899" y="2776"/>
                </a:cubicBezTo>
                <a:cubicBezTo>
                  <a:pt x="7728" y="2776"/>
                  <a:pt x="7593" y="2599"/>
                  <a:pt x="7593" y="2395"/>
                </a:cubicBezTo>
                <a:cubicBezTo>
                  <a:pt x="7593" y="2206"/>
                  <a:pt x="7751" y="2048"/>
                  <a:pt x="7940" y="2048"/>
                </a:cubicBezTo>
                <a:close/>
                <a:moveTo>
                  <a:pt x="11027" y="3466"/>
                </a:moveTo>
                <a:lnTo>
                  <a:pt x="11027" y="4191"/>
                </a:lnTo>
                <a:lnTo>
                  <a:pt x="8601" y="4191"/>
                </a:lnTo>
                <a:cubicBezTo>
                  <a:pt x="8412" y="4191"/>
                  <a:pt x="8255" y="4033"/>
                  <a:pt x="8255" y="3812"/>
                </a:cubicBezTo>
                <a:cubicBezTo>
                  <a:pt x="8255" y="3623"/>
                  <a:pt x="8412" y="3466"/>
                  <a:pt x="8601" y="3466"/>
                </a:cubicBezTo>
                <a:close/>
                <a:moveTo>
                  <a:pt x="1292" y="4884"/>
                </a:moveTo>
                <a:lnTo>
                  <a:pt x="1292" y="5608"/>
                </a:lnTo>
                <a:lnTo>
                  <a:pt x="568" y="5608"/>
                </a:lnTo>
                <a:lnTo>
                  <a:pt x="568" y="4884"/>
                </a:lnTo>
                <a:close/>
                <a:moveTo>
                  <a:pt x="11027" y="4884"/>
                </a:moveTo>
                <a:lnTo>
                  <a:pt x="11027" y="5608"/>
                </a:lnTo>
                <a:lnTo>
                  <a:pt x="6207" y="5608"/>
                </a:lnTo>
                <a:lnTo>
                  <a:pt x="6207" y="4884"/>
                </a:lnTo>
                <a:close/>
                <a:moveTo>
                  <a:pt x="3718" y="2080"/>
                </a:moveTo>
                <a:cubicBezTo>
                  <a:pt x="4663" y="2080"/>
                  <a:pt x="5482" y="2867"/>
                  <a:pt x="5482" y="3844"/>
                </a:cubicBezTo>
                <a:lnTo>
                  <a:pt x="5482" y="5955"/>
                </a:lnTo>
                <a:cubicBezTo>
                  <a:pt x="5482" y="6144"/>
                  <a:pt x="5325" y="6301"/>
                  <a:pt x="5136" y="6301"/>
                </a:cubicBezTo>
                <a:lnTo>
                  <a:pt x="2300" y="6301"/>
                </a:lnTo>
                <a:cubicBezTo>
                  <a:pt x="2111" y="6301"/>
                  <a:pt x="1954" y="6144"/>
                  <a:pt x="1954" y="5955"/>
                </a:cubicBezTo>
                <a:lnTo>
                  <a:pt x="1954" y="3844"/>
                </a:lnTo>
                <a:cubicBezTo>
                  <a:pt x="1954" y="2899"/>
                  <a:pt x="2742" y="2080"/>
                  <a:pt x="3718" y="2080"/>
                </a:cubicBezTo>
                <a:close/>
                <a:moveTo>
                  <a:pt x="11027" y="6301"/>
                </a:moveTo>
                <a:lnTo>
                  <a:pt x="11027" y="7688"/>
                </a:lnTo>
                <a:lnTo>
                  <a:pt x="7593" y="7688"/>
                </a:lnTo>
                <a:lnTo>
                  <a:pt x="7593" y="6301"/>
                </a:lnTo>
                <a:lnTo>
                  <a:pt x="8948" y="6301"/>
                </a:lnTo>
                <a:lnTo>
                  <a:pt x="8948" y="6648"/>
                </a:lnTo>
                <a:cubicBezTo>
                  <a:pt x="8948" y="6868"/>
                  <a:pt x="9106" y="7026"/>
                  <a:pt x="9326" y="7026"/>
                </a:cubicBezTo>
                <a:cubicBezTo>
                  <a:pt x="9515" y="7026"/>
                  <a:pt x="9673" y="6868"/>
                  <a:pt x="9673" y="6648"/>
                </a:cubicBezTo>
                <a:lnTo>
                  <a:pt x="9673" y="6301"/>
                </a:lnTo>
                <a:close/>
                <a:moveTo>
                  <a:pt x="4443" y="8349"/>
                </a:moveTo>
                <a:cubicBezTo>
                  <a:pt x="4852" y="8349"/>
                  <a:pt x="5293" y="8633"/>
                  <a:pt x="5419" y="9074"/>
                </a:cubicBezTo>
                <a:lnTo>
                  <a:pt x="2080" y="9074"/>
                </a:lnTo>
                <a:cubicBezTo>
                  <a:pt x="2237" y="8664"/>
                  <a:pt x="2616" y="8349"/>
                  <a:pt x="3057" y="8349"/>
                </a:cubicBezTo>
                <a:close/>
                <a:moveTo>
                  <a:pt x="11027" y="8349"/>
                </a:moveTo>
                <a:lnTo>
                  <a:pt x="11027" y="9735"/>
                </a:lnTo>
                <a:lnTo>
                  <a:pt x="7593" y="9735"/>
                </a:lnTo>
                <a:lnTo>
                  <a:pt x="7593" y="8349"/>
                </a:lnTo>
                <a:lnTo>
                  <a:pt x="8948" y="8349"/>
                </a:lnTo>
                <a:lnTo>
                  <a:pt x="8948" y="8696"/>
                </a:lnTo>
                <a:cubicBezTo>
                  <a:pt x="8948" y="8916"/>
                  <a:pt x="9106" y="9074"/>
                  <a:pt x="9326" y="9074"/>
                </a:cubicBezTo>
                <a:cubicBezTo>
                  <a:pt x="9515" y="9074"/>
                  <a:pt x="9673" y="8916"/>
                  <a:pt x="9673" y="8696"/>
                </a:cubicBezTo>
                <a:lnTo>
                  <a:pt x="9673" y="8349"/>
                </a:lnTo>
                <a:close/>
                <a:moveTo>
                  <a:pt x="8633" y="0"/>
                </a:moveTo>
                <a:cubicBezTo>
                  <a:pt x="8066" y="0"/>
                  <a:pt x="7625" y="473"/>
                  <a:pt x="7625" y="1040"/>
                </a:cubicBezTo>
                <a:cubicBezTo>
                  <a:pt x="7625" y="1135"/>
                  <a:pt x="7656" y="1292"/>
                  <a:pt x="7688" y="1418"/>
                </a:cubicBezTo>
                <a:cubicBezTo>
                  <a:pt x="7278" y="1544"/>
                  <a:pt x="6963" y="1922"/>
                  <a:pt x="6963" y="2395"/>
                </a:cubicBezTo>
                <a:cubicBezTo>
                  <a:pt x="6963" y="2678"/>
                  <a:pt x="7058" y="2962"/>
                  <a:pt x="7278" y="3151"/>
                </a:cubicBezTo>
                <a:cubicBezTo>
                  <a:pt x="7373" y="3308"/>
                  <a:pt x="7530" y="3403"/>
                  <a:pt x="7751" y="3434"/>
                </a:cubicBezTo>
                <a:cubicBezTo>
                  <a:pt x="7688" y="3560"/>
                  <a:pt x="7656" y="3655"/>
                  <a:pt x="7656" y="3812"/>
                </a:cubicBezTo>
                <a:cubicBezTo>
                  <a:pt x="7656" y="3939"/>
                  <a:pt x="7688" y="4065"/>
                  <a:pt x="7751" y="4191"/>
                </a:cubicBezTo>
                <a:lnTo>
                  <a:pt x="6270" y="4191"/>
                </a:lnTo>
                <a:lnTo>
                  <a:pt x="6270" y="3812"/>
                </a:lnTo>
                <a:cubicBezTo>
                  <a:pt x="6270" y="2489"/>
                  <a:pt x="5167" y="1387"/>
                  <a:pt x="3844" y="1387"/>
                </a:cubicBezTo>
                <a:cubicBezTo>
                  <a:pt x="2490" y="1387"/>
                  <a:pt x="1387" y="2489"/>
                  <a:pt x="1387" y="3812"/>
                </a:cubicBezTo>
                <a:lnTo>
                  <a:pt x="1387" y="4191"/>
                </a:lnTo>
                <a:lnTo>
                  <a:pt x="379" y="4191"/>
                </a:lnTo>
                <a:cubicBezTo>
                  <a:pt x="158" y="4191"/>
                  <a:pt x="1" y="4348"/>
                  <a:pt x="1" y="4537"/>
                </a:cubicBezTo>
                <a:lnTo>
                  <a:pt x="1" y="11500"/>
                </a:lnTo>
                <a:cubicBezTo>
                  <a:pt x="1" y="11689"/>
                  <a:pt x="158" y="11846"/>
                  <a:pt x="379" y="11846"/>
                </a:cubicBezTo>
                <a:cubicBezTo>
                  <a:pt x="568" y="11846"/>
                  <a:pt x="725" y="11689"/>
                  <a:pt x="725" y="11500"/>
                </a:cubicBezTo>
                <a:lnTo>
                  <a:pt x="725" y="6301"/>
                </a:lnTo>
                <a:lnTo>
                  <a:pt x="1481" y="6301"/>
                </a:lnTo>
                <a:cubicBezTo>
                  <a:pt x="1639" y="6711"/>
                  <a:pt x="1985" y="7026"/>
                  <a:pt x="2458" y="7026"/>
                </a:cubicBezTo>
                <a:lnTo>
                  <a:pt x="3529" y="7026"/>
                </a:lnTo>
                <a:lnTo>
                  <a:pt x="3529" y="7719"/>
                </a:lnTo>
                <a:lnTo>
                  <a:pt x="3151" y="7719"/>
                </a:lnTo>
                <a:cubicBezTo>
                  <a:pt x="2237" y="7719"/>
                  <a:pt x="1387" y="8507"/>
                  <a:pt x="1387" y="9452"/>
                </a:cubicBezTo>
                <a:cubicBezTo>
                  <a:pt x="1387" y="9641"/>
                  <a:pt x="1544" y="9798"/>
                  <a:pt x="1733" y="9798"/>
                </a:cubicBezTo>
                <a:lnTo>
                  <a:pt x="3529" y="9798"/>
                </a:lnTo>
                <a:lnTo>
                  <a:pt x="3529" y="10523"/>
                </a:lnTo>
                <a:lnTo>
                  <a:pt x="2458" y="10523"/>
                </a:lnTo>
                <a:cubicBezTo>
                  <a:pt x="1859" y="10523"/>
                  <a:pt x="1418" y="10996"/>
                  <a:pt x="1418" y="11531"/>
                </a:cubicBezTo>
                <a:cubicBezTo>
                  <a:pt x="1418" y="11752"/>
                  <a:pt x="1576" y="11909"/>
                  <a:pt x="1796" y="11909"/>
                </a:cubicBezTo>
                <a:cubicBezTo>
                  <a:pt x="1985" y="11909"/>
                  <a:pt x="2143" y="11752"/>
                  <a:pt x="2143" y="11531"/>
                </a:cubicBezTo>
                <a:cubicBezTo>
                  <a:pt x="2143" y="11342"/>
                  <a:pt x="2300" y="11185"/>
                  <a:pt x="2490" y="11185"/>
                </a:cubicBezTo>
                <a:lnTo>
                  <a:pt x="3561" y="11185"/>
                </a:lnTo>
                <a:lnTo>
                  <a:pt x="3561" y="11531"/>
                </a:lnTo>
                <a:cubicBezTo>
                  <a:pt x="3561" y="11752"/>
                  <a:pt x="3718" y="11909"/>
                  <a:pt x="3907" y="11909"/>
                </a:cubicBezTo>
                <a:cubicBezTo>
                  <a:pt x="4096" y="11909"/>
                  <a:pt x="4254" y="11752"/>
                  <a:pt x="4254" y="11531"/>
                </a:cubicBezTo>
                <a:lnTo>
                  <a:pt x="4254" y="11185"/>
                </a:lnTo>
                <a:lnTo>
                  <a:pt x="5325" y="11185"/>
                </a:lnTo>
                <a:cubicBezTo>
                  <a:pt x="5514" y="11185"/>
                  <a:pt x="5672" y="11342"/>
                  <a:pt x="5672" y="11531"/>
                </a:cubicBezTo>
                <a:cubicBezTo>
                  <a:pt x="5672" y="11752"/>
                  <a:pt x="5829" y="11909"/>
                  <a:pt x="6050" y="11909"/>
                </a:cubicBezTo>
                <a:cubicBezTo>
                  <a:pt x="6239" y="11909"/>
                  <a:pt x="6396" y="11752"/>
                  <a:pt x="6396" y="11531"/>
                </a:cubicBezTo>
                <a:cubicBezTo>
                  <a:pt x="6396" y="10964"/>
                  <a:pt x="5924" y="10523"/>
                  <a:pt x="5356" y="10523"/>
                </a:cubicBezTo>
                <a:lnTo>
                  <a:pt x="4317" y="10523"/>
                </a:lnTo>
                <a:lnTo>
                  <a:pt x="4317" y="9798"/>
                </a:lnTo>
                <a:lnTo>
                  <a:pt x="6081" y="9798"/>
                </a:lnTo>
                <a:cubicBezTo>
                  <a:pt x="6270" y="9798"/>
                  <a:pt x="6428" y="9641"/>
                  <a:pt x="6428" y="9452"/>
                </a:cubicBezTo>
                <a:cubicBezTo>
                  <a:pt x="6428" y="8507"/>
                  <a:pt x="5640" y="7719"/>
                  <a:pt x="4663" y="7719"/>
                </a:cubicBezTo>
                <a:lnTo>
                  <a:pt x="4317" y="7719"/>
                </a:lnTo>
                <a:lnTo>
                  <a:pt x="4317" y="7026"/>
                </a:lnTo>
                <a:lnTo>
                  <a:pt x="5356" y="7026"/>
                </a:lnTo>
                <a:cubicBezTo>
                  <a:pt x="5798" y="7026"/>
                  <a:pt x="6207" y="6742"/>
                  <a:pt x="6365" y="6301"/>
                </a:cubicBezTo>
                <a:lnTo>
                  <a:pt x="7089" y="6301"/>
                </a:lnTo>
                <a:lnTo>
                  <a:pt x="7089" y="11500"/>
                </a:lnTo>
                <a:cubicBezTo>
                  <a:pt x="7089" y="11689"/>
                  <a:pt x="7247" y="11846"/>
                  <a:pt x="7467" y="11846"/>
                </a:cubicBezTo>
                <a:cubicBezTo>
                  <a:pt x="7656" y="11846"/>
                  <a:pt x="7814" y="11689"/>
                  <a:pt x="7814" y="11500"/>
                </a:cubicBezTo>
                <a:lnTo>
                  <a:pt x="7814" y="10492"/>
                </a:lnTo>
                <a:lnTo>
                  <a:pt x="11279" y="10492"/>
                </a:lnTo>
                <a:lnTo>
                  <a:pt x="11279" y="11500"/>
                </a:lnTo>
                <a:cubicBezTo>
                  <a:pt x="11279" y="11689"/>
                  <a:pt x="11437" y="11846"/>
                  <a:pt x="11626" y="11846"/>
                </a:cubicBezTo>
                <a:cubicBezTo>
                  <a:pt x="11815" y="11846"/>
                  <a:pt x="11972" y="11689"/>
                  <a:pt x="11972" y="11500"/>
                </a:cubicBezTo>
                <a:lnTo>
                  <a:pt x="11972" y="3151"/>
                </a:lnTo>
                <a:cubicBezTo>
                  <a:pt x="11972" y="2962"/>
                  <a:pt x="11815" y="2804"/>
                  <a:pt x="11626" y="2804"/>
                </a:cubicBezTo>
                <a:lnTo>
                  <a:pt x="11279" y="2804"/>
                </a:lnTo>
                <a:lnTo>
                  <a:pt x="11279" y="2080"/>
                </a:lnTo>
                <a:lnTo>
                  <a:pt x="11626" y="2080"/>
                </a:lnTo>
                <a:cubicBezTo>
                  <a:pt x="11815" y="2080"/>
                  <a:pt x="11972" y="1922"/>
                  <a:pt x="11972" y="1733"/>
                </a:cubicBezTo>
                <a:lnTo>
                  <a:pt x="11972" y="347"/>
                </a:lnTo>
                <a:cubicBezTo>
                  <a:pt x="11752" y="158"/>
                  <a:pt x="11594" y="0"/>
                  <a:pt x="11405"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nvGrpSpPr>
          <p:cNvPr id="10188" name="Google Shape;10188;p111"/>
          <p:cNvGrpSpPr/>
          <p:nvPr/>
        </p:nvGrpSpPr>
        <p:grpSpPr>
          <a:xfrm>
            <a:off x="9434493" y="5197431"/>
            <a:ext cx="467161" cy="299891"/>
            <a:chOff x="5411225" y="2726350"/>
            <a:chExt cx="296950" cy="190625"/>
          </a:xfrm>
        </p:grpSpPr>
        <p:sp>
          <p:nvSpPr>
            <p:cNvPr id="10189" name="Google Shape;10189;p111"/>
            <p:cNvSpPr/>
            <p:nvPr/>
          </p:nvSpPr>
          <p:spPr>
            <a:xfrm>
              <a:off x="5534100" y="2794875"/>
              <a:ext cx="52000" cy="51225"/>
            </a:xfrm>
            <a:custGeom>
              <a:avLst/>
              <a:gdLst/>
              <a:ahLst/>
              <a:cxnLst/>
              <a:rect l="l" t="t" r="r" b="b"/>
              <a:pathLst>
                <a:path w="2080" h="2049" extrusionOk="0">
                  <a:moveTo>
                    <a:pt x="1009" y="662"/>
                  </a:moveTo>
                  <a:cubicBezTo>
                    <a:pt x="1229" y="662"/>
                    <a:pt x="1387" y="851"/>
                    <a:pt x="1387" y="1040"/>
                  </a:cubicBezTo>
                  <a:cubicBezTo>
                    <a:pt x="1387" y="1229"/>
                    <a:pt x="1229" y="1387"/>
                    <a:pt x="1009" y="1387"/>
                  </a:cubicBezTo>
                  <a:cubicBezTo>
                    <a:pt x="819" y="1387"/>
                    <a:pt x="662" y="1229"/>
                    <a:pt x="662" y="1040"/>
                  </a:cubicBezTo>
                  <a:cubicBezTo>
                    <a:pt x="662" y="851"/>
                    <a:pt x="819" y="662"/>
                    <a:pt x="1009" y="662"/>
                  </a:cubicBezTo>
                  <a:close/>
                  <a:moveTo>
                    <a:pt x="1009" y="0"/>
                  </a:moveTo>
                  <a:cubicBezTo>
                    <a:pt x="441" y="0"/>
                    <a:pt x="0" y="473"/>
                    <a:pt x="0" y="1040"/>
                  </a:cubicBezTo>
                  <a:cubicBezTo>
                    <a:pt x="0" y="1639"/>
                    <a:pt x="473" y="2048"/>
                    <a:pt x="1009" y="2048"/>
                  </a:cubicBezTo>
                  <a:cubicBezTo>
                    <a:pt x="1607" y="2048"/>
                    <a:pt x="2048" y="1576"/>
                    <a:pt x="2048" y="1040"/>
                  </a:cubicBezTo>
                  <a:cubicBezTo>
                    <a:pt x="2080" y="473"/>
                    <a:pt x="1607" y="0"/>
                    <a:pt x="1009"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190" name="Google Shape;10190;p111"/>
            <p:cNvSpPr/>
            <p:nvPr/>
          </p:nvSpPr>
          <p:spPr>
            <a:xfrm>
              <a:off x="5411225" y="2726350"/>
              <a:ext cx="296950" cy="190625"/>
            </a:xfrm>
            <a:custGeom>
              <a:avLst/>
              <a:gdLst/>
              <a:ahLst/>
              <a:cxnLst/>
              <a:rect l="l" t="t" r="r" b="b"/>
              <a:pathLst>
                <a:path w="11878" h="7625" extrusionOk="0">
                  <a:moveTo>
                    <a:pt x="5924" y="662"/>
                  </a:moveTo>
                  <a:cubicBezTo>
                    <a:pt x="7404" y="662"/>
                    <a:pt x="8759" y="1576"/>
                    <a:pt x="9641" y="2332"/>
                  </a:cubicBezTo>
                  <a:cubicBezTo>
                    <a:pt x="9736" y="2395"/>
                    <a:pt x="9830" y="2489"/>
                    <a:pt x="9925" y="2584"/>
                  </a:cubicBezTo>
                  <a:cubicBezTo>
                    <a:pt x="8696" y="2080"/>
                    <a:pt x="7278" y="1733"/>
                    <a:pt x="5924" y="1733"/>
                  </a:cubicBezTo>
                  <a:cubicBezTo>
                    <a:pt x="4569" y="1733"/>
                    <a:pt x="3183" y="2080"/>
                    <a:pt x="1954" y="2584"/>
                  </a:cubicBezTo>
                  <a:cubicBezTo>
                    <a:pt x="2048" y="2521"/>
                    <a:pt x="2111" y="2458"/>
                    <a:pt x="2206" y="2395"/>
                  </a:cubicBezTo>
                  <a:cubicBezTo>
                    <a:pt x="3151" y="1544"/>
                    <a:pt x="4474" y="662"/>
                    <a:pt x="5924" y="662"/>
                  </a:cubicBezTo>
                  <a:close/>
                  <a:moveTo>
                    <a:pt x="5924" y="2426"/>
                  </a:moveTo>
                  <a:cubicBezTo>
                    <a:pt x="6333" y="2426"/>
                    <a:pt x="6711" y="2489"/>
                    <a:pt x="7089" y="2521"/>
                  </a:cubicBezTo>
                  <a:cubicBezTo>
                    <a:pt x="7467" y="2836"/>
                    <a:pt x="7656" y="3308"/>
                    <a:pt x="7656" y="3813"/>
                  </a:cubicBezTo>
                  <a:cubicBezTo>
                    <a:pt x="7656" y="4758"/>
                    <a:pt x="6869" y="5545"/>
                    <a:pt x="5924" y="5545"/>
                  </a:cubicBezTo>
                  <a:cubicBezTo>
                    <a:pt x="4978" y="5545"/>
                    <a:pt x="4191" y="4758"/>
                    <a:pt x="4191" y="3813"/>
                  </a:cubicBezTo>
                  <a:cubicBezTo>
                    <a:pt x="4191" y="3308"/>
                    <a:pt x="4411" y="2836"/>
                    <a:pt x="4789" y="2521"/>
                  </a:cubicBezTo>
                  <a:cubicBezTo>
                    <a:pt x="5136" y="2489"/>
                    <a:pt x="5545" y="2426"/>
                    <a:pt x="5924" y="2426"/>
                  </a:cubicBezTo>
                  <a:close/>
                  <a:moveTo>
                    <a:pt x="3781" y="2710"/>
                  </a:moveTo>
                  <a:lnTo>
                    <a:pt x="3781" y="2710"/>
                  </a:lnTo>
                  <a:cubicBezTo>
                    <a:pt x="3624" y="3056"/>
                    <a:pt x="3498" y="3434"/>
                    <a:pt x="3498" y="3813"/>
                  </a:cubicBezTo>
                  <a:cubicBezTo>
                    <a:pt x="3498" y="5167"/>
                    <a:pt x="4600" y="6270"/>
                    <a:pt x="5924" y="6270"/>
                  </a:cubicBezTo>
                  <a:cubicBezTo>
                    <a:pt x="7278" y="6270"/>
                    <a:pt x="8381" y="5167"/>
                    <a:pt x="8381" y="3813"/>
                  </a:cubicBezTo>
                  <a:cubicBezTo>
                    <a:pt x="8381" y="3434"/>
                    <a:pt x="8286" y="3056"/>
                    <a:pt x="8097" y="2710"/>
                  </a:cubicBezTo>
                  <a:lnTo>
                    <a:pt x="8097" y="2710"/>
                  </a:lnTo>
                  <a:cubicBezTo>
                    <a:pt x="9137" y="2993"/>
                    <a:pt x="10145" y="3434"/>
                    <a:pt x="11027" y="3907"/>
                  </a:cubicBezTo>
                  <a:cubicBezTo>
                    <a:pt x="10744" y="4222"/>
                    <a:pt x="10240" y="4789"/>
                    <a:pt x="9547" y="5356"/>
                  </a:cubicBezTo>
                  <a:cubicBezTo>
                    <a:pt x="8601" y="6144"/>
                    <a:pt x="7310" y="6932"/>
                    <a:pt x="5924" y="6932"/>
                  </a:cubicBezTo>
                  <a:cubicBezTo>
                    <a:pt x="4474" y="6932"/>
                    <a:pt x="3088" y="6018"/>
                    <a:pt x="2237" y="5262"/>
                  </a:cubicBezTo>
                  <a:cubicBezTo>
                    <a:pt x="1607" y="4726"/>
                    <a:pt x="1135" y="4222"/>
                    <a:pt x="851" y="3907"/>
                  </a:cubicBezTo>
                  <a:cubicBezTo>
                    <a:pt x="1733" y="3371"/>
                    <a:pt x="2710" y="2962"/>
                    <a:pt x="3781" y="2710"/>
                  </a:cubicBezTo>
                  <a:close/>
                  <a:moveTo>
                    <a:pt x="5924" y="0"/>
                  </a:moveTo>
                  <a:cubicBezTo>
                    <a:pt x="4411" y="0"/>
                    <a:pt x="2931" y="820"/>
                    <a:pt x="1765" y="1796"/>
                  </a:cubicBezTo>
                  <a:cubicBezTo>
                    <a:pt x="725" y="2678"/>
                    <a:pt x="95" y="3592"/>
                    <a:pt x="64" y="3624"/>
                  </a:cubicBezTo>
                  <a:cubicBezTo>
                    <a:pt x="1" y="3750"/>
                    <a:pt x="1" y="3907"/>
                    <a:pt x="64" y="4002"/>
                  </a:cubicBezTo>
                  <a:cubicBezTo>
                    <a:pt x="95" y="4065"/>
                    <a:pt x="725" y="4915"/>
                    <a:pt x="1765" y="5829"/>
                  </a:cubicBezTo>
                  <a:cubicBezTo>
                    <a:pt x="2931" y="6805"/>
                    <a:pt x="4348" y="7625"/>
                    <a:pt x="5924" y="7625"/>
                  </a:cubicBezTo>
                  <a:cubicBezTo>
                    <a:pt x="7436" y="7625"/>
                    <a:pt x="8759" y="6900"/>
                    <a:pt x="9925" y="5955"/>
                  </a:cubicBezTo>
                  <a:cubicBezTo>
                    <a:pt x="10712" y="5325"/>
                    <a:pt x="11374" y="4600"/>
                    <a:pt x="11815" y="4002"/>
                  </a:cubicBezTo>
                  <a:cubicBezTo>
                    <a:pt x="11878" y="3907"/>
                    <a:pt x="11878" y="3750"/>
                    <a:pt x="11815" y="3624"/>
                  </a:cubicBezTo>
                  <a:cubicBezTo>
                    <a:pt x="11752" y="3592"/>
                    <a:pt x="11122" y="2710"/>
                    <a:pt x="10114" y="1796"/>
                  </a:cubicBezTo>
                  <a:cubicBezTo>
                    <a:pt x="8916" y="820"/>
                    <a:pt x="7499" y="0"/>
                    <a:pt x="5924"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10191" name="Google Shape;10191;p111"/>
          <p:cNvGrpSpPr/>
          <p:nvPr/>
        </p:nvGrpSpPr>
        <p:grpSpPr>
          <a:xfrm>
            <a:off x="8247872" y="5716461"/>
            <a:ext cx="468381" cy="435187"/>
            <a:chOff x="6524150" y="1938725"/>
            <a:chExt cx="297725" cy="276625"/>
          </a:xfrm>
        </p:grpSpPr>
        <p:sp>
          <p:nvSpPr>
            <p:cNvPr id="10192" name="Google Shape;10192;p111"/>
            <p:cNvSpPr/>
            <p:nvPr/>
          </p:nvSpPr>
          <p:spPr>
            <a:xfrm>
              <a:off x="6524150" y="2025375"/>
              <a:ext cx="297725" cy="189975"/>
            </a:xfrm>
            <a:custGeom>
              <a:avLst/>
              <a:gdLst/>
              <a:ahLst/>
              <a:cxnLst/>
              <a:rect l="l" t="t" r="r" b="b"/>
              <a:pathLst>
                <a:path w="11909" h="7599" extrusionOk="0">
                  <a:moveTo>
                    <a:pt x="9767" y="2079"/>
                  </a:moveTo>
                  <a:lnTo>
                    <a:pt x="9767" y="5198"/>
                  </a:lnTo>
                  <a:cubicBezTo>
                    <a:pt x="9735" y="5041"/>
                    <a:pt x="9672" y="4915"/>
                    <a:pt x="9546" y="4789"/>
                  </a:cubicBezTo>
                  <a:lnTo>
                    <a:pt x="7813" y="3056"/>
                  </a:lnTo>
                  <a:cubicBezTo>
                    <a:pt x="7624" y="2867"/>
                    <a:pt x="7341" y="2741"/>
                    <a:pt x="7057" y="2741"/>
                  </a:cubicBezTo>
                  <a:lnTo>
                    <a:pt x="6018" y="2741"/>
                  </a:lnTo>
                  <a:cubicBezTo>
                    <a:pt x="5923" y="2741"/>
                    <a:pt x="5797" y="2836"/>
                    <a:pt x="5734" y="2930"/>
                  </a:cubicBezTo>
                  <a:lnTo>
                    <a:pt x="5482" y="3403"/>
                  </a:lnTo>
                  <a:cubicBezTo>
                    <a:pt x="5293" y="3812"/>
                    <a:pt x="4883" y="4001"/>
                    <a:pt x="4505" y="4001"/>
                  </a:cubicBezTo>
                  <a:lnTo>
                    <a:pt x="5356" y="2269"/>
                  </a:lnTo>
                  <a:cubicBezTo>
                    <a:pt x="5419" y="2143"/>
                    <a:pt x="5576" y="2079"/>
                    <a:pt x="5671" y="2079"/>
                  </a:cubicBezTo>
                  <a:close/>
                  <a:moveTo>
                    <a:pt x="1418" y="2079"/>
                  </a:moveTo>
                  <a:lnTo>
                    <a:pt x="1418" y="5545"/>
                  </a:lnTo>
                  <a:lnTo>
                    <a:pt x="725" y="5545"/>
                  </a:lnTo>
                  <a:lnTo>
                    <a:pt x="725" y="2079"/>
                  </a:lnTo>
                  <a:close/>
                  <a:moveTo>
                    <a:pt x="11153" y="2079"/>
                  </a:moveTo>
                  <a:lnTo>
                    <a:pt x="11153" y="5545"/>
                  </a:lnTo>
                  <a:lnTo>
                    <a:pt x="10460" y="5545"/>
                  </a:lnTo>
                  <a:lnTo>
                    <a:pt x="10460" y="2079"/>
                  </a:lnTo>
                  <a:close/>
                  <a:moveTo>
                    <a:pt x="6931" y="630"/>
                  </a:moveTo>
                  <a:cubicBezTo>
                    <a:pt x="6774" y="1008"/>
                    <a:pt x="6427" y="1323"/>
                    <a:pt x="5955" y="1323"/>
                  </a:cubicBezTo>
                  <a:lnTo>
                    <a:pt x="5671" y="1323"/>
                  </a:lnTo>
                  <a:cubicBezTo>
                    <a:pt x="5293" y="1323"/>
                    <a:pt x="4946" y="1575"/>
                    <a:pt x="4726" y="1922"/>
                  </a:cubicBezTo>
                  <a:lnTo>
                    <a:pt x="3655" y="4064"/>
                  </a:lnTo>
                  <a:cubicBezTo>
                    <a:pt x="3623" y="4127"/>
                    <a:pt x="3623" y="4253"/>
                    <a:pt x="3655" y="4316"/>
                  </a:cubicBezTo>
                  <a:cubicBezTo>
                    <a:pt x="3718" y="4411"/>
                    <a:pt x="3781" y="4474"/>
                    <a:pt x="3875" y="4537"/>
                  </a:cubicBezTo>
                  <a:cubicBezTo>
                    <a:pt x="4088" y="4627"/>
                    <a:pt x="4310" y="4670"/>
                    <a:pt x="4532" y="4670"/>
                  </a:cubicBezTo>
                  <a:cubicBezTo>
                    <a:pt x="5165" y="4670"/>
                    <a:pt x="5785" y="4316"/>
                    <a:pt x="6112" y="3686"/>
                  </a:cubicBezTo>
                  <a:lnTo>
                    <a:pt x="6238" y="3434"/>
                  </a:lnTo>
                  <a:lnTo>
                    <a:pt x="7026" y="3434"/>
                  </a:lnTo>
                  <a:cubicBezTo>
                    <a:pt x="7089" y="3434"/>
                    <a:pt x="7215" y="3466"/>
                    <a:pt x="7246" y="3529"/>
                  </a:cubicBezTo>
                  <a:lnTo>
                    <a:pt x="8979" y="5261"/>
                  </a:lnTo>
                  <a:cubicBezTo>
                    <a:pt x="9137" y="5419"/>
                    <a:pt x="9137" y="5545"/>
                    <a:pt x="9105" y="5640"/>
                  </a:cubicBezTo>
                  <a:cubicBezTo>
                    <a:pt x="9105" y="5671"/>
                    <a:pt x="9042" y="5829"/>
                    <a:pt x="8885" y="5860"/>
                  </a:cubicBezTo>
                  <a:lnTo>
                    <a:pt x="5576" y="6805"/>
                  </a:lnTo>
                  <a:cubicBezTo>
                    <a:pt x="5543" y="6814"/>
                    <a:pt x="5507" y="6818"/>
                    <a:pt x="5470" y="6818"/>
                  </a:cubicBezTo>
                  <a:cubicBezTo>
                    <a:pt x="5371" y="6818"/>
                    <a:pt x="5268" y="6788"/>
                    <a:pt x="5198" y="6742"/>
                  </a:cubicBezTo>
                  <a:lnTo>
                    <a:pt x="4096" y="5640"/>
                  </a:lnTo>
                  <a:cubicBezTo>
                    <a:pt x="4033" y="5545"/>
                    <a:pt x="3938" y="5514"/>
                    <a:pt x="3875" y="5514"/>
                  </a:cubicBezTo>
                  <a:lnTo>
                    <a:pt x="2111" y="5514"/>
                  </a:lnTo>
                  <a:lnTo>
                    <a:pt x="2111" y="2048"/>
                  </a:lnTo>
                  <a:lnTo>
                    <a:pt x="2741" y="2048"/>
                  </a:lnTo>
                  <a:cubicBezTo>
                    <a:pt x="3119" y="2048"/>
                    <a:pt x="3466" y="1796"/>
                    <a:pt x="3686" y="1449"/>
                  </a:cubicBezTo>
                  <a:lnTo>
                    <a:pt x="4001" y="819"/>
                  </a:lnTo>
                  <a:cubicBezTo>
                    <a:pt x="4064" y="693"/>
                    <a:pt x="4190" y="630"/>
                    <a:pt x="4316" y="630"/>
                  </a:cubicBezTo>
                  <a:close/>
                  <a:moveTo>
                    <a:pt x="4316" y="0"/>
                  </a:moveTo>
                  <a:cubicBezTo>
                    <a:pt x="3907" y="0"/>
                    <a:pt x="3560" y="221"/>
                    <a:pt x="3371" y="599"/>
                  </a:cubicBezTo>
                  <a:lnTo>
                    <a:pt x="3056" y="1229"/>
                  </a:lnTo>
                  <a:cubicBezTo>
                    <a:pt x="2962" y="1323"/>
                    <a:pt x="2836" y="1418"/>
                    <a:pt x="2741" y="1418"/>
                  </a:cubicBezTo>
                  <a:lnTo>
                    <a:pt x="378" y="1418"/>
                  </a:lnTo>
                  <a:cubicBezTo>
                    <a:pt x="158" y="1418"/>
                    <a:pt x="0" y="1575"/>
                    <a:pt x="0" y="1764"/>
                  </a:cubicBezTo>
                  <a:lnTo>
                    <a:pt x="0" y="5955"/>
                  </a:lnTo>
                  <a:cubicBezTo>
                    <a:pt x="0" y="6144"/>
                    <a:pt x="158" y="6301"/>
                    <a:pt x="378" y="6301"/>
                  </a:cubicBezTo>
                  <a:lnTo>
                    <a:pt x="3718" y="6301"/>
                  </a:lnTo>
                  <a:lnTo>
                    <a:pt x="4694" y="7278"/>
                  </a:lnTo>
                  <a:cubicBezTo>
                    <a:pt x="4894" y="7477"/>
                    <a:pt x="5139" y="7598"/>
                    <a:pt x="5410" y="7598"/>
                  </a:cubicBezTo>
                  <a:cubicBezTo>
                    <a:pt x="5525" y="7598"/>
                    <a:pt x="5644" y="7577"/>
                    <a:pt x="5766" y="7530"/>
                  </a:cubicBezTo>
                  <a:lnTo>
                    <a:pt x="9074" y="6553"/>
                  </a:lnTo>
                  <a:cubicBezTo>
                    <a:pt x="9263" y="6522"/>
                    <a:pt x="9420" y="6396"/>
                    <a:pt x="9578" y="6238"/>
                  </a:cubicBezTo>
                  <a:lnTo>
                    <a:pt x="11562" y="6238"/>
                  </a:lnTo>
                  <a:cubicBezTo>
                    <a:pt x="11751" y="6238"/>
                    <a:pt x="11909" y="6081"/>
                    <a:pt x="11909" y="5892"/>
                  </a:cubicBezTo>
                  <a:lnTo>
                    <a:pt x="11909" y="1733"/>
                  </a:lnTo>
                  <a:cubicBezTo>
                    <a:pt x="11877" y="1544"/>
                    <a:pt x="11720" y="1386"/>
                    <a:pt x="11499" y="1386"/>
                  </a:cubicBezTo>
                  <a:lnTo>
                    <a:pt x="7341" y="1386"/>
                  </a:lnTo>
                  <a:cubicBezTo>
                    <a:pt x="7561" y="1103"/>
                    <a:pt x="7687" y="693"/>
                    <a:pt x="7687" y="347"/>
                  </a:cubicBezTo>
                  <a:cubicBezTo>
                    <a:pt x="7687" y="158"/>
                    <a:pt x="7530" y="0"/>
                    <a:pt x="7341"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193" name="Google Shape;10193;p111"/>
            <p:cNvSpPr/>
            <p:nvPr/>
          </p:nvSpPr>
          <p:spPr>
            <a:xfrm>
              <a:off x="6664325" y="1938725"/>
              <a:ext cx="17375" cy="43350"/>
            </a:xfrm>
            <a:custGeom>
              <a:avLst/>
              <a:gdLst/>
              <a:ahLst/>
              <a:cxnLst/>
              <a:rect l="l" t="t" r="r" b="b"/>
              <a:pathLst>
                <a:path w="695" h="1734" extrusionOk="0">
                  <a:moveTo>
                    <a:pt x="348" y="1"/>
                  </a:moveTo>
                  <a:cubicBezTo>
                    <a:pt x="159" y="1"/>
                    <a:pt x="1" y="158"/>
                    <a:pt x="1" y="347"/>
                  </a:cubicBezTo>
                  <a:lnTo>
                    <a:pt x="1" y="1355"/>
                  </a:lnTo>
                  <a:cubicBezTo>
                    <a:pt x="1" y="1576"/>
                    <a:pt x="159" y="1733"/>
                    <a:pt x="348" y="1733"/>
                  </a:cubicBezTo>
                  <a:cubicBezTo>
                    <a:pt x="537" y="1733"/>
                    <a:pt x="694" y="1576"/>
                    <a:pt x="694" y="1355"/>
                  </a:cubicBezTo>
                  <a:lnTo>
                    <a:pt x="694" y="347"/>
                  </a:lnTo>
                  <a:cubicBezTo>
                    <a:pt x="694" y="158"/>
                    <a:pt x="537" y="1"/>
                    <a:pt x="348"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194" name="Google Shape;10194;p111"/>
            <p:cNvSpPr/>
            <p:nvPr/>
          </p:nvSpPr>
          <p:spPr>
            <a:xfrm>
              <a:off x="6594250" y="1972800"/>
              <a:ext cx="35450" cy="35275"/>
            </a:xfrm>
            <a:custGeom>
              <a:avLst/>
              <a:gdLst/>
              <a:ahLst/>
              <a:cxnLst/>
              <a:rect l="l" t="t" r="r" b="b"/>
              <a:pathLst>
                <a:path w="1418" h="1411" extrusionOk="0">
                  <a:moveTo>
                    <a:pt x="374" y="0"/>
                  </a:moveTo>
                  <a:cubicBezTo>
                    <a:pt x="291" y="0"/>
                    <a:pt x="205" y="40"/>
                    <a:pt x="126" y="118"/>
                  </a:cubicBezTo>
                  <a:cubicBezTo>
                    <a:pt x="0" y="244"/>
                    <a:pt x="0" y="496"/>
                    <a:pt x="126" y="591"/>
                  </a:cubicBezTo>
                  <a:lnTo>
                    <a:pt x="819" y="1316"/>
                  </a:lnTo>
                  <a:cubicBezTo>
                    <a:pt x="882" y="1379"/>
                    <a:pt x="969" y="1410"/>
                    <a:pt x="1055" y="1410"/>
                  </a:cubicBezTo>
                  <a:cubicBezTo>
                    <a:pt x="1142" y="1410"/>
                    <a:pt x="1229" y="1379"/>
                    <a:pt x="1292" y="1316"/>
                  </a:cubicBezTo>
                  <a:cubicBezTo>
                    <a:pt x="1418" y="1190"/>
                    <a:pt x="1418" y="969"/>
                    <a:pt x="1292" y="843"/>
                  </a:cubicBezTo>
                  <a:lnTo>
                    <a:pt x="599" y="118"/>
                  </a:lnTo>
                  <a:cubicBezTo>
                    <a:pt x="536" y="40"/>
                    <a:pt x="457" y="0"/>
                    <a:pt x="374"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195" name="Google Shape;10195;p111"/>
            <p:cNvSpPr/>
            <p:nvPr/>
          </p:nvSpPr>
          <p:spPr>
            <a:xfrm>
              <a:off x="6715525" y="1972800"/>
              <a:ext cx="35475" cy="35275"/>
            </a:xfrm>
            <a:custGeom>
              <a:avLst/>
              <a:gdLst/>
              <a:ahLst/>
              <a:cxnLst/>
              <a:rect l="l" t="t" r="r" b="b"/>
              <a:pathLst>
                <a:path w="1419" h="1411" extrusionOk="0">
                  <a:moveTo>
                    <a:pt x="1056" y="0"/>
                  </a:moveTo>
                  <a:cubicBezTo>
                    <a:pt x="970" y="0"/>
                    <a:pt x="883" y="40"/>
                    <a:pt x="820" y="118"/>
                  </a:cubicBezTo>
                  <a:lnTo>
                    <a:pt x="127" y="843"/>
                  </a:lnTo>
                  <a:cubicBezTo>
                    <a:pt x="1" y="969"/>
                    <a:pt x="1" y="1190"/>
                    <a:pt x="127" y="1316"/>
                  </a:cubicBezTo>
                  <a:cubicBezTo>
                    <a:pt x="174" y="1379"/>
                    <a:pt x="261" y="1410"/>
                    <a:pt x="351" y="1410"/>
                  </a:cubicBezTo>
                  <a:cubicBezTo>
                    <a:pt x="442" y="1410"/>
                    <a:pt x="536" y="1379"/>
                    <a:pt x="599" y="1316"/>
                  </a:cubicBezTo>
                  <a:lnTo>
                    <a:pt x="1293" y="591"/>
                  </a:lnTo>
                  <a:cubicBezTo>
                    <a:pt x="1419" y="496"/>
                    <a:pt x="1419" y="244"/>
                    <a:pt x="1293" y="118"/>
                  </a:cubicBezTo>
                  <a:cubicBezTo>
                    <a:pt x="1230" y="40"/>
                    <a:pt x="1143" y="0"/>
                    <a:pt x="1056"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10196" name="Google Shape;10196;p111"/>
          <p:cNvGrpSpPr/>
          <p:nvPr/>
        </p:nvGrpSpPr>
        <p:grpSpPr>
          <a:xfrm>
            <a:off x="8850049" y="2042622"/>
            <a:ext cx="467201" cy="465943"/>
            <a:chOff x="2141000" y="1954475"/>
            <a:chExt cx="296975" cy="296175"/>
          </a:xfrm>
        </p:grpSpPr>
        <p:sp>
          <p:nvSpPr>
            <p:cNvPr id="10197" name="Google Shape;10197;p111"/>
            <p:cNvSpPr/>
            <p:nvPr/>
          </p:nvSpPr>
          <p:spPr>
            <a:xfrm>
              <a:off x="2280425" y="1989925"/>
              <a:ext cx="104775" cy="68550"/>
            </a:xfrm>
            <a:custGeom>
              <a:avLst/>
              <a:gdLst/>
              <a:ahLst/>
              <a:cxnLst/>
              <a:rect l="l" t="t" r="r" b="b"/>
              <a:pathLst>
                <a:path w="4191" h="2742" extrusionOk="0">
                  <a:moveTo>
                    <a:pt x="347" y="0"/>
                  </a:moveTo>
                  <a:cubicBezTo>
                    <a:pt x="158" y="0"/>
                    <a:pt x="0" y="158"/>
                    <a:pt x="0" y="347"/>
                  </a:cubicBezTo>
                  <a:cubicBezTo>
                    <a:pt x="0" y="505"/>
                    <a:pt x="158" y="662"/>
                    <a:pt x="315" y="662"/>
                  </a:cubicBezTo>
                  <a:lnTo>
                    <a:pt x="2426" y="662"/>
                  </a:lnTo>
                  <a:cubicBezTo>
                    <a:pt x="2615" y="662"/>
                    <a:pt x="2773" y="820"/>
                    <a:pt x="2773" y="1009"/>
                  </a:cubicBezTo>
                  <a:lnTo>
                    <a:pt x="2773" y="1576"/>
                  </a:lnTo>
                  <a:lnTo>
                    <a:pt x="2678" y="1450"/>
                  </a:lnTo>
                  <a:cubicBezTo>
                    <a:pt x="2615" y="1387"/>
                    <a:pt x="2521" y="1355"/>
                    <a:pt x="2430" y="1355"/>
                  </a:cubicBezTo>
                  <a:cubicBezTo>
                    <a:pt x="2340" y="1355"/>
                    <a:pt x="2253" y="1387"/>
                    <a:pt x="2206" y="1450"/>
                  </a:cubicBezTo>
                  <a:cubicBezTo>
                    <a:pt x="2080" y="1576"/>
                    <a:pt x="2080" y="1796"/>
                    <a:pt x="2206" y="1922"/>
                  </a:cubicBezTo>
                  <a:lnTo>
                    <a:pt x="2899" y="2647"/>
                  </a:lnTo>
                  <a:cubicBezTo>
                    <a:pt x="2993" y="2710"/>
                    <a:pt x="3056" y="2741"/>
                    <a:pt x="3151" y="2741"/>
                  </a:cubicBezTo>
                  <a:cubicBezTo>
                    <a:pt x="3214" y="2741"/>
                    <a:pt x="3340" y="2710"/>
                    <a:pt x="3371" y="2647"/>
                  </a:cubicBezTo>
                  <a:lnTo>
                    <a:pt x="4096" y="1922"/>
                  </a:lnTo>
                  <a:cubicBezTo>
                    <a:pt x="4191" y="1796"/>
                    <a:pt x="4191" y="1576"/>
                    <a:pt x="4096" y="1450"/>
                  </a:cubicBezTo>
                  <a:cubicBezTo>
                    <a:pt x="4033" y="1387"/>
                    <a:pt x="3938" y="1355"/>
                    <a:pt x="3848" y="1355"/>
                  </a:cubicBezTo>
                  <a:cubicBezTo>
                    <a:pt x="3757" y="1355"/>
                    <a:pt x="3671" y="1387"/>
                    <a:pt x="3623" y="1450"/>
                  </a:cubicBezTo>
                  <a:lnTo>
                    <a:pt x="3497" y="1576"/>
                  </a:lnTo>
                  <a:lnTo>
                    <a:pt x="3497" y="1009"/>
                  </a:lnTo>
                  <a:cubicBezTo>
                    <a:pt x="3497" y="442"/>
                    <a:pt x="3025" y="0"/>
                    <a:pt x="2458"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198" name="Google Shape;10198;p111"/>
            <p:cNvSpPr/>
            <p:nvPr/>
          </p:nvSpPr>
          <p:spPr>
            <a:xfrm>
              <a:off x="2174875" y="2145875"/>
              <a:ext cx="105575" cy="69325"/>
            </a:xfrm>
            <a:custGeom>
              <a:avLst/>
              <a:gdLst/>
              <a:ahLst/>
              <a:cxnLst/>
              <a:rect l="l" t="t" r="r" b="b"/>
              <a:pathLst>
                <a:path w="4223" h="2773" extrusionOk="0">
                  <a:moveTo>
                    <a:pt x="1056" y="0"/>
                  </a:moveTo>
                  <a:cubicBezTo>
                    <a:pt x="969" y="0"/>
                    <a:pt x="883" y="32"/>
                    <a:pt x="820" y="95"/>
                  </a:cubicBezTo>
                  <a:lnTo>
                    <a:pt x="95" y="820"/>
                  </a:lnTo>
                  <a:cubicBezTo>
                    <a:pt x="1" y="914"/>
                    <a:pt x="1" y="1166"/>
                    <a:pt x="95" y="1292"/>
                  </a:cubicBezTo>
                  <a:cubicBezTo>
                    <a:pt x="158" y="1339"/>
                    <a:pt x="253" y="1363"/>
                    <a:pt x="343" y="1363"/>
                  </a:cubicBezTo>
                  <a:cubicBezTo>
                    <a:pt x="434" y="1363"/>
                    <a:pt x="521" y="1339"/>
                    <a:pt x="568" y="1292"/>
                  </a:cubicBezTo>
                  <a:lnTo>
                    <a:pt x="694" y="1166"/>
                  </a:lnTo>
                  <a:lnTo>
                    <a:pt x="694" y="1702"/>
                  </a:lnTo>
                  <a:cubicBezTo>
                    <a:pt x="757" y="2300"/>
                    <a:pt x="1229" y="2773"/>
                    <a:pt x="1765" y="2773"/>
                  </a:cubicBezTo>
                  <a:lnTo>
                    <a:pt x="3844" y="2773"/>
                  </a:lnTo>
                  <a:cubicBezTo>
                    <a:pt x="4065" y="2773"/>
                    <a:pt x="4222" y="2615"/>
                    <a:pt x="4222" y="2426"/>
                  </a:cubicBezTo>
                  <a:cubicBezTo>
                    <a:pt x="4222" y="2237"/>
                    <a:pt x="4065" y="2080"/>
                    <a:pt x="3844" y="2080"/>
                  </a:cubicBezTo>
                  <a:lnTo>
                    <a:pt x="1765" y="2080"/>
                  </a:lnTo>
                  <a:cubicBezTo>
                    <a:pt x="1576" y="2080"/>
                    <a:pt x="1418" y="1922"/>
                    <a:pt x="1418" y="1702"/>
                  </a:cubicBezTo>
                  <a:lnTo>
                    <a:pt x="1418" y="1166"/>
                  </a:lnTo>
                  <a:lnTo>
                    <a:pt x="1544" y="1292"/>
                  </a:lnTo>
                  <a:cubicBezTo>
                    <a:pt x="1592" y="1339"/>
                    <a:pt x="1678" y="1363"/>
                    <a:pt x="1769" y="1363"/>
                  </a:cubicBezTo>
                  <a:cubicBezTo>
                    <a:pt x="1859" y="1363"/>
                    <a:pt x="1954" y="1339"/>
                    <a:pt x="2017" y="1292"/>
                  </a:cubicBezTo>
                  <a:cubicBezTo>
                    <a:pt x="2112" y="1166"/>
                    <a:pt x="2112" y="914"/>
                    <a:pt x="2017" y="820"/>
                  </a:cubicBezTo>
                  <a:lnTo>
                    <a:pt x="1292" y="95"/>
                  </a:lnTo>
                  <a:cubicBezTo>
                    <a:pt x="1229" y="32"/>
                    <a:pt x="1143" y="0"/>
                    <a:pt x="1056"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199" name="Google Shape;10199;p111"/>
            <p:cNvSpPr/>
            <p:nvPr/>
          </p:nvSpPr>
          <p:spPr>
            <a:xfrm>
              <a:off x="2141000" y="1954475"/>
              <a:ext cx="139450" cy="174100"/>
            </a:xfrm>
            <a:custGeom>
              <a:avLst/>
              <a:gdLst/>
              <a:ahLst/>
              <a:cxnLst/>
              <a:rect l="l" t="t" r="r" b="b"/>
              <a:pathLst>
                <a:path w="5578" h="6964" extrusionOk="0">
                  <a:moveTo>
                    <a:pt x="2773" y="694"/>
                  </a:moveTo>
                  <a:cubicBezTo>
                    <a:pt x="3372" y="694"/>
                    <a:pt x="3782" y="1166"/>
                    <a:pt x="3782" y="1734"/>
                  </a:cubicBezTo>
                  <a:cubicBezTo>
                    <a:pt x="3782" y="2301"/>
                    <a:pt x="3309" y="2742"/>
                    <a:pt x="2773" y="2742"/>
                  </a:cubicBezTo>
                  <a:cubicBezTo>
                    <a:pt x="2175" y="2742"/>
                    <a:pt x="1734" y="2269"/>
                    <a:pt x="1734" y="1734"/>
                  </a:cubicBezTo>
                  <a:cubicBezTo>
                    <a:pt x="1734" y="1166"/>
                    <a:pt x="2206" y="694"/>
                    <a:pt x="2773" y="694"/>
                  </a:cubicBezTo>
                  <a:close/>
                  <a:moveTo>
                    <a:pt x="2773" y="3466"/>
                  </a:moveTo>
                  <a:cubicBezTo>
                    <a:pt x="3908" y="3466"/>
                    <a:pt x="4853" y="4411"/>
                    <a:pt x="4853" y="5546"/>
                  </a:cubicBezTo>
                  <a:lnTo>
                    <a:pt x="4853" y="6270"/>
                  </a:lnTo>
                  <a:lnTo>
                    <a:pt x="694" y="6270"/>
                  </a:lnTo>
                  <a:lnTo>
                    <a:pt x="694" y="5546"/>
                  </a:lnTo>
                  <a:cubicBezTo>
                    <a:pt x="694" y="4411"/>
                    <a:pt x="1639" y="3466"/>
                    <a:pt x="2773" y="3466"/>
                  </a:cubicBezTo>
                  <a:close/>
                  <a:moveTo>
                    <a:pt x="2805" y="1"/>
                  </a:moveTo>
                  <a:cubicBezTo>
                    <a:pt x="1860" y="1"/>
                    <a:pt x="1072" y="788"/>
                    <a:pt x="1072" y="1734"/>
                  </a:cubicBezTo>
                  <a:cubicBezTo>
                    <a:pt x="1072" y="2238"/>
                    <a:pt x="1324" y="2710"/>
                    <a:pt x="1671" y="3025"/>
                  </a:cubicBezTo>
                  <a:cubicBezTo>
                    <a:pt x="726" y="3466"/>
                    <a:pt x="64" y="4443"/>
                    <a:pt x="64" y="5577"/>
                  </a:cubicBezTo>
                  <a:lnTo>
                    <a:pt x="64" y="6617"/>
                  </a:lnTo>
                  <a:cubicBezTo>
                    <a:pt x="1" y="6806"/>
                    <a:pt x="159" y="6963"/>
                    <a:pt x="379" y="6963"/>
                  </a:cubicBezTo>
                  <a:lnTo>
                    <a:pt x="5199" y="6963"/>
                  </a:lnTo>
                  <a:cubicBezTo>
                    <a:pt x="5420" y="6963"/>
                    <a:pt x="5577" y="6806"/>
                    <a:pt x="5577" y="6617"/>
                  </a:cubicBezTo>
                  <a:lnTo>
                    <a:pt x="5577" y="5577"/>
                  </a:lnTo>
                  <a:cubicBezTo>
                    <a:pt x="5577" y="4443"/>
                    <a:pt x="4884" y="3498"/>
                    <a:pt x="3939" y="3025"/>
                  </a:cubicBezTo>
                  <a:cubicBezTo>
                    <a:pt x="4317" y="2710"/>
                    <a:pt x="4538" y="2238"/>
                    <a:pt x="4538" y="1734"/>
                  </a:cubicBezTo>
                  <a:cubicBezTo>
                    <a:pt x="4538" y="788"/>
                    <a:pt x="3750" y="1"/>
                    <a:pt x="2805"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200" name="Google Shape;10200;p111"/>
            <p:cNvSpPr/>
            <p:nvPr/>
          </p:nvSpPr>
          <p:spPr>
            <a:xfrm>
              <a:off x="2298525" y="2076550"/>
              <a:ext cx="139450" cy="174100"/>
            </a:xfrm>
            <a:custGeom>
              <a:avLst/>
              <a:gdLst/>
              <a:ahLst/>
              <a:cxnLst/>
              <a:rect l="l" t="t" r="r" b="b"/>
              <a:pathLst>
                <a:path w="5578" h="6964" extrusionOk="0">
                  <a:moveTo>
                    <a:pt x="2773" y="663"/>
                  </a:moveTo>
                  <a:cubicBezTo>
                    <a:pt x="3372" y="663"/>
                    <a:pt x="3782" y="1135"/>
                    <a:pt x="3782" y="1702"/>
                  </a:cubicBezTo>
                  <a:cubicBezTo>
                    <a:pt x="3782" y="2238"/>
                    <a:pt x="3309" y="2710"/>
                    <a:pt x="2773" y="2710"/>
                  </a:cubicBezTo>
                  <a:cubicBezTo>
                    <a:pt x="2175" y="2710"/>
                    <a:pt x="1734" y="2238"/>
                    <a:pt x="1734" y="1702"/>
                  </a:cubicBezTo>
                  <a:cubicBezTo>
                    <a:pt x="1734" y="1135"/>
                    <a:pt x="2175" y="663"/>
                    <a:pt x="2773" y="663"/>
                  </a:cubicBezTo>
                  <a:close/>
                  <a:moveTo>
                    <a:pt x="2773" y="3467"/>
                  </a:moveTo>
                  <a:cubicBezTo>
                    <a:pt x="3908" y="3467"/>
                    <a:pt x="4853" y="4412"/>
                    <a:pt x="4853" y="5546"/>
                  </a:cubicBezTo>
                  <a:lnTo>
                    <a:pt x="4853" y="6270"/>
                  </a:lnTo>
                  <a:lnTo>
                    <a:pt x="694" y="6270"/>
                  </a:lnTo>
                  <a:lnTo>
                    <a:pt x="694" y="5546"/>
                  </a:lnTo>
                  <a:cubicBezTo>
                    <a:pt x="694" y="4412"/>
                    <a:pt x="1639" y="3467"/>
                    <a:pt x="2773" y="3467"/>
                  </a:cubicBezTo>
                  <a:close/>
                  <a:moveTo>
                    <a:pt x="2773" y="1"/>
                  </a:moveTo>
                  <a:cubicBezTo>
                    <a:pt x="1828" y="1"/>
                    <a:pt x="1041" y="789"/>
                    <a:pt x="1041" y="1734"/>
                  </a:cubicBezTo>
                  <a:cubicBezTo>
                    <a:pt x="1041" y="2238"/>
                    <a:pt x="1261" y="2710"/>
                    <a:pt x="1608" y="3025"/>
                  </a:cubicBezTo>
                  <a:cubicBezTo>
                    <a:pt x="663" y="3467"/>
                    <a:pt x="1" y="4443"/>
                    <a:pt x="1" y="5546"/>
                  </a:cubicBezTo>
                  <a:lnTo>
                    <a:pt x="1" y="6617"/>
                  </a:lnTo>
                  <a:cubicBezTo>
                    <a:pt x="1" y="6806"/>
                    <a:pt x="159" y="6964"/>
                    <a:pt x="379" y="6964"/>
                  </a:cubicBezTo>
                  <a:lnTo>
                    <a:pt x="5199" y="6964"/>
                  </a:lnTo>
                  <a:cubicBezTo>
                    <a:pt x="5420" y="6964"/>
                    <a:pt x="5577" y="6806"/>
                    <a:pt x="5577" y="6617"/>
                  </a:cubicBezTo>
                  <a:lnTo>
                    <a:pt x="5577" y="5546"/>
                  </a:lnTo>
                  <a:cubicBezTo>
                    <a:pt x="5514" y="4412"/>
                    <a:pt x="4853" y="3467"/>
                    <a:pt x="3908" y="3025"/>
                  </a:cubicBezTo>
                  <a:cubicBezTo>
                    <a:pt x="4254" y="2710"/>
                    <a:pt x="4506" y="2238"/>
                    <a:pt x="4506" y="1734"/>
                  </a:cubicBezTo>
                  <a:cubicBezTo>
                    <a:pt x="4506" y="789"/>
                    <a:pt x="3719" y="1"/>
                    <a:pt x="2773"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10201" name="Google Shape;10201;p111"/>
          <p:cNvGrpSpPr/>
          <p:nvPr/>
        </p:nvGrpSpPr>
        <p:grpSpPr>
          <a:xfrm>
            <a:off x="8841396" y="2645076"/>
            <a:ext cx="484507" cy="465037"/>
            <a:chOff x="2140225" y="2318650"/>
            <a:chExt cx="307975" cy="295600"/>
          </a:xfrm>
        </p:grpSpPr>
        <p:sp>
          <p:nvSpPr>
            <p:cNvPr id="10202" name="Google Shape;10202;p111"/>
            <p:cNvSpPr/>
            <p:nvPr/>
          </p:nvSpPr>
          <p:spPr>
            <a:xfrm>
              <a:off x="2281200" y="2353025"/>
              <a:ext cx="104000" cy="121300"/>
            </a:xfrm>
            <a:custGeom>
              <a:avLst/>
              <a:gdLst/>
              <a:ahLst/>
              <a:cxnLst/>
              <a:rect l="l" t="t" r="r" b="b"/>
              <a:pathLst>
                <a:path w="4160" h="4852" extrusionOk="0">
                  <a:moveTo>
                    <a:pt x="2080" y="662"/>
                  </a:moveTo>
                  <a:cubicBezTo>
                    <a:pt x="2490" y="662"/>
                    <a:pt x="2805" y="977"/>
                    <a:pt x="2805" y="1386"/>
                  </a:cubicBezTo>
                  <a:cubicBezTo>
                    <a:pt x="2805" y="1764"/>
                    <a:pt x="2490" y="2079"/>
                    <a:pt x="2080" y="2079"/>
                  </a:cubicBezTo>
                  <a:cubicBezTo>
                    <a:pt x="1702" y="2079"/>
                    <a:pt x="1387" y="1764"/>
                    <a:pt x="1387" y="1386"/>
                  </a:cubicBezTo>
                  <a:cubicBezTo>
                    <a:pt x="1387" y="977"/>
                    <a:pt x="1702" y="662"/>
                    <a:pt x="2080" y="662"/>
                  </a:cubicBezTo>
                  <a:close/>
                  <a:moveTo>
                    <a:pt x="2080" y="2773"/>
                  </a:moveTo>
                  <a:cubicBezTo>
                    <a:pt x="2836" y="2773"/>
                    <a:pt x="3466" y="3403"/>
                    <a:pt x="3466" y="4127"/>
                  </a:cubicBezTo>
                  <a:lnTo>
                    <a:pt x="662" y="4127"/>
                  </a:lnTo>
                  <a:cubicBezTo>
                    <a:pt x="662" y="3403"/>
                    <a:pt x="1293" y="2773"/>
                    <a:pt x="2080" y="2773"/>
                  </a:cubicBezTo>
                  <a:close/>
                  <a:moveTo>
                    <a:pt x="2112" y="0"/>
                  </a:moveTo>
                  <a:cubicBezTo>
                    <a:pt x="1387" y="0"/>
                    <a:pt x="757" y="630"/>
                    <a:pt x="757" y="1386"/>
                  </a:cubicBezTo>
                  <a:cubicBezTo>
                    <a:pt x="757" y="1733"/>
                    <a:pt x="915" y="2079"/>
                    <a:pt x="1135" y="2332"/>
                  </a:cubicBezTo>
                  <a:cubicBezTo>
                    <a:pt x="505" y="2678"/>
                    <a:pt x="64" y="3340"/>
                    <a:pt x="64" y="4127"/>
                  </a:cubicBezTo>
                  <a:lnTo>
                    <a:pt x="64" y="4505"/>
                  </a:lnTo>
                  <a:cubicBezTo>
                    <a:pt x="1" y="4694"/>
                    <a:pt x="158" y="4852"/>
                    <a:pt x="347" y="4852"/>
                  </a:cubicBezTo>
                  <a:lnTo>
                    <a:pt x="3813" y="4852"/>
                  </a:lnTo>
                  <a:cubicBezTo>
                    <a:pt x="4002" y="4852"/>
                    <a:pt x="4160" y="4694"/>
                    <a:pt x="4160" y="4505"/>
                  </a:cubicBezTo>
                  <a:lnTo>
                    <a:pt x="4160" y="4127"/>
                  </a:lnTo>
                  <a:cubicBezTo>
                    <a:pt x="4160" y="3340"/>
                    <a:pt x="3750" y="2678"/>
                    <a:pt x="3120" y="2332"/>
                  </a:cubicBezTo>
                  <a:cubicBezTo>
                    <a:pt x="3340" y="2079"/>
                    <a:pt x="3498" y="1733"/>
                    <a:pt x="3498" y="1386"/>
                  </a:cubicBezTo>
                  <a:cubicBezTo>
                    <a:pt x="3498" y="630"/>
                    <a:pt x="2868" y="0"/>
                    <a:pt x="2112"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203" name="Google Shape;10203;p111"/>
            <p:cNvSpPr/>
            <p:nvPr/>
          </p:nvSpPr>
          <p:spPr>
            <a:xfrm>
              <a:off x="2140225" y="2318650"/>
              <a:ext cx="307975" cy="295600"/>
            </a:xfrm>
            <a:custGeom>
              <a:avLst/>
              <a:gdLst/>
              <a:ahLst/>
              <a:cxnLst/>
              <a:rect l="l" t="t" r="r" b="b"/>
              <a:pathLst>
                <a:path w="12319" h="11824" extrusionOk="0">
                  <a:moveTo>
                    <a:pt x="7712" y="682"/>
                  </a:moveTo>
                  <a:cubicBezTo>
                    <a:pt x="8607" y="682"/>
                    <a:pt x="9499" y="1029"/>
                    <a:pt x="10177" y="1690"/>
                  </a:cubicBezTo>
                  <a:cubicBezTo>
                    <a:pt x="11468" y="2982"/>
                    <a:pt x="11531" y="5187"/>
                    <a:pt x="10177" y="6573"/>
                  </a:cubicBezTo>
                  <a:cubicBezTo>
                    <a:pt x="9500" y="7266"/>
                    <a:pt x="8627" y="7590"/>
                    <a:pt x="7754" y="7590"/>
                  </a:cubicBezTo>
                  <a:cubicBezTo>
                    <a:pt x="6839" y="7590"/>
                    <a:pt x="5923" y="7234"/>
                    <a:pt x="5230" y="6573"/>
                  </a:cubicBezTo>
                  <a:cubicBezTo>
                    <a:pt x="3939" y="5282"/>
                    <a:pt x="3876" y="3045"/>
                    <a:pt x="5325" y="1659"/>
                  </a:cubicBezTo>
                  <a:cubicBezTo>
                    <a:pt x="6001" y="997"/>
                    <a:pt x="6858" y="682"/>
                    <a:pt x="7712" y="682"/>
                  </a:cubicBezTo>
                  <a:close/>
                  <a:moveTo>
                    <a:pt x="4128" y="6258"/>
                  </a:moveTo>
                  <a:cubicBezTo>
                    <a:pt x="4285" y="6573"/>
                    <a:pt x="4537" y="6857"/>
                    <a:pt x="4758" y="7078"/>
                  </a:cubicBezTo>
                  <a:cubicBezTo>
                    <a:pt x="5010" y="7330"/>
                    <a:pt x="5293" y="7550"/>
                    <a:pt x="5577" y="7708"/>
                  </a:cubicBezTo>
                  <a:lnTo>
                    <a:pt x="5136" y="8180"/>
                  </a:lnTo>
                  <a:cubicBezTo>
                    <a:pt x="5073" y="8243"/>
                    <a:pt x="4978" y="8275"/>
                    <a:pt x="4888" y="8275"/>
                  </a:cubicBezTo>
                  <a:cubicBezTo>
                    <a:pt x="4797" y="8275"/>
                    <a:pt x="4710" y="8243"/>
                    <a:pt x="4663" y="8180"/>
                  </a:cubicBezTo>
                  <a:lnTo>
                    <a:pt x="3655" y="7204"/>
                  </a:lnTo>
                  <a:cubicBezTo>
                    <a:pt x="3498" y="7078"/>
                    <a:pt x="3498" y="6857"/>
                    <a:pt x="3655" y="6731"/>
                  </a:cubicBezTo>
                  <a:lnTo>
                    <a:pt x="4128" y="6258"/>
                  </a:lnTo>
                  <a:close/>
                  <a:moveTo>
                    <a:pt x="3403" y="7960"/>
                  </a:moveTo>
                  <a:lnTo>
                    <a:pt x="3876" y="8432"/>
                  </a:lnTo>
                  <a:lnTo>
                    <a:pt x="3309" y="8968"/>
                  </a:lnTo>
                  <a:lnTo>
                    <a:pt x="2836" y="8495"/>
                  </a:lnTo>
                  <a:lnTo>
                    <a:pt x="3403" y="7960"/>
                  </a:lnTo>
                  <a:close/>
                  <a:moveTo>
                    <a:pt x="2363" y="8968"/>
                  </a:moveTo>
                  <a:lnTo>
                    <a:pt x="2836" y="9440"/>
                  </a:lnTo>
                  <a:lnTo>
                    <a:pt x="1292" y="10984"/>
                  </a:lnTo>
                  <a:cubicBezTo>
                    <a:pt x="1245" y="11047"/>
                    <a:pt x="1158" y="11079"/>
                    <a:pt x="1068" y="11079"/>
                  </a:cubicBezTo>
                  <a:cubicBezTo>
                    <a:pt x="977" y="11079"/>
                    <a:pt x="883" y="11047"/>
                    <a:pt x="820" y="10984"/>
                  </a:cubicBezTo>
                  <a:cubicBezTo>
                    <a:pt x="725" y="10858"/>
                    <a:pt x="725" y="10669"/>
                    <a:pt x="820" y="10512"/>
                  </a:cubicBezTo>
                  <a:lnTo>
                    <a:pt x="2363" y="8968"/>
                  </a:lnTo>
                  <a:close/>
                  <a:moveTo>
                    <a:pt x="7731" y="1"/>
                  </a:moveTo>
                  <a:cubicBezTo>
                    <a:pt x="6669" y="1"/>
                    <a:pt x="5604" y="403"/>
                    <a:pt x="4789" y="1218"/>
                  </a:cubicBezTo>
                  <a:cubicBezTo>
                    <a:pt x="3592" y="2446"/>
                    <a:pt x="3309" y="4179"/>
                    <a:pt x="3844" y="5628"/>
                  </a:cubicBezTo>
                  <a:lnTo>
                    <a:pt x="3182" y="6290"/>
                  </a:lnTo>
                  <a:cubicBezTo>
                    <a:pt x="2867" y="6605"/>
                    <a:pt x="2804" y="7078"/>
                    <a:pt x="2993" y="7487"/>
                  </a:cubicBezTo>
                  <a:lnTo>
                    <a:pt x="410" y="10071"/>
                  </a:lnTo>
                  <a:cubicBezTo>
                    <a:pt x="0" y="10480"/>
                    <a:pt x="0" y="11142"/>
                    <a:pt x="410" y="11520"/>
                  </a:cubicBezTo>
                  <a:cubicBezTo>
                    <a:pt x="580" y="11721"/>
                    <a:pt x="826" y="11823"/>
                    <a:pt x="1081" y="11823"/>
                  </a:cubicBezTo>
                  <a:cubicBezTo>
                    <a:pt x="1345" y="11823"/>
                    <a:pt x="1619" y="11713"/>
                    <a:pt x="1828" y="11488"/>
                  </a:cubicBezTo>
                  <a:lnTo>
                    <a:pt x="4411" y="8905"/>
                  </a:lnTo>
                  <a:cubicBezTo>
                    <a:pt x="4565" y="8976"/>
                    <a:pt x="4727" y="9011"/>
                    <a:pt x="4887" y="9011"/>
                  </a:cubicBezTo>
                  <a:cubicBezTo>
                    <a:pt x="5153" y="9011"/>
                    <a:pt x="5411" y="8913"/>
                    <a:pt x="5608" y="8716"/>
                  </a:cubicBezTo>
                  <a:lnTo>
                    <a:pt x="6270" y="8023"/>
                  </a:lnTo>
                  <a:cubicBezTo>
                    <a:pt x="6736" y="8205"/>
                    <a:pt x="7231" y="8296"/>
                    <a:pt x="7729" y="8296"/>
                  </a:cubicBezTo>
                  <a:cubicBezTo>
                    <a:pt x="8781" y="8296"/>
                    <a:pt x="9847" y="7890"/>
                    <a:pt x="10681" y="7078"/>
                  </a:cubicBezTo>
                  <a:cubicBezTo>
                    <a:pt x="12319" y="5439"/>
                    <a:pt x="12287" y="2793"/>
                    <a:pt x="10681" y="1218"/>
                  </a:cubicBezTo>
                  <a:cubicBezTo>
                    <a:pt x="9873" y="410"/>
                    <a:pt x="8804" y="1"/>
                    <a:pt x="7731"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10204" name="Google Shape;10204;p111"/>
          <p:cNvGrpSpPr/>
          <p:nvPr/>
        </p:nvGrpSpPr>
        <p:grpSpPr>
          <a:xfrm>
            <a:off x="8848810" y="3233741"/>
            <a:ext cx="469679" cy="465903"/>
            <a:chOff x="2139425" y="2682250"/>
            <a:chExt cx="298550" cy="296150"/>
          </a:xfrm>
        </p:grpSpPr>
        <p:sp>
          <p:nvSpPr>
            <p:cNvPr id="10205" name="Google Shape;10205;p111"/>
            <p:cNvSpPr/>
            <p:nvPr/>
          </p:nvSpPr>
          <p:spPr>
            <a:xfrm>
              <a:off x="2139425" y="2787000"/>
              <a:ext cx="159125" cy="191400"/>
            </a:xfrm>
            <a:custGeom>
              <a:avLst/>
              <a:gdLst/>
              <a:ahLst/>
              <a:cxnLst/>
              <a:rect l="l" t="t" r="r" b="b"/>
              <a:pathLst>
                <a:path w="6365" h="7656" extrusionOk="0">
                  <a:moveTo>
                    <a:pt x="3214" y="630"/>
                  </a:moveTo>
                  <a:cubicBezTo>
                    <a:pt x="3813" y="630"/>
                    <a:pt x="4286" y="1103"/>
                    <a:pt x="4286" y="1670"/>
                  </a:cubicBezTo>
                  <a:cubicBezTo>
                    <a:pt x="4286" y="2206"/>
                    <a:pt x="3813" y="2678"/>
                    <a:pt x="3214" y="2678"/>
                  </a:cubicBezTo>
                  <a:cubicBezTo>
                    <a:pt x="2647" y="2678"/>
                    <a:pt x="2175" y="2206"/>
                    <a:pt x="2175" y="1670"/>
                  </a:cubicBezTo>
                  <a:cubicBezTo>
                    <a:pt x="2175" y="1166"/>
                    <a:pt x="2647" y="630"/>
                    <a:pt x="3214" y="630"/>
                  </a:cubicBezTo>
                  <a:close/>
                  <a:moveTo>
                    <a:pt x="3183" y="3403"/>
                  </a:moveTo>
                  <a:cubicBezTo>
                    <a:pt x="4538" y="3403"/>
                    <a:pt x="5609" y="4506"/>
                    <a:pt x="5609" y="5829"/>
                  </a:cubicBezTo>
                  <a:lnTo>
                    <a:pt x="5609" y="6931"/>
                  </a:lnTo>
                  <a:lnTo>
                    <a:pt x="757" y="6931"/>
                  </a:lnTo>
                  <a:lnTo>
                    <a:pt x="757" y="5829"/>
                  </a:lnTo>
                  <a:cubicBezTo>
                    <a:pt x="757" y="4506"/>
                    <a:pt x="1860" y="3403"/>
                    <a:pt x="3183" y="3403"/>
                  </a:cubicBezTo>
                  <a:close/>
                  <a:moveTo>
                    <a:pt x="3183" y="0"/>
                  </a:moveTo>
                  <a:cubicBezTo>
                    <a:pt x="2238" y="0"/>
                    <a:pt x="1419" y="788"/>
                    <a:pt x="1419" y="1733"/>
                  </a:cubicBezTo>
                  <a:cubicBezTo>
                    <a:pt x="1419" y="2206"/>
                    <a:pt x="1608" y="2678"/>
                    <a:pt x="1954" y="2993"/>
                  </a:cubicBezTo>
                  <a:cubicBezTo>
                    <a:pt x="820" y="3466"/>
                    <a:pt x="1" y="4569"/>
                    <a:pt x="1" y="5892"/>
                  </a:cubicBezTo>
                  <a:lnTo>
                    <a:pt x="1" y="7309"/>
                  </a:lnTo>
                  <a:cubicBezTo>
                    <a:pt x="64" y="7498"/>
                    <a:pt x="222" y="7656"/>
                    <a:pt x="442" y="7656"/>
                  </a:cubicBezTo>
                  <a:lnTo>
                    <a:pt x="6018" y="7656"/>
                  </a:lnTo>
                  <a:cubicBezTo>
                    <a:pt x="6207" y="7656"/>
                    <a:pt x="6365" y="7498"/>
                    <a:pt x="6365" y="7309"/>
                  </a:cubicBezTo>
                  <a:lnTo>
                    <a:pt x="6365" y="5892"/>
                  </a:lnTo>
                  <a:cubicBezTo>
                    <a:pt x="6365" y="4569"/>
                    <a:pt x="5546" y="3466"/>
                    <a:pt x="4412" y="2993"/>
                  </a:cubicBezTo>
                  <a:cubicBezTo>
                    <a:pt x="4758" y="2647"/>
                    <a:pt x="4947" y="2206"/>
                    <a:pt x="4947" y="1733"/>
                  </a:cubicBezTo>
                  <a:cubicBezTo>
                    <a:pt x="4947" y="788"/>
                    <a:pt x="4160" y="0"/>
                    <a:pt x="3183"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206" name="Google Shape;10206;p111"/>
            <p:cNvSpPr/>
            <p:nvPr/>
          </p:nvSpPr>
          <p:spPr>
            <a:xfrm>
              <a:off x="2280425" y="2682250"/>
              <a:ext cx="157550" cy="155975"/>
            </a:xfrm>
            <a:custGeom>
              <a:avLst/>
              <a:gdLst/>
              <a:ahLst/>
              <a:cxnLst/>
              <a:rect l="l" t="t" r="r" b="b"/>
              <a:pathLst>
                <a:path w="6302" h="6239" extrusionOk="0">
                  <a:moveTo>
                    <a:pt x="3182" y="662"/>
                  </a:moveTo>
                  <a:cubicBezTo>
                    <a:pt x="4506" y="662"/>
                    <a:pt x="5608" y="1764"/>
                    <a:pt x="5608" y="3088"/>
                  </a:cubicBezTo>
                  <a:cubicBezTo>
                    <a:pt x="5577" y="4442"/>
                    <a:pt x="4474" y="5545"/>
                    <a:pt x="3151" y="5545"/>
                  </a:cubicBezTo>
                  <a:cubicBezTo>
                    <a:pt x="2710" y="5545"/>
                    <a:pt x="2300" y="5419"/>
                    <a:pt x="1954" y="5230"/>
                  </a:cubicBezTo>
                  <a:cubicBezTo>
                    <a:pt x="1891" y="5198"/>
                    <a:pt x="1796" y="5198"/>
                    <a:pt x="1733" y="5198"/>
                  </a:cubicBezTo>
                  <a:lnTo>
                    <a:pt x="946" y="5388"/>
                  </a:lnTo>
                  <a:lnTo>
                    <a:pt x="1166" y="4663"/>
                  </a:lnTo>
                  <a:cubicBezTo>
                    <a:pt x="1198" y="4568"/>
                    <a:pt x="1166" y="4474"/>
                    <a:pt x="1135" y="4411"/>
                  </a:cubicBezTo>
                  <a:cubicBezTo>
                    <a:pt x="883" y="4001"/>
                    <a:pt x="725" y="3560"/>
                    <a:pt x="725" y="3088"/>
                  </a:cubicBezTo>
                  <a:cubicBezTo>
                    <a:pt x="725" y="1764"/>
                    <a:pt x="1828" y="662"/>
                    <a:pt x="3182" y="662"/>
                  </a:cubicBezTo>
                  <a:close/>
                  <a:moveTo>
                    <a:pt x="3151" y="0"/>
                  </a:moveTo>
                  <a:cubicBezTo>
                    <a:pt x="1418" y="0"/>
                    <a:pt x="32" y="1418"/>
                    <a:pt x="32" y="3088"/>
                  </a:cubicBezTo>
                  <a:cubicBezTo>
                    <a:pt x="32" y="3655"/>
                    <a:pt x="158" y="4159"/>
                    <a:pt x="410" y="4631"/>
                  </a:cubicBezTo>
                  <a:lnTo>
                    <a:pt x="32" y="5766"/>
                  </a:lnTo>
                  <a:cubicBezTo>
                    <a:pt x="0" y="5892"/>
                    <a:pt x="32" y="6018"/>
                    <a:pt x="95" y="6144"/>
                  </a:cubicBezTo>
                  <a:cubicBezTo>
                    <a:pt x="189" y="6207"/>
                    <a:pt x="315" y="6238"/>
                    <a:pt x="473" y="6238"/>
                  </a:cubicBezTo>
                  <a:lnTo>
                    <a:pt x="1765" y="5923"/>
                  </a:lnTo>
                  <a:cubicBezTo>
                    <a:pt x="2206" y="6175"/>
                    <a:pt x="2678" y="6238"/>
                    <a:pt x="3182" y="6238"/>
                  </a:cubicBezTo>
                  <a:cubicBezTo>
                    <a:pt x="4915" y="6238"/>
                    <a:pt x="6301" y="4820"/>
                    <a:pt x="6301" y="3151"/>
                  </a:cubicBezTo>
                  <a:cubicBezTo>
                    <a:pt x="6238" y="1418"/>
                    <a:pt x="4884" y="0"/>
                    <a:pt x="3151"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207" name="Google Shape;10207;p111"/>
            <p:cNvSpPr/>
            <p:nvPr/>
          </p:nvSpPr>
          <p:spPr>
            <a:xfrm>
              <a:off x="2349725" y="2725550"/>
              <a:ext cx="18150" cy="17375"/>
            </a:xfrm>
            <a:custGeom>
              <a:avLst/>
              <a:gdLst/>
              <a:ahLst/>
              <a:cxnLst/>
              <a:rect l="l" t="t" r="r" b="b"/>
              <a:pathLst>
                <a:path w="726" h="695" extrusionOk="0">
                  <a:moveTo>
                    <a:pt x="379" y="1"/>
                  </a:moveTo>
                  <a:cubicBezTo>
                    <a:pt x="158" y="1"/>
                    <a:pt x="1" y="158"/>
                    <a:pt x="1" y="348"/>
                  </a:cubicBezTo>
                  <a:cubicBezTo>
                    <a:pt x="1" y="537"/>
                    <a:pt x="158" y="694"/>
                    <a:pt x="379" y="694"/>
                  </a:cubicBezTo>
                  <a:cubicBezTo>
                    <a:pt x="568" y="694"/>
                    <a:pt x="725" y="537"/>
                    <a:pt x="725" y="348"/>
                  </a:cubicBezTo>
                  <a:cubicBezTo>
                    <a:pt x="725" y="158"/>
                    <a:pt x="568" y="1"/>
                    <a:pt x="379"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208" name="Google Shape;10208;p111"/>
            <p:cNvSpPr/>
            <p:nvPr/>
          </p:nvSpPr>
          <p:spPr>
            <a:xfrm>
              <a:off x="2349725" y="2751550"/>
              <a:ext cx="18150" cy="52800"/>
            </a:xfrm>
            <a:custGeom>
              <a:avLst/>
              <a:gdLst/>
              <a:ahLst/>
              <a:cxnLst/>
              <a:rect l="l" t="t" r="r" b="b"/>
              <a:pathLst>
                <a:path w="726" h="2112" extrusionOk="0">
                  <a:moveTo>
                    <a:pt x="379" y="1"/>
                  </a:moveTo>
                  <a:cubicBezTo>
                    <a:pt x="158" y="1"/>
                    <a:pt x="1" y="158"/>
                    <a:pt x="1" y="379"/>
                  </a:cubicBezTo>
                  <a:lnTo>
                    <a:pt x="1" y="1733"/>
                  </a:lnTo>
                  <a:cubicBezTo>
                    <a:pt x="1" y="1954"/>
                    <a:pt x="158" y="2111"/>
                    <a:pt x="379" y="2111"/>
                  </a:cubicBezTo>
                  <a:cubicBezTo>
                    <a:pt x="568" y="2111"/>
                    <a:pt x="725" y="1954"/>
                    <a:pt x="725" y="1733"/>
                  </a:cubicBezTo>
                  <a:lnTo>
                    <a:pt x="725" y="379"/>
                  </a:lnTo>
                  <a:cubicBezTo>
                    <a:pt x="725" y="158"/>
                    <a:pt x="568" y="1"/>
                    <a:pt x="379"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10209" name="Google Shape;10209;p111"/>
          <p:cNvGrpSpPr/>
          <p:nvPr/>
        </p:nvGrpSpPr>
        <p:grpSpPr>
          <a:xfrm>
            <a:off x="7068293" y="3919721"/>
            <a:ext cx="467201" cy="353184"/>
            <a:chOff x="3962775" y="1990700"/>
            <a:chExt cx="296975" cy="224500"/>
          </a:xfrm>
        </p:grpSpPr>
        <p:sp>
          <p:nvSpPr>
            <p:cNvPr id="10210" name="Google Shape;10210;p111"/>
            <p:cNvSpPr/>
            <p:nvPr/>
          </p:nvSpPr>
          <p:spPr>
            <a:xfrm>
              <a:off x="4216400" y="2093100"/>
              <a:ext cx="43350" cy="18150"/>
            </a:xfrm>
            <a:custGeom>
              <a:avLst/>
              <a:gdLst/>
              <a:ahLst/>
              <a:cxnLst/>
              <a:rect l="l" t="t" r="r" b="b"/>
              <a:pathLst>
                <a:path w="1734" h="726" extrusionOk="0">
                  <a:moveTo>
                    <a:pt x="379" y="1"/>
                  </a:moveTo>
                  <a:cubicBezTo>
                    <a:pt x="158" y="1"/>
                    <a:pt x="1" y="158"/>
                    <a:pt x="1" y="347"/>
                  </a:cubicBezTo>
                  <a:cubicBezTo>
                    <a:pt x="1" y="568"/>
                    <a:pt x="158" y="725"/>
                    <a:pt x="379" y="725"/>
                  </a:cubicBezTo>
                  <a:lnTo>
                    <a:pt x="1387" y="725"/>
                  </a:lnTo>
                  <a:cubicBezTo>
                    <a:pt x="1576" y="725"/>
                    <a:pt x="1733" y="568"/>
                    <a:pt x="1733" y="347"/>
                  </a:cubicBezTo>
                  <a:cubicBezTo>
                    <a:pt x="1702" y="158"/>
                    <a:pt x="1544" y="1"/>
                    <a:pt x="1387"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211" name="Google Shape;10211;p111"/>
            <p:cNvSpPr/>
            <p:nvPr/>
          </p:nvSpPr>
          <p:spPr>
            <a:xfrm>
              <a:off x="4206950" y="2129325"/>
              <a:ext cx="35475" cy="33900"/>
            </a:xfrm>
            <a:custGeom>
              <a:avLst/>
              <a:gdLst/>
              <a:ahLst/>
              <a:cxnLst/>
              <a:rect l="l" t="t" r="r" b="b"/>
              <a:pathLst>
                <a:path w="1419" h="1356" extrusionOk="0">
                  <a:moveTo>
                    <a:pt x="351" y="1"/>
                  </a:moveTo>
                  <a:cubicBezTo>
                    <a:pt x="260" y="1"/>
                    <a:pt x="174" y="32"/>
                    <a:pt x="127" y="95"/>
                  </a:cubicBezTo>
                  <a:cubicBezTo>
                    <a:pt x="1" y="221"/>
                    <a:pt x="1" y="410"/>
                    <a:pt x="127" y="568"/>
                  </a:cubicBezTo>
                  <a:lnTo>
                    <a:pt x="820" y="1261"/>
                  </a:lnTo>
                  <a:cubicBezTo>
                    <a:pt x="883" y="1324"/>
                    <a:pt x="969" y="1356"/>
                    <a:pt x="1056" y="1356"/>
                  </a:cubicBezTo>
                  <a:cubicBezTo>
                    <a:pt x="1143" y="1356"/>
                    <a:pt x="1229" y="1324"/>
                    <a:pt x="1292" y="1261"/>
                  </a:cubicBezTo>
                  <a:cubicBezTo>
                    <a:pt x="1418" y="1166"/>
                    <a:pt x="1418" y="914"/>
                    <a:pt x="1292" y="788"/>
                  </a:cubicBezTo>
                  <a:lnTo>
                    <a:pt x="599" y="95"/>
                  </a:lnTo>
                  <a:cubicBezTo>
                    <a:pt x="536" y="32"/>
                    <a:pt x="442" y="1"/>
                    <a:pt x="351"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212" name="Google Shape;10212;p111"/>
            <p:cNvSpPr/>
            <p:nvPr/>
          </p:nvSpPr>
          <p:spPr>
            <a:xfrm>
              <a:off x="4207750" y="2041900"/>
              <a:ext cx="35450" cy="34500"/>
            </a:xfrm>
            <a:custGeom>
              <a:avLst/>
              <a:gdLst/>
              <a:ahLst/>
              <a:cxnLst/>
              <a:rect l="l" t="t" r="r" b="b"/>
              <a:pathLst>
                <a:path w="1418" h="1380" extrusionOk="0">
                  <a:moveTo>
                    <a:pt x="1067" y="1"/>
                  </a:moveTo>
                  <a:cubicBezTo>
                    <a:pt x="977" y="1"/>
                    <a:pt x="882" y="32"/>
                    <a:pt x="819" y="95"/>
                  </a:cubicBezTo>
                  <a:lnTo>
                    <a:pt x="126" y="788"/>
                  </a:lnTo>
                  <a:cubicBezTo>
                    <a:pt x="0" y="914"/>
                    <a:pt x="0" y="1135"/>
                    <a:pt x="126" y="1261"/>
                  </a:cubicBezTo>
                  <a:cubicBezTo>
                    <a:pt x="189" y="1340"/>
                    <a:pt x="268" y="1379"/>
                    <a:pt x="351" y="1379"/>
                  </a:cubicBezTo>
                  <a:cubicBezTo>
                    <a:pt x="433" y="1379"/>
                    <a:pt x="520" y="1340"/>
                    <a:pt x="599" y="1261"/>
                  </a:cubicBezTo>
                  <a:lnTo>
                    <a:pt x="1292" y="568"/>
                  </a:lnTo>
                  <a:cubicBezTo>
                    <a:pt x="1418" y="442"/>
                    <a:pt x="1418" y="190"/>
                    <a:pt x="1292" y="95"/>
                  </a:cubicBezTo>
                  <a:cubicBezTo>
                    <a:pt x="1244" y="32"/>
                    <a:pt x="1158" y="1"/>
                    <a:pt x="1067"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213" name="Google Shape;10213;p111"/>
            <p:cNvSpPr/>
            <p:nvPr/>
          </p:nvSpPr>
          <p:spPr>
            <a:xfrm>
              <a:off x="3962775" y="1990700"/>
              <a:ext cx="226075" cy="224500"/>
            </a:xfrm>
            <a:custGeom>
              <a:avLst/>
              <a:gdLst/>
              <a:ahLst/>
              <a:cxnLst/>
              <a:rect l="l" t="t" r="r" b="b"/>
              <a:pathLst>
                <a:path w="9043" h="8980" extrusionOk="0">
                  <a:moveTo>
                    <a:pt x="1419" y="3403"/>
                  </a:moveTo>
                  <a:lnTo>
                    <a:pt x="1419" y="4790"/>
                  </a:lnTo>
                  <a:cubicBezTo>
                    <a:pt x="1009" y="4790"/>
                    <a:pt x="694" y="4506"/>
                    <a:pt x="694" y="4097"/>
                  </a:cubicBezTo>
                  <a:cubicBezTo>
                    <a:pt x="694" y="3719"/>
                    <a:pt x="1009" y="3403"/>
                    <a:pt x="1419" y="3403"/>
                  </a:cubicBezTo>
                  <a:close/>
                  <a:moveTo>
                    <a:pt x="4191" y="2710"/>
                  </a:moveTo>
                  <a:lnTo>
                    <a:pt x="4191" y="5483"/>
                  </a:lnTo>
                  <a:lnTo>
                    <a:pt x="2490" y="5483"/>
                  </a:lnTo>
                  <a:cubicBezTo>
                    <a:pt x="2269" y="5483"/>
                    <a:pt x="2112" y="5325"/>
                    <a:pt x="2112" y="5105"/>
                  </a:cubicBezTo>
                  <a:lnTo>
                    <a:pt x="2112" y="3088"/>
                  </a:lnTo>
                  <a:cubicBezTo>
                    <a:pt x="2112" y="2868"/>
                    <a:pt x="2269" y="2710"/>
                    <a:pt x="2490" y="2710"/>
                  </a:cubicBezTo>
                  <a:close/>
                  <a:moveTo>
                    <a:pt x="6995" y="1828"/>
                  </a:moveTo>
                  <a:lnTo>
                    <a:pt x="6995" y="6428"/>
                  </a:lnTo>
                  <a:cubicBezTo>
                    <a:pt x="6428" y="5924"/>
                    <a:pt x="5672" y="5609"/>
                    <a:pt x="4884" y="5514"/>
                  </a:cubicBezTo>
                  <a:lnTo>
                    <a:pt x="4884" y="2710"/>
                  </a:lnTo>
                  <a:cubicBezTo>
                    <a:pt x="5672" y="2647"/>
                    <a:pt x="6428" y="2332"/>
                    <a:pt x="6995" y="1828"/>
                  </a:cubicBezTo>
                  <a:close/>
                  <a:moveTo>
                    <a:pt x="8066" y="631"/>
                  </a:moveTo>
                  <a:cubicBezTo>
                    <a:pt x="8255" y="631"/>
                    <a:pt x="8413" y="789"/>
                    <a:pt x="8413" y="978"/>
                  </a:cubicBezTo>
                  <a:lnTo>
                    <a:pt x="8413" y="7216"/>
                  </a:lnTo>
                  <a:cubicBezTo>
                    <a:pt x="8413" y="7405"/>
                    <a:pt x="8255" y="7562"/>
                    <a:pt x="8066" y="7562"/>
                  </a:cubicBezTo>
                  <a:cubicBezTo>
                    <a:pt x="7877" y="7562"/>
                    <a:pt x="7720" y="7405"/>
                    <a:pt x="7720" y="7216"/>
                  </a:cubicBezTo>
                  <a:lnTo>
                    <a:pt x="7720" y="978"/>
                  </a:lnTo>
                  <a:cubicBezTo>
                    <a:pt x="7720" y="789"/>
                    <a:pt x="7877" y="631"/>
                    <a:pt x="8066" y="631"/>
                  </a:cubicBezTo>
                  <a:close/>
                  <a:moveTo>
                    <a:pt x="3498" y="6176"/>
                  </a:moveTo>
                  <a:lnTo>
                    <a:pt x="3498" y="7909"/>
                  </a:lnTo>
                  <a:cubicBezTo>
                    <a:pt x="3498" y="8129"/>
                    <a:pt x="3340" y="8287"/>
                    <a:pt x="3151" y="8287"/>
                  </a:cubicBezTo>
                  <a:cubicBezTo>
                    <a:pt x="2962" y="8287"/>
                    <a:pt x="2805" y="8129"/>
                    <a:pt x="2805" y="7909"/>
                  </a:cubicBezTo>
                  <a:lnTo>
                    <a:pt x="2805" y="6176"/>
                  </a:lnTo>
                  <a:close/>
                  <a:moveTo>
                    <a:pt x="8035" y="1"/>
                  </a:moveTo>
                  <a:cubicBezTo>
                    <a:pt x="7531" y="1"/>
                    <a:pt x="7090" y="411"/>
                    <a:pt x="6995" y="883"/>
                  </a:cubicBezTo>
                  <a:lnTo>
                    <a:pt x="6680" y="1198"/>
                  </a:lnTo>
                  <a:cubicBezTo>
                    <a:pt x="6144" y="1734"/>
                    <a:pt x="5325" y="2049"/>
                    <a:pt x="4538" y="2049"/>
                  </a:cubicBezTo>
                  <a:lnTo>
                    <a:pt x="2427" y="2049"/>
                  </a:lnTo>
                  <a:cubicBezTo>
                    <a:pt x="2017" y="2049"/>
                    <a:pt x="1608" y="2332"/>
                    <a:pt x="1450" y="2773"/>
                  </a:cubicBezTo>
                  <a:lnTo>
                    <a:pt x="1387" y="2773"/>
                  </a:lnTo>
                  <a:cubicBezTo>
                    <a:pt x="631" y="2773"/>
                    <a:pt x="1" y="3403"/>
                    <a:pt x="1" y="4128"/>
                  </a:cubicBezTo>
                  <a:cubicBezTo>
                    <a:pt x="1" y="4884"/>
                    <a:pt x="631" y="5514"/>
                    <a:pt x="1387" y="5514"/>
                  </a:cubicBezTo>
                  <a:lnTo>
                    <a:pt x="1450" y="5514"/>
                  </a:lnTo>
                  <a:cubicBezTo>
                    <a:pt x="1576" y="5798"/>
                    <a:pt x="1797" y="6018"/>
                    <a:pt x="2080" y="6144"/>
                  </a:cubicBezTo>
                  <a:lnTo>
                    <a:pt x="2080" y="7940"/>
                  </a:lnTo>
                  <a:cubicBezTo>
                    <a:pt x="2112" y="8507"/>
                    <a:pt x="2584" y="8980"/>
                    <a:pt x="3151" y="8980"/>
                  </a:cubicBezTo>
                  <a:cubicBezTo>
                    <a:pt x="3750" y="8980"/>
                    <a:pt x="4160" y="8507"/>
                    <a:pt x="4160" y="7972"/>
                  </a:cubicBezTo>
                  <a:lnTo>
                    <a:pt x="4160" y="6239"/>
                  </a:lnTo>
                  <a:lnTo>
                    <a:pt x="4538" y="6239"/>
                  </a:lnTo>
                  <a:cubicBezTo>
                    <a:pt x="5325" y="6239"/>
                    <a:pt x="6144" y="6554"/>
                    <a:pt x="6680" y="7090"/>
                  </a:cubicBezTo>
                  <a:lnTo>
                    <a:pt x="6995" y="7405"/>
                  </a:lnTo>
                  <a:cubicBezTo>
                    <a:pt x="7090" y="7909"/>
                    <a:pt x="7531" y="8287"/>
                    <a:pt x="8035" y="8287"/>
                  </a:cubicBezTo>
                  <a:cubicBezTo>
                    <a:pt x="8633" y="8287"/>
                    <a:pt x="9043" y="7814"/>
                    <a:pt x="9043" y="7247"/>
                  </a:cubicBezTo>
                  <a:lnTo>
                    <a:pt x="9043" y="1041"/>
                  </a:lnTo>
                  <a:cubicBezTo>
                    <a:pt x="9043" y="442"/>
                    <a:pt x="8570" y="1"/>
                    <a:pt x="8035"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10214" name="Google Shape;10214;p111"/>
          <p:cNvGrpSpPr/>
          <p:nvPr/>
        </p:nvGrpSpPr>
        <p:grpSpPr>
          <a:xfrm>
            <a:off x="7068922" y="4515330"/>
            <a:ext cx="465943" cy="465943"/>
            <a:chOff x="3963575" y="2317575"/>
            <a:chExt cx="296175" cy="296175"/>
          </a:xfrm>
        </p:grpSpPr>
        <p:sp>
          <p:nvSpPr>
            <p:cNvPr id="10215" name="Google Shape;10215;p111"/>
            <p:cNvSpPr/>
            <p:nvPr/>
          </p:nvSpPr>
          <p:spPr>
            <a:xfrm>
              <a:off x="3963575" y="2317575"/>
              <a:ext cx="296175" cy="296175"/>
            </a:xfrm>
            <a:custGeom>
              <a:avLst/>
              <a:gdLst/>
              <a:ahLst/>
              <a:cxnLst/>
              <a:rect l="l" t="t" r="r" b="b"/>
              <a:pathLst>
                <a:path w="11847" h="11847" extrusionOk="0">
                  <a:moveTo>
                    <a:pt x="9483" y="1418"/>
                  </a:moveTo>
                  <a:cubicBezTo>
                    <a:pt x="9672" y="1418"/>
                    <a:pt x="9830" y="1576"/>
                    <a:pt x="9830" y="1765"/>
                  </a:cubicBezTo>
                  <a:lnTo>
                    <a:pt x="9830" y="2836"/>
                  </a:lnTo>
                  <a:lnTo>
                    <a:pt x="788" y="2836"/>
                  </a:lnTo>
                  <a:lnTo>
                    <a:pt x="788" y="1765"/>
                  </a:lnTo>
                  <a:lnTo>
                    <a:pt x="725" y="1765"/>
                  </a:lnTo>
                  <a:cubicBezTo>
                    <a:pt x="725" y="1576"/>
                    <a:pt x="883" y="1418"/>
                    <a:pt x="1072" y="1418"/>
                  </a:cubicBezTo>
                  <a:lnTo>
                    <a:pt x="1418" y="1418"/>
                  </a:lnTo>
                  <a:lnTo>
                    <a:pt x="1418" y="1765"/>
                  </a:lnTo>
                  <a:cubicBezTo>
                    <a:pt x="1418" y="1954"/>
                    <a:pt x="1576" y="2143"/>
                    <a:pt x="1765" y="2143"/>
                  </a:cubicBezTo>
                  <a:cubicBezTo>
                    <a:pt x="1954" y="2143"/>
                    <a:pt x="2111" y="1954"/>
                    <a:pt x="2111" y="1765"/>
                  </a:cubicBezTo>
                  <a:lnTo>
                    <a:pt x="2111" y="1418"/>
                  </a:lnTo>
                  <a:lnTo>
                    <a:pt x="3498" y="1418"/>
                  </a:lnTo>
                  <a:lnTo>
                    <a:pt x="3498" y="1765"/>
                  </a:lnTo>
                  <a:cubicBezTo>
                    <a:pt x="3498" y="1954"/>
                    <a:pt x="3655" y="2143"/>
                    <a:pt x="3844" y="2143"/>
                  </a:cubicBezTo>
                  <a:cubicBezTo>
                    <a:pt x="4065" y="2143"/>
                    <a:pt x="4222" y="1954"/>
                    <a:pt x="4222" y="1765"/>
                  </a:cubicBezTo>
                  <a:lnTo>
                    <a:pt x="4222" y="1418"/>
                  </a:lnTo>
                  <a:lnTo>
                    <a:pt x="6333" y="1418"/>
                  </a:lnTo>
                  <a:lnTo>
                    <a:pt x="6333" y="1765"/>
                  </a:lnTo>
                  <a:cubicBezTo>
                    <a:pt x="6333" y="1954"/>
                    <a:pt x="6490" y="2143"/>
                    <a:pt x="6680" y="2143"/>
                  </a:cubicBezTo>
                  <a:cubicBezTo>
                    <a:pt x="6900" y="2143"/>
                    <a:pt x="7058" y="1954"/>
                    <a:pt x="7058" y="1765"/>
                  </a:cubicBezTo>
                  <a:lnTo>
                    <a:pt x="7058" y="1418"/>
                  </a:lnTo>
                  <a:lnTo>
                    <a:pt x="8412" y="1418"/>
                  </a:lnTo>
                  <a:lnTo>
                    <a:pt x="8412" y="1765"/>
                  </a:lnTo>
                  <a:cubicBezTo>
                    <a:pt x="8412" y="1954"/>
                    <a:pt x="8570" y="2143"/>
                    <a:pt x="8790" y="2143"/>
                  </a:cubicBezTo>
                  <a:cubicBezTo>
                    <a:pt x="8979" y="2143"/>
                    <a:pt x="9137" y="1954"/>
                    <a:pt x="9137" y="1765"/>
                  </a:cubicBezTo>
                  <a:lnTo>
                    <a:pt x="9137" y="1418"/>
                  </a:lnTo>
                  <a:close/>
                  <a:moveTo>
                    <a:pt x="9767" y="3497"/>
                  </a:moveTo>
                  <a:lnTo>
                    <a:pt x="9767" y="7026"/>
                  </a:lnTo>
                  <a:cubicBezTo>
                    <a:pt x="9641" y="7026"/>
                    <a:pt x="9546" y="6963"/>
                    <a:pt x="9420" y="6963"/>
                  </a:cubicBezTo>
                  <a:cubicBezTo>
                    <a:pt x="8066" y="6963"/>
                    <a:pt x="6963" y="8066"/>
                    <a:pt x="6963" y="9420"/>
                  </a:cubicBezTo>
                  <a:cubicBezTo>
                    <a:pt x="6963" y="9546"/>
                    <a:pt x="6963" y="9641"/>
                    <a:pt x="7026" y="9767"/>
                  </a:cubicBezTo>
                  <a:lnTo>
                    <a:pt x="1040" y="9767"/>
                  </a:lnTo>
                  <a:cubicBezTo>
                    <a:pt x="820" y="9767"/>
                    <a:pt x="662" y="9609"/>
                    <a:pt x="662" y="9420"/>
                  </a:cubicBezTo>
                  <a:lnTo>
                    <a:pt x="662" y="3497"/>
                  </a:lnTo>
                  <a:close/>
                  <a:moveTo>
                    <a:pt x="9420" y="7688"/>
                  </a:moveTo>
                  <a:cubicBezTo>
                    <a:pt x="10366" y="7688"/>
                    <a:pt x="11153" y="8475"/>
                    <a:pt x="11153" y="9420"/>
                  </a:cubicBezTo>
                  <a:cubicBezTo>
                    <a:pt x="11153" y="10397"/>
                    <a:pt x="10366" y="11185"/>
                    <a:pt x="9420" y="11185"/>
                  </a:cubicBezTo>
                  <a:cubicBezTo>
                    <a:pt x="8475" y="11185"/>
                    <a:pt x="7688" y="10397"/>
                    <a:pt x="7688" y="9420"/>
                  </a:cubicBezTo>
                  <a:cubicBezTo>
                    <a:pt x="7688" y="8475"/>
                    <a:pt x="8475" y="7688"/>
                    <a:pt x="9420" y="7688"/>
                  </a:cubicBezTo>
                  <a:close/>
                  <a:moveTo>
                    <a:pt x="1733" y="0"/>
                  </a:moveTo>
                  <a:cubicBezTo>
                    <a:pt x="1544" y="0"/>
                    <a:pt x="1387" y="158"/>
                    <a:pt x="1387" y="347"/>
                  </a:cubicBezTo>
                  <a:lnTo>
                    <a:pt x="1387" y="725"/>
                  </a:lnTo>
                  <a:lnTo>
                    <a:pt x="1040" y="725"/>
                  </a:lnTo>
                  <a:cubicBezTo>
                    <a:pt x="442" y="725"/>
                    <a:pt x="0" y="1166"/>
                    <a:pt x="0" y="1733"/>
                  </a:cubicBezTo>
                  <a:lnTo>
                    <a:pt x="0" y="9389"/>
                  </a:lnTo>
                  <a:cubicBezTo>
                    <a:pt x="0" y="9956"/>
                    <a:pt x="473" y="10429"/>
                    <a:pt x="1040" y="10429"/>
                  </a:cubicBezTo>
                  <a:lnTo>
                    <a:pt x="7215" y="10429"/>
                  </a:lnTo>
                  <a:cubicBezTo>
                    <a:pt x="7593" y="11279"/>
                    <a:pt x="8444" y="11846"/>
                    <a:pt x="9420" y="11846"/>
                  </a:cubicBezTo>
                  <a:cubicBezTo>
                    <a:pt x="10744" y="11846"/>
                    <a:pt x="11846" y="10744"/>
                    <a:pt x="11846" y="9420"/>
                  </a:cubicBezTo>
                  <a:cubicBezTo>
                    <a:pt x="11846" y="8444"/>
                    <a:pt x="11311" y="7593"/>
                    <a:pt x="10492" y="7215"/>
                  </a:cubicBezTo>
                  <a:lnTo>
                    <a:pt x="10492" y="1733"/>
                  </a:lnTo>
                  <a:cubicBezTo>
                    <a:pt x="10492" y="1135"/>
                    <a:pt x="10019" y="725"/>
                    <a:pt x="9452" y="725"/>
                  </a:cubicBezTo>
                  <a:lnTo>
                    <a:pt x="9105" y="725"/>
                  </a:lnTo>
                  <a:lnTo>
                    <a:pt x="9105" y="347"/>
                  </a:lnTo>
                  <a:cubicBezTo>
                    <a:pt x="9105" y="158"/>
                    <a:pt x="8948" y="0"/>
                    <a:pt x="8759" y="0"/>
                  </a:cubicBezTo>
                  <a:cubicBezTo>
                    <a:pt x="8538" y="0"/>
                    <a:pt x="8381" y="158"/>
                    <a:pt x="8381" y="347"/>
                  </a:cubicBezTo>
                  <a:lnTo>
                    <a:pt x="8381" y="725"/>
                  </a:lnTo>
                  <a:lnTo>
                    <a:pt x="7026" y="725"/>
                  </a:lnTo>
                  <a:lnTo>
                    <a:pt x="7026" y="347"/>
                  </a:lnTo>
                  <a:cubicBezTo>
                    <a:pt x="7026" y="158"/>
                    <a:pt x="6869" y="0"/>
                    <a:pt x="6648" y="0"/>
                  </a:cubicBezTo>
                  <a:cubicBezTo>
                    <a:pt x="6459" y="0"/>
                    <a:pt x="6301" y="158"/>
                    <a:pt x="6301" y="347"/>
                  </a:cubicBezTo>
                  <a:lnTo>
                    <a:pt x="6301" y="725"/>
                  </a:lnTo>
                  <a:lnTo>
                    <a:pt x="4191" y="725"/>
                  </a:lnTo>
                  <a:lnTo>
                    <a:pt x="4191" y="347"/>
                  </a:lnTo>
                  <a:cubicBezTo>
                    <a:pt x="4191" y="158"/>
                    <a:pt x="4033" y="0"/>
                    <a:pt x="3813" y="0"/>
                  </a:cubicBezTo>
                  <a:cubicBezTo>
                    <a:pt x="3624" y="0"/>
                    <a:pt x="3466" y="158"/>
                    <a:pt x="3466" y="347"/>
                  </a:cubicBezTo>
                  <a:lnTo>
                    <a:pt x="3466" y="725"/>
                  </a:lnTo>
                  <a:lnTo>
                    <a:pt x="2080" y="725"/>
                  </a:lnTo>
                  <a:lnTo>
                    <a:pt x="2080" y="347"/>
                  </a:lnTo>
                  <a:cubicBezTo>
                    <a:pt x="2080" y="158"/>
                    <a:pt x="1922" y="0"/>
                    <a:pt x="1733"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216" name="Google Shape;10216;p111"/>
            <p:cNvSpPr/>
            <p:nvPr/>
          </p:nvSpPr>
          <p:spPr>
            <a:xfrm>
              <a:off x="4190400" y="2526300"/>
              <a:ext cx="34700" cy="35450"/>
            </a:xfrm>
            <a:custGeom>
              <a:avLst/>
              <a:gdLst/>
              <a:ahLst/>
              <a:cxnLst/>
              <a:rect l="l" t="t" r="r" b="b"/>
              <a:pathLst>
                <a:path w="1388" h="1418" extrusionOk="0">
                  <a:moveTo>
                    <a:pt x="347" y="0"/>
                  </a:moveTo>
                  <a:cubicBezTo>
                    <a:pt x="158" y="0"/>
                    <a:pt x="1" y="158"/>
                    <a:pt x="1" y="347"/>
                  </a:cubicBezTo>
                  <a:lnTo>
                    <a:pt x="1" y="1071"/>
                  </a:lnTo>
                  <a:cubicBezTo>
                    <a:pt x="1" y="1260"/>
                    <a:pt x="127" y="1418"/>
                    <a:pt x="347" y="1418"/>
                  </a:cubicBezTo>
                  <a:lnTo>
                    <a:pt x="1041" y="1418"/>
                  </a:lnTo>
                  <a:cubicBezTo>
                    <a:pt x="1261" y="1418"/>
                    <a:pt x="1387" y="1260"/>
                    <a:pt x="1387" y="1071"/>
                  </a:cubicBezTo>
                  <a:cubicBezTo>
                    <a:pt x="1387" y="882"/>
                    <a:pt x="1261" y="725"/>
                    <a:pt x="1041" y="725"/>
                  </a:cubicBezTo>
                  <a:lnTo>
                    <a:pt x="694" y="725"/>
                  </a:lnTo>
                  <a:lnTo>
                    <a:pt x="694" y="347"/>
                  </a:lnTo>
                  <a:cubicBezTo>
                    <a:pt x="694" y="158"/>
                    <a:pt x="536" y="0"/>
                    <a:pt x="347"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217" name="Google Shape;10217;p111"/>
            <p:cNvSpPr/>
            <p:nvPr/>
          </p:nvSpPr>
          <p:spPr>
            <a:xfrm>
              <a:off x="3998225" y="2421550"/>
              <a:ext cx="35475" cy="18125"/>
            </a:xfrm>
            <a:custGeom>
              <a:avLst/>
              <a:gdLst/>
              <a:ahLst/>
              <a:cxnLst/>
              <a:rect l="l" t="t" r="r" b="b"/>
              <a:pathLst>
                <a:path w="1419" h="725" extrusionOk="0">
                  <a:moveTo>
                    <a:pt x="347" y="0"/>
                  </a:moveTo>
                  <a:cubicBezTo>
                    <a:pt x="158" y="0"/>
                    <a:pt x="1" y="158"/>
                    <a:pt x="1" y="378"/>
                  </a:cubicBezTo>
                  <a:cubicBezTo>
                    <a:pt x="1" y="567"/>
                    <a:pt x="158" y="725"/>
                    <a:pt x="347" y="725"/>
                  </a:cubicBezTo>
                  <a:lnTo>
                    <a:pt x="1072" y="725"/>
                  </a:lnTo>
                  <a:cubicBezTo>
                    <a:pt x="1261" y="725"/>
                    <a:pt x="1418" y="567"/>
                    <a:pt x="1418" y="378"/>
                  </a:cubicBezTo>
                  <a:cubicBezTo>
                    <a:pt x="1418" y="158"/>
                    <a:pt x="1261" y="0"/>
                    <a:pt x="1072"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218" name="Google Shape;10218;p111"/>
            <p:cNvSpPr/>
            <p:nvPr/>
          </p:nvSpPr>
          <p:spPr>
            <a:xfrm>
              <a:off x="4050225" y="2421550"/>
              <a:ext cx="35450" cy="18125"/>
            </a:xfrm>
            <a:custGeom>
              <a:avLst/>
              <a:gdLst/>
              <a:ahLst/>
              <a:cxnLst/>
              <a:rect l="l" t="t" r="r" b="b"/>
              <a:pathLst>
                <a:path w="1418" h="725" extrusionOk="0">
                  <a:moveTo>
                    <a:pt x="347" y="0"/>
                  </a:moveTo>
                  <a:cubicBezTo>
                    <a:pt x="158" y="0"/>
                    <a:pt x="0" y="158"/>
                    <a:pt x="0" y="378"/>
                  </a:cubicBezTo>
                  <a:cubicBezTo>
                    <a:pt x="0" y="567"/>
                    <a:pt x="158" y="725"/>
                    <a:pt x="347" y="725"/>
                  </a:cubicBezTo>
                  <a:lnTo>
                    <a:pt x="1071" y="725"/>
                  </a:lnTo>
                  <a:cubicBezTo>
                    <a:pt x="1260" y="725"/>
                    <a:pt x="1418" y="567"/>
                    <a:pt x="1418" y="378"/>
                  </a:cubicBezTo>
                  <a:cubicBezTo>
                    <a:pt x="1418" y="158"/>
                    <a:pt x="1260" y="0"/>
                    <a:pt x="1071"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219" name="Google Shape;10219;p111"/>
            <p:cNvSpPr/>
            <p:nvPr/>
          </p:nvSpPr>
          <p:spPr>
            <a:xfrm>
              <a:off x="4102200" y="2421550"/>
              <a:ext cx="35475" cy="18125"/>
            </a:xfrm>
            <a:custGeom>
              <a:avLst/>
              <a:gdLst/>
              <a:ahLst/>
              <a:cxnLst/>
              <a:rect l="l" t="t" r="r" b="b"/>
              <a:pathLst>
                <a:path w="1419" h="725" extrusionOk="0">
                  <a:moveTo>
                    <a:pt x="378" y="0"/>
                  </a:moveTo>
                  <a:cubicBezTo>
                    <a:pt x="158" y="0"/>
                    <a:pt x="0" y="158"/>
                    <a:pt x="0" y="378"/>
                  </a:cubicBezTo>
                  <a:cubicBezTo>
                    <a:pt x="0" y="567"/>
                    <a:pt x="158" y="725"/>
                    <a:pt x="378" y="725"/>
                  </a:cubicBezTo>
                  <a:lnTo>
                    <a:pt x="1072" y="725"/>
                  </a:lnTo>
                  <a:cubicBezTo>
                    <a:pt x="1261" y="725"/>
                    <a:pt x="1418" y="567"/>
                    <a:pt x="1418" y="378"/>
                  </a:cubicBezTo>
                  <a:cubicBezTo>
                    <a:pt x="1418" y="158"/>
                    <a:pt x="1261" y="0"/>
                    <a:pt x="1072"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220" name="Google Shape;10220;p111"/>
            <p:cNvSpPr/>
            <p:nvPr/>
          </p:nvSpPr>
          <p:spPr>
            <a:xfrm>
              <a:off x="4155750" y="2421550"/>
              <a:ext cx="35475" cy="18125"/>
            </a:xfrm>
            <a:custGeom>
              <a:avLst/>
              <a:gdLst/>
              <a:ahLst/>
              <a:cxnLst/>
              <a:rect l="l" t="t" r="r" b="b"/>
              <a:pathLst>
                <a:path w="1419" h="725" extrusionOk="0">
                  <a:moveTo>
                    <a:pt x="347" y="0"/>
                  </a:moveTo>
                  <a:cubicBezTo>
                    <a:pt x="158" y="0"/>
                    <a:pt x="1" y="158"/>
                    <a:pt x="1" y="378"/>
                  </a:cubicBezTo>
                  <a:cubicBezTo>
                    <a:pt x="1" y="567"/>
                    <a:pt x="158" y="725"/>
                    <a:pt x="347" y="725"/>
                  </a:cubicBezTo>
                  <a:lnTo>
                    <a:pt x="1072" y="725"/>
                  </a:lnTo>
                  <a:cubicBezTo>
                    <a:pt x="1261" y="725"/>
                    <a:pt x="1418" y="567"/>
                    <a:pt x="1418" y="378"/>
                  </a:cubicBezTo>
                  <a:cubicBezTo>
                    <a:pt x="1418" y="158"/>
                    <a:pt x="1261" y="0"/>
                    <a:pt x="1072"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221" name="Google Shape;10221;p111"/>
            <p:cNvSpPr/>
            <p:nvPr/>
          </p:nvSpPr>
          <p:spPr>
            <a:xfrm>
              <a:off x="3998225" y="2456975"/>
              <a:ext cx="35475" cy="18150"/>
            </a:xfrm>
            <a:custGeom>
              <a:avLst/>
              <a:gdLst/>
              <a:ahLst/>
              <a:cxnLst/>
              <a:rect l="l" t="t" r="r" b="b"/>
              <a:pathLst>
                <a:path w="1419" h="726" extrusionOk="0">
                  <a:moveTo>
                    <a:pt x="347" y="1"/>
                  </a:moveTo>
                  <a:cubicBezTo>
                    <a:pt x="158" y="1"/>
                    <a:pt x="1" y="158"/>
                    <a:pt x="1" y="379"/>
                  </a:cubicBezTo>
                  <a:cubicBezTo>
                    <a:pt x="1" y="568"/>
                    <a:pt x="158" y="725"/>
                    <a:pt x="347" y="725"/>
                  </a:cubicBezTo>
                  <a:lnTo>
                    <a:pt x="1072" y="725"/>
                  </a:lnTo>
                  <a:cubicBezTo>
                    <a:pt x="1261" y="725"/>
                    <a:pt x="1418" y="568"/>
                    <a:pt x="1418" y="379"/>
                  </a:cubicBezTo>
                  <a:cubicBezTo>
                    <a:pt x="1418" y="158"/>
                    <a:pt x="1261" y="1"/>
                    <a:pt x="1072"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222" name="Google Shape;10222;p111"/>
            <p:cNvSpPr/>
            <p:nvPr/>
          </p:nvSpPr>
          <p:spPr>
            <a:xfrm>
              <a:off x="4050225" y="2456975"/>
              <a:ext cx="35450" cy="18150"/>
            </a:xfrm>
            <a:custGeom>
              <a:avLst/>
              <a:gdLst/>
              <a:ahLst/>
              <a:cxnLst/>
              <a:rect l="l" t="t" r="r" b="b"/>
              <a:pathLst>
                <a:path w="1418" h="726" extrusionOk="0">
                  <a:moveTo>
                    <a:pt x="347" y="1"/>
                  </a:moveTo>
                  <a:cubicBezTo>
                    <a:pt x="158" y="1"/>
                    <a:pt x="0" y="158"/>
                    <a:pt x="0" y="379"/>
                  </a:cubicBezTo>
                  <a:cubicBezTo>
                    <a:pt x="0" y="568"/>
                    <a:pt x="158" y="725"/>
                    <a:pt x="347" y="725"/>
                  </a:cubicBezTo>
                  <a:lnTo>
                    <a:pt x="1071" y="725"/>
                  </a:lnTo>
                  <a:cubicBezTo>
                    <a:pt x="1260" y="725"/>
                    <a:pt x="1418" y="568"/>
                    <a:pt x="1418" y="379"/>
                  </a:cubicBezTo>
                  <a:cubicBezTo>
                    <a:pt x="1418" y="158"/>
                    <a:pt x="1260" y="1"/>
                    <a:pt x="1071"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223" name="Google Shape;10223;p111"/>
            <p:cNvSpPr/>
            <p:nvPr/>
          </p:nvSpPr>
          <p:spPr>
            <a:xfrm>
              <a:off x="4102200" y="2456975"/>
              <a:ext cx="35475" cy="18150"/>
            </a:xfrm>
            <a:custGeom>
              <a:avLst/>
              <a:gdLst/>
              <a:ahLst/>
              <a:cxnLst/>
              <a:rect l="l" t="t" r="r" b="b"/>
              <a:pathLst>
                <a:path w="1419" h="726" extrusionOk="0">
                  <a:moveTo>
                    <a:pt x="378" y="1"/>
                  </a:moveTo>
                  <a:cubicBezTo>
                    <a:pt x="158" y="1"/>
                    <a:pt x="0" y="158"/>
                    <a:pt x="0" y="379"/>
                  </a:cubicBezTo>
                  <a:cubicBezTo>
                    <a:pt x="0" y="568"/>
                    <a:pt x="158" y="725"/>
                    <a:pt x="378" y="725"/>
                  </a:cubicBezTo>
                  <a:lnTo>
                    <a:pt x="1072" y="725"/>
                  </a:lnTo>
                  <a:cubicBezTo>
                    <a:pt x="1261" y="725"/>
                    <a:pt x="1418" y="568"/>
                    <a:pt x="1418" y="379"/>
                  </a:cubicBezTo>
                  <a:cubicBezTo>
                    <a:pt x="1418" y="158"/>
                    <a:pt x="1261" y="1"/>
                    <a:pt x="1072"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224" name="Google Shape;10224;p111"/>
            <p:cNvSpPr/>
            <p:nvPr/>
          </p:nvSpPr>
          <p:spPr>
            <a:xfrm>
              <a:off x="4155750" y="2456975"/>
              <a:ext cx="35475" cy="18150"/>
            </a:xfrm>
            <a:custGeom>
              <a:avLst/>
              <a:gdLst/>
              <a:ahLst/>
              <a:cxnLst/>
              <a:rect l="l" t="t" r="r" b="b"/>
              <a:pathLst>
                <a:path w="1419" h="726" extrusionOk="0">
                  <a:moveTo>
                    <a:pt x="347" y="1"/>
                  </a:moveTo>
                  <a:cubicBezTo>
                    <a:pt x="158" y="1"/>
                    <a:pt x="1" y="158"/>
                    <a:pt x="1" y="379"/>
                  </a:cubicBezTo>
                  <a:cubicBezTo>
                    <a:pt x="1" y="568"/>
                    <a:pt x="158" y="725"/>
                    <a:pt x="347" y="725"/>
                  </a:cubicBezTo>
                  <a:lnTo>
                    <a:pt x="1072" y="725"/>
                  </a:lnTo>
                  <a:cubicBezTo>
                    <a:pt x="1261" y="725"/>
                    <a:pt x="1418" y="568"/>
                    <a:pt x="1418" y="379"/>
                  </a:cubicBezTo>
                  <a:cubicBezTo>
                    <a:pt x="1418" y="158"/>
                    <a:pt x="1261" y="1"/>
                    <a:pt x="1072"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225" name="Google Shape;10225;p111"/>
            <p:cNvSpPr/>
            <p:nvPr/>
          </p:nvSpPr>
          <p:spPr>
            <a:xfrm>
              <a:off x="3998225" y="2491650"/>
              <a:ext cx="35475" cy="18125"/>
            </a:xfrm>
            <a:custGeom>
              <a:avLst/>
              <a:gdLst/>
              <a:ahLst/>
              <a:cxnLst/>
              <a:rect l="l" t="t" r="r" b="b"/>
              <a:pathLst>
                <a:path w="1419" h="725" extrusionOk="0">
                  <a:moveTo>
                    <a:pt x="347" y="0"/>
                  </a:moveTo>
                  <a:cubicBezTo>
                    <a:pt x="158" y="0"/>
                    <a:pt x="1" y="158"/>
                    <a:pt x="1" y="378"/>
                  </a:cubicBezTo>
                  <a:cubicBezTo>
                    <a:pt x="1" y="567"/>
                    <a:pt x="158" y="725"/>
                    <a:pt x="347" y="725"/>
                  </a:cubicBezTo>
                  <a:lnTo>
                    <a:pt x="1072" y="725"/>
                  </a:lnTo>
                  <a:cubicBezTo>
                    <a:pt x="1261" y="725"/>
                    <a:pt x="1418" y="567"/>
                    <a:pt x="1418" y="378"/>
                  </a:cubicBezTo>
                  <a:cubicBezTo>
                    <a:pt x="1418" y="158"/>
                    <a:pt x="1261" y="0"/>
                    <a:pt x="1072"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226" name="Google Shape;10226;p111"/>
            <p:cNvSpPr/>
            <p:nvPr/>
          </p:nvSpPr>
          <p:spPr>
            <a:xfrm>
              <a:off x="4050225" y="2491650"/>
              <a:ext cx="35450" cy="18125"/>
            </a:xfrm>
            <a:custGeom>
              <a:avLst/>
              <a:gdLst/>
              <a:ahLst/>
              <a:cxnLst/>
              <a:rect l="l" t="t" r="r" b="b"/>
              <a:pathLst>
                <a:path w="1418" h="725" extrusionOk="0">
                  <a:moveTo>
                    <a:pt x="347" y="0"/>
                  </a:moveTo>
                  <a:cubicBezTo>
                    <a:pt x="158" y="0"/>
                    <a:pt x="0" y="158"/>
                    <a:pt x="0" y="378"/>
                  </a:cubicBezTo>
                  <a:cubicBezTo>
                    <a:pt x="0" y="567"/>
                    <a:pt x="158" y="725"/>
                    <a:pt x="347" y="725"/>
                  </a:cubicBezTo>
                  <a:lnTo>
                    <a:pt x="1071" y="725"/>
                  </a:lnTo>
                  <a:cubicBezTo>
                    <a:pt x="1260" y="725"/>
                    <a:pt x="1418" y="567"/>
                    <a:pt x="1418" y="378"/>
                  </a:cubicBezTo>
                  <a:cubicBezTo>
                    <a:pt x="1418" y="158"/>
                    <a:pt x="1260" y="0"/>
                    <a:pt x="1071"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227" name="Google Shape;10227;p111"/>
            <p:cNvSpPr/>
            <p:nvPr/>
          </p:nvSpPr>
          <p:spPr>
            <a:xfrm>
              <a:off x="4102200" y="2491650"/>
              <a:ext cx="35475" cy="18125"/>
            </a:xfrm>
            <a:custGeom>
              <a:avLst/>
              <a:gdLst/>
              <a:ahLst/>
              <a:cxnLst/>
              <a:rect l="l" t="t" r="r" b="b"/>
              <a:pathLst>
                <a:path w="1419" h="725" extrusionOk="0">
                  <a:moveTo>
                    <a:pt x="378" y="0"/>
                  </a:moveTo>
                  <a:cubicBezTo>
                    <a:pt x="158" y="0"/>
                    <a:pt x="0" y="158"/>
                    <a:pt x="0" y="378"/>
                  </a:cubicBezTo>
                  <a:cubicBezTo>
                    <a:pt x="0" y="567"/>
                    <a:pt x="158" y="725"/>
                    <a:pt x="378" y="725"/>
                  </a:cubicBezTo>
                  <a:lnTo>
                    <a:pt x="1072" y="725"/>
                  </a:lnTo>
                  <a:cubicBezTo>
                    <a:pt x="1261" y="725"/>
                    <a:pt x="1418" y="567"/>
                    <a:pt x="1418" y="378"/>
                  </a:cubicBezTo>
                  <a:cubicBezTo>
                    <a:pt x="1418" y="158"/>
                    <a:pt x="1261" y="0"/>
                    <a:pt x="1072"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228" name="Google Shape;10228;p111"/>
            <p:cNvSpPr/>
            <p:nvPr/>
          </p:nvSpPr>
          <p:spPr>
            <a:xfrm>
              <a:off x="3998225" y="2526300"/>
              <a:ext cx="35475" cy="18125"/>
            </a:xfrm>
            <a:custGeom>
              <a:avLst/>
              <a:gdLst/>
              <a:ahLst/>
              <a:cxnLst/>
              <a:rect l="l" t="t" r="r" b="b"/>
              <a:pathLst>
                <a:path w="1419" h="725" extrusionOk="0">
                  <a:moveTo>
                    <a:pt x="347" y="0"/>
                  </a:moveTo>
                  <a:cubicBezTo>
                    <a:pt x="158" y="0"/>
                    <a:pt x="1" y="158"/>
                    <a:pt x="1" y="347"/>
                  </a:cubicBezTo>
                  <a:cubicBezTo>
                    <a:pt x="1" y="567"/>
                    <a:pt x="158" y="725"/>
                    <a:pt x="347" y="725"/>
                  </a:cubicBezTo>
                  <a:lnTo>
                    <a:pt x="1072" y="725"/>
                  </a:lnTo>
                  <a:cubicBezTo>
                    <a:pt x="1261" y="725"/>
                    <a:pt x="1418" y="567"/>
                    <a:pt x="1418" y="347"/>
                  </a:cubicBezTo>
                  <a:cubicBezTo>
                    <a:pt x="1418" y="158"/>
                    <a:pt x="1261" y="0"/>
                    <a:pt x="1072"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229" name="Google Shape;10229;p111"/>
            <p:cNvSpPr/>
            <p:nvPr/>
          </p:nvSpPr>
          <p:spPr>
            <a:xfrm>
              <a:off x="4050225" y="2526300"/>
              <a:ext cx="35450" cy="18125"/>
            </a:xfrm>
            <a:custGeom>
              <a:avLst/>
              <a:gdLst/>
              <a:ahLst/>
              <a:cxnLst/>
              <a:rect l="l" t="t" r="r" b="b"/>
              <a:pathLst>
                <a:path w="1418" h="725" extrusionOk="0">
                  <a:moveTo>
                    <a:pt x="347" y="0"/>
                  </a:moveTo>
                  <a:cubicBezTo>
                    <a:pt x="158" y="0"/>
                    <a:pt x="0" y="158"/>
                    <a:pt x="0" y="347"/>
                  </a:cubicBezTo>
                  <a:cubicBezTo>
                    <a:pt x="0" y="567"/>
                    <a:pt x="158" y="725"/>
                    <a:pt x="347" y="725"/>
                  </a:cubicBezTo>
                  <a:lnTo>
                    <a:pt x="1071" y="725"/>
                  </a:lnTo>
                  <a:cubicBezTo>
                    <a:pt x="1260" y="725"/>
                    <a:pt x="1418" y="567"/>
                    <a:pt x="1418" y="347"/>
                  </a:cubicBezTo>
                  <a:cubicBezTo>
                    <a:pt x="1418" y="158"/>
                    <a:pt x="1260" y="0"/>
                    <a:pt x="1071"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230" name="Google Shape;10230;p111"/>
            <p:cNvSpPr/>
            <p:nvPr/>
          </p:nvSpPr>
          <p:spPr>
            <a:xfrm>
              <a:off x="4102200" y="2526300"/>
              <a:ext cx="35475" cy="18125"/>
            </a:xfrm>
            <a:custGeom>
              <a:avLst/>
              <a:gdLst/>
              <a:ahLst/>
              <a:cxnLst/>
              <a:rect l="l" t="t" r="r" b="b"/>
              <a:pathLst>
                <a:path w="1419" h="725" extrusionOk="0">
                  <a:moveTo>
                    <a:pt x="378" y="0"/>
                  </a:moveTo>
                  <a:cubicBezTo>
                    <a:pt x="158" y="0"/>
                    <a:pt x="0" y="158"/>
                    <a:pt x="0" y="347"/>
                  </a:cubicBezTo>
                  <a:cubicBezTo>
                    <a:pt x="0" y="567"/>
                    <a:pt x="158" y="725"/>
                    <a:pt x="378" y="725"/>
                  </a:cubicBezTo>
                  <a:lnTo>
                    <a:pt x="1072" y="725"/>
                  </a:lnTo>
                  <a:cubicBezTo>
                    <a:pt x="1261" y="725"/>
                    <a:pt x="1418" y="567"/>
                    <a:pt x="1418" y="347"/>
                  </a:cubicBezTo>
                  <a:cubicBezTo>
                    <a:pt x="1418" y="158"/>
                    <a:pt x="1261" y="0"/>
                    <a:pt x="1072"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10231" name="Google Shape;10231;p111"/>
          <p:cNvGrpSpPr/>
          <p:nvPr/>
        </p:nvGrpSpPr>
        <p:grpSpPr>
          <a:xfrm>
            <a:off x="7068922" y="5115035"/>
            <a:ext cx="465943" cy="464684"/>
            <a:chOff x="3962775" y="2683025"/>
            <a:chExt cx="296175" cy="295375"/>
          </a:xfrm>
        </p:grpSpPr>
        <p:sp>
          <p:nvSpPr>
            <p:cNvPr id="10232" name="Google Shape;10232;p111"/>
            <p:cNvSpPr/>
            <p:nvPr/>
          </p:nvSpPr>
          <p:spPr>
            <a:xfrm>
              <a:off x="3962775" y="2838200"/>
              <a:ext cx="296175" cy="140200"/>
            </a:xfrm>
            <a:custGeom>
              <a:avLst/>
              <a:gdLst/>
              <a:ahLst/>
              <a:cxnLst/>
              <a:rect l="l" t="t" r="r" b="b"/>
              <a:pathLst>
                <a:path w="11847" h="5608" extrusionOk="0">
                  <a:moveTo>
                    <a:pt x="3530" y="3466"/>
                  </a:moveTo>
                  <a:lnTo>
                    <a:pt x="3530" y="4883"/>
                  </a:lnTo>
                  <a:lnTo>
                    <a:pt x="757" y="4883"/>
                  </a:lnTo>
                  <a:lnTo>
                    <a:pt x="757" y="3466"/>
                  </a:lnTo>
                  <a:close/>
                  <a:moveTo>
                    <a:pt x="7688" y="725"/>
                  </a:moveTo>
                  <a:lnTo>
                    <a:pt x="7688" y="4883"/>
                  </a:lnTo>
                  <a:lnTo>
                    <a:pt x="4223" y="4883"/>
                  </a:lnTo>
                  <a:lnTo>
                    <a:pt x="4223" y="725"/>
                  </a:lnTo>
                  <a:close/>
                  <a:moveTo>
                    <a:pt x="11185" y="2111"/>
                  </a:moveTo>
                  <a:lnTo>
                    <a:pt x="11185" y="4883"/>
                  </a:lnTo>
                  <a:lnTo>
                    <a:pt x="8381" y="4883"/>
                  </a:lnTo>
                  <a:lnTo>
                    <a:pt x="8381" y="2111"/>
                  </a:lnTo>
                  <a:close/>
                  <a:moveTo>
                    <a:pt x="3845" y="0"/>
                  </a:moveTo>
                  <a:cubicBezTo>
                    <a:pt x="3656" y="0"/>
                    <a:pt x="3498" y="158"/>
                    <a:pt x="3498" y="378"/>
                  </a:cubicBezTo>
                  <a:lnTo>
                    <a:pt x="3498" y="2804"/>
                  </a:lnTo>
                  <a:lnTo>
                    <a:pt x="348" y="2804"/>
                  </a:lnTo>
                  <a:cubicBezTo>
                    <a:pt x="158" y="2804"/>
                    <a:pt x="1" y="2962"/>
                    <a:pt x="1" y="3151"/>
                  </a:cubicBezTo>
                  <a:lnTo>
                    <a:pt x="1" y="5261"/>
                  </a:lnTo>
                  <a:cubicBezTo>
                    <a:pt x="1" y="5450"/>
                    <a:pt x="158" y="5608"/>
                    <a:pt x="348" y="5608"/>
                  </a:cubicBezTo>
                  <a:lnTo>
                    <a:pt x="11500" y="5608"/>
                  </a:lnTo>
                  <a:cubicBezTo>
                    <a:pt x="11689" y="5608"/>
                    <a:pt x="11847" y="5450"/>
                    <a:pt x="11847" y="5261"/>
                  </a:cubicBezTo>
                  <a:lnTo>
                    <a:pt x="11847" y="1733"/>
                  </a:lnTo>
                  <a:cubicBezTo>
                    <a:pt x="11847" y="1544"/>
                    <a:pt x="11689" y="1386"/>
                    <a:pt x="11532" y="1386"/>
                  </a:cubicBezTo>
                  <a:lnTo>
                    <a:pt x="8381" y="1386"/>
                  </a:lnTo>
                  <a:lnTo>
                    <a:pt x="8381" y="378"/>
                  </a:lnTo>
                  <a:cubicBezTo>
                    <a:pt x="8381" y="158"/>
                    <a:pt x="8224" y="0"/>
                    <a:pt x="8035"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233" name="Google Shape;10233;p111"/>
            <p:cNvSpPr/>
            <p:nvPr/>
          </p:nvSpPr>
          <p:spPr>
            <a:xfrm>
              <a:off x="4051000" y="2683025"/>
              <a:ext cx="122100" cy="138650"/>
            </a:xfrm>
            <a:custGeom>
              <a:avLst/>
              <a:gdLst/>
              <a:ahLst/>
              <a:cxnLst/>
              <a:rect l="l" t="t" r="r" b="b"/>
              <a:pathLst>
                <a:path w="4884" h="5546" extrusionOk="0">
                  <a:moveTo>
                    <a:pt x="2426" y="662"/>
                  </a:moveTo>
                  <a:cubicBezTo>
                    <a:pt x="2804" y="662"/>
                    <a:pt x="3120" y="977"/>
                    <a:pt x="3120" y="1387"/>
                  </a:cubicBezTo>
                  <a:cubicBezTo>
                    <a:pt x="3120" y="1765"/>
                    <a:pt x="2804" y="2080"/>
                    <a:pt x="2426" y="2080"/>
                  </a:cubicBezTo>
                  <a:cubicBezTo>
                    <a:pt x="2017" y="2080"/>
                    <a:pt x="1702" y="1765"/>
                    <a:pt x="1702" y="1387"/>
                  </a:cubicBezTo>
                  <a:cubicBezTo>
                    <a:pt x="1702" y="977"/>
                    <a:pt x="2017" y="662"/>
                    <a:pt x="2426" y="662"/>
                  </a:cubicBezTo>
                  <a:close/>
                  <a:moveTo>
                    <a:pt x="2426" y="2742"/>
                  </a:moveTo>
                  <a:cubicBezTo>
                    <a:pt x="3340" y="2742"/>
                    <a:pt x="4128" y="3529"/>
                    <a:pt x="4128" y="4474"/>
                  </a:cubicBezTo>
                  <a:lnTo>
                    <a:pt x="4128" y="4852"/>
                  </a:lnTo>
                  <a:lnTo>
                    <a:pt x="694" y="4852"/>
                  </a:lnTo>
                  <a:lnTo>
                    <a:pt x="694" y="4474"/>
                  </a:lnTo>
                  <a:cubicBezTo>
                    <a:pt x="694" y="3498"/>
                    <a:pt x="1481" y="2742"/>
                    <a:pt x="2426" y="2742"/>
                  </a:cubicBezTo>
                  <a:close/>
                  <a:moveTo>
                    <a:pt x="2489" y="1"/>
                  </a:moveTo>
                  <a:cubicBezTo>
                    <a:pt x="1733" y="1"/>
                    <a:pt x="1103" y="631"/>
                    <a:pt x="1103" y="1387"/>
                  </a:cubicBezTo>
                  <a:cubicBezTo>
                    <a:pt x="1103" y="1733"/>
                    <a:pt x="1229" y="2049"/>
                    <a:pt x="1450" y="2269"/>
                  </a:cubicBezTo>
                  <a:cubicBezTo>
                    <a:pt x="568" y="2679"/>
                    <a:pt x="1" y="3498"/>
                    <a:pt x="1" y="4474"/>
                  </a:cubicBezTo>
                  <a:lnTo>
                    <a:pt x="1" y="5199"/>
                  </a:lnTo>
                  <a:cubicBezTo>
                    <a:pt x="1" y="5388"/>
                    <a:pt x="158" y="5546"/>
                    <a:pt x="379" y="5546"/>
                  </a:cubicBezTo>
                  <a:lnTo>
                    <a:pt x="4537" y="5546"/>
                  </a:lnTo>
                  <a:cubicBezTo>
                    <a:pt x="4726" y="5546"/>
                    <a:pt x="4884" y="5388"/>
                    <a:pt x="4884" y="5199"/>
                  </a:cubicBezTo>
                  <a:lnTo>
                    <a:pt x="4884" y="4474"/>
                  </a:lnTo>
                  <a:cubicBezTo>
                    <a:pt x="4884" y="3498"/>
                    <a:pt x="4348" y="2679"/>
                    <a:pt x="3529" y="2269"/>
                  </a:cubicBezTo>
                  <a:cubicBezTo>
                    <a:pt x="3750" y="2049"/>
                    <a:pt x="3876" y="1733"/>
                    <a:pt x="3876" y="1387"/>
                  </a:cubicBezTo>
                  <a:cubicBezTo>
                    <a:pt x="3876" y="631"/>
                    <a:pt x="3246" y="1"/>
                    <a:pt x="2489"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234" name="Google Shape;10234;p111"/>
            <p:cNvSpPr/>
            <p:nvPr/>
          </p:nvSpPr>
          <p:spPr>
            <a:xfrm>
              <a:off x="4084875" y="2873200"/>
              <a:ext cx="52800" cy="69775"/>
            </a:xfrm>
            <a:custGeom>
              <a:avLst/>
              <a:gdLst/>
              <a:ahLst/>
              <a:cxnLst/>
              <a:rect l="l" t="t" r="r" b="b"/>
              <a:pathLst>
                <a:path w="2112" h="2791" extrusionOk="0">
                  <a:moveTo>
                    <a:pt x="1095" y="0"/>
                  </a:moveTo>
                  <a:cubicBezTo>
                    <a:pt x="1001" y="0"/>
                    <a:pt x="903" y="28"/>
                    <a:pt x="819" y="112"/>
                  </a:cubicBezTo>
                  <a:lnTo>
                    <a:pt x="126" y="805"/>
                  </a:lnTo>
                  <a:cubicBezTo>
                    <a:pt x="0" y="931"/>
                    <a:pt x="0" y="1184"/>
                    <a:pt x="126" y="1278"/>
                  </a:cubicBezTo>
                  <a:cubicBezTo>
                    <a:pt x="205" y="1341"/>
                    <a:pt x="292" y="1373"/>
                    <a:pt x="378" y="1373"/>
                  </a:cubicBezTo>
                  <a:cubicBezTo>
                    <a:pt x="465" y="1373"/>
                    <a:pt x="552" y="1341"/>
                    <a:pt x="630" y="1278"/>
                  </a:cubicBezTo>
                  <a:lnTo>
                    <a:pt x="756" y="1184"/>
                  </a:lnTo>
                  <a:lnTo>
                    <a:pt x="756" y="2066"/>
                  </a:lnTo>
                  <a:lnTo>
                    <a:pt x="378" y="2066"/>
                  </a:lnTo>
                  <a:cubicBezTo>
                    <a:pt x="189" y="2066"/>
                    <a:pt x="32" y="2223"/>
                    <a:pt x="32" y="2444"/>
                  </a:cubicBezTo>
                  <a:cubicBezTo>
                    <a:pt x="32" y="2633"/>
                    <a:pt x="189" y="2790"/>
                    <a:pt x="378" y="2790"/>
                  </a:cubicBezTo>
                  <a:lnTo>
                    <a:pt x="1765" y="2790"/>
                  </a:lnTo>
                  <a:cubicBezTo>
                    <a:pt x="1954" y="2790"/>
                    <a:pt x="2111" y="2633"/>
                    <a:pt x="2111" y="2444"/>
                  </a:cubicBezTo>
                  <a:cubicBezTo>
                    <a:pt x="2111" y="2223"/>
                    <a:pt x="1954" y="2066"/>
                    <a:pt x="1765" y="2066"/>
                  </a:cubicBezTo>
                  <a:lnTo>
                    <a:pt x="1418" y="2066"/>
                  </a:lnTo>
                  <a:lnTo>
                    <a:pt x="1418" y="333"/>
                  </a:lnTo>
                  <a:cubicBezTo>
                    <a:pt x="1418" y="175"/>
                    <a:pt x="1323" y="81"/>
                    <a:pt x="1229" y="18"/>
                  </a:cubicBezTo>
                  <a:cubicBezTo>
                    <a:pt x="1187" y="7"/>
                    <a:pt x="1141" y="0"/>
                    <a:pt x="1095"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sp>
        <p:nvSpPr>
          <p:cNvPr id="10235" name="Google Shape;10235;p111"/>
          <p:cNvSpPr/>
          <p:nvPr/>
        </p:nvSpPr>
        <p:spPr>
          <a:xfrm>
            <a:off x="10017701" y="3863922"/>
            <a:ext cx="472156" cy="464684"/>
          </a:xfrm>
          <a:custGeom>
            <a:avLst/>
            <a:gdLst/>
            <a:ahLst/>
            <a:cxnLst/>
            <a:rect l="l" t="t" r="r" b="b"/>
            <a:pathLst>
              <a:path w="12005" h="11815" extrusionOk="0">
                <a:moveTo>
                  <a:pt x="6003" y="693"/>
                </a:moveTo>
                <a:cubicBezTo>
                  <a:pt x="6089" y="693"/>
                  <a:pt x="6176" y="725"/>
                  <a:pt x="6239" y="788"/>
                </a:cubicBezTo>
                <a:lnTo>
                  <a:pt x="8444" y="2993"/>
                </a:lnTo>
                <a:lnTo>
                  <a:pt x="7972" y="3466"/>
                </a:lnTo>
                <a:lnTo>
                  <a:pt x="7751" y="3214"/>
                </a:lnTo>
                <a:cubicBezTo>
                  <a:pt x="7562" y="3025"/>
                  <a:pt x="7279" y="2899"/>
                  <a:pt x="6995" y="2899"/>
                </a:cubicBezTo>
                <a:cubicBezTo>
                  <a:pt x="6711" y="2899"/>
                  <a:pt x="6459" y="3025"/>
                  <a:pt x="6239" y="3214"/>
                </a:cubicBezTo>
                <a:cubicBezTo>
                  <a:pt x="5861" y="3623"/>
                  <a:pt x="5861" y="4285"/>
                  <a:pt x="6239" y="4663"/>
                </a:cubicBezTo>
                <a:lnTo>
                  <a:pt x="6491" y="4915"/>
                </a:lnTo>
                <a:lnTo>
                  <a:pt x="6018" y="5388"/>
                </a:lnTo>
                <a:lnTo>
                  <a:pt x="5262" y="4631"/>
                </a:lnTo>
                <a:cubicBezTo>
                  <a:pt x="5199" y="4568"/>
                  <a:pt x="5113" y="4537"/>
                  <a:pt x="5026" y="4537"/>
                </a:cubicBezTo>
                <a:cubicBezTo>
                  <a:pt x="4939" y="4537"/>
                  <a:pt x="4853" y="4568"/>
                  <a:pt x="4790" y="4631"/>
                </a:cubicBezTo>
                <a:lnTo>
                  <a:pt x="4317" y="5104"/>
                </a:lnTo>
                <a:cubicBezTo>
                  <a:pt x="4254" y="5167"/>
                  <a:pt x="4167" y="5198"/>
                  <a:pt x="4081" y="5198"/>
                </a:cubicBezTo>
                <a:cubicBezTo>
                  <a:pt x="3994" y="5198"/>
                  <a:pt x="3907" y="5167"/>
                  <a:pt x="3844" y="5104"/>
                </a:cubicBezTo>
                <a:cubicBezTo>
                  <a:pt x="3718" y="4978"/>
                  <a:pt x="3718" y="4757"/>
                  <a:pt x="3844" y="4631"/>
                </a:cubicBezTo>
                <a:lnTo>
                  <a:pt x="4317" y="4159"/>
                </a:lnTo>
                <a:cubicBezTo>
                  <a:pt x="4443" y="4033"/>
                  <a:pt x="4443" y="3812"/>
                  <a:pt x="4317" y="3686"/>
                </a:cubicBezTo>
                <a:lnTo>
                  <a:pt x="3624" y="2993"/>
                </a:lnTo>
                <a:lnTo>
                  <a:pt x="5766" y="788"/>
                </a:lnTo>
                <a:cubicBezTo>
                  <a:pt x="5829" y="725"/>
                  <a:pt x="5916" y="693"/>
                  <a:pt x="6003" y="693"/>
                </a:cubicBezTo>
                <a:close/>
                <a:moveTo>
                  <a:pt x="3088" y="3466"/>
                </a:moveTo>
                <a:lnTo>
                  <a:pt x="3561" y="3938"/>
                </a:lnTo>
                <a:lnTo>
                  <a:pt x="3340" y="4159"/>
                </a:lnTo>
                <a:cubicBezTo>
                  <a:pt x="2931" y="4568"/>
                  <a:pt x="2931" y="5230"/>
                  <a:pt x="3340" y="5608"/>
                </a:cubicBezTo>
                <a:cubicBezTo>
                  <a:pt x="3529" y="5813"/>
                  <a:pt x="3797" y="5915"/>
                  <a:pt x="4065" y="5915"/>
                </a:cubicBezTo>
                <a:cubicBezTo>
                  <a:pt x="4333" y="5915"/>
                  <a:pt x="4601" y="5813"/>
                  <a:pt x="4790" y="5608"/>
                </a:cubicBezTo>
                <a:lnTo>
                  <a:pt x="5042" y="5388"/>
                </a:lnTo>
                <a:lnTo>
                  <a:pt x="5514" y="5860"/>
                </a:lnTo>
                <a:lnTo>
                  <a:pt x="4758" y="6616"/>
                </a:lnTo>
                <a:cubicBezTo>
                  <a:pt x="4632" y="6711"/>
                  <a:pt x="4632" y="6963"/>
                  <a:pt x="4758" y="7089"/>
                </a:cubicBezTo>
                <a:lnTo>
                  <a:pt x="5231" y="7561"/>
                </a:lnTo>
                <a:cubicBezTo>
                  <a:pt x="5357" y="7656"/>
                  <a:pt x="5357" y="7908"/>
                  <a:pt x="5231" y="8002"/>
                </a:cubicBezTo>
                <a:cubicBezTo>
                  <a:pt x="5168" y="8065"/>
                  <a:pt x="5081" y="8097"/>
                  <a:pt x="4994" y="8097"/>
                </a:cubicBezTo>
                <a:cubicBezTo>
                  <a:pt x="4908" y="8097"/>
                  <a:pt x="4821" y="8065"/>
                  <a:pt x="4758" y="8002"/>
                </a:cubicBezTo>
                <a:lnTo>
                  <a:pt x="4286" y="7561"/>
                </a:lnTo>
                <a:cubicBezTo>
                  <a:pt x="4223" y="7498"/>
                  <a:pt x="4136" y="7467"/>
                  <a:pt x="4049" y="7467"/>
                </a:cubicBezTo>
                <a:cubicBezTo>
                  <a:pt x="3963" y="7467"/>
                  <a:pt x="3876" y="7498"/>
                  <a:pt x="3813" y="7561"/>
                </a:cubicBezTo>
                <a:lnTo>
                  <a:pt x="3088" y="8254"/>
                </a:lnTo>
                <a:lnTo>
                  <a:pt x="883" y="6049"/>
                </a:lnTo>
                <a:cubicBezTo>
                  <a:pt x="789" y="6018"/>
                  <a:pt x="789" y="5829"/>
                  <a:pt x="883" y="5671"/>
                </a:cubicBezTo>
                <a:lnTo>
                  <a:pt x="3088" y="3466"/>
                </a:lnTo>
                <a:close/>
                <a:moveTo>
                  <a:pt x="8917" y="3529"/>
                </a:moveTo>
                <a:lnTo>
                  <a:pt x="11122" y="5671"/>
                </a:lnTo>
                <a:cubicBezTo>
                  <a:pt x="11248" y="5766"/>
                  <a:pt x="11248" y="6018"/>
                  <a:pt x="11122" y="6144"/>
                </a:cubicBezTo>
                <a:lnTo>
                  <a:pt x="8917" y="8349"/>
                </a:lnTo>
                <a:lnTo>
                  <a:pt x="8444" y="7876"/>
                </a:lnTo>
                <a:lnTo>
                  <a:pt x="8696" y="7624"/>
                </a:lnTo>
                <a:cubicBezTo>
                  <a:pt x="9074" y="7246"/>
                  <a:pt x="9074" y="6553"/>
                  <a:pt x="8696" y="6175"/>
                </a:cubicBezTo>
                <a:cubicBezTo>
                  <a:pt x="8491" y="5970"/>
                  <a:pt x="8224" y="5868"/>
                  <a:pt x="7956" y="5868"/>
                </a:cubicBezTo>
                <a:cubicBezTo>
                  <a:pt x="7688" y="5868"/>
                  <a:pt x="7420" y="5970"/>
                  <a:pt x="7216" y="6175"/>
                </a:cubicBezTo>
                <a:lnTo>
                  <a:pt x="6995" y="6396"/>
                </a:lnTo>
                <a:lnTo>
                  <a:pt x="6522" y="5923"/>
                </a:lnTo>
                <a:lnTo>
                  <a:pt x="7279" y="5198"/>
                </a:lnTo>
                <a:cubicBezTo>
                  <a:pt x="7373" y="5072"/>
                  <a:pt x="7373" y="4820"/>
                  <a:pt x="7279" y="4726"/>
                </a:cubicBezTo>
                <a:lnTo>
                  <a:pt x="6806" y="4222"/>
                </a:lnTo>
                <a:cubicBezTo>
                  <a:pt x="6680" y="4127"/>
                  <a:pt x="6680" y="3875"/>
                  <a:pt x="6806" y="3749"/>
                </a:cubicBezTo>
                <a:cubicBezTo>
                  <a:pt x="6869" y="3686"/>
                  <a:pt x="6963" y="3655"/>
                  <a:pt x="7026" y="3655"/>
                </a:cubicBezTo>
                <a:cubicBezTo>
                  <a:pt x="7121" y="3655"/>
                  <a:pt x="7216" y="3686"/>
                  <a:pt x="7279" y="3749"/>
                </a:cubicBezTo>
                <a:lnTo>
                  <a:pt x="7751" y="4222"/>
                </a:lnTo>
                <a:cubicBezTo>
                  <a:pt x="7798" y="4285"/>
                  <a:pt x="7885" y="4316"/>
                  <a:pt x="7976" y="4316"/>
                </a:cubicBezTo>
                <a:cubicBezTo>
                  <a:pt x="8066" y="4316"/>
                  <a:pt x="8161" y="4285"/>
                  <a:pt x="8224" y="4222"/>
                </a:cubicBezTo>
                <a:lnTo>
                  <a:pt x="8917" y="3529"/>
                </a:lnTo>
                <a:close/>
                <a:moveTo>
                  <a:pt x="5987" y="6396"/>
                </a:moveTo>
                <a:lnTo>
                  <a:pt x="6711" y="7152"/>
                </a:lnTo>
                <a:cubicBezTo>
                  <a:pt x="6774" y="7215"/>
                  <a:pt x="6869" y="7246"/>
                  <a:pt x="6960" y="7246"/>
                </a:cubicBezTo>
                <a:cubicBezTo>
                  <a:pt x="7050" y="7246"/>
                  <a:pt x="7137" y="7215"/>
                  <a:pt x="7184" y="7152"/>
                </a:cubicBezTo>
                <a:lnTo>
                  <a:pt x="7657" y="6679"/>
                </a:lnTo>
                <a:cubicBezTo>
                  <a:pt x="7720" y="6616"/>
                  <a:pt x="7814" y="6585"/>
                  <a:pt x="7905" y="6585"/>
                </a:cubicBezTo>
                <a:cubicBezTo>
                  <a:pt x="7995" y="6585"/>
                  <a:pt x="8082" y="6616"/>
                  <a:pt x="8129" y="6679"/>
                </a:cubicBezTo>
                <a:cubicBezTo>
                  <a:pt x="8255" y="6805"/>
                  <a:pt x="8255" y="7026"/>
                  <a:pt x="8129" y="7152"/>
                </a:cubicBezTo>
                <a:lnTo>
                  <a:pt x="7657" y="7624"/>
                </a:lnTo>
                <a:cubicBezTo>
                  <a:pt x="7562" y="7750"/>
                  <a:pt x="7562" y="7971"/>
                  <a:pt x="7657" y="8097"/>
                </a:cubicBezTo>
                <a:lnTo>
                  <a:pt x="8381" y="8822"/>
                </a:lnTo>
                <a:lnTo>
                  <a:pt x="6239" y="11027"/>
                </a:lnTo>
                <a:cubicBezTo>
                  <a:pt x="6192" y="11074"/>
                  <a:pt x="6105" y="11098"/>
                  <a:pt x="6014" y="11098"/>
                </a:cubicBezTo>
                <a:cubicBezTo>
                  <a:pt x="5924" y="11098"/>
                  <a:pt x="5829" y="11074"/>
                  <a:pt x="5766" y="11027"/>
                </a:cubicBezTo>
                <a:lnTo>
                  <a:pt x="3561" y="8822"/>
                </a:lnTo>
                <a:lnTo>
                  <a:pt x="4034" y="8349"/>
                </a:lnTo>
                <a:lnTo>
                  <a:pt x="4286" y="8570"/>
                </a:lnTo>
                <a:cubicBezTo>
                  <a:pt x="4475" y="8774"/>
                  <a:pt x="4742" y="8877"/>
                  <a:pt x="5010" y="8877"/>
                </a:cubicBezTo>
                <a:cubicBezTo>
                  <a:pt x="5278" y="8877"/>
                  <a:pt x="5546" y="8774"/>
                  <a:pt x="5735" y="8570"/>
                </a:cubicBezTo>
                <a:cubicBezTo>
                  <a:pt x="6144" y="8191"/>
                  <a:pt x="6144" y="7498"/>
                  <a:pt x="5735" y="7120"/>
                </a:cubicBezTo>
                <a:lnTo>
                  <a:pt x="5514" y="6868"/>
                </a:lnTo>
                <a:lnTo>
                  <a:pt x="5987" y="6396"/>
                </a:lnTo>
                <a:close/>
                <a:moveTo>
                  <a:pt x="5999" y="0"/>
                </a:moveTo>
                <a:cubicBezTo>
                  <a:pt x="5735" y="0"/>
                  <a:pt x="5467" y="95"/>
                  <a:pt x="5262" y="284"/>
                </a:cubicBezTo>
                <a:lnTo>
                  <a:pt x="379" y="5167"/>
                </a:lnTo>
                <a:cubicBezTo>
                  <a:pt x="1" y="5577"/>
                  <a:pt x="1" y="6238"/>
                  <a:pt x="379" y="6648"/>
                </a:cubicBezTo>
                <a:lnTo>
                  <a:pt x="5262" y="11531"/>
                </a:lnTo>
                <a:cubicBezTo>
                  <a:pt x="5467" y="11720"/>
                  <a:pt x="5735" y="11814"/>
                  <a:pt x="5999" y="11814"/>
                </a:cubicBezTo>
                <a:cubicBezTo>
                  <a:pt x="6262" y="11814"/>
                  <a:pt x="6522" y="11720"/>
                  <a:pt x="6711" y="11531"/>
                </a:cubicBezTo>
                <a:lnTo>
                  <a:pt x="11595" y="6648"/>
                </a:lnTo>
                <a:cubicBezTo>
                  <a:pt x="12004" y="6238"/>
                  <a:pt x="12004" y="5577"/>
                  <a:pt x="11595" y="5167"/>
                </a:cubicBezTo>
                <a:lnTo>
                  <a:pt x="6711" y="284"/>
                </a:lnTo>
                <a:cubicBezTo>
                  <a:pt x="6522" y="95"/>
                  <a:pt x="6262" y="0"/>
                  <a:pt x="5999"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nvGrpSpPr>
          <p:cNvPr id="10236" name="Google Shape;10236;p111"/>
          <p:cNvGrpSpPr/>
          <p:nvPr/>
        </p:nvGrpSpPr>
        <p:grpSpPr>
          <a:xfrm>
            <a:off x="10021638" y="4515958"/>
            <a:ext cx="464684" cy="464684"/>
            <a:chOff x="5775900" y="2308125"/>
            <a:chExt cx="295375" cy="295375"/>
          </a:xfrm>
        </p:grpSpPr>
        <p:sp>
          <p:nvSpPr>
            <p:cNvPr id="10237" name="Google Shape;10237;p111"/>
            <p:cNvSpPr/>
            <p:nvPr/>
          </p:nvSpPr>
          <p:spPr>
            <a:xfrm>
              <a:off x="5984625" y="2482975"/>
              <a:ext cx="18125" cy="18150"/>
            </a:xfrm>
            <a:custGeom>
              <a:avLst/>
              <a:gdLst/>
              <a:ahLst/>
              <a:cxnLst/>
              <a:rect l="l" t="t" r="r" b="b"/>
              <a:pathLst>
                <a:path w="725" h="726" extrusionOk="0">
                  <a:moveTo>
                    <a:pt x="378" y="0"/>
                  </a:moveTo>
                  <a:cubicBezTo>
                    <a:pt x="158" y="0"/>
                    <a:pt x="0" y="158"/>
                    <a:pt x="0" y="347"/>
                  </a:cubicBezTo>
                  <a:cubicBezTo>
                    <a:pt x="0" y="568"/>
                    <a:pt x="158" y="725"/>
                    <a:pt x="378" y="725"/>
                  </a:cubicBezTo>
                  <a:cubicBezTo>
                    <a:pt x="567" y="725"/>
                    <a:pt x="725" y="568"/>
                    <a:pt x="725" y="347"/>
                  </a:cubicBezTo>
                  <a:cubicBezTo>
                    <a:pt x="725" y="158"/>
                    <a:pt x="567" y="0"/>
                    <a:pt x="378"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238" name="Google Shape;10238;p111"/>
            <p:cNvSpPr/>
            <p:nvPr/>
          </p:nvSpPr>
          <p:spPr>
            <a:xfrm>
              <a:off x="5775900" y="2308125"/>
              <a:ext cx="295375" cy="295375"/>
            </a:xfrm>
            <a:custGeom>
              <a:avLst/>
              <a:gdLst/>
              <a:ahLst/>
              <a:cxnLst/>
              <a:rect l="l" t="t" r="r" b="b"/>
              <a:pathLst>
                <a:path w="11815" h="11815" extrusionOk="0">
                  <a:moveTo>
                    <a:pt x="7845" y="725"/>
                  </a:moveTo>
                  <a:cubicBezTo>
                    <a:pt x="7719" y="914"/>
                    <a:pt x="7656" y="1166"/>
                    <a:pt x="7656" y="1450"/>
                  </a:cubicBezTo>
                  <a:cubicBezTo>
                    <a:pt x="7656" y="1670"/>
                    <a:pt x="7719" y="1922"/>
                    <a:pt x="7845" y="2143"/>
                  </a:cubicBezTo>
                  <a:lnTo>
                    <a:pt x="1387" y="2143"/>
                  </a:lnTo>
                  <a:cubicBezTo>
                    <a:pt x="1009" y="2143"/>
                    <a:pt x="694" y="1828"/>
                    <a:pt x="694" y="1450"/>
                  </a:cubicBezTo>
                  <a:cubicBezTo>
                    <a:pt x="694" y="1040"/>
                    <a:pt x="1009" y="725"/>
                    <a:pt x="1387" y="725"/>
                  </a:cubicBezTo>
                  <a:close/>
                  <a:moveTo>
                    <a:pt x="6112" y="6994"/>
                  </a:moveTo>
                  <a:cubicBezTo>
                    <a:pt x="5955" y="7183"/>
                    <a:pt x="5829" y="7436"/>
                    <a:pt x="5766" y="7719"/>
                  </a:cubicBezTo>
                  <a:lnTo>
                    <a:pt x="3466" y="7719"/>
                  </a:lnTo>
                  <a:lnTo>
                    <a:pt x="3466" y="6994"/>
                  </a:lnTo>
                  <a:close/>
                  <a:moveTo>
                    <a:pt x="694" y="2678"/>
                  </a:moveTo>
                  <a:cubicBezTo>
                    <a:pt x="883" y="2773"/>
                    <a:pt x="1103" y="2867"/>
                    <a:pt x="1387" y="2867"/>
                  </a:cubicBezTo>
                  <a:lnTo>
                    <a:pt x="1387" y="10460"/>
                  </a:lnTo>
                  <a:cubicBezTo>
                    <a:pt x="1009" y="10460"/>
                    <a:pt x="694" y="10145"/>
                    <a:pt x="694" y="9767"/>
                  </a:cubicBezTo>
                  <a:lnTo>
                    <a:pt x="694" y="2678"/>
                  </a:lnTo>
                  <a:close/>
                  <a:moveTo>
                    <a:pt x="8381" y="2836"/>
                  </a:moveTo>
                  <a:lnTo>
                    <a:pt x="8381" y="5608"/>
                  </a:lnTo>
                  <a:cubicBezTo>
                    <a:pt x="7814" y="5703"/>
                    <a:pt x="7247" y="5923"/>
                    <a:pt x="6774" y="6301"/>
                  </a:cubicBezTo>
                  <a:lnTo>
                    <a:pt x="3151" y="6301"/>
                  </a:lnTo>
                  <a:cubicBezTo>
                    <a:pt x="2962" y="6301"/>
                    <a:pt x="2804" y="6459"/>
                    <a:pt x="2804" y="6648"/>
                  </a:cubicBezTo>
                  <a:lnTo>
                    <a:pt x="2804" y="8034"/>
                  </a:lnTo>
                  <a:cubicBezTo>
                    <a:pt x="2804" y="8223"/>
                    <a:pt x="2962" y="8381"/>
                    <a:pt x="3151" y="8381"/>
                  </a:cubicBezTo>
                  <a:lnTo>
                    <a:pt x="5640" y="8381"/>
                  </a:lnTo>
                  <a:lnTo>
                    <a:pt x="5640" y="8727"/>
                  </a:lnTo>
                  <a:cubicBezTo>
                    <a:pt x="5640" y="9357"/>
                    <a:pt x="5829" y="9956"/>
                    <a:pt x="6144" y="10492"/>
                  </a:cubicBezTo>
                  <a:lnTo>
                    <a:pt x="2080" y="10492"/>
                  </a:lnTo>
                  <a:lnTo>
                    <a:pt x="2080" y="10460"/>
                  </a:lnTo>
                  <a:lnTo>
                    <a:pt x="2080" y="2836"/>
                  </a:lnTo>
                  <a:close/>
                  <a:moveTo>
                    <a:pt x="8727" y="6301"/>
                  </a:moveTo>
                  <a:cubicBezTo>
                    <a:pt x="10050" y="6301"/>
                    <a:pt x="11153" y="7404"/>
                    <a:pt x="11153" y="8727"/>
                  </a:cubicBezTo>
                  <a:cubicBezTo>
                    <a:pt x="11153" y="10082"/>
                    <a:pt x="10050" y="11216"/>
                    <a:pt x="8727" y="11216"/>
                  </a:cubicBezTo>
                  <a:cubicBezTo>
                    <a:pt x="7373" y="11216"/>
                    <a:pt x="6270" y="10113"/>
                    <a:pt x="6270" y="8727"/>
                  </a:cubicBezTo>
                  <a:cubicBezTo>
                    <a:pt x="6270" y="7373"/>
                    <a:pt x="7373" y="6301"/>
                    <a:pt x="8727" y="6301"/>
                  </a:cubicBezTo>
                  <a:close/>
                  <a:moveTo>
                    <a:pt x="1387" y="0"/>
                  </a:moveTo>
                  <a:cubicBezTo>
                    <a:pt x="630" y="0"/>
                    <a:pt x="0" y="630"/>
                    <a:pt x="0" y="1355"/>
                  </a:cubicBezTo>
                  <a:lnTo>
                    <a:pt x="0" y="9704"/>
                  </a:lnTo>
                  <a:cubicBezTo>
                    <a:pt x="0" y="10460"/>
                    <a:pt x="630" y="11090"/>
                    <a:pt x="1387" y="11090"/>
                  </a:cubicBezTo>
                  <a:lnTo>
                    <a:pt x="6742" y="11090"/>
                  </a:lnTo>
                  <a:cubicBezTo>
                    <a:pt x="7310" y="11563"/>
                    <a:pt x="8003" y="11815"/>
                    <a:pt x="8727" y="11815"/>
                  </a:cubicBezTo>
                  <a:cubicBezTo>
                    <a:pt x="10460" y="11815"/>
                    <a:pt x="11815" y="10334"/>
                    <a:pt x="11815" y="8664"/>
                  </a:cubicBezTo>
                  <a:cubicBezTo>
                    <a:pt x="11815" y="7120"/>
                    <a:pt x="10618" y="5829"/>
                    <a:pt x="9074" y="5608"/>
                  </a:cubicBezTo>
                  <a:lnTo>
                    <a:pt x="9074" y="2458"/>
                  </a:lnTo>
                  <a:cubicBezTo>
                    <a:pt x="9074" y="2269"/>
                    <a:pt x="9042" y="2143"/>
                    <a:pt x="8822" y="2080"/>
                  </a:cubicBezTo>
                  <a:cubicBezTo>
                    <a:pt x="8538" y="1985"/>
                    <a:pt x="8349" y="1733"/>
                    <a:pt x="8349" y="1418"/>
                  </a:cubicBezTo>
                  <a:cubicBezTo>
                    <a:pt x="8349" y="1135"/>
                    <a:pt x="8538" y="851"/>
                    <a:pt x="8822" y="725"/>
                  </a:cubicBezTo>
                  <a:cubicBezTo>
                    <a:pt x="8979" y="694"/>
                    <a:pt x="9074" y="536"/>
                    <a:pt x="9074" y="410"/>
                  </a:cubicBezTo>
                  <a:lnTo>
                    <a:pt x="9074" y="347"/>
                  </a:lnTo>
                  <a:cubicBezTo>
                    <a:pt x="9074" y="158"/>
                    <a:pt x="8916" y="0"/>
                    <a:pt x="8727"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239" name="Google Shape;10239;p111"/>
            <p:cNvSpPr/>
            <p:nvPr/>
          </p:nvSpPr>
          <p:spPr>
            <a:xfrm>
              <a:off x="5984625" y="2508975"/>
              <a:ext cx="18125" cy="61450"/>
            </a:xfrm>
            <a:custGeom>
              <a:avLst/>
              <a:gdLst/>
              <a:ahLst/>
              <a:cxnLst/>
              <a:rect l="l" t="t" r="r" b="b"/>
              <a:pathLst>
                <a:path w="725" h="2458" extrusionOk="0">
                  <a:moveTo>
                    <a:pt x="378" y="0"/>
                  </a:moveTo>
                  <a:cubicBezTo>
                    <a:pt x="158" y="0"/>
                    <a:pt x="0" y="158"/>
                    <a:pt x="0" y="347"/>
                  </a:cubicBezTo>
                  <a:lnTo>
                    <a:pt x="0" y="2111"/>
                  </a:lnTo>
                  <a:cubicBezTo>
                    <a:pt x="0" y="2300"/>
                    <a:pt x="158" y="2458"/>
                    <a:pt x="378" y="2458"/>
                  </a:cubicBezTo>
                  <a:cubicBezTo>
                    <a:pt x="567" y="2458"/>
                    <a:pt x="725" y="2300"/>
                    <a:pt x="725" y="2111"/>
                  </a:cubicBezTo>
                  <a:lnTo>
                    <a:pt x="725" y="347"/>
                  </a:lnTo>
                  <a:cubicBezTo>
                    <a:pt x="725" y="158"/>
                    <a:pt x="567" y="0"/>
                    <a:pt x="378"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240" name="Google Shape;10240;p111"/>
            <p:cNvSpPr/>
            <p:nvPr/>
          </p:nvSpPr>
          <p:spPr>
            <a:xfrm>
              <a:off x="5845200" y="2395550"/>
              <a:ext cx="122900" cy="17350"/>
            </a:xfrm>
            <a:custGeom>
              <a:avLst/>
              <a:gdLst/>
              <a:ahLst/>
              <a:cxnLst/>
              <a:rect l="l" t="t" r="r" b="b"/>
              <a:pathLst>
                <a:path w="4916" h="694" extrusionOk="0">
                  <a:moveTo>
                    <a:pt x="347" y="0"/>
                  </a:moveTo>
                  <a:cubicBezTo>
                    <a:pt x="158" y="0"/>
                    <a:pt x="1" y="158"/>
                    <a:pt x="1" y="347"/>
                  </a:cubicBezTo>
                  <a:cubicBezTo>
                    <a:pt x="1" y="599"/>
                    <a:pt x="158" y="694"/>
                    <a:pt x="347" y="694"/>
                  </a:cubicBezTo>
                  <a:lnTo>
                    <a:pt x="4569" y="694"/>
                  </a:lnTo>
                  <a:cubicBezTo>
                    <a:pt x="4758" y="694"/>
                    <a:pt x="4916" y="536"/>
                    <a:pt x="4916" y="347"/>
                  </a:cubicBezTo>
                  <a:cubicBezTo>
                    <a:pt x="4916" y="158"/>
                    <a:pt x="4758" y="0"/>
                    <a:pt x="4569"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241" name="Google Shape;10241;p111"/>
            <p:cNvSpPr/>
            <p:nvPr/>
          </p:nvSpPr>
          <p:spPr>
            <a:xfrm>
              <a:off x="5845200" y="2431000"/>
              <a:ext cx="122900" cy="17350"/>
            </a:xfrm>
            <a:custGeom>
              <a:avLst/>
              <a:gdLst/>
              <a:ahLst/>
              <a:cxnLst/>
              <a:rect l="l" t="t" r="r" b="b"/>
              <a:pathLst>
                <a:path w="4916" h="694" extrusionOk="0">
                  <a:moveTo>
                    <a:pt x="347" y="0"/>
                  </a:moveTo>
                  <a:cubicBezTo>
                    <a:pt x="158" y="0"/>
                    <a:pt x="1" y="158"/>
                    <a:pt x="1" y="347"/>
                  </a:cubicBezTo>
                  <a:cubicBezTo>
                    <a:pt x="1" y="536"/>
                    <a:pt x="158" y="693"/>
                    <a:pt x="347" y="693"/>
                  </a:cubicBezTo>
                  <a:lnTo>
                    <a:pt x="4569" y="693"/>
                  </a:lnTo>
                  <a:cubicBezTo>
                    <a:pt x="4758" y="693"/>
                    <a:pt x="4916" y="536"/>
                    <a:pt x="4916" y="347"/>
                  </a:cubicBezTo>
                  <a:cubicBezTo>
                    <a:pt x="4916" y="158"/>
                    <a:pt x="4758" y="0"/>
                    <a:pt x="4569"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10242" name="Google Shape;10242;p111"/>
          <p:cNvGrpSpPr/>
          <p:nvPr/>
        </p:nvGrpSpPr>
        <p:grpSpPr>
          <a:xfrm>
            <a:off x="10049523" y="5114406"/>
            <a:ext cx="408915" cy="465943"/>
            <a:chOff x="5794025" y="2673575"/>
            <a:chExt cx="259925" cy="296175"/>
          </a:xfrm>
        </p:grpSpPr>
        <p:sp>
          <p:nvSpPr>
            <p:cNvPr id="10243" name="Google Shape;10243;p111"/>
            <p:cNvSpPr/>
            <p:nvPr/>
          </p:nvSpPr>
          <p:spPr>
            <a:xfrm>
              <a:off x="5794025" y="2673575"/>
              <a:ext cx="259925" cy="296175"/>
            </a:xfrm>
            <a:custGeom>
              <a:avLst/>
              <a:gdLst/>
              <a:ahLst/>
              <a:cxnLst/>
              <a:rect l="l" t="t" r="r" b="b"/>
              <a:pathLst>
                <a:path w="10397" h="11847" extrusionOk="0">
                  <a:moveTo>
                    <a:pt x="5860" y="694"/>
                  </a:moveTo>
                  <a:cubicBezTo>
                    <a:pt x="7089" y="694"/>
                    <a:pt x="8097" y="1639"/>
                    <a:pt x="8254" y="2805"/>
                  </a:cubicBezTo>
                  <a:cubicBezTo>
                    <a:pt x="8160" y="2773"/>
                    <a:pt x="8065" y="2773"/>
                    <a:pt x="7939" y="2773"/>
                  </a:cubicBezTo>
                  <a:lnTo>
                    <a:pt x="7561" y="2773"/>
                  </a:lnTo>
                  <a:cubicBezTo>
                    <a:pt x="7404" y="1985"/>
                    <a:pt x="6679" y="1387"/>
                    <a:pt x="5860" y="1387"/>
                  </a:cubicBezTo>
                  <a:lnTo>
                    <a:pt x="4474" y="1387"/>
                  </a:lnTo>
                  <a:cubicBezTo>
                    <a:pt x="3655" y="1387"/>
                    <a:pt x="2930" y="1985"/>
                    <a:pt x="2804" y="2773"/>
                  </a:cubicBezTo>
                  <a:lnTo>
                    <a:pt x="2394" y="2773"/>
                  </a:lnTo>
                  <a:cubicBezTo>
                    <a:pt x="2268" y="2773"/>
                    <a:pt x="2142" y="2773"/>
                    <a:pt x="2079" y="2805"/>
                  </a:cubicBezTo>
                  <a:cubicBezTo>
                    <a:pt x="2237" y="1639"/>
                    <a:pt x="3277" y="694"/>
                    <a:pt x="4474" y="694"/>
                  </a:cubicBezTo>
                  <a:close/>
                  <a:moveTo>
                    <a:pt x="6206" y="2143"/>
                  </a:moveTo>
                  <a:cubicBezTo>
                    <a:pt x="6616" y="2300"/>
                    <a:pt x="6931" y="2647"/>
                    <a:pt x="6931" y="3120"/>
                  </a:cubicBezTo>
                  <a:lnTo>
                    <a:pt x="6931" y="3403"/>
                  </a:lnTo>
                  <a:cubicBezTo>
                    <a:pt x="6522" y="3246"/>
                    <a:pt x="6206" y="2899"/>
                    <a:pt x="6206" y="2427"/>
                  </a:cubicBezTo>
                  <a:lnTo>
                    <a:pt x="6206" y="2143"/>
                  </a:lnTo>
                  <a:close/>
                  <a:moveTo>
                    <a:pt x="5513" y="2080"/>
                  </a:moveTo>
                  <a:lnTo>
                    <a:pt x="5513" y="2427"/>
                  </a:lnTo>
                  <a:cubicBezTo>
                    <a:pt x="5513" y="3025"/>
                    <a:pt x="5041" y="3435"/>
                    <a:pt x="4474" y="3435"/>
                  </a:cubicBezTo>
                  <a:lnTo>
                    <a:pt x="3466" y="3435"/>
                  </a:lnTo>
                  <a:lnTo>
                    <a:pt x="3466" y="3088"/>
                  </a:lnTo>
                  <a:cubicBezTo>
                    <a:pt x="3466" y="2490"/>
                    <a:pt x="3938" y="2080"/>
                    <a:pt x="4474" y="2080"/>
                  </a:cubicBezTo>
                  <a:close/>
                  <a:moveTo>
                    <a:pt x="2741" y="3435"/>
                  </a:moveTo>
                  <a:lnTo>
                    <a:pt x="2741" y="5451"/>
                  </a:lnTo>
                  <a:cubicBezTo>
                    <a:pt x="2363" y="5293"/>
                    <a:pt x="2048" y="4947"/>
                    <a:pt x="2048" y="4474"/>
                  </a:cubicBezTo>
                  <a:lnTo>
                    <a:pt x="2048" y="3813"/>
                  </a:lnTo>
                  <a:cubicBezTo>
                    <a:pt x="2048" y="3592"/>
                    <a:pt x="2205" y="3435"/>
                    <a:pt x="2394" y="3435"/>
                  </a:cubicBezTo>
                  <a:close/>
                  <a:moveTo>
                    <a:pt x="7939" y="3498"/>
                  </a:moveTo>
                  <a:cubicBezTo>
                    <a:pt x="8160" y="3498"/>
                    <a:pt x="8317" y="3655"/>
                    <a:pt x="8317" y="3844"/>
                  </a:cubicBezTo>
                  <a:lnTo>
                    <a:pt x="8317" y="4506"/>
                  </a:lnTo>
                  <a:cubicBezTo>
                    <a:pt x="8317" y="4947"/>
                    <a:pt x="8034" y="5325"/>
                    <a:pt x="7593" y="5482"/>
                  </a:cubicBezTo>
                  <a:lnTo>
                    <a:pt x="7593" y="3498"/>
                  </a:lnTo>
                  <a:close/>
                  <a:moveTo>
                    <a:pt x="5891" y="3435"/>
                  </a:moveTo>
                  <a:cubicBezTo>
                    <a:pt x="6143" y="3750"/>
                    <a:pt x="6522" y="4033"/>
                    <a:pt x="6931" y="4128"/>
                  </a:cubicBezTo>
                  <a:lnTo>
                    <a:pt x="6931" y="5892"/>
                  </a:lnTo>
                  <a:cubicBezTo>
                    <a:pt x="6931" y="6491"/>
                    <a:pt x="6459" y="6900"/>
                    <a:pt x="5891" y="6900"/>
                  </a:cubicBezTo>
                  <a:lnTo>
                    <a:pt x="4505" y="6900"/>
                  </a:lnTo>
                  <a:cubicBezTo>
                    <a:pt x="3938" y="6900"/>
                    <a:pt x="3497" y="6428"/>
                    <a:pt x="3497" y="5892"/>
                  </a:cubicBezTo>
                  <a:lnTo>
                    <a:pt x="3497" y="4159"/>
                  </a:lnTo>
                  <a:lnTo>
                    <a:pt x="4505" y="4159"/>
                  </a:lnTo>
                  <a:cubicBezTo>
                    <a:pt x="5072" y="4159"/>
                    <a:pt x="5576" y="3876"/>
                    <a:pt x="5891" y="3435"/>
                  </a:cubicBezTo>
                  <a:close/>
                  <a:moveTo>
                    <a:pt x="6238" y="7593"/>
                  </a:moveTo>
                  <a:cubicBezTo>
                    <a:pt x="6333" y="7782"/>
                    <a:pt x="6459" y="7971"/>
                    <a:pt x="6616" y="8097"/>
                  </a:cubicBezTo>
                  <a:lnTo>
                    <a:pt x="5198" y="9547"/>
                  </a:lnTo>
                  <a:lnTo>
                    <a:pt x="3718" y="8097"/>
                  </a:lnTo>
                  <a:cubicBezTo>
                    <a:pt x="3875" y="7971"/>
                    <a:pt x="4033" y="7782"/>
                    <a:pt x="4096" y="7593"/>
                  </a:cubicBezTo>
                  <a:cubicBezTo>
                    <a:pt x="4190" y="7625"/>
                    <a:pt x="4379" y="7625"/>
                    <a:pt x="4474" y="7625"/>
                  </a:cubicBezTo>
                  <a:lnTo>
                    <a:pt x="5860" y="7625"/>
                  </a:lnTo>
                  <a:cubicBezTo>
                    <a:pt x="5986" y="7625"/>
                    <a:pt x="6143" y="7625"/>
                    <a:pt x="6238" y="7593"/>
                  </a:cubicBezTo>
                  <a:close/>
                  <a:moveTo>
                    <a:pt x="2961" y="8318"/>
                  </a:moveTo>
                  <a:lnTo>
                    <a:pt x="4852" y="10177"/>
                  </a:lnTo>
                  <a:lnTo>
                    <a:pt x="4852" y="11122"/>
                  </a:lnTo>
                  <a:lnTo>
                    <a:pt x="662" y="11122"/>
                  </a:lnTo>
                  <a:lnTo>
                    <a:pt x="662" y="9358"/>
                  </a:lnTo>
                  <a:cubicBezTo>
                    <a:pt x="662" y="8759"/>
                    <a:pt x="1134" y="8318"/>
                    <a:pt x="1701" y="8318"/>
                  </a:cubicBezTo>
                  <a:close/>
                  <a:moveTo>
                    <a:pt x="8664" y="8318"/>
                  </a:moveTo>
                  <a:cubicBezTo>
                    <a:pt x="9262" y="8318"/>
                    <a:pt x="9672" y="8790"/>
                    <a:pt x="9672" y="9358"/>
                  </a:cubicBezTo>
                  <a:lnTo>
                    <a:pt x="9672" y="11122"/>
                  </a:lnTo>
                  <a:lnTo>
                    <a:pt x="5513" y="11122"/>
                  </a:lnTo>
                  <a:lnTo>
                    <a:pt x="5513" y="10177"/>
                  </a:lnTo>
                  <a:lnTo>
                    <a:pt x="7404" y="8318"/>
                  </a:lnTo>
                  <a:close/>
                  <a:moveTo>
                    <a:pt x="4537" y="1"/>
                  </a:moveTo>
                  <a:cubicBezTo>
                    <a:pt x="2804" y="1"/>
                    <a:pt x="1418" y="1418"/>
                    <a:pt x="1418" y="3120"/>
                  </a:cubicBezTo>
                  <a:lnTo>
                    <a:pt x="1418" y="4506"/>
                  </a:lnTo>
                  <a:cubicBezTo>
                    <a:pt x="1418" y="5356"/>
                    <a:pt x="2048" y="6050"/>
                    <a:pt x="2835" y="6207"/>
                  </a:cubicBezTo>
                  <a:cubicBezTo>
                    <a:pt x="2898" y="6648"/>
                    <a:pt x="3151" y="7026"/>
                    <a:pt x="3497" y="7278"/>
                  </a:cubicBezTo>
                  <a:cubicBezTo>
                    <a:pt x="3466" y="7467"/>
                    <a:pt x="3308" y="7625"/>
                    <a:pt x="3119" y="7625"/>
                  </a:cubicBezTo>
                  <a:lnTo>
                    <a:pt x="1733" y="7625"/>
                  </a:lnTo>
                  <a:cubicBezTo>
                    <a:pt x="788" y="7625"/>
                    <a:pt x="0" y="8412"/>
                    <a:pt x="0" y="9358"/>
                  </a:cubicBezTo>
                  <a:lnTo>
                    <a:pt x="0" y="11468"/>
                  </a:lnTo>
                  <a:cubicBezTo>
                    <a:pt x="0" y="11689"/>
                    <a:pt x="158" y="11846"/>
                    <a:pt x="347" y="11846"/>
                  </a:cubicBezTo>
                  <a:lnTo>
                    <a:pt x="10050" y="11846"/>
                  </a:lnTo>
                  <a:cubicBezTo>
                    <a:pt x="10239" y="11846"/>
                    <a:pt x="10397" y="11689"/>
                    <a:pt x="10397" y="11468"/>
                  </a:cubicBezTo>
                  <a:lnTo>
                    <a:pt x="10397" y="9358"/>
                  </a:lnTo>
                  <a:cubicBezTo>
                    <a:pt x="10397" y="8412"/>
                    <a:pt x="9609" y="7625"/>
                    <a:pt x="8664" y="7625"/>
                  </a:cubicBezTo>
                  <a:lnTo>
                    <a:pt x="7278" y="7625"/>
                  </a:lnTo>
                  <a:cubicBezTo>
                    <a:pt x="7089" y="7625"/>
                    <a:pt x="6931" y="7467"/>
                    <a:pt x="6931" y="7278"/>
                  </a:cubicBezTo>
                  <a:cubicBezTo>
                    <a:pt x="7278" y="7026"/>
                    <a:pt x="7530" y="6648"/>
                    <a:pt x="7593" y="6207"/>
                  </a:cubicBezTo>
                  <a:cubicBezTo>
                    <a:pt x="8380" y="6050"/>
                    <a:pt x="9010" y="5325"/>
                    <a:pt x="9010" y="4506"/>
                  </a:cubicBezTo>
                  <a:lnTo>
                    <a:pt x="9010" y="3120"/>
                  </a:lnTo>
                  <a:cubicBezTo>
                    <a:pt x="9010" y="1387"/>
                    <a:pt x="7593" y="1"/>
                    <a:pt x="5891"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244" name="Google Shape;10244;p111"/>
            <p:cNvSpPr/>
            <p:nvPr/>
          </p:nvSpPr>
          <p:spPr>
            <a:xfrm>
              <a:off x="5967300" y="2915375"/>
              <a:ext cx="35450" cy="17350"/>
            </a:xfrm>
            <a:custGeom>
              <a:avLst/>
              <a:gdLst/>
              <a:ahLst/>
              <a:cxnLst/>
              <a:rect l="l" t="t" r="r" b="b"/>
              <a:pathLst>
                <a:path w="1418" h="694" extrusionOk="0">
                  <a:moveTo>
                    <a:pt x="347" y="1"/>
                  </a:moveTo>
                  <a:cubicBezTo>
                    <a:pt x="158" y="1"/>
                    <a:pt x="0" y="158"/>
                    <a:pt x="0" y="347"/>
                  </a:cubicBezTo>
                  <a:cubicBezTo>
                    <a:pt x="0" y="536"/>
                    <a:pt x="158" y="694"/>
                    <a:pt x="347" y="694"/>
                  </a:cubicBezTo>
                  <a:lnTo>
                    <a:pt x="1040" y="694"/>
                  </a:lnTo>
                  <a:cubicBezTo>
                    <a:pt x="1260" y="694"/>
                    <a:pt x="1418" y="536"/>
                    <a:pt x="1418" y="347"/>
                  </a:cubicBezTo>
                  <a:cubicBezTo>
                    <a:pt x="1418" y="158"/>
                    <a:pt x="1260" y="1"/>
                    <a:pt x="1040"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sp>
        <p:nvSpPr>
          <p:cNvPr id="10245" name="Google Shape;10245;p111"/>
          <p:cNvSpPr/>
          <p:nvPr/>
        </p:nvSpPr>
        <p:spPr>
          <a:xfrm>
            <a:off x="8850637" y="5742425"/>
            <a:ext cx="465943" cy="464684"/>
          </a:xfrm>
          <a:custGeom>
            <a:avLst/>
            <a:gdLst/>
            <a:ahLst/>
            <a:cxnLst/>
            <a:rect l="l" t="t" r="r" b="b"/>
            <a:pathLst>
              <a:path w="11847" h="11815" extrusionOk="0">
                <a:moveTo>
                  <a:pt x="5892" y="693"/>
                </a:moveTo>
                <a:cubicBezTo>
                  <a:pt x="6491" y="693"/>
                  <a:pt x="6932" y="1134"/>
                  <a:pt x="6932" y="1701"/>
                </a:cubicBezTo>
                <a:cubicBezTo>
                  <a:pt x="6932" y="2269"/>
                  <a:pt x="6459" y="2710"/>
                  <a:pt x="5892" y="2710"/>
                </a:cubicBezTo>
                <a:cubicBezTo>
                  <a:pt x="5325" y="2710"/>
                  <a:pt x="4884" y="2269"/>
                  <a:pt x="4884" y="1701"/>
                </a:cubicBezTo>
                <a:cubicBezTo>
                  <a:pt x="4884" y="1134"/>
                  <a:pt x="5325" y="693"/>
                  <a:pt x="5892" y="693"/>
                </a:cubicBezTo>
                <a:close/>
                <a:moveTo>
                  <a:pt x="5892" y="3466"/>
                </a:moveTo>
                <a:cubicBezTo>
                  <a:pt x="6176" y="3466"/>
                  <a:pt x="6428" y="3497"/>
                  <a:pt x="6680" y="3592"/>
                </a:cubicBezTo>
                <a:lnTo>
                  <a:pt x="5892" y="4631"/>
                </a:lnTo>
                <a:lnTo>
                  <a:pt x="5104" y="3592"/>
                </a:lnTo>
                <a:cubicBezTo>
                  <a:pt x="5357" y="3529"/>
                  <a:pt x="5609" y="3466"/>
                  <a:pt x="5892" y="3466"/>
                </a:cubicBezTo>
                <a:close/>
                <a:moveTo>
                  <a:pt x="4222" y="2048"/>
                </a:moveTo>
                <a:cubicBezTo>
                  <a:pt x="4285" y="2426"/>
                  <a:pt x="4474" y="2710"/>
                  <a:pt x="4726" y="2962"/>
                </a:cubicBezTo>
                <a:cubicBezTo>
                  <a:pt x="4632" y="2993"/>
                  <a:pt x="4537" y="3056"/>
                  <a:pt x="4443" y="3088"/>
                </a:cubicBezTo>
                <a:cubicBezTo>
                  <a:pt x="4443" y="3088"/>
                  <a:pt x="4411" y="3088"/>
                  <a:pt x="4411" y="3119"/>
                </a:cubicBezTo>
                <a:cubicBezTo>
                  <a:pt x="3403" y="3623"/>
                  <a:pt x="2773" y="4694"/>
                  <a:pt x="2773" y="5829"/>
                </a:cubicBezTo>
                <a:lnTo>
                  <a:pt x="2773" y="6207"/>
                </a:lnTo>
                <a:lnTo>
                  <a:pt x="2143" y="6207"/>
                </a:lnTo>
                <a:lnTo>
                  <a:pt x="2647" y="2300"/>
                </a:lnTo>
                <a:cubicBezTo>
                  <a:pt x="2679" y="2174"/>
                  <a:pt x="2836" y="2048"/>
                  <a:pt x="2962" y="2048"/>
                </a:cubicBezTo>
                <a:close/>
                <a:moveTo>
                  <a:pt x="4474" y="3907"/>
                </a:moveTo>
                <a:lnTo>
                  <a:pt x="5546" y="5325"/>
                </a:lnTo>
                <a:lnTo>
                  <a:pt x="5546" y="6238"/>
                </a:lnTo>
                <a:lnTo>
                  <a:pt x="3466" y="6238"/>
                </a:lnTo>
                <a:lnTo>
                  <a:pt x="3466" y="5892"/>
                </a:lnTo>
                <a:cubicBezTo>
                  <a:pt x="3466" y="5041"/>
                  <a:pt x="3844" y="4348"/>
                  <a:pt x="4474" y="3907"/>
                </a:cubicBezTo>
                <a:close/>
                <a:moveTo>
                  <a:pt x="7278" y="3907"/>
                </a:moveTo>
                <a:cubicBezTo>
                  <a:pt x="7908" y="4348"/>
                  <a:pt x="8318" y="5104"/>
                  <a:pt x="8318" y="5892"/>
                </a:cubicBezTo>
                <a:lnTo>
                  <a:pt x="8318" y="6238"/>
                </a:lnTo>
                <a:lnTo>
                  <a:pt x="6207" y="6238"/>
                </a:lnTo>
                <a:lnTo>
                  <a:pt x="6207" y="5325"/>
                </a:lnTo>
                <a:lnTo>
                  <a:pt x="7278" y="3907"/>
                </a:lnTo>
                <a:close/>
                <a:moveTo>
                  <a:pt x="8854" y="2048"/>
                </a:moveTo>
                <a:cubicBezTo>
                  <a:pt x="9011" y="2048"/>
                  <a:pt x="9137" y="2143"/>
                  <a:pt x="9169" y="2300"/>
                </a:cubicBezTo>
                <a:lnTo>
                  <a:pt x="9673" y="6238"/>
                </a:lnTo>
                <a:lnTo>
                  <a:pt x="9043" y="6238"/>
                </a:lnTo>
                <a:lnTo>
                  <a:pt x="9043" y="5860"/>
                </a:lnTo>
                <a:cubicBezTo>
                  <a:pt x="9043" y="4694"/>
                  <a:pt x="8381" y="3655"/>
                  <a:pt x="7436" y="3151"/>
                </a:cubicBezTo>
                <a:cubicBezTo>
                  <a:pt x="7436" y="3151"/>
                  <a:pt x="7404" y="3151"/>
                  <a:pt x="7404" y="3119"/>
                </a:cubicBezTo>
                <a:cubicBezTo>
                  <a:pt x="7310" y="3088"/>
                  <a:pt x="7184" y="3056"/>
                  <a:pt x="7121" y="2993"/>
                </a:cubicBezTo>
                <a:cubicBezTo>
                  <a:pt x="7310" y="2773"/>
                  <a:pt x="7530" y="2458"/>
                  <a:pt x="7593" y="2048"/>
                </a:cubicBezTo>
                <a:close/>
                <a:moveTo>
                  <a:pt x="10744" y="6900"/>
                </a:moveTo>
                <a:cubicBezTo>
                  <a:pt x="10933" y="6900"/>
                  <a:pt x="11090" y="7057"/>
                  <a:pt x="11090" y="7246"/>
                </a:cubicBezTo>
                <a:cubicBezTo>
                  <a:pt x="11090" y="7435"/>
                  <a:pt x="10933" y="7624"/>
                  <a:pt x="10744" y="7624"/>
                </a:cubicBezTo>
                <a:lnTo>
                  <a:pt x="1009" y="7624"/>
                </a:lnTo>
                <a:cubicBezTo>
                  <a:pt x="820" y="7624"/>
                  <a:pt x="662" y="7435"/>
                  <a:pt x="662" y="7246"/>
                </a:cubicBezTo>
                <a:cubicBezTo>
                  <a:pt x="662" y="7057"/>
                  <a:pt x="820" y="6900"/>
                  <a:pt x="1009" y="6900"/>
                </a:cubicBezTo>
                <a:close/>
                <a:moveTo>
                  <a:pt x="10397" y="8317"/>
                </a:moveTo>
                <a:lnTo>
                  <a:pt x="10397" y="11121"/>
                </a:lnTo>
                <a:lnTo>
                  <a:pt x="1387" y="11121"/>
                </a:lnTo>
                <a:lnTo>
                  <a:pt x="1387" y="8317"/>
                </a:lnTo>
                <a:close/>
                <a:moveTo>
                  <a:pt x="5892" y="0"/>
                </a:moveTo>
                <a:cubicBezTo>
                  <a:pt x="5073" y="0"/>
                  <a:pt x="4380" y="599"/>
                  <a:pt x="4222" y="1386"/>
                </a:cubicBezTo>
                <a:lnTo>
                  <a:pt x="2962" y="1386"/>
                </a:lnTo>
                <a:cubicBezTo>
                  <a:pt x="2458" y="1386"/>
                  <a:pt x="2080" y="1701"/>
                  <a:pt x="1954" y="2143"/>
                </a:cubicBezTo>
                <a:lnTo>
                  <a:pt x="1954" y="2174"/>
                </a:lnTo>
                <a:lnTo>
                  <a:pt x="1450" y="6238"/>
                </a:lnTo>
                <a:lnTo>
                  <a:pt x="1072" y="6238"/>
                </a:lnTo>
                <a:cubicBezTo>
                  <a:pt x="473" y="6238"/>
                  <a:pt x="1" y="6711"/>
                  <a:pt x="1" y="7246"/>
                </a:cubicBezTo>
                <a:cubicBezTo>
                  <a:pt x="1" y="7719"/>
                  <a:pt x="316" y="8065"/>
                  <a:pt x="694" y="8254"/>
                </a:cubicBezTo>
                <a:lnTo>
                  <a:pt x="694" y="11468"/>
                </a:lnTo>
                <a:cubicBezTo>
                  <a:pt x="694" y="11657"/>
                  <a:pt x="851" y="11815"/>
                  <a:pt x="1040" y="11815"/>
                </a:cubicBezTo>
                <a:lnTo>
                  <a:pt x="10775" y="11815"/>
                </a:lnTo>
                <a:cubicBezTo>
                  <a:pt x="10996" y="11815"/>
                  <a:pt x="11153" y="11657"/>
                  <a:pt x="11153" y="11468"/>
                </a:cubicBezTo>
                <a:lnTo>
                  <a:pt x="11153" y="8254"/>
                </a:lnTo>
                <a:cubicBezTo>
                  <a:pt x="11531" y="8065"/>
                  <a:pt x="11847" y="7719"/>
                  <a:pt x="11847" y="7246"/>
                </a:cubicBezTo>
                <a:cubicBezTo>
                  <a:pt x="11815" y="6711"/>
                  <a:pt x="11342" y="6238"/>
                  <a:pt x="10744" y="6238"/>
                </a:cubicBezTo>
                <a:lnTo>
                  <a:pt x="10366" y="6238"/>
                </a:lnTo>
                <a:lnTo>
                  <a:pt x="9830" y="2174"/>
                </a:lnTo>
                <a:lnTo>
                  <a:pt x="9830" y="2143"/>
                </a:lnTo>
                <a:cubicBezTo>
                  <a:pt x="9736" y="1701"/>
                  <a:pt x="9295" y="1386"/>
                  <a:pt x="8854" y="1386"/>
                </a:cubicBezTo>
                <a:lnTo>
                  <a:pt x="7593" y="1386"/>
                </a:lnTo>
                <a:cubicBezTo>
                  <a:pt x="7436" y="599"/>
                  <a:pt x="6711" y="0"/>
                  <a:pt x="5892"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lt1">
            <a:alpha val="61960"/>
          </a:schemeClr>
        </a:solidFill>
        <a:effectLst/>
      </p:bgPr>
    </p:bg>
    <p:spTree>
      <p:nvGrpSpPr>
        <p:cNvPr id="1" name="Shape 484"/>
        <p:cNvGrpSpPr/>
        <p:nvPr/>
      </p:nvGrpSpPr>
      <p:grpSpPr>
        <a:xfrm>
          <a:off x="0" y="0"/>
          <a:ext cx="0" cy="0"/>
          <a:chOff x="0" y="0"/>
          <a:chExt cx="0" cy="0"/>
        </a:xfrm>
      </p:grpSpPr>
      <p:sp>
        <p:nvSpPr>
          <p:cNvPr id="485" name="Google Shape;485;p75"/>
          <p:cNvSpPr/>
          <p:nvPr/>
        </p:nvSpPr>
        <p:spPr>
          <a:xfrm>
            <a:off x="0" y="2977664"/>
            <a:ext cx="12204973" cy="3880337"/>
          </a:xfrm>
          <a:custGeom>
            <a:avLst/>
            <a:gdLst/>
            <a:ahLst/>
            <a:cxnLst/>
            <a:rect l="l" t="t" r="r" b="b"/>
            <a:pathLst>
              <a:path w="12204973" h="3880337" extrusionOk="0">
                <a:moveTo>
                  <a:pt x="0" y="0"/>
                </a:moveTo>
                <a:lnTo>
                  <a:pt x="37535" y="32"/>
                </a:lnTo>
                <a:cubicBezTo>
                  <a:pt x="857482" y="42746"/>
                  <a:pt x="2180070" y="1109820"/>
                  <a:pt x="3478874" y="1198586"/>
                </a:cubicBezTo>
                <a:cubicBezTo>
                  <a:pt x="5141346" y="1312206"/>
                  <a:pt x="7643709" y="780625"/>
                  <a:pt x="9453376" y="930766"/>
                </a:cubicBezTo>
                <a:cubicBezTo>
                  <a:pt x="10132002" y="987069"/>
                  <a:pt x="10925693" y="1038236"/>
                  <a:pt x="11676235" y="1127921"/>
                </a:cubicBezTo>
                <a:lnTo>
                  <a:pt x="12204973" y="1203321"/>
                </a:lnTo>
                <a:lnTo>
                  <a:pt x="12204973" y="3880337"/>
                </a:lnTo>
                <a:lnTo>
                  <a:pt x="0" y="3880337"/>
                </a:lnTo>
                <a:close/>
              </a:path>
            </a:pathLst>
          </a:custGeom>
          <a:solidFill>
            <a:srgbClr val="2856AE"/>
          </a:solidFill>
          <a:ln>
            <a:noFill/>
          </a:ln>
        </p:spPr>
        <p:txBody>
          <a:bodyPr spcFirstLastPara="1" wrap="square" lIns="91433" tIns="45700" rIns="91433" bIns="45700" anchor="ctr" anchorCtr="0">
            <a:noAutofit/>
          </a:bodyPr>
          <a:lstStyle/>
          <a:p>
            <a:pPr algn="ctr" defTabSz="1219170">
              <a:buClr>
                <a:srgbClr val="000000"/>
              </a:buClr>
            </a:pPr>
            <a:endParaRPr sz="1867" kern="0">
              <a:solidFill>
                <a:srgbClr val="FFFFFF"/>
              </a:solidFill>
              <a:latin typeface="Calibri"/>
              <a:ea typeface="Calibri"/>
              <a:cs typeface="Calibri"/>
              <a:sym typeface="Calibri"/>
            </a:endParaRPr>
          </a:p>
        </p:txBody>
      </p:sp>
      <p:sp>
        <p:nvSpPr>
          <p:cNvPr id="486" name="Google Shape;486;p75"/>
          <p:cNvSpPr/>
          <p:nvPr/>
        </p:nvSpPr>
        <p:spPr>
          <a:xfrm>
            <a:off x="4848755" y="1608816"/>
            <a:ext cx="6863424" cy="4011561"/>
          </a:xfrm>
          <a:prstGeom prst="roundRect">
            <a:avLst>
              <a:gd name="adj" fmla="val 5405"/>
            </a:avLst>
          </a:prstGeom>
          <a:solidFill>
            <a:schemeClr val="lt1">
              <a:alpha val="11764"/>
            </a:schemeClr>
          </a:solidFill>
          <a:ln w="9525" cap="flat" cmpd="sng">
            <a:solidFill>
              <a:srgbClr val="9FC3EE"/>
            </a:solidFill>
            <a:prstDash val="solid"/>
            <a:miter lim="800000"/>
            <a:headEnd type="none" w="sm" len="sm"/>
            <a:tailEnd type="none" w="sm" len="sm"/>
          </a:ln>
        </p:spPr>
        <p:txBody>
          <a:bodyPr spcFirstLastPara="1" wrap="square" lIns="91433" tIns="45700" rIns="91433" bIns="45700" anchor="ctr" anchorCtr="0">
            <a:noAutofit/>
          </a:bodyPr>
          <a:lstStyle/>
          <a:p>
            <a:pPr algn="ctr" defTabSz="1219170">
              <a:buClr>
                <a:srgbClr val="000000"/>
              </a:buClr>
            </a:pPr>
            <a:endParaRPr sz="1867" kern="0">
              <a:solidFill>
                <a:srgbClr val="FFFFFF"/>
              </a:solidFill>
              <a:latin typeface="Calibri"/>
              <a:ea typeface="Calibri"/>
              <a:cs typeface="Calibri"/>
              <a:sym typeface="Calibri"/>
            </a:endParaRPr>
          </a:p>
        </p:txBody>
      </p:sp>
      <p:pic>
        <p:nvPicPr>
          <p:cNvPr id="487" name="Google Shape;487;p75" descr="Graphical user interface&#10;&#10;Description automatically generated"/>
          <p:cNvPicPr preferRelativeResize="0"/>
          <p:nvPr/>
        </p:nvPicPr>
        <p:blipFill rotWithShape="1">
          <a:blip r:embed="rId3">
            <a:alphaModFix/>
          </a:blip>
          <a:srcRect l="12" b="256"/>
          <a:stretch/>
        </p:blipFill>
        <p:spPr>
          <a:xfrm>
            <a:off x="5033425" y="1792437"/>
            <a:ext cx="6494657" cy="3644321"/>
          </a:xfrm>
          <a:custGeom>
            <a:avLst/>
            <a:gdLst/>
            <a:ahLst/>
            <a:cxnLst/>
            <a:rect l="l" t="t" r="r" b="b"/>
            <a:pathLst>
              <a:path w="6494658" h="3644321" extrusionOk="0">
                <a:moveTo>
                  <a:pt x="127304" y="0"/>
                </a:moveTo>
                <a:lnTo>
                  <a:pt x="6368124" y="0"/>
                </a:lnTo>
                <a:lnTo>
                  <a:pt x="6384121" y="4966"/>
                </a:lnTo>
                <a:cubicBezTo>
                  <a:pt x="6427728" y="23410"/>
                  <a:pt x="6462662" y="58344"/>
                  <a:pt x="6481106" y="101951"/>
                </a:cubicBezTo>
                <a:lnTo>
                  <a:pt x="6494658" y="169075"/>
                </a:lnTo>
                <a:lnTo>
                  <a:pt x="6494658" y="3465890"/>
                </a:lnTo>
                <a:lnTo>
                  <a:pt x="6481106" y="3533014"/>
                </a:lnTo>
                <a:cubicBezTo>
                  <a:pt x="6453440" y="3598425"/>
                  <a:pt x="6388671" y="3644321"/>
                  <a:pt x="6313183" y="3644321"/>
                </a:cubicBezTo>
                <a:lnTo>
                  <a:pt x="182245" y="3644321"/>
                </a:lnTo>
                <a:cubicBezTo>
                  <a:pt x="81594" y="3644321"/>
                  <a:pt x="0" y="3562727"/>
                  <a:pt x="0" y="3462076"/>
                </a:cubicBezTo>
                <a:lnTo>
                  <a:pt x="0" y="172889"/>
                </a:lnTo>
                <a:cubicBezTo>
                  <a:pt x="0" y="97401"/>
                  <a:pt x="45897" y="32632"/>
                  <a:pt x="111307" y="4966"/>
                </a:cubicBezTo>
                <a:close/>
              </a:path>
            </a:pathLst>
          </a:custGeom>
          <a:noFill/>
          <a:ln>
            <a:noFill/>
          </a:ln>
        </p:spPr>
      </p:pic>
      <p:pic>
        <p:nvPicPr>
          <p:cNvPr id="488" name="Google Shape;488;p75" descr="Timeline&#10;&#10;Description automatically generated"/>
          <p:cNvPicPr preferRelativeResize="0"/>
          <p:nvPr/>
        </p:nvPicPr>
        <p:blipFill rotWithShape="1">
          <a:blip r:embed="rId4">
            <a:alphaModFix/>
          </a:blip>
          <a:srcRect/>
          <a:stretch/>
        </p:blipFill>
        <p:spPr>
          <a:xfrm>
            <a:off x="525084" y="3492025"/>
            <a:ext cx="3457305" cy="1944732"/>
          </a:xfrm>
          <a:custGeom>
            <a:avLst/>
            <a:gdLst/>
            <a:ahLst/>
            <a:cxnLst/>
            <a:rect l="l" t="t" r="r" b="b"/>
            <a:pathLst>
              <a:path w="3457305" h="1944732" extrusionOk="0">
                <a:moveTo>
                  <a:pt x="125999" y="0"/>
                </a:moveTo>
                <a:lnTo>
                  <a:pt x="3331306" y="0"/>
                </a:lnTo>
                <a:cubicBezTo>
                  <a:pt x="3400893" y="0"/>
                  <a:pt x="3457305" y="56412"/>
                  <a:pt x="3457305" y="125999"/>
                </a:cubicBezTo>
                <a:lnTo>
                  <a:pt x="3457305" y="1818735"/>
                </a:lnTo>
                <a:cubicBezTo>
                  <a:pt x="3457305" y="1870926"/>
                  <a:pt x="3425573" y="1915705"/>
                  <a:pt x="3380350" y="1934833"/>
                </a:cubicBezTo>
                <a:lnTo>
                  <a:pt x="3331316" y="1944732"/>
                </a:lnTo>
                <a:lnTo>
                  <a:pt x="125989" y="1944732"/>
                </a:lnTo>
                <a:lnTo>
                  <a:pt x="76955" y="1934833"/>
                </a:lnTo>
                <a:cubicBezTo>
                  <a:pt x="31732" y="1915705"/>
                  <a:pt x="0" y="1870926"/>
                  <a:pt x="0" y="1818735"/>
                </a:cubicBezTo>
                <a:lnTo>
                  <a:pt x="0" y="125999"/>
                </a:lnTo>
                <a:cubicBezTo>
                  <a:pt x="0" y="56412"/>
                  <a:pt x="56412" y="0"/>
                  <a:pt x="125999" y="0"/>
                </a:cubicBezTo>
                <a:close/>
              </a:path>
            </a:pathLst>
          </a:custGeom>
          <a:noFill/>
          <a:ln>
            <a:noFill/>
          </a:ln>
        </p:spPr>
      </p:pic>
      <p:sp>
        <p:nvSpPr>
          <p:cNvPr id="489" name="Google Shape;489;p75"/>
          <p:cNvSpPr txBox="1"/>
          <p:nvPr/>
        </p:nvSpPr>
        <p:spPr>
          <a:xfrm>
            <a:off x="1311980" y="518160"/>
            <a:ext cx="9568041" cy="615553"/>
          </a:xfrm>
          <a:prstGeom prst="rect">
            <a:avLst/>
          </a:prstGeom>
          <a:noFill/>
          <a:ln>
            <a:noFill/>
          </a:ln>
        </p:spPr>
        <p:txBody>
          <a:bodyPr spcFirstLastPara="1" wrap="square" lIns="0" tIns="0" rIns="0" bIns="0" anchor="t" anchorCtr="0">
            <a:spAutoFit/>
          </a:bodyPr>
          <a:lstStyle/>
          <a:p>
            <a:pPr algn="ctr" defTabSz="1219170">
              <a:buClr>
                <a:srgbClr val="000000"/>
              </a:buClr>
            </a:pPr>
            <a:r>
              <a:rPr lang="en" sz="4000" b="1" kern="0">
                <a:solidFill>
                  <a:srgbClr val="1E2860"/>
                </a:solidFill>
                <a:latin typeface="Inter"/>
                <a:ea typeface="Inter"/>
                <a:cs typeface="Inter"/>
                <a:sym typeface="Inter"/>
              </a:rPr>
              <a:t>We Take Your Slides To New Heights</a:t>
            </a:r>
            <a:endParaRPr sz="1467" kern="0">
              <a:solidFill>
                <a:srgbClr val="000000"/>
              </a:solidFill>
              <a:latin typeface="Arial"/>
              <a:cs typeface="Arial"/>
              <a:sym typeface="Arial"/>
            </a:endParaRPr>
          </a:p>
        </p:txBody>
      </p:sp>
      <p:pic>
        <p:nvPicPr>
          <p:cNvPr id="490" name="Google Shape;490;p75"/>
          <p:cNvPicPr preferRelativeResize="0"/>
          <p:nvPr/>
        </p:nvPicPr>
        <p:blipFill rotWithShape="1">
          <a:blip r:embed="rId5">
            <a:alphaModFix/>
          </a:blip>
          <a:srcRect/>
          <a:stretch/>
        </p:blipFill>
        <p:spPr>
          <a:xfrm rot="1372863">
            <a:off x="3127247" y="2366527"/>
            <a:ext cx="1156091" cy="1142435"/>
          </a:xfrm>
          <a:prstGeom prst="rect">
            <a:avLst/>
          </a:prstGeom>
          <a:noFill/>
          <a:ln>
            <a:noFill/>
          </a:ln>
        </p:spPr>
      </p:pic>
      <p:grpSp>
        <p:nvGrpSpPr>
          <p:cNvPr id="491" name="Google Shape;491;p75"/>
          <p:cNvGrpSpPr/>
          <p:nvPr/>
        </p:nvGrpSpPr>
        <p:grpSpPr>
          <a:xfrm>
            <a:off x="2214490" y="5996886"/>
            <a:ext cx="8372575" cy="471975"/>
            <a:chOff x="3443241" y="6139740"/>
            <a:chExt cx="8372575" cy="471975"/>
          </a:xfrm>
        </p:grpSpPr>
        <p:sp>
          <p:nvSpPr>
            <p:cNvPr id="492" name="Google Shape;492;p75">
              <a:hlinkClick r:id="rId6"/>
            </p:cNvPr>
            <p:cNvSpPr/>
            <p:nvPr/>
          </p:nvSpPr>
          <p:spPr>
            <a:xfrm>
              <a:off x="4402041" y="6151151"/>
              <a:ext cx="4077900" cy="389400"/>
            </a:xfrm>
            <a:prstGeom prst="roundRect">
              <a:avLst>
                <a:gd name="adj" fmla="val 50000"/>
              </a:avLst>
            </a:prstGeom>
            <a:solidFill>
              <a:srgbClr val="3EBF8A"/>
            </a:solidFill>
            <a:ln>
              <a:noFill/>
            </a:ln>
            <a:effectLst>
              <a:outerShdw blurRad="127000" dist="63500" dir="5400000" algn="t" rotWithShape="0">
                <a:srgbClr val="000000">
                  <a:alpha val="14900"/>
                </a:srgbClr>
              </a:outerShdw>
            </a:effectLst>
          </p:spPr>
          <p:txBody>
            <a:bodyPr spcFirstLastPara="1" wrap="square" lIns="68567" tIns="34267" rIns="68567" bIns="34267" anchor="ctr" anchorCtr="0">
              <a:noAutofit/>
            </a:bodyPr>
            <a:lstStyle/>
            <a:p>
              <a:pPr algn="ctr" defTabSz="1219170">
                <a:buClr>
                  <a:srgbClr val="FFFFFF"/>
                </a:buClr>
                <a:buSzPts val="1100"/>
              </a:pPr>
              <a:r>
                <a:rPr lang="en" sz="1867" b="1" kern="0" dirty="0">
                  <a:solidFill>
                    <a:srgbClr val="FFFFFF"/>
                  </a:solidFill>
                  <a:latin typeface="Inter"/>
                  <a:ea typeface="Inter"/>
                  <a:cs typeface="Inter"/>
                  <a:sym typeface="Inter"/>
                </a:rPr>
                <a:t>24slides.com/MORE-EXAMPLES</a:t>
              </a:r>
              <a:endParaRPr sz="1067" kern="0" dirty="0">
                <a:solidFill>
                  <a:srgbClr val="FFFFFF"/>
                </a:solidFill>
                <a:latin typeface="Inter"/>
                <a:ea typeface="Inter"/>
                <a:cs typeface="Inter"/>
                <a:sym typeface="Inter"/>
              </a:endParaRPr>
            </a:p>
          </p:txBody>
        </p:sp>
        <p:sp>
          <p:nvSpPr>
            <p:cNvPr id="493" name="Google Shape;493;p75"/>
            <p:cNvSpPr txBox="1"/>
            <p:nvPr/>
          </p:nvSpPr>
          <p:spPr>
            <a:xfrm>
              <a:off x="8299516" y="6139740"/>
              <a:ext cx="3516300" cy="471975"/>
            </a:xfrm>
            <a:prstGeom prst="rect">
              <a:avLst/>
            </a:prstGeom>
            <a:noFill/>
            <a:ln>
              <a:noFill/>
            </a:ln>
          </p:spPr>
          <p:txBody>
            <a:bodyPr spcFirstLastPara="1" wrap="square" lIns="91433" tIns="91433" rIns="91433" bIns="91433" anchor="t" anchorCtr="0">
              <a:spAutoFit/>
            </a:bodyPr>
            <a:lstStyle/>
            <a:p>
              <a:pPr defTabSz="1219170">
                <a:buClr>
                  <a:srgbClr val="FFFFFF"/>
                </a:buClr>
                <a:buSzPts val="1400"/>
              </a:pPr>
              <a:r>
                <a:rPr lang="en" sz="1867" b="1" kern="0">
                  <a:solidFill>
                    <a:srgbClr val="FFFFFF"/>
                  </a:solidFill>
                  <a:latin typeface="Inter"/>
                  <a:ea typeface="Inter"/>
                  <a:cs typeface="Inter"/>
                  <a:sym typeface="Inter"/>
                </a:rPr>
                <a:t>   AND SEE FOR YOURSELF!</a:t>
              </a:r>
              <a:endParaRPr sz="1867" b="1" kern="0">
                <a:solidFill>
                  <a:srgbClr val="FFFFFF"/>
                </a:solidFill>
                <a:latin typeface="Inter"/>
                <a:ea typeface="Inter"/>
                <a:cs typeface="Inter"/>
                <a:sym typeface="Inter"/>
              </a:endParaRPr>
            </a:p>
          </p:txBody>
        </p:sp>
        <p:sp>
          <p:nvSpPr>
            <p:cNvPr id="494" name="Google Shape;494;p75"/>
            <p:cNvSpPr txBox="1"/>
            <p:nvPr/>
          </p:nvSpPr>
          <p:spPr>
            <a:xfrm>
              <a:off x="3443241" y="6139740"/>
              <a:ext cx="958800" cy="471975"/>
            </a:xfrm>
            <a:prstGeom prst="rect">
              <a:avLst/>
            </a:prstGeom>
            <a:noFill/>
            <a:ln>
              <a:noFill/>
            </a:ln>
          </p:spPr>
          <p:txBody>
            <a:bodyPr spcFirstLastPara="1" wrap="square" lIns="91433" tIns="91433" rIns="91433" bIns="91433" anchor="t" anchorCtr="0">
              <a:spAutoFit/>
            </a:bodyPr>
            <a:lstStyle/>
            <a:p>
              <a:pPr defTabSz="1219170">
                <a:buClr>
                  <a:srgbClr val="FFFFFF"/>
                </a:buClr>
                <a:buSzPts val="1400"/>
              </a:pPr>
              <a:r>
                <a:rPr lang="en" sz="1867" b="1" kern="0">
                  <a:solidFill>
                    <a:srgbClr val="FFFFFF"/>
                  </a:solidFill>
                  <a:latin typeface="Inter"/>
                  <a:ea typeface="Inter"/>
                  <a:cs typeface="Inter"/>
                  <a:sym typeface="Inter"/>
                </a:rPr>
                <a:t>GO TO</a:t>
              </a:r>
              <a:endParaRPr sz="1867" b="1" kern="0">
                <a:solidFill>
                  <a:srgbClr val="FFFFFF"/>
                </a:solidFill>
                <a:latin typeface="Inter"/>
                <a:ea typeface="Inter"/>
                <a:cs typeface="Inter"/>
                <a:sym typeface="Inter"/>
              </a:endParaRPr>
            </a:p>
          </p:txBody>
        </p:sp>
        <p:sp>
          <p:nvSpPr>
            <p:cNvPr id="12" name="Google Shape;492;p75">
              <a:hlinkClick r:id="rId6"/>
              <a:extLst>
                <a:ext uri="{FF2B5EF4-FFF2-40B4-BE49-F238E27FC236}">
                  <a16:creationId xmlns:a16="http://schemas.microsoft.com/office/drawing/2014/main" id="{FF1C2723-8E7B-FB4C-52B5-78209C2A587D}"/>
                </a:ext>
              </a:extLst>
            </p:cNvPr>
            <p:cNvSpPr/>
            <p:nvPr/>
          </p:nvSpPr>
          <p:spPr>
            <a:xfrm>
              <a:off x="4402041" y="6142328"/>
              <a:ext cx="4077900" cy="389400"/>
            </a:xfrm>
            <a:prstGeom prst="roundRect">
              <a:avLst>
                <a:gd name="adj" fmla="val 50000"/>
              </a:avLst>
            </a:prstGeom>
            <a:solidFill>
              <a:srgbClr val="3EBF8A"/>
            </a:solidFill>
            <a:ln>
              <a:noFill/>
            </a:ln>
            <a:effectLst>
              <a:outerShdw blurRad="127000" dist="63500" dir="5400000" algn="t" rotWithShape="0">
                <a:srgbClr val="000000">
                  <a:alpha val="14900"/>
                </a:srgbClr>
              </a:outerShdw>
            </a:effectLst>
          </p:spPr>
          <p:txBody>
            <a:bodyPr spcFirstLastPara="1" wrap="square" lIns="68567" tIns="34267" rIns="68567" bIns="34267" anchor="ctr" anchorCtr="0">
              <a:noAutofit/>
            </a:bodyPr>
            <a:lstStyle/>
            <a:p>
              <a:pPr algn="ctr" defTabSz="1219170">
                <a:buClr>
                  <a:srgbClr val="FFFFFF"/>
                </a:buClr>
                <a:buSzPts val="1100"/>
              </a:pPr>
              <a:r>
                <a:rPr lang="en" sz="1867" b="1" kern="0" dirty="0">
                  <a:solidFill>
                    <a:srgbClr val="FFFFFF"/>
                  </a:solidFill>
                  <a:latin typeface="Inter"/>
                  <a:ea typeface="Inter"/>
                  <a:cs typeface="Inter"/>
                  <a:sym typeface="Inter"/>
                </a:rPr>
                <a:t>24slides.com/MORE-EXAMPLES</a:t>
              </a:r>
              <a:endParaRPr sz="1067" kern="0" dirty="0">
                <a:solidFill>
                  <a:srgbClr val="FFFFFF"/>
                </a:solidFill>
                <a:latin typeface="Inter"/>
                <a:ea typeface="Inter"/>
                <a:cs typeface="Inter"/>
                <a:sym typeface="Inter"/>
              </a:endParaRPr>
            </a:p>
          </p:txBody>
        </p:sp>
      </p:grpSp>
    </p:spTree>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bg>
      <p:bgPr>
        <a:solidFill>
          <a:srgbClr val="0E2A47"/>
        </a:solidFill>
        <a:effectLst/>
      </p:bgPr>
    </p:bg>
    <p:spTree>
      <p:nvGrpSpPr>
        <p:cNvPr id="1" name="Shape 10249"/>
        <p:cNvGrpSpPr/>
        <p:nvPr/>
      </p:nvGrpSpPr>
      <p:grpSpPr>
        <a:xfrm>
          <a:off x="0" y="0"/>
          <a:ext cx="0" cy="0"/>
          <a:chOff x="0" y="0"/>
          <a:chExt cx="0" cy="0"/>
        </a:xfrm>
      </p:grpSpPr>
      <p:sp>
        <p:nvSpPr>
          <p:cNvPr id="10250" name="Google Shape;10250;p112"/>
          <p:cNvSpPr txBox="1">
            <a:spLocks noGrp="1"/>
          </p:cNvSpPr>
          <p:nvPr>
            <p:ph type="title" idx="4294967295"/>
          </p:nvPr>
        </p:nvSpPr>
        <p:spPr>
          <a:xfrm>
            <a:off x="1132900" y="1258400"/>
            <a:ext cx="4642800" cy="643200"/>
          </a:xfrm>
          <a:prstGeom prst="rect">
            <a:avLst/>
          </a:prstGeom>
        </p:spPr>
        <p:txBody>
          <a:bodyPr spcFirstLastPara="1" wrap="square" lIns="121900" tIns="121900" rIns="121900" bIns="121900" anchor="t" anchorCtr="0">
            <a:noAutofit/>
          </a:bodyPr>
          <a:lstStyle/>
          <a:p>
            <a:pPr>
              <a:buClr>
                <a:srgbClr val="000000"/>
              </a:buClr>
              <a:buSzPts val="1100"/>
            </a:pPr>
            <a:r>
              <a:rPr lang="en">
                <a:solidFill>
                  <a:schemeClr val="lt1"/>
                </a:solidFill>
                <a:latin typeface="Arial"/>
                <a:ea typeface="Arial"/>
                <a:cs typeface="Arial"/>
                <a:sym typeface="Arial"/>
              </a:rPr>
              <a:t>Help &amp; Support </a:t>
            </a:r>
            <a:r>
              <a:rPr lang="en">
                <a:latin typeface="Arial"/>
                <a:ea typeface="Arial"/>
                <a:cs typeface="Arial"/>
                <a:sym typeface="Arial"/>
              </a:rPr>
              <a:t>I</a:t>
            </a:r>
            <a:r>
              <a:rPr lang="en">
                <a:solidFill>
                  <a:srgbClr val="FFFFFF"/>
                </a:solidFill>
                <a:latin typeface="Arial"/>
                <a:ea typeface="Arial"/>
                <a:cs typeface="Arial"/>
                <a:sym typeface="Arial"/>
              </a:rPr>
              <a:t>cons</a:t>
            </a:r>
            <a:endParaRPr>
              <a:solidFill>
                <a:srgbClr val="FFFFFF"/>
              </a:solidFill>
              <a:latin typeface="Arial"/>
              <a:ea typeface="Arial"/>
              <a:cs typeface="Arial"/>
              <a:sym typeface="Arial"/>
            </a:endParaRPr>
          </a:p>
        </p:txBody>
      </p:sp>
      <p:sp>
        <p:nvSpPr>
          <p:cNvPr id="10251" name="Google Shape;10251;p112"/>
          <p:cNvSpPr txBox="1">
            <a:spLocks noGrp="1"/>
          </p:cNvSpPr>
          <p:nvPr>
            <p:ph type="title" idx="4294967295"/>
          </p:nvPr>
        </p:nvSpPr>
        <p:spPr>
          <a:xfrm>
            <a:off x="6477867" y="1258400"/>
            <a:ext cx="4642800" cy="643200"/>
          </a:xfrm>
          <a:prstGeom prst="rect">
            <a:avLst/>
          </a:prstGeom>
        </p:spPr>
        <p:txBody>
          <a:bodyPr spcFirstLastPara="1" wrap="square" lIns="121900" tIns="121900" rIns="121900" bIns="121900" anchor="t" anchorCtr="0">
            <a:noAutofit/>
          </a:bodyPr>
          <a:lstStyle/>
          <a:p>
            <a:pPr>
              <a:buClr>
                <a:srgbClr val="000000"/>
              </a:buClr>
              <a:buSzPts val="1100"/>
            </a:pPr>
            <a:r>
              <a:rPr lang="en">
                <a:latin typeface="Arial"/>
                <a:ea typeface="Arial"/>
                <a:cs typeface="Arial"/>
                <a:sym typeface="Arial"/>
              </a:rPr>
              <a:t>Avatar Icons</a:t>
            </a:r>
            <a:endParaRPr>
              <a:solidFill>
                <a:srgbClr val="FFFFFF"/>
              </a:solidFill>
              <a:latin typeface="Arial"/>
              <a:ea typeface="Arial"/>
              <a:cs typeface="Arial"/>
              <a:sym typeface="Arial"/>
            </a:endParaRPr>
          </a:p>
        </p:txBody>
      </p:sp>
      <p:grpSp>
        <p:nvGrpSpPr>
          <p:cNvPr id="10252" name="Google Shape;10252;p112"/>
          <p:cNvGrpSpPr/>
          <p:nvPr/>
        </p:nvGrpSpPr>
        <p:grpSpPr>
          <a:xfrm>
            <a:off x="1177276" y="2045934"/>
            <a:ext cx="389923" cy="474321"/>
            <a:chOff x="-35830350" y="1912725"/>
            <a:chExt cx="241050" cy="293225"/>
          </a:xfrm>
        </p:grpSpPr>
        <p:sp>
          <p:nvSpPr>
            <p:cNvPr id="10253" name="Google Shape;10253;p112"/>
            <p:cNvSpPr/>
            <p:nvPr/>
          </p:nvSpPr>
          <p:spPr>
            <a:xfrm>
              <a:off x="-35830350" y="1912725"/>
              <a:ext cx="241050" cy="293225"/>
            </a:xfrm>
            <a:custGeom>
              <a:avLst/>
              <a:gdLst/>
              <a:ahLst/>
              <a:cxnLst/>
              <a:rect l="l" t="t" r="r" b="b"/>
              <a:pathLst>
                <a:path w="9642" h="11729" extrusionOk="0">
                  <a:moveTo>
                    <a:pt x="8665" y="694"/>
                  </a:moveTo>
                  <a:cubicBezTo>
                    <a:pt x="8822" y="726"/>
                    <a:pt x="8980" y="883"/>
                    <a:pt x="8980" y="1041"/>
                  </a:cubicBezTo>
                  <a:lnTo>
                    <a:pt x="8980" y="7562"/>
                  </a:lnTo>
                  <a:lnTo>
                    <a:pt x="2836" y="7562"/>
                  </a:lnTo>
                  <a:lnTo>
                    <a:pt x="2836" y="694"/>
                  </a:lnTo>
                  <a:close/>
                  <a:moveTo>
                    <a:pt x="2175" y="726"/>
                  </a:moveTo>
                  <a:lnTo>
                    <a:pt x="2175" y="7625"/>
                  </a:lnTo>
                  <a:lnTo>
                    <a:pt x="1828" y="7625"/>
                  </a:lnTo>
                  <a:cubicBezTo>
                    <a:pt x="1450" y="7625"/>
                    <a:pt x="1072" y="7720"/>
                    <a:pt x="788" y="7972"/>
                  </a:cubicBezTo>
                  <a:lnTo>
                    <a:pt x="788" y="1797"/>
                  </a:lnTo>
                  <a:cubicBezTo>
                    <a:pt x="788" y="1198"/>
                    <a:pt x="1261" y="726"/>
                    <a:pt x="1828" y="726"/>
                  </a:cubicBezTo>
                  <a:close/>
                  <a:moveTo>
                    <a:pt x="8791" y="8287"/>
                  </a:moveTo>
                  <a:cubicBezTo>
                    <a:pt x="8696" y="8507"/>
                    <a:pt x="8665" y="8759"/>
                    <a:pt x="8633" y="8948"/>
                  </a:cubicBezTo>
                  <a:lnTo>
                    <a:pt x="1734" y="8948"/>
                  </a:lnTo>
                  <a:cubicBezTo>
                    <a:pt x="1545" y="8948"/>
                    <a:pt x="1387" y="9106"/>
                    <a:pt x="1387" y="9295"/>
                  </a:cubicBezTo>
                  <a:cubicBezTo>
                    <a:pt x="1387" y="9515"/>
                    <a:pt x="1545" y="9673"/>
                    <a:pt x="1734" y="9673"/>
                  </a:cubicBezTo>
                  <a:lnTo>
                    <a:pt x="4821" y="9673"/>
                  </a:lnTo>
                  <a:lnTo>
                    <a:pt x="4821" y="10335"/>
                  </a:lnTo>
                  <a:lnTo>
                    <a:pt x="1860" y="10335"/>
                  </a:lnTo>
                  <a:cubicBezTo>
                    <a:pt x="1293" y="10335"/>
                    <a:pt x="757" y="9925"/>
                    <a:pt x="757" y="9295"/>
                  </a:cubicBezTo>
                  <a:cubicBezTo>
                    <a:pt x="757" y="8728"/>
                    <a:pt x="1230" y="8287"/>
                    <a:pt x="1765" y="8287"/>
                  </a:cubicBezTo>
                  <a:close/>
                  <a:moveTo>
                    <a:pt x="8665" y="9673"/>
                  </a:moveTo>
                  <a:cubicBezTo>
                    <a:pt x="8696" y="9894"/>
                    <a:pt x="8759" y="10146"/>
                    <a:pt x="8822" y="10335"/>
                  </a:cubicBezTo>
                  <a:lnTo>
                    <a:pt x="7594" y="10335"/>
                  </a:lnTo>
                  <a:lnTo>
                    <a:pt x="7594" y="9673"/>
                  </a:lnTo>
                  <a:close/>
                  <a:moveTo>
                    <a:pt x="6900" y="9673"/>
                  </a:moveTo>
                  <a:lnTo>
                    <a:pt x="6900" y="10693"/>
                  </a:lnTo>
                  <a:lnTo>
                    <a:pt x="6428" y="10398"/>
                  </a:lnTo>
                  <a:cubicBezTo>
                    <a:pt x="6396" y="10366"/>
                    <a:pt x="6302" y="10366"/>
                    <a:pt x="6239" y="10366"/>
                  </a:cubicBezTo>
                  <a:cubicBezTo>
                    <a:pt x="6144" y="10366"/>
                    <a:pt x="6113" y="10366"/>
                    <a:pt x="6018" y="10398"/>
                  </a:cubicBezTo>
                  <a:lnTo>
                    <a:pt x="5514" y="10713"/>
                  </a:lnTo>
                  <a:lnTo>
                    <a:pt x="5514" y="9673"/>
                  </a:lnTo>
                  <a:close/>
                  <a:moveTo>
                    <a:pt x="1734" y="1"/>
                  </a:moveTo>
                  <a:cubicBezTo>
                    <a:pt x="1261" y="1"/>
                    <a:pt x="820" y="222"/>
                    <a:pt x="505" y="537"/>
                  </a:cubicBezTo>
                  <a:cubicBezTo>
                    <a:pt x="190" y="820"/>
                    <a:pt x="1" y="1261"/>
                    <a:pt x="1" y="1734"/>
                  </a:cubicBezTo>
                  <a:lnTo>
                    <a:pt x="1" y="9295"/>
                  </a:lnTo>
                  <a:cubicBezTo>
                    <a:pt x="95" y="10272"/>
                    <a:pt x="946" y="10996"/>
                    <a:pt x="1860" y="10996"/>
                  </a:cubicBezTo>
                  <a:lnTo>
                    <a:pt x="4853" y="10996"/>
                  </a:lnTo>
                  <a:lnTo>
                    <a:pt x="4853" y="11343"/>
                  </a:lnTo>
                  <a:cubicBezTo>
                    <a:pt x="4853" y="11469"/>
                    <a:pt x="4916" y="11595"/>
                    <a:pt x="5042" y="11658"/>
                  </a:cubicBezTo>
                  <a:cubicBezTo>
                    <a:pt x="5099" y="11700"/>
                    <a:pt x="5155" y="11717"/>
                    <a:pt x="5209" y="11717"/>
                  </a:cubicBezTo>
                  <a:cubicBezTo>
                    <a:pt x="5275" y="11717"/>
                    <a:pt x="5336" y="11692"/>
                    <a:pt x="5388" y="11658"/>
                  </a:cubicBezTo>
                  <a:lnTo>
                    <a:pt x="6239" y="11122"/>
                  </a:lnTo>
                  <a:lnTo>
                    <a:pt x="7058" y="11658"/>
                  </a:lnTo>
                  <a:cubicBezTo>
                    <a:pt x="7121" y="11705"/>
                    <a:pt x="7176" y="11729"/>
                    <a:pt x="7231" y="11729"/>
                  </a:cubicBezTo>
                  <a:cubicBezTo>
                    <a:pt x="7286" y="11729"/>
                    <a:pt x="7342" y="11705"/>
                    <a:pt x="7405" y="11658"/>
                  </a:cubicBezTo>
                  <a:cubicBezTo>
                    <a:pt x="7531" y="11595"/>
                    <a:pt x="7594" y="11500"/>
                    <a:pt x="7594" y="11343"/>
                  </a:cubicBezTo>
                  <a:lnTo>
                    <a:pt x="7594" y="10996"/>
                  </a:lnTo>
                  <a:lnTo>
                    <a:pt x="9295" y="10996"/>
                  </a:lnTo>
                  <a:cubicBezTo>
                    <a:pt x="9421" y="10996"/>
                    <a:pt x="9547" y="10933"/>
                    <a:pt x="9578" y="10839"/>
                  </a:cubicBezTo>
                  <a:cubicBezTo>
                    <a:pt x="9641" y="10713"/>
                    <a:pt x="9641" y="10618"/>
                    <a:pt x="9578" y="10524"/>
                  </a:cubicBezTo>
                  <a:cubicBezTo>
                    <a:pt x="9169" y="9767"/>
                    <a:pt x="9169" y="8885"/>
                    <a:pt x="9578" y="8098"/>
                  </a:cubicBezTo>
                  <a:cubicBezTo>
                    <a:pt x="9610" y="8035"/>
                    <a:pt x="9610" y="8003"/>
                    <a:pt x="9610" y="7909"/>
                  </a:cubicBezTo>
                  <a:lnTo>
                    <a:pt x="9610" y="1041"/>
                  </a:lnTo>
                  <a:cubicBezTo>
                    <a:pt x="9610" y="474"/>
                    <a:pt x="9137" y="1"/>
                    <a:pt x="8602"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254" name="Google Shape;10254;p112"/>
            <p:cNvSpPr/>
            <p:nvPr/>
          </p:nvSpPr>
          <p:spPr>
            <a:xfrm>
              <a:off x="-35742925" y="1965500"/>
              <a:ext cx="120550" cy="119750"/>
            </a:xfrm>
            <a:custGeom>
              <a:avLst/>
              <a:gdLst/>
              <a:ahLst/>
              <a:cxnLst/>
              <a:rect l="l" t="t" r="r" b="b"/>
              <a:pathLst>
                <a:path w="4822" h="4790" extrusionOk="0">
                  <a:moveTo>
                    <a:pt x="2364" y="694"/>
                  </a:moveTo>
                  <a:cubicBezTo>
                    <a:pt x="2773" y="694"/>
                    <a:pt x="3057" y="1009"/>
                    <a:pt x="3057" y="1356"/>
                  </a:cubicBezTo>
                  <a:cubicBezTo>
                    <a:pt x="3057" y="1765"/>
                    <a:pt x="2742" y="2049"/>
                    <a:pt x="2364" y="2049"/>
                  </a:cubicBezTo>
                  <a:cubicBezTo>
                    <a:pt x="2348" y="2050"/>
                    <a:pt x="2332" y="2051"/>
                    <a:pt x="2316" y="2051"/>
                  </a:cubicBezTo>
                  <a:cubicBezTo>
                    <a:pt x="1989" y="2051"/>
                    <a:pt x="1702" y="1746"/>
                    <a:pt x="1702" y="1356"/>
                  </a:cubicBezTo>
                  <a:cubicBezTo>
                    <a:pt x="1702" y="977"/>
                    <a:pt x="2017" y="694"/>
                    <a:pt x="2364" y="694"/>
                  </a:cubicBezTo>
                  <a:close/>
                  <a:moveTo>
                    <a:pt x="2427" y="2742"/>
                  </a:moveTo>
                  <a:cubicBezTo>
                    <a:pt x="3246" y="2742"/>
                    <a:pt x="3939" y="3340"/>
                    <a:pt x="4097" y="4128"/>
                  </a:cubicBezTo>
                  <a:lnTo>
                    <a:pt x="757" y="4128"/>
                  </a:lnTo>
                  <a:cubicBezTo>
                    <a:pt x="883" y="3340"/>
                    <a:pt x="1576" y="2742"/>
                    <a:pt x="2427" y="2742"/>
                  </a:cubicBezTo>
                  <a:close/>
                  <a:moveTo>
                    <a:pt x="2427" y="1"/>
                  </a:moveTo>
                  <a:cubicBezTo>
                    <a:pt x="1671" y="1"/>
                    <a:pt x="1041" y="599"/>
                    <a:pt x="1041" y="1356"/>
                  </a:cubicBezTo>
                  <a:cubicBezTo>
                    <a:pt x="1041" y="1734"/>
                    <a:pt x="1167" y="2049"/>
                    <a:pt x="1387" y="2269"/>
                  </a:cubicBezTo>
                  <a:cubicBezTo>
                    <a:pt x="568" y="2647"/>
                    <a:pt x="32" y="3498"/>
                    <a:pt x="32" y="4443"/>
                  </a:cubicBezTo>
                  <a:cubicBezTo>
                    <a:pt x="1" y="4632"/>
                    <a:pt x="158" y="4790"/>
                    <a:pt x="379" y="4790"/>
                  </a:cubicBezTo>
                  <a:lnTo>
                    <a:pt x="4475" y="4790"/>
                  </a:lnTo>
                  <a:cubicBezTo>
                    <a:pt x="4664" y="4790"/>
                    <a:pt x="4821" y="4632"/>
                    <a:pt x="4821" y="4443"/>
                  </a:cubicBezTo>
                  <a:cubicBezTo>
                    <a:pt x="4821" y="3498"/>
                    <a:pt x="4254" y="2647"/>
                    <a:pt x="3435" y="2269"/>
                  </a:cubicBezTo>
                  <a:cubicBezTo>
                    <a:pt x="3687" y="2049"/>
                    <a:pt x="3813" y="1702"/>
                    <a:pt x="3813" y="1356"/>
                  </a:cubicBezTo>
                  <a:cubicBezTo>
                    <a:pt x="3813" y="599"/>
                    <a:pt x="3183" y="1"/>
                    <a:pt x="2427"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10255" name="Google Shape;10255;p112"/>
          <p:cNvGrpSpPr/>
          <p:nvPr/>
        </p:nvGrpSpPr>
        <p:grpSpPr>
          <a:xfrm>
            <a:off x="1135259" y="2658732"/>
            <a:ext cx="473957" cy="471449"/>
            <a:chOff x="-35854750" y="2272675"/>
            <a:chExt cx="293000" cy="291450"/>
          </a:xfrm>
        </p:grpSpPr>
        <p:sp>
          <p:nvSpPr>
            <p:cNvPr id="10256" name="Google Shape;10256;p112"/>
            <p:cNvSpPr/>
            <p:nvPr/>
          </p:nvSpPr>
          <p:spPr>
            <a:xfrm>
              <a:off x="-35854750" y="2272675"/>
              <a:ext cx="293000" cy="291450"/>
            </a:xfrm>
            <a:custGeom>
              <a:avLst/>
              <a:gdLst/>
              <a:ahLst/>
              <a:cxnLst/>
              <a:rect l="l" t="t" r="r" b="b"/>
              <a:pathLst>
                <a:path w="11720" h="11658" extrusionOk="0">
                  <a:moveTo>
                    <a:pt x="5844" y="654"/>
                  </a:moveTo>
                  <a:cubicBezTo>
                    <a:pt x="6144" y="654"/>
                    <a:pt x="6443" y="773"/>
                    <a:pt x="6679" y="1009"/>
                  </a:cubicBezTo>
                  <a:lnTo>
                    <a:pt x="7057" y="1355"/>
                  </a:lnTo>
                  <a:lnTo>
                    <a:pt x="4600" y="1355"/>
                  </a:lnTo>
                  <a:lnTo>
                    <a:pt x="5009" y="1009"/>
                  </a:lnTo>
                  <a:cubicBezTo>
                    <a:pt x="5246" y="773"/>
                    <a:pt x="5545" y="654"/>
                    <a:pt x="5844" y="654"/>
                  </a:cubicBezTo>
                  <a:close/>
                  <a:moveTo>
                    <a:pt x="2080" y="3939"/>
                  </a:moveTo>
                  <a:lnTo>
                    <a:pt x="2080" y="6365"/>
                  </a:lnTo>
                  <a:lnTo>
                    <a:pt x="819" y="5136"/>
                  </a:lnTo>
                  <a:lnTo>
                    <a:pt x="2080" y="3939"/>
                  </a:lnTo>
                  <a:close/>
                  <a:moveTo>
                    <a:pt x="9609" y="3876"/>
                  </a:moveTo>
                  <a:lnTo>
                    <a:pt x="10869" y="5136"/>
                  </a:lnTo>
                  <a:lnTo>
                    <a:pt x="9609" y="6365"/>
                  </a:lnTo>
                  <a:lnTo>
                    <a:pt x="9609" y="3876"/>
                  </a:lnTo>
                  <a:close/>
                  <a:moveTo>
                    <a:pt x="8570" y="2080"/>
                  </a:moveTo>
                  <a:cubicBezTo>
                    <a:pt x="8790" y="2080"/>
                    <a:pt x="8948" y="2238"/>
                    <a:pt x="8948" y="2427"/>
                  </a:cubicBezTo>
                  <a:lnTo>
                    <a:pt x="8948" y="7089"/>
                  </a:lnTo>
                  <a:lnTo>
                    <a:pt x="8286" y="7751"/>
                  </a:lnTo>
                  <a:cubicBezTo>
                    <a:pt x="7593" y="7152"/>
                    <a:pt x="6774" y="6837"/>
                    <a:pt x="5860" y="6837"/>
                  </a:cubicBezTo>
                  <a:cubicBezTo>
                    <a:pt x="4978" y="6837"/>
                    <a:pt x="4127" y="7152"/>
                    <a:pt x="3466" y="7751"/>
                  </a:cubicBezTo>
                  <a:lnTo>
                    <a:pt x="2804" y="7089"/>
                  </a:lnTo>
                  <a:lnTo>
                    <a:pt x="2804" y="2427"/>
                  </a:lnTo>
                  <a:cubicBezTo>
                    <a:pt x="2804" y="2238"/>
                    <a:pt x="2962" y="2080"/>
                    <a:pt x="3119" y="2080"/>
                  </a:cubicBezTo>
                  <a:close/>
                  <a:moveTo>
                    <a:pt x="693" y="5987"/>
                  </a:moveTo>
                  <a:lnTo>
                    <a:pt x="2993" y="8223"/>
                  </a:lnTo>
                  <a:lnTo>
                    <a:pt x="693" y="10492"/>
                  </a:lnTo>
                  <a:lnTo>
                    <a:pt x="693" y="5987"/>
                  </a:lnTo>
                  <a:close/>
                  <a:moveTo>
                    <a:pt x="11027" y="5987"/>
                  </a:moveTo>
                  <a:lnTo>
                    <a:pt x="11027" y="10492"/>
                  </a:lnTo>
                  <a:lnTo>
                    <a:pt x="8727" y="8223"/>
                  </a:lnTo>
                  <a:lnTo>
                    <a:pt x="11027" y="5987"/>
                  </a:lnTo>
                  <a:close/>
                  <a:moveTo>
                    <a:pt x="5829" y="7499"/>
                  </a:moveTo>
                  <a:cubicBezTo>
                    <a:pt x="6616" y="7499"/>
                    <a:pt x="7309" y="7814"/>
                    <a:pt x="7876" y="8381"/>
                  </a:cubicBezTo>
                  <a:lnTo>
                    <a:pt x="10523" y="10964"/>
                  </a:lnTo>
                  <a:lnTo>
                    <a:pt x="1166" y="10964"/>
                  </a:lnTo>
                  <a:lnTo>
                    <a:pt x="3781" y="8381"/>
                  </a:lnTo>
                  <a:cubicBezTo>
                    <a:pt x="4316" y="7814"/>
                    <a:pt x="5041" y="7499"/>
                    <a:pt x="5829" y="7499"/>
                  </a:cubicBezTo>
                  <a:close/>
                  <a:moveTo>
                    <a:pt x="5864" y="1"/>
                  </a:moveTo>
                  <a:cubicBezTo>
                    <a:pt x="5380" y="1"/>
                    <a:pt x="4899" y="190"/>
                    <a:pt x="4537" y="568"/>
                  </a:cubicBezTo>
                  <a:lnTo>
                    <a:pt x="3655" y="1387"/>
                  </a:lnTo>
                  <a:lnTo>
                    <a:pt x="3119" y="1387"/>
                  </a:lnTo>
                  <a:cubicBezTo>
                    <a:pt x="2552" y="1387"/>
                    <a:pt x="2080" y="1859"/>
                    <a:pt x="2080" y="2427"/>
                  </a:cubicBezTo>
                  <a:lnTo>
                    <a:pt x="2080" y="2962"/>
                  </a:lnTo>
                  <a:lnTo>
                    <a:pt x="315" y="4726"/>
                  </a:lnTo>
                  <a:cubicBezTo>
                    <a:pt x="126" y="4915"/>
                    <a:pt x="0" y="5136"/>
                    <a:pt x="0" y="5420"/>
                  </a:cubicBezTo>
                  <a:lnTo>
                    <a:pt x="0" y="10618"/>
                  </a:lnTo>
                  <a:cubicBezTo>
                    <a:pt x="32" y="11216"/>
                    <a:pt x="473" y="11657"/>
                    <a:pt x="1071" y="11657"/>
                  </a:cubicBezTo>
                  <a:lnTo>
                    <a:pt x="10680" y="11657"/>
                  </a:lnTo>
                  <a:cubicBezTo>
                    <a:pt x="11216" y="11657"/>
                    <a:pt x="11720" y="11185"/>
                    <a:pt x="11720" y="10618"/>
                  </a:cubicBezTo>
                  <a:lnTo>
                    <a:pt x="11720" y="5420"/>
                  </a:lnTo>
                  <a:cubicBezTo>
                    <a:pt x="11720" y="5136"/>
                    <a:pt x="11626" y="4915"/>
                    <a:pt x="11405" y="4726"/>
                  </a:cubicBezTo>
                  <a:lnTo>
                    <a:pt x="9641" y="2962"/>
                  </a:lnTo>
                  <a:lnTo>
                    <a:pt x="9641" y="2427"/>
                  </a:lnTo>
                  <a:cubicBezTo>
                    <a:pt x="9641" y="1859"/>
                    <a:pt x="9168" y="1387"/>
                    <a:pt x="8633" y="1387"/>
                  </a:cubicBezTo>
                  <a:lnTo>
                    <a:pt x="8065" y="1387"/>
                  </a:lnTo>
                  <a:lnTo>
                    <a:pt x="7215" y="568"/>
                  </a:lnTo>
                  <a:cubicBezTo>
                    <a:pt x="6837" y="190"/>
                    <a:pt x="6348" y="1"/>
                    <a:pt x="5864"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257" name="Google Shape;10257;p112"/>
            <p:cNvSpPr/>
            <p:nvPr/>
          </p:nvSpPr>
          <p:spPr>
            <a:xfrm>
              <a:off x="-35733475" y="2340425"/>
              <a:ext cx="51225" cy="68550"/>
            </a:xfrm>
            <a:custGeom>
              <a:avLst/>
              <a:gdLst/>
              <a:ahLst/>
              <a:cxnLst/>
              <a:rect l="l" t="t" r="r" b="b"/>
              <a:pathLst>
                <a:path w="2049" h="2742" extrusionOk="0">
                  <a:moveTo>
                    <a:pt x="1009" y="0"/>
                  </a:moveTo>
                  <a:cubicBezTo>
                    <a:pt x="474" y="0"/>
                    <a:pt x="1" y="473"/>
                    <a:pt x="1" y="1008"/>
                  </a:cubicBezTo>
                  <a:cubicBezTo>
                    <a:pt x="1" y="1260"/>
                    <a:pt x="158" y="1418"/>
                    <a:pt x="316" y="1418"/>
                  </a:cubicBezTo>
                  <a:cubicBezTo>
                    <a:pt x="505" y="1418"/>
                    <a:pt x="663" y="1260"/>
                    <a:pt x="663" y="1040"/>
                  </a:cubicBezTo>
                  <a:cubicBezTo>
                    <a:pt x="663" y="851"/>
                    <a:pt x="820" y="693"/>
                    <a:pt x="1009" y="693"/>
                  </a:cubicBezTo>
                  <a:cubicBezTo>
                    <a:pt x="1198" y="693"/>
                    <a:pt x="1356" y="851"/>
                    <a:pt x="1356" y="1040"/>
                  </a:cubicBezTo>
                  <a:cubicBezTo>
                    <a:pt x="1356" y="1229"/>
                    <a:pt x="1293" y="1323"/>
                    <a:pt x="1135" y="1386"/>
                  </a:cubicBezTo>
                  <a:cubicBezTo>
                    <a:pt x="852" y="1449"/>
                    <a:pt x="663" y="1733"/>
                    <a:pt x="663" y="2016"/>
                  </a:cubicBezTo>
                  <a:lnTo>
                    <a:pt x="663" y="2394"/>
                  </a:lnTo>
                  <a:cubicBezTo>
                    <a:pt x="663" y="2583"/>
                    <a:pt x="820" y="2741"/>
                    <a:pt x="1009" y="2741"/>
                  </a:cubicBezTo>
                  <a:cubicBezTo>
                    <a:pt x="1230" y="2741"/>
                    <a:pt x="1387" y="2583"/>
                    <a:pt x="1387" y="2394"/>
                  </a:cubicBezTo>
                  <a:lnTo>
                    <a:pt x="1387" y="2016"/>
                  </a:lnTo>
                  <a:cubicBezTo>
                    <a:pt x="1765" y="1827"/>
                    <a:pt x="2049" y="1449"/>
                    <a:pt x="2049" y="1008"/>
                  </a:cubicBezTo>
                  <a:cubicBezTo>
                    <a:pt x="2049" y="473"/>
                    <a:pt x="1576" y="0"/>
                    <a:pt x="1009"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258" name="Google Shape;10258;p112"/>
            <p:cNvSpPr/>
            <p:nvPr/>
          </p:nvSpPr>
          <p:spPr>
            <a:xfrm>
              <a:off x="-35716925" y="2418400"/>
              <a:ext cx="17350" cy="17350"/>
            </a:xfrm>
            <a:custGeom>
              <a:avLst/>
              <a:gdLst/>
              <a:ahLst/>
              <a:cxnLst/>
              <a:rect l="l" t="t" r="r" b="b"/>
              <a:pathLst>
                <a:path w="694" h="694" extrusionOk="0">
                  <a:moveTo>
                    <a:pt x="347" y="0"/>
                  </a:moveTo>
                  <a:cubicBezTo>
                    <a:pt x="158" y="0"/>
                    <a:pt x="1" y="158"/>
                    <a:pt x="1" y="347"/>
                  </a:cubicBezTo>
                  <a:cubicBezTo>
                    <a:pt x="1" y="536"/>
                    <a:pt x="158" y="693"/>
                    <a:pt x="347" y="693"/>
                  </a:cubicBezTo>
                  <a:cubicBezTo>
                    <a:pt x="536" y="693"/>
                    <a:pt x="694" y="536"/>
                    <a:pt x="694" y="347"/>
                  </a:cubicBezTo>
                  <a:cubicBezTo>
                    <a:pt x="662" y="158"/>
                    <a:pt x="536" y="0"/>
                    <a:pt x="347"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10259" name="Google Shape;10259;p112"/>
          <p:cNvGrpSpPr/>
          <p:nvPr/>
        </p:nvGrpSpPr>
        <p:grpSpPr>
          <a:xfrm>
            <a:off x="1134611" y="3264845"/>
            <a:ext cx="475251" cy="472744"/>
            <a:chOff x="-35853975" y="2631825"/>
            <a:chExt cx="293800" cy="292250"/>
          </a:xfrm>
        </p:grpSpPr>
        <p:sp>
          <p:nvSpPr>
            <p:cNvPr id="10260" name="Google Shape;10260;p112"/>
            <p:cNvSpPr/>
            <p:nvPr/>
          </p:nvSpPr>
          <p:spPr>
            <a:xfrm>
              <a:off x="-35813025" y="2701825"/>
              <a:ext cx="201675" cy="171925"/>
            </a:xfrm>
            <a:custGeom>
              <a:avLst/>
              <a:gdLst/>
              <a:ahLst/>
              <a:cxnLst/>
              <a:rect l="l" t="t" r="r" b="b"/>
              <a:pathLst>
                <a:path w="8067" h="6877" extrusionOk="0">
                  <a:moveTo>
                    <a:pt x="1765" y="824"/>
                  </a:moveTo>
                  <a:lnTo>
                    <a:pt x="2868" y="1643"/>
                  </a:lnTo>
                  <a:lnTo>
                    <a:pt x="2238" y="2462"/>
                  </a:lnTo>
                  <a:cubicBezTo>
                    <a:pt x="2112" y="2620"/>
                    <a:pt x="2143" y="2840"/>
                    <a:pt x="2301" y="2935"/>
                  </a:cubicBezTo>
                  <a:lnTo>
                    <a:pt x="5042" y="4983"/>
                  </a:lnTo>
                  <a:cubicBezTo>
                    <a:pt x="5108" y="5035"/>
                    <a:pt x="5179" y="5060"/>
                    <a:pt x="5246" y="5060"/>
                  </a:cubicBezTo>
                  <a:cubicBezTo>
                    <a:pt x="5341" y="5060"/>
                    <a:pt x="5428" y="5011"/>
                    <a:pt x="5483" y="4920"/>
                  </a:cubicBezTo>
                  <a:lnTo>
                    <a:pt x="6113" y="4100"/>
                  </a:lnTo>
                  <a:lnTo>
                    <a:pt x="7247" y="4920"/>
                  </a:lnTo>
                  <a:lnTo>
                    <a:pt x="6554" y="5739"/>
                  </a:lnTo>
                  <a:cubicBezTo>
                    <a:pt x="6348" y="6001"/>
                    <a:pt x="6042" y="6152"/>
                    <a:pt x="5735" y="6152"/>
                  </a:cubicBezTo>
                  <a:cubicBezTo>
                    <a:pt x="5525" y="6152"/>
                    <a:pt x="5315" y="6081"/>
                    <a:pt x="5136" y="5928"/>
                  </a:cubicBezTo>
                  <a:lnTo>
                    <a:pt x="1324" y="3061"/>
                  </a:lnTo>
                  <a:cubicBezTo>
                    <a:pt x="883" y="2714"/>
                    <a:pt x="757" y="2084"/>
                    <a:pt x="1135" y="1643"/>
                  </a:cubicBezTo>
                  <a:lnTo>
                    <a:pt x="1765" y="824"/>
                  </a:lnTo>
                  <a:close/>
                  <a:moveTo>
                    <a:pt x="1647" y="1"/>
                  </a:moveTo>
                  <a:cubicBezTo>
                    <a:pt x="1540" y="1"/>
                    <a:pt x="1435" y="63"/>
                    <a:pt x="1356" y="162"/>
                  </a:cubicBezTo>
                  <a:lnTo>
                    <a:pt x="537" y="1265"/>
                  </a:lnTo>
                  <a:cubicBezTo>
                    <a:pt x="1" y="1990"/>
                    <a:pt x="95" y="3061"/>
                    <a:pt x="883" y="3659"/>
                  </a:cubicBezTo>
                  <a:lnTo>
                    <a:pt x="4727" y="6526"/>
                  </a:lnTo>
                  <a:cubicBezTo>
                    <a:pt x="5026" y="6760"/>
                    <a:pt x="5384" y="6876"/>
                    <a:pt x="5744" y="6876"/>
                  </a:cubicBezTo>
                  <a:cubicBezTo>
                    <a:pt x="6255" y="6876"/>
                    <a:pt x="6770" y="6642"/>
                    <a:pt x="7121" y="6180"/>
                  </a:cubicBezTo>
                  <a:lnTo>
                    <a:pt x="7940" y="5077"/>
                  </a:lnTo>
                  <a:cubicBezTo>
                    <a:pt x="8066" y="4888"/>
                    <a:pt x="8003" y="4668"/>
                    <a:pt x="7846" y="4573"/>
                  </a:cubicBezTo>
                  <a:lnTo>
                    <a:pt x="6207" y="3344"/>
                  </a:lnTo>
                  <a:cubicBezTo>
                    <a:pt x="6142" y="3292"/>
                    <a:pt x="6070" y="3267"/>
                    <a:pt x="6001" y="3267"/>
                  </a:cubicBezTo>
                  <a:cubicBezTo>
                    <a:pt x="5903" y="3267"/>
                    <a:pt x="5808" y="3316"/>
                    <a:pt x="5735" y="3407"/>
                  </a:cubicBezTo>
                  <a:lnTo>
                    <a:pt x="5105" y="4258"/>
                  </a:lnTo>
                  <a:lnTo>
                    <a:pt x="2931" y="2588"/>
                  </a:lnTo>
                  <a:lnTo>
                    <a:pt x="3561" y="1769"/>
                  </a:lnTo>
                  <a:cubicBezTo>
                    <a:pt x="3687" y="1612"/>
                    <a:pt x="3656" y="1423"/>
                    <a:pt x="3498" y="1297"/>
                  </a:cubicBezTo>
                  <a:lnTo>
                    <a:pt x="1828" y="68"/>
                  </a:lnTo>
                  <a:cubicBezTo>
                    <a:pt x="1770" y="22"/>
                    <a:pt x="1708" y="1"/>
                    <a:pt x="1647"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261" name="Google Shape;10261;p112"/>
            <p:cNvSpPr/>
            <p:nvPr/>
          </p:nvSpPr>
          <p:spPr>
            <a:xfrm>
              <a:off x="-35853975" y="2631825"/>
              <a:ext cx="293800" cy="292250"/>
            </a:xfrm>
            <a:custGeom>
              <a:avLst/>
              <a:gdLst/>
              <a:ahLst/>
              <a:cxnLst/>
              <a:rect l="l" t="t" r="r" b="b"/>
              <a:pathLst>
                <a:path w="11752" h="11690" extrusionOk="0">
                  <a:moveTo>
                    <a:pt x="5861" y="662"/>
                  </a:moveTo>
                  <a:cubicBezTo>
                    <a:pt x="8696" y="662"/>
                    <a:pt x="11027" y="2994"/>
                    <a:pt x="11027" y="5829"/>
                  </a:cubicBezTo>
                  <a:cubicBezTo>
                    <a:pt x="11027" y="6806"/>
                    <a:pt x="10744" y="7751"/>
                    <a:pt x="10240" y="8539"/>
                  </a:cubicBezTo>
                  <a:cubicBezTo>
                    <a:pt x="10177" y="8665"/>
                    <a:pt x="10114" y="8791"/>
                    <a:pt x="10177" y="8854"/>
                  </a:cubicBezTo>
                  <a:lnTo>
                    <a:pt x="10807" y="10776"/>
                  </a:lnTo>
                  <a:lnTo>
                    <a:pt x="8854" y="10145"/>
                  </a:lnTo>
                  <a:cubicBezTo>
                    <a:pt x="8837" y="10137"/>
                    <a:pt x="8815" y="10133"/>
                    <a:pt x="8792" y="10133"/>
                  </a:cubicBezTo>
                  <a:cubicBezTo>
                    <a:pt x="8728" y="10133"/>
                    <a:pt x="8648" y="10162"/>
                    <a:pt x="8602" y="10208"/>
                  </a:cubicBezTo>
                  <a:cubicBezTo>
                    <a:pt x="7751" y="10713"/>
                    <a:pt x="6806" y="10996"/>
                    <a:pt x="5861" y="10996"/>
                  </a:cubicBezTo>
                  <a:cubicBezTo>
                    <a:pt x="3025" y="10996"/>
                    <a:pt x="725" y="8665"/>
                    <a:pt x="725" y="5829"/>
                  </a:cubicBezTo>
                  <a:cubicBezTo>
                    <a:pt x="725" y="2994"/>
                    <a:pt x="3025" y="662"/>
                    <a:pt x="5861" y="662"/>
                  </a:cubicBezTo>
                  <a:close/>
                  <a:moveTo>
                    <a:pt x="5829" y="1"/>
                  </a:moveTo>
                  <a:cubicBezTo>
                    <a:pt x="2616" y="1"/>
                    <a:pt x="1" y="2647"/>
                    <a:pt x="1" y="5829"/>
                  </a:cubicBezTo>
                  <a:cubicBezTo>
                    <a:pt x="1" y="7373"/>
                    <a:pt x="599" y="8854"/>
                    <a:pt x="1733" y="9956"/>
                  </a:cubicBezTo>
                  <a:cubicBezTo>
                    <a:pt x="2836" y="11059"/>
                    <a:pt x="4285" y="11689"/>
                    <a:pt x="5861" y="11689"/>
                  </a:cubicBezTo>
                  <a:cubicBezTo>
                    <a:pt x="6900" y="11689"/>
                    <a:pt x="7908" y="11406"/>
                    <a:pt x="8822" y="10870"/>
                  </a:cubicBezTo>
                  <a:lnTo>
                    <a:pt x="11279" y="11658"/>
                  </a:lnTo>
                  <a:cubicBezTo>
                    <a:pt x="11303" y="11666"/>
                    <a:pt x="11331" y="11669"/>
                    <a:pt x="11360" y="11669"/>
                  </a:cubicBezTo>
                  <a:cubicBezTo>
                    <a:pt x="11449" y="11669"/>
                    <a:pt x="11555" y="11634"/>
                    <a:pt x="11626" y="11563"/>
                  </a:cubicBezTo>
                  <a:cubicBezTo>
                    <a:pt x="11689" y="11500"/>
                    <a:pt x="11752" y="11343"/>
                    <a:pt x="11689" y="11217"/>
                  </a:cubicBezTo>
                  <a:lnTo>
                    <a:pt x="10901" y="8791"/>
                  </a:lnTo>
                  <a:cubicBezTo>
                    <a:pt x="11469" y="7877"/>
                    <a:pt x="11752" y="6837"/>
                    <a:pt x="11752" y="5829"/>
                  </a:cubicBezTo>
                  <a:cubicBezTo>
                    <a:pt x="11689" y="2647"/>
                    <a:pt x="9074" y="1"/>
                    <a:pt x="5829"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262" name="Google Shape;10262;p112"/>
            <p:cNvSpPr/>
            <p:nvPr/>
          </p:nvSpPr>
          <p:spPr>
            <a:xfrm>
              <a:off x="-35715350" y="2735025"/>
              <a:ext cx="49650" cy="40675"/>
            </a:xfrm>
            <a:custGeom>
              <a:avLst/>
              <a:gdLst/>
              <a:ahLst/>
              <a:cxnLst/>
              <a:rect l="l" t="t" r="r" b="b"/>
              <a:pathLst>
                <a:path w="1986" h="1627" extrusionOk="0">
                  <a:moveTo>
                    <a:pt x="410" y="0"/>
                  </a:moveTo>
                  <a:cubicBezTo>
                    <a:pt x="221" y="0"/>
                    <a:pt x="64" y="126"/>
                    <a:pt x="64" y="315"/>
                  </a:cubicBezTo>
                  <a:cubicBezTo>
                    <a:pt x="1" y="504"/>
                    <a:pt x="158" y="662"/>
                    <a:pt x="379" y="662"/>
                  </a:cubicBezTo>
                  <a:cubicBezTo>
                    <a:pt x="788" y="725"/>
                    <a:pt x="1166" y="977"/>
                    <a:pt x="1261" y="1386"/>
                  </a:cubicBezTo>
                  <a:cubicBezTo>
                    <a:pt x="1311" y="1536"/>
                    <a:pt x="1439" y="1626"/>
                    <a:pt x="1585" y="1626"/>
                  </a:cubicBezTo>
                  <a:cubicBezTo>
                    <a:pt x="1623" y="1626"/>
                    <a:pt x="1662" y="1620"/>
                    <a:pt x="1702" y="1607"/>
                  </a:cubicBezTo>
                  <a:cubicBezTo>
                    <a:pt x="1891" y="1575"/>
                    <a:pt x="1985" y="1386"/>
                    <a:pt x="1954" y="1197"/>
                  </a:cubicBezTo>
                  <a:cubicBezTo>
                    <a:pt x="1733" y="504"/>
                    <a:pt x="1103" y="32"/>
                    <a:pt x="410"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263" name="Google Shape;10263;p112"/>
            <p:cNvSpPr/>
            <p:nvPr/>
          </p:nvSpPr>
          <p:spPr>
            <a:xfrm>
              <a:off x="-35705900" y="2667275"/>
              <a:ext cx="107925" cy="101750"/>
            </a:xfrm>
            <a:custGeom>
              <a:avLst/>
              <a:gdLst/>
              <a:ahLst/>
              <a:cxnLst/>
              <a:rect l="l" t="t" r="r" b="b"/>
              <a:pathLst>
                <a:path w="4317" h="4070" extrusionOk="0">
                  <a:moveTo>
                    <a:pt x="347" y="1"/>
                  </a:moveTo>
                  <a:cubicBezTo>
                    <a:pt x="158" y="1"/>
                    <a:pt x="1" y="127"/>
                    <a:pt x="1" y="316"/>
                  </a:cubicBezTo>
                  <a:cubicBezTo>
                    <a:pt x="1" y="505"/>
                    <a:pt x="95" y="662"/>
                    <a:pt x="316" y="662"/>
                  </a:cubicBezTo>
                  <a:cubicBezTo>
                    <a:pt x="2048" y="820"/>
                    <a:pt x="3372" y="2111"/>
                    <a:pt x="3655" y="3781"/>
                  </a:cubicBezTo>
                  <a:cubicBezTo>
                    <a:pt x="3683" y="3951"/>
                    <a:pt x="3813" y="4070"/>
                    <a:pt x="3976" y="4070"/>
                  </a:cubicBezTo>
                  <a:cubicBezTo>
                    <a:pt x="3995" y="4070"/>
                    <a:pt x="4014" y="4068"/>
                    <a:pt x="4033" y="4065"/>
                  </a:cubicBezTo>
                  <a:cubicBezTo>
                    <a:pt x="4191" y="4065"/>
                    <a:pt x="4317" y="3844"/>
                    <a:pt x="4317" y="3687"/>
                  </a:cubicBezTo>
                  <a:cubicBezTo>
                    <a:pt x="4002" y="1733"/>
                    <a:pt x="2364" y="190"/>
                    <a:pt x="347"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264" name="Google Shape;10264;p112"/>
            <p:cNvSpPr/>
            <p:nvPr/>
          </p:nvSpPr>
          <p:spPr>
            <a:xfrm>
              <a:off x="-35709825" y="2700350"/>
              <a:ext cx="77200" cy="68700"/>
            </a:xfrm>
            <a:custGeom>
              <a:avLst/>
              <a:gdLst/>
              <a:ahLst/>
              <a:cxnLst/>
              <a:rect l="l" t="t" r="r" b="b"/>
              <a:pathLst>
                <a:path w="3088" h="2748" extrusionOk="0">
                  <a:moveTo>
                    <a:pt x="347" y="1"/>
                  </a:moveTo>
                  <a:cubicBezTo>
                    <a:pt x="158" y="1"/>
                    <a:pt x="0" y="127"/>
                    <a:pt x="0" y="316"/>
                  </a:cubicBezTo>
                  <a:cubicBezTo>
                    <a:pt x="0" y="536"/>
                    <a:pt x="95" y="694"/>
                    <a:pt x="315" y="725"/>
                  </a:cubicBezTo>
                  <a:cubicBezTo>
                    <a:pt x="1323" y="788"/>
                    <a:pt x="2142" y="1545"/>
                    <a:pt x="2394" y="2490"/>
                  </a:cubicBezTo>
                  <a:cubicBezTo>
                    <a:pt x="2422" y="2655"/>
                    <a:pt x="2570" y="2748"/>
                    <a:pt x="2753" y="2748"/>
                  </a:cubicBezTo>
                  <a:cubicBezTo>
                    <a:pt x="2780" y="2748"/>
                    <a:pt x="2808" y="2746"/>
                    <a:pt x="2836" y="2742"/>
                  </a:cubicBezTo>
                  <a:cubicBezTo>
                    <a:pt x="3025" y="2679"/>
                    <a:pt x="3088" y="2490"/>
                    <a:pt x="3056" y="2301"/>
                  </a:cubicBezTo>
                  <a:cubicBezTo>
                    <a:pt x="2741" y="1072"/>
                    <a:pt x="1670" y="127"/>
                    <a:pt x="347"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10265" name="Google Shape;10265;p112"/>
          <p:cNvGrpSpPr/>
          <p:nvPr/>
        </p:nvGrpSpPr>
        <p:grpSpPr>
          <a:xfrm>
            <a:off x="4119417" y="2047370"/>
            <a:ext cx="471449" cy="471449"/>
            <a:chOff x="-34032200" y="1916675"/>
            <a:chExt cx="291450" cy="291450"/>
          </a:xfrm>
        </p:grpSpPr>
        <p:sp>
          <p:nvSpPr>
            <p:cNvPr id="10266" name="Google Shape;10266;p112"/>
            <p:cNvSpPr/>
            <p:nvPr/>
          </p:nvSpPr>
          <p:spPr>
            <a:xfrm>
              <a:off x="-34032200" y="1916675"/>
              <a:ext cx="291450" cy="291450"/>
            </a:xfrm>
            <a:custGeom>
              <a:avLst/>
              <a:gdLst/>
              <a:ahLst/>
              <a:cxnLst/>
              <a:rect l="l" t="t" r="r" b="b"/>
              <a:pathLst>
                <a:path w="11658" h="11658" extrusionOk="0">
                  <a:moveTo>
                    <a:pt x="6459" y="694"/>
                  </a:moveTo>
                  <a:cubicBezTo>
                    <a:pt x="6648" y="694"/>
                    <a:pt x="6806" y="851"/>
                    <a:pt x="6806" y="1040"/>
                  </a:cubicBezTo>
                  <a:lnTo>
                    <a:pt x="6806" y="1387"/>
                  </a:lnTo>
                  <a:lnTo>
                    <a:pt x="662" y="1387"/>
                  </a:lnTo>
                  <a:lnTo>
                    <a:pt x="662" y="1040"/>
                  </a:lnTo>
                  <a:cubicBezTo>
                    <a:pt x="662" y="851"/>
                    <a:pt x="820" y="694"/>
                    <a:pt x="977" y="694"/>
                  </a:cubicBezTo>
                  <a:close/>
                  <a:moveTo>
                    <a:pt x="10303" y="4096"/>
                  </a:moveTo>
                  <a:lnTo>
                    <a:pt x="8192" y="5419"/>
                  </a:lnTo>
                  <a:lnTo>
                    <a:pt x="6207" y="4096"/>
                  </a:lnTo>
                  <a:close/>
                  <a:moveTo>
                    <a:pt x="5420" y="4411"/>
                  </a:moveTo>
                  <a:lnTo>
                    <a:pt x="7971" y="6112"/>
                  </a:lnTo>
                  <a:cubicBezTo>
                    <a:pt x="8034" y="6144"/>
                    <a:pt x="8097" y="6144"/>
                    <a:pt x="8192" y="6144"/>
                  </a:cubicBezTo>
                  <a:cubicBezTo>
                    <a:pt x="8255" y="6144"/>
                    <a:pt x="8286" y="6144"/>
                    <a:pt x="8381" y="6112"/>
                  </a:cubicBezTo>
                  <a:lnTo>
                    <a:pt x="10933" y="4537"/>
                  </a:lnTo>
                  <a:lnTo>
                    <a:pt x="10933" y="7184"/>
                  </a:lnTo>
                  <a:cubicBezTo>
                    <a:pt x="10933" y="7373"/>
                    <a:pt x="10775" y="7530"/>
                    <a:pt x="10618" y="7530"/>
                  </a:cubicBezTo>
                  <a:lnTo>
                    <a:pt x="5766" y="7530"/>
                  </a:lnTo>
                  <a:cubicBezTo>
                    <a:pt x="5577" y="7530"/>
                    <a:pt x="5420" y="7373"/>
                    <a:pt x="5420" y="7184"/>
                  </a:cubicBezTo>
                  <a:lnTo>
                    <a:pt x="5420" y="4443"/>
                  </a:lnTo>
                  <a:lnTo>
                    <a:pt x="5420" y="4411"/>
                  </a:lnTo>
                  <a:close/>
                  <a:moveTo>
                    <a:pt x="6806" y="2048"/>
                  </a:moveTo>
                  <a:lnTo>
                    <a:pt x="6806" y="3435"/>
                  </a:lnTo>
                  <a:lnTo>
                    <a:pt x="5766" y="3435"/>
                  </a:lnTo>
                  <a:cubicBezTo>
                    <a:pt x="5231" y="3435"/>
                    <a:pt x="4758" y="3907"/>
                    <a:pt x="4758" y="4443"/>
                  </a:cubicBezTo>
                  <a:lnTo>
                    <a:pt x="4758" y="7184"/>
                  </a:lnTo>
                  <a:cubicBezTo>
                    <a:pt x="4758" y="7719"/>
                    <a:pt x="5231" y="8192"/>
                    <a:pt x="5766" y="8192"/>
                  </a:cubicBezTo>
                  <a:lnTo>
                    <a:pt x="6806" y="8192"/>
                  </a:lnTo>
                  <a:lnTo>
                    <a:pt x="6806" y="8916"/>
                  </a:lnTo>
                  <a:lnTo>
                    <a:pt x="662" y="8916"/>
                  </a:lnTo>
                  <a:lnTo>
                    <a:pt x="662" y="2048"/>
                  </a:lnTo>
                  <a:close/>
                  <a:moveTo>
                    <a:pt x="6774" y="9578"/>
                  </a:moveTo>
                  <a:lnTo>
                    <a:pt x="6774" y="10649"/>
                  </a:lnTo>
                  <a:cubicBezTo>
                    <a:pt x="6806" y="10838"/>
                    <a:pt x="6648" y="10996"/>
                    <a:pt x="6459" y="10996"/>
                  </a:cubicBezTo>
                  <a:lnTo>
                    <a:pt x="977" y="10996"/>
                  </a:lnTo>
                  <a:cubicBezTo>
                    <a:pt x="788" y="10996"/>
                    <a:pt x="631" y="10838"/>
                    <a:pt x="631" y="10649"/>
                  </a:cubicBezTo>
                  <a:lnTo>
                    <a:pt x="631" y="9578"/>
                  </a:lnTo>
                  <a:close/>
                  <a:moveTo>
                    <a:pt x="1009" y="1"/>
                  </a:moveTo>
                  <a:cubicBezTo>
                    <a:pt x="473" y="1"/>
                    <a:pt x="1" y="473"/>
                    <a:pt x="1" y="1040"/>
                  </a:cubicBezTo>
                  <a:lnTo>
                    <a:pt x="1" y="10649"/>
                  </a:lnTo>
                  <a:cubicBezTo>
                    <a:pt x="1" y="11185"/>
                    <a:pt x="473" y="11657"/>
                    <a:pt x="1009" y="11657"/>
                  </a:cubicBezTo>
                  <a:lnTo>
                    <a:pt x="6491" y="11657"/>
                  </a:lnTo>
                  <a:cubicBezTo>
                    <a:pt x="7026" y="11657"/>
                    <a:pt x="7499" y="11185"/>
                    <a:pt x="7499" y="10649"/>
                  </a:cubicBezTo>
                  <a:lnTo>
                    <a:pt x="7499" y="8255"/>
                  </a:lnTo>
                  <a:lnTo>
                    <a:pt x="10618" y="8255"/>
                  </a:lnTo>
                  <a:cubicBezTo>
                    <a:pt x="11185" y="8255"/>
                    <a:pt x="11658" y="7782"/>
                    <a:pt x="11658" y="7215"/>
                  </a:cubicBezTo>
                  <a:lnTo>
                    <a:pt x="11658" y="4506"/>
                  </a:lnTo>
                  <a:cubicBezTo>
                    <a:pt x="11658" y="3907"/>
                    <a:pt x="11185" y="3435"/>
                    <a:pt x="10618" y="3435"/>
                  </a:cubicBezTo>
                  <a:lnTo>
                    <a:pt x="7499" y="3435"/>
                  </a:lnTo>
                  <a:lnTo>
                    <a:pt x="7499" y="1040"/>
                  </a:lnTo>
                  <a:cubicBezTo>
                    <a:pt x="7499" y="473"/>
                    <a:pt x="7026" y="1"/>
                    <a:pt x="6491"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267" name="Google Shape;10267;p112"/>
            <p:cNvSpPr/>
            <p:nvPr/>
          </p:nvSpPr>
          <p:spPr>
            <a:xfrm>
              <a:off x="-33999125" y="2019075"/>
              <a:ext cx="69350" cy="18125"/>
            </a:xfrm>
            <a:custGeom>
              <a:avLst/>
              <a:gdLst/>
              <a:ahLst/>
              <a:cxnLst/>
              <a:rect l="l" t="t" r="r" b="b"/>
              <a:pathLst>
                <a:path w="2774" h="725" extrusionOk="0">
                  <a:moveTo>
                    <a:pt x="347" y="0"/>
                  </a:moveTo>
                  <a:cubicBezTo>
                    <a:pt x="158" y="0"/>
                    <a:pt x="1" y="158"/>
                    <a:pt x="1" y="378"/>
                  </a:cubicBezTo>
                  <a:cubicBezTo>
                    <a:pt x="1" y="567"/>
                    <a:pt x="158" y="725"/>
                    <a:pt x="347" y="725"/>
                  </a:cubicBezTo>
                  <a:lnTo>
                    <a:pt x="2395" y="725"/>
                  </a:lnTo>
                  <a:cubicBezTo>
                    <a:pt x="2616" y="725"/>
                    <a:pt x="2773" y="567"/>
                    <a:pt x="2773" y="378"/>
                  </a:cubicBezTo>
                  <a:cubicBezTo>
                    <a:pt x="2710" y="158"/>
                    <a:pt x="2616" y="0"/>
                    <a:pt x="2395"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268" name="Google Shape;10268;p112"/>
            <p:cNvSpPr/>
            <p:nvPr/>
          </p:nvSpPr>
          <p:spPr>
            <a:xfrm>
              <a:off x="-33999900" y="2053725"/>
              <a:ext cx="52000" cy="18125"/>
            </a:xfrm>
            <a:custGeom>
              <a:avLst/>
              <a:gdLst/>
              <a:ahLst/>
              <a:cxnLst/>
              <a:rect l="l" t="t" r="r" b="b"/>
              <a:pathLst>
                <a:path w="2080" h="725" extrusionOk="0">
                  <a:moveTo>
                    <a:pt x="347" y="0"/>
                  </a:moveTo>
                  <a:cubicBezTo>
                    <a:pt x="158" y="0"/>
                    <a:pt x="0" y="158"/>
                    <a:pt x="0" y="347"/>
                  </a:cubicBezTo>
                  <a:cubicBezTo>
                    <a:pt x="0" y="567"/>
                    <a:pt x="158" y="725"/>
                    <a:pt x="347" y="725"/>
                  </a:cubicBezTo>
                  <a:lnTo>
                    <a:pt x="1733" y="725"/>
                  </a:lnTo>
                  <a:cubicBezTo>
                    <a:pt x="1922" y="725"/>
                    <a:pt x="2080" y="567"/>
                    <a:pt x="2080" y="347"/>
                  </a:cubicBezTo>
                  <a:cubicBezTo>
                    <a:pt x="2080" y="158"/>
                    <a:pt x="1922" y="0"/>
                    <a:pt x="1733"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269" name="Google Shape;10269;p112"/>
            <p:cNvSpPr/>
            <p:nvPr/>
          </p:nvSpPr>
          <p:spPr>
            <a:xfrm>
              <a:off x="-33999125" y="2088375"/>
              <a:ext cx="34675" cy="17350"/>
            </a:xfrm>
            <a:custGeom>
              <a:avLst/>
              <a:gdLst/>
              <a:ahLst/>
              <a:cxnLst/>
              <a:rect l="l" t="t" r="r" b="b"/>
              <a:pathLst>
                <a:path w="1387" h="694" extrusionOk="0">
                  <a:moveTo>
                    <a:pt x="347" y="1"/>
                  </a:moveTo>
                  <a:cubicBezTo>
                    <a:pt x="158" y="1"/>
                    <a:pt x="1" y="158"/>
                    <a:pt x="1" y="347"/>
                  </a:cubicBezTo>
                  <a:cubicBezTo>
                    <a:pt x="1" y="536"/>
                    <a:pt x="158" y="694"/>
                    <a:pt x="347" y="694"/>
                  </a:cubicBezTo>
                  <a:lnTo>
                    <a:pt x="1041" y="694"/>
                  </a:lnTo>
                  <a:cubicBezTo>
                    <a:pt x="1230" y="694"/>
                    <a:pt x="1387" y="536"/>
                    <a:pt x="1387" y="347"/>
                  </a:cubicBezTo>
                  <a:cubicBezTo>
                    <a:pt x="1387" y="158"/>
                    <a:pt x="1230" y="1"/>
                    <a:pt x="1041"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sp>
        <p:nvSpPr>
          <p:cNvPr id="10270" name="Google Shape;10270;p112"/>
          <p:cNvSpPr/>
          <p:nvPr/>
        </p:nvSpPr>
        <p:spPr>
          <a:xfrm>
            <a:off x="4114686" y="2656971"/>
            <a:ext cx="472703" cy="475493"/>
          </a:xfrm>
          <a:custGeom>
            <a:avLst/>
            <a:gdLst/>
            <a:ahLst/>
            <a:cxnLst/>
            <a:rect l="l" t="t" r="r" b="b"/>
            <a:pathLst>
              <a:path w="11689" h="11758" extrusionOk="0">
                <a:moveTo>
                  <a:pt x="8538" y="2747"/>
                </a:moveTo>
                <a:cubicBezTo>
                  <a:pt x="8727" y="2747"/>
                  <a:pt x="8853" y="2905"/>
                  <a:pt x="8853" y="3094"/>
                </a:cubicBezTo>
                <a:cubicBezTo>
                  <a:pt x="8885" y="3251"/>
                  <a:pt x="8727" y="3409"/>
                  <a:pt x="8538" y="3409"/>
                </a:cubicBezTo>
                <a:cubicBezTo>
                  <a:pt x="8444" y="3409"/>
                  <a:pt x="8381" y="3377"/>
                  <a:pt x="8286" y="3346"/>
                </a:cubicBezTo>
                <a:lnTo>
                  <a:pt x="8538" y="2747"/>
                </a:lnTo>
                <a:close/>
                <a:moveTo>
                  <a:pt x="3277" y="1581"/>
                </a:moveTo>
                <a:cubicBezTo>
                  <a:pt x="3844" y="1581"/>
                  <a:pt x="4316" y="2023"/>
                  <a:pt x="4316" y="2590"/>
                </a:cubicBezTo>
                <a:cubicBezTo>
                  <a:pt x="4316" y="3157"/>
                  <a:pt x="3844" y="3598"/>
                  <a:pt x="3277" y="3598"/>
                </a:cubicBezTo>
                <a:cubicBezTo>
                  <a:pt x="2741" y="3598"/>
                  <a:pt x="2269" y="3157"/>
                  <a:pt x="2269" y="2590"/>
                </a:cubicBezTo>
                <a:cubicBezTo>
                  <a:pt x="2269" y="1991"/>
                  <a:pt x="2741" y="1581"/>
                  <a:pt x="3277" y="1581"/>
                </a:cubicBezTo>
                <a:close/>
                <a:moveTo>
                  <a:pt x="9231" y="5457"/>
                </a:moveTo>
                <a:cubicBezTo>
                  <a:pt x="9672" y="5457"/>
                  <a:pt x="10050" y="5740"/>
                  <a:pt x="10208" y="6150"/>
                </a:cubicBezTo>
                <a:lnTo>
                  <a:pt x="8286" y="6150"/>
                </a:lnTo>
                <a:cubicBezTo>
                  <a:pt x="8412" y="5772"/>
                  <a:pt x="8759" y="5457"/>
                  <a:pt x="9231" y="5457"/>
                </a:cubicBezTo>
                <a:close/>
                <a:moveTo>
                  <a:pt x="10932" y="6843"/>
                </a:moveTo>
                <a:lnTo>
                  <a:pt x="10932" y="7504"/>
                </a:lnTo>
                <a:lnTo>
                  <a:pt x="5262" y="7504"/>
                </a:lnTo>
                <a:lnTo>
                  <a:pt x="5262" y="6843"/>
                </a:lnTo>
                <a:close/>
                <a:moveTo>
                  <a:pt x="3403" y="4291"/>
                </a:moveTo>
                <a:cubicBezTo>
                  <a:pt x="4064" y="4322"/>
                  <a:pt x="4631" y="4921"/>
                  <a:pt x="4631" y="5583"/>
                </a:cubicBezTo>
                <a:lnTo>
                  <a:pt x="4631" y="7725"/>
                </a:lnTo>
                <a:cubicBezTo>
                  <a:pt x="4348" y="7567"/>
                  <a:pt x="4033" y="7441"/>
                  <a:pt x="3686" y="7441"/>
                </a:cubicBezTo>
                <a:lnTo>
                  <a:pt x="3340" y="7441"/>
                </a:lnTo>
                <a:lnTo>
                  <a:pt x="3340" y="6402"/>
                </a:lnTo>
                <a:cubicBezTo>
                  <a:pt x="3340" y="6213"/>
                  <a:pt x="3182" y="6055"/>
                  <a:pt x="2962" y="6055"/>
                </a:cubicBezTo>
                <a:cubicBezTo>
                  <a:pt x="2773" y="6055"/>
                  <a:pt x="2615" y="6213"/>
                  <a:pt x="2615" y="6402"/>
                </a:cubicBezTo>
                <a:lnTo>
                  <a:pt x="2615" y="7788"/>
                </a:lnTo>
                <a:cubicBezTo>
                  <a:pt x="2615" y="7977"/>
                  <a:pt x="2773" y="8134"/>
                  <a:pt x="2962" y="8134"/>
                </a:cubicBezTo>
                <a:lnTo>
                  <a:pt x="3655" y="8134"/>
                </a:lnTo>
                <a:cubicBezTo>
                  <a:pt x="4064" y="8134"/>
                  <a:pt x="4474" y="8418"/>
                  <a:pt x="4600" y="8828"/>
                </a:cubicBezTo>
                <a:lnTo>
                  <a:pt x="1985" y="8828"/>
                </a:lnTo>
                <a:lnTo>
                  <a:pt x="1985" y="5583"/>
                </a:lnTo>
                <a:lnTo>
                  <a:pt x="2080" y="5583"/>
                </a:lnTo>
                <a:cubicBezTo>
                  <a:pt x="2080" y="5236"/>
                  <a:pt x="2237" y="4858"/>
                  <a:pt x="2458" y="4637"/>
                </a:cubicBezTo>
                <a:cubicBezTo>
                  <a:pt x="2741" y="4385"/>
                  <a:pt x="3056" y="4291"/>
                  <a:pt x="3403" y="4291"/>
                </a:cubicBezTo>
                <a:close/>
                <a:moveTo>
                  <a:pt x="1040" y="4795"/>
                </a:moveTo>
                <a:cubicBezTo>
                  <a:pt x="1229" y="4795"/>
                  <a:pt x="1418" y="4952"/>
                  <a:pt x="1418" y="5141"/>
                </a:cubicBezTo>
                <a:lnTo>
                  <a:pt x="1418" y="9174"/>
                </a:lnTo>
                <a:lnTo>
                  <a:pt x="1418" y="9300"/>
                </a:lnTo>
                <a:cubicBezTo>
                  <a:pt x="1449" y="9458"/>
                  <a:pt x="1575" y="9521"/>
                  <a:pt x="1733" y="9521"/>
                </a:cubicBezTo>
                <a:lnTo>
                  <a:pt x="5860" y="9521"/>
                </a:lnTo>
                <a:cubicBezTo>
                  <a:pt x="6049" y="9521"/>
                  <a:pt x="6175" y="9678"/>
                  <a:pt x="6175" y="9836"/>
                </a:cubicBezTo>
                <a:lnTo>
                  <a:pt x="6175" y="10938"/>
                </a:lnTo>
                <a:lnTo>
                  <a:pt x="693" y="10938"/>
                </a:lnTo>
                <a:lnTo>
                  <a:pt x="693" y="5141"/>
                </a:lnTo>
                <a:cubicBezTo>
                  <a:pt x="693" y="4952"/>
                  <a:pt x="851" y="4795"/>
                  <a:pt x="1040" y="4795"/>
                </a:cubicBezTo>
                <a:close/>
                <a:moveTo>
                  <a:pt x="7656" y="8197"/>
                </a:moveTo>
                <a:cubicBezTo>
                  <a:pt x="7971" y="8260"/>
                  <a:pt x="8254" y="8576"/>
                  <a:pt x="8254" y="8922"/>
                </a:cubicBezTo>
                <a:lnTo>
                  <a:pt x="8254" y="10938"/>
                </a:lnTo>
                <a:lnTo>
                  <a:pt x="6868" y="10938"/>
                </a:lnTo>
                <a:lnTo>
                  <a:pt x="6868" y="9836"/>
                </a:lnTo>
                <a:cubicBezTo>
                  <a:pt x="6868" y="9269"/>
                  <a:pt x="6396" y="8796"/>
                  <a:pt x="5860" y="8796"/>
                </a:cubicBezTo>
                <a:lnTo>
                  <a:pt x="5388" y="8796"/>
                </a:lnTo>
                <a:cubicBezTo>
                  <a:pt x="5356" y="8576"/>
                  <a:pt x="5230" y="8386"/>
                  <a:pt x="5104" y="8197"/>
                </a:cubicBezTo>
                <a:close/>
                <a:moveTo>
                  <a:pt x="9185" y="1"/>
                </a:moveTo>
                <a:cubicBezTo>
                  <a:pt x="9049" y="1"/>
                  <a:pt x="8908" y="88"/>
                  <a:pt x="8885" y="227"/>
                </a:cubicBezTo>
                <a:lnTo>
                  <a:pt x="6837" y="5078"/>
                </a:lnTo>
                <a:cubicBezTo>
                  <a:pt x="6774" y="5236"/>
                  <a:pt x="6837" y="5457"/>
                  <a:pt x="7026" y="5520"/>
                </a:cubicBezTo>
                <a:cubicBezTo>
                  <a:pt x="7089" y="5520"/>
                  <a:pt x="7120" y="5551"/>
                  <a:pt x="7152" y="5551"/>
                </a:cubicBezTo>
                <a:cubicBezTo>
                  <a:pt x="7278" y="5551"/>
                  <a:pt x="7435" y="5457"/>
                  <a:pt x="7467" y="5362"/>
                </a:cubicBezTo>
                <a:lnTo>
                  <a:pt x="8034" y="4039"/>
                </a:lnTo>
                <a:cubicBezTo>
                  <a:pt x="8191" y="4133"/>
                  <a:pt x="8349" y="4165"/>
                  <a:pt x="8538" y="4165"/>
                </a:cubicBezTo>
                <a:cubicBezTo>
                  <a:pt x="8664" y="4165"/>
                  <a:pt x="8759" y="4133"/>
                  <a:pt x="8885" y="4133"/>
                </a:cubicBezTo>
                <a:lnTo>
                  <a:pt x="8885" y="4921"/>
                </a:lnTo>
                <a:cubicBezTo>
                  <a:pt x="8223" y="5047"/>
                  <a:pt x="7719" y="5583"/>
                  <a:pt x="7561" y="6244"/>
                </a:cubicBezTo>
                <a:lnTo>
                  <a:pt x="5293" y="6244"/>
                </a:lnTo>
                <a:lnTo>
                  <a:pt x="5293" y="5709"/>
                </a:lnTo>
                <a:cubicBezTo>
                  <a:pt x="5293" y="4984"/>
                  <a:pt x="4915" y="4354"/>
                  <a:pt x="4348" y="4007"/>
                </a:cubicBezTo>
                <a:cubicBezTo>
                  <a:pt x="4757" y="3692"/>
                  <a:pt x="4978" y="3220"/>
                  <a:pt x="4978" y="2653"/>
                </a:cubicBezTo>
                <a:cubicBezTo>
                  <a:pt x="4978" y="1707"/>
                  <a:pt x="4253" y="983"/>
                  <a:pt x="3308" y="983"/>
                </a:cubicBezTo>
                <a:cubicBezTo>
                  <a:pt x="2363" y="983"/>
                  <a:pt x="1607" y="1707"/>
                  <a:pt x="1607" y="2653"/>
                </a:cubicBezTo>
                <a:cubicBezTo>
                  <a:pt x="1607" y="3220"/>
                  <a:pt x="1890" y="3724"/>
                  <a:pt x="2269" y="4039"/>
                </a:cubicBezTo>
                <a:cubicBezTo>
                  <a:pt x="2143" y="4133"/>
                  <a:pt x="2080" y="4196"/>
                  <a:pt x="1985" y="4291"/>
                </a:cubicBezTo>
                <a:cubicBezTo>
                  <a:pt x="1922" y="4354"/>
                  <a:pt x="1827" y="4448"/>
                  <a:pt x="1764" y="4543"/>
                </a:cubicBezTo>
                <a:cubicBezTo>
                  <a:pt x="1575" y="4354"/>
                  <a:pt x="1323" y="4228"/>
                  <a:pt x="1008" y="4228"/>
                </a:cubicBezTo>
                <a:cubicBezTo>
                  <a:pt x="473" y="4228"/>
                  <a:pt x="0" y="4700"/>
                  <a:pt x="0" y="5268"/>
                </a:cubicBezTo>
                <a:lnTo>
                  <a:pt x="0" y="11411"/>
                </a:lnTo>
                <a:cubicBezTo>
                  <a:pt x="0" y="11600"/>
                  <a:pt x="158" y="11758"/>
                  <a:pt x="347" y="11758"/>
                </a:cubicBezTo>
                <a:lnTo>
                  <a:pt x="8570" y="11758"/>
                </a:lnTo>
                <a:cubicBezTo>
                  <a:pt x="8759" y="11758"/>
                  <a:pt x="8916" y="11600"/>
                  <a:pt x="8916" y="11411"/>
                </a:cubicBezTo>
                <a:lnTo>
                  <a:pt x="8916" y="9048"/>
                </a:lnTo>
                <a:cubicBezTo>
                  <a:pt x="8916" y="8765"/>
                  <a:pt x="8853" y="8544"/>
                  <a:pt x="8727" y="8292"/>
                </a:cubicBezTo>
                <a:lnTo>
                  <a:pt x="11342" y="8292"/>
                </a:lnTo>
                <a:cubicBezTo>
                  <a:pt x="11531" y="8292"/>
                  <a:pt x="11689" y="8134"/>
                  <a:pt x="11689" y="7945"/>
                </a:cubicBezTo>
                <a:lnTo>
                  <a:pt x="11689" y="6559"/>
                </a:lnTo>
                <a:cubicBezTo>
                  <a:pt x="11689" y="6339"/>
                  <a:pt x="11531" y="6181"/>
                  <a:pt x="11310" y="6181"/>
                </a:cubicBezTo>
                <a:lnTo>
                  <a:pt x="10901" y="6181"/>
                </a:lnTo>
                <a:cubicBezTo>
                  <a:pt x="10775" y="5520"/>
                  <a:pt x="10239" y="4984"/>
                  <a:pt x="9546" y="4826"/>
                </a:cubicBezTo>
                <a:lnTo>
                  <a:pt x="9546" y="3094"/>
                </a:lnTo>
                <a:cubicBezTo>
                  <a:pt x="9546" y="2621"/>
                  <a:pt x="9231" y="2243"/>
                  <a:pt x="8790" y="2117"/>
                </a:cubicBezTo>
                <a:lnTo>
                  <a:pt x="9515" y="447"/>
                </a:lnTo>
                <a:cubicBezTo>
                  <a:pt x="9578" y="290"/>
                  <a:pt x="9515" y="69"/>
                  <a:pt x="9326" y="38"/>
                </a:cubicBezTo>
                <a:cubicBezTo>
                  <a:pt x="9283" y="12"/>
                  <a:pt x="9234" y="1"/>
                  <a:pt x="9185"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nvGrpSpPr>
          <p:cNvPr id="10271" name="Google Shape;10271;p112"/>
          <p:cNvGrpSpPr/>
          <p:nvPr/>
        </p:nvGrpSpPr>
        <p:grpSpPr>
          <a:xfrm>
            <a:off x="4118790" y="3264845"/>
            <a:ext cx="472703" cy="472744"/>
            <a:chOff x="-34032200" y="2634975"/>
            <a:chExt cx="292225" cy="292250"/>
          </a:xfrm>
        </p:grpSpPr>
        <p:sp>
          <p:nvSpPr>
            <p:cNvPr id="10272" name="Google Shape;10272;p112"/>
            <p:cNvSpPr/>
            <p:nvPr/>
          </p:nvSpPr>
          <p:spPr>
            <a:xfrm>
              <a:off x="-34032200" y="2634975"/>
              <a:ext cx="292225" cy="292250"/>
            </a:xfrm>
            <a:custGeom>
              <a:avLst/>
              <a:gdLst/>
              <a:ahLst/>
              <a:cxnLst/>
              <a:rect l="l" t="t" r="r" b="b"/>
              <a:pathLst>
                <a:path w="11689" h="11690" extrusionOk="0">
                  <a:moveTo>
                    <a:pt x="5766" y="662"/>
                  </a:moveTo>
                  <a:cubicBezTo>
                    <a:pt x="8602" y="662"/>
                    <a:pt x="10933" y="2962"/>
                    <a:pt x="10933" y="5798"/>
                  </a:cubicBezTo>
                  <a:cubicBezTo>
                    <a:pt x="10933" y="6806"/>
                    <a:pt x="10649" y="7783"/>
                    <a:pt x="10114" y="8602"/>
                  </a:cubicBezTo>
                  <a:lnTo>
                    <a:pt x="10145" y="8444"/>
                  </a:lnTo>
                  <a:cubicBezTo>
                    <a:pt x="10177" y="8350"/>
                    <a:pt x="10145" y="8224"/>
                    <a:pt x="10082" y="8129"/>
                  </a:cubicBezTo>
                  <a:cubicBezTo>
                    <a:pt x="9988" y="8066"/>
                    <a:pt x="9862" y="8035"/>
                    <a:pt x="9767" y="8035"/>
                  </a:cubicBezTo>
                  <a:lnTo>
                    <a:pt x="9641" y="8066"/>
                  </a:lnTo>
                  <a:cubicBezTo>
                    <a:pt x="10019" y="7405"/>
                    <a:pt x="10240" y="6617"/>
                    <a:pt x="10240" y="5829"/>
                  </a:cubicBezTo>
                  <a:cubicBezTo>
                    <a:pt x="10240" y="3372"/>
                    <a:pt x="8223" y="1356"/>
                    <a:pt x="5766" y="1356"/>
                  </a:cubicBezTo>
                  <a:cubicBezTo>
                    <a:pt x="5136" y="1356"/>
                    <a:pt x="4506" y="1482"/>
                    <a:pt x="3970" y="1765"/>
                  </a:cubicBezTo>
                  <a:cubicBezTo>
                    <a:pt x="3813" y="1828"/>
                    <a:pt x="3718" y="2017"/>
                    <a:pt x="3813" y="2175"/>
                  </a:cubicBezTo>
                  <a:lnTo>
                    <a:pt x="3970" y="2553"/>
                  </a:lnTo>
                  <a:lnTo>
                    <a:pt x="2710" y="2742"/>
                  </a:lnTo>
                  <a:lnTo>
                    <a:pt x="2301" y="2773"/>
                  </a:lnTo>
                  <a:cubicBezTo>
                    <a:pt x="2364" y="2647"/>
                    <a:pt x="2710" y="1324"/>
                    <a:pt x="2742" y="1198"/>
                  </a:cubicBezTo>
                  <a:lnTo>
                    <a:pt x="2836" y="1293"/>
                  </a:lnTo>
                  <a:cubicBezTo>
                    <a:pt x="2898" y="1354"/>
                    <a:pt x="2986" y="1402"/>
                    <a:pt x="3084" y="1402"/>
                  </a:cubicBezTo>
                  <a:cubicBezTo>
                    <a:pt x="3136" y="1402"/>
                    <a:pt x="3191" y="1389"/>
                    <a:pt x="3246" y="1356"/>
                  </a:cubicBezTo>
                  <a:cubicBezTo>
                    <a:pt x="4033" y="883"/>
                    <a:pt x="4915" y="662"/>
                    <a:pt x="5766" y="662"/>
                  </a:cubicBezTo>
                  <a:close/>
                  <a:moveTo>
                    <a:pt x="6144" y="2080"/>
                  </a:moveTo>
                  <a:cubicBezTo>
                    <a:pt x="7940" y="2238"/>
                    <a:pt x="9358" y="3687"/>
                    <a:pt x="9515" y="5451"/>
                  </a:cubicBezTo>
                  <a:lnTo>
                    <a:pt x="9200" y="5451"/>
                  </a:lnTo>
                  <a:cubicBezTo>
                    <a:pt x="9011" y="5451"/>
                    <a:pt x="8854" y="5609"/>
                    <a:pt x="8854" y="5829"/>
                  </a:cubicBezTo>
                  <a:cubicBezTo>
                    <a:pt x="8854" y="6018"/>
                    <a:pt x="9011" y="6176"/>
                    <a:pt x="9200" y="6176"/>
                  </a:cubicBezTo>
                  <a:lnTo>
                    <a:pt x="9515" y="6176"/>
                  </a:lnTo>
                  <a:cubicBezTo>
                    <a:pt x="9452" y="6932"/>
                    <a:pt x="9169" y="7657"/>
                    <a:pt x="8665" y="8255"/>
                  </a:cubicBezTo>
                  <a:lnTo>
                    <a:pt x="6995" y="8570"/>
                  </a:lnTo>
                  <a:cubicBezTo>
                    <a:pt x="6900" y="8602"/>
                    <a:pt x="6806" y="8665"/>
                    <a:pt x="6774" y="8759"/>
                  </a:cubicBezTo>
                  <a:cubicBezTo>
                    <a:pt x="6743" y="8885"/>
                    <a:pt x="6743" y="9011"/>
                    <a:pt x="6806" y="9074"/>
                  </a:cubicBezTo>
                  <a:lnTo>
                    <a:pt x="6995" y="9389"/>
                  </a:lnTo>
                  <a:cubicBezTo>
                    <a:pt x="6743" y="9484"/>
                    <a:pt x="6459" y="9547"/>
                    <a:pt x="6176" y="9547"/>
                  </a:cubicBezTo>
                  <a:lnTo>
                    <a:pt x="6176" y="9232"/>
                  </a:lnTo>
                  <a:cubicBezTo>
                    <a:pt x="6176" y="9043"/>
                    <a:pt x="6018" y="8885"/>
                    <a:pt x="5829" y="8885"/>
                  </a:cubicBezTo>
                  <a:cubicBezTo>
                    <a:pt x="5640" y="8885"/>
                    <a:pt x="5483" y="9043"/>
                    <a:pt x="5483" y="9232"/>
                  </a:cubicBezTo>
                  <a:lnTo>
                    <a:pt x="5483" y="9547"/>
                  </a:lnTo>
                  <a:cubicBezTo>
                    <a:pt x="3655" y="9389"/>
                    <a:pt x="2238" y="7940"/>
                    <a:pt x="2080" y="6176"/>
                  </a:cubicBezTo>
                  <a:lnTo>
                    <a:pt x="2395" y="6176"/>
                  </a:lnTo>
                  <a:cubicBezTo>
                    <a:pt x="2584" y="6176"/>
                    <a:pt x="2742" y="6018"/>
                    <a:pt x="2742" y="5829"/>
                  </a:cubicBezTo>
                  <a:cubicBezTo>
                    <a:pt x="2742" y="5609"/>
                    <a:pt x="2584" y="5451"/>
                    <a:pt x="2395" y="5451"/>
                  </a:cubicBezTo>
                  <a:lnTo>
                    <a:pt x="2080" y="5451"/>
                  </a:lnTo>
                  <a:cubicBezTo>
                    <a:pt x="2175" y="4727"/>
                    <a:pt x="2427" y="3971"/>
                    <a:pt x="2962" y="3372"/>
                  </a:cubicBezTo>
                  <a:lnTo>
                    <a:pt x="4474" y="3183"/>
                  </a:lnTo>
                  <a:cubicBezTo>
                    <a:pt x="4600" y="3183"/>
                    <a:pt x="4663" y="3088"/>
                    <a:pt x="4726" y="3025"/>
                  </a:cubicBezTo>
                  <a:cubicBezTo>
                    <a:pt x="4758" y="2931"/>
                    <a:pt x="4758" y="2836"/>
                    <a:pt x="4726" y="2710"/>
                  </a:cubicBezTo>
                  <a:lnTo>
                    <a:pt x="4506" y="2269"/>
                  </a:lnTo>
                  <a:cubicBezTo>
                    <a:pt x="4789" y="2143"/>
                    <a:pt x="5104" y="2112"/>
                    <a:pt x="5420" y="2080"/>
                  </a:cubicBezTo>
                  <a:lnTo>
                    <a:pt x="5420" y="2395"/>
                  </a:lnTo>
                  <a:cubicBezTo>
                    <a:pt x="5420" y="2584"/>
                    <a:pt x="5577" y="2742"/>
                    <a:pt x="5766" y="2742"/>
                  </a:cubicBezTo>
                  <a:cubicBezTo>
                    <a:pt x="5987" y="2742"/>
                    <a:pt x="6144" y="2584"/>
                    <a:pt x="6144" y="2395"/>
                  </a:cubicBezTo>
                  <a:lnTo>
                    <a:pt x="6144" y="2080"/>
                  </a:lnTo>
                  <a:close/>
                  <a:moveTo>
                    <a:pt x="1607" y="2899"/>
                  </a:moveTo>
                  <a:lnTo>
                    <a:pt x="1544" y="3151"/>
                  </a:lnTo>
                  <a:cubicBezTo>
                    <a:pt x="1481" y="3246"/>
                    <a:pt x="1544" y="3372"/>
                    <a:pt x="1607" y="3466"/>
                  </a:cubicBezTo>
                  <a:cubicBezTo>
                    <a:pt x="1670" y="3529"/>
                    <a:pt x="1796" y="3561"/>
                    <a:pt x="1922" y="3561"/>
                  </a:cubicBezTo>
                  <a:lnTo>
                    <a:pt x="1985" y="3561"/>
                  </a:lnTo>
                  <a:cubicBezTo>
                    <a:pt x="1607" y="4254"/>
                    <a:pt x="1387" y="5042"/>
                    <a:pt x="1387" y="5861"/>
                  </a:cubicBezTo>
                  <a:cubicBezTo>
                    <a:pt x="1387" y="8287"/>
                    <a:pt x="3372" y="10303"/>
                    <a:pt x="5829" y="10303"/>
                  </a:cubicBezTo>
                  <a:cubicBezTo>
                    <a:pt x="6459" y="10303"/>
                    <a:pt x="7089" y="10177"/>
                    <a:pt x="7688" y="9925"/>
                  </a:cubicBezTo>
                  <a:cubicBezTo>
                    <a:pt x="7751" y="9862"/>
                    <a:pt x="7845" y="9799"/>
                    <a:pt x="7877" y="9704"/>
                  </a:cubicBezTo>
                  <a:cubicBezTo>
                    <a:pt x="7908" y="9641"/>
                    <a:pt x="7877" y="9515"/>
                    <a:pt x="7845" y="9452"/>
                  </a:cubicBezTo>
                  <a:lnTo>
                    <a:pt x="7688" y="9200"/>
                  </a:lnTo>
                  <a:lnTo>
                    <a:pt x="9421" y="8854"/>
                  </a:lnTo>
                  <a:lnTo>
                    <a:pt x="9421" y="8854"/>
                  </a:lnTo>
                  <a:cubicBezTo>
                    <a:pt x="9326" y="9200"/>
                    <a:pt x="9074" y="10177"/>
                    <a:pt x="9011" y="10492"/>
                  </a:cubicBezTo>
                  <a:lnTo>
                    <a:pt x="8759" y="10303"/>
                  </a:lnTo>
                  <a:cubicBezTo>
                    <a:pt x="8708" y="10235"/>
                    <a:pt x="8640" y="10204"/>
                    <a:pt x="8567" y="10204"/>
                  </a:cubicBezTo>
                  <a:cubicBezTo>
                    <a:pt x="8505" y="10204"/>
                    <a:pt x="8439" y="10228"/>
                    <a:pt x="8381" y="10271"/>
                  </a:cubicBezTo>
                  <a:cubicBezTo>
                    <a:pt x="7593" y="10744"/>
                    <a:pt x="6680" y="10965"/>
                    <a:pt x="5829" y="10965"/>
                  </a:cubicBezTo>
                  <a:cubicBezTo>
                    <a:pt x="2994" y="10965"/>
                    <a:pt x="662" y="8665"/>
                    <a:pt x="662" y="5829"/>
                  </a:cubicBezTo>
                  <a:cubicBezTo>
                    <a:pt x="662" y="4758"/>
                    <a:pt x="977" y="3781"/>
                    <a:pt x="1607" y="2899"/>
                  </a:cubicBezTo>
                  <a:close/>
                  <a:moveTo>
                    <a:pt x="5766" y="1"/>
                  </a:moveTo>
                  <a:cubicBezTo>
                    <a:pt x="4884" y="1"/>
                    <a:pt x="3970" y="221"/>
                    <a:pt x="3151" y="662"/>
                  </a:cubicBezTo>
                  <a:lnTo>
                    <a:pt x="2836" y="316"/>
                  </a:lnTo>
                  <a:cubicBezTo>
                    <a:pt x="2765" y="245"/>
                    <a:pt x="2677" y="210"/>
                    <a:pt x="2597" y="210"/>
                  </a:cubicBezTo>
                  <a:cubicBezTo>
                    <a:pt x="2570" y="210"/>
                    <a:pt x="2545" y="214"/>
                    <a:pt x="2521" y="221"/>
                  </a:cubicBezTo>
                  <a:cubicBezTo>
                    <a:pt x="2395" y="253"/>
                    <a:pt x="2301" y="347"/>
                    <a:pt x="2269" y="473"/>
                  </a:cubicBezTo>
                  <a:lnTo>
                    <a:pt x="1985" y="1450"/>
                  </a:lnTo>
                  <a:cubicBezTo>
                    <a:pt x="694" y="2553"/>
                    <a:pt x="1" y="4160"/>
                    <a:pt x="1" y="5829"/>
                  </a:cubicBezTo>
                  <a:cubicBezTo>
                    <a:pt x="1" y="7342"/>
                    <a:pt x="599" y="8854"/>
                    <a:pt x="1733" y="9956"/>
                  </a:cubicBezTo>
                  <a:cubicBezTo>
                    <a:pt x="2836" y="11059"/>
                    <a:pt x="4285" y="11689"/>
                    <a:pt x="5861" y="11689"/>
                  </a:cubicBezTo>
                  <a:cubicBezTo>
                    <a:pt x="6774" y="11689"/>
                    <a:pt x="7719" y="11437"/>
                    <a:pt x="8539" y="11028"/>
                  </a:cubicBezTo>
                  <a:lnTo>
                    <a:pt x="8980" y="11406"/>
                  </a:lnTo>
                  <a:cubicBezTo>
                    <a:pt x="9027" y="11477"/>
                    <a:pt x="9110" y="11512"/>
                    <a:pt x="9201" y="11512"/>
                  </a:cubicBezTo>
                  <a:cubicBezTo>
                    <a:pt x="9232" y="11512"/>
                    <a:pt x="9263" y="11508"/>
                    <a:pt x="9295" y="11500"/>
                  </a:cubicBezTo>
                  <a:cubicBezTo>
                    <a:pt x="9421" y="11437"/>
                    <a:pt x="9484" y="11374"/>
                    <a:pt x="9515" y="11248"/>
                  </a:cubicBezTo>
                  <a:lnTo>
                    <a:pt x="9799" y="10114"/>
                  </a:lnTo>
                  <a:cubicBezTo>
                    <a:pt x="10996" y="9011"/>
                    <a:pt x="11689" y="7468"/>
                    <a:pt x="11689" y="5861"/>
                  </a:cubicBezTo>
                  <a:cubicBezTo>
                    <a:pt x="11658" y="2616"/>
                    <a:pt x="9011" y="1"/>
                    <a:pt x="5766"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273" name="Google Shape;10273;p112"/>
            <p:cNvSpPr/>
            <p:nvPr/>
          </p:nvSpPr>
          <p:spPr>
            <a:xfrm>
              <a:off x="-33947125" y="2735800"/>
              <a:ext cx="51200" cy="86675"/>
            </a:xfrm>
            <a:custGeom>
              <a:avLst/>
              <a:gdLst/>
              <a:ahLst/>
              <a:cxnLst/>
              <a:rect l="l" t="t" r="r" b="b"/>
              <a:pathLst>
                <a:path w="2048" h="3467" extrusionOk="0">
                  <a:moveTo>
                    <a:pt x="1040" y="1"/>
                  </a:moveTo>
                  <a:cubicBezTo>
                    <a:pt x="473" y="1"/>
                    <a:pt x="0" y="473"/>
                    <a:pt x="0" y="1040"/>
                  </a:cubicBezTo>
                  <a:cubicBezTo>
                    <a:pt x="0" y="1229"/>
                    <a:pt x="158" y="1387"/>
                    <a:pt x="378" y="1387"/>
                  </a:cubicBezTo>
                  <a:cubicBezTo>
                    <a:pt x="567" y="1387"/>
                    <a:pt x="725" y="1229"/>
                    <a:pt x="725" y="1040"/>
                  </a:cubicBezTo>
                  <a:cubicBezTo>
                    <a:pt x="725" y="851"/>
                    <a:pt x="882" y="662"/>
                    <a:pt x="1071" y="662"/>
                  </a:cubicBezTo>
                  <a:cubicBezTo>
                    <a:pt x="1292" y="662"/>
                    <a:pt x="1449" y="851"/>
                    <a:pt x="1449" y="1040"/>
                  </a:cubicBezTo>
                  <a:lnTo>
                    <a:pt x="1449" y="1292"/>
                  </a:lnTo>
                  <a:cubicBezTo>
                    <a:pt x="1449" y="1418"/>
                    <a:pt x="1355" y="1544"/>
                    <a:pt x="1229" y="1639"/>
                  </a:cubicBezTo>
                  <a:lnTo>
                    <a:pt x="599" y="1954"/>
                  </a:lnTo>
                  <a:cubicBezTo>
                    <a:pt x="252" y="2111"/>
                    <a:pt x="63" y="2458"/>
                    <a:pt x="63" y="2836"/>
                  </a:cubicBezTo>
                  <a:lnTo>
                    <a:pt x="63" y="3119"/>
                  </a:lnTo>
                  <a:cubicBezTo>
                    <a:pt x="0" y="3372"/>
                    <a:pt x="158" y="3466"/>
                    <a:pt x="315" y="3466"/>
                  </a:cubicBezTo>
                  <a:lnTo>
                    <a:pt x="1701" y="3466"/>
                  </a:lnTo>
                  <a:cubicBezTo>
                    <a:pt x="1891" y="3466"/>
                    <a:pt x="2048" y="3309"/>
                    <a:pt x="2048" y="3119"/>
                  </a:cubicBezTo>
                  <a:cubicBezTo>
                    <a:pt x="2048" y="2930"/>
                    <a:pt x="1891" y="2773"/>
                    <a:pt x="1701" y="2773"/>
                  </a:cubicBezTo>
                  <a:lnTo>
                    <a:pt x="693" y="2773"/>
                  </a:lnTo>
                  <a:cubicBezTo>
                    <a:pt x="725" y="2678"/>
                    <a:pt x="756" y="2584"/>
                    <a:pt x="882" y="2521"/>
                  </a:cubicBezTo>
                  <a:lnTo>
                    <a:pt x="1512" y="2206"/>
                  </a:lnTo>
                  <a:cubicBezTo>
                    <a:pt x="1859" y="2048"/>
                    <a:pt x="2048" y="1702"/>
                    <a:pt x="2048" y="1292"/>
                  </a:cubicBezTo>
                  <a:lnTo>
                    <a:pt x="2048" y="1040"/>
                  </a:lnTo>
                  <a:cubicBezTo>
                    <a:pt x="2048" y="473"/>
                    <a:pt x="1575" y="1"/>
                    <a:pt x="1040"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274" name="Google Shape;10274;p112"/>
            <p:cNvSpPr/>
            <p:nvPr/>
          </p:nvSpPr>
          <p:spPr>
            <a:xfrm>
              <a:off x="-33878600" y="2737375"/>
              <a:ext cx="52000" cy="86675"/>
            </a:xfrm>
            <a:custGeom>
              <a:avLst/>
              <a:gdLst/>
              <a:ahLst/>
              <a:cxnLst/>
              <a:rect l="l" t="t" r="r" b="b"/>
              <a:pathLst>
                <a:path w="2080" h="3467" extrusionOk="0">
                  <a:moveTo>
                    <a:pt x="347" y="1"/>
                  </a:moveTo>
                  <a:cubicBezTo>
                    <a:pt x="158" y="1"/>
                    <a:pt x="0" y="158"/>
                    <a:pt x="0" y="347"/>
                  </a:cubicBezTo>
                  <a:lnTo>
                    <a:pt x="0" y="1733"/>
                  </a:lnTo>
                  <a:cubicBezTo>
                    <a:pt x="0" y="1922"/>
                    <a:pt x="158" y="2080"/>
                    <a:pt x="347" y="2080"/>
                  </a:cubicBezTo>
                  <a:lnTo>
                    <a:pt x="1355" y="2080"/>
                  </a:lnTo>
                  <a:lnTo>
                    <a:pt x="1355" y="3088"/>
                  </a:lnTo>
                  <a:cubicBezTo>
                    <a:pt x="1355" y="3309"/>
                    <a:pt x="1512" y="3466"/>
                    <a:pt x="1733" y="3466"/>
                  </a:cubicBezTo>
                  <a:cubicBezTo>
                    <a:pt x="1922" y="3466"/>
                    <a:pt x="2079" y="3309"/>
                    <a:pt x="2079" y="3088"/>
                  </a:cubicBezTo>
                  <a:lnTo>
                    <a:pt x="2079" y="1733"/>
                  </a:lnTo>
                  <a:lnTo>
                    <a:pt x="2079" y="347"/>
                  </a:lnTo>
                  <a:cubicBezTo>
                    <a:pt x="2079" y="158"/>
                    <a:pt x="1922" y="1"/>
                    <a:pt x="1733" y="1"/>
                  </a:cubicBezTo>
                  <a:cubicBezTo>
                    <a:pt x="1512" y="1"/>
                    <a:pt x="1355" y="158"/>
                    <a:pt x="1355" y="347"/>
                  </a:cubicBezTo>
                  <a:lnTo>
                    <a:pt x="1355" y="1355"/>
                  </a:lnTo>
                  <a:lnTo>
                    <a:pt x="693" y="1355"/>
                  </a:lnTo>
                  <a:lnTo>
                    <a:pt x="693" y="347"/>
                  </a:lnTo>
                  <a:cubicBezTo>
                    <a:pt x="693" y="158"/>
                    <a:pt x="536" y="1"/>
                    <a:pt x="347"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10275" name="Google Shape;10275;p112"/>
          <p:cNvGrpSpPr/>
          <p:nvPr/>
        </p:nvGrpSpPr>
        <p:grpSpPr>
          <a:xfrm>
            <a:off x="2319317" y="3886510"/>
            <a:ext cx="477839" cy="472703"/>
            <a:chOff x="-32245875" y="1938725"/>
            <a:chExt cx="295400" cy="292225"/>
          </a:xfrm>
        </p:grpSpPr>
        <p:sp>
          <p:nvSpPr>
            <p:cNvPr id="10276" name="Google Shape;10276;p112"/>
            <p:cNvSpPr/>
            <p:nvPr/>
          </p:nvSpPr>
          <p:spPr>
            <a:xfrm>
              <a:off x="-32156075" y="2042700"/>
              <a:ext cx="120525" cy="120525"/>
            </a:xfrm>
            <a:custGeom>
              <a:avLst/>
              <a:gdLst/>
              <a:ahLst/>
              <a:cxnLst/>
              <a:rect l="l" t="t" r="r" b="b"/>
              <a:pathLst>
                <a:path w="4821" h="4821" extrusionOk="0">
                  <a:moveTo>
                    <a:pt x="2395" y="725"/>
                  </a:moveTo>
                  <a:cubicBezTo>
                    <a:pt x="3340" y="725"/>
                    <a:pt x="4096" y="1481"/>
                    <a:pt x="4096" y="2426"/>
                  </a:cubicBezTo>
                  <a:cubicBezTo>
                    <a:pt x="4096" y="3308"/>
                    <a:pt x="3340" y="4096"/>
                    <a:pt x="2395" y="4096"/>
                  </a:cubicBezTo>
                  <a:cubicBezTo>
                    <a:pt x="1450" y="4096"/>
                    <a:pt x="725" y="3340"/>
                    <a:pt x="725" y="2426"/>
                  </a:cubicBezTo>
                  <a:cubicBezTo>
                    <a:pt x="725" y="1450"/>
                    <a:pt x="1450" y="725"/>
                    <a:pt x="2395" y="725"/>
                  </a:cubicBezTo>
                  <a:close/>
                  <a:moveTo>
                    <a:pt x="2395" y="0"/>
                  </a:moveTo>
                  <a:cubicBezTo>
                    <a:pt x="1072" y="0"/>
                    <a:pt x="1" y="1071"/>
                    <a:pt x="1" y="2426"/>
                  </a:cubicBezTo>
                  <a:cubicBezTo>
                    <a:pt x="1" y="3749"/>
                    <a:pt x="1072" y="4821"/>
                    <a:pt x="2395" y="4821"/>
                  </a:cubicBezTo>
                  <a:cubicBezTo>
                    <a:pt x="3750" y="4821"/>
                    <a:pt x="4821" y="3749"/>
                    <a:pt x="4821" y="2426"/>
                  </a:cubicBezTo>
                  <a:cubicBezTo>
                    <a:pt x="4758" y="1071"/>
                    <a:pt x="3718" y="0"/>
                    <a:pt x="2395"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277" name="Google Shape;10277;p112"/>
            <p:cNvSpPr/>
            <p:nvPr/>
          </p:nvSpPr>
          <p:spPr>
            <a:xfrm>
              <a:off x="-32105675" y="2076550"/>
              <a:ext cx="35475" cy="33900"/>
            </a:xfrm>
            <a:custGeom>
              <a:avLst/>
              <a:gdLst/>
              <a:ahLst/>
              <a:cxnLst/>
              <a:rect l="l" t="t" r="r" b="b"/>
              <a:pathLst>
                <a:path w="1419" h="1356" extrusionOk="0">
                  <a:moveTo>
                    <a:pt x="347" y="1"/>
                  </a:moveTo>
                  <a:cubicBezTo>
                    <a:pt x="158" y="1"/>
                    <a:pt x="1" y="159"/>
                    <a:pt x="1" y="348"/>
                  </a:cubicBezTo>
                  <a:lnTo>
                    <a:pt x="1" y="1009"/>
                  </a:lnTo>
                  <a:cubicBezTo>
                    <a:pt x="1" y="1230"/>
                    <a:pt x="158" y="1356"/>
                    <a:pt x="347" y="1356"/>
                  </a:cubicBezTo>
                  <a:lnTo>
                    <a:pt x="1009" y="1356"/>
                  </a:lnTo>
                  <a:cubicBezTo>
                    <a:pt x="1230" y="1356"/>
                    <a:pt x="1387" y="1198"/>
                    <a:pt x="1387" y="1009"/>
                  </a:cubicBezTo>
                  <a:cubicBezTo>
                    <a:pt x="1419" y="852"/>
                    <a:pt x="1261" y="694"/>
                    <a:pt x="1072" y="694"/>
                  </a:cubicBezTo>
                  <a:lnTo>
                    <a:pt x="694" y="694"/>
                  </a:lnTo>
                  <a:lnTo>
                    <a:pt x="694" y="348"/>
                  </a:lnTo>
                  <a:cubicBezTo>
                    <a:pt x="694" y="159"/>
                    <a:pt x="536" y="1"/>
                    <a:pt x="347"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278" name="Google Shape;10278;p112"/>
            <p:cNvSpPr/>
            <p:nvPr/>
          </p:nvSpPr>
          <p:spPr>
            <a:xfrm>
              <a:off x="-32245875" y="1938725"/>
              <a:ext cx="295400" cy="292225"/>
            </a:xfrm>
            <a:custGeom>
              <a:avLst/>
              <a:gdLst/>
              <a:ahLst/>
              <a:cxnLst/>
              <a:rect l="l" t="t" r="r" b="b"/>
              <a:pathLst>
                <a:path w="11816" h="11689" extrusionOk="0">
                  <a:moveTo>
                    <a:pt x="10965" y="1355"/>
                  </a:moveTo>
                  <a:cubicBezTo>
                    <a:pt x="11154" y="1355"/>
                    <a:pt x="11311" y="1544"/>
                    <a:pt x="11311" y="1733"/>
                  </a:cubicBezTo>
                  <a:lnTo>
                    <a:pt x="11311" y="2742"/>
                  </a:lnTo>
                  <a:lnTo>
                    <a:pt x="1009" y="2742"/>
                  </a:lnTo>
                  <a:lnTo>
                    <a:pt x="1009" y="1733"/>
                  </a:lnTo>
                  <a:lnTo>
                    <a:pt x="852" y="1733"/>
                  </a:lnTo>
                  <a:cubicBezTo>
                    <a:pt x="852" y="1544"/>
                    <a:pt x="1009" y="1355"/>
                    <a:pt x="1198" y="1355"/>
                  </a:cubicBezTo>
                  <a:lnTo>
                    <a:pt x="1545" y="1355"/>
                  </a:lnTo>
                  <a:lnTo>
                    <a:pt x="1545" y="1733"/>
                  </a:lnTo>
                  <a:cubicBezTo>
                    <a:pt x="1545" y="1922"/>
                    <a:pt x="1702" y="2080"/>
                    <a:pt x="1891" y="2080"/>
                  </a:cubicBezTo>
                  <a:cubicBezTo>
                    <a:pt x="2112" y="2080"/>
                    <a:pt x="2269" y="1922"/>
                    <a:pt x="2269" y="1733"/>
                  </a:cubicBezTo>
                  <a:lnTo>
                    <a:pt x="2269" y="1355"/>
                  </a:lnTo>
                  <a:lnTo>
                    <a:pt x="3624" y="1355"/>
                  </a:lnTo>
                  <a:lnTo>
                    <a:pt x="3624" y="1733"/>
                  </a:lnTo>
                  <a:cubicBezTo>
                    <a:pt x="3624" y="1922"/>
                    <a:pt x="3782" y="2080"/>
                    <a:pt x="4002" y="2080"/>
                  </a:cubicBezTo>
                  <a:cubicBezTo>
                    <a:pt x="4191" y="2080"/>
                    <a:pt x="4349" y="1922"/>
                    <a:pt x="4349" y="1733"/>
                  </a:cubicBezTo>
                  <a:lnTo>
                    <a:pt x="4349" y="1355"/>
                  </a:lnTo>
                  <a:lnTo>
                    <a:pt x="5735" y="1355"/>
                  </a:lnTo>
                  <a:lnTo>
                    <a:pt x="5735" y="1733"/>
                  </a:lnTo>
                  <a:cubicBezTo>
                    <a:pt x="5735" y="1922"/>
                    <a:pt x="5892" y="2080"/>
                    <a:pt x="6081" y="2080"/>
                  </a:cubicBezTo>
                  <a:cubicBezTo>
                    <a:pt x="6270" y="2080"/>
                    <a:pt x="6428" y="1922"/>
                    <a:pt x="6428" y="1733"/>
                  </a:cubicBezTo>
                  <a:lnTo>
                    <a:pt x="6428" y="1355"/>
                  </a:lnTo>
                  <a:lnTo>
                    <a:pt x="7814" y="1355"/>
                  </a:lnTo>
                  <a:lnTo>
                    <a:pt x="7814" y="1733"/>
                  </a:lnTo>
                  <a:cubicBezTo>
                    <a:pt x="7814" y="1922"/>
                    <a:pt x="7972" y="2080"/>
                    <a:pt x="8161" y="2080"/>
                  </a:cubicBezTo>
                  <a:cubicBezTo>
                    <a:pt x="8381" y="2080"/>
                    <a:pt x="8539" y="1922"/>
                    <a:pt x="8539" y="1733"/>
                  </a:cubicBezTo>
                  <a:lnTo>
                    <a:pt x="8539" y="1355"/>
                  </a:lnTo>
                  <a:lnTo>
                    <a:pt x="9893" y="1355"/>
                  </a:lnTo>
                  <a:lnTo>
                    <a:pt x="9893" y="1733"/>
                  </a:lnTo>
                  <a:cubicBezTo>
                    <a:pt x="9893" y="1922"/>
                    <a:pt x="10051" y="2080"/>
                    <a:pt x="10272" y="2080"/>
                  </a:cubicBezTo>
                  <a:cubicBezTo>
                    <a:pt x="10461" y="2080"/>
                    <a:pt x="10618" y="1922"/>
                    <a:pt x="10618" y="1733"/>
                  </a:cubicBezTo>
                  <a:lnTo>
                    <a:pt x="10618" y="1355"/>
                  </a:lnTo>
                  <a:close/>
                  <a:moveTo>
                    <a:pt x="11154" y="3466"/>
                  </a:moveTo>
                  <a:lnTo>
                    <a:pt x="11154" y="9641"/>
                  </a:lnTo>
                  <a:lnTo>
                    <a:pt x="852" y="9641"/>
                  </a:lnTo>
                  <a:lnTo>
                    <a:pt x="852" y="3466"/>
                  </a:lnTo>
                  <a:close/>
                  <a:moveTo>
                    <a:pt x="11154" y="10366"/>
                  </a:moveTo>
                  <a:lnTo>
                    <a:pt x="11154" y="10712"/>
                  </a:lnTo>
                  <a:cubicBezTo>
                    <a:pt x="11122" y="10870"/>
                    <a:pt x="10965" y="11027"/>
                    <a:pt x="10807" y="11027"/>
                  </a:cubicBezTo>
                  <a:lnTo>
                    <a:pt x="1198" y="11027"/>
                  </a:lnTo>
                  <a:cubicBezTo>
                    <a:pt x="1009" y="11027"/>
                    <a:pt x="852" y="10870"/>
                    <a:pt x="852" y="10649"/>
                  </a:cubicBezTo>
                  <a:lnTo>
                    <a:pt x="852" y="10366"/>
                  </a:lnTo>
                  <a:close/>
                  <a:moveTo>
                    <a:pt x="1734" y="1"/>
                  </a:moveTo>
                  <a:cubicBezTo>
                    <a:pt x="1545" y="1"/>
                    <a:pt x="1387" y="158"/>
                    <a:pt x="1387" y="347"/>
                  </a:cubicBezTo>
                  <a:lnTo>
                    <a:pt x="1387" y="694"/>
                  </a:lnTo>
                  <a:lnTo>
                    <a:pt x="1041" y="694"/>
                  </a:lnTo>
                  <a:cubicBezTo>
                    <a:pt x="474" y="694"/>
                    <a:pt x="1" y="1166"/>
                    <a:pt x="1" y="1733"/>
                  </a:cubicBezTo>
                  <a:lnTo>
                    <a:pt x="1" y="10649"/>
                  </a:lnTo>
                  <a:cubicBezTo>
                    <a:pt x="1" y="11216"/>
                    <a:pt x="474" y="11689"/>
                    <a:pt x="1041" y="11689"/>
                  </a:cubicBezTo>
                  <a:lnTo>
                    <a:pt x="10650" y="11689"/>
                  </a:lnTo>
                  <a:cubicBezTo>
                    <a:pt x="11185" y="11689"/>
                    <a:pt x="11658" y="11216"/>
                    <a:pt x="11658" y="10649"/>
                  </a:cubicBezTo>
                  <a:lnTo>
                    <a:pt x="11658" y="1733"/>
                  </a:lnTo>
                  <a:cubicBezTo>
                    <a:pt x="11815" y="1166"/>
                    <a:pt x="11343" y="694"/>
                    <a:pt x="10807" y="694"/>
                  </a:cubicBezTo>
                  <a:lnTo>
                    <a:pt x="10461" y="694"/>
                  </a:lnTo>
                  <a:lnTo>
                    <a:pt x="10461" y="347"/>
                  </a:lnTo>
                  <a:cubicBezTo>
                    <a:pt x="10461" y="158"/>
                    <a:pt x="10303" y="1"/>
                    <a:pt x="10083" y="1"/>
                  </a:cubicBezTo>
                  <a:cubicBezTo>
                    <a:pt x="9893" y="1"/>
                    <a:pt x="9736" y="158"/>
                    <a:pt x="9736" y="347"/>
                  </a:cubicBezTo>
                  <a:lnTo>
                    <a:pt x="9736" y="694"/>
                  </a:lnTo>
                  <a:lnTo>
                    <a:pt x="8350" y="694"/>
                  </a:lnTo>
                  <a:lnTo>
                    <a:pt x="8350" y="347"/>
                  </a:lnTo>
                  <a:cubicBezTo>
                    <a:pt x="8350" y="158"/>
                    <a:pt x="8192" y="1"/>
                    <a:pt x="8003" y="1"/>
                  </a:cubicBezTo>
                  <a:cubicBezTo>
                    <a:pt x="7814" y="1"/>
                    <a:pt x="7657" y="158"/>
                    <a:pt x="7657" y="347"/>
                  </a:cubicBezTo>
                  <a:lnTo>
                    <a:pt x="7657" y="694"/>
                  </a:lnTo>
                  <a:lnTo>
                    <a:pt x="6270" y="694"/>
                  </a:lnTo>
                  <a:lnTo>
                    <a:pt x="6270" y="347"/>
                  </a:lnTo>
                  <a:cubicBezTo>
                    <a:pt x="6270" y="158"/>
                    <a:pt x="6113" y="1"/>
                    <a:pt x="5924" y="1"/>
                  </a:cubicBezTo>
                  <a:cubicBezTo>
                    <a:pt x="5735" y="1"/>
                    <a:pt x="5577" y="158"/>
                    <a:pt x="5577" y="347"/>
                  </a:cubicBezTo>
                  <a:lnTo>
                    <a:pt x="5577" y="694"/>
                  </a:lnTo>
                  <a:lnTo>
                    <a:pt x="4191" y="694"/>
                  </a:lnTo>
                  <a:lnTo>
                    <a:pt x="4191" y="347"/>
                  </a:lnTo>
                  <a:cubicBezTo>
                    <a:pt x="4191" y="158"/>
                    <a:pt x="4034" y="1"/>
                    <a:pt x="3845" y="1"/>
                  </a:cubicBezTo>
                  <a:cubicBezTo>
                    <a:pt x="3624" y="1"/>
                    <a:pt x="3466" y="158"/>
                    <a:pt x="3466" y="347"/>
                  </a:cubicBezTo>
                  <a:lnTo>
                    <a:pt x="3466" y="694"/>
                  </a:lnTo>
                  <a:lnTo>
                    <a:pt x="2112" y="694"/>
                  </a:lnTo>
                  <a:lnTo>
                    <a:pt x="2112" y="347"/>
                  </a:lnTo>
                  <a:cubicBezTo>
                    <a:pt x="2112" y="158"/>
                    <a:pt x="1954" y="1"/>
                    <a:pt x="1734"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10279" name="Google Shape;10279;p112"/>
          <p:cNvGrpSpPr/>
          <p:nvPr/>
        </p:nvGrpSpPr>
        <p:grpSpPr>
          <a:xfrm>
            <a:off x="2314867" y="4512374"/>
            <a:ext cx="486736" cy="469549"/>
            <a:chOff x="-32243500" y="2299850"/>
            <a:chExt cx="300900" cy="290275"/>
          </a:xfrm>
        </p:grpSpPr>
        <p:sp>
          <p:nvSpPr>
            <p:cNvPr id="10280" name="Google Shape;10280;p112"/>
            <p:cNvSpPr/>
            <p:nvPr/>
          </p:nvSpPr>
          <p:spPr>
            <a:xfrm>
              <a:off x="-32243500" y="2299850"/>
              <a:ext cx="300900" cy="290275"/>
            </a:xfrm>
            <a:custGeom>
              <a:avLst/>
              <a:gdLst/>
              <a:ahLst/>
              <a:cxnLst/>
              <a:rect l="l" t="t" r="r" b="b"/>
              <a:pathLst>
                <a:path w="12036" h="11611" extrusionOk="0">
                  <a:moveTo>
                    <a:pt x="7955" y="654"/>
                  </a:moveTo>
                  <a:cubicBezTo>
                    <a:pt x="8743" y="654"/>
                    <a:pt x="9531" y="946"/>
                    <a:pt x="10114" y="1529"/>
                  </a:cubicBezTo>
                  <a:cubicBezTo>
                    <a:pt x="11311" y="2726"/>
                    <a:pt x="11311" y="4679"/>
                    <a:pt x="10114" y="5876"/>
                  </a:cubicBezTo>
                  <a:cubicBezTo>
                    <a:pt x="9540" y="6450"/>
                    <a:pt x="8752" y="6766"/>
                    <a:pt x="7951" y="6766"/>
                  </a:cubicBezTo>
                  <a:cubicBezTo>
                    <a:pt x="7565" y="6766"/>
                    <a:pt x="7175" y="6692"/>
                    <a:pt x="6806" y="6538"/>
                  </a:cubicBezTo>
                  <a:cubicBezTo>
                    <a:pt x="6759" y="6526"/>
                    <a:pt x="6709" y="6519"/>
                    <a:pt x="6661" y="6519"/>
                  </a:cubicBezTo>
                  <a:cubicBezTo>
                    <a:pt x="6577" y="6519"/>
                    <a:pt x="6499" y="6541"/>
                    <a:pt x="6459" y="6601"/>
                  </a:cubicBezTo>
                  <a:lnTo>
                    <a:pt x="5545" y="7514"/>
                  </a:lnTo>
                  <a:lnTo>
                    <a:pt x="4726" y="7514"/>
                  </a:lnTo>
                  <a:cubicBezTo>
                    <a:pt x="4537" y="7514"/>
                    <a:pt x="4380" y="7672"/>
                    <a:pt x="4380" y="7861"/>
                  </a:cubicBezTo>
                  <a:lnTo>
                    <a:pt x="4380" y="8460"/>
                  </a:lnTo>
                  <a:lnTo>
                    <a:pt x="3907" y="8428"/>
                  </a:lnTo>
                  <a:cubicBezTo>
                    <a:pt x="3813" y="8428"/>
                    <a:pt x="3687" y="8428"/>
                    <a:pt x="3655" y="8491"/>
                  </a:cubicBezTo>
                  <a:cubicBezTo>
                    <a:pt x="3592" y="8554"/>
                    <a:pt x="3529" y="8649"/>
                    <a:pt x="3529" y="8743"/>
                  </a:cubicBezTo>
                  <a:lnTo>
                    <a:pt x="3466" y="9531"/>
                  </a:lnTo>
                  <a:lnTo>
                    <a:pt x="2678" y="9594"/>
                  </a:lnTo>
                  <a:cubicBezTo>
                    <a:pt x="2584" y="9594"/>
                    <a:pt x="2521" y="9657"/>
                    <a:pt x="2426" y="9720"/>
                  </a:cubicBezTo>
                  <a:cubicBezTo>
                    <a:pt x="2395" y="9814"/>
                    <a:pt x="2363" y="9877"/>
                    <a:pt x="2363" y="9972"/>
                  </a:cubicBezTo>
                  <a:lnTo>
                    <a:pt x="2426" y="10665"/>
                  </a:lnTo>
                  <a:lnTo>
                    <a:pt x="2174" y="10949"/>
                  </a:lnTo>
                  <a:lnTo>
                    <a:pt x="694" y="10949"/>
                  </a:lnTo>
                  <a:lnTo>
                    <a:pt x="694" y="9499"/>
                  </a:lnTo>
                  <a:lnTo>
                    <a:pt x="757" y="9499"/>
                  </a:lnTo>
                  <a:lnTo>
                    <a:pt x="5041" y="5215"/>
                  </a:lnTo>
                  <a:cubicBezTo>
                    <a:pt x="5104" y="5120"/>
                    <a:pt x="5167" y="4963"/>
                    <a:pt x="5104" y="4837"/>
                  </a:cubicBezTo>
                  <a:cubicBezTo>
                    <a:pt x="4695" y="3702"/>
                    <a:pt x="4947" y="2411"/>
                    <a:pt x="5797" y="1529"/>
                  </a:cubicBezTo>
                  <a:cubicBezTo>
                    <a:pt x="6380" y="946"/>
                    <a:pt x="7168" y="654"/>
                    <a:pt x="7955" y="654"/>
                  </a:cubicBezTo>
                  <a:close/>
                  <a:moveTo>
                    <a:pt x="7936" y="1"/>
                  </a:moveTo>
                  <a:cubicBezTo>
                    <a:pt x="6971" y="1"/>
                    <a:pt x="6002" y="363"/>
                    <a:pt x="5262" y="1088"/>
                  </a:cubicBezTo>
                  <a:cubicBezTo>
                    <a:pt x="4285" y="2096"/>
                    <a:pt x="3939" y="3576"/>
                    <a:pt x="4380" y="4931"/>
                  </a:cubicBezTo>
                  <a:lnTo>
                    <a:pt x="126" y="9184"/>
                  </a:lnTo>
                  <a:cubicBezTo>
                    <a:pt x="32" y="9247"/>
                    <a:pt x="0" y="9342"/>
                    <a:pt x="0" y="9405"/>
                  </a:cubicBezTo>
                  <a:lnTo>
                    <a:pt x="0" y="11358"/>
                  </a:lnTo>
                  <a:cubicBezTo>
                    <a:pt x="32" y="11453"/>
                    <a:pt x="189" y="11610"/>
                    <a:pt x="379" y="11610"/>
                  </a:cubicBezTo>
                  <a:lnTo>
                    <a:pt x="2332" y="11610"/>
                  </a:lnTo>
                  <a:cubicBezTo>
                    <a:pt x="2395" y="11610"/>
                    <a:pt x="2521" y="11579"/>
                    <a:pt x="2552" y="11516"/>
                  </a:cubicBezTo>
                  <a:lnTo>
                    <a:pt x="3025" y="11043"/>
                  </a:lnTo>
                  <a:cubicBezTo>
                    <a:pt x="3119" y="10949"/>
                    <a:pt x="3151" y="10823"/>
                    <a:pt x="3119" y="10759"/>
                  </a:cubicBezTo>
                  <a:lnTo>
                    <a:pt x="3025" y="10255"/>
                  </a:lnTo>
                  <a:lnTo>
                    <a:pt x="3750" y="10161"/>
                  </a:lnTo>
                  <a:cubicBezTo>
                    <a:pt x="3907" y="10161"/>
                    <a:pt x="4002" y="10003"/>
                    <a:pt x="4065" y="9846"/>
                  </a:cubicBezTo>
                  <a:lnTo>
                    <a:pt x="4128" y="9153"/>
                  </a:lnTo>
                  <a:lnTo>
                    <a:pt x="4663" y="9216"/>
                  </a:lnTo>
                  <a:cubicBezTo>
                    <a:pt x="4726" y="9216"/>
                    <a:pt x="4852" y="9216"/>
                    <a:pt x="4915" y="9153"/>
                  </a:cubicBezTo>
                  <a:cubicBezTo>
                    <a:pt x="5010" y="9058"/>
                    <a:pt x="5041" y="8995"/>
                    <a:pt x="5041" y="8901"/>
                  </a:cubicBezTo>
                  <a:lnTo>
                    <a:pt x="5041" y="8271"/>
                  </a:lnTo>
                  <a:lnTo>
                    <a:pt x="5671" y="8271"/>
                  </a:lnTo>
                  <a:cubicBezTo>
                    <a:pt x="5734" y="8271"/>
                    <a:pt x="5829" y="8239"/>
                    <a:pt x="5892" y="8145"/>
                  </a:cubicBezTo>
                  <a:lnTo>
                    <a:pt x="6774" y="7325"/>
                  </a:lnTo>
                  <a:cubicBezTo>
                    <a:pt x="7153" y="7452"/>
                    <a:pt x="7548" y="7514"/>
                    <a:pt x="7941" y="7514"/>
                  </a:cubicBezTo>
                  <a:cubicBezTo>
                    <a:pt x="8920" y="7514"/>
                    <a:pt x="9889" y="7131"/>
                    <a:pt x="10586" y="6412"/>
                  </a:cubicBezTo>
                  <a:cubicBezTo>
                    <a:pt x="12035" y="4963"/>
                    <a:pt x="12035" y="2568"/>
                    <a:pt x="10586" y="1088"/>
                  </a:cubicBezTo>
                  <a:cubicBezTo>
                    <a:pt x="9862" y="363"/>
                    <a:pt x="8901" y="1"/>
                    <a:pt x="7936"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281" name="Google Shape;10281;p112"/>
            <p:cNvSpPr/>
            <p:nvPr/>
          </p:nvSpPr>
          <p:spPr>
            <a:xfrm>
              <a:off x="-32048175" y="2342775"/>
              <a:ext cx="55950" cy="51025"/>
            </a:xfrm>
            <a:custGeom>
              <a:avLst/>
              <a:gdLst/>
              <a:ahLst/>
              <a:cxnLst/>
              <a:rect l="l" t="t" r="r" b="b"/>
              <a:pathLst>
                <a:path w="2238" h="2041" extrusionOk="0">
                  <a:moveTo>
                    <a:pt x="1119" y="662"/>
                  </a:moveTo>
                  <a:cubicBezTo>
                    <a:pt x="1206" y="662"/>
                    <a:pt x="1292" y="694"/>
                    <a:pt x="1355" y="757"/>
                  </a:cubicBezTo>
                  <a:cubicBezTo>
                    <a:pt x="1481" y="883"/>
                    <a:pt x="1481" y="1135"/>
                    <a:pt x="1355" y="1229"/>
                  </a:cubicBezTo>
                  <a:cubicBezTo>
                    <a:pt x="1292" y="1292"/>
                    <a:pt x="1206" y="1324"/>
                    <a:pt x="1119" y="1324"/>
                  </a:cubicBezTo>
                  <a:cubicBezTo>
                    <a:pt x="1032" y="1324"/>
                    <a:pt x="946" y="1292"/>
                    <a:pt x="883" y="1229"/>
                  </a:cubicBezTo>
                  <a:cubicBezTo>
                    <a:pt x="725" y="1135"/>
                    <a:pt x="725" y="914"/>
                    <a:pt x="883" y="757"/>
                  </a:cubicBezTo>
                  <a:cubicBezTo>
                    <a:pt x="946" y="694"/>
                    <a:pt x="1032" y="662"/>
                    <a:pt x="1119" y="662"/>
                  </a:cubicBezTo>
                  <a:close/>
                  <a:moveTo>
                    <a:pt x="1115" y="1"/>
                  </a:moveTo>
                  <a:cubicBezTo>
                    <a:pt x="851" y="1"/>
                    <a:pt x="584" y="95"/>
                    <a:pt x="379" y="284"/>
                  </a:cubicBezTo>
                  <a:cubicBezTo>
                    <a:pt x="1" y="694"/>
                    <a:pt x="1" y="1355"/>
                    <a:pt x="379" y="1733"/>
                  </a:cubicBezTo>
                  <a:cubicBezTo>
                    <a:pt x="599" y="1938"/>
                    <a:pt x="867" y="2041"/>
                    <a:pt x="1127" y="2041"/>
                  </a:cubicBezTo>
                  <a:cubicBezTo>
                    <a:pt x="1387" y="2041"/>
                    <a:pt x="1639" y="1938"/>
                    <a:pt x="1828" y="1733"/>
                  </a:cubicBezTo>
                  <a:cubicBezTo>
                    <a:pt x="2238" y="1355"/>
                    <a:pt x="2238" y="694"/>
                    <a:pt x="1828" y="284"/>
                  </a:cubicBezTo>
                  <a:cubicBezTo>
                    <a:pt x="1639" y="95"/>
                    <a:pt x="1379" y="1"/>
                    <a:pt x="1115"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sp>
        <p:nvSpPr>
          <p:cNvPr id="10282" name="Google Shape;10282;p112"/>
          <p:cNvSpPr/>
          <p:nvPr/>
        </p:nvSpPr>
        <p:spPr>
          <a:xfrm>
            <a:off x="2316721" y="5126199"/>
            <a:ext cx="475251" cy="470156"/>
          </a:xfrm>
          <a:custGeom>
            <a:avLst/>
            <a:gdLst/>
            <a:ahLst/>
            <a:cxnLst/>
            <a:rect l="l" t="t" r="r" b="b"/>
            <a:pathLst>
              <a:path w="11752" h="11626" extrusionOk="0">
                <a:moveTo>
                  <a:pt x="5829" y="662"/>
                </a:moveTo>
                <a:cubicBezTo>
                  <a:pt x="6049" y="662"/>
                  <a:pt x="6207" y="819"/>
                  <a:pt x="6207" y="1008"/>
                </a:cubicBezTo>
                <a:cubicBezTo>
                  <a:pt x="6207" y="1197"/>
                  <a:pt x="6049" y="1355"/>
                  <a:pt x="5829" y="1355"/>
                </a:cubicBezTo>
                <a:cubicBezTo>
                  <a:pt x="5640" y="1355"/>
                  <a:pt x="5482" y="1197"/>
                  <a:pt x="5482" y="1008"/>
                </a:cubicBezTo>
                <a:cubicBezTo>
                  <a:pt x="5482" y="819"/>
                  <a:pt x="5640" y="662"/>
                  <a:pt x="5829" y="662"/>
                </a:cubicBezTo>
                <a:close/>
                <a:moveTo>
                  <a:pt x="5829" y="2048"/>
                </a:moveTo>
                <a:cubicBezTo>
                  <a:pt x="6743" y="2048"/>
                  <a:pt x="7625" y="2363"/>
                  <a:pt x="8255" y="2898"/>
                </a:cubicBezTo>
                <a:lnTo>
                  <a:pt x="7247" y="3875"/>
                </a:lnTo>
                <a:cubicBezTo>
                  <a:pt x="6869" y="3560"/>
                  <a:pt x="6364" y="3403"/>
                  <a:pt x="5797" y="3403"/>
                </a:cubicBezTo>
                <a:cubicBezTo>
                  <a:pt x="5325" y="3403"/>
                  <a:pt x="4821" y="3560"/>
                  <a:pt x="4380" y="3875"/>
                </a:cubicBezTo>
                <a:lnTo>
                  <a:pt x="3435" y="2930"/>
                </a:lnTo>
                <a:cubicBezTo>
                  <a:pt x="4065" y="2363"/>
                  <a:pt x="4884" y="2048"/>
                  <a:pt x="5829" y="2048"/>
                </a:cubicBezTo>
                <a:close/>
                <a:moveTo>
                  <a:pt x="4852" y="1355"/>
                </a:moveTo>
                <a:cubicBezTo>
                  <a:pt x="4852" y="1418"/>
                  <a:pt x="4884" y="1449"/>
                  <a:pt x="4884" y="1449"/>
                </a:cubicBezTo>
                <a:cubicBezTo>
                  <a:pt x="3214" y="1796"/>
                  <a:pt x="1828" y="3151"/>
                  <a:pt x="1481" y="4883"/>
                </a:cubicBezTo>
                <a:cubicBezTo>
                  <a:pt x="1450" y="4883"/>
                  <a:pt x="1387" y="4820"/>
                  <a:pt x="1387" y="4820"/>
                </a:cubicBezTo>
                <a:lnTo>
                  <a:pt x="1387" y="3718"/>
                </a:lnTo>
                <a:cubicBezTo>
                  <a:pt x="1387" y="2426"/>
                  <a:pt x="2458" y="1355"/>
                  <a:pt x="3750" y="1355"/>
                </a:cubicBezTo>
                <a:close/>
                <a:moveTo>
                  <a:pt x="7908" y="1355"/>
                </a:moveTo>
                <a:cubicBezTo>
                  <a:pt x="9200" y="1355"/>
                  <a:pt x="10240" y="2426"/>
                  <a:pt x="10240" y="3718"/>
                </a:cubicBezTo>
                <a:lnTo>
                  <a:pt x="10240" y="4820"/>
                </a:lnTo>
                <a:cubicBezTo>
                  <a:pt x="10208" y="4820"/>
                  <a:pt x="10177" y="4883"/>
                  <a:pt x="10177" y="4883"/>
                </a:cubicBezTo>
                <a:cubicBezTo>
                  <a:pt x="9830" y="3182"/>
                  <a:pt x="8475" y="1796"/>
                  <a:pt x="6743" y="1449"/>
                </a:cubicBezTo>
                <a:cubicBezTo>
                  <a:pt x="6743" y="1418"/>
                  <a:pt x="6774" y="1355"/>
                  <a:pt x="6774" y="1355"/>
                </a:cubicBezTo>
                <a:close/>
                <a:moveTo>
                  <a:pt x="10618" y="5419"/>
                </a:moveTo>
                <a:cubicBezTo>
                  <a:pt x="10807" y="5419"/>
                  <a:pt x="10964" y="5576"/>
                  <a:pt x="10964" y="5765"/>
                </a:cubicBezTo>
                <a:cubicBezTo>
                  <a:pt x="10964" y="5986"/>
                  <a:pt x="10807" y="6143"/>
                  <a:pt x="10618" y="6143"/>
                </a:cubicBezTo>
                <a:cubicBezTo>
                  <a:pt x="10397" y="6143"/>
                  <a:pt x="10240" y="5986"/>
                  <a:pt x="10240" y="5765"/>
                </a:cubicBezTo>
                <a:cubicBezTo>
                  <a:pt x="10240" y="5576"/>
                  <a:pt x="10397" y="5419"/>
                  <a:pt x="10618" y="5419"/>
                </a:cubicBezTo>
                <a:close/>
                <a:moveTo>
                  <a:pt x="1040" y="5450"/>
                </a:moveTo>
                <a:cubicBezTo>
                  <a:pt x="1229" y="5450"/>
                  <a:pt x="1387" y="5608"/>
                  <a:pt x="1387" y="5828"/>
                </a:cubicBezTo>
                <a:cubicBezTo>
                  <a:pt x="1387" y="6017"/>
                  <a:pt x="1229" y="6175"/>
                  <a:pt x="1040" y="6175"/>
                </a:cubicBezTo>
                <a:cubicBezTo>
                  <a:pt x="851" y="6175"/>
                  <a:pt x="694" y="6017"/>
                  <a:pt x="694" y="5828"/>
                </a:cubicBezTo>
                <a:cubicBezTo>
                  <a:pt x="694" y="5608"/>
                  <a:pt x="851" y="5450"/>
                  <a:pt x="1040" y="5450"/>
                </a:cubicBezTo>
                <a:close/>
                <a:moveTo>
                  <a:pt x="5829" y="4096"/>
                </a:moveTo>
                <a:cubicBezTo>
                  <a:pt x="6774" y="4096"/>
                  <a:pt x="7530" y="4820"/>
                  <a:pt x="7530" y="5765"/>
                </a:cubicBezTo>
                <a:cubicBezTo>
                  <a:pt x="7530" y="6711"/>
                  <a:pt x="6837" y="7498"/>
                  <a:pt x="5829" y="7498"/>
                </a:cubicBezTo>
                <a:cubicBezTo>
                  <a:pt x="4884" y="7498"/>
                  <a:pt x="4096" y="6711"/>
                  <a:pt x="4159" y="5734"/>
                </a:cubicBezTo>
                <a:cubicBezTo>
                  <a:pt x="4191" y="4789"/>
                  <a:pt x="4884" y="4096"/>
                  <a:pt x="5829" y="4096"/>
                </a:cubicBezTo>
                <a:close/>
                <a:moveTo>
                  <a:pt x="2930" y="3371"/>
                </a:moveTo>
                <a:lnTo>
                  <a:pt x="3876" y="4316"/>
                </a:lnTo>
                <a:cubicBezTo>
                  <a:pt x="3561" y="4757"/>
                  <a:pt x="3403" y="5261"/>
                  <a:pt x="3403" y="5765"/>
                </a:cubicBezTo>
                <a:cubicBezTo>
                  <a:pt x="3403" y="6301"/>
                  <a:pt x="3561" y="6805"/>
                  <a:pt x="3876" y="7183"/>
                </a:cubicBezTo>
                <a:lnTo>
                  <a:pt x="2899" y="8191"/>
                </a:lnTo>
                <a:cubicBezTo>
                  <a:pt x="2363" y="7561"/>
                  <a:pt x="2048" y="6711"/>
                  <a:pt x="2048" y="5765"/>
                </a:cubicBezTo>
                <a:cubicBezTo>
                  <a:pt x="2048" y="4883"/>
                  <a:pt x="2363" y="4001"/>
                  <a:pt x="2930" y="3371"/>
                </a:cubicBezTo>
                <a:close/>
                <a:moveTo>
                  <a:pt x="8759" y="3340"/>
                </a:moveTo>
                <a:cubicBezTo>
                  <a:pt x="9294" y="4001"/>
                  <a:pt x="9609" y="4820"/>
                  <a:pt x="9609" y="5734"/>
                </a:cubicBezTo>
                <a:cubicBezTo>
                  <a:pt x="9578" y="6711"/>
                  <a:pt x="9263" y="7561"/>
                  <a:pt x="8727" y="8191"/>
                </a:cubicBezTo>
                <a:lnTo>
                  <a:pt x="7782" y="7246"/>
                </a:lnTo>
                <a:cubicBezTo>
                  <a:pt x="8097" y="6805"/>
                  <a:pt x="8255" y="6301"/>
                  <a:pt x="8255" y="5765"/>
                </a:cubicBezTo>
                <a:cubicBezTo>
                  <a:pt x="8255" y="5576"/>
                  <a:pt x="8192" y="5387"/>
                  <a:pt x="8160" y="5198"/>
                </a:cubicBezTo>
                <a:cubicBezTo>
                  <a:pt x="8097" y="4883"/>
                  <a:pt x="7971" y="4600"/>
                  <a:pt x="7782" y="4316"/>
                </a:cubicBezTo>
                <a:lnTo>
                  <a:pt x="8759" y="3340"/>
                </a:lnTo>
                <a:close/>
                <a:moveTo>
                  <a:pt x="7310" y="7719"/>
                </a:moveTo>
                <a:lnTo>
                  <a:pt x="8255" y="8664"/>
                </a:lnTo>
                <a:cubicBezTo>
                  <a:pt x="7562" y="9231"/>
                  <a:pt x="6743" y="9546"/>
                  <a:pt x="5829" y="9546"/>
                </a:cubicBezTo>
                <a:cubicBezTo>
                  <a:pt x="4947" y="9546"/>
                  <a:pt x="4065" y="9231"/>
                  <a:pt x="3435" y="8695"/>
                </a:cubicBezTo>
                <a:lnTo>
                  <a:pt x="4411" y="7719"/>
                </a:lnTo>
                <a:cubicBezTo>
                  <a:pt x="4821" y="8034"/>
                  <a:pt x="5325" y="8191"/>
                  <a:pt x="5829" y="8191"/>
                </a:cubicBezTo>
                <a:cubicBezTo>
                  <a:pt x="6364" y="8191"/>
                  <a:pt x="6869" y="8034"/>
                  <a:pt x="7310" y="7719"/>
                </a:cubicBezTo>
                <a:close/>
                <a:moveTo>
                  <a:pt x="1481" y="6711"/>
                </a:moveTo>
                <a:cubicBezTo>
                  <a:pt x="1828" y="8443"/>
                  <a:pt x="3214" y="9798"/>
                  <a:pt x="4884" y="10145"/>
                </a:cubicBezTo>
                <a:cubicBezTo>
                  <a:pt x="4884" y="10176"/>
                  <a:pt x="4852" y="10239"/>
                  <a:pt x="4852" y="10271"/>
                </a:cubicBezTo>
                <a:lnTo>
                  <a:pt x="3781" y="10271"/>
                </a:lnTo>
                <a:cubicBezTo>
                  <a:pt x="2458" y="10271"/>
                  <a:pt x="1387" y="9168"/>
                  <a:pt x="1387" y="7813"/>
                </a:cubicBezTo>
                <a:lnTo>
                  <a:pt x="1387" y="6774"/>
                </a:lnTo>
                <a:cubicBezTo>
                  <a:pt x="1418" y="6774"/>
                  <a:pt x="1481" y="6711"/>
                  <a:pt x="1481" y="6711"/>
                </a:cubicBezTo>
                <a:close/>
                <a:moveTo>
                  <a:pt x="10177" y="6711"/>
                </a:moveTo>
                <a:cubicBezTo>
                  <a:pt x="10208" y="6711"/>
                  <a:pt x="10240" y="6774"/>
                  <a:pt x="10240" y="6774"/>
                </a:cubicBezTo>
                <a:lnTo>
                  <a:pt x="10240" y="7876"/>
                </a:lnTo>
                <a:cubicBezTo>
                  <a:pt x="10240" y="9168"/>
                  <a:pt x="9200" y="10271"/>
                  <a:pt x="7877" y="10271"/>
                </a:cubicBezTo>
                <a:lnTo>
                  <a:pt x="6774" y="10271"/>
                </a:lnTo>
                <a:cubicBezTo>
                  <a:pt x="6774" y="10239"/>
                  <a:pt x="6743" y="10176"/>
                  <a:pt x="6743" y="10145"/>
                </a:cubicBezTo>
                <a:cubicBezTo>
                  <a:pt x="8475" y="9798"/>
                  <a:pt x="9830" y="8412"/>
                  <a:pt x="10177" y="6711"/>
                </a:cubicBezTo>
                <a:close/>
                <a:moveTo>
                  <a:pt x="5829" y="10239"/>
                </a:moveTo>
                <a:cubicBezTo>
                  <a:pt x="6049" y="10239"/>
                  <a:pt x="6207" y="10397"/>
                  <a:pt x="6207" y="10586"/>
                </a:cubicBezTo>
                <a:cubicBezTo>
                  <a:pt x="6144" y="10775"/>
                  <a:pt x="5986" y="10932"/>
                  <a:pt x="5829" y="10932"/>
                </a:cubicBezTo>
                <a:cubicBezTo>
                  <a:pt x="5640" y="10932"/>
                  <a:pt x="5482" y="10775"/>
                  <a:pt x="5482" y="10586"/>
                </a:cubicBezTo>
                <a:cubicBezTo>
                  <a:pt x="5482" y="10397"/>
                  <a:pt x="5640" y="10239"/>
                  <a:pt x="5829" y="10239"/>
                </a:cubicBezTo>
                <a:close/>
                <a:moveTo>
                  <a:pt x="5829" y="0"/>
                </a:moveTo>
                <a:cubicBezTo>
                  <a:pt x="5388" y="0"/>
                  <a:pt x="5010" y="315"/>
                  <a:pt x="4852" y="693"/>
                </a:cubicBezTo>
                <a:lnTo>
                  <a:pt x="3813" y="693"/>
                </a:lnTo>
                <a:cubicBezTo>
                  <a:pt x="2111" y="693"/>
                  <a:pt x="725" y="2079"/>
                  <a:pt x="725" y="3781"/>
                </a:cubicBezTo>
                <a:lnTo>
                  <a:pt x="725" y="4820"/>
                </a:lnTo>
                <a:cubicBezTo>
                  <a:pt x="316" y="4946"/>
                  <a:pt x="0" y="5356"/>
                  <a:pt x="0" y="5828"/>
                </a:cubicBezTo>
                <a:cubicBezTo>
                  <a:pt x="0" y="6301"/>
                  <a:pt x="316" y="6648"/>
                  <a:pt x="725" y="6805"/>
                </a:cubicBezTo>
                <a:lnTo>
                  <a:pt x="725" y="7876"/>
                </a:lnTo>
                <a:cubicBezTo>
                  <a:pt x="725" y="9546"/>
                  <a:pt x="2111" y="10964"/>
                  <a:pt x="3813" y="10964"/>
                </a:cubicBezTo>
                <a:lnTo>
                  <a:pt x="4915" y="10964"/>
                </a:lnTo>
                <a:cubicBezTo>
                  <a:pt x="5073" y="11373"/>
                  <a:pt x="5419" y="11625"/>
                  <a:pt x="5892" y="11625"/>
                </a:cubicBezTo>
                <a:cubicBezTo>
                  <a:pt x="6333" y="11625"/>
                  <a:pt x="6711" y="11310"/>
                  <a:pt x="6869" y="10932"/>
                </a:cubicBezTo>
                <a:lnTo>
                  <a:pt x="7971" y="10932"/>
                </a:lnTo>
                <a:cubicBezTo>
                  <a:pt x="9672" y="10932"/>
                  <a:pt x="11059" y="9546"/>
                  <a:pt x="11059" y="7845"/>
                </a:cubicBezTo>
                <a:lnTo>
                  <a:pt x="11059" y="6774"/>
                </a:lnTo>
                <a:cubicBezTo>
                  <a:pt x="11216" y="6711"/>
                  <a:pt x="11311" y="6648"/>
                  <a:pt x="11437" y="6522"/>
                </a:cubicBezTo>
                <a:cubicBezTo>
                  <a:pt x="11626" y="6333"/>
                  <a:pt x="11752" y="6049"/>
                  <a:pt x="11752" y="5765"/>
                </a:cubicBezTo>
                <a:cubicBezTo>
                  <a:pt x="11752" y="5513"/>
                  <a:pt x="11626" y="5230"/>
                  <a:pt x="11437" y="5041"/>
                </a:cubicBezTo>
                <a:cubicBezTo>
                  <a:pt x="11248" y="4946"/>
                  <a:pt x="11090" y="4883"/>
                  <a:pt x="10964" y="4820"/>
                </a:cubicBezTo>
                <a:lnTo>
                  <a:pt x="10964" y="3781"/>
                </a:lnTo>
                <a:cubicBezTo>
                  <a:pt x="10964" y="2079"/>
                  <a:pt x="9578" y="693"/>
                  <a:pt x="7877" y="693"/>
                </a:cubicBezTo>
                <a:lnTo>
                  <a:pt x="6837" y="693"/>
                </a:lnTo>
                <a:cubicBezTo>
                  <a:pt x="6711" y="315"/>
                  <a:pt x="6301" y="0"/>
                  <a:pt x="5829"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nvGrpSpPr>
          <p:cNvPr id="10283" name="Google Shape;10283;p112"/>
          <p:cNvGrpSpPr/>
          <p:nvPr/>
        </p:nvGrpSpPr>
        <p:grpSpPr>
          <a:xfrm>
            <a:off x="1732577" y="2046095"/>
            <a:ext cx="472703" cy="473997"/>
            <a:chOff x="-35495600" y="1912725"/>
            <a:chExt cx="292225" cy="293025"/>
          </a:xfrm>
        </p:grpSpPr>
        <p:sp>
          <p:nvSpPr>
            <p:cNvPr id="10284" name="Google Shape;10284;p112"/>
            <p:cNvSpPr/>
            <p:nvPr/>
          </p:nvSpPr>
          <p:spPr>
            <a:xfrm>
              <a:off x="-35495600" y="1912725"/>
              <a:ext cx="102400" cy="293025"/>
            </a:xfrm>
            <a:custGeom>
              <a:avLst/>
              <a:gdLst/>
              <a:ahLst/>
              <a:cxnLst/>
              <a:rect l="l" t="t" r="r" b="b"/>
              <a:pathLst>
                <a:path w="4096" h="11721" extrusionOk="0">
                  <a:moveTo>
                    <a:pt x="3088" y="726"/>
                  </a:moveTo>
                  <a:cubicBezTo>
                    <a:pt x="3277" y="726"/>
                    <a:pt x="3435" y="883"/>
                    <a:pt x="3435" y="1041"/>
                  </a:cubicBezTo>
                  <a:lnTo>
                    <a:pt x="3435" y="3120"/>
                  </a:lnTo>
                  <a:cubicBezTo>
                    <a:pt x="3435" y="3309"/>
                    <a:pt x="3277" y="3467"/>
                    <a:pt x="3088" y="3467"/>
                  </a:cubicBezTo>
                  <a:lnTo>
                    <a:pt x="2710" y="3467"/>
                  </a:lnTo>
                  <a:lnTo>
                    <a:pt x="2710" y="726"/>
                  </a:lnTo>
                  <a:close/>
                  <a:moveTo>
                    <a:pt x="2080" y="757"/>
                  </a:moveTo>
                  <a:lnTo>
                    <a:pt x="2080" y="3561"/>
                  </a:lnTo>
                  <a:cubicBezTo>
                    <a:pt x="1702" y="3719"/>
                    <a:pt x="1418" y="4065"/>
                    <a:pt x="1418" y="4538"/>
                  </a:cubicBezTo>
                  <a:lnTo>
                    <a:pt x="1418" y="7310"/>
                  </a:lnTo>
                  <a:cubicBezTo>
                    <a:pt x="1418" y="7720"/>
                    <a:pt x="1702" y="8129"/>
                    <a:pt x="2080" y="8287"/>
                  </a:cubicBezTo>
                  <a:lnTo>
                    <a:pt x="2080" y="11028"/>
                  </a:lnTo>
                  <a:cubicBezTo>
                    <a:pt x="1292" y="10870"/>
                    <a:pt x="725" y="10177"/>
                    <a:pt x="725" y="9326"/>
                  </a:cubicBezTo>
                  <a:lnTo>
                    <a:pt x="725" y="2458"/>
                  </a:lnTo>
                  <a:cubicBezTo>
                    <a:pt x="725" y="1639"/>
                    <a:pt x="1292" y="915"/>
                    <a:pt x="2080" y="757"/>
                  </a:cubicBezTo>
                  <a:close/>
                  <a:moveTo>
                    <a:pt x="3136" y="8314"/>
                  </a:moveTo>
                  <a:cubicBezTo>
                    <a:pt x="3303" y="8314"/>
                    <a:pt x="3435" y="8461"/>
                    <a:pt x="3435" y="8633"/>
                  </a:cubicBezTo>
                  <a:lnTo>
                    <a:pt x="3435" y="10681"/>
                  </a:lnTo>
                  <a:cubicBezTo>
                    <a:pt x="3435" y="10870"/>
                    <a:pt x="3277" y="11028"/>
                    <a:pt x="3088" y="11028"/>
                  </a:cubicBezTo>
                  <a:lnTo>
                    <a:pt x="2710" y="11028"/>
                  </a:lnTo>
                  <a:lnTo>
                    <a:pt x="2710" y="8318"/>
                  </a:lnTo>
                  <a:lnTo>
                    <a:pt x="3088" y="8318"/>
                  </a:lnTo>
                  <a:cubicBezTo>
                    <a:pt x="3104" y="8316"/>
                    <a:pt x="3120" y="8314"/>
                    <a:pt x="3136" y="8314"/>
                  </a:cubicBezTo>
                  <a:close/>
                  <a:moveTo>
                    <a:pt x="2395" y="1"/>
                  </a:moveTo>
                  <a:cubicBezTo>
                    <a:pt x="1072" y="1"/>
                    <a:pt x="0" y="1104"/>
                    <a:pt x="0" y="2427"/>
                  </a:cubicBezTo>
                  <a:lnTo>
                    <a:pt x="0" y="9263"/>
                  </a:lnTo>
                  <a:cubicBezTo>
                    <a:pt x="0" y="10618"/>
                    <a:pt x="1072" y="11721"/>
                    <a:pt x="2395" y="11721"/>
                  </a:cubicBezTo>
                  <a:lnTo>
                    <a:pt x="3088" y="11721"/>
                  </a:lnTo>
                  <a:cubicBezTo>
                    <a:pt x="3624" y="11721"/>
                    <a:pt x="4096" y="11248"/>
                    <a:pt x="4096" y="10681"/>
                  </a:cubicBezTo>
                  <a:lnTo>
                    <a:pt x="4096" y="8633"/>
                  </a:lnTo>
                  <a:cubicBezTo>
                    <a:pt x="4096" y="8098"/>
                    <a:pt x="3624" y="7625"/>
                    <a:pt x="3088" y="7625"/>
                  </a:cubicBezTo>
                  <a:lnTo>
                    <a:pt x="2395" y="7625"/>
                  </a:lnTo>
                  <a:cubicBezTo>
                    <a:pt x="2206" y="7625"/>
                    <a:pt x="2048" y="7468"/>
                    <a:pt x="2048" y="7247"/>
                  </a:cubicBezTo>
                  <a:lnTo>
                    <a:pt x="2048" y="4506"/>
                  </a:lnTo>
                  <a:cubicBezTo>
                    <a:pt x="2048" y="4317"/>
                    <a:pt x="2206" y="4160"/>
                    <a:pt x="2395" y="4160"/>
                  </a:cubicBezTo>
                  <a:lnTo>
                    <a:pt x="3088" y="4160"/>
                  </a:lnTo>
                  <a:cubicBezTo>
                    <a:pt x="3624" y="4160"/>
                    <a:pt x="4096" y="3687"/>
                    <a:pt x="4096" y="3120"/>
                  </a:cubicBezTo>
                  <a:lnTo>
                    <a:pt x="4096" y="1041"/>
                  </a:lnTo>
                  <a:cubicBezTo>
                    <a:pt x="4096" y="474"/>
                    <a:pt x="3624" y="1"/>
                    <a:pt x="3088"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285" name="Google Shape;10285;p112"/>
            <p:cNvSpPr/>
            <p:nvPr/>
          </p:nvSpPr>
          <p:spPr>
            <a:xfrm>
              <a:off x="-35305775" y="1912725"/>
              <a:ext cx="102400" cy="292250"/>
            </a:xfrm>
            <a:custGeom>
              <a:avLst/>
              <a:gdLst/>
              <a:ahLst/>
              <a:cxnLst/>
              <a:rect l="l" t="t" r="r" b="b"/>
              <a:pathLst>
                <a:path w="4096" h="11690" extrusionOk="0">
                  <a:moveTo>
                    <a:pt x="1386" y="694"/>
                  </a:moveTo>
                  <a:lnTo>
                    <a:pt x="1386" y="3435"/>
                  </a:lnTo>
                  <a:lnTo>
                    <a:pt x="1040" y="3435"/>
                  </a:lnTo>
                  <a:cubicBezTo>
                    <a:pt x="1023" y="3438"/>
                    <a:pt x="1007" y="3439"/>
                    <a:pt x="992" y="3439"/>
                  </a:cubicBezTo>
                  <a:cubicBezTo>
                    <a:pt x="825" y="3439"/>
                    <a:pt x="693" y="3293"/>
                    <a:pt x="693" y="3120"/>
                  </a:cubicBezTo>
                  <a:lnTo>
                    <a:pt x="693" y="1041"/>
                  </a:lnTo>
                  <a:cubicBezTo>
                    <a:pt x="693" y="852"/>
                    <a:pt x="851" y="694"/>
                    <a:pt x="1040" y="694"/>
                  </a:cubicBezTo>
                  <a:close/>
                  <a:moveTo>
                    <a:pt x="1386" y="8287"/>
                  </a:moveTo>
                  <a:lnTo>
                    <a:pt x="1386" y="10996"/>
                  </a:lnTo>
                  <a:lnTo>
                    <a:pt x="1040" y="10996"/>
                  </a:lnTo>
                  <a:cubicBezTo>
                    <a:pt x="851" y="10996"/>
                    <a:pt x="693" y="10839"/>
                    <a:pt x="693" y="10681"/>
                  </a:cubicBezTo>
                  <a:lnTo>
                    <a:pt x="693" y="8633"/>
                  </a:lnTo>
                  <a:cubicBezTo>
                    <a:pt x="693" y="8444"/>
                    <a:pt x="851" y="8287"/>
                    <a:pt x="1040" y="8287"/>
                  </a:cubicBezTo>
                  <a:close/>
                  <a:moveTo>
                    <a:pt x="2016" y="757"/>
                  </a:moveTo>
                  <a:cubicBezTo>
                    <a:pt x="2804" y="915"/>
                    <a:pt x="3403" y="1639"/>
                    <a:pt x="3403" y="2458"/>
                  </a:cubicBezTo>
                  <a:lnTo>
                    <a:pt x="3403" y="9295"/>
                  </a:lnTo>
                  <a:cubicBezTo>
                    <a:pt x="3403" y="10114"/>
                    <a:pt x="2804" y="10839"/>
                    <a:pt x="2016" y="10996"/>
                  </a:cubicBezTo>
                  <a:lnTo>
                    <a:pt x="2016" y="8255"/>
                  </a:lnTo>
                  <a:cubicBezTo>
                    <a:pt x="2426" y="8098"/>
                    <a:pt x="2678" y="7720"/>
                    <a:pt x="2678" y="7247"/>
                  </a:cubicBezTo>
                  <a:lnTo>
                    <a:pt x="2678" y="4506"/>
                  </a:lnTo>
                  <a:cubicBezTo>
                    <a:pt x="2678" y="4065"/>
                    <a:pt x="2426" y="3687"/>
                    <a:pt x="2016" y="3530"/>
                  </a:cubicBezTo>
                  <a:lnTo>
                    <a:pt x="2016" y="757"/>
                  </a:lnTo>
                  <a:close/>
                  <a:moveTo>
                    <a:pt x="1040" y="1"/>
                  </a:moveTo>
                  <a:cubicBezTo>
                    <a:pt x="473" y="1"/>
                    <a:pt x="0" y="474"/>
                    <a:pt x="0" y="1041"/>
                  </a:cubicBezTo>
                  <a:lnTo>
                    <a:pt x="0" y="3120"/>
                  </a:lnTo>
                  <a:cubicBezTo>
                    <a:pt x="0" y="3687"/>
                    <a:pt x="473" y="4128"/>
                    <a:pt x="1040" y="4128"/>
                  </a:cubicBezTo>
                  <a:lnTo>
                    <a:pt x="1701" y="4128"/>
                  </a:lnTo>
                  <a:cubicBezTo>
                    <a:pt x="1890" y="4128"/>
                    <a:pt x="2048" y="4286"/>
                    <a:pt x="2048" y="4506"/>
                  </a:cubicBezTo>
                  <a:lnTo>
                    <a:pt x="2048" y="7247"/>
                  </a:lnTo>
                  <a:cubicBezTo>
                    <a:pt x="2048" y="7436"/>
                    <a:pt x="1890" y="7625"/>
                    <a:pt x="1701" y="7625"/>
                  </a:cubicBezTo>
                  <a:lnTo>
                    <a:pt x="1040" y="7625"/>
                  </a:lnTo>
                  <a:cubicBezTo>
                    <a:pt x="473" y="7625"/>
                    <a:pt x="0" y="8098"/>
                    <a:pt x="0" y="8633"/>
                  </a:cubicBezTo>
                  <a:lnTo>
                    <a:pt x="0" y="10681"/>
                  </a:lnTo>
                  <a:cubicBezTo>
                    <a:pt x="0" y="11248"/>
                    <a:pt x="473" y="11689"/>
                    <a:pt x="1040" y="11689"/>
                  </a:cubicBezTo>
                  <a:lnTo>
                    <a:pt x="1701" y="11689"/>
                  </a:lnTo>
                  <a:cubicBezTo>
                    <a:pt x="3056" y="11689"/>
                    <a:pt x="4096" y="10650"/>
                    <a:pt x="4096" y="9295"/>
                  </a:cubicBezTo>
                  <a:lnTo>
                    <a:pt x="4096" y="2458"/>
                  </a:lnTo>
                  <a:cubicBezTo>
                    <a:pt x="4096" y="1104"/>
                    <a:pt x="2993" y="1"/>
                    <a:pt x="1701"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286" name="Google Shape;10286;p112"/>
            <p:cNvSpPr/>
            <p:nvPr/>
          </p:nvSpPr>
          <p:spPr>
            <a:xfrm>
              <a:off x="-35427875" y="2017025"/>
              <a:ext cx="155200" cy="85800"/>
            </a:xfrm>
            <a:custGeom>
              <a:avLst/>
              <a:gdLst/>
              <a:ahLst/>
              <a:cxnLst/>
              <a:rect l="l" t="t" r="r" b="b"/>
              <a:pathLst>
                <a:path w="6208" h="3432" extrusionOk="0">
                  <a:moveTo>
                    <a:pt x="4853" y="1122"/>
                  </a:moveTo>
                  <a:lnTo>
                    <a:pt x="5420" y="1657"/>
                  </a:lnTo>
                  <a:lnTo>
                    <a:pt x="4853" y="2256"/>
                  </a:lnTo>
                  <a:cubicBezTo>
                    <a:pt x="4821" y="2130"/>
                    <a:pt x="4695" y="2035"/>
                    <a:pt x="4538" y="2035"/>
                  </a:cubicBezTo>
                  <a:lnTo>
                    <a:pt x="1734" y="2035"/>
                  </a:lnTo>
                  <a:cubicBezTo>
                    <a:pt x="1576" y="2035"/>
                    <a:pt x="1482" y="2098"/>
                    <a:pt x="1419" y="2256"/>
                  </a:cubicBezTo>
                  <a:lnTo>
                    <a:pt x="883" y="1657"/>
                  </a:lnTo>
                  <a:lnTo>
                    <a:pt x="1419" y="1122"/>
                  </a:lnTo>
                  <a:cubicBezTo>
                    <a:pt x="1482" y="1248"/>
                    <a:pt x="1576" y="1342"/>
                    <a:pt x="1734" y="1342"/>
                  </a:cubicBezTo>
                  <a:lnTo>
                    <a:pt x="4538" y="1342"/>
                  </a:lnTo>
                  <a:cubicBezTo>
                    <a:pt x="4695" y="1342"/>
                    <a:pt x="4821" y="1279"/>
                    <a:pt x="4853" y="1122"/>
                  </a:cubicBezTo>
                  <a:close/>
                  <a:moveTo>
                    <a:pt x="1715" y="0"/>
                  </a:moveTo>
                  <a:cubicBezTo>
                    <a:pt x="1631" y="0"/>
                    <a:pt x="1553" y="22"/>
                    <a:pt x="1513" y="82"/>
                  </a:cubicBezTo>
                  <a:lnTo>
                    <a:pt x="127" y="1468"/>
                  </a:lnTo>
                  <a:cubicBezTo>
                    <a:pt x="1" y="1594"/>
                    <a:pt x="1" y="1783"/>
                    <a:pt x="127" y="1941"/>
                  </a:cubicBezTo>
                  <a:lnTo>
                    <a:pt x="1513" y="3327"/>
                  </a:lnTo>
                  <a:cubicBezTo>
                    <a:pt x="1550" y="3401"/>
                    <a:pt x="1619" y="3432"/>
                    <a:pt x="1696" y="3432"/>
                  </a:cubicBezTo>
                  <a:cubicBezTo>
                    <a:pt x="1750" y="3432"/>
                    <a:pt x="1807" y="3416"/>
                    <a:pt x="1860" y="3390"/>
                  </a:cubicBezTo>
                  <a:cubicBezTo>
                    <a:pt x="1986" y="3359"/>
                    <a:pt x="2049" y="3201"/>
                    <a:pt x="2049" y="3075"/>
                  </a:cubicBezTo>
                  <a:lnTo>
                    <a:pt x="2049" y="2729"/>
                  </a:lnTo>
                  <a:lnTo>
                    <a:pt x="4160" y="2729"/>
                  </a:lnTo>
                  <a:lnTo>
                    <a:pt x="4160" y="3075"/>
                  </a:lnTo>
                  <a:cubicBezTo>
                    <a:pt x="4160" y="3233"/>
                    <a:pt x="4223" y="3359"/>
                    <a:pt x="4349" y="3390"/>
                  </a:cubicBezTo>
                  <a:cubicBezTo>
                    <a:pt x="4401" y="3416"/>
                    <a:pt x="4458" y="3432"/>
                    <a:pt x="4512" y="3432"/>
                  </a:cubicBezTo>
                  <a:cubicBezTo>
                    <a:pt x="4589" y="3432"/>
                    <a:pt x="4658" y="3401"/>
                    <a:pt x="4695" y="3327"/>
                  </a:cubicBezTo>
                  <a:lnTo>
                    <a:pt x="6081" y="1941"/>
                  </a:lnTo>
                  <a:cubicBezTo>
                    <a:pt x="6207" y="1815"/>
                    <a:pt x="6207" y="1594"/>
                    <a:pt x="6081" y="1468"/>
                  </a:cubicBezTo>
                  <a:lnTo>
                    <a:pt x="4695" y="82"/>
                  </a:lnTo>
                  <a:cubicBezTo>
                    <a:pt x="4649" y="36"/>
                    <a:pt x="4552" y="7"/>
                    <a:pt x="4454" y="7"/>
                  </a:cubicBezTo>
                  <a:cubicBezTo>
                    <a:pt x="4418" y="7"/>
                    <a:pt x="4382" y="11"/>
                    <a:pt x="4349" y="19"/>
                  </a:cubicBezTo>
                  <a:cubicBezTo>
                    <a:pt x="4223" y="51"/>
                    <a:pt x="4160" y="208"/>
                    <a:pt x="4160" y="334"/>
                  </a:cubicBezTo>
                  <a:lnTo>
                    <a:pt x="4160" y="681"/>
                  </a:lnTo>
                  <a:lnTo>
                    <a:pt x="2049" y="681"/>
                  </a:lnTo>
                  <a:lnTo>
                    <a:pt x="2049" y="334"/>
                  </a:lnTo>
                  <a:cubicBezTo>
                    <a:pt x="2049" y="177"/>
                    <a:pt x="1986" y="51"/>
                    <a:pt x="1860" y="19"/>
                  </a:cubicBezTo>
                  <a:cubicBezTo>
                    <a:pt x="1814" y="8"/>
                    <a:pt x="1763" y="0"/>
                    <a:pt x="1715"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sp>
        <p:nvSpPr>
          <p:cNvPr id="10287" name="Google Shape;10287;p112"/>
          <p:cNvSpPr/>
          <p:nvPr/>
        </p:nvSpPr>
        <p:spPr>
          <a:xfrm>
            <a:off x="1727021" y="2658367"/>
            <a:ext cx="475251" cy="472703"/>
          </a:xfrm>
          <a:custGeom>
            <a:avLst/>
            <a:gdLst/>
            <a:ahLst/>
            <a:cxnLst/>
            <a:rect l="l" t="t" r="r" b="b"/>
            <a:pathLst>
              <a:path w="11752" h="11689" extrusionOk="0">
                <a:moveTo>
                  <a:pt x="5860" y="662"/>
                </a:moveTo>
                <a:cubicBezTo>
                  <a:pt x="6427" y="662"/>
                  <a:pt x="6900" y="1135"/>
                  <a:pt x="6900" y="1670"/>
                </a:cubicBezTo>
                <a:cubicBezTo>
                  <a:pt x="6900" y="2238"/>
                  <a:pt x="6427" y="2710"/>
                  <a:pt x="5860" y="2710"/>
                </a:cubicBezTo>
                <a:cubicBezTo>
                  <a:pt x="5293" y="2710"/>
                  <a:pt x="4821" y="2238"/>
                  <a:pt x="4821" y="1670"/>
                </a:cubicBezTo>
                <a:cubicBezTo>
                  <a:pt x="4821" y="1135"/>
                  <a:pt x="5293" y="662"/>
                  <a:pt x="5860" y="662"/>
                </a:cubicBezTo>
                <a:close/>
                <a:moveTo>
                  <a:pt x="5860" y="3372"/>
                </a:moveTo>
                <a:cubicBezTo>
                  <a:pt x="7058" y="3403"/>
                  <a:pt x="8034" y="4317"/>
                  <a:pt x="8223" y="5451"/>
                </a:cubicBezTo>
                <a:lnTo>
                  <a:pt x="3466" y="5451"/>
                </a:lnTo>
                <a:cubicBezTo>
                  <a:pt x="3624" y="4285"/>
                  <a:pt x="4663" y="3372"/>
                  <a:pt x="5860" y="3372"/>
                </a:cubicBezTo>
                <a:close/>
                <a:moveTo>
                  <a:pt x="9420" y="7562"/>
                </a:moveTo>
                <a:cubicBezTo>
                  <a:pt x="9956" y="7562"/>
                  <a:pt x="10429" y="7814"/>
                  <a:pt x="10744" y="8223"/>
                </a:cubicBezTo>
                <a:lnTo>
                  <a:pt x="10082" y="8223"/>
                </a:lnTo>
                <a:cubicBezTo>
                  <a:pt x="9546" y="8223"/>
                  <a:pt x="9074" y="8696"/>
                  <a:pt x="9074" y="9232"/>
                </a:cubicBezTo>
                <a:cubicBezTo>
                  <a:pt x="9074" y="9799"/>
                  <a:pt x="9546" y="10271"/>
                  <a:pt x="10082" y="10271"/>
                </a:cubicBezTo>
                <a:lnTo>
                  <a:pt x="10744" y="10271"/>
                </a:lnTo>
                <a:cubicBezTo>
                  <a:pt x="10429" y="10712"/>
                  <a:pt x="9925" y="10933"/>
                  <a:pt x="9420" y="10933"/>
                </a:cubicBezTo>
                <a:cubicBezTo>
                  <a:pt x="8696" y="10933"/>
                  <a:pt x="8034" y="10460"/>
                  <a:pt x="7814" y="9799"/>
                </a:cubicBezTo>
                <a:cubicBezTo>
                  <a:pt x="7751" y="9673"/>
                  <a:pt x="7593" y="9547"/>
                  <a:pt x="7499" y="9547"/>
                </a:cubicBezTo>
                <a:lnTo>
                  <a:pt x="4222" y="9547"/>
                </a:lnTo>
                <a:cubicBezTo>
                  <a:pt x="4065" y="9547"/>
                  <a:pt x="3939" y="9641"/>
                  <a:pt x="3907" y="9799"/>
                </a:cubicBezTo>
                <a:cubicBezTo>
                  <a:pt x="3655" y="10460"/>
                  <a:pt x="2993" y="10933"/>
                  <a:pt x="2300" y="10933"/>
                </a:cubicBezTo>
                <a:cubicBezTo>
                  <a:pt x="1733" y="10933"/>
                  <a:pt x="1261" y="10649"/>
                  <a:pt x="914" y="10271"/>
                </a:cubicBezTo>
                <a:lnTo>
                  <a:pt x="1576" y="10271"/>
                </a:lnTo>
                <a:cubicBezTo>
                  <a:pt x="2143" y="10271"/>
                  <a:pt x="2615" y="9799"/>
                  <a:pt x="2615" y="9232"/>
                </a:cubicBezTo>
                <a:cubicBezTo>
                  <a:pt x="2615" y="8696"/>
                  <a:pt x="2143" y="8223"/>
                  <a:pt x="1576" y="8223"/>
                </a:cubicBezTo>
                <a:lnTo>
                  <a:pt x="914" y="8223"/>
                </a:lnTo>
                <a:cubicBezTo>
                  <a:pt x="1229" y="7782"/>
                  <a:pt x="1733" y="7562"/>
                  <a:pt x="2300" y="7562"/>
                </a:cubicBezTo>
                <a:cubicBezTo>
                  <a:pt x="2993" y="7562"/>
                  <a:pt x="3655" y="8034"/>
                  <a:pt x="3907" y="8696"/>
                </a:cubicBezTo>
                <a:cubicBezTo>
                  <a:pt x="3939" y="8822"/>
                  <a:pt x="4096" y="8917"/>
                  <a:pt x="4222" y="8917"/>
                </a:cubicBezTo>
                <a:lnTo>
                  <a:pt x="7499" y="8917"/>
                </a:lnTo>
                <a:cubicBezTo>
                  <a:pt x="7656" y="8917"/>
                  <a:pt x="7751" y="8854"/>
                  <a:pt x="7814" y="8696"/>
                </a:cubicBezTo>
                <a:cubicBezTo>
                  <a:pt x="8034" y="8034"/>
                  <a:pt x="8727" y="7562"/>
                  <a:pt x="9420" y="7562"/>
                </a:cubicBezTo>
                <a:close/>
                <a:moveTo>
                  <a:pt x="5860" y="1"/>
                </a:moveTo>
                <a:cubicBezTo>
                  <a:pt x="4915" y="1"/>
                  <a:pt x="4128" y="725"/>
                  <a:pt x="4128" y="1670"/>
                </a:cubicBezTo>
                <a:cubicBezTo>
                  <a:pt x="4128" y="2143"/>
                  <a:pt x="4348" y="2584"/>
                  <a:pt x="4663" y="2899"/>
                </a:cubicBezTo>
                <a:lnTo>
                  <a:pt x="4695" y="2931"/>
                </a:lnTo>
                <a:cubicBezTo>
                  <a:pt x="3592" y="3372"/>
                  <a:pt x="2773" y="4474"/>
                  <a:pt x="2773" y="5829"/>
                </a:cubicBezTo>
                <a:cubicBezTo>
                  <a:pt x="2773" y="6018"/>
                  <a:pt x="2930" y="6176"/>
                  <a:pt x="3119" y="6176"/>
                </a:cubicBezTo>
                <a:lnTo>
                  <a:pt x="5514" y="6176"/>
                </a:lnTo>
                <a:lnTo>
                  <a:pt x="5514" y="8255"/>
                </a:lnTo>
                <a:lnTo>
                  <a:pt x="4443" y="8255"/>
                </a:lnTo>
                <a:cubicBezTo>
                  <a:pt x="4065" y="7436"/>
                  <a:pt x="3245" y="6869"/>
                  <a:pt x="2300" y="6869"/>
                </a:cubicBezTo>
                <a:cubicBezTo>
                  <a:pt x="1261" y="6869"/>
                  <a:pt x="410" y="7499"/>
                  <a:pt x="32" y="8444"/>
                </a:cubicBezTo>
                <a:cubicBezTo>
                  <a:pt x="0" y="8570"/>
                  <a:pt x="0" y="8696"/>
                  <a:pt x="95" y="8759"/>
                </a:cubicBezTo>
                <a:cubicBezTo>
                  <a:pt x="158" y="8854"/>
                  <a:pt x="253" y="8917"/>
                  <a:pt x="347" y="8917"/>
                </a:cubicBezTo>
                <a:lnTo>
                  <a:pt x="1607" y="8917"/>
                </a:lnTo>
                <a:cubicBezTo>
                  <a:pt x="1828" y="8917"/>
                  <a:pt x="1985" y="9074"/>
                  <a:pt x="1985" y="9295"/>
                </a:cubicBezTo>
                <a:cubicBezTo>
                  <a:pt x="1985" y="9484"/>
                  <a:pt x="1828" y="9641"/>
                  <a:pt x="1607" y="9641"/>
                </a:cubicBezTo>
                <a:lnTo>
                  <a:pt x="347" y="9641"/>
                </a:lnTo>
                <a:cubicBezTo>
                  <a:pt x="253" y="9641"/>
                  <a:pt x="158" y="9673"/>
                  <a:pt x="95" y="9799"/>
                </a:cubicBezTo>
                <a:cubicBezTo>
                  <a:pt x="0" y="9862"/>
                  <a:pt x="0" y="9988"/>
                  <a:pt x="32" y="10114"/>
                </a:cubicBezTo>
                <a:cubicBezTo>
                  <a:pt x="410" y="11059"/>
                  <a:pt x="1292" y="11689"/>
                  <a:pt x="2300" y="11689"/>
                </a:cubicBezTo>
                <a:cubicBezTo>
                  <a:pt x="3182" y="11689"/>
                  <a:pt x="4065" y="11122"/>
                  <a:pt x="4443" y="10303"/>
                </a:cubicBezTo>
                <a:lnTo>
                  <a:pt x="7278" y="10303"/>
                </a:lnTo>
                <a:cubicBezTo>
                  <a:pt x="7688" y="11122"/>
                  <a:pt x="8507" y="11689"/>
                  <a:pt x="9452" y="11689"/>
                </a:cubicBezTo>
                <a:cubicBezTo>
                  <a:pt x="10492" y="11689"/>
                  <a:pt x="11342" y="11059"/>
                  <a:pt x="11689" y="10114"/>
                </a:cubicBezTo>
                <a:cubicBezTo>
                  <a:pt x="11752" y="9988"/>
                  <a:pt x="11752" y="9862"/>
                  <a:pt x="11657" y="9799"/>
                </a:cubicBezTo>
                <a:cubicBezTo>
                  <a:pt x="11594" y="9704"/>
                  <a:pt x="11500" y="9641"/>
                  <a:pt x="11374" y="9641"/>
                </a:cubicBezTo>
                <a:lnTo>
                  <a:pt x="10114" y="9641"/>
                </a:lnTo>
                <a:cubicBezTo>
                  <a:pt x="9925" y="9641"/>
                  <a:pt x="9767" y="9484"/>
                  <a:pt x="9767" y="9295"/>
                </a:cubicBezTo>
                <a:cubicBezTo>
                  <a:pt x="9767" y="9074"/>
                  <a:pt x="9925" y="8917"/>
                  <a:pt x="10114" y="8917"/>
                </a:cubicBezTo>
                <a:lnTo>
                  <a:pt x="11374" y="8917"/>
                </a:lnTo>
                <a:cubicBezTo>
                  <a:pt x="11500" y="8917"/>
                  <a:pt x="11594" y="8885"/>
                  <a:pt x="11657" y="8759"/>
                </a:cubicBezTo>
                <a:cubicBezTo>
                  <a:pt x="11752" y="8696"/>
                  <a:pt x="11752" y="8570"/>
                  <a:pt x="11689" y="8444"/>
                </a:cubicBezTo>
                <a:cubicBezTo>
                  <a:pt x="11342" y="7499"/>
                  <a:pt x="10429" y="6869"/>
                  <a:pt x="9452" y="6869"/>
                </a:cubicBezTo>
                <a:cubicBezTo>
                  <a:pt x="8538" y="6869"/>
                  <a:pt x="7688" y="7436"/>
                  <a:pt x="7278" y="8255"/>
                </a:cubicBezTo>
                <a:lnTo>
                  <a:pt x="6238" y="8255"/>
                </a:lnTo>
                <a:lnTo>
                  <a:pt x="6238" y="6176"/>
                </a:lnTo>
                <a:lnTo>
                  <a:pt x="8633" y="6176"/>
                </a:lnTo>
                <a:cubicBezTo>
                  <a:pt x="8822" y="6176"/>
                  <a:pt x="8979" y="6018"/>
                  <a:pt x="8979" y="5829"/>
                </a:cubicBezTo>
                <a:cubicBezTo>
                  <a:pt x="8979" y="4506"/>
                  <a:pt x="8192" y="3403"/>
                  <a:pt x="7058" y="2931"/>
                </a:cubicBezTo>
                <a:cubicBezTo>
                  <a:pt x="7341" y="2616"/>
                  <a:pt x="7562" y="2175"/>
                  <a:pt x="7562" y="1670"/>
                </a:cubicBezTo>
                <a:cubicBezTo>
                  <a:pt x="7562" y="725"/>
                  <a:pt x="6806" y="1"/>
                  <a:pt x="5860"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nvGrpSpPr>
          <p:cNvPr id="10288" name="Google Shape;10288;p112"/>
          <p:cNvGrpSpPr/>
          <p:nvPr/>
        </p:nvGrpSpPr>
        <p:grpSpPr>
          <a:xfrm>
            <a:off x="1732577" y="3265493"/>
            <a:ext cx="472703" cy="471449"/>
            <a:chOff x="-35495600" y="2631825"/>
            <a:chExt cx="292225" cy="291450"/>
          </a:xfrm>
        </p:grpSpPr>
        <p:sp>
          <p:nvSpPr>
            <p:cNvPr id="10289" name="Google Shape;10289;p112"/>
            <p:cNvSpPr/>
            <p:nvPr/>
          </p:nvSpPr>
          <p:spPr>
            <a:xfrm>
              <a:off x="-35495600" y="2735025"/>
              <a:ext cx="137075" cy="188250"/>
            </a:xfrm>
            <a:custGeom>
              <a:avLst/>
              <a:gdLst/>
              <a:ahLst/>
              <a:cxnLst/>
              <a:rect l="l" t="t" r="r" b="b"/>
              <a:pathLst>
                <a:path w="5483" h="7530" extrusionOk="0">
                  <a:moveTo>
                    <a:pt x="4443" y="662"/>
                  </a:moveTo>
                  <a:cubicBezTo>
                    <a:pt x="4663" y="662"/>
                    <a:pt x="4821" y="819"/>
                    <a:pt x="4821" y="1040"/>
                  </a:cubicBezTo>
                  <a:lnTo>
                    <a:pt x="4821" y="1386"/>
                  </a:lnTo>
                  <a:lnTo>
                    <a:pt x="662" y="1386"/>
                  </a:lnTo>
                  <a:lnTo>
                    <a:pt x="662" y="1040"/>
                  </a:lnTo>
                  <a:cubicBezTo>
                    <a:pt x="725" y="819"/>
                    <a:pt x="820" y="662"/>
                    <a:pt x="1040" y="662"/>
                  </a:cubicBezTo>
                  <a:close/>
                  <a:moveTo>
                    <a:pt x="4821" y="2048"/>
                  </a:moveTo>
                  <a:lnTo>
                    <a:pt x="4821" y="5482"/>
                  </a:lnTo>
                  <a:lnTo>
                    <a:pt x="662" y="5482"/>
                  </a:lnTo>
                  <a:lnTo>
                    <a:pt x="662" y="2048"/>
                  </a:lnTo>
                  <a:close/>
                  <a:moveTo>
                    <a:pt x="4852" y="6143"/>
                  </a:moveTo>
                  <a:lnTo>
                    <a:pt x="4852" y="6490"/>
                  </a:lnTo>
                  <a:cubicBezTo>
                    <a:pt x="4821" y="6711"/>
                    <a:pt x="4663" y="6868"/>
                    <a:pt x="4506" y="6868"/>
                  </a:cubicBezTo>
                  <a:lnTo>
                    <a:pt x="1072" y="6868"/>
                  </a:lnTo>
                  <a:cubicBezTo>
                    <a:pt x="883" y="6868"/>
                    <a:pt x="725" y="6711"/>
                    <a:pt x="725" y="6490"/>
                  </a:cubicBezTo>
                  <a:lnTo>
                    <a:pt x="725" y="6143"/>
                  </a:lnTo>
                  <a:close/>
                  <a:moveTo>
                    <a:pt x="1040" y="0"/>
                  </a:moveTo>
                  <a:cubicBezTo>
                    <a:pt x="473" y="0"/>
                    <a:pt x="0" y="473"/>
                    <a:pt x="0" y="1040"/>
                  </a:cubicBezTo>
                  <a:lnTo>
                    <a:pt x="0" y="6490"/>
                  </a:lnTo>
                  <a:cubicBezTo>
                    <a:pt x="0" y="7057"/>
                    <a:pt x="473" y="7530"/>
                    <a:pt x="1040" y="7530"/>
                  </a:cubicBezTo>
                  <a:lnTo>
                    <a:pt x="4443" y="7530"/>
                  </a:lnTo>
                  <a:cubicBezTo>
                    <a:pt x="5010" y="7530"/>
                    <a:pt x="5482" y="7057"/>
                    <a:pt x="5482" y="6490"/>
                  </a:cubicBezTo>
                  <a:lnTo>
                    <a:pt x="5482" y="1040"/>
                  </a:lnTo>
                  <a:cubicBezTo>
                    <a:pt x="5482" y="473"/>
                    <a:pt x="5010" y="0"/>
                    <a:pt x="4443"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290" name="Google Shape;10290;p112"/>
            <p:cNvSpPr/>
            <p:nvPr/>
          </p:nvSpPr>
          <p:spPr>
            <a:xfrm>
              <a:off x="-35339650" y="2631825"/>
              <a:ext cx="136275" cy="188275"/>
            </a:xfrm>
            <a:custGeom>
              <a:avLst/>
              <a:gdLst/>
              <a:ahLst/>
              <a:cxnLst/>
              <a:rect l="l" t="t" r="r" b="b"/>
              <a:pathLst>
                <a:path w="5451" h="7531" extrusionOk="0">
                  <a:moveTo>
                    <a:pt x="4411" y="662"/>
                  </a:moveTo>
                  <a:cubicBezTo>
                    <a:pt x="4600" y="662"/>
                    <a:pt x="4758" y="820"/>
                    <a:pt x="4758" y="1009"/>
                  </a:cubicBezTo>
                  <a:lnTo>
                    <a:pt x="4758" y="1387"/>
                  </a:lnTo>
                  <a:lnTo>
                    <a:pt x="631" y="1387"/>
                  </a:lnTo>
                  <a:lnTo>
                    <a:pt x="631" y="1009"/>
                  </a:lnTo>
                  <a:cubicBezTo>
                    <a:pt x="631" y="820"/>
                    <a:pt x="788" y="662"/>
                    <a:pt x="977" y="662"/>
                  </a:cubicBezTo>
                  <a:close/>
                  <a:moveTo>
                    <a:pt x="4758" y="2049"/>
                  </a:moveTo>
                  <a:lnTo>
                    <a:pt x="4758" y="5483"/>
                  </a:lnTo>
                  <a:lnTo>
                    <a:pt x="631" y="5483"/>
                  </a:lnTo>
                  <a:lnTo>
                    <a:pt x="631" y="2049"/>
                  </a:lnTo>
                  <a:close/>
                  <a:moveTo>
                    <a:pt x="4789" y="6144"/>
                  </a:moveTo>
                  <a:lnTo>
                    <a:pt x="4789" y="6491"/>
                  </a:lnTo>
                  <a:cubicBezTo>
                    <a:pt x="4758" y="6680"/>
                    <a:pt x="4600" y="6837"/>
                    <a:pt x="4443" y="6837"/>
                  </a:cubicBezTo>
                  <a:lnTo>
                    <a:pt x="1009" y="6837"/>
                  </a:lnTo>
                  <a:cubicBezTo>
                    <a:pt x="820" y="6837"/>
                    <a:pt x="662" y="6680"/>
                    <a:pt x="662" y="6491"/>
                  </a:cubicBezTo>
                  <a:lnTo>
                    <a:pt x="662" y="6144"/>
                  </a:lnTo>
                  <a:close/>
                  <a:moveTo>
                    <a:pt x="1009" y="1"/>
                  </a:moveTo>
                  <a:cubicBezTo>
                    <a:pt x="473" y="1"/>
                    <a:pt x="0" y="473"/>
                    <a:pt x="0" y="1009"/>
                  </a:cubicBezTo>
                  <a:lnTo>
                    <a:pt x="0" y="6491"/>
                  </a:lnTo>
                  <a:cubicBezTo>
                    <a:pt x="0" y="7058"/>
                    <a:pt x="473" y="7531"/>
                    <a:pt x="1009" y="7531"/>
                  </a:cubicBezTo>
                  <a:lnTo>
                    <a:pt x="4443" y="7531"/>
                  </a:lnTo>
                  <a:cubicBezTo>
                    <a:pt x="4978" y="7531"/>
                    <a:pt x="5451" y="7058"/>
                    <a:pt x="5451" y="6491"/>
                  </a:cubicBezTo>
                  <a:lnTo>
                    <a:pt x="5451" y="1009"/>
                  </a:lnTo>
                  <a:cubicBezTo>
                    <a:pt x="5451" y="442"/>
                    <a:pt x="4978" y="1"/>
                    <a:pt x="4443"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291" name="Google Shape;10291;p112"/>
            <p:cNvSpPr/>
            <p:nvPr/>
          </p:nvSpPr>
          <p:spPr>
            <a:xfrm>
              <a:off x="-35341225" y="2836625"/>
              <a:ext cx="85075" cy="84500"/>
            </a:xfrm>
            <a:custGeom>
              <a:avLst/>
              <a:gdLst/>
              <a:ahLst/>
              <a:cxnLst/>
              <a:rect l="l" t="t" r="r" b="b"/>
              <a:pathLst>
                <a:path w="3403" h="3380" extrusionOk="0">
                  <a:moveTo>
                    <a:pt x="3056" y="0"/>
                  </a:moveTo>
                  <a:cubicBezTo>
                    <a:pt x="2836" y="0"/>
                    <a:pt x="2678" y="158"/>
                    <a:pt x="2678" y="347"/>
                  </a:cubicBezTo>
                  <a:lnTo>
                    <a:pt x="2678" y="1008"/>
                  </a:lnTo>
                  <a:cubicBezTo>
                    <a:pt x="2678" y="1575"/>
                    <a:pt x="2206" y="2048"/>
                    <a:pt x="1670" y="2048"/>
                  </a:cubicBezTo>
                  <a:lnTo>
                    <a:pt x="1103" y="2048"/>
                  </a:lnTo>
                  <a:lnTo>
                    <a:pt x="1229" y="1922"/>
                  </a:lnTo>
                  <a:cubicBezTo>
                    <a:pt x="1418" y="1859"/>
                    <a:pt x="1418" y="1638"/>
                    <a:pt x="1261" y="1481"/>
                  </a:cubicBezTo>
                  <a:cubicBezTo>
                    <a:pt x="1213" y="1418"/>
                    <a:pt x="1127" y="1386"/>
                    <a:pt x="1036" y="1386"/>
                  </a:cubicBezTo>
                  <a:cubicBezTo>
                    <a:pt x="946" y="1386"/>
                    <a:pt x="851" y="1418"/>
                    <a:pt x="788" y="1481"/>
                  </a:cubicBezTo>
                  <a:lnTo>
                    <a:pt x="126" y="2142"/>
                  </a:lnTo>
                  <a:cubicBezTo>
                    <a:pt x="0" y="2268"/>
                    <a:pt x="0" y="2521"/>
                    <a:pt x="126" y="2615"/>
                  </a:cubicBezTo>
                  <a:lnTo>
                    <a:pt x="788" y="3308"/>
                  </a:lnTo>
                  <a:cubicBezTo>
                    <a:pt x="851" y="3355"/>
                    <a:pt x="946" y="3379"/>
                    <a:pt x="1036" y="3379"/>
                  </a:cubicBezTo>
                  <a:cubicBezTo>
                    <a:pt x="1127" y="3379"/>
                    <a:pt x="1213" y="3355"/>
                    <a:pt x="1261" y="3308"/>
                  </a:cubicBezTo>
                  <a:cubicBezTo>
                    <a:pt x="1387" y="3182"/>
                    <a:pt x="1387" y="2930"/>
                    <a:pt x="1261" y="2836"/>
                  </a:cubicBezTo>
                  <a:lnTo>
                    <a:pt x="1166" y="2710"/>
                  </a:lnTo>
                  <a:lnTo>
                    <a:pt x="1702" y="2710"/>
                  </a:lnTo>
                  <a:cubicBezTo>
                    <a:pt x="2647" y="2710"/>
                    <a:pt x="3403" y="1953"/>
                    <a:pt x="3403" y="1008"/>
                  </a:cubicBezTo>
                  <a:lnTo>
                    <a:pt x="3403" y="347"/>
                  </a:lnTo>
                  <a:cubicBezTo>
                    <a:pt x="3403" y="158"/>
                    <a:pt x="3245" y="0"/>
                    <a:pt x="3056"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292" name="Google Shape;10292;p112"/>
            <p:cNvSpPr/>
            <p:nvPr/>
          </p:nvSpPr>
          <p:spPr>
            <a:xfrm>
              <a:off x="-35442050" y="2632625"/>
              <a:ext cx="84300" cy="85075"/>
            </a:xfrm>
            <a:custGeom>
              <a:avLst/>
              <a:gdLst/>
              <a:ahLst/>
              <a:cxnLst/>
              <a:rect l="l" t="t" r="r" b="b"/>
              <a:pathLst>
                <a:path w="3372" h="3403" extrusionOk="0">
                  <a:moveTo>
                    <a:pt x="2348" y="0"/>
                  </a:moveTo>
                  <a:cubicBezTo>
                    <a:pt x="2261" y="0"/>
                    <a:pt x="2175" y="32"/>
                    <a:pt x="2112" y="95"/>
                  </a:cubicBezTo>
                  <a:cubicBezTo>
                    <a:pt x="1986" y="189"/>
                    <a:pt x="1986" y="441"/>
                    <a:pt x="2112" y="567"/>
                  </a:cubicBezTo>
                  <a:lnTo>
                    <a:pt x="2238" y="662"/>
                  </a:lnTo>
                  <a:lnTo>
                    <a:pt x="1671" y="662"/>
                  </a:lnTo>
                  <a:cubicBezTo>
                    <a:pt x="725" y="662"/>
                    <a:pt x="1" y="1418"/>
                    <a:pt x="1" y="2363"/>
                  </a:cubicBezTo>
                  <a:lnTo>
                    <a:pt x="1" y="3025"/>
                  </a:lnTo>
                  <a:cubicBezTo>
                    <a:pt x="1" y="3245"/>
                    <a:pt x="158" y="3403"/>
                    <a:pt x="347" y="3403"/>
                  </a:cubicBezTo>
                  <a:cubicBezTo>
                    <a:pt x="536" y="3403"/>
                    <a:pt x="694" y="3245"/>
                    <a:pt x="694" y="3025"/>
                  </a:cubicBezTo>
                  <a:lnTo>
                    <a:pt x="694" y="2363"/>
                  </a:lnTo>
                  <a:cubicBezTo>
                    <a:pt x="694" y="1828"/>
                    <a:pt x="1166" y="1355"/>
                    <a:pt x="1734" y="1355"/>
                  </a:cubicBezTo>
                  <a:lnTo>
                    <a:pt x="2269" y="1355"/>
                  </a:lnTo>
                  <a:lnTo>
                    <a:pt x="2143" y="1450"/>
                  </a:lnTo>
                  <a:cubicBezTo>
                    <a:pt x="1954" y="1544"/>
                    <a:pt x="1954" y="1765"/>
                    <a:pt x="2112" y="1891"/>
                  </a:cubicBezTo>
                  <a:cubicBezTo>
                    <a:pt x="2175" y="1954"/>
                    <a:pt x="2261" y="1985"/>
                    <a:pt x="2348" y="1985"/>
                  </a:cubicBezTo>
                  <a:cubicBezTo>
                    <a:pt x="2435" y="1985"/>
                    <a:pt x="2521" y="1954"/>
                    <a:pt x="2584" y="1891"/>
                  </a:cubicBezTo>
                  <a:lnTo>
                    <a:pt x="3246" y="1229"/>
                  </a:lnTo>
                  <a:cubicBezTo>
                    <a:pt x="3372" y="1103"/>
                    <a:pt x="3372" y="883"/>
                    <a:pt x="3246" y="756"/>
                  </a:cubicBezTo>
                  <a:lnTo>
                    <a:pt x="2584" y="95"/>
                  </a:lnTo>
                  <a:cubicBezTo>
                    <a:pt x="2521" y="32"/>
                    <a:pt x="2435" y="0"/>
                    <a:pt x="2348"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10293" name="Google Shape;10293;p112"/>
          <p:cNvGrpSpPr/>
          <p:nvPr/>
        </p:nvGrpSpPr>
        <p:grpSpPr>
          <a:xfrm>
            <a:off x="4716109" y="2047370"/>
            <a:ext cx="471449" cy="471449"/>
            <a:chOff x="-33673825" y="1916675"/>
            <a:chExt cx="291450" cy="291450"/>
          </a:xfrm>
        </p:grpSpPr>
        <p:sp>
          <p:nvSpPr>
            <p:cNvPr id="10294" name="Google Shape;10294;p112"/>
            <p:cNvSpPr/>
            <p:nvPr/>
          </p:nvSpPr>
          <p:spPr>
            <a:xfrm>
              <a:off x="-33486375" y="1950550"/>
              <a:ext cx="85875" cy="85075"/>
            </a:xfrm>
            <a:custGeom>
              <a:avLst/>
              <a:gdLst/>
              <a:ahLst/>
              <a:cxnLst/>
              <a:rect l="l" t="t" r="r" b="b"/>
              <a:pathLst>
                <a:path w="3435" h="3403" extrusionOk="0">
                  <a:moveTo>
                    <a:pt x="379" y="0"/>
                  </a:moveTo>
                  <a:cubicBezTo>
                    <a:pt x="158" y="0"/>
                    <a:pt x="1" y="158"/>
                    <a:pt x="1" y="347"/>
                  </a:cubicBezTo>
                  <a:cubicBezTo>
                    <a:pt x="1" y="536"/>
                    <a:pt x="158" y="693"/>
                    <a:pt x="379" y="693"/>
                  </a:cubicBezTo>
                  <a:lnTo>
                    <a:pt x="1072" y="693"/>
                  </a:lnTo>
                  <a:cubicBezTo>
                    <a:pt x="1639" y="693"/>
                    <a:pt x="2111" y="1166"/>
                    <a:pt x="2111" y="1733"/>
                  </a:cubicBezTo>
                  <a:lnTo>
                    <a:pt x="2111" y="2269"/>
                  </a:lnTo>
                  <a:lnTo>
                    <a:pt x="1985" y="2174"/>
                  </a:lnTo>
                  <a:cubicBezTo>
                    <a:pt x="1922" y="2111"/>
                    <a:pt x="1836" y="2080"/>
                    <a:pt x="1749" y="2080"/>
                  </a:cubicBezTo>
                  <a:cubicBezTo>
                    <a:pt x="1663" y="2080"/>
                    <a:pt x="1576" y="2111"/>
                    <a:pt x="1513" y="2174"/>
                  </a:cubicBezTo>
                  <a:cubicBezTo>
                    <a:pt x="1387" y="2269"/>
                    <a:pt x="1387" y="2521"/>
                    <a:pt x="1513" y="2647"/>
                  </a:cubicBezTo>
                  <a:lnTo>
                    <a:pt x="2174" y="3308"/>
                  </a:lnTo>
                  <a:cubicBezTo>
                    <a:pt x="2237" y="3371"/>
                    <a:pt x="2324" y="3403"/>
                    <a:pt x="2411" y="3403"/>
                  </a:cubicBezTo>
                  <a:cubicBezTo>
                    <a:pt x="2497" y="3403"/>
                    <a:pt x="2584" y="3371"/>
                    <a:pt x="2647" y="3308"/>
                  </a:cubicBezTo>
                  <a:lnTo>
                    <a:pt x="3309" y="2647"/>
                  </a:lnTo>
                  <a:cubicBezTo>
                    <a:pt x="3435" y="2521"/>
                    <a:pt x="3435" y="2269"/>
                    <a:pt x="3309" y="2174"/>
                  </a:cubicBezTo>
                  <a:cubicBezTo>
                    <a:pt x="3261" y="2111"/>
                    <a:pt x="3175" y="2080"/>
                    <a:pt x="3084" y="2080"/>
                  </a:cubicBezTo>
                  <a:cubicBezTo>
                    <a:pt x="2994" y="2080"/>
                    <a:pt x="2899" y="2111"/>
                    <a:pt x="2836" y="2174"/>
                  </a:cubicBezTo>
                  <a:lnTo>
                    <a:pt x="2742" y="2269"/>
                  </a:lnTo>
                  <a:lnTo>
                    <a:pt x="2742" y="1733"/>
                  </a:lnTo>
                  <a:cubicBezTo>
                    <a:pt x="2773" y="788"/>
                    <a:pt x="1985" y="0"/>
                    <a:pt x="1072"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295" name="Google Shape;10295;p112"/>
            <p:cNvSpPr/>
            <p:nvPr/>
          </p:nvSpPr>
          <p:spPr>
            <a:xfrm>
              <a:off x="-33605300" y="2122250"/>
              <a:ext cx="85075" cy="85875"/>
            </a:xfrm>
            <a:custGeom>
              <a:avLst/>
              <a:gdLst/>
              <a:ahLst/>
              <a:cxnLst/>
              <a:rect l="l" t="t" r="r" b="b"/>
              <a:pathLst>
                <a:path w="3403" h="3435" extrusionOk="0">
                  <a:moveTo>
                    <a:pt x="1024" y="0"/>
                  </a:moveTo>
                  <a:cubicBezTo>
                    <a:pt x="938" y="0"/>
                    <a:pt x="851" y="32"/>
                    <a:pt x="788" y="95"/>
                  </a:cubicBezTo>
                  <a:lnTo>
                    <a:pt x="126" y="756"/>
                  </a:lnTo>
                  <a:cubicBezTo>
                    <a:pt x="0" y="882"/>
                    <a:pt x="0" y="1134"/>
                    <a:pt x="126" y="1229"/>
                  </a:cubicBezTo>
                  <a:cubicBezTo>
                    <a:pt x="189" y="1292"/>
                    <a:pt x="276" y="1323"/>
                    <a:pt x="363" y="1323"/>
                  </a:cubicBezTo>
                  <a:cubicBezTo>
                    <a:pt x="449" y="1323"/>
                    <a:pt x="536" y="1292"/>
                    <a:pt x="599" y="1229"/>
                  </a:cubicBezTo>
                  <a:lnTo>
                    <a:pt x="725" y="1134"/>
                  </a:lnTo>
                  <a:lnTo>
                    <a:pt x="725" y="1670"/>
                  </a:lnTo>
                  <a:cubicBezTo>
                    <a:pt x="662" y="2174"/>
                    <a:pt x="820" y="2615"/>
                    <a:pt x="1135" y="2930"/>
                  </a:cubicBezTo>
                  <a:cubicBezTo>
                    <a:pt x="1450" y="3245"/>
                    <a:pt x="1891" y="3434"/>
                    <a:pt x="2363" y="3434"/>
                  </a:cubicBezTo>
                  <a:lnTo>
                    <a:pt x="3025" y="3434"/>
                  </a:lnTo>
                  <a:cubicBezTo>
                    <a:pt x="3245" y="3434"/>
                    <a:pt x="3403" y="3277"/>
                    <a:pt x="3403" y="3088"/>
                  </a:cubicBezTo>
                  <a:cubicBezTo>
                    <a:pt x="3403" y="2899"/>
                    <a:pt x="3245" y="2741"/>
                    <a:pt x="3025" y="2741"/>
                  </a:cubicBezTo>
                  <a:lnTo>
                    <a:pt x="2363" y="2741"/>
                  </a:lnTo>
                  <a:cubicBezTo>
                    <a:pt x="1828" y="2741"/>
                    <a:pt x="1355" y="2269"/>
                    <a:pt x="1355" y="1670"/>
                  </a:cubicBezTo>
                  <a:lnTo>
                    <a:pt x="1355" y="1134"/>
                  </a:lnTo>
                  <a:lnTo>
                    <a:pt x="1450" y="1229"/>
                  </a:lnTo>
                  <a:cubicBezTo>
                    <a:pt x="1513" y="1292"/>
                    <a:pt x="1607" y="1323"/>
                    <a:pt x="1698" y="1323"/>
                  </a:cubicBezTo>
                  <a:cubicBezTo>
                    <a:pt x="1788" y="1323"/>
                    <a:pt x="1875" y="1292"/>
                    <a:pt x="1922" y="1229"/>
                  </a:cubicBezTo>
                  <a:cubicBezTo>
                    <a:pt x="2048" y="1134"/>
                    <a:pt x="2048" y="882"/>
                    <a:pt x="1922" y="756"/>
                  </a:cubicBezTo>
                  <a:lnTo>
                    <a:pt x="1261" y="95"/>
                  </a:lnTo>
                  <a:cubicBezTo>
                    <a:pt x="1198" y="32"/>
                    <a:pt x="1111" y="0"/>
                    <a:pt x="1024"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296" name="Google Shape;10296;p112"/>
            <p:cNvSpPr/>
            <p:nvPr/>
          </p:nvSpPr>
          <p:spPr>
            <a:xfrm>
              <a:off x="-33673825" y="1916675"/>
              <a:ext cx="189050" cy="189050"/>
            </a:xfrm>
            <a:custGeom>
              <a:avLst/>
              <a:gdLst/>
              <a:ahLst/>
              <a:cxnLst/>
              <a:rect l="l" t="t" r="r" b="b"/>
              <a:pathLst>
                <a:path w="7562" h="7562" extrusionOk="0">
                  <a:moveTo>
                    <a:pt x="3718" y="694"/>
                  </a:moveTo>
                  <a:cubicBezTo>
                    <a:pt x="5073" y="694"/>
                    <a:pt x="6144" y="1733"/>
                    <a:pt x="6144" y="3088"/>
                  </a:cubicBezTo>
                  <a:lnTo>
                    <a:pt x="6144" y="3466"/>
                  </a:lnTo>
                  <a:lnTo>
                    <a:pt x="6081" y="3466"/>
                  </a:lnTo>
                  <a:cubicBezTo>
                    <a:pt x="5986" y="2647"/>
                    <a:pt x="5262" y="2048"/>
                    <a:pt x="4411" y="2048"/>
                  </a:cubicBezTo>
                  <a:lnTo>
                    <a:pt x="3025" y="2048"/>
                  </a:lnTo>
                  <a:cubicBezTo>
                    <a:pt x="2143" y="2048"/>
                    <a:pt x="1481" y="2678"/>
                    <a:pt x="1324" y="3466"/>
                  </a:cubicBezTo>
                  <a:lnTo>
                    <a:pt x="1292" y="3466"/>
                  </a:lnTo>
                  <a:lnTo>
                    <a:pt x="1292" y="3088"/>
                  </a:lnTo>
                  <a:cubicBezTo>
                    <a:pt x="1355" y="1733"/>
                    <a:pt x="2426" y="694"/>
                    <a:pt x="3718" y="694"/>
                  </a:cubicBezTo>
                  <a:close/>
                  <a:moveTo>
                    <a:pt x="4380" y="2741"/>
                  </a:moveTo>
                  <a:cubicBezTo>
                    <a:pt x="4915" y="2741"/>
                    <a:pt x="5388" y="3214"/>
                    <a:pt x="5388" y="3750"/>
                  </a:cubicBezTo>
                  <a:lnTo>
                    <a:pt x="5388" y="4096"/>
                  </a:lnTo>
                  <a:lnTo>
                    <a:pt x="5388" y="4096"/>
                  </a:lnTo>
                  <a:cubicBezTo>
                    <a:pt x="5153" y="4096"/>
                    <a:pt x="4907" y="4091"/>
                    <a:pt x="4821" y="4033"/>
                  </a:cubicBezTo>
                  <a:cubicBezTo>
                    <a:pt x="4789" y="4002"/>
                    <a:pt x="4758" y="3876"/>
                    <a:pt x="4758" y="3781"/>
                  </a:cubicBezTo>
                  <a:cubicBezTo>
                    <a:pt x="4758" y="3592"/>
                    <a:pt x="4600" y="3435"/>
                    <a:pt x="4411" y="3435"/>
                  </a:cubicBezTo>
                  <a:cubicBezTo>
                    <a:pt x="4191" y="3435"/>
                    <a:pt x="4033" y="3592"/>
                    <a:pt x="4033" y="3781"/>
                  </a:cubicBezTo>
                  <a:cubicBezTo>
                    <a:pt x="4033" y="3876"/>
                    <a:pt x="4033" y="4002"/>
                    <a:pt x="3970" y="4033"/>
                  </a:cubicBezTo>
                  <a:cubicBezTo>
                    <a:pt x="3907" y="4096"/>
                    <a:pt x="3757" y="4112"/>
                    <a:pt x="3576" y="4112"/>
                  </a:cubicBezTo>
                  <a:cubicBezTo>
                    <a:pt x="3395" y="4112"/>
                    <a:pt x="3182" y="4096"/>
                    <a:pt x="2993" y="4096"/>
                  </a:cubicBezTo>
                  <a:lnTo>
                    <a:pt x="1954" y="4096"/>
                  </a:lnTo>
                  <a:lnTo>
                    <a:pt x="1954" y="3750"/>
                  </a:lnTo>
                  <a:cubicBezTo>
                    <a:pt x="1954" y="3214"/>
                    <a:pt x="2426" y="2741"/>
                    <a:pt x="2993" y="2741"/>
                  </a:cubicBezTo>
                  <a:close/>
                  <a:moveTo>
                    <a:pt x="1009" y="4065"/>
                  </a:moveTo>
                  <a:cubicBezTo>
                    <a:pt x="1198" y="4065"/>
                    <a:pt x="1355" y="4222"/>
                    <a:pt x="1355" y="4411"/>
                  </a:cubicBezTo>
                  <a:lnTo>
                    <a:pt x="1355" y="5104"/>
                  </a:lnTo>
                  <a:cubicBezTo>
                    <a:pt x="1355" y="5293"/>
                    <a:pt x="1198" y="5451"/>
                    <a:pt x="1009" y="5451"/>
                  </a:cubicBezTo>
                  <a:cubicBezTo>
                    <a:pt x="820" y="5451"/>
                    <a:pt x="662" y="5293"/>
                    <a:pt x="662" y="5104"/>
                  </a:cubicBezTo>
                  <a:lnTo>
                    <a:pt x="662" y="4411"/>
                  </a:lnTo>
                  <a:cubicBezTo>
                    <a:pt x="662" y="4222"/>
                    <a:pt x="820" y="4065"/>
                    <a:pt x="1009" y="4065"/>
                  </a:cubicBezTo>
                  <a:close/>
                  <a:moveTo>
                    <a:pt x="6490" y="4096"/>
                  </a:moveTo>
                  <a:cubicBezTo>
                    <a:pt x="6679" y="4096"/>
                    <a:pt x="6837" y="4254"/>
                    <a:pt x="6837" y="4474"/>
                  </a:cubicBezTo>
                  <a:lnTo>
                    <a:pt x="6837" y="5136"/>
                  </a:lnTo>
                  <a:cubicBezTo>
                    <a:pt x="6837" y="5325"/>
                    <a:pt x="6679" y="5482"/>
                    <a:pt x="6490" y="5482"/>
                  </a:cubicBezTo>
                  <a:cubicBezTo>
                    <a:pt x="6301" y="5482"/>
                    <a:pt x="6144" y="5325"/>
                    <a:pt x="6144" y="5136"/>
                  </a:cubicBezTo>
                  <a:lnTo>
                    <a:pt x="6144" y="4474"/>
                  </a:lnTo>
                  <a:cubicBezTo>
                    <a:pt x="6144" y="4254"/>
                    <a:pt x="6301" y="4096"/>
                    <a:pt x="6490" y="4096"/>
                  </a:cubicBezTo>
                  <a:close/>
                  <a:moveTo>
                    <a:pt x="4443" y="4537"/>
                  </a:moveTo>
                  <a:cubicBezTo>
                    <a:pt x="4726" y="4726"/>
                    <a:pt x="5073" y="4789"/>
                    <a:pt x="5451" y="4789"/>
                  </a:cubicBezTo>
                  <a:lnTo>
                    <a:pt x="5451" y="5136"/>
                  </a:lnTo>
                  <a:cubicBezTo>
                    <a:pt x="5451" y="6081"/>
                    <a:pt x="4663" y="6869"/>
                    <a:pt x="3718" y="6869"/>
                  </a:cubicBezTo>
                  <a:cubicBezTo>
                    <a:pt x="2773" y="6869"/>
                    <a:pt x="2048" y="6081"/>
                    <a:pt x="2048" y="5136"/>
                  </a:cubicBezTo>
                  <a:lnTo>
                    <a:pt x="2048" y="4789"/>
                  </a:lnTo>
                  <a:lnTo>
                    <a:pt x="3056" y="4789"/>
                  </a:lnTo>
                  <a:cubicBezTo>
                    <a:pt x="3148" y="4789"/>
                    <a:pt x="3241" y="4790"/>
                    <a:pt x="3333" y="4790"/>
                  </a:cubicBezTo>
                  <a:cubicBezTo>
                    <a:pt x="3749" y="4790"/>
                    <a:pt x="4159" y="4769"/>
                    <a:pt x="4443" y="4537"/>
                  </a:cubicBezTo>
                  <a:close/>
                  <a:moveTo>
                    <a:pt x="3813" y="1"/>
                  </a:moveTo>
                  <a:cubicBezTo>
                    <a:pt x="2111" y="1"/>
                    <a:pt x="725" y="1387"/>
                    <a:pt x="725" y="3088"/>
                  </a:cubicBezTo>
                  <a:lnTo>
                    <a:pt x="725" y="3466"/>
                  </a:lnTo>
                  <a:cubicBezTo>
                    <a:pt x="347" y="3624"/>
                    <a:pt x="63" y="4002"/>
                    <a:pt x="63" y="4474"/>
                  </a:cubicBezTo>
                  <a:lnTo>
                    <a:pt x="63" y="5136"/>
                  </a:lnTo>
                  <a:cubicBezTo>
                    <a:pt x="0" y="5671"/>
                    <a:pt x="473" y="6144"/>
                    <a:pt x="1009" y="6144"/>
                  </a:cubicBezTo>
                  <a:cubicBezTo>
                    <a:pt x="1198" y="6144"/>
                    <a:pt x="1355" y="6112"/>
                    <a:pt x="1513" y="6049"/>
                  </a:cubicBezTo>
                  <a:cubicBezTo>
                    <a:pt x="1891" y="6932"/>
                    <a:pt x="2741" y="7562"/>
                    <a:pt x="3781" y="7562"/>
                  </a:cubicBezTo>
                  <a:cubicBezTo>
                    <a:pt x="4789" y="7562"/>
                    <a:pt x="5671" y="6932"/>
                    <a:pt x="6018" y="6049"/>
                  </a:cubicBezTo>
                  <a:cubicBezTo>
                    <a:pt x="6175" y="6112"/>
                    <a:pt x="6333" y="6144"/>
                    <a:pt x="6522" y="6144"/>
                  </a:cubicBezTo>
                  <a:cubicBezTo>
                    <a:pt x="7089" y="6144"/>
                    <a:pt x="7562" y="5671"/>
                    <a:pt x="7562" y="5136"/>
                  </a:cubicBezTo>
                  <a:lnTo>
                    <a:pt x="7562" y="4474"/>
                  </a:lnTo>
                  <a:cubicBezTo>
                    <a:pt x="7562" y="4033"/>
                    <a:pt x="7278" y="3624"/>
                    <a:pt x="6869" y="3466"/>
                  </a:cubicBezTo>
                  <a:lnTo>
                    <a:pt x="6869" y="3088"/>
                  </a:lnTo>
                  <a:cubicBezTo>
                    <a:pt x="6869" y="1387"/>
                    <a:pt x="5514" y="1"/>
                    <a:pt x="3813"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297" name="Google Shape;10297;p112"/>
            <p:cNvSpPr/>
            <p:nvPr/>
          </p:nvSpPr>
          <p:spPr>
            <a:xfrm>
              <a:off x="-33503700" y="2070250"/>
              <a:ext cx="121325" cy="137075"/>
            </a:xfrm>
            <a:custGeom>
              <a:avLst/>
              <a:gdLst/>
              <a:ahLst/>
              <a:cxnLst/>
              <a:rect l="l" t="t" r="r" b="b"/>
              <a:pathLst>
                <a:path w="4853" h="5483" extrusionOk="0">
                  <a:moveTo>
                    <a:pt x="3151" y="726"/>
                  </a:moveTo>
                  <a:cubicBezTo>
                    <a:pt x="3687" y="726"/>
                    <a:pt x="4222" y="1198"/>
                    <a:pt x="4222" y="1734"/>
                  </a:cubicBezTo>
                  <a:lnTo>
                    <a:pt x="4222" y="2112"/>
                  </a:lnTo>
                  <a:cubicBezTo>
                    <a:pt x="3939" y="2112"/>
                    <a:pt x="3655" y="2112"/>
                    <a:pt x="3592" y="1986"/>
                  </a:cubicBezTo>
                  <a:cubicBezTo>
                    <a:pt x="3529" y="1954"/>
                    <a:pt x="3498" y="1828"/>
                    <a:pt x="3498" y="1734"/>
                  </a:cubicBezTo>
                  <a:cubicBezTo>
                    <a:pt x="3498" y="1545"/>
                    <a:pt x="3340" y="1387"/>
                    <a:pt x="3151" y="1387"/>
                  </a:cubicBezTo>
                  <a:cubicBezTo>
                    <a:pt x="2962" y="1387"/>
                    <a:pt x="2804" y="1545"/>
                    <a:pt x="2804" y="1734"/>
                  </a:cubicBezTo>
                  <a:cubicBezTo>
                    <a:pt x="2804" y="1828"/>
                    <a:pt x="2804" y="1954"/>
                    <a:pt x="2710" y="1986"/>
                  </a:cubicBezTo>
                  <a:cubicBezTo>
                    <a:pt x="2636" y="2060"/>
                    <a:pt x="2487" y="2090"/>
                    <a:pt x="2312" y="2090"/>
                  </a:cubicBezTo>
                  <a:cubicBezTo>
                    <a:pt x="2189" y="2090"/>
                    <a:pt x="2053" y="2075"/>
                    <a:pt x="1922" y="2049"/>
                  </a:cubicBezTo>
                  <a:lnTo>
                    <a:pt x="694" y="2049"/>
                  </a:lnTo>
                  <a:lnTo>
                    <a:pt x="694" y="1734"/>
                  </a:lnTo>
                  <a:cubicBezTo>
                    <a:pt x="694" y="1198"/>
                    <a:pt x="1166" y="726"/>
                    <a:pt x="1765" y="726"/>
                  </a:cubicBezTo>
                  <a:close/>
                  <a:moveTo>
                    <a:pt x="3151" y="2521"/>
                  </a:moveTo>
                  <a:cubicBezTo>
                    <a:pt x="3435" y="2742"/>
                    <a:pt x="3813" y="2773"/>
                    <a:pt x="4222" y="2773"/>
                  </a:cubicBezTo>
                  <a:lnTo>
                    <a:pt x="4222" y="3120"/>
                  </a:lnTo>
                  <a:cubicBezTo>
                    <a:pt x="4159" y="4034"/>
                    <a:pt x="3372" y="4853"/>
                    <a:pt x="2426" y="4853"/>
                  </a:cubicBezTo>
                  <a:cubicBezTo>
                    <a:pt x="1481" y="4853"/>
                    <a:pt x="694" y="4065"/>
                    <a:pt x="694" y="3120"/>
                  </a:cubicBezTo>
                  <a:lnTo>
                    <a:pt x="694" y="2773"/>
                  </a:lnTo>
                  <a:lnTo>
                    <a:pt x="1765" y="2773"/>
                  </a:lnTo>
                  <a:cubicBezTo>
                    <a:pt x="1859" y="2773"/>
                    <a:pt x="2836" y="2773"/>
                    <a:pt x="3151" y="2521"/>
                  </a:cubicBezTo>
                  <a:close/>
                  <a:moveTo>
                    <a:pt x="1733" y="1"/>
                  </a:moveTo>
                  <a:cubicBezTo>
                    <a:pt x="788" y="1"/>
                    <a:pt x="1" y="757"/>
                    <a:pt x="1" y="1702"/>
                  </a:cubicBezTo>
                  <a:lnTo>
                    <a:pt x="1" y="3088"/>
                  </a:lnTo>
                  <a:cubicBezTo>
                    <a:pt x="1" y="4412"/>
                    <a:pt x="1103" y="5483"/>
                    <a:pt x="2395" y="5483"/>
                  </a:cubicBezTo>
                  <a:cubicBezTo>
                    <a:pt x="3750" y="5483"/>
                    <a:pt x="4789" y="4380"/>
                    <a:pt x="4789" y="3088"/>
                  </a:cubicBezTo>
                  <a:lnTo>
                    <a:pt x="4789" y="1702"/>
                  </a:lnTo>
                  <a:cubicBezTo>
                    <a:pt x="4852" y="789"/>
                    <a:pt x="4065" y="1"/>
                    <a:pt x="3120"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10298" name="Google Shape;10298;p112"/>
          <p:cNvGrpSpPr/>
          <p:nvPr/>
        </p:nvGrpSpPr>
        <p:grpSpPr>
          <a:xfrm>
            <a:off x="4712934" y="2657476"/>
            <a:ext cx="477799" cy="473957"/>
            <a:chOff x="-33676975" y="2275050"/>
            <a:chExt cx="295375" cy="293000"/>
          </a:xfrm>
        </p:grpSpPr>
        <p:sp>
          <p:nvSpPr>
            <p:cNvPr id="10299" name="Google Shape;10299;p112"/>
            <p:cNvSpPr/>
            <p:nvPr/>
          </p:nvSpPr>
          <p:spPr>
            <a:xfrm>
              <a:off x="-33502125" y="2309700"/>
              <a:ext cx="52800" cy="67750"/>
            </a:xfrm>
            <a:custGeom>
              <a:avLst/>
              <a:gdLst/>
              <a:ahLst/>
              <a:cxnLst/>
              <a:rect l="l" t="t" r="r" b="b"/>
              <a:pathLst>
                <a:path w="2112" h="2710" extrusionOk="0">
                  <a:moveTo>
                    <a:pt x="1040" y="0"/>
                  </a:moveTo>
                  <a:cubicBezTo>
                    <a:pt x="473" y="0"/>
                    <a:pt x="1" y="473"/>
                    <a:pt x="1" y="1040"/>
                  </a:cubicBezTo>
                  <a:cubicBezTo>
                    <a:pt x="1" y="1229"/>
                    <a:pt x="158" y="1387"/>
                    <a:pt x="379" y="1387"/>
                  </a:cubicBezTo>
                  <a:cubicBezTo>
                    <a:pt x="568" y="1387"/>
                    <a:pt x="725" y="1229"/>
                    <a:pt x="725" y="1040"/>
                  </a:cubicBezTo>
                  <a:cubicBezTo>
                    <a:pt x="725" y="820"/>
                    <a:pt x="883" y="662"/>
                    <a:pt x="1072" y="662"/>
                  </a:cubicBezTo>
                  <a:cubicBezTo>
                    <a:pt x="1261" y="662"/>
                    <a:pt x="1450" y="820"/>
                    <a:pt x="1450" y="1040"/>
                  </a:cubicBezTo>
                  <a:cubicBezTo>
                    <a:pt x="1450" y="1198"/>
                    <a:pt x="1355" y="1292"/>
                    <a:pt x="1198" y="1355"/>
                  </a:cubicBezTo>
                  <a:cubicBezTo>
                    <a:pt x="914" y="1418"/>
                    <a:pt x="725" y="1702"/>
                    <a:pt x="725" y="1985"/>
                  </a:cubicBezTo>
                  <a:lnTo>
                    <a:pt x="725" y="2363"/>
                  </a:lnTo>
                  <a:cubicBezTo>
                    <a:pt x="725" y="2552"/>
                    <a:pt x="883" y="2710"/>
                    <a:pt x="1072" y="2710"/>
                  </a:cubicBezTo>
                  <a:cubicBezTo>
                    <a:pt x="1292" y="2710"/>
                    <a:pt x="1450" y="2552"/>
                    <a:pt x="1450" y="2363"/>
                  </a:cubicBezTo>
                  <a:lnTo>
                    <a:pt x="1450" y="1985"/>
                  </a:lnTo>
                  <a:cubicBezTo>
                    <a:pt x="1828" y="1828"/>
                    <a:pt x="2111" y="1418"/>
                    <a:pt x="2111" y="977"/>
                  </a:cubicBezTo>
                  <a:cubicBezTo>
                    <a:pt x="2048" y="473"/>
                    <a:pt x="1576" y="0"/>
                    <a:pt x="1040"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300" name="Google Shape;10300;p112"/>
            <p:cNvSpPr/>
            <p:nvPr/>
          </p:nvSpPr>
          <p:spPr>
            <a:xfrm>
              <a:off x="-33484800" y="2395550"/>
              <a:ext cx="17350" cy="17350"/>
            </a:xfrm>
            <a:custGeom>
              <a:avLst/>
              <a:gdLst/>
              <a:ahLst/>
              <a:cxnLst/>
              <a:rect l="l" t="t" r="r" b="b"/>
              <a:pathLst>
                <a:path w="694" h="694" extrusionOk="0">
                  <a:moveTo>
                    <a:pt x="347" y="0"/>
                  </a:moveTo>
                  <a:cubicBezTo>
                    <a:pt x="158" y="0"/>
                    <a:pt x="1" y="158"/>
                    <a:pt x="1" y="347"/>
                  </a:cubicBezTo>
                  <a:cubicBezTo>
                    <a:pt x="1" y="536"/>
                    <a:pt x="158" y="694"/>
                    <a:pt x="347" y="694"/>
                  </a:cubicBezTo>
                  <a:cubicBezTo>
                    <a:pt x="536" y="694"/>
                    <a:pt x="694" y="536"/>
                    <a:pt x="694" y="347"/>
                  </a:cubicBezTo>
                  <a:cubicBezTo>
                    <a:pt x="662" y="158"/>
                    <a:pt x="536" y="0"/>
                    <a:pt x="347"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301" name="Google Shape;10301;p112"/>
            <p:cNvSpPr/>
            <p:nvPr/>
          </p:nvSpPr>
          <p:spPr>
            <a:xfrm>
              <a:off x="-33676975" y="2275050"/>
              <a:ext cx="295375" cy="293000"/>
            </a:xfrm>
            <a:custGeom>
              <a:avLst/>
              <a:gdLst/>
              <a:ahLst/>
              <a:cxnLst/>
              <a:rect l="l" t="t" r="r" b="b"/>
              <a:pathLst>
                <a:path w="11815" h="11720" extrusionOk="0">
                  <a:moveTo>
                    <a:pt x="8034" y="725"/>
                  </a:moveTo>
                  <a:cubicBezTo>
                    <a:pt x="9735" y="725"/>
                    <a:pt x="11090" y="2080"/>
                    <a:pt x="11090" y="3781"/>
                  </a:cubicBezTo>
                  <a:cubicBezTo>
                    <a:pt x="11090" y="5482"/>
                    <a:pt x="9735" y="6868"/>
                    <a:pt x="8034" y="6868"/>
                  </a:cubicBezTo>
                  <a:cubicBezTo>
                    <a:pt x="6333" y="6868"/>
                    <a:pt x="4947" y="5482"/>
                    <a:pt x="4947" y="3781"/>
                  </a:cubicBezTo>
                  <a:cubicBezTo>
                    <a:pt x="4947" y="2080"/>
                    <a:pt x="6333" y="725"/>
                    <a:pt x="8034" y="725"/>
                  </a:cubicBezTo>
                  <a:close/>
                  <a:moveTo>
                    <a:pt x="5104" y="6207"/>
                  </a:moveTo>
                  <a:cubicBezTo>
                    <a:pt x="5262" y="6364"/>
                    <a:pt x="5419" y="6553"/>
                    <a:pt x="5577" y="6679"/>
                  </a:cubicBezTo>
                  <a:lnTo>
                    <a:pt x="5325" y="6931"/>
                  </a:lnTo>
                  <a:cubicBezTo>
                    <a:pt x="5262" y="6994"/>
                    <a:pt x="5167" y="7026"/>
                    <a:pt x="5077" y="7026"/>
                  </a:cubicBezTo>
                  <a:cubicBezTo>
                    <a:pt x="4986" y="7026"/>
                    <a:pt x="4899" y="6994"/>
                    <a:pt x="4852" y="6931"/>
                  </a:cubicBezTo>
                  <a:cubicBezTo>
                    <a:pt x="4726" y="6805"/>
                    <a:pt x="4726" y="6585"/>
                    <a:pt x="4852" y="6459"/>
                  </a:cubicBezTo>
                  <a:lnTo>
                    <a:pt x="5104" y="6207"/>
                  </a:lnTo>
                  <a:close/>
                  <a:moveTo>
                    <a:pt x="3104" y="8380"/>
                  </a:moveTo>
                  <a:cubicBezTo>
                    <a:pt x="3190" y="8380"/>
                    <a:pt x="3277" y="8412"/>
                    <a:pt x="3340" y="8475"/>
                  </a:cubicBezTo>
                  <a:cubicBezTo>
                    <a:pt x="3466" y="8601"/>
                    <a:pt x="3466" y="8822"/>
                    <a:pt x="3340" y="8948"/>
                  </a:cubicBezTo>
                  <a:lnTo>
                    <a:pt x="1387" y="10932"/>
                  </a:lnTo>
                  <a:cubicBezTo>
                    <a:pt x="1324" y="10980"/>
                    <a:pt x="1229" y="11003"/>
                    <a:pt x="1139" y="11003"/>
                  </a:cubicBezTo>
                  <a:cubicBezTo>
                    <a:pt x="1048" y="11003"/>
                    <a:pt x="961" y="10980"/>
                    <a:pt x="914" y="10932"/>
                  </a:cubicBezTo>
                  <a:cubicBezTo>
                    <a:pt x="788" y="10806"/>
                    <a:pt x="788" y="10554"/>
                    <a:pt x="914" y="10460"/>
                  </a:cubicBezTo>
                  <a:lnTo>
                    <a:pt x="2867" y="8475"/>
                  </a:lnTo>
                  <a:cubicBezTo>
                    <a:pt x="2930" y="8412"/>
                    <a:pt x="3017" y="8380"/>
                    <a:pt x="3104" y="8380"/>
                  </a:cubicBezTo>
                  <a:close/>
                  <a:moveTo>
                    <a:pt x="8034" y="0"/>
                  </a:moveTo>
                  <a:cubicBezTo>
                    <a:pt x="5955" y="0"/>
                    <a:pt x="4285" y="1701"/>
                    <a:pt x="4285" y="3749"/>
                  </a:cubicBezTo>
                  <a:cubicBezTo>
                    <a:pt x="4285" y="4411"/>
                    <a:pt x="4443" y="5041"/>
                    <a:pt x="4758" y="5608"/>
                  </a:cubicBezTo>
                  <a:lnTo>
                    <a:pt x="4380" y="5986"/>
                  </a:lnTo>
                  <a:cubicBezTo>
                    <a:pt x="4065" y="6301"/>
                    <a:pt x="3970" y="6774"/>
                    <a:pt x="4159" y="7183"/>
                  </a:cubicBezTo>
                  <a:lnTo>
                    <a:pt x="3529" y="7813"/>
                  </a:lnTo>
                  <a:cubicBezTo>
                    <a:pt x="3387" y="7743"/>
                    <a:pt x="3232" y="7707"/>
                    <a:pt x="3077" y="7707"/>
                  </a:cubicBezTo>
                  <a:cubicBezTo>
                    <a:pt x="2819" y="7707"/>
                    <a:pt x="2560" y="7806"/>
                    <a:pt x="2363" y="8002"/>
                  </a:cubicBezTo>
                  <a:lnTo>
                    <a:pt x="378" y="9987"/>
                  </a:lnTo>
                  <a:cubicBezTo>
                    <a:pt x="0" y="10365"/>
                    <a:pt x="0" y="11027"/>
                    <a:pt x="378" y="11436"/>
                  </a:cubicBezTo>
                  <a:cubicBezTo>
                    <a:pt x="583" y="11625"/>
                    <a:pt x="851" y="11720"/>
                    <a:pt x="1119" y="11720"/>
                  </a:cubicBezTo>
                  <a:cubicBezTo>
                    <a:pt x="1387" y="11720"/>
                    <a:pt x="1654" y="11625"/>
                    <a:pt x="1859" y="11436"/>
                  </a:cubicBezTo>
                  <a:lnTo>
                    <a:pt x="3813" y="9452"/>
                  </a:lnTo>
                  <a:cubicBezTo>
                    <a:pt x="4128" y="9137"/>
                    <a:pt x="4222" y="8664"/>
                    <a:pt x="4002" y="8286"/>
                  </a:cubicBezTo>
                  <a:lnTo>
                    <a:pt x="4632" y="7656"/>
                  </a:lnTo>
                  <a:cubicBezTo>
                    <a:pt x="4782" y="7725"/>
                    <a:pt x="4940" y="7761"/>
                    <a:pt x="5097" y="7761"/>
                  </a:cubicBezTo>
                  <a:cubicBezTo>
                    <a:pt x="5367" y="7761"/>
                    <a:pt x="5629" y="7655"/>
                    <a:pt x="5829" y="7435"/>
                  </a:cubicBezTo>
                  <a:lnTo>
                    <a:pt x="6207" y="7057"/>
                  </a:lnTo>
                  <a:cubicBezTo>
                    <a:pt x="6774" y="7372"/>
                    <a:pt x="7404" y="7530"/>
                    <a:pt x="8066" y="7530"/>
                  </a:cubicBezTo>
                  <a:cubicBezTo>
                    <a:pt x="10145" y="7530"/>
                    <a:pt x="11815" y="5829"/>
                    <a:pt x="11815" y="3781"/>
                  </a:cubicBezTo>
                  <a:cubicBezTo>
                    <a:pt x="11815" y="1733"/>
                    <a:pt x="10082" y="0"/>
                    <a:pt x="8034"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10302" name="Google Shape;10302;p112"/>
          <p:cNvGrpSpPr/>
          <p:nvPr/>
        </p:nvGrpSpPr>
        <p:grpSpPr>
          <a:xfrm>
            <a:off x="4716109" y="3264542"/>
            <a:ext cx="471449" cy="473351"/>
            <a:chOff x="-33673825" y="2634975"/>
            <a:chExt cx="291450" cy="292625"/>
          </a:xfrm>
        </p:grpSpPr>
        <p:sp>
          <p:nvSpPr>
            <p:cNvPr id="10303" name="Google Shape;10303;p112"/>
            <p:cNvSpPr/>
            <p:nvPr/>
          </p:nvSpPr>
          <p:spPr>
            <a:xfrm>
              <a:off x="-33673825" y="2634975"/>
              <a:ext cx="291450" cy="292625"/>
            </a:xfrm>
            <a:custGeom>
              <a:avLst/>
              <a:gdLst/>
              <a:ahLst/>
              <a:cxnLst/>
              <a:rect l="l" t="t" r="r" b="b"/>
              <a:pathLst>
                <a:path w="11658" h="11705" extrusionOk="0">
                  <a:moveTo>
                    <a:pt x="5829" y="662"/>
                  </a:moveTo>
                  <a:cubicBezTo>
                    <a:pt x="6459" y="662"/>
                    <a:pt x="7089" y="1261"/>
                    <a:pt x="7562" y="2238"/>
                  </a:cubicBezTo>
                  <a:cubicBezTo>
                    <a:pt x="7310" y="2364"/>
                    <a:pt x="7152" y="2553"/>
                    <a:pt x="7026" y="2773"/>
                  </a:cubicBezTo>
                  <a:cubicBezTo>
                    <a:pt x="6648" y="2742"/>
                    <a:pt x="6238" y="2710"/>
                    <a:pt x="5860" y="2710"/>
                  </a:cubicBezTo>
                  <a:cubicBezTo>
                    <a:pt x="5451" y="2710"/>
                    <a:pt x="5041" y="2742"/>
                    <a:pt x="4663" y="2773"/>
                  </a:cubicBezTo>
                  <a:cubicBezTo>
                    <a:pt x="4569" y="2553"/>
                    <a:pt x="4348" y="2364"/>
                    <a:pt x="4159" y="2238"/>
                  </a:cubicBezTo>
                  <a:cubicBezTo>
                    <a:pt x="4569" y="1261"/>
                    <a:pt x="5199" y="662"/>
                    <a:pt x="5829" y="662"/>
                  </a:cubicBezTo>
                  <a:close/>
                  <a:moveTo>
                    <a:pt x="3403" y="2742"/>
                  </a:moveTo>
                  <a:cubicBezTo>
                    <a:pt x="3813" y="2742"/>
                    <a:pt x="4096" y="3057"/>
                    <a:pt x="4096" y="3403"/>
                  </a:cubicBezTo>
                  <a:cubicBezTo>
                    <a:pt x="4096" y="3750"/>
                    <a:pt x="3781" y="4097"/>
                    <a:pt x="3403" y="4097"/>
                  </a:cubicBezTo>
                  <a:cubicBezTo>
                    <a:pt x="3025" y="4097"/>
                    <a:pt x="2741" y="3750"/>
                    <a:pt x="2741" y="3403"/>
                  </a:cubicBezTo>
                  <a:cubicBezTo>
                    <a:pt x="2741" y="3057"/>
                    <a:pt x="3025" y="2742"/>
                    <a:pt x="3403" y="2742"/>
                  </a:cubicBezTo>
                  <a:close/>
                  <a:moveTo>
                    <a:pt x="7562" y="946"/>
                  </a:moveTo>
                  <a:cubicBezTo>
                    <a:pt x="9011" y="1482"/>
                    <a:pt x="10145" y="2616"/>
                    <a:pt x="10649" y="4097"/>
                  </a:cubicBezTo>
                  <a:cubicBezTo>
                    <a:pt x="10334" y="3844"/>
                    <a:pt x="9988" y="3655"/>
                    <a:pt x="9609" y="3466"/>
                  </a:cubicBezTo>
                  <a:lnTo>
                    <a:pt x="9609" y="3403"/>
                  </a:lnTo>
                  <a:cubicBezTo>
                    <a:pt x="9609" y="2679"/>
                    <a:pt x="8979" y="2049"/>
                    <a:pt x="8223" y="2049"/>
                  </a:cubicBezTo>
                  <a:lnTo>
                    <a:pt x="8192" y="2049"/>
                  </a:lnTo>
                  <a:cubicBezTo>
                    <a:pt x="7971" y="1608"/>
                    <a:pt x="7782" y="1261"/>
                    <a:pt x="7562" y="946"/>
                  </a:cubicBezTo>
                  <a:close/>
                  <a:moveTo>
                    <a:pt x="4096" y="978"/>
                  </a:moveTo>
                  <a:lnTo>
                    <a:pt x="4096" y="978"/>
                  </a:lnTo>
                  <a:cubicBezTo>
                    <a:pt x="3844" y="1293"/>
                    <a:pt x="3624" y="1639"/>
                    <a:pt x="3466" y="2080"/>
                  </a:cubicBezTo>
                  <a:lnTo>
                    <a:pt x="3403" y="2080"/>
                  </a:lnTo>
                  <a:cubicBezTo>
                    <a:pt x="2678" y="2080"/>
                    <a:pt x="2048" y="2710"/>
                    <a:pt x="2048" y="3466"/>
                  </a:cubicBezTo>
                  <a:lnTo>
                    <a:pt x="2048" y="3498"/>
                  </a:lnTo>
                  <a:cubicBezTo>
                    <a:pt x="1639" y="3687"/>
                    <a:pt x="1292" y="3876"/>
                    <a:pt x="977" y="4128"/>
                  </a:cubicBezTo>
                  <a:cubicBezTo>
                    <a:pt x="1481" y="2616"/>
                    <a:pt x="2615" y="1482"/>
                    <a:pt x="4096" y="978"/>
                  </a:cubicBezTo>
                  <a:close/>
                  <a:moveTo>
                    <a:pt x="8223" y="2773"/>
                  </a:moveTo>
                  <a:cubicBezTo>
                    <a:pt x="8601" y="2773"/>
                    <a:pt x="8885" y="3088"/>
                    <a:pt x="8885" y="3466"/>
                  </a:cubicBezTo>
                  <a:cubicBezTo>
                    <a:pt x="8885" y="3813"/>
                    <a:pt x="8601" y="4128"/>
                    <a:pt x="8223" y="4128"/>
                  </a:cubicBezTo>
                  <a:cubicBezTo>
                    <a:pt x="7814" y="4128"/>
                    <a:pt x="7562" y="3813"/>
                    <a:pt x="7562" y="3466"/>
                  </a:cubicBezTo>
                  <a:cubicBezTo>
                    <a:pt x="7562" y="3088"/>
                    <a:pt x="7877" y="2773"/>
                    <a:pt x="8223" y="2773"/>
                  </a:cubicBezTo>
                  <a:close/>
                  <a:moveTo>
                    <a:pt x="9452" y="4160"/>
                  </a:moveTo>
                  <a:cubicBezTo>
                    <a:pt x="10429" y="4632"/>
                    <a:pt x="11027" y="5262"/>
                    <a:pt x="11027" y="5892"/>
                  </a:cubicBezTo>
                  <a:cubicBezTo>
                    <a:pt x="10964" y="5924"/>
                    <a:pt x="10933" y="6050"/>
                    <a:pt x="10933" y="6176"/>
                  </a:cubicBezTo>
                  <a:cubicBezTo>
                    <a:pt x="10492" y="5735"/>
                    <a:pt x="9925" y="5514"/>
                    <a:pt x="9294" y="5514"/>
                  </a:cubicBezTo>
                  <a:cubicBezTo>
                    <a:pt x="9168" y="5514"/>
                    <a:pt x="9042" y="5514"/>
                    <a:pt x="8916" y="5546"/>
                  </a:cubicBezTo>
                  <a:cubicBezTo>
                    <a:pt x="8916" y="5231"/>
                    <a:pt x="8885" y="4947"/>
                    <a:pt x="8885" y="4664"/>
                  </a:cubicBezTo>
                  <a:cubicBezTo>
                    <a:pt x="9137" y="4569"/>
                    <a:pt x="9326" y="4349"/>
                    <a:pt x="9452" y="4160"/>
                  </a:cubicBezTo>
                  <a:close/>
                  <a:moveTo>
                    <a:pt x="2237" y="4097"/>
                  </a:moveTo>
                  <a:cubicBezTo>
                    <a:pt x="2363" y="4349"/>
                    <a:pt x="2552" y="4506"/>
                    <a:pt x="2773" y="4632"/>
                  </a:cubicBezTo>
                  <a:cubicBezTo>
                    <a:pt x="2741" y="5042"/>
                    <a:pt x="2710" y="5420"/>
                    <a:pt x="2710" y="5829"/>
                  </a:cubicBezTo>
                  <a:cubicBezTo>
                    <a:pt x="2710" y="6207"/>
                    <a:pt x="2741" y="6617"/>
                    <a:pt x="2773" y="6995"/>
                  </a:cubicBezTo>
                  <a:cubicBezTo>
                    <a:pt x="2552" y="7121"/>
                    <a:pt x="2363" y="7310"/>
                    <a:pt x="2237" y="7499"/>
                  </a:cubicBezTo>
                  <a:cubicBezTo>
                    <a:pt x="1261" y="7026"/>
                    <a:pt x="662" y="6459"/>
                    <a:pt x="662" y="5829"/>
                  </a:cubicBezTo>
                  <a:cubicBezTo>
                    <a:pt x="662" y="5199"/>
                    <a:pt x="1261" y="4569"/>
                    <a:pt x="2237" y="4097"/>
                  </a:cubicBezTo>
                  <a:close/>
                  <a:moveTo>
                    <a:pt x="5829" y="3466"/>
                  </a:moveTo>
                  <a:cubicBezTo>
                    <a:pt x="6175" y="3466"/>
                    <a:pt x="6522" y="3466"/>
                    <a:pt x="6869" y="3498"/>
                  </a:cubicBezTo>
                  <a:cubicBezTo>
                    <a:pt x="6932" y="4191"/>
                    <a:pt x="7467" y="4790"/>
                    <a:pt x="8192" y="4790"/>
                  </a:cubicBezTo>
                  <a:cubicBezTo>
                    <a:pt x="8223" y="5105"/>
                    <a:pt x="8223" y="5420"/>
                    <a:pt x="8223" y="5735"/>
                  </a:cubicBezTo>
                  <a:cubicBezTo>
                    <a:pt x="7436" y="6144"/>
                    <a:pt x="6869" y="6963"/>
                    <a:pt x="6869" y="7909"/>
                  </a:cubicBezTo>
                  <a:lnTo>
                    <a:pt x="6869" y="8192"/>
                  </a:lnTo>
                  <a:cubicBezTo>
                    <a:pt x="6522" y="8224"/>
                    <a:pt x="6175" y="8224"/>
                    <a:pt x="5829" y="8224"/>
                  </a:cubicBezTo>
                  <a:cubicBezTo>
                    <a:pt x="5451" y="8224"/>
                    <a:pt x="5104" y="8224"/>
                    <a:pt x="4758" y="8192"/>
                  </a:cubicBezTo>
                  <a:cubicBezTo>
                    <a:pt x="4726" y="7468"/>
                    <a:pt x="4159" y="6869"/>
                    <a:pt x="3466" y="6869"/>
                  </a:cubicBezTo>
                  <a:cubicBezTo>
                    <a:pt x="3403" y="6522"/>
                    <a:pt x="3403" y="6207"/>
                    <a:pt x="3403" y="5861"/>
                  </a:cubicBezTo>
                  <a:cubicBezTo>
                    <a:pt x="3403" y="5483"/>
                    <a:pt x="3403" y="5136"/>
                    <a:pt x="3466" y="4790"/>
                  </a:cubicBezTo>
                  <a:cubicBezTo>
                    <a:pt x="4159" y="4758"/>
                    <a:pt x="4758" y="4191"/>
                    <a:pt x="4758" y="3498"/>
                  </a:cubicBezTo>
                  <a:cubicBezTo>
                    <a:pt x="5104" y="3466"/>
                    <a:pt x="5482" y="3466"/>
                    <a:pt x="5829" y="3466"/>
                  </a:cubicBezTo>
                  <a:close/>
                  <a:moveTo>
                    <a:pt x="3403" y="7562"/>
                  </a:moveTo>
                  <a:cubicBezTo>
                    <a:pt x="3813" y="7562"/>
                    <a:pt x="4096" y="7877"/>
                    <a:pt x="4096" y="8224"/>
                  </a:cubicBezTo>
                  <a:cubicBezTo>
                    <a:pt x="4096" y="8570"/>
                    <a:pt x="3781" y="8885"/>
                    <a:pt x="3403" y="8885"/>
                  </a:cubicBezTo>
                  <a:cubicBezTo>
                    <a:pt x="3025" y="8885"/>
                    <a:pt x="2741" y="8570"/>
                    <a:pt x="2741" y="8224"/>
                  </a:cubicBezTo>
                  <a:cubicBezTo>
                    <a:pt x="2741" y="7877"/>
                    <a:pt x="3025" y="7562"/>
                    <a:pt x="3403" y="7562"/>
                  </a:cubicBezTo>
                  <a:close/>
                  <a:moveTo>
                    <a:pt x="7940" y="10114"/>
                  </a:moveTo>
                  <a:lnTo>
                    <a:pt x="8192" y="10429"/>
                  </a:lnTo>
                  <a:lnTo>
                    <a:pt x="7593" y="10650"/>
                  </a:lnTo>
                  <a:cubicBezTo>
                    <a:pt x="7719" y="10492"/>
                    <a:pt x="7814" y="10303"/>
                    <a:pt x="7940" y="10114"/>
                  </a:cubicBezTo>
                  <a:close/>
                  <a:moveTo>
                    <a:pt x="977" y="7594"/>
                  </a:moveTo>
                  <a:cubicBezTo>
                    <a:pt x="1261" y="7814"/>
                    <a:pt x="1639" y="8035"/>
                    <a:pt x="2048" y="8224"/>
                  </a:cubicBezTo>
                  <a:lnTo>
                    <a:pt x="2048" y="8255"/>
                  </a:lnTo>
                  <a:cubicBezTo>
                    <a:pt x="2048" y="9011"/>
                    <a:pt x="2678" y="9641"/>
                    <a:pt x="3403" y="9641"/>
                  </a:cubicBezTo>
                  <a:lnTo>
                    <a:pt x="3466" y="9641"/>
                  </a:lnTo>
                  <a:cubicBezTo>
                    <a:pt x="3655" y="10019"/>
                    <a:pt x="3844" y="10397"/>
                    <a:pt x="4096" y="10681"/>
                  </a:cubicBezTo>
                  <a:cubicBezTo>
                    <a:pt x="2615" y="10145"/>
                    <a:pt x="1481" y="9011"/>
                    <a:pt x="977" y="7594"/>
                  </a:cubicBezTo>
                  <a:close/>
                  <a:moveTo>
                    <a:pt x="9294" y="6207"/>
                  </a:moveTo>
                  <a:cubicBezTo>
                    <a:pt x="10240" y="6207"/>
                    <a:pt x="10964" y="6963"/>
                    <a:pt x="10964" y="7909"/>
                  </a:cubicBezTo>
                  <a:cubicBezTo>
                    <a:pt x="10964" y="8192"/>
                    <a:pt x="10901" y="8413"/>
                    <a:pt x="10807" y="8665"/>
                  </a:cubicBezTo>
                  <a:cubicBezTo>
                    <a:pt x="10744" y="8759"/>
                    <a:pt x="10177" y="9484"/>
                    <a:pt x="9294" y="10744"/>
                  </a:cubicBezTo>
                  <a:lnTo>
                    <a:pt x="8979" y="10303"/>
                  </a:lnTo>
                  <a:cubicBezTo>
                    <a:pt x="8018" y="9071"/>
                    <a:pt x="8059" y="9043"/>
                    <a:pt x="8038" y="9043"/>
                  </a:cubicBezTo>
                  <a:lnTo>
                    <a:pt x="8038" y="9043"/>
                  </a:lnTo>
                  <a:cubicBezTo>
                    <a:pt x="8037" y="9043"/>
                    <a:pt x="8036" y="9043"/>
                    <a:pt x="8034" y="9043"/>
                  </a:cubicBezTo>
                  <a:cubicBezTo>
                    <a:pt x="7751" y="8728"/>
                    <a:pt x="7593" y="8350"/>
                    <a:pt x="7593" y="7909"/>
                  </a:cubicBezTo>
                  <a:cubicBezTo>
                    <a:pt x="7593" y="6963"/>
                    <a:pt x="8349" y="6207"/>
                    <a:pt x="9294" y="6207"/>
                  </a:cubicBezTo>
                  <a:close/>
                  <a:moveTo>
                    <a:pt x="7026" y="8854"/>
                  </a:moveTo>
                  <a:cubicBezTo>
                    <a:pt x="7152" y="9074"/>
                    <a:pt x="7278" y="9326"/>
                    <a:pt x="7467" y="9515"/>
                  </a:cubicBezTo>
                  <a:cubicBezTo>
                    <a:pt x="7026" y="10429"/>
                    <a:pt x="6459" y="10965"/>
                    <a:pt x="5829" y="10965"/>
                  </a:cubicBezTo>
                  <a:cubicBezTo>
                    <a:pt x="5199" y="10965"/>
                    <a:pt x="4569" y="10397"/>
                    <a:pt x="4096" y="9389"/>
                  </a:cubicBezTo>
                  <a:cubicBezTo>
                    <a:pt x="4317" y="9295"/>
                    <a:pt x="4474" y="9074"/>
                    <a:pt x="4600" y="8854"/>
                  </a:cubicBezTo>
                  <a:cubicBezTo>
                    <a:pt x="4978" y="8885"/>
                    <a:pt x="5388" y="8917"/>
                    <a:pt x="5766" y="8917"/>
                  </a:cubicBezTo>
                  <a:cubicBezTo>
                    <a:pt x="6207" y="8917"/>
                    <a:pt x="6616" y="8885"/>
                    <a:pt x="7026" y="8854"/>
                  </a:cubicBezTo>
                  <a:close/>
                  <a:moveTo>
                    <a:pt x="5829" y="1"/>
                  </a:moveTo>
                  <a:cubicBezTo>
                    <a:pt x="2584" y="1"/>
                    <a:pt x="0" y="2616"/>
                    <a:pt x="0" y="5861"/>
                  </a:cubicBezTo>
                  <a:cubicBezTo>
                    <a:pt x="0" y="9043"/>
                    <a:pt x="2584" y="11689"/>
                    <a:pt x="5829" y="11689"/>
                  </a:cubicBezTo>
                  <a:cubicBezTo>
                    <a:pt x="6806" y="11689"/>
                    <a:pt x="7751" y="11437"/>
                    <a:pt x="8570" y="11028"/>
                  </a:cubicBezTo>
                  <a:lnTo>
                    <a:pt x="8979" y="11563"/>
                  </a:lnTo>
                  <a:cubicBezTo>
                    <a:pt x="9042" y="11658"/>
                    <a:pt x="9145" y="11705"/>
                    <a:pt x="9247" y="11705"/>
                  </a:cubicBezTo>
                  <a:cubicBezTo>
                    <a:pt x="9350" y="11705"/>
                    <a:pt x="9452" y="11658"/>
                    <a:pt x="9515" y="11563"/>
                  </a:cubicBezTo>
                  <a:cubicBezTo>
                    <a:pt x="9515" y="11563"/>
                    <a:pt x="11279" y="9169"/>
                    <a:pt x="11405" y="8980"/>
                  </a:cubicBezTo>
                  <a:cubicBezTo>
                    <a:pt x="11563" y="8665"/>
                    <a:pt x="11657" y="8287"/>
                    <a:pt x="11657" y="7940"/>
                  </a:cubicBezTo>
                  <a:cubicBezTo>
                    <a:pt x="11657" y="7657"/>
                    <a:pt x="11626" y="7405"/>
                    <a:pt x="11531" y="7152"/>
                  </a:cubicBezTo>
                  <a:cubicBezTo>
                    <a:pt x="11594" y="6774"/>
                    <a:pt x="11657" y="6333"/>
                    <a:pt x="11657" y="5892"/>
                  </a:cubicBezTo>
                  <a:cubicBezTo>
                    <a:pt x="11657" y="2616"/>
                    <a:pt x="9042" y="1"/>
                    <a:pt x="5829"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304" name="Google Shape;10304;p112"/>
            <p:cNvSpPr/>
            <p:nvPr/>
          </p:nvSpPr>
          <p:spPr>
            <a:xfrm>
              <a:off x="-33467475" y="2806675"/>
              <a:ext cx="51225" cy="51225"/>
            </a:xfrm>
            <a:custGeom>
              <a:avLst/>
              <a:gdLst/>
              <a:ahLst/>
              <a:cxnLst/>
              <a:rect l="l" t="t" r="r" b="b"/>
              <a:pathLst>
                <a:path w="2049" h="2049" extrusionOk="0">
                  <a:moveTo>
                    <a:pt x="1040" y="631"/>
                  </a:moveTo>
                  <a:cubicBezTo>
                    <a:pt x="1229" y="631"/>
                    <a:pt x="1387" y="789"/>
                    <a:pt x="1387" y="1009"/>
                  </a:cubicBezTo>
                  <a:cubicBezTo>
                    <a:pt x="1387" y="1198"/>
                    <a:pt x="1198" y="1356"/>
                    <a:pt x="1040" y="1356"/>
                  </a:cubicBezTo>
                  <a:cubicBezTo>
                    <a:pt x="820" y="1356"/>
                    <a:pt x="662" y="1198"/>
                    <a:pt x="662" y="1009"/>
                  </a:cubicBezTo>
                  <a:cubicBezTo>
                    <a:pt x="662" y="789"/>
                    <a:pt x="820" y="631"/>
                    <a:pt x="1040" y="631"/>
                  </a:cubicBezTo>
                  <a:close/>
                  <a:moveTo>
                    <a:pt x="1040" y="1"/>
                  </a:moveTo>
                  <a:cubicBezTo>
                    <a:pt x="473" y="1"/>
                    <a:pt x="1" y="474"/>
                    <a:pt x="1" y="1041"/>
                  </a:cubicBezTo>
                  <a:cubicBezTo>
                    <a:pt x="1" y="1576"/>
                    <a:pt x="473" y="2049"/>
                    <a:pt x="1040" y="2049"/>
                  </a:cubicBezTo>
                  <a:cubicBezTo>
                    <a:pt x="1576" y="2049"/>
                    <a:pt x="2049" y="1576"/>
                    <a:pt x="2049" y="1041"/>
                  </a:cubicBezTo>
                  <a:cubicBezTo>
                    <a:pt x="2049" y="442"/>
                    <a:pt x="1576" y="1"/>
                    <a:pt x="1040"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10305" name="Google Shape;10305;p112"/>
          <p:cNvGrpSpPr/>
          <p:nvPr/>
        </p:nvGrpSpPr>
        <p:grpSpPr>
          <a:xfrm>
            <a:off x="2940119" y="3887096"/>
            <a:ext cx="439583" cy="471531"/>
            <a:chOff x="-31874100" y="1939525"/>
            <a:chExt cx="271750" cy="291500"/>
          </a:xfrm>
        </p:grpSpPr>
        <p:sp>
          <p:nvSpPr>
            <p:cNvPr id="10306" name="Google Shape;10306;p112"/>
            <p:cNvSpPr/>
            <p:nvPr/>
          </p:nvSpPr>
          <p:spPr>
            <a:xfrm>
              <a:off x="-31874100" y="2132475"/>
              <a:ext cx="271750" cy="98550"/>
            </a:xfrm>
            <a:custGeom>
              <a:avLst/>
              <a:gdLst/>
              <a:ahLst/>
              <a:cxnLst/>
              <a:rect l="l" t="t" r="r" b="b"/>
              <a:pathLst>
                <a:path w="10870" h="3942" extrusionOk="0">
                  <a:moveTo>
                    <a:pt x="2080" y="1135"/>
                  </a:moveTo>
                  <a:lnTo>
                    <a:pt x="2300" y="1576"/>
                  </a:lnTo>
                  <a:cubicBezTo>
                    <a:pt x="2363" y="1702"/>
                    <a:pt x="2458" y="1734"/>
                    <a:pt x="2584" y="1765"/>
                  </a:cubicBezTo>
                  <a:lnTo>
                    <a:pt x="3056" y="1860"/>
                  </a:lnTo>
                  <a:lnTo>
                    <a:pt x="2710" y="2206"/>
                  </a:lnTo>
                  <a:cubicBezTo>
                    <a:pt x="2615" y="2269"/>
                    <a:pt x="2584" y="2395"/>
                    <a:pt x="2615" y="2521"/>
                  </a:cubicBezTo>
                  <a:lnTo>
                    <a:pt x="2710" y="2994"/>
                  </a:lnTo>
                  <a:lnTo>
                    <a:pt x="2269" y="2773"/>
                  </a:lnTo>
                  <a:cubicBezTo>
                    <a:pt x="2237" y="2710"/>
                    <a:pt x="2143" y="2710"/>
                    <a:pt x="2111" y="2710"/>
                  </a:cubicBezTo>
                  <a:cubicBezTo>
                    <a:pt x="2080" y="2710"/>
                    <a:pt x="1985" y="2710"/>
                    <a:pt x="1954" y="2773"/>
                  </a:cubicBezTo>
                  <a:lnTo>
                    <a:pt x="1513" y="2994"/>
                  </a:lnTo>
                  <a:lnTo>
                    <a:pt x="1607" y="2521"/>
                  </a:lnTo>
                  <a:cubicBezTo>
                    <a:pt x="1607" y="2395"/>
                    <a:pt x="1607" y="2301"/>
                    <a:pt x="1513" y="2206"/>
                  </a:cubicBezTo>
                  <a:lnTo>
                    <a:pt x="1166" y="1860"/>
                  </a:lnTo>
                  <a:lnTo>
                    <a:pt x="1639" y="1765"/>
                  </a:lnTo>
                  <a:cubicBezTo>
                    <a:pt x="1670" y="1765"/>
                    <a:pt x="1796" y="1702"/>
                    <a:pt x="1828" y="1576"/>
                  </a:cubicBezTo>
                  <a:lnTo>
                    <a:pt x="2080" y="1135"/>
                  </a:lnTo>
                  <a:close/>
                  <a:moveTo>
                    <a:pt x="5514" y="1135"/>
                  </a:moveTo>
                  <a:lnTo>
                    <a:pt x="5734" y="1576"/>
                  </a:lnTo>
                  <a:cubicBezTo>
                    <a:pt x="5766" y="1702"/>
                    <a:pt x="5892" y="1734"/>
                    <a:pt x="6018" y="1765"/>
                  </a:cubicBezTo>
                  <a:lnTo>
                    <a:pt x="6490" y="1860"/>
                  </a:lnTo>
                  <a:lnTo>
                    <a:pt x="6144" y="2206"/>
                  </a:lnTo>
                  <a:cubicBezTo>
                    <a:pt x="6049" y="2269"/>
                    <a:pt x="6018" y="2395"/>
                    <a:pt x="6049" y="2521"/>
                  </a:cubicBezTo>
                  <a:lnTo>
                    <a:pt x="6144" y="2994"/>
                  </a:lnTo>
                  <a:lnTo>
                    <a:pt x="5703" y="2773"/>
                  </a:lnTo>
                  <a:cubicBezTo>
                    <a:pt x="5671" y="2710"/>
                    <a:pt x="5577" y="2710"/>
                    <a:pt x="5545" y="2710"/>
                  </a:cubicBezTo>
                  <a:cubicBezTo>
                    <a:pt x="5514" y="2710"/>
                    <a:pt x="5419" y="2710"/>
                    <a:pt x="5388" y="2773"/>
                  </a:cubicBezTo>
                  <a:lnTo>
                    <a:pt x="4947" y="2994"/>
                  </a:lnTo>
                  <a:lnTo>
                    <a:pt x="5041" y="2521"/>
                  </a:lnTo>
                  <a:cubicBezTo>
                    <a:pt x="5041" y="2395"/>
                    <a:pt x="5041" y="2301"/>
                    <a:pt x="4947" y="2206"/>
                  </a:cubicBezTo>
                  <a:lnTo>
                    <a:pt x="4600" y="1860"/>
                  </a:lnTo>
                  <a:lnTo>
                    <a:pt x="4978" y="1765"/>
                  </a:lnTo>
                  <a:cubicBezTo>
                    <a:pt x="5104" y="1765"/>
                    <a:pt x="5199" y="1702"/>
                    <a:pt x="5262" y="1576"/>
                  </a:cubicBezTo>
                  <a:lnTo>
                    <a:pt x="5514" y="1135"/>
                  </a:lnTo>
                  <a:close/>
                  <a:moveTo>
                    <a:pt x="8916" y="1135"/>
                  </a:moveTo>
                  <a:lnTo>
                    <a:pt x="9168" y="1576"/>
                  </a:lnTo>
                  <a:cubicBezTo>
                    <a:pt x="9200" y="1702"/>
                    <a:pt x="9326" y="1734"/>
                    <a:pt x="9452" y="1765"/>
                  </a:cubicBezTo>
                  <a:lnTo>
                    <a:pt x="9924" y="1860"/>
                  </a:lnTo>
                  <a:lnTo>
                    <a:pt x="9546" y="2206"/>
                  </a:lnTo>
                  <a:cubicBezTo>
                    <a:pt x="9483" y="2269"/>
                    <a:pt x="9452" y="2395"/>
                    <a:pt x="9483" y="2521"/>
                  </a:cubicBezTo>
                  <a:lnTo>
                    <a:pt x="9546" y="2994"/>
                  </a:lnTo>
                  <a:lnTo>
                    <a:pt x="9137" y="2773"/>
                  </a:lnTo>
                  <a:cubicBezTo>
                    <a:pt x="9074" y="2710"/>
                    <a:pt x="9011" y="2710"/>
                    <a:pt x="8979" y="2710"/>
                  </a:cubicBezTo>
                  <a:cubicBezTo>
                    <a:pt x="8916" y="2710"/>
                    <a:pt x="8853" y="2710"/>
                    <a:pt x="8822" y="2773"/>
                  </a:cubicBezTo>
                  <a:lnTo>
                    <a:pt x="8381" y="2994"/>
                  </a:lnTo>
                  <a:lnTo>
                    <a:pt x="8444" y="2521"/>
                  </a:lnTo>
                  <a:cubicBezTo>
                    <a:pt x="8444" y="2395"/>
                    <a:pt x="8444" y="2301"/>
                    <a:pt x="8381" y="2206"/>
                  </a:cubicBezTo>
                  <a:lnTo>
                    <a:pt x="8034" y="1860"/>
                  </a:lnTo>
                  <a:lnTo>
                    <a:pt x="8412" y="1765"/>
                  </a:lnTo>
                  <a:cubicBezTo>
                    <a:pt x="8538" y="1765"/>
                    <a:pt x="8601" y="1702"/>
                    <a:pt x="8696" y="1576"/>
                  </a:cubicBezTo>
                  <a:lnTo>
                    <a:pt x="8916" y="1135"/>
                  </a:lnTo>
                  <a:close/>
                  <a:moveTo>
                    <a:pt x="2048" y="1"/>
                  </a:moveTo>
                  <a:cubicBezTo>
                    <a:pt x="1922" y="1"/>
                    <a:pt x="1796" y="64"/>
                    <a:pt x="1733" y="190"/>
                  </a:cubicBezTo>
                  <a:lnTo>
                    <a:pt x="1292" y="1104"/>
                  </a:lnTo>
                  <a:lnTo>
                    <a:pt x="315" y="1261"/>
                  </a:lnTo>
                  <a:cubicBezTo>
                    <a:pt x="189" y="1261"/>
                    <a:pt x="63" y="1387"/>
                    <a:pt x="32" y="1482"/>
                  </a:cubicBezTo>
                  <a:cubicBezTo>
                    <a:pt x="0" y="1608"/>
                    <a:pt x="32" y="1765"/>
                    <a:pt x="95" y="1860"/>
                  </a:cubicBezTo>
                  <a:lnTo>
                    <a:pt x="819" y="2553"/>
                  </a:lnTo>
                  <a:lnTo>
                    <a:pt x="662" y="3561"/>
                  </a:lnTo>
                  <a:cubicBezTo>
                    <a:pt x="630" y="3655"/>
                    <a:pt x="693" y="3813"/>
                    <a:pt x="788" y="3876"/>
                  </a:cubicBezTo>
                  <a:cubicBezTo>
                    <a:pt x="862" y="3913"/>
                    <a:pt x="925" y="3928"/>
                    <a:pt x="990" y="3928"/>
                  </a:cubicBezTo>
                  <a:cubicBezTo>
                    <a:pt x="1035" y="3928"/>
                    <a:pt x="1082" y="3920"/>
                    <a:pt x="1134" y="3907"/>
                  </a:cubicBezTo>
                  <a:lnTo>
                    <a:pt x="2048" y="3435"/>
                  </a:lnTo>
                  <a:lnTo>
                    <a:pt x="2962" y="3907"/>
                  </a:lnTo>
                  <a:cubicBezTo>
                    <a:pt x="2998" y="3931"/>
                    <a:pt x="3039" y="3942"/>
                    <a:pt x="3082" y="3942"/>
                  </a:cubicBezTo>
                  <a:cubicBezTo>
                    <a:pt x="3153" y="3942"/>
                    <a:pt x="3230" y="3915"/>
                    <a:pt x="3308" y="3876"/>
                  </a:cubicBezTo>
                  <a:cubicBezTo>
                    <a:pt x="3434" y="3781"/>
                    <a:pt x="3466" y="3655"/>
                    <a:pt x="3434" y="3561"/>
                  </a:cubicBezTo>
                  <a:lnTo>
                    <a:pt x="3277" y="2553"/>
                  </a:lnTo>
                  <a:lnTo>
                    <a:pt x="3749" y="2080"/>
                  </a:lnTo>
                  <a:lnTo>
                    <a:pt x="4222" y="2553"/>
                  </a:lnTo>
                  <a:lnTo>
                    <a:pt x="4064" y="3561"/>
                  </a:lnTo>
                  <a:cubicBezTo>
                    <a:pt x="4001" y="3655"/>
                    <a:pt x="4096" y="3813"/>
                    <a:pt x="4159" y="3876"/>
                  </a:cubicBezTo>
                  <a:cubicBezTo>
                    <a:pt x="4233" y="3913"/>
                    <a:pt x="4307" y="3928"/>
                    <a:pt x="4380" y="3928"/>
                  </a:cubicBezTo>
                  <a:cubicBezTo>
                    <a:pt x="4433" y="3928"/>
                    <a:pt x="4485" y="3920"/>
                    <a:pt x="4537" y="3907"/>
                  </a:cubicBezTo>
                  <a:lnTo>
                    <a:pt x="5419" y="3435"/>
                  </a:lnTo>
                  <a:lnTo>
                    <a:pt x="6333" y="3907"/>
                  </a:lnTo>
                  <a:cubicBezTo>
                    <a:pt x="6381" y="3931"/>
                    <a:pt x="6429" y="3942"/>
                    <a:pt x="6475" y="3942"/>
                  </a:cubicBezTo>
                  <a:cubicBezTo>
                    <a:pt x="6550" y="3942"/>
                    <a:pt x="6621" y="3915"/>
                    <a:pt x="6679" y="3876"/>
                  </a:cubicBezTo>
                  <a:cubicBezTo>
                    <a:pt x="6805" y="3781"/>
                    <a:pt x="6837" y="3655"/>
                    <a:pt x="6805" y="3561"/>
                  </a:cubicBezTo>
                  <a:lnTo>
                    <a:pt x="6648" y="2553"/>
                  </a:lnTo>
                  <a:lnTo>
                    <a:pt x="7120" y="2080"/>
                  </a:lnTo>
                  <a:lnTo>
                    <a:pt x="7593" y="2553"/>
                  </a:lnTo>
                  <a:lnTo>
                    <a:pt x="7435" y="3561"/>
                  </a:lnTo>
                  <a:cubicBezTo>
                    <a:pt x="7404" y="3655"/>
                    <a:pt x="7467" y="3813"/>
                    <a:pt x="7561" y="3876"/>
                  </a:cubicBezTo>
                  <a:cubicBezTo>
                    <a:pt x="7635" y="3913"/>
                    <a:pt x="7698" y="3928"/>
                    <a:pt x="7763" y="3928"/>
                  </a:cubicBezTo>
                  <a:cubicBezTo>
                    <a:pt x="7809" y="3928"/>
                    <a:pt x="7856" y="3920"/>
                    <a:pt x="7908" y="3907"/>
                  </a:cubicBezTo>
                  <a:lnTo>
                    <a:pt x="8822" y="3435"/>
                  </a:lnTo>
                  <a:lnTo>
                    <a:pt x="9735" y="3907"/>
                  </a:lnTo>
                  <a:cubicBezTo>
                    <a:pt x="9771" y="3931"/>
                    <a:pt x="9812" y="3942"/>
                    <a:pt x="9856" y="3942"/>
                  </a:cubicBezTo>
                  <a:cubicBezTo>
                    <a:pt x="9926" y="3942"/>
                    <a:pt x="10004" y="3915"/>
                    <a:pt x="10082" y="3876"/>
                  </a:cubicBezTo>
                  <a:cubicBezTo>
                    <a:pt x="10208" y="3781"/>
                    <a:pt x="10239" y="3655"/>
                    <a:pt x="10208" y="3561"/>
                  </a:cubicBezTo>
                  <a:lnTo>
                    <a:pt x="10050" y="2553"/>
                  </a:lnTo>
                  <a:lnTo>
                    <a:pt x="10743" y="1860"/>
                  </a:lnTo>
                  <a:cubicBezTo>
                    <a:pt x="10838" y="1765"/>
                    <a:pt x="10869" y="1608"/>
                    <a:pt x="10838" y="1482"/>
                  </a:cubicBezTo>
                  <a:cubicBezTo>
                    <a:pt x="10775" y="1387"/>
                    <a:pt x="10680" y="1293"/>
                    <a:pt x="10554" y="1261"/>
                  </a:cubicBezTo>
                  <a:lnTo>
                    <a:pt x="9578" y="1104"/>
                  </a:lnTo>
                  <a:lnTo>
                    <a:pt x="9137" y="190"/>
                  </a:lnTo>
                  <a:cubicBezTo>
                    <a:pt x="9105" y="64"/>
                    <a:pt x="8979" y="1"/>
                    <a:pt x="8822" y="1"/>
                  </a:cubicBezTo>
                  <a:cubicBezTo>
                    <a:pt x="8696" y="1"/>
                    <a:pt x="8570" y="64"/>
                    <a:pt x="8507" y="190"/>
                  </a:cubicBezTo>
                  <a:lnTo>
                    <a:pt x="8066" y="1104"/>
                  </a:lnTo>
                  <a:lnTo>
                    <a:pt x="7120" y="1261"/>
                  </a:lnTo>
                  <a:lnTo>
                    <a:pt x="6175" y="1104"/>
                  </a:lnTo>
                  <a:lnTo>
                    <a:pt x="5734" y="190"/>
                  </a:lnTo>
                  <a:cubicBezTo>
                    <a:pt x="5703" y="64"/>
                    <a:pt x="5577" y="1"/>
                    <a:pt x="5419" y="1"/>
                  </a:cubicBezTo>
                  <a:cubicBezTo>
                    <a:pt x="5262" y="1"/>
                    <a:pt x="5199" y="64"/>
                    <a:pt x="5104" y="190"/>
                  </a:cubicBezTo>
                  <a:lnTo>
                    <a:pt x="4695" y="1104"/>
                  </a:lnTo>
                  <a:lnTo>
                    <a:pt x="3749" y="1261"/>
                  </a:lnTo>
                  <a:lnTo>
                    <a:pt x="2804" y="1104"/>
                  </a:lnTo>
                  <a:lnTo>
                    <a:pt x="2363" y="190"/>
                  </a:lnTo>
                  <a:cubicBezTo>
                    <a:pt x="2332" y="64"/>
                    <a:pt x="2206" y="1"/>
                    <a:pt x="2048"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307" name="Google Shape;10307;p112"/>
            <p:cNvSpPr/>
            <p:nvPr/>
          </p:nvSpPr>
          <p:spPr>
            <a:xfrm>
              <a:off x="-31830775" y="1939525"/>
              <a:ext cx="189050" cy="189825"/>
            </a:xfrm>
            <a:custGeom>
              <a:avLst/>
              <a:gdLst/>
              <a:ahLst/>
              <a:cxnLst/>
              <a:rect l="l" t="t" r="r" b="b"/>
              <a:pathLst>
                <a:path w="7562" h="7593" extrusionOk="0">
                  <a:moveTo>
                    <a:pt x="3718" y="662"/>
                  </a:moveTo>
                  <a:cubicBezTo>
                    <a:pt x="5072" y="662"/>
                    <a:pt x="6144" y="1764"/>
                    <a:pt x="6144" y="3088"/>
                  </a:cubicBezTo>
                  <a:lnTo>
                    <a:pt x="6144" y="3466"/>
                  </a:lnTo>
                  <a:lnTo>
                    <a:pt x="6081" y="3466"/>
                  </a:lnTo>
                  <a:cubicBezTo>
                    <a:pt x="5986" y="2647"/>
                    <a:pt x="5261" y="2048"/>
                    <a:pt x="4411" y="2048"/>
                  </a:cubicBezTo>
                  <a:lnTo>
                    <a:pt x="3025" y="2048"/>
                  </a:lnTo>
                  <a:cubicBezTo>
                    <a:pt x="2142" y="2048"/>
                    <a:pt x="1481" y="2678"/>
                    <a:pt x="1323" y="3466"/>
                  </a:cubicBezTo>
                  <a:lnTo>
                    <a:pt x="1292" y="3466"/>
                  </a:lnTo>
                  <a:lnTo>
                    <a:pt x="1292" y="3088"/>
                  </a:lnTo>
                  <a:cubicBezTo>
                    <a:pt x="1323" y="1764"/>
                    <a:pt x="2426" y="662"/>
                    <a:pt x="3718" y="662"/>
                  </a:cubicBezTo>
                  <a:close/>
                  <a:moveTo>
                    <a:pt x="4348" y="2773"/>
                  </a:moveTo>
                  <a:cubicBezTo>
                    <a:pt x="4915" y="2773"/>
                    <a:pt x="5387" y="3245"/>
                    <a:pt x="5387" y="3781"/>
                  </a:cubicBezTo>
                  <a:lnTo>
                    <a:pt x="5387" y="4127"/>
                  </a:lnTo>
                  <a:lnTo>
                    <a:pt x="5387" y="4127"/>
                  </a:lnTo>
                  <a:cubicBezTo>
                    <a:pt x="5153" y="4127"/>
                    <a:pt x="4907" y="4122"/>
                    <a:pt x="4820" y="4064"/>
                  </a:cubicBezTo>
                  <a:cubicBezTo>
                    <a:pt x="4789" y="4033"/>
                    <a:pt x="4757" y="3907"/>
                    <a:pt x="4757" y="3812"/>
                  </a:cubicBezTo>
                  <a:cubicBezTo>
                    <a:pt x="4757" y="3623"/>
                    <a:pt x="4600" y="3466"/>
                    <a:pt x="4411" y="3466"/>
                  </a:cubicBezTo>
                  <a:cubicBezTo>
                    <a:pt x="4190" y="3466"/>
                    <a:pt x="4033" y="3623"/>
                    <a:pt x="4033" y="3812"/>
                  </a:cubicBezTo>
                  <a:cubicBezTo>
                    <a:pt x="4033" y="3907"/>
                    <a:pt x="4033" y="4033"/>
                    <a:pt x="3970" y="4064"/>
                  </a:cubicBezTo>
                  <a:cubicBezTo>
                    <a:pt x="3907" y="4127"/>
                    <a:pt x="3789" y="4143"/>
                    <a:pt x="3643" y="4143"/>
                  </a:cubicBezTo>
                  <a:cubicBezTo>
                    <a:pt x="3497" y="4143"/>
                    <a:pt x="3324" y="4127"/>
                    <a:pt x="3151" y="4127"/>
                  </a:cubicBezTo>
                  <a:lnTo>
                    <a:pt x="1953" y="4127"/>
                  </a:lnTo>
                  <a:lnTo>
                    <a:pt x="1953" y="3781"/>
                  </a:lnTo>
                  <a:cubicBezTo>
                    <a:pt x="1953" y="3214"/>
                    <a:pt x="2426" y="2773"/>
                    <a:pt x="2993" y="2773"/>
                  </a:cubicBezTo>
                  <a:close/>
                  <a:moveTo>
                    <a:pt x="1008" y="4096"/>
                  </a:moveTo>
                  <a:cubicBezTo>
                    <a:pt x="1197" y="4096"/>
                    <a:pt x="1355" y="4253"/>
                    <a:pt x="1355" y="4442"/>
                  </a:cubicBezTo>
                  <a:lnTo>
                    <a:pt x="1355" y="5135"/>
                  </a:lnTo>
                  <a:cubicBezTo>
                    <a:pt x="1323" y="5356"/>
                    <a:pt x="1197" y="5482"/>
                    <a:pt x="1008" y="5482"/>
                  </a:cubicBezTo>
                  <a:cubicBezTo>
                    <a:pt x="819" y="5482"/>
                    <a:pt x="662" y="5324"/>
                    <a:pt x="662" y="5135"/>
                  </a:cubicBezTo>
                  <a:lnTo>
                    <a:pt x="662" y="4442"/>
                  </a:lnTo>
                  <a:cubicBezTo>
                    <a:pt x="662" y="4253"/>
                    <a:pt x="819" y="4096"/>
                    <a:pt x="1008" y="4096"/>
                  </a:cubicBezTo>
                  <a:close/>
                  <a:moveTo>
                    <a:pt x="6459" y="4127"/>
                  </a:moveTo>
                  <a:cubicBezTo>
                    <a:pt x="6648" y="4127"/>
                    <a:pt x="6805" y="4285"/>
                    <a:pt x="6805" y="4505"/>
                  </a:cubicBezTo>
                  <a:lnTo>
                    <a:pt x="6805" y="5167"/>
                  </a:lnTo>
                  <a:cubicBezTo>
                    <a:pt x="6805" y="5356"/>
                    <a:pt x="6648" y="5513"/>
                    <a:pt x="6459" y="5513"/>
                  </a:cubicBezTo>
                  <a:cubicBezTo>
                    <a:pt x="6238" y="5513"/>
                    <a:pt x="6081" y="5356"/>
                    <a:pt x="6081" y="5167"/>
                  </a:cubicBezTo>
                  <a:lnTo>
                    <a:pt x="6081" y="4505"/>
                  </a:lnTo>
                  <a:cubicBezTo>
                    <a:pt x="6081" y="4285"/>
                    <a:pt x="6238" y="4127"/>
                    <a:pt x="6459" y="4127"/>
                  </a:cubicBezTo>
                  <a:close/>
                  <a:moveTo>
                    <a:pt x="4442" y="4568"/>
                  </a:moveTo>
                  <a:cubicBezTo>
                    <a:pt x="4726" y="4757"/>
                    <a:pt x="5072" y="4820"/>
                    <a:pt x="5450" y="4820"/>
                  </a:cubicBezTo>
                  <a:lnTo>
                    <a:pt x="5450" y="5167"/>
                  </a:lnTo>
                  <a:cubicBezTo>
                    <a:pt x="5450" y="6112"/>
                    <a:pt x="4663" y="6900"/>
                    <a:pt x="3718" y="6900"/>
                  </a:cubicBezTo>
                  <a:cubicBezTo>
                    <a:pt x="2772" y="6900"/>
                    <a:pt x="2048" y="6112"/>
                    <a:pt x="2048" y="5167"/>
                  </a:cubicBezTo>
                  <a:lnTo>
                    <a:pt x="2048" y="4820"/>
                  </a:lnTo>
                  <a:lnTo>
                    <a:pt x="3214" y="4820"/>
                  </a:lnTo>
                  <a:cubicBezTo>
                    <a:pt x="3305" y="4820"/>
                    <a:pt x="3394" y="4821"/>
                    <a:pt x="3479" y="4821"/>
                  </a:cubicBezTo>
                  <a:cubicBezTo>
                    <a:pt x="3863" y="4821"/>
                    <a:pt x="4184" y="4800"/>
                    <a:pt x="4442" y="4568"/>
                  </a:cubicBezTo>
                  <a:close/>
                  <a:moveTo>
                    <a:pt x="3718" y="0"/>
                  </a:moveTo>
                  <a:cubicBezTo>
                    <a:pt x="2048" y="0"/>
                    <a:pt x="662" y="1386"/>
                    <a:pt x="662" y="3119"/>
                  </a:cubicBezTo>
                  <a:lnTo>
                    <a:pt x="662" y="3497"/>
                  </a:lnTo>
                  <a:cubicBezTo>
                    <a:pt x="252" y="3655"/>
                    <a:pt x="0" y="4033"/>
                    <a:pt x="0" y="4505"/>
                  </a:cubicBezTo>
                  <a:lnTo>
                    <a:pt x="0" y="5167"/>
                  </a:lnTo>
                  <a:cubicBezTo>
                    <a:pt x="0" y="5703"/>
                    <a:pt x="473" y="6175"/>
                    <a:pt x="1008" y="6175"/>
                  </a:cubicBezTo>
                  <a:cubicBezTo>
                    <a:pt x="1197" y="6175"/>
                    <a:pt x="1355" y="6144"/>
                    <a:pt x="1512" y="6081"/>
                  </a:cubicBezTo>
                  <a:cubicBezTo>
                    <a:pt x="1890" y="6963"/>
                    <a:pt x="2741" y="7593"/>
                    <a:pt x="3781" y="7593"/>
                  </a:cubicBezTo>
                  <a:cubicBezTo>
                    <a:pt x="4789" y="7593"/>
                    <a:pt x="5671" y="6963"/>
                    <a:pt x="6018" y="6049"/>
                  </a:cubicBezTo>
                  <a:cubicBezTo>
                    <a:pt x="6175" y="6144"/>
                    <a:pt x="6333" y="6175"/>
                    <a:pt x="6522" y="6175"/>
                  </a:cubicBezTo>
                  <a:cubicBezTo>
                    <a:pt x="7089" y="6175"/>
                    <a:pt x="7561" y="5703"/>
                    <a:pt x="7561" y="5167"/>
                  </a:cubicBezTo>
                  <a:lnTo>
                    <a:pt x="7561" y="4474"/>
                  </a:lnTo>
                  <a:cubicBezTo>
                    <a:pt x="7561" y="4064"/>
                    <a:pt x="7278" y="3655"/>
                    <a:pt x="6868" y="3497"/>
                  </a:cubicBezTo>
                  <a:lnTo>
                    <a:pt x="6868" y="3119"/>
                  </a:lnTo>
                  <a:cubicBezTo>
                    <a:pt x="6805" y="1386"/>
                    <a:pt x="5419" y="0"/>
                    <a:pt x="3718"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sp>
        <p:nvSpPr>
          <p:cNvPr id="10308" name="Google Shape;10308;p112"/>
          <p:cNvSpPr/>
          <p:nvPr/>
        </p:nvSpPr>
        <p:spPr>
          <a:xfrm>
            <a:off x="2948367" y="4511690"/>
            <a:ext cx="415400" cy="471449"/>
          </a:xfrm>
          <a:custGeom>
            <a:avLst/>
            <a:gdLst/>
            <a:ahLst/>
            <a:cxnLst/>
            <a:rect l="l" t="t" r="r" b="b"/>
            <a:pathLst>
              <a:path w="10272" h="11658" extrusionOk="0">
                <a:moveTo>
                  <a:pt x="7877" y="693"/>
                </a:moveTo>
                <a:cubicBezTo>
                  <a:pt x="8066" y="693"/>
                  <a:pt x="8224" y="851"/>
                  <a:pt x="8224" y="1040"/>
                </a:cubicBezTo>
                <a:lnTo>
                  <a:pt x="8224" y="1387"/>
                </a:lnTo>
                <a:lnTo>
                  <a:pt x="2080" y="1387"/>
                </a:lnTo>
                <a:lnTo>
                  <a:pt x="2080" y="1040"/>
                </a:lnTo>
                <a:cubicBezTo>
                  <a:pt x="2049" y="851"/>
                  <a:pt x="2206" y="693"/>
                  <a:pt x="2395" y="693"/>
                </a:cubicBezTo>
                <a:close/>
                <a:moveTo>
                  <a:pt x="9200" y="2710"/>
                </a:moveTo>
                <a:cubicBezTo>
                  <a:pt x="9421" y="2710"/>
                  <a:pt x="9578" y="2899"/>
                  <a:pt x="9578" y="3088"/>
                </a:cubicBezTo>
                <a:cubicBezTo>
                  <a:pt x="9578" y="3277"/>
                  <a:pt x="9421" y="3434"/>
                  <a:pt x="9200" y="3434"/>
                </a:cubicBezTo>
                <a:lnTo>
                  <a:pt x="8854" y="3434"/>
                </a:lnTo>
                <a:lnTo>
                  <a:pt x="8854" y="2773"/>
                </a:lnTo>
                <a:lnTo>
                  <a:pt x="9200" y="2773"/>
                </a:lnTo>
                <a:lnTo>
                  <a:pt x="9200" y="2710"/>
                </a:lnTo>
                <a:close/>
                <a:moveTo>
                  <a:pt x="6176" y="3907"/>
                </a:moveTo>
                <a:cubicBezTo>
                  <a:pt x="6207" y="4033"/>
                  <a:pt x="6333" y="4127"/>
                  <a:pt x="6491" y="4127"/>
                </a:cubicBezTo>
                <a:lnTo>
                  <a:pt x="9200" y="4127"/>
                </a:lnTo>
                <a:cubicBezTo>
                  <a:pt x="9326" y="4127"/>
                  <a:pt x="9421" y="4127"/>
                  <a:pt x="9515" y="4096"/>
                </a:cubicBezTo>
                <a:lnTo>
                  <a:pt x="9515" y="4096"/>
                </a:lnTo>
                <a:cubicBezTo>
                  <a:pt x="9421" y="4474"/>
                  <a:pt x="9011" y="4789"/>
                  <a:pt x="8539" y="4789"/>
                </a:cubicBezTo>
                <a:lnTo>
                  <a:pt x="6491" y="4789"/>
                </a:lnTo>
                <a:cubicBezTo>
                  <a:pt x="6333" y="4789"/>
                  <a:pt x="6239" y="4852"/>
                  <a:pt x="6176" y="5010"/>
                </a:cubicBezTo>
                <a:lnTo>
                  <a:pt x="5640" y="4474"/>
                </a:lnTo>
                <a:lnTo>
                  <a:pt x="6176" y="3907"/>
                </a:lnTo>
                <a:close/>
                <a:moveTo>
                  <a:pt x="1387" y="4789"/>
                </a:moveTo>
                <a:lnTo>
                  <a:pt x="1387" y="5451"/>
                </a:lnTo>
                <a:lnTo>
                  <a:pt x="1009" y="5451"/>
                </a:lnTo>
                <a:cubicBezTo>
                  <a:pt x="820" y="5451"/>
                  <a:pt x="662" y="5293"/>
                  <a:pt x="662" y="5073"/>
                </a:cubicBezTo>
                <a:cubicBezTo>
                  <a:pt x="662" y="4884"/>
                  <a:pt x="820" y="4789"/>
                  <a:pt x="1009" y="4789"/>
                </a:cubicBezTo>
                <a:close/>
                <a:moveTo>
                  <a:pt x="4065" y="5923"/>
                </a:moveTo>
                <a:lnTo>
                  <a:pt x="4601" y="6459"/>
                </a:lnTo>
                <a:lnTo>
                  <a:pt x="4065" y="7026"/>
                </a:lnTo>
                <a:cubicBezTo>
                  <a:pt x="4033" y="6900"/>
                  <a:pt x="3907" y="6774"/>
                  <a:pt x="3750" y="6774"/>
                </a:cubicBezTo>
                <a:lnTo>
                  <a:pt x="1702" y="6774"/>
                </a:lnTo>
                <a:cubicBezTo>
                  <a:pt x="1664" y="6779"/>
                  <a:pt x="1626" y="6782"/>
                  <a:pt x="1589" y="6782"/>
                </a:cubicBezTo>
                <a:cubicBezTo>
                  <a:pt x="1192" y="6782"/>
                  <a:pt x="838" y="6487"/>
                  <a:pt x="694" y="6112"/>
                </a:cubicBezTo>
                <a:lnTo>
                  <a:pt x="694" y="6112"/>
                </a:lnTo>
                <a:cubicBezTo>
                  <a:pt x="788" y="6144"/>
                  <a:pt x="914" y="6144"/>
                  <a:pt x="1009" y="6144"/>
                </a:cubicBezTo>
                <a:lnTo>
                  <a:pt x="3750" y="6144"/>
                </a:lnTo>
                <a:cubicBezTo>
                  <a:pt x="3907" y="6144"/>
                  <a:pt x="4002" y="6081"/>
                  <a:pt x="4065" y="5923"/>
                </a:cubicBezTo>
                <a:close/>
                <a:moveTo>
                  <a:pt x="8192" y="2048"/>
                </a:moveTo>
                <a:lnTo>
                  <a:pt x="8192" y="3434"/>
                </a:lnTo>
                <a:lnTo>
                  <a:pt x="6806" y="3434"/>
                </a:lnTo>
                <a:lnTo>
                  <a:pt x="6806" y="3088"/>
                </a:lnTo>
                <a:cubicBezTo>
                  <a:pt x="6806" y="2930"/>
                  <a:pt x="6743" y="2804"/>
                  <a:pt x="6617" y="2773"/>
                </a:cubicBezTo>
                <a:cubicBezTo>
                  <a:pt x="6571" y="2761"/>
                  <a:pt x="6520" y="2754"/>
                  <a:pt x="6472" y="2754"/>
                </a:cubicBezTo>
                <a:cubicBezTo>
                  <a:pt x="6388" y="2754"/>
                  <a:pt x="6310" y="2776"/>
                  <a:pt x="6270" y="2836"/>
                </a:cubicBezTo>
                <a:lnTo>
                  <a:pt x="4884" y="4222"/>
                </a:lnTo>
                <a:cubicBezTo>
                  <a:pt x="4758" y="4348"/>
                  <a:pt x="4758" y="4569"/>
                  <a:pt x="4884" y="4695"/>
                </a:cubicBezTo>
                <a:lnTo>
                  <a:pt x="6270" y="6081"/>
                </a:lnTo>
                <a:cubicBezTo>
                  <a:pt x="6315" y="6125"/>
                  <a:pt x="6407" y="6170"/>
                  <a:pt x="6501" y="6170"/>
                </a:cubicBezTo>
                <a:cubicBezTo>
                  <a:pt x="6540" y="6170"/>
                  <a:pt x="6580" y="6162"/>
                  <a:pt x="6617" y="6144"/>
                </a:cubicBezTo>
                <a:cubicBezTo>
                  <a:pt x="6743" y="6112"/>
                  <a:pt x="6806" y="5955"/>
                  <a:pt x="6806" y="5829"/>
                </a:cubicBezTo>
                <a:lnTo>
                  <a:pt x="6806" y="5482"/>
                </a:lnTo>
                <a:lnTo>
                  <a:pt x="8192" y="5482"/>
                </a:lnTo>
                <a:lnTo>
                  <a:pt x="8192" y="8948"/>
                </a:lnTo>
                <a:lnTo>
                  <a:pt x="2049" y="8948"/>
                </a:lnTo>
                <a:lnTo>
                  <a:pt x="2049" y="7530"/>
                </a:lnTo>
                <a:lnTo>
                  <a:pt x="3435" y="7530"/>
                </a:lnTo>
                <a:lnTo>
                  <a:pt x="3435" y="7877"/>
                </a:lnTo>
                <a:cubicBezTo>
                  <a:pt x="3435" y="8034"/>
                  <a:pt x="3498" y="8160"/>
                  <a:pt x="3624" y="8192"/>
                </a:cubicBezTo>
                <a:cubicBezTo>
                  <a:pt x="3676" y="8218"/>
                  <a:pt x="3734" y="8233"/>
                  <a:pt x="3788" y="8233"/>
                </a:cubicBezTo>
                <a:cubicBezTo>
                  <a:pt x="3864" y="8233"/>
                  <a:pt x="3934" y="8202"/>
                  <a:pt x="3970" y="8129"/>
                </a:cubicBezTo>
                <a:lnTo>
                  <a:pt x="5357" y="6742"/>
                </a:lnTo>
                <a:cubicBezTo>
                  <a:pt x="5483" y="6616"/>
                  <a:pt x="5483" y="6396"/>
                  <a:pt x="5357" y="6270"/>
                </a:cubicBezTo>
                <a:lnTo>
                  <a:pt x="3970" y="4884"/>
                </a:lnTo>
                <a:cubicBezTo>
                  <a:pt x="3924" y="4837"/>
                  <a:pt x="3828" y="4808"/>
                  <a:pt x="3730" y="4808"/>
                </a:cubicBezTo>
                <a:cubicBezTo>
                  <a:pt x="3694" y="4808"/>
                  <a:pt x="3658" y="4812"/>
                  <a:pt x="3624" y="4821"/>
                </a:cubicBezTo>
                <a:cubicBezTo>
                  <a:pt x="3498" y="4852"/>
                  <a:pt x="3435" y="5010"/>
                  <a:pt x="3435" y="5136"/>
                </a:cubicBezTo>
                <a:lnTo>
                  <a:pt x="3435" y="5482"/>
                </a:lnTo>
                <a:lnTo>
                  <a:pt x="2049" y="5482"/>
                </a:lnTo>
                <a:lnTo>
                  <a:pt x="2049" y="2048"/>
                </a:lnTo>
                <a:close/>
                <a:moveTo>
                  <a:pt x="8192" y="9609"/>
                </a:moveTo>
                <a:lnTo>
                  <a:pt x="8192" y="10649"/>
                </a:lnTo>
                <a:cubicBezTo>
                  <a:pt x="8192" y="10838"/>
                  <a:pt x="8035" y="10996"/>
                  <a:pt x="7877" y="10996"/>
                </a:cubicBezTo>
                <a:lnTo>
                  <a:pt x="2395" y="10996"/>
                </a:lnTo>
                <a:cubicBezTo>
                  <a:pt x="2206" y="10996"/>
                  <a:pt x="2049" y="10838"/>
                  <a:pt x="2049" y="10649"/>
                </a:cubicBezTo>
                <a:lnTo>
                  <a:pt x="2049" y="9609"/>
                </a:lnTo>
                <a:close/>
                <a:moveTo>
                  <a:pt x="2395" y="0"/>
                </a:moveTo>
                <a:cubicBezTo>
                  <a:pt x="1860" y="0"/>
                  <a:pt x="1387" y="473"/>
                  <a:pt x="1387" y="1040"/>
                </a:cubicBezTo>
                <a:lnTo>
                  <a:pt x="1387" y="4096"/>
                </a:lnTo>
                <a:lnTo>
                  <a:pt x="1009" y="4096"/>
                </a:lnTo>
                <a:cubicBezTo>
                  <a:pt x="473" y="4096"/>
                  <a:pt x="1" y="4569"/>
                  <a:pt x="1" y="5136"/>
                </a:cubicBezTo>
                <a:lnTo>
                  <a:pt x="1" y="5797"/>
                </a:lnTo>
                <a:cubicBezTo>
                  <a:pt x="1" y="6616"/>
                  <a:pt x="599" y="7341"/>
                  <a:pt x="1387" y="7498"/>
                </a:cubicBezTo>
                <a:lnTo>
                  <a:pt x="1387" y="10649"/>
                </a:lnTo>
                <a:cubicBezTo>
                  <a:pt x="1387" y="11185"/>
                  <a:pt x="1860" y="11657"/>
                  <a:pt x="2395" y="11657"/>
                </a:cubicBezTo>
                <a:lnTo>
                  <a:pt x="7877" y="11657"/>
                </a:lnTo>
                <a:cubicBezTo>
                  <a:pt x="8413" y="11657"/>
                  <a:pt x="8885" y="11185"/>
                  <a:pt x="8885" y="10649"/>
                </a:cubicBezTo>
                <a:lnTo>
                  <a:pt x="8885" y="5451"/>
                </a:lnTo>
                <a:cubicBezTo>
                  <a:pt x="9673" y="5293"/>
                  <a:pt x="10271" y="4569"/>
                  <a:pt x="10271" y="3749"/>
                </a:cubicBezTo>
                <a:lnTo>
                  <a:pt x="10271" y="3088"/>
                </a:lnTo>
                <a:cubicBezTo>
                  <a:pt x="10271" y="2521"/>
                  <a:pt x="9799" y="2048"/>
                  <a:pt x="9263" y="2048"/>
                </a:cubicBezTo>
                <a:lnTo>
                  <a:pt x="8885" y="2048"/>
                </a:lnTo>
                <a:lnTo>
                  <a:pt x="8885" y="1040"/>
                </a:lnTo>
                <a:cubicBezTo>
                  <a:pt x="8885" y="473"/>
                  <a:pt x="8413" y="0"/>
                  <a:pt x="7877"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nvGrpSpPr>
          <p:cNvPr id="10309" name="Google Shape;10309;p112"/>
          <p:cNvGrpSpPr/>
          <p:nvPr/>
        </p:nvGrpSpPr>
        <p:grpSpPr>
          <a:xfrm>
            <a:off x="2915269" y="5125791"/>
            <a:ext cx="489284" cy="470357"/>
            <a:chOff x="-31889075" y="2658950"/>
            <a:chExt cx="302475" cy="290775"/>
          </a:xfrm>
        </p:grpSpPr>
        <p:sp>
          <p:nvSpPr>
            <p:cNvPr id="10310" name="Google Shape;10310;p112"/>
            <p:cNvSpPr/>
            <p:nvPr/>
          </p:nvSpPr>
          <p:spPr>
            <a:xfrm>
              <a:off x="-31889075" y="2658950"/>
              <a:ext cx="302475" cy="290775"/>
            </a:xfrm>
            <a:custGeom>
              <a:avLst/>
              <a:gdLst/>
              <a:ahLst/>
              <a:cxnLst/>
              <a:rect l="l" t="t" r="r" b="b"/>
              <a:pathLst>
                <a:path w="12099" h="11631" extrusionOk="0">
                  <a:moveTo>
                    <a:pt x="10555" y="712"/>
                  </a:moveTo>
                  <a:lnTo>
                    <a:pt x="11153" y="1310"/>
                  </a:lnTo>
                  <a:lnTo>
                    <a:pt x="10051" y="3138"/>
                  </a:lnTo>
                  <a:lnTo>
                    <a:pt x="8728" y="1814"/>
                  </a:lnTo>
                  <a:lnTo>
                    <a:pt x="10555" y="712"/>
                  </a:lnTo>
                  <a:close/>
                  <a:moveTo>
                    <a:pt x="8665" y="2696"/>
                  </a:moveTo>
                  <a:lnTo>
                    <a:pt x="9137" y="3169"/>
                  </a:lnTo>
                  <a:lnTo>
                    <a:pt x="7278" y="4996"/>
                  </a:lnTo>
                  <a:lnTo>
                    <a:pt x="6806" y="4524"/>
                  </a:lnTo>
                  <a:lnTo>
                    <a:pt x="8665" y="2696"/>
                  </a:lnTo>
                  <a:close/>
                  <a:moveTo>
                    <a:pt x="3022" y="640"/>
                  </a:moveTo>
                  <a:cubicBezTo>
                    <a:pt x="3549" y="640"/>
                    <a:pt x="4066" y="847"/>
                    <a:pt x="4443" y="1247"/>
                  </a:cubicBezTo>
                  <a:cubicBezTo>
                    <a:pt x="5010" y="1783"/>
                    <a:pt x="5199" y="2602"/>
                    <a:pt x="4915" y="3358"/>
                  </a:cubicBezTo>
                  <a:cubicBezTo>
                    <a:pt x="4884" y="3484"/>
                    <a:pt x="4915" y="3642"/>
                    <a:pt x="5010" y="3705"/>
                  </a:cubicBezTo>
                  <a:lnTo>
                    <a:pt x="8160" y="6855"/>
                  </a:lnTo>
                  <a:cubicBezTo>
                    <a:pt x="8208" y="6926"/>
                    <a:pt x="8308" y="6961"/>
                    <a:pt x="8409" y="6961"/>
                  </a:cubicBezTo>
                  <a:cubicBezTo>
                    <a:pt x="8442" y="6961"/>
                    <a:pt x="8476" y="6957"/>
                    <a:pt x="8507" y="6950"/>
                  </a:cubicBezTo>
                  <a:cubicBezTo>
                    <a:pt x="8741" y="6862"/>
                    <a:pt x="8981" y="6819"/>
                    <a:pt x="9217" y="6819"/>
                  </a:cubicBezTo>
                  <a:cubicBezTo>
                    <a:pt x="9743" y="6819"/>
                    <a:pt x="10248" y="7031"/>
                    <a:pt x="10618" y="7422"/>
                  </a:cubicBezTo>
                  <a:cubicBezTo>
                    <a:pt x="11153" y="7926"/>
                    <a:pt x="11342" y="8682"/>
                    <a:pt x="11153" y="9375"/>
                  </a:cubicBezTo>
                  <a:lnTo>
                    <a:pt x="10240" y="8493"/>
                  </a:lnTo>
                  <a:cubicBezTo>
                    <a:pt x="10035" y="8289"/>
                    <a:pt x="9767" y="8186"/>
                    <a:pt x="9503" y="8186"/>
                  </a:cubicBezTo>
                  <a:cubicBezTo>
                    <a:pt x="9240" y="8186"/>
                    <a:pt x="8980" y="8289"/>
                    <a:pt x="8791" y="8493"/>
                  </a:cubicBezTo>
                  <a:cubicBezTo>
                    <a:pt x="8381" y="8871"/>
                    <a:pt x="8381" y="9533"/>
                    <a:pt x="8791" y="9943"/>
                  </a:cubicBezTo>
                  <a:lnTo>
                    <a:pt x="9673" y="10856"/>
                  </a:lnTo>
                  <a:cubicBezTo>
                    <a:pt x="9498" y="10904"/>
                    <a:pt x="9318" y="10928"/>
                    <a:pt x="9140" y="10928"/>
                  </a:cubicBezTo>
                  <a:cubicBezTo>
                    <a:pt x="8614" y="10928"/>
                    <a:pt x="8096" y="10721"/>
                    <a:pt x="7719" y="10321"/>
                  </a:cubicBezTo>
                  <a:cubicBezTo>
                    <a:pt x="7152" y="9785"/>
                    <a:pt x="6963" y="8966"/>
                    <a:pt x="7247" y="8210"/>
                  </a:cubicBezTo>
                  <a:cubicBezTo>
                    <a:pt x="7278" y="8084"/>
                    <a:pt x="7247" y="7926"/>
                    <a:pt x="7152" y="7863"/>
                  </a:cubicBezTo>
                  <a:lnTo>
                    <a:pt x="4002" y="4713"/>
                  </a:lnTo>
                  <a:cubicBezTo>
                    <a:pt x="3960" y="4629"/>
                    <a:pt x="3876" y="4587"/>
                    <a:pt x="3787" y="4587"/>
                  </a:cubicBezTo>
                  <a:cubicBezTo>
                    <a:pt x="3743" y="4587"/>
                    <a:pt x="3697" y="4597"/>
                    <a:pt x="3655" y="4618"/>
                  </a:cubicBezTo>
                  <a:cubicBezTo>
                    <a:pt x="3421" y="4706"/>
                    <a:pt x="3181" y="4749"/>
                    <a:pt x="2945" y="4749"/>
                  </a:cubicBezTo>
                  <a:cubicBezTo>
                    <a:pt x="2419" y="4749"/>
                    <a:pt x="1914" y="4537"/>
                    <a:pt x="1544" y="4146"/>
                  </a:cubicBezTo>
                  <a:cubicBezTo>
                    <a:pt x="1009" y="3642"/>
                    <a:pt x="820" y="2885"/>
                    <a:pt x="1009" y="2192"/>
                  </a:cubicBezTo>
                  <a:lnTo>
                    <a:pt x="1009" y="2192"/>
                  </a:lnTo>
                  <a:lnTo>
                    <a:pt x="1922" y="3075"/>
                  </a:lnTo>
                  <a:cubicBezTo>
                    <a:pt x="2127" y="3279"/>
                    <a:pt x="2395" y="3382"/>
                    <a:pt x="2659" y="3382"/>
                  </a:cubicBezTo>
                  <a:cubicBezTo>
                    <a:pt x="2923" y="3382"/>
                    <a:pt x="3183" y="3279"/>
                    <a:pt x="3372" y="3075"/>
                  </a:cubicBezTo>
                  <a:cubicBezTo>
                    <a:pt x="3781" y="2696"/>
                    <a:pt x="3781" y="2035"/>
                    <a:pt x="3372" y="1625"/>
                  </a:cubicBezTo>
                  <a:lnTo>
                    <a:pt x="2490" y="712"/>
                  </a:lnTo>
                  <a:cubicBezTo>
                    <a:pt x="2665" y="664"/>
                    <a:pt x="2844" y="640"/>
                    <a:pt x="3022" y="640"/>
                  </a:cubicBezTo>
                  <a:close/>
                  <a:moveTo>
                    <a:pt x="4380" y="6036"/>
                  </a:moveTo>
                  <a:lnTo>
                    <a:pt x="5829" y="7485"/>
                  </a:lnTo>
                  <a:lnTo>
                    <a:pt x="2679" y="10636"/>
                  </a:lnTo>
                  <a:cubicBezTo>
                    <a:pt x="2474" y="10840"/>
                    <a:pt x="2206" y="10943"/>
                    <a:pt x="1942" y="10943"/>
                  </a:cubicBezTo>
                  <a:cubicBezTo>
                    <a:pt x="1678" y="10943"/>
                    <a:pt x="1418" y="10840"/>
                    <a:pt x="1229" y="10636"/>
                  </a:cubicBezTo>
                  <a:cubicBezTo>
                    <a:pt x="820" y="10226"/>
                    <a:pt x="820" y="9596"/>
                    <a:pt x="1229" y="9186"/>
                  </a:cubicBezTo>
                  <a:lnTo>
                    <a:pt x="4380" y="6036"/>
                  </a:lnTo>
                  <a:close/>
                  <a:moveTo>
                    <a:pt x="2915" y="1"/>
                  </a:moveTo>
                  <a:cubicBezTo>
                    <a:pt x="2465" y="1"/>
                    <a:pt x="2014" y="112"/>
                    <a:pt x="1607" y="334"/>
                  </a:cubicBezTo>
                  <a:cubicBezTo>
                    <a:pt x="1544" y="365"/>
                    <a:pt x="1450" y="491"/>
                    <a:pt x="1450" y="554"/>
                  </a:cubicBezTo>
                  <a:cubicBezTo>
                    <a:pt x="1450" y="680"/>
                    <a:pt x="1481" y="775"/>
                    <a:pt x="1544" y="838"/>
                  </a:cubicBezTo>
                  <a:lnTo>
                    <a:pt x="2836" y="2129"/>
                  </a:lnTo>
                  <a:cubicBezTo>
                    <a:pt x="2962" y="2255"/>
                    <a:pt x="2962" y="2507"/>
                    <a:pt x="2836" y="2602"/>
                  </a:cubicBezTo>
                  <a:cubicBezTo>
                    <a:pt x="2773" y="2665"/>
                    <a:pt x="2686" y="2696"/>
                    <a:pt x="2600" y="2696"/>
                  </a:cubicBezTo>
                  <a:cubicBezTo>
                    <a:pt x="2513" y="2696"/>
                    <a:pt x="2427" y="2665"/>
                    <a:pt x="2364" y="2602"/>
                  </a:cubicBezTo>
                  <a:lnTo>
                    <a:pt x="1072" y="1310"/>
                  </a:lnTo>
                  <a:cubicBezTo>
                    <a:pt x="1001" y="1239"/>
                    <a:pt x="912" y="1204"/>
                    <a:pt x="846" y="1204"/>
                  </a:cubicBezTo>
                  <a:cubicBezTo>
                    <a:pt x="824" y="1204"/>
                    <a:pt x="804" y="1208"/>
                    <a:pt x="788" y="1216"/>
                  </a:cubicBezTo>
                  <a:cubicBezTo>
                    <a:pt x="662" y="1216"/>
                    <a:pt x="599" y="1310"/>
                    <a:pt x="536" y="1373"/>
                  </a:cubicBezTo>
                  <a:cubicBezTo>
                    <a:pt x="1" y="2413"/>
                    <a:pt x="127" y="3736"/>
                    <a:pt x="1009" y="4618"/>
                  </a:cubicBezTo>
                  <a:cubicBezTo>
                    <a:pt x="1549" y="5135"/>
                    <a:pt x="2230" y="5407"/>
                    <a:pt x="2934" y="5407"/>
                  </a:cubicBezTo>
                  <a:cubicBezTo>
                    <a:pt x="3173" y="5407"/>
                    <a:pt x="3415" y="5375"/>
                    <a:pt x="3655" y="5311"/>
                  </a:cubicBezTo>
                  <a:lnTo>
                    <a:pt x="3907" y="5563"/>
                  </a:lnTo>
                  <a:lnTo>
                    <a:pt x="757" y="8714"/>
                  </a:lnTo>
                  <a:cubicBezTo>
                    <a:pt x="64" y="9344"/>
                    <a:pt x="64" y="10447"/>
                    <a:pt x="757" y="11108"/>
                  </a:cubicBezTo>
                  <a:cubicBezTo>
                    <a:pt x="1088" y="11455"/>
                    <a:pt x="1521" y="11628"/>
                    <a:pt x="1954" y="11628"/>
                  </a:cubicBezTo>
                  <a:cubicBezTo>
                    <a:pt x="2387" y="11628"/>
                    <a:pt x="2820" y="11455"/>
                    <a:pt x="3151" y="11108"/>
                  </a:cubicBezTo>
                  <a:lnTo>
                    <a:pt x="6302" y="7958"/>
                  </a:lnTo>
                  <a:lnTo>
                    <a:pt x="6522" y="8210"/>
                  </a:lnTo>
                  <a:cubicBezTo>
                    <a:pt x="6302" y="9155"/>
                    <a:pt x="6522" y="10132"/>
                    <a:pt x="7247" y="10825"/>
                  </a:cubicBezTo>
                  <a:cubicBezTo>
                    <a:pt x="7765" y="11362"/>
                    <a:pt x="8469" y="11630"/>
                    <a:pt x="9169" y="11630"/>
                  </a:cubicBezTo>
                  <a:cubicBezTo>
                    <a:pt x="9618" y="11630"/>
                    <a:pt x="10066" y="11519"/>
                    <a:pt x="10460" y="11297"/>
                  </a:cubicBezTo>
                  <a:cubicBezTo>
                    <a:pt x="10555" y="11266"/>
                    <a:pt x="10618" y="11140"/>
                    <a:pt x="10618" y="11077"/>
                  </a:cubicBezTo>
                  <a:cubicBezTo>
                    <a:pt x="10618" y="11014"/>
                    <a:pt x="10586" y="10888"/>
                    <a:pt x="10555" y="10793"/>
                  </a:cubicBezTo>
                  <a:lnTo>
                    <a:pt x="9263" y="9501"/>
                  </a:lnTo>
                  <a:cubicBezTo>
                    <a:pt x="9137" y="9375"/>
                    <a:pt x="9137" y="9155"/>
                    <a:pt x="9263" y="9029"/>
                  </a:cubicBezTo>
                  <a:cubicBezTo>
                    <a:pt x="9310" y="8966"/>
                    <a:pt x="9397" y="8934"/>
                    <a:pt x="9488" y="8934"/>
                  </a:cubicBezTo>
                  <a:cubicBezTo>
                    <a:pt x="9578" y="8934"/>
                    <a:pt x="9673" y="8966"/>
                    <a:pt x="9736" y="9029"/>
                  </a:cubicBezTo>
                  <a:lnTo>
                    <a:pt x="11027" y="10321"/>
                  </a:lnTo>
                  <a:cubicBezTo>
                    <a:pt x="11075" y="10392"/>
                    <a:pt x="11157" y="10427"/>
                    <a:pt x="11236" y="10427"/>
                  </a:cubicBezTo>
                  <a:cubicBezTo>
                    <a:pt x="11262" y="10427"/>
                    <a:pt x="11287" y="10423"/>
                    <a:pt x="11311" y="10415"/>
                  </a:cubicBezTo>
                  <a:cubicBezTo>
                    <a:pt x="11405" y="10415"/>
                    <a:pt x="11500" y="10321"/>
                    <a:pt x="11532" y="10258"/>
                  </a:cubicBezTo>
                  <a:cubicBezTo>
                    <a:pt x="12099" y="9218"/>
                    <a:pt x="11973" y="7895"/>
                    <a:pt x="11059" y="7013"/>
                  </a:cubicBezTo>
                  <a:cubicBezTo>
                    <a:pt x="10542" y="6496"/>
                    <a:pt x="9850" y="6224"/>
                    <a:pt x="9139" y="6224"/>
                  </a:cubicBezTo>
                  <a:cubicBezTo>
                    <a:pt x="8897" y="6224"/>
                    <a:pt x="8653" y="6255"/>
                    <a:pt x="8413" y="6320"/>
                  </a:cubicBezTo>
                  <a:lnTo>
                    <a:pt x="7719" y="5595"/>
                  </a:lnTo>
                  <a:lnTo>
                    <a:pt x="9578" y="3736"/>
                  </a:lnTo>
                  <a:lnTo>
                    <a:pt x="9799" y="3988"/>
                  </a:lnTo>
                  <a:cubicBezTo>
                    <a:pt x="9867" y="4056"/>
                    <a:pt x="9958" y="4089"/>
                    <a:pt x="10051" y="4089"/>
                  </a:cubicBezTo>
                  <a:cubicBezTo>
                    <a:pt x="10172" y="4089"/>
                    <a:pt x="10294" y="4032"/>
                    <a:pt x="10366" y="3925"/>
                  </a:cubicBezTo>
                  <a:lnTo>
                    <a:pt x="11815" y="1499"/>
                  </a:lnTo>
                  <a:cubicBezTo>
                    <a:pt x="11878" y="1373"/>
                    <a:pt x="11878" y="1184"/>
                    <a:pt x="11784" y="1090"/>
                  </a:cubicBezTo>
                  <a:lnTo>
                    <a:pt x="10775" y="82"/>
                  </a:lnTo>
                  <a:cubicBezTo>
                    <a:pt x="10723" y="30"/>
                    <a:pt x="10652" y="6"/>
                    <a:pt x="10573" y="6"/>
                  </a:cubicBezTo>
                  <a:cubicBezTo>
                    <a:pt x="10507" y="6"/>
                    <a:pt x="10437" y="22"/>
                    <a:pt x="10366" y="50"/>
                  </a:cubicBezTo>
                  <a:lnTo>
                    <a:pt x="7940" y="1499"/>
                  </a:lnTo>
                  <a:cubicBezTo>
                    <a:pt x="7751" y="1625"/>
                    <a:pt x="7719" y="1909"/>
                    <a:pt x="7877" y="2066"/>
                  </a:cubicBezTo>
                  <a:lnTo>
                    <a:pt x="8097" y="2287"/>
                  </a:lnTo>
                  <a:lnTo>
                    <a:pt x="6270" y="4146"/>
                  </a:lnTo>
                  <a:lnTo>
                    <a:pt x="5546" y="3421"/>
                  </a:lnTo>
                  <a:cubicBezTo>
                    <a:pt x="5798" y="2476"/>
                    <a:pt x="5546" y="1499"/>
                    <a:pt x="4852" y="806"/>
                  </a:cubicBezTo>
                  <a:cubicBezTo>
                    <a:pt x="4315" y="269"/>
                    <a:pt x="3615" y="1"/>
                    <a:pt x="2915"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311" name="Google Shape;10311;p112"/>
            <p:cNvSpPr/>
            <p:nvPr/>
          </p:nvSpPr>
          <p:spPr>
            <a:xfrm>
              <a:off x="-31838650" y="2838200"/>
              <a:ext cx="70100" cy="68550"/>
            </a:xfrm>
            <a:custGeom>
              <a:avLst/>
              <a:gdLst/>
              <a:ahLst/>
              <a:cxnLst/>
              <a:rect l="l" t="t" r="r" b="b"/>
              <a:pathLst>
                <a:path w="2804" h="2742" extrusionOk="0">
                  <a:moveTo>
                    <a:pt x="2430" y="0"/>
                  </a:moveTo>
                  <a:cubicBezTo>
                    <a:pt x="2339" y="0"/>
                    <a:pt x="2253" y="32"/>
                    <a:pt x="2205" y="95"/>
                  </a:cubicBezTo>
                  <a:lnTo>
                    <a:pt x="95" y="2174"/>
                  </a:lnTo>
                  <a:cubicBezTo>
                    <a:pt x="0" y="2300"/>
                    <a:pt x="0" y="2521"/>
                    <a:pt x="95" y="2647"/>
                  </a:cubicBezTo>
                  <a:cubicBezTo>
                    <a:pt x="158" y="2710"/>
                    <a:pt x="236" y="2741"/>
                    <a:pt x="319" y="2741"/>
                  </a:cubicBezTo>
                  <a:cubicBezTo>
                    <a:pt x="402" y="2741"/>
                    <a:pt x="488" y="2710"/>
                    <a:pt x="567" y="2647"/>
                  </a:cubicBezTo>
                  <a:lnTo>
                    <a:pt x="2678" y="567"/>
                  </a:lnTo>
                  <a:cubicBezTo>
                    <a:pt x="2804" y="441"/>
                    <a:pt x="2804" y="221"/>
                    <a:pt x="2678" y="95"/>
                  </a:cubicBezTo>
                  <a:cubicBezTo>
                    <a:pt x="2615" y="32"/>
                    <a:pt x="2520" y="0"/>
                    <a:pt x="2430"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sp>
        <p:nvSpPr>
          <p:cNvPr id="10312" name="Google Shape;10312;p112"/>
          <p:cNvSpPr/>
          <p:nvPr/>
        </p:nvSpPr>
        <p:spPr>
          <a:xfrm>
            <a:off x="5299436" y="4511043"/>
            <a:ext cx="475251" cy="472744"/>
          </a:xfrm>
          <a:custGeom>
            <a:avLst/>
            <a:gdLst/>
            <a:ahLst/>
            <a:cxnLst/>
            <a:rect l="l" t="t" r="r" b="b"/>
            <a:pathLst>
              <a:path w="11752" h="11690" extrusionOk="0">
                <a:moveTo>
                  <a:pt x="5923" y="694"/>
                </a:moveTo>
                <a:cubicBezTo>
                  <a:pt x="6490" y="694"/>
                  <a:pt x="6963" y="1166"/>
                  <a:pt x="6963" y="1765"/>
                </a:cubicBezTo>
                <a:cubicBezTo>
                  <a:pt x="6963" y="2332"/>
                  <a:pt x="6490" y="2805"/>
                  <a:pt x="5923" y="2805"/>
                </a:cubicBezTo>
                <a:cubicBezTo>
                  <a:pt x="5325" y="2805"/>
                  <a:pt x="4852" y="2332"/>
                  <a:pt x="4852" y="1765"/>
                </a:cubicBezTo>
                <a:cubicBezTo>
                  <a:pt x="4852" y="1229"/>
                  <a:pt x="5325" y="694"/>
                  <a:pt x="5923" y="694"/>
                </a:cubicBezTo>
                <a:close/>
                <a:moveTo>
                  <a:pt x="2489" y="3466"/>
                </a:moveTo>
                <a:cubicBezTo>
                  <a:pt x="2678" y="3466"/>
                  <a:pt x="2836" y="3624"/>
                  <a:pt x="2836" y="3813"/>
                </a:cubicBezTo>
                <a:lnTo>
                  <a:pt x="2836" y="4916"/>
                </a:lnTo>
                <a:cubicBezTo>
                  <a:pt x="2678" y="4947"/>
                  <a:pt x="2584" y="5042"/>
                  <a:pt x="2458" y="5168"/>
                </a:cubicBezTo>
                <a:cubicBezTo>
                  <a:pt x="2363" y="5231"/>
                  <a:pt x="2300" y="5357"/>
                  <a:pt x="2237" y="5420"/>
                </a:cubicBezTo>
                <a:cubicBezTo>
                  <a:pt x="2174" y="5357"/>
                  <a:pt x="2143" y="5262"/>
                  <a:pt x="2143" y="5199"/>
                </a:cubicBezTo>
                <a:lnTo>
                  <a:pt x="2143" y="3813"/>
                </a:lnTo>
                <a:cubicBezTo>
                  <a:pt x="2143" y="3624"/>
                  <a:pt x="2300" y="3466"/>
                  <a:pt x="2489" y="3466"/>
                </a:cubicBezTo>
                <a:close/>
                <a:moveTo>
                  <a:pt x="9326" y="3466"/>
                </a:moveTo>
                <a:cubicBezTo>
                  <a:pt x="9546" y="3466"/>
                  <a:pt x="9704" y="3624"/>
                  <a:pt x="9704" y="3813"/>
                </a:cubicBezTo>
                <a:lnTo>
                  <a:pt x="9704" y="5199"/>
                </a:lnTo>
                <a:cubicBezTo>
                  <a:pt x="9704" y="5262"/>
                  <a:pt x="9641" y="5357"/>
                  <a:pt x="9578" y="5420"/>
                </a:cubicBezTo>
                <a:cubicBezTo>
                  <a:pt x="9546" y="5294"/>
                  <a:pt x="9452" y="5231"/>
                  <a:pt x="9389" y="5168"/>
                </a:cubicBezTo>
                <a:cubicBezTo>
                  <a:pt x="9263" y="5042"/>
                  <a:pt x="9137" y="4947"/>
                  <a:pt x="8979" y="4916"/>
                </a:cubicBezTo>
                <a:lnTo>
                  <a:pt x="8979" y="3813"/>
                </a:lnTo>
                <a:cubicBezTo>
                  <a:pt x="9011" y="3624"/>
                  <a:pt x="9168" y="3466"/>
                  <a:pt x="9326" y="3466"/>
                </a:cubicBezTo>
                <a:close/>
                <a:moveTo>
                  <a:pt x="5923" y="3466"/>
                </a:moveTo>
                <a:cubicBezTo>
                  <a:pt x="6900" y="3466"/>
                  <a:pt x="7814" y="4096"/>
                  <a:pt x="8160" y="4947"/>
                </a:cubicBezTo>
                <a:cubicBezTo>
                  <a:pt x="8066" y="5010"/>
                  <a:pt x="8003" y="5042"/>
                  <a:pt x="7971" y="5105"/>
                </a:cubicBezTo>
                <a:lnTo>
                  <a:pt x="6081" y="6963"/>
                </a:lnTo>
                <a:cubicBezTo>
                  <a:pt x="6018" y="6995"/>
                  <a:pt x="5955" y="7089"/>
                  <a:pt x="5923" y="7152"/>
                </a:cubicBezTo>
                <a:cubicBezTo>
                  <a:pt x="5860" y="7089"/>
                  <a:pt x="5797" y="7026"/>
                  <a:pt x="5766" y="6963"/>
                </a:cubicBezTo>
                <a:lnTo>
                  <a:pt x="3876" y="5105"/>
                </a:lnTo>
                <a:cubicBezTo>
                  <a:pt x="3781" y="5042"/>
                  <a:pt x="3750" y="5010"/>
                  <a:pt x="3655" y="4947"/>
                </a:cubicBezTo>
                <a:cubicBezTo>
                  <a:pt x="4033" y="4096"/>
                  <a:pt x="4915" y="3466"/>
                  <a:pt x="5923" y="3466"/>
                </a:cubicBezTo>
                <a:close/>
                <a:moveTo>
                  <a:pt x="10744" y="2049"/>
                </a:moveTo>
                <a:cubicBezTo>
                  <a:pt x="10964" y="2049"/>
                  <a:pt x="11122" y="2206"/>
                  <a:pt x="11122" y="2395"/>
                </a:cubicBezTo>
                <a:lnTo>
                  <a:pt x="11122" y="6144"/>
                </a:lnTo>
                <a:lnTo>
                  <a:pt x="11059" y="6144"/>
                </a:lnTo>
                <a:cubicBezTo>
                  <a:pt x="11059" y="6333"/>
                  <a:pt x="11027" y="6491"/>
                  <a:pt x="10901" y="6648"/>
                </a:cubicBezTo>
                <a:lnTo>
                  <a:pt x="9263" y="9421"/>
                </a:lnTo>
                <a:cubicBezTo>
                  <a:pt x="9105" y="9673"/>
                  <a:pt x="9011" y="9956"/>
                  <a:pt x="9011" y="10271"/>
                </a:cubicBezTo>
                <a:lnTo>
                  <a:pt x="9011" y="10933"/>
                </a:lnTo>
                <a:lnTo>
                  <a:pt x="6270" y="10933"/>
                </a:lnTo>
                <a:lnTo>
                  <a:pt x="6270" y="8097"/>
                </a:lnTo>
                <a:cubicBezTo>
                  <a:pt x="6270" y="7845"/>
                  <a:pt x="6396" y="7593"/>
                  <a:pt x="6585" y="7404"/>
                </a:cubicBezTo>
                <a:lnTo>
                  <a:pt x="8475" y="5546"/>
                </a:lnTo>
                <a:cubicBezTo>
                  <a:pt x="8538" y="5483"/>
                  <a:pt x="8625" y="5451"/>
                  <a:pt x="8712" y="5451"/>
                </a:cubicBezTo>
                <a:cubicBezTo>
                  <a:pt x="8798" y="5451"/>
                  <a:pt x="8885" y="5483"/>
                  <a:pt x="8948" y="5546"/>
                </a:cubicBezTo>
                <a:cubicBezTo>
                  <a:pt x="9074" y="5672"/>
                  <a:pt x="9074" y="5892"/>
                  <a:pt x="8948" y="6018"/>
                </a:cubicBezTo>
                <a:lnTo>
                  <a:pt x="7751" y="7215"/>
                </a:lnTo>
                <a:cubicBezTo>
                  <a:pt x="7656" y="7310"/>
                  <a:pt x="7656" y="7562"/>
                  <a:pt x="7751" y="7656"/>
                </a:cubicBezTo>
                <a:cubicBezTo>
                  <a:pt x="7814" y="7719"/>
                  <a:pt x="7908" y="7751"/>
                  <a:pt x="7999" y="7751"/>
                </a:cubicBezTo>
                <a:cubicBezTo>
                  <a:pt x="8089" y="7751"/>
                  <a:pt x="8176" y="7719"/>
                  <a:pt x="8223" y="7656"/>
                </a:cubicBezTo>
                <a:lnTo>
                  <a:pt x="10082" y="5829"/>
                </a:lnTo>
                <a:cubicBezTo>
                  <a:pt x="10271" y="5609"/>
                  <a:pt x="10397" y="5388"/>
                  <a:pt x="10397" y="5105"/>
                </a:cubicBezTo>
                <a:lnTo>
                  <a:pt x="10397" y="2395"/>
                </a:lnTo>
                <a:cubicBezTo>
                  <a:pt x="10397" y="2206"/>
                  <a:pt x="10555" y="2049"/>
                  <a:pt x="10744" y="2049"/>
                </a:cubicBezTo>
                <a:close/>
                <a:moveTo>
                  <a:pt x="1103" y="2080"/>
                </a:moveTo>
                <a:cubicBezTo>
                  <a:pt x="1292" y="2080"/>
                  <a:pt x="1450" y="2238"/>
                  <a:pt x="1450" y="2427"/>
                </a:cubicBezTo>
                <a:lnTo>
                  <a:pt x="1450" y="5168"/>
                </a:lnTo>
                <a:cubicBezTo>
                  <a:pt x="1450" y="5420"/>
                  <a:pt x="1576" y="5672"/>
                  <a:pt x="1796" y="5861"/>
                </a:cubicBezTo>
                <a:lnTo>
                  <a:pt x="3624" y="7719"/>
                </a:lnTo>
                <a:cubicBezTo>
                  <a:pt x="3687" y="7782"/>
                  <a:pt x="3781" y="7814"/>
                  <a:pt x="3872" y="7814"/>
                </a:cubicBezTo>
                <a:cubicBezTo>
                  <a:pt x="3962" y="7814"/>
                  <a:pt x="4049" y="7782"/>
                  <a:pt x="4096" y="7719"/>
                </a:cubicBezTo>
                <a:cubicBezTo>
                  <a:pt x="4222" y="7593"/>
                  <a:pt x="4222" y="7373"/>
                  <a:pt x="4096" y="7247"/>
                </a:cubicBezTo>
                <a:lnTo>
                  <a:pt x="2930" y="6050"/>
                </a:lnTo>
                <a:cubicBezTo>
                  <a:pt x="2804" y="5955"/>
                  <a:pt x="2804" y="5703"/>
                  <a:pt x="2930" y="5577"/>
                </a:cubicBezTo>
                <a:cubicBezTo>
                  <a:pt x="2978" y="5530"/>
                  <a:pt x="3064" y="5506"/>
                  <a:pt x="3155" y="5506"/>
                </a:cubicBezTo>
                <a:cubicBezTo>
                  <a:pt x="3245" y="5506"/>
                  <a:pt x="3340" y="5530"/>
                  <a:pt x="3403" y="5577"/>
                </a:cubicBezTo>
                <a:lnTo>
                  <a:pt x="5293" y="7436"/>
                </a:lnTo>
                <a:cubicBezTo>
                  <a:pt x="5482" y="7625"/>
                  <a:pt x="5608" y="7877"/>
                  <a:pt x="5608" y="8161"/>
                </a:cubicBezTo>
                <a:lnTo>
                  <a:pt x="5608" y="10996"/>
                </a:lnTo>
                <a:lnTo>
                  <a:pt x="2836" y="10996"/>
                </a:lnTo>
                <a:lnTo>
                  <a:pt x="2836" y="10303"/>
                </a:lnTo>
                <a:cubicBezTo>
                  <a:pt x="2804" y="10051"/>
                  <a:pt x="2710" y="9736"/>
                  <a:pt x="2552" y="9452"/>
                </a:cubicBezTo>
                <a:lnTo>
                  <a:pt x="914" y="6680"/>
                </a:lnTo>
                <a:cubicBezTo>
                  <a:pt x="851" y="6522"/>
                  <a:pt x="757" y="6333"/>
                  <a:pt x="757" y="6176"/>
                </a:cubicBezTo>
                <a:lnTo>
                  <a:pt x="757" y="2427"/>
                </a:lnTo>
                <a:cubicBezTo>
                  <a:pt x="757" y="2238"/>
                  <a:pt x="914" y="2080"/>
                  <a:pt x="1103" y="2080"/>
                </a:cubicBezTo>
                <a:close/>
                <a:moveTo>
                  <a:pt x="5860" y="1"/>
                </a:moveTo>
                <a:cubicBezTo>
                  <a:pt x="4915" y="1"/>
                  <a:pt x="4128" y="788"/>
                  <a:pt x="4128" y="1734"/>
                </a:cubicBezTo>
                <a:cubicBezTo>
                  <a:pt x="4128" y="2206"/>
                  <a:pt x="4348" y="2647"/>
                  <a:pt x="4695" y="2994"/>
                </a:cubicBezTo>
                <a:cubicBezTo>
                  <a:pt x="4411" y="3120"/>
                  <a:pt x="4191" y="3214"/>
                  <a:pt x="3939" y="3435"/>
                </a:cubicBezTo>
                <a:cubicBezTo>
                  <a:pt x="3750" y="3592"/>
                  <a:pt x="3592" y="3750"/>
                  <a:pt x="3435" y="3939"/>
                </a:cubicBezTo>
                <a:lnTo>
                  <a:pt x="3435" y="3813"/>
                </a:lnTo>
                <a:cubicBezTo>
                  <a:pt x="3435" y="3246"/>
                  <a:pt x="2962" y="2805"/>
                  <a:pt x="2395" y="2805"/>
                </a:cubicBezTo>
                <a:cubicBezTo>
                  <a:pt x="2300" y="2805"/>
                  <a:pt x="2174" y="2836"/>
                  <a:pt x="2048" y="2836"/>
                </a:cubicBezTo>
                <a:lnTo>
                  <a:pt x="2048" y="2427"/>
                </a:lnTo>
                <a:cubicBezTo>
                  <a:pt x="2048" y="1891"/>
                  <a:pt x="1576" y="1418"/>
                  <a:pt x="1040" y="1418"/>
                </a:cubicBezTo>
                <a:cubicBezTo>
                  <a:pt x="473" y="1418"/>
                  <a:pt x="0" y="1891"/>
                  <a:pt x="0" y="2427"/>
                </a:cubicBezTo>
                <a:lnTo>
                  <a:pt x="0" y="6176"/>
                </a:lnTo>
                <a:cubicBezTo>
                  <a:pt x="0" y="6491"/>
                  <a:pt x="95" y="6806"/>
                  <a:pt x="253" y="7026"/>
                </a:cubicBezTo>
                <a:lnTo>
                  <a:pt x="1891" y="9799"/>
                </a:lnTo>
                <a:cubicBezTo>
                  <a:pt x="1985" y="9956"/>
                  <a:pt x="2048" y="10145"/>
                  <a:pt x="2048" y="10303"/>
                </a:cubicBezTo>
                <a:lnTo>
                  <a:pt x="2048" y="11342"/>
                </a:lnTo>
                <a:cubicBezTo>
                  <a:pt x="2048" y="11532"/>
                  <a:pt x="2206" y="11689"/>
                  <a:pt x="2395" y="11689"/>
                </a:cubicBezTo>
                <a:lnTo>
                  <a:pt x="9294" y="11689"/>
                </a:lnTo>
                <a:cubicBezTo>
                  <a:pt x="9483" y="11689"/>
                  <a:pt x="9641" y="11532"/>
                  <a:pt x="9641" y="11342"/>
                </a:cubicBezTo>
                <a:lnTo>
                  <a:pt x="9641" y="10303"/>
                </a:lnTo>
                <a:cubicBezTo>
                  <a:pt x="9641" y="10114"/>
                  <a:pt x="9704" y="9956"/>
                  <a:pt x="9799" y="9799"/>
                </a:cubicBezTo>
                <a:lnTo>
                  <a:pt x="11468" y="7026"/>
                </a:lnTo>
                <a:cubicBezTo>
                  <a:pt x="11626" y="6774"/>
                  <a:pt x="11689" y="6491"/>
                  <a:pt x="11689" y="6176"/>
                </a:cubicBezTo>
                <a:lnTo>
                  <a:pt x="11689" y="2427"/>
                </a:lnTo>
                <a:cubicBezTo>
                  <a:pt x="11752" y="1891"/>
                  <a:pt x="11279" y="1418"/>
                  <a:pt x="10712" y="1418"/>
                </a:cubicBezTo>
                <a:cubicBezTo>
                  <a:pt x="10177" y="1418"/>
                  <a:pt x="9704" y="1891"/>
                  <a:pt x="9704" y="2427"/>
                </a:cubicBezTo>
                <a:lnTo>
                  <a:pt x="9704" y="2836"/>
                </a:lnTo>
                <a:cubicBezTo>
                  <a:pt x="9578" y="2805"/>
                  <a:pt x="9452" y="2805"/>
                  <a:pt x="9326" y="2805"/>
                </a:cubicBezTo>
                <a:cubicBezTo>
                  <a:pt x="8790" y="2805"/>
                  <a:pt x="8318" y="3246"/>
                  <a:pt x="8318" y="3813"/>
                </a:cubicBezTo>
                <a:lnTo>
                  <a:pt x="8318" y="3939"/>
                </a:lnTo>
                <a:cubicBezTo>
                  <a:pt x="8160" y="3750"/>
                  <a:pt x="8003" y="3592"/>
                  <a:pt x="7814" y="3435"/>
                </a:cubicBezTo>
                <a:cubicBezTo>
                  <a:pt x="7562" y="3246"/>
                  <a:pt x="7341" y="3088"/>
                  <a:pt x="7058" y="2994"/>
                </a:cubicBezTo>
                <a:cubicBezTo>
                  <a:pt x="7404" y="2647"/>
                  <a:pt x="7593" y="2206"/>
                  <a:pt x="7593" y="1734"/>
                </a:cubicBezTo>
                <a:cubicBezTo>
                  <a:pt x="7593" y="788"/>
                  <a:pt x="6806" y="1"/>
                  <a:pt x="5860"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nvGrpSpPr>
          <p:cNvPr id="10313" name="Google Shape;10313;p112"/>
          <p:cNvGrpSpPr/>
          <p:nvPr/>
        </p:nvGrpSpPr>
        <p:grpSpPr>
          <a:xfrm>
            <a:off x="2329895" y="2046095"/>
            <a:ext cx="472703" cy="473997"/>
            <a:chOff x="-35136450" y="1912725"/>
            <a:chExt cx="292225" cy="293025"/>
          </a:xfrm>
        </p:grpSpPr>
        <p:sp>
          <p:nvSpPr>
            <p:cNvPr id="10314" name="Google Shape;10314;p112"/>
            <p:cNvSpPr/>
            <p:nvPr/>
          </p:nvSpPr>
          <p:spPr>
            <a:xfrm>
              <a:off x="-35136450" y="2050575"/>
              <a:ext cx="155975" cy="155175"/>
            </a:xfrm>
            <a:custGeom>
              <a:avLst/>
              <a:gdLst/>
              <a:ahLst/>
              <a:cxnLst/>
              <a:rect l="l" t="t" r="r" b="b"/>
              <a:pathLst>
                <a:path w="6239" h="6207" extrusionOk="0">
                  <a:moveTo>
                    <a:pt x="3120" y="693"/>
                  </a:moveTo>
                  <a:cubicBezTo>
                    <a:pt x="3718" y="693"/>
                    <a:pt x="4191" y="1166"/>
                    <a:pt x="4191" y="1702"/>
                  </a:cubicBezTo>
                  <a:cubicBezTo>
                    <a:pt x="4191" y="2269"/>
                    <a:pt x="3718" y="2741"/>
                    <a:pt x="3120" y="2741"/>
                  </a:cubicBezTo>
                  <a:cubicBezTo>
                    <a:pt x="2521" y="2741"/>
                    <a:pt x="2049" y="2269"/>
                    <a:pt x="2049" y="1702"/>
                  </a:cubicBezTo>
                  <a:cubicBezTo>
                    <a:pt x="2049" y="1166"/>
                    <a:pt x="2521" y="693"/>
                    <a:pt x="3120" y="693"/>
                  </a:cubicBezTo>
                  <a:close/>
                  <a:moveTo>
                    <a:pt x="3120" y="3434"/>
                  </a:moveTo>
                  <a:cubicBezTo>
                    <a:pt x="4348" y="3434"/>
                    <a:pt x="5357" y="4348"/>
                    <a:pt x="5514" y="5514"/>
                  </a:cubicBezTo>
                  <a:lnTo>
                    <a:pt x="757" y="5514"/>
                  </a:lnTo>
                  <a:cubicBezTo>
                    <a:pt x="883" y="4348"/>
                    <a:pt x="1891" y="3434"/>
                    <a:pt x="3120" y="3434"/>
                  </a:cubicBezTo>
                  <a:close/>
                  <a:moveTo>
                    <a:pt x="3120" y="0"/>
                  </a:moveTo>
                  <a:cubicBezTo>
                    <a:pt x="2175" y="0"/>
                    <a:pt x="1387" y="756"/>
                    <a:pt x="1387" y="1702"/>
                  </a:cubicBezTo>
                  <a:cubicBezTo>
                    <a:pt x="1387" y="2174"/>
                    <a:pt x="1576" y="2615"/>
                    <a:pt x="1891" y="2930"/>
                  </a:cubicBezTo>
                  <a:lnTo>
                    <a:pt x="1954" y="2962"/>
                  </a:lnTo>
                  <a:cubicBezTo>
                    <a:pt x="851" y="3403"/>
                    <a:pt x="1" y="4506"/>
                    <a:pt x="1" y="5829"/>
                  </a:cubicBezTo>
                  <a:cubicBezTo>
                    <a:pt x="1" y="6049"/>
                    <a:pt x="158" y="6207"/>
                    <a:pt x="379" y="6207"/>
                  </a:cubicBezTo>
                  <a:lnTo>
                    <a:pt x="5892" y="6207"/>
                  </a:lnTo>
                  <a:cubicBezTo>
                    <a:pt x="6081" y="6207"/>
                    <a:pt x="6239" y="6049"/>
                    <a:pt x="6239" y="5829"/>
                  </a:cubicBezTo>
                  <a:cubicBezTo>
                    <a:pt x="6239" y="4537"/>
                    <a:pt x="5420" y="3434"/>
                    <a:pt x="4317" y="2962"/>
                  </a:cubicBezTo>
                  <a:lnTo>
                    <a:pt x="4348" y="2930"/>
                  </a:lnTo>
                  <a:cubicBezTo>
                    <a:pt x="4663" y="2615"/>
                    <a:pt x="4852" y="2174"/>
                    <a:pt x="4852" y="1702"/>
                  </a:cubicBezTo>
                  <a:cubicBezTo>
                    <a:pt x="4852" y="756"/>
                    <a:pt x="4065" y="0"/>
                    <a:pt x="3120"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315" name="Google Shape;10315;p112"/>
            <p:cNvSpPr/>
            <p:nvPr/>
          </p:nvSpPr>
          <p:spPr>
            <a:xfrm>
              <a:off x="-34964750" y="1947400"/>
              <a:ext cx="68550" cy="103200"/>
            </a:xfrm>
            <a:custGeom>
              <a:avLst/>
              <a:gdLst/>
              <a:ahLst/>
              <a:cxnLst/>
              <a:rect l="l" t="t" r="r" b="b"/>
              <a:pathLst>
                <a:path w="2742" h="4128" extrusionOk="0">
                  <a:moveTo>
                    <a:pt x="1387" y="725"/>
                  </a:moveTo>
                  <a:cubicBezTo>
                    <a:pt x="1765" y="725"/>
                    <a:pt x="2049" y="1008"/>
                    <a:pt x="2049" y="1386"/>
                  </a:cubicBezTo>
                  <a:lnTo>
                    <a:pt x="2049" y="2773"/>
                  </a:lnTo>
                  <a:cubicBezTo>
                    <a:pt x="2049" y="2836"/>
                    <a:pt x="2049" y="2867"/>
                    <a:pt x="2017" y="2930"/>
                  </a:cubicBezTo>
                  <a:lnTo>
                    <a:pt x="1923" y="2836"/>
                  </a:lnTo>
                  <a:cubicBezTo>
                    <a:pt x="1860" y="2773"/>
                    <a:pt x="1773" y="2741"/>
                    <a:pt x="1686" y="2741"/>
                  </a:cubicBezTo>
                  <a:cubicBezTo>
                    <a:pt x="1600" y="2741"/>
                    <a:pt x="1513" y="2773"/>
                    <a:pt x="1450" y="2836"/>
                  </a:cubicBezTo>
                  <a:cubicBezTo>
                    <a:pt x="1324" y="2962"/>
                    <a:pt x="1324" y="3182"/>
                    <a:pt x="1450" y="3308"/>
                  </a:cubicBezTo>
                  <a:lnTo>
                    <a:pt x="1545" y="3403"/>
                  </a:lnTo>
                  <a:cubicBezTo>
                    <a:pt x="1482" y="3434"/>
                    <a:pt x="1450" y="3434"/>
                    <a:pt x="1387" y="3434"/>
                  </a:cubicBezTo>
                  <a:cubicBezTo>
                    <a:pt x="977" y="3434"/>
                    <a:pt x="694" y="3119"/>
                    <a:pt x="694" y="2773"/>
                  </a:cubicBezTo>
                  <a:lnTo>
                    <a:pt x="694" y="1386"/>
                  </a:lnTo>
                  <a:cubicBezTo>
                    <a:pt x="694" y="977"/>
                    <a:pt x="1040" y="725"/>
                    <a:pt x="1387" y="725"/>
                  </a:cubicBezTo>
                  <a:close/>
                  <a:moveTo>
                    <a:pt x="1387" y="0"/>
                  </a:moveTo>
                  <a:cubicBezTo>
                    <a:pt x="631" y="0"/>
                    <a:pt x="1" y="630"/>
                    <a:pt x="1" y="1386"/>
                  </a:cubicBezTo>
                  <a:lnTo>
                    <a:pt x="1" y="2773"/>
                  </a:lnTo>
                  <a:cubicBezTo>
                    <a:pt x="1" y="3497"/>
                    <a:pt x="631" y="4127"/>
                    <a:pt x="1387" y="4127"/>
                  </a:cubicBezTo>
                  <a:cubicBezTo>
                    <a:pt x="1608" y="4127"/>
                    <a:pt x="1860" y="4064"/>
                    <a:pt x="2080" y="3938"/>
                  </a:cubicBezTo>
                  <a:lnTo>
                    <a:pt x="2175" y="4033"/>
                  </a:lnTo>
                  <a:cubicBezTo>
                    <a:pt x="2222" y="4080"/>
                    <a:pt x="2309" y="4104"/>
                    <a:pt x="2399" y="4104"/>
                  </a:cubicBezTo>
                  <a:cubicBezTo>
                    <a:pt x="2490" y="4104"/>
                    <a:pt x="2584" y="4080"/>
                    <a:pt x="2647" y="4033"/>
                  </a:cubicBezTo>
                  <a:cubicBezTo>
                    <a:pt x="2742" y="3907"/>
                    <a:pt x="2742" y="3655"/>
                    <a:pt x="2647" y="3560"/>
                  </a:cubicBezTo>
                  <a:lnTo>
                    <a:pt x="2553" y="3466"/>
                  </a:lnTo>
                  <a:cubicBezTo>
                    <a:pt x="2679" y="3277"/>
                    <a:pt x="2742" y="3025"/>
                    <a:pt x="2742" y="2773"/>
                  </a:cubicBezTo>
                  <a:lnTo>
                    <a:pt x="2742" y="1386"/>
                  </a:lnTo>
                  <a:cubicBezTo>
                    <a:pt x="2742" y="630"/>
                    <a:pt x="2112" y="0"/>
                    <a:pt x="1387"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316" name="Google Shape;10316;p112"/>
            <p:cNvSpPr/>
            <p:nvPr/>
          </p:nvSpPr>
          <p:spPr>
            <a:xfrm>
              <a:off x="-35016725" y="1912725"/>
              <a:ext cx="172500" cy="172025"/>
            </a:xfrm>
            <a:custGeom>
              <a:avLst/>
              <a:gdLst/>
              <a:ahLst/>
              <a:cxnLst/>
              <a:rect l="l" t="t" r="r" b="b"/>
              <a:pathLst>
                <a:path w="6900" h="6881" extrusionOk="0">
                  <a:moveTo>
                    <a:pt x="3466" y="726"/>
                  </a:moveTo>
                  <a:cubicBezTo>
                    <a:pt x="4947" y="726"/>
                    <a:pt x="6175" y="1954"/>
                    <a:pt x="6175" y="3467"/>
                  </a:cubicBezTo>
                  <a:cubicBezTo>
                    <a:pt x="6207" y="4979"/>
                    <a:pt x="4978" y="6207"/>
                    <a:pt x="3466" y="6207"/>
                  </a:cubicBezTo>
                  <a:cubicBezTo>
                    <a:pt x="2930" y="6207"/>
                    <a:pt x="2426" y="6050"/>
                    <a:pt x="1985" y="5766"/>
                  </a:cubicBezTo>
                  <a:cubicBezTo>
                    <a:pt x="1942" y="5745"/>
                    <a:pt x="1868" y="5708"/>
                    <a:pt x="1806" y="5708"/>
                  </a:cubicBezTo>
                  <a:cubicBezTo>
                    <a:pt x="1778" y="5708"/>
                    <a:pt x="1753" y="5715"/>
                    <a:pt x="1733" y="5735"/>
                  </a:cubicBezTo>
                  <a:lnTo>
                    <a:pt x="946" y="5987"/>
                  </a:lnTo>
                  <a:lnTo>
                    <a:pt x="1198" y="5199"/>
                  </a:lnTo>
                  <a:cubicBezTo>
                    <a:pt x="1261" y="5136"/>
                    <a:pt x="1198" y="5010"/>
                    <a:pt x="1166" y="4947"/>
                  </a:cubicBezTo>
                  <a:cubicBezTo>
                    <a:pt x="914" y="4506"/>
                    <a:pt x="757" y="4002"/>
                    <a:pt x="757" y="3467"/>
                  </a:cubicBezTo>
                  <a:cubicBezTo>
                    <a:pt x="757" y="1954"/>
                    <a:pt x="1954" y="726"/>
                    <a:pt x="3466" y="726"/>
                  </a:cubicBezTo>
                  <a:close/>
                  <a:moveTo>
                    <a:pt x="3466" y="1"/>
                  </a:moveTo>
                  <a:cubicBezTo>
                    <a:pt x="1576" y="1"/>
                    <a:pt x="32" y="1545"/>
                    <a:pt x="32" y="3435"/>
                  </a:cubicBezTo>
                  <a:cubicBezTo>
                    <a:pt x="32" y="4034"/>
                    <a:pt x="190" y="4569"/>
                    <a:pt x="473" y="5136"/>
                  </a:cubicBezTo>
                  <a:lnTo>
                    <a:pt x="32" y="6428"/>
                  </a:lnTo>
                  <a:cubicBezTo>
                    <a:pt x="0" y="6554"/>
                    <a:pt x="32" y="6712"/>
                    <a:pt x="95" y="6775"/>
                  </a:cubicBezTo>
                  <a:cubicBezTo>
                    <a:pt x="166" y="6845"/>
                    <a:pt x="272" y="6881"/>
                    <a:pt x="374" y="6881"/>
                  </a:cubicBezTo>
                  <a:cubicBezTo>
                    <a:pt x="408" y="6881"/>
                    <a:pt x="442" y="6877"/>
                    <a:pt x="473" y="6869"/>
                  </a:cubicBezTo>
                  <a:lnTo>
                    <a:pt x="1765" y="6428"/>
                  </a:lnTo>
                  <a:cubicBezTo>
                    <a:pt x="2269" y="6712"/>
                    <a:pt x="2867" y="6869"/>
                    <a:pt x="3466" y="6869"/>
                  </a:cubicBezTo>
                  <a:cubicBezTo>
                    <a:pt x="5356" y="6869"/>
                    <a:pt x="6900" y="5325"/>
                    <a:pt x="6900" y="3435"/>
                  </a:cubicBezTo>
                  <a:cubicBezTo>
                    <a:pt x="6869" y="1576"/>
                    <a:pt x="5356" y="1"/>
                    <a:pt x="3466"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10317" name="Google Shape;10317;p112"/>
          <p:cNvGrpSpPr/>
          <p:nvPr/>
        </p:nvGrpSpPr>
        <p:grpSpPr>
          <a:xfrm>
            <a:off x="2330522" y="2658388"/>
            <a:ext cx="471449" cy="472137"/>
            <a:chOff x="-35134875" y="2272675"/>
            <a:chExt cx="291450" cy="291875"/>
          </a:xfrm>
        </p:grpSpPr>
        <p:sp>
          <p:nvSpPr>
            <p:cNvPr id="10318" name="Google Shape;10318;p112"/>
            <p:cNvSpPr/>
            <p:nvPr/>
          </p:nvSpPr>
          <p:spPr>
            <a:xfrm>
              <a:off x="-35134875" y="2272675"/>
              <a:ext cx="291450" cy="291875"/>
            </a:xfrm>
            <a:custGeom>
              <a:avLst/>
              <a:gdLst/>
              <a:ahLst/>
              <a:cxnLst/>
              <a:rect l="l" t="t" r="r" b="b"/>
              <a:pathLst>
                <a:path w="11658" h="11675" extrusionOk="0">
                  <a:moveTo>
                    <a:pt x="9925" y="662"/>
                  </a:moveTo>
                  <a:cubicBezTo>
                    <a:pt x="10460" y="662"/>
                    <a:pt x="10933" y="1135"/>
                    <a:pt x="10933" y="1733"/>
                  </a:cubicBezTo>
                  <a:lnTo>
                    <a:pt x="10933" y="5136"/>
                  </a:lnTo>
                  <a:cubicBezTo>
                    <a:pt x="10933" y="5703"/>
                    <a:pt x="10460" y="6176"/>
                    <a:pt x="9925" y="6176"/>
                  </a:cubicBezTo>
                  <a:cubicBezTo>
                    <a:pt x="9704" y="6176"/>
                    <a:pt x="9547" y="6333"/>
                    <a:pt x="9547" y="6522"/>
                  </a:cubicBezTo>
                  <a:lnTo>
                    <a:pt x="9547" y="7751"/>
                  </a:lnTo>
                  <a:lnTo>
                    <a:pt x="8192" y="6365"/>
                  </a:lnTo>
                  <a:lnTo>
                    <a:pt x="8192" y="4474"/>
                  </a:lnTo>
                  <a:cubicBezTo>
                    <a:pt x="8192" y="3529"/>
                    <a:pt x="7404" y="2742"/>
                    <a:pt x="6459" y="2742"/>
                  </a:cubicBezTo>
                  <a:lnTo>
                    <a:pt x="3372" y="2742"/>
                  </a:lnTo>
                  <a:lnTo>
                    <a:pt x="3372" y="1733"/>
                  </a:lnTo>
                  <a:cubicBezTo>
                    <a:pt x="3372" y="1166"/>
                    <a:pt x="3844" y="662"/>
                    <a:pt x="4411" y="662"/>
                  </a:cubicBezTo>
                  <a:close/>
                  <a:moveTo>
                    <a:pt x="6459" y="3403"/>
                  </a:moveTo>
                  <a:cubicBezTo>
                    <a:pt x="6995" y="3403"/>
                    <a:pt x="7499" y="3876"/>
                    <a:pt x="7499" y="4474"/>
                  </a:cubicBezTo>
                  <a:lnTo>
                    <a:pt x="7499" y="7908"/>
                  </a:lnTo>
                  <a:lnTo>
                    <a:pt x="7467" y="7908"/>
                  </a:lnTo>
                  <a:cubicBezTo>
                    <a:pt x="7467" y="8444"/>
                    <a:pt x="6995" y="8917"/>
                    <a:pt x="6396" y="8917"/>
                  </a:cubicBezTo>
                  <a:lnTo>
                    <a:pt x="3687" y="8917"/>
                  </a:lnTo>
                  <a:cubicBezTo>
                    <a:pt x="3624" y="8917"/>
                    <a:pt x="3498" y="8948"/>
                    <a:pt x="3466" y="9043"/>
                  </a:cubicBezTo>
                  <a:lnTo>
                    <a:pt x="1986" y="10492"/>
                  </a:lnTo>
                  <a:lnTo>
                    <a:pt x="1986" y="9295"/>
                  </a:lnTo>
                  <a:cubicBezTo>
                    <a:pt x="1986" y="9074"/>
                    <a:pt x="1828" y="8917"/>
                    <a:pt x="1639" y="8917"/>
                  </a:cubicBezTo>
                  <a:cubicBezTo>
                    <a:pt x="1103" y="8917"/>
                    <a:pt x="631" y="8444"/>
                    <a:pt x="631" y="7908"/>
                  </a:cubicBezTo>
                  <a:lnTo>
                    <a:pt x="631" y="4474"/>
                  </a:lnTo>
                  <a:cubicBezTo>
                    <a:pt x="631" y="3939"/>
                    <a:pt x="1103" y="3403"/>
                    <a:pt x="1639" y="3403"/>
                  </a:cubicBezTo>
                  <a:close/>
                  <a:moveTo>
                    <a:pt x="4411" y="1"/>
                  </a:moveTo>
                  <a:cubicBezTo>
                    <a:pt x="3466" y="1"/>
                    <a:pt x="2710" y="788"/>
                    <a:pt x="2710" y="1733"/>
                  </a:cubicBezTo>
                  <a:lnTo>
                    <a:pt x="2710" y="2742"/>
                  </a:lnTo>
                  <a:lnTo>
                    <a:pt x="1671" y="2742"/>
                  </a:lnTo>
                  <a:cubicBezTo>
                    <a:pt x="725" y="2742"/>
                    <a:pt x="1" y="3529"/>
                    <a:pt x="1" y="4474"/>
                  </a:cubicBezTo>
                  <a:lnTo>
                    <a:pt x="1" y="7908"/>
                  </a:lnTo>
                  <a:cubicBezTo>
                    <a:pt x="1" y="8728"/>
                    <a:pt x="568" y="9452"/>
                    <a:pt x="1355" y="9610"/>
                  </a:cubicBezTo>
                  <a:lnTo>
                    <a:pt x="1355" y="11342"/>
                  </a:lnTo>
                  <a:cubicBezTo>
                    <a:pt x="1355" y="11500"/>
                    <a:pt x="1450" y="11594"/>
                    <a:pt x="1576" y="11657"/>
                  </a:cubicBezTo>
                  <a:cubicBezTo>
                    <a:pt x="1607" y="11668"/>
                    <a:pt x="1646" y="11675"/>
                    <a:pt x="1687" y="11675"/>
                  </a:cubicBezTo>
                  <a:cubicBezTo>
                    <a:pt x="1769" y="11675"/>
                    <a:pt x="1860" y="11647"/>
                    <a:pt x="1923" y="11563"/>
                  </a:cubicBezTo>
                  <a:lnTo>
                    <a:pt x="3876" y="9610"/>
                  </a:lnTo>
                  <a:lnTo>
                    <a:pt x="6491" y="9610"/>
                  </a:lnTo>
                  <a:cubicBezTo>
                    <a:pt x="7436" y="9610"/>
                    <a:pt x="8224" y="8854"/>
                    <a:pt x="8224" y="7908"/>
                  </a:cubicBezTo>
                  <a:lnTo>
                    <a:pt x="8224" y="7341"/>
                  </a:lnTo>
                  <a:lnTo>
                    <a:pt x="9704" y="8822"/>
                  </a:lnTo>
                  <a:cubicBezTo>
                    <a:pt x="9773" y="8868"/>
                    <a:pt x="9876" y="8897"/>
                    <a:pt x="9976" y="8897"/>
                  </a:cubicBezTo>
                  <a:cubicBezTo>
                    <a:pt x="10013" y="8897"/>
                    <a:pt x="10049" y="8893"/>
                    <a:pt x="10082" y="8885"/>
                  </a:cubicBezTo>
                  <a:cubicBezTo>
                    <a:pt x="10208" y="8854"/>
                    <a:pt x="10271" y="8696"/>
                    <a:pt x="10271" y="8570"/>
                  </a:cubicBezTo>
                  <a:lnTo>
                    <a:pt x="10271" y="6837"/>
                  </a:lnTo>
                  <a:cubicBezTo>
                    <a:pt x="11059" y="6680"/>
                    <a:pt x="11658" y="5987"/>
                    <a:pt x="11658" y="5136"/>
                  </a:cubicBezTo>
                  <a:lnTo>
                    <a:pt x="11658" y="1733"/>
                  </a:lnTo>
                  <a:cubicBezTo>
                    <a:pt x="11595" y="788"/>
                    <a:pt x="10870" y="1"/>
                    <a:pt x="9925"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319" name="Google Shape;10319;p112"/>
            <p:cNvSpPr/>
            <p:nvPr/>
          </p:nvSpPr>
          <p:spPr>
            <a:xfrm>
              <a:off x="-35093925" y="2419175"/>
              <a:ext cx="18150" cy="17350"/>
            </a:xfrm>
            <a:custGeom>
              <a:avLst/>
              <a:gdLst/>
              <a:ahLst/>
              <a:cxnLst/>
              <a:rect l="l" t="t" r="r" b="b"/>
              <a:pathLst>
                <a:path w="726" h="694" extrusionOk="0">
                  <a:moveTo>
                    <a:pt x="348" y="1"/>
                  </a:moveTo>
                  <a:cubicBezTo>
                    <a:pt x="159" y="1"/>
                    <a:pt x="1" y="158"/>
                    <a:pt x="1" y="347"/>
                  </a:cubicBezTo>
                  <a:cubicBezTo>
                    <a:pt x="1" y="536"/>
                    <a:pt x="159" y="694"/>
                    <a:pt x="348" y="694"/>
                  </a:cubicBezTo>
                  <a:cubicBezTo>
                    <a:pt x="568" y="694"/>
                    <a:pt x="726" y="536"/>
                    <a:pt x="726" y="347"/>
                  </a:cubicBezTo>
                  <a:cubicBezTo>
                    <a:pt x="726" y="158"/>
                    <a:pt x="568" y="1"/>
                    <a:pt x="348"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320" name="Google Shape;10320;p112"/>
            <p:cNvSpPr/>
            <p:nvPr/>
          </p:nvSpPr>
          <p:spPr>
            <a:xfrm>
              <a:off x="-35042725" y="2419175"/>
              <a:ext cx="18150" cy="17350"/>
            </a:xfrm>
            <a:custGeom>
              <a:avLst/>
              <a:gdLst/>
              <a:ahLst/>
              <a:cxnLst/>
              <a:rect l="l" t="t" r="r" b="b"/>
              <a:pathLst>
                <a:path w="726" h="694" extrusionOk="0">
                  <a:moveTo>
                    <a:pt x="347" y="1"/>
                  </a:moveTo>
                  <a:cubicBezTo>
                    <a:pt x="158" y="1"/>
                    <a:pt x="1" y="158"/>
                    <a:pt x="1" y="347"/>
                  </a:cubicBezTo>
                  <a:cubicBezTo>
                    <a:pt x="1" y="536"/>
                    <a:pt x="158" y="694"/>
                    <a:pt x="347" y="694"/>
                  </a:cubicBezTo>
                  <a:cubicBezTo>
                    <a:pt x="568" y="694"/>
                    <a:pt x="725" y="536"/>
                    <a:pt x="725" y="347"/>
                  </a:cubicBezTo>
                  <a:cubicBezTo>
                    <a:pt x="725" y="158"/>
                    <a:pt x="568" y="1"/>
                    <a:pt x="347"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321" name="Google Shape;10321;p112"/>
            <p:cNvSpPr/>
            <p:nvPr/>
          </p:nvSpPr>
          <p:spPr>
            <a:xfrm>
              <a:off x="-34991525" y="2419175"/>
              <a:ext cx="18150" cy="17350"/>
            </a:xfrm>
            <a:custGeom>
              <a:avLst/>
              <a:gdLst/>
              <a:ahLst/>
              <a:cxnLst/>
              <a:rect l="l" t="t" r="r" b="b"/>
              <a:pathLst>
                <a:path w="726" h="694" extrusionOk="0">
                  <a:moveTo>
                    <a:pt x="347" y="1"/>
                  </a:moveTo>
                  <a:cubicBezTo>
                    <a:pt x="158" y="1"/>
                    <a:pt x="1" y="158"/>
                    <a:pt x="1" y="347"/>
                  </a:cubicBezTo>
                  <a:cubicBezTo>
                    <a:pt x="1" y="536"/>
                    <a:pt x="158" y="694"/>
                    <a:pt x="347" y="694"/>
                  </a:cubicBezTo>
                  <a:cubicBezTo>
                    <a:pt x="568" y="694"/>
                    <a:pt x="725" y="536"/>
                    <a:pt x="725" y="347"/>
                  </a:cubicBezTo>
                  <a:cubicBezTo>
                    <a:pt x="725" y="158"/>
                    <a:pt x="568" y="1"/>
                    <a:pt x="347"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10322" name="Google Shape;10322;p112"/>
          <p:cNvGrpSpPr/>
          <p:nvPr/>
        </p:nvGrpSpPr>
        <p:grpSpPr>
          <a:xfrm>
            <a:off x="2385945" y="3265493"/>
            <a:ext cx="360604" cy="471449"/>
            <a:chOff x="-35101800" y="2631050"/>
            <a:chExt cx="222925" cy="291450"/>
          </a:xfrm>
        </p:grpSpPr>
        <p:sp>
          <p:nvSpPr>
            <p:cNvPr id="10323" name="Google Shape;10323;p112"/>
            <p:cNvSpPr/>
            <p:nvPr/>
          </p:nvSpPr>
          <p:spPr>
            <a:xfrm>
              <a:off x="-34999400" y="2699575"/>
              <a:ext cx="18150" cy="18125"/>
            </a:xfrm>
            <a:custGeom>
              <a:avLst/>
              <a:gdLst/>
              <a:ahLst/>
              <a:cxnLst/>
              <a:rect l="l" t="t" r="r" b="b"/>
              <a:pathLst>
                <a:path w="726" h="725" extrusionOk="0">
                  <a:moveTo>
                    <a:pt x="347" y="0"/>
                  </a:moveTo>
                  <a:cubicBezTo>
                    <a:pt x="158" y="0"/>
                    <a:pt x="1" y="158"/>
                    <a:pt x="1" y="347"/>
                  </a:cubicBezTo>
                  <a:cubicBezTo>
                    <a:pt x="1" y="567"/>
                    <a:pt x="158" y="725"/>
                    <a:pt x="347" y="725"/>
                  </a:cubicBezTo>
                  <a:cubicBezTo>
                    <a:pt x="568" y="725"/>
                    <a:pt x="725" y="567"/>
                    <a:pt x="725" y="347"/>
                  </a:cubicBezTo>
                  <a:cubicBezTo>
                    <a:pt x="725" y="158"/>
                    <a:pt x="568" y="0"/>
                    <a:pt x="347"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324" name="Google Shape;10324;p112"/>
            <p:cNvSpPr/>
            <p:nvPr/>
          </p:nvSpPr>
          <p:spPr>
            <a:xfrm>
              <a:off x="-34999400" y="2732650"/>
              <a:ext cx="18150" cy="52800"/>
            </a:xfrm>
            <a:custGeom>
              <a:avLst/>
              <a:gdLst/>
              <a:ahLst/>
              <a:cxnLst/>
              <a:rect l="l" t="t" r="r" b="b"/>
              <a:pathLst>
                <a:path w="726" h="2112" extrusionOk="0">
                  <a:moveTo>
                    <a:pt x="347" y="0"/>
                  </a:moveTo>
                  <a:cubicBezTo>
                    <a:pt x="158" y="0"/>
                    <a:pt x="1" y="190"/>
                    <a:pt x="1" y="379"/>
                  </a:cubicBezTo>
                  <a:lnTo>
                    <a:pt x="1" y="1765"/>
                  </a:lnTo>
                  <a:cubicBezTo>
                    <a:pt x="1" y="1985"/>
                    <a:pt x="158" y="2111"/>
                    <a:pt x="347" y="2111"/>
                  </a:cubicBezTo>
                  <a:cubicBezTo>
                    <a:pt x="568" y="2111"/>
                    <a:pt x="725" y="1954"/>
                    <a:pt x="725" y="1765"/>
                  </a:cubicBezTo>
                  <a:lnTo>
                    <a:pt x="725" y="379"/>
                  </a:lnTo>
                  <a:cubicBezTo>
                    <a:pt x="725" y="190"/>
                    <a:pt x="568" y="0"/>
                    <a:pt x="347"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325" name="Google Shape;10325;p112"/>
            <p:cNvSpPr/>
            <p:nvPr/>
          </p:nvSpPr>
          <p:spPr>
            <a:xfrm>
              <a:off x="-35067125" y="2665700"/>
              <a:ext cx="153600" cy="154400"/>
            </a:xfrm>
            <a:custGeom>
              <a:avLst/>
              <a:gdLst/>
              <a:ahLst/>
              <a:cxnLst/>
              <a:rect l="l" t="t" r="r" b="b"/>
              <a:pathLst>
                <a:path w="6144" h="6176" extrusionOk="0">
                  <a:moveTo>
                    <a:pt x="3056" y="694"/>
                  </a:moveTo>
                  <a:cubicBezTo>
                    <a:pt x="4411" y="694"/>
                    <a:pt x="5482" y="1765"/>
                    <a:pt x="5482" y="3088"/>
                  </a:cubicBezTo>
                  <a:cubicBezTo>
                    <a:pt x="5482" y="4443"/>
                    <a:pt x="4411" y="5482"/>
                    <a:pt x="3056" y="5482"/>
                  </a:cubicBezTo>
                  <a:cubicBezTo>
                    <a:pt x="1733" y="5482"/>
                    <a:pt x="662" y="4443"/>
                    <a:pt x="662" y="3088"/>
                  </a:cubicBezTo>
                  <a:cubicBezTo>
                    <a:pt x="662" y="1796"/>
                    <a:pt x="1764" y="694"/>
                    <a:pt x="3056" y="694"/>
                  </a:cubicBezTo>
                  <a:close/>
                  <a:moveTo>
                    <a:pt x="3056" y="1"/>
                  </a:moveTo>
                  <a:cubicBezTo>
                    <a:pt x="1386" y="1"/>
                    <a:pt x="0" y="1387"/>
                    <a:pt x="0" y="3088"/>
                  </a:cubicBezTo>
                  <a:cubicBezTo>
                    <a:pt x="0" y="4789"/>
                    <a:pt x="1386" y="6176"/>
                    <a:pt x="3056" y="6176"/>
                  </a:cubicBezTo>
                  <a:cubicBezTo>
                    <a:pt x="4757" y="6176"/>
                    <a:pt x="6144" y="4789"/>
                    <a:pt x="6144" y="3088"/>
                  </a:cubicBezTo>
                  <a:cubicBezTo>
                    <a:pt x="6144" y="1387"/>
                    <a:pt x="4757" y="1"/>
                    <a:pt x="3056"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326" name="Google Shape;10326;p112"/>
            <p:cNvSpPr/>
            <p:nvPr/>
          </p:nvSpPr>
          <p:spPr>
            <a:xfrm>
              <a:off x="-35101800" y="2631050"/>
              <a:ext cx="222925" cy="291450"/>
            </a:xfrm>
            <a:custGeom>
              <a:avLst/>
              <a:gdLst/>
              <a:ahLst/>
              <a:cxnLst/>
              <a:rect l="l" t="t" r="r" b="b"/>
              <a:pathLst>
                <a:path w="8917" h="11658" extrusionOk="0">
                  <a:moveTo>
                    <a:pt x="4443" y="693"/>
                  </a:moveTo>
                  <a:cubicBezTo>
                    <a:pt x="6554" y="693"/>
                    <a:pt x="8192" y="2395"/>
                    <a:pt x="8192" y="4474"/>
                  </a:cubicBezTo>
                  <a:cubicBezTo>
                    <a:pt x="8192" y="5293"/>
                    <a:pt x="7940" y="6081"/>
                    <a:pt x="7436" y="6711"/>
                  </a:cubicBezTo>
                  <a:lnTo>
                    <a:pt x="4443" y="10775"/>
                  </a:lnTo>
                  <a:lnTo>
                    <a:pt x="1450" y="6711"/>
                  </a:lnTo>
                  <a:cubicBezTo>
                    <a:pt x="1009" y="6049"/>
                    <a:pt x="726" y="5293"/>
                    <a:pt x="726" y="4474"/>
                  </a:cubicBezTo>
                  <a:cubicBezTo>
                    <a:pt x="726" y="2395"/>
                    <a:pt x="2364" y="693"/>
                    <a:pt x="4443" y="693"/>
                  </a:cubicBezTo>
                  <a:close/>
                  <a:moveTo>
                    <a:pt x="4443" y="0"/>
                  </a:moveTo>
                  <a:cubicBezTo>
                    <a:pt x="2017" y="0"/>
                    <a:pt x="1" y="1985"/>
                    <a:pt x="1" y="4443"/>
                  </a:cubicBezTo>
                  <a:cubicBezTo>
                    <a:pt x="1" y="5419"/>
                    <a:pt x="316" y="6333"/>
                    <a:pt x="883" y="7120"/>
                  </a:cubicBezTo>
                  <a:lnTo>
                    <a:pt x="4191" y="11531"/>
                  </a:lnTo>
                  <a:cubicBezTo>
                    <a:pt x="4254" y="11594"/>
                    <a:pt x="4349" y="11657"/>
                    <a:pt x="4443" y="11657"/>
                  </a:cubicBezTo>
                  <a:cubicBezTo>
                    <a:pt x="4569" y="11657"/>
                    <a:pt x="4664" y="11594"/>
                    <a:pt x="4727" y="11531"/>
                  </a:cubicBezTo>
                  <a:lnTo>
                    <a:pt x="8003" y="7120"/>
                  </a:lnTo>
                  <a:cubicBezTo>
                    <a:pt x="8602" y="6333"/>
                    <a:pt x="8917" y="5419"/>
                    <a:pt x="8917" y="4443"/>
                  </a:cubicBezTo>
                  <a:cubicBezTo>
                    <a:pt x="8917" y="1985"/>
                    <a:pt x="6901" y="0"/>
                    <a:pt x="4443"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sp>
        <p:nvSpPr>
          <p:cNvPr id="10327" name="Google Shape;10327;p112"/>
          <p:cNvSpPr/>
          <p:nvPr/>
        </p:nvSpPr>
        <p:spPr>
          <a:xfrm>
            <a:off x="5309540" y="2046480"/>
            <a:ext cx="451027" cy="473673"/>
          </a:xfrm>
          <a:custGeom>
            <a:avLst/>
            <a:gdLst/>
            <a:ahLst/>
            <a:cxnLst/>
            <a:rect l="l" t="t" r="r" b="b"/>
            <a:pathLst>
              <a:path w="11153" h="11713" extrusionOk="0">
                <a:moveTo>
                  <a:pt x="9594" y="693"/>
                </a:moveTo>
                <a:cubicBezTo>
                  <a:pt x="9767" y="693"/>
                  <a:pt x="9940" y="764"/>
                  <a:pt x="10082" y="906"/>
                </a:cubicBezTo>
                <a:cubicBezTo>
                  <a:pt x="10365" y="1158"/>
                  <a:pt x="10365" y="1599"/>
                  <a:pt x="10082" y="1883"/>
                </a:cubicBezTo>
                <a:lnTo>
                  <a:pt x="9168" y="2796"/>
                </a:lnTo>
                <a:lnTo>
                  <a:pt x="6175" y="3364"/>
                </a:lnTo>
                <a:lnTo>
                  <a:pt x="6175" y="1410"/>
                </a:lnTo>
                <a:lnTo>
                  <a:pt x="8475" y="1410"/>
                </a:lnTo>
                <a:cubicBezTo>
                  <a:pt x="8538" y="1410"/>
                  <a:pt x="8664" y="1379"/>
                  <a:pt x="8696" y="1284"/>
                </a:cubicBezTo>
                <a:lnTo>
                  <a:pt x="9105" y="906"/>
                </a:lnTo>
                <a:cubicBezTo>
                  <a:pt x="9247" y="764"/>
                  <a:pt x="9420" y="693"/>
                  <a:pt x="9594" y="693"/>
                </a:cubicBezTo>
                <a:close/>
                <a:moveTo>
                  <a:pt x="5136" y="749"/>
                </a:moveTo>
                <a:cubicBezTo>
                  <a:pt x="5325" y="749"/>
                  <a:pt x="5482" y="906"/>
                  <a:pt x="5482" y="1095"/>
                </a:cubicBezTo>
                <a:lnTo>
                  <a:pt x="5482" y="4214"/>
                </a:lnTo>
                <a:cubicBezTo>
                  <a:pt x="5356" y="4151"/>
                  <a:pt x="5230" y="4151"/>
                  <a:pt x="5136" y="4151"/>
                </a:cubicBezTo>
                <a:cubicBezTo>
                  <a:pt x="5010" y="4151"/>
                  <a:pt x="4884" y="4151"/>
                  <a:pt x="4758" y="4214"/>
                </a:cubicBezTo>
                <a:lnTo>
                  <a:pt x="4758" y="1095"/>
                </a:lnTo>
                <a:cubicBezTo>
                  <a:pt x="4758" y="906"/>
                  <a:pt x="4915" y="749"/>
                  <a:pt x="5136" y="749"/>
                </a:cubicBezTo>
                <a:close/>
                <a:moveTo>
                  <a:pt x="5136" y="4844"/>
                </a:moveTo>
                <a:cubicBezTo>
                  <a:pt x="5671" y="4844"/>
                  <a:pt x="6144" y="5317"/>
                  <a:pt x="6144" y="5852"/>
                </a:cubicBezTo>
                <a:cubicBezTo>
                  <a:pt x="6144" y="6419"/>
                  <a:pt x="5671" y="6861"/>
                  <a:pt x="5136" y="6861"/>
                </a:cubicBezTo>
                <a:cubicBezTo>
                  <a:pt x="4568" y="6861"/>
                  <a:pt x="4096" y="6388"/>
                  <a:pt x="4096" y="5852"/>
                </a:cubicBezTo>
                <a:cubicBezTo>
                  <a:pt x="4096" y="5317"/>
                  <a:pt x="4568" y="4844"/>
                  <a:pt x="5136" y="4844"/>
                </a:cubicBezTo>
                <a:close/>
                <a:moveTo>
                  <a:pt x="4096" y="1442"/>
                </a:moveTo>
                <a:lnTo>
                  <a:pt x="4096" y="4529"/>
                </a:lnTo>
                <a:cubicBezTo>
                  <a:pt x="3655" y="4844"/>
                  <a:pt x="3434" y="5348"/>
                  <a:pt x="3434" y="5884"/>
                </a:cubicBezTo>
                <a:cubicBezTo>
                  <a:pt x="3434" y="6136"/>
                  <a:pt x="3466" y="6419"/>
                  <a:pt x="3592" y="6609"/>
                </a:cubicBezTo>
                <a:lnTo>
                  <a:pt x="2332" y="8184"/>
                </a:lnTo>
                <a:cubicBezTo>
                  <a:pt x="1323" y="7522"/>
                  <a:pt x="725" y="6356"/>
                  <a:pt x="725" y="5159"/>
                </a:cubicBezTo>
                <a:cubicBezTo>
                  <a:pt x="662" y="3143"/>
                  <a:pt x="2206" y="1568"/>
                  <a:pt x="4096" y="1442"/>
                </a:cubicBezTo>
                <a:close/>
                <a:moveTo>
                  <a:pt x="8916" y="3521"/>
                </a:moveTo>
                <a:lnTo>
                  <a:pt x="8916" y="4466"/>
                </a:lnTo>
                <a:cubicBezTo>
                  <a:pt x="8916" y="4529"/>
                  <a:pt x="8916" y="4592"/>
                  <a:pt x="8948" y="4624"/>
                </a:cubicBezTo>
                <a:lnTo>
                  <a:pt x="9798" y="6419"/>
                </a:lnTo>
                <a:cubicBezTo>
                  <a:pt x="9893" y="6577"/>
                  <a:pt x="9798" y="6672"/>
                  <a:pt x="9798" y="6735"/>
                </a:cubicBezTo>
                <a:cubicBezTo>
                  <a:pt x="9767" y="6766"/>
                  <a:pt x="9704" y="6892"/>
                  <a:pt x="9546" y="6892"/>
                </a:cubicBezTo>
                <a:lnTo>
                  <a:pt x="9263" y="6892"/>
                </a:lnTo>
                <a:cubicBezTo>
                  <a:pt x="9074" y="6892"/>
                  <a:pt x="8916" y="7050"/>
                  <a:pt x="8916" y="7239"/>
                </a:cubicBezTo>
                <a:lnTo>
                  <a:pt x="8916" y="8341"/>
                </a:lnTo>
                <a:cubicBezTo>
                  <a:pt x="8633" y="8467"/>
                  <a:pt x="8381" y="8656"/>
                  <a:pt x="8286" y="8971"/>
                </a:cubicBezTo>
                <a:lnTo>
                  <a:pt x="6522" y="8971"/>
                </a:lnTo>
                <a:cubicBezTo>
                  <a:pt x="5955" y="8971"/>
                  <a:pt x="5482" y="8499"/>
                  <a:pt x="5482" y="7932"/>
                </a:cubicBezTo>
                <a:lnTo>
                  <a:pt x="5482" y="7554"/>
                </a:lnTo>
                <a:cubicBezTo>
                  <a:pt x="6270" y="7396"/>
                  <a:pt x="6868" y="6672"/>
                  <a:pt x="6868" y="5852"/>
                </a:cubicBezTo>
                <a:cubicBezTo>
                  <a:pt x="6868" y="5317"/>
                  <a:pt x="6585" y="4781"/>
                  <a:pt x="6207" y="4466"/>
                </a:cubicBezTo>
                <a:lnTo>
                  <a:pt x="6207" y="4088"/>
                </a:lnTo>
                <a:lnTo>
                  <a:pt x="8916" y="3521"/>
                </a:lnTo>
                <a:close/>
                <a:moveTo>
                  <a:pt x="9231" y="8940"/>
                </a:moveTo>
                <a:cubicBezTo>
                  <a:pt x="9420" y="8940"/>
                  <a:pt x="9578" y="9097"/>
                  <a:pt x="9578" y="9286"/>
                </a:cubicBezTo>
                <a:cubicBezTo>
                  <a:pt x="9578" y="9475"/>
                  <a:pt x="9420" y="9633"/>
                  <a:pt x="9231" y="9633"/>
                </a:cubicBezTo>
                <a:cubicBezTo>
                  <a:pt x="9011" y="9633"/>
                  <a:pt x="8853" y="9475"/>
                  <a:pt x="8853" y="9286"/>
                </a:cubicBezTo>
                <a:cubicBezTo>
                  <a:pt x="8853" y="9097"/>
                  <a:pt x="9011" y="8940"/>
                  <a:pt x="9231" y="8940"/>
                </a:cubicBezTo>
                <a:close/>
                <a:moveTo>
                  <a:pt x="3970" y="7144"/>
                </a:moveTo>
                <a:cubicBezTo>
                  <a:pt x="4222" y="7365"/>
                  <a:pt x="4442" y="7522"/>
                  <a:pt x="4758" y="7554"/>
                </a:cubicBezTo>
                <a:lnTo>
                  <a:pt x="4758" y="7932"/>
                </a:lnTo>
                <a:cubicBezTo>
                  <a:pt x="4758" y="8877"/>
                  <a:pt x="5514" y="9633"/>
                  <a:pt x="6459" y="9633"/>
                </a:cubicBezTo>
                <a:lnTo>
                  <a:pt x="8223" y="9633"/>
                </a:lnTo>
                <a:cubicBezTo>
                  <a:pt x="8286" y="9727"/>
                  <a:pt x="8318" y="9791"/>
                  <a:pt x="8349" y="9822"/>
                </a:cubicBezTo>
                <a:cubicBezTo>
                  <a:pt x="8034" y="10137"/>
                  <a:pt x="7593" y="10295"/>
                  <a:pt x="7183" y="10295"/>
                </a:cubicBezTo>
                <a:lnTo>
                  <a:pt x="5797" y="10295"/>
                </a:lnTo>
                <a:cubicBezTo>
                  <a:pt x="5608" y="10295"/>
                  <a:pt x="5451" y="10452"/>
                  <a:pt x="5451" y="10673"/>
                </a:cubicBezTo>
                <a:lnTo>
                  <a:pt x="5451" y="11051"/>
                </a:lnTo>
                <a:lnTo>
                  <a:pt x="2710" y="11051"/>
                </a:lnTo>
                <a:lnTo>
                  <a:pt x="2710" y="8719"/>
                </a:lnTo>
                <a:lnTo>
                  <a:pt x="3970" y="7144"/>
                </a:lnTo>
                <a:close/>
                <a:moveTo>
                  <a:pt x="9629" y="0"/>
                </a:moveTo>
                <a:cubicBezTo>
                  <a:pt x="9278" y="0"/>
                  <a:pt x="8932" y="134"/>
                  <a:pt x="8664" y="402"/>
                </a:cubicBezTo>
                <a:lnTo>
                  <a:pt x="8412" y="686"/>
                </a:lnTo>
                <a:lnTo>
                  <a:pt x="6144" y="686"/>
                </a:lnTo>
                <a:cubicBezTo>
                  <a:pt x="5986" y="308"/>
                  <a:pt x="5640" y="24"/>
                  <a:pt x="5167" y="24"/>
                </a:cubicBezTo>
                <a:cubicBezTo>
                  <a:pt x="4726" y="24"/>
                  <a:pt x="4348" y="308"/>
                  <a:pt x="4190" y="686"/>
                </a:cubicBezTo>
                <a:cubicBezTo>
                  <a:pt x="1859" y="812"/>
                  <a:pt x="0" y="2702"/>
                  <a:pt x="0" y="5033"/>
                </a:cubicBezTo>
                <a:cubicBezTo>
                  <a:pt x="0" y="6514"/>
                  <a:pt x="725" y="7900"/>
                  <a:pt x="1922" y="8688"/>
                </a:cubicBezTo>
                <a:lnTo>
                  <a:pt x="2048" y="8782"/>
                </a:lnTo>
                <a:lnTo>
                  <a:pt x="2048" y="11366"/>
                </a:lnTo>
                <a:cubicBezTo>
                  <a:pt x="2048" y="11555"/>
                  <a:pt x="2206" y="11712"/>
                  <a:pt x="2426" y="11712"/>
                </a:cubicBezTo>
                <a:lnTo>
                  <a:pt x="5829" y="11712"/>
                </a:lnTo>
                <a:cubicBezTo>
                  <a:pt x="6018" y="11712"/>
                  <a:pt x="6207" y="11555"/>
                  <a:pt x="6207" y="11366"/>
                </a:cubicBezTo>
                <a:lnTo>
                  <a:pt x="6207" y="10956"/>
                </a:lnTo>
                <a:lnTo>
                  <a:pt x="7215" y="10956"/>
                </a:lnTo>
                <a:cubicBezTo>
                  <a:pt x="7877" y="10956"/>
                  <a:pt x="8475" y="10704"/>
                  <a:pt x="8948" y="10232"/>
                </a:cubicBezTo>
                <a:cubicBezTo>
                  <a:pt x="9074" y="10263"/>
                  <a:pt x="9137" y="10263"/>
                  <a:pt x="9263" y="10263"/>
                </a:cubicBezTo>
                <a:cubicBezTo>
                  <a:pt x="9830" y="10263"/>
                  <a:pt x="10302" y="9791"/>
                  <a:pt x="10302" y="9223"/>
                </a:cubicBezTo>
                <a:cubicBezTo>
                  <a:pt x="10302" y="8814"/>
                  <a:pt x="10019" y="8404"/>
                  <a:pt x="9609" y="8247"/>
                </a:cubicBezTo>
                <a:lnTo>
                  <a:pt x="9609" y="7491"/>
                </a:lnTo>
                <a:cubicBezTo>
                  <a:pt x="9924" y="7459"/>
                  <a:pt x="10239" y="7302"/>
                  <a:pt x="10397" y="7018"/>
                </a:cubicBezTo>
                <a:cubicBezTo>
                  <a:pt x="10617" y="6703"/>
                  <a:pt x="10617" y="6356"/>
                  <a:pt x="10460" y="6041"/>
                </a:cubicBezTo>
                <a:lnTo>
                  <a:pt x="9609" y="4403"/>
                </a:lnTo>
                <a:lnTo>
                  <a:pt x="9609" y="3332"/>
                </a:lnTo>
                <a:lnTo>
                  <a:pt x="10617" y="2355"/>
                </a:lnTo>
                <a:cubicBezTo>
                  <a:pt x="11153" y="1788"/>
                  <a:pt x="11153" y="938"/>
                  <a:pt x="10617" y="402"/>
                </a:cubicBezTo>
                <a:cubicBezTo>
                  <a:pt x="10334" y="134"/>
                  <a:pt x="9979" y="0"/>
                  <a:pt x="9629"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nvGrpSpPr>
          <p:cNvPr id="10328" name="Google Shape;10328;p112"/>
          <p:cNvGrpSpPr/>
          <p:nvPr/>
        </p:nvGrpSpPr>
        <p:grpSpPr>
          <a:xfrm>
            <a:off x="5303348" y="2657476"/>
            <a:ext cx="471449" cy="473957"/>
            <a:chOff x="-33314675" y="2275050"/>
            <a:chExt cx="291450" cy="293000"/>
          </a:xfrm>
        </p:grpSpPr>
        <p:sp>
          <p:nvSpPr>
            <p:cNvPr id="10329" name="Google Shape;10329;p112"/>
            <p:cNvSpPr/>
            <p:nvPr/>
          </p:nvSpPr>
          <p:spPr>
            <a:xfrm>
              <a:off x="-33143750" y="2275050"/>
              <a:ext cx="120525" cy="120525"/>
            </a:xfrm>
            <a:custGeom>
              <a:avLst/>
              <a:gdLst/>
              <a:ahLst/>
              <a:cxnLst/>
              <a:rect l="l" t="t" r="r" b="b"/>
              <a:pathLst>
                <a:path w="4821" h="4821" extrusionOk="0">
                  <a:moveTo>
                    <a:pt x="2426" y="725"/>
                  </a:moveTo>
                  <a:cubicBezTo>
                    <a:pt x="3371" y="725"/>
                    <a:pt x="4096" y="1512"/>
                    <a:pt x="4096" y="2458"/>
                  </a:cubicBezTo>
                  <a:cubicBezTo>
                    <a:pt x="4159" y="3403"/>
                    <a:pt x="3371" y="4159"/>
                    <a:pt x="2426" y="4159"/>
                  </a:cubicBezTo>
                  <a:cubicBezTo>
                    <a:pt x="1481" y="4159"/>
                    <a:pt x="725" y="3403"/>
                    <a:pt x="725" y="2458"/>
                  </a:cubicBezTo>
                  <a:cubicBezTo>
                    <a:pt x="725" y="1512"/>
                    <a:pt x="1481" y="725"/>
                    <a:pt x="2426" y="725"/>
                  </a:cubicBezTo>
                  <a:close/>
                  <a:moveTo>
                    <a:pt x="2426" y="0"/>
                  </a:moveTo>
                  <a:cubicBezTo>
                    <a:pt x="1071" y="0"/>
                    <a:pt x="0" y="1103"/>
                    <a:pt x="0" y="2426"/>
                  </a:cubicBezTo>
                  <a:cubicBezTo>
                    <a:pt x="0" y="3749"/>
                    <a:pt x="1071" y="4820"/>
                    <a:pt x="2426" y="4820"/>
                  </a:cubicBezTo>
                  <a:cubicBezTo>
                    <a:pt x="3749" y="4820"/>
                    <a:pt x="4821" y="3749"/>
                    <a:pt x="4821" y="2426"/>
                  </a:cubicBezTo>
                  <a:cubicBezTo>
                    <a:pt x="4821" y="1103"/>
                    <a:pt x="3749" y="0"/>
                    <a:pt x="2426"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330" name="Google Shape;10330;p112"/>
            <p:cNvSpPr/>
            <p:nvPr/>
          </p:nvSpPr>
          <p:spPr>
            <a:xfrm>
              <a:off x="-33093350" y="2309700"/>
              <a:ext cx="35475" cy="34675"/>
            </a:xfrm>
            <a:custGeom>
              <a:avLst/>
              <a:gdLst/>
              <a:ahLst/>
              <a:cxnLst/>
              <a:rect l="l" t="t" r="r" b="b"/>
              <a:pathLst>
                <a:path w="1419" h="1387" extrusionOk="0">
                  <a:moveTo>
                    <a:pt x="347" y="0"/>
                  </a:moveTo>
                  <a:cubicBezTo>
                    <a:pt x="158" y="0"/>
                    <a:pt x="1" y="158"/>
                    <a:pt x="1" y="347"/>
                  </a:cubicBezTo>
                  <a:lnTo>
                    <a:pt x="1" y="1009"/>
                  </a:lnTo>
                  <a:cubicBezTo>
                    <a:pt x="1" y="1229"/>
                    <a:pt x="158" y="1387"/>
                    <a:pt x="347" y="1387"/>
                  </a:cubicBezTo>
                  <a:lnTo>
                    <a:pt x="1040" y="1387"/>
                  </a:lnTo>
                  <a:cubicBezTo>
                    <a:pt x="1229" y="1387"/>
                    <a:pt x="1387" y="1229"/>
                    <a:pt x="1387" y="1009"/>
                  </a:cubicBezTo>
                  <a:cubicBezTo>
                    <a:pt x="1418" y="883"/>
                    <a:pt x="1261" y="694"/>
                    <a:pt x="1072" y="694"/>
                  </a:cubicBezTo>
                  <a:lnTo>
                    <a:pt x="725" y="694"/>
                  </a:lnTo>
                  <a:lnTo>
                    <a:pt x="725" y="347"/>
                  </a:lnTo>
                  <a:cubicBezTo>
                    <a:pt x="725" y="158"/>
                    <a:pt x="568" y="0"/>
                    <a:pt x="347"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331" name="Google Shape;10331;p112"/>
            <p:cNvSpPr/>
            <p:nvPr/>
          </p:nvSpPr>
          <p:spPr>
            <a:xfrm>
              <a:off x="-33314675" y="2328600"/>
              <a:ext cx="239475" cy="239450"/>
            </a:xfrm>
            <a:custGeom>
              <a:avLst/>
              <a:gdLst/>
              <a:ahLst/>
              <a:cxnLst/>
              <a:rect l="l" t="t" r="r" b="b"/>
              <a:pathLst>
                <a:path w="9579" h="9578" extrusionOk="0">
                  <a:moveTo>
                    <a:pt x="3057" y="631"/>
                  </a:moveTo>
                  <a:cubicBezTo>
                    <a:pt x="3624" y="631"/>
                    <a:pt x="4096" y="1103"/>
                    <a:pt x="4096" y="1639"/>
                  </a:cubicBezTo>
                  <a:cubicBezTo>
                    <a:pt x="4096" y="2206"/>
                    <a:pt x="3624" y="2678"/>
                    <a:pt x="3057" y="2678"/>
                  </a:cubicBezTo>
                  <a:cubicBezTo>
                    <a:pt x="2521" y="2678"/>
                    <a:pt x="2049" y="2206"/>
                    <a:pt x="2049" y="1639"/>
                  </a:cubicBezTo>
                  <a:cubicBezTo>
                    <a:pt x="2049" y="1103"/>
                    <a:pt x="2490" y="631"/>
                    <a:pt x="3057" y="631"/>
                  </a:cubicBezTo>
                  <a:close/>
                  <a:moveTo>
                    <a:pt x="3063" y="3369"/>
                  </a:moveTo>
                  <a:cubicBezTo>
                    <a:pt x="3690" y="3369"/>
                    <a:pt x="4308" y="3646"/>
                    <a:pt x="4726" y="4065"/>
                  </a:cubicBezTo>
                  <a:lnTo>
                    <a:pt x="4411" y="4065"/>
                  </a:lnTo>
                  <a:cubicBezTo>
                    <a:pt x="3844" y="4065"/>
                    <a:pt x="3372" y="4506"/>
                    <a:pt x="3372" y="5073"/>
                  </a:cubicBezTo>
                  <a:lnTo>
                    <a:pt x="3372" y="6774"/>
                  </a:lnTo>
                  <a:lnTo>
                    <a:pt x="662" y="6774"/>
                  </a:lnTo>
                  <a:lnTo>
                    <a:pt x="662" y="5892"/>
                  </a:lnTo>
                  <a:cubicBezTo>
                    <a:pt x="662" y="4569"/>
                    <a:pt x="1702" y="3435"/>
                    <a:pt x="2962" y="3372"/>
                  </a:cubicBezTo>
                  <a:cubicBezTo>
                    <a:pt x="2996" y="3370"/>
                    <a:pt x="3029" y="3369"/>
                    <a:pt x="3063" y="3369"/>
                  </a:cubicBezTo>
                  <a:close/>
                  <a:moveTo>
                    <a:pt x="7215" y="4726"/>
                  </a:moveTo>
                  <a:cubicBezTo>
                    <a:pt x="7373" y="4726"/>
                    <a:pt x="7530" y="4884"/>
                    <a:pt x="7530" y="5073"/>
                  </a:cubicBezTo>
                  <a:lnTo>
                    <a:pt x="7530" y="6774"/>
                  </a:lnTo>
                  <a:lnTo>
                    <a:pt x="4096" y="6774"/>
                  </a:lnTo>
                  <a:lnTo>
                    <a:pt x="4096" y="5073"/>
                  </a:lnTo>
                  <a:cubicBezTo>
                    <a:pt x="4096" y="4884"/>
                    <a:pt x="4254" y="4726"/>
                    <a:pt x="4443" y="4726"/>
                  </a:cubicBezTo>
                  <a:close/>
                  <a:moveTo>
                    <a:pt x="8586" y="7495"/>
                  </a:moveTo>
                  <a:cubicBezTo>
                    <a:pt x="8753" y="7495"/>
                    <a:pt x="8885" y="7644"/>
                    <a:pt x="8885" y="7845"/>
                  </a:cubicBezTo>
                  <a:lnTo>
                    <a:pt x="8885" y="8885"/>
                  </a:lnTo>
                  <a:lnTo>
                    <a:pt x="662" y="8885"/>
                  </a:lnTo>
                  <a:lnTo>
                    <a:pt x="662" y="7499"/>
                  </a:lnTo>
                  <a:lnTo>
                    <a:pt x="8539" y="7499"/>
                  </a:lnTo>
                  <a:cubicBezTo>
                    <a:pt x="8555" y="7496"/>
                    <a:pt x="8571" y="7495"/>
                    <a:pt x="8586" y="7495"/>
                  </a:cubicBezTo>
                  <a:close/>
                  <a:moveTo>
                    <a:pt x="3057" y="1"/>
                  </a:moveTo>
                  <a:cubicBezTo>
                    <a:pt x="2112" y="1"/>
                    <a:pt x="1387" y="725"/>
                    <a:pt x="1387" y="1702"/>
                  </a:cubicBezTo>
                  <a:cubicBezTo>
                    <a:pt x="1387" y="2206"/>
                    <a:pt x="1576" y="2647"/>
                    <a:pt x="1923" y="2930"/>
                  </a:cubicBezTo>
                  <a:cubicBezTo>
                    <a:pt x="820" y="3403"/>
                    <a:pt x="1" y="4600"/>
                    <a:pt x="1" y="5923"/>
                  </a:cubicBezTo>
                  <a:lnTo>
                    <a:pt x="1" y="9263"/>
                  </a:lnTo>
                  <a:cubicBezTo>
                    <a:pt x="1" y="9420"/>
                    <a:pt x="127" y="9578"/>
                    <a:pt x="316" y="9578"/>
                  </a:cubicBezTo>
                  <a:lnTo>
                    <a:pt x="9200" y="9578"/>
                  </a:lnTo>
                  <a:cubicBezTo>
                    <a:pt x="9421" y="9578"/>
                    <a:pt x="9578" y="9420"/>
                    <a:pt x="9578" y="9200"/>
                  </a:cubicBezTo>
                  <a:lnTo>
                    <a:pt x="9578" y="7845"/>
                  </a:lnTo>
                  <a:cubicBezTo>
                    <a:pt x="9578" y="7278"/>
                    <a:pt x="9106" y="6806"/>
                    <a:pt x="8539" y="6806"/>
                  </a:cubicBezTo>
                  <a:lnTo>
                    <a:pt x="8192" y="6806"/>
                  </a:lnTo>
                  <a:lnTo>
                    <a:pt x="8192" y="5104"/>
                  </a:lnTo>
                  <a:cubicBezTo>
                    <a:pt x="8192" y="4569"/>
                    <a:pt x="7719" y="4096"/>
                    <a:pt x="7152" y="4096"/>
                  </a:cubicBezTo>
                  <a:lnTo>
                    <a:pt x="5577" y="4096"/>
                  </a:lnTo>
                  <a:cubicBezTo>
                    <a:pt x="5231" y="3561"/>
                    <a:pt x="4758" y="3183"/>
                    <a:pt x="4222" y="2930"/>
                  </a:cubicBezTo>
                  <a:cubicBezTo>
                    <a:pt x="4569" y="2615"/>
                    <a:pt x="4758" y="2206"/>
                    <a:pt x="4758" y="1702"/>
                  </a:cubicBezTo>
                  <a:cubicBezTo>
                    <a:pt x="4758" y="725"/>
                    <a:pt x="4002" y="1"/>
                    <a:pt x="3057"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sp>
        <p:nvSpPr>
          <p:cNvPr id="10332" name="Google Shape;10332;p112"/>
          <p:cNvSpPr/>
          <p:nvPr/>
        </p:nvSpPr>
        <p:spPr>
          <a:xfrm>
            <a:off x="5297428" y="3263876"/>
            <a:ext cx="475251" cy="475291"/>
          </a:xfrm>
          <a:custGeom>
            <a:avLst/>
            <a:gdLst/>
            <a:ahLst/>
            <a:cxnLst/>
            <a:rect l="l" t="t" r="r" b="b"/>
            <a:pathLst>
              <a:path w="11752" h="11753" extrusionOk="0">
                <a:moveTo>
                  <a:pt x="9672" y="725"/>
                </a:moveTo>
                <a:lnTo>
                  <a:pt x="9672" y="4191"/>
                </a:lnTo>
                <a:cubicBezTo>
                  <a:pt x="9546" y="4160"/>
                  <a:pt x="9420" y="4160"/>
                  <a:pt x="9294" y="4160"/>
                </a:cubicBezTo>
                <a:cubicBezTo>
                  <a:pt x="9200" y="4160"/>
                  <a:pt x="9074" y="4191"/>
                  <a:pt x="8948" y="4223"/>
                </a:cubicBezTo>
                <a:lnTo>
                  <a:pt x="8948" y="3844"/>
                </a:lnTo>
                <a:cubicBezTo>
                  <a:pt x="8948" y="3277"/>
                  <a:pt x="8475" y="2805"/>
                  <a:pt x="7939" y="2805"/>
                </a:cubicBezTo>
                <a:cubicBezTo>
                  <a:pt x="7813" y="2805"/>
                  <a:pt x="7687" y="2836"/>
                  <a:pt x="7561" y="2836"/>
                </a:cubicBezTo>
                <a:lnTo>
                  <a:pt x="7561" y="2458"/>
                </a:lnTo>
                <a:cubicBezTo>
                  <a:pt x="7561" y="1891"/>
                  <a:pt x="7089" y="1419"/>
                  <a:pt x="6553" y="1419"/>
                </a:cubicBezTo>
                <a:cubicBezTo>
                  <a:pt x="6427" y="1419"/>
                  <a:pt x="6364" y="1419"/>
                  <a:pt x="6238" y="1482"/>
                </a:cubicBezTo>
                <a:cubicBezTo>
                  <a:pt x="6427" y="1041"/>
                  <a:pt x="6837" y="725"/>
                  <a:pt x="7246" y="725"/>
                </a:cubicBezTo>
                <a:close/>
                <a:moveTo>
                  <a:pt x="11090" y="1419"/>
                </a:moveTo>
                <a:lnTo>
                  <a:pt x="11090" y="4884"/>
                </a:lnTo>
                <a:cubicBezTo>
                  <a:pt x="10964" y="4853"/>
                  <a:pt x="10838" y="4853"/>
                  <a:pt x="10712" y="4853"/>
                </a:cubicBezTo>
                <a:cubicBezTo>
                  <a:pt x="10617" y="4853"/>
                  <a:pt x="10491" y="4884"/>
                  <a:pt x="10365" y="4884"/>
                </a:cubicBezTo>
                <a:lnTo>
                  <a:pt x="10365" y="1419"/>
                </a:lnTo>
                <a:close/>
                <a:moveTo>
                  <a:pt x="4537" y="725"/>
                </a:moveTo>
                <a:cubicBezTo>
                  <a:pt x="5104" y="725"/>
                  <a:pt x="5577" y="1198"/>
                  <a:pt x="5577" y="1734"/>
                </a:cubicBezTo>
                <a:lnTo>
                  <a:pt x="5577" y="5010"/>
                </a:lnTo>
                <a:lnTo>
                  <a:pt x="4474" y="6113"/>
                </a:lnTo>
                <a:cubicBezTo>
                  <a:pt x="4253" y="6302"/>
                  <a:pt x="4096" y="6585"/>
                  <a:pt x="4033" y="6869"/>
                </a:cubicBezTo>
                <a:lnTo>
                  <a:pt x="2143" y="6869"/>
                </a:lnTo>
                <a:lnTo>
                  <a:pt x="2143" y="725"/>
                </a:lnTo>
                <a:close/>
                <a:moveTo>
                  <a:pt x="1418" y="1419"/>
                </a:moveTo>
                <a:lnTo>
                  <a:pt x="1418" y="7247"/>
                </a:lnTo>
                <a:cubicBezTo>
                  <a:pt x="1418" y="7468"/>
                  <a:pt x="1575" y="7625"/>
                  <a:pt x="1796" y="7625"/>
                </a:cubicBezTo>
                <a:lnTo>
                  <a:pt x="3938" y="7625"/>
                </a:lnTo>
                <a:cubicBezTo>
                  <a:pt x="4001" y="7846"/>
                  <a:pt x="4064" y="8098"/>
                  <a:pt x="4190" y="8287"/>
                </a:cubicBezTo>
                <a:lnTo>
                  <a:pt x="725" y="8287"/>
                </a:lnTo>
                <a:lnTo>
                  <a:pt x="725" y="1419"/>
                </a:lnTo>
                <a:close/>
                <a:moveTo>
                  <a:pt x="6648" y="2112"/>
                </a:moveTo>
                <a:cubicBezTo>
                  <a:pt x="6837" y="2112"/>
                  <a:pt x="6994" y="2269"/>
                  <a:pt x="6994" y="2458"/>
                </a:cubicBezTo>
                <a:lnTo>
                  <a:pt x="6994" y="6554"/>
                </a:lnTo>
                <a:cubicBezTo>
                  <a:pt x="6994" y="6743"/>
                  <a:pt x="7152" y="6900"/>
                  <a:pt x="7341" y="6900"/>
                </a:cubicBezTo>
                <a:cubicBezTo>
                  <a:pt x="7530" y="6900"/>
                  <a:pt x="7687" y="6743"/>
                  <a:pt x="7687" y="6554"/>
                </a:cubicBezTo>
                <a:lnTo>
                  <a:pt x="7687" y="3844"/>
                </a:lnTo>
                <a:cubicBezTo>
                  <a:pt x="7687" y="3624"/>
                  <a:pt x="7845" y="3466"/>
                  <a:pt x="8065" y="3466"/>
                </a:cubicBezTo>
                <a:cubicBezTo>
                  <a:pt x="8254" y="3466"/>
                  <a:pt x="8412" y="3624"/>
                  <a:pt x="8412" y="3844"/>
                </a:cubicBezTo>
                <a:lnTo>
                  <a:pt x="8412" y="6554"/>
                </a:lnTo>
                <a:cubicBezTo>
                  <a:pt x="8412" y="6743"/>
                  <a:pt x="8570" y="6900"/>
                  <a:pt x="8759" y="6900"/>
                </a:cubicBezTo>
                <a:cubicBezTo>
                  <a:pt x="8948" y="6900"/>
                  <a:pt x="9105" y="6743"/>
                  <a:pt x="9105" y="6554"/>
                </a:cubicBezTo>
                <a:lnTo>
                  <a:pt x="9105" y="5168"/>
                </a:lnTo>
                <a:cubicBezTo>
                  <a:pt x="9105" y="4979"/>
                  <a:pt x="9263" y="4821"/>
                  <a:pt x="9483" y="4821"/>
                </a:cubicBezTo>
                <a:cubicBezTo>
                  <a:pt x="9672" y="4821"/>
                  <a:pt x="9830" y="4979"/>
                  <a:pt x="9830" y="5168"/>
                </a:cubicBezTo>
                <a:lnTo>
                  <a:pt x="9830" y="6554"/>
                </a:lnTo>
                <a:cubicBezTo>
                  <a:pt x="9830" y="6743"/>
                  <a:pt x="9987" y="6900"/>
                  <a:pt x="10176" y="6900"/>
                </a:cubicBezTo>
                <a:cubicBezTo>
                  <a:pt x="10365" y="6900"/>
                  <a:pt x="10523" y="6743"/>
                  <a:pt x="10523" y="6554"/>
                </a:cubicBezTo>
                <a:lnTo>
                  <a:pt x="10523" y="5892"/>
                </a:lnTo>
                <a:cubicBezTo>
                  <a:pt x="10523" y="5672"/>
                  <a:pt x="10680" y="5514"/>
                  <a:pt x="10901" y="5514"/>
                </a:cubicBezTo>
                <a:cubicBezTo>
                  <a:pt x="11090" y="5514"/>
                  <a:pt x="11247" y="5672"/>
                  <a:pt x="11247" y="5892"/>
                </a:cubicBezTo>
                <a:cubicBezTo>
                  <a:pt x="11090" y="5955"/>
                  <a:pt x="11090" y="8633"/>
                  <a:pt x="11090" y="8791"/>
                </a:cubicBezTo>
                <a:cubicBezTo>
                  <a:pt x="11090" y="9043"/>
                  <a:pt x="10995" y="9232"/>
                  <a:pt x="10838" y="9389"/>
                </a:cubicBezTo>
                <a:cubicBezTo>
                  <a:pt x="10586" y="9673"/>
                  <a:pt x="10397" y="10051"/>
                  <a:pt x="10397" y="10460"/>
                </a:cubicBezTo>
                <a:lnTo>
                  <a:pt x="10397" y="11028"/>
                </a:lnTo>
                <a:lnTo>
                  <a:pt x="6270" y="11028"/>
                </a:lnTo>
                <a:lnTo>
                  <a:pt x="6270" y="10397"/>
                </a:lnTo>
                <a:cubicBezTo>
                  <a:pt x="6270" y="10051"/>
                  <a:pt x="6144" y="9673"/>
                  <a:pt x="5923" y="9389"/>
                </a:cubicBezTo>
                <a:lnTo>
                  <a:pt x="4852" y="7972"/>
                </a:lnTo>
                <a:cubicBezTo>
                  <a:pt x="4537" y="7562"/>
                  <a:pt x="4600" y="6995"/>
                  <a:pt x="4946" y="6617"/>
                </a:cubicBezTo>
                <a:lnTo>
                  <a:pt x="5577" y="5987"/>
                </a:lnTo>
                <a:lnTo>
                  <a:pt x="5577" y="6554"/>
                </a:lnTo>
                <a:cubicBezTo>
                  <a:pt x="5577" y="6743"/>
                  <a:pt x="5734" y="6900"/>
                  <a:pt x="5923" y="6900"/>
                </a:cubicBezTo>
                <a:cubicBezTo>
                  <a:pt x="6112" y="6900"/>
                  <a:pt x="6270" y="6743"/>
                  <a:pt x="6270" y="6554"/>
                </a:cubicBezTo>
                <a:lnTo>
                  <a:pt x="6270" y="2458"/>
                </a:lnTo>
                <a:cubicBezTo>
                  <a:pt x="6270" y="2269"/>
                  <a:pt x="6427" y="2112"/>
                  <a:pt x="6648" y="2112"/>
                </a:cubicBezTo>
                <a:close/>
                <a:moveTo>
                  <a:pt x="1733" y="1"/>
                </a:moveTo>
                <a:cubicBezTo>
                  <a:pt x="1544" y="1"/>
                  <a:pt x="1386" y="158"/>
                  <a:pt x="1386" y="379"/>
                </a:cubicBezTo>
                <a:lnTo>
                  <a:pt x="1386" y="725"/>
                </a:lnTo>
                <a:lnTo>
                  <a:pt x="378" y="725"/>
                </a:lnTo>
                <a:cubicBezTo>
                  <a:pt x="158" y="725"/>
                  <a:pt x="0" y="883"/>
                  <a:pt x="0" y="1072"/>
                </a:cubicBezTo>
                <a:lnTo>
                  <a:pt x="0" y="8602"/>
                </a:lnTo>
                <a:cubicBezTo>
                  <a:pt x="0" y="8791"/>
                  <a:pt x="158" y="8948"/>
                  <a:pt x="378" y="8948"/>
                </a:cubicBezTo>
                <a:lnTo>
                  <a:pt x="4663" y="8948"/>
                </a:lnTo>
                <a:lnTo>
                  <a:pt x="5293" y="9830"/>
                </a:lnTo>
                <a:cubicBezTo>
                  <a:pt x="5419" y="9988"/>
                  <a:pt x="5482" y="10208"/>
                  <a:pt x="5482" y="10460"/>
                </a:cubicBezTo>
                <a:lnTo>
                  <a:pt x="5482" y="11406"/>
                </a:lnTo>
                <a:cubicBezTo>
                  <a:pt x="5482" y="11595"/>
                  <a:pt x="5640" y="11752"/>
                  <a:pt x="5829" y="11752"/>
                </a:cubicBezTo>
                <a:lnTo>
                  <a:pt x="10649" y="11752"/>
                </a:lnTo>
                <a:cubicBezTo>
                  <a:pt x="10838" y="11752"/>
                  <a:pt x="10995" y="11595"/>
                  <a:pt x="10995" y="11406"/>
                </a:cubicBezTo>
                <a:lnTo>
                  <a:pt x="10995" y="10460"/>
                </a:lnTo>
                <a:cubicBezTo>
                  <a:pt x="10995" y="10208"/>
                  <a:pt x="11090" y="10019"/>
                  <a:pt x="11247" y="9862"/>
                </a:cubicBezTo>
                <a:cubicBezTo>
                  <a:pt x="11500" y="9578"/>
                  <a:pt x="11657" y="9200"/>
                  <a:pt x="11657" y="8791"/>
                </a:cubicBezTo>
                <a:lnTo>
                  <a:pt x="11657" y="1072"/>
                </a:lnTo>
                <a:cubicBezTo>
                  <a:pt x="11752" y="883"/>
                  <a:pt x="11594" y="725"/>
                  <a:pt x="11405" y="725"/>
                </a:cubicBezTo>
                <a:lnTo>
                  <a:pt x="10365" y="725"/>
                </a:lnTo>
                <a:lnTo>
                  <a:pt x="10365" y="379"/>
                </a:lnTo>
                <a:cubicBezTo>
                  <a:pt x="10365" y="158"/>
                  <a:pt x="10208" y="1"/>
                  <a:pt x="10019" y="1"/>
                </a:cubicBezTo>
                <a:lnTo>
                  <a:pt x="7246" y="1"/>
                </a:lnTo>
                <a:cubicBezTo>
                  <a:pt x="6711" y="1"/>
                  <a:pt x="6207" y="284"/>
                  <a:pt x="5892" y="662"/>
                </a:cubicBezTo>
                <a:cubicBezTo>
                  <a:pt x="5577" y="253"/>
                  <a:pt x="5041" y="1"/>
                  <a:pt x="4505"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nvGrpSpPr>
          <p:cNvPr id="10333" name="Google Shape;10333;p112"/>
          <p:cNvGrpSpPr/>
          <p:nvPr/>
        </p:nvGrpSpPr>
        <p:grpSpPr>
          <a:xfrm>
            <a:off x="3519602" y="3887157"/>
            <a:ext cx="471449" cy="471409"/>
            <a:chOff x="-31523625" y="1939525"/>
            <a:chExt cx="291450" cy="291425"/>
          </a:xfrm>
        </p:grpSpPr>
        <p:sp>
          <p:nvSpPr>
            <p:cNvPr id="10334" name="Google Shape;10334;p112"/>
            <p:cNvSpPr/>
            <p:nvPr/>
          </p:nvSpPr>
          <p:spPr>
            <a:xfrm>
              <a:off x="-31523625" y="1939525"/>
              <a:ext cx="291450" cy="291425"/>
            </a:xfrm>
            <a:custGeom>
              <a:avLst/>
              <a:gdLst/>
              <a:ahLst/>
              <a:cxnLst/>
              <a:rect l="l" t="t" r="r" b="b"/>
              <a:pathLst>
                <a:path w="11658" h="11657" extrusionOk="0">
                  <a:moveTo>
                    <a:pt x="2269" y="756"/>
                  </a:moveTo>
                  <a:cubicBezTo>
                    <a:pt x="2899" y="756"/>
                    <a:pt x="3372" y="1260"/>
                    <a:pt x="3372" y="1859"/>
                  </a:cubicBezTo>
                  <a:cubicBezTo>
                    <a:pt x="3372" y="2363"/>
                    <a:pt x="3057" y="2615"/>
                    <a:pt x="2805" y="2867"/>
                  </a:cubicBezTo>
                  <a:cubicBezTo>
                    <a:pt x="2710" y="2962"/>
                    <a:pt x="2679" y="3025"/>
                    <a:pt x="2679" y="3119"/>
                  </a:cubicBezTo>
                  <a:lnTo>
                    <a:pt x="2679" y="7246"/>
                  </a:lnTo>
                  <a:cubicBezTo>
                    <a:pt x="2679" y="7341"/>
                    <a:pt x="2710" y="7435"/>
                    <a:pt x="2805" y="7498"/>
                  </a:cubicBezTo>
                  <a:cubicBezTo>
                    <a:pt x="3057" y="7750"/>
                    <a:pt x="3372" y="8002"/>
                    <a:pt x="3372" y="8506"/>
                  </a:cubicBezTo>
                  <a:cubicBezTo>
                    <a:pt x="3372" y="9137"/>
                    <a:pt x="2868" y="9609"/>
                    <a:pt x="2269" y="9609"/>
                  </a:cubicBezTo>
                  <a:lnTo>
                    <a:pt x="1765" y="9609"/>
                  </a:lnTo>
                  <a:cubicBezTo>
                    <a:pt x="1167" y="9609"/>
                    <a:pt x="663" y="9137"/>
                    <a:pt x="663" y="8506"/>
                  </a:cubicBezTo>
                  <a:cubicBezTo>
                    <a:pt x="663" y="8002"/>
                    <a:pt x="978" y="7750"/>
                    <a:pt x="1261" y="7498"/>
                  </a:cubicBezTo>
                  <a:cubicBezTo>
                    <a:pt x="1324" y="7404"/>
                    <a:pt x="1356" y="7341"/>
                    <a:pt x="1356" y="7246"/>
                  </a:cubicBezTo>
                  <a:lnTo>
                    <a:pt x="1356" y="3119"/>
                  </a:lnTo>
                  <a:cubicBezTo>
                    <a:pt x="1356" y="3025"/>
                    <a:pt x="1324" y="2930"/>
                    <a:pt x="1261" y="2867"/>
                  </a:cubicBezTo>
                  <a:cubicBezTo>
                    <a:pt x="978" y="2615"/>
                    <a:pt x="663" y="2363"/>
                    <a:pt x="663" y="1859"/>
                  </a:cubicBezTo>
                  <a:cubicBezTo>
                    <a:pt x="663" y="1229"/>
                    <a:pt x="1167" y="756"/>
                    <a:pt x="1765" y="756"/>
                  </a:cubicBezTo>
                  <a:close/>
                  <a:moveTo>
                    <a:pt x="10650" y="2048"/>
                  </a:moveTo>
                  <a:cubicBezTo>
                    <a:pt x="10870" y="2048"/>
                    <a:pt x="11028" y="2205"/>
                    <a:pt x="11028" y="2395"/>
                  </a:cubicBezTo>
                  <a:lnTo>
                    <a:pt x="11028" y="9294"/>
                  </a:lnTo>
                  <a:lnTo>
                    <a:pt x="10965" y="9294"/>
                  </a:lnTo>
                  <a:cubicBezTo>
                    <a:pt x="10965" y="9483"/>
                    <a:pt x="10807" y="9641"/>
                    <a:pt x="10618" y="9641"/>
                  </a:cubicBezTo>
                  <a:lnTo>
                    <a:pt x="3687" y="9641"/>
                  </a:lnTo>
                  <a:cubicBezTo>
                    <a:pt x="3939" y="9326"/>
                    <a:pt x="4097" y="8948"/>
                    <a:pt x="4097" y="8538"/>
                  </a:cubicBezTo>
                  <a:cubicBezTo>
                    <a:pt x="4097" y="8065"/>
                    <a:pt x="3876" y="7593"/>
                    <a:pt x="3561" y="7278"/>
                  </a:cubicBezTo>
                  <a:lnTo>
                    <a:pt x="3404" y="7120"/>
                  </a:lnTo>
                  <a:lnTo>
                    <a:pt x="3404" y="3245"/>
                  </a:lnTo>
                  <a:cubicBezTo>
                    <a:pt x="3624" y="3025"/>
                    <a:pt x="4002" y="2710"/>
                    <a:pt x="4097" y="2048"/>
                  </a:cubicBezTo>
                  <a:close/>
                  <a:moveTo>
                    <a:pt x="4758" y="10334"/>
                  </a:moveTo>
                  <a:lnTo>
                    <a:pt x="4758" y="10649"/>
                  </a:lnTo>
                  <a:cubicBezTo>
                    <a:pt x="4758" y="10838"/>
                    <a:pt x="4601" y="10995"/>
                    <a:pt x="4412" y="10995"/>
                  </a:cubicBezTo>
                  <a:lnTo>
                    <a:pt x="2710" y="10995"/>
                  </a:lnTo>
                  <a:cubicBezTo>
                    <a:pt x="2521" y="10995"/>
                    <a:pt x="2364" y="10838"/>
                    <a:pt x="2364" y="10649"/>
                  </a:cubicBezTo>
                  <a:lnTo>
                    <a:pt x="2364" y="10334"/>
                  </a:lnTo>
                  <a:close/>
                  <a:moveTo>
                    <a:pt x="1797" y="0"/>
                  </a:moveTo>
                  <a:cubicBezTo>
                    <a:pt x="820" y="0"/>
                    <a:pt x="1" y="788"/>
                    <a:pt x="1" y="1827"/>
                  </a:cubicBezTo>
                  <a:cubicBezTo>
                    <a:pt x="1" y="2300"/>
                    <a:pt x="190" y="2773"/>
                    <a:pt x="505" y="3088"/>
                  </a:cubicBezTo>
                  <a:lnTo>
                    <a:pt x="663" y="3245"/>
                  </a:lnTo>
                  <a:lnTo>
                    <a:pt x="663" y="7089"/>
                  </a:lnTo>
                  <a:cubicBezTo>
                    <a:pt x="474" y="7278"/>
                    <a:pt x="1" y="7719"/>
                    <a:pt x="1" y="8506"/>
                  </a:cubicBezTo>
                  <a:cubicBezTo>
                    <a:pt x="1" y="9452"/>
                    <a:pt x="694" y="10208"/>
                    <a:pt x="1639" y="10271"/>
                  </a:cubicBezTo>
                  <a:lnTo>
                    <a:pt x="1734" y="10271"/>
                  </a:lnTo>
                  <a:lnTo>
                    <a:pt x="1734" y="10649"/>
                  </a:lnTo>
                  <a:cubicBezTo>
                    <a:pt x="1734" y="11184"/>
                    <a:pt x="2206" y="11657"/>
                    <a:pt x="2742" y="11657"/>
                  </a:cubicBezTo>
                  <a:lnTo>
                    <a:pt x="4443" y="11657"/>
                  </a:lnTo>
                  <a:cubicBezTo>
                    <a:pt x="5010" y="11657"/>
                    <a:pt x="5451" y="11184"/>
                    <a:pt x="5451" y="10649"/>
                  </a:cubicBezTo>
                  <a:lnTo>
                    <a:pt x="5451" y="10334"/>
                  </a:lnTo>
                  <a:lnTo>
                    <a:pt x="10618" y="10334"/>
                  </a:lnTo>
                  <a:cubicBezTo>
                    <a:pt x="11185" y="10334"/>
                    <a:pt x="11658" y="9861"/>
                    <a:pt x="11658" y="9294"/>
                  </a:cubicBezTo>
                  <a:lnTo>
                    <a:pt x="11658" y="2395"/>
                  </a:lnTo>
                  <a:cubicBezTo>
                    <a:pt x="11658" y="1827"/>
                    <a:pt x="11185" y="1386"/>
                    <a:pt x="10618" y="1386"/>
                  </a:cubicBezTo>
                  <a:lnTo>
                    <a:pt x="4034" y="1386"/>
                  </a:lnTo>
                  <a:cubicBezTo>
                    <a:pt x="3845" y="599"/>
                    <a:pt x="3151" y="0"/>
                    <a:pt x="2301"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335" name="Google Shape;10335;p112"/>
            <p:cNvSpPr/>
            <p:nvPr/>
          </p:nvSpPr>
          <p:spPr>
            <a:xfrm>
              <a:off x="-31404675" y="2007250"/>
              <a:ext cx="138625" cy="52800"/>
            </a:xfrm>
            <a:custGeom>
              <a:avLst/>
              <a:gdLst/>
              <a:ahLst/>
              <a:cxnLst/>
              <a:rect l="l" t="t" r="r" b="b"/>
              <a:pathLst>
                <a:path w="5545" h="2112" extrusionOk="0">
                  <a:moveTo>
                    <a:pt x="4852" y="725"/>
                  </a:moveTo>
                  <a:lnTo>
                    <a:pt x="4852" y="1418"/>
                  </a:lnTo>
                  <a:lnTo>
                    <a:pt x="693" y="1418"/>
                  </a:lnTo>
                  <a:lnTo>
                    <a:pt x="693" y="725"/>
                  </a:lnTo>
                  <a:close/>
                  <a:moveTo>
                    <a:pt x="347" y="1"/>
                  </a:moveTo>
                  <a:cubicBezTo>
                    <a:pt x="158" y="1"/>
                    <a:pt x="0" y="158"/>
                    <a:pt x="0" y="379"/>
                  </a:cubicBezTo>
                  <a:lnTo>
                    <a:pt x="0" y="1733"/>
                  </a:lnTo>
                  <a:cubicBezTo>
                    <a:pt x="0" y="1954"/>
                    <a:pt x="158" y="2111"/>
                    <a:pt x="347" y="2111"/>
                  </a:cubicBezTo>
                  <a:lnTo>
                    <a:pt x="5199" y="2111"/>
                  </a:lnTo>
                  <a:cubicBezTo>
                    <a:pt x="5388" y="2111"/>
                    <a:pt x="5545" y="1954"/>
                    <a:pt x="5545" y="1733"/>
                  </a:cubicBezTo>
                  <a:lnTo>
                    <a:pt x="5545" y="379"/>
                  </a:lnTo>
                  <a:cubicBezTo>
                    <a:pt x="5514" y="158"/>
                    <a:pt x="5356" y="1"/>
                    <a:pt x="5199"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336" name="Google Shape;10336;p112"/>
            <p:cNvSpPr/>
            <p:nvPr/>
          </p:nvSpPr>
          <p:spPr>
            <a:xfrm>
              <a:off x="-31404675" y="2077350"/>
              <a:ext cx="34675" cy="18150"/>
            </a:xfrm>
            <a:custGeom>
              <a:avLst/>
              <a:gdLst/>
              <a:ahLst/>
              <a:cxnLst/>
              <a:rect l="l" t="t" r="r" b="b"/>
              <a:pathLst>
                <a:path w="1387" h="726" extrusionOk="0">
                  <a:moveTo>
                    <a:pt x="347" y="0"/>
                  </a:moveTo>
                  <a:cubicBezTo>
                    <a:pt x="158" y="0"/>
                    <a:pt x="0" y="158"/>
                    <a:pt x="0" y="347"/>
                  </a:cubicBezTo>
                  <a:cubicBezTo>
                    <a:pt x="0" y="568"/>
                    <a:pt x="158" y="725"/>
                    <a:pt x="347" y="725"/>
                  </a:cubicBezTo>
                  <a:lnTo>
                    <a:pt x="1008" y="725"/>
                  </a:lnTo>
                  <a:cubicBezTo>
                    <a:pt x="1229" y="725"/>
                    <a:pt x="1386" y="568"/>
                    <a:pt x="1386" y="347"/>
                  </a:cubicBezTo>
                  <a:cubicBezTo>
                    <a:pt x="1386" y="158"/>
                    <a:pt x="1229" y="0"/>
                    <a:pt x="1008"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337" name="Google Shape;10337;p112"/>
            <p:cNvSpPr/>
            <p:nvPr/>
          </p:nvSpPr>
          <p:spPr>
            <a:xfrm>
              <a:off x="-31353475" y="2077350"/>
              <a:ext cx="35450" cy="18150"/>
            </a:xfrm>
            <a:custGeom>
              <a:avLst/>
              <a:gdLst/>
              <a:ahLst/>
              <a:cxnLst/>
              <a:rect l="l" t="t" r="r" b="b"/>
              <a:pathLst>
                <a:path w="1418" h="726" extrusionOk="0">
                  <a:moveTo>
                    <a:pt x="347" y="0"/>
                  </a:moveTo>
                  <a:cubicBezTo>
                    <a:pt x="158" y="0"/>
                    <a:pt x="0" y="158"/>
                    <a:pt x="0" y="347"/>
                  </a:cubicBezTo>
                  <a:cubicBezTo>
                    <a:pt x="0" y="568"/>
                    <a:pt x="158" y="725"/>
                    <a:pt x="347" y="725"/>
                  </a:cubicBezTo>
                  <a:lnTo>
                    <a:pt x="1071" y="725"/>
                  </a:lnTo>
                  <a:cubicBezTo>
                    <a:pt x="1260" y="725"/>
                    <a:pt x="1418" y="568"/>
                    <a:pt x="1418" y="347"/>
                  </a:cubicBezTo>
                  <a:cubicBezTo>
                    <a:pt x="1418" y="158"/>
                    <a:pt x="1260" y="0"/>
                    <a:pt x="1071"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338" name="Google Shape;10338;p112"/>
            <p:cNvSpPr/>
            <p:nvPr/>
          </p:nvSpPr>
          <p:spPr>
            <a:xfrm>
              <a:off x="-31301500" y="2077350"/>
              <a:ext cx="35450" cy="18150"/>
            </a:xfrm>
            <a:custGeom>
              <a:avLst/>
              <a:gdLst/>
              <a:ahLst/>
              <a:cxnLst/>
              <a:rect l="l" t="t" r="r" b="b"/>
              <a:pathLst>
                <a:path w="1418" h="726" extrusionOk="0">
                  <a:moveTo>
                    <a:pt x="347" y="0"/>
                  </a:moveTo>
                  <a:cubicBezTo>
                    <a:pt x="158" y="0"/>
                    <a:pt x="0" y="158"/>
                    <a:pt x="0" y="347"/>
                  </a:cubicBezTo>
                  <a:cubicBezTo>
                    <a:pt x="0" y="568"/>
                    <a:pt x="158" y="725"/>
                    <a:pt x="347" y="725"/>
                  </a:cubicBezTo>
                  <a:lnTo>
                    <a:pt x="1072" y="725"/>
                  </a:lnTo>
                  <a:cubicBezTo>
                    <a:pt x="1261" y="725"/>
                    <a:pt x="1418" y="568"/>
                    <a:pt x="1418" y="347"/>
                  </a:cubicBezTo>
                  <a:cubicBezTo>
                    <a:pt x="1387" y="158"/>
                    <a:pt x="1229" y="0"/>
                    <a:pt x="1072"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339" name="Google Shape;10339;p112"/>
            <p:cNvSpPr/>
            <p:nvPr/>
          </p:nvSpPr>
          <p:spPr>
            <a:xfrm>
              <a:off x="-31404675" y="2112000"/>
              <a:ext cx="34675" cy="17350"/>
            </a:xfrm>
            <a:custGeom>
              <a:avLst/>
              <a:gdLst/>
              <a:ahLst/>
              <a:cxnLst/>
              <a:rect l="l" t="t" r="r" b="b"/>
              <a:pathLst>
                <a:path w="1387" h="694" extrusionOk="0">
                  <a:moveTo>
                    <a:pt x="347" y="1"/>
                  </a:moveTo>
                  <a:cubicBezTo>
                    <a:pt x="158" y="1"/>
                    <a:pt x="0" y="158"/>
                    <a:pt x="0" y="347"/>
                  </a:cubicBezTo>
                  <a:cubicBezTo>
                    <a:pt x="0" y="536"/>
                    <a:pt x="158" y="694"/>
                    <a:pt x="347" y="694"/>
                  </a:cubicBezTo>
                  <a:lnTo>
                    <a:pt x="1008" y="694"/>
                  </a:lnTo>
                  <a:cubicBezTo>
                    <a:pt x="1229" y="694"/>
                    <a:pt x="1386" y="536"/>
                    <a:pt x="1386" y="347"/>
                  </a:cubicBezTo>
                  <a:cubicBezTo>
                    <a:pt x="1386" y="158"/>
                    <a:pt x="1229" y="1"/>
                    <a:pt x="1008"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340" name="Google Shape;10340;p112"/>
            <p:cNvSpPr/>
            <p:nvPr/>
          </p:nvSpPr>
          <p:spPr>
            <a:xfrm>
              <a:off x="-31353475" y="2112000"/>
              <a:ext cx="35450" cy="17350"/>
            </a:xfrm>
            <a:custGeom>
              <a:avLst/>
              <a:gdLst/>
              <a:ahLst/>
              <a:cxnLst/>
              <a:rect l="l" t="t" r="r" b="b"/>
              <a:pathLst>
                <a:path w="1418" h="694" extrusionOk="0">
                  <a:moveTo>
                    <a:pt x="347" y="1"/>
                  </a:moveTo>
                  <a:cubicBezTo>
                    <a:pt x="158" y="1"/>
                    <a:pt x="0" y="158"/>
                    <a:pt x="0" y="347"/>
                  </a:cubicBezTo>
                  <a:cubicBezTo>
                    <a:pt x="0" y="536"/>
                    <a:pt x="158" y="694"/>
                    <a:pt x="347" y="694"/>
                  </a:cubicBezTo>
                  <a:lnTo>
                    <a:pt x="1071" y="694"/>
                  </a:lnTo>
                  <a:cubicBezTo>
                    <a:pt x="1260" y="694"/>
                    <a:pt x="1418" y="536"/>
                    <a:pt x="1418" y="347"/>
                  </a:cubicBezTo>
                  <a:cubicBezTo>
                    <a:pt x="1418" y="158"/>
                    <a:pt x="1260" y="1"/>
                    <a:pt x="1071"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341" name="Google Shape;10341;p112"/>
            <p:cNvSpPr/>
            <p:nvPr/>
          </p:nvSpPr>
          <p:spPr>
            <a:xfrm>
              <a:off x="-31301500" y="2112000"/>
              <a:ext cx="35450" cy="17350"/>
            </a:xfrm>
            <a:custGeom>
              <a:avLst/>
              <a:gdLst/>
              <a:ahLst/>
              <a:cxnLst/>
              <a:rect l="l" t="t" r="r" b="b"/>
              <a:pathLst>
                <a:path w="1418" h="694" extrusionOk="0">
                  <a:moveTo>
                    <a:pt x="347" y="1"/>
                  </a:moveTo>
                  <a:cubicBezTo>
                    <a:pt x="158" y="1"/>
                    <a:pt x="0" y="158"/>
                    <a:pt x="0" y="347"/>
                  </a:cubicBezTo>
                  <a:cubicBezTo>
                    <a:pt x="0" y="536"/>
                    <a:pt x="158" y="694"/>
                    <a:pt x="347" y="694"/>
                  </a:cubicBezTo>
                  <a:lnTo>
                    <a:pt x="1072" y="694"/>
                  </a:lnTo>
                  <a:cubicBezTo>
                    <a:pt x="1261" y="694"/>
                    <a:pt x="1418" y="536"/>
                    <a:pt x="1418" y="347"/>
                  </a:cubicBezTo>
                  <a:cubicBezTo>
                    <a:pt x="1387" y="158"/>
                    <a:pt x="1229" y="1"/>
                    <a:pt x="1072"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342" name="Google Shape;10342;p112"/>
            <p:cNvSpPr/>
            <p:nvPr/>
          </p:nvSpPr>
          <p:spPr>
            <a:xfrm>
              <a:off x="-31404675" y="2145075"/>
              <a:ext cx="34675" cy="18150"/>
            </a:xfrm>
            <a:custGeom>
              <a:avLst/>
              <a:gdLst/>
              <a:ahLst/>
              <a:cxnLst/>
              <a:rect l="l" t="t" r="r" b="b"/>
              <a:pathLst>
                <a:path w="1387" h="726" extrusionOk="0">
                  <a:moveTo>
                    <a:pt x="347" y="1"/>
                  </a:moveTo>
                  <a:cubicBezTo>
                    <a:pt x="158" y="1"/>
                    <a:pt x="0" y="158"/>
                    <a:pt x="0" y="379"/>
                  </a:cubicBezTo>
                  <a:cubicBezTo>
                    <a:pt x="0" y="568"/>
                    <a:pt x="158" y="726"/>
                    <a:pt x="347" y="726"/>
                  </a:cubicBezTo>
                  <a:lnTo>
                    <a:pt x="1008" y="726"/>
                  </a:lnTo>
                  <a:cubicBezTo>
                    <a:pt x="1229" y="726"/>
                    <a:pt x="1386" y="568"/>
                    <a:pt x="1386" y="379"/>
                  </a:cubicBezTo>
                  <a:cubicBezTo>
                    <a:pt x="1386" y="158"/>
                    <a:pt x="1229" y="1"/>
                    <a:pt x="1008"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343" name="Google Shape;10343;p112"/>
            <p:cNvSpPr/>
            <p:nvPr/>
          </p:nvSpPr>
          <p:spPr>
            <a:xfrm>
              <a:off x="-31353475" y="2145075"/>
              <a:ext cx="35450" cy="18150"/>
            </a:xfrm>
            <a:custGeom>
              <a:avLst/>
              <a:gdLst/>
              <a:ahLst/>
              <a:cxnLst/>
              <a:rect l="l" t="t" r="r" b="b"/>
              <a:pathLst>
                <a:path w="1418" h="726" extrusionOk="0">
                  <a:moveTo>
                    <a:pt x="347" y="1"/>
                  </a:moveTo>
                  <a:cubicBezTo>
                    <a:pt x="158" y="1"/>
                    <a:pt x="0" y="158"/>
                    <a:pt x="0" y="379"/>
                  </a:cubicBezTo>
                  <a:cubicBezTo>
                    <a:pt x="0" y="568"/>
                    <a:pt x="158" y="726"/>
                    <a:pt x="347" y="726"/>
                  </a:cubicBezTo>
                  <a:lnTo>
                    <a:pt x="1071" y="726"/>
                  </a:lnTo>
                  <a:cubicBezTo>
                    <a:pt x="1260" y="726"/>
                    <a:pt x="1418" y="568"/>
                    <a:pt x="1418" y="379"/>
                  </a:cubicBezTo>
                  <a:cubicBezTo>
                    <a:pt x="1418" y="158"/>
                    <a:pt x="1260" y="1"/>
                    <a:pt x="1071"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344" name="Google Shape;10344;p112"/>
            <p:cNvSpPr/>
            <p:nvPr/>
          </p:nvSpPr>
          <p:spPr>
            <a:xfrm>
              <a:off x="-31301500" y="2145075"/>
              <a:ext cx="35450" cy="18150"/>
            </a:xfrm>
            <a:custGeom>
              <a:avLst/>
              <a:gdLst/>
              <a:ahLst/>
              <a:cxnLst/>
              <a:rect l="l" t="t" r="r" b="b"/>
              <a:pathLst>
                <a:path w="1418" h="726" extrusionOk="0">
                  <a:moveTo>
                    <a:pt x="347" y="1"/>
                  </a:moveTo>
                  <a:cubicBezTo>
                    <a:pt x="158" y="1"/>
                    <a:pt x="0" y="158"/>
                    <a:pt x="0" y="379"/>
                  </a:cubicBezTo>
                  <a:cubicBezTo>
                    <a:pt x="0" y="568"/>
                    <a:pt x="158" y="726"/>
                    <a:pt x="347" y="726"/>
                  </a:cubicBezTo>
                  <a:lnTo>
                    <a:pt x="1072" y="726"/>
                  </a:lnTo>
                  <a:cubicBezTo>
                    <a:pt x="1261" y="726"/>
                    <a:pt x="1418" y="568"/>
                    <a:pt x="1418" y="379"/>
                  </a:cubicBezTo>
                  <a:cubicBezTo>
                    <a:pt x="1387" y="158"/>
                    <a:pt x="1229" y="1"/>
                    <a:pt x="1072"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10345" name="Google Shape;10345;p112"/>
          <p:cNvGrpSpPr/>
          <p:nvPr/>
        </p:nvGrpSpPr>
        <p:grpSpPr>
          <a:xfrm>
            <a:off x="3518328" y="4511425"/>
            <a:ext cx="473997" cy="471449"/>
            <a:chOff x="-31523625" y="2298675"/>
            <a:chExt cx="293025" cy="291450"/>
          </a:xfrm>
        </p:grpSpPr>
        <p:sp>
          <p:nvSpPr>
            <p:cNvPr id="10346" name="Google Shape;10346;p112"/>
            <p:cNvSpPr/>
            <p:nvPr/>
          </p:nvSpPr>
          <p:spPr>
            <a:xfrm>
              <a:off x="-31523625" y="2298675"/>
              <a:ext cx="293025" cy="291450"/>
            </a:xfrm>
            <a:custGeom>
              <a:avLst/>
              <a:gdLst/>
              <a:ahLst/>
              <a:cxnLst/>
              <a:rect l="l" t="t" r="r" b="b"/>
              <a:pathLst>
                <a:path w="11721" h="11658" extrusionOk="0">
                  <a:moveTo>
                    <a:pt x="4443" y="630"/>
                  </a:moveTo>
                  <a:cubicBezTo>
                    <a:pt x="4632" y="630"/>
                    <a:pt x="4790" y="788"/>
                    <a:pt x="4790" y="977"/>
                  </a:cubicBezTo>
                  <a:cubicBezTo>
                    <a:pt x="4790" y="1198"/>
                    <a:pt x="4632" y="1355"/>
                    <a:pt x="4443" y="1355"/>
                  </a:cubicBezTo>
                  <a:cubicBezTo>
                    <a:pt x="4254" y="1355"/>
                    <a:pt x="4097" y="1198"/>
                    <a:pt x="4097" y="977"/>
                  </a:cubicBezTo>
                  <a:cubicBezTo>
                    <a:pt x="4097" y="788"/>
                    <a:pt x="4254" y="630"/>
                    <a:pt x="4443" y="630"/>
                  </a:cubicBezTo>
                  <a:close/>
                  <a:moveTo>
                    <a:pt x="7153" y="3434"/>
                  </a:moveTo>
                  <a:cubicBezTo>
                    <a:pt x="6523" y="3938"/>
                    <a:pt x="6176" y="4663"/>
                    <a:pt x="6176" y="5482"/>
                  </a:cubicBezTo>
                  <a:lnTo>
                    <a:pt x="6176" y="7530"/>
                  </a:lnTo>
                  <a:lnTo>
                    <a:pt x="663" y="7530"/>
                  </a:lnTo>
                  <a:lnTo>
                    <a:pt x="663" y="5482"/>
                  </a:lnTo>
                  <a:cubicBezTo>
                    <a:pt x="663" y="4348"/>
                    <a:pt x="1576" y="3434"/>
                    <a:pt x="2710" y="3434"/>
                  </a:cubicBezTo>
                  <a:lnTo>
                    <a:pt x="4790" y="3434"/>
                  </a:lnTo>
                  <a:lnTo>
                    <a:pt x="4790" y="4474"/>
                  </a:lnTo>
                  <a:cubicBezTo>
                    <a:pt x="4790" y="4663"/>
                    <a:pt x="4947" y="4821"/>
                    <a:pt x="5136" y="4821"/>
                  </a:cubicBezTo>
                  <a:cubicBezTo>
                    <a:pt x="5357" y="4821"/>
                    <a:pt x="5514" y="4663"/>
                    <a:pt x="5514" y="4474"/>
                  </a:cubicBezTo>
                  <a:lnTo>
                    <a:pt x="5514" y="3434"/>
                  </a:lnTo>
                  <a:close/>
                  <a:moveTo>
                    <a:pt x="6176" y="8255"/>
                  </a:moveTo>
                  <a:lnTo>
                    <a:pt x="6176" y="8916"/>
                  </a:lnTo>
                  <a:lnTo>
                    <a:pt x="663" y="8916"/>
                  </a:lnTo>
                  <a:lnTo>
                    <a:pt x="663" y="8255"/>
                  </a:lnTo>
                  <a:close/>
                  <a:moveTo>
                    <a:pt x="8917" y="3434"/>
                  </a:moveTo>
                  <a:cubicBezTo>
                    <a:pt x="10083" y="3434"/>
                    <a:pt x="10965" y="4348"/>
                    <a:pt x="10965" y="5482"/>
                  </a:cubicBezTo>
                  <a:lnTo>
                    <a:pt x="10965" y="8916"/>
                  </a:lnTo>
                  <a:lnTo>
                    <a:pt x="6869" y="8916"/>
                  </a:lnTo>
                  <a:lnTo>
                    <a:pt x="6869" y="5482"/>
                  </a:lnTo>
                  <a:cubicBezTo>
                    <a:pt x="6869" y="4380"/>
                    <a:pt x="7783" y="3434"/>
                    <a:pt x="8917" y="3434"/>
                  </a:cubicBezTo>
                  <a:close/>
                  <a:moveTo>
                    <a:pt x="4790" y="9609"/>
                  </a:moveTo>
                  <a:lnTo>
                    <a:pt x="4790" y="10996"/>
                  </a:lnTo>
                  <a:lnTo>
                    <a:pt x="4128" y="10996"/>
                  </a:lnTo>
                  <a:lnTo>
                    <a:pt x="4128" y="9609"/>
                  </a:lnTo>
                  <a:close/>
                  <a:moveTo>
                    <a:pt x="4443" y="0"/>
                  </a:moveTo>
                  <a:cubicBezTo>
                    <a:pt x="3876" y="0"/>
                    <a:pt x="3404" y="473"/>
                    <a:pt x="3404" y="1040"/>
                  </a:cubicBezTo>
                  <a:cubicBezTo>
                    <a:pt x="3404" y="1576"/>
                    <a:pt x="3876" y="2048"/>
                    <a:pt x="4443" y="2048"/>
                  </a:cubicBezTo>
                  <a:cubicBezTo>
                    <a:pt x="4569" y="2048"/>
                    <a:pt x="4664" y="2017"/>
                    <a:pt x="4790" y="2017"/>
                  </a:cubicBezTo>
                  <a:lnTo>
                    <a:pt x="4790" y="2773"/>
                  </a:lnTo>
                  <a:lnTo>
                    <a:pt x="2710" y="2773"/>
                  </a:lnTo>
                  <a:cubicBezTo>
                    <a:pt x="1198" y="2773"/>
                    <a:pt x="1" y="4001"/>
                    <a:pt x="1" y="5482"/>
                  </a:cubicBezTo>
                  <a:lnTo>
                    <a:pt x="1" y="9231"/>
                  </a:lnTo>
                  <a:cubicBezTo>
                    <a:pt x="1" y="9420"/>
                    <a:pt x="159" y="9578"/>
                    <a:pt x="348" y="9578"/>
                  </a:cubicBezTo>
                  <a:lnTo>
                    <a:pt x="3467" y="9578"/>
                  </a:lnTo>
                  <a:lnTo>
                    <a:pt x="3467" y="11311"/>
                  </a:lnTo>
                  <a:cubicBezTo>
                    <a:pt x="3467" y="11500"/>
                    <a:pt x="3624" y="11657"/>
                    <a:pt x="3813" y="11657"/>
                  </a:cubicBezTo>
                  <a:lnTo>
                    <a:pt x="5199" y="11657"/>
                  </a:lnTo>
                  <a:cubicBezTo>
                    <a:pt x="5388" y="11657"/>
                    <a:pt x="5546" y="11500"/>
                    <a:pt x="5546" y="11311"/>
                  </a:cubicBezTo>
                  <a:lnTo>
                    <a:pt x="5546" y="9578"/>
                  </a:lnTo>
                  <a:lnTo>
                    <a:pt x="11374" y="9578"/>
                  </a:lnTo>
                  <a:cubicBezTo>
                    <a:pt x="11563" y="9578"/>
                    <a:pt x="11721" y="9420"/>
                    <a:pt x="11721" y="9231"/>
                  </a:cubicBezTo>
                  <a:lnTo>
                    <a:pt x="11721" y="5482"/>
                  </a:lnTo>
                  <a:cubicBezTo>
                    <a:pt x="11658" y="4001"/>
                    <a:pt x="10429" y="2773"/>
                    <a:pt x="8917" y="2773"/>
                  </a:cubicBezTo>
                  <a:lnTo>
                    <a:pt x="5451" y="2773"/>
                  </a:lnTo>
                  <a:lnTo>
                    <a:pt x="5451" y="1040"/>
                  </a:lnTo>
                  <a:cubicBezTo>
                    <a:pt x="5451" y="473"/>
                    <a:pt x="4979" y="0"/>
                    <a:pt x="4443"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347" name="Google Shape;10347;p112"/>
            <p:cNvSpPr/>
            <p:nvPr/>
          </p:nvSpPr>
          <p:spPr>
            <a:xfrm>
              <a:off x="-31334575" y="2452250"/>
              <a:ext cx="67750" cy="51225"/>
            </a:xfrm>
            <a:custGeom>
              <a:avLst/>
              <a:gdLst/>
              <a:ahLst/>
              <a:cxnLst/>
              <a:rect l="l" t="t" r="r" b="b"/>
              <a:pathLst>
                <a:path w="2710" h="2049" extrusionOk="0">
                  <a:moveTo>
                    <a:pt x="1670" y="694"/>
                  </a:moveTo>
                  <a:cubicBezTo>
                    <a:pt x="1890" y="694"/>
                    <a:pt x="2048" y="851"/>
                    <a:pt x="2048" y="1040"/>
                  </a:cubicBezTo>
                  <a:cubicBezTo>
                    <a:pt x="2048" y="1229"/>
                    <a:pt x="1890" y="1387"/>
                    <a:pt x="1670" y="1387"/>
                  </a:cubicBezTo>
                  <a:lnTo>
                    <a:pt x="1008" y="1387"/>
                  </a:lnTo>
                  <a:cubicBezTo>
                    <a:pt x="819" y="1387"/>
                    <a:pt x="662" y="1229"/>
                    <a:pt x="662" y="1040"/>
                  </a:cubicBezTo>
                  <a:cubicBezTo>
                    <a:pt x="662" y="851"/>
                    <a:pt x="819" y="694"/>
                    <a:pt x="1008" y="694"/>
                  </a:cubicBezTo>
                  <a:close/>
                  <a:moveTo>
                    <a:pt x="1008" y="1"/>
                  </a:moveTo>
                  <a:cubicBezTo>
                    <a:pt x="473" y="1"/>
                    <a:pt x="0" y="473"/>
                    <a:pt x="0" y="1040"/>
                  </a:cubicBezTo>
                  <a:cubicBezTo>
                    <a:pt x="0" y="1576"/>
                    <a:pt x="473" y="2049"/>
                    <a:pt x="1008" y="2049"/>
                  </a:cubicBezTo>
                  <a:lnTo>
                    <a:pt x="1670" y="2049"/>
                  </a:lnTo>
                  <a:cubicBezTo>
                    <a:pt x="2237" y="2049"/>
                    <a:pt x="2710" y="1576"/>
                    <a:pt x="2710" y="1040"/>
                  </a:cubicBezTo>
                  <a:cubicBezTo>
                    <a:pt x="2710" y="473"/>
                    <a:pt x="2269" y="1"/>
                    <a:pt x="1670"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348" name="Google Shape;10348;p112"/>
            <p:cNvSpPr/>
            <p:nvPr/>
          </p:nvSpPr>
          <p:spPr>
            <a:xfrm>
              <a:off x="-31334575" y="2419175"/>
              <a:ext cx="68525" cy="17350"/>
            </a:xfrm>
            <a:custGeom>
              <a:avLst/>
              <a:gdLst/>
              <a:ahLst/>
              <a:cxnLst/>
              <a:rect l="l" t="t" r="r" b="b"/>
              <a:pathLst>
                <a:path w="2741" h="694" extrusionOk="0">
                  <a:moveTo>
                    <a:pt x="347" y="1"/>
                  </a:moveTo>
                  <a:cubicBezTo>
                    <a:pt x="158" y="1"/>
                    <a:pt x="0" y="158"/>
                    <a:pt x="0" y="347"/>
                  </a:cubicBezTo>
                  <a:cubicBezTo>
                    <a:pt x="0" y="536"/>
                    <a:pt x="158" y="694"/>
                    <a:pt x="347" y="694"/>
                  </a:cubicBezTo>
                  <a:lnTo>
                    <a:pt x="2395" y="694"/>
                  </a:lnTo>
                  <a:cubicBezTo>
                    <a:pt x="2584" y="694"/>
                    <a:pt x="2741" y="536"/>
                    <a:pt x="2741" y="347"/>
                  </a:cubicBezTo>
                  <a:cubicBezTo>
                    <a:pt x="2710" y="158"/>
                    <a:pt x="2552" y="1"/>
                    <a:pt x="2395"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sp>
        <p:nvSpPr>
          <p:cNvPr id="10349" name="Google Shape;10349;p112"/>
          <p:cNvSpPr/>
          <p:nvPr/>
        </p:nvSpPr>
        <p:spPr>
          <a:xfrm>
            <a:off x="3511979" y="5123652"/>
            <a:ext cx="479093" cy="475251"/>
          </a:xfrm>
          <a:custGeom>
            <a:avLst/>
            <a:gdLst/>
            <a:ahLst/>
            <a:cxnLst/>
            <a:rect l="l" t="t" r="r" b="b"/>
            <a:pathLst>
              <a:path w="11847" h="11752" extrusionOk="0">
                <a:moveTo>
                  <a:pt x="6039" y="2796"/>
                </a:moveTo>
                <a:cubicBezTo>
                  <a:pt x="6845" y="2796"/>
                  <a:pt x="7621" y="3116"/>
                  <a:pt x="8224" y="3718"/>
                </a:cubicBezTo>
                <a:cubicBezTo>
                  <a:pt x="8917" y="4411"/>
                  <a:pt x="9232" y="5356"/>
                  <a:pt x="9074" y="6396"/>
                </a:cubicBezTo>
                <a:cubicBezTo>
                  <a:pt x="8885" y="7688"/>
                  <a:pt x="7814" y="8759"/>
                  <a:pt x="6522" y="8948"/>
                </a:cubicBezTo>
                <a:cubicBezTo>
                  <a:pt x="6377" y="8962"/>
                  <a:pt x="6232" y="8970"/>
                  <a:pt x="6088" y="8970"/>
                </a:cubicBezTo>
                <a:cubicBezTo>
                  <a:pt x="5606" y="8970"/>
                  <a:pt x="5132" y="8883"/>
                  <a:pt x="4695" y="8664"/>
                </a:cubicBezTo>
                <a:lnTo>
                  <a:pt x="5231" y="8160"/>
                </a:lnTo>
                <a:cubicBezTo>
                  <a:pt x="5444" y="8249"/>
                  <a:pt x="5677" y="8288"/>
                  <a:pt x="5919" y="8288"/>
                </a:cubicBezTo>
                <a:cubicBezTo>
                  <a:pt x="6106" y="8288"/>
                  <a:pt x="6298" y="8265"/>
                  <a:pt x="6491" y="8223"/>
                </a:cubicBezTo>
                <a:cubicBezTo>
                  <a:pt x="6964" y="8160"/>
                  <a:pt x="7373" y="7908"/>
                  <a:pt x="7751" y="7562"/>
                </a:cubicBezTo>
                <a:cubicBezTo>
                  <a:pt x="8098" y="7215"/>
                  <a:pt x="8318" y="6774"/>
                  <a:pt x="8413" y="6301"/>
                </a:cubicBezTo>
                <a:cubicBezTo>
                  <a:pt x="8476" y="5797"/>
                  <a:pt x="8444" y="5293"/>
                  <a:pt x="8224" y="4821"/>
                </a:cubicBezTo>
                <a:cubicBezTo>
                  <a:pt x="8161" y="4695"/>
                  <a:pt x="8066" y="4663"/>
                  <a:pt x="7972" y="4600"/>
                </a:cubicBezTo>
                <a:cubicBezTo>
                  <a:pt x="7846" y="4600"/>
                  <a:pt x="7751" y="4600"/>
                  <a:pt x="7657" y="4695"/>
                </a:cubicBezTo>
                <a:lnTo>
                  <a:pt x="6806" y="5545"/>
                </a:lnTo>
                <a:cubicBezTo>
                  <a:pt x="6743" y="5608"/>
                  <a:pt x="6649" y="5640"/>
                  <a:pt x="6558" y="5640"/>
                </a:cubicBezTo>
                <a:cubicBezTo>
                  <a:pt x="6467" y="5640"/>
                  <a:pt x="6381" y="5608"/>
                  <a:pt x="6333" y="5545"/>
                </a:cubicBezTo>
                <a:cubicBezTo>
                  <a:pt x="6207" y="5419"/>
                  <a:pt x="6207" y="5199"/>
                  <a:pt x="6333" y="5073"/>
                </a:cubicBezTo>
                <a:lnTo>
                  <a:pt x="7184" y="4222"/>
                </a:lnTo>
                <a:cubicBezTo>
                  <a:pt x="7279" y="4128"/>
                  <a:pt x="7310" y="4033"/>
                  <a:pt x="7279" y="3907"/>
                </a:cubicBezTo>
                <a:cubicBezTo>
                  <a:pt x="7279" y="3781"/>
                  <a:pt x="7184" y="3718"/>
                  <a:pt x="7058" y="3655"/>
                </a:cubicBezTo>
                <a:cubicBezTo>
                  <a:pt x="6723" y="3499"/>
                  <a:pt x="6372" y="3437"/>
                  <a:pt x="6017" y="3437"/>
                </a:cubicBezTo>
                <a:cubicBezTo>
                  <a:pt x="5871" y="3437"/>
                  <a:pt x="5724" y="3448"/>
                  <a:pt x="5577" y="3466"/>
                </a:cubicBezTo>
                <a:cubicBezTo>
                  <a:pt x="5105" y="3561"/>
                  <a:pt x="4664" y="3781"/>
                  <a:pt x="4317" y="4128"/>
                </a:cubicBezTo>
                <a:cubicBezTo>
                  <a:pt x="3971" y="4506"/>
                  <a:pt x="3719" y="4915"/>
                  <a:pt x="3656" y="5388"/>
                </a:cubicBezTo>
                <a:cubicBezTo>
                  <a:pt x="3561" y="5829"/>
                  <a:pt x="3593" y="6270"/>
                  <a:pt x="3719" y="6648"/>
                </a:cubicBezTo>
                <a:lnTo>
                  <a:pt x="3214" y="7184"/>
                </a:lnTo>
                <a:cubicBezTo>
                  <a:pt x="2962" y="6648"/>
                  <a:pt x="2868" y="6018"/>
                  <a:pt x="2962" y="5388"/>
                </a:cubicBezTo>
                <a:cubicBezTo>
                  <a:pt x="3183" y="4096"/>
                  <a:pt x="4223" y="3025"/>
                  <a:pt x="5546" y="2836"/>
                </a:cubicBezTo>
                <a:cubicBezTo>
                  <a:pt x="5710" y="2809"/>
                  <a:pt x="5875" y="2796"/>
                  <a:pt x="6039" y="2796"/>
                </a:cubicBezTo>
                <a:close/>
                <a:moveTo>
                  <a:pt x="6428" y="757"/>
                </a:moveTo>
                <a:lnTo>
                  <a:pt x="6554" y="1261"/>
                </a:lnTo>
                <a:cubicBezTo>
                  <a:pt x="6585" y="1387"/>
                  <a:pt x="6680" y="1481"/>
                  <a:pt x="6838" y="1481"/>
                </a:cubicBezTo>
                <a:cubicBezTo>
                  <a:pt x="7468" y="1607"/>
                  <a:pt x="8003" y="1859"/>
                  <a:pt x="8539" y="2206"/>
                </a:cubicBezTo>
                <a:cubicBezTo>
                  <a:pt x="8586" y="2237"/>
                  <a:pt x="8641" y="2253"/>
                  <a:pt x="8700" y="2253"/>
                </a:cubicBezTo>
                <a:cubicBezTo>
                  <a:pt x="8759" y="2253"/>
                  <a:pt x="8822" y="2237"/>
                  <a:pt x="8885" y="2206"/>
                </a:cubicBezTo>
                <a:lnTo>
                  <a:pt x="9326" y="1922"/>
                </a:lnTo>
                <a:lnTo>
                  <a:pt x="9894" y="2521"/>
                </a:lnTo>
                <a:lnTo>
                  <a:pt x="9641" y="2962"/>
                </a:lnTo>
                <a:cubicBezTo>
                  <a:pt x="9547" y="3088"/>
                  <a:pt x="9547" y="3246"/>
                  <a:pt x="9641" y="3309"/>
                </a:cubicBezTo>
                <a:cubicBezTo>
                  <a:pt x="9988" y="3813"/>
                  <a:pt x="10209" y="4411"/>
                  <a:pt x="10335" y="5010"/>
                </a:cubicBezTo>
                <a:cubicBezTo>
                  <a:pt x="10366" y="5136"/>
                  <a:pt x="10461" y="5230"/>
                  <a:pt x="10587" y="5293"/>
                </a:cubicBezTo>
                <a:lnTo>
                  <a:pt x="11091" y="5388"/>
                </a:lnTo>
                <a:lnTo>
                  <a:pt x="11091" y="6301"/>
                </a:lnTo>
                <a:lnTo>
                  <a:pt x="11154" y="6301"/>
                </a:lnTo>
                <a:lnTo>
                  <a:pt x="10650" y="6428"/>
                </a:lnTo>
                <a:cubicBezTo>
                  <a:pt x="10524" y="6459"/>
                  <a:pt x="10429" y="6554"/>
                  <a:pt x="10429" y="6711"/>
                </a:cubicBezTo>
                <a:cubicBezTo>
                  <a:pt x="10303" y="7341"/>
                  <a:pt x="10051" y="7877"/>
                  <a:pt x="9704" y="8381"/>
                </a:cubicBezTo>
                <a:cubicBezTo>
                  <a:pt x="9641" y="8507"/>
                  <a:pt x="9641" y="8633"/>
                  <a:pt x="9704" y="8759"/>
                </a:cubicBezTo>
                <a:lnTo>
                  <a:pt x="9988" y="9168"/>
                </a:lnTo>
                <a:lnTo>
                  <a:pt x="9389" y="9767"/>
                </a:lnTo>
                <a:lnTo>
                  <a:pt x="8948" y="9483"/>
                </a:lnTo>
                <a:cubicBezTo>
                  <a:pt x="8901" y="9452"/>
                  <a:pt x="8838" y="9436"/>
                  <a:pt x="8775" y="9436"/>
                </a:cubicBezTo>
                <a:cubicBezTo>
                  <a:pt x="8712" y="9436"/>
                  <a:pt x="8649" y="9452"/>
                  <a:pt x="8602" y="9483"/>
                </a:cubicBezTo>
                <a:cubicBezTo>
                  <a:pt x="8098" y="9862"/>
                  <a:pt x="7499" y="10082"/>
                  <a:pt x="6901" y="10208"/>
                </a:cubicBezTo>
                <a:cubicBezTo>
                  <a:pt x="6806" y="10240"/>
                  <a:pt x="6680" y="10334"/>
                  <a:pt x="6649" y="10429"/>
                </a:cubicBezTo>
                <a:lnTo>
                  <a:pt x="6522" y="10964"/>
                </a:lnTo>
                <a:lnTo>
                  <a:pt x="5703" y="10964"/>
                </a:lnTo>
                <a:lnTo>
                  <a:pt x="5577" y="10429"/>
                </a:lnTo>
                <a:cubicBezTo>
                  <a:pt x="5546" y="10334"/>
                  <a:pt x="5451" y="10208"/>
                  <a:pt x="5294" y="10208"/>
                </a:cubicBezTo>
                <a:cubicBezTo>
                  <a:pt x="4758" y="10082"/>
                  <a:pt x="4223" y="9893"/>
                  <a:pt x="3750" y="9609"/>
                </a:cubicBezTo>
                <a:lnTo>
                  <a:pt x="4286" y="9105"/>
                </a:lnTo>
                <a:cubicBezTo>
                  <a:pt x="4821" y="9420"/>
                  <a:pt x="5451" y="9578"/>
                  <a:pt x="6113" y="9578"/>
                </a:cubicBezTo>
                <a:cubicBezTo>
                  <a:pt x="6333" y="9578"/>
                  <a:pt x="6522" y="9578"/>
                  <a:pt x="6712" y="9546"/>
                </a:cubicBezTo>
                <a:cubicBezTo>
                  <a:pt x="7499" y="9420"/>
                  <a:pt x="8224" y="9011"/>
                  <a:pt x="8759" y="8475"/>
                </a:cubicBezTo>
                <a:cubicBezTo>
                  <a:pt x="9326" y="7908"/>
                  <a:pt x="9704" y="7184"/>
                  <a:pt x="9831" y="6428"/>
                </a:cubicBezTo>
                <a:cubicBezTo>
                  <a:pt x="10020" y="5199"/>
                  <a:pt x="9641" y="4033"/>
                  <a:pt x="8759" y="3151"/>
                </a:cubicBezTo>
                <a:cubicBezTo>
                  <a:pt x="8046" y="2438"/>
                  <a:pt x="7089" y="2034"/>
                  <a:pt x="6074" y="2034"/>
                </a:cubicBezTo>
                <a:cubicBezTo>
                  <a:pt x="5878" y="2034"/>
                  <a:pt x="5681" y="2049"/>
                  <a:pt x="5483" y="2080"/>
                </a:cubicBezTo>
                <a:cubicBezTo>
                  <a:pt x="4695" y="2206"/>
                  <a:pt x="4002" y="2615"/>
                  <a:pt x="3435" y="3151"/>
                </a:cubicBezTo>
                <a:cubicBezTo>
                  <a:pt x="2899" y="3718"/>
                  <a:pt x="2490" y="4443"/>
                  <a:pt x="2395" y="5199"/>
                </a:cubicBezTo>
                <a:cubicBezTo>
                  <a:pt x="2269" y="6018"/>
                  <a:pt x="2427" y="6900"/>
                  <a:pt x="2805" y="7656"/>
                </a:cubicBezTo>
                <a:lnTo>
                  <a:pt x="2301" y="8160"/>
                </a:lnTo>
                <a:cubicBezTo>
                  <a:pt x="2017" y="7688"/>
                  <a:pt x="1828" y="7184"/>
                  <a:pt x="1702" y="6617"/>
                </a:cubicBezTo>
                <a:cubicBezTo>
                  <a:pt x="1671" y="6491"/>
                  <a:pt x="1608" y="6396"/>
                  <a:pt x="1482" y="6333"/>
                </a:cubicBezTo>
                <a:lnTo>
                  <a:pt x="978" y="6238"/>
                </a:lnTo>
                <a:lnTo>
                  <a:pt x="978" y="5388"/>
                </a:lnTo>
                <a:lnTo>
                  <a:pt x="1482" y="5293"/>
                </a:lnTo>
                <a:cubicBezTo>
                  <a:pt x="1608" y="5230"/>
                  <a:pt x="1702" y="5167"/>
                  <a:pt x="1702" y="5010"/>
                </a:cubicBezTo>
                <a:cubicBezTo>
                  <a:pt x="1828" y="4380"/>
                  <a:pt x="2080" y="3813"/>
                  <a:pt x="2427" y="3309"/>
                </a:cubicBezTo>
                <a:cubicBezTo>
                  <a:pt x="2490" y="3183"/>
                  <a:pt x="2490" y="3088"/>
                  <a:pt x="2427" y="2962"/>
                </a:cubicBezTo>
                <a:lnTo>
                  <a:pt x="2143" y="2521"/>
                </a:lnTo>
                <a:lnTo>
                  <a:pt x="2742" y="1922"/>
                </a:lnTo>
                <a:lnTo>
                  <a:pt x="3183" y="2206"/>
                </a:lnTo>
                <a:cubicBezTo>
                  <a:pt x="3230" y="2237"/>
                  <a:pt x="3293" y="2253"/>
                  <a:pt x="3356" y="2253"/>
                </a:cubicBezTo>
                <a:cubicBezTo>
                  <a:pt x="3419" y="2253"/>
                  <a:pt x="3482" y="2237"/>
                  <a:pt x="3530" y="2206"/>
                </a:cubicBezTo>
                <a:cubicBezTo>
                  <a:pt x="4034" y="1859"/>
                  <a:pt x="4632" y="1607"/>
                  <a:pt x="5231" y="1481"/>
                </a:cubicBezTo>
                <a:cubicBezTo>
                  <a:pt x="5325" y="1450"/>
                  <a:pt x="5451" y="1387"/>
                  <a:pt x="5483" y="1261"/>
                </a:cubicBezTo>
                <a:lnTo>
                  <a:pt x="5609" y="757"/>
                </a:lnTo>
                <a:close/>
                <a:moveTo>
                  <a:pt x="6239" y="4222"/>
                </a:moveTo>
                <a:lnTo>
                  <a:pt x="5766" y="4695"/>
                </a:lnTo>
                <a:cubicBezTo>
                  <a:pt x="5388" y="5073"/>
                  <a:pt x="5388" y="5766"/>
                  <a:pt x="5766" y="6144"/>
                </a:cubicBezTo>
                <a:cubicBezTo>
                  <a:pt x="5971" y="6349"/>
                  <a:pt x="6239" y="6451"/>
                  <a:pt x="6503" y="6451"/>
                </a:cubicBezTo>
                <a:cubicBezTo>
                  <a:pt x="6767" y="6451"/>
                  <a:pt x="7027" y="6349"/>
                  <a:pt x="7216" y="6144"/>
                </a:cubicBezTo>
                <a:lnTo>
                  <a:pt x="7688" y="5671"/>
                </a:lnTo>
                <a:cubicBezTo>
                  <a:pt x="7751" y="5860"/>
                  <a:pt x="7751" y="6081"/>
                  <a:pt x="7688" y="6238"/>
                </a:cubicBezTo>
                <a:cubicBezTo>
                  <a:pt x="7594" y="6900"/>
                  <a:pt x="7027" y="7436"/>
                  <a:pt x="6365" y="7562"/>
                </a:cubicBezTo>
                <a:cubicBezTo>
                  <a:pt x="6267" y="7588"/>
                  <a:pt x="6163" y="7600"/>
                  <a:pt x="6059" y="7600"/>
                </a:cubicBezTo>
                <a:cubicBezTo>
                  <a:pt x="5794" y="7600"/>
                  <a:pt x="5520" y="7526"/>
                  <a:pt x="5294" y="7436"/>
                </a:cubicBezTo>
                <a:cubicBezTo>
                  <a:pt x="5252" y="7415"/>
                  <a:pt x="5206" y="7404"/>
                  <a:pt x="5161" y="7404"/>
                </a:cubicBezTo>
                <a:cubicBezTo>
                  <a:pt x="5070" y="7404"/>
                  <a:pt x="4979" y="7446"/>
                  <a:pt x="4916" y="7530"/>
                </a:cubicBezTo>
                <a:lnTo>
                  <a:pt x="3908" y="8507"/>
                </a:lnTo>
                <a:lnTo>
                  <a:pt x="1450" y="10964"/>
                </a:lnTo>
                <a:cubicBezTo>
                  <a:pt x="1387" y="11011"/>
                  <a:pt x="1293" y="11035"/>
                  <a:pt x="1202" y="11035"/>
                </a:cubicBezTo>
                <a:cubicBezTo>
                  <a:pt x="1112" y="11035"/>
                  <a:pt x="1025" y="11011"/>
                  <a:pt x="978" y="10964"/>
                </a:cubicBezTo>
                <a:cubicBezTo>
                  <a:pt x="852" y="10838"/>
                  <a:pt x="852" y="10586"/>
                  <a:pt x="978" y="10492"/>
                </a:cubicBezTo>
                <a:lnTo>
                  <a:pt x="3403" y="8034"/>
                </a:lnTo>
                <a:lnTo>
                  <a:pt x="4380" y="7058"/>
                </a:lnTo>
                <a:cubicBezTo>
                  <a:pt x="4506" y="6932"/>
                  <a:pt x="4506" y="6774"/>
                  <a:pt x="4475" y="6648"/>
                </a:cubicBezTo>
                <a:cubicBezTo>
                  <a:pt x="4317" y="6333"/>
                  <a:pt x="4286" y="5955"/>
                  <a:pt x="4349" y="5608"/>
                </a:cubicBezTo>
                <a:cubicBezTo>
                  <a:pt x="4475" y="4915"/>
                  <a:pt x="5010" y="4380"/>
                  <a:pt x="5703" y="4254"/>
                </a:cubicBezTo>
                <a:cubicBezTo>
                  <a:pt x="5798" y="4254"/>
                  <a:pt x="5892" y="4222"/>
                  <a:pt x="6018" y="4222"/>
                </a:cubicBezTo>
                <a:close/>
                <a:moveTo>
                  <a:pt x="5262" y="1"/>
                </a:moveTo>
                <a:cubicBezTo>
                  <a:pt x="5105" y="1"/>
                  <a:pt x="4979" y="127"/>
                  <a:pt x="4947" y="284"/>
                </a:cubicBezTo>
                <a:lnTo>
                  <a:pt x="4790" y="883"/>
                </a:lnTo>
                <a:cubicBezTo>
                  <a:pt x="4223" y="977"/>
                  <a:pt x="3719" y="1229"/>
                  <a:pt x="3214" y="1513"/>
                </a:cubicBezTo>
                <a:lnTo>
                  <a:pt x="2710" y="1198"/>
                </a:lnTo>
                <a:cubicBezTo>
                  <a:pt x="2652" y="1154"/>
                  <a:pt x="2580" y="1130"/>
                  <a:pt x="2507" y="1130"/>
                </a:cubicBezTo>
                <a:cubicBezTo>
                  <a:pt x="2422" y="1130"/>
                  <a:pt x="2337" y="1162"/>
                  <a:pt x="2269" y="1229"/>
                </a:cubicBezTo>
                <a:lnTo>
                  <a:pt x="1293" y="2206"/>
                </a:lnTo>
                <a:cubicBezTo>
                  <a:pt x="1167" y="2332"/>
                  <a:pt x="1167" y="2489"/>
                  <a:pt x="1230" y="2647"/>
                </a:cubicBezTo>
                <a:lnTo>
                  <a:pt x="1545" y="3151"/>
                </a:lnTo>
                <a:cubicBezTo>
                  <a:pt x="1230" y="3624"/>
                  <a:pt x="1041" y="4128"/>
                  <a:pt x="915" y="4726"/>
                </a:cubicBezTo>
                <a:lnTo>
                  <a:pt x="348" y="4884"/>
                </a:lnTo>
                <a:cubicBezTo>
                  <a:pt x="190" y="4915"/>
                  <a:pt x="64" y="5041"/>
                  <a:pt x="64" y="5199"/>
                </a:cubicBezTo>
                <a:lnTo>
                  <a:pt x="64" y="6585"/>
                </a:lnTo>
                <a:cubicBezTo>
                  <a:pt x="64" y="6743"/>
                  <a:pt x="190" y="6869"/>
                  <a:pt x="348" y="6900"/>
                </a:cubicBezTo>
                <a:lnTo>
                  <a:pt x="915" y="7058"/>
                </a:lnTo>
                <a:cubicBezTo>
                  <a:pt x="1041" y="7656"/>
                  <a:pt x="1324" y="8223"/>
                  <a:pt x="1639" y="8696"/>
                </a:cubicBezTo>
                <a:lnTo>
                  <a:pt x="379" y="9956"/>
                </a:lnTo>
                <a:cubicBezTo>
                  <a:pt x="1" y="10366"/>
                  <a:pt x="1" y="11027"/>
                  <a:pt x="379" y="11437"/>
                </a:cubicBezTo>
                <a:cubicBezTo>
                  <a:pt x="584" y="11626"/>
                  <a:pt x="852" y="11720"/>
                  <a:pt x="1115" y="11720"/>
                </a:cubicBezTo>
                <a:cubicBezTo>
                  <a:pt x="1379" y="11720"/>
                  <a:pt x="1639" y="11626"/>
                  <a:pt x="1828" y="11437"/>
                </a:cubicBezTo>
                <a:lnTo>
                  <a:pt x="3088" y="10177"/>
                </a:lnTo>
                <a:cubicBezTo>
                  <a:pt x="3624" y="10523"/>
                  <a:pt x="4160" y="10744"/>
                  <a:pt x="4758" y="10870"/>
                </a:cubicBezTo>
                <a:lnTo>
                  <a:pt x="4916" y="11468"/>
                </a:lnTo>
                <a:cubicBezTo>
                  <a:pt x="4947" y="11626"/>
                  <a:pt x="5073" y="11752"/>
                  <a:pt x="5231" y="11752"/>
                </a:cubicBezTo>
                <a:lnTo>
                  <a:pt x="6585" y="11752"/>
                </a:lnTo>
                <a:cubicBezTo>
                  <a:pt x="6775" y="11752"/>
                  <a:pt x="6869" y="11626"/>
                  <a:pt x="6932" y="11468"/>
                </a:cubicBezTo>
                <a:lnTo>
                  <a:pt x="7090" y="10870"/>
                </a:lnTo>
                <a:cubicBezTo>
                  <a:pt x="7625" y="10744"/>
                  <a:pt x="8129" y="10523"/>
                  <a:pt x="8665" y="10240"/>
                </a:cubicBezTo>
                <a:lnTo>
                  <a:pt x="9169" y="10555"/>
                </a:lnTo>
                <a:cubicBezTo>
                  <a:pt x="9227" y="10599"/>
                  <a:pt x="9299" y="10622"/>
                  <a:pt x="9372" y="10622"/>
                </a:cubicBezTo>
                <a:cubicBezTo>
                  <a:pt x="9457" y="10622"/>
                  <a:pt x="9542" y="10591"/>
                  <a:pt x="9610" y="10523"/>
                </a:cubicBezTo>
                <a:lnTo>
                  <a:pt x="10587" y="9546"/>
                </a:lnTo>
                <a:cubicBezTo>
                  <a:pt x="10713" y="9420"/>
                  <a:pt x="10713" y="9263"/>
                  <a:pt x="10618" y="9105"/>
                </a:cubicBezTo>
                <a:lnTo>
                  <a:pt x="10303" y="8601"/>
                </a:lnTo>
                <a:cubicBezTo>
                  <a:pt x="10618" y="8129"/>
                  <a:pt x="10807" y="7593"/>
                  <a:pt x="10933" y="7026"/>
                </a:cubicBezTo>
                <a:lnTo>
                  <a:pt x="11532" y="6869"/>
                </a:lnTo>
                <a:cubicBezTo>
                  <a:pt x="11689" y="6806"/>
                  <a:pt x="11784" y="6711"/>
                  <a:pt x="11784" y="6554"/>
                </a:cubicBezTo>
                <a:lnTo>
                  <a:pt x="11784" y="5167"/>
                </a:lnTo>
                <a:cubicBezTo>
                  <a:pt x="11847" y="5041"/>
                  <a:pt x="11721" y="4915"/>
                  <a:pt x="11563" y="4884"/>
                </a:cubicBezTo>
                <a:lnTo>
                  <a:pt x="10965" y="4726"/>
                </a:lnTo>
                <a:cubicBezTo>
                  <a:pt x="10839" y="4191"/>
                  <a:pt x="10618" y="3655"/>
                  <a:pt x="10335" y="3151"/>
                </a:cubicBezTo>
                <a:lnTo>
                  <a:pt x="10650" y="2647"/>
                </a:lnTo>
                <a:cubicBezTo>
                  <a:pt x="10744" y="2521"/>
                  <a:pt x="10744" y="2332"/>
                  <a:pt x="10618" y="2206"/>
                </a:cubicBezTo>
                <a:lnTo>
                  <a:pt x="9641" y="1229"/>
                </a:lnTo>
                <a:cubicBezTo>
                  <a:pt x="9574" y="1162"/>
                  <a:pt x="9497" y="1130"/>
                  <a:pt x="9417" y="1130"/>
                </a:cubicBezTo>
                <a:cubicBezTo>
                  <a:pt x="9347" y="1130"/>
                  <a:pt x="9274" y="1154"/>
                  <a:pt x="9200" y="1198"/>
                </a:cubicBezTo>
                <a:lnTo>
                  <a:pt x="8696" y="1513"/>
                </a:lnTo>
                <a:cubicBezTo>
                  <a:pt x="8224" y="1198"/>
                  <a:pt x="7720" y="977"/>
                  <a:pt x="7121" y="883"/>
                </a:cubicBezTo>
                <a:lnTo>
                  <a:pt x="6964" y="284"/>
                </a:lnTo>
                <a:cubicBezTo>
                  <a:pt x="6932" y="127"/>
                  <a:pt x="6806" y="1"/>
                  <a:pt x="6649"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350" name="Google Shape;10350;p112"/>
          <p:cNvSpPr/>
          <p:nvPr/>
        </p:nvSpPr>
        <p:spPr>
          <a:xfrm>
            <a:off x="5300711" y="5125553"/>
            <a:ext cx="472703" cy="471449"/>
          </a:xfrm>
          <a:custGeom>
            <a:avLst/>
            <a:gdLst/>
            <a:ahLst/>
            <a:cxnLst/>
            <a:rect l="l" t="t" r="r" b="b"/>
            <a:pathLst>
              <a:path w="11689" h="11658" extrusionOk="0">
                <a:moveTo>
                  <a:pt x="8632" y="694"/>
                </a:moveTo>
                <a:cubicBezTo>
                  <a:pt x="8821" y="694"/>
                  <a:pt x="8979" y="851"/>
                  <a:pt x="8979" y="1040"/>
                </a:cubicBezTo>
                <a:lnTo>
                  <a:pt x="8979" y="1387"/>
                </a:lnTo>
                <a:lnTo>
                  <a:pt x="2836" y="1387"/>
                </a:lnTo>
                <a:lnTo>
                  <a:pt x="2836" y="1040"/>
                </a:lnTo>
                <a:cubicBezTo>
                  <a:pt x="2804" y="851"/>
                  <a:pt x="2962" y="694"/>
                  <a:pt x="3151" y="694"/>
                </a:cubicBezTo>
                <a:close/>
                <a:moveTo>
                  <a:pt x="4505" y="3435"/>
                </a:moveTo>
                <a:cubicBezTo>
                  <a:pt x="4694" y="3435"/>
                  <a:pt x="4852" y="3592"/>
                  <a:pt x="4852" y="3781"/>
                </a:cubicBezTo>
                <a:lnTo>
                  <a:pt x="4852" y="5829"/>
                </a:lnTo>
                <a:cubicBezTo>
                  <a:pt x="4852" y="6049"/>
                  <a:pt x="4694" y="6207"/>
                  <a:pt x="4505" y="6207"/>
                </a:cubicBezTo>
                <a:lnTo>
                  <a:pt x="3812" y="6207"/>
                </a:lnTo>
                <a:cubicBezTo>
                  <a:pt x="3623" y="6207"/>
                  <a:pt x="3466" y="6365"/>
                  <a:pt x="3466" y="6554"/>
                </a:cubicBezTo>
                <a:lnTo>
                  <a:pt x="3466" y="7089"/>
                </a:lnTo>
                <a:lnTo>
                  <a:pt x="2678" y="6302"/>
                </a:lnTo>
                <a:cubicBezTo>
                  <a:pt x="2615" y="6239"/>
                  <a:pt x="2520" y="6207"/>
                  <a:pt x="2457" y="6207"/>
                </a:cubicBezTo>
                <a:lnTo>
                  <a:pt x="1071" y="6207"/>
                </a:lnTo>
                <a:cubicBezTo>
                  <a:pt x="882" y="6144"/>
                  <a:pt x="725" y="5986"/>
                  <a:pt x="725" y="5829"/>
                </a:cubicBezTo>
                <a:lnTo>
                  <a:pt x="725" y="3781"/>
                </a:lnTo>
                <a:cubicBezTo>
                  <a:pt x="725" y="3592"/>
                  <a:pt x="882" y="3435"/>
                  <a:pt x="1071" y="3435"/>
                </a:cubicBezTo>
                <a:close/>
                <a:moveTo>
                  <a:pt x="10680" y="3435"/>
                </a:moveTo>
                <a:cubicBezTo>
                  <a:pt x="10869" y="3435"/>
                  <a:pt x="11027" y="3592"/>
                  <a:pt x="11027" y="3781"/>
                </a:cubicBezTo>
                <a:lnTo>
                  <a:pt x="11027" y="5829"/>
                </a:lnTo>
                <a:cubicBezTo>
                  <a:pt x="11027" y="6049"/>
                  <a:pt x="10869" y="6207"/>
                  <a:pt x="10680" y="6207"/>
                </a:cubicBezTo>
                <a:lnTo>
                  <a:pt x="9294" y="6207"/>
                </a:lnTo>
                <a:cubicBezTo>
                  <a:pt x="9231" y="6207"/>
                  <a:pt x="9105" y="6239"/>
                  <a:pt x="9074" y="6302"/>
                </a:cubicBezTo>
                <a:lnTo>
                  <a:pt x="8286" y="7089"/>
                </a:lnTo>
                <a:lnTo>
                  <a:pt x="8286" y="6554"/>
                </a:lnTo>
                <a:cubicBezTo>
                  <a:pt x="8286" y="6365"/>
                  <a:pt x="8128" y="6207"/>
                  <a:pt x="7908" y="6207"/>
                </a:cubicBezTo>
                <a:lnTo>
                  <a:pt x="7246" y="6207"/>
                </a:lnTo>
                <a:cubicBezTo>
                  <a:pt x="7057" y="6207"/>
                  <a:pt x="6900" y="6049"/>
                  <a:pt x="6900" y="5829"/>
                </a:cubicBezTo>
                <a:lnTo>
                  <a:pt x="6900" y="3781"/>
                </a:lnTo>
                <a:cubicBezTo>
                  <a:pt x="6900" y="3592"/>
                  <a:pt x="7057" y="3435"/>
                  <a:pt x="7246" y="3435"/>
                </a:cubicBezTo>
                <a:close/>
                <a:moveTo>
                  <a:pt x="8948" y="2048"/>
                </a:moveTo>
                <a:lnTo>
                  <a:pt x="8948" y="2773"/>
                </a:lnTo>
                <a:lnTo>
                  <a:pt x="7246" y="2773"/>
                </a:lnTo>
                <a:cubicBezTo>
                  <a:pt x="6711" y="2773"/>
                  <a:pt x="6238" y="3246"/>
                  <a:pt x="6238" y="3781"/>
                </a:cubicBezTo>
                <a:lnTo>
                  <a:pt x="6238" y="5829"/>
                </a:lnTo>
                <a:cubicBezTo>
                  <a:pt x="6238" y="6396"/>
                  <a:pt x="6711" y="6869"/>
                  <a:pt x="7246" y="6869"/>
                </a:cubicBezTo>
                <a:lnTo>
                  <a:pt x="7593" y="6869"/>
                </a:lnTo>
                <a:lnTo>
                  <a:pt x="7593" y="7877"/>
                </a:lnTo>
                <a:cubicBezTo>
                  <a:pt x="7593" y="8034"/>
                  <a:pt x="7687" y="8160"/>
                  <a:pt x="7813" y="8192"/>
                </a:cubicBezTo>
                <a:cubicBezTo>
                  <a:pt x="7852" y="8218"/>
                  <a:pt x="7902" y="8233"/>
                  <a:pt x="7954" y="8233"/>
                </a:cubicBezTo>
                <a:cubicBezTo>
                  <a:pt x="8028" y="8233"/>
                  <a:pt x="8105" y="8203"/>
                  <a:pt x="8160" y="8129"/>
                </a:cubicBezTo>
                <a:lnTo>
                  <a:pt x="8948" y="7341"/>
                </a:lnTo>
                <a:lnTo>
                  <a:pt x="8948" y="8916"/>
                </a:lnTo>
                <a:lnTo>
                  <a:pt x="2804" y="8916"/>
                </a:lnTo>
                <a:lnTo>
                  <a:pt x="2804" y="7341"/>
                </a:lnTo>
                <a:lnTo>
                  <a:pt x="3592" y="8129"/>
                </a:lnTo>
                <a:cubicBezTo>
                  <a:pt x="3636" y="8173"/>
                  <a:pt x="3728" y="8218"/>
                  <a:pt x="3823" y="8218"/>
                </a:cubicBezTo>
                <a:cubicBezTo>
                  <a:pt x="3862" y="8218"/>
                  <a:pt x="3901" y="8210"/>
                  <a:pt x="3938" y="8192"/>
                </a:cubicBezTo>
                <a:cubicBezTo>
                  <a:pt x="4064" y="8160"/>
                  <a:pt x="4127" y="8003"/>
                  <a:pt x="4127" y="7877"/>
                </a:cubicBezTo>
                <a:lnTo>
                  <a:pt x="4127" y="6869"/>
                </a:lnTo>
                <a:lnTo>
                  <a:pt x="4505" y="6869"/>
                </a:lnTo>
                <a:cubicBezTo>
                  <a:pt x="5041" y="6869"/>
                  <a:pt x="5513" y="6396"/>
                  <a:pt x="5513" y="5829"/>
                </a:cubicBezTo>
                <a:lnTo>
                  <a:pt x="5513" y="3781"/>
                </a:lnTo>
                <a:cubicBezTo>
                  <a:pt x="5513" y="3246"/>
                  <a:pt x="5041" y="2773"/>
                  <a:pt x="4505" y="2773"/>
                </a:cubicBezTo>
                <a:lnTo>
                  <a:pt x="2804" y="2773"/>
                </a:lnTo>
                <a:lnTo>
                  <a:pt x="2804" y="2048"/>
                </a:lnTo>
                <a:close/>
                <a:moveTo>
                  <a:pt x="8948" y="9547"/>
                </a:moveTo>
                <a:lnTo>
                  <a:pt x="8948" y="10618"/>
                </a:lnTo>
                <a:cubicBezTo>
                  <a:pt x="8948" y="10838"/>
                  <a:pt x="8790" y="10964"/>
                  <a:pt x="8632" y="10964"/>
                </a:cubicBezTo>
                <a:lnTo>
                  <a:pt x="3151" y="10964"/>
                </a:lnTo>
                <a:cubicBezTo>
                  <a:pt x="2962" y="10964"/>
                  <a:pt x="2804" y="10807"/>
                  <a:pt x="2804" y="10618"/>
                </a:cubicBezTo>
                <a:lnTo>
                  <a:pt x="2804" y="9547"/>
                </a:lnTo>
                <a:close/>
                <a:moveTo>
                  <a:pt x="3119" y="1"/>
                </a:moveTo>
                <a:cubicBezTo>
                  <a:pt x="2552" y="1"/>
                  <a:pt x="2079" y="473"/>
                  <a:pt x="2079" y="1040"/>
                </a:cubicBezTo>
                <a:lnTo>
                  <a:pt x="2079" y="2773"/>
                </a:lnTo>
                <a:lnTo>
                  <a:pt x="1040" y="2773"/>
                </a:lnTo>
                <a:cubicBezTo>
                  <a:pt x="473" y="2773"/>
                  <a:pt x="0" y="3246"/>
                  <a:pt x="0" y="3781"/>
                </a:cubicBezTo>
                <a:lnTo>
                  <a:pt x="0" y="5829"/>
                </a:lnTo>
                <a:cubicBezTo>
                  <a:pt x="0" y="6396"/>
                  <a:pt x="473" y="6869"/>
                  <a:pt x="1040" y="6869"/>
                </a:cubicBezTo>
                <a:lnTo>
                  <a:pt x="2079" y="6869"/>
                </a:lnTo>
                <a:lnTo>
                  <a:pt x="2079" y="10649"/>
                </a:lnTo>
                <a:cubicBezTo>
                  <a:pt x="2079" y="11185"/>
                  <a:pt x="2552" y="11657"/>
                  <a:pt x="3119" y="11657"/>
                </a:cubicBezTo>
                <a:lnTo>
                  <a:pt x="8601" y="11657"/>
                </a:lnTo>
                <a:cubicBezTo>
                  <a:pt x="9137" y="11657"/>
                  <a:pt x="9609" y="11185"/>
                  <a:pt x="9609" y="10649"/>
                </a:cubicBezTo>
                <a:lnTo>
                  <a:pt x="9609" y="6869"/>
                </a:lnTo>
                <a:lnTo>
                  <a:pt x="10680" y="6869"/>
                </a:lnTo>
                <a:cubicBezTo>
                  <a:pt x="11216" y="6869"/>
                  <a:pt x="11688" y="6396"/>
                  <a:pt x="11688" y="5829"/>
                </a:cubicBezTo>
                <a:lnTo>
                  <a:pt x="11688" y="3781"/>
                </a:lnTo>
                <a:cubicBezTo>
                  <a:pt x="11688" y="3214"/>
                  <a:pt x="11279" y="2773"/>
                  <a:pt x="10680" y="2773"/>
                </a:cubicBezTo>
                <a:lnTo>
                  <a:pt x="9609" y="2773"/>
                </a:lnTo>
                <a:lnTo>
                  <a:pt x="9609" y="1040"/>
                </a:lnTo>
                <a:cubicBezTo>
                  <a:pt x="9609" y="473"/>
                  <a:pt x="9137" y="1"/>
                  <a:pt x="8601"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nvGrpSpPr>
          <p:cNvPr id="10351" name="Google Shape;10351;p112"/>
          <p:cNvGrpSpPr/>
          <p:nvPr/>
        </p:nvGrpSpPr>
        <p:grpSpPr>
          <a:xfrm>
            <a:off x="2941245" y="2047390"/>
            <a:ext cx="442131" cy="471409"/>
            <a:chOff x="-34767825" y="1914325"/>
            <a:chExt cx="273325" cy="291425"/>
          </a:xfrm>
        </p:grpSpPr>
        <p:sp>
          <p:nvSpPr>
            <p:cNvPr id="10352" name="Google Shape;10352;p112"/>
            <p:cNvSpPr/>
            <p:nvPr/>
          </p:nvSpPr>
          <p:spPr>
            <a:xfrm>
              <a:off x="-34767825" y="1914325"/>
              <a:ext cx="273325" cy="291425"/>
            </a:xfrm>
            <a:custGeom>
              <a:avLst/>
              <a:gdLst/>
              <a:ahLst/>
              <a:cxnLst/>
              <a:rect l="l" t="t" r="r" b="b"/>
              <a:pathLst>
                <a:path w="10933" h="11657" extrusionOk="0">
                  <a:moveTo>
                    <a:pt x="5954" y="662"/>
                  </a:moveTo>
                  <a:cubicBezTo>
                    <a:pt x="5702" y="851"/>
                    <a:pt x="5482" y="1103"/>
                    <a:pt x="5324" y="1355"/>
                  </a:cubicBezTo>
                  <a:lnTo>
                    <a:pt x="693" y="1355"/>
                  </a:lnTo>
                  <a:lnTo>
                    <a:pt x="693" y="1008"/>
                  </a:lnTo>
                  <a:cubicBezTo>
                    <a:pt x="662" y="819"/>
                    <a:pt x="819" y="662"/>
                    <a:pt x="1008" y="662"/>
                  </a:cubicBezTo>
                  <a:close/>
                  <a:moveTo>
                    <a:pt x="7902" y="692"/>
                  </a:moveTo>
                  <a:cubicBezTo>
                    <a:pt x="9199" y="692"/>
                    <a:pt x="10239" y="1752"/>
                    <a:pt x="10239" y="3056"/>
                  </a:cubicBezTo>
                  <a:cubicBezTo>
                    <a:pt x="10239" y="4411"/>
                    <a:pt x="9168" y="5450"/>
                    <a:pt x="7845" y="5450"/>
                  </a:cubicBezTo>
                  <a:cubicBezTo>
                    <a:pt x="7404" y="5450"/>
                    <a:pt x="6963" y="5356"/>
                    <a:pt x="6585" y="5104"/>
                  </a:cubicBezTo>
                  <a:cubicBezTo>
                    <a:pt x="6519" y="5082"/>
                    <a:pt x="6454" y="5045"/>
                    <a:pt x="6389" y="5045"/>
                  </a:cubicBezTo>
                  <a:cubicBezTo>
                    <a:pt x="6360" y="5045"/>
                    <a:pt x="6330" y="5053"/>
                    <a:pt x="6301" y="5072"/>
                  </a:cubicBezTo>
                  <a:lnTo>
                    <a:pt x="5671" y="5261"/>
                  </a:lnTo>
                  <a:lnTo>
                    <a:pt x="5860" y="4631"/>
                  </a:lnTo>
                  <a:cubicBezTo>
                    <a:pt x="5923" y="4568"/>
                    <a:pt x="5860" y="4442"/>
                    <a:pt x="5828" y="4348"/>
                  </a:cubicBezTo>
                  <a:cubicBezTo>
                    <a:pt x="5608" y="3970"/>
                    <a:pt x="5482" y="3529"/>
                    <a:pt x="5482" y="3087"/>
                  </a:cubicBezTo>
                  <a:cubicBezTo>
                    <a:pt x="5482" y="2678"/>
                    <a:pt x="5608" y="2268"/>
                    <a:pt x="5765" y="1953"/>
                  </a:cubicBezTo>
                  <a:cubicBezTo>
                    <a:pt x="5797" y="1922"/>
                    <a:pt x="5797" y="1922"/>
                    <a:pt x="5797" y="1859"/>
                  </a:cubicBezTo>
                  <a:cubicBezTo>
                    <a:pt x="6207" y="1166"/>
                    <a:pt x="6963" y="693"/>
                    <a:pt x="7845" y="693"/>
                  </a:cubicBezTo>
                  <a:cubicBezTo>
                    <a:pt x="7864" y="693"/>
                    <a:pt x="7883" y="692"/>
                    <a:pt x="7902" y="692"/>
                  </a:cubicBezTo>
                  <a:close/>
                  <a:moveTo>
                    <a:pt x="3749" y="5450"/>
                  </a:moveTo>
                  <a:cubicBezTo>
                    <a:pt x="4127" y="5450"/>
                    <a:pt x="4411" y="5765"/>
                    <a:pt x="4411" y="6143"/>
                  </a:cubicBezTo>
                  <a:cubicBezTo>
                    <a:pt x="4411" y="6521"/>
                    <a:pt x="4096" y="6805"/>
                    <a:pt x="3749" y="6805"/>
                  </a:cubicBezTo>
                  <a:cubicBezTo>
                    <a:pt x="3732" y="6806"/>
                    <a:pt x="3714" y="6807"/>
                    <a:pt x="3697" y="6807"/>
                  </a:cubicBezTo>
                  <a:cubicBezTo>
                    <a:pt x="3343" y="6807"/>
                    <a:pt x="3056" y="6504"/>
                    <a:pt x="3056" y="6143"/>
                  </a:cubicBezTo>
                  <a:cubicBezTo>
                    <a:pt x="3056" y="5734"/>
                    <a:pt x="3371" y="5450"/>
                    <a:pt x="3749" y="5450"/>
                  </a:cubicBezTo>
                  <a:close/>
                  <a:moveTo>
                    <a:pt x="4946" y="1985"/>
                  </a:moveTo>
                  <a:cubicBezTo>
                    <a:pt x="4852" y="2300"/>
                    <a:pt x="4789" y="2646"/>
                    <a:pt x="4789" y="3024"/>
                  </a:cubicBezTo>
                  <a:cubicBezTo>
                    <a:pt x="4757" y="3560"/>
                    <a:pt x="4915" y="4096"/>
                    <a:pt x="5167" y="4568"/>
                  </a:cubicBezTo>
                  <a:lnTo>
                    <a:pt x="4883" y="5387"/>
                  </a:lnTo>
                  <a:cubicBezTo>
                    <a:pt x="4631" y="5009"/>
                    <a:pt x="4222" y="4757"/>
                    <a:pt x="3749" y="4757"/>
                  </a:cubicBezTo>
                  <a:cubicBezTo>
                    <a:pt x="2993" y="4757"/>
                    <a:pt x="2363" y="5387"/>
                    <a:pt x="2363" y="6143"/>
                  </a:cubicBezTo>
                  <a:cubicBezTo>
                    <a:pt x="2363" y="6490"/>
                    <a:pt x="2489" y="6805"/>
                    <a:pt x="2709" y="7026"/>
                  </a:cubicBezTo>
                  <a:cubicBezTo>
                    <a:pt x="2016" y="7404"/>
                    <a:pt x="1481" y="8065"/>
                    <a:pt x="1386" y="8853"/>
                  </a:cubicBezTo>
                  <a:lnTo>
                    <a:pt x="662" y="8853"/>
                  </a:lnTo>
                  <a:lnTo>
                    <a:pt x="662" y="1985"/>
                  </a:lnTo>
                  <a:close/>
                  <a:moveTo>
                    <a:pt x="3749" y="7498"/>
                  </a:moveTo>
                  <a:cubicBezTo>
                    <a:pt x="4568" y="7498"/>
                    <a:pt x="5261" y="8097"/>
                    <a:pt x="5419" y="8884"/>
                  </a:cubicBezTo>
                  <a:lnTo>
                    <a:pt x="2079" y="8884"/>
                  </a:lnTo>
                  <a:cubicBezTo>
                    <a:pt x="2237" y="8097"/>
                    <a:pt x="2899" y="7498"/>
                    <a:pt x="3749" y="7498"/>
                  </a:cubicBezTo>
                  <a:close/>
                  <a:moveTo>
                    <a:pt x="6364" y="5765"/>
                  </a:moveTo>
                  <a:cubicBezTo>
                    <a:pt x="6522" y="5860"/>
                    <a:pt x="6679" y="5923"/>
                    <a:pt x="6837" y="5986"/>
                  </a:cubicBezTo>
                  <a:lnTo>
                    <a:pt x="6837" y="8884"/>
                  </a:lnTo>
                  <a:lnTo>
                    <a:pt x="6112" y="8884"/>
                  </a:lnTo>
                  <a:cubicBezTo>
                    <a:pt x="5986" y="8065"/>
                    <a:pt x="5482" y="7404"/>
                    <a:pt x="4757" y="7089"/>
                  </a:cubicBezTo>
                  <a:cubicBezTo>
                    <a:pt x="5009" y="6837"/>
                    <a:pt x="5104" y="6521"/>
                    <a:pt x="5104" y="6175"/>
                  </a:cubicBezTo>
                  <a:lnTo>
                    <a:pt x="5230" y="6175"/>
                  </a:lnTo>
                  <a:lnTo>
                    <a:pt x="6364" y="5765"/>
                  </a:lnTo>
                  <a:close/>
                  <a:moveTo>
                    <a:pt x="6805" y="9514"/>
                  </a:moveTo>
                  <a:lnTo>
                    <a:pt x="6805" y="10586"/>
                  </a:lnTo>
                  <a:cubicBezTo>
                    <a:pt x="6805" y="10775"/>
                    <a:pt x="6648" y="10932"/>
                    <a:pt x="6490" y="10932"/>
                  </a:cubicBezTo>
                  <a:lnTo>
                    <a:pt x="1008" y="10932"/>
                  </a:lnTo>
                  <a:cubicBezTo>
                    <a:pt x="819" y="10932"/>
                    <a:pt x="662" y="10775"/>
                    <a:pt x="662" y="10586"/>
                  </a:cubicBezTo>
                  <a:lnTo>
                    <a:pt x="662" y="9514"/>
                  </a:lnTo>
                  <a:close/>
                  <a:moveTo>
                    <a:pt x="1008" y="0"/>
                  </a:moveTo>
                  <a:cubicBezTo>
                    <a:pt x="473" y="0"/>
                    <a:pt x="0" y="473"/>
                    <a:pt x="0" y="1040"/>
                  </a:cubicBezTo>
                  <a:lnTo>
                    <a:pt x="0" y="10649"/>
                  </a:lnTo>
                  <a:cubicBezTo>
                    <a:pt x="0" y="11184"/>
                    <a:pt x="441" y="11657"/>
                    <a:pt x="1008" y="11657"/>
                  </a:cubicBezTo>
                  <a:lnTo>
                    <a:pt x="6490" y="11657"/>
                  </a:lnTo>
                  <a:cubicBezTo>
                    <a:pt x="7057" y="11657"/>
                    <a:pt x="7530" y="11184"/>
                    <a:pt x="7530" y="10617"/>
                  </a:cubicBezTo>
                  <a:lnTo>
                    <a:pt x="7530" y="6143"/>
                  </a:lnTo>
                  <a:cubicBezTo>
                    <a:pt x="7624" y="6143"/>
                    <a:pt x="7750" y="6175"/>
                    <a:pt x="7876" y="6175"/>
                  </a:cubicBezTo>
                  <a:cubicBezTo>
                    <a:pt x="9578" y="6175"/>
                    <a:pt x="10932" y="4789"/>
                    <a:pt x="10932" y="3087"/>
                  </a:cubicBezTo>
                  <a:cubicBezTo>
                    <a:pt x="10932" y="1418"/>
                    <a:pt x="9578" y="0"/>
                    <a:pt x="7876"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353" name="Google Shape;10353;p112"/>
            <p:cNvSpPr/>
            <p:nvPr/>
          </p:nvSpPr>
          <p:spPr>
            <a:xfrm>
              <a:off x="-34579600" y="1947400"/>
              <a:ext cx="17350" cy="18125"/>
            </a:xfrm>
            <a:custGeom>
              <a:avLst/>
              <a:gdLst/>
              <a:ahLst/>
              <a:cxnLst/>
              <a:rect l="l" t="t" r="r" b="b"/>
              <a:pathLst>
                <a:path w="694" h="725" extrusionOk="0">
                  <a:moveTo>
                    <a:pt x="347" y="0"/>
                  </a:moveTo>
                  <a:cubicBezTo>
                    <a:pt x="158" y="0"/>
                    <a:pt x="1" y="189"/>
                    <a:pt x="1" y="347"/>
                  </a:cubicBezTo>
                  <a:cubicBezTo>
                    <a:pt x="1" y="567"/>
                    <a:pt x="158" y="725"/>
                    <a:pt x="347" y="725"/>
                  </a:cubicBezTo>
                  <a:cubicBezTo>
                    <a:pt x="536" y="725"/>
                    <a:pt x="694" y="567"/>
                    <a:pt x="694" y="347"/>
                  </a:cubicBezTo>
                  <a:cubicBezTo>
                    <a:pt x="694" y="158"/>
                    <a:pt x="536" y="0"/>
                    <a:pt x="347"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354" name="Google Shape;10354;p112"/>
            <p:cNvSpPr/>
            <p:nvPr/>
          </p:nvSpPr>
          <p:spPr>
            <a:xfrm>
              <a:off x="-34581175" y="1982050"/>
              <a:ext cx="18150" cy="52000"/>
            </a:xfrm>
            <a:custGeom>
              <a:avLst/>
              <a:gdLst/>
              <a:ahLst/>
              <a:cxnLst/>
              <a:rect l="l" t="t" r="r" b="b"/>
              <a:pathLst>
                <a:path w="726" h="2080" extrusionOk="0">
                  <a:moveTo>
                    <a:pt x="379" y="0"/>
                  </a:moveTo>
                  <a:cubicBezTo>
                    <a:pt x="158" y="0"/>
                    <a:pt x="1" y="158"/>
                    <a:pt x="1" y="347"/>
                  </a:cubicBezTo>
                  <a:lnTo>
                    <a:pt x="1" y="1733"/>
                  </a:lnTo>
                  <a:cubicBezTo>
                    <a:pt x="1" y="1922"/>
                    <a:pt x="158" y="2080"/>
                    <a:pt x="379" y="2080"/>
                  </a:cubicBezTo>
                  <a:cubicBezTo>
                    <a:pt x="568" y="2080"/>
                    <a:pt x="725" y="1922"/>
                    <a:pt x="725" y="1733"/>
                  </a:cubicBezTo>
                  <a:lnTo>
                    <a:pt x="725" y="347"/>
                  </a:lnTo>
                  <a:cubicBezTo>
                    <a:pt x="725" y="158"/>
                    <a:pt x="568" y="0"/>
                    <a:pt x="379"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10355" name="Google Shape;10355;p112"/>
          <p:cNvGrpSpPr/>
          <p:nvPr/>
        </p:nvGrpSpPr>
        <p:grpSpPr>
          <a:xfrm>
            <a:off x="2924684" y="2657456"/>
            <a:ext cx="475251" cy="473997"/>
            <a:chOff x="-34778075" y="2272675"/>
            <a:chExt cx="293800" cy="293025"/>
          </a:xfrm>
        </p:grpSpPr>
        <p:sp>
          <p:nvSpPr>
            <p:cNvPr id="10356" name="Google Shape;10356;p112"/>
            <p:cNvSpPr/>
            <p:nvPr/>
          </p:nvSpPr>
          <p:spPr>
            <a:xfrm>
              <a:off x="-34725300" y="2324675"/>
              <a:ext cx="187475" cy="188250"/>
            </a:xfrm>
            <a:custGeom>
              <a:avLst/>
              <a:gdLst/>
              <a:ahLst/>
              <a:cxnLst/>
              <a:rect l="l" t="t" r="r" b="b"/>
              <a:pathLst>
                <a:path w="7499" h="7530" extrusionOk="0">
                  <a:moveTo>
                    <a:pt x="4127" y="693"/>
                  </a:moveTo>
                  <a:lnTo>
                    <a:pt x="4127" y="1134"/>
                  </a:lnTo>
                  <a:cubicBezTo>
                    <a:pt x="4127" y="1292"/>
                    <a:pt x="4253" y="1418"/>
                    <a:pt x="4411" y="1449"/>
                  </a:cubicBezTo>
                  <a:cubicBezTo>
                    <a:pt x="4600" y="1481"/>
                    <a:pt x="4821" y="1607"/>
                    <a:pt x="4978" y="1701"/>
                  </a:cubicBezTo>
                  <a:cubicBezTo>
                    <a:pt x="5023" y="1724"/>
                    <a:pt x="5075" y="1734"/>
                    <a:pt x="5130" y="1734"/>
                  </a:cubicBezTo>
                  <a:cubicBezTo>
                    <a:pt x="5230" y="1734"/>
                    <a:pt x="5338" y="1699"/>
                    <a:pt x="5419" y="1638"/>
                  </a:cubicBezTo>
                  <a:lnTo>
                    <a:pt x="5734" y="1323"/>
                  </a:lnTo>
                  <a:lnTo>
                    <a:pt x="6207" y="1796"/>
                  </a:lnTo>
                  <a:lnTo>
                    <a:pt x="5892" y="2111"/>
                  </a:lnTo>
                  <a:cubicBezTo>
                    <a:pt x="5766" y="2237"/>
                    <a:pt x="5766" y="2394"/>
                    <a:pt x="5860" y="2552"/>
                  </a:cubicBezTo>
                  <a:cubicBezTo>
                    <a:pt x="5986" y="2741"/>
                    <a:pt x="6049" y="2961"/>
                    <a:pt x="6081" y="3150"/>
                  </a:cubicBezTo>
                  <a:cubicBezTo>
                    <a:pt x="6144" y="3308"/>
                    <a:pt x="6238" y="3434"/>
                    <a:pt x="6396" y="3434"/>
                  </a:cubicBezTo>
                  <a:lnTo>
                    <a:pt x="6837" y="3434"/>
                  </a:lnTo>
                  <a:lnTo>
                    <a:pt x="6837" y="4096"/>
                  </a:lnTo>
                  <a:lnTo>
                    <a:pt x="6396" y="4096"/>
                  </a:lnTo>
                  <a:cubicBezTo>
                    <a:pt x="6238" y="4096"/>
                    <a:pt x="6144" y="4222"/>
                    <a:pt x="6081" y="4379"/>
                  </a:cubicBezTo>
                  <a:cubicBezTo>
                    <a:pt x="6049" y="4568"/>
                    <a:pt x="5923" y="4789"/>
                    <a:pt x="5860" y="4946"/>
                  </a:cubicBezTo>
                  <a:cubicBezTo>
                    <a:pt x="5766" y="5072"/>
                    <a:pt x="5829" y="5261"/>
                    <a:pt x="5892" y="5387"/>
                  </a:cubicBezTo>
                  <a:lnTo>
                    <a:pt x="6207" y="5702"/>
                  </a:lnTo>
                  <a:lnTo>
                    <a:pt x="5734" y="6175"/>
                  </a:lnTo>
                  <a:lnTo>
                    <a:pt x="5419" y="5860"/>
                  </a:lnTo>
                  <a:cubicBezTo>
                    <a:pt x="5352" y="5792"/>
                    <a:pt x="5275" y="5761"/>
                    <a:pt x="5194" y="5761"/>
                  </a:cubicBezTo>
                  <a:cubicBezTo>
                    <a:pt x="5124" y="5761"/>
                    <a:pt x="5051" y="5785"/>
                    <a:pt x="4978" y="5828"/>
                  </a:cubicBezTo>
                  <a:cubicBezTo>
                    <a:pt x="4789" y="5954"/>
                    <a:pt x="4600" y="6017"/>
                    <a:pt x="4411" y="6049"/>
                  </a:cubicBezTo>
                  <a:cubicBezTo>
                    <a:pt x="4253" y="6080"/>
                    <a:pt x="4127" y="6206"/>
                    <a:pt x="4127" y="6364"/>
                  </a:cubicBezTo>
                  <a:lnTo>
                    <a:pt x="4127" y="6805"/>
                  </a:lnTo>
                  <a:lnTo>
                    <a:pt x="3466" y="6805"/>
                  </a:lnTo>
                  <a:lnTo>
                    <a:pt x="3466" y="6364"/>
                  </a:lnTo>
                  <a:cubicBezTo>
                    <a:pt x="3466" y="6206"/>
                    <a:pt x="3340" y="6112"/>
                    <a:pt x="3182" y="6049"/>
                  </a:cubicBezTo>
                  <a:cubicBezTo>
                    <a:pt x="2993" y="6017"/>
                    <a:pt x="2741" y="5891"/>
                    <a:pt x="2584" y="5828"/>
                  </a:cubicBezTo>
                  <a:cubicBezTo>
                    <a:pt x="2549" y="5794"/>
                    <a:pt x="2497" y="5780"/>
                    <a:pt x="2441" y="5780"/>
                  </a:cubicBezTo>
                  <a:cubicBezTo>
                    <a:pt x="2344" y="5780"/>
                    <a:pt x="2234" y="5820"/>
                    <a:pt x="2174" y="5860"/>
                  </a:cubicBezTo>
                  <a:lnTo>
                    <a:pt x="1859" y="6175"/>
                  </a:lnTo>
                  <a:lnTo>
                    <a:pt x="1387" y="5702"/>
                  </a:lnTo>
                  <a:lnTo>
                    <a:pt x="1702" y="5387"/>
                  </a:lnTo>
                  <a:cubicBezTo>
                    <a:pt x="1796" y="5261"/>
                    <a:pt x="1796" y="5104"/>
                    <a:pt x="1733" y="4946"/>
                  </a:cubicBezTo>
                  <a:cubicBezTo>
                    <a:pt x="1607" y="4757"/>
                    <a:pt x="1544" y="4568"/>
                    <a:pt x="1481" y="4379"/>
                  </a:cubicBezTo>
                  <a:cubicBezTo>
                    <a:pt x="1450" y="4222"/>
                    <a:pt x="1324" y="4096"/>
                    <a:pt x="1166" y="4096"/>
                  </a:cubicBezTo>
                  <a:lnTo>
                    <a:pt x="756" y="4096"/>
                  </a:lnTo>
                  <a:lnTo>
                    <a:pt x="756" y="3434"/>
                  </a:lnTo>
                  <a:lnTo>
                    <a:pt x="1166" y="3434"/>
                  </a:lnTo>
                  <a:cubicBezTo>
                    <a:pt x="1324" y="3434"/>
                    <a:pt x="1450" y="3308"/>
                    <a:pt x="1481" y="3150"/>
                  </a:cubicBezTo>
                  <a:cubicBezTo>
                    <a:pt x="1544" y="2961"/>
                    <a:pt x="1639" y="2709"/>
                    <a:pt x="1733" y="2552"/>
                  </a:cubicBezTo>
                  <a:cubicBezTo>
                    <a:pt x="1796" y="2426"/>
                    <a:pt x="1765" y="2237"/>
                    <a:pt x="1702" y="2111"/>
                  </a:cubicBezTo>
                  <a:lnTo>
                    <a:pt x="1387" y="1796"/>
                  </a:lnTo>
                  <a:lnTo>
                    <a:pt x="1859" y="1323"/>
                  </a:lnTo>
                  <a:lnTo>
                    <a:pt x="2174" y="1638"/>
                  </a:lnTo>
                  <a:cubicBezTo>
                    <a:pt x="2230" y="1712"/>
                    <a:pt x="2307" y="1743"/>
                    <a:pt x="2392" y="1743"/>
                  </a:cubicBezTo>
                  <a:cubicBezTo>
                    <a:pt x="2453" y="1743"/>
                    <a:pt x="2518" y="1727"/>
                    <a:pt x="2584" y="1701"/>
                  </a:cubicBezTo>
                  <a:cubicBezTo>
                    <a:pt x="2804" y="1575"/>
                    <a:pt x="2993" y="1481"/>
                    <a:pt x="3182" y="1449"/>
                  </a:cubicBezTo>
                  <a:cubicBezTo>
                    <a:pt x="3340" y="1418"/>
                    <a:pt x="3466" y="1292"/>
                    <a:pt x="3466" y="1134"/>
                  </a:cubicBezTo>
                  <a:lnTo>
                    <a:pt x="3466" y="693"/>
                  </a:lnTo>
                  <a:close/>
                  <a:moveTo>
                    <a:pt x="3056" y="0"/>
                  </a:moveTo>
                  <a:cubicBezTo>
                    <a:pt x="2867" y="0"/>
                    <a:pt x="2710" y="158"/>
                    <a:pt x="2710" y="347"/>
                  </a:cubicBezTo>
                  <a:lnTo>
                    <a:pt x="2710" y="851"/>
                  </a:lnTo>
                  <a:cubicBezTo>
                    <a:pt x="2584" y="914"/>
                    <a:pt x="2521" y="945"/>
                    <a:pt x="2426" y="977"/>
                  </a:cubicBezTo>
                  <a:lnTo>
                    <a:pt x="2080" y="630"/>
                  </a:lnTo>
                  <a:cubicBezTo>
                    <a:pt x="1985" y="536"/>
                    <a:pt x="1922" y="504"/>
                    <a:pt x="1828" y="504"/>
                  </a:cubicBezTo>
                  <a:cubicBezTo>
                    <a:pt x="1765" y="504"/>
                    <a:pt x="1639" y="536"/>
                    <a:pt x="1607" y="630"/>
                  </a:cubicBezTo>
                  <a:lnTo>
                    <a:pt x="630" y="1607"/>
                  </a:lnTo>
                  <a:cubicBezTo>
                    <a:pt x="536" y="1701"/>
                    <a:pt x="504" y="1764"/>
                    <a:pt x="504" y="1859"/>
                  </a:cubicBezTo>
                  <a:cubicBezTo>
                    <a:pt x="504" y="1922"/>
                    <a:pt x="536" y="2048"/>
                    <a:pt x="630" y="2079"/>
                  </a:cubicBezTo>
                  <a:lnTo>
                    <a:pt x="977" y="2426"/>
                  </a:lnTo>
                  <a:cubicBezTo>
                    <a:pt x="945" y="2520"/>
                    <a:pt x="914" y="2646"/>
                    <a:pt x="851" y="2709"/>
                  </a:cubicBezTo>
                  <a:lnTo>
                    <a:pt x="347" y="2709"/>
                  </a:lnTo>
                  <a:cubicBezTo>
                    <a:pt x="158" y="2709"/>
                    <a:pt x="0" y="2867"/>
                    <a:pt x="0" y="3056"/>
                  </a:cubicBezTo>
                  <a:lnTo>
                    <a:pt x="0" y="4442"/>
                  </a:lnTo>
                  <a:cubicBezTo>
                    <a:pt x="0" y="4631"/>
                    <a:pt x="158" y="4789"/>
                    <a:pt x="347" y="4789"/>
                  </a:cubicBezTo>
                  <a:lnTo>
                    <a:pt x="851" y="4789"/>
                  </a:lnTo>
                  <a:cubicBezTo>
                    <a:pt x="882" y="4915"/>
                    <a:pt x="945" y="5009"/>
                    <a:pt x="977" y="5072"/>
                  </a:cubicBezTo>
                  <a:lnTo>
                    <a:pt x="630" y="5419"/>
                  </a:lnTo>
                  <a:cubicBezTo>
                    <a:pt x="536" y="5513"/>
                    <a:pt x="504" y="5576"/>
                    <a:pt x="504" y="5671"/>
                  </a:cubicBezTo>
                  <a:cubicBezTo>
                    <a:pt x="504" y="5734"/>
                    <a:pt x="536" y="5860"/>
                    <a:pt x="630" y="5891"/>
                  </a:cubicBezTo>
                  <a:lnTo>
                    <a:pt x="1607" y="6900"/>
                  </a:lnTo>
                  <a:cubicBezTo>
                    <a:pt x="1670" y="6963"/>
                    <a:pt x="1765" y="6994"/>
                    <a:pt x="1828" y="6994"/>
                  </a:cubicBezTo>
                  <a:cubicBezTo>
                    <a:pt x="1922" y="6994"/>
                    <a:pt x="2048" y="6963"/>
                    <a:pt x="2080" y="6900"/>
                  </a:cubicBezTo>
                  <a:lnTo>
                    <a:pt x="2426" y="6521"/>
                  </a:lnTo>
                  <a:cubicBezTo>
                    <a:pt x="2521" y="6585"/>
                    <a:pt x="2615" y="6616"/>
                    <a:pt x="2710" y="6648"/>
                  </a:cubicBezTo>
                  <a:lnTo>
                    <a:pt x="2710" y="7152"/>
                  </a:lnTo>
                  <a:cubicBezTo>
                    <a:pt x="2710" y="7372"/>
                    <a:pt x="2867" y="7530"/>
                    <a:pt x="3056" y="7530"/>
                  </a:cubicBezTo>
                  <a:lnTo>
                    <a:pt x="4443" y="7530"/>
                  </a:lnTo>
                  <a:cubicBezTo>
                    <a:pt x="4632" y="7530"/>
                    <a:pt x="4789" y="7372"/>
                    <a:pt x="4789" y="7152"/>
                  </a:cubicBezTo>
                  <a:lnTo>
                    <a:pt x="4789" y="6648"/>
                  </a:lnTo>
                  <a:cubicBezTo>
                    <a:pt x="4915" y="6616"/>
                    <a:pt x="4978" y="6585"/>
                    <a:pt x="5073" y="6521"/>
                  </a:cubicBezTo>
                  <a:lnTo>
                    <a:pt x="5419" y="6900"/>
                  </a:lnTo>
                  <a:cubicBezTo>
                    <a:pt x="5514" y="6963"/>
                    <a:pt x="5577" y="6994"/>
                    <a:pt x="5671" y="6994"/>
                  </a:cubicBezTo>
                  <a:cubicBezTo>
                    <a:pt x="5734" y="6994"/>
                    <a:pt x="5860" y="6963"/>
                    <a:pt x="5892" y="6900"/>
                  </a:cubicBezTo>
                  <a:lnTo>
                    <a:pt x="6868" y="5891"/>
                  </a:lnTo>
                  <a:cubicBezTo>
                    <a:pt x="6994" y="5797"/>
                    <a:pt x="6994" y="5545"/>
                    <a:pt x="6868" y="5419"/>
                  </a:cubicBezTo>
                  <a:lnTo>
                    <a:pt x="6522" y="5072"/>
                  </a:lnTo>
                  <a:cubicBezTo>
                    <a:pt x="6553" y="5009"/>
                    <a:pt x="6616" y="4883"/>
                    <a:pt x="6648" y="4789"/>
                  </a:cubicBezTo>
                  <a:lnTo>
                    <a:pt x="7152" y="4789"/>
                  </a:lnTo>
                  <a:cubicBezTo>
                    <a:pt x="7341" y="4789"/>
                    <a:pt x="7499" y="4631"/>
                    <a:pt x="7499" y="4442"/>
                  </a:cubicBezTo>
                  <a:lnTo>
                    <a:pt x="7499" y="3056"/>
                  </a:lnTo>
                  <a:cubicBezTo>
                    <a:pt x="7499" y="2867"/>
                    <a:pt x="7341" y="2709"/>
                    <a:pt x="7152" y="2709"/>
                  </a:cubicBezTo>
                  <a:lnTo>
                    <a:pt x="6648" y="2709"/>
                  </a:lnTo>
                  <a:cubicBezTo>
                    <a:pt x="6616" y="2583"/>
                    <a:pt x="6553" y="2520"/>
                    <a:pt x="6522" y="2426"/>
                  </a:cubicBezTo>
                  <a:lnTo>
                    <a:pt x="6868" y="2079"/>
                  </a:lnTo>
                  <a:cubicBezTo>
                    <a:pt x="6994" y="1953"/>
                    <a:pt x="6994" y="1733"/>
                    <a:pt x="6868" y="1607"/>
                  </a:cubicBezTo>
                  <a:lnTo>
                    <a:pt x="5892" y="630"/>
                  </a:lnTo>
                  <a:cubicBezTo>
                    <a:pt x="5829" y="536"/>
                    <a:pt x="5734" y="504"/>
                    <a:pt x="5671" y="504"/>
                  </a:cubicBezTo>
                  <a:cubicBezTo>
                    <a:pt x="5577" y="504"/>
                    <a:pt x="5451" y="536"/>
                    <a:pt x="5419" y="630"/>
                  </a:cubicBezTo>
                  <a:lnTo>
                    <a:pt x="5073" y="977"/>
                  </a:lnTo>
                  <a:cubicBezTo>
                    <a:pt x="4978" y="945"/>
                    <a:pt x="4884" y="914"/>
                    <a:pt x="4789" y="851"/>
                  </a:cubicBezTo>
                  <a:lnTo>
                    <a:pt x="4789" y="347"/>
                  </a:lnTo>
                  <a:cubicBezTo>
                    <a:pt x="4789" y="158"/>
                    <a:pt x="4632" y="0"/>
                    <a:pt x="4443"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357" name="Google Shape;10357;p112"/>
            <p:cNvSpPr/>
            <p:nvPr/>
          </p:nvSpPr>
          <p:spPr>
            <a:xfrm>
              <a:off x="-34673325" y="2375850"/>
              <a:ext cx="85100" cy="84300"/>
            </a:xfrm>
            <a:custGeom>
              <a:avLst/>
              <a:gdLst/>
              <a:ahLst/>
              <a:cxnLst/>
              <a:rect l="l" t="t" r="r" b="b"/>
              <a:pathLst>
                <a:path w="3404" h="3372" extrusionOk="0">
                  <a:moveTo>
                    <a:pt x="1702" y="662"/>
                  </a:moveTo>
                  <a:cubicBezTo>
                    <a:pt x="2238" y="662"/>
                    <a:pt x="2710" y="1135"/>
                    <a:pt x="2710" y="1702"/>
                  </a:cubicBezTo>
                  <a:cubicBezTo>
                    <a:pt x="2710" y="2238"/>
                    <a:pt x="2238" y="2710"/>
                    <a:pt x="1702" y="2710"/>
                  </a:cubicBezTo>
                  <a:cubicBezTo>
                    <a:pt x="1135" y="2710"/>
                    <a:pt x="662" y="2238"/>
                    <a:pt x="662" y="1702"/>
                  </a:cubicBezTo>
                  <a:cubicBezTo>
                    <a:pt x="662" y="1135"/>
                    <a:pt x="1135" y="662"/>
                    <a:pt x="1702" y="662"/>
                  </a:cubicBezTo>
                  <a:close/>
                  <a:moveTo>
                    <a:pt x="1702" y="1"/>
                  </a:moveTo>
                  <a:cubicBezTo>
                    <a:pt x="757" y="1"/>
                    <a:pt x="1" y="757"/>
                    <a:pt x="1" y="1702"/>
                  </a:cubicBezTo>
                  <a:cubicBezTo>
                    <a:pt x="1" y="2647"/>
                    <a:pt x="757" y="3372"/>
                    <a:pt x="1702" y="3372"/>
                  </a:cubicBezTo>
                  <a:cubicBezTo>
                    <a:pt x="2647" y="3372"/>
                    <a:pt x="3403" y="2647"/>
                    <a:pt x="3403" y="1702"/>
                  </a:cubicBezTo>
                  <a:cubicBezTo>
                    <a:pt x="3372" y="757"/>
                    <a:pt x="2647" y="1"/>
                    <a:pt x="1702"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358" name="Google Shape;10358;p112"/>
            <p:cNvSpPr/>
            <p:nvPr/>
          </p:nvSpPr>
          <p:spPr>
            <a:xfrm>
              <a:off x="-34778075" y="2272675"/>
              <a:ext cx="293800" cy="293025"/>
            </a:xfrm>
            <a:custGeom>
              <a:avLst/>
              <a:gdLst/>
              <a:ahLst/>
              <a:cxnLst/>
              <a:rect l="l" t="t" r="r" b="b"/>
              <a:pathLst>
                <a:path w="11752" h="11721" extrusionOk="0">
                  <a:moveTo>
                    <a:pt x="5892" y="694"/>
                  </a:moveTo>
                  <a:cubicBezTo>
                    <a:pt x="8727" y="694"/>
                    <a:pt x="11027" y="3025"/>
                    <a:pt x="11027" y="5861"/>
                  </a:cubicBezTo>
                  <a:cubicBezTo>
                    <a:pt x="10996" y="8665"/>
                    <a:pt x="8727" y="10964"/>
                    <a:pt x="5892" y="10964"/>
                  </a:cubicBezTo>
                  <a:cubicBezTo>
                    <a:pt x="4884" y="10964"/>
                    <a:pt x="3939" y="10712"/>
                    <a:pt x="3119" y="10177"/>
                  </a:cubicBezTo>
                  <a:cubicBezTo>
                    <a:pt x="3075" y="10154"/>
                    <a:pt x="2999" y="10132"/>
                    <a:pt x="2936" y="10132"/>
                  </a:cubicBezTo>
                  <a:cubicBezTo>
                    <a:pt x="2910" y="10132"/>
                    <a:pt x="2886" y="10136"/>
                    <a:pt x="2867" y="10145"/>
                  </a:cubicBezTo>
                  <a:lnTo>
                    <a:pt x="914" y="10775"/>
                  </a:lnTo>
                  <a:lnTo>
                    <a:pt x="1544" y="8854"/>
                  </a:lnTo>
                  <a:cubicBezTo>
                    <a:pt x="1576" y="8759"/>
                    <a:pt x="1544" y="8665"/>
                    <a:pt x="1513" y="8570"/>
                  </a:cubicBezTo>
                  <a:cubicBezTo>
                    <a:pt x="1009" y="7751"/>
                    <a:pt x="725" y="6806"/>
                    <a:pt x="725" y="5861"/>
                  </a:cubicBezTo>
                  <a:cubicBezTo>
                    <a:pt x="725" y="3025"/>
                    <a:pt x="3056" y="694"/>
                    <a:pt x="5892" y="694"/>
                  </a:cubicBezTo>
                  <a:close/>
                  <a:moveTo>
                    <a:pt x="5892" y="1"/>
                  </a:moveTo>
                  <a:cubicBezTo>
                    <a:pt x="4348" y="1"/>
                    <a:pt x="2867" y="568"/>
                    <a:pt x="1733" y="1733"/>
                  </a:cubicBezTo>
                  <a:cubicBezTo>
                    <a:pt x="631" y="2836"/>
                    <a:pt x="0" y="4285"/>
                    <a:pt x="0" y="5861"/>
                  </a:cubicBezTo>
                  <a:cubicBezTo>
                    <a:pt x="0" y="6869"/>
                    <a:pt x="284" y="7908"/>
                    <a:pt x="851" y="8822"/>
                  </a:cubicBezTo>
                  <a:lnTo>
                    <a:pt x="63" y="11248"/>
                  </a:lnTo>
                  <a:cubicBezTo>
                    <a:pt x="0" y="11374"/>
                    <a:pt x="63" y="11531"/>
                    <a:pt x="127" y="11594"/>
                  </a:cubicBezTo>
                  <a:cubicBezTo>
                    <a:pt x="197" y="11665"/>
                    <a:pt x="304" y="11701"/>
                    <a:pt x="392" y="11701"/>
                  </a:cubicBezTo>
                  <a:cubicBezTo>
                    <a:pt x="422" y="11701"/>
                    <a:pt x="449" y="11697"/>
                    <a:pt x="473" y="11689"/>
                  </a:cubicBezTo>
                  <a:lnTo>
                    <a:pt x="2930" y="10901"/>
                  </a:lnTo>
                  <a:cubicBezTo>
                    <a:pt x="3844" y="11437"/>
                    <a:pt x="4852" y="11720"/>
                    <a:pt x="5892" y="11720"/>
                  </a:cubicBezTo>
                  <a:cubicBezTo>
                    <a:pt x="7404" y="11720"/>
                    <a:pt x="8916" y="11122"/>
                    <a:pt x="10019" y="9988"/>
                  </a:cubicBezTo>
                  <a:cubicBezTo>
                    <a:pt x="11122" y="8885"/>
                    <a:pt x="11752" y="7436"/>
                    <a:pt x="11752" y="5861"/>
                  </a:cubicBezTo>
                  <a:cubicBezTo>
                    <a:pt x="11752" y="4317"/>
                    <a:pt x="11153" y="2805"/>
                    <a:pt x="10019" y="1702"/>
                  </a:cubicBezTo>
                  <a:cubicBezTo>
                    <a:pt x="8885" y="568"/>
                    <a:pt x="7404" y="1"/>
                    <a:pt x="5892"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10359" name="Google Shape;10359;p112"/>
          <p:cNvGrpSpPr/>
          <p:nvPr/>
        </p:nvGrpSpPr>
        <p:grpSpPr>
          <a:xfrm>
            <a:off x="2926586" y="3265493"/>
            <a:ext cx="471449" cy="471449"/>
            <a:chOff x="-34776500" y="2631825"/>
            <a:chExt cx="291450" cy="291450"/>
          </a:xfrm>
        </p:grpSpPr>
        <p:sp>
          <p:nvSpPr>
            <p:cNvPr id="10360" name="Google Shape;10360;p112"/>
            <p:cNvSpPr/>
            <p:nvPr/>
          </p:nvSpPr>
          <p:spPr>
            <a:xfrm>
              <a:off x="-34691425" y="2666500"/>
              <a:ext cx="120525" cy="154400"/>
            </a:xfrm>
            <a:custGeom>
              <a:avLst/>
              <a:gdLst/>
              <a:ahLst/>
              <a:cxnLst/>
              <a:rect l="l" t="t" r="r" b="b"/>
              <a:pathLst>
                <a:path w="4821" h="6176" extrusionOk="0">
                  <a:moveTo>
                    <a:pt x="2331" y="693"/>
                  </a:moveTo>
                  <a:cubicBezTo>
                    <a:pt x="3277" y="693"/>
                    <a:pt x="4033" y="1449"/>
                    <a:pt x="4033" y="2394"/>
                  </a:cubicBezTo>
                  <a:cubicBezTo>
                    <a:pt x="4096" y="2899"/>
                    <a:pt x="3844" y="3466"/>
                    <a:pt x="3403" y="3781"/>
                  </a:cubicBezTo>
                  <a:cubicBezTo>
                    <a:pt x="3151" y="3970"/>
                    <a:pt x="2741" y="4348"/>
                    <a:pt x="2741" y="4946"/>
                  </a:cubicBezTo>
                  <a:lnTo>
                    <a:pt x="2741" y="5135"/>
                  </a:lnTo>
                  <a:cubicBezTo>
                    <a:pt x="2741" y="5356"/>
                    <a:pt x="2583" y="5513"/>
                    <a:pt x="2363" y="5513"/>
                  </a:cubicBezTo>
                  <a:cubicBezTo>
                    <a:pt x="2174" y="5513"/>
                    <a:pt x="2016" y="5356"/>
                    <a:pt x="2016" y="5135"/>
                  </a:cubicBezTo>
                  <a:lnTo>
                    <a:pt x="2016" y="4946"/>
                  </a:lnTo>
                  <a:cubicBezTo>
                    <a:pt x="2016" y="4285"/>
                    <a:pt x="2363" y="3655"/>
                    <a:pt x="2962" y="3214"/>
                  </a:cubicBezTo>
                  <a:cubicBezTo>
                    <a:pt x="3245" y="3025"/>
                    <a:pt x="3403" y="2710"/>
                    <a:pt x="3403" y="2394"/>
                  </a:cubicBezTo>
                  <a:cubicBezTo>
                    <a:pt x="3403" y="1827"/>
                    <a:pt x="2930" y="1355"/>
                    <a:pt x="2363" y="1355"/>
                  </a:cubicBezTo>
                  <a:cubicBezTo>
                    <a:pt x="1827" y="1355"/>
                    <a:pt x="1355" y="1827"/>
                    <a:pt x="1355" y="2394"/>
                  </a:cubicBezTo>
                  <a:cubicBezTo>
                    <a:pt x="1355" y="2583"/>
                    <a:pt x="1197" y="2741"/>
                    <a:pt x="1008" y="2741"/>
                  </a:cubicBezTo>
                  <a:cubicBezTo>
                    <a:pt x="788" y="2741"/>
                    <a:pt x="630" y="2583"/>
                    <a:pt x="630" y="2394"/>
                  </a:cubicBezTo>
                  <a:cubicBezTo>
                    <a:pt x="630" y="1449"/>
                    <a:pt x="1386" y="693"/>
                    <a:pt x="2331" y="693"/>
                  </a:cubicBezTo>
                  <a:close/>
                  <a:moveTo>
                    <a:pt x="2426" y="0"/>
                  </a:moveTo>
                  <a:cubicBezTo>
                    <a:pt x="1071" y="0"/>
                    <a:pt x="0" y="1040"/>
                    <a:pt x="0" y="2394"/>
                  </a:cubicBezTo>
                  <a:cubicBezTo>
                    <a:pt x="0" y="2930"/>
                    <a:pt x="473" y="3403"/>
                    <a:pt x="1040" y="3403"/>
                  </a:cubicBezTo>
                  <a:cubicBezTo>
                    <a:pt x="1575" y="3403"/>
                    <a:pt x="2048" y="2930"/>
                    <a:pt x="2048" y="2394"/>
                  </a:cubicBezTo>
                  <a:cubicBezTo>
                    <a:pt x="2048" y="2205"/>
                    <a:pt x="2205" y="2048"/>
                    <a:pt x="2426" y="2048"/>
                  </a:cubicBezTo>
                  <a:cubicBezTo>
                    <a:pt x="2615" y="2048"/>
                    <a:pt x="2772" y="2205"/>
                    <a:pt x="2772" y="2394"/>
                  </a:cubicBezTo>
                  <a:cubicBezTo>
                    <a:pt x="2772" y="2520"/>
                    <a:pt x="2741" y="2583"/>
                    <a:pt x="2615" y="2646"/>
                  </a:cubicBezTo>
                  <a:cubicBezTo>
                    <a:pt x="1827" y="3245"/>
                    <a:pt x="1386" y="4064"/>
                    <a:pt x="1386" y="4946"/>
                  </a:cubicBezTo>
                  <a:lnTo>
                    <a:pt x="1386" y="5135"/>
                  </a:lnTo>
                  <a:cubicBezTo>
                    <a:pt x="1386" y="5702"/>
                    <a:pt x="1859" y="6175"/>
                    <a:pt x="2426" y="6175"/>
                  </a:cubicBezTo>
                  <a:cubicBezTo>
                    <a:pt x="2962" y="6175"/>
                    <a:pt x="3434" y="5702"/>
                    <a:pt x="3434" y="5135"/>
                  </a:cubicBezTo>
                  <a:lnTo>
                    <a:pt x="3434" y="4946"/>
                  </a:lnTo>
                  <a:cubicBezTo>
                    <a:pt x="3434" y="4663"/>
                    <a:pt x="3686" y="4442"/>
                    <a:pt x="3844" y="4316"/>
                  </a:cubicBezTo>
                  <a:cubicBezTo>
                    <a:pt x="4474" y="3875"/>
                    <a:pt x="4820" y="3151"/>
                    <a:pt x="4820" y="2394"/>
                  </a:cubicBezTo>
                  <a:cubicBezTo>
                    <a:pt x="4789" y="1040"/>
                    <a:pt x="3718" y="0"/>
                    <a:pt x="2426"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361" name="Google Shape;10361;p112"/>
            <p:cNvSpPr/>
            <p:nvPr/>
          </p:nvSpPr>
          <p:spPr>
            <a:xfrm>
              <a:off x="-34656775" y="2837400"/>
              <a:ext cx="51200" cy="51225"/>
            </a:xfrm>
            <a:custGeom>
              <a:avLst/>
              <a:gdLst/>
              <a:ahLst/>
              <a:cxnLst/>
              <a:rect l="l" t="t" r="r" b="b"/>
              <a:pathLst>
                <a:path w="2048" h="2049" extrusionOk="0">
                  <a:moveTo>
                    <a:pt x="1040" y="662"/>
                  </a:moveTo>
                  <a:cubicBezTo>
                    <a:pt x="1229" y="662"/>
                    <a:pt x="1386" y="820"/>
                    <a:pt x="1386" y="1040"/>
                  </a:cubicBezTo>
                  <a:cubicBezTo>
                    <a:pt x="1386" y="1229"/>
                    <a:pt x="1197" y="1387"/>
                    <a:pt x="1040" y="1387"/>
                  </a:cubicBezTo>
                  <a:cubicBezTo>
                    <a:pt x="819" y="1387"/>
                    <a:pt x="662" y="1229"/>
                    <a:pt x="662" y="1040"/>
                  </a:cubicBezTo>
                  <a:cubicBezTo>
                    <a:pt x="662" y="820"/>
                    <a:pt x="819" y="662"/>
                    <a:pt x="1040" y="662"/>
                  </a:cubicBezTo>
                  <a:close/>
                  <a:moveTo>
                    <a:pt x="1040" y="1"/>
                  </a:moveTo>
                  <a:cubicBezTo>
                    <a:pt x="473" y="1"/>
                    <a:pt x="0" y="473"/>
                    <a:pt x="0" y="1040"/>
                  </a:cubicBezTo>
                  <a:cubicBezTo>
                    <a:pt x="0" y="1576"/>
                    <a:pt x="473" y="2048"/>
                    <a:pt x="1040" y="2048"/>
                  </a:cubicBezTo>
                  <a:cubicBezTo>
                    <a:pt x="1576" y="2048"/>
                    <a:pt x="2048" y="1576"/>
                    <a:pt x="2048" y="1040"/>
                  </a:cubicBezTo>
                  <a:cubicBezTo>
                    <a:pt x="2048" y="473"/>
                    <a:pt x="1576" y="1"/>
                    <a:pt x="1040"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362" name="Google Shape;10362;p112"/>
            <p:cNvSpPr/>
            <p:nvPr/>
          </p:nvSpPr>
          <p:spPr>
            <a:xfrm>
              <a:off x="-34776500" y="2631825"/>
              <a:ext cx="291450" cy="291450"/>
            </a:xfrm>
            <a:custGeom>
              <a:avLst/>
              <a:gdLst/>
              <a:ahLst/>
              <a:cxnLst/>
              <a:rect l="l" t="t" r="r" b="b"/>
              <a:pathLst>
                <a:path w="11658" h="11658" extrusionOk="0">
                  <a:moveTo>
                    <a:pt x="5829" y="662"/>
                  </a:moveTo>
                  <a:cubicBezTo>
                    <a:pt x="8664" y="662"/>
                    <a:pt x="10964" y="2994"/>
                    <a:pt x="10964" y="5829"/>
                  </a:cubicBezTo>
                  <a:cubicBezTo>
                    <a:pt x="10933" y="8665"/>
                    <a:pt x="8664" y="10996"/>
                    <a:pt x="5829" y="10996"/>
                  </a:cubicBezTo>
                  <a:cubicBezTo>
                    <a:pt x="2993" y="10996"/>
                    <a:pt x="662" y="8665"/>
                    <a:pt x="662" y="5829"/>
                  </a:cubicBezTo>
                  <a:cubicBezTo>
                    <a:pt x="662" y="2994"/>
                    <a:pt x="2993" y="662"/>
                    <a:pt x="5829" y="662"/>
                  </a:cubicBezTo>
                  <a:close/>
                  <a:moveTo>
                    <a:pt x="5829" y="1"/>
                  </a:moveTo>
                  <a:cubicBezTo>
                    <a:pt x="2584" y="1"/>
                    <a:pt x="0" y="2647"/>
                    <a:pt x="0" y="5829"/>
                  </a:cubicBezTo>
                  <a:cubicBezTo>
                    <a:pt x="0" y="9043"/>
                    <a:pt x="2615" y="11658"/>
                    <a:pt x="5829" y="11658"/>
                  </a:cubicBezTo>
                  <a:cubicBezTo>
                    <a:pt x="9042" y="11658"/>
                    <a:pt x="11657" y="9011"/>
                    <a:pt x="11657" y="5829"/>
                  </a:cubicBezTo>
                  <a:cubicBezTo>
                    <a:pt x="11657" y="2584"/>
                    <a:pt x="9011" y="1"/>
                    <a:pt x="5829"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10363" name="Google Shape;10363;p112"/>
          <p:cNvGrpSpPr/>
          <p:nvPr/>
        </p:nvGrpSpPr>
        <p:grpSpPr>
          <a:xfrm>
            <a:off x="1138171" y="3883965"/>
            <a:ext cx="472703" cy="477799"/>
            <a:chOff x="-32956300" y="1915900"/>
            <a:chExt cx="292225" cy="295375"/>
          </a:xfrm>
        </p:grpSpPr>
        <p:sp>
          <p:nvSpPr>
            <p:cNvPr id="10364" name="Google Shape;10364;p112"/>
            <p:cNvSpPr/>
            <p:nvPr/>
          </p:nvSpPr>
          <p:spPr>
            <a:xfrm>
              <a:off x="-32956300" y="1915900"/>
              <a:ext cx="292225" cy="295375"/>
            </a:xfrm>
            <a:custGeom>
              <a:avLst/>
              <a:gdLst/>
              <a:ahLst/>
              <a:cxnLst/>
              <a:rect l="l" t="t" r="r" b="b"/>
              <a:pathLst>
                <a:path w="11689" h="11815" extrusionOk="0">
                  <a:moveTo>
                    <a:pt x="10996" y="2079"/>
                  </a:moveTo>
                  <a:lnTo>
                    <a:pt x="10996" y="3466"/>
                  </a:lnTo>
                  <a:lnTo>
                    <a:pt x="10334" y="3466"/>
                  </a:lnTo>
                  <a:lnTo>
                    <a:pt x="10334" y="2079"/>
                  </a:lnTo>
                  <a:close/>
                  <a:moveTo>
                    <a:pt x="10996" y="4127"/>
                  </a:moveTo>
                  <a:lnTo>
                    <a:pt x="10996" y="5513"/>
                  </a:lnTo>
                  <a:lnTo>
                    <a:pt x="10303" y="5513"/>
                  </a:lnTo>
                  <a:lnTo>
                    <a:pt x="10303" y="4127"/>
                  </a:lnTo>
                  <a:close/>
                  <a:moveTo>
                    <a:pt x="10996" y="6175"/>
                  </a:moveTo>
                  <a:lnTo>
                    <a:pt x="10996" y="7561"/>
                  </a:lnTo>
                  <a:lnTo>
                    <a:pt x="10334" y="7561"/>
                  </a:lnTo>
                  <a:lnTo>
                    <a:pt x="10334" y="6175"/>
                  </a:lnTo>
                  <a:close/>
                  <a:moveTo>
                    <a:pt x="2741" y="536"/>
                  </a:moveTo>
                  <a:lnTo>
                    <a:pt x="2741" y="10869"/>
                  </a:lnTo>
                  <a:lnTo>
                    <a:pt x="1733" y="10869"/>
                  </a:lnTo>
                  <a:cubicBezTo>
                    <a:pt x="1679" y="10914"/>
                    <a:pt x="1627" y="10934"/>
                    <a:pt x="1581" y="10934"/>
                  </a:cubicBezTo>
                  <a:cubicBezTo>
                    <a:pt x="1467" y="10934"/>
                    <a:pt x="1387" y="10815"/>
                    <a:pt x="1387" y="10680"/>
                  </a:cubicBezTo>
                  <a:lnTo>
                    <a:pt x="1387" y="10334"/>
                  </a:lnTo>
                  <a:lnTo>
                    <a:pt x="1733" y="10334"/>
                  </a:lnTo>
                  <a:cubicBezTo>
                    <a:pt x="1922" y="10334"/>
                    <a:pt x="2080" y="10145"/>
                    <a:pt x="2080" y="9956"/>
                  </a:cubicBezTo>
                  <a:cubicBezTo>
                    <a:pt x="2080" y="9767"/>
                    <a:pt x="1922" y="9609"/>
                    <a:pt x="1733" y="9609"/>
                  </a:cubicBezTo>
                  <a:lnTo>
                    <a:pt x="1387" y="9609"/>
                  </a:lnTo>
                  <a:lnTo>
                    <a:pt x="1387" y="8223"/>
                  </a:lnTo>
                  <a:lnTo>
                    <a:pt x="1733" y="8223"/>
                  </a:lnTo>
                  <a:cubicBezTo>
                    <a:pt x="1922" y="8223"/>
                    <a:pt x="2080" y="8065"/>
                    <a:pt x="2080" y="7876"/>
                  </a:cubicBezTo>
                  <a:cubicBezTo>
                    <a:pt x="2080" y="7687"/>
                    <a:pt x="1922" y="7530"/>
                    <a:pt x="1733" y="7530"/>
                  </a:cubicBezTo>
                  <a:lnTo>
                    <a:pt x="1387" y="7530"/>
                  </a:lnTo>
                  <a:lnTo>
                    <a:pt x="1387" y="6143"/>
                  </a:lnTo>
                  <a:lnTo>
                    <a:pt x="1733" y="6143"/>
                  </a:lnTo>
                  <a:cubicBezTo>
                    <a:pt x="1922" y="6143"/>
                    <a:pt x="2080" y="5986"/>
                    <a:pt x="2080" y="5797"/>
                  </a:cubicBezTo>
                  <a:cubicBezTo>
                    <a:pt x="2080" y="5576"/>
                    <a:pt x="1922" y="5419"/>
                    <a:pt x="1733" y="5419"/>
                  </a:cubicBezTo>
                  <a:lnTo>
                    <a:pt x="1387" y="5419"/>
                  </a:lnTo>
                  <a:lnTo>
                    <a:pt x="1387" y="4064"/>
                  </a:lnTo>
                  <a:lnTo>
                    <a:pt x="1733" y="4064"/>
                  </a:lnTo>
                  <a:cubicBezTo>
                    <a:pt x="1922" y="4064"/>
                    <a:pt x="2080" y="3907"/>
                    <a:pt x="2080" y="3686"/>
                  </a:cubicBezTo>
                  <a:cubicBezTo>
                    <a:pt x="2080" y="3497"/>
                    <a:pt x="1922" y="3340"/>
                    <a:pt x="1733" y="3340"/>
                  </a:cubicBezTo>
                  <a:lnTo>
                    <a:pt x="1387" y="3340"/>
                  </a:lnTo>
                  <a:lnTo>
                    <a:pt x="1387" y="1953"/>
                  </a:lnTo>
                  <a:lnTo>
                    <a:pt x="1733" y="1953"/>
                  </a:lnTo>
                  <a:cubicBezTo>
                    <a:pt x="1922" y="1953"/>
                    <a:pt x="2080" y="1796"/>
                    <a:pt x="2080" y="1607"/>
                  </a:cubicBezTo>
                  <a:cubicBezTo>
                    <a:pt x="2080" y="1418"/>
                    <a:pt x="1922" y="1260"/>
                    <a:pt x="1733" y="1260"/>
                  </a:cubicBezTo>
                  <a:lnTo>
                    <a:pt x="1387" y="1260"/>
                  </a:lnTo>
                  <a:lnTo>
                    <a:pt x="1387" y="914"/>
                  </a:lnTo>
                  <a:cubicBezTo>
                    <a:pt x="1387" y="693"/>
                    <a:pt x="1544" y="536"/>
                    <a:pt x="1733" y="536"/>
                  </a:cubicBezTo>
                  <a:close/>
                  <a:moveTo>
                    <a:pt x="9263" y="725"/>
                  </a:moveTo>
                  <a:cubicBezTo>
                    <a:pt x="9452" y="725"/>
                    <a:pt x="9609" y="882"/>
                    <a:pt x="9609" y="1071"/>
                  </a:cubicBezTo>
                  <a:lnTo>
                    <a:pt x="9609" y="10680"/>
                  </a:lnTo>
                  <a:cubicBezTo>
                    <a:pt x="9609" y="10869"/>
                    <a:pt x="9452" y="11027"/>
                    <a:pt x="9263" y="11027"/>
                  </a:cubicBezTo>
                  <a:lnTo>
                    <a:pt x="3371" y="11027"/>
                  </a:lnTo>
                  <a:lnTo>
                    <a:pt x="3371" y="725"/>
                  </a:lnTo>
                  <a:close/>
                  <a:moveTo>
                    <a:pt x="1733" y="0"/>
                  </a:moveTo>
                  <a:cubicBezTo>
                    <a:pt x="1166" y="0"/>
                    <a:pt x="694" y="473"/>
                    <a:pt x="694" y="1040"/>
                  </a:cubicBezTo>
                  <a:lnTo>
                    <a:pt x="694" y="1386"/>
                  </a:lnTo>
                  <a:lnTo>
                    <a:pt x="347" y="1386"/>
                  </a:lnTo>
                  <a:cubicBezTo>
                    <a:pt x="158" y="1386"/>
                    <a:pt x="0" y="1544"/>
                    <a:pt x="0" y="1733"/>
                  </a:cubicBezTo>
                  <a:cubicBezTo>
                    <a:pt x="0" y="1922"/>
                    <a:pt x="158" y="2079"/>
                    <a:pt x="347" y="2079"/>
                  </a:cubicBezTo>
                  <a:lnTo>
                    <a:pt x="694" y="2079"/>
                  </a:lnTo>
                  <a:lnTo>
                    <a:pt x="694" y="3466"/>
                  </a:lnTo>
                  <a:lnTo>
                    <a:pt x="347" y="3466"/>
                  </a:lnTo>
                  <a:cubicBezTo>
                    <a:pt x="158" y="3466"/>
                    <a:pt x="0" y="3623"/>
                    <a:pt x="0" y="3812"/>
                  </a:cubicBezTo>
                  <a:cubicBezTo>
                    <a:pt x="0" y="4033"/>
                    <a:pt x="158" y="4190"/>
                    <a:pt x="347" y="4190"/>
                  </a:cubicBezTo>
                  <a:lnTo>
                    <a:pt x="694" y="4190"/>
                  </a:lnTo>
                  <a:lnTo>
                    <a:pt x="694" y="5545"/>
                  </a:lnTo>
                  <a:lnTo>
                    <a:pt x="347" y="5545"/>
                  </a:lnTo>
                  <a:cubicBezTo>
                    <a:pt x="158" y="5545"/>
                    <a:pt x="0" y="5702"/>
                    <a:pt x="0" y="5923"/>
                  </a:cubicBezTo>
                  <a:cubicBezTo>
                    <a:pt x="0" y="6112"/>
                    <a:pt x="158" y="6269"/>
                    <a:pt x="347" y="6269"/>
                  </a:cubicBezTo>
                  <a:lnTo>
                    <a:pt x="694" y="6269"/>
                  </a:lnTo>
                  <a:lnTo>
                    <a:pt x="694" y="7656"/>
                  </a:lnTo>
                  <a:lnTo>
                    <a:pt x="347" y="7656"/>
                  </a:lnTo>
                  <a:cubicBezTo>
                    <a:pt x="158" y="7656"/>
                    <a:pt x="0" y="7813"/>
                    <a:pt x="0" y="8002"/>
                  </a:cubicBezTo>
                  <a:cubicBezTo>
                    <a:pt x="0" y="8191"/>
                    <a:pt x="158" y="8349"/>
                    <a:pt x="347" y="8349"/>
                  </a:cubicBezTo>
                  <a:lnTo>
                    <a:pt x="694" y="8349"/>
                  </a:lnTo>
                  <a:lnTo>
                    <a:pt x="694" y="9735"/>
                  </a:lnTo>
                  <a:lnTo>
                    <a:pt x="347" y="9735"/>
                  </a:lnTo>
                  <a:cubicBezTo>
                    <a:pt x="158" y="9735"/>
                    <a:pt x="0" y="9893"/>
                    <a:pt x="0" y="10082"/>
                  </a:cubicBezTo>
                  <a:cubicBezTo>
                    <a:pt x="0" y="10271"/>
                    <a:pt x="158" y="10428"/>
                    <a:pt x="347" y="10428"/>
                  </a:cubicBezTo>
                  <a:lnTo>
                    <a:pt x="694" y="10428"/>
                  </a:lnTo>
                  <a:lnTo>
                    <a:pt x="694" y="10806"/>
                  </a:lnTo>
                  <a:cubicBezTo>
                    <a:pt x="694" y="11342"/>
                    <a:pt x="1166" y="11814"/>
                    <a:pt x="1733" y="11814"/>
                  </a:cubicBezTo>
                  <a:lnTo>
                    <a:pt x="9294" y="11814"/>
                  </a:lnTo>
                  <a:cubicBezTo>
                    <a:pt x="9830" y="11814"/>
                    <a:pt x="10303" y="11342"/>
                    <a:pt x="10303" y="10806"/>
                  </a:cubicBezTo>
                  <a:lnTo>
                    <a:pt x="10303" y="8380"/>
                  </a:lnTo>
                  <a:lnTo>
                    <a:pt x="11342" y="8380"/>
                  </a:lnTo>
                  <a:cubicBezTo>
                    <a:pt x="11531" y="8380"/>
                    <a:pt x="11689" y="8223"/>
                    <a:pt x="11689" y="8034"/>
                  </a:cubicBezTo>
                  <a:lnTo>
                    <a:pt x="11689" y="1859"/>
                  </a:lnTo>
                  <a:cubicBezTo>
                    <a:pt x="11689" y="1544"/>
                    <a:pt x="11531" y="1386"/>
                    <a:pt x="11342" y="1386"/>
                  </a:cubicBezTo>
                  <a:lnTo>
                    <a:pt x="10303" y="1386"/>
                  </a:lnTo>
                  <a:lnTo>
                    <a:pt x="10303" y="1040"/>
                  </a:lnTo>
                  <a:cubicBezTo>
                    <a:pt x="10303" y="473"/>
                    <a:pt x="9830" y="0"/>
                    <a:pt x="9294"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365" name="Google Shape;10365;p112"/>
            <p:cNvSpPr/>
            <p:nvPr/>
          </p:nvSpPr>
          <p:spPr>
            <a:xfrm>
              <a:off x="-32836575" y="1967875"/>
              <a:ext cx="85875" cy="188250"/>
            </a:xfrm>
            <a:custGeom>
              <a:avLst/>
              <a:gdLst/>
              <a:ahLst/>
              <a:cxnLst/>
              <a:rect l="l" t="t" r="r" b="b"/>
              <a:pathLst>
                <a:path w="3435" h="7530" extrusionOk="0">
                  <a:moveTo>
                    <a:pt x="2773" y="693"/>
                  </a:moveTo>
                  <a:lnTo>
                    <a:pt x="2773" y="2048"/>
                  </a:lnTo>
                  <a:lnTo>
                    <a:pt x="1733" y="2048"/>
                  </a:lnTo>
                  <a:cubicBezTo>
                    <a:pt x="1544" y="2048"/>
                    <a:pt x="1386" y="2206"/>
                    <a:pt x="1386" y="2426"/>
                  </a:cubicBezTo>
                  <a:lnTo>
                    <a:pt x="1386" y="5136"/>
                  </a:lnTo>
                  <a:cubicBezTo>
                    <a:pt x="1386" y="5325"/>
                    <a:pt x="1544" y="5482"/>
                    <a:pt x="1733" y="5482"/>
                  </a:cubicBezTo>
                  <a:lnTo>
                    <a:pt x="2773" y="5482"/>
                  </a:lnTo>
                  <a:lnTo>
                    <a:pt x="2773" y="6868"/>
                  </a:lnTo>
                  <a:lnTo>
                    <a:pt x="1733" y="6868"/>
                  </a:lnTo>
                  <a:cubicBezTo>
                    <a:pt x="1197" y="6868"/>
                    <a:pt x="725" y="6396"/>
                    <a:pt x="725" y="5829"/>
                  </a:cubicBezTo>
                  <a:lnTo>
                    <a:pt x="725" y="1733"/>
                  </a:lnTo>
                  <a:cubicBezTo>
                    <a:pt x="725" y="1198"/>
                    <a:pt x="1197" y="693"/>
                    <a:pt x="1733" y="693"/>
                  </a:cubicBezTo>
                  <a:close/>
                  <a:moveTo>
                    <a:pt x="1701" y="0"/>
                  </a:moveTo>
                  <a:cubicBezTo>
                    <a:pt x="756" y="0"/>
                    <a:pt x="0" y="788"/>
                    <a:pt x="0" y="1733"/>
                  </a:cubicBezTo>
                  <a:lnTo>
                    <a:pt x="0" y="5829"/>
                  </a:lnTo>
                  <a:cubicBezTo>
                    <a:pt x="0" y="6774"/>
                    <a:pt x="756" y="7530"/>
                    <a:pt x="1701" y="7530"/>
                  </a:cubicBezTo>
                  <a:lnTo>
                    <a:pt x="3088" y="7530"/>
                  </a:lnTo>
                  <a:cubicBezTo>
                    <a:pt x="3277" y="7530"/>
                    <a:pt x="3434" y="7372"/>
                    <a:pt x="3434" y="7183"/>
                  </a:cubicBezTo>
                  <a:lnTo>
                    <a:pt x="3434" y="5136"/>
                  </a:lnTo>
                  <a:cubicBezTo>
                    <a:pt x="3434" y="4947"/>
                    <a:pt x="3277" y="4789"/>
                    <a:pt x="3088" y="4789"/>
                  </a:cubicBezTo>
                  <a:lnTo>
                    <a:pt x="2048" y="4789"/>
                  </a:lnTo>
                  <a:lnTo>
                    <a:pt x="2048" y="2741"/>
                  </a:lnTo>
                  <a:lnTo>
                    <a:pt x="3088" y="2741"/>
                  </a:lnTo>
                  <a:cubicBezTo>
                    <a:pt x="3277" y="2741"/>
                    <a:pt x="3434" y="2552"/>
                    <a:pt x="3434" y="2363"/>
                  </a:cubicBezTo>
                  <a:lnTo>
                    <a:pt x="3434" y="284"/>
                  </a:lnTo>
                  <a:cubicBezTo>
                    <a:pt x="3434" y="158"/>
                    <a:pt x="3277" y="0"/>
                    <a:pt x="3088"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sp>
        <p:nvSpPr>
          <p:cNvPr id="10366" name="Google Shape;10366;p112"/>
          <p:cNvSpPr/>
          <p:nvPr/>
        </p:nvSpPr>
        <p:spPr>
          <a:xfrm>
            <a:off x="1134198" y="4511710"/>
            <a:ext cx="472703" cy="471409"/>
          </a:xfrm>
          <a:custGeom>
            <a:avLst/>
            <a:gdLst/>
            <a:ahLst/>
            <a:cxnLst/>
            <a:rect l="l" t="t" r="r" b="b"/>
            <a:pathLst>
              <a:path w="11689" h="11657" extrusionOk="0">
                <a:moveTo>
                  <a:pt x="5829" y="725"/>
                </a:moveTo>
                <a:cubicBezTo>
                  <a:pt x="6112" y="725"/>
                  <a:pt x="6333" y="882"/>
                  <a:pt x="6427" y="1134"/>
                </a:cubicBezTo>
                <a:lnTo>
                  <a:pt x="6774" y="2080"/>
                </a:lnTo>
                <a:lnTo>
                  <a:pt x="4915" y="2080"/>
                </a:lnTo>
                <a:lnTo>
                  <a:pt x="5262" y="1134"/>
                </a:lnTo>
                <a:cubicBezTo>
                  <a:pt x="5356" y="882"/>
                  <a:pt x="5577" y="725"/>
                  <a:pt x="5829" y="725"/>
                </a:cubicBezTo>
                <a:close/>
                <a:moveTo>
                  <a:pt x="7058" y="2773"/>
                </a:moveTo>
                <a:lnTo>
                  <a:pt x="7782" y="4852"/>
                </a:lnTo>
                <a:lnTo>
                  <a:pt x="3970" y="4852"/>
                </a:lnTo>
                <a:lnTo>
                  <a:pt x="4695" y="2773"/>
                </a:lnTo>
                <a:close/>
                <a:moveTo>
                  <a:pt x="8003" y="5514"/>
                </a:moveTo>
                <a:lnTo>
                  <a:pt x="8759" y="7624"/>
                </a:lnTo>
                <a:lnTo>
                  <a:pt x="2962" y="7624"/>
                </a:lnTo>
                <a:lnTo>
                  <a:pt x="3687" y="5514"/>
                </a:lnTo>
                <a:close/>
                <a:moveTo>
                  <a:pt x="8979" y="8286"/>
                </a:moveTo>
                <a:lnTo>
                  <a:pt x="9452" y="9672"/>
                </a:lnTo>
                <a:lnTo>
                  <a:pt x="2206" y="9672"/>
                </a:lnTo>
                <a:lnTo>
                  <a:pt x="2710" y="8286"/>
                </a:lnTo>
                <a:close/>
                <a:moveTo>
                  <a:pt x="10649" y="10334"/>
                </a:moveTo>
                <a:cubicBezTo>
                  <a:pt x="10838" y="10334"/>
                  <a:pt x="10996" y="10491"/>
                  <a:pt x="10996" y="10680"/>
                </a:cubicBezTo>
                <a:lnTo>
                  <a:pt x="10996" y="10995"/>
                </a:lnTo>
                <a:lnTo>
                  <a:pt x="662" y="10995"/>
                </a:lnTo>
                <a:lnTo>
                  <a:pt x="662" y="10680"/>
                </a:lnTo>
                <a:cubicBezTo>
                  <a:pt x="662" y="10491"/>
                  <a:pt x="820" y="10334"/>
                  <a:pt x="1040" y="10334"/>
                </a:cubicBezTo>
                <a:close/>
                <a:moveTo>
                  <a:pt x="5829" y="0"/>
                </a:moveTo>
                <a:cubicBezTo>
                  <a:pt x="5262" y="0"/>
                  <a:pt x="4758" y="378"/>
                  <a:pt x="4600" y="882"/>
                </a:cubicBezTo>
                <a:cubicBezTo>
                  <a:pt x="4474" y="1260"/>
                  <a:pt x="1670" y="9231"/>
                  <a:pt x="1481" y="9609"/>
                </a:cubicBezTo>
                <a:lnTo>
                  <a:pt x="1040" y="9609"/>
                </a:lnTo>
                <a:cubicBezTo>
                  <a:pt x="473" y="9609"/>
                  <a:pt x="0" y="10082"/>
                  <a:pt x="0" y="10649"/>
                </a:cubicBezTo>
                <a:lnTo>
                  <a:pt x="0" y="11310"/>
                </a:lnTo>
                <a:cubicBezTo>
                  <a:pt x="0" y="11499"/>
                  <a:pt x="158" y="11657"/>
                  <a:pt x="347" y="11657"/>
                </a:cubicBezTo>
                <a:lnTo>
                  <a:pt x="11342" y="11657"/>
                </a:lnTo>
                <a:cubicBezTo>
                  <a:pt x="11531" y="11657"/>
                  <a:pt x="11689" y="11499"/>
                  <a:pt x="11689" y="11310"/>
                </a:cubicBezTo>
                <a:lnTo>
                  <a:pt x="11689" y="10680"/>
                </a:lnTo>
                <a:cubicBezTo>
                  <a:pt x="11689" y="10082"/>
                  <a:pt x="11216" y="9609"/>
                  <a:pt x="10618" y="9609"/>
                </a:cubicBezTo>
                <a:lnTo>
                  <a:pt x="10145" y="9609"/>
                </a:lnTo>
                <a:cubicBezTo>
                  <a:pt x="9988" y="9231"/>
                  <a:pt x="7184" y="1229"/>
                  <a:pt x="7058" y="882"/>
                </a:cubicBezTo>
                <a:cubicBezTo>
                  <a:pt x="6837" y="378"/>
                  <a:pt x="6396" y="0"/>
                  <a:pt x="5829"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367" name="Google Shape;10367;p112"/>
          <p:cNvSpPr/>
          <p:nvPr/>
        </p:nvSpPr>
        <p:spPr>
          <a:xfrm>
            <a:off x="1133550" y="5124905"/>
            <a:ext cx="473997" cy="472744"/>
          </a:xfrm>
          <a:custGeom>
            <a:avLst/>
            <a:gdLst/>
            <a:ahLst/>
            <a:cxnLst/>
            <a:rect l="l" t="t" r="r" b="b"/>
            <a:pathLst>
              <a:path w="11721" h="11690" extrusionOk="0">
                <a:moveTo>
                  <a:pt x="8980" y="662"/>
                </a:moveTo>
                <a:lnTo>
                  <a:pt x="8980" y="2710"/>
                </a:lnTo>
                <a:lnTo>
                  <a:pt x="7594" y="2710"/>
                </a:lnTo>
                <a:lnTo>
                  <a:pt x="7594" y="1671"/>
                </a:lnTo>
                <a:cubicBezTo>
                  <a:pt x="7594" y="1135"/>
                  <a:pt x="8066" y="662"/>
                  <a:pt x="8602" y="662"/>
                </a:cubicBezTo>
                <a:close/>
                <a:moveTo>
                  <a:pt x="9988" y="662"/>
                </a:moveTo>
                <a:cubicBezTo>
                  <a:pt x="10177" y="662"/>
                  <a:pt x="10366" y="820"/>
                  <a:pt x="10366" y="1009"/>
                </a:cubicBezTo>
                <a:lnTo>
                  <a:pt x="10366" y="2395"/>
                </a:lnTo>
                <a:cubicBezTo>
                  <a:pt x="10366" y="2584"/>
                  <a:pt x="10177" y="2742"/>
                  <a:pt x="9988" y="2742"/>
                </a:cubicBezTo>
                <a:lnTo>
                  <a:pt x="9641" y="2742"/>
                </a:lnTo>
                <a:lnTo>
                  <a:pt x="9641" y="662"/>
                </a:lnTo>
                <a:close/>
                <a:moveTo>
                  <a:pt x="10650" y="4758"/>
                </a:moveTo>
                <a:cubicBezTo>
                  <a:pt x="10870" y="4758"/>
                  <a:pt x="11028" y="4916"/>
                  <a:pt x="11028" y="5105"/>
                </a:cubicBezTo>
                <a:cubicBezTo>
                  <a:pt x="11028" y="5294"/>
                  <a:pt x="10870" y="5451"/>
                  <a:pt x="10650" y="5451"/>
                </a:cubicBezTo>
                <a:lnTo>
                  <a:pt x="9295" y="5451"/>
                </a:lnTo>
                <a:cubicBezTo>
                  <a:pt x="9074" y="5451"/>
                  <a:pt x="8917" y="5294"/>
                  <a:pt x="8917" y="5105"/>
                </a:cubicBezTo>
                <a:cubicBezTo>
                  <a:pt x="8917" y="4916"/>
                  <a:pt x="9074" y="4758"/>
                  <a:pt x="9295" y="4758"/>
                </a:cubicBezTo>
                <a:close/>
                <a:moveTo>
                  <a:pt x="10650" y="6144"/>
                </a:moveTo>
                <a:cubicBezTo>
                  <a:pt x="10870" y="6144"/>
                  <a:pt x="11028" y="6302"/>
                  <a:pt x="11028" y="6491"/>
                </a:cubicBezTo>
                <a:cubicBezTo>
                  <a:pt x="11028" y="6680"/>
                  <a:pt x="10870" y="6837"/>
                  <a:pt x="10650" y="6837"/>
                </a:cubicBezTo>
                <a:lnTo>
                  <a:pt x="9295" y="6837"/>
                </a:lnTo>
                <a:cubicBezTo>
                  <a:pt x="9074" y="6837"/>
                  <a:pt x="8917" y="6680"/>
                  <a:pt x="8917" y="6491"/>
                </a:cubicBezTo>
                <a:cubicBezTo>
                  <a:pt x="8917" y="6302"/>
                  <a:pt x="9074" y="6144"/>
                  <a:pt x="9295" y="6144"/>
                </a:cubicBezTo>
                <a:close/>
                <a:moveTo>
                  <a:pt x="3088" y="3372"/>
                </a:moveTo>
                <a:cubicBezTo>
                  <a:pt x="3309" y="3372"/>
                  <a:pt x="3467" y="3529"/>
                  <a:pt x="3467" y="3718"/>
                </a:cubicBezTo>
                <a:lnTo>
                  <a:pt x="3467" y="7814"/>
                </a:lnTo>
                <a:cubicBezTo>
                  <a:pt x="3467" y="8035"/>
                  <a:pt x="3309" y="8192"/>
                  <a:pt x="3088" y="8192"/>
                </a:cubicBezTo>
                <a:lnTo>
                  <a:pt x="2742" y="8192"/>
                </a:lnTo>
                <a:lnTo>
                  <a:pt x="2742" y="3372"/>
                </a:lnTo>
                <a:close/>
                <a:moveTo>
                  <a:pt x="9988" y="7499"/>
                </a:moveTo>
                <a:cubicBezTo>
                  <a:pt x="10177" y="7499"/>
                  <a:pt x="10335" y="7657"/>
                  <a:pt x="10335" y="7877"/>
                </a:cubicBezTo>
                <a:cubicBezTo>
                  <a:pt x="10335" y="8066"/>
                  <a:pt x="10177" y="8224"/>
                  <a:pt x="9988" y="8224"/>
                </a:cubicBezTo>
                <a:lnTo>
                  <a:pt x="9326" y="8224"/>
                </a:lnTo>
                <a:cubicBezTo>
                  <a:pt x="9137" y="8224"/>
                  <a:pt x="8980" y="8066"/>
                  <a:pt x="8980" y="7877"/>
                </a:cubicBezTo>
                <a:cubicBezTo>
                  <a:pt x="8980" y="7657"/>
                  <a:pt x="9137" y="7499"/>
                  <a:pt x="9326" y="7499"/>
                </a:cubicBezTo>
                <a:close/>
                <a:moveTo>
                  <a:pt x="9988" y="3403"/>
                </a:moveTo>
                <a:cubicBezTo>
                  <a:pt x="10177" y="3403"/>
                  <a:pt x="10335" y="3561"/>
                  <a:pt x="10335" y="3781"/>
                </a:cubicBezTo>
                <a:cubicBezTo>
                  <a:pt x="10335" y="3971"/>
                  <a:pt x="10177" y="4128"/>
                  <a:pt x="9988" y="4128"/>
                </a:cubicBezTo>
                <a:lnTo>
                  <a:pt x="7279" y="4128"/>
                </a:lnTo>
                <a:cubicBezTo>
                  <a:pt x="7090" y="4128"/>
                  <a:pt x="6932" y="4286"/>
                  <a:pt x="6932" y="4475"/>
                </a:cubicBezTo>
                <a:cubicBezTo>
                  <a:pt x="6932" y="5042"/>
                  <a:pt x="6459" y="5514"/>
                  <a:pt x="5892" y="5514"/>
                </a:cubicBezTo>
                <a:cubicBezTo>
                  <a:pt x="5703" y="5514"/>
                  <a:pt x="5546" y="5672"/>
                  <a:pt x="5546" y="5861"/>
                </a:cubicBezTo>
                <a:cubicBezTo>
                  <a:pt x="5546" y="6050"/>
                  <a:pt x="5703" y="6207"/>
                  <a:pt x="5892" y="6207"/>
                </a:cubicBezTo>
                <a:cubicBezTo>
                  <a:pt x="6302" y="6207"/>
                  <a:pt x="6649" y="6081"/>
                  <a:pt x="6932" y="5861"/>
                </a:cubicBezTo>
                <a:lnTo>
                  <a:pt x="6932" y="8255"/>
                </a:lnTo>
                <a:lnTo>
                  <a:pt x="5546" y="8255"/>
                </a:lnTo>
                <a:lnTo>
                  <a:pt x="5546" y="8192"/>
                </a:lnTo>
                <a:cubicBezTo>
                  <a:pt x="5388" y="8192"/>
                  <a:pt x="5231" y="8129"/>
                  <a:pt x="5073" y="8066"/>
                </a:cubicBezTo>
                <a:lnTo>
                  <a:pt x="4128" y="7625"/>
                </a:lnTo>
                <a:lnTo>
                  <a:pt x="4128" y="4097"/>
                </a:lnTo>
                <a:lnTo>
                  <a:pt x="4727" y="4097"/>
                </a:lnTo>
                <a:cubicBezTo>
                  <a:pt x="5105" y="4097"/>
                  <a:pt x="5514" y="3907"/>
                  <a:pt x="5766" y="3655"/>
                </a:cubicBezTo>
                <a:cubicBezTo>
                  <a:pt x="5924" y="3498"/>
                  <a:pt x="6144" y="3403"/>
                  <a:pt x="6365" y="3403"/>
                </a:cubicBezTo>
                <a:close/>
                <a:moveTo>
                  <a:pt x="1734" y="662"/>
                </a:moveTo>
                <a:cubicBezTo>
                  <a:pt x="1923" y="662"/>
                  <a:pt x="2080" y="820"/>
                  <a:pt x="2080" y="1009"/>
                </a:cubicBezTo>
                <a:lnTo>
                  <a:pt x="2080" y="9200"/>
                </a:lnTo>
                <a:cubicBezTo>
                  <a:pt x="2080" y="9389"/>
                  <a:pt x="1923" y="9547"/>
                  <a:pt x="1734" y="9547"/>
                </a:cubicBezTo>
                <a:cubicBezTo>
                  <a:pt x="1513" y="9547"/>
                  <a:pt x="1356" y="9389"/>
                  <a:pt x="1356" y="9200"/>
                </a:cubicBezTo>
                <a:lnTo>
                  <a:pt x="1356" y="1009"/>
                </a:lnTo>
                <a:cubicBezTo>
                  <a:pt x="1356" y="820"/>
                  <a:pt x="1513" y="662"/>
                  <a:pt x="1734" y="662"/>
                </a:cubicBezTo>
                <a:close/>
                <a:moveTo>
                  <a:pt x="8350" y="4790"/>
                </a:moveTo>
                <a:cubicBezTo>
                  <a:pt x="8287" y="4916"/>
                  <a:pt x="8287" y="5042"/>
                  <a:pt x="8287" y="5136"/>
                </a:cubicBezTo>
                <a:cubicBezTo>
                  <a:pt x="8287" y="5420"/>
                  <a:pt x="8413" y="5672"/>
                  <a:pt x="8570" y="5829"/>
                </a:cubicBezTo>
                <a:cubicBezTo>
                  <a:pt x="8413" y="6018"/>
                  <a:pt x="8287" y="6239"/>
                  <a:pt x="8287" y="6491"/>
                </a:cubicBezTo>
                <a:cubicBezTo>
                  <a:pt x="8287" y="6743"/>
                  <a:pt x="8413" y="6995"/>
                  <a:pt x="8570" y="7152"/>
                </a:cubicBezTo>
                <a:cubicBezTo>
                  <a:pt x="8413" y="7342"/>
                  <a:pt x="8287" y="7594"/>
                  <a:pt x="8287" y="7814"/>
                </a:cubicBezTo>
                <a:cubicBezTo>
                  <a:pt x="8287" y="8255"/>
                  <a:pt x="8570" y="8633"/>
                  <a:pt x="8980" y="8791"/>
                </a:cubicBezTo>
                <a:lnTo>
                  <a:pt x="8980" y="10965"/>
                </a:lnTo>
                <a:lnTo>
                  <a:pt x="8602" y="10965"/>
                </a:lnTo>
                <a:cubicBezTo>
                  <a:pt x="8066" y="10965"/>
                  <a:pt x="7594" y="10460"/>
                  <a:pt x="7594" y="9925"/>
                </a:cubicBezTo>
                <a:lnTo>
                  <a:pt x="7594" y="4790"/>
                </a:lnTo>
                <a:close/>
                <a:moveTo>
                  <a:pt x="9988" y="8885"/>
                </a:moveTo>
                <a:cubicBezTo>
                  <a:pt x="10177" y="8885"/>
                  <a:pt x="10335" y="9043"/>
                  <a:pt x="10335" y="9232"/>
                </a:cubicBezTo>
                <a:lnTo>
                  <a:pt x="10335" y="10618"/>
                </a:lnTo>
                <a:cubicBezTo>
                  <a:pt x="10335" y="10807"/>
                  <a:pt x="10177" y="10965"/>
                  <a:pt x="9988" y="10965"/>
                </a:cubicBezTo>
                <a:lnTo>
                  <a:pt x="9641" y="10965"/>
                </a:lnTo>
                <a:lnTo>
                  <a:pt x="9641" y="8885"/>
                </a:lnTo>
                <a:close/>
                <a:moveTo>
                  <a:pt x="1734" y="1"/>
                </a:moveTo>
                <a:cubicBezTo>
                  <a:pt x="1167" y="1"/>
                  <a:pt x="694" y="473"/>
                  <a:pt x="694" y="1009"/>
                </a:cubicBezTo>
                <a:lnTo>
                  <a:pt x="694" y="9200"/>
                </a:lnTo>
                <a:cubicBezTo>
                  <a:pt x="694" y="9641"/>
                  <a:pt x="978" y="10019"/>
                  <a:pt x="1356" y="10177"/>
                </a:cubicBezTo>
                <a:lnTo>
                  <a:pt x="1356" y="10965"/>
                </a:lnTo>
                <a:lnTo>
                  <a:pt x="348" y="10965"/>
                </a:lnTo>
                <a:cubicBezTo>
                  <a:pt x="158" y="10965"/>
                  <a:pt x="1" y="11122"/>
                  <a:pt x="1" y="11343"/>
                </a:cubicBezTo>
                <a:cubicBezTo>
                  <a:pt x="1" y="11532"/>
                  <a:pt x="158" y="11689"/>
                  <a:pt x="348" y="11689"/>
                </a:cubicBezTo>
                <a:lnTo>
                  <a:pt x="3057" y="11689"/>
                </a:lnTo>
                <a:cubicBezTo>
                  <a:pt x="3246" y="11689"/>
                  <a:pt x="3403" y="11532"/>
                  <a:pt x="3403" y="11343"/>
                </a:cubicBezTo>
                <a:cubicBezTo>
                  <a:pt x="3403" y="11122"/>
                  <a:pt x="3246" y="10965"/>
                  <a:pt x="3057" y="10965"/>
                </a:cubicBezTo>
                <a:lnTo>
                  <a:pt x="2049" y="10965"/>
                </a:lnTo>
                <a:lnTo>
                  <a:pt x="2049" y="10177"/>
                </a:lnTo>
                <a:cubicBezTo>
                  <a:pt x="2427" y="10019"/>
                  <a:pt x="2710" y="9673"/>
                  <a:pt x="2710" y="9200"/>
                </a:cubicBezTo>
                <a:lnTo>
                  <a:pt x="2710" y="8885"/>
                </a:lnTo>
                <a:lnTo>
                  <a:pt x="3057" y="8885"/>
                </a:lnTo>
                <a:cubicBezTo>
                  <a:pt x="3467" y="8885"/>
                  <a:pt x="3813" y="8665"/>
                  <a:pt x="3971" y="8350"/>
                </a:cubicBezTo>
                <a:lnTo>
                  <a:pt x="4727" y="8696"/>
                </a:lnTo>
                <a:cubicBezTo>
                  <a:pt x="4947" y="8822"/>
                  <a:pt x="5231" y="8885"/>
                  <a:pt x="5451" y="8885"/>
                </a:cubicBezTo>
                <a:lnTo>
                  <a:pt x="6838" y="8885"/>
                </a:lnTo>
                <a:lnTo>
                  <a:pt x="6838" y="9925"/>
                </a:lnTo>
                <a:cubicBezTo>
                  <a:pt x="6838" y="10870"/>
                  <a:pt x="7594" y="11689"/>
                  <a:pt x="8539" y="11689"/>
                </a:cubicBezTo>
                <a:lnTo>
                  <a:pt x="9925" y="11689"/>
                </a:lnTo>
                <a:cubicBezTo>
                  <a:pt x="10461" y="11689"/>
                  <a:pt x="10933" y="11217"/>
                  <a:pt x="10933" y="10650"/>
                </a:cubicBezTo>
                <a:lnTo>
                  <a:pt x="10933" y="9232"/>
                </a:lnTo>
                <a:cubicBezTo>
                  <a:pt x="10933" y="8980"/>
                  <a:pt x="10807" y="8728"/>
                  <a:pt x="10681" y="8570"/>
                </a:cubicBezTo>
                <a:cubicBezTo>
                  <a:pt x="10839" y="8381"/>
                  <a:pt x="10933" y="8129"/>
                  <a:pt x="10933" y="7909"/>
                </a:cubicBezTo>
                <a:cubicBezTo>
                  <a:pt x="10933" y="7783"/>
                  <a:pt x="10902" y="7625"/>
                  <a:pt x="10870" y="7499"/>
                </a:cubicBezTo>
                <a:cubicBezTo>
                  <a:pt x="11311" y="7405"/>
                  <a:pt x="11626" y="6995"/>
                  <a:pt x="11626" y="6522"/>
                </a:cubicBezTo>
                <a:cubicBezTo>
                  <a:pt x="11626" y="6239"/>
                  <a:pt x="11500" y="6018"/>
                  <a:pt x="11343" y="5861"/>
                </a:cubicBezTo>
                <a:cubicBezTo>
                  <a:pt x="11500" y="5672"/>
                  <a:pt x="11626" y="5420"/>
                  <a:pt x="11626" y="5199"/>
                </a:cubicBezTo>
                <a:cubicBezTo>
                  <a:pt x="11721" y="4632"/>
                  <a:pt x="11374" y="4254"/>
                  <a:pt x="10933" y="4128"/>
                </a:cubicBezTo>
                <a:cubicBezTo>
                  <a:pt x="10965" y="4002"/>
                  <a:pt x="11028" y="3876"/>
                  <a:pt x="11028" y="3718"/>
                </a:cubicBezTo>
                <a:cubicBezTo>
                  <a:pt x="11028" y="3466"/>
                  <a:pt x="10902" y="3214"/>
                  <a:pt x="10744" y="3057"/>
                </a:cubicBezTo>
                <a:cubicBezTo>
                  <a:pt x="10902" y="2868"/>
                  <a:pt x="11028" y="2616"/>
                  <a:pt x="11028" y="2395"/>
                </a:cubicBezTo>
                <a:lnTo>
                  <a:pt x="11028" y="1009"/>
                </a:lnTo>
                <a:cubicBezTo>
                  <a:pt x="11028" y="473"/>
                  <a:pt x="10555" y="1"/>
                  <a:pt x="9988" y="1"/>
                </a:cubicBezTo>
                <a:lnTo>
                  <a:pt x="8602" y="1"/>
                </a:lnTo>
                <a:cubicBezTo>
                  <a:pt x="7657" y="1"/>
                  <a:pt x="6932" y="726"/>
                  <a:pt x="6932" y="1671"/>
                </a:cubicBezTo>
                <a:lnTo>
                  <a:pt x="6932" y="2710"/>
                </a:lnTo>
                <a:lnTo>
                  <a:pt x="6365" y="2710"/>
                </a:lnTo>
                <a:cubicBezTo>
                  <a:pt x="5987" y="2710"/>
                  <a:pt x="5577" y="2868"/>
                  <a:pt x="5294" y="3151"/>
                </a:cubicBezTo>
                <a:cubicBezTo>
                  <a:pt x="5136" y="3309"/>
                  <a:pt x="4947" y="3372"/>
                  <a:pt x="4727" y="3372"/>
                </a:cubicBezTo>
                <a:lnTo>
                  <a:pt x="4097" y="3372"/>
                </a:lnTo>
                <a:cubicBezTo>
                  <a:pt x="3939" y="2994"/>
                  <a:pt x="3561" y="2710"/>
                  <a:pt x="3088" y="2710"/>
                </a:cubicBezTo>
                <a:lnTo>
                  <a:pt x="2742" y="2710"/>
                </a:lnTo>
                <a:lnTo>
                  <a:pt x="2742" y="1009"/>
                </a:lnTo>
                <a:cubicBezTo>
                  <a:pt x="2742" y="473"/>
                  <a:pt x="2269" y="1"/>
                  <a:pt x="1734"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nvGrpSpPr>
          <p:cNvPr id="10368" name="Google Shape;10368;p112"/>
          <p:cNvGrpSpPr/>
          <p:nvPr/>
        </p:nvGrpSpPr>
        <p:grpSpPr>
          <a:xfrm>
            <a:off x="4108135" y="3887157"/>
            <a:ext cx="475251" cy="471409"/>
            <a:chOff x="-31166825" y="1939525"/>
            <a:chExt cx="293800" cy="291425"/>
          </a:xfrm>
        </p:grpSpPr>
        <p:sp>
          <p:nvSpPr>
            <p:cNvPr id="10369" name="Google Shape;10369;p112"/>
            <p:cNvSpPr/>
            <p:nvPr/>
          </p:nvSpPr>
          <p:spPr>
            <a:xfrm>
              <a:off x="-31166825" y="1939525"/>
              <a:ext cx="224500" cy="291425"/>
            </a:xfrm>
            <a:custGeom>
              <a:avLst/>
              <a:gdLst/>
              <a:ahLst/>
              <a:cxnLst/>
              <a:rect l="l" t="t" r="r" b="b"/>
              <a:pathLst>
                <a:path w="8980" h="11657" extrusionOk="0">
                  <a:moveTo>
                    <a:pt x="5892" y="662"/>
                  </a:moveTo>
                  <a:cubicBezTo>
                    <a:pt x="6081" y="662"/>
                    <a:pt x="6239" y="819"/>
                    <a:pt x="6239" y="1040"/>
                  </a:cubicBezTo>
                  <a:lnTo>
                    <a:pt x="6239" y="1386"/>
                  </a:lnTo>
                  <a:lnTo>
                    <a:pt x="2805" y="1386"/>
                  </a:lnTo>
                  <a:lnTo>
                    <a:pt x="2805" y="1040"/>
                  </a:lnTo>
                  <a:cubicBezTo>
                    <a:pt x="2805" y="819"/>
                    <a:pt x="2962" y="662"/>
                    <a:pt x="3120" y="662"/>
                  </a:cubicBezTo>
                  <a:close/>
                  <a:moveTo>
                    <a:pt x="8035" y="1323"/>
                  </a:moveTo>
                  <a:cubicBezTo>
                    <a:pt x="8255" y="1323"/>
                    <a:pt x="8413" y="1512"/>
                    <a:pt x="8413" y="1701"/>
                  </a:cubicBezTo>
                  <a:lnTo>
                    <a:pt x="8413" y="10617"/>
                  </a:lnTo>
                  <a:cubicBezTo>
                    <a:pt x="8413" y="10838"/>
                    <a:pt x="8255" y="10995"/>
                    <a:pt x="8035" y="10995"/>
                  </a:cubicBezTo>
                  <a:lnTo>
                    <a:pt x="1166" y="10995"/>
                  </a:lnTo>
                  <a:cubicBezTo>
                    <a:pt x="946" y="10995"/>
                    <a:pt x="788" y="10838"/>
                    <a:pt x="788" y="10617"/>
                  </a:cubicBezTo>
                  <a:lnTo>
                    <a:pt x="788" y="1701"/>
                  </a:lnTo>
                  <a:lnTo>
                    <a:pt x="757" y="1701"/>
                  </a:lnTo>
                  <a:cubicBezTo>
                    <a:pt x="757" y="1512"/>
                    <a:pt x="914" y="1323"/>
                    <a:pt x="1103" y="1323"/>
                  </a:cubicBezTo>
                  <a:lnTo>
                    <a:pt x="2143" y="1323"/>
                  </a:lnTo>
                  <a:lnTo>
                    <a:pt x="2143" y="1701"/>
                  </a:lnTo>
                  <a:cubicBezTo>
                    <a:pt x="2143" y="1890"/>
                    <a:pt x="2301" y="2048"/>
                    <a:pt x="2490" y="2048"/>
                  </a:cubicBezTo>
                  <a:lnTo>
                    <a:pt x="6617" y="2048"/>
                  </a:lnTo>
                  <a:cubicBezTo>
                    <a:pt x="6837" y="2048"/>
                    <a:pt x="6995" y="1890"/>
                    <a:pt x="6995" y="1701"/>
                  </a:cubicBezTo>
                  <a:lnTo>
                    <a:pt x="6995" y="1323"/>
                  </a:lnTo>
                  <a:close/>
                  <a:moveTo>
                    <a:pt x="3120" y="0"/>
                  </a:moveTo>
                  <a:cubicBezTo>
                    <a:pt x="2679" y="0"/>
                    <a:pt x="2301" y="284"/>
                    <a:pt x="2143" y="662"/>
                  </a:cubicBezTo>
                  <a:lnTo>
                    <a:pt x="1040" y="662"/>
                  </a:lnTo>
                  <a:cubicBezTo>
                    <a:pt x="473" y="662"/>
                    <a:pt x="1" y="1134"/>
                    <a:pt x="1" y="1701"/>
                  </a:cubicBezTo>
                  <a:lnTo>
                    <a:pt x="1" y="10649"/>
                  </a:lnTo>
                  <a:cubicBezTo>
                    <a:pt x="64" y="11216"/>
                    <a:pt x="536" y="11657"/>
                    <a:pt x="1072" y="11657"/>
                  </a:cubicBezTo>
                  <a:lnTo>
                    <a:pt x="7971" y="11657"/>
                  </a:lnTo>
                  <a:cubicBezTo>
                    <a:pt x="8507" y="11657"/>
                    <a:pt x="8980" y="11184"/>
                    <a:pt x="8980" y="10649"/>
                  </a:cubicBezTo>
                  <a:lnTo>
                    <a:pt x="8980" y="1701"/>
                  </a:lnTo>
                  <a:cubicBezTo>
                    <a:pt x="8980" y="1134"/>
                    <a:pt x="8507" y="662"/>
                    <a:pt x="7971" y="662"/>
                  </a:cubicBezTo>
                  <a:lnTo>
                    <a:pt x="6869" y="662"/>
                  </a:lnTo>
                  <a:cubicBezTo>
                    <a:pt x="6711" y="284"/>
                    <a:pt x="6365" y="0"/>
                    <a:pt x="5892"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370" name="Google Shape;10370;p112"/>
            <p:cNvSpPr/>
            <p:nvPr/>
          </p:nvSpPr>
          <p:spPr>
            <a:xfrm>
              <a:off x="-31131375" y="2145075"/>
              <a:ext cx="52800" cy="52800"/>
            </a:xfrm>
            <a:custGeom>
              <a:avLst/>
              <a:gdLst/>
              <a:ahLst/>
              <a:cxnLst/>
              <a:rect l="l" t="t" r="r" b="b"/>
              <a:pathLst>
                <a:path w="2112" h="2112" extrusionOk="0">
                  <a:moveTo>
                    <a:pt x="1355" y="726"/>
                  </a:moveTo>
                  <a:lnTo>
                    <a:pt x="1355" y="1387"/>
                  </a:lnTo>
                  <a:lnTo>
                    <a:pt x="694" y="1387"/>
                  </a:lnTo>
                  <a:lnTo>
                    <a:pt x="694" y="726"/>
                  </a:lnTo>
                  <a:close/>
                  <a:moveTo>
                    <a:pt x="379" y="1"/>
                  </a:moveTo>
                  <a:cubicBezTo>
                    <a:pt x="158" y="1"/>
                    <a:pt x="0" y="158"/>
                    <a:pt x="0" y="379"/>
                  </a:cubicBezTo>
                  <a:lnTo>
                    <a:pt x="0" y="1734"/>
                  </a:lnTo>
                  <a:cubicBezTo>
                    <a:pt x="0" y="1954"/>
                    <a:pt x="158" y="2112"/>
                    <a:pt x="379" y="2112"/>
                  </a:cubicBezTo>
                  <a:lnTo>
                    <a:pt x="1733" y="2112"/>
                  </a:lnTo>
                  <a:cubicBezTo>
                    <a:pt x="1954" y="2112"/>
                    <a:pt x="2111" y="1954"/>
                    <a:pt x="2111" y="1734"/>
                  </a:cubicBezTo>
                  <a:lnTo>
                    <a:pt x="2111" y="379"/>
                  </a:lnTo>
                  <a:cubicBezTo>
                    <a:pt x="2111" y="158"/>
                    <a:pt x="1954" y="1"/>
                    <a:pt x="1733"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371" name="Google Shape;10371;p112"/>
            <p:cNvSpPr/>
            <p:nvPr/>
          </p:nvSpPr>
          <p:spPr>
            <a:xfrm>
              <a:off x="-31131375" y="2076550"/>
              <a:ext cx="52800" cy="52025"/>
            </a:xfrm>
            <a:custGeom>
              <a:avLst/>
              <a:gdLst/>
              <a:ahLst/>
              <a:cxnLst/>
              <a:rect l="l" t="t" r="r" b="b"/>
              <a:pathLst>
                <a:path w="2112" h="2081" extrusionOk="0">
                  <a:moveTo>
                    <a:pt x="1355" y="694"/>
                  </a:moveTo>
                  <a:lnTo>
                    <a:pt x="1355" y="1356"/>
                  </a:lnTo>
                  <a:lnTo>
                    <a:pt x="694" y="1356"/>
                  </a:lnTo>
                  <a:lnTo>
                    <a:pt x="694" y="694"/>
                  </a:lnTo>
                  <a:close/>
                  <a:moveTo>
                    <a:pt x="379" y="1"/>
                  </a:moveTo>
                  <a:cubicBezTo>
                    <a:pt x="158" y="1"/>
                    <a:pt x="0" y="159"/>
                    <a:pt x="0" y="348"/>
                  </a:cubicBezTo>
                  <a:lnTo>
                    <a:pt x="0" y="1734"/>
                  </a:lnTo>
                  <a:cubicBezTo>
                    <a:pt x="0" y="1923"/>
                    <a:pt x="158" y="2080"/>
                    <a:pt x="379" y="2080"/>
                  </a:cubicBezTo>
                  <a:lnTo>
                    <a:pt x="1733" y="2080"/>
                  </a:lnTo>
                  <a:cubicBezTo>
                    <a:pt x="1954" y="2080"/>
                    <a:pt x="2111" y="1923"/>
                    <a:pt x="2111" y="1734"/>
                  </a:cubicBezTo>
                  <a:lnTo>
                    <a:pt x="2111" y="348"/>
                  </a:lnTo>
                  <a:cubicBezTo>
                    <a:pt x="2111" y="159"/>
                    <a:pt x="1954" y="1"/>
                    <a:pt x="1733"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372" name="Google Shape;10372;p112"/>
            <p:cNvSpPr/>
            <p:nvPr/>
          </p:nvSpPr>
          <p:spPr>
            <a:xfrm>
              <a:off x="-31131375" y="2007250"/>
              <a:ext cx="52800" cy="52800"/>
            </a:xfrm>
            <a:custGeom>
              <a:avLst/>
              <a:gdLst/>
              <a:ahLst/>
              <a:cxnLst/>
              <a:rect l="l" t="t" r="r" b="b"/>
              <a:pathLst>
                <a:path w="2112" h="2112" extrusionOk="0">
                  <a:moveTo>
                    <a:pt x="1355" y="725"/>
                  </a:moveTo>
                  <a:lnTo>
                    <a:pt x="1355" y="1387"/>
                  </a:lnTo>
                  <a:lnTo>
                    <a:pt x="694" y="1387"/>
                  </a:lnTo>
                  <a:lnTo>
                    <a:pt x="694" y="725"/>
                  </a:lnTo>
                  <a:close/>
                  <a:moveTo>
                    <a:pt x="379" y="1"/>
                  </a:moveTo>
                  <a:cubicBezTo>
                    <a:pt x="158" y="1"/>
                    <a:pt x="0" y="158"/>
                    <a:pt x="0" y="379"/>
                  </a:cubicBezTo>
                  <a:lnTo>
                    <a:pt x="0" y="1733"/>
                  </a:lnTo>
                  <a:cubicBezTo>
                    <a:pt x="0" y="1954"/>
                    <a:pt x="158" y="2111"/>
                    <a:pt x="379" y="2111"/>
                  </a:cubicBezTo>
                  <a:lnTo>
                    <a:pt x="1733" y="2111"/>
                  </a:lnTo>
                  <a:cubicBezTo>
                    <a:pt x="1954" y="2111"/>
                    <a:pt x="2111" y="1954"/>
                    <a:pt x="2111" y="1733"/>
                  </a:cubicBezTo>
                  <a:lnTo>
                    <a:pt x="2111" y="379"/>
                  </a:lnTo>
                  <a:cubicBezTo>
                    <a:pt x="2111" y="158"/>
                    <a:pt x="1954" y="1"/>
                    <a:pt x="1733"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373" name="Google Shape;10373;p112"/>
            <p:cNvSpPr/>
            <p:nvPr/>
          </p:nvSpPr>
          <p:spPr>
            <a:xfrm>
              <a:off x="-31062075" y="2007250"/>
              <a:ext cx="85875" cy="18150"/>
            </a:xfrm>
            <a:custGeom>
              <a:avLst/>
              <a:gdLst/>
              <a:ahLst/>
              <a:cxnLst/>
              <a:rect l="l" t="t" r="r" b="b"/>
              <a:pathLst>
                <a:path w="3435" h="726" extrusionOk="0">
                  <a:moveTo>
                    <a:pt x="347" y="1"/>
                  </a:moveTo>
                  <a:cubicBezTo>
                    <a:pt x="158" y="1"/>
                    <a:pt x="1" y="158"/>
                    <a:pt x="1" y="379"/>
                  </a:cubicBezTo>
                  <a:cubicBezTo>
                    <a:pt x="1" y="568"/>
                    <a:pt x="158" y="725"/>
                    <a:pt x="347" y="725"/>
                  </a:cubicBezTo>
                  <a:lnTo>
                    <a:pt x="3057" y="725"/>
                  </a:lnTo>
                  <a:cubicBezTo>
                    <a:pt x="3277" y="725"/>
                    <a:pt x="3435" y="568"/>
                    <a:pt x="3435" y="379"/>
                  </a:cubicBezTo>
                  <a:cubicBezTo>
                    <a:pt x="3435" y="158"/>
                    <a:pt x="3277" y="1"/>
                    <a:pt x="3057"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374" name="Google Shape;10374;p112"/>
            <p:cNvSpPr/>
            <p:nvPr/>
          </p:nvSpPr>
          <p:spPr>
            <a:xfrm>
              <a:off x="-31062075" y="2041900"/>
              <a:ext cx="52025" cy="18150"/>
            </a:xfrm>
            <a:custGeom>
              <a:avLst/>
              <a:gdLst/>
              <a:ahLst/>
              <a:cxnLst/>
              <a:rect l="l" t="t" r="r" b="b"/>
              <a:pathLst>
                <a:path w="2081" h="726" extrusionOk="0">
                  <a:moveTo>
                    <a:pt x="347" y="1"/>
                  </a:moveTo>
                  <a:cubicBezTo>
                    <a:pt x="158" y="1"/>
                    <a:pt x="1" y="158"/>
                    <a:pt x="1" y="347"/>
                  </a:cubicBezTo>
                  <a:cubicBezTo>
                    <a:pt x="1" y="568"/>
                    <a:pt x="158" y="725"/>
                    <a:pt x="347" y="725"/>
                  </a:cubicBezTo>
                  <a:lnTo>
                    <a:pt x="1734" y="725"/>
                  </a:lnTo>
                  <a:cubicBezTo>
                    <a:pt x="1923" y="725"/>
                    <a:pt x="2080" y="568"/>
                    <a:pt x="2080" y="347"/>
                  </a:cubicBezTo>
                  <a:cubicBezTo>
                    <a:pt x="2080" y="158"/>
                    <a:pt x="1923" y="1"/>
                    <a:pt x="1734"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375" name="Google Shape;10375;p112"/>
            <p:cNvSpPr/>
            <p:nvPr/>
          </p:nvSpPr>
          <p:spPr>
            <a:xfrm>
              <a:off x="-31062075" y="2076550"/>
              <a:ext cx="85875" cy="17375"/>
            </a:xfrm>
            <a:custGeom>
              <a:avLst/>
              <a:gdLst/>
              <a:ahLst/>
              <a:cxnLst/>
              <a:rect l="l" t="t" r="r" b="b"/>
              <a:pathLst>
                <a:path w="3435" h="695" extrusionOk="0">
                  <a:moveTo>
                    <a:pt x="347" y="1"/>
                  </a:moveTo>
                  <a:cubicBezTo>
                    <a:pt x="158" y="1"/>
                    <a:pt x="1" y="159"/>
                    <a:pt x="1" y="348"/>
                  </a:cubicBezTo>
                  <a:cubicBezTo>
                    <a:pt x="1" y="537"/>
                    <a:pt x="158" y="694"/>
                    <a:pt x="347" y="694"/>
                  </a:cubicBezTo>
                  <a:lnTo>
                    <a:pt x="3057" y="694"/>
                  </a:lnTo>
                  <a:cubicBezTo>
                    <a:pt x="3277" y="694"/>
                    <a:pt x="3435" y="537"/>
                    <a:pt x="3435" y="348"/>
                  </a:cubicBezTo>
                  <a:cubicBezTo>
                    <a:pt x="3435" y="159"/>
                    <a:pt x="3277" y="1"/>
                    <a:pt x="3057"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376" name="Google Shape;10376;p112"/>
            <p:cNvSpPr/>
            <p:nvPr/>
          </p:nvSpPr>
          <p:spPr>
            <a:xfrm>
              <a:off x="-31062075" y="2110425"/>
              <a:ext cx="52025" cy="18150"/>
            </a:xfrm>
            <a:custGeom>
              <a:avLst/>
              <a:gdLst/>
              <a:ahLst/>
              <a:cxnLst/>
              <a:rect l="l" t="t" r="r" b="b"/>
              <a:pathLst>
                <a:path w="2081" h="726" extrusionOk="0">
                  <a:moveTo>
                    <a:pt x="347" y="1"/>
                  </a:moveTo>
                  <a:cubicBezTo>
                    <a:pt x="158" y="1"/>
                    <a:pt x="1" y="190"/>
                    <a:pt x="1" y="379"/>
                  </a:cubicBezTo>
                  <a:cubicBezTo>
                    <a:pt x="1" y="568"/>
                    <a:pt x="158" y="725"/>
                    <a:pt x="347" y="725"/>
                  </a:cubicBezTo>
                  <a:lnTo>
                    <a:pt x="1734" y="725"/>
                  </a:lnTo>
                  <a:cubicBezTo>
                    <a:pt x="1923" y="725"/>
                    <a:pt x="2080" y="568"/>
                    <a:pt x="2080" y="379"/>
                  </a:cubicBezTo>
                  <a:cubicBezTo>
                    <a:pt x="2080" y="190"/>
                    <a:pt x="1923" y="1"/>
                    <a:pt x="1734"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377" name="Google Shape;10377;p112"/>
            <p:cNvSpPr/>
            <p:nvPr/>
          </p:nvSpPr>
          <p:spPr>
            <a:xfrm>
              <a:off x="-31062075" y="2145075"/>
              <a:ext cx="85875" cy="18150"/>
            </a:xfrm>
            <a:custGeom>
              <a:avLst/>
              <a:gdLst/>
              <a:ahLst/>
              <a:cxnLst/>
              <a:rect l="l" t="t" r="r" b="b"/>
              <a:pathLst>
                <a:path w="3435" h="726" extrusionOk="0">
                  <a:moveTo>
                    <a:pt x="347" y="1"/>
                  </a:moveTo>
                  <a:cubicBezTo>
                    <a:pt x="158" y="1"/>
                    <a:pt x="1" y="158"/>
                    <a:pt x="1" y="379"/>
                  </a:cubicBezTo>
                  <a:cubicBezTo>
                    <a:pt x="1" y="568"/>
                    <a:pt x="158" y="726"/>
                    <a:pt x="347" y="726"/>
                  </a:cubicBezTo>
                  <a:lnTo>
                    <a:pt x="3057" y="726"/>
                  </a:lnTo>
                  <a:cubicBezTo>
                    <a:pt x="3277" y="726"/>
                    <a:pt x="3435" y="568"/>
                    <a:pt x="3435" y="379"/>
                  </a:cubicBezTo>
                  <a:cubicBezTo>
                    <a:pt x="3435" y="158"/>
                    <a:pt x="3277" y="1"/>
                    <a:pt x="3057"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378" name="Google Shape;10378;p112"/>
            <p:cNvSpPr/>
            <p:nvPr/>
          </p:nvSpPr>
          <p:spPr>
            <a:xfrm>
              <a:off x="-31062075" y="2179750"/>
              <a:ext cx="52025" cy="18125"/>
            </a:xfrm>
            <a:custGeom>
              <a:avLst/>
              <a:gdLst/>
              <a:ahLst/>
              <a:cxnLst/>
              <a:rect l="l" t="t" r="r" b="b"/>
              <a:pathLst>
                <a:path w="2081" h="725" extrusionOk="0">
                  <a:moveTo>
                    <a:pt x="347" y="0"/>
                  </a:moveTo>
                  <a:cubicBezTo>
                    <a:pt x="158" y="0"/>
                    <a:pt x="1" y="158"/>
                    <a:pt x="1" y="347"/>
                  </a:cubicBezTo>
                  <a:cubicBezTo>
                    <a:pt x="1" y="567"/>
                    <a:pt x="158" y="725"/>
                    <a:pt x="347" y="725"/>
                  </a:cubicBezTo>
                  <a:lnTo>
                    <a:pt x="1734" y="725"/>
                  </a:lnTo>
                  <a:cubicBezTo>
                    <a:pt x="1923" y="725"/>
                    <a:pt x="2080" y="567"/>
                    <a:pt x="2080" y="347"/>
                  </a:cubicBezTo>
                  <a:cubicBezTo>
                    <a:pt x="2080" y="158"/>
                    <a:pt x="1923" y="0"/>
                    <a:pt x="1734"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379" name="Google Shape;10379;p112"/>
            <p:cNvSpPr/>
            <p:nvPr/>
          </p:nvSpPr>
          <p:spPr>
            <a:xfrm>
              <a:off x="-30924225" y="1974175"/>
              <a:ext cx="51200" cy="240250"/>
            </a:xfrm>
            <a:custGeom>
              <a:avLst/>
              <a:gdLst/>
              <a:ahLst/>
              <a:cxnLst/>
              <a:rect l="l" t="t" r="r" b="b"/>
              <a:pathLst>
                <a:path w="2048" h="9610" extrusionOk="0">
                  <a:moveTo>
                    <a:pt x="1008" y="662"/>
                  </a:moveTo>
                  <a:cubicBezTo>
                    <a:pt x="1229" y="662"/>
                    <a:pt x="1386" y="819"/>
                    <a:pt x="1386" y="1009"/>
                  </a:cubicBezTo>
                  <a:lnTo>
                    <a:pt x="1386" y="2080"/>
                  </a:lnTo>
                  <a:lnTo>
                    <a:pt x="725" y="2080"/>
                  </a:lnTo>
                  <a:lnTo>
                    <a:pt x="725" y="1009"/>
                  </a:lnTo>
                  <a:lnTo>
                    <a:pt x="662" y="1009"/>
                  </a:lnTo>
                  <a:cubicBezTo>
                    <a:pt x="662" y="819"/>
                    <a:pt x="819" y="662"/>
                    <a:pt x="1008" y="662"/>
                  </a:cubicBezTo>
                  <a:close/>
                  <a:moveTo>
                    <a:pt x="1323" y="2741"/>
                  </a:moveTo>
                  <a:lnTo>
                    <a:pt x="1323" y="6900"/>
                  </a:lnTo>
                  <a:lnTo>
                    <a:pt x="662" y="6900"/>
                  </a:lnTo>
                  <a:lnTo>
                    <a:pt x="662" y="2741"/>
                  </a:lnTo>
                  <a:close/>
                  <a:moveTo>
                    <a:pt x="1260" y="7562"/>
                  </a:moveTo>
                  <a:lnTo>
                    <a:pt x="1008" y="8192"/>
                  </a:lnTo>
                  <a:lnTo>
                    <a:pt x="819" y="7562"/>
                  </a:lnTo>
                  <a:close/>
                  <a:moveTo>
                    <a:pt x="1008" y="0"/>
                  </a:moveTo>
                  <a:cubicBezTo>
                    <a:pt x="473" y="0"/>
                    <a:pt x="0" y="473"/>
                    <a:pt x="0" y="1009"/>
                  </a:cubicBezTo>
                  <a:lnTo>
                    <a:pt x="0" y="7215"/>
                  </a:lnTo>
                  <a:lnTo>
                    <a:pt x="0" y="7309"/>
                  </a:lnTo>
                  <a:lnTo>
                    <a:pt x="662" y="9357"/>
                  </a:lnTo>
                  <a:cubicBezTo>
                    <a:pt x="693" y="9515"/>
                    <a:pt x="819" y="9609"/>
                    <a:pt x="977" y="9609"/>
                  </a:cubicBezTo>
                  <a:cubicBezTo>
                    <a:pt x="1134" y="9609"/>
                    <a:pt x="1260" y="9515"/>
                    <a:pt x="1292" y="9357"/>
                  </a:cubicBezTo>
                  <a:lnTo>
                    <a:pt x="1954" y="7309"/>
                  </a:lnTo>
                  <a:lnTo>
                    <a:pt x="1954" y="7215"/>
                  </a:lnTo>
                  <a:lnTo>
                    <a:pt x="1954" y="1009"/>
                  </a:lnTo>
                  <a:cubicBezTo>
                    <a:pt x="2048" y="441"/>
                    <a:pt x="1576" y="0"/>
                    <a:pt x="1008"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10380" name="Google Shape;10380;p112"/>
          <p:cNvGrpSpPr/>
          <p:nvPr/>
        </p:nvGrpSpPr>
        <p:grpSpPr>
          <a:xfrm>
            <a:off x="4109410" y="4511061"/>
            <a:ext cx="472703" cy="472177"/>
            <a:chOff x="-31165250" y="2298675"/>
            <a:chExt cx="292225" cy="291900"/>
          </a:xfrm>
        </p:grpSpPr>
        <p:sp>
          <p:nvSpPr>
            <p:cNvPr id="10381" name="Google Shape;10381;p112"/>
            <p:cNvSpPr/>
            <p:nvPr/>
          </p:nvSpPr>
          <p:spPr>
            <a:xfrm>
              <a:off x="-31003000" y="2332550"/>
              <a:ext cx="86675" cy="103400"/>
            </a:xfrm>
            <a:custGeom>
              <a:avLst/>
              <a:gdLst/>
              <a:ahLst/>
              <a:cxnLst/>
              <a:rect l="l" t="t" r="r" b="b"/>
              <a:pathLst>
                <a:path w="3467" h="4136" extrusionOk="0">
                  <a:moveTo>
                    <a:pt x="2049" y="1386"/>
                  </a:moveTo>
                  <a:cubicBezTo>
                    <a:pt x="2017" y="1764"/>
                    <a:pt x="1923" y="2111"/>
                    <a:pt x="1734" y="2426"/>
                  </a:cubicBezTo>
                  <a:cubicBezTo>
                    <a:pt x="1576" y="2111"/>
                    <a:pt x="1450" y="1764"/>
                    <a:pt x="1418" y="1386"/>
                  </a:cubicBezTo>
                  <a:close/>
                  <a:moveTo>
                    <a:pt x="1734" y="0"/>
                  </a:moveTo>
                  <a:cubicBezTo>
                    <a:pt x="1545" y="0"/>
                    <a:pt x="1387" y="158"/>
                    <a:pt x="1387" y="347"/>
                  </a:cubicBezTo>
                  <a:lnTo>
                    <a:pt x="1387" y="693"/>
                  </a:lnTo>
                  <a:lnTo>
                    <a:pt x="347" y="693"/>
                  </a:lnTo>
                  <a:cubicBezTo>
                    <a:pt x="158" y="693"/>
                    <a:pt x="1" y="851"/>
                    <a:pt x="1" y="1071"/>
                  </a:cubicBezTo>
                  <a:cubicBezTo>
                    <a:pt x="1" y="1260"/>
                    <a:pt x="158" y="1418"/>
                    <a:pt x="347" y="1418"/>
                  </a:cubicBezTo>
                  <a:lnTo>
                    <a:pt x="694" y="1418"/>
                  </a:lnTo>
                  <a:cubicBezTo>
                    <a:pt x="757" y="2016"/>
                    <a:pt x="946" y="2552"/>
                    <a:pt x="1292" y="3056"/>
                  </a:cubicBezTo>
                  <a:lnTo>
                    <a:pt x="788" y="3592"/>
                  </a:lnTo>
                  <a:cubicBezTo>
                    <a:pt x="662" y="3686"/>
                    <a:pt x="662" y="3938"/>
                    <a:pt x="788" y="4064"/>
                  </a:cubicBezTo>
                  <a:cubicBezTo>
                    <a:pt x="851" y="4111"/>
                    <a:pt x="938" y="4135"/>
                    <a:pt x="1025" y="4135"/>
                  </a:cubicBezTo>
                  <a:cubicBezTo>
                    <a:pt x="1111" y="4135"/>
                    <a:pt x="1198" y="4111"/>
                    <a:pt x="1261" y="4064"/>
                  </a:cubicBezTo>
                  <a:lnTo>
                    <a:pt x="1702" y="3623"/>
                  </a:lnTo>
                  <a:lnTo>
                    <a:pt x="2112" y="4064"/>
                  </a:lnTo>
                  <a:cubicBezTo>
                    <a:pt x="2175" y="4111"/>
                    <a:pt x="2269" y="4135"/>
                    <a:pt x="2360" y="4135"/>
                  </a:cubicBezTo>
                  <a:cubicBezTo>
                    <a:pt x="2450" y="4135"/>
                    <a:pt x="2537" y="4111"/>
                    <a:pt x="2584" y="4064"/>
                  </a:cubicBezTo>
                  <a:cubicBezTo>
                    <a:pt x="2710" y="3938"/>
                    <a:pt x="2710" y="3686"/>
                    <a:pt x="2584" y="3592"/>
                  </a:cubicBezTo>
                  <a:lnTo>
                    <a:pt x="2080" y="3056"/>
                  </a:lnTo>
                  <a:cubicBezTo>
                    <a:pt x="2395" y="2552"/>
                    <a:pt x="2584" y="2016"/>
                    <a:pt x="2679" y="1418"/>
                  </a:cubicBezTo>
                  <a:lnTo>
                    <a:pt x="3025" y="1418"/>
                  </a:lnTo>
                  <a:cubicBezTo>
                    <a:pt x="3214" y="1418"/>
                    <a:pt x="3372" y="1260"/>
                    <a:pt x="3372" y="1071"/>
                  </a:cubicBezTo>
                  <a:cubicBezTo>
                    <a:pt x="3466" y="851"/>
                    <a:pt x="3309" y="693"/>
                    <a:pt x="3120" y="693"/>
                  </a:cubicBezTo>
                  <a:lnTo>
                    <a:pt x="2080" y="693"/>
                  </a:lnTo>
                  <a:lnTo>
                    <a:pt x="2080" y="347"/>
                  </a:lnTo>
                  <a:cubicBezTo>
                    <a:pt x="2080" y="158"/>
                    <a:pt x="1923" y="0"/>
                    <a:pt x="1734"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382" name="Google Shape;10382;p112"/>
            <p:cNvSpPr/>
            <p:nvPr/>
          </p:nvSpPr>
          <p:spPr>
            <a:xfrm>
              <a:off x="-31165250" y="2298675"/>
              <a:ext cx="292225" cy="291900"/>
            </a:xfrm>
            <a:custGeom>
              <a:avLst/>
              <a:gdLst/>
              <a:ahLst/>
              <a:cxnLst/>
              <a:rect l="l" t="t" r="r" b="b"/>
              <a:pathLst>
                <a:path w="11689" h="11676" extrusionOk="0">
                  <a:moveTo>
                    <a:pt x="8192" y="630"/>
                  </a:moveTo>
                  <a:cubicBezTo>
                    <a:pt x="9704" y="630"/>
                    <a:pt x="10933" y="1859"/>
                    <a:pt x="10933" y="3403"/>
                  </a:cubicBezTo>
                  <a:cubicBezTo>
                    <a:pt x="10964" y="4947"/>
                    <a:pt x="9767" y="6144"/>
                    <a:pt x="8224" y="6144"/>
                  </a:cubicBezTo>
                  <a:cubicBezTo>
                    <a:pt x="7656" y="6144"/>
                    <a:pt x="7152" y="5986"/>
                    <a:pt x="6711" y="5671"/>
                  </a:cubicBezTo>
                  <a:cubicBezTo>
                    <a:pt x="6674" y="5634"/>
                    <a:pt x="6616" y="5619"/>
                    <a:pt x="6548" y="5619"/>
                  </a:cubicBezTo>
                  <a:cubicBezTo>
                    <a:pt x="6501" y="5619"/>
                    <a:pt x="6448" y="5627"/>
                    <a:pt x="6396" y="5640"/>
                  </a:cubicBezTo>
                  <a:lnTo>
                    <a:pt x="5609" y="5923"/>
                  </a:lnTo>
                  <a:lnTo>
                    <a:pt x="5861" y="4947"/>
                  </a:lnTo>
                  <a:cubicBezTo>
                    <a:pt x="5861" y="4852"/>
                    <a:pt x="5861" y="4789"/>
                    <a:pt x="5829" y="4695"/>
                  </a:cubicBezTo>
                  <a:cubicBezTo>
                    <a:pt x="5577" y="4317"/>
                    <a:pt x="5451" y="3844"/>
                    <a:pt x="5451" y="3403"/>
                  </a:cubicBezTo>
                  <a:cubicBezTo>
                    <a:pt x="5451" y="1859"/>
                    <a:pt x="6680" y="630"/>
                    <a:pt x="8192" y="630"/>
                  </a:cubicBezTo>
                  <a:close/>
                  <a:moveTo>
                    <a:pt x="3403" y="5545"/>
                  </a:moveTo>
                  <a:cubicBezTo>
                    <a:pt x="3970" y="5545"/>
                    <a:pt x="4474" y="5703"/>
                    <a:pt x="4916" y="5986"/>
                  </a:cubicBezTo>
                  <a:lnTo>
                    <a:pt x="4790" y="6490"/>
                  </a:lnTo>
                  <a:cubicBezTo>
                    <a:pt x="4758" y="6616"/>
                    <a:pt x="4790" y="6742"/>
                    <a:pt x="4916" y="6868"/>
                  </a:cubicBezTo>
                  <a:cubicBezTo>
                    <a:pt x="4960" y="6913"/>
                    <a:pt x="5052" y="6958"/>
                    <a:pt x="5146" y="6958"/>
                  </a:cubicBezTo>
                  <a:cubicBezTo>
                    <a:pt x="5186" y="6958"/>
                    <a:pt x="5225" y="6950"/>
                    <a:pt x="5262" y="6931"/>
                  </a:cubicBezTo>
                  <a:lnTo>
                    <a:pt x="5703" y="6774"/>
                  </a:lnTo>
                  <a:cubicBezTo>
                    <a:pt x="6018" y="7152"/>
                    <a:pt x="6176" y="7656"/>
                    <a:pt x="6176" y="8255"/>
                  </a:cubicBezTo>
                  <a:cubicBezTo>
                    <a:pt x="6176" y="8696"/>
                    <a:pt x="6050" y="9137"/>
                    <a:pt x="5829" y="9546"/>
                  </a:cubicBezTo>
                  <a:cubicBezTo>
                    <a:pt x="5766" y="9609"/>
                    <a:pt x="5766" y="9704"/>
                    <a:pt x="5766" y="9767"/>
                  </a:cubicBezTo>
                  <a:lnTo>
                    <a:pt x="6018" y="10775"/>
                  </a:lnTo>
                  <a:lnTo>
                    <a:pt x="5231" y="10491"/>
                  </a:lnTo>
                  <a:cubicBezTo>
                    <a:pt x="5178" y="10478"/>
                    <a:pt x="5126" y="10471"/>
                    <a:pt x="5078" y="10471"/>
                  </a:cubicBezTo>
                  <a:cubicBezTo>
                    <a:pt x="5011" y="10471"/>
                    <a:pt x="4952" y="10486"/>
                    <a:pt x="4916" y="10523"/>
                  </a:cubicBezTo>
                  <a:cubicBezTo>
                    <a:pt x="4474" y="10838"/>
                    <a:pt x="3939" y="10996"/>
                    <a:pt x="3403" y="10996"/>
                  </a:cubicBezTo>
                  <a:cubicBezTo>
                    <a:pt x="1891" y="10996"/>
                    <a:pt x="662" y="9767"/>
                    <a:pt x="662" y="8286"/>
                  </a:cubicBezTo>
                  <a:cubicBezTo>
                    <a:pt x="662" y="6774"/>
                    <a:pt x="1891" y="5545"/>
                    <a:pt x="3403" y="5545"/>
                  </a:cubicBezTo>
                  <a:close/>
                  <a:moveTo>
                    <a:pt x="8224" y="0"/>
                  </a:moveTo>
                  <a:cubicBezTo>
                    <a:pt x="6333" y="0"/>
                    <a:pt x="4790" y="1544"/>
                    <a:pt x="4790" y="3434"/>
                  </a:cubicBezTo>
                  <a:cubicBezTo>
                    <a:pt x="4790" y="3938"/>
                    <a:pt x="4916" y="4506"/>
                    <a:pt x="5136" y="4978"/>
                  </a:cubicBezTo>
                  <a:lnTo>
                    <a:pt x="5073" y="5262"/>
                  </a:lnTo>
                  <a:cubicBezTo>
                    <a:pt x="4569" y="4978"/>
                    <a:pt x="4002" y="4821"/>
                    <a:pt x="3435" y="4821"/>
                  </a:cubicBezTo>
                  <a:cubicBezTo>
                    <a:pt x="1513" y="4821"/>
                    <a:pt x="1" y="6364"/>
                    <a:pt x="1" y="8255"/>
                  </a:cubicBezTo>
                  <a:cubicBezTo>
                    <a:pt x="1" y="10113"/>
                    <a:pt x="1544" y="11657"/>
                    <a:pt x="3435" y="11657"/>
                  </a:cubicBezTo>
                  <a:cubicBezTo>
                    <a:pt x="4065" y="11657"/>
                    <a:pt x="4632" y="11500"/>
                    <a:pt x="5168" y="11185"/>
                  </a:cubicBezTo>
                  <a:lnTo>
                    <a:pt x="6365" y="11657"/>
                  </a:lnTo>
                  <a:cubicBezTo>
                    <a:pt x="6411" y="11669"/>
                    <a:pt x="6457" y="11676"/>
                    <a:pt x="6503" y="11676"/>
                  </a:cubicBezTo>
                  <a:cubicBezTo>
                    <a:pt x="6583" y="11676"/>
                    <a:pt x="6663" y="11654"/>
                    <a:pt x="6743" y="11594"/>
                  </a:cubicBezTo>
                  <a:cubicBezTo>
                    <a:pt x="6806" y="11500"/>
                    <a:pt x="6837" y="11405"/>
                    <a:pt x="6837" y="11248"/>
                  </a:cubicBezTo>
                  <a:lnTo>
                    <a:pt x="6491" y="9767"/>
                  </a:lnTo>
                  <a:cubicBezTo>
                    <a:pt x="6743" y="9294"/>
                    <a:pt x="6837" y="8790"/>
                    <a:pt x="6837" y="8255"/>
                  </a:cubicBezTo>
                  <a:cubicBezTo>
                    <a:pt x="6837" y="7625"/>
                    <a:pt x="6648" y="6994"/>
                    <a:pt x="6333" y="6427"/>
                  </a:cubicBezTo>
                  <a:lnTo>
                    <a:pt x="6459" y="6396"/>
                  </a:lnTo>
                  <a:cubicBezTo>
                    <a:pt x="6963" y="6711"/>
                    <a:pt x="7593" y="6868"/>
                    <a:pt x="8192" y="6868"/>
                  </a:cubicBezTo>
                  <a:cubicBezTo>
                    <a:pt x="10082" y="6868"/>
                    <a:pt x="11626" y="5325"/>
                    <a:pt x="11626" y="3434"/>
                  </a:cubicBezTo>
                  <a:cubicBezTo>
                    <a:pt x="11689" y="1544"/>
                    <a:pt x="10114" y="0"/>
                    <a:pt x="8224"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383" name="Google Shape;10383;p112"/>
            <p:cNvSpPr/>
            <p:nvPr/>
          </p:nvSpPr>
          <p:spPr>
            <a:xfrm>
              <a:off x="-31115625" y="2452250"/>
              <a:ext cx="70900" cy="104150"/>
            </a:xfrm>
            <a:custGeom>
              <a:avLst/>
              <a:gdLst/>
              <a:ahLst/>
              <a:cxnLst/>
              <a:rect l="l" t="t" r="r" b="b"/>
              <a:pathLst>
                <a:path w="2836" h="4166" extrusionOk="0">
                  <a:moveTo>
                    <a:pt x="1481" y="1576"/>
                  </a:moveTo>
                  <a:lnTo>
                    <a:pt x="1639" y="2112"/>
                  </a:lnTo>
                  <a:lnTo>
                    <a:pt x="1324" y="2112"/>
                  </a:lnTo>
                  <a:lnTo>
                    <a:pt x="1481" y="1576"/>
                  </a:lnTo>
                  <a:close/>
                  <a:moveTo>
                    <a:pt x="1418" y="1"/>
                  </a:moveTo>
                  <a:cubicBezTo>
                    <a:pt x="1261" y="1"/>
                    <a:pt x="1166" y="127"/>
                    <a:pt x="1103" y="253"/>
                  </a:cubicBezTo>
                  <a:lnTo>
                    <a:pt x="568" y="2049"/>
                  </a:lnTo>
                  <a:lnTo>
                    <a:pt x="410" y="2049"/>
                  </a:lnTo>
                  <a:cubicBezTo>
                    <a:pt x="221" y="2049"/>
                    <a:pt x="64" y="2206"/>
                    <a:pt x="64" y="2427"/>
                  </a:cubicBezTo>
                  <a:cubicBezTo>
                    <a:pt x="64" y="2584"/>
                    <a:pt x="158" y="2742"/>
                    <a:pt x="316" y="2773"/>
                  </a:cubicBezTo>
                  <a:lnTo>
                    <a:pt x="64" y="3718"/>
                  </a:lnTo>
                  <a:cubicBezTo>
                    <a:pt x="1" y="3907"/>
                    <a:pt x="95" y="4065"/>
                    <a:pt x="284" y="4159"/>
                  </a:cubicBezTo>
                  <a:cubicBezTo>
                    <a:pt x="308" y="4163"/>
                    <a:pt x="332" y="4165"/>
                    <a:pt x="355" y="4165"/>
                  </a:cubicBezTo>
                  <a:cubicBezTo>
                    <a:pt x="512" y="4165"/>
                    <a:pt x="643" y="4072"/>
                    <a:pt x="725" y="3907"/>
                  </a:cubicBezTo>
                  <a:lnTo>
                    <a:pt x="1072" y="2773"/>
                  </a:lnTo>
                  <a:lnTo>
                    <a:pt x="1796" y="2773"/>
                  </a:lnTo>
                  <a:lnTo>
                    <a:pt x="2143" y="3907"/>
                  </a:lnTo>
                  <a:cubicBezTo>
                    <a:pt x="2170" y="4072"/>
                    <a:pt x="2318" y="4165"/>
                    <a:pt x="2502" y="4165"/>
                  </a:cubicBezTo>
                  <a:cubicBezTo>
                    <a:pt x="2528" y="4165"/>
                    <a:pt x="2556" y="4163"/>
                    <a:pt x="2584" y="4159"/>
                  </a:cubicBezTo>
                  <a:cubicBezTo>
                    <a:pt x="2773" y="4096"/>
                    <a:pt x="2836" y="3907"/>
                    <a:pt x="2805" y="3718"/>
                  </a:cubicBezTo>
                  <a:lnTo>
                    <a:pt x="2521" y="2773"/>
                  </a:lnTo>
                  <a:cubicBezTo>
                    <a:pt x="2678" y="2742"/>
                    <a:pt x="2805" y="2616"/>
                    <a:pt x="2805" y="2427"/>
                  </a:cubicBezTo>
                  <a:cubicBezTo>
                    <a:pt x="2805" y="2206"/>
                    <a:pt x="2647" y="2049"/>
                    <a:pt x="2458" y="2049"/>
                  </a:cubicBezTo>
                  <a:lnTo>
                    <a:pt x="2300" y="2049"/>
                  </a:lnTo>
                  <a:lnTo>
                    <a:pt x="1733" y="253"/>
                  </a:lnTo>
                  <a:cubicBezTo>
                    <a:pt x="1702" y="95"/>
                    <a:pt x="1576" y="1"/>
                    <a:pt x="1418"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10384" name="Google Shape;10384;p112"/>
          <p:cNvGrpSpPr/>
          <p:nvPr/>
        </p:nvGrpSpPr>
        <p:grpSpPr>
          <a:xfrm>
            <a:off x="4110057" y="5125266"/>
            <a:ext cx="471409" cy="471409"/>
            <a:chOff x="-31164450" y="2657050"/>
            <a:chExt cx="291425" cy="291425"/>
          </a:xfrm>
        </p:grpSpPr>
        <p:sp>
          <p:nvSpPr>
            <p:cNvPr id="10385" name="Google Shape;10385;p112"/>
            <p:cNvSpPr/>
            <p:nvPr/>
          </p:nvSpPr>
          <p:spPr>
            <a:xfrm>
              <a:off x="-31028975" y="2761000"/>
              <a:ext cx="18125" cy="17350"/>
            </a:xfrm>
            <a:custGeom>
              <a:avLst/>
              <a:gdLst/>
              <a:ahLst/>
              <a:cxnLst/>
              <a:rect l="l" t="t" r="r" b="b"/>
              <a:pathLst>
                <a:path w="725" h="694" extrusionOk="0">
                  <a:moveTo>
                    <a:pt x="378" y="1"/>
                  </a:moveTo>
                  <a:cubicBezTo>
                    <a:pt x="158" y="1"/>
                    <a:pt x="0" y="158"/>
                    <a:pt x="0" y="347"/>
                  </a:cubicBezTo>
                  <a:cubicBezTo>
                    <a:pt x="63" y="536"/>
                    <a:pt x="221" y="694"/>
                    <a:pt x="378" y="694"/>
                  </a:cubicBezTo>
                  <a:cubicBezTo>
                    <a:pt x="567" y="694"/>
                    <a:pt x="725" y="536"/>
                    <a:pt x="725" y="347"/>
                  </a:cubicBezTo>
                  <a:cubicBezTo>
                    <a:pt x="725" y="158"/>
                    <a:pt x="567" y="1"/>
                    <a:pt x="378"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386" name="Google Shape;10386;p112"/>
            <p:cNvSpPr/>
            <p:nvPr/>
          </p:nvSpPr>
          <p:spPr>
            <a:xfrm>
              <a:off x="-31028975" y="2794075"/>
              <a:ext cx="18125" cy="52025"/>
            </a:xfrm>
            <a:custGeom>
              <a:avLst/>
              <a:gdLst/>
              <a:ahLst/>
              <a:cxnLst/>
              <a:rect l="l" t="t" r="r" b="b"/>
              <a:pathLst>
                <a:path w="725" h="2081" extrusionOk="0">
                  <a:moveTo>
                    <a:pt x="378" y="1"/>
                  </a:moveTo>
                  <a:cubicBezTo>
                    <a:pt x="158" y="1"/>
                    <a:pt x="0" y="158"/>
                    <a:pt x="0" y="347"/>
                  </a:cubicBezTo>
                  <a:lnTo>
                    <a:pt x="0" y="1734"/>
                  </a:lnTo>
                  <a:cubicBezTo>
                    <a:pt x="63" y="1923"/>
                    <a:pt x="221" y="2080"/>
                    <a:pt x="378" y="2080"/>
                  </a:cubicBezTo>
                  <a:cubicBezTo>
                    <a:pt x="567" y="2080"/>
                    <a:pt x="725" y="1923"/>
                    <a:pt x="725" y="1734"/>
                  </a:cubicBezTo>
                  <a:lnTo>
                    <a:pt x="725" y="347"/>
                  </a:lnTo>
                  <a:cubicBezTo>
                    <a:pt x="725" y="158"/>
                    <a:pt x="567" y="1"/>
                    <a:pt x="378"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387" name="Google Shape;10387;p112"/>
            <p:cNvSpPr/>
            <p:nvPr/>
          </p:nvSpPr>
          <p:spPr>
            <a:xfrm>
              <a:off x="-31164450" y="2657050"/>
              <a:ext cx="291425" cy="291425"/>
            </a:xfrm>
            <a:custGeom>
              <a:avLst/>
              <a:gdLst/>
              <a:ahLst/>
              <a:cxnLst/>
              <a:rect l="l" t="t" r="r" b="b"/>
              <a:pathLst>
                <a:path w="11657" h="11657" extrusionOk="0">
                  <a:moveTo>
                    <a:pt x="1323" y="4852"/>
                  </a:moveTo>
                  <a:lnTo>
                    <a:pt x="1323" y="8286"/>
                  </a:lnTo>
                  <a:lnTo>
                    <a:pt x="977" y="8286"/>
                  </a:lnTo>
                  <a:cubicBezTo>
                    <a:pt x="788" y="8286"/>
                    <a:pt x="630" y="8128"/>
                    <a:pt x="630" y="7939"/>
                  </a:cubicBezTo>
                  <a:lnTo>
                    <a:pt x="630" y="5198"/>
                  </a:lnTo>
                  <a:cubicBezTo>
                    <a:pt x="630" y="5009"/>
                    <a:pt x="788" y="4852"/>
                    <a:pt x="977" y="4852"/>
                  </a:cubicBezTo>
                  <a:close/>
                  <a:moveTo>
                    <a:pt x="10554" y="4852"/>
                  </a:moveTo>
                  <a:cubicBezTo>
                    <a:pt x="10743" y="4852"/>
                    <a:pt x="10901" y="5009"/>
                    <a:pt x="10901" y="5198"/>
                  </a:cubicBezTo>
                  <a:lnTo>
                    <a:pt x="10901" y="7939"/>
                  </a:lnTo>
                  <a:lnTo>
                    <a:pt x="10932" y="7939"/>
                  </a:lnTo>
                  <a:cubicBezTo>
                    <a:pt x="10932" y="8128"/>
                    <a:pt x="10775" y="8286"/>
                    <a:pt x="10586" y="8286"/>
                  </a:cubicBezTo>
                  <a:lnTo>
                    <a:pt x="10239" y="8286"/>
                  </a:lnTo>
                  <a:lnTo>
                    <a:pt x="10239" y="4852"/>
                  </a:lnTo>
                  <a:close/>
                  <a:moveTo>
                    <a:pt x="5797" y="10302"/>
                  </a:moveTo>
                  <a:cubicBezTo>
                    <a:pt x="5986" y="10302"/>
                    <a:pt x="6144" y="10460"/>
                    <a:pt x="6144" y="10649"/>
                  </a:cubicBezTo>
                  <a:cubicBezTo>
                    <a:pt x="6144" y="10838"/>
                    <a:pt x="5986" y="10995"/>
                    <a:pt x="5797" y="10995"/>
                  </a:cubicBezTo>
                  <a:cubicBezTo>
                    <a:pt x="5577" y="10995"/>
                    <a:pt x="5419" y="10838"/>
                    <a:pt x="5419" y="10649"/>
                  </a:cubicBezTo>
                  <a:cubicBezTo>
                    <a:pt x="5419" y="10460"/>
                    <a:pt x="5577" y="10302"/>
                    <a:pt x="5797" y="10302"/>
                  </a:cubicBezTo>
                  <a:close/>
                  <a:moveTo>
                    <a:pt x="5829" y="0"/>
                  </a:moveTo>
                  <a:cubicBezTo>
                    <a:pt x="3371" y="0"/>
                    <a:pt x="1260" y="1796"/>
                    <a:pt x="788" y="4190"/>
                  </a:cubicBezTo>
                  <a:cubicBezTo>
                    <a:pt x="347" y="4316"/>
                    <a:pt x="0" y="4694"/>
                    <a:pt x="0" y="5167"/>
                  </a:cubicBezTo>
                  <a:lnTo>
                    <a:pt x="0" y="7876"/>
                  </a:lnTo>
                  <a:cubicBezTo>
                    <a:pt x="0" y="8443"/>
                    <a:pt x="473" y="8916"/>
                    <a:pt x="1008" y="8916"/>
                  </a:cubicBezTo>
                  <a:lnTo>
                    <a:pt x="1702" y="8916"/>
                  </a:lnTo>
                  <a:cubicBezTo>
                    <a:pt x="1891" y="8916"/>
                    <a:pt x="2048" y="8758"/>
                    <a:pt x="2048" y="8569"/>
                  </a:cubicBezTo>
                  <a:lnTo>
                    <a:pt x="2048" y="4474"/>
                  </a:lnTo>
                  <a:cubicBezTo>
                    <a:pt x="2048" y="4253"/>
                    <a:pt x="1891" y="4096"/>
                    <a:pt x="1702" y="4096"/>
                  </a:cubicBezTo>
                  <a:lnTo>
                    <a:pt x="1449" y="4096"/>
                  </a:lnTo>
                  <a:cubicBezTo>
                    <a:pt x="1922" y="2111"/>
                    <a:pt x="3749" y="630"/>
                    <a:pt x="5797" y="630"/>
                  </a:cubicBezTo>
                  <a:cubicBezTo>
                    <a:pt x="7876" y="630"/>
                    <a:pt x="9641" y="2079"/>
                    <a:pt x="10113" y="4096"/>
                  </a:cubicBezTo>
                  <a:lnTo>
                    <a:pt x="9893" y="4096"/>
                  </a:lnTo>
                  <a:cubicBezTo>
                    <a:pt x="9672" y="4096"/>
                    <a:pt x="9515" y="4253"/>
                    <a:pt x="9515" y="4474"/>
                  </a:cubicBezTo>
                  <a:lnTo>
                    <a:pt x="9515" y="8569"/>
                  </a:lnTo>
                  <a:cubicBezTo>
                    <a:pt x="9515" y="8758"/>
                    <a:pt x="9672" y="8916"/>
                    <a:pt x="9893" y="8916"/>
                  </a:cubicBezTo>
                  <a:lnTo>
                    <a:pt x="10208" y="8916"/>
                  </a:lnTo>
                  <a:cubicBezTo>
                    <a:pt x="10050" y="9704"/>
                    <a:pt x="9326" y="10302"/>
                    <a:pt x="8507" y="10302"/>
                  </a:cubicBezTo>
                  <a:lnTo>
                    <a:pt x="6742" y="10302"/>
                  </a:lnTo>
                  <a:cubicBezTo>
                    <a:pt x="6585" y="9893"/>
                    <a:pt x="6207" y="9609"/>
                    <a:pt x="5734" y="9609"/>
                  </a:cubicBezTo>
                  <a:cubicBezTo>
                    <a:pt x="5199" y="9609"/>
                    <a:pt x="4726" y="10082"/>
                    <a:pt x="4726" y="10649"/>
                  </a:cubicBezTo>
                  <a:cubicBezTo>
                    <a:pt x="4726" y="11184"/>
                    <a:pt x="5199" y="11657"/>
                    <a:pt x="5734" y="11657"/>
                  </a:cubicBezTo>
                  <a:cubicBezTo>
                    <a:pt x="6175" y="11657"/>
                    <a:pt x="6585" y="11405"/>
                    <a:pt x="6742" y="10995"/>
                  </a:cubicBezTo>
                  <a:lnTo>
                    <a:pt x="8507" y="10995"/>
                  </a:lnTo>
                  <a:cubicBezTo>
                    <a:pt x="9735" y="10995"/>
                    <a:pt x="10743" y="10082"/>
                    <a:pt x="10869" y="8916"/>
                  </a:cubicBezTo>
                  <a:cubicBezTo>
                    <a:pt x="11248" y="8790"/>
                    <a:pt x="11563" y="8412"/>
                    <a:pt x="11563" y="7939"/>
                  </a:cubicBezTo>
                  <a:lnTo>
                    <a:pt x="11563" y="5198"/>
                  </a:lnTo>
                  <a:cubicBezTo>
                    <a:pt x="11657" y="4694"/>
                    <a:pt x="11311" y="4316"/>
                    <a:pt x="10869" y="4190"/>
                  </a:cubicBezTo>
                  <a:cubicBezTo>
                    <a:pt x="10397" y="1796"/>
                    <a:pt x="8255" y="0"/>
                    <a:pt x="5829"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388" name="Google Shape;10388;p112"/>
            <p:cNvSpPr/>
            <p:nvPr/>
          </p:nvSpPr>
          <p:spPr>
            <a:xfrm>
              <a:off x="-31097500" y="2727125"/>
              <a:ext cx="156750" cy="153925"/>
            </a:xfrm>
            <a:custGeom>
              <a:avLst/>
              <a:gdLst/>
              <a:ahLst/>
              <a:cxnLst/>
              <a:rect l="l" t="t" r="r" b="b"/>
              <a:pathLst>
                <a:path w="6270" h="6157" extrusionOk="0">
                  <a:moveTo>
                    <a:pt x="3119" y="663"/>
                  </a:moveTo>
                  <a:cubicBezTo>
                    <a:pt x="4442" y="663"/>
                    <a:pt x="5514" y="1734"/>
                    <a:pt x="5514" y="3088"/>
                  </a:cubicBezTo>
                  <a:cubicBezTo>
                    <a:pt x="5514" y="4412"/>
                    <a:pt x="4411" y="5483"/>
                    <a:pt x="3119" y="5483"/>
                  </a:cubicBezTo>
                  <a:cubicBezTo>
                    <a:pt x="2647" y="5483"/>
                    <a:pt x="2206" y="5357"/>
                    <a:pt x="1796" y="5136"/>
                  </a:cubicBezTo>
                  <a:cubicBezTo>
                    <a:pt x="1750" y="5090"/>
                    <a:pt x="1670" y="5061"/>
                    <a:pt x="1606" y="5061"/>
                  </a:cubicBezTo>
                  <a:cubicBezTo>
                    <a:pt x="1582" y="5061"/>
                    <a:pt x="1561" y="5065"/>
                    <a:pt x="1544" y="5073"/>
                  </a:cubicBezTo>
                  <a:lnTo>
                    <a:pt x="914" y="5294"/>
                  </a:lnTo>
                  <a:lnTo>
                    <a:pt x="1103" y="4664"/>
                  </a:lnTo>
                  <a:cubicBezTo>
                    <a:pt x="1134" y="4569"/>
                    <a:pt x="1103" y="4443"/>
                    <a:pt x="1071" y="4380"/>
                  </a:cubicBezTo>
                  <a:cubicBezTo>
                    <a:pt x="819" y="3971"/>
                    <a:pt x="693" y="3561"/>
                    <a:pt x="693" y="3120"/>
                  </a:cubicBezTo>
                  <a:cubicBezTo>
                    <a:pt x="693" y="1734"/>
                    <a:pt x="1796" y="663"/>
                    <a:pt x="3119" y="663"/>
                  </a:cubicBezTo>
                  <a:close/>
                  <a:moveTo>
                    <a:pt x="3151" y="1"/>
                  </a:moveTo>
                  <a:cubicBezTo>
                    <a:pt x="1449" y="1"/>
                    <a:pt x="32" y="1387"/>
                    <a:pt x="32" y="3057"/>
                  </a:cubicBezTo>
                  <a:cubicBezTo>
                    <a:pt x="32" y="3593"/>
                    <a:pt x="158" y="4097"/>
                    <a:pt x="441" y="4569"/>
                  </a:cubicBezTo>
                  <a:lnTo>
                    <a:pt x="32" y="5703"/>
                  </a:lnTo>
                  <a:cubicBezTo>
                    <a:pt x="0" y="5829"/>
                    <a:pt x="32" y="5955"/>
                    <a:pt x="126" y="6081"/>
                  </a:cubicBezTo>
                  <a:cubicBezTo>
                    <a:pt x="172" y="6128"/>
                    <a:pt x="269" y="6157"/>
                    <a:pt x="367" y="6157"/>
                  </a:cubicBezTo>
                  <a:cubicBezTo>
                    <a:pt x="403" y="6157"/>
                    <a:pt x="439" y="6153"/>
                    <a:pt x="473" y="6144"/>
                  </a:cubicBezTo>
                  <a:lnTo>
                    <a:pt x="1607" y="5735"/>
                  </a:lnTo>
                  <a:cubicBezTo>
                    <a:pt x="2080" y="5987"/>
                    <a:pt x="2584" y="6144"/>
                    <a:pt x="3151" y="6144"/>
                  </a:cubicBezTo>
                  <a:cubicBezTo>
                    <a:pt x="4852" y="6144"/>
                    <a:pt x="6270" y="4758"/>
                    <a:pt x="6270" y="3057"/>
                  </a:cubicBezTo>
                  <a:cubicBezTo>
                    <a:pt x="6270" y="1387"/>
                    <a:pt x="4883" y="1"/>
                    <a:pt x="3151"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sp>
        <p:nvSpPr>
          <p:cNvPr id="10389" name="Google Shape;10389;p112"/>
          <p:cNvSpPr/>
          <p:nvPr/>
        </p:nvSpPr>
        <p:spPr>
          <a:xfrm>
            <a:off x="2918623" y="5686227"/>
            <a:ext cx="473997" cy="470156"/>
          </a:xfrm>
          <a:custGeom>
            <a:avLst/>
            <a:gdLst/>
            <a:ahLst/>
            <a:cxnLst/>
            <a:rect l="l" t="t" r="r" b="b"/>
            <a:pathLst>
              <a:path w="11721" h="11626" extrusionOk="0">
                <a:moveTo>
                  <a:pt x="8570" y="694"/>
                </a:moveTo>
                <a:cubicBezTo>
                  <a:pt x="9106" y="694"/>
                  <a:pt x="9578" y="1166"/>
                  <a:pt x="9578" y="1702"/>
                </a:cubicBezTo>
                <a:cubicBezTo>
                  <a:pt x="9578" y="2269"/>
                  <a:pt x="9106" y="2773"/>
                  <a:pt x="8570" y="2773"/>
                </a:cubicBezTo>
                <a:cubicBezTo>
                  <a:pt x="8003" y="2773"/>
                  <a:pt x="7530" y="2269"/>
                  <a:pt x="7530" y="1702"/>
                </a:cubicBezTo>
                <a:cubicBezTo>
                  <a:pt x="7530" y="1166"/>
                  <a:pt x="8003" y="694"/>
                  <a:pt x="8570" y="694"/>
                </a:cubicBezTo>
                <a:close/>
                <a:moveTo>
                  <a:pt x="8570" y="3403"/>
                </a:moveTo>
                <a:cubicBezTo>
                  <a:pt x="9893" y="3403"/>
                  <a:pt x="10964" y="4474"/>
                  <a:pt x="10964" y="5798"/>
                </a:cubicBezTo>
                <a:lnTo>
                  <a:pt x="10964" y="6144"/>
                </a:lnTo>
                <a:lnTo>
                  <a:pt x="6144" y="6144"/>
                </a:lnTo>
                <a:lnTo>
                  <a:pt x="6144" y="5798"/>
                </a:lnTo>
                <a:cubicBezTo>
                  <a:pt x="6144" y="4443"/>
                  <a:pt x="7215" y="3403"/>
                  <a:pt x="8570" y="3403"/>
                </a:cubicBezTo>
                <a:close/>
                <a:moveTo>
                  <a:pt x="3057" y="5483"/>
                </a:moveTo>
                <a:cubicBezTo>
                  <a:pt x="3592" y="5483"/>
                  <a:pt x="4096" y="5955"/>
                  <a:pt x="4096" y="6491"/>
                </a:cubicBezTo>
                <a:cubicBezTo>
                  <a:pt x="4096" y="7058"/>
                  <a:pt x="3624" y="7530"/>
                  <a:pt x="3057" y="7530"/>
                </a:cubicBezTo>
                <a:cubicBezTo>
                  <a:pt x="2490" y="7530"/>
                  <a:pt x="2017" y="7089"/>
                  <a:pt x="2017" y="6491"/>
                </a:cubicBezTo>
                <a:cubicBezTo>
                  <a:pt x="2017" y="5955"/>
                  <a:pt x="2490" y="5483"/>
                  <a:pt x="3057" y="5483"/>
                </a:cubicBezTo>
                <a:close/>
                <a:moveTo>
                  <a:pt x="10964" y="6869"/>
                </a:moveTo>
                <a:lnTo>
                  <a:pt x="10964" y="7530"/>
                </a:lnTo>
                <a:lnTo>
                  <a:pt x="4411" y="7530"/>
                </a:lnTo>
                <a:cubicBezTo>
                  <a:pt x="4569" y="7341"/>
                  <a:pt x="4695" y="7089"/>
                  <a:pt x="4726" y="6869"/>
                </a:cubicBezTo>
                <a:close/>
                <a:moveTo>
                  <a:pt x="3088" y="8255"/>
                </a:moveTo>
                <a:cubicBezTo>
                  <a:pt x="4411" y="8255"/>
                  <a:pt x="5514" y="9295"/>
                  <a:pt x="5514" y="10649"/>
                </a:cubicBezTo>
                <a:lnTo>
                  <a:pt x="5514" y="10996"/>
                </a:lnTo>
                <a:lnTo>
                  <a:pt x="694" y="10996"/>
                </a:lnTo>
                <a:lnTo>
                  <a:pt x="694" y="10649"/>
                </a:lnTo>
                <a:cubicBezTo>
                  <a:pt x="694" y="9295"/>
                  <a:pt x="1733" y="8255"/>
                  <a:pt x="3088" y="8255"/>
                </a:cubicBezTo>
                <a:close/>
                <a:moveTo>
                  <a:pt x="10933" y="8286"/>
                </a:moveTo>
                <a:lnTo>
                  <a:pt x="10933" y="10996"/>
                </a:lnTo>
                <a:lnTo>
                  <a:pt x="6144" y="10996"/>
                </a:lnTo>
                <a:lnTo>
                  <a:pt x="6144" y="10649"/>
                </a:lnTo>
                <a:cubicBezTo>
                  <a:pt x="6144" y="9830"/>
                  <a:pt x="5829" y="9074"/>
                  <a:pt x="5199" y="8476"/>
                </a:cubicBezTo>
                <a:cubicBezTo>
                  <a:pt x="5136" y="8412"/>
                  <a:pt x="5041" y="8318"/>
                  <a:pt x="4978" y="8286"/>
                </a:cubicBezTo>
                <a:close/>
                <a:moveTo>
                  <a:pt x="8602" y="1"/>
                </a:moveTo>
                <a:cubicBezTo>
                  <a:pt x="7656" y="1"/>
                  <a:pt x="6900" y="757"/>
                  <a:pt x="6900" y="1702"/>
                </a:cubicBezTo>
                <a:cubicBezTo>
                  <a:pt x="6900" y="2175"/>
                  <a:pt x="7058" y="2616"/>
                  <a:pt x="7404" y="2931"/>
                </a:cubicBezTo>
                <a:lnTo>
                  <a:pt x="7467" y="2962"/>
                </a:lnTo>
                <a:cubicBezTo>
                  <a:pt x="6302" y="3435"/>
                  <a:pt x="5514" y="4537"/>
                  <a:pt x="5514" y="5798"/>
                </a:cubicBezTo>
                <a:lnTo>
                  <a:pt x="5514" y="6144"/>
                </a:lnTo>
                <a:lnTo>
                  <a:pt x="4789" y="6144"/>
                </a:lnTo>
                <a:cubicBezTo>
                  <a:pt x="4632" y="5420"/>
                  <a:pt x="3907" y="4789"/>
                  <a:pt x="3088" y="4789"/>
                </a:cubicBezTo>
                <a:cubicBezTo>
                  <a:pt x="2143" y="4789"/>
                  <a:pt x="1387" y="5514"/>
                  <a:pt x="1387" y="6459"/>
                </a:cubicBezTo>
                <a:cubicBezTo>
                  <a:pt x="1387" y="6995"/>
                  <a:pt x="1576" y="7404"/>
                  <a:pt x="1954" y="7719"/>
                </a:cubicBezTo>
                <a:cubicBezTo>
                  <a:pt x="788" y="8192"/>
                  <a:pt x="1" y="9295"/>
                  <a:pt x="1" y="10555"/>
                </a:cubicBezTo>
                <a:lnTo>
                  <a:pt x="1" y="11279"/>
                </a:lnTo>
                <a:cubicBezTo>
                  <a:pt x="1" y="11468"/>
                  <a:pt x="158" y="11626"/>
                  <a:pt x="379" y="11626"/>
                </a:cubicBezTo>
                <a:lnTo>
                  <a:pt x="11342" y="11626"/>
                </a:lnTo>
                <a:cubicBezTo>
                  <a:pt x="11563" y="11626"/>
                  <a:pt x="11721" y="11468"/>
                  <a:pt x="11721" y="11279"/>
                </a:cubicBezTo>
                <a:lnTo>
                  <a:pt x="11721" y="5798"/>
                </a:lnTo>
                <a:cubicBezTo>
                  <a:pt x="11626" y="4537"/>
                  <a:pt x="10838" y="3435"/>
                  <a:pt x="9736" y="2962"/>
                </a:cubicBezTo>
                <a:lnTo>
                  <a:pt x="9767" y="2931"/>
                </a:lnTo>
                <a:cubicBezTo>
                  <a:pt x="10082" y="2616"/>
                  <a:pt x="10303" y="2175"/>
                  <a:pt x="10303" y="1702"/>
                </a:cubicBezTo>
                <a:cubicBezTo>
                  <a:pt x="10303" y="757"/>
                  <a:pt x="9547" y="1"/>
                  <a:pt x="8602"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nvGrpSpPr>
          <p:cNvPr id="10390" name="Google Shape;10390;p112"/>
          <p:cNvGrpSpPr/>
          <p:nvPr/>
        </p:nvGrpSpPr>
        <p:grpSpPr>
          <a:xfrm>
            <a:off x="3510650" y="2046905"/>
            <a:ext cx="477799" cy="472380"/>
            <a:chOff x="-34421275" y="1912725"/>
            <a:chExt cx="295375" cy="292025"/>
          </a:xfrm>
        </p:grpSpPr>
        <p:sp>
          <p:nvSpPr>
            <p:cNvPr id="10391" name="Google Shape;10391;p112"/>
            <p:cNvSpPr/>
            <p:nvPr/>
          </p:nvSpPr>
          <p:spPr>
            <a:xfrm>
              <a:off x="-34421275" y="1974375"/>
              <a:ext cx="236300" cy="230375"/>
            </a:xfrm>
            <a:custGeom>
              <a:avLst/>
              <a:gdLst/>
              <a:ahLst/>
              <a:cxnLst/>
              <a:rect l="l" t="t" r="r" b="b"/>
              <a:pathLst>
                <a:path w="9452" h="9215" extrusionOk="0">
                  <a:moveTo>
                    <a:pt x="2158" y="725"/>
                  </a:moveTo>
                  <a:cubicBezTo>
                    <a:pt x="2245" y="725"/>
                    <a:pt x="2332" y="764"/>
                    <a:pt x="2395" y="843"/>
                  </a:cubicBezTo>
                  <a:lnTo>
                    <a:pt x="3371" y="1851"/>
                  </a:lnTo>
                  <a:cubicBezTo>
                    <a:pt x="3497" y="1946"/>
                    <a:pt x="3497" y="2198"/>
                    <a:pt x="3371" y="2324"/>
                  </a:cubicBezTo>
                  <a:lnTo>
                    <a:pt x="3151" y="2544"/>
                  </a:lnTo>
                  <a:lnTo>
                    <a:pt x="1702" y="1095"/>
                  </a:lnTo>
                  <a:lnTo>
                    <a:pt x="1922" y="843"/>
                  </a:lnTo>
                  <a:cubicBezTo>
                    <a:pt x="1985" y="764"/>
                    <a:pt x="2072" y="725"/>
                    <a:pt x="2158" y="725"/>
                  </a:cubicBezTo>
                  <a:close/>
                  <a:moveTo>
                    <a:pt x="7345" y="5884"/>
                  </a:moveTo>
                  <a:cubicBezTo>
                    <a:pt x="7428" y="5884"/>
                    <a:pt x="7514" y="5915"/>
                    <a:pt x="7593" y="5978"/>
                  </a:cubicBezTo>
                  <a:lnTo>
                    <a:pt x="8570" y="6955"/>
                  </a:lnTo>
                  <a:cubicBezTo>
                    <a:pt x="8696" y="7081"/>
                    <a:pt x="8696" y="7301"/>
                    <a:pt x="8570" y="7428"/>
                  </a:cubicBezTo>
                  <a:lnTo>
                    <a:pt x="8349" y="7648"/>
                  </a:lnTo>
                  <a:lnTo>
                    <a:pt x="6900" y="6199"/>
                  </a:lnTo>
                  <a:lnTo>
                    <a:pt x="7120" y="5978"/>
                  </a:lnTo>
                  <a:cubicBezTo>
                    <a:pt x="7183" y="5915"/>
                    <a:pt x="7262" y="5884"/>
                    <a:pt x="7345" y="5884"/>
                  </a:cubicBezTo>
                  <a:close/>
                  <a:moveTo>
                    <a:pt x="1166" y="1568"/>
                  </a:moveTo>
                  <a:lnTo>
                    <a:pt x="2678" y="3048"/>
                  </a:lnTo>
                  <a:cubicBezTo>
                    <a:pt x="2521" y="3426"/>
                    <a:pt x="2584" y="3867"/>
                    <a:pt x="2867" y="4214"/>
                  </a:cubicBezTo>
                  <a:lnTo>
                    <a:pt x="5104" y="6451"/>
                  </a:lnTo>
                  <a:cubicBezTo>
                    <a:pt x="5301" y="6648"/>
                    <a:pt x="5559" y="6746"/>
                    <a:pt x="5826" y="6746"/>
                  </a:cubicBezTo>
                  <a:cubicBezTo>
                    <a:pt x="5985" y="6746"/>
                    <a:pt x="6148" y="6711"/>
                    <a:pt x="6301" y="6640"/>
                  </a:cubicBezTo>
                  <a:lnTo>
                    <a:pt x="7782" y="8152"/>
                  </a:lnTo>
                  <a:lnTo>
                    <a:pt x="7719" y="8215"/>
                  </a:lnTo>
                  <a:cubicBezTo>
                    <a:pt x="7522" y="8412"/>
                    <a:pt x="7264" y="8510"/>
                    <a:pt x="6997" y="8510"/>
                  </a:cubicBezTo>
                  <a:cubicBezTo>
                    <a:pt x="6838" y="8510"/>
                    <a:pt x="6675" y="8475"/>
                    <a:pt x="6522" y="8404"/>
                  </a:cubicBezTo>
                  <a:cubicBezTo>
                    <a:pt x="4348" y="7301"/>
                    <a:pt x="1891" y="4876"/>
                    <a:pt x="851" y="2796"/>
                  </a:cubicBezTo>
                  <a:cubicBezTo>
                    <a:pt x="693" y="2418"/>
                    <a:pt x="788" y="1946"/>
                    <a:pt x="1103" y="1631"/>
                  </a:cubicBezTo>
                  <a:lnTo>
                    <a:pt x="1166" y="1568"/>
                  </a:lnTo>
                  <a:close/>
                  <a:moveTo>
                    <a:pt x="2190" y="0"/>
                  </a:moveTo>
                  <a:cubicBezTo>
                    <a:pt x="1922" y="0"/>
                    <a:pt x="1654" y="103"/>
                    <a:pt x="1449" y="307"/>
                  </a:cubicBezTo>
                  <a:lnTo>
                    <a:pt x="662" y="1095"/>
                  </a:lnTo>
                  <a:cubicBezTo>
                    <a:pt x="158" y="1599"/>
                    <a:pt x="0" y="2387"/>
                    <a:pt x="315" y="3017"/>
                  </a:cubicBezTo>
                  <a:cubicBezTo>
                    <a:pt x="1386" y="5348"/>
                    <a:pt x="3907" y="7869"/>
                    <a:pt x="6270" y="9034"/>
                  </a:cubicBezTo>
                  <a:cubicBezTo>
                    <a:pt x="6521" y="9154"/>
                    <a:pt x="6789" y="9214"/>
                    <a:pt x="7054" y="9214"/>
                  </a:cubicBezTo>
                  <a:cubicBezTo>
                    <a:pt x="7488" y="9214"/>
                    <a:pt x="7910" y="9052"/>
                    <a:pt x="8223" y="8719"/>
                  </a:cubicBezTo>
                  <a:lnTo>
                    <a:pt x="9042" y="7900"/>
                  </a:lnTo>
                  <a:cubicBezTo>
                    <a:pt x="9452" y="7522"/>
                    <a:pt x="9452" y="6829"/>
                    <a:pt x="9042" y="6451"/>
                  </a:cubicBezTo>
                  <a:lnTo>
                    <a:pt x="8066" y="5474"/>
                  </a:lnTo>
                  <a:cubicBezTo>
                    <a:pt x="7876" y="5269"/>
                    <a:pt x="7609" y="5167"/>
                    <a:pt x="7341" y="5167"/>
                  </a:cubicBezTo>
                  <a:cubicBezTo>
                    <a:pt x="7073" y="5167"/>
                    <a:pt x="6805" y="5269"/>
                    <a:pt x="6616" y="5474"/>
                  </a:cubicBezTo>
                  <a:lnTo>
                    <a:pt x="6144" y="5947"/>
                  </a:lnTo>
                  <a:cubicBezTo>
                    <a:pt x="6081" y="5994"/>
                    <a:pt x="5994" y="6018"/>
                    <a:pt x="5907" y="6018"/>
                  </a:cubicBezTo>
                  <a:cubicBezTo>
                    <a:pt x="5821" y="6018"/>
                    <a:pt x="5734" y="5994"/>
                    <a:pt x="5671" y="5947"/>
                  </a:cubicBezTo>
                  <a:lnTo>
                    <a:pt x="3434" y="3678"/>
                  </a:lnTo>
                  <a:cubicBezTo>
                    <a:pt x="3308" y="3584"/>
                    <a:pt x="3308" y="3332"/>
                    <a:pt x="3434" y="3206"/>
                  </a:cubicBezTo>
                  <a:lnTo>
                    <a:pt x="3907" y="2733"/>
                  </a:lnTo>
                  <a:cubicBezTo>
                    <a:pt x="4285" y="2355"/>
                    <a:pt x="4285" y="1694"/>
                    <a:pt x="3907" y="1284"/>
                  </a:cubicBezTo>
                  <a:lnTo>
                    <a:pt x="2930" y="307"/>
                  </a:lnTo>
                  <a:cubicBezTo>
                    <a:pt x="2725" y="103"/>
                    <a:pt x="2458" y="0"/>
                    <a:pt x="2190"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392" name="Google Shape;10392;p112"/>
            <p:cNvSpPr/>
            <p:nvPr/>
          </p:nvSpPr>
          <p:spPr>
            <a:xfrm>
              <a:off x="-34288175" y="1912725"/>
              <a:ext cx="162275" cy="163075"/>
            </a:xfrm>
            <a:custGeom>
              <a:avLst/>
              <a:gdLst/>
              <a:ahLst/>
              <a:cxnLst/>
              <a:rect l="l" t="t" r="r" b="b"/>
              <a:pathLst>
                <a:path w="6491" h="6523" extrusionOk="0">
                  <a:moveTo>
                    <a:pt x="5766" y="726"/>
                  </a:moveTo>
                  <a:lnTo>
                    <a:pt x="5766" y="2458"/>
                  </a:lnTo>
                  <a:lnTo>
                    <a:pt x="5388" y="2049"/>
                  </a:lnTo>
                  <a:cubicBezTo>
                    <a:pt x="5325" y="2002"/>
                    <a:pt x="5238" y="1978"/>
                    <a:pt x="5152" y="1978"/>
                  </a:cubicBezTo>
                  <a:cubicBezTo>
                    <a:pt x="5065" y="1978"/>
                    <a:pt x="4978" y="2002"/>
                    <a:pt x="4915" y="2049"/>
                  </a:cubicBezTo>
                  <a:lnTo>
                    <a:pt x="1985" y="4979"/>
                  </a:lnTo>
                  <a:cubicBezTo>
                    <a:pt x="1922" y="5042"/>
                    <a:pt x="1891" y="5136"/>
                    <a:pt x="1891" y="5199"/>
                  </a:cubicBezTo>
                  <a:cubicBezTo>
                    <a:pt x="1891" y="5294"/>
                    <a:pt x="1922" y="5420"/>
                    <a:pt x="1985" y="5451"/>
                  </a:cubicBezTo>
                  <a:lnTo>
                    <a:pt x="2395" y="5829"/>
                  </a:lnTo>
                  <a:lnTo>
                    <a:pt x="662" y="5829"/>
                  </a:lnTo>
                  <a:lnTo>
                    <a:pt x="662" y="4097"/>
                  </a:lnTo>
                  <a:lnTo>
                    <a:pt x="1040" y="4506"/>
                  </a:lnTo>
                  <a:cubicBezTo>
                    <a:pt x="1103" y="4553"/>
                    <a:pt x="1198" y="4577"/>
                    <a:pt x="1288" y="4577"/>
                  </a:cubicBezTo>
                  <a:cubicBezTo>
                    <a:pt x="1379" y="4577"/>
                    <a:pt x="1466" y="4553"/>
                    <a:pt x="1513" y="4506"/>
                  </a:cubicBezTo>
                  <a:lnTo>
                    <a:pt x="4443" y="1576"/>
                  </a:lnTo>
                  <a:cubicBezTo>
                    <a:pt x="4506" y="1513"/>
                    <a:pt x="4569" y="1419"/>
                    <a:pt x="4569" y="1356"/>
                  </a:cubicBezTo>
                  <a:cubicBezTo>
                    <a:pt x="4569" y="1261"/>
                    <a:pt x="4537" y="1135"/>
                    <a:pt x="4443" y="1104"/>
                  </a:cubicBezTo>
                  <a:lnTo>
                    <a:pt x="4033" y="726"/>
                  </a:lnTo>
                  <a:close/>
                  <a:moveTo>
                    <a:pt x="3214" y="1"/>
                  </a:moveTo>
                  <a:cubicBezTo>
                    <a:pt x="3057" y="1"/>
                    <a:pt x="2931" y="96"/>
                    <a:pt x="2899" y="222"/>
                  </a:cubicBezTo>
                  <a:cubicBezTo>
                    <a:pt x="2868" y="316"/>
                    <a:pt x="2868" y="474"/>
                    <a:pt x="2994" y="568"/>
                  </a:cubicBezTo>
                  <a:lnTo>
                    <a:pt x="3687" y="1261"/>
                  </a:lnTo>
                  <a:lnTo>
                    <a:pt x="1261" y="3719"/>
                  </a:lnTo>
                  <a:lnTo>
                    <a:pt x="536" y="2994"/>
                  </a:lnTo>
                  <a:cubicBezTo>
                    <a:pt x="490" y="2948"/>
                    <a:pt x="393" y="2919"/>
                    <a:pt x="295" y="2919"/>
                  </a:cubicBezTo>
                  <a:cubicBezTo>
                    <a:pt x="259" y="2919"/>
                    <a:pt x="223" y="2922"/>
                    <a:pt x="190" y="2931"/>
                  </a:cubicBezTo>
                  <a:cubicBezTo>
                    <a:pt x="64" y="2962"/>
                    <a:pt x="1" y="3120"/>
                    <a:pt x="1" y="3246"/>
                  </a:cubicBezTo>
                  <a:lnTo>
                    <a:pt x="1" y="6144"/>
                  </a:lnTo>
                  <a:cubicBezTo>
                    <a:pt x="1" y="6365"/>
                    <a:pt x="158" y="6522"/>
                    <a:pt x="347" y="6522"/>
                  </a:cubicBezTo>
                  <a:lnTo>
                    <a:pt x="3246" y="6522"/>
                  </a:lnTo>
                  <a:cubicBezTo>
                    <a:pt x="3403" y="6522"/>
                    <a:pt x="3529" y="6428"/>
                    <a:pt x="3561" y="6302"/>
                  </a:cubicBezTo>
                  <a:cubicBezTo>
                    <a:pt x="3624" y="6207"/>
                    <a:pt x="3624" y="6050"/>
                    <a:pt x="3498" y="5955"/>
                  </a:cubicBezTo>
                  <a:lnTo>
                    <a:pt x="2773" y="5262"/>
                  </a:lnTo>
                  <a:lnTo>
                    <a:pt x="5230" y="2805"/>
                  </a:lnTo>
                  <a:lnTo>
                    <a:pt x="5924" y="3530"/>
                  </a:lnTo>
                  <a:cubicBezTo>
                    <a:pt x="5993" y="3576"/>
                    <a:pt x="6096" y="3605"/>
                    <a:pt x="6195" y="3605"/>
                  </a:cubicBezTo>
                  <a:cubicBezTo>
                    <a:pt x="6232" y="3605"/>
                    <a:pt x="6268" y="3601"/>
                    <a:pt x="6302" y="3593"/>
                  </a:cubicBezTo>
                  <a:cubicBezTo>
                    <a:pt x="6396" y="3561"/>
                    <a:pt x="6491" y="3404"/>
                    <a:pt x="6491" y="3277"/>
                  </a:cubicBezTo>
                  <a:lnTo>
                    <a:pt x="6491" y="379"/>
                  </a:lnTo>
                  <a:cubicBezTo>
                    <a:pt x="6459" y="159"/>
                    <a:pt x="6333" y="1"/>
                    <a:pt x="6144"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10393" name="Google Shape;10393;p112"/>
          <p:cNvGrpSpPr/>
          <p:nvPr/>
        </p:nvGrpSpPr>
        <p:grpSpPr>
          <a:xfrm>
            <a:off x="3509376" y="2657458"/>
            <a:ext cx="480347" cy="473997"/>
            <a:chOff x="-34418125" y="2271100"/>
            <a:chExt cx="296950" cy="293025"/>
          </a:xfrm>
        </p:grpSpPr>
        <p:sp>
          <p:nvSpPr>
            <p:cNvPr id="10394" name="Google Shape;10394;p112"/>
            <p:cNvSpPr/>
            <p:nvPr/>
          </p:nvSpPr>
          <p:spPr>
            <a:xfrm>
              <a:off x="-34418125" y="2271100"/>
              <a:ext cx="296950" cy="293025"/>
            </a:xfrm>
            <a:custGeom>
              <a:avLst/>
              <a:gdLst/>
              <a:ahLst/>
              <a:cxnLst/>
              <a:rect l="l" t="t" r="r" b="b"/>
              <a:pathLst>
                <a:path w="11878" h="11721" extrusionOk="0">
                  <a:moveTo>
                    <a:pt x="6207" y="1229"/>
                  </a:moveTo>
                  <a:lnTo>
                    <a:pt x="7089" y="2080"/>
                  </a:lnTo>
                  <a:lnTo>
                    <a:pt x="6207" y="2080"/>
                  </a:lnTo>
                  <a:lnTo>
                    <a:pt x="6207" y="1229"/>
                  </a:lnTo>
                  <a:close/>
                  <a:moveTo>
                    <a:pt x="7561" y="9074"/>
                  </a:moveTo>
                  <a:lnTo>
                    <a:pt x="7561" y="10366"/>
                  </a:lnTo>
                  <a:lnTo>
                    <a:pt x="6238" y="10366"/>
                  </a:lnTo>
                  <a:lnTo>
                    <a:pt x="7561" y="9074"/>
                  </a:lnTo>
                  <a:close/>
                  <a:moveTo>
                    <a:pt x="5514" y="725"/>
                  </a:moveTo>
                  <a:lnTo>
                    <a:pt x="5514" y="2427"/>
                  </a:lnTo>
                  <a:cubicBezTo>
                    <a:pt x="5514" y="2616"/>
                    <a:pt x="5671" y="2773"/>
                    <a:pt x="5860" y="2773"/>
                  </a:cubicBezTo>
                  <a:lnTo>
                    <a:pt x="7561" y="2773"/>
                  </a:lnTo>
                  <a:lnTo>
                    <a:pt x="7561" y="4222"/>
                  </a:lnTo>
                  <a:cubicBezTo>
                    <a:pt x="6837" y="4947"/>
                    <a:pt x="6742" y="5924"/>
                    <a:pt x="6994" y="6711"/>
                  </a:cubicBezTo>
                  <a:lnTo>
                    <a:pt x="4726" y="8980"/>
                  </a:lnTo>
                  <a:lnTo>
                    <a:pt x="1670" y="8980"/>
                  </a:lnTo>
                  <a:cubicBezTo>
                    <a:pt x="1481" y="8980"/>
                    <a:pt x="1323" y="9137"/>
                    <a:pt x="1323" y="9358"/>
                  </a:cubicBezTo>
                  <a:cubicBezTo>
                    <a:pt x="1323" y="9547"/>
                    <a:pt x="1481" y="9704"/>
                    <a:pt x="1670" y="9704"/>
                  </a:cubicBezTo>
                  <a:lnTo>
                    <a:pt x="4033" y="9704"/>
                  </a:lnTo>
                  <a:lnTo>
                    <a:pt x="3718" y="10019"/>
                  </a:lnTo>
                  <a:cubicBezTo>
                    <a:pt x="3623" y="10145"/>
                    <a:pt x="3529" y="10240"/>
                    <a:pt x="3497" y="10397"/>
                  </a:cubicBezTo>
                  <a:lnTo>
                    <a:pt x="662" y="10397"/>
                  </a:lnTo>
                  <a:lnTo>
                    <a:pt x="662" y="725"/>
                  </a:lnTo>
                  <a:close/>
                  <a:moveTo>
                    <a:pt x="9295" y="4211"/>
                  </a:moveTo>
                  <a:cubicBezTo>
                    <a:pt x="9367" y="4211"/>
                    <a:pt x="9441" y="4215"/>
                    <a:pt x="9515" y="4222"/>
                  </a:cubicBezTo>
                  <a:lnTo>
                    <a:pt x="9042" y="4695"/>
                  </a:lnTo>
                  <a:cubicBezTo>
                    <a:pt x="8664" y="5073"/>
                    <a:pt x="8664" y="5766"/>
                    <a:pt x="9042" y="6144"/>
                  </a:cubicBezTo>
                  <a:cubicBezTo>
                    <a:pt x="9247" y="6349"/>
                    <a:pt x="9515" y="6451"/>
                    <a:pt x="9779" y="6451"/>
                  </a:cubicBezTo>
                  <a:cubicBezTo>
                    <a:pt x="10042" y="6451"/>
                    <a:pt x="10302" y="6349"/>
                    <a:pt x="10491" y="6144"/>
                  </a:cubicBezTo>
                  <a:lnTo>
                    <a:pt x="10964" y="5672"/>
                  </a:lnTo>
                  <a:lnTo>
                    <a:pt x="10964" y="5672"/>
                  </a:lnTo>
                  <a:cubicBezTo>
                    <a:pt x="11058" y="6239"/>
                    <a:pt x="10869" y="6743"/>
                    <a:pt x="10491" y="7089"/>
                  </a:cubicBezTo>
                  <a:cubicBezTo>
                    <a:pt x="10183" y="7418"/>
                    <a:pt x="9741" y="7626"/>
                    <a:pt x="9278" y="7626"/>
                  </a:cubicBezTo>
                  <a:cubicBezTo>
                    <a:pt x="9031" y="7626"/>
                    <a:pt x="8779" y="7567"/>
                    <a:pt x="8538" y="7436"/>
                  </a:cubicBezTo>
                  <a:cubicBezTo>
                    <a:pt x="8496" y="7415"/>
                    <a:pt x="8451" y="7404"/>
                    <a:pt x="8404" y="7404"/>
                  </a:cubicBezTo>
                  <a:cubicBezTo>
                    <a:pt x="8311" y="7404"/>
                    <a:pt x="8213" y="7446"/>
                    <a:pt x="8129" y="7530"/>
                  </a:cubicBezTo>
                  <a:lnTo>
                    <a:pt x="4726" y="10964"/>
                  </a:lnTo>
                  <a:cubicBezTo>
                    <a:pt x="4663" y="11012"/>
                    <a:pt x="4568" y="11035"/>
                    <a:pt x="4478" y="11035"/>
                  </a:cubicBezTo>
                  <a:cubicBezTo>
                    <a:pt x="4387" y="11035"/>
                    <a:pt x="4301" y="11012"/>
                    <a:pt x="4253" y="10964"/>
                  </a:cubicBezTo>
                  <a:cubicBezTo>
                    <a:pt x="4127" y="10838"/>
                    <a:pt x="4127" y="10586"/>
                    <a:pt x="4253" y="10492"/>
                  </a:cubicBezTo>
                  <a:lnTo>
                    <a:pt x="7656" y="7058"/>
                  </a:lnTo>
                  <a:cubicBezTo>
                    <a:pt x="7782" y="6932"/>
                    <a:pt x="7782" y="6774"/>
                    <a:pt x="7750" y="6648"/>
                  </a:cubicBezTo>
                  <a:cubicBezTo>
                    <a:pt x="7467" y="6113"/>
                    <a:pt x="7498" y="5356"/>
                    <a:pt x="7971" y="4821"/>
                  </a:cubicBezTo>
                  <a:cubicBezTo>
                    <a:pt x="8330" y="4407"/>
                    <a:pt x="8785" y="4211"/>
                    <a:pt x="9295" y="4211"/>
                  </a:cubicBezTo>
                  <a:close/>
                  <a:moveTo>
                    <a:pt x="378" y="1"/>
                  </a:moveTo>
                  <a:cubicBezTo>
                    <a:pt x="189" y="1"/>
                    <a:pt x="32" y="158"/>
                    <a:pt x="32" y="347"/>
                  </a:cubicBezTo>
                  <a:lnTo>
                    <a:pt x="32" y="10681"/>
                  </a:lnTo>
                  <a:cubicBezTo>
                    <a:pt x="0" y="10870"/>
                    <a:pt x="158" y="11027"/>
                    <a:pt x="347" y="11027"/>
                  </a:cubicBezTo>
                  <a:lnTo>
                    <a:pt x="3529" y="11027"/>
                  </a:lnTo>
                  <a:cubicBezTo>
                    <a:pt x="3560" y="11185"/>
                    <a:pt x="3655" y="11311"/>
                    <a:pt x="3781" y="11437"/>
                  </a:cubicBezTo>
                  <a:cubicBezTo>
                    <a:pt x="3970" y="11626"/>
                    <a:pt x="4230" y="11720"/>
                    <a:pt x="4494" y="11720"/>
                  </a:cubicBezTo>
                  <a:cubicBezTo>
                    <a:pt x="4758" y="11720"/>
                    <a:pt x="5025" y="11626"/>
                    <a:pt x="5230" y="11437"/>
                  </a:cubicBezTo>
                  <a:lnTo>
                    <a:pt x="5608" y="11027"/>
                  </a:lnTo>
                  <a:lnTo>
                    <a:pt x="7940" y="11027"/>
                  </a:lnTo>
                  <a:cubicBezTo>
                    <a:pt x="8129" y="11027"/>
                    <a:pt x="8286" y="10870"/>
                    <a:pt x="8286" y="10681"/>
                  </a:cubicBezTo>
                  <a:lnTo>
                    <a:pt x="8286" y="8349"/>
                  </a:lnTo>
                  <a:lnTo>
                    <a:pt x="8538" y="8129"/>
                  </a:lnTo>
                  <a:cubicBezTo>
                    <a:pt x="8792" y="8220"/>
                    <a:pt x="9065" y="8269"/>
                    <a:pt x="9344" y="8269"/>
                  </a:cubicBezTo>
                  <a:cubicBezTo>
                    <a:pt x="9929" y="8269"/>
                    <a:pt x="10536" y="8053"/>
                    <a:pt x="11027" y="7562"/>
                  </a:cubicBezTo>
                  <a:cubicBezTo>
                    <a:pt x="11752" y="6806"/>
                    <a:pt x="11878" y="5735"/>
                    <a:pt x="11500" y="4852"/>
                  </a:cubicBezTo>
                  <a:cubicBezTo>
                    <a:pt x="11437" y="4726"/>
                    <a:pt x="11342" y="4695"/>
                    <a:pt x="11248" y="4663"/>
                  </a:cubicBezTo>
                  <a:cubicBezTo>
                    <a:pt x="11122" y="4663"/>
                    <a:pt x="11027" y="4663"/>
                    <a:pt x="10932" y="4726"/>
                  </a:cubicBezTo>
                  <a:lnTo>
                    <a:pt x="10082" y="5609"/>
                  </a:lnTo>
                  <a:cubicBezTo>
                    <a:pt x="10019" y="5656"/>
                    <a:pt x="9924" y="5679"/>
                    <a:pt x="9834" y="5679"/>
                  </a:cubicBezTo>
                  <a:cubicBezTo>
                    <a:pt x="9743" y="5679"/>
                    <a:pt x="9657" y="5656"/>
                    <a:pt x="9609" y="5609"/>
                  </a:cubicBezTo>
                  <a:cubicBezTo>
                    <a:pt x="9483" y="5483"/>
                    <a:pt x="9483" y="5230"/>
                    <a:pt x="9609" y="5136"/>
                  </a:cubicBezTo>
                  <a:lnTo>
                    <a:pt x="10460" y="4254"/>
                  </a:lnTo>
                  <a:cubicBezTo>
                    <a:pt x="10554" y="4191"/>
                    <a:pt x="10586" y="4065"/>
                    <a:pt x="10554" y="3939"/>
                  </a:cubicBezTo>
                  <a:cubicBezTo>
                    <a:pt x="10554" y="3813"/>
                    <a:pt x="10460" y="3750"/>
                    <a:pt x="10334" y="3718"/>
                  </a:cubicBezTo>
                  <a:cubicBezTo>
                    <a:pt x="10003" y="3561"/>
                    <a:pt x="9649" y="3482"/>
                    <a:pt x="9298" y="3482"/>
                  </a:cubicBezTo>
                  <a:cubicBezTo>
                    <a:pt x="8948" y="3482"/>
                    <a:pt x="8601" y="3561"/>
                    <a:pt x="8286" y="3718"/>
                  </a:cubicBezTo>
                  <a:lnTo>
                    <a:pt x="8286" y="2395"/>
                  </a:lnTo>
                  <a:cubicBezTo>
                    <a:pt x="8286" y="2332"/>
                    <a:pt x="8255" y="2206"/>
                    <a:pt x="8192" y="2175"/>
                  </a:cubicBezTo>
                  <a:lnTo>
                    <a:pt x="6144" y="127"/>
                  </a:lnTo>
                  <a:cubicBezTo>
                    <a:pt x="6049" y="64"/>
                    <a:pt x="5986" y="1"/>
                    <a:pt x="5892"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395" name="Google Shape;10395;p112"/>
            <p:cNvSpPr/>
            <p:nvPr/>
          </p:nvSpPr>
          <p:spPr>
            <a:xfrm>
              <a:off x="-34331500" y="2305750"/>
              <a:ext cx="17350" cy="18150"/>
            </a:xfrm>
            <a:custGeom>
              <a:avLst/>
              <a:gdLst/>
              <a:ahLst/>
              <a:cxnLst/>
              <a:rect l="l" t="t" r="r" b="b"/>
              <a:pathLst>
                <a:path w="694" h="726" extrusionOk="0">
                  <a:moveTo>
                    <a:pt x="347" y="1"/>
                  </a:moveTo>
                  <a:cubicBezTo>
                    <a:pt x="158" y="1"/>
                    <a:pt x="1" y="158"/>
                    <a:pt x="1" y="347"/>
                  </a:cubicBezTo>
                  <a:cubicBezTo>
                    <a:pt x="1" y="568"/>
                    <a:pt x="158" y="725"/>
                    <a:pt x="347" y="725"/>
                  </a:cubicBezTo>
                  <a:cubicBezTo>
                    <a:pt x="536" y="725"/>
                    <a:pt x="694" y="568"/>
                    <a:pt x="694" y="347"/>
                  </a:cubicBezTo>
                  <a:cubicBezTo>
                    <a:pt x="694" y="158"/>
                    <a:pt x="536" y="1"/>
                    <a:pt x="347"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396" name="Google Shape;10396;p112"/>
            <p:cNvSpPr/>
            <p:nvPr/>
          </p:nvSpPr>
          <p:spPr>
            <a:xfrm>
              <a:off x="-34331500" y="2341200"/>
              <a:ext cx="17350" cy="69350"/>
            </a:xfrm>
            <a:custGeom>
              <a:avLst/>
              <a:gdLst/>
              <a:ahLst/>
              <a:cxnLst/>
              <a:rect l="l" t="t" r="r" b="b"/>
              <a:pathLst>
                <a:path w="694" h="2774" extrusionOk="0">
                  <a:moveTo>
                    <a:pt x="347" y="1"/>
                  </a:moveTo>
                  <a:cubicBezTo>
                    <a:pt x="158" y="1"/>
                    <a:pt x="1" y="158"/>
                    <a:pt x="1" y="347"/>
                  </a:cubicBezTo>
                  <a:lnTo>
                    <a:pt x="1" y="2395"/>
                  </a:lnTo>
                  <a:cubicBezTo>
                    <a:pt x="1" y="2584"/>
                    <a:pt x="158" y="2773"/>
                    <a:pt x="347" y="2773"/>
                  </a:cubicBezTo>
                  <a:cubicBezTo>
                    <a:pt x="536" y="2773"/>
                    <a:pt x="694" y="2584"/>
                    <a:pt x="694" y="2395"/>
                  </a:cubicBezTo>
                  <a:lnTo>
                    <a:pt x="694" y="347"/>
                  </a:lnTo>
                  <a:cubicBezTo>
                    <a:pt x="694" y="158"/>
                    <a:pt x="536" y="1"/>
                    <a:pt x="347"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397" name="Google Shape;10397;p112"/>
            <p:cNvSpPr/>
            <p:nvPr/>
          </p:nvSpPr>
          <p:spPr>
            <a:xfrm>
              <a:off x="-34384275" y="2427050"/>
              <a:ext cx="121325" cy="17350"/>
            </a:xfrm>
            <a:custGeom>
              <a:avLst/>
              <a:gdLst/>
              <a:ahLst/>
              <a:cxnLst/>
              <a:rect l="l" t="t" r="r" b="b"/>
              <a:pathLst>
                <a:path w="4853" h="694" extrusionOk="0">
                  <a:moveTo>
                    <a:pt x="379" y="1"/>
                  </a:moveTo>
                  <a:cubicBezTo>
                    <a:pt x="158" y="1"/>
                    <a:pt x="1" y="158"/>
                    <a:pt x="1" y="347"/>
                  </a:cubicBezTo>
                  <a:cubicBezTo>
                    <a:pt x="1" y="536"/>
                    <a:pt x="158" y="694"/>
                    <a:pt x="379" y="694"/>
                  </a:cubicBezTo>
                  <a:lnTo>
                    <a:pt x="4506" y="694"/>
                  </a:lnTo>
                  <a:cubicBezTo>
                    <a:pt x="4695" y="694"/>
                    <a:pt x="4853" y="536"/>
                    <a:pt x="4853" y="347"/>
                  </a:cubicBezTo>
                  <a:cubicBezTo>
                    <a:pt x="4853" y="158"/>
                    <a:pt x="4695" y="1"/>
                    <a:pt x="4506"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398" name="Google Shape;10398;p112"/>
            <p:cNvSpPr/>
            <p:nvPr/>
          </p:nvSpPr>
          <p:spPr>
            <a:xfrm>
              <a:off x="-34384275" y="2460125"/>
              <a:ext cx="88250" cy="18150"/>
            </a:xfrm>
            <a:custGeom>
              <a:avLst/>
              <a:gdLst/>
              <a:ahLst/>
              <a:cxnLst/>
              <a:rect l="l" t="t" r="r" b="b"/>
              <a:pathLst>
                <a:path w="3530" h="726" extrusionOk="0">
                  <a:moveTo>
                    <a:pt x="379" y="1"/>
                  </a:moveTo>
                  <a:cubicBezTo>
                    <a:pt x="158" y="1"/>
                    <a:pt x="1" y="158"/>
                    <a:pt x="1" y="379"/>
                  </a:cubicBezTo>
                  <a:cubicBezTo>
                    <a:pt x="1" y="599"/>
                    <a:pt x="158" y="725"/>
                    <a:pt x="379" y="725"/>
                  </a:cubicBezTo>
                  <a:lnTo>
                    <a:pt x="3151" y="725"/>
                  </a:lnTo>
                  <a:cubicBezTo>
                    <a:pt x="3372" y="725"/>
                    <a:pt x="3530" y="568"/>
                    <a:pt x="3530" y="379"/>
                  </a:cubicBezTo>
                  <a:cubicBezTo>
                    <a:pt x="3530" y="158"/>
                    <a:pt x="3372" y="1"/>
                    <a:pt x="3151"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10399" name="Google Shape;10399;p112"/>
          <p:cNvGrpSpPr/>
          <p:nvPr/>
        </p:nvGrpSpPr>
        <p:grpSpPr>
          <a:xfrm>
            <a:off x="3510650" y="3265493"/>
            <a:ext cx="477799" cy="471449"/>
            <a:chOff x="-34421275" y="2631050"/>
            <a:chExt cx="295375" cy="291450"/>
          </a:xfrm>
        </p:grpSpPr>
        <p:sp>
          <p:nvSpPr>
            <p:cNvPr id="10400" name="Google Shape;10400;p112"/>
            <p:cNvSpPr/>
            <p:nvPr/>
          </p:nvSpPr>
          <p:spPr>
            <a:xfrm>
              <a:off x="-34421275" y="2639125"/>
              <a:ext cx="288275" cy="283375"/>
            </a:xfrm>
            <a:custGeom>
              <a:avLst/>
              <a:gdLst/>
              <a:ahLst/>
              <a:cxnLst/>
              <a:rect l="l" t="t" r="r" b="b"/>
              <a:pathLst>
                <a:path w="11531" h="11335" extrusionOk="0">
                  <a:moveTo>
                    <a:pt x="5592" y="717"/>
                  </a:moveTo>
                  <a:cubicBezTo>
                    <a:pt x="5679" y="717"/>
                    <a:pt x="5766" y="749"/>
                    <a:pt x="5829" y="812"/>
                  </a:cubicBezTo>
                  <a:lnTo>
                    <a:pt x="10680" y="5663"/>
                  </a:lnTo>
                  <a:cubicBezTo>
                    <a:pt x="10775" y="5758"/>
                    <a:pt x="10775" y="6010"/>
                    <a:pt x="10680" y="6136"/>
                  </a:cubicBezTo>
                  <a:cubicBezTo>
                    <a:pt x="10617" y="6183"/>
                    <a:pt x="10523" y="6207"/>
                    <a:pt x="10432" y="6207"/>
                  </a:cubicBezTo>
                  <a:cubicBezTo>
                    <a:pt x="10342" y="6207"/>
                    <a:pt x="10255" y="6183"/>
                    <a:pt x="10208" y="6136"/>
                  </a:cubicBezTo>
                  <a:lnTo>
                    <a:pt x="5356" y="1284"/>
                  </a:lnTo>
                  <a:cubicBezTo>
                    <a:pt x="5230" y="1158"/>
                    <a:pt x="5230" y="938"/>
                    <a:pt x="5356" y="812"/>
                  </a:cubicBezTo>
                  <a:cubicBezTo>
                    <a:pt x="5419" y="749"/>
                    <a:pt x="5506" y="717"/>
                    <a:pt x="5592" y="717"/>
                  </a:cubicBezTo>
                  <a:close/>
                  <a:moveTo>
                    <a:pt x="8444" y="7239"/>
                  </a:moveTo>
                  <a:lnTo>
                    <a:pt x="8538" y="7396"/>
                  </a:lnTo>
                  <a:cubicBezTo>
                    <a:pt x="8696" y="7554"/>
                    <a:pt x="8664" y="7806"/>
                    <a:pt x="8475" y="7932"/>
                  </a:cubicBezTo>
                  <a:lnTo>
                    <a:pt x="5923" y="9223"/>
                  </a:lnTo>
                  <a:cubicBezTo>
                    <a:pt x="5873" y="9261"/>
                    <a:pt x="5819" y="9278"/>
                    <a:pt x="5763" y="9278"/>
                  </a:cubicBezTo>
                  <a:cubicBezTo>
                    <a:pt x="5678" y="9278"/>
                    <a:pt x="5590" y="9237"/>
                    <a:pt x="5514" y="9160"/>
                  </a:cubicBezTo>
                  <a:lnTo>
                    <a:pt x="5230" y="8877"/>
                  </a:lnTo>
                  <a:cubicBezTo>
                    <a:pt x="6301" y="8089"/>
                    <a:pt x="7341" y="7617"/>
                    <a:pt x="8444" y="7239"/>
                  </a:cubicBezTo>
                  <a:close/>
                  <a:moveTo>
                    <a:pt x="5230" y="2198"/>
                  </a:moveTo>
                  <a:lnTo>
                    <a:pt x="9294" y="6230"/>
                  </a:lnTo>
                  <a:cubicBezTo>
                    <a:pt x="7908" y="6703"/>
                    <a:pt x="5797" y="7270"/>
                    <a:pt x="3560" y="9381"/>
                  </a:cubicBezTo>
                  <a:lnTo>
                    <a:pt x="2080" y="7932"/>
                  </a:lnTo>
                  <a:cubicBezTo>
                    <a:pt x="3340" y="6608"/>
                    <a:pt x="4285" y="5033"/>
                    <a:pt x="4852" y="3395"/>
                  </a:cubicBezTo>
                  <a:lnTo>
                    <a:pt x="5230" y="2198"/>
                  </a:lnTo>
                  <a:close/>
                  <a:moveTo>
                    <a:pt x="1138" y="8089"/>
                  </a:moveTo>
                  <a:cubicBezTo>
                    <a:pt x="1229" y="8089"/>
                    <a:pt x="1323" y="8121"/>
                    <a:pt x="1386" y="8184"/>
                  </a:cubicBezTo>
                  <a:lnTo>
                    <a:pt x="3308" y="10105"/>
                  </a:lnTo>
                  <a:cubicBezTo>
                    <a:pt x="3434" y="10231"/>
                    <a:pt x="3434" y="10452"/>
                    <a:pt x="3308" y="10578"/>
                  </a:cubicBezTo>
                  <a:cubicBezTo>
                    <a:pt x="3245" y="10641"/>
                    <a:pt x="3159" y="10673"/>
                    <a:pt x="3072" y="10673"/>
                  </a:cubicBezTo>
                  <a:cubicBezTo>
                    <a:pt x="2985" y="10673"/>
                    <a:pt x="2899" y="10641"/>
                    <a:pt x="2836" y="10578"/>
                  </a:cubicBezTo>
                  <a:lnTo>
                    <a:pt x="914" y="8656"/>
                  </a:lnTo>
                  <a:cubicBezTo>
                    <a:pt x="788" y="8530"/>
                    <a:pt x="788" y="8278"/>
                    <a:pt x="914" y="8184"/>
                  </a:cubicBezTo>
                  <a:cubicBezTo>
                    <a:pt x="961" y="8121"/>
                    <a:pt x="1048" y="8089"/>
                    <a:pt x="1138" y="8089"/>
                  </a:cubicBezTo>
                  <a:close/>
                  <a:moveTo>
                    <a:pt x="5565" y="0"/>
                  </a:moveTo>
                  <a:cubicBezTo>
                    <a:pt x="5301" y="0"/>
                    <a:pt x="5041" y="103"/>
                    <a:pt x="4852" y="307"/>
                  </a:cubicBezTo>
                  <a:cubicBezTo>
                    <a:pt x="4474" y="654"/>
                    <a:pt x="4442" y="1158"/>
                    <a:pt x="4694" y="1568"/>
                  </a:cubicBezTo>
                  <a:lnTo>
                    <a:pt x="4159" y="3143"/>
                  </a:lnTo>
                  <a:cubicBezTo>
                    <a:pt x="3655" y="4655"/>
                    <a:pt x="2710" y="6199"/>
                    <a:pt x="1575" y="7428"/>
                  </a:cubicBezTo>
                  <a:cubicBezTo>
                    <a:pt x="1422" y="7357"/>
                    <a:pt x="1259" y="7321"/>
                    <a:pt x="1100" y="7321"/>
                  </a:cubicBezTo>
                  <a:cubicBezTo>
                    <a:pt x="834" y="7321"/>
                    <a:pt x="575" y="7420"/>
                    <a:pt x="378" y="7617"/>
                  </a:cubicBezTo>
                  <a:cubicBezTo>
                    <a:pt x="0" y="8026"/>
                    <a:pt x="0" y="8688"/>
                    <a:pt x="378" y="9066"/>
                  </a:cubicBezTo>
                  <a:lnTo>
                    <a:pt x="2363" y="11051"/>
                  </a:lnTo>
                  <a:cubicBezTo>
                    <a:pt x="2552" y="11240"/>
                    <a:pt x="2820" y="11334"/>
                    <a:pt x="3088" y="11334"/>
                  </a:cubicBezTo>
                  <a:cubicBezTo>
                    <a:pt x="3356" y="11334"/>
                    <a:pt x="3623" y="11240"/>
                    <a:pt x="3812" y="11051"/>
                  </a:cubicBezTo>
                  <a:cubicBezTo>
                    <a:pt x="4127" y="10736"/>
                    <a:pt x="4222" y="10263"/>
                    <a:pt x="4001" y="9853"/>
                  </a:cubicBezTo>
                  <a:cubicBezTo>
                    <a:pt x="4222" y="9664"/>
                    <a:pt x="4442" y="9475"/>
                    <a:pt x="4694" y="9286"/>
                  </a:cubicBezTo>
                  <a:lnTo>
                    <a:pt x="5041" y="9633"/>
                  </a:lnTo>
                  <a:cubicBezTo>
                    <a:pt x="5238" y="9830"/>
                    <a:pt x="5496" y="9928"/>
                    <a:pt x="5755" y="9928"/>
                  </a:cubicBezTo>
                  <a:cubicBezTo>
                    <a:pt x="5910" y="9928"/>
                    <a:pt x="6065" y="9893"/>
                    <a:pt x="6207" y="9822"/>
                  </a:cubicBezTo>
                  <a:lnTo>
                    <a:pt x="8790" y="8530"/>
                  </a:lnTo>
                  <a:cubicBezTo>
                    <a:pt x="9357" y="8215"/>
                    <a:pt x="9515" y="7459"/>
                    <a:pt x="9137" y="6986"/>
                  </a:cubicBezTo>
                  <a:lnTo>
                    <a:pt x="9893" y="6766"/>
                  </a:lnTo>
                  <a:cubicBezTo>
                    <a:pt x="10050" y="6858"/>
                    <a:pt x="10229" y="6906"/>
                    <a:pt x="10412" y="6906"/>
                  </a:cubicBezTo>
                  <a:cubicBezTo>
                    <a:pt x="10668" y="6906"/>
                    <a:pt x="10932" y="6811"/>
                    <a:pt x="11153" y="6608"/>
                  </a:cubicBezTo>
                  <a:cubicBezTo>
                    <a:pt x="11531" y="6199"/>
                    <a:pt x="11531" y="5537"/>
                    <a:pt x="11153" y="5128"/>
                  </a:cubicBezTo>
                  <a:lnTo>
                    <a:pt x="6301" y="307"/>
                  </a:lnTo>
                  <a:cubicBezTo>
                    <a:pt x="6096" y="103"/>
                    <a:pt x="5829" y="0"/>
                    <a:pt x="5565"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401" name="Google Shape;10401;p112"/>
            <p:cNvSpPr/>
            <p:nvPr/>
          </p:nvSpPr>
          <p:spPr>
            <a:xfrm>
              <a:off x="-34181850" y="2644625"/>
              <a:ext cx="41775" cy="41575"/>
            </a:xfrm>
            <a:custGeom>
              <a:avLst/>
              <a:gdLst/>
              <a:ahLst/>
              <a:cxnLst/>
              <a:rect l="l" t="t" r="r" b="b"/>
              <a:pathLst>
                <a:path w="1671" h="1663" extrusionOk="0">
                  <a:moveTo>
                    <a:pt x="1328" y="1"/>
                  </a:moveTo>
                  <a:cubicBezTo>
                    <a:pt x="1237" y="1"/>
                    <a:pt x="1151" y="40"/>
                    <a:pt x="1103" y="119"/>
                  </a:cubicBezTo>
                  <a:lnTo>
                    <a:pt x="95" y="1096"/>
                  </a:lnTo>
                  <a:cubicBezTo>
                    <a:pt x="1" y="1222"/>
                    <a:pt x="1" y="1442"/>
                    <a:pt x="95" y="1568"/>
                  </a:cubicBezTo>
                  <a:cubicBezTo>
                    <a:pt x="158" y="1631"/>
                    <a:pt x="253" y="1663"/>
                    <a:pt x="343" y="1663"/>
                  </a:cubicBezTo>
                  <a:cubicBezTo>
                    <a:pt x="434" y="1663"/>
                    <a:pt x="521" y="1631"/>
                    <a:pt x="568" y="1568"/>
                  </a:cubicBezTo>
                  <a:lnTo>
                    <a:pt x="1576" y="592"/>
                  </a:lnTo>
                  <a:cubicBezTo>
                    <a:pt x="1671" y="466"/>
                    <a:pt x="1671" y="213"/>
                    <a:pt x="1576" y="119"/>
                  </a:cubicBezTo>
                  <a:cubicBezTo>
                    <a:pt x="1513" y="40"/>
                    <a:pt x="1418" y="1"/>
                    <a:pt x="1328"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402" name="Google Shape;10402;p112"/>
            <p:cNvSpPr/>
            <p:nvPr/>
          </p:nvSpPr>
          <p:spPr>
            <a:xfrm>
              <a:off x="-34217275" y="2631050"/>
              <a:ext cx="17350" cy="41775"/>
            </a:xfrm>
            <a:custGeom>
              <a:avLst/>
              <a:gdLst/>
              <a:ahLst/>
              <a:cxnLst/>
              <a:rect l="l" t="t" r="r" b="b"/>
              <a:pathLst>
                <a:path w="694" h="1671" extrusionOk="0">
                  <a:moveTo>
                    <a:pt x="347" y="0"/>
                  </a:moveTo>
                  <a:cubicBezTo>
                    <a:pt x="158" y="0"/>
                    <a:pt x="0" y="158"/>
                    <a:pt x="0" y="347"/>
                  </a:cubicBezTo>
                  <a:lnTo>
                    <a:pt x="0" y="1324"/>
                  </a:lnTo>
                  <a:cubicBezTo>
                    <a:pt x="0" y="1513"/>
                    <a:pt x="158" y="1670"/>
                    <a:pt x="347" y="1670"/>
                  </a:cubicBezTo>
                  <a:cubicBezTo>
                    <a:pt x="536" y="1670"/>
                    <a:pt x="693" y="1513"/>
                    <a:pt x="693" y="1324"/>
                  </a:cubicBezTo>
                  <a:lnTo>
                    <a:pt x="693" y="347"/>
                  </a:lnTo>
                  <a:cubicBezTo>
                    <a:pt x="693" y="158"/>
                    <a:pt x="536" y="0"/>
                    <a:pt x="347"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403" name="Google Shape;10403;p112"/>
            <p:cNvSpPr/>
            <p:nvPr/>
          </p:nvSpPr>
          <p:spPr>
            <a:xfrm>
              <a:off x="-34168450" y="2704300"/>
              <a:ext cx="42550" cy="18125"/>
            </a:xfrm>
            <a:custGeom>
              <a:avLst/>
              <a:gdLst/>
              <a:ahLst/>
              <a:cxnLst/>
              <a:rect l="l" t="t" r="r" b="b"/>
              <a:pathLst>
                <a:path w="1702" h="725" extrusionOk="0">
                  <a:moveTo>
                    <a:pt x="347" y="0"/>
                  </a:moveTo>
                  <a:cubicBezTo>
                    <a:pt x="158" y="0"/>
                    <a:pt x="0" y="158"/>
                    <a:pt x="0" y="378"/>
                  </a:cubicBezTo>
                  <a:cubicBezTo>
                    <a:pt x="0" y="567"/>
                    <a:pt x="158" y="725"/>
                    <a:pt x="347" y="725"/>
                  </a:cubicBezTo>
                  <a:lnTo>
                    <a:pt x="1355" y="725"/>
                  </a:lnTo>
                  <a:cubicBezTo>
                    <a:pt x="1544" y="725"/>
                    <a:pt x="1702" y="567"/>
                    <a:pt x="1702" y="378"/>
                  </a:cubicBezTo>
                  <a:cubicBezTo>
                    <a:pt x="1670" y="158"/>
                    <a:pt x="1544" y="0"/>
                    <a:pt x="1355"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sp>
        <p:nvSpPr>
          <p:cNvPr id="10404" name="Google Shape;10404;p112"/>
          <p:cNvSpPr/>
          <p:nvPr/>
        </p:nvSpPr>
        <p:spPr>
          <a:xfrm>
            <a:off x="1732206" y="3886734"/>
            <a:ext cx="471449" cy="472703"/>
          </a:xfrm>
          <a:custGeom>
            <a:avLst/>
            <a:gdLst/>
            <a:ahLst/>
            <a:cxnLst/>
            <a:rect l="l" t="t" r="r" b="b"/>
            <a:pathLst>
              <a:path w="11658" h="11689" extrusionOk="0">
                <a:moveTo>
                  <a:pt x="2868" y="8538"/>
                </a:moveTo>
                <a:cubicBezTo>
                  <a:pt x="3025" y="8948"/>
                  <a:pt x="3340" y="9263"/>
                  <a:pt x="3781" y="9452"/>
                </a:cubicBezTo>
                <a:cubicBezTo>
                  <a:pt x="3403" y="9389"/>
                  <a:pt x="2364" y="9231"/>
                  <a:pt x="2080" y="8916"/>
                </a:cubicBezTo>
                <a:cubicBezTo>
                  <a:pt x="2143" y="8885"/>
                  <a:pt x="2332" y="8727"/>
                  <a:pt x="2868" y="8538"/>
                </a:cubicBezTo>
                <a:close/>
                <a:moveTo>
                  <a:pt x="8791" y="8538"/>
                </a:moveTo>
                <a:cubicBezTo>
                  <a:pt x="9326" y="8727"/>
                  <a:pt x="9547" y="8885"/>
                  <a:pt x="9578" y="8916"/>
                </a:cubicBezTo>
                <a:cubicBezTo>
                  <a:pt x="9295" y="9231"/>
                  <a:pt x="8287" y="9389"/>
                  <a:pt x="7877" y="9452"/>
                </a:cubicBezTo>
                <a:cubicBezTo>
                  <a:pt x="8287" y="9294"/>
                  <a:pt x="8602" y="8948"/>
                  <a:pt x="8791" y="8538"/>
                </a:cubicBezTo>
                <a:close/>
                <a:moveTo>
                  <a:pt x="5829" y="725"/>
                </a:moveTo>
                <a:cubicBezTo>
                  <a:pt x="6018" y="725"/>
                  <a:pt x="6176" y="883"/>
                  <a:pt x="6176" y="1072"/>
                </a:cubicBezTo>
                <a:lnTo>
                  <a:pt x="6176" y="4537"/>
                </a:lnTo>
                <a:cubicBezTo>
                  <a:pt x="6176" y="4695"/>
                  <a:pt x="6302" y="4821"/>
                  <a:pt x="6428" y="4852"/>
                </a:cubicBezTo>
                <a:cubicBezTo>
                  <a:pt x="6455" y="4858"/>
                  <a:pt x="6482" y="4860"/>
                  <a:pt x="6508" y="4860"/>
                </a:cubicBezTo>
                <a:cubicBezTo>
                  <a:pt x="6637" y="4860"/>
                  <a:pt x="6754" y="4799"/>
                  <a:pt x="6806" y="4695"/>
                </a:cubicBezTo>
                <a:lnTo>
                  <a:pt x="8287" y="2237"/>
                </a:lnTo>
                <a:cubicBezTo>
                  <a:pt x="8326" y="2139"/>
                  <a:pt x="8415" y="2090"/>
                  <a:pt x="8514" y="2090"/>
                </a:cubicBezTo>
                <a:cubicBezTo>
                  <a:pt x="8574" y="2090"/>
                  <a:pt x="8637" y="2107"/>
                  <a:pt x="8696" y="2143"/>
                </a:cubicBezTo>
                <a:cubicBezTo>
                  <a:pt x="8854" y="2206"/>
                  <a:pt x="8948" y="2426"/>
                  <a:pt x="8854" y="2615"/>
                </a:cubicBezTo>
                <a:lnTo>
                  <a:pt x="7656" y="5041"/>
                </a:lnTo>
                <a:cubicBezTo>
                  <a:pt x="7562" y="5262"/>
                  <a:pt x="7656" y="5451"/>
                  <a:pt x="7814" y="5514"/>
                </a:cubicBezTo>
                <a:cubicBezTo>
                  <a:pt x="7851" y="5551"/>
                  <a:pt x="7898" y="5569"/>
                  <a:pt x="7949" y="5569"/>
                </a:cubicBezTo>
                <a:cubicBezTo>
                  <a:pt x="8028" y="5569"/>
                  <a:pt x="8116" y="5527"/>
                  <a:pt x="8192" y="5451"/>
                </a:cubicBezTo>
                <a:cubicBezTo>
                  <a:pt x="9630" y="4282"/>
                  <a:pt x="9701" y="4254"/>
                  <a:pt x="9704" y="4254"/>
                </a:cubicBezTo>
                <a:cubicBezTo>
                  <a:pt x="9704" y="4254"/>
                  <a:pt x="9704" y="4254"/>
                  <a:pt x="9704" y="4254"/>
                </a:cubicBezTo>
                <a:cubicBezTo>
                  <a:pt x="9752" y="4206"/>
                  <a:pt x="9838" y="4183"/>
                  <a:pt x="9929" y="4183"/>
                </a:cubicBezTo>
                <a:cubicBezTo>
                  <a:pt x="10019" y="4183"/>
                  <a:pt x="10114" y="4206"/>
                  <a:pt x="10177" y="4254"/>
                </a:cubicBezTo>
                <a:cubicBezTo>
                  <a:pt x="10271" y="4380"/>
                  <a:pt x="10271" y="4632"/>
                  <a:pt x="10177" y="4726"/>
                </a:cubicBezTo>
                <a:lnTo>
                  <a:pt x="8318" y="6585"/>
                </a:lnTo>
                <a:cubicBezTo>
                  <a:pt x="8224" y="6680"/>
                  <a:pt x="8192" y="6743"/>
                  <a:pt x="8192" y="6837"/>
                </a:cubicBezTo>
                <a:lnTo>
                  <a:pt x="8192" y="7940"/>
                </a:lnTo>
                <a:cubicBezTo>
                  <a:pt x="8192" y="8349"/>
                  <a:pt x="7908" y="8759"/>
                  <a:pt x="7499" y="8916"/>
                </a:cubicBezTo>
                <a:cubicBezTo>
                  <a:pt x="7184" y="9042"/>
                  <a:pt x="6932" y="9263"/>
                  <a:pt x="6869" y="9609"/>
                </a:cubicBezTo>
                <a:cubicBezTo>
                  <a:pt x="6491" y="9672"/>
                  <a:pt x="6144" y="9672"/>
                  <a:pt x="5798" y="9672"/>
                </a:cubicBezTo>
                <a:cubicBezTo>
                  <a:pt x="5451" y="9672"/>
                  <a:pt x="5073" y="9672"/>
                  <a:pt x="4726" y="9609"/>
                </a:cubicBezTo>
                <a:cubicBezTo>
                  <a:pt x="4663" y="9294"/>
                  <a:pt x="4411" y="9042"/>
                  <a:pt x="4096" y="8916"/>
                </a:cubicBezTo>
                <a:cubicBezTo>
                  <a:pt x="3655" y="8759"/>
                  <a:pt x="3403" y="8381"/>
                  <a:pt x="3403" y="7940"/>
                </a:cubicBezTo>
                <a:cubicBezTo>
                  <a:pt x="3403" y="7562"/>
                  <a:pt x="3277" y="7247"/>
                  <a:pt x="2994" y="6963"/>
                </a:cubicBezTo>
                <a:lnTo>
                  <a:pt x="1418" y="5388"/>
                </a:lnTo>
                <a:cubicBezTo>
                  <a:pt x="1355" y="5293"/>
                  <a:pt x="1355" y="5041"/>
                  <a:pt x="1513" y="4947"/>
                </a:cubicBezTo>
                <a:cubicBezTo>
                  <a:pt x="1568" y="4873"/>
                  <a:pt x="1667" y="4842"/>
                  <a:pt x="1758" y="4842"/>
                </a:cubicBezTo>
                <a:cubicBezTo>
                  <a:pt x="1823" y="4842"/>
                  <a:pt x="1883" y="4858"/>
                  <a:pt x="1923" y="4884"/>
                </a:cubicBezTo>
                <a:cubicBezTo>
                  <a:pt x="3718" y="6238"/>
                  <a:pt x="3592" y="6144"/>
                  <a:pt x="3750" y="6207"/>
                </a:cubicBezTo>
                <a:cubicBezTo>
                  <a:pt x="3834" y="6207"/>
                  <a:pt x="3876" y="6221"/>
                  <a:pt x="3913" y="6221"/>
                </a:cubicBezTo>
                <a:cubicBezTo>
                  <a:pt x="3932" y="6221"/>
                  <a:pt x="3949" y="6217"/>
                  <a:pt x="3970" y="6207"/>
                </a:cubicBezTo>
                <a:cubicBezTo>
                  <a:pt x="5231" y="6238"/>
                  <a:pt x="5483" y="6617"/>
                  <a:pt x="5483" y="7215"/>
                </a:cubicBezTo>
                <a:cubicBezTo>
                  <a:pt x="5483" y="7404"/>
                  <a:pt x="5640" y="7562"/>
                  <a:pt x="5829" y="7562"/>
                </a:cubicBezTo>
                <a:cubicBezTo>
                  <a:pt x="6018" y="7562"/>
                  <a:pt x="6176" y="7404"/>
                  <a:pt x="6176" y="7215"/>
                </a:cubicBezTo>
                <a:cubicBezTo>
                  <a:pt x="6176" y="6554"/>
                  <a:pt x="5924" y="6081"/>
                  <a:pt x="5388" y="5797"/>
                </a:cubicBezTo>
                <a:cubicBezTo>
                  <a:pt x="5073" y="5640"/>
                  <a:pt x="4663" y="5514"/>
                  <a:pt x="4128" y="5514"/>
                </a:cubicBezTo>
                <a:cubicBezTo>
                  <a:pt x="3624" y="4348"/>
                  <a:pt x="2836" y="2647"/>
                  <a:pt x="2805" y="2615"/>
                </a:cubicBezTo>
                <a:cubicBezTo>
                  <a:pt x="2710" y="2458"/>
                  <a:pt x="2805" y="2206"/>
                  <a:pt x="2962" y="2143"/>
                </a:cubicBezTo>
                <a:cubicBezTo>
                  <a:pt x="3015" y="2111"/>
                  <a:pt x="3071" y="2097"/>
                  <a:pt x="3126" y="2097"/>
                </a:cubicBezTo>
                <a:cubicBezTo>
                  <a:pt x="3235" y="2097"/>
                  <a:pt x="3340" y="2153"/>
                  <a:pt x="3403" y="2237"/>
                </a:cubicBezTo>
                <a:lnTo>
                  <a:pt x="4852" y="4695"/>
                </a:lnTo>
                <a:cubicBezTo>
                  <a:pt x="4905" y="4799"/>
                  <a:pt x="5022" y="4860"/>
                  <a:pt x="5150" y="4860"/>
                </a:cubicBezTo>
                <a:cubicBezTo>
                  <a:pt x="5176" y="4860"/>
                  <a:pt x="5204" y="4858"/>
                  <a:pt x="5231" y="4852"/>
                </a:cubicBezTo>
                <a:cubicBezTo>
                  <a:pt x="5388" y="4821"/>
                  <a:pt x="5483" y="4695"/>
                  <a:pt x="5483" y="4537"/>
                </a:cubicBezTo>
                <a:lnTo>
                  <a:pt x="5483" y="1072"/>
                </a:lnTo>
                <a:cubicBezTo>
                  <a:pt x="5483" y="883"/>
                  <a:pt x="5640" y="725"/>
                  <a:pt x="5829" y="725"/>
                </a:cubicBezTo>
                <a:close/>
                <a:moveTo>
                  <a:pt x="8822" y="7310"/>
                </a:moveTo>
                <a:cubicBezTo>
                  <a:pt x="10082" y="7688"/>
                  <a:pt x="10901" y="8318"/>
                  <a:pt x="10901" y="8916"/>
                </a:cubicBezTo>
                <a:cubicBezTo>
                  <a:pt x="10996" y="9925"/>
                  <a:pt x="8791" y="10996"/>
                  <a:pt x="5829" y="10996"/>
                </a:cubicBezTo>
                <a:cubicBezTo>
                  <a:pt x="2868" y="10996"/>
                  <a:pt x="662" y="9988"/>
                  <a:pt x="662" y="8948"/>
                </a:cubicBezTo>
                <a:cubicBezTo>
                  <a:pt x="662" y="8412"/>
                  <a:pt x="1387" y="7814"/>
                  <a:pt x="2490" y="7404"/>
                </a:cubicBezTo>
                <a:lnTo>
                  <a:pt x="2553" y="7499"/>
                </a:lnTo>
                <a:cubicBezTo>
                  <a:pt x="2679" y="7625"/>
                  <a:pt x="2773" y="7782"/>
                  <a:pt x="2773" y="7940"/>
                </a:cubicBezTo>
                <a:cubicBezTo>
                  <a:pt x="2206" y="8097"/>
                  <a:pt x="1387" y="8349"/>
                  <a:pt x="1387" y="8948"/>
                </a:cubicBezTo>
                <a:cubicBezTo>
                  <a:pt x="1387" y="9231"/>
                  <a:pt x="1544" y="9452"/>
                  <a:pt x="1860" y="9672"/>
                </a:cubicBezTo>
                <a:cubicBezTo>
                  <a:pt x="2773" y="10208"/>
                  <a:pt x="4726" y="10334"/>
                  <a:pt x="5798" y="10334"/>
                </a:cubicBezTo>
                <a:cubicBezTo>
                  <a:pt x="6869" y="10334"/>
                  <a:pt x="8822" y="10208"/>
                  <a:pt x="9736" y="9672"/>
                </a:cubicBezTo>
                <a:cubicBezTo>
                  <a:pt x="10051" y="9452"/>
                  <a:pt x="10208" y="9231"/>
                  <a:pt x="10208" y="8948"/>
                </a:cubicBezTo>
                <a:cubicBezTo>
                  <a:pt x="10208" y="8349"/>
                  <a:pt x="9421" y="8097"/>
                  <a:pt x="8822" y="7940"/>
                </a:cubicBezTo>
                <a:lnTo>
                  <a:pt x="8822" y="7310"/>
                </a:lnTo>
                <a:close/>
                <a:moveTo>
                  <a:pt x="5829" y="1"/>
                </a:moveTo>
                <a:cubicBezTo>
                  <a:pt x="5294" y="1"/>
                  <a:pt x="4821" y="473"/>
                  <a:pt x="4821" y="1072"/>
                </a:cubicBezTo>
                <a:lnTo>
                  <a:pt x="4821" y="3309"/>
                </a:lnTo>
                <a:lnTo>
                  <a:pt x="4002" y="1954"/>
                </a:lnTo>
                <a:cubicBezTo>
                  <a:pt x="3807" y="1608"/>
                  <a:pt x="3464" y="1440"/>
                  <a:pt x="3115" y="1440"/>
                </a:cubicBezTo>
                <a:cubicBezTo>
                  <a:pt x="2956" y="1440"/>
                  <a:pt x="2795" y="1475"/>
                  <a:pt x="2647" y="1544"/>
                </a:cubicBezTo>
                <a:cubicBezTo>
                  <a:pt x="2143" y="1765"/>
                  <a:pt x="1923" y="2426"/>
                  <a:pt x="2175" y="2930"/>
                </a:cubicBezTo>
                <a:cubicBezTo>
                  <a:pt x="2206" y="2993"/>
                  <a:pt x="2679" y="4033"/>
                  <a:pt x="3088" y="4915"/>
                </a:cubicBezTo>
                <a:lnTo>
                  <a:pt x="2332" y="4380"/>
                </a:lnTo>
                <a:cubicBezTo>
                  <a:pt x="2157" y="4233"/>
                  <a:pt x="1933" y="4162"/>
                  <a:pt x="1710" y="4162"/>
                </a:cubicBezTo>
                <a:cubicBezTo>
                  <a:pt x="1452" y="4162"/>
                  <a:pt x="1195" y="4257"/>
                  <a:pt x="1009" y="4443"/>
                </a:cubicBezTo>
                <a:cubicBezTo>
                  <a:pt x="599" y="4852"/>
                  <a:pt x="599" y="5514"/>
                  <a:pt x="1009" y="5923"/>
                </a:cubicBezTo>
                <a:lnTo>
                  <a:pt x="1986" y="6900"/>
                </a:lnTo>
                <a:cubicBezTo>
                  <a:pt x="725" y="7404"/>
                  <a:pt x="1" y="8160"/>
                  <a:pt x="1" y="8948"/>
                </a:cubicBezTo>
                <a:cubicBezTo>
                  <a:pt x="1" y="9736"/>
                  <a:pt x="631" y="10460"/>
                  <a:pt x="1828" y="10964"/>
                </a:cubicBezTo>
                <a:cubicBezTo>
                  <a:pt x="2868" y="11437"/>
                  <a:pt x="4348" y="11689"/>
                  <a:pt x="5829" y="11689"/>
                </a:cubicBezTo>
                <a:cubicBezTo>
                  <a:pt x="8948" y="11689"/>
                  <a:pt x="11658" y="10586"/>
                  <a:pt x="11658" y="8979"/>
                </a:cubicBezTo>
                <a:cubicBezTo>
                  <a:pt x="11658" y="8003"/>
                  <a:pt x="10744" y="7184"/>
                  <a:pt x="9169" y="6680"/>
                </a:cubicBezTo>
                <a:lnTo>
                  <a:pt x="10649" y="5199"/>
                </a:lnTo>
                <a:cubicBezTo>
                  <a:pt x="11027" y="4821"/>
                  <a:pt x="11027" y="4159"/>
                  <a:pt x="10649" y="3750"/>
                </a:cubicBezTo>
                <a:cubicBezTo>
                  <a:pt x="10445" y="3561"/>
                  <a:pt x="10185" y="3466"/>
                  <a:pt x="9929" y="3466"/>
                </a:cubicBezTo>
                <a:cubicBezTo>
                  <a:pt x="9673" y="3466"/>
                  <a:pt x="9421" y="3561"/>
                  <a:pt x="9232" y="3750"/>
                </a:cubicBezTo>
                <a:cubicBezTo>
                  <a:pt x="9137" y="3844"/>
                  <a:pt x="9074" y="3876"/>
                  <a:pt x="8948" y="4002"/>
                </a:cubicBezTo>
                <a:cubicBezTo>
                  <a:pt x="8980" y="3876"/>
                  <a:pt x="9421" y="3025"/>
                  <a:pt x="9484" y="2930"/>
                </a:cubicBezTo>
                <a:cubicBezTo>
                  <a:pt x="9736" y="2426"/>
                  <a:pt x="9547" y="1765"/>
                  <a:pt x="9011" y="1544"/>
                </a:cubicBezTo>
                <a:cubicBezTo>
                  <a:pt x="8873" y="1475"/>
                  <a:pt x="8719" y="1440"/>
                  <a:pt x="8564" y="1440"/>
                </a:cubicBezTo>
                <a:cubicBezTo>
                  <a:pt x="8226" y="1440"/>
                  <a:pt x="7883" y="1608"/>
                  <a:pt x="7688" y="1954"/>
                </a:cubicBezTo>
                <a:lnTo>
                  <a:pt x="6869" y="3309"/>
                </a:lnTo>
                <a:lnTo>
                  <a:pt x="6869" y="1072"/>
                </a:lnTo>
                <a:cubicBezTo>
                  <a:pt x="6869" y="505"/>
                  <a:pt x="6396" y="1"/>
                  <a:pt x="5829"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405" name="Google Shape;10405;p112"/>
          <p:cNvSpPr/>
          <p:nvPr/>
        </p:nvSpPr>
        <p:spPr>
          <a:xfrm>
            <a:off x="1732206" y="4511710"/>
            <a:ext cx="471449" cy="471409"/>
          </a:xfrm>
          <a:custGeom>
            <a:avLst/>
            <a:gdLst/>
            <a:ahLst/>
            <a:cxnLst/>
            <a:rect l="l" t="t" r="r" b="b"/>
            <a:pathLst>
              <a:path w="11658" h="11657" extrusionOk="0">
                <a:moveTo>
                  <a:pt x="5829" y="662"/>
                </a:moveTo>
                <a:cubicBezTo>
                  <a:pt x="6396" y="662"/>
                  <a:pt x="6869" y="1134"/>
                  <a:pt x="6869" y="1670"/>
                </a:cubicBezTo>
                <a:cubicBezTo>
                  <a:pt x="6869" y="2237"/>
                  <a:pt x="6396" y="2741"/>
                  <a:pt x="5829" y="2741"/>
                </a:cubicBezTo>
                <a:cubicBezTo>
                  <a:pt x="5294" y="2710"/>
                  <a:pt x="4821" y="2237"/>
                  <a:pt x="4821" y="1670"/>
                </a:cubicBezTo>
                <a:cubicBezTo>
                  <a:pt x="4821" y="1134"/>
                  <a:pt x="5294" y="662"/>
                  <a:pt x="5829" y="662"/>
                </a:cubicBezTo>
                <a:close/>
                <a:moveTo>
                  <a:pt x="5829" y="3403"/>
                </a:moveTo>
                <a:cubicBezTo>
                  <a:pt x="7058" y="3403"/>
                  <a:pt x="8034" y="4316"/>
                  <a:pt x="8192" y="5451"/>
                </a:cubicBezTo>
                <a:lnTo>
                  <a:pt x="3466" y="5451"/>
                </a:lnTo>
                <a:cubicBezTo>
                  <a:pt x="3624" y="4285"/>
                  <a:pt x="4600" y="3403"/>
                  <a:pt x="5829" y="3403"/>
                </a:cubicBezTo>
                <a:close/>
                <a:moveTo>
                  <a:pt x="1702" y="8885"/>
                </a:moveTo>
                <a:cubicBezTo>
                  <a:pt x="2269" y="8885"/>
                  <a:pt x="2710" y="9357"/>
                  <a:pt x="2710" y="9924"/>
                </a:cubicBezTo>
                <a:cubicBezTo>
                  <a:pt x="2710" y="10460"/>
                  <a:pt x="2269" y="10932"/>
                  <a:pt x="1702" y="10932"/>
                </a:cubicBezTo>
                <a:cubicBezTo>
                  <a:pt x="1135" y="10932"/>
                  <a:pt x="694" y="10460"/>
                  <a:pt x="694" y="9924"/>
                </a:cubicBezTo>
                <a:cubicBezTo>
                  <a:pt x="694" y="9357"/>
                  <a:pt x="1135" y="8885"/>
                  <a:pt x="1702" y="8885"/>
                </a:cubicBezTo>
                <a:close/>
                <a:moveTo>
                  <a:pt x="5829" y="8885"/>
                </a:moveTo>
                <a:cubicBezTo>
                  <a:pt x="6396" y="8885"/>
                  <a:pt x="6869" y="9357"/>
                  <a:pt x="6869" y="9924"/>
                </a:cubicBezTo>
                <a:cubicBezTo>
                  <a:pt x="6869" y="10460"/>
                  <a:pt x="6396" y="10932"/>
                  <a:pt x="5829" y="10932"/>
                </a:cubicBezTo>
                <a:cubicBezTo>
                  <a:pt x="5294" y="10932"/>
                  <a:pt x="4821" y="10460"/>
                  <a:pt x="4821" y="9924"/>
                </a:cubicBezTo>
                <a:cubicBezTo>
                  <a:pt x="4821" y="9357"/>
                  <a:pt x="5294" y="8885"/>
                  <a:pt x="5829" y="8885"/>
                </a:cubicBezTo>
                <a:close/>
                <a:moveTo>
                  <a:pt x="9956" y="8885"/>
                </a:moveTo>
                <a:cubicBezTo>
                  <a:pt x="10523" y="8885"/>
                  <a:pt x="10996" y="9357"/>
                  <a:pt x="10996" y="9924"/>
                </a:cubicBezTo>
                <a:cubicBezTo>
                  <a:pt x="10996" y="10460"/>
                  <a:pt x="10523" y="10932"/>
                  <a:pt x="9956" y="10932"/>
                </a:cubicBezTo>
                <a:cubicBezTo>
                  <a:pt x="9421" y="10932"/>
                  <a:pt x="8948" y="10460"/>
                  <a:pt x="8948" y="9924"/>
                </a:cubicBezTo>
                <a:cubicBezTo>
                  <a:pt x="8948" y="9357"/>
                  <a:pt x="9421" y="8885"/>
                  <a:pt x="9956" y="8885"/>
                </a:cubicBezTo>
                <a:close/>
                <a:moveTo>
                  <a:pt x="5829" y="0"/>
                </a:moveTo>
                <a:cubicBezTo>
                  <a:pt x="4884" y="0"/>
                  <a:pt x="4128" y="725"/>
                  <a:pt x="4128" y="1670"/>
                </a:cubicBezTo>
                <a:cubicBezTo>
                  <a:pt x="4128" y="2143"/>
                  <a:pt x="4285" y="2584"/>
                  <a:pt x="4663" y="2899"/>
                </a:cubicBezTo>
                <a:lnTo>
                  <a:pt x="4695" y="2930"/>
                </a:lnTo>
                <a:cubicBezTo>
                  <a:pt x="3561" y="3403"/>
                  <a:pt x="2773" y="4505"/>
                  <a:pt x="2773" y="5766"/>
                </a:cubicBezTo>
                <a:cubicBezTo>
                  <a:pt x="2773" y="5955"/>
                  <a:pt x="2931" y="6144"/>
                  <a:pt x="3120" y="6144"/>
                </a:cubicBezTo>
                <a:lnTo>
                  <a:pt x="5514" y="6144"/>
                </a:lnTo>
                <a:lnTo>
                  <a:pt x="5514" y="6837"/>
                </a:lnTo>
                <a:lnTo>
                  <a:pt x="2395" y="6837"/>
                </a:lnTo>
                <a:cubicBezTo>
                  <a:pt x="1860" y="6837"/>
                  <a:pt x="1387" y="7309"/>
                  <a:pt x="1387" y="7876"/>
                </a:cubicBezTo>
                <a:lnTo>
                  <a:pt x="1387" y="8254"/>
                </a:lnTo>
                <a:cubicBezTo>
                  <a:pt x="599" y="8412"/>
                  <a:pt x="1" y="9137"/>
                  <a:pt x="1" y="9956"/>
                </a:cubicBezTo>
                <a:cubicBezTo>
                  <a:pt x="1" y="10901"/>
                  <a:pt x="757" y="11657"/>
                  <a:pt x="1702" y="11657"/>
                </a:cubicBezTo>
                <a:cubicBezTo>
                  <a:pt x="2647" y="11657"/>
                  <a:pt x="3403" y="10901"/>
                  <a:pt x="3403" y="9956"/>
                </a:cubicBezTo>
                <a:cubicBezTo>
                  <a:pt x="3403" y="9137"/>
                  <a:pt x="2805" y="8412"/>
                  <a:pt x="2017" y="8254"/>
                </a:cubicBezTo>
                <a:lnTo>
                  <a:pt x="2017" y="7876"/>
                </a:lnTo>
                <a:cubicBezTo>
                  <a:pt x="2017" y="7656"/>
                  <a:pt x="2175" y="7498"/>
                  <a:pt x="2364" y="7498"/>
                </a:cubicBezTo>
                <a:lnTo>
                  <a:pt x="5483" y="7498"/>
                </a:lnTo>
                <a:lnTo>
                  <a:pt x="5483" y="8223"/>
                </a:lnTo>
                <a:cubicBezTo>
                  <a:pt x="4695" y="8380"/>
                  <a:pt x="4096" y="9074"/>
                  <a:pt x="4096" y="9924"/>
                </a:cubicBezTo>
                <a:cubicBezTo>
                  <a:pt x="4096" y="10869"/>
                  <a:pt x="4852" y="11594"/>
                  <a:pt x="5798" y="11594"/>
                </a:cubicBezTo>
                <a:cubicBezTo>
                  <a:pt x="6743" y="11594"/>
                  <a:pt x="7499" y="10869"/>
                  <a:pt x="7499" y="9924"/>
                </a:cubicBezTo>
                <a:cubicBezTo>
                  <a:pt x="7499" y="9074"/>
                  <a:pt x="6900" y="8380"/>
                  <a:pt x="6113" y="8223"/>
                </a:cubicBezTo>
                <a:lnTo>
                  <a:pt x="6113" y="7498"/>
                </a:lnTo>
                <a:lnTo>
                  <a:pt x="9232" y="7498"/>
                </a:lnTo>
                <a:cubicBezTo>
                  <a:pt x="9421" y="7498"/>
                  <a:pt x="9578" y="7656"/>
                  <a:pt x="9578" y="7876"/>
                </a:cubicBezTo>
                <a:lnTo>
                  <a:pt x="9578" y="8254"/>
                </a:lnTo>
                <a:cubicBezTo>
                  <a:pt x="8791" y="8412"/>
                  <a:pt x="8192" y="9137"/>
                  <a:pt x="8192" y="9956"/>
                </a:cubicBezTo>
                <a:cubicBezTo>
                  <a:pt x="8192" y="10901"/>
                  <a:pt x="8948" y="11657"/>
                  <a:pt x="9893" y="11657"/>
                </a:cubicBezTo>
                <a:cubicBezTo>
                  <a:pt x="10838" y="11657"/>
                  <a:pt x="11595" y="10901"/>
                  <a:pt x="11595" y="9956"/>
                </a:cubicBezTo>
                <a:cubicBezTo>
                  <a:pt x="11658" y="9074"/>
                  <a:pt x="11059" y="8412"/>
                  <a:pt x="10271" y="8254"/>
                </a:cubicBezTo>
                <a:lnTo>
                  <a:pt x="10271" y="7876"/>
                </a:lnTo>
                <a:cubicBezTo>
                  <a:pt x="10271" y="7309"/>
                  <a:pt x="9799" y="6837"/>
                  <a:pt x="9263" y="6837"/>
                </a:cubicBezTo>
                <a:lnTo>
                  <a:pt x="6144" y="6837"/>
                </a:lnTo>
                <a:lnTo>
                  <a:pt x="6144" y="6144"/>
                </a:lnTo>
                <a:lnTo>
                  <a:pt x="8539" y="6144"/>
                </a:lnTo>
                <a:cubicBezTo>
                  <a:pt x="8759" y="6144"/>
                  <a:pt x="8917" y="5955"/>
                  <a:pt x="8917" y="5766"/>
                </a:cubicBezTo>
                <a:cubicBezTo>
                  <a:pt x="8917" y="4474"/>
                  <a:pt x="8129" y="3371"/>
                  <a:pt x="6963" y="2930"/>
                </a:cubicBezTo>
                <a:lnTo>
                  <a:pt x="7026" y="2899"/>
                </a:lnTo>
                <a:cubicBezTo>
                  <a:pt x="7341" y="2584"/>
                  <a:pt x="7530" y="2143"/>
                  <a:pt x="7530" y="1670"/>
                </a:cubicBezTo>
                <a:cubicBezTo>
                  <a:pt x="7530" y="725"/>
                  <a:pt x="6774" y="0"/>
                  <a:pt x="5829"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406" name="Google Shape;10406;p112"/>
          <p:cNvSpPr/>
          <p:nvPr/>
        </p:nvSpPr>
        <p:spPr>
          <a:xfrm>
            <a:off x="1720113" y="5125087"/>
            <a:ext cx="495632" cy="472380"/>
          </a:xfrm>
          <a:custGeom>
            <a:avLst/>
            <a:gdLst/>
            <a:ahLst/>
            <a:cxnLst/>
            <a:rect l="l" t="t" r="r" b="b"/>
            <a:pathLst>
              <a:path w="12256" h="11681" extrusionOk="0">
                <a:moveTo>
                  <a:pt x="8853" y="2072"/>
                </a:moveTo>
                <a:cubicBezTo>
                  <a:pt x="9121" y="2072"/>
                  <a:pt x="9389" y="2174"/>
                  <a:pt x="9578" y="2379"/>
                </a:cubicBezTo>
                <a:cubicBezTo>
                  <a:pt x="9987" y="2757"/>
                  <a:pt x="9987" y="3418"/>
                  <a:pt x="9578" y="3828"/>
                </a:cubicBezTo>
                <a:lnTo>
                  <a:pt x="8601" y="4805"/>
                </a:lnTo>
                <a:cubicBezTo>
                  <a:pt x="8444" y="4490"/>
                  <a:pt x="8254" y="4206"/>
                  <a:pt x="8002" y="3954"/>
                </a:cubicBezTo>
                <a:cubicBezTo>
                  <a:pt x="7782" y="3702"/>
                  <a:pt x="7467" y="3481"/>
                  <a:pt x="7152" y="3355"/>
                </a:cubicBezTo>
                <a:lnTo>
                  <a:pt x="8128" y="2379"/>
                </a:lnTo>
                <a:cubicBezTo>
                  <a:pt x="8317" y="2174"/>
                  <a:pt x="8585" y="2072"/>
                  <a:pt x="8853" y="2072"/>
                </a:cubicBezTo>
                <a:close/>
                <a:moveTo>
                  <a:pt x="5794" y="5110"/>
                </a:moveTo>
                <a:cubicBezTo>
                  <a:pt x="6066" y="5110"/>
                  <a:pt x="6350" y="5200"/>
                  <a:pt x="6553" y="5403"/>
                </a:cubicBezTo>
                <a:cubicBezTo>
                  <a:pt x="6837" y="5687"/>
                  <a:pt x="6900" y="6096"/>
                  <a:pt x="6774" y="6474"/>
                </a:cubicBezTo>
                <a:cubicBezTo>
                  <a:pt x="6675" y="6501"/>
                  <a:pt x="6569" y="6515"/>
                  <a:pt x="6462" y="6515"/>
                </a:cubicBezTo>
                <a:cubicBezTo>
                  <a:pt x="6192" y="6515"/>
                  <a:pt x="5915" y="6425"/>
                  <a:pt x="5734" y="6222"/>
                </a:cubicBezTo>
                <a:cubicBezTo>
                  <a:pt x="5451" y="5939"/>
                  <a:pt x="5356" y="5529"/>
                  <a:pt x="5482" y="5151"/>
                </a:cubicBezTo>
                <a:cubicBezTo>
                  <a:pt x="5580" y="5124"/>
                  <a:pt x="5686" y="5110"/>
                  <a:pt x="5794" y="5110"/>
                </a:cubicBezTo>
                <a:close/>
                <a:moveTo>
                  <a:pt x="8869" y="662"/>
                </a:moveTo>
                <a:cubicBezTo>
                  <a:pt x="9475" y="662"/>
                  <a:pt x="10082" y="898"/>
                  <a:pt x="10554" y="1371"/>
                </a:cubicBezTo>
                <a:cubicBezTo>
                  <a:pt x="11499" y="2316"/>
                  <a:pt x="11499" y="3828"/>
                  <a:pt x="10554" y="4773"/>
                </a:cubicBezTo>
                <a:lnTo>
                  <a:pt x="8160" y="7167"/>
                </a:lnTo>
                <a:cubicBezTo>
                  <a:pt x="7687" y="7640"/>
                  <a:pt x="7081" y="7876"/>
                  <a:pt x="6474" y="7876"/>
                </a:cubicBezTo>
                <a:cubicBezTo>
                  <a:pt x="5868" y="7876"/>
                  <a:pt x="5262" y="7640"/>
                  <a:pt x="4789" y="7167"/>
                </a:cubicBezTo>
                <a:cubicBezTo>
                  <a:pt x="4537" y="6947"/>
                  <a:pt x="4348" y="6632"/>
                  <a:pt x="4222" y="6254"/>
                </a:cubicBezTo>
                <a:lnTo>
                  <a:pt x="4789" y="5718"/>
                </a:lnTo>
                <a:cubicBezTo>
                  <a:pt x="4820" y="6065"/>
                  <a:pt x="4978" y="6411"/>
                  <a:pt x="5262" y="6695"/>
                </a:cubicBezTo>
                <a:cubicBezTo>
                  <a:pt x="5592" y="7026"/>
                  <a:pt x="6026" y="7191"/>
                  <a:pt x="6459" y="7191"/>
                </a:cubicBezTo>
                <a:cubicBezTo>
                  <a:pt x="6892" y="7191"/>
                  <a:pt x="7325" y="7026"/>
                  <a:pt x="7656" y="6695"/>
                </a:cubicBezTo>
                <a:lnTo>
                  <a:pt x="10050" y="4301"/>
                </a:lnTo>
                <a:cubicBezTo>
                  <a:pt x="10712" y="3639"/>
                  <a:pt x="10712" y="2568"/>
                  <a:pt x="10050" y="1906"/>
                </a:cubicBezTo>
                <a:cubicBezTo>
                  <a:pt x="9719" y="1560"/>
                  <a:pt x="9286" y="1386"/>
                  <a:pt x="8853" y="1386"/>
                </a:cubicBezTo>
                <a:cubicBezTo>
                  <a:pt x="8420" y="1386"/>
                  <a:pt x="7987" y="1560"/>
                  <a:pt x="7656" y="1906"/>
                </a:cubicBezTo>
                <a:lnTo>
                  <a:pt x="6427" y="3103"/>
                </a:lnTo>
                <a:cubicBezTo>
                  <a:pt x="6243" y="3066"/>
                  <a:pt x="6058" y="3051"/>
                  <a:pt x="5874" y="3051"/>
                </a:cubicBezTo>
                <a:cubicBezTo>
                  <a:pt x="5743" y="3051"/>
                  <a:pt x="5613" y="3059"/>
                  <a:pt x="5482" y="3072"/>
                </a:cubicBezTo>
                <a:lnTo>
                  <a:pt x="7183" y="1371"/>
                </a:lnTo>
                <a:cubicBezTo>
                  <a:pt x="7656" y="898"/>
                  <a:pt x="8262" y="662"/>
                  <a:pt x="8869" y="662"/>
                </a:cubicBezTo>
                <a:close/>
                <a:moveTo>
                  <a:pt x="3686" y="6821"/>
                </a:moveTo>
                <a:cubicBezTo>
                  <a:pt x="3844" y="7136"/>
                  <a:pt x="4033" y="7420"/>
                  <a:pt x="4253" y="7672"/>
                </a:cubicBezTo>
                <a:cubicBezTo>
                  <a:pt x="4505" y="7924"/>
                  <a:pt x="4820" y="8144"/>
                  <a:pt x="5135" y="8270"/>
                </a:cubicBezTo>
                <a:lnTo>
                  <a:pt x="4096" y="9278"/>
                </a:lnTo>
                <a:cubicBezTo>
                  <a:pt x="3907" y="9483"/>
                  <a:pt x="3647" y="9585"/>
                  <a:pt x="3383" y="9585"/>
                </a:cubicBezTo>
                <a:cubicBezTo>
                  <a:pt x="3119" y="9585"/>
                  <a:pt x="2851" y="9483"/>
                  <a:pt x="2647" y="9278"/>
                </a:cubicBezTo>
                <a:cubicBezTo>
                  <a:pt x="2269" y="8900"/>
                  <a:pt x="2269" y="8239"/>
                  <a:pt x="2647" y="7829"/>
                </a:cubicBezTo>
                <a:lnTo>
                  <a:pt x="3686" y="6821"/>
                </a:lnTo>
                <a:close/>
                <a:moveTo>
                  <a:pt x="5844" y="3718"/>
                </a:moveTo>
                <a:cubicBezTo>
                  <a:pt x="6451" y="3718"/>
                  <a:pt x="7057" y="3954"/>
                  <a:pt x="7530" y="4427"/>
                </a:cubicBezTo>
                <a:cubicBezTo>
                  <a:pt x="7782" y="4647"/>
                  <a:pt x="7971" y="4962"/>
                  <a:pt x="8097" y="5309"/>
                </a:cubicBezTo>
                <a:lnTo>
                  <a:pt x="7530" y="5876"/>
                </a:lnTo>
                <a:cubicBezTo>
                  <a:pt x="7498" y="5529"/>
                  <a:pt x="7341" y="5151"/>
                  <a:pt x="7057" y="4899"/>
                </a:cubicBezTo>
                <a:cubicBezTo>
                  <a:pt x="6726" y="4553"/>
                  <a:pt x="6293" y="4379"/>
                  <a:pt x="5860" y="4379"/>
                </a:cubicBezTo>
                <a:cubicBezTo>
                  <a:pt x="5427" y="4379"/>
                  <a:pt x="4994" y="4553"/>
                  <a:pt x="4663" y="4899"/>
                </a:cubicBezTo>
                <a:lnTo>
                  <a:pt x="2174" y="7357"/>
                </a:lnTo>
                <a:cubicBezTo>
                  <a:pt x="1512" y="8050"/>
                  <a:pt x="1512" y="9089"/>
                  <a:pt x="2174" y="9782"/>
                </a:cubicBezTo>
                <a:cubicBezTo>
                  <a:pt x="2505" y="10113"/>
                  <a:pt x="2938" y="10279"/>
                  <a:pt x="3371" y="10279"/>
                </a:cubicBezTo>
                <a:cubicBezTo>
                  <a:pt x="3804" y="10279"/>
                  <a:pt x="4238" y="10113"/>
                  <a:pt x="4568" y="9782"/>
                </a:cubicBezTo>
                <a:lnTo>
                  <a:pt x="5892" y="8459"/>
                </a:lnTo>
                <a:cubicBezTo>
                  <a:pt x="6122" y="8505"/>
                  <a:pt x="6336" y="8535"/>
                  <a:pt x="6570" y="8535"/>
                </a:cubicBezTo>
                <a:cubicBezTo>
                  <a:pt x="6656" y="8535"/>
                  <a:pt x="6744" y="8531"/>
                  <a:pt x="6837" y="8522"/>
                </a:cubicBezTo>
                <a:lnTo>
                  <a:pt x="6837" y="8522"/>
                </a:lnTo>
                <a:lnTo>
                  <a:pt x="5041" y="10286"/>
                </a:lnTo>
                <a:cubicBezTo>
                  <a:pt x="4568" y="10759"/>
                  <a:pt x="3962" y="10995"/>
                  <a:pt x="3355" y="10995"/>
                </a:cubicBezTo>
                <a:cubicBezTo>
                  <a:pt x="2749" y="10995"/>
                  <a:pt x="2143" y="10759"/>
                  <a:pt x="1670" y="10286"/>
                </a:cubicBezTo>
                <a:cubicBezTo>
                  <a:pt x="725" y="9341"/>
                  <a:pt x="725" y="7829"/>
                  <a:pt x="1670" y="6884"/>
                </a:cubicBezTo>
                <a:lnTo>
                  <a:pt x="4159" y="4427"/>
                </a:lnTo>
                <a:cubicBezTo>
                  <a:pt x="4631" y="3954"/>
                  <a:pt x="5238" y="3718"/>
                  <a:pt x="5844" y="3718"/>
                </a:cubicBezTo>
                <a:close/>
                <a:moveTo>
                  <a:pt x="8869" y="0"/>
                </a:moveTo>
                <a:cubicBezTo>
                  <a:pt x="8081" y="0"/>
                  <a:pt x="7294" y="299"/>
                  <a:pt x="6711" y="898"/>
                </a:cubicBezTo>
                <a:lnTo>
                  <a:pt x="1197" y="6411"/>
                </a:lnTo>
                <a:cubicBezTo>
                  <a:pt x="0" y="7609"/>
                  <a:pt x="0" y="9562"/>
                  <a:pt x="1197" y="10759"/>
                </a:cubicBezTo>
                <a:cubicBezTo>
                  <a:pt x="1812" y="11373"/>
                  <a:pt x="2599" y="11681"/>
                  <a:pt x="3379" y="11681"/>
                </a:cubicBezTo>
                <a:cubicBezTo>
                  <a:pt x="4159" y="11681"/>
                  <a:pt x="4931" y="11373"/>
                  <a:pt x="5514" y="10759"/>
                </a:cubicBezTo>
                <a:lnTo>
                  <a:pt x="11027" y="5246"/>
                </a:lnTo>
                <a:cubicBezTo>
                  <a:pt x="12256" y="4017"/>
                  <a:pt x="12256" y="2095"/>
                  <a:pt x="11027" y="898"/>
                </a:cubicBezTo>
                <a:cubicBezTo>
                  <a:pt x="10444" y="299"/>
                  <a:pt x="9656" y="0"/>
                  <a:pt x="8869"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nvGrpSpPr>
          <p:cNvPr id="10407" name="Google Shape;10407;p112"/>
          <p:cNvGrpSpPr/>
          <p:nvPr/>
        </p:nvGrpSpPr>
        <p:grpSpPr>
          <a:xfrm>
            <a:off x="4716828" y="3887783"/>
            <a:ext cx="471449" cy="470156"/>
            <a:chOff x="-30805300" y="1938725"/>
            <a:chExt cx="291450" cy="290650"/>
          </a:xfrm>
        </p:grpSpPr>
        <p:sp>
          <p:nvSpPr>
            <p:cNvPr id="10408" name="Google Shape;10408;p112"/>
            <p:cNvSpPr/>
            <p:nvPr/>
          </p:nvSpPr>
          <p:spPr>
            <a:xfrm>
              <a:off x="-30805300" y="1938725"/>
              <a:ext cx="291450" cy="290650"/>
            </a:xfrm>
            <a:custGeom>
              <a:avLst/>
              <a:gdLst/>
              <a:ahLst/>
              <a:cxnLst/>
              <a:rect l="l" t="t" r="r" b="b"/>
              <a:pathLst>
                <a:path w="11658" h="11626" extrusionOk="0">
                  <a:moveTo>
                    <a:pt x="6806" y="694"/>
                  </a:moveTo>
                  <a:lnTo>
                    <a:pt x="6806" y="1450"/>
                  </a:lnTo>
                  <a:lnTo>
                    <a:pt x="6112" y="1450"/>
                  </a:lnTo>
                  <a:lnTo>
                    <a:pt x="6112" y="694"/>
                  </a:lnTo>
                  <a:close/>
                  <a:moveTo>
                    <a:pt x="10586" y="4821"/>
                  </a:moveTo>
                  <a:cubicBezTo>
                    <a:pt x="10807" y="4821"/>
                    <a:pt x="10964" y="5010"/>
                    <a:pt x="10964" y="5199"/>
                  </a:cubicBezTo>
                  <a:cubicBezTo>
                    <a:pt x="10964" y="5388"/>
                    <a:pt x="10807" y="5545"/>
                    <a:pt x="10586" y="5545"/>
                  </a:cubicBezTo>
                  <a:lnTo>
                    <a:pt x="8570" y="5545"/>
                  </a:lnTo>
                  <a:cubicBezTo>
                    <a:pt x="8349" y="5545"/>
                    <a:pt x="8192" y="5388"/>
                    <a:pt x="8192" y="5199"/>
                  </a:cubicBezTo>
                  <a:cubicBezTo>
                    <a:pt x="8192" y="5010"/>
                    <a:pt x="8349" y="4821"/>
                    <a:pt x="8570" y="4821"/>
                  </a:cubicBezTo>
                  <a:close/>
                  <a:moveTo>
                    <a:pt x="6459" y="3529"/>
                  </a:moveTo>
                  <a:cubicBezTo>
                    <a:pt x="7089" y="3529"/>
                    <a:pt x="7656" y="3844"/>
                    <a:pt x="7971" y="4411"/>
                  </a:cubicBezTo>
                  <a:cubicBezTo>
                    <a:pt x="7688" y="4600"/>
                    <a:pt x="7499" y="4915"/>
                    <a:pt x="7499" y="5262"/>
                  </a:cubicBezTo>
                  <a:cubicBezTo>
                    <a:pt x="7499" y="5388"/>
                    <a:pt x="7530" y="5545"/>
                    <a:pt x="7562" y="5672"/>
                  </a:cubicBezTo>
                  <a:cubicBezTo>
                    <a:pt x="7121" y="5703"/>
                    <a:pt x="6806" y="6113"/>
                    <a:pt x="6806" y="6585"/>
                  </a:cubicBezTo>
                  <a:cubicBezTo>
                    <a:pt x="6806" y="6680"/>
                    <a:pt x="6806" y="6774"/>
                    <a:pt x="6869" y="6900"/>
                  </a:cubicBezTo>
                  <a:cubicBezTo>
                    <a:pt x="6743" y="6932"/>
                    <a:pt x="6617" y="6932"/>
                    <a:pt x="6459" y="6932"/>
                  </a:cubicBezTo>
                  <a:cubicBezTo>
                    <a:pt x="5514" y="6932"/>
                    <a:pt x="4758" y="6176"/>
                    <a:pt x="4758" y="5230"/>
                  </a:cubicBezTo>
                  <a:cubicBezTo>
                    <a:pt x="4758" y="4285"/>
                    <a:pt x="5514" y="3529"/>
                    <a:pt x="6459" y="3529"/>
                  </a:cubicBezTo>
                  <a:close/>
                  <a:moveTo>
                    <a:pt x="9893" y="6207"/>
                  </a:moveTo>
                  <a:cubicBezTo>
                    <a:pt x="10082" y="6207"/>
                    <a:pt x="10240" y="6365"/>
                    <a:pt x="10240" y="6585"/>
                  </a:cubicBezTo>
                  <a:cubicBezTo>
                    <a:pt x="10240" y="6774"/>
                    <a:pt x="10082" y="6932"/>
                    <a:pt x="9893" y="6932"/>
                  </a:cubicBezTo>
                  <a:lnTo>
                    <a:pt x="7845" y="6932"/>
                  </a:lnTo>
                  <a:cubicBezTo>
                    <a:pt x="7656" y="6932"/>
                    <a:pt x="7499" y="6774"/>
                    <a:pt x="7499" y="6585"/>
                  </a:cubicBezTo>
                  <a:cubicBezTo>
                    <a:pt x="7499" y="6365"/>
                    <a:pt x="7656" y="6207"/>
                    <a:pt x="7845" y="6207"/>
                  </a:cubicBezTo>
                  <a:close/>
                  <a:moveTo>
                    <a:pt x="9231" y="7562"/>
                  </a:moveTo>
                  <a:cubicBezTo>
                    <a:pt x="9420" y="7562"/>
                    <a:pt x="9578" y="7719"/>
                    <a:pt x="9578" y="7908"/>
                  </a:cubicBezTo>
                  <a:cubicBezTo>
                    <a:pt x="9578" y="8097"/>
                    <a:pt x="9420" y="8255"/>
                    <a:pt x="9231" y="8255"/>
                  </a:cubicBezTo>
                  <a:lnTo>
                    <a:pt x="7845" y="8255"/>
                  </a:lnTo>
                  <a:cubicBezTo>
                    <a:pt x="7656" y="8255"/>
                    <a:pt x="7499" y="8097"/>
                    <a:pt x="7499" y="7908"/>
                  </a:cubicBezTo>
                  <a:cubicBezTo>
                    <a:pt x="7499" y="7719"/>
                    <a:pt x="7656" y="7562"/>
                    <a:pt x="7845" y="7562"/>
                  </a:cubicBezTo>
                  <a:close/>
                  <a:moveTo>
                    <a:pt x="6595" y="2171"/>
                  </a:moveTo>
                  <a:cubicBezTo>
                    <a:pt x="7889" y="2171"/>
                    <a:pt x="8963" y="3033"/>
                    <a:pt x="9389" y="4159"/>
                  </a:cubicBezTo>
                  <a:lnTo>
                    <a:pt x="8633" y="4159"/>
                  </a:lnTo>
                  <a:cubicBezTo>
                    <a:pt x="8223" y="3340"/>
                    <a:pt x="7404" y="2805"/>
                    <a:pt x="6459" y="2805"/>
                  </a:cubicBezTo>
                  <a:cubicBezTo>
                    <a:pt x="5136" y="2805"/>
                    <a:pt x="4065" y="3844"/>
                    <a:pt x="4065" y="5199"/>
                  </a:cubicBezTo>
                  <a:cubicBezTo>
                    <a:pt x="4065" y="6522"/>
                    <a:pt x="5136" y="7593"/>
                    <a:pt x="6459" y="7593"/>
                  </a:cubicBezTo>
                  <a:cubicBezTo>
                    <a:pt x="6617" y="7593"/>
                    <a:pt x="6743" y="7593"/>
                    <a:pt x="6900" y="7562"/>
                  </a:cubicBezTo>
                  <a:lnTo>
                    <a:pt x="6900" y="7562"/>
                  </a:lnTo>
                  <a:cubicBezTo>
                    <a:pt x="6869" y="7688"/>
                    <a:pt x="6806" y="7782"/>
                    <a:pt x="6806" y="7940"/>
                  </a:cubicBezTo>
                  <a:cubicBezTo>
                    <a:pt x="6806" y="8066"/>
                    <a:pt x="6806" y="8192"/>
                    <a:pt x="6869" y="8255"/>
                  </a:cubicBezTo>
                  <a:cubicBezTo>
                    <a:pt x="6743" y="8255"/>
                    <a:pt x="6585" y="8318"/>
                    <a:pt x="6459" y="8318"/>
                  </a:cubicBezTo>
                  <a:cubicBezTo>
                    <a:pt x="4758" y="8318"/>
                    <a:pt x="3403" y="6932"/>
                    <a:pt x="3403" y="5230"/>
                  </a:cubicBezTo>
                  <a:cubicBezTo>
                    <a:pt x="3403" y="3529"/>
                    <a:pt x="4758" y="2174"/>
                    <a:pt x="6459" y="2174"/>
                  </a:cubicBezTo>
                  <a:cubicBezTo>
                    <a:pt x="6505" y="2172"/>
                    <a:pt x="6550" y="2171"/>
                    <a:pt x="6595" y="2171"/>
                  </a:cubicBezTo>
                  <a:close/>
                  <a:moveTo>
                    <a:pt x="8538" y="8917"/>
                  </a:moveTo>
                  <a:cubicBezTo>
                    <a:pt x="8759" y="8917"/>
                    <a:pt x="8916" y="9074"/>
                    <a:pt x="8916" y="9295"/>
                  </a:cubicBezTo>
                  <a:cubicBezTo>
                    <a:pt x="8853" y="9484"/>
                    <a:pt x="8696" y="9641"/>
                    <a:pt x="8538" y="9641"/>
                  </a:cubicBezTo>
                  <a:lnTo>
                    <a:pt x="7877" y="9641"/>
                  </a:lnTo>
                  <a:cubicBezTo>
                    <a:pt x="7688" y="9641"/>
                    <a:pt x="7530" y="9484"/>
                    <a:pt x="7530" y="9295"/>
                  </a:cubicBezTo>
                  <a:cubicBezTo>
                    <a:pt x="7530" y="9074"/>
                    <a:pt x="7688" y="8917"/>
                    <a:pt x="7877" y="8917"/>
                  </a:cubicBezTo>
                  <a:close/>
                  <a:moveTo>
                    <a:pt x="3592" y="1765"/>
                  </a:moveTo>
                  <a:cubicBezTo>
                    <a:pt x="3655" y="2111"/>
                    <a:pt x="3655" y="2427"/>
                    <a:pt x="3592" y="2805"/>
                  </a:cubicBezTo>
                  <a:cubicBezTo>
                    <a:pt x="3025" y="3466"/>
                    <a:pt x="2710" y="4285"/>
                    <a:pt x="2710" y="5199"/>
                  </a:cubicBezTo>
                  <a:cubicBezTo>
                    <a:pt x="2710" y="7278"/>
                    <a:pt x="4411" y="8917"/>
                    <a:pt x="6459" y="8917"/>
                  </a:cubicBezTo>
                  <a:cubicBezTo>
                    <a:pt x="6585" y="8917"/>
                    <a:pt x="6743" y="8917"/>
                    <a:pt x="6869" y="8885"/>
                  </a:cubicBezTo>
                  <a:lnTo>
                    <a:pt x="6869" y="8885"/>
                  </a:lnTo>
                  <a:cubicBezTo>
                    <a:pt x="6806" y="9011"/>
                    <a:pt x="6774" y="9137"/>
                    <a:pt x="6774" y="9232"/>
                  </a:cubicBezTo>
                  <a:cubicBezTo>
                    <a:pt x="6774" y="9358"/>
                    <a:pt x="6806" y="9484"/>
                    <a:pt x="6806" y="9610"/>
                  </a:cubicBezTo>
                  <a:lnTo>
                    <a:pt x="4915" y="9610"/>
                  </a:lnTo>
                  <a:cubicBezTo>
                    <a:pt x="4537" y="9641"/>
                    <a:pt x="4096" y="9830"/>
                    <a:pt x="3781" y="10145"/>
                  </a:cubicBezTo>
                  <a:lnTo>
                    <a:pt x="3088" y="10870"/>
                  </a:lnTo>
                  <a:lnTo>
                    <a:pt x="788" y="8633"/>
                  </a:lnTo>
                  <a:lnTo>
                    <a:pt x="1544" y="7908"/>
                  </a:lnTo>
                  <a:cubicBezTo>
                    <a:pt x="1859" y="7593"/>
                    <a:pt x="2048" y="7152"/>
                    <a:pt x="2048" y="6680"/>
                  </a:cubicBezTo>
                  <a:lnTo>
                    <a:pt x="2048" y="3655"/>
                  </a:lnTo>
                  <a:cubicBezTo>
                    <a:pt x="2048" y="3592"/>
                    <a:pt x="2080" y="3498"/>
                    <a:pt x="2143" y="3435"/>
                  </a:cubicBezTo>
                  <a:lnTo>
                    <a:pt x="3592" y="1765"/>
                  </a:lnTo>
                  <a:close/>
                  <a:moveTo>
                    <a:pt x="5167" y="1"/>
                  </a:moveTo>
                  <a:cubicBezTo>
                    <a:pt x="4978" y="1"/>
                    <a:pt x="4821" y="158"/>
                    <a:pt x="4821" y="347"/>
                  </a:cubicBezTo>
                  <a:cubicBezTo>
                    <a:pt x="4821" y="536"/>
                    <a:pt x="4978" y="694"/>
                    <a:pt x="5167" y="694"/>
                  </a:cubicBezTo>
                  <a:lnTo>
                    <a:pt x="5514" y="694"/>
                  </a:lnTo>
                  <a:lnTo>
                    <a:pt x="5514" y="1576"/>
                  </a:lnTo>
                  <a:cubicBezTo>
                    <a:pt x="5136" y="1702"/>
                    <a:pt x="4726" y="1891"/>
                    <a:pt x="4380" y="2111"/>
                  </a:cubicBezTo>
                  <a:cubicBezTo>
                    <a:pt x="4380" y="1796"/>
                    <a:pt x="4317" y="1481"/>
                    <a:pt x="4222" y="1229"/>
                  </a:cubicBezTo>
                  <a:lnTo>
                    <a:pt x="4159" y="977"/>
                  </a:lnTo>
                  <a:cubicBezTo>
                    <a:pt x="4096" y="851"/>
                    <a:pt x="4033" y="788"/>
                    <a:pt x="3907" y="757"/>
                  </a:cubicBezTo>
                  <a:cubicBezTo>
                    <a:pt x="3872" y="739"/>
                    <a:pt x="3839" y="731"/>
                    <a:pt x="3808" y="731"/>
                  </a:cubicBezTo>
                  <a:cubicBezTo>
                    <a:pt x="3728" y="731"/>
                    <a:pt x="3660" y="783"/>
                    <a:pt x="3592" y="851"/>
                  </a:cubicBezTo>
                  <a:lnTo>
                    <a:pt x="1702" y="2962"/>
                  </a:lnTo>
                  <a:cubicBezTo>
                    <a:pt x="1544" y="3151"/>
                    <a:pt x="1418" y="3372"/>
                    <a:pt x="1418" y="3624"/>
                  </a:cubicBezTo>
                  <a:lnTo>
                    <a:pt x="1418" y="6648"/>
                  </a:lnTo>
                  <a:cubicBezTo>
                    <a:pt x="1418" y="6932"/>
                    <a:pt x="1292" y="7152"/>
                    <a:pt x="1103" y="7373"/>
                  </a:cubicBezTo>
                  <a:lnTo>
                    <a:pt x="127" y="8349"/>
                  </a:lnTo>
                  <a:cubicBezTo>
                    <a:pt x="64" y="8412"/>
                    <a:pt x="1" y="8507"/>
                    <a:pt x="1" y="8570"/>
                  </a:cubicBezTo>
                  <a:cubicBezTo>
                    <a:pt x="1" y="8664"/>
                    <a:pt x="32" y="8790"/>
                    <a:pt x="127" y="8822"/>
                  </a:cubicBezTo>
                  <a:lnTo>
                    <a:pt x="2867" y="11531"/>
                  </a:lnTo>
                  <a:cubicBezTo>
                    <a:pt x="2930" y="11594"/>
                    <a:pt x="3025" y="11626"/>
                    <a:pt x="3116" y="11626"/>
                  </a:cubicBezTo>
                  <a:cubicBezTo>
                    <a:pt x="3206" y="11626"/>
                    <a:pt x="3293" y="11594"/>
                    <a:pt x="3340" y="11531"/>
                  </a:cubicBezTo>
                  <a:lnTo>
                    <a:pt x="4348" y="10555"/>
                  </a:lnTo>
                  <a:cubicBezTo>
                    <a:pt x="4537" y="10366"/>
                    <a:pt x="4758" y="10240"/>
                    <a:pt x="5041" y="10240"/>
                  </a:cubicBezTo>
                  <a:lnTo>
                    <a:pt x="8601" y="10240"/>
                  </a:lnTo>
                  <a:cubicBezTo>
                    <a:pt x="9137" y="10240"/>
                    <a:pt x="9610" y="9767"/>
                    <a:pt x="9610" y="9200"/>
                  </a:cubicBezTo>
                  <a:cubicBezTo>
                    <a:pt x="9610" y="9106"/>
                    <a:pt x="9578" y="8948"/>
                    <a:pt x="9547" y="8822"/>
                  </a:cubicBezTo>
                  <a:cubicBezTo>
                    <a:pt x="9956" y="8696"/>
                    <a:pt x="10303" y="8318"/>
                    <a:pt x="10303" y="7845"/>
                  </a:cubicBezTo>
                  <a:cubicBezTo>
                    <a:pt x="10303" y="7719"/>
                    <a:pt x="10240" y="7562"/>
                    <a:pt x="10208" y="7436"/>
                  </a:cubicBezTo>
                  <a:cubicBezTo>
                    <a:pt x="10649" y="7310"/>
                    <a:pt x="10964" y="6932"/>
                    <a:pt x="10964" y="6459"/>
                  </a:cubicBezTo>
                  <a:cubicBezTo>
                    <a:pt x="10964" y="6333"/>
                    <a:pt x="10933" y="6176"/>
                    <a:pt x="10870" y="6050"/>
                  </a:cubicBezTo>
                  <a:cubicBezTo>
                    <a:pt x="11027" y="6018"/>
                    <a:pt x="11185" y="5955"/>
                    <a:pt x="11342" y="5798"/>
                  </a:cubicBezTo>
                  <a:cubicBezTo>
                    <a:pt x="11563" y="5577"/>
                    <a:pt x="11657" y="5325"/>
                    <a:pt x="11657" y="5041"/>
                  </a:cubicBezTo>
                  <a:cubicBezTo>
                    <a:pt x="11657" y="4758"/>
                    <a:pt x="11563" y="4474"/>
                    <a:pt x="11342" y="4285"/>
                  </a:cubicBezTo>
                  <a:cubicBezTo>
                    <a:pt x="11122" y="4285"/>
                    <a:pt x="10870" y="4159"/>
                    <a:pt x="10586" y="4159"/>
                  </a:cubicBezTo>
                  <a:lnTo>
                    <a:pt x="10145" y="4159"/>
                  </a:lnTo>
                  <a:cubicBezTo>
                    <a:pt x="9767" y="2899"/>
                    <a:pt x="8790" y="1922"/>
                    <a:pt x="7530" y="1576"/>
                  </a:cubicBezTo>
                  <a:lnTo>
                    <a:pt x="7530" y="694"/>
                  </a:lnTo>
                  <a:lnTo>
                    <a:pt x="7877" y="694"/>
                  </a:lnTo>
                  <a:cubicBezTo>
                    <a:pt x="8097" y="694"/>
                    <a:pt x="8255" y="536"/>
                    <a:pt x="8255" y="347"/>
                  </a:cubicBezTo>
                  <a:cubicBezTo>
                    <a:pt x="8255" y="158"/>
                    <a:pt x="8097" y="1"/>
                    <a:pt x="7877"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409" name="Google Shape;10409;p112"/>
            <p:cNvSpPr/>
            <p:nvPr/>
          </p:nvSpPr>
          <p:spPr>
            <a:xfrm>
              <a:off x="-30670625" y="2042700"/>
              <a:ext cx="35475" cy="35450"/>
            </a:xfrm>
            <a:custGeom>
              <a:avLst/>
              <a:gdLst/>
              <a:ahLst/>
              <a:cxnLst/>
              <a:rect l="l" t="t" r="r" b="b"/>
              <a:pathLst>
                <a:path w="1419" h="1418" extrusionOk="0">
                  <a:moveTo>
                    <a:pt x="1072" y="0"/>
                  </a:moveTo>
                  <a:cubicBezTo>
                    <a:pt x="883" y="0"/>
                    <a:pt x="725" y="158"/>
                    <a:pt x="725" y="378"/>
                  </a:cubicBezTo>
                  <a:lnTo>
                    <a:pt x="725" y="725"/>
                  </a:lnTo>
                  <a:lnTo>
                    <a:pt x="379" y="725"/>
                  </a:lnTo>
                  <a:cubicBezTo>
                    <a:pt x="158" y="725"/>
                    <a:pt x="1" y="882"/>
                    <a:pt x="1" y="1071"/>
                  </a:cubicBezTo>
                  <a:cubicBezTo>
                    <a:pt x="1" y="1260"/>
                    <a:pt x="158" y="1418"/>
                    <a:pt x="379" y="1418"/>
                  </a:cubicBezTo>
                  <a:lnTo>
                    <a:pt x="1041" y="1418"/>
                  </a:lnTo>
                  <a:cubicBezTo>
                    <a:pt x="1230" y="1418"/>
                    <a:pt x="1387" y="1260"/>
                    <a:pt x="1387" y="1071"/>
                  </a:cubicBezTo>
                  <a:lnTo>
                    <a:pt x="1387" y="410"/>
                  </a:lnTo>
                  <a:cubicBezTo>
                    <a:pt x="1419" y="158"/>
                    <a:pt x="1261" y="0"/>
                    <a:pt x="1072"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10410" name="Google Shape;10410;p112"/>
          <p:cNvGrpSpPr/>
          <p:nvPr/>
        </p:nvGrpSpPr>
        <p:grpSpPr>
          <a:xfrm>
            <a:off x="4717474" y="4511687"/>
            <a:ext cx="470156" cy="470924"/>
            <a:chOff x="-30805300" y="2298675"/>
            <a:chExt cx="290650" cy="291125"/>
          </a:xfrm>
        </p:grpSpPr>
        <p:sp>
          <p:nvSpPr>
            <p:cNvPr id="10411" name="Google Shape;10411;p112"/>
            <p:cNvSpPr/>
            <p:nvPr/>
          </p:nvSpPr>
          <p:spPr>
            <a:xfrm>
              <a:off x="-30720225" y="2419175"/>
              <a:ext cx="17350" cy="17350"/>
            </a:xfrm>
            <a:custGeom>
              <a:avLst/>
              <a:gdLst/>
              <a:ahLst/>
              <a:cxnLst/>
              <a:rect l="l" t="t" r="r" b="b"/>
              <a:pathLst>
                <a:path w="694" h="694" extrusionOk="0">
                  <a:moveTo>
                    <a:pt x="347" y="1"/>
                  </a:moveTo>
                  <a:cubicBezTo>
                    <a:pt x="158" y="1"/>
                    <a:pt x="0" y="158"/>
                    <a:pt x="0" y="347"/>
                  </a:cubicBezTo>
                  <a:cubicBezTo>
                    <a:pt x="0" y="536"/>
                    <a:pt x="158" y="694"/>
                    <a:pt x="347" y="694"/>
                  </a:cubicBezTo>
                  <a:cubicBezTo>
                    <a:pt x="536" y="694"/>
                    <a:pt x="693" y="536"/>
                    <a:pt x="693" y="347"/>
                  </a:cubicBezTo>
                  <a:cubicBezTo>
                    <a:pt x="693" y="158"/>
                    <a:pt x="536" y="1"/>
                    <a:pt x="347"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412" name="Google Shape;10412;p112"/>
            <p:cNvSpPr/>
            <p:nvPr/>
          </p:nvSpPr>
          <p:spPr>
            <a:xfrm>
              <a:off x="-30635175" y="2453250"/>
              <a:ext cx="87450" cy="69125"/>
            </a:xfrm>
            <a:custGeom>
              <a:avLst/>
              <a:gdLst/>
              <a:ahLst/>
              <a:cxnLst/>
              <a:rect l="l" t="t" r="r" b="b"/>
              <a:pathLst>
                <a:path w="3498" h="2765" extrusionOk="0">
                  <a:moveTo>
                    <a:pt x="3124" y="0"/>
                  </a:moveTo>
                  <a:cubicBezTo>
                    <a:pt x="3033" y="0"/>
                    <a:pt x="2946" y="40"/>
                    <a:pt x="2899" y="118"/>
                  </a:cubicBezTo>
                  <a:lnTo>
                    <a:pt x="1040" y="1946"/>
                  </a:lnTo>
                  <a:lnTo>
                    <a:pt x="599" y="1505"/>
                  </a:lnTo>
                  <a:cubicBezTo>
                    <a:pt x="536" y="1442"/>
                    <a:pt x="450" y="1410"/>
                    <a:pt x="363" y="1410"/>
                  </a:cubicBezTo>
                  <a:cubicBezTo>
                    <a:pt x="276" y="1410"/>
                    <a:pt x="190" y="1442"/>
                    <a:pt x="127" y="1505"/>
                  </a:cubicBezTo>
                  <a:cubicBezTo>
                    <a:pt x="1" y="1631"/>
                    <a:pt x="1" y="1851"/>
                    <a:pt x="127" y="1977"/>
                  </a:cubicBezTo>
                  <a:lnTo>
                    <a:pt x="788" y="2639"/>
                  </a:lnTo>
                  <a:cubicBezTo>
                    <a:pt x="883" y="2733"/>
                    <a:pt x="977" y="2765"/>
                    <a:pt x="1040" y="2765"/>
                  </a:cubicBezTo>
                  <a:cubicBezTo>
                    <a:pt x="1103" y="2765"/>
                    <a:pt x="1198" y="2733"/>
                    <a:pt x="1261" y="2639"/>
                  </a:cubicBezTo>
                  <a:lnTo>
                    <a:pt x="3372" y="591"/>
                  </a:lnTo>
                  <a:cubicBezTo>
                    <a:pt x="3498" y="496"/>
                    <a:pt x="3498" y="244"/>
                    <a:pt x="3372" y="118"/>
                  </a:cubicBezTo>
                  <a:cubicBezTo>
                    <a:pt x="3309" y="40"/>
                    <a:pt x="3214" y="0"/>
                    <a:pt x="3124"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413" name="Google Shape;10413;p112"/>
            <p:cNvSpPr/>
            <p:nvPr/>
          </p:nvSpPr>
          <p:spPr>
            <a:xfrm>
              <a:off x="-30805300" y="2298675"/>
              <a:ext cx="290650" cy="291125"/>
            </a:xfrm>
            <a:custGeom>
              <a:avLst/>
              <a:gdLst/>
              <a:ahLst/>
              <a:cxnLst/>
              <a:rect l="l" t="t" r="r" b="b"/>
              <a:pathLst>
                <a:path w="11626" h="11645" extrusionOk="0">
                  <a:moveTo>
                    <a:pt x="5797" y="630"/>
                  </a:moveTo>
                  <a:cubicBezTo>
                    <a:pt x="6333" y="630"/>
                    <a:pt x="6806" y="1103"/>
                    <a:pt x="6806" y="1670"/>
                  </a:cubicBezTo>
                  <a:lnTo>
                    <a:pt x="6806" y="4096"/>
                  </a:lnTo>
                  <a:lnTo>
                    <a:pt x="6459" y="4096"/>
                  </a:lnTo>
                  <a:cubicBezTo>
                    <a:pt x="5514" y="4096"/>
                    <a:pt x="4758" y="4852"/>
                    <a:pt x="4758" y="5797"/>
                  </a:cubicBezTo>
                  <a:lnTo>
                    <a:pt x="4758" y="6144"/>
                  </a:lnTo>
                  <a:lnTo>
                    <a:pt x="3088" y="6144"/>
                  </a:lnTo>
                  <a:lnTo>
                    <a:pt x="3088" y="6207"/>
                  </a:lnTo>
                  <a:cubicBezTo>
                    <a:pt x="2993" y="6207"/>
                    <a:pt x="2930" y="6238"/>
                    <a:pt x="2836" y="6270"/>
                  </a:cubicBezTo>
                  <a:lnTo>
                    <a:pt x="2017" y="7057"/>
                  </a:lnTo>
                  <a:lnTo>
                    <a:pt x="2017" y="6490"/>
                  </a:lnTo>
                  <a:cubicBezTo>
                    <a:pt x="2017" y="6301"/>
                    <a:pt x="1859" y="6144"/>
                    <a:pt x="1670" y="6144"/>
                  </a:cubicBezTo>
                  <a:cubicBezTo>
                    <a:pt x="1103" y="6144"/>
                    <a:pt x="631" y="5671"/>
                    <a:pt x="631" y="5136"/>
                  </a:cubicBezTo>
                  <a:lnTo>
                    <a:pt x="631" y="1670"/>
                  </a:lnTo>
                  <a:cubicBezTo>
                    <a:pt x="631" y="1103"/>
                    <a:pt x="1103" y="630"/>
                    <a:pt x="1670" y="630"/>
                  </a:cubicBezTo>
                  <a:close/>
                  <a:moveTo>
                    <a:pt x="9925" y="4852"/>
                  </a:moveTo>
                  <a:cubicBezTo>
                    <a:pt x="10492" y="4852"/>
                    <a:pt x="10964" y="5325"/>
                    <a:pt x="10964" y="5860"/>
                  </a:cubicBezTo>
                  <a:lnTo>
                    <a:pt x="10964" y="8601"/>
                  </a:lnTo>
                  <a:cubicBezTo>
                    <a:pt x="10964" y="9137"/>
                    <a:pt x="10492" y="9609"/>
                    <a:pt x="9925" y="9609"/>
                  </a:cubicBezTo>
                  <a:lnTo>
                    <a:pt x="8538" y="9609"/>
                  </a:lnTo>
                  <a:cubicBezTo>
                    <a:pt x="8475" y="9609"/>
                    <a:pt x="8349" y="9672"/>
                    <a:pt x="8318" y="9735"/>
                  </a:cubicBezTo>
                  <a:lnTo>
                    <a:pt x="7530" y="10523"/>
                  </a:lnTo>
                  <a:lnTo>
                    <a:pt x="7530" y="9987"/>
                  </a:lnTo>
                  <a:cubicBezTo>
                    <a:pt x="7530" y="9767"/>
                    <a:pt x="7373" y="9609"/>
                    <a:pt x="7184" y="9609"/>
                  </a:cubicBezTo>
                  <a:lnTo>
                    <a:pt x="6491" y="9609"/>
                  </a:lnTo>
                  <a:cubicBezTo>
                    <a:pt x="5955" y="9609"/>
                    <a:pt x="5482" y="9137"/>
                    <a:pt x="5482" y="8601"/>
                  </a:cubicBezTo>
                  <a:lnTo>
                    <a:pt x="5482" y="5860"/>
                  </a:lnTo>
                  <a:cubicBezTo>
                    <a:pt x="5482" y="5325"/>
                    <a:pt x="5955" y="4852"/>
                    <a:pt x="6491" y="4852"/>
                  </a:cubicBezTo>
                  <a:close/>
                  <a:moveTo>
                    <a:pt x="1702" y="0"/>
                  </a:moveTo>
                  <a:cubicBezTo>
                    <a:pt x="757" y="0"/>
                    <a:pt x="1" y="756"/>
                    <a:pt x="1" y="1702"/>
                  </a:cubicBezTo>
                  <a:lnTo>
                    <a:pt x="1" y="5167"/>
                  </a:lnTo>
                  <a:cubicBezTo>
                    <a:pt x="1" y="5986"/>
                    <a:pt x="599" y="6711"/>
                    <a:pt x="1387" y="6868"/>
                  </a:cubicBezTo>
                  <a:lnTo>
                    <a:pt x="1387" y="7940"/>
                  </a:lnTo>
                  <a:cubicBezTo>
                    <a:pt x="1387" y="8034"/>
                    <a:pt x="1450" y="8192"/>
                    <a:pt x="1576" y="8255"/>
                  </a:cubicBezTo>
                  <a:cubicBezTo>
                    <a:pt x="1618" y="8265"/>
                    <a:pt x="1663" y="8272"/>
                    <a:pt x="1708" y="8272"/>
                  </a:cubicBezTo>
                  <a:cubicBezTo>
                    <a:pt x="1796" y="8272"/>
                    <a:pt x="1880" y="8244"/>
                    <a:pt x="1922" y="8160"/>
                  </a:cubicBezTo>
                  <a:lnTo>
                    <a:pt x="3246" y="6900"/>
                  </a:lnTo>
                  <a:lnTo>
                    <a:pt x="4821" y="6900"/>
                  </a:lnTo>
                  <a:lnTo>
                    <a:pt x="4821" y="8601"/>
                  </a:lnTo>
                  <a:cubicBezTo>
                    <a:pt x="4821" y="9546"/>
                    <a:pt x="5545" y="10302"/>
                    <a:pt x="6491" y="10302"/>
                  </a:cubicBezTo>
                  <a:lnTo>
                    <a:pt x="6869" y="10302"/>
                  </a:lnTo>
                  <a:lnTo>
                    <a:pt x="6869" y="11311"/>
                  </a:lnTo>
                  <a:cubicBezTo>
                    <a:pt x="6869" y="11468"/>
                    <a:pt x="6932" y="11594"/>
                    <a:pt x="7058" y="11626"/>
                  </a:cubicBezTo>
                  <a:cubicBezTo>
                    <a:pt x="7104" y="11637"/>
                    <a:pt x="7154" y="11644"/>
                    <a:pt x="7202" y="11644"/>
                  </a:cubicBezTo>
                  <a:cubicBezTo>
                    <a:pt x="7286" y="11644"/>
                    <a:pt x="7364" y="11623"/>
                    <a:pt x="7404" y="11563"/>
                  </a:cubicBezTo>
                  <a:lnTo>
                    <a:pt x="8664" y="10302"/>
                  </a:lnTo>
                  <a:lnTo>
                    <a:pt x="9925" y="10302"/>
                  </a:lnTo>
                  <a:cubicBezTo>
                    <a:pt x="10870" y="10302"/>
                    <a:pt x="11626" y="9546"/>
                    <a:pt x="11626" y="8601"/>
                  </a:cubicBezTo>
                  <a:lnTo>
                    <a:pt x="11626" y="5892"/>
                  </a:lnTo>
                  <a:cubicBezTo>
                    <a:pt x="11626" y="4884"/>
                    <a:pt x="10870" y="4159"/>
                    <a:pt x="9925" y="4159"/>
                  </a:cubicBezTo>
                  <a:lnTo>
                    <a:pt x="7530" y="4159"/>
                  </a:lnTo>
                  <a:lnTo>
                    <a:pt x="7530" y="1702"/>
                  </a:lnTo>
                  <a:cubicBezTo>
                    <a:pt x="7530" y="756"/>
                    <a:pt x="6774" y="0"/>
                    <a:pt x="5829"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414" name="Google Shape;10414;p112"/>
            <p:cNvSpPr/>
            <p:nvPr/>
          </p:nvSpPr>
          <p:spPr>
            <a:xfrm>
              <a:off x="-30737575" y="2332550"/>
              <a:ext cx="53600" cy="69325"/>
            </a:xfrm>
            <a:custGeom>
              <a:avLst/>
              <a:gdLst/>
              <a:ahLst/>
              <a:cxnLst/>
              <a:rect l="l" t="t" r="r" b="b"/>
              <a:pathLst>
                <a:path w="2144" h="2773" extrusionOk="0">
                  <a:moveTo>
                    <a:pt x="1041" y="0"/>
                  </a:moveTo>
                  <a:cubicBezTo>
                    <a:pt x="474" y="0"/>
                    <a:pt x="1" y="473"/>
                    <a:pt x="1" y="1008"/>
                  </a:cubicBezTo>
                  <a:cubicBezTo>
                    <a:pt x="1" y="1197"/>
                    <a:pt x="158" y="1355"/>
                    <a:pt x="379" y="1355"/>
                  </a:cubicBezTo>
                  <a:cubicBezTo>
                    <a:pt x="568" y="1355"/>
                    <a:pt x="726" y="1197"/>
                    <a:pt x="726" y="1008"/>
                  </a:cubicBezTo>
                  <a:cubicBezTo>
                    <a:pt x="726" y="819"/>
                    <a:pt x="883" y="662"/>
                    <a:pt x="1072" y="662"/>
                  </a:cubicBezTo>
                  <a:cubicBezTo>
                    <a:pt x="1293" y="662"/>
                    <a:pt x="1450" y="819"/>
                    <a:pt x="1450" y="1008"/>
                  </a:cubicBezTo>
                  <a:cubicBezTo>
                    <a:pt x="1450" y="1103"/>
                    <a:pt x="1324" y="1292"/>
                    <a:pt x="1198" y="1323"/>
                  </a:cubicBezTo>
                  <a:cubicBezTo>
                    <a:pt x="915" y="1449"/>
                    <a:pt x="757" y="1701"/>
                    <a:pt x="757" y="1953"/>
                  </a:cubicBezTo>
                  <a:lnTo>
                    <a:pt x="757" y="2426"/>
                  </a:lnTo>
                  <a:cubicBezTo>
                    <a:pt x="757" y="2615"/>
                    <a:pt x="915" y="2772"/>
                    <a:pt x="1135" y="2772"/>
                  </a:cubicBezTo>
                  <a:cubicBezTo>
                    <a:pt x="1324" y="2772"/>
                    <a:pt x="1482" y="2615"/>
                    <a:pt x="1482" y="2426"/>
                  </a:cubicBezTo>
                  <a:lnTo>
                    <a:pt x="1482" y="1953"/>
                  </a:lnTo>
                  <a:cubicBezTo>
                    <a:pt x="1860" y="1796"/>
                    <a:pt x="2143" y="1418"/>
                    <a:pt x="2143" y="1008"/>
                  </a:cubicBezTo>
                  <a:cubicBezTo>
                    <a:pt x="2049" y="473"/>
                    <a:pt x="1576" y="0"/>
                    <a:pt x="1041"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10415" name="Google Shape;10415;p112"/>
          <p:cNvGrpSpPr/>
          <p:nvPr/>
        </p:nvGrpSpPr>
        <p:grpSpPr>
          <a:xfrm>
            <a:off x="4716848" y="5125266"/>
            <a:ext cx="471409" cy="471409"/>
            <a:chOff x="-30806075" y="2657050"/>
            <a:chExt cx="291425" cy="291425"/>
          </a:xfrm>
        </p:grpSpPr>
        <p:sp>
          <p:nvSpPr>
            <p:cNvPr id="10416" name="Google Shape;10416;p112"/>
            <p:cNvSpPr/>
            <p:nvPr/>
          </p:nvSpPr>
          <p:spPr>
            <a:xfrm>
              <a:off x="-30806075" y="2657050"/>
              <a:ext cx="291425" cy="291425"/>
            </a:xfrm>
            <a:custGeom>
              <a:avLst/>
              <a:gdLst/>
              <a:ahLst/>
              <a:cxnLst/>
              <a:rect l="l" t="t" r="r" b="b"/>
              <a:pathLst>
                <a:path w="11657" h="11657" extrusionOk="0">
                  <a:moveTo>
                    <a:pt x="5828" y="693"/>
                  </a:moveTo>
                  <a:cubicBezTo>
                    <a:pt x="8664" y="693"/>
                    <a:pt x="10995" y="2993"/>
                    <a:pt x="10995" y="5828"/>
                  </a:cubicBezTo>
                  <a:cubicBezTo>
                    <a:pt x="10995" y="8664"/>
                    <a:pt x="8664" y="10995"/>
                    <a:pt x="5828" y="10995"/>
                  </a:cubicBezTo>
                  <a:cubicBezTo>
                    <a:pt x="2993" y="10995"/>
                    <a:pt x="662" y="8664"/>
                    <a:pt x="662" y="5828"/>
                  </a:cubicBezTo>
                  <a:cubicBezTo>
                    <a:pt x="662" y="2993"/>
                    <a:pt x="2993" y="693"/>
                    <a:pt x="5828" y="693"/>
                  </a:cubicBezTo>
                  <a:close/>
                  <a:moveTo>
                    <a:pt x="5828" y="0"/>
                  </a:moveTo>
                  <a:cubicBezTo>
                    <a:pt x="2583" y="0"/>
                    <a:pt x="0" y="2646"/>
                    <a:pt x="0" y="5828"/>
                  </a:cubicBezTo>
                  <a:cubicBezTo>
                    <a:pt x="0" y="9073"/>
                    <a:pt x="2646" y="11657"/>
                    <a:pt x="5828" y="11657"/>
                  </a:cubicBezTo>
                  <a:cubicBezTo>
                    <a:pt x="9042" y="11657"/>
                    <a:pt x="11657" y="9042"/>
                    <a:pt x="11657" y="5828"/>
                  </a:cubicBezTo>
                  <a:cubicBezTo>
                    <a:pt x="11657" y="2646"/>
                    <a:pt x="9042" y="0"/>
                    <a:pt x="5828"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417" name="Google Shape;10417;p112"/>
            <p:cNvSpPr/>
            <p:nvPr/>
          </p:nvSpPr>
          <p:spPr>
            <a:xfrm>
              <a:off x="-30771425" y="2692475"/>
              <a:ext cx="222125" cy="222925"/>
            </a:xfrm>
            <a:custGeom>
              <a:avLst/>
              <a:gdLst/>
              <a:ahLst/>
              <a:cxnLst/>
              <a:rect l="l" t="t" r="r" b="b"/>
              <a:pathLst>
                <a:path w="8885" h="8917" extrusionOk="0">
                  <a:moveTo>
                    <a:pt x="4442" y="725"/>
                  </a:moveTo>
                  <a:cubicBezTo>
                    <a:pt x="6522" y="725"/>
                    <a:pt x="8192" y="2427"/>
                    <a:pt x="8192" y="4474"/>
                  </a:cubicBezTo>
                  <a:cubicBezTo>
                    <a:pt x="8192" y="6522"/>
                    <a:pt x="6522" y="8192"/>
                    <a:pt x="4442" y="8192"/>
                  </a:cubicBezTo>
                  <a:cubicBezTo>
                    <a:pt x="2363" y="8192"/>
                    <a:pt x="693" y="6522"/>
                    <a:pt x="693" y="4474"/>
                  </a:cubicBezTo>
                  <a:cubicBezTo>
                    <a:pt x="693" y="2427"/>
                    <a:pt x="2395" y="725"/>
                    <a:pt x="4442" y="725"/>
                  </a:cubicBezTo>
                  <a:close/>
                  <a:moveTo>
                    <a:pt x="4442" y="1"/>
                  </a:moveTo>
                  <a:cubicBezTo>
                    <a:pt x="1985" y="1"/>
                    <a:pt x="0" y="2017"/>
                    <a:pt x="0" y="4474"/>
                  </a:cubicBezTo>
                  <a:cubicBezTo>
                    <a:pt x="0" y="6900"/>
                    <a:pt x="1985" y="8917"/>
                    <a:pt x="4442" y="8917"/>
                  </a:cubicBezTo>
                  <a:cubicBezTo>
                    <a:pt x="6868" y="8917"/>
                    <a:pt x="8885" y="6900"/>
                    <a:pt x="8885" y="4474"/>
                  </a:cubicBezTo>
                  <a:cubicBezTo>
                    <a:pt x="8885" y="2017"/>
                    <a:pt x="6868" y="1"/>
                    <a:pt x="4442"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418" name="Google Shape;10418;p112"/>
            <p:cNvSpPr/>
            <p:nvPr/>
          </p:nvSpPr>
          <p:spPr>
            <a:xfrm>
              <a:off x="-30669050" y="2726350"/>
              <a:ext cx="52025" cy="119150"/>
            </a:xfrm>
            <a:custGeom>
              <a:avLst/>
              <a:gdLst/>
              <a:ahLst/>
              <a:cxnLst/>
              <a:rect l="l" t="t" r="r" b="b"/>
              <a:pathLst>
                <a:path w="2081" h="4766" extrusionOk="0">
                  <a:moveTo>
                    <a:pt x="347" y="0"/>
                  </a:moveTo>
                  <a:cubicBezTo>
                    <a:pt x="158" y="0"/>
                    <a:pt x="1" y="158"/>
                    <a:pt x="1" y="347"/>
                  </a:cubicBezTo>
                  <a:lnTo>
                    <a:pt x="1" y="3056"/>
                  </a:lnTo>
                  <a:cubicBezTo>
                    <a:pt x="1" y="3151"/>
                    <a:pt x="32" y="3277"/>
                    <a:pt x="95" y="3308"/>
                  </a:cubicBezTo>
                  <a:lnTo>
                    <a:pt x="1482" y="4695"/>
                  </a:lnTo>
                  <a:cubicBezTo>
                    <a:pt x="1545" y="4742"/>
                    <a:pt x="1631" y="4766"/>
                    <a:pt x="1718" y="4766"/>
                  </a:cubicBezTo>
                  <a:cubicBezTo>
                    <a:pt x="1805" y="4766"/>
                    <a:pt x="1891" y="4742"/>
                    <a:pt x="1954" y="4695"/>
                  </a:cubicBezTo>
                  <a:cubicBezTo>
                    <a:pt x="2080" y="4569"/>
                    <a:pt x="2080" y="4317"/>
                    <a:pt x="1954" y="4222"/>
                  </a:cubicBezTo>
                  <a:lnTo>
                    <a:pt x="694" y="2962"/>
                  </a:lnTo>
                  <a:lnTo>
                    <a:pt x="694" y="347"/>
                  </a:lnTo>
                  <a:cubicBezTo>
                    <a:pt x="694" y="158"/>
                    <a:pt x="536" y="0"/>
                    <a:pt x="347"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10419" name="Google Shape;10419;p112"/>
          <p:cNvGrpSpPr/>
          <p:nvPr/>
        </p:nvGrpSpPr>
        <p:grpSpPr>
          <a:xfrm>
            <a:off x="3519576" y="5735676"/>
            <a:ext cx="471409" cy="471409"/>
            <a:chOff x="-30064925" y="2332550"/>
            <a:chExt cx="291425" cy="291425"/>
          </a:xfrm>
        </p:grpSpPr>
        <p:sp>
          <p:nvSpPr>
            <p:cNvPr id="10420" name="Google Shape;10420;p112"/>
            <p:cNvSpPr/>
            <p:nvPr/>
          </p:nvSpPr>
          <p:spPr>
            <a:xfrm>
              <a:off x="-30064925" y="2332550"/>
              <a:ext cx="291425" cy="291425"/>
            </a:xfrm>
            <a:custGeom>
              <a:avLst/>
              <a:gdLst/>
              <a:ahLst/>
              <a:cxnLst/>
              <a:rect l="l" t="t" r="r" b="b"/>
              <a:pathLst>
                <a:path w="11657" h="11657" extrusionOk="0">
                  <a:moveTo>
                    <a:pt x="5829" y="662"/>
                  </a:moveTo>
                  <a:cubicBezTo>
                    <a:pt x="8664" y="662"/>
                    <a:pt x="10995" y="2993"/>
                    <a:pt x="10995" y="5828"/>
                  </a:cubicBezTo>
                  <a:cubicBezTo>
                    <a:pt x="10995" y="8695"/>
                    <a:pt x="8664" y="10995"/>
                    <a:pt x="5829" y="10995"/>
                  </a:cubicBezTo>
                  <a:cubicBezTo>
                    <a:pt x="2993" y="10995"/>
                    <a:pt x="662" y="8664"/>
                    <a:pt x="662" y="5828"/>
                  </a:cubicBezTo>
                  <a:cubicBezTo>
                    <a:pt x="662" y="2993"/>
                    <a:pt x="2993" y="662"/>
                    <a:pt x="5829" y="662"/>
                  </a:cubicBezTo>
                  <a:close/>
                  <a:moveTo>
                    <a:pt x="5829" y="0"/>
                  </a:moveTo>
                  <a:cubicBezTo>
                    <a:pt x="2615" y="0"/>
                    <a:pt x="0" y="2615"/>
                    <a:pt x="0" y="5828"/>
                  </a:cubicBezTo>
                  <a:cubicBezTo>
                    <a:pt x="0" y="9042"/>
                    <a:pt x="2647" y="11657"/>
                    <a:pt x="5829" y="11657"/>
                  </a:cubicBezTo>
                  <a:cubicBezTo>
                    <a:pt x="9074" y="11657"/>
                    <a:pt x="11657" y="9010"/>
                    <a:pt x="11657" y="5828"/>
                  </a:cubicBezTo>
                  <a:cubicBezTo>
                    <a:pt x="11657" y="2646"/>
                    <a:pt x="9074" y="0"/>
                    <a:pt x="5829"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421" name="Google Shape;10421;p112"/>
            <p:cNvSpPr/>
            <p:nvPr/>
          </p:nvSpPr>
          <p:spPr>
            <a:xfrm>
              <a:off x="-29944425" y="2384525"/>
              <a:ext cx="51225" cy="51225"/>
            </a:xfrm>
            <a:custGeom>
              <a:avLst/>
              <a:gdLst/>
              <a:ahLst/>
              <a:cxnLst/>
              <a:rect l="l" t="t" r="r" b="b"/>
              <a:pathLst>
                <a:path w="2049" h="2049" extrusionOk="0">
                  <a:moveTo>
                    <a:pt x="1009" y="662"/>
                  </a:moveTo>
                  <a:cubicBezTo>
                    <a:pt x="1198" y="662"/>
                    <a:pt x="1355" y="819"/>
                    <a:pt x="1355" y="1040"/>
                  </a:cubicBezTo>
                  <a:cubicBezTo>
                    <a:pt x="1355" y="1229"/>
                    <a:pt x="1198" y="1387"/>
                    <a:pt x="1009" y="1387"/>
                  </a:cubicBezTo>
                  <a:cubicBezTo>
                    <a:pt x="820" y="1387"/>
                    <a:pt x="662" y="1229"/>
                    <a:pt x="662" y="1040"/>
                  </a:cubicBezTo>
                  <a:cubicBezTo>
                    <a:pt x="662" y="819"/>
                    <a:pt x="820" y="662"/>
                    <a:pt x="1009" y="662"/>
                  </a:cubicBezTo>
                  <a:close/>
                  <a:moveTo>
                    <a:pt x="1009" y="0"/>
                  </a:moveTo>
                  <a:cubicBezTo>
                    <a:pt x="473" y="0"/>
                    <a:pt x="0" y="473"/>
                    <a:pt x="0" y="1040"/>
                  </a:cubicBezTo>
                  <a:cubicBezTo>
                    <a:pt x="0" y="1576"/>
                    <a:pt x="473" y="2048"/>
                    <a:pt x="1009" y="2048"/>
                  </a:cubicBezTo>
                  <a:cubicBezTo>
                    <a:pt x="1576" y="2048"/>
                    <a:pt x="2048" y="1576"/>
                    <a:pt x="2048" y="1040"/>
                  </a:cubicBezTo>
                  <a:cubicBezTo>
                    <a:pt x="2048" y="473"/>
                    <a:pt x="1607" y="0"/>
                    <a:pt x="1009"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422" name="Google Shape;10422;p112"/>
            <p:cNvSpPr/>
            <p:nvPr/>
          </p:nvSpPr>
          <p:spPr>
            <a:xfrm>
              <a:off x="-29944425" y="2452250"/>
              <a:ext cx="51225" cy="119750"/>
            </a:xfrm>
            <a:custGeom>
              <a:avLst/>
              <a:gdLst/>
              <a:ahLst/>
              <a:cxnLst/>
              <a:rect l="l" t="t" r="r" b="b"/>
              <a:pathLst>
                <a:path w="2049" h="4790" extrusionOk="0">
                  <a:moveTo>
                    <a:pt x="1009" y="725"/>
                  </a:moveTo>
                  <a:cubicBezTo>
                    <a:pt x="1198" y="725"/>
                    <a:pt x="1355" y="883"/>
                    <a:pt x="1355" y="1072"/>
                  </a:cubicBezTo>
                  <a:lnTo>
                    <a:pt x="1355" y="3781"/>
                  </a:lnTo>
                  <a:cubicBezTo>
                    <a:pt x="1355" y="4002"/>
                    <a:pt x="1198" y="4159"/>
                    <a:pt x="1009" y="4159"/>
                  </a:cubicBezTo>
                  <a:cubicBezTo>
                    <a:pt x="820" y="4159"/>
                    <a:pt x="662" y="4002"/>
                    <a:pt x="662" y="3781"/>
                  </a:cubicBezTo>
                  <a:lnTo>
                    <a:pt x="662" y="1072"/>
                  </a:lnTo>
                  <a:cubicBezTo>
                    <a:pt x="662" y="883"/>
                    <a:pt x="820" y="725"/>
                    <a:pt x="1009" y="725"/>
                  </a:cubicBezTo>
                  <a:close/>
                  <a:moveTo>
                    <a:pt x="1009" y="1"/>
                  </a:moveTo>
                  <a:cubicBezTo>
                    <a:pt x="473" y="1"/>
                    <a:pt x="0" y="473"/>
                    <a:pt x="0" y="1040"/>
                  </a:cubicBezTo>
                  <a:lnTo>
                    <a:pt x="0" y="3750"/>
                  </a:lnTo>
                  <a:cubicBezTo>
                    <a:pt x="0" y="4317"/>
                    <a:pt x="473" y="4790"/>
                    <a:pt x="1009" y="4790"/>
                  </a:cubicBezTo>
                  <a:cubicBezTo>
                    <a:pt x="1576" y="4790"/>
                    <a:pt x="2048" y="4317"/>
                    <a:pt x="2048" y="3750"/>
                  </a:cubicBezTo>
                  <a:lnTo>
                    <a:pt x="2048" y="1040"/>
                  </a:lnTo>
                  <a:cubicBezTo>
                    <a:pt x="2048" y="473"/>
                    <a:pt x="1607" y="1"/>
                    <a:pt x="1009"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10423" name="Google Shape;10423;p112"/>
          <p:cNvGrpSpPr/>
          <p:nvPr/>
        </p:nvGrpSpPr>
        <p:grpSpPr>
          <a:xfrm>
            <a:off x="5310758" y="3881675"/>
            <a:ext cx="465140" cy="463839"/>
            <a:chOff x="2821450" y="2957850"/>
            <a:chExt cx="259275" cy="258550"/>
          </a:xfrm>
        </p:grpSpPr>
        <p:sp>
          <p:nvSpPr>
            <p:cNvPr id="10424" name="Google Shape;10424;p112"/>
            <p:cNvSpPr/>
            <p:nvPr/>
          </p:nvSpPr>
          <p:spPr>
            <a:xfrm>
              <a:off x="2821450" y="3080500"/>
              <a:ext cx="259275" cy="135900"/>
            </a:xfrm>
            <a:custGeom>
              <a:avLst/>
              <a:gdLst/>
              <a:ahLst/>
              <a:cxnLst/>
              <a:rect l="l" t="t" r="r" b="b"/>
              <a:pathLst>
                <a:path w="10371" h="5436" extrusionOk="0">
                  <a:moveTo>
                    <a:pt x="2677" y="585"/>
                  </a:moveTo>
                  <a:cubicBezTo>
                    <a:pt x="3151" y="585"/>
                    <a:pt x="3569" y="1004"/>
                    <a:pt x="3569" y="1505"/>
                  </a:cubicBezTo>
                  <a:cubicBezTo>
                    <a:pt x="3569" y="1979"/>
                    <a:pt x="3151" y="2397"/>
                    <a:pt x="2677" y="2397"/>
                  </a:cubicBezTo>
                  <a:cubicBezTo>
                    <a:pt x="2147" y="2397"/>
                    <a:pt x="1757" y="1979"/>
                    <a:pt x="1757" y="1505"/>
                  </a:cubicBezTo>
                  <a:cubicBezTo>
                    <a:pt x="1757" y="1004"/>
                    <a:pt x="2175" y="585"/>
                    <a:pt x="2677" y="585"/>
                  </a:cubicBezTo>
                  <a:close/>
                  <a:moveTo>
                    <a:pt x="7555" y="585"/>
                  </a:moveTo>
                  <a:cubicBezTo>
                    <a:pt x="8029" y="585"/>
                    <a:pt x="8447" y="1004"/>
                    <a:pt x="8447" y="1505"/>
                  </a:cubicBezTo>
                  <a:cubicBezTo>
                    <a:pt x="8447" y="1979"/>
                    <a:pt x="8029" y="2397"/>
                    <a:pt x="7555" y="2397"/>
                  </a:cubicBezTo>
                  <a:cubicBezTo>
                    <a:pt x="7025" y="2397"/>
                    <a:pt x="6635" y="1979"/>
                    <a:pt x="6635" y="1505"/>
                  </a:cubicBezTo>
                  <a:cubicBezTo>
                    <a:pt x="6635" y="1004"/>
                    <a:pt x="7053" y="585"/>
                    <a:pt x="7555" y="585"/>
                  </a:cubicBezTo>
                  <a:close/>
                  <a:moveTo>
                    <a:pt x="2677" y="2983"/>
                  </a:moveTo>
                  <a:cubicBezTo>
                    <a:pt x="3736" y="2983"/>
                    <a:pt x="4628" y="3791"/>
                    <a:pt x="4795" y="4795"/>
                  </a:cubicBezTo>
                  <a:lnTo>
                    <a:pt x="586" y="4795"/>
                  </a:lnTo>
                  <a:cubicBezTo>
                    <a:pt x="698" y="3791"/>
                    <a:pt x="1618" y="2983"/>
                    <a:pt x="2677" y="2983"/>
                  </a:cubicBezTo>
                  <a:close/>
                  <a:moveTo>
                    <a:pt x="7555" y="2983"/>
                  </a:moveTo>
                  <a:cubicBezTo>
                    <a:pt x="8614" y="2983"/>
                    <a:pt x="9506" y="3791"/>
                    <a:pt x="9646" y="4795"/>
                  </a:cubicBezTo>
                  <a:lnTo>
                    <a:pt x="5409" y="4795"/>
                  </a:lnTo>
                  <a:cubicBezTo>
                    <a:pt x="5548" y="3791"/>
                    <a:pt x="6468" y="2983"/>
                    <a:pt x="7555" y="2983"/>
                  </a:cubicBezTo>
                  <a:close/>
                  <a:moveTo>
                    <a:pt x="2733" y="0"/>
                  </a:moveTo>
                  <a:cubicBezTo>
                    <a:pt x="1896" y="0"/>
                    <a:pt x="1227" y="669"/>
                    <a:pt x="1227" y="1505"/>
                  </a:cubicBezTo>
                  <a:cubicBezTo>
                    <a:pt x="1227" y="1951"/>
                    <a:pt x="1395" y="2342"/>
                    <a:pt x="1729" y="2620"/>
                  </a:cubicBezTo>
                  <a:cubicBezTo>
                    <a:pt x="698" y="3039"/>
                    <a:pt x="1" y="4014"/>
                    <a:pt x="1" y="5129"/>
                  </a:cubicBezTo>
                  <a:cubicBezTo>
                    <a:pt x="1" y="5296"/>
                    <a:pt x="140" y="5436"/>
                    <a:pt x="335" y="5436"/>
                  </a:cubicBezTo>
                  <a:lnTo>
                    <a:pt x="10036" y="5436"/>
                  </a:lnTo>
                  <a:cubicBezTo>
                    <a:pt x="10231" y="5436"/>
                    <a:pt x="10370" y="5296"/>
                    <a:pt x="10370" y="5129"/>
                  </a:cubicBezTo>
                  <a:cubicBezTo>
                    <a:pt x="10259" y="3958"/>
                    <a:pt x="9562" y="2983"/>
                    <a:pt x="8559" y="2620"/>
                  </a:cubicBezTo>
                  <a:cubicBezTo>
                    <a:pt x="8865" y="2342"/>
                    <a:pt x="9032" y="1951"/>
                    <a:pt x="9032" y="1505"/>
                  </a:cubicBezTo>
                  <a:cubicBezTo>
                    <a:pt x="9032" y="669"/>
                    <a:pt x="8391" y="0"/>
                    <a:pt x="7555" y="0"/>
                  </a:cubicBezTo>
                  <a:cubicBezTo>
                    <a:pt x="6719" y="0"/>
                    <a:pt x="6050" y="669"/>
                    <a:pt x="6050" y="1505"/>
                  </a:cubicBezTo>
                  <a:cubicBezTo>
                    <a:pt x="6050" y="1951"/>
                    <a:pt x="6217" y="2342"/>
                    <a:pt x="6524" y="2620"/>
                  </a:cubicBezTo>
                  <a:cubicBezTo>
                    <a:pt x="5910" y="2843"/>
                    <a:pt x="5409" y="3317"/>
                    <a:pt x="5130" y="3903"/>
                  </a:cubicBezTo>
                  <a:cubicBezTo>
                    <a:pt x="4823" y="3317"/>
                    <a:pt x="4322" y="2843"/>
                    <a:pt x="3736" y="2620"/>
                  </a:cubicBezTo>
                  <a:cubicBezTo>
                    <a:pt x="4043" y="2342"/>
                    <a:pt x="4238" y="1951"/>
                    <a:pt x="4238" y="1505"/>
                  </a:cubicBezTo>
                  <a:cubicBezTo>
                    <a:pt x="4238" y="669"/>
                    <a:pt x="3569" y="0"/>
                    <a:pt x="2733"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425" name="Google Shape;10425;p112"/>
            <p:cNvSpPr/>
            <p:nvPr/>
          </p:nvSpPr>
          <p:spPr>
            <a:xfrm>
              <a:off x="2831900" y="2957850"/>
              <a:ext cx="228625" cy="106350"/>
            </a:xfrm>
            <a:custGeom>
              <a:avLst/>
              <a:gdLst/>
              <a:ahLst/>
              <a:cxnLst/>
              <a:rect l="l" t="t" r="r" b="b"/>
              <a:pathLst>
                <a:path w="9145" h="4254" extrusionOk="0">
                  <a:moveTo>
                    <a:pt x="8336" y="585"/>
                  </a:moveTo>
                  <a:cubicBezTo>
                    <a:pt x="8531" y="585"/>
                    <a:pt x="8642" y="725"/>
                    <a:pt x="8642" y="892"/>
                  </a:cubicBezTo>
                  <a:lnTo>
                    <a:pt x="8642" y="2119"/>
                  </a:lnTo>
                  <a:cubicBezTo>
                    <a:pt x="8642" y="2286"/>
                    <a:pt x="8531" y="2425"/>
                    <a:pt x="8336" y="2425"/>
                  </a:cubicBezTo>
                  <a:lnTo>
                    <a:pt x="7137" y="2425"/>
                  </a:lnTo>
                  <a:cubicBezTo>
                    <a:pt x="6942" y="2425"/>
                    <a:pt x="6803" y="2565"/>
                    <a:pt x="6803" y="2732"/>
                  </a:cubicBezTo>
                  <a:lnTo>
                    <a:pt x="6803" y="3234"/>
                  </a:lnTo>
                  <a:lnTo>
                    <a:pt x="6106" y="2537"/>
                  </a:lnTo>
                  <a:cubicBezTo>
                    <a:pt x="6050" y="2453"/>
                    <a:pt x="5966" y="2425"/>
                    <a:pt x="5911" y="2425"/>
                  </a:cubicBezTo>
                  <a:lnTo>
                    <a:pt x="3430" y="2425"/>
                  </a:lnTo>
                  <a:cubicBezTo>
                    <a:pt x="3346" y="2425"/>
                    <a:pt x="3262" y="2453"/>
                    <a:pt x="3207" y="2537"/>
                  </a:cubicBezTo>
                  <a:lnTo>
                    <a:pt x="2510" y="3234"/>
                  </a:lnTo>
                  <a:lnTo>
                    <a:pt x="2510" y="2732"/>
                  </a:lnTo>
                  <a:cubicBezTo>
                    <a:pt x="2510" y="2565"/>
                    <a:pt x="2370" y="2425"/>
                    <a:pt x="2203" y="2425"/>
                  </a:cubicBezTo>
                  <a:lnTo>
                    <a:pt x="1032" y="2425"/>
                  </a:lnTo>
                  <a:cubicBezTo>
                    <a:pt x="865" y="2425"/>
                    <a:pt x="726" y="2286"/>
                    <a:pt x="726" y="2119"/>
                  </a:cubicBezTo>
                  <a:lnTo>
                    <a:pt x="726" y="892"/>
                  </a:lnTo>
                  <a:cubicBezTo>
                    <a:pt x="726" y="725"/>
                    <a:pt x="865" y="585"/>
                    <a:pt x="1032" y="585"/>
                  </a:cubicBezTo>
                  <a:close/>
                  <a:moveTo>
                    <a:pt x="921" y="0"/>
                  </a:moveTo>
                  <a:cubicBezTo>
                    <a:pt x="447" y="0"/>
                    <a:pt x="1" y="418"/>
                    <a:pt x="1" y="892"/>
                  </a:cubicBezTo>
                  <a:lnTo>
                    <a:pt x="1" y="2119"/>
                  </a:lnTo>
                  <a:cubicBezTo>
                    <a:pt x="1" y="2592"/>
                    <a:pt x="419" y="3011"/>
                    <a:pt x="921" y="3011"/>
                  </a:cubicBezTo>
                  <a:lnTo>
                    <a:pt x="1841" y="3011"/>
                  </a:lnTo>
                  <a:lnTo>
                    <a:pt x="1841" y="3958"/>
                  </a:lnTo>
                  <a:cubicBezTo>
                    <a:pt x="1924" y="4098"/>
                    <a:pt x="2008" y="4209"/>
                    <a:pt x="2120" y="4237"/>
                  </a:cubicBezTo>
                  <a:cubicBezTo>
                    <a:pt x="2150" y="4247"/>
                    <a:pt x="2188" y="4254"/>
                    <a:pt x="2228" y="4254"/>
                  </a:cubicBezTo>
                  <a:cubicBezTo>
                    <a:pt x="2298" y="4254"/>
                    <a:pt x="2373" y="4234"/>
                    <a:pt x="2426" y="4181"/>
                  </a:cubicBezTo>
                  <a:lnTo>
                    <a:pt x="3541" y="3011"/>
                  </a:lnTo>
                  <a:lnTo>
                    <a:pt x="5743" y="3011"/>
                  </a:lnTo>
                  <a:lnTo>
                    <a:pt x="6830" y="4181"/>
                  </a:lnTo>
                  <a:cubicBezTo>
                    <a:pt x="6883" y="4234"/>
                    <a:pt x="6959" y="4254"/>
                    <a:pt x="7035" y="4254"/>
                  </a:cubicBezTo>
                  <a:cubicBezTo>
                    <a:pt x="7080" y="4254"/>
                    <a:pt x="7124" y="4247"/>
                    <a:pt x="7165" y="4237"/>
                  </a:cubicBezTo>
                  <a:cubicBezTo>
                    <a:pt x="7249" y="4209"/>
                    <a:pt x="7332" y="4070"/>
                    <a:pt x="7332" y="3958"/>
                  </a:cubicBezTo>
                  <a:lnTo>
                    <a:pt x="7332" y="3011"/>
                  </a:lnTo>
                  <a:lnTo>
                    <a:pt x="8224" y="3011"/>
                  </a:lnTo>
                  <a:cubicBezTo>
                    <a:pt x="8726" y="3011"/>
                    <a:pt x="9144" y="2592"/>
                    <a:pt x="9144" y="2119"/>
                  </a:cubicBezTo>
                  <a:lnTo>
                    <a:pt x="9144" y="892"/>
                  </a:lnTo>
                  <a:cubicBezTo>
                    <a:pt x="9144" y="418"/>
                    <a:pt x="8726" y="0"/>
                    <a:pt x="8224"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426" name="Google Shape;10426;p112"/>
            <p:cNvSpPr/>
            <p:nvPr/>
          </p:nvSpPr>
          <p:spPr>
            <a:xfrm>
              <a:off x="3024600" y="2966925"/>
              <a:ext cx="29875" cy="58497"/>
            </a:xfrm>
            <a:custGeom>
              <a:avLst/>
              <a:gdLst/>
              <a:ahLst/>
              <a:cxnLst/>
              <a:rect l="l" t="t" r="r" b="b"/>
              <a:pathLst>
                <a:path w="1195" h="2376" extrusionOk="0">
                  <a:moveTo>
                    <a:pt x="159" y="2269"/>
                  </a:moveTo>
                  <a:cubicBezTo>
                    <a:pt x="131" y="2225"/>
                    <a:pt x="349" y="2178"/>
                    <a:pt x="444" y="2102"/>
                  </a:cubicBezTo>
                  <a:cubicBezTo>
                    <a:pt x="539" y="2027"/>
                    <a:pt x="682" y="2090"/>
                    <a:pt x="730" y="1816"/>
                  </a:cubicBezTo>
                  <a:cubicBezTo>
                    <a:pt x="778" y="1542"/>
                    <a:pt x="774" y="725"/>
                    <a:pt x="730" y="459"/>
                  </a:cubicBezTo>
                  <a:cubicBezTo>
                    <a:pt x="686" y="193"/>
                    <a:pt x="587" y="273"/>
                    <a:pt x="468" y="221"/>
                  </a:cubicBezTo>
                  <a:cubicBezTo>
                    <a:pt x="349" y="169"/>
                    <a:pt x="-16" y="185"/>
                    <a:pt x="16" y="149"/>
                  </a:cubicBezTo>
                  <a:cubicBezTo>
                    <a:pt x="48" y="113"/>
                    <a:pt x="473" y="-21"/>
                    <a:pt x="659" y="7"/>
                  </a:cubicBezTo>
                  <a:cubicBezTo>
                    <a:pt x="846" y="35"/>
                    <a:pt x="1048" y="54"/>
                    <a:pt x="1135" y="316"/>
                  </a:cubicBezTo>
                  <a:cubicBezTo>
                    <a:pt x="1222" y="578"/>
                    <a:pt x="1183" y="1276"/>
                    <a:pt x="1183" y="1578"/>
                  </a:cubicBezTo>
                  <a:cubicBezTo>
                    <a:pt x="1183" y="1880"/>
                    <a:pt x="1230" y="1995"/>
                    <a:pt x="1135" y="2126"/>
                  </a:cubicBezTo>
                  <a:cubicBezTo>
                    <a:pt x="1040" y="2257"/>
                    <a:pt x="774" y="2340"/>
                    <a:pt x="611" y="2364"/>
                  </a:cubicBezTo>
                  <a:cubicBezTo>
                    <a:pt x="448" y="2388"/>
                    <a:pt x="187" y="2313"/>
                    <a:pt x="159" y="2269"/>
                  </a:cubicBezTo>
                  <a:close/>
                </a:path>
              </a:pathLst>
            </a:custGeom>
            <a:solidFill>
              <a:srgbClr val="5F7D95"/>
            </a:solidFill>
            <a:ln>
              <a:noFill/>
            </a:ln>
          </p:spPr>
        </p:sp>
      </p:grpSp>
      <p:grpSp>
        <p:nvGrpSpPr>
          <p:cNvPr id="10427" name="Google Shape;10427;p112"/>
          <p:cNvGrpSpPr/>
          <p:nvPr/>
        </p:nvGrpSpPr>
        <p:grpSpPr>
          <a:xfrm>
            <a:off x="6477467" y="2043032"/>
            <a:ext cx="481453" cy="481453"/>
            <a:chOff x="-57970450" y="1903275"/>
            <a:chExt cx="318225" cy="318225"/>
          </a:xfrm>
        </p:grpSpPr>
        <p:sp>
          <p:nvSpPr>
            <p:cNvPr id="10428" name="Google Shape;10428;p112"/>
            <p:cNvSpPr/>
            <p:nvPr/>
          </p:nvSpPr>
          <p:spPr>
            <a:xfrm>
              <a:off x="-57847575" y="2135825"/>
              <a:ext cx="73250" cy="28975"/>
            </a:xfrm>
            <a:custGeom>
              <a:avLst/>
              <a:gdLst/>
              <a:ahLst/>
              <a:cxnLst/>
              <a:rect l="l" t="t" r="r" b="b"/>
              <a:pathLst>
                <a:path w="2930" h="1159" extrusionOk="0">
                  <a:moveTo>
                    <a:pt x="414" y="1"/>
                  </a:moveTo>
                  <a:cubicBezTo>
                    <a:pt x="315" y="1"/>
                    <a:pt x="221" y="40"/>
                    <a:pt x="158" y="119"/>
                  </a:cubicBezTo>
                  <a:cubicBezTo>
                    <a:pt x="0" y="276"/>
                    <a:pt x="0" y="497"/>
                    <a:pt x="158" y="623"/>
                  </a:cubicBezTo>
                  <a:cubicBezTo>
                    <a:pt x="536" y="970"/>
                    <a:pt x="1008" y="1159"/>
                    <a:pt x="1481" y="1159"/>
                  </a:cubicBezTo>
                  <a:cubicBezTo>
                    <a:pt x="1954" y="1159"/>
                    <a:pt x="2458" y="970"/>
                    <a:pt x="2773" y="623"/>
                  </a:cubicBezTo>
                  <a:cubicBezTo>
                    <a:pt x="2930" y="465"/>
                    <a:pt x="2930" y="213"/>
                    <a:pt x="2773" y="119"/>
                  </a:cubicBezTo>
                  <a:cubicBezTo>
                    <a:pt x="2694" y="40"/>
                    <a:pt x="2592" y="1"/>
                    <a:pt x="2497" y="1"/>
                  </a:cubicBezTo>
                  <a:cubicBezTo>
                    <a:pt x="2402" y="1"/>
                    <a:pt x="2316" y="40"/>
                    <a:pt x="2269" y="119"/>
                  </a:cubicBezTo>
                  <a:cubicBezTo>
                    <a:pt x="2048" y="308"/>
                    <a:pt x="1733" y="434"/>
                    <a:pt x="1481" y="434"/>
                  </a:cubicBezTo>
                  <a:cubicBezTo>
                    <a:pt x="1197" y="434"/>
                    <a:pt x="882" y="339"/>
                    <a:pt x="693" y="119"/>
                  </a:cubicBezTo>
                  <a:cubicBezTo>
                    <a:pt x="615" y="40"/>
                    <a:pt x="512" y="1"/>
                    <a:pt x="414"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429" name="Google Shape;10429;p112"/>
            <p:cNvSpPr/>
            <p:nvPr/>
          </p:nvSpPr>
          <p:spPr>
            <a:xfrm>
              <a:off x="-57857025" y="2053725"/>
              <a:ext cx="18125" cy="18125"/>
            </a:xfrm>
            <a:custGeom>
              <a:avLst/>
              <a:gdLst/>
              <a:ahLst/>
              <a:cxnLst/>
              <a:rect l="l" t="t" r="r" b="b"/>
              <a:pathLst>
                <a:path w="725" h="725" extrusionOk="0">
                  <a:moveTo>
                    <a:pt x="347" y="0"/>
                  </a:moveTo>
                  <a:cubicBezTo>
                    <a:pt x="158" y="0"/>
                    <a:pt x="0" y="158"/>
                    <a:pt x="0" y="347"/>
                  </a:cubicBezTo>
                  <a:cubicBezTo>
                    <a:pt x="0" y="536"/>
                    <a:pt x="158" y="725"/>
                    <a:pt x="347" y="725"/>
                  </a:cubicBezTo>
                  <a:cubicBezTo>
                    <a:pt x="536" y="725"/>
                    <a:pt x="725" y="536"/>
                    <a:pt x="725" y="347"/>
                  </a:cubicBezTo>
                  <a:cubicBezTo>
                    <a:pt x="725" y="158"/>
                    <a:pt x="536" y="0"/>
                    <a:pt x="347"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430" name="Google Shape;10430;p112"/>
            <p:cNvSpPr/>
            <p:nvPr/>
          </p:nvSpPr>
          <p:spPr>
            <a:xfrm>
              <a:off x="-57782200" y="2053725"/>
              <a:ext cx="18125" cy="18125"/>
            </a:xfrm>
            <a:custGeom>
              <a:avLst/>
              <a:gdLst/>
              <a:ahLst/>
              <a:cxnLst/>
              <a:rect l="l" t="t" r="r" b="b"/>
              <a:pathLst>
                <a:path w="725" h="725" extrusionOk="0">
                  <a:moveTo>
                    <a:pt x="347" y="0"/>
                  </a:moveTo>
                  <a:cubicBezTo>
                    <a:pt x="158" y="0"/>
                    <a:pt x="0" y="158"/>
                    <a:pt x="0" y="347"/>
                  </a:cubicBezTo>
                  <a:cubicBezTo>
                    <a:pt x="0" y="536"/>
                    <a:pt x="158" y="725"/>
                    <a:pt x="347" y="725"/>
                  </a:cubicBezTo>
                  <a:cubicBezTo>
                    <a:pt x="536" y="725"/>
                    <a:pt x="725" y="536"/>
                    <a:pt x="725" y="347"/>
                  </a:cubicBezTo>
                  <a:cubicBezTo>
                    <a:pt x="725" y="158"/>
                    <a:pt x="536" y="0"/>
                    <a:pt x="347"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431" name="Google Shape;10431;p112"/>
            <p:cNvSpPr/>
            <p:nvPr/>
          </p:nvSpPr>
          <p:spPr>
            <a:xfrm>
              <a:off x="-57970450" y="1903275"/>
              <a:ext cx="318225" cy="318225"/>
            </a:xfrm>
            <a:custGeom>
              <a:avLst/>
              <a:gdLst/>
              <a:ahLst/>
              <a:cxnLst/>
              <a:rect l="l" t="t" r="r" b="b"/>
              <a:pathLst>
                <a:path w="12729" h="12729" extrusionOk="0">
                  <a:moveTo>
                    <a:pt x="6396" y="757"/>
                  </a:moveTo>
                  <a:cubicBezTo>
                    <a:pt x="6774" y="757"/>
                    <a:pt x="7121" y="915"/>
                    <a:pt x="7404" y="1167"/>
                  </a:cubicBezTo>
                  <a:lnTo>
                    <a:pt x="8507" y="2269"/>
                  </a:lnTo>
                  <a:lnTo>
                    <a:pt x="4348" y="2269"/>
                  </a:lnTo>
                  <a:lnTo>
                    <a:pt x="5356" y="1167"/>
                  </a:lnTo>
                  <a:cubicBezTo>
                    <a:pt x="5640" y="915"/>
                    <a:pt x="5986" y="757"/>
                    <a:pt x="6396" y="757"/>
                  </a:cubicBezTo>
                  <a:close/>
                  <a:moveTo>
                    <a:pt x="11783" y="2994"/>
                  </a:moveTo>
                  <a:cubicBezTo>
                    <a:pt x="11626" y="3845"/>
                    <a:pt x="10838" y="4475"/>
                    <a:pt x="9925" y="4475"/>
                  </a:cubicBezTo>
                  <a:lnTo>
                    <a:pt x="2489" y="4475"/>
                  </a:lnTo>
                  <a:cubicBezTo>
                    <a:pt x="2454" y="4478"/>
                    <a:pt x="2420" y="4479"/>
                    <a:pt x="2385" y="4479"/>
                  </a:cubicBezTo>
                  <a:cubicBezTo>
                    <a:pt x="1665" y="4479"/>
                    <a:pt x="968" y="3867"/>
                    <a:pt x="788" y="3025"/>
                  </a:cubicBezTo>
                  <a:lnTo>
                    <a:pt x="2300" y="3025"/>
                  </a:lnTo>
                  <a:lnTo>
                    <a:pt x="2300" y="3372"/>
                  </a:lnTo>
                  <a:cubicBezTo>
                    <a:pt x="2300" y="3592"/>
                    <a:pt x="2458" y="3750"/>
                    <a:pt x="2647" y="3750"/>
                  </a:cubicBezTo>
                  <a:cubicBezTo>
                    <a:pt x="2836" y="3750"/>
                    <a:pt x="2993" y="3592"/>
                    <a:pt x="2993" y="3372"/>
                  </a:cubicBezTo>
                  <a:lnTo>
                    <a:pt x="2993" y="3025"/>
                  </a:lnTo>
                  <a:lnTo>
                    <a:pt x="3750" y="3025"/>
                  </a:lnTo>
                  <a:lnTo>
                    <a:pt x="3750" y="3372"/>
                  </a:lnTo>
                  <a:cubicBezTo>
                    <a:pt x="3750" y="3592"/>
                    <a:pt x="3907" y="3750"/>
                    <a:pt x="4096" y="3750"/>
                  </a:cubicBezTo>
                  <a:cubicBezTo>
                    <a:pt x="4285" y="3750"/>
                    <a:pt x="4443" y="3592"/>
                    <a:pt x="4443" y="3372"/>
                  </a:cubicBezTo>
                  <a:lnTo>
                    <a:pt x="4443" y="3025"/>
                  </a:lnTo>
                  <a:lnTo>
                    <a:pt x="5199" y="3025"/>
                  </a:lnTo>
                  <a:lnTo>
                    <a:pt x="5199" y="3372"/>
                  </a:lnTo>
                  <a:cubicBezTo>
                    <a:pt x="5199" y="3592"/>
                    <a:pt x="5356" y="3750"/>
                    <a:pt x="5545" y="3750"/>
                  </a:cubicBezTo>
                  <a:cubicBezTo>
                    <a:pt x="5766" y="3750"/>
                    <a:pt x="5923" y="3592"/>
                    <a:pt x="5923" y="3372"/>
                  </a:cubicBezTo>
                  <a:lnTo>
                    <a:pt x="5923" y="3025"/>
                  </a:lnTo>
                  <a:lnTo>
                    <a:pt x="6648" y="3025"/>
                  </a:lnTo>
                  <a:lnTo>
                    <a:pt x="6648" y="3372"/>
                  </a:lnTo>
                  <a:cubicBezTo>
                    <a:pt x="6648" y="3592"/>
                    <a:pt x="6806" y="3750"/>
                    <a:pt x="7026" y="3750"/>
                  </a:cubicBezTo>
                  <a:cubicBezTo>
                    <a:pt x="7215" y="3750"/>
                    <a:pt x="7373" y="3592"/>
                    <a:pt x="7373" y="3372"/>
                  </a:cubicBezTo>
                  <a:lnTo>
                    <a:pt x="7373" y="3025"/>
                  </a:lnTo>
                  <a:lnTo>
                    <a:pt x="8129" y="3025"/>
                  </a:lnTo>
                  <a:lnTo>
                    <a:pt x="8129" y="3372"/>
                  </a:lnTo>
                  <a:cubicBezTo>
                    <a:pt x="8129" y="3592"/>
                    <a:pt x="8286" y="3750"/>
                    <a:pt x="8475" y="3750"/>
                  </a:cubicBezTo>
                  <a:cubicBezTo>
                    <a:pt x="8664" y="3750"/>
                    <a:pt x="8822" y="3592"/>
                    <a:pt x="8822" y="3372"/>
                  </a:cubicBezTo>
                  <a:lnTo>
                    <a:pt x="8822" y="2994"/>
                  </a:lnTo>
                  <a:lnTo>
                    <a:pt x="9578" y="2994"/>
                  </a:lnTo>
                  <a:lnTo>
                    <a:pt x="9578" y="3372"/>
                  </a:lnTo>
                  <a:cubicBezTo>
                    <a:pt x="9578" y="3592"/>
                    <a:pt x="9735" y="3750"/>
                    <a:pt x="9925" y="3750"/>
                  </a:cubicBezTo>
                  <a:cubicBezTo>
                    <a:pt x="10114" y="3750"/>
                    <a:pt x="10271" y="3592"/>
                    <a:pt x="10271" y="3372"/>
                  </a:cubicBezTo>
                  <a:lnTo>
                    <a:pt x="10271" y="2994"/>
                  </a:lnTo>
                  <a:close/>
                  <a:moveTo>
                    <a:pt x="2300" y="6774"/>
                  </a:moveTo>
                  <a:lnTo>
                    <a:pt x="2300" y="8255"/>
                  </a:lnTo>
                  <a:cubicBezTo>
                    <a:pt x="1859" y="8255"/>
                    <a:pt x="1544" y="7909"/>
                    <a:pt x="1544" y="7531"/>
                  </a:cubicBezTo>
                  <a:cubicBezTo>
                    <a:pt x="1544" y="7121"/>
                    <a:pt x="1891" y="6774"/>
                    <a:pt x="2300" y="6774"/>
                  </a:cubicBezTo>
                  <a:close/>
                  <a:moveTo>
                    <a:pt x="10492" y="6774"/>
                  </a:moveTo>
                  <a:cubicBezTo>
                    <a:pt x="10870" y="6774"/>
                    <a:pt x="11216" y="7090"/>
                    <a:pt x="11216" y="7531"/>
                  </a:cubicBezTo>
                  <a:cubicBezTo>
                    <a:pt x="11216" y="7940"/>
                    <a:pt x="10901" y="8255"/>
                    <a:pt x="10492" y="8255"/>
                  </a:cubicBezTo>
                  <a:lnTo>
                    <a:pt x="10492" y="6774"/>
                  </a:lnTo>
                  <a:close/>
                  <a:moveTo>
                    <a:pt x="9767" y="5262"/>
                  </a:moveTo>
                  <a:cubicBezTo>
                    <a:pt x="9735" y="5388"/>
                    <a:pt x="9735" y="8507"/>
                    <a:pt x="9735" y="8633"/>
                  </a:cubicBezTo>
                  <a:cubicBezTo>
                    <a:pt x="9735" y="9421"/>
                    <a:pt x="9452" y="10145"/>
                    <a:pt x="8979" y="10744"/>
                  </a:cubicBezTo>
                  <a:lnTo>
                    <a:pt x="8979" y="9358"/>
                  </a:lnTo>
                  <a:cubicBezTo>
                    <a:pt x="8979" y="8350"/>
                    <a:pt x="8160" y="7531"/>
                    <a:pt x="7121" y="7531"/>
                  </a:cubicBezTo>
                  <a:cubicBezTo>
                    <a:pt x="6932" y="7531"/>
                    <a:pt x="6774" y="7688"/>
                    <a:pt x="6774" y="7877"/>
                  </a:cubicBezTo>
                  <a:cubicBezTo>
                    <a:pt x="6774" y="8066"/>
                    <a:pt x="6932" y="8224"/>
                    <a:pt x="7121" y="8224"/>
                  </a:cubicBezTo>
                  <a:cubicBezTo>
                    <a:pt x="7751" y="8224"/>
                    <a:pt x="8223" y="8728"/>
                    <a:pt x="8223" y="9326"/>
                  </a:cubicBezTo>
                  <a:lnTo>
                    <a:pt x="8223" y="11374"/>
                  </a:lnTo>
                  <a:cubicBezTo>
                    <a:pt x="7688" y="11721"/>
                    <a:pt x="7058" y="11973"/>
                    <a:pt x="6396" y="11973"/>
                  </a:cubicBezTo>
                  <a:cubicBezTo>
                    <a:pt x="5734" y="11973"/>
                    <a:pt x="5041" y="11784"/>
                    <a:pt x="4537" y="11374"/>
                  </a:cubicBezTo>
                  <a:lnTo>
                    <a:pt x="4537" y="9326"/>
                  </a:lnTo>
                  <a:cubicBezTo>
                    <a:pt x="4537" y="8696"/>
                    <a:pt x="5041" y="8224"/>
                    <a:pt x="5640" y="8224"/>
                  </a:cubicBezTo>
                  <a:cubicBezTo>
                    <a:pt x="5829" y="8224"/>
                    <a:pt x="5986" y="8066"/>
                    <a:pt x="5986" y="7877"/>
                  </a:cubicBezTo>
                  <a:cubicBezTo>
                    <a:pt x="5986" y="7688"/>
                    <a:pt x="5829" y="7499"/>
                    <a:pt x="5640" y="7499"/>
                  </a:cubicBezTo>
                  <a:cubicBezTo>
                    <a:pt x="4600" y="7499"/>
                    <a:pt x="3781" y="8350"/>
                    <a:pt x="3781" y="9358"/>
                  </a:cubicBezTo>
                  <a:lnTo>
                    <a:pt x="3781" y="10744"/>
                  </a:lnTo>
                  <a:cubicBezTo>
                    <a:pt x="3308" y="10145"/>
                    <a:pt x="3056" y="9389"/>
                    <a:pt x="3056" y="8602"/>
                  </a:cubicBezTo>
                  <a:lnTo>
                    <a:pt x="3056" y="5262"/>
                  </a:lnTo>
                  <a:close/>
                  <a:moveTo>
                    <a:pt x="6333" y="1"/>
                  </a:moveTo>
                  <a:cubicBezTo>
                    <a:pt x="5766" y="1"/>
                    <a:pt x="5199" y="221"/>
                    <a:pt x="4821" y="631"/>
                  </a:cubicBezTo>
                  <a:lnTo>
                    <a:pt x="3182" y="2238"/>
                  </a:lnTo>
                  <a:lnTo>
                    <a:pt x="347" y="2238"/>
                  </a:lnTo>
                  <a:cubicBezTo>
                    <a:pt x="158" y="2238"/>
                    <a:pt x="0" y="2395"/>
                    <a:pt x="0" y="2584"/>
                  </a:cubicBezTo>
                  <a:cubicBezTo>
                    <a:pt x="0" y="3908"/>
                    <a:pt x="1009" y="5010"/>
                    <a:pt x="2237" y="5199"/>
                  </a:cubicBezTo>
                  <a:lnTo>
                    <a:pt x="2237" y="5987"/>
                  </a:lnTo>
                  <a:cubicBezTo>
                    <a:pt x="1418" y="5987"/>
                    <a:pt x="757" y="6648"/>
                    <a:pt x="757" y="7468"/>
                  </a:cubicBezTo>
                  <a:cubicBezTo>
                    <a:pt x="757" y="8318"/>
                    <a:pt x="1418" y="8980"/>
                    <a:pt x="2237" y="8980"/>
                  </a:cubicBezTo>
                  <a:cubicBezTo>
                    <a:pt x="2363" y="10114"/>
                    <a:pt x="2930" y="11091"/>
                    <a:pt x="3718" y="11784"/>
                  </a:cubicBezTo>
                  <a:lnTo>
                    <a:pt x="3718" y="12351"/>
                  </a:lnTo>
                  <a:cubicBezTo>
                    <a:pt x="3718" y="12571"/>
                    <a:pt x="3876" y="12729"/>
                    <a:pt x="4065" y="12729"/>
                  </a:cubicBezTo>
                  <a:cubicBezTo>
                    <a:pt x="4254" y="12729"/>
                    <a:pt x="4411" y="12571"/>
                    <a:pt x="4411" y="12351"/>
                  </a:cubicBezTo>
                  <a:lnTo>
                    <a:pt x="4411" y="12288"/>
                  </a:lnTo>
                  <a:cubicBezTo>
                    <a:pt x="4978" y="12571"/>
                    <a:pt x="5608" y="12729"/>
                    <a:pt x="6270" y="12729"/>
                  </a:cubicBezTo>
                  <a:cubicBezTo>
                    <a:pt x="6932" y="12729"/>
                    <a:pt x="7562" y="12571"/>
                    <a:pt x="8129" y="12288"/>
                  </a:cubicBezTo>
                  <a:lnTo>
                    <a:pt x="8129" y="12351"/>
                  </a:lnTo>
                  <a:cubicBezTo>
                    <a:pt x="8129" y="12571"/>
                    <a:pt x="8286" y="12729"/>
                    <a:pt x="8475" y="12729"/>
                  </a:cubicBezTo>
                  <a:cubicBezTo>
                    <a:pt x="8664" y="12729"/>
                    <a:pt x="8822" y="12571"/>
                    <a:pt x="8822" y="12351"/>
                  </a:cubicBezTo>
                  <a:lnTo>
                    <a:pt x="8822" y="11784"/>
                  </a:lnTo>
                  <a:cubicBezTo>
                    <a:pt x="9641" y="11091"/>
                    <a:pt x="10208" y="10082"/>
                    <a:pt x="10271" y="8980"/>
                  </a:cubicBezTo>
                  <a:cubicBezTo>
                    <a:pt x="11122" y="8980"/>
                    <a:pt x="11783" y="8318"/>
                    <a:pt x="11783" y="7468"/>
                  </a:cubicBezTo>
                  <a:cubicBezTo>
                    <a:pt x="11972" y="6680"/>
                    <a:pt x="11311" y="6018"/>
                    <a:pt x="10492" y="6018"/>
                  </a:cubicBezTo>
                  <a:lnTo>
                    <a:pt x="10492" y="5231"/>
                  </a:lnTo>
                  <a:cubicBezTo>
                    <a:pt x="11752" y="5042"/>
                    <a:pt x="12728" y="3971"/>
                    <a:pt x="12728" y="2647"/>
                  </a:cubicBezTo>
                  <a:cubicBezTo>
                    <a:pt x="12728" y="2521"/>
                    <a:pt x="12697" y="2427"/>
                    <a:pt x="12602" y="2364"/>
                  </a:cubicBezTo>
                  <a:cubicBezTo>
                    <a:pt x="12539" y="2269"/>
                    <a:pt x="12445" y="2238"/>
                    <a:pt x="12319" y="2238"/>
                  </a:cubicBezTo>
                  <a:lnTo>
                    <a:pt x="9483" y="2238"/>
                  </a:lnTo>
                  <a:lnTo>
                    <a:pt x="7877" y="631"/>
                  </a:lnTo>
                  <a:cubicBezTo>
                    <a:pt x="7499" y="221"/>
                    <a:pt x="6932" y="1"/>
                    <a:pt x="6333"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10432" name="Google Shape;10432;p112"/>
          <p:cNvGrpSpPr/>
          <p:nvPr/>
        </p:nvGrpSpPr>
        <p:grpSpPr>
          <a:xfrm>
            <a:off x="6506667" y="2677642"/>
            <a:ext cx="423053" cy="479071"/>
            <a:chOff x="-57950750" y="2296300"/>
            <a:chExt cx="279625" cy="316650"/>
          </a:xfrm>
        </p:grpSpPr>
        <p:sp>
          <p:nvSpPr>
            <p:cNvPr id="10433" name="Google Shape;10433;p112"/>
            <p:cNvSpPr/>
            <p:nvPr/>
          </p:nvSpPr>
          <p:spPr>
            <a:xfrm>
              <a:off x="-57847575" y="2528075"/>
              <a:ext cx="73250" cy="29750"/>
            </a:xfrm>
            <a:custGeom>
              <a:avLst/>
              <a:gdLst/>
              <a:ahLst/>
              <a:cxnLst/>
              <a:rect l="l" t="t" r="r" b="b"/>
              <a:pathLst>
                <a:path w="2930" h="1190" extrusionOk="0">
                  <a:moveTo>
                    <a:pt x="414" y="0"/>
                  </a:moveTo>
                  <a:cubicBezTo>
                    <a:pt x="315" y="0"/>
                    <a:pt x="221" y="40"/>
                    <a:pt x="158" y="118"/>
                  </a:cubicBezTo>
                  <a:cubicBezTo>
                    <a:pt x="0" y="276"/>
                    <a:pt x="0" y="528"/>
                    <a:pt x="158" y="654"/>
                  </a:cubicBezTo>
                  <a:cubicBezTo>
                    <a:pt x="536" y="1000"/>
                    <a:pt x="1008" y="1189"/>
                    <a:pt x="1481" y="1189"/>
                  </a:cubicBezTo>
                  <a:cubicBezTo>
                    <a:pt x="1954" y="1189"/>
                    <a:pt x="2458" y="1000"/>
                    <a:pt x="2773" y="654"/>
                  </a:cubicBezTo>
                  <a:cubicBezTo>
                    <a:pt x="2930" y="496"/>
                    <a:pt x="2930" y="244"/>
                    <a:pt x="2773" y="118"/>
                  </a:cubicBezTo>
                  <a:cubicBezTo>
                    <a:pt x="2710" y="40"/>
                    <a:pt x="2623" y="0"/>
                    <a:pt x="2532" y="0"/>
                  </a:cubicBezTo>
                  <a:cubicBezTo>
                    <a:pt x="2442" y="0"/>
                    <a:pt x="2347" y="40"/>
                    <a:pt x="2269" y="118"/>
                  </a:cubicBezTo>
                  <a:cubicBezTo>
                    <a:pt x="2048" y="339"/>
                    <a:pt x="1733" y="433"/>
                    <a:pt x="1481" y="433"/>
                  </a:cubicBezTo>
                  <a:cubicBezTo>
                    <a:pt x="1197" y="433"/>
                    <a:pt x="882" y="339"/>
                    <a:pt x="693" y="118"/>
                  </a:cubicBezTo>
                  <a:cubicBezTo>
                    <a:pt x="615" y="40"/>
                    <a:pt x="512" y="0"/>
                    <a:pt x="414"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434" name="Google Shape;10434;p112"/>
            <p:cNvSpPr/>
            <p:nvPr/>
          </p:nvSpPr>
          <p:spPr>
            <a:xfrm>
              <a:off x="-57857025" y="2446750"/>
              <a:ext cx="18125" cy="17350"/>
            </a:xfrm>
            <a:custGeom>
              <a:avLst/>
              <a:gdLst/>
              <a:ahLst/>
              <a:cxnLst/>
              <a:rect l="l" t="t" r="r" b="b"/>
              <a:pathLst>
                <a:path w="725" h="694" extrusionOk="0">
                  <a:moveTo>
                    <a:pt x="347" y="0"/>
                  </a:moveTo>
                  <a:cubicBezTo>
                    <a:pt x="158" y="0"/>
                    <a:pt x="0" y="158"/>
                    <a:pt x="0" y="347"/>
                  </a:cubicBezTo>
                  <a:cubicBezTo>
                    <a:pt x="0" y="536"/>
                    <a:pt x="158" y="693"/>
                    <a:pt x="347" y="693"/>
                  </a:cubicBezTo>
                  <a:cubicBezTo>
                    <a:pt x="536" y="693"/>
                    <a:pt x="725" y="536"/>
                    <a:pt x="725" y="347"/>
                  </a:cubicBezTo>
                  <a:cubicBezTo>
                    <a:pt x="725" y="158"/>
                    <a:pt x="536" y="0"/>
                    <a:pt x="347"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435" name="Google Shape;10435;p112"/>
            <p:cNvSpPr/>
            <p:nvPr/>
          </p:nvSpPr>
          <p:spPr>
            <a:xfrm>
              <a:off x="-57782200" y="2446750"/>
              <a:ext cx="18125" cy="17350"/>
            </a:xfrm>
            <a:custGeom>
              <a:avLst/>
              <a:gdLst/>
              <a:ahLst/>
              <a:cxnLst/>
              <a:rect l="l" t="t" r="r" b="b"/>
              <a:pathLst>
                <a:path w="725" h="694" extrusionOk="0">
                  <a:moveTo>
                    <a:pt x="347" y="0"/>
                  </a:moveTo>
                  <a:cubicBezTo>
                    <a:pt x="158" y="0"/>
                    <a:pt x="0" y="158"/>
                    <a:pt x="0" y="347"/>
                  </a:cubicBezTo>
                  <a:cubicBezTo>
                    <a:pt x="0" y="536"/>
                    <a:pt x="158" y="693"/>
                    <a:pt x="347" y="693"/>
                  </a:cubicBezTo>
                  <a:cubicBezTo>
                    <a:pt x="536" y="693"/>
                    <a:pt x="725" y="536"/>
                    <a:pt x="725" y="347"/>
                  </a:cubicBezTo>
                  <a:cubicBezTo>
                    <a:pt x="725" y="158"/>
                    <a:pt x="536" y="0"/>
                    <a:pt x="347"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436" name="Google Shape;10436;p112"/>
            <p:cNvSpPr/>
            <p:nvPr/>
          </p:nvSpPr>
          <p:spPr>
            <a:xfrm>
              <a:off x="-57950750" y="2296300"/>
              <a:ext cx="279625" cy="316650"/>
            </a:xfrm>
            <a:custGeom>
              <a:avLst/>
              <a:gdLst/>
              <a:ahLst/>
              <a:cxnLst/>
              <a:rect l="l" t="t" r="r" b="b"/>
              <a:pathLst>
                <a:path w="11185" h="12666" extrusionOk="0">
                  <a:moveTo>
                    <a:pt x="5639" y="694"/>
                  </a:moveTo>
                  <a:cubicBezTo>
                    <a:pt x="5955" y="694"/>
                    <a:pt x="6270" y="914"/>
                    <a:pt x="6333" y="1230"/>
                  </a:cubicBezTo>
                  <a:cubicBezTo>
                    <a:pt x="6381" y="1399"/>
                    <a:pt x="6523" y="1513"/>
                    <a:pt x="6701" y="1513"/>
                  </a:cubicBezTo>
                  <a:cubicBezTo>
                    <a:pt x="6754" y="1513"/>
                    <a:pt x="6810" y="1503"/>
                    <a:pt x="6868" y="1482"/>
                  </a:cubicBezTo>
                  <a:cubicBezTo>
                    <a:pt x="6931" y="1450"/>
                    <a:pt x="7057" y="1450"/>
                    <a:pt x="7120" y="1450"/>
                  </a:cubicBezTo>
                  <a:cubicBezTo>
                    <a:pt x="7435" y="1450"/>
                    <a:pt x="7719" y="1639"/>
                    <a:pt x="7845" y="1954"/>
                  </a:cubicBezTo>
                  <a:cubicBezTo>
                    <a:pt x="7876" y="2112"/>
                    <a:pt x="8034" y="2206"/>
                    <a:pt x="8191" y="2206"/>
                  </a:cubicBezTo>
                  <a:cubicBezTo>
                    <a:pt x="8632" y="2206"/>
                    <a:pt x="9010" y="2553"/>
                    <a:pt x="9010" y="3025"/>
                  </a:cubicBezTo>
                  <a:lnTo>
                    <a:pt x="9010" y="3970"/>
                  </a:lnTo>
                  <a:lnTo>
                    <a:pt x="8160" y="3088"/>
                  </a:lnTo>
                  <a:cubicBezTo>
                    <a:pt x="8084" y="3032"/>
                    <a:pt x="7986" y="2986"/>
                    <a:pt x="7885" y="2986"/>
                  </a:cubicBezTo>
                  <a:cubicBezTo>
                    <a:pt x="7818" y="2986"/>
                    <a:pt x="7750" y="3006"/>
                    <a:pt x="7687" y="3057"/>
                  </a:cubicBezTo>
                  <a:cubicBezTo>
                    <a:pt x="7073" y="3466"/>
                    <a:pt x="6364" y="3671"/>
                    <a:pt x="5655" y="3671"/>
                  </a:cubicBezTo>
                  <a:cubicBezTo>
                    <a:pt x="4946" y="3671"/>
                    <a:pt x="4237" y="3466"/>
                    <a:pt x="3623" y="3057"/>
                  </a:cubicBezTo>
                  <a:cubicBezTo>
                    <a:pt x="3560" y="3006"/>
                    <a:pt x="3492" y="2986"/>
                    <a:pt x="3425" y="2986"/>
                  </a:cubicBezTo>
                  <a:cubicBezTo>
                    <a:pt x="3324" y="2986"/>
                    <a:pt x="3226" y="3032"/>
                    <a:pt x="3151" y="3088"/>
                  </a:cubicBezTo>
                  <a:lnTo>
                    <a:pt x="2300" y="3970"/>
                  </a:lnTo>
                  <a:cubicBezTo>
                    <a:pt x="2268" y="3293"/>
                    <a:pt x="2253" y="3191"/>
                    <a:pt x="2245" y="3191"/>
                  </a:cubicBezTo>
                  <a:cubicBezTo>
                    <a:pt x="2241" y="3191"/>
                    <a:pt x="2239" y="3210"/>
                    <a:pt x="2238" y="3210"/>
                  </a:cubicBezTo>
                  <a:cubicBezTo>
                    <a:pt x="2237" y="3210"/>
                    <a:pt x="2237" y="3177"/>
                    <a:pt x="2237" y="3025"/>
                  </a:cubicBezTo>
                  <a:cubicBezTo>
                    <a:pt x="2237" y="2584"/>
                    <a:pt x="2615" y="2206"/>
                    <a:pt x="3088" y="2206"/>
                  </a:cubicBezTo>
                  <a:cubicBezTo>
                    <a:pt x="3245" y="2206"/>
                    <a:pt x="3403" y="2080"/>
                    <a:pt x="3434" y="1954"/>
                  </a:cubicBezTo>
                  <a:cubicBezTo>
                    <a:pt x="3560" y="1639"/>
                    <a:pt x="3812" y="1450"/>
                    <a:pt x="4127" y="1450"/>
                  </a:cubicBezTo>
                  <a:cubicBezTo>
                    <a:pt x="4222" y="1450"/>
                    <a:pt x="4348" y="1450"/>
                    <a:pt x="4411" y="1482"/>
                  </a:cubicBezTo>
                  <a:cubicBezTo>
                    <a:pt x="4449" y="1494"/>
                    <a:pt x="4491" y="1501"/>
                    <a:pt x="4532" y="1501"/>
                  </a:cubicBezTo>
                  <a:cubicBezTo>
                    <a:pt x="4695" y="1501"/>
                    <a:pt x="4865" y="1405"/>
                    <a:pt x="4915" y="1230"/>
                  </a:cubicBezTo>
                  <a:cubicBezTo>
                    <a:pt x="5009" y="914"/>
                    <a:pt x="5324" y="694"/>
                    <a:pt x="5639" y="694"/>
                  </a:cubicBezTo>
                  <a:close/>
                  <a:moveTo>
                    <a:pt x="1512" y="5955"/>
                  </a:moveTo>
                  <a:lnTo>
                    <a:pt x="1512" y="7467"/>
                  </a:lnTo>
                  <a:cubicBezTo>
                    <a:pt x="1071" y="7467"/>
                    <a:pt x="756" y="7152"/>
                    <a:pt x="756" y="6711"/>
                  </a:cubicBezTo>
                  <a:cubicBezTo>
                    <a:pt x="756" y="6333"/>
                    <a:pt x="1103" y="5955"/>
                    <a:pt x="1512" y="5955"/>
                  </a:cubicBezTo>
                  <a:close/>
                  <a:moveTo>
                    <a:pt x="9704" y="5955"/>
                  </a:moveTo>
                  <a:cubicBezTo>
                    <a:pt x="10082" y="5955"/>
                    <a:pt x="10428" y="6302"/>
                    <a:pt x="10428" y="6711"/>
                  </a:cubicBezTo>
                  <a:cubicBezTo>
                    <a:pt x="10428" y="7152"/>
                    <a:pt x="10113" y="7467"/>
                    <a:pt x="9704" y="7467"/>
                  </a:cubicBezTo>
                  <a:lnTo>
                    <a:pt x="9704" y="5955"/>
                  </a:lnTo>
                  <a:close/>
                  <a:moveTo>
                    <a:pt x="7813" y="3813"/>
                  </a:moveTo>
                  <a:lnTo>
                    <a:pt x="8979" y="5042"/>
                  </a:lnTo>
                  <a:lnTo>
                    <a:pt x="8979" y="8224"/>
                  </a:lnTo>
                  <a:lnTo>
                    <a:pt x="7971" y="8224"/>
                  </a:lnTo>
                  <a:cubicBezTo>
                    <a:pt x="7230" y="7767"/>
                    <a:pt x="6411" y="7538"/>
                    <a:pt x="5600" y="7538"/>
                  </a:cubicBezTo>
                  <a:cubicBezTo>
                    <a:pt x="4789" y="7538"/>
                    <a:pt x="3985" y="7767"/>
                    <a:pt x="3277" y="8224"/>
                  </a:cubicBezTo>
                  <a:lnTo>
                    <a:pt x="2237" y="8224"/>
                  </a:lnTo>
                  <a:lnTo>
                    <a:pt x="2237" y="5042"/>
                  </a:lnTo>
                  <a:lnTo>
                    <a:pt x="3434" y="3813"/>
                  </a:lnTo>
                  <a:cubicBezTo>
                    <a:pt x="4096" y="4207"/>
                    <a:pt x="4844" y="4404"/>
                    <a:pt x="5600" y="4404"/>
                  </a:cubicBezTo>
                  <a:cubicBezTo>
                    <a:pt x="6356" y="4404"/>
                    <a:pt x="7120" y="4207"/>
                    <a:pt x="7813" y="3813"/>
                  </a:cubicBezTo>
                  <a:close/>
                  <a:moveTo>
                    <a:pt x="5576" y="8302"/>
                  </a:moveTo>
                  <a:cubicBezTo>
                    <a:pt x="6285" y="8302"/>
                    <a:pt x="6994" y="8507"/>
                    <a:pt x="7593" y="8917"/>
                  </a:cubicBezTo>
                  <a:cubicBezTo>
                    <a:pt x="7687" y="8980"/>
                    <a:pt x="7719" y="8980"/>
                    <a:pt x="7813" y="8980"/>
                  </a:cubicBezTo>
                  <a:lnTo>
                    <a:pt x="8916" y="8980"/>
                  </a:lnTo>
                  <a:cubicBezTo>
                    <a:pt x="8758" y="10649"/>
                    <a:pt x="7341" y="11973"/>
                    <a:pt x="5608" y="11973"/>
                  </a:cubicBezTo>
                  <a:cubicBezTo>
                    <a:pt x="3875" y="11973"/>
                    <a:pt x="2457" y="10649"/>
                    <a:pt x="2237" y="8980"/>
                  </a:cubicBezTo>
                  <a:lnTo>
                    <a:pt x="3340" y="8980"/>
                  </a:lnTo>
                  <a:cubicBezTo>
                    <a:pt x="3434" y="8980"/>
                    <a:pt x="3466" y="8980"/>
                    <a:pt x="3560" y="8917"/>
                  </a:cubicBezTo>
                  <a:cubicBezTo>
                    <a:pt x="4159" y="8507"/>
                    <a:pt x="4868" y="8302"/>
                    <a:pt x="5576" y="8302"/>
                  </a:cubicBezTo>
                  <a:close/>
                  <a:moveTo>
                    <a:pt x="5608" y="1"/>
                  </a:moveTo>
                  <a:cubicBezTo>
                    <a:pt x="5041" y="1"/>
                    <a:pt x="4568" y="316"/>
                    <a:pt x="4285" y="725"/>
                  </a:cubicBezTo>
                  <a:cubicBezTo>
                    <a:pt x="4231" y="720"/>
                    <a:pt x="4178" y="717"/>
                    <a:pt x="4125" y="717"/>
                  </a:cubicBezTo>
                  <a:cubicBezTo>
                    <a:pt x="3560" y="717"/>
                    <a:pt x="3063" y="1020"/>
                    <a:pt x="2804" y="1482"/>
                  </a:cubicBezTo>
                  <a:cubicBezTo>
                    <a:pt x="2048" y="1608"/>
                    <a:pt x="1512" y="2238"/>
                    <a:pt x="1512" y="3025"/>
                  </a:cubicBezTo>
                  <a:lnTo>
                    <a:pt x="1512" y="5231"/>
                  </a:lnTo>
                  <a:cubicBezTo>
                    <a:pt x="662" y="5231"/>
                    <a:pt x="0" y="5892"/>
                    <a:pt x="0" y="6711"/>
                  </a:cubicBezTo>
                  <a:cubicBezTo>
                    <a:pt x="0" y="7562"/>
                    <a:pt x="662" y="8224"/>
                    <a:pt x="1512" y="8224"/>
                  </a:cubicBezTo>
                  <a:lnTo>
                    <a:pt x="1512" y="8570"/>
                  </a:lnTo>
                  <a:cubicBezTo>
                    <a:pt x="1512" y="10807"/>
                    <a:pt x="3340" y="12666"/>
                    <a:pt x="5608" y="12666"/>
                  </a:cubicBezTo>
                  <a:cubicBezTo>
                    <a:pt x="7845" y="12666"/>
                    <a:pt x="9704" y="10807"/>
                    <a:pt x="9704" y="8570"/>
                  </a:cubicBezTo>
                  <a:lnTo>
                    <a:pt x="9704" y="8224"/>
                  </a:lnTo>
                  <a:cubicBezTo>
                    <a:pt x="10523" y="8224"/>
                    <a:pt x="11184" y="7562"/>
                    <a:pt x="11184" y="6711"/>
                  </a:cubicBezTo>
                  <a:cubicBezTo>
                    <a:pt x="11184" y="5892"/>
                    <a:pt x="10523" y="5231"/>
                    <a:pt x="9704" y="5231"/>
                  </a:cubicBezTo>
                  <a:lnTo>
                    <a:pt x="9704" y="3025"/>
                  </a:lnTo>
                  <a:cubicBezTo>
                    <a:pt x="9704" y="2238"/>
                    <a:pt x="9137" y="1608"/>
                    <a:pt x="8380" y="1482"/>
                  </a:cubicBezTo>
                  <a:cubicBezTo>
                    <a:pt x="8150" y="1020"/>
                    <a:pt x="7629" y="717"/>
                    <a:pt x="7060" y="717"/>
                  </a:cubicBezTo>
                  <a:cubicBezTo>
                    <a:pt x="7007" y="717"/>
                    <a:pt x="6953" y="720"/>
                    <a:pt x="6900" y="725"/>
                  </a:cubicBezTo>
                  <a:cubicBezTo>
                    <a:pt x="6616" y="253"/>
                    <a:pt x="6144" y="1"/>
                    <a:pt x="5608"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10437" name="Google Shape;10437;p112"/>
          <p:cNvGrpSpPr/>
          <p:nvPr/>
        </p:nvGrpSpPr>
        <p:grpSpPr>
          <a:xfrm>
            <a:off x="6477619" y="3279877"/>
            <a:ext cx="481151" cy="480281"/>
            <a:chOff x="-57969675" y="2687750"/>
            <a:chExt cx="318025" cy="317450"/>
          </a:xfrm>
        </p:grpSpPr>
        <p:sp>
          <p:nvSpPr>
            <p:cNvPr id="10438" name="Google Shape;10438;p112"/>
            <p:cNvSpPr/>
            <p:nvPr/>
          </p:nvSpPr>
          <p:spPr>
            <a:xfrm>
              <a:off x="-57856250" y="2856300"/>
              <a:ext cx="18150" cy="17350"/>
            </a:xfrm>
            <a:custGeom>
              <a:avLst/>
              <a:gdLst/>
              <a:ahLst/>
              <a:cxnLst/>
              <a:rect l="l" t="t" r="r" b="b"/>
              <a:pathLst>
                <a:path w="726" h="694" extrusionOk="0">
                  <a:moveTo>
                    <a:pt x="379" y="1"/>
                  </a:moveTo>
                  <a:cubicBezTo>
                    <a:pt x="158" y="1"/>
                    <a:pt x="1" y="158"/>
                    <a:pt x="1" y="347"/>
                  </a:cubicBezTo>
                  <a:cubicBezTo>
                    <a:pt x="1" y="536"/>
                    <a:pt x="158" y="694"/>
                    <a:pt x="379" y="694"/>
                  </a:cubicBezTo>
                  <a:cubicBezTo>
                    <a:pt x="568" y="694"/>
                    <a:pt x="725" y="536"/>
                    <a:pt x="725" y="347"/>
                  </a:cubicBezTo>
                  <a:cubicBezTo>
                    <a:pt x="725" y="158"/>
                    <a:pt x="568" y="1"/>
                    <a:pt x="379"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439" name="Google Shape;10439;p112"/>
            <p:cNvSpPr/>
            <p:nvPr/>
          </p:nvSpPr>
          <p:spPr>
            <a:xfrm>
              <a:off x="-57846000" y="2920300"/>
              <a:ext cx="72475" cy="29750"/>
            </a:xfrm>
            <a:custGeom>
              <a:avLst/>
              <a:gdLst/>
              <a:ahLst/>
              <a:cxnLst/>
              <a:rect l="l" t="t" r="r" b="b"/>
              <a:pathLst>
                <a:path w="2899" h="1190" extrusionOk="0">
                  <a:moveTo>
                    <a:pt x="386" y="1"/>
                  </a:moveTo>
                  <a:cubicBezTo>
                    <a:pt x="292" y="1"/>
                    <a:pt x="205" y="40"/>
                    <a:pt x="158" y="119"/>
                  </a:cubicBezTo>
                  <a:cubicBezTo>
                    <a:pt x="0" y="276"/>
                    <a:pt x="0" y="497"/>
                    <a:pt x="158" y="623"/>
                  </a:cubicBezTo>
                  <a:cubicBezTo>
                    <a:pt x="504" y="969"/>
                    <a:pt x="977" y="1190"/>
                    <a:pt x="1449" y="1190"/>
                  </a:cubicBezTo>
                  <a:cubicBezTo>
                    <a:pt x="1922" y="1190"/>
                    <a:pt x="2426" y="969"/>
                    <a:pt x="2741" y="623"/>
                  </a:cubicBezTo>
                  <a:cubicBezTo>
                    <a:pt x="2899" y="465"/>
                    <a:pt x="2899" y="245"/>
                    <a:pt x="2741" y="119"/>
                  </a:cubicBezTo>
                  <a:cubicBezTo>
                    <a:pt x="2678" y="40"/>
                    <a:pt x="2592" y="1"/>
                    <a:pt x="2501" y="1"/>
                  </a:cubicBezTo>
                  <a:cubicBezTo>
                    <a:pt x="2410" y="1"/>
                    <a:pt x="2316" y="40"/>
                    <a:pt x="2237" y="119"/>
                  </a:cubicBezTo>
                  <a:cubicBezTo>
                    <a:pt x="2048" y="308"/>
                    <a:pt x="1733" y="434"/>
                    <a:pt x="1449" y="434"/>
                  </a:cubicBezTo>
                  <a:cubicBezTo>
                    <a:pt x="1134" y="434"/>
                    <a:pt x="851" y="308"/>
                    <a:pt x="662" y="119"/>
                  </a:cubicBezTo>
                  <a:cubicBezTo>
                    <a:pt x="583" y="40"/>
                    <a:pt x="481" y="1"/>
                    <a:pt x="386"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440" name="Google Shape;10440;p112"/>
            <p:cNvSpPr/>
            <p:nvPr/>
          </p:nvSpPr>
          <p:spPr>
            <a:xfrm>
              <a:off x="-57969675" y="2687750"/>
              <a:ext cx="318025" cy="317450"/>
            </a:xfrm>
            <a:custGeom>
              <a:avLst/>
              <a:gdLst/>
              <a:ahLst/>
              <a:cxnLst/>
              <a:rect l="l" t="t" r="r" b="b"/>
              <a:pathLst>
                <a:path w="12721" h="12698" extrusionOk="0">
                  <a:moveTo>
                    <a:pt x="6365" y="757"/>
                  </a:moveTo>
                  <a:cubicBezTo>
                    <a:pt x="7090" y="757"/>
                    <a:pt x="7783" y="1072"/>
                    <a:pt x="8255" y="1576"/>
                  </a:cubicBezTo>
                  <a:cubicBezTo>
                    <a:pt x="8888" y="2274"/>
                    <a:pt x="9792" y="2670"/>
                    <a:pt x="10717" y="2670"/>
                  </a:cubicBezTo>
                  <a:cubicBezTo>
                    <a:pt x="11128" y="2670"/>
                    <a:pt x="11544" y="2591"/>
                    <a:pt x="11941" y="2427"/>
                  </a:cubicBezTo>
                  <a:lnTo>
                    <a:pt x="11941" y="3183"/>
                  </a:lnTo>
                  <a:lnTo>
                    <a:pt x="11973" y="3183"/>
                  </a:lnTo>
                  <a:cubicBezTo>
                    <a:pt x="11973" y="4348"/>
                    <a:pt x="11028" y="5231"/>
                    <a:pt x="9925" y="5231"/>
                  </a:cubicBezTo>
                  <a:cubicBezTo>
                    <a:pt x="9358" y="5231"/>
                    <a:pt x="9043" y="5041"/>
                    <a:pt x="8192" y="4600"/>
                  </a:cubicBezTo>
                  <a:cubicBezTo>
                    <a:pt x="8066" y="4537"/>
                    <a:pt x="7877" y="4506"/>
                    <a:pt x="7688" y="4506"/>
                  </a:cubicBezTo>
                  <a:lnTo>
                    <a:pt x="5042" y="4506"/>
                  </a:lnTo>
                  <a:cubicBezTo>
                    <a:pt x="4916" y="4506"/>
                    <a:pt x="4695" y="4537"/>
                    <a:pt x="4538" y="4600"/>
                  </a:cubicBezTo>
                  <a:cubicBezTo>
                    <a:pt x="3687" y="5041"/>
                    <a:pt x="3403" y="5231"/>
                    <a:pt x="2805" y="5231"/>
                  </a:cubicBezTo>
                  <a:cubicBezTo>
                    <a:pt x="1671" y="5231"/>
                    <a:pt x="757" y="4348"/>
                    <a:pt x="757" y="3183"/>
                  </a:cubicBezTo>
                  <a:lnTo>
                    <a:pt x="757" y="2490"/>
                  </a:lnTo>
                  <a:cubicBezTo>
                    <a:pt x="1150" y="2639"/>
                    <a:pt x="1556" y="2711"/>
                    <a:pt x="1958" y="2711"/>
                  </a:cubicBezTo>
                  <a:cubicBezTo>
                    <a:pt x="2909" y="2711"/>
                    <a:pt x="3832" y="2307"/>
                    <a:pt x="4475" y="1576"/>
                  </a:cubicBezTo>
                  <a:cubicBezTo>
                    <a:pt x="4947" y="1072"/>
                    <a:pt x="5640" y="757"/>
                    <a:pt x="6365" y="757"/>
                  </a:cubicBezTo>
                  <a:close/>
                  <a:moveTo>
                    <a:pt x="7846" y="6743"/>
                  </a:moveTo>
                  <a:cubicBezTo>
                    <a:pt x="8035" y="6743"/>
                    <a:pt x="8192" y="6900"/>
                    <a:pt x="8192" y="7089"/>
                  </a:cubicBezTo>
                  <a:cubicBezTo>
                    <a:pt x="8192" y="7278"/>
                    <a:pt x="8035" y="7436"/>
                    <a:pt x="7846" y="7436"/>
                  </a:cubicBezTo>
                  <a:cubicBezTo>
                    <a:pt x="7657" y="7436"/>
                    <a:pt x="7499" y="7278"/>
                    <a:pt x="7499" y="7089"/>
                  </a:cubicBezTo>
                  <a:cubicBezTo>
                    <a:pt x="7499" y="6900"/>
                    <a:pt x="7657" y="6743"/>
                    <a:pt x="7846" y="6743"/>
                  </a:cubicBezTo>
                  <a:close/>
                  <a:moveTo>
                    <a:pt x="7720" y="5231"/>
                  </a:moveTo>
                  <a:cubicBezTo>
                    <a:pt x="7783" y="5231"/>
                    <a:pt x="7846" y="5231"/>
                    <a:pt x="7877" y="5294"/>
                  </a:cubicBezTo>
                  <a:cubicBezTo>
                    <a:pt x="8759" y="5703"/>
                    <a:pt x="9074" y="5955"/>
                    <a:pt x="9767" y="5987"/>
                  </a:cubicBezTo>
                  <a:lnTo>
                    <a:pt x="9767" y="7656"/>
                  </a:lnTo>
                  <a:lnTo>
                    <a:pt x="9736" y="7656"/>
                  </a:lnTo>
                  <a:lnTo>
                    <a:pt x="8980" y="7278"/>
                  </a:lnTo>
                  <a:cubicBezTo>
                    <a:pt x="9106" y="6617"/>
                    <a:pt x="8570" y="5987"/>
                    <a:pt x="7877" y="5987"/>
                  </a:cubicBezTo>
                  <a:cubicBezTo>
                    <a:pt x="7562" y="5987"/>
                    <a:pt x="7247" y="6144"/>
                    <a:pt x="7058" y="6333"/>
                  </a:cubicBezTo>
                  <a:lnTo>
                    <a:pt x="4884" y="5294"/>
                  </a:lnTo>
                  <a:lnTo>
                    <a:pt x="4947" y="5294"/>
                  </a:lnTo>
                  <a:cubicBezTo>
                    <a:pt x="4979" y="5231"/>
                    <a:pt x="5042" y="5231"/>
                    <a:pt x="5105" y="5231"/>
                  </a:cubicBezTo>
                  <a:close/>
                  <a:moveTo>
                    <a:pt x="4065" y="5672"/>
                  </a:moveTo>
                  <a:cubicBezTo>
                    <a:pt x="4065" y="5672"/>
                    <a:pt x="4128" y="5672"/>
                    <a:pt x="4128" y="5703"/>
                  </a:cubicBezTo>
                  <a:lnTo>
                    <a:pt x="6806" y="7026"/>
                  </a:lnTo>
                  <a:cubicBezTo>
                    <a:pt x="6743" y="7656"/>
                    <a:pt x="7279" y="8192"/>
                    <a:pt x="7909" y="8192"/>
                  </a:cubicBezTo>
                  <a:cubicBezTo>
                    <a:pt x="8161" y="8192"/>
                    <a:pt x="8444" y="8066"/>
                    <a:pt x="8633" y="7908"/>
                  </a:cubicBezTo>
                  <a:lnTo>
                    <a:pt x="9767" y="8476"/>
                  </a:lnTo>
                  <a:lnTo>
                    <a:pt x="9767" y="8602"/>
                  </a:lnTo>
                  <a:lnTo>
                    <a:pt x="9736" y="8602"/>
                  </a:lnTo>
                  <a:cubicBezTo>
                    <a:pt x="9736" y="10429"/>
                    <a:pt x="8255" y="11973"/>
                    <a:pt x="6396" y="11973"/>
                  </a:cubicBezTo>
                  <a:cubicBezTo>
                    <a:pt x="4538" y="11973"/>
                    <a:pt x="3057" y="10429"/>
                    <a:pt x="3057" y="8602"/>
                  </a:cubicBezTo>
                  <a:lnTo>
                    <a:pt x="3057" y="5955"/>
                  </a:lnTo>
                  <a:cubicBezTo>
                    <a:pt x="3403" y="5924"/>
                    <a:pt x="3750" y="5829"/>
                    <a:pt x="4065" y="5672"/>
                  </a:cubicBezTo>
                  <a:close/>
                  <a:moveTo>
                    <a:pt x="6365" y="1"/>
                  </a:moveTo>
                  <a:cubicBezTo>
                    <a:pt x="5420" y="1"/>
                    <a:pt x="4506" y="410"/>
                    <a:pt x="3908" y="1072"/>
                  </a:cubicBezTo>
                  <a:cubicBezTo>
                    <a:pt x="3408" y="1648"/>
                    <a:pt x="2687" y="1943"/>
                    <a:pt x="1957" y="1943"/>
                  </a:cubicBezTo>
                  <a:cubicBezTo>
                    <a:pt x="1489" y="1943"/>
                    <a:pt x="1018" y="1822"/>
                    <a:pt x="600" y="1576"/>
                  </a:cubicBezTo>
                  <a:lnTo>
                    <a:pt x="568" y="1544"/>
                  </a:lnTo>
                  <a:cubicBezTo>
                    <a:pt x="505" y="1505"/>
                    <a:pt x="438" y="1487"/>
                    <a:pt x="373" y="1487"/>
                  </a:cubicBezTo>
                  <a:cubicBezTo>
                    <a:pt x="178" y="1487"/>
                    <a:pt x="1" y="1647"/>
                    <a:pt x="1" y="1860"/>
                  </a:cubicBezTo>
                  <a:lnTo>
                    <a:pt x="1" y="3151"/>
                  </a:lnTo>
                  <a:cubicBezTo>
                    <a:pt x="1" y="4506"/>
                    <a:pt x="1009" y="5640"/>
                    <a:pt x="2269" y="5861"/>
                  </a:cubicBezTo>
                  <a:lnTo>
                    <a:pt x="2269" y="8539"/>
                  </a:lnTo>
                  <a:cubicBezTo>
                    <a:pt x="2269" y="10838"/>
                    <a:pt x="4097" y="12697"/>
                    <a:pt x="6365" y="12697"/>
                  </a:cubicBezTo>
                  <a:cubicBezTo>
                    <a:pt x="8602" y="12697"/>
                    <a:pt x="10461" y="10838"/>
                    <a:pt x="10461" y="8539"/>
                  </a:cubicBezTo>
                  <a:lnTo>
                    <a:pt x="10461" y="5861"/>
                  </a:lnTo>
                  <a:cubicBezTo>
                    <a:pt x="11752" y="5640"/>
                    <a:pt x="12697" y="4506"/>
                    <a:pt x="12697" y="3151"/>
                  </a:cubicBezTo>
                  <a:lnTo>
                    <a:pt x="12697" y="1860"/>
                  </a:lnTo>
                  <a:cubicBezTo>
                    <a:pt x="12721" y="1647"/>
                    <a:pt x="12550" y="1487"/>
                    <a:pt x="12370" y="1487"/>
                  </a:cubicBezTo>
                  <a:cubicBezTo>
                    <a:pt x="12310" y="1487"/>
                    <a:pt x="12249" y="1505"/>
                    <a:pt x="12193" y="1544"/>
                  </a:cubicBezTo>
                  <a:lnTo>
                    <a:pt x="12130" y="1576"/>
                  </a:lnTo>
                  <a:cubicBezTo>
                    <a:pt x="11721" y="1824"/>
                    <a:pt x="11253" y="1945"/>
                    <a:pt x="10785" y="1945"/>
                  </a:cubicBezTo>
                  <a:cubicBezTo>
                    <a:pt x="10063" y="1945"/>
                    <a:pt x="9338" y="1657"/>
                    <a:pt x="8822" y="1103"/>
                  </a:cubicBezTo>
                  <a:cubicBezTo>
                    <a:pt x="8192" y="442"/>
                    <a:pt x="7342" y="1"/>
                    <a:pt x="6365"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441" name="Google Shape;10441;p112"/>
            <p:cNvSpPr/>
            <p:nvPr/>
          </p:nvSpPr>
          <p:spPr>
            <a:xfrm>
              <a:off x="-57838125" y="2724975"/>
              <a:ext cx="56725" cy="55550"/>
            </a:xfrm>
            <a:custGeom>
              <a:avLst/>
              <a:gdLst/>
              <a:ahLst/>
              <a:cxnLst/>
              <a:rect l="l" t="t" r="r" b="b"/>
              <a:pathLst>
                <a:path w="2269" h="2222" extrusionOk="0">
                  <a:moveTo>
                    <a:pt x="386" y="0"/>
                  </a:moveTo>
                  <a:cubicBezTo>
                    <a:pt x="292" y="0"/>
                    <a:pt x="205" y="40"/>
                    <a:pt x="158" y="118"/>
                  </a:cubicBezTo>
                  <a:cubicBezTo>
                    <a:pt x="0" y="276"/>
                    <a:pt x="0" y="528"/>
                    <a:pt x="158" y="654"/>
                  </a:cubicBezTo>
                  <a:lnTo>
                    <a:pt x="630" y="1127"/>
                  </a:lnTo>
                  <a:lnTo>
                    <a:pt x="158" y="1599"/>
                  </a:lnTo>
                  <a:cubicBezTo>
                    <a:pt x="0" y="1757"/>
                    <a:pt x="0" y="1977"/>
                    <a:pt x="158" y="2103"/>
                  </a:cubicBezTo>
                  <a:cubicBezTo>
                    <a:pt x="237" y="2182"/>
                    <a:pt x="331" y="2221"/>
                    <a:pt x="422" y="2221"/>
                  </a:cubicBezTo>
                  <a:cubicBezTo>
                    <a:pt x="512" y="2221"/>
                    <a:pt x="599" y="2182"/>
                    <a:pt x="662" y="2103"/>
                  </a:cubicBezTo>
                  <a:lnTo>
                    <a:pt x="1134" y="1631"/>
                  </a:lnTo>
                  <a:lnTo>
                    <a:pt x="1607" y="2103"/>
                  </a:lnTo>
                  <a:cubicBezTo>
                    <a:pt x="1686" y="2182"/>
                    <a:pt x="1780" y="2221"/>
                    <a:pt x="1871" y="2221"/>
                  </a:cubicBezTo>
                  <a:cubicBezTo>
                    <a:pt x="1961" y="2221"/>
                    <a:pt x="2048" y="2182"/>
                    <a:pt x="2111" y="2103"/>
                  </a:cubicBezTo>
                  <a:cubicBezTo>
                    <a:pt x="2269" y="1946"/>
                    <a:pt x="2269" y="1694"/>
                    <a:pt x="2111" y="1599"/>
                  </a:cubicBezTo>
                  <a:lnTo>
                    <a:pt x="1639" y="1127"/>
                  </a:lnTo>
                  <a:lnTo>
                    <a:pt x="2111" y="654"/>
                  </a:lnTo>
                  <a:cubicBezTo>
                    <a:pt x="2269" y="497"/>
                    <a:pt x="2269" y="244"/>
                    <a:pt x="2111" y="118"/>
                  </a:cubicBezTo>
                  <a:cubicBezTo>
                    <a:pt x="2032" y="40"/>
                    <a:pt x="1938" y="0"/>
                    <a:pt x="1847" y="0"/>
                  </a:cubicBezTo>
                  <a:cubicBezTo>
                    <a:pt x="1757" y="0"/>
                    <a:pt x="1670" y="40"/>
                    <a:pt x="1607" y="118"/>
                  </a:cubicBezTo>
                  <a:lnTo>
                    <a:pt x="1134" y="591"/>
                  </a:lnTo>
                  <a:lnTo>
                    <a:pt x="662" y="118"/>
                  </a:lnTo>
                  <a:cubicBezTo>
                    <a:pt x="583" y="40"/>
                    <a:pt x="481" y="0"/>
                    <a:pt x="386"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10442" name="Google Shape;10442;p112"/>
          <p:cNvGrpSpPr/>
          <p:nvPr/>
        </p:nvGrpSpPr>
        <p:grpSpPr>
          <a:xfrm>
            <a:off x="9423197" y="2043032"/>
            <a:ext cx="485047" cy="481453"/>
            <a:chOff x="-56012425" y="1903275"/>
            <a:chExt cx="320600" cy="318225"/>
          </a:xfrm>
        </p:grpSpPr>
        <p:sp>
          <p:nvSpPr>
            <p:cNvPr id="10443" name="Google Shape;10443;p112"/>
            <p:cNvSpPr/>
            <p:nvPr/>
          </p:nvSpPr>
          <p:spPr>
            <a:xfrm>
              <a:off x="-55897425" y="2015125"/>
              <a:ext cx="17350" cy="18150"/>
            </a:xfrm>
            <a:custGeom>
              <a:avLst/>
              <a:gdLst/>
              <a:ahLst/>
              <a:cxnLst/>
              <a:rect l="l" t="t" r="r" b="b"/>
              <a:pathLst>
                <a:path w="694" h="726" extrusionOk="0">
                  <a:moveTo>
                    <a:pt x="347" y="1"/>
                  </a:moveTo>
                  <a:cubicBezTo>
                    <a:pt x="158" y="1"/>
                    <a:pt x="1" y="158"/>
                    <a:pt x="1" y="379"/>
                  </a:cubicBezTo>
                  <a:cubicBezTo>
                    <a:pt x="1" y="568"/>
                    <a:pt x="158" y="725"/>
                    <a:pt x="347" y="725"/>
                  </a:cubicBezTo>
                  <a:cubicBezTo>
                    <a:pt x="536" y="725"/>
                    <a:pt x="694" y="568"/>
                    <a:pt x="694" y="379"/>
                  </a:cubicBezTo>
                  <a:cubicBezTo>
                    <a:pt x="694" y="158"/>
                    <a:pt x="536" y="1"/>
                    <a:pt x="347"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444" name="Google Shape;10444;p112"/>
            <p:cNvSpPr/>
            <p:nvPr/>
          </p:nvSpPr>
          <p:spPr>
            <a:xfrm>
              <a:off x="-56012425" y="1903275"/>
              <a:ext cx="320600" cy="318225"/>
            </a:xfrm>
            <a:custGeom>
              <a:avLst/>
              <a:gdLst/>
              <a:ahLst/>
              <a:cxnLst/>
              <a:rect l="l" t="t" r="r" b="b"/>
              <a:pathLst>
                <a:path w="12824" h="12729" extrusionOk="0">
                  <a:moveTo>
                    <a:pt x="5262" y="946"/>
                  </a:moveTo>
                  <a:lnTo>
                    <a:pt x="5262" y="946"/>
                  </a:lnTo>
                  <a:cubicBezTo>
                    <a:pt x="5010" y="1923"/>
                    <a:pt x="4254" y="2679"/>
                    <a:pt x="3277" y="2899"/>
                  </a:cubicBezTo>
                  <a:cubicBezTo>
                    <a:pt x="3592" y="2017"/>
                    <a:pt x="4348" y="1293"/>
                    <a:pt x="5262" y="946"/>
                  </a:cubicBezTo>
                  <a:close/>
                  <a:moveTo>
                    <a:pt x="2301" y="5231"/>
                  </a:moveTo>
                  <a:lnTo>
                    <a:pt x="2301" y="6333"/>
                  </a:lnTo>
                  <a:lnTo>
                    <a:pt x="2301" y="6680"/>
                  </a:lnTo>
                  <a:cubicBezTo>
                    <a:pt x="1891" y="6680"/>
                    <a:pt x="1545" y="6365"/>
                    <a:pt x="1545" y="5955"/>
                  </a:cubicBezTo>
                  <a:cubicBezTo>
                    <a:pt x="1545" y="5514"/>
                    <a:pt x="1891" y="5231"/>
                    <a:pt x="2301" y="5231"/>
                  </a:cubicBezTo>
                  <a:close/>
                  <a:moveTo>
                    <a:pt x="10555" y="5231"/>
                  </a:moveTo>
                  <a:cubicBezTo>
                    <a:pt x="10965" y="5231"/>
                    <a:pt x="11311" y="5546"/>
                    <a:pt x="11311" y="5987"/>
                  </a:cubicBezTo>
                  <a:cubicBezTo>
                    <a:pt x="11311" y="6365"/>
                    <a:pt x="10965" y="6743"/>
                    <a:pt x="10555" y="6743"/>
                  </a:cubicBezTo>
                  <a:lnTo>
                    <a:pt x="10555" y="5231"/>
                  </a:lnTo>
                  <a:close/>
                  <a:moveTo>
                    <a:pt x="1103" y="6837"/>
                  </a:moveTo>
                  <a:cubicBezTo>
                    <a:pt x="1387" y="7216"/>
                    <a:pt x="1828" y="7436"/>
                    <a:pt x="2301" y="7436"/>
                  </a:cubicBezTo>
                  <a:cubicBezTo>
                    <a:pt x="2301" y="7877"/>
                    <a:pt x="1986" y="8192"/>
                    <a:pt x="1545" y="8192"/>
                  </a:cubicBezTo>
                  <a:cubicBezTo>
                    <a:pt x="1166" y="8192"/>
                    <a:pt x="788" y="7877"/>
                    <a:pt x="788" y="7436"/>
                  </a:cubicBezTo>
                  <a:cubicBezTo>
                    <a:pt x="788" y="7216"/>
                    <a:pt x="914" y="6963"/>
                    <a:pt x="1103" y="6837"/>
                  </a:cubicBezTo>
                  <a:close/>
                  <a:moveTo>
                    <a:pt x="11752" y="6837"/>
                  </a:moveTo>
                  <a:cubicBezTo>
                    <a:pt x="11941" y="6995"/>
                    <a:pt x="12067" y="7216"/>
                    <a:pt x="12067" y="7436"/>
                  </a:cubicBezTo>
                  <a:cubicBezTo>
                    <a:pt x="12067" y="7877"/>
                    <a:pt x="11721" y="8192"/>
                    <a:pt x="11311" y="8192"/>
                  </a:cubicBezTo>
                  <a:cubicBezTo>
                    <a:pt x="10933" y="8192"/>
                    <a:pt x="10555" y="7877"/>
                    <a:pt x="10555" y="7436"/>
                  </a:cubicBezTo>
                  <a:cubicBezTo>
                    <a:pt x="11028" y="7436"/>
                    <a:pt x="11469" y="7216"/>
                    <a:pt x="11752" y="6837"/>
                  </a:cubicBezTo>
                  <a:close/>
                  <a:moveTo>
                    <a:pt x="5325" y="2490"/>
                  </a:moveTo>
                  <a:lnTo>
                    <a:pt x="5325" y="2647"/>
                  </a:lnTo>
                  <a:cubicBezTo>
                    <a:pt x="5325" y="3529"/>
                    <a:pt x="5955" y="4286"/>
                    <a:pt x="6837" y="4443"/>
                  </a:cubicBezTo>
                  <a:lnTo>
                    <a:pt x="6837" y="7405"/>
                  </a:lnTo>
                  <a:cubicBezTo>
                    <a:pt x="6711" y="7436"/>
                    <a:pt x="6585" y="7468"/>
                    <a:pt x="6491" y="7468"/>
                  </a:cubicBezTo>
                  <a:cubicBezTo>
                    <a:pt x="6176" y="7468"/>
                    <a:pt x="5892" y="7373"/>
                    <a:pt x="5703" y="7153"/>
                  </a:cubicBezTo>
                  <a:cubicBezTo>
                    <a:pt x="5624" y="7074"/>
                    <a:pt x="5522" y="7034"/>
                    <a:pt x="5424" y="7034"/>
                  </a:cubicBezTo>
                  <a:cubicBezTo>
                    <a:pt x="5325" y="7034"/>
                    <a:pt x="5231" y="7074"/>
                    <a:pt x="5168" y="7153"/>
                  </a:cubicBezTo>
                  <a:cubicBezTo>
                    <a:pt x="5010" y="7310"/>
                    <a:pt x="5010" y="7562"/>
                    <a:pt x="5168" y="7688"/>
                  </a:cubicBezTo>
                  <a:cubicBezTo>
                    <a:pt x="5514" y="8035"/>
                    <a:pt x="6018" y="8224"/>
                    <a:pt x="6491" y="8224"/>
                  </a:cubicBezTo>
                  <a:cubicBezTo>
                    <a:pt x="6585" y="8224"/>
                    <a:pt x="6711" y="8224"/>
                    <a:pt x="6837" y="8192"/>
                  </a:cubicBezTo>
                  <a:lnTo>
                    <a:pt x="6837" y="9326"/>
                  </a:lnTo>
                  <a:lnTo>
                    <a:pt x="6837" y="9673"/>
                  </a:lnTo>
                  <a:cubicBezTo>
                    <a:pt x="6711" y="9673"/>
                    <a:pt x="6554" y="9736"/>
                    <a:pt x="6428" y="9736"/>
                  </a:cubicBezTo>
                  <a:cubicBezTo>
                    <a:pt x="4569" y="9673"/>
                    <a:pt x="3057" y="8192"/>
                    <a:pt x="3057" y="6333"/>
                  </a:cubicBezTo>
                  <a:cubicBezTo>
                    <a:pt x="3057" y="3908"/>
                    <a:pt x="3057" y="3971"/>
                    <a:pt x="3088" y="3687"/>
                  </a:cubicBezTo>
                  <a:cubicBezTo>
                    <a:pt x="3939" y="3592"/>
                    <a:pt x="4790" y="3151"/>
                    <a:pt x="5325" y="2490"/>
                  </a:cubicBezTo>
                  <a:close/>
                  <a:moveTo>
                    <a:pt x="6459" y="694"/>
                  </a:moveTo>
                  <a:cubicBezTo>
                    <a:pt x="8287" y="757"/>
                    <a:pt x="9830" y="2238"/>
                    <a:pt x="9830" y="4097"/>
                  </a:cubicBezTo>
                  <a:lnTo>
                    <a:pt x="9830" y="11941"/>
                  </a:lnTo>
                  <a:cubicBezTo>
                    <a:pt x="8570" y="11721"/>
                    <a:pt x="7562" y="10618"/>
                    <a:pt x="7562" y="9295"/>
                  </a:cubicBezTo>
                  <a:lnTo>
                    <a:pt x="7562" y="4065"/>
                  </a:lnTo>
                  <a:cubicBezTo>
                    <a:pt x="7562" y="3845"/>
                    <a:pt x="7404" y="3687"/>
                    <a:pt x="7215" y="3687"/>
                  </a:cubicBezTo>
                  <a:cubicBezTo>
                    <a:pt x="6585" y="3687"/>
                    <a:pt x="6113" y="3183"/>
                    <a:pt x="6113" y="2584"/>
                  </a:cubicBezTo>
                  <a:lnTo>
                    <a:pt x="6113" y="757"/>
                  </a:lnTo>
                  <a:cubicBezTo>
                    <a:pt x="6239" y="757"/>
                    <a:pt x="6365" y="694"/>
                    <a:pt x="6459" y="694"/>
                  </a:cubicBezTo>
                  <a:close/>
                  <a:moveTo>
                    <a:pt x="3057" y="8665"/>
                  </a:moveTo>
                  <a:cubicBezTo>
                    <a:pt x="3781" y="9704"/>
                    <a:pt x="5010" y="10429"/>
                    <a:pt x="6428" y="10429"/>
                  </a:cubicBezTo>
                  <a:cubicBezTo>
                    <a:pt x="6617" y="10429"/>
                    <a:pt x="6774" y="10429"/>
                    <a:pt x="6995" y="10398"/>
                  </a:cubicBezTo>
                  <a:cubicBezTo>
                    <a:pt x="7184" y="11028"/>
                    <a:pt x="7562" y="11563"/>
                    <a:pt x="8098" y="11973"/>
                  </a:cubicBezTo>
                  <a:lnTo>
                    <a:pt x="3057" y="11973"/>
                  </a:lnTo>
                  <a:lnTo>
                    <a:pt x="3057" y="8665"/>
                  </a:lnTo>
                  <a:close/>
                  <a:moveTo>
                    <a:pt x="6396" y="1"/>
                  </a:moveTo>
                  <a:cubicBezTo>
                    <a:pt x="4096" y="1"/>
                    <a:pt x="2269" y="1860"/>
                    <a:pt x="2269" y="4097"/>
                  </a:cubicBezTo>
                  <a:lnTo>
                    <a:pt x="2269" y="4443"/>
                  </a:lnTo>
                  <a:cubicBezTo>
                    <a:pt x="1356" y="4443"/>
                    <a:pt x="631" y="5231"/>
                    <a:pt x="757" y="6144"/>
                  </a:cubicBezTo>
                  <a:cubicBezTo>
                    <a:pt x="284" y="6428"/>
                    <a:pt x="1" y="6900"/>
                    <a:pt x="1" y="7436"/>
                  </a:cubicBezTo>
                  <a:cubicBezTo>
                    <a:pt x="1" y="8255"/>
                    <a:pt x="694" y="8948"/>
                    <a:pt x="1513" y="8948"/>
                  </a:cubicBezTo>
                  <a:cubicBezTo>
                    <a:pt x="1797" y="8948"/>
                    <a:pt x="2017" y="8854"/>
                    <a:pt x="2269" y="8728"/>
                  </a:cubicBezTo>
                  <a:lnTo>
                    <a:pt x="2269" y="12351"/>
                  </a:lnTo>
                  <a:cubicBezTo>
                    <a:pt x="2269" y="12571"/>
                    <a:pt x="2427" y="12729"/>
                    <a:pt x="2616" y="12729"/>
                  </a:cubicBezTo>
                  <a:lnTo>
                    <a:pt x="10145" y="12729"/>
                  </a:lnTo>
                  <a:cubicBezTo>
                    <a:pt x="10334" y="12729"/>
                    <a:pt x="10492" y="12571"/>
                    <a:pt x="10492" y="12351"/>
                  </a:cubicBezTo>
                  <a:lnTo>
                    <a:pt x="10492" y="8728"/>
                  </a:lnTo>
                  <a:cubicBezTo>
                    <a:pt x="10712" y="8854"/>
                    <a:pt x="10965" y="8948"/>
                    <a:pt x="11248" y="8948"/>
                  </a:cubicBezTo>
                  <a:cubicBezTo>
                    <a:pt x="12067" y="8948"/>
                    <a:pt x="12729" y="8255"/>
                    <a:pt x="12729" y="7436"/>
                  </a:cubicBezTo>
                  <a:cubicBezTo>
                    <a:pt x="12823" y="6932"/>
                    <a:pt x="12508" y="6428"/>
                    <a:pt x="12036" y="6144"/>
                  </a:cubicBezTo>
                  <a:cubicBezTo>
                    <a:pt x="12130" y="5231"/>
                    <a:pt x="11437" y="4443"/>
                    <a:pt x="10523" y="4443"/>
                  </a:cubicBezTo>
                  <a:lnTo>
                    <a:pt x="10523" y="4097"/>
                  </a:lnTo>
                  <a:cubicBezTo>
                    <a:pt x="10523" y="1860"/>
                    <a:pt x="8665" y="1"/>
                    <a:pt x="6396"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10445" name="Google Shape;10445;p112"/>
          <p:cNvGrpSpPr/>
          <p:nvPr/>
        </p:nvGrpSpPr>
        <p:grpSpPr>
          <a:xfrm>
            <a:off x="9424387" y="2675257"/>
            <a:ext cx="482664" cy="482664"/>
            <a:chOff x="-56010850" y="2294725"/>
            <a:chExt cx="319025" cy="319025"/>
          </a:xfrm>
        </p:grpSpPr>
        <p:sp>
          <p:nvSpPr>
            <p:cNvPr id="10446" name="Google Shape;10446;p112"/>
            <p:cNvSpPr/>
            <p:nvPr/>
          </p:nvSpPr>
          <p:spPr>
            <a:xfrm>
              <a:off x="-55906875" y="2527275"/>
              <a:ext cx="73275" cy="29750"/>
            </a:xfrm>
            <a:custGeom>
              <a:avLst/>
              <a:gdLst/>
              <a:ahLst/>
              <a:cxnLst/>
              <a:rect l="l" t="t" r="r" b="b"/>
              <a:pathLst>
                <a:path w="2931" h="1190" extrusionOk="0">
                  <a:moveTo>
                    <a:pt x="398" y="1"/>
                  </a:moveTo>
                  <a:cubicBezTo>
                    <a:pt x="308" y="1"/>
                    <a:pt x="221" y="40"/>
                    <a:pt x="158" y="119"/>
                  </a:cubicBezTo>
                  <a:cubicBezTo>
                    <a:pt x="0" y="276"/>
                    <a:pt x="0" y="528"/>
                    <a:pt x="158" y="623"/>
                  </a:cubicBezTo>
                  <a:cubicBezTo>
                    <a:pt x="505" y="1001"/>
                    <a:pt x="977" y="1190"/>
                    <a:pt x="1450" y="1190"/>
                  </a:cubicBezTo>
                  <a:cubicBezTo>
                    <a:pt x="1922" y="1190"/>
                    <a:pt x="2458" y="1001"/>
                    <a:pt x="2773" y="623"/>
                  </a:cubicBezTo>
                  <a:cubicBezTo>
                    <a:pt x="2930" y="465"/>
                    <a:pt x="2930" y="245"/>
                    <a:pt x="2773" y="119"/>
                  </a:cubicBezTo>
                  <a:cubicBezTo>
                    <a:pt x="2694" y="40"/>
                    <a:pt x="2592" y="1"/>
                    <a:pt x="2493" y="1"/>
                  </a:cubicBezTo>
                  <a:cubicBezTo>
                    <a:pt x="2395" y="1"/>
                    <a:pt x="2300" y="40"/>
                    <a:pt x="2237" y="119"/>
                  </a:cubicBezTo>
                  <a:cubicBezTo>
                    <a:pt x="2048" y="308"/>
                    <a:pt x="1733" y="434"/>
                    <a:pt x="1450" y="434"/>
                  </a:cubicBezTo>
                  <a:cubicBezTo>
                    <a:pt x="1135" y="434"/>
                    <a:pt x="883" y="308"/>
                    <a:pt x="662" y="119"/>
                  </a:cubicBezTo>
                  <a:cubicBezTo>
                    <a:pt x="583" y="40"/>
                    <a:pt x="489" y="1"/>
                    <a:pt x="398"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447" name="Google Shape;10447;p112"/>
            <p:cNvSpPr/>
            <p:nvPr/>
          </p:nvSpPr>
          <p:spPr>
            <a:xfrm>
              <a:off x="-55916325" y="2463275"/>
              <a:ext cx="17350" cy="17350"/>
            </a:xfrm>
            <a:custGeom>
              <a:avLst/>
              <a:gdLst/>
              <a:ahLst/>
              <a:cxnLst/>
              <a:rect l="l" t="t" r="r" b="b"/>
              <a:pathLst>
                <a:path w="694" h="694" extrusionOk="0">
                  <a:moveTo>
                    <a:pt x="347" y="1"/>
                  </a:moveTo>
                  <a:cubicBezTo>
                    <a:pt x="158" y="1"/>
                    <a:pt x="0" y="158"/>
                    <a:pt x="0" y="347"/>
                  </a:cubicBezTo>
                  <a:cubicBezTo>
                    <a:pt x="0" y="536"/>
                    <a:pt x="158" y="694"/>
                    <a:pt x="347" y="694"/>
                  </a:cubicBezTo>
                  <a:cubicBezTo>
                    <a:pt x="536" y="694"/>
                    <a:pt x="694" y="536"/>
                    <a:pt x="694" y="347"/>
                  </a:cubicBezTo>
                  <a:cubicBezTo>
                    <a:pt x="694" y="158"/>
                    <a:pt x="536" y="1"/>
                    <a:pt x="347"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448" name="Google Shape;10448;p112"/>
            <p:cNvSpPr/>
            <p:nvPr/>
          </p:nvSpPr>
          <p:spPr>
            <a:xfrm>
              <a:off x="-55842300" y="2463275"/>
              <a:ext cx="17350" cy="17350"/>
            </a:xfrm>
            <a:custGeom>
              <a:avLst/>
              <a:gdLst/>
              <a:ahLst/>
              <a:cxnLst/>
              <a:rect l="l" t="t" r="r" b="b"/>
              <a:pathLst>
                <a:path w="694" h="694" extrusionOk="0">
                  <a:moveTo>
                    <a:pt x="347" y="1"/>
                  </a:moveTo>
                  <a:cubicBezTo>
                    <a:pt x="158" y="1"/>
                    <a:pt x="1" y="158"/>
                    <a:pt x="1" y="347"/>
                  </a:cubicBezTo>
                  <a:cubicBezTo>
                    <a:pt x="1" y="536"/>
                    <a:pt x="158" y="694"/>
                    <a:pt x="347" y="694"/>
                  </a:cubicBezTo>
                  <a:cubicBezTo>
                    <a:pt x="536" y="694"/>
                    <a:pt x="694" y="536"/>
                    <a:pt x="694" y="347"/>
                  </a:cubicBezTo>
                  <a:cubicBezTo>
                    <a:pt x="694" y="158"/>
                    <a:pt x="536" y="1"/>
                    <a:pt x="347"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449" name="Google Shape;10449;p112"/>
            <p:cNvSpPr/>
            <p:nvPr/>
          </p:nvSpPr>
          <p:spPr>
            <a:xfrm>
              <a:off x="-56010850" y="2294725"/>
              <a:ext cx="319025" cy="319025"/>
            </a:xfrm>
            <a:custGeom>
              <a:avLst/>
              <a:gdLst/>
              <a:ahLst/>
              <a:cxnLst/>
              <a:rect l="l" t="t" r="r" b="b"/>
              <a:pathLst>
                <a:path w="12761" h="12761" extrusionOk="0">
                  <a:moveTo>
                    <a:pt x="6333" y="4506"/>
                  </a:moveTo>
                  <a:cubicBezTo>
                    <a:pt x="6522" y="4506"/>
                    <a:pt x="6680" y="4664"/>
                    <a:pt x="6680" y="4853"/>
                  </a:cubicBezTo>
                  <a:lnTo>
                    <a:pt x="6680" y="5199"/>
                  </a:lnTo>
                  <a:lnTo>
                    <a:pt x="4475" y="5199"/>
                  </a:lnTo>
                  <a:lnTo>
                    <a:pt x="4475" y="4853"/>
                  </a:lnTo>
                  <a:cubicBezTo>
                    <a:pt x="4475" y="4664"/>
                    <a:pt x="4632" y="4506"/>
                    <a:pt x="4821" y="4506"/>
                  </a:cubicBezTo>
                  <a:close/>
                  <a:moveTo>
                    <a:pt x="5577" y="757"/>
                  </a:moveTo>
                  <a:cubicBezTo>
                    <a:pt x="7814" y="757"/>
                    <a:pt x="9673" y="2616"/>
                    <a:pt x="9673" y="4853"/>
                  </a:cubicBezTo>
                  <a:lnTo>
                    <a:pt x="9673" y="5199"/>
                  </a:lnTo>
                  <a:lnTo>
                    <a:pt x="7436" y="5199"/>
                  </a:lnTo>
                  <a:lnTo>
                    <a:pt x="7436" y="4853"/>
                  </a:lnTo>
                  <a:cubicBezTo>
                    <a:pt x="7436" y="4222"/>
                    <a:pt x="6932" y="3750"/>
                    <a:pt x="6333" y="3750"/>
                  </a:cubicBezTo>
                  <a:lnTo>
                    <a:pt x="4821" y="3750"/>
                  </a:lnTo>
                  <a:cubicBezTo>
                    <a:pt x="4191" y="3750"/>
                    <a:pt x="3718" y="4254"/>
                    <a:pt x="3718" y="4853"/>
                  </a:cubicBezTo>
                  <a:lnTo>
                    <a:pt x="3718" y="5199"/>
                  </a:lnTo>
                  <a:lnTo>
                    <a:pt x="1482" y="5199"/>
                  </a:lnTo>
                  <a:lnTo>
                    <a:pt x="1482" y="4853"/>
                  </a:lnTo>
                  <a:cubicBezTo>
                    <a:pt x="1482" y="2616"/>
                    <a:pt x="3340" y="757"/>
                    <a:pt x="5577" y="757"/>
                  </a:cubicBezTo>
                  <a:close/>
                  <a:moveTo>
                    <a:pt x="1482" y="5955"/>
                  </a:moveTo>
                  <a:lnTo>
                    <a:pt x="1482" y="7467"/>
                  </a:lnTo>
                  <a:cubicBezTo>
                    <a:pt x="1103" y="7467"/>
                    <a:pt x="725" y="7152"/>
                    <a:pt x="725" y="6711"/>
                  </a:cubicBezTo>
                  <a:cubicBezTo>
                    <a:pt x="725" y="6302"/>
                    <a:pt x="1103" y="5955"/>
                    <a:pt x="1482" y="5955"/>
                  </a:cubicBezTo>
                  <a:close/>
                  <a:moveTo>
                    <a:pt x="9704" y="5955"/>
                  </a:moveTo>
                  <a:cubicBezTo>
                    <a:pt x="10114" y="5955"/>
                    <a:pt x="10460" y="6302"/>
                    <a:pt x="10460" y="6711"/>
                  </a:cubicBezTo>
                  <a:cubicBezTo>
                    <a:pt x="10460" y="7089"/>
                    <a:pt x="10145" y="7467"/>
                    <a:pt x="9704" y="7467"/>
                  </a:cubicBezTo>
                  <a:lnTo>
                    <a:pt x="9704" y="5955"/>
                  </a:lnTo>
                  <a:close/>
                  <a:moveTo>
                    <a:pt x="9011" y="5955"/>
                  </a:moveTo>
                  <a:cubicBezTo>
                    <a:pt x="8980" y="6270"/>
                    <a:pt x="8980" y="8318"/>
                    <a:pt x="8980" y="8633"/>
                  </a:cubicBezTo>
                  <a:cubicBezTo>
                    <a:pt x="8980" y="10492"/>
                    <a:pt x="7467" y="11973"/>
                    <a:pt x="5609" y="11973"/>
                  </a:cubicBezTo>
                  <a:cubicBezTo>
                    <a:pt x="3781" y="11973"/>
                    <a:pt x="2269" y="10492"/>
                    <a:pt x="2269" y="8633"/>
                  </a:cubicBezTo>
                  <a:lnTo>
                    <a:pt x="2269" y="5955"/>
                  </a:lnTo>
                  <a:close/>
                  <a:moveTo>
                    <a:pt x="5577" y="1"/>
                  </a:moveTo>
                  <a:cubicBezTo>
                    <a:pt x="2899" y="1"/>
                    <a:pt x="725" y="2175"/>
                    <a:pt x="725" y="4853"/>
                  </a:cubicBezTo>
                  <a:lnTo>
                    <a:pt x="725" y="5451"/>
                  </a:lnTo>
                  <a:cubicBezTo>
                    <a:pt x="316" y="5703"/>
                    <a:pt x="1" y="6207"/>
                    <a:pt x="1" y="6743"/>
                  </a:cubicBezTo>
                  <a:cubicBezTo>
                    <a:pt x="1" y="7562"/>
                    <a:pt x="662" y="8255"/>
                    <a:pt x="1482" y="8255"/>
                  </a:cubicBezTo>
                  <a:lnTo>
                    <a:pt x="1482" y="8665"/>
                  </a:lnTo>
                  <a:cubicBezTo>
                    <a:pt x="1482" y="10933"/>
                    <a:pt x="3340" y="12760"/>
                    <a:pt x="5577" y="12760"/>
                  </a:cubicBezTo>
                  <a:cubicBezTo>
                    <a:pt x="7814" y="12760"/>
                    <a:pt x="9673" y="10933"/>
                    <a:pt x="9673" y="8665"/>
                  </a:cubicBezTo>
                  <a:lnTo>
                    <a:pt x="9673" y="8255"/>
                  </a:lnTo>
                  <a:cubicBezTo>
                    <a:pt x="10492" y="8255"/>
                    <a:pt x="11185" y="7562"/>
                    <a:pt x="11185" y="6743"/>
                  </a:cubicBezTo>
                  <a:cubicBezTo>
                    <a:pt x="11185" y="6459"/>
                    <a:pt x="11091" y="6239"/>
                    <a:pt x="10965" y="5987"/>
                  </a:cubicBezTo>
                  <a:lnTo>
                    <a:pt x="12351" y="5987"/>
                  </a:lnTo>
                  <a:cubicBezTo>
                    <a:pt x="12540" y="5987"/>
                    <a:pt x="12697" y="5829"/>
                    <a:pt x="12697" y="5640"/>
                  </a:cubicBezTo>
                  <a:cubicBezTo>
                    <a:pt x="12760" y="5420"/>
                    <a:pt x="12540" y="5199"/>
                    <a:pt x="12351" y="5199"/>
                  </a:cubicBezTo>
                  <a:lnTo>
                    <a:pt x="10429" y="5199"/>
                  </a:lnTo>
                  <a:lnTo>
                    <a:pt x="10429" y="4853"/>
                  </a:lnTo>
                  <a:cubicBezTo>
                    <a:pt x="10429" y="2175"/>
                    <a:pt x="8255" y="1"/>
                    <a:pt x="5577"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10450" name="Google Shape;10450;p112"/>
          <p:cNvGrpSpPr/>
          <p:nvPr/>
        </p:nvGrpSpPr>
        <p:grpSpPr>
          <a:xfrm>
            <a:off x="9424408" y="3278703"/>
            <a:ext cx="482625" cy="481453"/>
            <a:chOff x="-56010050" y="2686975"/>
            <a:chExt cx="319000" cy="318225"/>
          </a:xfrm>
        </p:grpSpPr>
        <p:sp>
          <p:nvSpPr>
            <p:cNvPr id="10451" name="Google Shape;10451;p112"/>
            <p:cNvSpPr/>
            <p:nvPr/>
          </p:nvSpPr>
          <p:spPr>
            <a:xfrm>
              <a:off x="-55887975" y="2917925"/>
              <a:ext cx="72475" cy="29775"/>
            </a:xfrm>
            <a:custGeom>
              <a:avLst/>
              <a:gdLst/>
              <a:ahLst/>
              <a:cxnLst/>
              <a:rect l="l" t="t" r="r" b="b"/>
              <a:pathLst>
                <a:path w="2899" h="1191" extrusionOk="0">
                  <a:moveTo>
                    <a:pt x="398" y="1"/>
                  </a:moveTo>
                  <a:cubicBezTo>
                    <a:pt x="308" y="1"/>
                    <a:pt x="221" y="40"/>
                    <a:pt x="158" y="119"/>
                  </a:cubicBezTo>
                  <a:cubicBezTo>
                    <a:pt x="1" y="277"/>
                    <a:pt x="1" y="529"/>
                    <a:pt x="158" y="655"/>
                  </a:cubicBezTo>
                  <a:cubicBezTo>
                    <a:pt x="505" y="1001"/>
                    <a:pt x="977" y="1190"/>
                    <a:pt x="1450" y="1190"/>
                  </a:cubicBezTo>
                  <a:cubicBezTo>
                    <a:pt x="1922" y="1190"/>
                    <a:pt x="2426" y="1001"/>
                    <a:pt x="2742" y="655"/>
                  </a:cubicBezTo>
                  <a:cubicBezTo>
                    <a:pt x="2899" y="497"/>
                    <a:pt x="2899" y="245"/>
                    <a:pt x="2742" y="119"/>
                  </a:cubicBezTo>
                  <a:cubicBezTo>
                    <a:pt x="2694" y="72"/>
                    <a:pt x="2608" y="48"/>
                    <a:pt x="2513" y="48"/>
                  </a:cubicBezTo>
                  <a:cubicBezTo>
                    <a:pt x="2419" y="48"/>
                    <a:pt x="2316" y="72"/>
                    <a:pt x="2237" y="119"/>
                  </a:cubicBezTo>
                  <a:cubicBezTo>
                    <a:pt x="2048" y="340"/>
                    <a:pt x="1733" y="434"/>
                    <a:pt x="1450" y="434"/>
                  </a:cubicBezTo>
                  <a:cubicBezTo>
                    <a:pt x="1135" y="434"/>
                    <a:pt x="851" y="340"/>
                    <a:pt x="662" y="119"/>
                  </a:cubicBezTo>
                  <a:cubicBezTo>
                    <a:pt x="583" y="40"/>
                    <a:pt x="489" y="1"/>
                    <a:pt x="398"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452" name="Google Shape;10452;p112"/>
            <p:cNvSpPr/>
            <p:nvPr/>
          </p:nvSpPr>
          <p:spPr>
            <a:xfrm>
              <a:off x="-55897425" y="2854725"/>
              <a:ext cx="17350" cy="18150"/>
            </a:xfrm>
            <a:custGeom>
              <a:avLst/>
              <a:gdLst/>
              <a:ahLst/>
              <a:cxnLst/>
              <a:rect l="l" t="t" r="r" b="b"/>
              <a:pathLst>
                <a:path w="694" h="726" extrusionOk="0">
                  <a:moveTo>
                    <a:pt x="347" y="1"/>
                  </a:moveTo>
                  <a:cubicBezTo>
                    <a:pt x="158" y="1"/>
                    <a:pt x="1" y="190"/>
                    <a:pt x="1" y="379"/>
                  </a:cubicBezTo>
                  <a:cubicBezTo>
                    <a:pt x="1" y="568"/>
                    <a:pt x="158" y="725"/>
                    <a:pt x="347" y="725"/>
                  </a:cubicBezTo>
                  <a:cubicBezTo>
                    <a:pt x="536" y="725"/>
                    <a:pt x="694" y="568"/>
                    <a:pt x="694" y="379"/>
                  </a:cubicBezTo>
                  <a:cubicBezTo>
                    <a:pt x="694" y="190"/>
                    <a:pt x="536" y="1"/>
                    <a:pt x="347"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453" name="Google Shape;10453;p112"/>
            <p:cNvSpPr/>
            <p:nvPr/>
          </p:nvSpPr>
          <p:spPr>
            <a:xfrm>
              <a:off x="-55822600" y="2854725"/>
              <a:ext cx="17350" cy="18150"/>
            </a:xfrm>
            <a:custGeom>
              <a:avLst/>
              <a:gdLst/>
              <a:ahLst/>
              <a:cxnLst/>
              <a:rect l="l" t="t" r="r" b="b"/>
              <a:pathLst>
                <a:path w="694" h="726" extrusionOk="0">
                  <a:moveTo>
                    <a:pt x="347" y="1"/>
                  </a:moveTo>
                  <a:cubicBezTo>
                    <a:pt x="158" y="1"/>
                    <a:pt x="0" y="190"/>
                    <a:pt x="0" y="379"/>
                  </a:cubicBezTo>
                  <a:cubicBezTo>
                    <a:pt x="0" y="568"/>
                    <a:pt x="158" y="725"/>
                    <a:pt x="347" y="725"/>
                  </a:cubicBezTo>
                  <a:cubicBezTo>
                    <a:pt x="536" y="725"/>
                    <a:pt x="694" y="568"/>
                    <a:pt x="694" y="379"/>
                  </a:cubicBezTo>
                  <a:cubicBezTo>
                    <a:pt x="694" y="190"/>
                    <a:pt x="536" y="1"/>
                    <a:pt x="347"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454" name="Google Shape;10454;p112"/>
            <p:cNvSpPr/>
            <p:nvPr/>
          </p:nvSpPr>
          <p:spPr>
            <a:xfrm>
              <a:off x="-56010050" y="2686975"/>
              <a:ext cx="319000" cy="318225"/>
            </a:xfrm>
            <a:custGeom>
              <a:avLst/>
              <a:gdLst/>
              <a:ahLst/>
              <a:cxnLst/>
              <a:rect l="l" t="t" r="r" b="b"/>
              <a:pathLst>
                <a:path w="12760" h="12729" extrusionOk="0">
                  <a:moveTo>
                    <a:pt x="2962" y="756"/>
                  </a:moveTo>
                  <a:cubicBezTo>
                    <a:pt x="3686" y="756"/>
                    <a:pt x="4285" y="1260"/>
                    <a:pt x="4443" y="1954"/>
                  </a:cubicBezTo>
                  <a:cubicBezTo>
                    <a:pt x="4096" y="2174"/>
                    <a:pt x="3749" y="2395"/>
                    <a:pt x="3434" y="2710"/>
                  </a:cubicBezTo>
                  <a:cubicBezTo>
                    <a:pt x="3119" y="3025"/>
                    <a:pt x="2867" y="3340"/>
                    <a:pt x="2678" y="3686"/>
                  </a:cubicBezTo>
                  <a:cubicBezTo>
                    <a:pt x="1954" y="3592"/>
                    <a:pt x="1450" y="2962"/>
                    <a:pt x="1450" y="2237"/>
                  </a:cubicBezTo>
                  <a:cubicBezTo>
                    <a:pt x="1450" y="1418"/>
                    <a:pt x="2111" y="756"/>
                    <a:pt x="2962" y="756"/>
                  </a:cubicBezTo>
                  <a:close/>
                  <a:moveTo>
                    <a:pt x="9735" y="756"/>
                  </a:moveTo>
                  <a:cubicBezTo>
                    <a:pt x="10554" y="756"/>
                    <a:pt x="11216" y="1418"/>
                    <a:pt x="11216" y="2237"/>
                  </a:cubicBezTo>
                  <a:cubicBezTo>
                    <a:pt x="11216" y="2993"/>
                    <a:pt x="10712" y="3592"/>
                    <a:pt x="9987" y="3686"/>
                  </a:cubicBezTo>
                  <a:cubicBezTo>
                    <a:pt x="9798" y="3340"/>
                    <a:pt x="9578" y="2993"/>
                    <a:pt x="9263" y="2710"/>
                  </a:cubicBezTo>
                  <a:cubicBezTo>
                    <a:pt x="8948" y="2395"/>
                    <a:pt x="8570" y="2174"/>
                    <a:pt x="8223" y="1954"/>
                  </a:cubicBezTo>
                  <a:cubicBezTo>
                    <a:pt x="8381" y="1260"/>
                    <a:pt x="8979" y="756"/>
                    <a:pt x="9735" y="756"/>
                  </a:cubicBezTo>
                  <a:close/>
                  <a:moveTo>
                    <a:pt x="5986" y="2237"/>
                  </a:moveTo>
                  <a:lnTo>
                    <a:pt x="5986" y="2584"/>
                  </a:lnTo>
                  <a:cubicBezTo>
                    <a:pt x="5986" y="4064"/>
                    <a:pt x="4789" y="5230"/>
                    <a:pt x="3340" y="5230"/>
                  </a:cubicBezTo>
                  <a:lnTo>
                    <a:pt x="2993" y="5230"/>
                  </a:lnTo>
                  <a:cubicBezTo>
                    <a:pt x="3151" y="3655"/>
                    <a:pt x="4411" y="2395"/>
                    <a:pt x="5986" y="2237"/>
                  </a:cubicBezTo>
                  <a:close/>
                  <a:moveTo>
                    <a:pt x="6742" y="2237"/>
                  </a:moveTo>
                  <a:cubicBezTo>
                    <a:pt x="8318" y="2395"/>
                    <a:pt x="9578" y="3655"/>
                    <a:pt x="9735" y="5230"/>
                  </a:cubicBezTo>
                  <a:lnTo>
                    <a:pt x="9357" y="5230"/>
                  </a:lnTo>
                  <a:cubicBezTo>
                    <a:pt x="7908" y="5230"/>
                    <a:pt x="6742" y="4064"/>
                    <a:pt x="6742" y="2584"/>
                  </a:cubicBezTo>
                  <a:lnTo>
                    <a:pt x="6742" y="2237"/>
                  </a:lnTo>
                  <a:close/>
                  <a:moveTo>
                    <a:pt x="2206" y="5986"/>
                  </a:moveTo>
                  <a:lnTo>
                    <a:pt x="2206" y="7467"/>
                  </a:lnTo>
                  <a:cubicBezTo>
                    <a:pt x="1796" y="7467"/>
                    <a:pt x="1450" y="7152"/>
                    <a:pt x="1450" y="6742"/>
                  </a:cubicBezTo>
                  <a:cubicBezTo>
                    <a:pt x="1450" y="6301"/>
                    <a:pt x="1796" y="5986"/>
                    <a:pt x="2206" y="5986"/>
                  </a:cubicBezTo>
                  <a:close/>
                  <a:moveTo>
                    <a:pt x="10460" y="5986"/>
                  </a:moveTo>
                  <a:cubicBezTo>
                    <a:pt x="10870" y="5986"/>
                    <a:pt x="11216" y="6301"/>
                    <a:pt x="11216" y="6742"/>
                  </a:cubicBezTo>
                  <a:cubicBezTo>
                    <a:pt x="11216" y="7120"/>
                    <a:pt x="10870" y="7467"/>
                    <a:pt x="10460" y="7467"/>
                  </a:cubicBezTo>
                  <a:lnTo>
                    <a:pt x="10460" y="5986"/>
                  </a:lnTo>
                  <a:close/>
                  <a:moveTo>
                    <a:pt x="1008" y="7624"/>
                  </a:moveTo>
                  <a:cubicBezTo>
                    <a:pt x="1292" y="8002"/>
                    <a:pt x="1733" y="8223"/>
                    <a:pt x="2206" y="8223"/>
                  </a:cubicBezTo>
                  <a:cubicBezTo>
                    <a:pt x="2206" y="8633"/>
                    <a:pt x="1891" y="8979"/>
                    <a:pt x="1450" y="8979"/>
                  </a:cubicBezTo>
                  <a:cubicBezTo>
                    <a:pt x="1071" y="8979"/>
                    <a:pt x="693" y="8664"/>
                    <a:pt x="693" y="8223"/>
                  </a:cubicBezTo>
                  <a:cubicBezTo>
                    <a:pt x="693" y="8002"/>
                    <a:pt x="819" y="7750"/>
                    <a:pt x="1008" y="7624"/>
                  </a:cubicBezTo>
                  <a:close/>
                  <a:moveTo>
                    <a:pt x="11657" y="7624"/>
                  </a:moveTo>
                  <a:cubicBezTo>
                    <a:pt x="11846" y="7782"/>
                    <a:pt x="11972" y="8002"/>
                    <a:pt x="11972" y="8223"/>
                  </a:cubicBezTo>
                  <a:cubicBezTo>
                    <a:pt x="11972" y="8633"/>
                    <a:pt x="11626" y="8979"/>
                    <a:pt x="11216" y="8979"/>
                  </a:cubicBezTo>
                  <a:cubicBezTo>
                    <a:pt x="10838" y="8979"/>
                    <a:pt x="10460" y="8664"/>
                    <a:pt x="10460" y="8223"/>
                  </a:cubicBezTo>
                  <a:cubicBezTo>
                    <a:pt x="10933" y="8223"/>
                    <a:pt x="11374" y="8002"/>
                    <a:pt x="11657" y="7624"/>
                  </a:cubicBezTo>
                  <a:close/>
                  <a:moveTo>
                    <a:pt x="6333" y="4127"/>
                  </a:moveTo>
                  <a:cubicBezTo>
                    <a:pt x="6490" y="4442"/>
                    <a:pt x="6679" y="4726"/>
                    <a:pt x="6963" y="5009"/>
                  </a:cubicBezTo>
                  <a:cubicBezTo>
                    <a:pt x="7593" y="5640"/>
                    <a:pt x="8475" y="5986"/>
                    <a:pt x="9357" y="5986"/>
                  </a:cubicBezTo>
                  <a:lnTo>
                    <a:pt x="9735" y="5986"/>
                  </a:lnTo>
                  <a:lnTo>
                    <a:pt x="9735" y="8570"/>
                  </a:lnTo>
                  <a:cubicBezTo>
                    <a:pt x="9735" y="10428"/>
                    <a:pt x="8192" y="11972"/>
                    <a:pt x="6333" y="11972"/>
                  </a:cubicBezTo>
                  <a:cubicBezTo>
                    <a:pt x="4474" y="11972"/>
                    <a:pt x="2962" y="10428"/>
                    <a:pt x="2962" y="8570"/>
                  </a:cubicBezTo>
                  <a:lnTo>
                    <a:pt x="2962" y="5986"/>
                  </a:lnTo>
                  <a:lnTo>
                    <a:pt x="3308" y="5986"/>
                  </a:lnTo>
                  <a:cubicBezTo>
                    <a:pt x="4222" y="5986"/>
                    <a:pt x="5041" y="5640"/>
                    <a:pt x="5703" y="5009"/>
                  </a:cubicBezTo>
                  <a:cubicBezTo>
                    <a:pt x="5955" y="4757"/>
                    <a:pt x="6175" y="4442"/>
                    <a:pt x="6333" y="4127"/>
                  </a:cubicBezTo>
                  <a:close/>
                  <a:moveTo>
                    <a:pt x="2962" y="0"/>
                  </a:moveTo>
                  <a:cubicBezTo>
                    <a:pt x="1733" y="0"/>
                    <a:pt x="693" y="977"/>
                    <a:pt x="693" y="2237"/>
                  </a:cubicBezTo>
                  <a:cubicBezTo>
                    <a:pt x="693" y="3277"/>
                    <a:pt x="1418" y="4159"/>
                    <a:pt x="2395" y="4411"/>
                  </a:cubicBezTo>
                  <a:cubicBezTo>
                    <a:pt x="2332" y="4694"/>
                    <a:pt x="2237" y="4946"/>
                    <a:pt x="2237" y="5230"/>
                  </a:cubicBezTo>
                  <a:cubicBezTo>
                    <a:pt x="1355" y="5230"/>
                    <a:pt x="630" y="6018"/>
                    <a:pt x="756" y="6931"/>
                  </a:cubicBezTo>
                  <a:cubicBezTo>
                    <a:pt x="284" y="7215"/>
                    <a:pt x="0" y="7687"/>
                    <a:pt x="0" y="8223"/>
                  </a:cubicBezTo>
                  <a:cubicBezTo>
                    <a:pt x="0" y="9042"/>
                    <a:pt x="662" y="9735"/>
                    <a:pt x="1513" y="9735"/>
                  </a:cubicBezTo>
                  <a:cubicBezTo>
                    <a:pt x="1828" y="9735"/>
                    <a:pt x="2080" y="9641"/>
                    <a:pt x="2332" y="9452"/>
                  </a:cubicBezTo>
                  <a:cubicBezTo>
                    <a:pt x="2710" y="11310"/>
                    <a:pt x="4379" y="12728"/>
                    <a:pt x="6396" y="12728"/>
                  </a:cubicBezTo>
                  <a:cubicBezTo>
                    <a:pt x="8381" y="12728"/>
                    <a:pt x="10050" y="11310"/>
                    <a:pt x="10428" y="9452"/>
                  </a:cubicBezTo>
                  <a:cubicBezTo>
                    <a:pt x="10680" y="9609"/>
                    <a:pt x="10964" y="9735"/>
                    <a:pt x="11279" y="9735"/>
                  </a:cubicBezTo>
                  <a:cubicBezTo>
                    <a:pt x="12098" y="9735"/>
                    <a:pt x="12760" y="9042"/>
                    <a:pt x="12760" y="8223"/>
                  </a:cubicBezTo>
                  <a:cubicBezTo>
                    <a:pt x="12728" y="7687"/>
                    <a:pt x="12413" y="7152"/>
                    <a:pt x="11941" y="6931"/>
                  </a:cubicBezTo>
                  <a:cubicBezTo>
                    <a:pt x="12035" y="6018"/>
                    <a:pt x="11342" y="5230"/>
                    <a:pt x="10428" y="5230"/>
                  </a:cubicBezTo>
                  <a:cubicBezTo>
                    <a:pt x="10397" y="4946"/>
                    <a:pt x="10365" y="4694"/>
                    <a:pt x="10271" y="4411"/>
                  </a:cubicBezTo>
                  <a:cubicBezTo>
                    <a:pt x="11248" y="4159"/>
                    <a:pt x="11972" y="3277"/>
                    <a:pt x="11972" y="2237"/>
                  </a:cubicBezTo>
                  <a:cubicBezTo>
                    <a:pt x="11972" y="1008"/>
                    <a:pt x="10996" y="0"/>
                    <a:pt x="9735" y="0"/>
                  </a:cubicBezTo>
                  <a:cubicBezTo>
                    <a:pt x="8664" y="0"/>
                    <a:pt x="7814" y="693"/>
                    <a:pt x="7530" y="1638"/>
                  </a:cubicBezTo>
                  <a:cubicBezTo>
                    <a:pt x="7120" y="1544"/>
                    <a:pt x="6742" y="1481"/>
                    <a:pt x="6333" y="1481"/>
                  </a:cubicBezTo>
                  <a:cubicBezTo>
                    <a:pt x="5955" y="1481"/>
                    <a:pt x="5514" y="1575"/>
                    <a:pt x="5167" y="1638"/>
                  </a:cubicBezTo>
                  <a:cubicBezTo>
                    <a:pt x="4915" y="693"/>
                    <a:pt x="4033" y="0"/>
                    <a:pt x="2962"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10455" name="Google Shape;10455;p112"/>
          <p:cNvGrpSpPr/>
          <p:nvPr/>
        </p:nvGrpSpPr>
        <p:grpSpPr>
          <a:xfrm>
            <a:off x="7671735" y="3882582"/>
            <a:ext cx="482664" cy="481453"/>
            <a:chOff x="-54081175" y="1903275"/>
            <a:chExt cx="319025" cy="318225"/>
          </a:xfrm>
        </p:grpSpPr>
        <p:sp>
          <p:nvSpPr>
            <p:cNvPr id="10456" name="Google Shape;10456;p112"/>
            <p:cNvSpPr/>
            <p:nvPr/>
          </p:nvSpPr>
          <p:spPr>
            <a:xfrm>
              <a:off x="-53959075" y="2135825"/>
              <a:ext cx="72475" cy="28975"/>
            </a:xfrm>
            <a:custGeom>
              <a:avLst/>
              <a:gdLst/>
              <a:ahLst/>
              <a:cxnLst/>
              <a:rect l="l" t="t" r="r" b="b"/>
              <a:pathLst>
                <a:path w="2899" h="1159" extrusionOk="0">
                  <a:moveTo>
                    <a:pt x="386" y="1"/>
                  </a:moveTo>
                  <a:cubicBezTo>
                    <a:pt x="292" y="1"/>
                    <a:pt x="205" y="40"/>
                    <a:pt x="158" y="119"/>
                  </a:cubicBezTo>
                  <a:cubicBezTo>
                    <a:pt x="0" y="276"/>
                    <a:pt x="0" y="497"/>
                    <a:pt x="158" y="623"/>
                  </a:cubicBezTo>
                  <a:cubicBezTo>
                    <a:pt x="504" y="970"/>
                    <a:pt x="977" y="1159"/>
                    <a:pt x="1449" y="1159"/>
                  </a:cubicBezTo>
                  <a:cubicBezTo>
                    <a:pt x="1922" y="1159"/>
                    <a:pt x="2426" y="970"/>
                    <a:pt x="2741" y="623"/>
                  </a:cubicBezTo>
                  <a:cubicBezTo>
                    <a:pt x="2899" y="465"/>
                    <a:pt x="2899" y="213"/>
                    <a:pt x="2741" y="119"/>
                  </a:cubicBezTo>
                  <a:cubicBezTo>
                    <a:pt x="2678" y="40"/>
                    <a:pt x="2592" y="1"/>
                    <a:pt x="2501" y="1"/>
                  </a:cubicBezTo>
                  <a:cubicBezTo>
                    <a:pt x="2410" y="1"/>
                    <a:pt x="2316" y="40"/>
                    <a:pt x="2237" y="119"/>
                  </a:cubicBezTo>
                  <a:cubicBezTo>
                    <a:pt x="2048" y="308"/>
                    <a:pt x="1733" y="434"/>
                    <a:pt x="1449" y="434"/>
                  </a:cubicBezTo>
                  <a:cubicBezTo>
                    <a:pt x="1134" y="434"/>
                    <a:pt x="851" y="308"/>
                    <a:pt x="662" y="119"/>
                  </a:cubicBezTo>
                  <a:cubicBezTo>
                    <a:pt x="583" y="40"/>
                    <a:pt x="481" y="1"/>
                    <a:pt x="386"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457" name="Google Shape;10457;p112"/>
            <p:cNvSpPr/>
            <p:nvPr/>
          </p:nvSpPr>
          <p:spPr>
            <a:xfrm>
              <a:off x="-54081175" y="1903275"/>
              <a:ext cx="319025" cy="318225"/>
            </a:xfrm>
            <a:custGeom>
              <a:avLst/>
              <a:gdLst/>
              <a:ahLst/>
              <a:cxnLst/>
              <a:rect l="l" t="t" r="r" b="b"/>
              <a:pathLst>
                <a:path w="12761" h="12729" extrusionOk="0">
                  <a:moveTo>
                    <a:pt x="6365" y="757"/>
                  </a:moveTo>
                  <a:cubicBezTo>
                    <a:pt x="7594" y="757"/>
                    <a:pt x="8728" y="1324"/>
                    <a:pt x="9515" y="2238"/>
                  </a:cubicBezTo>
                  <a:lnTo>
                    <a:pt x="8570" y="2238"/>
                  </a:lnTo>
                  <a:cubicBezTo>
                    <a:pt x="7436" y="2238"/>
                    <a:pt x="6396" y="1702"/>
                    <a:pt x="5829" y="789"/>
                  </a:cubicBezTo>
                  <a:cubicBezTo>
                    <a:pt x="5987" y="757"/>
                    <a:pt x="6176" y="757"/>
                    <a:pt x="6365" y="757"/>
                  </a:cubicBezTo>
                  <a:close/>
                  <a:moveTo>
                    <a:pt x="5042" y="946"/>
                  </a:moveTo>
                  <a:cubicBezTo>
                    <a:pt x="5357" y="1482"/>
                    <a:pt x="5829" y="1954"/>
                    <a:pt x="6365" y="2332"/>
                  </a:cubicBezTo>
                  <a:cubicBezTo>
                    <a:pt x="7027" y="2742"/>
                    <a:pt x="7783" y="2962"/>
                    <a:pt x="8570" y="2962"/>
                  </a:cubicBezTo>
                  <a:lnTo>
                    <a:pt x="9988" y="2962"/>
                  </a:lnTo>
                  <a:cubicBezTo>
                    <a:pt x="10272" y="3498"/>
                    <a:pt x="10461" y="4160"/>
                    <a:pt x="10461" y="4853"/>
                  </a:cubicBezTo>
                  <a:lnTo>
                    <a:pt x="10461" y="5199"/>
                  </a:lnTo>
                  <a:lnTo>
                    <a:pt x="10429" y="5199"/>
                  </a:lnTo>
                  <a:cubicBezTo>
                    <a:pt x="10272" y="4380"/>
                    <a:pt x="9484" y="3687"/>
                    <a:pt x="8570" y="3687"/>
                  </a:cubicBezTo>
                  <a:cubicBezTo>
                    <a:pt x="7657" y="3687"/>
                    <a:pt x="6932" y="4317"/>
                    <a:pt x="6775" y="5199"/>
                  </a:cubicBezTo>
                  <a:lnTo>
                    <a:pt x="5924" y="5199"/>
                  </a:lnTo>
                  <a:cubicBezTo>
                    <a:pt x="5766" y="4317"/>
                    <a:pt x="4979" y="3687"/>
                    <a:pt x="4128" y="3687"/>
                  </a:cubicBezTo>
                  <a:cubicBezTo>
                    <a:pt x="3214" y="3687"/>
                    <a:pt x="2427" y="4380"/>
                    <a:pt x="2269" y="5199"/>
                  </a:cubicBezTo>
                  <a:lnTo>
                    <a:pt x="2238" y="5199"/>
                  </a:lnTo>
                  <a:lnTo>
                    <a:pt x="2238" y="4853"/>
                  </a:lnTo>
                  <a:cubicBezTo>
                    <a:pt x="2206" y="3025"/>
                    <a:pt x="3372" y="1482"/>
                    <a:pt x="5042" y="946"/>
                  </a:cubicBezTo>
                  <a:close/>
                  <a:moveTo>
                    <a:pt x="1450" y="5231"/>
                  </a:moveTo>
                  <a:lnTo>
                    <a:pt x="1450" y="6711"/>
                  </a:lnTo>
                  <a:cubicBezTo>
                    <a:pt x="1431" y="6713"/>
                    <a:pt x="1413" y="6714"/>
                    <a:pt x="1394" y="6714"/>
                  </a:cubicBezTo>
                  <a:cubicBezTo>
                    <a:pt x="1009" y="6714"/>
                    <a:pt x="694" y="6408"/>
                    <a:pt x="694" y="5987"/>
                  </a:cubicBezTo>
                  <a:cubicBezTo>
                    <a:pt x="694" y="5577"/>
                    <a:pt x="1009" y="5231"/>
                    <a:pt x="1450" y="5231"/>
                  </a:cubicBezTo>
                  <a:close/>
                  <a:moveTo>
                    <a:pt x="4097" y="4538"/>
                  </a:moveTo>
                  <a:cubicBezTo>
                    <a:pt x="4727" y="4538"/>
                    <a:pt x="5199" y="5042"/>
                    <a:pt x="5199" y="5640"/>
                  </a:cubicBezTo>
                  <a:cubicBezTo>
                    <a:pt x="5199" y="6270"/>
                    <a:pt x="4664" y="6743"/>
                    <a:pt x="4097" y="6743"/>
                  </a:cubicBezTo>
                  <a:cubicBezTo>
                    <a:pt x="3467" y="6743"/>
                    <a:pt x="2931" y="6207"/>
                    <a:pt x="2931" y="5640"/>
                  </a:cubicBezTo>
                  <a:cubicBezTo>
                    <a:pt x="2931" y="5042"/>
                    <a:pt x="3467" y="4538"/>
                    <a:pt x="4097" y="4538"/>
                  </a:cubicBezTo>
                  <a:close/>
                  <a:moveTo>
                    <a:pt x="8539" y="4538"/>
                  </a:moveTo>
                  <a:cubicBezTo>
                    <a:pt x="9169" y="4538"/>
                    <a:pt x="9673" y="5042"/>
                    <a:pt x="9673" y="5640"/>
                  </a:cubicBezTo>
                  <a:cubicBezTo>
                    <a:pt x="9673" y="6207"/>
                    <a:pt x="9169" y="6743"/>
                    <a:pt x="8539" y="6743"/>
                  </a:cubicBezTo>
                  <a:cubicBezTo>
                    <a:pt x="7940" y="6743"/>
                    <a:pt x="7436" y="6207"/>
                    <a:pt x="7436" y="5640"/>
                  </a:cubicBezTo>
                  <a:cubicBezTo>
                    <a:pt x="7436" y="5010"/>
                    <a:pt x="7940" y="4538"/>
                    <a:pt x="8539" y="4538"/>
                  </a:cubicBezTo>
                  <a:close/>
                  <a:moveTo>
                    <a:pt x="11217" y="5231"/>
                  </a:moveTo>
                  <a:cubicBezTo>
                    <a:pt x="11595" y="5231"/>
                    <a:pt x="11973" y="5577"/>
                    <a:pt x="11973" y="5987"/>
                  </a:cubicBezTo>
                  <a:cubicBezTo>
                    <a:pt x="11973" y="6428"/>
                    <a:pt x="11595" y="6743"/>
                    <a:pt x="11217" y="6743"/>
                  </a:cubicBezTo>
                  <a:lnTo>
                    <a:pt x="11217" y="5231"/>
                  </a:lnTo>
                  <a:close/>
                  <a:moveTo>
                    <a:pt x="10461" y="5987"/>
                  </a:moveTo>
                  <a:lnTo>
                    <a:pt x="10461" y="7877"/>
                  </a:lnTo>
                  <a:lnTo>
                    <a:pt x="10461" y="8224"/>
                  </a:lnTo>
                  <a:lnTo>
                    <a:pt x="8696" y="8224"/>
                  </a:lnTo>
                  <a:cubicBezTo>
                    <a:pt x="7972" y="7767"/>
                    <a:pt x="7153" y="7538"/>
                    <a:pt x="6337" y="7538"/>
                  </a:cubicBezTo>
                  <a:cubicBezTo>
                    <a:pt x="5522" y="7538"/>
                    <a:pt x="4711" y="7767"/>
                    <a:pt x="4002" y="8224"/>
                  </a:cubicBezTo>
                  <a:lnTo>
                    <a:pt x="2238" y="8224"/>
                  </a:lnTo>
                  <a:lnTo>
                    <a:pt x="2238" y="7877"/>
                  </a:lnTo>
                  <a:lnTo>
                    <a:pt x="2238" y="5987"/>
                  </a:lnTo>
                  <a:lnTo>
                    <a:pt x="2269" y="5987"/>
                  </a:lnTo>
                  <a:cubicBezTo>
                    <a:pt x="2427" y="6806"/>
                    <a:pt x="3214" y="7468"/>
                    <a:pt x="4128" y="7468"/>
                  </a:cubicBezTo>
                  <a:cubicBezTo>
                    <a:pt x="5042" y="7468"/>
                    <a:pt x="5766" y="6837"/>
                    <a:pt x="5955" y="5987"/>
                  </a:cubicBezTo>
                  <a:lnTo>
                    <a:pt x="6775" y="5987"/>
                  </a:lnTo>
                  <a:cubicBezTo>
                    <a:pt x="6932" y="6837"/>
                    <a:pt x="7720" y="7468"/>
                    <a:pt x="8570" y="7468"/>
                  </a:cubicBezTo>
                  <a:cubicBezTo>
                    <a:pt x="9106" y="7468"/>
                    <a:pt x="9578" y="7279"/>
                    <a:pt x="9925" y="6932"/>
                  </a:cubicBezTo>
                  <a:cubicBezTo>
                    <a:pt x="10209" y="6648"/>
                    <a:pt x="10366" y="6333"/>
                    <a:pt x="10429" y="5987"/>
                  </a:cubicBezTo>
                  <a:close/>
                  <a:moveTo>
                    <a:pt x="6318" y="8271"/>
                  </a:moveTo>
                  <a:cubicBezTo>
                    <a:pt x="7027" y="8271"/>
                    <a:pt x="7735" y="8476"/>
                    <a:pt x="8350" y="8885"/>
                  </a:cubicBezTo>
                  <a:cubicBezTo>
                    <a:pt x="8413" y="8948"/>
                    <a:pt x="8444" y="8980"/>
                    <a:pt x="8539" y="8980"/>
                  </a:cubicBezTo>
                  <a:lnTo>
                    <a:pt x="10272" y="8980"/>
                  </a:lnTo>
                  <a:cubicBezTo>
                    <a:pt x="9799" y="10713"/>
                    <a:pt x="8224" y="11973"/>
                    <a:pt x="6333" y="11973"/>
                  </a:cubicBezTo>
                  <a:cubicBezTo>
                    <a:pt x="4443" y="11973"/>
                    <a:pt x="2868" y="10713"/>
                    <a:pt x="2364" y="8980"/>
                  </a:cubicBezTo>
                  <a:lnTo>
                    <a:pt x="4097" y="8980"/>
                  </a:lnTo>
                  <a:cubicBezTo>
                    <a:pt x="4160" y="8980"/>
                    <a:pt x="4254" y="8948"/>
                    <a:pt x="4286" y="8885"/>
                  </a:cubicBezTo>
                  <a:cubicBezTo>
                    <a:pt x="4900" y="8476"/>
                    <a:pt x="5609" y="8271"/>
                    <a:pt x="6318" y="8271"/>
                  </a:cubicBezTo>
                  <a:close/>
                  <a:moveTo>
                    <a:pt x="6333" y="1"/>
                  </a:moveTo>
                  <a:cubicBezTo>
                    <a:pt x="3782" y="1"/>
                    <a:pt x="1639" y="1986"/>
                    <a:pt x="1482" y="4475"/>
                  </a:cubicBezTo>
                  <a:cubicBezTo>
                    <a:pt x="663" y="4475"/>
                    <a:pt x="1" y="5168"/>
                    <a:pt x="1" y="5987"/>
                  </a:cubicBezTo>
                  <a:cubicBezTo>
                    <a:pt x="1" y="6806"/>
                    <a:pt x="663" y="7468"/>
                    <a:pt x="1482" y="7468"/>
                  </a:cubicBezTo>
                  <a:lnTo>
                    <a:pt x="1482" y="7877"/>
                  </a:lnTo>
                  <a:cubicBezTo>
                    <a:pt x="1482" y="10555"/>
                    <a:pt x="3656" y="12729"/>
                    <a:pt x="6365" y="12729"/>
                  </a:cubicBezTo>
                  <a:cubicBezTo>
                    <a:pt x="9043" y="12729"/>
                    <a:pt x="11248" y="10555"/>
                    <a:pt x="11248" y="7877"/>
                  </a:cubicBezTo>
                  <a:lnTo>
                    <a:pt x="11248" y="7468"/>
                  </a:lnTo>
                  <a:cubicBezTo>
                    <a:pt x="12067" y="7468"/>
                    <a:pt x="12760" y="6806"/>
                    <a:pt x="12760" y="5987"/>
                  </a:cubicBezTo>
                  <a:cubicBezTo>
                    <a:pt x="12697" y="5168"/>
                    <a:pt x="12036" y="4475"/>
                    <a:pt x="11217" y="4475"/>
                  </a:cubicBezTo>
                  <a:cubicBezTo>
                    <a:pt x="11028" y="1954"/>
                    <a:pt x="8885" y="1"/>
                    <a:pt x="6333"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10458" name="Google Shape;10458;p112"/>
          <p:cNvGrpSpPr/>
          <p:nvPr/>
        </p:nvGrpSpPr>
        <p:grpSpPr>
          <a:xfrm>
            <a:off x="7701539" y="4487200"/>
            <a:ext cx="423053" cy="480281"/>
            <a:chOff x="-54063050" y="2296300"/>
            <a:chExt cx="279625" cy="317450"/>
          </a:xfrm>
        </p:grpSpPr>
        <p:sp>
          <p:nvSpPr>
            <p:cNvPr id="10459" name="Google Shape;10459;p112"/>
            <p:cNvSpPr/>
            <p:nvPr/>
          </p:nvSpPr>
          <p:spPr>
            <a:xfrm>
              <a:off x="-53959075" y="2527275"/>
              <a:ext cx="72475" cy="29750"/>
            </a:xfrm>
            <a:custGeom>
              <a:avLst/>
              <a:gdLst/>
              <a:ahLst/>
              <a:cxnLst/>
              <a:rect l="l" t="t" r="r" b="b"/>
              <a:pathLst>
                <a:path w="2899" h="1190" extrusionOk="0">
                  <a:moveTo>
                    <a:pt x="386" y="1"/>
                  </a:moveTo>
                  <a:cubicBezTo>
                    <a:pt x="292" y="1"/>
                    <a:pt x="205" y="40"/>
                    <a:pt x="158" y="119"/>
                  </a:cubicBezTo>
                  <a:cubicBezTo>
                    <a:pt x="0" y="276"/>
                    <a:pt x="0" y="528"/>
                    <a:pt x="158" y="623"/>
                  </a:cubicBezTo>
                  <a:cubicBezTo>
                    <a:pt x="504" y="1001"/>
                    <a:pt x="977" y="1190"/>
                    <a:pt x="1449" y="1190"/>
                  </a:cubicBezTo>
                  <a:cubicBezTo>
                    <a:pt x="1922" y="1190"/>
                    <a:pt x="2426" y="1001"/>
                    <a:pt x="2741" y="623"/>
                  </a:cubicBezTo>
                  <a:cubicBezTo>
                    <a:pt x="2899" y="465"/>
                    <a:pt x="2899" y="245"/>
                    <a:pt x="2741" y="119"/>
                  </a:cubicBezTo>
                  <a:cubicBezTo>
                    <a:pt x="2678" y="40"/>
                    <a:pt x="2592" y="1"/>
                    <a:pt x="2501" y="1"/>
                  </a:cubicBezTo>
                  <a:cubicBezTo>
                    <a:pt x="2410" y="1"/>
                    <a:pt x="2316" y="40"/>
                    <a:pt x="2237" y="119"/>
                  </a:cubicBezTo>
                  <a:cubicBezTo>
                    <a:pt x="2048" y="308"/>
                    <a:pt x="1733" y="434"/>
                    <a:pt x="1449" y="434"/>
                  </a:cubicBezTo>
                  <a:cubicBezTo>
                    <a:pt x="1134" y="434"/>
                    <a:pt x="851" y="308"/>
                    <a:pt x="662" y="119"/>
                  </a:cubicBezTo>
                  <a:cubicBezTo>
                    <a:pt x="583" y="40"/>
                    <a:pt x="481" y="1"/>
                    <a:pt x="386"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460" name="Google Shape;10460;p112"/>
            <p:cNvSpPr/>
            <p:nvPr/>
          </p:nvSpPr>
          <p:spPr>
            <a:xfrm>
              <a:off x="-53969325" y="2482975"/>
              <a:ext cx="18150" cy="17350"/>
            </a:xfrm>
            <a:custGeom>
              <a:avLst/>
              <a:gdLst/>
              <a:ahLst/>
              <a:cxnLst/>
              <a:rect l="l" t="t" r="r" b="b"/>
              <a:pathLst>
                <a:path w="726" h="694" extrusionOk="0">
                  <a:moveTo>
                    <a:pt x="347" y="0"/>
                  </a:moveTo>
                  <a:cubicBezTo>
                    <a:pt x="158" y="0"/>
                    <a:pt x="1" y="158"/>
                    <a:pt x="1" y="347"/>
                  </a:cubicBezTo>
                  <a:cubicBezTo>
                    <a:pt x="1" y="536"/>
                    <a:pt x="158" y="694"/>
                    <a:pt x="347" y="694"/>
                  </a:cubicBezTo>
                  <a:cubicBezTo>
                    <a:pt x="568" y="694"/>
                    <a:pt x="725" y="536"/>
                    <a:pt x="725" y="347"/>
                  </a:cubicBezTo>
                  <a:cubicBezTo>
                    <a:pt x="725" y="158"/>
                    <a:pt x="568" y="0"/>
                    <a:pt x="347"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461" name="Google Shape;10461;p112"/>
            <p:cNvSpPr/>
            <p:nvPr/>
          </p:nvSpPr>
          <p:spPr>
            <a:xfrm>
              <a:off x="-53894500" y="2482975"/>
              <a:ext cx="18125" cy="17350"/>
            </a:xfrm>
            <a:custGeom>
              <a:avLst/>
              <a:gdLst/>
              <a:ahLst/>
              <a:cxnLst/>
              <a:rect l="l" t="t" r="r" b="b"/>
              <a:pathLst>
                <a:path w="725" h="694" extrusionOk="0">
                  <a:moveTo>
                    <a:pt x="379" y="0"/>
                  </a:moveTo>
                  <a:cubicBezTo>
                    <a:pt x="158" y="0"/>
                    <a:pt x="1" y="158"/>
                    <a:pt x="1" y="347"/>
                  </a:cubicBezTo>
                  <a:cubicBezTo>
                    <a:pt x="1" y="536"/>
                    <a:pt x="158" y="694"/>
                    <a:pt x="379" y="694"/>
                  </a:cubicBezTo>
                  <a:cubicBezTo>
                    <a:pt x="568" y="694"/>
                    <a:pt x="725" y="536"/>
                    <a:pt x="725" y="347"/>
                  </a:cubicBezTo>
                  <a:cubicBezTo>
                    <a:pt x="725" y="158"/>
                    <a:pt x="568" y="0"/>
                    <a:pt x="379"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462" name="Google Shape;10462;p112"/>
            <p:cNvSpPr/>
            <p:nvPr/>
          </p:nvSpPr>
          <p:spPr>
            <a:xfrm>
              <a:off x="-54063050" y="2296300"/>
              <a:ext cx="279625" cy="317450"/>
            </a:xfrm>
            <a:custGeom>
              <a:avLst/>
              <a:gdLst/>
              <a:ahLst/>
              <a:cxnLst/>
              <a:rect l="l" t="t" r="r" b="b"/>
              <a:pathLst>
                <a:path w="11185" h="12698" extrusionOk="0">
                  <a:moveTo>
                    <a:pt x="5640" y="694"/>
                  </a:moveTo>
                  <a:cubicBezTo>
                    <a:pt x="7026" y="694"/>
                    <a:pt x="8286" y="883"/>
                    <a:pt x="9232" y="1198"/>
                  </a:cubicBezTo>
                  <a:cubicBezTo>
                    <a:pt x="10177" y="1576"/>
                    <a:pt x="10523" y="1923"/>
                    <a:pt x="10523" y="2206"/>
                  </a:cubicBezTo>
                  <a:cubicBezTo>
                    <a:pt x="10523" y="2427"/>
                    <a:pt x="10114" y="2647"/>
                    <a:pt x="9358" y="2931"/>
                  </a:cubicBezTo>
                  <a:lnTo>
                    <a:pt x="2017" y="2931"/>
                  </a:lnTo>
                  <a:cubicBezTo>
                    <a:pt x="1198" y="2679"/>
                    <a:pt x="757" y="2427"/>
                    <a:pt x="757" y="2206"/>
                  </a:cubicBezTo>
                  <a:cubicBezTo>
                    <a:pt x="757" y="1954"/>
                    <a:pt x="1103" y="1576"/>
                    <a:pt x="2048" y="1198"/>
                  </a:cubicBezTo>
                  <a:cubicBezTo>
                    <a:pt x="2994" y="851"/>
                    <a:pt x="4254" y="694"/>
                    <a:pt x="5640" y="694"/>
                  </a:cubicBezTo>
                  <a:close/>
                  <a:moveTo>
                    <a:pt x="8948" y="3687"/>
                  </a:moveTo>
                  <a:lnTo>
                    <a:pt x="8948" y="4475"/>
                  </a:lnTo>
                  <a:lnTo>
                    <a:pt x="2206" y="4475"/>
                  </a:lnTo>
                  <a:lnTo>
                    <a:pt x="2206" y="3687"/>
                  </a:lnTo>
                  <a:close/>
                  <a:moveTo>
                    <a:pt x="8633" y="5231"/>
                  </a:moveTo>
                  <a:cubicBezTo>
                    <a:pt x="8192" y="5703"/>
                    <a:pt x="7562" y="5987"/>
                    <a:pt x="6932" y="5987"/>
                  </a:cubicBezTo>
                  <a:lnTo>
                    <a:pt x="4317" y="5987"/>
                  </a:lnTo>
                  <a:cubicBezTo>
                    <a:pt x="3624" y="5987"/>
                    <a:pt x="3057" y="5703"/>
                    <a:pt x="2615" y="5231"/>
                  </a:cubicBezTo>
                  <a:close/>
                  <a:moveTo>
                    <a:pt x="9704" y="6680"/>
                  </a:moveTo>
                  <a:cubicBezTo>
                    <a:pt x="10082" y="6680"/>
                    <a:pt x="10460" y="6995"/>
                    <a:pt x="10460" y="7436"/>
                  </a:cubicBezTo>
                  <a:cubicBezTo>
                    <a:pt x="10460" y="7877"/>
                    <a:pt x="10145" y="8192"/>
                    <a:pt x="9704" y="8192"/>
                  </a:cubicBezTo>
                  <a:lnTo>
                    <a:pt x="9704" y="6680"/>
                  </a:lnTo>
                  <a:close/>
                  <a:moveTo>
                    <a:pt x="1513" y="6711"/>
                  </a:moveTo>
                  <a:lnTo>
                    <a:pt x="1513" y="8224"/>
                  </a:lnTo>
                  <a:cubicBezTo>
                    <a:pt x="1072" y="8192"/>
                    <a:pt x="757" y="7877"/>
                    <a:pt x="757" y="7467"/>
                  </a:cubicBezTo>
                  <a:cubicBezTo>
                    <a:pt x="757" y="7089"/>
                    <a:pt x="1103" y="6711"/>
                    <a:pt x="1513" y="6711"/>
                  </a:cubicBezTo>
                  <a:close/>
                  <a:moveTo>
                    <a:pt x="8979" y="5924"/>
                  </a:moveTo>
                  <a:lnTo>
                    <a:pt x="8979" y="8570"/>
                  </a:lnTo>
                  <a:cubicBezTo>
                    <a:pt x="8948" y="10429"/>
                    <a:pt x="7467" y="11910"/>
                    <a:pt x="5608" y="11910"/>
                  </a:cubicBezTo>
                  <a:cubicBezTo>
                    <a:pt x="3750" y="11910"/>
                    <a:pt x="2269" y="10429"/>
                    <a:pt x="2269" y="8570"/>
                  </a:cubicBezTo>
                  <a:lnTo>
                    <a:pt x="2269" y="5924"/>
                  </a:lnTo>
                  <a:cubicBezTo>
                    <a:pt x="2805" y="6459"/>
                    <a:pt x="3561" y="6711"/>
                    <a:pt x="4317" y="6711"/>
                  </a:cubicBezTo>
                  <a:lnTo>
                    <a:pt x="6932" y="6711"/>
                  </a:lnTo>
                  <a:cubicBezTo>
                    <a:pt x="7688" y="6711"/>
                    <a:pt x="8444" y="6459"/>
                    <a:pt x="8979" y="5924"/>
                  </a:cubicBezTo>
                  <a:close/>
                  <a:moveTo>
                    <a:pt x="5608" y="1"/>
                  </a:moveTo>
                  <a:cubicBezTo>
                    <a:pt x="4191" y="1"/>
                    <a:pt x="2805" y="190"/>
                    <a:pt x="1796" y="536"/>
                  </a:cubicBezTo>
                  <a:cubicBezTo>
                    <a:pt x="316" y="1040"/>
                    <a:pt x="1" y="1734"/>
                    <a:pt x="1" y="2206"/>
                  </a:cubicBezTo>
                  <a:cubicBezTo>
                    <a:pt x="1" y="2931"/>
                    <a:pt x="788" y="3309"/>
                    <a:pt x="1513" y="3561"/>
                  </a:cubicBezTo>
                  <a:lnTo>
                    <a:pt x="1513" y="5955"/>
                  </a:lnTo>
                  <a:cubicBezTo>
                    <a:pt x="694" y="5955"/>
                    <a:pt x="1" y="6648"/>
                    <a:pt x="1" y="7467"/>
                  </a:cubicBezTo>
                  <a:cubicBezTo>
                    <a:pt x="1" y="8287"/>
                    <a:pt x="694" y="8980"/>
                    <a:pt x="1513" y="8980"/>
                  </a:cubicBezTo>
                  <a:cubicBezTo>
                    <a:pt x="1702" y="11059"/>
                    <a:pt x="3466" y="12697"/>
                    <a:pt x="5608" y="12697"/>
                  </a:cubicBezTo>
                  <a:cubicBezTo>
                    <a:pt x="7719" y="12697"/>
                    <a:pt x="9515" y="11059"/>
                    <a:pt x="9704" y="8980"/>
                  </a:cubicBezTo>
                  <a:cubicBezTo>
                    <a:pt x="10523" y="8980"/>
                    <a:pt x="11185" y="8287"/>
                    <a:pt x="11185" y="7467"/>
                  </a:cubicBezTo>
                  <a:cubicBezTo>
                    <a:pt x="11185" y="6648"/>
                    <a:pt x="10523" y="5955"/>
                    <a:pt x="9704" y="5955"/>
                  </a:cubicBezTo>
                  <a:lnTo>
                    <a:pt x="9704" y="3561"/>
                  </a:lnTo>
                  <a:cubicBezTo>
                    <a:pt x="10397" y="3309"/>
                    <a:pt x="11185" y="2931"/>
                    <a:pt x="11185" y="2206"/>
                  </a:cubicBezTo>
                  <a:cubicBezTo>
                    <a:pt x="11185" y="1734"/>
                    <a:pt x="10870" y="1040"/>
                    <a:pt x="9421" y="536"/>
                  </a:cubicBezTo>
                  <a:cubicBezTo>
                    <a:pt x="8412" y="190"/>
                    <a:pt x="7058" y="1"/>
                    <a:pt x="5608"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10463" name="Google Shape;10463;p112"/>
          <p:cNvGrpSpPr/>
          <p:nvPr/>
        </p:nvGrpSpPr>
        <p:grpSpPr>
          <a:xfrm>
            <a:off x="7701539" y="5105949"/>
            <a:ext cx="423053" cy="481377"/>
            <a:chOff x="-54061475" y="2685450"/>
            <a:chExt cx="279625" cy="318175"/>
          </a:xfrm>
        </p:grpSpPr>
        <p:sp>
          <p:nvSpPr>
            <p:cNvPr id="10464" name="Google Shape;10464;p112"/>
            <p:cNvSpPr/>
            <p:nvPr/>
          </p:nvSpPr>
          <p:spPr>
            <a:xfrm>
              <a:off x="-53959075" y="2919525"/>
              <a:ext cx="72475" cy="28950"/>
            </a:xfrm>
            <a:custGeom>
              <a:avLst/>
              <a:gdLst/>
              <a:ahLst/>
              <a:cxnLst/>
              <a:rect l="l" t="t" r="r" b="b"/>
              <a:pathLst>
                <a:path w="2899" h="1158" extrusionOk="0">
                  <a:moveTo>
                    <a:pt x="386" y="0"/>
                  </a:moveTo>
                  <a:cubicBezTo>
                    <a:pt x="292" y="0"/>
                    <a:pt x="205" y="39"/>
                    <a:pt x="158" y="118"/>
                  </a:cubicBezTo>
                  <a:cubicBezTo>
                    <a:pt x="0" y="276"/>
                    <a:pt x="0" y="496"/>
                    <a:pt x="158" y="622"/>
                  </a:cubicBezTo>
                  <a:cubicBezTo>
                    <a:pt x="504" y="969"/>
                    <a:pt x="977" y="1158"/>
                    <a:pt x="1449" y="1158"/>
                  </a:cubicBezTo>
                  <a:cubicBezTo>
                    <a:pt x="1922" y="1158"/>
                    <a:pt x="2426" y="969"/>
                    <a:pt x="2741" y="622"/>
                  </a:cubicBezTo>
                  <a:cubicBezTo>
                    <a:pt x="2899" y="465"/>
                    <a:pt x="2899" y="213"/>
                    <a:pt x="2741" y="118"/>
                  </a:cubicBezTo>
                  <a:cubicBezTo>
                    <a:pt x="2678" y="39"/>
                    <a:pt x="2592" y="0"/>
                    <a:pt x="2501" y="0"/>
                  </a:cubicBezTo>
                  <a:cubicBezTo>
                    <a:pt x="2410" y="0"/>
                    <a:pt x="2316" y="39"/>
                    <a:pt x="2237" y="118"/>
                  </a:cubicBezTo>
                  <a:cubicBezTo>
                    <a:pt x="2048" y="307"/>
                    <a:pt x="1733" y="433"/>
                    <a:pt x="1449" y="433"/>
                  </a:cubicBezTo>
                  <a:cubicBezTo>
                    <a:pt x="1134" y="433"/>
                    <a:pt x="851" y="307"/>
                    <a:pt x="662" y="118"/>
                  </a:cubicBezTo>
                  <a:cubicBezTo>
                    <a:pt x="583" y="39"/>
                    <a:pt x="481" y="0"/>
                    <a:pt x="386"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465" name="Google Shape;10465;p112"/>
            <p:cNvSpPr/>
            <p:nvPr/>
          </p:nvSpPr>
          <p:spPr>
            <a:xfrm>
              <a:off x="-53969325" y="2854725"/>
              <a:ext cx="18150" cy="18150"/>
            </a:xfrm>
            <a:custGeom>
              <a:avLst/>
              <a:gdLst/>
              <a:ahLst/>
              <a:cxnLst/>
              <a:rect l="l" t="t" r="r" b="b"/>
              <a:pathLst>
                <a:path w="726" h="726" extrusionOk="0">
                  <a:moveTo>
                    <a:pt x="347" y="1"/>
                  </a:moveTo>
                  <a:cubicBezTo>
                    <a:pt x="158" y="1"/>
                    <a:pt x="1" y="190"/>
                    <a:pt x="1" y="379"/>
                  </a:cubicBezTo>
                  <a:cubicBezTo>
                    <a:pt x="1" y="568"/>
                    <a:pt x="158" y="725"/>
                    <a:pt x="347" y="725"/>
                  </a:cubicBezTo>
                  <a:cubicBezTo>
                    <a:pt x="568" y="725"/>
                    <a:pt x="725" y="568"/>
                    <a:pt x="725" y="379"/>
                  </a:cubicBezTo>
                  <a:cubicBezTo>
                    <a:pt x="725" y="190"/>
                    <a:pt x="568" y="1"/>
                    <a:pt x="347"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466" name="Google Shape;10466;p112"/>
            <p:cNvSpPr/>
            <p:nvPr/>
          </p:nvSpPr>
          <p:spPr>
            <a:xfrm>
              <a:off x="-53894500" y="2854725"/>
              <a:ext cx="18125" cy="18150"/>
            </a:xfrm>
            <a:custGeom>
              <a:avLst/>
              <a:gdLst/>
              <a:ahLst/>
              <a:cxnLst/>
              <a:rect l="l" t="t" r="r" b="b"/>
              <a:pathLst>
                <a:path w="725" h="726" extrusionOk="0">
                  <a:moveTo>
                    <a:pt x="379" y="1"/>
                  </a:moveTo>
                  <a:cubicBezTo>
                    <a:pt x="158" y="1"/>
                    <a:pt x="1" y="190"/>
                    <a:pt x="1" y="379"/>
                  </a:cubicBezTo>
                  <a:cubicBezTo>
                    <a:pt x="1" y="568"/>
                    <a:pt x="158" y="725"/>
                    <a:pt x="379" y="725"/>
                  </a:cubicBezTo>
                  <a:cubicBezTo>
                    <a:pt x="568" y="725"/>
                    <a:pt x="725" y="568"/>
                    <a:pt x="725" y="379"/>
                  </a:cubicBezTo>
                  <a:cubicBezTo>
                    <a:pt x="725" y="190"/>
                    <a:pt x="568" y="1"/>
                    <a:pt x="379"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467" name="Google Shape;10467;p112"/>
            <p:cNvSpPr/>
            <p:nvPr/>
          </p:nvSpPr>
          <p:spPr>
            <a:xfrm>
              <a:off x="-54061475" y="2685450"/>
              <a:ext cx="279625" cy="318175"/>
            </a:xfrm>
            <a:custGeom>
              <a:avLst/>
              <a:gdLst/>
              <a:ahLst/>
              <a:cxnLst/>
              <a:rect l="l" t="t" r="r" b="b"/>
              <a:pathLst>
                <a:path w="11185" h="12727" extrusionOk="0">
                  <a:moveTo>
                    <a:pt x="4096" y="1699"/>
                  </a:moveTo>
                  <a:cubicBezTo>
                    <a:pt x="4348" y="1699"/>
                    <a:pt x="4537" y="1762"/>
                    <a:pt x="4726" y="1794"/>
                  </a:cubicBezTo>
                  <a:cubicBezTo>
                    <a:pt x="4254" y="2235"/>
                    <a:pt x="3970" y="2897"/>
                    <a:pt x="3844" y="3527"/>
                  </a:cubicBezTo>
                  <a:cubicBezTo>
                    <a:pt x="3813" y="3716"/>
                    <a:pt x="3970" y="3905"/>
                    <a:pt x="4159" y="3968"/>
                  </a:cubicBezTo>
                  <a:cubicBezTo>
                    <a:pt x="4178" y="3971"/>
                    <a:pt x="4197" y="3972"/>
                    <a:pt x="4216" y="3972"/>
                  </a:cubicBezTo>
                  <a:cubicBezTo>
                    <a:pt x="4411" y="3972"/>
                    <a:pt x="4572" y="3825"/>
                    <a:pt x="4600" y="3653"/>
                  </a:cubicBezTo>
                  <a:cubicBezTo>
                    <a:pt x="4695" y="3117"/>
                    <a:pt x="4915" y="2645"/>
                    <a:pt x="5199" y="2330"/>
                  </a:cubicBezTo>
                  <a:cubicBezTo>
                    <a:pt x="5335" y="2194"/>
                    <a:pt x="5588" y="1964"/>
                    <a:pt x="5877" y="1964"/>
                  </a:cubicBezTo>
                  <a:cubicBezTo>
                    <a:pt x="5923" y="1964"/>
                    <a:pt x="5970" y="1970"/>
                    <a:pt x="6018" y="1983"/>
                  </a:cubicBezTo>
                  <a:cubicBezTo>
                    <a:pt x="6365" y="2046"/>
                    <a:pt x="6585" y="2361"/>
                    <a:pt x="6648" y="2613"/>
                  </a:cubicBezTo>
                  <a:cubicBezTo>
                    <a:pt x="6806" y="2991"/>
                    <a:pt x="6900" y="3527"/>
                    <a:pt x="6774" y="4031"/>
                  </a:cubicBezTo>
                  <a:cubicBezTo>
                    <a:pt x="6743" y="4251"/>
                    <a:pt x="6900" y="4472"/>
                    <a:pt x="7121" y="4472"/>
                  </a:cubicBezTo>
                  <a:cubicBezTo>
                    <a:pt x="7310" y="4472"/>
                    <a:pt x="7467" y="4346"/>
                    <a:pt x="7467" y="4157"/>
                  </a:cubicBezTo>
                  <a:cubicBezTo>
                    <a:pt x="7593" y="3527"/>
                    <a:pt x="7562" y="2802"/>
                    <a:pt x="7247" y="2204"/>
                  </a:cubicBezTo>
                  <a:lnTo>
                    <a:pt x="7247" y="2204"/>
                  </a:lnTo>
                  <a:lnTo>
                    <a:pt x="7404" y="2267"/>
                  </a:lnTo>
                  <a:cubicBezTo>
                    <a:pt x="8822" y="2487"/>
                    <a:pt x="9767" y="3873"/>
                    <a:pt x="9515" y="5291"/>
                  </a:cubicBezTo>
                  <a:cubicBezTo>
                    <a:pt x="9486" y="5464"/>
                    <a:pt x="9326" y="5610"/>
                    <a:pt x="9130" y="5610"/>
                  </a:cubicBezTo>
                  <a:cubicBezTo>
                    <a:pt x="9112" y="5610"/>
                    <a:pt x="9093" y="5609"/>
                    <a:pt x="9074" y="5606"/>
                  </a:cubicBezTo>
                  <a:lnTo>
                    <a:pt x="1733" y="4314"/>
                  </a:lnTo>
                  <a:cubicBezTo>
                    <a:pt x="1639" y="4283"/>
                    <a:pt x="1481" y="4062"/>
                    <a:pt x="1513" y="3873"/>
                  </a:cubicBezTo>
                  <a:cubicBezTo>
                    <a:pt x="1765" y="2613"/>
                    <a:pt x="2868" y="1699"/>
                    <a:pt x="4096" y="1699"/>
                  </a:cubicBezTo>
                  <a:close/>
                  <a:moveTo>
                    <a:pt x="1450" y="6740"/>
                  </a:moveTo>
                  <a:lnTo>
                    <a:pt x="1450" y="8252"/>
                  </a:lnTo>
                  <a:cubicBezTo>
                    <a:pt x="1009" y="8252"/>
                    <a:pt x="694" y="7937"/>
                    <a:pt x="694" y="7496"/>
                  </a:cubicBezTo>
                  <a:cubicBezTo>
                    <a:pt x="694" y="7118"/>
                    <a:pt x="1040" y="6740"/>
                    <a:pt x="1450" y="6740"/>
                  </a:cubicBezTo>
                  <a:close/>
                  <a:moveTo>
                    <a:pt x="9641" y="6740"/>
                  </a:moveTo>
                  <a:cubicBezTo>
                    <a:pt x="10019" y="6740"/>
                    <a:pt x="10397" y="7118"/>
                    <a:pt x="10397" y="7496"/>
                  </a:cubicBezTo>
                  <a:cubicBezTo>
                    <a:pt x="10397" y="7937"/>
                    <a:pt x="10082" y="8252"/>
                    <a:pt x="9641" y="8252"/>
                  </a:cubicBezTo>
                  <a:lnTo>
                    <a:pt x="9641" y="6740"/>
                  </a:lnTo>
                  <a:close/>
                  <a:moveTo>
                    <a:pt x="2206" y="5102"/>
                  </a:moveTo>
                  <a:lnTo>
                    <a:pt x="8916" y="6268"/>
                  </a:lnTo>
                  <a:lnTo>
                    <a:pt x="8916" y="8599"/>
                  </a:lnTo>
                  <a:cubicBezTo>
                    <a:pt x="8885" y="10489"/>
                    <a:pt x="7404" y="12033"/>
                    <a:pt x="5545" y="12033"/>
                  </a:cubicBezTo>
                  <a:cubicBezTo>
                    <a:pt x="3687" y="12033"/>
                    <a:pt x="2206" y="10489"/>
                    <a:pt x="2206" y="8599"/>
                  </a:cubicBezTo>
                  <a:lnTo>
                    <a:pt x="2206" y="5102"/>
                  </a:lnTo>
                  <a:close/>
                  <a:moveTo>
                    <a:pt x="7575" y="1"/>
                  </a:moveTo>
                  <a:cubicBezTo>
                    <a:pt x="6800" y="1"/>
                    <a:pt x="6137" y="473"/>
                    <a:pt x="5861" y="1164"/>
                  </a:cubicBezTo>
                  <a:lnTo>
                    <a:pt x="4726" y="975"/>
                  </a:lnTo>
                  <a:cubicBezTo>
                    <a:pt x="4530" y="941"/>
                    <a:pt x="4334" y="925"/>
                    <a:pt x="4141" y="925"/>
                  </a:cubicBezTo>
                  <a:cubicBezTo>
                    <a:pt x="2536" y="925"/>
                    <a:pt x="1101" y="2053"/>
                    <a:pt x="820" y="3684"/>
                  </a:cubicBezTo>
                  <a:cubicBezTo>
                    <a:pt x="757" y="4188"/>
                    <a:pt x="1009" y="4692"/>
                    <a:pt x="1481" y="4913"/>
                  </a:cubicBezTo>
                  <a:lnTo>
                    <a:pt x="1481" y="5953"/>
                  </a:lnTo>
                  <a:cubicBezTo>
                    <a:pt x="662" y="5953"/>
                    <a:pt x="1" y="6614"/>
                    <a:pt x="1" y="7465"/>
                  </a:cubicBezTo>
                  <a:cubicBezTo>
                    <a:pt x="1" y="8284"/>
                    <a:pt x="662" y="8946"/>
                    <a:pt x="1481" y="8946"/>
                  </a:cubicBezTo>
                  <a:cubicBezTo>
                    <a:pt x="1702" y="11056"/>
                    <a:pt x="3403" y="12726"/>
                    <a:pt x="5577" y="12726"/>
                  </a:cubicBezTo>
                  <a:cubicBezTo>
                    <a:pt x="7751" y="12726"/>
                    <a:pt x="9484" y="11056"/>
                    <a:pt x="9673" y="8946"/>
                  </a:cubicBezTo>
                  <a:cubicBezTo>
                    <a:pt x="10492" y="8946"/>
                    <a:pt x="11185" y="8284"/>
                    <a:pt x="11185" y="7465"/>
                  </a:cubicBezTo>
                  <a:cubicBezTo>
                    <a:pt x="11122" y="6803"/>
                    <a:pt x="10649" y="6205"/>
                    <a:pt x="9988" y="6047"/>
                  </a:cubicBezTo>
                  <a:cubicBezTo>
                    <a:pt x="10177" y="5890"/>
                    <a:pt x="10303" y="5638"/>
                    <a:pt x="10334" y="5417"/>
                  </a:cubicBezTo>
                  <a:cubicBezTo>
                    <a:pt x="10649" y="3590"/>
                    <a:pt x="9452" y="1825"/>
                    <a:pt x="7625" y="1510"/>
                  </a:cubicBezTo>
                  <a:lnTo>
                    <a:pt x="6617" y="1321"/>
                  </a:lnTo>
                  <a:cubicBezTo>
                    <a:pt x="6812" y="958"/>
                    <a:pt x="7206" y="744"/>
                    <a:pt x="7622" y="744"/>
                  </a:cubicBezTo>
                  <a:cubicBezTo>
                    <a:pt x="7675" y="744"/>
                    <a:pt x="7729" y="747"/>
                    <a:pt x="7782" y="754"/>
                  </a:cubicBezTo>
                  <a:cubicBezTo>
                    <a:pt x="7811" y="764"/>
                    <a:pt x="7840" y="768"/>
                    <a:pt x="7869" y="768"/>
                  </a:cubicBezTo>
                  <a:cubicBezTo>
                    <a:pt x="8034" y="768"/>
                    <a:pt x="8197" y="627"/>
                    <a:pt x="8223" y="439"/>
                  </a:cubicBezTo>
                  <a:cubicBezTo>
                    <a:pt x="8255" y="250"/>
                    <a:pt x="8097" y="61"/>
                    <a:pt x="7908" y="30"/>
                  </a:cubicBezTo>
                  <a:cubicBezTo>
                    <a:pt x="7796" y="10"/>
                    <a:pt x="7684" y="1"/>
                    <a:pt x="7575"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10468" name="Google Shape;10468;p112"/>
          <p:cNvGrpSpPr/>
          <p:nvPr/>
        </p:nvGrpSpPr>
        <p:grpSpPr>
          <a:xfrm>
            <a:off x="10706254" y="3895708"/>
            <a:ext cx="367037" cy="482625"/>
            <a:chOff x="-52074300" y="1911950"/>
            <a:chExt cx="242600" cy="319000"/>
          </a:xfrm>
        </p:grpSpPr>
        <p:sp>
          <p:nvSpPr>
            <p:cNvPr id="10469" name="Google Shape;10469;p112"/>
            <p:cNvSpPr/>
            <p:nvPr/>
          </p:nvSpPr>
          <p:spPr>
            <a:xfrm>
              <a:off x="-51989225" y="2125600"/>
              <a:ext cx="72475" cy="29750"/>
            </a:xfrm>
            <a:custGeom>
              <a:avLst/>
              <a:gdLst/>
              <a:ahLst/>
              <a:cxnLst/>
              <a:rect l="l" t="t" r="r" b="b"/>
              <a:pathLst>
                <a:path w="2899" h="1190" extrusionOk="0">
                  <a:moveTo>
                    <a:pt x="398" y="0"/>
                  </a:moveTo>
                  <a:cubicBezTo>
                    <a:pt x="307" y="0"/>
                    <a:pt x="221" y="40"/>
                    <a:pt x="158" y="118"/>
                  </a:cubicBezTo>
                  <a:cubicBezTo>
                    <a:pt x="0" y="276"/>
                    <a:pt x="0" y="528"/>
                    <a:pt x="158" y="622"/>
                  </a:cubicBezTo>
                  <a:cubicBezTo>
                    <a:pt x="504" y="1000"/>
                    <a:pt x="977" y="1189"/>
                    <a:pt x="1449" y="1189"/>
                  </a:cubicBezTo>
                  <a:cubicBezTo>
                    <a:pt x="1922" y="1189"/>
                    <a:pt x="2426" y="1000"/>
                    <a:pt x="2741" y="622"/>
                  </a:cubicBezTo>
                  <a:cubicBezTo>
                    <a:pt x="2899" y="465"/>
                    <a:pt x="2899" y="244"/>
                    <a:pt x="2741" y="118"/>
                  </a:cubicBezTo>
                  <a:cubicBezTo>
                    <a:pt x="2662" y="40"/>
                    <a:pt x="2568" y="0"/>
                    <a:pt x="2477" y="0"/>
                  </a:cubicBezTo>
                  <a:cubicBezTo>
                    <a:pt x="2387" y="0"/>
                    <a:pt x="2300" y="40"/>
                    <a:pt x="2237" y="118"/>
                  </a:cubicBezTo>
                  <a:cubicBezTo>
                    <a:pt x="2048" y="307"/>
                    <a:pt x="1733" y="433"/>
                    <a:pt x="1449" y="433"/>
                  </a:cubicBezTo>
                  <a:cubicBezTo>
                    <a:pt x="1134" y="433"/>
                    <a:pt x="851" y="307"/>
                    <a:pt x="662" y="118"/>
                  </a:cubicBezTo>
                  <a:cubicBezTo>
                    <a:pt x="583" y="40"/>
                    <a:pt x="488" y="0"/>
                    <a:pt x="398"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470" name="Google Shape;10470;p112"/>
            <p:cNvSpPr/>
            <p:nvPr/>
          </p:nvSpPr>
          <p:spPr>
            <a:xfrm>
              <a:off x="-51998675" y="2062375"/>
              <a:ext cx="17325" cy="18150"/>
            </a:xfrm>
            <a:custGeom>
              <a:avLst/>
              <a:gdLst/>
              <a:ahLst/>
              <a:cxnLst/>
              <a:rect l="l" t="t" r="r" b="b"/>
              <a:pathLst>
                <a:path w="693" h="726" extrusionOk="0">
                  <a:moveTo>
                    <a:pt x="347" y="1"/>
                  </a:moveTo>
                  <a:cubicBezTo>
                    <a:pt x="158" y="1"/>
                    <a:pt x="0" y="158"/>
                    <a:pt x="0" y="347"/>
                  </a:cubicBezTo>
                  <a:cubicBezTo>
                    <a:pt x="0" y="568"/>
                    <a:pt x="158" y="726"/>
                    <a:pt x="347" y="726"/>
                  </a:cubicBezTo>
                  <a:cubicBezTo>
                    <a:pt x="536" y="726"/>
                    <a:pt x="693" y="568"/>
                    <a:pt x="693" y="347"/>
                  </a:cubicBezTo>
                  <a:cubicBezTo>
                    <a:pt x="693" y="158"/>
                    <a:pt x="536" y="1"/>
                    <a:pt x="347"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471" name="Google Shape;10471;p112"/>
            <p:cNvSpPr/>
            <p:nvPr/>
          </p:nvSpPr>
          <p:spPr>
            <a:xfrm>
              <a:off x="-51925450" y="2062375"/>
              <a:ext cx="18150" cy="18150"/>
            </a:xfrm>
            <a:custGeom>
              <a:avLst/>
              <a:gdLst/>
              <a:ahLst/>
              <a:cxnLst/>
              <a:rect l="l" t="t" r="r" b="b"/>
              <a:pathLst>
                <a:path w="726" h="726" extrusionOk="0">
                  <a:moveTo>
                    <a:pt x="379" y="1"/>
                  </a:moveTo>
                  <a:cubicBezTo>
                    <a:pt x="158" y="1"/>
                    <a:pt x="1" y="158"/>
                    <a:pt x="1" y="347"/>
                  </a:cubicBezTo>
                  <a:cubicBezTo>
                    <a:pt x="1" y="568"/>
                    <a:pt x="158" y="726"/>
                    <a:pt x="379" y="726"/>
                  </a:cubicBezTo>
                  <a:cubicBezTo>
                    <a:pt x="568" y="726"/>
                    <a:pt x="726" y="568"/>
                    <a:pt x="726" y="347"/>
                  </a:cubicBezTo>
                  <a:cubicBezTo>
                    <a:pt x="726" y="158"/>
                    <a:pt x="568" y="1"/>
                    <a:pt x="379"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472" name="Google Shape;10472;p112"/>
            <p:cNvSpPr/>
            <p:nvPr/>
          </p:nvSpPr>
          <p:spPr>
            <a:xfrm>
              <a:off x="-52074300" y="1911950"/>
              <a:ext cx="242600" cy="319000"/>
            </a:xfrm>
            <a:custGeom>
              <a:avLst/>
              <a:gdLst/>
              <a:ahLst/>
              <a:cxnLst/>
              <a:rect l="l" t="t" r="r" b="b"/>
              <a:pathLst>
                <a:path w="9704" h="12760" extrusionOk="0">
                  <a:moveTo>
                    <a:pt x="6743" y="694"/>
                  </a:moveTo>
                  <a:cubicBezTo>
                    <a:pt x="7940" y="757"/>
                    <a:pt x="8948" y="1733"/>
                    <a:pt x="8948" y="2993"/>
                  </a:cubicBezTo>
                  <a:lnTo>
                    <a:pt x="8948" y="5293"/>
                  </a:lnTo>
                  <a:lnTo>
                    <a:pt x="8601" y="5293"/>
                  </a:lnTo>
                  <a:cubicBezTo>
                    <a:pt x="6743" y="5293"/>
                    <a:pt x="5262" y="3750"/>
                    <a:pt x="5262" y="1859"/>
                  </a:cubicBezTo>
                  <a:lnTo>
                    <a:pt x="5262" y="1292"/>
                  </a:lnTo>
                  <a:cubicBezTo>
                    <a:pt x="5640" y="946"/>
                    <a:pt x="6207" y="694"/>
                    <a:pt x="6743" y="694"/>
                  </a:cubicBezTo>
                  <a:close/>
                  <a:moveTo>
                    <a:pt x="2962" y="757"/>
                  </a:moveTo>
                  <a:cubicBezTo>
                    <a:pt x="3529" y="757"/>
                    <a:pt x="4033" y="946"/>
                    <a:pt x="4474" y="1355"/>
                  </a:cubicBezTo>
                  <a:lnTo>
                    <a:pt x="4474" y="1891"/>
                  </a:lnTo>
                  <a:cubicBezTo>
                    <a:pt x="4474" y="3781"/>
                    <a:pt x="2962" y="5325"/>
                    <a:pt x="1103" y="5325"/>
                  </a:cubicBezTo>
                  <a:lnTo>
                    <a:pt x="757" y="5325"/>
                  </a:lnTo>
                  <a:lnTo>
                    <a:pt x="757" y="3025"/>
                  </a:lnTo>
                  <a:cubicBezTo>
                    <a:pt x="725" y="1733"/>
                    <a:pt x="1733" y="757"/>
                    <a:pt x="2962" y="757"/>
                  </a:cubicBezTo>
                  <a:close/>
                  <a:moveTo>
                    <a:pt x="1103" y="6018"/>
                  </a:moveTo>
                  <a:cubicBezTo>
                    <a:pt x="1324" y="6018"/>
                    <a:pt x="1481" y="6175"/>
                    <a:pt x="1481" y="6396"/>
                  </a:cubicBezTo>
                  <a:cubicBezTo>
                    <a:pt x="1481" y="6585"/>
                    <a:pt x="1324" y="6743"/>
                    <a:pt x="1103" y="6743"/>
                  </a:cubicBezTo>
                  <a:cubicBezTo>
                    <a:pt x="914" y="6743"/>
                    <a:pt x="757" y="6585"/>
                    <a:pt x="757" y="6396"/>
                  </a:cubicBezTo>
                  <a:cubicBezTo>
                    <a:pt x="757" y="6175"/>
                    <a:pt x="914" y="6018"/>
                    <a:pt x="1103" y="6018"/>
                  </a:cubicBezTo>
                  <a:close/>
                  <a:moveTo>
                    <a:pt x="8570" y="6018"/>
                  </a:moveTo>
                  <a:cubicBezTo>
                    <a:pt x="8759" y="6018"/>
                    <a:pt x="8916" y="6175"/>
                    <a:pt x="8916" y="6396"/>
                  </a:cubicBezTo>
                  <a:cubicBezTo>
                    <a:pt x="8916" y="6585"/>
                    <a:pt x="8759" y="6743"/>
                    <a:pt x="8570" y="6743"/>
                  </a:cubicBezTo>
                  <a:cubicBezTo>
                    <a:pt x="8349" y="6743"/>
                    <a:pt x="8192" y="6585"/>
                    <a:pt x="8192" y="6396"/>
                  </a:cubicBezTo>
                  <a:cubicBezTo>
                    <a:pt x="8192" y="6175"/>
                    <a:pt x="8349" y="6018"/>
                    <a:pt x="8570" y="6018"/>
                  </a:cubicBezTo>
                  <a:close/>
                  <a:moveTo>
                    <a:pt x="1072" y="7530"/>
                  </a:moveTo>
                  <a:cubicBezTo>
                    <a:pt x="1261" y="7530"/>
                    <a:pt x="1418" y="7688"/>
                    <a:pt x="1418" y="7877"/>
                  </a:cubicBezTo>
                  <a:cubicBezTo>
                    <a:pt x="1418" y="8066"/>
                    <a:pt x="1261" y="8223"/>
                    <a:pt x="1072" y="8223"/>
                  </a:cubicBezTo>
                  <a:cubicBezTo>
                    <a:pt x="914" y="8223"/>
                    <a:pt x="725" y="8066"/>
                    <a:pt x="725" y="7877"/>
                  </a:cubicBezTo>
                  <a:cubicBezTo>
                    <a:pt x="725" y="7688"/>
                    <a:pt x="883" y="7530"/>
                    <a:pt x="1072" y="7530"/>
                  </a:cubicBezTo>
                  <a:close/>
                  <a:moveTo>
                    <a:pt x="8601" y="7530"/>
                  </a:moveTo>
                  <a:cubicBezTo>
                    <a:pt x="8790" y="7530"/>
                    <a:pt x="8948" y="7688"/>
                    <a:pt x="8948" y="7877"/>
                  </a:cubicBezTo>
                  <a:cubicBezTo>
                    <a:pt x="8948" y="8066"/>
                    <a:pt x="8790" y="8223"/>
                    <a:pt x="8601" y="8223"/>
                  </a:cubicBezTo>
                  <a:cubicBezTo>
                    <a:pt x="8412" y="8223"/>
                    <a:pt x="8255" y="8066"/>
                    <a:pt x="8255" y="7877"/>
                  </a:cubicBezTo>
                  <a:cubicBezTo>
                    <a:pt x="8255" y="7688"/>
                    <a:pt x="8412" y="7530"/>
                    <a:pt x="8601" y="7530"/>
                  </a:cubicBezTo>
                  <a:close/>
                  <a:moveTo>
                    <a:pt x="1072" y="9011"/>
                  </a:moveTo>
                  <a:cubicBezTo>
                    <a:pt x="1261" y="9011"/>
                    <a:pt x="1418" y="9168"/>
                    <a:pt x="1418" y="9389"/>
                  </a:cubicBezTo>
                  <a:cubicBezTo>
                    <a:pt x="1418" y="9578"/>
                    <a:pt x="1261" y="9735"/>
                    <a:pt x="1072" y="9735"/>
                  </a:cubicBezTo>
                  <a:cubicBezTo>
                    <a:pt x="914" y="9735"/>
                    <a:pt x="725" y="9578"/>
                    <a:pt x="725" y="9389"/>
                  </a:cubicBezTo>
                  <a:cubicBezTo>
                    <a:pt x="725" y="9168"/>
                    <a:pt x="883" y="9011"/>
                    <a:pt x="1072" y="9011"/>
                  </a:cubicBezTo>
                  <a:close/>
                  <a:moveTo>
                    <a:pt x="8601" y="9011"/>
                  </a:moveTo>
                  <a:cubicBezTo>
                    <a:pt x="8790" y="9011"/>
                    <a:pt x="8948" y="9168"/>
                    <a:pt x="8948" y="9389"/>
                  </a:cubicBezTo>
                  <a:cubicBezTo>
                    <a:pt x="8948" y="9578"/>
                    <a:pt x="8790" y="9735"/>
                    <a:pt x="8601" y="9735"/>
                  </a:cubicBezTo>
                  <a:cubicBezTo>
                    <a:pt x="8412" y="9735"/>
                    <a:pt x="8255" y="9578"/>
                    <a:pt x="8255" y="9389"/>
                  </a:cubicBezTo>
                  <a:cubicBezTo>
                    <a:pt x="8255" y="9168"/>
                    <a:pt x="8412" y="9011"/>
                    <a:pt x="8601" y="9011"/>
                  </a:cubicBezTo>
                  <a:close/>
                  <a:moveTo>
                    <a:pt x="4852" y="3592"/>
                  </a:moveTo>
                  <a:cubicBezTo>
                    <a:pt x="5041" y="4002"/>
                    <a:pt x="5325" y="4411"/>
                    <a:pt x="5703" y="4758"/>
                  </a:cubicBezTo>
                  <a:cubicBezTo>
                    <a:pt x="6239" y="5325"/>
                    <a:pt x="6869" y="5671"/>
                    <a:pt x="7593" y="5860"/>
                  </a:cubicBezTo>
                  <a:cubicBezTo>
                    <a:pt x="7499" y="6018"/>
                    <a:pt x="7467" y="6175"/>
                    <a:pt x="7467" y="6364"/>
                  </a:cubicBezTo>
                  <a:cubicBezTo>
                    <a:pt x="7467" y="6648"/>
                    <a:pt x="7593" y="6932"/>
                    <a:pt x="7751" y="7121"/>
                  </a:cubicBezTo>
                  <a:cubicBezTo>
                    <a:pt x="7530" y="7341"/>
                    <a:pt x="7467" y="7593"/>
                    <a:pt x="7467" y="7877"/>
                  </a:cubicBezTo>
                  <a:cubicBezTo>
                    <a:pt x="7467" y="8160"/>
                    <a:pt x="7593" y="8444"/>
                    <a:pt x="7751" y="8633"/>
                  </a:cubicBezTo>
                  <a:cubicBezTo>
                    <a:pt x="7530" y="8822"/>
                    <a:pt x="7467" y="9105"/>
                    <a:pt x="7467" y="9389"/>
                  </a:cubicBezTo>
                  <a:cubicBezTo>
                    <a:pt x="7467" y="9546"/>
                    <a:pt x="7499" y="9704"/>
                    <a:pt x="7593" y="9861"/>
                  </a:cubicBezTo>
                  <a:cubicBezTo>
                    <a:pt x="6932" y="10712"/>
                    <a:pt x="5923" y="11216"/>
                    <a:pt x="4852" y="11216"/>
                  </a:cubicBezTo>
                  <a:cubicBezTo>
                    <a:pt x="3750" y="11216"/>
                    <a:pt x="2773" y="10712"/>
                    <a:pt x="2143" y="9861"/>
                  </a:cubicBezTo>
                  <a:cubicBezTo>
                    <a:pt x="2206" y="9704"/>
                    <a:pt x="2269" y="9515"/>
                    <a:pt x="2269" y="9389"/>
                  </a:cubicBezTo>
                  <a:cubicBezTo>
                    <a:pt x="2269" y="9105"/>
                    <a:pt x="2143" y="8822"/>
                    <a:pt x="1985" y="8633"/>
                  </a:cubicBezTo>
                  <a:cubicBezTo>
                    <a:pt x="2174" y="8444"/>
                    <a:pt x="2269" y="8160"/>
                    <a:pt x="2269" y="7877"/>
                  </a:cubicBezTo>
                  <a:cubicBezTo>
                    <a:pt x="2269" y="7593"/>
                    <a:pt x="2143" y="7341"/>
                    <a:pt x="1985" y="7121"/>
                  </a:cubicBezTo>
                  <a:cubicBezTo>
                    <a:pt x="2174" y="6932"/>
                    <a:pt x="2269" y="6648"/>
                    <a:pt x="2269" y="6364"/>
                  </a:cubicBezTo>
                  <a:cubicBezTo>
                    <a:pt x="2269" y="6175"/>
                    <a:pt x="2206" y="6018"/>
                    <a:pt x="2143" y="5860"/>
                  </a:cubicBezTo>
                  <a:cubicBezTo>
                    <a:pt x="2836" y="5671"/>
                    <a:pt x="3529" y="5325"/>
                    <a:pt x="4033" y="4758"/>
                  </a:cubicBezTo>
                  <a:cubicBezTo>
                    <a:pt x="4380" y="4411"/>
                    <a:pt x="4663" y="4002"/>
                    <a:pt x="4852" y="3592"/>
                  </a:cubicBezTo>
                  <a:close/>
                  <a:moveTo>
                    <a:pt x="1103" y="10523"/>
                  </a:moveTo>
                  <a:cubicBezTo>
                    <a:pt x="1324" y="10523"/>
                    <a:pt x="1481" y="10681"/>
                    <a:pt x="1481" y="10870"/>
                  </a:cubicBezTo>
                  <a:cubicBezTo>
                    <a:pt x="1481" y="10996"/>
                    <a:pt x="1481" y="10996"/>
                    <a:pt x="1103" y="11626"/>
                  </a:cubicBezTo>
                  <a:cubicBezTo>
                    <a:pt x="757" y="10996"/>
                    <a:pt x="757" y="10996"/>
                    <a:pt x="757" y="10870"/>
                  </a:cubicBezTo>
                  <a:cubicBezTo>
                    <a:pt x="757" y="10681"/>
                    <a:pt x="914" y="10523"/>
                    <a:pt x="1103" y="10523"/>
                  </a:cubicBezTo>
                  <a:close/>
                  <a:moveTo>
                    <a:pt x="8570" y="10523"/>
                  </a:moveTo>
                  <a:cubicBezTo>
                    <a:pt x="8759" y="10523"/>
                    <a:pt x="8916" y="10681"/>
                    <a:pt x="8916" y="10870"/>
                  </a:cubicBezTo>
                  <a:cubicBezTo>
                    <a:pt x="8948" y="10996"/>
                    <a:pt x="8916" y="10996"/>
                    <a:pt x="8570" y="11626"/>
                  </a:cubicBezTo>
                  <a:cubicBezTo>
                    <a:pt x="8192" y="10996"/>
                    <a:pt x="8192" y="10996"/>
                    <a:pt x="8192" y="10870"/>
                  </a:cubicBezTo>
                  <a:cubicBezTo>
                    <a:pt x="8192" y="10681"/>
                    <a:pt x="8349" y="10523"/>
                    <a:pt x="8570" y="10523"/>
                  </a:cubicBezTo>
                  <a:close/>
                  <a:moveTo>
                    <a:pt x="3025" y="0"/>
                  </a:moveTo>
                  <a:cubicBezTo>
                    <a:pt x="1355" y="0"/>
                    <a:pt x="1" y="1355"/>
                    <a:pt x="1" y="2993"/>
                  </a:cubicBezTo>
                  <a:lnTo>
                    <a:pt x="1" y="6427"/>
                  </a:lnTo>
                  <a:cubicBezTo>
                    <a:pt x="1" y="6711"/>
                    <a:pt x="127" y="6963"/>
                    <a:pt x="284" y="7184"/>
                  </a:cubicBezTo>
                  <a:cubicBezTo>
                    <a:pt x="95" y="7373"/>
                    <a:pt x="1" y="7656"/>
                    <a:pt x="1" y="7908"/>
                  </a:cubicBezTo>
                  <a:cubicBezTo>
                    <a:pt x="1" y="8192"/>
                    <a:pt x="127" y="8475"/>
                    <a:pt x="284" y="8664"/>
                  </a:cubicBezTo>
                  <a:cubicBezTo>
                    <a:pt x="95" y="8853"/>
                    <a:pt x="1" y="9137"/>
                    <a:pt x="1" y="9420"/>
                  </a:cubicBezTo>
                  <a:cubicBezTo>
                    <a:pt x="1" y="9704"/>
                    <a:pt x="127" y="9956"/>
                    <a:pt x="284" y="10177"/>
                  </a:cubicBezTo>
                  <a:cubicBezTo>
                    <a:pt x="95" y="10366"/>
                    <a:pt x="1" y="10649"/>
                    <a:pt x="1" y="10901"/>
                  </a:cubicBezTo>
                  <a:cubicBezTo>
                    <a:pt x="1" y="11122"/>
                    <a:pt x="64" y="11311"/>
                    <a:pt x="127" y="11374"/>
                  </a:cubicBezTo>
                  <a:lnTo>
                    <a:pt x="788" y="12571"/>
                  </a:lnTo>
                  <a:cubicBezTo>
                    <a:pt x="883" y="12697"/>
                    <a:pt x="1009" y="12760"/>
                    <a:pt x="1103" y="12760"/>
                  </a:cubicBezTo>
                  <a:cubicBezTo>
                    <a:pt x="1229" y="12760"/>
                    <a:pt x="1387" y="12697"/>
                    <a:pt x="1450" y="12571"/>
                  </a:cubicBezTo>
                  <a:lnTo>
                    <a:pt x="2111" y="11437"/>
                  </a:lnTo>
                  <a:lnTo>
                    <a:pt x="2237" y="11059"/>
                  </a:lnTo>
                  <a:cubicBezTo>
                    <a:pt x="2930" y="11657"/>
                    <a:pt x="3876" y="12004"/>
                    <a:pt x="4852" y="12004"/>
                  </a:cubicBezTo>
                  <a:cubicBezTo>
                    <a:pt x="5829" y="12004"/>
                    <a:pt x="6743" y="11657"/>
                    <a:pt x="7499" y="11059"/>
                  </a:cubicBezTo>
                  <a:cubicBezTo>
                    <a:pt x="7499" y="11153"/>
                    <a:pt x="7530" y="11279"/>
                    <a:pt x="7562" y="11342"/>
                  </a:cubicBezTo>
                  <a:cubicBezTo>
                    <a:pt x="7562" y="11374"/>
                    <a:pt x="7530" y="11279"/>
                    <a:pt x="8286" y="12571"/>
                  </a:cubicBezTo>
                  <a:cubicBezTo>
                    <a:pt x="8349" y="12665"/>
                    <a:pt x="8475" y="12760"/>
                    <a:pt x="8601" y="12760"/>
                  </a:cubicBezTo>
                  <a:cubicBezTo>
                    <a:pt x="8727" y="12760"/>
                    <a:pt x="8885" y="12665"/>
                    <a:pt x="8916" y="12571"/>
                  </a:cubicBezTo>
                  <a:lnTo>
                    <a:pt x="9578" y="11405"/>
                  </a:lnTo>
                  <a:cubicBezTo>
                    <a:pt x="9673" y="11248"/>
                    <a:pt x="9704" y="11059"/>
                    <a:pt x="9704" y="10901"/>
                  </a:cubicBezTo>
                  <a:cubicBezTo>
                    <a:pt x="9704" y="10618"/>
                    <a:pt x="9578" y="10366"/>
                    <a:pt x="9421" y="10145"/>
                  </a:cubicBezTo>
                  <a:cubicBezTo>
                    <a:pt x="9641" y="9956"/>
                    <a:pt x="9704" y="9672"/>
                    <a:pt x="9704" y="9420"/>
                  </a:cubicBezTo>
                  <a:cubicBezTo>
                    <a:pt x="9704" y="9137"/>
                    <a:pt x="9578" y="8853"/>
                    <a:pt x="9421" y="8664"/>
                  </a:cubicBezTo>
                  <a:cubicBezTo>
                    <a:pt x="9641" y="8475"/>
                    <a:pt x="9704" y="8192"/>
                    <a:pt x="9704" y="7908"/>
                  </a:cubicBezTo>
                  <a:cubicBezTo>
                    <a:pt x="9704" y="7625"/>
                    <a:pt x="9578" y="7373"/>
                    <a:pt x="9421" y="7152"/>
                  </a:cubicBezTo>
                  <a:cubicBezTo>
                    <a:pt x="9641" y="6963"/>
                    <a:pt x="9704" y="6680"/>
                    <a:pt x="9704" y="6427"/>
                  </a:cubicBezTo>
                  <a:lnTo>
                    <a:pt x="9704" y="2993"/>
                  </a:lnTo>
                  <a:cubicBezTo>
                    <a:pt x="9704" y="1355"/>
                    <a:pt x="8349" y="0"/>
                    <a:pt x="6711" y="0"/>
                  </a:cubicBezTo>
                  <a:cubicBezTo>
                    <a:pt x="6049" y="0"/>
                    <a:pt x="5388" y="253"/>
                    <a:pt x="4852" y="662"/>
                  </a:cubicBezTo>
                  <a:cubicBezTo>
                    <a:pt x="4348" y="253"/>
                    <a:pt x="3687" y="0"/>
                    <a:pt x="3025"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10473" name="Google Shape;10473;p112"/>
          <p:cNvGrpSpPr/>
          <p:nvPr/>
        </p:nvGrpSpPr>
        <p:grpSpPr>
          <a:xfrm>
            <a:off x="7050252" y="2044243"/>
            <a:ext cx="482664" cy="481453"/>
            <a:chOff x="-57578225" y="1904075"/>
            <a:chExt cx="319025" cy="318225"/>
          </a:xfrm>
        </p:grpSpPr>
        <p:sp>
          <p:nvSpPr>
            <p:cNvPr id="10474" name="Google Shape;10474;p112"/>
            <p:cNvSpPr/>
            <p:nvPr/>
          </p:nvSpPr>
          <p:spPr>
            <a:xfrm>
              <a:off x="-57578225" y="1904075"/>
              <a:ext cx="319025" cy="318225"/>
            </a:xfrm>
            <a:custGeom>
              <a:avLst/>
              <a:gdLst/>
              <a:ahLst/>
              <a:cxnLst/>
              <a:rect l="l" t="t" r="r" b="b"/>
              <a:pathLst>
                <a:path w="12761" h="12729" extrusionOk="0">
                  <a:moveTo>
                    <a:pt x="4601" y="1418"/>
                  </a:moveTo>
                  <a:cubicBezTo>
                    <a:pt x="4632" y="1702"/>
                    <a:pt x="4727" y="1922"/>
                    <a:pt x="4790" y="2206"/>
                  </a:cubicBezTo>
                  <a:cubicBezTo>
                    <a:pt x="3687" y="2962"/>
                    <a:pt x="2994" y="4254"/>
                    <a:pt x="2994" y="5640"/>
                  </a:cubicBezTo>
                  <a:lnTo>
                    <a:pt x="2994" y="5986"/>
                  </a:lnTo>
                  <a:cubicBezTo>
                    <a:pt x="2710" y="5986"/>
                    <a:pt x="2458" y="6081"/>
                    <a:pt x="2238" y="6175"/>
                  </a:cubicBezTo>
                  <a:lnTo>
                    <a:pt x="2238" y="5608"/>
                  </a:lnTo>
                  <a:cubicBezTo>
                    <a:pt x="2238" y="3876"/>
                    <a:pt x="3183" y="2300"/>
                    <a:pt x="4601" y="1418"/>
                  </a:cubicBezTo>
                  <a:close/>
                  <a:moveTo>
                    <a:pt x="7121" y="757"/>
                  </a:moveTo>
                  <a:cubicBezTo>
                    <a:pt x="9799" y="757"/>
                    <a:pt x="12004" y="2930"/>
                    <a:pt x="12004" y="5640"/>
                  </a:cubicBezTo>
                  <a:lnTo>
                    <a:pt x="12004" y="6238"/>
                  </a:lnTo>
                  <a:cubicBezTo>
                    <a:pt x="11752" y="6112"/>
                    <a:pt x="11532" y="6018"/>
                    <a:pt x="11248" y="6018"/>
                  </a:cubicBezTo>
                  <a:lnTo>
                    <a:pt x="10902" y="6018"/>
                  </a:lnTo>
                  <a:cubicBezTo>
                    <a:pt x="8098" y="6018"/>
                    <a:pt x="5703" y="3907"/>
                    <a:pt x="5325" y="1103"/>
                  </a:cubicBezTo>
                  <a:cubicBezTo>
                    <a:pt x="5861" y="883"/>
                    <a:pt x="6491" y="757"/>
                    <a:pt x="7121" y="757"/>
                  </a:cubicBezTo>
                  <a:close/>
                  <a:moveTo>
                    <a:pt x="2994" y="6742"/>
                  </a:moveTo>
                  <a:lnTo>
                    <a:pt x="2994" y="8223"/>
                  </a:lnTo>
                  <a:cubicBezTo>
                    <a:pt x="2616" y="8223"/>
                    <a:pt x="2238" y="7971"/>
                    <a:pt x="2238" y="7436"/>
                  </a:cubicBezTo>
                  <a:cubicBezTo>
                    <a:pt x="2269" y="7058"/>
                    <a:pt x="2584" y="6742"/>
                    <a:pt x="2994" y="6742"/>
                  </a:cubicBezTo>
                  <a:close/>
                  <a:moveTo>
                    <a:pt x="11248" y="6742"/>
                  </a:moveTo>
                  <a:cubicBezTo>
                    <a:pt x="11658" y="6742"/>
                    <a:pt x="12004" y="7058"/>
                    <a:pt x="12004" y="7499"/>
                  </a:cubicBezTo>
                  <a:cubicBezTo>
                    <a:pt x="12004" y="7908"/>
                    <a:pt x="11658" y="8223"/>
                    <a:pt x="11248" y="8223"/>
                  </a:cubicBezTo>
                  <a:lnTo>
                    <a:pt x="11248" y="6742"/>
                  </a:lnTo>
                  <a:close/>
                  <a:moveTo>
                    <a:pt x="1828" y="8444"/>
                  </a:moveTo>
                  <a:cubicBezTo>
                    <a:pt x="2112" y="8790"/>
                    <a:pt x="2553" y="8979"/>
                    <a:pt x="3025" y="8979"/>
                  </a:cubicBezTo>
                  <a:cubicBezTo>
                    <a:pt x="3088" y="9830"/>
                    <a:pt x="3466" y="10681"/>
                    <a:pt x="4034" y="11311"/>
                  </a:cubicBezTo>
                  <a:cubicBezTo>
                    <a:pt x="3656" y="11752"/>
                    <a:pt x="3183" y="11972"/>
                    <a:pt x="2616" y="11972"/>
                  </a:cubicBezTo>
                  <a:cubicBezTo>
                    <a:pt x="1608" y="11972"/>
                    <a:pt x="789" y="11153"/>
                    <a:pt x="789" y="10113"/>
                  </a:cubicBezTo>
                  <a:cubicBezTo>
                    <a:pt x="789" y="9420"/>
                    <a:pt x="1198" y="8759"/>
                    <a:pt x="1828" y="8444"/>
                  </a:cubicBezTo>
                  <a:close/>
                  <a:moveTo>
                    <a:pt x="5042" y="2962"/>
                  </a:moveTo>
                  <a:cubicBezTo>
                    <a:pt x="5987" y="5073"/>
                    <a:pt x="8066" y="6616"/>
                    <a:pt x="10461" y="6774"/>
                  </a:cubicBezTo>
                  <a:lnTo>
                    <a:pt x="10461" y="8664"/>
                  </a:lnTo>
                  <a:cubicBezTo>
                    <a:pt x="10492" y="10492"/>
                    <a:pt x="8980" y="11972"/>
                    <a:pt x="7121" y="11972"/>
                  </a:cubicBezTo>
                  <a:cubicBezTo>
                    <a:pt x="5262" y="11972"/>
                    <a:pt x="3719" y="10460"/>
                    <a:pt x="3719" y="8633"/>
                  </a:cubicBezTo>
                  <a:lnTo>
                    <a:pt x="3719" y="5640"/>
                  </a:lnTo>
                  <a:cubicBezTo>
                    <a:pt x="3719" y="4600"/>
                    <a:pt x="4254" y="3592"/>
                    <a:pt x="5042" y="2962"/>
                  </a:cubicBezTo>
                  <a:close/>
                  <a:moveTo>
                    <a:pt x="7121" y="0"/>
                  </a:moveTo>
                  <a:cubicBezTo>
                    <a:pt x="5577" y="0"/>
                    <a:pt x="4191" y="631"/>
                    <a:pt x="3151" y="1670"/>
                  </a:cubicBezTo>
                  <a:cubicBezTo>
                    <a:pt x="2080" y="2710"/>
                    <a:pt x="1482" y="4128"/>
                    <a:pt x="1482" y="5640"/>
                  </a:cubicBezTo>
                  <a:lnTo>
                    <a:pt x="1482" y="7751"/>
                  </a:lnTo>
                  <a:cubicBezTo>
                    <a:pt x="568" y="8192"/>
                    <a:pt x="1" y="9105"/>
                    <a:pt x="1" y="10113"/>
                  </a:cubicBezTo>
                  <a:cubicBezTo>
                    <a:pt x="1" y="11594"/>
                    <a:pt x="1167" y="12728"/>
                    <a:pt x="2584" y="12728"/>
                  </a:cubicBezTo>
                  <a:cubicBezTo>
                    <a:pt x="3340" y="12728"/>
                    <a:pt x="4034" y="12413"/>
                    <a:pt x="4569" y="11846"/>
                  </a:cubicBezTo>
                  <a:cubicBezTo>
                    <a:pt x="5262" y="12413"/>
                    <a:pt x="6176" y="12728"/>
                    <a:pt x="7121" y="12728"/>
                  </a:cubicBezTo>
                  <a:cubicBezTo>
                    <a:pt x="8224" y="12728"/>
                    <a:pt x="9232" y="12287"/>
                    <a:pt x="10020" y="11500"/>
                  </a:cubicBezTo>
                  <a:cubicBezTo>
                    <a:pt x="10744" y="10838"/>
                    <a:pt x="11122" y="9924"/>
                    <a:pt x="11217" y="8979"/>
                  </a:cubicBezTo>
                  <a:cubicBezTo>
                    <a:pt x="12036" y="8979"/>
                    <a:pt x="12697" y="8318"/>
                    <a:pt x="12697" y="7499"/>
                  </a:cubicBezTo>
                  <a:lnTo>
                    <a:pt x="12697" y="5640"/>
                  </a:lnTo>
                  <a:cubicBezTo>
                    <a:pt x="12760" y="4128"/>
                    <a:pt x="12162" y="2710"/>
                    <a:pt x="11091" y="1670"/>
                  </a:cubicBezTo>
                  <a:cubicBezTo>
                    <a:pt x="10020" y="599"/>
                    <a:pt x="8602" y="0"/>
                    <a:pt x="7121"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475" name="Google Shape;10475;p112"/>
            <p:cNvSpPr/>
            <p:nvPr/>
          </p:nvSpPr>
          <p:spPr>
            <a:xfrm>
              <a:off x="-57446675" y="2073400"/>
              <a:ext cx="18125" cy="18150"/>
            </a:xfrm>
            <a:custGeom>
              <a:avLst/>
              <a:gdLst/>
              <a:ahLst/>
              <a:cxnLst/>
              <a:rect l="l" t="t" r="r" b="b"/>
              <a:pathLst>
                <a:path w="725" h="726" extrusionOk="0">
                  <a:moveTo>
                    <a:pt x="347" y="1"/>
                  </a:moveTo>
                  <a:cubicBezTo>
                    <a:pt x="158" y="1"/>
                    <a:pt x="0" y="158"/>
                    <a:pt x="0" y="348"/>
                  </a:cubicBezTo>
                  <a:cubicBezTo>
                    <a:pt x="0" y="568"/>
                    <a:pt x="158" y="726"/>
                    <a:pt x="347" y="726"/>
                  </a:cubicBezTo>
                  <a:cubicBezTo>
                    <a:pt x="567" y="726"/>
                    <a:pt x="725" y="568"/>
                    <a:pt x="725" y="348"/>
                  </a:cubicBezTo>
                  <a:cubicBezTo>
                    <a:pt x="725" y="158"/>
                    <a:pt x="567" y="1"/>
                    <a:pt x="347"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476" name="Google Shape;10476;p112"/>
            <p:cNvSpPr/>
            <p:nvPr/>
          </p:nvSpPr>
          <p:spPr>
            <a:xfrm>
              <a:off x="-57371850" y="2073400"/>
              <a:ext cx="18125" cy="18150"/>
            </a:xfrm>
            <a:custGeom>
              <a:avLst/>
              <a:gdLst/>
              <a:ahLst/>
              <a:cxnLst/>
              <a:rect l="l" t="t" r="r" b="b"/>
              <a:pathLst>
                <a:path w="725" h="726" extrusionOk="0">
                  <a:moveTo>
                    <a:pt x="347" y="1"/>
                  </a:moveTo>
                  <a:cubicBezTo>
                    <a:pt x="158" y="1"/>
                    <a:pt x="0" y="158"/>
                    <a:pt x="0" y="348"/>
                  </a:cubicBezTo>
                  <a:cubicBezTo>
                    <a:pt x="0" y="537"/>
                    <a:pt x="158" y="726"/>
                    <a:pt x="347" y="726"/>
                  </a:cubicBezTo>
                  <a:cubicBezTo>
                    <a:pt x="567" y="726"/>
                    <a:pt x="725" y="537"/>
                    <a:pt x="725" y="348"/>
                  </a:cubicBezTo>
                  <a:cubicBezTo>
                    <a:pt x="725" y="158"/>
                    <a:pt x="567" y="1"/>
                    <a:pt x="347"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477" name="Google Shape;10477;p112"/>
            <p:cNvSpPr/>
            <p:nvPr/>
          </p:nvSpPr>
          <p:spPr>
            <a:xfrm>
              <a:off x="-57436450" y="2136625"/>
              <a:ext cx="72500" cy="29750"/>
            </a:xfrm>
            <a:custGeom>
              <a:avLst/>
              <a:gdLst/>
              <a:ahLst/>
              <a:cxnLst/>
              <a:rect l="l" t="t" r="r" b="b"/>
              <a:pathLst>
                <a:path w="2900" h="1190" extrusionOk="0">
                  <a:moveTo>
                    <a:pt x="387" y="0"/>
                  </a:moveTo>
                  <a:cubicBezTo>
                    <a:pt x="292" y="0"/>
                    <a:pt x="206" y="40"/>
                    <a:pt x="158" y="118"/>
                  </a:cubicBezTo>
                  <a:cubicBezTo>
                    <a:pt x="1" y="276"/>
                    <a:pt x="1" y="496"/>
                    <a:pt x="158" y="622"/>
                  </a:cubicBezTo>
                  <a:cubicBezTo>
                    <a:pt x="505" y="969"/>
                    <a:pt x="977" y="1190"/>
                    <a:pt x="1450" y="1190"/>
                  </a:cubicBezTo>
                  <a:cubicBezTo>
                    <a:pt x="1923" y="1190"/>
                    <a:pt x="2427" y="969"/>
                    <a:pt x="2742" y="622"/>
                  </a:cubicBezTo>
                  <a:cubicBezTo>
                    <a:pt x="2899" y="465"/>
                    <a:pt x="2899" y="244"/>
                    <a:pt x="2742" y="118"/>
                  </a:cubicBezTo>
                  <a:cubicBezTo>
                    <a:pt x="2679" y="40"/>
                    <a:pt x="2592" y="0"/>
                    <a:pt x="2502" y="0"/>
                  </a:cubicBezTo>
                  <a:cubicBezTo>
                    <a:pt x="2411" y="0"/>
                    <a:pt x="2316" y="40"/>
                    <a:pt x="2238" y="118"/>
                  </a:cubicBezTo>
                  <a:cubicBezTo>
                    <a:pt x="2049" y="307"/>
                    <a:pt x="1734" y="433"/>
                    <a:pt x="1450" y="433"/>
                  </a:cubicBezTo>
                  <a:cubicBezTo>
                    <a:pt x="1167" y="433"/>
                    <a:pt x="851" y="307"/>
                    <a:pt x="662" y="118"/>
                  </a:cubicBezTo>
                  <a:cubicBezTo>
                    <a:pt x="584" y="40"/>
                    <a:pt x="481" y="0"/>
                    <a:pt x="387"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10478" name="Google Shape;10478;p112"/>
          <p:cNvGrpSpPr/>
          <p:nvPr/>
        </p:nvGrpSpPr>
        <p:grpSpPr>
          <a:xfrm>
            <a:off x="7080056" y="2675258"/>
            <a:ext cx="423053" cy="481453"/>
            <a:chOff x="-57558525" y="2294725"/>
            <a:chExt cx="279625" cy="318225"/>
          </a:xfrm>
        </p:grpSpPr>
        <p:sp>
          <p:nvSpPr>
            <p:cNvPr id="10479" name="Google Shape;10479;p112"/>
            <p:cNvSpPr/>
            <p:nvPr/>
          </p:nvSpPr>
          <p:spPr>
            <a:xfrm>
              <a:off x="-57455350" y="2498925"/>
              <a:ext cx="72475" cy="29750"/>
            </a:xfrm>
            <a:custGeom>
              <a:avLst/>
              <a:gdLst/>
              <a:ahLst/>
              <a:cxnLst/>
              <a:rect l="l" t="t" r="r" b="b"/>
              <a:pathLst>
                <a:path w="2899" h="1190" extrusionOk="0">
                  <a:moveTo>
                    <a:pt x="398" y="0"/>
                  </a:moveTo>
                  <a:cubicBezTo>
                    <a:pt x="308" y="0"/>
                    <a:pt x="221" y="40"/>
                    <a:pt x="158" y="119"/>
                  </a:cubicBezTo>
                  <a:cubicBezTo>
                    <a:pt x="1" y="276"/>
                    <a:pt x="1" y="497"/>
                    <a:pt x="158" y="623"/>
                  </a:cubicBezTo>
                  <a:cubicBezTo>
                    <a:pt x="505" y="969"/>
                    <a:pt x="977" y="1190"/>
                    <a:pt x="1450" y="1190"/>
                  </a:cubicBezTo>
                  <a:cubicBezTo>
                    <a:pt x="1923" y="1190"/>
                    <a:pt x="2427" y="969"/>
                    <a:pt x="2742" y="623"/>
                  </a:cubicBezTo>
                  <a:cubicBezTo>
                    <a:pt x="2899" y="465"/>
                    <a:pt x="2899" y="245"/>
                    <a:pt x="2742" y="119"/>
                  </a:cubicBezTo>
                  <a:cubicBezTo>
                    <a:pt x="2694" y="40"/>
                    <a:pt x="2608" y="0"/>
                    <a:pt x="2513" y="0"/>
                  </a:cubicBezTo>
                  <a:cubicBezTo>
                    <a:pt x="2419" y="0"/>
                    <a:pt x="2316" y="40"/>
                    <a:pt x="2238" y="119"/>
                  </a:cubicBezTo>
                  <a:cubicBezTo>
                    <a:pt x="2049" y="308"/>
                    <a:pt x="1733" y="434"/>
                    <a:pt x="1450" y="434"/>
                  </a:cubicBezTo>
                  <a:cubicBezTo>
                    <a:pt x="1135" y="434"/>
                    <a:pt x="851" y="308"/>
                    <a:pt x="662" y="119"/>
                  </a:cubicBezTo>
                  <a:cubicBezTo>
                    <a:pt x="584" y="40"/>
                    <a:pt x="489" y="0"/>
                    <a:pt x="398"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480" name="Google Shape;10480;p112"/>
            <p:cNvSpPr/>
            <p:nvPr/>
          </p:nvSpPr>
          <p:spPr>
            <a:xfrm>
              <a:off x="-57465575" y="2427050"/>
              <a:ext cx="18125" cy="17350"/>
            </a:xfrm>
            <a:custGeom>
              <a:avLst/>
              <a:gdLst/>
              <a:ahLst/>
              <a:cxnLst/>
              <a:rect l="l" t="t" r="r" b="b"/>
              <a:pathLst>
                <a:path w="725" h="694" extrusionOk="0">
                  <a:moveTo>
                    <a:pt x="378" y="1"/>
                  </a:moveTo>
                  <a:cubicBezTo>
                    <a:pt x="189" y="1"/>
                    <a:pt x="0" y="158"/>
                    <a:pt x="0" y="347"/>
                  </a:cubicBezTo>
                  <a:cubicBezTo>
                    <a:pt x="0" y="536"/>
                    <a:pt x="189" y="694"/>
                    <a:pt x="378" y="694"/>
                  </a:cubicBezTo>
                  <a:cubicBezTo>
                    <a:pt x="567" y="694"/>
                    <a:pt x="725" y="536"/>
                    <a:pt x="725" y="347"/>
                  </a:cubicBezTo>
                  <a:cubicBezTo>
                    <a:pt x="725" y="158"/>
                    <a:pt x="567" y="1"/>
                    <a:pt x="378"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481" name="Google Shape;10481;p112"/>
            <p:cNvSpPr/>
            <p:nvPr/>
          </p:nvSpPr>
          <p:spPr>
            <a:xfrm>
              <a:off x="-57389975" y="2427050"/>
              <a:ext cx="17350" cy="17350"/>
            </a:xfrm>
            <a:custGeom>
              <a:avLst/>
              <a:gdLst/>
              <a:ahLst/>
              <a:cxnLst/>
              <a:rect l="l" t="t" r="r" b="b"/>
              <a:pathLst>
                <a:path w="694" h="694" extrusionOk="0">
                  <a:moveTo>
                    <a:pt x="347" y="1"/>
                  </a:moveTo>
                  <a:cubicBezTo>
                    <a:pt x="158" y="1"/>
                    <a:pt x="1" y="158"/>
                    <a:pt x="1" y="347"/>
                  </a:cubicBezTo>
                  <a:cubicBezTo>
                    <a:pt x="1" y="536"/>
                    <a:pt x="158" y="694"/>
                    <a:pt x="347" y="694"/>
                  </a:cubicBezTo>
                  <a:cubicBezTo>
                    <a:pt x="536" y="694"/>
                    <a:pt x="694" y="536"/>
                    <a:pt x="694" y="347"/>
                  </a:cubicBezTo>
                  <a:cubicBezTo>
                    <a:pt x="694" y="158"/>
                    <a:pt x="536" y="1"/>
                    <a:pt x="347"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482" name="Google Shape;10482;p112"/>
            <p:cNvSpPr/>
            <p:nvPr/>
          </p:nvSpPr>
          <p:spPr>
            <a:xfrm>
              <a:off x="-57558525" y="2294725"/>
              <a:ext cx="279625" cy="318225"/>
            </a:xfrm>
            <a:custGeom>
              <a:avLst/>
              <a:gdLst/>
              <a:ahLst/>
              <a:cxnLst/>
              <a:rect l="l" t="t" r="r" b="b"/>
              <a:pathLst>
                <a:path w="11185" h="12729" extrusionOk="0">
                  <a:moveTo>
                    <a:pt x="5577" y="788"/>
                  </a:moveTo>
                  <a:cubicBezTo>
                    <a:pt x="8255" y="788"/>
                    <a:pt x="10429" y="2962"/>
                    <a:pt x="10429" y="5640"/>
                  </a:cubicBezTo>
                  <a:lnTo>
                    <a:pt x="10429" y="12036"/>
                  </a:lnTo>
                  <a:lnTo>
                    <a:pt x="725" y="12036"/>
                  </a:lnTo>
                  <a:lnTo>
                    <a:pt x="725" y="5640"/>
                  </a:lnTo>
                  <a:cubicBezTo>
                    <a:pt x="725" y="2962"/>
                    <a:pt x="2899" y="788"/>
                    <a:pt x="5577" y="788"/>
                  </a:cubicBezTo>
                  <a:close/>
                  <a:moveTo>
                    <a:pt x="5577" y="1"/>
                  </a:moveTo>
                  <a:cubicBezTo>
                    <a:pt x="2458" y="1"/>
                    <a:pt x="1" y="2521"/>
                    <a:pt x="1" y="5609"/>
                  </a:cubicBezTo>
                  <a:lnTo>
                    <a:pt x="1" y="12382"/>
                  </a:lnTo>
                  <a:cubicBezTo>
                    <a:pt x="1" y="12571"/>
                    <a:pt x="158" y="12729"/>
                    <a:pt x="347" y="12729"/>
                  </a:cubicBezTo>
                  <a:lnTo>
                    <a:pt x="10775" y="12729"/>
                  </a:lnTo>
                  <a:cubicBezTo>
                    <a:pt x="10964" y="12729"/>
                    <a:pt x="11122" y="12571"/>
                    <a:pt x="11122" y="12382"/>
                  </a:cubicBezTo>
                  <a:lnTo>
                    <a:pt x="11122" y="5609"/>
                  </a:lnTo>
                  <a:cubicBezTo>
                    <a:pt x="11185" y="2521"/>
                    <a:pt x="8696" y="1"/>
                    <a:pt x="5577"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483" name="Google Shape;10483;p112"/>
            <p:cNvSpPr/>
            <p:nvPr/>
          </p:nvSpPr>
          <p:spPr>
            <a:xfrm>
              <a:off x="-57521500" y="2332550"/>
              <a:ext cx="204800" cy="241825"/>
            </a:xfrm>
            <a:custGeom>
              <a:avLst/>
              <a:gdLst/>
              <a:ahLst/>
              <a:cxnLst/>
              <a:rect l="l" t="t" r="r" b="b"/>
              <a:pathLst>
                <a:path w="8192" h="9673" extrusionOk="0">
                  <a:moveTo>
                    <a:pt x="4096" y="756"/>
                  </a:moveTo>
                  <a:cubicBezTo>
                    <a:pt x="5230" y="756"/>
                    <a:pt x="6301" y="1323"/>
                    <a:pt x="6900" y="2237"/>
                  </a:cubicBezTo>
                  <a:lnTo>
                    <a:pt x="1292" y="2237"/>
                  </a:lnTo>
                  <a:cubicBezTo>
                    <a:pt x="1891" y="1323"/>
                    <a:pt x="2930" y="756"/>
                    <a:pt x="4096" y="756"/>
                  </a:cubicBezTo>
                  <a:close/>
                  <a:moveTo>
                    <a:pt x="7278" y="3025"/>
                  </a:moveTo>
                  <a:cubicBezTo>
                    <a:pt x="7404" y="3371"/>
                    <a:pt x="7498" y="3718"/>
                    <a:pt x="7498" y="4127"/>
                  </a:cubicBezTo>
                  <a:lnTo>
                    <a:pt x="7498" y="5230"/>
                  </a:lnTo>
                  <a:lnTo>
                    <a:pt x="756" y="5230"/>
                  </a:lnTo>
                  <a:lnTo>
                    <a:pt x="756" y="4127"/>
                  </a:lnTo>
                  <a:cubicBezTo>
                    <a:pt x="756" y="3718"/>
                    <a:pt x="819" y="3340"/>
                    <a:pt x="945" y="3025"/>
                  </a:cubicBezTo>
                  <a:close/>
                  <a:moveTo>
                    <a:pt x="7404" y="5986"/>
                  </a:moveTo>
                  <a:cubicBezTo>
                    <a:pt x="7246" y="7624"/>
                    <a:pt x="5829" y="8979"/>
                    <a:pt x="4096" y="8979"/>
                  </a:cubicBezTo>
                  <a:cubicBezTo>
                    <a:pt x="2363" y="8979"/>
                    <a:pt x="945" y="7687"/>
                    <a:pt x="756" y="5986"/>
                  </a:cubicBezTo>
                  <a:close/>
                  <a:moveTo>
                    <a:pt x="4096" y="0"/>
                  </a:moveTo>
                  <a:cubicBezTo>
                    <a:pt x="1859" y="0"/>
                    <a:pt x="0" y="1827"/>
                    <a:pt x="0" y="4096"/>
                  </a:cubicBezTo>
                  <a:lnTo>
                    <a:pt x="0" y="5576"/>
                  </a:lnTo>
                  <a:cubicBezTo>
                    <a:pt x="0" y="7845"/>
                    <a:pt x="1859" y="9672"/>
                    <a:pt x="4096" y="9672"/>
                  </a:cubicBezTo>
                  <a:cubicBezTo>
                    <a:pt x="6333" y="9672"/>
                    <a:pt x="8192" y="7845"/>
                    <a:pt x="8192" y="5576"/>
                  </a:cubicBezTo>
                  <a:lnTo>
                    <a:pt x="8192" y="4096"/>
                  </a:lnTo>
                  <a:cubicBezTo>
                    <a:pt x="8192" y="1859"/>
                    <a:pt x="6333" y="0"/>
                    <a:pt x="4096"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10484" name="Google Shape;10484;p112"/>
          <p:cNvGrpSpPr/>
          <p:nvPr/>
        </p:nvGrpSpPr>
        <p:grpSpPr>
          <a:xfrm>
            <a:off x="7047868" y="3278704"/>
            <a:ext cx="487429" cy="482625"/>
            <a:chOff x="-57579800" y="2686975"/>
            <a:chExt cx="322175" cy="319000"/>
          </a:xfrm>
        </p:grpSpPr>
        <p:sp>
          <p:nvSpPr>
            <p:cNvPr id="10485" name="Google Shape;10485;p112"/>
            <p:cNvSpPr/>
            <p:nvPr/>
          </p:nvSpPr>
          <p:spPr>
            <a:xfrm>
              <a:off x="-57455350" y="2920300"/>
              <a:ext cx="72475" cy="29750"/>
            </a:xfrm>
            <a:custGeom>
              <a:avLst/>
              <a:gdLst/>
              <a:ahLst/>
              <a:cxnLst/>
              <a:rect l="l" t="t" r="r" b="b"/>
              <a:pathLst>
                <a:path w="2899" h="1190" extrusionOk="0">
                  <a:moveTo>
                    <a:pt x="398" y="1"/>
                  </a:moveTo>
                  <a:cubicBezTo>
                    <a:pt x="308" y="1"/>
                    <a:pt x="221" y="40"/>
                    <a:pt x="158" y="119"/>
                  </a:cubicBezTo>
                  <a:cubicBezTo>
                    <a:pt x="1" y="276"/>
                    <a:pt x="1" y="497"/>
                    <a:pt x="158" y="623"/>
                  </a:cubicBezTo>
                  <a:cubicBezTo>
                    <a:pt x="505" y="969"/>
                    <a:pt x="977" y="1190"/>
                    <a:pt x="1450" y="1190"/>
                  </a:cubicBezTo>
                  <a:cubicBezTo>
                    <a:pt x="1923" y="1190"/>
                    <a:pt x="2427" y="969"/>
                    <a:pt x="2742" y="623"/>
                  </a:cubicBezTo>
                  <a:cubicBezTo>
                    <a:pt x="2899" y="465"/>
                    <a:pt x="2899" y="245"/>
                    <a:pt x="2742" y="119"/>
                  </a:cubicBezTo>
                  <a:cubicBezTo>
                    <a:pt x="2694" y="40"/>
                    <a:pt x="2608" y="1"/>
                    <a:pt x="2513" y="1"/>
                  </a:cubicBezTo>
                  <a:cubicBezTo>
                    <a:pt x="2419" y="1"/>
                    <a:pt x="2316" y="40"/>
                    <a:pt x="2238" y="119"/>
                  </a:cubicBezTo>
                  <a:cubicBezTo>
                    <a:pt x="2049" y="308"/>
                    <a:pt x="1733" y="434"/>
                    <a:pt x="1450" y="434"/>
                  </a:cubicBezTo>
                  <a:cubicBezTo>
                    <a:pt x="1135" y="434"/>
                    <a:pt x="851" y="308"/>
                    <a:pt x="662" y="119"/>
                  </a:cubicBezTo>
                  <a:cubicBezTo>
                    <a:pt x="584" y="40"/>
                    <a:pt x="489" y="1"/>
                    <a:pt x="398"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486" name="Google Shape;10486;p112"/>
            <p:cNvSpPr/>
            <p:nvPr/>
          </p:nvSpPr>
          <p:spPr>
            <a:xfrm>
              <a:off x="-57579800" y="2686975"/>
              <a:ext cx="322175" cy="319000"/>
            </a:xfrm>
            <a:custGeom>
              <a:avLst/>
              <a:gdLst/>
              <a:ahLst/>
              <a:cxnLst/>
              <a:rect l="l" t="t" r="r" b="b"/>
              <a:pathLst>
                <a:path w="12887" h="12760" extrusionOk="0">
                  <a:moveTo>
                    <a:pt x="6428" y="756"/>
                  </a:moveTo>
                  <a:cubicBezTo>
                    <a:pt x="6680" y="756"/>
                    <a:pt x="6901" y="945"/>
                    <a:pt x="6932" y="1166"/>
                  </a:cubicBezTo>
                  <a:lnTo>
                    <a:pt x="7153" y="2080"/>
                  </a:lnTo>
                  <a:lnTo>
                    <a:pt x="7247" y="2710"/>
                  </a:lnTo>
                  <a:cubicBezTo>
                    <a:pt x="7373" y="3214"/>
                    <a:pt x="6932" y="3749"/>
                    <a:pt x="6428" y="3749"/>
                  </a:cubicBezTo>
                  <a:cubicBezTo>
                    <a:pt x="5892" y="3749"/>
                    <a:pt x="5483" y="3277"/>
                    <a:pt x="5609" y="2710"/>
                  </a:cubicBezTo>
                  <a:lnTo>
                    <a:pt x="5735" y="2080"/>
                  </a:lnTo>
                  <a:lnTo>
                    <a:pt x="5924" y="1166"/>
                  </a:lnTo>
                  <a:cubicBezTo>
                    <a:pt x="5955" y="945"/>
                    <a:pt x="6144" y="756"/>
                    <a:pt x="6428" y="756"/>
                  </a:cubicBezTo>
                  <a:close/>
                  <a:moveTo>
                    <a:pt x="8003" y="2647"/>
                  </a:moveTo>
                  <a:lnTo>
                    <a:pt x="8003" y="2647"/>
                  </a:lnTo>
                  <a:cubicBezTo>
                    <a:pt x="9106" y="3214"/>
                    <a:pt x="9830" y="4379"/>
                    <a:pt x="9830" y="5577"/>
                  </a:cubicBezTo>
                  <a:lnTo>
                    <a:pt x="9830" y="6049"/>
                  </a:lnTo>
                  <a:cubicBezTo>
                    <a:pt x="9704" y="6018"/>
                    <a:pt x="9578" y="5986"/>
                    <a:pt x="9452" y="5986"/>
                  </a:cubicBezTo>
                  <a:lnTo>
                    <a:pt x="7940" y="5986"/>
                  </a:lnTo>
                  <a:cubicBezTo>
                    <a:pt x="7468" y="5986"/>
                    <a:pt x="7027" y="6301"/>
                    <a:pt x="6869" y="6742"/>
                  </a:cubicBezTo>
                  <a:lnTo>
                    <a:pt x="6018" y="6742"/>
                  </a:lnTo>
                  <a:cubicBezTo>
                    <a:pt x="5861" y="6301"/>
                    <a:pt x="5451" y="5986"/>
                    <a:pt x="4947" y="5986"/>
                  </a:cubicBezTo>
                  <a:lnTo>
                    <a:pt x="3403" y="5986"/>
                  </a:lnTo>
                  <a:cubicBezTo>
                    <a:pt x="3277" y="5986"/>
                    <a:pt x="3120" y="6018"/>
                    <a:pt x="3057" y="6049"/>
                  </a:cubicBezTo>
                  <a:lnTo>
                    <a:pt x="3057" y="5577"/>
                  </a:lnTo>
                  <a:cubicBezTo>
                    <a:pt x="3057" y="4379"/>
                    <a:pt x="3750" y="3214"/>
                    <a:pt x="4853" y="2647"/>
                  </a:cubicBezTo>
                  <a:lnTo>
                    <a:pt x="4853" y="2647"/>
                  </a:lnTo>
                  <a:cubicBezTo>
                    <a:pt x="4695" y="3623"/>
                    <a:pt x="5451" y="4474"/>
                    <a:pt x="6428" y="4474"/>
                  </a:cubicBezTo>
                  <a:cubicBezTo>
                    <a:pt x="7405" y="4474"/>
                    <a:pt x="8161" y="3623"/>
                    <a:pt x="8003" y="2647"/>
                  </a:cubicBezTo>
                  <a:close/>
                  <a:moveTo>
                    <a:pt x="2301" y="6774"/>
                  </a:moveTo>
                  <a:lnTo>
                    <a:pt x="2301" y="8254"/>
                  </a:lnTo>
                  <a:cubicBezTo>
                    <a:pt x="1891" y="8254"/>
                    <a:pt x="1545" y="7939"/>
                    <a:pt x="1545" y="7530"/>
                  </a:cubicBezTo>
                  <a:cubicBezTo>
                    <a:pt x="1545" y="7120"/>
                    <a:pt x="1891" y="6774"/>
                    <a:pt x="2301" y="6774"/>
                  </a:cubicBezTo>
                  <a:close/>
                  <a:moveTo>
                    <a:pt x="4947" y="6805"/>
                  </a:moveTo>
                  <a:cubicBezTo>
                    <a:pt x="5136" y="6805"/>
                    <a:pt x="5294" y="6963"/>
                    <a:pt x="5294" y="7152"/>
                  </a:cubicBezTo>
                  <a:cubicBezTo>
                    <a:pt x="5294" y="7782"/>
                    <a:pt x="4790" y="8254"/>
                    <a:pt x="4191" y="8254"/>
                  </a:cubicBezTo>
                  <a:lnTo>
                    <a:pt x="3403" y="8254"/>
                  </a:lnTo>
                  <a:cubicBezTo>
                    <a:pt x="3214" y="8254"/>
                    <a:pt x="3057" y="8097"/>
                    <a:pt x="3057" y="7908"/>
                  </a:cubicBezTo>
                  <a:lnTo>
                    <a:pt x="3057" y="7152"/>
                  </a:lnTo>
                  <a:cubicBezTo>
                    <a:pt x="3057" y="6963"/>
                    <a:pt x="3214" y="6805"/>
                    <a:pt x="3403" y="6805"/>
                  </a:cubicBezTo>
                  <a:close/>
                  <a:moveTo>
                    <a:pt x="9452" y="6805"/>
                  </a:moveTo>
                  <a:cubicBezTo>
                    <a:pt x="9673" y="6805"/>
                    <a:pt x="9830" y="6963"/>
                    <a:pt x="9830" y="7152"/>
                  </a:cubicBezTo>
                  <a:lnTo>
                    <a:pt x="9830" y="7908"/>
                  </a:lnTo>
                  <a:cubicBezTo>
                    <a:pt x="9830" y="8097"/>
                    <a:pt x="9673" y="8254"/>
                    <a:pt x="9452" y="8254"/>
                  </a:cubicBezTo>
                  <a:lnTo>
                    <a:pt x="8665" y="8254"/>
                  </a:lnTo>
                  <a:cubicBezTo>
                    <a:pt x="8035" y="8254"/>
                    <a:pt x="7562" y="7750"/>
                    <a:pt x="7562" y="7152"/>
                  </a:cubicBezTo>
                  <a:cubicBezTo>
                    <a:pt x="7562" y="6963"/>
                    <a:pt x="7720" y="6805"/>
                    <a:pt x="7940" y="6805"/>
                  </a:cubicBezTo>
                  <a:close/>
                  <a:moveTo>
                    <a:pt x="10587" y="6774"/>
                  </a:moveTo>
                  <a:cubicBezTo>
                    <a:pt x="10965" y="6774"/>
                    <a:pt x="11311" y="7120"/>
                    <a:pt x="11311" y="7530"/>
                  </a:cubicBezTo>
                  <a:cubicBezTo>
                    <a:pt x="11311" y="7908"/>
                    <a:pt x="10996" y="8254"/>
                    <a:pt x="10587" y="8254"/>
                  </a:cubicBezTo>
                  <a:lnTo>
                    <a:pt x="10587" y="6774"/>
                  </a:lnTo>
                  <a:close/>
                  <a:moveTo>
                    <a:pt x="1135" y="8412"/>
                  </a:moveTo>
                  <a:cubicBezTo>
                    <a:pt x="1387" y="8790"/>
                    <a:pt x="1828" y="9011"/>
                    <a:pt x="2301" y="9011"/>
                  </a:cubicBezTo>
                  <a:cubicBezTo>
                    <a:pt x="2301" y="9420"/>
                    <a:pt x="1986" y="9767"/>
                    <a:pt x="1545" y="9767"/>
                  </a:cubicBezTo>
                  <a:cubicBezTo>
                    <a:pt x="1167" y="9767"/>
                    <a:pt x="789" y="9452"/>
                    <a:pt x="789" y="9011"/>
                  </a:cubicBezTo>
                  <a:cubicBezTo>
                    <a:pt x="789" y="8790"/>
                    <a:pt x="915" y="8538"/>
                    <a:pt x="1135" y="8412"/>
                  </a:cubicBezTo>
                  <a:close/>
                  <a:moveTo>
                    <a:pt x="11752" y="8412"/>
                  </a:moveTo>
                  <a:cubicBezTo>
                    <a:pt x="11941" y="8570"/>
                    <a:pt x="12067" y="8790"/>
                    <a:pt x="12067" y="9011"/>
                  </a:cubicBezTo>
                  <a:cubicBezTo>
                    <a:pt x="12067" y="9420"/>
                    <a:pt x="11752" y="9767"/>
                    <a:pt x="11311" y="9767"/>
                  </a:cubicBezTo>
                  <a:cubicBezTo>
                    <a:pt x="10870" y="9767"/>
                    <a:pt x="10555" y="9420"/>
                    <a:pt x="10555" y="9011"/>
                  </a:cubicBezTo>
                  <a:cubicBezTo>
                    <a:pt x="11028" y="9011"/>
                    <a:pt x="11469" y="8790"/>
                    <a:pt x="11752" y="8412"/>
                  </a:cubicBezTo>
                  <a:close/>
                  <a:moveTo>
                    <a:pt x="6837" y="7561"/>
                  </a:moveTo>
                  <a:cubicBezTo>
                    <a:pt x="6995" y="8412"/>
                    <a:pt x="7783" y="9042"/>
                    <a:pt x="8633" y="9042"/>
                  </a:cubicBezTo>
                  <a:lnTo>
                    <a:pt x="9421" y="9042"/>
                  </a:lnTo>
                  <a:cubicBezTo>
                    <a:pt x="9547" y="9042"/>
                    <a:pt x="9673" y="9011"/>
                    <a:pt x="9767" y="8979"/>
                  </a:cubicBezTo>
                  <a:lnTo>
                    <a:pt x="9767" y="8979"/>
                  </a:lnTo>
                  <a:cubicBezTo>
                    <a:pt x="9610" y="10680"/>
                    <a:pt x="8192" y="12004"/>
                    <a:pt x="6428" y="12004"/>
                  </a:cubicBezTo>
                  <a:cubicBezTo>
                    <a:pt x="4664" y="12004"/>
                    <a:pt x="3246" y="10680"/>
                    <a:pt x="3057" y="8979"/>
                  </a:cubicBezTo>
                  <a:lnTo>
                    <a:pt x="3057" y="8979"/>
                  </a:lnTo>
                  <a:cubicBezTo>
                    <a:pt x="3151" y="9011"/>
                    <a:pt x="3277" y="9042"/>
                    <a:pt x="3403" y="9042"/>
                  </a:cubicBezTo>
                  <a:lnTo>
                    <a:pt x="4191" y="9042"/>
                  </a:lnTo>
                  <a:cubicBezTo>
                    <a:pt x="5105" y="9042"/>
                    <a:pt x="5829" y="8412"/>
                    <a:pt x="5987" y="7561"/>
                  </a:cubicBezTo>
                  <a:close/>
                  <a:moveTo>
                    <a:pt x="6428" y="0"/>
                  </a:moveTo>
                  <a:cubicBezTo>
                    <a:pt x="5798" y="0"/>
                    <a:pt x="5294" y="410"/>
                    <a:pt x="5168" y="1008"/>
                  </a:cubicBezTo>
                  <a:lnTo>
                    <a:pt x="5010" y="1733"/>
                  </a:lnTo>
                  <a:cubicBezTo>
                    <a:pt x="4286" y="1985"/>
                    <a:pt x="3592" y="2458"/>
                    <a:pt x="3120" y="3088"/>
                  </a:cubicBezTo>
                  <a:cubicBezTo>
                    <a:pt x="2584" y="3812"/>
                    <a:pt x="2301" y="4663"/>
                    <a:pt x="2301" y="5577"/>
                  </a:cubicBezTo>
                  <a:lnTo>
                    <a:pt x="2301" y="6018"/>
                  </a:lnTo>
                  <a:cubicBezTo>
                    <a:pt x="1387" y="6018"/>
                    <a:pt x="694" y="6805"/>
                    <a:pt x="789" y="7719"/>
                  </a:cubicBezTo>
                  <a:cubicBezTo>
                    <a:pt x="316" y="7971"/>
                    <a:pt x="64" y="8475"/>
                    <a:pt x="64" y="9011"/>
                  </a:cubicBezTo>
                  <a:cubicBezTo>
                    <a:pt x="64" y="9420"/>
                    <a:pt x="221" y="9767"/>
                    <a:pt x="442" y="9987"/>
                  </a:cubicBezTo>
                  <a:lnTo>
                    <a:pt x="95" y="10712"/>
                  </a:lnTo>
                  <a:cubicBezTo>
                    <a:pt x="1" y="10901"/>
                    <a:pt x="95" y="11090"/>
                    <a:pt x="253" y="11216"/>
                  </a:cubicBezTo>
                  <a:cubicBezTo>
                    <a:pt x="305" y="11242"/>
                    <a:pt x="357" y="11254"/>
                    <a:pt x="408" y="11254"/>
                  </a:cubicBezTo>
                  <a:cubicBezTo>
                    <a:pt x="541" y="11254"/>
                    <a:pt x="666" y="11173"/>
                    <a:pt x="757" y="11058"/>
                  </a:cubicBezTo>
                  <a:lnTo>
                    <a:pt x="1072" y="10428"/>
                  </a:lnTo>
                  <a:cubicBezTo>
                    <a:pt x="1230" y="10460"/>
                    <a:pt x="1387" y="10523"/>
                    <a:pt x="1545" y="10523"/>
                  </a:cubicBezTo>
                  <a:cubicBezTo>
                    <a:pt x="1954" y="10523"/>
                    <a:pt x="2301" y="10365"/>
                    <a:pt x="2584" y="10113"/>
                  </a:cubicBezTo>
                  <a:cubicBezTo>
                    <a:pt x="3151" y="11657"/>
                    <a:pt x="4664" y="12760"/>
                    <a:pt x="6428" y="12760"/>
                  </a:cubicBezTo>
                  <a:cubicBezTo>
                    <a:pt x="8224" y="12760"/>
                    <a:pt x="9704" y="11657"/>
                    <a:pt x="10303" y="10113"/>
                  </a:cubicBezTo>
                  <a:cubicBezTo>
                    <a:pt x="10587" y="10365"/>
                    <a:pt x="10933" y="10523"/>
                    <a:pt x="11311" y="10523"/>
                  </a:cubicBezTo>
                  <a:cubicBezTo>
                    <a:pt x="11469" y="10523"/>
                    <a:pt x="11626" y="10460"/>
                    <a:pt x="11784" y="10428"/>
                  </a:cubicBezTo>
                  <a:lnTo>
                    <a:pt x="12099" y="11058"/>
                  </a:lnTo>
                  <a:cubicBezTo>
                    <a:pt x="12164" y="11188"/>
                    <a:pt x="12288" y="11273"/>
                    <a:pt x="12431" y="11273"/>
                  </a:cubicBezTo>
                  <a:cubicBezTo>
                    <a:pt x="12496" y="11273"/>
                    <a:pt x="12565" y="11255"/>
                    <a:pt x="12634" y="11216"/>
                  </a:cubicBezTo>
                  <a:cubicBezTo>
                    <a:pt x="12823" y="11153"/>
                    <a:pt x="12886" y="10901"/>
                    <a:pt x="12792" y="10712"/>
                  </a:cubicBezTo>
                  <a:lnTo>
                    <a:pt x="12414" y="9987"/>
                  </a:lnTo>
                  <a:cubicBezTo>
                    <a:pt x="12666" y="9735"/>
                    <a:pt x="12823" y="9357"/>
                    <a:pt x="12823" y="9011"/>
                  </a:cubicBezTo>
                  <a:cubicBezTo>
                    <a:pt x="12823" y="8475"/>
                    <a:pt x="12508" y="8002"/>
                    <a:pt x="12067" y="7719"/>
                  </a:cubicBezTo>
                  <a:cubicBezTo>
                    <a:pt x="12193" y="6805"/>
                    <a:pt x="11469" y="6018"/>
                    <a:pt x="10555" y="6018"/>
                  </a:cubicBezTo>
                  <a:lnTo>
                    <a:pt x="10555" y="5577"/>
                  </a:lnTo>
                  <a:cubicBezTo>
                    <a:pt x="10555" y="4663"/>
                    <a:pt x="10303" y="3812"/>
                    <a:pt x="9736" y="3088"/>
                  </a:cubicBezTo>
                  <a:cubicBezTo>
                    <a:pt x="9263" y="2458"/>
                    <a:pt x="8602" y="1985"/>
                    <a:pt x="7846" y="1733"/>
                  </a:cubicBezTo>
                  <a:lnTo>
                    <a:pt x="7688" y="1008"/>
                  </a:lnTo>
                  <a:cubicBezTo>
                    <a:pt x="7562" y="410"/>
                    <a:pt x="7058" y="0"/>
                    <a:pt x="6428"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10487" name="Google Shape;10487;p112"/>
          <p:cNvGrpSpPr/>
          <p:nvPr/>
        </p:nvGrpSpPr>
        <p:grpSpPr>
          <a:xfrm>
            <a:off x="10014243" y="2675258"/>
            <a:ext cx="489812" cy="481453"/>
            <a:chOff x="-55620975" y="2294725"/>
            <a:chExt cx="323750" cy="318225"/>
          </a:xfrm>
        </p:grpSpPr>
        <p:sp>
          <p:nvSpPr>
            <p:cNvPr id="10488" name="Google Shape;10488;p112"/>
            <p:cNvSpPr/>
            <p:nvPr/>
          </p:nvSpPr>
          <p:spPr>
            <a:xfrm>
              <a:off x="-55496525" y="2527275"/>
              <a:ext cx="73275" cy="29750"/>
            </a:xfrm>
            <a:custGeom>
              <a:avLst/>
              <a:gdLst/>
              <a:ahLst/>
              <a:cxnLst/>
              <a:rect l="l" t="t" r="r" b="b"/>
              <a:pathLst>
                <a:path w="2931" h="1190" extrusionOk="0">
                  <a:moveTo>
                    <a:pt x="414" y="1"/>
                  </a:moveTo>
                  <a:cubicBezTo>
                    <a:pt x="316" y="1"/>
                    <a:pt x="221" y="40"/>
                    <a:pt x="158" y="119"/>
                  </a:cubicBezTo>
                  <a:cubicBezTo>
                    <a:pt x="1" y="276"/>
                    <a:pt x="1" y="528"/>
                    <a:pt x="158" y="623"/>
                  </a:cubicBezTo>
                  <a:cubicBezTo>
                    <a:pt x="536" y="1001"/>
                    <a:pt x="1009" y="1190"/>
                    <a:pt x="1481" y="1190"/>
                  </a:cubicBezTo>
                  <a:cubicBezTo>
                    <a:pt x="1954" y="1190"/>
                    <a:pt x="2458" y="1001"/>
                    <a:pt x="2773" y="623"/>
                  </a:cubicBezTo>
                  <a:cubicBezTo>
                    <a:pt x="2931" y="465"/>
                    <a:pt x="2931" y="245"/>
                    <a:pt x="2773" y="119"/>
                  </a:cubicBezTo>
                  <a:cubicBezTo>
                    <a:pt x="2710" y="40"/>
                    <a:pt x="2623" y="1"/>
                    <a:pt x="2533" y="1"/>
                  </a:cubicBezTo>
                  <a:cubicBezTo>
                    <a:pt x="2442" y="1"/>
                    <a:pt x="2348" y="40"/>
                    <a:pt x="2269" y="119"/>
                  </a:cubicBezTo>
                  <a:cubicBezTo>
                    <a:pt x="2048" y="308"/>
                    <a:pt x="1733" y="434"/>
                    <a:pt x="1481" y="434"/>
                  </a:cubicBezTo>
                  <a:cubicBezTo>
                    <a:pt x="1166" y="434"/>
                    <a:pt x="883" y="308"/>
                    <a:pt x="694" y="119"/>
                  </a:cubicBezTo>
                  <a:cubicBezTo>
                    <a:pt x="615" y="40"/>
                    <a:pt x="512" y="1"/>
                    <a:pt x="414"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489" name="Google Shape;10489;p112"/>
            <p:cNvSpPr/>
            <p:nvPr/>
          </p:nvSpPr>
          <p:spPr>
            <a:xfrm>
              <a:off x="-55505975" y="2444375"/>
              <a:ext cx="17350" cy="18150"/>
            </a:xfrm>
            <a:custGeom>
              <a:avLst/>
              <a:gdLst/>
              <a:ahLst/>
              <a:cxnLst/>
              <a:rect l="l" t="t" r="r" b="b"/>
              <a:pathLst>
                <a:path w="694" h="726" extrusionOk="0">
                  <a:moveTo>
                    <a:pt x="347" y="1"/>
                  </a:moveTo>
                  <a:cubicBezTo>
                    <a:pt x="158" y="1"/>
                    <a:pt x="0" y="158"/>
                    <a:pt x="0" y="379"/>
                  </a:cubicBezTo>
                  <a:cubicBezTo>
                    <a:pt x="0" y="568"/>
                    <a:pt x="158" y="725"/>
                    <a:pt x="347" y="725"/>
                  </a:cubicBezTo>
                  <a:cubicBezTo>
                    <a:pt x="536" y="725"/>
                    <a:pt x="694" y="568"/>
                    <a:pt x="694" y="379"/>
                  </a:cubicBezTo>
                  <a:cubicBezTo>
                    <a:pt x="694" y="158"/>
                    <a:pt x="536" y="1"/>
                    <a:pt x="347"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490" name="Google Shape;10490;p112"/>
            <p:cNvSpPr/>
            <p:nvPr/>
          </p:nvSpPr>
          <p:spPr>
            <a:xfrm>
              <a:off x="-55431150" y="2444375"/>
              <a:ext cx="17350" cy="18150"/>
            </a:xfrm>
            <a:custGeom>
              <a:avLst/>
              <a:gdLst/>
              <a:ahLst/>
              <a:cxnLst/>
              <a:rect l="l" t="t" r="r" b="b"/>
              <a:pathLst>
                <a:path w="694" h="726" extrusionOk="0">
                  <a:moveTo>
                    <a:pt x="347" y="1"/>
                  </a:moveTo>
                  <a:cubicBezTo>
                    <a:pt x="158" y="1"/>
                    <a:pt x="0" y="158"/>
                    <a:pt x="0" y="379"/>
                  </a:cubicBezTo>
                  <a:cubicBezTo>
                    <a:pt x="0" y="568"/>
                    <a:pt x="158" y="725"/>
                    <a:pt x="347" y="725"/>
                  </a:cubicBezTo>
                  <a:cubicBezTo>
                    <a:pt x="536" y="725"/>
                    <a:pt x="694" y="568"/>
                    <a:pt x="694" y="379"/>
                  </a:cubicBezTo>
                  <a:cubicBezTo>
                    <a:pt x="694" y="158"/>
                    <a:pt x="536" y="1"/>
                    <a:pt x="347"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491" name="Google Shape;10491;p112"/>
            <p:cNvSpPr/>
            <p:nvPr/>
          </p:nvSpPr>
          <p:spPr>
            <a:xfrm>
              <a:off x="-55620975" y="2294725"/>
              <a:ext cx="323750" cy="318225"/>
            </a:xfrm>
            <a:custGeom>
              <a:avLst/>
              <a:gdLst/>
              <a:ahLst/>
              <a:cxnLst/>
              <a:rect l="l" t="t" r="r" b="b"/>
              <a:pathLst>
                <a:path w="12950" h="12729" extrusionOk="0">
                  <a:moveTo>
                    <a:pt x="6459" y="851"/>
                  </a:moveTo>
                  <a:lnTo>
                    <a:pt x="11343" y="4506"/>
                  </a:lnTo>
                  <a:lnTo>
                    <a:pt x="1576" y="4506"/>
                  </a:lnTo>
                  <a:lnTo>
                    <a:pt x="6459" y="851"/>
                  </a:lnTo>
                  <a:close/>
                  <a:moveTo>
                    <a:pt x="2364" y="5987"/>
                  </a:moveTo>
                  <a:lnTo>
                    <a:pt x="2364" y="7499"/>
                  </a:lnTo>
                  <a:cubicBezTo>
                    <a:pt x="1923" y="7499"/>
                    <a:pt x="1608" y="7152"/>
                    <a:pt x="1608" y="6743"/>
                  </a:cubicBezTo>
                  <a:cubicBezTo>
                    <a:pt x="1608" y="6365"/>
                    <a:pt x="1923" y="5987"/>
                    <a:pt x="2364" y="5987"/>
                  </a:cubicBezTo>
                  <a:close/>
                  <a:moveTo>
                    <a:pt x="10555" y="5987"/>
                  </a:moveTo>
                  <a:cubicBezTo>
                    <a:pt x="10964" y="5987"/>
                    <a:pt x="11280" y="6365"/>
                    <a:pt x="11280" y="6743"/>
                  </a:cubicBezTo>
                  <a:cubicBezTo>
                    <a:pt x="11280" y="7152"/>
                    <a:pt x="10964" y="7499"/>
                    <a:pt x="10555" y="7499"/>
                  </a:cubicBezTo>
                  <a:lnTo>
                    <a:pt x="10555" y="5987"/>
                  </a:lnTo>
                  <a:close/>
                  <a:moveTo>
                    <a:pt x="9830" y="5262"/>
                  </a:moveTo>
                  <a:cubicBezTo>
                    <a:pt x="9799" y="5798"/>
                    <a:pt x="9799" y="8287"/>
                    <a:pt x="9799" y="8633"/>
                  </a:cubicBezTo>
                  <a:cubicBezTo>
                    <a:pt x="9799" y="10492"/>
                    <a:pt x="8287" y="11973"/>
                    <a:pt x="6459" y="11973"/>
                  </a:cubicBezTo>
                  <a:cubicBezTo>
                    <a:pt x="4600" y="11973"/>
                    <a:pt x="3088" y="10492"/>
                    <a:pt x="3088" y="8633"/>
                  </a:cubicBezTo>
                  <a:lnTo>
                    <a:pt x="3088" y="5262"/>
                  </a:lnTo>
                  <a:close/>
                  <a:moveTo>
                    <a:pt x="6459" y="1"/>
                  </a:moveTo>
                  <a:cubicBezTo>
                    <a:pt x="6381" y="1"/>
                    <a:pt x="6302" y="32"/>
                    <a:pt x="6239" y="95"/>
                  </a:cubicBezTo>
                  <a:lnTo>
                    <a:pt x="253" y="4569"/>
                  </a:lnTo>
                  <a:cubicBezTo>
                    <a:pt x="1" y="4790"/>
                    <a:pt x="158" y="5231"/>
                    <a:pt x="505" y="5231"/>
                  </a:cubicBezTo>
                  <a:lnTo>
                    <a:pt x="2395" y="5231"/>
                  </a:lnTo>
                  <a:cubicBezTo>
                    <a:pt x="1576" y="5231"/>
                    <a:pt x="883" y="5924"/>
                    <a:pt x="883" y="6743"/>
                  </a:cubicBezTo>
                  <a:cubicBezTo>
                    <a:pt x="883" y="7562"/>
                    <a:pt x="1576" y="8255"/>
                    <a:pt x="2395" y="8255"/>
                  </a:cubicBezTo>
                  <a:lnTo>
                    <a:pt x="2395" y="8633"/>
                  </a:lnTo>
                  <a:cubicBezTo>
                    <a:pt x="2395" y="10870"/>
                    <a:pt x="4254" y="12729"/>
                    <a:pt x="6491" y="12729"/>
                  </a:cubicBezTo>
                  <a:cubicBezTo>
                    <a:pt x="8728" y="12729"/>
                    <a:pt x="10586" y="10870"/>
                    <a:pt x="10586" y="8633"/>
                  </a:cubicBezTo>
                  <a:lnTo>
                    <a:pt x="10586" y="8255"/>
                  </a:lnTo>
                  <a:cubicBezTo>
                    <a:pt x="11406" y="8255"/>
                    <a:pt x="12067" y="7562"/>
                    <a:pt x="12067" y="6743"/>
                  </a:cubicBezTo>
                  <a:cubicBezTo>
                    <a:pt x="12067" y="5924"/>
                    <a:pt x="11406" y="5231"/>
                    <a:pt x="10586" y="5231"/>
                  </a:cubicBezTo>
                  <a:lnTo>
                    <a:pt x="12477" y="5231"/>
                  </a:lnTo>
                  <a:cubicBezTo>
                    <a:pt x="12792" y="5231"/>
                    <a:pt x="12949" y="4790"/>
                    <a:pt x="12666" y="4569"/>
                  </a:cubicBezTo>
                  <a:lnTo>
                    <a:pt x="6680" y="95"/>
                  </a:lnTo>
                  <a:cubicBezTo>
                    <a:pt x="6617" y="32"/>
                    <a:pt x="6538" y="1"/>
                    <a:pt x="6459"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492" name="Google Shape;10492;p112"/>
            <p:cNvSpPr/>
            <p:nvPr/>
          </p:nvSpPr>
          <p:spPr>
            <a:xfrm>
              <a:off x="-55450850" y="2482375"/>
              <a:ext cx="39400" cy="38225"/>
            </a:xfrm>
            <a:custGeom>
              <a:avLst/>
              <a:gdLst/>
              <a:ahLst/>
              <a:cxnLst/>
              <a:rect l="l" t="t" r="r" b="b"/>
              <a:pathLst>
                <a:path w="1576" h="1529" extrusionOk="0">
                  <a:moveTo>
                    <a:pt x="399" y="1"/>
                  </a:moveTo>
                  <a:cubicBezTo>
                    <a:pt x="308" y="1"/>
                    <a:pt x="221" y="40"/>
                    <a:pt x="158" y="119"/>
                  </a:cubicBezTo>
                  <a:cubicBezTo>
                    <a:pt x="1" y="277"/>
                    <a:pt x="1" y="497"/>
                    <a:pt x="158" y="623"/>
                  </a:cubicBezTo>
                  <a:lnTo>
                    <a:pt x="914" y="1411"/>
                  </a:lnTo>
                  <a:cubicBezTo>
                    <a:pt x="993" y="1489"/>
                    <a:pt x="1088" y="1529"/>
                    <a:pt x="1178" y="1529"/>
                  </a:cubicBezTo>
                  <a:cubicBezTo>
                    <a:pt x="1269" y="1529"/>
                    <a:pt x="1356" y="1489"/>
                    <a:pt x="1419" y="1411"/>
                  </a:cubicBezTo>
                  <a:cubicBezTo>
                    <a:pt x="1576" y="1253"/>
                    <a:pt x="1576" y="1001"/>
                    <a:pt x="1419" y="907"/>
                  </a:cubicBezTo>
                  <a:lnTo>
                    <a:pt x="662" y="119"/>
                  </a:lnTo>
                  <a:cubicBezTo>
                    <a:pt x="584" y="40"/>
                    <a:pt x="489" y="1"/>
                    <a:pt x="399"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493" name="Google Shape;10493;p112"/>
            <p:cNvSpPr/>
            <p:nvPr/>
          </p:nvSpPr>
          <p:spPr>
            <a:xfrm>
              <a:off x="-55506775" y="2482375"/>
              <a:ext cx="39400" cy="38225"/>
            </a:xfrm>
            <a:custGeom>
              <a:avLst/>
              <a:gdLst/>
              <a:ahLst/>
              <a:cxnLst/>
              <a:rect l="l" t="t" r="r" b="b"/>
              <a:pathLst>
                <a:path w="1576" h="1529" extrusionOk="0">
                  <a:moveTo>
                    <a:pt x="1139" y="1"/>
                  </a:moveTo>
                  <a:cubicBezTo>
                    <a:pt x="1041" y="1"/>
                    <a:pt x="946" y="40"/>
                    <a:pt x="883" y="119"/>
                  </a:cubicBezTo>
                  <a:lnTo>
                    <a:pt x="159" y="907"/>
                  </a:lnTo>
                  <a:cubicBezTo>
                    <a:pt x="1" y="1064"/>
                    <a:pt x="1" y="1285"/>
                    <a:pt x="159" y="1411"/>
                  </a:cubicBezTo>
                  <a:cubicBezTo>
                    <a:pt x="237" y="1489"/>
                    <a:pt x="332" y="1529"/>
                    <a:pt x="422" y="1529"/>
                  </a:cubicBezTo>
                  <a:cubicBezTo>
                    <a:pt x="513" y="1529"/>
                    <a:pt x="600" y="1489"/>
                    <a:pt x="663" y="1411"/>
                  </a:cubicBezTo>
                  <a:lnTo>
                    <a:pt x="1419" y="623"/>
                  </a:lnTo>
                  <a:cubicBezTo>
                    <a:pt x="1576" y="466"/>
                    <a:pt x="1576" y="213"/>
                    <a:pt x="1419" y="119"/>
                  </a:cubicBezTo>
                  <a:cubicBezTo>
                    <a:pt x="1340" y="40"/>
                    <a:pt x="1238" y="1"/>
                    <a:pt x="1139"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10494" name="Google Shape;10494;p112"/>
          <p:cNvGrpSpPr/>
          <p:nvPr/>
        </p:nvGrpSpPr>
        <p:grpSpPr>
          <a:xfrm>
            <a:off x="10017231" y="3278590"/>
            <a:ext cx="483836" cy="481567"/>
            <a:chOff x="-55620175" y="2686900"/>
            <a:chExt cx="319800" cy="318300"/>
          </a:xfrm>
        </p:grpSpPr>
        <p:sp>
          <p:nvSpPr>
            <p:cNvPr id="10495" name="Google Shape;10495;p112"/>
            <p:cNvSpPr/>
            <p:nvPr/>
          </p:nvSpPr>
          <p:spPr>
            <a:xfrm>
              <a:off x="-55514650" y="2917925"/>
              <a:ext cx="72500" cy="29775"/>
            </a:xfrm>
            <a:custGeom>
              <a:avLst/>
              <a:gdLst/>
              <a:ahLst/>
              <a:cxnLst/>
              <a:rect l="l" t="t" r="r" b="b"/>
              <a:pathLst>
                <a:path w="2900" h="1191" extrusionOk="0">
                  <a:moveTo>
                    <a:pt x="387" y="1"/>
                  </a:moveTo>
                  <a:cubicBezTo>
                    <a:pt x="292" y="1"/>
                    <a:pt x="206" y="40"/>
                    <a:pt x="158" y="119"/>
                  </a:cubicBezTo>
                  <a:cubicBezTo>
                    <a:pt x="1" y="277"/>
                    <a:pt x="1" y="529"/>
                    <a:pt x="158" y="655"/>
                  </a:cubicBezTo>
                  <a:cubicBezTo>
                    <a:pt x="505" y="1001"/>
                    <a:pt x="978" y="1190"/>
                    <a:pt x="1450" y="1190"/>
                  </a:cubicBezTo>
                  <a:cubicBezTo>
                    <a:pt x="1954" y="1190"/>
                    <a:pt x="2427" y="1001"/>
                    <a:pt x="2742" y="655"/>
                  </a:cubicBezTo>
                  <a:cubicBezTo>
                    <a:pt x="2899" y="497"/>
                    <a:pt x="2899" y="245"/>
                    <a:pt x="2742" y="119"/>
                  </a:cubicBezTo>
                  <a:cubicBezTo>
                    <a:pt x="2679" y="72"/>
                    <a:pt x="2592" y="48"/>
                    <a:pt x="2502" y="48"/>
                  </a:cubicBezTo>
                  <a:cubicBezTo>
                    <a:pt x="2411" y="48"/>
                    <a:pt x="2317" y="72"/>
                    <a:pt x="2238" y="119"/>
                  </a:cubicBezTo>
                  <a:cubicBezTo>
                    <a:pt x="2049" y="340"/>
                    <a:pt x="1734" y="434"/>
                    <a:pt x="1450" y="434"/>
                  </a:cubicBezTo>
                  <a:cubicBezTo>
                    <a:pt x="1135" y="434"/>
                    <a:pt x="852" y="340"/>
                    <a:pt x="663" y="119"/>
                  </a:cubicBezTo>
                  <a:cubicBezTo>
                    <a:pt x="584" y="40"/>
                    <a:pt x="481" y="1"/>
                    <a:pt x="387"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496" name="Google Shape;10496;p112"/>
            <p:cNvSpPr/>
            <p:nvPr/>
          </p:nvSpPr>
          <p:spPr>
            <a:xfrm>
              <a:off x="-55450050" y="2854725"/>
              <a:ext cx="18125" cy="18150"/>
            </a:xfrm>
            <a:custGeom>
              <a:avLst/>
              <a:gdLst/>
              <a:ahLst/>
              <a:cxnLst/>
              <a:rect l="l" t="t" r="r" b="b"/>
              <a:pathLst>
                <a:path w="725" h="726" extrusionOk="0">
                  <a:moveTo>
                    <a:pt x="378" y="1"/>
                  </a:moveTo>
                  <a:cubicBezTo>
                    <a:pt x="158" y="1"/>
                    <a:pt x="0" y="190"/>
                    <a:pt x="0" y="379"/>
                  </a:cubicBezTo>
                  <a:cubicBezTo>
                    <a:pt x="0" y="568"/>
                    <a:pt x="158" y="725"/>
                    <a:pt x="378" y="725"/>
                  </a:cubicBezTo>
                  <a:cubicBezTo>
                    <a:pt x="567" y="725"/>
                    <a:pt x="725" y="568"/>
                    <a:pt x="725" y="379"/>
                  </a:cubicBezTo>
                  <a:cubicBezTo>
                    <a:pt x="725" y="190"/>
                    <a:pt x="567" y="1"/>
                    <a:pt x="378"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497" name="Google Shape;10497;p112"/>
            <p:cNvSpPr/>
            <p:nvPr/>
          </p:nvSpPr>
          <p:spPr>
            <a:xfrm>
              <a:off x="-55524875" y="2855525"/>
              <a:ext cx="18925" cy="17450"/>
            </a:xfrm>
            <a:custGeom>
              <a:avLst/>
              <a:gdLst/>
              <a:ahLst/>
              <a:cxnLst/>
              <a:rect l="l" t="t" r="r" b="b"/>
              <a:pathLst>
                <a:path w="757" h="698" extrusionOk="0">
                  <a:moveTo>
                    <a:pt x="410" y="0"/>
                  </a:moveTo>
                  <a:cubicBezTo>
                    <a:pt x="189" y="0"/>
                    <a:pt x="0" y="158"/>
                    <a:pt x="0" y="347"/>
                  </a:cubicBezTo>
                  <a:cubicBezTo>
                    <a:pt x="0" y="536"/>
                    <a:pt x="189" y="693"/>
                    <a:pt x="410" y="693"/>
                  </a:cubicBezTo>
                  <a:cubicBezTo>
                    <a:pt x="423" y="696"/>
                    <a:pt x="437" y="697"/>
                    <a:pt x="451" y="697"/>
                  </a:cubicBezTo>
                  <a:cubicBezTo>
                    <a:pt x="598" y="697"/>
                    <a:pt x="756" y="548"/>
                    <a:pt x="756" y="347"/>
                  </a:cubicBezTo>
                  <a:cubicBezTo>
                    <a:pt x="756" y="158"/>
                    <a:pt x="599" y="0"/>
                    <a:pt x="410"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498" name="Google Shape;10498;p112"/>
            <p:cNvSpPr/>
            <p:nvPr/>
          </p:nvSpPr>
          <p:spPr>
            <a:xfrm>
              <a:off x="-55620175" y="2686900"/>
              <a:ext cx="319800" cy="318300"/>
            </a:xfrm>
            <a:custGeom>
              <a:avLst/>
              <a:gdLst/>
              <a:ahLst/>
              <a:cxnLst/>
              <a:rect l="l" t="t" r="r" b="b"/>
              <a:pathLst>
                <a:path w="12792" h="12732" extrusionOk="0">
                  <a:moveTo>
                    <a:pt x="5671" y="2240"/>
                  </a:moveTo>
                  <a:cubicBezTo>
                    <a:pt x="6333" y="2240"/>
                    <a:pt x="6931" y="2429"/>
                    <a:pt x="7435" y="2744"/>
                  </a:cubicBezTo>
                  <a:cubicBezTo>
                    <a:pt x="7057" y="4225"/>
                    <a:pt x="5703" y="5233"/>
                    <a:pt x="4159" y="5233"/>
                  </a:cubicBezTo>
                  <a:lnTo>
                    <a:pt x="2332" y="5233"/>
                  </a:lnTo>
                  <a:cubicBezTo>
                    <a:pt x="2489" y="3532"/>
                    <a:pt x="3938" y="2240"/>
                    <a:pt x="5671" y="2240"/>
                  </a:cubicBezTo>
                  <a:close/>
                  <a:moveTo>
                    <a:pt x="8318" y="732"/>
                  </a:moveTo>
                  <a:cubicBezTo>
                    <a:pt x="8434" y="732"/>
                    <a:pt x="8549" y="741"/>
                    <a:pt x="8664" y="759"/>
                  </a:cubicBezTo>
                  <a:cubicBezTo>
                    <a:pt x="9735" y="917"/>
                    <a:pt x="10523" y="1925"/>
                    <a:pt x="10523" y="3059"/>
                  </a:cubicBezTo>
                  <a:lnTo>
                    <a:pt x="10523" y="6147"/>
                  </a:lnTo>
                  <a:cubicBezTo>
                    <a:pt x="10271" y="6021"/>
                    <a:pt x="10050" y="5958"/>
                    <a:pt x="9767" y="5958"/>
                  </a:cubicBezTo>
                  <a:lnTo>
                    <a:pt x="9767" y="5580"/>
                  </a:lnTo>
                  <a:cubicBezTo>
                    <a:pt x="9767" y="3626"/>
                    <a:pt x="8349" y="1957"/>
                    <a:pt x="6490" y="1578"/>
                  </a:cubicBezTo>
                  <a:cubicBezTo>
                    <a:pt x="6975" y="1040"/>
                    <a:pt x="7643" y="732"/>
                    <a:pt x="8318" y="732"/>
                  </a:cubicBezTo>
                  <a:close/>
                  <a:moveTo>
                    <a:pt x="1544" y="6745"/>
                  </a:moveTo>
                  <a:lnTo>
                    <a:pt x="1544" y="8226"/>
                  </a:lnTo>
                  <a:cubicBezTo>
                    <a:pt x="1134" y="8226"/>
                    <a:pt x="788" y="7879"/>
                    <a:pt x="788" y="7470"/>
                  </a:cubicBezTo>
                  <a:cubicBezTo>
                    <a:pt x="788" y="7092"/>
                    <a:pt x="1134" y="6745"/>
                    <a:pt x="1544" y="6745"/>
                  </a:cubicBezTo>
                  <a:close/>
                  <a:moveTo>
                    <a:pt x="9798" y="6745"/>
                  </a:moveTo>
                  <a:cubicBezTo>
                    <a:pt x="10208" y="6745"/>
                    <a:pt x="10554" y="7060"/>
                    <a:pt x="10554" y="7470"/>
                  </a:cubicBezTo>
                  <a:cubicBezTo>
                    <a:pt x="10554" y="7879"/>
                    <a:pt x="10208" y="8226"/>
                    <a:pt x="9798" y="8226"/>
                  </a:cubicBezTo>
                  <a:lnTo>
                    <a:pt x="9798" y="6745"/>
                  </a:lnTo>
                  <a:close/>
                  <a:moveTo>
                    <a:pt x="10712" y="8667"/>
                  </a:moveTo>
                  <a:cubicBezTo>
                    <a:pt x="10775" y="8888"/>
                    <a:pt x="10869" y="9108"/>
                    <a:pt x="11027" y="9297"/>
                  </a:cubicBezTo>
                  <a:cubicBezTo>
                    <a:pt x="11090" y="9455"/>
                    <a:pt x="11216" y="9549"/>
                    <a:pt x="11342" y="9707"/>
                  </a:cubicBezTo>
                  <a:lnTo>
                    <a:pt x="9652" y="9707"/>
                  </a:lnTo>
                  <a:cubicBezTo>
                    <a:pt x="9738" y="9468"/>
                    <a:pt x="9768" y="9254"/>
                    <a:pt x="9798" y="8982"/>
                  </a:cubicBezTo>
                  <a:cubicBezTo>
                    <a:pt x="10145" y="8982"/>
                    <a:pt x="10460" y="8856"/>
                    <a:pt x="10712" y="8667"/>
                  </a:cubicBezTo>
                  <a:close/>
                  <a:moveTo>
                    <a:pt x="8066" y="3280"/>
                  </a:moveTo>
                  <a:cubicBezTo>
                    <a:pt x="8664" y="3847"/>
                    <a:pt x="9042" y="4729"/>
                    <a:pt x="9042" y="5643"/>
                  </a:cubicBezTo>
                  <a:lnTo>
                    <a:pt x="9042" y="8636"/>
                  </a:lnTo>
                  <a:cubicBezTo>
                    <a:pt x="9042" y="10463"/>
                    <a:pt x="7530" y="11975"/>
                    <a:pt x="5671" y="11975"/>
                  </a:cubicBezTo>
                  <a:cubicBezTo>
                    <a:pt x="3812" y="11975"/>
                    <a:pt x="2269" y="10431"/>
                    <a:pt x="2269" y="8573"/>
                  </a:cubicBezTo>
                  <a:lnTo>
                    <a:pt x="2269" y="5989"/>
                  </a:lnTo>
                  <a:lnTo>
                    <a:pt x="4159" y="5989"/>
                  </a:lnTo>
                  <a:cubicBezTo>
                    <a:pt x="5104" y="5989"/>
                    <a:pt x="6049" y="5643"/>
                    <a:pt x="6805" y="5044"/>
                  </a:cubicBezTo>
                  <a:cubicBezTo>
                    <a:pt x="7404" y="4571"/>
                    <a:pt x="7782" y="3941"/>
                    <a:pt x="8066" y="3280"/>
                  </a:cubicBezTo>
                  <a:close/>
                  <a:moveTo>
                    <a:pt x="8329" y="0"/>
                  </a:moveTo>
                  <a:cubicBezTo>
                    <a:pt x="7237" y="0"/>
                    <a:pt x="6224" y="580"/>
                    <a:pt x="5671" y="1547"/>
                  </a:cubicBezTo>
                  <a:lnTo>
                    <a:pt x="5640" y="1547"/>
                  </a:lnTo>
                  <a:cubicBezTo>
                    <a:pt x="3340" y="1547"/>
                    <a:pt x="1481" y="3374"/>
                    <a:pt x="1481" y="5643"/>
                  </a:cubicBezTo>
                  <a:lnTo>
                    <a:pt x="1481" y="5989"/>
                  </a:lnTo>
                  <a:cubicBezTo>
                    <a:pt x="662" y="5989"/>
                    <a:pt x="0" y="6651"/>
                    <a:pt x="0" y="7470"/>
                  </a:cubicBezTo>
                  <a:cubicBezTo>
                    <a:pt x="0" y="8320"/>
                    <a:pt x="662" y="8982"/>
                    <a:pt x="1481" y="8982"/>
                  </a:cubicBezTo>
                  <a:cubicBezTo>
                    <a:pt x="1702" y="11061"/>
                    <a:pt x="3466" y="12731"/>
                    <a:pt x="5577" y="12731"/>
                  </a:cubicBezTo>
                  <a:cubicBezTo>
                    <a:pt x="7215" y="12731"/>
                    <a:pt x="8570" y="11818"/>
                    <a:pt x="9263" y="10463"/>
                  </a:cubicBezTo>
                  <a:lnTo>
                    <a:pt x="12319" y="10463"/>
                  </a:lnTo>
                  <a:cubicBezTo>
                    <a:pt x="12476" y="10463"/>
                    <a:pt x="12634" y="10368"/>
                    <a:pt x="12665" y="10211"/>
                  </a:cubicBezTo>
                  <a:cubicBezTo>
                    <a:pt x="12791" y="9990"/>
                    <a:pt x="12728" y="9833"/>
                    <a:pt x="12571" y="9770"/>
                  </a:cubicBezTo>
                  <a:cubicBezTo>
                    <a:pt x="11783" y="9360"/>
                    <a:pt x="11248" y="8573"/>
                    <a:pt x="11248" y="7690"/>
                  </a:cubicBezTo>
                  <a:lnTo>
                    <a:pt x="11248" y="3122"/>
                  </a:lnTo>
                  <a:cubicBezTo>
                    <a:pt x="11248" y="1578"/>
                    <a:pt x="10208" y="287"/>
                    <a:pt x="8790" y="35"/>
                  </a:cubicBezTo>
                  <a:cubicBezTo>
                    <a:pt x="8636" y="12"/>
                    <a:pt x="8481" y="0"/>
                    <a:pt x="8329"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10499" name="Google Shape;10499;p112"/>
          <p:cNvGrpSpPr/>
          <p:nvPr/>
        </p:nvGrpSpPr>
        <p:grpSpPr>
          <a:xfrm>
            <a:off x="8265184" y="3882582"/>
            <a:ext cx="482625" cy="481453"/>
            <a:chOff x="-53690500" y="1903275"/>
            <a:chExt cx="319000" cy="318225"/>
          </a:xfrm>
        </p:grpSpPr>
        <p:sp>
          <p:nvSpPr>
            <p:cNvPr id="10500" name="Google Shape;10500;p112"/>
            <p:cNvSpPr/>
            <p:nvPr/>
          </p:nvSpPr>
          <p:spPr>
            <a:xfrm>
              <a:off x="-53567625" y="2136625"/>
              <a:ext cx="71675" cy="29750"/>
            </a:xfrm>
            <a:custGeom>
              <a:avLst/>
              <a:gdLst/>
              <a:ahLst/>
              <a:cxnLst/>
              <a:rect l="l" t="t" r="r" b="b"/>
              <a:pathLst>
                <a:path w="2867" h="1190" extrusionOk="0">
                  <a:moveTo>
                    <a:pt x="366" y="0"/>
                  </a:moveTo>
                  <a:cubicBezTo>
                    <a:pt x="276" y="0"/>
                    <a:pt x="189" y="40"/>
                    <a:pt x="126" y="118"/>
                  </a:cubicBezTo>
                  <a:cubicBezTo>
                    <a:pt x="0" y="244"/>
                    <a:pt x="0" y="465"/>
                    <a:pt x="126" y="622"/>
                  </a:cubicBezTo>
                  <a:cubicBezTo>
                    <a:pt x="473" y="969"/>
                    <a:pt x="945" y="1190"/>
                    <a:pt x="1418" y="1190"/>
                  </a:cubicBezTo>
                  <a:cubicBezTo>
                    <a:pt x="1890" y="1190"/>
                    <a:pt x="2395" y="969"/>
                    <a:pt x="2710" y="622"/>
                  </a:cubicBezTo>
                  <a:cubicBezTo>
                    <a:pt x="2867" y="465"/>
                    <a:pt x="2867" y="244"/>
                    <a:pt x="2710" y="118"/>
                  </a:cubicBezTo>
                  <a:cubicBezTo>
                    <a:pt x="2631" y="40"/>
                    <a:pt x="2536" y="0"/>
                    <a:pt x="2446" y="0"/>
                  </a:cubicBezTo>
                  <a:cubicBezTo>
                    <a:pt x="2355" y="0"/>
                    <a:pt x="2269" y="40"/>
                    <a:pt x="2206" y="118"/>
                  </a:cubicBezTo>
                  <a:cubicBezTo>
                    <a:pt x="2017" y="307"/>
                    <a:pt x="1701" y="433"/>
                    <a:pt x="1418" y="433"/>
                  </a:cubicBezTo>
                  <a:cubicBezTo>
                    <a:pt x="1103" y="433"/>
                    <a:pt x="819" y="307"/>
                    <a:pt x="630" y="118"/>
                  </a:cubicBezTo>
                  <a:cubicBezTo>
                    <a:pt x="552" y="40"/>
                    <a:pt x="457" y="0"/>
                    <a:pt x="366"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501" name="Google Shape;10501;p112"/>
            <p:cNvSpPr/>
            <p:nvPr/>
          </p:nvSpPr>
          <p:spPr>
            <a:xfrm>
              <a:off x="-53502250" y="2072625"/>
              <a:ext cx="17325" cy="17350"/>
            </a:xfrm>
            <a:custGeom>
              <a:avLst/>
              <a:gdLst/>
              <a:ahLst/>
              <a:cxnLst/>
              <a:rect l="l" t="t" r="r" b="b"/>
              <a:pathLst>
                <a:path w="693" h="694" extrusionOk="0">
                  <a:moveTo>
                    <a:pt x="347" y="0"/>
                  </a:moveTo>
                  <a:cubicBezTo>
                    <a:pt x="158" y="0"/>
                    <a:pt x="0" y="158"/>
                    <a:pt x="0" y="347"/>
                  </a:cubicBezTo>
                  <a:cubicBezTo>
                    <a:pt x="0" y="536"/>
                    <a:pt x="158" y="694"/>
                    <a:pt x="347" y="694"/>
                  </a:cubicBezTo>
                  <a:cubicBezTo>
                    <a:pt x="536" y="694"/>
                    <a:pt x="693" y="536"/>
                    <a:pt x="693" y="347"/>
                  </a:cubicBezTo>
                  <a:cubicBezTo>
                    <a:pt x="693" y="158"/>
                    <a:pt x="536" y="0"/>
                    <a:pt x="347"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502" name="Google Shape;10502;p112"/>
            <p:cNvSpPr/>
            <p:nvPr/>
          </p:nvSpPr>
          <p:spPr>
            <a:xfrm>
              <a:off x="-53577075" y="2072625"/>
              <a:ext cx="17325" cy="17350"/>
            </a:xfrm>
            <a:custGeom>
              <a:avLst/>
              <a:gdLst/>
              <a:ahLst/>
              <a:cxnLst/>
              <a:rect l="l" t="t" r="r" b="b"/>
              <a:pathLst>
                <a:path w="693" h="694" extrusionOk="0">
                  <a:moveTo>
                    <a:pt x="347" y="0"/>
                  </a:moveTo>
                  <a:cubicBezTo>
                    <a:pt x="158" y="0"/>
                    <a:pt x="0" y="158"/>
                    <a:pt x="0" y="347"/>
                  </a:cubicBezTo>
                  <a:cubicBezTo>
                    <a:pt x="0" y="536"/>
                    <a:pt x="158" y="694"/>
                    <a:pt x="347" y="694"/>
                  </a:cubicBezTo>
                  <a:cubicBezTo>
                    <a:pt x="536" y="694"/>
                    <a:pt x="693" y="536"/>
                    <a:pt x="693" y="347"/>
                  </a:cubicBezTo>
                  <a:cubicBezTo>
                    <a:pt x="693" y="158"/>
                    <a:pt x="536" y="0"/>
                    <a:pt x="347"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503" name="Google Shape;10503;p112"/>
            <p:cNvSpPr/>
            <p:nvPr/>
          </p:nvSpPr>
          <p:spPr>
            <a:xfrm>
              <a:off x="-53690500" y="1903275"/>
              <a:ext cx="319000" cy="318225"/>
            </a:xfrm>
            <a:custGeom>
              <a:avLst/>
              <a:gdLst/>
              <a:ahLst/>
              <a:cxnLst/>
              <a:rect l="l" t="t" r="r" b="b"/>
              <a:pathLst>
                <a:path w="12760" h="12729" extrusionOk="0">
                  <a:moveTo>
                    <a:pt x="9735" y="4475"/>
                  </a:moveTo>
                  <a:lnTo>
                    <a:pt x="9735" y="5262"/>
                  </a:lnTo>
                  <a:lnTo>
                    <a:pt x="2993" y="5262"/>
                  </a:lnTo>
                  <a:lnTo>
                    <a:pt x="2993" y="4475"/>
                  </a:lnTo>
                  <a:close/>
                  <a:moveTo>
                    <a:pt x="9767" y="6018"/>
                  </a:moveTo>
                  <a:lnTo>
                    <a:pt x="9767" y="8633"/>
                  </a:lnTo>
                  <a:cubicBezTo>
                    <a:pt x="9767" y="10461"/>
                    <a:pt x="8255" y="11973"/>
                    <a:pt x="6427" y="11973"/>
                  </a:cubicBezTo>
                  <a:cubicBezTo>
                    <a:pt x="4569" y="11973"/>
                    <a:pt x="3088" y="10461"/>
                    <a:pt x="3088" y="8633"/>
                  </a:cubicBezTo>
                  <a:lnTo>
                    <a:pt x="3088" y="6018"/>
                  </a:lnTo>
                  <a:close/>
                  <a:moveTo>
                    <a:pt x="6459" y="757"/>
                  </a:moveTo>
                  <a:cubicBezTo>
                    <a:pt x="9578" y="757"/>
                    <a:pt x="12098" y="3277"/>
                    <a:pt x="12098" y="6365"/>
                  </a:cubicBezTo>
                  <a:lnTo>
                    <a:pt x="12098" y="11973"/>
                  </a:lnTo>
                  <a:lnTo>
                    <a:pt x="8727" y="11973"/>
                  </a:lnTo>
                  <a:cubicBezTo>
                    <a:pt x="9798" y="11217"/>
                    <a:pt x="10460" y="9988"/>
                    <a:pt x="10460" y="8633"/>
                  </a:cubicBezTo>
                  <a:lnTo>
                    <a:pt x="10460" y="4097"/>
                  </a:lnTo>
                  <a:cubicBezTo>
                    <a:pt x="10460" y="3908"/>
                    <a:pt x="10303" y="3750"/>
                    <a:pt x="10114" y="3750"/>
                  </a:cubicBezTo>
                  <a:lnTo>
                    <a:pt x="6774" y="3750"/>
                  </a:lnTo>
                  <a:lnTo>
                    <a:pt x="6774" y="2994"/>
                  </a:lnTo>
                  <a:lnTo>
                    <a:pt x="7121" y="2994"/>
                  </a:lnTo>
                  <a:cubicBezTo>
                    <a:pt x="7310" y="2994"/>
                    <a:pt x="7467" y="2836"/>
                    <a:pt x="7467" y="2616"/>
                  </a:cubicBezTo>
                  <a:cubicBezTo>
                    <a:pt x="7467" y="2427"/>
                    <a:pt x="7310" y="2269"/>
                    <a:pt x="7121" y="2269"/>
                  </a:cubicBezTo>
                  <a:lnTo>
                    <a:pt x="6774" y="2269"/>
                  </a:lnTo>
                  <a:lnTo>
                    <a:pt x="6774" y="1923"/>
                  </a:lnTo>
                  <a:cubicBezTo>
                    <a:pt x="6774" y="1734"/>
                    <a:pt x="6616" y="1576"/>
                    <a:pt x="6427" y="1576"/>
                  </a:cubicBezTo>
                  <a:cubicBezTo>
                    <a:pt x="6207" y="1576"/>
                    <a:pt x="6049" y="1734"/>
                    <a:pt x="6049" y="1923"/>
                  </a:cubicBezTo>
                  <a:lnTo>
                    <a:pt x="6049" y="2269"/>
                  </a:lnTo>
                  <a:lnTo>
                    <a:pt x="5703" y="2269"/>
                  </a:lnTo>
                  <a:cubicBezTo>
                    <a:pt x="5514" y="2269"/>
                    <a:pt x="5356" y="2427"/>
                    <a:pt x="5356" y="2616"/>
                  </a:cubicBezTo>
                  <a:cubicBezTo>
                    <a:pt x="5356" y="2836"/>
                    <a:pt x="5514" y="2994"/>
                    <a:pt x="5703" y="2994"/>
                  </a:cubicBezTo>
                  <a:lnTo>
                    <a:pt x="6049" y="2994"/>
                  </a:lnTo>
                  <a:lnTo>
                    <a:pt x="6049" y="3750"/>
                  </a:lnTo>
                  <a:lnTo>
                    <a:pt x="2710" y="3750"/>
                  </a:lnTo>
                  <a:cubicBezTo>
                    <a:pt x="2521" y="3750"/>
                    <a:pt x="2363" y="3908"/>
                    <a:pt x="2363" y="4097"/>
                  </a:cubicBezTo>
                  <a:lnTo>
                    <a:pt x="2363" y="8633"/>
                  </a:lnTo>
                  <a:cubicBezTo>
                    <a:pt x="2363" y="9988"/>
                    <a:pt x="3088" y="11217"/>
                    <a:pt x="4096" y="11973"/>
                  </a:cubicBezTo>
                  <a:lnTo>
                    <a:pt x="820" y="11973"/>
                  </a:lnTo>
                  <a:lnTo>
                    <a:pt x="820" y="6365"/>
                  </a:lnTo>
                  <a:cubicBezTo>
                    <a:pt x="820" y="3277"/>
                    <a:pt x="3340" y="757"/>
                    <a:pt x="6459" y="757"/>
                  </a:cubicBezTo>
                  <a:close/>
                  <a:moveTo>
                    <a:pt x="6364" y="1"/>
                  </a:moveTo>
                  <a:cubicBezTo>
                    <a:pt x="2867" y="1"/>
                    <a:pt x="0" y="2868"/>
                    <a:pt x="0" y="6365"/>
                  </a:cubicBezTo>
                  <a:lnTo>
                    <a:pt x="0" y="12351"/>
                  </a:lnTo>
                  <a:cubicBezTo>
                    <a:pt x="0" y="12571"/>
                    <a:pt x="158" y="12729"/>
                    <a:pt x="347" y="12729"/>
                  </a:cubicBezTo>
                  <a:lnTo>
                    <a:pt x="12319" y="12729"/>
                  </a:lnTo>
                  <a:cubicBezTo>
                    <a:pt x="12508" y="12729"/>
                    <a:pt x="12665" y="12571"/>
                    <a:pt x="12665" y="12351"/>
                  </a:cubicBezTo>
                  <a:lnTo>
                    <a:pt x="12665" y="6365"/>
                  </a:lnTo>
                  <a:cubicBezTo>
                    <a:pt x="12760" y="2868"/>
                    <a:pt x="9893" y="1"/>
                    <a:pt x="6364"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10504" name="Google Shape;10504;p112"/>
          <p:cNvGrpSpPr/>
          <p:nvPr/>
        </p:nvGrpSpPr>
        <p:grpSpPr>
          <a:xfrm>
            <a:off x="8294968" y="4487199"/>
            <a:ext cx="423053" cy="479071"/>
            <a:chOff x="-53670800" y="2296300"/>
            <a:chExt cx="279625" cy="316650"/>
          </a:xfrm>
        </p:grpSpPr>
        <p:sp>
          <p:nvSpPr>
            <p:cNvPr id="10505" name="Google Shape;10505;p112"/>
            <p:cNvSpPr/>
            <p:nvPr/>
          </p:nvSpPr>
          <p:spPr>
            <a:xfrm>
              <a:off x="-53567625" y="2527275"/>
              <a:ext cx="73250" cy="29750"/>
            </a:xfrm>
            <a:custGeom>
              <a:avLst/>
              <a:gdLst/>
              <a:ahLst/>
              <a:cxnLst/>
              <a:rect l="l" t="t" r="r" b="b"/>
              <a:pathLst>
                <a:path w="2930" h="1190" extrusionOk="0">
                  <a:moveTo>
                    <a:pt x="410" y="1"/>
                  </a:moveTo>
                  <a:cubicBezTo>
                    <a:pt x="315" y="1"/>
                    <a:pt x="221" y="40"/>
                    <a:pt x="158" y="119"/>
                  </a:cubicBezTo>
                  <a:cubicBezTo>
                    <a:pt x="0" y="276"/>
                    <a:pt x="0" y="528"/>
                    <a:pt x="158" y="623"/>
                  </a:cubicBezTo>
                  <a:cubicBezTo>
                    <a:pt x="504" y="1001"/>
                    <a:pt x="977" y="1190"/>
                    <a:pt x="1449" y="1190"/>
                  </a:cubicBezTo>
                  <a:cubicBezTo>
                    <a:pt x="1922" y="1190"/>
                    <a:pt x="2458" y="1001"/>
                    <a:pt x="2773" y="623"/>
                  </a:cubicBezTo>
                  <a:cubicBezTo>
                    <a:pt x="2930" y="465"/>
                    <a:pt x="2930" y="245"/>
                    <a:pt x="2773" y="119"/>
                  </a:cubicBezTo>
                  <a:cubicBezTo>
                    <a:pt x="2710" y="40"/>
                    <a:pt x="2615" y="1"/>
                    <a:pt x="2517" y="1"/>
                  </a:cubicBezTo>
                  <a:cubicBezTo>
                    <a:pt x="2418" y="1"/>
                    <a:pt x="2316" y="40"/>
                    <a:pt x="2237" y="119"/>
                  </a:cubicBezTo>
                  <a:cubicBezTo>
                    <a:pt x="2048" y="308"/>
                    <a:pt x="1733" y="434"/>
                    <a:pt x="1449" y="434"/>
                  </a:cubicBezTo>
                  <a:cubicBezTo>
                    <a:pt x="1134" y="434"/>
                    <a:pt x="882" y="308"/>
                    <a:pt x="662" y="119"/>
                  </a:cubicBezTo>
                  <a:cubicBezTo>
                    <a:pt x="599" y="40"/>
                    <a:pt x="504" y="1"/>
                    <a:pt x="410"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506" name="Google Shape;10506;p112"/>
            <p:cNvSpPr/>
            <p:nvPr/>
          </p:nvSpPr>
          <p:spPr>
            <a:xfrm>
              <a:off x="-53502250" y="2463275"/>
              <a:ext cx="17325" cy="17350"/>
            </a:xfrm>
            <a:custGeom>
              <a:avLst/>
              <a:gdLst/>
              <a:ahLst/>
              <a:cxnLst/>
              <a:rect l="l" t="t" r="r" b="b"/>
              <a:pathLst>
                <a:path w="693" h="694" extrusionOk="0">
                  <a:moveTo>
                    <a:pt x="347" y="1"/>
                  </a:moveTo>
                  <a:cubicBezTo>
                    <a:pt x="158" y="1"/>
                    <a:pt x="0" y="158"/>
                    <a:pt x="0" y="347"/>
                  </a:cubicBezTo>
                  <a:cubicBezTo>
                    <a:pt x="0" y="536"/>
                    <a:pt x="158" y="694"/>
                    <a:pt x="347" y="694"/>
                  </a:cubicBezTo>
                  <a:cubicBezTo>
                    <a:pt x="536" y="694"/>
                    <a:pt x="693" y="536"/>
                    <a:pt x="693" y="347"/>
                  </a:cubicBezTo>
                  <a:cubicBezTo>
                    <a:pt x="693" y="158"/>
                    <a:pt x="536" y="1"/>
                    <a:pt x="347"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507" name="Google Shape;10507;p112"/>
            <p:cNvSpPr/>
            <p:nvPr/>
          </p:nvSpPr>
          <p:spPr>
            <a:xfrm>
              <a:off x="-53577075" y="2463275"/>
              <a:ext cx="17325" cy="17350"/>
            </a:xfrm>
            <a:custGeom>
              <a:avLst/>
              <a:gdLst/>
              <a:ahLst/>
              <a:cxnLst/>
              <a:rect l="l" t="t" r="r" b="b"/>
              <a:pathLst>
                <a:path w="693" h="694" extrusionOk="0">
                  <a:moveTo>
                    <a:pt x="347" y="1"/>
                  </a:moveTo>
                  <a:cubicBezTo>
                    <a:pt x="158" y="1"/>
                    <a:pt x="0" y="158"/>
                    <a:pt x="0" y="347"/>
                  </a:cubicBezTo>
                  <a:cubicBezTo>
                    <a:pt x="0" y="536"/>
                    <a:pt x="158" y="694"/>
                    <a:pt x="347" y="694"/>
                  </a:cubicBezTo>
                  <a:cubicBezTo>
                    <a:pt x="536" y="694"/>
                    <a:pt x="693" y="536"/>
                    <a:pt x="693" y="347"/>
                  </a:cubicBezTo>
                  <a:cubicBezTo>
                    <a:pt x="693" y="158"/>
                    <a:pt x="536" y="1"/>
                    <a:pt x="347"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508" name="Google Shape;10508;p112"/>
            <p:cNvSpPr/>
            <p:nvPr/>
          </p:nvSpPr>
          <p:spPr>
            <a:xfrm>
              <a:off x="-53670800" y="2296300"/>
              <a:ext cx="279625" cy="316650"/>
            </a:xfrm>
            <a:custGeom>
              <a:avLst/>
              <a:gdLst/>
              <a:ahLst/>
              <a:cxnLst/>
              <a:rect l="l" t="t" r="r" b="b"/>
              <a:pathLst>
                <a:path w="11185" h="12666" extrusionOk="0">
                  <a:moveTo>
                    <a:pt x="1481" y="6680"/>
                  </a:moveTo>
                  <a:lnTo>
                    <a:pt x="1481" y="7026"/>
                  </a:lnTo>
                  <a:lnTo>
                    <a:pt x="1481" y="8129"/>
                  </a:lnTo>
                  <a:cubicBezTo>
                    <a:pt x="1450" y="8134"/>
                    <a:pt x="1421" y="8136"/>
                    <a:pt x="1391" y="8136"/>
                  </a:cubicBezTo>
                  <a:cubicBezTo>
                    <a:pt x="1026" y="8136"/>
                    <a:pt x="756" y="7786"/>
                    <a:pt x="756" y="7436"/>
                  </a:cubicBezTo>
                  <a:cubicBezTo>
                    <a:pt x="756" y="7026"/>
                    <a:pt x="1103" y="6680"/>
                    <a:pt x="1481" y="6680"/>
                  </a:cubicBezTo>
                  <a:close/>
                  <a:moveTo>
                    <a:pt x="9672" y="6711"/>
                  </a:moveTo>
                  <a:cubicBezTo>
                    <a:pt x="10082" y="6711"/>
                    <a:pt x="10428" y="7026"/>
                    <a:pt x="10428" y="7467"/>
                  </a:cubicBezTo>
                  <a:cubicBezTo>
                    <a:pt x="10428" y="7814"/>
                    <a:pt x="10113" y="8192"/>
                    <a:pt x="9672" y="8192"/>
                  </a:cubicBezTo>
                  <a:lnTo>
                    <a:pt x="9672" y="7089"/>
                  </a:lnTo>
                  <a:lnTo>
                    <a:pt x="9672" y="6711"/>
                  </a:lnTo>
                  <a:close/>
                  <a:moveTo>
                    <a:pt x="5576" y="3718"/>
                  </a:moveTo>
                  <a:cubicBezTo>
                    <a:pt x="7435" y="3718"/>
                    <a:pt x="8947" y="5231"/>
                    <a:pt x="8947" y="7089"/>
                  </a:cubicBezTo>
                  <a:lnTo>
                    <a:pt x="8947" y="9326"/>
                  </a:lnTo>
                  <a:cubicBezTo>
                    <a:pt x="8947" y="10775"/>
                    <a:pt x="7750" y="11910"/>
                    <a:pt x="6333" y="11910"/>
                  </a:cubicBezTo>
                  <a:lnTo>
                    <a:pt x="4852" y="11910"/>
                  </a:lnTo>
                  <a:cubicBezTo>
                    <a:pt x="3371" y="11910"/>
                    <a:pt x="2237" y="10744"/>
                    <a:pt x="2237" y="9326"/>
                  </a:cubicBezTo>
                  <a:lnTo>
                    <a:pt x="2237" y="7089"/>
                  </a:lnTo>
                  <a:cubicBezTo>
                    <a:pt x="2237" y="5231"/>
                    <a:pt x="3749" y="3718"/>
                    <a:pt x="5576" y="3718"/>
                  </a:cubicBezTo>
                  <a:close/>
                  <a:moveTo>
                    <a:pt x="7089" y="1"/>
                  </a:moveTo>
                  <a:cubicBezTo>
                    <a:pt x="6080" y="1"/>
                    <a:pt x="5230" y="820"/>
                    <a:pt x="5230" y="1828"/>
                  </a:cubicBezTo>
                  <a:lnTo>
                    <a:pt x="5230" y="2994"/>
                  </a:lnTo>
                  <a:cubicBezTo>
                    <a:pt x="3560" y="3151"/>
                    <a:pt x="2142" y="4348"/>
                    <a:pt x="1670" y="5924"/>
                  </a:cubicBezTo>
                  <a:lnTo>
                    <a:pt x="1512" y="5924"/>
                  </a:lnTo>
                  <a:cubicBezTo>
                    <a:pt x="662" y="5924"/>
                    <a:pt x="0" y="6585"/>
                    <a:pt x="0" y="7436"/>
                  </a:cubicBezTo>
                  <a:cubicBezTo>
                    <a:pt x="0" y="8255"/>
                    <a:pt x="662" y="8917"/>
                    <a:pt x="1512" y="8917"/>
                  </a:cubicBezTo>
                  <a:lnTo>
                    <a:pt x="1512" y="9326"/>
                  </a:lnTo>
                  <a:cubicBezTo>
                    <a:pt x="1512" y="11185"/>
                    <a:pt x="2993" y="12666"/>
                    <a:pt x="4852" y="12666"/>
                  </a:cubicBezTo>
                  <a:lnTo>
                    <a:pt x="6333" y="12666"/>
                  </a:lnTo>
                  <a:cubicBezTo>
                    <a:pt x="8191" y="12666"/>
                    <a:pt x="9704" y="11185"/>
                    <a:pt x="9704" y="9326"/>
                  </a:cubicBezTo>
                  <a:lnTo>
                    <a:pt x="9704" y="8917"/>
                  </a:lnTo>
                  <a:cubicBezTo>
                    <a:pt x="10523" y="8917"/>
                    <a:pt x="11184" y="8255"/>
                    <a:pt x="11184" y="7436"/>
                  </a:cubicBezTo>
                  <a:cubicBezTo>
                    <a:pt x="11184" y="6617"/>
                    <a:pt x="10523" y="5924"/>
                    <a:pt x="9672" y="5924"/>
                  </a:cubicBezTo>
                  <a:lnTo>
                    <a:pt x="9515" y="5924"/>
                  </a:lnTo>
                  <a:cubicBezTo>
                    <a:pt x="9042" y="4317"/>
                    <a:pt x="7687" y="3151"/>
                    <a:pt x="5954" y="2994"/>
                  </a:cubicBezTo>
                  <a:lnTo>
                    <a:pt x="5954" y="1828"/>
                  </a:lnTo>
                  <a:cubicBezTo>
                    <a:pt x="5954" y="1198"/>
                    <a:pt x="6459" y="725"/>
                    <a:pt x="7057" y="725"/>
                  </a:cubicBezTo>
                  <a:cubicBezTo>
                    <a:pt x="7687" y="725"/>
                    <a:pt x="8160" y="1230"/>
                    <a:pt x="8160" y="1828"/>
                  </a:cubicBezTo>
                  <a:cubicBezTo>
                    <a:pt x="8160" y="2017"/>
                    <a:pt x="8002" y="2206"/>
                    <a:pt x="7813" y="2206"/>
                  </a:cubicBezTo>
                  <a:cubicBezTo>
                    <a:pt x="7593" y="2206"/>
                    <a:pt x="7435" y="2017"/>
                    <a:pt x="7435" y="1828"/>
                  </a:cubicBezTo>
                  <a:cubicBezTo>
                    <a:pt x="7435" y="1639"/>
                    <a:pt x="7278" y="1482"/>
                    <a:pt x="7089" y="1482"/>
                  </a:cubicBezTo>
                  <a:cubicBezTo>
                    <a:pt x="6900" y="1482"/>
                    <a:pt x="6742" y="1639"/>
                    <a:pt x="6742" y="1828"/>
                  </a:cubicBezTo>
                  <a:cubicBezTo>
                    <a:pt x="6742" y="2458"/>
                    <a:pt x="7246" y="2931"/>
                    <a:pt x="7845" y="2931"/>
                  </a:cubicBezTo>
                  <a:cubicBezTo>
                    <a:pt x="8475" y="2931"/>
                    <a:pt x="8947" y="2427"/>
                    <a:pt x="8947" y="1828"/>
                  </a:cubicBezTo>
                  <a:cubicBezTo>
                    <a:pt x="8947" y="820"/>
                    <a:pt x="8128" y="1"/>
                    <a:pt x="7089"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10509" name="Google Shape;10509;p112"/>
          <p:cNvGrpSpPr/>
          <p:nvPr/>
        </p:nvGrpSpPr>
        <p:grpSpPr>
          <a:xfrm>
            <a:off x="8265184" y="5107651"/>
            <a:ext cx="482625" cy="482059"/>
            <a:chOff x="-53690500" y="2686575"/>
            <a:chExt cx="319000" cy="318625"/>
          </a:xfrm>
        </p:grpSpPr>
        <p:sp>
          <p:nvSpPr>
            <p:cNvPr id="10510" name="Google Shape;10510;p112"/>
            <p:cNvSpPr/>
            <p:nvPr/>
          </p:nvSpPr>
          <p:spPr>
            <a:xfrm>
              <a:off x="-53567625" y="2917925"/>
              <a:ext cx="73250" cy="29775"/>
            </a:xfrm>
            <a:custGeom>
              <a:avLst/>
              <a:gdLst/>
              <a:ahLst/>
              <a:cxnLst/>
              <a:rect l="l" t="t" r="r" b="b"/>
              <a:pathLst>
                <a:path w="2930" h="1191" extrusionOk="0">
                  <a:moveTo>
                    <a:pt x="410" y="1"/>
                  </a:moveTo>
                  <a:cubicBezTo>
                    <a:pt x="315" y="1"/>
                    <a:pt x="221" y="40"/>
                    <a:pt x="158" y="119"/>
                  </a:cubicBezTo>
                  <a:cubicBezTo>
                    <a:pt x="0" y="277"/>
                    <a:pt x="0" y="529"/>
                    <a:pt x="158" y="655"/>
                  </a:cubicBezTo>
                  <a:cubicBezTo>
                    <a:pt x="504" y="1001"/>
                    <a:pt x="977" y="1190"/>
                    <a:pt x="1449" y="1190"/>
                  </a:cubicBezTo>
                  <a:cubicBezTo>
                    <a:pt x="1922" y="1190"/>
                    <a:pt x="2458" y="1001"/>
                    <a:pt x="2773" y="655"/>
                  </a:cubicBezTo>
                  <a:cubicBezTo>
                    <a:pt x="2930" y="497"/>
                    <a:pt x="2930" y="245"/>
                    <a:pt x="2773" y="119"/>
                  </a:cubicBezTo>
                  <a:cubicBezTo>
                    <a:pt x="2710" y="72"/>
                    <a:pt x="2615" y="48"/>
                    <a:pt x="2517" y="48"/>
                  </a:cubicBezTo>
                  <a:cubicBezTo>
                    <a:pt x="2418" y="48"/>
                    <a:pt x="2316" y="72"/>
                    <a:pt x="2237" y="119"/>
                  </a:cubicBezTo>
                  <a:cubicBezTo>
                    <a:pt x="2048" y="340"/>
                    <a:pt x="1733" y="434"/>
                    <a:pt x="1449" y="434"/>
                  </a:cubicBezTo>
                  <a:cubicBezTo>
                    <a:pt x="1134" y="434"/>
                    <a:pt x="882" y="340"/>
                    <a:pt x="662" y="119"/>
                  </a:cubicBezTo>
                  <a:cubicBezTo>
                    <a:pt x="599" y="40"/>
                    <a:pt x="504" y="1"/>
                    <a:pt x="410"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511" name="Google Shape;10511;p112"/>
            <p:cNvSpPr/>
            <p:nvPr/>
          </p:nvSpPr>
          <p:spPr>
            <a:xfrm>
              <a:off x="-53577075" y="2854725"/>
              <a:ext cx="17325" cy="18150"/>
            </a:xfrm>
            <a:custGeom>
              <a:avLst/>
              <a:gdLst/>
              <a:ahLst/>
              <a:cxnLst/>
              <a:rect l="l" t="t" r="r" b="b"/>
              <a:pathLst>
                <a:path w="693" h="726" extrusionOk="0">
                  <a:moveTo>
                    <a:pt x="347" y="1"/>
                  </a:moveTo>
                  <a:cubicBezTo>
                    <a:pt x="158" y="1"/>
                    <a:pt x="0" y="190"/>
                    <a:pt x="0" y="379"/>
                  </a:cubicBezTo>
                  <a:cubicBezTo>
                    <a:pt x="0" y="568"/>
                    <a:pt x="158" y="725"/>
                    <a:pt x="347" y="725"/>
                  </a:cubicBezTo>
                  <a:cubicBezTo>
                    <a:pt x="536" y="725"/>
                    <a:pt x="693" y="568"/>
                    <a:pt x="693" y="379"/>
                  </a:cubicBezTo>
                  <a:cubicBezTo>
                    <a:pt x="693" y="190"/>
                    <a:pt x="536" y="1"/>
                    <a:pt x="347"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512" name="Google Shape;10512;p112"/>
            <p:cNvSpPr/>
            <p:nvPr/>
          </p:nvSpPr>
          <p:spPr>
            <a:xfrm>
              <a:off x="-53502250" y="2854725"/>
              <a:ext cx="17325" cy="18150"/>
            </a:xfrm>
            <a:custGeom>
              <a:avLst/>
              <a:gdLst/>
              <a:ahLst/>
              <a:cxnLst/>
              <a:rect l="l" t="t" r="r" b="b"/>
              <a:pathLst>
                <a:path w="693" h="726" extrusionOk="0">
                  <a:moveTo>
                    <a:pt x="347" y="1"/>
                  </a:moveTo>
                  <a:cubicBezTo>
                    <a:pt x="158" y="1"/>
                    <a:pt x="0" y="190"/>
                    <a:pt x="0" y="379"/>
                  </a:cubicBezTo>
                  <a:cubicBezTo>
                    <a:pt x="0" y="568"/>
                    <a:pt x="158" y="725"/>
                    <a:pt x="347" y="725"/>
                  </a:cubicBezTo>
                  <a:cubicBezTo>
                    <a:pt x="536" y="725"/>
                    <a:pt x="693" y="568"/>
                    <a:pt x="693" y="379"/>
                  </a:cubicBezTo>
                  <a:cubicBezTo>
                    <a:pt x="693" y="190"/>
                    <a:pt x="536" y="1"/>
                    <a:pt x="347"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513" name="Google Shape;10513;p112"/>
            <p:cNvSpPr/>
            <p:nvPr/>
          </p:nvSpPr>
          <p:spPr>
            <a:xfrm>
              <a:off x="-53690500" y="2686575"/>
              <a:ext cx="319000" cy="318625"/>
            </a:xfrm>
            <a:custGeom>
              <a:avLst/>
              <a:gdLst/>
              <a:ahLst/>
              <a:cxnLst/>
              <a:rect l="l" t="t" r="r" b="b"/>
              <a:pathLst>
                <a:path w="12760" h="12745" extrusionOk="0">
                  <a:moveTo>
                    <a:pt x="6364" y="804"/>
                  </a:moveTo>
                  <a:lnTo>
                    <a:pt x="11059" y="3765"/>
                  </a:lnTo>
                  <a:lnTo>
                    <a:pt x="1702" y="3765"/>
                  </a:lnTo>
                  <a:lnTo>
                    <a:pt x="6364" y="804"/>
                  </a:lnTo>
                  <a:close/>
                  <a:moveTo>
                    <a:pt x="5797" y="4490"/>
                  </a:moveTo>
                  <a:cubicBezTo>
                    <a:pt x="5262" y="5404"/>
                    <a:pt x="4285" y="6002"/>
                    <a:pt x="3214" y="6002"/>
                  </a:cubicBezTo>
                  <a:lnTo>
                    <a:pt x="2237" y="6002"/>
                  </a:lnTo>
                  <a:cubicBezTo>
                    <a:pt x="1954" y="6002"/>
                    <a:pt x="1733" y="6065"/>
                    <a:pt x="1513" y="6191"/>
                  </a:cubicBezTo>
                  <a:lnTo>
                    <a:pt x="1513" y="4490"/>
                  </a:lnTo>
                  <a:close/>
                  <a:moveTo>
                    <a:pt x="11248" y="4490"/>
                  </a:moveTo>
                  <a:lnTo>
                    <a:pt x="11248" y="6191"/>
                  </a:lnTo>
                  <a:cubicBezTo>
                    <a:pt x="11027" y="6065"/>
                    <a:pt x="10775" y="6002"/>
                    <a:pt x="10523" y="6002"/>
                  </a:cubicBezTo>
                  <a:lnTo>
                    <a:pt x="9515" y="6002"/>
                  </a:lnTo>
                  <a:cubicBezTo>
                    <a:pt x="8475" y="6002"/>
                    <a:pt x="7467" y="5404"/>
                    <a:pt x="6963" y="4490"/>
                  </a:cubicBezTo>
                  <a:close/>
                  <a:moveTo>
                    <a:pt x="2237" y="6758"/>
                  </a:moveTo>
                  <a:lnTo>
                    <a:pt x="2237" y="8239"/>
                  </a:lnTo>
                  <a:cubicBezTo>
                    <a:pt x="1859" y="8239"/>
                    <a:pt x="1481" y="7892"/>
                    <a:pt x="1481" y="7483"/>
                  </a:cubicBezTo>
                  <a:cubicBezTo>
                    <a:pt x="1481" y="7105"/>
                    <a:pt x="1796" y="6758"/>
                    <a:pt x="2237" y="6758"/>
                  </a:cubicBezTo>
                  <a:close/>
                  <a:moveTo>
                    <a:pt x="10523" y="6758"/>
                  </a:moveTo>
                  <a:cubicBezTo>
                    <a:pt x="10901" y="6758"/>
                    <a:pt x="11248" y="7073"/>
                    <a:pt x="11248" y="7483"/>
                  </a:cubicBezTo>
                  <a:cubicBezTo>
                    <a:pt x="11248" y="7892"/>
                    <a:pt x="10933" y="8239"/>
                    <a:pt x="10523" y="8239"/>
                  </a:cubicBezTo>
                  <a:lnTo>
                    <a:pt x="10523" y="6758"/>
                  </a:lnTo>
                  <a:close/>
                  <a:moveTo>
                    <a:pt x="1481" y="8806"/>
                  </a:moveTo>
                  <a:cubicBezTo>
                    <a:pt x="1733" y="8901"/>
                    <a:pt x="1954" y="8995"/>
                    <a:pt x="2237" y="8995"/>
                  </a:cubicBezTo>
                  <a:cubicBezTo>
                    <a:pt x="2363" y="10224"/>
                    <a:pt x="2993" y="11326"/>
                    <a:pt x="4002" y="11988"/>
                  </a:cubicBezTo>
                  <a:lnTo>
                    <a:pt x="1481" y="11988"/>
                  </a:lnTo>
                  <a:lnTo>
                    <a:pt x="1481" y="8806"/>
                  </a:lnTo>
                  <a:close/>
                  <a:moveTo>
                    <a:pt x="6333" y="5025"/>
                  </a:moveTo>
                  <a:cubicBezTo>
                    <a:pt x="6585" y="5404"/>
                    <a:pt x="6932" y="5750"/>
                    <a:pt x="7310" y="6065"/>
                  </a:cubicBezTo>
                  <a:cubicBezTo>
                    <a:pt x="7940" y="6506"/>
                    <a:pt x="8696" y="6758"/>
                    <a:pt x="9452" y="6758"/>
                  </a:cubicBezTo>
                  <a:lnTo>
                    <a:pt x="9672" y="6758"/>
                  </a:lnTo>
                  <a:lnTo>
                    <a:pt x="9672" y="8586"/>
                  </a:lnTo>
                  <a:lnTo>
                    <a:pt x="9767" y="8586"/>
                  </a:lnTo>
                  <a:cubicBezTo>
                    <a:pt x="9767" y="10444"/>
                    <a:pt x="8223" y="11988"/>
                    <a:pt x="6364" y="11988"/>
                  </a:cubicBezTo>
                  <a:cubicBezTo>
                    <a:pt x="4537" y="11988"/>
                    <a:pt x="2993" y="10444"/>
                    <a:pt x="2993" y="8586"/>
                  </a:cubicBezTo>
                  <a:lnTo>
                    <a:pt x="2993" y="6758"/>
                  </a:lnTo>
                  <a:lnTo>
                    <a:pt x="3214" y="6758"/>
                  </a:lnTo>
                  <a:cubicBezTo>
                    <a:pt x="4002" y="6758"/>
                    <a:pt x="4726" y="6506"/>
                    <a:pt x="5356" y="6065"/>
                  </a:cubicBezTo>
                  <a:cubicBezTo>
                    <a:pt x="5734" y="5813"/>
                    <a:pt x="6112" y="5435"/>
                    <a:pt x="6333" y="5025"/>
                  </a:cubicBezTo>
                  <a:close/>
                  <a:moveTo>
                    <a:pt x="11248" y="8806"/>
                  </a:moveTo>
                  <a:lnTo>
                    <a:pt x="11248" y="12020"/>
                  </a:lnTo>
                  <a:lnTo>
                    <a:pt x="8727" y="12020"/>
                  </a:lnTo>
                  <a:lnTo>
                    <a:pt x="8727" y="11988"/>
                  </a:lnTo>
                  <a:cubicBezTo>
                    <a:pt x="9735" y="11326"/>
                    <a:pt x="10397" y="10224"/>
                    <a:pt x="10523" y="8995"/>
                  </a:cubicBezTo>
                  <a:cubicBezTo>
                    <a:pt x="10775" y="8995"/>
                    <a:pt x="11027" y="8901"/>
                    <a:pt x="11248" y="8806"/>
                  </a:cubicBezTo>
                  <a:close/>
                  <a:moveTo>
                    <a:pt x="6380" y="0"/>
                  </a:moveTo>
                  <a:cubicBezTo>
                    <a:pt x="6309" y="0"/>
                    <a:pt x="6238" y="16"/>
                    <a:pt x="6175" y="48"/>
                  </a:cubicBezTo>
                  <a:lnTo>
                    <a:pt x="189" y="3797"/>
                  </a:lnTo>
                  <a:cubicBezTo>
                    <a:pt x="32" y="3860"/>
                    <a:pt x="0" y="4080"/>
                    <a:pt x="32" y="4238"/>
                  </a:cubicBezTo>
                  <a:cubicBezTo>
                    <a:pt x="95" y="4395"/>
                    <a:pt x="252" y="4490"/>
                    <a:pt x="378" y="4490"/>
                  </a:cubicBezTo>
                  <a:lnTo>
                    <a:pt x="757" y="4490"/>
                  </a:lnTo>
                  <a:lnTo>
                    <a:pt x="757" y="12366"/>
                  </a:lnTo>
                  <a:cubicBezTo>
                    <a:pt x="757" y="12587"/>
                    <a:pt x="914" y="12744"/>
                    <a:pt x="1103" y="12744"/>
                  </a:cubicBezTo>
                  <a:lnTo>
                    <a:pt x="11626" y="12744"/>
                  </a:lnTo>
                  <a:cubicBezTo>
                    <a:pt x="11815" y="12744"/>
                    <a:pt x="11972" y="12587"/>
                    <a:pt x="11972" y="12366"/>
                  </a:cubicBezTo>
                  <a:lnTo>
                    <a:pt x="11972" y="4490"/>
                  </a:lnTo>
                  <a:lnTo>
                    <a:pt x="12319" y="4490"/>
                  </a:lnTo>
                  <a:cubicBezTo>
                    <a:pt x="12476" y="4490"/>
                    <a:pt x="12634" y="4395"/>
                    <a:pt x="12665" y="4238"/>
                  </a:cubicBezTo>
                  <a:cubicBezTo>
                    <a:pt x="12760" y="4080"/>
                    <a:pt x="12728" y="3923"/>
                    <a:pt x="12571" y="3797"/>
                  </a:cubicBezTo>
                  <a:lnTo>
                    <a:pt x="6585" y="48"/>
                  </a:lnTo>
                  <a:cubicBezTo>
                    <a:pt x="6522" y="16"/>
                    <a:pt x="6451" y="0"/>
                    <a:pt x="6380"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10514" name="Google Shape;10514;p112"/>
          <p:cNvGrpSpPr/>
          <p:nvPr/>
        </p:nvGrpSpPr>
        <p:grpSpPr>
          <a:xfrm>
            <a:off x="10678226" y="4498131"/>
            <a:ext cx="423092" cy="481264"/>
            <a:chOff x="-52092425" y="2303525"/>
            <a:chExt cx="279650" cy="318100"/>
          </a:xfrm>
        </p:grpSpPr>
        <p:sp>
          <p:nvSpPr>
            <p:cNvPr id="10515" name="Google Shape;10515;p112"/>
            <p:cNvSpPr/>
            <p:nvPr/>
          </p:nvSpPr>
          <p:spPr>
            <a:xfrm>
              <a:off x="-51989225" y="2535950"/>
              <a:ext cx="72475" cy="29750"/>
            </a:xfrm>
            <a:custGeom>
              <a:avLst/>
              <a:gdLst/>
              <a:ahLst/>
              <a:cxnLst/>
              <a:rect l="l" t="t" r="r" b="b"/>
              <a:pathLst>
                <a:path w="2899" h="1190" extrusionOk="0">
                  <a:moveTo>
                    <a:pt x="398" y="0"/>
                  </a:moveTo>
                  <a:cubicBezTo>
                    <a:pt x="307" y="0"/>
                    <a:pt x="221" y="40"/>
                    <a:pt x="158" y="118"/>
                  </a:cubicBezTo>
                  <a:cubicBezTo>
                    <a:pt x="0" y="276"/>
                    <a:pt x="0" y="528"/>
                    <a:pt x="158" y="654"/>
                  </a:cubicBezTo>
                  <a:cubicBezTo>
                    <a:pt x="504" y="1000"/>
                    <a:pt x="977" y="1189"/>
                    <a:pt x="1449" y="1189"/>
                  </a:cubicBezTo>
                  <a:cubicBezTo>
                    <a:pt x="1922" y="1189"/>
                    <a:pt x="2426" y="1000"/>
                    <a:pt x="2741" y="654"/>
                  </a:cubicBezTo>
                  <a:cubicBezTo>
                    <a:pt x="2899" y="496"/>
                    <a:pt x="2899" y="244"/>
                    <a:pt x="2741" y="118"/>
                  </a:cubicBezTo>
                  <a:cubicBezTo>
                    <a:pt x="2662" y="40"/>
                    <a:pt x="2568" y="0"/>
                    <a:pt x="2477" y="0"/>
                  </a:cubicBezTo>
                  <a:cubicBezTo>
                    <a:pt x="2387" y="0"/>
                    <a:pt x="2300" y="40"/>
                    <a:pt x="2237" y="118"/>
                  </a:cubicBezTo>
                  <a:cubicBezTo>
                    <a:pt x="2048" y="339"/>
                    <a:pt x="1733" y="433"/>
                    <a:pt x="1449" y="433"/>
                  </a:cubicBezTo>
                  <a:cubicBezTo>
                    <a:pt x="1134" y="433"/>
                    <a:pt x="851" y="339"/>
                    <a:pt x="662" y="118"/>
                  </a:cubicBezTo>
                  <a:cubicBezTo>
                    <a:pt x="583" y="40"/>
                    <a:pt x="488" y="0"/>
                    <a:pt x="398"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516" name="Google Shape;10516;p112"/>
            <p:cNvSpPr/>
            <p:nvPr/>
          </p:nvSpPr>
          <p:spPr>
            <a:xfrm>
              <a:off x="-52092425" y="2303525"/>
              <a:ext cx="279650" cy="318100"/>
            </a:xfrm>
            <a:custGeom>
              <a:avLst/>
              <a:gdLst/>
              <a:ahLst/>
              <a:cxnLst/>
              <a:rect l="l" t="t" r="r" b="b"/>
              <a:pathLst>
                <a:path w="11186" h="12724" extrusionOk="0">
                  <a:moveTo>
                    <a:pt x="9610" y="878"/>
                  </a:moveTo>
                  <a:lnTo>
                    <a:pt x="9295" y="2957"/>
                  </a:lnTo>
                  <a:cubicBezTo>
                    <a:pt x="8381" y="2957"/>
                    <a:pt x="7625" y="2327"/>
                    <a:pt x="7468" y="1476"/>
                  </a:cubicBezTo>
                  <a:lnTo>
                    <a:pt x="9610" y="878"/>
                  </a:lnTo>
                  <a:close/>
                  <a:moveTo>
                    <a:pt x="3719" y="1476"/>
                  </a:moveTo>
                  <a:cubicBezTo>
                    <a:pt x="4128" y="1476"/>
                    <a:pt x="4475" y="1791"/>
                    <a:pt x="4475" y="2201"/>
                  </a:cubicBezTo>
                  <a:cubicBezTo>
                    <a:pt x="4475" y="2610"/>
                    <a:pt x="4128" y="2957"/>
                    <a:pt x="3719" y="2957"/>
                  </a:cubicBezTo>
                  <a:cubicBezTo>
                    <a:pt x="3624" y="2957"/>
                    <a:pt x="3498" y="2925"/>
                    <a:pt x="3403" y="2894"/>
                  </a:cubicBezTo>
                  <a:cubicBezTo>
                    <a:pt x="3349" y="2861"/>
                    <a:pt x="3294" y="2847"/>
                    <a:pt x="3241" y="2847"/>
                  </a:cubicBezTo>
                  <a:cubicBezTo>
                    <a:pt x="3144" y="2847"/>
                    <a:pt x="3055" y="2895"/>
                    <a:pt x="2994" y="2957"/>
                  </a:cubicBezTo>
                  <a:cubicBezTo>
                    <a:pt x="2868" y="3083"/>
                    <a:pt x="2836" y="3240"/>
                    <a:pt x="2899" y="3398"/>
                  </a:cubicBezTo>
                  <a:cubicBezTo>
                    <a:pt x="2931" y="3524"/>
                    <a:pt x="2994" y="3618"/>
                    <a:pt x="2994" y="3713"/>
                  </a:cubicBezTo>
                  <a:cubicBezTo>
                    <a:pt x="2994" y="4091"/>
                    <a:pt x="2616" y="4469"/>
                    <a:pt x="2238" y="4469"/>
                  </a:cubicBezTo>
                  <a:cubicBezTo>
                    <a:pt x="1828" y="4469"/>
                    <a:pt x="1482" y="4154"/>
                    <a:pt x="1482" y="3713"/>
                  </a:cubicBezTo>
                  <a:cubicBezTo>
                    <a:pt x="1482" y="3492"/>
                    <a:pt x="1608" y="3303"/>
                    <a:pt x="1671" y="3209"/>
                  </a:cubicBezTo>
                  <a:cubicBezTo>
                    <a:pt x="1797" y="3083"/>
                    <a:pt x="1797" y="2894"/>
                    <a:pt x="1639" y="2736"/>
                  </a:cubicBezTo>
                  <a:cubicBezTo>
                    <a:pt x="1576" y="2610"/>
                    <a:pt x="1450" y="2453"/>
                    <a:pt x="1450" y="2201"/>
                  </a:cubicBezTo>
                  <a:cubicBezTo>
                    <a:pt x="1450" y="1823"/>
                    <a:pt x="1765" y="1476"/>
                    <a:pt x="2206" y="1476"/>
                  </a:cubicBezTo>
                  <a:cubicBezTo>
                    <a:pt x="2427" y="1476"/>
                    <a:pt x="2584" y="1571"/>
                    <a:pt x="2710" y="1665"/>
                  </a:cubicBezTo>
                  <a:cubicBezTo>
                    <a:pt x="2789" y="1728"/>
                    <a:pt x="2876" y="1760"/>
                    <a:pt x="2962" y="1760"/>
                  </a:cubicBezTo>
                  <a:cubicBezTo>
                    <a:pt x="3049" y="1760"/>
                    <a:pt x="3136" y="1728"/>
                    <a:pt x="3214" y="1665"/>
                  </a:cubicBezTo>
                  <a:cubicBezTo>
                    <a:pt x="3340" y="1571"/>
                    <a:pt x="3498" y="1476"/>
                    <a:pt x="3719" y="1476"/>
                  </a:cubicBezTo>
                  <a:close/>
                  <a:moveTo>
                    <a:pt x="6774" y="1697"/>
                  </a:moveTo>
                  <a:cubicBezTo>
                    <a:pt x="7027" y="2862"/>
                    <a:pt x="8035" y="3681"/>
                    <a:pt x="9200" y="3713"/>
                  </a:cubicBezTo>
                  <a:lnTo>
                    <a:pt x="9011" y="5225"/>
                  </a:lnTo>
                  <a:cubicBezTo>
                    <a:pt x="7247" y="5099"/>
                    <a:pt x="5735" y="3839"/>
                    <a:pt x="5294" y="2138"/>
                  </a:cubicBezTo>
                  <a:lnTo>
                    <a:pt x="6774" y="1697"/>
                  </a:lnTo>
                  <a:close/>
                  <a:moveTo>
                    <a:pt x="1450" y="6737"/>
                  </a:moveTo>
                  <a:lnTo>
                    <a:pt x="1450" y="8250"/>
                  </a:lnTo>
                  <a:cubicBezTo>
                    <a:pt x="1041" y="8250"/>
                    <a:pt x="694" y="7935"/>
                    <a:pt x="694" y="7494"/>
                  </a:cubicBezTo>
                  <a:cubicBezTo>
                    <a:pt x="694" y="7115"/>
                    <a:pt x="1009" y="6737"/>
                    <a:pt x="1450" y="6737"/>
                  </a:cubicBezTo>
                  <a:close/>
                  <a:moveTo>
                    <a:pt x="9673" y="6737"/>
                  </a:moveTo>
                  <a:cubicBezTo>
                    <a:pt x="10083" y="6737"/>
                    <a:pt x="10429" y="7052"/>
                    <a:pt x="10429" y="7494"/>
                  </a:cubicBezTo>
                  <a:cubicBezTo>
                    <a:pt x="10429" y="7935"/>
                    <a:pt x="10083" y="8250"/>
                    <a:pt x="9673" y="8250"/>
                  </a:cubicBezTo>
                  <a:lnTo>
                    <a:pt x="9673" y="6737"/>
                  </a:lnTo>
                  <a:close/>
                  <a:moveTo>
                    <a:pt x="4884" y="3209"/>
                  </a:moveTo>
                  <a:cubicBezTo>
                    <a:pt x="5609" y="4784"/>
                    <a:pt x="7184" y="5824"/>
                    <a:pt x="8917" y="5981"/>
                  </a:cubicBezTo>
                  <a:lnTo>
                    <a:pt x="8917" y="6422"/>
                  </a:lnTo>
                  <a:lnTo>
                    <a:pt x="8917" y="8659"/>
                  </a:lnTo>
                  <a:cubicBezTo>
                    <a:pt x="8917" y="10486"/>
                    <a:pt x="7436" y="11999"/>
                    <a:pt x="5577" y="11999"/>
                  </a:cubicBezTo>
                  <a:cubicBezTo>
                    <a:pt x="3719" y="11999"/>
                    <a:pt x="2238" y="10486"/>
                    <a:pt x="2238" y="8628"/>
                  </a:cubicBezTo>
                  <a:lnTo>
                    <a:pt x="2238" y="5603"/>
                  </a:lnTo>
                  <a:cubicBezTo>
                    <a:pt x="2238" y="5477"/>
                    <a:pt x="2238" y="5383"/>
                    <a:pt x="2269" y="5257"/>
                  </a:cubicBezTo>
                  <a:cubicBezTo>
                    <a:pt x="3088" y="5257"/>
                    <a:pt x="3719" y="4595"/>
                    <a:pt x="3719" y="3744"/>
                  </a:cubicBezTo>
                  <a:cubicBezTo>
                    <a:pt x="4191" y="3744"/>
                    <a:pt x="4601" y="3555"/>
                    <a:pt x="4884" y="3209"/>
                  </a:cubicBezTo>
                  <a:close/>
                  <a:moveTo>
                    <a:pt x="10072" y="1"/>
                  </a:moveTo>
                  <a:cubicBezTo>
                    <a:pt x="10033" y="1"/>
                    <a:pt x="9993" y="8"/>
                    <a:pt x="9956" y="27"/>
                  </a:cubicBezTo>
                  <a:lnTo>
                    <a:pt x="4979" y="1445"/>
                  </a:lnTo>
                  <a:cubicBezTo>
                    <a:pt x="4727" y="1004"/>
                    <a:pt x="4254" y="720"/>
                    <a:pt x="3719" y="720"/>
                  </a:cubicBezTo>
                  <a:cubicBezTo>
                    <a:pt x="3466" y="720"/>
                    <a:pt x="3214" y="783"/>
                    <a:pt x="2994" y="909"/>
                  </a:cubicBezTo>
                  <a:cubicBezTo>
                    <a:pt x="2742" y="783"/>
                    <a:pt x="2521" y="720"/>
                    <a:pt x="2238" y="720"/>
                  </a:cubicBezTo>
                  <a:cubicBezTo>
                    <a:pt x="1419" y="720"/>
                    <a:pt x="726" y="1382"/>
                    <a:pt x="726" y="2232"/>
                  </a:cubicBezTo>
                  <a:cubicBezTo>
                    <a:pt x="726" y="2484"/>
                    <a:pt x="820" y="2736"/>
                    <a:pt x="946" y="2957"/>
                  </a:cubicBezTo>
                  <a:cubicBezTo>
                    <a:pt x="820" y="3209"/>
                    <a:pt x="726" y="3429"/>
                    <a:pt x="726" y="3713"/>
                  </a:cubicBezTo>
                  <a:cubicBezTo>
                    <a:pt x="726" y="4280"/>
                    <a:pt x="1041" y="4784"/>
                    <a:pt x="1513" y="5005"/>
                  </a:cubicBezTo>
                  <a:cubicBezTo>
                    <a:pt x="1482" y="5225"/>
                    <a:pt x="1482" y="5383"/>
                    <a:pt x="1482" y="5572"/>
                  </a:cubicBezTo>
                  <a:lnTo>
                    <a:pt x="1482" y="6013"/>
                  </a:lnTo>
                  <a:cubicBezTo>
                    <a:pt x="663" y="6013"/>
                    <a:pt x="1" y="6674"/>
                    <a:pt x="1" y="7494"/>
                  </a:cubicBezTo>
                  <a:cubicBezTo>
                    <a:pt x="1" y="8313"/>
                    <a:pt x="663" y="9006"/>
                    <a:pt x="1482" y="9006"/>
                  </a:cubicBezTo>
                  <a:cubicBezTo>
                    <a:pt x="1671" y="11085"/>
                    <a:pt x="3466" y="12723"/>
                    <a:pt x="5577" y="12723"/>
                  </a:cubicBezTo>
                  <a:cubicBezTo>
                    <a:pt x="7720" y="12723"/>
                    <a:pt x="9484" y="11085"/>
                    <a:pt x="9673" y="9006"/>
                  </a:cubicBezTo>
                  <a:cubicBezTo>
                    <a:pt x="10492" y="9006"/>
                    <a:pt x="11185" y="8313"/>
                    <a:pt x="11185" y="7494"/>
                  </a:cubicBezTo>
                  <a:cubicBezTo>
                    <a:pt x="11185" y="6674"/>
                    <a:pt x="10492" y="6013"/>
                    <a:pt x="9673" y="6013"/>
                  </a:cubicBezTo>
                  <a:lnTo>
                    <a:pt x="9673" y="5603"/>
                  </a:lnTo>
                  <a:cubicBezTo>
                    <a:pt x="9704" y="5414"/>
                    <a:pt x="10398" y="594"/>
                    <a:pt x="10429" y="405"/>
                  </a:cubicBezTo>
                  <a:cubicBezTo>
                    <a:pt x="10429" y="279"/>
                    <a:pt x="10398" y="184"/>
                    <a:pt x="10303" y="90"/>
                  </a:cubicBezTo>
                  <a:cubicBezTo>
                    <a:pt x="10258" y="45"/>
                    <a:pt x="10167" y="1"/>
                    <a:pt x="10072"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517" name="Google Shape;10517;p112"/>
            <p:cNvSpPr/>
            <p:nvPr/>
          </p:nvSpPr>
          <p:spPr>
            <a:xfrm>
              <a:off x="-51998675" y="2454625"/>
              <a:ext cx="17325" cy="17350"/>
            </a:xfrm>
            <a:custGeom>
              <a:avLst/>
              <a:gdLst/>
              <a:ahLst/>
              <a:cxnLst/>
              <a:rect l="l" t="t" r="r" b="b"/>
              <a:pathLst>
                <a:path w="693" h="694" extrusionOk="0">
                  <a:moveTo>
                    <a:pt x="347" y="0"/>
                  </a:moveTo>
                  <a:cubicBezTo>
                    <a:pt x="158" y="0"/>
                    <a:pt x="0" y="158"/>
                    <a:pt x="0" y="347"/>
                  </a:cubicBezTo>
                  <a:cubicBezTo>
                    <a:pt x="0" y="536"/>
                    <a:pt x="158" y="693"/>
                    <a:pt x="347" y="693"/>
                  </a:cubicBezTo>
                  <a:cubicBezTo>
                    <a:pt x="536" y="693"/>
                    <a:pt x="693" y="536"/>
                    <a:pt x="693" y="347"/>
                  </a:cubicBezTo>
                  <a:cubicBezTo>
                    <a:pt x="693" y="158"/>
                    <a:pt x="536" y="0"/>
                    <a:pt x="347"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518" name="Google Shape;10518;p112"/>
            <p:cNvSpPr/>
            <p:nvPr/>
          </p:nvSpPr>
          <p:spPr>
            <a:xfrm>
              <a:off x="-51925450" y="2454625"/>
              <a:ext cx="18150" cy="17350"/>
            </a:xfrm>
            <a:custGeom>
              <a:avLst/>
              <a:gdLst/>
              <a:ahLst/>
              <a:cxnLst/>
              <a:rect l="l" t="t" r="r" b="b"/>
              <a:pathLst>
                <a:path w="726" h="694" extrusionOk="0">
                  <a:moveTo>
                    <a:pt x="379" y="0"/>
                  </a:moveTo>
                  <a:cubicBezTo>
                    <a:pt x="158" y="0"/>
                    <a:pt x="1" y="158"/>
                    <a:pt x="1" y="347"/>
                  </a:cubicBezTo>
                  <a:cubicBezTo>
                    <a:pt x="1" y="536"/>
                    <a:pt x="158" y="693"/>
                    <a:pt x="379" y="693"/>
                  </a:cubicBezTo>
                  <a:cubicBezTo>
                    <a:pt x="568" y="693"/>
                    <a:pt x="726" y="536"/>
                    <a:pt x="726" y="347"/>
                  </a:cubicBezTo>
                  <a:cubicBezTo>
                    <a:pt x="726" y="158"/>
                    <a:pt x="568" y="0"/>
                    <a:pt x="379"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519" name="Google Shape;10519;p112"/>
            <p:cNvSpPr/>
            <p:nvPr/>
          </p:nvSpPr>
          <p:spPr>
            <a:xfrm>
              <a:off x="-51981350" y="2472725"/>
              <a:ext cx="55925" cy="55950"/>
            </a:xfrm>
            <a:custGeom>
              <a:avLst/>
              <a:gdLst/>
              <a:ahLst/>
              <a:cxnLst/>
              <a:rect l="l" t="t" r="r" b="b"/>
              <a:pathLst>
                <a:path w="2237" h="2238" extrusionOk="0">
                  <a:moveTo>
                    <a:pt x="1134" y="726"/>
                  </a:moveTo>
                  <a:cubicBezTo>
                    <a:pt x="1323" y="726"/>
                    <a:pt x="1481" y="883"/>
                    <a:pt x="1481" y="1072"/>
                  </a:cubicBezTo>
                  <a:cubicBezTo>
                    <a:pt x="1481" y="1293"/>
                    <a:pt x="1323" y="1450"/>
                    <a:pt x="1134" y="1450"/>
                  </a:cubicBezTo>
                  <a:cubicBezTo>
                    <a:pt x="945" y="1450"/>
                    <a:pt x="788" y="1293"/>
                    <a:pt x="788" y="1072"/>
                  </a:cubicBezTo>
                  <a:cubicBezTo>
                    <a:pt x="756" y="915"/>
                    <a:pt x="914" y="726"/>
                    <a:pt x="1134" y="726"/>
                  </a:cubicBezTo>
                  <a:close/>
                  <a:moveTo>
                    <a:pt x="1134" y="1"/>
                  </a:moveTo>
                  <a:cubicBezTo>
                    <a:pt x="504" y="1"/>
                    <a:pt x="32" y="536"/>
                    <a:pt x="32" y="1135"/>
                  </a:cubicBezTo>
                  <a:cubicBezTo>
                    <a:pt x="0" y="1765"/>
                    <a:pt x="504" y="2238"/>
                    <a:pt x="1134" y="2238"/>
                  </a:cubicBezTo>
                  <a:cubicBezTo>
                    <a:pt x="1764" y="2238"/>
                    <a:pt x="2237" y="1702"/>
                    <a:pt x="2237" y="1135"/>
                  </a:cubicBezTo>
                  <a:cubicBezTo>
                    <a:pt x="2237" y="505"/>
                    <a:pt x="1733" y="1"/>
                    <a:pt x="1134"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10520" name="Google Shape;10520;p112"/>
          <p:cNvGrpSpPr/>
          <p:nvPr/>
        </p:nvGrpSpPr>
        <p:grpSpPr>
          <a:xfrm>
            <a:off x="7636971" y="2045415"/>
            <a:ext cx="485008" cy="481453"/>
            <a:chOff x="-57189125" y="1904850"/>
            <a:chExt cx="320575" cy="318225"/>
          </a:xfrm>
        </p:grpSpPr>
        <p:sp>
          <p:nvSpPr>
            <p:cNvPr id="10521" name="Google Shape;10521;p112"/>
            <p:cNvSpPr/>
            <p:nvPr/>
          </p:nvSpPr>
          <p:spPr>
            <a:xfrm>
              <a:off x="-57073350" y="2072625"/>
              <a:ext cx="18125" cy="17350"/>
            </a:xfrm>
            <a:custGeom>
              <a:avLst/>
              <a:gdLst/>
              <a:ahLst/>
              <a:cxnLst/>
              <a:rect l="l" t="t" r="r" b="b"/>
              <a:pathLst>
                <a:path w="725" h="694" extrusionOk="0">
                  <a:moveTo>
                    <a:pt x="347" y="0"/>
                  </a:moveTo>
                  <a:cubicBezTo>
                    <a:pt x="158" y="0"/>
                    <a:pt x="1" y="158"/>
                    <a:pt x="1" y="347"/>
                  </a:cubicBezTo>
                  <a:cubicBezTo>
                    <a:pt x="1" y="536"/>
                    <a:pt x="158" y="694"/>
                    <a:pt x="347" y="694"/>
                  </a:cubicBezTo>
                  <a:cubicBezTo>
                    <a:pt x="536" y="694"/>
                    <a:pt x="725" y="536"/>
                    <a:pt x="725" y="347"/>
                  </a:cubicBezTo>
                  <a:cubicBezTo>
                    <a:pt x="725" y="158"/>
                    <a:pt x="536" y="0"/>
                    <a:pt x="347"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522" name="Google Shape;10522;p112"/>
            <p:cNvSpPr/>
            <p:nvPr/>
          </p:nvSpPr>
          <p:spPr>
            <a:xfrm>
              <a:off x="-56998525" y="2072625"/>
              <a:ext cx="17350" cy="17350"/>
            </a:xfrm>
            <a:custGeom>
              <a:avLst/>
              <a:gdLst/>
              <a:ahLst/>
              <a:cxnLst/>
              <a:rect l="l" t="t" r="r" b="b"/>
              <a:pathLst>
                <a:path w="694" h="694" extrusionOk="0">
                  <a:moveTo>
                    <a:pt x="347" y="0"/>
                  </a:moveTo>
                  <a:cubicBezTo>
                    <a:pt x="158" y="0"/>
                    <a:pt x="1" y="158"/>
                    <a:pt x="1" y="347"/>
                  </a:cubicBezTo>
                  <a:cubicBezTo>
                    <a:pt x="1" y="536"/>
                    <a:pt x="158" y="694"/>
                    <a:pt x="347" y="694"/>
                  </a:cubicBezTo>
                  <a:cubicBezTo>
                    <a:pt x="536" y="694"/>
                    <a:pt x="694" y="536"/>
                    <a:pt x="694" y="347"/>
                  </a:cubicBezTo>
                  <a:cubicBezTo>
                    <a:pt x="694" y="158"/>
                    <a:pt x="536" y="0"/>
                    <a:pt x="347"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523" name="Google Shape;10523;p112"/>
            <p:cNvSpPr/>
            <p:nvPr/>
          </p:nvSpPr>
          <p:spPr>
            <a:xfrm>
              <a:off x="-57035550" y="2007250"/>
              <a:ext cx="17350" cy="18150"/>
            </a:xfrm>
            <a:custGeom>
              <a:avLst/>
              <a:gdLst/>
              <a:ahLst/>
              <a:cxnLst/>
              <a:rect l="l" t="t" r="r" b="b"/>
              <a:pathLst>
                <a:path w="694" h="726" extrusionOk="0">
                  <a:moveTo>
                    <a:pt x="347" y="1"/>
                  </a:moveTo>
                  <a:cubicBezTo>
                    <a:pt x="158" y="1"/>
                    <a:pt x="1" y="158"/>
                    <a:pt x="1" y="347"/>
                  </a:cubicBezTo>
                  <a:cubicBezTo>
                    <a:pt x="1" y="568"/>
                    <a:pt x="158" y="725"/>
                    <a:pt x="347" y="725"/>
                  </a:cubicBezTo>
                  <a:cubicBezTo>
                    <a:pt x="536" y="725"/>
                    <a:pt x="694" y="568"/>
                    <a:pt x="694" y="347"/>
                  </a:cubicBezTo>
                  <a:cubicBezTo>
                    <a:pt x="694" y="158"/>
                    <a:pt x="536" y="1"/>
                    <a:pt x="347"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524" name="Google Shape;10524;p112"/>
            <p:cNvSpPr/>
            <p:nvPr/>
          </p:nvSpPr>
          <p:spPr>
            <a:xfrm>
              <a:off x="-57063900" y="2135825"/>
              <a:ext cx="73275" cy="28975"/>
            </a:xfrm>
            <a:custGeom>
              <a:avLst/>
              <a:gdLst/>
              <a:ahLst/>
              <a:cxnLst/>
              <a:rect l="l" t="t" r="r" b="b"/>
              <a:pathLst>
                <a:path w="2931" h="1159" extrusionOk="0">
                  <a:moveTo>
                    <a:pt x="414" y="1"/>
                  </a:moveTo>
                  <a:cubicBezTo>
                    <a:pt x="316" y="1"/>
                    <a:pt x="221" y="40"/>
                    <a:pt x="158" y="119"/>
                  </a:cubicBezTo>
                  <a:cubicBezTo>
                    <a:pt x="1" y="276"/>
                    <a:pt x="1" y="497"/>
                    <a:pt x="158" y="623"/>
                  </a:cubicBezTo>
                  <a:cubicBezTo>
                    <a:pt x="536" y="970"/>
                    <a:pt x="1009" y="1159"/>
                    <a:pt x="1481" y="1159"/>
                  </a:cubicBezTo>
                  <a:cubicBezTo>
                    <a:pt x="1954" y="1159"/>
                    <a:pt x="2458" y="970"/>
                    <a:pt x="2773" y="623"/>
                  </a:cubicBezTo>
                  <a:cubicBezTo>
                    <a:pt x="2931" y="465"/>
                    <a:pt x="2931" y="213"/>
                    <a:pt x="2773" y="119"/>
                  </a:cubicBezTo>
                  <a:cubicBezTo>
                    <a:pt x="2710" y="40"/>
                    <a:pt x="2623" y="1"/>
                    <a:pt x="2533" y="1"/>
                  </a:cubicBezTo>
                  <a:cubicBezTo>
                    <a:pt x="2442" y="1"/>
                    <a:pt x="2348" y="40"/>
                    <a:pt x="2269" y="119"/>
                  </a:cubicBezTo>
                  <a:cubicBezTo>
                    <a:pt x="2048" y="308"/>
                    <a:pt x="1733" y="434"/>
                    <a:pt x="1481" y="434"/>
                  </a:cubicBezTo>
                  <a:cubicBezTo>
                    <a:pt x="1166" y="434"/>
                    <a:pt x="883" y="308"/>
                    <a:pt x="694" y="119"/>
                  </a:cubicBezTo>
                  <a:cubicBezTo>
                    <a:pt x="615" y="40"/>
                    <a:pt x="513" y="1"/>
                    <a:pt x="414"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525" name="Google Shape;10525;p112"/>
            <p:cNvSpPr/>
            <p:nvPr/>
          </p:nvSpPr>
          <p:spPr>
            <a:xfrm>
              <a:off x="-57189125" y="1904850"/>
              <a:ext cx="320575" cy="318225"/>
            </a:xfrm>
            <a:custGeom>
              <a:avLst/>
              <a:gdLst/>
              <a:ahLst/>
              <a:cxnLst/>
              <a:rect l="l" t="t" r="r" b="b"/>
              <a:pathLst>
                <a:path w="12823" h="12729" extrusionOk="0">
                  <a:moveTo>
                    <a:pt x="6490" y="726"/>
                  </a:moveTo>
                  <a:cubicBezTo>
                    <a:pt x="6994" y="726"/>
                    <a:pt x="7467" y="1104"/>
                    <a:pt x="7593" y="1639"/>
                  </a:cubicBezTo>
                  <a:cubicBezTo>
                    <a:pt x="7215" y="1545"/>
                    <a:pt x="6868" y="1450"/>
                    <a:pt x="6490" y="1450"/>
                  </a:cubicBezTo>
                  <a:cubicBezTo>
                    <a:pt x="6081" y="1450"/>
                    <a:pt x="5734" y="1513"/>
                    <a:pt x="5388" y="1639"/>
                  </a:cubicBezTo>
                  <a:cubicBezTo>
                    <a:pt x="5482" y="1104"/>
                    <a:pt x="5923" y="726"/>
                    <a:pt x="6490" y="726"/>
                  </a:cubicBezTo>
                  <a:close/>
                  <a:moveTo>
                    <a:pt x="6081" y="2269"/>
                  </a:moveTo>
                  <a:lnTo>
                    <a:pt x="6081" y="2301"/>
                  </a:lnTo>
                  <a:cubicBezTo>
                    <a:pt x="5860" y="2364"/>
                    <a:pt x="5608" y="2584"/>
                    <a:pt x="5482" y="2805"/>
                  </a:cubicBezTo>
                  <a:cubicBezTo>
                    <a:pt x="5104" y="2805"/>
                    <a:pt x="4695" y="2994"/>
                    <a:pt x="4506" y="3372"/>
                  </a:cubicBezTo>
                  <a:cubicBezTo>
                    <a:pt x="4317" y="3719"/>
                    <a:pt x="4317" y="4160"/>
                    <a:pt x="4506" y="4475"/>
                  </a:cubicBezTo>
                  <a:cubicBezTo>
                    <a:pt x="4474" y="4538"/>
                    <a:pt x="4443" y="4664"/>
                    <a:pt x="4380" y="4727"/>
                  </a:cubicBezTo>
                  <a:cubicBezTo>
                    <a:pt x="4002" y="4979"/>
                    <a:pt x="3529" y="5136"/>
                    <a:pt x="3088" y="5168"/>
                  </a:cubicBezTo>
                  <a:cubicBezTo>
                    <a:pt x="3277" y="3624"/>
                    <a:pt x="4537" y="2427"/>
                    <a:pt x="6081" y="2269"/>
                  </a:cubicBezTo>
                  <a:close/>
                  <a:moveTo>
                    <a:pt x="6837" y="2269"/>
                  </a:moveTo>
                  <a:cubicBezTo>
                    <a:pt x="8412" y="2427"/>
                    <a:pt x="9641" y="3624"/>
                    <a:pt x="9830" y="5168"/>
                  </a:cubicBezTo>
                  <a:cubicBezTo>
                    <a:pt x="9357" y="5136"/>
                    <a:pt x="8916" y="4979"/>
                    <a:pt x="8538" y="4727"/>
                  </a:cubicBezTo>
                  <a:cubicBezTo>
                    <a:pt x="8475" y="4632"/>
                    <a:pt x="8444" y="4538"/>
                    <a:pt x="8412" y="4475"/>
                  </a:cubicBezTo>
                  <a:cubicBezTo>
                    <a:pt x="8601" y="4097"/>
                    <a:pt x="8633" y="3719"/>
                    <a:pt x="8412" y="3372"/>
                  </a:cubicBezTo>
                  <a:cubicBezTo>
                    <a:pt x="8223" y="2994"/>
                    <a:pt x="7814" y="2805"/>
                    <a:pt x="7436" y="2805"/>
                  </a:cubicBezTo>
                  <a:cubicBezTo>
                    <a:pt x="7310" y="2584"/>
                    <a:pt x="7057" y="2364"/>
                    <a:pt x="6837" y="2301"/>
                  </a:cubicBezTo>
                  <a:lnTo>
                    <a:pt x="6837" y="2269"/>
                  </a:lnTo>
                  <a:close/>
                  <a:moveTo>
                    <a:pt x="6490" y="2962"/>
                  </a:moveTo>
                  <a:cubicBezTo>
                    <a:pt x="6648" y="2962"/>
                    <a:pt x="6805" y="3088"/>
                    <a:pt x="6837" y="3277"/>
                  </a:cubicBezTo>
                  <a:cubicBezTo>
                    <a:pt x="6863" y="3460"/>
                    <a:pt x="7039" y="3577"/>
                    <a:pt x="7224" y="3577"/>
                  </a:cubicBezTo>
                  <a:cubicBezTo>
                    <a:pt x="7263" y="3577"/>
                    <a:pt x="7303" y="3572"/>
                    <a:pt x="7341" y="3561"/>
                  </a:cubicBezTo>
                  <a:cubicBezTo>
                    <a:pt x="7384" y="3535"/>
                    <a:pt x="7430" y="3523"/>
                    <a:pt x="7476" y="3523"/>
                  </a:cubicBezTo>
                  <a:cubicBezTo>
                    <a:pt x="7595" y="3523"/>
                    <a:pt x="7714" y="3604"/>
                    <a:pt x="7782" y="3719"/>
                  </a:cubicBezTo>
                  <a:cubicBezTo>
                    <a:pt x="7845" y="3876"/>
                    <a:pt x="7814" y="4065"/>
                    <a:pt x="7688" y="4191"/>
                  </a:cubicBezTo>
                  <a:cubicBezTo>
                    <a:pt x="7562" y="4349"/>
                    <a:pt x="7562" y="4601"/>
                    <a:pt x="7688" y="4727"/>
                  </a:cubicBezTo>
                  <a:cubicBezTo>
                    <a:pt x="7845" y="4853"/>
                    <a:pt x="7908" y="5042"/>
                    <a:pt x="7782" y="5199"/>
                  </a:cubicBezTo>
                  <a:cubicBezTo>
                    <a:pt x="7712" y="5316"/>
                    <a:pt x="7590" y="5381"/>
                    <a:pt x="7467" y="5381"/>
                  </a:cubicBezTo>
                  <a:cubicBezTo>
                    <a:pt x="7425" y="5381"/>
                    <a:pt x="7382" y="5373"/>
                    <a:pt x="7341" y="5357"/>
                  </a:cubicBezTo>
                  <a:cubicBezTo>
                    <a:pt x="7303" y="5346"/>
                    <a:pt x="7264" y="5341"/>
                    <a:pt x="7227" y="5341"/>
                  </a:cubicBezTo>
                  <a:cubicBezTo>
                    <a:pt x="7048" y="5341"/>
                    <a:pt x="6889" y="5458"/>
                    <a:pt x="6837" y="5640"/>
                  </a:cubicBezTo>
                  <a:cubicBezTo>
                    <a:pt x="6805" y="5829"/>
                    <a:pt x="6648" y="5955"/>
                    <a:pt x="6490" y="5955"/>
                  </a:cubicBezTo>
                  <a:cubicBezTo>
                    <a:pt x="6333" y="5955"/>
                    <a:pt x="6175" y="5829"/>
                    <a:pt x="6112" y="5640"/>
                  </a:cubicBezTo>
                  <a:cubicBezTo>
                    <a:pt x="6086" y="5458"/>
                    <a:pt x="5931" y="5341"/>
                    <a:pt x="5736" y="5341"/>
                  </a:cubicBezTo>
                  <a:cubicBezTo>
                    <a:pt x="5695" y="5341"/>
                    <a:pt x="5652" y="5346"/>
                    <a:pt x="5608" y="5357"/>
                  </a:cubicBezTo>
                  <a:cubicBezTo>
                    <a:pt x="5565" y="5383"/>
                    <a:pt x="5519" y="5394"/>
                    <a:pt x="5474" y="5394"/>
                  </a:cubicBezTo>
                  <a:cubicBezTo>
                    <a:pt x="5354" y="5394"/>
                    <a:pt x="5236" y="5313"/>
                    <a:pt x="5167" y="5199"/>
                  </a:cubicBezTo>
                  <a:cubicBezTo>
                    <a:pt x="5104" y="5042"/>
                    <a:pt x="5136" y="4853"/>
                    <a:pt x="5262" y="4727"/>
                  </a:cubicBezTo>
                  <a:cubicBezTo>
                    <a:pt x="5419" y="4569"/>
                    <a:pt x="5419" y="4317"/>
                    <a:pt x="5262" y="4191"/>
                  </a:cubicBezTo>
                  <a:cubicBezTo>
                    <a:pt x="5104" y="4065"/>
                    <a:pt x="5073" y="3876"/>
                    <a:pt x="5167" y="3719"/>
                  </a:cubicBezTo>
                  <a:cubicBezTo>
                    <a:pt x="5237" y="3602"/>
                    <a:pt x="5359" y="3537"/>
                    <a:pt x="5482" y="3537"/>
                  </a:cubicBezTo>
                  <a:cubicBezTo>
                    <a:pt x="5525" y="3537"/>
                    <a:pt x="5568" y="3545"/>
                    <a:pt x="5608" y="3561"/>
                  </a:cubicBezTo>
                  <a:cubicBezTo>
                    <a:pt x="5652" y="3572"/>
                    <a:pt x="5694" y="3577"/>
                    <a:pt x="5734" y="3577"/>
                  </a:cubicBezTo>
                  <a:cubicBezTo>
                    <a:pt x="5922" y="3577"/>
                    <a:pt x="6060" y="3460"/>
                    <a:pt x="6112" y="3277"/>
                  </a:cubicBezTo>
                  <a:cubicBezTo>
                    <a:pt x="6175" y="3088"/>
                    <a:pt x="6333" y="2962"/>
                    <a:pt x="6490" y="2962"/>
                  </a:cubicBezTo>
                  <a:close/>
                  <a:moveTo>
                    <a:pt x="2332" y="6711"/>
                  </a:moveTo>
                  <a:lnTo>
                    <a:pt x="2332" y="8192"/>
                  </a:lnTo>
                  <a:cubicBezTo>
                    <a:pt x="1954" y="8192"/>
                    <a:pt x="1607" y="7877"/>
                    <a:pt x="1607" y="7436"/>
                  </a:cubicBezTo>
                  <a:cubicBezTo>
                    <a:pt x="1607" y="7027"/>
                    <a:pt x="1954" y="6711"/>
                    <a:pt x="2332" y="6711"/>
                  </a:cubicBezTo>
                  <a:close/>
                  <a:moveTo>
                    <a:pt x="10618" y="6711"/>
                  </a:moveTo>
                  <a:cubicBezTo>
                    <a:pt x="10996" y="6711"/>
                    <a:pt x="11374" y="7027"/>
                    <a:pt x="11374" y="7468"/>
                  </a:cubicBezTo>
                  <a:cubicBezTo>
                    <a:pt x="11374" y="7846"/>
                    <a:pt x="11059" y="8192"/>
                    <a:pt x="10618" y="8192"/>
                  </a:cubicBezTo>
                  <a:lnTo>
                    <a:pt x="10618" y="6711"/>
                  </a:lnTo>
                  <a:close/>
                  <a:moveTo>
                    <a:pt x="1166" y="8350"/>
                  </a:moveTo>
                  <a:cubicBezTo>
                    <a:pt x="1450" y="8728"/>
                    <a:pt x="1891" y="8948"/>
                    <a:pt x="2363" y="8948"/>
                  </a:cubicBezTo>
                  <a:cubicBezTo>
                    <a:pt x="2332" y="9358"/>
                    <a:pt x="1985" y="9704"/>
                    <a:pt x="1607" y="9704"/>
                  </a:cubicBezTo>
                  <a:cubicBezTo>
                    <a:pt x="1198" y="9704"/>
                    <a:pt x="851" y="9389"/>
                    <a:pt x="851" y="8948"/>
                  </a:cubicBezTo>
                  <a:cubicBezTo>
                    <a:pt x="851" y="8728"/>
                    <a:pt x="977" y="8476"/>
                    <a:pt x="1166" y="8350"/>
                  </a:cubicBezTo>
                  <a:close/>
                  <a:moveTo>
                    <a:pt x="11783" y="8350"/>
                  </a:moveTo>
                  <a:cubicBezTo>
                    <a:pt x="12004" y="8507"/>
                    <a:pt x="12098" y="8728"/>
                    <a:pt x="12098" y="8948"/>
                  </a:cubicBezTo>
                  <a:cubicBezTo>
                    <a:pt x="12098" y="9358"/>
                    <a:pt x="11752" y="9704"/>
                    <a:pt x="11374" y="9704"/>
                  </a:cubicBezTo>
                  <a:cubicBezTo>
                    <a:pt x="10964" y="9704"/>
                    <a:pt x="10618" y="9389"/>
                    <a:pt x="10618" y="8948"/>
                  </a:cubicBezTo>
                  <a:cubicBezTo>
                    <a:pt x="11090" y="8948"/>
                    <a:pt x="11531" y="8728"/>
                    <a:pt x="11783" y="8350"/>
                  </a:cubicBezTo>
                  <a:close/>
                  <a:moveTo>
                    <a:pt x="8381" y="5514"/>
                  </a:moveTo>
                  <a:cubicBezTo>
                    <a:pt x="8790" y="5735"/>
                    <a:pt x="9326" y="5892"/>
                    <a:pt x="9798" y="5924"/>
                  </a:cubicBezTo>
                  <a:lnTo>
                    <a:pt x="9798" y="8570"/>
                  </a:lnTo>
                  <a:cubicBezTo>
                    <a:pt x="9861" y="10398"/>
                    <a:pt x="8318" y="11941"/>
                    <a:pt x="6490" y="11941"/>
                  </a:cubicBezTo>
                  <a:cubicBezTo>
                    <a:pt x="4632" y="11941"/>
                    <a:pt x="3088" y="10398"/>
                    <a:pt x="3088" y="8570"/>
                  </a:cubicBezTo>
                  <a:lnTo>
                    <a:pt x="3088" y="5924"/>
                  </a:lnTo>
                  <a:cubicBezTo>
                    <a:pt x="3592" y="5892"/>
                    <a:pt x="4065" y="5735"/>
                    <a:pt x="4506" y="5514"/>
                  </a:cubicBezTo>
                  <a:lnTo>
                    <a:pt x="4506" y="5577"/>
                  </a:lnTo>
                  <a:cubicBezTo>
                    <a:pt x="4695" y="5924"/>
                    <a:pt x="5104" y="6113"/>
                    <a:pt x="5482" y="6113"/>
                  </a:cubicBezTo>
                  <a:cubicBezTo>
                    <a:pt x="5703" y="6459"/>
                    <a:pt x="6049" y="6711"/>
                    <a:pt x="6427" y="6711"/>
                  </a:cubicBezTo>
                  <a:cubicBezTo>
                    <a:pt x="6837" y="6711"/>
                    <a:pt x="7215" y="6459"/>
                    <a:pt x="7373" y="6113"/>
                  </a:cubicBezTo>
                  <a:cubicBezTo>
                    <a:pt x="7782" y="6113"/>
                    <a:pt x="8160" y="5924"/>
                    <a:pt x="8381" y="5577"/>
                  </a:cubicBezTo>
                  <a:lnTo>
                    <a:pt x="8381" y="5514"/>
                  </a:lnTo>
                  <a:close/>
                  <a:moveTo>
                    <a:pt x="6396" y="1"/>
                  </a:moveTo>
                  <a:cubicBezTo>
                    <a:pt x="5892" y="1"/>
                    <a:pt x="5419" y="221"/>
                    <a:pt x="5073" y="568"/>
                  </a:cubicBezTo>
                  <a:cubicBezTo>
                    <a:pt x="4726" y="915"/>
                    <a:pt x="4506" y="1419"/>
                    <a:pt x="4506" y="1954"/>
                  </a:cubicBezTo>
                  <a:cubicBezTo>
                    <a:pt x="3182" y="2616"/>
                    <a:pt x="2237" y="4002"/>
                    <a:pt x="2237" y="5609"/>
                  </a:cubicBezTo>
                  <a:lnTo>
                    <a:pt x="2237" y="5955"/>
                  </a:lnTo>
                  <a:cubicBezTo>
                    <a:pt x="1324" y="5955"/>
                    <a:pt x="599" y="6743"/>
                    <a:pt x="725" y="7657"/>
                  </a:cubicBezTo>
                  <a:cubicBezTo>
                    <a:pt x="252" y="7940"/>
                    <a:pt x="0" y="8413"/>
                    <a:pt x="0" y="8948"/>
                  </a:cubicBezTo>
                  <a:cubicBezTo>
                    <a:pt x="0" y="9767"/>
                    <a:pt x="662" y="10461"/>
                    <a:pt x="1481" y="10461"/>
                  </a:cubicBezTo>
                  <a:cubicBezTo>
                    <a:pt x="1891" y="10461"/>
                    <a:pt x="2237" y="10303"/>
                    <a:pt x="2521" y="10051"/>
                  </a:cubicBezTo>
                  <a:cubicBezTo>
                    <a:pt x="3088" y="11563"/>
                    <a:pt x="4569" y="12729"/>
                    <a:pt x="6364" y="12729"/>
                  </a:cubicBezTo>
                  <a:cubicBezTo>
                    <a:pt x="8129" y="12729"/>
                    <a:pt x="9641" y="11595"/>
                    <a:pt x="10239" y="10051"/>
                  </a:cubicBezTo>
                  <a:cubicBezTo>
                    <a:pt x="10492" y="10303"/>
                    <a:pt x="10870" y="10461"/>
                    <a:pt x="11248" y="10461"/>
                  </a:cubicBezTo>
                  <a:cubicBezTo>
                    <a:pt x="12067" y="10461"/>
                    <a:pt x="12760" y="9767"/>
                    <a:pt x="12760" y="8948"/>
                  </a:cubicBezTo>
                  <a:cubicBezTo>
                    <a:pt x="12823" y="8413"/>
                    <a:pt x="12539" y="7877"/>
                    <a:pt x="12067" y="7657"/>
                  </a:cubicBezTo>
                  <a:cubicBezTo>
                    <a:pt x="12193" y="6743"/>
                    <a:pt x="11468" y="5955"/>
                    <a:pt x="10586" y="5955"/>
                  </a:cubicBezTo>
                  <a:lnTo>
                    <a:pt x="10586" y="5609"/>
                  </a:lnTo>
                  <a:cubicBezTo>
                    <a:pt x="10586" y="4002"/>
                    <a:pt x="9672" y="2616"/>
                    <a:pt x="8286" y="1954"/>
                  </a:cubicBezTo>
                  <a:cubicBezTo>
                    <a:pt x="8286" y="1419"/>
                    <a:pt x="8097" y="915"/>
                    <a:pt x="7751" y="568"/>
                  </a:cubicBezTo>
                  <a:cubicBezTo>
                    <a:pt x="7373" y="221"/>
                    <a:pt x="6900" y="1"/>
                    <a:pt x="6396"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10526" name="Google Shape;10526;p112"/>
          <p:cNvGrpSpPr/>
          <p:nvPr/>
        </p:nvGrpSpPr>
        <p:grpSpPr>
          <a:xfrm>
            <a:off x="7638162" y="2705064"/>
            <a:ext cx="482625" cy="421881"/>
            <a:chOff x="-57187550" y="2314425"/>
            <a:chExt cx="319000" cy="278850"/>
          </a:xfrm>
        </p:grpSpPr>
        <p:sp>
          <p:nvSpPr>
            <p:cNvPr id="10527" name="Google Shape;10527;p112"/>
            <p:cNvSpPr/>
            <p:nvPr/>
          </p:nvSpPr>
          <p:spPr>
            <a:xfrm>
              <a:off x="-57073350" y="2445950"/>
              <a:ext cx="18125" cy="17350"/>
            </a:xfrm>
            <a:custGeom>
              <a:avLst/>
              <a:gdLst/>
              <a:ahLst/>
              <a:cxnLst/>
              <a:rect l="l" t="t" r="r" b="b"/>
              <a:pathLst>
                <a:path w="725" h="694" extrusionOk="0">
                  <a:moveTo>
                    <a:pt x="347" y="1"/>
                  </a:moveTo>
                  <a:cubicBezTo>
                    <a:pt x="158" y="1"/>
                    <a:pt x="1" y="158"/>
                    <a:pt x="1" y="347"/>
                  </a:cubicBezTo>
                  <a:cubicBezTo>
                    <a:pt x="1" y="536"/>
                    <a:pt x="158" y="694"/>
                    <a:pt x="347" y="694"/>
                  </a:cubicBezTo>
                  <a:cubicBezTo>
                    <a:pt x="536" y="694"/>
                    <a:pt x="725" y="536"/>
                    <a:pt x="725" y="347"/>
                  </a:cubicBezTo>
                  <a:cubicBezTo>
                    <a:pt x="725" y="158"/>
                    <a:pt x="536" y="1"/>
                    <a:pt x="347"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528" name="Google Shape;10528;p112"/>
            <p:cNvSpPr/>
            <p:nvPr/>
          </p:nvSpPr>
          <p:spPr>
            <a:xfrm>
              <a:off x="-56998525" y="2445175"/>
              <a:ext cx="17350" cy="18125"/>
            </a:xfrm>
            <a:custGeom>
              <a:avLst/>
              <a:gdLst/>
              <a:ahLst/>
              <a:cxnLst/>
              <a:rect l="l" t="t" r="r" b="b"/>
              <a:pathLst>
                <a:path w="694" h="725" extrusionOk="0">
                  <a:moveTo>
                    <a:pt x="347" y="0"/>
                  </a:moveTo>
                  <a:cubicBezTo>
                    <a:pt x="158" y="0"/>
                    <a:pt x="1" y="189"/>
                    <a:pt x="1" y="378"/>
                  </a:cubicBezTo>
                  <a:cubicBezTo>
                    <a:pt x="1" y="567"/>
                    <a:pt x="158" y="725"/>
                    <a:pt x="347" y="725"/>
                  </a:cubicBezTo>
                  <a:cubicBezTo>
                    <a:pt x="536" y="725"/>
                    <a:pt x="694" y="567"/>
                    <a:pt x="694" y="378"/>
                  </a:cubicBezTo>
                  <a:cubicBezTo>
                    <a:pt x="694" y="189"/>
                    <a:pt x="536" y="0"/>
                    <a:pt x="347"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529" name="Google Shape;10529;p112"/>
            <p:cNvSpPr/>
            <p:nvPr/>
          </p:nvSpPr>
          <p:spPr>
            <a:xfrm>
              <a:off x="-57063900" y="2508375"/>
              <a:ext cx="73275" cy="29750"/>
            </a:xfrm>
            <a:custGeom>
              <a:avLst/>
              <a:gdLst/>
              <a:ahLst/>
              <a:cxnLst/>
              <a:rect l="l" t="t" r="r" b="b"/>
              <a:pathLst>
                <a:path w="2931" h="1190" extrusionOk="0">
                  <a:moveTo>
                    <a:pt x="414" y="0"/>
                  </a:moveTo>
                  <a:cubicBezTo>
                    <a:pt x="316" y="0"/>
                    <a:pt x="221" y="40"/>
                    <a:pt x="158" y="119"/>
                  </a:cubicBezTo>
                  <a:cubicBezTo>
                    <a:pt x="1" y="276"/>
                    <a:pt x="1" y="528"/>
                    <a:pt x="158" y="654"/>
                  </a:cubicBezTo>
                  <a:cubicBezTo>
                    <a:pt x="536" y="1001"/>
                    <a:pt x="1009" y="1190"/>
                    <a:pt x="1481" y="1190"/>
                  </a:cubicBezTo>
                  <a:cubicBezTo>
                    <a:pt x="1954" y="1190"/>
                    <a:pt x="2458" y="1001"/>
                    <a:pt x="2773" y="654"/>
                  </a:cubicBezTo>
                  <a:cubicBezTo>
                    <a:pt x="2931" y="497"/>
                    <a:pt x="2931" y="245"/>
                    <a:pt x="2773" y="119"/>
                  </a:cubicBezTo>
                  <a:cubicBezTo>
                    <a:pt x="2710" y="40"/>
                    <a:pt x="2623" y="0"/>
                    <a:pt x="2533" y="0"/>
                  </a:cubicBezTo>
                  <a:cubicBezTo>
                    <a:pt x="2442" y="0"/>
                    <a:pt x="2348" y="40"/>
                    <a:pt x="2269" y="119"/>
                  </a:cubicBezTo>
                  <a:cubicBezTo>
                    <a:pt x="2048" y="339"/>
                    <a:pt x="1733" y="434"/>
                    <a:pt x="1481" y="434"/>
                  </a:cubicBezTo>
                  <a:cubicBezTo>
                    <a:pt x="1166" y="434"/>
                    <a:pt x="883" y="339"/>
                    <a:pt x="694" y="119"/>
                  </a:cubicBezTo>
                  <a:cubicBezTo>
                    <a:pt x="615" y="40"/>
                    <a:pt x="513" y="0"/>
                    <a:pt x="414"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530" name="Google Shape;10530;p112"/>
            <p:cNvSpPr/>
            <p:nvPr/>
          </p:nvSpPr>
          <p:spPr>
            <a:xfrm>
              <a:off x="-57187550" y="2314425"/>
              <a:ext cx="319000" cy="278850"/>
            </a:xfrm>
            <a:custGeom>
              <a:avLst/>
              <a:gdLst/>
              <a:ahLst/>
              <a:cxnLst/>
              <a:rect l="l" t="t" r="r" b="b"/>
              <a:pathLst>
                <a:path w="12760" h="11154" extrusionOk="0">
                  <a:moveTo>
                    <a:pt x="6427" y="757"/>
                  </a:moveTo>
                  <a:cubicBezTo>
                    <a:pt x="7593" y="757"/>
                    <a:pt x="8633" y="1355"/>
                    <a:pt x="9200" y="2269"/>
                  </a:cubicBezTo>
                  <a:lnTo>
                    <a:pt x="3592" y="2269"/>
                  </a:lnTo>
                  <a:cubicBezTo>
                    <a:pt x="4222" y="1355"/>
                    <a:pt x="5230" y="757"/>
                    <a:pt x="6427" y="757"/>
                  </a:cubicBezTo>
                  <a:close/>
                  <a:moveTo>
                    <a:pt x="5829" y="2993"/>
                  </a:moveTo>
                  <a:cubicBezTo>
                    <a:pt x="5325" y="3907"/>
                    <a:pt x="4317" y="4506"/>
                    <a:pt x="3277" y="4506"/>
                  </a:cubicBezTo>
                  <a:lnTo>
                    <a:pt x="3025" y="4506"/>
                  </a:lnTo>
                  <a:lnTo>
                    <a:pt x="3025" y="4159"/>
                  </a:lnTo>
                  <a:cubicBezTo>
                    <a:pt x="3025" y="3750"/>
                    <a:pt x="3119" y="3371"/>
                    <a:pt x="3214" y="2993"/>
                  </a:cubicBezTo>
                  <a:close/>
                  <a:moveTo>
                    <a:pt x="10555" y="5230"/>
                  </a:moveTo>
                  <a:cubicBezTo>
                    <a:pt x="10933" y="5230"/>
                    <a:pt x="11311" y="5577"/>
                    <a:pt x="11311" y="5986"/>
                  </a:cubicBezTo>
                  <a:cubicBezTo>
                    <a:pt x="11311" y="6396"/>
                    <a:pt x="10996" y="6742"/>
                    <a:pt x="10555" y="6742"/>
                  </a:cubicBezTo>
                  <a:lnTo>
                    <a:pt x="10555" y="5230"/>
                  </a:lnTo>
                  <a:close/>
                  <a:moveTo>
                    <a:pt x="1859" y="5419"/>
                  </a:moveTo>
                  <a:lnTo>
                    <a:pt x="1859" y="5419"/>
                  </a:lnTo>
                  <a:cubicBezTo>
                    <a:pt x="1702" y="5766"/>
                    <a:pt x="1544" y="6238"/>
                    <a:pt x="1544" y="6711"/>
                  </a:cubicBezTo>
                  <a:cubicBezTo>
                    <a:pt x="1544" y="6837"/>
                    <a:pt x="1544" y="6931"/>
                    <a:pt x="1576" y="7058"/>
                  </a:cubicBezTo>
                  <a:cubicBezTo>
                    <a:pt x="1324" y="7247"/>
                    <a:pt x="1072" y="7373"/>
                    <a:pt x="788" y="7467"/>
                  </a:cubicBezTo>
                  <a:lnTo>
                    <a:pt x="788" y="7089"/>
                  </a:lnTo>
                  <a:cubicBezTo>
                    <a:pt x="788" y="6364"/>
                    <a:pt x="1229" y="5734"/>
                    <a:pt x="1859" y="5419"/>
                  </a:cubicBezTo>
                  <a:close/>
                  <a:moveTo>
                    <a:pt x="2647" y="5514"/>
                  </a:moveTo>
                  <a:cubicBezTo>
                    <a:pt x="2804" y="5829"/>
                    <a:pt x="2993" y="6270"/>
                    <a:pt x="2993" y="6742"/>
                  </a:cubicBezTo>
                  <a:cubicBezTo>
                    <a:pt x="2993" y="7215"/>
                    <a:pt x="2804" y="7656"/>
                    <a:pt x="2647" y="7971"/>
                  </a:cubicBezTo>
                  <a:cubicBezTo>
                    <a:pt x="2489" y="7656"/>
                    <a:pt x="2269" y="7215"/>
                    <a:pt x="2269" y="6742"/>
                  </a:cubicBezTo>
                  <a:cubicBezTo>
                    <a:pt x="2269" y="6270"/>
                    <a:pt x="2489" y="5829"/>
                    <a:pt x="2647" y="5514"/>
                  </a:cubicBezTo>
                  <a:close/>
                  <a:moveTo>
                    <a:pt x="11720" y="6868"/>
                  </a:moveTo>
                  <a:cubicBezTo>
                    <a:pt x="11941" y="7026"/>
                    <a:pt x="12035" y="7215"/>
                    <a:pt x="12035" y="7467"/>
                  </a:cubicBezTo>
                  <a:cubicBezTo>
                    <a:pt x="12035" y="7877"/>
                    <a:pt x="11689" y="8192"/>
                    <a:pt x="11311" y="8192"/>
                  </a:cubicBezTo>
                  <a:cubicBezTo>
                    <a:pt x="10901" y="8192"/>
                    <a:pt x="10555" y="7845"/>
                    <a:pt x="10555" y="7467"/>
                  </a:cubicBezTo>
                  <a:cubicBezTo>
                    <a:pt x="11027" y="7467"/>
                    <a:pt x="11468" y="7215"/>
                    <a:pt x="11720" y="6868"/>
                  </a:cubicBezTo>
                  <a:close/>
                  <a:moveTo>
                    <a:pt x="9578" y="2962"/>
                  </a:moveTo>
                  <a:cubicBezTo>
                    <a:pt x="9672" y="3308"/>
                    <a:pt x="9767" y="3687"/>
                    <a:pt x="9767" y="4065"/>
                  </a:cubicBezTo>
                  <a:lnTo>
                    <a:pt x="9767" y="7058"/>
                  </a:lnTo>
                  <a:cubicBezTo>
                    <a:pt x="9798" y="8948"/>
                    <a:pt x="8255" y="10460"/>
                    <a:pt x="6427" y="10460"/>
                  </a:cubicBezTo>
                  <a:cubicBezTo>
                    <a:pt x="5041" y="10460"/>
                    <a:pt x="3781" y="9609"/>
                    <a:pt x="3277" y="8349"/>
                  </a:cubicBezTo>
                  <a:cubicBezTo>
                    <a:pt x="3497" y="7971"/>
                    <a:pt x="3781" y="7373"/>
                    <a:pt x="3781" y="6711"/>
                  </a:cubicBezTo>
                  <a:cubicBezTo>
                    <a:pt x="3781" y="6112"/>
                    <a:pt x="3592" y="5608"/>
                    <a:pt x="3340" y="5199"/>
                  </a:cubicBezTo>
                  <a:cubicBezTo>
                    <a:pt x="4789" y="5167"/>
                    <a:pt x="6112" y="4254"/>
                    <a:pt x="6648" y="2962"/>
                  </a:cubicBezTo>
                  <a:close/>
                  <a:moveTo>
                    <a:pt x="6364" y="0"/>
                  </a:moveTo>
                  <a:cubicBezTo>
                    <a:pt x="4096" y="0"/>
                    <a:pt x="2237" y="1859"/>
                    <a:pt x="2237" y="4096"/>
                  </a:cubicBezTo>
                  <a:lnTo>
                    <a:pt x="2237" y="4506"/>
                  </a:lnTo>
                  <a:cubicBezTo>
                    <a:pt x="977" y="4695"/>
                    <a:pt x="0" y="5766"/>
                    <a:pt x="0" y="7089"/>
                  </a:cubicBezTo>
                  <a:lnTo>
                    <a:pt x="0" y="7845"/>
                  </a:lnTo>
                  <a:cubicBezTo>
                    <a:pt x="0" y="8034"/>
                    <a:pt x="158" y="8192"/>
                    <a:pt x="347" y="8192"/>
                  </a:cubicBezTo>
                  <a:cubicBezTo>
                    <a:pt x="820" y="8192"/>
                    <a:pt x="1292" y="8066"/>
                    <a:pt x="1702" y="7814"/>
                  </a:cubicBezTo>
                  <a:cubicBezTo>
                    <a:pt x="1922" y="8412"/>
                    <a:pt x="2269" y="8790"/>
                    <a:pt x="2269" y="8790"/>
                  </a:cubicBezTo>
                  <a:cubicBezTo>
                    <a:pt x="2350" y="8845"/>
                    <a:pt x="2455" y="8923"/>
                    <a:pt x="2584" y="8923"/>
                  </a:cubicBezTo>
                  <a:cubicBezTo>
                    <a:pt x="2604" y="8923"/>
                    <a:pt x="2625" y="8921"/>
                    <a:pt x="2647" y="8916"/>
                  </a:cubicBezTo>
                  <a:cubicBezTo>
                    <a:pt x="2899" y="9515"/>
                    <a:pt x="3340" y="9987"/>
                    <a:pt x="3907" y="10366"/>
                  </a:cubicBezTo>
                  <a:cubicBezTo>
                    <a:pt x="4600" y="10870"/>
                    <a:pt x="5419" y="11153"/>
                    <a:pt x="6301" y="11153"/>
                  </a:cubicBezTo>
                  <a:cubicBezTo>
                    <a:pt x="8066" y="11153"/>
                    <a:pt x="9578" y="10050"/>
                    <a:pt x="10145" y="8507"/>
                  </a:cubicBezTo>
                  <a:cubicBezTo>
                    <a:pt x="10429" y="8759"/>
                    <a:pt x="10775" y="8916"/>
                    <a:pt x="11185" y="8916"/>
                  </a:cubicBezTo>
                  <a:cubicBezTo>
                    <a:pt x="12004" y="8916"/>
                    <a:pt x="12665" y="8255"/>
                    <a:pt x="12665" y="7404"/>
                  </a:cubicBezTo>
                  <a:cubicBezTo>
                    <a:pt x="12760" y="6931"/>
                    <a:pt x="12476" y="6427"/>
                    <a:pt x="12004" y="6144"/>
                  </a:cubicBezTo>
                  <a:cubicBezTo>
                    <a:pt x="12130" y="5230"/>
                    <a:pt x="11405" y="4443"/>
                    <a:pt x="10523" y="4443"/>
                  </a:cubicBezTo>
                  <a:lnTo>
                    <a:pt x="10523" y="4096"/>
                  </a:lnTo>
                  <a:cubicBezTo>
                    <a:pt x="10523" y="1859"/>
                    <a:pt x="8664" y="0"/>
                    <a:pt x="6364"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10531" name="Google Shape;10531;p112"/>
          <p:cNvGrpSpPr/>
          <p:nvPr/>
        </p:nvGrpSpPr>
        <p:grpSpPr>
          <a:xfrm>
            <a:off x="7660780" y="3277796"/>
            <a:ext cx="437389" cy="482361"/>
            <a:chOff x="-57172600" y="2686375"/>
            <a:chExt cx="289100" cy="318825"/>
          </a:xfrm>
        </p:grpSpPr>
        <p:sp>
          <p:nvSpPr>
            <p:cNvPr id="10532" name="Google Shape;10532;p112"/>
            <p:cNvSpPr/>
            <p:nvPr/>
          </p:nvSpPr>
          <p:spPr>
            <a:xfrm>
              <a:off x="-57063900" y="2937625"/>
              <a:ext cx="73275" cy="29750"/>
            </a:xfrm>
            <a:custGeom>
              <a:avLst/>
              <a:gdLst/>
              <a:ahLst/>
              <a:cxnLst/>
              <a:rect l="l" t="t" r="r" b="b"/>
              <a:pathLst>
                <a:path w="2931" h="1190" extrusionOk="0">
                  <a:moveTo>
                    <a:pt x="414" y="1"/>
                  </a:moveTo>
                  <a:cubicBezTo>
                    <a:pt x="316" y="1"/>
                    <a:pt x="221" y="40"/>
                    <a:pt x="158" y="119"/>
                  </a:cubicBezTo>
                  <a:cubicBezTo>
                    <a:pt x="1" y="276"/>
                    <a:pt x="1" y="528"/>
                    <a:pt x="158" y="654"/>
                  </a:cubicBezTo>
                  <a:cubicBezTo>
                    <a:pt x="536" y="1001"/>
                    <a:pt x="1009" y="1190"/>
                    <a:pt x="1481" y="1190"/>
                  </a:cubicBezTo>
                  <a:cubicBezTo>
                    <a:pt x="1954" y="1190"/>
                    <a:pt x="2458" y="1001"/>
                    <a:pt x="2773" y="654"/>
                  </a:cubicBezTo>
                  <a:cubicBezTo>
                    <a:pt x="2931" y="497"/>
                    <a:pt x="2931" y="245"/>
                    <a:pt x="2773" y="119"/>
                  </a:cubicBezTo>
                  <a:cubicBezTo>
                    <a:pt x="2710" y="72"/>
                    <a:pt x="2623" y="48"/>
                    <a:pt x="2533" y="48"/>
                  </a:cubicBezTo>
                  <a:cubicBezTo>
                    <a:pt x="2442" y="48"/>
                    <a:pt x="2348" y="72"/>
                    <a:pt x="2269" y="119"/>
                  </a:cubicBezTo>
                  <a:cubicBezTo>
                    <a:pt x="2048" y="339"/>
                    <a:pt x="1733" y="434"/>
                    <a:pt x="1481" y="434"/>
                  </a:cubicBezTo>
                  <a:cubicBezTo>
                    <a:pt x="1166" y="434"/>
                    <a:pt x="883" y="339"/>
                    <a:pt x="694" y="119"/>
                  </a:cubicBezTo>
                  <a:cubicBezTo>
                    <a:pt x="615" y="40"/>
                    <a:pt x="513" y="1"/>
                    <a:pt x="414"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533" name="Google Shape;10533;p112"/>
            <p:cNvSpPr/>
            <p:nvPr/>
          </p:nvSpPr>
          <p:spPr>
            <a:xfrm>
              <a:off x="-57172600" y="2686375"/>
              <a:ext cx="289100" cy="318825"/>
            </a:xfrm>
            <a:custGeom>
              <a:avLst/>
              <a:gdLst/>
              <a:ahLst/>
              <a:cxnLst/>
              <a:rect l="l" t="t" r="r" b="b"/>
              <a:pathLst>
                <a:path w="11564" h="12753" extrusionOk="0">
                  <a:moveTo>
                    <a:pt x="5798" y="788"/>
                  </a:moveTo>
                  <a:cubicBezTo>
                    <a:pt x="6160" y="788"/>
                    <a:pt x="6523" y="922"/>
                    <a:pt x="6806" y="1190"/>
                  </a:cubicBezTo>
                  <a:cubicBezTo>
                    <a:pt x="6853" y="1261"/>
                    <a:pt x="6954" y="1296"/>
                    <a:pt x="7054" y="1296"/>
                  </a:cubicBezTo>
                  <a:cubicBezTo>
                    <a:pt x="7088" y="1296"/>
                    <a:pt x="7121" y="1292"/>
                    <a:pt x="7153" y="1284"/>
                  </a:cubicBezTo>
                  <a:cubicBezTo>
                    <a:pt x="7276" y="1253"/>
                    <a:pt x="7401" y="1239"/>
                    <a:pt x="7523" y="1239"/>
                  </a:cubicBezTo>
                  <a:cubicBezTo>
                    <a:pt x="8150" y="1239"/>
                    <a:pt x="8727" y="1629"/>
                    <a:pt x="8885" y="2261"/>
                  </a:cubicBezTo>
                  <a:cubicBezTo>
                    <a:pt x="8917" y="2387"/>
                    <a:pt x="9011" y="2513"/>
                    <a:pt x="9169" y="2545"/>
                  </a:cubicBezTo>
                  <a:cubicBezTo>
                    <a:pt x="9925" y="2734"/>
                    <a:pt x="10335" y="3521"/>
                    <a:pt x="10146" y="4277"/>
                  </a:cubicBezTo>
                  <a:cubicBezTo>
                    <a:pt x="10114" y="4403"/>
                    <a:pt x="10146" y="4561"/>
                    <a:pt x="10240" y="4624"/>
                  </a:cubicBezTo>
                  <a:cubicBezTo>
                    <a:pt x="10776" y="5191"/>
                    <a:pt x="10776" y="6073"/>
                    <a:pt x="10240" y="6640"/>
                  </a:cubicBezTo>
                  <a:cubicBezTo>
                    <a:pt x="10177" y="6672"/>
                    <a:pt x="10146" y="6703"/>
                    <a:pt x="10146" y="6798"/>
                  </a:cubicBezTo>
                  <a:cubicBezTo>
                    <a:pt x="9988" y="6766"/>
                    <a:pt x="9925" y="6766"/>
                    <a:pt x="9515" y="6766"/>
                  </a:cubicBezTo>
                  <a:cubicBezTo>
                    <a:pt x="9169" y="6325"/>
                    <a:pt x="8665" y="6010"/>
                    <a:pt x="8035" y="6010"/>
                  </a:cubicBezTo>
                  <a:cubicBezTo>
                    <a:pt x="6523" y="6010"/>
                    <a:pt x="5199" y="4970"/>
                    <a:pt x="4790" y="3553"/>
                  </a:cubicBezTo>
                  <a:cubicBezTo>
                    <a:pt x="4766" y="3408"/>
                    <a:pt x="4612" y="3300"/>
                    <a:pt x="4442" y="3300"/>
                  </a:cubicBezTo>
                  <a:cubicBezTo>
                    <a:pt x="4391" y="3300"/>
                    <a:pt x="4337" y="3310"/>
                    <a:pt x="4286" y="3332"/>
                  </a:cubicBezTo>
                  <a:cubicBezTo>
                    <a:pt x="3530" y="3647"/>
                    <a:pt x="2868" y="4151"/>
                    <a:pt x="2395" y="4813"/>
                  </a:cubicBezTo>
                  <a:cubicBezTo>
                    <a:pt x="1986" y="5412"/>
                    <a:pt x="1734" y="6073"/>
                    <a:pt x="1671" y="6798"/>
                  </a:cubicBezTo>
                  <a:cubicBezTo>
                    <a:pt x="1608" y="6798"/>
                    <a:pt x="1513" y="6798"/>
                    <a:pt x="1450" y="6829"/>
                  </a:cubicBezTo>
                  <a:cubicBezTo>
                    <a:pt x="1450" y="6703"/>
                    <a:pt x="1419" y="6672"/>
                    <a:pt x="1356" y="6640"/>
                  </a:cubicBezTo>
                  <a:cubicBezTo>
                    <a:pt x="820" y="6073"/>
                    <a:pt x="820" y="5191"/>
                    <a:pt x="1356" y="4624"/>
                  </a:cubicBezTo>
                  <a:cubicBezTo>
                    <a:pt x="1450" y="4561"/>
                    <a:pt x="1482" y="4403"/>
                    <a:pt x="1450" y="4277"/>
                  </a:cubicBezTo>
                  <a:cubicBezTo>
                    <a:pt x="1261" y="3521"/>
                    <a:pt x="1671" y="2734"/>
                    <a:pt x="2427" y="2545"/>
                  </a:cubicBezTo>
                  <a:cubicBezTo>
                    <a:pt x="2553" y="2513"/>
                    <a:pt x="2679" y="2419"/>
                    <a:pt x="2710" y="2261"/>
                  </a:cubicBezTo>
                  <a:cubicBezTo>
                    <a:pt x="2869" y="1629"/>
                    <a:pt x="3445" y="1239"/>
                    <a:pt x="4072" y="1239"/>
                  </a:cubicBezTo>
                  <a:cubicBezTo>
                    <a:pt x="4195" y="1239"/>
                    <a:pt x="4320" y="1253"/>
                    <a:pt x="4443" y="1284"/>
                  </a:cubicBezTo>
                  <a:cubicBezTo>
                    <a:pt x="4475" y="1292"/>
                    <a:pt x="4508" y="1296"/>
                    <a:pt x="4542" y="1296"/>
                  </a:cubicBezTo>
                  <a:cubicBezTo>
                    <a:pt x="4642" y="1296"/>
                    <a:pt x="4742" y="1261"/>
                    <a:pt x="4790" y="1190"/>
                  </a:cubicBezTo>
                  <a:cubicBezTo>
                    <a:pt x="5073" y="922"/>
                    <a:pt x="5436" y="788"/>
                    <a:pt x="5798" y="788"/>
                  </a:cubicBezTo>
                  <a:close/>
                  <a:moveTo>
                    <a:pt x="4254" y="4151"/>
                  </a:moveTo>
                  <a:cubicBezTo>
                    <a:pt x="4664" y="5286"/>
                    <a:pt x="5609" y="6168"/>
                    <a:pt x="6775" y="6514"/>
                  </a:cubicBezTo>
                  <a:cubicBezTo>
                    <a:pt x="6491" y="6766"/>
                    <a:pt x="6333" y="7113"/>
                    <a:pt x="6239" y="7459"/>
                  </a:cubicBezTo>
                  <a:lnTo>
                    <a:pt x="5388" y="7459"/>
                  </a:lnTo>
                  <a:lnTo>
                    <a:pt x="5388" y="7491"/>
                  </a:lnTo>
                  <a:cubicBezTo>
                    <a:pt x="5231" y="6640"/>
                    <a:pt x="4443" y="6010"/>
                    <a:pt x="3561" y="6010"/>
                  </a:cubicBezTo>
                  <a:cubicBezTo>
                    <a:pt x="3183" y="6010"/>
                    <a:pt x="2868" y="6136"/>
                    <a:pt x="2553" y="6325"/>
                  </a:cubicBezTo>
                  <a:cubicBezTo>
                    <a:pt x="2773" y="5412"/>
                    <a:pt x="3372" y="4624"/>
                    <a:pt x="4254" y="4151"/>
                  </a:cubicBezTo>
                  <a:close/>
                  <a:moveTo>
                    <a:pt x="3561" y="6766"/>
                  </a:moveTo>
                  <a:cubicBezTo>
                    <a:pt x="4191" y="6766"/>
                    <a:pt x="4664" y="7270"/>
                    <a:pt x="4664" y="7869"/>
                  </a:cubicBezTo>
                  <a:cubicBezTo>
                    <a:pt x="4664" y="8436"/>
                    <a:pt x="4160" y="8972"/>
                    <a:pt x="3561" y="8972"/>
                  </a:cubicBezTo>
                  <a:cubicBezTo>
                    <a:pt x="2931" y="8972"/>
                    <a:pt x="2458" y="8436"/>
                    <a:pt x="2458" y="7869"/>
                  </a:cubicBezTo>
                  <a:cubicBezTo>
                    <a:pt x="2458" y="7270"/>
                    <a:pt x="2931" y="6766"/>
                    <a:pt x="3561" y="6766"/>
                  </a:cubicBezTo>
                  <a:close/>
                  <a:moveTo>
                    <a:pt x="8066" y="6766"/>
                  </a:moveTo>
                  <a:cubicBezTo>
                    <a:pt x="8696" y="6766"/>
                    <a:pt x="9169" y="7270"/>
                    <a:pt x="9169" y="7869"/>
                  </a:cubicBezTo>
                  <a:cubicBezTo>
                    <a:pt x="9169" y="8436"/>
                    <a:pt x="8665" y="8972"/>
                    <a:pt x="8066" y="8972"/>
                  </a:cubicBezTo>
                  <a:cubicBezTo>
                    <a:pt x="7436" y="8972"/>
                    <a:pt x="6964" y="8436"/>
                    <a:pt x="6964" y="7869"/>
                  </a:cubicBezTo>
                  <a:cubicBezTo>
                    <a:pt x="6964" y="7270"/>
                    <a:pt x="7436" y="6766"/>
                    <a:pt x="8066" y="6766"/>
                  </a:cubicBezTo>
                  <a:close/>
                  <a:moveTo>
                    <a:pt x="1734" y="7491"/>
                  </a:moveTo>
                  <a:lnTo>
                    <a:pt x="1734" y="9003"/>
                  </a:lnTo>
                  <a:cubicBezTo>
                    <a:pt x="1293" y="9003"/>
                    <a:pt x="978" y="8657"/>
                    <a:pt x="978" y="8247"/>
                  </a:cubicBezTo>
                  <a:cubicBezTo>
                    <a:pt x="978" y="7869"/>
                    <a:pt x="1324" y="7491"/>
                    <a:pt x="1734" y="7491"/>
                  </a:cubicBezTo>
                  <a:close/>
                  <a:moveTo>
                    <a:pt x="9925" y="7491"/>
                  </a:moveTo>
                  <a:cubicBezTo>
                    <a:pt x="10303" y="7491"/>
                    <a:pt x="10650" y="7806"/>
                    <a:pt x="10650" y="8247"/>
                  </a:cubicBezTo>
                  <a:cubicBezTo>
                    <a:pt x="10650" y="8657"/>
                    <a:pt x="10303" y="9003"/>
                    <a:pt x="9925" y="9003"/>
                  </a:cubicBezTo>
                  <a:lnTo>
                    <a:pt x="9925" y="7491"/>
                  </a:lnTo>
                  <a:close/>
                  <a:moveTo>
                    <a:pt x="6207" y="8215"/>
                  </a:moveTo>
                  <a:cubicBezTo>
                    <a:pt x="6365" y="9066"/>
                    <a:pt x="7153" y="9696"/>
                    <a:pt x="8035" y="9696"/>
                  </a:cubicBezTo>
                  <a:cubicBezTo>
                    <a:pt x="8476" y="9696"/>
                    <a:pt x="8822" y="9539"/>
                    <a:pt x="9137" y="9350"/>
                  </a:cubicBezTo>
                  <a:lnTo>
                    <a:pt x="9137" y="10137"/>
                  </a:lnTo>
                  <a:lnTo>
                    <a:pt x="9169" y="10137"/>
                  </a:lnTo>
                  <a:cubicBezTo>
                    <a:pt x="9169" y="11177"/>
                    <a:pt x="8350" y="11996"/>
                    <a:pt x="7310" y="11996"/>
                  </a:cubicBezTo>
                  <a:lnTo>
                    <a:pt x="4317" y="11996"/>
                  </a:lnTo>
                  <a:cubicBezTo>
                    <a:pt x="3309" y="11996"/>
                    <a:pt x="2458" y="11177"/>
                    <a:pt x="2458" y="10137"/>
                  </a:cubicBezTo>
                  <a:lnTo>
                    <a:pt x="2458" y="9350"/>
                  </a:lnTo>
                  <a:cubicBezTo>
                    <a:pt x="2773" y="9602"/>
                    <a:pt x="3183" y="9696"/>
                    <a:pt x="3561" y="9696"/>
                  </a:cubicBezTo>
                  <a:cubicBezTo>
                    <a:pt x="4475" y="9696"/>
                    <a:pt x="5231" y="9066"/>
                    <a:pt x="5388" y="8215"/>
                  </a:cubicBezTo>
                  <a:close/>
                  <a:moveTo>
                    <a:pt x="5794" y="1"/>
                  </a:moveTo>
                  <a:cubicBezTo>
                    <a:pt x="5310" y="1"/>
                    <a:pt x="4821" y="166"/>
                    <a:pt x="4412" y="497"/>
                  </a:cubicBezTo>
                  <a:cubicBezTo>
                    <a:pt x="4291" y="479"/>
                    <a:pt x="4172" y="470"/>
                    <a:pt x="4054" y="470"/>
                  </a:cubicBezTo>
                  <a:cubicBezTo>
                    <a:pt x="3154" y="470"/>
                    <a:pt x="2355" y="992"/>
                    <a:pt x="2049" y="1883"/>
                  </a:cubicBezTo>
                  <a:cubicBezTo>
                    <a:pt x="1104" y="2230"/>
                    <a:pt x="505" y="3238"/>
                    <a:pt x="663" y="4246"/>
                  </a:cubicBezTo>
                  <a:cubicBezTo>
                    <a:pt x="1" y="5033"/>
                    <a:pt x="1" y="6168"/>
                    <a:pt x="663" y="6987"/>
                  </a:cubicBezTo>
                  <a:cubicBezTo>
                    <a:pt x="663" y="7018"/>
                    <a:pt x="663" y="7113"/>
                    <a:pt x="631" y="7144"/>
                  </a:cubicBezTo>
                  <a:cubicBezTo>
                    <a:pt x="348" y="7428"/>
                    <a:pt x="159" y="7806"/>
                    <a:pt x="159" y="8215"/>
                  </a:cubicBezTo>
                  <a:cubicBezTo>
                    <a:pt x="159" y="9035"/>
                    <a:pt x="820" y="9696"/>
                    <a:pt x="1639" y="9696"/>
                  </a:cubicBezTo>
                  <a:lnTo>
                    <a:pt x="1639" y="10137"/>
                  </a:lnTo>
                  <a:cubicBezTo>
                    <a:pt x="1639" y="11586"/>
                    <a:pt x="2836" y="12752"/>
                    <a:pt x="4254" y="12752"/>
                  </a:cubicBezTo>
                  <a:lnTo>
                    <a:pt x="7247" y="12752"/>
                  </a:lnTo>
                  <a:cubicBezTo>
                    <a:pt x="8696" y="12752"/>
                    <a:pt x="9831" y="11555"/>
                    <a:pt x="9831" y="10137"/>
                  </a:cubicBezTo>
                  <a:lnTo>
                    <a:pt x="9831" y="9696"/>
                  </a:lnTo>
                  <a:cubicBezTo>
                    <a:pt x="10681" y="9696"/>
                    <a:pt x="11343" y="9035"/>
                    <a:pt x="11343" y="8215"/>
                  </a:cubicBezTo>
                  <a:cubicBezTo>
                    <a:pt x="11406" y="7806"/>
                    <a:pt x="11217" y="7428"/>
                    <a:pt x="10933" y="7144"/>
                  </a:cubicBezTo>
                  <a:cubicBezTo>
                    <a:pt x="10933" y="7113"/>
                    <a:pt x="10933" y="7018"/>
                    <a:pt x="10902" y="6987"/>
                  </a:cubicBezTo>
                  <a:cubicBezTo>
                    <a:pt x="11563" y="6199"/>
                    <a:pt x="11563" y="5065"/>
                    <a:pt x="10902" y="4246"/>
                  </a:cubicBezTo>
                  <a:cubicBezTo>
                    <a:pt x="11059" y="3206"/>
                    <a:pt x="10492" y="2230"/>
                    <a:pt x="9515" y="1883"/>
                  </a:cubicBezTo>
                  <a:cubicBezTo>
                    <a:pt x="9206" y="1039"/>
                    <a:pt x="8344" y="472"/>
                    <a:pt x="7468" y="472"/>
                  </a:cubicBezTo>
                  <a:cubicBezTo>
                    <a:pt x="7363" y="472"/>
                    <a:pt x="7257" y="480"/>
                    <a:pt x="7153" y="497"/>
                  </a:cubicBezTo>
                  <a:cubicBezTo>
                    <a:pt x="6759" y="166"/>
                    <a:pt x="6278" y="1"/>
                    <a:pt x="5794"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10534" name="Google Shape;10534;p112"/>
          <p:cNvGrpSpPr/>
          <p:nvPr/>
        </p:nvGrpSpPr>
        <p:grpSpPr>
          <a:xfrm>
            <a:off x="10611246" y="2043033"/>
            <a:ext cx="481453" cy="479071"/>
            <a:chOff x="-55225575" y="1903275"/>
            <a:chExt cx="318225" cy="316650"/>
          </a:xfrm>
        </p:grpSpPr>
        <p:sp>
          <p:nvSpPr>
            <p:cNvPr id="10535" name="Google Shape;10535;p112"/>
            <p:cNvSpPr/>
            <p:nvPr/>
          </p:nvSpPr>
          <p:spPr>
            <a:xfrm>
              <a:off x="-55104275" y="2116925"/>
              <a:ext cx="72475" cy="29750"/>
            </a:xfrm>
            <a:custGeom>
              <a:avLst/>
              <a:gdLst/>
              <a:ahLst/>
              <a:cxnLst/>
              <a:rect l="l" t="t" r="r" b="b"/>
              <a:pathLst>
                <a:path w="2899" h="1190" extrusionOk="0">
                  <a:moveTo>
                    <a:pt x="398" y="1"/>
                  </a:moveTo>
                  <a:cubicBezTo>
                    <a:pt x="307" y="1"/>
                    <a:pt x="221" y="40"/>
                    <a:pt x="158" y="119"/>
                  </a:cubicBezTo>
                  <a:cubicBezTo>
                    <a:pt x="0" y="276"/>
                    <a:pt x="0" y="497"/>
                    <a:pt x="158" y="623"/>
                  </a:cubicBezTo>
                  <a:cubicBezTo>
                    <a:pt x="504" y="969"/>
                    <a:pt x="977" y="1190"/>
                    <a:pt x="1449" y="1190"/>
                  </a:cubicBezTo>
                  <a:cubicBezTo>
                    <a:pt x="1953" y="1190"/>
                    <a:pt x="2426" y="969"/>
                    <a:pt x="2741" y="623"/>
                  </a:cubicBezTo>
                  <a:cubicBezTo>
                    <a:pt x="2898" y="465"/>
                    <a:pt x="2898" y="245"/>
                    <a:pt x="2741" y="119"/>
                  </a:cubicBezTo>
                  <a:cubicBezTo>
                    <a:pt x="2694" y="56"/>
                    <a:pt x="2607" y="24"/>
                    <a:pt x="2513" y="24"/>
                  </a:cubicBezTo>
                  <a:cubicBezTo>
                    <a:pt x="2418" y="24"/>
                    <a:pt x="2316" y="56"/>
                    <a:pt x="2237" y="119"/>
                  </a:cubicBezTo>
                  <a:cubicBezTo>
                    <a:pt x="2048" y="308"/>
                    <a:pt x="1733" y="434"/>
                    <a:pt x="1449" y="434"/>
                  </a:cubicBezTo>
                  <a:cubicBezTo>
                    <a:pt x="1134" y="434"/>
                    <a:pt x="851" y="308"/>
                    <a:pt x="662" y="119"/>
                  </a:cubicBezTo>
                  <a:cubicBezTo>
                    <a:pt x="583" y="40"/>
                    <a:pt x="488" y="1"/>
                    <a:pt x="398"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536" name="Google Shape;10536;p112"/>
            <p:cNvSpPr/>
            <p:nvPr/>
          </p:nvSpPr>
          <p:spPr>
            <a:xfrm>
              <a:off x="-55113750" y="2053725"/>
              <a:ext cx="17350" cy="18125"/>
            </a:xfrm>
            <a:custGeom>
              <a:avLst/>
              <a:gdLst/>
              <a:ahLst/>
              <a:cxnLst/>
              <a:rect l="l" t="t" r="r" b="b"/>
              <a:pathLst>
                <a:path w="694" h="725" extrusionOk="0">
                  <a:moveTo>
                    <a:pt x="348" y="0"/>
                  </a:moveTo>
                  <a:cubicBezTo>
                    <a:pt x="158" y="0"/>
                    <a:pt x="1" y="158"/>
                    <a:pt x="1" y="347"/>
                  </a:cubicBezTo>
                  <a:cubicBezTo>
                    <a:pt x="1" y="536"/>
                    <a:pt x="158" y="725"/>
                    <a:pt x="348" y="725"/>
                  </a:cubicBezTo>
                  <a:cubicBezTo>
                    <a:pt x="537" y="725"/>
                    <a:pt x="694" y="536"/>
                    <a:pt x="694" y="347"/>
                  </a:cubicBezTo>
                  <a:cubicBezTo>
                    <a:pt x="694" y="158"/>
                    <a:pt x="537" y="0"/>
                    <a:pt x="348"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537" name="Google Shape;10537;p112"/>
            <p:cNvSpPr/>
            <p:nvPr/>
          </p:nvSpPr>
          <p:spPr>
            <a:xfrm>
              <a:off x="-55039700" y="2053725"/>
              <a:ext cx="18125" cy="18125"/>
            </a:xfrm>
            <a:custGeom>
              <a:avLst/>
              <a:gdLst/>
              <a:ahLst/>
              <a:cxnLst/>
              <a:rect l="l" t="t" r="r" b="b"/>
              <a:pathLst>
                <a:path w="725" h="725" extrusionOk="0">
                  <a:moveTo>
                    <a:pt x="378" y="0"/>
                  </a:moveTo>
                  <a:cubicBezTo>
                    <a:pt x="189" y="0"/>
                    <a:pt x="0" y="158"/>
                    <a:pt x="0" y="347"/>
                  </a:cubicBezTo>
                  <a:cubicBezTo>
                    <a:pt x="0" y="536"/>
                    <a:pt x="189" y="725"/>
                    <a:pt x="378" y="725"/>
                  </a:cubicBezTo>
                  <a:cubicBezTo>
                    <a:pt x="568" y="725"/>
                    <a:pt x="725" y="536"/>
                    <a:pt x="725" y="347"/>
                  </a:cubicBezTo>
                  <a:cubicBezTo>
                    <a:pt x="725" y="158"/>
                    <a:pt x="568" y="0"/>
                    <a:pt x="378"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538" name="Google Shape;10538;p112"/>
            <p:cNvSpPr/>
            <p:nvPr/>
          </p:nvSpPr>
          <p:spPr>
            <a:xfrm>
              <a:off x="-55225575" y="1903275"/>
              <a:ext cx="318225" cy="316650"/>
            </a:xfrm>
            <a:custGeom>
              <a:avLst/>
              <a:gdLst/>
              <a:ahLst/>
              <a:cxnLst/>
              <a:rect l="l" t="t" r="r" b="b"/>
              <a:pathLst>
                <a:path w="12729" h="12666" extrusionOk="0">
                  <a:moveTo>
                    <a:pt x="6333" y="757"/>
                  </a:moveTo>
                  <a:cubicBezTo>
                    <a:pt x="8790" y="757"/>
                    <a:pt x="10932" y="2679"/>
                    <a:pt x="11185" y="5105"/>
                  </a:cubicBezTo>
                  <a:cubicBezTo>
                    <a:pt x="11185" y="5231"/>
                    <a:pt x="11279" y="5357"/>
                    <a:pt x="11374" y="5388"/>
                  </a:cubicBezTo>
                  <a:cubicBezTo>
                    <a:pt x="11752" y="5577"/>
                    <a:pt x="11972" y="5987"/>
                    <a:pt x="11972" y="6365"/>
                  </a:cubicBezTo>
                  <a:cubicBezTo>
                    <a:pt x="11972" y="6680"/>
                    <a:pt x="11815" y="7058"/>
                    <a:pt x="11594" y="7247"/>
                  </a:cubicBezTo>
                  <a:cubicBezTo>
                    <a:pt x="11342" y="7373"/>
                    <a:pt x="11342" y="7625"/>
                    <a:pt x="11531" y="7783"/>
                  </a:cubicBezTo>
                  <a:cubicBezTo>
                    <a:pt x="11783" y="8035"/>
                    <a:pt x="11941" y="8318"/>
                    <a:pt x="11941" y="8633"/>
                  </a:cubicBezTo>
                  <a:cubicBezTo>
                    <a:pt x="11941" y="8948"/>
                    <a:pt x="11815" y="9263"/>
                    <a:pt x="11531" y="9452"/>
                  </a:cubicBezTo>
                  <a:cubicBezTo>
                    <a:pt x="11374" y="9610"/>
                    <a:pt x="11374" y="9830"/>
                    <a:pt x="11531" y="9988"/>
                  </a:cubicBezTo>
                  <a:cubicBezTo>
                    <a:pt x="11783" y="10240"/>
                    <a:pt x="11941" y="10524"/>
                    <a:pt x="11941" y="10839"/>
                  </a:cubicBezTo>
                  <a:cubicBezTo>
                    <a:pt x="11941" y="11437"/>
                    <a:pt x="11437" y="11941"/>
                    <a:pt x="10838" y="11941"/>
                  </a:cubicBezTo>
                  <a:lnTo>
                    <a:pt x="1828" y="11941"/>
                  </a:lnTo>
                  <a:cubicBezTo>
                    <a:pt x="1197" y="11941"/>
                    <a:pt x="725" y="11406"/>
                    <a:pt x="725" y="10839"/>
                  </a:cubicBezTo>
                  <a:cubicBezTo>
                    <a:pt x="725" y="10492"/>
                    <a:pt x="819" y="10208"/>
                    <a:pt x="1103" y="9988"/>
                  </a:cubicBezTo>
                  <a:cubicBezTo>
                    <a:pt x="1260" y="9830"/>
                    <a:pt x="1260" y="9610"/>
                    <a:pt x="1103" y="9452"/>
                  </a:cubicBezTo>
                  <a:cubicBezTo>
                    <a:pt x="882" y="9200"/>
                    <a:pt x="725" y="8917"/>
                    <a:pt x="725" y="8633"/>
                  </a:cubicBezTo>
                  <a:cubicBezTo>
                    <a:pt x="725" y="8318"/>
                    <a:pt x="819" y="8003"/>
                    <a:pt x="1103" y="7783"/>
                  </a:cubicBezTo>
                  <a:cubicBezTo>
                    <a:pt x="1260" y="7625"/>
                    <a:pt x="1260" y="7405"/>
                    <a:pt x="1103" y="7247"/>
                  </a:cubicBezTo>
                  <a:cubicBezTo>
                    <a:pt x="882" y="7058"/>
                    <a:pt x="725" y="6680"/>
                    <a:pt x="725" y="6365"/>
                  </a:cubicBezTo>
                  <a:cubicBezTo>
                    <a:pt x="725" y="5987"/>
                    <a:pt x="945" y="5577"/>
                    <a:pt x="1292" y="5388"/>
                  </a:cubicBezTo>
                  <a:cubicBezTo>
                    <a:pt x="1418" y="5357"/>
                    <a:pt x="1512" y="5231"/>
                    <a:pt x="1512" y="5105"/>
                  </a:cubicBezTo>
                  <a:cubicBezTo>
                    <a:pt x="1765" y="2679"/>
                    <a:pt x="3907" y="757"/>
                    <a:pt x="6333" y="757"/>
                  </a:cubicBezTo>
                  <a:close/>
                  <a:moveTo>
                    <a:pt x="6333" y="1"/>
                  </a:moveTo>
                  <a:cubicBezTo>
                    <a:pt x="3497" y="1"/>
                    <a:pt x="1134" y="2112"/>
                    <a:pt x="788" y="4853"/>
                  </a:cubicBezTo>
                  <a:cubicBezTo>
                    <a:pt x="284" y="5199"/>
                    <a:pt x="0" y="5735"/>
                    <a:pt x="0" y="6365"/>
                  </a:cubicBezTo>
                  <a:cubicBezTo>
                    <a:pt x="0" y="6774"/>
                    <a:pt x="158" y="7216"/>
                    <a:pt x="410" y="7531"/>
                  </a:cubicBezTo>
                  <a:cubicBezTo>
                    <a:pt x="158" y="7846"/>
                    <a:pt x="0" y="8224"/>
                    <a:pt x="0" y="8633"/>
                  </a:cubicBezTo>
                  <a:cubicBezTo>
                    <a:pt x="0" y="9011"/>
                    <a:pt x="126" y="9421"/>
                    <a:pt x="410" y="9736"/>
                  </a:cubicBezTo>
                  <a:cubicBezTo>
                    <a:pt x="158" y="10051"/>
                    <a:pt x="0" y="10429"/>
                    <a:pt x="0" y="10839"/>
                  </a:cubicBezTo>
                  <a:cubicBezTo>
                    <a:pt x="0" y="11847"/>
                    <a:pt x="819" y="12666"/>
                    <a:pt x="1859" y="12666"/>
                  </a:cubicBezTo>
                  <a:lnTo>
                    <a:pt x="10869" y="12666"/>
                  </a:lnTo>
                  <a:cubicBezTo>
                    <a:pt x="11909" y="12666"/>
                    <a:pt x="12728" y="11847"/>
                    <a:pt x="12728" y="10839"/>
                  </a:cubicBezTo>
                  <a:cubicBezTo>
                    <a:pt x="12728" y="10429"/>
                    <a:pt x="12602" y="10051"/>
                    <a:pt x="12319" y="9736"/>
                  </a:cubicBezTo>
                  <a:cubicBezTo>
                    <a:pt x="12571" y="9421"/>
                    <a:pt x="12728" y="9011"/>
                    <a:pt x="12728" y="8633"/>
                  </a:cubicBezTo>
                  <a:cubicBezTo>
                    <a:pt x="12634" y="8224"/>
                    <a:pt x="12539" y="7846"/>
                    <a:pt x="12287" y="7531"/>
                  </a:cubicBezTo>
                  <a:cubicBezTo>
                    <a:pt x="12539" y="7216"/>
                    <a:pt x="12697" y="6774"/>
                    <a:pt x="12697" y="6365"/>
                  </a:cubicBezTo>
                  <a:cubicBezTo>
                    <a:pt x="12697" y="5798"/>
                    <a:pt x="12382" y="5199"/>
                    <a:pt x="11909" y="4853"/>
                  </a:cubicBezTo>
                  <a:cubicBezTo>
                    <a:pt x="11500" y="2112"/>
                    <a:pt x="9137" y="1"/>
                    <a:pt x="6333"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539" name="Google Shape;10539;p112"/>
            <p:cNvSpPr/>
            <p:nvPr/>
          </p:nvSpPr>
          <p:spPr>
            <a:xfrm>
              <a:off x="-55170450" y="1959200"/>
              <a:ext cx="204800" cy="225300"/>
            </a:xfrm>
            <a:custGeom>
              <a:avLst/>
              <a:gdLst/>
              <a:ahLst/>
              <a:cxnLst/>
              <a:rect l="l" t="t" r="r" b="b"/>
              <a:pathLst>
                <a:path w="8192" h="9012" extrusionOk="0">
                  <a:moveTo>
                    <a:pt x="4128" y="1450"/>
                  </a:moveTo>
                  <a:cubicBezTo>
                    <a:pt x="4411" y="2017"/>
                    <a:pt x="4821" y="2490"/>
                    <a:pt x="5293" y="2836"/>
                  </a:cubicBezTo>
                  <a:cubicBezTo>
                    <a:pt x="5924" y="3340"/>
                    <a:pt x="6711" y="3624"/>
                    <a:pt x="7499" y="3687"/>
                  </a:cubicBezTo>
                  <a:cubicBezTo>
                    <a:pt x="7499" y="3813"/>
                    <a:pt x="7530" y="3970"/>
                    <a:pt x="7530" y="4096"/>
                  </a:cubicBezTo>
                  <a:lnTo>
                    <a:pt x="7530" y="5640"/>
                  </a:lnTo>
                  <a:lnTo>
                    <a:pt x="7436" y="5640"/>
                  </a:lnTo>
                  <a:cubicBezTo>
                    <a:pt x="7436" y="7089"/>
                    <a:pt x="6270" y="8224"/>
                    <a:pt x="4852" y="8224"/>
                  </a:cubicBezTo>
                  <a:lnTo>
                    <a:pt x="3340" y="8224"/>
                  </a:lnTo>
                  <a:cubicBezTo>
                    <a:pt x="1891" y="8224"/>
                    <a:pt x="757" y="7058"/>
                    <a:pt x="757" y="5640"/>
                  </a:cubicBezTo>
                  <a:lnTo>
                    <a:pt x="757" y="4096"/>
                  </a:lnTo>
                  <a:cubicBezTo>
                    <a:pt x="757" y="3970"/>
                    <a:pt x="757" y="3813"/>
                    <a:pt x="788" y="3687"/>
                  </a:cubicBezTo>
                  <a:cubicBezTo>
                    <a:pt x="1576" y="3624"/>
                    <a:pt x="2363" y="3340"/>
                    <a:pt x="2994" y="2836"/>
                  </a:cubicBezTo>
                  <a:cubicBezTo>
                    <a:pt x="3466" y="2427"/>
                    <a:pt x="3876" y="1954"/>
                    <a:pt x="4128" y="1450"/>
                  </a:cubicBezTo>
                  <a:close/>
                  <a:moveTo>
                    <a:pt x="4096" y="1"/>
                  </a:moveTo>
                  <a:cubicBezTo>
                    <a:pt x="3939" y="1"/>
                    <a:pt x="3781" y="127"/>
                    <a:pt x="3750" y="284"/>
                  </a:cubicBezTo>
                  <a:lnTo>
                    <a:pt x="3718" y="442"/>
                  </a:lnTo>
                  <a:cubicBezTo>
                    <a:pt x="3309" y="1923"/>
                    <a:pt x="1985" y="2994"/>
                    <a:pt x="442" y="2994"/>
                  </a:cubicBezTo>
                  <a:cubicBezTo>
                    <a:pt x="253" y="2994"/>
                    <a:pt x="127" y="3120"/>
                    <a:pt x="95" y="3309"/>
                  </a:cubicBezTo>
                  <a:cubicBezTo>
                    <a:pt x="32" y="3592"/>
                    <a:pt x="1" y="3876"/>
                    <a:pt x="1" y="4128"/>
                  </a:cubicBezTo>
                  <a:lnTo>
                    <a:pt x="1" y="5672"/>
                  </a:lnTo>
                  <a:cubicBezTo>
                    <a:pt x="1" y="7530"/>
                    <a:pt x="1513" y="9011"/>
                    <a:pt x="3340" y="9011"/>
                  </a:cubicBezTo>
                  <a:lnTo>
                    <a:pt x="4852" y="9011"/>
                  </a:lnTo>
                  <a:cubicBezTo>
                    <a:pt x="6711" y="9011"/>
                    <a:pt x="8192" y="7530"/>
                    <a:pt x="8192" y="5672"/>
                  </a:cubicBezTo>
                  <a:lnTo>
                    <a:pt x="8192" y="4128"/>
                  </a:lnTo>
                  <a:cubicBezTo>
                    <a:pt x="8192" y="3844"/>
                    <a:pt x="8160" y="3592"/>
                    <a:pt x="8129" y="3309"/>
                  </a:cubicBezTo>
                  <a:cubicBezTo>
                    <a:pt x="8066" y="3120"/>
                    <a:pt x="7908" y="2994"/>
                    <a:pt x="7751" y="2994"/>
                  </a:cubicBezTo>
                  <a:cubicBezTo>
                    <a:pt x="6239" y="2994"/>
                    <a:pt x="4884" y="1923"/>
                    <a:pt x="4506" y="442"/>
                  </a:cubicBezTo>
                  <a:lnTo>
                    <a:pt x="4443" y="284"/>
                  </a:lnTo>
                  <a:cubicBezTo>
                    <a:pt x="4411" y="127"/>
                    <a:pt x="4254" y="1"/>
                    <a:pt x="4096"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10540" name="Google Shape;10540;p112"/>
          <p:cNvGrpSpPr/>
          <p:nvPr/>
        </p:nvGrpSpPr>
        <p:grpSpPr>
          <a:xfrm>
            <a:off x="10626148" y="2677642"/>
            <a:ext cx="451648" cy="479071"/>
            <a:chOff x="-55217700" y="2296300"/>
            <a:chExt cx="298525" cy="316650"/>
          </a:xfrm>
        </p:grpSpPr>
        <p:sp>
          <p:nvSpPr>
            <p:cNvPr id="10541" name="Google Shape;10541;p112"/>
            <p:cNvSpPr/>
            <p:nvPr/>
          </p:nvSpPr>
          <p:spPr>
            <a:xfrm>
              <a:off x="-55105075" y="2426275"/>
              <a:ext cx="17350" cy="17350"/>
            </a:xfrm>
            <a:custGeom>
              <a:avLst/>
              <a:gdLst/>
              <a:ahLst/>
              <a:cxnLst/>
              <a:rect l="l" t="t" r="r" b="b"/>
              <a:pathLst>
                <a:path w="694" h="694" extrusionOk="0">
                  <a:moveTo>
                    <a:pt x="347" y="0"/>
                  </a:moveTo>
                  <a:cubicBezTo>
                    <a:pt x="158" y="0"/>
                    <a:pt x="1" y="158"/>
                    <a:pt x="1" y="347"/>
                  </a:cubicBezTo>
                  <a:cubicBezTo>
                    <a:pt x="1" y="536"/>
                    <a:pt x="158" y="693"/>
                    <a:pt x="347" y="693"/>
                  </a:cubicBezTo>
                  <a:cubicBezTo>
                    <a:pt x="536" y="693"/>
                    <a:pt x="694" y="536"/>
                    <a:pt x="694" y="347"/>
                  </a:cubicBezTo>
                  <a:cubicBezTo>
                    <a:pt x="694" y="158"/>
                    <a:pt x="536" y="0"/>
                    <a:pt x="347"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542" name="Google Shape;10542;p112"/>
            <p:cNvSpPr/>
            <p:nvPr/>
          </p:nvSpPr>
          <p:spPr>
            <a:xfrm>
              <a:off x="-55030250" y="2426275"/>
              <a:ext cx="17350" cy="17350"/>
            </a:xfrm>
            <a:custGeom>
              <a:avLst/>
              <a:gdLst/>
              <a:ahLst/>
              <a:cxnLst/>
              <a:rect l="l" t="t" r="r" b="b"/>
              <a:pathLst>
                <a:path w="694" h="694" extrusionOk="0">
                  <a:moveTo>
                    <a:pt x="347" y="0"/>
                  </a:moveTo>
                  <a:cubicBezTo>
                    <a:pt x="158" y="0"/>
                    <a:pt x="0" y="158"/>
                    <a:pt x="0" y="347"/>
                  </a:cubicBezTo>
                  <a:cubicBezTo>
                    <a:pt x="0" y="536"/>
                    <a:pt x="158" y="693"/>
                    <a:pt x="347" y="693"/>
                  </a:cubicBezTo>
                  <a:cubicBezTo>
                    <a:pt x="536" y="693"/>
                    <a:pt x="694" y="536"/>
                    <a:pt x="694" y="347"/>
                  </a:cubicBezTo>
                  <a:cubicBezTo>
                    <a:pt x="694" y="158"/>
                    <a:pt x="536" y="0"/>
                    <a:pt x="347"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543" name="Google Shape;10543;p112"/>
            <p:cNvSpPr/>
            <p:nvPr/>
          </p:nvSpPr>
          <p:spPr>
            <a:xfrm>
              <a:off x="-55095625" y="2488675"/>
              <a:ext cx="73275" cy="29775"/>
            </a:xfrm>
            <a:custGeom>
              <a:avLst/>
              <a:gdLst/>
              <a:ahLst/>
              <a:cxnLst/>
              <a:rect l="l" t="t" r="r" b="b"/>
              <a:pathLst>
                <a:path w="2931" h="1191" extrusionOk="0">
                  <a:moveTo>
                    <a:pt x="398" y="1"/>
                  </a:moveTo>
                  <a:cubicBezTo>
                    <a:pt x="308" y="1"/>
                    <a:pt x="221" y="40"/>
                    <a:pt x="158" y="119"/>
                  </a:cubicBezTo>
                  <a:cubicBezTo>
                    <a:pt x="1" y="277"/>
                    <a:pt x="1" y="529"/>
                    <a:pt x="158" y="655"/>
                  </a:cubicBezTo>
                  <a:cubicBezTo>
                    <a:pt x="505" y="1001"/>
                    <a:pt x="977" y="1190"/>
                    <a:pt x="1450" y="1190"/>
                  </a:cubicBezTo>
                  <a:cubicBezTo>
                    <a:pt x="1985" y="1190"/>
                    <a:pt x="2458" y="1001"/>
                    <a:pt x="2773" y="655"/>
                  </a:cubicBezTo>
                  <a:cubicBezTo>
                    <a:pt x="2931" y="497"/>
                    <a:pt x="2931" y="245"/>
                    <a:pt x="2773" y="119"/>
                  </a:cubicBezTo>
                  <a:cubicBezTo>
                    <a:pt x="2685" y="66"/>
                    <a:pt x="2577" y="23"/>
                    <a:pt x="2471" y="23"/>
                  </a:cubicBezTo>
                  <a:cubicBezTo>
                    <a:pt x="2388" y="23"/>
                    <a:pt x="2307" y="50"/>
                    <a:pt x="2237" y="119"/>
                  </a:cubicBezTo>
                  <a:cubicBezTo>
                    <a:pt x="2048" y="340"/>
                    <a:pt x="1733" y="434"/>
                    <a:pt x="1450" y="434"/>
                  </a:cubicBezTo>
                  <a:cubicBezTo>
                    <a:pt x="1135" y="434"/>
                    <a:pt x="883" y="340"/>
                    <a:pt x="662" y="119"/>
                  </a:cubicBezTo>
                  <a:cubicBezTo>
                    <a:pt x="583" y="40"/>
                    <a:pt x="489" y="1"/>
                    <a:pt x="398"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544" name="Google Shape;10544;p112"/>
            <p:cNvSpPr/>
            <p:nvPr/>
          </p:nvSpPr>
          <p:spPr>
            <a:xfrm>
              <a:off x="-55217700" y="2296300"/>
              <a:ext cx="298525" cy="316650"/>
            </a:xfrm>
            <a:custGeom>
              <a:avLst/>
              <a:gdLst/>
              <a:ahLst/>
              <a:cxnLst/>
              <a:rect l="l" t="t" r="r" b="b"/>
              <a:pathLst>
                <a:path w="11941" h="12666" extrusionOk="0">
                  <a:moveTo>
                    <a:pt x="8601" y="694"/>
                  </a:moveTo>
                  <a:cubicBezTo>
                    <a:pt x="9105" y="694"/>
                    <a:pt x="9578" y="1040"/>
                    <a:pt x="9704" y="1545"/>
                  </a:cubicBezTo>
                  <a:lnTo>
                    <a:pt x="2993" y="3561"/>
                  </a:lnTo>
                  <a:lnTo>
                    <a:pt x="2993" y="1797"/>
                  </a:lnTo>
                  <a:cubicBezTo>
                    <a:pt x="2993" y="1167"/>
                    <a:pt x="3497" y="694"/>
                    <a:pt x="4096" y="694"/>
                  </a:cubicBezTo>
                  <a:close/>
                  <a:moveTo>
                    <a:pt x="9735" y="2301"/>
                  </a:moveTo>
                  <a:lnTo>
                    <a:pt x="9735" y="3687"/>
                  </a:lnTo>
                  <a:lnTo>
                    <a:pt x="5199" y="3687"/>
                  </a:lnTo>
                  <a:lnTo>
                    <a:pt x="9735" y="2301"/>
                  </a:lnTo>
                  <a:close/>
                  <a:moveTo>
                    <a:pt x="10428" y="4380"/>
                  </a:moveTo>
                  <a:cubicBezTo>
                    <a:pt x="10838" y="4380"/>
                    <a:pt x="11185" y="4727"/>
                    <a:pt x="11185" y="5136"/>
                  </a:cubicBezTo>
                  <a:cubicBezTo>
                    <a:pt x="11185" y="5577"/>
                    <a:pt x="10870" y="5892"/>
                    <a:pt x="10428" y="5892"/>
                  </a:cubicBezTo>
                  <a:lnTo>
                    <a:pt x="10428" y="4380"/>
                  </a:lnTo>
                  <a:close/>
                  <a:moveTo>
                    <a:pt x="9767" y="4443"/>
                  </a:moveTo>
                  <a:cubicBezTo>
                    <a:pt x="9735" y="4664"/>
                    <a:pt x="9735" y="6774"/>
                    <a:pt x="9735" y="7026"/>
                  </a:cubicBezTo>
                  <a:cubicBezTo>
                    <a:pt x="9735" y="8885"/>
                    <a:pt x="8223" y="10397"/>
                    <a:pt x="6396" y="10397"/>
                  </a:cubicBezTo>
                  <a:cubicBezTo>
                    <a:pt x="4537" y="10397"/>
                    <a:pt x="3025" y="8885"/>
                    <a:pt x="3025" y="7026"/>
                  </a:cubicBezTo>
                  <a:lnTo>
                    <a:pt x="3025" y="4443"/>
                  </a:lnTo>
                  <a:close/>
                  <a:moveTo>
                    <a:pt x="2237" y="3309"/>
                  </a:moveTo>
                  <a:lnTo>
                    <a:pt x="2237" y="6995"/>
                  </a:lnTo>
                  <a:lnTo>
                    <a:pt x="2237" y="11910"/>
                  </a:lnTo>
                  <a:lnTo>
                    <a:pt x="756" y="11910"/>
                  </a:lnTo>
                  <a:lnTo>
                    <a:pt x="756" y="6711"/>
                  </a:lnTo>
                  <a:cubicBezTo>
                    <a:pt x="756" y="5420"/>
                    <a:pt x="1292" y="4159"/>
                    <a:pt x="2237" y="3309"/>
                  </a:cubicBezTo>
                  <a:close/>
                  <a:moveTo>
                    <a:pt x="4096" y="1"/>
                  </a:moveTo>
                  <a:cubicBezTo>
                    <a:pt x="3088" y="1"/>
                    <a:pt x="2269" y="820"/>
                    <a:pt x="2269" y="1828"/>
                  </a:cubicBezTo>
                  <a:lnTo>
                    <a:pt x="2269" y="2395"/>
                  </a:lnTo>
                  <a:cubicBezTo>
                    <a:pt x="819" y="3403"/>
                    <a:pt x="0" y="5042"/>
                    <a:pt x="0" y="6774"/>
                  </a:cubicBezTo>
                  <a:lnTo>
                    <a:pt x="0" y="12319"/>
                  </a:lnTo>
                  <a:cubicBezTo>
                    <a:pt x="0" y="12508"/>
                    <a:pt x="158" y="12666"/>
                    <a:pt x="378" y="12666"/>
                  </a:cubicBezTo>
                  <a:lnTo>
                    <a:pt x="2615" y="12666"/>
                  </a:lnTo>
                  <a:cubicBezTo>
                    <a:pt x="2804" y="12666"/>
                    <a:pt x="2962" y="12508"/>
                    <a:pt x="2962" y="12319"/>
                  </a:cubicBezTo>
                  <a:lnTo>
                    <a:pt x="2962" y="9389"/>
                  </a:lnTo>
                  <a:cubicBezTo>
                    <a:pt x="3718" y="10460"/>
                    <a:pt x="4915" y="11122"/>
                    <a:pt x="6301" y="11122"/>
                  </a:cubicBezTo>
                  <a:cubicBezTo>
                    <a:pt x="8538" y="11122"/>
                    <a:pt x="10397" y="9295"/>
                    <a:pt x="10397" y="7026"/>
                  </a:cubicBezTo>
                  <a:lnTo>
                    <a:pt x="10397" y="6680"/>
                  </a:lnTo>
                  <a:cubicBezTo>
                    <a:pt x="11216" y="6680"/>
                    <a:pt x="11909" y="6018"/>
                    <a:pt x="11909" y="5168"/>
                  </a:cubicBezTo>
                  <a:cubicBezTo>
                    <a:pt x="11941" y="4348"/>
                    <a:pt x="11279" y="3687"/>
                    <a:pt x="10428" y="3687"/>
                  </a:cubicBezTo>
                  <a:lnTo>
                    <a:pt x="10428" y="1828"/>
                  </a:lnTo>
                  <a:cubicBezTo>
                    <a:pt x="10428" y="820"/>
                    <a:pt x="9609" y="1"/>
                    <a:pt x="8601"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10545" name="Google Shape;10545;p112"/>
          <p:cNvGrpSpPr/>
          <p:nvPr/>
        </p:nvGrpSpPr>
        <p:grpSpPr>
          <a:xfrm>
            <a:off x="10610055" y="3281086"/>
            <a:ext cx="483836" cy="479071"/>
            <a:chOff x="-55229525" y="2688550"/>
            <a:chExt cx="319800" cy="316650"/>
          </a:xfrm>
        </p:grpSpPr>
        <p:sp>
          <p:nvSpPr>
            <p:cNvPr id="10546" name="Google Shape;10546;p112"/>
            <p:cNvSpPr/>
            <p:nvPr/>
          </p:nvSpPr>
          <p:spPr>
            <a:xfrm>
              <a:off x="-55104275" y="2919525"/>
              <a:ext cx="72475" cy="28950"/>
            </a:xfrm>
            <a:custGeom>
              <a:avLst/>
              <a:gdLst/>
              <a:ahLst/>
              <a:cxnLst/>
              <a:rect l="l" t="t" r="r" b="b"/>
              <a:pathLst>
                <a:path w="2899" h="1158" extrusionOk="0">
                  <a:moveTo>
                    <a:pt x="398" y="0"/>
                  </a:moveTo>
                  <a:cubicBezTo>
                    <a:pt x="307" y="0"/>
                    <a:pt x="221" y="39"/>
                    <a:pt x="158" y="118"/>
                  </a:cubicBezTo>
                  <a:cubicBezTo>
                    <a:pt x="0" y="276"/>
                    <a:pt x="0" y="496"/>
                    <a:pt x="158" y="622"/>
                  </a:cubicBezTo>
                  <a:cubicBezTo>
                    <a:pt x="504" y="969"/>
                    <a:pt x="977" y="1158"/>
                    <a:pt x="1449" y="1158"/>
                  </a:cubicBezTo>
                  <a:cubicBezTo>
                    <a:pt x="1953" y="1158"/>
                    <a:pt x="2426" y="969"/>
                    <a:pt x="2741" y="622"/>
                  </a:cubicBezTo>
                  <a:cubicBezTo>
                    <a:pt x="2898" y="465"/>
                    <a:pt x="2898" y="213"/>
                    <a:pt x="2741" y="118"/>
                  </a:cubicBezTo>
                  <a:cubicBezTo>
                    <a:pt x="2694" y="39"/>
                    <a:pt x="2607" y="0"/>
                    <a:pt x="2513" y="0"/>
                  </a:cubicBezTo>
                  <a:cubicBezTo>
                    <a:pt x="2418" y="0"/>
                    <a:pt x="2316" y="39"/>
                    <a:pt x="2237" y="118"/>
                  </a:cubicBezTo>
                  <a:cubicBezTo>
                    <a:pt x="2048" y="307"/>
                    <a:pt x="1733" y="433"/>
                    <a:pt x="1449" y="433"/>
                  </a:cubicBezTo>
                  <a:cubicBezTo>
                    <a:pt x="1134" y="433"/>
                    <a:pt x="851" y="307"/>
                    <a:pt x="662" y="118"/>
                  </a:cubicBezTo>
                  <a:cubicBezTo>
                    <a:pt x="583" y="39"/>
                    <a:pt x="488" y="0"/>
                    <a:pt x="398"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547" name="Google Shape;10547;p112"/>
            <p:cNvSpPr/>
            <p:nvPr/>
          </p:nvSpPr>
          <p:spPr>
            <a:xfrm>
              <a:off x="-55039700" y="2856300"/>
              <a:ext cx="18125" cy="17350"/>
            </a:xfrm>
            <a:custGeom>
              <a:avLst/>
              <a:gdLst/>
              <a:ahLst/>
              <a:cxnLst/>
              <a:rect l="l" t="t" r="r" b="b"/>
              <a:pathLst>
                <a:path w="725" h="694" extrusionOk="0">
                  <a:moveTo>
                    <a:pt x="378" y="1"/>
                  </a:moveTo>
                  <a:cubicBezTo>
                    <a:pt x="189" y="1"/>
                    <a:pt x="0" y="158"/>
                    <a:pt x="0" y="347"/>
                  </a:cubicBezTo>
                  <a:cubicBezTo>
                    <a:pt x="0" y="536"/>
                    <a:pt x="189" y="694"/>
                    <a:pt x="378" y="694"/>
                  </a:cubicBezTo>
                  <a:cubicBezTo>
                    <a:pt x="568" y="694"/>
                    <a:pt x="725" y="536"/>
                    <a:pt x="725" y="347"/>
                  </a:cubicBezTo>
                  <a:cubicBezTo>
                    <a:pt x="725" y="158"/>
                    <a:pt x="568" y="1"/>
                    <a:pt x="378"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548" name="Google Shape;10548;p112"/>
            <p:cNvSpPr/>
            <p:nvPr/>
          </p:nvSpPr>
          <p:spPr>
            <a:xfrm>
              <a:off x="-55113750" y="2856300"/>
              <a:ext cx="17350" cy="17350"/>
            </a:xfrm>
            <a:custGeom>
              <a:avLst/>
              <a:gdLst/>
              <a:ahLst/>
              <a:cxnLst/>
              <a:rect l="l" t="t" r="r" b="b"/>
              <a:pathLst>
                <a:path w="694" h="694" extrusionOk="0">
                  <a:moveTo>
                    <a:pt x="348" y="1"/>
                  </a:moveTo>
                  <a:cubicBezTo>
                    <a:pt x="158" y="1"/>
                    <a:pt x="1" y="158"/>
                    <a:pt x="1" y="347"/>
                  </a:cubicBezTo>
                  <a:cubicBezTo>
                    <a:pt x="1" y="536"/>
                    <a:pt x="158" y="694"/>
                    <a:pt x="348" y="694"/>
                  </a:cubicBezTo>
                  <a:cubicBezTo>
                    <a:pt x="537" y="694"/>
                    <a:pt x="694" y="536"/>
                    <a:pt x="694" y="347"/>
                  </a:cubicBezTo>
                  <a:cubicBezTo>
                    <a:pt x="694" y="158"/>
                    <a:pt x="537" y="1"/>
                    <a:pt x="348"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549" name="Google Shape;10549;p112"/>
            <p:cNvSpPr/>
            <p:nvPr/>
          </p:nvSpPr>
          <p:spPr>
            <a:xfrm>
              <a:off x="-55229525" y="2688550"/>
              <a:ext cx="319800" cy="316650"/>
            </a:xfrm>
            <a:custGeom>
              <a:avLst/>
              <a:gdLst/>
              <a:ahLst/>
              <a:cxnLst/>
              <a:rect l="l" t="t" r="r" b="b"/>
              <a:pathLst>
                <a:path w="12792" h="12666" extrusionOk="0">
                  <a:moveTo>
                    <a:pt x="6648" y="693"/>
                  </a:moveTo>
                  <a:cubicBezTo>
                    <a:pt x="6806" y="693"/>
                    <a:pt x="6963" y="788"/>
                    <a:pt x="7026" y="914"/>
                  </a:cubicBezTo>
                  <a:cubicBezTo>
                    <a:pt x="7089" y="1197"/>
                    <a:pt x="7184" y="1386"/>
                    <a:pt x="7247" y="1670"/>
                  </a:cubicBezTo>
                  <a:cubicBezTo>
                    <a:pt x="7341" y="1891"/>
                    <a:pt x="7121" y="2143"/>
                    <a:pt x="6900" y="2143"/>
                  </a:cubicBezTo>
                  <a:lnTo>
                    <a:pt x="5987" y="2143"/>
                  </a:lnTo>
                  <a:cubicBezTo>
                    <a:pt x="5766" y="2143"/>
                    <a:pt x="5546" y="1891"/>
                    <a:pt x="5640" y="1670"/>
                  </a:cubicBezTo>
                  <a:cubicBezTo>
                    <a:pt x="5703" y="1418"/>
                    <a:pt x="5798" y="1197"/>
                    <a:pt x="5892" y="914"/>
                  </a:cubicBezTo>
                  <a:cubicBezTo>
                    <a:pt x="5955" y="756"/>
                    <a:pt x="6081" y="693"/>
                    <a:pt x="6239" y="693"/>
                  </a:cubicBezTo>
                  <a:close/>
                  <a:moveTo>
                    <a:pt x="7845" y="2332"/>
                  </a:moveTo>
                  <a:cubicBezTo>
                    <a:pt x="10271" y="2962"/>
                    <a:pt x="12004" y="5199"/>
                    <a:pt x="12004" y="7813"/>
                  </a:cubicBezTo>
                  <a:cubicBezTo>
                    <a:pt x="12067" y="8444"/>
                    <a:pt x="11595" y="8916"/>
                    <a:pt x="10964" y="8916"/>
                  </a:cubicBezTo>
                  <a:lnTo>
                    <a:pt x="10523" y="8916"/>
                  </a:lnTo>
                  <a:lnTo>
                    <a:pt x="10523" y="8570"/>
                  </a:lnTo>
                  <a:lnTo>
                    <a:pt x="10523" y="7057"/>
                  </a:lnTo>
                  <a:cubicBezTo>
                    <a:pt x="10523" y="5608"/>
                    <a:pt x="9326" y="4474"/>
                    <a:pt x="7908" y="4474"/>
                  </a:cubicBezTo>
                  <a:lnTo>
                    <a:pt x="4915" y="4474"/>
                  </a:lnTo>
                  <a:cubicBezTo>
                    <a:pt x="3466" y="4474"/>
                    <a:pt x="2332" y="5640"/>
                    <a:pt x="2332" y="7057"/>
                  </a:cubicBezTo>
                  <a:lnTo>
                    <a:pt x="2332" y="8570"/>
                  </a:lnTo>
                  <a:lnTo>
                    <a:pt x="2332" y="8916"/>
                  </a:lnTo>
                  <a:lnTo>
                    <a:pt x="1891" y="8916"/>
                  </a:lnTo>
                  <a:cubicBezTo>
                    <a:pt x="1261" y="8916"/>
                    <a:pt x="788" y="8412"/>
                    <a:pt x="788" y="7813"/>
                  </a:cubicBezTo>
                  <a:cubicBezTo>
                    <a:pt x="788" y="5262"/>
                    <a:pt x="2521" y="2993"/>
                    <a:pt x="4979" y="2332"/>
                  </a:cubicBezTo>
                  <a:cubicBezTo>
                    <a:pt x="5168" y="2678"/>
                    <a:pt x="5514" y="2899"/>
                    <a:pt x="5955" y="2899"/>
                  </a:cubicBezTo>
                  <a:lnTo>
                    <a:pt x="6869" y="2899"/>
                  </a:lnTo>
                  <a:cubicBezTo>
                    <a:pt x="7247" y="2899"/>
                    <a:pt x="7593" y="2678"/>
                    <a:pt x="7845" y="2332"/>
                  </a:cubicBezTo>
                  <a:close/>
                  <a:moveTo>
                    <a:pt x="7971" y="5199"/>
                  </a:moveTo>
                  <a:cubicBezTo>
                    <a:pt x="8980" y="5199"/>
                    <a:pt x="9799" y="6049"/>
                    <a:pt x="9799" y="7057"/>
                  </a:cubicBezTo>
                  <a:lnTo>
                    <a:pt x="9799" y="8570"/>
                  </a:lnTo>
                  <a:cubicBezTo>
                    <a:pt x="9799" y="10397"/>
                    <a:pt x="8318" y="11909"/>
                    <a:pt x="6459" y="11909"/>
                  </a:cubicBezTo>
                  <a:cubicBezTo>
                    <a:pt x="4600" y="11909"/>
                    <a:pt x="3120" y="10397"/>
                    <a:pt x="3120" y="8570"/>
                  </a:cubicBezTo>
                  <a:lnTo>
                    <a:pt x="3120" y="7057"/>
                  </a:lnTo>
                  <a:cubicBezTo>
                    <a:pt x="3120" y="6049"/>
                    <a:pt x="3939" y="5199"/>
                    <a:pt x="4979" y="5199"/>
                  </a:cubicBezTo>
                  <a:close/>
                  <a:moveTo>
                    <a:pt x="6176" y="0"/>
                  </a:moveTo>
                  <a:cubicBezTo>
                    <a:pt x="5703" y="0"/>
                    <a:pt x="5294" y="315"/>
                    <a:pt x="5136" y="756"/>
                  </a:cubicBezTo>
                  <a:lnTo>
                    <a:pt x="3403" y="756"/>
                  </a:lnTo>
                  <a:cubicBezTo>
                    <a:pt x="3183" y="756"/>
                    <a:pt x="3025" y="914"/>
                    <a:pt x="3025" y="1103"/>
                  </a:cubicBezTo>
                  <a:cubicBezTo>
                    <a:pt x="3025" y="1323"/>
                    <a:pt x="3183" y="1481"/>
                    <a:pt x="3403" y="1481"/>
                  </a:cubicBezTo>
                  <a:lnTo>
                    <a:pt x="4852" y="1481"/>
                  </a:lnTo>
                  <a:cubicBezTo>
                    <a:pt x="4852" y="1512"/>
                    <a:pt x="4821" y="1575"/>
                    <a:pt x="4821" y="1638"/>
                  </a:cubicBezTo>
                  <a:cubicBezTo>
                    <a:pt x="3498" y="1954"/>
                    <a:pt x="2332" y="2678"/>
                    <a:pt x="1450" y="3749"/>
                  </a:cubicBezTo>
                  <a:cubicBezTo>
                    <a:pt x="505" y="4883"/>
                    <a:pt x="1" y="6364"/>
                    <a:pt x="1" y="7813"/>
                  </a:cubicBezTo>
                  <a:cubicBezTo>
                    <a:pt x="1" y="8822"/>
                    <a:pt x="820" y="9672"/>
                    <a:pt x="1860" y="9672"/>
                  </a:cubicBezTo>
                  <a:lnTo>
                    <a:pt x="2395" y="9672"/>
                  </a:lnTo>
                  <a:cubicBezTo>
                    <a:pt x="2868" y="11405"/>
                    <a:pt x="4506" y="12665"/>
                    <a:pt x="6333" y="12665"/>
                  </a:cubicBezTo>
                  <a:cubicBezTo>
                    <a:pt x="8224" y="12665"/>
                    <a:pt x="9799" y="11405"/>
                    <a:pt x="10271" y="9672"/>
                  </a:cubicBezTo>
                  <a:lnTo>
                    <a:pt x="10838" y="9672"/>
                  </a:lnTo>
                  <a:cubicBezTo>
                    <a:pt x="11847" y="9672"/>
                    <a:pt x="12697" y="8822"/>
                    <a:pt x="12697" y="7813"/>
                  </a:cubicBezTo>
                  <a:cubicBezTo>
                    <a:pt x="12792" y="6301"/>
                    <a:pt x="12288" y="4883"/>
                    <a:pt x="11343" y="3749"/>
                  </a:cubicBezTo>
                  <a:cubicBezTo>
                    <a:pt x="10492" y="2678"/>
                    <a:pt x="9295" y="1954"/>
                    <a:pt x="8003" y="1638"/>
                  </a:cubicBezTo>
                  <a:cubicBezTo>
                    <a:pt x="8003" y="1575"/>
                    <a:pt x="7971" y="1512"/>
                    <a:pt x="7971" y="1481"/>
                  </a:cubicBezTo>
                  <a:lnTo>
                    <a:pt x="9421" y="1481"/>
                  </a:lnTo>
                  <a:cubicBezTo>
                    <a:pt x="9610" y="1481"/>
                    <a:pt x="9767" y="1323"/>
                    <a:pt x="9767" y="1103"/>
                  </a:cubicBezTo>
                  <a:cubicBezTo>
                    <a:pt x="9767" y="914"/>
                    <a:pt x="9610" y="756"/>
                    <a:pt x="9421" y="756"/>
                  </a:cubicBezTo>
                  <a:lnTo>
                    <a:pt x="7688" y="756"/>
                  </a:lnTo>
                  <a:cubicBezTo>
                    <a:pt x="7530" y="315"/>
                    <a:pt x="7089" y="0"/>
                    <a:pt x="6617"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10550" name="Google Shape;10550;p112"/>
          <p:cNvGrpSpPr/>
          <p:nvPr/>
        </p:nvGrpSpPr>
        <p:grpSpPr>
          <a:xfrm>
            <a:off x="8871681" y="3882582"/>
            <a:ext cx="451687" cy="481453"/>
            <a:chOff x="-53288825" y="1903275"/>
            <a:chExt cx="298550" cy="318225"/>
          </a:xfrm>
        </p:grpSpPr>
        <p:sp>
          <p:nvSpPr>
            <p:cNvPr id="10551" name="Google Shape;10551;p112"/>
            <p:cNvSpPr/>
            <p:nvPr/>
          </p:nvSpPr>
          <p:spPr>
            <a:xfrm>
              <a:off x="-53214000" y="2052925"/>
              <a:ext cx="18150" cy="17350"/>
            </a:xfrm>
            <a:custGeom>
              <a:avLst/>
              <a:gdLst/>
              <a:ahLst/>
              <a:cxnLst/>
              <a:rect l="l" t="t" r="r" b="b"/>
              <a:pathLst>
                <a:path w="726" h="694" extrusionOk="0">
                  <a:moveTo>
                    <a:pt x="347" y="1"/>
                  </a:moveTo>
                  <a:cubicBezTo>
                    <a:pt x="158" y="1"/>
                    <a:pt x="1" y="158"/>
                    <a:pt x="1" y="347"/>
                  </a:cubicBezTo>
                  <a:cubicBezTo>
                    <a:pt x="1" y="536"/>
                    <a:pt x="158" y="694"/>
                    <a:pt x="347" y="694"/>
                  </a:cubicBezTo>
                  <a:cubicBezTo>
                    <a:pt x="537" y="694"/>
                    <a:pt x="726" y="536"/>
                    <a:pt x="726" y="347"/>
                  </a:cubicBezTo>
                  <a:cubicBezTo>
                    <a:pt x="726" y="158"/>
                    <a:pt x="537" y="1"/>
                    <a:pt x="347"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552" name="Google Shape;10552;p112"/>
            <p:cNvSpPr/>
            <p:nvPr/>
          </p:nvSpPr>
          <p:spPr>
            <a:xfrm>
              <a:off x="-53139175" y="2052925"/>
              <a:ext cx="17350" cy="17350"/>
            </a:xfrm>
            <a:custGeom>
              <a:avLst/>
              <a:gdLst/>
              <a:ahLst/>
              <a:cxnLst/>
              <a:rect l="l" t="t" r="r" b="b"/>
              <a:pathLst>
                <a:path w="694" h="694" extrusionOk="0">
                  <a:moveTo>
                    <a:pt x="347" y="1"/>
                  </a:moveTo>
                  <a:cubicBezTo>
                    <a:pt x="158" y="1"/>
                    <a:pt x="1" y="158"/>
                    <a:pt x="1" y="347"/>
                  </a:cubicBezTo>
                  <a:cubicBezTo>
                    <a:pt x="1" y="536"/>
                    <a:pt x="158" y="694"/>
                    <a:pt x="347" y="694"/>
                  </a:cubicBezTo>
                  <a:cubicBezTo>
                    <a:pt x="536" y="694"/>
                    <a:pt x="694" y="536"/>
                    <a:pt x="694" y="347"/>
                  </a:cubicBezTo>
                  <a:cubicBezTo>
                    <a:pt x="694" y="158"/>
                    <a:pt x="536" y="1"/>
                    <a:pt x="347"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553" name="Google Shape;10553;p112"/>
            <p:cNvSpPr/>
            <p:nvPr/>
          </p:nvSpPr>
          <p:spPr>
            <a:xfrm>
              <a:off x="-53288825" y="1903275"/>
              <a:ext cx="298550" cy="318225"/>
            </a:xfrm>
            <a:custGeom>
              <a:avLst/>
              <a:gdLst/>
              <a:ahLst/>
              <a:cxnLst/>
              <a:rect l="l" t="t" r="r" b="b"/>
              <a:pathLst>
                <a:path w="11942" h="12729" extrusionOk="0">
                  <a:moveTo>
                    <a:pt x="4853" y="757"/>
                  </a:moveTo>
                  <a:cubicBezTo>
                    <a:pt x="6428" y="757"/>
                    <a:pt x="7846" y="1639"/>
                    <a:pt x="8507" y="2994"/>
                  </a:cubicBezTo>
                  <a:lnTo>
                    <a:pt x="1167" y="2994"/>
                  </a:lnTo>
                  <a:cubicBezTo>
                    <a:pt x="1891" y="1639"/>
                    <a:pt x="3277" y="757"/>
                    <a:pt x="4853" y="757"/>
                  </a:cubicBezTo>
                  <a:close/>
                  <a:moveTo>
                    <a:pt x="11185" y="2994"/>
                  </a:moveTo>
                  <a:lnTo>
                    <a:pt x="11185" y="3340"/>
                  </a:lnTo>
                  <a:cubicBezTo>
                    <a:pt x="11185" y="3971"/>
                    <a:pt x="10681" y="4443"/>
                    <a:pt x="10083" y="4443"/>
                  </a:cubicBezTo>
                  <a:lnTo>
                    <a:pt x="9736" y="4443"/>
                  </a:lnTo>
                  <a:lnTo>
                    <a:pt x="9736" y="4097"/>
                  </a:lnTo>
                  <a:cubicBezTo>
                    <a:pt x="9736" y="3466"/>
                    <a:pt x="10240" y="2994"/>
                    <a:pt x="10839" y="2994"/>
                  </a:cubicBezTo>
                  <a:close/>
                  <a:moveTo>
                    <a:pt x="3151" y="3750"/>
                  </a:moveTo>
                  <a:lnTo>
                    <a:pt x="3498" y="4475"/>
                  </a:lnTo>
                  <a:lnTo>
                    <a:pt x="789" y="4475"/>
                  </a:lnTo>
                  <a:cubicBezTo>
                    <a:pt x="820" y="4223"/>
                    <a:pt x="852" y="3971"/>
                    <a:pt x="946" y="3750"/>
                  </a:cubicBezTo>
                  <a:close/>
                  <a:moveTo>
                    <a:pt x="5735" y="3750"/>
                  </a:moveTo>
                  <a:lnTo>
                    <a:pt x="5357" y="4475"/>
                  </a:lnTo>
                  <a:lnTo>
                    <a:pt x="4317" y="4475"/>
                  </a:lnTo>
                  <a:lnTo>
                    <a:pt x="3971" y="3750"/>
                  </a:lnTo>
                  <a:close/>
                  <a:moveTo>
                    <a:pt x="8822" y="3750"/>
                  </a:moveTo>
                  <a:cubicBezTo>
                    <a:pt x="8885" y="3971"/>
                    <a:pt x="8948" y="4223"/>
                    <a:pt x="8980" y="4475"/>
                  </a:cubicBezTo>
                  <a:lnTo>
                    <a:pt x="6270" y="4475"/>
                  </a:lnTo>
                  <a:lnTo>
                    <a:pt x="6617" y="3750"/>
                  </a:lnTo>
                  <a:close/>
                  <a:moveTo>
                    <a:pt x="10083" y="5231"/>
                  </a:moveTo>
                  <a:cubicBezTo>
                    <a:pt x="10713" y="5231"/>
                    <a:pt x="11185" y="5703"/>
                    <a:pt x="11185" y="6333"/>
                  </a:cubicBezTo>
                  <a:lnTo>
                    <a:pt x="11185" y="6680"/>
                  </a:lnTo>
                  <a:lnTo>
                    <a:pt x="10839" y="6680"/>
                  </a:lnTo>
                  <a:cubicBezTo>
                    <a:pt x="10209" y="6680"/>
                    <a:pt x="9736" y="6176"/>
                    <a:pt x="9736" y="5577"/>
                  </a:cubicBezTo>
                  <a:lnTo>
                    <a:pt x="9736" y="5231"/>
                  </a:lnTo>
                  <a:close/>
                  <a:moveTo>
                    <a:pt x="8980" y="5231"/>
                  </a:moveTo>
                  <a:lnTo>
                    <a:pt x="8980" y="7531"/>
                  </a:lnTo>
                  <a:lnTo>
                    <a:pt x="789" y="7531"/>
                  </a:lnTo>
                  <a:lnTo>
                    <a:pt x="789" y="5231"/>
                  </a:lnTo>
                  <a:close/>
                  <a:moveTo>
                    <a:pt x="8948" y="8224"/>
                  </a:moveTo>
                  <a:cubicBezTo>
                    <a:pt x="8728" y="10366"/>
                    <a:pt x="6995" y="11973"/>
                    <a:pt x="4853" y="11973"/>
                  </a:cubicBezTo>
                  <a:cubicBezTo>
                    <a:pt x="2710" y="11973"/>
                    <a:pt x="946" y="10303"/>
                    <a:pt x="757" y="8224"/>
                  </a:cubicBezTo>
                  <a:close/>
                  <a:moveTo>
                    <a:pt x="4853" y="1"/>
                  </a:moveTo>
                  <a:cubicBezTo>
                    <a:pt x="2175" y="1"/>
                    <a:pt x="1" y="2175"/>
                    <a:pt x="1" y="4853"/>
                  </a:cubicBezTo>
                  <a:lnTo>
                    <a:pt x="1" y="7877"/>
                  </a:lnTo>
                  <a:cubicBezTo>
                    <a:pt x="1" y="10555"/>
                    <a:pt x="2175" y="12729"/>
                    <a:pt x="4853" y="12729"/>
                  </a:cubicBezTo>
                  <a:cubicBezTo>
                    <a:pt x="7531" y="12729"/>
                    <a:pt x="9704" y="10555"/>
                    <a:pt x="9704" y="7877"/>
                  </a:cubicBezTo>
                  <a:lnTo>
                    <a:pt x="9704" y="7090"/>
                  </a:lnTo>
                  <a:cubicBezTo>
                    <a:pt x="10020" y="7310"/>
                    <a:pt x="10398" y="7436"/>
                    <a:pt x="10807" y="7436"/>
                  </a:cubicBezTo>
                  <a:lnTo>
                    <a:pt x="11532" y="7436"/>
                  </a:lnTo>
                  <a:cubicBezTo>
                    <a:pt x="11752" y="7436"/>
                    <a:pt x="11878" y="7279"/>
                    <a:pt x="11878" y="7090"/>
                  </a:cubicBezTo>
                  <a:lnTo>
                    <a:pt x="11878" y="6333"/>
                  </a:lnTo>
                  <a:cubicBezTo>
                    <a:pt x="11878" y="5735"/>
                    <a:pt x="11626" y="5199"/>
                    <a:pt x="11154" y="4853"/>
                  </a:cubicBezTo>
                  <a:cubicBezTo>
                    <a:pt x="11658" y="4475"/>
                    <a:pt x="11941" y="3971"/>
                    <a:pt x="11941" y="3340"/>
                  </a:cubicBezTo>
                  <a:lnTo>
                    <a:pt x="11941" y="2584"/>
                  </a:lnTo>
                  <a:cubicBezTo>
                    <a:pt x="11941" y="2395"/>
                    <a:pt x="11784" y="2238"/>
                    <a:pt x="11563" y="2238"/>
                  </a:cubicBezTo>
                  <a:lnTo>
                    <a:pt x="10839" y="2238"/>
                  </a:lnTo>
                  <a:cubicBezTo>
                    <a:pt x="10240" y="2238"/>
                    <a:pt x="9704" y="2521"/>
                    <a:pt x="9326" y="2994"/>
                  </a:cubicBezTo>
                  <a:cubicBezTo>
                    <a:pt x="8602" y="1261"/>
                    <a:pt x="6838" y="1"/>
                    <a:pt x="4853"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10554" name="Google Shape;10554;p112"/>
          <p:cNvGrpSpPr/>
          <p:nvPr/>
        </p:nvGrpSpPr>
        <p:grpSpPr>
          <a:xfrm>
            <a:off x="8856191" y="4484816"/>
            <a:ext cx="482664" cy="481453"/>
            <a:chOff x="-53299850" y="2294725"/>
            <a:chExt cx="319025" cy="318225"/>
          </a:xfrm>
        </p:grpSpPr>
        <p:sp>
          <p:nvSpPr>
            <p:cNvPr id="10555" name="Google Shape;10555;p112"/>
            <p:cNvSpPr/>
            <p:nvPr/>
          </p:nvSpPr>
          <p:spPr>
            <a:xfrm>
              <a:off x="-53175400" y="2526500"/>
              <a:ext cx="72475" cy="29750"/>
            </a:xfrm>
            <a:custGeom>
              <a:avLst/>
              <a:gdLst/>
              <a:ahLst/>
              <a:cxnLst/>
              <a:rect l="l" t="t" r="r" b="b"/>
              <a:pathLst>
                <a:path w="2899" h="1190" extrusionOk="0">
                  <a:moveTo>
                    <a:pt x="387" y="0"/>
                  </a:moveTo>
                  <a:cubicBezTo>
                    <a:pt x="292" y="0"/>
                    <a:pt x="205" y="39"/>
                    <a:pt x="158" y="118"/>
                  </a:cubicBezTo>
                  <a:cubicBezTo>
                    <a:pt x="1" y="276"/>
                    <a:pt x="1" y="496"/>
                    <a:pt x="158" y="622"/>
                  </a:cubicBezTo>
                  <a:cubicBezTo>
                    <a:pt x="505" y="969"/>
                    <a:pt x="977" y="1189"/>
                    <a:pt x="1450" y="1189"/>
                  </a:cubicBezTo>
                  <a:cubicBezTo>
                    <a:pt x="1922" y="1189"/>
                    <a:pt x="2427" y="969"/>
                    <a:pt x="2742" y="622"/>
                  </a:cubicBezTo>
                  <a:cubicBezTo>
                    <a:pt x="2899" y="465"/>
                    <a:pt x="2899" y="244"/>
                    <a:pt x="2742" y="118"/>
                  </a:cubicBezTo>
                  <a:cubicBezTo>
                    <a:pt x="2679" y="55"/>
                    <a:pt x="2592" y="24"/>
                    <a:pt x="2501" y="24"/>
                  </a:cubicBezTo>
                  <a:cubicBezTo>
                    <a:pt x="2411" y="24"/>
                    <a:pt x="2316" y="55"/>
                    <a:pt x="2238" y="118"/>
                  </a:cubicBezTo>
                  <a:cubicBezTo>
                    <a:pt x="2048" y="307"/>
                    <a:pt x="1733" y="433"/>
                    <a:pt x="1450" y="433"/>
                  </a:cubicBezTo>
                  <a:cubicBezTo>
                    <a:pt x="1166" y="433"/>
                    <a:pt x="851" y="307"/>
                    <a:pt x="662" y="118"/>
                  </a:cubicBezTo>
                  <a:cubicBezTo>
                    <a:pt x="584" y="39"/>
                    <a:pt x="481" y="0"/>
                    <a:pt x="387"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556" name="Google Shape;10556;p112"/>
            <p:cNvSpPr/>
            <p:nvPr/>
          </p:nvSpPr>
          <p:spPr>
            <a:xfrm>
              <a:off x="-53299850" y="2294725"/>
              <a:ext cx="319025" cy="318225"/>
            </a:xfrm>
            <a:custGeom>
              <a:avLst/>
              <a:gdLst/>
              <a:ahLst/>
              <a:cxnLst/>
              <a:rect l="l" t="t" r="r" b="b"/>
              <a:pathLst>
                <a:path w="12761" h="12729" extrusionOk="0">
                  <a:moveTo>
                    <a:pt x="6428" y="757"/>
                  </a:moveTo>
                  <a:cubicBezTo>
                    <a:pt x="8539" y="757"/>
                    <a:pt x="10335" y="2364"/>
                    <a:pt x="10524" y="4475"/>
                  </a:cubicBezTo>
                  <a:cubicBezTo>
                    <a:pt x="10492" y="4475"/>
                    <a:pt x="10398" y="4411"/>
                    <a:pt x="10366" y="4411"/>
                  </a:cubicBezTo>
                  <a:cubicBezTo>
                    <a:pt x="9090" y="4207"/>
                    <a:pt x="7759" y="4104"/>
                    <a:pt x="6428" y="4104"/>
                  </a:cubicBezTo>
                  <a:cubicBezTo>
                    <a:pt x="5097" y="4104"/>
                    <a:pt x="3766" y="4207"/>
                    <a:pt x="2490" y="4411"/>
                  </a:cubicBezTo>
                  <a:cubicBezTo>
                    <a:pt x="2458" y="4411"/>
                    <a:pt x="2364" y="4475"/>
                    <a:pt x="2332" y="4475"/>
                  </a:cubicBezTo>
                  <a:cubicBezTo>
                    <a:pt x="2521" y="2364"/>
                    <a:pt x="4286" y="757"/>
                    <a:pt x="6428" y="757"/>
                  </a:cubicBezTo>
                  <a:close/>
                  <a:moveTo>
                    <a:pt x="6404" y="4837"/>
                  </a:moveTo>
                  <a:cubicBezTo>
                    <a:pt x="7688" y="4837"/>
                    <a:pt x="8980" y="4947"/>
                    <a:pt x="10240" y="5168"/>
                  </a:cubicBezTo>
                  <a:cubicBezTo>
                    <a:pt x="10429" y="5199"/>
                    <a:pt x="10555" y="5357"/>
                    <a:pt x="10555" y="5514"/>
                  </a:cubicBezTo>
                  <a:lnTo>
                    <a:pt x="10555" y="6396"/>
                  </a:lnTo>
                  <a:cubicBezTo>
                    <a:pt x="10555" y="6995"/>
                    <a:pt x="10051" y="7499"/>
                    <a:pt x="9421" y="7499"/>
                  </a:cubicBezTo>
                  <a:lnTo>
                    <a:pt x="7436" y="7499"/>
                  </a:lnTo>
                  <a:cubicBezTo>
                    <a:pt x="7342" y="7499"/>
                    <a:pt x="7247" y="7467"/>
                    <a:pt x="7184" y="7373"/>
                  </a:cubicBezTo>
                  <a:lnTo>
                    <a:pt x="6648" y="6869"/>
                  </a:lnTo>
                  <a:cubicBezTo>
                    <a:pt x="6570" y="6790"/>
                    <a:pt x="6475" y="6751"/>
                    <a:pt x="6385" y="6751"/>
                  </a:cubicBezTo>
                  <a:cubicBezTo>
                    <a:pt x="6294" y="6751"/>
                    <a:pt x="6207" y="6790"/>
                    <a:pt x="6144" y="6869"/>
                  </a:cubicBezTo>
                  <a:lnTo>
                    <a:pt x="5640" y="7373"/>
                  </a:lnTo>
                  <a:cubicBezTo>
                    <a:pt x="5546" y="7467"/>
                    <a:pt x="5483" y="7499"/>
                    <a:pt x="5357" y="7499"/>
                  </a:cubicBezTo>
                  <a:lnTo>
                    <a:pt x="3403" y="7499"/>
                  </a:lnTo>
                  <a:cubicBezTo>
                    <a:pt x="2773" y="7499"/>
                    <a:pt x="2301" y="6995"/>
                    <a:pt x="2301" y="6396"/>
                  </a:cubicBezTo>
                  <a:lnTo>
                    <a:pt x="2301" y="5514"/>
                  </a:lnTo>
                  <a:cubicBezTo>
                    <a:pt x="2301" y="5325"/>
                    <a:pt x="2395" y="5168"/>
                    <a:pt x="2616" y="5168"/>
                  </a:cubicBezTo>
                  <a:cubicBezTo>
                    <a:pt x="3844" y="4947"/>
                    <a:pt x="5120" y="4837"/>
                    <a:pt x="6404" y="4837"/>
                  </a:cubicBezTo>
                  <a:close/>
                  <a:moveTo>
                    <a:pt x="1545" y="5451"/>
                  </a:moveTo>
                  <a:lnTo>
                    <a:pt x="1545" y="5483"/>
                  </a:lnTo>
                  <a:lnTo>
                    <a:pt x="1545" y="6333"/>
                  </a:lnTo>
                  <a:cubicBezTo>
                    <a:pt x="1545" y="6932"/>
                    <a:pt x="1828" y="7499"/>
                    <a:pt x="2301" y="7846"/>
                  </a:cubicBezTo>
                  <a:lnTo>
                    <a:pt x="2301" y="8192"/>
                  </a:lnTo>
                  <a:cubicBezTo>
                    <a:pt x="1450" y="8192"/>
                    <a:pt x="789" y="7530"/>
                    <a:pt x="789" y="6711"/>
                  </a:cubicBezTo>
                  <a:cubicBezTo>
                    <a:pt x="789" y="6207"/>
                    <a:pt x="1104" y="5735"/>
                    <a:pt x="1545" y="5451"/>
                  </a:cubicBezTo>
                  <a:close/>
                  <a:moveTo>
                    <a:pt x="11311" y="5483"/>
                  </a:moveTo>
                  <a:cubicBezTo>
                    <a:pt x="11752" y="5766"/>
                    <a:pt x="12067" y="6239"/>
                    <a:pt x="12067" y="6774"/>
                  </a:cubicBezTo>
                  <a:cubicBezTo>
                    <a:pt x="12004" y="7562"/>
                    <a:pt x="11343" y="8255"/>
                    <a:pt x="10555" y="8255"/>
                  </a:cubicBezTo>
                  <a:lnTo>
                    <a:pt x="10555" y="7877"/>
                  </a:lnTo>
                  <a:cubicBezTo>
                    <a:pt x="10996" y="7530"/>
                    <a:pt x="11311" y="7026"/>
                    <a:pt x="11311" y="6396"/>
                  </a:cubicBezTo>
                  <a:lnTo>
                    <a:pt x="11311" y="5514"/>
                  </a:lnTo>
                  <a:lnTo>
                    <a:pt x="11311" y="5483"/>
                  </a:lnTo>
                  <a:close/>
                  <a:moveTo>
                    <a:pt x="1545" y="8885"/>
                  </a:moveTo>
                  <a:cubicBezTo>
                    <a:pt x="1765" y="8948"/>
                    <a:pt x="2017" y="8980"/>
                    <a:pt x="2301" y="8980"/>
                  </a:cubicBezTo>
                  <a:cubicBezTo>
                    <a:pt x="2332" y="9515"/>
                    <a:pt x="2490" y="10019"/>
                    <a:pt x="2710" y="10492"/>
                  </a:cubicBezTo>
                  <a:lnTo>
                    <a:pt x="1891" y="10492"/>
                  </a:lnTo>
                  <a:cubicBezTo>
                    <a:pt x="1702" y="10492"/>
                    <a:pt x="1545" y="10334"/>
                    <a:pt x="1545" y="10145"/>
                  </a:cubicBezTo>
                  <a:lnTo>
                    <a:pt x="1545" y="8885"/>
                  </a:lnTo>
                  <a:close/>
                  <a:moveTo>
                    <a:pt x="6428" y="7688"/>
                  </a:moveTo>
                  <a:lnTo>
                    <a:pt x="6711" y="7972"/>
                  </a:lnTo>
                  <a:cubicBezTo>
                    <a:pt x="6900" y="8161"/>
                    <a:pt x="7216" y="8287"/>
                    <a:pt x="7499" y="8287"/>
                  </a:cubicBezTo>
                  <a:lnTo>
                    <a:pt x="9452" y="8287"/>
                  </a:lnTo>
                  <a:cubicBezTo>
                    <a:pt x="9578" y="8287"/>
                    <a:pt x="9704" y="8287"/>
                    <a:pt x="9799" y="8255"/>
                  </a:cubicBezTo>
                  <a:lnTo>
                    <a:pt x="9799" y="8633"/>
                  </a:lnTo>
                  <a:cubicBezTo>
                    <a:pt x="9799" y="10492"/>
                    <a:pt x="8287" y="11973"/>
                    <a:pt x="6428" y="11973"/>
                  </a:cubicBezTo>
                  <a:cubicBezTo>
                    <a:pt x="5609" y="11973"/>
                    <a:pt x="4853" y="11721"/>
                    <a:pt x="4254" y="11185"/>
                  </a:cubicBezTo>
                  <a:lnTo>
                    <a:pt x="4916" y="11185"/>
                  </a:lnTo>
                  <a:cubicBezTo>
                    <a:pt x="5136" y="11185"/>
                    <a:pt x="5294" y="11028"/>
                    <a:pt x="5294" y="10838"/>
                  </a:cubicBezTo>
                  <a:cubicBezTo>
                    <a:pt x="5294" y="10649"/>
                    <a:pt x="5136" y="10492"/>
                    <a:pt x="4916" y="10492"/>
                  </a:cubicBezTo>
                  <a:lnTo>
                    <a:pt x="3592" y="10492"/>
                  </a:lnTo>
                  <a:cubicBezTo>
                    <a:pt x="3246" y="9925"/>
                    <a:pt x="3025" y="9295"/>
                    <a:pt x="3025" y="8633"/>
                  </a:cubicBezTo>
                  <a:lnTo>
                    <a:pt x="3025" y="8255"/>
                  </a:lnTo>
                  <a:cubicBezTo>
                    <a:pt x="3151" y="8287"/>
                    <a:pt x="3277" y="8287"/>
                    <a:pt x="3403" y="8287"/>
                  </a:cubicBezTo>
                  <a:lnTo>
                    <a:pt x="5357" y="8287"/>
                  </a:lnTo>
                  <a:cubicBezTo>
                    <a:pt x="5672" y="8287"/>
                    <a:pt x="5955" y="8161"/>
                    <a:pt x="6144" y="7972"/>
                  </a:cubicBezTo>
                  <a:lnTo>
                    <a:pt x="6428" y="7688"/>
                  </a:lnTo>
                  <a:close/>
                  <a:moveTo>
                    <a:pt x="6396" y="1"/>
                  </a:moveTo>
                  <a:cubicBezTo>
                    <a:pt x="3781" y="1"/>
                    <a:pt x="1671" y="2112"/>
                    <a:pt x="1513" y="4632"/>
                  </a:cubicBezTo>
                  <a:cubicBezTo>
                    <a:pt x="631" y="4947"/>
                    <a:pt x="1" y="5766"/>
                    <a:pt x="1" y="6743"/>
                  </a:cubicBezTo>
                  <a:cubicBezTo>
                    <a:pt x="1" y="7404"/>
                    <a:pt x="284" y="8003"/>
                    <a:pt x="757" y="8413"/>
                  </a:cubicBezTo>
                  <a:lnTo>
                    <a:pt x="757" y="10082"/>
                  </a:lnTo>
                  <a:cubicBezTo>
                    <a:pt x="757" y="10712"/>
                    <a:pt x="1261" y="11185"/>
                    <a:pt x="1860" y="11185"/>
                  </a:cubicBezTo>
                  <a:lnTo>
                    <a:pt x="3151" y="11185"/>
                  </a:lnTo>
                  <a:cubicBezTo>
                    <a:pt x="3939" y="12130"/>
                    <a:pt x="5073" y="12729"/>
                    <a:pt x="6365" y="12729"/>
                  </a:cubicBezTo>
                  <a:cubicBezTo>
                    <a:pt x="8507" y="12729"/>
                    <a:pt x="10303" y="11028"/>
                    <a:pt x="10429" y="8980"/>
                  </a:cubicBezTo>
                  <a:cubicBezTo>
                    <a:pt x="11658" y="8980"/>
                    <a:pt x="12697" y="8003"/>
                    <a:pt x="12697" y="6743"/>
                  </a:cubicBezTo>
                  <a:cubicBezTo>
                    <a:pt x="12760" y="5798"/>
                    <a:pt x="12162" y="4947"/>
                    <a:pt x="11280" y="4632"/>
                  </a:cubicBezTo>
                  <a:cubicBezTo>
                    <a:pt x="11154" y="2049"/>
                    <a:pt x="9011" y="1"/>
                    <a:pt x="6396"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10557" name="Google Shape;10557;p112"/>
          <p:cNvGrpSpPr/>
          <p:nvPr/>
        </p:nvGrpSpPr>
        <p:grpSpPr>
          <a:xfrm>
            <a:off x="8886582" y="5109429"/>
            <a:ext cx="421881" cy="480281"/>
            <a:chOff x="-53278575" y="2687750"/>
            <a:chExt cx="278850" cy="317450"/>
          </a:xfrm>
        </p:grpSpPr>
        <p:sp>
          <p:nvSpPr>
            <p:cNvPr id="10558" name="Google Shape;10558;p112"/>
            <p:cNvSpPr/>
            <p:nvPr/>
          </p:nvSpPr>
          <p:spPr>
            <a:xfrm>
              <a:off x="-53175400" y="2919525"/>
              <a:ext cx="71700" cy="28950"/>
            </a:xfrm>
            <a:custGeom>
              <a:avLst/>
              <a:gdLst/>
              <a:ahLst/>
              <a:cxnLst/>
              <a:rect l="l" t="t" r="r" b="b"/>
              <a:pathLst>
                <a:path w="2868" h="1158" extrusionOk="0">
                  <a:moveTo>
                    <a:pt x="351" y="0"/>
                  </a:moveTo>
                  <a:cubicBezTo>
                    <a:pt x="253" y="0"/>
                    <a:pt x="158" y="39"/>
                    <a:pt x="95" y="118"/>
                  </a:cubicBezTo>
                  <a:cubicBezTo>
                    <a:pt x="1" y="213"/>
                    <a:pt x="1" y="465"/>
                    <a:pt x="95" y="622"/>
                  </a:cubicBezTo>
                  <a:cubicBezTo>
                    <a:pt x="473" y="969"/>
                    <a:pt x="946" y="1158"/>
                    <a:pt x="1418" y="1158"/>
                  </a:cubicBezTo>
                  <a:cubicBezTo>
                    <a:pt x="1891" y="1158"/>
                    <a:pt x="2395" y="969"/>
                    <a:pt x="2710" y="622"/>
                  </a:cubicBezTo>
                  <a:cubicBezTo>
                    <a:pt x="2868" y="465"/>
                    <a:pt x="2868" y="213"/>
                    <a:pt x="2710" y="118"/>
                  </a:cubicBezTo>
                  <a:cubicBezTo>
                    <a:pt x="2631" y="39"/>
                    <a:pt x="2529" y="0"/>
                    <a:pt x="2434" y="0"/>
                  </a:cubicBezTo>
                  <a:cubicBezTo>
                    <a:pt x="2340" y="0"/>
                    <a:pt x="2253" y="39"/>
                    <a:pt x="2206" y="118"/>
                  </a:cubicBezTo>
                  <a:cubicBezTo>
                    <a:pt x="1985" y="307"/>
                    <a:pt x="1670" y="433"/>
                    <a:pt x="1418" y="433"/>
                  </a:cubicBezTo>
                  <a:cubicBezTo>
                    <a:pt x="1135" y="433"/>
                    <a:pt x="820" y="307"/>
                    <a:pt x="631" y="118"/>
                  </a:cubicBezTo>
                  <a:cubicBezTo>
                    <a:pt x="552" y="39"/>
                    <a:pt x="450" y="0"/>
                    <a:pt x="351"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559" name="Google Shape;10559;p112"/>
            <p:cNvSpPr/>
            <p:nvPr/>
          </p:nvSpPr>
          <p:spPr>
            <a:xfrm>
              <a:off x="-53185625" y="2854725"/>
              <a:ext cx="18125" cy="18150"/>
            </a:xfrm>
            <a:custGeom>
              <a:avLst/>
              <a:gdLst/>
              <a:ahLst/>
              <a:cxnLst/>
              <a:rect l="l" t="t" r="r" b="b"/>
              <a:pathLst>
                <a:path w="725" h="726" extrusionOk="0">
                  <a:moveTo>
                    <a:pt x="378" y="1"/>
                  </a:moveTo>
                  <a:cubicBezTo>
                    <a:pt x="158" y="1"/>
                    <a:pt x="0" y="190"/>
                    <a:pt x="0" y="379"/>
                  </a:cubicBezTo>
                  <a:cubicBezTo>
                    <a:pt x="0" y="568"/>
                    <a:pt x="158" y="725"/>
                    <a:pt x="378" y="725"/>
                  </a:cubicBezTo>
                  <a:cubicBezTo>
                    <a:pt x="567" y="725"/>
                    <a:pt x="725" y="568"/>
                    <a:pt x="725" y="379"/>
                  </a:cubicBezTo>
                  <a:cubicBezTo>
                    <a:pt x="725" y="190"/>
                    <a:pt x="567" y="1"/>
                    <a:pt x="378"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560" name="Google Shape;10560;p112"/>
            <p:cNvSpPr/>
            <p:nvPr/>
          </p:nvSpPr>
          <p:spPr>
            <a:xfrm>
              <a:off x="-53110800" y="2854725"/>
              <a:ext cx="18125" cy="18150"/>
            </a:xfrm>
            <a:custGeom>
              <a:avLst/>
              <a:gdLst/>
              <a:ahLst/>
              <a:cxnLst/>
              <a:rect l="l" t="t" r="r" b="b"/>
              <a:pathLst>
                <a:path w="725" h="726" extrusionOk="0">
                  <a:moveTo>
                    <a:pt x="378" y="1"/>
                  </a:moveTo>
                  <a:cubicBezTo>
                    <a:pt x="158" y="1"/>
                    <a:pt x="0" y="190"/>
                    <a:pt x="0" y="379"/>
                  </a:cubicBezTo>
                  <a:cubicBezTo>
                    <a:pt x="0" y="568"/>
                    <a:pt x="158" y="725"/>
                    <a:pt x="378" y="725"/>
                  </a:cubicBezTo>
                  <a:cubicBezTo>
                    <a:pt x="567" y="725"/>
                    <a:pt x="725" y="568"/>
                    <a:pt x="725" y="379"/>
                  </a:cubicBezTo>
                  <a:cubicBezTo>
                    <a:pt x="725" y="190"/>
                    <a:pt x="567" y="1"/>
                    <a:pt x="378"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561" name="Google Shape;10561;p112"/>
            <p:cNvSpPr/>
            <p:nvPr/>
          </p:nvSpPr>
          <p:spPr>
            <a:xfrm>
              <a:off x="-53278575" y="2687750"/>
              <a:ext cx="278850" cy="317450"/>
            </a:xfrm>
            <a:custGeom>
              <a:avLst/>
              <a:gdLst/>
              <a:ahLst/>
              <a:cxnLst/>
              <a:rect l="l" t="t" r="r" b="b"/>
              <a:pathLst>
                <a:path w="11154" h="12698" extrusionOk="0">
                  <a:moveTo>
                    <a:pt x="5577" y="725"/>
                  </a:moveTo>
                  <a:cubicBezTo>
                    <a:pt x="6112" y="725"/>
                    <a:pt x="6554" y="1103"/>
                    <a:pt x="6680" y="1607"/>
                  </a:cubicBezTo>
                  <a:cubicBezTo>
                    <a:pt x="6333" y="1544"/>
                    <a:pt x="5955" y="1450"/>
                    <a:pt x="5577" y="1450"/>
                  </a:cubicBezTo>
                  <a:cubicBezTo>
                    <a:pt x="5167" y="1450"/>
                    <a:pt x="4821" y="1513"/>
                    <a:pt x="4474" y="1607"/>
                  </a:cubicBezTo>
                  <a:cubicBezTo>
                    <a:pt x="4600" y="1072"/>
                    <a:pt x="5010" y="725"/>
                    <a:pt x="5577" y="725"/>
                  </a:cubicBezTo>
                  <a:close/>
                  <a:moveTo>
                    <a:pt x="5577" y="2206"/>
                  </a:moveTo>
                  <a:cubicBezTo>
                    <a:pt x="7373" y="2206"/>
                    <a:pt x="8853" y="3624"/>
                    <a:pt x="8916" y="5451"/>
                  </a:cubicBezTo>
                  <a:lnTo>
                    <a:pt x="8066" y="4569"/>
                  </a:lnTo>
                  <a:cubicBezTo>
                    <a:pt x="7995" y="4498"/>
                    <a:pt x="7904" y="4457"/>
                    <a:pt x="7811" y="4457"/>
                  </a:cubicBezTo>
                  <a:cubicBezTo>
                    <a:pt x="7737" y="4457"/>
                    <a:pt x="7662" y="4482"/>
                    <a:pt x="7593" y="4537"/>
                  </a:cubicBezTo>
                  <a:cubicBezTo>
                    <a:pt x="6979" y="4947"/>
                    <a:pt x="6270" y="5152"/>
                    <a:pt x="5561" y="5152"/>
                  </a:cubicBezTo>
                  <a:cubicBezTo>
                    <a:pt x="4852" y="5152"/>
                    <a:pt x="4143" y="4947"/>
                    <a:pt x="3529" y="4537"/>
                  </a:cubicBezTo>
                  <a:cubicBezTo>
                    <a:pt x="3460" y="4482"/>
                    <a:pt x="3385" y="4457"/>
                    <a:pt x="3312" y="4457"/>
                  </a:cubicBezTo>
                  <a:cubicBezTo>
                    <a:pt x="3218" y="4457"/>
                    <a:pt x="3127" y="4498"/>
                    <a:pt x="3056" y="4569"/>
                  </a:cubicBezTo>
                  <a:lnTo>
                    <a:pt x="2174" y="5451"/>
                  </a:lnTo>
                  <a:cubicBezTo>
                    <a:pt x="2300" y="3624"/>
                    <a:pt x="3750" y="2206"/>
                    <a:pt x="5577" y="2206"/>
                  </a:cubicBezTo>
                  <a:close/>
                  <a:moveTo>
                    <a:pt x="1481" y="6711"/>
                  </a:moveTo>
                  <a:lnTo>
                    <a:pt x="1481" y="8192"/>
                  </a:lnTo>
                  <a:cubicBezTo>
                    <a:pt x="1040" y="8192"/>
                    <a:pt x="725" y="7845"/>
                    <a:pt x="725" y="7436"/>
                  </a:cubicBezTo>
                  <a:cubicBezTo>
                    <a:pt x="725" y="7058"/>
                    <a:pt x="1072" y="6711"/>
                    <a:pt x="1481" y="6711"/>
                  </a:cubicBezTo>
                  <a:close/>
                  <a:moveTo>
                    <a:pt x="9673" y="6711"/>
                  </a:moveTo>
                  <a:cubicBezTo>
                    <a:pt x="10051" y="6711"/>
                    <a:pt x="10429" y="7026"/>
                    <a:pt x="10429" y="7436"/>
                  </a:cubicBezTo>
                  <a:cubicBezTo>
                    <a:pt x="10429" y="7845"/>
                    <a:pt x="10051" y="8192"/>
                    <a:pt x="9673" y="8192"/>
                  </a:cubicBezTo>
                  <a:lnTo>
                    <a:pt x="9673" y="6711"/>
                  </a:lnTo>
                  <a:close/>
                  <a:moveTo>
                    <a:pt x="1576" y="9452"/>
                  </a:moveTo>
                  <a:cubicBezTo>
                    <a:pt x="1796" y="10460"/>
                    <a:pt x="2395" y="11342"/>
                    <a:pt x="3214" y="11941"/>
                  </a:cubicBezTo>
                  <a:lnTo>
                    <a:pt x="725" y="11941"/>
                  </a:lnTo>
                  <a:cubicBezTo>
                    <a:pt x="788" y="11027"/>
                    <a:pt x="1072" y="10208"/>
                    <a:pt x="1576" y="9452"/>
                  </a:cubicBezTo>
                  <a:close/>
                  <a:moveTo>
                    <a:pt x="7751" y="5294"/>
                  </a:moveTo>
                  <a:lnTo>
                    <a:pt x="8916" y="6459"/>
                  </a:lnTo>
                  <a:lnTo>
                    <a:pt x="8916" y="8539"/>
                  </a:lnTo>
                  <a:cubicBezTo>
                    <a:pt x="8916" y="10397"/>
                    <a:pt x="7436" y="11941"/>
                    <a:pt x="5577" y="11941"/>
                  </a:cubicBezTo>
                  <a:cubicBezTo>
                    <a:pt x="3718" y="11941"/>
                    <a:pt x="2237" y="10397"/>
                    <a:pt x="2237" y="8539"/>
                  </a:cubicBezTo>
                  <a:lnTo>
                    <a:pt x="2237" y="6459"/>
                  </a:lnTo>
                  <a:lnTo>
                    <a:pt x="2174" y="6459"/>
                  </a:lnTo>
                  <a:lnTo>
                    <a:pt x="3372" y="5294"/>
                  </a:lnTo>
                  <a:cubicBezTo>
                    <a:pt x="4033" y="5687"/>
                    <a:pt x="4781" y="5884"/>
                    <a:pt x="5538" y="5884"/>
                  </a:cubicBezTo>
                  <a:cubicBezTo>
                    <a:pt x="6294" y="5884"/>
                    <a:pt x="7058" y="5687"/>
                    <a:pt x="7751" y="5294"/>
                  </a:cubicBezTo>
                  <a:close/>
                  <a:moveTo>
                    <a:pt x="9547" y="9452"/>
                  </a:moveTo>
                  <a:cubicBezTo>
                    <a:pt x="10051" y="10177"/>
                    <a:pt x="10334" y="11027"/>
                    <a:pt x="10366" y="11941"/>
                  </a:cubicBezTo>
                  <a:lnTo>
                    <a:pt x="7908" y="11941"/>
                  </a:lnTo>
                  <a:cubicBezTo>
                    <a:pt x="8727" y="11342"/>
                    <a:pt x="9326" y="10492"/>
                    <a:pt x="9547" y="9452"/>
                  </a:cubicBezTo>
                  <a:close/>
                  <a:moveTo>
                    <a:pt x="5577" y="1"/>
                  </a:moveTo>
                  <a:cubicBezTo>
                    <a:pt x="4506" y="1"/>
                    <a:pt x="3687" y="851"/>
                    <a:pt x="3718" y="1923"/>
                  </a:cubicBezTo>
                  <a:cubicBezTo>
                    <a:pt x="2395" y="2584"/>
                    <a:pt x="1481" y="4002"/>
                    <a:pt x="1481" y="5577"/>
                  </a:cubicBezTo>
                  <a:lnTo>
                    <a:pt x="1481" y="5955"/>
                  </a:lnTo>
                  <a:cubicBezTo>
                    <a:pt x="662" y="5955"/>
                    <a:pt x="1" y="6617"/>
                    <a:pt x="1" y="7436"/>
                  </a:cubicBezTo>
                  <a:cubicBezTo>
                    <a:pt x="1" y="8097"/>
                    <a:pt x="442" y="8696"/>
                    <a:pt x="1103" y="8885"/>
                  </a:cubicBezTo>
                  <a:cubicBezTo>
                    <a:pt x="379" y="9862"/>
                    <a:pt x="1" y="11027"/>
                    <a:pt x="1" y="12225"/>
                  </a:cubicBezTo>
                  <a:lnTo>
                    <a:pt x="1" y="12319"/>
                  </a:lnTo>
                  <a:cubicBezTo>
                    <a:pt x="1" y="12540"/>
                    <a:pt x="127" y="12697"/>
                    <a:pt x="347" y="12697"/>
                  </a:cubicBezTo>
                  <a:lnTo>
                    <a:pt x="10775" y="12697"/>
                  </a:lnTo>
                  <a:cubicBezTo>
                    <a:pt x="10964" y="12697"/>
                    <a:pt x="11122" y="12540"/>
                    <a:pt x="11122" y="12319"/>
                  </a:cubicBezTo>
                  <a:lnTo>
                    <a:pt x="11122" y="12225"/>
                  </a:lnTo>
                  <a:cubicBezTo>
                    <a:pt x="11122" y="11027"/>
                    <a:pt x="10744" y="9862"/>
                    <a:pt x="10019" y="8885"/>
                  </a:cubicBezTo>
                  <a:cubicBezTo>
                    <a:pt x="10681" y="8696"/>
                    <a:pt x="11153" y="8129"/>
                    <a:pt x="11153" y="7436"/>
                  </a:cubicBezTo>
                  <a:cubicBezTo>
                    <a:pt x="11153" y="6617"/>
                    <a:pt x="10492" y="5955"/>
                    <a:pt x="9673" y="5955"/>
                  </a:cubicBezTo>
                  <a:lnTo>
                    <a:pt x="9673" y="5577"/>
                  </a:lnTo>
                  <a:cubicBezTo>
                    <a:pt x="9673" y="3970"/>
                    <a:pt x="8759" y="2584"/>
                    <a:pt x="7436" y="1923"/>
                  </a:cubicBezTo>
                  <a:cubicBezTo>
                    <a:pt x="7467" y="851"/>
                    <a:pt x="6585" y="1"/>
                    <a:pt x="5577"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10562" name="Google Shape;10562;p112"/>
          <p:cNvGrpSpPr/>
          <p:nvPr/>
        </p:nvGrpSpPr>
        <p:grpSpPr>
          <a:xfrm>
            <a:off x="10648440" y="5109012"/>
            <a:ext cx="482664" cy="483080"/>
            <a:chOff x="-52101875" y="2687475"/>
            <a:chExt cx="319025" cy="319300"/>
          </a:xfrm>
        </p:grpSpPr>
        <p:sp>
          <p:nvSpPr>
            <p:cNvPr id="10563" name="Google Shape;10563;p112"/>
            <p:cNvSpPr/>
            <p:nvPr/>
          </p:nvSpPr>
          <p:spPr>
            <a:xfrm>
              <a:off x="-51978200" y="2920300"/>
              <a:ext cx="72475" cy="29750"/>
            </a:xfrm>
            <a:custGeom>
              <a:avLst/>
              <a:gdLst/>
              <a:ahLst/>
              <a:cxnLst/>
              <a:rect l="l" t="t" r="r" b="b"/>
              <a:pathLst>
                <a:path w="2899" h="1190" extrusionOk="0">
                  <a:moveTo>
                    <a:pt x="386" y="1"/>
                  </a:moveTo>
                  <a:cubicBezTo>
                    <a:pt x="292" y="1"/>
                    <a:pt x="205" y="40"/>
                    <a:pt x="158" y="119"/>
                  </a:cubicBezTo>
                  <a:cubicBezTo>
                    <a:pt x="0" y="276"/>
                    <a:pt x="0" y="497"/>
                    <a:pt x="158" y="623"/>
                  </a:cubicBezTo>
                  <a:cubicBezTo>
                    <a:pt x="504" y="969"/>
                    <a:pt x="977" y="1190"/>
                    <a:pt x="1449" y="1190"/>
                  </a:cubicBezTo>
                  <a:cubicBezTo>
                    <a:pt x="1922" y="1190"/>
                    <a:pt x="2426" y="969"/>
                    <a:pt x="2741" y="623"/>
                  </a:cubicBezTo>
                  <a:cubicBezTo>
                    <a:pt x="2899" y="465"/>
                    <a:pt x="2899" y="245"/>
                    <a:pt x="2741" y="119"/>
                  </a:cubicBezTo>
                  <a:cubicBezTo>
                    <a:pt x="2678" y="40"/>
                    <a:pt x="2591" y="1"/>
                    <a:pt x="2501" y="1"/>
                  </a:cubicBezTo>
                  <a:cubicBezTo>
                    <a:pt x="2410" y="1"/>
                    <a:pt x="2316" y="40"/>
                    <a:pt x="2237" y="119"/>
                  </a:cubicBezTo>
                  <a:cubicBezTo>
                    <a:pt x="2048" y="308"/>
                    <a:pt x="1733" y="434"/>
                    <a:pt x="1449" y="434"/>
                  </a:cubicBezTo>
                  <a:cubicBezTo>
                    <a:pt x="1134" y="434"/>
                    <a:pt x="851" y="308"/>
                    <a:pt x="662" y="119"/>
                  </a:cubicBezTo>
                  <a:cubicBezTo>
                    <a:pt x="583" y="40"/>
                    <a:pt x="481" y="1"/>
                    <a:pt x="386"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564" name="Google Shape;10564;p112"/>
            <p:cNvSpPr/>
            <p:nvPr/>
          </p:nvSpPr>
          <p:spPr>
            <a:xfrm>
              <a:off x="-51988450" y="2857100"/>
              <a:ext cx="18150" cy="17350"/>
            </a:xfrm>
            <a:custGeom>
              <a:avLst/>
              <a:gdLst/>
              <a:ahLst/>
              <a:cxnLst/>
              <a:rect l="l" t="t" r="r" b="b"/>
              <a:pathLst>
                <a:path w="726" h="694" extrusionOk="0">
                  <a:moveTo>
                    <a:pt x="379" y="0"/>
                  </a:moveTo>
                  <a:cubicBezTo>
                    <a:pt x="158" y="0"/>
                    <a:pt x="1" y="158"/>
                    <a:pt x="1" y="347"/>
                  </a:cubicBezTo>
                  <a:cubicBezTo>
                    <a:pt x="1" y="536"/>
                    <a:pt x="158" y="693"/>
                    <a:pt x="379" y="693"/>
                  </a:cubicBezTo>
                  <a:cubicBezTo>
                    <a:pt x="568" y="693"/>
                    <a:pt x="725" y="536"/>
                    <a:pt x="725" y="347"/>
                  </a:cubicBezTo>
                  <a:cubicBezTo>
                    <a:pt x="725" y="158"/>
                    <a:pt x="568" y="0"/>
                    <a:pt x="379"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565" name="Google Shape;10565;p112"/>
            <p:cNvSpPr/>
            <p:nvPr/>
          </p:nvSpPr>
          <p:spPr>
            <a:xfrm>
              <a:off x="-51913625" y="2857100"/>
              <a:ext cx="18150" cy="17350"/>
            </a:xfrm>
            <a:custGeom>
              <a:avLst/>
              <a:gdLst/>
              <a:ahLst/>
              <a:cxnLst/>
              <a:rect l="l" t="t" r="r" b="b"/>
              <a:pathLst>
                <a:path w="726" h="694" extrusionOk="0">
                  <a:moveTo>
                    <a:pt x="347" y="0"/>
                  </a:moveTo>
                  <a:cubicBezTo>
                    <a:pt x="158" y="0"/>
                    <a:pt x="1" y="158"/>
                    <a:pt x="1" y="347"/>
                  </a:cubicBezTo>
                  <a:cubicBezTo>
                    <a:pt x="1" y="536"/>
                    <a:pt x="158" y="693"/>
                    <a:pt x="347" y="693"/>
                  </a:cubicBezTo>
                  <a:cubicBezTo>
                    <a:pt x="568" y="693"/>
                    <a:pt x="725" y="536"/>
                    <a:pt x="725" y="347"/>
                  </a:cubicBezTo>
                  <a:cubicBezTo>
                    <a:pt x="725" y="158"/>
                    <a:pt x="568" y="0"/>
                    <a:pt x="347"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566" name="Google Shape;10566;p112"/>
            <p:cNvSpPr/>
            <p:nvPr/>
          </p:nvSpPr>
          <p:spPr>
            <a:xfrm>
              <a:off x="-52101875" y="2687475"/>
              <a:ext cx="319025" cy="319300"/>
            </a:xfrm>
            <a:custGeom>
              <a:avLst/>
              <a:gdLst/>
              <a:ahLst/>
              <a:cxnLst/>
              <a:rect l="l" t="t" r="r" b="b"/>
              <a:pathLst>
                <a:path w="12761" h="12772" extrusionOk="0">
                  <a:moveTo>
                    <a:pt x="788" y="1398"/>
                  </a:moveTo>
                  <a:cubicBezTo>
                    <a:pt x="1324" y="1902"/>
                    <a:pt x="1954" y="2312"/>
                    <a:pt x="2616" y="2564"/>
                  </a:cubicBezTo>
                  <a:cubicBezTo>
                    <a:pt x="2458" y="2942"/>
                    <a:pt x="2364" y="3288"/>
                    <a:pt x="2332" y="3666"/>
                  </a:cubicBezTo>
                  <a:cubicBezTo>
                    <a:pt x="1419" y="3572"/>
                    <a:pt x="788" y="2784"/>
                    <a:pt x="788" y="1871"/>
                  </a:cubicBezTo>
                  <a:lnTo>
                    <a:pt x="788" y="1398"/>
                  </a:lnTo>
                  <a:close/>
                  <a:moveTo>
                    <a:pt x="5294" y="957"/>
                  </a:moveTo>
                  <a:lnTo>
                    <a:pt x="5294" y="3761"/>
                  </a:lnTo>
                  <a:lnTo>
                    <a:pt x="3088" y="3761"/>
                  </a:lnTo>
                  <a:cubicBezTo>
                    <a:pt x="3214" y="2469"/>
                    <a:pt x="4097" y="1366"/>
                    <a:pt x="5294" y="957"/>
                  </a:cubicBezTo>
                  <a:close/>
                  <a:moveTo>
                    <a:pt x="7531" y="957"/>
                  </a:moveTo>
                  <a:cubicBezTo>
                    <a:pt x="8728" y="1366"/>
                    <a:pt x="9578" y="2469"/>
                    <a:pt x="9736" y="3761"/>
                  </a:cubicBezTo>
                  <a:lnTo>
                    <a:pt x="7531" y="3761"/>
                  </a:lnTo>
                  <a:lnTo>
                    <a:pt x="7531" y="957"/>
                  </a:lnTo>
                  <a:close/>
                  <a:moveTo>
                    <a:pt x="12036" y="1429"/>
                  </a:moveTo>
                  <a:lnTo>
                    <a:pt x="12036" y="1902"/>
                  </a:lnTo>
                  <a:cubicBezTo>
                    <a:pt x="12036" y="2816"/>
                    <a:pt x="11343" y="3572"/>
                    <a:pt x="10492" y="3761"/>
                  </a:cubicBezTo>
                  <a:cubicBezTo>
                    <a:pt x="10461" y="3351"/>
                    <a:pt x="10366" y="3005"/>
                    <a:pt x="10208" y="2658"/>
                  </a:cubicBezTo>
                  <a:cubicBezTo>
                    <a:pt x="10870" y="2343"/>
                    <a:pt x="11500" y="1902"/>
                    <a:pt x="12036" y="1429"/>
                  </a:cubicBezTo>
                  <a:close/>
                  <a:moveTo>
                    <a:pt x="6302" y="736"/>
                  </a:moveTo>
                  <a:cubicBezTo>
                    <a:pt x="6428" y="736"/>
                    <a:pt x="6680" y="768"/>
                    <a:pt x="6774" y="768"/>
                  </a:cubicBezTo>
                  <a:lnTo>
                    <a:pt x="6774" y="4107"/>
                  </a:lnTo>
                  <a:cubicBezTo>
                    <a:pt x="6774" y="4296"/>
                    <a:pt x="6932" y="4454"/>
                    <a:pt x="7152" y="4454"/>
                  </a:cubicBezTo>
                  <a:lnTo>
                    <a:pt x="9736" y="4454"/>
                  </a:lnTo>
                  <a:lnTo>
                    <a:pt x="9736" y="5242"/>
                  </a:lnTo>
                  <a:lnTo>
                    <a:pt x="2994" y="5242"/>
                  </a:lnTo>
                  <a:lnTo>
                    <a:pt x="2994" y="4454"/>
                  </a:lnTo>
                  <a:lnTo>
                    <a:pt x="5609" y="4454"/>
                  </a:lnTo>
                  <a:cubicBezTo>
                    <a:pt x="5798" y="4454"/>
                    <a:pt x="5955" y="4296"/>
                    <a:pt x="5955" y="4107"/>
                  </a:cubicBezTo>
                  <a:lnTo>
                    <a:pt x="5955" y="768"/>
                  </a:lnTo>
                  <a:cubicBezTo>
                    <a:pt x="6081" y="768"/>
                    <a:pt x="6207" y="736"/>
                    <a:pt x="6302" y="736"/>
                  </a:cubicBezTo>
                  <a:close/>
                  <a:moveTo>
                    <a:pt x="2301" y="6785"/>
                  </a:moveTo>
                  <a:lnTo>
                    <a:pt x="2301" y="8297"/>
                  </a:lnTo>
                  <a:cubicBezTo>
                    <a:pt x="1891" y="8297"/>
                    <a:pt x="1545" y="7919"/>
                    <a:pt x="1545" y="7541"/>
                  </a:cubicBezTo>
                  <a:cubicBezTo>
                    <a:pt x="1545" y="7132"/>
                    <a:pt x="1891" y="6785"/>
                    <a:pt x="2301" y="6785"/>
                  </a:cubicBezTo>
                  <a:close/>
                  <a:moveTo>
                    <a:pt x="9767" y="6029"/>
                  </a:moveTo>
                  <a:lnTo>
                    <a:pt x="9767" y="8297"/>
                  </a:lnTo>
                  <a:lnTo>
                    <a:pt x="8759" y="8297"/>
                  </a:lnTo>
                  <a:cubicBezTo>
                    <a:pt x="8035" y="7841"/>
                    <a:pt x="7215" y="7612"/>
                    <a:pt x="6400" y="7612"/>
                  </a:cubicBezTo>
                  <a:cubicBezTo>
                    <a:pt x="5585" y="7612"/>
                    <a:pt x="4774" y="7841"/>
                    <a:pt x="4065" y="8297"/>
                  </a:cubicBezTo>
                  <a:lnTo>
                    <a:pt x="3057" y="8297"/>
                  </a:lnTo>
                  <a:lnTo>
                    <a:pt x="3057" y="6029"/>
                  </a:lnTo>
                  <a:close/>
                  <a:moveTo>
                    <a:pt x="10524" y="6785"/>
                  </a:moveTo>
                  <a:cubicBezTo>
                    <a:pt x="10933" y="6785"/>
                    <a:pt x="11280" y="7100"/>
                    <a:pt x="11280" y="7541"/>
                  </a:cubicBezTo>
                  <a:cubicBezTo>
                    <a:pt x="11280" y="7919"/>
                    <a:pt x="10933" y="8297"/>
                    <a:pt x="10524" y="8297"/>
                  </a:cubicBezTo>
                  <a:lnTo>
                    <a:pt x="10524" y="6785"/>
                  </a:lnTo>
                  <a:close/>
                  <a:moveTo>
                    <a:pt x="6381" y="8290"/>
                  </a:moveTo>
                  <a:cubicBezTo>
                    <a:pt x="7089" y="8290"/>
                    <a:pt x="7798" y="8502"/>
                    <a:pt x="8413" y="8928"/>
                  </a:cubicBezTo>
                  <a:cubicBezTo>
                    <a:pt x="8476" y="8959"/>
                    <a:pt x="8507" y="8991"/>
                    <a:pt x="8602" y="8991"/>
                  </a:cubicBezTo>
                  <a:lnTo>
                    <a:pt x="9704" y="8991"/>
                  </a:lnTo>
                  <a:cubicBezTo>
                    <a:pt x="9547" y="10692"/>
                    <a:pt x="8129" y="11984"/>
                    <a:pt x="6396" y="11984"/>
                  </a:cubicBezTo>
                  <a:cubicBezTo>
                    <a:pt x="4664" y="11984"/>
                    <a:pt x="3246" y="10692"/>
                    <a:pt x="3057" y="8991"/>
                  </a:cubicBezTo>
                  <a:lnTo>
                    <a:pt x="4160" y="8991"/>
                  </a:lnTo>
                  <a:cubicBezTo>
                    <a:pt x="4223" y="8991"/>
                    <a:pt x="4317" y="8959"/>
                    <a:pt x="4349" y="8928"/>
                  </a:cubicBezTo>
                  <a:cubicBezTo>
                    <a:pt x="4963" y="8502"/>
                    <a:pt x="5672" y="8290"/>
                    <a:pt x="6381" y="8290"/>
                  </a:cubicBezTo>
                  <a:close/>
                  <a:moveTo>
                    <a:pt x="12402" y="1"/>
                  </a:moveTo>
                  <a:cubicBezTo>
                    <a:pt x="12282" y="1"/>
                    <a:pt x="12165" y="47"/>
                    <a:pt x="12067" y="169"/>
                  </a:cubicBezTo>
                  <a:cubicBezTo>
                    <a:pt x="11563" y="957"/>
                    <a:pt x="10776" y="1587"/>
                    <a:pt x="9862" y="1934"/>
                  </a:cubicBezTo>
                  <a:cubicBezTo>
                    <a:pt x="9106" y="768"/>
                    <a:pt x="7814" y="12"/>
                    <a:pt x="6396" y="12"/>
                  </a:cubicBezTo>
                  <a:cubicBezTo>
                    <a:pt x="4979" y="12"/>
                    <a:pt x="3687" y="768"/>
                    <a:pt x="2931" y="1934"/>
                  </a:cubicBezTo>
                  <a:cubicBezTo>
                    <a:pt x="2017" y="1587"/>
                    <a:pt x="1230" y="957"/>
                    <a:pt x="725" y="169"/>
                  </a:cubicBezTo>
                  <a:cubicBezTo>
                    <a:pt x="647" y="65"/>
                    <a:pt x="504" y="4"/>
                    <a:pt x="368" y="4"/>
                  </a:cubicBezTo>
                  <a:cubicBezTo>
                    <a:pt x="339" y="4"/>
                    <a:pt x="311" y="6"/>
                    <a:pt x="284" y="12"/>
                  </a:cubicBezTo>
                  <a:cubicBezTo>
                    <a:pt x="127" y="43"/>
                    <a:pt x="1" y="201"/>
                    <a:pt x="1" y="358"/>
                  </a:cubicBezTo>
                  <a:lnTo>
                    <a:pt x="1" y="1871"/>
                  </a:lnTo>
                  <a:cubicBezTo>
                    <a:pt x="1" y="3162"/>
                    <a:pt x="1009" y="4265"/>
                    <a:pt x="2269" y="4454"/>
                  </a:cubicBezTo>
                  <a:lnTo>
                    <a:pt x="2269" y="6029"/>
                  </a:lnTo>
                  <a:cubicBezTo>
                    <a:pt x="1419" y="6029"/>
                    <a:pt x="757" y="6722"/>
                    <a:pt x="757" y="7541"/>
                  </a:cubicBezTo>
                  <a:cubicBezTo>
                    <a:pt x="757" y="8360"/>
                    <a:pt x="1419" y="9022"/>
                    <a:pt x="2269" y="9022"/>
                  </a:cubicBezTo>
                  <a:cubicBezTo>
                    <a:pt x="2458" y="11133"/>
                    <a:pt x="4223" y="12771"/>
                    <a:pt x="6365" y="12771"/>
                  </a:cubicBezTo>
                  <a:cubicBezTo>
                    <a:pt x="8476" y="12771"/>
                    <a:pt x="10240" y="11133"/>
                    <a:pt x="10461" y="9022"/>
                  </a:cubicBezTo>
                  <a:cubicBezTo>
                    <a:pt x="11280" y="9022"/>
                    <a:pt x="11941" y="8360"/>
                    <a:pt x="11941" y="7541"/>
                  </a:cubicBezTo>
                  <a:cubicBezTo>
                    <a:pt x="11941" y="6722"/>
                    <a:pt x="11280" y="6029"/>
                    <a:pt x="10461" y="6029"/>
                  </a:cubicBezTo>
                  <a:cubicBezTo>
                    <a:pt x="10524" y="5840"/>
                    <a:pt x="10524" y="4611"/>
                    <a:pt x="10524" y="4454"/>
                  </a:cubicBezTo>
                  <a:cubicBezTo>
                    <a:pt x="11784" y="4265"/>
                    <a:pt x="12760" y="3194"/>
                    <a:pt x="12760" y="1871"/>
                  </a:cubicBezTo>
                  <a:lnTo>
                    <a:pt x="12760" y="358"/>
                  </a:lnTo>
                  <a:cubicBezTo>
                    <a:pt x="12760" y="201"/>
                    <a:pt x="12666" y="43"/>
                    <a:pt x="12508" y="12"/>
                  </a:cubicBezTo>
                  <a:cubicBezTo>
                    <a:pt x="12473" y="5"/>
                    <a:pt x="12438" y="1"/>
                    <a:pt x="12402"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10567" name="Google Shape;10567;p112"/>
          <p:cNvGrpSpPr/>
          <p:nvPr/>
        </p:nvGrpSpPr>
        <p:grpSpPr>
          <a:xfrm>
            <a:off x="8268106" y="2044243"/>
            <a:ext cx="423053" cy="481453"/>
            <a:chOff x="-56774050" y="1904075"/>
            <a:chExt cx="279625" cy="318225"/>
          </a:xfrm>
        </p:grpSpPr>
        <p:sp>
          <p:nvSpPr>
            <p:cNvPr id="10568" name="Google Shape;10568;p112"/>
            <p:cNvSpPr/>
            <p:nvPr/>
          </p:nvSpPr>
          <p:spPr>
            <a:xfrm>
              <a:off x="-56671650" y="2135825"/>
              <a:ext cx="72475" cy="28975"/>
            </a:xfrm>
            <a:custGeom>
              <a:avLst/>
              <a:gdLst/>
              <a:ahLst/>
              <a:cxnLst/>
              <a:rect l="l" t="t" r="r" b="b"/>
              <a:pathLst>
                <a:path w="2899" h="1159" extrusionOk="0">
                  <a:moveTo>
                    <a:pt x="398" y="1"/>
                  </a:moveTo>
                  <a:cubicBezTo>
                    <a:pt x="307" y="1"/>
                    <a:pt x="221" y="40"/>
                    <a:pt x="158" y="119"/>
                  </a:cubicBezTo>
                  <a:cubicBezTo>
                    <a:pt x="0" y="276"/>
                    <a:pt x="0" y="497"/>
                    <a:pt x="158" y="623"/>
                  </a:cubicBezTo>
                  <a:cubicBezTo>
                    <a:pt x="504" y="970"/>
                    <a:pt x="977" y="1159"/>
                    <a:pt x="1449" y="1159"/>
                  </a:cubicBezTo>
                  <a:cubicBezTo>
                    <a:pt x="1922" y="1159"/>
                    <a:pt x="2426" y="970"/>
                    <a:pt x="2741" y="623"/>
                  </a:cubicBezTo>
                  <a:cubicBezTo>
                    <a:pt x="2899" y="465"/>
                    <a:pt x="2899" y="213"/>
                    <a:pt x="2741" y="119"/>
                  </a:cubicBezTo>
                  <a:cubicBezTo>
                    <a:pt x="2662" y="40"/>
                    <a:pt x="2568" y="1"/>
                    <a:pt x="2477" y="1"/>
                  </a:cubicBezTo>
                  <a:cubicBezTo>
                    <a:pt x="2387" y="1"/>
                    <a:pt x="2300" y="40"/>
                    <a:pt x="2237" y="119"/>
                  </a:cubicBezTo>
                  <a:cubicBezTo>
                    <a:pt x="2048" y="308"/>
                    <a:pt x="1733" y="434"/>
                    <a:pt x="1449" y="434"/>
                  </a:cubicBezTo>
                  <a:cubicBezTo>
                    <a:pt x="1134" y="434"/>
                    <a:pt x="851" y="308"/>
                    <a:pt x="662" y="119"/>
                  </a:cubicBezTo>
                  <a:cubicBezTo>
                    <a:pt x="583" y="40"/>
                    <a:pt x="488" y="1"/>
                    <a:pt x="398"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569" name="Google Shape;10569;p112"/>
            <p:cNvSpPr/>
            <p:nvPr/>
          </p:nvSpPr>
          <p:spPr>
            <a:xfrm>
              <a:off x="-56774050" y="1904075"/>
              <a:ext cx="279625" cy="318225"/>
            </a:xfrm>
            <a:custGeom>
              <a:avLst/>
              <a:gdLst/>
              <a:ahLst/>
              <a:cxnLst/>
              <a:rect l="l" t="t" r="r" b="b"/>
              <a:pathLst>
                <a:path w="11185" h="12729" extrusionOk="0">
                  <a:moveTo>
                    <a:pt x="5545" y="757"/>
                  </a:moveTo>
                  <a:cubicBezTo>
                    <a:pt x="7278" y="757"/>
                    <a:pt x="8696" y="2048"/>
                    <a:pt x="8885" y="3750"/>
                  </a:cubicBezTo>
                  <a:lnTo>
                    <a:pt x="4789" y="3750"/>
                  </a:lnTo>
                  <a:cubicBezTo>
                    <a:pt x="3056" y="3750"/>
                    <a:pt x="1639" y="2395"/>
                    <a:pt x="1450" y="757"/>
                  </a:cubicBezTo>
                  <a:close/>
                  <a:moveTo>
                    <a:pt x="2710" y="3844"/>
                  </a:moveTo>
                  <a:cubicBezTo>
                    <a:pt x="3277" y="4254"/>
                    <a:pt x="4002" y="4506"/>
                    <a:pt x="4789" y="4506"/>
                  </a:cubicBezTo>
                  <a:lnTo>
                    <a:pt x="8885" y="4506"/>
                  </a:lnTo>
                  <a:lnTo>
                    <a:pt x="8885" y="5608"/>
                  </a:lnTo>
                  <a:cubicBezTo>
                    <a:pt x="8570" y="5356"/>
                    <a:pt x="8192" y="5230"/>
                    <a:pt x="7782" y="5230"/>
                  </a:cubicBezTo>
                  <a:cubicBezTo>
                    <a:pt x="6900" y="5230"/>
                    <a:pt x="6144" y="5860"/>
                    <a:pt x="5986" y="6742"/>
                  </a:cubicBezTo>
                  <a:lnTo>
                    <a:pt x="5167" y="6742"/>
                  </a:lnTo>
                  <a:cubicBezTo>
                    <a:pt x="5010" y="5860"/>
                    <a:pt x="4222" y="5230"/>
                    <a:pt x="3340" y="5230"/>
                  </a:cubicBezTo>
                  <a:cubicBezTo>
                    <a:pt x="2899" y="5230"/>
                    <a:pt x="2552" y="5388"/>
                    <a:pt x="2237" y="5608"/>
                  </a:cubicBezTo>
                  <a:cubicBezTo>
                    <a:pt x="2237" y="4978"/>
                    <a:pt x="2395" y="4380"/>
                    <a:pt x="2710" y="3844"/>
                  </a:cubicBezTo>
                  <a:close/>
                  <a:moveTo>
                    <a:pt x="1450" y="5986"/>
                  </a:moveTo>
                  <a:lnTo>
                    <a:pt x="1450" y="7467"/>
                  </a:lnTo>
                  <a:cubicBezTo>
                    <a:pt x="1432" y="7468"/>
                    <a:pt x="1415" y="7469"/>
                    <a:pt x="1398" y="7469"/>
                  </a:cubicBezTo>
                  <a:cubicBezTo>
                    <a:pt x="984" y="7469"/>
                    <a:pt x="694" y="7106"/>
                    <a:pt x="694" y="6742"/>
                  </a:cubicBezTo>
                  <a:cubicBezTo>
                    <a:pt x="694" y="6333"/>
                    <a:pt x="1009" y="5986"/>
                    <a:pt x="1450" y="5986"/>
                  </a:cubicBezTo>
                  <a:close/>
                  <a:moveTo>
                    <a:pt x="9641" y="5986"/>
                  </a:moveTo>
                  <a:cubicBezTo>
                    <a:pt x="10051" y="5986"/>
                    <a:pt x="10397" y="6301"/>
                    <a:pt x="10397" y="6742"/>
                  </a:cubicBezTo>
                  <a:cubicBezTo>
                    <a:pt x="10397" y="7184"/>
                    <a:pt x="10051" y="7499"/>
                    <a:pt x="9641" y="7499"/>
                  </a:cubicBezTo>
                  <a:lnTo>
                    <a:pt x="9641" y="5986"/>
                  </a:lnTo>
                  <a:close/>
                  <a:moveTo>
                    <a:pt x="3309" y="5986"/>
                  </a:moveTo>
                  <a:cubicBezTo>
                    <a:pt x="3939" y="5986"/>
                    <a:pt x="4411" y="6490"/>
                    <a:pt x="4411" y="7089"/>
                  </a:cubicBezTo>
                  <a:cubicBezTo>
                    <a:pt x="4411" y="7719"/>
                    <a:pt x="3907" y="8192"/>
                    <a:pt x="3309" y="8192"/>
                  </a:cubicBezTo>
                  <a:cubicBezTo>
                    <a:pt x="2678" y="8192"/>
                    <a:pt x="2206" y="7688"/>
                    <a:pt x="2206" y="7089"/>
                  </a:cubicBezTo>
                  <a:cubicBezTo>
                    <a:pt x="2206" y="6459"/>
                    <a:pt x="2710" y="5986"/>
                    <a:pt x="3309" y="5986"/>
                  </a:cubicBezTo>
                  <a:close/>
                  <a:moveTo>
                    <a:pt x="7782" y="6018"/>
                  </a:moveTo>
                  <a:cubicBezTo>
                    <a:pt x="8412" y="6018"/>
                    <a:pt x="8885" y="6553"/>
                    <a:pt x="8885" y="7121"/>
                  </a:cubicBezTo>
                  <a:cubicBezTo>
                    <a:pt x="8885" y="7719"/>
                    <a:pt x="8381" y="8223"/>
                    <a:pt x="7782" y="8223"/>
                  </a:cubicBezTo>
                  <a:cubicBezTo>
                    <a:pt x="7152" y="8223"/>
                    <a:pt x="6680" y="7719"/>
                    <a:pt x="6680" y="7121"/>
                  </a:cubicBezTo>
                  <a:cubicBezTo>
                    <a:pt x="6680" y="6490"/>
                    <a:pt x="7215" y="6018"/>
                    <a:pt x="7782" y="6018"/>
                  </a:cubicBezTo>
                  <a:close/>
                  <a:moveTo>
                    <a:pt x="5955" y="7436"/>
                  </a:moveTo>
                  <a:cubicBezTo>
                    <a:pt x="6112" y="8318"/>
                    <a:pt x="6900" y="8948"/>
                    <a:pt x="7751" y="8948"/>
                  </a:cubicBezTo>
                  <a:cubicBezTo>
                    <a:pt x="8192" y="8948"/>
                    <a:pt x="8538" y="8790"/>
                    <a:pt x="8853" y="8601"/>
                  </a:cubicBezTo>
                  <a:lnTo>
                    <a:pt x="8853" y="8601"/>
                  </a:lnTo>
                  <a:cubicBezTo>
                    <a:pt x="8885" y="10334"/>
                    <a:pt x="7593" y="11783"/>
                    <a:pt x="5892" y="11941"/>
                  </a:cubicBezTo>
                  <a:lnTo>
                    <a:pt x="5892" y="11594"/>
                  </a:lnTo>
                  <a:cubicBezTo>
                    <a:pt x="5892" y="11374"/>
                    <a:pt x="5734" y="11216"/>
                    <a:pt x="5545" y="11216"/>
                  </a:cubicBezTo>
                  <a:cubicBezTo>
                    <a:pt x="5356" y="11216"/>
                    <a:pt x="5199" y="11374"/>
                    <a:pt x="5199" y="11594"/>
                  </a:cubicBezTo>
                  <a:lnTo>
                    <a:pt x="5199" y="11941"/>
                  </a:lnTo>
                  <a:cubicBezTo>
                    <a:pt x="3498" y="11752"/>
                    <a:pt x="2206" y="10334"/>
                    <a:pt x="2206" y="8601"/>
                  </a:cubicBezTo>
                  <a:lnTo>
                    <a:pt x="2206" y="8601"/>
                  </a:lnTo>
                  <a:cubicBezTo>
                    <a:pt x="2521" y="8822"/>
                    <a:pt x="2899" y="8948"/>
                    <a:pt x="3309" y="8948"/>
                  </a:cubicBezTo>
                  <a:cubicBezTo>
                    <a:pt x="4222" y="8948"/>
                    <a:pt x="4947" y="8318"/>
                    <a:pt x="5136" y="7436"/>
                  </a:cubicBezTo>
                  <a:close/>
                  <a:moveTo>
                    <a:pt x="1072" y="0"/>
                  </a:moveTo>
                  <a:cubicBezTo>
                    <a:pt x="851" y="0"/>
                    <a:pt x="725" y="158"/>
                    <a:pt x="725" y="347"/>
                  </a:cubicBezTo>
                  <a:cubicBezTo>
                    <a:pt x="725" y="1576"/>
                    <a:pt x="1229" y="2678"/>
                    <a:pt x="2080" y="3434"/>
                  </a:cubicBezTo>
                  <a:cubicBezTo>
                    <a:pt x="1733" y="3970"/>
                    <a:pt x="1544" y="4569"/>
                    <a:pt x="1513" y="5230"/>
                  </a:cubicBezTo>
                  <a:cubicBezTo>
                    <a:pt x="662" y="5230"/>
                    <a:pt x="0" y="5923"/>
                    <a:pt x="0" y="6742"/>
                  </a:cubicBezTo>
                  <a:cubicBezTo>
                    <a:pt x="0" y="7562"/>
                    <a:pt x="662" y="8223"/>
                    <a:pt x="1513" y="8223"/>
                  </a:cubicBezTo>
                  <a:lnTo>
                    <a:pt x="1513" y="8601"/>
                  </a:lnTo>
                  <a:cubicBezTo>
                    <a:pt x="1513" y="10870"/>
                    <a:pt x="3340" y="12728"/>
                    <a:pt x="5577" y="12728"/>
                  </a:cubicBezTo>
                  <a:cubicBezTo>
                    <a:pt x="7845" y="12728"/>
                    <a:pt x="9673" y="10870"/>
                    <a:pt x="9673" y="8601"/>
                  </a:cubicBezTo>
                  <a:lnTo>
                    <a:pt x="9673" y="8223"/>
                  </a:lnTo>
                  <a:cubicBezTo>
                    <a:pt x="10523" y="8223"/>
                    <a:pt x="11185" y="7562"/>
                    <a:pt x="11185" y="6742"/>
                  </a:cubicBezTo>
                  <a:cubicBezTo>
                    <a:pt x="11153" y="5923"/>
                    <a:pt x="10460" y="5230"/>
                    <a:pt x="9641" y="5230"/>
                  </a:cubicBezTo>
                  <a:lnTo>
                    <a:pt x="9641" y="4128"/>
                  </a:lnTo>
                  <a:cubicBezTo>
                    <a:pt x="9641" y="1859"/>
                    <a:pt x="7782" y="0"/>
                    <a:pt x="5545"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10570" name="Google Shape;10570;p112"/>
          <p:cNvGrpSpPr/>
          <p:nvPr/>
        </p:nvGrpSpPr>
        <p:grpSpPr>
          <a:xfrm>
            <a:off x="8268106" y="2675258"/>
            <a:ext cx="423053" cy="481453"/>
            <a:chOff x="-56774850" y="2294725"/>
            <a:chExt cx="279625" cy="318225"/>
          </a:xfrm>
        </p:grpSpPr>
        <p:sp>
          <p:nvSpPr>
            <p:cNvPr id="10571" name="Google Shape;10571;p112"/>
            <p:cNvSpPr/>
            <p:nvPr/>
          </p:nvSpPr>
          <p:spPr>
            <a:xfrm>
              <a:off x="-56681100" y="2464075"/>
              <a:ext cx="17325" cy="18125"/>
            </a:xfrm>
            <a:custGeom>
              <a:avLst/>
              <a:gdLst/>
              <a:ahLst/>
              <a:cxnLst/>
              <a:rect l="l" t="t" r="r" b="b"/>
              <a:pathLst>
                <a:path w="693" h="725" extrusionOk="0">
                  <a:moveTo>
                    <a:pt x="347" y="0"/>
                  </a:moveTo>
                  <a:cubicBezTo>
                    <a:pt x="158" y="0"/>
                    <a:pt x="0" y="158"/>
                    <a:pt x="0" y="378"/>
                  </a:cubicBezTo>
                  <a:cubicBezTo>
                    <a:pt x="0" y="567"/>
                    <a:pt x="158" y="725"/>
                    <a:pt x="347" y="725"/>
                  </a:cubicBezTo>
                  <a:cubicBezTo>
                    <a:pt x="536" y="725"/>
                    <a:pt x="693" y="567"/>
                    <a:pt x="693" y="378"/>
                  </a:cubicBezTo>
                  <a:cubicBezTo>
                    <a:pt x="693" y="158"/>
                    <a:pt x="536" y="0"/>
                    <a:pt x="347"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572" name="Google Shape;10572;p112"/>
            <p:cNvSpPr/>
            <p:nvPr/>
          </p:nvSpPr>
          <p:spPr>
            <a:xfrm>
              <a:off x="-56606275" y="2464075"/>
              <a:ext cx="17325" cy="18125"/>
            </a:xfrm>
            <a:custGeom>
              <a:avLst/>
              <a:gdLst/>
              <a:ahLst/>
              <a:cxnLst/>
              <a:rect l="l" t="t" r="r" b="b"/>
              <a:pathLst>
                <a:path w="693" h="725" extrusionOk="0">
                  <a:moveTo>
                    <a:pt x="347" y="0"/>
                  </a:moveTo>
                  <a:cubicBezTo>
                    <a:pt x="158" y="0"/>
                    <a:pt x="0" y="158"/>
                    <a:pt x="0" y="378"/>
                  </a:cubicBezTo>
                  <a:cubicBezTo>
                    <a:pt x="0" y="567"/>
                    <a:pt x="158" y="725"/>
                    <a:pt x="347" y="725"/>
                  </a:cubicBezTo>
                  <a:cubicBezTo>
                    <a:pt x="536" y="725"/>
                    <a:pt x="693" y="567"/>
                    <a:pt x="693" y="378"/>
                  </a:cubicBezTo>
                  <a:cubicBezTo>
                    <a:pt x="693" y="158"/>
                    <a:pt x="536" y="0"/>
                    <a:pt x="347"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573" name="Google Shape;10573;p112"/>
            <p:cNvSpPr/>
            <p:nvPr/>
          </p:nvSpPr>
          <p:spPr>
            <a:xfrm>
              <a:off x="-56774850" y="2294725"/>
              <a:ext cx="279625" cy="318225"/>
            </a:xfrm>
            <a:custGeom>
              <a:avLst/>
              <a:gdLst/>
              <a:ahLst/>
              <a:cxnLst/>
              <a:rect l="l" t="t" r="r" b="b"/>
              <a:pathLst>
                <a:path w="11185" h="12729" extrusionOk="0">
                  <a:moveTo>
                    <a:pt x="5577" y="788"/>
                  </a:moveTo>
                  <a:cubicBezTo>
                    <a:pt x="6775" y="788"/>
                    <a:pt x="7783" y="1198"/>
                    <a:pt x="8665" y="1891"/>
                  </a:cubicBezTo>
                  <a:cubicBezTo>
                    <a:pt x="8098" y="2553"/>
                    <a:pt x="6932" y="3057"/>
                    <a:pt x="5577" y="3057"/>
                  </a:cubicBezTo>
                  <a:cubicBezTo>
                    <a:pt x="4254" y="3057"/>
                    <a:pt x="3057" y="2584"/>
                    <a:pt x="2521" y="1891"/>
                  </a:cubicBezTo>
                  <a:cubicBezTo>
                    <a:pt x="3341" y="1198"/>
                    <a:pt x="4412" y="788"/>
                    <a:pt x="5577" y="788"/>
                  </a:cubicBezTo>
                  <a:close/>
                  <a:moveTo>
                    <a:pt x="5577" y="5325"/>
                  </a:moveTo>
                  <a:lnTo>
                    <a:pt x="8917" y="7341"/>
                  </a:lnTo>
                  <a:lnTo>
                    <a:pt x="8917" y="8633"/>
                  </a:lnTo>
                  <a:cubicBezTo>
                    <a:pt x="8917" y="9830"/>
                    <a:pt x="8350" y="10838"/>
                    <a:pt x="7436" y="11437"/>
                  </a:cubicBezTo>
                  <a:lnTo>
                    <a:pt x="7436" y="9673"/>
                  </a:lnTo>
                  <a:cubicBezTo>
                    <a:pt x="7436" y="9547"/>
                    <a:pt x="7342" y="9421"/>
                    <a:pt x="7247" y="9358"/>
                  </a:cubicBezTo>
                  <a:cubicBezTo>
                    <a:pt x="6727" y="9090"/>
                    <a:pt x="6152" y="8956"/>
                    <a:pt x="5581" y="8956"/>
                  </a:cubicBezTo>
                  <a:cubicBezTo>
                    <a:pt x="5010" y="8956"/>
                    <a:pt x="4443" y="9090"/>
                    <a:pt x="3939" y="9358"/>
                  </a:cubicBezTo>
                  <a:cubicBezTo>
                    <a:pt x="3813" y="9421"/>
                    <a:pt x="3719" y="9547"/>
                    <a:pt x="3719" y="9673"/>
                  </a:cubicBezTo>
                  <a:lnTo>
                    <a:pt x="3719" y="11437"/>
                  </a:lnTo>
                  <a:cubicBezTo>
                    <a:pt x="2836" y="10838"/>
                    <a:pt x="2238" y="9767"/>
                    <a:pt x="2238" y="8633"/>
                  </a:cubicBezTo>
                  <a:lnTo>
                    <a:pt x="2238" y="7341"/>
                  </a:lnTo>
                  <a:lnTo>
                    <a:pt x="5577" y="5325"/>
                  </a:lnTo>
                  <a:close/>
                  <a:moveTo>
                    <a:pt x="5562" y="9736"/>
                  </a:moveTo>
                  <a:cubicBezTo>
                    <a:pt x="5948" y="9736"/>
                    <a:pt x="6333" y="9799"/>
                    <a:pt x="6680" y="9925"/>
                  </a:cubicBezTo>
                  <a:lnTo>
                    <a:pt x="6680" y="11815"/>
                  </a:lnTo>
                  <a:cubicBezTo>
                    <a:pt x="6333" y="11941"/>
                    <a:pt x="5987" y="12036"/>
                    <a:pt x="5577" y="12036"/>
                  </a:cubicBezTo>
                  <a:cubicBezTo>
                    <a:pt x="5199" y="12036"/>
                    <a:pt x="4790" y="11941"/>
                    <a:pt x="4443" y="11815"/>
                  </a:cubicBezTo>
                  <a:lnTo>
                    <a:pt x="4443" y="9925"/>
                  </a:lnTo>
                  <a:cubicBezTo>
                    <a:pt x="4790" y="9799"/>
                    <a:pt x="5176" y="9736"/>
                    <a:pt x="5562" y="9736"/>
                  </a:cubicBezTo>
                  <a:close/>
                  <a:moveTo>
                    <a:pt x="9200" y="2427"/>
                  </a:moveTo>
                  <a:cubicBezTo>
                    <a:pt x="9988" y="3277"/>
                    <a:pt x="10429" y="4411"/>
                    <a:pt x="10429" y="5640"/>
                  </a:cubicBezTo>
                  <a:lnTo>
                    <a:pt x="10429" y="12036"/>
                  </a:lnTo>
                  <a:lnTo>
                    <a:pt x="7940" y="12036"/>
                  </a:lnTo>
                  <a:cubicBezTo>
                    <a:pt x="9011" y="11280"/>
                    <a:pt x="9705" y="10051"/>
                    <a:pt x="9705" y="8633"/>
                  </a:cubicBezTo>
                  <a:lnTo>
                    <a:pt x="9705" y="7152"/>
                  </a:lnTo>
                  <a:cubicBezTo>
                    <a:pt x="9705" y="7026"/>
                    <a:pt x="9642" y="6900"/>
                    <a:pt x="9515" y="6837"/>
                  </a:cubicBezTo>
                  <a:lnTo>
                    <a:pt x="5766" y="4569"/>
                  </a:lnTo>
                  <a:cubicBezTo>
                    <a:pt x="5719" y="4538"/>
                    <a:pt x="5656" y="4522"/>
                    <a:pt x="5589" y="4522"/>
                  </a:cubicBezTo>
                  <a:cubicBezTo>
                    <a:pt x="5522" y="4522"/>
                    <a:pt x="5451" y="4538"/>
                    <a:pt x="5388" y="4569"/>
                  </a:cubicBezTo>
                  <a:lnTo>
                    <a:pt x="1639" y="6837"/>
                  </a:lnTo>
                  <a:cubicBezTo>
                    <a:pt x="1513" y="6900"/>
                    <a:pt x="1450" y="7026"/>
                    <a:pt x="1450" y="7152"/>
                  </a:cubicBezTo>
                  <a:lnTo>
                    <a:pt x="1450" y="8633"/>
                  </a:lnTo>
                  <a:cubicBezTo>
                    <a:pt x="1450" y="10019"/>
                    <a:pt x="2143" y="11280"/>
                    <a:pt x="3214" y="12036"/>
                  </a:cubicBezTo>
                  <a:lnTo>
                    <a:pt x="726" y="12036"/>
                  </a:lnTo>
                  <a:lnTo>
                    <a:pt x="726" y="5640"/>
                  </a:lnTo>
                  <a:cubicBezTo>
                    <a:pt x="726" y="4380"/>
                    <a:pt x="1198" y="3246"/>
                    <a:pt x="1954" y="2427"/>
                  </a:cubicBezTo>
                  <a:cubicBezTo>
                    <a:pt x="2679" y="3246"/>
                    <a:pt x="4034" y="3750"/>
                    <a:pt x="5577" y="3750"/>
                  </a:cubicBezTo>
                  <a:cubicBezTo>
                    <a:pt x="7121" y="3750"/>
                    <a:pt x="8507" y="3246"/>
                    <a:pt x="9200" y="2427"/>
                  </a:cubicBezTo>
                  <a:close/>
                  <a:moveTo>
                    <a:pt x="5577" y="1"/>
                  </a:moveTo>
                  <a:cubicBezTo>
                    <a:pt x="2521" y="1"/>
                    <a:pt x="1" y="2521"/>
                    <a:pt x="1" y="5640"/>
                  </a:cubicBezTo>
                  <a:lnTo>
                    <a:pt x="1" y="12382"/>
                  </a:lnTo>
                  <a:cubicBezTo>
                    <a:pt x="1" y="12571"/>
                    <a:pt x="159" y="12729"/>
                    <a:pt x="348" y="12729"/>
                  </a:cubicBezTo>
                  <a:lnTo>
                    <a:pt x="10776" y="12729"/>
                  </a:lnTo>
                  <a:cubicBezTo>
                    <a:pt x="10965" y="12729"/>
                    <a:pt x="11122" y="12571"/>
                    <a:pt x="11122" y="12382"/>
                  </a:cubicBezTo>
                  <a:lnTo>
                    <a:pt x="11122" y="5640"/>
                  </a:lnTo>
                  <a:cubicBezTo>
                    <a:pt x="11185" y="2584"/>
                    <a:pt x="8665" y="1"/>
                    <a:pt x="5577"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10574" name="Google Shape;10574;p112"/>
          <p:cNvGrpSpPr/>
          <p:nvPr/>
        </p:nvGrpSpPr>
        <p:grpSpPr>
          <a:xfrm>
            <a:off x="8296115" y="3278703"/>
            <a:ext cx="367037" cy="480243"/>
            <a:chOff x="-56756725" y="2686975"/>
            <a:chExt cx="242600" cy="317425"/>
          </a:xfrm>
        </p:grpSpPr>
        <p:sp>
          <p:nvSpPr>
            <p:cNvPr id="10575" name="Google Shape;10575;p112"/>
            <p:cNvSpPr/>
            <p:nvPr/>
          </p:nvSpPr>
          <p:spPr>
            <a:xfrm>
              <a:off x="-56681100" y="2854725"/>
              <a:ext cx="17325" cy="18150"/>
            </a:xfrm>
            <a:custGeom>
              <a:avLst/>
              <a:gdLst/>
              <a:ahLst/>
              <a:cxnLst/>
              <a:rect l="l" t="t" r="r" b="b"/>
              <a:pathLst>
                <a:path w="693" h="726" extrusionOk="0">
                  <a:moveTo>
                    <a:pt x="347" y="1"/>
                  </a:moveTo>
                  <a:cubicBezTo>
                    <a:pt x="158" y="1"/>
                    <a:pt x="0" y="190"/>
                    <a:pt x="0" y="379"/>
                  </a:cubicBezTo>
                  <a:cubicBezTo>
                    <a:pt x="0" y="568"/>
                    <a:pt x="158" y="725"/>
                    <a:pt x="347" y="725"/>
                  </a:cubicBezTo>
                  <a:cubicBezTo>
                    <a:pt x="536" y="725"/>
                    <a:pt x="693" y="568"/>
                    <a:pt x="693" y="379"/>
                  </a:cubicBezTo>
                  <a:cubicBezTo>
                    <a:pt x="693" y="190"/>
                    <a:pt x="536" y="1"/>
                    <a:pt x="347"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576" name="Google Shape;10576;p112"/>
            <p:cNvSpPr/>
            <p:nvPr/>
          </p:nvSpPr>
          <p:spPr>
            <a:xfrm>
              <a:off x="-56606275" y="2854725"/>
              <a:ext cx="17325" cy="18150"/>
            </a:xfrm>
            <a:custGeom>
              <a:avLst/>
              <a:gdLst/>
              <a:ahLst/>
              <a:cxnLst/>
              <a:rect l="l" t="t" r="r" b="b"/>
              <a:pathLst>
                <a:path w="693" h="726" extrusionOk="0">
                  <a:moveTo>
                    <a:pt x="347" y="1"/>
                  </a:moveTo>
                  <a:cubicBezTo>
                    <a:pt x="158" y="1"/>
                    <a:pt x="0" y="190"/>
                    <a:pt x="0" y="379"/>
                  </a:cubicBezTo>
                  <a:cubicBezTo>
                    <a:pt x="0" y="568"/>
                    <a:pt x="158" y="725"/>
                    <a:pt x="347" y="725"/>
                  </a:cubicBezTo>
                  <a:cubicBezTo>
                    <a:pt x="536" y="725"/>
                    <a:pt x="693" y="568"/>
                    <a:pt x="693" y="379"/>
                  </a:cubicBezTo>
                  <a:cubicBezTo>
                    <a:pt x="693" y="190"/>
                    <a:pt x="536" y="1"/>
                    <a:pt x="347"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577" name="Google Shape;10577;p112"/>
            <p:cNvSpPr/>
            <p:nvPr/>
          </p:nvSpPr>
          <p:spPr>
            <a:xfrm>
              <a:off x="-56756725" y="2686975"/>
              <a:ext cx="242600" cy="317425"/>
            </a:xfrm>
            <a:custGeom>
              <a:avLst/>
              <a:gdLst/>
              <a:ahLst/>
              <a:cxnLst/>
              <a:rect l="l" t="t" r="r" b="b"/>
              <a:pathLst>
                <a:path w="9704" h="12697" extrusionOk="0">
                  <a:moveTo>
                    <a:pt x="5955" y="4442"/>
                  </a:moveTo>
                  <a:lnTo>
                    <a:pt x="7058" y="5199"/>
                  </a:lnTo>
                  <a:lnTo>
                    <a:pt x="5798" y="5199"/>
                  </a:lnTo>
                  <a:cubicBezTo>
                    <a:pt x="5924" y="5009"/>
                    <a:pt x="5955" y="4757"/>
                    <a:pt x="5955" y="4442"/>
                  </a:cubicBezTo>
                  <a:close/>
                  <a:moveTo>
                    <a:pt x="3750" y="4127"/>
                  </a:moveTo>
                  <a:lnTo>
                    <a:pt x="3750" y="4127"/>
                  </a:lnTo>
                  <a:cubicBezTo>
                    <a:pt x="3718" y="4253"/>
                    <a:pt x="3718" y="4379"/>
                    <a:pt x="3718" y="4474"/>
                  </a:cubicBezTo>
                  <a:cubicBezTo>
                    <a:pt x="3718" y="4757"/>
                    <a:pt x="3781" y="5009"/>
                    <a:pt x="3876" y="5230"/>
                  </a:cubicBezTo>
                  <a:lnTo>
                    <a:pt x="2363" y="5230"/>
                  </a:lnTo>
                  <a:lnTo>
                    <a:pt x="3750" y="4127"/>
                  </a:lnTo>
                  <a:close/>
                  <a:moveTo>
                    <a:pt x="4821" y="3749"/>
                  </a:moveTo>
                  <a:cubicBezTo>
                    <a:pt x="4947" y="3749"/>
                    <a:pt x="5167" y="4001"/>
                    <a:pt x="5167" y="4474"/>
                  </a:cubicBezTo>
                  <a:cubicBezTo>
                    <a:pt x="5167" y="4946"/>
                    <a:pt x="4947" y="5230"/>
                    <a:pt x="4821" y="5230"/>
                  </a:cubicBezTo>
                  <a:cubicBezTo>
                    <a:pt x="4695" y="5230"/>
                    <a:pt x="4474" y="4946"/>
                    <a:pt x="4474" y="4474"/>
                  </a:cubicBezTo>
                  <a:cubicBezTo>
                    <a:pt x="4474" y="4001"/>
                    <a:pt x="4695" y="3749"/>
                    <a:pt x="4821" y="3749"/>
                  </a:cubicBezTo>
                  <a:close/>
                  <a:moveTo>
                    <a:pt x="6806" y="756"/>
                  </a:moveTo>
                  <a:lnTo>
                    <a:pt x="757" y="5545"/>
                  </a:lnTo>
                  <a:lnTo>
                    <a:pt x="757" y="2584"/>
                  </a:lnTo>
                  <a:cubicBezTo>
                    <a:pt x="725" y="1607"/>
                    <a:pt x="1576" y="756"/>
                    <a:pt x="2616" y="756"/>
                  </a:cubicBezTo>
                  <a:close/>
                  <a:moveTo>
                    <a:pt x="7814" y="914"/>
                  </a:moveTo>
                  <a:cubicBezTo>
                    <a:pt x="8475" y="1166"/>
                    <a:pt x="8948" y="1859"/>
                    <a:pt x="8948" y="2647"/>
                  </a:cubicBezTo>
                  <a:lnTo>
                    <a:pt x="8948" y="5640"/>
                  </a:lnTo>
                  <a:lnTo>
                    <a:pt x="5167" y="2993"/>
                  </a:lnTo>
                  <a:lnTo>
                    <a:pt x="7814" y="914"/>
                  </a:lnTo>
                  <a:close/>
                  <a:moveTo>
                    <a:pt x="8160" y="5955"/>
                  </a:moveTo>
                  <a:lnTo>
                    <a:pt x="8255" y="5986"/>
                  </a:lnTo>
                  <a:lnTo>
                    <a:pt x="8255" y="8633"/>
                  </a:lnTo>
                  <a:lnTo>
                    <a:pt x="8192" y="8633"/>
                  </a:lnTo>
                  <a:cubicBezTo>
                    <a:pt x="8192" y="9767"/>
                    <a:pt x="7625" y="10838"/>
                    <a:pt x="6711" y="11405"/>
                  </a:cubicBezTo>
                  <a:lnTo>
                    <a:pt x="6711" y="9357"/>
                  </a:lnTo>
                  <a:cubicBezTo>
                    <a:pt x="6711" y="9200"/>
                    <a:pt x="6617" y="9105"/>
                    <a:pt x="6522" y="9042"/>
                  </a:cubicBezTo>
                  <a:cubicBezTo>
                    <a:pt x="6002" y="8790"/>
                    <a:pt x="5427" y="8664"/>
                    <a:pt x="4856" y="8664"/>
                  </a:cubicBezTo>
                  <a:cubicBezTo>
                    <a:pt x="4285" y="8664"/>
                    <a:pt x="3718" y="8790"/>
                    <a:pt x="3214" y="9042"/>
                  </a:cubicBezTo>
                  <a:cubicBezTo>
                    <a:pt x="3088" y="9137"/>
                    <a:pt x="2994" y="9263"/>
                    <a:pt x="2994" y="9357"/>
                  </a:cubicBezTo>
                  <a:lnTo>
                    <a:pt x="2994" y="11405"/>
                  </a:lnTo>
                  <a:cubicBezTo>
                    <a:pt x="2111" y="10838"/>
                    <a:pt x="1513" y="9798"/>
                    <a:pt x="1513" y="8633"/>
                  </a:cubicBezTo>
                  <a:lnTo>
                    <a:pt x="1513" y="5955"/>
                  </a:lnTo>
                  <a:close/>
                  <a:moveTo>
                    <a:pt x="4837" y="9428"/>
                  </a:moveTo>
                  <a:cubicBezTo>
                    <a:pt x="5223" y="9428"/>
                    <a:pt x="5608" y="9499"/>
                    <a:pt x="5955" y="9641"/>
                  </a:cubicBezTo>
                  <a:lnTo>
                    <a:pt x="5955" y="11815"/>
                  </a:lnTo>
                  <a:cubicBezTo>
                    <a:pt x="5608" y="11941"/>
                    <a:pt x="5262" y="12004"/>
                    <a:pt x="4852" y="12004"/>
                  </a:cubicBezTo>
                  <a:cubicBezTo>
                    <a:pt x="4474" y="12004"/>
                    <a:pt x="4065" y="11941"/>
                    <a:pt x="3718" y="11815"/>
                  </a:cubicBezTo>
                  <a:lnTo>
                    <a:pt x="3718" y="9641"/>
                  </a:lnTo>
                  <a:cubicBezTo>
                    <a:pt x="4065" y="9499"/>
                    <a:pt x="4451" y="9428"/>
                    <a:pt x="4837" y="9428"/>
                  </a:cubicBezTo>
                  <a:close/>
                  <a:moveTo>
                    <a:pt x="2616" y="0"/>
                  </a:moveTo>
                  <a:cubicBezTo>
                    <a:pt x="1166" y="0"/>
                    <a:pt x="1" y="1166"/>
                    <a:pt x="1" y="2584"/>
                  </a:cubicBezTo>
                  <a:lnTo>
                    <a:pt x="1" y="6333"/>
                  </a:lnTo>
                  <a:cubicBezTo>
                    <a:pt x="1" y="6554"/>
                    <a:pt x="188" y="6698"/>
                    <a:pt x="375" y="6698"/>
                  </a:cubicBezTo>
                  <a:cubicBezTo>
                    <a:pt x="454" y="6698"/>
                    <a:pt x="534" y="6672"/>
                    <a:pt x="599" y="6616"/>
                  </a:cubicBezTo>
                  <a:lnTo>
                    <a:pt x="757" y="6490"/>
                  </a:lnTo>
                  <a:lnTo>
                    <a:pt x="757" y="8601"/>
                  </a:lnTo>
                  <a:cubicBezTo>
                    <a:pt x="757" y="10869"/>
                    <a:pt x="2616" y="12697"/>
                    <a:pt x="4852" y="12697"/>
                  </a:cubicBezTo>
                  <a:cubicBezTo>
                    <a:pt x="7089" y="12697"/>
                    <a:pt x="8948" y="10869"/>
                    <a:pt x="8948" y="8601"/>
                  </a:cubicBezTo>
                  <a:lnTo>
                    <a:pt x="8948" y="6522"/>
                  </a:lnTo>
                  <a:lnTo>
                    <a:pt x="9106" y="6648"/>
                  </a:lnTo>
                  <a:cubicBezTo>
                    <a:pt x="9173" y="6690"/>
                    <a:pt x="9247" y="6710"/>
                    <a:pt x="9320" y="6710"/>
                  </a:cubicBezTo>
                  <a:cubicBezTo>
                    <a:pt x="9518" y="6710"/>
                    <a:pt x="9704" y="6563"/>
                    <a:pt x="9704" y="6333"/>
                  </a:cubicBezTo>
                  <a:lnTo>
                    <a:pt x="9704" y="2584"/>
                  </a:lnTo>
                  <a:cubicBezTo>
                    <a:pt x="9704" y="1166"/>
                    <a:pt x="8507" y="0"/>
                    <a:pt x="7089"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10578" name="Google Shape;10578;p112"/>
          <p:cNvGrpSpPr/>
          <p:nvPr/>
        </p:nvGrpSpPr>
        <p:grpSpPr>
          <a:xfrm>
            <a:off x="6494024" y="3882581"/>
            <a:ext cx="449795" cy="482664"/>
            <a:chOff x="-54826975" y="1903275"/>
            <a:chExt cx="297300" cy="319025"/>
          </a:xfrm>
        </p:grpSpPr>
        <p:sp>
          <p:nvSpPr>
            <p:cNvPr id="10579" name="Google Shape;10579;p112"/>
            <p:cNvSpPr/>
            <p:nvPr/>
          </p:nvSpPr>
          <p:spPr>
            <a:xfrm>
              <a:off x="-54712850" y="2135825"/>
              <a:ext cx="73275" cy="28975"/>
            </a:xfrm>
            <a:custGeom>
              <a:avLst/>
              <a:gdLst/>
              <a:ahLst/>
              <a:cxnLst/>
              <a:rect l="l" t="t" r="r" b="b"/>
              <a:pathLst>
                <a:path w="2931" h="1159" extrusionOk="0">
                  <a:moveTo>
                    <a:pt x="414" y="1"/>
                  </a:moveTo>
                  <a:cubicBezTo>
                    <a:pt x="316" y="1"/>
                    <a:pt x="222" y="40"/>
                    <a:pt x="159" y="119"/>
                  </a:cubicBezTo>
                  <a:cubicBezTo>
                    <a:pt x="1" y="276"/>
                    <a:pt x="1" y="497"/>
                    <a:pt x="159" y="623"/>
                  </a:cubicBezTo>
                  <a:cubicBezTo>
                    <a:pt x="537" y="970"/>
                    <a:pt x="1009" y="1159"/>
                    <a:pt x="1482" y="1159"/>
                  </a:cubicBezTo>
                  <a:cubicBezTo>
                    <a:pt x="1986" y="1159"/>
                    <a:pt x="2458" y="970"/>
                    <a:pt x="2773" y="623"/>
                  </a:cubicBezTo>
                  <a:cubicBezTo>
                    <a:pt x="2931" y="465"/>
                    <a:pt x="2931" y="213"/>
                    <a:pt x="2773" y="119"/>
                  </a:cubicBezTo>
                  <a:cubicBezTo>
                    <a:pt x="2695" y="40"/>
                    <a:pt x="2592" y="1"/>
                    <a:pt x="2498" y="1"/>
                  </a:cubicBezTo>
                  <a:cubicBezTo>
                    <a:pt x="2403" y="1"/>
                    <a:pt x="2317" y="40"/>
                    <a:pt x="2269" y="119"/>
                  </a:cubicBezTo>
                  <a:cubicBezTo>
                    <a:pt x="2049" y="308"/>
                    <a:pt x="1734" y="434"/>
                    <a:pt x="1482" y="434"/>
                  </a:cubicBezTo>
                  <a:cubicBezTo>
                    <a:pt x="1167" y="434"/>
                    <a:pt x="883" y="308"/>
                    <a:pt x="694" y="119"/>
                  </a:cubicBezTo>
                  <a:cubicBezTo>
                    <a:pt x="615" y="40"/>
                    <a:pt x="513" y="1"/>
                    <a:pt x="414"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580" name="Google Shape;10580;p112"/>
            <p:cNvSpPr/>
            <p:nvPr/>
          </p:nvSpPr>
          <p:spPr>
            <a:xfrm>
              <a:off x="-54826975" y="1903275"/>
              <a:ext cx="297300" cy="319025"/>
            </a:xfrm>
            <a:custGeom>
              <a:avLst/>
              <a:gdLst/>
              <a:ahLst/>
              <a:cxnLst/>
              <a:rect l="l" t="t" r="r" b="b"/>
              <a:pathLst>
                <a:path w="11892" h="12761" extrusionOk="0">
                  <a:moveTo>
                    <a:pt x="3400" y="694"/>
                  </a:moveTo>
                  <a:cubicBezTo>
                    <a:pt x="3715" y="694"/>
                    <a:pt x="3999" y="915"/>
                    <a:pt x="4093" y="1167"/>
                  </a:cubicBezTo>
                  <a:cubicBezTo>
                    <a:pt x="2928" y="1797"/>
                    <a:pt x="2046" y="3025"/>
                    <a:pt x="1951" y="4443"/>
                  </a:cubicBezTo>
                  <a:cubicBezTo>
                    <a:pt x="1932" y="4444"/>
                    <a:pt x="1914" y="4445"/>
                    <a:pt x="1895" y="4445"/>
                  </a:cubicBezTo>
                  <a:cubicBezTo>
                    <a:pt x="1481" y="4445"/>
                    <a:pt x="1163" y="4112"/>
                    <a:pt x="1163" y="3750"/>
                  </a:cubicBezTo>
                  <a:cubicBezTo>
                    <a:pt x="1163" y="3498"/>
                    <a:pt x="1258" y="3340"/>
                    <a:pt x="1352" y="3214"/>
                  </a:cubicBezTo>
                  <a:cubicBezTo>
                    <a:pt x="1478" y="3057"/>
                    <a:pt x="1478" y="2868"/>
                    <a:pt x="1352" y="2710"/>
                  </a:cubicBezTo>
                  <a:cubicBezTo>
                    <a:pt x="1258" y="2584"/>
                    <a:pt x="1163" y="2427"/>
                    <a:pt x="1163" y="2206"/>
                  </a:cubicBezTo>
                  <a:cubicBezTo>
                    <a:pt x="1163" y="1797"/>
                    <a:pt x="1478" y="1450"/>
                    <a:pt x="1888" y="1450"/>
                  </a:cubicBezTo>
                  <a:cubicBezTo>
                    <a:pt x="1983" y="1450"/>
                    <a:pt x="2109" y="1450"/>
                    <a:pt x="2172" y="1482"/>
                  </a:cubicBezTo>
                  <a:cubicBezTo>
                    <a:pt x="2216" y="1504"/>
                    <a:pt x="2263" y="1514"/>
                    <a:pt x="2311" y="1514"/>
                  </a:cubicBezTo>
                  <a:cubicBezTo>
                    <a:pt x="2468" y="1514"/>
                    <a:pt x="2627" y="1406"/>
                    <a:pt x="2676" y="1261"/>
                  </a:cubicBezTo>
                  <a:cubicBezTo>
                    <a:pt x="2770" y="946"/>
                    <a:pt x="3085" y="694"/>
                    <a:pt x="3400" y="694"/>
                  </a:cubicBezTo>
                  <a:close/>
                  <a:moveTo>
                    <a:pt x="8504" y="757"/>
                  </a:moveTo>
                  <a:cubicBezTo>
                    <a:pt x="8819" y="757"/>
                    <a:pt x="9166" y="978"/>
                    <a:pt x="9229" y="1293"/>
                  </a:cubicBezTo>
                  <a:cubicBezTo>
                    <a:pt x="9255" y="1448"/>
                    <a:pt x="9430" y="1561"/>
                    <a:pt x="9614" y="1561"/>
                  </a:cubicBezTo>
                  <a:cubicBezTo>
                    <a:pt x="9654" y="1561"/>
                    <a:pt x="9694" y="1556"/>
                    <a:pt x="9733" y="1545"/>
                  </a:cubicBezTo>
                  <a:cubicBezTo>
                    <a:pt x="9827" y="1482"/>
                    <a:pt x="9953" y="1482"/>
                    <a:pt x="10016" y="1482"/>
                  </a:cubicBezTo>
                  <a:cubicBezTo>
                    <a:pt x="10394" y="1482"/>
                    <a:pt x="10772" y="1797"/>
                    <a:pt x="10772" y="2238"/>
                  </a:cubicBezTo>
                  <a:cubicBezTo>
                    <a:pt x="10772" y="2490"/>
                    <a:pt x="10646" y="2647"/>
                    <a:pt x="10552" y="2742"/>
                  </a:cubicBezTo>
                  <a:cubicBezTo>
                    <a:pt x="10457" y="2899"/>
                    <a:pt x="10457" y="3120"/>
                    <a:pt x="10552" y="3277"/>
                  </a:cubicBezTo>
                  <a:cubicBezTo>
                    <a:pt x="10646" y="3372"/>
                    <a:pt x="10772" y="3529"/>
                    <a:pt x="10772" y="3782"/>
                  </a:cubicBezTo>
                  <a:cubicBezTo>
                    <a:pt x="10772" y="4160"/>
                    <a:pt x="10489" y="4475"/>
                    <a:pt x="10079" y="4538"/>
                  </a:cubicBezTo>
                  <a:cubicBezTo>
                    <a:pt x="9985" y="3057"/>
                    <a:pt x="9071" y="1860"/>
                    <a:pt x="7842" y="1230"/>
                  </a:cubicBezTo>
                  <a:cubicBezTo>
                    <a:pt x="7969" y="915"/>
                    <a:pt x="8252" y="757"/>
                    <a:pt x="8504" y="757"/>
                  </a:cubicBezTo>
                  <a:close/>
                  <a:moveTo>
                    <a:pt x="6078" y="1482"/>
                  </a:moveTo>
                  <a:cubicBezTo>
                    <a:pt x="7874" y="1482"/>
                    <a:pt x="9386" y="2994"/>
                    <a:pt x="9386" y="4853"/>
                  </a:cubicBezTo>
                  <a:lnTo>
                    <a:pt x="9386" y="5640"/>
                  </a:lnTo>
                  <a:cubicBezTo>
                    <a:pt x="9071" y="5388"/>
                    <a:pt x="8662" y="5262"/>
                    <a:pt x="8284" y="5262"/>
                  </a:cubicBezTo>
                  <a:cubicBezTo>
                    <a:pt x="7370" y="5262"/>
                    <a:pt x="6614" y="5892"/>
                    <a:pt x="6456" y="6774"/>
                  </a:cubicBezTo>
                  <a:lnTo>
                    <a:pt x="5637" y="6774"/>
                  </a:lnTo>
                  <a:cubicBezTo>
                    <a:pt x="5480" y="5892"/>
                    <a:pt x="4692" y="5262"/>
                    <a:pt x="3841" y="5262"/>
                  </a:cubicBezTo>
                  <a:cubicBezTo>
                    <a:pt x="3400" y="5262"/>
                    <a:pt x="3054" y="5420"/>
                    <a:pt x="2739" y="5640"/>
                  </a:cubicBezTo>
                  <a:lnTo>
                    <a:pt x="2739" y="4853"/>
                  </a:lnTo>
                  <a:cubicBezTo>
                    <a:pt x="2739" y="2994"/>
                    <a:pt x="4219" y="1482"/>
                    <a:pt x="6078" y="1482"/>
                  </a:cubicBezTo>
                  <a:close/>
                  <a:moveTo>
                    <a:pt x="1888" y="6743"/>
                  </a:moveTo>
                  <a:lnTo>
                    <a:pt x="1888" y="7058"/>
                  </a:lnTo>
                  <a:lnTo>
                    <a:pt x="1857" y="7216"/>
                  </a:lnTo>
                  <a:cubicBezTo>
                    <a:pt x="1794" y="7531"/>
                    <a:pt x="1731" y="7877"/>
                    <a:pt x="1699" y="8192"/>
                  </a:cubicBezTo>
                  <a:cubicBezTo>
                    <a:pt x="1384" y="8098"/>
                    <a:pt x="1163" y="7783"/>
                    <a:pt x="1163" y="7468"/>
                  </a:cubicBezTo>
                  <a:cubicBezTo>
                    <a:pt x="1163" y="7090"/>
                    <a:pt x="1478" y="6743"/>
                    <a:pt x="1888" y="6743"/>
                  </a:cubicBezTo>
                  <a:close/>
                  <a:moveTo>
                    <a:pt x="3778" y="5987"/>
                  </a:moveTo>
                  <a:cubicBezTo>
                    <a:pt x="4440" y="5987"/>
                    <a:pt x="4881" y="6491"/>
                    <a:pt x="4881" y="7090"/>
                  </a:cubicBezTo>
                  <a:cubicBezTo>
                    <a:pt x="4881" y="7688"/>
                    <a:pt x="4377" y="8192"/>
                    <a:pt x="3778" y="8192"/>
                  </a:cubicBezTo>
                  <a:cubicBezTo>
                    <a:pt x="3211" y="8192"/>
                    <a:pt x="2676" y="7688"/>
                    <a:pt x="2676" y="7090"/>
                  </a:cubicBezTo>
                  <a:cubicBezTo>
                    <a:pt x="2676" y="6491"/>
                    <a:pt x="3148" y="5987"/>
                    <a:pt x="3778" y="5987"/>
                  </a:cubicBezTo>
                  <a:close/>
                  <a:moveTo>
                    <a:pt x="10142" y="6743"/>
                  </a:moveTo>
                  <a:cubicBezTo>
                    <a:pt x="10520" y="6743"/>
                    <a:pt x="10867" y="7058"/>
                    <a:pt x="10867" y="7468"/>
                  </a:cubicBezTo>
                  <a:cubicBezTo>
                    <a:pt x="10867" y="7846"/>
                    <a:pt x="10646" y="8098"/>
                    <a:pt x="10331" y="8192"/>
                  </a:cubicBezTo>
                  <a:cubicBezTo>
                    <a:pt x="10331" y="7877"/>
                    <a:pt x="10237" y="7531"/>
                    <a:pt x="10174" y="7216"/>
                  </a:cubicBezTo>
                  <a:lnTo>
                    <a:pt x="10142" y="7058"/>
                  </a:lnTo>
                  <a:lnTo>
                    <a:pt x="10142" y="6743"/>
                  </a:lnTo>
                  <a:close/>
                  <a:moveTo>
                    <a:pt x="8337" y="6017"/>
                  </a:moveTo>
                  <a:cubicBezTo>
                    <a:pt x="8912" y="6017"/>
                    <a:pt x="9386" y="6510"/>
                    <a:pt x="9386" y="7121"/>
                  </a:cubicBezTo>
                  <a:cubicBezTo>
                    <a:pt x="9386" y="7751"/>
                    <a:pt x="8882" y="8224"/>
                    <a:pt x="8284" y="8224"/>
                  </a:cubicBezTo>
                  <a:cubicBezTo>
                    <a:pt x="7653" y="8224"/>
                    <a:pt x="7181" y="7720"/>
                    <a:pt x="7181" y="7121"/>
                  </a:cubicBezTo>
                  <a:cubicBezTo>
                    <a:pt x="7181" y="6522"/>
                    <a:pt x="7685" y="6018"/>
                    <a:pt x="8284" y="6018"/>
                  </a:cubicBezTo>
                  <a:cubicBezTo>
                    <a:pt x="8301" y="6017"/>
                    <a:pt x="8319" y="6017"/>
                    <a:pt x="8337" y="6017"/>
                  </a:cubicBezTo>
                  <a:close/>
                  <a:moveTo>
                    <a:pt x="6456" y="7436"/>
                  </a:moveTo>
                  <a:cubicBezTo>
                    <a:pt x="6614" y="8318"/>
                    <a:pt x="7401" y="8948"/>
                    <a:pt x="8284" y="8948"/>
                  </a:cubicBezTo>
                  <a:cubicBezTo>
                    <a:pt x="8788" y="8948"/>
                    <a:pt x="9260" y="8728"/>
                    <a:pt x="9607" y="8381"/>
                  </a:cubicBezTo>
                  <a:lnTo>
                    <a:pt x="9607" y="8381"/>
                  </a:lnTo>
                  <a:cubicBezTo>
                    <a:pt x="9575" y="8476"/>
                    <a:pt x="9575" y="8507"/>
                    <a:pt x="9575" y="8539"/>
                  </a:cubicBezTo>
                  <a:lnTo>
                    <a:pt x="9575" y="8570"/>
                  </a:lnTo>
                  <a:cubicBezTo>
                    <a:pt x="9449" y="10398"/>
                    <a:pt x="7969" y="11973"/>
                    <a:pt x="6047" y="11973"/>
                  </a:cubicBezTo>
                  <a:cubicBezTo>
                    <a:pt x="4062" y="11973"/>
                    <a:pt x="2581" y="10398"/>
                    <a:pt x="2487" y="8570"/>
                  </a:cubicBezTo>
                  <a:lnTo>
                    <a:pt x="2487" y="8539"/>
                  </a:lnTo>
                  <a:lnTo>
                    <a:pt x="2487" y="8381"/>
                  </a:lnTo>
                  <a:cubicBezTo>
                    <a:pt x="2833" y="8728"/>
                    <a:pt x="3306" y="8948"/>
                    <a:pt x="3841" y="8948"/>
                  </a:cubicBezTo>
                  <a:cubicBezTo>
                    <a:pt x="4724" y="8948"/>
                    <a:pt x="5480" y="8318"/>
                    <a:pt x="5637" y="7436"/>
                  </a:cubicBezTo>
                  <a:close/>
                  <a:moveTo>
                    <a:pt x="3400" y="1"/>
                  </a:moveTo>
                  <a:cubicBezTo>
                    <a:pt x="2833" y="1"/>
                    <a:pt x="2361" y="316"/>
                    <a:pt x="2109" y="726"/>
                  </a:cubicBezTo>
                  <a:cubicBezTo>
                    <a:pt x="2041" y="717"/>
                    <a:pt x="1974" y="713"/>
                    <a:pt x="1909" y="713"/>
                  </a:cubicBezTo>
                  <a:cubicBezTo>
                    <a:pt x="784" y="713"/>
                    <a:pt x="1" y="1948"/>
                    <a:pt x="596" y="2931"/>
                  </a:cubicBezTo>
                  <a:cubicBezTo>
                    <a:pt x="470" y="3183"/>
                    <a:pt x="407" y="3403"/>
                    <a:pt x="407" y="3687"/>
                  </a:cubicBezTo>
                  <a:cubicBezTo>
                    <a:pt x="407" y="4506"/>
                    <a:pt x="1069" y="5199"/>
                    <a:pt x="1888" y="5199"/>
                  </a:cubicBezTo>
                  <a:lnTo>
                    <a:pt x="1888" y="5987"/>
                  </a:lnTo>
                  <a:cubicBezTo>
                    <a:pt x="1069" y="5987"/>
                    <a:pt x="407" y="6648"/>
                    <a:pt x="407" y="7468"/>
                  </a:cubicBezTo>
                  <a:cubicBezTo>
                    <a:pt x="407" y="8224"/>
                    <a:pt x="1006" y="8854"/>
                    <a:pt x="1699" y="8980"/>
                  </a:cubicBezTo>
                  <a:cubicBezTo>
                    <a:pt x="1983" y="11028"/>
                    <a:pt x="3715" y="12760"/>
                    <a:pt x="5984" y="12760"/>
                  </a:cubicBezTo>
                  <a:cubicBezTo>
                    <a:pt x="8252" y="12760"/>
                    <a:pt x="10016" y="11028"/>
                    <a:pt x="10300" y="8980"/>
                  </a:cubicBezTo>
                  <a:cubicBezTo>
                    <a:pt x="11024" y="8885"/>
                    <a:pt x="11592" y="8255"/>
                    <a:pt x="11592" y="7468"/>
                  </a:cubicBezTo>
                  <a:cubicBezTo>
                    <a:pt x="11623" y="6648"/>
                    <a:pt x="10961" y="5987"/>
                    <a:pt x="10142" y="5987"/>
                  </a:cubicBezTo>
                  <a:lnTo>
                    <a:pt x="10142" y="5199"/>
                  </a:lnTo>
                  <a:cubicBezTo>
                    <a:pt x="10930" y="5168"/>
                    <a:pt x="11497" y="4475"/>
                    <a:pt x="11497" y="3687"/>
                  </a:cubicBezTo>
                  <a:cubicBezTo>
                    <a:pt x="11497" y="3435"/>
                    <a:pt x="11434" y="3183"/>
                    <a:pt x="11308" y="2962"/>
                  </a:cubicBezTo>
                  <a:cubicBezTo>
                    <a:pt x="11892" y="1970"/>
                    <a:pt x="11150" y="733"/>
                    <a:pt x="10085" y="733"/>
                  </a:cubicBezTo>
                  <a:cubicBezTo>
                    <a:pt x="10001" y="733"/>
                    <a:pt x="9915" y="741"/>
                    <a:pt x="9827" y="757"/>
                  </a:cubicBezTo>
                  <a:cubicBezTo>
                    <a:pt x="9544" y="284"/>
                    <a:pt x="9071" y="1"/>
                    <a:pt x="8504" y="1"/>
                  </a:cubicBezTo>
                  <a:cubicBezTo>
                    <a:pt x="8126" y="1"/>
                    <a:pt x="7779" y="158"/>
                    <a:pt x="7496" y="379"/>
                  </a:cubicBezTo>
                  <a:cubicBezTo>
                    <a:pt x="7338" y="537"/>
                    <a:pt x="7212" y="694"/>
                    <a:pt x="7149" y="915"/>
                  </a:cubicBezTo>
                  <a:cubicBezTo>
                    <a:pt x="6771" y="789"/>
                    <a:pt x="6393" y="726"/>
                    <a:pt x="5984" y="726"/>
                  </a:cubicBezTo>
                  <a:cubicBezTo>
                    <a:pt x="5574" y="726"/>
                    <a:pt x="5165" y="820"/>
                    <a:pt x="4787" y="946"/>
                  </a:cubicBezTo>
                  <a:cubicBezTo>
                    <a:pt x="4534" y="379"/>
                    <a:pt x="4030" y="1"/>
                    <a:pt x="3400"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581" name="Google Shape;10581;p112"/>
            <p:cNvSpPr/>
            <p:nvPr/>
          </p:nvSpPr>
          <p:spPr>
            <a:xfrm>
              <a:off x="-54722300" y="1997800"/>
              <a:ext cx="92175" cy="17350"/>
            </a:xfrm>
            <a:custGeom>
              <a:avLst/>
              <a:gdLst/>
              <a:ahLst/>
              <a:cxnLst/>
              <a:rect l="l" t="t" r="r" b="b"/>
              <a:pathLst>
                <a:path w="3687" h="694" extrusionOk="0">
                  <a:moveTo>
                    <a:pt x="347" y="1"/>
                  </a:moveTo>
                  <a:cubicBezTo>
                    <a:pt x="158" y="1"/>
                    <a:pt x="1" y="158"/>
                    <a:pt x="1" y="347"/>
                  </a:cubicBezTo>
                  <a:cubicBezTo>
                    <a:pt x="1" y="536"/>
                    <a:pt x="158" y="694"/>
                    <a:pt x="347" y="694"/>
                  </a:cubicBezTo>
                  <a:lnTo>
                    <a:pt x="3340" y="694"/>
                  </a:lnTo>
                  <a:cubicBezTo>
                    <a:pt x="3529" y="694"/>
                    <a:pt x="3687" y="536"/>
                    <a:pt x="3687" y="347"/>
                  </a:cubicBezTo>
                  <a:cubicBezTo>
                    <a:pt x="3687" y="158"/>
                    <a:pt x="3529" y="1"/>
                    <a:pt x="3340"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10582" name="Google Shape;10582;p112"/>
          <p:cNvGrpSpPr/>
          <p:nvPr/>
        </p:nvGrpSpPr>
        <p:grpSpPr>
          <a:xfrm>
            <a:off x="6477609" y="4487199"/>
            <a:ext cx="482625" cy="479032"/>
            <a:chOff x="-54836500" y="2296300"/>
            <a:chExt cx="319000" cy="316625"/>
          </a:xfrm>
        </p:grpSpPr>
        <p:sp>
          <p:nvSpPr>
            <p:cNvPr id="10583" name="Google Shape;10583;p112"/>
            <p:cNvSpPr/>
            <p:nvPr/>
          </p:nvSpPr>
          <p:spPr>
            <a:xfrm>
              <a:off x="-54722300" y="2445950"/>
              <a:ext cx="17350" cy="17350"/>
            </a:xfrm>
            <a:custGeom>
              <a:avLst/>
              <a:gdLst/>
              <a:ahLst/>
              <a:cxnLst/>
              <a:rect l="l" t="t" r="r" b="b"/>
              <a:pathLst>
                <a:path w="694" h="694" extrusionOk="0">
                  <a:moveTo>
                    <a:pt x="347" y="1"/>
                  </a:moveTo>
                  <a:cubicBezTo>
                    <a:pt x="158" y="1"/>
                    <a:pt x="1" y="158"/>
                    <a:pt x="1" y="347"/>
                  </a:cubicBezTo>
                  <a:cubicBezTo>
                    <a:pt x="1" y="536"/>
                    <a:pt x="158" y="694"/>
                    <a:pt x="347" y="694"/>
                  </a:cubicBezTo>
                  <a:cubicBezTo>
                    <a:pt x="537" y="694"/>
                    <a:pt x="694" y="536"/>
                    <a:pt x="694" y="347"/>
                  </a:cubicBezTo>
                  <a:cubicBezTo>
                    <a:pt x="694" y="158"/>
                    <a:pt x="537" y="1"/>
                    <a:pt x="347"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584" name="Google Shape;10584;p112"/>
            <p:cNvSpPr/>
            <p:nvPr/>
          </p:nvSpPr>
          <p:spPr>
            <a:xfrm>
              <a:off x="-54647475" y="2445950"/>
              <a:ext cx="18150" cy="17350"/>
            </a:xfrm>
            <a:custGeom>
              <a:avLst/>
              <a:gdLst/>
              <a:ahLst/>
              <a:cxnLst/>
              <a:rect l="l" t="t" r="r" b="b"/>
              <a:pathLst>
                <a:path w="726" h="694" extrusionOk="0">
                  <a:moveTo>
                    <a:pt x="347" y="1"/>
                  </a:moveTo>
                  <a:cubicBezTo>
                    <a:pt x="158" y="1"/>
                    <a:pt x="1" y="158"/>
                    <a:pt x="1" y="347"/>
                  </a:cubicBezTo>
                  <a:cubicBezTo>
                    <a:pt x="1" y="536"/>
                    <a:pt x="158" y="694"/>
                    <a:pt x="347" y="694"/>
                  </a:cubicBezTo>
                  <a:cubicBezTo>
                    <a:pt x="536" y="694"/>
                    <a:pt x="726" y="536"/>
                    <a:pt x="726" y="347"/>
                  </a:cubicBezTo>
                  <a:cubicBezTo>
                    <a:pt x="726" y="158"/>
                    <a:pt x="536" y="1"/>
                    <a:pt x="347"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585" name="Google Shape;10585;p112"/>
            <p:cNvSpPr/>
            <p:nvPr/>
          </p:nvSpPr>
          <p:spPr>
            <a:xfrm>
              <a:off x="-54712850" y="2508375"/>
              <a:ext cx="73275" cy="29750"/>
            </a:xfrm>
            <a:custGeom>
              <a:avLst/>
              <a:gdLst/>
              <a:ahLst/>
              <a:cxnLst/>
              <a:rect l="l" t="t" r="r" b="b"/>
              <a:pathLst>
                <a:path w="2931" h="1190" extrusionOk="0">
                  <a:moveTo>
                    <a:pt x="414" y="0"/>
                  </a:moveTo>
                  <a:cubicBezTo>
                    <a:pt x="316" y="0"/>
                    <a:pt x="222" y="40"/>
                    <a:pt x="159" y="119"/>
                  </a:cubicBezTo>
                  <a:cubicBezTo>
                    <a:pt x="1" y="276"/>
                    <a:pt x="1" y="528"/>
                    <a:pt x="159" y="654"/>
                  </a:cubicBezTo>
                  <a:cubicBezTo>
                    <a:pt x="537" y="1001"/>
                    <a:pt x="1009" y="1190"/>
                    <a:pt x="1482" y="1190"/>
                  </a:cubicBezTo>
                  <a:cubicBezTo>
                    <a:pt x="1986" y="1190"/>
                    <a:pt x="2458" y="1001"/>
                    <a:pt x="2773" y="654"/>
                  </a:cubicBezTo>
                  <a:cubicBezTo>
                    <a:pt x="2931" y="497"/>
                    <a:pt x="2931" y="245"/>
                    <a:pt x="2773" y="119"/>
                  </a:cubicBezTo>
                  <a:cubicBezTo>
                    <a:pt x="2695" y="40"/>
                    <a:pt x="2592" y="0"/>
                    <a:pt x="2498" y="0"/>
                  </a:cubicBezTo>
                  <a:cubicBezTo>
                    <a:pt x="2403" y="0"/>
                    <a:pt x="2317" y="40"/>
                    <a:pt x="2269" y="119"/>
                  </a:cubicBezTo>
                  <a:cubicBezTo>
                    <a:pt x="2049" y="339"/>
                    <a:pt x="1734" y="434"/>
                    <a:pt x="1482" y="434"/>
                  </a:cubicBezTo>
                  <a:cubicBezTo>
                    <a:pt x="1167" y="434"/>
                    <a:pt x="883" y="339"/>
                    <a:pt x="694" y="119"/>
                  </a:cubicBezTo>
                  <a:cubicBezTo>
                    <a:pt x="615" y="40"/>
                    <a:pt x="513" y="0"/>
                    <a:pt x="414"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586" name="Google Shape;10586;p112"/>
            <p:cNvSpPr/>
            <p:nvPr/>
          </p:nvSpPr>
          <p:spPr>
            <a:xfrm>
              <a:off x="-54836500" y="2296300"/>
              <a:ext cx="319000" cy="316625"/>
            </a:xfrm>
            <a:custGeom>
              <a:avLst/>
              <a:gdLst/>
              <a:ahLst/>
              <a:cxnLst/>
              <a:rect l="l" t="t" r="r" b="b"/>
              <a:pathLst>
                <a:path w="12760" h="12665" extrusionOk="0">
                  <a:moveTo>
                    <a:pt x="5672" y="694"/>
                  </a:moveTo>
                  <a:cubicBezTo>
                    <a:pt x="5577" y="883"/>
                    <a:pt x="5483" y="1167"/>
                    <a:pt x="5388" y="1450"/>
                  </a:cubicBezTo>
                  <a:lnTo>
                    <a:pt x="2742" y="1450"/>
                  </a:lnTo>
                  <a:lnTo>
                    <a:pt x="2427" y="694"/>
                  </a:lnTo>
                  <a:close/>
                  <a:moveTo>
                    <a:pt x="10303" y="694"/>
                  </a:moveTo>
                  <a:lnTo>
                    <a:pt x="10051" y="1450"/>
                  </a:lnTo>
                  <a:lnTo>
                    <a:pt x="7404" y="1450"/>
                  </a:lnTo>
                  <a:cubicBezTo>
                    <a:pt x="7310" y="1167"/>
                    <a:pt x="7215" y="883"/>
                    <a:pt x="7089" y="694"/>
                  </a:cubicBezTo>
                  <a:close/>
                  <a:moveTo>
                    <a:pt x="6428" y="977"/>
                  </a:moveTo>
                  <a:cubicBezTo>
                    <a:pt x="6585" y="1293"/>
                    <a:pt x="6774" y="1734"/>
                    <a:pt x="6774" y="2206"/>
                  </a:cubicBezTo>
                  <a:cubicBezTo>
                    <a:pt x="6774" y="2647"/>
                    <a:pt x="6585" y="3088"/>
                    <a:pt x="6428" y="3403"/>
                  </a:cubicBezTo>
                  <a:cubicBezTo>
                    <a:pt x="6270" y="3088"/>
                    <a:pt x="6050" y="2647"/>
                    <a:pt x="6050" y="2206"/>
                  </a:cubicBezTo>
                  <a:cubicBezTo>
                    <a:pt x="6018" y="1671"/>
                    <a:pt x="6207" y="1230"/>
                    <a:pt x="6428" y="977"/>
                  </a:cubicBezTo>
                  <a:close/>
                  <a:moveTo>
                    <a:pt x="5325" y="2206"/>
                  </a:moveTo>
                  <a:cubicBezTo>
                    <a:pt x="5325" y="2773"/>
                    <a:pt x="5514" y="3309"/>
                    <a:pt x="5735" y="3687"/>
                  </a:cubicBezTo>
                  <a:lnTo>
                    <a:pt x="3655" y="3687"/>
                  </a:lnTo>
                  <a:lnTo>
                    <a:pt x="3057" y="2206"/>
                  </a:lnTo>
                  <a:close/>
                  <a:moveTo>
                    <a:pt x="9799" y="2206"/>
                  </a:moveTo>
                  <a:lnTo>
                    <a:pt x="9169" y="3687"/>
                  </a:lnTo>
                  <a:lnTo>
                    <a:pt x="7121" y="3687"/>
                  </a:lnTo>
                  <a:cubicBezTo>
                    <a:pt x="7310" y="3309"/>
                    <a:pt x="7562" y="2773"/>
                    <a:pt x="7562" y="2206"/>
                  </a:cubicBezTo>
                  <a:close/>
                  <a:moveTo>
                    <a:pt x="9043" y="4380"/>
                  </a:moveTo>
                  <a:lnTo>
                    <a:pt x="9043" y="5136"/>
                  </a:lnTo>
                  <a:cubicBezTo>
                    <a:pt x="9043" y="6837"/>
                    <a:pt x="9515" y="7436"/>
                    <a:pt x="9736" y="8602"/>
                  </a:cubicBezTo>
                  <a:cubicBezTo>
                    <a:pt x="9326" y="10114"/>
                    <a:pt x="7940" y="11185"/>
                    <a:pt x="6428" y="11185"/>
                  </a:cubicBezTo>
                  <a:cubicBezTo>
                    <a:pt x="4852" y="11185"/>
                    <a:pt x="3498" y="10114"/>
                    <a:pt x="3120" y="8602"/>
                  </a:cubicBezTo>
                  <a:cubicBezTo>
                    <a:pt x="3309" y="7436"/>
                    <a:pt x="3781" y="6837"/>
                    <a:pt x="3781" y="5136"/>
                  </a:cubicBezTo>
                  <a:lnTo>
                    <a:pt x="3781" y="4380"/>
                  </a:lnTo>
                  <a:close/>
                  <a:moveTo>
                    <a:pt x="2301" y="2238"/>
                  </a:moveTo>
                  <a:lnTo>
                    <a:pt x="3025" y="4096"/>
                  </a:lnTo>
                  <a:lnTo>
                    <a:pt x="3025" y="5105"/>
                  </a:lnTo>
                  <a:cubicBezTo>
                    <a:pt x="3025" y="6711"/>
                    <a:pt x="2584" y="7184"/>
                    <a:pt x="2364" y="8539"/>
                  </a:cubicBezTo>
                  <a:cubicBezTo>
                    <a:pt x="2301" y="8917"/>
                    <a:pt x="2301" y="9326"/>
                    <a:pt x="2301" y="9704"/>
                  </a:cubicBezTo>
                  <a:lnTo>
                    <a:pt x="2301" y="11595"/>
                  </a:lnTo>
                  <a:lnTo>
                    <a:pt x="2269" y="11595"/>
                  </a:lnTo>
                  <a:lnTo>
                    <a:pt x="1733" y="11217"/>
                  </a:lnTo>
                  <a:cubicBezTo>
                    <a:pt x="1135" y="10807"/>
                    <a:pt x="788" y="10177"/>
                    <a:pt x="788" y="9484"/>
                  </a:cubicBezTo>
                  <a:cubicBezTo>
                    <a:pt x="788" y="8444"/>
                    <a:pt x="1040" y="7404"/>
                    <a:pt x="1513" y="6491"/>
                  </a:cubicBezTo>
                  <a:cubicBezTo>
                    <a:pt x="2017" y="5451"/>
                    <a:pt x="2301" y="4285"/>
                    <a:pt x="2301" y="3088"/>
                  </a:cubicBezTo>
                  <a:lnTo>
                    <a:pt x="2301" y="2238"/>
                  </a:lnTo>
                  <a:close/>
                  <a:moveTo>
                    <a:pt x="10555" y="2269"/>
                  </a:moveTo>
                  <a:lnTo>
                    <a:pt x="10555" y="3151"/>
                  </a:lnTo>
                  <a:cubicBezTo>
                    <a:pt x="10555" y="4317"/>
                    <a:pt x="10838" y="5514"/>
                    <a:pt x="11342" y="6522"/>
                  </a:cubicBezTo>
                  <a:cubicBezTo>
                    <a:pt x="11815" y="7436"/>
                    <a:pt x="12036" y="8507"/>
                    <a:pt x="12036" y="9515"/>
                  </a:cubicBezTo>
                  <a:cubicBezTo>
                    <a:pt x="12004" y="10177"/>
                    <a:pt x="11689" y="10870"/>
                    <a:pt x="11090" y="11217"/>
                  </a:cubicBezTo>
                  <a:lnTo>
                    <a:pt x="10555" y="11595"/>
                  </a:lnTo>
                  <a:lnTo>
                    <a:pt x="10555" y="9767"/>
                  </a:lnTo>
                  <a:cubicBezTo>
                    <a:pt x="10555" y="9358"/>
                    <a:pt x="10523" y="8980"/>
                    <a:pt x="10460" y="8570"/>
                  </a:cubicBezTo>
                  <a:cubicBezTo>
                    <a:pt x="10271" y="7247"/>
                    <a:pt x="9799" y="6774"/>
                    <a:pt x="9799" y="5136"/>
                  </a:cubicBezTo>
                  <a:lnTo>
                    <a:pt x="9799" y="4128"/>
                  </a:lnTo>
                  <a:lnTo>
                    <a:pt x="10555" y="2269"/>
                  </a:lnTo>
                  <a:close/>
                  <a:moveTo>
                    <a:pt x="1859" y="1"/>
                  </a:moveTo>
                  <a:cubicBezTo>
                    <a:pt x="1639" y="1"/>
                    <a:pt x="1481" y="158"/>
                    <a:pt x="1481" y="347"/>
                  </a:cubicBezTo>
                  <a:lnTo>
                    <a:pt x="1481" y="3151"/>
                  </a:lnTo>
                  <a:cubicBezTo>
                    <a:pt x="1481" y="4191"/>
                    <a:pt x="1261" y="5262"/>
                    <a:pt x="788" y="6176"/>
                  </a:cubicBezTo>
                  <a:cubicBezTo>
                    <a:pt x="284" y="7184"/>
                    <a:pt x="1" y="8350"/>
                    <a:pt x="1" y="9484"/>
                  </a:cubicBezTo>
                  <a:cubicBezTo>
                    <a:pt x="1" y="10429"/>
                    <a:pt x="473" y="11280"/>
                    <a:pt x="1261" y="11847"/>
                  </a:cubicBezTo>
                  <a:lnTo>
                    <a:pt x="2395" y="12603"/>
                  </a:lnTo>
                  <a:cubicBezTo>
                    <a:pt x="2463" y="12645"/>
                    <a:pt x="2537" y="12665"/>
                    <a:pt x="2610" y="12665"/>
                  </a:cubicBezTo>
                  <a:cubicBezTo>
                    <a:pt x="2808" y="12665"/>
                    <a:pt x="2994" y="12518"/>
                    <a:pt x="2994" y="12288"/>
                  </a:cubicBezTo>
                  <a:lnTo>
                    <a:pt x="2994" y="10145"/>
                  </a:lnTo>
                  <a:cubicBezTo>
                    <a:pt x="3781" y="11248"/>
                    <a:pt x="5041" y="11878"/>
                    <a:pt x="6365" y="11878"/>
                  </a:cubicBezTo>
                  <a:cubicBezTo>
                    <a:pt x="7719" y="11878"/>
                    <a:pt x="8980" y="11248"/>
                    <a:pt x="9767" y="10145"/>
                  </a:cubicBezTo>
                  <a:lnTo>
                    <a:pt x="9767" y="12288"/>
                  </a:lnTo>
                  <a:cubicBezTo>
                    <a:pt x="9767" y="12521"/>
                    <a:pt x="9941" y="12651"/>
                    <a:pt x="10146" y="12651"/>
                  </a:cubicBezTo>
                  <a:cubicBezTo>
                    <a:pt x="10217" y="12651"/>
                    <a:pt x="10293" y="12635"/>
                    <a:pt x="10366" y="12603"/>
                  </a:cubicBezTo>
                  <a:lnTo>
                    <a:pt x="11500" y="11847"/>
                  </a:lnTo>
                  <a:cubicBezTo>
                    <a:pt x="12288" y="11343"/>
                    <a:pt x="12760" y="10429"/>
                    <a:pt x="12760" y="9484"/>
                  </a:cubicBezTo>
                  <a:cubicBezTo>
                    <a:pt x="12760" y="8350"/>
                    <a:pt x="12477" y="7184"/>
                    <a:pt x="11973" y="6176"/>
                  </a:cubicBezTo>
                  <a:cubicBezTo>
                    <a:pt x="11500" y="5262"/>
                    <a:pt x="11248" y="4159"/>
                    <a:pt x="11248" y="3151"/>
                  </a:cubicBezTo>
                  <a:lnTo>
                    <a:pt x="11248" y="347"/>
                  </a:lnTo>
                  <a:cubicBezTo>
                    <a:pt x="11248" y="158"/>
                    <a:pt x="11090" y="1"/>
                    <a:pt x="10901"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10587" name="Google Shape;10587;p112"/>
          <p:cNvGrpSpPr/>
          <p:nvPr/>
        </p:nvGrpSpPr>
        <p:grpSpPr>
          <a:xfrm>
            <a:off x="6506203" y="5109428"/>
            <a:ext cx="425437" cy="481453"/>
            <a:chOff x="-54817600" y="2687750"/>
            <a:chExt cx="281200" cy="318225"/>
          </a:xfrm>
        </p:grpSpPr>
        <p:sp>
          <p:nvSpPr>
            <p:cNvPr id="10588" name="Google Shape;10588;p112"/>
            <p:cNvSpPr/>
            <p:nvPr/>
          </p:nvSpPr>
          <p:spPr>
            <a:xfrm>
              <a:off x="-54712850" y="2919525"/>
              <a:ext cx="73275" cy="28950"/>
            </a:xfrm>
            <a:custGeom>
              <a:avLst/>
              <a:gdLst/>
              <a:ahLst/>
              <a:cxnLst/>
              <a:rect l="l" t="t" r="r" b="b"/>
              <a:pathLst>
                <a:path w="2931" h="1158" extrusionOk="0">
                  <a:moveTo>
                    <a:pt x="414" y="0"/>
                  </a:moveTo>
                  <a:cubicBezTo>
                    <a:pt x="316" y="0"/>
                    <a:pt x="222" y="39"/>
                    <a:pt x="159" y="118"/>
                  </a:cubicBezTo>
                  <a:cubicBezTo>
                    <a:pt x="1" y="276"/>
                    <a:pt x="1" y="496"/>
                    <a:pt x="159" y="622"/>
                  </a:cubicBezTo>
                  <a:cubicBezTo>
                    <a:pt x="537" y="969"/>
                    <a:pt x="1009" y="1158"/>
                    <a:pt x="1482" y="1158"/>
                  </a:cubicBezTo>
                  <a:cubicBezTo>
                    <a:pt x="1986" y="1158"/>
                    <a:pt x="2458" y="969"/>
                    <a:pt x="2773" y="622"/>
                  </a:cubicBezTo>
                  <a:cubicBezTo>
                    <a:pt x="2931" y="465"/>
                    <a:pt x="2931" y="213"/>
                    <a:pt x="2773" y="118"/>
                  </a:cubicBezTo>
                  <a:cubicBezTo>
                    <a:pt x="2695" y="39"/>
                    <a:pt x="2592" y="0"/>
                    <a:pt x="2498" y="0"/>
                  </a:cubicBezTo>
                  <a:cubicBezTo>
                    <a:pt x="2403" y="0"/>
                    <a:pt x="2317" y="39"/>
                    <a:pt x="2269" y="118"/>
                  </a:cubicBezTo>
                  <a:cubicBezTo>
                    <a:pt x="2049" y="307"/>
                    <a:pt x="1734" y="433"/>
                    <a:pt x="1482" y="433"/>
                  </a:cubicBezTo>
                  <a:cubicBezTo>
                    <a:pt x="1167" y="433"/>
                    <a:pt x="883" y="307"/>
                    <a:pt x="694" y="118"/>
                  </a:cubicBezTo>
                  <a:cubicBezTo>
                    <a:pt x="615" y="39"/>
                    <a:pt x="513" y="0"/>
                    <a:pt x="414"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589" name="Google Shape;10589;p112"/>
            <p:cNvSpPr/>
            <p:nvPr/>
          </p:nvSpPr>
          <p:spPr>
            <a:xfrm>
              <a:off x="-54722300" y="2856300"/>
              <a:ext cx="17350" cy="17350"/>
            </a:xfrm>
            <a:custGeom>
              <a:avLst/>
              <a:gdLst/>
              <a:ahLst/>
              <a:cxnLst/>
              <a:rect l="l" t="t" r="r" b="b"/>
              <a:pathLst>
                <a:path w="694" h="694" extrusionOk="0">
                  <a:moveTo>
                    <a:pt x="347" y="1"/>
                  </a:moveTo>
                  <a:cubicBezTo>
                    <a:pt x="158" y="1"/>
                    <a:pt x="1" y="158"/>
                    <a:pt x="1" y="347"/>
                  </a:cubicBezTo>
                  <a:cubicBezTo>
                    <a:pt x="1" y="536"/>
                    <a:pt x="158" y="694"/>
                    <a:pt x="347" y="694"/>
                  </a:cubicBezTo>
                  <a:cubicBezTo>
                    <a:pt x="537" y="694"/>
                    <a:pt x="694" y="536"/>
                    <a:pt x="694" y="347"/>
                  </a:cubicBezTo>
                  <a:cubicBezTo>
                    <a:pt x="694" y="158"/>
                    <a:pt x="537" y="1"/>
                    <a:pt x="347"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590" name="Google Shape;10590;p112"/>
            <p:cNvSpPr/>
            <p:nvPr/>
          </p:nvSpPr>
          <p:spPr>
            <a:xfrm>
              <a:off x="-54647475" y="2856300"/>
              <a:ext cx="18150" cy="17350"/>
            </a:xfrm>
            <a:custGeom>
              <a:avLst/>
              <a:gdLst/>
              <a:ahLst/>
              <a:cxnLst/>
              <a:rect l="l" t="t" r="r" b="b"/>
              <a:pathLst>
                <a:path w="726" h="694" extrusionOk="0">
                  <a:moveTo>
                    <a:pt x="347" y="1"/>
                  </a:moveTo>
                  <a:cubicBezTo>
                    <a:pt x="158" y="1"/>
                    <a:pt x="1" y="158"/>
                    <a:pt x="1" y="347"/>
                  </a:cubicBezTo>
                  <a:cubicBezTo>
                    <a:pt x="1" y="536"/>
                    <a:pt x="158" y="694"/>
                    <a:pt x="347" y="694"/>
                  </a:cubicBezTo>
                  <a:cubicBezTo>
                    <a:pt x="536" y="694"/>
                    <a:pt x="726" y="536"/>
                    <a:pt x="726" y="347"/>
                  </a:cubicBezTo>
                  <a:cubicBezTo>
                    <a:pt x="726" y="158"/>
                    <a:pt x="536" y="1"/>
                    <a:pt x="347"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591" name="Google Shape;10591;p112"/>
            <p:cNvSpPr/>
            <p:nvPr/>
          </p:nvSpPr>
          <p:spPr>
            <a:xfrm>
              <a:off x="-54817600" y="2687750"/>
              <a:ext cx="281200" cy="318225"/>
            </a:xfrm>
            <a:custGeom>
              <a:avLst/>
              <a:gdLst/>
              <a:ahLst/>
              <a:cxnLst/>
              <a:rect l="l" t="t" r="r" b="b"/>
              <a:pathLst>
                <a:path w="11248" h="12729" extrusionOk="0">
                  <a:moveTo>
                    <a:pt x="5231" y="757"/>
                  </a:moveTo>
                  <a:lnTo>
                    <a:pt x="5231" y="4380"/>
                  </a:lnTo>
                  <a:lnTo>
                    <a:pt x="3782" y="4380"/>
                  </a:lnTo>
                  <a:cubicBezTo>
                    <a:pt x="3817" y="3414"/>
                    <a:pt x="4006" y="2482"/>
                    <a:pt x="4349" y="1765"/>
                  </a:cubicBezTo>
                  <a:cubicBezTo>
                    <a:pt x="4601" y="1261"/>
                    <a:pt x="4916" y="914"/>
                    <a:pt x="5231" y="757"/>
                  </a:cubicBezTo>
                  <a:close/>
                  <a:moveTo>
                    <a:pt x="3970" y="1072"/>
                  </a:moveTo>
                  <a:lnTo>
                    <a:pt x="3970" y="1072"/>
                  </a:lnTo>
                  <a:cubicBezTo>
                    <a:pt x="3876" y="1198"/>
                    <a:pt x="3813" y="1355"/>
                    <a:pt x="3718" y="1450"/>
                  </a:cubicBezTo>
                  <a:cubicBezTo>
                    <a:pt x="3340" y="2238"/>
                    <a:pt x="3088" y="3309"/>
                    <a:pt x="3057" y="4411"/>
                  </a:cubicBezTo>
                  <a:lnTo>
                    <a:pt x="1576" y="4411"/>
                  </a:lnTo>
                  <a:cubicBezTo>
                    <a:pt x="1671" y="2931"/>
                    <a:pt x="2616" y="1670"/>
                    <a:pt x="3970" y="1072"/>
                  </a:cubicBezTo>
                  <a:close/>
                  <a:moveTo>
                    <a:pt x="7310" y="1072"/>
                  </a:moveTo>
                  <a:cubicBezTo>
                    <a:pt x="8665" y="1670"/>
                    <a:pt x="9610" y="2931"/>
                    <a:pt x="9704" y="4411"/>
                  </a:cubicBezTo>
                  <a:lnTo>
                    <a:pt x="8224" y="4411"/>
                  </a:lnTo>
                  <a:cubicBezTo>
                    <a:pt x="8192" y="3309"/>
                    <a:pt x="7940" y="2238"/>
                    <a:pt x="7562" y="1450"/>
                  </a:cubicBezTo>
                  <a:cubicBezTo>
                    <a:pt x="7467" y="1292"/>
                    <a:pt x="7404" y="1198"/>
                    <a:pt x="7310" y="1072"/>
                  </a:cubicBezTo>
                  <a:close/>
                  <a:moveTo>
                    <a:pt x="6018" y="788"/>
                  </a:moveTo>
                  <a:cubicBezTo>
                    <a:pt x="6333" y="946"/>
                    <a:pt x="6648" y="1292"/>
                    <a:pt x="6869" y="1828"/>
                  </a:cubicBezTo>
                  <a:cubicBezTo>
                    <a:pt x="7247" y="2521"/>
                    <a:pt x="7436" y="3435"/>
                    <a:pt x="7467" y="4443"/>
                  </a:cubicBezTo>
                  <a:lnTo>
                    <a:pt x="5987" y="4443"/>
                  </a:lnTo>
                  <a:lnTo>
                    <a:pt x="5987" y="788"/>
                  </a:lnTo>
                  <a:close/>
                  <a:moveTo>
                    <a:pt x="1513" y="6711"/>
                  </a:moveTo>
                  <a:lnTo>
                    <a:pt x="1513" y="8192"/>
                  </a:lnTo>
                  <a:cubicBezTo>
                    <a:pt x="1135" y="8192"/>
                    <a:pt x="788" y="7877"/>
                    <a:pt x="788" y="7436"/>
                  </a:cubicBezTo>
                  <a:cubicBezTo>
                    <a:pt x="788" y="7058"/>
                    <a:pt x="1103" y="6711"/>
                    <a:pt x="1513" y="6711"/>
                  </a:cubicBezTo>
                  <a:close/>
                  <a:moveTo>
                    <a:pt x="9767" y="6711"/>
                  </a:moveTo>
                  <a:cubicBezTo>
                    <a:pt x="10145" y="6711"/>
                    <a:pt x="10492" y="7058"/>
                    <a:pt x="10492" y="7436"/>
                  </a:cubicBezTo>
                  <a:cubicBezTo>
                    <a:pt x="10492" y="7877"/>
                    <a:pt x="10145" y="8192"/>
                    <a:pt x="9767" y="8192"/>
                  </a:cubicBezTo>
                  <a:lnTo>
                    <a:pt x="9767" y="6711"/>
                  </a:lnTo>
                  <a:close/>
                  <a:moveTo>
                    <a:pt x="9043" y="5168"/>
                  </a:moveTo>
                  <a:lnTo>
                    <a:pt x="9043" y="8602"/>
                  </a:lnTo>
                  <a:cubicBezTo>
                    <a:pt x="9011" y="10429"/>
                    <a:pt x="7499" y="11941"/>
                    <a:pt x="5672" y="11941"/>
                  </a:cubicBezTo>
                  <a:cubicBezTo>
                    <a:pt x="3813" y="11941"/>
                    <a:pt x="2301" y="10429"/>
                    <a:pt x="2301" y="8602"/>
                  </a:cubicBezTo>
                  <a:lnTo>
                    <a:pt x="2301" y="5168"/>
                  </a:lnTo>
                  <a:close/>
                  <a:moveTo>
                    <a:pt x="5609" y="1"/>
                  </a:moveTo>
                  <a:cubicBezTo>
                    <a:pt x="2931" y="1"/>
                    <a:pt x="788" y="2175"/>
                    <a:pt x="788" y="4852"/>
                  </a:cubicBezTo>
                  <a:cubicBezTo>
                    <a:pt x="788" y="5041"/>
                    <a:pt x="946" y="5199"/>
                    <a:pt x="1135" y="5199"/>
                  </a:cubicBezTo>
                  <a:lnTo>
                    <a:pt x="1482" y="5199"/>
                  </a:lnTo>
                  <a:lnTo>
                    <a:pt x="1482" y="5987"/>
                  </a:lnTo>
                  <a:cubicBezTo>
                    <a:pt x="662" y="5987"/>
                    <a:pt x="1" y="6648"/>
                    <a:pt x="1" y="7499"/>
                  </a:cubicBezTo>
                  <a:cubicBezTo>
                    <a:pt x="1" y="8318"/>
                    <a:pt x="662" y="8980"/>
                    <a:pt x="1482" y="8980"/>
                  </a:cubicBezTo>
                  <a:cubicBezTo>
                    <a:pt x="1671" y="11059"/>
                    <a:pt x="3466" y="12729"/>
                    <a:pt x="5577" y="12729"/>
                  </a:cubicBezTo>
                  <a:cubicBezTo>
                    <a:pt x="7720" y="12729"/>
                    <a:pt x="9484" y="11059"/>
                    <a:pt x="9673" y="8980"/>
                  </a:cubicBezTo>
                  <a:cubicBezTo>
                    <a:pt x="10492" y="8980"/>
                    <a:pt x="11185" y="8318"/>
                    <a:pt x="11185" y="7499"/>
                  </a:cubicBezTo>
                  <a:cubicBezTo>
                    <a:pt x="11248" y="6648"/>
                    <a:pt x="10586" y="5987"/>
                    <a:pt x="9767" y="5987"/>
                  </a:cubicBezTo>
                  <a:lnTo>
                    <a:pt x="9767" y="5199"/>
                  </a:lnTo>
                  <a:lnTo>
                    <a:pt x="10114" y="5199"/>
                  </a:lnTo>
                  <a:cubicBezTo>
                    <a:pt x="10303" y="5199"/>
                    <a:pt x="10460" y="5041"/>
                    <a:pt x="10460" y="4852"/>
                  </a:cubicBezTo>
                  <a:cubicBezTo>
                    <a:pt x="10460" y="2175"/>
                    <a:pt x="8287" y="1"/>
                    <a:pt x="5609"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10592" name="Google Shape;10592;p112"/>
          <p:cNvGrpSpPr/>
          <p:nvPr/>
        </p:nvGrpSpPr>
        <p:grpSpPr>
          <a:xfrm>
            <a:off x="9480635" y="3882582"/>
            <a:ext cx="423053" cy="479071"/>
            <a:chOff x="-52887125" y="1903275"/>
            <a:chExt cx="279625" cy="316650"/>
          </a:xfrm>
        </p:grpSpPr>
        <p:sp>
          <p:nvSpPr>
            <p:cNvPr id="10593" name="Google Shape;10593;p112"/>
            <p:cNvSpPr/>
            <p:nvPr/>
          </p:nvSpPr>
          <p:spPr>
            <a:xfrm>
              <a:off x="-52783950" y="2135825"/>
              <a:ext cx="73275" cy="28975"/>
            </a:xfrm>
            <a:custGeom>
              <a:avLst/>
              <a:gdLst/>
              <a:ahLst/>
              <a:cxnLst/>
              <a:rect l="l" t="t" r="r" b="b"/>
              <a:pathLst>
                <a:path w="2931" h="1159" extrusionOk="0">
                  <a:moveTo>
                    <a:pt x="398" y="1"/>
                  </a:moveTo>
                  <a:cubicBezTo>
                    <a:pt x="308" y="1"/>
                    <a:pt x="221" y="40"/>
                    <a:pt x="158" y="119"/>
                  </a:cubicBezTo>
                  <a:cubicBezTo>
                    <a:pt x="1" y="276"/>
                    <a:pt x="1" y="497"/>
                    <a:pt x="158" y="623"/>
                  </a:cubicBezTo>
                  <a:cubicBezTo>
                    <a:pt x="505" y="970"/>
                    <a:pt x="977" y="1159"/>
                    <a:pt x="1450" y="1159"/>
                  </a:cubicBezTo>
                  <a:cubicBezTo>
                    <a:pt x="1922" y="1159"/>
                    <a:pt x="2458" y="970"/>
                    <a:pt x="2773" y="623"/>
                  </a:cubicBezTo>
                  <a:cubicBezTo>
                    <a:pt x="2931" y="465"/>
                    <a:pt x="2931" y="213"/>
                    <a:pt x="2773" y="119"/>
                  </a:cubicBezTo>
                  <a:cubicBezTo>
                    <a:pt x="2694" y="40"/>
                    <a:pt x="2592" y="1"/>
                    <a:pt x="2493" y="1"/>
                  </a:cubicBezTo>
                  <a:cubicBezTo>
                    <a:pt x="2395" y="1"/>
                    <a:pt x="2300" y="40"/>
                    <a:pt x="2237" y="119"/>
                  </a:cubicBezTo>
                  <a:cubicBezTo>
                    <a:pt x="2048" y="308"/>
                    <a:pt x="1733" y="434"/>
                    <a:pt x="1450" y="434"/>
                  </a:cubicBezTo>
                  <a:cubicBezTo>
                    <a:pt x="1198" y="434"/>
                    <a:pt x="883" y="308"/>
                    <a:pt x="662" y="119"/>
                  </a:cubicBezTo>
                  <a:cubicBezTo>
                    <a:pt x="583" y="40"/>
                    <a:pt x="489" y="1"/>
                    <a:pt x="398"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594" name="Google Shape;10594;p112"/>
            <p:cNvSpPr/>
            <p:nvPr/>
          </p:nvSpPr>
          <p:spPr>
            <a:xfrm>
              <a:off x="-52887125" y="1903275"/>
              <a:ext cx="279625" cy="316650"/>
            </a:xfrm>
            <a:custGeom>
              <a:avLst/>
              <a:gdLst/>
              <a:ahLst/>
              <a:cxnLst/>
              <a:rect l="l" t="t" r="r" b="b"/>
              <a:pathLst>
                <a:path w="11185" h="12666" extrusionOk="0">
                  <a:moveTo>
                    <a:pt x="5545" y="2238"/>
                  </a:moveTo>
                  <a:cubicBezTo>
                    <a:pt x="5986" y="2238"/>
                    <a:pt x="6427" y="2332"/>
                    <a:pt x="6806" y="2490"/>
                  </a:cubicBezTo>
                  <a:cubicBezTo>
                    <a:pt x="6049" y="3687"/>
                    <a:pt x="4726" y="4443"/>
                    <a:pt x="3308" y="4443"/>
                  </a:cubicBezTo>
                  <a:lnTo>
                    <a:pt x="2407" y="4443"/>
                  </a:lnTo>
                  <a:cubicBezTo>
                    <a:pt x="2887" y="3168"/>
                    <a:pt x="4108" y="2238"/>
                    <a:pt x="5545" y="2238"/>
                  </a:cubicBezTo>
                  <a:close/>
                  <a:moveTo>
                    <a:pt x="5577" y="757"/>
                  </a:moveTo>
                  <a:cubicBezTo>
                    <a:pt x="7877" y="757"/>
                    <a:pt x="9799" y="2364"/>
                    <a:pt x="10303" y="4475"/>
                  </a:cubicBezTo>
                  <a:cubicBezTo>
                    <a:pt x="10240" y="4475"/>
                    <a:pt x="10145" y="4443"/>
                    <a:pt x="10082" y="4443"/>
                  </a:cubicBezTo>
                  <a:cubicBezTo>
                    <a:pt x="9893" y="4443"/>
                    <a:pt x="9736" y="4475"/>
                    <a:pt x="9578" y="4569"/>
                  </a:cubicBezTo>
                  <a:cubicBezTo>
                    <a:pt x="9137" y="2742"/>
                    <a:pt x="7467" y="1450"/>
                    <a:pt x="5577" y="1450"/>
                  </a:cubicBezTo>
                  <a:cubicBezTo>
                    <a:pt x="3655" y="1450"/>
                    <a:pt x="2048" y="2805"/>
                    <a:pt x="1607" y="4569"/>
                  </a:cubicBezTo>
                  <a:cubicBezTo>
                    <a:pt x="1450" y="4475"/>
                    <a:pt x="1292" y="4443"/>
                    <a:pt x="1103" y="4443"/>
                  </a:cubicBezTo>
                  <a:cubicBezTo>
                    <a:pt x="1009" y="4443"/>
                    <a:pt x="946" y="4443"/>
                    <a:pt x="851" y="4475"/>
                  </a:cubicBezTo>
                  <a:cubicBezTo>
                    <a:pt x="1324" y="2364"/>
                    <a:pt x="3277" y="757"/>
                    <a:pt x="5577" y="757"/>
                  </a:cubicBezTo>
                  <a:close/>
                  <a:moveTo>
                    <a:pt x="7530" y="2868"/>
                  </a:moveTo>
                  <a:cubicBezTo>
                    <a:pt x="8381" y="3466"/>
                    <a:pt x="8948" y="4475"/>
                    <a:pt x="8948" y="5640"/>
                  </a:cubicBezTo>
                  <a:lnTo>
                    <a:pt x="8948" y="6050"/>
                  </a:lnTo>
                  <a:lnTo>
                    <a:pt x="2206" y="6050"/>
                  </a:lnTo>
                  <a:lnTo>
                    <a:pt x="2206" y="6018"/>
                  </a:lnTo>
                  <a:lnTo>
                    <a:pt x="2206" y="5577"/>
                  </a:lnTo>
                  <a:cubicBezTo>
                    <a:pt x="2206" y="5483"/>
                    <a:pt x="2206" y="5357"/>
                    <a:pt x="2237" y="5231"/>
                  </a:cubicBezTo>
                  <a:lnTo>
                    <a:pt x="3340" y="5231"/>
                  </a:lnTo>
                  <a:cubicBezTo>
                    <a:pt x="4285" y="5231"/>
                    <a:pt x="5167" y="4947"/>
                    <a:pt x="5955" y="4475"/>
                  </a:cubicBezTo>
                  <a:cubicBezTo>
                    <a:pt x="6585" y="4097"/>
                    <a:pt x="7121" y="3529"/>
                    <a:pt x="7530" y="2868"/>
                  </a:cubicBezTo>
                  <a:close/>
                  <a:moveTo>
                    <a:pt x="10082" y="5231"/>
                  </a:moveTo>
                  <a:cubicBezTo>
                    <a:pt x="10271" y="5231"/>
                    <a:pt x="10429" y="5388"/>
                    <a:pt x="10429" y="5577"/>
                  </a:cubicBezTo>
                  <a:lnTo>
                    <a:pt x="10429" y="7877"/>
                  </a:lnTo>
                  <a:cubicBezTo>
                    <a:pt x="10429" y="8066"/>
                    <a:pt x="10271" y="8224"/>
                    <a:pt x="10082" y="8224"/>
                  </a:cubicBezTo>
                  <a:cubicBezTo>
                    <a:pt x="9893" y="8224"/>
                    <a:pt x="9736" y="8066"/>
                    <a:pt x="9736" y="7877"/>
                  </a:cubicBezTo>
                  <a:lnTo>
                    <a:pt x="9736" y="5577"/>
                  </a:lnTo>
                  <a:cubicBezTo>
                    <a:pt x="9736" y="5388"/>
                    <a:pt x="9893" y="5231"/>
                    <a:pt x="10082" y="5231"/>
                  </a:cubicBezTo>
                  <a:close/>
                  <a:moveTo>
                    <a:pt x="1103" y="5262"/>
                  </a:moveTo>
                  <a:cubicBezTo>
                    <a:pt x="1292" y="5262"/>
                    <a:pt x="1450" y="5420"/>
                    <a:pt x="1450" y="5640"/>
                  </a:cubicBezTo>
                  <a:lnTo>
                    <a:pt x="1450" y="7909"/>
                  </a:lnTo>
                  <a:cubicBezTo>
                    <a:pt x="1450" y="8066"/>
                    <a:pt x="1292" y="8255"/>
                    <a:pt x="1103" y="8255"/>
                  </a:cubicBezTo>
                  <a:cubicBezTo>
                    <a:pt x="914" y="8255"/>
                    <a:pt x="757" y="8098"/>
                    <a:pt x="757" y="7909"/>
                  </a:cubicBezTo>
                  <a:lnTo>
                    <a:pt x="757" y="5640"/>
                  </a:lnTo>
                  <a:cubicBezTo>
                    <a:pt x="757" y="5420"/>
                    <a:pt x="914" y="5262"/>
                    <a:pt x="1103" y="5262"/>
                  </a:cubicBezTo>
                  <a:close/>
                  <a:moveTo>
                    <a:pt x="5199" y="6774"/>
                  </a:moveTo>
                  <a:cubicBezTo>
                    <a:pt x="5199" y="7594"/>
                    <a:pt x="4537" y="8255"/>
                    <a:pt x="3687" y="8255"/>
                  </a:cubicBezTo>
                  <a:cubicBezTo>
                    <a:pt x="2867" y="8255"/>
                    <a:pt x="2206" y="7594"/>
                    <a:pt x="2206" y="6774"/>
                  </a:cubicBezTo>
                  <a:close/>
                  <a:moveTo>
                    <a:pt x="8948" y="6774"/>
                  </a:moveTo>
                  <a:cubicBezTo>
                    <a:pt x="8948" y="7594"/>
                    <a:pt x="8255" y="8255"/>
                    <a:pt x="7436" y="8255"/>
                  </a:cubicBezTo>
                  <a:cubicBezTo>
                    <a:pt x="6617" y="8255"/>
                    <a:pt x="5955" y="7594"/>
                    <a:pt x="5955" y="6774"/>
                  </a:cubicBezTo>
                  <a:close/>
                  <a:moveTo>
                    <a:pt x="5545" y="8035"/>
                  </a:moveTo>
                  <a:cubicBezTo>
                    <a:pt x="5955" y="8633"/>
                    <a:pt x="6648" y="9011"/>
                    <a:pt x="7404" y="9011"/>
                  </a:cubicBezTo>
                  <a:cubicBezTo>
                    <a:pt x="8003" y="9011"/>
                    <a:pt x="8507" y="8822"/>
                    <a:pt x="8885" y="8413"/>
                  </a:cubicBezTo>
                  <a:lnTo>
                    <a:pt x="8885" y="8476"/>
                  </a:lnTo>
                  <a:cubicBezTo>
                    <a:pt x="8948" y="10272"/>
                    <a:pt x="7593" y="11815"/>
                    <a:pt x="5892" y="11973"/>
                  </a:cubicBezTo>
                  <a:cubicBezTo>
                    <a:pt x="5782" y="11983"/>
                    <a:pt x="5673" y="11988"/>
                    <a:pt x="5565" y="11988"/>
                  </a:cubicBezTo>
                  <a:cubicBezTo>
                    <a:pt x="3672" y="11988"/>
                    <a:pt x="2206" y="10452"/>
                    <a:pt x="2206" y="8633"/>
                  </a:cubicBezTo>
                  <a:lnTo>
                    <a:pt x="2206" y="8413"/>
                  </a:lnTo>
                  <a:cubicBezTo>
                    <a:pt x="2584" y="8791"/>
                    <a:pt x="3119" y="9011"/>
                    <a:pt x="3687" y="9011"/>
                  </a:cubicBezTo>
                  <a:cubicBezTo>
                    <a:pt x="4474" y="9011"/>
                    <a:pt x="5167" y="8633"/>
                    <a:pt x="5545" y="8035"/>
                  </a:cubicBezTo>
                  <a:close/>
                  <a:moveTo>
                    <a:pt x="5577" y="1"/>
                  </a:moveTo>
                  <a:cubicBezTo>
                    <a:pt x="2489" y="1"/>
                    <a:pt x="0" y="2521"/>
                    <a:pt x="0" y="5577"/>
                  </a:cubicBezTo>
                  <a:lnTo>
                    <a:pt x="0" y="7877"/>
                  </a:lnTo>
                  <a:cubicBezTo>
                    <a:pt x="0" y="8507"/>
                    <a:pt x="505" y="8980"/>
                    <a:pt x="1103" y="8980"/>
                  </a:cubicBezTo>
                  <a:cubicBezTo>
                    <a:pt x="1229" y="8980"/>
                    <a:pt x="1387" y="8948"/>
                    <a:pt x="1481" y="8885"/>
                  </a:cubicBezTo>
                  <a:cubicBezTo>
                    <a:pt x="1639" y="10996"/>
                    <a:pt x="3372" y="12666"/>
                    <a:pt x="5577" y="12666"/>
                  </a:cubicBezTo>
                  <a:lnTo>
                    <a:pt x="5986" y="12666"/>
                  </a:lnTo>
                  <a:cubicBezTo>
                    <a:pt x="7940" y="12477"/>
                    <a:pt x="9452" y="10870"/>
                    <a:pt x="9641" y="8885"/>
                  </a:cubicBezTo>
                  <a:cubicBezTo>
                    <a:pt x="9767" y="8948"/>
                    <a:pt x="9925" y="8980"/>
                    <a:pt x="10051" y="8980"/>
                  </a:cubicBezTo>
                  <a:cubicBezTo>
                    <a:pt x="10681" y="8980"/>
                    <a:pt x="11153" y="8476"/>
                    <a:pt x="11153" y="7877"/>
                  </a:cubicBezTo>
                  <a:lnTo>
                    <a:pt x="11153" y="5577"/>
                  </a:lnTo>
                  <a:cubicBezTo>
                    <a:pt x="11185" y="2521"/>
                    <a:pt x="8664" y="1"/>
                    <a:pt x="5577"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10595" name="Google Shape;10595;p112"/>
          <p:cNvGrpSpPr/>
          <p:nvPr/>
        </p:nvGrpSpPr>
        <p:grpSpPr>
          <a:xfrm>
            <a:off x="9452040" y="4483645"/>
            <a:ext cx="480243" cy="482625"/>
            <a:chOff x="-52906025" y="2293950"/>
            <a:chExt cx="317425" cy="319000"/>
          </a:xfrm>
        </p:grpSpPr>
        <p:sp>
          <p:nvSpPr>
            <p:cNvPr id="10596" name="Google Shape;10596;p112"/>
            <p:cNvSpPr/>
            <p:nvPr/>
          </p:nvSpPr>
          <p:spPr>
            <a:xfrm>
              <a:off x="-52783950" y="2526500"/>
              <a:ext cx="73275" cy="29750"/>
            </a:xfrm>
            <a:custGeom>
              <a:avLst/>
              <a:gdLst/>
              <a:ahLst/>
              <a:cxnLst/>
              <a:rect l="l" t="t" r="r" b="b"/>
              <a:pathLst>
                <a:path w="2931" h="1190" extrusionOk="0">
                  <a:moveTo>
                    <a:pt x="398" y="0"/>
                  </a:moveTo>
                  <a:cubicBezTo>
                    <a:pt x="308" y="0"/>
                    <a:pt x="221" y="39"/>
                    <a:pt x="158" y="118"/>
                  </a:cubicBezTo>
                  <a:cubicBezTo>
                    <a:pt x="1" y="276"/>
                    <a:pt x="1" y="496"/>
                    <a:pt x="158" y="622"/>
                  </a:cubicBezTo>
                  <a:cubicBezTo>
                    <a:pt x="505" y="969"/>
                    <a:pt x="977" y="1189"/>
                    <a:pt x="1450" y="1189"/>
                  </a:cubicBezTo>
                  <a:cubicBezTo>
                    <a:pt x="1922" y="1189"/>
                    <a:pt x="2458" y="969"/>
                    <a:pt x="2773" y="622"/>
                  </a:cubicBezTo>
                  <a:cubicBezTo>
                    <a:pt x="2931" y="465"/>
                    <a:pt x="2931" y="244"/>
                    <a:pt x="2773" y="118"/>
                  </a:cubicBezTo>
                  <a:cubicBezTo>
                    <a:pt x="2694" y="39"/>
                    <a:pt x="2592" y="0"/>
                    <a:pt x="2493" y="0"/>
                  </a:cubicBezTo>
                  <a:cubicBezTo>
                    <a:pt x="2395" y="0"/>
                    <a:pt x="2300" y="39"/>
                    <a:pt x="2237" y="118"/>
                  </a:cubicBezTo>
                  <a:cubicBezTo>
                    <a:pt x="2048" y="307"/>
                    <a:pt x="1733" y="433"/>
                    <a:pt x="1450" y="433"/>
                  </a:cubicBezTo>
                  <a:cubicBezTo>
                    <a:pt x="1198" y="433"/>
                    <a:pt x="883" y="307"/>
                    <a:pt x="662" y="118"/>
                  </a:cubicBezTo>
                  <a:cubicBezTo>
                    <a:pt x="583" y="39"/>
                    <a:pt x="489" y="0"/>
                    <a:pt x="398"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597" name="Google Shape;10597;p112"/>
            <p:cNvSpPr/>
            <p:nvPr/>
          </p:nvSpPr>
          <p:spPr>
            <a:xfrm>
              <a:off x="-52718575" y="2463275"/>
              <a:ext cx="17350" cy="17350"/>
            </a:xfrm>
            <a:custGeom>
              <a:avLst/>
              <a:gdLst/>
              <a:ahLst/>
              <a:cxnLst/>
              <a:rect l="l" t="t" r="r" b="b"/>
              <a:pathLst>
                <a:path w="694" h="694" extrusionOk="0">
                  <a:moveTo>
                    <a:pt x="347" y="1"/>
                  </a:moveTo>
                  <a:cubicBezTo>
                    <a:pt x="158" y="1"/>
                    <a:pt x="1" y="158"/>
                    <a:pt x="1" y="347"/>
                  </a:cubicBezTo>
                  <a:cubicBezTo>
                    <a:pt x="1" y="536"/>
                    <a:pt x="158" y="694"/>
                    <a:pt x="347" y="694"/>
                  </a:cubicBezTo>
                  <a:cubicBezTo>
                    <a:pt x="536" y="694"/>
                    <a:pt x="694" y="536"/>
                    <a:pt x="694" y="347"/>
                  </a:cubicBezTo>
                  <a:cubicBezTo>
                    <a:pt x="694" y="158"/>
                    <a:pt x="536" y="1"/>
                    <a:pt x="347"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598" name="Google Shape;10598;p112"/>
            <p:cNvSpPr/>
            <p:nvPr/>
          </p:nvSpPr>
          <p:spPr>
            <a:xfrm>
              <a:off x="-52906025" y="2293950"/>
              <a:ext cx="317425" cy="319000"/>
            </a:xfrm>
            <a:custGeom>
              <a:avLst/>
              <a:gdLst/>
              <a:ahLst/>
              <a:cxnLst/>
              <a:rect l="l" t="t" r="r" b="b"/>
              <a:pathLst>
                <a:path w="12697" h="12760" extrusionOk="0">
                  <a:moveTo>
                    <a:pt x="6333" y="788"/>
                  </a:moveTo>
                  <a:cubicBezTo>
                    <a:pt x="7877" y="788"/>
                    <a:pt x="9231" y="1607"/>
                    <a:pt x="9609" y="2773"/>
                  </a:cubicBezTo>
                  <a:cubicBezTo>
                    <a:pt x="8633" y="2458"/>
                    <a:pt x="7530" y="2300"/>
                    <a:pt x="6333" y="2300"/>
                  </a:cubicBezTo>
                  <a:cubicBezTo>
                    <a:pt x="5167" y="2300"/>
                    <a:pt x="4064" y="2458"/>
                    <a:pt x="3088" y="2773"/>
                  </a:cubicBezTo>
                  <a:cubicBezTo>
                    <a:pt x="3434" y="1607"/>
                    <a:pt x="4758" y="788"/>
                    <a:pt x="6333" y="788"/>
                  </a:cubicBezTo>
                  <a:close/>
                  <a:moveTo>
                    <a:pt x="6301" y="3025"/>
                  </a:moveTo>
                  <a:cubicBezTo>
                    <a:pt x="9515" y="3025"/>
                    <a:pt x="11941" y="4285"/>
                    <a:pt x="11941" y="5640"/>
                  </a:cubicBezTo>
                  <a:cubicBezTo>
                    <a:pt x="11941" y="5986"/>
                    <a:pt x="11783" y="6270"/>
                    <a:pt x="11594" y="6553"/>
                  </a:cubicBezTo>
                  <a:cubicBezTo>
                    <a:pt x="11311" y="6238"/>
                    <a:pt x="10901" y="6018"/>
                    <a:pt x="10429" y="6018"/>
                  </a:cubicBezTo>
                  <a:lnTo>
                    <a:pt x="10429" y="5671"/>
                  </a:lnTo>
                  <a:cubicBezTo>
                    <a:pt x="10429" y="5514"/>
                    <a:pt x="10365" y="5388"/>
                    <a:pt x="10208" y="5325"/>
                  </a:cubicBezTo>
                  <a:cubicBezTo>
                    <a:pt x="10113" y="5262"/>
                    <a:pt x="8444" y="4537"/>
                    <a:pt x="6301" y="4537"/>
                  </a:cubicBezTo>
                  <a:cubicBezTo>
                    <a:pt x="4254" y="4537"/>
                    <a:pt x="2552" y="5230"/>
                    <a:pt x="2426" y="5325"/>
                  </a:cubicBezTo>
                  <a:cubicBezTo>
                    <a:pt x="2269" y="5356"/>
                    <a:pt x="2174" y="5514"/>
                    <a:pt x="2174" y="5671"/>
                  </a:cubicBezTo>
                  <a:lnTo>
                    <a:pt x="2174" y="6018"/>
                  </a:lnTo>
                  <a:cubicBezTo>
                    <a:pt x="1733" y="6018"/>
                    <a:pt x="1292" y="6238"/>
                    <a:pt x="1040" y="6553"/>
                  </a:cubicBezTo>
                  <a:cubicBezTo>
                    <a:pt x="851" y="6301"/>
                    <a:pt x="693" y="5986"/>
                    <a:pt x="693" y="5640"/>
                  </a:cubicBezTo>
                  <a:cubicBezTo>
                    <a:pt x="693" y="4285"/>
                    <a:pt x="3119" y="3025"/>
                    <a:pt x="6301" y="3025"/>
                  </a:cubicBezTo>
                  <a:close/>
                  <a:moveTo>
                    <a:pt x="6364" y="5230"/>
                  </a:moveTo>
                  <a:cubicBezTo>
                    <a:pt x="6585" y="5230"/>
                    <a:pt x="6805" y="5230"/>
                    <a:pt x="7026" y="5262"/>
                  </a:cubicBezTo>
                  <a:cubicBezTo>
                    <a:pt x="6270" y="6616"/>
                    <a:pt x="4821" y="7498"/>
                    <a:pt x="3245" y="7498"/>
                  </a:cubicBezTo>
                  <a:lnTo>
                    <a:pt x="2930" y="7498"/>
                  </a:lnTo>
                  <a:cubicBezTo>
                    <a:pt x="2962" y="7341"/>
                    <a:pt x="2962" y="6049"/>
                    <a:pt x="2962" y="5860"/>
                  </a:cubicBezTo>
                  <a:cubicBezTo>
                    <a:pt x="3466" y="5671"/>
                    <a:pt x="4821" y="5230"/>
                    <a:pt x="6364" y="5230"/>
                  </a:cubicBezTo>
                  <a:close/>
                  <a:moveTo>
                    <a:pt x="2206" y="6742"/>
                  </a:moveTo>
                  <a:lnTo>
                    <a:pt x="2206" y="8223"/>
                  </a:lnTo>
                  <a:cubicBezTo>
                    <a:pt x="1765" y="8223"/>
                    <a:pt x="1450" y="7908"/>
                    <a:pt x="1450" y="7498"/>
                  </a:cubicBezTo>
                  <a:cubicBezTo>
                    <a:pt x="1450" y="7089"/>
                    <a:pt x="1765" y="6742"/>
                    <a:pt x="2206" y="6742"/>
                  </a:cubicBezTo>
                  <a:close/>
                  <a:moveTo>
                    <a:pt x="10429" y="6742"/>
                  </a:moveTo>
                  <a:cubicBezTo>
                    <a:pt x="10838" y="6742"/>
                    <a:pt x="11185" y="7057"/>
                    <a:pt x="11185" y="7498"/>
                  </a:cubicBezTo>
                  <a:cubicBezTo>
                    <a:pt x="11185" y="7908"/>
                    <a:pt x="10870" y="8223"/>
                    <a:pt x="10429" y="8223"/>
                  </a:cubicBezTo>
                  <a:lnTo>
                    <a:pt x="10429" y="6742"/>
                  </a:lnTo>
                  <a:close/>
                  <a:moveTo>
                    <a:pt x="7845" y="5356"/>
                  </a:moveTo>
                  <a:cubicBezTo>
                    <a:pt x="8696" y="5514"/>
                    <a:pt x="9420" y="5766"/>
                    <a:pt x="9767" y="5860"/>
                  </a:cubicBezTo>
                  <a:lnTo>
                    <a:pt x="9767" y="8601"/>
                  </a:lnTo>
                  <a:cubicBezTo>
                    <a:pt x="9735" y="10491"/>
                    <a:pt x="8160" y="12004"/>
                    <a:pt x="6333" y="12004"/>
                  </a:cubicBezTo>
                  <a:cubicBezTo>
                    <a:pt x="4506" y="12004"/>
                    <a:pt x="2962" y="10428"/>
                    <a:pt x="2962" y="8601"/>
                  </a:cubicBezTo>
                  <a:lnTo>
                    <a:pt x="2962" y="8223"/>
                  </a:lnTo>
                  <a:lnTo>
                    <a:pt x="3277" y="8223"/>
                  </a:lnTo>
                  <a:cubicBezTo>
                    <a:pt x="5293" y="8223"/>
                    <a:pt x="7026" y="7057"/>
                    <a:pt x="7845" y="5356"/>
                  </a:cubicBezTo>
                  <a:close/>
                  <a:moveTo>
                    <a:pt x="6364" y="0"/>
                  </a:moveTo>
                  <a:cubicBezTo>
                    <a:pt x="4254" y="0"/>
                    <a:pt x="2458" y="1292"/>
                    <a:pt x="2269" y="3025"/>
                  </a:cubicBezTo>
                  <a:cubicBezTo>
                    <a:pt x="1103" y="3560"/>
                    <a:pt x="0" y="4379"/>
                    <a:pt x="0" y="5640"/>
                  </a:cubicBezTo>
                  <a:cubicBezTo>
                    <a:pt x="0" y="6238"/>
                    <a:pt x="284" y="6774"/>
                    <a:pt x="756" y="7246"/>
                  </a:cubicBezTo>
                  <a:cubicBezTo>
                    <a:pt x="599" y="8160"/>
                    <a:pt x="1292" y="8979"/>
                    <a:pt x="2206" y="8979"/>
                  </a:cubicBezTo>
                  <a:cubicBezTo>
                    <a:pt x="2426" y="11059"/>
                    <a:pt x="4191" y="12760"/>
                    <a:pt x="6301" y="12760"/>
                  </a:cubicBezTo>
                  <a:cubicBezTo>
                    <a:pt x="8475" y="12760"/>
                    <a:pt x="10239" y="11059"/>
                    <a:pt x="10397" y="8979"/>
                  </a:cubicBezTo>
                  <a:cubicBezTo>
                    <a:pt x="11216" y="8979"/>
                    <a:pt x="11909" y="8318"/>
                    <a:pt x="11909" y="7498"/>
                  </a:cubicBezTo>
                  <a:lnTo>
                    <a:pt x="11909" y="7246"/>
                  </a:lnTo>
                  <a:cubicBezTo>
                    <a:pt x="12445" y="6774"/>
                    <a:pt x="12697" y="6238"/>
                    <a:pt x="12697" y="5640"/>
                  </a:cubicBezTo>
                  <a:cubicBezTo>
                    <a:pt x="12697" y="4411"/>
                    <a:pt x="11531" y="3529"/>
                    <a:pt x="10429" y="3025"/>
                  </a:cubicBezTo>
                  <a:cubicBezTo>
                    <a:pt x="10239" y="1292"/>
                    <a:pt x="8444" y="0"/>
                    <a:pt x="6364"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10599" name="Google Shape;10599;p112"/>
          <p:cNvGrpSpPr/>
          <p:nvPr/>
        </p:nvGrpSpPr>
        <p:grpSpPr>
          <a:xfrm>
            <a:off x="9480635" y="5108256"/>
            <a:ext cx="423053" cy="481453"/>
            <a:chOff x="-52887125" y="2686975"/>
            <a:chExt cx="279625" cy="318225"/>
          </a:xfrm>
        </p:grpSpPr>
        <p:sp>
          <p:nvSpPr>
            <p:cNvPr id="10600" name="Google Shape;10600;p112"/>
            <p:cNvSpPr/>
            <p:nvPr/>
          </p:nvSpPr>
          <p:spPr>
            <a:xfrm>
              <a:off x="-52783950" y="2919525"/>
              <a:ext cx="73275" cy="28950"/>
            </a:xfrm>
            <a:custGeom>
              <a:avLst/>
              <a:gdLst/>
              <a:ahLst/>
              <a:cxnLst/>
              <a:rect l="l" t="t" r="r" b="b"/>
              <a:pathLst>
                <a:path w="2931" h="1158" extrusionOk="0">
                  <a:moveTo>
                    <a:pt x="398" y="0"/>
                  </a:moveTo>
                  <a:cubicBezTo>
                    <a:pt x="308" y="0"/>
                    <a:pt x="221" y="39"/>
                    <a:pt x="158" y="118"/>
                  </a:cubicBezTo>
                  <a:cubicBezTo>
                    <a:pt x="1" y="276"/>
                    <a:pt x="1" y="496"/>
                    <a:pt x="158" y="622"/>
                  </a:cubicBezTo>
                  <a:cubicBezTo>
                    <a:pt x="505" y="969"/>
                    <a:pt x="977" y="1158"/>
                    <a:pt x="1450" y="1158"/>
                  </a:cubicBezTo>
                  <a:cubicBezTo>
                    <a:pt x="1922" y="1158"/>
                    <a:pt x="2458" y="969"/>
                    <a:pt x="2773" y="622"/>
                  </a:cubicBezTo>
                  <a:cubicBezTo>
                    <a:pt x="2931" y="465"/>
                    <a:pt x="2931" y="213"/>
                    <a:pt x="2773" y="118"/>
                  </a:cubicBezTo>
                  <a:cubicBezTo>
                    <a:pt x="2694" y="39"/>
                    <a:pt x="2592" y="0"/>
                    <a:pt x="2493" y="0"/>
                  </a:cubicBezTo>
                  <a:cubicBezTo>
                    <a:pt x="2395" y="0"/>
                    <a:pt x="2300" y="39"/>
                    <a:pt x="2237" y="118"/>
                  </a:cubicBezTo>
                  <a:cubicBezTo>
                    <a:pt x="2048" y="307"/>
                    <a:pt x="1733" y="433"/>
                    <a:pt x="1450" y="433"/>
                  </a:cubicBezTo>
                  <a:cubicBezTo>
                    <a:pt x="1198" y="433"/>
                    <a:pt x="883" y="307"/>
                    <a:pt x="662" y="118"/>
                  </a:cubicBezTo>
                  <a:cubicBezTo>
                    <a:pt x="583" y="39"/>
                    <a:pt x="489" y="0"/>
                    <a:pt x="398"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601" name="Google Shape;10601;p112"/>
            <p:cNvSpPr/>
            <p:nvPr/>
          </p:nvSpPr>
          <p:spPr>
            <a:xfrm>
              <a:off x="-52793400" y="2854725"/>
              <a:ext cx="17350" cy="18150"/>
            </a:xfrm>
            <a:custGeom>
              <a:avLst/>
              <a:gdLst/>
              <a:ahLst/>
              <a:cxnLst/>
              <a:rect l="l" t="t" r="r" b="b"/>
              <a:pathLst>
                <a:path w="694" h="726" extrusionOk="0">
                  <a:moveTo>
                    <a:pt x="347" y="1"/>
                  </a:moveTo>
                  <a:cubicBezTo>
                    <a:pt x="158" y="1"/>
                    <a:pt x="1" y="190"/>
                    <a:pt x="1" y="379"/>
                  </a:cubicBezTo>
                  <a:cubicBezTo>
                    <a:pt x="1" y="568"/>
                    <a:pt x="158" y="725"/>
                    <a:pt x="347" y="725"/>
                  </a:cubicBezTo>
                  <a:cubicBezTo>
                    <a:pt x="536" y="725"/>
                    <a:pt x="694" y="568"/>
                    <a:pt x="694" y="379"/>
                  </a:cubicBezTo>
                  <a:cubicBezTo>
                    <a:pt x="694" y="190"/>
                    <a:pt x="536" y="1"/>
                    <a:pt x="347"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602" name="Google Shape;10602;p112"/>
            <p:cNvSpPr/>
            <p:nvPr/>
          </p:nvSpPr>
          <p:spPr>
            <a:xfrm>
              <a:off x="-52718575" y="2854725"/>
              <a:ext cx="17350" cy="18150"/>
            </a:xfrm>
            <a:custGeom>
              <a:avLst/>
              <a:gdLst/>
              <a:ahLst/>
              <a:cxnLst/>
              <a:rect l="l" t="t" r="r" b="b"/>
              <a:pathLst>
                <a:path w="694" h="726" extrusionOk="0">
                  <a:moveTo>
                    <a:pt x="347" y="1"/>
                  </a:moveTo>
                  <a:cubicBezTo>
                    <a:pt x="158" y="1"/>
                    <a:pt x="1" y="190"/>
                    <a:pt x="1" y="379"/>
                  </a:cubicBezTo>
                  <a:cubicBezTo>
                    <a:pt x="1" y="568"/>
                    <a:pt x="158" y="725"/>
                    <a:pt x="347" y="725"/>
                  </a:cubicBezTo>
                  <a:cubicBezTo>
                    <a:pt x="536" y="725"/>
                    <a:pt x="694" y="568"/>
                    <a:pt x="694" y="379"/>
                  </a:cubicBezTo>
                  <a:cubicBezTo>
                    <a:pt x="694" y="190"/>
                    <a:pt x="536" y="1"/>
                    <a:pt x="347"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603" name="Google Shape;10603;p112"/>
            <p:cNvSpPr/>
            <p:nvPr/>
          </p:nvSpPr>
          <p:spPr>
            <a:xfrm>
              <a:off x="-52887125" y="2686975"/>
              <a:ext cx="279625" cy="318225"/>
            </a:xfrm>
            <a:custGeom>
              <a:avLst/>
              <a:gdLst/>
              <a:ahLst/>
              <a:cxnLst/>
              <a:rect l="l" t="t" r="r" b="b"/>
              <a:pathLst>
                <a:path w="11185" h="12729" extrusionOk="0">
                  <a:moveTo>
                    <a:pt x="5577" y="756"/>
                  </a:moveTo>
                  <a:cubicBezTo>
                    <a:pt x="7404" y="756"/>
                    <a:pt x="8885" y="2206"/>
                    <a:pt x="8948" y="3970"/>
                  </a:cubicBezTo>
                  <a:cubicBezTo>
                    <a:pt x="8192" y="2899"/>
                    <a:pt x="6963" y="2206"/>
                    <a:pt x="5577" y="2206"/>
                  </a:cubicBezTo>
                  <a:cubicBezTo>
                    <a:pt x="4222" y="2206"/>
                    <a:pt x="2993" y="2899"/>
                    <a:pt x="2237" y="3970"/>
                  </a:cubicBezTo>
                  <a:cubicBezTo>
                    <a:pt x="2269" y="2174"/>
                    <a:pt x="3781" y="756"/>
                    <a:pt x="5577" y="756"/>
                  </a:cubicBezTo>
                  <a:close/>
                  <a:moveTo>
                    <a:pt x="5604" y="2993"/>
                  </a:moveTo>
                  <a:cubicBezTo>
                    <a:pt x="7435" y="2993"/>
                    <a:pt x="8886" y="4462"/>
                    <a:pt x="8948" y="6270"/>
                  </a:cubicBezTo>
                  <a:cubicBezTo>
                    <a:pt x="8696" y="5860"/>
                    <a:pt x="8412" y="5514"/>
                    <a:pt x="8066" y="5199"/>
                  </a:cubicBezTo>
                  <a:cubicBezTo>
                    <a:pt x="7089" y="4253"/>
                    <a:pt x="5797" y="3749"/>
                    <a:pt x="4443" y="3749"/>
                  </a:cubicBezTo>
                  <a:cubicBezTo>
                    <a:pt x="4065" y="3749"/>
                    <a:pt x="3687" y="3781"/>
                    <a:pt x="3308" y="3844"/>
                  </a:cubicBezTo>
                  <a:cubicBezTo>
                    <a:pt x="3907" y="3308"/>
                    <a:pt x="4695" y="2993"/>
                    <a:pt x="5545" y="2993"/>
                  </a:cubicBezTo>
                  <a:cubicBezTo>
                    <a:pt x="5565" y="2993"/>
                    <a:pt x="5584" y="2993"/>
                    <a:pt x="5604" y="2993"/>
                  </a:cubicBezTo>
                  <a:close/>
                  <a:moveTo>
                    <a:pt x="1450" y="6742"/>
                  </a:moveTo>
                  <a:lnTo>
                    <a:pt x="1450" y="8223"/>
                  </a:lnTo>
                  <a:cubicBezTo>
                    <a:pt x="1072" y="8223"/>
                    <a:pt x="694" y="7876"/>
                    <a:pt x="694" y="7467"/>
                  </a:cubicBezTo>
                  <a:cubicBezTo>
                    <a:pt x="694" y="7089"/>
                    <a:pt x="1072" y="6742"/>
                    <a:pt x="1450" y="6742"/>
                  </a:cubicBezTo>
                  <a:close/>
                  <a:moveTo>
                    <a:pt x="9673" y="6742"/>
                  </a:moveTo>
                  <a:cubicBezTo>
                    <a:pt x="10082" y="6742"/>
                    <a:pt x="10429" y="7057"/>
                    <a:pt x="10429" y="7467"/>
                  </a:cubicBezTo>
                  <a:cubicBezTo>
                    <a:pt x="10429" y="7876"/>
                    <a:pt x="10082" y="8223"/>
                    <a:pt x="9673" y="8223"/>
                  </a:cubicBezTo>
                  <a:lnTo>
                    <a:pt x="9673" y="6742"/>
                  </a:lnTo>
                  <a:close/>
                  <a:moveTo>
                    <a:pt x="4443" y="4442"/>
                  </a:moveTo>
                  <a:cubicBezTo>
                    <a:pt x="6837" y="4442"/>
                    <a:pt x="8822" y="6333"/>
                    <a:pt x="8948" y="8727"/>
                  </a:cubicBezTo>
                  <a:cubicBezTo>
                    <a:pt x="8822" y="10554"/>
                    <a:pt x="7373" y="11972"/>
                    <a:pt x="5577" y="11972"/>
                  </a:cubicBezTo>
                  <a:cubicBezTo>
                    <a:pt x="3750" y="11972"/>
                    <a:pt x="2237" y="10428"/>
                    <a:pt x="2237" y="8570"/>
                  </a:cubicBezTo>
                  <a:lnTo>
                    <a:pt x="2237" y="6333"/>
                  </a:lnTo>
                  <a:cubicBezTo>
                    <a:pt x="2237" y="5829"/>
                    <a:pt x="2363" y="5325"/>
                    <a:pt x="2552" y="4883"/>
                  </a:cubicBezTo>
                  <a:cubicBezTo>
                    <a:pt x="3151" y="4600"/>
                    <a:pt x="3781" y="4442"/>
                    <a:pt x="4443" y="4442"/>
                  </a:cubicBezTo>
                  <a:close/>
                  <a:moveTo>
                    <a:pt x="5608" y="0"/>
                  </a:moveTo>
                  <a:cubicBezTo>
                    <a:pt x="3340" y="0"/>
                    <a:pt x="1513" y="1827"/>
                    <a:pt x="1513" y="4096"/>
                  </a:cubicBezTo>
                  <a:lnTo>
                    <a:pt x="1513" y="5986"/>
                  </a:lnTo>
                  <a:cubicBezTo>
                    <a:pt x="662" y="5986"/>
                    <a:pt x="0" y="6648"/>
                    <a:pt x="0" y="7467"/>
                  </a:cubicBezTo>
                  <a:cubicBezTo>
                    <a:pt x="0" y="8317"/>
                    <a:pt x="662" y="8979"/>
                    <a:pt x="1513" y="8979"/>
                  </a:cubicBezTo>
                  <a:cubicBezTo>
                    <a:pt x="1702" y="11058"/>
                    <a:pt x="3435" y="12728"/>
                    <a:pt x="5608" y="12728"/>
                  </a:cubicBezTo>
                  <a:cubicBezTo>
                    <a:pt x="7751" y="12728"/>
                    <a:pt x="9483" y="11058"/>
                    <a:pt x="9673" y="8979"/>
                  </a:cubicBezTo>
                  <a:cubicBezTo>
                    <a:pt x="10523" y="8979"/>
                    <a:pt x="11185" y="8317"/>
                    <a:pt x="11185" y="7467"/>
                  </a:cubicBezTo>
                  <a:cubicBezTo>
                    <a:pt x="11185" y="6648"/>
                    <a:pt x="10523" y="5986"/>
                    <a:pt x="9673" y="5986"/>
                  </a:cubicBezTo>
                  <a:lnTo>
                    <a:pt x="9673" y="4096"/>
                  </a:lnTo>
                  <a:cubicBezTo>
                    <a:pt x="9673" y="1859"/>
                    <a:pt x="7845" y="0"/>
                    <a:pt x="5608"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10604" name="Google Shape;10604;p112"/>
          <p:cNvGrpSpPr/>
          <p:nvPr/>
        </p:nvGrpSpPr>
        <p:grpSpPr>
          <a:xfrm>
            <a:off x="8294464" y="5721081"/>
            <a:ext cx="424227" cy="479071"/>
            <a:chOff x="-51722225" y="1915100"/>
            <a:chExt cx="280400" cy="316650"/>
          </a:xfrm>
        </p:grpSpPr>
        <p:sp>
          <p:nvSpPr>
            <p:cNvPr id="10605" name="Google Shape;10605;p112"/>
            <p:cNvSpPr/>
            <p:nvPr/>
          </p:nvSpPr>
          <p:spPr>
            <a:xfrm>
              <a:off x="-51618275" y="2146075"/>
              <a:ext cx="73275" cy="29750"/>
            </a:xfrm>
            <a:custGeom>
              <a:avLst/>
              <a:gdLst/>
              <a:ahLst/>
              <a:cxnLst/>
              <a:rect l="l" t="t" r="r" b="b"/>
              <a:pathLst>
                <a:path w="2931" h="1190" extrusionOk="0">
                  <a:moveTo>
                    <a:pt x="410" y="0"/>
                  </a:moveTo>
                  <a:cubicBezTo>
                    <a:pt x="316" y="0"/>
                    <a:pt x="221" y="40"/>
                    <a:pt x="158" y="118"/>
                  </a:cubicBezTo>
                  <a:cubicBezTo>
                    <a:pt x="1" y="276"/>
                    <a:pt x="1" y="528"/>
                    <a:pt x="158" y="654"/>
                  </a:cubicBezTo>
                  <a:cubicBezTo>
                    <a:pt x="505" y="1001"/>
                    <a:pt x="978" y="1190"/>
                    <a:pt x="1450" y="1190"/>
                  </a:cubicBezTo>
                  <a:cubicBezTo>
                    <a:pt x="1923" y="1190"/>
                    <a:pt x="2458" y="1001"/>
                    <a:pt x="2773" y="654"/>
                  </a:cubicBezTo>
                  <a:cubicBezTo>
                    <a:pt x="2931" y="496"/>
                    <a:pt x="2931" y="244"/>
                    <a:pt x="2773" y="118"/>
                  </a:cubicBezTo>
                  <a:cubicBezTo>
                    <a:pt x="2710" y="40"/>
                    <a:pt x="2616" y="0"/>
                    <a:pt x="2517" y="0"/>
                  </a:cubicBezTo>
                  <a:cubicBezTo>
                    <a:pt x="2419" y="0"/>
                    <a:pt x="2317" y="40"/>
                    <a:pt x="2238" y="118"/>
                  </a:cubicBezTo>
                  <a:cubicBezTo>
                    <a:pt x="2049" y="339"/>
                    <a:pt x="1734" y="433"/>
                    <a:pt x="1450" y="433"/>
                  </a:cubicBezTo>
                  <a:cubicBezTo>
                    <a:pt x="1198" y="433"/>
                    <a:pt x="883" y="339"/>
                    <a:pt x="663" y="118"/>
                  </a:cubicBezTo>
                  <a:cubicBezTo>
                    <a:pt x="600" y="40"/>
                    <a:pt x="505" y="0"/>
                    <a:pt x="410"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606" name="Google Shape;10606;p112"/>
            <p:cNvSpPr/>
            <p:nvPr/>
          </p:nvSpPr>
          <p:spPr>
            <a:xfrm>
              <a:off x="-51627725" y="2082075"/>
              <a:ext cx="17350" cy="18150"/>
            </a:xfrm>
            <a:custGeom>
              <a:avLst/>
              <a:gdLst/>
              <a:ahLst/>
              <a:cxnLst/>
              <a:rect l="l" t="t" r="r" b="b"/>
              <a:pathLst>
                <a:path w="694" h="726" extrusionOk="0">
                  <a:moveTo>
                    <a:pt x="347" y="1"/>
                  </a:moveTo>
                  <a:cubicBezTo>
                    <a:pt x="158" y="1"/>
                    <a:pt x="1" y="158"/>
                    <a:pt x="1" y="347"/>
                  </a:cubicBezTo>
                  <a:cubicBezTo>
                    <a:pt x="1" y="568"/>
                    <a:pt x="158" y="725"/>
                    <a:pt x="347" y="725"/>
                  </a:cubicBezTo>
                  <a:cubicBezTo>
                    <a:pt x="536" y="725"/>
                    <a:pt x="694" y="568"/>
                    <a:pt x="694" y="347"/>
                  </a:cubicBezTo>
                  <a:cubicBezTo>
                    <a:pt x="694" y="158"/>
                    <a:pt x="536" y="1"/>
                    <a:pt x="347"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607" name="Google Shape;10607;p112"/>
            <p:cNvSpPr/>
            <p:nvPr/>
          </p:nvSpPr>
          <p:spPr>
            <a:xfrm>
              <a:off x="-51552900" y="2082075"/>
              <a:ext cx="17350" cy="18150"/>
            </a:xfrm>
            <a:custGeom>
              <a:avLst/>
              <a:gdLst/>
              <a:ahLst/>
              <a:cxnLst/>
              <a:rect l="l" t="t" r="r" b="b"/>
              <a:pathLst>
                <a:path w="694" h="726" extrusionOk="0">
                  <a:moveTo>
                    <a:pt x="347" y="1"/>
                  </a:moveTo>
                  <a:cubicBezTo>
                    <a:pt x="158" y="1"/>
                    <a:pt x="1" y="158"/>
                    <a:pt x="1" y="347"/>
                  </a:cubicBezTo>
                  <a:cubicBezTo>
                    <a:pt x="1" y="568"/>
                    <a:pt x="158" y="725"/>
                    <a:pt x="347" y="725"/>
                  </a:cubicBezTo>
                  <a:cubicBezTo>
                    <a:pt x="536" y="725"/>
                    <a:pt x="694" y="568"/>
                    <a:pt x="694" y="347"/>
                  </a:cubicBezTo>
                  <a:cubicBezTo>
                    <a:pt x="694" y="158"/>
                    <a:pt x="536" y="1"/>
                    <a:pt x="347"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608" name="Google Shape;10608;p112"/>
            <p:cNvSpPr/>
            <p:nvPr/>
          </p:nvSpPr>
          <p:spPr>
            <a:xfrm>
              <a:off x="-51722225" y="1915100"/>
              <a:ext cx="280400" cy="316650"/>
            </a:xfrm>
            <a:custGeom>
              <a:avLst/>
              <a:gdLst/>
              <a:ahLst/>
              <a:cxnLst/>
              <a:rect l="l" t="t" r="r" b="b"/>
              <a:pathLst>
                <a:path w="11216" h="12666" extrusionOk="0">
                  <a:moveTo>
                    <a:pt x="5608" y="662"/>
                  </a:moveTo>
                  <a:cubicBezTo>
                    <a:pt x="5766" y="662"/>
                    <a:pt x="6081" y="914"/>
                    <a:pt x="6333" y="1544"/>
                  </a:cubicBezTo>
                  <a:cubicBezTo>
                    <a:pt x="6585" y="2111"/>
                    <a:pt x="6679" y="2867"/>
                    <a:pt x="6711" y="3655"/>
                  </a:cubicBezTo>
                  <a:lnTo>
                    <a:pt x="4505" y="3655"/>
                  </a:lnTo>
                  <a:cubicBezTo>
                    <a:pt x="4568" y="2836"/>
                    <a:pt x="4663" y="2080"/>
                    <a:pt x="4915" y="1544"/>
                  </a:cubicBezTo>
                  <a:cubicBezTo>
                    <a:pt x="5199" y="914"/>
                    <a:pt x="5451" y="662"/>
                    <a:pt x="5608" y="662"/>
                  </a:cubicBezTo>
                  <a:close/>
                  <a:moveTo>
                    <a:pt x="4411" y="946"/>
                  </a:moveTo>
                  <a:lnTo>
                    <a:pt x="4411" y="946"/>
                  </a:lnTo>
                  <a:cubicBezTo>
                    <a:pt x="4348" y="1072"/>
                    <a:pt x="4285" y="1166"/>
                    <a:pt x="4253" y="1292"/>
                  </a:cubicBezTo>
                  <a:cubicBezTo>
                    <a:pt x="3970" y="1954"/>
                    <a:pt x="3812" y="2804"/>
                    <a:pt x="3781" y="3687"/>
                  </a:cubicBezTo>
                  <a:lnTo>
                    <a:pt x="2269" y="3687"/>
                  </a:lnTo>
                  <a:cubicBezTo>
                    <a:pt x="2426" y="2426"/>
                    <a:pt x="3245" y="1387"/>
                    <a:pt x="4411" y="946"/>
                  </a:cubicBezTo>
                  <a:close/>
                  <a:moveTo>
                    <a:pt x="6837" y="946"/>
                  </a:moveTo>
                  <a:cubicBezTo>
                    <a:pt x="8034" y="1387"/>
                    <a:pt x="8853" y="2426"/>
                    <a:pt x="8979" y="3687"/>
                  </a:cubicBezTo>
                  <a:lnTo>
                    <a:pt x="7467" y="3687"/>
                  </a:lnTo>
                  <a:cubicBezTo>
                    <a:pt x="7435" y="2804"/>
                    <a:pt x="7278" y="1954"/>
                    <a:pt x="6994" y="1292"/>
                  </a:cubicBezTo>
                  <a:cubicBezTo>
                    <a:pt x="6963" y="1166"/>
                    <a:pt x="6868" y="1072"/>
                    <a:pt x="6837" y="946"/>
                  </a:cubicBezTo>
                  <a:close/>
                  <a:moveTo>
                    <a:pt x="9357" y="4443"/>
                  </a:moveTo>
                  <a:cubicBezTo>
                    <a:pt x="9830" y="4443"/>
                    <a:pt x="10271" y="4758"/>
                    <a:pt x="10428" y="5199"/>
                  </a:cubicBezTo>
                  <a:lnTo>
                    <a:pt x="851" y="5199"/>
                  </a:lnTo>
                  <a:cubicBezTo>
                    <a:pt x="1008" y="4758"/>
                    <a:pt x="1418" y="4443"/>
                    <a:pt x="1922" y="4443"/>
                  </a:cubicBezTo>
                  <a:close/>
                  <a:moveTo>
                    <a:pt x="1512" y="6680"/>
                  </a:moveTo>
                  <a:lnTo>
                    <a:pt x="1512" y="8192"/>
                  </a:lnTo>
                  <a:cubicBezTo>
                    <a:pt x="1134" y="8192"/>
                    <a:pt x="788" y="7814"/>
                    <a:pt x="788" y="7436"/>
                  </a:cubicBezTo>
                  <a:cubicBezTo>
                    <a:pt x="788" y="7058"/>
                    <a:pt x="1134" y="6680"/>
                    <a:pt x="1512" y="6680"/>
                  </a:cubicBezTo>
                  <a:close/>
                  <a:moveTo>
                    <a:pt x="9767" y="6680"/>
                  </a:moveTo>
                  <a:cubicBezTo>
                    <a:pt x="10145" y="6680"/>
                    <a:pt x="10491" y="6995"/>
                    <a:pt x="10491" y="7436"/>
                  </a:cubicBezTo>
                  <a:cubicBezTo>
                    <a:pt x="10460" y="7814"/>
                    <a:pt x="10145" y="8192"/>
                    <a:pt x="9767" y="8192"/>
                  </a:cubicBezTo>
                  <a:lnTo>
                    <a:pt x="9767" y="6680"/>
                  </a:lnTo>
                  <a:close/>
                  <a:moveTo>
                    <a:pt x="9011" y="5955"/>
                  </a:moveTo>
                  <a:lnTo>
                    <a:pt x="9011" y="8538"/>
                  </a:lnTo>
                  <a:cubicBezTo>
                    <a:pt x="9011" y="10397"/>
                    <a:pt x="7467" y="11941"/>
                    <a:pt x="5608" y="11941"/>
                  </a:cubicBezTo>
                  <a:cubicBezTo>
                    <a:pt x="3781" y="11941"/>
                    <a:pt x="2269" y="10397"/>
                    <a:pt x="2269" y="8538"/>
                  </a:cubicBezTo>
                  <a:lnTo>
                    <a:pt x="2269" y="5955"/>
                  </a:lnTo>
                  <a:close/>
                  <a:moveTo>
                    <a:pt x="5608" y="1"/>
                  </a:moveTo>
                  <a:cubicBezTo>
                    <a:pt x="3466" y="1"/>
                    <a:pt x="1733" y="1639"/>
                    <a:pt x="1544" y="3781"/>
                  </a:cubicBezTo>
                  <a:cubicBezTo>
                    <a:pt x="662" y="3939"/>
                    <a:pt x="32" y="4695"/>
                    <a:pt x="32" y="5577"/>
                  </a:cubicBezTo>
                  <a:cubicBezTo>
                    <a:pt x="32" y="5797"/>
                    <a:pt x="189" y="5955"/>
                    <a:pt x="378" y="5955"/>
                  </a:cubicBezTo>
                  <a:lnTo>
                    <a:pt x="1481" y="5955"/>
                  </a:lnTo>
                  <a:cubicBezTo>
                    <a:pt x="662" y="5955"/>
                    <a:pt x="0" y="6617"/>
                    <a:pt x="0" y="7436"/>
                  </a:cubicBezTo>
                  <a:cubicBezTo>
                    <a:pt x="0" y="8255"/>
                    <a:pt x="662" y="8948"/>
                    <a:pt x="1481" y="8948"/>
                  </a:cubicBezTo>
                  <a:cubicBezTo>
                    <a:pt x="1670" y="11027"/>
                    <a:pt x="3403" y="12665"/>
                    <a:pt x="5577" y="12665"/>
                  </a:cubicBezTo>
                  <a:cubicBezTo>
                    <a:pt x="7750" y="12665"/>
                    <a:pt x="9483" y="11027"/>
                    <a:pt x="9672" y="8948"/>
                  </a:cubicBezTo>
                  <a:cubicBezTo>
                    <a:pt x="10491" y="8948"/>
                    <a:pt x="11185" y="8255"/>
                    <a:pt x="11185" y="7436"/>
                  </a:cubicBezTo>
                  <a:cubicBezTo>
                    <a:pt x="11216" y="6617"/>
                    <a:pt x="10554" y="5955"/>
                    <a:pt x="9767" y="5955"/>
                  </a:cubicBezTo>
                  <a:lnTo>
                    <a:pt x="10869" y="5955"/>
                  </a:lnTo>
                  <a:cubicBezTo>
                    <a:pt x="11058" y="5955"/>
                    <a:pt x="11216" y="5797"/>
                    <a:pt x="11216" y="5577"/>
                  </a:cubicBezTo>
                  <a:cubicBezTo>
                    <a:pt x="11216" y="4695"/>
                    <a:pt x="10586" y="3939"/>
                    <a:pt x="9704" y="3781"/>
                  </a:cubicBezTo>
                  <a:cubicBezTo>
                    <a:pt x="9546" y="1639"/>
                    <a:pt x="7782" y="1"/>
                    <a:pt x="5608"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10609" name="Google Shape;10609;p112"/>
          <p:cNvGrpSpPr/>
          <p:nvPr/>
        </p:nvGrpSpPr>
        <p:grpSpPr>
          <a:xfrm>
            <a:off x="8822238" y="2042011"/>
            <a:ext cx="494540" cy="481301"/>
            <a:chOff x="-56407800" y="1902600"/>
            <a:chExt cx="326875" cy="318125"/>
          </a:xfrm>
        </p:grpSpPr>
        <p:sp>
          <p:nvSpPr>
            <p:cNvPr id="10610" name="Google Shape;10610;p112"/>
            <p:cNvSpPr/>
            <p:nvPr/>
          </p:nvSpPr>
          <p:spPr>
            <a:xfrm>
              <a:off x="-56289650" y="2072625"/>
              <a:ext cx="17325" cy="17350"/>
            </a:xfrm>
            <a:custGeom>
              <a:avLst/>
              <a:gdLst/>
              <a:ahLst/>
              <a:cxnLst/>
              <a:rect l="l" t="t" r="r" b="b"/>
              <a:pathLst>
                <a:path w="693" h="694" extrusionOk="0">
                  <a:moveTo>
                    <a:pt x="347" y="0"/>
                  </a:moveTo>
                  <a:cubicBezTo>
                    <a:pt x="158" y="0"/>
                    <a:pt x="0" y="158"/>
                    <a:pt x="0" y="347"/>
                  </a:cubicBezTo>
                  <a:cubicBezTo>
                    <a:pt x="0" y="536"/>
                    <a:pt x="158" y="694"/>
                    <a:pt x="347" y="694"/>
                  </a:cubicBezTo>
                  <a:cubicBezTo>
                    <a:pt x="536" y="694"/>
                    <a:pt x="693" y="536"/>
                    <a:pt x="693" y="347"/>
                  </a:cubicBezTo>
                  <a:cubicBezTo>
                    <a:pt x="693" y="158"/>
                    <a:pt x="536" y="0"/>
                    <a:pt x="347"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611" name="Google Shape;10611;p112"/>
            <p:cNvSpPr/>
            <p:nvPr/>
          </p:nvSpPr>
          <p:spPr>
            <a:xfrm>
              <a:off x="-56215625" y="2072625"/>
              <a:ext cx="17350" cy="17350"/>
            </a:xfrm>
            <a:custGeom>
              <a:avLst/>
              <a:gdLst/>
              <a:ahLst/>
              <a:cxnLst/>
              <a:rect l="l" t="t" r="r" b="b"/>
              <a:pathLst>
                <a:path w="694" h="694" extrusionOk="0">
                  <a:moveTo>
                    <a:pt x="347" y="0"/>
                  </a:moveTo>
                  <a:cubicBezTo>
                    <a:pt x="158" y="0"/>
                    <a:pt x="1" y="158"/>
                    <a:pt x="1" y="347"/>
                  </a:cubicBezTo>
                  <a:cubicBezTo>
                    <a:pt x="1" y="536"/>
                    <a:pt x="158" y="694"/>
                    <a:pt x="347" y="694"/>
                  </a:cubicBezTo>
                  <a:cubicBezTo>
                    <a:pt x="536" y="694"/>
                    <a:pt x="694" y="536"/>
                    <a:pt x="694" y="347"/>
                  </a:cubicBezTo>
                  <a:cubicBezTo>
                    <a:pt x="694" y="158"/>
                    <a:pt x="536" y="0"/>
                    <a:pt x="347"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612" name="Google Shape;10612;p112"/>
            <p:cNvSpPr/>
            <p:nvPr/>
          </p:nvSpPr>
          <p:spPr>
            <a:xfrm>
              <a:off x="-56407800" y="1902600"/>
              <a:ext cx="326875" cy="318125"/>
            </a:xfrm>
            <a:custGeom>
              <a:avLst/>
              <a:gdLst/>
              <a:ahLst/>
              <a:cxnLst/>
              <a:rect l="l" t="t" r="r" b="b"/>
              <a:pathLst>
                <a:path w="13075" h="12725" extrusionOk="0">
                  <a:moveTo>
                    <a:pt x="8371" y="824"/>
                  </a:moveTo>
                  <a:cubicBezTo>
                    <a:pt x="8854" y="824"/>
                    <a:pt x="9303" y="1142"/>
                    <a:pt x="9420" y="1635"/>
                  </a:cubicBezTo>
                  <a:lnTo>
                    <a:pt x="9924" y="3714"/>
                  </a:lnTo>
                  <a:cubicBezTo>
                    <a:pt x="9641" y="3777"/>
                    <a:pt x="9420" y="3809"/>
                    <a:pt x="9137" y="3809"/>
                  </a:cubicBezTo>
                  <a:lnTo>
                    <a:pt x="3907" y="3809"/>
                  </a:lnTo>
                  <a:cubicBezTo>
                    <a:pt x="3623" y="3809"/>
                    <a:pt x="3340" y="3777"/>
                    <a:pt x="3119" y="3714"/>
                  </a:cubicBezTo>
                  <a:lnTo>
                    <a:pt x="3655" y="1635"/>
                  </a:lnTo>
                  <a:cubicBezTo>
                    <a:pt x="3772" y="1142"/>
                    <a:pt x="4239" y="824"/>
                    <a:pt x="4717" y="824"/>
                  </a:cubicBezTo>
                  <a:cubicBezTo>
                    <a:pt x="4881" y="824"/>
                    <a:pt x="5046" y="861"/>
                    <a:pt x="5199" y="942"/>
                  </a:cubicBezTo>
                  <a:lnTo>
                    <a:pt x="6364" y="1509"/>
                  </a:lnTo>
                  <a:cubicBezTo>
                    <a:pt x="6427" y="1540"/>
                    <a:pt x="6490" y="1556"/>
                    <a:pt x="6545" y="1556"/>
                  </a:cubicBezTo>
                  <a:cubicBezTo>
                    <a:pt x="6601" y="1556"/>
                    <a:pt x="6648" y="1540"/>
                    <a:pt x="6679" y="1509"/>
                  </a:cubicBezTo>
                  <a:lnTo>
                    <a:pt x="7877" y="942"/>
                  </a:lnTo>
                  <a:cubicBezTo>
                    <a:pt x="8037" y="861"/>
                    <a:pt x="8206" y="824"/>
                    <a:pt x="8371" y="824"/>
                  </a:cubicBezTo>
                  <a:close/>
                  <a:moveTo>
                    <a:pt x="1299" y="3783"/>
                  </a:moveTo>
                  <a:cubicBezTo>
                    <a:pt x="1359" y="3783"/>
                    <a:pt x="1422" y="3800"/>
                    <a:pt x="1481" y="3840"/>
                  </a:cubicBezTo>
                  <a:lnTo>
                    <a:pt x="2017" y="4092"/>
                  </a:lnTo>
                  <a:cubicBezTo>
                    <a:pt x="2584" y="4344"/>
                    <a:pt x="3308" y="4565"/>
                    <a:pt x="3970" y="4565"/>
                  </a:cubicBezTo>
                  <a:lnTo>
                    <a:pt x="9200" y="4565"/>
                  </a:lnTo>
                  <a:cubicBezTo>
                    <a:pt x="9893" y="4565"/>
                    <a:pt x="10586" y="4376"/>
                    <a:pt x="11185" y="4092"/>
                  </a:cubicBezTo>
                  <a:lnTo>
                    <a:pt x="11689" y="3840"/>
                  </a:lnTo>
                  <a:cubicBezTo>
                    <a:pt x="11737" y="3824"/>
                    <a:pt x="11788" y="3816"/>
                    <a:pt x="11839" y="3816"/>
                  </a:cubicBezTo>
                  <a:cubicBezTo>
                    <a:pt x="11983" y="3816"/>
                    <a:pt x="12123" y="3881"/>
                    <a:pt x="12193" y="3998"/>
                  </a:cubicBezTo>
                  <a:cubicBezTo>
                    <a:pt x="12256" y="4187"/>
                    <a:pt x="12161" y="4439"/>
                    <a:pt x="11972" y="4502"/>
                  </a:cubicBezTo>
                  <a:lnTo>
                    <a:pt x="11468" y="4754"/>
                  </a:lnTo>
                  <a:cubicBezTo>
                    <a:pt x="10743" y="5100"/>
                    <a:pt x="9924" y="5289"/>
                    <a:pt x="9168" y="5289"/>
                  </a:cubicBezTo>
                  <a:lnTo>
                    <a:pt x="3938" y="5289"/>
                  </a:lnTo>
                  <a:cubicBezTo>
                    <a:pt x="3182" y="5289"/>
                    <a:pt x="2363" y="5100"/>
                    <a:pt x="1639" y="4754"/>
                  </a:cubicBezTo>
                  <a:lnTo>
                    <a:pt x="1134" y="4502"/>
                  </a:lnTo>
                  <a:cubicBezTo>
                    <a:pt x="945" y="4439"/>
                    <a:pt x="851" y="4187"/>
                    <a:pt x="977" y="3998"/>
                  </a:cubicBezTo>
                  <a:cubicBezTo>
                    <a:pt x="1042" y="3868"/>
                    <a:pt x="1166" y="3783"/>
                    <a:pt x="1299" y="3783"/>
                  </a:cubicBezTo>
                  <a:close/>
                  <a:moveTo>
                    <a:pt x="2426" y="6801"/>
                  </a:moveTo>
                  <a:lnTo>
                    <a:pt x="2426" y="8282"/>
                  </a:lnTo>
                  <a:cubicBezTo>
                    <a:pt x="2048" y="8282"/>
                    <a:pt x="1702" y="7936"/>
                    <a:pt x="1702" y="7558"/>
                  </a:cubicBezTo>
                  <a:cubicBezTo>
                    <a:pt x="1702" y="7148"/>
                    <a:pt x="2017" y="6801"/>
                    <a:pt x="2426" y="6801"/>
                  </a:cubicBezTo>
                  <a:close/>
                  <a:moveTo>
                    <a:pt x="10680" y="6801"/>
                  </a:moveTo>
                  <a:cubicBezTo>
                    <a:pt x="11059" y="6801"/>
                    <a:pt x="11405" y="7117"/>
                    <a:pt x="11405" y="7558"/>
                  </a:cubicBezTo>
                  <a:cubicBezTo>
                    <a:pt x="11405" y="7936"/>
                    <a:pt x="11059" y="8282"/>
                    <a:pt x="10680" y="8282"/>
                  </a:cubicBezTo>
                  <a:lnTo>
                    <a:pt x="10680" y="6801"/>
                  </a:lnTo>
                  <a:close/>
                  <a:moveTo>
                    <a:pt x="3214" y="5982"/>
                  </a:moveTo>
                  <a:cubicBezTo>
                    <a:pt x="3466" y="6014"/>
                    <a:pt x="3686" y="6014"/>
                    <a:pt x="3970" y="6014"/>
                  </a:cubicBezTo>
                  <a:lnTo>
                    <a:pt x="9200" y="6014"/>
                  </a:lnTo>
                  <a:cubicBezTo>
                    <a:pt x="9452" y="6014"/>
                    <a:pt x="9672" y="6014"/>
                    <a:pt x="9956" y="5982"/>
                  </a:cubicBezTo>
                  <a:lnTo>
                    <a:pt x="9956" y="5982"/>
                  </a:lnTo>
                  <a:cubicBezTo>
                    <a:pt x="9924" y="6297"/>
                    <a:pt x="9924" y="8219"/>
                    <a:pt x="9924" y="8503"/>
                  </a:cubicBezTo>
                  <a:lnTo>
                    <a:pt x="9924" y="8849"/>
                  </a:lnTo>
                  <a:lnTo>
                    <a:pt x="6742" y="7558"/>
                  </a:lnTo>
                  <a:cubicBezTo>
                    <a:pt x="6695" y="7526"/>
                    <a:pt x="6640" y="7510"/>
                    <a:pt x="6589" y="7510"/>
                  </a:cubicBezTo>
                  <a:cubicBezTo>
                    <a:pt x="6538" y="7510"/>
                    <a:pt x="6490" y="7526"/>
                    <a:pt x="6459" y="7558"/>
                  </a:cubicBezTo>
                  <a:lnTo>
                    <a:pt x="3214" y="8849"/>
                  </a:lnTo>
                  <a:lnTo>
                    <a:pt x="3214" y="8660"/>
                  </a:lnTo>
                  <a:lnTo>
                    <a:pt x="3214" y="5982"/>
                  </a:lnTo>
                  <a:close/>
                  <a:moveTo>
                    <a:pt x="6585" y="8282"/>
                  </a:moveTo>
                  <a:lnTo>
                    <a:pt x="9767" y="9542"/>
                  </a:lnTo>
                  <a:cubicBezTo>
                    <a:pt x="9262" y="11157"/>
                    <a:pt x="7905" y="12034"/>
                    <a:pt x="6522" y="12034"/>
                  </a:cubicBezTo>
                  <a:cubicBezTo>
                    <a:pt x="5746" y="12034"/>
                    <a:pt x="4962" y="11758"/>
                    <a:pt x="4316" y="11181"/>
                  </a:cubicBezTo>
                  <a:cubicBezTo>
                    <a:pt x="3844" y="10740"/>
                    <a:pt x="3529" y="10172"/>
                    <a:pt x="3340" y="9605"/>
                  </a:cubicBezTo>
                  <a:lnTo>
                    <a:pt x="6585" y="8282"/>
                  </a:lnTo>
                  <a:close/>
                  <a:moveTo>
                    <a:pt x="8390" y="1"/>
                  </a:moveTo>
                  <a:cubicBezTo>
                    <a:pt x="8109" y="1"/>
                    <a:pt x="7824" y="69"/>
                    <a:pt x="7561" y="217"/>
                  </a:cubicBezTo>
                  <a:lnTo>
                    <a:pt x="6522" y="721"/>
                  </a:lnTo>
                  <a:lnTo>
                    <a:pt x="5514" y="217"/>
                  </a:lnTo>
                  <a:cubicBezTo>
                    <a:pt x="5240" y="88"/>
                    <a:pt x="4955" y="27"/>
                    <a:pt x="4676" y="27"/>
                  </a:cubicBezTo>
                  <a:cubicBezTo>
                    <a:pt x="3863" y="27"/>
                    <a:pt x="3110" y="546"/>
                    <a:pt x="2899" y="1414"/>
                  </a:cubicBezTo>
                  <a:lnTo>
                    <a:pt x="2395" y="3462"/>
                  </a:lnTo>
                  <a:lnTo>
                    <a:pt x="1765" y="3147"/>
                  </a:lnTo>
                  <a:cubicBezTo>
                    <a:pt x="1607" y="3063"/>
                    <a:pt x="1435" y="3024"/>
                    <a:pt x="1265" y="3024"/>
                  </a:cubicBezTo>
                  <a:cubicBezTo>
                    <a:pt x="859" y="3024"/>
                    <a:pt x="462" y="3251"/>
                    <a:pt x="284" y="3651"/>
                  </a:cubicBezTo>
                  <a:cubicBezTo>
                    <a:pt x="0" y="4187"/>
                    <a:pt x="221" y="4880"/>
                    <a:pt x="788" y="5132"/>
                  </a:cubicBezTo>
                  <a:lnTo>
                    <a:pt x="1292" y="5384"/>
                  </a:lnTo>
                  <a:cubicBezTo>
                    <a:pt x="1639" y="5573"/>
                    <a:pt x="2048" y="5699"/>
                    <a:pt x="2426" y="5793"/>
                  </a:cubicBezTo>
                  <a:lnTo>
                    <a:pt x="2426" y="6014"/>
                  </a:lnTo>
                  <a:cubicBezTo>
                    <a:pt x="1607" y="6014"/>
                    <a:pt x="945" y="6675"/>
                    <a:pt x="945" y="7495"/>
                  </a:cubicBezTo>
                  <a:cubicBezTo>
                    <a:pt x="945" y="8282"/>
                    <a:pt x="1576" y="9007"/>
                    <a:pt x="2426" y="9007"/>
                  </a:cubicBezTo>
                  <a:cubicBezTo>
                    <a:pt x="2521" y="10015"/>
                    <a:pt x="3025" y="10992"/>
                    <a:pt x="3781" y="11685"/>
                  </a:cubicBezTo>
                  <a:cubicBezTo>
                    <a:pt x="4537" y="12378"/>
                    <a:pt x="5514" y="12724"/>
                    <a:pt x="6522" y="12724"/>
                  </a:cubicBezTo>
                  <a:cubicBezTo>
                    <a:pt x="8696" y="12724"/>
                    <a:pt x="10365" y="11055"/>
                    <a:pt x="10586" y="9007"/>
                  </a:cubicBezTo>
                  <a:cubicBezTo>
                    <a:pt x="11500" y="9007"/>
                    <a:pt x="12130" y="8282"/>
                    <a:pt x="12130" y="7495"/>
                  </a:cubicBezTo>
                  <a:cubicBezTo>
                    <a:pt x="12130" y="6675"/>
                    <a:pt x="11468" y="6014"/>
                    <a:pt x="10617" y="6014"/>
                  </a:cubicBezTo>
                  <a:lnTo>
                    <a:pt x="10617" y="5793"/>
                  </a:lnTo>
                  <a:cubicBezTo>
                    <a:pt x="11027" y="5699"/>
                    <a:pt x="11405" y="5573"/>
                    <a:pt x="11783" y="5384"/>
                  </a:cubicBezTo>
                  <a:lnTo>
                    <a:pt x="12287" y="5132"/>
                  </a:lnTo>
                  <a:cubicBezTo>
                    <a:pt x="12886" y="4911"/>
                    <a:pt x="13075" y="4250"/>
                    <a:pt x="12791" y="3682"/>
                  </a:cubicBezTo>
                  <a:cubicBezTo>
                    <a:pt x="12588" y="3299"/>
                    <a:pt x="12191" y="3061"/>
                    <a:pt x="11785" y="3061"/>
                  </a:cubicBezTo>
                  <a:cubicBezTo>
                    <a:pt x="11625" y="3061"/>
                    <a:pt x="11462" y="3098"/>
                    <a:pt x="11311" y="3178"/>
                  </a:cubicBezTo>
                  <a:lnTo>
                    <a:pt x="10775" y="3399"/>
                  </a:lnTo>
                  <a:cubicBezTo>
                    <a:pt x="10743" y="3399"/>
                    <a:pt x="10712" y="3462"/>
                    <a:pt x="10680" y="3462"/>
                  </a:cubicBezTo>
                  <a:lnTo>
                    <a:pt x="10145" y="1414"/>
                  </a:lnTo>
                  <a:cubicBezTo>
                    <a:pt x="9959" y="552"/>
                    <a:pt x="9187" y="1"/>
                    <a:pt x="8390"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10613" name="Google Shape;10613;p112"/>
          <p:cNvGrpSpPr/>
          <p:nvPr/>
        </p:nvGrpSpPr>
        <p:grpSpPr>
          <a:xfrm>
            <a:off x="8829973" y="2690765"/>
            <a:ext cx="479071" cy="451648"/>
            <a:chOff x="-56401500" y="2304975"/>
            <a:chExt cx="316650" cy="298525"/>
          </a:xfrm>
        </p:grpSpPr>
        <p:sp>
          <p:nvSpPr>
            <p:cNvPr id="10614" name="Google Shape;10614;p112"/>
            <p:cNvSpPr/>
            <p:nvPr/>
          </p:nvSpPr>
          <p:spPr>
            <a:xfrm>
              <a:off x="-56289650" y="2436500"/>
              <a:ext cx="17325" cy="18150"/>
            </a:xfrm>
            <a:custGeom>
              <a:avLst/>
              <a:gdLst/>
              <a:ahLst/>
              <a:cxnLst/>
              <a:rect l="l" t="t" r="r" b="b"/>
              <a:pathLst>
                <a:path w="693" h="726" extrusionOk="0">
                  <a:moveTo>
                    <a:pt x="347" y="1"/>
                  </a:moveTo>
                  <a:cubicBezTo>
                    <a:pt x="158" y="1"/>
                    <a:pt x="0" y="158"/>
                    <a:pt x="0" y="347"/>
                  </a:cubicBezTo>
                  <a:cubicBezTo>
                    <a:pt x="0" y="568"/>
                    <a:pt x="158" y="725"/>
                    <a:pt x="347" y="725"/>
                  </a:cubicBezTo>
                  <a:cubicBezTo>
                    <a:pt x="536" y="725"/>
                    <a:pt x="693" y="568"/>
                    <a:pt x="693" y="347"/>
                  </a:cubicBezTo>
                  <a:cubicBezTo>
                    <a:pt x="693" y="158"/>
                    <a:pt x="536" y="1"/>
                    <a:pt x="347"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615" name="Google Shape;10615;p112"/>
            <p:cNvSpPr/>
            <p:nvPr/>
          </p:nvSpPr>
          <p:spPr>
            <a:xfrm>
              <a:off x="-56215625" y="2436500"/>
              <a:ext cx="17350" cy="18150"/>
            </a:xfrm>
            <a:custGeom>
              <a:avLst/>
              <a:gdLst/>
              <a:ahLst/>
              <a:cxnLst/>
              <a:rect l="l" t="t" r="r" b="b"/>
              <a:pathLst>
                <a:path w="694" h="726" extrusionOk="0">
                  <a:moveTo>
                    <a:pt x="347" y="1"/>
                  </a:moveTo>
                  <a:cubicBezTo>
                    <a:pt x="158" y="1"/>
                    <a:pt x="1" y="158"/>
                    <a:pt x="1" y="347"/>
                  </a:cubicBezTo>
                  <a:cubicBezTo>
                    <a:pt x="1" y="568"/>
                    <a:pt x="158" y="725"/>
                    <a:pt x="347" y="725"/>
                  </a:cubicBezTo>
                  <a:cubicBezTo>
                    <a:pt x="536" y="725"/>
                    <a:pt x="694" y="568"/>
                    <a:pt x="694" y="347"/>
                  </a:cubicBezTo>
                  <a:cubicBezTo>
                    <a:pt x="694" y="158"/>
                    <a:pt x="536" y="1"/>
                    <a:pt x="347"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616" name="Google Shape;10616;p112"/>
            <p:cNvSpPr/>
            <p:nvPr/>
          </p:nvSpPr>
          <p:spPr>
            <a:xfrm>
              <a:off x="-56280200" y="2499700"/>
              <a:ext cx="73250" cy="29775"/>
            </a:xfrm>
            <a:custGeom>
              <a:avLst/>
              <a:gdLst/>
              <a:ahLst/>
              <a:cxnLst/>
              <a:rect l="l" t="t" r="r" b="b"/>
              <a:pathLst>
                <a:path w="2930" h="1191" extrusionOk="0">
                  <a:moveTo>
                    <a:pt x="414" y="1"/>
                  </a:moveTo>
                  <a:cubicBezTo>
                    <a:pt x="315" y="1"/>
                    <a:pt x="221" y="40"/>
                    <a:pt x="158" y="119"/>
                  </a:cubicBezTo>
                  <a:cubicBezTo>
                    <a:pt x="0" y="277"/>
                    <a:pt x="0" y="529"/>
                    <a:pt x="158" y="623"/>
                  </a:cubicBezTo>
                  <a:cubicBezTo>
                    <a:pt x="536" y="1001"/>
                    <a:pt x="1008" y="1190"/>
                    <a:pt x="1481" y="1190"/>
                  </a:cubicBezTo>
                  <a:cubicBezTo>
                    <a:pt x="1953" y="1190"/>
                    <a:pt x="2457" y="1001"/>
                    <a:pt x="2773" y="623"/>
                  </a:cubicBezTo>
                  <a:cubicBezTo>
                    <a:pt x="2930" y="466"/>
                    <a:pt x="2930" y="245"/>
                    <a:pt x="2773" y="119"/>
                  </a:cubicBezTo>
                  <a:cubicBezTo>
                    <a:pt x="2694" y="40"/>
                    <a:pt x="2591" y="1"/>
                    <a:pt x="2497" y="1"/>
                  </a:cubicBezTo>
                  <a:cubicBezTo>
                    <a:pt x="2402" y="1"/>
                    <a:pt x="2316" y="40"/>
                    <a:pt x="2268" y="119"/>
                  </a:cubicBezTo>
                  <a:cubicBezTo>
                    <a:pt x="2048" y="308"/>
                    <a:pt x="1733" y="434"/>
                    <a:pt x="1481" y="434"/>
                  </a:cubicBezTo>
                  <a:cubicBezTo>
                    <a:pt x="1166" y="434"/>
                    <a:pt x="882" y="308"/>
                    <a:pt x="693" y="119"/>
                  </a:cubicBezTo>
                  <a:cubicBezTo>
                    <a:pt x="614" y="40"/>
                    <a:pt x="512" y="1"/>
                    <a:pt x="414"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617" name="Google Shape;10617;p112"/>
            <p:cNvSpPr/>
            <p:nvPr/>
          </p:nvSpPr>
          <p:spPr>
            <a:xfrm>
              <a:off x="-56401500" y="2304975"/>
              <a:ext cx="316650" cy="298525"/>
            </a:xfrm>
            <a:custGeom>
              <a:avLst/>
              <a:gdLst/>
              <a:ahLst/>
              <a:cxnLst/>
              <a:rect l="l" t="t" r="r" b="b"/>
              <a:pathLst>
                <a:path w="12666" h="11941" extrusionOk="0">
                  <a:moveTo>
                    <a:pt x="6411" y="785"/>
                  </a:moveTo>
                  <a:cubicBezTo>
                    <a:pt x="7105" y="785"/>
                    <a:pt x="7692" y="1003"/>
                    <a:pt x="8223" y="1387"/>
                  </a:cubicBezTo>
                  <a:lnTo>
                    <a:pt x="6270" y="2899"/>
                  </a:lnTo>
                  <a:lnTo>
                    <a:pt x="4348" y="1387"/>
                  </a:lnTo>
                  <a:cubicBezTo>
                    <a:pt x="4915" y="977"/>
                    <a:pt x="5577" y="788"/>
                    <a:pt x="6270" y="788"/>
                  </a:cubicBezTo>
                  <a:cubicBezTo>
                    <a:pt x="6317" y="786"/>
                    <a:pt x="6365" y="785"/>
                    <a:pt x="6411" y="785"/>
                  </a:cubicBezTo>
                  <a:close/>
                  <a:moveTo>
                    <a:pt x="2174" y="4474"/>
                  </a:moveTo>
                  <a:lnTo>
                    <a:pt x="2174" y="5986"/>
                  </a:lnTo>
                  <a:cubicBezTo>
                    <a:pt x="1796" y="5986"/>
                    <a:pt x="1450" y="5640"/>
                    <a:pt x="1450" y="5230"/>
                  </a:cubicBezTo>
                  <a:cubicBezTo>
                    <a:pt x="1450" y="4821"/>
                    <a:pt x="1765" y="4474"/>
                    <a:pt x="2174" y="4474"/>
                  </a:cubicBezTo>
                  <a:close/>
                  <a:moveTo>
                    <a:pt x="10428" y="4474"/>
                  </a:moveTo>
                  <a:cubicBezTo>
                    <a:pt x="10838" y="4474"/>
                    <a:pt x="11153" y="4821"/>
                    <a:pt x="11153" y="5230"/>
                  </a:cubicBezTo>
                  <a:cubicBezTo>
                    <a:pt x="11153" y="5608"/>
                    <a:pt x="10807" y="5986"/>
                    <a:pt x="10428" y="5986"/>
                  </a:cubicBezTo>
                  <a:lnTo>
                    <a:pt x="10428" y="4474"/>
                  </a:lnTo>
                  <a:close/>
                  <a:moveTo>
                    <a:pt x="1008" y="6144"/>
                  </a:moveTo>
                  <a:cubicBezTo>
                    <a:pt x="1292" y="6490"/>
                    <a:pt x="1702" y="6742"/>
                    <a:pt x="2174" y="6742"/>
                  </a:cubicBezTo>
                  <a:cubicBezTo>
                    <a:pt x="2174" y="7152"/>
                    <a:pt x="1828" y="7467"/>
                    <a:pt x="1450" y="7467"/>
                  </a:cubicBezTo>
                  <a:cubicBezTo>
                    <a:pt x="1040" y="7467"/>
                    <a:pt x="693" y="7120"/>
                    <a:pt x="693" y="6742"/>
                  </a:cubicBezTo>
                  <a:cubicBezTo>
                    <a:pt x="693" y="6490"/>
                    <a:pt x="819" y="6270"/>
                    <a:pt x="1008" y="6144"/>
                  </a:cubicBezTo>
                  <a:close/>
                  <a:moveTo>
                    <a:pt x="11594" y="6144"/>
                  </a:moveTo>
                  <a:cubicBezTo>
                    <a:pt x="11783" y="6301"/>
                    <a:pt x="11909" y="6490"/>
                    <a:pt x="11909" y="6742"/>
                  </a:cubicBezTo>
                  <a:cubicBezTo>
                    <a:pt x="11909" y="7152"/>
                    <a:pt x="11594" y="7467"/>
                    <a:pt x="11153" y="7467"/>
                  </a:cubicBezTo>
                  <a:cubicBezTo>
                    <a:pt x="10775" y="7467"/>
                    <a:pt x="10428" y="7120"/>
                    <a:pt x="10428" y="6742"/>
                  </a:cubicBezTo>
                  <a:cubicBezTo>
                    <a:pt x="10901" y="6742"/>
                    <a:pt x="11311" y="6490"/>
                    <a:pt x="11594" y="6144"/>
                  </a:cubicBezTo>
                  <a:close/>
                  <a:moveTo>
                    <a:pt x="8759" y="1859"/>
                  </a:moveTo>
                  <a:cubicBezTo>
                    <a:pt x="9326" y="2426"/>
                    <a:pt x="9672" y="3214"/>
                    <a:pt x="9672" y="4128"/>
                  </a:cubicBezTo>
                  <a:lnTo>
                    <a:pt x="9672" y="7120"/>
                  </a:lnTo>
                  <a:cubicBezTo>
                    <a:pt x="9672" y="8507"/>
                    <a:pt x="8853" y="9735"/>
                    <a:pt x="7562" y="10239"/>
                  </a:cubicBezTo>
                  <a:cubicBezTo>
                    <a:pt x="7215" y="9924"/>
                    <a:pt x="6774" y="9735"/>
                    <a:pt x="6301" y="9735"/>
                  </a:cubicBezTo>
                  <a:cubicBezTo>
                    <a:pt x="5829" y="9735"/>
                    <a:pt x="5356" y="9924"/>
                    <a:pt x="5041" y="10239"/>
                  </a:cubicBezTo>
                  <a:cubicBezTo>
                    <a:pt x="3781" y="9735"/>
                    <a:pt x="2899" y="8507"/>
                    <a:pt x="2899" y="7120"/>
                  </a:cubicBezTo>
                  <a:lnTo>
                    <a:pt x="2899" y="4128"/>
                  </a:lnTo>
                  <a:cubicBezTo>
                    <a:pt x="2899" y="3277"/>
                    <a:pt x="3245" y="2489"/>
                    <a:pt x="3812" y="1859"/>
                  </a:cubicBezTo>
                  <a:lnTo>
                    <a:pt x="6049" y="3655"/>
                  </a:lnTo>
                  <a:cubicBezTo>
                    <a:pt x="6112" y="3718"/>
                    <a:pt x="6191" y="3749"/>
                    <a:pt x="6274" y="3749"/>
                  </a:cubicBezTo>
                  <a:cubicBezTo>
                    <a:pt x="6356" y="3749"/>
                    <a:pt x="6443" y="3718"/>
                    <a:pt x="6522" y="3655"/>
                  </a:cubicBezTo>
                  <a:lnTo>
                    <a:pt x="8759" y="1859"/>
                  </a:lnTo>
                  <a:close/>
                  <a:moveTo>
                    <a:pt x="6333" y="10460"/>
                  </a:moveTo>
                  <a:cubicBezTo>
                    <a:pt x="6805" y="10460"/>
                    <a:pt x="7215" y="10775"/>
                    <a:pt x="7373" y="11216"/>
                  </a:cubicBezTo>
                  <a:lnTo>
                    <a:pt x="5262" y="11216"/>
                  </a:lnTo>
                  <a:cubicBezTo>
                    <a:pt x="5419" y="10775"/>
                    <a:pt x="5797" y="10460"/>
                    <a:pt x="6333" y="10460"/>
                  </a:cubicBezTo>
                  <a:close/>
                  <a:moveTo>
                    <a:pt x="6333" y="0"/>
                  </a:moveTo>
                  <a:cubicBezTo>
                    <a:pt x="4159" y="0"/>
                    <a:pt x="2395" y="1639"/>
                    <a:pt x="2237" y="3718"/>
                  </a:cubicBezTo>
                  <a:cubicBezTo>
                    <a:pt x="1324" y="3718"/>
                    <a:pt x="599" y="4506"/>
                    <a:pt x="725" y="5419"/>
                  </a:cubicBezTo>
                  <a:cubicBezTo>
                    <a:pt x="252" y="5703"/>
                    <a:pt x="0" y="6175"/>
                    <a:pt x="0" y="6742"/>
                  </a:cubicBezTo>
                  <a:cubicBezTo>
                    <a:pt x="0" y="7562"/>
                    <a:pt x="662" y="8223"/>
                    <a:pt x="1481" y="8223"/>
                  </a:cubicBezTo>
                  <a:cubicBezTo>
                    <a:pt x="1796" y="8223"/>
                    <a:pt x="2080" y="8160"/>
                    <a:pt x="2300" y="7940"/>
                  </a:cubicBezTo>
                  <a:cubicBezTo>
                    <a:pt x="2584" y="9263"/>
                    <a:pt x="3497" y="10271"/>
                    <a:pt x="4632" y="10838"/>
                  </a:cubicBezTo>
                  <a:cubicBezTo>
                    <a:pt x="4506" y="11059"/>
                    <a:pt x="4474" y="11311"/>
                    <a:pt x="4474" y="11563"/>
                  </a:cubicBezTo>
                  <a:cubicBezTo>
                    <a:pt x="4474" y="11783"/>
                    <a:pt x="4632" y="11941"/>
                    <a:pt x="4821" y="11941"/>
                  </a:cubicBezTo>
                  <a:lnTo>
                    <a:pt x="7814" y="11941"/>
                  </a:lnTo>
                  <a:cubicBezTo>
                    <a:pt x="8034" y="11941"/>
                    <a:pt x="8192" y="11783"/>
                    <a:pt x="8192" y="11563"/>
                  </a:cubicBezTo>
                  <a:cubicBezTo>
                    <a:pt x="8192" y="11311"/>
                    <a:pt x="8129" y="11059"/>
                    <a:pt x="8034" y="10838"/>
                  </a:cubicBezTo>
                  <a:cubicBezTo>
                    <a:pt x="9168" y="10302"/>
                    <a:pt x="10082" y="9263"/>
                    <a:pt x="10334" y="7940"/>
                  </a:cubicBezTo>
                  <a:cubicBezTo>
                    <a:pt x="10586" y="8097"/>
                    <a:pt x="10870" y="8223"/>
                    <a:pt x="11185" y="8223"/>
                  </a:cubicBezTo>
                  <a:cubicBezTo>
                    <a:pt x="12004" y="8223"/>
                    <a:pt x="12665" y="7562"/>
                    <a:pt x="12665" y="6742"/>
                  </a:cubicBezTo>
                  <a:cubicBezTo>
                    <a:pt x="12665" y="6175"/>
                    <a:pt x="12382" y="5703"/>
                    <a:pt x="11909" y="5419"/>
                  </a:cubicBezTo>
                  <a:cubicBezTo>
                    <a:pt x="12035" y="4506"/>
                    <a:pt x="11311" y="3718"/>
                    <a:pt x="10428" y="3718"/>
                  </a:cubicBezTo>
                  <a:cubicBezTo>
                    <a:pt x="10208" y="1639"/>
                    <a:pt x="8444" y="0"/>
                    <a:pt x="6333"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10618" name="Google Shape;10618;p112"/>
          <p:cNvGrpSpPr/>
          <p:nvPr/>
        </p:nvGrpSpPr>
        <p:grpSpPr>
          <a:xfrm>
            <a:off x="7105151" y="3880199"/>
            <a:ext cx="426647" cy="481453"/>
            <a:chOff x="-54426150" y="1901700"/>
            <a:chExt cx="282000" cy="318225"/>
          </a:xfrm>
        </p:grpSpPr>
        <p:sp>
          <p:nvSpPr>
            <p:cNvPr id="10619" name="Google Shape;10619;p112"/>
            <p:cNvSpPr/>
            <p:nvPr/>
          </p:nvSpPr>
          <p:spPr>
            <a:xfrm>
              <a:off x="-54330850" y="2072625"/>
              <a:ext cx="18150" cy="17350"/>
            </a:xfrm>
            <a:custGeom>
              <a:avLst/>
              <a:gdLst/>
              <a:ahLst/>
              <a:cxnLst/>
              <a:rect l="l" t="t" r="r" b="b"/>
              <a:pathLst>
                <a:path w="726" h="694" extrusionOk="0">
                  <a:moveTo>
                    <a:pt x="379" y="0"/>
                  </a:moveTo>
                  <a:cubicBezTo>
                    <a:pt x="190" y="0"/>
                    <a:pt x="1" y="158"/>
                    <a:pt x="1" y="347"/>
                  </a:cubicBezTo>
                  <a:cubicBezTo>
                    <a:pt x="1" y="536"/>
                    <a:pt x="190" y="694"/>
                    <a:pt x="379" y="694"/>
                  </a:cubicBezTo>
                  <a:cubicBezTo>
                    <a:pt x="568" y="694"/>
                    <a:pt x="725" y="536"/>
                    <a:pt x="725" y="347"/>
                  </a:cubicBezTo>
                  <a:cubicBezTo>
                    <a:pt x="725" y="158"/>
                    <a:pt x="568" y="0"/>
                    <a:pt x="379"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620" name="Google Shape;10620;p112"/>
            <p:cNvSpPr/>
            <p:nvPr/>
          </p:nvSpPr>
          <p:spPr>
            <a:xfrm>
              <a:off x="-54256800" y="2072625"/>
              <a:ext cx="18125" cy="17350"/>
            </a:xfrm>
            <a:custGeom>
              <a:avLst/>
              <a:gdLst/>
              <a:ahLst/>
              <a:cxnLst/>
              <a:rect l="l" t="t" r="r" b="b"/>
              <a:pathLst>
                <a:path w="725" h="694" extrusionOk="0">
                  <a:moveTo>
                    <a:pt x="347" y="0"/>
                  </a:moveTo>
                  <a:cubicBezTo>
                    <a:pt x="158" y="0"/>
                    <a:pt x="0" y="158"/>
                    <a:pt x="0" y="347"/>
                  </a:cubicBezTo>
                  <a:cubicBezTo>
                    <a:pt x="0" y="536"/>
                    <a:pt x="158" y="694"/>
                    <a:pt x="347" y="694"/>
                  </a:cubicBezTo>
                  <a:cubicBezTo>
                    <a:pt x="567" y="694"/>
                    <a:pt x="725" y="536"/>
                    <a:pt x="725" y="347"/>
                  </a:cubicBezTo>
                  <a:cubicBezTo>
                    <a:pt x="725" y="158"/>
                    <a:pt x="567" y="0"/>
                    <a:pt x="347"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621" name="Google Shape;10621;p112"/>
            <p:cNvSpPr/>
            <p:nvPr/>
          </p:nvSpPr>
          <p:spPr>
            <a:xfrm>
              <a:off x="-54320600" y="2135825"/>
              <a:ext cx="72475" cy="28975"/>
            </a:xfrm>
            <a:custGeom>
              <a:avLst/>
              <a:gdLst/>
              <a:ahLst/>
              <a:cxnLst/>
              <a:rect l="l" t="t" r="r" b="b"/>
              <a:pathLst>
                <a:path w="2899" h="1159" extrusionOk="0">
                  <a:moveTo>
                    <a:pt x="398" y="1"/>
                  </a:moveTo>
                  <a:cubicBezTo>
                    <a:pt x="308" y="1"/>
                    <a:pt x="221" y="40"/>
                    <a:pt x="158" y="119"/>
                  </a:cubicBezTo>
                  <a:cubicBezTo>
                    <a:pt x="0" y="276"/>
                    <a:pt x="0" y="497"/>
                    <a:pt x="158" y="623"/>
                  </a:cubicBezTo>
                  <a:cubicBezTo>
                    <a:pt x="505" y="970"/>
                    <a:pt x="977" y="1159"/>
                    <a:pt x="1450" y="1159"/>
                  </a:cubicBezTo>
                  <a:cubicBezTo>
                    <a:pt x="1922" y="1159"/>
                    <a:pt x="2426" y="970"/>
                    <a:pt x="2741" y="623"/>
                  </a:cubicBezTo>
                  <a:cubicBezTo>
                    <a:pt x="2899" y="465"/>
                    <a:pt x="2899" y="213"/>
                    <a:pt x="2741" y="119"/>
                  </a:cubicBezTo>
                  <a:cubicBezTo>
                    <a:pt x="2663" y="40"/>
                    <a:pt x="2568" y="1"/>
                    <a:pt x="2478" y="1"/>
                  </a:cubicBezTo>
                  <a:cubicBezTo>
                    <a:pt x="2387" y="1"/>
                    <a:pt x="2300" y="40"/>
                    <a:pt x="2237" y="119"/>
                  </a:cubicBezTo>
                  <a:cubicBezTo>
                    <a:pt x="2048" y="308"/>
                    <a:pt x="1733" y="434"/>
                    <a:pt x="1450" y="434"/>
                  </a:cubicBezTo>
                  <a:cubicBezTo>
                    <a:pt x="1135" y="434"/>
                    <a:pt x="851" y="308"/>
                    <a:pt x="662" y="119"/>
                  </a:cubicBezTo>
                  <a:cubicBezTo>
                    <a:pt x="583" y="40"/>
                    <a:pt x="489" y="1"/>
                    <a:pt x="398"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622" name="Google Shape;10622;p112"/>
            <p:cNvSpPr/>
            <p:nvPr/>
          </p:nvSpPr>
          <p:spPr>
            <a:xfrm>
              <a:off x="-54426150" y="1901700"/>
              <a:ext cx="282000" cy="318225"/>
            </a:xfrm>
            <a:custGeom>
              <a:avLst/>
              <a:gdLst/>
              <a:ahLst/>
              <a:cxnLst/>
              <a:rect l="l" t="t" r="r" b="b"/>
              <a:pathLst>
                <a:path w="11280" h="12729" extrusionOk="0">
                  <a:moveTo>
                    <a:pt x="5672" y="820"/>
                  </a:moveTo>
                  <a:cubicBezTo>
                    <a:pt x="6648" y="820"/>
                    <a:pt x="7562" y="1072"/>
                    <a:pt x="8381" y="1639"/>
                  </a:cubicBezTo>
                  <a:cubicBezTo>
                    <a:pt x="8350" y="1828"/>
                    <a:pt x="8318" y="2049"/>
                    <a:pt x="8318" y="2301"/>
                  </a:cubicBezTo>
                  <a:cubicBezTo>
                    <a:pt x="8318" y="2584"/>
                    <a:pt x="8350" y="2805"/>
                    <a:pt x="8444" y="3057"/>
                  </a:cubicBezTo>
                  <a:lnTo>
                    <a:pt x="1671" y="3057"/>
                  </a:lnTo>
                  <a:cubicBezTo>
                    <a:pt x="2458" y="1702"/>
                    <a:pt x="3939" y="820"/>
                    <a:pt x="5672" y="820"/>
                  </a:cubicBezTo>
                  <a:close/>
                  <a:moveTo>
                    <a:pt x="9389" y="1072"/>
                  </a:moveTo>
                  <a:cubicBezTo>
                    <a:pt x="9547" y="1387"/>
                    <a:pt x="9736" y="1828"/>
                    <a:pt x="9736" y="2301"/>
                  </a:cubicBezTo>
                  <a:cubicBezTo>
                    <a:pt x="9736" y="2773"/>
                    <a:pt x="9547" y="3214"/>
                    <a:pt x="9389" y="3529"/>
                  </a:cubicBezTo>
                  <a:cubicBezTo>
                    <a:pt x="9232" y="3214"/>
                    <a:pt x="9011" y="2773"/>
                    <a:pt x="9011" y="2301"/>
                  </a:cubicBezTo>
                  <a:cubicBezTo>
                    <a:pt x="9011" y="1828"/>
                    <a:pt x="9232" y="1356"/>
                    <a:pt x="9389" y="1072"/>
                  </a:cubicBezTo>
                  <a:close/>
                  <a:moveTo>
                    <a:pt x="5262" y="3750"/>
                  </a:moveTo>
                  <a:cubicBezTo>
                    <a:pt x="5136" y="4065"/>
                    <a:pt x="4853" y="4443"/>
                    <a:pt x="4474" y="4695"/>
                  </a:cubicBezTo>
                  <a:cubicBezTo>
                    <a:pt x="3907" y="5105"/>
                    <a:pt x="3246" y="5325"/>
                    <a:pt x="2742" y="5325"/>
                  </a:cubicBezTo>
                  <a:lnTo>
                    <a:pt x="1923" y="5325"/>
                  </a:lnTo>
                  <a:cubicBezTo>
                    <a:pt x="1734" y="5325"/>
                    <a:pt x="1576" y="5483"/>
                    <a:pt x="1576" y="5703"/>
                  </a:cubicBezTo>
                  <a:lnTo>
                    <a:pt x="1576" y="6806"/>
                  </a:lnTo>
                  <a:lnTo>
                    <a:pt x="851" y="6806"/>
                  </a:lnTo>
                  <a:lnTo>
                    <a:pt x="851" y="5703"/>
                  </a:lnTo>
                  <a:cubicBezTo>
                    <a:pt x="851" y="5010"/>
                    <a:pt x="946" y="4349"/>
                    <a:pt x="1229" y="3750"/>
                  </a:cubicBezTo>
                  <a:close/>
                  <a:moveTo>
                    <a:pt x="10177" y="3750"/>
                  </a:moveTo>
                  <a:cubicBezTo>
                    <a:pt x="10397" y="4349"/>
                    <a:pt x="10555" y="5042"/>
                    <a:pt x="10555" y="5735"/>
                  </a:cubicBezTo>
                  <a:lnTo>
                    <a:pt x="10555" y="6837"/>
                  </a:lnTo>
                  <a:lnTo>
                    <a:pt x="9767" y="6837"/>
                  </a:lnTo>
                  <a:lnTo>
                    <a:pt x="9767" y="5735"/>
                  </a:lnTo>
                  <a:cubicBezTo>
                    <a:pt x="9767" y="5546"/>
                    <a:pt x="9610" y="5388"/>
                    <a:pt x="9421" y="5388"/>
                  </a:cubicBezTo>
                  <a:lnTo>
                    <a:pt x="8665" y="5388"/>
                  </a:lnTo>
                  <a:cubicBezTo>
                    <a:pt x="8129" y="5388"/>
                    <a:pt x="7436" y="5136"/>
                    <a:pt x="6932" y="4758"/>
                  </a:cubicBezTo>
                  <a:cubicBezTo>
                    <a:pt x="6554" y="4475"/>
                    <a:pt x="6270" y="4160"/>
                    <a:pt x="6144" y="3813"/>
                  </a:cubicBezTo>
                  <a:lnTo>
                    <a:pt x="8759" y="3813"/>
                  </a:lnTo>
                  <a:cubicBezTo>
                    <a:pt x="8948" y="4160"/>
                    <a:pt x="9137" y="4380"/>
                    <a:pt x="9200" y="4412"/>
                  </a:cubicBezTo>
                  <a:cubicBezTo>
                    <a:pt x="9279" y="4506"/>
                    <a:pt x="9374" y="4553"/>
                    <a:pt x="9468" y="4553"/>
                  </a:cubicBezTo>
                  <a:cubicBezTo>
                    <a:pt x="9563" y="4553"/>
                    <a:pt x="9657" y="4506"/>
                    <a:pt x="9736" y="4412"/>
                  </a:cubicBezTo>
                  <a:cubicBezTo>
                    <a:pt x="9736" y="4412"/>
                    <a:pt x="9988" y="4160"/>
                    <a:pt x="10177" y="3750"/>
                  </a:cubicBezTo>
                  <a:close/>
                  <a:moveTo>
                    <a:pt x="1545" y="7562"/>
                  </a:moveTo>
                  <a:lnTo>
                    <a:pt x="1545" y="8318"/>
                  </a:lnTo>
                  <a:lnTo>
                    <a:pt x="788" y="8318"/>
                  </a:lnTo>
                  <a:lnTo>
                    <a:pt x="788" y="7562"/>
                  </a:lnTo>
                  <a:close/>
                  <a:moveTo>
                    <a:pt x="10523" y="7562"/>
                  </a:moveTo>
                  <a:lnTo>
                    <a:pt x="10523" y="8318"/>
                  </a:lnTo>
                  <a:lnTo>
                    <a:pt x="9767" y="8318"/>
                  </a:lnTo>
                  <a:lnTo>
                    <a:pt x="9767" y="7562"/>
                  </a:lnTo>
                  <a:close/>
                  <a:moveTo>
                    <a:pt x="1576" y="9074"/>
                  </a:moveTo>
                  <a:lnTo>
                    <a:pt x="1576" y="9421"/>
                  </a:lnTo>
                  <a:lnTo>
                    <a:pt x="1545" y="9421"/>
                  </a:lnTo>
                  <a:cubicBezTo>
                    <a:pt x="1545" y="9641"/>
                    <a:pt x="1387" y="9799"/>
                    <a:pt x="1198" y="9799"/>
                  </a:cubicBezTo>
                  <a:cubicBezTo>
                    <a:pt x="1009" y="9799"/>
                    <a:pt x="851" y="9641"/>
                    <a:pt x="851" y="9421"/>
                  </a:cubicBezTo>
                  <a:lnTo>
                    <a:pt x="851" y="9074"/>
                  </a:lnTo>
                  <a:close/>
                  <a:moveTo>
                    <a:pt x="10555" y="9074"/>
                  </a:moveTo>
                  <a:lnTo>
                    <a:pt x="10555" y="9421"/>
                  </a:lnTo>
                  <a:lnTo>
                    <a:pt x="10523" y="9421"/>
                  </a:lnTo>
                  <a:cubicBezTo>
                    <a:pt x="10523" y="9641"/>
                    <a:pt x="10366" y="9799"/>
                    <a:pt x="10177" y="9799"/>
                  </a:cubicBezTo>
                  <a:cubicBezTo>
                    <a:pt x="9956" y="9799"/>
                    <a:pt x="9799" y="9641"/>
                    <a:pt x="9799" y="9421"/>
                  </a:cubicBezTo>
                  <a:lnTo>
                    <a:pt x="9799" y="9074"/>
                  </a:lnTo>
                  <a:close/>
                  <a:moveTo>
                    <a:pt x="1198" y="10555"/>
                  </a:moveTo>
                  <a:cubicBezTo>
                    <a:pt x="1387" y="10555"/>
                    <a:pt x="1545" y="10713"/>
                    <a:pt x="1545" y="10933"/>
                  </a:cubicBezTo>
                  <a:cubicBezTo>
                    <a:pt x="1545" y="11059"/>
                    <a:pt x="1545" y="11059"/>
                    <a:pt x="1198" y="11689"/>
                  </a:cubicBezTo>
                  <a:cubicBezTo>
                    <a:pt x="820" y="11059"/>
                    <a:pt x="820" y="11059"/>
                    <a:pt x="820" y="10933"/>
                  </a:cubicBezTo>
                  <a:cubicBezTo>
                    <a:pt x="820" y="10713"/>
                    <a:pt x="977" y="10555"/>
                    <a:pt x="1198" y="10555"/>
                  </a:cubicBezTo>
                  <a:close/>
                  <a:moveTo>
                    <a:pt x="10114" y="10618"/>
                  </a:moveTo>
                  <a:cubicBezTo>
                    <a:pt x="10334" y="10618"/>
                    <a:pt x="10492" y="10776"/>
                    <a:pt x="10492" y="10965"/>
                  </a:cubicBezTo>
                  <a:cubicBezTo>
                    <a:pt x="10523" y="10965"/>
                    <a:pt x="10492" y="11059"/>
                    <a:pt x="10492" y="11091"/>
                  </a:cubicBezTo>
                  <a:lnTo>
                    <a:pt x="10177" y="11689"/>
                  </a:lnTo>
                  <a:lnTo>
                    <a:pt x="9799" y="11091"/>
                  </a:lnTo>
                  <a:cubicBezTo>
                    <a:pt x="9799" y="11059"/>
                    <a:pt x="9767" y="10996"/>
                    <a:pt x="9767" y="10965"/>
                  </a:cubicBezTo>
                  <a:cubicBezTo>
                    <a:pt x="9767" y="10776"/>
                    <a:pt x="9925" y="10618"/>
                    <a:pt x="10114" y="10618"/>
                  </a:cubicBezTo>
                  <a:close/>
                  <a:moveTo>
                    <a:pt x="5672" y="4538"/>
                  </a:moveTo>
                  <a:cubicBezTo>
                    <a:pt x="5861" y="4821"/>
                    <a:pt x="6144" y="5105"/>
                    <a:pt x="6522" y="5325"/>
                  </a:cubicBezTo>
                  <a:cubicBezTo>
                    <a:pt x="7184" y="5798"/>
                    <a:pt x="7972" y="6081"/>
                    <a:pt x="8665" y="6081"/>
                  </a:cubicBezTo>
                  <a:lnTo>
                    <a:pt x="9011" y="6081"/>
                  </a:lnTo>
                  <a:lnTo>
                    <a:pt x="9011" y="8696"/>
                  </a:lnTo>
                  <a:cubicBezTo>
                    <a:pt x="9011" y="10524"/>
                    <a:pt x="7530" y="12036"/>
                    <a:pt x="5672" y="12036"/>
                  </a:cubicBezTo>
                  <a:cubicBezTo>
                    <a:pt x="3813" y="12036"/>
                    <a:pt x="2332" y="10524"/>
                    <a:pt x="2332" y="8696"/>
                  </a:cubicBezTo>
                  <a:lnTo>
                    <a:pt x="2332" y="6081"/>
                  </a:lnTo>
                  <a:lnTo>
                    <a:pt x="2679" y="6081"/>
                  </a:lnTo>
                  <a:cubicBezTo>
                    <a:pt x="3403" y="6081"/>
                    <a:pt x="4191" y="5798"/>
                    <a:pt x="4853" y="5325"/>
                  </a:cubicBezTo>
                  <a:cubicBezTo>
                    <a:pt x="5199" y="5105"/>
                    <a:pt x="5483" y="4821"/>
                    <a:pt x="5672" y="4538"/>
                  </a:cubicBezTo>
                  <a:close/>
                  <a:moveTo>
                    <a:pt x="5672" y="1"/>
                  </a:moveTo>
                  <a:cubicBezTo>
                    <a:pt x="2584" y="1"/>
                    <a:pt x="95" y="2584"/>
                    <a:pt x="95" y="5640"/>
                  </a:cubicBezTo>
                  <a:lnTo>
                    <a:pt x="95" y="9389"/>
                  </a:lnTo>
                  <a:cubicBezTo>
                    <a:pt x="95" y="9673"/>
                    <a:pt x="221" y="9925"/>
                    <a:pt x="347" y="10145"/>
                  </a:cubicBezTo>
                  <a:cubicBezTo>
                    <a:pt x="1" y="10524"/>
                    <a:pt x="1" y="11091"/>
                    <a:pt x="221" y="11343"/>
                  </a:cubicBezTo>
                  <a:lnTo>
                    <a:pt x="883" y="12540"/>
                  </a:lnTo>
                  <a:cubicBezTo>
                    <a:pt x="946" y="12666"/>
                    <a:pt x="1072" y="12729"/>
                    <a:pt x="1198" y="12729"/>
                  </a:cubicBezTo>
                  <a:cubicBezTo>
                    <a:pt x="1324" y="12729"/>
                    <a:pt x="1450" y="12666"/>
                    <a:pt x="1513" y="12540"/>
                  </a:cubicBezTo>
                  <a:cubicBezTo>
                    <a:pt x="2175" y="11343"/>
                    <a:pt x="2238" y="11311"/>
                    <a:pt x="2301" y="10965"/>
                  </a:cubicBezTo>
                  <a:cubicBezTo>
                    <a:pt x="3025" y="12036"/>
                    <a:pt x="4254" y="12729"/>
                    <a:pt x="5640" y="12729"/>
                  </a:cubicBezTo>
                  <a:cubicBezTo>
                    <a:pt x="7026" y="12729"/>
                    <a:pt x="8287" y="12036"/>
                    <a:pt x="8980" y="10965"/>
                  </a:cubicBezTo>
                  <a:cubicBezTo>
                    <a:pt x="8980" y="11091"/>
                    <a:pt x="9043" y="11185"/>
                    <a:pt x="9074" y="11311"/>
                  </a:cubicBezTo>
                  <a:lnTo>
                    <a:pt x="9074" y="11343"/>
                  </a:lnTo>
                  <a:lnTo>
                    <a:pt x="9736" y="12540"/>
                  </a:lnTo>
                  <a:cubicBezTo>
                    <a:pt x="9799" y="12666"/>
                    <a:pt x="9925" y="12729"/>
                    <a:pt x="10051" y="12729"/>
                  </a:cubicBezTo>
                  <a:cubicBezTo>
                    <a:pt x="10177" y="12729"/>
                    <a:pt x="10334" y="12666"/>
                    <a:pt x="10366" y="12540"/>
                  </a:cubicBezTo>
                  <a:lnTo>
                    <a:pt x="11028" y="11406"/>
                  </a:lnTo>
                  <a:cubicBezTo>
                    <a:pt x="11122" y="11248"/>
                    <a:pt x="11154" y="11028"/>
                    <a:pt x="11154" y="10870"/>
                  </a:cubicBezTo>
                  <a:cubicBezTo>
                    <a:pt x="11154" y="10618"/>
                    <a:pt x="11028" y="10335"/>
                    <a:pt x="10870" y="10145"/>
                  </a:cubicBezTo>
                  <a:cubicBezTo>
                    <a:pt x="11091" y="9925"/>
                    <a:pt x="11154" y="9673"/>
                    <a:pt x="11154" y="9389"/>
                  </a:cubicBezTo>
                  <a:cubicBezTo>
                    <a:pt x="11280" y="4979"/>
                    <a:pt x="11280" y="5294"/>
                    <a:pt x="11217" y="5168"/>
                  </a:cubicBezTo>
                  <a:cubicBezTo>
                    <a:pt x="11154" y="4317"/>
                    <a:pt x="10870" y="3498"/>
                    <a:pt x="10429" y="2773"/>
                  </a:cubicBezTo>
                  <a:cubicBezTo>
                    <a:pt x="10492" y="2616"/>
                    <a:pt x="10492" y="2458"/>
                    <a:pt x="10492" y="2301"/>
                  </a:cubicBezTo>
                  <a:cubicBezTo>
                    <a:pt x="10492" y="1167"/>
                    <a:pt x="9704" y="221"/>
                    <a:pt x="9641" y="190"/>
                  </a:cubicBezTo>
                  <a:cubicBezTo>
                    <a:pt x="9578" y="95"/>
                    <a:pt x="9484" y="64"/>
                    <a:pt x="9389" y="64"/>
                  </a:cubicBezTo>
                  <a:cubicBezTo>
                    <a:pt x="9263" y="64"/>
                    <a:pt x="9169" y="95"/>
                    <a:pt x="9106" y="190"/>
                  </a:cubicBezTo>
                  <a:cubicBezTo>
                    <a:pt x="9106" y="221"/>
                    <a:pt x="8822" y="473"/>
                    <a:pt x="8633" y="883"/>
                  </a:cubicBezTo>
                  <a:cubicBezTo>
                    <a:pt x="7719" y="316"/>
                    <a:pt x="6743" y="1"/>
                    <a:pt x="5672"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10623" name="Google Shape;10623;p112"/>
          <p:cNvGrpSpPr/>
          <p:nvPr/>
        </p:nvGrpSpPr>
        <p:grpSpPr>
          <a:xfrm>
            <a:off x="7105151" y="4484816"/>
            <a:ext cx="426647" cy="482664"/>
            <a:chOff x="-54426150" y="2294725"/>
            <a:chExt cx="282000" cy="319025"/>
          </a:xfrm>
        </p:grpSpPr>
        <p:sp>
          <p:nvSpPr>
            <p:cNvPr id="10624" name="Google Shape;10624;p112"/>
            <p:cNvSpPr/>
            <p:nvPr/>
          </p:nvSpPr>
          <p:spPr>
            <a:xfrm>
              <a:off x="-54320600" y="2527275"/>
              <a:ext cx="72475" cy="29750"/>
            </a:xfrm>
            <a:custGeom>
              <a:avLst/>
              <a:gdLst/>
              <a:ahLst/>
              <a:cxnLst/>
              <a:rect l="l" t="t" r="r" b="b"/>
              <a:pathLst>
                <a:path w="2899" h="1190" extrusionOk="0">
                  <a:moveTo>
                    <a:pt x="398" y="1"/>
                  </a:moveTo>
                  <a:cubicBezTo>
                    <a:pt x="308" y="1"/>
                    <a:pt x="221" y="40"/>
                    <a:pt x="158" y="119"/>
                  </a:cubicBezTo>
                  <a:cubicBezTo>
                    <a:pt x="0" y="276"/>
                    <a:pt x="0" y="528"/>
                    <a:pt x="158" y="623"/>
                  </a:cubicBezTo>
                  <a:cubicBezTo>
                    <a:pt x="505" y="1001"/>
                    <a:pt x="977" y="1190"/>
                    <a:pt x="1450" y="1190"/>
                  </a:cubicBezTo>
                  <a:cubicBezTo>
                    <a:pt x="1922" y="1190"/>
                    <a:pt x="2426" y="1001"/>
                    <a:pt x="2741" y="623"/>
                  </a:cubicBezTo>
                  <a:cubicBezTo>
                    <a:pt x="2899" y="465"/>
                    <a:pt x="2899" y="245"/>
                    <a:pt x="2741" y="119"/>
                  </a:cubicBezTo>
                  <a:cubicBezTo>
                    <a:pt x="2663" y="40"/>
                    <a:pt x="2568" y="1"/>
                    <a:pt x="2478" y="1"/>
                  </a:cubicBezTo>
                  <a:cubicBezTo>
                    <a:pt x="2387" y="1"/>
                    <a:pt x="2300" y="40"/>
                    <a:pt x="2237" y="119"/>
                  </a:cubicBezTo>
                  <a:cubicBezTo>
                    <a:pt x="2048" y="308"/>
                    <a:pt x="1733" y="434"/>
                    <a:pt x="1450" y="434"/>
                  </a:cubicBezTo>
                  <a:cubicBezTo>
                    <a:pt x="1135" y="434"/>
                    <a:pt x="851" y="308"/>
                    <a:pt x="662" y="119"/>
                  </a:cubicBezTo>
                  <a:cubicBezTo>
                    <a:pt x="583" y="40"/>
                    <a:pt x="489" y="1"/>
                    <a:pt x="398"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625" name="Google Shape;10625;p112"/>
            <p:cNvSpPr/>
            <p:nvPr/>
          </p:nvSpPr>
          <p:spPr>
            <a:xfrm>
              <a:off x="-54330850" y="2464075"/>
              <a:ext cx="18150" cy="18125"/>
            </a:xfrm>
            <a:custGeom>
              <a:avLst/>
              <a:gdLst/>
              <a:ahLst/>
              <a:cxnLst/>
              <a:rect l="l" t="t" r="r" b="b"/>
              <a:pathLst>
                <a:path w="726" h="725" extrusionOk="0">
                  <a:moveTo>
                    <a:pt x="379" y="0"/>
                  </a:moveTo>
                  <a:cubicBezTo>
                    <a:pt x="190" y="0"/>
                    <a:pt x="1" y="158"/>
                    <a:pt x="1" y="378"/>
                  </a:cubicBezTo>
                  <a:cubicBezTo>
                    <a:pt x="1" y="567"/>
                    <a:pt x="190" y="725"/>
                    <a:pt x="379" y="725"/>
                  </a:cubicBezTo>
                  <a:cubicBezTo>
                    <a:pt x="568" y="725"/>
                    <a:pt x="725" y="567"/>
                    <a:pt x="725" y="378"/>
                  </a:cubicBezTo>
                  <a:cubicBezTo>
                    <a:pt x="725" y="158"/>
                    <a:pt x="568" y="0"/>
                    <a:pt x="379"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626" name="Google Shape;10626;p112"/>
            <p:cNvSpPr/>
            <p:nvPr/>
          </p:nvSpPr>
          <p:spPr>
            <a:xfrm>
              <a:off x="-54256800" y="2464075"/>
              <a:ext cx="18125" cy="18125"/>
            </a:xfrm>
            <a:custGeom>
              <a:avLst/>
              <a:gdLst/>
              <a:ahLst/>
              <a:cxnLst/>
              <a:rect l="l" t="t" r="r" b="b"/>
              <a:pathLst>
                <a:path w="725" h="725" extrusionOk="0">
                  <a:moveTo>
                    <a:pt x="347" y="0"/>
                  </a:moveTo>
                  <a:cubicBezTo>
                    <a:pt x="158" y="0"/>
                    <a:pt x="0" y="158"/>
                    <a:pt x="0" y="378"/>
                  </a:cubicBezTo>
                  <a:cubicBezTo>
                    <a:pt x="0" y="567"/>
                    <a:pt x="158" y="725"/>
                    <a:pt x="347" y="725"/>
                  </a:cubicBezTo>
                  <a:cubicBezTo>
                    <a:pt x="567" y="725"/>
                    <a:pt x="725" y="567"/>
                    <a:pt x="725" y="378"/>
                  </a:cubicBezTo>
                  <a:cubicBezTo>
                    <a:pt x="725" y="158"/>
                    <a:pt x="567" y="0"/>
                    <a:pt x="347"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627" name="Google Shape;10627;p112"/>
            <p:cNvSpPr/>
            <p:nvPr/>
          </p:nvSpPr>
          <p:spPr>
            <a:xfrm>
              <a:off x="-54426150" y="2294725"/>
              <a:ext cx="282000" cy="319025"/>
            </a:xfrm>
            <a:custGeom>
              <a:avLst/>
              <a:gdLst/>
              <a:ahLst/>
              <a:cxnLst/>
              <a:rect l="l" t="t" r="r" b="b"/>
              <a:pathLst>
                <a:path w="11280" h="12761" extrusionOk="0">
                  <a:moveTo>
                    <a:pt x="8381" y="757"/>
                  </a:moveTo>
                  <a:cubicBezTo>
                    <a:pt x="9106" y="757"/>
                    <a:pt x="9610" y="1387"/>
                    <a:pt x="9484" y="2049"/>
                  </a:cubicBezTo>
                  <a:lnTo>
                    <a:pt x="9106" y="4538"/>
                  </a:lnTo>
                  <a:lnTo>
                    <a:pt x="2301" y="4538"/>
                  </a:lnTo>
                  <a:lnTo>
                    <a:pt x="1891" y="2049"/>
                  </a:lnTo>
                  <a:cubicBezTo>
                    <a:pt x="1734" y="1387"/>
                    <a:pt x="2238" y="757"/>
                    <a:pt x="2962" y="757"/>
                  </a:cubicBezTo>
                  <a:close/>
                  <a:moveTo>
                    <a:pt x="2962" y="5294"/>
                  </a:moveTo>
                  <a:cubicBezTo>
                    <a:pt x="2836" y="5609"/>
                    <a:pt x="2616" y="5829"/>
                    <a:pt x="2301" y="5955"/>
                  </a:cubicBezTo>
                  <a:lnTo>
                    <a:pt x="2301" y="5294"/>
                  </a:lnTo>
                  <a:close/>
                  <a:moveTo>
                    <a:pt x="9011" y="5294"/>
                  </a:moveTo>
                  <a:lnTo>
                    <a:pt x="9011" y="5955"/>
                  </a:lnTo>
                  <a:cubicBezTo>
                    <a:pt x="8696" y="5829"/>
                    <a:pt x="8476" y="5609"/>
                    <a:pt x="8350" y="5294"/>
                  </a:cubicBezTo>
                  <a:close/>
                  <a:moveTo>
                    <a:pt x="9767" y="6743"/>
                  </a:moveTo>
                  <a:cubicBezTo>
                    <a:pt x="10177" y="6743"/>
                    <a:pt x="10523" y="7058"/>
                    <a:pt x="10523" y="7499"/>
                  </a:cubicBezTo>
                  <a:cubicBezTo>
                    <a:pt x="10523" y="7940"/>
                    <a:pt x="10177" y="8255"/>
                    <a:pt x="9767" y="8255"/>
                  </a:cubicBezTo>
                  <a:lnTo>
                    <a:pt x="9767" y="6743"/>
                  </a:lnTo>
                  <a:close/>
                  <a:moveTo>
                    <a:pt x="1545" y="6774"/>
                  </a:moveTo>
                  <a:lnTo>
                    <a:pt x="1545" y="8287"/>
                  </a:lnTo>
                  <a:cubicBezTo>
                    <a:pt x="1135" y="8255"/>
                    <a:pt x="788" y="7940"/>
                    <a:pt x="788" y="7530"/>
                  </a:cubicBezTo>
                  <a:cubicBezTo>
                    <a:pt x="788" y="7152"/>
                    <a:pt x="1103" y="6774"/>
                    <a:pt x="1545" y="6774"/>
                  </a:cubicBezTo>
                  <a:close/>
                  <a:moveTo>
                    <a:pt x="7593" y="5294"/>
                  </a:moveTo>
                  <a:cubicBezTo>
                    <a:pt x="7751" y="6050"/>
                    <a:pt x="8318" y="6585"/>
                    <a:pt x="9074" y="6743"/>
                  </a:cubicBezTo>
                  <a:lnTo>
                    <a:pt x="9074" y="8633"/>
                  </a:lnTo>
                  <a:cubicBezTo>
                    <a:pt x="9011" y="10492"/>
                    <a:pt x="7530" y="11973"/>
                    <a:pt x="5672" y="11973"/>
                  </a:cubicBezTo>
                  <a:cubicBezTo>
                    <a:pt x="3813" y="11973"/>
                    <a:pt x="2332" y="10492"/>
                    <a:pt x="2332" y="8633"/>
                  </a:cubicBezTo>
                  <a:lnTo>
                    <a:pt x="2332" y="6743"/>
                  </a:lnTo>
                  <a:cubicBezTo>
                    <a:pt x="3088" y="6585"/>
                    <a:pt x="3624" y="6018"/>
                    <a:pt x="3781" y="5294"/>
                  </a:cubicBezTo>
                  <a:close/>
                  <a:moveTo>
                    <a:pt x="2931" y="1"/>
                  </a:moveTo>
                  <a:cubicBezTo>
                    <a:pt x="1797" y="1"/>
                    <a:pt x="883" y="1040"/>
                    <a:pt x="1072" y="2175"/>
                  </a:cubicBezTo>
                  <a:lnTo>
                    <a:pt x="1513" y="4916"/>
                  </a:lnTo>
                  <a:lnTo>
                    <a:pt x="1513" y="6018"/>
                  </a:lnTo>
                  <a:cubicBezTo>
                    <a:pt x="662" y="6018"/>
                    <a:pt x="1" y="6711"/>
                    <a:pt x="1" y="7530"/>
                  </a:cubicBezTo>
                  <a:cubicBezTo>
                    <a:pt x="1" y="8350"/>
                    <a:pt x="662" y="9043"/>
                    <a:pt x="1513" y="9043"/>
                  </a:cubicBezTo>
                  <a:cubicBezTo>
                    <a:pt x="1702" y="11122"/>
                    <a:pt x="3466" y="12760"/>
                    <a:pt x="5609" y="12760"/>
                  </a:cubicBezTo>
                  <a:cubicBezTo>
                    <a:pt x="7719" y="12760"/>
                    <a:pt x="9484" y="11122"/>
                    <a:pt x="9704" y="9043"/>
                  </a:cubicBezTo>
                  <a:cubicBezTo>
                    <a:pt x="10523" y="9043"/>
                    <a:pt x="11185" y="8350"/>
                    <a:pt x="11185" y="7530"/>
                  </a:cubicBezTo>
                  <a:cubicBezTo>
                    <a:pt x="11280" y="6711"/>
                    <a:pt x="10586" y="6018"/>
                    <a:pt x="9767" y="6018"/>
                  </a:cubicBezTo>
                  <a:lnTo>
                    <a:pt x="9767" y="4916"/>
                  </a:lnTo>
                  <a:lnTo>
                    <a:pt x="10208" y="2175"/>
                  </a:lnTo>
                  <a:cubicBezTo>
                    <a:pt x="10397" y="1040"/>
                    <a:pt x="9547" y="1"/>
                    <a:pt x="8350"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628" name="Google Shape;10628;p112"/>
            <p:cNvSpPr/>
            <p:nvPr/>
          </p:nvSpPr>
          <p:spPr>
            <a:xfrm>
              <a:off x="-54312725" y="2334125"/>
              <a:ext cx="54375" cy="53575"/>
            </a:xfrm>
            <a:custGeom>
              <a:avLst/>
              <a:gdLst/>
              <a:ahLst/>
              <a:cxnLst/>
              <a:rect l="l" t="t" r="r" b="b"/>
              <a:pathLst>
                <a:path w="2175" h="2143" extrusionOk="0">
                  <a:moveTo>
                    <a:pt x="1103" y="0"/>
                  </a:moveTo>
                  <a:cubicBezTo>
                    <a:pt x="914" y="0"/>
                    <a:pt x="757" y="158"/>
                    <a:pt x="757" y="347"/>
                  </a:cubicBezTo>
                  <a:lnTo>
                    <a:pt x="757" y="725"/>
                  </a:lnTo>
                  <a:lnTo>
                    <a:pt x="379" y="725"/>
                  </a:lnTo>
                  <a:cubicBezTo>
                    <a:pt x="190" y="725"/>
                    <a:pt x="32" y="882"/>
                    <a:pt x="32" y="1071"/>
                  </a:cubicBezTo>
                  <a:cubicBezTo>
                    <a:pt x="0" y="1229"/>
                    <a:pt x="158" y="1418"/>
                    <a:pt x="379" y="1418"/>
                  </a:cubicBezTo>
                  <a:lnTo>
                    <a:pt x="757" y="1418"/>
                  </a:lnTo>
                  <a:lnTo>
                    <a:pt x="757" y="1796"/>
                  </a:lnTo>
                  <a:cubicBezTo>
                    <a:pt x="757" y="1985"/>
                    <a:pt x="914" y="2142"/>
                    <a:pt x="1103" y="2142"/>
                  </a:cubicBezTo>
                  <a:cubicBezTo>
                    <a:pt x="1292" y="2142"/>
                    <a:pt x="1450" y="1985"/>
                    <a:pt x="1450" y="1796"/>
                  </a:cubicBezTo>
                  <a:lnTo>
                    <a:pt x="1450" y="1418"/>
                  </a:lnTo>
                  <a:lnTo>
                    <a:pt x="1796" y="1418"/>
                  </a:lnTo>
                  <a:cubicBezTo>
                    <a:pt x="2017" y="1418"/>
                    <a:pt x="2174" y="1260"/>
                    <a:pt x="2174" y="1071"/>
                  </a:cubicBezTo>
                  <a:cubicBezTo>
                    <a:pt x="2174" y="882"/>
                    <a:pt x="2017" y="725"/>
                    <a:pt x="1796" y="725"/>
                  </a:cubicBezTo>
                  <a:lnTo>
                    <a:pt x="1450" y="725"/>
                  </a:lnTo>
                  <a:lnTo>
                    <a:pt x="1450" y="347"/>
                  </a:lnTo>
                  <a:cubicBezTo>
                    <a:pt x="1450" y="158"/>
                    <a:pt x="1292" y="0"/>
                    <a:pt x="1103"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10629" name="Google Shape;10629;p112"/>
          <p:cNvGrpSpPr/>
          <p:nvPr/>
        </p:nvGrpSpPr>
        <p:grpSpPr>
          <a:xfrm>
            <a:off x="7102768" y="5108257"/>
            <a:ext cx="431413" cy="482625"/>
            <a:chOff x="-54427725" y="2686975"/>
            <a:chExt cx="285150" cy="319000"/>
          </a:xfrm>
        </p:grpSpPr>
        <p:sp>
          <p:nvSpPr>
            <p:cNvPr id="10630" name="Google Shape;10630;p112"/>
            <p:cNvSpPr/>
            <p:nvPr/>
          </p:nvSpPr>
          <p:spPr>
            <a:xfrm>
              <a:off x="-54320600" y="2919525"/>
              <a:ext cx="72475" cy="28950"/>
            </a:xfrm>
            <a:custGeom>
              <a:avLst/>
              <a:gdLst/>
              <a:ahLst/>
              <a:cxnLst/>
              <a:rect l="l" t="t" r="r" b="b"/>
              <a:pathLst>
                <a:path w="2899" h="1158" extrusionOk="0">
                  <a:moveTo>
                    <a:pt x="398" y="0"/>
                  </a:moveTo>
                  <a:cubicBezTo>
                    <a:pt x="308" y="0"/>
                    <a:pt x="221" y="39"/>
                    <a:pt x="158" y="118"/>
                  </a:cubicBezTo>
                  <a:cubicBezTo>
                    <a:pt x="0" y="276"/>
                    <a:pt x="0" y="496"/>
                    <a:pt x="158" y="622"/>
                  </a:cubicBezTo>
                  <a:cubicBezTo>
                    <a:pt x="505" y="969"/>
                    <a:pt x="977" y="1158"/>
                    <a:pt x="1450" y="1158"/>
                  </a:cubicBezTo>
                  <a:cubicBezTo>
                    <a:pt x="1922" y="1158"/>
                    <a:pt x="2426" y="969"/>
                    <a:pt x="2741" y="622"/>
                  </a:cubicBezTo>
                  <a:cubicBezTo>
                    <a:pt x="2899" y="465"/>
                    <a:pt x="2899" y="213"/>
                    <a:pt x="2741" y="118"/>
                  </a:cubicBezTo>
                  <a:cubicBezTo>
                    <a:pt x="2663" y="39"/>
                    <a:pt x="2568" y="0"/>
                    <a:pt x="2478" y="0"/>
                  </a:cubicBezTo>
                  <a:cubicBezTo>
                    <a:pt x="2387" y="0"/>
                    <a:pt x="2300" y="39"/>
                    <a:pt x="2237" y="118"/>
                  </a:cubicBezTo>
                  <a:cubicBezTo>
                    <a:pt x="2048" y="307"/>
                    <a:pt x="1733" y="433"/>
                    <a:pt x="1450" y="433"/>
                  </a:cubicBezTo>
                  <a:cubicBezTo>
                    <a:pt x="1135" y="433"/>
                    <a:pt x="851" y="307"/>
                    <a:pt x="662" y="118"/>
                  </a:cubicBezTo>
                  <a:cubicBezTo>
                    <a:pt x="583" y="39"/>
                    <a:pt x="489" y="0"/>
                    <a:pt x="398"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631" name="Google Shape;10631;p112"/>
            <p:cNvSpPr/>
            <p:nvPr/>
          </p:nvSpPr>
          <p:spPr>
            <a:xfrm>
              <a:off x="-54256800" y="2856300"/>
              <a:ext cx="18125" cy="17350"/>
            </a:xfrm>
            <a:custGeom>
              <a:avLst/>
              <a:gdLst/>
              <a:ahLst/>
              <a:cxnLst/>
              <a:rect l="l" t="t" r="r" b="b"/>
              <a:pathLst>
                <a:path w="725" h="694" extrusionOk="0">
                  <a:moveTo>
                    <a:pt x="347" y="1"/>
                  </a:moveTo>
                  <a:cubicBezTo>
                    <a:pt x="158" y="1"/>
                    <a:pt x="0" y="158"/>
                    <a:pt x="0" y="347"/>
                  </a:cubicBezTo>
                  <a:cubicBezTo>
                    <a:pt x="0" y="536"/>
                    <a:pt x="158" y="694"/>
                    <a:pt x="347" y="694"/>
                  </a:cubicBezTo>
                  <a:cubicBezTo>
                    <a:pt x="567" y="694"/>
                    <a:pt x="725" y="536"/>
                    <a:pt x="725" y="347"/>
                  </a:cubicBezTo>
                  <a:cubicBezTo>
                    <a:pt x="725" y="158"/>
                    <a:pt x="567" y="1"/>
                    <a:pt x="347"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632" name="Google Shape;10632;p112"/>
            <p:cNvSpPr/>
            <p:nvPr/>
          </p:nvSpPr>
          <p:spPr>
            <a:xfrm>
              <a:off x="-54330850" y="2856300"/>
              <a:ext cx="18150" cy="17350"/>
            </a:xfrm>
            <a:custGeom>
              <a:avLst/>
              <a:gdLst/>
              <a:ahLst/>
              <a:cxnLst/>
              <a:rect l="l" t="t" r="r" b="b"/>
              <a:pathLst>
                <a:path w="726" h="694" extrusionOk="0">
                  <a:moveTo>
                    <a:pt x="379" y="1"/>
                  </a:moveTo>
                  <a:cubicBezTo>
                    <a:pt x="190" y="1"/>
                    <a:pt x="1" y="158"/>
                    <a:pt x="1" y="347"/>
                  </a:cubicBezTo>
                  <a:cubicBezTo>
                    <a:pt x="1" y="536"/>
                    <a:pt x="190" y="694"/>
                    <a:pt x="379" y="694"/>
                  </a:cubicBezTo>
                  <a:cubicBezTo>
                    <a:pt x="568" y="694"/>
                    <a:pt x="725" y="536"/>
                    <a:pt x="725" y="347"/>
                  </a:cubicBezTo>
                  <a:cubicBezTo>
                    <a:pt x="725" y="158"/>
                    <a:pt x="568" y="1"/>
                    <a:pt x="379"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633" name="Google Shape;10633;p112"/>
            <p:cNvSpPr/>
            <p:nvPr/>
          </p:nvSpPr>
          <p:spPr>
            <a:xfrm>
              <a:off x="-54427725" y="2686975"/>
              <a:ext cx="285150" cy="319000"/>
            </a:xfrm>
            <a:custGeom>
              <a:avLst/>
              <a:gdLst/>
              <a:ahLst/>
              <a:cxnLst/>
              <a:rect l="l" t="t" r="r" b="b"/>
              <a:pathLst>
                <a:path w="11406" h="12760" extrusionOk="0">
                  <a:moveTo>
                    <a:pt x="8696" y="756"/>
                  </a:moveTo>
                  <a:cubicBezTo>
                    <a:pt x="9326" y="756"/>
                    <a:pt x="9799" y="1260"/>
                    <a:pt x="9799" y="1859"/>
                  </a:cubicBezTo>
                  <a:lnTo>
                    <a:pt x="9799" y="4883"/>
                  </a:lnTo>
                  <a:cubicBezTo>
                    <a:pt x="9799" y="5072"/>
                    <a:pt x="9641" y="5230"/>
                    <a:pt x="9452" y="5230"/>
                  </a:cubicBezTo>
                  <a:lnTo>
                    <a:pt x="2017" y="5230"/>
                  </a:lnTo>
                  <a:cubicBezTo>
                    <a:pt x="1797" y="5230"/>
                    <a:pt x="1639" y="5072"/>
                    <a:pt x="1639" y="4883"/>
                  </a:cubicBezTo>
                  <a:cubicBezTo>
                    <a:pt x="1608" y="4852"/>
                    <a:pt x="1608" y="1922"/>
                    <a:pt x="1608" y="1859"/>
                  </a:cubicBezTo>
                  <a:cubicBezTo>
                    <a:pt x="1608" y="1229"/>
                    <a:pt x="2112" y="756"/>
                    <a:pt x="2710" y="756"/>
                  </a:cubicBezTo>
                  <a:close/>
                  <a:moveTo>
                    <a:pt x="1608" y="5955"/>
                  </a:moveTo>
                  <a:cubicBezTo>
                    <a:pt x="1734" y="5986"/>
                    <a:pt x="1860" y="6018"/>
                    <a:pt x="1954" y="6018"/>
                  </a:cubicBezTo>
                  <a:lnTo>
                    <a:pt x="2301" y="6018"/>
                  </a:lnTo>
                  <a:lnTo>
                    <a:pt x="2301" y="8317"/>
                  </a:lnTo>
                  <a:cubicBezTo>
                    <a:pt x="2301" y="9105"/>
                    <a:pt x="1986" y="9798"/>
                    <a:pt x="1450" y="10334"/>
                  </a:cubicBezTo>
                  <a:cubicBezTo>
                    <a:pt x="1401" y="10433"/>
                    <a:pt x="1317" y="10480"/>
                    <a:pt x="1225" y="10480"/>
                  </a:cubicBezTo>
                  <a:cubicBezTo>
                    <a:pt x="1142" y="10480"/>
                    <a:pt x="1053" y="10440"/>
                    <a:pt x="977" y="10365"/>
                  </a:cubicBezTo>
                  <a:cubicBezTo>
                    <a:pt x="820" y="10208"/>
                    <a:pt x="820" y="9956"/>
                    <a:pt x="977" y="9830"/>
                  </a:cubicBezTo>
                  <a:cubicBezTo>
                    <a:pt x="1355" y="9452"/>
                    <a:pt x="1608" y="8853"/>
                    <a:pt x="1608" y="8317"/>
                  </a:cubicBezTo>
                  <a:lnTo>
                    <a:pt x="1608" y="5955"/>
                  </a:lnTo>
                  <a:close/>
                  <a:moveTo>
                    <a:pt x="9799" y="5955"/>
                  </a:moveTo>
                  <a:lnTo>
                    <a:pt x="9799" y="6805"/>
                  </a:lnTo>
                  <a:cubicBezTo>
                    <a:pt x="9799" y="8853"/>
                    <a:pt x="9988" y="9420"/>
                    <a:pt x="10429" y="9830"/>
                  </a:cubicBezTo>
                  <a:cubicBezTo>
                    <a:pt x="10618" y="9987"/>
                    <a:pt x="10618" y="10239"/>
                    <a:pt x="10460" y="10365"/>
                  </a:cubicBezTo>
                  <a:cubicBezTo>
                    <a:pt x="10382" y="10444"/>
                    <a:pt x="10287" y="10483"/>
                    <a:pt x="10197" y="10483"/>
                  </a:cubicBezTo>
                  <a:cubicBezTo>
                    <a:pt x="10106" y="10483"/>
                    <a:pt x="10019" y="10444"/>
                    <a:pt x="9956" y="10365"/>
                  </a:cubicBezTo>
                  <a:cubicBezTo>
                    <a:pt x="9389" y="9798"/>
                    <a:pt x="9074" y="9042"/>
                    <a:pt x="9074" y="8317"/>
                  </a:cubicBezTo>
                  <a:lnTo>
                    <a:pt x="9074" y="6018"/>
                  </a:lnTo>
                  <a:lnTo>
                    <a:pt x="9452" y="6018"/>
                  </a:lnTo>
                  <a:cubicBezTo>
                    <a:pt x="9547" y="6018"/>
                    <a:pt x="9704" y="5986"/>
                    <a:pt x="9799" y="5955"/>
                  </a:cubicBezTo>
                  <a:close/>
                  <a:moveTo>
                    <a:pt x="8381" y="6018"/>
                  </a:moveTo>
                  <a:lnTo>
                    <a:pt x="8381" y="8317"/>
                  </a:lnTo>
                  <a:cubicBezTo>
                    <a:pt x="8381" y="8948"/>
                    <a:pt x="8539" y="9515"/>
                    <a:pt x="8822" y="10050"/>
                  </a:cubicBezTo>
                  <a:cubicBezTo>
                    <a:pt x="8224" y="11216"/>
                    <a:pt x="7026" y="11972"/>
                    <a:pt x="5735" y="11972"/>
                  </a:cubicBezTo>
                  <a:cubicBezTo>
                    <a:pt x="4443" y="11972"/>
                    <a:pt x="3246" y="11216"/>
                    <a:pt x="2710" y="10050"/>
                  </a:cubicBezTo>
                  <a:cubicBezTo>
                    <a:pt x="2994" y="9515"/>
                    <a:pt x="3151" y="8916"/>
                    <a:pt x="3151" y="8317"/>
                  </a:cubicBezTo>
                  <a:lnTo>
                    <a:pt x="3151" y="6018"/>
                  </a:lnTo>
                  <a:close/>
                  <a:moveTo>
                    <a:pt x="2710" y="0"/>
                  </a:moveTo>
                  <a:cubicBezTo>
                    <a:pt x="1671" y="0"/>
                    <a:pt x="851" y="819"/>
                    <a:pt x="851" y="1859"/>
                  </a:cubicBezTo>
                  <a:lnTo>
                    <a:pt x="851" y="8317"/>
                  </a:lnTo>
                  <a:cubicBezTo>
                    <a:pt x="851" y="8696"/>
                    <a:pt x="694" y="9042"/>
                    <a:pt x="410" y="9326"/>
                  </a:cubicBezTo>
                  <a:cubicBezTo>
                    <a:pt x="1" y="9767"/>
                    <a:pt x="1" y="10460"/>
                    <a:pt x="410" y="10901"/>
                  </a:cubicBezTo>
                  <a:cubicBezTo>
                    <a:pt x="631" y="11121"/>
                    <a:pt x="922" y="11232"/>
                    <a:pt x="1210" y="11232"/>
                  </a:cubicBezTo>
                  <a:cubicBezTo>
                    <a:pt x="1497" y="11232"/>
                    <a:pt x="1781" y="11121"/>
                    <a:pt x="1986" y="10901"/>
                  </a:cubicBezTo>
                  <a:lnTo>
                    <a:pt x="2143" y="10743"/>
                  </a:lnTo>
                  <a:cubicBezTo>
                    <a:pt x="2868" y="11972"/>
                    <a:pt x="4191" y="12760"/>
                    <a:pt x="5672" y="12760"/>
                  </a:cubicBezTo>
                  <a:cubicBezTo>
                    <a:pt x="7152" y="12760"/>
                    <a:pt x="8444" y="11972"/>
                    <a:pt x="9169" y="10743"/>
                  </a:cubicBezTo>
                  <a:cubicBezTo>
                    <a:pt x="9200" y="10838"/>
                    <a:pt x="9295" y="10869"/>
                    <a:pt x="9326" y="10901"/>
                  </a:cubicBezTo>
                  <a:cubicBezTo>
                    <a:pt x="9547" y="11121"/>
                    <a:pt x="9830" y="11232"/>
                    <a:pt x="10114" y="11232"/>
                  </a:cubicBezTo>
                  <a:cubicBezTo>
                    <a:pt x="10397" y="11232"/>
                    <a:pt x="10681" y="11121"/>
                    <a:pt x="10901" y="10901"/>
                  </a:cubicBezTo>
                  <a:cubicBezTo>
                    <a:pt x="11406" y="10460"/>
                    <a:pt x="11406" y="9767"/>
                    <a:pt x="10964" y="9326"/>
                  </a:cubicBezTo>
                  <a:cubicBezTo>
                    <a:pt x="10744" y="9105"/>
                    <a:pt x="10555" y="8727"/>
                    <a:pt x="10555" y="6805"/>
                  </a:cubicBezTo>
                  <a:lnTo>
                    <a:pt x="10555" y="1859"/>
                  </a:lnTo>
                  <a:cubicBezTo>
                    <a:pt x="10555" y="819"/>
                    <a:pt x="9704" y="0"/>
                    <a:pt x="8696"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634" name="Google Shape;10634;p112"/>
            <p:cNvSpPr/>
            <p:nvPr/>
          </p:nvSpPr>
          <p:spPr>
            <a:xfrm>
              <a:off x="-54330850" y="2717875"/>
              <a:ext cx="93750" cy="85425"/>
            </a:xfrm>
            <a:custGeom>
              <a:avLst/>
              <a:gdLst/>
              <a:ahLst/>
              <a:cxnLst/>
              <a:rect l="l" t="t" r="r" b="b"/>
              <a:pathLst>
                <a:path w="3750" h="3417" extrusionOk="0">
                  <a:moveTo>
                    <a:pt x="1828" y="1285"/>
                  </a:moveTo>
                  <a:lnTo>
                    <a:pt x="1891" y="1474"/>
                  </a:lnTo>
                  <a:cubicBezTo>
                    <a:pt x="1954" y="1600"/>
                    <a:pt x="2049" y="1663"/>
                    <a:pt x="2175" y="1663"/>
                  </a:cubicBezTo>
                  <a:lnTo>
                    <a:pt x="2364" y="1726"/>
                  </a:lnTo>
                  <a:lnTo>
                    <a:pt x="2206" y="1883"/>
                  </a:lnTo>
                  <a:cubicBezTo>
                    <a:pt x="2143" y="1946"/>
                    <a:pt x="2112" y="2072"/>
                    <a:pt x="2112" y="2198"/>
                  </a:cubicBezTo>
                  <a:lnTo>
                    <a:pt x="2143" y="2387"/>
                  </a:lnTo>
                  <a:lnTo>
                    <a:pt x="1954" y="2293"/>
                  </a:lnTo>
                  <a:cubicBezTo>
                    <a:pt x="1891" y="2277"/>
                    <a:pt x="1828" y="2269"/>
                    <a:pt x="1765" y="2269"/>
                  </a:cubicBezTo>
                  <a:cubicBezTo>
                    <a:pt x="1702" y="2269"/>
                    <a:pt x="1639" y="2277"/>
                    <a:pt x="1576" y="2293"/>
                  </a:cubicBezTo>
                  <a:lnTo>
                    <a:pt x="1387" y="2387"/>
                  </a:lnTo>
                  <a:lnTo>
                    <a:pt x="1450" y="2198"/>
                  </a:lnTo>
                  <a:cubicBezTo>
                    <a:pt x="1482" y="2072"/>
                    <a:pt x="1450" y="1946"/>
                    <a:pt x="1324" y="1883"/>
                  </a:cubicBezTo>
                  <a:lnTo>
                    <a:pt x="1167" y="1726"/>
                  </a:lnTo>
                  <a:lnTo>
                    <a:pt x="1482" y="1663"/>
                  </a:lnTo>
                  <a:cubicBezTo>
                    <a:pt x="1576" y="1663"/>
                    <a:pt x="1702" y="1600"/>
                    <a:pt x="1734" y="1474"/>
                  </a:cubicBezTo>
                  <a:lnTo>
                    <a:pt x="1828" y="1285"/>
                  </a:lnTo>
                  <a:close/>
                  <a:moveTo>
                    <a:pt x="1887" y="1"/>
                  </a:moveTo>
                  <a:cubicBezTo>
                    <a:pt x="1749" y="1"/>
                    <a:pt x="1608" y="72"/>
                    <a:pt x="1545" y="213"/>
                  </a:cubicBezTo>
                  <a:lnTo>
                    <a:pt x="1198" y="938"/>
                  </a:lnTo>
                  <a:lnTo>
                    <a:pt x="442" y="1033"/>
                  </a:lnTo>
                  <a:cubicBezTo>
                    <a:pt x="127" y="1096"/>
                    <a:pt x="1" y="1474"/>
                    <a:pt x="253" y="1663"/>
                  </a:cubicBezTo>
                  <a:lnTo>
                    <a:pt x="757" y="2230"/>
                  </a:lnTo>
                  <a:lnTo>
                    <a:pt x="631" y="2986"/>
                  </a:lnTo>
                  <a:cubicBezTo>
                    <a:pt x="607" y="3229"/>
                    <a:pt x="789" y="3416"/>
                    <a:pt x="1004" y="3416"/>
                  </a:cubicBezTo>
                  <a:cubicBezTo>
                    <a:pt x="1067" y="3416"/>
                    <a:pt x="1133" y="3400"/>
                    <a:pt x="1198" y="3364"/>
                  </a:cubicBezTo>
                  <a:lnTo>
                    <a:pt x="1860" y="3017"/>
                  </a:lnTo>
                  <a:lnTo>
                    <a:pt x="2521" y="3364"/>
                  </a:lnTo>
                  <a:cubicBezTo>
                    <a:pt x="2586" y="3400"/>
                    <a:pt x="2652" y="3416"/>
                    <a:pt x="2715" y="3416"/>
                  </a:cubicBezTo>
                  <a:cubicBezTo>
                    <a:pt x="2930" y="3416"/>
                    <a:pt x="3113" y="3229"/>
                    <a:pt x="3088" y="2986"/>
                  </a:cubicBezTo>
                  <a:lnTo>
                    <a:pt x="2962" y="2230"/>
                  </a:lnTo>
                  <a:lnTo>
                    <a:pt x="3529" y="1663"/>
                  </a:lnTo>
                  <a:cubicBezTo>
                    <a:pt x="3750" y="1474"/>
                    <a:pt x="3624" y="1096"/>
                    <a:pt x="3309" y="1033"/>
                  </a:cubicBezTo>
                  <a:lnTo>
                    <a:pt x="2584" y="938"/>
                  </a:lnTo>
                  <a:lnTo>
                    <a:pt x="2206" y="213"/>
                  </a:lnTo>
                  <a:cubicBezTo>
                    <a:pt x="2159" y="72"/>
                    <a:pt x="2025" y="1"/>
                    <a:pt x="1887"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10635" name="Google Shape;10635;p112"/>
          <p:cNvGrpSpPr/>
          <p:nvPr/>
        </p:nvGrpSpPr>
        <p:grpSpPr>
          <a:xfrm>
            <a:off x="10044846" y="3882884"/>
            <a:ext cx="479071" cy="479979"/>
            <a:chOff x="-52513800" y="1903475"/>
            <a:chExt cx="316650" cy="317250"/>
          </a:xfrm>
        </p:grpSpPr>
        <p:sp>
          <p:nvSpPr>
            <p:cNvPr id="10636" name="Google Shape;10636;p112"/>
            <p:cNvSpPr/>
            <p:nvPr/>
          </p:nvSpPr>
          <p:spPr>
            <a:xfrm>
              <a:off x="-52391700" y="2135825"/>
              <a:ext cx="72475" cy="28975"/>
            </a:xfrm>
            <a:custGeom>
              <a:avLst/>
              <a:gdLst/>
              <a:ahLst/>
              <a:cxnLst/>
              <a:rect l="l" t="t" r="r" b="b"/>
              <a:pathLst>
                <a:path w="2899" h="1159" extrusionOk="0">
                  <a:moveTo>
                    <a:pt x="386" y="1"/>
                  </a:moveTo>
                  <a:cubicBezTo>
                    <a:pt x="291" y="1"/>
                    <a:pt x="205" y="40"/>
                    <a:pt x="158" y="119"/>
                  </a:cubicBezTo>
                  <a:cubicBezTo>
                    <a:pt x="0" y="276"/>
                    <a:pt x="0" y="497"/>
                    <a:pt x="158" y="623"/>
                  </a:cubicBezTo>
                  <a:cubicBezTo>
                    <a:pt x="504" y="970"/>
                    <a:pt x="977" y="1159"/>
                    <a:pt x="1449" y="1159"/>
                  </a:cubicBezTo>
                  <a:cubicBezTo>
                    <a:pt x="1922" y="1159"/>
                    <a:pt x="2426" y="970"/>
                    <a:pt x="2741" y="623"/>
                  </a:cubicBezTo>
                  <a:cubicBezTo>
                    <a:pt x="2898" y="465"/>
                    <a:pt x="2898" y="213"/>
                    <a:pt x="2741" y="119"/>
                  </a:cubicBezTo>
                  <a:cubicBezTo>
                    <a:pt x="2662" y="40"/>
                    <a:pt x="2568" y="1"/>
                    <a:pt x="2477" y="1"/>
                  </a:cubicBezTo>
                  <a:cubicBezTo>
                    <a:pt x="2387" y="1"/>
                    <a:pt x="2300" y="40"/>
                    <a:pt x="2237" y="119"/>
                  </a:cubicBezTo>
                  <a:cubicBezTo>
                    <a:pt x="2048" y="308"/>
                    <a:pt x="1733" y="434"/>
                    <a:pt x="1449" y="434"/>
                  </a:cubicBezTo>
                  <a:cubicBezTo>
                    <a:pt x="1134" y="434"/>
                    <a:pt x="851" y="308"/>
                    <a:pt x="662" y="119"/>
                  </a:cubicBezTo>
                  <a:cubicBezTo>
                    <a:pt x="583" y="40"/>
                    <a:pt x="480" y="1"/>
                    <a:pt x="386"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637" name="Google Shape;10637;p112"/>
            <p:cNvSpPr/>
            <p:nvPr/>
          </p:nvSpPr>
          <p:spPr>
            <a:xfrm>
              <a:off x="-52513800" y="1903475"/>
              <a:ext cx="316650" cy="317250"/>
            </a:xfrm>
            <a:custGeom>
              <a:avLst/>
              <a:gdLst/>
              <a:ahLst/>
              <a:cxnLst/>
              <a:rect l="l" t="t" r="r" b="b"/>
              <a:pathLst>
                <a:path w="12666" h="12690" extrusionOk="0">
                  <a:moveTo>
                    <a:pt x="6333" y="781"/>
                  </a:moveTo>
                  <a:lnTo>
                    <a:pt x="11500" y="3332"/>
                  </a:lnTo>
                  <a:lnTo>
                    <a:pt x="10082" y="4057"/>
                  </a:lnTo>
                  <a:lnTo>
                    <a:pt x="9641" y="3175"/>
                  </a:lnTo>
                  <a:cubicBezTo>
                    <a:pt x="9547" y="3049"/>
                    <a:pt x="9452" y="2986"/>
                    <a:pt x="9326" y="2986"/>
                  </a:cubicBezTo>
                  <a:lnTo>
                    <a:pt x="3309" y="2986"/>
                  </a:lnTo>
                  <a:cubicBezTo>
                    <a:pt x="3151" y="2986"/>
                    <a:pt x="3025" y="3049"/>
                    <a:pt x="2994" y="3175"/>
                  </a:cubicBezTo>
                  <a:lnTo>
                    <a:pt x="2553" y="4057"/>
                  </a:lnTo>
                  <a:lnTo>
                    <a:pt x="1167" y="3332"/>
                  </a:lnTo>
                  <a:lnTo>
                    <a:pt x="6333" y="781"/>
                  </a:lnTo>
                  <a:close/>
                  <a:moveTo>
                    <a:pt x="9043" y="3742"/>
                  </a:moveTo>
                  <a:lnTo>
                    <a:pt x="9389" y="4467"/>
                  </a:lnTo>
                  <a:lnTo>
                    <a:pt x="3151" y="4467"/>
                  </a:lnTo>
                  <a:lnTo>
                    <a:pt x="3498" y="3742"/>
                  </a:lnTo>
                  <a:close/>
                  <a:moveTo>
                    <a:pt x="9673" y="5223"/>
                  </a:moveTo>
                  <a:lnTo>
                    <a:pt x="9673" y="6105"/>
                  </a:lnTo>
                  <a:cubicBezTo>
                    <a:pt x="9547" y="6042"/>
                    <a:pt x="9452" y="6010"/>
                    <a:pt x="9326" y="6010"/>
                  </a:cubicBezTo>
                  <a:lnTo>
                    <a:pt x="7782" y="6010"/>
                  </a:lnTo>
                  <a:cubicBezTo>
                    <a:pt x="7310" y="6010"/>
                    <a:pt x="6869" y="6325"/>
                    <a:pt x="6743" y="6766"/>
                  </a:cubicBezTo>
                  <a:lnTo>
                    <a:pt x="5861" y="6766"/>
                  </a:lnTo>
                  <a:cubicBezTo>
                    <a:pt x="5703" y="6325"/>
                    <a:pt x="5325" y="6010"/>
                    <a:pt x="4790" y="6010"/>
                  </a:cubicBezTo>
                  <a:lnTo>
                    <a:pt x="3277" y="6010"/>
                  </a:lnTo>
                  <a:cubicBezTo>
                    <a:pt x="3151" y="6010"/>
                    <a:pt x="2994" y="6042"/>
                    <a:pt x="2899" y="6105"/>
                  </a:cubicBezTo>
                  <a:lnTo>
                    <a:pt x="2899" y="5223"/>
                  </a:lnTo>
                  <a:close/>
                  <a:moveTo>
                    <a:pt x="4821" y="6766"/>
                  </a:moveTo>
                  <a:cubicBezTo>
                    <a:pt x="5042" y="6766"/>
                    <a:pt x="5199" y="6924"/>
                    <a:pt x="5199" y="7113"/>
                  </a:cubicBezTo>
                  <a:cubicBezTo>
                    <a:pt x="5199" y="7743"/>
                    <a:pt x="4664" y="8216"/>
                    <a:pt x="4096" y="8216"/>
                  </a:cubicBezTo>
                  <a:lnTo>
                    <a:pt x="3309" y="8216"/>
                  </a:lnTo>
                  <a:cubicBezTo>
                    <a:pt x="3088" y="8216"/>
                    <a:pt x="2931" y="8058"/>
                    <a:pt x="2931" y="7869"/>
                  </a:cubicBezTo>
                  <a:lnTo>
                    <a:pt x="2931" y="7113"/>
                  </a:lnTo>
                  <a:cubicBezTo>
                    <a:pt x="2931" y="6924"/>
                    <a:pt x="3088" y="6766"/>
                    <a:pt x="3309" y="6766"/>
                  </a:cubicBezTo>
                  <a:close/>
                  <a:moveTo>
                    <a:pt x="9326" y="6766"/>
                  </a:moveTo>
                  <a:cubicBezTo>
                    <a:pt x="9515" y="6766"/>
                    <a:pt x="9673" y="6924"/>
                    <a:pt x="9673" y="7113"/>
                  </a:cubicBezTo>
                  <a:lnTo>
                    <a:pt x="9673" y="7869"/>
                  </a:lnTo>
                  <a:cubicBezTo>
                    <a:pt x="9673" y="8058"/>
                    <a:pt x="9515" y="8216"/>
                    <a:pt x="9326" y="8216"/>
                  </a:cubicBezTo>
                  <a:lnTo>
                    <a:pt x="8570" y="8216"/>
                  </a:lnTo>
                  <a:cubicBezTo>
                    <a:pt x="7940" y="8216"/>
                    <a:pt x="7436" y="7712"/>
                    <a:pt x="7436" y="7113"/>
                  </a:cubicBezTo>
                  <a:cubicBezTo>
                    <a:pt x="7436" y="6924"/>
                    <a:pt x="7593" y="6766"/>
                    <a:pt x="7782" y="6766"/>
                  </a:cubicBezTo>
                  <a:close/>
                  <a:moveTo>
                    <a:pt x="2206" y="6766"/>
                  </a:moveTo>
                  <a:lnTo>
                    <a:pt x="2206" y="8247"/>
                  </a:lnTo>
                  <a:cubicBezTo>
                    <a:pt x="1765" y="8247"/>
                    <a:pt x="1450" y="7901"/>
                    <a:pt x="1450" y="7523"/>
                  </a:cubicBezTo>
                  <a:cubicBezTo>
                    <a:pt x="1450" y="7113"/>
                    <a:pt x="1765" y="6766"/>
                    <a:pt x="2206" y="6766"/>
                  </a:cubicBezTo>
                  <a:close/>
                  <a:moveTo>
                    <a:pt x="10429" y="6766"/>
                  </a:moveTo>
                  <a:cubicBezTo>
                    <a:pt x="10870" y="6766"/>
                    <a:pt x="11185" y="7082"/>
                    <a:pt x="11185" y="7523"/>
                  </a:cubicBezTo>
                  <a:cubicBezTo>
                    <a:pt x="11185" y="7901"/>
                    <a:pt x="10807" y="8247"/>
                    <a:pt x="10429" y="8247"/>
                  </a:cubicBezTo>
                  <a:lnTo>
                    <a:pt x="10429" y="6766"/>
                  </a:lnTo>
                  <a:close/>
                  <a:moveTo>
                    <a:pt x="6680" y="7523"/>
                  </a:moveTo>
                  <a:cubicBezTo>
                    <a:pt x="6774" y="7869"/>
                    <a:pt x="6932" y="8184"/>
                    <a:pt x="7184" y="8468"/>
                  </a:cubicBezTo>
                  <a:cubicBezTo>
                    <a:pt x="7562" y="8814"/>
                    <a:pt x="8035" y="9003"/>
                    <a:pt x="8539" y="9003"/>
                  </a:cubicBezTo>
                  <a:lnTo>
                    <a:pt x="9295" y="9003"/>
                  </a:lnTo>
                  <a:cubicBezTo>
                    <a:pt x="9389" y="9003"/>
                    <a:pt x="9515" y="8972"/>
                    <a:pt x="9641" y="8940"/>
                  </a:cubicBezTo>
                  <a:lnTo>
                    <a:pt x="9641" y="8940"/>
                  </a:lnTo>
                  <a:cubicBezTo>
                    <a:pt x="9515" y="10610"/>
                    <a:pt x="8066" y="11965"/>
                    <a:pt x="6302" y="11965"/>
                  </a:cubicBezTo>
                  <a:cubicBezTo>
                    <a:pt x="4506" y="11965"/>
                    <a:pt x="3088" y="10610"/>
                    <a:pt x="2899" y="8940"/>
                  </a:cubicBezTo>
                  <a:lnTo>
                    <a:pt x="2899" y="8940"/>
                  </a:lnTo>
                  <a:cubicBezTo>
                    <a:pt x="3025" y="8972"/>
                    <a:pt x="3151" y="9003"/>
                    <a:pt x="3246" y="9003"/>
                  </a:cubicBezTo>
                  <a:lnTo>
                    <a:pt x="4033" y="9003"/>
                  </a:lnTo>
                  <a:cubicBezTo>
                    <a:pt x="4947" y="9003"/>
                    <a:pt x="5703" y="8373"/>
                    <a:pt x="5861" y="7523"/>
                  </a:cubicBezTo>
                  <a:close/>
                  <a:moveTo>
                    <a:pt x="6310" y="1"/>
                  </a:moveTo>
                  <a:cubicBezTo>
                    <a:pt x="6255" y="1"/>
                    <a:pt x="6207" y="9"/>
                    <a:pt x="6176" y="24"/>
                  </a:cubicBezTo>
                  <a:lnTo>
                    <a:pt x="190" y="3017"/>
                  </a:lnTo>
                  <a:cubicBezTo>
                    <a:pt x="64" y="3112"/>
                    <a:pt x="1" y="3206"/>
                    <a:pt x="1" y="3332"/>
                  </a:cubicBezTo>
                  <a:cubicBezTo>
                    <a:pt x="1" y="3490"/>
                    <a:pt x="64" y="3616"/>
                    <a:pt x="190" y="3647"/>
                  </a:cubicBezTo>
                  <a:lnTo>
                    <a:pt x="2238" y="4656"/>
                  </a:lnTo>
                  <a:cubicBezTo>
                    <a:pt x="2238" y="4719"/>
                    <a:pt x="2206" y="4750"/>
                    <a:pt x="2206" y="4782"/>
                  </a:cubicBezTo>
                  <a:lnTo>
                    <a:pt x="2206" y="5979"/>
                  </a:lnTo>
                  <a:cubicBezTo>
                    <a:pt x="1356" y="5979"/>
                    <a:pt x="694" y="6640"/>
                    <a:pt x="694" y="7460"/>
                  </a:cubicBezTo>
                  <a:cubicBezTo>
                    <a:pt x="694" y="8279"/>
                    <a:pt x="1356" y="8972"/>
                    <a:pt x="2206" y="8972"/>
                  </a:cubicBezTo>
                  <a:cubicBezTo>
                    <a:pt x="2395" y="11051"/>
                    <a:pt x="4159" y="12689"/>
                    <a:pt x="6302" y="12689"/>
                  </a:cubicBezTo>
                  <a:cubicBezTo>
                    <a:pt x="8413" y="12689"/>
                    <a:pt x="10240" y="11051"/>
                    <a:pt x="10397" y="8972"/>
                  </a:cubicBezTo>
                  <a:cubicBezTo>
                    <a:pt x="11217" y="8972"/>
                    <a:pt x="11878" y="8279"/>
                    <a:pt x="11878" y="7460"/>
                  </a:cubicBezTo>
                  <a:cubicBezTo>
                    <a:pt x="11878" y="6640"/>
                    <a:pt x="11217" y="5979"/>
                    <a:pt x="10397" y="5979"/>
                  </a:cubicBezTo>
                  <a:lnTo>
                    <a:pt x="10397" y="4782"/>
                  </a:lnTo>
                  <a:cubicBezTo>
                    <a:pt x="10397" y="4750"/>
                    <a:pt x="10397" y="4719"/>
                    <a:pt x="10334" y="4656"/>
                  </a:cubicBezTo>
                  <a:lnTo>
                    <a:pt x="11847" y="3931"/>
                  </a:lnTo>
                  <a:lnTo>
                    <a:pt x="11847" y="6357"/>
                  </a:lnTo>
                  <a:cubicBezTo>
                    <a:pt x="11847" y="6546"/>
                    <a:pt x="12004" y="6703"/>
                    <a:pt x="12193" y="6703"/>
                  </a:cubicBezTo>
                  <a:cubicBezTo>
                    <a:pt x="12382" y="6703"/>
                    <a:pt x="12540" y="6546"/>
                    <a:pt x="12540" y="6357"/>
                  </a:cubicBezTo>
                  <a:lnTo>
                    <a:pt x="12540" y="3332"/>
                  </a:lnTo>
                  <a:lnTo>
                    <a:pt x="12666" y="3332"/>
                  </a:lnTo>
                  <a:cubicBezTo>
                    <a:pt x="12666" y="3206"/>
                    <a:pt x="12603" y="3049"/>
                    <a:pt x="12477" y="3017"/>
                  </a:cubicBezTo>
                  <a:lnTo>
                    <a:pt x="6491" y="24"/>
                  </a:lnTo>
                  <a:cubicBezTo>
                    <a:pt x="6428" y="9"/>
                    <a:pt x="6365" y="1"/>
                    <a:pt x="6310"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10638" name="Google Shape;10638;p112"/>
          <p:cNvGrpSpPr/>
          <p:nvPr/>
        </p:nvGrpSpPr>
        <p:grpSpPr>
          <a:xfrm>
            <a:off x="10057952" y="4486027"/>
            <a:ext cx="452859" cy="480243"/>
            <a:chOff x="-52505925" y="2295525"/>
            <a:chExt cx="299325" cy="317425"/>
          </a:xfrm>
        </p:grpSpPr>
        <p:sp>
          <p:nvSpPr>
            <p:cNvPr id="10639" name="Google Shape;10639;p112"/>
            <p:cNvSpPr/>
            <p:nvPr/>
          </p:nvSpPr>
          <p:spPr>
            <a:xfrm>
              <a:off x="-52401950" y="2526500"/>
              <a:ext cx="73275" cy="29750"/>
            </a:xfrm>
            <a:custGeom>
              <a:avLst/>
              <a:gdLst/>
              <a:ahLst/>
              <a:cxnLst/>
              <a:rect l="l" t="t" r="r" b="b"/>
              <a:pathLst>
                <a:path w="2931" h="1190" extrusionOk="0">
                  <a:moveTo>
                    <a:pt x="398" y="0"/>
                  </a:moveTo>
                  <a:cubicBezTo>
                    <a:pt x="308" y="0"/>
                    <a:pt x="221" y="39"/>
                    <a:pt x="158" y="118"/>
                  </a:cubicBezTo>
                  <a:cubicBezTo>
                    <a:pt x="0" y="276"/>
                    <a:pt x="0" y="496"/>
                    <a:pt x="158" y="622"/>
                  </a:cubicBezTo>
                  <a:cubicBezTo>
                    <a:pt x="505" y="969"/>
                    <a:pt x="977" y="1189"/>
                    <a:pt x="1450" y="1189"/>
                  </a:cubicBezTo>
                  <a:cubicBezTo>
                    <a:pt x="1922" y="1189"/>
                    <a:pt x="2458" y="969"/>
                    <a:pt x="2773" y="622"/>
                  </a:cubicBezTo>
                  <a:cubicBezTo>
                    <a:pt x="2930" y="465"/>
                    <a:pt x="2930" y="244"/>
                    <a:pt x="2773" y="118"/>
                  </a:cubicBezTo>
                  <a:cubicBezTo>
                    <a:pt x="2710" y="55"/>
                    <a:pt x="2615" y="24"/>
                    <a:pt x="2517" y="24"/>
                  </a:cubicBezTo>
                  <a:cubicBezTo>
                    <a:pt x="2418" y="24"/>
                    <a:pt x="2316" y="55"/>
                    <a:pt x="2237" y="118"/>
                  </a:cubicBezTo>
                  <a:cubicBezTo>
                    <a:pt x="2048" y="307"/>
                    <a:pt x="1733" y="433"/>
                    <a:pt x="1450" y="433"/>
                  </a:cubicBezTo>
                  <a:cubicBezTo>
                    <a:pt x="1135" y="433"/>
                    <a:pt x="883" y="307"/>
                    <a:pt x="662" y="118"/>
                  </a:cubicBezTo>
                  <a:cubicBezTo>
                    <a:pt x="583" y="39"/>
                    <a:pt x="489" y="0"/>
                    <a:pt x="398"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640" name="Google Shape;10640;p112"/>
            <p:cNvSpPr/>
            <p:nvPr/>
          </p:nvSpPr>
          <p:spPr>
            <a:xfrm>
              <a:off x="-52411400" y="2463275"/>
              <a:ext cx="17350" cy="17350"/>
            </a:xfrm>
            <a:custGeom>
              <a:avLst/>
              <a:gdLst/>
              <a:ahLst/>
              <a:cxnLst/>
              <a:rect l="l" t="t" r="r" b="b"/>
              <a:pathLst>
                <a:path w="694" h="694" extrusionOk="0">
                  <a:moveTo>
                    <a:pt x="347" y="1"/>
                  </a:moveTo>
                  <a:cubicBezTo>
                    <a:pt x="158" y="1"/>
                    <a:pt x="0" y="158"/>
                    <a:pt x="0" y="347"/>
                  </a:cubicBezTo>
                  <a:cubicBezTo>
                    <a:pt x="0" y="536"/>
                    <a:pt x="158" y="694"/>
                    <a:pt x="347" y="694"/>
                  </a:cubicBezTo>
                  <a:cubicBezTo>
                    <a:pt x="536" y="694"/>
                    <a:pt x="694" y="536"/>
                    <a:pt x="694" y="347"/>
                  </a:cubicBezTo>
                  <a:cubicBezTo>
                    <a:pt x="694" y="158"/>
                    <a:pt x="536" y="1"/>
                    <a:pt x="347"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641" name="Google Shape;10641;p112"/>
            <p:cNvSpPr/>
            <p:nvPr/>
          </p:nvSpPr>
          <p:spPr>
            <a:xfrm>
              <a:off x="-52336575" y="2463275"/>
              <a:ext cx="17350" cy="17350"/>
            </a:xfrm>
            <a:custGeom>
              <a:avLst/>
              <a:gdLst/>
              <a:ahLst/>
              <a:cxnLst/>
              <a:rect l="l" t="t" r="r" b="b"/>
              <a:pathLst>
                <a:path w="694" h="694" extrusionOk="0">
                  <a:moveTo>
                    <a:pt x="347" y="1"/>
                  </a:moveTo>
                  <a:cubicBezTo>
                    <a:pt x="158" y="1"/>
                    <a:pt x="0" y="158"/>
                    <a:pt x="0" y="347"/>
                  </a:cubicBezTo>
                  <a:cubicBezTo>
                    <a:pt x="0" y="536"/>
                    <a:pt x="158" y="694"/>
                    <a:pt x="347" y="694"/>
                  </a:cubicBezTo>
                  <a:cubicBezTo>
                    <a:pt x="536" y="694"/>
                    <a:pt x="693" y="536"/>
                    <a:pt x="693" y="347"/>
                  </a:cubicBezTo>
                  <a:cubicBezTo>
                    <a:pt x="693" y="158"/>
                    <a:pt x="536" y="1"/>
                    <a:pt x="347"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642" name="Google Shape;10642;p112"/>
            <p:cNvSpPr/>
            <p:nvPr/>
          </p:nvSpPr>
          <p:spPr>
            <a:xfrm>
              <a:off x="-52505925" y="2295525"/>
              <a:ext cx="299325" cy="317425"/>
            </a:xfrm>
            <a:custGeom>
              <a:avLst/>
              <a:gdLst/>
              <a:ahLst/>
              <a:cxnLst/>
              <a:rect l="l" t="t" r="r" b="b"/>
              <a:pathLst>
                <a:path w="11973" h="12697" extrusionOk="0">
                  <a:moveTo>
                    <a:pt x="8046" y="1489"/>
                  </a:moveTo>
                  <a:cubicBezTo>
                    <a:pt x="8121" y="1489"/>
                    <a:pt x="8192" y="1497"/>
                    <a:pt x="8255" y="1513"/>
                  </a:cubicBezTo>
                  <a:cubicBezTo>
                    <a:pt x="8224" y="1639"/>
                    <a:pt x="8224" y="1765"/>
                    <a:pt x="8224" y="1859"/>
                  </a:cubicBezTo>
                  <a:lnTo>
                    <a:pt x="8224" y="2080"/>
                  </a:lnTo>
                  <a:cubicBezTo>
                    <a:pt x="7909" y="1828"/>
                    <a:pt x="7499" y="1670"/>
                    <a:pt x="7121" y="1607"/>
                  </a:cubicBezTo>
                  <a:cubicBezTo>
                    <a:pt x="7341" y="1513"/>
                    <a:pt x="7594" y="1513"/>
                    <a:pt x="7814" y="1513"/>
                  </a:cubicBezTo>
                  <a:cubicBezTo>
                    <a:pt x="7893" y="1497"/>
                    <a:pt x="7972" y="1489"/>
                    <a:pt x="8046" y="1489"/>
                  </a:cubicBezTo>
                  <a:close/>
                  <a:moveTo>
                    <a:pt x="9326" y="914"/>
                  </a:moveTo>
                  <a:cubicBezTo>
                    <a:pt x="9484" y="1071"/>
                    <a:pt x="9610" y="1261"/>
                    <a:pt x="9673" y="1544"/>
                  </a:cubicBezTo>
                  <a:cubicBezTo>
                    <a:pt x="9452" y="1796"/>
                    <a:pt x="9232" y="2111"/>
                    <a:pt x="9137" y="2458"/>
                  </a:cubicBezTo>
                  <a:cubicBezTo>
                    <a:pt x="9043" y="2269"/>
                    <a:pt x="8980" y="2080"/>
                    <a:pt x="8980" y="1859"/>
                  </a:cubicBezTo>
                  <a:cubicBezTo>
                    <a:pt x="8980" y="1513"/>
                    <a:pt x="9137" y="1198"/>
                    <a:pt x="9326" y="914"/>
                  </a:cubicBezTo>
                  <a:close/>
                  <a:moveTo>
                    <a:pt x="11122" y="1513"/>
                  </a:moveTo>
                  <a:lnTo>
                    <a:pt x="11122" y="1513"/>
                  </a:lnTo>
                  <a:cubicBezTo>
                    <a:pt x="11028" y="2174"/>
                    <a:pt x="10460" y="2741"/>
                    <a:pt x="9767" y="2899"/>
                  </a:cubicBezTo>
                  <a:cubicBezTo>
                    <a:pt x="9925" y="2174"/>
                    <a:pt x="10460" y="1670"/>
                    <a:pt x="11122" y="1513"/>
                  </a:cubicBezTo>
                  <a:close/>
                  <a:moveTo>
                    <a:pt x="6365" y="2237"/>
                  </a:moveTo>
                  <a:cubicBezTo>
                    <a:pt x="7404" y="2237"/>
                    <a:pt x="8287" y="2836"/>
                    <a:pt x="8728" y="3718"/>
                  </a:cubicBezTo>
                  <a:lnTo>
                    <a:pt x="8602" y="3718"/>
                  </a:lnTo>
                  <a:cubicBezTo>
                    <a:pt x="7972" y="3718"/>
                    <a:pt x="7499" y="4222"/>
                    <a:pt x="7499" y="4821"/>
                  </a:cubicBezTo>
                  <a:lnTo>
                    <a:pt x="7499" y="5167"/>
                  </a:lnTo>
                  <a:lnTo>
                    <a:pt x="3025" y="5167"/>
                  </a:lnTo>
                  <a:cubicBezTo>
                    <a:pt x="2206" y="5167"/>
                    <a:pt x="1513" y="4506"/>
                    <a:pt x="1513" y="3686"/>
                  </a:cubicBezTo>
                  <a:cubicBezTo>
                    <a:pt x="1513" y="2899"/>
                    <a:pt x="2206" y="2237"/>
                    <a:pt x="3025" y="2237"/>
                  </a:cubicBezTo>
                  <a:close/>
                  <a:moveTo>
                    <a:pt x="10397" y="3497"/>
                  </a:moveTo>
                  <a:cubicBezTo>
                    <a:pt x="10429" y="3686"/>
                    <a:pt x="10460" y="3875"/>
                    <a:pt x="10460" y="4064"/>
                  </a:cubicBezTo>
                  <a:cubicBezTo>
                    <a:pt x="10460" y="4537"/>
                    <a:pt x="10334" y="4978"/>
                    <a:pt x="10114" y="5388"/>
                  </a:cubicBezTo>
                  <a:cubicBezTo>
                    <a:pt x="9956" y="5608"/>
                    <a:pt x="10145" y="5923"/>
                    <a:pt x="10429" y="5923"/>
                  </a:cubicBezTo>
                  <a:lnTo>
                    <a:pt x="10460" y="5923"/>
                  </a:lnTo>
                  <a:cubicBezTo>
                    <a:pt x="10870" y="5923"/>
                    <a:pt x="11217" y="6238"/>
                    <a:pt x="11217" y="6679"/>
                  </a:cubicBezTo>
                  <a:cubicBezTo>
                    <a:pt x="11217" y="7120"/>
                    <a:pt x="10902" y="7435"/>
                    <a:pt x="10460" y="7435"/>
                  </a:cubicBezTo>
                  <a:lnTo>
                    <a:pt x="9704" y="7435"/>
                  </a:lnTo>
                  <a:lnTo>
                    <a:pt x="9704" y="4821"/>
                  </a:lnTo>
                  <a:cubicBezTo>
                    <a:pt x="9704" y="4443"/>
                    <a:pt x="9641" y="4033"/>
                    <a:pt x="9515" y="3686"/>
                  </a:cubicBezTo>
                  <a:cubicBezTo>
                    <a:pt x="9830" y="3655"/>
                    <a:pt x="10114" y="3592"/>
                    <a:pt x="10397" y="3497"/>
                  </a:cubicBezTo>
                  <a:close/>
                  <a:moveTo>
                    <a:pt x="1513" y="6679"/>
                  </a:moveTo>
                  <a:lnTo>
                    <a:pt x="1513" y="8160"/>
                  </a:lnTo>
                  <a:cubicBezTo>
                    <a:pt x="1104" y="8160"/>
                    <a:pt x="789" y="7845"/>
                    <a:pt x="789" y="7435"/>
                  </a:cubicBezTo>
                  <a:cubicBezTo>
                    <a:pt x="789" y="7026"/>
                    <a:pt x="1135" y="6679"/>
                    <a:pt x="1513" y="6679"/>
                  </a:cubicBezTo>
                  <a:close/>
                  <a:moveTo>
                    <a:pt x="8570" y="4474"/>
                  </a:moveTo>
                  <a:cubicBezTo>
                    <a:pt x="8759" y="4474"/>
                    <a:pt x="8917" y="4632"/>
                    <a:pt x="8917" y="4821"/>
                  </a:cubicBezTo>
                  <a:cubicBezTo>
                    <a:pt x="8980" y="4978"/>
                    <a:pt x="8980" y="8412"/>
                    <a:pt x="8980" y="8570"/>
                  </a:cubicBezTo>
                  <a:cubicBezTo>
                    <a:pt x="8980" y="10460"/>
                    <a:pt x="7467" y="11972"/>
                    <a:pt x="5609" y="11972"/>
                  </a:cubicBezTo>
                  <a:cubicBezTo>
                    <a:pt x="3781" y="11972"/>
                    <a:pt x="2269" y="10460"/>
                    <a:pt x="2269" y="8570"/>
                  </a:cubicBezTo>
                  <a:lnTo>
                    <a:pt x="2269" y="5797"/>
                  </a:lnTo>
                  <a:cubicBezTo>
                    <a:pt x="2521" y="5892"/>
                    <a:pt x="2742" y="5923"/>
                    <a:pt x="3025" y="5923"/>
                  </a:cubicBezTo>
                  <a:lnTo>
                    <a:pt x="7877" y="5923"/>
                  </a:lnTo>
                  <a:cubicBezTo>
                    <a:pt x="8066" y="5923"/>
                    <a:pt x="8224" y="5766"/>
                    <a:pt x="8224" y="5577"/>
                  </a:cubicBezTo>
                  <a:lnTo>
                    <a:pt x="8224" y="4821"/>
                  </a:lnTo>
                  <a:cubicBezTo>
                    <a:pt x="8224" y="4632"/>
                    <a:pt x="8381" y="4474"/>
                    <a:pt x="8570" y="4474"/>
                  </a:cubicBezTo>
                  <a:close/>
                  <a:moveTo>
                    <a:pt x="9358" y="0"/>
                  </a:moveTo>
                  <a:cubicBezTo>
                    <a:pt x="9271" y="0"/>
                    <a:pt x="9185" y="32"/>
                    <a:pt x="9106" y="95"/>
                  </a:cubicBezTo>
                  <a:cubicBezTo>
                    <a:pt x="9043" y="95"/>
                    <a:pt x="8791" y="378"/>
                    <a:pt x="8539" y="819"/>
                  </a:cubicBezTo>
                  <a:cubicBezTo>
                    <a:pt x="8318" y="756"/>
                    <a:pt x="8098" y="725"/>
                    <a:pt x="7877" y="725"/>
                  </a:cubicBezTo>
                  <a:cubicBezTo>
                    <a:pt x="7089" y="725"/>
                    <a:pt x="6365" y="1008"/>
                    <a:pt x="5735" y="1481"/>
                  </a:cubicBezTo>
                  <a:lnTo>
                    <a:pt x="2994" y="1481"/>
                  </a:lnTo>
                  <a:cubicBezTo>
                    <a:pt x="1765" y="1481"/>
                    <a:pt x="757" y="2458"/>
                    <a:pt x="757" y="3718"/>
                  </a:cubicBezTo>
                  <a:cubicBezTo>
                    <a:pt x="757" y="4379"/>
                    <a:pt x="1072" y="5010"/>
                    <a:pt x="1545" y="5419"/>
                  </a:cubicBezTo>
                  <a:cubicBezTo>
                    <a:pt x="1482" y="5451"/>
                    <a:pt x="1482" y="5545"/>
                    <a:pt x="1482" y="5577"/>
                  </a:cubicBezTo>
                  <a:lnTo>
                    <a:pt x="1482" y="5923"/>
                  </a:lnTo>
                  <a:cubicBezTo>
                    <a:pt x="662" y="5923"/>
                    <a:pt x="1" y="6585"/>
                    <a:pt x="1" y="7435"/>
                  </a:cubicBezTo>
                  <a:cubicBezTo>
                    <a:pt x="1" y="8255"/>
                    <a:pt x="662" y="8916"/>
                    <a:pt x="1482" y="8916"/>
                  </a:cubicBezTo>
                  <a:cubicBezTo>
                    <a:pt x="1702" y="10996"/>
                    <a:pt x="3435" y="12697"/>
                    <a:pt x="5577" y="12697"/>
                  </a:cubicBezTo>
                  <a:cubicBezTo>
                    <a:pt x="7877" y="12697"/>
                    <a:pt x="9673" y="10806"/>
                    <a:pt x="9673" y="8570"/>
                  </a:cubicBezTo>
                  <a:lnTo>
                    <a:pt x="9673" y="8223"/>
                  </a:lnTo>
                  <a:lnTo>
                    <a:pt x="10429" y="8223"/>
                  </a:lnTo>
                  <a:cubicBezTo>
                    <a:pt x="11248" y="8223"/>
                    <a:pt x="11941" y="7530"/>
                    <a:pt x="11941" y="6711"/>
                  </a:cubicBezTo>
                  <a:cubicBezTo>
                    <a:pt x="11973" y="6049"/>
                    <a:pt x="11563" y="5482"/>
                    <a:pt x="10965" y="5293"/>
                  </a:cubicBezTo>
                  <a:cubicBezTo>
                    <a:pt x="11122" y="4915"/>
                    <a:pt x="11217" y="4506"/>
                    <a:pt x="11217" y="4064"/>
                  </a:cubicBezTo>
                  <a:cubicBezTo>
                    <a:pt x="11217" y="3718"/>
                    <a:pt x="11185" y="3403"/>
                    <a:pt x="11059" y="3056"/>
                  </a:cubicBezTo>
                  <a:cubicBezTo>
                    <a:pt x="11626" y="2584"/>
                    <a:pt x="11973" y="1859"/>
                    <a:pt x="11973" y="1071"/>
                  </a:cubicBezTo>
                  <a:cubicBezTo>
                    <a:pt x="11973" y="882"/>
                    <a:pt x="11815" y="725"/>
                    <a:pt x="11626" y="725"/>
                  </a:cubicBezTo>
                  <a:cubicBezTo>
                    <a:pt x="11154" y="725"/>
                    <a:pt x="10713" y="851"/>
                    <a:pt x="10303" y="1071"/>
                  </a:cubicBezTo>
                  <a:cubicBezTo>
                    <a:pt x="10082" y="504"/>
                    <a:pt x="9641" y="95"/>
                    <a:pt x="9610" y="95"/>
                  </a:cubicBezTo>
                  <a:cubicBezTo>
                    <a:pt x="9531" y="32"/>
                    <a:pt x="9444" y="0"/>
                    <a:pt x="9358"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10643" name="Google Shape;10643;p112"/>
          <p:cNvGrpSpPr/>
          <p:nvPr/>
        </p:nvGrpSpPr>
        <p:grpSpPr>
          <a:xfrm>
            <a:off x="10072855" y="5108256"/>
            <a:ext cx="423053" cy="481453"/>
            <a:chOff x="-52494100" y="2686975"/>
            <a:chExt cx="279625" cy="318225"/>
          </a:xfrm>
        </p:grpSpPr>
        <p:sp>
          <p:nvSpPr>
            <p:cNvPr id="10644" name="Google Shape;10644;p112"/>
            <p:cNvSpPr/>
            <p:nvPr/>
          </p:nvSpPr>
          <p:spPr>
            <a:xfrm>
              <a:off x="-52391700" y="2919525"/>
              <a:ext cx="72475" cy="28950"/>
            </a:xfrm>
            <a:custGeom>
              <a:avLst/>
              <a:gdLst/>
              <a:ahLst/>
              <a:cxnLst/>
              <a:rect l="l" t="t" r="r" b="b"/>
              <a:pathLst>
                <a:path w="2899" h="1158" extrusionOk="0">
                  <a:moveTo>
                    <a:pt x="386" y="0"/>
                  </a:moveTo>
                  <a:cubicBezTo>
                    <a:pt x="291" y="0"/>
                    <a:pt x="205" y="39"/>
                    <a:pt x="158" y="118"/>
                  </a:cubicBezTo>
                  <a:cubicBezTo>
                    <a:pt x="0" y="276"/>
                    <a:pt x="0" y="496"/>
                    <a:pt x="158" y="622"/>
                  </a:cubicBezTo>
                  <a:cubicBezTo>
                    <a:pt x="504" y="969"/>
                    <a:pt x="977" y="1158"/>
                    <a:pt x="1449" y="1158"/>
                  </a:cubicBezTo>
                  <a:cubicBezTo>
                    <a:pt x="1922" y="1158"/>
                    <a:pt x="2426" y="969"/>
                    <a:pt x="2741" y="622"/>
                  </a:cubicBezTo>
                  <a:cubicBezTo>
                    <a:pt x="2898" y="465"/>
                    <a:pt x="2898" y="213"/>
                    <a:pt x="2741" y="118"/>
                  </a:cubicBezTo>
                  <a:cubicBezTo>
                    <a:pt x="2662" y="39"/>
                    <a:pt x="2568" y="0"/>
                    <a:pt x="2477" y="0"/>
                  </a:cubicBezTo>
                  <a:cubicBezTo>
                    <a:pt x="2387" y="0"/>
                    <a:pt x="2300" y="39"/>
                    <a:pt x="2237" y="118"/>
                  </a:cubicBezTo>
                  <a:cubicBezTo>
                    <a:pt x="2048" y="307"/>
                    <a:pt x="1733" y="433"/>
                    <a:pt x="1449" y="433"/>
                  </a:cubicBezTo>
                  <a:cubicBezTo>
                    <a:pt x="1134" y="433"/>
                    <a:pt x="851" y="307"/>
                    <a:pt x="662" y="118"/>
                  </a:cubicBezTo>
                  <a:cubicBezTo>
                    <a:pt x="583" y="39"/>
                    <a:pt x="480" y="0"/>
                    <a:pt x="386"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645" name="Google Shape;10645;p112"/>
            <p:cNvSpPr/>
            <p:nvPr/>
          </p:nvSpPr>
          <p:spPr>
            <a:xfrm>
              <a:off x="-52401950" y="2856300"/>
              <a:ext cx="18125" cy="17350"/>
            </a:xfrm>
            <a:custGeom>
              <a:avLst/>
              <a:gdLst/>
              <a:ahLst/>
              <a:cxnLst/>
              <a:rect l="l" t="t" r="r" b="b"/>
              <a:pathLst>
                <a:path w="725" h="694" extrusionOk="0">
                  <a:moveTo>
                    <a:pt x="379" y="1"/>
                  </a:moveTo>
                  <a:cubicBezTo>
                    <a:pt x="158" y="1"/>
                    <a:pt x="0" y="158"/>
                    <a:pt x="0" y="347"/>
                  </a:cubicBezTo>
                  <a:cubicBezTo>
                    <a:pt x="0" y="536"/>
                    <a:pt x="158" y="694"/>
                    <a:pt x="379" y="694"/>
                  </a:cubicBezTo>
                  <a:cubicBezTo>
                    <a:pt x="568" y="694"/>
                    <a:pt x="725" y="536"/>
                    <a:pt x="725" y="347"/>
                  </a:cubicBezTo>
                  <a:cubicBezTo>
                    <a:pt x="725" y="158"/>
                    <a:pt x="568" y="1"/>
                    <a:pt x="379"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646" name="Google Shape;10646;p112"/>
            <p:cNvSpPr/>
            <p:nvPr/>
          </p:nvSpPr>
          <p:spPr>
            <a:xfrm>
              <a:off x="-52327925" y="2855525"/>
              <a:ext cx="18925" cy="17350"/>
            </a:xfrm>
            <a:custGeom>
              <a:avLst/>
              <a:gdLst/>
              <a:ahLst/>
              <a:cxnLst/>
              <a:rect l="l" t="t" r="r" b="b"/>
              <a:pathLst>
                <a:path w="757" h="694" extrusionOk="0">
                  <a:moveTo>
                    <a:pt x="347" y="0"/>
                  </a:moveTo>
                  <a:cubicBezTo>
                    <a:pt x="158" y="0"/>
                    <a:pt x="1" y="158"/>
                    <a:pt x="1" y="347"/>
                  </a:cubicBezTo>
                  <a:cubicBezTo>
                    <a:pt x="1" y="536"/>
                    <a:pt x="158" y="693"/>
                    <a:pt x="347" y="693"/>
                  </a:cubicBezTo>
                  <a:cubicBezTo>
                    <a:pt x="537" y="693"/>
                    <a:pt x="694" y="536"/>
                    <a:pt x="694" y="347"/>
                  </a:cubicBezTo>
                  <a:cubicBezTo>
                    <a:pt x="757" y="189"/>
                    <a:pt x="600" y="0"/>
                    <a:pt x="347"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647" name="Google Shape;10647;p112"/>
            <p:cNvSpPr/>
            <p:nvPr/>
          </p:nvSpPr>
          <p:spPr>
            <a:xfrm>
              <a:off x="-52494100" y="2686975"/>
              <a:ext cx="279625" cy="318225"/>
            </a:xfrm>
            <a:custGeom>
              <a:avLst/>
              <a:gdLst/>
              <a:ahLst/>
              <a:cxnLst/>
              <a:rect l="l" t="t" r="r" b="b"/>
              <a:pathLst>
                <a:path w="11185" h="12729" extrusionOk="0">
                  <a:moveTo>
                    <a:pt x="8538" y="756"/>
                  </a:moveTo>
                  <a:cubicBezTo>
                    <a:pt x="8727" y="756"/>
                    <a:pt x="8885" y="914"/>
                    <a:pt x="8885" y="1103"/>
                  </a:cubicBezTo>
                  <a:lnTo>
                    <a:pt x="8885" y="2269"/>
                  </a:lnTo>
                  <a:lnTo>
                    <a:pt x="2143" y="2269"/>
                  </a:lnTo>
                  <a:lnTo>
                    <a:pt x="2143" y="1103"/>
                  </a:lnTo>
                  <a:cubicBezTo>
                    <a:pt x="2143" y="914"/>
                    <a:pt x="2300" y="756"/>
                    <a:pt x="2552" y="756"/>
                  </a:cubicBezTo>
                  <a:close/>
                  <a:moveTo>
                    <a:pt x="5545" y="3025"/>
                  </a:moveTo>
                  <a:cubicBezTo>
                    <a:pt x="5734" y="3025"/>
                    <a:pt x="5892" y="3182"/>
                    <a:pt x="5892" y="3371"/>
                  </a:cubicBezTo>
                  <a:cubicBezTo>
                    <a:pt x="5892" y="3592"/>
                    <a:pt x="5734" y="3749"/>
                    <a:pt x="5545" y="3749"/>
                  </a:cubicBezTo>
                  <a:cubicBezTo>
                    <a:pt x="5356" y="3749"/>
                    <a:pt x="5199" y="3592"/>
                    <a:pt x="5199" y="3371"/>
                  </a:cubicBezTo>
                  <a:cubicBezTo>
                    <a:pt x="5199" y="3182"/>
                    <a:pt x="5356" y="3025"/>
                    <a:pt x="5545" y="3025"/>
                  </a:cubicBezTo>
                  <a:close/>
                  <a:moveTo>
                    <a:pt x="4474" y="3025"/>
                  </a:moveTo>
                  <a:cubicBezTo>
                    <a:pt x="4443" y="3151"/>
                    <a:pt x="4411" y="3277"/>
                    <a:pt x="4411" y="3434"/>
                  </a:cubicBezTo>
                  <a:cubicBezTo>
                    <a:pt x="4411" y="3529"/>
                    <a:pt x="4443" y="3655"/>
                    <a:pt x="4474" y="3781"/>
                  </a:cubicBezTo>
                  <a:lnTo>
                    <a:pt x="2206" y="3781"/>
                  </a:lnTo>
                  <a:lnTo>
                    <a:pt x="2206" y="3025"/>
                  </a:lnTo>
                  <a:close/>
                  <a:moveTo>
                    <a:pt x="8853" y="3056"/>
                  </a:moveTo>
                  <a:lnTo>
                    <a:pt x="8853" y="3812"/>
                  </a:lnTo>
                  <a:lnTo>
                    <a:pt x="6553" y="3812"/>
                  </a:lnTo>
                  <a:lnTo>
                    <a:pt x="6553" y="3781"/>
                  </a:lnTo>
                  <a:cubicBezTo>
                    <a:pt x="6616" y="3655"/>
                    <a:pt x="6648" y="3529"/>
                    <a:pt x="6648" y="3434"/>
                  </a:cubicBezTo>
                  <a:cubicBezTo>
                    <a:pt x="6648" y="3308"/>
                    <a:pt x="6616" y="3151"/>
                    <a:pt x="6553" y="3056"/>
                  </a:cubicBezTo>
                  <a:close/>
                  <a:moveTo>
                    <a:pt x="9601" y="4568"/>
                  </a:moveTo>
                  <a:cubicBezTo>
                    <a:pt x="9503" y="4903"/>
                    <a:pt x="9317" y="5207"/>
                    <a:pt x="9042" y="5482"/>
                  </a:cubicBezTo>
                  <a:cubicBezTo>
                    <a:pt x="8763" y="5736"/>
                    <a:pt x="8382" y="5887"/>
                    <a:pt x="7997" y="5887"/>
                  </a:cubicBezTo>
                  <a:cubicBezTo>
                    <a:pt x="7904" y="5887"/>
                    <a:pt x="7811" y="5878"/>
                    <a:pt x="7719" y="5860"/>
                  </a:cubicBezTo>
                  <a:cubicBezTo>
                    <a:pt x="6207" y="5640"/>
                    <a:pt x="4758" y="5199"/>
                    <a:pt x="3434" y="4568"/>
                  </a:cubicBezTo>
                  <a:close/>
                  <a:moveTo>
                    <a:pt x="1418" y="6742"/>
                  </a:moveTo>
                  <a:lnTo>
                    <a:pt x="1418" y="8223"/>
                  </a:lnTo>
                  <a:cubicBezTo>
                    <a:pt x="1009" y="8223"/>
                    <a:pt x="662" y="7908"/>
                    <a:pt x="662" y="7467"/>
                  </a:cubicBezTo>
                  <a:cubicBezTo>
                    <a:pt x="662" y="7089"/>
                    <a:pt x="1009" y="6742"/>
                    <a:pt x="1418" y="6742"/>
                  </a:cubicBezTo>
                  <a:close/>
                  <a:moveTo>
                    <a:pt x="9641" y="6742"/>
                  </a:moveTo>
                  <a:cubicBezTo>
                    <a:pt x="10019" y="6742"/>
                    <a:pt x="10397" y="7057"/>
                    <a:pt x="10397" y="7467"/>
                  </a:cubicBezTo>
                  <a:cubicBezTo>
                    <a:pt x="10397" y="7908"/>
                    <a:pt x="10019" y="8223"/>
                    <a:pt x="9641" y="8223"/>
                  </a:cubicBezTo>
                  <a:lnTo>
                    <a:pt x="9641" y="6742"/>
                  </a:lnTo>
                  <a:close/>
                  <a:moveTo>
                    <a:pt x="2143" y="4757"/>
                  </a:moveTo>
                  <a:lnTo>
                    <a:pt x="2741" y="5072"/>
                  </a:lnTo>
                  <a:cubicBezTo>
                    <a:pt x="4254" y="5829"/>
                    <a:pt x="5860" y="6333"/>
                    <a:pt x="7562" y="6616"/>
                  </a:cubicBezTo>
                  <a:cubicBezTo>
                    <a:pt x="7667" y="6633"/>
                    <a:pt x="7777" y="6640"/>
                    <a:pt x="7889" y="6640"/>
                  </a:cubicBezTo>
                  <a:cubicBezTo>
                    <a:pt x="8211" y="6640"/>
                    <a:pt x="8550" y="6576"/>
                    <a:pt x="8853" y="6459"/>
                  </a:cubicBezTo>
                  <a:lnTo>
                    <a:pt x="8853" y="8664"/>
                  </a:lnTo>
                  <a:cubicBezTo>
                    <a:pt x="8885" y="10460"/>
                    <a:pt x="7341" y="11972"/>
                    <a:pt x="5514" y="11972"/>
                  </a:cubicBezTo>
                  <a:cubicBezTo>
                    <a:pt x="3655" y="11972"/>
                    <a:pt x="2143" y="10460"/>
                    <a:pt x="2143" y="8633"/>
                  </a:cubicBezTo>
                  <a:lnTo>
                    <a:pt x="2143" y="4757"/>
                  </a:lnTo>
                  <a:close/>
                  <a:moveTo>
                    <a:pt x="2584" y="0"/>
                  </a:moveTo>
                  <a:cubicBezTo>
                    <a:pt x="1954" y="0"/>
                    <a:pt x="1481" y="504"/>
                    <a:pt x="1481" y="1103"/>
                  </a:cubicBezTo>
                  <a:lnTo>
                    <a:pt x="1481" y="5986"/>
                  </a:lnTo>
                  <a:cubicBezTo>
                    <a:pt x="662" y="5986"/>
                    <a:pt x="0" y="6648"/>
                    <a:pt x="0" y="7467"/>
                  </a:cubicBezTo>
                  <a:cubicBezTo>
                    <a:pt x="0" y="8317"/>
                    <a:pt x="662" y="8979"/>
                    <a:pt x="1481" y="8979"/>
                  </a:cubicBezTo>
                  <a:cubicBezTo>
                    <a:pt x="1670" y="11058"/>
                    <a:pt x="3466" y="12728"/>
                    <a:pt x="5577" y="12728"/>
                  </a:cubicBezTo>
                  <a:cubicBezTo>
                    <a:pt x="7719" y="12728"/>
                    <a:pt x="9483" y="11058"/>
                    <a:pt x="9672" y="8979"/>
                  </a:cubicBezTo>
                  <a:cubicBezTo>
                    <a:pt x="10492" y="8979"/>
                    <a:pt x="11185" y="8317"/>
                    <a:pt x="11185" y="7467"/>
                  </a:cubicBezTo>
                  <a:cubicBezTo>
                    <a:pt x="11122" y="6679"/>
                    <a:pt x="10460" y="6018"/>
                    <a:pt x="9641" y="6018"/>
                  </a:cubicBezTo>
                  <a:lnTo>
                    <a:pt x="9641" y="5892"/>
                  </a:lnTo>
                  <a:cubicBezTo>
                    <a:pt x="10113" y="5419"/>
                    <a:pt x="10397" y="4789"/>
                    <a:pt x="10397" y="4127"/>
                  </a:cubicBezTo>
                  <a:cubicBezTo>
                    <a:pt x="10397" y="3938"/>
                    <a:pt x="10240" y="3781"/>
                    <a:pt x="10019" y="3781"/>
                  </a:cubicBezTo>
                  <a:lnTo>
                    <a:pt x="9672" y="3781"/>
                  </a:lnTo>
                  <a:lnTo>
                    <a:pt x="9672" y="1103"/>
                  </a:lnTo>
                  <a:cubicBezTo>
                    <a:pt x="9672" y="473"/>
                    <a:pt x="9168" y="0"/>
                    <a:pt x="8570"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10648" name="Google Shape;10648;p112"/>
          <p:cNvGrpSpPr/>
          <p:nvPr/>
        </p:nvGrpSpPr>
        <p:grpSpPr>
          <a:xfrm>
            <a:off x="8887217" y="5722847"/>
            <a:ext cx="420671" cy="481453"/>
            <a:chOff x="-51708850" y="2305750"/>
            <a:chExt cx="278050" cy="318225"/>
          </a:xfrm>
        </p:grpSpPr>
        <p:sp>
          <p:nvSpPr>
            <p:cNvPr id="10649" name="Google Shape;10649;p112"/>
            <p:cNvSpPr/>
            <p:nvPr/>
          </p:nvSpPr>
          <p:spPr>
            <a:xfrm>
              <a:off x="-51617475" y="2455400"/>
              <a:ext cx="18125" cy="18150"/>
            </a:xfrm>
            <a:custGeom>
              <a:avLst/>
              <a:gdLst/>
              <a:ahLst/>
              <a:cxnLst/>
              <a:rect l="l" t="t" r="r" b="b"/>
              <a:pathLst>
                <a:path w="725" h="726" extrusionOk="0">
                  <a:moveTo>
                    <a:pt x="378" y="1"/>
                  </a:moveTo>
                  <a:cubicBezTo>
                    <a:pt x="189" y="1"/>
                    <a:pt x="0" y="158"/>
                    <a:pt x="0" y="347"/>
                  </a:cubicBezTo>
                  <a:cubicBezTo>
                    <a:pt x="0" y="536"/>
                    <a:pt x="189" y="725"/>
                    <a:pt x="378" y="725"/>
                  </a:cubicBezTo>
                  <a:cubicBezTo>
                    <a:pt x="568" y="725"/>
                    <a:pt x="725" y="536"/>
                    <a:pt x="725" y="347"/>
                  </a:cubicBezTo>
                  <a:cubicBezTo>
                    <a:pt x="725" y="158"/>
                    <a:pt x="568" y="1"/>
                    <a:pt x="378"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650" name="Google Shape;10650;p112"/>
            <p:cNvSpPr/>
            <p:nvPr/>
          </p:nvSpPr>
          <p:spPr>
            <a:xfrm>
              <a:off x="-51541875" y="2455400"/>
              <a:ext cx="17350" cy="18150"/>
            </a:xfrm>
            <a:custGeom>
              <a:avLst/>
              <a:gdLst/>
              <a:ahLst/>
              <a:cxnLst/>
              <a:rect l="l" t="t" r="r" b="b"/>
              <a:pathLst>
                <a:path w="694" h="726" extrusionOk="0">
                  <a:moveTo>
                    <a:pt x="347" y="1"/>
                  </a:moveTo>
                  <a:cubicBezTo>
                    <a:pt x="158" y="1"/>
                    <a:pt x="1" y="158"/>
                    <a:pt x="1" y="347"/>
                  </a:cubicBezTo>
                  <a:cubicBezTo>
                    <a:pt x="1" y="536"/>
                    <a:pt x="158" y="725"/>
                    <a:pt x="347" y="725"/>
                  </a:cubicBezTo>
                  <a:cubicBezTo>
                    <a:pt x="536" y="725"/>
                    <a:pt x="694" y="536"/>
                    <a:pt x="694" y="347"/>
                  </a:cubicBezTo>
                  <a:cubicBezTo>
                    <a:pt x="694" y="158"/>
                    <a:pt x="536" y="1"/>
                    <a:pt x="347"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651" name="Google Shape;10651;p112"/>
            <p:cNvSpPr/>
            <p:nvPr/>
          </p:nvSpPr>
          <p:spPr>
            <a:xfrm>
              <a:off x="-51708850" y="2305750"/>
              <a:ext cx="278050" cy="318225"/>
            </a:xfrm>
            <a:custGeom>
              <a:avLst/>
              <a:gdLst/>
              <a:ahLst/>
              <a:cxnLst/>
              <a:rect l="l" t="t" r="r" b="b"/>
              <a:pathLst>
                <a:path w="11122" h="12729" extrusionOk="0">
                  <a:moveTo>
                    <a:pt x="1765" y="725"/>
                  </a:moveTo>
                  <a:cubicBezTo>
                    <a:pt x="1986" y="725"/>
                    <a:pt x="2143" y="883"/>
                    <a:pt x="2143" y="1072"/>
                  </a:cubicBezTo>
                  <a:cubicBezTo>
                    <a:pt x="2143" y="1261"/>
                    <a:pt x="1986" y="1419"/>
                    <a:pt x="1765" y="1419"/>
                  </a:cubicBezTo>
                  <a:cubicBezTo>
                    <a:pt x="1576" y="1419"/>
                    <a:pt x="1419" y="1261"/>
                    <a:pt x="1419" y="1072"/>
                  </a:cubicBezTo>
                  <a:cubicBezTo>
                    <a:pt x="1419" y="915"/>
                    <a:pt x="1576" y="725"/>
                    <a:pt x="1765" y="725"/>
                  </a:cubicBezTo>
                  <a:close/>
                  <a:moveTo>
                    <a:pt x="5514" y="725"/>
                  </a:moveTo>
                  <a:cubicBezTo>
                    <a:pt x="5703" y="725"/>
                    <a:pt x="5861" y="883"/>
                    <a:pt x="5861" y="1072"/>
                  </a:cubicBezTo>
                  <a:cubicBezTo>
                    <a:pt x="5861" y="1261"/>
                    <a:pt x="5703" y="1419"/>
                    <a:pt x="5514" y="1419"/>
                  </a:cubicBezTo>
                  <a:cubicBezTo>
                    <a:pt x="5325" y="1419"/>
                    <a:pt x="5168" y="1261"/>
                    <a:pt x="5168" y="1072"/>
                  </a:cubicBezTo>
                  <a:cubicBezTo>
                    <a:pt x="5136" y="915"/>
                    <a:pt x="5294" y="725"/>
                    <a:pt x="5514" y="725"/>
                  </a:cubicBezTo>
                  <a:close/>
                  <a:moveTo>
                    <a:pt x="9232" y="725"/>
                  </a:moveTo>
                  <a:cubicBezTo>
                    <a:pt x="9421" y="725"/>
                    <a:pt x="9578" y="883"/>
                    <a:pt x="9578" y="1072"/>
                  </a:cubicBezTo>
                  <a:cubicBezTo>
                    <a:pt x="9578" y="1261"/>
                    <a:pt x="9421" y="1419"/>
                    <a:pt x="9232" y="1419"/>
                  </a:cubicBezTo>
                  <a:cubicBezTo>
                    <a:pt x="9011" y="1419"/>
                    <a:pt x="8885" y="1261"/>
                    <a:pt x="8885" y="1072"/>
                  </a:cubicBezTo>
                  <a:cubicBezTo>
                    <a:pt x="8854" y="915"/>
                    <a:pt x="9011" y="725"/>
                    <a:pt x="9232" y="725"/>
                  </a:cubicBezTo>
                  <a:close/>
                  <a:moveTo>
                    <a:pt x="5483" y="3277"/>
                  </a:moveTo>
                  <a:lnTo>
                    <a:pt x="5987" y="3781"/>
                  </a:lnTo>
                  <a:lnTo>
                    <a:pt x="5483" y="4286"/>
                  </a:lnTo>
                  <a:lnTo>
                    <a:pt x="4979" y="3781"/>
                  </a:lnTo>
                  <a:lnTo>
                    <a:pt x="5483" y="3277"/>
                  </a:lnTo>
                  <a:close/>
                  <a:moveTo>
                    <a:pt x="8602" y="2049"/>
                  </a:moveTo>
                  <a:lnTo>
                    <a:pt x="8822" y="2175"/>
                  </a:lnTo>
                  <a:lnTo>
                    <a:pt x="8822" y="4443"/>
                  </a:lnTo>
                  <a:lnTo>
                    <a:pt x="6396" y="4443"/>
                  </a:lnTo>
                  <a:lnTo>
                    <a:pt x="6837" y="4034"/>
                  </a:lnTo>
                  <a:cubicBezTo>
                    <a:pt x="6995" y="3876"/>
                    <a:pt x="6995" y="3624"/>
                    <a:pt x="6837" y="3498"/>
                  </a:cubicBezTo>
                  <a:lnTo>
                    <a:pt x="5766" y="2458"/>
                  </a:lnTo>
                  <a:cubicBezTo>
                    <a:pt x="5687" y="2380"/>
                    <a:pt x="5585" y="2340"/>
                    <a:pt x="5491" y="2340"/>
                  </a:cubicBezTo>
                  <a:cubicBezTo>
                    <a:pt x="5396" y="2340"/>
                    <a:pt x="5309" y="2380"/>
                    <a:pt x="5262" y="2458"/>
                  </a:cubicBezTo>
                  <a:lnTo>
                    <a:pt x="4191" y="3498"/>
                  </a:lnTo>
                  <a:cubicBezTo>
                    <a:pt x="4033" y="3655"/>
                    <a:pt x="4033" y="3907"/>
                    <a:pt x="4191" y="4034"/>
                  </a:cubicBezTo>
                  <a:lnTo>
                    <a:pt x="4632" y="4443"/>
                  </a:lnTo>
                  <a:lnTo>
                    <a:pt x="2175" y="4443"/>
                  </a:lnTo>
                  <a:lnTo>
                    <a:pt x="2175" y="2175"/>
                  </a:lnTo>
                  <a:lnTo>
                    <a:pt x="2427" y="2049"/>
                  </a:lnTo>
                  <a:lnTo>
                    <a:pt x="3435" y="2868"/>
                  </a:lnTo>
                  <a:cubicBezTo>
                    <a:pt x="3498" y="2931"/>
                    <a:pt x="3577" y="2962"/>
                    <a:pt x="3655" y="2962"/>
                  </a:cubicBezTo>
                  <a:cubicBezTo>
                    <a:pt x="3734" y="2962"/>
                    <a:pt x="3813" y="2931"/>
                    <a:pt x="3876" y="2868"/>
                  </a:cubicBezTo>
                  <a:lnTo>
                    <a:pt x="4884" y="2049"/>
                  </a:lnTo>
                  <a:cubicBezTo>
                    <a:pt x="5042" y="2175"/>
                    <a:pt x="5231" y="2206"/>
                    <a:pt x="5483" y="2206"/>
                  </a:cubicBezTo>
                  <a:cubicBezTo>
                    <a:pt x="5672" y="2206"/>
                    <a:pt x="5924" y="2143"/>
                    <a:pt x="6081" y="2049"/>
                  </a:cubicBezTo>
                  <a:lnTo>
                    <a:pt x="7089" y="2868"/>
                  </a:lnTo>
                  <a:cubicBezTo>
                    <a:pt x="7152" y="2931"/>
                    <a:pt x="7231" y="2962"/>
                    <a:pt x="7314" y="2962"/>
                  </a:cubicBezTo>
                  <a:cubicBezTo>
                    <a:pt x="7397" y="2962"/>
                    <a:pt x="7483" y="2931"/>
                    <a:pt x="7562" y="2868"/>
                  </a:cubicBezTo>
                  <a:lnTo>
                    <a:pt x="8602" y="2049"/>
                  </a:lnTo>
                  <a:close/>
                  <a:moveTo>
                    <a:pt x="1419" y="5199"/>
                  </a:moveTo>
                  <a:lnTo>
                    <a:pt x="1419" y="6711"/>
                  </a:lnTo>
                  <a:cubicBezTo>
                    <a:pt x="977" y="6711"/>
                    <a:pt x="662" y="6396"/>
                    <a:pt x="662" y="5955"/>
                  </a:cubicBezTo>
                  <a:cubicBezTo>
                    <a:pt x="662" y="5546"/>
                    <a:pt x="1041" y="5199"/>
                    <a:pt x="1419" y="5199"/>
                  </a:cubicBezTo>
                  <a:close/>
                  <a:moveTo>
                    <a:pt x="9610" y="5199"/>
                  </a:moveTo>
                  <a:cubicBezTo>
                    <a:pt x="10019" y="5199"/>
                    <a:pt x="10366" y="5546"/>
                    <a:pt x="10366" y="5955"/>
                  </a:cubicBezTo>
                  <a:cubicBezTo>
                    <a:pt x="10366" y="6333"/>
                    <a:pt x="10019" y="6711"/>
                    <a:pt x="9610" y="6711"/>
                  </a:cubicBezTo>
                  <a:lnTo>
                    <a:pt x="9610" y="5199"/>
                  </a:lnTo>
                  <a:close/>
                  <a:moveTo>
                    <a:pt x="8822" y="5199"/>
                  </a:moveTo>
                  <a:lnTo>
                    <a:pt x="8822" y="8602"/>
                  </a:lnTo>
                  <a:lnTo>
                    <a:pt x="8224" y="8791"/>
                  </a:lnTo>
                  <a:cubicBezTo>
                    <a:pt x="8167" y="8807"/>
                    <a:pt x="8105" y="8815"/>
                    <a:pt x="8043" y="8815"/>
                  </a:cubicBezTo>
                  <a:cubicBezTo>
                    <a:pt x="7863" y="8815"/>
                    <a:pt x="7671" y="8750"/>
                    <a:pt x="7531" y="8633"/>
                  </a:cubicBezTo>
                  <a:cubicBezTo>
                    <a:pt x="7239" y="8342"/>
                    <a:pt x="6873" y="8200"/>
                    <a:pt x="6512" y="8200"/>
                  </a:cubicBezTo>
                  <a:cubicBezTo>
                    <a:pt x="6132" y="8200"/>
                    <a:pt x="5758" y="8358"/>
                    <a:pt x="5483" y="8665"/>
                  </a:cubicBezTo>
                  <a:cubicBezTo>
                    <a:pt x="5217" y="8382"/>
                    <a:pt x="4828" y="8222"/>
                    <a:pt x="4432" y="8222"/>
                  </a:cubicBezTo>
                  <a:cubicBezTo>
                    <a:pt x="4078" y="8222"/>
                    <a:pt x="3718" y="8350"/>
                    <a:pt x="3435" y="8633"/>
                  </a:cubicBezTo>
                  <a:cubicBezTo>
                    <a:pt x="3303" y="8765"/>
                    <a:pt x="3141" y="8820"/>
                    <a:pt x="2958" y="8820"/>
                  </a:cubicBezTo>
                  <a:cubicBezTo>
                    <a:pt x="2879" y="8820"/>
                    <a:pt x="2796" y="8810"/>
                    <a:pt x="2710" y="8791"/>
                  </a:cubicBezTo>
                  <a:lnTo>
                    <a:pt x="2080" y="8602"/>
                  </a:lnTo>
                  <a:lnTo>
                    <a:pt x="2080" y="5199"/>
                  </a:lnTo>
                  <a:close/>
                  <a:moveTo>
                    <a:pt x="4442" y="8945"/>
                  </a:moveTo>
                  <a:cubicBezTo>
                    <a:pt x="4678" y="8945"/>
                    <a:pt x="4913" y="9062"/>
                    <a:pt x="5042" y="9263"/>
                  </a:cubicBezTo>
                  <a:cubicBezTo>
                    <a:pt x="4853" y="9484"/>
                    <a:pt x="4601" y="9767"/>
                    <a:pt x="4096" y="9925"/>
                  </a:cubicBezTo>
                  <a:cubicBezTo>
                    <a:pt x="3889" y="10000"/>
                    <a:pt x="3677" y="10035"/>
                    <a:pt x="3468" y="10035"/>
                  </a:cubicBezTo>
                  <a:cubicBezTo>
                    <a:pt x="2882" y="10035"/>
                    <a:pt x="2317" y="9759"/>
                    <a:pt x="1923" y="9295"/>
                  </a:cubicBezTo>
                  <a:lnTo>
                    <a:pt x="1923" y="9295"/>
                  </a:lnTo>
                  <a:lnTo>
                    <a:pt x="2521" y="9484"/>
                  </a:lnTo>
                  <a:cubicBezTo>
                    <a:pt x="2673" y="9531"/>
                    <a:pt x="2831" y="9556"/>
                    <a:pt x="2987" y="9556"/>
                  </a:cubicBezTo>
                  <a:cubicBezTo>
                    <a:pt x="3350" y="9556"/>
                    <a:pt x="3706" y="9423"/>
                    <a:pt x="3970" y="9137"/>
                  </a:cubicBezTo>
                  <a:cubicBezTo>
                    <a:pt x="4102" y="9006"/>
                    <a:pt x="4273" y="8945"/>
                    <a:pt x="4442" y="8945"/>
                  </a:cubicBezTo>
                  <a:close/>
                  <a:moveTo>
                    <a:pt x="6546" y="9022"/>
                  </a:moveTo>
                  <a:cubicBezTo>
                    <a:pt x="6718" y="9022"/>
                    <a:pt x="6892" y="9080"/>
                    <a:pt x="7026" y="9200"/>
                  </a:cubicBezTo>
                  <a:cubicBezTo>
                    <a:pt x="7299" y="9496"/>
                    <a:pt x="7671" y="9644"/>
                    <a:pt x="8046" y="9644"/>
                  </a:cubicBezTo>
                  <a:cubicBezTo>
                    <a:pt x="8191" y="9644"/>
                    <a:pt x="8336" y="9622"/>
                    <a:pt x="8476" y="9578"/>
                  </a:cubicBezTo>
                  <a:lnTo>
                    <a:pt x="9074" y="9326"/>
                  </a:lnTo>
                  <a:lnTo>
                    <a:pt x="9074" y="9326"/>
                  </a:lnTo>
                  <a:cubicBezTo>
                    <a:pt x="8677" y="9794"/>
                    <a:pt x="8107" y="10053"/>
                    <a:pt x="7517" y="10053"/>
                  </a:cubicBezTo>
                  <a:cubicBezTo>
                    <a:pt x="7312" y="10053"/>
                    <a:pt x="7104" y="10022"/>
                    <a:pt x="6900" y="9956"/>
                  </a:cubicBezTo>
                  <a:cubicBezTo>
                    <a:pt x="6428" y="9799"/>
                    <a:pt x="6144" y="9547"/>
                    <a:pt x="5955" y="9326"/>
                  </a:cubicBezTo>
                  <a:cubicBezTo>
                    <a:pt x="6082" y="9127"/>
                    <a:pt x="6313" y="9022"/>
                    <a:pt x="6546" y="9022"/>
                  </a:cubicBezTo>
                  <a:close/>
                  <a:moveTo>
                    <a:pt x="5514" y="9893"/>
                  </a:moveTo>
                  <a:cubicBezTo>
                    <a:pt x="5640" y="10019"/>
                    <a:pt x="5798" y="10177"/>
                    <a:pt x="6081" y="10334"/>
                  </a:cubicBezTo>
                  <a:cubicBezTo>
                    <a:pt x="5924" y="10397"/>
                    <a:pt x="5703" y="10492"/>
                    <a:pt x="5514" y="10492"/>
                  </a:cubicBezTo>
                  <a:cubicBezTo>
                    <a:pt x="5325" y="10492"/>
                    <a:pt x="5136" y="10429"/>
                    <a:pt x="4979" y="10334"/>
                  </a:cubicBezTo>
                  <a:cubicBezTo>
                    <a:pt x="5231" y="10177"/>
                    <a:pt x="5388" y="10019"/>
                    <a:pt x="5514" y="9893"/>
                  </a:cubicBezTo>
                  <a:close/>
                  <a:moveTo>
                    <a:pt x="6774" y="10681"/>
                  </a:moveTo>
                  <a:cubicBezTo>
                    <a:pt x="7011" y="10749"/>
                    <a:pt x="7247" y="10780"/>
                    <a:pt x="7484" y="10780"/>
                  </a:cubicBezTo>
                  <a:cubicBezTo>
                    <a:pt x="7688" y="10780"/>
                    <a:pt x="7893" y="10756"/>
                    <a:pt x="8098" y="10713"/>
                  </a:cubicBezTo>
                  <a:lnTo>
                    <a:pt x="8098" y="10713"/>
                  </a:lnTo>
                  <a:cubicBezTo>
                    <a:pt x="7499" y="11500"/>
                    <a:pt x="6554" y="11973"/>
                    <a:pt x="5514" y="11973"/>
                  </a:cubicBezTo>
                  <a:cubicBezTo>
                    <a:pt x="4506" y="11973"/>
                    <a:pt x="3498" y="11500"/>
                    <a:pt x="2868" y="10713"/>
                  </a:cubicBezTo>
                  <a:lnTo>
                    <a:pt x="2868" y="10713"/>
                  </a:lnTo>
                  <a:cubicBezTo>
                    <a:pt x="3072" y="10756"/>
                    <a:pt x="3277" y="10780"/>
                    <a:pt x="3482" y="10780"/>
                  </a:cubicBezTo>
                  <a:cubicBezTo>
                    <a:pt x="3718" y="10780"/>
                    <a:pt x="3955" y="10749"/>
                    <a:pt x="4191" y="10681"/>
                  </a:cubicBezTo>
                  <a:cubicBezTo>
                    <a:pt x="4538" y="11028"/>
                    <a:pt x="5010" y="11217"/>
                    <a:pt x="5483" y="11217"/>
                  </a:cubicBezTo>
                  <a:cubicBezTo>
                    <a:pt x="5955" y="11217"/>
                    <a:pt x="6459" y="11028"/>
                    <a:pt x="6774" y="10681"/>
                  </a:cubicBezTo>
                  <a:close/>
                  <a:moveTo>
                    <a:pt x="1860" y="1"/>
                  </a:moveTo>
                  <a:cubicBezTo>
                    <a:pt x="1261" y="1"/>
                    <a:pt x="757" y="505"/>
                    <a:pt x="757" y="1104"/>
                  </a:cubicBezTo>
                  <a:cubicBezTo>
                    <a:pt x="757" y="1576"/>
                    <a:pt x="1072" y="2017"/>
                    <a:pt x="1513" y="2175"/>
                  </a:cubicBezTo>
                  <a:lnTo>
                    <a:pt x="1513" y="4443"/>
                  </a:lnTo>
                  <a:cubicBezTo>
                    <a:pt x="662" y="4443"/>
                    <a:pt x="1" y="5105"/>
                    <a:pt x="1" y="5955"/>
                  </a:cubicBezTo>
                  <a:cubicBezTo>
                    <a:pt x="1" y="6774"/>
                    <a:pt x="662" y="7436"/>
                    <a:pt x="1513" y="7436"/>
                  </a:cubicBezTo>
                  <a:lnTo>
                    <a:pt x="1513" y="8350"/>
                  </a:lnTo>
                  <a:lnTo>
                    <a:pt x="1261" y="8287"/>
                  </a:lnTo>
                  <a:cubicBezTo>
                    <a:pt x="1214" y="8270"/>
                    <a:pt x="1168" y="8262"/>
                    <a:pt x="1124" y="8262"/>
                  </a:cubicBezTo>
                  <a:cubicBezTo>
                    <a:pt x="846" y="8262"/>
                    <a:pt x="657" y="8577"/>
                    <a:pt x="820" y="8822"/>
                  </a:cubicBezTo>
                  <a:cubicBezTo>
                    <a:pt x="1356" y="9610"/>
                    <a:pt x="1450" y="9799"/>
                    <a:pt x="1765" y="10082"/>
                  </a:cubicBezTo>
                  <a:cubicBezTo>
                    <a:pt x="2364" y="11658"/>
                    <a:pt x="3907" y="12729"/>
                    <a:pt x="5609" y="12729"/>
                  </a:cubicBezTo>
                  <a:cubicBezTo>
                    <a:pt x="7278" y="12729"/>
                    <a:pt x="8822" y="11658"/>
                    <a:pt x="9421" y="10082"/>
                  </a:cubicBezTo>
                  <a:cubicBezTo>
                    <a:pt x="9736" y="9799"/>
                    <a:pt x="9862" y="9610"/>
                    <a:pt x="10366" y="8822"/>
                  </a:cubicBezTo>
                  <a:cubicBezTo>
                    <a:pt x="10529" y="8577"/>
                    <a:pt x="10340" y="8262"/>
                    <a:pt x="10062" y="8262"/>
                  </a:cubicBezTo>
                  <a:cubicBezTo>
                    <a:pt x="10018" y="8262"/>
                    <a:pt x="9972" y="8270"/>
                    <a:pt x="9925" y="8287"/>
                  </a:cubicBezTo>
                  <a:lnTo>
                    <a:pt x="9704" y="8350"/>
                  </a:lnTo>
                  <a:lnTo>
                    <a:pt x="9704" y="7436"/>
                  </a:lnTo>
                  <a:cubicBezTo>
                    <a:pt x="10429" y="7436"/>
                    <a:pt x="11122" y="6774"/>
                    <a:pt x="11122" y="5955"/>
                  </a:cubicBezTo>
                  <a:cubicBezTo>
                    <a:pt x="11122" y="5136"/>
                    <a:pt x="10429" y="4443"/>
                    <a:pt x="9610" y="4443"/>
                  </a:cubicBezTo>
                  <a:lnTo>
                    <a:pt x="9610" y="2175"/>
                  </a:lnTo>
                  <a:cubicBezTo>
                    <a:pt x="10051" y="2017"/>
                    <a:pt x="10366" y="1608"/>
                    <a:pt x="10366" y="1104"/>
                  </a:cubicBezTo>
                  <a:cubicBezTo>
                    <a:pt x="10366" y="473"/>
                    <a:pt x="9862" y="1"/>
                    <a:pt x="9263" y="1"/>
                  </a:cubicBezTo>
                  <a:cubicBezTo>
                    <a:pt x="8633" y="1"/>
                    <a:pt x="8161" y="505"/>
                    <a:pt x="8161" y="1104"/>
                  </a:cubicBezTo>
                  <a:cubicBezTo>
                    <a:pt x="8161" y="1230"/>
                    <a:pt x="8192" y="1324"/>
                    <a:pt x="8224" y="1450"/>
                  </a:cubicBezTo>
                  <a:lnTo>
                    <a:pt x="7405" y="2080"/>
                  </a:lnTo>
                  <a:lnTo>
                    <a:pt x="6585" y="1450"/>
                  </a:lnTo>
                  <a:cubicBezTo>
                    <a:pt x="6617" y="1324"/>
                    <a:pt x="6648" y="1230"/>
                    <a:pt x="6648" y="1104"/>
                  </a:cubicBezTo>
                  <a:cubicBezTo>
                    <a:pt x="6648" y="473"/>
                    <a:pt x="6144" y="1"/>
                    <a:pt x="5546" y="1"/>
                  </a:cubicBezTo>
                  <a:cubicBezTo>
                    <a:pt x="4916" y="1"/>
                    <a:pt x="4443" y="505"/>
                    <a:pt x="4443" y="1104"/>
                  </a:cubicBezTo>
                  <a:cubicBezTo>
                    <a:pt x="4443" y="1230"/>
                    <a:pt x="4506" y="1324"/>
                    <a:pt x="4538" y="1450"/>
                  </a:cubicBezTo>
                  <a:lnTo>
                    <a:pt x="3718" y="2080"/>
                  </a:lnTo>
                  <a:lnTo>
                    <a:pt x="2868" y="1450"/>
                  </a:lnTo>
                  <a:cubicBezTo>
                    <a:pt x="2931" y="1324"/>
                    <a:pt x="2962" y="1230"/>
                    <a:pt x="2962" y="1104"/>
                  </a:cubicBezTo>
                  <a:cubicBezTo>
                    <a:pt x="2962" y="473"/>
                    <a:pt x="2458" y="1"/>
                    <a:pt x="1860"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10652" name="Google Shape;10652;p112"/>
          <p:cNvGrpSpPr/>
          <p:nvPr/>
        </p:nvGrpSpPr>
        <p:grpSpPr>
          <a:xfrm>
            <a:off x="10049077" y="2045230"/>
            <a:ext cx="425452" cy="482764"/>
            <a:chOff x="1044400" y="2917425"/>
            <a:chExt cx="248125" cy="281550"/>
          </a:xfrm>
        </p:grpSpPr>
        <p:sp>
          <p:nvSpPr>
            <p:cNvPr id="10653" name="Google Shape;10653;p112"/>
            <p:cNvSpPr/>
            <p:nvPr/>
          </p:nvSpPr>
          <p:spPr>
            <a:xfrm>
              <a:off x="1136400" y="3123175"/>
              <a:ext cx="64125" cy="26325"/>
            </a:xfrm>
            <a:custGeom>
              <a:avLst/>
              <a:gdLst/>
              <a:ahLst/>
              <a:cxnLst/>
              <a:rect l="l" t="t" r="r" b="b"/>
              <a:pathLst>
                <a:path w="2565" h="1053" extrusionOk="0">
                  <a:moveTo>
                    <a:pt x="352" y="0"/>
                  </a:moveTo>
                  <a:cubicBezTo>
                    <a:pt x="272" y="0"/>
                    <a:pt x="195" y="35"/>
                    <a:pt x="140" y="105"/>
                  </a:cubicBezTo>
                  <a:cubicBezTo>
                    <a:pt x="0" y="244"/>
                    <a:pt x="0" y="439"/>
                    <a:pt x="140" y="551"/>
                  </a:cubicBezTo>
                  <a:cubicBezTo>
                    <a:pt x="446" y="858"/>
                    <a:pt x="864" y="1053"/>
                    <a:pt x="1283" y="1053"/>
                  </a:cubicBezTo>
                  <a:cubicBezTo>
                    <a:pt x="1729" y="1053"/>
                    <a:pt x="2147" y="858"/>
                    <a:pt x="2425" y="551"/>
                  </a:cubicBezTo>
                  <a:cubicBezTo>
                    <a:pt x="2565" y="412"/>
                    <a:pt x="2565" y="216"/>
                    <a:pt x="2425" y="105"/>
                  </a:cubicBezTo>
                  <a:cubicBezTo>
                    <a:pt x="2356" y="35"/>
                    <a:pt x="2272" y="0"/>
                    <a:pt x="2192" y="0"/>
                  </a:cubicBezTo>
                  <a:cubicBezTo>
                    <a:pt x="2112" y="0"/>
                    <a:pt x="2035" y="35"/>
                    <a:pt x="1979" y="105"/>
                  </a:cubicBezTo>
                  <a:cubicBezTo>
                    <a:pt x="1812" y="272"/>
                    <a:pt x="1533" y="384"/>
                    <a:pt x="1283" y="384"/>
                  </a:cubicBezTo>
                  <a:cubicBezTo>
                    <a:pt x="1004" y="384"/>
                    <a:pt x="753" y="272"/>
                    <a:pt x="586" y="105"/>
                  </a:cubicBezTo>
                  <a:cubicBezTo>
                    <a:pt x="516" y="35"/>
                    <a:pt x="432" y="0"/>
                    <a:pt x="352"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654" name="Google Shape;10654;p112"/>
            <p:cNvSpPr/>
            <p:nvPr/>
          </p:nvSpPr>
          <p:spPr>
            <a:xfrm>
              <a:off x="1127325" y="3050525"/>
              <a:ext cx="16075" cy="16050"/>
            </a:xfrm>
            <a:custGeom>
              <a:avLst/>
              <a:gdLst/>
              <a:ahLst/>
              <a:cxnLst/>
              <a:rect l="l" t="t" r="r" b="b"/>
              <a:pathLst>
                <a:path w="643" h="642" extrusionOk="0">
                  <a:moveTo>
                    <a:pt x="335" y="0"/>
                  </a:moveTo>
                  <a:cubicBezTo>
                    <a:pt x="140" y="0"/>
                    <a:pt x="1" y="140"/>
                    <a:pt x="1" y="335"/>
                  </a:cubicBezTo>
                  <a:cubicBezTo>
                    <a:pt x="1" y="502"/>
                    <a:pt x="140" y="642"/>
                    <a:pt x="335" y="642"/>
                  </a:cubicBezTo>
                  <a:cubicBezTo>
                    <a:pt x="503" y="642"/>
                    <a:pt x="642" y="502"/>
                    <a:pt x="642" y="335"/>
                  </a:cubicBezTo>
                  <a:cubicBezTo>
                    <a:pt x="642" y="140"/>
                    <a:pt x="503" y="0"/>
                    <a:pt x="335"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655" name="Google Shape;10655;p112"/>
            <p:cNvSpPr/>
            <p:nvPr/>
          </p:nvSpPr>
          <p:spPr>
            <a:xfrm>
              <a:off x="1192850" y="3050525"/>
              <a:ext cx="15350" cy="16050"/>
            </a:xfrm>
            <a:custGeom>
              <a:avLst/>
              <a:gdLst/>
              <a:ahLst/>
              <a:cxnLst/>
              <a:rect l="l" t="t" r="r" b="b"/>
              <a:pathLst>
                <a:path w="614" h="642" extrusionOk="0">
                  <a:moveTo>
                    <a:pt x="307" y="0"/>
                  </a:moveTo>
                  <a:cubicBezTo>
                    <a:pt x="140" y="0"/>
                    <a:pt x="0" y="140"/>
                    <a:pt x="0" y="335"/>
                  </a:cubicBezTo>
                  <a:cubicBezTo>
                    <a:pt x="0" y="502"/>
                    <a:pt x="140" y="642"/>
                    <a:pt x="307" y="642"/>
                  </a:cubicBezTo>
                  <a:cubicBezTo>
                    <a:pt x="474" y="642"/>
                    <a:pt x="613" y="502"/>
                    <a:pt x="613" y="335"/>
                  </a:cubicBezTo>
                  <a:cubicBezTo>
                    <a:pt x="613" y="140"/>
                    <a:pt x="474" y="0"/>
                    <a:pt x="307"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656" name="Google Shape;10656;p112"/>
            <p:cNvSpPr/>
            <p:nvPr/>
          </p:nvSpPr>
          <p:spPr>
            <a:xfrm>
              <a:off x="1044400" y="2917425"/>
              <a:ext cx="248125" cy="281550"/>
            </a:xfrm>
            <a:custGeom>
              <a:avLst/>
              <a:gdLst/>
              <a:ahLst/>
              <a:cxnLst/>
              <a:rect l="l" t="t" r="r" b="b"/>
              <a:pathLst>
                <a:path w="9925" h="11262" extrusionOk="0">
                  <a:moveTo>
                    <a:pt x="7332" y="669"/>
                  </a:moveTo>
                  <a:cubicBezTo>
                    <a:pt x="7499" y="669"/>
                    <a:pt x="7639" y="809"/>
                    <a:pt x="7639" y="976"/>
                  </a:cubicBezTo>
                  <a:lnTo>
                    <a:pt x="7639" y="2816"/>
                  </a:lnTo>
                  <a:lnTo>
                    <a:pt x="6886" y="2063"/>
                  </a:lnTo>
                  <a:cubicBezTo>
                    <a:pt x="6823" y="2000"/>
                    <a:pt x="6743" y="1964"/>
                    <a:pt x="6660" y="1964"/>
                  </a:cubicBezTo>
                  <a:cubicBezTo>
                    <a:pt x="6595" y="1964"/>
                    <a:pt x="6529" y="1986"/>
                    <a:pt x="6468" y="2035"/>
                  </a:cubicBezTo>
                  <a:cubicBezTo>
                    <a:pt x="5924" y="2398"/>
                    <a:pt x="5297" y="2579"/>
                    <a:pt x="4670" y="2579"/>
                  </a:cubicBezTo>
                  <a:cubicBezTo>
                    <a:pt x="4043" y="2579"/>
                    <a:pt x="3415" y="2398"/>
                    <a:pt x="2872" y="2035"/>
                  </a:cubicBezTo>
                  <a:cubicBezTo>
                    <a:pt x="2811" y="1986"/>
                    <a:pt x="2744" y="1964"/>
                    <a:pt x="2680" y="1964"/>
                  </a:cubicBezTo>
                  <a:cubicBezTo>
                    <a:pt x="2597" y="1964"/>
                    <a:pt x="2516" y="2000"/>
                    <a:pt x="2454" y="2063"/>
                  </a:cubicBezTo>
                  <a:lnTo>
                    <a:pt x="1701" y="2816"/>
                  </a:lnTo>
                  <a:lnTo>
                    <a:pt x="1701" y="976"/>
                  </a:lnTo>
                  <a:cubicBezTo>
                    <a:pt x="1980" y="809"/>
                    <a:pt x="2147" y="669"/>
                    <a:pt x="2314" y="669"/>
                  </a:cubicBezTo>
                  <a:cubicBezTo>
                    <a:pt x="2482" y="669"/>
                    <a:pt x="2621" y="809"/>
                    <a:pt x="2621" y="976"/>
                  </a:cubicBezTo>
                  <a:cubicBezTo>
                    <a:pt x="2621" y="1143"/>
                    <a:pt x="2760" y="1283"/>
                    <a:pt x="2956" y="1283"/>
                  </a:cubicBezTo>
                  <a:cubicBezTo>
                    <a:pt x="3123" y="1283"/>
                    <a:pt x="3262" y="1143"/>
                    <a:pt x="3262" y="976"/>
                  </a:cubicBezTo>
                  <a:cubicBezTo>
                    <a:pt x="3262" y="809"/>
                    <a:pt x="3402" y="669"/>
                    <a:pt x="3569" y="669"/>
                  </a:cubicBezTo>
                  <a:cubicBezTo>
                    <a:pt x="3736" y="669"/>
                    <a:pt x="3875" y="809"/>
                    <a:pt x="3875" y="976"/>
                  </a:cubicBezTo>
                  <a:cubicBezTo>
                    <a:pt x="3875" y="1143"/>
                    <a:pt x="4015" y="1283"/>
                    <a:pt x="4210" y="1283"/>
                  </a:cubicBezTo>
                  <a:cubicBezTo>
                    <a:pt x="4377" y="1283"/>
                    <a:pt x="4517" y="1143"/>
                    <a:pt x="4517" y="976"/>
                  </a:cubicBezTo>
                  <a:cubicBezTo>
                    <a:pt x="4517" y="809"/>
                    <a:pt x="4656" y="669"/>
                    <a:pt x="4823" y="669"/>
                  </a:cubicBezTo>
                  <a:cubicBezTo>
                    <a:pt x="4990" y="669"/>
                    <a:pt x="5130" y="809"/>
                    <a:pt x="5130" y="976"/>
                  </a:cubicBezTo>
                  <a:cubicBezTo>
                    <a:pt x="5130" y="1143"/>
                    <a:pt x="5269" y="1283"/>
                    <a:pt x="5464" y="1283"/>
                  </a:cubicBezTo>
                  <a:cubicBezTo>
                    <a:pt x="5632" y="1283"/>
                    <a:pt x="5771" y="1143"/>
                    <a:pt x="5771" y="976"/>
                  </a:cubicBezTo>
                  <a:cubicBezTo>
                    <a:pt x="5771" y="809"/>
                    <a:pt x="5910" y="669"/>
                    <a:pt x="6078" y="669"/>
                  </a:cubicBezTo>
                  <a:cubicBezTo>
                    <a:pt x="6245" y="669"/>
                    <a:pt x="6384" y="809"/>
                    <a:pt x="6384" y="976"/>
                  </a:cubicBezTo>
                  <a:cubicBezTo>
                    <a:pt x="6384" y="1143"/>
                    <a:pt x="6524" y="1283"/>
                    <a:pt x="6719" y="1283"/>
                  </a:cubicBezTo>
                  <a:cubicBezTo>
                    <a:pt x="6886" y="1283"/>
                    <a:pt x="7025" y="1143"/>
                    <a:pt x="7025" y="976"/>
                  </a:cubicBezTo>
                  <a:cubicBezTo>
                    <a:pt x="7025" y="809"/>
                    <a:pt x="7165" y="669"/>
                    <a:pt x="7332" y="669"/>
                  </a:cubicBezTo>
                  <a:close/>
                  <a:moveTo>
                    <a:pt x="1311" y="5297"/>
                  </a:moveTo>
                  <a:lnTo>
                    <a:pt x="1311" y="6635"/>
                  </a:lnTo>
                  <a:cubicBezTo>
                    <a:pt x="949" y="6635"/>
                    <a:pt x="642" y="6356"/>
                    <a:pt x="642" y="5966"/>
                  </a:cubicBezTo>
                  <a:cubicBezTo>
                    <a:pt x="642" y="5603"/>
                    <a:pt x="921" y="5297"/>
                    <a:pt x="1311" y="5297"/>
                  </a:cubicBezTo>
                  <a:close/>
                  <a:moveTo>
                    <a:pt x="8586" y="5297"/>
                  </a:moveTo>
                  <a:cubicBezTo>
                    <a:pt x="8949" y="5297"/>
                    <a:pt x="9255" y="5575"/>
                    <a:pt x="9255" y="5966"/>
                  </a:cubicBezTo>
                  <a:cubicBezTo>
                    <a:pt x="9255" y="6356"/>
                    <a:pt x="8949" y="6635"/>
                    <a:pt x="8586" y="6635"/>
                  </a:cubicBezTo>
                  <a:lnTo>
                    <a:pt x="8586" y="5297"/>
                  </a:lnTo>
                  <a:close/>
                  <a:moveTo>
                    <a:pt x="6914" y="2732"/>
                  </a:moveTo>
                  <a:lnTo>
                    <a:pt x="7973" y="3763"/>
                  </a:lnTo>
                  <a:cubicBezTo>
                    <a:pt x="7917" y="4265"/>
                    <a:pt x="7917" y="7248"/>
                    <a:pt x="7917" y="7638"/>
                  </a:cubicBezTo>
                  <a:cubicBezTo>
                    <a:pt x="7917" y="9255"/>
                    <a:pt x="6607" y="10593"/>
                    <a:pt x="4963" y="10593"/>
                  </a:cubicBezTo>
                  <a:cubicBezTo>
                    <a:pt x="3318" y="10593"/>
                    <a:pt x="2008" y="9255"/>
                    <a:pt x="2008" y="7638"/>
                  </a:cubicBezTo>
                  <a:lnTo>
                    <a:pt x="2008" y="3763"/>
                  </a:lnTo>
                  <a:lnTo>
                    <a:pt x="3039" y="2732"/>
                  </a:lnTo>
                  <a:cubicBezTo>
                    <a:pt x="3638" y="3080"/>
                    <a:pt x="4301" y="3255"/>
                    <a:pt x="4966" y="3255"/>
                  </a:cubicBezTo>
                  <a:cubicBezTo>
                    <a:pt x="5632" y="3255"/>
                    <a:pt x="6301" y="3080"/>
                    <a:pt x="6914" y="2732"/>
                  </a:cubicBezTo>
                  <a:close/>
                  <a:moveTo>
                    <a:pt x="2314" y="0"/>
                  </a:moveTo>
                  <a:cubicBezTo>
                    <a:pt x="1757" y="0"/>
                    <a:pt x="1339" y="446"/>
                    <a:pt x="1339" y="976"/>
                  </a:cubicBezTo>
                  <a:lnTo>
                    <a:pt x="1339" y="4628"/>
                  </a:lnTo>
                  <a:cubicBezTo>
                    <a:pt x="614" y="4628"/>
                    <a:pt x="1" y="5241"/>
                    <a:pt x="1" y="5966"/>
                  </a:cubicBezTo>
                  <a:cubicBezTo>
                    <a:pt x="1" y="6690"/>
                    <a:pt x="614" y="7276"/>
                    <a:pt x="1339" y="7276"/>
                  </a:cubicBezTo>
                  <a:lnTo>
                    <a:pt x="1339" y="7638"/>
                  </a:lnTo>
                  <a:cubicBezTo>
                    <a:pt x="1339" y="9617"/>
                    <a:pt x="2983" y="11262"/>
                    <a:pt x="4963" y="11262"/>
                  </a:cubicBezTo>
                  <a:cubicBezTo>
                    <a:pt x="6942" y="11262"/>
                    <a:pt x="8586" y="9617"/>
                    <a:pt x="8586" y="7638"/>
                  </a:cubicBezTo>
                  <a:lnTo>
                    <a:pt x="8586" y="7276"/>
                  </a:lnTo>
                  <a:cubicBezTo>
                    <a:pt x="9311" y="7276"/>
                    <a:pt x="9896" y="6690"/>
                    <a:pt x="9896" y="5966"/>
                  </a:cubicBezTo>
                  <a:cubicBezTo>
                    <a:pt x="9924" y="5241"/>
                    <a:pt x="9311" y="4628"/>
                    <a:pt x="8586" y="4628"/>
                  </a:cubicBezTo>
                  <a:lnTo>
                    <a:pt x="8586" y="976"/>
                  </a:lnTo>
                  <a:cubicBezTo>
                    <a:pt x="8586" y="418"/>
                    <a:pt x="8140" y="0"/>
                    <a:pt x="7611" y="0"/>
                  </a:cubicBezTo>
                  <a:cubicBezTo>
                    <a:pt x="7360" y="0"/>
                    <a:pt x="7137" y="112"/>
                    <a:pt x="6942" y="251"/>
                  </a:cubicBezTo>
                  <a:cubicBezTo>
                    <a:pt x="6774" y="56"/>
                    <a:pt x="6524" y="0"/>
                    <a:pt x="6301" y="0"/>
                  </a:cubicBezTo>
                  <a:cubicBezTo>
                    <a:pt x="6050" y="0"/>
                    <a:pt x="5799" y="112"/>
                    <a:pt x="5632" y="251"/>
                  </a:cubicBezTo>
                  <a:cubicBezTo>
                    <a:pt x="5436" y="56"/>
                    <a:pt x="5213" y="0"/>
                    <a:pt x="4963" y="0"/>
                  </a:cubicBezTo>
                  <a:cubicBezTo>
                    <a:pt x="4712" y="0"/>
                    <a:pt x="4461" y="112"/>
                    <a:pt x="4294" y="251"/>
                  </a:cubicBezTo>
                  <a:cubicBezTo>
                    <a:pt x="4126" y="56"/>
                    <a:pt x="3875" y="0"/>
                    <a:pt x="3625" y="0"/>
                  </a:cubicBezTo>
                  <a:cubicBezTo>
                    <a:pt x="3402" y="0"/>
                    <a:pt x="3151" y="112"/>
                    <a:pt x="2983" y="251"/>
                  </a:cubicBezTo>
                  <a:cubicBezTo>
                    <a:pt x="2788" y="56"/>
                    <a:pt x="2565" y="0"/>
                    <a:pt x="2314"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657" name="Google Shape;10657;p112"/>
            <p:cNvSpPr/>
            <p:nvPr/>
          </p:nvSpPr>
          <p:spPr>
            <a:xfrm>
              <a:off x="1086125" y="2932961"/>
              <a:ext cx="11427" cy="58241"/>
            </a:xfrm>
            <a:custGeom>
              <a:avLst/>
              <a:gdLst/>
              <a:ahLst/>
              <a:cxnLst/>
              <a:rect l="l" t="t" r="r" b="b"/>
              <a:pathLst>
                <a:path w="500" h="2548" extrusionOk="0">
                  <a:moveTo>
                    <a:pt x="500" y="2238"/>
                  </a:moveTo>
                  <a:lnTo>
                    <a:pt x="500" y="0"/>
                  </a:lnTo>
                  <a:lnTo>
                    <a:pt x="72" y="214"/>
                  </a:lnTo>
                  <a:lnTo>
                    <a:pt x="0" y="1547"/>
                  </a:lnTo>
                  <a:lnTo>
                    <a:pt x="0" y="2548"/>
                  </a:lnTo>
                  <a:close/>
                </a:path>
              </a:pathLst>
            </a:custGeom>
            <a:solidFill>
              <a:srgbClr val="5F7D95"/>
            </a:solidFill>
            <a:ln>
              <a:noFill/>
            </a:ln>
          </p:spPr>
        </p:sp>
        <p:sp>
          <p:nvSpPr>
            <p:cNvPr id="10658" name="Google Shape;10658;p112"/>
            <p:cNvSpPr/>
            <p:nvPr/>
          </p:nvSpPr>
          <p:spPr>
            <a:xfrm>
              <a:off x="1090922" y="2925900"/>
              <a:ext cx="29209" cy="38629"/>
            </a:xfrm>
            <a:custGeom>
              <a:avLst/>
              <a:gdLst/>
              <a:ahLst/>
              <a:cxnLst/>
              <a:rect l="l" t="t" r="r" b="b"/>
              <a:pathLst>
                <a:path w="1278" h="1690" extrusionOk="0">
                  <a:moveTo>
                    <a:pt x="288" y="737"/>
                  </a:moveTo>
                  <a:cubicBezTo>
                    <a:pt x="296" y="689"/>
                    <a:pt x="288" y="519"/>
                    <a:pt x="336" y="451"/>
                  </a:cubicBezTo>
                  <a:cubicBezTo>
                    <a:pt x="384" y="384"/>
                    <a:pt x="471" y="340"/>
                    <a:pt x="574" y="332"/>
                  </a:cubicBezTo>
                  <a:cubicBezTo>
                    <a:pt x="677" y="324"/>
                    <a:pt x="840" y="412"/>
                    <a:pt x="955" y="404"/>
                  </a:cubicBezTo>
                  <a:cubicBezTo>
                    <a:pt x="1070" y="396"/>
                    <a:pt x="1320" y="349"/>
                    <a:pt x="1264" y="285"/>
                  </a:cubicBezTo>
                  <a:cubicBezTo>
                    <a:pt x="1208" y="222"/>
                    <a:pt x="816" y="51"/>
                    <a:pt x="621" y="23"/>
                  </a:cubicBezTo>
                  <a:cubicBezTo>
                    <a:pt x="427" y="-5"/>
                    <a:pt x="200" y="-13"/>
                    <a:pt x="97" y="118"/>
                  </a:cubicBezTo>
                  <a:cubicBezTo>
                    <a:pt x="-6" y="249"/>
                    <a:pt x="2" y="547"/>
                    <a:pt x="2" y="809"/>
                  </a:cubicBezTo>
                  <a:cubicBezTo>
                    <a:pt x="2" y="1071"/>
                    <a:pt x="81" y="1543"/>
                    <a:pt x="97" y="1690"/>
                  </a:cubicBezTo>
                </a:path>
              </a:pathLst>
            </a:custGeom>
            <a:solidFill>
              <a:srgbClr val="5F7D95"/>
            </a:solidFill>
            <a:ln>
              <a:noFill/>
            </a:ln>
          </p:spPr>
        </p:sp>
        <p:sp>
          <p:nvSpPr>
            <p:cNvPr id="10659" name="Google Shape;10659;p112"/>
            <p:cNvSpPr/>
            <p:nvPr/>
          </p:nvSpPr>
          <p:spPr>
            <a:xfrm>
              <a:off x="1222775" y="2966925"/>
              <a:ext cx="28574" cy="36325"/>
            </a:xfrm>
            <a:custGeom>
              <a:avLst/>
              <a:gdLst/>
              <a:ahLst/>
              <a:cxnLst/>
              <a:rect l="l" t="t" r="r" b="b"/>
              <a:pathLst>
                <a:path w="1048" h="1453" extrusionOk="0">
                  <a:moveTo>
                    <a:pt x="0" y="0"/>
                  </a:moveTo>
                  <a:lnTo>
                    <a:pt x="1048" y="1072"/>
                  </a:lnTo>
                  <a:lnTo>
                    <a:pt x="905" y="1453"/>
                  </a:lnTo>
                  <a:lnTo>
                    <a:pt x="0" y="667"/>
                  </a:lnTo>
                  <a:close/>
                </a:path>
              </a:pathLst>
            </a:custGeom>
            <a:solidFill>
              <a:srgbClr val="5F7D95"/>
            </a:solidFill>
            <a:ln>
              <a:noFill/>
            </a:ln>
          </p:spPr>
        </p:sp>
        <p:sp>
          <p:nvSpPr>
            <p:cNvPr id="10660" name="Google Shape;10660;p112"/>
            <p:cNvSpPr/>
            <p:nvPr/>
          </p:nvSpPr>
          <p:spPr>
            <a:xfrm>
              <a:off x="1205975" y="2965750"/>
              <a:ext cx="21000" cy="16200"/>
            </a:xfrm>
            <a:prstGeom prst="ellipse">
              <a:avLst/>
            </a:pr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661" name="Google Shape;10661;p112"/>
            <p:cNvSpPr/>
            <p:nvPr/>
          </p:nvSpPr>
          <p:spPr>
            <a:xfrm>
              <a:off x="1082225" y="2937250"/>
              <a:ext cx="11400" cy="26400"/>
            </a:xfrm>
            <a:prstGeom prst="rect">
              <a:avLst/>
            </a:pr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sp>
        <p:nvSpPr>
          <p:cNvPr id="10662" name="Google Shape;10662;p112"/>
          <p:cNvSpPr/>
          <p:nvPr/>
        </p:nvSpPr>
        <p:spPr>
          <a:xfrm>
            <a:off x="8844880" y="3279820"/>
            <a:ext cx="457624" cy="482872"/>
          </a:xfrm>
          <a:custGeom>
            <a:avLst/>
            <a:gdLst/>
            <a:ahLst/>
            <a:cxnLst/>
            <a:rect l="l" t="t" r="r" b="b"/>
            <a:pathLst>
              <a:path w="10621" h="11207" extrusionOk="0">
                <a:moveTo>
                  <a:pt x="6412" y="614"/>
                </a:moveTo>
                <a:lnTo>
                  <a:pt x="6690" y="1980"/>
                </a:lnTo>
                <a:cubicBezTo>
                  <a:pt x="6384" y="2063"/>
                  <a:pt x="6105" y="2203"/>
                  <a:pt x="5854" y="2426"/>
                </a:cubicBezTo>
                <a:cubicBezTo>
                  <a:pt x="5548" y="2119"/>
                  <a:pt x="5129" y="1952"/>
                  <a:pt x="4711" y="1952"/>
                </a:cubicBezTo>
                <a:cubicBezTo>
                  <a:pt x="4265" y="1952"/>
                  <a:pt x="3875" y="2119"/>
                  <a:pt x="3568" y="2426"/>
                </a:cubicBezTo>
                <a:cubicBezTo>
                  <a:pt x="3345" y="2231"/>
                  <a:pt x="3039" y="2063"/>
                  <a:pt x="2732" y="1980"/>
                </a:cubicBezTo>
                <a:lnTo>
                  <a:pt x="3011" y="614"/>
                </a:lnTo>
                <a:close/>
                <a:moveTo>
                  <a:pt x="7192" y="1088"/>
                </a:moveTo>
                <a:lnTo>
                  <a:pt x="8530" y="2147"/>
                </a:lnTo>
                <a:cubicBezTo>
                  <a:pt x="8447" y="2259"/>
                  <a:pt x="8335" y="2370"/>
                  <a:pt x="8251" y="2482"/>
                </a:cubicBezTo>
                <a:cubicBezTo>
                  <a:pt x="8028" y="2231"/>
                  <a:pt x="7750" y="2008"/>
                  <a:pt x="7359" y="1952"/>
                </a:cubicBezTo>
                <a:lnTo>
                  <a:pt x="7192" y="1088"/>
                </a:lnTo>
                <a:close/>
                <a:moveTo>
                  <a:pt x="9339" y="2565"/>
                </a:moveTo>
                <a:cubicBezTo>
                  <a:pt x="9729" y="2565"/>
                  <a:pt x="10008" y="2844"/>
                  <a:pt x="10008" y="3234"/>
                </a:cubicBezTo>
                <a:cubicBezTo>
                  <a:pt x="9980" y="3624"/>
                  <a:pt x="9701" y="3903"/>
                  <a:pt x="9339" y="3903"/>
                </a:cubicBezTo>
                <a:cubicBezTo>
                  <a:pt x="9004" y="3903"/>
                  <a:pt x="8670" y="3624"/>
                  <a:pt x="8670" y="3234"/>
                </a:cubicBezTo>
                <a:cubicBezTo>
                  <a:pt x="8670" y="2900"/>
                  <a:pt x="8948" y="2565"/>
                  <a:pt x="9339" y="2565"/>
                </a:cubicBezTo>
                <a:close/>
                <a:moveTo>
                  <a:pt x="7081" y="2565"/>
                </a:moveTo>
                <a:cubicBezTo>
                  <a:pt x="7638" y="2565"/>
                  <a:pt x="8056" y="3039"/>
                  <a:pt x="8056" y="3541"/>
                </a:cubicBezTo>
                <a:cubicBezTo>
                  <a:pt x="8056" y="4070"/>
                  <a:pt x="7610" y="4516"/>
                  <a:pt x="7081" y="4516"/>
                </a:cubicBezTo>
                <a:cubicBezTo>
                  <a:pt x="6718" y="4516"/>
                  <a:pt x="6384" y="4321"/>
                  <a:pt x="6217" y="4015"/>
                </a:cubicBezTo>
                <a:cubicBezTo>
                  <a:pt x="6147" y="3889"/>
                  <a:pt x="6028" y="3827"/>
                  <a:pt x="5910" y="3827"/>
                </a:cubicBezTo>
                <a:cubicBezTo>
                  <a:pt x="5791" y="3827"/>
                  <a:pt x="5673" y="3889"/>
                  <a:pt x="5603" y="4015"/>
                </a:cubicBezTo>
                <a:cubicBezTo>
                  <a:pt x="5436" y="4321"/>
                  <a:pt x="5102" y="4516"/>
                  <a:pt x="4739" y="4516"/>
                </a:cubicBezTo>
                <a:cubicBezTo>
                  <a:pt x="4405" y="4516"/>
                  <a:pt x="4042" y="4321"/>
                  <a:pt x="3875" y="4015"/>
                </a:cubicBezTo>
                <a:cubicBezTo>
                  <a:pt x="3805" y="3889"/>
                  <a:pt x="3694" y="3827"/>
                  <a:pt x="3582" y="3827"/>
                </a:cubicBezTo>
                <a:cubicBezTo>
                  <a:pt x="3471" y="3827"/>
                  <a:pt x="3359" y="3889"/>
                  <a:pt x="3290" y="4015"/>
                </a:cubicBezTo>
                <a:cubicBezTo>
                  <a:pt x="3094" y="4321"/>
                  <a:pt x="2760" y="4516"/>
                  <a:pt x="2398" y="4516"/>
                </a:cubicBezTo>
                <a:cubicBezTo>
                  <a:pt x="1840" y="4516"/>
                  <a:pt x="1422" y="4070"/>
                  <a:pt x="1422" y="3541"/>
                </a:cubicBezTo>
                <a:cubicBezTo>
                  <a:pt x="1422" y="3039"/>
                  <a:pt x="1840" y="2565"/>
                  <a:pt x="2398" y="2565"/>
                </a:cubicBezTo>
                <a:cubicBezTo>
                  <a:pt x="2760" y="2565"/>
                  <a:pt x="3094" y="2788"/>
                  <a:pt x="3290" y="3095"/>
                </a:cubicBezTo>
                <a:cubicBezTo>
                  <a:pt x="3359" y="3220"/>
                  <a:pt x="3471" y="3283"/>
                  <a:pt x="3582" y="3283"/>
                </a:cubicBezTo>
                <a:cubicBezTo>
                  <a:pt x="3694" y="3283"/>
                  <a:pt x="3805" y="3220"/>
                  <a:pt x="3875" y="3095"/>
                </a:cubicBezTo>
                <a:cubicBezTo>
                  <a:pt x="4042" y="2788"/>
                  <a:pt x="4405" y="2565"/>
                  <a:pt x="4739" y="2565"/>
                </a:cubicBezTo>
                <a:cubicBezTo>
                  <a:pt x="5102" y="2565"/>
                  <a:pt x="5436" y="2788"/>
                  <a:pt x="5603" y="3095"/>
                </a:cubicBezTo>
                <a:cubicBezTo>
                  <a:pt x="5673" y="3220"/>
                  <a:pt x="5791" y="3283"/>
                  <a:pt x="5910" y="3283"/>
                </a:cubicBezTo>
                <a:cubicBezTo>
                  <a:pt x="6028" y="3283"/>
                  <a:pt x="6147" y="3220"/>
                  <a:pt x="6217" y="3095"/>
                </a:cubicBezTo>
                <a:cubicBezTo>
                  <a:pt x="6384" y="2788"/>
                  <a:pt x="6718" y="2565"/>
                  <a:pt x="7081" y="2565"/>
                </a:cubicBezTo>
                <a:close/>
                <a:moveTo>
                  <a:pt x="5798" y="4767"/>
                </a:moveTo>
                <a:cubicBezTo>
                  <a:pt x="6105" y="5074"/>
                  <a:pt x="6523" y="5269"/>
                  <a:pt x="6941" y="5269"/>
                </a:cubicBezTo>
                <a:cubicBezTo>
                  <a:pt x="7192" y="5269"/>
                  <a:pt x="7387" y="5213"/>
                  <a:pt x="7610" y="5130"/>
                </a:cubicBezTo>
                <a:lnTo>
                  <a:pt x="7610" y="6273"/>
                </a:lnTo>
                <a:lnTo>
                  <a:pt x="7109" y="6440"/>
                </a:lnTo>
                <a:cubicBezTo>
                  <a:pt x="7055" y="6463"/>
                  <a:pt x="6997" y="6473"/>
                  <a:pt x="6938" y="6473"/>
                </a:cubicBezTo>
                <a:cubicBezTo>
                  <a:pt x="6782" y="6473"/>
                  <a:pt x="6616" y="6402"/>
                  <a:pt x="6495" y="6301"/>
                </a:cubicBezTo>
                <a:cubicBezTo>
                  <a:pt x="6241" y="6046"/>
                  <a:pt x="5923" y="5927"/>
                  <a:pt x="5608" y="5927"/>
                </a:cubicBezTo>
                <a:cubicBezTo>
                  <a:pt x="5267" y="5927"/>
                  <a:pt x="4930" y="6067"/>
                  <a:pt x="4683" y="6328"/>
                </a:cubicBezTo>
                <a:cubicBezTo>
                  <a:pt x="4433" y="6078"/>
                  <a:pt x="4082" y="5937"/>
                  <a:pt x="3733" y="5937"/>
                </a:cubicBezTo>
                <a:cubicBezTo>
                  <a:pt x="3420" y="5937"/>
                  <a:pt x="3109" y="6050"/>
                  <a:pt x="2871" y="6301"/>
                </a:cubicBezTo>
                <a:cubicBezTo>
                  <a:pt x="2737" y="6416"/>
                  <a:pt x="2602" y="6478"/>
                  <a:pt x="2449" y="6478"/>
                </a:cubicBezTo>
                <a:cubicBezTo>
                  <a:pt x="2380" y="6478"/>
                  <a:pt x="2308" y="6466"/>
                  <a:pt x="2230" y="6440"/>
                </a:cubicBezTo>
                <a:lnTo>
                  <a:pt x="1673" y="6273"/>
                </a:lnTo>
                <a:lnTo>
                  <a:pt x="1673" y="5130"/>
                </a:lnTo>
                <a:cubicBezTo>
                  <a:pt x="1896" y="5213"/>
                  <a:pt x="2091" y="5269"/>
                  <a:pt x="2342" y="5269"/>
                </a:cubicBezTo>
                <a:cubicBezTo>
                  <a:pt x="2788" y="5269"/>
                  <a:pt x="3178" y="5074"/>
                  <a:pt x="3485" y="4767"/>
                </a:cubicBezTo>
                <a:cubicBezTo>
                  <a:pt x="3791" y="5074"/>
                  <a:pt x="4209" y="5269"/>
                  <a:pt x="4628" y="5269"/>
                </a:cubicBezTo>
                <a:cubicBezTo>
                  <a:pt x="5102" y="5269"/>
                  <a:pt x="5464" y="5074"/>
                  <a:pt x="5798" y="4767"/>
                </a:cubicBezTo>
                <a:close/>
                <a:moveTo>
                  <a:pt x="3791" y="6577"/>
                </a:moveTo>
                <a:cubicBezTo>
                  <a:pt x="4000" y="6577"/>
                  <a:pt x="4207" y="6680"/>
                  <a:pt x="4321" y="6858"/>
                </a:cubicBezTo>
                <a:lnTo>
                  <a:pt x="4182" y="6997"/>
                </a:lnTo>
                <a:cubicBezTo>
                  <a:pt x="3826" y="7340"/>
                  <a:pt x="3371" y="7508"/>
                  <a:pt x="2920" y="7508"/>
                </a:cubicBezTo>
                <a:cubicBezTo>
                  <a:pt x="2415" y="7508"/>
                  <a:pt x="1914" y="7298"/>
                  <a:pt x="1561" y="6886"/>
                </a:cubicBezTo>
                <a:lnTo>
                  <a:pt x="1561" y="6886"/>
                </a:lnTo>
                <a:lnTo>
                  <a:pt x="2091" y="7081"/>
                </a:lnTo>
                <a:cubicBezTo>
                  <a:pt x="2215" y="7120"/>
                  <a:pt x="2343" y="7139"/>
                  <a:pt x="2471" y="7139"/>
                </a:cubicBezTo>
                <a:cubicBezTo>
                  <a:pt x="2803" y="7139"/>
                  <a:pt x="3132" y="7008"/>
                  <a:pt x="3373" y="6747"/>
                </a:cubicBezTo>
                <a:cubicBezTo>
                  <a:pt x="3490" y="6630"/>
                  <a:pt x="3641" y="6577"/>
                  <a:pt x="3791" y="6577"/>
                </a:cubicBezTo>
                <a:close/>
                <a:moveTo>
                  <a:pt x="5591" y="6621"/>
                </a:moveTo>
                <a:cubicBezTo>
                  <a:pt x="5743" y="6621"/>
                  <a:pt x="5898" y="6679"/>
                  <a:pt x="6021" y="6802"/>
                </a:cubicBezTo>
                <a:cubicBezTo>
                  <a:pt x="6282" y="7042"/>
                  <a:pt x="6599" y="7168"/>
                  <a:pt x="6933" y="7168"/>
                </a:cubicBezTo>
                <a:cubicBezTo>
                  <a:pt x="7064" y="7168"/>
                  <a:pt x="7198" y="7148"/>
                  <a:pt x="7332" y="7109"/>
                </a:cubicBezTo>
                <a:lnTo>
                  <a:pt x="7833" y="6886"/>
                </a:lnTo>
                <a:lnTo>
                  <a:pt x="7833" y="6886"/>
                </a:lnTo>
                <a:cubicBezTo>
                  <a:pt x="7503" y="7299"/>
                  <a:pt x="7003" y="7529"/>
                  <a:pt x="6483" y="7529"/>
                </a:cubicBezTo>
                <a:cubicBezTo>
                  <a:pt x="6302" y="7529"/>
                  <a:pt x="6118" y="7501"/>
                  <a:pt x="5938" y="7443"/>
                </a:cubicBezTo>
                <a:cubicBezTo>
                  <a:pt x="5464" y="7304"/>
                  <a:pt x="5269" y="7025"/>
                  <a:pt x="5102" y="6886"/>
                </a:cubicBezTo>
                <a:cubicBezTo>
                  <a:pt x="5211" y="6714"/>
                  <a:pt x="5398" y="6621"/>
                  <a:pt x="5591" y="6621"/>
                </a:cubicBezTo>
                <a:close/>
                <a:moveTo>
                  <a:pt x="4628" y="7416"/>
                </a:moveTo>
                <a:cubicBezTo>
                  <a:pt x="4906" y="7694"/>
                  <a:pt x="5185" y="7945"/>
                  <a:pt x="5659" y="8085"/>
                </a:cubicBezTo>
                <a:cubicBezTo>
                  <a:pt x="5882" y="8140"/>
                  <a:pt x="6161" y="8224"/>
                  <a:pt x="6412" y="8224"/>
                </a:cubicBezTo>
                <a:cubicBezTo>
                  <a:pt x="7053" y="8224"/>
                  <a:pt x="7666" y="7973"/>
                  <a:pt x="8112" y="7527"/>
                </a:cubicBezTo>
                <a:cubicBezTo>
                  <a:pt x="8224" y="7639"/>
                  <a:pt x="8251" y="7806"/>
                  <a:pt x="8251" y="7945"/>
                </a:cubicBezTo>
                <a:cubicBezTo>
                  <a:pt x="8335" y="8280"/>
                  <a:pt x="8056" y="8558"/>
                  <a:pt x="7666" y="8558"/>
                </a:cubicBezTo>
                <a:cubicBezTo>
                  <a:pt x="7555" y="8558"/>
                  <a:pt x="7471" y="8531"/>
                  <a:pt x="7387" y="8503"/>
                </a:cubicBezTo>
                <a:cubicBezTo>
                  <a:pt x="7339" y="8479"/>
                  <a:pt x="7291" y="8468"/>
                  <a:pt x="7243" y="8468"/>
                </a:cubicBezTo>
                <a:cubicBezTo>
                  <a:pt x="7016" y="8468"/>
                  <a:pt x="6826" y="8718"/>
                  <a:pt x="6941" y="8949"/>
                </a:cubicBezTo>
                <a:cubicBezTo>
                  <a:pt x="6969" y="9060"/>
                  <a:pt x="6997" y="9172"/>
                  <a:pt x="6997" y="9227"/>
                </a:cubicBezTo>
                <a:cubicBezTo>
                  <a:pt x="6997" y="9590"/>
                  <a:pt x="6718" y="9896"/>
                  <a:pt x="6356" y="9896"/>
                </a:cubicBezTo>
                <a:cubicBezTo>
                  <a:pt x="6161" y="9896"/>
                  <a:pt x="6021" y="9813"/>
                  <a:pt x="5882" y="9729"/>
                </a:cubicBezTo>
                <a:cubicBezTo>
                  <a:pt x="5815" y="9662"/>
                  <a:pt x="5734" y="9631"/>
                  <a:pt x="5655" y="9631"/>
                </a:cubicBezTo>
                <a:cubicBezTo>
                  <a:pt x="5505" y="9631"/>
                  <a:pt x="5361" y="9742"/>
                  <a:pt x="5325" y="9924"/>
                </a:cubicBezTo>
                <a:cubicBezTo>
                  <a:pt x="5297" y="10287"/>
                  <a:pt x="5018" y="10565"/>
                  <a:pt x="4683" y="10565"/>
                </a:cubicBezTo>
                <a:cubicBezTo>
                  <a:pt x="4321" y="10565"/>
                  <a:pt x="4042" y="10287"/>
                  <a:pt x="4014" y="9924"/>
                </a:cubicBezTo>
                <a:cubicBezTo>
                  <a:pt x="3996" y="9741"/>
                  <a:pt x="3846" y="9619"/>
                  <a:pt x="3690" y="9619"/>
                </a:cubicBezTo>
                <a:cubicBezTo>
                  <a:pt x="3608" y="9619"/>
                  <a:pt x="3524" y="9652"/>
                  <a:pt x="3457" y="9729"/>
                </a:cubicBezTo>
                <a:cubicBezTo>
                  <a:pt x="3317" y="9813"/>
                  <a:pt x="3178" y="9896"/>
                  <a:pt x="3011" y="9896"/>
                </a:cubicBezTo>
                <a:cubicBezTo>
                  <a:pt x="2648" y="9896"/>
                  <a:pt x="2342" y="9618"/>
                  <a:pt x="2342" y="9227"/>
                </a:cubicBezTo>
                <a:cubicBezTo>
                  <a:pt x="2342" y="9116"/>
                  <a:pt x="2370" y="9032"/>
                  <a:pt x="2398" y="8949"/>
                </a:cubicBezTo>
                <a:cubicBezTo>
                  <a:pt x="2513" y="8718"/>
                  <a:pt x="2323" y="8468"/>
                  <a:pt x="2095" y="8468"/>
                </a:cubicBezTo>
                <a:cubicBezTo>
                  <a:pt x="2048" y="8468"/>
                  <a:pt x="2000" y="8479"/>
                  <a:pt x="1952" y="8503"/>
                </a:cubicBezTo>
                <a:cubicBezTo>
                  <a:pt x="1859" y="8555"/>
                  <a:pt x="1755" y="8583"/>
                  <a:pt x="1653" y="8583"/>
                </a:cubicBezTo>
                <a:cubicBezTo>
                  <a:pt x="1538" y="8583"/>
                  <a:pt x="1427" y="8548"/>
                  <a:pt x="1338" y="8475"/>
                </a:cubicBezTo>
                <a:cubicBezTo>
                  <a:pt x="1115" y="8335"/>
                  <a:pt x="1004" y="8112"/>
                  <a:pt x="1004" y="7917"/>
                </a:cubicBezTo>
                <a:cubicBezTo>
                  <a:pt x="1004" y="7722"/>
                  <a:pt x="1087" y="7583"/>
                  <a:pt x="1143" y="7499"/>
                </a:cubicBezTo>
                <a:cubicBezTo>
                  <a:pt x="1617" y="7945"/>
                  <a:pt x="2230" y="8196"/>
                  <a:pt x="2871" y="8196"/>
                </a:cubicBezTo>
                <a:cubicBezTo>
                  <a:pt x="3485" y="8196"/>
                  <a:pt x="4126" y="7945"/>
                  <a:pt x="4572" y="7499"/>
                </a:cubicBezTo>
                <a:lnTo>
                  <a:pt x="4628" y="7416"/>
                </a:lnTo>
                <a:close/>
                <a:moveTo>
                  <a:pt x="2732" y="1"/>
                </a:moveTo>
                <a:cubicBezTo>
                  <a:pt x="2537" y="1"/>
                  <a:pt x="2453" y="112"/>
                  <a:pt x="2398" y="279"/>
                </a:cubicBezTo>
                <a:lnTo>
                  <a:pt x="2063" y="2008"/>
                </a:lnTo>
                <a:cubicBezTo>
                  <a:pt x="1310" y="2203"/>
                  <a:pt x="753" y="2844"/>
                  <a:pt x="753" y="3624"/>
                </a:cubicBezTo>
                <a:cubicBezTo>
                  <a:pt x="753" y="4015"/>
                  <a:pt x="892" y="4321"/>
                  <a:pt x="1087" y="4600"/>
                </a:cubicBezTo>
                <a:lnTo>
                  <a:pt x="1087" y="6050"/>
                </a:lnTo>
                <a:lnTo>
                  <a:pt x="864" y="5994"/>
                </a:lnTo>
                <a:cubicBezTo>
                  <a:pt x="832" y="5987"/>
                  <a:pt x="799" y="5984"/>
                  <a:pt x="766" y="5984"/>
                </a:cubicBezTo>
                <a:cubicBezTo>
                  <a:pt x="662" y="5984"/>
                  <a:pt x="566" y="6020"/>
                  <a:pt x="502" y="6105"/>
                </a:cubicBezTo>
                <a:cubicBezTo>
                  <a:pt x="418" y="6189"/>
                  <a:pt x="391" y="6384"/>
                  <a:pt x="502" y="6468"/>
                </a:cubicBezTo>
                <a:lnTo>
                  <a:pt x="837" y="6997"/>
                </a:lnTo>
                <a:cubicBezTo>
                  <a:pt x="0" y="7806"/>
                  <a:pt x="558" y="9255"/>
                  <a:pt x="1756" y="9255"/>
                </a:cubicBezTo>
                <a:cubicBezTo>
                  <a:pt x="1756" y="10001"/>
                  <a:pt x="2361" y="10582"/>
                  <a:pt x="3036" y="10582"/>
                </a:cubicBezTo>
                <a:cubicBezTo>
                  <a:pt x="3193" y="10582"/>
                  <a:pt x="3354" y="10550"/>
                  <a:pt x="3513" y="10482"/>
                </a:cubicBezTo>
                <a:cubicBezTo>
                  <a:pt x="3736" y="10928"/>
                  <a:pt x="4182" y="11207"/>
                  <a:pt x="4711" y="11207"/>
                </a:cubicBezTo>
                <a:cubicBezTo>
                  <a:pt x="5241" y="11207"/>
                  <a:pt x="5687" y="10900"/>
                  <a:pt x="5882" y="10482"/>
                </a:cubicBezTo>
                <a:cubicBezTo>
                  <a:pt x="6040" y="10536"/>
                  <a:pt x="6198" y="10562"/>
                  <a:pt x="6351" y="10562"/>
                </a:cubicBezTo>
                <a:cubicBezTo>
                  <a:pt x="7062" y="10562"/>
                  <a:pt x="7666" y="10012"/>
                  <a:pt x="7666" y="9255"/>
                </a:cubicBezTo>
                <a:cubicBezTo>
                  <a:pt x="8865" y="9255"/>
                  <a:pt x="9450" y="7806"/>
                  <a:pt x="8586" y="6997"/>
                </a:cubicBezTo>
                <a:lnTo>
                  <a:pt x="8920" y="6468"/>
                </a:lnTo>
                <a:cubicBezTo>
                  <a:pt x="9066" y="6273"/>
                  <a:pt x="8894" y="5973"/>
                  <a:pt x="8645" y="5973"/>
                </a:cubicBezTo>
                <a:cubicBezTo>
                  <a:pt x="8608" y="5973"/>
                  <a:pt x="8570" y="5980"/>
                  <a:pt x="8530" y="5994"/>
                </a:cubicBezTo>
                <a:lnTo>
                  <a:pt x="8335" y="6050"/>
                </a:lnTo>
                <a:lnTo>
                  <a:pt x="8335" y="4600"/>
                </a:lnTo>
                <a:cubicBezTo>
                  <a:pt x="8391" y="4489"/>
                  <a:pt x="8474" y="4433"/>
                  <a:pt x="8502" y="4321"/>
                </a:cubicBezTo>
                <a:cubicBezTo>
                  <a:pt x="8725" y="4489"/>
                  <a:pt x="9032" y="4600"/>
                  <a:pt x="9311" y="4600"/>
                </a:cubicBezTo>
                <a:cubicBezTo>
                  <a:pt x="10035" y="4600"/>
                  <a:pt x="10621" y="4015"/>
                  <a:pt x="10621" y="3262"/>
                </a:cubicBezTo>
                <a:cubicBezTo>
                  <a:pt x="10621" y="2537"/>
                  <a:pt x="10035" y="1924"/>
                  <a:pt x="9339" y="1924"/>
                </a:cubicBezTo>
                <a:lnTo>
                  <a:pt x="9311" y="1924"/>
                </a:lnTo>
                <a:lnTo>
                  <a:pt x="6941" y="1"/>
                </a:ln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Tree>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bg>
      <p:bgPr>
        <a:solidFill>
          <a:srgbClr val="0E2A47"/>
        </a:solidFill>
        <a:effectLst/>
      </p:bgPr>
    </p:bg>
    <p:spTree>
      <p:nvGrpSpPr>
        <p:cNvPr id="1" name="Shape 10666"/>
        <p:cNvGrpSpPr/>
        <p:nvPr/>
      </p:nvGrpSpPr>
      <p:grpSpPr>
        <a:xfrm>
          <a:off x="0" y="0"/>
          <a:ext cx="0" cy="0"/>
          <a:chOff x="0" y="0"/>
          <a:chExt cx="0" cy="0"/>
        </a:xfrm>
      </p:grpSpPr>
      <p:sp>
        <p:nvSpPr>
          <p:cNvPr id="10667" name="Google Shape;10667;p113"/>
          <p:cNvSpPr txBox="1">
            <a:spLocks noGrp="1"/>
          </p:cNvSpPr>
          <p:nvPr>
            <p:ph type="title" idx="4294967295"/>
          </p:nvPr>
        </p:nvSpPr>
        <p:spPr>
          <a:xfrm>
            <a:off x="1132900" y="1258400"/>
            <a:ext cx="4642800" cy="643200"/>
          </a:xfrm>
          <a:prstGeom prst="rect">
            <a:avLst/>
          </a:prstGeom>
        </p:spPr>
        <p:txBody>
          <a:bodyPr spcFirstLastPara="1" wrap="square" lIns="121900" tIns="121900" rIns="121900" bIns="121900" anchor="t" anchorCtr="0">
            <a:noAutofit/>
          </a:bodyPr>
          <a:lstStyle/>
          <a:p>
            <a:pPr>
              <a:buClr>
                <a:srgbClr val="000000"/>
              </a:buClr>
              <a:buSzPts val="1100"/>
            </a:pPr>
            <a:r>
              <a:rPr lang="en">
                <a:latin typeface="Arial"/>
                <a:ea typeface="Arial"/>
                <a:cs typeface="Arial"/>
                <a:sym typeface="Arial"/>
              </a:rPr>
              <a:t>Creative process I</a:t>
            </a:r>
            <a:r>
              <a:rPr lang="en">
                <a:solidFill>
                  <a:srgbClr val="FFFFFF"/>
                </a:solidFill>
                <a:latin typeface="Arial"/>
                <a:ea typeface="Arial"/>
                <a:cs typeface="Arial"/>
                <a:sym typeface="Arial"/>
              </a:rPr>
              <a:t>cons</a:t>
            </a:r>
            <a:endParaRPr>
              <a:solidFill>
                <a:srgbClr val="FFFFFF"/>
              </a:solidFill>
              <a:latin typeface="Arial"/>
              <a:ea typeface="Arial"/>
              <a:cs typeface="Arial"/>
              <a:sym typeface="Arial"/>
            </a:endParaRPr>
          </a:p>
        </p:txBody>
      </p:sp>
      <p:sp>
        <p:nvSpPr>
          <p:cNvPr id="10668" name="Google Shape;10668;p113"/>
          <p:cNvSpPr txBox="1">
            <a:spLocks noGrp="1"/>
          </p:cNvSpPr>
          <p:nvPr>
            <p:ph type="title" idx="4294967295"/>
          </p:nvPr>
        </p:nvSpPr>
        <p:spPr>
          <a:xfrm>
            <a:off x="6477867" y="1258400"/>
            <a:ext cx="4642800" cy="643200"/>
          </a:xfrm>
          <a:prstGeom prst="rect">
            <a:avLst/>
          </a:prstGeom>
        </p:spPr>
        <p:txBody>
          <a:bodyPr spcFirstLastPara="1" wrap="square" lIns="121900" tIns="121900" rIns="121900" bIns="121900" anchor="t" anchorCtr="0">
            <a:noAutofit/>
          </a:bodyPr>
          <a:lstStyle/>
          <a:p>
            <a:pPr>
              <a:buClr>
                <a:srgbClr val="000000"/>
              </a:buClr>
              <a:buSzPts val="1100"/>
            </a:pPr>
            <a:r>
              <a:rPr lang="en">
                <a:latin typeface="Arial"/>
                <a:ea typeface="Arial"/>
                <a:cs typeface="Arial"/>
                <a:sym typeface="Arial"/>
              </a:rPr>
              <a:t>Performing Arts Icons</a:t>
            </a:r>
            <a:endParaRPr>
              <a:solidFill>
                <a:srgbClr val="FFFFFF"/>
              </a:solidFill>
              <a:latin typeface="Arial"/>
              <a:ea typeface="Arial"/>
              <a:cs typeface="Arial"/>
              <a:sym typeface="Arial"/>
            </a:endParaRPr>
          </a:p>
        </p:txBody>
      </p:sp>
      <p:grpSp>
        <p:nvGrpSpPr>
          <p:cNvPr id="10669" name="Google Shape;10669;p113"/>
          <p:cNvGrpSpPr/>
          <p:nvPr/>
        </p:nvGrpSpPr>
        <p:grpSpPr>
          <a:xfrm>
            <a:off x="1185479" y="2042137"/>
            <a:ext cx="371051" cy="476048"/>
            <a:chOff x="-50489600" y="1947400"/>
            <a:chExt cx="233150" cy="299125"/>
          </a:xfrm>
        </p:grpSpPr>
        <p:sp>
          <p:nvSpPr>
            <p:cNvPr id="10670" name="Google Shape;10670;p113"/>
            <p:cNvSpPr/>
            <p:nvPr/>
          </p:nvSpPr>
          <p:spPr>
            <a:xfrm>
              <a:off x="-50382475" y="2018275"/>
              <a:ext cx="17350" cy="17350"/>
            </a:xfrm>
            <a:custGeom>
              <a:avLst/>
              <a:gdLst/>
              <a:ahLst/>
              <a:cxnLst/>
              <a:rect l="l" t="t" r="r" b="b"/>
              <a:pathLst>
                <a:path w="694" h="694" extrusionOk="0">
                  <a:moveTo>
                    <a:pt x="347" y="1"/>
                  </a:moveTo>
                  <a:cubicBezTo>
                    <a:pt x="158" y="1"/>
                    <a:pt x="0" y="158"/>
                    <a:pt x="0" y="347"/>
                  </a:cubicBezTo>
                  <a:cubicBezTo>
                    <a:pt x="0" y="536"/>
                    <a:pt x="158" y="694"/>
                    <a:pt x="347" y="694"/>
                  </a:cubicBezTo>
                  <a:cubicBezTo>
                    <a:pt x="536" y="694"/>
                    <a:pt x="693" y="536"/>
                    <a:pt x="693" y="347"/>
                  </a:cubicBezTo>
                  <a:cubicBezTo>
                    <a:pt x="693" y="158"/>
                    <a:pt x="536" y="1"/>
                    <a:pt x="347"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671" name="Google Shape;10671;p113"/>
            <p:cNvSpPr/>
            <p:nvPr/>
          </p:nvSpPr>
          <p:spPr>
            <a:xfrm>
              <a:off x="-50489600" y="1947400"/>
              <a:ext cx="233150" cy="299125"/>
            </a:xfrm>
            <a:custGeom>
              <a:avLst/>
              <a:gdLst/>
              <a:ahLst/>
              <a:cxnLst/>
              <a:rect l="l" t="t" r="r" b="b"/>
              <a:pathLst>
                <a:path w="9326" h="11965" extrusionOk="0">
                  <a:moveTo>
                    <a:pt x="4632" y="725"/>
                  </a:moveTo>
                  <a:cubicBezTo>
                    <a:pt x="4821" y="725"/>
                    <a:pt x="4978" y="882"/>
                    <a:pt x="4978" y="1071"/>
                  </a:cubicBezTo>
                  <a:lnTo>
                    <a:pt x="4978" y="1449"/>
                  </a:lnTo>
                  <a:cubicBezTo>
                    <a:pt x="4884" y="1418"/>
                    <a:pt x="4758" y="1418"/>
                    <a:pt x="4632" y="1418"/>
                  </a:cubicBezTo>
                  <a:cubicBezTo>
                    <a:pt x="4506" y="1418"/>
                    <a:pt x="4411" y="1418"/>
                    <a:pt x="4285" y="1449"/>
                  </a:cubicBezTo>
                  <a:lnTo>
                    <a:pt x="4285" y="1071"/>
                  </a:lnTo>
                  <a:cubicBezTo>
                    <a:pt x="4285" y="882"/>
                    <a:pt x="4443" y="725"/>
                    <a:pt x="4632" y="725"/>
                  </a:cubicBezTo>
                  <a:close/>
                  <a:moveTo>
                    <a:pt x="4632" y="2143"/>
                  </a:moveTo>
                  <a:cubicBezTo>
                    <a:pt x="5230" y="2143"/>
                    <a:pt x="5703" y="2615"/>
                    <a:pt x="5703" y="3182"/>
                  </a:cubicBezTo>
                  <a:cubicBezTo>
                    <a:pt x="5703" y="3781"/>
                    <a:pt x="5230" y="4253"/>
                    <a:pt x="4632" y="4253"/>
                  </a:cubicBezTo>
                  <a:cubicBezTo>
                    <a:pt x="4033" y="4253"/>
                    <a:pt x="3592" y="3781"/>
                    <a:pt x="3592" y="3182"/>
                  </a:cubicBezTo>
                  <a:cubicBezTo>
                    <a:pt x="3592" y="2615"/>
                    <a:pt x="4033" y="2143"/>
                    <a:pt x="4632" y="2143"/>
                  </a:cubicBezTo>
                  <a:close/>
                  <a:moveTo>
                    <a:pt x="4632" y="5356"/>
                  </a:moveTo>
                  <a:lnTo>
                    <a:pt x="6018" y="8191"/>
                  </a:lnTo>
                  <a:cubicBezTo>
                    <a:pt x="5671" y="8349"/>
                    <a:pt x="5356" y="8443"/>
                    <a:pt x="4978" y="8443"/>
                  </a:cubicBezTo>
                  <a:lnTo>
                    <a:pt x="4978" y="8065"/>
                  </a:lnTo>
                  <a:cubicBezTo>
                    <a:pt x="4978" y="7876"/>
                    <a:pt x="4821" y="7719"/>
                    <a:pt x="4632" y="7719"/>
                  </a:cubicBezTo>
                  <a:cubicBezTo>
                    <a:pt x="4443" y="7719"/>
                    <a:pt x="4285" y="7876"/>
                    <a:pt x="4285" y="8065"/>
                  </a:cubicBezTo>
                  <a:lnTo>
                    <a:pt x="4285" y="8443"/>
                  </a:lnTo>
                  <a:cubicBezTo>
                    <a:pt x="3939" y="8380"/>
                    <a:pt x="3592" y="8317"/>
                    <a:pt x="3246" y="8191"/>
                  </a:cubicBezTo>
                  <a:lnTo>
                    <a:pt x="4632" y="5356"/>
                  </a:lnTo>
                  <a:close/>
                  <a:moveTo>
                    <a:pt x="3466" y="4505"/>
                  </a:moveTo>
                  <a:cubicBezTo>
                    <a:pt x="3624" y="4663"/>
                    <a:pt x="3844" y="4757"/>
                    <a:pt x="4096" y="4852"/>
                  </a:cubicBezTo>
                  <a:cubicBezTo>
                    <a:pt x="4033" y="5009"/>
                    <a:pt x="1481" y="10271"/>
                    <a:pt x="1450" y="10365"/>
                  </a:cubicBezTo>
                  <a:cubicBezTo>
                    <a:pt x="1381" y="10504"/>
                    <a:pt x="1261" y="10591"/>
                    <a:pt x="1127" y="10591"/>
                  </a:cubicBezTo>
                  <a:cubicBezTo>
                    <a:pt x="1078" y="10591"/>
                    <a:pt x="1028" y="10580"/>
                    <a:pt x="977" y="10554"/>
                  </a:cubicBezTo>
                  <a:cubicBezTo>
                    <a:pt x="820" y="10491"/>
                    <a:pt x="694" y="10271"/>
                    <a:pt x="788" y="10082"/>
                  </a:cubicBezTo>
                  <a:lnTo>
                    <a:pt x="3466" y="4505"/>
                  </a:lnTo>
                  <a:close/>
                  <a:moveTo>
                    <a:pt x="5829" y="4537"/>
                  </a:moveTo>
                  <a:lnTo>
                    <a:pt x="8507" y="10113"/>
                  </a:lnTo>
                  <a:cubicBezTo>
                    <a:pt x="8570" y="10271"/>
                    <a:pt x="8507" y="10523"/>
                    <a:pt x="8318" y="10586"/>
                  </a:cubicBezTo>
                  <a:cubicBezTo>
                    <a:pt x="8271" y="10599"/>
                    <a:pt x="8225" y="10606"/>
                    <a:pt x="8181" y="10606"/>
                  </a:cubicBezTo>
                  <a:cubicBezTo>
                    <a:pt x="8021" y="10606"/>
                    <a:pt x="7888" y="10521"/>
                    <a:pt x="7814" y="10397"/>
                  </a:cubicBezTo>
                  <a:cubicBezTo>
                    <a:pt x="7719" y="10176"/>
                    <a:pt x="5293" y="5167"/>
                    <a:pt x="5199" y="4883"/>
                  </a:cubicBezTo>
                  <a:cubicBezTo>
                    <a:pt x="5419" y="4820"/>
                    <a:pt x="5608" y="4694"/>
                    <a:pt x="5829" y="4537"/>
                  </a:cubicBezTo>
                  <a:close/>
                  <a:moveTo>
                    <a:pt x="4632" y="0"/>
                  </a:moveTo>
                  <a:cubicBezTo>
                    <a:pt x="4033" y="0"/>
                    <a:pt x="3592" y="473"/>
                    <a:pt x="3592" y="1071"/>
                  </a:cubicBezTo>
                  <a:lnTo>
                    <a:pt x="3592" y="1764"/>
                  </a:lnTo>
                  <a:cubicBezTo>
                    <a:pt x="3151" y="2080"/>
                    <a:pt x="2867" y="2584"/>
                    <a:pt x="2867" y="3182"/>
                  </a:cubicBezTo>
                  <a:cubicBezTo>
                    <a:pt x="2867" y="3434"/>
                    <a:pt x="2899" y="3655"/>
                    <a:pt x="3025" y="3875"/>
                  </a:cubicBezTo>
                  <a:lnTo>
                    <a:pt x="1576" y="6900"/>
                  </a:lnTo>
                  <a:cubicBezTo>
                    <a:pt x="1355" y="6648"/>
                    <a:pt x="1229" y="6396"/>
                    <a:pt x="1103" y="6081"/>
                  </a:cubicBezTo>
                  <a:cubicBezTo>
                    <a:pt x="1032" y="5914"/>
                    <a:pt x="906" y="5837"/>
                    <a:pt x="767" y="5837"/>
                  </a:cubicBezTo>
                  <a:cubicBezTo>
                    <a:pt x="722" y="5837"/>
                    <a:pt x="676" y="5845"/>
                    <a:pt x="631" y="5860"/>
                  </a:cubicBezTo>
                  <a:cubicBezTo>
                    <a:pt x="442" y="5955"/>
                    <a:pt x="347" y="6144"/>
                    <a:pt x="442" y="6333"/>
                  </a:cubicBezTo>
                  <a:cubicBezTo>
                    <a:pt x="631" y="6805"/>
                    <a:pt x="883" y="7215"/>
                    <a:pt x="1229" y="7593"/>
                  </a:cubicBezTo>
                  <a:lnTo>
                    <a:pt x="158" y="9798"/>
                  </a:lnTo>
                  <a:cubicBezTo>
                    <a:pt x="1" y="10208"/>
                    <a:pt x="64" y="10649"/>
                    <a:pt x="347" y="10964"/>
                  </a:cubicBezTo>
                  <a:lnTo>
                    <a:pt x="95" y="11468"/>
                  </a:lnTo>
                  <a:cubicBezTo>
                    <a:pt x="32" y="11625"/>
                    <a:pt x="95" y="11846"/>
                    <a:pt x="253" y="11941"/>
                  </a:cubicBezTo>
                  <a:cubicBezTo>
                    <a:pt x="293" y="11957"/>
                    <a:pt x="340" y="11965"/>
                    <a:pt x="389" y="11965"/>
                  </a:cubicBezTo>
                  <a:cubicBezTo>
                    <a:pt x="528" y="11965"/>
                    <a:pt x="678" y="11900"/>
                    <a:pt x="725" y="11783"/>
                  </a:cubicBezTo>
                  <a:lnTo>
                    <a:pt x="977" y="11247"/>
                  </a:lnTo>
                  <a:cubicBezTo>
                    <a:pt x="1027" y="11255"/>
                    <a:pt x="1077" y="11258"/>
                    <a:pt x="1127" y="11258"/>
                  </a:cubicBezTo>
                  <a:cubicBezTo>
                    <a:pt x="1521" y="11258"/>
                    <a:pt x="1912" y="11040"/>
                    <a:pt x="2080" y="10649"/>
                  </a:cubicBezTo>
                  <a:lnTo>
                    <a:pt x="2930" y="8822"/>
                  </a:lnTo>
                  <a:cubicBezTo>
                    <a:pt x="3372" y="8979"/>
                    <a:pt x="3813" y="9105"/>
                    <a:pt x="4285" y="9137"/>
                  </a:cubicBezTo>
                  <a:lnTo>
                    <a:pt x="4285" y="9483"/>
                  </a:lnTo>
                  <a:cubicBezTo>
                    <a:pt x="4285" y="9704"/>
                    <a:pt x="4443" y="9861"/>
                    <a:pt x="4632" y="9861"/>
                  </a:cubicBezTo>
                  <a:cubicBezTo>
                    <a:pt x="4821" y="9861"/>
                    <a:pt x="4978" y="9704"/>
                    <a:pt x="4978" y="9483"/>
                  </a:cubicBezTo>
                  <a:lnTo>
                    <a:pt x="4978" y="9137"/>
                  </a:lnTo>
                  <a:cubicBezTo>
                    <a:pt x="5451" y="9105"/>
                    <a:pt x="5892" y="9011"/>
                    <a:pt x="6333" y="8822"/>
                  </a:cubicBezTo>
                  <a:lnTo>
                    <a:pt x="7184" y="10649"/>
                  </a:lnTo>
                  <a:cubicBezTo>
                    <a:pt x="7382" y="11016"/>
                    <a:pt x="7732" y="11257"/>
                    <a:pt x="8143" y="11257"/>
                  </a:cubicBezTo>
                  <a:cubicBezTo>
                    <a:pt x="8190" y="11257"/>
                    <a:pt x="8238" y="11254"/>
                    <a:pt x="8286" y="11247"/>
                  </a:cubicBezTo>
                  <a:lnTo>
                    <a:pt x="8538" y="11783"/>
                  </a:lnTo>
                  <a:cubicBezTo>
                    <a:pt x="8585" y="11900"/>
                    <a:pt x="8718" y="11965"/>
                    <a:pt x="8861" y="11965"/>
                  </a:cubicBezTo>
                  <a:cubicBezTo>
                    <a:pt x="8911" y="11965"/>
                    <a:pt x="8962" y="11957"/>
                    <a:pt x="9011" y="11941"/>
                  </a:cubicBezTo>
                  <a:cubicBezTo>
                    <a:pt x="9168" y="11846"/>
                    <a:pt x="9231" y="11657"/>
                    <a:pt x="9168" y="11468"/>
                  </a:cubicBezTo>
                  <a:lnTo>
                    <a:pt x="8916" y="10964"/>
                  </a:lnTo>
                  <a:cubicBezTo>
                    <a:pt x="9200" y="10649"/>
                    <a:pt x="9326" y="10208"/>
                    <a:pt x="9137" y="9798"/>
                  </a:cubicBezTo>
                  <a:lnTo>
                    <a:pt x="8066" y="7593"/>
                  </a:lnTo>
                  <a:cubicBezTo>
                    <a:pt x="8381" y="7246"/>
                    <a:pt x="8664" y="6805"/>
                    <a:pt x="8853" y="6333"/>
                  </a:cubicBezTo>
                  <a:cubicBezTo>
                    <a:pt x="8916" y="6144"/>
                    <a:pt x="8853" y="5955"/>
                    <a:pt x="8664" y="5860"/>
                  </a:cubicBezTo>
                  <a:cubicBezTo>
                    <a:pt x="8611" y="5845"/>
                    <a:pt x="8559" y="5837"/>
                    <a:pt x="8511" y="5837"/>
                  </a:cubicBezTo>
                  <a:cubicBezTo>
                    <a:pt x="8360" y="5837"/>
                    <a:pt x="8240" y="5914"/>
                    <a:pt x="8192" y="6081"/>
                  </a:cubicBezTo>
                  <a:cubicBezTo>
                    <a:pt x="8066" y="6333"/>
                    <a:pt x="7908" y="6616"/>
                    <a:pt x="7719" y="6900"/>
                  </a:cubicBezTo>
                  <a:lnTo>
                    <a:pt x="6270" y="3875"/>
                  </a:lnTo>
                  <a:cubicBezTo>
                    <a:pt x="6333" y="3655"/>
                    <a:pt x="6396" y="3434"/>
                    <a:pt x="6396" y="3182"/>
                  </a:cubicBezTo>
                  <a:cubicBezTo>
                    <a:pt x="6396" y="2584"/>
                    <a:pt x="6144" y="2080"/>
                    <a:pt x="5703" y="1764"/>
                  </a:cubicBezTo>
                  <a:lnTo>
                    <a:pt x="5703" y="1071"/>
                  </a:lnTo>
                  <a:cubicBezTo>
                    <a:pt x="5703" y="473"/>
                    <a:pt x="5230" y="0"/>
                    <a:pt x="4632"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10672" name="Google Shape;10672;p113"/>
          <p:cNvGrpSpPr/>
          <p:nvPr/>
        </p:nvGrpSpPr>
        <p:grpSpPr>
          <a:xfrm>
            <a:off x="1132822" y="2648747"/>
            <a:ext cx="476365" cy="477599"/>
            <a:chOff x="-50523475" y="2316000"/>
            <a:chExt cx="299325" cy="300100"/>
          </a:xfrm>
        </p:grpSpPr>
        <p:sp>
          <p:nvSpPr>
            <p:cNvPr id="10673" name="Google Shape;10673;p113"/>
            <p:cNvSpPr/>
            <p:nvPr/>
          </p:nvSpPr>
          <p:spPr>
            <a:xfrm>
              <a:off x="-50453375" y="2387675"/>
              <a:ext cx="158350" cy="228425"/>
            </a:xfrm>
            <a:custGeom>
              <a:avLst/>
              <a:gdLst/>
              <a:ahLst/>
              <a:cxnLst/>
              <a:rect l="l" t="t" r="r" b="b"/>
              <a:pathLst>
                <a:path w="6334" h="9137" extrusionOk="0">
                  <a:moveTo>
                    <a:pt x="3183" y="4222"/>
                  </a:moveTo>
                  <a:cubicBezTo>
                    <a:pt x="3372" y="4222"/>
                    <a:pt x="3529" y="4380"/>
                    <a:pt x="3529" y="4569"/>
                  </a:cubicBezTo>
                  <a:cubicBezTo>
                    <a:pt x="3529" y="4758"/>
                    <a:pt x="3372" y="4915"/>
                    <a:pt x="3183" y="4915"/>
                  </a:cubicBezTo>
                  <a:cubicBezTo>
                    <a:pt x="2994" y="4915"/>
                    <a:pt x="2836" y="4758"/>
                    <a:pt x="2836" y="4569"/>
                  </a:cubicBezTo>
                  <a:cubicBezTo>
                    <a:pt x="2836" y="4380"/>
                    <a:pt x="2994" y="4222"/>
                    <a:pt x="3183" y="4222"/>
                  </a:cubicBezTo>
                  <a:close/>
                  <a:moveTo>
                    <a:pt x="3183" y="1009"/>
                  </a:moveTo>
                  <a:lnTo>
                    <a:pt x="5609" y="5230"/>
                  </a:lnTo>
                  <a:lnTo>
                    <a:pt x="4411" y="6994"/>
                  </a:lnTo>
                  <a:lnTo>
                    <a:pt x="3529" y="6994"/>
                  </a:lnTo>
                  <a:lnTo>
                    <a:pt x="3529" y="5545"/>
                  </a:lnTo>
                  <a:cubicBezTo>
                    <a:pt x="3939" y="5388"/>
                    <a:pt x="4254" y="5010"/>
                    <a:pt x="4254" y="4569"/>
                  </a:cubicBezTo>
                  <a:cubicBezTo>
                    <a:pt x="4254" y="3970"/>
                    <a:pt x="3781" y="3497"/>
                    <a:pt x="3183" y="3497"/>
                  </a:cubicBezTo>
                  <a:cubicBezTo>
                    <a:pt x="2584" y="3497"/>
                    <a:pt x="2143" y="3970"/>
                    <a:pt x="2143" y="4569"/>
                  </a:cubicBezTo>
                  <a:cubicBezTo>
                    <a:pt x="2143" y="5041"/>
                    <a:pt x="2395" y="5419"/>
                    <a:pt x="2836" y="5545"/>
                  </a:cubicBezTo>
                  <a:lnTo>
                    <a:pt x="2836" y="6994"/>
                  </a:lnTo>
                  <a:lnTo>
                    <a:pt x="1986" y="6994"/>
                  </a:lnTo>
                  <a:lnTo>
                    <a:pt x="788" y="5230"/>
                  </a:lnTo>
                  <a:lnTo>
                    <a:pt x="3183" y="1009"/>
                  </a:lnTo>
                  <a:close/>
                  <a:moveTo>
                    <a:pt x="4600" y="7688"/>
                  </a:moveTo>
                  <a:cubicBezTo>
                    <a:pt x="4821" y="7688"/>
                    <a:pt x="4947" y="7845"/>
                    <a:pt x="4947" y="8034"/>
                  </a:cubicBezTo>
                  <a:lnTo>
                    <a:pt x="4947" y="8412"/>
                  </a:lnTo>
                  <a:lnTo>
                    <a:pt x="1450" y="8412"/>
                  </a:lnTo>
                  <a:lnTo>
                    <a:pt x="1450" y="8034"/>
                  </a:lnTo>
                  <a:cubicBezTo>
                    <a:pt x="1450" y="7845"/>
                    <a:pt x="1607" y="7688"/>
                    <a:pt x="1797" y="7688"/>
                  </a:cubicBezTo>
                  <a:close/>
                  <a:moveTo>
                    <a:pt x="3183" y="0"/>
                  </a:moveTo>
                  <a:cubicBezTo>
                    <a:pt x="3057" y="0"/>
                    <a:pt x="2962" y="63"/>
                    <a:pt x="2868" y="158"/>
                  </a:cubicBezTo>
                  <a:lnTo>
                    <a:pt x="64" y="5073"/>
                  </a:lnTo>
                  <a:cubicBezTo>
                    <a:pt x="1" y="5199"/>
                    <a:pt x="1" y="5356"/>
                    <a:pt x="64" y="5419"/>
                  </a:cubicBezTo>
                  <a:lnTo>
                    <a:pt x="1229" y="7152"/>
                  </a:lnTo>
                  <a:cubicBezTo>
                    <a:pt x="914" y="7373"/>
                    <a:pt x="694" y="7688"/>
                    <a:pt x="694" y="8066"/>
                  </a:cubicBezTo>
                  <a:lnTo>
                    <a:pt x="694" y="8790"/>
                  </a:lnTo>
                  <a:cubicBezTo>
                    <a:pt x="694" y="8979"/>
                    <a:pt x="851" y="9137"/>
                    <a:pt x="1072" y="9137"/>
                  </a:cubicBezTo>
                  <a:lnTo>
                    <a:pt x="5262" y="9137"/>
                  </a:lnTo>
                  <a:cubicBezTo>
                    <a:pt x="5483" y="9137"/>
                    <a:pt x="5640" y="8979"/>
                    <a:pt x="5640" y="8790"/>
                  </a:cubicBezTo>
                  <a:lnTo>
                    <a:pt x="5640" y="8066"/>
                  </a:lnTo>
                  <a:cubicBezTo>
                    <a:pt x="5640" y="7688"/>
                    <a:pt x="5420" y="7373"/>
                    <a:pt x="5105" y="7152"/>
                  </a:cubicBezTo>
                  <a:lnTo>
                    <a:pt x="6270" y="5419"/>
                  </a:lnTo>
                  <a:cubicBezTo>
                    <a:pt x="6333" y="5325"/>
                    <a:pt x="6333" y="5199"/>
                    <a:pt x="6270" y="5073"/>
                  </a:cubicBezTo>
                  <a:lnTo>
                    <a:pt x="3498" y="158"/>
                  </a:lnTo>
                  <a:cubicBezTo>
                    <a:pt x="3435" y="32"/>
                    <a:pt x="3309" y="0"/>
                    <a:pt x="3183"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674" name="Google Shape;10674;p113"/>
            <p:cNvSpPr/>
            <p:nvPr/>
          </p:nvSpPr>
          <p:spPr>
            <a:xfrm>
              <a:off x="-50523475" y="2316000"/>
              <a:ext cx="299325" cy="178025"/>
            </a:xfrm>
            <a:custGeom>
              <a:avLst/>
              <a:gdLst/>
              <a:ahLst/>
              <a:cxnLst/>
              <a:rect l="l" t="t" r="r" b="b"/>
              <a:pathLst>
                <a:path w="11973" h="7121" extrusionOk="0">
                  <a:moveTo>
                    <a:pt x="1072" y="694"/>
                  </a:moveTo>
                  <a:cubicBezTo>
                    <a:pt x="1261" y="694"/>
                    <a:pt x="1419" y="851"/>
                    <a:pt x="1419" y="1040"/>
                  </a:cubicBezTo>
                  <a:cubicBezTo>
                    <a:pt x="1419" y="1229"/>
                    <a:pt x="1261" y="1418"/>
                    <a:pt x="1072" y="1418"/>
                  </a:cubicBezTo>
                  <a:cubicBezTo>
                    <a:pt x="883" y="1418"/>
                    <a:pt x="725" y="1229"/>
                    <a:pt x="725" y="1040"/>
                  </a:cubicBezTo>
                  <a:cubicBezTo>
                    <a:pt x="725" y="851"/>
                    <a:pt x="883" y="694"/>
                    <a:pt x="1072" y="694"/>
                  </a:cubicBezTo>
                  <a:close/>
                  <a:moveTo>
                    <a:pt x="6333" y="694"/>
                  </a:moveTo>
                  <a:lnTo>
                    <a:pt x="6333" y="1418"/>
                  </a:lnTo>
                  <a:lnTo>
                    <a:pt x="5640" y="1418"/>
                  </a:lnTo>
                  <a:lnTo>
                    <a:pt x="5640" y="694"/>
                  </a:lnTo>
                  <a:close/>
                  <a:moveTo>
                    <a:pt x="10902" y="725"/>
                  </a:moveTo>
                  <a:cubicBezTo>
                    <a:pt x="11122" y="725"/>
                    <a:pt x="11280" y="883"/>
                    <a:pt x="11280" y="1103"/>
                  </a:cubicBezTo>
                  <a:cubicBezTo>
                    <a:pt x="11280" y="1292"/>
                    <a:pt x="11122" y="1450"/>
                    <a:pt x="10902" y="1450"/>
                  </a:cubicBezTo>
                  <a:cubicBezTo>
                    <a:pt x="10712" y="1450"/>
                    <a:pt x="10555" y="1292"/>
                    <a:pt x="10555" y="1103"/>
                  </a:cubicBezTo>
                  <a:cubicBezTo>
                    <a:pt x="10586" y="883"/>
                    <a:pt x="10744" y="725"/>
                    <a:pt x="10902" y="725"/>
                  </a:cubicBezTo>
                  <a:close/>
                  <a:moveTo>
                    <a:pt x="2143" y="5640"/>
                  </a:moveTo>
                  <a:lnTo>
                    <a:pt x="2143" y="6364"/>
                  </a:lnTo>
                  <a:lnTo>
                    <a:pt x="1419" y="6364"/>
                  </a:lnTo>
                  <a:lnTo>
                    <a:pt x="1419" y="5640"/>
                  </a:lnTo>
                  <a:close/>
                  <a:moveTo>
                    <a:pt x="10555" y="5640"/>
                  </a:moveTo>
                  <a:lnTo>
                    <a:pt x="10555" y="6364"/>
                  </a:lnTo>
                  <a:lnTo>
                    <a:pt x="9862" y="6364"/>
                  </a:lnTo>
                  <a:lnTo>
                    <a:pt x="9862" y="5640"/>
                  </a:lnTo>
                  <a:close/>
                  <a:moveTo>
                    <a:pt x="10902" y="0"/>
                  </a:moveTo>
                  <a:cubicBezTo>
                    <a:pt x="10460" y="0"/>
                    <a:pt x="10051" y="252"/>
                    <a:pt x="9925" y="694"/>
                  </a:cubicBezTo>
                  <a:lnTo>
                    <a:pt x="7058" y="694"/>
                  </a:lnTo>
                  <a:lnTo>
                    <a:pt x="7058" y="379"/>
                  </a:lnTo>
                  <a:cubicBezTo>
                    <a:pt x="7058" y="189"/>
                    <a:pt x="6900" y="32"/>
                    <a:pt x="6711" y="32"/>
                  </a:cubicBezTo>
                  <a:lnTo>
                    <a:pt x="5294" y="32"/>
                  </a:lnTo>
                  <a:cubicBezTo>
                    <a:pt x="5073" y="32"/>
                    <a:pt x="4947" y="189"/>
                    <a:pt x="4947" y="379"/>
                  </a:cubicBezTo>
                  <a:lnTo>
                    <a:pt x="4947" y="725"/>
                  </a:lnTo>
                  <a:lnTo>
                    <a:pt x="2049" y="725"/>
                  </a:lnTo>
                  <a:cubicBezTo>
                    <a:pt x="1891" y="347"/>
                    <a:pt x="1513" y="32"/>
                    <a:pt x="1072" y="32"/>
                  </a:cubicBezTo>
                  <a:cubicBezTo>
                    <a:pt x="473" y="32"/>
                    <a:pt x="1" y="505"/>
                    <a:pt x="1" y="1072"/>
                  </a:cubicBezTo>
                  <a:cubicBezTo>
                    <a:pt x="1" y="1670"/>
                    <a:pt x="473" y="2143"/>
                    <a:pt x="1072" y="2143"/>
                  </a:cubicBezTo>
                  <a:cubicBezTo>
                    <a:pt x="1545" y="2143"/>
                    <a:pt x="1923" y="1828"/>
                    <a:pt x="2049" y="1450"/>
                  </a:cubicBezTo>
                  <a:lnTo>
                    <a:pt x="3592" y="1450"/>
                  </a:lnTo>
                  <a:cubicBezTo>
                    <a:pt x="3183" y="1670"/>
                    <a:pt x="2836" y="1985"/>
                    <a:pt x="2521" y="2332"/>
                  </a:cubicBezTo>
                  <a:cubicBezTo>
                    <a:pt x="1891" y="3088"/>
                    <a:pt x="1545" y="4002"/>
                    <a:pt x="1450" y="4978"/>
                  </a:cubicBezTo>
                  <a:lnTo>
                    <a:pt x="1103" y="4978"/>
                  </a:lnTo>
                  <a:cubicBezTo>
                    <a:pt x="914" y="4978"/>
                    <a:pt x="757" y="5136"/>
                    <a:pt x="757" y="5325"/>
                  </a:cubicBezTo>
                  <a:lnTo>
                    <a:pt x="757" y="6742"/>
                  </a:lnTo>
                  <a:cubicBezTo>
                    <a:pt x="757" y="6963"/>
                    <a:pt x="914" y="7121"/>
                    <a:pt x="1103" y="7121"/>
                  </a:cubicBezTo>
                  <a:lnTo>
                    <a:pt x="2521" y="7121"/>
                  </a:lnTo>
                  <a:cubicBezTo>
                    <a:pt x="2742" y="7121"/>
                    <a:pt x="2899" y="6963"/>
                    <a:pt x="2899" y="6742"/>
                  </a:cubicBezTo>
                  <a:lnTo>
                    <a:pt x="2899" y="5325"/>
                  </a:lnTo>
                  <a:cubicBezTo>
                    <a:pt x="2899" y="5136"/>
                    <a:pt x="2742" y="4978"/>
                    <a:pt x="2521" y="4978"/>
                  </a:cubicBezTo>
                  <a:lnTo>
                    <a:pt x="2175" y="4978"/>
                  </a:lnTo>
                  <a:cubicBezTo>
                    <a:pt x="2332" y="3403"/>
                    <a:pt x="3435" y="2017"/>
                    <a:pt x="4979" y="1607"/>
                  </a:cubicBezTo>
                  <a:lnTo>
                    <a:pt x="4979" y="1796"/>
                  </a:lnTo>
                  <a:cubicBezTo>
                    <a:pt x="4979" y="1985"/>
                    <a:pt x="5136" y="2143"/>
                    <a:pt x="5325" y="2143"/>
                  </a:cubicBezTo>
                  <a:lnTo>
                    <a:pt x="6743" y="2143"/>
                  </a:lnTo>
                  <a:cubicBezTo>
                    <a:pt x="6932" y="2143"/>
                    <a:pt x="7089" y="1985"/>
                    <a:pt x="7089" y="1796"/>
                  </a:cubicBezTo>
                  <a:lnTo>
                    <a:pt x="7089" y="1576"/>
                  </a:lnTo>
                  <a:cubicBezTo>
                    <a:pt x="8633" y="1985"/>
                    <a:pt x="9736" y="3371"/>
                    <a:pt x="9893" y="4947"/>
                  </a:cubicBezTo>
                  <a:lnTo>
                    <a:pt x="9547" y="4947"/>
                  </a:lnTo>
                  <a:cubicBezTo>
                    <a:pt x="9358" y="4947"/>
                    <a:pt x="9200" y="5104"/>
                    <a:pt x="9200" y="5293"/>
                  </a:cubicBezTo>
                  <a:lnTo>
                    <a:pt x="9200" y="6711"/>
                  </a:lnTo>
                  <a:cubicBezTo>
                    <a:pt x="9200" y="6932"/>
                    <a:pt x="9358" y="7089"/>
                    <a:pt x="9547" y="7089"/>
                  </a:cubicBezTo>
                  <a:lnTo>
                    <a:pt x="10965" y="7089"/>
                  </a:lnTo>
                  <a:cubicBezTo>
                    <a:pt x="11154" y="7089"/>
                    <a:pt x="11311" y="6932"/>
                    <a:pt x="11311" y="6711"/>
                  </a:cubicBezTo>
                  <a:lnTo>
                    <a:pt x="11311" y="5293"/>
                  </a:lnTo>
                  <a:cubicBezTo>
                    <a:pt x="11311" y="5104"/>
                    <a:pt x="11154" y="4947"/>
                    <a:pt x="10965" y="4947"/>
                  </a:cubicBezTo>
                  <a:lnTo>
                    <a:pt x="10618" y="4947"/>
                  </a:lnTo>
                  <a:cubicBezTo>
                    <a:pt x="10523" y="4002"/>
                    <a:pt x="10177" y="3056"/>
                    <a:pt x="9547" y="2300"/>
                  </a:cubicBezTo>
                  <a:cubicBezTo>
                    <a:pt x="9232" y="1954"/>
                    <a:pt x="8885" y="1639"/>
                    <a:pt x="8476" y="1418"/>
                  </a:cubicBezTo>
                  <a:lnTo>
                    <a:pt x="10019" y="1418"/>
                  </a:lnTo>
                  <a:cubicBezTo>
                    <a:pt x="10082" y="1828"/>
                    <a:pt x="10492" y="2111"/>
                    <a:pt x="10902" y="2111"/>
                  </a:cubicBezTo>
                  <a:cubicBezTo>
                    <a:pt x="11500" y="2111"/>
                    <a:pt x="11973" y="1639"/>
                    <a:pt x="11973" y="1040"/>
                  </a:cubicBezTo>
                  <a:cubicBezTo>
                    <a:pt x="11973" y="473"/>
                    <a:pt x="11500" y="0"/>
                    <a:pt x="10902"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10675" name="Google Shape;10675;p113"/>
          <p:cNvGrpSpPr/>
          <p:nvPr/>
        </p:nvGrpSpPr>
        <p:grpSpPr>
          <a:xfrm>
            <a:off x="1130952" y="3247826"/>
            <a:ext cx="480105" cy="476405"/>
            <a:chOff x="-50524250" y="2686150"/>
            <a:chExt cx="301675" cy="299350"/>
          </a:xfrm>
        </p:grpSpPr>
        <p:sp>
          <p:nvSpPr>
            <p:cNvPr id="10676" name="Google Shape;10676;p113"/>
            <p:cNvSpPr/>
            <p:nvPr/>
          </p:nvSpPr>
          <p:spPr>
            <a:xfrm>
              <a:off x="-50488025" y="2792500"/>
              <a:ext cx="18150" cy="52800"/>
            </a:xfrm>
            <a:custGeom>
              <a:avLst/>
              <a:gdLst/>
              <a:ahLst/>
              <a:cxnLst/>
              <a:rect l="l" t="t" r="r" b="b"/>
              <a:pathLst>
                <a:path w="726" h="2112" extrusionOk="0">
                  <a:moveTo>
                    <a:pt x="379" y="1"/>
                  </a:moveTo>
                  <a:cubicBezTo>
                    <a:pt x="158" y="1"/>
                    <a:pt x="1" y="158"/>
                    <a:pt x="1" y="347"/>
                  </a:cubicBezTo>
                  <a:lnTo>
                    <a:pt x="1" y="1765"/>
                  </a:lnTo>
                  <a:cubicBezTo>
                    <a:pt x="1" y="1954"/>
                    <a:pt x="158" y="2112"/>
                    <a:pt x="379" y="2112"/>
                  </a:cubicBezTo>
                  <a:cubicBezTo>
                    <a:pt x="568" y="2112"/>
                    <a:pt x="725" y="1954"/>
                    <a:pt x="725" y="1765"/>
                  </a:cubicBezTo>
                  <a:lnTo>
                    <a:pt x="725" y="347"/>
                  </a:lnTo>
                  <a:cubicBezTo>
                    <a:pt x="725" y="158"/>
                    <a:pt x="568" y="1"/>
                    <a:pt x="379"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677" name="Google Shape;10677;p113"/>
            <p:cNvSpPr/>
            <p:nvPr/>
          </p:nvSpPr>
          <p:spPr>
            <a:xfrm>
              <a:off x="-50488025" y="2897250"/>
              <a:ext cx="18150" cy="53600"/>
            </a:xfrm>
            <a:custGeom>
              <a:avLst/>
              <a:gdLst/>
              <a:ahLst/>
              <a:cxnLst/>
              <a:rect l="l" t="t" r="r" b="b"/>
              <a:pathLst>
                <a:path w="726" h="2144" extrusionOk="0">
                  <a:moveTo>
                    <a:pt x="379" y="1"/>
                  </a:moveTo>
                  <a:cubicBezTo>
                    <a:pt x="158" y="1"/>
                    <a:pt x="1" y="159"/>
                    <a:pt x="1" y="379"/>
                  </a:cubicBezTo>
                  <a:lnTo>
                    <a:pt x="1" y="1797"/>
                  </a:lnTo>
                  <a:cubicBezTo>
                    <a:pt x="1" y="1986"/>
                    <a:pt x="158" y="2143"/>
                    <a:pt x="379" y="2143"/>
                  </a:cubicBezTo>
                  <a:cubicBezTo>
                    <a:pt x="568" y="2143"/>
                    <a:pt x="725" y="1986"/>
                    <a:pt x="725" y="1797"/>
                  </a:cubicBezTo>
                  <a:lnTo>
                    <a:pt x="725" y="379"/>
                  </a:lnTo>
                  <a:cubicBezTo>
                    <a:pt x="725" y="159"/>
                    <a:pt x="568" y="1"/>
                    <a:pt x="379"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678" name="Google Shape;10678;p113"/>
            <p:cNvSpPr/>
            <p:nvPr/>
          </p:nvSpPr>
          <p:spPr>
            <a:xfrm>
              <a:off x="-50488025" y="2861825"/>
              <a:ext cx="18150" cy="18125"/>
            </a:xfrm>
            <a:custGeom>
              <a:avLst/>
              <a:gdLst/>
              <a:ahLst/>
              <a:cxnLst/>
              <a:rect l="l" t="t" r="r" b="b"/>
              <a:pathLst>
                <a:path w="726" h="725" extrusionOk="0">
                  <a:moveTo>
                    <a:pt x="379" y="0"/>
                  </a:moveTo>
                  <a:cubicBezTo>
                    <a:pt x="158" y="0"/>
                    <a:pt x="1" y="158"/>
                    <a:pt x="1" y="347"/>
                  </a:cubicBezTo>
                  <a:cubicBezTo>
                    <a:pt x="1" y="567"/>
                    <a:pt x="158" y="725"/>
                    <a:pt x="379" y="725"/>
                  </a:cubicBezTo>
                  <a:cubicBezTo>
                    <a:pt x="568" y="725"/>
                    <a:pt x="725" y="567"/>
                    <a:pt x="725" y="347"/>
                  </a:cubicBezTo>
                  <a:cubicBezTo>
                    <a:pt x="725" y="158"/>
                    <a:pt x="568" y="0"/>
                    <a:pt x="379"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679" name="Google Shape;10679;p113"/>
            <p:cNvSpPr/>
            <p:nvPr/>
          </p:nvSpPr>
          <p:spPr>
            <a:xfrm>
              <a:off x="-50524250" y="2686150"/>
              <a:ext cx="301675" cy="52825"/>
            </a:xfrm>
            <a:custGeom>
              <a:avLst/>
              <a:gdLst/>
              <a:ahLst/>
              <a:cxnLst/>
              <a:rect l="l" t="t" r="r" b="b"/>
              <a:pathLst>
                <a:path w="12067" h="2113" extrusionOk="0">
                  <a:moveTo>
                    <a:pt x="2143" y="695"/>
                  </a:moveTo>
                  <a:lnTo>
                    <a:pt x="2143" y="1419"/>
                  </a:lnTo>
                  <a:lnTo>
                    <a:pt x="1891" y="1419"/>
                  </a:lnTo>
                  <a:lnTo>
                    <a:pt x="1166" y="1041"/>
                  </a:lnTo>
                  <a:lnTo>
                    <a:pt x="1891" y="695"/>
                  </a:lnTo>
                  <a:close/>
                  <a:moveTo>
                    <a:pt x="9924" y="695"/>
                  </a:moveTo>
                  <a:lnTo>
                    <a:pt x="9924" y="1419"/>
                  </a:lnTo>
                  <a:lnTo>
                    <a:pt x="2836" y="1419"/>
                  </a:lnTo>
                  <a:lnTo>
                    <a:pt x="2836" y="695"/>
                  </a:lnTo>
                  <a:close/>
                  <a:moveTo>
                    <a:pt x="10996" y="695"/>
                  </a:moveTo>
                  <a:cubicBezTo>
                    <a:pt x="11185" y="695"/>
                    <a:pt x="11342" y="852"/>
                    <a:pt x="11342" y="1041"/>
                  </a:cubicBezTo>
                  <a:cubicBezTo>
                    <a:pt x="11342" y="1262"/>
                    <a:pt x="11185" y="1419"/>
                    <a:pt x="10996" y="1419"/>
                  </a:cubicBezTo>
                  <a:lnTo>
                    <a:pt x="10649" y="1419"/>
                  </a:lnTo>
                  <a:lnTo>
                    <a:pt x="10649" y="695"/>
                  </a:lnTo>
                  <a:close/>
                  <a:moveTo>
                    <a:pt x="1782" y="1"/>
                  </a:moveTo>
                  <a:cubicBezTo>
                    <a:pt x="1689" y="1"/>
                    <a:pt x="1556" y="47"/>
                    <a:pt x="252" y="726"/>
                  </a:cubicBezTo>
                  <a:cubicBezTo>
                    <a:pt x="0" y="852"/>
                    <a:pt x="0" y="1199"/>
                    <a:pt x="252" y="1356"/>
                  </a:cubicBezTo>
                  <a:cubicBezTo>
                    <a:pt x="1765" y="2113"/>
                    <a:pt x="1702" y="2113"/>
                    <a:pt x="1828" y="2113"/>
                  </a:cubicBezTo>
                  <a:lnTo>
                    <a:pt x="10996" y="2113"/>
                  </a:lnTo>
                  <a:cubicBezTo>
                    <a:pt x="11594" y="2113"/>
                    <a:pt x="12067" y="1640"/>
                    <a:pt x="12067" y="1041"/>
                  </a:cubicBezTo>
                  <a:cubicBezTo>
                    <a:pt x="12067" y="474"/>
                    <a:pt x="11594" y="2"/>
                    <a:pt x="10996" y="2"/>
                  </a:cubicBezTo>
                  <a:lnTo>
                    <a:pt x="1828" y="2"/>
                  </a:lnTo>
                  <a:cubicBezTo>
                    <a:pt x="1810" y="2"/>
                    <a:pt x="1796" y="1"/>
                    <a:pt x="1782"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680" name="Google Shape;10680;p113"/>
            <p:cNvSpPr/>
            <p:nvPr/>
          </p:nvSpPr>
          <p:spPr>
            <a:xfrm>
              <a:off x="-50523475" y="2757075"/>
              <a:ext cx="300900" cy="228425"/>
            </a:xfrm>
            <a:custGeom>
              <a:avLst/>
              <a:gdLst/>
              <a:ahLst/>
              <a:cxnLst/>
              <a:rect l="l" t="t" r="r" b="b"/>
              <a:pathLst>
                <a:path w="12036" h="9137" extrusionOk="0">
                  <a:moveTo>
                    <a:pt x="10965" y="725"/>
                  </a:moveTo>
                  <a:cubicBezTo>
                    <a:pt x="11154" y="725"/>
                    <a:pt x="11311" y="882"/>
                    <a:pt x="11311" y="1103"/>
                  </a:cubicBezTo>
                  <a:lnTo>
                    <a:pt x="11311" y="8097"/>
                  </a:lnTo>
                  <a:cubicBezTo>
                    <a:pt x="11311" y="8286"/>
                    <a:pt x="11154" y="8443"/>
                    <a:pt x="10965" y="8443"/>
                  </a:cubicBezTo>
                  <a:lnTo>
                    <a:pt x="1072" y="8443"/>
                  </a:lnTo>
                  <a:cubicBezTo>
                    <a:pt x="883" y="8443"/>
                    <a:pt x="725" y="8286"/>
                    <a:pt x="725" y="8097"/>
                  </a:cubicBezTo>
                  <a:lnTo>
                    <a:pt x="725" y="1103"/>
                  </a:lnTo>
                  <a:cubicBezTo>
                    <a:pt x="725" y="882"/>
                    <a:pt x="883" y="725"/>
                    <a:pt x="1072" y="725"/>
                  </a:cubicBezTo>
                  <a:close/>
                  <a:moveTo>
                    <a:pt x="1072" y="0"/>
                  </a:moveTo>
                  <a:cubicBezTo>
                    <a:pt x="473" y="0"/>
                    <a:pt x="1" y="473"/>
                    <a:pt x="1" y="1040"/>
                  </a:cubicBezTo>
                  <a:lnTo>
                    <a:pt x="1" y="8065"/>
                  </a:lnTo>
                  <a:cubicBezTo>
                    <a:pt x="1" y="8664"/>
                    <a:pt x="473" y="9137"/>
                    <a:pt x="1072" y="9137"/>
                  </a:cubicBezTo>
                  <a:lnTo>
                    <a:pt x="10965" y="9137"/>
                  </a:lnTo>
                  <a:cubicBezTo>
                    <a:pt x="11532" y="9137"/>
                    <a:pt x="12004" y="8664"/>
                    <a:pt x="12004" y="8065"/>
                  </a:cubicBezTo>
                  <a:lnTo>
                    <a:pt x="12004" y="1040"/>
                  </a:lnTo>
                  <a:cubicBezTo>
                    <a:pt x="12036" y="473"/>
                    <a:pt x="11532" y="0"/>
                    <a:pt x="10965"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681" name="Google Shape;10681;p113"/>
            <p:cNvSpPr/>
            <p:nvPr/>
          </p:nvSpPr>
          <p:spPr>
            <a:xfrm>
              <a:off x="-50453375" y="2792500"/>
              <a:ext cx="194575" cy="158350"/>
            </a:xfrm>
            <a:custGeom>
              <a:avLst/>
              <a:gdLst/>
              <a:ahLst/>
              <a:cxnLst/>
              <a:rect l="l" t="t" r="r" b="b"/>
              <a:pathLst>
                <a:path w="7783" h="6334" extrusionOk="0">
                  <a:moveTo>
                    <a:pt x="7089" y="694"/>
                  </a:moveTo>
                  <a:lnTo>
                    <a:pt x="7089" y="5609"/>
                  </a:lnTo>
                  <a:lnTo>
                    <a:pt x="694" y="5609"/>
                  </a:lnTo>
                  <a:lnTo>
                    <a:pt x="694" y="694"/>
                  </a:lnTo>
                  <a:close/>
                  <a:moveTo>
                    <a:pt x="347" y="1"/>
                  </a:moveTo>
                  <a:cubicBezTo>
                    <a:pt x="158" y="1"/>
                    <a:pt x="1" y="158"/>
                    <a:pt x="1" y="347"/>
                  </a:cubicBezTo>
                  <a:lnTo>
                    <a:pt x="1" y="5987"/>
                  </a:lnTo>
                  <a:cubicBezTo>
                    <a:pt x="1" y="6176"/>
                    <a:pt x="158" y="6333"/>
                    <a:pt x="347" y="6333"/>
                  </a:cubicBezTo>
                  <a:lnTo>
                    <a:pt x="7436" y="6333"/>
                  </a:lnTo>
                  <a:cubicBezTo>
                    <a:pt x="7656" y="6333"/>
                    <a:pt x="7782" y="6176"/>
                    <a:pt x="7782" y="5987"/>
                  </a:cubicBezTo>
                  <a:lnTo>
                    <a:pt x="7782" y="347"/>
                  </a:lnTo>
                  <a:cubicBezTo>
                    <a:pt x="7782" y="158"/>
                    <a:pt x="7656" y="1"/>
                    <a:pt x="7436"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10682" name="Google Shape;10682;p113"/>
          <p:cNvGrpSpPr/>
          <p:nvPr/>
        </p:nvGrpSpPr>
        <p:grpSpPr>
          <a:xfrm>
            <a:off x="4094635" y="2082243"/>
            <a:ext cx="477599" cy="478872"/>
            <a:chOff x="-48633950" y="1972600"/>
            <a:chExt cx="300100" cy="300900"/>
          </a:xfrm>
        </p:grpSpPr>
        <p:sp>
          <p:nvSpPr>
            <p:cNvPr id="10683" name="Google Shape;10683;p113"/>
            <p:cNvSpPr/>
            <p:nvPr/>
          </p:nvSpPr>
          <p:spPr>
            <a:xfrm>
              <a:off x="-48633950" y="1972600"/>
              <a:ext cx="300100" cy="300900"/>
            </a:xfrm>
            <a:custGeom>
              <a:avLst/>
              <a:gdLst/>
              <a:ahLst/>
              <a:cxnLst/>
              <a:rect l="l" t="t" r="r" b="b"/>
              <a:pathLst>
                <a:path w="12004" h="12036" extrusionOk="0">
                  <a:moveTo>
                    <a:pt x="1418" y="756"/>
                  </a:moveTo>
                  <a:lnTo>
                    <a:pt x="1418" y="1481"/>
                  </a:lnTo>
                  <a:lnTo>
                    <a:pt x="693" y="1481"/>
                  </a:lnTo>
                  <a:lnTo>
                    <a:pt x="693" y="756"/>
                  </a:lnTo>
                  <a:close/>
                  <a:moveTo>
                    <a:pt x="11310" y="756"/>
                  </a:moveTo>
                  <a:lnTo>
                    <a:pt x="11310" y="1481"/>
                  </a:lnTo>
                  <a:lnTo>
                    <a:pt x="10586" y="1481"/>
                  </a:lnTo>
                  <a:lnTo>
                    <a:pt x="10586" y="756"/>
                  </a:lnTo>
                  <a:close/>
                  <a:moveTo>
                    <a:pt x="9893" y="1418"/>
                  </a:moveTo>
                  <a:lnTo>
                    <a:pt x="9893" y="1796"/>
                  </a:lnTo>
                  <a:cubicBezTo>
                    <a:pt x="9893" y="1985"/>
                    <a:pt x="10050" y="2143"/>
                    <a:pt x="10239" y="2143"/>
                  </a:cubicBezTo>
                  <a:lnTo>
                    <a:pt x="10586" y="2143"/>
                  </a:lnTo>
                  <a:lnTo>
                    <a:pt x="10586" y="5293"/>
                  </a:lnTo>
                  <a:cubicBezTo>
                    <a:pt x="10365" y="5104"/>
                    <a:pt x="10050" y="4915"/>
                    <a:pt x="9672" y="4663"/>
                  </a:cubicBezTo>
                  <a:cubicBezTo>
                    <a:pt x="8822" y="4159"/>
                    <a:pt x="7530" y="3560"/>
                    <a:pt x="6018" y="3560"/>
                  </a:cubicBezTo>
                  <a:cubicBezTo>
                    <a:pt x="4537" y="3560"/>
                    <a:pt x="3214" y="4159"/>
                    <a:pt x="2363" y="4663"/>
                  </a:cubicBezTo>
                  <a:cubicBezTo>
                    <a:pt x="2017" y="4852"/>
                    <a:pt x="1701" y="5104"/>
                    <a:pt x="1449" y="5293"/>
                  </a:cubicBezTo>
                  <a:lnTo>
                    <a:pt x="1449" y="2143"/>
                  </a:lnTo>
                  <a:lnTo>
                    <a:pt x="1764" y="2143"/>
                  </a:lnTo>
                  <a:cubicBezTo>
                    <a:pt x="1954" y="2143"/>
                    <a:pt x="2111" y="1985"/>
                    <a:pt x="2111" y="1796"/>
                  </a:cubicBezTo>
                  <a:lnTo>
                    <a:pt x="2111" y="1418"/>
                  </a:lnTo>
                  <a:close/>
                  <a:moveTo>
                    <a:pt x="8065" y="4695"/>
                  </a:moveTo>
                  <a:cubicBezTo>
                    <a:pt x="8538" y="4915"/>
                    <a:pt x="8979" y="5104"/>
                    <a:pt x="9326" y="5293"/>
                  </a:cubicBezTo>
                  <a:cubicBezTo>
                    <a:pt x="9798" y="5577"/>
                    <a:pt x="10208" y="5860"/>
                    <a:pt x="10428" y="6049"/>
                  </a:cubicBezTo>
                  <a:cubicBezTo>
                    <a:pt x="10208" y="6238"/>
                    <a:pt x="9798" y="6522"/>
                    <a:pt x="9326" y="6805"/>
                  </a:cubicBezTo>
                  <a:cubicBezTo>
                    <a:pt x="8979" y="6994"/>
                    <a:pt x="8570" y="7215"/>
                    <a:pt x="8065" y="7372"/>
                  </a:cubicBezTo>
                  <a:cubicBezTo>
                    <a:pt x="8349" y="6994"/>
                    <a:pt x="8475" y="6522"/>
                    <a:pt x="8475" y="6049"/>
                  </a:cubicBezTo>
                  <a:cubicBezTo>
                    <a:pt x="8475" y="5514"/>
                    <a:pt x="8318" y="5104"/>
                    <a:pt x="8065" y="4695"/>
                  </a:cubicBezTo>
                  <a:close/>
                  <a:moveTo>
                    <a:pt x="3970" y="4726"/>
                  </a:moveTo>
                  <a:cubicBezTo>
                    <a:pt x="3718" y="5136"/>
                    <a:pt x="3592" y="5608"/>
                    <a:pt x="3592" y="6081"/>
                  </a:cubicBezTo>
                  <a:cubicBezTo>
                    <a:pt x="3529" y="6553"/>
                    <a:pt x="3686" y="7026"/>
                    <a:pt x="3970" y="7435"/>
                  </a:cubicBezTo>
                  <a:cubicBezTo>
                    <a:pt x="3497" y="7215"/>
                    <a:pt x="3056" y="7026"/>
                    <a:pt x="2710" y="6837"/>
                  </a:cubicBezTo>
                  <a:cubicBezTo>
                    <a:pt x="2237" y="6553"/>
                    <a:pt x="1859" y="6270"/>
                    <a:pt x="1607" y="6081"/>
                  </a:cubicBezTo>
                  <a:cubicBezTo>
                    <a:pt x="1859" y="5892"/>
                    <a:pt x="2237" y="5608"/>
                    <a:pt x="2710" y="5325"/>
                  </a:cubicBezTo>
                  <a:cubicBezTo>
                    <a:pt x="3056" y="5136"/>
                    <a:pt x="3466" y="4915"/>
                    <a:pt x="3970" y="4726"/>
                  </a:cubicBezTo>
                  <a:close/>
                  <a:moveTo>
                    <a:pt x="6018" y="4285"/>
                  </a:moveTo>
                  <a:cubicBezTo>
                    <a:pt x="6994" y="4285"/>
                    <a:pt x="7782" y="5073"/>
                    <a:pt x="7782" y="6049"/>
                  </a:cubicBezTo>
                  <a:cubicBezTo>
                    <a:pt x="7782" y="7026"/>
                    <a:pt x="6994" y="7814"/>
                    <a:pt x="6018" y="7814"/>
                  </a:cubicBezTo>
                  <a:cubicBezTo>
                    <a:pt x="5041" y="7814"/>
                    <a:pt x="4253" y="7026"/>
                    <a:pt x="4253" y="6049"/>
                  </a:cubicBezTo>
                  <a:cubicBezTo>
                    <a:pt x="4253" y="5073"/>
                    <a:pt x="5041" y="4285"/>
                    <a:pt x="6018" y="4285"/>
                  </a:cubicBezTo>
                  <a:close/>
                  <a:moveTo>
                    <a:pt x="10554" y="6805"/>
                  </a:moveTo>
                  <a:lnTo>
                    <a:pt x="10554" y="9956"/>
                  </a:lnTo>
                  <a:lnTo>
                    <a:pt x="10239" y="9956"/>
                  </a:lnTo>
                  <a:cubicBezTo>
                    <a:pt x="10050" y="9956"/>
                    <a:pt x="9893" y="10113"/>
                    <a:pt x="9893" y="10302"/>
                  </a:cubicBezTo>
                  <a:lnTo>
                    <a:pt x="9893" y="10649"/>
                  </a:lnTo>
                  <a:lnTo>
                    <a:pt x="2143" y="10649"/>
                  </a:lnTo>
                  <a:lnTo>
                    <a:pt x="2143" y="10302"/>
                  </a:lnTo>
                  <a:cubicBezTo>
                    <a:pt x="2143" y="10113"/>
                    <a:pt x="1985" y="9956"/>
                    <a:pt x="1764" y="9956"/>
                  </a:cubicBezTo>
                  <a:lnTo>
                    <a:pt x="1418" y="9956"/>
                  </a:lnTo>
                  <a:lnTo>
                    <a:pt x="1418" y="6805"/>
                  </a:lnTo>
                  <a:cubicBezTo>
                    <a:pt x="1670" y="6994"/>
                    <a:pt x="1985" y="7183"/>
                    <a:pt x="2332" y="7435"/>
                  </a:cubicBezTo>
                  <a:cubicBezTo>
                    <a:pt x="3182" y="7940"/>
                    <a:pt x="4505" y="8538"/>
                    <a:pt x="5986" y="8538"/>
                  </a:cubicBezTo>
                  <a:cubicBezTo>
                    <a:pt x="7498" y="8538"/>
                    <a:pt x="8790" y="7940"/>
                    <a:pt x="9641" y="7435"/>
                  </a:cubicBezTo>
                  <a:cubicBezTo>
                    <a:pt x="10019" y="7215"/>
                    <a:pt x="10334" y="6994"/>
                    <a:pt x="10554" y="6805"/>
                  </a:cubicBezTo>
                  <a:close/>
                  <a:moveTo>
                    <a:pt x="1418" y="10617"/>
                  </a:moveTo>
                  <a:lnTo>
                    <a:pt x="1418" y="11311"/>
                  </a:lnTo>
                  <a:lnTo>
                    <a:pt x="693" y="11311"/>
                  </a:lnTo>
                  <a:lnTo>
                    <a:pt x="693" y="10617"/>
                  </a:lnTo>
                  <a:close/>
                  <a:moveTo>
                    <a:pt x="11310" y="10617"/>
                  </a:moveTo>
                  <a:lnTo>
                    <a:pt x="11310" y="11311"/>
                  </a:lnTo>
                  <a:lnTo>
                    <a:pt x="10586" y="11311"/>
                  </a:lnTo>
                  <a:lnTo>
                    <a:pt x="10586" y="10617"/>
                  </a:lnTo>
                  <a:close/>
                  <a:moveTo>
                    <a:pt x="347" y="0"/>
                  </a:moveTo>
                  <a:cubicBezTo>
                    <a:pt x="158" y="0"/>
                    <a:pt x="0" y="189"/>
                    <a:pt x="0" y="378"/>
                  </a:cubicBezTo>
                  <a:lnTo>
                    <a:pt x="0" y="1796"/>
                  </a:lnTo>
                  <a:cubicBezTo>
                    <a:pt x="0" y="1985"/>
                    <a:pt x="158" y="2143"/>
                    <a:pt x="347" y="2143"/>
                  </a:cubicBezTo>
                  <a:lnTo>
                    <a:pt x="693" y="2143"/>
                  </a:lnTo>
                  <a:lnTo>
                    <a:pt x="693" y="9893"/>
                  </a:lnTo>
                  <a:lnTo>
                    <a:pt x="347" y="9893"/>
                  </a:lnTo>
                  <a:cubicBezTo>
                    <a:pt x="158" y="9893"/>
                    <a:pt x="0" y="10050"/>
                    <a:pt x="0" y="10239"/>
                  </a:cubicBezTo>
                  <a:lnTo>
                    <a:pt x="0" y="11657"/>
                  </a:lnTo>
                  <a:cubicBezTo>
                    <a:pt x="0" y="11878"/>
                    <a:pt x="158" y="12035"/>
                    <a:pt x="347" y="12035"/>
                  </a:cubicBezTo>
                  <a:lnTo>
                    <a:pt x="1764" y="12035"/>
                  </a:lnTo>
                  <a:cubicBezTo>
                    <a:pt x="1954" y="12035"/>
                    <a:pt x="2111" y="11878"/>
                    <a:pt x="2111" y="11657"/>
                  </a:cubicBezTo>
                  <a:lnTo>
                    <a:pt x="2111" y="11311"/>
                  </a:lnTo>
                  <a:lnTo>
                    <a:pt x="9893" y="11311"/>
                  </a:lnTo>
                  <a:lnTo>
                    <a:pt x="9893" y="11657"/>
                  </a:lnTo>
                  <a:cubicBezTo>
                    <a:pt x="9893" y="11878"/>
                    <a:pt x="10050" y="12035"/>
                    <a:pt x="10239" y="12035"/>
                  </a:cubicBezTo>
                  <a:lnTo>
                    <a:pt x="11657" y="12035"/>
                  </a:lnTo>
                  <a:cubicBezTo>
                    <a:pt x="11846" y="12035"/>
                    <a:pt x="12004" y="11878"/>
                    <a:pt x="12004" y="11657"/>
                  </a:cubicBezTo>
                  <a:lnTo>
                    <a:pt x="12004" y="10239"/>
                  </a:lnTo>
                  <a:cubicBezTo>
                    <a:pt x="12004" y="10050"/>
                    <a:pt x="11846" y="9893"/>
                    <a:pt x="11657" y="9893"/>
                  </a:cubicBezTo>
                  <a:lnTo>
                    <a:pt x="11310" y="9893"/>
                  </a:lnTo>
                  <a:lnTo>
                    <a:pt x="11310" y="2143"/>
                  </a:lnTo>
                  <a:lnTo>
                    <a:pt x="11657" y="2143"/>
                  </a:lnTo>
                  <a:cubicBezTo>
                    <a:pt x="11846" y="2143"/>
                    <a:pt x="12004" y="1985"/>
                    <a:pt x="12004" y="1796"/>
                  </a:cubicBezTo>
                  <a:lnTo>
                    <a:pt x="12004" y="378"/>
                  </a:lnTo>
                  <a:cubicBezTo>
                    <a:pt x="12004" y="189"/>
                    <a:pt x="11846" y="0"/>
                    <a:pt x="11657" y="0"/>
                  </a:cubicBezTo>
                  <a:lnTo>
                    <a:pt x="10239" y="0"/>
                  </a:lnTo>
                  <a:cubicBezTo>
                    <a:pt x="10050" y="0"/>
                    <a:pt x="9893" y="189"/>
                    <a:pt x="9893" y="378"/>
                  </a:cubicBezTo>
                  <a:lnTo>
                    <a:pt x="9893" y="725"/>
                  </a:lnTo>
                  <a:lnTo>
                    <a:pt x="2111" y="725"/>
                  </a:lnTo>
                  <a:lnTo>
                    <a:pt x="2111" y="378"/>
                  </a:lnTo>
                  <a:cubicBezTo>
                    <a:pt x="2111" y="189"/>
                    <a:pt x="1954" y="0"/>
                    <a:pt x="1764"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684" name="Google Shape;10684;p113"/>
            <p:cNvSpPr/>
            <p:nvPr/>
          </p:nvSpPr>
          <p:spPr>
            <a:xfrm>
              <a:off x="-48509525" y="2097050"/>
              <a:ext cx="52800" cy="52775"/>
            </a:xfrm>
            <a:custGeom>
              <a:avLst/>
              <a:gdLst/>
              <a:ahLst/>
              <a:cxnLst/>
              <a:rect l="l" t="t" r="r" b="b"/>
              <a:pathLst>
                <a:path w="2112" h="2111" extrusionOk="0">
                  <a:moveTo>
                    <a:pt x="1041" y="725"/>
                  </a:moveTo>
                  <a:cubicBezTo>
                    <a:pt x="1230" y="725"/>
                    <a:pt x="1387" y="882"/>
                    <a:pt x="1387" y="1071"/>
                  </a:cubicBezTo>
                  <a:cubicBezTo>
                    <a:pt x="1387" y="1260"/>
                    <a:pt x="1230" y="1418"/>
                    <a:pt x="1041" y="1418"/>
                  </a:cubicBezTo>
                  <a:cubicBezTo>
                    <a:pt x="852" y="1418"/>
                    <a:pt x="694" y="1260"/>
                    <a:pt x="694" y="1071"/>
                  </a:cubicBezTo>
                  <a:cubicBezTo>
                    <a:pt x="694" y="882"/>
                    <a:pt x="852" y="725"/>
                    <a:pt x="1041" y="725"/>
                  </a:cubicBezTo>
                  <a:close/>
                  <a:moveTo>
                    <a:pt x="1041" y="0"/>
                  </a:moveTo>
                  <a:cubicBezTo>
                    <a:pt x="442" y="0"/>
                    <a:pt x="1" y="473"/>
                    <a:pt x="1" y="1071"/>
                  </a:cubicBezTo>
                  <a:cubicBezTo>
                    <a:pt x="1" y="1670"/>
                    <a:pt x="442" y="2111"/>
                    <a:pt x="1041" y="2111"/>
                  </a:cubicBezTo>
                  <a:cubicBezTo>
                    <a:pt x="1639" y="2111"/>
                    <a:pt x="2112" y="1670"/>
                    <a:pt x="2112" y="1071"/>
                  </a:cubicBezTo>
                  <a:cubicBezTo>
                    <a:pt x="2112" y="473"/>
                    <a:pt x="1639" y="0"/>
                    <a:pt x="1041"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10685" name="Google Shape;10685;p113"/>
          <p:cNvGrpSpPr/>
          <p:nvPr/>
        </p:nvGrpSpPr>
        <p:grpSpPr>
          <a:xfrm>
            <a:off x="4093999" y="2690124"/>
            <a:ext cx="478872" cy="481339"/>
            <a:chOff x="-48634750" y="2342000"/>
            <a:chExt cx="300900" cy="302450"/>
          </a:xfrm>
        </p:grpSpPr>
        <p:sp>
          <p:nvSpPr>
            <p:cNvPr id="10686" name="Google Shape;10686;p113"/>
            <p:cNvSpPr/>
            <p:nvPr/>
          </p:nvSpPr>
          <p:spPr>
            <a:xfrm>
              <a:off x="-48545750" y="2342000"/>
              <a:ext cx="211900" cy="300875"/>
            </a:xfrm>
            <a:custGeom>
              <a:avLst/>
              <a:gdLst/>
              <a:ahLst/>
              <a:cxnLst/>
              <a:rect l="l" t="t" r="r" b="b"/>
              <a:pathLst>
                <a:path w="8476" h="12035" extrusionOk="0">
                  <a:moveTo>
                    <a:pt x="6711" y="725"/>
                  </a:moveTo>
                  <a:cubicBezTo>
                    <a:pt x="7310" y="725"/>
                    <a:pt x="7782" y="1197"/>
                    <a:pt x="7782" y="1764"/>
                  </a:cubicBezTo>
                  <a:lnTo>
                    <a:pt x="7782" y="10239"/>
                  </a:lnTo>
                  <a:cubicBezTo>
                    <a:pt x="7782" y="10838"/>
                    <a:pt x="7310" y="11310"/>
                    <a:pt x="6711" y="11310"/>
                  </a:cubicBezTo>
                  <a:lnTo>
                    <a:pt x="1797" y="11310"/>
                  </a:lnTo>
                  <a:cubicBezTo>
                    <a:pt x="1198" y="11310"/>
                    <a:pt x="725" y="10838"/>
                    <a:pt x="725" y="10239"/>
                  </a:cubicBezTo>
                  <a:lnTo>
                    <a:pt x="725" y="1764"/>
                  </a:lnTo>
                  <a:cubicBezTo>
                    <a:pt x="725" y="1197"/>
                    <a:pt x="1198" y="725"/>
                    <a:pt x="1797" y="725"/>
                  </a:cubicBezTo>
                  <a:close/>
                  <a:moveTo>
                    <a:pt x="1797" y="0"/>
                  </a:moveTo>
                  <a:cubicBezTo>
                    <a:pt x="788" y="0"/>
                    <a:pt x="1" y="788"/>
                    <a:pt x="1" y="1764"/>
                  </a:cubicBezTo>
                  <a:lnTo>
                    <a:pt x="1" y="10239"/>
                  </a:lnTo>
                  <a:cubicBezTo>
                    <a:pt x="1" y="11247"/>
                    <a:pt x="788" y="12035"/>
                    <a:pt x="1797" y="12035"/>
                  </a:cubicBezTo>
                  <a:lnTo>
                    <a:pt x="6711" y="12035"/>
                  </a:lnTo>
                  <a:cubicBezTo>
                    <a:pt x="7688" y="12035"/>
                    <a:pt x="8476" y="11247"/>
                    <a:pt x="8476" y="10239"/>
                  </a:cubicBezTo>
                  <a:lnTo>
                    <a:pt x="8476" y="1764"/>
                  </a:lnTo>
                  <a:cubicBezTo>
                    <a:pt x="8476" y="788"/>
                    <a:pt x="7688" y="0"/>
                    <a:pt x="6711"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687" name="Google Shape;10687;p113"/>
            <p:cNvSpPr/>
            <p:nvPr/>
          </p:nvSpPr>
          <p:spPr>
            <a:xfrm>
              <a:off x="-48509525" y="2395550"/>
              <a:ext cx="52800" cy="52800"/>
            </a:xfrm>
            <a:custGeom>
              <a:avLst/>
              <a:gdLst/>
              <a:ahLst/>
              <a:cxnLst/>
              <a:rect l="l" t="t" r="r" b="b"/>
              <a:pathLst>
                <a:path w="2112" h="2112" extrusionOk="0">
                  <a:moveTo>
                    <a:pt x="1041" y="694"/>
                  </a:moveTo>
                  <a:cubicBezTo>
                    <a:pt x="1230" y="694"/>
                    <a:pt x="1387" y="851"/>
                    <a:pt x="1387" y="1040"/>
                  </a:cubicBezTo>
                  <a:cubicBezTo>
                    <a:pt x="1387" y="1261"/>
                    <a:pt x="1230" y="1418"/>
                    <a:pt x="1041" y="1418"/>
                  </a:cubicBezTo>
                  <a:cubicBezTo>
                    <a:pt x="852" y="1418"/>
                    <a:pt x="694" y="1261"/>
                    <a:pt x="694" y="1040"/>
                  </a:cubicBezTo>
                  <a:cubicBezTo>
                    <a:pt x="694" y="851"/>
                    <a:pt x="852" y="694"/>
                    <a:pt x="1041" y="694"/>
                  </a:cubicBezTo>
                  <a:close/>
                  <a:moveTo>
                    <a:pt x="1041" y="0"/>
                  </a:moveTo>
                  <a:cubicBezTo>
                    <a:pt x="442" y="0"/>
                    <a:pt x="1" y="473"/>
                    <a:pt x="1" y="1040"/>
                  </a:cubicBezTo>
                  <a:cubicBezTo>
                    <a:pt x="1" y="1639"/>
                    <a:pt x="442" y="2111"/>
                    <a:pt x="1041" y="2111"/>
                  </a:cubicBezTo>
                  <a:cubicBezTo>
                    <a:pt x="1639" y="2111"/>
                    <a:pt x="2112" y="1639"/>
                    <a:pt x="2112" y="1040"/>
                  </a:cubicBezTo>
                  <a:cubicBezTo>
                    <a:pt x="2112" y="473"/>
                    <a:pt x="1639" y="0"/>
                    <a:pt x="1041"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688" name="Google Shape;10688;p113"/>
            <p:cNvSpPr/>
            <p:nvPr/>
          </p:nvSpPr>
          <p:spPr>
            <a:xfrm>
              <a:off x="-48509525" y="2466425"/>
              <a:ext cx="52800" cy="52800"/>
            </a:xfrm>
            <a:custGeom>
              <a:avLst/>
              <a:gdLst/>
              <a:ahLst/>
              <a:cxnLst/>
              <a:rect l="l" t="t" r="r" b="b"/>
              <a:pathLst>
                <a:path w="2112" h="2112" extrusionOk="0">
                  <a:moveTo>
                    <a:pt x="1041" y="694"/>
                  </a:moveTo>
                  <a:cubicBezTo>
                    <a:pt x="1230" y="694"/>
                    <a:pt x="1387" y="851"/>
                    <a:pt x="1387" y="1072"/>
                  </a:cubicBezTo>
                  <a:cubicBezTo>
                    <a:pt x="1387" y="1261"/>
                    <a:pt x="1230" y="1419"/>
                    <a:pt x="1041" y="1419"/>
                  </a:cubicBezTo>
                  <a:cubicBezTo>
                    <a:pt x="852" y="1419"/>
                    <a:pt x="694" y="1261"/>
                    <a:pt x="694" y="1072"/>
                  </a:cubicBezTo>
                  <a:cubicBezTo>
                    <a:pt x="694" y="851"/>
                    <a:pt x="852" y="694"/>
                    <a:pt x="1041" y="694"/>
                  </a:cubicBezTo>
                  <a:close/>
                  <a:moveTo>
                    <a:pt x="1041" y="1"/>
                  </a:moveTo>
                  <a:cubicBezTo>
                    <a:pt x="442" y="1"/>
                    <a:pt x="1" y="473"/>
                    <a:pt x="1" y="1072"/>
                  </a:cubicBezTo>
                  <a:cubicBezTo>
                    <a:pt x="1" y="1639"/>
                    <a:pt x="442" y="2112"/>
                    <a:pt x="1041" y="2112"/>
                  </a:cubicBezTo>
                  <a:cubicBezTo>
                    <a:pt x="1639" y="2112"/>
                    <a:pt x="2112" y="1639"/>
                    <a:pt x="2112" y="1072"/>
                  </a:cubicBezTo>
                  <a:cubicBezTo>
                    <a:pt x="2112" y="473"/>
                    <a:pt x="1639" y="1"/>
                    <a:pt x="1041"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689" name="Google Shape;10689;p113"/>
            <p:cNvSpPr/>
            <p:nvPr/>
          </p:nvSpPr>
          <p:spPr>
            <a:xfrm>
              <a:off x="-48509525" y="2537325"/>
              <a:ext cx="52800" cy="52800"/>
            </a:xfrm>
            <a:custGeom>
              <a:avLst/>
              <a:gdLst/>
              <a:ahLst/>
              <a:cxnLst/>
              <a:rect l="l" t="t" r="r" b="b"/>
              <a:pathLst>
                <a:path w="2112" h="2112" extrusionOk="0">
                  <a:moveTo>
                    <a:pt x="1041" y="693"/>
                  </a:moveTo>
                  <a:cubicBezTo>
                    <a:pt x="1230" y="693"/>
                    <a:pt x="1387" y="851"/>
                    <a:pt x="1387" y="1071"/>
                  </a:cubicBezTo>
                  <a:cubicBezTo>
                    <a:pt x="1387" y="1260"/>
                    <a:pt x="1230" y="1418"/>
                    <a:pt x="1041" y="1418"/>
                  </a:cubicBezTo>
                  <a:cubicBezTo>
                    <a:pt x="852" y="1418"/>
                    <a:pt x="694" y="1260"/>
                    <a:pt x="694" y="1071"/>
                  </a:cubicBezTo>
                  <a:cubicBezTo>
                    <a:pt x="694" y="851"/>
                    <a:pt x="852" y="693"/>
                    <a:pt x="1041" y="693"/>
                  </a:cubicBezTo>
                  <a:close/>
                  <a:moveTo>
                    <a:pt x="1041" y="0"/>
                  </a:moveTo>
                  <a:cubicBezTo>
                    <a:pt x="442" y="0"/>
                    <a:pt x="1" y="473"/>
                    <a:pt x="1" y="1071"/>
                  </a:cubicBezTo>
                  <a:cubicBezTo>
                    <a:pt x="1" y="1639"/>
                    <a:pt x="442" y="2111"/>
                    <a:pt x="1041" y="2111"/>
                  </a:cubicBezTo>
                  <a:cubicBezTo>
                    <a:pt x="1639" y="2111"/>
                    <a:pt x="2112" y="1639"/>
                    <a:pt x="2112" y="1071"/>
                  </a:cubicBezTo>
                  <a:cubicBezTo>
                    <a:pt x="2112" y="473"/>
                    <a:pt x="1639" y="0"/>
                    <a:pt x="1041"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690" name="Google Shape;10690;p113"/>
            <p:cNvSpPr/>
            <p:nvPr/>
          </p:nvSpPr>
          <p:spPr>
            <a:xfrm>
              <a:off x="-48421300" y="2395550"/>
              <a:ext cx="52800" cy="52800"/>
            </a:xfrm>
            <a:custGeom>
              <a:avLst/>
              <a:gdLst/>
              <a:ahLst/>
              <a:cxnLst/>
              <a:rect l="l" t="t" r="r" b="b"/>
              <a:pathLst>
                <a:path w="2112" h="2112" extrusionOk="0">
                  <a:moveTo>
                    <a:pt x="1072" y="694"/>
                  </a:moveTo>
                  <a:cubicBezTo>
                    <a:pt x="1261" y="694"/>
                    <a:pt x="1418" y="851"/>
                    <a:pt x="1418" y="1040"/>
                  </a:cubicBezTo>
                  <a:cubicBezTo>
                    <a:pt x="1387" y="1261"/>
                    <a:pt x="1229" y="1418"/>
                    <a:pt x="1072" y="1418"/>
                  </a:cubicBezTo>
                  <a:cubicBezTo>
                    <a:pt x="851" y="1418"/>
                    <a:pt x="725" y="1261"/>
                    <a:pt x="725" y="1040"/>
                  </a:cubicBezTo>
                  <a:cubicBezTo>
                    <a:pt x="725" y="851"/>
                    <a:pt x="851" y="694"/>
                    <a:pt x="1072" y="694"/>
                  </a:cubicBezTo>
                  <a:close/>
                  <a:moveTo>
                    <a:pt x="1072" y="0"/>
                  </a:moveTo>
                  <a:cubicBezTo>
                    <a:pt x="473" y="0"/>
                    <a:pt x="1" y="473"/>
                    <a:pt x="1" y="1040"/>
                  </a:cubicBezTo>
                  <a:cubicBezTo>
                    <a:pt x="1" y="1639"/>
                    <a:pt x="473" y="2111"/>
                    <a:pt x="1072" y="2111"/>
                  </a:cubicBezTo>
                  <a:cubicBezTo>
                    <a:pt x="1639" y="2111"/>
                    <a:pt x="2111" y="1639"/>
                    <a:pt x="2111" y="1040"/>
                  </a:cubicBezTo>
                  <a:cubicBezTo>
                    <a:pt x="2080" y="473"/>
                    <a:pt x="1607" y="0"/>
                    <a:pt x="1072"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691" name="Google Shape;10691;p113"/>
            <p:cNvSpPr/>
            <p:nvPr/>
          </p:nvSpPr>
          <p:spPr>
            <a:xfrm>
              <a:off x="-48421300" y="2466425"/>
              <a:ext cx="52800" cy="52800"/>
            </a:xfrm>
            <a:custGeom>
              <a:avLst/>
              <a:gdLst/>
              <a:ahLst/>
              <a:cxnLst/>
              <a:rect l="l" t="t" r="r" b="b"/>
              <a:pathLst>
                <a:path w="2112" h="2112" extrusionOk="0">
                  <a:moveTo>
                    <a:pt x="1072" y="694"/>
                  </a:moveTo>
                  <a:cubicBezTo>
                    <a:pt x="1261" y="694"/>
                    <a:pt x="1418" y="851"/>
                    <a:pt x="1418" y="1072"/>
                  </a:cubicBezTo>
                  <a:cubicBezTo>
                    <a:pt x="1387" y="1261"/>
                    <a:pt x="1229" y="1419"/>
                    <a:pt x="1072" y="1419"/>
                  </a:cubicBezTo>
                  <a:cubicBezTo>
                    <a:pt x="851" y="1419"/>
                    <a:pt x="725" y="1261"/>
                    <a:pt x="725" y="1072"/>
                  </a:cubicBezTo>
                  <a:cubicBezTo>
                    <a:pt x="725" y="851"/>
                    <a:pt x="851" y="694"/>
                    <a:pt x="1072" y="694"/>
                  </a:cubicBezTo>
                  <a:close/>
                  <a:moveTo>
                    <a:pt x="1072" y="1"/>
                  </a:moveTo>
                  <a:cubicBezTo>
                    <a:pt x="473" y="1"/>
                    <a:pt x="1" y="473"/>
                    <a:pt x="1" y="1072"/>
                  </a:cubicBezTo>
                  <a:cubicBezTo>
                    <a:pt x="1" y="1639"/>
                    <a:pt x="473" y="2112"/>
                    <a:pt x="1072" y="2112"/>
                  </a:cubicBezTo>
                  <a:cubicBezTo>
                    <a:pt x="1639" y="2112"/>
                    <a:pt x="2111" y="1639"/>
                    <a:pt x="2111" y="1072"/>
                  </a:cubicBezTo>
                  <a:cubicBezTo>
                    <a:pt x="2080" y="473"/>
                    <a:pt x="1607" y="1"/>
                    <a:pt x="1072"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692" name="Google Shape;10692;p113"/>
            <p:cNvSpPr/>
            <p:nvPr/>
          </p:nvSpPr>
          <p:spPr>
            <a:xfrm>
              <a:off x="-48421300" y="2537325"/>
              <a:ext cx="52800" cy="52800"/>
            </a:xfrm>
            <a:custGeom>
              <a:avLst/>
              <a:gdLst/>
              <a:ahLst/>
              <a:cxnLst/>
              <a:rect l="l" t="t" r="r" b="b"/>
              <a:pathLst>
                <a:path w="2112" h="2112" extrusionOk="0">
                  <a:moveTo>
                    <a:pt x="1072" y="693"/>
                  </a:moveTo>
                  <a:cubicBezTo>
                    <a:pt x="1261" y="693"/>
                    <a:pt x="1418" y="851"/>
                    <a:pt x="1418" y="1071"/>
                  </a:cubicBezTo>
                  <a:cubicBezTo>
                    <a:pt x="1418" y="1260"/>
                    <a:pt x="1229" y="1418"/>
                    <a:pt x="1072" y="1418"/>
                  </a:cubicBezTo>
                  <a:cubicBezTo>
                    <a:pt x="851" y="1418"/>
                    <a:pt x="725" y="1260"/>
                    <a:pt x="725" y="1071"/>
                  </a:cubicBezTo>
                  <a:cubicBezTo>
                    <a:pt x="725" y="851"/>
                    <a:pt x="851" y="693"/>
                    <a:pt x="1072" y="693"/>
                  </a:cubicBezTo>
                  <a:close/>
                  <a:moveTo>
                    <a:pt x="1072" y="0"/>
                  </a:moveTo>
                  <a:cubicBezTo>
                    <a:pt x="473" y="0"/>
                    <a:pt x="1" y="473"/>
                    <a:pt x="1" y="1071"/>
                  </a:cubicBezTo>
                  <a:cubicBezTo>
                    <a:pt x="1" y="1639"/>
                    <a:pt x="473" y="2111"/>
                    <a:pt x="1072" y="2111"/>
                  </a:cubicBezTo>
                  <a:cubicBezTo>
                    <a:pt x="1639" y="2111"/>
                    <a:pt x="2111" y="1639"/>
                    <a:pt x="2111" y="1071"/>
                  </a:cubicBezTo>
                  <a:cubicBezTo>
                    <a:pt x="2080" y="473"/>
                    <a:pt x="1607" y="0"/>
                    <a:pt x="1072"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693" name="Google Shape;10693;p113"/>
            <p:cNvSpPr/>
            <p:nvPr/>
          </p:nvSpPr>
          <p:spPr>
            <a:xfrm>
              <a:off x="-48634750" y="2342775"/>
              <a:ext cx="71700" cy="301675"/>
            </a:xfrm>
            <a:custGeom>
              <a:avLst/>
              <a:gdLst/>
              <a:ahLst/>
              <a:cxnLst/>
              <a:rect l="l" t="t" r="r" b="b"/>
              <a:pathLst>
                <a:path w="2868" h="12067" extrusionOk="0">
                  <a:moveTo>
                    <a:pt x="1891" y="725"/>
                  </a:moveTo>
                  <a:lnTo>
                    <a:pt x="1891" y="725"/>
                  </a:lnTo>
                  <a:cubicBezTo>
                    <a:pt x="1828" y="851"/>
                    <a:pt x="1796" y="946"/>
                    <a:pt x="1796" y="1072"/>
                  </a:cubicBezTo>
                  <a:cubicBezTo>
                    <a:pt x="1765" y="1450"/>
                    <a:pt x="1859" y="1796"/>
                    <a:pt x="2112" y="2143"/>
                  </a:cubicBezTo>
                  <a:cubicBezTo>
                    <a:pt x="2175" y="2174"/>
                    <a:pt x="2206" y="2269"/>
                    <a:pt x="2175" y="2332"/>
                  </a:cubicBezTo>
                  <a:cubicBezTo>
                    <a:pt x="2049" y="2616"/>
                    <a:pt x="1796" y="2805"/>
                    <a:pt x="1481" y="2805"/>
                  </a:cubicBezTo>
                  <a:cubicBezTo>
                    <a:pt x="1103" y="2805"/>
                    <a:pt x="788" y="2489"/>
                    <a:pt x="788" y="2111"/>
                  </a:cubicBezTo>
                  <a:cubicBezTo>
                    <a:pt x="725" y="1702"/>
                    <a:pt x="883" y="1355"/>
                    <a:pt x="1166" y="1135"/>
                  </a:cubicBezTo>
                  <a:cubicBezTo>
                    <a:pt x="1418" y="883"/>
                    <a:pt x="1607" y="788"/>
                    <a:pt x="1891" y="725"/>
                  </a:cubicBezTo>
                  <a:close/>
                  <a:moveTo>
                    <a:pt x="1481" y="3529"/>
                  </a:moveTo>
                  <a:cubicBezTo>
                    <a:pt x="1733" y="3750"/>
                    <a:pt x="1891" y="4600"/>
                    <a:pt x="1954" y="4947"/>
                  </a:cubicBezTo>
                  <a:lnTo>
                    <a:pt x="977" y="4947"/>
                  </a:lnTo>
                  <a:cubicBezTo>
                    <a:pt x="1040" y="4600"/>
                    <a:pt x="1198" y="3750"/>
                    <a:pt x="1481" y="3529"/>
                  </a:cubicBezTo>
                  <a:close/>
                  <a:moveTo>
                    <a:pt x="2049" y="5608"/>
                  </a:moveTo>
                  <a:cubicBezTo>
                    <a:pt x="2112" y="6176"/>
                    <a:pt x="2112" y="6743"/>
                    <a:pt x="2112" y="7373"/>
                  </a:cubicBezTo>
                  <a:cubicBezTo>
                    <a:pt x="2143" y="9421"/>
                    <a:pt x="1796" y="10933"/>
                    <a:pt x="1450" y="11279"/>
                  </a:cubicBezTo>
                  <a:cubicBezTo>
                    <a:pt x="1387" y="11216"/>
                    <a:pt x="1166" y="10964"/>
                    <a:pt x="1009" y="10145"/>
                  </a:cubicBezTo>
                  <a:cubicBezTo>
                    <a:pt x="851" y="9389"/>
                    <a:pt x="725" y="8412"/>
                    <a:pt x="725" y="7373"/>
                  </a:cubicBezTo>
                  <a:cubicBezTo>
                    <a:pt x="725" y="6743"/>
                    <a:pt x="788" y="6176"/>
                    <a:pt x="820" y="5608"/>
                  </a:cubicBezTo>
                  <a:close/>
                  <a:moveTo>
                    <a:pt x="2458" y="1"/>
                  </a:moveTo>
                  <a:cubicBezTo>
                    <a:pt x="1765" y="1"/>
                    <a:pt x="1198" y="64"/>
                    <a:pt x="631" y="631"/>
                  </a:cubicBezTo>
                  <a:cubicBezTo>
                    <a:pt x="221" y="1040"/>
                    <a:pt x="1" y="1576"/>
                    <a:pt x="1" y="2143"/>
                  </a:cubicBezTo>
                  <a:cubicBezTo>
                    <a:pt x="1" y="2647"/>
                    <a:pt x="253" y="3120"/>
                    <a:pt x="694" y="3372"/>
                  </a:cubicBezTo>
                  <a:cubicBezTo>
                    <a:pt x="158" y="4317"/>
                    <a:pt x="1" y="6333"/>
                    <a:pt x="1" y="7467"/>
                  </a:cubicBezTo>
                  <a:cubicBezTo>
                    <a:pt x="1" y="8570"/>
                    <a:pt x="95" y="10586"/>
                    <a:pt x="694" y="11563"/>
                  </a:cubicBezTo>
                  <a:cubicBezTo>
                    <a:pt x="883" y="11909"/>
                    <a:pt x="1135" y="12067"/>
                    <a:pt x="1418" y="12067"/>
                  </a:cubicBezTo>
                  <a:cubicBezTo>
                    <a:pt x="1670" y="12067"/>
                    <a:pt x="1923" y="11909"/>
                    <a:pt x="2112" y="11563"/>
                  </a:cubicBezTo>
                  <a:cubicBezTo>
                    <a:pt x="2679" y="10618"/>
                    <a:pt x="2836" y="8601"/>
                    <a:pt x="2836" y="7467"/>
                  </a:cubicBezTo>
                  <a:cubicBezTo>
                    <a:pt x="2868" y="6270"/>
                    <a:pt x="2742" y="4285"/>
                    <a:pt x="2143" y="3309"/>
                  </a:cubicBezTo>
                  <a:cubicBezTo>
                    <a:pt x="2427" y="3151"/>
                    <a:pt x="2679" y="2899"/>
                    <a:pt x="2742" y="2584"/>
                  </a:cubicBezTo>
                  <a:cubicBezTo>
                    <a:pt x="2868" y="2269"/>
                    <a:pt x="2773" y="1954"/>
                    <a:pt x="2584" y="1702"/>
                  </a:cubicBezTo>
                  <a:cubicBezTo>
                    <a:pt x="2395" y="1481"/>
                    <a:pt x="2269" y="1166"/>
                    <a:pt x="2742" y="568"/>
                  </a:cubicBezTo>
                  <a:cubicBezTo>
                    <a:pt x="2836" y="442"/>
                    <a:pt x="2868" y="347"/>
                    <a:pt x="2773" y="221"/>
                  </a:cubicBezTo>
                  <a:cubicBezTo>
                    <a:pt x="2742" y="95"/>
                    <a:pt x="2584" y="1"/>
                    <a:pt x="2458"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10694" name="Google Shape;10694;p113"/>
          <p:cNvGrpSpPr/>
          <p:nvPr/>
        </p:nvGrpSpPr>
        <p:grpSpPr>
          <a:xfrm>
            <a:off x="4095252" y="3287970"/>
            <a:ext cx="476365" cy="476365"/>
            <a:chOff x="-48633175" y="2711375"/>
            <a:chExt cx="299325" cy="299325"/>
          </a:xfrm>
        </p:grpSpPr>
        <p:sp>
          <p:nvSpPr>
            <p:cNvPr id="10695" name="Google Shape;10695;p113"/>
            <p:cNvSpPr/>
            <p:nvPr/>
          </p:nvSpPr>
          <p:spPr>
            <a:xfrm>
              <a:off x="-48633175" y="2711375"/>
              <a:ext cx="299325" cy="299325"/>
            </a:xfrm>
            <a:custGeom>
              <a:avLst/>
              <a:gdLst/>
              <a:ahLst/>
              <a:cxnLst/>
              <a:rect l="l" t="t" r="r" b="b"/>
              <a:pathLst>
                <a:path w="11973" h="11973" extrusionOk="0">
                  <a:moveTo>
                    <a:pt x="6459" y="662"/>
                  </a:moveTo>
                  <a:lnTo>
                    <a:pt x="6774" y="1356"/>
                  </a:lnTo>
                  <a:cubicBezTo>
                    <a:pt x="6837" y="1419"/>
                    <a:pt x="6900" y="1513"/>
                    <a:pt x="7026" y="1545"/>
                  </a:cubicBezTo>
                  <a:cubicBezTo>
                    <a:pt x="7499" y="1671"/>
                    <a:pt x="7971" y="1860"/>
                    <a:pt x="8413" y="2080"/>
                  </a:cubicBezTo>
                  <a:cubicBezTo>
                    <a:pt x="8459" y="2126"/>
                    <a:pt x="8539" y="2156"/>
                    <a:pt x="8627" y="2156"/>
                  </a:cubicBezTo>
                  <a:cubicBezTo>
                    <a:pt x="8660" y="2156"/>
                    <a:pt x="8694" y="2152"/>
                    <a:pt x="8728" y="2143"/>
                  </a:cubicBezTo>
                  <a:lnTo>
                    <a:pt x="9389" y="1891"/>
                  </a:lnTo>
                  <a:lnTo>
                    <a:pt x="10051" y="2553"/>
                  </a:lnTo>
                  <a:lnTo>
                    <a:pt x="9799" y="3214"/>
                  </a:lnTo>
                  <a:cubicBezTo>
                    <a:pt x="9767" y="3340"/>
                    <a:pt x="9767" y="3435"/>
                    <a:pt x="9862" y="3561"/>
                  </a:cubicBezTo>
                  <a:cubicBezTo>
                    <a:pt x="10114" y="3970"/>
                    <a:pt x="10334" y="4412"/>
                    <a:pt x="10397" y="4916"/>
                  </a:cubicBezTo>
                  <a:cubicBezTo>
                    <a:pt x="10460" y="5042"/>
                    <a:pt x="10492" y="5136"/>
                    <a:pt x="10586" y="5168"/>
                  </a:cubicBezTo>
                  <a:lnTo>
                    <a:pt x="11279" y="5483"/>
                  </a:lnTo>
                  <a:lnTo>
                    <a:pt x="11279" y="6459"/>
                  </a:lnTo>
                  <a:lnTo>
                    <a:pt x="10586" y="6774"/>
                  </a:lnTo>
                  <a:cubicBezTo>
                    <a:pt x="10523" y="6806"/>
                    <a:pt x="10460" y="6900"/>
                    <a:pt x="10397" y="7026"/>
                  </a:cubicBezTo>
                  <a:cubicBezTo>
                    <a:pt x="10271" y="7499"/>
                    <a:pt x="10082" y="7972"/>
                    <a:pt x="9862" y="8381"/>
                  </a:cubicBezTo>
                  <a:cubicBezTo>
                    <a:pt x="9799" y="8476"/>
                    <a:pt x="9767" y="8602"/>
                    <a:pt x="9799" y="8696"/>
                  </a:cubicBezTo>
                  <a:lnTo>
                    <a:pt x="10051" y="9389"/>
                  </a:lnTo>
                  <a:lnTo>
                    <a:pt x="9389" y="10051"/>
                  </a:lnTo>
                  <a:lnTo>
                    <a:pt x="8728" y="9799"/>
                  </a:lnTo>
                  <a:cubicBezTo>
                    <a:pt x="8681" y="9787"/>
                    <a:pt x="8640" y="9780"/>
                    <a:pt x="8600" y="9780"/>
                  </a:cubicBezTo>
                  <a:cubicBezTo>
                    <a:pt x="8532" y="9780"/>
                    <a:pt x="8472" y="9802"/>
                    <a:pt x="8413" y="9862"/>
                  </a:cubicBezTo>
                  <a:cubicBezTo>
                    <a:pt x="7971" y="10114"/>
                    <a:pt x="7530" y="10303"/>
                    <a:pt x="7026" y="10397"/>
                  </a:cubicBezTo>
                  <a:cubicBezTo>
                    <a:pt x="6900" y="10429"/>
                    <a:pt x="6837" y="10492"/>
                    <a:pt x="6774" y="10586"/>
                  </a:cubicBezTo>
                  <a:lnTo>
                    <a:pt x="6459" y="11280"/>
                  </a:lnTo>
                  <a:lnTo>
                    <a:pt x="5483" y="11280"/>
                  </a:lnTo>
                  <a:lnTo>
                    <a:pt x="5168" y="10586"/>
                  </a:lnTo>
                  <a:cubicBezTo>
                    <a:pt x="5136" y="10523"/>
                    <a:pt x="5042" y="10429"/>
                    <a:pt x="4915" y="10397"/>
                  </a:cubicBezTo>
                  <a:cubicBezTo>
                    <a:pt x="4443" y="10271"/>
                    <a:pt x="3970" y="10082"/>
                    <a:pt x="3561" y="9862"/>
                  </a:cubicBezTo>
                  <a:cubicBezTo>
                    <a:pt x="3492" y="9816"/>
                    <a:pt x="3406" y="9786"/>
                    <a:pt x="3327" y="9786"/>
                  </a:cubicBezTo>
                  <a:cubicBezTo>
                    <a:pt x="3299" y="9786"/>
                    <a:pt x="3271" y="9790"/>
                    <a:pt x="3246" y="9799"/>
                  </a:cubicBezTo>
                  <a:lnTo>
                    <a:pt x="2553" y="10051"/>
                  </a:lnTo>
                  <a:lnTo>
                    <a:pt x="1891" y="9389"/>
                  </a:lnTo>
                  <a:lnTo>
                    <a:pt x="2143" y="8696"/>
                  </a:lnTo>
                  <a:cubicBezTo>
                    <a:pt x="2175" y="8602"/>
                    <a:pt x="2175" y="8507"/>
                    <a:pt x="2080" y="8381"/>
                  </a:cubicBezTo>
                  <a:cubicBezTo>
                    <a:pt x="1828" y="7972"/>
                    <a:pt x="1607" y="7531"/>
                    <a:pt x="1544" y="7026"/>
                  </a:cubicBezTo>
                  <a:cubicBezTo>
                    <a:pt x="1513" y="6900"/>
                    <a:pt x="1450" y="6806"/>
                    <a:pt x="1355" y="6774"/>
                  </a:cubicBezTo>
                  <a:lnTo>
                    <a:pt x="662" y="6459"/>
                  </a:lnTo>
                  <a:lnTo>
                    <a:pt x="662" y="5483"/>
                  </a:lnTo>
                  <a:lnTo>
                    <a:pt x="1355" y="5168"/>
                  </a:lnTo>
                  <a:cubicBezTo>
                    <a:pt x="1418" y="5136"/>
                    <a:pt x="1513" y="5042"/>
                    <a:pt x="1544" y="4916"/>
                  </a:cubicBezTo>
                  <a:cubicBezTo>
                    <a:pt x="1670" y="4443"/>
                    <a:pt x="1860" y="3970"/>
                    <a:pt x="2080" y="3561"/>
                  </a:cubicBezTo>
                  <a:cubicBezTo>
                    <a:pt x="2143" y="3466"/>
                    <a:pt x="2175" y="3340"/>
                    <a:pt x="2143" y="3214"/>
                  </a:cubicBezTo>
                  <a:lnTo>
                    <a:pt x="1891" y="2553"/>
                  </a:lnTo>
                  <a:lnTo>
                    <a:pt x="2553" y="1891"/>
                  </a:lnTo>
                  <a:lnTo>
                    <a:pt x="3246" y="2143"/>
                  </a:lnTo>
                  <a:cubicBezTo>
                    <a:pt x="3280" y="2155"/>
                    <a:pt x="3315" y="2162"/>
                    <a:pt x="3351" y="2162"/>
                  </a:cubicBezTo>
                  <a:cubicBezTo>
                    <a:pt x="3414" y="2162"/>
                    <a:pt x="3481" y="2140"/>
                    <a:pt x="3561" y="2080"/>
                  </a:cubicBezTo>
                  <a:cubicBezTo>
                    <a:pt x="3970" y="1828"/>
                    <a:pt x="4411" y="1608"/>
                    <a:pt x="4915" y="1545"/>
                  </a:cubicBezTo>
                  <a:cubicBezTo>
                    <a:pt x="5042" y="1513"/>
                    <a:pt x="5136" y="1450"/>
                    <a:pt x="5168" y="1356"/>
                  </a:cubicBezTo>
                  <a:lnTo>
                    <a:pt x="5483" y="662"/>
                  </a:lnTo>
                  <a:close/>
                  <a:moveTo>
                    <a:pt x="5294" y="1"/>
                  </a:moveTo>
                  <a:cubicBezTo>
                    <a:pt x="5168" y="1"/>
                    <a:pt x="5010" y="64"/>
                    <a:pt x="4978" y="190"/>
                  </a:cubicBezTo>
                  <a:lnTo>
                    <a:pt x="4632" y="915"/>
                  </a:lnTo>
                  <a:cubicBezTo>
                    <a:pt x="4191" y="1041"/>
                    <a:pt x="3750" y="1198"/>
                    <a:pt x="3372" y="1419"/>
                  </a:cubicBezTo>
                  <a:lnTo>
                    <a:pt x="2616" y="1198"/>
                  </a:lnTo>
                  <a:cubicBezTo>
                    <a:pt x="2579" y="1180"/>
                    <a:pt x="2539" y="1172"/>
                    <a:pt x="2500" y="1172"/>
                  </a:cubicBezTo>
                  <a:cubicBezTo>
                    <a:pt x="2405" y="1172"/>
                    <a:pt x="2314" y="1217"/>
                    <a:pt x="2269" y="1261"/>
                  </a:cubicBezTo>
                  <a:lnTo>
                    <a:pt x="1261" y="2238"/>
                  </a:lnTo>
                  <a:cubicBezTo>
                    <a:pt x="1198" y="2332"/>
                    <a:pt x="1166" y="2490"/>
                    <a:pt x="1198" y="2616"/>
                  </a:cubicBezTo>
                  <a:lnTo>
                    <a:pt x="1418" y="3340"/>
                  </a:lnTo>
                  <a:cubicBezTo>
                    <a:pt x="1198" y="3750"/>
                    <a:pt x="1040" y="4191"/>
                    <a:pt x="914" y="4601"/>
                  </a:cubicBezTo>
                  <a:lnTo>
                    <a:pt x="221" y="4979"/>
                  </a:lnTo>
                  <a:cubicBezTo>
                    <a:pt x="95" y="5010"/>
                    <a:pt x="1" y="5168"/>
                    <a:pt x="1" y="5294"/>
                  </a:cubicBezTo>
                  <a:lnTo>
                    <a:pt x="1" y="6711"/>
                  </a:lnTo>
                  <a:cubicBezTo>
                    <a:pt x="1" y="6806"/>
                    <a:pt x="95" y="6963"/>
                    <a:pt x="221" y="7026"/>
                  </a:cubicBezTo>
                  <a:lnTo>
                    <a:pt x="914" y="7373"/>
                  </a:lnTo>
                  <a:cubicBezTo>
                    <a:pt x="1040" y="7814"/>
                    <a:pt x="1198" y="8224"/>
                    <a:pt x="1418" y="8633"/>
                  </a:cubicBezTo>
                  <a:lnTo>
                    <a:pt x="1198" y="9389"/>
                  </a:lnTo>
                  <a:cubicBezTo>
                    <a:pt x="1166" y="9484"/>
                    <a:pt x="1198" y="9641"/>
                    <a:pt x="1261" y="9736"/>
                  </a:cubicBezTo>
                  <a:lnTo>
                    <a:pt x="2269" y="10712"/>
                  </a:lnTo>
                  <a:cubicBezTo>
                    <a:pt x="2316" y="10783"/>
                    <a:pt x="2417" y="10819"/>
                    <a:pt x="2517" y="10819"/>
                  </a:cubicBezTo>
                  <a:cubicBezTo>
                    <a:pt x="2551" y="10819"/>
                    <a:pt x="2584" y="10815"/>
                    <a:pt x="2616" y="10807"/>
                  </a:cubicBezTo>
                  <a:lnTo>
                    <a:pt x="3372" y="10555"/>
                  </a:lnTo>
                  <a:cubicBezTo>
                    <a:pt x="3750" y="10807"/>
                    <a:pt x="4191" y="10965"/>
                    <a:pt x="4632" y="11059"/>
                  </a:cubicBezTo>
                  <a:lnTo>
                    <a:pt x="4978" y="11784"/>
                  </a:lnTo>
                  <a:cubicBezTo>
                    <a:pt x="5010" y="11910"/>
                    <a:pt x="5168" y="11973"/>
                    <a:pt x="5294" y="11973"/>
                  </a:cubicBezTo>
                  <a:lnTo>
                    <a:pt x="6711" y="11973"/>
                  </a:lnTo>
                  <a:cubicBezTo>
                    <a:pt x="6837" y="11973"/>
                    <a:pt x="6995" y="11910"/>
                    <a:pt x="7026" y="11784"/>
                  </a:cubicBezTo>
                  <a:lnTo>
                    <a:pt x="7373" y="11059"/>
                  </a:lnTo>
                  <a:cubicBezTo>
                    <a:pt x="7814" y="10965"/>
                    <a:pt x="8255" y="10807"/>
                    <a:pt x="8633" y="10555"/>
                  </a:cubicBezTo>
                  <a:lnTo>
                    <a:pt x="9389" y="10807"/>
                  </a:lnTo>
                  <a:cubicBezTo>
                    <a:pt x="9421" y="10815"/>
                    <a:pt x="9454" y="10819"/>
                    <a:pt x="9488" y="10819"/>
                  </a:cubicBezTo>
                  <a:cubicBezTo>
                    <a:pt x="9588" y="10819"/>
                    <a:pt x="9688" y="10783"/>
                    <a:pt x="9736" y="10712"/>
                  </a:cubicBezTo>
                  <a:lnTo>
                    <a:pt x="10712" y="9736"/>
                  </a:lnTo>
                  <a:cubicBezTo>
                    <a:pt x="10807" y="9641"/>
                    <a:pt x="10838" y="9484"/>
                    <a:pt x="10807" y="9389"/>
                  </a:cubicBezTo>
                  <a:lnTo>
                    <a:pt x="10555" y="8633"/>
                  </a:lnTo>
                  <a:cubicBezTo>
                    <a:pt x="10807" y="8224"/>
                    <a:pt x="10964" y="7814"/>
                    <a:pt x="11059" y="7373"/>
                  </a:cubicBezTo>
                  <a:lnTo>
                    <a:pt x="11784" y="7026"/>
                  </a:lnTo>
                  <a:cubicBezTo>
                    <a:pt x="11910" y="6963"/>
                    <a:pt x="11973" y="6806"/>
                    <a:pt x="11973" y="6711"/>
                  </a:cubicBezTo>
                  <a:lnTo>
                    <a:pt x="11973" y="5294"/>
                  </a:lnTo>
                  <a:cubicBezTo>
                    <a:pt x="11973" y="5168"/>
                    <a:pt x="11910" y="5042"/>
                    <a:pt x="11784" y="4979"/>
                  </a:cubicBezTo>
                  <a:lnTo>
                    <a:pt x="11059" y="4601"/>
                  </a:lnTo>
                  <a:cubicBezTo>
                    <a:pt x="10964" y="4191"/>
                    <a:pt x="10807" y="3750"/>
                    <a:pt x="10555" y="3340"/>
                  </a:cubicBezTo>
                  <a:lnTo>
                    <a:pt x="10807" y="2616"/>
                  </a:lnTo>
                  <a:cubicBezTo>
                    <a:pt x="10838" y="2490"/>
                    <a:pt x="10807" y="2332"/>
                    <a:pt x="10712" y="2238"/>
                  </a:cubicBezTo>
                  <a:lnTo>
                    <a:pt x="9736" y="1261"/>
                  </a:lnTo>
                  <a:cubicBezTo>
                    <a:pt x="9691" y="1217"/>
                    <a:pt x="9584" y="1172"/>
                    <a:pt x="9491" y="1172"/>
                  </a:cubicBezTo>
                  <a:cubicBezTo>
                    <a:pt x="9453" y="1172"/>
                    <a:pt x="9417" y="1180"/>
                    <a:pt x="9389" y="1198"/>
                  </a:cubicBezTo>
                  <a:lnTo>
                    <a:pt x="8633" y="1419"/>
                  </a:lnTo>
                  <a:cubicBezTo>
                    <a:pt x="8255" y="1198"/>
                    <a:pt x="7814" y="1041"/>
                    <a:pt x="7373" y="915"/>
                  </a:cubicBezTo>
                  <a:lnTo>
                    <a:pt x="7026" y="190"/>
                  </a:lnTo>
                  <a:cubicBezTo>
                    <a:pt x="6995" y="64"/>
                    <a:pt x="6837" y="1"/>
                    <a:pt x="6711"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696" name="Google Shape;10696;p113"/>
            <p:cNvSpPr/>
            <p:nvPr/>
          </p:nvSpPr>
          <p:spPr>
            <a:xfrm>
              <a:off x="-48579600" y="2764950"/>
              <a:ext cx="192975" cy="191400"/>
            </a:xfrm>
            <a:custGeom>
              <a:avLst/>
              <a:gdLst/>
              <a:ahLst/>
              <a:cxnLst/>
              <a:rect l="l" t="t" r="r" b="b"/>
              <a:pathLst>
                <a:path w="7719" h="7656" extrusionOk="0">
                  <a:moveTo>
                    <a:pt x="3844" y="3214"/>
                  </a:moveTo>
                  <a:lnTo>
                    <a:pt x="4442" y="4411"/>
                  </a:lnTo>
                  <a:cubicBezTo>
                    <a:pt x="4237" y="4490"/>
                    <a:pt x="4033" y="4529"/>
                    <a:pt x="3832" y="4529"/>
                  </a:cubicBezTo>
                  <a:cubicBezTo>
                    <a:pt x="3631" y="4529"/>
                    <a:pt x="3434" y="4490"/>
                    <a:pt x="3245" y="4411"/>
                  </a:cubicBezTo>
                  <a:lnTo>
                    <a:pt x="3844" y="3214"/>
                  </a:lnTo>
                  <a:close/>
                  <a:moveTo>
                    <a:pt x="3781" y="693"/>
                  </a:moveTo>
                  <a:cubicBezTo>
                    <a:pt x="5513" y="693"/>
                    <a:pt x="6931" y="2111"/>
                    <a:pt x="6931" y="3844"/>
                  </a:cubicBezTo>
                  <a:cubicBezTo>
                    <a:pt x="6994" y="5104"/>
                    <a:pt x="6301" y="6175"/>
                    <a:pt x="5230" y="6679"/>
                  </a:cubicBezTo>
                  <a:lnTo>
                    <a:pt x="5230" y="4568"/>
                  </a:lnTo>
                  <a:cubicBezTo>
                    <a:pt x="5230" y="4411"/>
                    <a:pt x="5230" y="4442"/>
                    <a:pt x="4127" y="2300"/>
                  </a:cubicBezTo>
                  <a:cubicBezTo>
                    <a:pt x="4033" y="2206"/>
                    <a:pt x="3938" y="2111"/>
                    <a:pt x="3812" y="2111"/>
                  </a:cubicBezTo>
                  <a:cubicBezTo>
                    <a:pt x="3686" y="2111"/>
                    <a:pt x="3560" y="2206"/>
                    <a:pt x="3497" y="2300"/>
                  </a:cubicBezTo>
                  <a:cubicBezTo>
                    <a:pt x="2363" y="4600"/>
                    <a:pt x="2394" y="4442"/>
                    <a:pt x="2394" y="4568"/>
                  </a:cubicBezTo>
                  <a:lnTo>
                    <a:pt x="2394" y="6679"/>
                  </a:lnTo>
                  <a:cubicBezTo>
                    <a:pt x="1355" y="6175"/>
                    <a:pt x="630" y="5104"/>
                    <a:pt x="630" y="3844"/>
                  </a:cubicBezTo>
                  <a:cubicBezTo>
                    <a:pt x="630" y="2111"/>
                    <a:pt x="2048" y="693"/>
                    <a:pt x="3781" y="693"/>
                  </a:cubicBezTo>
                  <a:close/>
                  <a:moveTo>
                    <a:pt x="4568" y="5104"/>
                  </a:moveTo>
                  <a:lnTo>
                    <a:pt x="4568" y="6931"/>
                  </a:lnTo>
                  <a:cubicBezTo>
                    <a:pt x="4316" y="6963"/>
                    <a:pt x="4096" y="6994"/>
                    <a:pt x="3844" y="6994"/>
                  </a:cubicBezTo>
                  <a:cubicBezTo>
                    <a:pt x="3623" y="6994"/>
                    <a:pt x="3371" y="6994"/>
                    <a:pt x="3151" y="6931"/>
                  </a:cubicBezTo>
                  <a:lnTo>
                    <a:pt x="3151" y="5104"/>
                  </a:lnTo>
                  <a:cubicBezTo>
                    <a:pt x="3371" y="5198"/>
                    <a:pt x="3623" y="5230"/>
                    <a:pt x="3844" y="5230"/>
                  </a:cubicBezTo>
                  <a:cubicBezTo>
                    <a:pt x="4096" y="5230"/>
                    <a:pt x="4316" y="5198"/>
                    <a:pt x="4568" y="5104"/>
                  </a:cubicBezTo>
                  <a:close/>
                  <a:moveTo>
                    <a:pt x="3844" y="0"/>
                  </a:moveTo>
                  <a:cubicBezTo>
                    <a:pt x="1733" y="0"/>
                    <a:pt x="0" y="1733"/>
                    <a:pt x="0" y="3844"/>
                  </a:cubicBezTo>
                  <a:cubicBezTo>
                    <a:pt x="0" y="5577"/>
                    <a:pt x="1134" y="7026"/>
                    <a:pt x="2678" y="7498"/>
                  </a:cubicBezTo>
                  <a:lnTo>
                    <a:pt x="2709" y="7498"/>
                  </a:lnTo>
                  <a:cubicBezTo>
                    <a:pt x="3056" y="7624"/>
                    <a:pt x="3466" y="7656"/>
                    <a:pt x="3844" y="7656"/>
                  </a:cubicBezTo>
                  <a:cubicBezTo>
                    <a:pt x="4253" y="7656"/>
                    <a:pt x="4631" y="7593"/>
                    <a:pt x="4978" y="7498"/>
                  </a:cubicBezTo>
                  <a:lnTo>
                    <a:pt x="5041" y="7498"/>
                  </a:lnTo>
                  <a:cubicBezTo>
                    <a:pt x="6616" y="6994"/>
                    <a:pt x="7719" y="5545"/>
                    <a:pt x="7719" y="3844"/>
                  </a:cubicBezTo>
                  <a:cubicBezTo>
                    <a:pt x="7719" y="1733"/>
                    <a:pt x="5986" y="0"/>
                    <a:pt x="3844"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10697" name="Google Shape;10697;p113"/>
          <p:cNvGrpSpPr/>
          <p:nvPr/>
        </p:nvGrpSpPr>
        <p:grpSpPr>
          <a:xfrm>
            <a:off x="2343904" y="3890573"/>
            <a:ext cx="418675" cy="477639"/>
            <a:chOff x="-46753100" y="1965500"/>
            <a:chExt cx="263075" cy="300125"/>
          </a:xfrm>
        </p:grpSpPr>
        <p:sp>
          <p:nvSpPr>
            <p:cNvPr id="10698" name="Google Shape;10698;p113"/>
            <p:cNvSpPr/>
            <p:nvPr/>
          </p:nvSpPr>
          <p:spPr>
            <a:xfrm>
              <a:off x="-46647575" y="2034825"/>
              <a:ext cx="53575" cy="53575"/>
            </a:xfrm>
            <a:custGeom>
              <a:avLst/>
              <a:gdLst/>
              <a:ahLst/>
              <a:cxnLst/>
              <a:rect l="l" t="t" r="r" b="b"/>
              <a:pathLst>
                <a:path w="2143" h="2143" extrusionOk="0">
                  <a:moveTo>
                    <a:pt x="1072" y="756"/>
                  </a:moveTo>
                  <a:cubicBezTo>
                    <a:pt x="1261" y="756"/>
                    <a:pt x="1418" y="914"/>
                    <a:pt x="1418" y="1103"/>
                  </a:cubicBezTo>
                  <a:cubicBezTo>
                    <a:pt x="1418" y="1323"/>
                    <a:pt x="1261" y="1481"/>
                    <a:pt x="1072" y="1481"/>
                  </a:cubicBezTo>
                  <a:cubicBezTo>
                    <a:pt x="883" y="1481"/>
                    <a:pt x="725" y="1323"/>
                    <a:pt x="725" y="1103"/>
                  </a:cubicBezTo>
                  <a:cubicBezTo>
                    <a:pt x="725" y="914"/>
                    <a:pt x="883" y="756"/>
                    <a:pt x="1072" y="756"/>
                  </a:cubicBezTo>
                  <a:close/>
                  <a:moveTo>
                    <a:pt x="1072" y="0"/>
                  </a:moveTo>
                  <a:cubicBezTo>
                    <a:pt x="473" y="0"/>
                    <a:pt x="1" y="473"/>
                    <a:pt x="1" y="1071"/>
                  </a:cubicBezTo>
                  <a:cubicBezTo>
                    <a:pt x="1" y="1670"/>
                    <a:pt x="473" y="2143"/>
                    <a:pt x="1072" y="2143"/>
                  </a:cubicBezTo>
                  <a:cubicBezTo>
                    <a:pt x="1670" y="2143"/>
                    <a:pt x="2143" y="1670"/>
                    <a:pt x="2143" y="1071"/>
                  </a:cubicBezTo>
                  <a:cubicBezTo>
                    <a:pt x="2143" y="473"/>
                    <a:pt x="1670" y="0"/>
                    <a:pt x="1072"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699" name="Google Shape;10699;p113"/>
            <p:cNvSpPr/>
            <p:nvPr/>
          </p:nvSpPr>
          <p:spPr>
            <a:xfrm>
              <a:off x="-46753100" y="1965500"/>
              <a:ext cx="263075" cy="300125"/>
            </a:xfrm>
            <a:custGeom>
              <a:avLst/>
              <a:gdLst/>
              <a:ahLst/>
              <a:cxnLst/>
              <a:rect l="l" t="t" r="r" b="b"/>
              <a:pathLst>
                <a:path w="10523" h="12005" extrusionOk="0">
                  <a:moveTo>
                    <a:pt x="5293" y="694"/>
                  </a:moveTo>
                  <a:cubicBezTo>
                    <a:pt x="5765" y="694"/>
                    <a:pt x="6175" y="977"/>
                    <a:pt x="6270" y="1419"/>
                  </a:cubicBezTo>
                  <a:lnTo>
                    <a:pt x="4316" y="1419"/>
                  </a:lnTo>
                  <a:cubicBezTo>
                    <a:pt x="4442" y="977"/>
                    <a:pt x="4820" y="694"/>
                    <a:pt x="5293" y="694"/>
                  </a:cubicBezTo>
                  <a:close/>
                  <a:moveTo>
                    <a:pt x="3875" y="5766"/>
                  </a:moveTo>
                  <a:lnTo>
                    <a:pt x="5135" y="7026"/>
                  </a:lnTo>
                  <a:lnTo>
                    <a:pt x="2615" y="7026"/>
                  </a:lnTo>
                  <a:lnTo>
                    <a:pt x="3875" y="5766"/>
                  </a:lnTo>
                  <a:close/>
                  <a:moveTo>
                    <a:pt x="6679" y="5766"/>
                  </a:moveTo>
                  <a:lnTo>
                    <a:pt x="7939" y="7026"/>
                  </a:lnTo>
                  <a:lnTo>
                    <a:pt x="6144" y="7026"/>
                  </a:lnTo>
                  <a:lnTo>
                    <a:pt x="5797" y="6711"/>
                  </a:lnTo>
                  <a:lnTo>
                    <a:pt x="6679" y="5766"/>
                  </a:lnTo>
                  <a:close/>
                  <a:moveTo>
                    <a:pt x="8758" y="2112"/>
                  </a:moveTo>
                  <a:cubicBezTo>
                    <a:pt x="8947" y="2112"/>
                    <a:pt x="9105" y="2269"/>
                    <a:pt x="9105" y="2458"/>
                  </a:cubicBezTo>
                  <a:lnTo>
                    <a:pt x="9105" y="7089"/>
                  </a:lnTo>
                  <a:lnTo>
                    <a:pt x="8916" y="7089"/>
                  </a:lnTo>
                  <a:lnTo>
                    <a:pt x="6900" y="5073"/>
                  </a:lnTo>
                  <a:cubicBezTo>
                    <a:pt x="6825" y="4999"/>
                    <a:pt x="6744" y="4966"/>
                    <a:pt x="6662" y="4966"/>
                  </a:cubicBezTo>
                  <a:cubicBezTo>
                    <a:pt x="6571" y="4966"/>
                    <a:pt x="6479" y="5007"/>
                    <a:pt x="6396" y="5073"/>
                  </a:cubicBezTo>
                  <a:lnTo>
                    <a:pt x="5293" y="6239"/>
                  </a:lnTo>
                  <a:lnTo>
                    <a:pt x="4127" y="5073"/>
                  </a:lnTo>
                  <a:cubicBezTo>
                    <a:pt x="4064" y="5010"/>
                    <a:pt x="3970" y="4979"/>
                    <a:pt x="3871" y="4979"/>
                  </a:cubicBezTo>
                  <a:cubicBezTo>
                    <a:pt x="3773" y="4979"/>
                    <a:pt x="3670" y="5010"/>
                    <a:pt x="3592" y="5073"/>
                  </a:cubicBezTo>
                  <a:lnTo>
                    <a:pt x="1607" y="7089"/>
                  </a:lnTo>
                  <a:lnTo>
                    <a:pt x="1386" y="7089"/>
                  </a:lnTo>
                  <a:lnTo>
                    <a:pt x="1386" y="2458"/>
                  </a:lnTo>
                  <a:cubicBezTo>
                    <a:pt x="1449" y="2269"/>
                    <a:pt x="1607" y="2112"/>
                    <a:pt x="1764" y="2112"/>
                  </a:cubicBezTo>
                  <a:close/>
                  <a:moveTo>
                    <a:pt x="9168" y="7751"/>
                  </a:moveTo>
                  <a:lnTo>
                    <a:pt x="9168" y="8444"/>
                  </a:lnTo>
                  <a:lnTo>
                    <a:pt x="1449" y="8444"/>
                  </a:lnTo>
                  <a:lnTo>
                    <a:pt x="1449" y="7751"/>
                  </a:lnTo>
                  <a:close/>
                  <a:moveTo>
                    <a:pt x="7782" y="9137"/>
                  </a:moveTo>
                  <a:lnTo>
                    <a:pt x="7971" y="9830"/>
                  </a:lnTo>
                  <a:lnTo>
                    <a:pt x="2552" y="9830"/>
                  </a:lnTo>
                  <a:lnTo>
                    <a:pt x="2709" y="9137"/>
                  </a:lnTo>
                  <a:close/>
                  <a:moveTo>
                    <a:pt x="5261" y="1"/>
                  </a:moveTo>
                  <a:cubicBezTo>
                    <a:pt x="4411" y="1"/>
                    <a:pt x="3686" y="568"/>
                    <a:pt x="3529" y="1419"/>
                  </a:cubicBezTo>
                  <a:lnTo>
                    <a:pt x="1764" y="1419"/>
                  </a:lnTo>
                  <a:cubicBezTo>
                    <a:pt x="1166" y="1419"/>
                    <a:pt x="693" y="1891"/>
                    <a:pt x="693" y="2458"/>
                  </a:cubicBezTo>
                  <a:lnTo>
                    <a:pt x="693" y="8444"/>
                  </a:lnTo>
                  <a:lnTo>
                    <a:pt x="347" y="8444"/>
                  </a:lnTo>
                  <a:cubicBezTo>
                    <a:pt x="158" y="8444"/>
                    <a:pt x="0" y="8602"/>
                    <a:pt x="0" y="8822"/>
                  </a:cubicBezTo>
                  <a:cubicBezTo>
                    <a:pt x="0" y="9011"/>
                    <a:pt x="158" y="9169"/>
                    <a:pt x="347" y="9169"/>
                  </a:cubicBezTo>
                  <a:lnTo>
                    <a:pt x="1985" y="9169"/>
                  </a:lnTo>
                  <a:cubicBezTo>
                    <a:pt x="1922" y="9484"/>
                    <a:pt x="1481" y="11217"/>
                    <a:pt x="1418" y="11563"/>
                  </a:cubicBezTo>
                  <a:cubicBezTo>
                    <a:pt x="1355" y="11752"/>
                    <a:pt x="1481" y="11973"/>
                    <a:pt x="1670" y="12004"/>
                  </a:cubicBezTo>
                  <a:lnTo>
                    <a:pt x="1764" y="12004"/>
                  </a:lnTo>
                  <a:cubicBezTo>
                    <a:pt x="1922" y="12004"/>
                    <a:pt x="2079" y="11878"/>
                    <a:pt x="2111" y="11721"/>
                  </a:cubicBezTo>
                  <a:lnTo>
                    <a:pt x="2394" y="10586"/>
                  </a:lnTo>
                  <a:lnTo>
                    <a:pt x="8128" y="10586"/>
                  </a:lnTo>
                  <a:lnTo>
                    <a:pt x="8412" y="11721"/>
                  </a:lnTo>
                  <a:cubicBezTo>
                    <a:pt x="8443" y="11878"/>
                    <a:pt x="8601" y="12004"/>
                    <a:pt x="8758" y="12004"/>
                  </a:cubicBezTo>
                  <a:lnTo>
                    <a:pt x="8853" y="12004"/>
                  </a:lnTo>
                  <a:cubicBezTo>
                    <a:pt x="9042" y="11973"/>
                    <a:pt x="9168" y="11752"/>
                    <a:pt x="9105" y="11563"/>
                  </a:cubicBezTo>
                  <a:cubicBezTo>
                    <a:pt x="9042" y="11217"/>
                    <a:pt x="8601" y="9484"/>
                    <a:pt x="8538" y="9169"/>
                  </a:cubicBezTo>
                  <a:lnTo>
                    <a:pt x="10176" y="9169"/>
                  </a:lnTo>
                  <a:cubicBezTo>
                    <a:pt x="10365" y="9169"/>
                    <a:pt x="10523" y="9011"/>
                    <a:pt x="10523" y="8822"/>
                  </a:cubicBezTo>
                  <a:cubicBezTo>
                    <a:pt x="10523" y="8602"/>
                    <a:pt x="10365" y="8444"/>
                    <a:pt x="10176" y="8444"/>
                  </a:cubicBezTo>
                  <a:lnTo>
                    <a:pt x="9830" y="8444"/>
                  </a:lnTo>
                  <a:lnTo>
                    <a:pt x="9830" y="2458"/>
                  </a:lnTo>
                  <a:cubicBezTo>
                    <a:pt x="9830" y="1891"/>
                    <a:pt x="9357" y="1419"/>
                    <a:pt x="8758" y="1419"/>
                  </a:cubicBezTo>
                  <a:lnTo>
                    <a:pt x="6994" y="1419"/>
                  </a:lnTo>
                  <a:cubicBezTo>
                    <a:pt x="6837" y="631"/>
                    <a:pt x="6144" y="1"/>
                    <a:pt x="5261"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10700" name="Google Shape;10700;p113"/>
          <p:cNvGrpSpPr/>
          <p:nvPr/>
        </p:nvGrpSpPr>
        <p:grpSpPr>
          <a:xfrm>
            <a:off x="2313805" y="4513523"/>
            <a:ext cx="478872" cy="421221"/>
            <a:chOff x="-46772025" y="2350650"/>
            <a:chExt cx="300900" cy="264675"/>
          </a:xfrm>
        </p:grpSpPr>
        <p:sp>
          <p:nvSpPr>
            <p:cNvPr id="10701" name="Google Shape;10701;p113"/>
            <p:cNvSpPr/>
            <p:nvPr/>
          </p:nvSpPr>
          <p:spPr>
            <a:xfrm>
              <a:off x="-46772025" y="2350650"/>
              <a:ext cx="300900" cy="264675"/>
            </a:xfrm>
            <a:custGeom>
              <a:avLst/>
              <a:gdLst/>
              <a:ahLst/>
              <a:cxnLst/>
              <a:rect l="l" t="t" r="r" b="b"/>
              <a:pathLst>
                <a:path w="12036" h="10587" extrusionOk="0">
                  <a:moveTo>
                    <a:pt x="6050" y="820"/>
                  </a:moveTo>
                  <a:cubicBezTo>
                    <a:pt x="7184" y="820"/>
                    <a:pt x="8287" y="1229"/>
                    <a:pt x="9169" y="1985"/>
                  </a:cubicBezTo>
                  <a:cubicBezTo>
                    <a:pt x="9326" y="2111"/>
                    <a:pt x="9326" y="2332"/>
                    <a:pt x="9169" y="2458"/>
                  </a:cubicBezTo>
                  <a:lnTo>
                    <a:pt x="9137" y="2490"/>
                  </a:lnTo>
                  <a:cubicBezTo>
                    <a:pt x="9064" y="2533"/>
                    <a:pt x="8978" y="2557"/>
                    <a:pt x="8896" y="2557"/>
                  </a:cubicBezTo>
                  <a:cubicBezTo>
                    <a:pt x="8802" y="2557"/>
                    <a:pt x="8715" y="2526"/>
                    <a:pt x="8665" y="2458"/>
                  </a:cubicBezTo>
                  <a:cubicBezTo>
                    <a:pt x="7940" y="1828"/>
                    <a:pt x="7027" y="1481"/>
                    <a:pt x="6050" y="1481"/>
                  </a:cubicBezTo>
                  <a:cubicBezTo>
                    <a:pt x="5073" y="1481"/>
                    <a:pt x="4160" y="1828"/>
                    <a:pt x="3466" y="2458"/>
                  </a:cubicBezTo>
                  <a:cubicBezTo>
                    <a:pt x="3378" y="2529"/>
                    <a:pt x="3270" y="2570"/>
                    <a:pt x="3175" y="2570"/>
                  </a:cubicBezTo>
                  <a:cubicBezTo>
                    <a:pt x="3101" y="2570"/>
                    <a:pt x="3035" y="2545"/>
                    <a:pt x="2994" y="2490"/>
                  </a:cubicBezTo>
                  <a:lnTo>
                    <a:pt x="2931" y="2458"/>
                  </a:lnTo>
                  <a:cubicBezTo>
                    <a:pt x="2836" y="2301"/>
                    <a:pt x="2836" y="2111"/>
                    <a:pt x="2931" y="1985"/>
                  </a:cubicBezTo>
                  <a:cubicBezTo>
                    <a:pt x="3782" y="1198"/>
                    <a:pt x="4884" y="820"/>
                    <a:pt x="6050" y="820"/>
                  </a:cubicBezTo>
                  <a:close/>
                  <a:moveTo>
                    <a:pt x="1450" y="7152"/>
                  </a:moveTo>
                  <a:lnTo>
                    <a:pt x="1450" y="9106"/>
                  </a:lnTo>
                  <a:cubicBezTo>
                    <a:pt x="1041" y="9011"/>
                    <a:pt x="726" y="8601"/>
                    <a:pt x="726" y="8129"/>
                  </a:cubicBezTo>
                  <a:cubicBezTo>
                    <a:pt x="726" y="7656"/>
                    <a:pt x="1009" y="7278"/>
                    <a:pt x="1450" y="7152"/>
                  </a:cubicBezTo>
                  <a:close/>
                  <a:moveTo>
                    <a:pt x="10618" y="7152"/>
                  </a:moveTo>
                  <a:cubicBezTo>
                    <a:pt x="11028" y="7310"/>
                    <a:pt x="11343" y="7688"/>
                    <a:pt x="11343" y="8129"/>
                  </a:cubicBezTo>
                  <a:cubicBezTo>
                    <a:pt x="11343" y="8601"/>
                    <a:pt x="11059" y="9011"/>
                    <a:pt x="10618" y="9106"/>
                  </a:cubicBezTo>
                  <a:lnTo>
                    <a:pt x="10618" y="7152"/>
                  </a:lnTo>
                  <a:close/>
                  <a:moveTo>
                    <a:pt x="2521" y="6396"/>
                  </a:moveTo>
                  <a:cubicBezTo>
                    <a:pt x="2710" y="6396"/>
                    <a:pt x="2868" y="6554"/>
                    <a:pt x="2868" y="6743"/>
                  </a:cubicBezTo>
                  <a:lnTo>
                    <a:pt x="2868" y="9547"/>
                  </a:lnTo>
                  <a:cubicBezTo>
                    <a:pt x="2868" y="9736"/>
                    <a:pt x="2710" y="9893"/>
                    <a:pt x="2521" y="9893"/>
                  </a:cubicBezTo>
                  <a:cubicBezTo>
                    <a:pt x="2301" y="9893"/>
                    <a:pt x="2175" y="9736"/>
                    <a:pt x="2175" y="9547"/>
                  </a:cubicBezTo>
                  <a:lnTo>
                    <a:pt x="2175" y="6743"/>
                  </a:lnTo>
                  <a:cubicBezTo>
                    <a:pt x="2175" y="6554"/>
                    <a:pt x="2301" y="6396"/>
                    <a:pt x="2521" y="6396"/>
                  </a:cubicBezTo>
                  <a:close/>
                  <a:moveTo>
                    <a:pt x="9547" y="6396"/>
                  </a:moveTo>
                  <a:cubicBezTo>
                    <a:pt x="9767" y="6396"/>
                    <a:pt x="9925" y="6554"/>
                    <a:pt x="9925" y="6743"/>
                  </a:cubicBezTo>
                  <a:lnTo>
                    <a:pt x="9925" y="9547"/>
                  </a:lnTo>
                  <a:cubicBezTo>
                    <a:pt x="9925" y="9736"/>
                    <a:pt x="9767" y="9893"/>
                    <a:pt x="9547" y="9893"/>
                  </a:cubicBezTo>
                  <a:cubicBezTo>
                    <a:pt x="9358" y="9893"/>
                    <a:pt x="9200" y="9736"/>
                    <a:pt x="9200" y="9547"/>
                  </a:cubicBezTo>
                  <a:lnTo>
                    <a:pt x="9200" y="6743"/>
                  </a:lnTo>
                  <a:cubicBezTo>
                    <a:pt x="9200" y="6554"/>
                    <a:pt x="9358" y="6396"/>
                    <a:pt x="9547" y="6396"/>
                  </a:cubicBezTo>
                  <a:close/>
                  <a:moveTo>
                    <a:pt x="6018" y="1"/>
                  </a:moveTo>
                  <a:cubicBezTo>
                    <a:pt x="4664" y="1"/>
                    <a:pt x="3403" y="473"/>
                    <a:pt x="2427" y="1387"/>
                  </a:cubicBezTo>
                  <a:cubicBezTo>
                    <a:pt x="2080" y="1733"/>
                    <a:pt x="1986" y="2269"/>
                    <a:pt x="2238" y="2679"/>
                  </a:cubicBezTo>
                  <a:cubicBezTo>
                    <a:pt x="1671" y="3435"/>
                    <a:pt x="1419" y="4348"/>
                    <a:pt x="1419" y="5293"/>
                  </a:cubicBezTo>
                  <a:lnTo>
                    <a:pt x="1419" y="6396"/>
                  </a:lnTo>
                  <a:cubicBezTo>
                    <a:pt x="631" y="6554"/>
                    <a:pt x="1" y="7247"/>
                    <a:pt x="1" y="8129"/>
                  </a:cubicBezTo>
                  <a:cubicBezTo>
                    <a:pt x="1" y="8980"/>
                    <a:pt x="631" y="9704"/>
                    <a:pt x="1450" y="9862"/>
                  </a:cubicBezTo>
                  <a:cubicBezTo>
                    <a:pt x="1576" y="10303"/>
                    <a:pt x="1986" y="10586"/>
                    <a:pt x="2427" y="10586"/>
                  </a:cubicBezTo>
                  <a:cubicBezTo>
                    <a:pt x="3025" y="10586"/>
                    <a:pt x="3498" y="10114"/>
                    <a:pt x="3498" y="9515"/>
                  </a:cubicBezTo>
                  <a:lnTo>
                    <a:pt x="3498" y="6711"/>
                  </a:lnTo>
                  <a:cubicBezTo>
                    <a:pt x="3498" y="6113"/>
                    <a:pt x="3025" y="5640"/>
                    <a:pt x="2427" y="5640"/>
                  </a:cubicBezTo>
                  <a:cubicBezTo>
                    <a:pt x="2301" y="5640"/>
                    <a:pt x="2206" y="5703"/>
                    <a:pt x="2080" y="5735"/>
                  </a:cubicBezTo>
                  <a:lnTo>
                    <a:pt x="2080" y="5325"/>
                  </a:lnTo>
                  <a:cubicBezTo>
                    <a:pt x="2080" y="4537"/>
                    <a:pt x="2301" y="3844"/>
                    <a:pt x="2710" y="3214"/>
                  </a:cubicBezTo>
                  <a:cubicBezTo>
                    <a:pt x="2827" y="3263"/>
                    <a:pt x="2948" y="3285"/>
                    <a:pt x="3067" y="3285"/>
                  </a:cubicBezTo>
                  <a:cubicBezTo>
                    <a:pt x="3333" y="3285"/>
                    <a:pt x="3596" y="3177"/>
                    <a:pt x="3813" y="3025"/>
                  </a:cubicBezTo>
                  <a:cubicBezTo>
                    <a:pt x="4412" y="2490"/>
                    <a:pt x="5136" y="2238"/>
                    <a:pt x="5924" y="2238"/>
                  </a:cubicBezTo>
                  <a:cubicBezTo>
                    <a:pt x="6711" y="2238"/>
                    <a:pt x="7499" y="2490"/>
                    <a:pt x="8066" y="3025"/>
                  </a:cubicBezTo>
                  <a:cubicBezTo>
                    <a:pt x="8276" y="3193"/>
                    <a:pt x="8542" y="3291"/>
                    <a:pt x="8799" y="3291"/>
                  </a:cubicBezTo>
                  <a:cubicBezTo>
                    <a:pt x="8927" y="3291"/>
                    <a:pt x="9053" y="3267"/>
                    <a:pt x="9169" y="3214"/>
                  </a:cubicBezTo>
                  <a:cubicBezTo>
                    <a:pt x="9610" y="3844"/>
                    <a:pt x="9799" y="4600"/>
                    <a:pt x="9799" y="5325"/>
                  </a:cubicBezTo>
                  <a:lnTo>
                    <a:pt x="9799" y="5735"/>
                  </a:lnTo>
                  <a:cubicBezTo>
                    <a:pt x="9673" y="5703"/>
                    <a:pt x="9547" y="5640"/>
                    <a:pt x="9452" y="5640"/>
                  </a:cubicBezTo>
                  <a:cubicBezTo>
                    <a:pt x="8854" y="5640"/>
                    <a:pt x="8381" y="6113"/>
                    <a:pt x="8381" y="6711"/>
                  </a:cubicBezTo>
                  <a:lnTo>
                    <a:pt x="8381" y="9515"/>
                  </a:lnTo>
                  <a:cubicBezTo>
                    <a:pt x="8381" y="10114"/>
                    <a:pt x="8854" y="10586"/>
                    <a:pt x="9452" y="10586"/>
                  </a:cubicBezTo>
                  <a:cubicBezTo>
                    <a:pt x="9925" y="10586"/>
                    <a:pt x="10303" y="10271"/>
                    <a:pt x="10429" y="9862"/>
                  </a:cubicBezTo>
                  <a:cubicBezTo>
                    <a:pt x="11406" y="9704"/>
                    <a:pt x="12036" y="9011"/>
                    <a:pt x="12036" y="8129"/>
                  </a:cubicBezTo>
                  <a:cubicBezTo>
                    <a:pt x="12036" y="7278"/>
                    <a:pt x="11437" y="6554"/>
                    <a:pt x="10618" y="6396"/>
                  </a:cubicBezTo>
                  <a:lnTo>
                    <a:pt x="10618" y="5293"/>
                  </a:lnTo>
                  <a:cubicBezTo>
                    <a:pt x="10618" y="4348"/>
                    <a:pt x="10335" y="3435"/>
                    <a:pt x="9799" y="2679"/>
                  </a:cubicBezTo>
                  <a:cubicBezTo>
                    <a:pt x="10020" y="2269"/>
                    <a:pt x="9957" y="1733"/>
                    <a:pt x="9610" y="1387"/>
                  </a:cubicBezTo>
                  <a:cubicBezTo>
                    <a:pt x="8602" y="473"/>
                    <a:pt x="7342" y="1"/>
                    <a:pt x="6018"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702" name="Google Shape;10702;p113"/>
            <p:cNvSpPr/>
            <p:nvPr/>
          </p:nvSpPr>
          <p:spPr>
            <a:xfrm>
              <a:off x="-46664900" y="2475100"/>
              <a:ext cx="92175" cy="122900"/>
            </a:xfrm>
            <a:custGeom>
              <a:avLst/>
              <a:gdLst/>
              <a:ahLst/>
              <a:cxnLst/>
              <a:rect l="l" t="t" r="r" b="b"/>
              <a:pathLst>
                <a:path w="3687" h="4916" extrusionOk="0">
                  <a:moveTo>
                    <a:pt x="1072" y="3497"/>
                  </a:moveTo>
                  <a:cubicBezTo>
                    <a:pt x="1261" y="3497"/>
                    <a:pt x="1418" y="3655"/>
                    <a:pt x="1418" y="3876"/>
                  </a:cubicBezTo>
                  <a:cubicBezTo>
                    <a:pt x="1418" y="4065"/>
                    <a:pt x="1261" y="4222"/>
                    <a:pt x="1072" y="4222"/>
                  </a:cubicBezTo>
                  <a:cubicBezTo>
                    <a:pt x="851" y="4222"/>
                    <a:pt x="694" y="4065"/>
                    <a:pt x="694" y="3876"/>
                  </a:cubicBezTo>
                  <a:cubicBezTo>
                    <a:pt x="694" y="3655"/>
                    <a:pt x="851" y="3497"/>
                    <a:pt x="1072" y="3497"/>
                  </a:cubicBezTo>
                  <a:close/>
                  <a:moveTo>
                    <a:pt x="1765" y="0"/>
                  </a:moveTo>
                  <a:cubicBezTo>
                    <a:pt x="1576" y="0"/>
                    <a:pt x="1418" y="158"/>
                    <a:pt x="1418" y="347"/>
                  </a:cubicBezTo>
                  <a:lnTo>
                    <a:pt x="1418" y="2867"/>
                  </a:lnTo>
                  <a:cubicBezTo>
                    <a:pt x="1292" y="2836"/>
                    <a:pt x="1166" y="2804"/>
                    <a:pt x="1072" y="2804"/>
                  </a:cubicBezTo>
                  <a:cubicBezTo>
                    <a:pt x="473" y="2804"/>
                    <a:pt x="1" y="3277"/>
                    <a:pt x="1" y="3876"/>
                  </a:cubicBezTo>
                  <a:cubicBezTo>
                    <a:pt x="1" y="4443"/>
                    <a:pt x="473" y="4915"/>
                    <a:pt x="1072" y="4915"/>
                  </a:cubicBezTo>
                  <a:cubicBezTo>
                    <a:pt x="1670" y="4915"/>
                    <a:pt x="2143" y="4443"/>
                    <a:pt x="2143" y="3876"/>
                  </a:cubicBezTo>
                  <a:lnTo>
                    <a:pt x="2143" y="1450"/>
                  </a:lnTo>
                  <a:cubicBezTo>
                    <a:pt x="2363" y="1544"/>
                    <a:pt x="2521" y="1702"/>
                    <a:pt x="2616" y="1828"/>
                  </a:cubicBezTo>
                  <a:cubicBezTo>
                    <a:pt x="2868" y="2143"/>
                    <a:pt x="2962" y="2615"/>
                    <a:pt x="2836" y="3088"/>
                  </a:cubicBezTo>
                  <a:cubicBezTo>
                    <a:pt x="2805" y="3308"/>
                    <a:pt x="2962" y="3497"/>
                    <a:pt x="3183" y="3497"/>
                  </a:cubicBezTo>
                  <a:cubicBezTo>
                    <a:pt x="3340" y="3497"/>
                    <a:pt x="3498" y="3403"/>
                    <a:pt x="3529" y="3245"/>
                  </a:cubicBezTo>
                  <a:cubicBezTo>
                    <a:pt x="3687" y="2552"/>
                    <a:pt x="3592" y="1859"/>
                    <a:pt x="3183" y="1355"/>
                  </a:cubicBezTo>
                  <a:cubicBezTo>
                    <a:pt x="2868" y="1040"/>
                    <a:pt x="2521" y="820"/>
                    <a:pt x="2111" y="757"/>
                  </a:cubicBezTo>
                  <a:lnTo>
                    <a:pt x="2111" y="347"/>
                  </a:lnTo>
                  <a:cubicBezTo>
                    <a:pt x="2111" y="158"/>
                    <a:pt x="1954" y="0"/>
                    <a:pt x="1765"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10703" name="Google Shape;10703;p113"/>
          <p:cNvGrpSpPr/>
          <p:nvPr/>
        </p:nvGrpSpPr>
        <p:grpSpPr>
          <a:xfrm>
            <a:off x="2313805" y="5092560"/>
            <a:ext cx="478872" cy="478872"/>
            <a:chOff x="-46772025" y="2701925"/>
            <a:chExt cx="300900" cy="300900"/>
          </a:xfrm>
        </p:grpSpPr>
        <p:sp>
          <p:nvSpPr>
            <p:cNvPr id="10704" name="Google Shape;10704;p113"/>
            <p:cNvSpPr/>
            <p:nvPr/>
          </p:nvSpPr>
          <p:spPr>
            <a:xfrm>
              <a:off x="-46647575" y="2826375"/>
              <a:ext cx="53575" cy="53575"/>
            </a:xfrm>
            <a:custGeom>
              <a:avLst/>
              <a:gdLst/>
              <a:ahLst/>
              <a:cxnLst/>
              <a:rect l="l" t="t" r="r" b="b"/>
              <a:pathLst>
                <a:path w="2143" h="2143" extrusionOk="0">
                  <a:moveTo>
                    <a:pt x="1072" y="694"/>
                  </a:moveTo>
                  <a:cubicBezTo>
                    <a:pt x="1261" y="694"/>
                    <a:pt x="1418" y="851"/>
                    <a:pt x="1418" y="1040"/>
                  </a:cubicBezTo>
                  <a:cubicBezTo>
                    <a:pt x="1418" y="1229"/>
                    <a:pt x="1261" y="1387"/>
                    <a:pt x="1072" y="1387"/>
                  </a:cubicBezTo>
                  <a:cubicBezTo>
                    <a:pt x="883" y="1387"/>
                    <a:pt x="725" y="1229"/>
                    <a:pt x="725" y="1040"/>
                  </a:cubicBezTo>
                  <a:cubicBezTo>
                    <a:pt x="725" y="851"/>
                    <a:pt x="883" y="694"/>
                    <a:pt x="1072" y="694"/>
                  </a:cubicBezTo>
                  <a:close/>
                  <a:moveTo>
                    <a:pt x="1072" y="1"/>
                  </a:moveTo>
                  <a:cubicBezTo>
                    <a:pt x="473" y="1"/>
                    <a:pt x="1" y="473"/>
                    <a:pt x="1" y="1072"/>
                  </a:cubicBezTo>
                  <a:cubicBezTo>
                    <a:pt x="1" y="1670"/>
                    <a:pt x="473" y="2143"/>
                    <a:pt x="1072" y="2143"/>
                  </a:cubicBezTo>
                  <a:cubicBezTo>
                    <a:pt x="1670" y="2143"/>
                    <a:pt x="2143" y="1670"/>
                    <a:pt x="2143" y="1072"/>
                  </a:cubicBezTo>
                  <a:cubicBezTo>
                    <a:pt x="2112" y="473"/>
                    <a:pt x="1639" y="1"/>
                    <a:pt x="1072"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705" name="Google Shape;10705;p113"/>
            <p:cNvSpPr/>
            <p:nvPr/>
          </p:nvSpPr>
          <p:spPr>
            <a:xfrm>
              <a:off x="-46772025" y="2701925"/>
              <a:ext cx="300900" cy="300900"/>
            </a:xfrm>
            <a:custGeom>
              <a:avLst/>
              <a:gdLst/>
              <a:ahLst/>
              <a:cxnLst/>
              <a:rect l="l" t="t" r="r" b="b"/>
              <a:pathLst>
                <a:path w="12036" h="12036" extrusionOk="0">
                  <a:moveTo>
                    <a:pt x="6365" y="1482"/>
                  </a:moveTo>
                  <a:cubicBezTo>
                    <a:pt x="8602" y="1639"/>
                    <a:pt x="10429" y="3466"/>
                    <a:pt x="10587" y="5672"/>
                  </a:cubicBezTo>
                  <a:lnTo>
                    <a:pt x="9862" y="5672"/>
                  </a:lnTo>
                  <a:cubicBezTo>
                    <a:pt x="9704" y="3813"/>
                    <a:pt x="8224" y="2301"/>
                    <a:pt x="6365" y="2143"/>
                  </a:cubicBezTo>
                  <a:lnTo>
                    <a:pt x="6365" y="1482"/>
                  </a:lnTo>
                  <a:close/>
                  <a:moveTo>
                    <a:pt x="5703" y="1482"/>
                  </a:moveTo>
                  <a:lnTo>
                    <a:pt x="5703" y="2206"/>
                  </a:lnTo>
                  <a:cubicBezTo>
                    <a:pt x="3845" y="2364"/>
                    <a:pt x="2364" y="3844"/>
                    <a:pt x="2206" y="5703"/>
                  </a:cubicBezTo>
                  <a:lnTo>
                    <a:pt x="1482" y="5703"/>
                  </a:lnTo>
                  <a:cubicBezTo>
                    <a:pt x="1639" y="3466"/>
                    <a:pt x="3466" y="1639"/>
                    <a:pt x="5703" y="1482"/>
                  </a:cubicBezTo>
                  <a:close/>
                  <a:moveTo>
                    <a:pt x="6365" y="2868"/>
                  </a:moveTo>
                  <a:cubicBezTo>
                    <a:pt x="7814" y="3025"/>
                    <a:pt x="9011" y="4191"/>
                    <a:pt x="9169" y="5672"/>
                  </a:cubicBezTo>
                  <a:lnTo>
                    <a:pt x="8854" y="5672"/>
                  </a:lnTo>
                  <a:cubicBezTo>
                    <a:pt x="8665" y="5672"/>
                    <a:pt x="8507" y="5829"/>
                    <a:pt x="8507" y="6018"/>
                  </a:cubicBezTo>
                  <a:cubicBezTo>
                    <a:pt x="8507" y="6207"/>
                    <a:pt x="8665" y="6365"/>
                    <a:pt x="8854" y="6365"/>
                  </a:cubicBezTo>
                  <a:lnTo>
                    <a:pt x="9169" y="6365"/>
                  </a:lnTo>
                  <a:cubicBezTo>
                    <a:pt x="9011" y="7814"/>
                    <a:pt x="7846" y="9011"/>
                    <a:pt x="6365" y="9169"/>
                  </a:cubicBezTo>
                  <a:lnTo>
                    <a:pt x="6365" y="8854"/>
                  </a:lnTo>
                  <a:cubicBezTo>
                    <a:pt x="6365" y="8665"/>
                    <a:pt x="6207" y="8507"/>
                    <a:pt x="6018" y="8507"/>
                  </a:cubicBezTo>
                  <a:cubicBezTo>
                    <a:pt x="5829" y="8507"/>
                    <a:pt x="5672" y="8665"/>
                    <a:pt x="5672" y="8854"/>
                  </a:cubicBezTo>
                  <a:lnTo>
                    <a:pt x="5672" y="9169"/>
                  </a:lnTo>
                  <a:cubicBezTo>
                    <a:pt x="4223" y="9011"/>
                    <a:pt x="3025" y="7814"/>
                    <a:pt x="2868" y="6365"/>
                  </a:cubicBezTo>
                  <a:lnTo>
                    <a:pt x="3183" y="6365"/>
                  </a:lnTo>
                  <a:cubicBezTo>
                    <a:pt x="3372" y="6365"/>
                    <a:pt x="3529" y="6207"/>
                    <a:pt x="3529" y="6018"/>
                  </a:cubicBezTo>
                  <a:cubicBezTo>
                    <a:pt x="3529" y="5829"/>
                    <a:pt x="3372" y="5672"/>
                    <a:pt x="3183" y="5672"/>
                  </a:cubicBezTo>
                  <a:lnTo>
                    <a:pt x="2868" y="5672"/>
                  </a:lnTo>
                  <a:cubicBezTo>
                    <a:pt x="3025" y="4191"/>
                    <a:pt x="4191" y="3025"/>
                    <a:pt x="5672" y="2868"/>
                  </a:cubicBezTo>
                  <a:lnTo>
                    <a:pt x="5672" y="3183"/>
                  </a:lnTo>
                  <a:cubicBezTo>
                    <a:pt x="5672" y="3372"/>
                    <a:pt x="5829" y="3529"/>
                    <a:pt x="6018" y="3529"/>
                  </a:cubicBezTo>
                  <a:cubicBezTo>
                    <a:pt x="6207" y="3529"/>
                    <a:pt x="6365" y="3372"/>
                    <a:pt x="6365" y="3183"/>
                  </a:cubicBezTo>
                  <a:lnTo>
                    <a:pt x="6365" y="2868"/>
                  </a:lnTo>
                  <a:close/>
                  <a:moveTo>
                    <a:pt x="2206" y="6365"/>
                  </a:moveTo>
                  <a:cubicBezTo>
                    <a:pt x="2364" y="8224"/>
                    <a:pt x="3845" y="9704"/>
                    <a:pt x="5703" y="9862"/>
                  </a:cubicBezTo>
                  <a:lnTo>
                    <a:pt x="5703" y="10586"/>
                  </a:lnTo>
                  <a:cubicBezTo>
                    <a:pt x="3466" y="10429"/>
                    <a:pt x="1639" y="8602"/>
                    <a:pt x="1482" y="6365"/>
                  </a:cubicBezTo>
                  <a:close/>
                  <a:moveTo>
                    <a:pt x="10618" y="6365"/>
                  </a:moveTo>
                  <a:cubicBezTo>
                    <a:pt x="10429" y="8602"/>
                    <a:pt x="8602" y="10429"/>
                    <a:pt x="6396" y="10586"/>
                  </a:cubicBezTo>
                  <a:lnTo>
                    <a:pt x="6396" y="9862"/>
                  </a:lnTo>
                  <a:cubicBezTo>
                    <a:pt x="8255" y="9704"/>
                    <a:pt x="9767" y="8224"/>
                    <a:pt x="9925" y="6365"/>
                  </a:cubicBezTo>
                  <a:close/>
                  <a:moveTo>
                    <a:pt x="6018" y="1"/>
                  </a:moveTo>
                  <a:cubicBezTo>
                    <a:pt x="5829" y="1"/>
                    <a:pt x="5672" y="158"/>
                    <a:pt x="5672" y="347"/>
                  </a:cubicBezTo>
                  <a:lnTo>
                    <a:pt x="5672" y="725"/>
                  </a:lnTo>
                  <a:cubicBezTo>
                    <a:pt x="4412" y="820"/>
                    <a:pt x="3183" y="1356"/>
                    <a:pt x="2269" y="2269"/>
                  </a:cubicBezTo>
                  <a:cubicBezTo>
                    <a:pt x="1387" y="3183"/>
                    <a:pt x="820" y="4348"/>
                    <a:pt x="757" y="5672"/>
                  </a:cubicBezTo>
                  <a:lnTo>
                    <a:pt x="347" y="5672"/>
                  </a:lnTo>
                  <a:cubicBezTo>
                    <a:pt x="158" y="5672"/>
                    <a:pt x="1" y="5829"/>
                    <a:pt x="1" y="6018"/>
                  </a:cubicBezTo>
                  <a:cubicBezTo>
                    <a:pt x="1" y="6207"/>
                    <a:pt x="158" y="6365"/>
                    <a:pt x="347" y="6365"/>
                  </a:cubicBezTo>
                  <a:lnTo>
                    <a:pt x="757" y="6365"/>
                  </a:lnTo>
                  <a:cubicBezTo>
                    <a:pt x="820" y="7625"/>
                    <a:pt x="1387" y="8854"/>
                    <a:pt x="2269" y="9767"/>
                  </a:cubicBezTo>
                  <a:cubicBezTo>
                    <a:pt x="3183" y="10649"/>
                    <a:pt x="4380" y="11217"/>
                    <a:pt x="5672" y="11280"/>
                  </a:cubicBezTo>
                  <a:lnTo>
                    <a:pt x="5672" y="11689"/>
                  </a:lnTo>
                  <a:cubicBezTo>
                    <a:pt x="5672" y="11878"/>
                    <a:pt x="5829" y="12036"/>
                    <a:pt x="6018" y="12036"/>
                  </a:cubicBezTo>
                  <a:cubicBezTo>
                    <a:pt x="6207" y="12036"/>
                    <a:pt x="6365" y="11878"/>
                    <a:pt x="6365" y="11689"/>
                  </a:cubicBezTo>
                  <a:lnTo>
                    <a:pt x="6365" y="11280"/>
                  </a:lnTo>
                  <a:cubicBezTo>
                    <a:pt x="7625" y="11217"/>
                    <a:pt x="8854" y="10649"/>
                    <a:pt x="9767" y="9767"/>
                  </a:cubicBezTo>
                  <a:cubicBezTo>
                    <a:pt x="10681" y="8854"/>
                    <a:pt x="11217" y="7656"/>
                    <a:pt x="11280" y="6365"/>
                  </a:cubicBezTo>
                  <a:lnTo>
                    <a:pt x="11689" y="6365"/>
                  </a:lnTo>
                  <a:cubicBezTo>
                    <a:pt x="11878" y="6365"/>
                    <a:pt x="12036" y="6207"/>
                    <a:pt x="12036" y="6018"/>
                  </a:cubicBezTo>
                  <a:cubicBezTo>
                    <a:pt x="12036" y="5829"/>
                    <a:pt x="11878" y="5672"/>
                    <a:pt x="11689" y="5672"/>
                  </a:cubicBezTo>
                  <a:lnTo>
                    <a:pt x="11280" y="5672"/>
                  </a:lnTo>
                  <a:cubicBezTo>
                    <a:pt x="11217" y="4411"/>
                    <a:pt x="10650" y="3183"/>
                    <a:pt x="9767" y="2269"/>
                  </a:cubicBezTo>
                  <a:cubicBezTo>
                    <a:pt x="8854" y="1356"/>
                    <a:pt x="7688" y="820"/>
                    <a:pt x="6365" y="725"/>
                  </a:cubicBezTo>
                  <a:lnTo>
                    <a:pt x="6365" y="347"/>
                  </a:lnTo>
                  <a:cubicBezTo>
                    <a:pt x="6365" y="158"/>
                    <a:pt x="6207" y="1"/>
                    <a:pt x="6018"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sp>
        <p:nvSpPr>
          <p:cNvPr id="10706" name="Google Shape;10706;p113"/>
          <p:cNvSpPr/>
          <p:nvPr/>
        </p:nvSpPr>
        <p:spPr>
          <a:xfrm>
            <a:off x="5286482" y="3946815"/>
            <a:ext cx="477599" cy="478872"/>
          </a:xfrm>
          <a:custGeom>
            <a:avLst/>
            <a:gdLst/>
            <a:ahLst/>
            <a:cxnLst/>
            <a:rect l="l" t="t" r="r" b="b"/>
            <a:pathLst>
              <a:path w="12004" h="12036" extrusionOk="0">
                <a:moveTo>
                  <a:pt x="10933" y="4947"/>
                </a:moveTo>
                <a:cubicBezTo>
                  <a:pt x="11122" y="4947"/>
                  <a:pt x="11279" y="5104"/>
                  <a:pt x="11279" y="5293"/>
                </a:cubicBezTo>
                <a:lnTo>
                  <a:pt x="11279" y="5671"/>
                </a:lnTo>
                <a:lnTo>
                  <a:pt x="7782" y="5671"/>
                </a:lnTo>
                <a:lnTo>
                  <a:pt x="7782" y="5293"/>
                </a:lnTo>
                <a:cubicBezTo>
                  <a:pt x="7782" y="5104"/>
                  <a:pt x="7940" y="4947"/>
                  <a:pt x="8129" y="4947"/>
                </a:cubicBezTo>
                <a:close/>
                <a:moveTo>
                  <a:pt x="9547" y="694"/>
                </a:moveTo>
                <a:cubicBezTo>
                  <a:pt x="9736" y="694"/>
                  <a:pt x="9893" y="851"/>
                  <a:pt x="9893" y="1040"/>
                </a:cubicBezTo>
                <a:lnTo>
                  <a:pt x="9893" y="4254"/>
                </a:lnTo>
                <a:lnTo>
                  <a:pt x="8129" y="4254"/>
                </a:lnTo>
                <a:cubicBezTo>
                  <a:pt x="7530" y="4254"/>
                  <a:pt x="7058" y="4726"/>
                  <a:pt x="7058" y="5293"/>
                </a:cubicBezTo>
                <a:lnTo>
                  <a:pt x="7058" y="6365"/>
                </a:lnTo>
                <a:lnTo>
                  <a:pt x="694" y="6365"/>
                </a:lnTo>
                <a:lnTo>
                  <a:pt x="694" y="1040"/>
                </a:lnTo>
                <a:cubicBezTo>
                  <a:pt x="725" y="851"/>
                  <a:pt x="883" y="694"/>
                  <a:pt x="1072" y="694"/>
                </a:cubicBezTo>
                <a:close/>
                <a:moveTo>
                  <a:pt x="7121" y="7026"/>
                </a:moveTo>
                <a:lnTo>
                  <a:pt x="7121" y="7751"/>
                </a:lnTo>
                <a:lnTo>
                  <a:pt x="1072" y="7751"/>
                </a:lnTo>
                <a:cubicBezTo>
                  <a:pt x="883" y="7751"/>
                  <a:pt x="725" y="7593"/>
                  <a:pt x="725" y="7404"/>
                </a:cubicBezTo>
                <a:lnTo>
                  <a:pt x="725" y="7026"/>
                </a:lnTo>
                <a:close/>
                <a:moveTo>
                  <a:pt x="5703" y="8444"/>
                </a:moveTo>
                <a:lnTo>
                  <a:pt x="5703" y="9168"/>
                </a:lnTo>
                <a:lnTo>
                  <a:pt x="4947" y="9168"/>
                </a:lnTo>
                <a:lnTo>
                  <a:pt x="4947" y="8444"/>
                </a:lnTo>
                <a:close/>
                <a:moveTo>
                  <a:pt x="7089" y="8444"/>
                </a:moveTo>
                <a:lnTo>
                  <a:pt x="7089" y="9168"/>
                </a:lnTo>
                <a:lnTo>
                  <a:pt x="6365" y="9168"/>
                </a:lnTo>
                <a:lnTo>
                  <a:pt x="6365" y="8444"/>
                </a:lnTo>
                <a:close/>
                <a:moveTo>
                  <a:pt x="11279" y="6333"/>
                </a:moveTo>
                <a:lnTo>
                  <a:pt x="11279" y="9830"/>
                </a:lnTo>
                <a:lnTo>
                  <a:pt x="7782" y="9830"/>
                </a:lnTo>
                <a:lnTo>
                  <a:pt x="7782" y="6333"/>
                </a:lnTo>
                <a:close/>
                <a:moveTo>
                  <a:pt x="11279" y="10523"/>
                </a:moveTo>
                <a:lnTo>
                  <a:pt x="11279" y="10901"/>
                </a:lnTo>
                <a:cubicBezTo>
                  <a:pt x="11279" y="11090"/>
                  <a:pt x="11122" y="11248"/>
                  <a:pt x="10933" y="11248"/>
                </a:cubicBezTo>
                <a:lnTo>
                  <a:pt x="8129" y="11248"/>
                </a:lnTo>
                <a:cubicBezTo>
                  <a:pt x="7940" y="11248"/>
                  <a:pt x="7782" y="11090"/>
                  <a:pt x="7782" y="10901"/>
                </a:cubicBezTo>
                <a:lnTo>
                  <a:pt x="7782" y="10523"/>
                </a:lnTo>
                <a:close/>
                <a:moveTo>
                  <a:pt x="1040" y="1"/>
                </a:moveTo>
                <a:cubicBezTo>
                  <a:pt x="442" y="1"/>
                  <a:pt x="1" y="473"/>
                  <a:pt x="1" y="1040"/>
                </a:cubicBezTo>
                <a:lnTo>
                  <a:pt x="1" y="7436"/>
                </a:lnTo>
                <a:cubicBezTo>
                  <a:pt x="1" y="8034"/>
                  <a:pt x="442" y="8507"/>
                  <a:pt x="1040" y="8507"/>
                </a:cubicBezTo>
                <a:lnTo>
                  <a:pt x="4191" y="8507"/>
                </a:lnTo>
                <a:lnTo>
                  <a:pt x="4191" y="9200"/>
                </a:lnTo>
                <a:lnTo>
                  <a:pt x="3151" y="9200"/>
                </a:lnTo>
                <a:cubicBezTo>
                  <a:pt x="2931" y="9200"/>
                  <a:pt x="2773" y="9357"/>
                  <a:pt x="2773" y="9546"/>
                </a:cubicBezTo>
                <a:cubicBezTo>
                  <a:pt x="2773" y="9767"/>
                  <a:pt x="2931" y="9925"/>
                  <a:pt x="3151" y="9925"/>
                </a:cubicBezTo>
                <a:lnTo>
                  <a:pt x="7026" y="9925"/>
                </a:lnTo>
                <a:lnTo>
                  <a:pt x="7026" y="10964"/>
                </a:lnTo>
                <a:cubicBezTo>
                  <a:pt x="7026" y="11563"/>
                  <a:pt x="7499" y="12035"/>
                  <a:pt x="8097" y="12035"/>
                </a:cubicBezTo>
                <a:lnTo>
                  <a:pt x="10901" y="12035"/>
                </a:lnTo>
                <a:cubicBezTo>
                  <a:pt x="11468" y="12035"/>
                  <a:pt x="11941" y="11563"/>
                  <a:pt x="11941" y="10964"/>
                </a:cubicBezTo>
                <a:lnTo>
                  <a:pt x="11941" y="5356"/>
                </a:lnTo>
                <a:cubicBezTo>
                  <a:pt x="12004" y="4726"/>
                  <a:pt x="11531" y="4254"/>
                  <a:pt x="10933" y="4254"/>
                </a:cubicBezTo>
                <a:lnTo>
                  <a:pt x="10586" y="4254"/>
                </a:lnTo>
                <a:lnTo>
                  <a:pt x="10586" y="1040"/>
                </a:lnTo>
                <a:cubicBezTo>
                  <a:pt x="10586" y="473"/>
                  <a:pt x="10114" y="1"/>
                  <a:pt x="9515"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nvGrpSpPr>
          <p:cNvPr id="10707" name="Google Shape;10707;p113"/>
          <p:cNvGrpSpPr/>
          <p:nvPr/>
        </p:nvGrpSpPr>
        <p:grpSpPr>
          <a:xfrm>
            <a:off x="1724047" y="2043371"/>
            <a:ext cx="477599" cy="478872"/>
            <a:chOff x="-50154075" y="1948175"/>
            <a:chExt cx="300100" cy="300900"/>
          </a:xfrm>
        </p:grpSpPr>
        <p:sp>
          <p:nvSpPr>
            <p:cNvPr id="10708" name="Google Shape;10708;p113"/>
            <p:cNvSpPr/>
            <p:nvPr/>
          </p:nvSpPr>
          <p:spPr>
            <a:xfrm>
              <a:off x="-50154075" y="1948175"/>
              <a:ext cx="300100" cy="300900"/>
            </a:xfrm>
            <a:custGeom>
              <a:avLst/>
              <a:gdLst/>
              <a:ahLst/>
              <a:cxnLst/>
              <a:rect l="l" t="t" r="r" b="b"/>
              <a:pathLst>
                <a:path w="12004" h="12036" extrusionOk="0">
                  <a:moveTo>
                    <a:pt x="2805" y="694"/>
                  </a:moveTo>
                  <a:lnTo>
                    <a:pt x="2805" y="2805"/>
                  </a:lnTo>
                  <a:lnTo>
                    <a:pt x="662" y="2805"/>
                  </a:lnTo>
                  <a:lnTo>
                    <a:pt x="662" y="694"/>
                  </a:lnTo>
                  <a:close/>
                  <a:moveTo>
                    <a:pt x="2805" y="3466"/>
                  </a:moveTo>
                  <a:lnTo>
                    <a:pt x="2805" y="5609"/>
                  </a:lnTo>
                  <a:lnTo>
                    <a:pt x="662" y="5609"/>
                  </a:lnTo>
                  <a:lnTo>
                    <a:pt x="662" y="3466"/>
                  </a:lnTo>
                  <a:close/>
                  <a:moveTo>
                    <a:pt x="7908" y="2521"/>
                  </a:moveTo>
                  <a:lnTo>
                    <a:pt x="9421" y="4033"/>
                  </a:lnTo>
                  <a:lnTo>
                    <a:pt x="7782" y="5640"/>
                  </a:lnTo>
                  <a:lnTo>
                    <a:pt x="6302" y="4128"/>
                  </a:lnTo>
                  <a:lnTo>
                    <a:pt x="7908" y="2521"/>
                  </a:lnTo>
                  <a:close/>
                  <a:moveTo>
                    <a:pt x="5798" y="4663"/>
                  </a:moveTo>
                  <a:lnTo>
                    <a:pt x="7278" y="6144"/>
                  </a:lnTo>
                  <a:lnTo>
                    <a:pt x="5766" y="7688"/>
                  </a:lnTo>
                  <a:lnTo>
                    <a:pt x="4254" y="6207"/>
                  </a:lnTo>
                  <a:lnTo>
                    <a:pt x="5798" y="4663"/>
                  </a:lnTo>
                  <a:close/>
                  <a:moveTo>
                    <a:pt x="2805" y="6302"/>
                  </a:moveTo>
                  <a:lnTo>
                    <a:pt x="2805" y="8791"/>
                  </a:lnTo>
                  <a:cubicBezTo>
                    <a:pt x="2521" y="8570"/>
                    <a:pt x="2111" y="8444"/>
                    <a:pt x="1733" y="8444"/>
                  </a:cubicBezTo>
                  <a:cubicBezTo>
                    <a:pt x="1324" y="8444"/>
                    <a:pt x="977" y="8570"/>
                    <a:pt x="662" y="8791"/>
                  </a:cubicBezTo>
                  <a:lnTo>
                    <a:pt x="662" y="6302"/>
                  </a:lnTo>
                  <a:close/>
                  <a:moveTo>
                    <a:pt x="3750" y="6711"/>
                  </a:moveTo>
                  <a:lnTo>
                    <a:pt x="5230" y="8192"/>
                  </a:lnTo>
                  <a:lnTo>
                    <a:pt x="3498" y="9925"/>
                  </a:lnTo>
                  <a:lnTo>
                    <a:pt x="3498" y="6932"/>
                  </a:lnTo>
                  <a:lnTo>
                    <a:pt x="3750" y="6711"/>
                  </a:lnTo>
                  <a:close/>
                  <a:moveTo>
                    <a:pt x="1733" y="9137"/>
                  </a:moveTo>
                  <a:cubicBezTo>
                    <a:pt x="2332" y="9137"/>
                    <a:pt x="2805" y="9610"/>
                    <a:pt x="2805" y="10208"/>
                  </a:cubicBezTo>
                  <a:cubicBezTo>
                    <a:pt x="2805" y="10807"/>
                    <a:pt x="2332" y="11279"/>
                    <a:pt x="1733" y="11279"/>
                  </a:cubicBezTo>
                  <a:cubicBezTo>
                    <a:pt x="1135" y="11279"/>
                    <a:pt x="662" y="10807"/>
                    <a:pt x="662" y="10208"/>
                  </a:cubicBezTo>
                  <a:cubicBezTo>
                    <a:pt x="662" y="9610"/>
                    <a:pt x="1135" y="9137"/>
                    <a:pt x="1733" y="9137"/>
                  </a:cubicBezTo>
                  <a:close/>
                  <a:moveTo>
                    <a:pt x="5640" y="9137"/>
                  </a:moveTo>
                  <a:lnTo>
                    <a:pt x="5640" y="11279"/>
                  </a:lnTo>
                  <a:lnTo>
                    <a:pt x="3183" y="11279"/>
                  </a:lnTo>
                  <a:lnTo>
                    <a:pt x="5262" y="9137"/>
                  </a:lnTo>
                  <a:close/>
                  <a:moveTo>
                    <a:pt x="8412" y="9137"/>
                  </a:moveTo>
                  <a:lnTo>
                    <a:pt x="8412" y="11279"/>
                  </a:lnTo>
                  <a:lnTo>
                    <a:pt x="6333" y="11279"/>
                  </a:lnTo>
                  <a:lnTo>
                    <a:pt x="6333" y="9137"/>
                  </a:lnTo>
                  <a:close/>
                  <a:moveTo>
                    <a:pt x="11248" y="9137"/>
                  </a:moveTo>
                  <a:lnTo>
                    <a:pt x="11248" y="11279"/>
                  </a:lnTo>
                  <a:lnTo>
                    <a:pt x="9106" y="11279"/>
                  </a:lnTo>
                  <a:lnTo>
                    <a:pt x="9106" y="9137"/>
                  </a:lnTo>
                  <a:close/>
                  <a:moveTo>
                    <a:pt x="347" y="1"/>
                  </a:moveTo>
                  <a:cubicBezTo>
                    <a:pt x="158" y="1"/>
                    <a:pt x="1" y="158"/>
                    <a:pt x="1" y="379"/>
                  </a:cubicBezTo>
                  <a:lnTo>
                    <a:pt x="1" y="10240"/>
                  </a:lnTo>
                  <a:cubicBezTo>
                    <a:pt x="1" y="11248"/>
                    <a:pt x="788" y="12036"/>
                    <a:pt x="1765" y="12036"/>
                  </a:cubicBezTo>
                  <a:lnTo>
                    <a:pt x="11657" y="12036"/>
                  </a:lnTo>
                  <a:cubicBezTo>
                    <a:pt x="11846" y="12036"/>
                    <a:pt x="12004" y="11878"/>
                    <a:pt x="12004" y="11657"/>
                  </a:cubicBezTo>
                  <a:lnTo>
                    <a:pt x="12004" y="8791"/>
                  </a:lnTo>
                  <a:cubicBezTo>
                    <a:pt x="11973" y="8602"/>
                    <a:pt x="11815" y="8444"/>
                    <a:pt x="11626" y="8444"/>
                  </a:cubicBezTo>
                  <a:lnTo>
                    <a:pt x="5987" y="8444"/>
                  </a:lnTo>
                  <a:lnTo>
                    <a:pt x="10177" y="4254"/>
                  </a:lnTo>
                  <a:cubicBezTo>
                    <a:pt x="10240" y="4191"/>
                    <a:pt x="10271" y="4096"/>
                    <a:pt x="10271" y="4033"/>
                  </a:cubicBezTo>
                  <a:cubicBezTo>
                    <a:pt x="10271" y="3939"/>
                    <a:pt x="10240" y="3844"/>
                    <a:pt x="10177" y="3781"/>
                  </a:cubicBezTo>
                  <a:lnTo>
                    <a:pt x="8192" y="1828"/>
                  </a:lnTo>
                  <a:cubicBezTo>
                    <a:pt x="8129" y="1765"/>
                    <a:pt x="8042" y="1733"/>
                    <a:pt x="7952" y="1733"/>
                  </a:cubicBezTo>
                  <a:cubicBezTo>
                    <a:pt x="7861" y="1733"/>
                    <a:pt x="7767" y="1765"/>
                    <a:pt x="7688" y="1828"/>
                  </a:cubicBezTo>
                  <a:lnTo>
                    <a:pt x="3498" y="5987"/>
                  </a:lnTo>
                  <a:lnTo>
                    <a:pt x="3498" y="379"/>
                  </a:lnTo>
                  <a:cubicBezTo>
                    <a:pt x="3498" y="158"/>
                    <a:pt x="3340" y="1"/>
                    <a:pt x="3151"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709" name="Google Shape;10709;p113"/>
            <p:cNvSpPr/>
            <p:nvPr/>
          </p:nvSpPr>
          <p:spPr>
            <a:xfrm>
              <a:off x="-50119425" y="2194700"/>
              <a:ext cx="17350" cy="17350"/>
            </a:xfrm>
            <a:custGeom>
              <a:avLst/>
              <a:gdLst/>
              <a:ahLst/>
              <a:cxnLst/>
              <a:rect l="l" t="t" r="r" b="b"/>
              <a:pathLst>
                <a:path w="694" h="694" extrusionOk="0">
                  <a:moveTo>
                    <a:pt x="347" y="1"/>
                  </a:moveTo>
                  <a:cubicBezTo>
                    <a:pt x="158" y="1"/>
                    <a:pt x="1" y="158"/>
                    <a:pt x="1" y="347"/>
                  </a:cubicBezTo>
                  <a:cubicBezTo>
                    <a:pt x="1" y="536"/>
                    <a:pt x="158" y="694"/>
                    <a:pt x="347" y="694"/>
                  </a:cubicBezTo>
                  <a:cubicBezTo>
                    <a:pt x="536" y="694"/>
                    <a:pt x="694" y="536"/>
                    <a:pt x="694" y="347"/>
                  </a:cubicBezTo>
                  <a:cubicBezTo>
                    <a:pt x="694" y="158"/>
                    <a:pt x="536" y="1"/>
                    <a:pt x="347"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10710" name="Google Shape;10710;p113"/>
          <p:cNvGrpSpPr/>
          <p:nvPr/>
        </p:nvGrpSpPr>
        <p:grpSpPr>
          <a:xfrm>
            <a:off x="1724047" y="2649981"/>
            <a:ext cx="477599" cy="477639"/>
            <a:chOff x="-50154850" y="2316775"/>
            <a:chExt cx="300100" cy="300125"/>
          </a:xfrm>
        </p:grpSpPr>
        <p:sp>
          <p:nvSpPr>
            <p:cNvPr id="10711" name="Google Shape;10711;p113"/>
            <p:cNvSpPr/>
            <p:nvPr/>
          </p:nvSpPr>
          <p:spPr>
            <a:xfrm>
              <a:off x="-50154850" y="2316775"/>
              <a:ext cx="300100" cy="300125"/>
            </a:xfrm>
            <a:custGeom>
              <a:avLst/>
              <a:gdLst/>
              <a:ahLst/>
              <a:cxnLst/>
              <a:rect l="l" t="t" r="r" b="b"/>
              <a:pathLst>
                <a:path w="12004" h="12005" extrusionOk="0">
                  <a:moveTo>
                    <a:pt x="1418" y="694"/>
                  </a:moveTo>
                  <a:lnTo>
                    <a:pt x="1418" y="1419"/>
                  </a:lnTo>
                  <a:lnTo>
                    <a:pt x="693" y="1419"/>
                  </a:lnTo>
                  <a:lnTo>
                    <a:pt x="693" y="694"/>
                  </a:lnTo>
                  <a:close/>
                  <a:moveTo>
                    <a:pt x="11279" y="694"/>
                  </a:moveTo>
                  <a:lnTo>
                    <a:pt x="11279" y="1419"/>
                  </a:lnTo>
                  <a:lnTo>
                    <a:pt x="10586" y="1419"/>
                  </a:lnTo>
                  <a:lnTo>
                    <a:pt x="10586" y="694"/>
                  </a:lnTo>
                  <a:close/>
                  <a:moveTo>
                    <a:pt x="9893" y="1419"/>
                  </a:moveTo>
                  <a:lnTo>
                    <a:pt x="9893" y="1765"/>
                  </a:lnTo>
                  <a:cubicBezTo>
                    <a:pt x="9893" y="1954"/>
                    <a:pt x="10019" y="2112"/>
                    <a:pt x="10239" y="2112"/>
                  </a:cubicBezTo>
                  <a:lnTo>
                    <a:pt x="10586" y="2112"/>
                  </a:lnTo>
                  <a:lnTo>
                    <a:pt x="10586" y="9893"/>
                  </a:lnTo>
                  <a:lnTo>
                    <a:pt x="10239" y="9893"/>
                  </a:lnTo>
                  <a:cubicBezTo>
                    <a:pt x="10019" y="9893"/>
                    <a:pt x="9893" y="10051"/>
                    <a:pt x="9893" y="10240"/>
                  </a:cubicBezTo>
                  <a:lnTo>
                    <a:pt x="9893" y="10587"/>
                  </a:lnTo>
                  <a:lnTo>
                    <a:pt x="2111" y="10587"/>
                  </a:lnTo>
                  <a:lnTo>
                    <a:pt x="2111" y="10240"/>
                  </a:lnTo>
                  <a:cubicBezTo>
                    <a:pt x="2111" y="10051"/>
                    <a:pt x="1953" y="9893"/>
                    <a:pt x="1764" y="9893"/>
                  </a:cubicBezTo>
                  <a:lnTo>
                    <a:pt x="1418" y="9893"/>
                  </a:lnTo>
                  <a:lnTo>
                    <a:pt x="1418" y="2112"/>
                  </a:lnTo>
                  <a:lnTo>
                    <a:pt x="1764" y="2112"/>
                  </a:lnTo>
                  <a:cubicBezTo>
                    <a:pt x="1953" y="2112"/>
                    <a:pt x="2111" y="1954"/>
                    <a:pt x="2111" y="1765"/>
                  </a:cubicBezTo>
                  <a:lnTo>
                    <a:pt x="2111" y="1419"/>
                  </a:lnTo>
                  <a:close/>
                  <a:moveTo>
                    <a:pt x="1418" y="10555"/>
                  </a:moveTo>
                  <a:lnTo>
                    <a:pt x="1418" y="11248"/>
                  </a:lnTo>
                  <a:lnTo>
                    <a:pt x="693" y="11248"/>
                  </a:lnTo>
                  <a:lnTo>
                    <a:pt x="693" y="10555"/>
                  </a:lnTo>
                  <a:close/>
                  <a:moveTo>
                    <a:pt x="11279" y="10555"/>
                  </a:moveTo>
                  <a:lnTo>
                    <a:pt x="11279" y="11248"/>
                  </a:lnTo>
                  <a:lnTo>
                    <a:pt x="10586" y="11248"/>
                  </a:lnTo>
                  <a:lnTo>
                    <a:pt x="10586" y="10555"/>
                  </a:lnTo>
                  <a:close/>
                  <a:moveTo>
                    <a:pt x="347" y="1"/>
                  </a:moveTo>
                  <a:cubicBezTo>
                    <a:pt x="158" y="1"/>
                    <a:pt x="0" y="158"/>
                    <a:pt x="0" y="348"/>
                  </a:cubicBezTo>
                  <a:lnTo>
                    <a:pt x="0" y="1765"/>
                  </a:lnTo>
                  <a:cubicBezTo>
                    <a:pt x="0" y="1954"/>
                    <a:pt x="158" y="2112"/>
                    <a:pt x="347" y="2112"/>
                  </a:cubicBezTo>
                  <a:lnTo>
                    <a:pt x="693" y="2112"/>
                  </a:lnTo>
                  <a:lnTo>
                    <a:pt x="693" y="9893"/>
                  </a:lnTo>
                  <a:lnTo>
                    <a:pt x="347" y="9893"/>
                  </a:lnTo>
                  <a:cubicBezTo>
                    <a:pt x="158" y="9893"/>
                    <a:pt x="0" y="10051"/>
                    <a:pt x="0" y="10240"/>
                  </a:cubicBezTo>
                  <a:lnTo>
                    <a:pt x="0" y="11658"/>
                  </a:lnTo>
                  <a:cubicBezTo>
                    <a:pt x="0" y="11847"/>
                    <a:pt x="158" y="12004"/>
                    <a:pt x="347" y="12004"/>
                  </a:cubicBezTo>
                  <a:lnTo>
                    <a:pt x="1764" y="12004"/>
                  </a:lnTo>
                  <a:cubicBezTo>
                    <a:pt x="1953" y="12004"/>
                    <a:pt x="2111" y="11847"/>
                    <a:pt x="2111" y="11658"/>
                  </a:cubicBezTo>
                  <a:lnTo>
                    <a:pt x="2111" y="11311"/>
                  </a:lnTo>
                  <a:lnTo>
                    <a:pt x="9893" y="11311"/>
                  </a:lnTo>
                  <a:lnTo>
                    <a:pt x="9893" y="11658"/>
                  </a:lnTo>
                  <a:cubicBezTo>
                    <a:pt x="9893" y="11847"/>
                    <a:pt x="10019" y="12004"/>
                    <a:pt x="10239" y="12004"/>
                  </a:cubicBezTo>
                  <a:lnTo>
                    <a:pt x="11657" y="12004"/>
                  </a:lnTo>
                  <a:cubicBezTo>
                    <a:pt x="11846" y="12004"/>
                    <a:pt x="12004" y="11847"/>
                    <a:pt x="12004" y="11658"/>
                  </a:cubicBezTo>
                  <a:lnTo>
                    <a:pt x="12004" y="10240"/>
                  </a:lnTo>
                  <a:cubicBezTo>
                    <a:pt x="12004" y="10051"/>
                    <a:pt x="11846" y="9893"/>
                    <a:pt x="11657" y="9893"/>
                  </a:cubicBezTo>
                  <a:lnTo>
                    <a:pt x="11310" y="9893"/>
                  </a:lnTo>
                  <a:lnTo>
                    <a:pt x="11310" y="2112"/>
                  </a:lnTo>
                  <a:lnTo>
                    <a:pt x="11657" y="2112"/>
                  </a:lnTo>
                  <a:lnTo>
                    <a:pt x="11657" y="2080"/>
                  </a:lnTo>
                  <a:cubicBezTo>
                    <a:pt x="11846" y="2080"/>
                    <a:pt x="12004" y="1923"/>
                    <a:pt x="12004" y="1734"/>
                  </a:cubicBezTo>
                  <a:lnTo>
                    <a:pt x="12004" y="348"/>
                  </a:lnTo>
                  <a:cubicBezTo>
                    <a:pt x="12004" y="158"/>
                    <a:pt x="11846" y="1"/>
                    <a:pt x="11657" y="1"/>
                  </a:cubicBezTo>
                  <a:lnTo>
                    <a:pt x="10239" y="1"/>
                  </a:lnTo>
                  <a:cubicBezTo>
                    <a:pt x="10019" y="1"/>
                    <a:pt x="9893" y="158"/>
                    <a:pt x="9893" y="348"/>
                  </a:cubicBezTo>
                  <a:lnTo>
                    <a:pt x="9893" y="694"/>
                  </a:lnTo>
                  <a:lnTo>
                    <a:pt x="2111" y="694"/>
                  </a:lnTo>
                  <a:lnTo>
                    <a:pt x="2111" y="348"/>
                  </a:lnTo>
                  <a:cubicBezTo>
                    <a:pt x="2111" y="158"/>
                    <a:pt x="1953" y="1"/>
                    <a:pt x="1764"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712" name="Google Shape;10712;p113"/>
            <p:cNvSpPr/>
            <p:nvPr/>
          </p:nvSpPr>
          <p:spPr>
            <a:xfrm>
              <a:off x="-50083975" y="2368775"/>
              <a:ext cx="158325" cy="193775"/>
            </a:xfrm>
            <a:custGeom>
              <a:avLst/>
              <a:gdLst/>
              <a:ahLst/>
              <a:cxnLst/>
              <a:rect l="l" t="t" r="r" b="b"/>
              <a:pathLst>
                <a:path w="6333" h="7751" extrusionOk="0">
                  <a:moveTo>
                    <a:pt x="5577" y="693"/>
                  </a:moveTo>
                  <a:lnTo>
                    <a:pt x="5577" y="1567"/>
                  </a:lnTo>
                  <a:lnTo>
                    <a:pt x="5577" y="1567"/>
                  </a:lnTo>
                  <a:cubicBezTo>
                    <a:pt x="5492" y="1468"/>
                    <a:pt x="5402" y="1418"/>
                    <a:pt x="5262" y="1418"/>
                  </a:cubicBezTo>
                  <a:lnTo>
                    <a:pt x="3844" y="1418"/>
                  </a:lnTo>
                  <a:cubicBezTo>
                    <a:pt x="3655" y="1418"/>
                    <a:pt x="3498" y="1576"/>
                    <a:pt x="3498" y="1765"/>
                  </a:cubicBezTo>
                  <a:lnTo>
                    <a:pt x="3498" y="6742"/>
                  </a:lnTo>
                  <a:cubicBezTo>
                    <a:pt x="3498" y="6900"/>
                    <a:pt x="3624" y="6963"/>
                    <a:pt x="3687" y="7089"/>
                  </a:cubicBezTo>
                  <a:lnTo>
                    <a:pt x="2584" y="7089"/>
                  </a:lnTo>
                  <a:cubicBezTo>
                    <a:pt x="2710" y="6963"/>
                    <a:pt x="2773" y="6900"/>
                    <a:pt x="2773" y="6742"/>
                  </a:cubicBezTo>
                  <a:lnTo>
                    <a:pt x="2773" y="1765"/>
                  </a:lnTo>
                  <a:cubicBezTo>
                    <a:pt x="2773" y="1576"/>
                    <a:pt x="2647" y="1418"/>
                    <a:pt x="2426" y="1418"/>
                  </a:cubicBezTo>
                  <a:lnTo>
                    <a:pt x="1009" y="1418"/>
                  </a:lnTo>
                  <a:cubicBezTo>
                    <a:pt x="851" y="1418"/>
                    <a:pt x="788" y="1544"/>
                    <a:pt x="662" y="1607"/>
                  </a:cubicBezTo>
                  <a:lnTo>
                    <a:pt x="662" y="693"/>
                  </a:lnTo>
                  <a:close/>
                  <a:moveTo>
                    <a:pt x="347" y="0"/>
                  </a:moveTo>
                  <a:cubicBezTo>
                    <a:pt x="158" y="0"/>
                    <a:pt x="1" y="158"/>
                    <a:pt x="1" y="347"/>
                  </a:cubicBezTo>
                  <a:lnTo>
                    <a:pt x="1" y="2489"/>
                  </a:lnTo>
                  <a:cubicBezTo>
                    <a:pt x="1" y="2696"/>
                    <a:pt x="163" y="2835"/>
                    <a:pt x="328" y="2835"/>
                  </a:cubicBezTo>
                  <a:cubicBezTo>
                    <a:pt x="415" y="2835"/>
                    <a:pt x="503" y="2796"/>
                    <a:pt x="568" y="2710"/>
                  </a:cubicBezTo>
                  <a:lnTo>
                    <a:pt x="1166" y="2143"/>
                  </a:lnTo>
                  <a:lnTo>
                    <a:pt x="2080" y="2143"/>
                  </a:lnTo>
                  <a:lnTo>
                    <a:pt x="2080" y="6585"/>
                  </a:lnTo>
                  <a:lnTo>
                    <a:pt x="1481" y="7183"/>
                  </a:lnTo>
                  <a:cubicBezTo>
                    <a:pt x="1261" y="7404"/>
                    <a:pt x="1418" y="7750"/>
                    <a:pt x="1733" y="7750"/>
                  </a:cubicBezTo>
                  <a:lnTo>
                    <a:pt x="4537" y="7750"/>
                  </a:lnTo>
                  <a:cubicBezTo>
                    <a:pt x="4852" y="7750"/>
                    <a:pt x="5010" y="7372"/>
                    <a:pt x="4758" y="7183"/>
                  </a:cubicBezTo>
                  <a:lnTo>
                    <a:pt x="4159" y="6585"/>
                  </a:lnTo>
                  <a:lnTo>
                    <a:pt x="4159" y="2143"/>
                  </a:lnTo>
                  <a:lnTo>
                    <a:pt x="5073" y="2143"/>
                  </a:lnTo>
                  <a:lnTo>
                    <a:pt x="5671" y="2710"/>
                  </a:lnTo>
                  <a:cubicBezTo>
                    <a:pt x="5747" y="2796"/>
                    <a:pt x="5842" y="2835"/>
                    <a:pt x="5933" y="2835"/>
                  </a:cubicBezTo>
                  <a:cubicBezTo>
                    <a:pt x="6107" y="2835"/>
                    <a:pt x="6270" y="2696"/>
                    <a:pt x="6270" y="2489"/>
                  </a:cubicBezTo>
                  <a:lnTo>
                    <a:pt x="6270" y="347"/>
                  </a:lnTo>
                  <a:cubicBezTo>
                    <a:pt x="6333" y="158"/>
                    <a:pt x="6176" y="0"/>
                    <a:pt x="5987"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10713" name="Google Shape;10713;p113"/>
          <p:cNvGrpSpPr/>
          <p:nvPr/>
        </p:nvGrpSpPr>
        <p:grpSpPr>
          <a:xfrm>
            <a:off x="1718417" y="3245995"/>
            <a:ext cx="488859" cy="475411"/>
            <a:chOff x="-50158000" y="2685000"/>
            <a:chExt cx="307175" cy="298725"/>
          </a:xfrm>
        </p:grpSpPr>
        <p:sp>
          <p:nvSpPr>
            <p:cNvPr id="10714" name="Google Shape;10714;p113"/>
            <p:cNvSpPr/>
            <p:nvPr/>
          </p:nvSpPr>
          <p:spPr>
            <a:xfrm>
              <a:off x="-50158000" y="2685000"/>
              <a:ext cx="307175" cy="298725"/>
            </a:xfrm>
            <a:custGeom>
              <a:avLst/>
              <a:gdLst/>
              <a:ahLst/>
              <a:cxnLst/>
              <a:rect l="l" t="t" r="r" b="b"/>
              <a:pathLst>
                <a:path w="12287" h="11949" extrusionOk="0">
                  <a:moveTo>
                    <a:pt x="8054" y="717"/>
                  </a:moveTo>
                  <a:cubicBezTo>
                    <a:pt x="8325" y="717"/>
                    <a:pt x="8601" y="820"/>
                    <a:pt x="8821" y="1024"/>
                  </a:cubicBezTo>
                  <a:lnTo>
                    <a:pt x="11090" y="3293"/>
                  </a:lnTo>
                  <a:cubicBezTo>
                    <a:pt x="11531" y="3702"/>
                    <a:pt x="11531" y="4364"/>
                    <a:pt x="11090" y="4805"/>
                  </a:cubicBezTo>
                  <a:lnTo>
                    <a:pt x="10302" y="5593"/>
                  </a:lnTo>
                  <a:lnTo>
                    <a:pt x="6522" y="1812"/>
                  </a:lnTo>
                  <a:lnTo>
                    <a:pt x="7309" y="1024"/>
                  </a:lnTo>
                  <a:cubicBezTo>
                    <a:pt x="7514" y="820"/>
                    <a:pt x="7782" y="717"/>
                    <a:pt x="8054" y="717"/>
                  </a:cubicBezTo>
                  <a:close/>
                  <a:moveTo>
                    <a:pt x="6018" y="2285"/>
                  </a:moveTo>
                  <a:lnTo>
                    <a:pt x="9798" y="6065"/>
                  </a:lnTo>
                  <a:lnTo>
                    <a:pt x="6144" y="9720"/>
                  </a:lnTo>
                  <a:lnTo>
                    <a:pt x="2363" y="5939"/>
                  </a:lnTo>
                  <a:lnTo>
                    <a:pt x="6018" y="2285"/>
                  </a:lnTo>
                  <a:close/>
                  <a:moveTo>
                    <a:pt x="1890" y="6443"/>
                  </a:moveTo>
                  <a:lnTo>
                    <a:pt x="5671" y="10224"/>
                  </a:lnTo>
                  <a:lnTo>
                    <a:pt x="4915" y="10980"/>
                  </a:lnTo>
                  <a:cubicBezTo>
                    <a:pt x="4726" y="11185"/>
                    <a:pt x="4458" y="11287"/>
                    <a:pt x="4186" y="11287"/>
                  </a:cubicBezTo>
                  <a:cubicBezTo>
                    <a:pt x="3915" y="11287"/>
                    <a:pt x="3639" y="11185"/>
                    <a:pt x="3434" y="10980"/>
                  </a:cubicBezTo>
                  <a:lnTo>
                    <a:pt x="1134" y="8712"/>
                  </a:lnTo>
                  <a:cubicBezTo>
                    <a:pt x="756" y="8302"/>
                    <a:pt x="756" y="7640"/>
                    <a:pt x="1134" y="7199"/>
                  </a:cubicBezTo>
                  <a:lnTo>
                    <a:pt x="1890" y="6443"/>
                  </a:lnTo>
                  <a:close/>
                  <a:moveTo>
                    <a:pt x="8093" y="0"/>
                  </a:moveTo>
                  <a:cubicBezTo>
                    <a:pt x="7640" y="0"/>
                    <a:pt x="7183" y="174"/>
                    <a:pt x="6837" y="520"/>
                  </a:cubicBezTo>
                  <a:lnTo>
                    <a:pt x="662" y="6695"/>
                  </a:lnTo>
                  <a:cubicBezTo>
                    <a:pt x="0" y="7357"/>
                    <a:pt x="0" y="8491"/>
                    <a:pt x="662" y="9184"/>
                  </a:cubicBezTo>
                  <a:lnTo>
                    <a:pt x="2962" y="11452"/>
                  </a:lnTo>
                  <a:cubicBezTo>
                    <a:pt x="3292" y="11783"/>
                    <a:pt x="3741" y="11949"/>
                    <a:pt x="4190" y="11949"/>
                  </a:cubicBezTo>
                  <a:cubicBezTo>
                    <a:pt x="4639" y="11949"/>
                    <a:pt x="5088" y="11783"/>
                    <a:pt x="5419" y="11452"/>
                  </a:cubicBezTo>
                  <a:lnTo>
                    <a:pt x="11625" y="5278"/>
                  </a:lnTo>
                  <a:cubicBezTo>
                    <a:pt x="12287" y="4616"/>
                    <a:pt x="12287" y="3513"/>
                    <a:pt x="11625" y="2789"/>
                  </a:cubicBezTo>
                  <a:lnTo>
                    <a:pt x="9326" y="520"/>
                  </a:lnTo>
                  <a:cubicBezTo>
                    <a:pt x="8995" y="174"/>
                    <a:pt x="8546" y="0"/>
                    <a:pt x="8093"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715" name="Google Shape;10715;p113"/>
            <p:cNvSpPr/>
            <p:nvPr/>
          </p:nvSpPr>
          <p:spPr>
            <a:xfrm>
              <a:off x="-50058775" y="2838200"/>
              <a:ext cx="51225" cy="49625"/>
            </a:xfrm>
            <a:custGeom>
              <a:avLst/>
              <a:gdLst/>
              <a:ahLst/>
              <a:cxnLst/>
              <a:rect l="l" t="t" r="r" b="b"/>
              <a:pathLst>
                <a:path w="2049" h="1985" extrusionOk="0">
                  <a:moveTo>
                    <a:pt x="391" y="0"/>
                  </a:moveTo>
                  <a:cubicBezTo>
                    <a:pt x="300" y="0"/>
                    <a:pt x="206" y="32"/>
                    <a:pt x="127" y="95"/>
                  </a:cubicBezTo>
                  <a:cubicBezTo>
                    <a:pt x="1" y="221"/>
                    <a:pt x="1" y="441"/>
                    <a:pt x="127" y="599"/>
                  </a:cubicBezTo>
                  <a:lnTo>
                    <a:pt x="1418" y="1890"/>
                  </a:lnTo>
                  <a:cubicBezTo>
                    <a:pt x="1481" y="1953"/>
                    <a:pt x="1568" y="1985"/>
                    <a:pt x="1659" y="1985"/>
                  </a:cubicBezTo>
                  <a:cubicBezTo>
                    <a:pt x="1749" y="1985"/>
                    <a:pt x="1844" y="1953"/>
                    <a:pt x="1923" y="1890"/>
                  </a:cubicBezTo>
                  <a:cubicBezTo>
                    <a:pt x="2049" y="1733"/>
                    <a:pt x="2049" y="1512"/>
                    <a:pt x="1923" y="1386"/>
                  </a:cubicBezTo>
                  <a:lnTo>
                    <a:pt x="631" y="95"/>
                  </a:lnTo>
                  <a:cubicBezTo>
                    <a:pt x="568" y="32"/>
                    <a:pt x="481" y="0"/>
                    <a:pt x="391"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10716" name="Google Shape;10716;p113"/>
          <p:cNvGrpSpPr/>
          <p:nvPr/>
        </p:nvGrpSpPr>
        <p:grpSpPr>
          <a:xfrm>
            <a:off x="4695465" y="2083477"/>
            <a:ext cx="481339" cy="477639"/>
            <a:chOff x="-48266125" y="1973375"/>
            <a:chExt cx="302450" cy="300125"/>
          </a:xfrm>
        </p:grpSpPr>
        <p:sp>
          <p:nvSpPr>
            <p:cNvPr id="10717" name="Google Shape;10717;p113"/>
            <p:cNvSpPr/>
            <p:nvPr/>
          </p:nvSpPr>
          <p:spPr>
            <a:xfrm>
              <a:off x="-48212575" y="2045050"/>
              <a:ext cx="122900" cy="123700"/>
            </a:xfrm>
            <a:custGeom>
              <a:avLst/>
              <a:gdLst/>
              <a:ahLst/>
              <a:cxnLst/>
              <a:rect l="l" t="t" r="r" b="b"/>
              <a:pathLst>
                <a:path w="4916" h="4948" extrusionOk="0">
                  <a:moveTo>
                    <a:pt x="1765" y="662"/>
                  </a:moveTo>
                  <a:cubicBezTo>
                    <a:pt x="2237" y="662"/>
                    <a:pt x="2647" y="946"/>
                    <a:pt x="2741" y="1387"/>
                  </a:cubicBezTo>
                  <a:lnTo>
                    <a:pt x="1765" y="1387"/>
                  </a:lnTo>
                  <a:cubicBezTo>
                    <a:pt x="1576" y="1387"/>
                    <a:pt x="1418" y="1545"/>
                    <a:pt x="1418" y="1734"/>
                  </a:cubicBezTo>
                  <a:lnTo>
                    <a:pt x="1418" y="2710"/>
                  </a:lnTo>
                  <a:cubicBezTo>
                    <a:pt x="1009" y="2584"/>
                    <a:pt x="725" y="2206"/>
                    <a:pt x="725" y="1734"/>
                  </a:cubicBezTo>
                  <a:cubicBezTo>
                    <a:pt x="725" y="1135"/>
                    <a:pt x="1166" y="662"/>
                    <a:pt x="1765" y="662"/>
                  </a:cubicBezTo>
                  <a:close/>
                  <a:moveTo>
                    <a:pt x="2741" y="2080"/>
                  </a:moveTo>
                  <a:cubicBezTo>
                    <a:pt x="2647" y="2395"/>
                    <a:pt x="2395" y="2616"/>
                    <a:pt x="2111" y="2710"/>
                  </a:cubicBezTo>
                  <a:lnTo>
                    <a:pt x="2111" y="2080"/>
                  </a:lnTo>
                  <a:close/>
                  <a:moveTo>
                    <a:pt x="4254" y="2080"/>
                  </a:moveTo>
                  <a:lnTo>
                    <a:pt x="4254" y="4191"/>
                  </a:lnTo>
                  <a:lnTo>
                    <a:pt x="2143" y="4191"/>
                  </a:lnTo>
                  <a:lnTo>
                    <a:pt x="2143" y="3466"/>
                  </a:lnTo>
                  <a:cubicBezTo>
                    <a:pt x="2804" y="3309"/>
                    <a:pt x="3340" y="2805"/>
                    <a:pt x="3497" y="2080"/>
                  </a:cubicBezTo>
                  <a:close/>
                  <a:moveTo>
                    <a:pt x="1765" y="1"/>
                  </a:moveTo>
                  <a:cubicBezTo>
                    <a:pt x="788" y="1"/>
                    <a:pt x="0" y="788"/>
                    <a:pt x="0" y="1765"/>
                  </a:cubicBezTo>
                  <a:cubicBezTo>
                    <a:pt x="0" y="2616"/>
                    <a:pt x="599" y="3340"/>
                    <a:pt x="1418" y="3498"/>
                  </a:cubicBezTo>
                  <a:lnTo>
                    <a:pt x="1418" y="4601"/>
                  </a:lnTo>
                  <a:cubicBezTo>
                    <a:pt x="1418" y="4790"/>
                    <a:pt x="1576" y="4947"/>
                    <a:pt x="1765" y="4947"/>
                  </a:cubicBezTo>
                  <a:lnTo>
                    <a:pt x="4569" y="4947"/>
                  </a:lnTo>
                  <a:cubicBezTo>
                    <a:pt x="4758" y="4947"/>
                    <a:pt x="4915" y="4790"/>
                    <a:pt x="4915" y="4601"/>
                  </a:cubicBezTo>
                  <a:lnTo>
                    <a:pt x="4915" y="1797"/>
                  </a:lnTo>
                  <a:cubicBezTo>
                    <a:pt x="4915" y="1576"/>
                    <a:pt x="4758" y="1419"/>
                    <a:pt x="4600" y="1419"/>
                  </a:cubicBezTo>
                  <a:lnTo>
                    <a:pt x="3497" y="1419"/>
                  </a:lnTo>
                  <a:cubicBezTo>
                    <a:pt x="3340" y="631"/>
                    <a:pt x="2647" y="1"/>
                    <a:pt x="1765"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718" name="Google Shape;10718;p113"/>
            <p:cNvSpPr/>
            <p:nvPr/>
          </p:nvSpPr>
          <p:spPr>
            <a:xfrm>
              <a:off x="-48266125" y="1973375"/>
              <a:ext cx="230000" cy="300125"/>
            </a:xfrm>
            <a:custGeom>
              <a:avLst/>
              <a:gdLst/>
              <a:ahLst/>
              <a:cxnLst/>
              <a:rect l="l" t="t" r="r" b="b"/>
              <a:pathLst>
                <a:path w="9200" h="12005" extrusionOk="0">
                  <a:moveTo>
                    <a:pt x="7057" y="1198"/>
                  </a:moveTo>
                  <a:lnTo>
                    <a:pt x="7971" y="2112"/>
                  </a:lnTo>
                  <a:lnTo>
                    <a:pt x="7057" y="2112"/>
                  </a:lnTo>
                  <a:lnTo>
                    <a:pt x="7057" y="1198"/>
                  </a:lnTo>
                  <a:close/>
                  <a:moveTo>
                    <a:pt x="6396" y="694"/>
                  </a:moveTo>
                  <a:lnTo>
                    <a:pt x="6396" y="2458"/>
                  </a:lnTo>
                  <a:cubicBezTo>
                    <a:pt x="6396" y="2679"/>
                    <a:pt x="6553" y="2836"/>
                    <a:pt x="6742" y="2836"/>
                  </a:cubicBezTo>
                  <a:lnTo>
                    <a:pt x="8506" y="2836"/>
                  </a:lnTo>
                  <a:lnTo>
                    <a:pt x="8506" y="11280"/>
                  </a:lnTo>
                  <a:lnTo>
                    <a:pt x="756" y="11280"/>
                  </a:lnTo>
                  <a:lnTo>
                    <a:pt x="756" y="694"/>
                  </a:lnTo>
                  <a:close/>
                  <a:moveTo>
                    <a:pt x="378" y="1"/>
                  </a:moveTo>
                  <a:cubicBezTo>
                    <a:pt x="158" y="1"/>
                    <a:pt x="0" y="158"/>
                    <a:pt x="0" y="347"/>
                  </a:cubicBezTo>
                  <a:lnTo>
                    <a:pt x="0" y="11658"/>
                  </a:lnTo>
                  <a:cubicBezTo>
                    <a:pt x="0" y="11847"/>
                    <a:pt x="158" y="12004"/>
                    <a:pt x="378" y="12004"/>
                  </a:cubicBezTo>
                  <a:lnTo>
                    <a:pt x="8790" y="12004"/>
                  </a:lnTo>
                  <a:cubicBezTo>
                    <a:pt x="8979" y="12004"/>
                    <a:pt x="9136" y="11847"/>
                    <a:pt x="9136" y="11658"/>
                  </a:cubicBezTo>
                  <a:lnTo>
                    <a:pt x="9136" y="2458"/>
                  </a:lnTo>
                  <a:cubicBezTo>
                    <a:pt x="9199" y="2395"/>
                    <a:pt x="9168" y="2301"/>
                    <a:pt x="9073" y="2238"/>
                  </a:cubicBezTo>
                  <a:lnTo>
                    <a:pt x="6931" y="95"/>
                  </a:lnTo>
                  <a:cubicBezTo>
                    <a:pt x="6868" y="32"/>
                    <a:pt x="6805" y="1"/>
                    <a:pt x="6711"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719" name="Google Shape;10719;p113"/>
            <p:cNvSpPr/>
            <p:nvPr/>
          </p:nvSpPr>
          <p:spPr>
            <a:xfrm>
              <a:off x="-48018025" y="1991500"/>
              <a:ext cx="54350" cy="282000"/>
            </a:xfrm>
            <a:custGeom>
              <a:avLst/>
              <a:gdLst/>
              <a:ahLst/>
              <a:cxnLst/>
              <a:rect l="l" t="t" r="r" b="b"/>
              <a:pathLst>
                <a:path w="2174" h="11280" extrusionOk="0">
                  <a:moveTo>
                    <a:pt x="1071" y="1481"/>
                  </a:moveTo>
                  <a:lnTo>
                    <a:pt x="1260" y="2111"/>
                  </a:lnTo>
                  <a:lnTo>
                    <a:pt x="851" y="2111"/>
                  </a:lnTo>
                  <a:lnTo>
                    <a:pt x="1071" y="1481"/>
                  </a:lnTo>
                  <a:close/>
                  <a:moveTo>
                    <a:pt x="1418" y="2836"/>
                  </a:moveTo>
                  <a:lnTo>
                    <a:pt x="1418" y="7247"/>
                  </a:lnTo>
                  <a:lnTo>
                    <a:pt x="725" y="7247"/>
                  </a:lnTo>
                  <a:lnTo>
                    <a:pt x="725" y="2836"/>
                  </a:lnTo>
                  <a:close/>
                  <a:moveTo>
                    <a:pt x="1418" y="7971"/>
                  </a:moveTo>
                  <a:lnTo>
                    <a:pt x="1418" y="8664"/>
                  </a:lnTo>
                  <a:lnTo>
                    <a:pt x="725" y="8664"/>
                  </a:lnTo>
                  <a:lnTo>
                    <a:pt x="725" y="7971"/>
                  </a:lnTo>
                  <a:close/>
                  <a:moveTo>
                    <a:pt x="1449" y="9357"/>
                  </a:moveTo>
                  <a:lnTo>
                    <a:pt x="1449" y="10208"/>
                  </a:lnTo>
                  <a:cubicBezTo>
                    <a:pt x="1418" y="10397"/>
                    <a:pt x="1260" y="10555"/>
                    <a:pt x="1071" y="10555"/>
                  </a:cubicBezTo>
                  <a:cubicBezTo>
                    <a:pt x="882" y="10555"/>
                    <a:pt x="725" y="10397"/>
                    <a:pt x="725" y="10208"/>
                  </a:cubicBezTo>
                  <a:lnTo>
                    <a:pt x="725" y="9357"/>
                  </a:lnTo>
                  <a:close/>
                  <a:moveTo>
                    <a:pt x="1071" y="0"/>
                  </a:moveTo>
                  <a:cubicBezTo>
                    <a:pt x="945" y="0"/>
                    <a:pt x="788" y="95"/>
                    <a:pt x="756" y="253"/>
                  </a:cubicBezTo>
                  <a:cubicBezTo>
                    <a:pt x="0" y="2489"/>
                    <a:pt x="63" y="2363"/>
                    <a:pt x="63" y="2458"/>
                  </a:cubicBezTo>
                  <a:lnTo>
                    <a:pt x="63" y="10208"/>
                  </a:lnTo>
                  <a:cubicBezTo>
                    <a:pt x="63" y="10807"/>
                    <a:pt x="536" y="11279"/>
                    <a:pt x="1103" y="11279"/>
                  </a:cubicBezTo>
                  <a:cubicBezTo>
                    <a:pt x="1701" y="11279"/>
                    <a:pt x="2174" y="10807"/>
                    <a:pt x="2174" y="10208"/>
                  </a:cubicBezTo>
                  <a:lnTo>
                    <a:pt x="2111" y="2458"/>
                  </a:lnTo>
                  <a:lnTo>
                    <a:pt x="2111" y="2458"/>
                  </a:lnTo>
                  <a:cubicBezTo>
                    <a:pt x="2121" y="2468"/>
                    <a:pt x="2128" y="2472"/>
                    <a:pt x="2132" y="2472"/>
                  </a:cubicBezTo>
                  <a:cubicBezTo>
                    <a:pt x="2139" y="2472"/>
                    <a:pt x="2132" y="2458"/>
                    <a:pt x="2111" y="2458"/>
                  </a:cubicBezTo>
                  <a:lnTo>
                    <a:pt x="2111" y="2458"/>
                  </a:lnTo>
                  <a:lnTo>
                    <a:pt x="2111" y="2458"/>
                  </a:lnTo>
                  <a:cubicBezTo>
                    <a:pt x="2111" y="2363"/>
                    <a:pt x="2142" y="2584"/>
                    <a:pt x="1386" y="253"/>
                  </a:cubicBezTo>
                  <a:cubicBezTo>
                    <a:pt x="1355" y="95"/>
                    <a:pt x="1197" y="0"/>
                    <a:pt x="1071"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720" name="Google Shape;10720;p113"/>
            <p:cNvSpPr/>
            <p:nvPr/>
          </p:nvSpPr>
          <p:spPr>
            <a:xfrm>
              <a:off x="-48211800" y="2221475"/>
              <a:ext cx="122900" cy="17350"/>
            </a:xfrm>
            <a:custGeom>
              <a:avLst/>
              <a:gdLst/>
              <a:ahLst/>
              <a:cxnLst/>
              <a:rect l="l" t="t" r="r" b="b"/>
              <a:pathLst>
                <a:path w="4916" h="694" extrusionOk="0">
                  <a:moveTo>
                    <a:pt x="347" y="1"/>
                  </a:moveTo>
                  <a:cubicBezTo>
                    <a:pt x="158" y="1"/>
                    <a:pt x="1" y="158"/>
                    <a:pt x="1" y="347"/>
                  </a:cubicBezTo>
                  <a:cubicBezTo>
                    <a:pt x="1" y="536"/>
                    <a:pt x="158" y="694"/>
                    <a:pt x="347" y="694"/>
                  </a:cubicBezTo>
                  <a:lnTo>
                    <a:pt x="4569" y="694"/>
                  </a:lnTo>
                  <a:cubicBezTo>
                    <a:pt x="4758" y="694"/>
                    <a:pt x="4916" y="536"/>
                    <a:pt x="4916" y="347"/>
                  </a:cubicBezTo>
                  <a:cubicBezTo>
                    <a:pt x="4884" y="158"/>
                    <a:pt x="4727" y="1"/>
                    <a:pt x="4569"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721" name="Google Shape;10721;p113"/>
            <p:cNvSpPr/>
            <p:nvPr/>
          </p:nvSpPr>
          <p:spPr>
            <a:xfrm>
              <a:off x="-48211800" y="2185250"/>
              <a:ext cx="87450" cy="18150"/>
            </a:xfrm>
            <a:custGeom>
              <a:avLst/>
              <a:gdLst/>
              <a:ahLst/>
              <a:cxnLst/>
              <a:rect l="l" t="t" r="r" b="b"/>
              <a:pathLst>
                <a:path w="3498" h="726" extrusionOk="0">
                  <a:moveTo>
                    <a:pt x="347" y="1"/>
                  </a:moveTo>
                  <a:cubicBezTo>
                    <a:pt x="158" y="1"/>
                    <a:pt x="1" y="158"/>
                    <a:pt x="1" y="379"/>
                  </a:cubicBezTo>
                  <a:cubicBezTo>
                    <a:pt x="1" y="568"/>
                    <a:pt x="158" y="725"/>
                    <a:pt x="347" y="725"/>
                  </a:cubicBezTo>
                  <a:lnTo>
                    <a:pt x="3151" y="725"/>
                  </a:lnTo>
                  <a:cubicBezTo>
                    <a:pt x="3372" y="725"/>
                    <a:pt x="3498" y="568"/>
                    <a:pt x="3498" y="379"/>
                  </a:cubicBezTo>
                  <a:cubicBezTo>
                    <a:pt x="3498" y="158"/>
                    <a:pt x="3372" y="1"/>
                    <a:pt x="3151"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722" name="Google Shape;10722;p113"/>
            <p:cNvSpPr/>
            <p:nvPr/>
          </p:nvSpPr>
          <p:spPr>
            <a:xfrm>
              <a:off x="-48106250" y="2185250"/>
              <a:ext cx="17350" cy="18150"/>
            </a:xfrm>
            <a:custGeom>
              <a:avLst/>
              <a:gdLst/>
              <a:ahLst/>
              <a:cxnLst/>
              <a:rect l="l" t="t" r="r" b="b"/>
              <a:pathLst>
                <a:path w="694" h="726" extrusionOk="0">
                  <a:moveTo>
                    <a:pt x="347" y="1"/>
                  </a:moveTo>
                  <a:cubicBezTo>
                    <a:pt x="158" y="1"/>
                    <a:pt x="1" y="190"/>
                    <a:pt x="1" y="379"/>
                  </a:cubicBezTo>
                  <a:cubicBezTo>
                    <a:pt x="1" y="568"/>
                    <a:pt x="158" y="725"/>
                    <a:pt x="347" y="725"/>
                  </a:cubicBezTo>
                  <a:cubicBezTo>
                    <a:pt x="536" y="725"/>
                    <a:pt x="694" y="568"/>
                    <a:pt x="694" y="379"/>
                  </a:cubicBezTo>
                  <a:cubicBezTo>
                    <a:pt x="694" y="190"/>
                    <a:pt x="536" y="1"/>
                    <a:pt x="347"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10723" name="Google Shape;10723;p113"/>
          <p:cNvGrpSpPr/>
          <p:nvPr/>
        </p:nvGrpSpPr>
        <p:grpSpPr>
          <a:xfrm>
            <a:off x="4731792" y="2691159"/>
            <a:ext cx="408688" cy="477799"/>
            <a:chOff x="-48237000" y="2342650"/>
            <a:chExt cx="256800" cy="300225"/>
          </a:xfrm>
        </p:grpSpPr>
        <p:sp>
          <p:nvSpPr>
            <p:cNvPr id="10724" name="Google Shape;10724;p113"/>
            <p:cNvSpPr/>
            <p:nvPr/>
          </p:nvSpPr>
          <p:spPr>
            <a:xfrm>
              <a:off x="-48237000" y="2342650"/>
              <a:ext cx="256800" cy="300225"/>
            </a:xfrm>
            <a:custGeom>
              <a:avLst/>
              <a:gdLst/>
              <a:ahLst/>
              <a:cxnLst/>
              <a:rect l="l" t="t" r="r" b="b"/>
              <a:pathLst>
                <a:path w="10272" h="12009" extrusionOk="0">
                  <a:moveTo>
                    <a:pt x="4507" y="679"/>
                  </a:moveTo>
                  <a:cubicBezTo>
                    <a:pt x="4774" y="679"/>
                    <a:pt x="5048" y="706"/>
                    <a:pt x="5325" y="762"/>
                  </a:cubicBezTo>
                  <a:cubicBezTo>
                    <a:pt x="6774" y="1077"/>
                    <a:pt x="7940" y="2274"/>
                    <a:pt x="8255" y="3723"/>
                  </a:cubicBezTo>
                  <a:cubicBezTo>
                    <a:pt x="8381" y="4227"/>
                    <a:pt x="8381" y="4763"/>
                    <a:pt x="8318" y="5267"/>
                  </a:cubicBezTo>
                  <a:cubicBezTo>
                    <a:pt x="8318" y="5330"/>
                    <a:pt x="8318" y="5424"/>
                    <a:pt x="8350" y="5487"/>
                  </a:cubicBezTo>
                  <a:lnTo>
                    <a:pt x="9263" y="7220"/>
                  </a:lnTo>
                  <a:cubicBezTo>
                    <a:pt x="9389" y="7441"/>
                    <a:pt x="9232" y="7756"/>
                    <a:pt x="8980" y="7756"/>
                  </a:cubicBezTo>
                  <a:lnTo>
                    <a:pt x="8034" y="7756"/>
                  </a:lnTo>
                  <a:cubicBezTo>
                    <a:pt x="7845" y="7756"/>
                    <a:pt x="7688" y="7913"/>
                    <a:pt x="7688" y="8102"/>
                  </a:cubicBezTo>
                  <a:lnTo>
                    <a:pt x="7688" y="9867"/>
                  </a:lnTo>
                  <a:lnTo>
                    <a:pt x="5892" y="9867"/>
                  </a:lnTo>
                  <a:cubicBezTo>
                    <a:pt x="5703" y="9867"/>
                    <a:pt x="5546" y="10024"/>
                    <a:pt x="5546" y="10213"/>
                  </a:cubicBezTo>
                  <a:lnTo>
                    <a:pt x="5546" y="11284"/>
                  </a:lnTo>
                  <a:lnTo>
                    <a:pt x="2049" y="11284"/>
                  </a:lnTo>
                  <a:lnTo>
                    <a:pt x="2049" y="7693"/>
                  </a:lnTo>
                  <a:cubicBezTo>
                    <a:pt x="2049" y="7598"/>
                    <a:pt x="2017" y="7504"/>
                    <a:pt x="1923" y="7441"/>
                  </a:cubicBezTo>
                  <a:cubicBezTo>
                    <a:pt x="1103" y="6685"/>
                    <a:pt x="631" y="5645"/>
                    <a:pt x="631" y="4542"/>
                  </a:cubicBezTo>
                  <a:cubicBezTo>
                    <a:pt x="631" y="2387"/>
                    <a:pt x="2372" y="679"/>
                    <a:pt x="4507" y="679"/>
                  </a:cubicBezTo>
                  <a:close/>
                  <a:moveTo>
                    <a:pt x="4570" y="0"/>
                  </a:moveTo>
                  <a:cubicBezTo>
                    <a:pt x="2059" y="0"/>
                    <a:pt x="1" y="1999"/>
                    <a:pt x="1" y="4542"/>
                  </a:cubicBezTo>
                  <a:cubicBezTo>
                    <a:pt x="1" y="5802"/>
                    <a:pt x="505" y="7000"/>
                    <a:pt x="1418" y="7850"/>
                  </a:cubicBezTo>
                  <a:lnTo>
                    <a:pt x="1418" y="11631"/>
                  </a:lnTo>
                  <a:cubicBezTo>
                    <a:pt x="1418" y="11851"/>
                    <a:pt x="1576" y="12009"/>
                    <a:pt x="1765" y="12009"/>
                  </a:cubicBezTo>
                  <a:lnTo>
                    <a:pt x="5987" y="12009"/>
                  </a:lnTo>
                  <a:cubicBezTo>
                    <a:pt x="6176" y="12009"/>
                    <a:pt x="6333" y="11851"/>
                    <a:pt x="6333" y="11631"/>
                  </a:cubicBezTo>
                  <a:lnTo>
                    <a:pt x="6333" y="10591"/>
                  </a:lnTo>
                  <a:lnTo>
                    <a:pt x="8097" y="10591"/>
                  </a:lnTo>
                  <a:cubicBezTo>
                    <a:pt x="8287" y="10591"/>
                    <a:pt x="8444" y="10434"/>
                    <a:pt x="8444" y="10213"/>
                  </a:cubicBezTo>
                  <a:lnTo>
                    <a:pt x="8444" y="8449"/>
                  </a:lnTo>
                  <a:lnTo>
                    <a:pt x="9043" y="8449"/>
                  </a:lnTo>
                  <a:cubicBezTo>
                    <a:pt x="9799" y="8417"/>
                    <a:pt x="10271" y="7598"/>
                    <a:pt x="9925" y="6874"/>
                  </a:cubicBezTo>
                  <a:lnTo>
                    <a:pt x="9043" y="5267"/>
                  </a:lnTo>
                  <a:cubicBezTo>
                    <a:pt x="9137" y="4700"/>
                    <a:pt x="9137" y="4164"/>
                    <a:pt x="9011" y="3597"/>
                  </a:cubicBezTo>
                  <a:cubicBezTo>
                    <a:pt x="8665" y="1864"/>
                    <a:pt x="7247" y="510"/>
                    <a:pt x="5546" y="100"/>
                  </a:cubicBezTo>
                  <a:cubicBezTo>
                    <a:pt x="5215" y="33"/>
                    <a:pt x="4889" y="0"/>
                    <a:pt x="4570"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725" name="Google Shape;10725;p113"/>
            <p:cNvSpPr/>
            <p:nvPr/>
          </p:nvSpPr>
          <p:spPr>
            <a:xfrm>
              <a:off x="-48195250" y="2377425"/>
              <a:ext cx="144150" cy="140225"/>
            </a:xfrm>
            <a:custGeom>
              <a:avLst/>
              <a:gdLst/>
              <a:ahLst/>
              <a:cxnLst/>
              <a:rect l="l" t="t" r="r" b="b"/>
              <a:pathLst>
                <a:path w="5766" h="5609" extrusionOk="0">
                  <a:moveTo>
                    <a:pt x="3214" y="757"/>
                  </a:moveTo>
                  <a:lnTo>
                    <a:pt x="3214" y="883"/>
                  </a:lnTo>
                  <a:cubicBezTo>
                    <a:pt x="3214" y="1040"/>
                    <a:pt x="3277" y="1135"/>
                    <a:pt x="3435" y="1198"/>
                  </a:cubicBezTo>
                  <a:cubicBezTo>
                    <a:pt x="3624" y="1261"/>
                    <a:pt x="3844" y="1387"/>
                    <a:pt x="4002" y="1513"/>
                  </a:cubicBezTo>
                  <a:cubicBezTo>
                    <a:pt x="4061" y="1553"/>
                    <a:pt x="4146" y="1593"/>
                    <a:pt x="4233" y="1593"/>
                  </a:cubicBezTo>
                  <a:cubicBezTo>
                    <a:pt x="4283" y="1593"/>
                    <a:pt x="4333" y="1579"/>
                    <a:pt x="4380" y="1545"/>
                  </a:cubicBezTo>
                  <a:lnTo>
                    <a:pt x="4506" y="1482"/>
                  </a:lnTo>
                  <a:lnTo>
                    <a:pt x="4852" y="2049"/>
                  </a:lnTo>
                  <a:lnTo>
                    <a:pt x="4726" y="2143"/>
                  </a:lnTo>
                  <a:cubicBezTo>
                    <a:pt x="4632" y="2206"/>
                    <a:pt x="4537" y="2364"/>
                    <a:pt x="4569" y="2490"/>
                  </a:cubicBezTo>
                  <a:cubicBezTo>
                    <a:pt x="4632" y="2710"/>
                    <a:pt x="4632" y="2899"/>
                    <a:pt x="4569" y="3120"/>
                  </a:cubicBezTo>
                  <a:cubicBezTo>
                    <a:pt x="4537" y="3277"/>
                    <a:pt x="4632" y="3403"/>
                    <a:pt x="4726" y="3466"/>
                  </a:cubicBezTo>
                  <a:lnTo>
                    <a:pt x="4852" y="3561"/>
                  </a:lnTo>
                  <a:lnTo>
                    <a:pt x="4506" y="4159"/>
                  </a:lnTo>
                  <a:lnTo>
                    <a:pt x="4380" y="4065"/>
                  </a:lnTo>
                  <a:cubicBezTo>
                    <a:pt x="4323" y="4037"/>
                    <a:pt x="4260" y="4021"/>
                    <a:pt x="4199" y="4021"/>
                  </a:cubicBezTo>
                  <a:cubicBezTo>
                    <a:pt x="4125" y="4021"/>
                    <a:pt x="4054" y="4044"/>
                    <a:pt x="4002" y="4096"/>
                  </a:cubicBezTo>
                  <a:cubicBezTo>
                    <a:pt x="3844" y="4254"/>
                    <a:pt x="3624" y="4348"/>
                    <a:pt x="3435" y="4411"/>
                  </a:cubicBezTo>
                  <a:cubicBezTo>
                    <a:pt x="3277" y="4475"/>
                    <a:pt x="3214" y="4632"/>
                    <a:pt x="3214" y="4727"/>
                  </a:cubicBezTo>
                  <a:lnTo>
                    <a:pt x="3214" y="4853"/>
                  </a:lnTo>
                  <a:lnTo>
                    <a:pt x="2489" y="4853"/>
                  </a:lnTo>
                  <a:lnTo>
                    <a:pt x="2489" y="4727"/>
                  </a:lnTo>
                  <a:cubicBezTo>
                    <a:pt x="2489" y="4569"/>
                    <a:pt x="2426" y="4475"/>
                    <a:pt x="2269" y="4411"/>
                  </a:cubicBezTo>
                  <a:cubicBezTo>
                    <a:pt x="2048" y="4348"/>
                    <a:pt x="1859" y="4222"/>
                    <a:pt x="1702" y="4096"/>
                  </a:cubicBezTo>
                  <a:cubicBezTo>
                    <a:pt x="1622" y="4057"/>
                    <a:pt x="1530" y="4017"/>
                    <a:pt x="1449" y="4017"/>
                  </a:cubicBezTo>
                  <a:cubicBezTo>
                    <a:pt x="1402" y="4017"/>
                    <a:pt x="1358" y="4030"/>
                    <a:pt x="1324" y="4065"/>
                  </a:cubicBezTo>
                  <a:lnTo>
                    <a:pt x="1198" y="4159"/>
                  </a:lnTo>
                  <a:lnTo>
                    <a:pt x="851" y="3561"/>
                  </a:lnTo>
                  <a:lnTo>
                    <a:pt x="946" y="3466"/>
                  </a:lnTo>
                  <a:cubicBezTo>
                    <a:pt x="1072" y="3403"/>
                    <a:pt x="1166" y="3246"/>
                    <a:pt x="1103" y="3120"/>
                  </a:cubicBezTo>
                  <a:cubicBezTo>
                    <a:pt x="1072" y="2899"/>
                    <a:pt x="1072" y="2710"/>
                    <a:pt x="1103" y="2490"/>
                  </a:cubicBezTo>
                  <a:cubicBezTo>
                    <a:pt x="1166" y="2332"/>
                    <a:pt x="1072" y="2206"/>
                    <a:pt x="946" y="2143"/>
                  </a:cubicBezTo>
                  <a:lnTo>
                    <a:pt x="851" y="2049"/>
                  </a:lnTo>
                  <a:lnTo>
                    <a:pt x="1198" y="1482"/>
                  </a:lnTo>
                  <a:lnTo>
                    <a:pt x="1324" y="1545"/>
                  </a:lnTo>
                  <a:cubicBezTo>
                    <a:pt x="1366" y="1573"/>
                    <a:pt x="1421" y="1588"/>
                    <a:pt x="1481" y="1588"/>
                  </a:cubicBezTo>
                  <a:cubicBezTo>
                    <a:pt x="1553" y="1588"/>
                    <a:pt x="1632" y="1565"/>
                    <a:pt x="1702" y="1513"/>
                  </a:cubicBezTo>
                  <a:cubicBezTo>
                    <a:pt x="1859" y="1356"/>
                    <a:pt x="2048" y="1261"/>
                    <a:pt x="2269" y="1198"/>
                  </a:cubicBezTo>
                  <a:cubicBezTo>
                    <a:pt x="2426" y="1135"/>
                    <a:pt x="2489" y="977"/>
                    <a:pt x="2489" y="883"/>
                  </a:cubicBezTo>
                  <a:lnTo>
                    <a:pt x="2489" y="757"/>
                  </a:lnTo>
                  <a:close/>
                  <a:moveTo>
                    <a:pt x="2174" y="1"/>
                  </a:moveTo>
                  <a:cubicBezTo>
                    <a:pt x="1985" y="1"/>
                    <a:pt x="1828" y="158"/>
                    <a:pt x="1828" y="379"/>
                  </a:cubicBezTo>
                  <a:lnTo>
                    <a:pt x="1828" y="599"/>
                  </a:lnTo>
                  <a:cubicBezTo>
                    <a:pt x="1702" y="631"/>
                    <a:pt x="1576" y="725"/>
                    <a:pt x="1513" y="788"/>
                  </a:cubicBezTo>
                  <a:lnTo>
                    <a:pt x="1324" y="694"/>
                  </a:lnTo>
                  <a:cubicBezTo>
                    <a:pt x="1265" y="658"/>
                    <a:pt x="1192" y="641"/>
                    <a:pt x="1122" y="641"/>
                  </a:cubicBezTo>
                  <a:cubicBezTo>
                    <a:pt x="1004" y="641"/>
                    <a:pt x="890" y="690"/>
                    <a:pt x="851" y="788"/>
                  </a:cubicBezTo>
                  <a:lnTo>
                    <a:pt x="126" y="2017"/>
                  </a:lnTo>
                  <a:cubicBezTo>
                    <a:pt x="63" y="2175"/>
                    <a:pt x="95" y="2427"/>
                    <a:pt x="253" y="2490"/>
                  </a:cubicBezTo>
                  <a:lnTo>
                    <a:pt x="442" y="2616"/>
                  </a:lnTo>
                  <a:lnTo>
                    <a:pt x="442" y="2994"/>
                  </a:lnTo>
                  <a:lnTo>
                    <a:pt x="253" y="3120"/>
                  </a:lnTo>
                  <a:cubicBezTo>
                    <a:pt x="95" y="3214"/>
                    <a:pt x="0" y="3435"/>
                    <a:pt x="126" y="3592"/>
                  </a:cubicBezTo>
                  <a:lnTo>
                    <a:pt x="851" y="4821"/>
                  </a:lnTo>
                  <a:cubicBezTo>
                    <a:pt x="894" y="4928"/>
                    <a:pt x="1024" y="4991"/>
                    <a:pt x="1152" y="4991"/>
                  </a:cubicBezTo>
                  <a:cubicBezTo>
                    <a:pt x="1213" y="4991"/>
                    <a:pt x="1273" y="4977"/>
                    <a:pt x="1324" y="4947"/>
                  </a:cubicBezTo>
                  <a:lnTo>
                    <a:pt x="1513" y="4821"/>
                  </a:lnTo>
                  <a:cubicBezTo>
                    <a:pt x="1639" y="4884"/>
                    <a:pt x="1733" y="4979"/>
                    <a:pt x="1828" y="5010"/>
                  </a:cubicBezTo>
                  <a:lnTo>
                    <a:pt x="1828" y="5262"/>
                  </a:lnTo>
                  <a:cubicBezTo>
                    <a:pt x="1828" y="5451"/>
                    <a:pt x="1985" y="5609"/>
                    <a:pt x="2174" y="5609"/>
                  </a:cubicBezTo>
                  <a:lnTo>
                    <a:pt x="3592" y="5609"/>
                  </a:lnTo>
                  <a:cubicBezTo>
                    <a:pt x="3781" y="5609"/>
                    <a:pt x="3939" y="5451"/>
                    <a:pt x="3939" y="5262"/>
                  </a:cubicBezTo>
                  <a:lnTo>
                    <a:pt x="3939" y="5010"/>
                  </a:lnTo>
                  <a:cubicBezTo>
                    <a:pt x="4065" y="4979"/>
                    <a:pt x="4191" y="4884"/>
                    <a:pt x="4254" y="4821"/>
                  </a:cubicBezTo>
                  <a:lnTo>
                    <a:pt x="4474" y="4947"/>
                  </a:lnTo>
                  <a:cubicBezTo>
                    <a:pt x="4524" y="4967"/>
                    <a:pt x="4580" y="4978"/>
                    <a:pt x="4637" y="4978"/>
                  </a:cubicBezTo>
                  <a:cubicBezTo>
                    <a:pt x="4759" y="4978"/>
                    <a:pt x="4882" y="4929"/>
                    <a:pt x="4947" y="4821"/>
                  </a:cubicBezTo>
                  <a:lnTo>
                    <a:pt x="5640" y="3592"/>
                  </a:lnTo>
                  <a:cubicBezTo>
                    <a:pt x="5734" y="3435"/>
                    <a:pt x="5671" y="3214"/>
                    <a:pt x="5514" y="3120"/>
                  </a:cubicBezTo>
                  <a:lnTo>
                    <a:pt x="5325" y="2994"/>
                  </a:lnTo>
                  <a:lnTo>
                    <a:pt x="5325" y="2616"/>
                  </a:lnTo>
                  <a:lnTo>
                    <a:pt x="5514" y="2490"/>
                  </a:lnTo>
                  <a:cubicBezTo>
                    <a:pt x="5671" y="2427"/>
                    <a:pt x="5766" y="2206"/>
                    <a:pt x="5640" y="2017"/>
                  </a:cubicBezTo>
                  <a:lnTo>
                    <a:pt x="4947" y="788"/>
                  </a:lnTo>
                  <a:cubicBezTo>
                    <a:pt x="4887" y="689"/>
                    <a:pt x="4777" y="627"/>
                    <a:pt x="4664" y="627"/>
                  </a:cubicBezTo>
                  <a:cubicBezTo>
                    <a:pt x="4598" y="627"/>
                    <a:pt x="4532" y="648"/>
                    <a:pt x="4474" y="694"/>
                  </a:cubicBezTo>
                  <a:lnTo>
                    <a:pt x="4254" y="788"/>
                  </a:lnTo>
                  <a:cubicBezTo>
                    <a:pt x="4159" y="725"/>
                    <a:pt x="4033" y="631"/>
                    <a:pt x="3939" y="599"/>
                  </a:cubicBezTo>
                  <a:lnTo>
                    <a:pt x="3939" y="379"/>
                  </a:lnTo>
                  <a:cubicBezTo>
                    <a:pt x="3939" y="158"/>
                    <a:pt x="3781" y="1"/>
                    <a:pt x="3592"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726" name="Google Shape;10726;p113"/>
            <p:cNvSpPr/>
            <p:nvPr/>
          </p:nvSpPr>
          <p:spPr>
            <a:xfrm>
              <a:off x="-48150350" y="2422325"/>
              <a:ext cx="52775" cy="52800"/>
            </a:xfrm>
            <a:custGeom>
              <a:avLst/>
              <a:gdLst/>
              <a:ahLst/>
              <a:cxnLst/>
              <a:rect l="l" t="t" r="r" b="b"/>
              <a:pathLst>
                <a:path w="2111" h="2112" extrusionOk="0">
                  <a:moveTo>
                    <a:pt x="1040" y="662"/>
                  </a:moveTo>
                  <a:cubicBezTo>
                    <a:pt x="1260" y="662"/>
                    <a:pt x="1418" y="820"/>
                    <a:pt x="1418" y="1009"/>
                  </a:cubicBezTo>
                  <a:cubicBezTo>
                    <a:pt x="1418" y="1198"/>
                    <a:pt x="1260" y="1355"/>
                    <a:pt x="1040" y="1355"/>
                  </a:cubicBezTo>
                  <a:cubicBezTo>
                    <a:pt x="851" y="1355"/>
                    <a:pt x="693" y="1198"/>
                    <a:pt x="693" y="1009"/>
                  </a:cubicBezTo>
                  <a:cubicBezTo>
                    <a:pt x="693" y="820"/>
                    <a:pt x="851" y="662"/>
                    <a:pt x="1040" y="662"/>
                  </a:cubicBezTo>
                  <a:close/>
                  <a:moveTo>
                    <a:pt x="1040" y="1"/>
                  </a:moveTo>
                  <a:cubicBezTo>
                    <a:pt x="473" y="1"/>
                    <a:pt x="0" y="473"/>
                    <a:pt x="0" y="1040"/>
                  </a:cubicBezTo>
                  <a:cubicBezTo>
                    <a:pt x="0" y="1639"/>
                    <a:pt x="473" y="2111"/>
                    <a:pt x="1040" y="2111"/>
                  </a:cubicBezTo>
                  <a:cubicBezTo>
                    <a:pt x="1639" y="2111"/>
                    <a:pt x="2111" y="1639"/>
                    <a:pt x="2111" y="1040"/>
                  </a:cubicBezTo>
                  <a:cubicBezTo>
                    <a:pt x="2111" y="473"/>
                    <a:pt x="1639" y="1"/>
                    <a:pt x="1040"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10727" name="Google Shape;10727;p113"/>
          <p:cNvGrpSpPr/>
          <p:nvPr/>
        </p:nvGrpSpPr>
        <p:grpSpPr>
          <a:xfrm>
            <a:off x="2907117" y="3891529"/>
            <a:ext cx="481379" cy="474177"/>
            <a:chOff x="-46404975" y="1966100"/>
            <a:chExt cx="302475" cy="297950"/>
          </a:xfrm>
        </p:grpSpPr>
        <p:sp>
          <p:nvSpPr>
            <p:cNvPr id="10728" name="Google Shape;10728;p113"/>
            <p:cNvSpPr/>
            <p:nvPr/>
          </p:nvSpPr>
          <p:spPr>
            <a:xfrm>
              <a:off x="-46349850" y="1966100"/>
              <a:ext cx="38625" cy="86850"/>
            </a:xfrm>
            <a:custGeom>
              <a:avLst/>
              <a:gdLst/>
              <a:ahLst/>
              <a:cxnLst/>
              <a:rect l="l" t="t" r="r" b="b"/>
              <a:pathLst>
                <a:path w="1545" h="3474" extrusionOk="0">
                  <a:moveTo>
                    <a:pt x="784" y="0"/>
                  </a:moveTo>
                  <a:cubicBezTo>
                    <a:pt x="686" y="0"/>
                    <a:pt x="583" y="24"/>
                    <a:pt x="505" y="71"/>
                  </a:cubicBezTo>
                  <a:cubicBezTo>
                    <a:pt x="1" y="607"/>
                    <a:pt x="1" y="1458"/>
                    <a:pt x="505" y="1962"/>
                  </a:cubicBezTo>
                  <a:cubicBezTo>
                    <a:pt x="757" y="2214"/>
                    <a:pt x="757" y="2655"/>
                    <a:pt x="505" y="2875"/>
                  </a:cubicBezTo>
                  <a:cubicBezTo>
                    <a:pt x="379" y="3001"/>
                    <a:pt x="379" y="3222"/>
                    <a:pt x="505" y="3379"/>
                  </a:cubicBezTo>
                  <a:cubicBezTo>
                    <a:pt x="568" y="3442"/>
                    <a:pt x="654" y="3474"/>
                    <a:pt x="749" y="3474"/>
                  </a:cubicBezTo>
                  <a:cubicBezTo>
                    <a:pt x="843" y="3474"/>
                    <a:pt x="946" y="3442"/>
                    <a:pt x="1040" y="3379"/>
                  </a:cubicBezTo>
                  <a:cubicBezTo>
                    <a:pt x="1544" y="2875"/>
                    <a:pt x="1544" y="2025"/>
                    <a:pt x="1040" y="1489"/>
                  </a:cubicBezTo>
                  <a:cubicBezTo>
                    <a:pt x="788" y="1269"/>
                    <a:pt x="788" y="827"/>
                    <a:pt x="1040" y="607"/>
                  </a:cubicBezTo>
                  <a:cubicBezTo>
                    <a:pt x="1135" y="481"/>
                    <a:pt x="1135" y="229"/>
                    <a:pt x="1040" y="71"/>
                  </a:cubicBezTo>
                  <a:cubicBezTo>
                    <a:pt x="977" y="24"/>
                    <a:pt x="883" y="0"/>
                    <a:pt x="784"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729" name="Google Shape;10729;p113"/>
            <p:cNvSpPr/>
            <p:nvPr/>
          </p:nvSpPr>
          <p:spPr>
            <a:xfrm>
              <a:off x="-46297875" y="1966100"/>
              <a:ext cx="38625" cy="86850"/>
            </a:xfrm>
            <a:custGeom>
              <a:avLst/>
              <a:gdLst/>
              <a:ahLst/>
              <a:cxnLst/>
              <a:rect l="l" t="t" r="r" b="b"/>
              <a:pathLst>
                <a:path w="1545" h="3474" extrusionOk="0">
                  <a:moveTo>
                    <a:pt x="800" y="0"/>
                  </a:moveTo>
                  <a:cubicBezTo>
                    <a:pt x="710" y="0"/>
                    <a:pt x="615" y="24"/>
                    <a:pt x="537" y="71"/>
                  </a:cubicBezTo>
                  <a:cubicBezTo>
                    <a:pt x="1" y="607"/>
                    <a:pt x="1" y="1458"/>
                    <a:pt x="537" y="1962"/>
                  </a:cubicBezTo>
                  <a:cubicBezTo>
                    <a:pt x="757" y="2214"/>
                    <a:pt x="757" y="2655"/>
                    <a:pt x="537" y="2875"/>
                  </a:cubicBezTo>
                  <a:cubicBezTo>
                    <a:pt x="410" y="3001"/>
                    <a:pt x="410" y="3222"/>
                    <a:pt x="537" y="3379"/>
                  </a:cubicBezTo>
                  <a:cubicBezTo>
                    <a:pt x="584" y="3442"/>
                    <a:pt x="670" y="3474"/>
                    <a:pt x="765" y="3474"/>
                  </a:cubicBezTo>
                  <a:cubicBezTo>
                    <a:pt x="859" y="3474"/>
                    <a:pt x="962" y="3442"/>
                    <a:pt x="1041" y="3379"/>
                  </a:cubicBezTo>
                  <a:cubicBezTo>
                    <a:pt x="1545" y="2875"/>
                    <a:pt x="1545" y="2025"/>
                    <a:pt x="1041" y="1489"/>
                  </a:cubicBezTo>
                  <a:cubicBezTo>
                    <a:pt x="789" y="1269"/>
                    <a:pt x="789" y="827"/>
                    <a:pt x="1041" y="607"/>
                  </a:cubicBezTo>
                  <a:cubicBezTo>
                    <a:pt x="1167" y="481"/>
                    <a:pt x="1167" y="229"/>
                    <a:pt x="1041" y="71"/>
                  </a:cubicBezTo>
                  <a:cubicBezTo>
                    <a:pt x="978" y="24"/>
                    <a:pt x="891" y="0"/>
                    <a:pt x="800"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730" name="Google Shape;10730;p113"/>
            <p:cNvSpPr/>
            <p:nvPr/>
          </p:nvSpPr>
          <p:spPr>
            <a:xfrm>
              <a:off x="-46244300" y="1966100"/>
              <a:ext cx="38600" cy="86850"/>
            </a:xfrm>
            <a:custGeom>
              <a:avLst/>
              <a:gdLst/>
              <a:ahLst/>
              <a:cxnLst/>
              <a:rect l="l" t="t" r="r" b="b"/>
              <a:pathLst>
                <a:path w="1544" h="3474" extrusionOk="0">
                  <a:moveTo>
                    <a:pt x="768" y="0"/>
                  </a:moveTo>
                  <a:cubicBezTo>
                    <a:pt x="678" y="0"/>
                    <a:pt x="583" y="24"/>
                    <a:pt x="504" y="71"/>
                  </a:cubicBezTo>
                  <a:cubicBezTo>
                    <a:pt x="0" y="607"/>
                    <a:pt x="0" y="1458"/>
                    <a:pt x="504" y="1962"/>
                  </a:cubicBezTo>
                  <a:cubicBezTo>
                    <a:pt x="756" y="2214"/>
                    <a:pt x="756" y="2655"/>
                    <a:pt x="504" y="2875"/>
                  </a:cubicBezTo>
                  <a:cubicBezTo>
                    <a:pt x="378" y="3001"/>
                    <a:pt x="378" y="3222"/>
                    <a:pt x="504" y="3379"/>
                  </a:cubicBezTo>
                  <a:cubicBezTo>
                    <a:pt x="567" y="3442"/>
                    <a:pt x="654" y="3474"/>
                    <a:pt x="745" y="3474"/>
                  </a:cubicBezTo>
                  <a:cubicBezTo>
                    <a:pt x="835" y="3474"/>
                    <a:pt x="930" y="3442"/>
                    <a:pt x="1008" y="3379"/>
                  </a:cubicBezTo>
                  <a:cubicBezTo>
                    <a:pt x="1544" y="2875"/>
                    <a:pt x="1544" y="2025"/>
                    <a:pt x="1008" y="1489"/>
                  </a:cubicBezTo>
                  <a:cubicBezTo>
                    <a:pt x="788" y="1269"/>
                    <a:pt x="788" y="827"/>
                    <a:pt x="1008" y="607"/>
                  </a:cubicBezTo>
                  <a:cubicBezTo>
                    <a:pt x="1134" y="481"/>
                    <a:pt x="1134" y="229"/>
                    <a:pt x="1008" y="71"/>
                  </a:cubicBezTo>
                  <a:cubicBezTo>
                    <a:pt x="945" y="24"/>
                    <a:pt x="859" y="0"/>
                    <a:pt x="768"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731" name="Google Shape;10731;p113"/>
            <p:cNvSpPr/>
            <p:nvPr/>
          </p:nvSpPr>
          <p:spPr>
            <a:xfrm>
              <a:off x="-46404975" y="2070250"/>
              <a:ext cx="302475" cy="193800"/>
            </a:xfrm>
            <a:custGeom>
              <a:avLst/>
              <a:gdLst/>
              <a:ahLst/>
              <a:cxnLst/>
              <a:rect l="l" t="t" r="r" b="b"/>
              <a:pathLst>
                <a:path w="12099" h="7752" extrusionOk="0">
                  <a:moveTo>
                    <a:pt x="11058" y="1419"/>
                  </a:moveTo>
                  <a:cubicBezTo>
                    <a:pt x="11248" y="1419"/>
                    <a:pt x="11405" y="1576"/>
                    <a:pt x="11405" y="1797"/>
                  </a:cubicBezTo>
                  <a:cubicBezTo>
                    <a:pt x="11405" y="3088"/>
                    <a:pt x="10397" y="4160"/>
                    <a:pt x="9137" y="4223"/>
                  </a:cubicBezTo>
                  <a:cubicBezTo>
                    <a:pt x="9578" y="3372"/>
                    <a:pt x="9830" y="2395"/>
                    <a:pt x="9956" y="1419"/>
                  </a:cubicBezTo>
                  <a:close/>
                  <a:moveTo>
                    <a:pt x="9294" y="726"/>
                  </a:moveTo>
                  <a:cubicBezTo>
                    <a:pt x="9200" y="2521"/>
                    <a:pt x="8507" y="4569"/>
                    <a:pt x="7057" y="5640"/>
                  </a:cubicBezTo>
                  <a:lnTo>
                    <a:pt x="3056" y="5640"/>
                  </a:lnTo>
                  <a:lnTo>
                    <a:pt x="3056" y="5672"/>
                  </a:lnTo>
                  <a:cubicBezTo>
                    <a:pt x="1765" y="4695"/>
                    <a:pt x="914" y="2805"/>
                    <a:pt x="819" y="726"/>
                  </a:cubicBezTo>
                  <a:close/>
                  <a:moveTo>
                    <a:pt x="8948" y="6396"/>
                  </a:moveTo>
                  <a:cubicBezTo>
                    <a:pt x="8570" y="6837"/>
                    <a:pt x="8003" y="7090"/>
                    <a:pt x="7372" y="7090"/>
                  </a:cubicBezTo>
                  <a:lnTo>
                    <a:pt x="2710" y="7090"/>
                  </a:lnTo>
                  <a:cubicBezTo>
                    <a:pt x="2080" y="7090"/>
                    <a:pt x="1481" y="6837"/>
                    <a:pt x="1103" y="6396"/>
                  </a:cubicBezTo>
                  <a:close/>
                  <a:moveTo>
                    <a:pt x="441" y="1"/>
                  </a:moveTo>
                  <a:cubicBezTo>
                    <a:pt x="252" y="1"/>
                    <a:pt x="95" y="158"/>
                    <a:pt x="95" y="348"/>
                  </a:cubicBezTo>
                  <a:cubicBezTo>
                    <a:pt x="95" y="2301"/>
                    <a:pt x="725" y="4317"/>
                    <a:pt x="1985" y="5640"/>
                  </a:cubicBezTo>
                  <a:lnTo>
                    <a:pt x="441" y="5640"/>
                  </a:lnTo>
                  <a:cubicBezTo>
                    <a:pt x="158" y="5640"/>
                    <a:pt x="0" y="5924"/>
                    <a:pt x="126" y="6144"/>
                  </a:cubicBezTo>
                  <a:cubicBezTo>
                    <a:pt x="347" y="6617"/>
                    <a:pt x="725" y="7027"/>
                    <a:pt x="1197" y="7342"/>
                  </a:cubicBezTo>
                  <a:cubicBezTo>
                    <a:pt x="1670" y="7594"/>
                    <a:pt x="2174" y="7751"/>
                    <a:pt x="2710" y="7751"/>
                  </a:cubicBezTo>
                  <a:lnTo>
                    <a:pt x="7372" y="7751"/>
                  </a:lnTo>
                  <a:cubicBezTo>
                    <a:pt x="8475" y="7751"/>
                    <a:pt x="9452" y="7121"/>
                    <a:pt x="9956" y="6144"/>
                  </a:cubicBezTo>
                  <a:cubicBezTo>
                    <a:pt x="10082" y="5924"/>
                    <a:pt x="9924" y="5640"/>
                    <a:pt x="9641" y="5640"/>
                  </a:cubicBezTo>
                  <a:lnTo>
                    <a:pt x="8129" y="5640"/>
                  </a:lnTo>
                  <a:lnTo>
                    <a:pt x="8696" y="4916"/>
                  </a:lnTo>
                  <a:lnTo>
                    <a:pt x="8948" y="4916"/>
                  </a:lnTo>
                  <a:lnTo>
                    <a:pt x="8948" y="4947"/>
                  </a:lnTo>
                  <a:cubicBezTo>
                    <a:pt x="10680" y="4947"/>
                    <a:pt x="12098" y="3529"/>
                    <a:pt x="12098" y="1797"/>
                  </a:cubicBezTo>
                  <a:cubicBezTo>
                    <a:pt x="12098" y="1198"/>
                    <a:pt x="11626" y="726"/>
                    <a:pt x="11027" y="726"/>
                  </a:cubicBezTo>
                  <a:lnTo>
                    <a:pt x="9956" y="726"/>
                  </a:lnTo>
                  <a:lnTo>
                    <a:pt x="9956" y="348"/>
                  </a:lnTo>
                  <a:cubicBezTo>
                    <a:pt x="9956" y="158"/>
                    <a:pt x="9798" y="1"/>
                    <a:pt x="9609"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10732" name="Google Shape;10732;p113"/>
          <p:cNvGrpSpPr/>
          <p:nvPr/>
        </p:nvGrpSpPr>
        <p:grpSpPr>
          <a:xfrm>
            <a:off x="2908987" y="4485951"/>
            <a:ext cx="477639" cy="477599"/>
            <a:chOff x="-46401050" y="2333325"/>
            <a:chExt cx="300125" cy="300100"/>
          </a:xfrm>
        </p:grpSpPr>
        <p:sp>
          <p:nvSpPr>
            <p:cNvPr id="10733" name="Google Shape;10733;p113"/>
            <p:cNvSpPr/>
            <p:nvPr/>
          </p:nvSpPr>
          <p:spPr>
            <a:xfrm>
              <a:off x="-46401050" y="2333325"/>
              <a:ext cx="300125" cy="300100"/>
            </a:xfrm>
            <a:custGeom>
              <a:avLst/>
              <a:gdLst/>
              <a:ahLst/>
              <a:cxnLst/>
              <a:rect l="l" t="t" r="r" b="b"/>
              <a:pathLst>
                <a:path w="12005" h="12004" extrusionOk="0">
                  <a:moveTo>
                    <a:pt x="7719" y="725"/>
                  </a:moveTo>
                  <a:lnTo>
                    <a:pt x="7719" y="2111"/>
                  </a:lnTo>
                  <a:lnTo>
                    <a:pt x="7026" y="2111"/>
                  </a:lnTo>
                  <a:lnTo>
                    <a:pt x="7026" y="725"/>
                  </a:lnTo>
                  <a:close/>
                  <a:moveTo>
                    <a:pt x="9137" y="725"/>
                  </a:moveTo>
                  <a:lnTo>
                    <a:pt x="9137" y="3498"/>
                  </a:lnTo>
                  <a:lnTo>
                    <a:pt x="2805" y="3498"/>
                  </a:lnTo>
                  <a:lnTo>
                    <a:pt x="2805" y="725"/>
                  </a:lnTo>
                  <a:lnTo>
                    <a:pt x="6302" y="725"/>
                  </a:lnTo>
                  <a:lnTo>
                    <a:pt x="6302" y="2489"/>
                  </a:lnTo>
                  <a:cubicBezTo>
                    <a:pt x="6302" y="2678"/>
                    <a:pt x="6459" y="2836"/>
                    <a:pt x="6648" y="2836"/>
                  </a:cubicBezTo>
                  <a:lnTo>
                    <a:pt x="8066" y="2836"/>
                  </a:lnTo>
                  <a:cubicBezTo>
                    <a:pt x="8255" y="2836"/>
                    <a:pt x="8413" y="2678"/>
                    <a:pt x="8413" y="2489"/>
                  </a:cubicBezTo>
                  <a:lnTo>
                    <a:pt x="8413" y="725"/>
                  </a:lnTo>
                  <a:close/>
                  <a:moveTo>
                    <a:pt x="2080" y="725"/>
                  </a:moveTo>
                  <a:lnTo>
                    <a:pt x="2080" y="3876"/>
                  </a:lnTo>
                  <a:cubicBezTo>
                    <a:pt x="2080" y="4065"/>
                    <a:pt x="2238" y="4222"/>
                    <a:pt x="2427" y="4222"/>
                  </a:cubicBezTo>
                  <a:lnTo>
                    <a:pt x="9452" y="4222"/>
                  </a:lnTo>
                  <a:cubicBezTo>
                    <a:pt x="9641" y="4222"/>
                    <a:pt x="9799" y="4065"/>
                    <a:pt x="9799" y="3876"/>
                  </a:cubicBezTo>
                  <a:lnTo>
                    <a:pt x="9799" y="1166"/>
                  </a:lnTo>
                  <a:lnTo>
                    <a:pt x="11217" y="2584"/>
                  </a:lnTo>
                  <a:lnTo>
                    <a:pt x="11217" y="11311"/>
                  </a:lnTo>
                  <a:lnTo>
                    <a:pt x="662" y="11311"/>
                  </a:lnTo>
                  <a:lnTo>
                    <a:pt x="662" y="725"/>
                  </a:lnTo>
                  <a:close/>
                  <a:moveTo>
                    <a:pt x="347" y="1"/>
                  </a:moveTo>
                  <a:cubicBezTo>
                    <a:pt x="158" y="1"/>
                    <a:pt x="1" y="158"/>
                    <a:pt x="1" y="347"/>
                  </a:cubicBezTo>
                  <a:lnTo>
                    <a:pt x="1" y="11657"/>
                  </a:lnTo>
                  <a:cubicBezTo>
                    <a:pt x="1" y="11846"/>
                    <a:pt x="158" y="12004"/>
                    <a:pt x="347" y="12004"/>
                  </a:cubicBezTo>
                  <a:lnTo>
                    <a:pt x="11658" y="12004"/>
                  </a:lnTo>
                  <a:cubicBezTo>
                    <a:pt x="11847" y="12004"/>
                    <a:pt x="12004" y="11846"/>
                    <a:pt x="12004" y="11657"/>
                  </a:cubicBezTo>
                  <a:lnTo>
                    <a:pt x="12004" y="2489"/>
                  </a:lnTo>
                  <a:cubicBezTo>
                    <a:pt x="11941" y="2395"/>
                    <a:pt x="11878" y="2300"/>
                    <a:pt x="11847" y="2237"/>
                  </a:cubicBezTo>
                  <a:lnTo>
                    <a:pt x="9736" y="127"/>
                  </a:lnTo>
                  <a:cubicBezTo>
                    <a:pt x="9641" y="32"/>
                    <a:pt x="9578" y="1"/>
                    <a:pt x="9484"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734" name="Google Shape;10734;p113"/>
            <p:cNvSpPr/>
            <p:nvPr/>
          </p:nvSpPr>
          <p:spPr>
            <a:xfrm>
              <a:off x="-46366400" y="2580650"/>
              <a:ext cx="35475" cy="17350"/>
            </a:xfrm>
            <a:custGeom>
              <a:avLst/>
              <a:gdLst/>
              <a:ahLst/>
              <a:cxnLst/>
              <a:rect l="l" t="t" r="r" b="b"/>
              <a:pathLst>
                <a:path w="1419" h="694" extrusionOk="0">
                  <a:moveTo>
                    <a:pt x="348" y="0"/>
                  </a:moveTo>
                  <a:cubicBezTo>
                    <a:pt x="159" y="0"/>
                    <a:pt x="1" y="158"/>
                    <a:pt x="1" y="347"/>
                  </a:cubicBezTo>
                  <a:cubicBezTo>
                    <a:pt x="1" y="536"/>
                    <a:pt x="159" y="693"/>
                    <a:pt x="348" y="693"/>
                  </a:cubicBezTo>
                  <a:lnTo>
                    <a:pt x="1041" y="693"/>
                  </a:lnTo>
                  <a:cubicBezTo>
                    <a:pt x="1261" y="693"/>
                    <a:pt x="1419" y="536"/>
                    <a:pt x="1419" y="347"/>
                  </a:cubicBezTo>
                  <a:cubicBezTo>
                    <a:pt x="1419" y="158"/>
                    <a:pt x="1261" y="0"/>
                    <a:pt x="1041"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735" name="Google Shape;10735;p113"/>
            <p:cNvSpPr/>
            <p:nvPr/>
          </p:nvSpPr>
          <p:spPr>
            <a:xfrm>
              <a:off x="-46313625" y="2457775"/>
              <a:ext cx="122900" cy="122100"/>
            </a:xfrm>
            <a:custGeom>
              <a:avLst/>
              <a:gdLst/>
              <a:ahLst/>
              <a:cxnLst/>
              <a:rect l="l" t="t" r="r" b="b"/>
              <a:pathLst>
                <a:path w="4916" h="4884" extrusionOk="0">
                  <a:moveTo>
                    <a:pt x="2458" y="662"/>
                  </a:moveTo>
                  <a:cubicBezTo>
                    <a:pt x="3435" y="662"/>
                    <a:pt x="4222" y="1450"/>
                    <a:pt x="4222" y="2426"/>
                  </a:cubicBezTo>
                  <a:cubicBezTo>
                    <a:pt x="4222" y="3403"/>
                    <a:pt x="3435" y="4190"/>
                    <a:pt x="2458" y="4190"/>
                  </a:cubicBezTo>
                  <a:cubicBezTo>
                    <a:pt x="1450" y="4190"/>
                    <a:pt x="662" y="3403"/>
                    <a:pt x="662" y="2426"/>
                  </a:cubicBezTo>
                  <a:cubicBezTo>
                    <a:pt x="662" y="1450"/>
                    <a:pt x="1450" y="662"/>
                    <a:pt x="2458" y="662"/>
                  </a:cubicBezTo>
                  <a:close/>
                  <a:moveTo>
                    <a:pt x="2458" y="0"/>
                  </a:moveTo>
                  <a:cubicBezTo>
                    <a:pt x="1103" y="0"/>
                    <a:pt x="1" y="1103"/>
                    <a:pt x="1" y="2426"/>
                  </a:cubicBezTo>
                  <a:cubicBezTo>
                    <a:pt x="1" y="3781"/>
                    <a:pt x="1103" y="4884"/>
                    <a:pt x="2458" y="4884"/>
                  </a:cubicBezTo>
                  <a:cubicBezTo>
                    <a:pt x="3781" y="4884"/>
                    <a:pt x="4884" y="3749"/>
                    <a:pt x="4884" y="2426"/>
                  </a:cubicBezTo>
                  <a:cubicBezTo>
                    <a:pt x="4916" y="1103"/>
                    <a:pt x="3813" y="0"/>
                    <a:pt x="2458"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736" name="Google Shape;10736;p113"/>
            <p:cNvSpPr/>
            <p:nvPr/>
          </p:nvSpPr>
          <p:spPr>
            <a:xfrm>
              <a:off x="-46278950" y="2493225"/>
              <a:ext cx="53575" cy="52775"/>
            </a:xfrm>
            <a:custGeom>
              <a:avLst/>
              <a:gdLst/>
              <a:ahLst/>
              <a:cxnLst/>
              <a:rect l="l" t="t" r="r" b="b"/>
              <a:pathLst>
                <a:path w="2143" h="2111" extrusionOk="0">
                  <a:moveTo>
                    <a:pt x="1071" y="662"/>
                  </a:moveTo>
                  <a:cubicBezTo>
                    <a:pt x="1260" y="662"/>
                    <a:pt x="1418" y="819"/>
                    <a:pt x="1418" y="1008"/>
                  </a:cubicBezTo>
                  <a:cubicBezTo>
                    <a:pt x="1418" y="1197"/>
                    <a:pt x="1260" y="1355"/>
                    <a:pt x="1071" y="1355"/>
                  </a:cubicBezTo>
                  <a:cubicBezTo>
                    <a:pt x="851" y="1355"/>
                    <a:pt x="693" y="1197"/>
                    <a:pt x="693" y="1008"/>
                  </a:cubicBezTo>
                  <a:cubicBezTo>
                    <a:pt x="693" y="819"/>
                    <a:pt x="851" y="662"/>
                    <a:pt x="1071" y="662"/>
                  </a:cubicBezTo>
                  <a:close/>
                  <a:moveTo>
                    <a:pt x="1071" y="0"/>
                  </a:moveTo>
                  <a:cubicBezTo>
                    <a:pt x="473" y="0"/>
                    <a:pt x="0" y="473"/>
                    <a:pt x="0" y="1040"/>
                  </a:cubicBezTo>
                  <a:cubicBezTo>
                    <a:pt x="0" y="1638"/>
                    <a:pt x="473" y="2111"/>
                    <a:pt x="1071" y="2111"/>
                  </a:cubicBezTo>
                  <a:cubicBezTo>
                    <a:pt x="1638" y="2111"/>
                    <a:pt x="2111" y="1638"/>
                    <a:pt x="2111" y="1040"/>
                  </a:cubicBezTo>
                  <a:cubicBezTo>
                    <a:pt x="2142" y="473"/>
                    <a:pt x="1638" y="0"/>
                    <a:pt x="1071"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sp>
        <p:nvSpPr>
          <p:cNvPr id="10737" name="Google Shape;10737;p113"/>
          <p:cNvSpPr/>
          <p:nvPr/>
        </p:nvSpPr>
        <p:spPr>
          <a:xfrm>
            <a:off x="2911252" y="5093596"/>
            <a:ext cx="480145" cy="478872"/>
          </a:xfrm>
          <a:custGeom>
            <a:avLst/>
            <a:gdLst/>
            <a:ahLst/>
            <a:cxnLst/>
            <a:rect l="l" t="t" r="r" b="b"/>
            <a:pathLst>
              <a:path w="12068" h="12036" extrusionOk="0">
                <a:moveTo>
                  <a:pt x="4222" y="630"/>
                </a:moveTo>
                <a:cubicBezTo>
                  <a:pt x="5010" y="630"/>
                  <a:pt x="5640" y="1292"/>
                  <a:pt x="5640" y="2048"/>
                </a:cubicBezTo>
                <a:lnTo>
                  <a:pt x="5640" y="9767"/>
                </a:lnTo>
                <a:cubicBezTo>
                  <a:pt x="5703" y="10617"/>
                  <a:pt x="5073" y="11311"/>
                  <a:pt x="4285" y="11311"/>
                </a:cubicBezTo>
                <a:cubicBezTo>
                  <a:pt x="3498" y="11311"/>
                  <a:pt x="2868" y="10680"/>
                  <a:pt x="2868" y="9893"/>
                </a:cubicBezTo>
                <a:lnTo>
                  <a:pt x="2868" y="9830"/>
                </a:lnTo>
                <a:cubicBezTo>
                  <a:pt x="3403" y="9767"/>
                  <a:pt x="3907" y="9515"/>
                  <a:pt x="4254" y="9137"/>
                </a:cubicBezTo>
                <a:cubicBezTo>
                  <a:pt x="4380" y="9011"/>
                  <a:pt x="4380" y="8790"/>
                  <a:pt x="4254" y="8633"/>
                </a:cubicBezTo>
                <a:cubicBezTo>
                  <a:pt x="4191" y="8570"/>
                  <a:pt x="4104" y="8538"/>
                  <a:pt x="4014" y="8538"/>
                </a:cubicBezTo>
                <a:cubicBezTo>
                  <a:pt x="3923" y="8538"/>
                  <a:pt x="3829" y="8570"/>
                  <a:pt x="3750" y="8633"/>
                </a:cubicBezTo>
                <a:cubicBezTo>
                  <a:pt x="3435" y="8948"/>
                  <a:pt x="2962" y="9137"/>
                  <a:pt x="2490" y="9137"/>
                </a:cubicBezTo>
                <a:cubicBezTo>
                  <a:pt x="1513" y="9137"/>
                  <a:pt x="725" y="8349"/>
                  <a:pt x="725" y="7372"/>
                </a:cubicBezTo>
                <a:cubicBezTo>
                  <a:pt x="725" y="7057"/>
                  <a:pt x="788" y="6742"/>
                  <a:pt x="946" y="6490"/>
                </a:cubicBezTo>
                <a:cubicBezTo>
                  <a:pt x="1387" y="6805"/>
                  <a:pt x="1891" y="6994"/>
                  <a:pt x="2490" y="6994"/>
                </a:cubicBezTo>
                <a:cubicBezTo>
                  <a:pt x="2679" y="6994"/>
                  <a:pt x="2836" y="6837"/>
                  <a:pt x="2836" y="6648"/>
                </a:cubicBezTo>
                <a:cubicBezTo>
                  <a:pt x="2836" y="6459"/>
                  <a:pt x="2679" y="6301"/>
                  <a:pt x="2490" y="6301"/>
                </a:cubicBezTo>
                <a:cubicBezTo>
                  <a:pt x="1513" y="6301"/>
                  <a:pt x="725" y="5514"/>
                  <a:pt x="725" y="4537"/>
                </a:cubicBezTo>
                <a:cubicBezTo>
                  <a:pt x="725" y="3623"/>
                  <a:pt x="1387" y="2899"/>
                  <a:pt x="2238" y="2804"/>
                </a:cubicBezTo>
                <a:cubicBezTo>
                  <a:pt x="2521" y="3623"/>
                  <a:pt x="3309" y="4159"/>
                  <a:pt x="4222" y="4159"/>
                </a:cubicBezTo>
                <a:cubicBezTo>
                  <a:pt x="4411" y="4159"/>
                  <a:pt x="4569" y="4001"/>
                  <a:pt x="4569" y="3812"/>
                </a:cubicBezTo>
                <a:cubicBezTo>
                  <a:pt x="4569" y="3623"/>
                  <a:pt x="4411" y="3466"/>
                  <a:pt x="4222" y="3466"/>
                </a:cubicBezTo>
                <a:cubicBezTo>
                  <a:pt x="3435" y="3466"/>
                  <a:pt x="2805" y="2836"/>
                  <a:pt x="2805" y="2048"/>
                </a:cubicBezTo>
                <a:cubicBezTo>
                  <a:pt x="2805" y="1261"/>
                  <a:pt x="3435" y="630"/>
                  <a:pt x="4222" y="630"/>
                </a:cubicBezTo>
                <a:close/>
                <a:moveTo>
                  <a:pt x="7814" y="788"/>
                </a:moveTo>
                <a:cubicBezTo>
                  <a:pt x="8602" y="788"/>
                  <a:pt x="9232" y="1418"/>
                  <a:pt x="9232" y="2206"/>
                </a:cubicBezTo>
                <a:cubicBezTo>
                  <a:pt x="9232" y="2993"/>
                  <a:pt x="8602" y="3623"/>
                  <a:pt x="7814" y="3623"/>
                </a:cubicBezTo>
                <a:cubicBezTo>
                  <a:pt x="7593" y="3623"/>
                  <a:pt x="7436" y="3781"/>
                  <a:pt x="7436" y="3970"/>
                </a:cubicBezTo>
                <a:cubicBezTo>
                  <a:pt x="7436" y="4159"/>
                  <a:pt x="7593" y="4316"/>
                  <a:pt x="7814" y="4316"/>
                </a:cubicBezTo>
                <a:cubicBezTo>
                  <a:pt x="8696" y="4316"/>
                  <a:pt x="9484" y="3749"/>
                  <a:pt x="9767" y="2962"/>
                </a:cubicBezTo>
                <a:cubicBezTo>
                  <a:pt x="10649" y="3056"/>
                  <a:pt x="11311" y="3812"/>
                  <a:pt x="11311" y="4695"/>
                </a:cubicBezTo>
                <a:cubicBezTo>
                  <a:pt x="11311" y="5671"/>
                  <a:pt x="10523" y="6459"/>
                  <a:pt x="9547" y="6459"/>
                </a:cubicBezTo>
                <a:cubicBezTo>
                  <a:pt x="9326" y="6459"/>
                  <a:pt x="9169" y="6616"/>
                  <a:pt x="9169" y="6805"/>
                </a:cubicBezTo>
                <a:cubicBezTo>
                  <a:pt x="9169" y="6994"/>
                  <a:pt x="9326" y="7152"/>
                  <a:pt x="9547" y="7152"/>
                </a:cubicBezTo>
                <a:cubicBezTo>
                  <a:pt x="10114" y="7152"/>
                  <a:pt x="10649" y="6963"/>
                  <a:pt x="11059" y="6648"/>
                </a:cubicBezTo>
                <a:cubicBezTo>
                  <a:pt x="11217" y="6931"/>
                  <a:pt x="11311" y="7215"/>
                  <a:pt x="11311" y="7530"/>
                </a:cubicBezTo>
                <a:cubicBezTo>
                  <a:pt x="11374" y="8381"/>
                  <a:pt x="10586" y="9168"/>
                  <a:pt x="9610" y="9168"/>
                </a:cubicBezTo>
                <a:cubicBezTo>
                  <a:pt x="9137" y="9168"/>
                  <a:pt x="8696" y="8979"/>
                  <a:pt x="8350" y="8664"/>
                </a:cubicBezTo>
                <a:cubicBezTo>
                  <a:pt x="8287" y="8601"/>
                  <a:pt x="8200" y="8570"/>
                  <a:pt x="8109" y="8570"/>
                </a:cubicBezTo>
                <a:cubicBezTo>
                  <a:pt x="8019" y="8570"/>
                  <a:pt x="7924" y="8601"/>
                  <a:pt x="7845" y="8664"/>
                </a:cubicBezTo>
                <a:cubicBezTo>
                  <a:pt x="7719" y="8790"/>
                  <a:pt x="7719" y="9011"/>
                  <a:pt x="7845" y="9168"/>
                </a:cubicBezTo>
                <a:cubicBezTo>
                  <a:pt x="8224" y="9578"/>
                  <a:pt x="8696" y="9798"/>
                  <a:pt x="9232" y="9893"/>
                </a:cubicBezTo>
                <a:lnTo>
                  <a:pt x="9232" y="9924"/>
                </a:lnTo>
                <a:cubicBezTo>
                  <a:pt x="9232" y="10712"/>
                  <a:pt x="8602" y="11342"/>
                  <a:pt x="7814" y="11342"/>
                </a:cubicBezTo>
                <a:cubicBezTo>
                  <a:pt x="7026" y="11342"/>
                  <a:pt x="6396" y="10680"/>
                  <a:pt x="6396" y="9924"/>
                </a:cubicBezTo>
                <a:lnTo>
                  <a:pt x="6396" y="2206"/>
                </a:lnTo>
                <a:cubicBezTo>
                  <a:pt x="6396" y="1418"/>
                  <a:pt x="7058" y="788"/>
                  <a:pt x="7814" y="788"/>
                </a:cubicBezTo>
                <a:close/>
                <a:moveTo>
                  <a:pt x="4254" y="0"/>
                </a:moveTo>
                <a:cubicBezTo>
                  <a:pt x="3088" y="0"/>
                  <a:pt x="2143" y="977"/>
                  <a:pt x="2143" y="2111"/>
                </a:cubicBezTo>
                <a:lnTo>
                  <a:pt x="2143" y="2174"/>
                </a:lnTo>
                <a:cubicBezTo>
                  <a:pt x="946" y="2332"/>
                  <a:pt x="1" y="3340"/>
                  <a:pt x="1" y="4600"/>
                </a:cubicBezTo>
                <a:cubicBezTo>
                  <a:pt x="1" y="5104"/>
                  <a:pt x="158" y="5640"/>
                  <a:pt x="442" y="6018"/>
                </a:cubicBezTo>
                <a:cubicBezTo>
                  <a:pt x="158" y="6427"/>
                  <a:pt x="1" y="6931"/>
                  <a:pt x="1" y="7435"/>
                </a:cubicBezTo>
                <a:cubicBezTo>
                  <a:pt x="1" y="8696"/>
                  <a:pt x="946" y="9735"/>
                  <a:pt x="2143" y="9861"/>
                </a:cubicBezTo>
                <a:lnTo>
                  <a:pt x="2143" y="9924"/>
                </a:lnTo>
                <a:cubicBezTo>
                  <a:pt x="2143" y="11090"/>
                  <a:pt x="3088" y="12035"/>
                  <a:pt x="4254" y="12035"/>
                </a:cubicBezTo>
                <a:cubicBezTo>
                  <a:pt x="5010" y="12035"/>
                  <a:pt x="5640" y="11657"/>
                  <a:pt x="6050" y="11058"/>
                </a:cubicBezTo>
                <a:cubicBezTo>
                  <a:pt x="6428" y="11657"/>
                  <a:pt x="7089" y="12035"/>
                  <a:pt x="7814" y="12035"/>
                </a:cubicBezTo>
                <a:cubicBezTo>
                  <a:pt x="8980" y="12035"/>
                  <a:pt x="9925" y="11058"/>
                  <a:pt x="9925" y="9924"/>
                </a:cubicBezTo>
                <a:lnTo>
                  <a:pt x="9925" y="9861"/>
                </a:lnTo>
                <a:cubicBezTo>
                  <a:pt x="11122" y="9704"/>
                  <a:pt x="12067" y="8696"/>
                  <a:pt x="12067" y="7435"/>
                </a:cubicBezTo>
                <a:cubicBezTo>
                  <a:pt x="12067" y="6931"/>
                  <a:pt x="11910" y="6459"/>
                  <a:pt x="11626" y="6018"/>
                </a:cubicBezTo>
                <a:cubicBezTo>
                  <a:pt x="11910" y="5577"/>
                  <a:pt x="12067" y="5104"/>
                  <a:pt x="12067" y="4600"/>
                </a:cubicBezTo>
                <a:cubicBezTo>
                  <a:pt x="12067" y="3371"/>
                  <a:pt x="11154" y="2363"/>
                  <a:pt x="9925" y="2174"/>
                </a:cubicBezTo>
                <a:lnTo>
                  <a:pt x="9925" y="2111"/>
                </a:lnTo>
                <a:cubicBezTo>
                  <a:pt x="9925" y="945"/>
                  <a:pt x="8980" y="0"/>
                  <a:pt x="7814" y="0"/>
                </a:cubicBezTo>
                <a:cubicBezTo>
                  <a:pt x="7089" y="0"/>
                  <a:pt x="6428" y="378"/>
                  <a:pt x="6050" y="977"/>
                </a:cubicBezTo>
                <a:cubicBezTo>
                  <a:pt x="5640" y="378"/>
                  <a:pt x="4979" y="0"/>
                  <a:pt x="4254"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nvGrpSpPr>
          <p:cNvPr id="10738" name="Google Shape;10738;p113"/>
          <p:cNvGrpSpPr/>
          <p:nvPr/>
        </p:nvGrpSpPr>
        <p:grpSpPr>
          <a:xfrm>
            <a:off x="5282440" y="4499757"/>
            <a:ext cx="478872" cy="478832"/>
            <a:chOff x="-44914800" y="2342000"/>
            <a:chExt cx="300900" cy="300875"/>
          </a:xfrm>
        </p:grpSpPr>
        <p:sp>
          <p:nvSpPr>
            <p:cNvPr id="10739" name="Google Shape;10739;p113"/>
            <p:cNvSpPr/>
            <p:nvPr/>
          </p:nvSpPr>
          <p:spPr>
            <a:xfrm>
              <a:off x="-44914800" y="2342000"/>
              <a:ext cx="300900" cy="300875"/>
            </a:xfrm>
            <a:custGeom>
              <a:avLst/>
              <a:gdLst/>
              <a:ahLst/>
              <a:cxnLst/>
              <a:rect l="l" t="t" r="r" b="b"/>
              <a:pathLst>
                <a:path w="12036" h="12035" extrusionOk="0">
                  <a:moveTo>
                    <a:pt x="1450" y="725"/>
                  </a:moveTo>
                  <a:lnTo>
                    <a:pt x="1450" y="1418"/>
                  </a:lnTo>
                  <a:lnTo>
                    <a:pt x="725" y="1418"/>
                  </a:lnTo>
                  <a:lnTo>
                    <a:pt x="725" y="725"/>
                  </a:lnTo>
                  <a:close/>
                  <a:moveTo>
                    <a:pt x="11311" y="725"/>
                  </a:moveTo>
                  <a:lnTo>
                    <a:pt x="11311" y="1418"/>
                  </a:lnTo>
                  <a:lnTo>
                    <a:pt x="10618" y="1418"/>
                  </a:lnTo>
                  <a:lnTo>
                    <a:pt x="10618" y="725"/>
                  </a:lnTo>
                  <a:close/>
                  <a:moveTo>
                    <a:pt x="9893" y="1418"/>
                  </a:moveTo>
                  <a:lnTo>
                    <a:pt x="9893" y="1796"/>
                  </a:lnTo>
                  <a:cubicBezTo>
                    <a:pt x="9893" y="1985"/>
                    <a:pt x="10051" y="2142"/>
                    <a:pt x="10240" y="2142"/>
                  </a:cubicBezTo>
                  <a:lnTo>
                    <a:pt x="10618" y="2142"/>
                  </a:lnTo>
                  <a:lnTo>
                    <a:pt x="10618" y="9893"/>
                  </a:lnTo>
                  <a:lnTo>
                    <a:pt x="10240" y="9893"/>
                  </a:lnTo>
                  <a:cubicBezTo>
                    <a:pt x="10051" y="9893"/>
                    <a:pt x="9893" y="10050"/>
                    <a:pt x="9893" y="10239"/>
                  </a:cubicBezTo>
                  <a:lnTo>
                    <a:pt x="9893" y="10617"/>
                  </a:lnTo>
                  <a:lnTo>
                    <a:pt x="2143" y="10617"/>
                  </a:lnTo>
                  <a:lnTo>
                    <a:pt x="2143" y="10239"/>
                  </a:lnTo>
                  <a:cubicBezTo>
                    <a:pt x="2143" y="10050"/>
                    <a:pt x="1985" y="9893"/>
                    <a:pt x="1796" y="9893"/>
                  </a:cubicBezTo>
                  <a:lnTo>
                    <a:pt x="1450" y="9893"/>
                  </a:lnTo>
                  <a:lnTo>
                    <a:pt x="1450" y="2142"/>
                  </a:lnTo>
                  <a:lnTo>
                    <a:pt x="1796" y="2142"/>
                  </a:lnTo>
                  <a:cubicBezTo>
                    <a:pt x="1985" y="2142"/>
                    <a:pt x="2143" y="1985"/>
                    <a:pt x="2143" y="1796"/>
                  </a:cubicBezTo>
                  <a:lnTo>
                    <a:pt x="2143" y="1418"/>
                  </a:lnTo>
                  <a:close/>
                  <a:moveTo>
                    <a:pt x="1418" y="10617"/>
                  </a:moveTo>
                  <a:lnTo>
                    <a:pt x="1418" y="11310"/>
                  </a:lnTo>
                  <a:lnTo>
                    <a:pt x="725" y="11310"/>
                  </a:lnTo>
                  <a:lnTo>
                    <a:pt x="725" y="10617"/>
                  </a:lnTo>
                  <a:close/>
                  <a:moveTo>
                    <a:pt x="11311" y="10617"/>
                  </a:moveTo>
                  <a:lnTo>
                    <a:pt x="11311" y="11310"/>
                  </a:lnTo>
                  <a:lnTo>
                    <a:pt x="10618" y="11310"/>
                  </a:lnTo>
                  <a:lnTo>
                    <a:pt x="10618" y="10617"/>
                  </a:lnTo>
                  <a:close/>
                  <a:moveTo>
                    <a:pt x="379" y="0"/>
                  </a:moveTo>
                  <a:cubicBezTo>
                    <a:pt x="158" y="0"/>
                    <a:pt x="1" y="158"/>
                    <a:pt x="1" y="378"/>
                  </a:cubicBezTo>
                  <a:lnTo>
                    <a:pt x="1" y="1764"/>
                  </a:lnTo>
                  <a:cubicBezTo>
                    <a:pt x="1" y="1985"/>
                    <a:pt x="158" y="2142"/>
                    <a:pt x="379" y="2142"/>
                  </a:cubicBezTo>
                  <a:lnTo>
                    <a:pt x="725" y="2142"/>
                  </a:lnTo>
                  <a:lnTo>
                    <a:pt x="725" y="9893"/>
                  </a:lnTo>
                  <a:lnTo>
                    <a:pt x="379" y="9893"/>
                  </a:lnTo>
                  <a:cubicBezTo>
                    <a:pt x="158" y="9893"/>
                    <a:pt x="1" y="10050"/>
                    <a:pt x="1" y="10239"/>
                  </a:cubicBezTo>
                  <a:lnTo>
                    <a:pt x="1" y="11657"/>
                  </a:lnTo>
                  <a:cubicBezTo>
                    <a:pt x="1" y="11877"/>
                    <a:pt x="158" y="12035"/>
                    <a:pt x="379" y="12035"/>
                  </a:cubicBezTo>
                  <a:lnTo>
                    <a:pt x="1796" y="12035"/>
                  </a:lnTo>
                  <a:cubicBezTo>
                    <a:pt x="1985" y="12035"/>
                    <a:pt x="2143" y="11877"/>
                    <a:pt x="2143" y="11657"/>
                  </a:cubicBezTo>
                  <a:lnTo>
                    <a:pt x="2143" y="11310"/>
                  </a:lnTo>
                  <a:lnTo>
                    <a:pt x="9893" y="11310"/>
                  </a:lnTo>
                  <a:lnTo>
                    <a:pt x="9893" y="11657"/>
                  </a:lnTo>
                  <a:cubicBezTo>
                    <a:pt x="9893" y="11877"/>
                    <a:pt x="10051" y="12035"/>
                    <a:pt x="10240" y="12035"/>
                  </a:cubicBezTo>
                  <a:lnTo>
                    <a:pt x="11657" y="12035"/>
                  </a:lnTo>
                  <a:cubicBezTo>
                    <a:pt x="11878" y="12035"/>
                    <a:pt x="12036" y="11877"/>
                    <a:pt x="12036" y="11657"/>
                  </a:cubicBezTo>
                  <a:lnTo>
                    <a:pt x="12036" y="10239"/>
                  </a:lnTo>
                  <a:cubicBezTo>
                    <a:pt x="12036" y="10050"/>
                    <a:pt x="11878" y="9893"/>
                    <a:pt x="11657" y="9893"/>
                  </a:cubicBezTo>
                  <a:lnTo>
                    <a:pt x="11311" y="9893"/>
                  </a:lnTo>
                  <a:lnTo>
                    <a:pt x="11311" y="2142"/>
                  </a:lnTo>
                  <a:lnTo>
                    <a:pt x="11657" y="2142"/>
                  </a:lnTo>
                  <a:cubicBezTo>
                    <a:pt x="11878" y="2142"/>
                    <a:pt x="12036" y="1985"/>
                    <a:pt x="12036" y="1764"/>
                  </a:cubicBezTo>
                  <a:lnTo>
                    <a:pt x="12036" y="378"/>
                  </a:lnTo>
                  <a:cubicBezTo>
                    <a:pt x="12036" y="158"/>
                    <a:pt x="11878" y="0"/>
                    <a:pt x="11657" y="0"/>
                  </a:cubicBezTo>
                  <a:lnTo>
                    <a:pt x="10240" y="0"/>
                  </a:lnTo>
                  <a:cubicBezTo>
                    <a:pt x="10051" y="0"/>
                    <a:pt x="9893" y="158"/>
                    <a:pt x="9893" y="378"/>
                  </a:cubicBezTo>
                  <a:lnTo>
                    <a:pt x="9893" y="725"/>
                  </a:lnTo>
                  <a:lnTo>
                    <a:pt x="2143" y="725"/>
                  </a:lnTo>
                  <a:lnTo>
                    <a:pt x="2143" y="378"/>
                  </a:lnTo>
                  <a:cubicBezTo>
                    <a:pt x="2143" y="158"/>
                    <a:pt x="1985" y="0"/>
                    <a:pt x="1796"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740" name="Google Shape;10740;p113"/>
            <p:cNvSpPr/>
            <p:nvPr/>
          </p:nvSpPr>
          <p:spPr>
            <a:xfrm>
              <a:off x="-44860450" y="2412875"/>
              <a:ext cx="193000" cy="159125"/>
            </a:xfrm>
            <a:custGeom>
              <a:avLst/>
              <a:gdLst/>
              <a:ahLst/>
              <a:cxnLst/>
              <a:rect l="l" t="t" r="r" b="b"/>
              <a:pathLst>
                <a:path w="7720" h="6365" extrusionOk="0">
                  <a:moveTo>
                    <a:pt x="7026" y="694"/>
                  </a:moveTo>
                  <a:lnTo>
                    <a:pt x="7026" y="725"/>
                  </a:lnTo>
                  <a:lnTo>
                    <a:pt x="7026" y="5136"/>
                  </a:lnTo>
                  <a:lnTo>
                    <a:pt x="5514" y="3624"/>
                  </a:lnTo>
                  <a:cubicBezTo>
                    <a:pt x="5451" y="3561"/>
                    <a:pt x="5356" y="3498"/>
                    <a:pt x="5262" y="3498"/>
                  </a:cubicBezTo>
                  <a:cubicBezTo>
                    <a:pt x="5167" y="3498"/>
                    <a:pt x="5041" y="3561"/>
                    <a:pt x="5010" y="3624"/>
                  </a:cubicBezTo>
                  <a:lnTo>
                    <a:pt x="3907" y="4821"/>
                  </a:lnTo>
                  <a:lnTo>
                    <a:pt x="2678" y="3592"/>
                  </a:lnTo>
                  <a:cubicBezTo>
                    <a:pt x="2615" y="3529"/>
                    <a:pt x="2529" y="3498"/>
                    <a:pt x="2438" y="3498"/>
                  </a:cubicBezTo>
                  <a:cubicBezTo>
                    <a:pt x="2348" y="3498"/>
                    <a:pt x="2253" y="3529"/>
                    <a:pt x="2174" y="3592"/>
                  </a:cubicBezTo>
                  <a:lnTo>
                    <a:pt x="662" y="5104"/>
                  </a:lnTo>
                  <a:lnTo>
                    <a:pt x="662" y="694"/>
                  </a:lnTo>
                  <a:close/>
                  <a:moveTo>
                    <a:pt x="2458" y="4380"/>
                  </a:moveTo>
                  <a:lnTo>
                    <a:pt x="3718" y="5640"/>
                  </a:lnTo>
                  <a:lnTo>
                    <a:pt x="1198" y="5640"/>
                  </a:lnTo>
                  <a:lnTo>
                    <a:pt x="2458" y="4380"/>
                  </a:lnTo>
                  <a:close/>
                  <a:moveTo>
                    <a:pt x="5293" y="4411"/>
                  </a:moveTo>
                  <a:lnTo>
                    <a:pt x="6554" y="5671"/>
                  </a:lnTo>
                  <a:lnTo>
                    <a:pt x="4695" y="5671"/>
                  </a:lnTo>
                  <a:lnTo>
                    <a:pt x="4695" y="5640"/>
                  </a:lnTo>
                  <a:lnTo>
                    <a:pt x="4411" y="5356"/>
                  </a:lnTo>
                  <a:lnTo>
                    <a:pt x="5293" y="4411"/>
                  </a:lnTo>
                  <a:close/>
                  <a:moveTo>
                    <a:pt x="347" y="1"/>
                  </a:moveTo>
                  <a:cubicBezTo>
                    <a:pt x="158" y="1"/>
                    <a:pt x="0" y="158"/>
                    <a:pt x="0" y="379"/>
                  </a:cubicBezTo>
                  <a:lnTo>
                    <a:pt x="0" y="5986"/>
                  </a:lnTo>
                  <a:cubicBezTo>
                    <a:pt x="0" y="6207"/>
                    <a:pt x="158" y="6365"/>
                    <a:pt x="347" y="6365"/>
                  </a:cubicBezTo>
                  <a:lnTo>
                    <a:pt x="7373" y="6365"/>
                  </a:lnTo>
                  <a:cubicBezTo>
                    <a:pt x="7562" y="6365"/>
                    <a:pt x="7719" y="6207"/>
                    <a:pt x="7719" y="5986"/>
                  </a:cubicBezTo>
                  <a:lnTo>
                    <a:pt x="7719" y="379"/>
                  </a:lnTo>
                  <a:cubicBezTo>
                    <a:pt x="7719" y="158"/>
                    <a:pt x="7562" y="1"/>
                    <a:pt x="7373"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741" name="Google Shape;10741;p113"/>
            <p:cNvSpPr/>
            <p:nvPr/>
          </p:nvSpPr>
          <p:spPr>
            <a:xfrm>
              <a:off x="-44791150" y="2439650"/>
              <a:ext cx="52800" cy="53600"/>
            </a:xfrm>
            <a:custGeom>
              <a:avLst/>
              <a:gdLst/>
              <a:ahLst/>
              <a:cxnLst/>
              <a:rect l="l" t="t" r="r" b="b"/>
              <a:pathLst>
                <a:path w="2112" h="2144" extrusionOk="0">
                  <a:moveTo>
                    <a:pt x="1041" y="725"/>
                  </a:moveTo>
                  <a:cubicBezTo>
                    <a:pt x="1261" y="725"/>
                    <a:pt x="1419" y="883"/>
                    <a:pt x="1419" y="1072"/>
                  </a:cubicBezTo>
                  <a:cubicBezTo>
                    <a:pt x="1419" y="1261"/>
                    <a:pt x="1261" y="1418"/>
                    <a:pt x="1041" y="1418"/>
                  </a:cubicBezTo>
                  <a:cubicBezTo>
                    <a:pt x="852" y="1418"/>
                    <a:pt x="694" y="1261"/>
                    <a:pt x="694" y="1072"/>
                  </a:cubicBezTo>
                  <a:cubicBezTo>
                    <a:pt x="694" y="883"/>
                    <a:pt x="852" y="725"/>
                    <a:pt x="1041" y="725"/>
                  </a:cubicBezTo>
                  <a:close/>
                  <a:moveTo>
                    <a:pt x="1041" y="1"/>
                  </a:moveTo>
                  <a:cubicBezTo>
                    <a:pt x="473" y="1"/>
                    <a:pt x="1" y="473"/>
                    <a:pt x="1" y="1072"/>
                  </a:cubicBezTo>
                  <a:cubicBezTo>
                    <a:pt x="32" y="1670"/>
                    <a:pt x="505" y="2143"/>
                    <a:pt x="1041" y="2143"/>
                  </a:cubicBezTo>
                  <a:cubicBezTo>
                    <a:pt x="1639" y="2143"/>
                    <a:pt x="2112" y="1670"/>
                    <a:pt x="2112" y="1072"/>
                  </a:cubicBezTo>
                  <a:cubicBezTo>
                    <a:pt x="2112" y="473"/>
                    <a:pt x="1639" y="1"/>
                    <a:pt x="1041"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sp>
        <p:nvSpPr>
          <p:cNvPr id="10742" name="Google Shape;10742;p113"/>
          <p:cNvSpPr/>
          <p:nvPr/>
        </p:nvSpPr>
        <p:spPr>
          <a:xfrm>
            <a:off x="2319448" y="2042286"/>
            <a:ext cx="476365" cy="475729"/>
          </a:xfrm>
          <a:custGeom>
            <a:avLst/>
            <a:gdLst/>
            <a:ahLst/>
            <a:cxnLst/>
            <a:rect l="l" t="t" r="r" b="b"/>
            <a:pathLst>
              <a:path w="11973" h="11957" extrusionOk="0">
                <a:moveTo>
                  <a:pt x="5986" y="748"/>
                </a:moveTo>
                <a:lnTo>
                  <a:pt x="8003" y="1756"/>
                </a:lnTo>
                <a:lnTo>
                  <a:pt x="5986" y="2796"/>
                </a:lnTo>
                <a:lnTo>
                  <a:pt x="4002" y="1756"/>
                </a:lnTo>
                <a:lnTo>
                  <a:pt x="5986" y="748"/>
                </a:lnTo>
                <a:close/>
                <a:moveTo>
                  <a:pt x="3561" y="2324"/>
                </a:moveTo>
                <a:lnTo>
                  <a:pt x="5671" y="3395"/>
                </a:lnTo>
                <a:lnTo>
                  <a:pt x="5671" y="6136"/>
                </a:lnTo>
                <a:lnTo>
                  <a:pt x="3561" y="5064"/>
                </a:lnTo>
                <a:lnTo>
                  <a:pt x="3561" y="2324"/>
                </a:lnTo>
                <a:close/>
                <a:moveTo>
                  <a:pt x="8475" y="2324"/>
                </a:moveTo>
                <a:lnTo>
                  <a:pt x="8475" y="5064"/>
                </a:lnTo>
                <a:lnTo>
                  <a:pt x="6364" y="6136"/>
                </a:lnTo>
                <a:lnTo>
                  <a:pt x="6364" y="3395"/>
                </a:lnTo>
                <a:lnTo>
                  <a:pt x="8475" y="2324"/>
                </a:lnTo>
                <a:close/>
                <a:moveTo>
                  <a:pt x="3214" y="5663"/>
                </a:moveTo>
                <a:lnTo>
                  <a:pt x="5230" y="6703"/>
                </a:lnTo>
                <a:lnTo>
                  <a:pt x="3214" y="7711"/>
                </a:lnTo>
                <a:lnTo>
                  <a:pt x="1166" y="6703"/>
                </a:lnTo>
                <a:lnTo>
                  <a:pt x="3214" y="5663"/>
                </a:lnTo>
                <a:close/>
                <a:moveTo>
                  <a:pt x="8822" y="5663"/>
                </a:moveTo>
                <a:lnTo>
                  <a:pt x="10870" y="6703"/>
                </a:lnTo>
                <a:lnTo>
                  <a:pt x="8822" y="7711"/>
                </a:lnTo>
                <a:lnTo>
                  <a:pt x="6837" y="6703"/>
                </a:lnTo>
                <a:lnTo>
                  <a:pt x="8822" y="5663"/>
                </a:lnTo>
                <a:close/>
                <a:moveTo>
                  <a:pt x="5671" y="7238"/>
                </a:moveTo>
                <a:lnTo>
                  <a:pt x="5671" y="9948"/>
                </a:lnTo>
                <a:lnTo>
                  <a:pt x="3561" y="11019"/>
                </a:lnTo>
                <a:lnTo>
                  <a:pt x="3561" y="8309"/>
                </a:lnTo>
                <a:lnTo>
                  <a:pt x="5671" y="7238"/>
                </a:lnTo>
                <a:close/>
                <a:moveTo>
                  <a:pt x="11311" y="7238"/>
                </a:moveTo>
                <a:lnTo>
                  <a:pt x="11311" y="10011"/>
                </a:lnTo>
                <a:lnTo>
                  <a:pt x="9200" y="11050"/>
                </a:lnTo>
                <a:lnTo>
                  <a:pt x="9200" y="8309"/>
                </a:lnTo>
                <a:lnTo>
                  <a:pt x="11311" y="7238"/>
                </a:lnTo>
                <a:close/>
                <a:moveTo>
                  <a:pt x="725" y="7270"/>
                </a:moveTo>
                <a:lnTo>
                  <a:pt x="2836" y="8341"/>
                </a:lnTo>
                <a:lnTo>
                  <a:pt x="2836" y="11082"/>
                </a:lnTo>
                <a:lnTo>
                  <a:pt x="725" y="10042"/>
                </a:lnTo>
                <a:lnTo>
                  <a:pt x="725" y="7270"/>
                </a:lnTo>
                <a:close/>
                <a:moveTo>
                  <a:pt x="6364" y="7270"/>
                </a:moveTo>
                <a:lnTo>
                  <a:pt x="8475" y="8341"/>
                </a:lnTo>
                <a:lnTo>
                  <a:pt x="8475" y="11082"/>
                </a:lnTo>
                <a:lnTo>
                  <a:pt x="6364" y="10042"/>
                </a:lnTo>
                <a:lnTo>
                  <a:pt x="6364" y="7270"/>
                </a:lnTo>
                <a:close/>
                <a:moveTo>
                  <a:pt x="5998" y="0"/>
                </a:moveTo>
                <a:cubicBezTo>
                  <a:pt x="5947" y="0"/>
                  <a:pt x="5892" y="8"/>
                  <a:pt x="5829" y="24"/>
                </a:cubicBezTo>
                <a:lnTo>
                  <a:pt x="3056" y="1441"/>
                </a:lnTo>
                <a:cubicBezTo>
                  <a:pt x="2930" y="1536"/>
                  <a:pt x="2836" y="1662"/>
                  <a:pt x="2836" y="1756"/>
                </a:cubicBezTo>
                <a:lnTo>
                  <a:pt x="2836" y="5064"/>
                </a:lnTo>
                <a:lnTo>
                  <a:pt x="221" y="6388"/>
                </a:lnTo>
                <a:cubicBezTo>
                  <a:pt x="95" y="6451"/>
                  <a:pt x="0" y="6577"/>
                  <a:pt x="0" y="6703"/>
                </a:cubicBezTo>
                <a:lnTo>
                  <a:pt x="0" y="10200"/>
                </a:lnTo>
                <a:cubicBezTo>
                  <a:pt x="0" y="10326"/>
                  <a:pt x="95" y="10420"/>
                  <a:pt x="221" y="10515"/>
                </a:cubicBezTo>
                <a:lnTo>
                  <a:pt x="3056" y="11933"/>
                </a:lnTo>
                <a:cubicBezTo>
                  <a:pt x="3088" y="11948"/>
                  <a:pt x="3135" y="11956"/>
                  <a:pt x="3190" y="11956"/>
                </a:cubicBezTo>
                <a:cubicBezTo>
                  <a:pt x="3245" y="11956"/>
                  <a:pt x="3308" y="11948"/>
                  <a:pt x="3371" y="11933"/>
                </a:cubicBezTo>
                <a:lnTo>
                  <a:pt x="5986" y="10578"/>
                </a:lnTo>
                <a:lnTo>
                  <a:pt x="8633" y="11933"/>
                </a:lnTo>
                <a:cubicBezTo>
                  <a:pt x="8680" y="11948"/>
                  <a:pt x="8727" y="11956"/>
                  <a:pt x="8779" y="11956"/>
                </a:cubicBezTo>
                <a:cubicBezTo>
                  <a:pt x="8830" y="11956"/>
                  <a:pt x="8885" y="11948"/>
                  <a:pt x="8948" y="11933"/>
                </a:cubicBezTo>
                <a:lnTo>
                  <a:pt x="11783" y="10515"/>
                </a:lnTo>
                <a:cubicBezTo>
                  <a:pt x="11909" y="10420"/>
                  <a:pt x="11972" y="10326"/>
                  <a:pt x="11972" y="10200"/>
                </a:cubicBezTo>
                <a:lnTo>
                  <a:pt x="11972" y="6703"/>
                </a:lnTo>
                <a:cubicBezTo>
                  <a:pt x="11972" y="6577"/>
                  <a:pt x="11941" y="6451"/>
                  <a:pt x="11783" y="6388"/>
                </a:cubicBezTo>
                <a:lnTo>
                  <a:pt x="9137" y="5064"/>
                </a:lnTo>
                <a:lnTo>
                  <a:pt x="9137" y="1756"/>
                </a:lnTo>
                <a:cubicBezTo>
                  <a:pt x="9137" y="1662"/>
                  <a:pt x="9074" y="1536"/>
                  <a:pt x="8948" y="1441"/>
                </a:cubicBezTo>
                <a:lnTo>
                  <a:pt x="6144" y="24"/>
                </a:lnTo>
                <a:cubicBezTo>
                  <a:pt x="6097" y="8"/>
                  <a:pt x="6049" y="0"/>
                  <a:pt x="5998"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nvGrpSpPr>
          <p:cNvPr id="10743" name="Google Shape;10743;p113"/>
          <p:cNvGrpSpPr/>
          <p:nvPr/>
        </p:nvGrpSpPr>
        <p:grpSpPr>
          <a:xfrm>
            <a:off x="2314421" y="2649782"/>
            <a:ext cx="478872" cy="476565"/>
            <a:chOff x="-49786250" y="2316650"/>
            <a:chExt cx="300900" cy="299450"/>
          </a:xfrm>
        </p:grpSpPr>
        <p:sp>
          <p:nvSpPr>
            <p:cNvPr id="10744" name="Google Shape;10744;p113"/>
            <p:cNvSpPr/>
            <p:nvPr/>
          </p:nvSpPr>
          <p:spPr>
            <a:xfrm>
              <a:off x="-49746875" y="2316650"/>
              <a:ext cx="217400" cy="299450"/>
            </a:xfrm>
            <a:custGeom>
              <a:avLst/>
              <a:gdLst/>
              <a:ahLst/>
              <a:cxnLst/>
              <a:rect l="l" t="t" r="r" b="b"/>
              <a:pathLst>
                <a:path w="8696" h="11978" extrusionOk="0">
                  <a:moveTo>
                    <a:pt x="4411" y="3944"/>
                  </a:moveTo>
                  <a:lnTo>
                    <a:pt x="5010" y="5110"/>
                  </a:lnTo>
                  <a:cubicBezTo>
                    <a:pt x="4837" y="5188"/>
                    <a:pt x="4640" y="5228"/>
                    <a:pt x="4439" y="5228"/>
                  </a:cubicBezTo>
                  <a:cubicBezTo>
                    <a:pt x="4238" y="5228"/>
                    <a:pt x="4033" y="5188"/>
                    <a:pt x="3844" y="5110"/>
                  </a:cubicBezTo>
                  <a:lnTo>
                    <a:pt x="4411" y="3944"/>
                  </a:lnTo>
                  <a:close/>
                  <a:moveTo>
                    <a:pt x="5136" y="5834"/>
                  </a:moveTo>
                  <a:lnTo>
                    <a:pt x="5136" y="8418"/>
                  </a:lnTo>
                  <a:lnTo>
                    <a:pt x="3718" y="8418"/>
                  </a:lnTo>
                  <a:lnTo>
                    <a:pt x="3718" y="5834"/>
                  </a:lnTo>
                  <a:cubicBezTo>
                    <a:pt x="3939" y="5897"/>
                    <a:pt x="4191" y="5960"/>
                    <a:pt x="4411" y="5960"/>
                  </a:cubicBezTo>
                  <a:cubicBezTo>
                    <a:pt x="4663" y="5960"/>
                    <a:pt x="4884" y="5897"/>
                    <a:pt x="5136" y="5834"/>
                  </a:cubicBezTo>
                  <a:close/>
                  <a:moveTo>
                    <a:pt x="4390" y="657"/>
                  </a:moveTo>
                  <a:cubicBezTo>
                    <a:pt x="5196" y="657"/>
                    <a:pt x="5982" y="942"/>
                    <a:pt x="6617" y="1455"/>
                  </a:cubicBezTo>
                  <a:cubicBezTo>
                    <a:pt x="7467" y="2117"/>
                    <a:pt x="7940" y="3156"/>
                    <a:pt x="7940" y="4196"/>
                  </a:cubicBezTo>
                  <a:cubicBezTo>
                    <a:pt x="7940" y="5078"/>
                    <a:pt x="7625" y="5897"/>
                    <a:pt x="7058" y="6527"/>
                  </a:cubicBezTo>
                  <a:cubicBezTo>
                    <a:pt x="6585" y="7095"/>
                    <a:pt x="6270" y="7756"/>
                    <a:pt x="6207" y="8418"/>
                  </a:cubicBezTo>
                  <a:lnTo>
                    <a:pt x="5829" y="8418"/>
                  </a:lnTo>
                  <a:lnTo>
                    <a:pt x="5829" y="5267"/>
                  </a:lnTo>
                  <a:cubicBezTo>
                    <a:pt x="5829" y="5236"/>
                    <a:pt x="5829" y="5141"/>
                    <a:pt x="5798" y="5110"/>
                  </a:cubicBezTo>
                  <a:lnTo>
                    <a:pt x="4726" y="2999"/>
                  </a:lnTo>
                  <a:cubicBezTo>
                    <a:pt x="4663" y="2873"/>
                    <a:pt x="4537" y="2778"/>
                    <a:pt x="4411" y="2778"/>
                  </a:cubicBezTo>
                  <a:cubicBezTo>
                    <a:pt x="4317" y="2778"/>
                    <a:pt x="4191" y="2873"/>
                    <a:pt x="4096" y="2999"/>
                  </a:cubicBezTo>
                  <a:lnTo>
                    <a:pt x="3057" y="5110"/>
                  </a:lnTo>
                  <a:cubicBezTo>
                    <a:pt x="2994" y="5141"/>
                    <a:pt x="2994" y="5236"/>
                    <a:pt x="2994" y="5267"/>
                  </a:cubicBezTo>
                  <a:lnTo>
                    <a:pt x="2994" y="8418"/>
                  </a:lnTo>
                  <a:lnTo>
                    <a:pt x="2647" y="8418"/>
                  </a:lnTo>
                  <a:cubicBezTo>
                    <a:pt x="2584" y="7756"/>
                    <a:pt x="2301" y="7095"/>
                    <a:pt x="1796" y="6527"/>
                  </a:cubicBezTo>
                  <a:cubicBezTo>
                    <a:pt x="1040" y="5708"/>
                    <a:pt x="757" y="4574"/>
                    <a:pt x="1009" y="3408"/>
                  </a:cubicBezTo>
                  <a:cubicBezTo>
                    <a:pt x="1261" y="2085"/>
                    <a:pt x="2332" y="1014"/>
                    <a:pt x="3687" y="731"/>
                  </a:cubicBezTo>
                  <a:cubicBezTo>
                    <a:pt x="3921" y="681"/>
                    <a:pt x="4156" y="657"/>
                    <a:pt x="4390" y="657"/>
                  </a:cubicBezTo>
                  <a:close/>
                  <a:moveTo>
                    <a:pt x="6207" y="9142"/>
                  </a:moveTo>
                  <a:lnTo>
                    <a:pt x="6207" y="9489"/>
                  </a:lnTo>
                  <a:cubicBezTo>
                    <a:pt x="6207" y="9678"/>
                    <a:pt x="6050" y="9835"/>
                    <a:pt x="5829" y="9835"/>
                  </a:cubicBezTo>
                  <a:lnTo>
                    <a:pt x="3057" y="9835"/>
                  </a:lnTo>
                  <a:cubicBezTo>
                    <a:pt x="2836" y="9835"/>
                    <a:pt x="2679" y="9678"/>
                    <a:pt x="2679" y="9489"/>
                  </a:cubicBezTo>
                  <a:lnTo>
                    <a:pt x="2679" y="9142"/>
                  </a:lnTo>
                  <a:close/>
                  <a:moveTo>
                    <a:pt x="5483" y="10529"/>
                  </a:moveTo>
                  <a:lnTo>
                    <a:pt x="5483" y="10907"/>
                  </a:lnTo>
                  <a:cubicBezTo>
                    <a:pt x="5483" y="11096"/>
                    <a:pt x="5325" y="11253"/>
                    <a:pt x="5136" y="11253"/>
                  </a:cubicBezTo>
                  <a:lnTo>
                    <a:pt x="3718" y="11253"/>
                  </a:lnTo>
                  <a:cubicBezTo>
                    <a:pt x="3529" y="11253"/>
                    <a:pt x="3372" y="11096"/>
                    <a:pt x="3372" y="10907"/>
                  </a:cubicBezTo>
                  <a:lnTo>
                    <a:pt x="3372" y="10529"/>
                  </a:lnTo>
                  <a:close/>
                  <a:moveTo>
                    <a:pt x="4318" y="0"/>
                  </a:moveTo>
                  <a:cubicBezTo>
                    <a:pt x="4056" y="0"/>
                    <a:pt x="3792" y="23"/>
                    <a:pt x="3529" y="69"/>
                  </a:cubicBezTo>
                  <a:cubicBezTo>
                    <a:pt x="1954" y="384"/>
                    <a:pt x="631" y="1707"/>
                    <a:pt x="284" y="3314"/>
                  </a:cubicBezTo>
                  <a:cubicBezTo>
                    <a:pt x="1" y="4637"/>
                    <a:pt x="379" y="6023"/>
                    <a:pt x="1261" y="7000"/>
                  </a:cubicBezTo>
                  <a:cubicBezTo>
                    <a:pt x="1702" y="7536"/>
                    <a:pt x="1986" y="8166"/>
                    <a:pt x="1986" y="8796"/>
                  </a:cubicBezTo>
                  <a:lnTo>
                    <a:pt x="1986" y="9489"/>
                  </a:lnTo>
                  <a:cubicBezTo>
                    <a:pt x="1986" y="9961"/>
                    <a:pt x="2269" y="10371"/>
                    <a:pt x="2679" y="10466"/>
                  </a:cubicBezTo>
                  <a:lnTo>
                    <a:pt x="2679" y="10907"/>
                  </a:lnTo>
                  <a:cubicBezTo>
                    <a:pt x="2679" y="11505"/>
                    <a:pt x="3151" y="11978"/>
                    <a:pt x="3750" y="11978"/>
                  </a:cubicBezTo>
                  <a:lnTo>
                    <a:pt x="5168" y="11978"/>
                  </a:lnTo>
                  <a:cubicBezTo>
                    <a:pt x="5766" y="11978"/>
                    <a:pt x="6239" y="11505"/>
                    <a:pt x="6239" y="10907"/>
                  </a:cubicBezTo>
                  <a:lnTo>
                    <a:pt x="6239" y="10466"/>
                  </a:lnTo>
                  <a:cubicBezTo>
                    <a:pt x="6617" y="10308"/>
                    <a:pt x="6963" y="9930"/>
                    <a:pt x="6963" y="9489"/>
                  </a:cubicBezTo>
                  <a:lnTo>
                    <a:pt x="6963" y="8796"/>
                  </a:lnTo>
                  <a:cubicBezTo>
                    <a:pt x="6963" y="8166"/>
                    <a:pt x="7184" y="7536"/>
                    <a:pt x="7656" y="6969"/>
                  </a:cubicBezTo>
                  <a:cubicBezTo>
                    <a:pt x="8318" y="6212"/>
                    <a:pt x="8696" y="5236"/>
                    <a:pt x="8696" y="4228"/>
                  </a:cubicBezTo>
                  <a:cubicBezTo>
                    <a:pt x="8633" y="2967"/>
                    <a:pt x="8097" y="1739"/>
                    <a:pt x="7058" y="951"/>
                  </a:cubicBezTo>
                  <a:cubicBezTo>
                    <a:pt x="6285" y="328"/>
                    <a:pt x="5314" y="0"/>
                    <a:pt x="4318"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745" name="Google Shape;10745;p113"/>
            <p:cNvSpPr/>
            <p:nvPr/>
          </p:nvSpPr>
          <p:spPr>
            <a:xfrm>
              <a:off x="-49786250" y="2422325"/>
              <a:ext cx="36250" cy="17350"/>
            </a:xfrm>
            <a:custGeom>
              <a:avLst/>
              <a:gdLst/>
              <a:ahLst/>
              <a:cxnLst/>
              <a:rect l="l" t="t" r="r" b="b"/>
              <a:pathLst>
                <a:path w="1450" h="694" extrusionOk="0">
                  <a:moveTo>
                    <a:pt x="379" y="1"/>
                  </a:moveTo>
                  <a:cubicBezTo>
                    <a:pt x="158" y="1"/>
                    <a:pt x="0" y="158"/>
                    <a:pt x="0" y="347"/>
                  </a:cubicBezTo>
                  <a:cubicBezTo>
                    <a:pt x="0" y="536"/>
                    <a:pt x="158" y="694"/>
                    <a:pt x="379" y="694"/>
                  </a:cubicBezTo>
                  <a:lnTo>
                    <a:pt x="1072" y="694"/>
                  </a:lnTo>
                  <a:cubicBezTo>
                    <a:pt x="1261" y="694"/>
                    <a:pt x="1418" y="536"/>
                    <a:pt x="1418" y="347"/>
                  </a:cubicBezTo>
                  <a:cubicBezTo>
                    <a:pt x="1450" y="127"/>
                    <a:pt x="1261" y="1"/>
                    <a:pt x="1072"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746" name="Google Shape;10746;p113"/>
            <p:cNvSpPr/>
            <p:nvPr/>
          </p:nvSpPr>
          <p:spPr>
            <a:xfrm>
              <a:off x="-49783900" y="2362475"/>
              <a:ext cx="31550" cy="30150"/>
            </a:xfrm>
            <a:custGeom>
              <a:avLst/>
              <a:gdLst/>
              <a:ahLst/>
              <a:cxnLst/>
              <a:rect l="l" t="t" r="r" b="b"/>
              <a:pathLst>
                <a:path w="1262" h="1206" extrusionOk="0">
                  <a:moveTo>
                    <a:pt x="391" y="0"/>
                  </a:moveTo>
                  <a:cubicBezTo>
                    <a:pt x="300" y="0"/>
                    <a:pt x="206" y="32"/>
                    <a:pt x="127" y="95"/>
                  </a:cubicBezTo>
                  <a:cubicBezTo>
                    <a:pt x="1" y="221"/>
                    <a:pt x="1" y="441"/>
                    <a:pt x="127" y="599"/>
                  </a:cubicBezTo>
                  <a:lnTo>
                    <a:pt x="631" y="1134"/>
                  </a:lnTo>
                  <a:cubicBezTo>
                    <a:pt x="694" y="1182"/>
                    <a:pt x="781" y="1205"/>
                    <a:pt x="871" y="1205"/>
                  </a:cubicBezTo>
                  <a:cubicBezTo>
                    <a:pt x="962" y="1205"/>
                    <a:pt x="1056" y="1182"/>
                    <a:pt x="1135" y="1134"/>
                  </a:cubicBezTo>
                  <a:cubicBezTo>
                    <a:pt x="1261" y="1008"/>
                    <a:pt x="1261" y="756"/>
                    <a:pt x="1135" y="599"/>
                  </a:cubicBezTo>
                  <a:lnTo>
                    <a:pt x="631" y="95"/>
                  </a:lnTo>
                  <a:cubicBezTo>
                    <a:pt x="568" y="32"/>
                    <a:pt x="481" y="0"/>
                    <a:pt x="391"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747" name="Google Shape;10747;p113"/>
            <p:cNvSpPr/>
            <p:nvPr/>
          </p:nvSpPr>
          <p:spPr>
            <a:xfrm>
              <a:off x="-49783900" y="2468800"/>
              <a:ext cx="31550" cy="30150"/>
            </a:xfrm>
            <a:custGeom>
              <a:avLst/>
              <a:gdLst/>
              <a:ahLst/>
              <a:cxnLst/>
              <a:rect l="l" t="t" r="r" b="b"/>
              <a:pathLst>
                <a:path w="1262" h="1206" extrusionOk="0">
                  <a:moveTo>
                    <a:pt x="871" y="0"/>
                  </a:moveTo>
                  <a:cubicBezTo>
                    <a:pt x="781" y="0"/>
                    <a:pt x="694" y="32"/>
                    <a:pt x="631" y="95"/>
                  </a:cubicBezTo>
                  <a:lnTo>
                    <a:pt x="127" y="599"/>
                  </a:lnTo>
                  <a:cubicBezTo>
                    <a:pt x="1" y="725"/>
                    <a:pt x="1" y="977"/>
                    <a:pt x="127" y="1135"/>
                  </a:cubicBezTo>
                  <a:cubicBezTo>
                    <a:pt x="174" y="1182"/>
                    <a:pt x="261" y="1205"/>
                    <a:pt x="355" y="1205"/>
                  </a:cubicBezTo>
                  <a:cubicBezTo>
                    <a:pt x="450" y="1205"/>
                    <a:pt x="552" y="1182"/>
                    <a:pt x="631" y="1135"/>
                  </a:cubicBezTo>
                  <a:lnTo>
                    <a:pt x="1135" y="599"/>
                  </a:lnTo>
                  <a:cubicBezTo>
                    <a:pt x="1261" y="504"/>
                    <a:pt x="1261" y="252"/>
                    <a:pt x="1135" y="95"/>
                  </a:cubicBezTo>
                  <a:cubicBezTo>
                    <a:pt x="1056" y="32"/>
                    <a:pt x="962" y="0"/>
                    <a:pt x="871"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748" name="Google Shape;10748;p113"/>
            <p:cNvSpPr/>
            <p:nvPr/>
          </p:nvSpPr>
          <p:spPr>
            <a:xfrm>
              <a:off x="-49520825" y="2421550"/>
              <a:ext cx="35475" cy="18125"/>
            </a:xfrm>
            <a:custGeom>
              <a:avLst/>
              <a:gdLst/>
              <a:ahLst/>
              <a:cxnLst/>
              <a:rect l="l" t="t" r="r" b="b"/>
              <a:pathLst>
                <a:path w="1419" h="725" extrusionOk="0">
                  <a:moveTo>
                    <a:pt x="347" y="0"/>
                  </a:moveTo>
                  <a:cubicBezTo>
                    <a:pt x="158" y="0"/>
                    <a:pt x="1" y="158"/>
                    <a:pt x="1" y="378"/>
                  </a:cubicBezTo>
                  <a:cubicBezTo>
                    <a:pt x="1" y="567"/>
                    <a:pt x="158" y="725"/>
                    <a:pt x="347" y="725"/>
                  </a:cubicBezTo>
                  <a:lnTo>
                    <a:pt x="1072" y="725"/>
                  </a:lnTo>
                  <a:cubicBezTo>
                    <a:pt x="1261" y="725"/>
                    <a:pt x="1418" y="567"/>
                    <a:pt x="1418" y="378"/>
                  </a:cubicBezTo>
                  <a:cubicBezTo>
                    <a:pt x="1418" y="158"/>
                    <a:pt x="1261" y="0"/>
                    <a:pt x="1072"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749" name="Google Shape;10749;p113"/>
            <p:cNvSpPr/>
            <p:nvPr/>
          </p:nvSpPr>
          <p:spPr>
            <a:xfrm>
              <a:off x="-49519250" y="2362475"/>
              <a:ext cx="31525" cy="31325"/>
            </a:xfrm>
            <a:custGeom>
              <a:avLst/>
              <a:gdLst/>
              <a:ahLst/>
              <a:cxnLst/>
              <a:rect l="l" t="t" r="r" b="b"/>
              <a:pathLst>
                <a:path w="1261" h="1253" extrusionOk="0">
                  <a:moveTo>
                    <a:pt x="906" y="0"/>
                  </a:moveTo>
                  <a:cubicBezTo>
                    <a:pt x="812" y="0"/>
                    <a:pt x="709" y="32"/>
                    <a:pt x="631" y="95"/>
                  </a:cubicBezTo>
                  <a:lnTo>
                    <a:pt x="127" y="599"/>
                  </a:lnTo>
                  <a:cubicBezTo>
                    <a:pt x="1" y="725"/>
                    <a:pt x="1" y="945"/>
                    <a:pt x="127" y="1134"/>
                  </a:cubicBezTo>
                  <a:cubicBezTo>
                    <a:pt x="190" y="1213"/>
                    <a:pt x="276" y="1253"/>
                    <a:pt x="367" y="1253"/>
                  </a:cubicBezTo>
                  <a:cubicBezTo>
                    <a:pt x="457" y="1253"/>
                    <a:pt x="552" y="1213"/>
                    <a:pt x="631" y="1134"/>
                  </a:cubicBezTo>
                  <a:lnTo>
                    <a:pt x="1135" y="599"/>
                  </a:lnTo>
                  <a:cubicBezTo>
                    <a:pt x="1261" y="473"/>
                    <a:pt x="1261" y="252"/>
                    <a:pt x="1135" y="95"/>
                  </a:cubicBezTo>
                  <a:cubicBezTo>
                    <a:pt x="1088" y="32"/>
                    <a:pt x="1001" y="0"/>
                    <a:pt x="906"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750" name="Google Shape;10750;p113"/>
            <p:cNvSpPr/>
            <p:nvPr/>
          </p:nvSpPr>
          <p:spPr>
            <a:xfrm>
              <a:off x="-49519250" y="2468800"/>
              <a:ext cx="31525" cy="30150"/>
            </a:xfrm>
            <a:custGeom>
              <a:avLst/>
              <a:gdLst/>
              <a:ahLst/>
              <a:cxnLst/>
              <a:rect l="l" t="t" r="r" b="b"/>
              <a:pathLst>
                <a:path w="1261" h="1206" extrusionOk="0">
                  <a:moveTo>
                    <a:pt x="391" y="0"/>
                  </a:moveTo>
                  <a:cubicBezTo>
                    <a:pt x="300" y="0"/>
                    <a:pt x="205" y="32"/>
                    <a:pt x="127" y="95"/>
                  </a:cubicBezTo>
                  <a:cubicBezTo>
                    <a:pt x="1" y="221"/>
                    <a:pt x="1" y="441"/>
                    <a:pt x="127" y="599"/>
                  </a:cubicBezTo>
                  <a:lnTo>
                    <a:pt x="631" y="1135"/>
                  </a:lnTo>
                  <a:cubicBezTo>
                    <a:pt x="694" y="1182"/>
                    <a:pt x="780" y="1205"/>
                    <a:pt x="871" y="1205"/>
                  </a:cubicBezTo>
                  <a:cubicBezTo>
                    <a:pt x="962" y="1205"/>
                    <a:pt x="1056" y="1182"/>
                    <a:pt x="1135" y="1135"/>
                  </a:cubicBezTo>
                  <a:cubicBezTo>
                    <a:pt x="1261" y="1009"/>
                    <a:pt x="1261" y="756"/>
                    <a:pt x="1135" y="599"/>
                  </a:cubicBezTo>
                  <a:lnTo>
                    <a:pt x="631" y="95"/>
                  </a:lnTo>
                  <a:cubicBezTo>
                    <a:pt x="568" y="32"/>
                    <a:pt x="481" y="0"/>
                    <a:pt x="391"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sp>
        <p:nvSpPr>
          <p:cNvPr id="10751" name="Google Shape;10751;p113"/>
          <p:cNvSpPr/>
          <p:nvPr/>
        </p:nvSpPr>
        <p:spPr>
          <a:xfrm>
            <a:off x="2308806" y="3245123"/>
            <a:ext cx="497652" cy="478872"/>
          </a:xfrm>
          <a:custGeom>
            <a:avLst/>
            <a:gdLst/>
            <a:ahLst/>
            <a:cxnLst/>
            <a:rect l="l" t="t" r="r" b="b"/>
            <a:pathLst>
              <a:path w="12508" h="12036" extrusionOk="0">
                <a:moveTo>
                  <a:pt x="4600" y="725"/>
                </a:moveTo>
                <a:cubicBezTo>
                  <a:pt x="7026" y="725"/>
                  <a:pt x="8475" y="1387"/>
                  <a:pt x="8475" y="1796"/>
                </a:cubicBezTo>
                <a:cubicBezTo>
                  <a:pt x="8475" y="2143"/>
                  <a:pt x="7058" y="2836"/>
                  <a:pt x="4600" y="2836"/>
                </a:cubicBezTo>
                <a:cubicBezTo>
                  <a:pt x="2111" y="2836"/>
                  <a:pt x="725" y="2143"/>
                  <a:pt x="725" y="1796"/>
                </a:cubicBezTo>
                <a:cubicBezTo>
                  <a:pt x="725" y="1387"/>
                  <a:pt x="2143" y="725"/>
                  <a:pt x="4600" y="725"/>
                </a:cubicBezTo>
                <a:close/>
                <a:moveTo>
                  <a:pt x="694" y="2805"/>
                </a:moveTo>
                <a:cubicBezTo>
                  <a:pt x="1670" y="3403"/>
                  <a:pt x="3371" y="3592"/>
                  <a:pt x="4537" y="3592"/>
                </a:cubicBezTo>
                <a:cubicBezTo>
                  <a:pt x="4915" y="3592"/>
                  <a:pt x="5262" y="3592"/>
                  <a:pt x="5608" y="3561"/>
                </a:cubicBezTo>
                <a:lnTo>
                  <a:pt x="5608" y="4002"/>
                </a:lnTo>
                <a:cubicBezTo>
                  <a:pt x="5608" y="4191"/>
                  <a:pt x="5451" y="4348"/>
                  <a:pt x="5262" y="4348"/>
                </a:cubicBezTo>
                <a:cubicBezTo>
                  <a:pt x="4663" y="4348"/>
                  <a:pt x="4191" y="4821"/>
                  <a:pt x="4191" y="5420"/>
                </a:cubicBezTo>
                <a:lnTo>
                  <a:pt x="4191" y="6113"/>
                </a:lnTo>
                <a:cubicBezTo>
                  <a:pt x="4191" y="6302"/>
                  <a:pt x="4033" y="6459"/>
                  <a:pt x="3844" y="6459"/>
                </a:cubicBezTo>
                <a:cubicBezTo>
                  <a:pt x="3655" y="6459"/>
                  <a:pt x="3497" y="6302"/>
                  <a:pt x="3497" y="6113"/>
                </a:cubicBezTo>
                <a:lnTo>
                  <a:pt x="3497" y="5325"/>
                </a:lnTo>
                <a:cubicBezTo>
                  <a:pt x="3529" y="4726"/>
                  <a:pt x="3056" y="4254"/>
                  <a:pt x="2458" y="4254"/>
                </a:cubicBezTo>
                <a:cubicBezTo>
                  <a:pt x="1859" y="4254"/>
                  <a:pt x="1387" y="4726"/>
                  <a:pt x="1387" y="5325"/>
                </a:cubicBezTo>
                <a:lnTo>
                  <a:pt x="1387" y="6743"/>
                </a:lnTo>
                <a:cubicBezTo>
                  <a:pt x="1387" y="6932"/>
                  <a:pt x="1229" y="7089"/>
                  <a:pt x="1040" y="7089"/>
                </a:cubicBezTo>
                <a:cubicBezTo>
                  <a:pt x="851" y="7089"/>
                  <a:pt x="694" y="6932"/>
                  <a:pt x="694" y="6743"/>
                </a:cubicBezTo>
                <a:lnTo>
                  <a:pt x="694" y="2805"/>
                </a:lnTo>
                <a:close/>
                <a:moveTo>
                  <a:pt x="8475" y="2742"/>
                </a:moveTo>
                <a:lnTo>
                  <a:pt x="8475" y="8192"/>
                </a:lnTo>
                <a:cubicBezTo>
                  <a:pt x="7719" y="8034"/>
                  <a:pt x="7026" y="7625"/>
                  <a:pt x="6553" y="6995"/>
                </a:cubicBezTo>
                <a:lnTo>
                  <a:pt x="5104" y="5010"/>
                </a:lnTo>
                <a:cubicBezTo>
                  <a:pt x="5104" y="5010"/>
                  <a:pt x="5167" y="4978"/>
                  <a:pt x="5293" y="4978"/>
                </a:cubicBezTo>
                <a:cubicBezTo>
                  <a:pt x="5892" y="4978"/>
                  <a:pt x="6364" y="4506"/>
                  <a:pt x="6364" y="3907"/>
                </a:cubicBezTo>
                <a:lnTo>
                  <a:pt x="6364" y="3403"/>
                </a:lnTo>
                <a:cubicBezTo>
                  <a:pt x="7215" y="3277"/>
                  <a:pt x="7971" y="3057"/>
                  <a:pt x="8475" y="2742"/>
                </a:cubicBezTo>
                <a:close/>
                <a:moveTo>
                  <a:pt x="9200" y="3844"/>
                </a:moveTo>
                <a:cubicBezTo>
                  <a:pt x="9925" y="4159"/>
                  <a:pt x="10555" y="4695"/>
                  <a:pt x="10996" y="5325"/>
                </a:cubicBezTo>
                <a:cubicBezTo>
                  <a:pt x="11689" y="6302"/>
                  <a:pt x="11153" y="7782"/>
                  <a:pt x="10019" y="8160"/>
                </a:cubicBezTo>
                <a:cubicBezTo>
                  <a:pt x="9735" y="8223"/>
                  <a:pt x="9452" y="8318"/>
                  <a:pt x="9200" y="8318"/>
                </a:cubicBezTo>
                <a:lnTo>
                  <a:pt x="9200" y="3844"/>
                </a:lnTo>
                <a:close/>
                <a:moveTo>
                  <a:pt x="2489" y="4978"/>
                </a:moveTo>
                <a:cubicBezTo>
                  <a:pt x="2678" y="4978"/>
                  <a:pt x="2836" y="5136"/>
                  <a:pt x="2836" y="5325"/>
                </a:cubicBezTo>
                <a:lnTo>
                  <a:pt x="2836" y="6050"/>
                </a:lnTo>
                <a:cubicBezTo>
                  <a:pt x="2836" y="6617"/>
                  <a:pt x="3308" y="7089"/>
                  <a:pt x="3907" y="7089"/>
                </a:cubicBezTo>
                <a:cubicBezTo>
                  <a:pt x="4474" y="7089"/>
                  <a:pt x="4947" y="6680"/>
                  <a:pt x="4978" y="6081"/>
                </a:cubicBezTo>
                <a:lnTo>
                  <a:pt x="5986" y="7467"/>
                </a:lnTo>
                <a:cubicBezTo>
                  <a:pt x="6459" y="8097"/>
                  <a:pt x="7152" y="8570"/>
                  <a:pt x="7877" y="8822"/>
                </a:cubicBezTo>
                <a:cubicBezTo>
                  <a:pt x="8097" y="8917"/>
                  <a:pt x="8286" y="8948"/>
                  <a:pt x="8507" y="8980"/>
                </a:cubicBezTo>
                <a:lnTo>
                  <a:pt x="8507" y="10303"/>
                </a:lnTo>
                <a:cubicBezTo>
                  <a:pt x="8475" y="10618"/>
                  <a:pt x="7058" y="11311"/>
                  <a:pt x="4600" y="11311"/>
                </a:cubicBezTo>
                <a:cubicBezTo>
                  <a:pt x="2111" y="11311"/>
                  <a:pt x="725" y="10586"/>
                  <a:pt x="725" y="10240"/>
                </a:cubicBezTo>
                <a:lnTo>
                  <a:pt x="725" y="7688"/>
                </a:lnTo>
                <a:cubicBezTo>
                  <a:pt x="851" y="7719"/>
                  <a:pt x="977" y="7782"/>
                  <a:pt x="1072" y="7782"/>
                </a:cubicBezTo>
                <a:cubicBezTo>
                  <a:pt x="1670" y="7782"/>
                  <a:pt x="2143" y="7310"/>
                  <a:pt x="2143" y="6711"/>
                </a:cubicBezTo>
                <a:lnTo>
                  <a:pt x="2143" y="5325"/>
                </a:lnTo>
                <a:cubicBezTo>
                  <a:pt x="2143" y="5136"/>
                  <a:pt x="2300" y="4978"/>
                  <a:pt x="2489" y="4978"/>
                </a:cubicBezTo>
                <a:close/>
                <a:moveTo>
                  <a:pt x="4537" y="1"/>
                </a:moveTo>
                <a:cubicBezTo>
                  <a:pt x="3371" y="1"/>
                  <a:pt x="2300" y="158"/>
                  <a:pt x="1481" y="442"/>
                </a:cubicBezTo>
                <a:cubicBezTo>
                  <a:pt x="252" y="851"/>
                  <a:pt x="0" y="1387"/>
                  <a:pt x="0" y="1796"/>
                </a:cubicBezTo>
                <a:lnTo>
                  <a:pt x="0" y="10240"/>
                </a:lnTo>
                <a:cubicBezTo>
                  <a:pt x="0" y="10649"/>
                  <a:pt x="252" y="11153"/>
                  <a:pt x="1481" y="11594"/>
                </a:cubicBezTo>
                <a:cubicBezTo>
                  <a:pt x="2300" y="11878"/>
                  <a:pt x="3403" y="12036"/>
                  <a:pt x="4537" y="12036"/>
                </a:cubicBezTo>
                <a:cubicBezTo>
                  <a:pt x="6837" y="12036"/>
                  <a:pt x="9137" y="11437"/>
                  <a:pt x="9137" y="10240"/>
                </a:cubicBezTo>
                <a:lnTo>
                  <a:pt x="9137" y="8980"/>
                </a:lnTo>
                <a:cubicBezTo>
                  <a:pt x="9515" y="8980"/>
                  <a:pt x="9862" y="8917"/>
                  <a:pt x="10208" y="8791"/>
                </a:cubicBezTo>
                <a:cubicBezTo>
                  <a:pt x="11815" y="8286"/>
                  <a:pt x="12508" y="6302"/>
                  <a:pt x="11563" y="4884"/>
                </a:cubicBezTo>
                <a:cubicBezTo>
                  <a:pt x="10996" y="4096"/>
                  <a:pt x="10208" y="3435"/>
                  <a:pt x="9137" y="2994"/>
                </a:cubicBezTo>
                <a:lnTo>
                  <a:pt x="9137" y="1796"/>
                </a:lnTo>
                <a:cubicBezTo>
                  <a:pt x="9137" y="631"/>
                  <a:pt x="6837" y="1"/>
                  <a:pt x="4537"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752" name="Google Shape;10752;p113"/>
          <p:cNvSpPr/>
          <p:nvPr/>
        </p:nvSpPr>
        <p:spPr>
          <a:xfrm>
            <a:off x="5295296" y="2084577"/>
            <a:ext cx="478872" cy="477599"/>
          </a:xfrm>
          <a:custGeom>
            <a:avLst/>
            <a:gdLst/>
            <a:ahLst/>
            <a:cxnLst/>
            <a:rect l="l" t="t" r="r" b="b"/>
            <a:pathLst>
              <a:path w="12036" h="12004" extrusionOk="0">
                <a:moveTo>
                  <a:pt x="1450" y="693"/>
                </a:moveTo>
                <a:lnTo>
                  <a:pt x="1450" y="1418"/>
                </a:lnTo>
                <a:lnTo>
                  <a:pt x="756" y="1418"/>
                </a:lnTo>
                <a:lnTo>
                  <a:pt x="756" y="693"/>
                </a:lnTo>
                <a:close/>
                <a:moveTo>
                  <a:pt x="11342" y="693"/>
                </a:moveTo>
                <a:lnTo>
                  <a:pt x="11342" y="1418"/>
                </a:lnTo>
                <a:lnTo>
                  <a:pt x="10618" y="1418"/>
                </a:lnTo>
                <a:lnTo>
                  <a:pt x="10618" y="693"/>
                </a:lnTo>
                <a:close/>
                <a:moveTo>
                  <a:pt x="6049" y="4191"/>
                </a:moveTo>
                <a:cubicBezTo>
                  <a:pt x="6270" y="4191"/>
                  <a:pt x="6427" y="4380"/>
                  <a:pt x="6427" y="4569"/>
                </a:cubicBezTo>
                <a:cubicBezTo>
                  <a:pt x="6427" y="4758"/>
                  <a:pt x="6270" y="4915"/>
                  <a:pt x="6049" y="4915"/>
                </a:cubicBezTo>
                <a:cubicBezTo>
                  <a:pt x="5860" y="4915"/>
                  <a:pt x="5703" y="4758"/>
                  <a:pt x="5703" y="4569"/>
                </a:cubicBezTo>
                <a:cubicBezTo>
                  <a:pt x="5703" y="4380"/>
                  <a:pt x="5860" y="4191"/>
                  <a:pt x="6049" y="4191"/>
                </a:cubicBezTo>
                <a:close/>
                <a:moveTo>
                  <a:pt x="6081" y="1040"/>
                </a:moveTo>
                <a:cubicBezTo>
                  <a:pt x="6144" y="1166"/>
                  <a:pt x="8381" y="5167"/>
                  <a:pt x="8475" y="5262"/>
                </a:cubicBezTo>
                <a:lnTo>
                  <a:pt x="7278" y="7026"/>
                </a:lnTo>
                <a:lnTo>
                  <a:pt x="6427" y="7026"/>
                </a:lnTo>
                <a:lnTo>
                  <a:pt x="6427" y="5577"/>
                </a:lnTo>
                <a:cubicBezTo>
                  <a:pt x="6805" y="5419"/>
                  <a:pt x="7120" y="5041"/>
                  <a:pt x="7120" y="4600"/>
                </a:cubicBezTo>
                <a:cubicBezTo>
                  <a:pt x="7120" y="4001"/>
                  <a:pt x="6648" y="3529"/>
                  <a:pt x="6081" y="3529"/>
                </a:cubicBezTo>
                <a:cubicBezTo>
                  <a:pt x="5482" y="3529"/>
                  <a:pt x="5010" y="4001"/>
                  <a:pt x="5010" y="4600"/>
                </a:cubicBezTo>
                <a:cubicBezTo>
                  <a:pt x="5010" y="5073"/>
                  <a:pt x="5293" y="5451"/>
                  <a:pt x="5703" y="5577"/>
                </a:cubicBezTo>
                <a:lnTo>
                  <a:pt x="5703" y="7026"/>
                </a:lnTo>
                <a:lnTo>
                  <a:pt x="4852" y="7026"/>
                </a:lnTo>
                <a:lnTo>
                  <a:pt x="3655" y="5262"/>
                </a:lnTo>
                <a:cubicBezTo>
                  <a:pt x="3749" y="5167"/>
                  <a:pt x="5986" y="1166"/>
                  <a:pt x="6081" y="1040"/>
                </a:cubicBezTo>
                <a:close/>
                <a:moveTo>
                  <a:pt x="3812" y="3529"/>
                </a:moveTo>
                <a:lnTo>
                  <a:pt x="2899" y="5104"/>
                </a:lnTo>
                <a:cubicBezTo>
                  <a:pt x="2836" y="5230"/>
                  <a:pt x="2836" y="5388"/>
                  <a:pt x="2899" y="5451"/>
                </a:cubicBezTo>
                <a:lnTo>
                  <a:pt x="4064" y="7215"/>
                </a:lnTo>
                <a:cubicBezTo>
                  <a:pt x="3749" y="7404"/>
                  <a:pt x="3529" y="7719"/>
                  <a:pt x="3529" y="8097"/>
                </a:cubicBezTo>
                <a:lnTo>
                  <a:pt x="3529" y="8475"/>
                </a:lnTo>
                <a:lnTo>
                  <a:pt x="693" y="8475"/>
                </a:lnTo>
                <a:lnTo>
                  <a:pt x="693" y="3907"/>
                </a:lnTo>
                <a:cubicBezTo>
                  <a:pt x="788" y="3686"/>
                  <a:pt x="945" y="3529"/>
                  <a:pt x="1103" y="3529"/>
                </a:cubicBezTo>
                <a:close/>
                <a:moveTo>
                  <a:pt x="7436" y="7751"/>
                </a:moveTo>
                <a:cubicBezTo>
                  <a:pt x="7625" y="7751"/>
                  <a:pt x="7782" y="7908"/>
                  <a:pt x="7782" y="8097"/>
                </a:cubicBezTo>
                <a:lnTo>
                  <a:pt x="7782" y="8475"/>
                </a:lnTo>
                <a:lnTo>
                  <a:pt x="4285" y="8475"/>
                </a:lnTo>
                <a:lnTo>
                  <a:pt x="4285" y="8097"/>
                </a:lnTo>
                <a:cubicBezTo>
                  <a:pt x="4285" y="7908"/>
                  <a:pt x="4443" y="7751"/>
                  <a:pt x="4632" y="7751"/>
                </a:cubicBezTo>
                <a:close/>
                <a:moveTo>
                  <a:pt x="10996" y="3529"/>
                </a:moveTo>
                <a:cubicBezTo>
                  <a:pt x="11185" y="3529"/>
                  <a:pt x="11342" y="3686"/>
                  <a:pt x="11342" y="3907"/>
                </a:cubicBezTo>
                <a:lnTo>
                  <a:pt x="11342" y="8475"/>
                </a:lnTo>
                <a:lnTo>
                  <a:pt x="8507" y="8475"/>
                </a:lnTo>
                <a:lnTo>
                  <a:pt x="8507" y="8097"/>
                </a:lnTo>
                <a:cubicBezTo>
                  <a:pt x="8507" y="7719"/>
                  <a:pt x="8318" y="7404"/>
                  <a:pt x="8003" y="7215"/>
                </a:cubicBezTo>
                <a:lnTo>
                  <a:pt x="9137" y="5451"/>
                </a:lnTo>
                <a:cubicBezTo>
                  <a:pt x="9200" y="5356"/>
                  <a:pt x="9200" y="5230"/>
                  <a:pt x="9137" y="5104"/>
                </a:cubicBezTo>
                <a:lnTo>
                  <a:pt x="8223" y="3529"/>
                </a:lnTo>
                <a:close/>
                <a:moveTo>
                  <a:pt x="11342" y="9137"/>
                </a:moveTo>
                <a:lnTo>
                  <a:pt x="11342" y="9483"/>
                </a:lnTo>
                <a:cubicBezTo>
                  <a:pt x="11342" y="9672"/>
                  <a:pt x="11185" y="9830"/>
                  <a:pt x="10996" y="9830"/>
                </a:cubicBezTo>
                <a:lnTo>
                  <a:pt x="1103" y="9830"/>
                </a:lnTo>
                <a:cubicBezTo>
                  <a:pt x="914" y="9830"/>
                  <a:pt x="756" y="9672"/>
                  <a:pt x="756" y="9483"/>
                </a:cubicBezTo>
                <a:lnTo>
                  <a:pt x="756" y="9137"/>
                </a:lnTo>
                <a:close/>
                <a:moveTo>
                  <a:pt x="6427" y="10554"/>
                </a:moveTo>
                <a:lnTo>
                  <a:pt x="6427" y="11248"/>
                </a:lnTo>
                <a:lnTo>
                  <a:pt x="5703" y="11248"/>
                </a:lnTo>
                <a:lnTo>
                  <a:pt x="5703" y="10554"/>
                </a:lnTo>
                <a:close/>
                <a:moveTo>
                  <a:pt x="347" y="0"/>
                </a:moveTo>
                <a:cubicBezTo>
                  <a:pt x="158" y="0"/>
                  <a:pt x="0" y="158"/>
                  <a:pt x="0" y="347"/>
                </a:cubicBezTo>
                <a:lnTo>
                  <a:pt x="0" y="1765"/>
                </a:lnTo>
                <a:cubicBezTo>
                  <a:pt x="0" y="1954"/>
                  <a:pt x="158" y="2111"/>
                  <a:pt x="347" y="2111"/>
                </a:cubicBezTo>
                <a:lnTo>
                  <a:pt x="1765" y="2111"/>
                </a:lnTo>
                <a:cubicBezTo>
                  <a:pt x="1954" y="2111"/>
                  <a:pt x="2111" y="1954"/>
                  <a:pt x="2111" y="1765"/>
                </a:cubicBezTo>
                <a:lnTo>
                  <a:pt x="2111" y="1418"/>
                </a:lnTo>
                <a:lnTo>
                  <a:pt x="5010" y="1418"/>
                </a:lnTo>
                <a:lnTo>
                  <a:pt x="4159" y="2836"/>
                </a:lnTo>
                <a:lnTo>
                  <a:pt x="1072" y="2836"/>
                </a:lnTo>
                <a:cubicBezTo>
                  <a:pt x="473" y="2836"/>
                  <a:pt x="0" y="3308"/>
                  <a:pt x="0" y="3907"/>
                </a:cubicBezTo>
                <a:lnTo>
                  <a:pt x="0" y="9515"/>
                </a:lnTo>
                <a:cubicBezTo>
                  <a:pt x="0" y="10113"/>
                  <a:pt x="473" y="10586"/>
                  <a:pt x="1072" y="10586"/>
                </a:cubicBezTo>
                <a:lnTo>
                  <a:pt x="4947" y="10586"/>
                </a:lnTo>
                <a:lnTo>
                  <a:pt x="4947" y="11311"/>
                </a:lnTo>
                <a:lnTo>
                  <a:pt x="3907" y="11311"/>
                </a:lnTo>
                <a:cubicBezTo>
                  <a:pt x="3686" y="11311"/>
                  <a:pt x="3529" y="11468"/>
                  <a:pt x="3529" y="11657"/>
                </a:cubicBezTo>
                <a:cubicBezTo>
                  <a:pt x="3529" y="11846"/>
                  <a:pt x="3686" y="12004"/>
                  <a:pt x="3907" y="12004"/>
                </a:cubicBezTo>
                <a:lnTo>
                  <a:pt x="8097" y="12004"/>
                </a:lnTo>
                <a:cubicBezTo>
                  <a:pt x="8318" y="12004"/>
                  <a:pt x="8475" y="11846"/>
                  <a:pt x="8475" y="11657"/>
                </a:cubicBezTo>
                <a:cubicBezTo>
                  <a:pt x="8475" y="11468"/>
                  <a:pt x="8318" y="11311"/>
                  <a:pt x="8097" y="11311"/>
                </a:cubicBezTo>
                <a:lnTo>
                  <a:pt x="7057" y="11311"/>
                </a:lnTo>
                <a:lnTo>
                  <a:pt x="7057" y="10586"/>
                </a:lnTo>
                <a:lnTo>
                  <a:pt x="10933" y="10586"/>
                </a:lnTo>
                <a:cubicBezTo>
                  <a:pt x="11531" y="10586"/>
                  <a:pt x="12004" y="10113"/>
                  <a:pt x="12004" y="9515"/>
                </a:cubicBezTo>
                <a:lnTo>
                  <a:pt x="12004" y="3907"/>
                </a:lnTo>
                <a:cubicBezTo>
                  <a:pt x="12035" y="3308"/>
                  <a:pt x="11563" y="2836"/>
                  <a:pt x="10996" y="2836"/>
                </a:cubicBezTo>
                <a:lnTo>
                  <a:pt x="7877" y="2836"/>
                </a:lnTo>
                <a:lnTo>
                  <a:pt x="7057" y="1418"/>
                </a:lnTo>
                <a:lnTo>
                  <a:pt x="9924" y="1418"/>
                </a:lnTo>
                <a:lnTo>
                  <a:pt x="9924" y="1765"/>
                </a:lnTo>
                <a:cubicBezTo>
                  <a:pt x="9924" y="1954"/>
                  <a:pt x="10082" y="2111"/>
                  <a:pt x="10271" y="2111"/>
                </a:cubicBezTo>
                <a:lnTo>
                  <a:pt x="11689" y="2111"/>
                </a:lnTo>
                <a:cubicBezTo>
                  <a:pt x="11878" y="2111"/>
                  <a:pt x="12035" y="1954"/>
                  <a:pt x="12035" y="1765"/>
                </a:cubicBezTo>
                <a:lnTo>
                  <a:pt x="12035" y="347"/>
                </a:lnTo>
                <a:cubicBezTo>
                  <a:pt x="12035" y="158"/>
                  <a:pt x="11878" y="0"/>
                  <a:pt x="11689" y="0"/>
                </a:cubicBezTo>
                <a:lnTo>
                  <a:pt x="10271" y="0"/>
                </a:lnTo>
                <a:cubicBezTo>
                  <a:pt x="10082" y="0"/>
                  <a:pt x="9924" y="158"/>
                  <a:pt x="9924" y="347"/>
                </a:cubicBezTo>
                <a:lnTo>
                  <a:pt x="9924" y="693"/>
                </a:lnTo>
                <a:lnTo>
                  <a:pt x="6648" y="693"/>
                </a:lnTo>
                <a:lnTo>
                  <a:pt x="6333" y="189"/>
                </a:lnTo>
                <a:cubicBezTo>
                  <a:pt x="6270" y="63"/>
                  <a:pt x="6144" y="0"/>
                  <a:pt x="6018" y="0"/>
                </a:cubicBezTo>
                <a:cubicBezTo>
                  <a:pt x="5892" y="0"/>
                  <a:pt x="5797" y="63"/>
                  <a:pt x="5703" y="189"/>
                </a:cubicBezTo>
                <a:lnTo>
                  <a:pt x="5388" y="693"/>
                </a:lnTo>
                <a:lnTo>
                  <a:pt x="2111" y="693"/>
                </a:lnTo>
                <a:lnTo>
                  <a:pt x="2111" y="347"/>
                </a:lnTo>
                <a:cubicBezTo>
                  <a:pt x="2111" y="158"/>
                  <a:pt x="1954" y="0"/>
                  <a:pt x="1765"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nvGrpSpPr>
          <p:cNvPr id="10753" name="Google Shape;10753;p113"/>
          <p:cNvGrpSpPr/>
          <p:nvPr/>
        </p:nvGrpSpPr>
        <p:grpSpPr>
          <a:xfrm>
            <a:off x="5377526" y="2690124"/>
            <a:ext cx="307153" cy="478832"/>
            <a:chOff x="-47842400" y="2342000"/>
            <a:chExt cx="193000" cy="300875"/>
          </a:xfrm>
        </p:grpSpPr>
        <p:sp>
          <p:nvSpPr>
            <p:cNvPr id="10754" name="Google Shape;10754;p113"/>
            <p:cNvSpPr/>
            <p:nvPr/>
          </p:nvSpPr>
          <p:spPr>
            <a:xfrm>
              <a:off x="-47809325" y="2412875"/>
              <a:ext cx="124475" cy="124475"/>
            </a:xfrm>
            <a:custGeom>
              <a:avLst/>
              <a:gdLst/>
              <a:ahLst/>
              <a:cxnLst/>
              <a:rect l="l" t="t" r="r" b="b"/>
              <a:pathLst>
                <a:path w="4979" h="4979" extrusionOk="0">
                  <a:moveTo>
                    <a:pt x="1828" y="725"/>
                  </a:moveTo>
                  <a:cubicBezTo>
                    <a:pt x="2301" y="725"/>
                    <a:pt x="2679" y="1009"/>
                    <a:pt x="2805" y="1418"/>
                  </a:cubicBezTo>
                  <a:lnTo>
                    <a:pt x="1828" y="1418"/>
                  </a:lnTo>
                  <a:cubicBezTo>
                    <a:pt x="1639" y="1418"/>
                    <a:pt x="1482" y="1576"/>
                    <a:pt x="1482" y="1796"/>
                  </a:cubicBezTo>
                  <a:lnTo>
                    <a:pt x="1482" y="2773"/>
                  </a:lnTo>
                  <a:cubicBezTo>
                    <a:pt x="1072" y="2647"/>
                    <a:pt x="757" y="2269"/>
                    <a:pt x="757" y="1796"/>
                  </a:cubicBezTo>
                  <a:cubicBezTo>
                    <a:pt x="757" y="1198"/>
                    <a:pt x="1230" y="725"/>
                    <a:pt x="1828" y="725"/>
                  </a:cubicBezTo>
                  <a:close/>
                  <a:moveTo>
                    <a:pt x="2805" y="2143"/>
                  </a:moveTo>
                  <a:cubicBezTo>
                    <a:pt x="2679" y="2458"/>
                    <a:pt x="2458" y="2678"/>
                    <a:pt x="2175" y="2773"/>
                  </a:cubicBezTo>
                  <a:lnTo>
                    <a:pt x="2175" y="2143"/>
                  </a:lnTo>
                  <a:close/>
                  <a:moveTo>
                    <a:pt x="4286" y="2111"/>
                  </a:moveTo>
                  <a:lnTo>
                    <a:pt x="4286" y="4222"/>
                  </a:lnTo>
                  <a:lnTo>
                    <a:pt x="2143" y="4222"/>
                  </a:lnTo>
                  <a:lnTo>
                    <a:pt x="2143" y="3466"/>
                  </a:lnTo>
                  <a:cubicBezTo>
                    <a:pt x="2805" y="3309"/>
                    <a:pt x="3372" y="2804"/>
                    <a:pt x="3529" y="2111"/>
                  </a:cubicBezTo>
                  <a:close/>
                  <a:moveTo>
                    <a:pt x="1797" y="1"/>
                  </a:moveTo>
                  <a:cubicBezTo>
                    <a:pt x="789" y="1"/>
                    <a:pt x="1" y="788"/>
                    <a:pt x="1" y="1796"/>
                  </a:cubicBezTo>
                  <a:cubicBezTo>
                    <a:pt x="1" y="2647"/>
                    <a:pt x="599" y="3372"/>
                    <a:pt x="1450" y="3529"/>
                  </a:cubicBezTo>
                  <a:lnTo>
                    <a:pt x="1450" y="4632"/>
                  </a:lnTo>
                  <a:cubicBezTo>
                    <a:pt x="1450" y="4821"/>
                    <a:pt x="1576" y="4978"/>
                    <a:pt x="1797" y="4978"/>
                  </a:cubicBezTo>
                  <a:lnTo>
                    <a:pt x="4601" y="4978"/>
                  </a:lnTo>
                  <a:cubicBezTo>
                    <a:pt x="4790" y="4978"/>
                    <a:pt x="4947" y="4821"/>
                    <a:pt x="4947" y="4632"/>
                  </a:cubicBezTo>
                  <a:lnTo>
                    <a:pt x="4947" y="1828"/>
                  </a:lnTo>
                  <a:cubicBezTo>
                    <a:pt x="4979" y="1576"/>
                    <a:pt x="4821" y="1418"/>
                    <a:pt x="4632" y="1418"/>
                  </a:cubicBezTo>
                  <a:lnTo>
                    <a:pt x="3529" y="1418"/>
                  </a:lnTo>
                  <a:cubicBezTo>
                    <a:pt x="3372" y="631"/>
                    <a:pt x="2647" y="1"/>
                    <a:pt x="1797"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755" name="Google Shape;10755;p113"/>
            <p:cNvSpPr/>
            <p:nvPr/>
          </p:nvSpPr>
          <p:spPr>
            <a:xfrm>
              <a:off x="-47842400" y="2342000"/>
              <a:ext cx="193000" cy="300875"/>
            </a:xfrm>
            <a:custGeom>
              <a:avLst/>
              <a:gdLst/>
              <a:ahLst/>
              <a:cxnLst/>
              <a:rect l="l" t="t" r="r" b="b"/>
              <a:pathLst>
                <a:path w="7720" h="12035" extrusionOk="0">
                  <a:moveTo>
                    <a:pt x="6995" y="725"/>
                  </a:moveTo>
                  <a:lnTo>
                    <a:pt x="6995" y="1418"/>
                  </a:lnTo>
                  <a:lnTo>
                    <a:pt x="662" y="1418"/>
                  </a:lnTo>
                  <a:lnTo>
                    <a:pt x="662" y="725"/>
                  </a:lnTo>
                  <a:close/>
                  <a:moveTo>
                    <a:pt x="7058" y="2142"/>
                  </a:moveTo>
                  <a:lnTo>
                    <a:pt x="7058" y="8506"/>
                  </a:lnTo>
                  <a:lnTo>
                    <a:pt x="694" y="8506"/>
                  </a:lnTo>
                  <a:lnTo>
                    <a:pt x="694" y="2142"/>
                  </a:lnTo>
                  <a:close/>
                  <a:moveTo>
                    <a:pt x="7058" y="9200"/>
                  </a:moveTo>
                  <a:lnTo>
                    <a:pt x="7058" y="11310"/>
                  </a:lnTo>
                  <a:lnTo>
                    <a:pt x="694" y="11310"/>
                  </a:lnTo>
                  <a:lnTo>
                    <a:pt x="694" y="9200"/>
                  </a:lnTo>
                  <a:close/>
                  <a:moveTo>
                    <a:pt x="347" y="0"/>
                  </a:moveTo>
                  <a:cubicBezTo>
                    <a:pt x="158" y="0"/>
                    <a:pt x="1" y="158"/>
                    <a:pt x="1" y="378"/>
                  </a:cubicBezTo>
                  <a:lnTo>
                    <a:pt x="1" y="11657"/>
                  </a:lnTo>
                  <a:cubicBezTo>
                    <a:pt x="1" y="11877"/>
                    <a:pt x="158" y="12035"/>
                    <a:pt x="347" y="12035"/>
                  </a:cubicBezTo>
                  <a:lnTo>
                    <a:pt x="7373" y="12035"/>
                  </a:lnTo>
                  <a:cubicBezTo>
                    <a:pt x="7562" y="12035"/>
                    <a:pt x="7719" y="11877"/>
                    <a:pt x="7719" y="11657"/>
                  </a:cubicBezTo>
                  <a:lnTo>
                    <a:pt x="7719" y="378"/>
                  </a:lnTo>
                  <a:cubicBezTo>
                    <a:pt x="7719" y="158"/>
                    <a:pt x="7562" y="0"/>
                    <a:pt x="7373"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756" name="Google Shape;10756;p113"/>
            <p:cNvSpPr/>
            <p:nvPr/>
          </p:nvSpPr>
          <p:spPr>
            <a:xfrm>
              <a:off x="-47772300" y="2589300"/>
              <a:ext cx="52800" cy="18150"/>
            </a:xfrm>
            <a:custGeom>
              <a:avLst/>
              <a:gdLst/>
              <a:ahLst/>
              <a:cxnLst/>
              <a:rect l="l" t="t" r="r" b="b"/>
              <a:pathLst>
                <a:path w="2112" h="726" extrusionOk="0">
                  <a:moveTo>
                    <a:pt x="347" y="1"/>
                  </a:moveTo>
                  <a:cubicBezTo>
                    <a:pt x="158" y="1"/>
                    <a:pt x="1" y="158"/>
                    <a:pt x="1" y="347"/>
                  </a:cubicBezTo>
                  <a:cubicBezTo>
                    <a:pt x="1" y="568"/>
                    <a:pt x="158" y="725"/>
                    <a:pt x="347" y="725"/>
                  </a:cubicBezTo>
                  <a:lnTo>
                    <a:pt x="1765" y="725"/>
                  </a:lnTo>
                  <a:cubicBezTo>
                    <a:pt x="1954" y="725"/>
                    <a:pt x="2111" y="568"/>
                    <a:pt x="2111" y="347"/>
                  </a:cubicBezTo>
                  <a:cubicBezTo>
                    <a:pt x="2111" y="158"/>
                    <a:pt x="1954" y="1"/>
                    <a:pt x="1765"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10757" name="Google Shape;10757;p113"/>
          <p:cNvGrpSpPr/>
          <p:nvPr/>
        </p:nvGrpSpPr>
        <p:grpSpPr>
          <a:xfrm>
            <a:off x="5292283" y="3286736"/>
            <a:ext cx="477639" cy="478872"/>
            <a:chOff x="-47896750" y="2710600"/>
            <a:chExt cx="300125" cy="300900"/>
          </a:xfrm>
        </p:grpSpPr>
        <p:sp>
          <p:nvSpPr>
            <p:cNvPr id="10758" name="Google Shape;10758;p113"/>
            <p:cNvSpPr/>
            <p:nvPr/>
          </p:nvSpPr>
          <p:spPr>
            <a:xfrm>
              <a:off x="-47896750" y="2710600"/>
              <a:ext cx="300125" cy="300900"/>
            </a:xfrm>
            <a:custGeom>
              <a:avLst/>
              <a:gdLst/>
              <a:ahLst/>
              <a:cxnLst/>
              <a:rect l="l" t="t" r="r" b="b"/>
              <a:pathLst>
                <a:path w="12005" h="12036" extrusionOk="0">
                  <a:moveTo>
                    <a:pt x="2836" y="756"/>
                  </a:moveTo>
                  <a:cubicBezTo>
                    <a:pt x="3246" y="756"/>
                    <a:pt x="3561" y="1072"/>
                    <a:pt x="3561" y="1450"/>
                  </a:cubicBezTo>
                  <a:lnTo>
                    <a:pt x="3561" y="2237"/>
                  </a:lnTo>
                  <a:cubicBezTo>
                    <a:pt x="3309" y="2206"/>
                    <a:pt x="3088" y="2174"/>
                    <a:pt x="2836" y="2174"/>
                  </a:cubicBezTo>
                  <a:cubicBezTo>
                    <a:pt x="2616" y="2174"/>
                    <a:pt x="2364" y="2206"/>
                    <a:pt x="2143" y="2237"/>
                  </a:cubicBezTo>
                  <a:lnTo>
                    <a:pt x="2143" y="1450"/>
                  </a:lnTo>
                  <a:cubicBezTo>
                    <a:pt x="2143" y="1072"/>
                    <a:pt x="2458" y="756"/>
                    <a:pt x="2836" y="756"/>
                  </a:cubicBezTo>
                  <a:close/>
                  <a:moveTo>
                    <a:pt x="5231" y="1450"/>
                  </a:moveTo>
                  <a:cubicBezTo>
                    <a:pt x="7026" y="1450"/>
                    <a:pt x="8539" y="2584"/>
                    <a:pt x="9106" y="4254"/>
                  </a:cubicBezTo>
                  <a:cubicBezTo>
                    <a:pt x="8854" y="4254"/>
                    <a:pt x="8633" y="4317"/>
                    <a:pt x="8444" y="4474"/>
                  </a:cubicBezTo>
                  <a:cubicBezTo>
                    <a:pt x="8003" y="3119"/>
                    <a:pt x="6743" y="2174"/>
                    <a:pt x="5231" y="2174"/>
                  </a:cubicBezTo>
                  <a:lnTo>
                    <a:pt x="4254" y="2174"/>
                  </a:lnTo>
                  <a:lnTo>
                    <a:pt x="4254" y="1450"/>
                  </a:lnTo>
                  <a:close/>
                  <a:moveTo>
                    <a:pt x="2868" y="2836"/>
                  </a:moveTo>
                  <a:cubicBezTo>
                    <a:pt x="4033" y="2836"/>
                    <a:pt x="4979" y="3781"/>
                    <a:pt x="4979" y="4947"/>
                  </a:cubicBezTo>
                  <a:lnTo>
                    <a:pt x="4979" y="5671"/>
                  </a:lnTo>
                  <a:lnTo>
                    <a:pt x="757" y="5671"/>
                  </a:lnTo>
                  <a:lnTo>
                    <a:pt x="757" y="4947"/>
                  </a:lnTo>
                  <a:cubicBezTo>
                    <a:pt x="757" y="3781"/>
                    <a:pt x="1702" y="2836"/>
                    <a:pt x="2868" y="2836"/>
                  </a:cubicBezTo>
                  <a:close/>
                  <a:moveTo>
                    <a:pt x="9169" y="4947"/>
                  </a:moveTo>
                  <a:cubicBezTo>
                    <a:pt x="9578" y="4947"/>
                    <a:pt x="9893" y="5262"/>
                    <a:pt x="9893" y="5671"/>
                  </a:cubicBezTo>
                  <a:cubicBezTo>
                    <a:pt x="9893" y="6049"/>
                    <a:pt x="9578" y="6364"/>
                    <a:pt x="9169" y="6364"/>
                  </a:cubicBezTo>
                  <a:cubicBezTo>
                    <a:pt x="8791" y="6364"/>
                    <a:pt x="8476" y="6049"/>
                    <a:pt x="8476" y="5671"/>
                  </a:cubicBezTo>
                  <a:cubicBezTo>
                    <a:pt x="8476" y="5262"/>
                    <a:pt x="8791" y="4947"/>
                    <a:pt x="9169" y="4947"/>
                  </a:cubicBezTo>
                  <a:close/>
                  <a:moveTo>
                    <a:pt x="9547" y="6994"/>
                  </a:moveTo>
                  <a:lnTo>
                    <a:pt x="9547" y="9924"/>
                  </a:lnTo>
                  <a:lnTo>
                    <a:pt x="8822" y="9924"/>
                  </a:lnTo>
                  <a:lnTo>
                    <a:pt x="8822" y="6994"/>
                  </a:lnTo>
                  <a:cubicBezTo>
                    <a:pt x="8948" y="7057"/>
                    <a:pt x="9074" y="7057"/>
                    <a:pt x="9169" y="7057"/>
                  </a:cubicBezTo>
                  <a:cubicBezTo>
                    <a:pt x="9295" y="7057"/>
                    <a:pt x="9421" y="7057"/>
                    <a:pt x="9547" y="6994"/>
                  </a:cubicBezTo>
                  <a:close/>
                  <a:moveTo>
                    <a:pt x="10208" y="10617"/>
                  </a:moveTo>
                  <a:cubicBezTo>
                    <a:pt x="10681" y="10617"/>
                    <a:pt x="11059" y="10933"/>
                    <a:pt x="11217" y="11342"/>
                  </a:cubicBezTo>
                  <a:lnTo>
                    <a:pt x="5703" y="11342"/>
                  </a:lnTo>
                  <a:cubicBezTo>
                    <a:pt x="5861" y="10933"/>
                    <a:pt x="6270" y="10617"/>
                    <a:pt x="6711" y="10617"/>
                  </a:cubicBezTo>
                  <a:close/>
                  <a:moveTo>
                    <a:pt x="2836" y="0"/>
                  </a:moveTo>
                  <a:cubicBezTo>
                    <a:pt x="2049" y="0"/>
                    <a:pt x="1419" y="630"/>
                    <a:pt x="1419" y="1418"/>
                  </a:cubicBezTo>
                  <a:lnTo>
                    <a:pt x="1419" y="2458"/>
                  </a:lnTo>
                  <a:cubicBezTo>
                    <a:pt x="599" y="2930"/>
                    <a:pt x="1" y="3844"/>
                    <a:pt x="1" y="4915"/>
                  </a:cubicBezTo>
                  <a:lnTo>
                    <a:pt x="1" y="5986"/>
                  </a:lnTo>
                  <a:cubicBezTo>
                    <a:pt x="1" y="6175"/>
                    <a:pt x="158" y="6333"/>
                    <a:pt x="347" y="6333"/>
                  </a:cubicBezTo>
                  <a:lnTo>
                    <a:pt x="5294" y="6333"/>
                  </a:lnTo>
                  <a:cubicBezTo>
                    <a:pt x="5483" y="6333"/>
                    <a:pt x="5640" y="6175"/>
                    <a:pt x="5640" y="5986"/>
                  </a:cubicBezTo>
                  <a:lnTo>
                    <a:pt x="5640" y="4915"/>
                  </a:lnTo>
                  <a:cubicBezTo>
                    <a:pt x="5640" y="4096"/>
                    <a:pt x="5294" y="3340"/>
                    <a:pt x="4695" y="2773"/>
                  </a:cubicBezTo>
                  <a:lnTo>
                    <a:pt x="5231" y="2773"/>
                  </a:lnTo>
                  <a:cubicBezTo>
                    <a:pt x="6585" y="2773"/>
                    <a:pt x="7688" y="3781"/>
                    <a:pt x="7877" y="5104"/>
                  </a:cubicBezTo>
                  <a:cubicBezTo>
                    <a:pt x="7846" y="5262"/>
                    <a:pt x="7814" y="5419"/>
                    <a:pt x="7814" y="5608"/>
                  </a:cubicBezTo>
                  <a:cubicBezTo>
                    <a:pt x="7814" y="5986"/>
                    <a:pt x="7909" y="6301"/>
                    <a:pt x="8161" y="6553"/>
                  </a:cubicBezTo>
                  <a:lnTo>
                    <a:pt x="8161" y="9924"/>
                  </a:lnTo>
                  <a:lnTo>
                    <a:pt x="7436" y="9924"/>
                  </a:lnTo>
                  <a:lnTo>
                    <a:pt x="7436" y="9546"/>
                  </a:lnTo>
                  <a:cubicBezTo>
                    <a:pt x="7436" y="9357"/>
                    <a:pt x="7278" y="9200"/>
                    <a:pt x="7089" y="9200"/>
                  </a:cubicBezTo>
                  <a:cubicBezTo>
                    <a:pt x="6900" y="9200"/>
                    <a:pt x="6743" y="9357"/>
                    <a:pt x="6743" y="9546"/>
                  </a:cubicBezTo>
                  <a:lnTo>
                    <a:pt x="6743" y="9924"/>
                  </a:lnTo>
                  <a:cubicBezTo>
                    <a:pt x="5766" y="9924"/>
                    <a:pt x="4979" y="10712"/>
                    <a:pt x="4979" y="11689"/>
                  </a:cubicBezTo>
                  <a:cubicBezTo>
                    <a:pt x="4979" y="11878"/>
                    <a:pt x="5136" y="12035"/>
                    <a:pt x="5325" y="12035"/>
                  </a:cubicBezTo>
                  <a:lnTo>
                    <a:pt x="11658" y="12035"/>
                  </a:lnTo>
                  <a:cubicBezTo>
                    <a:pt x="11847" y="12035"/>
                    <a:pt x="12004" y="11878"/>
                    <a:pt x="12004" y="11689"/>
                  </a:cubicBezTo>
                  <a:cubicBezTo>
                    <a:pt x="12004" y="11216"/>
                    <a:pt x="11815" y="10743"/>
                    <a:pt x="11500" y="10428"/>
                  </a:cubicBezTo>
                  <a:cubicBezTo>
                    <a:pt x="11154" y="10113"/>
                    <a:pt x="10713" y="9924"/>
                    <a:pt x="10240" y="9924"/>
                  </a:cubicBezTo>
                  <a:lnTo>
                    <a:pt x="10240" y="6585"/>
                  </a:lnTo>
                  <a:cubicBezTo>
                    <a:pt x="10492" y="6333"/>
                    <a:pt x="10587" y="5986"/>
                    <a:pt x="10587" y="5608"/>
                  </a:cubicBezTo>
                  <a:cubicBezTo>
                    <a:pt x="10587" y="5104"/>
                    <a:pt x="10334" y="4632"/>
                    <a:pt x="9893" y="4411"/>
                  </a:cubicBezTo>
                  <a:cubicBezTo>
                    <a:pt x="9641" y="3371"/>
                    <a:pt x="9106" y="2458"/>
                    <a:pt x="8287" y="1796"/>
                  </a:cubicBezTo>
                  <a:cubicBezTo>
                    <a:pt x="7405" y="1103"/>
                    <a:pt x="6333" y="693"/>
                    <a:pt x="5231" y="693"/>
                  </a:cubicBezTo>
                  <a:lnTo>
                    <a:pt x="4065" y="693"/>
                  </a:lnTo>
                  <a:cubicBezTo>
                    <a:pt x="3813" y="284"/>
                    <a:pt x="3340" y="0"/>
                    <a:pt x="2836"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759" name="Google Shape;10759;p113"/>
            <p:cNvSpPr/>
            <p:nvPr/>
          </p:nvSpPr>
          <p:spPr>
            <a:xfrm>
              <a:off x="-47834525" y="2904350"/>
              <a:ext cx="17350" cy="44125"/>
            </a:xfrm>
            <a:custGeom>
              <a:avLst/>
              <a:gdLst/>
              <a:ahLst/>
              <a:cxnLst/>
              <a:rect l="l" t="t" r="r" b="b"/>
              <a:pathLst>
                <a:path w="694" h="1765" extrusionOk="0">
                  <a:moveTo>
                    <a:pt x="347" y="1"/>
                  </a:moveTo>
                  <a:cubicBezTo>
                    <a:pt x="158" y="1"/>
                    <a:pt x="1" y="158"/>
                    <a:pt x="1" y="347"/>
                  </a:cubicBezTo>
                  <a:lnTo>
                    <a:pt x="1" y="1418"/>
                  </a:lnTo>
                  <a:cubicBezTo>
                    <a:pt x="1" y="1607"/>
                    <a:pt x="158" y="1765"/>
                    <a:pt x="347" y="1765"/>
                  </a:cubicBezTo>
                  <a:cubicBezTo>
                    <a:pt x="568" y="1765"/>
                    <a:pt x="694" y="1607"/>
                    <a:pt x="694" y="1418"/>
                  </a:cubicBezTo>
                  <a:lnTo>
                    <a:pt x="694" y="347"/>
                  </a:lnTo>
                  <a:cubicBezTo>
                    <a:pt x="694" y="158"/>
                    <a:pt x="568" y="1"/>
                    <a:pt x="347"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760" name="Google Shape;10760;p113"/>
            <p:cNvSpPr/>
            <p:nvPr/>
          </p:nvSpPr>
          <p:spPr>
            <a:xfrm>
              <a:off x="-47790400" y="2884475"/>
              <a:ext cx="38600" cy="36450"/>
            </a:xfrm>
            <a:custGeom>
              <a:avLst/>
              <a:gdLst/>
              <a:ahLst/>
              <a:cxnLst/>
              <a:rect l="l" t="t" r="r" b="b"/>
              <a:pathLst>
                <a:path w="1544" h="1458" extrusionOk="0">
                  <a:moveTo>
                    <a:pt x="437" y="0"/>
                  </a:moveTo>
                  <a:cubicBezTo>
                    <a:pt x="339" y="0"/>
                    <a:pt x="236" y="24"/>
                    <a:pt x="158" y="71"/>
                  </a:cubicBezTo>
                  <a:cubicBezTo>
                    <a:pt x="0" y="197"/>
                    <a:pt x="32" y="449"/>
                    <a:pt x="158" y="607"/>
                  </a:cubicBezTo>
                  <a:lnTo>
                    <a:pt x="914" y="1363"/>
                  </a:lnTo>
                  <a:cubicBezTo>
                    <a:pt x="1040" y="1457"/>
                    <a:pt x="1103" y="1457"/>
                    <a:pt x="1197" y="1457"/>
                  </a:cubicBezTo>
                  <a:cubicBezTo>
                    <a:pt x="1260" y="1457"/>
                    <a:pt x="1386" y="1426"/>
                    <a:pt x="1418" y="1363"/>
                  </a:cubicBezTo>
                  <a:cubicBezTo>
                    <a:pt x="1544" y="1237"/>
                    <a:pt x="1544" y="985"/>
                    <a:pt x="1418" y="827"/>
                  </a:cubicBezTo>
                  <a:lnTo>
                    <a:pt x="693" y="71"/>
                  </a:lnTo>
                  <a:cubicBezTo>
                    <a:pt x="630" y="24"/>
                    <a:pt x="536" y="0"/>
                    <a:pt x="437"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761" name="Google Shape;10761;p113"/>
            <p:cNvSpPr/>
            <p:nvPr/>
          </p:nvSpPr>
          <p:spPr>
            <a:xfrm>
              <a:off x="-47896750" y="2885150"/>
              <a:ext cx="37050" cy="37350"/>
            </a:xfrm>
            <a:custGeom>
              <a:avLst/>
              <a:gdLst/>
              <a:ahLst/>
              <a:cxnLst/>
              <a:rect l="l" t="t" r="r" b="b"/>
              <a:pathLst>
                <a:path w="1482" h="1494" extrusionOk="0">
                  <a:moveTo>
                    <a:pt x="1122" y="0"/>
                  </a:moveTo>
                  <a:cubicBezTo>
                    <a:pt x="1027" y="0"/>
                    <a:pt x="933" y="40"/>
                    <a:pt x="883" y="107"/>
                  </a:cubicBezTo>
                  <a:lnTo>
                    <a:pt x="127" y="863"/>
                  </a:lnTo>
                  <a:cubicBezTo>
                    <a:pt x="1" y="958"/>
                    <a:pt x="1" y="1210"/>
                    <a:pt x="127" y="1367"/>
                  </a:cubicBezTo>
                  <a:cubicBezTo>
                    <a:pt x="221" y="1430"/>
                    <a:pt x="284" y="1493"/>
                    <a:pt x="379" y="1493"/>
                  </a:cubicBezTo>
                  <a:cubicBezTo>
                    <a:pt x="442" y="1493"/>
                    <a:pt x="568" y="1430"/>
                    <a:pt x="599" y="1367"/>
                  </a:cubicBezTo>
                  <a:lnTo>
                    <a:pt x="1356" y="611"/>
                  </a:lnTo>
                  <a:cubicBezTo>
                    <a:pt x="1482" y="485"/>
                    <a:pt x="1482" y="264"/>
                    <a:pt x="1356" y="107"/>
                  </a:cubicBezTo>
                  <a:cubicBezTo>
                    <a:pt x="1296" y="33"/>
                    <a:pt x="1208" y="0"/>
                    <a:pt x="1122"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10762" name="Google Shape;10762;p113"/>
          <p:cNvGrpSpPr/>
          <p:nvPr/>
        </p:nvGrpSpPr>
        <p:grpSpPr>
          <a:xfrm>
            <a:off x="3499803" y="3918146"/>
            <a:ext cx="478872" cy="419988"/>
            <a:chOff x="-46033225" y="1982825"/>
            <a:chExt cx="300900" cy="263900"/>
          </a:xfrm>
        </p:grpSpPr>
        <p:sp>
          <p:nvSpPr>
            <p:cNvPr id="10763" name="Google Shape;10763;p113"/>
            <p:cNvSpPr/>
            <p:nvPr/>
          </p:nvSpPr>
          <p:spPr>
            <a:xfrm>
              <a:off x="-45962325" y="2053725"/>
              <a:ext cx="157525" cy="157550"/>
            </a:xfrm>
            <a:custGeom>
              <a:avLst/>
              <a:gdLst/>
              <a:ahLst/>
              <a:cxnLst/>
              <a:rect l="l" t="t" r="r" b="b"/>
              <a:pathLst>
                <a:path w="6301" h="6302" extrusionOk="0">
                  <a:moveTo>
                    <a:pt x="3151" y="725"/>
                  </a:moveTo>
                  <a:cubicBezTo>
                    <a:pt x="4505" y="725"/>
                    <a:pt x="5608" y="1828"/>
                    <a:pt x="5608" y="3151"/>
                  </a:cubicBezTo>
                  <a:cubicBezTo>
                    <a:pt x="5608" y="4506"/>
                    <a:pt x="4505" y="5608"/>
                    <a:pt x="3151" y="5608"/>
                  </a:cubicBezTo>
                  <a:cubicBezTo>
                    <a:pt x="1827" y="5608"/>
                    <a:pt x="725" y="4474"/>
                    <a:pt x="725" y="3151"/>
                  </a:cubicBezTo>
                  <a:cubicBezTo>
                    <a:pt x="725" y="1828"/>
                    <a:pt x="1827" y="725"/>
                    <a:pt x="3151" y="725"/>
                  </a:cubicBezTo>
                  <a:close/>
                  <a:moveTo>
                    <a:pt x="3151" y="0"/>
                  </a:moveTo>
                  <a:cubicBezTo>
                    <a:pt x="1418" y="0"/>
                    <a:pt x="0" y="1418"/>
                    <a:pt x="0" y="3151"/>
                  </a:cubicBezTo>
                  <a:cubicBezTo>
                    <a:pt x="0" y="4884"/>
                    <a:pt x="1418" y="6301"/>
                    <a:pt x="3151" y="6301"/>
                  </a:cubicBezTo>
                  <a:cubicBezTo>
                    <a:pt x="4883" y="6301"/>
                    <a:pt x="6301" y="4884"/>
                    <a:pt x="6301" y="3151"/>
                  </a:cubicBezTo>
                  <a:cubicBezTo>
                    <a:pt x="6301" y="1418"/>
                    <a:pt x="4883" y="0"/>
                    <a:pt x="3151"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764" name="Google Shape;10764;p113"/>
            <p:cNvSpPr/>
            <p:nvPr/>
          </p:nvSpPr>
          <p:spPr>
            <a:xfrm>
              <a:off x="-45927675" y="2088375"/>
              <a:ext cx="89025" cy="88250"/>
            </a:xfrm>
            <a:custGeom>
              <a:avLst/>
              <a:gdLst/>
              <a:ahLst/>
              <a:cxnLst/>
              <a:rect l="l" t="t" r="r" b="b"/>
              <a:pathLst>
                <a:path w="3561" h="3530" extrusionOk="0">
                  <a:moveTo>
                    <a:pt x="1765" y="694"/>
                  </a:moveTo>
                  <a:cubicBezTo>
                    <a:pt x="2363" y="694"/>
                    <a:pt x="2836" y="1166"/>
                    <a:pt x="2836" y="1765"/>
                  </a:cubicBezTo>
                  <a:cubicBezTo>
                    <a:pt x="2804" y="2363"/>
                    <a:pt x="2332" y="2836"/>
                    <a:pt x="1765" y="2836"/>
                  </a:cubicBezTo>
                  <a:cubicBezTo>
                    <a:pt x="1197" y="2836"/>
                    <a:pt x="725" y="2363"/>
                    <a:pt x="725" y="1765"/>
                  </a:cubicBezTo>
                  <a:cubicBezTo>
                    <a:pt x="725" y="1166"/>
                    <a:pt x="1197" y="694"/>
                    <a:pt x="1765" y="694"/>
                  </a:cubicBezTo>
                  <a:close/>
                  <a:moveTo>
                    <a:pt x="1765" y="1"/>
                  </a:moveTo>
                  <a:cubicBezTo>
                    <a:pt x="788" y="1"/>
                    <a:pt x="0" y="788"/>
                    <a:pt x="0" y="1765"/>
                  </a:cubicBezTo>
                  <a:cubicBezTo>
                    <a:pt x="0" y="2741"/>
                    <a:pt x="788" y="3529"/>
                    <a:pt x="1765" y="3529"/>
                  </a:cubicBezTo>
                  <a:cubicBezTo>
                    <a:pt x="2773" y="3529"/>
                    <a:pt x="3560" y="2741"/>
                    <a:pt x="3560" y="1765"/>
                  </a:cubicBezTo>
                  <a:cubicBezTo>
                    <a:pt x="3497" y="788"/>
                    <a:pt x="2710" y="1"/>
                    <a:pt x="1765"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765" name="Google Shape;10765;p113"/>
            <p:cNvSpPr/>
            <p:nvPr/>
          </p:nvSpPr>
          <p:spPr>
            <a:xfrm>
              <a:off x="-46033225" y="1982825"/>
              <a:ext cx="300900" cy="263900"/>
            </a:xfrm>
            <a:custGeom>
              <a:avLst/>
              <a:gdLst/>
              <a:ahLst/>
              <a:cxnLst/>
              <a:rect l="l" t="t" r="r" b="b"/>
              <a:pathLst>
                <a:path w="12036" h="10556" extrusionOk="0">
                  <a:moveTo>
                    <a:pt x="7184" y="726"/>
                  </a:moveTo>
                  <a:lnTo>
                    <a:pt x="7530" y="1419"/>
                  </a:lnTo>
                  <a:lnTo>
                    <a:pt x="4474" y="1419"/>
                  </a:lnTo>
                  <a:lnTo>
                    <a:pt x="4821" y="726"/>
                  </a:lnTo>
                  <a:close/>
                  <a:moveTo>
                    <a:pt x="694" y="3750"/>
                  </a:moveTo>
                  <a:lnTo>
                    <a:pt x="1387" y="4097"/>
                  </a:lnTo>
                  <a:lnTo>
                    <a:pt x="1387" y="7877"/>
                  </a:lnTo>
                  <a:lnTo>
                    <a:pt x="694" y="8224"/>
                  </a:lnTo>
                  <a:lnTo>
                    <a:pt x="694" y="3750"/>
                  </a:lnTo>
                  <a:close/>
                  <a:moveTo>
                    <a:pt x="11279" y="3750"/>
                  </a:moveTo>
                  <a:lnTo>
                    <a:pt x="11279" y="8224"/>
                  </a:lnTo>
                  <a:lnTo>
                    <a:pt x="10555" y="7877"/>
                  </a:lnTo>
                  <a:lnTo>
                    <a:pt x="10555" y="4097"/>
                  </a:lnTo>
                  <a:lnTo>
                    <a:pt x="11279" y="3750"/>
                  </a:lnTo>
                  <a:close/>
                  <a:moveTo>
                    <a:pt x="10933" y="2175"/>
                  </a:moveTo>
                  <a:cubicBezTo>
                    <a:pt x="11122" y="2175"/>
                    <a:pt x="11279" y="2332"/>
                    <a:pt x="11279" y="2521"/>
                  </a:cubicBezTo>
                  <a:lnTo>
                    <a:pt x="11279" y="2994"/>
                  </a:lnTo>
                  <a:lnTo>
                    <a:pt x="10051" y="3592"/>
                  </a:lnTo>
                  <a:cubicBezTo>
                    <a:pt x="9925" y="3655"/>
                    <a:pt x="9862" y="3781"/>
                    <a:pt x="9862" y="3908"/>
                  </a:cubicBezTo>
                  <a:lnTo>
                    <a:pt x="9862" y="8098"/>
                  </a:lnTo>
                  <a:cubicBezTo>
                    <a:pt x="9862" y="8224"/>
                    <a:pt x="9925" y="8350"/>
                    <a:pt x="10051" y="8444"/>
                  </a:cubicBezTo>
                  <a:lnTo>
                    <a:pt x="11279" y="9011"/>
                  </a:lnTo>
                  <a:lnTo>
                    <a:pt x="11279" y="9484"/>
                  </a:lnTo>
                  <a:cubicBezTo>
                    <a:pt x="11279" y="9704"/>
                    <a:pt x="11122" y="9830"/>
                    <a:pt x="10933" y="9830"/>
                  </a:cubicBezTo>
                  <a:lnTo>
                    <a:pt x="1040" y="9830"/>
                  </a:lnTo>
                  <a:cubicBezTo>
                    <a:pt x="851" y="9830"/>
                    <a:pt x="694" y="9673"/>
                    <a:pt x="694" y="9484"/>
                  </a:cubicBezTo>
                  <a:lnTo>
                    <a:pt x="694" y="9011"/>
                  </a:lnTo>
                  <a:lnTo>
                    <a:pt x="1891" y="8444"/>
                  </a:lnTo>
                  <a:cubicBezTo>
                    <a:pt x="2017" y="8350"/>
                    <a:pt x="2111" y="8224"/>
                    <a:pt x="2111" y="8098"/>
                  </a:cubicBezTo>
                  <a:lnTo>
                    <a:pt x="2111" y="3908"/>
                  </a:lnTo>
                  <a:cubicBezTo>
                    <a:pt x="2111" y="3781"/>
                    <a:pt x="2017" y="3655"/>
                    <a:pt x="1891" y="3592"/>
                  </a:cubicBezTo>
                  <a:lnTo>
                    <a:pt x="694" y="2994"/>
                  </a:lnTo>
                  <a:lnTo>
                    <a:pt x="694" y="2521"/>
                  </a:lnTo>
                  <a:cubicBezTo>
                    <a:pt x="694" y="2332"/>
                    <a:pt x="851" y="2175"/>
                    <a:pt x="1040" y="2175"/>
                  </a:cubicBezTo>
                  <a:close/>
                  <a:moveTo>
                    <a:pt x="4632" y="1"/>
                  </a:moveTo>
                  <a:cubicBezTo>
                    <a:pt x="4506" y="1"/>
                    <a:pt x="4380" y="95"/>
                    <a:pt x="4317" y="190"/>
                  </a:cubicBezTo>
                  <a:lnTo>
                    <a:pt x="3718" y="1419"/>
                  </a:lnTo>
                  <a:lnTo>
                    <a:pt x="2143" y="1419"/>
                  </a:lnTo>
                  <a:lnTo>
                    <a:pt x="2143" y="1072"/>
                  </a:lnTo>
                  <a:cubicBezTo>
                    <a:pt x="2143" y="883"/>
                    <a:pt x="1985" y="694"/>
                    <a:pt x="1796" y="694"/>
                  </a:cubicBezTo>
                  <a:cubicBezTo>
                    <a:pt x="1576" y="694"/>
                    <a:pt x="1418" y="883"/>
                    <a:pt x="1418" y="1072"/>
                  </a:cubicBezTo>
                  <a:lnTo>
                    <a:pt x="1418" y="1419"/>
                  </a:lnTo>
                  <a:lnTo>
                    <a:pt x="1072" y="1419"/>
                  </a:lnTo>
                  <a:cubicBezTo>
                    <a:pt x="473" y="1419"/>
                    <a:pt x="1" y="1891"/>
                    <a:pt x="1" y="2490"/>
                  </a:cubicBezTo>
                  <a:lnTo>
                    <a:pt x="1" y="9484"/>
                  </a:lnTo>
                  <a:cubicBezTo>
                    <a:pt x="1" y="10082"/>
                    <a:pt x="473" y="10555"/>
                    <a:pt x="1072" y="10555"/>
                  </a:cubicBezTo>
                  <a:lnTo>
                    <a:pt x="10964" y="10555"/>
                  </a:lnTo>
                  <a:cubicBezTo>
                    <a:pt x="11563" y="10555"/>
                    <a:pt x="12035" y="10082"/>
                    <a:pt x="12035" y="9484"/>
                  </a:cubicBezTo>
                  <a:lnTo>
                    <a:pt x="12035" y="2490"/>
                  </a:lnTo>
                  <a:cubicBezTo>
                    <a:pt x="12004" y="1891"/>
                    <a:pt x="11500" y="1419"/>
                    <a:pt x="10933" y="1419"/>
                  </a:cubicBezTo>
                  <a:lnTo>
                    <a:pt x="8318" y="1419"/>
                  </a:lnTo>
                  <a:lnTo>
                    <a:pt x="7719" y="190"/>
                  </a:lnTo>
                  <a:cubicBezTo>
                    <a:pt x="7656" y="95"/>
                    <a:pt x="7530" y="1"/>
                    <a:pt x="7404"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10766" name="Google Shape;10766;p113"/>
          <p:cNvGrpSpPr/>
          <p:nvPr/>
        </p:nvGrpSpPr>
        <p:grpSpPr>
          <a:xfrm>
            <a:off x="3495426" y="4487822"/>
            <a:ext cx="487625" cy="434868"/>
            <a:chOff x="-46034000" y="2334500"/>
            <a:chExt cx="306400" cy="273250"/>
          </a:xfrm>
        </p:grpSpPr>
        <p:sp>
          <p:nvSpPr>
            <p:cNvPr id="10767" name="Google Shape;10767;p113"/>
            <p:cNvSpPr/>
            <p:nvPr/>
          </p:nvSpPr>
          <p:spPr>
            <a:xfrm>
              <a:off x="-46034000" y="2334500"/>
              <a:ext cx="306400" cy="273250"/>
            </a:xfrm>
            <a:custGeom>
              <a:avLst/>
              <a:gdLst/>
              <a:ahLst/>
              <a:cxnLst/>
              <a:rect l="l" t="t" r="r" b="b"/>
              <a:pathLst>
                <a:path w="12256" h="10930" extrusionOk="0">
                  <a:moveTo>
                    <a:pt x="9519" y="718"/>
                  </a:moveTo>
                  <a:cubicBezTo>
                    <a:pt x="9971" y="718"/>
                    <a:pt x="10428" y="883"/>
                    <a:pt x="10775" y="1214"/>
                  </a:cubicBezTo>
                  <a:cubicBezTo>
                    <a:pt x="11499" y="1875"/>
                    <a:pt x="11499" y="2978"/>
                    <a:pt x="10806" y="3640"/>
                  </a:cubicBezTo>
                  <a:lnTo>
                    <a:pt x="5734" y="8743"/>
                  </a:lnTo>
                  <a:lnTo>
                    <a:pt x="3403" y="8113"/>
                  </a:lnTo>
                  <a:lnTo>
                    <a:pt x="3214" y="6286"/>
                  </a:lnTo>
                  <a:lnTo>
                    <a:pt x="8286" y="1214"/>
                  </a:lnTo>
                  <a:cubicBezTo>
                    <a:pt x="8617" y="883"/>
                    <a:pt x="9066" y="718"/>
                    <a:pt x="9519" y="718"/>
                  </a:cubicBezTo>
                  <a:close/>
                  <a:moveTo>
                    <a:pt x="2678" y="7830"/>
                  </a:moveTo>
                  <a:lnTo>
                    <a:pt x="2773" y="8460"/>
                  </a:lnTo>
                  <a:cubicBezTo>
                    <a:pt x="2773" y="8617"/>
                    <a:pt x="2867" y="8743"/>
                    <a:pt x="3025" y="8775"/>
                  </a:cubicBezTo>
                  <a:lnTo>
                    <a:pt x="4411" y="9121"/>
                  </a:lnTo>
                  <a:lnTo>
                    <a:pt x="3277" y="10224"/>
                  </a:lnTo>
                  <a:lnTo>
                    <a:pt x="1040" y="9500"/>
                  </a:lnTo>
                  <a:lnTo>
                    <a:pt x="2678" y="7830"/>
                  </a:lnTo>
                  <a:close/>
                  <a:moveTo>
                    <a:pt x="9578" y="1"/>
                  </a:moveTo>
                  <a:cubicBezTo>
                    <a:pt x="8947" y="1"/>
                    <a:pt x="8317" y="237"/>
                    <a:pt x="7845" y="710"/>
                  </a:cubicBezTo>
                  <a:lnTo>
                    <a:pt x="2647" y="5908"/>
                  </a:lnTo>
                  <a:cubicBezTo>
                    <a:pt x="2583" y="5971"/>
                    <a:pt x="2520" y="6097"/>
                    <a:pt x="2520" y="6160"/>
                  </a:cubicBezTo>
                  <a:lnTo>
                    <a:pt x="2615" y="6885"/>
                  </a:lnTo>
                  <a:lnTo>
                    <a:pt x="126" y="9373"/>
                  </a:lnTo>
                  <a:cubicBezTo>
                    <a:pt x="32" y="9437"/>
                    <a:pt x="0" y="9563"/>
                    <a:pt x="32" y="9689"/>
                  </a:cubicBezTo>
                  <a:cubicBezTo>
                    <a:pt x="95" y="9815"/>
                    <a:pt x="158" y="9878"/>
                    <a:pt x="284" y="9909"/>
                  </a:cubicBezTo>
                  <a:lnTo>
                    <a:pt x="3277" y="10917"/>
                  </a:lnTo>
                  <a:cubicBezTo>
                    <a:pt x="3308" y="10925"/>
                    <a:pt x="3342" y="10929"/>
                    <a:pt x="3375" y="10929"/>
                  </a:cubicBezTo>
                  <a:cubicBezTo>
                    <a:pt x="3475" y="10929"/>
                    <a:pt x="3576" y="10894"/>
                    <a:pt x="3623" y="10823"/>
                  </a:cubicBezTo>
                  <a:lnTo>
                    <a:pt x="5198" y="9247"/>
                  </a:lnTo>
                  <a:lnTo>
                    <a:pt x="5797" y="9405"/>
                  </a:lnTo>
                  <a:cubicBezTo>
                    <a:pt x="5831" y="9413"/>
                    <a:pt x="5865" y="9417"/>
                    <a:pt x="5898" y="9417"/>
                  </a:cubicBezTo>
                  <a:cubicBezTo>
                    <a:pt x="5988" y="9417"/>
                    <a:pt x="6074" y="9388"/>
                    <a:pt x="6144" y="9342"/>
                  </a:cubicBezTo>
                  <a:lnTo>
                    <a:pt x="11342" y="4144"/>
                  </a:lnTo>
                  <a:cubicBezTo>
                    <a:pt x="12256" y="3230"/>
                    <a:pt x="12256" y="1655"/>
                    <a:pt x="11310" y="710"/>
                  </a:cubicBezTo>
                  <a:cubicBezTo>
                    <a:pt x="10838" y="237"/>
                    <a:pt x="10208" y="1"/>
                    <a:pt x="9578"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768" name="Google Shape;10768;p113"/>
            <p:cNvSpPr/>
            <p:nvPr/>
          </p:nvSpPr>
          <p:spPr>
            <a:xfrm>
              <a:off x="-45879625" y="2374275"/>
              <a:ext cx="105550" cy="104000"/>
            </a:xfrm>
            <a:custGeom>
              <a:avLst/>
              <a:gdLst/>
              <a:ahLst/>
              <a:cxnLst/>
              <a:rect l="l" t="t" r="r" b="b"/>
              <a:pathLst>
                <a:path w="4222" h="4160" extrusionOk="0">
                  <a:moveTo>
                    <a:pt x="2899" y="788"/>
                  </a:moveTo>
                  <a:lnTo>
                    <a:pt x="3403" y="1324"/>
                  </a:lnTo>
                  <a:lnTo>
                    <a:pt x="2899" y="1828"/>
                  </a:lnTo>
                  <a:lnTo>
                    <a:pt x="2363" y="1324"/>
                  </a:lnTo>
                  <a:lnTo>
                    <a:pt x="2899" y="788"/>
                  </a:lnTo>
                  <a:close/>
                  <a:moveTo>
                    <a:pt x="1859" y="1828"/>
                  </a:moveTo>
                  <a:lnTo>
                    <a:pt x="2363" y="2332"/>
                  </a:lnTo>
                  <a:lnTo>
                    <a:pt x="1386" y="3340"/>
                  </a:lnTo>
                  <a:lnTo>
                    <a:pt x="882" y="2805"/>
                  </a:lnTo>
                  <a:lnTo>
                    <a:pt x="1859" y="1828"/>
                  </a:lnTo>
                  <a:close/>
                  <a:moveTo>
                    <a:pt x="2879" y="1"/>
                  </a:moveTo>
                  <a:cubicBezTo>
                    <a:pt x="2788" y="1"/>
                    <a:pt x="2694" y="32"/>
                    <a:pt x="2615" y="95"/>
                  </a:cubicBezTo>
                  <a:lnTo>
                    <a:pt x="126" y="2584"/>
                  </a:lnTo>
                  <a:cubicBezTo>
                    <a:pt x="0" y="2710"/>
                    <a:pt x="0" y="2931"/>
                    <a:pt x="126" y="3088"/>
                  </a:cubicBezTo>
                  <a:lnTo>
                    <a:pt x="1103" y="4065"/>
                  </a:lnTo>
                  <a:cubicBezTo>
                    <a:pt x="1166" y="4128"/>
                    <a:pt x="1260" y="4159"/>
                    <a:pt x="1359" y="4159"/>
                  </a:cubicBezTo>
                  <a:cubicBezTo>
                    <a:pt x="1457" y="4159"/>
                    <a:pt x="1560" y="4128"/>
                    <a:pt x="1638" y="4065"/>
                  </a:cubicBezTo>
                  <a:lnTo>
                    <a:pt x="4096" y="1608"/>
                  </a:lnTo>
                  <a:cubicBezTo>
                    <a:pt x="4222" y="1482"/>
                    <a:pt x="4222" y="1229"/>
                    <a:pt x="4096" y="1072"/>
                  </a:cubicBezTo>
                  <a:lnTo>
                    <a:pt x="3119" y="95"/>
                  </a:lnTo>
                  <a:cubicBezTo>
                    <a:pt x="3056" y="32"/>
                    <a:pt x="2969" y="1"/>
                    <a:pt x="2879"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769" name="Google Shape;10769;p113"/>
            <p:cNvSpPr/>
            <p:nvPr/>
          </p:nvSpPr>
          <p:spPr>
            <a:xfrm>
              <a:off x="-45922950" y="2474125"/>
              <a:ext cx="49625" cy="47475"/>
            </a:xfrm>
            <a:custGeom>
              <a:avLst/>
              <a:gdLst/>
              <a:ahLst/>
              <a:cxnLst/>
              <a:rect l="l" t="t" r="r" b="b"/>
              <a:pathLst>
                <a:path w="1985" h="1899" extrusionOk="0">
                  <a:moveTo>
                    <a:pt x="1607" y="0"/>
                  </a:moveTo>
                  <a:cubicBezTo>
                    <a:pt x="1520" y="0"/>
                    <a:pt x="1434" y="24"/>
                    <a:pt x="1355" y="71"/>
                  </a:cubicBezTo>
                  <a:lnTo>
                    <a:pt x="126" y="1300"/>
                  </a:lnTo>
                  <a:cubicBezTo>
                    <a:pt x="0" y="1426"/>
                    <a:pt x="0" y="1646"/>
                    <a:pt x="126" y="1804"/>
                  </a:cubicBezTo>
                  <a:cubicBezTo>
                    <a:pt x="189" y="1867"/>
                    <a:pt x="276" y="1898"/>
                    <a:pt x="367" y="1898"/>
                  </a:cubicBezTo>
                  <a:cubicBezTo>
                    <a:pt x="457" y="1898"/>
                    <a:pt x="552" y="1867"/>
                    <a:pt x="630" y="1804"/>
                  </a:cubicBezTo>
                  <a:lnTo>
                    <a:pt x="1859" y="607"/>
                  </a:lnTo>
                  <a:cubicBezTo>
                    <a:pt x="1985" y="480"/>
                    <a:pt x="1985" y="228"/>
                    <a:pt x="1859" y="71"/>
                  </a:cubicBezTo>
                  <a:cubicBezTo>
                    <a:pt x="1780" y="24"/>
                    <a:pt x="1694" y="0"/>
                    <a:pt x="1607"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10770" name="Google Shape;10770;p113"/>
          <p:cNvGrpSpPr/>
          <p:nvPr/>
        </p:nvGrpSpPr>
        <p:grpSpPr>
          <a:xfrm>
            <a:off x="3556837" y="5093674"/>
            <a:ext cx="364804" cy="475252"/>
            <a:chOff x="-45998575" y="2702625"/>
            <a:chExt cx="229225" cy="298625"/>
          </a:xfrm>
        </p:grpSpPr>
        <p:sp>
          <p:nvSpPr>
            <p:cNvPr id="10771" name="Google Shape;10771;p113"/>
            <p:cNvSpPr/>
            <p:nvPr/>
          </p:nvSpPr>
          <p:spPr>
            <a:xfrm>
              <a:off x="-45944225" y="2702625"/>
              <a:ext cx="125250" cy="298625"/>
            </a:xfrm>
            <a:custGeom>
              <a:avLst/>
              <a:gdLst/>
              <a:ahLst/>
              <a:cxnLst/>
              <a:rect l="l" t="t" r="r" b="b"/>
              <a:pathLst>
                <a:path w="5010" h="11945" extrusionOk="0">
                  <a:moveTo>
                    <a:pt x="2427" y="682"/>
                  </a:moveTo>
                  <a:cubicBezTo>
                    <a:pt x="2860" y="682"/>
                    <a:pt x="3308" y="817"/>
                    <a:pt x="3624" y="1107"/>
                  </a:cubicBezTo>
                  <a:cubicBezTo>
                    <a:pt x="4033" y="1454"/>
                    <a:pt x="4254" y="1926"/>
                    <a:pt x="4254" y="2430"/>
                  </a:cubicBezTo>
                  <a:cubicBezTo>
                    <a:pt x="4159" y="2745"/>
                    <a:pt x="4096" y="3060"/>
                    <a:pt x="3939" y="3344"/>
                  </a:cubicBezTo>
                  <a:cubicBezTo>
                    <a:pt x="3844" y="3470"/>
                    <a:pt x="3813" y="3533"/>
                    <a:pt x="3750" y="3659"/>
                  </a:cubicBezTo>
                  <a:cubicBezTo>
                    <a:pt x="3498" y="4005"/>
                    <a:pt x="3214" y="4446"/>
                    <a:pt x="3151" y="4919"/>
                  </a:cubicBezTo>
                  <a:lnTo>
                    <a:pt x="2805" y="4919"/>
                  </a:lnTo>
                  <a:lnTo>
                    <a:pt x="2805" y="2808"/>
                  </a:lnTo>
                  <a:lnTo>
                    <a:pt x="3151" y="2808"/>
                  </a:lnTo>
                  <a:cubicBezTo>
                    <a:pt x="3340" y="2808"/>
                    <a:pt x="3498" y="2651"/>
                    <a:pt x="3498" y="2430"/>
                  </a:cubicBezTo>
                  <a:cubicBezTo>
                    <a:pt x="3498" y="2241"/>
                    <a:pt x="3340" y="2084"/>
                    <a:pt x="3151" y="2084"/>
                  </a:cubicBezTo>
                  <a:lnTo>
                    <a:pt x="1733" y="2084"/>
                  </a:lnTo>
                  <a:cubicBezTo>
                    <a:pt x="1544" y="2084"/>
                    <a:pt x="1387" y="2241"/>
                    <a:pt x="1387" y="2430"/>
                  </a:cubicBezTo>
                  <a:cubicBezTo>
                    <a:pt x="1387" y="2651"/>
                    <a:pt x="1544" y="2808"/>
                    <a:pt x="1733" y="2808"/>
                  </a:cubicBezTo>
                  <a:lnTo>
                    <a:pt x="2080" y="2808"/>
                  </a:lnTo>
                  <a:lnTo>
                    <a:pt x="2080" y="4919"/>
                  </a:lnTo>
                  <a:lnTo>
                    <a:pt x="1733" y="4919"/>
                  </a:lnTo>
                  <a:cubicBezTo>
                    <a:pt x="1639" y="4478"/>
                    <a:pt x="1418" y="4100"/>
                    <a:pt x="1166" y="3690"/>
                  </a:cubicBezTo>
                  <a:cubicBezTo>
                    <a:pt x="1072" y="3533"/>
                    <a:pt x="977" y="3375"/>
                    <a:pt x="914" y="3218"/>
                  </a:cubicBezTo>
                  <a:cubicBezTo>
                    <a:pt x="757" y="2871"/>
                    <a:pt x="662" y="2525"/>
                    <a:pt x="757" y="2115"/>
                  </a:cubicBezTo>
                  <a:cubicBezTo>
                    <a:pt x="883" y="1422"/>
                    <a:pt x="1450" y="823"/>
                    <a:pt x="2174" y="697"/>
                  </a:cubicBezTo>
                  <a:cubicBezTo>
                    <a:pt x="2257" y="687"/>
                    <a:pt x="2342" y="682"/>
                    <a:pt x="2427" y="682"/>
                  </a:cubicBezTo>
                  <a:close/>
                  <a:moveTo>
                    <a:pt x="3151" y="5644"/>
                  </a:moveTo>
                  <a:lnTo>
                    <a:pt x="3151" y="6337"/>
                  </a:lnTo>
                  <a:lnTo>
                    <a:pt x="1733" y="6337"/>
                  </a:lnTo>
                  <a:lnTo>
                    <a:pt x="1733" y="5644"/>
                  </a:lnTo>
                  <a:close/>
                  <a:moveTo>
                    <a:pt x="3151" y="7061"/>
                  </a:moveTo>
                  <a:lnTo>
                    <a:pt x="3151" y="8983"/>
                  </a:lnTo>
                  <a:cubicBezTo>
                    <a:pt x="2915" y="8904"/>
                    <a:pt x="2671" y="8865"/>
                    <a:pt x="2430" y="8865"/>
                  </a:cubicBezTo>
                  <a:cubicBezTo>
                    <a:pt x="2190" y="8865"/>
                    <a:pt x="1954" y="8904"/>
                    <a:pt x="1733" y="8983"/>
                  </a:cubicBezTo>
                  <a:lnTo>
                    <a:pt x="1733" y="7061"/>
                  </a:lnTo>
                  <a:close/>
                  <a:moveTo>
                    <a:pt x="2442" y="9558"/>
                  </a:moveTo>
                  <a:cubicBezTo>
                    <a:pt x="2639" y="9558"/>
                    <a:pt x="2836" y="9598"/>
                    <a:pt x="3025" y="9676"/>
                  </a:cubicBezTo>
                  <a:lnTo>
                    <a:pt x="2427" y="10873"/>
                  </a:lnTo>
                  <a:lnTo>
                    <a:pt x="1859" y="9676"/>
                  </a:lnTo>
                  <a:cubicBezTo>
                    <a:pt x="2048" y="9598"/>
                    <a:pt x="2245" y="9558"/>
                    <a:pt x="2442" y="9558"/>
                  </a:cubicBezTo>
                  <a:close/>
                  <a:moveTo>
                    <a:pt x="2441" y="1"/>
                  </a:moveTo>
                  <a:cubicBezTo>
                    <a:pt x="2309" y="1"/>
                    <a:pt x="2178" y="12"/>
                    <a:pt x="2048" y="36"/>
                  </a:cubicBezTo>
                  <a:cubicBezTo>
                    <a:pt x="1072" y="193"/>
                    <a:pt x="221" y="1012"/>
                    <a:pt x="64" y="1989"/>
                  </a:cubicBezTo>
                  <a:cubicBezTo>
                    <a:pt x="1" y="2556"/>
                    <a:pt x="64" y="3060"/>
                    <a:pt x="316" y="3533"/>
                  </a:cubicBezTo>
                  <a:cubicBezTo>
                    <a:pt x="379" y="3753"/>
                    <a:pt x="505" y="3911"/>
                    <a:pt x="631" y="4068"/>
                  </a:cubicBezTo>
                  <a:cubicBezTo>
                    <a:pt x="820" y="4320"/>
                    <a:pt x="977" y="4604"/>
                    <a:pt x="1072" y="4888"/>
                  </a:cubicBezTo>
                  <a:lnTo>
                    <a:pt x="410" y="4888"/>
                  </a:lnTo>
                  <a:cubicBezTo>
                    <a:pt x="190" y="4888"/>
                    <a:pt x="32" y="5045"/>
                    <a:pt x="32" y="5234"/>
                  </a:cubicBezTo>
                  <a:cubicBezTo>
                    <a:pt x="32" y="5423"/>
                    <a:pt x="190" y="5581"/>
                    <a:pt x="410" y="5581"/>
                  </a:cubicBezTo>
                  <a:lnTo>
                    <a:pt x="1103" y="5581"/>
                  </a:lnTo>
                  <a:lnTo>
                    <a:pt x="1103" y="9487"/>
                  </a:lnTo>
                  <a:cubicBezTo>
                    <a:pt x="1103" y="9645"/>
                    <a:pt x="1103" y="9582"/>
                    <a:pt x="2206" y="11724"/>
                  </a:cubicBezTo>
                  <a:cubicBezTo>
                    <a:pt x="2301" y="11850"/>
                    <a:pt x="2395" y="11945"/>
                    <a:pt x="2521" y="11945"/>
                  </a:cubicBezTo>
                  <a:cubicBezTo>
                    <a:pt x="2647" y="11945"/>
                    <a:pt x="2773" y="11850"/>
                    <a:pt x="2836" y="11724"/>
                  </a:cubicBezTo>
                  <a:cubicBezTo>
                    <a:pt x="3939" y="9519"/>
                    <a:pt x="3939" y="9613"/>
                    <a:pt x="3939" y="9487"/>
                  </a:cubicBezTo>
                  <a:lnTo>
                    <a:pt x="3939" y="5581"/>
                  </a:lnTo>
                  <a:lnTo>
                    <a:pt x="4663" y="5581"/>
                  </a:lnTo>
                  <a:cubicBezTo>
                    <a:pt x="4852" y="5581"/>
                    <a:pt x="5010" y="5423"/>
                    <a:pt x="5010" y="5234"/>
                  </a:cubicBezTo>
                  <a:cubicBezTo>
                    <a:pt x="5010" y="5045"/>
                    <a:pt x="4852" y="4888"/>
                    <a:pt x="4663" y="4888"/>
                  </a:cubicBezTo>
                  <a:lnTo>
                    <a:pt x="3970" y="4888"/>
                  </a:lnTo>
                  <a:cubicBezTo>
                    <a:pt x="4065" y="4604"/>
                    <a:pt x="4254" y="4289"/>
                    <a:pt x="4443" y="4005"/>
                  </a:cubicBezTo>
                  <a:cubicBezTo>
                    <a:pt x="4411" y="3942"/>
                    <a:pt x="4506" y="3816"/>
                    <a:pt x="4569" y="3690"/>
                  </a:cubicBezTo>
                  <a:cubicBezTo>
                    <a:pt x="4821" y="3344"/>
                    <a:pt x="4915" y="2903"/>
                    <a:pt x="4915" y="2493"/>
                  </a:cubicBezTo>
                  <a:cubicBezTo>
                    <a:pt x="4915" y="1769"/>
                    <a:pt x="4600" y="1075"/>
                    <a:pt x="4065" y="603"/>
                  </a:cubicBezTo>
                  <a:cubicBezTo>
                    <a:pt x="3603" y="218"/>
                    <a:pt x="3017" y="1"/>
                    <a:pt x="2441"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772" name="Google Shape;10772;p113"/>
            <p:cNvSpPr/>
            <p:nvPr/>
          </p:nvSpPr>
          <p:spPr>
            <a:xfrm>
              <a:off x="-45804025" y="2755500"/>
              <a:ext cx="34675" cy="18125"/>
            </a:xfrm>
            <a:custGeom>
              <a:avLst/>
              <a:gdLst/>
              <a:ahLst/>
              <a:cxnLst/>
              <a:rect l="l" t="t" r="r" b="b"/>
              <a:pathLst>
                <a:path w="1387" h="725" extrusionOk="0">
                  <a:moveTo>
                    <a:pt x="347" y="0"/>
                  </a:moveTo>
                  <a:cubicBezTo>
                    <a:pt x="127" y="0"/>
                    <a:pt x="1" y="158"/>
                    <a:pt x="1" y="378"/>
                  </a:cubicBezTo>
                  <a:cubicBezTo>
                    <a:pt x="1" y="567"/>
                    <a:pt x="127" y="725"/>
                    <a:pt x="347" y="725"/>
                  </a:cubicBezTo>
                  <a:lnTo>
                    <a:pt x="1040" y="725"/>
                  </a:lnTo>
                  <a:cubicBezTo>
                    <a:pt x="1261" y="725"/>
                    <a:pt x="1387" y="567"/>
                    <a:pt x="1387" y="378"/>
                  </a:cubicBezTo>
                  <a:cubicBezTo>
                    <a:pt x="1387" y="158"/>
                    <a:pt x="1261" y="0"/>
                    <a:pt x="1040"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773" name="Google Shape;10773;p113"/>
            <p:cNvSpPr/>
            <p:nvPr/>
          </p:nvSpPr>
          <p:spPr>
            <a:xfrm>
              <a:off x="-45998575" y="2755500"/>
              <a:ext cx="35475" cy="18125"/>
            </a:xfrm>
            <a:custGeom>
              <a:avLst/>
              <a:gdLst/>
              <a:ahLst/>
              <a:cxnLst/>
              <a:rect l="l" t="t" r="r" b="b"/>
              <a:pathLst>
                <a:path w="1419" h="725" extrusionOk="0">
                  <a:moveTo>
                    <a:pt x="379" y="0"/>
                  </a:moveTo>
                  <a:cubicBezTo>
                    <a:pt x="158" y="0"/>
                    <a:pt x="1" y="158"/>
                    <a:pt x="1" y="378"/>
                  </a:cubicBezTo>
                  <a:cubicBezTo>
                    <a:pt x="1" y="567"/>
                    <a:pt x="158" y="725"/>
                    <a:pt x="379" y="725"/>
                  </a:cubicBezTo>
                  <a:lnTo>
                    <a:pt x="1072" y="725"/>
                  </a:lnTo>
                  <a:cubicBezTo>
                    <a:pt x="1261" y="693"/>
                    <a:pt x="1419" y="536"/>
                    <a:pt x="1419" y="378"/>
                  </a:cubicBezTo>
                  <a:cubicBezTo>
                    <a:pt x="1419" y="158"/>
                    <a:pt x="1261" y="0"/>
                    <a:pt x="1072"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774" name="Google Shape;10774;p113"/>
            <p:cNvSpPr/>
            <p:nvPr/>
          </p:nvSpPr>
          <p:spPr>
            <a:xfrm>
              <a:off x="-45818200" y="2703175"/>
              <a:ext cx="35475" cy="26100"/>
            </a:xfrm>
            <a:custGeom>
              <a:avLst/>
              <a:gdLst/>
              <a:ahLst/>
              <a:cxnLst/>
              <a:rect l="l" t="t" r="r" b="b"/>
              <a:pathLst>
                <a:path w="1419" h="1044" extrusionOk="0">
                  <a:moveTo>
                    <a:pt x="991" y="1"/>
                  </a:moveTo>
                  <a:cubicBezTo>
                    <a:pt x="930" y="1"/>
                    <a:pt x="870" y="15"/>
                    <a:pt x="820" y="45"/>
                  </a:cubicBezTo>
                  <a:lnTo>
                    <a:pt x="252" y="423"/>
                  </a:lnTo>
                  <a:cubicBezTo>
                    <a:pt x="95" y="486"/>
                    <a:pt x="0" y="738"/>
                    <a:pt x="126" y="896"/>
                  </a:cubicBezTo>
                  <a:cubicBezTo>
                    <a:pt x="205" y="994"/>
                    <a:pt x="309" y="1044"/>
                    <a:pt x="414" y="1044"/>
                  </a:cubicBezTo>
                  <a:cubicBezTo>
                    <a:pt x="476" y="1044"/>
                    <a:pt x="540" y="1026"/>
                    <a:pt x="599" y="990"/>
                  </a:cubicBezTo>
                  <a:lnTo>
                    <a:pt x="1166" y="644"/>
                  </a:lnTo>
                  <a:cubicBezTo>
                    <a:pt x="1324" y="581"/>
                    <a:pt x="1418" y="329"/>
                    <a:pt x="1292" y="171"/>
                  </a:cubicBezTo>
                  <a:cubicBezTo>
                    <a:pt x="1249" y="64"/>
                    <a:pt x="1119" y="1"/>
                    <a:pt x="991"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775" name="Google Shape;10775;p113"/>
            <p:cNvSpPr/>
            <p:nvPr/>
          </p:nvSpPr>
          <p:spPr>
            <a:xfrm>
              <a:off x="-45984400" y="2799050"/>
              <a:ext cx="35475" cy="26100"/>
            </a:xfrm>
            <a:custGeom>
              <a:avLst/>
              <a:gdLst/>
              <a:ahLst/>
              <a:cxnLst/>
              <a:rect l="l" t="t" r="r" b="b"/>
              <a:pathLst>
                <a:path w="1419" h="1044" extrusionOk="0">
                  <a:moveTo>
                    <a:pt x="1014" y="1"/>
                  </a:moveTo>
                  <a:cubicBezTo>
                    <a:pt x="947" y="1"/>
                    <a:pt x="879" y="18"/>
                    <a:pt x="820" y="54"/>
                  </a:cubicBezTo>
                  <a:lnTo>
                    <a:pt x="221" y="400"/>
                  </a:lnTo>
                  <a:cubicBezTo>
                    <a:pt x="64" y="463"/>
                    <a:pt x="1" y="716"/>
                    <a:pt x="95" y="873"/>
                  </a:cubicBezTo>
                  <a:cubicBezTo>
                    <a:pt x="160" y="980"/>
                    <a:pt x="282" y="1043"/>
                    <a:pt x="403" y="1043"/>
                  </a:cubicBezTo>
                  <a:cubicBezTo>
                    <a:pt x="461" y="1043"/>
                    <a:pt x="517" y="1029"/>
                    <a:pt x="568" y="999"/>
                  </a:cubicBezTo>
                  <a:lnTo>
                    <a:pt x="1167" y="621"/>
                  </a:lnTo>
                  <a:cubicBezTo>
                    <a:pt x="1324" y="558"/>
                    <a:pt x="1419" y="306"/>
                    <a:pt x="1293" y="148"/>
                  </a:cubicBezTo>
                  <a:cubicBezTo>
                    <a:pt x="1234" y="50"/>
                    <a:pt x="1125" y="1"/>
                    <a:pt x="1014"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776" name="Google Shape;10776;p113"/>
            <p:cNvSpPr/>
            <p:nvPr/>
          </p:nvSpPr>
          <p:spPr>
            <a:xfrm>
              <a:off x="-45815850" y="2799050"/>
              <a:ext cx="33900" cy="25750"/>
            </a:xfrm>
            <a:custGeom>
              <a:avLst/>
              <a:gdLst/>
              <a:ahLst/>
              <a:cxnLst/>
              <a:rect l="l" t="t" r="r" b="b"/>
              <a:pathLst>
                <a:path w="1356" h="1030" extrusionOk="0">
                  <a:moveTo>
                    <a:pt x="343" y="1"/>
                  </a:moveTo>
                  <a:cubicBezTo>
                    <a:pt x="231" y="1"/>
                    <a:pt x="123" y="50"/>
                    <a:pt x="64" y="148"/>
                  </a:cubicBezTo>
                  <a:cubicBezTo>
                    <a:pt x="1" y="306"/>
                    <a:pt x="32" y="558"/>
                    <a:pt x="190" y="621"/>
                  </a:cubicBezTo>
                  <a:lnTo>
                    <a:pt x="789" y="999"/>
                  </a:lnTo>
                  <a:cubicBezTo>
                    <a:pt x="838" y="1019"/>
                    <a:pt x="895" y="1029"/>
                    <a:pt x="951" y="1029"/>
                  </a:cubicBezTo>
                  <a:cubicBezTo>
                    <a:pt x="1073" y="1029"/>
                    <a:pt x="1197" y="981"/>
                    <a:pt x="1261" y="873"/>
                  </a:cubicBezTo>
                  <a:cubicBezTo>
                    <a:pt x="1356" y="716"/>
                    <a:pt x="1293" y="526"/>
                    <a:pt x="1135" y="400"/>
                  </a:cubicBezTo>
                  <a:lnTo>
                    <a:pt x="537" y="54"/>
                  </a:lnTo>
                  <a:cubicBezTo>
                    <a:pt x="477" y="18"/>
                    <a:pt x="410" y="1"/>
                    <a:pt x="343"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777" name="Google Shape;10777;p113"/>
            <p:cNvSpPr/>
            <p:nvPr/>
          </p:nvSpPr>
          <p:spPr>
            <a:xfrm>
              <a:off x="-45983600" y="2702750"/>
              <a:ext cx="34675" cy="25525"/>
            </a:xfrm>
            <a:custGeom>
              <a:avLst/>
              <a:gdLst/>
              <a:ahLst/>
              <a:cxnLst/>
              <a:rect l="l" t="t" r="r" b="b"/>
              <a:pathLst>
                <a:path w="1387" h="1021" extrusionOk="0">
                  <a:moveTo>
                    <a:pt x="398" y="0"/>
                  </a:moveTo>
                  <a:cubicBezTo>
                    <a:pt x="269" y="0"/>
                    <a:pt x="138" y="49"/>
                    <a:pt x="95" y="157"/>
                  </a:cubicBezTo>
                  <a:cubicBezTo>
                    <a:pt x="0" y="314"/>
                    <a:pt x="32" y="535"/>
                    <a:pt x="189" y="629"/>
                  </a:cubicBezTo>
                  <a:lnTo>
                    <a:pt x="788" y="976"/>
                  </a:lnTo>
                  <a:cubicBezTo>
                    <a:pt x="839" y="1006"/>
                    <a:pt x="899" y="1020"/>
                    <a:pt x="959" y="1020"/>
                  </a:cubicBezTo>
                  <a:cubicBezTo>
                    <a:pt x="1088" y="1020"/>
                    <a:pt x="1218" y="957"/>
                    <a:pt x="1261" y="850"/>
                  </a:cubicBezTo>
                  <a:cubicBezTo>
                    <a:pt x="1387" y="692"/>
                    <a:pt x="1292" y="503"/>
                    <a:pt x="1135" y="377"/>
                  </a:cubicBezTo>
                  <a:lnTo>
                    <a:pt x="567" y="31"/>
                  </a:lnTo>
                  <a:cubicBezTo>
                    <a:pt x="518" y="11"/>
                    <a:pt x="458" y="0"/>
                    <a:pt x="398"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sp>
        <p:nvSpPr>
          <p:cNvPr id="10778" name="Google Shape;10778;p113"/>
          <p:cNvSpPr/>
          <p:nvPr/>
        </p:nvSpPr>
        <p:spPr>
          <a:xfrm>
            <a:off x="5315306" y="5121803"/>
            <a:ext cx="419948" cy="477599"/>
          </a:xfrm>
          <a:custGeom>
            <a:avLst/>
            <a:gdLst/>
            <a:ahLst/>
            <a:cxnLst/>
            <a:rect l="l" t="t" r="r" b="b"/>
            <a:pathLst>
              <a:path w="10555" h="12004" extrusionOk="0">
                <a:moveTo>
                  <a:pt x="5262" y="709"/>
                </a:moveTo>
                <a:lnTo>
                  <a:pt x="9420" y="2788"/>
                </a:lnTo>
                <a:lnTo>
                  <a:pt x="8066" y="3450"/>
                </a:lnTo>
                <a:lnTo>
                  <a:pt x="5451" y="2127"/>
                </a:lnTo>
                <a:cubicBezTo>
                  <a:pt x="5403" y="2111"/>
                  <a:pt x="5348" y="2103"/>
                  <a:pt x="5293" y="2103"/>
                </a:cubicBezTo>
                <a:cubicBezTo>
                  <a:pt x="5238" y="2103"/>
                  <a:pt x="5183" y="2111"/>
                  <a:pt x="5136" y="2127"/>
                </a:cubicBezTo>
                <a:lnTo>
                  <a:pt x="2489" y="3450"/>
                </a:lnTo>
                <a:lnTo>
                  <a:pt x="1197" y="2788"/>
                </a:lnTo>
                <a:lnTo>
                  <a:pt x="5262" y="709"/>
                </a:lnTo>
                <a:close/>
                <a:moveTo>
                  <a:pt x="4915" y="3040"/>
                </a:moveTo>
                <a:lnTo>
                  <a:pt x="4915" y="6222"/>
                </a:lnTo>
                <a:lnTo>
                  <a:pt x="2804" y="7294"/>
                </a:lnTo>
                <a:lnTo>
                  <a:pt x="2804" y="4080"/>
                </a:lnTo>
                <a:lnTo>
                  <a:pt x="4915" y="3040"/>
                </a:lnTo>
                <a:close/>
                <a:moveTo>
                  <a:pt x="5640" y="3040"/>
                </a:moveTo>
                <a:lnTo>
                  <a:pt x="7750" y="4080"/>
                </a:lnTo>
                <a:lnTo>
                  <a:pt x="7750" y="7294"/>
                </a:lnTo>
                <a:lnTo>
                  <a:pt x="5640" y="6222"/>
                </a:lnTo>
                <a:lnTo>
                  <a:pt x="5640" y="3040"/>
                </a:lnTo>
                <a:close/>
                <a:moveTo>
                  <a:pt x="5262" y="6758"/>
                </a:moveTo>
                <a:lnTo>
                  <a:pt x="7278" y="7798"/>
                </a:lnTo>
                <a:lnTo>
                  <a:pt x="5262" y="8806"/>
                </a:lnTo>
                <a:lnTo>
                  <a:pt x="3277" y="7798"/>
                </a:lnTo>
                <a:lnTo>
                  <a:pt x="5262" y="6758"/>
                </a:lnTo>
                <a:close/>
                <a:moveTo>
                  <a:pt x="725" y="3372"/>
                </a:moveTo>
                <a:lnTo>
                  <a:pt x="2111" y="4080"/>
                </a:lnTo>
                <a:lnTo>
                  <a:pt x="2111" y="7829"/>
                </a:lnTo>
                <a:cubicBezTo>
                  <a:pt x="2111" y="7955"/>
                  <a:pt x="2206" y="8081"/>
                  <a:pt x="2332" y="8113"/>
                </a:cubicBezTo>
                <a:lnTo>
                  <a:pt x="4915" y="9404"/>
                </a:lnTo>
                <a:lnTo>
                  <a:pt x="4915" y="10980"/>
                </a:lnTo>
                <a:lnTo>
                  <a:pt x="725" y="8869"/>
                </a:lnTo>
                <a:lnTo>
                  <a:pt x="725" y="3372"/>
                </a:lnTo>
                <a:close/>
                <a:moveTo>
                  <a:pt x="9861" y="3387"/>
                </a:moveTo>
                <a:lnTo>
                  <a:pt x="9861" y="8932"/>
                </a:lnTo>
                <a:lnTo>
                  <a:pt x="5640" y="11011"/>
                </a:lnTo>
                <a:lnTo>
                  <a:pt x="5640" y="9436"/>
                </a:lnTo>
                <a:lnTo>
                  <a:pt x="8223" y="8144"/>
                </a:lnTo>
                <a:cubicBezTo>
                  <a:pt x="8349" y="8113"/>
                  <a:pt x="8412" y="7987"/>
                  <a:pt x="8412" y="7829"/>
                </a:cubicBezTo>
                <a:lnTo>
                  <a:pt x="8412" y="4080"/>
                </a:lnTo>
                <a:lnTo>
                  <a:pt x="9861" y="3387"/>
                </a:lnTo>
                <a:close/>
                <a:moveTo>
                  <a:pt x="5262" y="0"/>
                </a:moveTo>
                <a:cubicBezTo>
                  <a:pt x="5206" y="0"/>
                  <a:pt x="5151" y="16"/>
                  <a:pt x="5104" y="47"/>
                </a:cubicBezTo>
                <a:lnTo>
                  <a:pt x="284" y="2473"/>
                </a:lnTo>
                <a:cubicBezTo>
                  <a:pt x="63" y="2536"/>
                  <a:pt x="0" y="2662"/>
                  <a:pt x="0" y="2820"/>
                </a:cubicBezTo>
                <a:lnTo>
                  <a:pt x="0" y="9152"/>
                </a:lnTo>
                <a:cubicBezTo>
                  <a:pt x="0" y="9278"/>
                  <a:pt x="63" y="9404"/>
                  <a:pt x="189" y="9499"/>
                </a:cubicBezTo>
                <a:lnTo>
                  <a:pt x="5104" y="11956"/>
                </a:lnTo>
                <a:cubicBezTo>
                  <a:pt x="5151" y="11988"/>
                  <a:pt x="5206" y="12003"/>
                  <a:pt x="5262" y="12003"/>
                </a:cubicBezTo>
                <a:cubicBezTo>
                  <a:pt x="5317" y="12003"/>
                  <a:pt x="5372" y="11988"/>
                  <a:pt x="5419" y="11956"/>
                </a:cubicBezTo>
                <a:lnTo>
                  <a:pt x="10365" y="9499"/>
                </a:lnTo>
                <a:cubicBezTo>
                  <a:pt x="10460" y="9404"/>
                  <a:pt x="10554" y="9278"/>
                  <a:pt x="10554" y="9152"/>
                </a:cubicBezTo>
                <a:lnTo>
                  <a:pt x="10554" y="2788"/>
                </a:lnTo>
                <a:cubicBezTo>
                  <a:pt x="10554" y="2662"/>
                  <a:pt x="10460" y="2568"/>
                  <a:pt x="10365" y="2505"/>
                </a:cubicBezTo>
                <a:lnTo>
                  <a:pt x="5419" y="47"/>
                </a:lnTo>
                <a:cubicBezTo>
                  <a:pt x="5372" y="16"/>
                  <a:pt x="5317" y="0"/>
                  <a:pt x="5262"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779" name="Google Shape;10779;p113"/>
          <p:cNvSpPr/>
          <p:nvPr/>
        </p:nvSpPr>
        <p:spPr>
          <a:xfrm>
            <a:off x="2911264" y="2055733"/>
            <a:ext cx="480105" cy="448793"/>
          </a:xfrm>
          <a:custGeom>
            <a:avLst/>
            <a:gdLst/>
            <a:ahLst/>
            <a:cxnLst/>
            <a:rect l="l" t="t" r="r" b="b"/>
            <a:pathLst>
              <a:path w="12067" h="11280" extrusionOk="0">
                <a:moveTo>
                  <a:pt x="5986" y="757"/>
                </a:moveTo>
                <a:cubicBezTo>
                  <a:pt x="7656" y="757"/>
                  <a:pt x="9011" y="2049"/>
                  <a:pt x="9137" y="3718"/>
                </a:cubicBezTo>
                <a:cubicBezTo>
                  <a:pt x="8822" y="3624"/>
                  <a:pt x="8475" y="3561"/>
                  <a:pt x="8066" y="3561"/>
                </a:cubicBezTo>
                <a:cubicBezTo>
                  <a:pt x="7278" y="3561"/>
                  <a:pt x="6585" y="3781"/>
                  <a:pt x="5955" y="4191"/>
                </a:cubicBezTo>
                <a:cubicBezTo>
                  <a:pt x="5356" y="3781"/>
                  <a:pt x="4632" y="3561"/>
                  <a:pt x="3844" y="3561"/>
                </a:cubicBezTo>
                <a:cubicBezTo>
                  <a:pt x="3466" y="3561"/>
                  <a:pt x="3119" y="3592"/>
                  <a:pt x="2773" y="3718"/>
                </a:cubicBezTo>
                <a:cubicBezTo>
                  <a:pt x="2930" y="2049"/>
                  <a:pt x="4285" y="757"/>
                  <a:pt x="5986" y="757"/>
                </a:cubicBezTo>
                <a:close/>
                <a:moveTo>
                  <a:pt x="3875" y="4254"/>
                </a:moveTo>
                <a:cubicBezTo>
                  <a:pt x="4411" y="4254"/>
                  <a:pt x="4915" y="4411"/>
                  <a:pt x="5388" y="4663"/>
                </a:cubicBezTo>
                <a:cubicBezTo>
                  <a:pt x="4852" y="5168"/>
                  <a:pt x="4505" y="5829"/>
                  <a:pt x="4285" y="6585"/>
                </a:cubicBezTo>
                <a:cubicBezTo>
                  <a:pt x="3560" y="6113"/>
                  <a:pt x="2993" y="5325"/>
                  <a:pt x="2836" y="4411"/>
                </a:cubicBezTo>
                <a:cubicBezTo>
                  <a:pt x="3151" y="4317"/>
                  <a:pt x="3497" y="4254"/>
                  <a:pt x="3875" y="4254"/>
                </a:cubicBezTo>
                <a:close/>
                <a:moveTo>
                  <a:pt x="8129" y="4254"/>
                </a:moveTo>
                <a:cubicBezTo>
                  <a:pt x="8475" y="4254"/>
                  <a:pt x="8822" y="4317"/>
                  <a:pt x="9137" y="4411"/>
                </a:cubicBezTo>
                <a:cubicBezTo>
                  <a:pt x="8979" y="5325"/>
                  <a:pt x="8444" y="6113"/>
                  <a:pt x="7687" y="6585"/>
                </a:cubicBezTo>
                <a:cubicBezTo>
                  <a:pt x="7498" y="5829"/>
                  <a:pt x="7089" y="5168"/>
                  <a:pt x="6585" y="4663"/>
                </a:cubicBezTo>
                <a:cubicBezTo>
                  <a:pt x="7026" y="4411"/>
                  <a:pt x="7561" y="4254"/>
                  <a:pt x="8129" y="4254"/>
                </a:cubicBezTo>
                <a:close/>
                <a:moveTo>
                  <a:pt x="5986" y="5042"/>
                </a:moveTo>
                <a:cubicBezTo>
                  <a:pt x="6490" y="5514"/>
                  <a:pt x="6900" y="6144"/>
                  <a:pt x="7026" y="6900"/>
                </a:cubicBezTo>
                <a:cubicBezTo>
                  <a:pt x="6648" y="7026"/>
                  <a:pt x="6364" y="7058"/>
                  <a:pt x="5986" y="7058"/>
                </a:cubicBezTo>
                <a:cubicBezTo>
                  <a:pt x="5640" y="7058"/>
                  <a:pt x="5293" y="7026"/>
                  <a:pt x="4978" y="6900"/>
                </a:cubicBezTo>
                <a:cubicBezTo>
                  <a:pt x="5073" y="6176"/>
                  <a:pt x="5451" y="5514"/>
                  <a:pt x="5986" y="5042"/>
                </a:cubicBezTo>
                <a:close/>
                <a:moveTo>
                  <a:pt x="4915" y="7625"/>
                </a:moveTo>
                <a:lnTo>
                  <a:pt x="4915" y="7625"/>
                </a:lnTo>
                <a:cubicBezTo>
                  <a:pt x="5230" y="7688"/>
                  <a:pt x="5608" y="7782"/>
                  <a:pt x="5986" y="7782"/>
                </a:cubicBezTo>
                <a:cubicBezTo>
                  <a:pt x="6333" y="7782"/>
                  <a:pt x="6711" y="7719"/>
                  <a:pt x="7057" y="7625"/>
                </a:cubicBezTo>
                <a:lnTo>
                  <a:pt x="7057" y="7625"/>
                </a:lnTo>
                <a:cubicBezTo>
                  <a:pt x="6963" y="8476"/>
                  <a:pt x="6585" y="9232"/>
                  <a:pt x="5986" y="9767"/>
                </a:cubicBezTo>
                <a:cubicBezTo>
                  <a:pt x="5388" y="9232"/>
                  <a:pt x="5010" y="8476"/>
                  <a:pt x="4915" y="7625"/>
                </a:cubicBezTo>
                <a:close/>
                <a:moveTo>
                  <a:pt x="2206" y="4726"/>
                </a:moveTo>
                <a:cubicBezTo>
                  <a:pt x="2458" y="5892"/>
                  <a:pt x="3245" y="6837"/>
                  <a:pt x="4222" y="7373"/>
                </a:cubicBezTo>
                <a:lnTo>
                  <a:pt x="4222" y="7467"/>
                </a:lnTo>
                <a:cubicBezTo>
                  <a:pt x="4222" y="8570"/>
                  <a:pt x="4663" y="9515"/>
                  <a:pt x="5388" y="10208"/>
                </a:cubicBezTo>
                <a:cubicBezTo>
                  <a:pt x="4915" y="10460"/>
                  <a:pt x="4411" y="10555"/>
                  <a:pt x="3875" y="10555"/>
                </a:cubicBezTo>
                <a:cubicBezTo>
                  <a:pt x="2080" y="10555"/>
                  <a:pt x="662" y="9137"/>
                  <a:pt x="662" y="7404"/>
                </a:cubicBezTo>
                <a:cubicBezTo>
                  <a:pt x="662" y="6270"/>
                  <a:pt x="1260" y="5294"/>
                  <a:pt x="2206" y="4726"/>
                </a:cubicBezTo>
                <a:close/>
                <a:moveTo>
                  <a:pt x="9735" y="4695"/>
                </a:moveTo>
                <a:cubicBezTo>
                  <a:pt x="10649" y="5262"/>
                  <a:pt x="11279" y="6239"/>
                  <a:pt x="11279" y="7373"/>
                </a:cubicBezTo>
                <a:cubicBezTo>
                  <a:pt x="11279" y="9137"/>
                  <a:pt x="9861" y="10555"/>
                  <a:pt x="8066" y="10555"/>
                </a:cubicBezTo>
                <a:cubicBezTo>
                  <a:pt x="7530" y="10555"/>
                  <a:pt x="7026" y="10397"/>
                  <a:pt x="6553" y="10177"/>
                </a:cubicBezTo>
                <a:cubicBezTo>
                  <a:pt x="7246" y="9452"/>
                  <a:pt x="7719" y="8476"/>
                  <a:pt x="7719" y="7404"/>
                </a:cubicBezTo>
                <a:lnTo>
                  <a:pt x="7719" y="7341"/>
                </a:lnTo>
                <a:cubicBezTo>
                  <a:pt x="8759" y="6837"/>
                  <a:pt x="9515" y="5892"/>
                  <a:pt x="9735" y="4695"/>
                </a:cubicBezTo>
                <a:close/>
                <a:moveTo>
                  <a:pt x="5986" y="1"/>
                </a:moveTo>
                <a:cubicBezTo>
                  <a:pt x="3875" y="1"/>
                  <a:pt x="2143" y="1734"/>
                  <a:pt x="2143" y="3876"/>
                </a:cubicBezTo>
                <a:lnTo>
                  <a:pt x="2143" y="3939"/>
                </a:lnTo>
                <a:cubicBezTo>
                  <a:pt x="882" y="4569"/>
                  <a:pt x="0" y="5892"/>
                  <a:pt x="0" y="7404"/>
                </a:cubicBezTo>
                <a:cubicBezTo>
                  <a:pt x="0" y="9547"/>
                  <a:pt x="1733" y="11279"/>
                  <a:pt x="3907" y="11279"/>
                </a:cubicBezTo>
                <a:cubicBezTo>
                  <a:pt x="4695" y="11279"/>
                  <a:pt x="5388" y="11027"/>
                  <a:pt x="6018" y="10649"/>
                </a:cubicBezTo>
                <a:cubicBezTo>
                  <a:pt x="6616" y="11027"/>
                  <a:pt x="7372" y="11279"/>
                  <a:pt x="8160" y="11279"/>
                </a:cubicBezTo>
                <a:cubicBezTo>
                  <a:pt x="10271" y="11279"/>
                  <a:pt x="12067" y="9547"/>
                  <a:pt x="12067" y="7404"/>
                </a:cubicBezTo>
                <a:cubicBezTo>
                  <a:pt x="11972" y="5924"/>
                  <a:pt x="11122" y="4632"/>
                  <a:pt x="9861" y="3939"/>
                </a:cubicBezTo>
                <a:lnTo>
                  <a:pt x="9861" y="3876"/>
                </a:lnTo>
                <a:cubicBezTo>
                  <a:pt x="9861" y="1734"/>
                  <a:pt x="8129" y="1"/>
                  <a:pt x="5986"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780" name="Google Shape;10780;p113"/>
          <p:cNvSpPr/>
          <p:nvPr/>
        </p:nvSpPr>
        <p:spPr>
          <a:xfrm>
            <a:off x="3126858" y="2629783"/>
            <a:ext cx="27612" cy="82796"/>
          </a:xfrm>
          <a:custGeom>
            <a:avLst/>
            <a:gdLst/>
            <a:ahLst/>
            <a:cxnLst/>
            <a:rect l="l" t="t" r="r" b="b"/>
            <a:pathLst>
              <a:path w="694" h="2081" extrusionOk="0">
                <a:moveTo>
                  <a:pt x="347" y="1"/>
                </a:moveTo>
                <a:cubicBezTo>
                  <a:pt x="158" y="1"/>
                  <a:pt x="1" y="158"/>
                  <a:pt x="1" y="348"/>
                </a:cubicBezTo>
                <a:lnTo>
                  <a:pt x="1" y="1765"/>
                </a:lnTo>
                <a:cubicBezTo>
                  <a:pt x="1" y="1923"/>
                  <a:pt x="158" y="2080"/>
                  <a:pt x="347" y="2080"/>
                </a:cubicBezTo>
                <a:cubicBezTo>
                  <a:pt x="536" y="2080"/>
                  <a:pt x="694" y="1923"/>
                  <a:pt x="694" y="1734"/>
                </a:cubicBezTo>
                <a:lnTo>
                  <a:pt x="694" y="348"/>
                </a:lnTo>
                <a:cubicBezTo>
                  <a:pt x="694" y="158"/>
                  <a:pt x="536" y="1"/>
                  <a:pt x="347"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781" name="Google Shape;10781;p113"/>
          <p:cNvSpPr/>
          <p:nvPr/>
        </p:nvSpPr>
        <p:spPr>
          <a:xfrm>
            <a:off x="3020313" y="2665071"/>
            <a:ext cx="74003" cy="52519"/>
          </a:xfrm>
          <a:custGeom>
            <a:avLst/>
            <a:gdLst/>
            <a:ahLst/>
            <a:cxnLst/>
            <a:rect l="l" t="t" r="r" b="b"/>
            <a:pathLst>
              <a:path w="1860" h="1320" extrusionOk="0">
                <a:moveTo>
                  <a:pt x="465" y="1"/>
                </a:moveTo>
                <a:cubicBezTo>
                  <a:pt x="344" y="1"/>
                  <a:pt x="222" y="78"/>
                  <a:pt x="158" y="185"/>
                </a:cubicBezTo>
                <a:cubicBezTo>
                  <a:pt x="1" y="311"/>
                  <a:pt x="64" y="563"/>
                  <a:pt x="253" y="658"/>
                </a:cubicBezTo>
                <a:lnTo>
                  <a:pt x="1229" y="1288"/>
                </a:lnTo>
                <a:cubicBezTo>
                  <a:pt x="1261" y="1319"/>
                  <a:pt x="1355" y="1319"/>
                  <a:pt x="1418" y="1319"/>
                </a:cubicBezTo>
                <a:cubicBezTo>
                  <a:pt x="1544" y="1319"/>
                  <a:pt x="1671" y="1288"/>
                  <a:pt x="1734" y="1162"/>
                </a:cubicBezTo>
                <a:cubicBezTo>
                  <a:pt x="1860" y="1004"/>
                  <a:pt x="1765" y="752"/>
                  <a:pt x="1607" y="689"/>
                </a:cubicBezTo>
                <a:lnTo>
                  <a:pt x="631" y="59"/>
                </a:lnTo>
                <a:cubicBezTo>
                  <a:pt x="580" y="18"/>
                  <a:pt x="523" y="1"/>
                  <a:pt x="465"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782" name="Google Shape;10782;p113"/>
          <p:cNvSpPr/>
          <p:nvPr/>
        </p:nvSpPr>
        <p:spPr>
          <a:xfrm>
            <a:off x="3190791" y="2667459"/>
            <a:ext cx="68991" cy="51364"/>
          </a:xfrm>
          <a:custGeom>
            <a:avLst/>
            <a:gdLst/>
            <a:ahLst/>
            <a:cxnLst/>
            <a:rect l="l" t="t" r="r" b="b"/>
            <a:pathLst>
              <a:path w="1734" h="1291" extrusionOk="0">
                <a:moveTo>
                  <a:pt x="1354" y="0"/>
                </a:moveTo>
                <a:cubicBezTo>
                  <a:pt x="1301" y="0"/>
                  <a:pt x="1247" y="11"/>
                  <a:pt x="1198" y="31"/>
                </a:cubicBezTo>
                <a:lnTo>
                  <a:pt x="221" y="661"/>
                </a:lnTo>
                <a:cubicBezTo>
                  <a:pt x="63" y="787"/>
                  <a:pt x="0" y="976"/>
                  <a:pt x="95" y="1133"/>
                </a:cubicBezTo>
                <a:cubicBezTo>
                  <a:pt x="126" y="1228"/>
                  <a:pt x="252" y="1291"/>
                  <a:pt x="347" y="1291"/>
                </a:cubicBezTo>
                <a:cubicBezTo>
                  <a:pt x="441" y="1291"/>
                  <a:pt x="473" y="1291"/>
                  <a:pt x="568" y="1259"/>
                </a:cubicBezTo>
                <a:lnTo>
                  <a:pt x="1544" y="629"/>
                </a:lnTo>
                <a:cubicBezTo>
                  <a:pt x="1702" y="503"/>
                  <a:pt x="1733" y="314"/>
                  <a:pt x="1670" y="157"/>
                </a:cubicBezTo>
                <a:cubicBezTo>
                  <a:pt x="1584" y="49"/>
                  <a:pt x="1469" y="0"/>
                  <a:pt x="1354"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nvGrpSpPr>
          <p:cNvPr id="10783" name="Google Shape;10783;p113"/>
          <p:cNvGrpSpPr/>
          <p:nvPr/>
        </p:nvGrpSpPr>
        <p:grpSpPr>
          <a:xfrm>
            <a:off x="2937597" y="3245359"/>
            <a:ext cx="419948" cy="481379"/>
            <a:chOff x="-49398750" y="2684600"/>
            <a:chExt cx="263875" cy="302475"/>
          </a:xfrm>
        </p:grpSpPr>
        <p:sp>
          <p:nvSpPr>
            <p:cNvPr id="10784" name="Google Shape;10784;p113"/>
            <p:cNvSpPr/>
            <p:nvPr/>
          </p:nvSpPr>
          <p:spPr>
            <a:xfrm>
              <a:off x="-49294775" y="2684600"/>
              <a:ext cx="73275" cy="299325"/>
            </a:xfrm>
            <a:custGeom>
              <a:avLst/>
              <a:gdLst/>
              <a:ahLst/>
              <a:cxnLst/>
              <a:rect l="l" t="t" r="r" b="b"/>
              <a:pathLst>
                <a:path w="2931" h="11973" extrusionOk="0">
                  <a:moveTo>
                    <a:pt x="1481" y="1387"/>
                  </a:moveTo>
                  <a:lnTo>
                    <a:pt x="2017" y="2836"/>
                  </a:lnTo>
                  <a:lnTo>
                    <a:pt x="914" y="2836"/>
                  </a:lnTo>
                  <a:lnTo>
                    <a:pt x="1481" y="1387"/>
                  </a:lnTo>
                  <a:close/>
                  <a:moveTo>
                    <a:pt x="2174" y="3529"/>
                  </a:moveTo>
                  <a:lnTo>
                    <a:pt x="2174" y="9893"/>
                  </a:lnTo>
                  <a:lnTo>
                    <a:pt x="757" y="9893"/>
                  </a:lnTo>
                  <a:lnTo>
                    <a:pt x="757" y="3529"/>
                  </a:lnTo>
                  <a:close/>
                  <a:moveTo>
                    <a:pt x="2174" y="10586"/>
                  </a:moveTo>
                  <a:lnTo>
                    <a:pt x="2174" y="10964"/>
                  </a:lnTo>
                  <a:cubicBezTo>
                    <a:pt x="2143" y="11153"/>
                    <a:pt x="1985" y="11311"/>
                    <a:pt x="1828" y="11311"/>
                  </a:cubicBezTo>
                  <a:lnTo>
                    <a:pt x="1103" y="11311"/>
                  </a:lnTo>
                  <a:cubicBezTo>
                    <a:pt x="914" y="11311"/>
                    <a:pt x="757" y="11153"/>
                    <a:pt x="757" y="10964"/>
                  </a:cubicBezTo>
                  <a:lnTo>
                    <a:pt x="757" y="10586"/>
                  </a:lnTo>
                  <a:close/>
                  <a:moveTo>
                    <a:pt x="1450" y="1"/>
                  </a:moveTo>
                  <a:cubicBezTo>
                    <a:pt x="1355" y="1"/>
                    <a:pt x="1198" y="95"/>
                    <a:pt x="1135" y="253"/>
                  </a:cubicBezTo>
                  <a:cubicBezTo>
                    <a:pt x="1" y="3246"/>
                    <a:pt x="95" y="3088"/>
                    <a:pt x="95" y="3151"/>
                  </a:cubicBezTo>
                  <a:lnTo>
                    <a:pt x="95" y="10933"/>
                  </a:lnTo>
                  <a:cubicBezTo>
                    <a:pt x="95" y="11500"/>
                    <a:pt x="568" y="11973"/>
                    <a:pt x="1135" y="11973"/>
                  </a:cubicBezTo>
                  <a:lnTo>
                    <a:pt x="1859" y="11973"/>
                  </a:lnTo>
                  <a:cubicBezTo>
                    <a:pt x="2458" y="11973"/>
                    <a:pt x="2931" y="11500"/>
                    <a:pt x="2931" y="10933"/>
                  </a:cubicBezTo>
                  <a:lnTo>
                    <a:pt x="2931" y="3120"/>
                  </a:lnTo>
                  <a:cubicBezTo>
                    <a:pt x="2836" y="3088"/>
                    <a:pt x="2931" y="3277"/>
                    <a:pt x="1765" y="253"/>
                  </a:cubicBezTo>
                  <a:cubicBezTo>
                    <a:pt x="1733" y="127"/>
                    <a:pt x="1576" y="1"/>
                    <a:pt x="1450"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785" name="Google Shape;10785;p113"/>
            <p:cNvSpPr/>
            <p:nvPr/>
          </p:nvSpPr>
          <p:spPr>
            <a:xfrm>
              <a:off x="-49398750" y="2684600"/>
              <a:ext cx="87450" cy="300900"/>
            </a:xfrm>
            <a:custGeom>
              <a:avLst/>
              <a:gdLst/>
              <a:ahLst/>
              <a:cxnLst/>
              <a:rect l="l" t="t" r="r" b="b"/>
              <a:pathLst>
                <a:path w="3498" h="12036" extrusionOk="0">
                  <a:moveTo>
                    <a:pt x="2773" y="662"/>
                  </a:moveTo>
                  <a:lnTo>
                    <a:pt x="2773" y="11311"/>
                  </a:lnTo>
                  <a:lnTo>
                    <a:pt x="662" y="11311"/>
                  </a:lnTo>
                  <a:lnTo>
                    <a:pt x="662" y="10586"/>
                  </a:lnTo>
                  <a:lnTo>
                    <a:pt x="1734" y="10586"/>
                  </a:lnTo>
                  <a:cubicBezTo>
                    <a:pt x="1923" y="10586"/>
                    <a:pt x="2080" y="10429"/>
                    <a:pt x="2080" y="10240"/>
                  </a:cubicBezTo>
                  <a:cubicBezTo>
                    <a:pt x="2080" y="10051"/>
                    <a:pt x="1923" y="9893"/>
                    <a:pt x="1734" y="9893"/>
                  </a:cubicBezTo>
                  <a:lnTo>
                    <a:pt x="662" y="9893"/>
                  </a:lnTo>
                  <a:lnTo>
                    <a:pt x="662" y="9169"/>
                  </a:lnTo>
                  <a:lnTo>
                    <a:pt x="1009" y="9169"/>
                  </a:lnTo>
                  <a:cubicBezTo>
                    <a:pt x="1198" y="9169"/>
                    <a:pt x="1356" y="9011"/>
                    <a:pt x="1356" y="8822"/>
                  </a:cubicBezTo>
                  <a:cubicBezTo>
                    <a:pt x="1356" y="8633"/>
                    <a:pt x="1198" y="8475"/>
                    <a:pt x="1009" y="8475"/>
                  </a:cubicBezTo>
                  <a:lnTo>
                    <a:pt x="662" y="8475"/>
                  </a:lnTo>
                  <a:lnTo>
                    <a:pt x="662" y="7751"/>
                  </a:lnTo>
                  <a:lnTo>
                    <a:pt x="1734" y="7751"/>
                  </a:lnTo>
                  <a:cubicBezTo>
                    <a:pt x="1923" y="7751"/>
                    <a:pt x="2080" y="7593"/>
                    <a:pt x="2080" y="7404"/>
                  </a:cubicBezTo>
                  <a:cubicBezTo>
                    <a:pt x="2080" y="7215"/>
                    <a:pt x="1923" y="7058"/>
                    <a:pt x="1734" y="7058"/>
                  </a:cubicBezTo>
                  <a:lnTo>
                    <a:pt x="662" y="7058"/>
                  </a:lnTo>
                  <a:lnTo>
                    <a:pt x="662" y="6333"/>
                  </a:lnTo>
                  <a:lnTo>
                    <a:pt x="1009" y="6333"/>
                  </a:lnTo>
                  <a:cubicBezTo>
                    <a:pt x="1198" y="6333"/>
                    <a:pt x="1356" y="6176"/>
                    <a:pt x="1356" y="5987"/>
                  </a:cubicBezTo>
                  <a:cubicBezTo>
                    <a:pt x="1356" y="5798"/>
                    <a:pt x="1198" y="5640"/>
                    <a:pt x="1009" y="5640"/>
                  </a:cubicBezTo>
                  <a:lnTo>
                    <a:pt x="662" y="5640"/>
                  </a:lnTo>
                  <a:lnTo>
                    <a:pt x="662" y="4947"/>
                  </a:lnTo>
                  <a:lnTo>
                    <a:pt x="1734" y="4947"/>
                  </a:lnTo>
                  <a:cubicBezTo>
                    <a:pt x="1923" y="4947"/>
                    <a:pt x="2080" y="4789"/>
                    <a:pt x="2080" y="4569"/>
                  </a:cubicBezTo>
                  <a:cubicBezTo>
                    <a:pt x="2080" y="4380"/>
                    <a:pt x="1923" y="4222"/>
                    <a:pt x="1734" y="4222"/>
                  </a:cubicBezTo>
                  <a:lnTo>
                    <a:pt x="662" y="4222"/>
                  </a:lnTo>
                  <a:lnTo>
                    <a:pt x="662" y="3498"/>
                  </a:lnTo>
                  <a:lnTo>
                    <a:pt x="1009" y="3498"/>
                  </a:lnTo>
                  <a:cubicBezTo>
                    <a:pt x="1198" y="3498"/>
                    <a:pt x="1356" y="3340"/>
                    <a:pt x="1356" y="3151"/>
                  </a:cubicBezTo>
                  <a:cubicBezTo>
                    <a:pt x="1356" y="2962"/>
                    <a:pt x="1198" y="2805"/>
                    <a:pt x="1009" y="2805"/>
                  </a:cubicBezTo>
                  <a:lnTo>
                    <a:pt x="662" y="2805"/>
                  </a:lnTo>
                  <a:lnTo>
                    <a:pt x="662" y="2080"/>
                  </a:lnTo>
                  <a:lnTo>
                    <a:pt x="1734" y="2080"/>
                  </a:lnTo>
                  <a:cubicBezTo>
                    <a:pt x="1923" y="2080"/>
                    <a:pt x="2080" y="1922"/>
                    <a:pt x="2080" y="1733"/>
                  </a:cubicBezTo>
                  <a:cubicBezTo>
                    <a:pt x="2080" y="1544"/>
                    <a:pt x="1923" y="1387"/>
                    <a:pt x="1734" y="1387"/>
                  </a:cubicBezTo>
                  <a:lnTo>
                    <a:pt x="662" y="1387"/>
                  </a:lnTo>
                  <a:lnTo>
                    <a:pt x="662" y="662"/>
                  </a:lnTo>
                  <a:close/>
                  <a:moveTo>
                    <a:pt x="347" y="1"/>
                  </a:moveTo>
                  <a:cubicBezTo>
                    <a:pt x="158" y="1"/>
                    <a:pt x="1" y="158"/>
                    <a:pt x="1" y="379"/>
                  </a:cubicBezTo>
                  <a:lnTo>
                    <a:pt x="1" y="11657"/>
                  </a:lnTo>
                  <a:cubicBezTo>
                    <a:pt x="1" y="11878"/>
                    <a:pt x="158" y="12036"/>
                    <a:pt x="347" y="12036"/>
                  </a:cubicBezTo>
                  <a:lnTo>
                    <a:pt x="3151" y="12036"/>
                  </a:lnTo>
                  <a:cubicBezTo>
                    <a:pt x="3340" y="12036"/>
                    <a:pt x="3498" y="11878"/>
                    <a:pt x="3498" y="11657"/>
                  </a:cubicBezTo>
                  <a:lnTo>
                    <a:pt x="3498" y="379"/>
                  </a:lnTo>
                  <a:cubicBezTo>
                    <a:pt x="3498" y="158"/>
                    <a:pt x="3340" y="1"/>
                    <a:pt x="3151"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786" name="Google Shape;10786;p113"/>
            <p:cNvSpPr/>
            <p:nvPr/>
          </p:nvSpPr>
          <p:spPr>
            <a:xfrm>
              <a:off x="-49207350" y="2686175"/>
              <a:ext cx="72475" cy="300900"/>
            </a:xfrm>
            <a:custGeom>
              <a:avLst/>
              <a:gdLst/>
              <a:ahLst/>
              <a:cxnLst/>
              <a:rect l="l" t="t" r="r" b="b"/>
              <a:pathLst>
                <a:path w="2899" h="12036" extrusionOk="0">
                  <a:moveTo>
                    <a:pt x="1859" y="694"/>
                  </a:moveTo>
                  <a:lnTo>
                    <a:pt x="1859" y="694"/>
                  </a:lnTo>
                  <a:cubicBezTo>
                    <a:pt x="1828" y="820"/>
                    <a:pt x="1796" y="946"/>
                    <a:pt x="1796" y="1040"/>
                  </a:cubicBezTo>
                  <a:cubicBezTo>
                    <a:pt x="1733" y="1418"/>
                    <a:pt x="1828" y="1765"/>
                    <a:pt x="2111" y="2112"/>
                  </a:cubicBezTo>
                  <a:cubicBezTo>
                    <a:pt x="2143" y="2143"/>
                    <a:pt x="2174" y="2238"/>
                    <a:pt x="2143" y="2301"/>
                  </a:cubicBezTo>
                  <a:cubicBezTo>
                    <a:pt x="2017" y="2584"/>
                    <a:pt x="1796" y="2773"/>
                    <a:pt x="1481" y="2773"/>
                  </a:cubicBezTo>
                  <a:cubicBezTo>
                    <a:pt x="1072" y="2773"/>
                    <a:pt x="757" y="2458"/>
                    <a:pt x="757" y="2080"/>
                  </a:cubicBezTo>
                  <a:cubicBezTo>
                    <a:pt x="757" y="1670"/>
                    <a:pt x="914" y="1324"/>
                    <a:pt x="1166" y="1103"/>
                  </a:cubicBezTo>
                  <a:cubicBezTo>
                    <a:pt x="1387" y="851"/>
                    <a:pt x="1576" y="788"/>
                    <a:pt x="1859" y="694"/>
                  </a:cubicBezTo>
                  <a:close/>
                  <a:moveTo>
                    <a:pt x="1450" y="3466"/>
                  </a:moveTo>
                  <a:cubicBezTo>
                    <a:pt x="1513" y="3529"/>
                    <a:pt x="1702" y="3781"/>
                    <a:pt x="1859" y="4600"/>
                  </a:cubicBezTo>
                  <a:cubicBezTo>
                    <a:pt x="1954" y="4726"/>
                    <a:pt x="1954" y="4789"/>
                    <a:pt x="1954" y="4884"/>
                  </a:cubicBezTo>
                  <a:lnTo>
                    <a:pt x="946" y="4884"/>
                  </a:lnTo>
                  <a:cubicBezTo>
                    <a:pt x="946" y="4789"/>
                    <a:pt x="1009" y="4726"/>
                    <a:pt x="1009" y="4600"/>
                  </a:cubicBezTo>
                  <a:cubicBezTo>
                    <a:pt x="1198" y="3781"/>
                    <a:pt x="1355" y="3529"/>
                    <a:pt x="1450" y="3466"/>
                  </a:cubicBezTo>
                  <a:close/>
                  <a:moveTo>
                    <a:pt x="2111" y="5546"/>
                  </a:moveTo>
                  <a:cubicBezTo>
                    <a:pt x="2174" y="6081"/>
                    <a:pt x="2237" y="6680"/>
                    <a:pt x="2237" y="7310"/>
                  </a:cubicBezTo>
                  <a:cubicBezTo>
                    <a:pt x="2174" y="9389"/>
                    <a:pt x="1796" y="10901"/>
                    <a:pt x="1481" y="11216"/>
                  </a:cubicBezTo>
                  <a:cubicBezTo>
                    <a:pt x="1387" y="11122"/>
                    <a:pt x="1198" y="10901"/>
                    <a:pt x="1040" y="10082"/>
                  </a:cubicBezTo>
                  <a:cubicBezTo>
                    <a:pt x="883" y="9326"/>
                    <a:pt x="757" y="8349"/>
                    <a:pt x="757" y="7310"/>
                  </a:cubicBezTo>
                  <a:cubicBezTo>
                    <a:pt x="757" y="6680"/>
                    <a:pt x="788" y="6081"/>
                    <a:pt x="883" y="5546"/>
                  </a:cubicBezTo>
                  <a:close/>
                  <a:moveTo>
                    <a:pt x="2489" y="1"/>
                  </a:moveTo>
                  <a:cubicBezTo>
                    <a:pt x="1796" y="1"/>
                    <a:pt x="1229" y="32"/>
                    <a:pt x="662" y="631"/>
                  </a:cubicBezTo>
                  <a:cubicBezTo>
                    <a:pt x="253" y="1009"/>
                    <a:pt x="1" y="1576"/>
                    <a:pt x="1" y="2112"/>
                  </a:cubicBezTo>
                  <a:cubicBezTo>
                    <a:pt x="1" y="2616"/>
                    <a:pt x="284" y="3088"/>
                    <a:pt x="725" y="3340"/>
                  </a:cubicBezTo>
                  <a:cubicBezTo>
                    <a:pt x="190" y="4285"/>
                    <a:pt x="1" y="6302"/>
                    <a:pt x="1" y="7436"/>
                  </a:cubicBezTo>
                  <a:cubicBezTo>
                    <a:pt x="1" y="8539"/>
                    <a:pt x="127" y="10555"/>
                    <a:pt x="725" y="11531"/>
                  </a:cubicBezTo>
                  <a:cubicBezTo>
                    <a:pt x="914" y="11878"/>
                    <a:pt x="1166" y="12036"/>
                    <a:pt x="1450" y="12036"/>
                  </a:cubicBezTo>
                  <a:cubicBezTo>
                    <a:pt x="1702" y="12036"/>
                    <a:pt x="1954" y="11878"/>
                    <a:pt x="2143" y="11531"/>
                  </a:cubicBezTo>
                  <a:cubicBezTo>
                    <a:pt x="2710" y="10586"/>
                    <a:pt x="2868" y="8570"/>
                    <a:pt x="2868" y="7436"/>
                  </a:cubicBezTo>
                  <a:cubicBezTo>
                    <a:pt x="2836" y="6239"/>
                    <a:pt x="2742" y="4254"/>
                    <a:pt x="2174" y="3309"/>
                  </a:cubicBezTo>
                  <a:cubicBezTo>
                    <a:pt x="2458" y="3151"/>
                    <a:pt x="2710" y="2868"/>
                    <a:pt x="2773" y="2553"/>
                  </a:cubicBezTo>
                  <a:cubicBezTo>
                    <a:pt x="2899" y="2238"/>
                    <a:pt x="2805" y="1923"/>
                    <a:pt x="2616" y="1670"/>
                  </a:cubicBezTo>
                  <a:cubicBezTo>
                    <a:pt x="2426" y="1450"/>
                    <a:pt x="2300" y="1135"/>
                    <a:pt x="2773" y="536"/>
                  </a:cubicBezTo>
                  <a:cubicBezTo>
                    <a:pt x="2836" y="410"/>
                    <a:pt x="2899" y="316"/>
                    <a:pt x="2805" y="190"/>
                  </a:cubicBezTo>
                  <a:cubicBezTo>
                    <a:pt x="2773" y="64"/>
                    <a:pt x="2616" y="1"/>
                    <a:pt x="2489"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10787" name="Google Shape;10787;p113"/>
          <p:cNvGrpSpPr/>
          <p:nvPr/>
        </p:nvGrpSpPr>
        <p:grpSpPr>
          <a:xfrm>
            <a:off x="1164161" y="3904379"/>
            <a:ext cx="418675" cy="478872"/>
            <a:chOff x="-47509225" y="1974175"/>
            <a:chExt cx="263075" cy="300900"/>
          </a:xfrm>
        </p:grpSpPr>
        <p:sp>
          <p:nvSpPr>
            <p:cNvPr id="10788" name="Google Shape;10788;p113"/>
            <p:cNvSpPr/>
            <p:nvPr/>
          </p:nvSpPr>
          <p:spPr>
            <a:xfrm>
              <a:off x="-47439925" y="2026950"/>
              <a:ext cx="124475" cy="124450"/>
            </a:xfrm>
            <a:custGeom>
              <a:avLst/>
              <a:gdLst/>
              <a:ahLst/>
              <a:cxnLst/>
              <a:rect l="l" t="t" r="r" b="b"/>
              <a:pathLst>
                <a:path w="4979" h="4978" extrusionOk="0">
                  <a:moveTo>
                    <a:pt x="1828" y="725"/>
                  </a:moveTo>
                  <a:cubicBezTo>
                    <a:pt x="2301" y="725"/>
                    <a:pt x="2679" y="1008"/>
                    <a:pt x="2805" y="1418"/>
                  </a:cubicBezTo>
                  <a:lnTo>
                    <a:pt x="1828" y="1418"/>
                  </a:lnTo>
                  <a:cubicBezTo>
                    <a:pt x="1607" y="1418"/>
                    <a:pt x="1450" y="1575"/>
                    <a:pt x="1450" y="1796"/>
                  </a:cubicBezTo>
                  <a:lnTo>
                    <a:pt x="1450" y="2773"/>
                  </a:lnTo>
                  <a:cubicBezTo>
                    <a:pt x="1040" y="2615"/>
                    <a:pt x="757" y="2206"/>
                    <a:pt x="757" y="1796"/>
                  </a:cubicBezTo>
                  <a:cubicBezTo>
                    <a:pt x="757" y="1197"/>
                    <a:pt x="1229" y="725"/>
                    <a:pt x="1828" y="725"/>
                  </a:cubicBezTo>
                  <a:close/>
                  <a:moveTo>
                    <a:pt x="2805" y="2143"/>
                  </a:moveTo>
                  <a:cubicBezTo>
                    <a:pt x="2679" y="2458"/>
                    <a:pt x="2458" y="2678"/>
                    <a:pt x="2175" y="2773"/>
                  </a:cubicBezTo>
                  <a:lnTo>
                    <a:pt x="2175" y="2143"/>
                  </a:lnTo>
                  <a:close/>
                  <a:moveTo>
                    <a:pt x="4254" y="2111"/>
                  </a:moveTo>
                  <a:lnTo>
                    <a:pt x="4254" y="4222"/>
                  </a:lnTo>
                  <a:lnTo>
                    <a:pt x="2143" y="4222"/>
                  </a:lnTo>
                  <a:lnTo>
                    <a:pt x="2143" y="3466"/>
                  </a:lnTo>
                  <a:cubicBezTo>
                    <a:pt x="2805" y="3308"/>
                    <a:pt x="3372" y="2804"/>
                    <a:pt x="3529" y="2111"/>
                  </a:cubicBezTo>
                  <a:close/>
                  <a:moveTo>
                    <a:pt x="1765" y="0"/>
                  </a:moveTo>
                  <a:cubicBezTo>
                    <a:pt x="788" y="0"/>
                    <a:pt x="1" y="788"/>
                    <a:pt x="1" y="1796"/>
                  </a:cubicBezTo>
                  <a:cubicBezTo>
                    <a:pt x="1" y="2647"/>
                    <a:pt x="599" y="3340"/>
                    <a:pt x="1418" y="3529"/>
                  </a:cubicBezTo>
                  <a:lnTo>
                    <a:pt x="1418" y="4631"/>
                  </a:lnTo>
                  <a:cubicBezTo>
                    <a:pt x="1418" y="4820"/>
                    <a:pt x="1576" y="4978"/>
                    <a:pt x="1765" y="4978"/>
                  </a:cubicBezTo>
                  <a:lnTo>
                    <a:pt x="4569" y="4978"/>
                  </a:lnTo>
                  <a:cubicBezTo>
                    <a:pt x="4789" y="4978"/>
                    <a:pt x="4916" y="4820"/>
                    <a:pt x="4916" y="4631"/>
                  </a:cubicBezTo>
                  <a:lnTo>
                    <a:pt x="4916" y="1827"/>
                  </a:lnTo>
                  <a:cubicBezTo>
                    <a:pt x="4979" y="1575"/>
                    <a:pt x="4821" y="1418"/>
                    <a:pt x="4600" y="1418"/>
                  </a:cubicBezTo>
                  <a:lnTo>
                    <a:pt x="3498" y="1418"/>
                  </a:lnTo>
                  <a:cubicBezTo>
                    <a:pt x="3340" y="630"/>
                    <a:pt x="2647" y="0"/>
                    <a:pt x="1765"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789" name="Google Shape;10789;p113"/>
            <p:cNvSpPr/>
            <p:nvPr/>
          </p:nvSpPr>
          <p:spPr>
            <a:xfrm>
              <a:off x="-47439125" y="2184475"/>
              <a:ext cx="88225" cy="18125"/>
            </a:xfrm>
            <a:custGeom>
              <a:avLst/>
              <a:gdLst/>
              <a:ahLst/>
              <a:cxnLst/>
              <a:rect l="l" t="t" r="r" b="b"/>
              <a:pathLst>
                <a:path w="3529" h="725" extrusionOk="0">
                  <a:moveTo>
                    <a:pt x="378" y="0"/>
                  </a:moveTo>
                  <a:cubicBezTo>
                    <a:pt x="158" y="0"/>
                    <a:pt x="32" y="158"/>
                    <a:pt x="32" y="378"/>
                  </a:cubicBezTo>
                  <a:cubicBezTo>
                    <a:pt x="0" y="567"/>
                    <a:pt x="158" y="725"/>
                    <a:pt x="378" y="725"/>
                  </a:cubicBezTo>
                  <a:lnTo>
                    <a:pt x="3182" y="725"/>
                  </a:lnTo>
                  <a:cubicBezTo>
                    <a:pt x="3371" y="725"/>
                    <a:pt x="3529" y="567"/>
                    <a:pt x="3529" y="378"/>
                  </a:cubicBezTo>
                  <a:cubicBezTo>
                    <a:pt x="3529" y="158"/>
                    <a:pt x="3371" y="0"/>
                    <a:pt x="3182"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790" name="Google Shape;10790;p113"/>
            <p:cNvSpPr/>
            <p:nvPr/>
          </p:nvSpPr>
          <p:spPr>
            <a:xfrm>
              <a:off x="-47438350" y="2219900"/>
              <a:ext cx="122900" cy="18150"/>
            </a:xfrm>
            <a:custGeom>
              <a:avLst/>
              <a:gdLst/>
              <a:ahLst/>
              <a:cxnLst/>
              <a:rect l="l" t="t" r="r" b="b"/>
              <a:pathLst>
                <a:path w="4916" h="726" extrusionOk="0">
                  <a:moveTo>
                    <a:pt x="347" y="1"/>
                  </a:moveTo>
                  <a:cubicBezTo>
                    <a:pt x="127" y="1"/>
                    <a:pt x="1" y="158"/>
                    <a:pt x="1" y="379"/>
                  </a:cubicBezTo>
                  <a:cubicBezTo>
                    <a:pt x="1" y="568"/>
                    <a:pt x="127" y="725"/>
                    <a:pt x="347" y="725"/>
                  </a:cubicBezTo>
                  <a:lnTo>
                    <a:pt x="4537" y="725"/>
                  </a:lnTo>
                  <a:cubicBezTo>
                    <a:pt x="4758" y="725"/>
                    <a:pt x="4916" y="568"/>
                    <a:pt x="4916" y="379"/>
                  </a:cubicBezTo>
                  <a:cubicBezTo>
                    <a:pt x="4916" y="158"/>
                    <a:pt x="4758" y="1"/>
                    <a:pt x="4537"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791" name="Google Shape;10791;p113"/>
            <p:cNvSpPr/>
            <p:nvPr/>
          </p:nvSpPr>
          <p:spPr>
            <a:xfrm>
              <a:off x="-47333600" y="2186050"/>
              <a:ext cx="18150" cy="17350"/>
            </a:xfrm>
            <a:custGeom>
              <a:avLst/>
              <a:gdLst/>
              <a:ahLst/>
              <a:cxnLst/>
              <a:rect l="l" t="t" r="r" b="b"/>
              <a:pathLst>
                <a:path w="726" h="694" extrusionOk="0">
                  <a:moveTo>
                    <a:pt x="347" y="0"/>
                  </a:moveTo>
                  <a:cubicBezTo>
                    <a:pt x="158" y="0"/>
                    <a:pt x="1" y="158"/>
                    <a:pt x="1" y="347"/>
                  </a:cubicBezTo>
                  <a:cubicBezTo>
                    <a:pt x="1" y="536"/>
                    <a:pt x="158" y="693"/>
                    <a:pt x="347" y="693"/>
                  </a:cubicBezTo>
                  <a:cubicBezTo>
                    <a:pt x="568" y="693"/>
                    <a:pt x="726" y="536"/>
                    <a:pt x="726" y="347"/>
                  </a:cubicBezTo>
                  <a:cubicBezTo>
                    <a:pt x="726" y="126"/>
                    <a:pt x="568" y="0"/>
                    <a:pt x="347"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792" name="Google Shape;10792;p113"/>
            <p:cNvSpPr/>
            <p:nvPr/>
          </p:nvSpPr>
          <p:spPr>
            <a:xfrm>
              <a:off x="-47509225" y="1974175"/>
              <a:ext cx="263075" cy="300900"/>
            </a:xfrm>
            <a:custGeom>
              <a:avLst/>
              <a:gdLst/>
              <a:ahLst/>
              <a:cxnLst/>
              <a:rect l="l" t="t" r="r" b="b"/>
              <a:pathLst>
                <a:path w="10523" h="12036" extrusionOk="0">
                  <a:moveTo>
                    <a:pt x="9483" y="2111"/>
                  </a:moveTo>
                  <a:cubicBezTo>
                    <a:pt x="9672" y="2111"/>
                    <a:pt x="9830" y="2269"/>
                    <a:pt x="9830" y="2489"/>
                  </a:cubicBezTo>
                  <a:lnTo>
                    <a:pt x="9830" y="3529"/>
                  </a:lnTo>
                  <a:lnTo>
                    <a:pt x="9105" y="3529"/>
                  </a:lnTo>
                  <a:lnTo>
                    <a:pt x="9105" y="2111"/>
                  </a:lnTo>
                  <a:close/>
                  <a:moveTo>
                    <a:pt x="9830" y="4222"/>
                  </a:moveTo>
                  <a:lnTo>
                    <a:pt x="9830" y="5640"/>
                  </a:lnTo>
                  <a:lnTo>
                    <a:pt x="9105" y="5640"/>
                  </a:lnTo>
                  <a:lnTo>
                    <a:pt x="9105" y="4222"/>
                  </a:lnTo>
                  <a:close/>
                  <a:moveTo>
                    <a:pt x="9861" y="6333"/>
                  </a:moveTo>
                  <a:lnTo>
                    <a:pt x="9861" y="7751"/>
                  </a:lnTo>
                  <a:lnTo>
                    <a:pt x="9168" y="7751"/>
                  </a:lnTo>
                  <a:lnTo>
                    <a:pt x="9168" y="6333"/>
                  </a:lnTo>
                  <a:close/>
                  <a:moveTo>
                    <a:pt x="9830" y="8412"/>
                  </a:moveTo>
                  <a:lnTo>
                    <a:pt x="9830" y="9483"/>
                  </a:lnTo>
                  <a:cubicBezTo>
                    <a:pt x="9830" y="9672"/>
                    <a:pt x="9672" y="9830"/>
                    <a:pt x="9483" y="9830"/>
                  </a:cubicBezTo>
                  <a:lnTo>
                    <a:pt x="9137" y="9830"/>
                  </a:lnTo>
                  <a:lnTo>
                    <a:pt x="9137" y="8412"/>
                  </a:lnTo>
                  <a:close/>
                  <a:moveTo>
                    <a:pt x="8444" y="630"/>
                  </a:moveTo>
                  <a:lnTo>
                    <a:pt x="8444" y="11248"/>
                  </a:lnTo>
                  <a:lnTo>
                    <a:pt x="1450" y="11248"/>
                  </a:lnTo>
                  <a:lnTo>
                    <a:pt x="1450" y="10554"/>
                  </a:lnTo>
                  <a:lnTo>
                    <a:pt x="1796" y="10554"/>
                  </a:lnTo>
                  <a:cubicBezTo>
                    <a:pt x="1985" y="10554"/>
                    <a:pt x="2143" y="10397"/>
                    <a:pt x="2143" y="10176"/>
                  </a:cubicBezTo>
                  <a:cubicBezTo>
                    <a:pt x="2143" y="9987"/>
                    <a:pt x="1985" y="9830"/>
                    <a:pt x="1796" y="9830"/>
                  </a:cubicBezTo>
                  <a:lnTo>
                    <a:pt x="1450" y="9830"/>
                  </a:lnTo>
                  <a:lnTo>
                    <a:pt x="1450" y="8412"/>
                  </a:lnTo>
                  <a:lnTo>
                    <a:pt x="1796" y="8412"/>
                  </a:lnTo>
                  <a:cubicBezTo>
                    <a:pt x="1985" y="8412"/>
                    <a:pt x="2143" y="8255"/>
                    <a:pt x="2143" y="8066"/>
                  </a:cubicBezTo>
                  <a:cubicBezTo>
                    <a:pt x="2143" y="7877"/>
                    <a:pt x="1985" y="7719"/>
                    <a:pt x="1796" y="7719"/>
                  </a:cubicBezTo>
                  <a:lnTo>
                    <a:pt x="1450" y="7719"/>
                  </a:lnTo>
                  <a:lnTo>
                    <a:pt x="1450" y="6301"/>
                  </a:lnTo>
                  <a:lnTo>
                    <a:pt x="1796" y="6301"/>
                  </a:lnTo>
                  <a:cubicBezTo>
                    <a:pt x="1985" y="6301"/>
                    <a:pt x="2143" y="6144"/>
                    <a:pt x="2143" y="5923"/>
                  </a:cubicBezTo>
                  <a:cubicBezTo>
                    <a:pt x="2143" y="5734"/>
                    <a:pt x="1985" y="5577"/>
                    <a:pt x="1796" y="5577"/>
                  </a:cubicBezTo>
                  <a:lnTo>
                    <a:pt x="1450" y="5577"/>
                  </a:lnTo>
                  <a:lnTo>
                    <a:pt x="1450" y="4159"/>
                  </a:lnTo>
                  <a:lnTo>
                    <a:pt x="1796" y="4159"/>
                  </a:lnTo>
                  <a:cubicBezTo>
                    <a:pt x="1985" y="4159"/>
                    <a:pt x="2143" y="4001"/>
                    <a:pt x="2143" y="3812"/>
                  </a:cubicBezTo>
                  <a:cubicBezTo>
                    <a:pt x="2143" y="3623"/>
                    <a:pt x="1985" y="3466"/>
                    <a:pt x="1796" y="3466"/>
                  </a:cubicBezTo>
                  <a:lnTo>
                    <a:pt x="1450" y="3466"/>
                  </a:lnTo>
                  <a:lnTo>
                    <a:pt x="1450" y="2048"/>
                  </a:lnTo>
                  <a:lnTo>
                    <a:pt x="1796" y="2048"/>
                  </a:lnTo>
                  <a:cubicBezTo>
                    <a:pt x="1985" y="2048"/>
                    <a:pt x="2143" y="1891"/>
                    <a:pt x="2143" y="1670"/>
                  </a:cubicBezTo>
                  <a:cubicBezTo>
                    <a:pt x="2143" y="1481"/>
                    <a:pt x="1985" y="1324"/>
                    <a:pt x="1796" y="1324"/>
                  </a:cubicBezTo>
                  <a:lnTo>
                    <a:pt x="1450" y="1324"/>
                  </a:lnTo>
                  <a:lnTo>
                    <a:pt x="1450" y="630"/>
                  </a:lnTo>
                  <a:close/>
                  <a:moveTo>
                    <a:pt x="1040" y="0"/>
                  </a:moveTo>
                  <a:cubicBezTo>
                    <a:pt x="851" y="0"/>
                    <a:pt x="693" y="158"/>
                    <a:pt x="693" y="347"/>
                  </a:cubicBezTo>
                  <a:lnTo>
                    <a:pt x="693" y="1418"/>
                  </a:lnTo>
                  <a:lnTo>
                    <a:pt x="347" y="1418"/>
                  </a:lnTo>
                  <a:cubicBezTo>
                    <a:pt x="158" y="1418"/>
                    <a:pt x="0" y="1576"/>
                    <a:pt x="0" y="1765"/>
                  </a:cubicBezTo>
                  <a:cubicBezTo>
                    <a:pt x="0" y="1954"/>
                    <a:pt x="158" y="2111"/>
                    <a:pt x="347" y="2111"/>
                  </a:cubicBezTo>
                  <a:lnTo>
                    <a:pt x="693" y="2111"/>
                  </a:lnTo>
                  <a:lnTo>
                    <a:pt x="693" y="3529"/>
                  </a:lnTo>
                  <a:lnTo>
                    <a:pt x="347" y="3529"/>
                  </a:lnTo>
                  <a:cubicBezTo>
                    <a:pt x="158" y="3529"/>
                    <a:pt x="0" y="3686"/>
                    <a:pt x="0" y="3907"/>
                  </a:cubicBezTo>
                  <a:cubicBezTo>
                    <a:pt x="0" y="4096"/>
                    <a:pt x="158" y="4254"/>
                    <a:pt x="347" y="4254"/>
                  </a:cubicBezTo>
                  <a:lnTo>
                    <a:pt x="693" y="4254"/>
                  </a:lnTo>
                  <a:lnTo>
                    <a:pt x="693" y="5671"/>
                  </a:lnTo>
                  <a:lnTo>
                    <a:pt x="347" y="5671"/>
                  </a:lnTo>
                  <a:cubicBezTo>
                    <a:pt x="158" y="5671"/>
                    <a:pt x="0" y="5829"/>
                    <a:pt x="0" y="6018"/>
                  </a:cubicBezTo>
                  <a:cubicBezTo>
                    <a:pt x="0" y="6207"/>
                    <a:pt x="158" y="6364"/>
                    <a:pt x="347" y="6364"/>
                  </a:cubicBezTo>
                  <a:lnTo>
                    <a:pt x="693" y="6364"/>
                  </a:lnTo>
                  <a:lnTo>
                    <a:pt x="693" y="7782"/>
                  </a:lnTo>
                  <a:lnTo>
                    <a:pt x="347" y="7782"/>
                  </a:lnTo>
                  <a:cubicBezTo>
                    <a:pt x="158" y="7782"/>
                    <a:pt x="0" y="7940"/>
                    <a:pt x="0" y="8160"/>
                  </a:cubicBezTo>
                  <a:cubicBezTo>
                    <a:pt x="0" y="8349"/>
                    <a:pt x="158" y="8507"/>
                    <a:pt x="347" y="8507"/>
                  </a:cubicBezTo>
                  <a:lnTo>
                    <a:pt x="693" y="8507"/>
                  </a:lnTo>
                  <a:lnTo>
                    <a:pt x="693" y="9924"/>
                  </a:lnTo>
                  <a:lnTo>
                    <a:pt x="347" y="9924"/>
                  </a:lnTo>
                  <a:cubicBezTo>
                    <a:pt x="158" y="9924"/>
                    <a:pt x="0" y="10082"/>
                    <a:pt x="0" y="10271"/>
                  </a:cubicBezTo>
                  <a:cubicBezTo>
                    <a:pt x="0" y="10460"/>
                    <a:pt x="158" y="10617"/>
                    <a:pt x="347" y="10617"/>
                  </a:cubicBezTo>
                  <a:lnTo>
                    <a:pt x="693" y="10617"/>
                  </a:lnTo>
                  <a:lnTo>
                    <a:pt x="693" y="11689"/>
                  </a:lnTo>
                  <a:cubicBezTo>
                    <a:pt x="693" y="11878"/>
                    <a:pt x="851" y="12035"/>
                    <a:pt x="1040" y="12035"/>
                  </a:cubicBezTo>
                  <a:lnTo>
                    <a:pt x="8759" y="12035"/>
                  </a:lnTo>
                  <a:cubicBezTo>
                    <a:pt x="8979" y="12035"/>
                    <a:pt x="9137" y="11878"/>
                    <a:pt x="9137" y="11689"/>
                  </a:cubicBezTo>
                  <a:lnTo>
                    <a:pt x="9137" y="10617"/>
                  </a:lnTo>
                  <a:lnTo>
                    <a:pt x="9483" y="10617"/>
                  </a:lnTo>
                  <a:cubicBezTo>
                    <a:pt x="10050" y="10617"/>
                    <a:pt x="10523" y="10145"/>
                    <a:pt x="10523" y="9578"/>
                  </a:cubicBezTo>
                  <a:lnTo>
                    <a:pt x="10523" y="2552"/>
                  </a:lnTo>
                  <a:cubicBezTo>
                    <a:pt x="10523" y="1891"/>
                    <a:pt x="10050" y="1418"/>
                    <a:pt x="9483" y="1418"/>
                  </a:cubicBezTo>
                  <a:lnTo>
                    <a:pt x="9137" y="1418"/>
                  </a:lnTo>
                  <a:lnTo>
                    <a:pt x="9137" y="347"/>
                  </a:lnTo>
                  <a:cubicBezTo>
                    <a:pt x="9137" y="158"/>
                    <a:pt x="8979" y="0"/>
                    <a:pt x="8759"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10793" name="Google Shape;10793;p113"/>
          <p:cNvGrpSpPr/>
          <p:nvPr/>
        </p:nvGrpSpPr>
        <p:grpSpPr>
          <a:xfrm>
            <a:off x="1132829" y="4499758"/>
            <a:ext cx="481339" cy="477281"/>
            <a:chOff x="-47529700" y="2342000"/>
            <a:chExt cx="302450" cy="299900"/>
          </a:xfrm>
        </p:grpSpPr>
        <p:sp>
          <p:nvSpPr>
            <p:cNvPr id="10794" name="Google Shape;10794;p113"/>
            <p:cNvSpPr/>
            <p:nvPr/>
          </p:nvSpPr>
          <p:spPr>
            <a:xfrm>
              <a:off x="-47529700" y="2342000"/>
              <a:ext cx="302450" cy="299900"/>
            </a:xfrm>
            <a:custGeom>
              <a:avLst/>
              <a:gdLst/>
              <a:ahLst/>
              <a:cxnLst/>
              <a:rect l="l" t="t" r="r" b="b"/>
              <a:pathLst>
                <a:path w="12098" h="11996" extrusionOk="0">
                  <a:moveTo>
                    <a:pt x="7530" y="725"/>
                  </a:moveTo>
                  <a:cubicBezTo>
                    <a:pt x="9672" y="725"/>
                    <a:pt x="11405" y="2457"/>
                    <a:pt x="11405" y="4568"/>
                  </a:cubicBezTo>
                  <a:cubicBezTo>
                    <a:pt x="11405" y="6711"/>
                    <a:pt x="9672" y="8443"/>
                    <a:pt x="7530" y="8443"/>
                  </a:cubicBezTo>
                  <a:cubicBezTo>
                    <a:pt x="5419" y="8443"/>
                    <a:pt x="3686" y="6711"/>
                    <a:pt x="3686" y="4568"/>
                  </a:cubicBezTo>
                  <a:cubicBezTo>
                    <a:pt x="3686" y="2457"/>
                    <a:pt x="5419" y="725"/>
                    <a:pt x="7530" y="725"/>
                  </a:cubicBezTo>
                  <a:close/>
                  <a:moveTo>
                    <a:pt x="4064" y="7530"/>
                  </a:moveTo>
                  <a:cubicBezTo>
                    <a:pt x="4222" y="7719"/>
                    <a:pt x="4379" y="7876"/>
                    <a:pt x="4568" y="8034"/>
                  </a:cubicBezTo>
                  <a:lnTo>
                    <a:pt x="3686" y="8947"/>
                  </a:lnTo>
                  <a:lnTo>
                    <a:pt x="3151" y="8443"/>
                  </a:lnTo>
                  <a:lnTo>
                    <a:pt x="4064" y="7530"/>
                  </a:lnTo>
                  <a:close/>
                  <a:moveTo>
                    <a:pt x="2647" y="8916"/>
                  </a:moveTo>
                  <a:lnTo>
                    <a:pt x="3151" y="9420"/>
                  </a:lnTo>
                  <a:lnTo>
                    <a:pt x="1386" y="11184"/>
                  </a:lnTo>
                  <a:cubicBezTo>
                    <a:pt x="1323" y="11247"/>
                    <a:pt x="1237" y="11279"/>
                    <a:pt x="1146" y="11279"/>
                  </a:cubicBezTo>
                  <a:cubicBezTo>
                    <a:pt x="1056" y="11279"/>
                    <a:pt x="961" y="11247"/>
                    <a:pt x="882" y="11184"/>
                  </a:cubicBezTo>
                  <a:cubicBezTo>
                    <a:pt x="756" y="11090"/>
                    <a:pt x="756" y="10838"/>
                    <a:pt x="882" y="10680"/>
                  </a:cubicBezTo>
                  <a:lnTo>
                    <a:pt x="2647" y="8916"/>
                  </a:lnTo>
                  <a:close/>
                  <a:moveTo>
                    <a:pt x="7530" y="0"/>
                  </a:moveTo>
                  <a:cubicBezTo>
                    <a:pt x="5009" y="0"/>
                    <a:pt x="2962" y="2048"/>
                    <a:pt x="2962" y="4568"/>
                  </a:cubicBezTo>
                  <a:cubicBezTo>
                    <a:pt x="2962" y="5450"/>
                    <a:pt x="3214" y="6270"/>
                    <a:pt x="3623" y="6963"/>
                  </a:cubicBezTo>
                  <a:lnTo>
                    <a:pt x="410" y="10208"/>
                  </a:lnTo>
                  <a:cubicBezTo>
                    <a:pt x="0" y="10586"/>
                    <a:pt x="0" y="11279"/>
                    <a:pt x="410" y="11688"/>
                  </a:cubicBezTo>
                  <a:cubicBezTo>
                    <a:pt x="599" y="11893"/>
                    <a:pt x="867" y="11996"/>
                    <a:pt x="1138" y="11996"/>
                  </a:cubicBezTo>
                  <a:cubicBezTo>
                    <a:pt x="1410" y="11996"/>
                    <a:pt x="1686" y="11893"/>
                    <a:pt x="1890" y="11688"/>
                  </a:cubicBezTo>
                  <a:lnTo>
                    <a:pt x="5135" y="8475"/>
                  </a:lnTo>
                  <a:cubicBezTo>
                    <a:pt x="5829" y="8916"/>
                    <a:pt x="6679" y="9137"/>
                    <a:pt x="7530" y="9137"/>
                  </a:cubicBezTo>
                  <a:cubicBezTo>
                    <a:pt x="10050" y="9137"/>
                    <a:pt x="12098" y="7089"/>
                    <a:pt x="12098" y="4568"/>
                  </a:cubicBezTo>
                  <a:cubicBezTo>
                    <a:pt x="12098" y="2048"/>
                    <a:pt x="10050" y="0"/>
                    <a:pt x="7530"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795" name="Google Shape;10795;p113"/>
            <p:cNvSpPr/>
            <p:nvPr/>
          </p:nvSpPr>
          <p:spPr>
            <a:xfrm>
              <a:off x="-47404475" y="2395550"/>
              <a:ext cx="124475" cy="123675"/>
            </a:xfrm>
            <a:custGeom>
              <a:avLst/>
              <a:gdLst/>
              <a:ahLst/>
              <a:cxnLst/>
              <a:rect l="l" t="t" r="r" b="b"/>
              <a:pathLst>
                <a:path w="4979" h="4947" extrusionOk="0">
                  <a:moveTo>
                    <a:pt x="2804" y="2080"/>
                  </a:moveTo>
                  <a:cubicBezTo>
                    <a:pt x="2678" y="2395"/>
                    <a:pt x="2458" y="2647"/>
                    <a:pt x="2174" y="2710"/>
                  </a:cubicBezTo>
                  <a:lnTo>
                    <a:pt x="2174" y="2080"/>
                  </a:lnTo>
                  <a:close/>
                  <a:moveTo>
                    <a:pt x="1828" y="694"/>
                  </a:moveTo>
                  <a:cubicBezTo>
                    <a:pt x="2300" y="694"/>
                    <a:pt x="2678" y="977"/>
                    <a:pt x="2804" y="1418"/>
                  </a:cubicBezTo>
                  <a:lnTo>
                    <a:pt x="1828" y="1418"/>
                  </a:lnTo>
                  <a:cubicBezTo>
                    <a:pt x="1607" y="1418"/>
                    <a:pt x="1481" y="1576"/>
                    <a:pt x="1481" y="1765"/>
                  </a:cubicBezTo>
                  <a:lnTo>
                    <a:pt x="1481" y="2741"/>
                  </a:lnTo>
                  <a:cubicBezTo>
                    <a:pt x="1072" y="2584"/>
                    <a:pt x="757" y="2206"/>
                    <a:pt x="757" y="1765"/>
                  </a:cubicBezTo>
                  <a:cubicBezTo>
                    <a:pt x="757" y="1166"/>
                    <a:pt x="1229" y="694"/>
                    <a:pt x="1828" y="694"/>
                  </a:cubicBezTo>
                  <a:close/>
                  <a:moveTo>
                    <a:pt x="4254" y="2080"/>
                  </a:moveTo>
                  <a:lnTo>
                    <a:pt x="4254" y="4222"/>
                  </a:lnTo>
                  <a:lnTo>
                    <a:pt x="2143" y="4222"/>
                  </a:lnTo>
                  <a:lnTo>
                    <a:pt x="2143" y="3466"/>
                  </a:lnTo>
                  <a:cubicBezTo>
                    <a:pt x="2804" y="3308"/>
                    <a:pt x="3371" y="2804"/>
                    <a:pt x="3498" y="2080"/>
                  </a:cubicBezTo>
                  <a:close/>
                  <a:moveTo>
                    <a:pt x="1796" y="0"/>
                  </a:moveTo>
                  <a:cubicBezTo>
                    <a:pt x="788" y="0"/>
                    <a:pt x="0" y="788"/>
                    <a:pt x="0" y="1765"/>
                  </a:cubicBezTo>
                  <a:cubicBezTo>
                    <a:pt x="0" y="2615"/>
                    <a:pt x="599" y="3340"/>
                    <a:pt x="1418" y="3497"/>
                  </a:cubicBezTo>
                  <a:lnTo>
                    <a:pt x="1418" y="4600"/>
                  </a:lnTo>
                  <a:cubicBezTo>
                    <a:pt x="1418" y="4789"/>
                    <a:pt x="1576" y="4947"/>
                    <a:pt x="1796" y="4947"/>
                  </a:cubicBezTo>
                  <a:lnTo>
                    <a:pt x="4569" y="4947"/>
                  </a:lnTo>
                  <a:cubicBezTo>
                    <a:pt x="4789" y="4947"/>
                    <a:pt x="4947" y="4789"/>
                    <a:pt x="4947" y="4600"/>
                  </a:cubicBezTo>
                  <a:lnTo>
                    <a:pt x="4947" y="1796"/>
                  </a:lnTo>
                  <a:cubicBezTo>
                    <a:pt x="4978" y="1576"/>
                    <a:pt x="4821" y="1418"/>
                    <a:pt x="4632" y="1418"/>
                  </a:cubicBezTo>
                  <a:lnTo>
                    <a:pt x="3498" y="1418"/>
                  </a:lnTo>
                  <a:cubicBezTo>
                    <a:pt x="3371" y="631"/>
                    <a:pt x="2647" y="0"/>
                    <a:pt x="1796"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10796" name="Google Shape;10796;p113"/>
          <p:cNvGrpSpPr/>
          <p:nvPr/>
        </p:nvGrpSpPr>
        <p:grpSpPr>
          <a:xfrm>
            <a:off x="1134701" y="5165289"/>
            <a:ext cx="477599" cy="363531"/>
            <a:chOff x="-47527350" y="2747625"/>
            <a:chExt cx="300100" cy="228425"/>
          </a:xfrm>
        </p:grpSpPr>
        <p:sp>
          <p:nvSpPr>
            <p:cNvPr id="10797" name="Google Shape;10797;p113"/>
            <p:cNvSpPr/>
            <p:nvPr/>
          </p:nvSpPr>
          <p:spPr>
            <a:xfrm>
              <a:off x="-47475350" y="2782275"/>
              <a:ext cx="124450" cy="124475"/>
            </a:xfrm>
            <a:custGeom>
              <a:avLst/>
              <a:gdLst/>
              <a:ahLst/>
              <a:cxnLst/>
              <a:rect l="l" t="t" r="r" b="b"/>
              <a:pathLst>
                <a:path w="4978" h="4979" extrusionOk="0">
                  <a:moveTo>
                    <a:pt x="2804" y="2080"/>
                  </a:moveTo>
                  <a:cubicBezTo>
                    <a:pt x="2678" y="2395"/>
                    <a:pt x="2457" y="2647"/>
                    <a:pt x="2174" y="2710"/>
                  </a:cubicBezTo>
                  <a:lnTo>
                    <a:pt x="2174" y="2080"/>
                  </a:lnTo>
                  <a:close/>
                  <a:moveTo>
                    <a:pt x="1827" y="725"/>
                  </a:moveTo>
                  <a:cubicBezTo>
                    <a:pt x="2300" y="725"/>
                    <a:pt x="2678" y="977"/>
                    <a:pt x="2804" y="1418"/>
                  </a:cubicBezTo>
                  <a:lnTo>
                    <a:pt x="1827" y="1418"/>
                  </a:lnTo>
                  <a:cubicBezTo>
                    <a:pt x="1607" y="1418"/>
                    <a:pt x="1481" y="1576"/>
                    <a:pt x="1481" y="1765"/>
                  </a:cubicBezTo>
                  <a:lnTo>
                    <a:pt x="1481" y="2773"/>
                  </a:lnTo>
                  <a:cubicBezTo>
                    <a:pt x="1071" y="2615"/>
                    <a:pt x="756" y="2206"/>
                    <a:pt x="756" y="1765"/>
                  </a:cubicBezTo>
                  <a:cubicBezTo>
                    <a:pt x="756" y="1197"/>
                    <a:pt x="1229" y="725"/>
                    <a:pt x="1827" y="725"/>
                  </a:cubicBezTo>
                  <a:close/>
                  <a:moveTo>
                    <a:pt x="4253" y="2080"/>
                  </a:moveTo>
                  <a:lnTo>
                    <a:pt x="4253" y="4222"/>
                  </a:lnTo>
                  <a:lnTo>
                    <a:pt x="2142" y="4222"/>
                  </a:lnTo>
                  <a:lnTo>
                    <a:pt x="2142" y="3466"/>
                  </a:lnTo>
                  <a:cubicBezTo>
                    <a:pt x="2804" y="3308"/>
                    <a:pt x="3371" y="2804"/>
                    <a:pt x="3529" y="2080"/>
                  </a:cubicBezTo>
                  <a:close/>
                  <a:moveTo>
                    <a:pt x="1764" y="0"/>
                  </a:moveTo>
                  <a:cubicBezTo>
                    <a:pt x="788" y="0"/>
                    <a:pt x="0" y="788"/>
                    <a:pt x="0" y="1765"/>
                  </a:cubicBezTo>
                  <a:cubicBezTo>
                    <a:pt x="0" y="2647"/>
                    <a:pt x="599" y="3340"/>
                    <a:pt x="1418" y="3497"/>
                  </a:cubicBezTo>
                  <a:lnTo>
                    <a:pt x="1418" y="4600"/>
                  </a:lnTo>
                  <a:cubicBezTo>
                    <a:pt x="1418" y="4821"/>
                    <a:pt x="1575" y="4978"/>
                    <a:pt x="1764" y="4978"/>
                  </a:cubicBezTo>
                  <a:lnTo>
                    <a:pt x="4568" y="4978"/>
                  </a:lnTo>
                  <a:cubicBezTo>
                    <a:pt x="4757" y="4978"/>
                    <a:pt x="4915" y="4821"/>
                    <a:pt x="4915" y="4600"/>
                  </a:cubicBezTo>
                  <a:lnTo>
                    <a:pt x="4915" y="1828"/>
                  </a:lnTo>
                  <a:cubicBezTo>
                    <a:pt x="4978" y="1576"/>
                    <a:pt x="4820" y="1418"/>
                    <a:pt x="4600" y="1418"/>
                  </a:cubicBezTo>
                  <a:lnTo>
                    <a:pt x="3497" y="1418"/>
                  </a:lnTo>
                  <a:cubicBezTo>
                    <a:pt x="3340" y="630"/>
                    <a:pt x="2646" y="0"/>
                    <a:pt x="1764"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798" name="Google Shape;10798;p113"/>
            <p:cNvSpPr/>
            <p:nvPr/>
          </p:nvSpPr>
          <p:spPr>
            <a:xfrm>
              <a:off x="-47333600" y="2782275"/>
              <a:ext cx="53600" cy="18125"/>
            </a:xfrm>
            <a:custGeom>
              <a:avLst/>
              <a:gdLst/>
              <a:ahLst/>
              <a:cxnLst/>
              <a:rect l="l" t="t" r="r" b="b"/>
              <a:pathLst>
                <a:path w="2144" h="725" extrusionOk="0">
                  <a:moveTo>
                    <a:pt x="347" y="0"/>
                  </a:moveTo>
                  <a:cubicBezTo>
                    <a:pt x="158" y="0"/>
                    <a:pt x="1" y="158"/>
                    <a:pt x="1" y="347"/>
                  </a:cubicBezTo>
                  <a:cubicBezTo>
                    <a:pt x="1" y="567"/>
                    <a:pt x="158" y="725"/>
                    <a:pt x="347" y="725"/>
                  </a:cubicBezTo>
                  <a:lnTo>
                    <a:pt x="1797" y="725"/>
                  </a:lnTo>
                  <a:cubicBezTo>
                    <a:pt x="1986" y="725"/>
                    <a:pt x="2143" y="567"/>
                    <a:pt x="2143" y="347"/>
                  </a:cubicBezTo>
                  <a:cubicBezTo>
                    <a:pt x="2143" y="158"/>
                    <a:pt x="1986" y="0"/>
                    <a:pt x="1797"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799" name="Google Shape;10799;p113"/>
            <p:cNvSpPr/>
            <p:nvPr/>
          </p:nvSpPr>
          <p:spPr>
            <a:xfrm>
              <a:off x="-47333600" y="2817725"/>
              <a:ext cx="53600" cy="18125"/>
            </a:xfrm>
            <a:custGeom>
              <a:avLst/>
              <a:gdLst/>
              <a:ahLst/>
              <a:cxnLst/>
              <a:rect l="l" t="t" r="r" b="b"/>
              <a:pathLst>
                <a:path w="2144" h="725" extrusionOk="0">
                  <a:moveTo>
                    <a:pt x="347" y="0"/>
                  </a:moveTo>
                  <a:cubicBezTo>
                    <a:pt x="158" y="0"/>
                    <a:pt x="1" y="158"/>
                    <a:pt x="1" y="347"/>
                  </a:cubicBezTo>
                  <a:cubicBezTo>
                    <a:pt x="1" y="567"/>
                    <a:pt x="158" y="725"/>
                    <a:pt x="347" y="725"/>
                  </a:cubicBezTo>
                  <a:lnTo>
                    <a:pt x="1797" y="725"/>
                  </a:lnTo>
                  <a:cubicBezTo>
                    <a:pt x="1986" y="725"/>
                    <a:pt x="2143" y="567"/>
                    <a:pt x="2143" y="347"/>
                  </a:cubicBezTo>
                  <a:cubicBezTo>
                    <a:pt x="2143" y="158"/>
                    <a:pt x="1986" y="0"/>
                    <a:pt x="1797"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800" name="Google Shape;10800;p113"/>
            <p:cNvSpPr/>
            <p:nvPr/>
          </p:nvSpPr>
          <p:spPr>
            <a:xfrm>
              <a:off x="-47333600" y="2852375"/>
              <a:ext cx="53600" cy="17350"/>
            </a:xfrm>
            <a:custGeom>
              <a:avLst/>
              <a:gdLst/>
              <a:ahLst/>
              <a:cxnLst/>
              <a:rect l="l" t="t" r="r" b="b"/>
              <a:pathLst>
                <a:path w="2144" h="694" extrusionOk="0">
                  <a:moveTo>
                    <a:pt x="347" y="0"/>
                  </a:moveTo>
                  <a:cubicBezTo>
                    <a:pt x="158" y="0"/>
                    <a:pt x="1" y="158"/>
                    <a:pt x="1" y="347"/>
                  </a:cubicBezTo>
                  <a:cubicBezTo>
                    <a:pt x="1" y="536"/>
                    <a:pt x="158" y="693"/>
                    <a:pt x="347" y="693"/>
                  </a:cubicBezTo>
                  <a:lnTo>
                    <a:pt x="1797" y="693"/>
                  </a:lnTo>
                  <a:cubicBezTo>
                    <a:pt x="1986" y="693"/>
                    <a:pt x="2143" y="536"/>
                    <a:pt x="2143" y="347"/>
                  </a:cubicBezTo>
                  <a:cubicBezTo>
                    <a:pt x="2143" y="158"/>
                    <a:pt x="1986" y="0"/>
                    <a:pt x="1797"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801" name="Google Shape;10801;p113"/>
            <p:cNvSpPr/>
            <p:nvPr/>
          </p:nvSpPr>
          <p:spPr>
            <a:xfrm>
              <a:off x="-47333600" y="2887800"/>
              <a:ext cx="53600" cy="17375"/>
            </a:xfrm>
            <a:custGeom>
              <a:avLst/>
              <a:gdLst/>
              <a:ahLst/>
              <a:cxnLst/>
              <a:rect l="l" t="t" r="r" b="b"/>
              <a:pathLst>
                <a:path w="2144" h="695" extrusionOk="0">
                  <a:moveTo>
                    <a:pt x="347" y="1"/>
                  </a:moveTo>
                  <a:cubicBezTo>
                    <a:pt x="158" y="1"/>
                    <a:pt x="1" y="158"/>
                    <a:pt x="1" y="347"/>
                  </a:cubicBezTo>
                  <a:cubicBezTo>
                    <a:pt x="1" y="537"/>
                    <a:pt x="158" y="694"/>
                    <a:pt x="347" y="694"/>
                  </a:cubicBezTo>
                  <a:lnTo>
                    <a:pt x="1797" y="694"/>
                  </a:lnTo>
                  <a:cubicBezTo>
                    <a:pt x="1986" y="694"/>
                    <a:pt x="2143" y="537"/>
                    <a:pt x="2143" y="347"/>
                  </a:cubicBezTo>
                  <a:cubicBezTo>
                    <a:pt x="2143" y="158"/>
                    <a:pt x="1986" y="1"/>
                    <a:pt x="1797"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802" name="Google Shape;10802;p113"/>
            <p:cNvSpPr/>
            <p:nvPr/>
          </p:nvSpPr>
          <p:spPr>
            <a:xfrm>
              <a:off x="-47527350" y="2747625"/>
              <a:ext cx="300100" cy="228425"/>
            </a:xfrm>
            <a:custGeom>
              <a:avLst/>
              <a:gdLst/>
              <a:ahLst/>
              <a:cxnLst/>
              <a:rect l="l" t="t" r="r" b="b"/>
              <a:pathLst>
                <a:path w="12004" h="9137" extrusionOk="0">
                  <a:moveTo>
                    <a:pt x="10586" y="693"/>
                  </a:moveTo>
                  <a:lnTo>
                    <a:pt x="10586" y="7026"/>
                  </a:lnTo>
                  <a:lnTo>
                    <a:pt x="1418" y="7026"/>
                  </a:lnTo>
                  <a:lnTo>
                    <a:pt x="1418" y="693"/>
                  </a:lnTo>
                  <a:close/>
                  <a:moveTo>
                    <a:pt x="11311" y="7687"/>
                  </a:moveTo>
                  <a:lnTo>
                    <a:pt x="11311" y="8412"/>
                  </a:lnTo>
                  <a:lnTo>
                    <a:pt x="725" y="8412"/>
                  </a:lnTo>
                  <a:lnTo>
                    <a:pt x="725" y="7687"/>
                  </a:lnTo>
                  <a:close/>
                  <a:moveTo>
                    <a:pt x="1072" y="0"/>
                  </a:moveTo>
                  <a:cubicBezTo>
                    <a:pt x="883" y="0"/>
                    <a:pt x="725" y="158"/>
                    <a:pt x="725" y="378"/>
                  </a:cubicBezTo>
                  <a:lnTo>
                    <a:pt x="725" y="7026"/>
                  </a:lnTo>
                  <a:lnTo>
                    <a:pt x="347" y="7026"/>
                  </a:lnTo>
                  <a:cubicBezTo>
                    <a:pt x="158" y="7026"/>
                    <a:pt x="1" y="7183"/>
                    <a:pt x="1" y="7372"/>
                  </a:cubicBezTo>
                  <a:lnTo>
                    <a:pt x="1" y="8790"/>
                  </a:lnTo>
                  <a:cubicBezTo>
                    <a:pt x="1" y="8979"/>
                    <a:pt x="158" y="9136"/>
                    <a:pt x="347" y="9136"/>
                  </a:cubicBezTo>
                  <a:lnTo>
                    <a:pt x="11658" y="9136"/>
                  </a:lnTo>
                  <a:cubicBezTo>
                    <a:pt x="11847" y="9136"/>
                    <a:pt x="12004" y="8979"/>
                    <a:pt x="12004" y="8790"/>
                  </a:cubicBezTo>
                  <a:lnTo>
                    <a:pt x="12004" y="7372"/>
                  </a:lnTo>
                  <a:cubicBezTo>
                    <a:pt x="12004" y="7183"/>
                    <a:pt x="11847" y="7026"/>
                    <a:pt x="11658" y="7026"/>
                  </a:cubicBezTo>
                  <a:lnTo>
                    <a:pt x="11311" y="7026"/>
                  </a:lnTo>
                  <a:lnTo>
                    <a:pt x="11311" y="378"/>
                  </a:lnTo>
                  <a:cubicBezTo>
                    <a:pt x="11311" y="158"/>
                    <a:pt x="11153" y="0"/>
                    <a:pt x="10964"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sp>
        <p:nvSpPr>
          <p:cNvPr id="10803" name="Google Shape;10803;p113"/>
          <p:cNvSpPr/>
          <p:nvPr/>
        </p:nvSpPr>
        <p:spPr>
          <a:xfrm>
            <a:off x="4103299" y="3887577"/>
            <a:ext cx="475092" cy="481060"/>
          </a:xfrm>
          <a:custGeom>
            <a:avLst/>
            <a:gdLst/>
            <a:ahLst/>
            <a:cxnLst/>
            <a:rect l="l" t="t" r="r" b="b"/>
            <a:pathLst>
              <a:path w="11941" h="12091" extrusionOk="0">
                <a:moveTo>
                  <a:pt x="5955" y="796"/>
                </a:moveTo>
                <a:lnTo>
                  <a:pt x="10933" y="3915"/>
                </a:lnTo>
                <a:lnTo>
                  <a:pt x="5955" y="7034"/>
                </a:lnTo>
                <a:lnTo>
                  <a:pt x="977" y="3915"/>
                </a:lnTo>
                <a:lnTo>
                  <a:pt x="5955" y="796"/>
                </a:lnTo>
                <a:close/>
                <a:moveTo>
                  <a:pt x="9924" y="5428"/>
                </a:moveTo>
                <a:lnTo>
                  <a:pt x="10964" y="6058"/>
                </a:lnTo>
                <a:lnTo>
                  <a:pt x="5955" y="9145"/>
                </a:lnTo>
                <a:lnTo>
                  <a:pt x="977" y="6058"/>
                </a:lnTo>
                <a:lnTo>
                  <a:pt x="2017" y="5428"/>
                </a:lnTo>
                <a:lnTo>
                  <a:pt x="5797" y="7790"/>
                </a:lnTo>
                <a:cubicBezTo>
                  <a:pt x="5860" y="7822"/>
                  <a:pt x="5931" y="7838"/>
                  <a:pt x="5994" y="7838"/>
                </a:cubicBezTo>
                <a:cubicBezTo>
                  <a:pt x="6057" y="7838"/>
                  <a:pt x="6112" y="7822"/>
                  <a:pt x="6144" y="7790"/>
                </a:cubicBezTo>
                <a:lnTo>
                  <a:pt x="9924" y="5428"/>
                </a:lnTo>
                <a:close/>
                <a:moveTo>
                  <a:pt x="9956" y="7538"/>
                </a:moveTo>
                <a:lnTo>
                  <a:pt x="10964" y="8169"/>
                </a:lnTo>
                <a:lnTo>
                  <a:pt x="5986" y="11288"/>
                </a:lnTo>
                <a:lnTo>
                  <a:pt x="1040" y="8169"/>
                </a:lnTo>
                <a:lnTo>
                  <a:pt x="2048" y="7538"/>
                </a:lnTo>
                <a:lnTo>
                  <a:pt x="5829" y="9901"/>
                </a:lnTo>
                <a:cubicBezTo>
                  <a:pt x="5892" y="9949"/>
                  <a:pt x="5963" y="9972"/>
                  <a:pt x="6026" y="9972"/>
                </a:cubicBezTo>
                <a:cubicBezTo>
                  <a:pt x="6089" y="9972"/>
                  <a:pt x="6144" y="9949"/>
                  <a:pt x="6175" y="9901"/>
                </a:cubicBezTo>
                <a:lnTo>
                  <a:pt x="9956" y="7538"/>
                </a:lnTo>
                <a:close/>
                <a:moveTo>
                  <a:pt x="5959" y="1"/>
                </a:moveTo>
                <a:cubicBezTo>
                  <a:pt x="5900" y="1"/>
                  <a:pt x="5845" y="25"/>
                  <a:pt x="5797" y="72"/>
                </a:cubicBezTo>
                <a:lnTo>
                  <a:pt x="158" y="3600"/>
                </a:lnTo>
                <a:cubicBezTo>
                  <a:pt x="32" y="3695"/>
                  <a:pt x="0" y="3758"/>
                  <a:pt x="0" y="3915"/>
                </a:cubicBezTo>
                <a:cubicBezTo>
                  <a:pt x="0" y="4073"/>
                  <a:pt x="95" y="4136"/>
                  <a:pt x="158" y="4230"/>
                </a:cubicBezTo>
                <a:lnTo>
                  <a:pt x="1387" y="4987"/>
                </a:lnTo>
                <a:lnTo>
                  <a:pt x="158" y="5743"/>
                </a:lnTo>
                <a:cubicBezTo>
                  <a:pt x="32" y="5806"/>
                  <a:pt x="0" y="5869"/>
                  <a:pt x="0" y="6058"/>
                </a:cubicBezTo>
                <a:cubicBezTo>
                  <a:pt x="0" y="6152"/>
                  <a:pt x="95" y="6278"/>
                  <a:pt x="158" y="6373"/>
                </a:cubicBezTo>
                <a:lnTo>
                  <a:pt x="1387" y="7097"/>
                </a:lnTo>
                <a:lnTo>
                  <a:pt x="158" y="7854"/>
                </a:lnTo>
                <a:cubicBezTo>
                  <a:pt x="32" y="7948"/>
                  <a:pt x="0" y="8011"/>
                  <a:pt x="0" y="8169"/>
                </a:cubicBezTo>
                <a:cubicBezTo>
                  <a:pt x="0" y="8295"/>
                  <a:pt x="95" y="8421"/>
                  <a:pt x="158" y="8484"/>
                </a:cubicBezTo>
                <a:lnTo>
                  <a:pt x="5797" y="12044"/>
                </a:lnTo>
                <a:cubicBezTo>
                  <a:pt x="5860" y="12075"/>
                  <a:pt x="5931" y="12091"/>
                  <a:pt x="5994" y="12091"/>
                </a:cubicBezTo>
                <a:cubicBezTo>
                  <a:pt x="6057" y="12091"/>
                  <a:pt x="6112" y="12075"/>
                  <a:pt x="6144" y="12044"/>
                </a:cubicBezTo>
                <a:lnTo>
                  <a:pt x="11783" y="8484"/>
                </a:lnTo>
                <a:cubicBezTo>
                  <a:pt x="11909" y="8421"/>
                  <a:pt x="11941" y="8326"/>
                  <a:pt x="11941" y="8169"/>
                </a:cubicBezTo>
                <a:cubicBezTo>
                  <a:pt x="11941" y="8043"/>
                  <a:pt x="11846" y="7948"/>
                  <a:pt x="11783" y="7854"/>
                </a:cubicBezTo>
                <a:lnTo>
                  <a:pt x="10555" y="7097"/>
                </a:lnTo>
                <a:lnTo>
                  <a:pt x="11783" y="6373"/>
                </a:lnTo>
                <a:cubicBezTo>
                  <a:pt x="11909" y="6278"/>
                  <a:pt x="11941" y="6152"/>
                  <a:pt x="11941" y="6058"/>
                </a:cubicBezTo>
                <a:cubicBezTo>
                  <a:pt x="11941" y="5932"/>
                  <a:pt x="11846" y="5806"/>
                  <a:pt x="11783" y="5743"/>
                </a:cubicBezTo>
                <a:lnTo>
                  <a:pt x="10555" y="4987"/>
                </a:lnTo>
                <a:lnTo>
                  <a:pt x="11783" y="4230"/>
                </a:lnTo>
                <a:cubicBezTo>
                  <a:pt x="11909" y="4136"/>
                  <a:pt x="11941" y="4073"/>
                  <a:pt x="11941" y="3915"/>
                </a:cubicBezTo>
                <a:cubicBezTo>
                  <a:pt x="11941" y="3758"/>
                  <a:pt x="11846" y="3695"/>
                  <a:pt x="11783" y="3600"/>
                </a:cubicBezTo>
                <a:lnTo>
                  <a:pt x="6144" y="72"/>
                </a:lnTo>
                <a:cubicBezTo>
                  <a:pt x="6081" y="25"/>
                  <a:pt x="6018" y="1"/>
                  <a:pt x="5959"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nvGrpSpPr>
          <p:cNvPr id="10804" name="Google Shape;10804;p113"/>
          <p:cNvGrpSpPr/>
          <p:nvPr/>
        </p:nvGrpSpPr>
        <p:grpSpPr>
          <a:xfrm>
            <a:off x="4098566" y="4516030"/>
            <a:ext cx="477639" cy="419948"/>
            <a:chOff x="-45664625" y="2352225"/>
            <a:chExt cx="300125" cy="263875"/>
          </a:xfrm>
        </p:grpSpPr>
        <p:sp>
          <p:nvSpPr>
            <p:cNvPr id="10805" name="Google Shape;10805;p113"/>
            <p:cNvSpPr/>
            <p:nvPr/>
          </p:nvSpPr>
          <p:spPr>
            <a:xfrm>
              <a:off x="-45664625" y="2352225"/>
              <a:ext cx="300125" cy="263875"/>
            </a:xfrm>
            <a:custGeom>
              <a:avLst/>
              <a:gdLst/>
              <a:ahLst/>
              <a:cxnLst/>
              <a:rect l="l" t="t" r="r" b="b"/>
              <a:pathLst>
                <a:path w="12005" h="10555" extrusionOk="0">
                  <a:moveTo>
                    <a:pt x="10965" y="694"/>
                  </a:moveTo>
                  <a:cubicBezTo>
                    <a:pt x="11154" y="694"/>
                    <a:pt x="11311" y="851"/>
                    <a:pt x="11311" y="1072"/>
                  </a:cubicBezTo>
                  <a:lnTo>
                    <a:pt x="11311" y="2836"/>
                  </a:lnTo>
                  <a:lnTo>
                    <a:pt x="726" y="2836"/>
                  </a:lnTo>
                  <a:lnTo>
                    <a:pt x="726" y="1072"/>
                  </a:lnTo>
                  <a:cubicBezTo>
                    <a:pt x="694" y="851"/>
                    <a:pt x="852" y="694"/>
                    <a:pt x="1072" y="694"/>
                  </a:cubicBezTo>
                  <a:close/>
                  <a:moveTo>
                    <a:pt x="11311" y="3498"/>
                  </a:moveTo>
                  <a:lnTo>
                    <a:pt x="11311" y="9484"/>
                  </a:lnTo>
                  <a:cubicBezTo>
                    <a:pt x="11311" y="9673"/>
                    <a:pt x="11154" y="9830"/>
                    <a:pt x="10933" y="9830"/>
                  </a:cubicBezTo>
                  <a:lnTo>
                    <a:pt x="1072" y="9830"/>
                  </a:lnTo>
                  <a:cubicBezTo>
                    <a:pt x="852" y="9830"/>
                    <a:pt x="694" y="9673"/>
                    <a:pt x="694" y="9484"/>
                  </a:cubicBezTo>
                  <a:lnTo>
                    <a:pt x="694" y="3498"/>
                  </a:lnTo>
                  <a:close/>
                  <a:moveTo>
                    <a:pt x="1072" y="1"/>
                  </a:moveTo>
                  <a:cubicBezTo>
                    <a:pt x="473" y="1"/>
                    <a:pt x="1" y="473"/>
                    <a:pt x="1" y="1040"/>
                  </a:cubicBezTo>
                  <a:lnTo>
                    <a:pt x="1" y="9484"/>
                  </a:lnTo>
                  <a:cubicBezTo>
                    <a:pt x="1" y="10082"/>
                    <a:pt x="473" y="10555"/>
                    <a:pt x="1072" y="10555"/>
                  </a:cubicBezTo>
                  <a:lnTo>
                    <a:pt x="10933" y="10555"/>
                  </a:lnTo>
                  <a:cubicBezTo>
                    <a:pt x="11532" y="10555"/>
                    <a:pt x="12004" y="10082"/>
                    <a:pt x="12004" y="9484"/>
                  </a:cubicBezTo>
                  <a:lnTo>
                    <a:pt x="12004" y="1040"/>
                  </a:lnTo>
                  <a:cubicBezTo>
                    <a:pt x="11973" y="473"/>
                    <a:pt x="11500" y="1"/>
                    <a:pt x="10933"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806" name="Google Shape;10806;p113"/>
            <p:cNvSpPr/>
            <p:nvPr/>
          </p:nvSpPr>
          <p:spPr>
            <a:xfrm>
              <a:off x="-45612625" y="2475100"/>
              <a:ext cx="55150" cy="88225"/>
            </a:xfrm>
            <a:custGeom>
              <a:avLst/>
              <a:gdLst/>
              <a:ahLst/>
              <a:cxnLst/>
              <a:rect l="l" t="t" r="r" b="b"/>
              <a:pathLst>
                <a:path w="2206" h="3529" extrusionOk="0">
                  <a:moveTo>
                    <a:pt x="1808" y="0"/>
                  </a:moveTo>
                  <a:cubicBezTo>
                    <a:pt x="1717" y="0"/>
                    <a:pt x="1623" y="32"/>
                    <a:pt x="1544" y="95"/>
                  </a:cubicBezTo>
                  <a:lnTo>
                    <a:pt x="126" y="1513"/>
                  </a:lnTo>
                  <a:cubicBezTo>
                    <a:pt x="0" y="1607"/>
                    <a:pt x="0" y="1859"/>
                    <a:pt x="126" y="2017"/>
                  </a:cubicBezTo>
                  <a:lnTo>
                    <a:pt x="1544" y="3434"/>
                  </a:lnTo>
                  <a:cubicBezTo>
                    <a:pt x="1607" y="3497"/>
                    <a:pt x="1694" y="3529"/>
                    <a:pt x="1784" y="3529"/>
                  </a:cubicBezTo>
                  <a:cubicBezTo>
                    <a:pt x="1875" y="3529"/>
                    <a:pt x="1969" y="3497"/>
                    <a:pt x="2048" y="3434"/>
                  </a:cubicBezTo>
                  <a:cubicBezTo>
                    <a:pt x="2174" y="3308"/>
                    <a:pt x="2174" y="3088"/>
                    <a:pt x="2048" y="2930"/>
                  </a:cubicBezTo>
                  <a:lnTo>
                    <a:pt x="914" y="1765"/>
                  </a:lnTo>
                  <a:lnTo>
                    <a:pt x="2048" y="631"/>
                  </a:lnTo>
                  <a:cubicBezTo>
                    <a:pt x="2206" y="473"/>
                    <a:pt x="2206" y="252"/>
                    <a:pt x="2048" y="95"/>
                  </a:cubicBezTo>
                  <a:cubicBezTo>
                    <a:pt x="1985" y="32"/>
                    <a:pt x="1898" y="0"/>
                    <a:pt x="1808"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807" name="Google Shape;10807;p113"/>
            <p:cNvSpPr/>
            <p:nvPr/>
          </p:nvSpPr>
          <p:spPr>
            <a:xfrm>
              <a:off x="-45471650" y="2475100"/>
              <a:ext cx="54375" cy="86850"/>
            </a:xfrm>
            <a:custGeom>
              <a:avLst/>
              <a:gdLst/>
              <a:ahLst/>
              <a:cxnLst/>
              <a:rect l="l" t="t" r="r" b="b"/>
              <a:pathLst>
                <a:path w="2175" h="3474" extrusionOk="0">
                  <a:moveTo>
                    <a:pt x="391" y="0"/>
                  </a:moveTo>
                  <a:cubicBezTo>
                    <a:pt x="300" y="0"/>
                    <a:pt x="205" y="32"/>
                    <a:pt x="127" y="95"/>
                  </a:cubicBezTo>
                  <a:cubicBezTo>
                    <a:pt x="1" y="189"/>
                    <a:pt x="1" y="441"/>
                    <a:pt x="127" y="599"/>
                  </a:cubicBezTo>
                  <a:lnTo>
                    <a:pt x="1261" y="1733"/>
                  </a:lnTo>
                  <a:lnTo>
                    <a:pt x="127" y="2867"/>
                  </a:lnTo>
                  <a:cubicBezTo>
                    <a:pt x="1" y="2993"/>
                    <a:pt x="1" y="3245"/>
                    <a:pt x="127" y="3403"/>
                  </a:cubicBezTo>
                  <a:cubicBezTo>
                    <a:pt x="174" y="3450"/>
                    <a:pt x="261" y="3474"/>
                    <a:pt x="355" y="3474"/>
                  </a:cubicBezTo>
                  <a:cubicBezTo>
                    <a:pt x="450" y="3474"/>
                    <a:pt x="552" y="3450"/>
                    <a:pt x="631" y="3403"/>
                  </a:cubicBezTo>
                  <a:lnTo>
                    <a:pt x="2048" y="1985"/>
                  </a:lnTo>
                  <a:cubicBezTo>
                    <a:pt x="2174" y="1859"/>
                    <a:pt x="2174" y="1607"/>
                    <a:pt x="2048" y="1450"/>
                  </a:cubicBezTo>
                  <a:lnTo>
                    <a:pt x="631" y="95"/>
                  </a:lnTo>
                  <a:cubicBezTo>
                    <a:pt x="568" y="32"/>
                    <a:pt x="481" y="0"/>
                    <a:pt x="391"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808" name="Google Shape;10808;p113"/>
            <p:cNvSpPr/>
            <p:nvPr/>
          </p:nvSpPr>
          <p:spPr>
            <a:xfrm>
              <a:off x="-45542525" y="2456975"/>
              <a:ext cx="55150" cy="123300"/>
            </a:xfrm>
            <a:custGeom>
              <a:avLst/>
              <a:gdLst/>
              <a:ahLst/>
              <a:cxnLst/>
              <a:rect l="l" t="t" r="r" b="b"/>
              <a:pathLst>
                <a:path w="2206" h="4932" extrusionOk="0">
                  <a:moveTo>
                    <a:pt x="1791" y="0"/>
                  </a:moveTo>
                  <a:cubicBezTo>
                    <a:pt x="1651" y="0"/>
                    <a:pt x="1529" y="108"/>
                    <a:pt x="1481" y="253"/>
                  </a:cubicBezTo>
                  <a:lnTo>
                    <a:pt x="63" y="4474"/>
                  </a:lnTo>
                  <a:cubicBezTo>
                    <a:pt x="0" y="4664"/>
                    <a:pt x="126" y="4853"/>
                    <a:pt x="315" y="4916"/>
                  </a:cubicBezTo>
                  <a:cubicBezTo>
                    <a:pt x="349" y="4927"/>
                    <a:pt x="382" y="4932"/>
                    <a:pt x="415" y="4932"/>
                  </a:cubicBezTo>
                  <a:cubicBezTo>
                    <a:pt x="567" y="4932"/>
                    <a:pt x="704" y="4819"/>
                    <a:pt x="756" y="4664"/>
                  </a:cubicBezTo>
                  <a:lnTo>
                    <a:pt x="2174" y="442"/>
                  </a:lnTo>
                  <a:cubicBezTo>
                    <a:pt x="2206" y="284"/>
                    <a:pt x="2111" y="95"/>
                    <a:pt x="1922" y="32"/>
                  </a:cubicBezTo>
                  <a:cubicBezTo>
                    <a:pt x="1878" y="10"/>
                    <a:pt x="1834" y="0"/>
                    <a:pt x="1791"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809" name="Google Shape;10809;p113"/>
            <p:cNvSpPr/>
            <p:nvPr/>
          </p:nvSpPr>
          <p:spPr>
            <a:xfrm>
              <a:off x="-45541750" y="2386100"/>
              <a:ext cx="35475" cy="18125"/>
            </a:xfrm>
            <a:custGeom>
              <a:avLst/>
              <a:gdLst/>
              <a:ahLst/>
              <a:cxnLst/>
              <a:rect l="l" t="t" r="r" b="b"/>
              <a:pathLst>
                <a:path w="1419" h="725" extrusionOk="0">
                  <a:moveTo>
                    <a:pt x="347" y="0"/>
                  </a:moveTo>
                  <a:cubicBezTo>
                    <a:pt x="158" y="0"/>
                    <a:pt x="1" y="189"/>
                    <a:pt x="1" y="378"/>
                  </a:cubicBezTo>
                  <a:cubicBezTo>
                    <a:pt x="32" y="567"/>
                    <a:pt x="221" y="725"/>
                    <a:pt x="347" y="725"/>
                  </a:cubicBezTo>
                  <a:lnTo>
                    <a:pt x="1072" y="725"/>
                  </a:lnTo>
                  <a:cubicBezTo>
                    <a:pt x="1261" y="725"/>
                    <a:pt x="1418" y="567"/>
                    <a:pt x="1418" y="378"/>
                  </a:cubicBezTo>
                  <a:cubicBezTo>
                    <a:pt x="1418" y="189"/>
                    <a:pt x="1261" y="0"/>
                    <a:pt x="1072"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810" name="Google Shape;10810;p113"/>
            <p:cNvSpPr/>
            <p:nvPr/>
          </p:nvSpPr>
          <p:spPr>
            <a:xfrm>
              <a:off x="-45488175" y="2386100"/>
              <a:ext cx="35450" cy="18125"/>
            </a:xfrm>
            <a:custGeom>
              <a:avLst/>
              <a:gdLst/>
              <a:ahLst/>
              <a:cxnLst/>
              <a:rect l="l" t="t" r="r" b="b"/>
              <a:pathLst>
                <a:path w="1418" h="725" extrusionOk="0">
                  <a:moveTo>
                    <a:pt x="347" y="0"/>
                  </a:moveTo>
                  <a:cubicBezTo>
                    <a:pt x="158" y="0"/>
                    <a:pt x="0" y="189"/>
                    <a:pt x="0" y="378"/>
                  </a:cubicBezTo>
                  <a:cubicBezTo>
                    <a:pt x="0" y="567"/>
                    <a:pt x="158" y="725"/>
                    <a:pt x="347" y="725"/>
                  </a:cubicBezTo>
                  <a:lnTo>
                    <a:pt x="1040" y="725"/>
                  </a:lnTo>
                  <a:cubicBezTo>
                    <a:pt x="1260" y="725"/>
                    <a:pt x="1418" y="567"/>
                    <a:pt x="1418" y="378"/>
                  </a:cubicBezTo>
                  <a:cubicBezTo>
                    <a:pt x="1418" y="189"/>
                    <a:pt x="1260" y="0"/>
                    <a:pt x="1040"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811" name="Google Shape;10811;p113"/>
            <p:cNvSpPr/>
            <p:nvPr/>
          </p:nvSpPr>
          <p:spPr>
            <a:xfrm>
              <a:off x="-45436200" y="2386100"/>
              <a:ext cx="35450" cy="18125"/>
            </a:xfrm>
            <a:custGeom>
              <a:avLst/>
              <a:gdLst/>
              <a:ahLst/>
              <a:cxnLst/>
              <a:rect l="l" t="t" r="r" b="b"/>
              <a:pathLst>
                <a:path w="1418" h="725" extrusionOk="0">
                  <a:moveTo>
                    <a:pt x="347" y="0"/>
                  </a:moveTo>
                  <a:cubicBezTo>
                    <a:pt x="158" y="0"/>
                    <a:pt x="0" y="189"/>
                    <a:pt x="0" y="378"/>
                  </a:cubicBezTo>
                  <a:cubicBezTo>
                    <a:pt x="32" y="567"/>
                    <a:pt x="189" y="725"/>
                    <a:pt x="347" y="725"/>
                  </a:cubicBezTo>
                  <a:lnTo>
                    <a:pt x="1072" y="725"/>
                  </a:lnTo>
                  <a:cubicBezTo>
                    <a:pt x="1261" y="725"/>
                    <a:pt x="1418" y="567"/>
                    <a:pt x="1418" y="378"/>
                  </a:cubicBezTo>
                  <a:cubicBezTo>
                    <a:pt x="1418" y="189"/>
                    <a:pt x="1261" y="0"/>
                    <a:pt x="1072"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10812" name="Google Shape;10812;p113"/>
          <p:cNvGrpSpPr/>
          <p:nvPr/>
        </p:nvGrpSpPr>
        <p:grpSpPr>
          <a:xfrm>
            <a:off x="4097471" y="5094669"/>
            <a:ext cx="479827" cy="476764"/>
            <a:chOff x="-45665400" y="2703250"/>
            <a:chExt cx="301500" cy="299575"/>
          </a:xfrm>
        </p:grpSpPr>
        <p:sp>
          <p:nvSpPr>
            <p:cNvPr id="10813" name="Google Shape;10813;p113"/>
            <p:cNvSpPr/>
            <p:nvPr/>
          </p:nvSpPr>
          <p:spPr>
            <a:xfrm>
              <a:off x="-45664625" y="2703250"/>
              <a:ext cx="300725" cy="299575"/>
            </a:xfrm>
            <a:custGeom>
              <a:avLst/>
              <a:gdLst/>
              <a:ahLst/>
              <a:cxnLst/>
              <a:rect l="l" t="t" r="r" b="b"/>
              <a:pathLst>
                <a:path w="12029" h="11983" extrusionOk="0">
                  <a:moveTo>
                    <a:pt x="9799" y="1271"/>
                  </a:moveTo>
                  <a:lnTo>
                    <a:pt x="4947" y="4926"/>
                  </a:lnTo>
                  <a:lnTo>
                    <a:pt x="1482" y="3823"/>
                  </a:lnTo>
                  <a:lnTo>
                    <a:pt x="9799" y="1271"/>
                  </a:lnTo>
                  <a:close/>
                  <a:moveTo>
                    <a:pt x="9830" y="2153"/>
                  </a:moveTo>
                  <a:lnTo>
                    <a:pt x="6459" y="6627"/>
                  </a:lnTo>
                  <a:lnTo>
                    <a:pt x="4727" y="7257"/>
                  </a:lnTo>
                  <a:lnTo>
                    <a:pt x="5357" y="5524"/>
                  </a:lnTo>
                  <a:lnTo>
                    <a:pt x="9830" y="2153"/>
                  </a:lnTo>
                  <a:close/>
                  <a:moveTo>
                    <a:pt x="10681" y="2153"/>
                  </a:moveTo>
                  <a:lnTo>
                    <a:pt x="8098" y="10439"/>
                  </a:lnTo>
                  <a:lnTo>
                    <a:pt x="6995" y="6973"/>
                  </a:lnTo>
                  <a:lnTo>
                    <a:pt x="10681" y="2153"/>
                  </a:lnTo>
                  <a:close/>
                  <a:moveTo>
                    <a:pt x="11627" y="0"/>
                  </a:moveTo>
                  <a:cubicBezTo>
                    <a:pt x="11596" y="0"/>
                    <a:pt x="11564" y="4"/>
                    <a:pt x="11532" y="11"/>
                  </a:cubicBezTo>
                  <a:lnTo>
                    <a:pt x="221" y="3508"/>
                  </a:lnTo>
                  <a:cubicBezTo>
                    <a:pt x="64" y="3571"/>
                    <a:pt x="1" y="3728"/>
                    <a:pt x="1" y="3886"/>
                  </a:cubicBezTo>
                  <a:cubicBezTo>
                    <a:pt x="1" y="4043"/>
                    <a:pt x="127" y="4138"/>
                    <a:pt x="221" y="4232"/>
                  </a:cubicBezTo>
                  <a:lnTo>
                    <a:pt x="4569" y="5619"/>
                  </a:lnTo>
                  <a:lnTo>
                    <a:pt x="3750" y="7824"/>
                  </a:lnTo>
                  <a:cubicBezTo>
                    <a:pt x="3687" y="7919"/>
                    <a:pt x="3750" y="8076"/>
                    <a:pt x="3813" y="8171"/>
                  </a:cubicBezTo>
                  <a:cubicBezTo>
                    <a:pt x="3880" y="8215"/>
                    <a:pt x="3978" y="8260"/>
                    <a:pt x="4063" y="8260"/>
                  </a:cubicBezTo>
                  <a:cubicBezTo>
                    <a:pt x="4099" y="8260"/>
                    <a:pt x="4132" y="8252"/>
                    <a:pt x="4160" y="8234"/>
                  </a:cubicBezTo>
                  <a:lnTo>
                    <a:pt x="6365" y="7414"/>
                  </a:lnTo>
                  <a:lnTo>
                    <a:pt x="7751" y="11762"/>
                  </a:lnTo>
                  <a:cubicBezTo>
                    <a:pt x="7783" y="11920"/>
                    <a:pt x="7940" y="11983"/>
                    <a:pt x="8098" y="11983"/>
                  </a:cubicBezTo>
                  <a:cubicBezTo>
                    <a:pt x="8255" y="11983"/>
                    <a:pt x="8381" y="11857"/>
                    <a:pt x="8476" y="11762"/>
                  </a:cubicBezTo>
                  <a:lnTo>
                    <a:pt x="11973" y="483"/>
                  </a:lnTo>
                  <a:cubicBezTo>
                    <a:pt x="12029" y="205"/>
                    <a:pt x="11862" y="0"/>
                    <a:pt x="11627"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814" name="Google Shape;10814;p113"/>
            <p:cNvSpPr/>
            <p:nvPr/>
          </p:nvSpPr>
          <p:spPr>
            <a:xfrm>
              <a:off x="-45663825" y="2879150"/>
              <a:ext cx="71700" cy="71500"/>
            </a:xfrm>
            <a:custGeom>
              <a:avLst/>
              <a:gdLst/>
              <a:ahLst/>
              <a:cxnLst/>
              <a:rect l="l" t="t" r="r" b="b"/>
              <a:pathLst>
                <a:path w="2868" h="2860" extrusionOk="0">
                  <a:moveTo>
                    <a:pt x="2517" y="0"/>
                  </a:moveTo>
                  <a:cubicBezTo>
                    <a:pt x="2418" y="0"/>
                    <a:pt x="2316" y="32"/>
                    <a:pt x="2237" y="95"/>
                  </a:cubicBezTo>
                  <a:lnTo>
                    <a:pt x="126" y="2237"/>
                  </a:lnTo>
                  <a:cubicBezTo>
                    <a:pt x="0" y="2363"/>
                    <a:pt x="0" y="2584"/>
                    <a:pt x="126" y="2741"/>
                  </a:cubicBezTo>
                  <a:cubicBezTo>
                    <a:pt x="205" y="2820"/>
                    <a:pt x="300" y="2859"/>
                    <a:pt x="390" y="2859"/>
                  </a:cubicBezTo>
                  <a:cubicBezTo>
                    <a:pt x="481" y="2859"/>
                    <a:pt x="568" y="2820"/>
                    <a:pt x="631" y="2741"/>
                  </a:cubicBezTo>
                  <a:lnTo>
                    <a:pt x="2773" y="630"/>
                  </a:lnTo>
                  <a:cubicBezTo>
                    <a:pt x="2867" y="504"/>
                    <a:pt x="2867" y="252"/>
                    <a:pt x="2773" y="95"/>
                  </a:cubicBezTo>
                  <a:cubicBezTo>
                    <a:pt x="2710" y="32"/>
                    <a:pt x="2615" y="0"/>
                    <a:pt x="2517"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815" name="Google Shape;10815;p113"/>
            <p:cNvSpPr/>
            <p:nvPr/>
          </p:nvSpPr>
          <p:spPr>
            <a:xfrm>
              <a:off x="-45613425" y="2929750"/>
              <a:ext cx="71700" cy="71500"/>
            </a:xfrm>
            <a:custGeom>
              <a:avLst/>
              <a:gdLst/>
              <a:ahLst/>
              <a:cxnLst/>
              <a:rect l="l" t="t" r="r" b="b"/>
              <a:pathLst>
                <a:path w="2868" h="2860" extrusionOk="0">
                  <a:moveTo>
                    <a:pt x="2478" y="1"/>
                  </a:moveTo>
                  <a:cubicBezTo>
                    <a:pt x="2387" y="1"/>
                    <a:pt x="2301" y="40"/>
                    <a:pt x="2238" y="119"/>
                  </a:cubicBezTo>
                  <a:lnTo>
                    <a:pt x="127" y="2261"/>
                  </a:lnTo>
                  <a:cubicBezTo>
                    <a:pt x="1" y="2387"/>
                    <a:pt x="1" y="2608"/>
                    <a:pt x="127" y="2765"/>
                  </a:cubicBezTo>
                  <a:cubicBezTo>
                    <a:pt x="190" y="2828"/>
                    <a:pt x="276" y="2860"/>
                    <a:pt x="367" y="2860"/>
                  </a:cubicBezTo>
                  <a:cubicBezTo>
                    <a:pt x="458" y="2860"/>
                    <a:pt x="552" y="2828"/>
                    <a:pt x="631" y="2765"/>
                  </a:cubicBezTo>
                  <a:lnTo>
                    <a:pt x="2742" y="654"/>
                  </a:lnTo>
                  <a:cubicBezTo>
                    <a:pt x="2868" y="528"/>
                    <a:pt x="2868" y="276"/>
                    <a:pt x="2742" y="119"/>
                  </a:cubicBezTo>
                  <a:cubicBezTo>
                    <a:pt x="2663" y="40"/>
                    <a:pt x="2568" y="1"/>
                    <a:pt x="2478"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816" name="Google Shape;10816;p113"/>
            <p:cNvSpPr/>
            <p:nvPr/>
          </p:nvSpPr>
          <p:spPr>
            <a:xfrm>
              <a:off x="-45665400" y="2923050"/>
              <a:ext cx="81150" cy="79000"/>
            </a:xfrm>
            <a:custGeom>
              <a:avLst/>
              <a:gdLst/>
              <a:ahLst/>
              <a:cxnLst/>
              <a:rect l="l" t="t" r="r" b="b"/>
              <a:pathLst>
                <a:path w="3246" h="3160" extrusionOk="0">
                  <a:moveTo>
                    <a:pt x="2859" y="1"/>
                  </a:moveTo>
                  <a:cubicBezTo>
                    <a:pt x="2765" y="1"/>
                    <a:pt x="2663" y="24"/>
                    <a:pt x="2584" y="72"/>
                  </a:cubicBezTo>
                  <a:lnTo>
                    <a:pt x="95" y="2561"/>
                  </a:lnTo>
                  <a:cubicBezTo>
                    <a:pt x="0" y="2687"/>
                    <a:pt x="0" y="2907"/>
                    <a:pt x="95" y="3065"/>
                  </a:cubicBezTo>
                  <a:cubicBezTo>
                    <a:pt x="158" y="3128"/>
                    <a:pt x="252" y="3159"/>
                    <a:pt x="351" y="3159"/>
                  </a:cubicBezTo>
                  <a:cubicBezTo>
                    <a:pt x="449" y="3159"/>
                    <a:pt x="552" y="3128"/>
                    <a:pt x="631" y="3065"/>
                  </a:cubicBezTo>
                  <a:lnTo>
                    <a:pt x="3088" y="607"/>
                  </a:lnTo>
                  <a:cubicBezTo>
                    <a:pt x="3245" y="450"/>
                    <a:pt x="3245" y="229"/>
                    <a:pt x="3088" y="72"/>
                  </a:cubicBezTo>
                  <a:cubicBezTo>
                    <a:pt x="3041" y="24"/>
                    <a:pt x="2954" y="1"/>
                    <a:pt x="2859"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10817" name="Google Shape;10817;p113"/>
          <p:cNvGrpSpPr/>
          <p:nvPr/>
        </p:nvGrpSpPr>
        <p:grpSpPr>
          <a:xfrm>
            <a:off x="2899680" y="5682584"/>
            <a:ext cx="478872" cy="480145"/>
            <a:chOff x="-44528075" y="1982825"/>
            <a:chExt cx="300900" cy="301700"/>
          </a:xfrm>
        </p:grpSpPr>
        <p:sp>
          <p:nvSpPr>
            <p:cNvPr id="10818" name="Google Shape;10818;p113"/>
            <p:cNvSpPr/>
            <p:nvPr/>
          </p:nvSpPr>
          <p:spPr>
            <a:xfrm>
              <a:off x="-44528075" y="1982825"/>
              <a:ext cx="300900" cy="301700"/>
            </a:xfrm>
            <a:custGeom>
              <a:avLst/>
              <a:gdLst/>
              <a:ahLst/>
              <a:cxnLst/>
              <a:rect l="l" t="t" r="r" b="b"/>
              <a:pathLst>
                <a:path w="12036" h="12068" extrusionOk="0">
                  <a:moveTo>
                    <a:pt x="9547" y="2175"/>
                  </a:moveTo>
                  <a:cubicBezTo>
                    <a:pt x="9736" y="2175"/>
                    <a:pt x="9893" y="2332"/>
                    <a:pt x="9893" y="2521"/>
                  </a:cubicBezTo>
                  <a:lnTo>
                    <a:pt x="9893" y="9547"/>
                  </a:lnTo>
                  <a:cubicBezTo>
                    <a:pt x="9893" y="9736"/>
                    <a:pt x="9736" y="9893"/>
                    <a:pt x="9547" y="9893"/>
                  </a:cubicBezTo>
                  <a:lnTo>
                    <a:pt x="2552" y="9893"/>
                  </a:lnTo>
                  <a:cubicBezTo>
                    <a:pt x="2332" y="9893"/>
                    <a:pt x="2206" y="9736"/>
                    <a:pt x="2206" y="9547"/>
                  </a:cubicBezTo>
                  <a:lnTo>
                    <a:pt x="2206" y="2521"/>
                  </a:lnTo>
                  <a:cubicBezTo>
                    <a:pt x="2206" y="2332"/>
                    <a:pt x="2332" y="2175"/>
                    <a:pt x="2552" y="2175"/>
                  </a:cubicBezTo>
                  <a:close/>
                  <a:moveTo>
                    <a:pt x="3183" y="1"/>
                  </a:moveTo>
                  <a:cubicBezTo>
                    <a:pt x="2994" y="1"/>
                    <a:pt x="2836" y="158"/>
                    <a:pt x="2836" y="347"/>
                  </a:cubicBezTo>
                  <a:lnTo>
                    <a:pt x="2836" y="1419"/>
                  </a:lnTo>
                  <a:lnTo>
                    <a:pt x="2458" y="1419"/>
                  </a:lnTo>
                  <a:cubicBezTo>
                    <a:pt x="1891" y="1419"/>
                    <a:pt x="1418" y="1891"/>
                    <a:pt x="1418" y="2490"/>
                  </a:cubicBezTo>
                  <a:lnTo>
                    <a:pt x="1418" y="2836"/>
                  </a:lnTo>
                  <a:lnTo>
                    <a:pt x="347" y="2836"/>
                  </a:lnTo>
                  <a:cubicBezTo>
                    <a:pt x="158" y="2836"/>
                    <a:pt x="1" y="2994"/>
                    <a:pt x="1" y="3183"/>
                  </a:cubicBezTo>
                  <a:cubicBezTo>
                    <a:pt x="1" y="3372"/>
                    <a:pt x="158" y="3529"/>
                    <a:pt x="347" y="3529"/>
                  </a:cubicBezTo>
                  <a:lnTo>
                    <a:pt x="1418" y="3529"/>
                  </a:lnTo>
                  <a:lnTo>
                    <a:pt x="1418" y="4254"/>
                  </a:lnTo>
                  <a:lnTo>
                    <a:pt x="347" y="4254"/>
                  </a:lnTo>
                  <a:cubicBezTo>
                    <a:pt x="158" y="4254"/>
                    <a:pt x="1" y="4412"/>
                    <a:pt x="1" y="4601"/>
                  </a:cubicBezTo>
                  <a:cubicBezTo>
                    <a:pt x="1" y="4821"/>
                    <a:pt x="158" y="4979"/>
                    <a:pt x="347" y="4979"/>
                  </a:cubicBezTo>
                  <a:lnTo>
                    <a:pt x="1418" y="4979"/>
                  </a:lnTo>
                  <a:lnTo>
                    <a:pt x="1418" y="5672"/>
                  </a:lnTo>
                  <a:lnTo>
                    <a:pt x="347" y="5672"/>
                  </a:lnTo>
                  <a:cubicBezTo>
                    <a:pt x="158" y="5672"/>
                    <a:pt x="1" y="5829"/>
                    <a:pt x="1" y="6018"/>
                  </a:cubicBezTo>
                  <a:cubicBezTo>
                    <a:pt x="1" y="6239"/>
                    <a:pt x="158" y="6396"/>
                    <a:pt x="347" y="6396"/>
                  </a:cubicBezTo>
                  <a:lnTo>
                    <a:pt x="1418" y="6396"/>
                  </a:lnTo>
                  <a:lnTo>
                    <a:pt x="1418" y="7090"/>
                  </a:lnTo>
                  <a:lnTo>
                    <a:pt x="347" y="7090"/>
                  </a:lnTo>
                  <a:cubicBezTo>
                    <a:pt x="158" y="7090"/>
                    <a:pt x="1" y="7247"/>
                    <a:pt x="1" y="7436"/>
                  </a:cubicBezTo>
                  <a:cubicBezTo>
                    <a:pt x="1" y="7657"/>
                    <a:pt x="158" y="7814"/>
                    <a:pt x="347" y="7814"/>
                  </a:cubicBezTo>
                  <a:lnTo>
                    <a:pt x="1418" y="7814"/>
                  </a:lnTo>
                  <a:lnTo>
                    <a:pt x="1418" y="8507"/>
                  </a:lnTo>
                  <a:lnTo>
                    <a:pt x="347" y="8507"/>
                  </a:lnTo>
                  <a:cubicBezTo>
                    <a:pt x="158" y="8507"/>
                    <a:pt x="1" y="8665"/>
                    <a:pt x="1" y="8854"/>
                  </a:cubicBezTo>
                  <a:cubicBezTo>
                    <a:pt x="1" y="9074"/>
                    <a:pt x="158" y="9232"/>
                    <a:pt x="347" y="9232"/>
                  </a:cubicBezTo>
                  <a:lnTo>
                    <a:pt x="1418" y="9232"/>
                  </a:lnTo>
                  <a:lnTo>
                    <a:pt x="1418" y="9578"/>
                  </a:lnTo>
                  <a:cubicBezTo>
                    <a:pt x="1418" y="10177"/>
                    <a:pt x="1891" y="10650"/>
                    <a:pt x="2458" y="10650"/>
                  </a:cubicBezTo>
                  <a:lnTo>
                    <a:pt x="2836" y="10650"/>
                  </a:lnTo>
                  <a:lnTo>
                    <a:pt x="2836" y="11689"/>
                  </a:lnTo>
                  <a:cubicBezTo>
                    <a:pt x="2836" y="11910"/>
                    <a:pt x="2994" y="12067"/>
                    <a:pt x="3183" y="12067"/>
                  </a:cubicBezTo>
                  <a:cubicBezTo>
                    <a:pt x="3372" y="12067"/>
                    <a:pt x="3529" y="11910"/>
                    <a:pt x="3529" y="11689"/>
                  </a:cubicBezTo>
                  <a:lnTo>
                    <a:pt x="3529" y="10555"/>
                  </a:lnTo>
                  <a:lnTo>
                    <a:pt x="4254" y="10555"/>
                  </a:lnTo>
                  <a:lnTo>
                    <a:pt x="4254" y="11626"/>
                  </a:lnTo>
                  <a:cubicBezTo>
                    <a:pt x="4254" y="11815"/>
                    <a:pt x="4411" y="11973"/>
                    <a:pt x="4600" y="11973"/>
                  </a:cubicBezTo>
                  <a:cubicBezTo>
                    <a:pt x="4789" y="11973"/>
                    <a:pt x="4947" y="11815"/>
                    <a:pt x="4947" y="11626"/>
                  </a:cubicBezTo>
                  <a:lnTo>
                    <a:pt x="4947" y="10555"/>
                  </a:lnTo>
                  <a:lnTo>
                    <a:pt x="5671" y="10555"/>
                  </a:lnTo>
                  <a:lnTo>
                    <a:pt x="5671" y="11626"/>
                  </a:lnTo>
                  <a:cubicBezTo>
                    <a:pt x="5671" y="11815"/>
                    <a:pt x="5829" y="11973"/>
                    <a:pt x="6018" y="11973"/>
                  </a:cubicBezTo>
                  <a:cubicBezTo>
                    <a:pt x="6207" y="11973"/>
                    <a:pt x="6365" y="11815"/>
                    <a:pt x="6365" y="11626"/>
                  </a:cubicBezTo>
                  <a:lnTo>
                    <a:pt x="6365" y="10555"/>
                  </a:lnTo>
                  <a:lnTo>
                    <a:pt x="7089" y="10555"/>
                  </a:lnTo>
                  <a:lnTo>
                    <a:pt x="7089" y="11626"/>
                  </a:lnTo>
                  <a:cubicBezTo>
                    <a:pt x="7089" y="11815"/>
                    <a:pt x="7247" y="11973"/>
                    <a:pt x="7436" y="11973"/>
                  </a:cubicBezTo>
                  <a:cubicBezTo>
                    <a:pt x="7625" y="11973"/>
                    <a:pt x="7782" y="11815"/>
                    <a:pt x="7782" y="11626"/>
                  </a:cubicBezTo>
                  <a:lnTo>
                    <a:pt x="7782" y="10555"/>
                  </a:lnTo>
                  <a:lnTo>
                    <a:pt x="8507" y="10555"/>
                  </a:lnTo>
                  <a:lnTo>
                    <a:pt x="8507" y="11626"/>
                  </a:lnTo>
                  <a:cubicBezTo>
                    <a:pt x="8507" y="11815"/>
                    <a:pt x="8664" y="11973"/>
                    <a:pt x="8853" y="11973"/>
                  </a:cubicBezTo>
                  <a:cubicBezTo>
                    <a:pt x="9042" y="11973"/>
                    <a:pt x="9200" y="11815"/>
                    <a:pt x="9200" y="11626"/>
                  </a:cubicBezTo>
                  <a:lnTo>
                    <a:pt x="9200" y="10555"/>
                  </a:lnTo>
                  <a:lnTo>
                    <a:pt x="9547" y="10555"/>
                  </a:lnTo>
                  <a:cubicBezTo>
                    <a:pt x="10145" y="10555"/>
                    <a:pt x="10618" y="10082"/>
                    <a:pt x="10618" y="9484"/>
                  </a:cubicBezTo>
                  <a:lnTo>
                    <a:pt x="10618" y="9137"/>
                  </a:lnTo>
                  <a:lnTo>
                    <a:pt x="11689" y="9137"/>
                  </a:lnTo>
                  <a:cubicBezTo>
                    <a:pt x="11878" y="9137"/>
                    <a:pt x="12035" y="8980"/>
                    <a:pt x="12035" y="8791"/>
                  </a:cubicBezTo>
                  <a:cubicBezTo>
                    <a:pt x="12035" y="8602"/>
                    <a:pt x="11878" y="8444"/>
                    <a:pt x="11689" y="8444"/>
                  </a:cubicBezTo>
                  <a:lnTo>
                    <a:pt x="10618" y="8444"/>
                  </a:lnTo>
                  <a:lnTo>
                    <a:pt x="10618" y="7720"/>
                  </a:lnTo>
                  <a:lnTo>
                    <a:pt x="11689" y="7720"/>
                  </a:lnTo>
                  <a:cubicBezTo>
                    <a:pt x="11878" y="7720"/>
                    <a:pt x="12035" y="7562"/>
                    <a:pt x="12035" y="7373"/>
                  </a:cubicBezTo>
                  <a:cubicBezTo>
                    <a:pt x="12035" y="7153"/>
                    <a:pt x="11878" y="6995"/>
                    <a:pt x="11689" y="6995"/>
                  </a:cubicBezTo>
                  <a:lnTo>
                    <a:pt x="10618" y="6995"/>
                  </a:lnTo>
                  <a:lnTo>
                    <a:pt x="10618" y="6302"/>
                  </a:lnTo>
                  <a:lnTo>
                    <a:pt x="11689" y="6302"/>
                  </a:lnTo>
                  <a:cubicBezTo>
                    <a:pt x="11878" y="6302"/>
                    <a:pt x="12035" y="6144"/>
                    <a:pt x="12035" y="5955"/>
                  </a:cubicBezTo>
                  <a:cubicBezTo>
                    <a:pt x="12035" y="5735"/>
                    <a:pt x="11878" y="5577"/>
                    <a:pt x="11689" y="5577"/>
                  </a:cubicBezTo>
                  <a:lnTo>
                    <a:pt x="10618" y="5577"/>
                  </a:lnTo>
                  <a:lnTo>
                    <a:pt x="10618" y="4884"/>
                  </a:lnTo>
                  <a:lnTo>
                    <a:pt x="11689" y="4884"/>
                  </a:lnTo>
                  <a:lnTo>
                    <a:pt x="11689" y="4979"/>
                  </a:lnTo>
                  <a:cubicBezTo>
                    <a:pt x="11878" y="4979"/>
                    <a:pt x="12035" y="4821"/>
                    <a:pt x="12035" y="4601"/>
                  </a:cubicBezTo>
                  <a:cubicBezTo>
                    <a:pt x="12035" y="4412"/>
                    <a:pt x="11878" y="4254"/>
                    <a:pt x="11689" y="4254"/>
                  </a:cubicBezTo>
                  <a:lnTo>
                    <a:pt x="10618" y="4254"/>
                  </a:lnTo>
                  <a:lnTo>
                    <a:pt x="10618" y="3529"/>
                  </a:lnTo>
                  <a:lnTo>
                    <a:pt x="11689" y="3529"/>
                  </a:lnTo>
                  <a:cubicBezTo>
                    <a:pt x="11878" y="3529"/>
                    <a:pt x="12035" y="3372"/>
                    <a:pt x="12035" y="3183"/>
                  </a:cubicBezTo>
                  <a:cubicBezTo>
                    <a:pt x="12035" y="2994"/>
                    <a:pt x="11878" y="2836"/>
                    <a:pt x="11689" y="2836"/>
                  </a:cubicBezTo>
                  <a:lnTo>
                    <a:pt x="10618" y="2836"/>
                  </a:lnTo>
                  <a:lnTo>
                    <a:pt x="10618" y="2490"/>
                  </a:lnTo>
                  <a:cubicBezTo>
                    <a:pt x="10618" y="1891"/>
                    <a:pt x="10145" y="1419"/>
                    <a:pt x="9547" y="1419"/>
                  </a:cubicBezTo>
                  <a:lnTo>
                    <a:pt x="9200" y="1419"/>
                  </a:lnTo>
                  <a:lnTo>
                    <a:pt x="9200" y="347"/>
                  </a:lnTo>
                  <a:cubicBezTo>
                    <a:pt x="9200" y="158"/>
                    <a:pt x="9042" y="1"/>
                    <a:pt x="8853" y="1"/>
                  </a:cubicBezTo>
                  <a:cubicBezTo>
                    <a:pt x="8664" y="1"/>
                    <a:pt x="8507" y="158"/>
                    <a:pt x="8507" y="347"/>
                  </a:cubicBezTo>
                  <a:lnTo>
                    <a:pt x="8507" y="1419"/>
                  </a:lnTo>
                  <a:lnTo>
                    <a:pt x="7782" y="1419"/>
                  </a:lnTo>
                  <a:lnTo>
                    <a:pt x="7782" y="347"/>
                  </a:lnTo>
                  <a:cubicBezTo>
                    <a:pt x="7782" y="158"/>
                    <a:pt x="7625" y="1"/>
                    <a:pt x="7436" y="1"/>
                  </a:cubicBezTo>
                  <a:cubicBezTo>
                    <a:pt x="7247" y="1"/>
                    <a:pt x="7089" y="158"/>
                    <a:pt x="7089" y="347"/>
                  </a:cubicBezTo>
                  <a:lnTo>
                    <a:pt x="7089" y="1419"/>
                  </a:lnTo>
                  <a:lnTo>
                    <a:pt x="6365" y="1419"/>
                  </a:lnTo>
                  <a:lnTo>
                    <a:pt x="6365" y="347"/>
                  </a:lnTo>
                  <a:cubicBezTo>
                    <a:pt x="6365" y="158"/>
                    <a:pt x="6207" y="1"/>
                    <a:pt x="6018" y="1"/>
                  </a:cubicBezTo>
                  <a:cubicBezTo>
                    <a:pt x="5829" y="1"/>
                    <a:pt x="5671" y="158"/>
                    <a:pt x="5671" y="347"/>
                  </a:cubicBezTo>
                  <a:lnTo>
                    <a:pt x="5671" y="1419"/>
                  </a:lnTo>
                  <a:lnTo>
                    <a:pt x="4947" y="1419"/>
                  </a:lnTo>
                  <a:lnTo>
                    <a:pt x="4947" y="347"/>
                  </a:lnTo>
                  <a:cubicBezTo>
                    <a:pt x="4947" y="158"/>
                    <a:pt x="4789" y="1"/>
                    <a:pt x="4600" y="1"/>
                  </a:cubicBezTo>
                  <a:cubicBezTo>
                    <a:pt x="4411" y="1"/>
                    <a:pt x="4254" y="158"/>
                    <a:pt x="4254" y="347"/>
                  </a:cubicBezTo>
                  <a:lnTo>
                    <a:pt x="4254" y="1419"/>
                  </a:lnTo>
                  <a:lnTo>
                    <a:pt x="3529" y="1419"/>
                  </a:lnTo>
                  <a:lnTo>
                    <a:pt x="3529" y="347"/>
                  </a:lnTo>
                  <a:cubicBezTo>
                    <a:pt x="3529" y="158"/>
                    <a:pt x="3372" y="1"/>
                    <a:pt x="3183"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819" name="Google Shape;10819;p113"/>
            <p:cNvSpPr/>
            <p:nvPr/>
          </p:nvSpPr>
          <p:spPr>
            <a:xfrm>
              <a:off x="-44455600" y="2053725"/>
              <a:ext cx="17350" cy="18125"/>
            </a:xfrm>
            <a:custGeom>
              <a:avLst/>
              <a:gdLst/>
              <a:ahLst/>
              <a:cxnLst/>
              <a:rect l="l" t="t" r="r" b="b"/>
              <a:pathLst>
                <a:path w="694" h="725" extrusionOk="0">
                  <a:moveTo>
                    <a:pt x="347" y="0"/>
                  </a:moveTo>
                  <a:cubicBezTo>
                    <a:pt x="158" y="0"/>
                    <a:pt x="0" y="158"/>
                    <a:pt x="0" y="347"/>
                  </a:cubicBezTo>
                  <a:cubicBezTo>
                    <a:pt x="0" y="567"/>
                    <a:pt x="158" y="725"/>
                    <a:pt x="347" y="725"/>
                  </a:cubicBezTo>
                  <a:cubicBezTo>
                    <a:pt x="536" y="725"/>
                    <a:pt x="693" y="567"/>
                    <a:pt x="693" y="347"/>
                  </a:cubicBezTo>
                  <a:cubicBezTo>
                    <a:pt x="693" y="158"/>
                    <a:pt x="536" y="0"/>
                    <a:pt x="347"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820" name="Google Shape;10820;p113"/>
            <p:cNvSpPr/>
            <p:nvPr/>
          </p:nvSpPr>
          <p:spPr>
            <a:xfrm>
              <a:off x="-44455600" y="2194700"/>
              <a:ext cx="17350" cy="17350"/>
            </a:xfrm>
            <a:custGeom>
              <a:avLst/>
              <a:gdLst/>
              <a:ahLst/>
              <a:cxnLst/>
              <a:rect l="l" t="t" r="r" b="b"/>
              <a:pathLst>
                <a:path w="694" h="694" extrusionOk="0">
                  <a:moveTo>
                    <a:pt x="347" y="1"/>
                  </a:moveTo>
                  <a:cubicBezTo>
                    <a:pt x="158" y="1"/>
                    <a:pt x="0" y="158"/>
                    <a:pt x="0" y="347"/>
                  </a:cubicBezTo>
                  <a:cubicBezTo>
                    <a:pt x="0" y="536"/>
                    <a:pt x="158" y="694"/>
                    <a:pt x="347" y="694"/>
                  </a:cubicBezTo>
                  <a:cubicBezTo>
                    <a:pt x="536" y="694"/>
                    <a:pt x="693" y="536"/>
                    <a:pt x="693" y="347"/>
                  </a:cubicBezTo>
                  <a:cubicBezTo>
                    <a:pt x="693" y="158"/>
                    <a:pt x="536" y="1"/>
                    <a:pt x="347"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821" name="Google Shape;10821;p113"/>
            <p:cNvSpPr/>
            <p:nvPr/>
          </p:nvSpPr>
          <p:spPr>
            <a:xfrm>
              <a:off x="-44314625" y="2194700"/>
              <a:ext cx="17350" cy="17350"/>
            </a:xfrm>
            <a:custGeom>
              <a:avLst/>
              <a:gdLst/>
              <a:ahLst/>
              <a:cxnLst/>
              <a:rect l="l" t="t" r="r" b="b"/>
              <a:pathLst>
                <a:path w="694" h="694" extrusionOk="0">
                  <a:moveTo>
                    <a:pt x="347" y="1"/>
                  </a:moveTo>
                  <a:cubicBezTo>
                    <a:pt x="158" y="1"/>
                    <a:pt x="0" y="158"/>
                    <a:pt x="0" y="347"/>
                  </a:cubicBezTo>
                  <a:cubicBezTo>
                    <a:pt x="0" y="536"/>
                    <a:pt x="158" y="694"/>
                    <a:pt x="347" y="694"/>
                  </a:cubicBezTo>
                  <a:cubicBezTo>
                    <a:pt x="536" y="694"/>
                    <a:pt x="694" y="536"/>
                    <a:pt x="694" y="347"/>
                  </a:cubicBezTo>
                  <a:cubicBezTo>
                    <a:pt x="694" y="158"/>
                    <a:pt x="536" y="1"/>
                    <a:pt x="347"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822" name="Google Shape;10822;p113"/>
            <p:cNvSpPr/>
            <p:nvPr/>
          </p:nvSpPr>
          <p:spPr>
            <a:xfrm>
              <a:off x="-44314625" y="2053725"/>
              <a:ext cx="17350" cy="18125"/>
            </a:xfrm>
            <a:custGeom>
              <a:avLst/>
              <a:gdLst/>
              <a:ahLst/>
              <a:cxnLst/>
              <a:rect l="l" t="t" r="r" b="b"/>
              <a:pathLst>
                <a:path w="694" h="725" extrusionOk="0">
                  <a:moveTo>
                    <a:pt x="347" y="0"/>
                  </a:moveTo>
                  <a:cubicBezTo>
                    <a:pt x="158" y="0"/>
                    <a:pt x="0" y="158"/>
                    <a:pt x="0" y="347"/>
                  </a:cubicBezTo>
                  <a:cubicBezTo>
                    <a:pt x="0" y="536"/>
                    <a:pt x="158" y="725"/>
                    <a:pt x="347" y="725"/>
                  </a:cubicBezTo>
                  <a:cubicBezTo>
                    <a:pt x="536" y="725"/>
                    <a:pt x="694" y="536"/>
                    <a:pt x="694" y="347"/>
                  </a:cubicBezTo>
                  <a:cubicBezTo>
                    <a:pt x="694" y="158"/>
                    <a:pt x="536" y="0"/>
                    <a:pt x="347"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823" name="Google Shape;10823;p113"/>
            <p:cNvSpPr/>
            <p:nvPr/>
          </p:nvSpPr>
          <p:spPr>
            <a:xfrm>
              <a:off x="-44447725" y="2062375"/>
              <a:ext cx="143350" cy="140225"/>
            </a:xfrm>
            <a:custGeom>
              <a:avLst/>
              <a:gdLst/>
              <a:ahLst/>
              <a:cxnLst/>
              <a:rect l="l" t="t" r="r" b="b"/>
              <a:pathLst>
                <a:path w="5734" h="5609" extrusionOk="0">
                  <a:moveTo>
                    <a:pt x="3182" y="757"/>
                  </a:moveTo>
                  <a:lnTo>
                    <a:pt x="3182" y="883"/>
                  </a:lnTo>
                  <a:cubicBezTo>
                    <a:pt x="3182" y="1041"/>
                    <a:pt x="3277" y="1167"/>
                    <a:pt x="3434" y="1198"/>
                  </a:cubicBezTo>
                  <a:cubicBezTo>
                    <a:pt x="3623" y="1261"/>
                    <a:pt x="3812" y="1387"/>
                    <a:pt x="3970" y="1513"/>
                  </a:cubicBezTo>
                  <a:cubicBezTo>
                    <a:pt x="4049" y="1553"/>
                    <a:pt x="4142" y="1593"/>
                    <a:pt x="4231" y="1593"/>
                  </a:cubicBezTo>
                  <a:cubicBezTo>
                    <a:pt x="4282" y="1593"/>
                    <a:pt x="4333" y="1579"/>
                    <a:pt x="4379" y="1545"/>
                  </a:cubicBezTo>
                  <a:lnTo>
                    <a:pt x="4505" y="1482"/>
                  </a:lnTo>
                  <a:lnTo>
                    <a:pt x="4852" y="2049"/>
                  </a:lnTo>
                  <a:lnTo>
                    <a:pt x="4726" y="2143"/>
                  </a:lnTo>
                  <a:cubicBezTo>
                    <a:pt x="4600" y="2206"/>
                    <a:pt x="4537" y="2364"/>
                    <a:pt x="4568" y="2490"/>
                  </a:cubicBezTo>
                  <a:cubicBezTo>
                    <a:pt x="4600" y="2710"/>
                    <a:pt x="4600" y="2899"/>
                    <a:pt x="4568" y="3120"/>
                  </a:cubicBezTo>
                  <a:cubicBezTo>
                    <a:pt x="4537" y="3277"/>
                    <a:pt x="4600" y="3403"/>
                    <a:pt x="4726" y="3466"/>
                  </a:cubicBezTo>
                  <a:lnTo>
                    <a:pt x="4852" y="3561"/>
                  </a:lnTo>
                  <a:lnTo>
                    <a:pt x="4505" y="4128"/>
                  </a:lnTo>
                  <a:lnTo>
                    <a:pt x="4379" y="4065"/>
                  </a:lnTo>
                  <a:cubicBezTo>
                    <a:pt x="4323" y="4037"/>
                    <a:pt x="4260" y="4021"/>
                    <a:pt x="4196" y="4021"/>
                  </a:cubicBezTo>
                  <a:cubicBezTo>
                    <a:pt x="4118" y="4021"/>
                    <a:pt x="4039" y="4044"/>
                    <a:pt x="3970" y="4097"/>
                  </a:cubicBezTo>
                  <a:cubicBezTo>
                    <a:pt x="3812" y="4254"/>
                    <a:pt x="3623" y="4349"/>
                    <a:pt x="3434" y="4412"/>
                  </a:cubicBezTo>
                  <a:cubicBezTo>
                    <a:pt x="3277" y="4475"/>
                    <a:pt x="3182" y="4632"/>
                    <a:pt x="3182" y="4727"/>
                  </a:cubicBezTo>
                  <a:lnTo>
                    <a:pt x="3182" y="4853"/>
                  </a:lnTo>
                  <a:lnTo>
                    <a:pt x="2489" y="4853"/>
                  </a:lnTo>
                  <a:lnTo>
                    <a:pt x="2489" y="4727"/>
                  </a:lnTo>
                  <a:cubicBezTo>
                    <a:pt x="2489" y="4569"/>
                    <a:pt x="2394" y="4475"/>
                    <a:pt x="2237" y="4412"/>
                  </a:cubicBezTo>
                  <a:cubicBezTo>
                    <a:pt x="2048" y="4349"/>
                    <a:pt x="1859" y="4223"/>
                    <a:pt x="1701" y="4097"/>
                  </a:cubicBezTo>
                  <a:cubicBezTo>
                    <a:pt x="1622" y="4057"/>
                    <a:pt x="1529" y="4017"/>
                    <a:pt x="1440" y="4017"/>
                  </a:cubicBezTo>
                  <a:cubicBezTo>
                    <a:pt x="1389" y="4017"/>
                    <a:pt x="1338" y="4030"/>
                    <a:pt x="1292" y="4065"/>
                  </a:cubicBezTo>
                  <a:lnTo>
                    <a:pt x="1166" y="4128"/>
                  </a:lnTo>
                  <a:lnTo>
                    <a:pt x="819" y="3561"/>
                  </a:lnTo>
                  <a:lnTo>
                    <a:pt x="945" y="3466"/>
                  </a:lnTo>
                  <a:cubicBezTo>
                    <a:pt x="1071" y="3403"/>
                    <a:pt x="1134" y="3246"/>
                    <a:pt x="1103" y="3120"/>
                  </a:cubicBezTo>
                  <a:cubicBezTo>
                    <a:pt x="1071" y="2899"/>
                    <a:pt x="1071" y="2710"/>
                    <a:pt x="1103" y="2490"/>
                  </a:cubicBezTo>
                  <a:cubicBezTo>
                    <a:pt x="1134" y="2332"/>
                    <a:pt x="1071" y="2206"/>
                    <a:pt x="945" y="2143"/>
                  </a:cubicBezTo>
                  <a:lnTo>
                    <a:pt x="819" y="2049"/>
                  </a:lnTo>
                  <a:lnTo>
                    <a:pt x="1166" y="1482"/>
                  </a:lnTo>
                  <a:lnTo>
                    <a:pt x="1292" y="1545"/>
                  </a:lnTo>
                  <a:cubicBezTo>
                    <a:pt x="1350" y="1589"/>
                    <a:pt x="1416" y="1612"/>
                    <a:pt x="1481" y="1612"/>
                  </a:cubicBezTo>
                  <a:cubicBezTo>
                    <a:pt x="1557" y="1612"/>
                    <a:pt x="1634" y="1581"/>
                    <a:pt x="1701" y="1513"/>
                  </a:cubicBezTo>
                  <a:cubicBezTo>
                    <a:pt x="1859" y="1356"/>
                    <a:pt x="2048" y="1261"/>
                    <a:pt x="2237" y="1198"/>
                  </a:cubicBezTo>
                  <a:cubicBezTo>
                    <a:pt x="2394" y="1167"/>
                    <a:pt x="2489" y="1009"/>
                    <a:pt x="2489" y="883"/>
                  </a:cubicBezTo>
                  <a:lnTo>
                    <a:pt x="2489" y="757"/>
                  </a:lnTo>
                  <a:close/>
                  <a:moveTo>
                    <a:pt x="2174" y="1"/>
                  </a:moveTo>
                  <a:cubicBezTo>
                    <a:pt x="1953" y="1"/>
                    <a:pt x="1796" y="158"/>
                    <a:pt x="1796" y="347"/>
                  </a:cubicBezTo>
                  <a:lnTo>
                    <a:pt x="1796" y="599"/>
                  </a:lnTo>
                  <a:cubicBezTo>
                    <a:pt x="1701" y="631"/>
                    <a:pt x="1575" y="726"/>
                    <a:pt x="1481" y="789"/>
                  </a:cubicBezTo>
                  <a:lnTo>
                    <a:pt x="1292" y="663"/>
                  </a:lnTo>
                  <a:cubicBezTo>
                    <a:pt x="1242" y="643"/>
                    <a:pt x="1186" y="632"/>
                    <a:pt x="1129" y="632"/>
                  </a:cubicBezTo>
                  <a:cubicBezTo>
                    <a:pt x="1007" y="632"/>
                    <a:pt x="884" y="681"/>
                    <a:pt x="819" y="789"/>
                  </a:cubicBezTo>
                  <a:lnTo>
                    <a:pt x="126" y="2017"/>
                  </a:lnTo>
                  <a:cubicBezTo>
                    <a:pt x="32" y="2175"/>
                    <a:pt x="63" y="2395"/>
                    <a:pt x="221" y="2490"/>
                  </a:cubicBezTo>
                  <a:lnTo>
                    <a:pt x="441" y="2616"/>
                  </a:lnTo>
                  <a:lnTo>
                    <a:pt x="441" y="2994"/>
                  </a:lnTo>
                  <a:lnTo>
                    <a:pt x="221" y="3120"/>
                  </a:lnTo>
                  <a:cubicBezTo>
                    <a:pt x="95" y="3183"/>
                    <a:pt x="0" y="3435"/>
                    <a:pt x="126" y="3592"/>
                  </a:cubicBezTo>
                  <a:lnTo>
                    <a:pt x="819" y="4821"/>
                  </a:lnTo>
                  <a:cubicBezTo>
                    <a:pt x="879" y="4921"/>
                    <a:pt x="989" y="4983"/>
                    <a:pt x="1102" y="4983"/>
                  </a:cubicBezTo>
                  <a:cubicBezTo>
                    <a:pt x="1168" y="4983"/>
                    <a:pt x="1234" y="4962"/>
                    <a:pt x="1292" y="4916"/>
                  </a:cubicBezTo>
                  <a:lnTo>
                    <a:pt x="1481" y="4821"/>
                  </a:lnTo>
                  <a:cubicBezTo>
                    <a:pt x="1607" y="4884"/>
                    <a:pt x="1733" y="4979"/>
                    <a:pt x="1796" y="5010"/>
                  </a:cubicBezTo>
                  <a:lnTo>
                    <a:pt x="1796" y="5231"/>
                  </a:lnTo>
                  <a:cubicBezTo>
                    <a:pt x="1796" y="5451"/>
                    <a:pt x="1953" y="5609"/>
                    <a:pt x="2174" y="5609"/>
                  </a:cubicBezTo>
                  <a:lnTo>
                    <a:pt x="3592" y="5609"/>
                  </a:lnTo>
                  <a:cubicBezTo>
                    <a:pt x="3781" y="5609"/>
                    <a:pt x="3938" y="5451"/>
                    <a:pt x="3938" y="5231"/>
                  </a:cubicBezTo>
                  <a:lnTo>
                    <a:pt x="3938" y="5010"/>
                  </a:lnTo>
                  <a:cubicBezTo>
                    <a:pt x="4064" y="4979"/>
                    <a:pt x="4159" y="4884"/>
                    <a:pt x="4253" y="4821"/>
                  </a:cubicBezTo>
                  <a:lnTo>
                    <a:pt x="4442" y="4916"/>
                  </a:lnTo>
                  <a:cubicBezTo>
                    <a:pt x="4501" y="4951"/>
                    <a:pt x="4574" y="4969"/>
                    <a:pt x="4644" y="4969"/>
                  </a:cubicBezTo>
                  <a:cubicBezTo>
                    <a:pt x="4762" y="4969"/>
                    <a:pt x="4875" y="4920"/>
                    <a:pt x="4915" y="4821"/>
                  </a:cubicBezTo>
                  <a:lnTo>
                    <a:pt x="5639" y="3592"/>
                  </a:lnTo>
                  <a:cubicBezTo>
                    <a:pt x="5702" y="3435"/>
                    <a:pt x="5671" y="3246"/>
                    <a:pt x="5513" y="3120"/>
                  </a:cubicBezTo>
                  <a:lnTo>
                    <a:pt x="5324" y="2994"/>
                  </a:lnTo>
                  <a:lnTo>
                    <a:pt x="5324" y="2616"/>
                  </a:lnTo>
                  <a:lnTo>
                    <a:pt x="5513" y="2490"/>
                  </a:lnTo>
                  <a:cubicBezTo>
                    <a:pt x="5671" y="2395"/>
                    <a:pt x="5734" y="2175"/>
                    <a:pt x="5639" y="2017"/>
                  </a:cubicBezTo>
                  <a:lnTo>
                    <a:pt x="4915" y="789"/>
                  </a:lnTo>
                  <a:cubicBezTo>
                    <a:pt x="4872" y="681"/>
                    <a:pt x="4742" y="618"/>
                    <a:pt x="4614" y="618"/>
                  </a:cubicBezTo>
                  <a:cubicBezTo>
                    <a:pt x="4553" y="618"/>
                    <a:pt x="4493" y="632"/>
                    <a:pt x="4442" y="663"/>
                  </a:cubicBezTo>
                  <a:lnTo>
                    <a:pt x="4253" y="789"/>
                  </a:lnTo>
                  <a:cubicBezTo>
                    <a:pt x="4127" y="726"/>
                    <a:pt x="4001" y="631"/>
                    <a:pt x="3938" y="599"/>
                  </a:cubicBezTo>
                  <a:lnTo>
                    <a:pt x="3938" y="347"/>
                  </a:lnTo>
                  <a:cubicBezTo>
                    <a:pt x="3938" y="158"/>
                    <a:pt x="3781" y="1"/>
                    <a:pt x="3592"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824" name="Google Shape;10824;p113"/>
            <p:cNvSpPr/>
            <p:nvPr/>
          </p:nvSpPr>
          <p:spPr>
            <a:xfrm>
              <a:off x="-44403625" y="2107275"/>
              <a:ext cx="53575" cy="52800"/>
            </a:xfrm>
            <a:custGeom>
              <a:avLst/>
              <a:gdLst/>
              <a:ahLst/>
              <a:cxnLst/>
              <a:rect l="l" t="t" r="r" b="b"/>
              <a:pathLst>
                <a:path w="2143" h="2112" extrusionOk="0">
                  <a:moveTo>
                    <a:pt x="1072" y="662"/>
                  </a:moveTo>
                  <a:cubicBezTo>
                    <a:pt x="1261" y="662"/>
                    <a:pt x="1418" y="820"/>
                    <a:pt x="1418" y="1009"/>
                  </a:cubicBezTo>
                  <a:cubicBezTo>
                    <a:pt x="1418" y="1198"/>
                    <a:pt x="1261" y="1355"/>
                    <a:pt x="1072" y="1355"/>
                  </a:cubicBezTo>
                  <a:cubicBezTo>
                    <a:pt x="882" y="1355"/>
                    <a:pt x="725" y="1198"/>
                    <a:pt x="725" y="1009"/>
                  </a:cubicBezTo>
                  <a:cubicBezTo>
                    <a:pt x="725" y="820"/>
                    <a:pt x="882" y="662"/>
                    <a:pt x="1072" y="662"/>
                  </a:cubicBezTo>
                  <a:close/>
                  <a:moveTo>
                    <a:pt x="1072" y="1"/>
                  </a:moveTo>
                  <a:cubicBezTo>
                    <a:pt x="473" y="1"/>
                    <a:pt x="0" y="473"/>
                    <a:pt x="0" y="1040"/>
                  </a:cubicBezTo>
                  <a:cubicBezTo>
                    <a:pt x="0" y="1639"/>
                    <a:pt x="473" y="2112"/>
                    <a:pt x="1072" y="2112"/>
                  </a:cubicBezTo>
                  <a:cubicBezTo>
                    <a:pt x="1670" y="2112"/>
                    <a:pt x="2143" y="1639"/>
                    <a:pt x="2143" y="1040"/>
                  </a:cubicBezTo>
                  <a:cubicBezTo>
                    <a:pt x="2143" y="473"/>
                    <a:pt x="1670" y="1"/>
                    <a:pt x="1072"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sp>
        <p:nvSpPr>
          <p:cNvPr id="10825" name="Google Shape;10825;p113"/>
          <p:cNvSpPr/>
          <p:nvPr/>
        </p:nvSpPr>
        <p:spPr>
          <a:xfrm>
            <a:off x="3504949" y="2041967"/>
            <a:ext cx="477599" cy="477599"/>
          </a:xfrm>
          <a:custGeom>
            <a:avLst/>
            <a:gdLst/>
            <a:ahLst/>
            <a:cxnLst/>
            <a:rect l="l" t="t" r="r" b="b"/>
            <a:pathLst>
              <a:path w="12004" h="12004" extrusionOk="0">
                <a:moveTo>
                  <a:pt x="5671" y="725"/>
                </a:moveTo>
                <a:lnTo>
                  <a:pt x="5671" y="2395"/>
                </a:lnTo>
                <a:cubicBezTo>
                  <a:pt x="5671" y="2616"/>
                  <a:pt x="5843" y="2760"/>
                  <a:pt x="6021" y="2760"/>
                </a:cubicBezTo>
                <a:cubicBezTo>
                  <a:pt x="6097" y="2760"/>
                  <a:pt x="6173" y="2734"/>
                  <a:pt x="6239" y="2678"/>
                </a:cubicBezTo>
                <a:cubicBezTo>
                  <a:pt x="6365" y="2552"/>
                  <a:pt x="6554" y="2489"/>
                  <a:pt x="6711" y="2489"/>
                </a:cubicBezTo>
                <a:cubicBezTo>
                  <a:pt x="7121" y="2489"/>
                  <a:pt x="7436" y="2804"/>
                  <a:pt x="7436" y="3182"/>
                </a:cubicBezTo>
                <a:cubicBezTo>
                  <a:pt x="7436" y="3592"/>
                  <a:pt x="7121" y="3907"/>
                  <a:pt x="6711" y="3907"/>
                </a:cubicBezTo>
                <a:cubicBezTo>
                  <a:pt x="6554" y="3907"/>
                  <a:pt x="6365" y="3812"/>
                  <a:pt x="6239" y="3686"/>
                </a:cubicBezTo>
                <a:cubicBezTo>
                  <a:pt x="6173" y="3630"/>
                  <a:pt x="6097" y="3605"/>
                  <a:pt x="6021" y="3605"/>
                </a:cubicBezTo>
                <a:cubicBezTo>
                  <a:pt x="5843" y="3605"/>
                  <a:pt x="5671" y="3748"/>
                  <a:pt x="5671" y="3970"/>
                </a:cubicBezTo>
                <a:lnTo>
                  <a:pt x="5671" y="5640"/>
                </a:lnTo>
                <a:lnTo>
                  <a:pt x="4569" y="5640"/>
                </a:lnTo>
                <a:cubicBezTo>
                  <a:pt x="4600" y="5514"/>
                  <a:pt x="4600" y="5388"/>
                  <a:pt x="4600" y="5262"/>
                </a:cubicBezTo>
                <a:cubicBezTo>
                  <a:pt x="4600" y="4474"/>
                  <a:pt x="3970" y="3875"/>
                  <a:pt x="3183" y="3875"/>
                </a:cubicBezTo>
                <a:cubicBezTo>
                  <a:pt x="2395" y="3875"/>
                  <a:pt x="1765" y="4474"/>
                  <a:pt x="1765" y="5262"/>
                </a:cubicBezTo>
                <a:cubicBezTo>
                  <a:pt x="1765" y="5388"/>
                  <a:pt x="1765" y="5514"/>
                  <a:pt x="1796" y="5640"/>
                </a:cubicBezTo>
                <a:lnTo>
                  <a:pt x="694" y="5640"/>
                </a:lnTo>
                <a:lnTo>
                  <a:pt x="694" y="1071"/>
                </a:lnTo>
                <a:cubicBezTo>
                  <a:pt x="694" y="882"/>
                  <a:pt x="851" y="725"/>
                  <a:pt x="1040" y="725"/>
                </a:cubicBezTo>
                <a:close/>
                <a:moveTo>
                  <a:pt x="10964" y="725"/>
                </a:moveTo>
                <a:cubicBezTo>
                  <a:pt x="11122" y="725"/>
                  <a:pt x="11311" y="882"/>
                  <a:pt x="11311" y="1071"/>
                </a:cubicBezTo>
                <a:lnTo>
                  <a:pt x="11311" y="5671"/>
                </a:lnTo>
                <a:lnTo>
                  <a:pt x="9610" y="5671"/>
                </a:lnTo>
                <a:cubicBezTo>
                  <a:pt x="9295" y="5671"/>
                  <a:pt x="9169" y="6018"/>
                  <a:pt x="9326" y="6270"/>
                </a:cubicBezTo>
                <a:cubicBezTo>
                  <a:pt x="9452" y="6396"/>
                  <a:pt x="9515" y="6585"/>
                  <a:pt x="9515" y="6742"/>
                </a:cubicBezTo>
                <a:cubicBezTo>
                  <a:pt x="9515" y="7120"/>
                  <a:pt x="9200" y="7435"/>
                  <a:pt x="8822" y="7435"/>
                </a:cubicBezTo>
                <a:cubicBezTo>
                  <a:pt x="8412" y="7435"/>
                  <a:pt x="8097" y="7120"/>
                  <a:pt x="8097" y="6742"/>
                </a:cubicBezTo>
                <a:cubicBezTo>
                  <a:pt x="8097" y="6585"/>
                  <a:pt x="8192" y="6364"/>
                  <a:pt x="8286" y="6270"/>
                </a:cubicBezTo>
                <a:cubicBezTo>
                  <a:pt x="8507" y="6018"/>
                  <a:pt x="8349" y="5671"/>
                  <a:pt x="8034" y="5671"/>
                </a:cubicBezTo>
                <a:lnTo>
                  <a:pt x="6365" y="5671"/>
                </a:lnTo>
                <a:lnTo>
                  <a:pt x="6365" y="4568"/>
                </a:lnTo>
                <a:cubicBezTo>
                  <a:pt x="6491" y="4600"/>
                  <a:pt x="6617" y="4600"/>
                  <a:pt x="6711" y="4600"/>
                </a:cubicBezTo>
                <a:cubicBezTo>
                  <a:pt x="7499" y="4600"/>
                  <a:pt x="8160" y="3970"/>
                  <a:pt x="8160" y="3182"/>
                </a:cubicBezTo>
                <a:cubicBezTo>
                  <a:pt x="8160" y="2395"/>
                  <a:pt x="7499" y="1764"/>
                  <a:pt x="6711" y="1764"/>
                </a:cubicBezTo>
                <a:cubicBezTo>
                  <a:pt x="6617" y="1764"/>
                  <a:pt x="6491" y="1764"/>
                  <a:pt x="6365" y="1796"/>
                </a:cubicBezTo>
                <a:lnTo>
                  <a:pt x="6365" y="725"/>
                </a:lnTo>
                <a:close/>
                <a:moveTo>
                  <a:pt x="3183" y="4568"/>
                </a:moveTo>
                <a:cubicBezTo>
                  <a:pt x="3561" y="4568"/>
                  <a:pt x="3876" y="4883"/>
                  <a:pt x="3876" y="5293"/>
                </a:cubicBezTo>
                <a:cubicBezTo>
                  <a:pt x="3876" y="5451"/>
                  <a:pt x="3813" y="5640"/>
                  <a:pt x="3687" y="5766"/>
                </a:cubicBezTo>
                <a:cubicBezTo>
                  <a:pt x="3498" y="5986"/>
                  <a:pt x="3655" y="6333"/>
                  <a:pt x="3970" y="6333"/>
                </a:cubicBezTo>
                <a:lnTo>
                  <a:pt x="5608" y="6333"/>
                </a:lnTo>
                <a:lnTo>
                  <a:pt x="5608" y="7435"/>
                </a:lnTo>
                <a:cubicBezTo>
                  <a:pt x="5514" y="7404"/>
                  <a:pt x="5388" y="7404"/>
                  <a:pt x="5262" y="7404"/>
                </a:cubicBezTo>
                <a:cubicBezTo>
                  <a:pt x="4474" y="7404"/>
                  <a:pt x="3844" y="8034"/>
                  <a:pt x="3844" y="8822"/>
                </a:cubicBezTo>
                <a:cubicBezTo>
                  <a:pt x="3844" y="9609"/>
                  <a:pt x="4474" y="10239"/>
                  <a:pt x="5262" y="10239"/>
                </a:cubicBezTo>
                <a:cubicBezTo>
                  <a:pt x="5388" y="10239"/>
                  <a:pt x="5514" y="10239"/>
                  <a:pt x="5608" y="10208"/>
                </a:cubicBezTo>
                <a:lnTo>
                  <a:pt x="5608" y="11310"/>
                </a:lnTo>
                <a:lnTo>
                  <a:pt x="1009" y="11310"/>
                </a:lnTo>
                <a:cubicBezTo>
                  <a:pt x="851" y="11310"/>
                  <a:pt x="694" y="11153"/>
                  <a:pt x="694" y="10964"/>
                </a:cubicBezTo>
                <a:lnTo>
                  <a:pt x="694" y="6333"/>
                </a:lnTo>
                <a:lnTo>
                  <a:pt x="2395" y="6333"/>
                </a:lnTo>
                <a:cubicBezTo>
                  <a:pt x="2710" y="6333"/>
                  <a:pt x="2868" y="5986"/>
                  <a:pt x="2679" y="5766"/>
                </a:cubicBezTo>
                <a:cubicBezTo>
                  <a:pt x="2552" y="5640"/>
                  <a:pt x="2458" y="5482"/>
                  <a:pt x="2458" y="5293"/>
                </a:cubicBezTo>
                <a:cubicBezTo>
                  <a:pt x="2458" y="4883"/>
                  <a:pt x="2773" y="4568"/>
                  <a:pt x="3183" y="4568"/>
                </a:cubicBezTo>
                <a:close/>
                <a:moveTo>
                  <a:pt x="11311" y="6333"/>
                </a:moveTo>
                <a:lnTo>
                  <a:pt x="11311" y="10964"/>
                </a:lnTo>
                <a:cubicBezTo>
                  <a:pt x="11311" y="11153"/>
                  <a:pt x="11153" y="11310"/>
                  <a:pt x="10933" y="11310"/>
                </a:cubicBezTo>
                <a:lnTo>
                  <a:pt x="6333" y="11310"/>
                </a:lnTo>
                <a:lnTo>
                  <a:pt x="6333" y="9609"/>
                </a:lnTo>
                <a:cubicBezTo>
                  <a:pt x="6333" y="9388"/>
                  <a:pt x="6162" y="9244"/>
                  <a:pt x="5972" y="9244"/>
                </a:cubicBezTo>
                <a:cubicBezTo>
                  <a:pt x="5892" y="9244"/>
                  <a:pt x="5809" y="9270"/>
                  <a:pt x="5735" y="9326"/>
                </a:cubicBezTo>
                <a:cubicBezTo>
                  <a:pt x="5640" y="9452"/>
                  <a:pt x="5482" y="9546"/>
                  <a:pt x="5262" y="9546"/>
                </a:cubicBezTo>
                <a:cubicBezTo>
                  <a:pt x="4884" y="9546"/>
                  <a:pt x="4569" y="9231"/>
                  <a:pt x="4569" y="8822"/>
                </a:cubicBezTo>
                <a:cubicBezTo>
                  <a:pt x="4569" y="8443"/>
                  <a:pt x="4884" y="8097"/>
                  <a:pt x="5262" y="8097"/>
                </a:cubicBezTo>
                <a:cubicBezTo>
                  <a:pt x="5419" y="8097"/>
                  <a:pt x="5640" y="8191"/>
                  <a:pt x="5735" y="8317"/>
                </a:cubicBezTo>
                <a:cubicBezTo>
                  <a:pt x="5809" y="8374"/>
                  <a:pt x="5892" y="8399"/>
                  <a:pt x="5972" y="8399"/>
                </a:cubicBezTo>
                <a:cubicBezTo>
                  <a:pt x="6162" y="8399"/>
                  <a:pt x="6333" y="8255"/>
                  <a:pt x="6333" y="8034"/>
                </a:cubicBezTo>
                <a:lnTo>
                  <a:pt x="6333" y="6333"/>
                </a:lnTo>
                <a:lnTo>
                  <a:pt x="7436" y="6333"/>
                </a:lnTo>
                <a:cubicBezTo>
                  <a:pt x="7404" y="6459"/>
                  <a:pt x="7404" y="6585"/>
                  <a:pt x="7404" y="6711"/>
                </a:cubicBezTo>
                <a:cubicBezTo>
                  <a:pt x="7404" y="7498"/>
                  <a:pt x="8034" y="8097"/>
                  <a:pt x="8822" y="8097"/>
                </a:cubicBezTo>
                <a:cubicBezTo>
                  <a:pt x="9610" y="8097"/>
                  <a:pt x="10240" y="7498"/>
                  <a:pt x="10240" y="6711"/>
                </a:cubicBezTo>
                <a:cubicBezTo>
                  <a:pt x="10240" y="6585"/>
                  <a:pt x="10240" y="6459"/>
                  <a:pt x="10208" y="6333"/>
                </a:cubicBezTo>
                <a:close/>
                <a:moveTo>
                  <a:pt x="1040" y="0"/>
                </a:moveTo>
                <a:cubicBezTo>
                  <a:pt x="473" y="0"/>
                  <a:pt x="1" y="473"/>
                  <a:pt x="1" y="1071"/>
                </a:cubicBezTo>
                <a:lnTo>
                  <a:pt x="1" y="10964"/>
                </a:lnTo>
                <a:cubicBezTo>
                  <a:pt x="1" y="11531"/>
                  <a:pt x="473" y="12004"/>
                  <a:pt x="1040" y="12004"/>
                </a:cubicBezTo>
                <a:lnTo>
                  <a:pt x="10933" y="12004"/>
                </a:lnTo>
                <a:cubicBezTo>
                  <a:pt x="11531" y="12004"/>
                  <a:pt x="12004" y="11531"/>
                  <a:pt x="12004" y="10964"/>
                </a:cubicBezTo>
                <a:lnTo>
                  <a:pt x="12004" y="1071"/>
                </a:lnTo>
                <a:cubicBezTo>
                  <a:pt x="11972" y="473"/>
                  <a:pt x="11500" y="0"/>
                  <a:pt x="10933"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nvGrpSpPr>
          <p:cNvPr id="10826" name="Google Shape;10826;p113"/>
          <p:cNvGrpSpPr/>
          <p:nvPr/>
        </p:nvGrpSpPr>
        <p:grpSpPr>
          <a:xfrm>
            <a:off x="3501231" y="2649981"/>
            <a:ext cx="477599" cy="477639"/>
            <a:chOff x="-49048250" y="2316775"/>
            <a:chExt cx="300100" cy="300125"/>
          </a:xfrm>
        </p:grpSpPr>
        <p:sp>
          <p:nvSpPr>
            <p:cNvPr id="10827" name="Google Shape;10827;p113"/>
            <p:cNvSpPr/>
            <p:nvPr/>
          </p:nvSpPr>
          <p:spPr>
            <a:xfrm>
              <a:off x="-49048250" y="2316775"/>
              <a:ext cx="300100" cy="300125"/>
            </a:xfrm>
            <a:custGeom>
              <a:avLst/>
              <a:gdLst/>
              <a:ahLst/>
              <a:cxnLst/>
              <a:rect l="l" t="t" r="r" b="b"/>
              <a:pathLst>
                <a:path w="12004" h="12005" extrusionOk="0">
                  <a:moveTo>
                    <a:pt x="10933" y="663"/>
                  </a:moveTo>
                  <a:cubicBezTo>
                    <a:pt x="11122" y="694"/>
                    <a:pt x="11311" y="852"/>
                    <a:pt x="11311" y="1009"/>
                  </a:cubicBezTo>
                  <a:lnTo>
                    <a:pt x="11311" y="1734"/>
                  </a:lnTo>
                  <a:lnTo>
                    <a:pt x="10366" y="1734"/>
                  </a:lnTo>
                  <a:lnTo>
                    <a:pt x="9106" y="663"/>
                  </a:lnTo>
                  <a:close/>
                  <a:moveTo>
                    <a:pt x="5136" y="694"/>
                  </a:moveTo>
                  <a:lnTo>
                    <a:pt x="6396" y="1765"/>
                  </a:lnTo>
                  <a:lnTo>
                    <a:pt x="4726" y="1765"/>
                  </a:lnTo>
                  <a:lnTo>
                    <a:pt x="3466" y="694"/>
                  </a:lnTo>
                  <a:close/>
                  <a:moveTo>
                    <a:pt x="7971" y="694"/>
                  </a:moveTo>
                  <a:lnTo>
                    <a:pt x="9232" y="1765"/>
                  </a:lnTo>
                  <a:lnTo>
                    <a:pt x="7562" y="1765"/>
                  </a:lnTo>
                  <a:lnTo>
                    <a:pt x="6302" y="694"/>
                  </a:lnTo>
                  <a:close/>
                  <a:moveTo>
                    <a:pt x="2363" y="663"/>
                  </a:moveTo>
                  <a:lnTo>
                    <a:pt x="4033" y="2080"/>
                  </a:lnTo>
                  <a:lnTo>
                    <a:pt x="2363" y="3498"/>
                  </a:lnTo>
                  <a:lnTo>
                    <a:pt x="694" y="3498"/>
                  </a:lnTo>
                  <a:lnTo>
                    <a:pt x="694" y="1009"/>
                  </a:lnTo>
                  <a:cubicBezTo>
                    <a:pt x="694" y="820"/>
                    <a:pt x="851" y="663"/>
                    <a:pt x="1040" y="663"/>
                  </a:cubicBezTo>
                  <a:close/>
                  <a:moveTo>
                    <a:pt x="6396" y="2427"/>
                  </a:moveTo>
                  <a:lnTo>
                    <a:pt x="5136" y="3498"/>
                  </a:lnTo>
                  <a:lnTo>
                    <a:pt x="3466" y="3498"/>
                  </a:lnTo>
                  <a:lnTo>
                    <a:pt x="4726" y="2427"/>
                  </a:lnTo>
                  <a:close/>
                  <a:moveTo>
                    <a:pt x="9200" y="2427"/>
                  </a:moveTo>
                  <a:lnTo>
                    <a:pt x="7940" y="3498"/>
                  </a:lnTo>
                  <a:lnTo>
                    <a:pt x="6239" y="3498"/>
                  </a:lnTo>
                  <a:lnTo>
                    <a:pt x="7499" y="2427"/>
                  </a:lnTo>
                  <a:close/>
                  <a:moveTo>
                    <a:pt x="11248" y="2427"/>
                  </a:moveTo>
                  <a:lnTo>
                    <a:pt x="11248" y="3498"/>
                  </a:lnTo>
                  <a:lnTo>
                    <a:pt x="9043" y="3498"/>
                  </a:lnTo>
                  <a:lnTo>
                    <a:pt x="10303" y="2427"/>
                  </a:lnTo>
                  <a:close/>
                  <a:moveTo>
                    <a:pt x="11311" y="4160"/>
                  </a:moveTo>
                  <a:lnTo>
                    <a:pt x="11311" y="10902"/>
                  </a:lnTo>
                  <a:cubicBezTo>
                    <a:pt x="11311" y="11091"/>
                    <a:pt x="11153" y="11248"/>
                    <a:pt x="10933" y="11248"/>
                  </a:cubicBezTo>
                  <a:lnTo>
                    <a:pt x="1072" y="11248"/>
                  </a:lnTo>
                  <a:cubicBezTo>
                    <a:pt x="851" y="11248"/>
                    <a:pt x="694" y="11091"/>
                    <a:pt x="694" y="10902"/>
                  </a:cubicBezTo>
                  <a:lnTo>
                    <a:pt x="694" y="4160"/>
                  </a:lnTo>
                  <a:close/>
                  <a:moveTo>
                    <a:pt x="1040" y="1"/>
                  </a:moveTo>
                  <a:cubicBezTo>
                    <a:pt x="473" y="1"/>
                    <a:pt x="1" y="474"/>
                    <a:pt x="1" y="1041"/>
                  </a:cubicBezTo>
                  <a:lnTo>
                    <a:pt x="1" y="10933"/>
                  </a:lnTo>
                  <a:cubicBezTo>
                    <a:pt x="1" y="11532"/>
                    <a:pt x="473" y="12004"/>
                    <a:pt x="1040" y="12004"/>
                  </a:cubicBezTo>
                  <a:lnTo>
                    <a:pt x="10933" y="12004"/>
                  </a:lnTo>
                  <a:cubicBezTo>
                    <a:pt x="11531" y="12004"/>
                    <a:pt x="12004" y="11532"/>
                    <a:pt x="12004" y="10933"/>
                  </a:cubicBezTo>
                  <a:lnTo>
                    <a:pt x="12004" y="3845"/>
                  </a:lnTo>
                  <a:lnTo>
                    <a:pt x="12004" y="1041"/>
                  </a:lnTo>
                  <a:cubicBezTo>
                    <a:pt x="11972" y="474"/>
                    <a:pt x="11500" y="1"/>
                    <a:pt x="10933"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828" name="Google Shape;10828;p113"/>
            <p:cNvSpPr/>
            <p:nvPr/>
          </p:nvSpPr>
          <p:spPr>
            <a:xfrm>
              <a:off x="-49004150" y="2360100"/>
              <a:ext cx="17350" cy="17350"/>
            </a:xfrm>
            <a:custGeom>
              <a:avLst/>
              <a:gdLst/>
              <a:ahLst/>
              <a:cxnLst/>
              <a:rect l="l" t="t" r="r" b="b"/>
              <a:pathLst>
                <a:path w="694" h="694" extrusionOk="0">
                  <a:moveTo>
                    <a:pt x="347" y="1"/>
                  </a:moveTo>
                  <a:cubicBezTo>
                    <a:pt x="158" y="1"/>
                    <a:pt x="1" y="158"/>
                    <a:pt x="1" y="347"/>
                  </a:cubicBezTo>
                  <a:cubicBezTo>
                    <a:pt x="1" y="536"/>
                    <a:pt x="158" y="694"/>
                    <a:pt x="347" y="694"/>
                  </a:cubicBezTo>
                  <a:cubicBezTo>
                    <a:pt x="536" y="694"/>
                    <a:pt x="694" y="536"/>
                    <a:pt x="694" y="347"/>
                  </a:cubicBezTo>
                  <a:cubicBezTo>
                    <a:pt x="694" y="158"/>
                    <a:pt x="536" y="1"/>
                    <a:pt x="347"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829" name="Google Shape;10829;p113"/>
            <p:cNvSpPr/>
            <p:nvPr/>
          </p:nvSpPr>
          <p:spPr>
            <a:xfrm>
              <a:off x="-48925375" y="2465650"/>
              <a:ext cx="71700" cy="86650"/>
            </a:xfrm>
            <a:custGeom>
              <a:avLst/>
              <a:gdLst/>
              <a:ahLst/>
              <a:cxnLst/>
              <a:rect l="l" t="t" r="r" b="b"/>
              <a:pathLst>
                <a:path w="2868" h="3466" extrusionOk="0">
                  <a:moveTo>
                    <a:pt x="693" y="1040"/>
                  </a:moveTo>
                  <a:lnTo>
                    <a:pt x="1859" y="1796"/>
                  </a:lnTo>
                  <a:lnTo>
                    <a:pt x="693" y="2552"/>
                  </a:lnTo>
                  <a:lnTo>
                    <a:pt x="693" y="1040"/>
                  </a:lnTo>
                  <a:close/>
                  <a:moveTo>
                    <a:pt x="343" y="1"/>
                  </a:moveTo>
                  <a:cubicBezTo>
                    <a:pt x="167" y="1"/>
                    <a:pt x="0" y="141"/>
                    <a:pt x="0" y="347"/>
                  </a:cubicBezTo>
                  <a:lnTo>
                    <a:pt x="0" y="3151"/>
                  </a:lnTo>
                  <a:cubicBezTo>
                    <a:pt x="0" y="3333"/>
                    <a:pt x="165" y="3466"/>
                    <a:pt x="340" y="3466"/>
                  </a:cubicBezTo>
                  <a:cubicBezTo>
                    <a:pt x="407" y="3466"/>
                    <a:pt x="475" y="3446"/>
                    <a:pt x="536" y="3403"/>
                  </a:cubicBezTo>
                  <a:lnTo>
                    <a:pt x="2678" y="1985"/>
                  </a:lnTo>
                  <a:cubicBezTo>
                    <a:pt x="2867" y="1922"/>
                    <a:pt x="2867" y="1639"/>
                    <a:pt x="2678" y="1481"/>
                  </a:cubicBezTo>
                  <a:lnTo>
                    <a:pt x="536" y="63"/>
                  </a:lnTo>
                  <a:cubicBezTo>
                    <a:pt x="476" y="20"/>
                    <a:pt x="409" y="1"/>
                    <a:pt x="343"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830" name="Google Shape;10830;p113"/>
            <p:cNvSpPr/>
            <p:nvPr/>
          </p:nvSpPr>
          <p:spPr>
            <a:xfrm>
              <a:off x="-48977350" y="2431000"/>
              <a:ext cx="157525" cy="157550"/>
            </a:xfrm>
            <a:custGeom>
              <a:avLst/>
              <a:gdLst/>
              <a:ahLst/>
              <a:cxnLst/>
              <a:rect l="l" t="t" r="r" b="b"/>
              <a:pathLst>
                <a:path w="6301" h="6302" extrusionOk="0">
                  <a:moveTo>
                    <a:pt x="3151" y="756"/>
                  </a:moveTo>
                  <a:cubicBezTo>
                    <a:pt x="4474" y="756"/>
                    <a:pt x="5576" y="1859"/>
                    <a:pt x="5576" y="3182"/>
                  </a:cubicBezTo>
                  <a:cubicBezTo>
                    <a:pt x="5608" y="4537"/>
                    <a:pt x="4537" y="5640"/>
                    <a:pt x="3151" y="5640"/>
                  </a:cubicBezTo>
                  <a:cubicBezTo>
                    <a:pt x="1796" y="5640"/>
                    <a:pt x="693" y="4537"/>
                    <a:pt x="693" y="3182"/>
                  </a:cubicBezTo>
                  <a:cubicBezTo>
                    <a:pt x="693" y="1859"/>
                    <a:pt x="1796" y="756"/>
                    <a:pt x="3151" y="756"/>
                  </a:cubicBezTo>
                  <a:close/>
                  <a:moveTo>
                    <a:pt x="3151" y="0"/>
                  </a:moveTo>
                  <a:cubicBezTo>
                    <a:pt x="1418" y="0"/>
                    <a:pt x="0" y="1418"/>
                    <a:pt x="0" y="3151"/>
                  </a:cubicBezTo>
                  <a:cubicBezTo>
                    <a:pt x="0" y="4883"/>
                    <a:pt x="1418" y="6301"/>
                    <a:pt x="3151" y="6301"/>
                  </a:cubicBezTo>
                  <a:cubicBezTo>
                    <a:pt x="4883" y="6301"/>
                    <a:pt x="6301" y="4883"/>
                    <a:pt x="6301" y="3151"/>
                  </a:cubicBezTo>
                  <a:cubicBezTo>
                    <a:pt x="6301" y="1418"/>
                    <a:pt x="4915" y="0"/>
                    <a:pt x="3151"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sp>
        <p:nvSpPr>
          <p:cNvPr id="10831" name="Google Shape;10831;p113"/>
          <p:cNvSpPr/>
          <p:nvPr/>
        </p:nvSpPr>
        <p:spPr>
          <a:xfrm>
            <a:off x="3503079" y="3246834"/>
            <a:ext cx="481339" cy="477161"/>
          </a:xfrm>
          <a:custGeom>
            <a:avLst/>
            <a:gdLst/>
            <a:ahLst/>
            <a:cxnLst/>
            <a:rect l="l" t="t" r="r" b="b"/>
            <a:pathLst>
              <a:path w="12098" h="11993" extrusionOk="0">
                <a:moveTo>
                  <a:pt x="9042" y="4337"/>
                </a:moveTo>
                <a:lnTo>
                  <a:pt x="10208" y="4935"/>
                </a:lnTo>
                <a:lnTo>
                  <a:pt x="8695" y="4935"/>
                </a:lnTo>
                <a:lnTo>
                  <a:pt x="9042" y="4337"/>
                </a:lnTo>
                <a:close/>
                <a:moveTo>
                  <a:pt x="5167" y="1753"/>
                </a:moveTo>
                <a:lnTo>
                  <a:pt x="7593" y="5534"/>
                </a:lnTo>
                <a:lnTo>
                  <a:pt x="7026" y="6574"/>
                </a:lnTo>
                <a:lnTo>
                  <a:pt x="5356" y="4022"/>
                </a:lnTo>
                <a:lnTo>
                  <a:pt x="5167" y="1753"/>
                </a:lnTo>
                <a:close/>
                <a:moveTo>
                  <a:pt x="9105" y="5629"/>
                </a:moveTo>
                <a:lnTo>
                  <a:pt x="8664" y="9189"/>
                </a:lnTo>
                <a:lnTo>
                  <a:pt x="7435" y="7298"/>
                </a:lnTo>
                <a:cubicBezTo>
                  <a:pt x="7593" y="7015"/>
                  <a:pt x="8223" y="5849"/>
                  <a:pt x="8349" y="5629"/>
                </a:cubicBezTo>
                <a:close/>
                <a:moveTo>
                  <a:pt x="3088" y="1753"/>
                </a:moveTo>
                <a:lnTo>
                  <a:pt x="8034" y="9504"/>
                </a:lnTo>
                <a:lnTo>
                  <a:pt x="3623" y="7834"/>
                </a:lnTo>
                <a:lnTo>
                  <a:pt x="3088" y="1753"/>
                </a:lnTo>
                <a:close/>
                <a:moveTo>
                  <a:pt x="1355" y="9378"/>
                </a:moveTo>
                <a:lnTo>
                  <a:pt x="4096" y="10134"/>
                </a:lnTo>
                <a:lnTo>
                  <a:pt x="4757" y="11268"/>
                </a:lnTo>
                <a:lnTo>
                  <a:pt x="2773" y="11268"/>
                </a:lnTo>
                <a:lnTo>
                  <a:pt x="1355" y="9378"/>
                </a:lnTo>
                <a:close/>
                <a:moveTo>
                  <a:pt x="4064" y="8748"/>
                </a:moveTo>
                <a:lnTo>
                  <a:pt x="8380" y="10354"/>
                </a:lnTo>
                <a:lnTo>
                  <a:pt x="7971" y="11268"/>
                </a:lnTo>
                <a:lnTo>
                  <a:pt x="5545" y="11268"/>
                </a:lnTo>
                <a:cubicBezTo>
                  <a:pt x="5387" y="10984"/>
                  <a:pt x="4253" y="9063"/>
                  <a:pt x="4064" y="8748"/>
                </a:cubicBezTo>
                <a:close/>
                <a:moveTo>
                  <a:pt x="2485" y="1"/>
                </a:moveTo>
                <a:cubicBezTo>
                  <a:pt x="2453" y="1"/>
                  <a:pt x="2422" y="7"/>
                  <a:pt x="2394" y="21"/>
                </a:cubicBezTo>
                <a:cubicBezTo>
                  <a:pt x="2237" y="52"/>
                  <a:pt x="2174" y="210"/>
                  <a:pt x="2174" y="367"/>
                </a:cubicBezTo>
                <a:cubicBezTo>
                  <a:pt x="2930" y="8527"/>
                  <a:pt x="2836" y="8117"/>
                  <a:pt x="2930" y="8243"/>
                </a:cubicBezTo>
                <a:lnTo>
                  <a:pt x="3497" y="9252"/>
                </a:lnTo>
                <a:lnTo>
                  <a:pt x="473" y="8432"/>
                </a:lnTo>
                <a:cubicBezTo>
                  <a:pt x="437" y="8425"/>
                  <a:pt x="402" y="8422"/>
                  <a:pt x="368" y="8422"/>
                </a:cubicBezTo>
                <a:cubicBezTo>
                  <a:pt x="249" y="8422"/>
                  <a:pt x="143" y="8468"/>
                  <a:pt x="95" y="8590"/>
                </a:cubicBezTo>
                <a:cubicBezTo>
                  <a:pt x="0" y="8716"/>
                  <a:pt x="0" y="8874"/>
                  <a:pt x="95" y="9000"/>
                </a:cubicBezTo>
                <a:lnTo>
                  <a:pt x="2205" y="11835"/>
                </a:lnTo>
                <a:cubicBezTo>
                  <a:pt x="2300" y="11898"/>
                  <a:pt x="2363" y="11993"/>
                  <a:pt x="2489" y="11993"/>
                </a:cubicBezTo>
                <a:lnTo>
                  <a:pt x="8128" y="11993"/>
                </a:lnTo>
                <a:cubicBezTo>
                  <a:pt x="8223" y="11993"/>
                  <a:pt x="8380" y="11898"/>
                  <a:pt x="8443" y="11772"/>
                </a:cubicBezTo>
                <a:lnTo>
                  <a:pt x="9137" y="10354"/>
                </a:lnTo>
                <a:cubicBezTo>
                  <a:pt x="9137" y="10323"/>
                  <a:pt x="9168" y="10291"/>
                  <a:pt x="9168" y="10260"/>
                </a:cubicBezTo>
                <a:lnTo>
                  <a:pt x="9735" y="5629"/>
                </a:lnTo>
                <a:lnTo>
                  <a:pt x="11657" y="5629"/>
                </a:lnTo>
                <a:cubicBezTo>
                  <a:pt x="11814" y="5629"/>
                  <a:pt x="11972" y="5534"/>
                  <a:pt x="12003" y="5377"/>
                </a:cubicBezTo>
                <a:cubicBezTo>
                  <a:pt x="12098" y="5219"/>
                  <a:pt x="12003" y="4998"/>
                  <a:pt x="11846" y="4967"/>
                </a:cubicBezTo>
                <a:lnTo>
                  <a:pt x="9042" y="3549"/>
                </a:lnTo>
                <a:cubicBezTo>
                  <a:pt x="9001" y="3533"/>
                  <a:pt x="8954" y="3525"/>
                  <a:pt x="8906" y="3525"/>
                </a:cubicBezTo>
                <a:cubicBezTo>
                  <a:pt x="8767" y="3525"/>
                  <a:pt x="8616" y="3590"/>
                  <a:pt x="8569" y="3707"/>
                </a:cubicBezTo>
                <a:lnTo>
                  <a:pt x="7908" y="4841"/>
                </a:lnTo>
                <a:lnTo>
                  <a:pt x="4915" y="178"/>
                </a:lnTo>
                <a:cubicBezTo>
                  <a:pt x="4866" y="80"/>
                  <a:pt x="4740" y="1"/>
                  <a:pt x="4627" y="1"/>
                </a:cubicBezTo>
                <a:cubicBezTo>
                  <a:pt x="4595" y="1"/>
                  <a:pt x="4564" y="7"/>
                  <a:pt x="4537" y="21"/>
                </a:cubicBezTo>
                <a:cubicBezTo>
                  <a:pt x="4411" y="52"/>
                  <a:pt x="4285" y="210"/>
                  <a:pt x="4285" y="367"/>
                </a:cubicBezTo>
                <a:lnTo>
                  <a:pt x="4505" y="2762"/>
                </a:lnTo>
                <a:lnTo>
                  <a:pt x="2804" y="178"/>
                </a:lnTo>
                <a:cubicBezTo>
                  <a:pt x="2730" y="80"/>
                  <a:pt x="2599" y="1"/>
                  <a:pt x="2485"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nvGrpSpPr>
          <p:cNvPr id="10832" name="Google Shape;10832;p113"/>
          <p:cNvGrpSpPr/>
          <p:nvPr/>
        </p:nvGrpSpPr>
        <p:grpSpPr>
          <a:xfrm>
            <a:off x="1720660" y="3904379"/>
            <a:ext cx="480145" cy="477599"/>
            <a:chOff x="-47160325" y="1974175"/>
            <a:chExt cx="301700" cy="300100"/>
          </a:xfrm>
        </p:grpSpPr>
        <p:sp>
          <p:nvSpPr>
            <p:cNvPr id="10833" name="Google Shape;10833;p113"/>
            <p:cNvSpPr/>
            <p:nvPr/>
          </p:nvSpPr>
          <p:spPr>
            <a:xfrm>
              <a:off x="-47160325" y="1974175"/>
              <a:ext cx="301700" cy="300100"/>
            </a:xfrm>
            <a:custGeom>
              <a:avLst/>
              <a:gdLst/>
              <a:ahLst/>
              <a:cxnLst/>
              <a:rect l="l" t="t" r="r" b="b"/>
              <a:pathLst>
                <a:path w="12068" h="12004" extrusionOk="0">
                  <a:moveTo>
                    <a:pt x="8539" y="1166"/>
                  </a:moveTo>
                  <a:lnTo>
                    <a:pt x="9452" y="2080"/>
                  </a:lnTo>
                  <a:lnTo>
                    <a:pt x="8539" y="2080"/>
                  </a:lnTo>
                  <a:lnTo>
                    <a:pt x="8539" y="1166"/>
                  </a:lnTo>
                  <a:close/>
                  <a:moveTo>
                    <a:pt x="7846" y="693"/>
                  </a:moveTo>
                  <a:lnTo>
                    <a:pt x="7846" y="2489"/>
                  </a:lnTo>
                  <a:cubicBezTo>
                    <a:pt x="7846" y="2678"/>
                    <a:pt x="8003" y="2836"/>
                    <a:pt x="8192" y="2836"/>
                  </a:cubicBezTo>
                  <a:lnTo>
                    <a:pt x="9957" y="2836"/>
                  </a:lnTo>
                  <a:lnTo>
                    <a:pt x="9957" y="4254"/>
                  </a:lnTo>
                  <a:lnTo>
                    <a:pt x="4916" y="4254"/>
                  </a:lnTo>
                  <a:lnTo>
                    <a:pt x="4538" y="3434"/>
                  </a:lnTo>
                  <a:cubicBezTo>
                    <a:pt x="4349" y="3056"/>
                    <a:pt x="3971" y="2836"/>
                    <a:pt x="3593" y="2836"/>
                  </a:cubicBezTo>
                  <a:lnTo>
                    <a:pt x="2206" y="2836"/>
                  </a:lnTo>
                  <a:lnTo>
                    <a:pt x="2206" y="693"/>
                  </a:lnTo>
                  <a:close/>
                  <a:moveTo>
                    <a:pt x="3561" y="3529"/>
                  </a:moveTo>
                  <a:cubicBezTo>
                    <a:pt x="3656" y="3529"/>
                    <a:pt x="3782" y="3623"/>
                    <a:pt x="3876" y="3718"/>
                  </a:cubicBezTo>
                  <a:lnTo>
                    <a:pt x="4380" y="4758"/>
                  </a:lnTo>
                  <a:cubicBezTo>
                    <a:pt x="4443" y="4884"/>
                    <a:pt x="4569" y="4947"/>
                    <a:pt x="4695" y="4947"/>
                  </a:cubicBezTo>
                  <a:lnTo>
                    <a:pt x="11028" y="4947"/>
                  </a:lnTo>
                  <a:cubicBezTo>
                    <a:pt x="11248" y="4947"/>
                    <a:pt x="11406" y="5104"/>
                    <a:pt x="11406" y="5293"/>
                  </a:cubicBezTo>
                  <a:lnTo>
                    <a:pt x="11406" y="10933"/>
                  </a:lnTo>
                  <a:lnTo>
                    <a:pt x="11343" y="10933"/>
                  </a:lnTo>
                  <a:cubicBezTo>
                    <a:pt x="11343" y="11153"/>
                    <a:pt x="11185" y="11311"/>
                    <a:pt x="10996" y="11311"/>
                  </a:cubicBezTo>
                  <a:lnTo>
                    <a:pt x="1104" y="11311"/>
                  </a:lnTo>
                  <a:cubicBezTo>
                    <a:pt x="915" y="11311"/>
                    <a:pt x="757" y="11153"/>
                    <a:pt x="757" y="10933"/>
                  </a:cubicBezTo>
                  <a:lnTo>
                    <a:pt x="757" y="3875"/>
                  </a:lnTo>
                  <a:cubicBezTo>
                    <a:pt x="757" y="3686"/>
                    <a:pt x="915" y="3529"/>
                    <a:pt x="1104" y="3529"/>
                  </a:cubicBezTo>
                  <a:close/>
                  <a:moveTo>
                    <a:pt x="1797" y="0"/>
                  </a:moveTo>
                  <a:cubicBezTo>
                    <a:pt x="1576" y="0"/>
                    <a:pt x="1419" y="158"/>
                    <a:pt x="1419" y="347"/>
                  </a:cubicBezTo>
                  <a:lnTo>
                    <a:pt x="1419" y="2836"/>
                  </a:lnTo>
                  <a:lnTo>
                    <a:pt x="1072" y="2836"/>
                  </a:lnTo>
                  <a:cubicBezTo>
                    <a:pt x="474" y="2836"/>
                    <a:pt x="1" y="3308"/>
                    <a:pt x="1" y="3907"/>
                  </a:cubicBezTo>
                  <a:lnTo>
                    <a:pt x="1" y="10933"/>
                  </a:lnTo>
                  <a:cubicBezTo>
                    <a:pt x="1" y="11531"/>
                    <a:pt x="474" y="12004"/>
                    <a:pt x="1072" y="12004"/>
                  </a:cubicBezTo>
                  <a:lnTo>
                    <a:pt x="10965" y="12004"/>
                  </a:lnTo>
                  <a:cubicBezTo>
                    <a:pt x="11563" y="12004"/>
                    <a:pt x="12036" y="11531"/>
                    <a:pt x="12036" y="10933"/>
                  </a:cubicBezTo>
                  <a:lnTo>
                    <a:pt x="12036" y="5325"/>
                  </a:lnTo>
                  <a:cubicBezTo>
                    <a:pt x="12067" y="4726"/>
                    <a:pt x="11595" y="4254"/>
                    <a:pt x="10996" y="4254"/>
                  </a:cubicBezTo>
                  <a:lnTo>
                    <a:pt x="10650" y="4254"/>
                  </a:lnTo>
                  <a:lnTo>
                    <a:pt x="10650" y="2489"/>
                  </a:lnTo>
                  <a:cubicBezTo>
                    <a:pt x="10650" y="2395"/>
                    <a:pt x="10618" y="2269"/>
                    <a:pt x="10524" y="2237"/>
                  </a:cubicBezTo>
                  <a:lnTo>
                    <a:pt x="8413" y="126"/>
                  </a:lnTo>
                  <a:cubicBezTo>
                    <a:pt x="8318" y="32"/>
                    <a:pt x="8255" y="0"/>
                    <a:pt x="8161"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834" name="Google Shape;10834;p113"/>
            <p:cNvSpPr/>
            <p:nvPr/>
          </p:nvSpPr>
          <p:spPr>
            <a:xfrm>
              <a:off x="-47070525" y="2115150"/>
              <a:ext cx="123675" cy="123675"/>
            </a:xfrm>
            <a:custGeom>
              <a:avLst/>
              <a:gdLst/>
              <a:ahLst/>
              <a:cxnLst/>
              <a:rect l="l" t="t" r="r" b="b"/>
              <a:pathLst>
                <a:path w="4947" h="4947" extrusionOk="0">
                  <a:moveTo>
                    <a:pt x="1796" y="694"/>
                  </a:moveTo>
                  <a:cubicBezTo>
                    <a:pt x="2269" y="694"/>
                    <a:pt x="2678" y="977"/>
                    <a:pt x="2804" y="1418"/>
                  </a:cubicBezTo>
                  <a:lnTo>
                    <a:pt x="1796" y="1418"/>
                  </a:lnTo>
                  <a:cubicBezTo>
                    <a:pt x="1607" y="1418"/>
                    <a:pt x="1450" y="1576"/>
                    <a:pt x="1450" y="1765"/>
                  </a:cubicBezTo>
                  <a:lnTo>
                    <a:pt x="1450" y="2742"/>
                  </a:lnTo>
                  <a:cubicBezTo>
                    <a:pt x="1009" y="2584"/>
                    <a:pt x="757" y="2175"/>
                    <a:pt x="757" y="1765"/>
                  </a:cubicBezTo>
                  <a:cubicBezTo>
                    <a:pt x="757" y="1166"/>
                    <a:pt x="1229" y="694"/>
                    <a:pt x="1796" y="694"/>
                  </a:cubicBezTo>
                  <a:close/>
                  <a:moveTo>
                    <a:pt x="2804" y="2112"/>
                  </a:moveTo>
                  <a:cubicBezTo>
                    <a:pt x="2678" y="2427"/>
                    <a:pt x="2426" y="2679"/>
                    <a:pt x="2174" y="2742"/>
                  </a:cubicBezTo>
                  <a:lnTo>
                    <a:pt x="2174" y="2112"/>
                  </a:lnTo>
                  <a:close/>
                  <a:moveTo>
                    <a:pt x="4254" y="2080"/>
                  </a:moveTo>
                  <a:lnTo>
                    <a:pt x="4254" y="4191"/>
                  </a:lnTo>
                  <a:lnTo>
                    <a:pt x="2143" y="4191"/>
                  </a:lnTo>
                  <a:lnTo>
                    <a:pt x="2143" y="3466"/>
                  </a:lnTo>
                  <a:cubicBezTo>
                    <a:pt x="2804" y="3309"/>
                    <a:pt x="3340" y="2773"/>
                    <a:pt x="3498" y="2080"/>
                  </a:cubicBezTo>
                  <a:close/>
                  <a:moveTo>
                    <a:pt x="1765" y="1"/>
                  </a:moveTo>
                  <a:cubicBezTo>
                    <a:pt x="788" y="1"/>
                    <a:pt x="1" y="788"/>
                    <a:pt x="1" y="1765"/>
                  </a:cubicBezTo>
                  <a:cubicBezTo>
                    <a:pt x="1" y="2616"/>
                    <a:pt x="599" y="3340"/>
                    <a:pt x="1418" y="3498"/>
                  </a:cubicBezTo>
                  <a:lnTo>
                    <a:pt x="1418" y="4600"/>
                  </a:lnTo>
                  <a:cubicBezTo>
                    <a:pt x="1418" y="4789"/>
                    <a:pt x="1576" y="4947"/>
                    <a:pt x="1765" y="4947"/>
                  </a:cubicBezTo>
                  <a:lnTo>
                    <a:pt x="4569" y="4947"/>
                  </a:lnTo>
                  <a:cubicBezTo>
                    <a:pt x="4758" y="4947"/>
                    <a:pt x="4915" y="4789"/>
                    <a:pt x="4915" y="4600"/>
                  </a:cubicBezTo>
                  <a:lnTo>
                    <a:pt x="4915" y="1797"/>
                  </a:lnTo>
                  <a:cubicBezTo>
                    <a:pt x="4947" y="1576"/>
                    <a:pt x="4789" y="1387"/>
                    <a:pt x="4600" y="1387"/>
                  </a:cubicBezTo>
                  <a:lnTo>
                    <a:pt x="3498" y="1387"/>
                  </a:lnTo>
                  <a:cubicBezTo>
                    <a:pt x="3340" y="599"/>
                    <a:pt x="2647" y="1"/>
                    <a:pt x="1765"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10835" name="Google Shape;10835;p113"/>
          <p:cNvGrpSpPr/>
          <p:nvPr/>
        </p:nvGrpSpPr>
        <p:grpSpPr>
          <a:xfrm>
            <a:off x="1721295" y="4499757"/>
            <a:ext cx="478872" cy="478832"/>
            <a:chOff x="-47159525" y="2342000"/>
            <a:chExt cx="300900" cy="300875"/>
          </a:xfrm>
        </p:grpSpPr>
        <p:sp>
          <p:nvSpPr>
            <p:cNvPr id="10836" name="Google Shape;10836;p113"/>
            <p:cNvSpPr/>
            <p:nvPr/>
          </p:nvSpPr>
          <p:spPr>
            <a:xfrm>
              <a:off x="-47122500" y="2376650"/>
              <a:ext cx="123675" cy="125250"/>
            </a:xfrm>
            <a:custGeom>
              <a:avLst/>
              <a:gdLst/>
              <a:ahLst/>
              <a:cxnLst/>
              <a:rect l="l" t="t" r="r" b="b"/>
              <a:pathLst>
                <a:path w="4947" h="5010" extrusionOk="0">
                  <a:moveTo>
                    <a:pt x="1765" y="756"/>
                  </a:moveTo>
                  <a:cubicBezTo>
                    <a:pt x="2237" y="756"/>
                    <a:pt x="2615" y="1008"/>
                    <a:pt x="2741" y="1450"/>
                  </a:cubicBezTo>
                  <a:lnTo>
                    <a:pt x="1765" y="1450"/>
                  </a:lnTo>
                  <a:cubicBezTo>
                    <a:pt x="1575" y="1450"/>
                    <a:pt x="1418" y="1607"/>
                    <a:pt x="1418" y="1828"/>
                  </a:cubicBezTo>
                  <a:lnTo>
                    <a:pt x="1418" y="2804"/>
                  </a:lnTo>
                  <a:cubicBezTo>
                    <a:pt x="1008" y="2647"/>
                    <a:pt x="693" y="2237"/>
                    <a:pt x="693" y="1828"/>
                  </a:cubicBezTo>
                  <a:cubicBezTo>
                    <a:pt x="693" y="1229"/>
                    <a:pt x="1166" y="756"/>
                    <a:pt x="1765" y="756"/>
                  </a:cubicBezTo>
                  <a:close/>
                  <a:moveTo>
                    <a:pt x="2741" y="2174"/>
                  </a:moveTo>
                  <a:cubicBezTo>
                    <a:pt x="2615" y="2458"/>
                    <a:pt x="2395" y="2678"/>
                    <a:pt x="2111" y="2804"/>
                  </a:cubicBezTo>
                  <a:lnTo>
                    <a:pt x="2111" y="2174"/>
                  </a:lnTo>
                  <a:close/>
                  <a:moveTo>
                    <a:pt x="4253" y="2143"/>
                  </a:moveTo>
                  <a:lnTo>
                    <a:pt x="4253" y="4285"/>
                  </a:lnTo>
                  <a:lnTo>
                    <a:pt x="2111" y="4285"/>
                  </a:lnTo>
                  <a:lnTo>
                    <a:pt x="2111" y="3497"/>
                  </a:lnTo>
                  <a:cubicBezTo>
                    <a:pt x="2804" y="3340"/>
                    <a:pt x="3340" y="2836"/>
                    <a:pt x="3497" y="2143"/>
                  </a:cubicBezTo>
                  <a:close/>
                  <a:moveTo>
                    <a:pt x="1765" y="0"/>
                  </a:moveTo>
                  <a:cubicBezTo>
                    <a:pt x="788" y="0"/>
                    <a:pt x="0" y="788"/>
                    <a:pt x="0" y="1765"/>
                  </a:cubicBezTo>
                  <a:cubicBezTo>
                    <a:pt x="0" y="2647"/>
                    <a:pt x="567" y="3340"/>
                    <a:pt x="1418" y="3497"/>
                  </a:cubicBezTo>
                  <a:lnTo>
                    <a:pt x="1418" y="4663"/>
                  </a:lnTo>
                  <a:cubicBezTo>
                    <a:pt x="1418" y="4852"/>
                    <a:pt x="1575" y="5010"/>
                    <a:pt x="1765" y="5010"/>
                  </a:cubicBezTo>
                  <a:lnTo>
                    <a:pt x="4600" y="5010"/>
                  </a:lnTo>
                  <a:cubicBezTo>
                    <a:pt x="4789" y="5010"/>
                    <a:pt x="4947" y="4852"/>
                    <a:pt x="4947" y="4663"/>
                  </a:cubicBezTo>
                  <a:lnTo>
                    <a:pt x="4947" y="1765"/>
                  </a:lnTo>
                  <a:cubicBezTo>
                    <a:pt x="4947" y="1576"/>
                    <a:pt x="4789" y="1418"/>
                    <a:pt x="4600" y="1418"/>
                  </a:cubicBezTo>
                  <a:lnTo>
                    <a:pt x="3497" y="1418"/>
                  </a:lnTo>
                  <a:cubicBezTo>
                    <a:pt x="3340" y="630"/>
                    <a:pt x="2615" y="0"/>
                    <a:pt x="1765"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837" name="Google Shape;10837;p113"/>
            <p:cNvSpPr/>
            <p:nvPr/>
          </p:nvSpPr>
          <p:spPr>
            <a:xfrm>
              <a:off x="-47159525" y="2342000"/>
              <a:ext cx="300900" cy="300875"/>
            </a:xfrm>
            <a:custGeom>
              <a:avLst/>
              <a:gdLst/>
              <a:ahLst/>
              <a:cxnLst/>
              <a:rect l="l" t="t" r="r" b="b"/>
              <a:pathLst>
                <a:path w="12036" h="12035" extrusionOk="0">
                  <a:moveTo>
                    <a:pt x="7089" y="1229"/>
                  </a:moveTo>
                  <a:lnTo>
                    <a:pt x="8003" y="2142"/>
                  </a:lnTo>
                  <a:lnTo>
                    <a:pt x="7089" y="2142"/>
                  </a:lnTo>
                  <a:lnTo>
                    <a:pt x="7089" y="1229"/>
                  </a:lnTo>
                  <a:close/>
                  <a:moveTo>
                    <a:pt x="8538" y="6396"/>
                  </a:moveTo>
                  <a:lnTo>
                    <a:pt x="8538" y="6711"/>
                  </a:lnTo>
                  <a:cubicBezTo>
                    <a:pt x="8538" y="6900"/>
                    <a:pt x="8664" y="7057"/>
                    <a:pt x="8885" y="7057"/>
                  </a:cubicBezTo>
                  <a:cubicBezTo>
                    <a:pt x="9074" y="7057"/>
                    <a:pt x="9231" y="6900"/>
                    <a:pt x="9231" y="6711"/>
                  </a:cubicBezTo>
                  <a:lnTo>
                    <a:pt x="9231" y="6427"/>
                  </a:lnTo>
                  <a:cubicBezTo>
                    <a:pt x="10303" y="6585"/>
                    <a:pt x="11153" y="7467"/>
                    <a:pt x="11311" y="8506"/>
                  </a:cubicBezTo>
                  <a:lnTo>
                    <a:pt x="10996" y="8506"/>
                  </a:lnTo>
                  <a:cubicBezTo>
                    <a:pt x="10807" y="8506"/>
                    <a:pt x="10649" y="8664"/>
                    <a:pt x="10649" y="8884"/>
                  </a:cubicBezTo>
                  <a:cubicBezTo>
                    <a:pt x="10649" y="9073"/>
                    <a:pt x="10807" y="9231"/>
                    <a:pt x="10996" y="9231"/>
                  </a:cubicBezTo>
                  <a:lnTo>
                    <a:pt x="11311" y="9231"/>
                  </a:lnTo>
                  <a:cubicBezTo>
                    <a:pt x="11153" y="10302"/>
                    <a:pt x="10303" y="11121"/>
                    <a:pt x="9231" y="11279"/>
                  </a:cubicBezTo>
                  <a:lnTo>
                    <a:pt x="9231" y="10964"/>
                  </a:lnTo>
                  <a:cubicBezTo>
                    <a:pt x="9231" y="10775"/>
                    <a:pt x="9074" y="10617"/>
                    <a:pt x="8885" y="10617"/>
                  </a:cubicBezTo>
                  <a:cubicBezTo>
                    <a:pt x="8664" y="10617"/>
                    <a:pt x="8538" y="10775"/>
                    <a:pt x="8538" y="10964"/>
                  </a:cubicBezTo>
                  <a:lnTo>
                    <a:pt x="8538" y="11279"/>
                  </a:lnTo>
                  <a:cubicBezTo>
                    <a:pt x="7467" y="11121"/>
                    <a:pt x="6585" y="10239"/>
                    <a:pt x="6428" y="9200"/>
                  </a:cubicBezTo>
                  <a:lnTo>
                    <a:pt x="6743" y="9200"/>
                  </a:lnTo>
                  <a:cubicBezTo>
                    <a:pt x="6963" y="9200"/>
                    <a:pt x="7089" y="9042"/>
                    <a:pt x="7089" y="8821"/>
                  </a:cubicBezTo>
                  <a:cubicBezTo>
                    <a:pt x="7089" y="8632"/>
                    <a:pt x="6963" y="8475"/>
                    <a:pt x="6743" y="8475"/>
                  </a:cubicBezTo>
                  <a:lnTo>
                    <a:pt x="6428" y="8475"/>
                  </a:lnTo>
                  <a:cubicBezTo>
                    <a:pt x="6585" y="7404"/>
                    <a:pt x="7467" y="6553"/>
                    <a:pt x="8538" y="6396"/>
                  </a:cubicBezTo>
                  <a:close/>
                  <a:moveTo>
                    <a:pt x="6428" y="725"/>
                  </a:moveTo>
                  <a:lnTo>
                    <a:pt x="6428" y="2489"/>
                  </a:lnTo>
                  <a:cubicBezTo>
                    <a:pt x="6428" y="2678"/>
                    <a:pt x="6585" y="2836"/>
                    <a:pt x="6774" y="2836"/>
                  </a:cubicBezTo>
                  <a:lnTo>
                    <a:pt x="8570" y="2836"/>
                  </a:lnTo>
                  <a:lnTo>
                    <a:pt x="8570" y="5734"/>
                  </a:lnTo>
                  <a:cubicBezTo>
                    <a:pt x="6995" y="5892"/>
                    <a:pt x="5766" y="7246"/>
                    <a:pt x="5766" y="8884"/>
                  </a:cubicBezTo>
                  <a:cubicBezTo>
                    <a:pt x="5766" y="9861"/>
                    <a:pt x="6238" y="10775"/>
                    <a:pt x="6932" y="11310"/>
                  </a:cubicBezTo>
                  <a:lnTo>
                    <a:pt x="757" y="11310"/>
                  </a:lnTo>
                  <a:lnTo>
                    <a:pt x="757" y="725"/>
                  </a:lnTo>
                  <a:close/>
                  <a:moveTo>
                    <a:pt x="379" y="0"/>
                  </a:moveTo>
                  <a:cubicBezTo>
                    <a:pt x="158" y="0"/>
                    <a:pt x="0" y="158"/>
                    <a:pt x="0" y="378"/>
                  </a:cubicBezTo>
                  <a:lnTo>
                    <a:pt x="0" y="11657"/>
                  </a:lnTo>
                  <a:cubicBezTo>
                    <a:pt x="0" y="11877"/>
                    <a:pt x="158" y="12035"/>
                    <a:pt x="379" y="12035"/>
                  </a:cubicBezTo>
                  <a:lnTo>
                    <a:pt x="8822" y="12035"/>
                  </a:lnTo>
                  <a:cubicBezTo>
                    <a:pt x="10555" y="12035"/>
                    <a:pt x="11972" y="10617"/>
                    <a:pt x="11972" y="8884"/>
                  </a:cubicBezTo>
                  <a:cubicBezTo>
                    <a:pt x="12035" y="7215"/>
                    <a:pt x="10807" y="5892"/>
                    <a:pt x="9231" y="5734"/>
                  </a:cubicBezTo>
                  <a:lnTo>
                    <a:pt x="9231" y="2489"/>
                  </a:lnTo>
                  <a:cubicBezTo>
                    <a:pt x="9231" y="2426"/>
                    <a:pt x="9200" y="2300"/>
                    <a:pt x="9105" y="2268"/>
                  </a:cubicBezTo>
                  <a:lnTo>
                    <a:pt x="6995" y="126"/>
                  </a:lnTo>
                  <a:cubicBezTo>
                    <a:pt x="6900" y="63"/>
                    <a:pt x="6837" y="0"/>
                    <a:pt x="6743"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838" name="Google Shape;10838;p113"/>
            <p:cNvSpPr/>
            <p:nvPr/>
          </p:nvSpPr>
          <p:spPr>
            <a:xfrm>
              <a:off x="-46946075" y="2537325"/>
              <a:ext cx="35450" cy="35475"/>
            </a:xfrm>
            <a:custGeom>
              <a:avLst/>
              <a:gdLst/>
              <a:ahLst/>
              <a:cxnLst/>
              <a:rect l="l" t="t" r="r" b="b"/>
              <a:pathLst>
                <a:path w="1418" h="1419" extrusionOk="0">
                  <a:moveTo>
                    <a:pt x="347" y="0"/>
                  </a:moveTo>
                  <a:cubicBezTo>
                    <a:pt x="158" y="0"/>
                    <a:pt x="0" y="158"/>
                    <a:pt x="0" y="347"/>
                  </a:cubicBezTo>
                  <a:lnTo>
                    <a:pt x="0" y="1071"/>
                  </a:lnTo>
                  <a:cubicBezTo>
                    <a:pt x="0" y="1260"/>
                    <a:pt x="158" y="1418"/>
                    <a:pt x="347" y="1418"/>
                  </a:cubicBezTo>
                  <a:lnTo>
                    <a:pt x="1040" y="1418"/>
                  </a:lnTo>
                  <a:cubicBezTo>
                    <a:pt x="1261" y="1418"/>
                    <a:pt x="1418" y="1260"/>
                    <a:pt x="1418" y="1071"/>
                  </a:cubicBezTo>
                  <a:cubicBezTo>
                    <a:pt x="1387" y="851"/>
                    <a:pt x="1261" y="693"/>
                    <a:pt x="1040" y="693"/>
                  </a:cubicBezTo>
                  <a:lnTo>
                    <a:pt x="693" y="693"/>
                  </a:lnTo>
                  <a:lnTo>
                    <a:pt x="693" y="347"/>
                  </a:lnTo>
                  <a:cubicBezTo>
                    <a:pt x="693" y="158"/>
                    <a:pt x="536" y="0"/>
                    <a:pt x="347"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839" name="Google Shape;10839;p113"/>
            <p:cNvSpPr/>
            <p:nvPr/>
          </p:nvSpPr>
          <p:spPr>
            <a:xfrm>
              <a:off x="-47122500" y="2537325"/>
              <a:ext cx="87450" cy="17350"/>
            </a:xfrm>
            <a:custGeom>
              <a:avLst/>
              <a:gdLst/>
              <a:ahLst/>
              <a:cxnLst/>
              <a:rect l="l" t="t" r="r" b="b"/>
              <a:pathLst>
                <a:path w="3498" h="694" extrusionOk="0">
                  <a:moveTo>
                    <a:pt x="347" y="0"/>
                  </a:moveTo>
                  <a:cubicBezTo>
                    <a:pt x="158" y="0"/>
                    <a:pt x="0" y="158"/>
                    <a:pt x="0" y="347"/>
                  </a:cubicBezTo>
                  <a:cubicBezTo>
                    <a:pt x="0" y="536"/>
                    <a:pt x="158" y="693"/>
                    <a:pt x="347" y="693"/>
                  </a:cubicBezTo>
                  <a:lnTo>
                    <a:pt x="3151" y="693"/>
                  </a:lnTo>
                  <a:cubicBezTo>
                    <a:pt x="3340" y="693"/>
                    <a:pt x="3497" y="536"/>
                    <a:pt x="3497" y="347"/>
                  </a:cubicBezTo>
                  <a:cubicBezTo>
                    <a:pt x="3497" y="158"/>
                    <a:pt x="3340" y="0"/>
                    <a:pt x="3151"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840" name="Google Shape;10840;p113"/>
            <p:cNvSpPr/>
            <p:nvPr/>
          </p:nvSpPr>
          <p:spPr>
            <a:xfrm>
              <a:off x="-47122500" y="2572775"/>
              <a:ext cx="87450" cy="17350"/>
            </a:xfrm>
            <a:custGeom>
              <a:avLst/>
              <a:gdLst/>
              <a:ahLst/>
              <a:cxnLst/>
              <a:rect l="l" t="t" r="r" b="b"/>
              <a:pathLst>
                <a:path w="3498" h="694" extrusionOk="0">
                  <a:moveTo>
                    <a:pt x="347" y="0"/>
                  </a:moveTo>
                  <a:cubicBezTo>
                    <a:pt x="158" y="0"/>
                    <a:pt x="0" y="158"/>
                    <a:pt x="0" y="347"/>
                  </a:cubicBezTo>
                  <a:cubicBezTo>
                    <a:pt x="0" y="536"/>
                    <a:pt x="158" y="693"/>
                    <a:pt x="347" y="693"/>
                  </a:cubicBezTo>
                  <a:lnTo>
                    <a:pt x="3151" y="693"/>
                  </a:lnTo>
                  <a:cubicBezTo>
                    <a:pt x="3340" y="693"/>
                    <a:pt x="3497" y="536"/>
                    <a:pt x="3497" y="347"/>
                  </a:cubicBezTo>
                  <a:cubicBezTo>
                    <a:pt x="3497" y="158"/>
                    <a:pt x="3340" y="0"/>
                    <a:pt x="3151"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10841" name="Google Shape;10841;p113"/>
          <p:cNvGrpSpPr/>
          <p:nvPr/>
        </p:nvGrpSpPr>
        <p:grpSpPr>
          <a:xfrm>
            <a:off x="1721931" y="5108872"/>
            <a:ext cx="477599" cy="478872"/>
            <a:chOff x="-47157950" y="2712175"/>
            <a:chExt cx="300100" cy="300900"/>
          </a:xfrm>
        </p:grpSpPr>
        <p:sp>
          <p:nvSpPr>
            <p:cNvPr id="10842" name="Google Shape;10842;p113"/>
            <p:cNvSpPr/>
            <p:nvPr/>
          </p:nvSpPr>
          <p:spPr>
            <a:xfrm>
              <a:off x="-47157950" y="2712175"/>
              <a:ext cx="300100" cy="300900"/>
            </a:xfrm>
            <a:custGeom>
              <a:avLst/>
              <a:gdLst/>
              <a:ahLst/>
              <a:cxnLst/>
              <a:rect l="l" t="t" r="r" b="b"/>
              <a:pathLst>
                <a:path w="12004" h="12036" extrusionOk="0">
                  <a:moveTo>
                    <a:pt x="7026" y="1166"/>
                  </a:moveTo>
                  <a:lnTo>
                    <a:pt x="7940" y="2048"/>
                  </a:lnTo>
                  <a:lnTo>
                    <a:pt x="7026" y="2048"/>
                  </a:lnTo>
                  <a:lnTo>
                    <a:pt x="7026" y="1166"/>
                  </a:lnTo>
                  <a:close/>
                  <a:moveTo>
                    <a:pt x="6333" y="693"/>
                  </a:moveTo>
                  <a:lnTo>
                    <a:pt x="6333" y="2458"/>
                  </a:lnTo>
                  <a:cubicBezTo>
                    <a:pt x="6333" y="2647"/>
                    <a:pt x="6491" y="2804"/>
                    <a:pt x="6680" y="2804"/>
                  </a:cubicBezTo>
                  <a:lnTo>
                    <a:pt x="8444" y="2804"/>
                  </a:lnTo>
                  <a:lnTo>
                    <a:pt x="8444" y="4222"/>
                  </a:lnTo>
                  <a:lnTo>
                    <a:pt x="3529" y="4222"/>
                  </a:lnTo>
                  <a:lnTo>
                    <a:pt x="3529" y="693"/>
                  </a:lnTo>
                  <a:close/>
                  <a:moveTo>
                    <a:pt x="10933" y="4222"/>
                  </a:moveTo>
                  <a:cubicBezTo>
                    <a:pt x="11122" y="4222"/>
                    <a:pt x="11279" y="4380"/>
                    <a:pt x="11279" y="4569"/>
                  </a:cubicBezTo>
                  <a:lnTo>
                    <a:pt x="11279" y="8097"/>
                  </a:lnTo>
                  <a:lnTo>
                    <a:pt x="11248" y="8097"/>
                  </a:lnTo>
                  <a:cubicBezTo>
                    <a:pt x="11248" y="8286"/>
                    <a:pt x="11090" y="8444"/>
                    <a:pt x="10901" y="8444"/>
                  </a:cubicBezTo>
                  <a:lnTo>
                    <a:pt x="9137" y="8444"/>
                  </a:lnTo>
                  <a:lnTo>
                    <a:pt x="9137" y="7719"/>
                  </a:lnTo>
                  <a:lnTo>
                    <a:pt x="9483" y="7719"/>
                  </a:lnTo>
                  <a:cubicBezTo>
                    <a:pt x="9673" y="7719"/>
                    <a:pt x="9830" y="7562"/>
                    <a:pt x="9830" y="7372"/>
                  </a:cubicBezTo>
                  <a:cubicBezTo>
                    <a:pt x="9830" y="7183"/>
                    <a:pt x="9673" y="7026"/>
                    <a:pt x="9483" y="7026"/>
                  </a:cubicBezTo>
                  <a:lnTo>
                    <a:pt x="2458" y="7026"/>
                  </a:lnTo>
                  <a:cubicBezTo>
                    <a:pt x="2269" y="7026"/>
                    <a:pt x="2111" y="7183"/>
                    <a:pt x="2111" y="7372"/>
                  </a:cubicBezTo>
                  <a:cubicBezTo>
                    <a:pt x="2111" y="7562"/>
                    <a:pt x="2269" y="7719"/>
                    <a:pt x="2458" y="7719"/>
                  </a:cubicBezTo>
                  <a:lnTo>
                    <a:pt x="2836" y="7719"/>
                  </a:lnTo>
                  <a:lnTo>
                    <a:pt x="2836" y="8444"/>
                  </a:lnTo>
                  <a:lnTo>
                    <a:pt x="1040" y="8444"/>
                  </a:lnTo>
                  <a:cubicBezTo>
                    <a:pt x="851" y="8444"/>
                    <a:pt x="694" y="8286"/>
                    <a:pt x="694" y="8097"/>
                  </a:cubicBezTo>
                  <a:lnTo>
                    <a:pt x="694" y="4569"/>
                  </a:lnTo>
                  <a:cubicBezTo>
                    <a:pt x="694" y="4380"/>
                    <a:pt x="851" y="4222"/>
                    <a:pt x="1040" y="4222"/>
                  </a:cubicBezTo>
                  <a:lnTo>
                    <a:pt x="2836" y="4222"/>
                  </a:lnTo>
                  <a:lnTo>
                    <a:pt x="2836" y="4569"/>
                  </a:lnTo>
                  <a:cubicBezTo>
                    <a:pt x="2836" y="4789"/>
                    <a:pt x="2993" y="4947"/>
                    <a:pt x="3183" y="4947"/>
                  </a:cubicBezTo>
                  <a:lnTo>
                    <a:pt x="8822" y="4947"/>
                  </a:lnTo>
                  <a:cubicBezTo>
                    <a:pt x="9011" y="4947"/>
                    <a:pt x="9168" y="4789"/>
                    <a:pt x="9168" y="4569"/>
                  </a:cubicBezTo>
                  <a:lnTo>
                    <a:pt x="9168" y="4222"/>
                  </a:lnTo>
                  <a:close/>
                  <a:moveTo>
                    <a:pt x="8412" y="7719"/>
                  </a:moveTo>
                  <a:lnTo>
                    <a:pt x="8412" y="11279"/>
                  </a:lnTo>
                  <a:lnTo>
                    <a:pt x="3498" y="11279"/>
                  </a:lnTo>
                  <a:lnTo>
                    <a:pt x="3498" y="7719"/>
                  </a:lnTo>
                  <a:close/>
                  <a:moveTo>
                    <a:pt x="3183" y="0"/>
                  </a:moveTo>
                  <a:cubicBezTo>
                    <a:pt x="2993" y="0"/>
                    <a:pt x="2836" y="158"/>
                    <a:pt x="2836" y="378"/>
                  </a:cubicBezTo>
                  <a:lnTo>
                    <a:pt x="2836" y="3560"/>
                  </a:lnTo>
                  <a:lnTo>
                    <a:pt x="1072" y="3560"/>
                  </a:lnTo>
                  <a:cubicBezTo>
                    <a:pt x="473" y="3560"/>
                    <a:pt x="1" y="4033"/>
                    <a:pt x="1" y="4600"/>
                  </a:cubicBezTo>
                  <a:lnTo>
                    <a:pt x="1" y="8129"/>
                  </a:lnTo>
                  <a:cubicBezTo>
                    <a:pt x="1" y="8696"/>
                    <a:pt x="473" y="9168"/>
                    <a:pt x="1072" y="9168"/>
                  </a:cubicBezTo>
                  <a:lnTo>
                    <a:pt x="2836" y="9168"/>
                  </a:lnTo>
                  <a:lnTo>
                    <a:pt x="2836" y="11657"/>
                  </a:lnTo>
                  <a:cubicBezTo>
                    <a:pt x="2836" y="11846"/>
                    <a:pt x="2993" y="12035"/>
                    <a:pt x="3183" y="12035"/>
                  </a:cubicBezTo>
                  <a:lnTo>
                    <a:pt x="8822" y="12035"/>
                  </a:lnTo>
                  <a:cubicBezTo>
                    <a:pt x="9011" y="12035"/>
                    <a:pt x="9168" y="11846"/>
                    <a:pt x="9168" y="11657"/>
                  </a:cubicBezTo>
                  <a:lnTo>
                    <a:pt x="9168" y="9168"/>
                  </a:lnTo>
                  <a:lnTo>
                    <a:pt x="10933" y="9168"/>
                  </a:lnTo>
                  <a:cubicBezTo>
                    <a:pt x="11531" y="9168"/>
                    <a:pt x="12004" y="8696"/>
                    <a:pt x="12004" y="8129"/>
                  </a:cubicBezTo>
                  <a:lnTo>
                    <a:pt x="12004" y="4600"/>
                  </a:lnTo>
                  <a:cubicBezTo>
                    <a:pt x="11972" y="4001"/>
                    <a:pt x="11500" y="3529"/>
                    <a:pt x="10901" y="3529"/>
                  </a:cubicBezTo>
                  <a:lnTo>
                    <a:pt x="9137" y="3529"/>
                  </a:lnTo>
                  <a:lnTo>
                    <a:pt x="9137" y="2458"/>
                  </a:lnTo>
                  <a:cubicBezTo>
                    <a:pt x="9137" y="2363"/>
                    <a:pt x="9074" y="2269"/>
                    <a:pt x="9011" y="2206"/>
                  </a:cubicBezTo>
                  <a:lnTo>
                    <a:pt x="6932" y="126"/>
                  </a:lnTo>
                  <a:cubicBezTo>
                    <a:pt x="6837" y="63"/>
                    <a:pt x="6774" y="0"/>
                    <a:pt x="6680"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843" name="Google Shape;10843;p113"/>
            <p:cNvSpPr/>
            <p:nvPr/>
          </p:nvSpPr>
          <p:spPr>
            <a:xfrm>
              <a:off x="-47087075" y="2852375"/>
              <a:ext cx="17350" cy="17350"/>
            </a:xfrm>
            <a:custGeom>
              <a:avLst/>
              <a:gdLst/>
              <a:ahLst/>
              <a:cxnLst/>
              <a:rect l="l" t="t" r="r" b="b"/>
              <a:pathLst>
                <a:path w="694" h="694" extrusionOk="0">
                  <a:moveTo>
                    <a:pt x="348" y="0"/>
                  </a:moveTo>
                  <a:cubicBezTo>
                    <a:pt x="158" y="0"/>
                    <a:pt x="1" y="158"/>
                    <a:pt x="1" y="347"/>
                  </a:cubicBezTo>
                  <a:cubicBezTo>
                    <a:pt x="1" y="536"/>
                    <a:pt x="158" y="693"/>
                    <a:pt x="348" y="693"/>
                  </a:cubicBezTo>
                  <a:cubicBezTo>
                    <a:pt x="537" y="693"/>
                    <a:pt x="694" y="536"/>
                    <a:pt x="694" y="347"/>
                  </a:cubicBezTo>
                  <a:cubicBezTo>
                    <a:pt x="694" y="158"/>
                    <a:pt x="537" y="0"/>
                    <a:pt x="348"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844" name="Google Shape;10844;p113"/>
            <p:cNvSpPr/>
            <p:nvPr/>
          </p:nvSpPr>
          <p:spPr>
            <a:xfrm>
              <a:off x="-47052400" y="2852375"/>
              <a:ext cx="17350" cy="17350"/>
            </a:xfrm>
            <a:custGeom>
              <a:avLst/>
              <a:gdLst/>
              <a:ahLst/>
              <a:cxnLst/>
              <a:rect l="l" t="t" r="r" b="b"/>
              <a:pathLst>
                <a:path w="694" h="694" extrusionOk="0">
                  <a:moveTo>
                    <a:pt x="347" y="0"/>
                  </a:moveTo>
                  <a:cubicBezTo>
                    <a:pt x="126" y="0"/>
                    <a:pt x="0" y="158"/>
                    <a:pt x="0" y="347"/>
                  </a:cubicBezTo>
                  <a:cubicBezTo>
                    <a:pt x="0" y="536"/>
                    <a:pt x="126" y="693"/>
                    <a:pt x="347" y="693"/>
                  </a:cubicBezTo>
                  <a:cubicBezTo>
                    <a:pt x="536" y="693"/>
                    <a:pt x="693" y="536"/>
                    <a:pt x="693" y="347"/>
                  </a:cubicBezTo>
                  <a:cubicBezTo>
                    <a:pt x="693" y="158"/>
                    <a:pt x="536" y="0"/>
                    <a:pt x="347"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845" name="Google Shape;10845;p113"/>
            <p:cNvSpPr/>
            <p:nvPr/>
          </p:nvSpPr>
          <p:spPr>
            <a:xfrm>
              <a:off x="-47051625" y="2957900"/>
              <a:ext cx="87450" cy="17350"/>
            </a:xfrm>
            <a:custGeom>
              <a:avLst/>
              <a:gdLst/>
              <a:ahLst/>
              <a:cxnLst/>
              <a:rect l="l" t="t" r="r" b="b"/>
              <a:pathLst>
                <a:path w="3498" h="694" extrusionOk="0">
                  <a:moveTo>
                    <a:pt x="347" y="1"/>
                  </a:moveTo>
                  <a:cubicBezTo>
                    <a:pt x="158" y="1"/>
                    <a:pt x="1" y="158"/>
                    <a:pt x="1" y="347"/>
                  </a:cubicBezTo>
                  <a:cubicBezTo>
                    <a:pt x="1" y="536"/>
                    <a:pt x="158" y="694"/>
                    <a:pt x="347" y="694"/>
                  </a:cubicBezTo>
                  <a:lnTo>
                    <a:pt x="3151" y="694"/>
                  </a:lnTo>
                  <a:cubicBezTo>
                    <a:pt x="3340" y="694"/>
                    <a:pt x="3498" y="536"/>
                    <a:pt x="3498" y="347"/>
                  </a:cubicBezTo>
                  <a:cubicBezTo>
                    <a:pt x="3498" y="158"/>
                    <a:pt x="3340" y="1"/>
                    <a:pt x="3151"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846" name="Google Shape;10846;p113"/>
            <p:cNvSpPr/>
            <p:nvPr/>
          </p:nvSpPr>
          <p:spPr>
            <a:xfrm>
              <a:off x="-47051625" y="2923250"/>
              <a:ext cx="87450" cy="17350"/>
            </a:xfrm>
            <a:custGeom>
              <a:avLst/>
              <a:gdLst/>
              <a:ahLst/>
              <a:cxnLst/>
              <a:rect l="l" t="t" r="r" b="b"/>
              <a:pathLst>
                <a:path w="3498" h="694" extrusionOk="0">
                  <a:moveTo>
                    <a:pt x="347" y="1"/>
                  </a:moveTo>
                  <a:cubicBezTo>
                    <a:pt x="158" y="1"/>
                    <a:pt x="1" y="158"/>
                    <a:pt x="1" y="347"/>
                  </a:cubicBezTo>
                  <a:cubicBezTo>
                    <a:pt x="1" y="536"/>
                    <a:pt x="158" y="694"/>
                    <a:pt x="347" y="694"/>
                  </a:cubicBezTo>
                  <a:lnTo>
                    <a:pt x="3151" y="694"/>
                  </a:lnTo>
                  <a:cubicBezTo>
                    <a:pt x="3340" y="694"/>
                    <a:pt x="3498" y="536"/>
                    <a:pt x="3498" y="347"/>
                  </a:cubicBezTo>
                  <a:cubicBezTo>
                    <a:pt x="3498" y="158"/>
                    <a:pt x="3340" y="1"/>
                    <a:pt x="3151"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847" name="Google Shape;10847;p113"/>
            <p:cNvSpPr/>
            <p:nvPr/>
          </p:nvSpPr>
          <p:spPr>
            <a:xfrm>
              <a:off x="-47017750" y="2852375"/>
              <a:ext cx="35450" cy="17350"/>
            </a:xfrm>
            <a:custGeom>
              <a:avLst/>
              <a:gdLst/>
              <a:ahLst/>
              <a:cxnLst/>
              <a:rect l="l" t="t" r="r" b="b"/>
              <a:pathLst>
                <a:path w="1418" h="694" extrusionOk="0">
                  <a:moveTo>
                    <a:pt x="378" y="0"/>
                  </a:moveTo>
                  <a:cubicBezTo>
                    <a:pt x="158" y="0"/>
                    <a:pt x="0" y="158"/>
                    <a:pt x="0" y="347"/>
                  </a:cubicBezTo>
                  <a:cubicBezTo>
                    <a:pt x="0" y="536"/>
                    <a:pt x="158" y="693"/>
                    <a:pt x="378" y="693"/>
                  </a:cubicBezTo>
                  <a:lnTo>
                    <a:pt x="1072" y="693"/>
                  </a:lnTo>
                  <a:cubicBezTo>
                    <a:pt x="1261" y="693"/>
                    <a:pt x="1418" y="536"/>
                    <a:pt x="1418" y="347"/>
                  </a:cubicBezTo>
                  <a:cubicBezTo>
                    <a:pt x="1418" y="158"/>
                    <a:pt x="1261" y="0"/>
                    <a:pt x="1072"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848" name="Google Shape;10848;p113"/>
            <p:cNvSpPr/>
            <p:nvPr/>
          </p:nvSpPr>
          <p:spPr>
            <a:xfrm>
              <a:off x="-46964975" y="2852375"/>
              <a:ext cx="35450" cy="17350"/>
            </a:xfrm>
            <a:custGeom>
              <a:avLst/>
              <a:gdLst/>
              <a:ahLst/>
              <a:cxnLst/>
              <a:rect l="l" t="t" r="r" b="b"/>
              <a:pathLst>
                <a:path w="1418" h="694" extrusionOk="0">
                  <a:moveTo>
                    <a:pt x="347" y="0"/>
                  </a:moveTo>
                  <a:cubicBezTo>
                    <a:pt x="158" y="0"/>
                    <a:pt x="0" y="158"/>
                    <a:pt x="0" y="347"/>
                  </a:cubicBezTo>
                  <a:cubicBezTo>
                    <a:pt x="0" y="536"/>
                    <a:pt x="158" y="693"/>
                    <a:pt x="347" y="693"/>
                  </a:cubicBezTo>
                  <a:lnTo>
                    <a:pt x="1040" y="693"/>
                  </a:lnTo>
                  <a:cubicBezTo>
                    <a:pt x="1260" y="693"/>
                    <a:pt x="1418" y="536"/>
                    <a:pt x="1418" y="347"/>
                  </a:cubicBezTo>
                  <a:cubicBezTo>
                    <a:pt x="1418" y="158"/>
                    <a:pt x="1260" y="0"/>
                    <a:pt x="1040"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sp>
        <p:nvSpPr>
          <p:cNvPr id="10849" name="Google Shape;10849;p113"/>
          <p:cNvSpPr/>
          <p:nvPr/>
        </p:nvSpPr>
        <p:spPr>
          <a:xfrm>
            <a:off x="4717615" y="3890400"/>
            <a:ext cx="419948" cy="476365"/>
          </a:xfrm>
          <a:custGeom>
            <a:avLst/>
            <a:gdLst/>
            <a:ahLst/>
            <a:cxnLst/>
            <a:rect l="l" t="t" r="r" b="b"/>
            <a:pathLst>
              <a:path w="10555" h="11973" extrusionOk="0">
                <a:moveTo>
                  <a:pt x="3151" y="2836"/>
                </a:moveTo>
                <a:cubicBezTo>
                  <a:pt x="3340" y="2836"/>
                  <a:pt x="3498" y="2994"/>
                  <a:pt x="3498" y="3183"/>
                </a:cubicBezTo>
                <a:lnTo>
                  <a:pt x="3498" y="3529"/>
                </a:lnTo>
                <a:lnTo>
                  <a:pt x="2805" y="3529"/>
                </a:lnTo>
                <a:lnTo>
                  <a:pt x="2805" y="3183"/>
                </a:lnTo>
                <a:cubicBezTo>
                  <a:pt x="2805" y="2994"/>
                  <a:pt x="2962" y="2836"/>
                  <a:pt x="3151" y="2836"/>
                </a:cubicBezTo>
                <a:close/>
                <a:moveTo>
                  <a:pt x="9862" y="4191"/>
                </a:moveTo>
                <a:lnTo>
                  <a:pt x="9862" y="5262"/>
                </a:lnTo>
                <a:cubicBezTo>
                  <a:pt x="9862" y="5451"/>
                  <a:pt x="9704" y="5609"/>
                  <a:pt x="9484" y="5609"/>
                </a:cubicBezTo>
                <a:cubicBezTo>
                  <a:pt x="9295" y="5609"/>
                  <a:pt x="9137" y="5451"/>
                  <a:pt x="9137" y="5262"/>
                </a:cubicBezTo>
                <a:lnTo>
                  <a:pt x="9137" y="4191"/>
                </a:lnTo>
                <a:close/>
                <a:moveTo>
                  <a:pt x="3151" y="5609"/>
                </a:moveTo>
                <a:cubicBezTo>
                  <a:pt x="3340" y="5609"/>
                  <a:pt x="3498" y="5766"/>
                  <a:pt x="3498" y="5987"/>
                </a:cubicBezTo>
                <a:cubicBezTo>
                  <a:pt x="3498" y="6176"/>
                  <a:pt x="3340" y="6333"/>
                  <a:pt x="3151" y="6333"/>
                </a:cubicBezTo>
                <a:cubicBezTo>
                  <a:pt x="2962" y="6333"/>
                  <a:pt x="2805" y="6176"/>
                  <a:pt x="2805" y="5987"/>
                </a:cubicBezTo>
                <a:cubicBezTo>
                  <a:pt x="2805" y="5766"/>
                  <a:pt x="2962" y="5609"/>
                  <a:pt x="3151" y="5609"/>
                </a:cubicBezTo>
                <a:close/>
                <a:moveTo>
                  <a:pt x="3592" y="4254"/>
                </a:moveTo>
                <a:cubicBezTo>
                  <a:pt x="4695" y="4443"/>
                  <a:pt x="5640" y="5451"/>
                  <a:pt x="5640" y="6680"/>
                </a:cubicBezTo>
                <a:lnTo>
                  <a:pt x="5640" y="8822"/>
                </a:lnTo>
                <a:cubicBezTo>
                  <a:pt x="5640" y="10145"/>
                  <a:pt x="4538" y="11248"/>
                  <a:pt x="3183" y="11248"/>
                </a:cubicBezTo>
                <a:cubicBezTo>
                  <a:pt x="1860" y="11248"/>
                  <a:pt x="757" y="10145"/>
                  <a:pt x="757" y="8822"/>
                </a:cubicBezTo>
                <a:lnTo>
                  <a:pt x="757" y="6680"/>
                </a:lnTo>
                <a:cubicBezTo>
                  <a:pt x="757" y="5451"/>
                  <a:pt x="1671" y="4443"/>
                  <a:pt x="2868" y="4254"/>
                </a:cubicBezTo>
                <a:lnTo>
                  <a:pt x="2868" y="4979"/>
                </a:lnTo>
                <a:cubicBezTo>
                  <a:pt x="2490" y="5136"/>
                  <a:pt x="2175" y="5546"/>
                  <a:pt x="2175" y="5987"/>
                </a:cubicBezTo>
                <a:cubicBezTo>
                  <a:pt x="2175" y="6396"/>
                  <a:pt x="2458" y="6837"/>
                  <a:pt x="2868" y="6963"/>
                </a:cubicBezTo>
                <a:lnTo>
                  <a:pt x="2868" y="7341"/>
                </a:lnTo>
                <a:cubicBezTo>
                  <a:pt x="2868" y="7562"/>
                  <a:pt x="3025" y="7719"/>
                  <a:pt x="3246" y="7719"/>
                </a:cubicBezTo>
                <a:cubicBezTo>
                  <a:pt x="3435" y="7719"/>
                  <a:pt x="3592" y="7562"/>
                  <a:pt x="3592" y="7341"/>
                </a:cubicBezTo>
                <a:lnTo>
                  <a:pt x="3592" y="6963"/>
                </a:lnTo>
                <a:cubicBezTo>
                  <a:pt x="3970" y="6806"/>
                  <a:pt x="4286" y="6396"/>
                  <a:pt x="4286" y="5987"/>
                </a:cubicBezTo>
                <a:cubicBezTo>
                  <a:pt x="4286" y="5546"/>
                  <a:pt x="4033" y="5105"/>
                  <a:pt x="3592" y="4979"/>
                </a:cubicBezTo>
                <a:lnTo>
                  <a:pt x="3592" y="4254"/>
                </a:lnTo>
                <a:close/>
                <a:moveTo>
                  <a:pt x="5294" y="1"/>
                </a:moveTo>
                <a:cubicBezTo>
                  <a:pt x="4033" y="1"/>
                  <a:pt x="2994" y="946"/>
                  <a:pt x="2836" y="2143"/>
                </a:cubicBezTo>
                <a:cubicBezTo>
                  <a:pt x="2427" y="2301"/>
                  <a:pt x="2143" y="2710"/>
                  <a:pt x="2143" y="3151"/>
                </a:cubicBezTo>
                <a:lnTo>
                  <a:pt x="2143" y="3687"/>
                </a:lnTo>
                <a:cubicBezTo>
                  <a:pt x="914" y="4128"/>
                  <a:pt x="1" y="5294"/>
                  <a:pt x="1" y="6680"/>
                </a:cubicBezTo>
                <a:lnTo>
                  <a:pt x="1" y="8822"/>
                </a:lnTo>
                <a:cubicBezTo>
                  <a:pt x="1" y="10555"/>
                  <a:pt x="1419" y="11973"/>
                  <a:pt x="3151" y="11973"/>
                </a:cubicBezTo>
                <a:cubicBezTo>
                  <a:pt x="4884" y="11973"/>
                  <a:pt x="6302" y="10555"/>
                  <a:pt x="6302" y="8822"/>
                </a:cubicBezTo>
                <a:lnTo>
                  <a:pt x="6302" y="6680"/>
                </a:lnTo>
                <a:cubicBezTo>
                  <a:pt x="6302" y="5294"/>
                  <a:pt x="5451" y="4128"/>
                  <a:pt x="4191" y="3687"/>
                </a:cubicBezTo>
                <a:lnTo>
                  <a:pt x="4191" y="3151"/>
                </a:lnTo>
                <a:cubicBezTo>
                  <a:pt x="4191" y="2710"/>
                  <a:pt x="3907" y="2301"/>
                  <a:pt x="3529" y="2143"/>
                </a:cubicBezTo>
                <a:cubicBezTo>
                  <a:pt x="3624" y="1293"/>
                  <a:pt x="4380" y="662"/>
                  <a:pt x="5262" y="662"/>
                </a:cubicBezTo>
                <a:cubicBezTo>
                  <a:pt x="6239" y="662"/>
                  <a:pt x="7026" y="1450"/>
                  <a:pt x="7026" y="2427"/>
                </a:cubicBezTo>
                <a:lnTo>
                  <a:pt x="7026" y="8413"/>
                </a:lnTo>
                <a:cubicBezTo>
                  <a:pt x="7026" y="9200"/>
                  <a:pt x="7657" y="9830"/>
                  <a:pt x="8444" y="9830"/>
                </a:cubicBezTo>
                <a:cubicBezTo>
                  <a:pt x="9232" y="9830"/>
                  <a:pt x="9862" y="9200"/>
                  <a:pt x="9862" y="8413"/>
                </a:cubicBezTo>
                <a:lnTo>
                  <a:pt x="9862" y="6239"/>
                </a:lnTo>
                <a:cubicBezTo>
                  <a:pt x="10240" y="6081"/>
                  <a:pt x="10555" y="5703"/>
                  <a:pt x="10555" y="5262"/>
                </a:cubicBezTo>
                <a:lnTo>
                  <a:pt x="10555" y="3844"/>
                </a:lnTo>
                <a:cubicBezTo>
                  <a:pt x="10555" y="3687"/>
                  <a:pt x="10397" y="3529"/>
                  <a:pt x="10208" y="3529"/>
                </a:cubicBezTo>
                <a:lnTo>
                  <a:pt x="9862" y="3529"/>
                </a:lnTo>
                <a:lnTo>
                  <a:pt x="9862" y="2458"/>
                </a:lnTo>
                <a:cubicBezTo>
                  <a:pt x="9862" y="2269"/>
                  <a:pt x="9704" y="2112"/>
                  <a:pt x="9515" y="2112"/>
                </a:cubicBezTo>
                <a:cubicBezTo>
                  <a:pt x="9295" y="2112"/>
                  <a:pt x="9137" y="2269"/>
                  <a:pt x="9137" y="2458"/>
                </a:cubicBezTo>
                <a:lnTo>
                  <a:pt x="9137" y="3529"/>
                </a:lnTo>
                <a:lnTo>
                  <a:pt x="8791" y="3529"/>
                </a:lnTo>
                <a:cubicBezTo>
                  <a:pt x="8602" y="3529"/>
                  <a:pt x="8444" y="3687"/>
                  <a:pt x="8444" y="3876"/>
                </a:cubicBezTo>
                <a:lnTo>
                  <a:pt x="8444" y="5294"/>
                </a:lnTo>
                <a:cubicBezTo>
                  <a:pt x="8444" y="5766"/>
                  <a:pt x="8728" y="6176"/>
                  <a:pt x="9137" y="6302"/>
                </a:cubicBezTo>
                <a:lnTo>
                  <a:pt x="9137" y="8444"/>
                </a:lnTo>
                <a:cubicBezTo>
                  <a:pt x="9137" y="8854"/>
                  <a:pt x="8822" y="9169"/>
                  <a:pt x="8444" y="9169"/>
                </a:cubicBezTo>
                <a:cubicBezTo>
                  <a:pt x="8035" y="9169"/>
                  <a:pt x="7720" y="8854"/>
                  <a:pt x="7720" y="8444"/>
                </a:cubicBezTo>
                <a:lnTo>
                  <a:pt x="7720" y="2458"/>
                </a:lnTo>
                <a:cubicBezTo>
                  <a:pt x="7720" y="1103"/>
                  <a:pt x="6617" y="1"/>
                  <a:pt x="5294"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nvGrpSpPr>
          <p:cNvPr id="10850" name="Google Shape;10850;p113"/>
          <p:cNvGrpSpPr/>
          <p:nvPr/>
        </p:nvGrpSpPr>
        <p:grpSpPr>
          <a:xfrm>
            <a:off x="4713567" y="4485951"/>
            <a:ext cx="421181" cy="477599"/>
            <a:chOff x="-45278675" y="2333325"/>
            <a:chExt cx="264650" cy="300100"/>
          </a:xfrm>
        </p:grpSpPr>
        <p:sp>
          <p:nvSpPr>
            <p:cNvPr id="10851" name="Google Shape;10851;p113"/>
            <p:cNvSpPr/>
            <p:nvPr/>
          </p:nvSpPr>
          <p:spPr>
            <a:xfrm>
              <a:off x="-45243225" y="2475100"/>
              <a:ext cx="52775" cy="87450"/>
            </a:xfrm>
            <a:custGeom>
              <a:avLst/>
              <a:gdLst/>
              <a:ahLst/>
              <a:cxnLst/>
              <a:rect l="l" t="t" r="r" b="b"/>
              <a:pathLst>
                <a:path w="2111" h="3498" extrusionOk="0">
                  <a:moveTo>
                    <a:pt x="1071" y="725"/>
                  </a:moveTo>
                  <a:cubicBezTo>
                    <a:pt x="1260" y="725"/>
                    <a:pt x="1418" y="883"/>
                    <a:pt x="1418" y="1072"/>
                  </a:cubicBezTo>
                  <a:cubicBezTo>
                    <a:pt x="1418" y="1261"/>
                    <a:pt x="1260" y="1418"/>
                    <a:pt x="1071" y="1418"/>
                  </a:cubicBezTo>
                  <a:lnTo>
                    <a:pt x="725" y="1418"/>
                  </a:lnTo>
                  <a:lnTo>
                    <a:pt x="725" y="725"/>
                  </a:lnTo>
                  <a:close/>
                  <a:moveTo>
                    <a:pt x="347" y="0"/>
                  </a:moveTo>
                  <a:cubicBezTo>
                    <a:pt x="158" y="0"/>
                    <a:pt x="0" y="158"/>
                    <a:pt x="0" y="347"/>
                  </a:cubicBezTo>
                  <a:lnTo>
                    <a:pt x="0" y="3151"/>
                  </a:lnTo>
                  <a:cubicBezTo>
                    <a:pt x="0" y="3340"/>
                    <a:pt x="158" y="3497"/>
                    <a:pt x="347" y="3497"/>
                  </a:cubicBezTo>
                  <a:cubicBezTo>
                    <a:pt x="536" y="3497"/>
                    <a:pt x="693" y="3340"/>
                    <a:pt x="693" y="3151"/>
                  </a:cubicBezTo>
                  <a:lnTo>
                    <a:pt x="693" y="2080"/>
                  </a:lnTo>
                  <a:lnTo>
                    <a:pt x="1071" y="2080"/>
                  </a:lnTo>
                  <a:cubicBezTo>
                    <a:pt x="1638" y="2080"/>
                    <a:pt x="2111" y="1607"/>
                    <a:pt x="2111" y="1040"/>
                  </a:cubicBezTo>
                  <a:cubicBezTo>
                    <a:pt x="2111" y="473"/>
                    <a:pt x="1670" y="0"/>
                    <a:pt x="1071"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852" name="Google Shape;10852;p113"/>
            <p:cNvSpPr/>
            <p:nvPr/>
          </p:nvSpPr>
          <p:spPr>
            <a:xfrm>
              <a:off x="-45172350" y="2475100"/>
              <a:ext cx="52800" cy="89025"/>
            </a:xfrm>
            <a:custGeom>
              <a:avLst/>
              <a:gdLst/>
              <a:ahLst/>
              <a:cxnLst/>
              <a:rect l="l" t="t" r="r" b="b"/>
              <a:pathLst>
                <a:path w="2112" h="3561" extrusionOk="0">
                  <a:moveTo>
                    <a:pt x="1072" y="0"/>
                  </a:moveTo>
                  <a:cubicBezTo>
                    <a:pt x="473" y="0"/>
                    <a:pt x="1" y="473"/>
                    <a:pt x="1" y="1072"/>
                  </a:cubicBezTo>
                  <a:cubicBezTo>
                    <a:pt x="1" y="1670"/>
                    <a:pt x="473" y="2143"/>
                    <a:pt x="1072" y="2143"/>
                  </a:cubicBezTo>
                  <a:cubicBezTo>
                    <a:pt x="1261" y="2143"/>
                    <a:pt x="1418" y="2300"/>
                    <a:pt x="1418" y="2489"/>
                  </a:cubicBezTo>
                  <a:cubicBezTo>
                    <a:pt x="1418" y="2678"/>
                    <a:pt x="1261" y="2836"/>
                    <a:pt x="1072" y="2836"/>
                  </a:cubicBezTo>
                  <a:cubicBezTo>
                    <a:pt x="851" y="2836"/>
                    <a:pt x="694" y="2678"/>
                    <a:pt x="694" y="2489"/>
                  </a:cubicBezTo>
                  <a:cubicBezTo>
                    <a:pt x="694" y="2300"/>
                    <a:pt x="536" y="2143"/>
                    <a:pt x="347" y="2143"/>
                  </a:cubicBezTo>
                  <a:cubicBezTo>
                    <a:pt x="158" y="2143"/>
                    <a:pt x="1" y="2300"/>
                    <a:pt x="1" y="2489"/>
                  </a:cubicBezTo>
                  <a:cubicBezTo>
                    <a:pt x="1" y="3088"/>
                    <a:pt x="473" y="3560"/>
                    <a:pt x="1072" y="3560"/>
                  </a:cubicBezTo>
                  <a:cubicBezTo>
                    <a:pt x="1639" y="3560"/>
                    <a:pt x="2111" y="3088"/>
                    <a:pt x="2111" y="2489"/>
                  </a:cubicBezTo>
                  <a:cubicBezTo>
                    <a:pt x="2111" y="1891"/>
                    <a:pt x="1639" y="1418"/>
                    <a:pt x="1072" y="1418"/>
                  </a:cubicBezTo>
                  <a:cubicBezTo>
                    <a:pt x="851" y="1418"/>
                    <a:pt x="725" y="1261"/>
                    <a:pt x="725" y="1072"/>
                  </a:cubicBezTo>
                  <a:cubicBezTo>
                    <a:pt x="725" y="883"/>
                    <a:pt x="851" y="725"/>
                    <a:pt x="1072" y="725"/>
                  </a:cubicBezTo>
                  <a:cubicBezTo>
                    <a:pt x="1261" y="725"/>
                    <a:pt x="1418" y="883"/>
                    <a:pt x="1418" y="1072"/>
                  </a:cubicBezTo>
                  <a:cubicBezTo>
                    <a:pt x="1418" y="1261"/>
                    <a:pt x="1576" y="1418"/>
                    <a:pt x="1765" y="1418"/>
                  </a:cubicBezTo>
                  <a:cubicBezTo>
                    <a:pt x="1954" y="1418"/>
                    <a:pt x="2111" y="1261"/>
                    <a:pt x="2111" y="1072"/>
                  </a:cubicBezTo>
                  <a:cubicBezTo>
                    <a:pt x="2111" y="473"/>
                    <a:pt x="1639" y="0"/>
                    <a:pt x="1072"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853" name="Google Shape;10853;p113"/>
            <p:cNvSpPr/>
            <p:nvPr/>
          </p:nvSpPr>
          <p:spPr>
            <a:xfrm>
              <a:off x="-45102250" y="2475100"/>
              <a:ext cx="52800" cy="87450"/>
            </a:xfrm>
            <a:custGeom>
              <a:avLst/>
              <a:gdLst/>
              <a:ahLst/>
              <a:cxnLst/>
              <a:rect l="l" t="t" r="r" b="b"/>
              <a:pathLst>
                <a:path w="2112" h="3498" extrusionOk="0">
                  <a:moveTo>
                    <a:pt x="1072" y="725"/>
                  </a:moveTo>
                  <a:cubicBezTo>
                    <a:pt x="1261" y="725"/>
                    <a:pt x="1418" y="883"/>
                    <a:pt x="1418" y="1072"/>
                  </a:cubicBezTo>
                  <a:lnTo>
                    <a:pt x="1418" y="2458"/>
                  </a:lnTo>
                  <a:cubicBezTo>
                    <a:pt x="1418" y="2647"/>
                    <a:pt x="1261" y="2804"/>
                    <a:pt x="1072" y="2804"/>
                  </a:cubicBezTo>
                  <a:lnTo>
                    <a:pt x="694" y="2804"/>
                  </a:lnTo>
                  <a:lnTo>
                    <a:pt x="694" y="725"/>
                  </a:lnTo>
                  <a:close/>
                  <a:moveTo>
                    <a:pt x="347" y="0"/>
                  </a:moveTo>
                  <a:cubicBezTo>
                    <a:pt x="158" y="0"/>
                    <a:pt x="0" y="158"/>
                    <a:pt x="0" y="347"/>
                  </a:cubicBezTo>
                  <a:lnTo>
                    <a:pt x="0" y="3151"/>
                  </a:lnTo>
                  <a:cubicBezTo>
                    <a:pt x="0" y="3340"/>
                    <a:pt x="158" y="3497"/>
                    <a:pt x="347" y="3497"/>
                  </a:cubicBezTo>
                  <a:lnTo>
                    <a:pt x="1040" y="3497"/>
                  </a:lnTo>
                  <a:cubicBezTo>
                    <a:pt x="1639" y="3497"/>
                    <a:pt x="2111" y="3025"/>
                    <a:pt x="2111" y="2458"/>
                  </a:cubicBezTo>
                  <a:lnTo>
                    <a:pt x="2111" y="1040"/>
                  </a:lnTo>
                  <a:cubicBezTo>
                    <a:pt x="2111" y="473"/>
                    <a:pt x="1639" y="0"/>
                    <a:pt x="1040"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854" name="Google Shape;10854;p113"/>
            <p:cNvSpPr/>
            <p:nvPr/>
          </p:nvSpPr>
          <p:spPr>
            <a:xfrm>
              <a:off x="-45278675" y="2333325"/>
              <a:ext cx="264650" cy="300100"/>
            </a:xfrm>
            <a:custGeom>
              <a:avLst/>
              <a:gdLst/>
              <a:ahLst/>
              <a:cxnLst/>
              <a:rect l="l" t="t" r="r" b="b"/>
              <a:pathLst>
                <a:path w="10586" h="12004" extrusionOk="0">
                  <a:moveTo>
                    <a:pt x="7751" y="1229"/>
                  </a:moveTo>
                  <a:lnTo>
                    <a:pt x="8664" y="2143"/>
                  </a:lnTo>
                  <a:lnTo>
                    <a:pt x="7751" y="2143"/>
                  </a:lnTo>
                  <a:lnTo>
                    <a:pt x="7751" y="1229"/>
                  </a:lnTo>
                  <a:close/>
                  <a:moveTo>
                    <a:pt x="7089" y="725"/>
                  </a:moveTo>
                  <a:lnTo>
                    <a:pt x="7089" y="2489"/>
                  </a:lnTo>
                  <a:cubicBezTo>
                    <a:pt x="7089" y="2678"/>
                    <a:pt x="7246" y="2836"/>
                    <a:pt x="7436" y="2836"/>
                  </a:cubicBezTo>
                  <a:lnTo>
                    <a:pt x="9200" y="2836"/>
                  </a:lnTo>
                  <a:lnTo>
                    <a:pt x="9200" y="4254"/>
                  </a:lnTo>
                  <a:lnTo>
                    <a:pt x="1481" y="4254"/>
                  </a:lnTo>
                  <a:lnTo>
                    <a:pt x="1481" y="725"/>
                  </a:lnTo>
                  <a:close/>
                  <a:moveTo>
                    <a:pt x="9893" y="4978"/>
                  </a:moveTo>
                  <a:lnTo>
                    <a:pt x="9893" y="9893"/>
                  </a:lnTo>
                  <a:lnTo>
                    <a:pt x="756" y="9893"/>
                  </a:lnTo>
                  <a:lnTo>
                    <a:pt x="756" y="4978"/>
                  </a:lnTo>
                  <a:close/>
                  <a:moveTo>
                    <a:pt x="9168" y="10586"/>
                  </a:moveTo>
                  <a:lnTo>
                    <a:pt x="9168" y="11311"/>
                  </a:lnTo>
                  <a:lnTo>
                    <a:pt x="1450" y="11311"/>
                  </a:lnTo>
                  <a:lnTo>
                    <a:pt x="1450" y="10586"/>
                  </a:lnTo>
                  <a:close/>
                  <a:moveTo>
                    <a:pt x="1072" y="1"/>
                  </a:moveTo>
                  <a:cubicBezTo>
                    <a:pt x="851" y="1"/>
                    <a:pt x="725" y="158"/>
                    <a:pt x="725" y="347"/>
                  </a:cubicBezTo>
                  <a:lnTo>
                    <a:pt x="725" y="4254"/>
                  </a:lnTo>
                  <a:lnTo>
                    <a:pt x="347" y="4254"/>
                  </a:lnTo>
                  <a:cubicBezTo>
                    <a:pt x="158" y="4254"/>
                    <a:pt x="0" y="4411"/>
                    <a:pt x="0" y="4600"/>
                  </a:cubicBezTo>
                  <a:lnTo>
                    <a:pt x="0" y="10240"/>
                  </a:lnTo>
                  <a:cubicBezTo>
                    <a:pt x="0" y="10429"/>
                    <a:pt x="158" y="10586"/>
                    <a:pt x="347" y="10586"/>
                  </a:cubicBezTo>
                  <a:lnTo>
                    <a:pt x="725" y="10586"/>
                  </a:lnTo>
                  <a:lnTo>
                    <a:pt x="725" y="11657"/>
                  </a:lnTo>
                  <a:cubicBezTo>
                    <a:pt x="725" y="11846"/>
                    <a:pt x="851" y="12004"/>
                    <a:pt x="1072" y="12004"/>
                  </a:cubicBezTo>
                  <a:lnTo>
                    <a:pt x="9483" y="12004"/>
                  </a:lnTo>
                  <a:cubicBezTo>
                    <a:pt x="9672" y="12004"/>
                    <a:pt x="9830" y="11846"/>
                    <a:pt x="9830" y="11657"/>
                  </a:cubicBezTo>
                  <a:lnTo>
                    <a:pt x="9830" y="10586"/>
                  </a:lnTo>
                  <a:lnTo>
                    <a:pt x="10208" y="10586"/>
                  </a:lnTo>
                  <a:cubicBezTo>
                    <a:pt x="10397" y="10586"/>
                    <a:pt x="10555" y="10429"/>
                    <a:pt x="10555" y="10240"/>
                  </a:cubicBezTo>
                  <a:lnTo>
                    <a:pt x="10555" y="4600"/>
                  </a:lnTo>
                  <a:cubicBezTo>
                    <a:pt x="10586" y="4411"/>
                    <a:pt x="10428" y="4254"/>
                    <a:pt x="10239" y="4254"/>
                  </a:cubicBezTo>
                  <a:lnTo>
                    <a:pt x="9893" y="4254"/>
                  </a:lnTo>
                  <a:lnTo>
                    <a:pt x="9893" y="2489"/>
                  </a:lnTo>
                  <a:cubicBezTo>
                    <a:pt x="9893" y="2395"/>
                    <a:pt x="9830" y="2300"/>
                    <a:pt x="9767" y="2237"/>
                  </a:cubicBezTo>
                  <a:lnTo>
                    <a:pt x="7656" y="127"/>
                  </a:lnTo>
                  <a:cubicBezTo>
                    <a:pt x="7562" y="32"/>
                    <a:pt x="7499" y="1"/>
                    <a:pt x="7404"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10855" name="Google Shape;10855;p113"/>
          <p:cNvGrpSpPr/>
          <p:nvPr/>
        </p:nvGrpSpPr>
        <p:grpSpPr>
          <a:xfrm>
            <a:off x="4727334" y="5092561"/>
            <a:ext cx="393649" cy="477639"/>
            <a:chOff x="-45270025" y="2701925"/>
            <a:chExt cx="247350" cy="300125"/>
          </a:xfrm>
        </p:grpSpPr>
        <p:sp>
          <p:nvSpPr>
            <p:cNvPr id="10856" name="Google Shape;10856;p113"/>
            <p:cNvSpPr/>
            <p:nvPr/>
          </p:nvSpPr>
          <p:spPr>
            <a:xfrm>
              <a:off x="-45128250" y="2843700"/>
              <a:ext cx="18150" cy="17350"/>
            </a:xfrm>
            <a:custGeom>
              <a:avLst/>
              <a:gdLst/>
              <a:ahLst/>
              <a:cxnLst/>
              <a:rect l="l" t="t" r="r" b="b"/>
              <a:pathLst>
                <a:path w="726" h="694" extrusionOk="0">
                  <a:moveTo>
                    <a:pt x="347" y="1"/>
                  </a:moveTo>
                  <a:cubicBezTo>
                    <a:pt x="158" y="1"/>
                    <a:pt x="1" y="158"/>
                    <a:pt x="1" y="347"/>
                  </a:cubicBezTo>
                  <a:cubicBezTo>
                    <a:pt x="1" y="536"/>
                    <a:pt x="158" y="694"/>
                    <a:pt x="347" y="694"/>
                  </a:cubicBezTo>
                  <a:cubicBezTo>
                    <a:pt x="568" y="694"/>
                    <a:pt x="725" y="536"/>
                    <a:pt x="725" y="347"/>
                  </a:cubicBezTo>
                  <a:cubicBezTo>
                    <a:pt x="725" y="158"/>
                    <a:pt x="568" y="1"/>
                    <a:pt x="347"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857" name="Google Shape;10857;p113"/>
            <p:cNvSpPr/>
            <p:nvPr/>
          </p:nvSpPr>
          <p:spPr>
            <a:xfrm>
              <a:off x="-45270025" y="2701925"/>
              <a:ext cx="247350" cy="300125"/>
            </a:xfrm>
            <a:custGeom>
              <a:avLst/>
              <a:gdLst/>
              <a:ahLst/>
              <a:cxnLst/>
              <a:rect l="l" t="t" r="r" b="b"/>
              <a:pathLst>
                <a:path w="9894" h="12005" extrusionOk="0">
                  <a:moveTo>
                    <a:pt x="7751" y="1261"/>
                  </a:moveTo>
                  <a:lnTo>
                    <a:pt x="8665" y="2143"/>
                  </a:lnTo>
                  <a:lnTo>
                    <a:pt x="7751" y="2143"/>
                  </a:lnTo>
                  <a:lnTo>
                    <a:pt x="7751" y="1261"/>
                  </a:lnTo>
                  <a:close/>
                  <a:moveTo>
                    <a:pt x="7090" y="4979"/>
                  </a:moveTo>
                  <a:lnTo>
                    <a:pt x="7090" y="9925"/>
                  </a:lnTo>
                  <a:lnTo>
                    <a:pt x="757" y="9925"/>
                  </a:lnTo>
                  <a:lnTo>
                    <a:pt x="757" y="4979"/>
                  </a:lnTo>
                  <a:close/>
                  <a:moveTo>
                    <a:pt x="7090" y="725"/>
                  </a:moveTo>
                  <a:lnTo>
                    <a:pt x="7090" y="2521"/>
                  </a:lnTo>
                  <a:cubicBezTo>
                    <a:pt x="7090" y="2710"/>
                    <a:pt x="7247" y="2868"/>
                    <a:pt x="7436" y="2868"/>
                  </a:cubicBezTo>
                  <a:lnTo>
                    <a:pt x="9232" y="2868"/>
                  </a:lnTo>
                  <a:lnTo>
                    <a:pt x="9232" y="11343"/>
                  </a:lnTo>
                  <a:lnTo>
                    <a:pt x="1450" y="11343"/>
                  </a:lnTo>
                  <a:lnTo>
                    <a:pt x="1450" y="10618"/>
                  </a:lnTo>
                  <a:lnTo>
                    <a:pt x="7436" y="10618"/>
                  </a:lnTo>
                  <a:cubicBezTo>
                    <a:pt x="7657" y="10618"/>
                    <a:pt x="7814" y="10460"/>
                    <a:pt x="7814" y="10271"/>
                  </a:cubicBezTo>
                  <a:lnTo>
                    <a:pt x="7814" y="4632"/>
                  </a:lnTo>
                  <a:cubicBezTo>
                    <a:pt x="7814" y="4443"/>
                    <a:pt x="7657" y="4285"/>
                    <a:pt x="7436" y="4285"/>
                  </a:cubicBezTo>
                  <a:lnTo>
                    <a:pt x="1450" y="4285"/>
                  </a:lnTo>
                  <a:lnTo>
                    <a:pt x="1450" y="725"/>
                  </a:lnTo>
                  <a:close/>
                  <a:moveTo>
                    <a:pt x="1072" y="1"/>
                  </a:moveTo>
                  <a:cubicBezTo>
                    <a:pt x="883" y="1"/>
                    <a:pt x="726" y="158"/>
                    <a:pt x="726" y="347"/>
                  </a:cubicBezTo>
                  <a:lnTo>
                    <a:pt x="726" y="4254"/>
                  </a:lnTo>
                  <a:lnTo>
                    <a:pt x="379" y="4254"/>
                  </a:lnTo>
                  <a:cubicBezTo>
                    <a:pt x="158" y="4254"/>
                    <a:pt x="1" y="4411"/>
                    <a:pt x="1" y="4601"/>
                  </a:cubicBezTo>
                  <a:lnTo>
                    <a:pt x="1" y="10240"/>
                  </a:lnTo>
                  <a:cubicBezTo>
                    <a:pt x="1" y="10429"/>
                    <a:pt x="158" y="10586"/>
                    <a:pt x="379" y="10586"/>
                  </a:cubicBezTo>
                  <a:lnTo>
                    <a:pt x="726" y="10586"/>
                  </a:lnTo>
                  <a:lnTo>
                    <a:pt x="726" y="11658"/>
                  </a:lnTo>
                  <a:cubicBezTo>
                    <a:pt x="726" y="11847"/>
                    <a:pt x="883" y="12004"/>
                    <a:pt x="1072" y="12004"/>
                  </a:cubicBezTo>
                  <a:lnTo>
                    <a:pt x="9484" y="12004"/>
                  </a:lnTo>
                  <a:cubicBezTo>
                    <a:pt x="9704" y="12004"/>
                    <a:pt x="9862" y="11847"/>
                    <a:pt x="9862" y="11658"/>
                  </a:cubicBezTo>
                  <a:lnTo>
                    <a:pt x="9893" y="2458"/>
                  </a:lnTo>
                  <a:cubicBezTo>
                    <a:pt x="9893" y="2395"/>
                    <a:pt x="9862" y="2269"/>
                    <a:pt x="9767" y="2238"/>
                  </a:cubicBezTo>
                  <a:lnTo>
                    <a:pt x="7657" y="95"/>
                  </a:lnTo>
                  <a:cubicBezTo>
                    <a:pt x="7562" y="32"/>
                    <a:pt x="7499" y="1"/>
                    <a:pt x="7405"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858" name="Google Shape;10858;p113"/>
            <p:cNvSpPr/>
            <p:nvPr/>
          </p:nvSpPr>
          <p:spPr>
            <a:xfrm>
              <a:off x="-45235350" y="2844500"/>
              <a:ext cx="89800" cy="87450"/>
            </a:xfrm>
            <a:custGeom>
              <a:avLst/>
              <a:gdLst/>
              <a:ahLst/>
              <a:cxnLst/>
              <a:rect l="l" t="t" r="r" b="b"/>
              <a:pathLst>
                <a:path w="3592" h="3498" extrusionOk="0">
                  <a:moveTo>
                    <a:pt x="1796" y="1103"/>
                  </a:moveTo>
                  <a:lnTo>
                    <a:pt x="2268" y="2079"/>
                  </a:lnTo>
                  <a:lnTo>
                    <a:pt x="1292" y="2079"/>
                  </a:lnTo>
                  <a:lnTo>
                    <a:pt x="1796" y="1103"/>
                  </a:lnTo>
                  <a:close/>
                  <a:moveTo>
                    <a:pt x="1764" y="0"/>
                  </a:moveTo>
                  <a:cubicBezTo>
                    <a:pt x="1638" y="0"/>
                    <a:pt x="1544" y="63"/>
                    <a:pt x="1449" y="189"/>
                  </a:cubicBezTo>
                  <a:lnTo>
                    <a:pt x="32" y="2993"/>
                  </a:lnTo>
                  <a:cubicBezTo>
                    <a:pt x="0" y="3151"/>
                    <a:pt x="63" y="3340"/>
                    <a:pt x="284" y="3466"/>
                  </a:cubicBezTo>
                  <a:cubicBezTo>
                    <a:pt x="324" y="3482"/>
                    <a:pt x="369" y="3490"/>
                    <a:pt x="415" y="3490"/>
                  </a:cubicBezTo>
                  <a:cubicBezTo>
                    <a:pt x="547" y="3490"/>
                    <a:pt x="686" y="3425"/>
                    <a:pt x="756" y="3308"/>
                  </a:cubicBezTo>
                  <a:lnTo>
                    <a:pt x="977" y="2804"/>
                  </a:lnTo>
                  <a:lnTo>
                    <a:pt x="2647" y="2804"/>
                  </a:lnTo>
                  <a:lnTo>
                    <a:pt x="2867" y="3308"/>
                  </a:lnTo>
                  <a:cubicBezTo>
                    <a:pt x="2962" y="3434"/>
                    <a:pt x="3056" y="3497"/>
                    <a:pt x="3182" y="3497"/>
                  </a:cubicBezTo>
                  <a:cubicBezTo>
                    <a:pt x="3245" y="3497"/>
                    <a:pt x="3308" y="3497"/>
                    <a:pt x="3340" y="3466"/>
                  </a:cubicBezTo>
                  <a:cubicBezTo>
                    <a:pt x="3497" y="3371"/>
                    <a:pt x="3592" y="3151"/>
                    <a:pt x="3497" y="2993"/>
                  </a:cubicBezTo>
                  <a:lnTo>
                    <a:pt x="2079" y="189"/>
                  </a:lnTo>
                  <a:cubicBezTo>
                    <a:pt x="2016" y="63"/>
                    <a:pt x="1890" y="0"/>
                    <a:pt x="1764"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859" name="Google Shape;10859;p113"/>
            <p:cNvSpPr/>
            <p:nvPr/>
          </p:nvSpPr>
          <p:spPr>
            <a:xfrm>
              <a:off x="-45128250" y="2879150"/>
              <a:ext cx="18150" cy="52800"/>
            </a:xfrm>
            <a:custGeom>
              <a:avLst/>
              <a:gdLst/>
              <a:ahLst/>
              <a:cxnLst/>
              <a:rect l="l" t="t" r="r" b="b"/>
              <a:pathLst>
                <a:path w="726" h="2112" extrusionOk="0">
                  <a:moveTo>
                    <a:pt x="347" y="0"/>
                  </a:moveTo>
                  <a:cubicBezTo>
                    <a:pt x="158" y="0"/>
                    <a:pt x="1" y="158"/>
                    <a:pt x="1" y="347"/>
                  </a:cubicBezTo>
                  <a:lnTo>
                    <a:pt x="1" y="1765"/>
                  </a:lnTo>
                  <a:cubicBezTo>
                    <a:pt x="1" y="1954"/>
                    <a:pt x="158" y="2111"/>
                    <a:pt x="347" y="2111"/>
                  </a:cubicBezTo>
                  <a:cubicBezTo>
                    <a:pt x="568" y="2111"/>
                    <a:pt x="725" y="1954"/>
                    <a:pt x="725" y="1765"/>
                  </a:cubicBezTo>
                  <a:lnTo>
                    <a:pt x="725" y="347"/>
                  </a:lnTo>
                  <a:cubicBezTo>
                    <a:pt x="725" y="158"/>
                    <a:pt x="568" y="0"/>
                    <a:pt x="347"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sp>
        <p:nvSpPr>
          <p:cNvPr id="10860" name="Google Shape;10860;p113"/>
          <p:cNvSpPr/>
          <p:nvPr/>
        </p:nvSpPr>
        <p:spPr>
          <a:xfrm>
            <a:off x="3504933" y="5719886"/>
            <a:ext cx="477599" cy="477599"/>
          </a:xfrm>
          <a:custGeom>
            <a:avLst/>
            <a:gdLst/>
            <a:ahLst/>
            <a:cxnLst/>
            <a:rect l="l" t="t" r="r" b="b"/>
            <a:pathLst>
              <a:path w="12004" h="12004" extrusionOk="0">
                <a:moveTo>
                  <a:pt x="2867" y="725"/>
                </a:moveTo>
                <a:lnTo>
                  <a:pt x="2867" y="1449"/>
                </a:lnTo>
                <a:lnTo>
                  <a:pt x="2174" y="1449"/>
                </a:lnTo>
                <a:lnTo>
                  <a:pt x="2174" y="725"/>
                </a:lnTo>
                <a:close/>
                <a:moveTo>
                  <a:pt x="7971" y="3592"/>
                </a:moveTo>
                <a:lnTo>
                  <a:pt x="3560" y="8002"/>
                </a:lnTo>
                <a:lnTo>
                  <a:pt x="3560" y="3592"/>
                </a:lnTo>
                <a:close/>
                <a:moveTo>
                  <a:pt x="8506" y="4064"/>
                </a:moveTo>
                <a:lnTo>
                  <a:pt x="8506" y="8475"/>
                </a:lnTo>
                <a:lnTo>
                  <a:pt x="4096" y="8475"/>
                </a:lnTo>
                <a:lnTo>
                  <a:pt x="8506" y="4064"/>
                </a:lnTo>
                <a:close/>
                <a:moveTo>
                  <a:pt x="2867" y="3529"/>
                </a:moveTo>
                <a:lnTo>
                  <a:pt x="2867" y="8821"/>
                </a:lnTo>
                <a:cubicBezTo>
                  <a:pt x="2867" y="9011"/>
                  <a:pt x="3025" y="9168"/>
                  <a:pt x="3214" y="9168"/>
                </a:cubicBezTo>
                <a:lnTo>
                  <a:pt x="8506" y="9168"/>
                </a:lnTo>
                <a:lnTo>
                  <a:pt x="8506" y="9893"/>
                </a:lnTo>
                <a:lnTo>
                  <a:pt x="2174" y="9893"/>
                </a:lnTo>
                <a:lnTo>
                  <a:pt x="2174" y="3529"/>
                </a:lnTo>
                <a:close/>
                <a:moveTo>
                  <a:pt x="11342" y="9168"/>
                </a:moveTo>
                <a:lnTo>
                  <a:pt x="11342" y="9893"/>
                </a:lnTo>
                <a:lnTo>
                  <a:pt x="10617" y="9893"/>
                </a:lnTo>
                <a:lnTo>
                  <a:pt x="10617" y="9168"/>
                </a:lnTo>
                <a:close/>
                <a:moveTo>
                  <a:pt x="9830" y="2111"/>
                </a:moveTo>
                <a:lnTo>
                  <a:pt x="9830" y="11310"/>
                </a:lnTo>
                <a:lnTo>
                  <a:pt x="9168" y="11310"/>
                </a:lnTo>
                <a:lnTo>
                  <a:pt x="9168" y="3182"/>
                </a:lnTo>
                <a:lnTo>
                  <a:pt x="9168" y="3151"/>
                </a:lnTo>
                <a:cubicBezTo>
                  <a:pt x="9168" y="2993"/>
                  <a:pt x="9010" y="2836"/>
                  <a:pt x="8821" y="2836"/>
                </a:cubicBezTo>
                <a:lnTo>
                  <a:pt x="693" y="2836"/>
                </a:lnTo>
                <a:lnTo>
                  <a:pt x="693" y="2111"/>
                </a:lnTo>
                <a:close/>
                <a:moveTo>
                  <a:pt x="1764" y="0"/>
                </a:moveTo>
                <a:cubicBezTo>
                  <a:pt x="1575" y="0"/>
                  <a:pt x="1418" y="158"/>
                  <a:pt x="1418" y="347"/>
                </a:cubicBezTo>
                <a:lnTo>
                  <a:pt x="1418" y="1418"/>
                </a:lnTo>
                <a:lnTo>
                  <a:pt x="347" y="1418"/>
                </a:lnTo>
                <a:cubicBezTo>
                  <a:pt x="158" y="1418"/>
                  <a:pt x="0" y="1575"/>
                  <a:pt x="0" y="1764"/>
                </a:cubicBezTo>
                <a:lnTo>
                  <a:pt x="0" y="3182"/>
                </a:lnTo>
                <a:cubicBezTo>
                  <a:pt x="0" y="3371"/>
                  <a:pt x="158" y="3529"/>
                  <a:pt x="347" y="3529"/>
                </a:cubicBezTo>
                <a:lnTo>
                  <a:pt x="1418" y="3529"/>
                </a:lnTo>
                <a:lnTo>
                  <a:pt x="1418" y="10082"/>
                </a:lnTo>
                <a:lnTo>
                  <a:pt x="819" y="10680"/>
                </a:lnTo>
                <a:cubicBezTo>
                  <a:pt x="693" y="10775"/>
                  <a:pt x="693" y="11027"/>
                  <a:pt x="819" y="11184"/>
                </a:cubicBezTo>
                <a:cubicBezTo>
                  <a:pt x="882" y="11247"/>
                  <a:pt x="969" y="11279"/>
                  <a:pt x="1059" y="11279"/>
                </a:cubicBezTo>
                <a:cubicBezTo>
                  <a:pt x="1150" y="11279"/>
                  <a:pt x="1245" y="11247"/>
                  <a:pt x="1323" y="11184"/>
                </a:cubicBezTo>
                <a:lnTo>
                  <a:pt x="1922" y="10586"/>
                </a:lnTo>
                <a:lnTo>
                  <a:pt x="8475" y="10586"/>
                </a:lnTo>
                <a:lnTo>
                  <a:pt x="8475" y="11657"/>
                </a:lnTo>
                <a:cubicBezTo>
                  <a:pt x="8475" y="11846"/>
                  <a:pt x="8601" y="12003"/>
                  <a:pt x="8821" y="12003"/>
                </a:cubicBezTo>
                <a:lnTo>
                  <a:pt x="10239" y="12003"/>
                </a:lnTo>
                <a:cubicBezTo>
                  <a:pt x="10428" y="12003"/>
                  <a:pt x="10586" y="11846"/>
                  <a:pt x="10586" y="11657"/>
                </a:cubicBezTo>
                <a:lnTo>
                  <a:pt x="10586" y="10586"/>
                </a:lnTo>
                <a:lnTo>
                  <a:pt x="11657" y="10586"/>
                </a:lnTo>
                <a:cubicBezTo>
                  <a:pt x="11846" y="10586"/>
                  <a:pt x="12003" y="10428"/>
                  <a:pt x="12003" y="10239"/>
                </a:cubicBezTo>
                <a:lnTo>
                  <a:pt x="12003" y="8821"/>
                </a:lnTo>
                <a:cubicBezTo>
                  <a:pt x="12003" y="8632"/>
                  <a:pt x="11846" y="8475"/>
                  <a:pt x="11657" y="8475"/>
                </a:cubicBezTo>
                <a:lnTo>
                  <a:pt x="10586" y="8475"/>
                </a:lnTo>
                <a:lnTo>
                  <a:pt x="10586" y="1922"/>
                </a:lnTo>
                <a:lnTo>
                  <a:pt x="11184" y="1323"/>
                </a:lnTo>
                <a:cubicBezTo>
                  <a:pt x="11279" y="1229"/>
                  <a:pt x="11279" y="977"/>
                  <a:pt x="11184" y="819"/>
                </a:cubicBezTo>
                <a:cubicBezTo>
                  <a:pt x="11121" y="756"/>
                  <a:pt x="11035" y="725"/>
                  <a:pt x="10940" y="725"/>
                </a:cubicBezTo>
                <a:cubicBezTo>
                  <a:pt x="10846" y="725"/>
                  <a:pt x="10743" y="756"/>
                  <a:pt x="10649" y="819"/>
                </a:cubicBezTo>
                <a:lnTo>
                  <a:pt x="10082" y="1418"/>
                </a:lnTo>
                <a:lnTo>
                  <a:pt x="3529" y="1418"/>
                </a:lnTo>
                <a:lnTo>
                  <a:pt x="3529" y="347"/>
                </a:lnTo>
                <a:cubicBezTo>
                  <a:pt x="3529" y="158"/>
                  <a:pt x="3371" y="0"/>
                  <a:pt x="3182"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nvGrpSpPr>
          <p:cNvPr id="10861" name="Google Shape;10861;p113"/>
          <p:cNvGrpSpPr/>
          <p:nvPr/>
        </p:nvGrpSpPr>
        <p:grpSpPr>
          <a:xfrm>
            <a:off x="2946090" y="2771022"/>
            <a:ext cx="409925" cy="347501"/>
            <a:chOff x="1636184" y="2959225"/>
            <a:chExt cx="232666" cy="197250"/>
          </a:xfrm>
        </p:grpSpPr>
        <p:sp>
          <p:nvSpPr>
            <p:cNvPr id="10862" name="Google Shape;10862;p113"/>
            <p:cNvSpPr/>
            <p:nvPr/>
          </p:nvSpPr>
          <p:spPr>
            <a:xfrm>
              <a:off x="1649300" y="2959225"/>
              <a:ext cx="219550" cy="197250"/>
            </a:xfrm>
            <a:custGeom>
              <a:avLst/>
              <a:gdLst/>
              <a:ahLst/>
              <a:cxnLst/>
              <a:rect l="l" t="t" r="r" b="b"/>
              <a:pathLst>
                <a:path w="8782" h="7890" extrusionOk="0">
                  <a:moveTo>
                    <a:pt x="3485" y="419"/>
                  </a:moveTo>
                  <a:lnTo>
                    <a:pt x="2342" y="1952"/>
                  </a:lnTo>
                  <a:lnTo>
                    <a:pt x="1757" y="419"/>
                  </a:lnTo>
                  <a:close/>
                  <a:moveTo>
                    <a:pt x="6495" y="419"/>
                  </a:moveTo>
                  <a:lnTo>
                    <a:pt x="5882" y="1952"/>
                  </a:lnTo>
                  <a:lnTo>
                    <a:pt x="4739" y="419"/>
                  </a:lnTo>
                  <a:close/>
                  <a:moveTo>
                    <a:pt x="1255" y="809"/>
                  </a:moveTo>
                  <a:lnTo>
                    <a:pt x="1812" y="2314"/>
                  </a:lnTo>
                  <a:lnTo>
                    <a:pt x="307" y="2314"/>
                  </a:lnTo>
                  <a:lnTo>
                    <a:pt x="1255" y="809"/>
                  </a:lnTo>
                  <a:close/>
                  <a:moveTo>
                    <a:pt x="4154" y="614"/>
                  </a:moveTo>
                  <a:lnTo>
                    <a:pt x="5408" y="2314"/>
                  </a:lnTo>
                  <a:lnTo>
                    <a:pt x="2900" y="2314"/>
                  </a:lnTo>
                  <a:lnTo>
                    <a:pt x="4154" y="614"/>
                  </a:lnTo>
                  <a:close/>
                  <a:moveTo>
                    <a:pt x="6997" y="809"/>
                  </a:moveTo>
                  <a:lnTo>
                    <a:pt x="7945" y="2314"/>
                  </a:lnTo>
                  <a:lnTo>
                    <a:pt x="6440" y="2314"/>
                  </a:lnTo>
                  <a:lnTo>
                    <a:pt x="6997" y="809"/>
                  </a:lnTo>
                  <a:close/>
                  <a:moveTo>
                    <a:pt x="2035" y="2928"/>
                  </a:moveTo>
                  <a:lnTo>
                    <a:pt x="3206" y="6133"/>
                  </a:lnTo>
                  <a:lnTo>
                    <a:pt x="419" y="2928"/>
                  </a:lnTo>
                  <a:close/>
                  <a:moveTo>
                    <a:pt x="7806" y="2928"/>
                  </a:moveTo>
                  <a:lnTo>
                    <a:pt x="5018" y="6133"/>
                  </a:lnTo>
                  <a:lnTo>
                    <a:pt x="6217" y="2928"/>
                  </a:lnTo>
                  <a:close/>
                  <a:moveTo>
                    <a:pt x="5548" y="2928"/>
                  </a:moveTo>
                  <a:lnTo>
                    <a:pt x="4126" y="6719"/>
                  </a:lnTo>
                  <a:lnTo>
                    <a:pt x="2677" y="2928"/>
                  </a:lnTo>
                  <a:close/>
                  <a:moveTo>
                    <a:pt x="1562" y="1"/>
                  </a:moveTo>
                  <a:lnTo>
                    <a:pt x="1" y="2482"/>
                  </a:lnTo>
                  <a:lnTo>
                    <a:pt x="1" y="2510"/>
                  </a:lnTo>
                  <a:lnTo>
                    <a:pt x="1" y="2537"/>
                  </a:lnTo>
                  <a:lnTo>
                    <a:pt x="1" y="2593"/>
                  </a:lnTo>
                  <a:lnTo>
                    <a:pt x="1" y="2621"/>
                  </a:lnTo>
                  <a:lnTo>
                    <a:pt x="1" y="2649"/>
                  </a:lnTo>
                  <a:lnTo>
                    <a:pt x="1" y="2677"/>
                  </a:lnTo>
                  <a:lnTo>
                    <a:pt x="1" y="2733"/>
                  </a:lnTo>
                  <a:lnTo>
                    <a:pt x="1" y="2760"/>
                  </a:lnTo>
                  <a:lnTo>
                    <a:pt x="1" y="2788"/>
                  </a:lnTo>
                  <a:lnTo>
                    <a:pt x="1" y="2816"/>
                  </a:lnTo>
                  <a:lnTo>
                    <a:pt x="1" y="2872"/>
                  </a:lnTo>
                  <a:lnTo>
                    <a:pt x="4349" y="7834"/>
                  </a:lnTo>
                  <a:lnTo>
                    <a:pt x="4405" y="7890"/>
                  </a:lnTo>
                  <a:lnTo>
                    <a:pt x="4879" y="7890"/>
                  </a:lnTo>
                  <a:lnTo>
                    <a:pt x="4907" y="7834"/>
                  </a:lnTo>
                  <a:lnTo>
                    <a:pt x="8753" y="2788"/>
                  </a:lnTo>
                  <a:lnTo>
                    <a:pt x="8753" y="2788"/>
                  </a:lnTo>
                  <a:cubicBezTo>
                    <a:pt x="8744" y="2798"/>
                    <a:pt x="8738" y="2801"/>
                    <a:pt x="8735" y="2801"/>
                  </a:cubicBezTo>
                  <a:cubicBezTo>
                    <a:pt x="8729" y="2801"/>
                    <a:pt x="8735" y="2788"/>
                    <a:pt x="8753" y="2788"/>
                  </a:cubicBezTo>
                  <a:lnTo>
                    <a:pt x="8781" y="2760"/>
                  </a:lnTo>
                  <a:lnTo>
                    <a:pt x="8781" y="2733"/>
                  </a:lnTo>
                  <a:lnTo>
                    <a:pt x="8781" y="2677"/>
                  </a:lnTo>
                  <a:lnTo>
                    <a:pt x="8781" y="2649"/>
                  </a:lnTo>
                  <a:lnTo>
                    <a:pt x="8781" y="2621"/>
                  </a:lnTo>
                  <a:lnTo>
                    <a:pt x="8781" y="2593"/>
                  </a:lnTo>
                  <a:lnTo>
                    <a:pt x="8781" y="2537"/>
                  </a:lnTo>
                  <a:lnTo>
                    <a:pt x="8781" y="2510"/>
                  </a:lnTo>
                  <a:lnTo>
                    <a:pt x="8781" y="2482"/>
                  </a:lnTo>
                  <a:lnTo>
                    <a:pt x="7220" y="1"/>
                  </a:ln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863" name="Google Shape;10863;p113"/>
            <p:cNvSpPr/>
            <p:nvPr/>
          </p:nvSpPr>
          <p:spPr>
            <a:xfrm flipH="1">
              <a:off x="1636184" y="2959225"/>
              <a:ext cx="219550" cy="197250"/>
            </a:xfrm>
            <a:custGeom>
              <a:avLst/>
              <a:gdLst/>
              <a:ahLst/>
              <a:cxnLst/>
              <a:rect l="l" t="t" r="r" b="b"/>
              <a:pathLst>
                <a:path w="8782" h="7890" extrusionOk="0">
                  <a:moveTo>
                    <a:pt x="3485" y="419"/>
                  </a:moveTo>
                  <a:lnTo>
                    <a:pt x="2342" y="1952"/>
                  </a:lnTo>
                  <a:lnTo>
                    <a:pt x="1757" y="419"/>
                  </a:lnTo>
                  <a:close/>
                  <a:moveTo>
                    <a:pt x="6495" y="419"/>
                  </a:moveTo>
                  <a:lnTo>
                    <a:pt x="5882" y="1952"/>
                  </a:lnTo>
                  <a:lnTo>
                    <a:pt x="4739" y="419"/>
                  </a:lnTo>
                  <a:close/>
                  <a:moveTo>
                    <a:pt x="1255" y="809"/>
                  </a:moveTo>
                  <a:lnTo>
                    <a:pt x="1812" y="2314"/>
                  </a:lnTo>
                  <a:lnTo>
                    <a:pt x="307" y="2314"/>
                  </a:lnTo>
                  <a:lnTo>
                    <a:pt x="1255" y="809"/>
                  </a:lnTo>
                  <a:close/>
                  <a:moveTo>
                    <a:pt x="4154" y="614"/>
                  </a:moveTo>
                  <a:lnTo>
                    <a:pt x="5408" y="2314"/>
                  </a:lnTo>
                  <a:lnTo>
                    <a:pt x="2900" y="2314"/>
                  </a:lnTo>
                  <a:lnTo>
                    <a:pt x="4154" y="614"/>
                  </a:lnTo>
                  <a:close/>
                  <a:moveTo>
                    <a:pt x="6997" y="809"/>
                  </a:moveTo>
                  <a:lnTo>
                    <a:pt x="7945" y="2314"/>
                  </a:lnTo>
                  <a:lnTo>
                    <a:pt x="6440" y="2314"/>
                  </a:lnTo>
                  <a:lnTo>
                    <a:pt x="6997" y="809"/>
                  </a:lnTo>
                  <a:close/>
                  <a:moveTo>
                    <a:pt x="2035" y="2928"/>
                  </a:moveTo>
                  <a:lnTo>
                    <a:pt x="3206" y="6133"/>
                  </a:lnTo>
                  <a:lnTo>
                    <a:pt x="419" y="2928"/>
                  </a:lnTo>
                  <a:close/>
                  <a:moveTo>
                    <a:pt x="7806" y="2928"/>
                  </a:moveTo>
                  <a:lnTo>
                    <a:pt x="5018" y="6133"/>
                  </a:lnTo>
                  <a:lnTo>
                    <a:pt x="6217" y="2928"/>
                  </a:lnTo>
                  <a:close/>
                  <a:moveTo>
                    <a:pt x="5548" y="2928"/>
                  </a:moveTo>
                  <a:lnTo>
                    <a:pt x="4126" y="6719"/>
                  </a:lnTo>
                  <a:lnTo>
                    <a:pt x="2677" y="2928"/>
                  </a:lnTo>
                  <a:close/>
                  <a:moveTo>
                    <a:pt x="1562" y="1"/>
                  </a:moveTo>
                  <a:lnTo>
                    <a:pt x="1" y="2482"/>
                  </a:lnTo>
                  <a:lnTo>
                    <a:pt x="1" y="2510"/>
                  </a:lnTo>
                  <a:lnTo>
                    <a:pt x="1" y="2537"/>
                  </a:lnTo>
                  <a:lnTo>
                    <a:pt x="1" y="2593"/>
                  </a:lnTo>
                  <a:lnTo>
                    <a:pt x="1" y="2621"/>
                  </a:lnTo>
                  <a:lnTo>
                    <a:pt x="1" y="2649"/>
                  </a:lnTo>
                  <a:lnTo>
                    <a:pt x="1" y="2677"/>
                  </a:lnTo>
                  <a:lnTo>
                    <a:pt x="1" y="2733"/>
                  </a:lnTo>
                  <a:lnTo>
                    <a:pt x="1" y="2760"/>
                  </a:lnTo>
                  <a:lnTo>
                    <a:pt x="1" y="2788"/>
                  </a:lnTo>
                  <a:lnTo>
                    <a:pt x="1" y="2816"/>
                  </a:lnTo>
                  <a:lnTo>
                    <a:pt x="1" y="2872"/>
                  </a:lnTo>
                  <a:lnTo>
                    <a:pt x="4349" y="7834"/>
                  </a:lnTo>
                  <a:lnTo>
                    <a:pt x="4405" y="7890"/>
                  </a:lnTo>
                  <a:lnTo>
                    <a:pt x="4879" y="7890"/>
                  </a:lnTo>
                  <a:lnTo>
                    <a:pt x="4907" y="7834"/>
                  </a:lnTo>
                  <a:lnTo>
                    <a:pt x="8753" y="2788"/>
                  </a:lnTo>
                  <a:lnTo>
                    <a:pt x="8753" y="2788"/>
                  </a:lnTo>
                  <a:cubicBezTo>
                    <a:pt x="8744" y="2798"/>
                    <a:pt x="8738" y="2801"/>
                    <a:pt x="8735" y="2801"/>
                  </a:cubicBezTo>
                  <a:cubicBezTo>
                    <a:pt x="8729" y="2801"/>
                    <a:pt x="8735" y="2788"/>
                    <a:pt x="8753" y="2788"/>
                  </a:cubicBezTo>
                  <a:lnTo>
                    <a:pt x="8781" y="2760"/>
                  </a:lnTo>
                  <a:lnTo>
                    <a:pt x="8781" y="2733"/>
                  </a:lnTo>
                  <a:lnTo>
                    <a:pt x="8781" y="2677"/>
                  </a:lnTo>
                  <a:lnTo>
                    <a:pt x="8781" y="2649"/>
                  </a:lnTo>
                  <a:lnTo>
                    <a:pt x="8781" y="2621"/>
                  </a:lnTo>
                  <a:lnTo>
                    <a:pt x="8781" y="2593"/>
                  </a:lnTo>
                  <a:lnTo>
                    <a:pt x="8781" y="2537"/>
                  </a:lnTo>
                  <a:lnTo>
                    <a:pt x="8781" y="2510"/>
                  </a:lnTo>
                  <a:lnTo>
                    <a:pt x="8781" y="2482"/>
                  </a:lnTo>
                  <a:lnTo>
                    <a:pt x="7220" y="1"/>
                  </a:ln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864" name="Google Shape;10864;p113"/>
            <p:cNvSpPr/>
            <p:nvPr/>
          </p:nvSpPr>
          <p:spPr>
            <a:xfrm>
              <a:off x="1734750" y="3136775"/>
              <a:ext cx="36900" cy="19650"/>
            </a:xfrm>
            <a:custGeom>
              <a:avLst/>
              <a:gdLst/>
              <a:ahLst/>
              <a:cxnLst/>
              <a:rect l="l" t="t" r="r" b="b"/>
              <a:pathLst>
                <a:path w="1476" h="786" extrusionOk="0">
                  <a:moveTo>
                    <a:pt x="0" y="786"/>
                  </a:moveTo>
                  <a:lnTo>
                    <a:pt x="1476" y="786"/>
                  </a:lnTo>
                  <a:lnTo>
                    <a:pt x="762" y="0"/>
                  </a:lnTo>
                  <a:close/>
                </a:path>
              </a:pathLst>
            </a:custGeom>
            <a:solidFill>
              <a:srgbClr val="5F7D95"/>
            </a:solidFill>
            <a:ln>
              <a:noFill/>
            </a:ln>
          </p:spPr>
        </p:sp>
        <p:sp>
          <p:nvSpPr>
            <p:cNvPr id="10865" name="Google Shape;10865;p113"/>
            <p:cNvSpPr/>
            <p:nvPr/>
          </p:nvSpPr>
          <p:spPr>
            <a:xfrm>
              <a:off x="1684150" y="2963550"/>
              <a:ext cx="139900" cy="11300"/>
            </a:xfrm>
            <a:custGeom>
              <a:avLst/>
              <a:gdLst/>
              <a:ahLst/>
              <a:cxnLst/>
              <a:rect l="l" t="t" r="r" b="b"/>
              <a:pathLst>
                <a:path w="5596" h="452" extrusionOk="0">
                  <a:moveTo>
                    <a:pt x="0" y="452"/>
                  </a:moveTo>
                  <a:lnTo>
                    <a:pt x="5596" y="452"/>
                  </a:lnTo>
                  <a:lnTo>
                    <a:pt x="5500" y="0"/>
                  </a:lnTo>
                  <a:lnTo>
                    <a:pt x="238" y="47"/>
                  </a:lnTo>
                  <a:close/>
                </a:path>
              </a:pathLst>
            </a:custGeom>
            <a:solidFill>
              <a:srgbClr val="5F7D95"/>
            </a:solidFill>
            <a:ln>
              <a:noFill/>
            </a:ln>
          </p:spPr>
        </p:sp>
      </p:grpSp>
      <p:grpSp>
        <p:nvGrpSpPr>
          <p:cNvPr id="10866" name="Google Shape;10866;p113"/>
          <p:cNvGrpSpPr/>
          <p:nvPr/>
        </p:nvGrpSpPr>
        <p:grpSpPr>
          <a:xfrm>
            <a:off x="4769687" y="3284815"/>
            <a:ext cx="344723" cy="486872"/>
            <a:chOff x="-47300587" y="123275"/>
            <a:chExt cx="190975" cy="269725"/>
          </a:xfrm>
        </p:grpSpPr>
        <p:sp>
          <p:nvSpPr>
            <p:cNvPr id="10867" name="Google Shape;10867;p113"/>
            <p:cNvSpPr/>
            <p:nvPr/>
          </p:nvSpPr>
          <p:spPr>
            <a:xfrm>
              <a:off x="-47300587" y="123275"/>
              <a:ext cx="190975" cy="269725"/>
            </a:xfrm>
            <a:custGeom>
              <a:avLst/>
              <a:gdLst/>
              <a:ahLst/>
              <a:cxnLst/>
              <a:rect l="l" t="t" r="r" b="b"/>
              <a:pathLst>
                <a:path w="7639" h="10789" extrusionOk="0">
                  <a:moveTo>
                    <a:pt x="5130" y="1283"/>
                  </a:moveTo>
                  <a:cubicBezTo>
                    <a:pt x="5659" y="1283"/>
                    <a:pt x="6050" y="1701"/>
                    <a:pt x="6050" y="2231"/>
                  </a:cubicBezTo>
                  <a:lnTo>
                    <a:pt x="6050" y="6273"/>
                  </a:lnTo>
                  <a:lnTo>
                    <a:pt x="4182" y="6273"/>
                  </a:lnTo>
                  <a:lnTo>
                    <a:pt x="4182" y="5687"/>
                  </a:lnTo>
                  <a:lnTo>
                    <a:pt x="4489" y="5687"/>
                  </a:lnTo>
                  <a:cubicBezTo>
                    <a:pt x="4684" y="5687"/>
                    <a:pt x="4823" y="5548"/>
                    <a:pt x="4823" y="5381"/>
                  </a:cubicBezTo>
                  <a:cubicBezTo>
                    <a:pt x="4823" y="5213"/>
                    <a:pt x="4684" y="5074"/>
                    <a:pt x="4489" y="5074"/>
                  </a:cubicBezTo>
                  <a:lnTo>
                    <a:pt x="4182" y="5074"/>
                  </a:lnTo>
                  <a:lnTo>
                    <a:pt x="4182" y="4433"/>
                  </a:lnTo>
                  <a:lnTo>
                    <a:pt x="4489" y="4433"/>
                  </a:lnTo>
                  <a:cubicBezTo>
                    <a:pt x="4684" y="4433"/>
                    <a:pt x="4823" y="4294"/>
                    <a:pt x="4823" y="4126"/>
                  </a:cubicBezTo>
                  <a:cubicBezTo>
                    <a:pt x="4823" y="3931"/>
                    <a:pt x="4684" y="3792"/>
                    <a:pt x="4489" y="3792"/>
                  </a:cubicBezTo>
                  <a:lnTo>
                    <a:pt x="4182" y="3792"/>
                  </a:lnTo>
                  <a:lnTo>
                    <a:pt x="4182" y="3179"/>
                  </a:lnTo>
                  <a:lnTo>
                    <a:pt x="4489" y="3179"/>
                  </a:lnTo>
                  <a:cubicBezTo>
                    <a:pt x="4684" y="3179"/>
                    <a:pt x="4823" y="3039"/>
                    <a:pt x="4823" y="2872"/>
                  </a:cubicBezTo>
                  <a:cubicBezTo>
                    <a:pt x="4823" y="2677"/>
                    <a:pt x="4684" y="2537"/>
                    <a:pt x="4489" y="2537"/>
                  </a:cubicBezTo>
                  <a:lnTo>
                    <a:pt x="4182" y="2537"/>
                  </a:lnTo>
                  <a:lnTo>
                    <a:pt x="4182" y="2231"/>
                  </a:lnTo>
                  <a:cubicBezTo>
                    <a:pt x="4182" y="1701"/>
                    <a:pt x="4600" y="1283"/>
                    <a:pt x="5130" y="1283"/>
                  </a:cubicBezTo>
                  <a:close/>
                  <a:moveTo>
                    <a:pt x="2649" y="1952"/>
                  </a:moveTo>
                  <a:cubicBezTo>
                    <a:pt x="3178" y="1952"/>
                    <a:pt x="3597" y="2370"/>
                    <a:pt x="3597" y="2900"/>
                  </a:cubicBezTo>
                  <a:lnTo>
                    <a:pt x="3597" y="6328"/>
                  </a:lnTo>
                  <a:lnTo>
                    <a:pt x="1701" y="6328"/>
                  </a:lnTo>
                  <a:lnTo>
                    <a:pt x="1701" y="2900"/>
                  </a:lnTo>
                  <a:cubicBezTo>
                    <a:pt x="1701" y="2370"/>
                    <a:pt x="2119" y="1952"/>
                    <a:pt x="2649" y="1952"/>
                  </a:cubicBezTo>
                  <a:close/>
                  <a:moveTo>
                    <a:pt x="6969" y="6942"/>
                  </a:moveTo>
                  <a:lnTo>
                    <a:pt x="6969" y="7248"/>
                  </a:lnTo>
                  <a:lnTo>
                    <a:pt x="6997" y="7248"/>
                  </a:lnTo>
                  <a:cubicBezTo>
                    <a:pt x="6997" y="7443"/>
                    <a:pt x="6858" y="7583"/>
                    <a:pt x="6691" y="7583"/>
                  </a:cubicBezTo>
                  <a:lnTo>
                    <a:pt x="1088" y="7583"/>
                  </a:lnTo>
                  <a:cubicBezTo>
                    <a:pt x="920" y="7583"/>
                    <a:pt x="781" y="7443"/>
                    <a:pt x="781" y="7248"/>
                  </a:cubicBezTo>
                  <a:lnTo>
                    <a:pt x="781" y="6942"/>
                  </a:lnTo>
                  <a:close/>
                  <a:moveTo>
                    <a:pt x="6273" y="8168"/>
                  </a:moveTo>
                  <a:lnTo>
                    <a:pt x="5827" y="10092"/>
                  </a:lnTo>
                  <a:lnTo>
                    <a:pt x="1952" y="10092"/>
                  </a:lnTo>
                  <a:lnTo>
                    <a:pt x="1506" y="8168"/>
                  </a:lnTo>
                  <a:close/>
                  <a:moveTo>
                    <a:pt x="5102" y="1"/>
                  </a:moveTo>
                  <a:cubicBezTo>
                    <a:pt x="4907" y="1"/>
                    <a:pt x="4767" y="140"/>
                    <a:pt x="4767" y="307"/>
                  </a:cubicBezTo>
                  <a:lnTo>
                    <a:pt x="4767" y="670"/>
                  </a:lnTo>
                  <a:cubicBezTo>
                    <a:pt x="4572" y="698"/>
                    <a:pt x="4405" y="781"/>
                    <a:pt x="4210" y="921"/>
                  </a:cubicBezTo>
                  <a:lnTo>
                    <a:pt x="3987" y="670"/>
                  </a:lnTo>
                  <a:cubicBezTo>
                    <a:pt x="3931" y="614"/>
                    <a:pt x="3847" y="586"/>
                    <a:pt x="3760" y="586"/>
                  </a:cubicBezTo>
                  <a:cubicBezTo>
                    <a:pt x="3673" y="586"/>
                    <a:pt x="3583" y="614"/>
                    <a:pt x="3513" y="670"/>
                  </a:cubicBezTo>
                  <a:cubicBezTo>
                    <a:pt x="3429" y="781"/>
                    <a:pt x="3429" y="976"/>
                    <a:pt x="3513" y="1116"/>
                  </a:cubicBezTo>
                  <a:lnTo>
                    <a:pt x="3764" y="1367"/>
                  </a:lnTo>
                  <a:cubicBezTo>
                    <a:pt x="3708" y="1478"/>
                    <a:pt x="3652" y="1562"/>
                    <a:pt x="3597" y="1673"/>
                  </a:cubicBezTo>
                  <a:cubicBezTo>
                    <a:pt x="3374" y="1506"/>
                    <a:pt x="3123" y="1367"/>
                    <a:pt x="2872" y="1339"/>
                  </a:cubicBezTo>
                  <a:lnTo>
                    <a:pt x="2872" y="976"/>
                  </a:lnTo>
                  <a:cubicBezTo>
                    <a:pt x="2872" y="809"/>
                    <a:pt x="2732" y="670"/>
                    <a:pt x="2537" y="670"/>
                  </a:cubicBezTo>
                  <a:cubicBezTo>
                    <a:pt x="2370" y="670"/>
                    <a:pt x="2231" y="809"/>
                    <a:pt x="2231" y="976"/>
                  </a:cubicBezTo>
                  <a:lnTo>
                    <a:pt x="2231" y="1339"/>
                  </a:lnTo>
                  <a:cubicBezTo>
                    <a:pt x="2036" y="1367"/>
                    <a:pt x="1840" y="1450"/>
                    <a:pt x="1673" y="1562"/>
                  </a:cubicBezTo>
                  <a:lnTo>
                    <a:pt x="1422" y="1339"/>
                  </a:lnTo>
                  <a:cubicBezTo>
                    <a:pt x="1380" y="1283"/>
                    <a:pt x="1304" y="1255"/>
                    <a:pt x="1220" y="1255"/>
                  </a:cubicBezTo>
                  <a:cubicBezTo>
                    <a:pt x="1137" y="1255"/>
                    <a:pt x="1046" y="1283"/>
                    <a:pt x="976" y="1339"/>
                  </a:cubicBezTo>
                  <a:cubicBezTo>
                    <a:pt x="865" y="1450"/>
                    <a:pt x="865" y="1645"/>
                    <a:pt x="976" y="1785"/>
                  </a:cubicBezTo>
                  <a:lnTo>
                    <a:pt x="1227" y="2036"/>
                  </a:lnTo>
                  <a:cubicBezTo>
                    <a:pt x="1116" y="2203"/>
                    <a:pt x="1032" y="2370"/>
                    <a:pt x="976" y="2593"/>
                  </a:cubicBezTo>
                  <a:lnTo>
                    <a:pt x="642" y="2593"/>
                  </a:lnTo>
                  <a:cubicBezTo>
                    <a:pt x="447" y="2593"/>
                    <a:pt x="307" y="2733"/>
                    <a:pt x="307" y="2900"/>
                  </a:cubicBezTo>
                  <a:cubicBezTo>
                    <a:pt x="307" y="3067"/>
                    <a:pt x="447" y="3206"/>
                    <a:pt x="642" y="3206"/>
                  </a:cubicBezTo>
                  <a:lnTo>
                    <a:pt x="948" y="3206"/>
                  </a:lnTo>
                  <a:lnTo>
                    <a:pt x="948" y="3848"/>
                  </a:lnTo>
                  <a:lnTo>
                    <a:pt x="642" y="3848"/>
                  </a:lnTo>
                  <a:cubicBezTo>
                    <a:pt x="447" y="3848"/>
                    <a:pt x="307" y="3987"/>
                    <a:pt x="307" y="4154"/>
                  </a:cubicBezTo>
                  <a:cubicBezTo>
                    <a:pt x="307" y="4321"/>
                    <a:pt x="447" y="4461"/>
                    <a:pt x="642" y="4461"/>
                  </a:cubicBezTo>
                  <a:lnTo>
                    <a:pt x="948" y="4461"/>
                  </a:lnTo>
                  <a:lnTo>
                    <a:pt x="948" y="5102"/>
                  </a:lnTo>
                  <a:lnTo>
                    <a:pt x="642" y="5102"/>
                  </a:lnTo>
                  <a:cubicBezTo>
                    <a:pt x="447" y="5102"/>
                    <a:pt x="307" y="5241"/>
                    <a:pt x="307" y="5409"/>
                  </a:cubicBezTo>
                  <a:cubicBezTo>
                    <a:pt x="307" y="5576"/>
                    <a:pt x="447" y="5715"/>
                    <a:pt x="642" y="5715"/>
                  </a:cubicBezTo>
                  <a:lnTo>
                    <a:pt x="948" y="5715"/>
                  </a:lnTo>
                  <a:lnTo>
                    <a:pt x="948" y="6356"/>
                  </a:lnTo>
                  <a:lnTo>
                    <a:pt x="307" y="6356"/>
                  </a:lnTo>
                  <a:cubicBezTo>
                    <a:pt x="140" y="6356"/>
                    <a:pt x="1" y="6496"/>
                    <a:pt x="1" y="6663"/>
                  </a:cubicBezTo>
                  <a:lnTo>
                    <a:pt x="1" y="7304"/>
                  </a:lnTo>
                  <a:cubicBezTo>
                    <a:pt x="1" y="7722"/>
                    <a:pt x="279" y="8085"/>
                    <a:pt x="697" y="8196"/>
                  </a:cubicBezTo>
                  <a:lnTo>
                    <a:pt x="1255" y="10538"/>
                  </a:lnTo>
                  <a:cubicBezTo>
                    <a:pt x="1283" y="10677"/>
                    <a:pt x="1422" y="10789"/>
                    <a:pt x="1562" y="10789"/>
                  </a:cubicBezTo>
                  <a:lnTo>
                    <a:pt x="5910" y="10789"/>
                  </a:lnTo>
                  <a:cubicBezTo>
                    <a:pt x="6050" y="10789"/>
                    <a:pt x="6217" y="10677"/>
                    <a:pt x="6245" y="10538"/>
                  </a:cubicBezTo>
                  <a:lnTo>
                    <a:pt x="6802" y="8196"/>
                  </a:lnTo>
                  <a:cubicBezTo>
                    <a:pt x="7165" y="8085"/>
                    <a:pt x="7499" y="7722"/>
                    <a:pt x="7499" y="7304"/>
                  </a:cubicBezTo>
                  <a:lnTo>
                    <a:pt x="7499" y="6663"/>
                  </a:lnTo>
                  <a:cubicBezTo>
                    <a:pt x="7638" y="6468"/>
                    <a:pt x="7499" y="6328"/>
                    <a:pt x="7332" y="6328"/>
                  </a:cubicBezTo>
                  <a:lnTo>
                    <a:pt x="6691" y="6328"/>
                  </a:lnTo>
                  <a:lnTo>
                    <a:pt x="6691" y="5074"/>
                  </a:lnTo>
                  <a:lnTo>
                    <a:pt x="6997" y="5074"/>
                  </a:lnTo>
                  <a:cubicBezTo>
                    <a:pt x="7192" y="5074"/>
                    <a:pt x="7332" y="4935"/>
                    <a:pt x="7332" y="4740"/>
                  </a:cubicBezTo>
                  <a:cubicBezTo>
                    <a:pt x="7332" y="4572"/>
                    <a:pt x="7192" y="4433"/>
                    <a:pt x="6997" y="4433"/>
                  </a:cubicBezTo>
                  <a:lnTo>
                    <a:pt x="6691" y="4433"/>
                  </a:lnTo>
                  <a:lnTo>
                    <a:pt x="6691" y="3820"/>
                  </a:lnTo>
                  <a:lnTo>
                    <a:pt x="6997" y="3820"/>
                  </a:lnTo>
                  <a:cubicBezTo>
                    <a:pt x="7192" y="3820"/>
                    <a:pt x="7332" y="3680"/>
                    <a:pt x="7332" y="3485"/>
                  </a:cubicBezTo>
                  <a:cubicBezTo>
                    <a:pt x="7332" y="3318"/>
                    <a:pt x="7192" y="3179"/>
                    <a:pt x="6997" y="3179"/>
                  </a:cubicBezTo>
                  <a:lnTo>
                    <a:pt x="6691" y="3179"/>
                  </a:lnTo>
                  <a:lnTo>
                    <a:pt x="6691" y="2537"/>
                  </a:lnTo>
                  <a:lnTo>
                    <a:pt x="6997" y="2537"/>
                  </a:lnTo>
                  <a:cubicBezTo>
                    <a:pt x="7192" y="2537"/>
                    <a:pt x="7332" y="2398"/>
                    <a:pt x="7332" y="2231"/>
                  </a:cubicBezTo>
                  <a:cubicBezTo>
                    <a:pt x="7332" y="2064"/>
                    <a:pt x="7192" y="1924"/>
                    <a:pt x="6997" y="1924"/>
                  </a:cubicBezTo>
                  <a:lnTo>
                    <a:pt x="6663" y="1924"/>
                  </a:lnTo>
                  <a:cubicBezTo>
                    <a:pt x="6635" y="1701"/>
                    <a:pt x="6551" y="1534"/>
                    <a:pt x="6412" y="1367"/>
                  </a:cubicBezTo>
                  <a:lnTo>
                    <a:pt x="6663" y="1116"/>
                  </a:lnTo>
                  <a:cubicBezTo>
                    <a:pt x="6774" y="1004"/>
                    <a:pt x="6774" y="809"/>
                    <a:pt x="6663" y="670"/>
                  </a:cubicBezTo>
                  <a:cubicBezTo>
                    <a:pt x="6607" y="614"/>
                    <a:pt x="6530" y="586"/>
                    <a:pt x="6450" y="586"/>
                  </a:cubicBezTo>
                  <a:cubicBezTo>
                    <a:pt x="6370" y="586"/>
                    <a:pt x="6286" y="614"/>
                    <a:pt x="6217" y="670"/>
                  </a:cubicBezTo>
                  <a:lnTo>
                    <a:pt x="5966" y="921"/>
                  </a:lnTo>
                  <a:cubicBezTo>
                    <a:pt x="5799" y="809"/>
                    <a:pt x="5604" y="726"/>
                    <a:pt x="5408" y="670"/>
                  </a:cubicBezTo>
                  <a:lnTo>
                    <a:pt x="5408" y="307"/>
                  </a:lnTo>
                  <a:cubicBezTo>
                    <a:pt x="5408" y="140"/>
                    <a:pt x="5269" y="1"/>
                    <a:pt x="5102"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868" name="Google Shape;10868;p113"/>
            <p:cNvSpPr/>
            <p:nvPr/>
          </p:nvSpPr>
          <p:spPr>
            <a:xfrm>
              <a:off x="-47242037" y="188100"/>
              <a:ext cx="15350" cy="31375"/>
            </a:xfrm>
            <a:custGeom>
              <a:avLst/>
              <a:gdLst/>
              <a:ahLst/>
              <a:cxnLst/>
              <a:rect l="l" t="t" r="r" b="b"/>
              <a:pathLst>
                <a:path w="614" h="1255" extrusionOk="0">
                  <a:moveTo>
                    <a:pt x="307" y="0"/>
                  </a:moveTo>
                  <a:cubicBezTo>
                    <a:pt x="140" y="0"/>
                    <a:pt x="0" y="140"/>
                    <a:pt x="0" y="307"/>
                  </a:cubicBezTo>
                  <a:lnTo>
                    <a:pt x="0" y="948"/>
                  </a:lnTo>
                  <a:cubicBezTo>
                    <a:pt x="0" y="1115"/>
                    <a:pt x="140" y="1255"/>
                    <a:pt x="307" y="1255"/>
                  </a:cubicBezTo>
                  <a:cubicBezTo>
                    <a:pt x="474" y="1255"/>
                    <a:pt x="613" y="1115"/>
                    <a:pt x="613" y="948"/>
                  </a:cubicBezTo>
                  <a:lnTo>
                    <a:pt x="613" y="307"/>
                  </a:lnTo>
                  <a:cubicBezTo>
                    <a:pt x="613" y="140"/>
                    <a:pt x="474" y="0"/>
                    <a:pt x="307"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869" name="Google Shape;10869;p113"/>
            <p:cNvSpPr/>
            <p:nvPr/>
          </p:nvSpPr>
          <p:spPr>
            <a:xfrm>
              <a:off x="-47242037" y="234775"/>
              <a:ext cx="15350" cy="31400"/>
            </a:xfrm>
            <a:custGeom>
              <a:avLst/>
              <a:gdLst/>
              <a:ahLst/>
              <a:cxnLst/>
              <a:rect l="l" t="t" r="r" b="b"/>
              <a:pathLst>
                <a:path w="614" h="1256" extrusionOk="0">
                  <a:moveTo>
                    <a:pt x="307" y="1"/>
                  </a:moveTo>
                  <a:cubicBezTo>
                    <a:pt x="140" y="1"/>
                    <a:pt x="0" y="140"/>
                    <a:pt x="0" y="335"/>
                  </a:cubicBezTo>
                  <a:lnTo>
                    <a:pt x="0" y="949"/>
                  </a:lnTo>
                  <a:cubicBezTo>
                    <a:pt x="0" y="1116"/>
                    <a:pt x="140" y="1255"/>
                    <a:pt x="307" y="1255"/>
                  </a:cubicBezTo>
                  <a:cubicBezTo>
                    <a:pt x="474" y="1255"/>
                    <a:pt x="613" y="1116"/>
                    <a:pt x="613" y="949"/>
                  </a:cubicBezTo>
                  <a:lnTo>
                    <a:pt x="613" y="335"/>
                  </a:lnTo>
                  <a:cubicBezTo>
                    <a:pt x="613" y="140"/>
                    <a:pt x="474" y="1"/>
                    <a:pt x="307"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870" name="Google Shape;10870;p113"/>
            <p:cNvSpPr/>
            <p:nvPr/>
          </p:nvSpPr>
          <p:spPr>
            <a:xfrm>
              <a:off x="-47180012" y="172075"/>
              <a:ext cx="15350" cy="31375"/>
            </a:xfrm>
            <a:custGeom>
              <a:avLst/>
              <a:gdLst/>
              <a:ahLst/>
              <a:cxnLst/>
              <a:rect l="l" t="t" r="r" b="b"/>
              <a:pathLst>
                <a:path w="614" h="1255" extrusionOk="0">
                  <a:moveTo>
                    <a:pt x="307" y="0"/>
                  </a:moveTo>
                  <a:cubicBezTo>
                    <a:pt x="139" y="0"/>
                    <a:pt x="0" y="139"/>
                    <a:pt x="0" y="335"/>
                  </a:cubicBezTo>
                  <a:lnTo>
                    <a:pt x="0" y="948"/>
                  </a:lnTo>
                  <a:cubicBezTo>
                    <a:pt x="0" y="1115"/>
                    <a:pt x="139" y="1254"/>
                    <a:pt x="307" y="1254"/>
                  </a:cubicBezTo>
                  <a:cubicBezTo>
                    <a:pt x="474" y="1254"/>
                    <a:pt x="613" y="1115"/>
                    <a:pt x="613" y="948"/>
                  </a:cubicBezTo>
                  <a:lnTo>
                    <a:pt x="613" y="335"/>
                  </a:lnTo>
                  <a:cubicBezTo>
                    <a:pt x="613" y="139"/>
                    <a:pt x="474" y="0"/>
                    <a:pt x="307"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871" name="Google Shape;10871;p113"/>
            <p:cNvSpPr/>
            <p:nvPr/>
          </p:nvSpPr>
          <p:spPr>
            <a:xfrm>
              <a:off x="-47180012" y="218050"/>
              <a:ext cx="15350" cy="32100"/>
            </a:xfrm>
            <a:custGeom>
              <a:avLst/>
              <a:gdLst/>
              <a:ahLst/>
              <a:cxnLst/>
              <a:rect l="l" t="t" r="r" b="b"/>
              <a:pathLst>
                <a:path w="614" h="1284" extrusionOk="0">
                  <a:moveTo>
                    <a:pt x="307" y="1"/>
                  </a:moveTo>
                  <a:cubicBezTo>
                    <a:pt x="139" y="1"/>
                    <a:pt x="0" y="140"/>
                    <a:pt x="0" y="335"/>
                  </a:cubicBezTo>
                  <a:lnTo>
                    <a:pt x="0" y="949"/>
                  </a:lnTo>
                  <a:cubicBezTo>
                    <a:pt x="0" y="1144"/>
                    <a:pt x="139" y="1283"/>
                    <a:pt x="307" y="1283"/>
                  </a:cubicBezTo>
                  <a:cubicBezTo>
                    <a:pt x="474" y="1283"/>
                    <a:pt x="613" y="1144"/>
                    <a:pt x="613" y="949"/>
                  </a:cubicBezTo>
                  <a:lnTo>
                    <a:pt x="613" y="335"/>
                  </a:lnTo>
                  <a:cubicBezTo>
                    <a:pt x="613" y="140"/>
                    <a:pt x="474" y="1"/>
                    <a:pt x="307"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10872" name="Google Shape;10872;p113"/>
          <p:cNvGrpSpPr/>
          <p:nvPr/>
        </p:nvGrpSpPr>
        <p:grpSpPr>
          <a:xfrm>
            <a:off x="6494384" y="2043736"/>
            <a:ext cx="456437" cy="453057"/>
            <a:chOff x="-13966675" y="1639700"/>
            <a:chExt cx="354450" cy="351825"/>
          </a:xfrm>
        </p:grpSpPr>
        <p:sp>
          <p:nvSpPr>
            <p:cNvPr id="10873" name="Google Shape;10873;p113"/>
            <p:cNvSpPr/>
            <p:nvPr/>
          </p:nvSpPr>
          <p:spPr>
            <a:xfrm>
              <a:off x="-13776875" y="1888525"/>
              <a:ext cx="104775" cy="37625"/>
            </a:xfrm>
            <a:custGeom>
              <a:avLst/>
              <a:gdLst/>
              <a:ahLst/>
              <a:cxnLst/>
              <a:rect l="l" t="t" r="r" b="b"/>
              <a:pathLst>
                <a:path w="4191" h="1505" extrusionOk="0">
                  <a:moveTo>
                    <a:pt x="442" y="0"/>
                  </a:moveTo>
                  <a:cubicBezTo>
                    <a:pt x="339" y="0"/>
                    <a:pt x="237" y="40"/>
                    <a:pt x="158" y="118"/>
                  </a:cubicBezTo>
                  <a:cubicBezTo>
                    <a:pt x="1" y="276"/>
                    <a:pt x="1" y="559"/>
                    <a:pt x="158" y="717"/>
                  </a:cubicBezTo>
                  <a:cubicBezTo>
                    <a:pt x="725" y="1253"/>
                    <a:pt x="1418" y="1505"/>
                    <a:pt x="2112" y="1505"/>
                  </a:cubicBezTo>
                  <a:cubicBezTo>
                    <a:pt x="2805" y="1505"/>
                    <a:pt x="3498" y="1221"/>
                    <a:pt x="4033" y="717"/>
                  </a:cubicBezTo>
                  <a:cubicBezTo>
                    <a:pt x="4191" y="559"/>
                    <a:pt x="4191" y="276"/>
                    <a:pt x="4033" y="118"/>
                  </a:cubicBezTo>
                  <a:cubicBezTo>
                    <a:pt x="3955" y="40"/>
                    <a:pt x="3844" y="0"/>
                    <a:pt x="3734" y="0"/>
                  </a:cubicBezTo>
                  <a:cubicBezTo>
                    <a:pt x="3624" y="0"/>
                    <a:pt x="3514" y="40"/>
                    <a:pt x="3435" y="118"/>
                  </a:cubicBezTo>
                  <a:cubicBezTo>
                    <a:pt x="3057" y="496"/>
                    <a:pt x="2568" y="685"/>
                    <a:pt x="2080" y="685"/>
                  </a:cubicBezTo>
                  <a:cubicBezTo>
                    <a:pt x="1592" y="685"/>
                    <a:pt x="1103" y="496"/>
                    <a:pt x="725" y="118"/>
                  </a:cubicBezTo>
                  <a:cubicBezTo>
                    <a:pt x="647" y="40"/>
                    <a:pt x="544" y="0"/>
                    <a:pt x="442"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874" name="Google Shape;10874;p113"/>
            <p:cNvSpPr/>
            <p:nvPr/>
          </p:nvSpPr>
          <p:spPr>
            <a:xfrm>
              <a:off x="-13966675" y="1639700"/>
              <a:ext cx="354450" cy="351825"/>
            </a:xfrm>
            <a:custGeom>
              <a:avLst/>
              <a:gdLst/>
              <a:ahLst/>
              <a:cxnLst/>
              <a:rect l="l" t="t" r="r" b="b"/>
              <a:pathLst>
                <a:path w="14178" h="14073" extrusionOk="0">
                  <a:moveTo>
                    <a:pt x="8412" y="998"/>
                  </a:moveTo>
                  <a:lnTo>
                    <a:pt x="8412" y="4085"/>
                  </a:lnTo>
                  <a:cubicBezTo>
                    <a:pt x="7467" y="3959"/>
                    <a:pt x="6585" y="3739"/>
                    <a:pt x="5671" y="3361"/>
                  </a:cubicBezTo>
                  <a:cubicBezTo>
                    <a:pt x="5625" y="3349"/>
                    <a:pt x="5574" y="3342"/>
                    <a:pt x="5523" y="3342"/>
                  </a:cubicBezTo>
                  <a:cubicBezTo>
                    <a:pt x="5434" y="3342"/>
                    <a:pt x="5341" y="3364"/>
                    <a:pt x="5261" y="3424"/>
                  </a:cubicBezTo>
                  <a:cubicBezTo>
                    <a:pt x="5167" y="3487"/>
                    <a:pt x="5072" y="3613"/>
                    <a:pt x="5072" y="3770"/>
                  </a:cubicBezTo>
                  <a:lnTo>
                    <a:pt x="5072" y="6669"/>
                  </a:lnTo>
                  <a:cubicBezTo>
                    <a:pt x="4957" y="6656"/>
                    <a:pt x="4841" y="6650"/>
                    <a:pt x="4724" y="6650"/>
                  </a:cubicBezTo>
                  <a:cubicBezTo>
                    <a:pt x="3979" y="6650"/>
                    <a:pt x="3223" y="6912"/>
                    <a:pt x="2678" y="7456"/>
                  </a:cubicBezTo>
                  <a:cubicBezTo>
                    <a:pt x="2520" y="7614"/>
                    <a:pt x="2520" y="7898"/>
                    <a:pt x="2678" y="8055"/>
                  </a:cubicBezTo>
                  <a:cubicBezTo>
                    <a:pt x="2757" y="8134"/>
                    <a:pt x="2867" y="8173"/>
                    <a:pt x="2977" y="8173"/>
                  </a:cubicBezTo>
                  <a:cubicBezTo>
                    <a:pt x="3088" y="8173"/>
                    <a:pt x="3198" y="8134"/>
                    <a:pt x="3277" y="8055"/>
                  </a:cubicBezTo>
                  <a:cubicBezTo>
                    <a:pt x="3639" y="7692"/>
                    <a:pt x="4132" y="7497"/>
                    <a:pt x="4627" y="7497"/>
                  </a:cubicBezTo>
                  <a:cubicBezTo>
                    <a:pt x="4776" y="7497"/>
                    <a:pt x="4926" y="7514"/>
                    <a:pt x="5072" y="7551"/>
                  </a:cubicBezTo>
                  <a:lnTo>
                    <a:pt x="5072" y="8654"/>
                  </a:lnTo>
                  <a:cubicBezTo>
                    <a:pt x="5072" y="9032"/>
                    <a:pt x="5104" y="9441"/>
                    <a:pt x="5198" y="9788"/>
                  </a:cubicBezTo>
                  <a:cubicBezTo>
                    <a:pt x="5041" y="9819"/>
                    <a:pt x="4852" y="9914"/>
                    <a:pt x="4631" y="9945"/>
                  </a:cubicBezTo>
                  <a:cubicBezTo>
                    <a:pt x="2489" y="9473"/>
                    <a:pt x="914" y="7551"/>
                    <a:pt x="914" y="5346"/>
                  </a:cubicBezTo>
                  <a:lnTo>
                    <a:pt x="914" y="998"/>
                  </a:lnTo>
                  <a:lnTo>
                    <a:pt x="945" y="998"/>
                  </a:lnTo>
                  <a:cubicBezTo>
                    <a:pt x="2111" y="1408"/>
                    <a:pt x="3434" y="1628"/>
                    <a:pt x="4694" y="1628"/>
                  </a:cubicBezTo>
                  <a:cubicBezTo>
                    <a:pt x="5954" y="1628"/>
                    <a:pt x="7246" y="1439"/>
                    <a:pt x="8412" y="998"/>
                  </a:cubicBezTo>
                  <a:close/>
                  <a:moveTo>
                    <a:pt x="13421" y="4369"/>
                  </a:moveTo>
                  <a:lnTo>
                    <a:pt x="13421" y="8654"/>
                  </a:lnTo>
                  <a:cubicBezTo>
                    <a:pt x="13421" y="10890"/>
                    <a:pt x="11846" y="12812"/>
                    <a:pt x="9672" y="13285"/>
                  </a:cubicBezTo>
                  <a:cubicBezTo>
                    <a:pt x="7530" y="12812"/>
                    <a:pt x="5986" y="10859"/>
                    <a:pt x="5986" y="8654"/>
                  </a:cubicBezTo>
                  <a:lnTo>
                    <a:pt x="5986" y="4369"/>
                  </a:lnTo>
                  <a:cubicBezTo>
                    <a:pt x="7215" y="4779"/>
                    <a:pt x="8475" y="4999"/>
                    <a:pt x="9672" y="4999"/>
                  </a:cubicBezTo>
                  <a:cubicBezTo>
                    <a:pt x="10932" y="4936"/>
                    <a:pt x="12192" y="4747"/>
                    <a:pt x="13421" y="4369"/>
                  </a:cubicBezTo>
                  <a:close/>
                  <a:moveTo>
                    <a:pt x="430" y="1"/>
                  </a:moveTo>
                  <a:cubicBezTo>
                    <a:pt x="348" y="1"/>
                    <a:pt x="263" y="16"/>
                    <a:pt x="189" y="53"/>
                  </a:cubicBezTo>
                  <a:cubicBezTo>
                    <a:pt x="95" y="147"/>
                    <a:pt x="0" y="273"/>
                    <a:pt x="0" y="431"/>
                  </a:cubicBezTo>
                  <a:lnTo>
                    <a:pt x="0" y="5346"/>
                  </a:lnTo>
                  <a:cubicBezTo>
                    <a:pt x="126" y="7929"/>
                    <a:pt x="2016" y="10260"/>
                    <a:pt x="4600" y="10764"/>
                  </a:cubicBezTo>
                  <a:lnTo>
                    <a:pt x="4757" y="10764"/>
                  </a:lnTo>
                  <a:cubicBezTo>
                    <a:pt x="5009" y="10733"/>
                    <a:pt x="5230" y="10670"/>
                    <a:pt x="5482" y="10575"/>
                  </a:cubicBezTo>
                  <a:cubicBezTo>
                    <a:pt x="6144" y="12340"/>
                    <a:pt x="7687" y="13726"/>
                    <a:pt x="9578" y="14072"/>
                  </a:cubicBezTo>
                  <a:lnTo>
                    <a:pt x="9735" y="14072"/>
                  </a:lnTo>
                  <a:cubicBezTo>
                    <a:pt x="12318" y="13568"/>
                    <a:pt x="14177" y="11237"/>
                    <a:pt x="14177" y="8622"/>
                  </a:cubicBezTo>
                  <a:lnTo>
                    <a:pt x="14177" y="3770"/>
                  </a:lnTo>
                  <a:cubicBezTo>
                    <a:pt x="14177" y="3644"/>
                    <a:pt x="14114" y="3487"/>
                    <a:pt x="13988" y="3424"/>
                  </a:cubicBezTo>
                  <a:cubicBezTo>
                    <a:pt x="13908" y="3364"/>
                    <a:pt x="13816" y="3342"/>
                    <a:pt x="13727" y="3342"/>
                  </a:cubicBezTo>
                  <a:cubicBezTo>
                    <a:pt x="13675" y="3342"/>
                    <a:pt x="13625" y="3349"/>
                    <a:pt x="13579" y="3361"/>
                  </a:cubicBezTo>
                  <a:cubicBezTo>
                    <a:pt x="12318" y="3896"/>
                    <a:pt x="10995" y="4117"/>
                    <a:pt x="9609" y="4117"/>
                  </a:cubicBezTo>
                  <a:lnTo>
                    <a:pt x="9231" y="4117"/>
                  </a:lnTo>
                  <a:lnTo>
                    <a:pt x="9231" y="431"/>
                  </a:lnTo>
                  <a:cubicBezTo>
                    <a:pt x="9231" y="305"/>
                    <a:pt x="9136" y="147"/>
                    <a:pt x="9010" y="53"/>
                  </a:cubicBezTo>
                  <a:cubicBezTo>
                    <a:pt x="8955" y="16"/>
                    <a:pt x="8878" y="1"/>
                    <a:pt x="8799" y="1"/>
                  </a:cubicBezTo>
                  <a:cubicBezTo>
                    <a:pt x="8742" y="1"/>
                    <a:pt x="8685" y="8"/>
                    <a:pt x="8632" y="21"/>
                  </a:cubicBezTo>
                  <a:cubicBezTo>
                    <a:pt x="7372" y="525"/>
                    <a:pt x="5986" y="777"/>
                    <a:pt x="4600" y="777"/>
                  </a:cubicBezTo>
                  <a:cubicBezTo>
                    <a:pt x="3245" y="777"/>
                    <a:pt x="1859" y="494"/>
                    <a:pt x="599" y="21"/>
                  </a:cubicBezTo>
                  <a:cubicBezTo>
                    <a:pt x="546" y="8"/>
                    <a:pt x="489" y="1"/>
                    <a:pt x="430"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875" name="Google Shape;10875;p113"/>
            <p:cNvSpPr/>
            <p:nvPr/>
          </p:nvSpPr>
          <p:spPr>
            <a:xfrm>
              <a:off x="-13923375" y="1723125"/>
              <a:ext cx="64625" cy="40925"/>
            </a:xfrm>
            <a:custGeom>
              <a:avLst/>
              <a:gdLst/>
              <a:ahLst/>
              <a:cxnLst/>
              <a:rect l="l" t="t" r="r" b="b"/>
              <a:pathLst>
                <a:path w="2585" h="1637" extrusionOk="0">
                  <a:moveTo>
                    <a:pt x="2113" y="1"/>
                  </a:moveTo>
                  <a:cubicBezTo>
                    <a:pt x="2061" y="1"/>
                    <a:pt x="2008" y="9"/>
                    <a:pt x="1954" y="24"/>
                  </a:cubicBezTo>
                  <a:lnTo>
                    <a:pt x="284" y="843"/>
                  </a:lnTo>
                  <a:cubicBezTo>
                    <a:pt x="64" y="969"/>
                    <a:pt x="1" y="1221"/>
                    <a:pt x="64" y="1410"/>
                  </a:cubicBezTo>
                  <a:cubicBezTo>
                    <a:pt x="156" y="1548"/>
                    <a:pt x="316" y="1636"/>
                    <a:pt x="469" y="1636"/>
                  </a:cubicBezTo>
                  <a:cubicBezTo>
                    <a:pt x="525" y="1636"/>
                    <a:pt x="580" y="1624"/>
                    <a:pt x="631" y="1599"/>
                  </a:cubicBezTo>
                  <a:lnTo>
                    <a:pt x="2332" y="780"/>
                  </a:lnTo>
                  <a:cubicBezTo>
                    <a:pt x="2521" y="654"/>
                    <a:pt x="2584" y="433"/>
                    <a:pt x="2521" y="244"/>
                  </a:cubicBezTo>
                  <a:cubicBezTo>
                    <a:pt x="2426" y="77"/>
                    <a:pt x="2276" y="1"/>
                    <a:pt x="2113"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876" name="Google Shape;10876;p113"/>
            <p:cNvSpPr/>
            <p:nvPr/>
          </p:nvSpPr>
          <p:spPr>
            <a:xfrm>
              <a:off x="-13798125" y="1805500"/>
              <a:ext cx="66175" cy="41575"/>
            </a:xfrm>
            <a:custGeom>
              <a:avLst/>
              <a:gdLst/>
              <a:ahLst/>
              <a:cxnLst/>
              <a:rect l="l" t="t" r="r" b="b"/>
              <a:pathLst>
                <a:path w="2647" h="1663" extrusionOk="0">
                  <a:moveTo>
                    <a:pt x="504" y="0"/>
                  </a:moveTo>
                  <a:cubicBezTo>
                    <a:pt x="350" y="0"/>
                    <a:pt x="188" y="94"/>
                    <a:pt x="95" y="257"/>
                  </a:cubicBezTo>
                  <a:cubicBezTo>
                    <a:pt x="0" y="446"/>
                    <a:pt x="95" y="667"/>
                    <a:pt x="315" y="793"/>
                  </a:cubicBezTo>
                  <a:lnTo>
                    <a:pt x="1953" y="1612"/>
                  </a:lnTo>
                  <a:cubicBezTo>
                    <a:pt x="2006" y="1647"/>
                    <a:pt x="2064" y="1663"/>
                    <a:pt x="2122" y="1663"/>
                  </a:cubicBezTo>
                  <a:cubicBezTo>
                    <a:pt x="2273" y="1663"/>
                    <a:pt x="2430" y="1559"/>
                    <a:pt x="2521" y="1423"/>
                  </a:cubicBezTo>
                  <a:cubicBezTo>
                    <a:pt x="2647" y="1234"/>
                    <a:pt x="2521" y="982"/>
                    <a:pt x="2300" y="887"/>
                  </a:cubicBezTo>
                  <a:lnTo>
                    <a:pt x="662" y="37"/>
                  </a:lnTo>
                  <a:cubicBezTo>
                    <a:pt x="612" y="12"/>
                    <a:pt x="559" y="0"/>
                    <a:pt x="504"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877" name="Google Shape;10877;p113"/>
            <p:cNvSpPr/>
            <p:nvPr/>
          </p:nvSpPr>
          <p:spPr>
            <a:xfrm>
              <a:off x="-13714650" y="1805825"/>
              <a:ext cx="63825" cy="41250"/>
            </a:xfrm>
            <a:custGeom>
              <a:avLst/>
              <a:gdLst/>
              <a:ahLst/>
              <a:cxnLst/>
              <a:rect l="l" t="t" r="r" b="b"/>
              <a:pathLst>
                <a:path w="2553" h="1650" extrusionOk="0">
                  <a:moveTo>
                    <a:pt x="2068" y="1"/>
                  </a:moveTo>
                  <a:cubicBezTo>
                    <a:pt x="2018" y="1"/>
                    <a:pt x="1968" y="9"/>
                    <a:pt x="1922" y="24"/>
                  </a:cubicBezTo>
                  <a:lnTo>
                    <a:pt x="284" y="874"/>
                  </a:lnTo>
                  <a:cubicBezTo>
                    <a:pt x="64" y="969"/>
                    <a:pt x="1" y="1221"/>
                    <a:pt x="64" y="1410"/>
                  </a:cubicBezTo>
                  <a:cubicBezTo>
                    <a:pt x="132" y="1546"/>
                    <a:pt x="298" y="1650"/>
                    <a:pt x="456" y="1650"/>
                  </a:cubicBezTo>
                  <a:cubicBezTo>
                    <a:pt x="518" y="1650"/>
                    <a:pt x="578" y="1634"/>
                    <a:pt x="631" y="1599"/>
                  </a:cubicBezTo>
                  <a:lnTo>
                    <a:pt x="2269" y="780"/>
                  </a:lnTo>
                  <a:cubicBezTo>
                    <a:pt x="2490" y="654"/>
                    <a:pt x="2553" y="433"/>
                    <a:pt x="2490" y="244"/>
                  </a:cubicBezTo>
                  <a:cubicBezTo>
                    <a:pt x="2394" y="77"/>
                    <a:pt x="2226" y="1"/>
                    <a:pt x="2068"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sp>
        <p:nvSpPr>
          <p:cNvPr id="10878" name="Google Shape;10878;p113"/>
          <p:cNvSpPr/>
          <p:nvPr/>
        </p:nvSpPr>
        <p:spPr>
          <a:xfrm>
            <a:off x="6495400" y="2586310"/>
            <a:ext cx="454409" cy="455439"/>
          </a:xfrm>
          <a:custGeom>
            <a:avLst/>
            <a:gdLst/>
            <a:ahLst/>
            <a:cxnLst/>
            <a:rect l="l" t="t" r="r" b="b"/>
            <a:pathLst>
              <a:path w="14115" h="14147" extrusionOk="0">
                <a:moveTo>
                  <a:pt x="8349" y="883"/>
                </a:moveTo>
                <a:lnTo>
                  <a:pt x="8349" y="2080"/>
                </a:lnTo>
                <a:cubicBezTo>
                  <a:pt x="7971" y="2364"/>
                  <a:pt x="7498" y="2521"/>
                  <a:pt x="7089" y="2521"/>
                </a:cubicBezTo>
                <a:cubicBezTo>
                  <a:pt x="6616" y="2521"/>
                  <a:pt x="6175" y="2364"/>
                  <a:pt x="5828" y="2080"/>
                </a:cubicBezTo>
                <a:lnTo>
                  <a:pt x="5828" y="883"/>
                </a:lnTo>
                <a:close/>
                <a:moveTo>
                  <a:pt x="4946" y="820"/>
                </a:moveTo>
                <a:lnTo>
                  <a:pt x="4946" y="2931"/>
                </a:lnTo>
                <a:cubicBezTo>
                  <a:pt x="4946" y="4380"/>
                  <a:pt x="3844" y="5609"/>
                  <a:pt x="2457" y="5798"/>
                </a:cubicBezTo>
                <a:cubicBezTo>
                  <a:pt x="2993" y="5294"/>
                  <a:pt x="3308" y="4538"/>
                  <a:pt x="3308" y="3750"/>
                </a:cubicBezTo>
                <a:lnTo>
                  <a:pt x="3308" y="2080"/>
                </a:lnTo>
                <a:cubicBezTo>
                  <a:pt x="3308" y="1860"/>
                  <a:pt x="3088" y="1671"/>
                  <a:pt x="2899" y="1671"/>
                </a:cubicBezTo>
                <a:cubicBezTo>
                  <a:pt x="2678" y="1671"/>
                  <a:pt x="2457" y="1860"/>
                  <a:pt x="2457" y="2080"/>
                </a:cubicBezTo>
                <a:lnTo>
                  <a:pt x="2457" y="3750"/>
                </a:lnTo>
                <a:cubicBezTo>
                  <a:pt x="2457" y="4727"/>
                  <a:pt x="1764" y="5609"/>
                  <a:pt x="819" y="5766"/>
                </a:cubicBezTo>
                <a:lnTo>
                  <a:pt x="819" y="820"/>
                </a:lnTo>
                <a:close/>
                <a:moveTo>
                  <a:pt x="13295" y="820"/>
                </a:moveTo>
                <a:lnTo>
                  <a:pt x="13295" y="5766"/>
                </a:lnTo>
                <a:cubicBezTo>
                  <a:pt x="12350" y="5546"/>
                  <a:pt x="11657" y="4727"/>
                  <a:pt x="11657" y="3750"/>
                </a:cubicBezTo>
                <a:lnTo>
                  <a:pt x="11657" y="2080"/>
                </a:lnTo>
                <a:cubicBezTo>
                  <a:pt x="11657" y="1860"/>
                  <a:pt x="11436" y="1671"/>
                  <a:pt x="11247" y="1671"/>
                </a:cubicBezTo>
                <a:cubicBezTo>
                  <a:pt x="11027" y="1671"/>
                  <a:pt x="10806" y="1860"/>
                  <a:pt x="10806" y="2080"/>
                </a:cubicBezTo>
                <a:lnTo>
                  <a:pt x="10806" y="3750"/>
                </a:lnTo>
                <a:cubicBezTo>
                  <a:pt x="10806" y="4538"/>
                  <a:pt x="11121" y="5294"/>
                  <a:pt x="11657" y="5798"/>
                </a:cubicBezTo>
                <a:cubicBezTo>
                  <a:pt x="10239" y="5609"/>
                  <a:pt x="9168" y="4380"/>
                  <a:pt x="9168" y="2899"/>
                </a:cubicBezTo>
                <a:lnTo>
                  <a:pt x="9168" y="820"/>
                </a:lnTo>
                <a:close/>
                <a:moveTo>
                  <a:pt x="8286" y="3025"/>
                </a:moveTo>
                <a:cubicBezTo>
                  <a:pt x="8349" y="4538"/>
                  <a:pt x="9326" y="5829"/>
                  <a:pt x="10649" y="6396"/>
                </a:cubicBezTo>
                <a:lnTo>
                  <a:pt x="9704" y="8318"/>
                </a:lnTo>
                <a:lnTo>
                  <a:pt x="4411" y="8318"/>
                </a:lnTo>
                <a:lnTo>
                  <a:pt x="3466" y="6396"/>
                </a:lnTo>
                <a:cubicBezTo>
                  <a:pt x="4757" y="5829"/>
                  <a:pt x="5734" y="4569"/>
                  <a:pt x="5765" y="3025"/>
                </a:cubicBezTo>
                <a:cubicBezTo>
                  <a:pt x="6175" y="3246"/>
                  <a:pt x="6616" y="3309"/>
                  <a:pt x="7026" y="3309"/>
                </a:cubicBezTo>
                <a:cubicBezTo>
                  <a:pt x="7467" y="3309"/>
                  <a:pt x="7908" y="3183"/>
                  <a:pt x="8286" y="3025"/>
                </a:cubicBezTo>
                <a:close/>
                <a:moveTo>
                  <a:pt x="13295" y="6617"/>
                </a:moveTo>
                <a:lnTo>
                  <a:pt x="13295" y="10555"/>
                </a:lnTo>
                <a:cubicBezTo>
                  <a:pt x="13169" y="10681"/>
                  <a:pt x="13012" y="10744"/>
                  <a:pt x="12854" y="10744"/>
                </a:cubicBezTo>
                <a:cubicBezTo>
                  <a:pt x="12665" y="10744"/>
                  <a:pt x="12508" y="10681"/>
                  <a:pt x="12382" y="10492"/>
                </a:cubicBezTo>
                <a:cubicBezTo>
                  <a:pt x="12129" y="10083"/>
                  <a:pt x="11688" y="9862"/>
                  <a:pt x="11216" y="9862"/>
                </a:cubicBezTo>
                <a:cubicBezTo>
                  <a:pt x="10743" y="9862"/>
                  <a:pt x="10302" y="10083"/>
                  <a:pt x="10019" y="10492"/>
                </a:cubicBezTo>
                <a:cubicBezTo>
                  <a:pt x="9956" y="10650"/>
                  <a:pt x="9798" y="10713"/>
                  <a:pt x="9609" y="10713"/>
                </a:cubicBezTo>
                <a:lnTo>
                  <a:pt x="9389" y="10713"/>
                </a:lnTo>
                <a:lnTo>
                  <a:pt x="11499" y="6617"/>
                </a:lnTo>
                <a:close/>
                <a:moveTo>
                  <a:pt x="2615" y="6617"/>
                </a:moveTo>
                <a:lnTo>
                  <a:pt x="4663" y="10744"/>
                </a:lnTo>
                <a:lnTo>
                  <a:pt x="4474" y="10744"/>
                </a:lnTo>
                <a:cubicBezTo>
                  <a:pt x="4316" y="10713"/>
                  <a:pt x="4159" y="10618"/>
                  <a:pt x="4033" y="10524"/>
                </a:cubicBezTo>
                <a:cubicBezTo>
                  <a:pt x="3781" y="10114"/>
                  <a:pt x="3340" y="9893"/>
                  <a:pt x="2867" y="9893"/>
                </a:cubicBezTo>
                <a:cubicBezTo>
                  <a:pt x="2394" y="9893"/>
                  <a:pt x="1953" y="10114"/>
                  <a:pt x="1670" y="10524"/>
                </a:cubicBezTo>
                <a:cubicBezTo>
                  <a:pt x="1575" y="10681"/>
                  <a:pt x="1418" y="10776"/>
                  <a:pt x="1197" y="10776"/>
                </a:cubicBezTo>
                <a:cubicBezTo>
                  <a:pt x="1040" y="10776"/>
                  <a:pt x="882" y="10713"/>
                  <a:pt x="788" y="10587"/>
                </a:cubicBezTo>
                <a:lnTo>
                  <a:pt x="788" y="6617"/>
                </a:lnTo>
                <a:close/>
                <a:moveTo>
                  <a:pt x="9263" y="9169"/>
                </a:moveTo>
                <a:lnTo>
                  <a:pt x="8412" y="10776"/>
                </a:lnTo>
                <a:cubicBezTo>
                  <a:pt x="8349" y="10933"/>
                  <a:pt x="8380" y="11154"/>
                  <a:pt x="8506" y="11248"/>
                </a:cubicBezTo>
                <a:cubicBezTo>
                  <a:pt x="8790" y="11500"/>
                  <a:pt x="9105" y="11626"/>
                  <a:pt x="9452" y="11626"/>
                </a:cubicBezTo>
                <a:cubicBezTo>
                  <a:pt x="9924" y="11626"/>
                  <a:pt x="10365" y="11374"/>
                  <a:pt x="10617" y="10996"/>
                </a:cubicBezTo>
                <a:cubicBezTo>
                  <a:pt x="10743" y="10839"/>
                  <a:pt x="10901" y="10713"/>
                  <a:pt x="11090" y="10713"/>
                </a:cubicBezTo>
                <a:cubicBezTo>
                  <a:pt x="11310" y="10713"/>
                  <a:pt x="11468" y="10776"/>
                  <a:pt x="11562" y="10996"/>
                </a:cubicBezTo>
                <a:cubicBezTo>
                  <a:pt x="11846" y="11374"/>
                  <a:pt x="12287" y="11626"/>
                  <a:pt x="12760" y="11626"/>
                </a:cubicBezTo>
                <a:cubicBezTo>
                  <a:pt x="12917" y="11626"/>
                  <a:pt x="13075" y="11563"/>
                  <a:pt x="13201" y="11532"/>
                </a:cubicBezTo>
                <a:lnTo>
                  <a:pt x="13201" y="13296"/>
                </a:lnTo>
                <a:lnTo>
                  <a:pt x="819" y="13296"/>
                </a:lnTo>
                <a:lnTo>
                  <a:pt x="819" y="11532"/>
                </a:lnTo>
                <a:cubicBezTo>
                  <a:pt x="977" y="11563"/>
                  <a:pt x="1103" y="11626"/>
                  <a:pt x="1260" y="11626"/>
                </a:cubicBezTo>
                <a:cubicBezTo>
                  <a:pt x="1733" y="11626"/>
                  <a:pt x="2142" y="11374"/>
                  <a:pt x="2426" y="10996"/>
                </a:cubicBezTo>
                <a:cubicBezTo>
                  <a:pt x="2552" y="10839"/>
                  <a:pt x="2709" y="10713"/>
                  <a:pt x="2899" y="10713"/>
                </a:cubicBezTo>
                <a:cubicBezTo>
                  <a:pt x="3088" y="10713"/>
                  <a:pt x="3245" y="10776"/>
                  <a:pt x="3371" y="10996"/>
                </a:cubicBezTo>
                <a:cubicBezTo>
                  <a:pt x="3655" y="11374"/>
                  <a:pt x="4096" y="11626"/>
                  <a:pt x="4568" y="11626"/>
                </a:cubicBezTo>
                <a:cubicBezTo>
                  <a:pt x="4915" y="11626"/>
                  <a:pt x="5261" y="11500"/>
                  <a:pt x="5513" y="11248"/>
                </a:cubicBezTo>
                <a:cubicBezTo>
                  <a:pt x="5608" y="11154"/>
                  <a:pt x="5671" y="10933"/>
                  <a:pt x="5576" y="10776"/>
                </a:cubicBezTo>
                <a:lnTo>
                  <a:pt x="4757" y="9169"/>
                </a:lnTo>
                <a:close/>
                <a:moveTo>
                  <a:pt x="410" y="1"/>
                </a:moveTo>
                <a:cubicBezTo>
                  <a:pt x="189" y="1"/>
                  <a:pt x="0" y="190"/>
                  <a:pt x="0" y="442"/>
                </a:cubicBezTo>
                <a:lnTo>
                  <a:pt x="0" y="13706"/>
                </a:lnTo>
                <a:cubicBezTo>
                  <a:pt x="0" y="13958"/>
                  <a:pt x="189" y="14147"/>
                  <a:pt x="410" y="14147"/>
                </a:cubicBezTo>
                <a:lnTo>
                  <a:pt x="13705" y="14147"/>
                </a:lnTo>
                <a:cubicBezTo>
                  <a:pt x="13925" y="14147"/>
                  <a:pt x="14114" y="13958"/>
                  <a:pt x="14114" y="13706"/>
                </a:cubicBezTo>
                <a:lnTo>
                  <a:pt x="14114" y="442"/>
                </a:lnTo>
                <a:cubicBezTo>
                  <a:pt x="14114" y="190"/>
                  <a:pt x="13925" y="1"/>
                  <a:pt x="13705"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879" name="Google Shape;10879;p113"/>
          <p:cNvSpPr/>
          <p:nvPr/>
        </p:nvSpPr>
        <p:spPr>
          <a:xfrm>
            <a:off x="6576027" y="3132612"/>
            <a:ext cx="293152" cy="452381"/>
          </a:xfrm>
          <a:custGeom>
            <a:avLst/>
            <a:gdLst/>
            <a:ahLst/>
            <a:cxnLst/>
            <a:rect l="l" t="t" r="r" b="b"/>
            <a:pathLst>
              <a:path w="9106" h="14052" extrusionOk="0">
                <a:moveTo>
                  <a:pt x="1230" y="4096"/>
                </a:moveTo>
                <a:cubicBezTo>
                  <a:pt x="1450" y="4096"/>
                  <a:pt x="1608" y="4285"/>
                  <a:pt x="1608" y="4474"/>
                </a:cubicBezTo>
                <a:cubicBezTo>
                  <a:pt x="1608" y="4726"/>
                  <a:pt x="1419" y="4915"/>
                  <a:pt x="1230" y="4915"/>
                </a:cubicBezTo>
                <a:cubicBezTo>
                  <a:pt x="978" y="4915"/>
                  <a:pt x="789" y="4726"/>
                  <a:pt x="789" y="4474"/>
                </a:cubicBezTo>
                <a:cubicBezTo>
                  <a:pt x="820" y="4285"/>
                  <a:pt x="978" y="4096"/>
                  <a:pt x="1230" y="4096"/>
                </a:cubicBezTo>
                <a:close/>
                <a:moveTo>
                  <a:pt x="7846" y="4096"/>
                </a:moveTo>
                <a:cubicBezTo>
                  <a:pt x="8066" y="4096"/>
                  <a:pt x="8255" y="4285"/>
                  <a:pt x="8255" y="4474"/>
                </a:cubicBezTo>
                <a:cubicBezTo>
                  <a:pt x="8255" y="4726"/>
                  <a:pt x="8066" y="4915"/>
                  <a:pt x="7846" y="4915"/>
                </a:cubicBezTo>
                <a:cubicBezTo>
                  <a:pt x="7594" y="4915"/>
                  <a:pt x="7436" y="4726"/>
                  <a:pt x="7436" y="4474"/>
                </a:cubicBezTo>
                <a:cubicBezTo>
                  <a:pt x="7436" y="4285"/>
                  <a:pt x="7594" y="4096"/>
                  <a:pt x="7846" y="4096"/>
                </a:cubicBezTo>
                <a:close/>
                <a:moveTo>
                  <a:pt x="4538" y="788"/>
                </a:moveTo>
                <a:cubicBezTo>
                  <a:pt x="5514" y="788"/>
                  <a:pt x="6365" y="1481"/>
                  <a:pt x="6523" y="2427"/>
                </a:cubicBezTo>
                <a:lnTo>
                  <a:pt x="5357" y="2427"/>
                </a:lnTo>
                <a:cubicBezTo>
                  <a:pt x="5105" y="2427"/>
                  <a:pt x="4916" y="2616"/>
                  <a:pt x="4916" y="2868"/>
                </a:cubicBezTo>
                <a:cubicBezTo>
                  <a:pt x="4916" y="3088"/>
                  <a:pt x="5105" y="3309"/>
                  <a:pt x="5357" y="3309"/>
                </a:cubicBezTo>
                <a:lnTo>
                  <a:pt x="6617" y="3309"/>
                </a:lnTo>
                <a:lnTo>
                  <a:pt x="6617" y="4128"/>
                </a:lnTo>
                <a:lnTo>
                  <a:pt x="5357" y="4128"/>
                </a:lnTo>
                <a:cubicBezTo>
                  <a:pt x="5105" y="4128"/>
                  <a:pt x="4916" y="4317"/>
                  <a:pt x="4916" y="4506"/>
                </a:cubicBezTo>
                <a:cubicBezTo>
                  <a:pt x="4916" y="4758"/>
                  <a:pt x="5105" y="4947"/>
                  <a:pt x="5357" y="4947"/>
                </a:cubicBezTo>
                <a:lnTo>
                  <a:pt x="6617" y="4947"/>
                </a:lnTo>
                <a:lnTo>
                  <a:pt x="6617" y="5766"/>
                </a:lnTo>
                <a:lnTo>
                  <a:pt x="5357" y="5766"/>
                </a:lnTo>
                <a:cubicBezTo>
                  <a:pt x="5105" y="5766"/>
                  <a:pt x="4916" y="5987"/>
                  <a:pt x="4916" y="6207"/>
                </a:cubicBezTo>
                <a:cubicBezTo>
                  <a:pt x="4916" y="6459"/>
                  <a:pt x="5105" y="6617"/>
                  <a:pt x="5357" y="6617"/>
                </a:cubicBezTo>
                <a:lnTo>
                  <a:pt x="6523" y="6617"/>
                </a:lnTo>
                <a:cubicBezTo>
                  <a:pt x="6333" y="7562"/>
                  <a:pt x="5514" y="8255"/>
                  <a:pt x="4538" y="8255"/>
                </a:cubicBezTo>
                <a:cubicBezTo>
                  <a:pt x="3530" y="8255"/>
                  <a:pt x="2679" y="7562"/>
                  <a:pt x="2521" y="6617"/>
                </a:cubicBezTo>
                <a:lnTo>
                  <a:pt x="3687" y="6617"/>
                </a:lnTo>
                <a:cubicBezTo>
                  <a:pt x="3939" y="6617"/>
                  <a:pt x="4128" y="6396"/>
                  <a:pt x="4128" y="6207"/>
                </a:cubicBezTo>
                <a:cubicBezTo>
                  <a:pt x="4128" y="5987"/>
                  <a:pt x="3939" y="5766"/>
                  <a:pt x="3687" y="5766"/>
                </a:cubicBezTo>
                <a:lnTo>
                  <a:pt x="2490" y="5766"/>
                </a:lnTo>
                <a:lnTo>
                  <a:pt x="2490" y="4947"/>
                </a:lnTo>
                <a:lnTo>
                  <a:pt x="3687" y="4947"/>
                </a:lnTo>
                <a:cubicBezTo>
                  <a:pt x="3939" y="4947"/>
                  <a:pt x="4128" y="4758"/>
                  <a:pt x="4128" y="4506"/>
                </a:cubicBezTo>
                <a:cubicBezTo>
                  <a:pt x="4128" y="4285"/>
                  <a:pt x="3939" y="4128"/>
                  <a:pt x="3687" y="4128"/>
                </a:cubicBezTo>
                <a:lnTo>
                  <a:pt x="2490" y="4128"/>
                </a:lnTo>
                <a:lnTo>
                  <a:pt x="2490" y="3277"/>
                </a:lnTo>
                <a:lnTo>
                  <a:pt x="3687" y="3277"/>
                </a:lnTo>
                <a:cubicBezTo>
                  <a:pt x="3939" y="3277"/>
                  <a:pt x="4128" y="3057"/>
                  <a:pt x="4128" y="2836"/>
                </a:cubicBezTo>
                <a:cubicBezTo>
                  <a:pt x="4128" y="2584"/>
                  <a:pt x="3939" y="2395"/>
                  <a:pt x="3687" y="2395"/>
                </a:cubicBezTo>
                <a:lnTo>
                  <a:pt x="2521" y="2395"/>
                </a:lnTo>
                <a:cubicBezTo>
                  <a:pt x="2710" y="1481"/>
                  <a:pt x="3530" y="788"/>
                  <a:pt x="4538" y="788"/>
                </a:cubicBezTo>
                <a:close/>
                <a:moveTo>
                  <a:pt x="8255" y="5671"/>
                </a:moveTo>
                <a:lnTo>
                  <a:pt x="8255" y="6144"/>
                </a:lnTo>
                <a:cubicBezTo>
                  <a:pt x="8255" y="8066"/>
                  <a:pt x="6806" y="9641"/>
                  <a:pt x="4947" y="9830"/>
                </a:cubicBezTo>
                <a:lnTo>
                  <a:pt x="4947" y="9011"/>
                </a:lnTo>
                <a:cubicBezTo>
                  <a:pt x="6365" y="8822"/>
                  <a:pt x="7436" y="7593"/>
                  <a:pt x="7436" y="6144"/>
                </a:cubicBezTo>
                <a:lnTo>
                  <a:pt x="7436" y="5671"/>
                </a:lnTo>
                <a:cubicBezTo>
                  <a:pt x="7562" y="5703"/>
                  <a:pt x="7720" y="5735"/>
                  <a:pt x="7846" y="5735"/>
                </a:cubicBezTo>
                <a:cubicBezTo>
                  <a:pt x="7940" y="5735"/>
                  <a:pt x="8098" y="5703"/>
                  <a:pt x="8255" y="5671"/>
                </a:cubicBezTo>
                <a:close/>
                <a:moveTo>
                  <a:pt x="1639" y="5703"/>
                </a:moveTo>
                <a:lnTo>
                  <a:pt x="1639" y="6176"/>
                </a:lnTo>
                <a:cubicBezTo>
                  <a:pt x="1639" y="7625"/>
                  <a:pt x="2710" y="8853"/>
                  <a:pt x="4128" y="9043"/>
                </a:cubicBezTo>
                <a:lnTo>
                  <a:pt x="4128" y="9893"/>
                </a:lnTo>
                <a:cubicBezTo>
                  <a:pt x="2238" y="9641"/>
                  <a:pt x="820" y="8066"/>
                  <a:pt x="820" y="6176"/>
                </a:cubicBezTo>
                <a:lnTo>
                  <a:pt x="820" y="5703"/>
                </a:lnTo>
                <a:cubicBezTo>
                  <a:pt x="946" y="5735"/>
                  <a:pt x="1104" y="5798"/>
                  <a:pt x="1261" y="5798"/>
                </a:cubicBezTo>
                <a:cubicBezTo>
                  <a:pt x="1419" y="5798"/>
                  <a:pt x="1545" y="5735"/>
                  <a:pt x="1639" y="5703"/>
                </a:cubicBezTo>
                <a:close/>
                <a:moveTo>
                  <a:pt x="4569" y="12414"/>
                </a:moveTo>
                <a:cubicBezTo>
                  <a:pt x="5073" y="12414"/>
                  <a:pt x="5546" y="12760"/>
                  <a:pt x="5703" y="13233"/>
                </a:cubicBezTo>
                <a:lnTo>
                  <a:pt x="3372" y="13233"/>
                </a:lnTo>
                <a:cubicBezTo>
                  <a:pt x="3530" y="12760"/>
                  <a:pt x="4002" y="12414"/>
                  <a:pt x="4569" y="12414"/>
                </a:cubicBezTo>
                <a:close/>
                <a:moveTo>
                  <a:pt x="4569" y="1"/>
                </a:moveTo>
                <a:cubicBezTo>
                  <a:pt x="2962" y="1"/>
                  <a:pt x="1639" y="1292"/>
                  <a:pt x="1639" y="2868"/>
                </a:cubicBezTo>
                <a:lnTo>
                  <a:pt x="1639" y="3340"/>
                </a:lnTo>
                <a:cubicBezTo>
                  <a:pt x="1545" y="3309"/>
                  <a:pt x="1387" y="3277"/>
                  <a:pt x="1261" y="3277"/>
                </a:cubicBezTo>
                <a:cubicBezTo>
                  <a:pt x="600" y="3277"/>
                  <a:pt x="1" y="3813"/>
                  <a:pt x="1" y="4474"/>
                </a:cubicBezTo>
                <a:lnTo>
                  <a:pt x="1" y="6144"/>
                </a:lnTo>
                <a:cubicBezTo>
                  <a:pt x="1" y="8507"/>
                  <a:pt x="1797" y="10460"/>
                  <a:pt x="4128" y="10681"/>
                </a:cubicBezTo>
                <a:lnTo>
                  <a:pt x="4128" y="11626"/>
                </a:lnTo>
                <a:cubicBezTo>
                  <a:pt x="3183" y="11815"/>
                  <a:pt x="2490" y="12634"/>
                  <a:pt x="2490" y="13611"/>
                </a:cubicBezTo>
                <a:cubicBezTo>
                  <a:pt x="2490" y="13863"/>
                  <a:pt x="2679" y="14052"/>
                  <a:pt x="2868" y="14052"/>
                </a:cubicBezTo>
                <a:lnTo>
                  <a:pt x="6176" y="14052"/>
                </a:lnTo>
                <a:cubicBezTo>
                  <a:pt x="6428" y="14052"/>
                  <a:pt x="6617" y="13863"/>
                  <a:pt x="6617" y="13611"/>
                </a:cubicBezTo>
                <a:cubicBezTo>
                  <a:pt x="6617" y="12634"/>
                  <a:pt x="5892" y="11783"/>
                  <a:pt x="4947" y="11626"/>
                </a:cubicBezTo>
                <a:lnTo>
                  <a:pt x="4947" y="10681"/>
                </a:lnTo>
                <a:cubicBezTo>
                  <a:pt x="7247" y="10460"/>
                  <a:pt x="9106" y="8538"/>
                  <a:pt x="9106" y="6176"/>
                </a:cubicBezTo>
                <a:lnTo>
                  <a:pt x="9106" y="4537"/>
                </a:lnTo>
                <a:cubicBezTo>
                  <a:pt x="9106" y="3844"/>
                  <a:pt x="8539" y="3309"/>
                  <a:pt x="7846" y="3309"/>
                </a:cubicBezTo>
                <a:cubicBezTo>
                  <a:pt x="7688" y="3309"/>
                  <a:pt x="7562" y="3340"/>
                  <a:pt x="7436" y="3372"/>
                </a:cubicBezTo>
                <a:lnTo>
                  <a:pt x="7436" y="2868"/>
                </a:lnTo>
                <a:cubicBezTo>
                  <a:pt x="7436" y="1261"/>
                  <a:pt x="6144" y="1"/>
                  <a:pt x="4569"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nvGrpSpPr>
          <p:cNvPr id="10880" name="Google Shape;10880;p113"/>
          <p:cNvGrpSpPr/>
          <p:nvPr/>
        </p:nvGrpSpPr>
        <p:grpSpPr>
          <a:xfrm>
            <a:off x="8889703" y="2043316"/>
            <a:ext cx="453379" cy="453893"/>
            <a:chOff x="-12199250" y="1662675"/>
            <a:chExt cx="352075" cy="352475"/>
          </a:xfrm>
        </p:grpSpPr>
        <p:sp>
          <p:nvSpPr>
            <p:cNvPr id="10881" name="Google Shape;10881;p113"/>
            <p:cNvSpPr/>
            <p:nvPr/>
          </p:nvSpPr>
          <p:spPr>
            <a:xfrm>
              <a:off x="-12004725" y="1710325"/>
              <a:ext cx="116600" cy="76425"/>
            </a:xfrm>
            <a:custGeom>
              <a:avLst/>
              <a:gdLst/>
              <a:ahLst/>
              <a:cxnLst/>
              <a:rect l="l" t="t" r="r" b="b"/>
              <a:pathLst>
                <a:path w="4664" h="3057" extrusionOk="0">
                  <a:moveTo>
                    <a:pt x="2395" y="788"/>
                  </a:moveTo>
                  <a:cubicBezTo>
                    <a:pt x="2679" y="788"/>
                    <a:pt x="2962" y="819"/>
                    <a:pt x="3246" y="914"/>
                  </a:cubicBezTo>
                  <a:cubicBezTo>
                    <a:pt x="3435" y="945"/>
                    <a:pt x="3624" y="1008"/>
                    <a:pt x="3813" y="1008"/>
                  </a:cubicBezTo>
                  <a:cubicBezTo>
                    <a:pt x="3781" y="1702"/>
                    <a:pt x="3246" y="2206"/>
                    <a:pt x="2616" y="2206"/>
                  </a:cubicBezTo>
                  <a:lnTo>
                    <a:pt x="1986" y="2206"/>
                  </a:lnTo>
                  <a:cubicBezTo>
                    <a:pt x="1608" y="2206"/>
                    <a:pt x="1261" y="2017"/>
                    <a:pt x="1104" y="1702"/>
                  </a:cubicBezTo>
                  <a:lnTo>
                    <a:pt x="946" y="1386"/>
                  </a:lnTo>
                  <a:lnTo>
                    <a:pt x="1041" y="1292"/>
                  </a:lnTo>
                  <a:cubicBezTo>
                    <a:pt x="1450" y="851"/>
                    <a:pt x="2017" y="788"/>
                    <a:pt x="2395" y="788"/>
                  </a:cubicBezTo>
                  <a:close/>
                  <a:moveTo>
                    <a:pt x="2458" y="0"/>
                  </a:moveTo>
                  <a:cubicBezTo>
                    <a:pt x="2017" y="0"/>
                    <a:pt x="1167" y="63"/>
                    <a:pt x="473" y="756"/>
                  </a:cubicBezTo>
                  <a:lnTo>
                    <a:pt x="158" y="1071"/>
                  </a:lnTo>
                  <a:cubicBezTo>
                    <a:pt x="64" y="1166"/>
                    <a:pt x="1" y="1386"/>
                    <a:pt x="95" y="1544"/>
                  </a:cubicBezTo>
                  <a:lnTo>
                    <a:pt x="379" y="2080"/>
                  </a:lnTo>
                  <a:cubicBezTo>
                    <a:pt x="631" y="2678"/>
                    <a:pt x="1261" y="3056"/>
                    <a:pt x="1954" y="3056"/>
                  </a:cubicBezTo>
                  <a:lnTo>
                    <a:pt x="2553" y="3056"/>
                  </a:lnTo>
                  <a:cubicBezTo>
                    <a:pt x="3718" y="3056"/>
                    <a:pt x="4664" y="2111"/>
                    <a:pt x="4664" y="977"/>
                  </a:cubicBezTo>
                  <a:lnTo>
                    <a:pt x="4664" y="662"/>
                  </a:lnTo>
                  <a:cubicBezTo>
                    <a:pt x="4664" y="441"/>
                    <a:pt x="4506" y="284"/>
                    <a:pt x="4254" y="284"/>
                  </a:cubicBezTo>
                  <a:cubicBezTo>
                    <a:pt x="3971" y="284"/>
                    <a:pt x="3718" y="221"/>
                    <a:pt x="3466" y="158"/>
                  </a:cubicBezTo>
                  <a:cubicBezTo>
                    <a:pt x="3120" y="32"/>
                    <a:pt x="2773" y="0"/>
                    <a:pt x="2458"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882" name="Google Shape;10882;p113"/>
            <p:cNvSpPr/>
            <p:nvPr/>
          </p:nvSpPr>
          <p:spPr>
            <a:xfrm>
              <a:off x="-12158300" y="1709525"/>
              <a:ext cx="116600" cy="77225"/>
            </a:xfrm>
            <a:custGeom>
              <a:avLst/>
              <a:gdLst/>
              <a:ahLst/>
              <a:cxnLst/>
              <a:rect l="l" t="t" r="r" b="b"/>
              <a:pathLst>
                <a:path w="4664" h="3089" extrusionOk="0">
                  <a:moveTo>
                    <a:pt x="2237" y="820"/>
                  </a:moveTo>
                  <a:cubicBezTo>
                    <a:pt x="2647" y="820"/>
                    <a:pt x="3182" y="883"/>
                    <a:pt x="3592" y="1324"/>
                  </a:cubicBezTo>
                  <a:lnTo>
                    <a:pt x="3718" y="1450"/>
                  </a:lnTo>
                  <a:lnTo>
                    <a:pt x="3560" y="1765"/>
                  </a:lnTo>
                  <a:cubicBezTo>
                    <a:pt x="3403" y="2080"/>
                    <a:pt x="3088" y="2269"/>
                    <a:pt x="2710" y="2269"/>
                  </a:cubicBezTo>
                  <a:lnTo>
                    <a:pt x="2048" y="2269"/>
                  </a:lnTo>
                  <a:cubicBezTo>
                    <a:pt x="1387" y="2269"/>
                    <a:pt x="820" y="1765"/>
                    <a:pt x="820" y="1072"/>
                  </a:cubicBezTo>
                  <a:cubicBezTo>
                    <a:pt x="1040" y="1040"/>
                    <a:pt x="1229" y="977"/>
                    <a:pt x="1418" y="946"/>
                  </a:cubicBezTo>
                  <a:cubicBezTo>
                    <a:pt x="1702" y="851"/>
                    <a:pt x="1985" y="820"/>
                    <a:pt x="2237" y="820"/>
                  </a:cubicBezTo>
                  <a:close/>
                  <a:moveTo>
                    <a:pt x="2237" y="1"/>
                  </a:moveTo>
                  <a:cubicBezTo>
                    <a:pt x="1891" y="1"/>
                    <a:pt x="1513" y="32"/>
                    <a:pt x="1198" y="158"/>
                  </a:cubicBezTo>
                  <a:cubicBezTo>
                    <a:pt x="914" y="221"/>
                    <a:pt x="662" y="253"/>
                    <a:pt x="410" y="253"/>
                  </a:cubicBezTo>
                  <a:cubicBezTo>
                    <a:pt x="158" y="253"/>
                    <a:pt x="0" y="473"/>
                    <a:pt x="0" y="662"/>
                  </a:cubicBezTo>
                  <a:lnTo>
                    <a:pt x="0" y="1009"/>
                  </a:lnTo>
                  <a:cubicBezTo>
                    <a:pt x="0" y="2143"/>
                    <a:pt x="914" y="3088"/>
                    <a:pt x="2048" y="3088"/>
                  </a:cubicBezTo>
                  <a:lnTo>
                    <a:pt x="2710" y="3088"/>
                  </a:lnTo>
                  <a:cubicBezTo>
                    <a:pt x="3403" y="3088"/>
                    <a:pt x="3970" y="2742"/>
                    <a:pt x="4285" y="2112"/>
                  </a:cubicBezTo>
                  <a:lnTo>
                    <a:pt x="4569" y="1513"/>
                  </a:lnTo>
                  <a:cubicBezTo>
                    <a:pt x="4663" y="1355"/>
                    <a:pt x="4600" y="1166"/>
                    <a:pt x="4506" y="1040"/>
                  </a:cubicBezTo>
                  <a:lnTo>
                    <a:pt x="4191" y="725"/>
                  </a:lnTo>
                  <a:cubicBezTo>
                    <a:pt x="3560" y="95"/>
                    <a:pt x="2804" y="1"/>
                    <a:pt x="2237"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883" name="Google Shape;10883;p113"/>
            <p:cNvSpPr/>
            <p:nvPr/>
          </p:nvSpPr>
          <p:spPr>
            <a:xfrm>
              <a:off x="-12199250" y="1662675"/>
              <a:ext cx="352075" cy="352475"/>
            </a:xfrm>
            <a:custGeom>
              <a:avLst/>
              <a:gdLst/>
              <a:ahLst/>
              <a:cxnLst/>
              <a:rect l="l" t="t" r="r" b="b"/>
              <a:pathLst>
                <a:path w="14083" h="14099" extrusionOk="0">
                  <a:moveTo>
                    <a:pt x="3916" y="1048"/>
                  </a:moveTo>
                  <a:cubicBezTo>
                    <a:pt x="4902" y="1048"/>
                    <a:pt x="5796" y="1401"/>
                    <a:pt x="6459" y="2064"/>
                  </a:cubicBezTo>
                  <a:lnTo>
                    <a:pt x="6774" y="2379"/>
                  </a:lnTo>
                  <a:cubicBezTo>
                    <a:pt x="6837" y="2442"/>
                    <a:pt x="6963" y="2505"/>
                    <a:pt x="7026" y="2505"/>
                  </a:cubicBezTo>
                  <a:cubicBezTo>
                    <a:pt x="7152" y="2505"/>
                    <a:pt x="7246" y="2442"/>
                    <a:pt x="7309" y="2379"/>
                  </a:cubicBezTo>
                  <a:lnTo>
                    <a:pt x="7624" y="2064"/>
                  </a:lnTo>
                  <a:cubicBezTo>
                    <a:pt x="8288" y="1400"/>
                    <a:pt x="9186" y="1062"/>
                    <a:pt x="10163" y="1062"/>
                  </a:cubicBezTo>
                  <a:cubicBezTo>
                    <a:pt x="10577" y="1062"/>
                    <a:pt x="11005" y="1123"/>
                    <a:pt x="11436" y="1245"/>
                  </a:cubicBezTo>
                  <a:cubicBezTo>
                    <a:pt x="11656" y="1302"/>
                    <a:pt x="11880" y="1331"/>
                    <a:pt x="12105" y="1331"/>
                  </a:cubicBezTo>
                  <a:cubicBezTo>
                    <a:pt x="12493" y="1331"/>
                    <a:pt x="12885" y="1247"/>
                    <a:pt x="13264" y="1087"/>
                  </a:cubicBezTo>
                  <a:lnTo>
                    <a:pt x="13264" y="2883"/>
                  </a:lnTo>
                  <a:cubicBezTo>
                    <a:pt x="13264" y="4490"/>
                    <a:pt x="11972" y="5750"/>
                    <a:pt x="10397" y="5750"/>
                  </a:cubicBezTo>
                  <a:lnTo>
                    <a:pt x="9767" y="5750"/>
                  </a:lnTo>
                  <a:cubicBezTo>
                    <a:pt x="8759" y="5750"/>
                    <a:pt x="7876" y="5214"/>
                    <a:pt x="7435" y="4332"/>
                  </a:cubicBezTo>
                  <a:cubicBezTo>
                    <a:pt x="7341" y="4175"/>
                    <a:pt x="7246" y="4112"/>
                    <a:pt x="7089" y="4112"/>
                  </a:cubicBezTo>
                  <a:cubicBezTo>
                    <a:pt x="6931" y="4112"/>
                    <a:pt x="6774" y="4175"/>
                    <a:pt x="6711" y="4332"/>
                  </a:cubicBezTo>
                  <a:cubicBezTo>
                    <a:pt x="6301" y="5214"/>
                    <a:pt x="5388" y="5750"/>
                    <a:pt x="4411" y="5750"/>
                  </a:cubicBezTo>
                  <a:lnTo>
                    <a:pt x="3718" y="5750"/>
                  </a:lnTo>
                  <a:cubicBezTo>
                    <a:pt x="2111" y="5750"/>
                    <a:pt x="851" y="4458"/>
                    <a:pt x="851" y="2883"/>
                  </a:cubicBezTo>
                  <a:lnTo>
                    <a:pt x="851" y="1102"/>
                  </a:lnTo>
                  <a:lnTo>
                    <a:pt x="851" y="1102"/>
                  </a:lnTo>
                  <a:cubicBezTo>
                    <a:pt x="1182" y="1252"/>
                    <a:pt x="1548" y="1331"/>
                    <a:pt x="1926" y="1331"/>
                  </a:cubicBezTo>
                  <a:cubicBezTo>
                    <a:pt x="2153" y="1331"/>
                    <a:pt x="2384" y="1302"/>
                    <a:pt x="2615" y="1245"/>
                  </a:cubicBezTo>
                  <a:cubicBezTo>
                    <a:pt x="3058" y="1113"/>
                    <a:pt x="3495" y="1048"/>
                    <a:pt x="3916" y="1048"/>
                  </a:cubicBezTo>
                  <a:close/>
                  <a:moveTo>
                    <a:pt x="819" y="5214"/>
                  </a:moveTo>
                  <a:cubicBezTo>
                    <a:pt x="1071" y="5529"/>
                    <a:pt x="1323" y="5750"/>
                    <a:pt x="1638" y="6002"/>
                  </a:cubicBezTo>
                  <a:lnTo>
                    <a:pt x="1638" y="6065"/>
                  </a:lnTo>
                  <a:lnTo>
                    <a:pt x="1638" y="10791"/>
                  </a:lnTo>
                  <a:lnTo>
                    <a:pt x="819" y="10791"/>
                  </a:lnTo>
                  <a:lnTo>
                    <a:pt x="819" y="5214"/>
                  </a:lnTo>
                  <a:close/>
                  <a:moveTo>
                    <a:pt x="1607" y="11641"/>
                  </a:moveTo>
                  <a:lnTo>
                    <a:pt x="1607" y="12838"/>
                  </a:lnTo>
                  <a:cubicBezTo>
                    <a:pt x="1638" y="13090"/>
                    <a:pt x="1449" y="13279"/>
                    <a:pt x="1197" y="13279"/>
                  </a:cubicBezTo>
                  <a:cubicBezTo>
                    <a:pt x="977" y="13279"/>
                    <a:pt x="788" y="13090"/>
                    <a:pt x="788" y="12838"/>
                  </a:cubicBezTo>
                  <a:lnTo>
                    <a:pt x="788" y="11641"/>
                  </a:lnTo>
                  <a:close/>
                  <a:moveTo>
                    <a:pt x="13689" y="0"/>
                  </a:moveTo>
                  <a:cubicBezTo>
                    <a:pt x="13618" y="0"/>
                    <a:pt x="13547" y="16"/>
                    <a:pt x="13484" y="47"/>
                  </a:cubicBezTo>
                  <a:lnTo>
                    <a:pt x="12949" y="331"/>
                  </a:lnTo>
                  <a:cubicBezTo>
                    <a:pt x="12686" y="452"/>
                    <a:pt x="12424" y="509"/>
                    <a:pt x="12153" y="509"/>
                  </a:cubicBezTo>
                  <a:cubicBezTo>
                    <a:pt x="12001" y="509"/>
                    <a:pt x="11847" y="491"/>
                    <a:pt x="11689" y="457"/>
                  </a:cubicBezTo>
                  <a:cubicBezTo>
                    <a:pt x="11200" y="307"/>
                    <a:pt x="10699" y="235"/>
                    <a:pt x="10208" y="235"/>
                  </a:cubicBezTo>
                  <a:cubicBezTo>
                    <a:pt x="9876" y="235"/>
                    <a:pt x="9549" y="268"/>
                    <a:pt x="9231" y="331"/>
                  </a:cubicBezTo>
                  <a:cubicBezTo>
                    <a:pt x="8412" y="489"/>
                    <a:pt x="7656" y="867"/>
                    <a:pt x="7026" y="1497"/>
                  </a:cubicBezTo>
                  <a:cubicBezTo>
                    <a:pt x="6396" y="867"/>
                    <a:pt x="5671" y="489"/>
                    <a:pt x="4820" y="331"/>
                  </a:cubicBezTo>
                  <a:cubicBezTo>
                    <a:pt x="4503" y="268"/>
                    <a:pt x="4180" y="235"/>
                    <a:pt x="3855" y="235"/>
                  </a:cubicBezTo>
                  <a:cubicBezTo>
                    <a:pt x="3372" y="235"/>
                    <a:pt x="2883" y="307"/>
                    <a:pt x="2395" y="457"/>
                  </a:cubicBezTo>
                  <a:cubicBezTo>
                    <a:pt x="2236" y="491"/>
                    <a:pt x="2078" y="509"/>
                    <a:pt x="1923" y="509"/>
                  </a:cubicBezTo>
                  <a:cubicBezTo>
                    <a:pt x="1645" y="509"/>
                    <a:pt x="1377" y="452"/>
                    <a:pt x="1134" y="331"/>
                  </a:cubicBezTo>
                  <a:lnTo>
                    <a:pt x="567" y="47"/>
                  </a:lnTo>
                  <a:cubicBezTo>
                    <a:pt x="527" y="21"/>
                    <a:pt x="476" y="11"/>
                    <a:pt x="421" y="11"/>
                  </a:cubicBezTo>
                  <a:cubicBezTo>
                    <a:pt x="345" y="11"/>
                    <a:pt x="262" y="29"/>
                    <a:pt x="189" y="47"/>
                  </a:cubicBezTo>
                  <a:cubicBezTo>
                    <a:pt x="63" y="142"/>
                    <a:pt x="0" y="237"/>
                    <a:pt x="0" y="394"/>
                  </a:cubicBezTo>
                  <a:lnTo>
                    <a:pt x="0" y="12838"/>
                  </a:lnTo>
                  <a:cubicBezTo>
                    <a:pt x="0" y="13563"/>
                    <a:pt x="536" y="14099"/>
                    <a:pt x="1197" y="14099"/>
                  </a:cubicBezTo>
                  <a:cubicBezTo>
                    <a:pt x="1890" y="14099"/>
                    <a:pt x="2458" y="13563"/>
                    <a:pt x="2458" y="12838"/>
                  </a:cubicBezTo>
                  <a:lnTo>
                    <a:pt x="2458" y="6380"/>
                  </a:lnTo>
                  <a:cubicBezTo>
                    <a:pt x="2867" y="6506"/>
                    <a:pt x="3245" y="6600"/>
                    <a:pt x="3686" y="6600"/>
                  </a:cubicBezTo>
                  <a:lnTo>
                    <a:pt x="4348" y="6600"/>
                  </a:lnTo>
                  <a:cubicBezTo>
                    <a:pt x="4978" y="6600"/>
                    <a:pt x="5608" y="6443"/>
                    <a:pt x="6144" y="6065"/>
                  </a:cubicBezTo>
                  <a:cubicBezTo>
                    <a:pt x="6490" y="5876"/>
                    <a:pt x="6774" y="5592"/>
                    <a:pt x="7026" y="5277"/>
                  </a:cubicBezTo>
                  <a:cubicBezTo>
                    <a:pt x="7656" y="6065"/>
                    <a:pt x="8696" y="6600"/>
                    <a:pt x="9767" y="6600"/>
                  </a:cubicBezTo>
                  <a:lnTo>
                    <a:pt x="10397" y="6600"/>
                  </a:lnTo>
                  <a:cubicBezTo>
                    <a:pt x="12445" y="6600"/>
                    <a:pt x="14083" y="4931"/>
                    <a:pt x="14083" y="2883"/>
                  </a:cubicBezTo>
                  <a:lnTo>
                    <a:pt x="14083" y="394"/>
                  </a:lnTo>
                  <a:cubicBezTo>
                    <a:pt x="14083" y="237"/>
                    <a:pt x="14020" y="142"/>
                    <a:pt x="13894" y="47"/>
                  </a:cubicBezTo>
                  <a:cubicBezTo>
                    <a:pt x="13831" y="16"/>
                    <a:pt x="13760" y="0"/>
                    <a:pt x="13689"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10884" name="Google Shape;10884;p113"/>
          <p:cNvGrpSpPr/>
          <p:nvPr/>
        </p:nvGrpSpPr>
        <p:grpSpPr>
          <a:xfrm>
            <a:off x="8888174" y="2585806"/>
            <a:ext cx="456437" cy="456437"/>
            <a:chOff x="-12199250" y="2096250"/>
            <a:chExt cx="354450" cy="354450"/>
          </a:xfrm>
        </p:grpSpPr>
        <p:sp>
          <p:nvSpPr>
            <p:cNvPr id="10885" name="Google Shape;10885;p113"/>
            <p:cNvSpPr/>
            <p:nvPr/>
          </p:nvSpPr>
          <p:spPr>
            <a:xfrm>
              <a:off x="-12199250" y="2096250"/>
              <a:ext cx="354450" cy="354450"/>
            </a:xfrm>
            <a:custGeom>
              <a:avLst/>
              <a:gdLst/>
              <a:ahLst/>
              <a:cxnLst/>
              <a:rect l="l" t="t" r="r" b="b"/>
              <a:pathLst>
                <a:path w="14178" h="14178" extrusionOk="0">
                  <a:moveTo>
                    <a:pt x="8507" y="851"/>
                  </a:moveTo>
                  <a:lnTo>
                    <a:pt x="9609" y="2553"/>
                  </a:lnTo>
                  <a:lnTo>
                    <a:pt x="4505" y="2553"/>
                  </a:lnTo>
                  <a:lnTo>
                    <a:pt x="5608" y="851"/>
                  </a:lnTo>
                  <a:close/>
                  <a:moveTo>
                    <a:pt x="4442" y="3340"/>
                  </a:moveTo>
                  <a:cubicBezTo>
                    <a:pt x="4001" y="3655"/>
                    <a:pt x="3655" y="4002"/>
                    <a:pt x="3340" y="4443"/>
                  </a:cubicBezTo>
                  <a:lnTo>
                    <a:pt x="3340" y="3718"/>
                  </a:lnTo>
                  <a:cubicBezTo>
                    <a:pt x="3308" y="3529"/>
                    <a:pt x="3497" y="3340"/>
                    <a:pt x="3718" y="3340"/>
                  </a:cubicBezTo>
                  <a:close/>
                  <a:moveTo>
                    <a:pt x="10334" y="3340"/>
                  </a:moveTo>
                  <a:cubicBezTo>
                    <a:pt x="10586" y="3340"/>
                    <a:pt x="10775" y="3529"/>
                    <a:pt x="10775" y="3781"/>
                  </a:cubicBezTo>
                  <a:lnTo>
                    <a:pt x="10775" y="4443"/>
                  </a:lnTo>
                  <a:lnTo>
                    <a:pt x="10743" y="4443"/>
                  </a:lnTo>
                  <a:cubicBezTo>
                    <a:pt x="10428" y="4002"/>
                    <a:pt x="10082" y="3655"/>
                    <a:pt x="9641" y="3340"/>
                  </a:cubicBezTo>
                  <a:close/>
                  <a:moveTo>
                    <a:pt x="2521" y="4506"/>
                  </a:moveTo>
                  <a:lnTo>
                    <a:pt x="2521" y="9610"/>
                  </a:lnTo>
                  <a:lnTo>
                    <a:pt x="819" y="8507"/>
                  </a:lnTo>
                  <a:lnTo>
                    <a:pt x="819" y="5640"/>
                  </a:lnTo>
                  <a:lnTo>
                    <a:pt x="2521" y="4506"/>
                  </a:lnTo>
                  <a:close/>
                  <a:moveTo>
                    <a:pt x="11562" y="4537"/>
                  </a:moveTo>
                  <a:lnTo>
                    <a:pt x="13264" y="5640"/>
                  </a:lnTo>
                  <a:lnTo>
                    <a:pt x="13264" y="8507"/>
                  </a:lnTo>
                  <a:lnTo>
                    <a:pt x="11562" y="9610"/>
                  </a:lnTo>
                  <a:lnTo>
                    <a:pt x="11562" y="4537"/>
                  </a:lnTo>
                  <a:close/>
                  <a:moveTo>
                    <a:pt x="3308" y="9673"/>
                  </a:moveTo>
                  <a:cubicBezTo>
                    <a:pt x="3623" y="10114"/>
                    <a:pt x="3970" y="10460"/>
                    <a:pt x="4411" y="10775"/>
                  </a:cubicBezTo>
                  <a:lnTo>
                    <a:pt x="3686" y="10775"/>
                  </a:lnTo>
                  <a:cubicBezTo>
                    <a:pt x="3466" y="10775"/>
                    <a:pt x="3245" y="10586"/>
                    <a:pt x="3245" y="10366"/>
                  </a:cubicBezTo>
                  <a:lnTo>
                    <a:pt x="3245" y="9673"/>
                  </a:lnTo>
                  <a:close/>
                  <a:moveTo>
                    <a:pt x="7026" y="3340"/>
                  </a:moveTo>
                  <a:cubicBezTo>
                    <a:pt x="9074" y="3340"/>
                    <a:pt x="10743" y="4978"/>
                    <a:pt x="10743" y="7089"/>
                  </a:cubicBezTo>
                  <a:cubicBezTo>
                    <a:pt x="10743" y="9137"/>
                    <a:pt x="9074" y="10775"/>
                    <a:pt x="7026" y="10775"/>
                  </a:cubicBezTo>
                  <a:cubicBezTo>
                    <a:pt x="5009" y="10775"/>
                    <a:pt x="3308" y="9137"/>
                    <a:pt x="3308" y="7089"/>
                  </a:cubicBezTo>
                  <a:cubicBezTo>
                    <a:pt x="3308" y="5041"/>
                    <a:pt x="4946" y="3340"/>
                    <a:pt x="7026" y="3340"/>
                  </a:cubicBezTo>
                  <a:close/>
                  <a:moveTo>
                    <a:pt x="10743" y="9673"/>
                  </a:moveTo>
                  <a:lnTo>
                    <a:pt x="10743" y="10397"/>
                  </a:lnTo>
                  <a:cubicBezTo>
                    <a:pt x="10743" y="10618"/>
                    <a:pt x="10586" y="10775"/>
                    <a:pt x="10334" y="10775"/>
                  </a:cubicBezTo>
                  <a:lnTo>
                    <a:pt x="9641" y="10775"/>
                  </a:lnTo>
                  <a:cubicBezTo>
                    <a:pt x="10082" y="10460"/>
                    <a:pt x="10428" y="10114"/>
                    <a:pt x="10743" y="9673"/>
                  </a:cubicBezTo>
                  <a:close/>
                  <a:moveTo>
                    <a:pt x="9578" y="11594"/>
                  </a:moveTo>
                  <a:lnTo>
                    <a:pt x="8443" y="13296"/>
                  </a:lnTo>
                  <a:lnTo>
                    <a:pt x="5577" y="13296"/>
                  </a:lnTo>
                  <a:lnTo>
                    <a:pt x="4474" y="11594"/>
                  </a:lnTo>
                  <a:close/>
                  <a:moveTo>
                    <a:pt x="5419" y="1"/>
                  </a:moveTo>
                  <a:cubicBezTo>
                    <a:pt x="5261" y="1"/>
                    <a:pt x="5167" y="64"/>
                    <a:pt x="5072" y="190"/>
                  </a:cubicBezTo>
                  <a:lnTo>
                    <a:pt x="3529" y="2553"/>
                  </a:lnTo>
                  <a:cubicBezTo>
                    <a:pt x="3025" y="2616"/>
                    <a:pt x="2678" y="3025"/>
                    <a:pt x="2552" y="3529"/>
                  </a:cubicBezTo>
                  <a:lnTo>
                    <a:pt x="189" y="5073"/>
                  </a:lnTo>
                  <a:cubicBezTo>
                    <a:pt x="63" y="5136"/>
                    <a:pt x="0" y="5262"/>
                    <a:pt x="0" y="5419"/>
                  </a:cubicBezTo>
                  <a:lnTo>
                    <a:pt x="0" y="8727"/>
                  </a:lnTo>
                  <a:cubicBezTo>
                    <a:pt x="0" y="8853"/>
                    <a:pt x="63" y="9011"/>
                    <a:pt x="189" y="9105"/>
                  </a:cubicBezTo>
                  <a:lnTo>
                    <a:pt x="2552" y="10618"/>
                  </a:lnTo>
                  <a:cubicBezTo>
                    <a:pt x="2647" y="11153"/>
                    <a:pt x="3025" y="11500"/>
                    <a:pt x="3529" y="11626"/>
                  </a:cubicBezTo>
                  <a:lnTo>
                    <a:pt x="5072" y="13989"/>
                  </a:lnTo>
                  <a:cubicBezTo>
                    <a:pt x="5167" y="14083"/>
                    <a:pt x="5261" y="14178"/>
                    <a:pt x="5419" y="14178"/>
                  </a:cubicBezTo>
                  <a:lnTo>
                    <a:pt x="8727" y="14178"/>
                  </a:lnTo>
                  <a:cubicBezTo>
                    <a:pt x="8885" y="14178"/>
                    <a:pt x="9011" y="14083"/>
                    <a:pt x="9105" y="13989"/>
                  </a:cubicBezTo>
                  <a:lnTo>
                    <a:pt x="10617" y="11626"/>
                  </a:lnTo>
                  <a:cubicBezTo>
                    <a:pt x="11153" y="11531"/>
                    <a:pt x="11499" y="11153"/>
                    <a:pt x="11626" y="10618"/>
                  </a:cubicBezTo>
                  <a:lnTo>
                    <a:pt x="13988" y="9105"/>
                  </a:lnTo>
                  <a:cubicBezTo>
                    <a:pt x="14083" y="9011"/>
                    <a:pt x="14177" y="8885"/>
                    <a:pt x="14177" y="8727"/>
                  </a:cubicBezTo>
                  <a:lnTo>
                    <a:pt x="14177" y="5419"/>
                  </a:lnTo>
                  <a:cubicBezTo>
                    <a:pt x="14177" y="5262"/>
                    <a:pt x="14083" y="5167"/>
                    <a:pt x="13988" y="5073"/>
                  </a:cubicBezTo>
                  <a:lnTo>
                    <a:pt x="11626" y="3529"/>
                  </a:lnTo>
                  <a:cubicBezTo>
                    <a:pt x="11531" y="3025"/>
                    <a:pt x="11153" y="2679"/>
                    <a:pt x="10617" y="2553"/>
                  </a:cubicBezTo>
                  <a:lnTo>
                    <a:pt x="9105" y="190"/>
                  </a:lnTo>
                  <a:cubicBezTo>
                    <a:pt x="9011" y="64"/>
                    <a:pt x="8885" y="1"/>
                    <a:pt x="8727"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886" name="Google Shape;10886;p113"/>
            <p:cNvSpPr/>
            <p:nvPr/>
          </p:nvSpPr>
          <p:spPr>
            <a:xfrm>
              <a:off x="-12096075" y="2200225"/>
              <a:ext cx="144950" cy="144950"/>
            </a:xfrm>
            <a:custGeom>
              <a:avLst/>
              <a:gdLst/>
              <a:ahLst/>
              <a:cxnLst/>
              <a:rect l="l" t="t" r="r" b="b"/>
              <a:pathLst>
                <a:path w="5798" h="5798" extrusionOk="0">
                  <a:moveTo>
                    <a:pt x="2899" y="851"/>
                  </a:moveTo>
                  <a:cubicBezTo>
                    <a:pt x="4064" y="851"/>
                    <a:pt x="5010" y="1796"/>
                    <a:pt x="5010" y="2930"/>
                  </a:cubicBezTo>
                  <a:cubicBezTo>
                    <a:pt x="5010" y="4064"/>
                    <a:pt x="4064" y="5010"/>
                    <a:pt x="2899" y="5010"/>
                  </a:cubicBezTo>
                  <a:cubicBezTo>
                    <a:pt x="1765" y="5010"/>
                    <a:pt x="819" y="4064"/>
                    <a:pt x="819" y="2930"/>
                  </a:cubicBezTo>
                  <a:cubicBezTo>
                    <a:pt x="819" y="1796"/>
                    <a:pt x="1765" y="851"/>
                    <a:pt x="2899" y="851"/>
                  </a:cubicBezTo>
                  <a:close/>
                  <a:moveTo>
                    <a:pt x="2899" y="0"/>
                  </a:moveTo>
                  <a:cubicBezTo>
                    <a:pt x="1292" y="0"/>
                    <a:pt x="0" y="1323"/>
                    <a:pt x="0" y="2930"/>
                  </a:cubicBezTo>
                  <a:cubicBezTo>
                    <a:pt x="0" y="4505"/>
                    <a:pt x="1292" y="5797"/>
                    <a:pt x="2899" y="5797"/>
                  </a:cubicBezTo>
                  <a:cubicBezTo>
                    <a:pt x="4537" y="5797"/>
                    <a:pt x="5797" y="4505"/>
                    <a:pt x="5797" y="2930"/>
                  </a:cubicBezTo>
                  <a:cubicBezTo>
                    <a:pt x="5797" y="1323"/>
                    <a:pt x="4474" y="0"/>
                    <a:pt x="2899"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10887" name="Google Shape;10887;p113"/>
          <p:cNvGrpSpPr/>
          <p:nvPr/>
        </p:nvGrpSpPr>
        <p:grpSpPr>
          <a:xfrm>
            <a:off x="8889703" y="3131078"/>
            <a:ext cx="453379" cy="455439"/>
            <a:chOff x="-12199250" y="2530225"/>
            <a:chExt cx="352075" cy="353675"/>
          </a:xfrm>
        </p:grpSpPr>
        <p:sp>
          <p:nvSpPr>
            <p:cNvPr id="10888" name="Google Shape;10888;p113"/>
            <p:cNvSpPr/>
            <p:nvPr/>
          </p:nvSpPr>
          <p:spPr>
            <a:xfrm>
              <a:off x="-12055900" y="2530225"/>
              <a:ext cx="63025" cy="62250"/>
            </a:xfrm>
            <a:custGeom>
              <a:avLst/>
              <a:gdLst/>
              <a:ahLst/>
              <a:cxnLst/>
              <a:rect l="l" t="t" r="r" b="b"/>
              <a:pathLst>
                <a:path w="2521" h="2490" extrusionOk="0">
                  <a:moveTo>
                    <a:pt x="1292" y="883"/>
                  </a:moveTo>
                  <a:cubicBezTo>
                    <a:pt x="1512" y="883"/>
                    <a:pt x="1733" y="1072"/>
                    <a:pt x="1733" y="1292"/>
                  </a:cubicBezTo>
                  <a:cubicBezTo>
                    <a:pt x="1701" y="1513"/>
                    <a:pt x="1544" y="1702"/>
                    <a:pt x="1292" y="1702"/>
                  </a:cubicBezTo>
                  <a:cubicBezTo>
                    <a:pt x="1071" y="1702"/>
                    <a:pt x="914" y="1513"/>
                    <a:pt x="914" y="1292"/>
                  </a:cubicBezTo>
                  <a:cubicBezTo>
                    <a:pt x="914" y="1072"/>
                    <a:pt x="1103" y="883"/>
                    <a:pt x="1292" y="883"/>
                  </a:cubicBezTo>
                  <a:close/>
                  <a:moveTo>
                    <a:pt x="1260" y="1"/>
                  </a:moveTo>
                  <a:cubicBezTo>
                    <a:pt x="567" y="1"/>
                    <a:pt x="0" y="568"/>
                    <a:pt x="0" y="1261"/>
                  </a:cubicBezTo>
                  <a:cubicBezTo>
                    <a:pt x="0" y="1923"/>
                    <a:pt x="567" y="2490"/>
                    <a:pt x="1260" y="2490"/>
                  </a:cubicBezTo>
                  <a:cubicBezTo>
                    <a:pt x="1985" y="2490"/>
                    <a:pt x="2520" y="1923"/>
                    <a:pt x="2520" y="1261"/>
                  </a:cubicBezTo>
                  <a:cubicBezTo>
                    <a:pt x="2520" y="599"/>
                    <a:pt x="1985" y="1"/>
                    <a:pt x="1260"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889" name="Google Shape;10889;p113"/>
            <p:cNvSpPr/>
            <p:nvPr/>
          </p:nvSpPr>
          <p:spPr>
            <a:xfrm>
              <a:off x="-12116550" y="2592450"/>
              <a:ext cx="185900" cy="291450"/>
            </a:xfrm>
            <a:custGeom>
              <a:avLst/>
              <a:gdLst/>
              <a:ahLst/>
              <a:cxnLst/>
              <a:rect l="l" t="t" r="r" b="b"/>
              <a:pathLst>
                <a:path w="7436" h="11658" extrusionOk="0">
                  <a:moveTo>
                    <a:pt x="5135" y="851"/>
                  </a:moveTo>
                  <a:cubicBezTo>
                    <a:pt x="5388" y="1324"/>
                    <a:pt x="5419" y="1891"/>
                    <a:pt x="5230" y="2395"/>
                  </a:cubicBezTo>
                  <a:lnTo>
                    <a:pt x="3938" y="1765"/>
                  </a:lnTo>
                  <a:cubicBezTo>
                    <a:pt x="3875" y="1749"/>
                    <a:pt x="3812" y="1741"/>
                    <a:pt x="3749" y="1741"/>
                  </a:cubicBezTo>
                  <a:cubicBezTo>
                    <a:pt x="3686" y="1741"/>
                    <a:pt x="3623" y="1749"/>
                    <a:pt x="3560" y="1765"/>
                  </a:cubicBezTo>
                  <a:lnTo>
                    <a:pt x="2269" y="2395"/>
                  </a:lnTo>
                  <a:cubicBezTo>
                    <a:pt x="2048" y="1891"/>
                    <a:pt x="2080" y="1324"/>
                    <a:pt x="2300" y="851"/>
                  </a:cubicBezTo>
                  <a:close/>
                  <a:moveTo>
                    <a:pt x="4159" y="2742"/>
                  </a:moveTo>
                  <a:lnTo>
                    <a:pt x="4946" y="3151"/>
                  </a:lnTo>
                  <a:lnTo>
                    <a:pt x="4253" y="7530"/>
                  </a:lnTo>
                  <a:lnTo>
                    <a:pt x="3308" y="7530"/>
                  </a:lnTo>
                  <a:lnTo>
                    <a:pt x="2552" y="3151"/>
                  </a:lnTo>
                  <a:lnTo>
                    <a:pt x="3340" y="2742"/>
                  </a:lnTo>
                  <a:lnTo>
                    <a:pt x="3340" y="4569"/>
                  </a:lnTo>
                  <a:cubicBezTo>
                    <a:pt x="3340" y="4789"/>
                    <a:pt x="3529" y="5010"/>
                    <a:pt x="3718" y="5010"/>
                  </a:cubicBezTo>
                  <a:cubicBezTo>
                    <a:pt x="3970" y="5010"/>
                    <a:pt x="4159" y="4789"/>
                    <a:pt x="4159" y="4569"/>
                  </a:cubicBezTo>
                  <a:lnTo>
                    <a:pt x="4159" y="2742"/>
                  </a:lnTo>
                  <a:close/>
                  <a:moveTo>
                    <a:pt x="5388" y="8318"/>
                  </a:moveTo>
                  <a:cubicBezTo>
                    <a:pt x="5608" y="8318"/>
                    <a:pt x="5766" y="8507"/>
                    <a:pt x="5766" y="8727"/>
                  </a:cubicBezTo>
                  <a:lnTo>
                    <a:pt x="5766" y="9169"/>
                  </a:lnTo>
                  <a:lnTo>
                    <a:pt x="1638" y="9169"/>
                  </a:lnTo>
                  <a:lnTo>
                    <a:pt x="1638" y="8727"/>
                  </a:lnTo>
                  <a:cubicBezTo>
                    <a:pt x="1638" y="8507"/>
                    <a:pt x="1827" y="8318"/>
                    <a:pt x="2080" y="8318"/>
                  </a:cubicBezTo>
                  <a:close/>
                  <a:moveTo>
                    <a:pt x="6207" y="9956"/>
                  </a:moveTo>
                  <a:cubicBezTo>
                    <a:pt x="6459" y="9956"/>
                    <a:pt x="6616" y="10145"/>
                    <a:pt x="6616" y="10397"/>
                  </a:cubicBezTo>
                  <a:lnTo>
                    <a:pt x="6616" y="10838"/>
                  </a:lnTo>
                  <a:lnTo>
                    <a:pt x="819" y="10838"/>
                  </a:lnTo>
                  <a:lnTo>
                    <a:pt x="819" y="10397"/>
                  </a:lnTo>
                  <a:cubicBezTo>
                    <a:pt x="819" y="10145"/>
                    <a:pt x="1008" y="9956"/>
                    <a:pt x="1260" y="9956"/>
                  </a:cubicBezTo>
                  <a:close/>
                  <a:moveTo>
                    <a:pt x="2080" y="1"/>
                  </a:moveTo>
                  <a:cubicBezTo>
                    <a:pt x="1922" y="1"/>
                    <a:pt x="1796" y="64"/>
                    <a:pt x="1733" y="190"/>
                  </a:cubicBezTo>
                  <a:cubicBezTo>
                    <a:pt x="1134" y="1040"/>
                    <a:pt x="1134" y="2143"/>
                    <a:pt x="1670" y="3057"/>
                  </a:cubicBezTo>
                  <a:lnTo>
                    <a:pt x="2426" y="7530"/>
                  </a:lnTo>
                  <a:lnTo>
                    <a:pt x="2080" y="7530"/>
                  </a:lnTo>
                  <a:cubicBezTo>
                    <a:pt x="1418" y="7530"/>
                    <a:pt x="819" y="8066"/>
                    <a:pt x="819" y="8759"/>
                  </a:cubicBezTo>
                  <a:lnTo>
                    <a:pt x="819" y="9232"/>
                  </a:lnTo>
                  <a:cubicBezTo>
                    <a:pt x="347" y="9389"/>
                    <a:pt x="0" y="9862"/>
                    <a:pt x="0" y="10429"/>
                  </a:cubicBezTo>
                  <a:lnTo>
                    <a:pt x="0" y="11248"/>
                  </a:lnTo>
                  <a:cubicBezTo>
                    <a:pt x="0" y="11500"/>
                    <a:pt x="189" y="11657"/>
                    <a:pt x="378" y="11657"/>
                  </a:cubicBezTo>
                  <a:lnTo>
                    <a:pt x="6994" y="11657"/>
                  </a:lnTo>
                  <a:cubicBezTo>
                    <a:pt x="7246" y="11657"/>
                    <a:pt x="7435" y="11437"/>
                    <a:pt x="7435" y="11248"/>
                  </a:cubicBezTo>
                  <a:lnTo>
                    <a:pt x="7435" y="10429"/>
                  </a:lnTo>
                  <a:cubicBezTo>
                    <a:pt x="7435" y="9862"/>
                    <a:pt x="7089" y="9452"/>
                    <a:pt x="6616" y="9232"/>
                  </a:cubicBezTo>
                  <a:lnTo>
                    <a:pt x="6616" y="8759"/>
                  </a:lnTo>
                  <a:cubicBezTo>
                    <a:pt x="6616" y="8066"/>
                    <a:pt x="6049" y="7530"/>
                    <a:pt x="5388" y="7530"/>
                  </a:cubicBezTo>
                  <a:lnTo>
                    <a:pt x="5041" y="7530"/>
                  </a:lnTo>
                  <a:lnTo>
                    <a:pt x="5766" y="3057"/>
                  </a:lnTo>
                  <a:cubicBezTo>
                    <a:pt x="6333" y="2206"/>
                    <a:pt x="6301" y="1072"/>
                    <a:pt x="5734" y="190"/>
                  </a:cubicBezTo>
                  <a:cubicBezTo>
                    <a:pt x="5671" y="64"/>
                    <a:pt x="5545" y="1"/>
                    <a:pt x="5388"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890" name="Google Shape;10890;p113"/>
            <p:cNvSpPr/>
            <p:nvPr/>
          </p:nvSpPr>
          <p:spPr>
            <a:xfrm>
              <a:off x="-11950375" y="2633400"/>
              <a:ext cx="103200" cy="102425"/>
            </a:xfrm>
            <a:custGeom>
              <a:avLst/>
              <a:gdLst/>
              <a:ahLst/>
              <a:cxnLst/>
              <a:rect l="l" t="t" r="r" b="b"/>
              <a:pathLst>
                <a:path w="4128" h="4097" extrusionOk="0">
                  <a:moveTo>
                    <a:pt x="2017" y="1324"/>
                  </a:moveTo>
                  <a:lnTo>
                    <a:pt x="2206" y="1671"/>
                  </a:lnTo>
                  <a:cubicBezTo>
                    <a:pt x="2238" y="1734"/>
                    <a:pt x="2332" y="1828"/>
                    <a:pt x="2395" y="1860"/>
                  </a:cubicBezTo>
                  <a:lnTo>
                    <a:pt x="2742" y="2049"/>
                  </a:lnTo>
                  <a:lnTo>
                    <a:pt x="2395" y="2269"/>
                  </a:lnTo>
                  <a:cubicBezTo>
                    <a:pt x="2332" y="2301"/>
                    <a:pt x="2238" y="2364"/>
                    <a:pt x="2206" y="2458"/>
                  </a:cubicBezTo>
                  <a:lnTo>
                    <a:pt x="2017" y="2805"/>
                  </a:lnTo>
                  <a:lnTo>
                    <a:pt x="1797" y="2458"/>
                  </a:lnTo>
                  <a:cubicBezTo>
                    <a:pt x="1765" y="2364"/>
                    <a:pt x="1702" y="2301"/>
                    <a:pt x="1607" y="2269"/>
                  </a:cubicBezTo>
                  <a:lnTo>
                    <a:pt x="1261" y="2049"/>
                  </a:lnTo>
                  <a:lnTo>
                    <a:pt x="1607" y="1860"/>
                  </a:lnTo>
                  <a:cubicBezTo>
                    <a:pt x="1702" y="1828"/>
                    <a:pt x="1765" y="1734"/>
                    <a:pt x="1797" y="1671"/>
                  </a:cubicBezTo>
                  <a:lnTo>
                    <a:pt x="2017" y="1324"/>
                  </a:lnTo>
                  <a:close/>
                  <a:moveTo>
                    <a:pt x="2049" y="1"/>
                  </a:moveTo>
                  <a:cubicBezTo>
                    <a:pt x="1891" y="1"/>
                    <a:pt x="1734" y="95"/>
                    <a:pt x="1702" y="253"/>
                  </a:cubicBezTo>
                  <a:lnTo>
                    <a:pt x="1229" y="1230"/>
                  </a:lnTo>
                  <a:lnTo>
                    <a:pt x="221" y="1702"/>
                  </a:lnTo>
                  <a:cubicBezTo>
                    <a:pt x="64" y="1797"/>
                    <a:pt x="1" y="1891"/>
                    <a:pt x="1" y="2049"/>
                  </a:cubicBezTo>
                  <a:cubicBezTo>
                    <a:pt x="1" y="2206"/>
                    <a:pt x="64" y="2364"/>
                    <a:pt x="221" y="2427"/>
                  </a:cubicBezTo>
                  <a:lnTo>
                    <a:pt x="1229" y="2899"/>
                  </a:lnTo>
                  <a:lnTo>
                    <a:pt x="1702" y="3876"/>
                  </a:lnTo>
                  <a:cubicBezTo>
                    <a:pt x="1765" y="4034"/>
                    <a:pt x="1891" y="4097"/>
                    <a:pt x="2049" y="4097"/>
                  </a:cubicBezTo>
                  <a:cubicBezTo>
                    <a:pt x="2206" y="4097"/>
                    <a:pt x="2364" y="4034"/>
                    <a:pt x="2395" y="3876"/>
                  </a:cubicBezTo>
                  <a:lnTo>
                    <a:pt x="2868" y="2899"/>
                  </a:lnTo>
                  <a:lnTo>
                    <a:pt x="3907" y="2427"/>
                  </a:lnTo>
                  <a:cubicBezTo>
                    <a:pt x="4065" y="2332"/>
                    <a:pt x="4128" y="2206"/>
                    <a:pt x="4128" y="2049"/>
                  </a:cubicBezTo>
                  <a:cubicBezTo>
                    <a:pt x="4128" y="1891"/>
                    <a:pt x="4065" y="1734"/>
                    <a:pt x="3907" y="1702"/>
                  </a:cubicBezTo>
                  <a:lnTo>
                    <a:pt x="2868" y="1230"/>
                  </a:lnTo>
                  <a:lnTo>
                    <a:pt x="2395" y="253"/>
                  </a:lnTo>
                  <a:cubicBezTo>
                    <a:pt x="2332" y="95"/>
                    <a:pt x="2206" y="1"/>
                    <a:pt x="2049"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891" name="Google Shape;10891;p113"/>
            <p:cNvSpPr/>
            <p:nvPr/>
          </p:nvSpPr>
          <p:spPr>
            <a:xfrm>
              <a:off x="-12199250" y="2633400"/>
              <a:ext cx="103200" cy="102425"/>
            </a:xfrm>
            <a:custGeom>
              <a:avLst/>
              <a:gdLst/>
              <a:ahLst/>
              <a:cxnLst/>
              <a:rect l="l" t="t" r="r" b="b"/>
              <a:pathLst>
                <a:path w="4128" h="4097" extrusionOk="0">
                  <a:moveTo>
                    <a:pt x="2048" y="1324"/>
                  </a:moveTo>
                  <a:lnTo>
                    <a:pt x="2237" y="1671"/>
                  </a:lnTo>
                  <a:cubicBezTo>
                    <a:pt x="2269" y="1734"/>
                    <a:pt x="2363" y="1828"/>
                    <a:pt x="2426" y="1860"/>
                  </a:cubicBezTo>
                  <a:lnTo>
                    <a:pt x="2804" y="2049"/>
                  </a:lnTo>
                  <a:lnTo>
                    <a:pt x="2426" y="2269"/>
                  </a:lnTo>
                  <a:cubicBezTo>
                    <a:pt x="2363" y="2301"/>
                    <a:pt x="2269" y="2364"/>
                    <a:pt x="2237" y="2458"/>
                  </a:cubicBezTo>
                  <a:lnTo>
                    <a:pt x="2048" y="2805"/>
                  </a:lnTo>
                  <a:lnTo>
                    <a:pt x="1859" y="2458"/>
                  </a:lnTo>
                  <a:cubicBezTo>
                    <a:pt x="1796" y="2364"/>
                    <a:pt x="1733" y="2301"/>
                    <a:pt x="1638" y="2269"/>
                  </a:cubicBezTo>
                  <a:lnTo>
                    <a:pt x="1292" y="2049"/>
                  </a:lnTo>
                  <a:lnTo>
                    <a:pt x="1638" y="1860"/>
                  </a:lnTo>
                  <a:cubicBezTo>
                    <a:pt x="1733" y="1828"/>
                    <a:pt x="1796" y="1734"/>
                    <a:pt x="1859" y="1671"/>
                  </a:cubicBezTo>
                  <a:lnTo>
                    <a:pt x="2048" y="1324"/>
                  </a:lnTo>
                  <a:close/>
                  <a:moveTo>
                    <a:pt x="2079" y="1"/>
                  </a:moveTo>
                  <a:cubicBezTo>
                    <a:pt x="1922" y="1"/>
                    <a:pt x="1764" y="95"/>
                    <a:pt x="1733" y="253"/>
                  </a:cubicBezTo>
                  <a:lnTo>
                    <a:pt x="1260" y="1230"/>
                  </a:lnTo>
                  <a:lnTo>
                    <a:pt x="221" y="1702"/>
                  </a:lnTo>
                  <a:cubicBezTo>
                    <a:pt x="63" y="1797"/>
                    <a:pt x="0" y="1891"/>
                    <a:pt x="0" y="2049"/>
                  </a:cubicBezTo>
                  <a:cubicBezTo>
                    <a:pt x="0" y="2206"/>
                    <a:pt x="63" y="2364"/>
                    <a:pt x="221" y="2427"/>
                  </a:cubicBezTo>
                  <a:lnTo>
                    <a:pt x="1260" y="2899"/>
                  </a:lnTo>
                  <a:lnTo>
                    <a:pt x="1733" y="3876"/>
                  </a:lnTo>
                  <a:cubicBezTo>
                    <a:pt x="1796" y="4034"/>
                    <a:pt x="1922" y="4097"/>
                    <a:pt x="2079" y="4097"/>
                  </a:cubicBezTo>
                  <a:cubicBezTo>
                    <a:pt x="2237" y="4097"/>
                    <a:pt x="2395" y="4034"/>
                    <a:pt x="2426" y="3876"/>
                  </a:cubicBezTo>
                  <a:lnTo>
                    <a:pt x="2899" y="2899"/>
                  </a:lnTo>
                  <a:lnTo>
                    <a:pt x="3907" y="2427"/>
                  </a:lnTo>
                  <a:cubicBezTo>
                    <a:pt x="4033" y="2364"/>
                    <a:pt x="4127" y="2206"/>
                    <a:pt x="4127" y="2049"/>
                  </a:cubicBezTo>
                  <a:cubicBezTo>
                    <a:pt x="4127" y="1891"/>
                    <a:pt x="4033" y="1734"/>
                    <a:pt x="3907" y="1702"/>
                  </a:cubicBezTo>
                  <a:lnTo>
                    <a:pt x="2899" y="1230"/>
                  </a:lnTo>
                  <a:lnTo>
                    <a:pt x="2426" y="253"/>
                  </a:lnTo>
                  <a:cubicBezTo>
                    <a:pt x="2363" y="95"/>
                    <a:pt x="2237" y="1"/>
                    <a:pt x="2079"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sp>
        <p:nvSpPr>
          <p:cNvPr id="10892" name="Google Shape;10892;p113"/>
          <p:cNvSpPr/>
          <p:nvPr/>
        </p:nvSpPr>
        <p:spPr>
          <a:xfrm>
            <a:off x="6494885" y="3705384"/>
            <a:ext cx="455439" cy="455696"/>
          </a:xfrm>
          <a:custGeom>
            <a:avLst/>
            <a:gdLst/>
            <a:ahLst/>
            <a:cxnLst/>
            <a:rect l="l" t="t" r="r" b="b"/>
            <a:pathLst>
              <a:path w="14147" h="14155" extrusionOk="0">
                <a:moveTo>
                  <a:pt x="7058" y="891"/>
                </a:moveTo>
                <a:lnTo>
                  <a:pt x="11311" y="3285"/>
                </a:lnTo>
                <a:lnTo>
                  <a:pt x="2805" y="3285"/>
                </a:lnTo>
                <a:lnTo>
                  <a:pt x="7058" y="891"/>
                </a:lnTo>
                <a:close/>
                <a:moveTo>
                  <a:pt x="12886" y="4136"/>
                </a:moveTo>
                <a:cubicBezTo>
                  <a:pt x="13107" y="4136"/>
                  <a:pt x="13264" y="4325"/>
                  <a:pt x="13264" y="4545"/>
                </a:cubicBezTo>
                <a:lnTo>
                  <a:pt x="13264" y="4986"/>
                </a:lnTo>
                <a:lnTo>
                  <a:pt x="851" y="4986"/>
                </a:lnTo>
                <a:lnTo>
                  <a:pt x="851" y="4545"/>
                </a:lnTo>
                <a:cubicBezTo>
                  <a:pt x="851" y="4325"/>
                  <a:pt x="1040" y="4136"/>
                  <a:pt x="1261" y="4136"/>
                </a:cubicBezTo>
                <a:close/>
                <a:moveTo>
                  <a:pt x="3309" y="5806"/>
                </a:moveTo>
                <a:lnTo>
                  <a:pt x="3309" y="9996"/>
                </a:lnTo>
                <a:lnTo>
                  <a:pt x="2490" y="9996"/>
                </a:lnTo>
                <a:lnTo>
                  <a:pt x="2490" y="5806"/>
                </a:lnTo>
                <a:close/>
                <a:moveTo>
                  <a:pt x="5798" y="5806"/>
                </a:moveTo>
                <a:lnTo>
                  <a:pt x="5798" y="9996"/>
                </a:lnTo>
                <a:lnTo>
                  <a:pt x="4128" y="9996"/>
                </a:lnTo>
                <a:lnTo>
                  <a:pt x="4128" y="5806"/>
                </a:lnTo>
                <a:close/>
                <a:moveTo>
                  <a:pt x="7499" y="5806"/>
                </a:moveTo>
                <a:lnTo>
                  <a:pt x="7499" y="9996"/>
                </a:lnTo>
                <a:lnTo>
                  <a:pt x="6617" y="9996"/>
                </a:lnTo>
                <a:lnTo>
                  <a:pt x="6617" y="5806"/>
                </a:lnTo>
                <a:close/>
                <a:moveTo>
                  <a:pt x="9956" y="5806"/>
                </a:moveTo>
                <a:lnTo>
                  <a:pt x="9956" y="9996"/>
                </a:lnTo>
                <a:lnTo>
                  <a:pt x="8286" y="9996"/>
                </a:lnTo>
                <a:lnTo>
                  <a:pt x="8286" y="5806"/>
                </a:lnTo>
                <a:close/>
                <a:moveTo>
                  <a:pt x="11626" y="5806"/>
                </a:moveTo>
                <a:lnTo>
                  <a:pt x="11626" y="9996"/>
                </a:lnTo>
                <a:lnTo>
                  <a:pt x="10807" y="9996"/>
                </a:lnTo>
                <a:lnTo>
                  <a:pt x="10807" y="5806"/>
                </a:lnTo>
                <a:close/>
                <a:moveTo>
                  <a:pt x="12004" y="10815"/>
                </a:moveTo>
                <a:cubicBezTo>
                  <a:pt x="12256" y="10815"/>
                  <a:pt x="12445" y="11004"/>
                  <a:pt x="12445" y="11256"/>
                </a:cubicBezTo>
                <a:lnTo>
                  <a:pt x="12445" y="11634"/>
                </a:lnTo>
                <a:lnTo>
                  <a:pt x="1670" y="11634"/>
                </a:lnTo>
                <a:lnTo>
                  <a:pt x="1670" y="11256"/>
                </a:lnTo>
                <a:cubicBezTo>
                  <a:pt x="1670" y="11004"/>
                  <a:pt x="1859" y="10815"/>
                  <a:pt x="2048" y="10815"/>
                </a:cubicBezTo>
                <a:close/>
                <a:moveTo>
                  <a:pt x="12886" y="12422"/>
                </a:moveTo>
                <a:cubicBezTo>
                  <a:pt x="13107" y="12422"/>
                  <a:pt x="13264" y="12642"/>
                  <a:pt x="13264" y="12863"/>
                </a:cubicBezTo>
                <a:lnTo>
                  <a:pt x="13264" y="13304"/>
                </a:lnTo>
                <a:lnTo>
                  <a:pt x="851" y="13304"/>
                </a:lnTo>
                <a:lnTo>
                  <a:pt x="851" y="12863"/>
                </a:lnTo>
                <a:cubicBezTo>
                  <a:pt x="851" y="12642"/>
                  <a:pt x="1040" y="12422"/>
                  <a:pt x="1261" y="12422"/>
                </a:cubicBezTo>
                <a:close/>
                <a:moveTo>
                  <a:pt x="7058" y="1"/>
                </a:moveTo>
                <a:cubicBezTo>
                  <a:pt x="6987" y="1"/>
                  <a:pt x="6916" y="24"/>
                  <a:pt x="6869" y="72"/>
                </a:cubicBezTo>
                <a:lnTo>
                  <a:pt x="1103" y="3348"/>
                </a:lnTo>
                <a:cubicBezTo>
                  <a:pt x="473" y="3411"/>
                  <a:pt x="1" y="3915"/>
                  <a:pt x="1" y="4545"/>
                </a:cubicBezTo>
                <a:lnTo>
                  <a:pt x="1" y="5365"/>
                </a:lnTo>
                <a:cubicBezTo>
                  <a:pt x="1" y="5617"/>
                  <a:pt x="221" y="5806"/>
                  <a:pt x="442" y="5806"/>
                </a:cubicBezTo>
                <a:lnTo>
                  <a:pt x="1702" y="5806"/>
                </a:lnTo>
                <a:lnTo>
                  <a:pt x="1702" y="10059"/>
                </a:lnTo>
                <a:cubicBezTo>
                  <a:pt x="1229" y="10216"/>
                  <a:pt x="883" y="10689"/>
                  <a:pt x="883" y="11256"/>
                </a:cubicBezTo>
                <a:lnTo>
                  <a:pt x="883" y="11729"/>
                </a:lnTo>
                <a:cubicBezTo>
                  <a:pt x="410" y="11886"/>
                  <a:pt x="64" y="12359"/>
                  <a:pt x="64" y="12894"/>
                </a:cubicBezTo>
                <a:lnTo>
                  <a:pt x="64" y="13713"/>
                </a:lnTo>
                <a:cubicBezTo>
                  <a:pt x="64" y="13965"/>
                  <a:pt x="253" y="14154"/>
                  <a:pt x="473" y="14154"/>
                </a:cubicBezTo>
                <a:lnTo>
                  <a:pt x="13768" y="14154"/>
                </a:lnTo>
                <a:cubicBezTo>
                  <a:pt x="13989" y="14154"/>
                  <a:pt x="14146" y="13965"/>
                  <a:pt x="14146" y="13713"/>
                </a:cubicBezTo>
                <a:lnTo>
                  <a:pt x="14146" y="12894"/>
                </a:lnTo>
                <a:cubicBezTo>
                  <a:pt x="14146" y="12359"/>
                  <a:pt x="13800" y="11918"/>
                  <a:pt x="13327" y="11729"/>
                </a:cubicBezTo>
                <a:lnTo>
                  <a:pt x="13327" y="11256"/>
                </a:lnTo>
                <a:cubicBezTo>
                  <a:pt x="13327" y="10689"/>
                  <a:pt x="12981" y="10248"/>
                  <a:pt x="12508" y="10059"/>
                </a:cubicBezTo>
                <a:lnTo>
                  <a:pt x="12508" y="5806"/>
                </a:lnTo>
                <a:lnTo>
                  <a:pt x="13768" y="5806"/>
                </a:lnTo>
                <a:cubicBezTo>
                  <a:pt x="13989" y="5806"/>
                  <a:pt x="14146" y="5617"/>
                  <a:pt x="14146" y="5396"/>
                </a:cubicBezTo>
                <a:lnTo>
                  <a:pt x="14146" y="4545"/>
                </a:lnTo>
                <a:cubicBezTo>
                  <a:pt x="14115" y="3915"/>
                  <a:pt x="13642" y="3380"/>
                  <a:pt x="13012" y="3348"/>
                </a:cubicBezTo>
                <a:lnTo>
                  <a:pt x="7247" y="72"/>
                </a:lnTo>
                <a:cubicBezTo>
                  <a:pt x="7200" y="24"/>
                  <a:pt x="7129" y="1"/>
                  <a:pt x="7058"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nvGrpSpPr>
          <p:cNvPr id="10893" name="Google Shape;10893;p113"/>
          <p:cNvGrpSpPr/>
          <p:nvPr/>
        </p:nvGrpSpPr>
        <p:grpSpPr>
          <a:xfrm>
            <a:off x="6494384" y="4250784"/>
            <a:ext cx="456437" cy="452413"/>
            <a:chOff x="-10462550" y="2057650"/>
            <a:chExt cx="354450" cy="351325"/>
          </a:xfrm>
        </p:grpSpPr>
        <p:sp>
          <p:nvSpPr>
            <p:cNvPr id="10894" name="Google Shape;10894;p113"/>
            <p:cNvSpPr/>
            <p:nvPr/>
          </p:nvSpPr>
          <p:spPr>
            <a:xfrm>
              <a:off x="-10462550" y="2057650"/>
              <a:ext cx="354450" cy="351325"/>
            </a:xfrm>
            <a:custGeom>
              <a:avLst/>
              <a:gdLst/>
              <a:ahLst/>
              <a:cxnLst/>
              <a:rect l="l" t="t" r="r" b="b"/>
              <a:pathLst>
                <a:path w="14178" h="14053" extrusionOk="0">
                  <a:moveTo>
                    <a:pt x="7121" y="788"/>
                  </a:moveTo>
                  <a:cubicBezTo>
                    <a:pt x="7341" y="788"/>
                    <a:pt x="7499" y="978"/>
                    <a:pt x="7499" y="1198"/>
                  </a:cubicBezTo>
                  <a:cubicBezTo>
                    <a:pt x="7499" y="1419"/>
                    <a:pt x="7310" y="1608"/>
                    <a:pt x="7121" y="1608"/>
                  </a:cubicBezTo>
                  <a:cubicBezTo>
                    <a:pt x="6932" y="1608"/>
                    <a:pt x="6680" y="1419"/>
                    <a:pt x="6680" y="1198"/>
                  </a:cubicBezTo>
                  <a:cubicBezTo>
                    <a:pt x="6711" y="946"/>
                    <a:pt x="6869" y="788"/>
                    <a:pt x="7121" y="788"/>
                  </a:cubicBezTo>
                  <a:close/>
                  <a:moveTo>
                    <a:pt x="7467" y="2364"/>
                  </a:moveTo>
                  <a:lnTo>
                    <a:pt x="8790" y="4065"/>
                  </a:lnTo>
                  <a:lnTo>
                    <a:pt x="5451" y="4065"/>
                  </a:lnTo>
                  <a:lnTo>
                    <a:pt x="6774" y="2364"/>
                  </a:lnTo>
                  <a:cubicBezTo>
                    <a:pt x="6869" y="2395"/>
                    <a:pt x="6995" y="2395"/>
                    <a:pt x="7121" y="2395"/>
                  </a:cubicBezTo>
                  <a:cubicBezTo>
                    <a:pt x="7247" y="2395"/>
                    <a:pt x="7341" y="2364"/>
                    <a:pt x="7467" y="2364"/>
                  </a:cubicBezTo>
                  <a:close/>
                  <a:moveTo>
                    <a:pt x="12508" y="4065"/>
                  </a:moveTo>
                  <a:cubicBezTo>
                    <a:pt x="12981" y="4065"/>
                    <a:pt x="13327" y="4412"/>
                    <a:pt x="13327" y="4884"/>
                  </a:cubicBezTo>
                  <a:cubicBezTo>
                    <a:pt x="13327" y="5231"/>
                    <a:pt x="13107" y="5546"/>
                    <a:pt x="12792" y="5672"/>
                  </a:cubicBezTo>
                  <a:cubicBezTo>
                    <a:pt x="12634" y="5703"/>
                    <a:pt x="12508" y="5861"/>
                    <a:pt x="12508" y="6081"/>
                  </a:cubicBezTo>
                  <a:lnTo>
                    <a:pt x="12508" y="11217"/>
                  </a:lnTo>
                  <a:cubicBezTo>
                    <a:pt x="12508" y="11437"/>
                    <a:pt x="12634" y="11563"/>
                    <a:pt x="12792" y="11626"/>
                  </a:cubicBezTo>
                  <a:cubicBezTo>
                    <a:pt x="13107" y="11752"/>
                    <a:pt x="13327" y="12067"/>
                    <a:pt x="13327" y="12414"/>
                  </a:cubicBezTo>
                  <a:cubicBezTo>
                    <a:pt x="13327" y="12886"/>
                    <a:pt x="12981" y="13233"/>
                    <a:pt x="12508" y="13233"/>
                  </a:cubicBezTo>
                  <a:cubicBezTo>
                    <a:pt x="12162" y="13233"/>
                    <a:pt x="11846" y="13012"/>
                    <a:pt x="11720" y="12697"/>
                  </a:cubicBezTo>
                  <a:cubicBezTo>
                    <a:pt x="11689" y="12540"/>
                    <a:pt x="11531" y="12414"/>
                    <a:pt x="11342" y="12414"/>
                  </a:cubicBezTo>
                  <a:lnTo>
                    <a:pt x="2868" y="12414"/>
                  </a:lnTo>
                  <a:cubicBezTo>
                    <a:pt x="2710" y="12414"/>
                    <a:pt x="2553" y="12540"/>
                    <a:pt x="2490" y="12697"/>
                  </a:cubicBezTo>
                  <a:cubicBezTo>
                    <a:pt x="2363" y="13012"/>
                    <a:pt x="2048" y="13233"/>
                    <a:pt x="1702" y="13233"/>
                  </a:cubicBezTo>
                  <a:cubicBezTo>
                    <a:pt x="1198" y="13233"/>
                    <a:pt x="851" y="12886"/>
                    <a:pt x="851" y="12414"/>
                  </a:cubicBezTo>
                  <a:cubicBezTo>
                    <a:pt x="851" y="12067"/>
                    <a:pt x="1103" y="11752"/>
                    <a:pt x="1418" y="11626"/>
                  </a:cubicBezTo>
                  <a:cubicBezTo>
                    <a:pt x="1576" y="11595"/>
                    <a:pt x="1702" y="11437"/>
                    <a:pt x="1702" y="11217"/>
                  </a:cubicBezTo>
                  <a:lnTo>
                    <a:pt x="1702" y="6081"/>
                  </a:lnTo>
                  <a:cubicBezTo>
                    <a:pt x="1702" y="5924"/>
                    <a:pt x="1576" y="5766"/>
                    <a:pt x="1418" y="5672"/>
                  </a:cubicBezTo>
                  <a:cubicBezTo>
                    <a:pt x="1103" y="5546"/>
                    <a:pt x="851" y="5231"/>
                    <a:pt x="851" y="4884"/>
                  </a:cubicBezTo>
                  <a:cubicBezTo>
                    <a:pt x="851" y="4412"/>
                    <a:pt x="1229" y="4065"/>
                    <a:pt x="1702" y="4065"/>
                  </a:cubicBezTo>
                  <a:cubicBezTo>
                    <a:pt x="2048" y="4065"/>
                    <a:pt x="2363" y="4286"/>
                    <a:pt x="2490" y="4601"/>
                  </a:cubicBezTo>
                  <a:cubicBezTo>
                    <a:pt x="2521" y="4758"/>
                    <a:pt x="2679" y="4884"/>
                    <a:pt x="2868" y="4884"/>
                  </a:cubicBezTo>
                  <a:lnTo>
                    <a:pt x="11342" y="4884"/>
                  </a:lnTo>
                  <a:cubicBezTo>
                    <a:pt x="11500" y="4884"/>
                    <a:pt x="11657" y="4758"/>
                    <a:pt x="11720" y="4601"/>
                  </a:cubicBezTo>
                  <a:cubicBezTo>
                    <a:pt x="11846" y="4286"/>
                    <a:pt x="12162" y="4065"/>
                    <a:pt x="12508" y="4065"/>
                  </a:cubicBezTo>
                  <a:close/>
                  <a:moveTo>
                    <a:pt x="7089" y="1"/>
                  </a:moveTo>
                  <a:cubicBezTo>
                    <a:pt x="6365" y="1"/>
                    <a:pt x="5829" y="568"/>
                    <a:pt x="5829" y="1230"/>
                  </a:cubicBezTo>
                  <a:cubicBezTo>
                    <a:pt x="5829" y="1450"/>
                    <a:pt x="5892" y="1702"/>
                    <a:pt x="6018" y="1891"/>
                  </a:cubicBezTo>
                  <a:lnTo>
                    <a:pt x="4348" y="4097"/>
                  </a:lnTo>
                  <a:lnTo>
                    <a:pt x="3057" y="4097"/>
                  </a:lnTo>
                  <a:cubicBezTo>
                    <a:pt x="2773" y="3592"/>
                    <a:pt x="2237" y="3277"/>
                    <a:pt x="1639" y="3277"/>
                  </a:cubicBezTo>
                  <a:cubicBezTo>
                    <a:pt x="725" y="3277"/>
                    <a:pt x="1" y="4033"/>
                    <a:pt x="1" y="4916"/>
                  </a:cubicBezTo>
                  <a:cubicBezTo>
                    <a:pt x="1" y="5514"/>
                    <a:pt x="316" y="6081"/>
                    <a:pt x="820" y="6333"/>
                  </a:cubicBezTo>
                  <a:lnTo>
                    <a:pt x="820" y="10996"/>
                  </a:lnTo>
                  <a:cubicBezTo>
                    <a:pt x="316" y="11280"/>
                    <a:pt x="1" y="11815"/>
                    <a:pt x="1" y="12414"/>
                  </a:cubicBezTo>
                  <a:cubicBezTo>
                    <a:pt x="1" y="13327"/>
                    <a:pt x="725" y="14052"/>
                    <a:pt x="1639" y="14052"/>
                  </a:cubicBezTo>
                  <a:cubicBezTo>
                    <a:pt x="2237" y="14052"/>
                    <a:pt x="2773" y="13737"/>
                    <a:pt x="3057" y="13233"/>
                  </a:cubicBezTo>
                  <a:lnTo>
                    <a:pt x="11027" y="13233"/>
                  </a:lnTo>
                  <a:cubicBezTo>
                    <a:pt x="11279" y="13737"/>
                    <a:pt x="11846" y="14052"/>
                    <a:pt x="12445" y="14052"/>
                  </a:cubicBezTo>
                  <a:cubicBezTo>
                    <a:pt x="13327" y="14052"/>
                    <a:pt x="14083" y="13327"/>
                    <a:pt x="14083" y="12414"/>
                  </a:cubicBezTo>
                  <a:cubicBezTo>
                    <a:pt x="14083" y="11815"/>
                    <a:pt x="13768" y="11280"/>
                    <a:pt x="13264" y="10996"/>
                  </a:cubicBezTo>
                  <a:lnTo>
                    <a:pt x="13264" y="6333"/>
                  </a:lnTo>
                  <a:cubicBezTo>
                    <a:pt x="13863" y="6050"/>
                    <a:pt x="14178" y="5514"/>
                    <a:pt x="14178" y="4916"/>
                  </a:cubicBezTo>
                  <a:cubicBezTo>
                    <a:pt x="14178" y="4033"/>
                    <a:pt x="13422" y="3277"/>
                    <a:pt x="12508" y="3277"/>
                  </a:cubicBezTo>
                  <a:cubicBezTo>
                    <a:pt x="11909" y="3277"/>
                    <a:pt x="11374" y="3592"/>
                    <a:pt x="11090" y="4097"/>
                  </a:cubicBezTo>
                  <a:lnTo>
                    <a:pt x="9799" y="4097"/>
                  </a:lnTo>
                  <a:lnTo>
                    <a:pt x="8129" y="1891"/>
                  </a:lnTo>
                  <a:cubicBezTo>
                    <a:pt x="8255" y="1702"/>
                    <a:pt x="8349" y="1450"/>
                    <a:pt x="8349" y="1230"/>
                  </a:cubicBezTo>
                  <a:cubicBezTo>
                    <a:pt x="8349" y="568"/>
                    <a:pt x="7782" y="1"/>
                    <a:pt x="7089"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895" name="Google Shape;10895;p113"/>
            <p:cNvSpPr/>
            <p:nvPr/>
          </p:nvSpPr>
          <p:spPr>
            <a:xfrm>
              <a:off x="-10397950" y="2201800"/>
              <a:ext cx="228425" cy="146525"/>
            </a:xfrm>
            <a:custGeom>
              <a:avLst/>
              <a:gdLst/>
              <a:ahLst/>
              <a:cxnLst/>
              <a:rect l="l" t="t" r="r" b="b"/>
              <a:pathLst>
                <a:path w="9137" h="5861" extrusionOk="0">
                  <a:moveTo>
                    <a:pt x="8286" y="819"/>
                  </a:moveTo>
                  <a:lnTo>
                    <a:pt x="8286" y="4978"/>
                  </a:lnTo>
                  <a:lnTo>
                    <a:pt x="788" y="4978"/>
                  </a:lnTo>
                  <a:lnTo>
                    <a:pt x="788" y="819"/>
                  </a:lnTo>
                  <a:close/>
                  <a:moveTo>
                    <a:pt x="410" y="0"/>
                  </a:moveTo>
                  <a:cubicBezTo>
                    <a:pt x="158" y="0"/>
                    <a:pt x="0" y="189"/>
                    <a:pt x="0" y="410"/>
                  </a:cubicBezTo>
                  <a:lnTo>
                    <a:pt x="0" y="5419"/>
                  </a:lnTo>
                  <a:cubicBezTo>
                    <a:pt x="0" y="5640"/>
                    <a:pt x="189" y="5860"/>
                    <a:pt x="410" y="5860"/>
                  </a:cubicBezTo>
                  <a:lnTo>
                    <a:pt x="8695" y="5860"/>
                  </a:lnTo>
                  <a:cubicBezTo>
                    <a:pt x="8947" y="5860"/>
                    <a:pt x="9136" y="5640"/>
                    <a:pt x="9136" y="5419"/>
                  </a:cubicBezTo>
                  <a:lnTo>
                    <a:pt x="9136" y="410"/>
                  </a:lnTo>
                  <a:cubicBezTo>
                    <a:pt x="9105" y="158"/>
                    <a:pt x="8947" y="0"/>
                    <a:pt x="8695"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sp>
        <p:nvSpPr>
          <p:cNvPr id="10896" name="Google Shape;10896;p113"/>
          <p:cNvSpPr/>
          <p:nvPr/>
        </p:nvSpPr>
        <p:spPr>
          <a:xfrm>
            <a:off x="10122166" y="3740750"/>
            <a:ext cx="417901" cy="455439"/>
          </a:xfrm>
          <a:custGeom>
            <a:avLst/>
            <a:gdLst/>
            <a:ahLst/>
            <a:cxnLst/>
            <a:rect l="l" t="t" r="r" b="b"/>
            <a:pathLst>
              <a:path w="12981" h="14147" extrusionOk="0">
                <a:moveTo>
                  <a:pt x="10712" y="820"/>
                </a:moveTo>
                <a:cubicBezTo>
                  <a:pt x="11279" y="820"/>
                  <a:pt x="11752" y="1166"/>
                  <a:pt x="11909" y="1733"/>
                </a:cubicBezTo>
                <a:cubicBezTo>
                  <a:pt x="12067" y="2615"/>
                  <a:pt x="11531" y="3655"/>
                  <a:pt x="10680" y="3655"/>
                </a:cubicBezTo>
                <a:cubicBezTo>
                  <a:pt x="9924" y="3655"/>
                  <a:pt x="9420" y="2867"/>
                  <a:pt x="9798" y="2521"/>
                </a:cubicBezTo>
                <a:cubicBezTo>
                  <a:pt x="9865" y="2476"/>
                  <a:pt x="9963" y="2432"/>
                  <a:pt x="10071" y="2432"/>
                </a:cubicBezTo>
                <a:cubicBezTo>
                  <a:pt x="10116" y="2432"/>
                  <a:pt x="10162" y="2439"/>
                  <a:pt x="10208" y="2458"/>
                </a:cubicBezTo>
                <a:cubicBezTo>
                  <a:pt x="10271" y="2489"/>
                  <a:pt x="10302" y="2521"/>
                  <a:pt x="10365" y="2615"/>
                </a:cubicBezTo>
                <a:cubicBezTo>
                  <a:pt x="10394" y="2813"/>
                  <a:pt x="10600" y="2935"/>
                  <a:pt x="10801" y="2935"/>
                </a:cubicBezTo>
                <a:cubicBezTo>
                  <a:pt x="10824" y="2935"/>
                  <a:pt x="10847" y="2934"/>
                  <a:pt x="10869" y="2930"/>
                </a:cubicBezTo>
                <a:cubicBezTo>
                  <a:pt x="11090" y="2867"/>
                  <a:pt x="11216" y="2647"/>
                  <a:pt x="11184" y="2395"/>
                </a:cubicBezTo>
                <a:cubicBezTo>
                  <a:pt x="11090" y="2048"/>
                  <a:pt x="10838" y="1733"/>
                  <a:pt x="10491" y="1670"/>
                </a:cubicBezTo>
                <a:cubicBezTo>
                  <a:pt x="10382" y="1637"/>
                  <a:pt x="10265" y="1621"/>
                  <a:pt x="10148" y="1621"/>
                </a:cubicBezTo>
                <a:cubicBezTo>
                  <a:pt x="9828" y="1621"/>
                  <a:pt x="9502" y="1738"/>
                  <a:pt x="9294" y="1922"/>
                </a:cubicBezTo>
                <a:lnTo>
                  <a:pt x="9168" y="2048"/>
                </a:lnTo>
                <a:lnTo>
                  <a:pt x="3907" y="2048"/>
                </a:lnTo>
                <a:lnTo>
                  <a:pt x="3781" y="1922"/>
                </a:lnTo>
                <a:cubicBezTo>
                  <a:pt x="3556" y="1723"/>
                  <a:pt x="3242" y="1617"/>
                  <a:pt x="2934" y="1617"/>
                </a:cubicBezTo>
                <a:cubicBezTo>
                  <a:pt x="2463" y="1617"/>
                  <a:pt x="2005" y="1862"/>
                  <a:pt x="1891" y="2395"/>
                </a:cubicBezTo>
                <a:cubicBezTo>
                  <a:pt x="1859" y="2647"/>
                  <a:pt x="1985" y="2836"/>
                  <a:pt x="2206" y="2930"/>
                </a:cubicBezTo>
                <a:cubicBezTo>
                  <a:pt x="2228" y="2934"/>
                  <a:pt x="2250" y="2935"/>
                  <a:pt x="2272" y="2935"/>
                </a:cubicBezTo>
                <a:cubicBezTo>
                  <a:pt x="2469" y="2935"/>
                  <a:pt x="2653" y="2810"/>
                  <a:pt x="2710" y="2584"/>
                </a:cubicBezTo>
                <a:cubicBezTo>
                  <a:pt x="2741" y="2521"/>
                  <a:pt x="2804" y="2489"/>
                  <a:pt x="2867" y="2426"/>
                </a:cubicBezTo>
                <a:cubicBezTo>
                  <a:pt x="2899" y="2419"/>
                  <a:pt x="2934" y="2415"/>
                  <a:pt x="2971" y="2415"/>
                </a:cubicBezTo>
                <a:cubicBezTo>
                  <a:pt x="3082" y="2415"/>
                  <a:pt x="3206" y="2450"/>
                  <a:pt x="3277" y="2521"/>
                </a:cubicBezTo>
                <a:cubicBezTo>
                  <a:pt x="3623" y="2867"/>
                  <a:pt x="3119" y="3655"/>
                  <a:pt x="2395" y="3655"/>
                </a:cubicBezTo>
                <a:cubicBezTo>
                  <a:pt x="1544" y="3655"/>
                  <a:pt x="1040" y="2584"/>
                  <a:pt x="1292" y="1733"/>
                </a:cubicBezTo>
                <a:cubicBezTo>
                  <a:pt x="1512" y="1135"/>
                  <a:pt x="1922" y="820"/>
                  <a:pt x="2489" y="820"/>
                </a:cubicBezTo>
                <a:close/>
                <a:moveTo>
                  <a:pt x="8822" y="2867"/>
                </a:moveTo>
                <a:cubicBezTo>
                  <a:pt x="8822" y="3183"/>
                  <a:pt x="8948" y="3466"/>
                  <a:pt x="9137" y="3718"/>
                </a:cubicBezTo>
                <a:lnTo>
                  <a:pt x="3749" y="3718"/>
                </a:lnTo>
                <a:cubicBezTo>
                  <a:pt x="3938" y="3466"/>
                  <a:pt x="4064" y="3183"/>
                  <a:pt x="4064" y="2867"/>
                </a:cubicBezTo>
                <a:close/>
                <a:moveTo>
                  <a:pt x="10176" y="4537"/>
                </a:moveTo>
                <a:lnTo>
                  <a:pt x="10176" y="4978"/>
                </a:lnTo>
                <a:lnTo>
                  <a:pt x="10208" y="4978"/>
                </a:lnTo>
                <a:cubicBezTo>
                  <a:pt x="10208" y="5199"/>
                  <a:pt x="9987" y="5388"/>
                  <a:pt x="9767" y="5388"/>
                </a:cubicBezTo>
                <a:lnTo>
                  <a:pt x="3151" y="5388"/>
                </a:lnTo>
                <a:cubicBezTo>
                  <a:pt x="2930" y="5388"/>
                  <a:pt x="2710" y="5199"/>
                  <a:pt x="2710" y="4978"/>
                </a:cubicBezTo>
                <a:lnTo>
                  <a:pt x="2710" y="4537"/>
                </a:lnTo>
                <a:close/>
                <a:moveTo>
                  <a:pt x="9357" y="6175"/>
                </a:moveTo>
                <a:lnTo>
                  <a:pt x="9357" y="11626"/>
                </a:lnTo>
                <a:lnTo>
                  <a:pt x="8538" y="11626"/>
                </a:lnTo>
                <a:lnTo>
                  <a:pt x="8538" y="7436"/>
                </a:lnTo>
                <a:cubicBezTo>
                  <a:pt x="8538" y="7215"/>
                  <a:pt x="8349" y="7026"/>
                  <a:pt x="8128" y="7026"/>
                </a:cubicBezTo>
                <a:cubicBezTo>
                  <a:pt x="7876" y="7026"/>
                  <a:pt x="7687" y="7215"/>
                  <a:pt x="7687" y="7436"/>
                </a:cubicBezTo>
                <a:lnTo>
                  <a:pt x="7687" y="11626"/>
                </a:lnTo>
                <a:lnTo>
                  <a:pt x="6868" y="11626"/>
                </a:lnTo>
                <a:lnTo>
                  <a:pt x="6868" y="7436"/>
                </a:lnTo>
                <a:cubicBezTo>
                  <a:pt x="6868" y="7215"/>
                  <a:pt x="6648" y="7026"/>
                  <a:pt x="6459" y="7026"/>
                </a:cubicBezTo>
                <a:cubicBezTo>
                  <a:pt x="6238" y="7026"/>
                  <a:pt x="6018" y="7215"/>
                  <a:pt x="6018" y="7436"/>
                </a:cubicBezTo>
                <a:lnTo>
                  <a:pt x="6018" y="11626"/>
                </a:lnTo>
                <a:lnTo>
                  <a:pt x="5199" y="11626"/>
                </a:lnTo>
                <a:lnTo>
                  <a:pt x="5199" y="7436"/>
                </a:lnTo>
                <a:cubicBezTo>
                  <a:pt x="5199" y="7215"/>
                  <a:pt x="5010" y="7026"/>
                  <a:pt x="4757" y="7026"/>
                </a:cubicBezTo>
                <a:cubicBezTo>
                  <a:pt x="4537" y="7026"/>
                  <a:pt x="4379" y="7215"/>
                  <a:pt x="4379" y="7436"/>
                </a:cubicBezTo>
                <a:lnTo>
                  <a:pt x="4379" y="11626"/>
                </a:lnTo>
                <a:lnTo>
                  <a:pt x="3560" y="11626"/>
                </a:lnTo>
                <a:lnTo>
                  <a:pt x="3560" y="6175"/>
                </a:lnTo>
                <a:close/>
                <a:moveTo>
                  <a:pt x="9798" y="12413"/>
                </a:moveTo>
                <a:cubicBezTo>
                  <a:pt x="10050" y="12413"/>
                  <a:pt x="10239" y="12602"/>
                  <a:pt x="10239" y="12854"/>
                </a:cubicBezTo>
                <a:lnTo>
                  <a:pt x="10239" y="13264"/>
                </a:lnTo>
                <a:lnTo>
                  <a:pt x="2741" y="13264"/>
                </a:lnTo>
                <a:lnTo>
                  <a:pt x="2741" y="12854"/>
                </a:lnTo>
                <a:cubicBezTo>
                  <a:pt x="2741" y="12602"/>
                  <a:pt x="2962" y="12413"/>
                  <a:pt x="3182" y="12413"/>
                </a:cubicBezTo>
                <a:close/>
                <a:moveTo>
                  <a:pt x="2363" y="1"/>
                </a:moveTo>
                <a:cubicBezTo>
                  <a:pt x="1418" y="1"/>
                  <a:pt x="662" y="599"/>
                  <a:pt x="378" y="1513"/>
                </a:cubicBezTo>
                <a:cubicBezTo>
                  <a:pt x="0" y="2804"/>
                  <a:pt x="693" y="4254"/>
                  <a:pt x="1954" y="4443"/>
                </a:cubicBezTo>
                <a:lnTo>
                  <a:pt x="1954" y="4915"/>
                </a:lnTo>
                <a:cubicBezTo>
                  <a:pt x="1954" y="5482"/>
                  <a:pt x="2332" y="5923"/>
                  <a:pt x="2804" y="6112"/>
                </a:cubicBezTo>
                <a:lnTo>
                  <a:pt x="2804" y="11689"/>
                </a:lnTo>
                <a:cubicBezTo>
                  <a:pt x="2332" y="11846"/>
                  <a:pt x="1954" y="12319"/>
                  <a:pt x="1954" y="12886"/>
                </a:cubicBezTo>
                <a:lnTo>
                  <a:pt x="1954" y="13705"/>
                </a:lnTo>
                <a:cubicBezTo>
                  <a:pt x="1954" y="13957"/>
                  <a:pt x="2174" y="14146"/>
                  <a:pt x="2395" y="14146"/>
                </a:cubicBezTo>
                <a:lnTo>
                  <a:pt x="10680" y="14146"/>
                </a:lnTo>
                <a:cubicBezTo>
                  <a:pt x="10901" y="14146"/>
                  <a:pt x="11058" y="13957"/>
                  <a:pt x="11058" y="13705"/>
                </a:cubicBezTo>
                <a:lnTo>
                  <a:pt x="11058" y="12886"/>
                </a:lnTo>
                <a:cubicBezTo>
                  <a:pt x="11058" y="12319"/>
                  <a:pt x="10712" y="11909"/>
                  <a:pt x="10239" y="11689"/>
                </a:cubicBezTo>
                <a:lnTo>
                  <a:pt x="10239" y="6112"/>
                </a:lnTo>
                <a:cubicBezTo>
                  <a:pt x="10712" y="5955"/>
                  <a:pt x="11058" y="5482"/>
                  <a:pt x="11058" y="4915"/>
                </a:cubicBezTo>
                <a:lnTo>
                  <a:pt x="11058" y="4411"/>
                </a:lnTo>
                <a:cubicBezTo>
                  <a:pt x="12319" y="4191"/>
                  <a:pt x="12980" y="2710"/>
                  <a:pt x="12602" y="1450"/>
                </a:cubicBezTo>
                <a:cubicBezTo>
                  <a:pt x="12287" y="568"/>
                  <a:pt x="11500" y="1"/>
                  <a:pt x="10586"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nvGrpSpPr>
          <p:cNvPr id="10897" name="Google Shape;10897;p113"/>
          <p:cNvGrpSpPr/>
          <p:nvPr/>
        </p:nvGrpSpPr>
        <p:grpSpPr>
          <a:xfrm>
            <a:off x="8866363" y="3706202"/>
            <a:ext cx="500059" cy="454055"/>
            <a:chOff x="-8692750" y="1622100"/>
            <a:chExt cx="388325" cy="352600"/>
          </a:xfrm>
        </p:grpSpPr>
        <p:sp>
          <p:nvSpPr>
            <p:cNvPr id="10898" name="Google Shape;10898;p113"/>
            <p:cNvSpPr/>
            <p:nvPr/>
          </p:nvSpPr>
          <p:spPr>
            <a:xfrm>
              <a:off x="-8692750" y="1622100"/>
              <a:ext cx="388325" cy="352600"/>
            </a:xfrm>
            <a:custGeom>
              <a:avLst/>
              <a:gdLst/>
              <a:ahLst/>
              <a:cxnLst/>
              <a:rect l="l" t="t" r="r" b="b"/>
              <a:pathLst>
                <a:path w="15533" h="14104" extrusionOk="0">
                  <a:moveTo>
                    <a:pt x="10365" y="1387"/>
                  </a:moveTo>
                  <a:cubicBezTo>
                    <a:pt x="11027" y="1702"/>
                    <a:pt x="11626" y="2112"/>
                    <a:pt x="12130" y="2616"/>
                  </a:cubicBezTo>
                  <a:cubicBezTo>
                    <a:pt x="12697" y="3183"/>
                    <a:pt x="13106" y="3750"/>
                    <a:pt x="13390" y="4443"/>
                  </a:cubicBezTo>
                  <a:lnTo>
                    <a:pt x="10208" y="5577"/>
                  </a:lnTo>
                  <a:cubicBezTo>
                    <a:pt x="10082" y="5388"/>
                    <a:pt x="9924" y="5168"/>
                    <a:pt x="9767" y="5010"/>
                  </a:cubicBezTo>
                  <a:cubicBezTo>
                    <a:pt x="9609" y="4852"/>
                    <a:pt x="9420" y="4695"/>
                    <a:pt x="9231" y="4600"/>
                  </a:cubicBezTo>
                  <a:lnTo>
                    <a:pt x="10365" y="1387"/>
                  </a:lnTo>
                  <a:close/>
                  <a:moveTo>
                    <a:pt x="7802" y="828"/>
                  </a:moveTo>
                  <a:cubicBezTo>
                    <a:pt x="8424" y="828"/>
                    <a:pt x="9044" y="919"/>
                    <a:pt x="9641" y="1103"/>
                  </a:cubicBezTo>
                  <a:lnTo>
                    <a:pt x="8507" y="4285"/>
                  </a:lnTo>
                  <a:cubicBezTo>
                    <a:pt x="8268" y="4222"/>
                    <a:pt x="8022" y="4190"/>
                    <a:pt x="7776" y="4190"/>
                  </a:cubicBezTo>
                  <a:cubicBezTo>
                    <a:pt x="7044" y="4190"/>
                    <a:pt x="6308" y="4468"/>
                    <a:pt x="5766" y="5010"/>
                  </a:cubicBezTo>
                  <a:cubicBezTo>
                    <a:pt x="4978" y="5798"/>
                    <a:pt x="4726" y="6869"/>
                    <a:pt x="5010" y="7845"/>
                  </a:cubicBezTo>
                  <a:lnTo>
                    <a:pt x="1859" y="9011"/>
                  </a:lnTo>
                  <a:cubicBezTo>
                    <a:pt x="1134" y="6900"/>
                    <a:pt x="1576" y="4380"/>
                    <a:pt x="3340" y="2647"/>
                  </a:cubicBezTo>
                  <a:cubicBezTo>
                    <a:pt x="4567" y="1442"/>
                    <a:pt x="6189" y="828"/>
                    <a:pt x="7802" y="828"/>
                  </a:cubicBezTo>
                  <a:close/>
                  <a:moveTo>
                    <a:pt x="7766" y="5018"/>
                  </a:moveTo>
                  <a:cubicBezTo>
                    <a:pt x="8302" y="5018"/>
                    <a:pt x="8837" y="5215"/>
                    <a:pt x="9231" y="5609"/>
                  </a:cubicBezTo>
                  <a:cubicBezTo>
                    <a:pt x="10019" y="6396"/>
                    <a:pt x="10019" y="7751"/>
                    <a:pt x="9231" y="8539"/>
                  </a:cubicBezTo>
                  <a:cubicBezTo>
                    <a:pt x="8806" y="8948"/>
                    <a:pt x="8270" y="9153"/>
                    <a:pt x="7743" y="9153"/>
                  </a:cubicBezTo>
                  <a:cubicBezTo>
                    <a:pt x="7215" y="9153"/>
                    <a:pt x="6695" y="8948"/>
                    <a:pt x="6301" y="8539"/>
                  </a:cubicBezTo>
                  <a:cubicBezTo>
                    <a:pt x="5514" y="7751"/>
                    <a:pt x="5514" y="6396"/>
                    <a:pt x="6301" y="5609"/>
                  </a:cubicBezTo>
                  <a:cubicBezTo>
                    <a:pt x="6695" y="5215"/>
                    <a:pt x="7231" y="5018"/>
                    <a:pt x="7766" y="5018"/>
                  </a:cubicBezTo>
                  <a:close/>
                  <a:moveTo>
                    <a:pt x="5293" y="8633"/>
                  </a:moveTo>
                  <a:cubicBezTo>
                    <a:pt x="5388" y="8791"/>
                    <a:pt x="5514" y="9011"/>
                    <a:pt x="5671" y="9106"/>
                  </a:cubicBezTo>
                  <a:cubicBezTo>
                    <a:pt x="5829" y="9263"/>
                    <a:pt x="5986" y="9389"/>
                    <a:pt x="6144" y="9515"/>
                  </a:cubicBezTo>
                  <a:lnTo>
                    <a:pt x="5010" y="12697"/>
                  </a:lnTo>
                  <a:cubicBezTo>
                    <a:pt x="4379" y="12382"/>
                    <a:pt x="3812" y="12004"/>
                    <a:pt x="3308" y="11468"/>
                  </a:cubicBezTo>
                  <a:cubicBezTo>
                    <a:pt x="2836" y="10964"/>
                    <a:pt x="2458" y="10366"/>
                    <a:pt x="2143" y="9799"/>
                  </a:cubicBezTo>
                  <a:lnTo>
                    <a:pt x="5293" y="8633"/>
                  </a:lnTo>
                  <a:close/>
                  <a:moveTo>
                    <a:pt x="13705" y="5168"/>
                  </a:moveTo>
                  <a:cubicBezTo>
                    <a:pt x="14335" y="7310"/>
                    <a:pt x="13862" y="9736"/>
                    <a:pt x="12161" y="11437"/>
                  </a:cubicBezTo>
                  <a:cubicBezTo>
                    <a:pt x="10928" y="12670"/>
                    <a:pt x="9328" y="13281"/>
                    <a:pt x="7736" y="13281"/>
                  </a:cubicBezTo>
                  <a:cubicBezTo>
                    <a:pt x="7090" y="13281"/>
                    <a:pt x="6446" y="13181"/>
                    <a:pt x="5829" y="12981"/>
                  </a:cubicBezTo>
                  <a:lnTo>
                    <a:pt x="6963" y="9830"/>
                  </a:lnTo>
                  <a:cubicBezTo>
                    <a:pt x="7230" y="9905"/>
                    <a:pt x="7503" y="9943"/>
                    <a:pt x="7775" y="9943"/>
                  </a:cubicBezTo>
                  <a:cubicBezTo>
                    <a:pt x="8528" y="9943"/>
                    <a:pt x="9265" y="9653"/>
                    <a:pt x="9798" y="9074"/>
                  </a:cubicBezTo>
                  <a:cubicBezTo>
                    <a:pt x="10554" y="8318"/>
                    <a:pt x="10806" y="7278"/>
                    <a:pt x="10554" y="6333"/>
                  </a:cubicBezTo>
                  <a:lnTo>
                    <a:pt x="13705" y="5168"/>
                  </a:lnTo>
                  <a:close/>
                  <a:moveTo>
                    <a:pt x="7766" y="1"/>
                  </a:moveTo>
                  <a:cubicBezTo>
                    <a:pt x="5955" y="1"/>
                    <a:pt x="4143" y="694"/>
                    <a:pt x="2773" y="2080"/>
                  </a:cubicBezTo>
                  <a:cubicBezTo>
                    <a:pt x="0" y="4821"/>
                    <a:pt x="0" y="9263"/>
                    <a:pt x="2773" y="12036"/>
                  </a:cubicBezTo>
                  <a:cubicBezTo>
                    <a:pt x="4155" y="13418"/>
                    <a:pt x="5960" y="14103"/>
                    <a:pt x="7763" y="14103"/>
                  </a:cubicBezTo>
                  <a:cubicBezTo>
                    <a:pt x="9575" y="14103"/>
                    <a:pt x="11385" y="13410"/>
                    <a:pt x="12760" y="12036"/>
                  </a:cubicBezTo>
                  <a:cubicBezTo>
                    <a:pt x="15532" y="9263"/>
                    <a:pt x="15532" y="4821"/>
                    <a:pt x="12760" y="2080"/>
                  </a:cubicBezTo>
                  <a:cubicBezTo>
                    <a:pt x="11389" y="694"/>
                    <a:pt x="9578" y="1"/>
                    <a:pt x="7766"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899" name="Google Shape;10899;p113"/>
            <p:cNvSpPr/>
            <p:nvPr/>
          </p:nvSpPr>
          <p:spPr>
            <a:xfrm>
              <a:off x="-8532875" y="1767625"/>
              <a:ext cx="67775" cy="61850"/>
            </a:xfrm>
            <a:custGeom>
              <a:avLst/>
              <a:gdLst/>
              <a:ahLst/>
              <a:cxnLst/>
              <a:rect l="l" t="t" r="r" b="b"/>
              <a:pathLst>
                <a:path w="2711" h="2474" extrusionOk="0">
                  <a:moveTo>
                    <a:pt x="1340" y="804"/>
                  </a:moveTo>
                  <a:cubicBezTo>
                    <a:pt x="1450" y="804"/>
                    <a:pt x="1560" y="843"/>
                    <a:pt x="1639" y="922"/>
                  </a:cubicBezTo>
                  <a:cubicBezTo>
                    <a:pt x="1797" y="1079"/>
                    <a:pt x="1797" y="1363"/>
                    <a:pt x="1639" y="1520"/>
                  </a:cubicBezTo>
                  <a:cubicBezTo>
                    <a:pt x="1560" y="1599"/>
                    <a:pt x="1450" y="1638"/>
                    <a:pt x="1340" y="1638"/>
                  </a:cubicBezTo>
                  <a:cubicBezTo>
                    <a:pt x="1229" y="1638"/>
                    <a:pt x="1119" y="1599"/>
                    <a:pt x="1040" y="1520"/>
                  </a:cubicBezTo>
                  <a:cubicBezTo>
                    <a:pt x="883" y="1363"/>
                    <a:pt x="883" y="1142"/>
                    <a:pt x="1040" y="922"/>
                  </a:cubicBezTo>
                  <a:cubicBezTo>
                    <a:pt x="1119" y="843"/>
                    <a:pt x="1229" y="804"/>
                    <a:pt x="1340" y="804"/>
                  </a:cubicBezTo>
                  <a:close/>
                  <a:moveTo>
                    <a:pt x="1367" y="0"/>
                  </a:moveTo>
                  <a:cubicBezTo>
                    <a:pt x="1048" y="0"/>
                    <a:pt x="725" y="118"/>
                    <a:pt x="473" y="355"/>
                  </a:cubicBezTo>
                  <a:cubicBezTo>
                    <a:pt x="1" y="827"/>
                    <a:pt x="1" y="1615"/>
                    <a:pt x="473" y="2119"/>
                  </a:cubicBezTo>
                  <a:cubicBezTo>
                    <a:pt x="725" y="2355"/>
                    <a:pt x="1048" y="2473"/>
                    <a:pt x="1367" y="2473"/>
                  </a:cubicBezTo>
                  <a:cubicBezTo>
                    <a:pt x="1686" y="2473"/>
                    <a:pt x="2001" y="2355"/>
                    <a:pt x="2238" y="2119"/>
                  </a:cubicBezTo>
                  <a:cubicBezTo>
                    <a:pt x="2710" y="1646"/>
                    <a:pt x="2710" y="859"/>
                    <a:pt x="2238" y="355"/>
                  </a:cubicBezTo>
                  <a:cubicBezTo>
                    <a:pt x="2001" y="118"/>
                    <a:pt x="1686" y="0"/>
                    <a:pt x="1367"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10900" name="Google Shape;10900;p113"/>
          <p:cNvGrpSpPr/>
          <p:nvPr/>
        </p:nvGrpSpPr>
        <p:grpSpPr>
          <a:xfrm>
            <a:off x="7072338" y="2042543"/>
            <a:ext cx="455407" cy="455439"/>
            <a:chOff x="-13529550" y="1639425"/>
            <a:chExt cx="353650" cy="353675"/>
          </a:xfrm>
        </p:grpSpPr>
        <p:sp>
          <p:nvSpPr>
            <p:cNvPr id="10901" name="Google Shape;10901;p113"/>
            <p:cNvSpPr/>
            <p:nvPr/>
          </p:nvSpPr>
          <p:spPr>
            <a:xfrm>
              <a:off x="-13529550" y="1910125"/>
              <a:ext cx="353650" cy="82975"/>
            </a:xfrm>
            <a:custGeom>
              <a:avLst/>
              <a:gdLst/>
              <a:ahLst/>
              <a:cxnLst/>
              <a:rect l="l" t="t" r="r" b="b"/>
              <a:pathLst>
                <a:path w="14146" h="3319" extrusionOk="0">
                  <a:moveTo>
                    <a:pt x="3434" y="893"/>
                  </a:moveTo>
                  <a:lnTo>
                    <a:pt x="3434" y="893"/>
                  </a:lnTo>
                  <a:cubicBezTo>
                    <a:pt x="3340" y="1145"/>
                    <a:pt x="3308" y="1428"/>
                    <a:pt x="3308" y="1649"/>
                  </a:cubicBezTo>
                  <a:cubicBezTo>
                    <a:pt x="3308" y="1932"/>
                    <a:pt x="3340" y="2153"/>
                    <a:pt x="3434" y="2405"/>
                  </a:cubicBezTo>
                  <a:cubicBezTo>
                    <a:pt x="2899" y="2373"/>
                    <a:pt x="2426" y="2279"/>
                    <a:pt x="2017" y="2153"/>
                  </a:cubicBezTo>
                  <a:cubicBezTo>
                    <a:pt x="1229" y="1964"/>
                    <a:pt x="914" y="1743"/>
                    <a:pt x="819" y="1649"/>
                  </a:cubicBezTo>
                  <a:cubicBezTo>
                    <a:pt x="914" y="1586"/>
                    <a:pt x="1166" y="1334"/>
                    <a:pt x="2017" y="1145"/>
                  </a:cubicBezTo>
                  <a:cubicBezTo>
                    <a:pt x="2426" y="1019"/>
                    <a:pt x="2899" y="956"/>
                    <a:pt x="3434" y="893"/>
                  </a:cubicBezTo>
                  <a:close/>
                  <a:moveTo>
                    <a:pt x="6018" y="861"/>
                  </a:moveTo>
                  <a:cubicBezTo>
                    <a:pt x="7908" y="987"/>
                    <a:pt x="8948" y="1428"/>
                    <a:pt x="9137" y="1649"/>
                  </a:cubicBezTo>
                  <a:cubicBezTo>
                    <a:pt x="9042" y="1743"/>
                    <a:pt x="8790" y="1964"/>
                    <a:pt x="7940" y="2153"/>
                  </a:cubicBezTo>
                  <a:cubicBezTo>
                    <a:pt x="7404" y="2279"/>
                    <a:pt x="6742" y="2405"/>
                    <a:pt x="6018" y="2436"/>
                  </a:cubicBezTo>
                  <a:cubicBezTo>
                    <a:pt x="5892" y="2216"/>
                    <a:pt x="5829" y="1932"/>
                    <a:pt x="5829" y="1649"/>
                  </a:cubicBezTo>
                  <a:cubicBezTo>
                    <a:pt x="5829" y="1365"/>
                    <a:pt x="5892" y="1113"/>
                    <a:pt x="6018" y="861"/>
                  </a:cubicBezTo>
                  <a:close/>
                  <a:moveTo>
                    <a:pt x="5104" y="798"/>
                  </a:moveTo>
                  <a:cubicBezTo>
                    <a:pt x="5041" y="1050"/>
                    <a:pt x="4947" y="1334"/>
                    <a:pt x="4947" y="1617"/>
                  </a:cubicBezTo>
                  <a:cubicBezTo>
                    <a:pt x="4947" y="1901"/>
                    <a:pt x="5010" y="2153"/>
                    <a:pt x="5104" y="2436"/>
                  </a:cubicBezTo>
                  <a:cubicBezTo>
                    <a:pt x="4994" y="2452"/>
                    <a:pt x="4876" y="2460"/>
                    <a:pt x="4754" y="2460"/>
                  </a:cubicBezTo>
                  <a:cubicBezTo>
                    <a:pt x="4632" y="2460"/>
                    <a:pt x="4506" y="2452"/>
                    <a:pt x="4379" y="2436"/>
                  </a:cubicBezTo>
                  <a:cubicBezTo>
                    <a:pt x="4222" y="2216"/>
                    <a:pt x="4159" y="1932"/>
                    <a:pt x="4159" y="1617"/>
                  </a:cubicBezTo>
                  <a:cubicBezTo>
                    <a:pt x="4159" y="1334"/>
                    <a:pt x="4253" y="1050"/>
                    <a:pt x="4379" y="798"/>
                  </a:cubicBezTo>
                  <a:close/>
                  <a:moveTo>
                    <a:pt x="10801" y="817"/>
                  </a:moveTo>
                  <a:cubicBezTo>
                    <a:pt x="10917" y="817"/>
                    <a:pt x="11036" y="841"/>
                    <a:pt x="11153" y="893"/>
                  </a:cubicBezTo>
                  <a:lnTo>
                    <a:pt x="12728" y="1649"/>
                  </a:lnTo>
                  <a:lnTo>
                    <a:pt x="11153" y="2405"/>
                  </a:lnTo>
                  <a:cubicBezTo>
                    <a:pt x="11032" y="2465"/>
                    <a:pt x="10908" y="2493"/>
                    <a:pt x="10788" y="2493"/>
                  </a:cubicBezTo>
                  <a:cubicBezTo>
                    <a:pt x="10346" y="2493"/>
                    <a:pt x="9956" y="2120"/>
                    <a:pt x="9956" y="1649"/>
                  </a:cubicBezTo>
                  <a:cubicBezTo>
                    <a:pt x="9956" y="1173"/>
                    <a:pt x="10354" y="817"/>
                    <a:pt x="10801" y="817"/>
                  </a:cubicBezTo>
                  <a:close/>
                  <a:moveTo>
                    <a:pt x="10785" y="0"/>
                  </a:moveTo>
                  <a:cubicBezTo>
                    <a:pt x="10221" y="0"/>
                    <a:pt x="9666" y="291"/>
                    <a:pt x="9357" y="798"/>
                  </a:cubicBezTo>
                  <a:cubicBezTo>
                    <a:pt x="8349" y="168"/>
                    <a:pt x="6207" y="10"/>
                    <a:pt x="5010" y="10"/>
                  </a:cubicBezTo>
                  <a:cubicBezTo>
                    <a:pt x="3592" y="10"/>
                    <a:pt x="0" y="231"/>
                    <a:pt x="0" y="1649"/>
                  </a:cubicBezTo>
                  <a:cubicBezTo>
                    <a:pt x="0" y="3066"/>
                    <a:pt x="3529" y="3318"/>
                    <a:pt x="5010" y="3318"/>
                  </a:cubicBezTo>
                  <a:cubicBezTo>
                    <a:pt x="6207" y="3318"/>
                    <a:pt x="8349" y="3161"/>
                    <a:pt x="9357" y="2531"/>
                  </a:cubicBezTo>
                  <a:cubicBezTo>
                    <a:pt x="9667" y="3039"/>
                    <a:pt x="10224" y="3315"/>
                    <a:pt x="10790" y="3315"/>
                  </a:cubicBezTo>
                  <a:cubicBezTo>
                    <a:pt x="11031" y="3315"/>
                    <a:pt x="11274" y="3265"/>
                    <a:pt x="11500" y="3161"/>
                  </a:cubicBezTo>
                  <a:lnTo>
                    <a:pt x="13894" y="2058"/>
                  </a:lnTo>
                  <a:cubicBezTo>
                    <a:pt x="14052" y="1964"/>
                    <a:pt x="14146" y="1838"/>
                    <a:pt x="14146" y="1649"/>
                  </a:cubicBezTo>
                  <a:cubicBezTo>
                    <a:pt x="14146" y="1491"/>
                    <a:pt x="14020" y="1334"/>
                    <a:pt x="13894" y="1271"/>
                  </a:cubicBezTo>
                  <a:lnTo>
                    <a:pt x="11500" y="168"/>
                  </a:lnTo>
                  <a:cubicBezTo>
                    <a:pt x="11272" y="54"/>
                    <a:pt x="11028" y="0"/>
                    <a:pt x="10785"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902" name="Google Shape;10902;p113"/>
            <p:cNvSpPr/>
            <p:nvPr/>
          </p:nvSpPr>
          <p:spPr>
            <a:xfrm>
              <a:off x="-13383850" y="1681175"/>
              <a:ext cx="40975" cy="41775"/>
            </a:xfrm>
            <a:custGeom>
              <a:avLst/>
              <a:gdLst/>
              <a:ahLst/>
              <a:cxnLst/>
              <a:rect l="l" t="t" r="r" b="b"/>
              <a:pathLst>
                <a:path w="1639" h="1671" extrusionOk="0">
                  <a:moveTo>
                    <a:pt x="820" y="1"/>
                  </a:moveTo>
                  <a:cubicBezTo>
                    <a:pt x="379" y="1"/>
                    <a:pt x="1" y="379"/>
                    <a:pt x="1" y="851"/>
                  </a:cubicBezTo>
                  <a:cubicBezTo>
                    <a:pt x="1" y="1292"/>
                    <a:pt x="379" y="1670"/>
                    <a:pt x="820" y="1670"/>
                  </a:cubicBezTo>
                  <a:cubicBezTo>
                    <a:pt x="1292" y="1670"/>
                    <a:pt x="1639" y="1292"/>
                    <a:pt x="1639" y="851"/>
                  </a:cubicBezTo>
                  <a:cubicBezTo>
                    <a:pt x="1639" y="379"/>
                    <a:pt x="1292" y="1"/>
                    <a:pt x="820"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903" name="Google Shape;10903;p113"/>
            <p:cNvSpPr/>
            <p:nvPr/>
          </p:nvSpPr>
          <p:spPr>
            <a:xfrm>
              <a:off x="-13446075" y="1692200"/>
              <a:ext cx="41775" cy="41775"/>
            </a:xfrm>
            <a:custGeom>
              <a:avLst/>
              <a:gdLst/>
              <a:ahLst/>
              <a:cxnLst/>
              <a:rect l="l" t="t" r="r" b="b"/>
              <a:pathLst>
                <a:path w="1671" h="1671" extrusionOk="0">
                  <a:moveTo>
                    <a:pt x="820" y="1"/>
                  </a:moveTo>
                  <a:cubicBezTo>
                    <a:pt x="379" y="1"/>
                    <a:pt x="1" y="379"/>
                    <a:pt x="1" y="851"/>
                  </a:cubicBezTo>
                  <a:cubicBezTo>
                    <a:pt x="1" y="1292"/>
                    <a:pt x="379" y="1670"/>
                    <a:pt x="820" y="1670"/>
                  </a:cubicBezTo>
                  <a:cubicBezTo>
                    <a:pt x="1293" y="1670"/>
                    <a:pt x="1671" y="1292"/>
                    <a:pt x="1671" y="851"/>
                  </a:cubicBezTo>
                  <a:cubicBezTo>
                    <a:pt x="1671" y="379"/>
                    <a:pt x="1293" y="1"/>
                    <a:pt x="820"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904" name="Google Shape;10904;p113"/>
            <p:cNvSpPr/>
            <p:nvPr/>
          </p:nvSpPr>
          <p:spPr>
            <a:xfrm>
              <a:off x="-13446075" y="1796175"/>
              <a:ext cx="41775" cy="40975"/>
            </a:xfrm>
            <a:custGeom>
              <a:avLst/>
              <a:gdLst/>
              <a:ahLst/>
              <a:cxnLst/>
              <a:rect l="l" t="t" r="r" b="b"/>
              <a:pathLst>
                <a:path w="1671" h="1639" extrusionOk="0">
                  <a:moveTo>
                    <a:pt x="820" y="0"/>
                  </a:moveTo>
                  <a:cubicBezTo>
                    <a:pt x="379" y="0"/>
                    <a:pt x="1" y="347"/>
                    <a:pt x="1" y="819"/>
                  </a:cubicBezTo>
                  <a:cubicBezTo>
                    <a:pt x="1" y="1260"/>
                    <a:pt x="379" y="1639"/>
                    <a:pt x="820" y="1639"/>
                  </a:cubicBezTo>
                  <a:cubicBezTo>
                    <a:pt x="1293" y="1639"/>
                    <a:pt x="1671" y="1260"/>
                    <a:pt x="1671" y="819"/>
                  </a:cubicBezTo>
                  <a:cubicBezTo>
                    <a:pt x="1671" y="347"/>
                    <a:pt x="1293" y="0"/>
                    <a:pt x="820"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905" name="Google Shape;10905;p113"/>
            <p:cNvSpPr/>
            <p:nvPr/>
          </p:nvSpPr>
          <p:spPr>
            <a:xfrm>
              <a:off x="-13487025" y="1743400"/>
              <a:ext cx="40975" cy="41775"/>
            </a:xfrm>
            <a:custGeom>
              <a:avLst/>
              <a:gdLst/>
              <a:ahLst/>
              <a:cxnLst/>
              <a:rect l="l" t="t" r="r" b="b"/>
              <a:pathLst>
                <a:path w="1639" h="1671" extrusionOk="0">
                  <a:moveTo>
                    <a:pt x="820" y="0"/>
                  </a:moveTo>
                  <a:cubicBezTo>
                    <a:pt x="379" y="0"/>
                    <a:pt x="1" y="379"/>
                    <a:pt x="1" y="851"/>
                  </a:cubicBezTo>
                  <a:cubicBezTo>
                    <a:pt x="1" y="1292"/>
                    <a:pt x="379" y="1670"/>
                    <a:pt x="820" y="1670"/>
                  </a:cubicBezTo>
                  <a:cubicBezTo>
                    <a:pt x="1261" y="1670"/>
                    <a:pt x="1639" y="1292"/>
                    <a:pt x="1639" y="851"/>
                  </a:cubicBezTo>
                  <a:cubicBezTo>
                    <a:pt x="1639" y="379"/>
                    <a:pt x="1261" y="0"/>
                    <a:pt x="820"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906" name="Google Shape;10906;p113"/>
            <p:cNvSpPr/>
            <p:nvPr/>
          </p:nvSpPr>
          <p:spPr>
            <a:xfrm>
              <a:off x="-13383850" y="1805625"/>
              <a:ext cx="40975" cy="41775"/>
            </a:xfrm>
            <a:custGeom>
              <a:avLst/>
              <a:gdLst/>
              <a:ahLst/>
              <a:cxnLst/>
              <a:rect l="l" t="t" r="r" b="b"/>
              <a:pathLst>
                <a:path w="1639" h="1671" extrusionOk="0">
                  <a:moveTo>
                    <a:pt x="820" y="0"/>
                  </a:moveTo>
                  <a:cubicBezTo>
                    <a:pt x="379" y="0"/>
                    <a:pt x="1" y="378"/>
                    <a:pt x="1" y="819"/>
                  </a:cubicBezTo>
                  <a:cubicBezTo>
                    <a:pt x="1" y="1292"/>
                    <a:pt x="379" y="1670"/>
                    <a:pt x="820" y="1670"/>
                  </a:cubicBezTo>
                  <a:cubicBezTo>
                    <a:pt x="1292" y="1670"/>
                    <a:pt x="1639" y="1292"/>
                    <a:pt x="1639" y="819"/>
                  </a:cubicBezTo>
                  <a:cubicBezTo>
                    <a:pt x="1639" y="378"/>
                    <a:pt x="1292" y="0"/>
                    <a:pt x="820"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907" name="Google Shape;10907;p113"/>
            <p:cNvSpPr/>
            <p:nvPr/>
          </p:nvSpPr>
          <p:spPr>
            <a:xfrm>
              <a:off x="-13529550" y="1639425"/>
              <a:ext cx="352075" cy="248925"/>
            </a:xfrm>
            <a:custGeom>
              <a:avLst/>
              <a:gdLst/>
              <a:ahLst/>
              <a:cxnLst/>
              <a:rect l="l" t="t" r="r" b="b"/>
              <a:pathLst>
                <a:path w="14083" h="9957" extrusionOk="0">
                  <a:moveTo>
                    <a:pt x="7057" y="820"/>
                  </a:moveTo>
                  <a:cubicBezTo>
                    <a:pt x="10554" y="820"/>
                    <a:pt x="13264" y="2805"/>
                    <a:pt x="13264" y="5010"/>
                  </a:cubicBezTo>
                  <a:cubicBezTo>
                    <a:pt x="13264" y="7215"/>
                    <a:pt x="10554" y="9137"/>
                    <a:pt x="7057" y="9137"/>
                  </a:cubicBezTo>
                  <a:cubicBezTo>
                    <a:pt x="3529" y="9137"/>
                    <a:pt x="819" y="7215"/>
                    <a:pt x="819" y="5010"/>
                  </a:cubicBezTo>
                  <a:cubicBezTo>
                    <a:pt x="819" y="2742"/>
                    <a:pt x="3623" y="820"/>
                    <a:pt x="7057" y="820"/>
                  </a:cubicBezTo>
                  <a:close/>
                  <a:moveTo>
                    <a:pt x="7057" y="1"/>
                  </a:moveTo>
                  <a:cubicBezTo>
                    <a:pt x="3151" y="1"/>
                    <a:pt x="0" y="2238"/>
                    <a:pt x="0" y="5010"/>
                  </a:cubicBezTo>
                  <a:cubicBezTo>
                    <a:pt x="0" y="7846"/>
                    <a:pt x="3277" y="9956"/>
                    <a:pt x="7057" y="9956"/>
                  </a:cubicBezTo>
                  <a:cubicBezTo>
                    <a:pt x="10870" y="9956"/>
                    <a:pt x="14083" y="7783"/>
                    <a:pt x="14083" y="5010"/>
                  </a:cubicBezTo>
                  <a:cubicBezTo>
                    <a:pt x="14083" y="2238"/>
                    <a:pt x="10933" y="1"/>
                    <a:pt x="7057"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908" name="Google Shape;10908;p113"/>
            <p:cNvSpPr/>
            <p:nvPr/>
          </p:nvSpPr>
          <p:spPr>
            <a:xfrm>
              <a:off x="-13323200" y="1722925"/>
              <a:ext cx="104775" cy="82725"/>
            </a:xfrm>
            <a:custGeom>
              <a:avLst/>
              <a:gdLst/>
              <a:ahLst/>
              <a:cxnLst/>
              <a:rect l="l" t="t" r="r" b="b"/>
              <a:pathLst>
                <a:path w="4191" h="3309" extrusionOk="0">
                  <a:moveTo>
                    <a:pt x="2111" y="819"/>
                  </a:moveTo>
                  <a:cubicBezTo>
                    <a:pt x="2773" y="819"/>
                    <a:pt x="3372" y="1229"/>
                    <a:pt x="3372" y="1670"/>
                  </a:cubicBezTo>
                  <a:cubicBezTo>
                    <a:pt x="3372" y="2080"/>
                    <a:pt x="2805" y="2489"/>
                    <a:pt x="2111" y="2489"/>
                  </a:cubicBezTo>
                  <a:cubicBezTo>
                    <a:pt x="1418" y="2489"/>
                    <a:pt x="851" y="2080"/>
                    <a:pt x="851" y="1670"/>
                  </a:cubicBezTo>
                  <a:cubicBezTo>
                    <a:pt x="883" y="1229"/>
                    <a:pt x="1418" y="819"/>
                    <a:pt x="2111" y="819"/>
                  </a:cubicBezTo>
                  <a:close/>
                  <a:moveTo>
                    <a:pt x="2111" y="0"/>
                  </a:moveTo>
                  <a:cubicBezTo>
                    <a:pt x="914" y="0"/>
                    <a:pt x="1" y="756"/>
                    <a:pt x="1" y="1670"/>
                  </a:cubicBezTo>
                  <a:cubicBezTo>
                    <a:pt x="64" y="2552"/>
                    <a:pt x="946" y="3308"/>
                    <a:pt x="2111" y="3308"/>
                  </a:cubicBezTo>
                  <a:cubicBezTo>
                    <a:pt x="3277" y="3308"/>
                    <a:pt x="4191" y="2552"/>
                    <a:pt x="4191" y="1670"/>
                  </a:cubicBezTo>
                  <a:cubicBezTo>
                    <a:pt x="4191" y="756"/>
                    <a:pt x="3277" y="0"/>
                    <a:pt x="2111"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10909" name="Google Shape;10909;p113"/>
          <p:cNvGrpSpPr/>
          <p:nvPr/>
        </p:nvGrpSpPr>
        <p:grpSpPr>
          <a:xfrm>
            <a:off x="7070809" y="2587319"/>
            <a:ext cx="458465" cy="453411"/>
            <a:chOff x="-13531925" y="2075775"/>
            <a:chExt cx="356025" cy="352100"/>
          </a:xfrm>
        </p:grpSpPr>
        <p:sp>
          <p:nvSpPr>
            <p:cNvPr id="10910" name="Google Shape;10910;p113"/>
            <p:cNvSpPr/>
            <p:nvPr/>
          </p:nvSpPr>
          <p:spPr>
            <a:xfrm>
              <a:off x="-13531925" y="2075775"/>
              <a:ext cx="356025" cy="352100"/>
            </a:xfrm>
            <a:custGeom>
              <a:avLst/>
              <a:gdLst/>
              <a:ahLst/>
              <a:cxnLst/>
              <a:rect l="l" t="t" r="r" b="b"/>
              <a:pathLst>
                <a:path w="14241" h="14084" extrusionOk="0">
                  <a:moveTo>
                    <a:pt x="9610" y="725"/>
                  </a:moveTo>
                  <a:cubicBezTo>
                    <a:pt x="9862" y="725"/>
                    <a:pt x="10019" y="946"/>
                    <a:pt x="10019" y="1166"/>
                  </a:cubicBezTo>
                  <a:lnTo>
                    <a:pt x="10019" y="2017"/>
                  </a:lnTo>
                  <a:lnTo>
                    <a:pt x="10019" y="2111"/>
                  </a:lnTo>
                  <a:lnTo>
                    <a:pt x="9830" y="2395"/>
                  </a:lnTo>
                  <a:cubicBezTo>
                    <a:pt x="9736" y="2426"/>
                    <a:pt x="9704" y="2426"/>
                    <a:pt x="9610" y="2426"/>
                  </a:cubicBezTo>
                  <a:lnTo>
                    <a:pt x="4632" y="2426"/>
                  </a:lnTo>
                  <a:cubicBezTo>
                    <a:pt x="4538" y="2426"/>
                    <a:pt x="4474" y="2395"/>
                    <a:pt x="4411" y="2395"/>
                  </a:cubicBezTo>
                  <a:lnTo>
                    <a:pt x="4222" y="2111"/>
                  </a:lnTo>
                  <a:lnTo>
                    <a:pt x="4222" y="2017"/>
                  </a:lnTo>
                  <a:lnTo>
                    <a:pt x="4222" y="1166"/>
                  </a:lnTo>
                  <a:cubicBezTo>
                    <a:pt x="4222" y="946"/>
                    <a:pt x="4411" y="725"/>
                    <a:pt x="4632" y="725"/>
                  </a:cubicBezTo>
                  <a:close/>
                  <a:moveTo>
                    <a:pt x="9232" y="3308"/>
                  </a:moveTo>
                  <a:lnTo>
                    <a:pt x="8633" y="4128"/>
                  </a:lnTo>
                  <a:lnTo>
                    <a:pt x="5735" y="4128"/>
                  </a:lnTo>
                  <a:lnTo>
                    <a:pt x="5105" y="3308"/>
                  </a:lnTo>
                  <a:close/>
                  <a:moveTo>
                    <a:pt x="2175" y="4915"/>
                  </a:moveTo>
                  <a:cubicBezTo>
                    <a:pt x="2427" y="4915"/>
                    <a:pt x="2584" y="5104"/>
                    <a:pt x="2584" y="5325"/>
                  </a:cubicBezTo>
                  <a:lnTo>
                    <a:pt x="2584" y="5766"/>
                  </a:lnTo>
                  <a:lnTo>
                    <a:pt x="1734" y="5766"/>
                  </a:lnTo>
                  <a:lnTo>
                    <a:pt x="1734" y="5325"/>
                  </a:lnTo>
                  <a:cubicBezTo>
                    <a:pt x="1734" y="5104"/>
                    <a:pt x="1954" y="4915"/>
                    <a:pt x="2175" y="4915"/>
                  </a:cubicBezTo>
                  <a:close/>
                  <a:moveTo>
                    <a:pt x="12193" y="4915"/>
                  </a:moveTo>
                  <a:cubicBezTo>
                    <a:pt x="12414" y="4915"/>
                    <a:pt x="12603" y="5104"/>
                    <a:pt x="12603" y="5325"/>
                  </a:cubicBezTo>
                  <a:lnTo>
                    <a:pt x="12603" y="5766"/>
                  </a:lnTo>
                  <a:lnTo>
                    <a:pt x="11784" y="5766"/>
                  </a:lnTo>
                  <a:lnTo>
                    <a:pt x="11784" y="5325"/>
                  </a:lnTo>
                  <a:lnTo>
                    <a:pt x="11752" y="5325"/>
                  </a:lnTo>
                  <a:cubicBezTo>
                    <a:pt x="11752" y="5104"/>
                    <a:pt x="11941" y="4915"/>
                    <a:pt x="12193" y="4915"/>
                  </a:cubicBezTo>
                  <a:close/>
                  <a:moveTo>
                    <a:pt x="8570" y="4947"/>
                  </a:moveTo>
                  <a:lnTo>
                    <a:pt x="9263" y="6364"/>
                  </a:lnTo>
                  <a:cubicBezTo>
                    <a:pt x="9358" y="6522"/>
                    <a:pt x="9452" y="6616"/>
                    <a:pt x="9641" y="6616"/>
                  </a:cubicBezTo>
                  <a:lnTo>
                    <a:pt x="12981" y="6616"/>
                  </a:lnTo>
                  <a:cubicBezTo>
                    <a:pt x="13201" y="6616"/>
                    <a:pt x="13390" y="6806"/>
                    <a:pt x="13390" y="7026"/>
                  </a:cubicBezTo>
                  <a:lnTo>
                    <a:pt x="13390" y="7467"/>
                  </a:lnTo>
                  <a:lnTo>
                    <a:pt x="9200" y="7467"/>
                  </a:lnTo>
                  <a:cubicBezTo>
                    <a:pt x="8665" y="6963"/>
                    <a:pt x="7972" y="6648"/>
                    <a:pt x="7184" y="6648"/>
                  </a:cubicBezTo>
                  <a:cubicBezTo>
                    <a:pt x="6396" y="6648"/>
                    <a:pt x="5703" y="6963"/>
                    <a:pt x="5136" y="7467"/>
                  </a:cubicBezTo>
                  <a:lnTo>
                    <a:pt x="977" y="7467"/>
                  </a:lnTo>
                  <a:lnTo>
                    <a:pt x="977" y="7026"/>
                  </a:lnTo>
                  <a:cubicBezTo>
                    <a:pt x="914" y="6774"/>
                    <a:pt x="1103" y="6616"/>
                    <a:pt x="1356" y="6616"/>
                  </a:cubicBezTo>
                  <a:lnTo>
                    <a:pt x="4664" y="6616"/>
                  </a:lnTo>
                  <a:cubicBezTo>
                    <a:pt x="4821" y="6616"/>
                    <a:pt x="4979" y="6522"/>
                    <a:pt x="5010" y="6364"/>
                  </a:cubicBezTo>
                  <a:lnTo>
                    <a:pt x="5735" y="4947"/>
                  </a:lnTo>
                  <a:close/>
                  <a:moveTo>
                    <a:pt x="4506" y="8255"/>
                  </a:moveTo>
                  <a:cubicBezTo>
                    <a:pt x="4317" y="8664"/>
                    <a:pt x="4222" y="9042"/>
                    <a:pt x="4222" y="9515"/>
                  </a:cubicBezTo>
                  <a:cubicBezTo>
                    <a:pt x="4222" y="9956"/>
                    <a:pt x="4348" y="10366"/>
                    <a:pt x="4506" y="10744"/>
                  </a:cubicBezTo>
                  <a:lnTo>
                    <a:pt x="914" y="10744"/>
                  </a:lnTo>
                  <a:lnTo>
                    <a:pt x="914" y="8255"/>
                  </a:lnTo>
                  <a:close/>
                  <a:moveTo>
                    <a:pt x="13390" y="8286"/>
                  </a:moveTo>
                  <a:lnTo>
                    <a:pt x="13390" y="10744"/>
                  </a:lnTo>
                  <a:lnTo>
                    <a:pt x="9767" y="10744"/>
                  </a:lnTo>
                  <a:cubicBezTo>
                    <a:pt x="9988" y="10334"/>
                    <a:pt x="10051" y="9956"/>
                    <a:pt x="10051" y="9515"/>
                  </a:cubicBezTo>
                  <a:cubicBezTo>
                    <a:pt x="10051" y="9074"/>
                    <a:pt x="9925" y="8664"/>
                    <a:pt x="9767" y="8286"/>
                  </a:cubicBezTo>
                  <a:close/>
                  <a:moveTo>
                    <a:pt x="7152" y="7373"/>
                  </a:moveTo>
                  <a:cubicBezTo>
                    <a:pt x="8287" y="7373"/>
                    <a:pt x="9232" y="8318"/>
                    <a:pt x="9232" y="9483"/>
                  </a:cubicBezTo>
                  <a:cubicBezTo>
                    <a:pt x="9232" y="10618"/>
                    <a:pt x="8287" y="11563"/>
                    <a:pt x="7152" y="11563"/>
                  </a:cubicBezTo>
                  <a:cubicBezTo>
                    <a:pt x="5987" y="11563"/>
                    <a:pt x="5042" y="10618"/>
                    <a:pt x="5042" y="9483"/>
                  </a:cubicBezTo>
                  <a:cubicBezTo>
                    <a:pt x="5042" y="8318"/>
                    <a:pt x="5987" y="7373"/>
                    <a:pt x="7152" y="7373"/>
                  </a:cubicBezTo>
                  <a:close/>
                  <a:moveTo>
                    <a:pt x="13390" y="11563"/>
                  </a:moveTo>
                  <a:lnTo>
                    <a:pt x="13390" y="12791"/>
                  </a:lnTo>
                  <a:cubicBezTo>
                    <a:pt x="13390" y="13012"/>
                    <a:pt x="13201" y="13201"/>
                    <a:pt x="12981" y="13201"/>
                  </a:cubicBezTo>
                  <a:lnTo>
                    <a:pt x="1356" y="13201"/>
                  </a:lnTo>
                  <a:cubicBezTo>
                    <a:pt x="1103" y="13201"/>
                    <a:pt x="946" y="13012"/>
                    <a:pt x="946" y="12791"/>
                  </a:cubicBezTo>
                  <a:lnTo>
                    <a:pt x="946" y="11563"/>
                  </a:lnTo>
                  <a:lnTo>
                    <a:pt x="5136" y="11563"/>
                  </a:lnTo>
                  <a:cubicBezTo>
                    <a:pt x="5640" y="12067"/>
                    <a:pt x="6396" y="12382"/>
                    <a:pt x="7184" y="12382"/>
                  </a:cubicBezTo>
                  <a:cubicBezTo>
                    <a:pt x="7972" y="12382"/>
                    <a:pt x="8665" y="12067"/>
                    <a:pt x="9200" y="11563"/>
                  </a:cubicBezTo>
                  <a:close/>
                  <a:moveTo>
                    <a:pt x="4569" y="0"/>
                  </a:moveTo>
                  <a:cubicBezTo>
                    <a:pt x="3907" y="0"/>
                    <a:pt x="3309" y="536"/>
                    <a:pt x="3309" y="1261"/>
                  </a:cubicBezTo>
                  <a:lnTo>
                    <a:pt x="3309" y="2111"/>
                  </a:lnTo>
                  <a:cubicBezTo>
                    <a:pt x="3309" y="2458"/>
                    <a:pt x="3466" y="2836"/>
                    <a:pt x="3750" y="3056"/>
                  </a:cubicBezTo>
                  <a:lnTo>
                    <a:pt x="4884" y="4632"/>
                  </a:lnTo>
                  <a:lnTo>
                    <a:pt x="4317" y="5829"/>
                  </a:lnTo>
                  <a:lnTo>
                    <a:pt x="3309" y="5829"/>
                  </a:lnTo>
                  <a:lnTo>
                    <a:pt x="3309" y="5388"/>
                  </a:lnTo>
                  <a:cubicBezTo>
                    <a:pt x="3309" y="4726"/>
                    <a:pt x="2773" y="4159"/>
                    <a:pt x="2112" y="4159"/>
                  </a:cubicBezTo>
                  <a:cubicBezTo>
                    <a:pt x="1419" y="4159"/>
                    <a:pt x="851" y="4726"/>
                    <a:pt x="851" y="5388"/>
                  </a:cubicBezTo>
                  <a:lnTo>
                    <a:pt x="851" y="5860"/>
                  </a:lnTo>
                  <a:cubicBezTo>
                    <a:pt x="379" y="6018"/>
                    <a:pt x="1" y="6490"/>
                    <a:pt x="1" y="7026"/>
                  </a:cubicBezTo>
                  <a:lnTo>
                    <a:pt x="1" y="12823"/>
                  </a:lnTo>
                  <a:cubicBezTo>
                    <a:pt x="1" y="13485"/>
                    <a:pt x="568" y="14083"/>
                    <a:pt x="1229" y="14083"/>
                  </a:cubicBezTo>
                  <a:lnTo>
                    <a:pt x="12855" y="14083"/>
                  </a:lnTo>
                  <a:cubicBezTo>
                    <a:pt x="13516" y="14083"/>
                    <a:pt x="14115" y="13516"/>
                    <a:pt x="14115" y="12823"/>
                  </a:cubicBezTo>
                  <a:lnTo>
                    <a:pt x="14115" y="7026"/>
                  </a:lnTo>
                  <a:cubicBezTo>
                    <a:pt x="14241" y="6490"/>
                    <a:pt x="13863" y="6018"/>
                    <a:pt x="13390" y="5860"/>
                  </a:cubicBezTo>
                  <a:lnTo>
                    <a:pt x="13390" y="5388"/>
                  </a:lnTo>
                  <a:cubicBezTo>
                    <a:pt x="13390" y="4726"/>
                    <a:pt x="12855" y="4159"/>
                    <a:pt x="12130" y="4159"/>
                  </a:cubicBezTo>
                  <a:cubicBezTo>
                    <a:pt x="11469" y="4159"/>
                    <a:pt x="10870" y="4726"/>
                    <a:pt x="10870" y="5388"/>
                  </a:cubicBezTo>
                  <a:lnTo>
                    <a:pt x="10870" y="5829"/>
                  </a:lnTo>
                  <a:lnTo>
                    <a:pt x="9862" y="5829"/>
                  </a:lnTo>
                  <a:lnTo>
                    <a:pt x="9263" y="4632"/>
                  </a:lnTo>
                  <a:lnTo>
                    <a:pt x="10429" y="3056"/>
                  </a:lnTo>
                  <a:cubicBezTo>
                    <a:pt x="10681" y="2836"/>
                    <a:pt x="10838" y="2521"/>
                    <a:pt x="10838" y="2111"/>
                  </a:cubicBezTo>
                  <a:lnTo>
                    <a:pt x="10838" y="1261"/>
                  </a:lnTo>
                  <a:cubicBezTo>
                    <a:pt x="10838" y="568"/>
                    <a:pt x="10303" y="0"/>
                    <a:pt x="9578"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911" name="Google Shape;10911;p113"/>
            <p:cNvSpPr/>
            <p:nvPr/>
          </p:nvSpPr>
          <p:spPr>
            <a:xfrm>
              <a:off x="-13384625" y="2282125"/>
              <a:ext cx="63025" cy="60675"/>
            </a:xfrm>
            <a:custGeom>
              <a:avLst/>
              <a:gdLst/>
              <a:ahLst/>
              <a:cxnLst/>
              <a:rect l="l" t="t" r="r" b="b"/>
              <a:pathLst>
                <a:path w="2521" h="2427" extrusionOk="0">
                  <a:moveTo>
                    <a:pt x="1260" y="788"/>
                  </a:moveTo>
                  <a:cubicBezTo>
                    <a:pt x="1449" y="788"/>
                    <a:pt x="1670" y="977"/>
                    <a:pt x="1670" y="1229"/>
                  </a:cubicBezTo>
                  <a:cubicBezTo>
                    <a:pt x="1670" y="1450"/>
                    <a:pt x="1481" y="1639"/>
                    <a:pt x="1260" y="1639"/>
                  </a:cubicBezTo>
                  <a:cubicBezTo>
                    <a:pt x="1008" y="1639"/>
                    <a:pt x="851" y="1450"/>
                    <a:pt x="851" y="1229"/>
                  </a:cubicBezTo>
                  <a:cubicBezTo>
                    <a:pt x="851" y="977"/>
                    <a:pt x="1040" y="788"/>
                    <a:pt x="1260" y="788"/>
                  </a:cubicBezTo>
                  <a:close/>
                  <a:moveTo>
                    <a:pt x="1260" y="1"/>
                  </a:moveTo>
                  <a:cubicBezTo>
                    <a:pt x="536" y="1"/>
                    <a:pt x="0" y="568"/>
                    <a:pt x="0" y="1229"/>
                  </a:cubicBezTo>
                  <a:cubicBezTo>
                    <a:pt x="0" y="1891"/>
                    <a:pt x="536" y="2427"/>
                    <a:pt x="1260" y="2427"/>
                  </a:cubicBezTo>
                  <a:cubicBezTo>
                    <a:pt x="1954" y="2427"/>
                    <a:pt x="2521" y="1923"/>
                    <a:pt x="2521" y="1229"/>
                  </a:cubicBezTo>
                  <a:cubicBezTo>
                    <a:pt x="2521" y="568"/>
                    <a:pt x="1954" y="1"/>
                    <a:pt x="1260"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10912" name="Google Shape;10912;p113"/>
          <p:cNvGrpSpPr/>
          <p:nvPr/>
        </p:nvGrpSpPr>
        <p:grpSpPr>
          <a:xfrm>
            <a:off x="7072837" y="3131593"/>
            <a:ext cx="454409" cy="454409"/>
            <a:chOff x="-13528775" y="2507400"/>
            <a:chExt cx="352875" cy="352875"/>
          </a:xfrm>
        </p:grpSpPr>
        <p:sp>
          <p:nvSpPr>
            <p:cNvPr id="10913" name="Google Shape;10913;p113"/>
            <p:cNvSpPr/>
            <p:nvPr/>
          </p:nvSpPr>
          <p:spPr>
            <a:xfrm>
              <a:off x="-13528775" y="2507400"/>
              <a:ext cx="352875" cy="352875"/>
            </a:xfrm>
            <a:custGeom>
              <a:avLst/>
              <a:gdLst/>
              <a:ahLst/>
              <a:cxnLst/>
              <a:rect l="l" t="t" r="r" b="b"/>
              <a:pathLst>
                <a:path w="14115" h="14115" extrusionOk="0">
                  <a:moveTo>
                    <a:pt x="6018" y="851"/>
                  </a:moveTo>
                  <a:lnTo>
                    <a:pt x="7121" y="2489"/>
                  </a:lnTo>
                  <a:lnTo>
                    <a:pt x="5640" y="2489"/>
                  </a:lnTo>
                  <a:lnTo>
                    <a:pt x="4538" y="851"/>
                  </a:lnTo>
                  <a:close/>
                  <a:moveTo>
                    <a:pt x="8507" y="851"/>
                  </a:moveTo>
                  <a:lnTo>
                    <a:pt x="9610" y="2489"/>
                  </a:lnTo>
                  <a:lnTo>
                    <a:pt x="8129" y="2489"/>
                  </a:lnTo>
                  <a:lnTo>
                    <a:pt x="7026" y="851"/>
                  </a:lnTo>
                  <a:close/>
                  <a:moveTo>
                    <a:pt x="10996" y="851"/>
                  </a:moveTo>
                  <a:lnTo>
                    <a:pt x="12099" y="2489"/>
                  </a:lnTo>
                  <a:lnTo>
                    <a:pt x="10586" y="2489"/>
                  </a:lnTo>
                  <a:lnTo>
                    <a:pt x="9484" y="851"/>
                  </a:lnTo>
                  <a:close/>
                  <a:moveTo>
                    <a:pt x="12855" y="851"/>
                  </a:moveTo>
                  <a:cubicBezTo>
                    <a:pt x="13075" y="851"/>
                    <a:pt x="13264" y="1040"/>
                    <a:pt x="13264" y="1260"/>
                  </a:cubicBezTo>
                  <a:lnTo>
                    <a:pt x="13264" y="2489"/>
                  </a:lnTo>
                  <a:lnTo>
                    <a:pt x="13075" y="2489"/>
                  </a:lnTo>
                  <a:lnTo>
                    <a:pt x="11973" y="851"/>
                  </a:lnTo>
                  <a:close/>
                  <a:moveTo>
                    <a:pt x="7121" y="3308"/>
                  </a:moveTo>
                  <a:lnTo>
                    <a:pt x="6018" y="4978"/>
                  </a:lnTo>
                  <a:lnTo>
                    <a:pt x="4538" y="4978"/>
                  </a:lnTo>
                  <a:lnTo>
                    <a:pt x="5640" y="3308"/>
                  </a:lnTo>
                  <a:close/>
                  <a:moveTo>
                    <a:pt x="9610" y="3308"/>
                  </a:moveTo>
                  <a:lnTo>
                    <a:pt x="8507" y="4978"/>
                  </a:lnTo>
                  <a:lnTo>
                    <a:pt x="7026" y="4978"/>
                  </a:lnTo>
                  <a:lnTo>
                    <a:pt x="8129" y="3308"/>
                  </a:lnTo>
                  <a:close/>
                  <a:moveTo>
                    <a:pt x="12099" y="3308"/>
                  </a:moveTo>
                  <a:lnTo>
                    <a:pt x="10996" y="4978"/>
                  </a:lnTo>
                  <a:lnTo>
                    <a:pt x="9484" y="4978"/>
                  </a:lnTo>
                  <a:lnTo>
                    <a:pt x="10586" y="3308"/>
                  </a:lnTo>
                  <a:close/>
                  <a:moveTo>
                    <a:pt x="13264" y="3308"/>
                  </a:moveTo>
                  <a:lnTo>
                    <a:pt x="13264" y="4978"/>
                  </a:lnTo>
                  <a:lnTo>
                    <a:pt x="11973" y="4978"/>
                  </a:lnTo>
                  <a:lnTo>
                    <a:pt x="13075" y="3308"/>
                  </a:lnTo>
                  <a:close/>
                  <a:moveTo>
                    <a:pt x="3561" y="851"/>
                  </a:moveTo>
                  <a:lnTo>
                    <a:pt x="4916" y="2930"/>
                  </a:lnTo>
                  <a:lnTo>
                    <a:pt x="3561" y="5009"/>
                  </a:lnTo>
                  <a:lnTo>
                    <a:pt x="820" y="5009"/>
                  </a:lnTo>
                  <a:lnTo>
                    <a:pt x="820" y="1323"/>
                  </a:lnTo>
                  <a:cubicBezTo>
                    <a:pt x="788" y="1040"/>
                    <a:pt x="977" y="851"/>
                    <a:pt x="1230" y="851"/>
                  </a:cubicBezTo>
                  <a:close/>
                  <a:moveTo>
                    <a:pt x="13264" y="5797"/>
                  </a:moveTo>
                  <a:lnTo>
                    <a:pt x="13264" y="12886"/>
                  </a:lnTo>
                  <a:cubicBezTo>
                    <a:pt x="13264" y="13138"/>
                    <a:pt x="13075" y="13327"/>
                    <a:pt x="12855" y="13327"/>
                  </a:cubicBezTo>
                  <a:lnTo>
                    <a:pt x="1230" y="13327"/>
                  </a:lnTo>
                  <a:cubicBezTo>
                    <a:pt x="1009" y="13327"/>
                    <a:pt x="851" y="13138"/>
                    <a:pt x="851" y="12886"/>
                  </a:cubicBezTo>
                  <a:lnTo>
                    <a:pt x="851" y="5797"/>
                  </a:lnTo>
                  <a:close/>
                  <a:moveTo>
                    <a:pt x="1230" y="0"/>
                  </a:moveTo>
                  <a:cubicBezTo>
                    <a:pt x="568" y="0"/>
                    <a:pt x="1" y="567"/>
                    <a:pt x="1" y="1260"/>
                  </a:cubicBezTo>
                  <a:lnTo>
                    <a:pt x="1" y="12886"/>
                  </a:lnTo>
                  <a:cubicBezTo>
                    <a:pt x="1" y="13547"/>
                    <a:pt x="568" y="14114"/>
                    <a:pt x="1230" y="14114"/>
                  </a:cubicBezTo>
                  <a:lnTo>
                    <a:pt x="12855" y="14114"/>
                  </a:lnTo>
                  <a:cubicBezTo>
                    <a:pt x="13516" y="14114"/>
                    <a:pt x="14115" y="13547"/>
                    <a:pt x="14115" y="12886"/>
                  </a:cubicBezTo>
                  <a:lnTo>
                    <a:pt x="14115" y="1260"/>
                  </a:lnTo>
                  <a:cubicBezTo>
                    <a:pt x="14115" y="599"/>
                    <a:pt x="13548" y="0"/>
                    <a:pt x="12855"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914" name="Google Shape;10914;p113"/>
            <p:cNvSpPr/>
            <p:nvPr/>
          </p:nvSpPr>
          <p:spPr>
            <a:xfrm>
              <a:off x="-13403525" y="2673750"/>
              <a:ext cx="123675" cy="145750"/>
            </a:xfrm>
            <a:custGeom>
              <a:avLst/>
              <a:gdLst/>
              <a:ahLst/>
              <a:cxnLst/>
              <a:rect l="l" t="t" r="r" b="b"/>
              <a:pathLst>
                <a:path w="4947" h="5830" extrusionOk="0">
                  <a:moveTo>
                    <a:pt x="819" y="1159"/>
                  </a:moveTo>
                  <a:lnTo>
                    <a:pt x="3749" y="2924"/>
                  </a:lnTo>
                  <a:lnTo>
                    <a:pt x="819" y="4688"/>
                  </a:lnTo>
                  <a:lnTo>
                    <a:pt x="819" y="1159"/>
                  </a:lnTo>
                  <a:close/>
                  <a:moveTo>
                    <a:pt x="415" y="0"/>
                  </a:moveTo>
                  <a:cubicBezTo>
                    <a:pt x="197" y="0"/>
                    <a:pt x="0" y="166"/>
                    <a:pt x="0" y="403"/>
                  </a:cubicBezTo>
                  <a:lnTo>
                    <a:pt x="0" y="5412"/>
                  </a:lnTo>
                  <a:cubicBezTo>
                    <a:pt x="0" y="5570"/>
                    <a:pt x="63" y="5696"/>
                    <a:pt x="189" y="5759"/>
                  </a:cubicBezTo>
                  <a:cubicBezTo>
                    <a:pt x="252" y="5806"/>
                    <a:pt x="323" y="5830"/>
                    <a:pt x="398" y="5830"/>
                  </a:cubicBezTo>
                  <a:cubicBezTo>
                    <a:pt x="473" y="5830"/>
                    <a:pt x="551" y="5806"/>
                    <a:pt x="630" y="5759"/>
                  </a:cubicBezTo>
                  <a:lnTo>
                    <a:pt x="4757" y="3239"/>
                  </a:lnTo>
                  <a:cubicBezTo>
                    <a:pt x="4883" y="3176"/>
                    <a:pt x="4946" y="3050"/>
                    <a:pt x="4946" y="2892"/>
                  </a:cubicBezTo>
                  <a:cubicBezTo>
                    <a:pt x="4946" y="2735"/>
                    <a:pt x="4883" y="2640"/>
                    <a:pt x="4757" y="2577"/>
                  </a:cubicBezTo>
                  <a:lnTo>
                    <a:pt x="630" y="57"/>
                  </a:lnTo>
                  <a:cubicBezTo>
                    <a:pt x="560" y="18"/>
                    <a:pt x="487" y="0"/>
                    <a:pt x="415"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915" name="Google Shape;10915;p113"/>
            <p:cNvSpPr/>
            <p:nvPr/>
          </p:nvSpPr>
          <p:spPr>
            <a:xfrm>
              <a:off x="-13486225" y="2559375"/>
              <a:ext cx="40975" cy="41775"/>
            </a:xfrm>
            <a:custGeom>
              <a:avLst/>
              <a:gdLst/>
              <a:ahLst/>
              <a:cxnLst/>
              <a:rect l="l" t="t" r="r" b="b"/>
              <a:pathLst>
                <a:path w="1639" h="1671" extrusionOk="0">
                  <a:moveTo>
                    <a:pt x="819" y="0"/>
                  </a:moveTo>
                  <a:cubicBezTo>
                    <a:pt x="378" y="0"/>
                    <a:pt x="0" y="378"/>
                    <a:pt x="0" y="851"/>
                  </a:cubicBezTo>
                  <a:cubicBezTo>
                    <a:pt x="0" y="1292"/>
                    <a:pt x="378" y="1670"/>
                    <a:pt x="819" y="1670"/>
                  </a:cubicBezTo>
                  <a:cubicBezTo>
                    <a:pt x="1292" y="1670"/>
                    <a:pt x="1638" y="1292"/>
                    <a:pt x="1638" y="851"/>
                  </a:cubicBezTo>
                  <a:cubicBezTo>
                    <a:pt x="1638" y="378"/>
                    <a:pt x="1292" y="0"/>
                    <a:pt x="819"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sp>
        <p:nvSpPr>
          <p:cNvPr id="10916" name="Google Shape;10916;p113"/>
          <p:cNvSpPr/>
          <p:nvPr/>
        </p:nvSpPr>
        <p:spPr>
          <a:xfrm>
            <a:off x="9497851" y="2084141"/>
            <a:ext cx="455439" cy="372252"/>
          </a:xfrm>
          <a:custGeom>
            <a:avLst/>
            <a:gdLst/>
            <a:ahLst/>
            <a:cxnLst/>
            <a:rect l="l" t="t" r="r" b="b"/>
            <a:pathLst>
              <a:path w="14147" h="11563" extrusionOk="0">
                <a:moveTo>
                  <a:pt x="6680" y="819"/>
                </a:moveTo>
                <a:lnTo>
                  <a:pt x="6680" y="5009"/>
                </a:lnTo>
                <a:lnTo>
                  <a:pt x="6648" y="5009"/>
                </a:lnTo>
                <a:cubicBezTo>
                  <a:pt x="6302" y="5041"/>
                  <a:pt x="5924" y="5167"/>
                  <a:pt x="5609" y="5356"/>
                </a:cubicBezTo>
                <a:lnTo>
                  <a:pt x="3624" y="1859"/>
                </a:lnTo>
                <a:cubicBezTo>
                  <a:pt x="4506" y="1260"/>
                  <a:pt x="5546" y="882"/>
                  <a:pt x="6680" y="819"/>
                </a:cubicBezTo>
                <a:close/>
                <a:moveTo>
                  <a:pt x="7531" y="819"/>
                </a:moveTo>
                <a:cubicBezTo>
                  <a:pt x="8633" y="914"/>
                  <a:pt x="9673" y="1260"/>
                  <a:pt x="10587" y="1859"/>
                </a:cubicBezTo>
                <a:lnTo>
                  <a:pt x="8539" y="5356"/>
                </a:lnTo>
                <a:cubicBezTo>
                  <a:pt x="8224" y="5167"/>
                  <a:pt x="7877" y="5041"/>
                  <a:pt x="7531" y="5009"/>
                </a:cubicBezTo>
                <a:lnTo>
                  <a:pt x="7531" y="819"/>
                </a:lnTo>
                <a:close/>
                <a:moveTo>
                  <a:pt x="2931" y="2332"/>
                </a:moveTo>
                <a:lnTo>
                  <a:pt x="5010" y="5829"/>
                </a:lnTo>
                <a:cubicBezTo>
                  <a:pt x="4632" y="6175"/>
                  <a:pt x="4412" y="6648"/>
                  <a:pt x="4286" y="7152"/>
                </a:cubicBezTo>
                <a:lnTo>
                  <a:pt x="915" y="5892"/>
                </a:lnTo>
                <a:cubicBezTo>
                  <a:pt x="1135" y="4474"/>
                  <a:pt x="1891" y="3214"/>
                  <a:pt x="2931" y="2332"/>
                </a:cubicBezTo>
                <a:close/>
                <a:moveTo>
                  <a:pt x="11248" y="2300"/>
                </a:moveTo>
                <a:cubicBezTo>
                  <a:pt x="12319" y="3214"/>
                  <a:pt x="13075" y="4474"/>
                  <a:pt x="13296" y="5892"/>
                </a:cubicBezTo>
                <a:lnTo>
                  <a:pt x="9925" y="7152"/>
                </a:lnTo>
                <a:cubicBezTo>
                  <a:pt x="9799" y="6648"/>
                  <a:pt x="9547" y="6207"/>
                  <a:pt x="9200" y="5829"/>
                </a:cubicBezTo>
                <a:lnTo>
                  <a:pt x="11248" y="2300"/>
                </a:lnTo>
                <a:close/>
                <a:moveTo>
                  <a:pt x="7090" y="5797"/>
                </a:moveTo>
                <a:cubicBezTo>
                  <a:pt x="8098" y="5797"/>
                  <a:pt x="8948" y="6522"/>
                  <a:pt x="9137" y="7467"/>
                </a:cubicBezTo>
                <a:lnTo>
                  <a:pt x="7090" y="8223"/>
                </a:lnTo>
                <a:lnTo>
                  <a:pt x="5042" y="7467"/>
                </a:lnTo>
                <a:cubicBezTo>
                  <a:pt x="5199" y="6522"/>
                  <a:pt x="6050" y="5797"/>
                  <a:pt x="7090" y="5797"/>
                </a:cubicBezTo>
                <a:close/>
                <a:moveTo>
                  <a:pt x="7090" y="9294"/>
                </a:moveTo>
                <a:lnTo>
                  <a:pt x="8161" y="10428"/>
                </a:lnTo>
                <a:cubicBezTo>
                  <a:pt x="7830" y="10633"/>
                  <a:pt x="7452" y="10735"/>
                  <a:pt x="7078" y="10735"/>
                </a:cubicBezTo>
                <a:cubicBezTo>
                  <a:pt x="6704" y="10735"/>
                  <a:pt x="6333" y="10633"/>
                  <a:pt x="6018" y="10428"/>
                </a:cubicBezTo>
                <a:lnTo>
                  <a:pt x="7090" y="9294"/>
                </a:lnTo>
                <a:close/>
                <a:moveTo>
                  <a:pt x="7090" y="0"/>
                </a:moveTo>
                <a:cubicBezTo>
                  <a:pt x="3498" y="0"/>
                  <a:pt x="473" y="2678"/>
                  <a:pt x="32" y="6144"/>
                </a:cubicBezTo>
                <a:cubicBezTo>
                  <a:pt x="1" y="6333"/>
                  <a:pt x="95" y="6490"/>
                  <a:pt x="316" y="6585"/>
                </a:cubicBezTo>
                <a:lnTo>
                  <a:pt x="6365" y="8853"/>
                </a:lnTo>
                <a:lnTo>
                  <a:pt x="5168" y="10208"/>
                </a:lnTo>
                <a:cubicBezTo>
                  <a:pt x="5010" y="10365"/>
                  <a:pt x="5010" y="10617"/>
                  <a:pt x="5168" y="10775"/>
                </a:cubicBezTo>
                <a:cubicBezTo>
                  <a:pt x="5672" y="11310"/>
                  <a:pt x="6365" y="11562"/>
                  <a:pt x="7090" y="11562"/>
                </a:cubicBezTo>
                <a:cubicBezTo>
                  <a:pt x="7846" y="11562"/>
                  <a:pt x="8507" y="11310"/>
                  <a:pt x="9011" y="10775"/>
                </a:cubicBezTo>
                <a:cubicBezTo>
                  <a:pt x="9169" y="10617"/>
                  <a:pt x="9169" y="10397"/>
                  <a:pt x="9011" y="10208"/>
                </a:cubicBezTo>
                <a:lnTo>
                  <a:pt x="7783" y="8853"/>
                </a:lnTo>
                <a:lnTo>
                  <a:pt x="13863" y="6585"/>
                </a:lnTo>
                <a:cubicBezTo>
                  <a:pt x="14052" y="6490"/>
                  <a:pt x="14147" y="6333"/>
                  <a:pt x="14147" y="6144"/>
                </a:cubicBezTo>
                <a:cubicBezTo>
                  <a:pt x="13706" y="2678"/>
                  <a:pt x="10650" y="0"/>
                  <a:pt x="7090"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917" name="Google Shape;10917;p113"/>
          <p:cNvSpPr/>
          <p:nvPr/>
        </p:nvSpPr>
        <p:spPr>
          <a:xfrm>
            <a:off x="9497352" y="2586936"/>
            <a:ext cx="456437" cy="454184"/>
          </a:xfrm>
          <a:custGeom>
            <a:avLst/>
            <a:gdLst/>
            <a:ahLst/>
            <a:cxnLst/>
            <a:rect l="l" t="t" r="r" b="b"/>
            <a:pathLst>
              <a:path w="14178" h="14108" extrusionOk="0">
                <a:moveTo>
                  <a:pt x="8727" y="5034"/>
                </a:moveTo>
                <a:cubicBezTo>
                  <a:pt x="8948" y="5065"/>
                  <a:pt x="9137" y="5254"/>
                  <a:pt x="9137" y="5443"/>
                </a:cubicBezTo>
                <a:cubicBezTo>
                  <a:pt x="9137" y="5695"/>
                  <a:pt x="8948" y="5885"/>
                  <a:pt x="8727" y="5885"/>
                </a:cubicBezTo>
                <a:cubicBezTo>
                  <a:pt x="8507" y="5885"/>
                  <a:pt x="8318" y="5695"/>
                  <a:pt x="8318" y="5443"/>
                </a:cubicBezTo>
                <a:cubicBezTo>
                  <a:pt x="8318" y="5223"/>
                  <a:pt x="8507" y="5034"/>
                  <a:pt x="8727" y="5034"/>
                </a:cubicBezTo>
                <a:close/>
                <a:moveTo>
                  <a:pt x="5388" y="5065"/>
                </a:moveTo>
                <a:cubicBezTo>
                  <a:pt x="5640" y="5065"/>
                  <a:pt x="5829" y="5254"/>
                  <a:pt x="5829" y="5506"/>
                </a:cubicBezTo>
                <a:cubicBezTo>
                  <a:pt x="5829" y="5727"/>
                  <a:pt x="5640" y="5916"/>
                  <a:pt x="5388" y="5916"/>
                </a:cubicBezTo>
                <a:cubicBezTo>
                  <a:pt x="5167" y="5916"/>
                  <a:pt x="5010" y="5727"/>
                  <a:pt x="5010" y="5506"/>
                </a:cubicBezTo>
                <a:cubicBezTo>
                  <a:pt x="4978" y="5254"/>
                  <a:pt x="5167" y="5065"/>
                  <a:pt x="5388" y="5065"/>
                </a:cubicBezTo>
                <a:close/>
                <a:moveTo>
                  <a:pt x="7089" y="3459"/>
                </a:moveTo>
                <a:cubicBezTo>
                  <a:pt x="8160" y="3459"/>
                  <a:pt x="9137" y="3522"/>
                  <a:pt x="10050" y="3711"/>
                </a:cubicBezTo>
                <a:lnTo>
                  <a:pt x="9357" y="4435"/>
                </a:lnTo>
                <a:cubicBezTo>
                  <a:pt x="9168" y="4341"/>
                  <a:pt x="8979" y="4278"/>
                  <a:pt x="8790" y="4278"/>
                </a:cubicBezTo>
                <a:cubicBezTo>
                  <a:pt x="8097" y="4278"/>
                  <a:pt x="7530" y="4813"/>
                  <a:pt x="7530" y="5506"/>
                </a:cubicBezTo>
                <a:cubicBezTo>
                  <a:pt x="7530" y="6168"/>
                  <a:pt x="8066" y="6704"/>
                  <a:pt x="8790" y="6704"/>
                </a:cubicBezTo>
                <a:cubicBezTo>
                  <a:pt x="9452" y="6704"/>
                  <a:pt x="9987" y="6168"/>
                  <a:pt x="9987" y="5506"/>
                </a:cubicBezTo>
                <a:cubicBezTo>
                  <a:pt x="9987" y="5317"/>
                  <a:pt x="9956" y="5160"/>
                  <a:pt x="9924" y="5034"/>
                </a:cubicBezTo>
                <a:lnTo>
                  <a:pt x="10996" y="3931"/>
                </a:lnTo>
                <a:cubicBezTo>
                  <a:pt x="11216" y="3994"/>
                  <a:pt x="11405" y="4026"/>
                  <a:pt x="11626" y="4120"/>
                </a:cubicBezTo>
                <a:cubicBezTo>
                  <a:pt x="12665" y="4498"/>
                  <a:pt x="13295" y="5034"/>
                  <a:pt x="13295" y="5506"/>
                </a:cubicBezTo>
                <a:cubicBezTo>
                  <a:pt x="13295" y="6452"/>
                  <a:pt x="10775" y="7586"/>
                  <a:pt x="7089" y="7586"/>
                </a:cubicBezTo>
                <a:cubicBezTo>
                  <a:pt x="3497" y="7586"/>
                  <a:pt x="851" y="6483"/>
                  <a:pt x="851" y="5506"/>
                </a:cubicBezTo>
                <a:cubicBezTo>
                  <a:pt x="820" y="5034"/>
                  <a:pt x="1450" y="4498"/>
                  <a:pt x="2521" y="4120"/>
                </a:cubicBezTo>
                <a:cubicBezTo>
                  <a:pt x="2710" y="4026"/>
                  <a:pt x="2962" y="3963"/>
                  <a:pt x="3182" y="3931"/>
                </a:cubicBezTo>
                <a:lnTo>
                  <a:pt x="4285" y="5034"/>
                </a:lnTo>
                <a:cubicBezTo>
                  <a:pt x="4254" y="5191"/>
                  <a:pt x="4222" y="5349"/>
                  <a:pt x="4222" y="5506"/>
                </a:cubicBezTo>
                <a:cubicBezTo>
                  <a:pt x="4222" y="6168"/>
                  <a:pt x="4758" y="6704"/>
                  <a:pt x="5419" y="6704"/>
                </a:cubicBezTo>
                <a:cubicBezTo>
                  <a:pt x="6112" y="6704"/>
                  <a:pt x="6679" y="6168"/>
                  <a:pt x="6679" y="5506"/>
                </a:cubicBezTo>
                <a:cubicBezTo>
                  <a:pt x="6679" y="4813"/>
                  <a:pt x="6144" y="4278"/>
                  <a:pt x="5419" y="4278"/>
                </a:cubicBezTo>
                <a:cubicBezTo>
                  <a:pt x="5199" y="4278"/>
                  <a:pt x="5010" y="4309"/>
                  <a:pt x="4852" y="4435"/>
                </a:cubicBezTo>
                <a:lnTo>
                  <a:pt x="4128" y="3711"/>
                </a:lnTo>
                <a:cubicBezTo>
                  <a:pt x="5041" y="3553"/>
                  <a:pt x="6018" y="3459"/>
                  <a:pt x="7089" y="3459"/>
                </a:cubicBezTo>
                <a:close/>
                <a:moveTo>
                  <a:pt x="820" y="6861"/>
                </a:moveTo>
                <a:cubicBezTo>
                  <a:pt x="1135" y="7113"/>
                  <a:pt x="1576" y="7334"/>
                  <a:pt x="2048" y="7523"/>
                </a:cubicBezTo>
                <a:lnTo>
                  <a:pt x="820" y="9193"/>
                </a:lnTo>
                <a:lnTo>
                  <a:pt x="820" y="6861"/>
                </a:lnTo>
                <a:close/>
                <a:moveTo>
                  <a:pt x="13264" y="6861"/>
                </a:moveTo>
                <a:lnTo>
                  <a:pt x="13264" y="9193"/>
                </a:lnTo>
                <a:lnTo>
                  <a:pt x="12067" y="7554"/>
                </a:lnTo>
                <a:cubicBezTo>
                  <a:pt x="12571" y="7334"/>
                  <a:pt x="12949" y="7113"/>
                  <a:pt x="13264" y="6861"/>
                </a:cubicBezTo>
                <a:close/>
                <a:moveTo>
                  <a:pt x="3655" y="8027"/>
                </a:moveTo>
                <a:lnTo>
                  <a:pt x="3655" y="8027"/>
                </a:lnTo>
                <a:cubicBezTo>
                  <a:pt x="4474" y="8216"/>
                  <a:pt x="5388" y="8279"/>
                  <a:pt x="6333" y="8342"/>
                </a:cubicBezTo>
                <a:lnTo>
                  <a:pt x="4695" y="11083"/>
                </a:lnTo>
                <a:lnTo>
                  <a:pt x="3655" y="8027"/>
                </a:lnTo>
                <a:close/>
                <a:moveTo>
                  <a:pt x="10492" y="8058"/>
                </a:moveTo>
                <a:lnTo>
                  <a:pt x="9452" y="11114"/>
                </a:lnTo>
                <a:lnTo>
                  <a:pt x="7751" y="8373"/>
                </a:lnTo>
                <a:cubicBezTo>
                  <a:pt x="8696" y="8342"/>
                  <a:pt x="9641" y="8216"/>
                  <a:pt x="10492" y="8058"/>
                </a:cubicBezTo>
                <a:close/>
                <a:moveTo>
                  <a:pt x="2741" y="7964"/>
                </a:moveTo>
                <a:lnTo>
                  <a:pt x="3844" y="11272"/>
                </a:lnTo>
                <a:cubicBezTo>
                  <a:pt x="2836" y="11020"/>
                  <a:pt x="1891" y="10610"/>
                  <a:pt x="1135" y="10138"/>
                </a:cubicBezTo>
                <a:lnTo>
                  <a:pt x="2741" y="7964"/>
                </a:lnTo>
                <a:close/>
                <a:moveTo>
                  <a:pt x="11342" y="8027"/>
                </a:moveTo>
                <a:lnTo>
                  <a:pt x="12917" y="10138"/>
                </a:lnTo>
                <a:cubicBezTo>
                  <a:pt x="12161" y="10610"/>
                  <a:pt x="11248" y="11020"/>
                  <a:pt x="10240" y="11272"/>
                </a:cubicBezTo>
                <a:lnTo>
                  <a:pt x="11342" y="8027"/>
                </a:lnTo>
                <a:close/>
                <a:moveTo>
                  <a:pt x="7058" y="8751"/>
                </a:moveTo>
                <a:lnTo>
                  <a:pt x="8727" y="11555"/>
                </a:lnTo>
                <a:cubicBezTo>
                  <a:pt x="8192" y="11618"/>
                  <a:pt x="7593" y="11681"/>
                  <a:pt x="7058" y="11681"/>
                </a:cubicBezTo>
                <a:cubicBezTo>
                  <a:pt x="6459" y="11681"/>
                  <a:pt x="5892" y="11650"/>
                  <a:pt x="5356" y="11555"/>
                </a:cubicBezTo>
                <a:lnTo>
                  <a:pt x="7058" y="8751"/>
                </a:lnTo>
                <a:close/>
                <a:moveTo>
                  <a:pt x="13264" y="10894"/>
                </a:moveTo>
                <a:lnTo>
                  <a:pt x="13264" y="11240"/>
                </a:lnTo>
                <a:cubicBezTo>
                  <a:pt x="13264" y="12185"/>
                  <a:pt x="10744" y="13320"/>
                  <a:pt x="7058" y="13320"/>
                </a:cubicBezTo>
                <a:cubicBezTo>
                  <a:pt x="3340" y="13320"/>
                  <a:pt x="820" y="12185"/>
                  <a:pt x="820" y="11240"/>
                </a:cubicBezTo>
                <a:lnTo>
                  <a:pt x="820" y="10894"/>
                </a:lnTo>
                <a:cubicBezTo>
                  <a:pt x="2615" y="11996"/>
                  <a:pt x="4915" y="12501"/>
                  <a:pt x="7058" y="12501"/>
                </a:cubicBezTo>
                <a:cubicBezTo>
                  <a:pt x="9168" y="12501"/>
                  <a:pt x="11500" y="12028"/>
                  <a:pt x="13264" y="10894"/>
                </a:cubicBezTo>
                <a:close/>
                <a:moveTo>
                  <a:pt x="457" y="1"/>
                </a:moveTo>
                <a:cubicBezTo>
                  <a:pt x="347" y="1"/>
                  <a:pt x="237" y="40"/>
                  <a:pt x="158" y="119"/>
                </a:cubicBezTo>
                <a:cubicBezTo>
                  <a:pt x="0" y="277"/>
                  <a:pt x="0" y="560"/>
                  <a:pt x="158" y="718"/>
                </a:cubicBezTo>
                <a:lnTo>
                  <a:pt x="2552" y="3207"/>
                </a:lnTo>
                <a:cubicBezTo>
                  <a:pt x="2426" y="3238"/>
                  <a:pt x="2363" y="3270"/>
                  <a:pt x="2237" y="3333"/>
                </a:cubicBezTo>
                <a:cubicBezTo>
                  <a:pt x="820" y="3868"/>
                  <a:pt x="32" y="4624"/>
                  <a:pt x="32" y="5443"/>
                </a:cubicBezTo>
                <a:lnTo>
                  <a:pt x="32" y="11240"/>
                </a:lnTo>
                <a:cubicBezTo>
                  <a:pt x="32" y="12091"/>
                  <a:pt x="820" y="12847"/>
                  <a:pt x="2237" y="13383"/>
                </a:cubicBezTo>
                <a:cubicBezTo>
                  <a:pt x="3529" y="13824"/>
                  <a:pt x="5262" y="14107"/>
                  <a:pt x="7089" y="14107"/>
                </a:cubicBezTo>
                <a:cubicBezTo>
                  <a:pt x="10744" y="14107"/>
                  <a:pt x="14146" y="13005"/>
                  <a:pt x="14146" y="11240"/>
                </a:cubicBezTo>
                <a:lnTo>
                  <a:pt x="14146" y="5443"/>
                </a:lnTo>
                <a:cubicBezTo>
                  <a:pt x="14083" y="4624"/>
                  <a:pt x="13295" y="3868"/>
                  <a:pt x="11878" y="3333"/>
                </a:cubicBezTo>
                <a:cubicBezTo>
                  <a:pt x="11815" y="3301"/>
                  <a:pt x="11689" y="3238"/>
                  <a:pt x="11626" y="3207"/>
                </a:cubicBezTo>
                <a:lnTo>
                  <a:pt x="14020" y="718"/>
                </a:lnTo>
                <a:cubicBezTo>
                  <a:pt x="14178" y="560"/>
                  <a:pt x="14178" y="277"/>
                  <a:pt x="14020" y="119"/>
                </a:cubicBezTo>
                <a:cubicBezTo>
                  <a:pt x="13941" y="40"/>
                  <a:pt x="13831" y="1"/>
                  <a:pt x="13721" y="1"/>
                </a:cubicBezTo>
                <a:cubicBezTo>
                  <a:pt x="13611" y="1"/>
                  <a:pt x="13500" y="40"/>
                  <a:pt x="13422" y="119"/>
                </a:cubicBezTo>
                <a:lnTo>
                  <a:pt x="10712" y="2923"/>
                </a:lnTo>
                <a:cubicBezTo>
                  <a:pt x="9609" y="2640"/>
                  <a:pt x="8381" y="2545"/>
                  <a:pt x="7089" y="2545"/>
                </a:cubicBezTo>
                <a:cubicBezTo>
                  <a:pt x="5797" y="2545"/>
                  <a:pt x="4537" y="2640"/>
                  <a:pt x="3466" y="2923"/>
                </a:cubicBezTo>
                <a:lnTo>
                  <a:pt x="757" y="119"/>
                </a:lnTo>
                <a:cubicBezTo>
                  <a:pt x="678" y="40"/>
                  <a:pt x="567" y="1"/>
                  <a:pt x="457"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nvGrpSpPr>
          <p:cNvPr id="10918" name="Google Shape;10918;p113"/>
          <p:cNvGrpSpPr/>
          <p:nvPr/>
        </p:nvGrpSpPr>
        <p:grpSpPr>
          <a:xfrm>
            <a:off x="9520177" y="3131078"/>
            <a:ext cx="410787" cy="455439"/>
            <a:chOff x="-11747150" y="2530225"/>
            <a:chExt cx="319000" cy="353675"/>
          </a:xfrm>
        </p:grpSpPr>
        <p:sp>
          <p:nvSpPr>
            <p:cNvPr id="10919" name="Google Shape;10919;p113"/>
            <p:cNvSpPr/>
            <p:nvPr/>
          </p:nvSpPr>
          <p:spPr>
            <a:xfrm>
              <a:off x="-11747150" y="2530225"/>
              <a:ext cx="319000" cy="353675"/>
            </a:xfrm>
            <a:custGeom>
              <a:avLst/>
              <a:gdLst/>
              <a:ahLst/>
              <a:cxnLst/>
              <a:rect l="l" t="t" r="r" b="b"/>
              <a:pathLst>
                <a:path w="12760" h="14147" extrusionOk="0">
                  <a:moveTo>
                    <a:pt x="7183" y="883"/>
                  </a:moveTo>
                  <a:cubicBezTo>
                    <a:pt x="7845" y="883"/>
                    <a:pt x="8443" y="1450"/>
                    <a:pt x="8412" y="2206"/>
                  </a:cubicBezTo>
                  <a:cubicBezTo>
                    <a:pt x="8412" y="2444"/>
                    <a:pt x="8612" y="2638"/>
                    <a:pt x="8825" y="2638"/>
                  </a:cubicBezTo>
                  <a:cubicBezTo>
                    <a:pt x="8866" y="2638"/>
                    <a:pt x="8907" y="2631"/>
                    <a:pt x="8947" y="2616"/>
                  </a:cubicBezTo>
                  <a:cubicBezTo>
                    <a:pt x="9048" y="2581"/>
                    <a:pt x="9148" y="2564"/>
                    <a:pt x="9243" y="2564"/>
                  </a:cubicBezTo>
                  <a:cubicBezTo>
                    <a:pt x="9829" y="2564"/>
                    <a:pt x="10258" y="3180"/>
                    <a:pt x="9987" y="3750"/>
                  </a:cubicBezTo>
                  <a:cubicBezTo>
                    <a:pt x="9893" y="3907"/>
                    <a:pt x="9956" y="4096"/>
                    <a:pt x="10050" y="4222"/>
                  </a:cubicBezTo>
                  <a:cubicBezTo>
                    <a:pt x="10126" y="4299"/>
                    <a:pt x="10226" y="4340"/>
                    <a:pt x="10327" y="4340"/>
                  </a:cubicBezTo>
                  <a:cubicBezTo>
                    <a:pt x="10394" y="4340"/>
                    <a:pt x="10461" y="4323"/>
                    <a:pt x="10523" y="4285"/>
                  </a:cubicBezTo>
                  <a:cubicBezTo>
                    <a:pt x="10637" y="4237"/>
                    <a:pt x="10751" y="4216"/>
                    <a:pt x="10861" y="4216"/>
                  </a:cubicBezTo>
                  <a:cubicBezTo>
                    <a:pt x="11328" y="4216"/>
                    <a:pt x="11720" y="4608"/>
                    <a:pt x="11720" y="5042"/>
                  </a:cubicBezTo>
                  <a:lnTo>
                    <a:pt x="977" y="5042"/>
                  </a:lnTo>
                  <a:cubicBezTo>
                    <a:pt x="928" y="4575"/>
                    <a:pt x="1300" y="4185"/>
                    <a:pt x="1750" y="4185"/>
                  </a:cubicBezTo>
                  <a:cubicBezTo>
                    <a:pt x="1877" y="4185"/>
                    <a:pt x="2010" y="4216"/>
                    <a:pt x="2142" y="4285"/>
                  </a:cubicBezTo>
                  <a:cubicBezTo>
                    <a:pt x="2204" y="4323"/>
                    <a:pt x="2272" y="4340"/>
                    <a:pt x="2338" y="4340"/>
                  </a:cubicBezTo>
                  <a:cubicBezTo>
                    <a:pt x="2439" y="4340"/>
                    <a:pt x="2539" y="4299"/>
                    <a:pt x="2615" y="4222"/>
                  </a:cubicBezTo>
                  <a:cubicBezTo>
                    <a:pt x="2741" y="4096"/>
                    <a:pt x="2772" y="3907"/>
                    <a:pt x="2709" y="3750"/>
                  </a:cubicBezTo>
                  <a:cubicBezTo>
                    <a:pt x="2438" y="3180"/>
                    <a:pt x="2867" y="2564"/>
                    <a:pt x="3434" y="2564"/>
                  </a:cubicBezTo>
                  <a:cubicBezTo>
                    <a:pt x="3526" y="2564"/>
                    <a:pt x="3621" y="2581"/>
                    <a:pt x="3718" y="2616"/>
                  </a:cubicBezTo>
                  <a:cubicBezTo>
                    <a:pt x="3764" y="2627"/>
                    <a:pt x="3814" y="2634"/>
                    <a:pt x="3866" y="2634"/>
                  </a:cubicBezTo>
                  <a:cubicBezTo>
                    <a:pt x="3955" y="2634"/>
                    <a:pt x="4047" y="2613"/>
                    <a:pt x="4127" y="2553"/>
                  </a:cubicBezTo>
                  <a:cubicBezTo>
                    <a:pt x="4222" y="2490"/>
                    <a:pt x="4285" y="2364"/>
                    <a:pt x="4285" y="2206"/>
                  </a:cubicBezTo>
                  <a:cubicBezTo>
                    <a:pt x="4253" y="1450"/>
                    <a:pt x="4820" y="883"/>
                    <a:pt x="5482" y="883"/>
                  </a:cubicBezTo>
                  <a:cubicBezTo>
                    <a:pt x="5702" y="883"/>
                    <a:pt x="5923" y="914"/>
                    <a:pt x="6112" y="1040"/>
                  </a:cubicBezTo>
                  <a:cubicBezTo>
                    <a:pt x="6175" y="1072"/>
                    <a:pt x="6246" y="1088"/>
                    <a:pt x="6321" y="1088"/>
                  </a:cubicBezTo>
                  <a:cubicBezTo>
                    <a:pt x="6396" y="1088"/>
                    <a:pt x="6474" y="1072"/>
                    <a:pt x="6553" y="1040"/>
                  </a:cubicBezTo>
                  <a:cubicBezTo>
                    <a:pt x="6742" y="914"/>
                    <a:pt x="6963" y="883"/>
                    <a:pt x="7183" y="883"/>
                  </a:cubicBezTo>
                  <a:close/>
                  <a:moveTo>
                    <a:pt x="5891" y="5861"/>
                  </a:moveTo>
                  <a:lnTo>
                    <a:pt x="5891" y="7530"/>
                  </a:lnTo>
                  <a:cubicBezTo>
                    <a:pt x="5230" y="7562"/>
                    <a:pt x="4600" y="7688"/>
                    <a:pt x="4064" y="7908"/>
                  </a:cubicBezTo>
                  <a:lnTo>
                    <a:pt x="3875" y="5861"/>
                  </a:lnTo>
                  <a:close/>
                  <a:moveTo>
                    <a:pt x="8758" y="5861"/>
                  </a:moveTo>
                  <a:lnTo>
                    <a:pt x="8569" y="7908"/>
                  </a:lnTo>
                  <a:cubicBezTo>
                    <a:pt x="8065" y="7719"/>
                    <a:pt x="7435" y="7562"/>
                    <a:pt x="6774" y="7530"/>
                  </a:cubicBezTo>
                  <a:lnTo>
                    <a:pt x="6774" y="5861"/>
                  </a:lnTo>
                  <a:close/>
                  <a:moveTo>
                    <a:pt x="6333" y="8350"/>
                  </a:moveTo>
                  <a:cubicBezTo>
                    <a:pt x="7971" y="8350"/>
                    <a:pt x="9199" y="9011"/>
                    <a:pt x="9199" y="9610"/>
                  </a:cubicBezTo>
                  <a:cubicBezTo>
                    <a:pt x="9199" y="10177"/>
                    <a:pt x="7971" y="10838"/>
                    <a:pt x="6333" y="10838"/>
                  </a:cubicBezTo>
                  <a:cubicBezTo>
                    <a:pt x="4663" y="10838"/>
                    <a:pt x="3466" y="10177"/>
                    <a:pt x="3466" y="9610"/>
                  </a:cubicBezTo>
                  <a:cubicBezTo>
                    <a:pt x="3466" y="9011"/>
                    <a:pt x="4663" y="8350"/>
                    <a:pt x="6333" y="8350"/>
                  </a:cubicBezTo>
                  <a:close/>
                  <a:moveTo>
                    <a:pt x="3056" y="5861"/>
                  </a:moveTo>
                  <a:lnTo>
                    <a:pt x="3277" y="8350"/>
                  </a:lnTo>
                  <a:cubicBezTo>
                    <a:pt x="2804" y="8696"/>
                    <a:pt x="2583" y="9137"/>
                    <a:pt x="2583" y="9578"/>
                  </a:cubicBezTo>
                  <a:cubicBezTo>
                    <a:pt x="2583" y="10114"/>
                    <a:pt x="2930" y="10586"/>
                    <a:pt x="3560" y="10996"/>
                  </a:cubicBezTo>
                  <a:lnTo>
                    <a:pt x="3812" y="13327"/>
                  </a:lnTo>
                  <a:lnTo>
                    <a:pt x="2867" y="13327"/>
                  </a:lnTo>
                  <a:cubicBezTo>
                    <a:pt x="2678" y="13327"/>
                    <a:pt x="2489" y="13170"/>
                    <a:pt x="2457" y="13012"/>
                  </a:cubicBezTo>
                  <a:lnTo>
                    <a:pt x="1040" y="5861"/>
                  </a:lnTo>
                  <a:close/>
                  <a:moveTo>
                    <a:pt x="4442" y="11374"/>
                  </a:moveTo>
                  <a:lnTo>
                    <a:pt x="4442" y="11374"/>
                  </a:lnTo>
                  <a:cubicBezTo>
                    <a:pt x="4852" y="11532"/>
                    <a:pt x="5387" y="11626"/>
                    <a:pt x="5891" y="11658"/>
                  </a:cubicBezTo>
                  <a:lnTo>
                    <a:pt x="5891" y="13296"/>
                  </a:lnTo>
                  <a:lnTo>
                    <a:pt x="4631" y="13296"/>
                  </a:lnTo>
                  <a:lnTo>
                    <a:pt x="4631" y="13327"/>
                  </a:lnTo>
                  <a:lnTo>
                    <a:pt x="4442" y="11374"/>
                  </a:lnTo>
                  <a:close/>
                  <a:moveTo>
                    <a:pt x="8191" y="11374"/>
                  </a:moveTo>
                  <a:lnTo>
                    <a:pt x="7971" y="13327"/>
                  </a:lnTo>
                  <a:lnTo>
                    <a:pt x="6711" y="13327"/>
                  </a:lnTo>
                  <a:lnTo>
                    <a:pt x="6711" y="11658"/>
                  </a:lnTo>
                  <a:cubicBezTo>
                    <a:pt x="7215" y="11626"/>
                    <a:pt x="7750" y="11532"/>
                    <a:pt x="8191" y="11374"/>
                  </a:cubicBezTo>
                  <a:close/>
                  <a:moveTo>
                    <a:pt x="11594" y="5861"/>
                  </a:moveTo>
                  <a:lnTo>
                    <a:pt x="10176" y="13012"/>
                  </a:lnTo>
                  <a:cubicBezTo>
                    <a:pt x="10145" y="13201"/>
                    <a:pt x="9987" y="13327"/>
                    <a:pt x="9798" y="13327"/>
                  </a:cubicBezTo>
                  <a:lnTo>
                    <a:pt x="8853" y="13327"/>
                  </a:lnTo>
                  <a:lnTo>
                    <a:pt x="9073" y="10996"/>
                  </a:lnTo>
                  <a:cubicBezTo>
                    <a:pt x="9704" y="10586"/>
                    <a:pt x="10050" y="10114"/>
                    <a:pt x="10050" y="9578"/>
                  </a:cubicBezTo>
                  <a:cubicBezTo>
                    <a:pt x="10050" y="9106"/>
                    <a:pt x="9830" y="8665"/>
                    <a:pt x="9357" y="8350"/>
                  </a:cubicBezTo>
                  <a:lnTo>
                    <a:pt x="9578" y="5861"/>
                  </a:lnTo>
                  <a:close/>
                  <a:moveTo>
                    <a:pt x="5513" y="1"/>
                  </a:moveTo>
                  <a:cubicBezTo>
                    <a:pt x="4474" y="1"/>
                    <a:pt x="3655" y="757"/>
                    <a:pt x="3497" y="1702"/>
                  </a:cubicBezTo>
                  <a:lnTo>
                    <a:pt x="3466" y="1702"/>
                  </a:lnTo>
                  <a:cubicBezTo>
                    <a:pt x="2552" y="1702"/>
                    <a:pt x="1796" y="2458"/>
                    <a:pt x="1796" y="3340"/>
                  </a:cubicBezTo>
                  <a:cubicBezTo>
                    <a:pt x="882" y="3340"/>
                    <a:pt x="158" y="4128"/>
                    <a:pt x="158" y="5042"/>
                  </a:cubicBezTo>
                  <a:cubicBezTo>
                    <a:pt x="158" y="5672"/>
                    <a:pt x="0" y="4600"/>
                    <a:pt x="1670" y="13170"/>
                  </a:cubicBezTo>
                  <a:cubicBezTo>
                    <a:pt x="1796" y="13737"/>
                    <a:pt x="2300" y="14146"/>
                    <a:pt x="2898" y="14146"/>
                  </a:cubicBezTo>
                  <a:lnTo>
                    <a:pt x="9830" y="14146"/>
                  </a:lnTo>
                  <a:cubicBezTo>
                    <a:pt x="10428" y="14146"/>
                    <a:pt x="10932" y="13705"/>
                    <a:pt x="11058" y="13170"/>
                  </a:cubicBezTo>
                  <a:cubicBezTo>
                    <a:pt x="12760" y="4600"/>
                    <a:pt x="12602" y="5672"/>
                    <a:pt x="12602" y="5042"/>
                  </a:cubicBezTo>
                  <a:cubicBezTo>
                    <a:pt x="12507" y="4600"/>
                    <a:pt x="12350" y="4191"/>
                    <a:pt x="12035" y="3876"/>
                  </a:cubicBezTo>
                  <a:cubicBezTo>
                    <a:pt x="11720" y="3561"/>
                    <a:pt x="11279" y="3340"/>
                    <a:pt x="10838" y="3340"/>
                  </a:cubicBezTo>
                  <a:cubicBezTo>
                    <a:pt x="10838" y="2432"/>
                    <a:pt x="10110" y="1698"/>
                    <a:pt x="9271" y="1698"/>
                  </a:cubicBezTo>
                  <a:cubicBezTo>
                    <a:pt x="9237" y="1698"/>
                    <a:pt x="9202" y="1700"/>
                    <a:pt x="9168" y="1702"/>
                  </a:cubicBezTo>
                  <a:cubicBezTo>
                    <a:pt x="8979" y="757"/>
                    <a:pt x="8128" y="1"/>
                    <a:pt x="7152" y="1"/>
                  </a:cubicBezTo>
                  <a:cubicBezTo>
                    <a:pt x="6868" y="1"/>
                    <a:pt x="6616" y="64"/>
                    <a:pt x="6333" y="190"/>
                  </a:cubicBezTo>
                  <a:cubicBezTo>
                    <a:pt x="6049" y="64"/>
                    <a:pt x="5765" y="1"/>
                    <a:pt x="5513"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920" name="Google Shape;10920;p113"/>
            <p:cNvSpPr/>
            <p:nvPr/>
          </p:nvSpPr>
          <p:spPr>
            <a:xfrm>
              <a:off x="-11640825" y="2592450"/>
              <a:ext cx="104775" cy="42550"/>
            </a:xfrm>
            <a:custGeom>
              <a:avLst/>
              <a:gdLst/>
              <a:ahLst/>
              <a:cxnLst/>
              <a:rect l="l" t="t" r="r" b="b"/>
              <a:pathLst>
                <a:path w="4191" h="1702" extrusionOk="0">
                  <a:moveTo>
                    <a:pt x="1292" y="1"/>
                  </a:moveTo>
                  <a:cubicBezTo>
                    <a:pt x="599" y="1"/>
                    <a:pt x="32" y="536"/>
                    <a:pt x="32" y="1261"/>
                  </a:cubicBezTo>
                  <a:cubicBezTo>
                    <a:pt x="0" y="1544"/>
                    <a:pt x="189" y="1702"/>
                    <a:pt x="410" y="1702"/>
                  </a:cubicBezTo>
                  <a:cubicBezTo>
                    <a:pt x="662" y="1702"/>
                    <a:pt x="851" y="1481"/>
                    <a:pt x="851" y="1261"/>
                  </a:cubicBezTo>
                  <a:cubicBezTo>
                    <a:pt x="851" y="1009"/>
                    <a:pt x="1040" y="820"/>
                    <a:pt x="1292" y="820"/>
                  </a:cubicBezTo>
                  <a:cubicBezTo>
                    <a:pt x="1512" y="820"/>
                    <a:pt x="1670" y="1009"/>
                    <a:pt x="1670" y="1261"/>
                  </a:cubicBezTo>
                  <a:cubicBezTo>
                    <a:pt x="1670" y="1481"/>
                    <a:pt x="1859" y="1702"/>
                    <a:pt x="2111" y="1702"/>
                  </a:cubicBezTo>
                  <a:cubicBezTo>
                    <a:pt x="2332" y="1702"/>
                    <a:pt x="2489" y="1481"/>
                    <a:pt x="2489" y="1261"/>
                  </a:cubicBezTo>
                  <a:cubicBezTo>
                    <a:pt x="2489" y="1009"/>
                    <a:pt x="2710" y="820"/>
                    <a:pt x="2930" y="820"/>
                  </a:cubicBezTo>
                  <a:cubicBezTo>
                    <a:pt x="3182" y="820"/>
                    <a:pt x="3371" y="1009"/>
                    <a:pt x="3371" y="1261"/>
                  </a:cubicBezTo>
                  <a:cubicBezTo>
                    <a:pt x="3371" y="1481"/>
                    <a:pt x="3560" y="1702"/>
                    <a:pt x="3749" y="1702"/>
                  </a:cubicBezTo>
                  <a:cubicBezTo>
                    <a:pt x="3970" y="1702"/>
                    <a:pt x="4190" y="1481"/>
                    <a:pt x="4190" y="1261"/>
                  </a:cubicBezTo>
                  <a:cubicBezTo>
                    <a:pt x="4190" y="599"/>
                    <a:pt x="3655" y="1"/>
                    <a:pt x="2930" y="1"/>
                  </a:cubicBezTo>
                  <a:cubicBezTo>
                    <a:pt x="2615" y="1"/>
                    <a:pt x="2332" y="127"/>
                    <a:pt x="2111" y="316"/>
                  </a:cubicBezTo>
                  <a:cubicBezTo>
                    <a:pt x="1859" y="127"/>
                    <a:pt x="1607" y="1"/>
                    <a:pt x="1292"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10921" name="Google Shape;10921;p113"/>
          <p:cNvGrpSpPr/>
          <p:nvPr/>
        </p:nvGrpSpPr>
        <p:grpSpPr>
          <a:xfrm>
            <a:off x="7072837" y="3706026"/>
            <a:ext cx="454409" cy="454409"/>
            <a:chOff x="-10027775" y="1622900"/>
            <a:chExt cx="352875" cy="352875"/>
          </a:xfrm>
        </p:grpSpPr>
        <p:sp>
          <p:nvSpPr>
            <p:cNvPr id="10922" name="Google Shape;10922;p113"/>
            <p:cNvSpPr/>
            <p:nvPr/>
          </p:nvSpPr>
          <p:spPr>
            <a:xfrm>
              <a:off x="-10027775" y="1622900"/>
              <a:ext cx="352875" cy="352875"/>
            </a:xfrm>
            <a:custGeom>
              <a:avLst/>
              <a:gdLst/>
              <a:ahLst/>
              <a:cxnLst/>
              <a:rect l="l" t="t" r="r" b="b"/>
              <a:pathLst>
                <a:path w="14115" h="14115" extrusionOk="0">
                  <a:moveTo>
                    <a:pt x="12067" y="819"/>
                  </a:moveTo>
                  <a:cubicBezTo>
                    <a:pt x="12287" y="819"/>
                    <a:pt x="12476" y="1008"/>
                    <a:pt x="12476" y="1197"/>
                  </a:cubicBezTo>
                  <a:cubicBezTo>
                    <a:pt x="12476" y="1449"/>
                    <a:pt x="12287" y="1638"/>
                    <a:pt x="12067" y="1638"/>
                  </a:cubicBezTo>
                  <a:lnTo>
                    <a:pt x="2080" y="1638"/>
                  </a:lnTo>
                  <a:cubicBezTo>
                    <a:pt x="1859" y="1638"/>
                    <a:pt x="1702" y="1449"/>
                    <a:pt x="1702" y="1197"/>
                  </a:cubicBezTo>
                  <a:cubicBezTo>
                    <a:pt x="1702" y="977"/>
                    <a:pt x="1891" y="819"/>
                    <a:pt x="2080" y="819"/>
                  </a:cubicBezTo>
                  <a:close/>
                  <a:moveTo>
                    <a:pt x="11657" y="2458"/>
                  </a:moveTo>
                  <a:lnTo>
                    <a:pt x="11657" y="4285"/>
                  </a:lnTo>
                  <a:lnTo>
                    <a:pt x="10239" y="4978"/>
                  </a:lnTo>
                  <a:cubicBezTo>
                    <a:pt x="10082" y="5072"/>
                    <a:pt x="10019" y="5199"/>
                    <a:pt x="10019" y="5356"/>
                  </a:cubicBezTo>
                  <a:cubicBezTo>
                    <a:pt x="10019" y="5514"/>
                    <a:pt x="10082" y="5671"/>
                    <a:pt x="10239" y="5703"/>
                  </a:cubicBezTo>
                  <a:lnTo>
                    <a:pt x="11657" y="6396"/>
                  </a:lnTo>
                  <a:lnTo>
                    <a:pt x="11657" y="11562"/>
                  </a:lnTo>
                  <a:lnTo>
                    <a:pt x="2521" y="11562"/>
                  </a:lnTo>
                  <a:lnTo>
                    <a:pt x="2521" y="9704"/>
                  </a:lnTo>
                  <a:lnTo>
                    <a:pt x="3938" y="9011"/>
                  </a:lnTo>
                  <a:cubicBezTo>
                    <a:pt x="4096" y="8916"/>
                    <a:pt x="4191" y="8822"/>
                    <a:pt x="4191" y="8664"/>
                  </a:cubicBezTo>
                  <a:cubicBezTo>
                    <a:pt x="4191" y="8475"/>
                    <a:pt x="4096" y="8349"/>
                    <a:pt x="3938" y="8286"/>
                  </a:cubicBezTo>
                  <a:lnTo>
                    <a:pt x="2521" y="7593"/>
                  </a:lnTo>
                  <a:lnTo>
                    <a:pt x="2521" y="2458"/>
                  </a:lnTo>
                  <a:close/>
                  <a:moveTo>
                    <a:pt x="12098" y="12382"/>
                  </a:moveTo>
                  <a:cubicBezTo>
                    <a:pt x="12319" y="12382"/>
                    <a:pt x="12539" y="12602"/>
                    <a:pt x="12539" y="12823"/>
                  </a:cubicBezTo>
                  <a:cubicBezTo>
                    <a:pt x="12476" y="13075"/>
                    <a:pt x="12287" y="13264"/>
                    <a:pt x="12098" y="13264"/>
                  </a:cubicBezTo>
                  <a:lnTo>
                    <a:pt x="2143" y="13264"/>
                  </a:lnTo>
                  <a:cubicBezTo>
                    <a:pt x="1891" y="13264"/>
                    <a:pt x="1733" y="13075"/>
                    <a:pt x="1733" y="12823"/>
                  </a:cubicBezTo>
                  <a:cubicBezTo>
                    <a:pt x="1733" y="12602"/>
                    <a:pt x="1922" y="12382"/>
                    <a:pt x="2143" y="12382"/>
                  </a:cubicBezTo>
                  <a:close/>
                  <a:moveTo>
                    <a:pt x="2080" y="0"/>
                  </a:moveTo>
                  <a:cubicBezTo>
                    <a:pt x="1544" y="0"/>
                    <a:pt x="1103" y="347"/>
                    <a:pt x="914" y="819"/>
                  </a:cubicBezTo>
                  <a:lnTo>
                    <a:pt x="441" y="819"/>
                  </a:lnTo>
                  <a:cubicBezTo>
                    <a:pt x="189" y="819"/>
                    <a:pt x="0" y="1008"/>
                    <a:pt x="0" y="1197"/>
                  </a:cubicBezTo>
                  <a:cubicBezTo>
                    <a:pt x="0" y="1418"/>
                    <a:pt x="189" y="1638"/>
                    <a:pt x="441" y="1638"/>
                  </a:cubicBezTo>
                  <a:lnTo>
                    <a:pt x="914" y="1638"/>
                  </a:lnTo>
                  <a:cubicBezTo>
                    <a:pt x="1040" y="1985"/>
                    <a:pt x="1292" y="2269"/>
                    <a:pt x="1670" y="2395"/>
                  </a:cubicBezTo>
                  <a:lnTo>
                    <a:pt x="1670" y="7876"/>
                  </a:lnTo>
                  <a:cubicBezTo>
                    <a:pt x="1670" y="8034"/>
                    <a:pt x="1733" y="8191"/>
                    <a:pt x="1891" y="8223"/>
                  </a:cubicBezTo>
                  <a:lnTo>
                    <a:pt x="2804" y="8696"/>
                  </a:lnTo>
                  <a:lnTo>
                    <a:pt x="1891" y="9168"/>
                  </a:lnTo>
                  <a:cubicBezTo>
                    <a:pt x="1733" y="9231"/>
                    <a:pt x="1670" y="9357"/>
                    <a:pt x="1670" y="9515"/>
                  </a:cubicBezTo>
                  <a:lnTo>
                    <a:pt x="1670" y="11689"/>
                  </a:lnTo>
                  <a:cubicBezTo>
                    <a:pt x="1292" y="11815"/>
                    <a:pt x="1040" y="12067"/>
                    <a:pt x="914" y="12445"/>
                  </a:cubicBezTo>
                  <a:lnTo>
                    <a:pt x="441" y="12445"/>
                  </a:lnTo>
                  <a:cubicBezTo>
                    <a:pt x="189" y="12445"/>
                    <a:pt x="0" y="12634"/>
                    <a:pt x="0" y="12854"/>
                  </a:cubicBezTo>
                  <a:cubicBezTo>
                    <a:pt x="0" y="13106"/>
                    <a:pt x="189" y="13295"/>
                    <a:pt x="441" y="13295"/>
                  </a:cubicBezTo>
                  <a:lnTo>
                    <a:pt x="914" y="13295"/>
                  </a:lnTo>
                  <a:cubicBezTo>
                    <a:pt x="1072" y="13768"/>
                    <a:pt x="1544" y="14114"/>
                    <a:pt x="2080" y="14114"/>
                  </a:cubicBezTo>
                  <a:lnTo>
                    <a:pt x="12067" y="14114"/>
                  </a:lnTo>
                  <a:cubicBezTo>
                    <a:pt x="12602" y="14114"/>
                    <a:pt x="13043" y="13768"/>
                    <a:pt x="13232" y="13295"/>
                  </a:cubicBezTo>
                  <a:lnTo>
                    <a:pt x="13705" y="13295"/>
                  </a:lnTo>
                  <a:cubicBezTo>
                    <a:pt x="13957" y="13295"/>
                    <a:pt x="14115" y="13106"/>
                    <a:pt x="14115" y="12854"/>
                  </a:cubicBezTo>
                  <a:cubicBezTo>
                    <a:pt x="14115" y="12634"/>
                    <a:pt x="13894" y="12445"/>
                    <a:pt x="13705" y="12445"/>
                  </a:cubicBezTo>
                  <a:lnTo>
                    <a:pt x="13232" y="12445"/>
                  </a:lnTo>
                  <a:cubicBezTo>
                    <a:pt x="13106" y="12067"/>
                    <a:pt x="12854" y="11815"/>
                    <a:pt x="12476" y="11689"/>
                  </a:cubicBezTo>
                  <a:lnTo>
                    <a:pt x="12476" y="6207"/>
                  </a:lnTo>
                  <a:cubicBezTo>
                    <a:pt x="12476" y="6049"/>
                    <a:pt x="12413" y="5892"/>
                    <a:pt x="12256" y="5860"/>
                  </a:cubicBezTo>
                  <a:lnTo>
                    <a:pt x="11342" y="5388"/>
                  </a:lnTo>
                  <a:lnTo>
                    <a:pt x="12256" y="4915"/>
                  </a:lnTo>
                  <a:cubicBezTo>
                    <a:pt x="12413" y="4883"/>
                    <a:pt x="12476" y="4726"/>
                    <a:pt x="12476" y="4568"/>
                  </a:cubicBezTo>
                  <a:lnTo>
                    <a:pt x="12476" y="2395"/>
                  </a:lnTo>
                  <a:cubicBezTo>
                    <a:pt x="12854" y="2269"/>
                    <a:pt x="13106" y="1985"/>
                    <a:pt x="13232" y="1638"/>
                  </a:cubicBezTo>
                  <a:lnTo>
                    <a:pt x="13705" y="1638"/>
                  </a:lnTo>
                  <a:cubicBezTo>
                    <a:pt x="13957" y="1638"/>
                    <a:pt x="14115" y="1449"/>
                    <a:pt x="14115" y="1197"/>
                  </a:cubicBezTo>
                  <a:cubicBezTo>
                    <a:pt x="14115" y="977"/>
                    <a:pt x="13894" y="819"/>
                    <a:pt x="13705" y="819"/>
                  </a:cubicBezTo>
                  <a:lnTo>
                    <a:pt x="13232" y="819"/>
                  </a:lnTo>
                  <a:cubicBezTo>
                    <a:pt x="13075" y="347"/>
                    <a:pt x="12602" y="0"/>
                    <a:pt x="12067"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923" name="Google Shape;10923;p113"/>
            <p:cNvSpPr/>
            <p:nvPr/>
          </p:nvSpPr>
          <p:spPr>
            <a:xfrm>
              <a:off x="-9923800" y="1705600"/>
              <a:ext cx="145725" cy="20500"/>
            </a:xfrm>
            <a:custGeom>
              <a:avLst/>
              <a:gdLst/>
              <a:ahLst/>
              <a:cxnLst/>
              <a:rect l="l" t="t" r="r" b="b"/>
              <a:pathLst>
                <a:path w="5829" h="820" extrusionOk="0">
                  <a:moveTo>
                    <a:pt x="410" y="0"/>
                  </a:moveTo>
                  <a:cubicBezTo>
                    <a:pt x="189" y="0"/>
                    <a:pt x="0" y="189"/>
                    <a:pt x="0" y="410"/>
                  </a:cubicBezTo>
                  <a:cubicBezTo>
                    <a:pt x="32" y="630"/>
                    <a:pt x="221" y="819"/>
                    <a:pt x="410" y="819"/>
                  </a:cubicBezTo>
                  <a:lnTo>
                    <a:pt x="5419" y="819"/>
                  </a:lnTo>
                  <a:cubicBezTo>
                    <a:pt x="5671" y="819"/>
                    <a:pt x="5828" y="630"/>
                    <a:pt x="5828" y="410"/>
                  </a:cubicBezTo>
                  <a:cubicBezTo>
                    <a:pt x="5828" y="189"/>
                    <a:pt x="5608" y="0"/>
                    <a:pt x="5419"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924" name="Google Shape;10924;p113"/>
            <p:cNvSpPr/>
            <p:nvPr/>
          </p:nvSpPr>
          <p:spPr>
            <a:xfrm>
              <a:off x="-9902550" y="1746550"/>
              <a:ext cx="83525" cy="20500"/>
            </a:xfrm>
            <a:custGeom>
              <a:avLst/>
              <a:gdLst/>
              <a:ahLst/>
              <a:cxnLst/>
              <a:rect l="l" t="t" r="r" b="b"/>
              <a:pathLst>
                <a:path w="3341" h="820" extrusionOk="0">
                  <a:moveTo>
                    <a:pt x="379" y="0"/>
                  </a:moveTo>
                  <a:cubicBezTo>
                    <a:pt x="158" y="0"/>
                    <a:pt x="1" y="190"/>
                    <a:pt x="1" y="410"/>
                  </a:cubicBezTo>
                  <a:cubicBezTo>
                    <a:pt x="1" y="631"/>
                    <a:pt x="190" y="820"/>
                    <a:pt x="379" y="820"/>
                  </a:cubicBezTo>
                  <a:lnTo>
                    <a:pt x="2899" y="820"/>
                  </a:lnTo>
                  <a:cubicBezTo>
                    <a:pt x="3151" y="820"/>
                    <a:pt x="3340" y="631"/>
                    <a:pt x="3340" y="410"/>
                  </a:cubicBezTo>
                  <a:cubicBezTo>
                    <a:pt x="3340" y="158"/>
                    <a:pt x="3151" y="0"/>
                    <a:pt x="2899"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925" name="Google Shape;10925;p113"/>
            <p:cNvSpPr/>
            <p:nvPr/>
          </p:nvSpPr>
          <p:spPr>
            <a:xfrm>
              <a:off x="-9923800" y="1788300"/>
              <a:ext cx="145725" cy="20500"/>
            </a:xfrm>
            <a:custGeom>
              <a:avLst/>
              <a:gdLst/>
              <a:ahLst/>
              <a:cxnLst/>
              <a:rect l="l" t="t" r="r" b="b"/>
              <a:pathLst>
                <a:path w="5829" h="820" extrusionOk="0">
                  <a:moveTo>
                    <a:pt x="410" y="0"/>
                  </a:moveTo>
                  <a:cubicBezTo>
                    <a:pt x="189" y="0"/>
                    <a:pt x="0" y="189"/>
                    <a:pt x="0" y="410"/>
                  </a:cubicBezTo>
                  <a:cubicBezTo>
                    <a:pt x="32" y="662"/>
                    <a:pt x="221" y="819"/>
                    <a:pt x="410" y="819"/>
                  </a:cubicBezTo>
                  <a:lnTo>
                    <a:pt x="5419" y="819"/>
                  </a:lnTo>
                  <a:cubicBezTo>
                    <a:pt x="5671" y="819"/>
                    <a:pt x="5828" y="630"/>
                    <a:pt x="5828" y="410"/>
                  </a:cubicBezTo>
                  <a:cubicBezTo>
                    <a:pt x="5828" y="189"/>
                    <a:pt x="5608" y="0"/>
                    <a:pt x="5419"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926" name="Google Shape;10926;p113"/>
            <p:cNvSpPr/>
            <p:nvPr/>
          </p:nvSpPr>
          <p:spPr>
            <a:xfrm>
              <a:off x="-9901750" y="1828450"/>
              <a:ext cx="83500" cy="21300"/>
            </a:xfrm>
            <a:custGeom>
              <a:avLst/>
              <a:gdLst/>
              <a:ahLst/>
              <a:cxnLst/>
              <a:rect l="l" t="t" r="r" b="b"/>
              <a:pathLst>
                <a:path w="3340" h="852" extrusionOk="0">
                  <a:moveTo>
                    <a:pt x="410" y="1"/>
                  </a:moveTo>
                  <a:cubicBezTo>
                    <a:pt x="158" y="1"/>
                    <a:pt x="0" y="190"/>
                    <a:pt x="0" y="442"/>
                  </a:cubicBezTo>
                  <a:cubicBezTo>
                    <a:pt x="0" y="663"/>
                    <a:pt x="189" y="852"/>
                    <a:pt x="410" y="852"/>
                  </a:cubicBezTo>
                  <a:lnTo>
                    <a:pt x="2930" y="852"/>
                  </a:lnTo>
                  <a:cubicBezTo>
                    <a:pt x="3151" y="852"/>
                    <a:pt x="3340" y="663"/>
                    <a:pt x="3340" y="442"/>
                  </a:cubicBezTo>
                  <a:cubicBezTo>
                    <a:pt x="3340" y="190"/>
                    <a:pt x="3151" y="1"/>
                    <a:pt x="2930"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927" name="Google Shape;10927;p113"/>
            <p:cNvSpPr/>
            <p:nvPr/>
          </p:nvSpPr>
          <p:spPr>
            <a:xfrm>
              <a:off x="-9923025" y="1871000"/>
              <a:ext cx="145725" cy="20500"/>
            </a:xfrm>
            <a:custGeom>
              <a:avLst/>
              <a:gdLst/>
              <a:ahLst/>
              <a:cxnLst/>
              <a:rect l="l" t="t" r="r" b="b"/>
              <a:pathLst>
                <a:path w="5829" h="820" extrusionOk="0">
                  <a:moveTo>
                    <a:pt x="410" y="0"/>
                  </a:moveTo>
                  <a:cubicBezTo>
                    <a:pt x="190" y="0"/>
                    <a:pt x="1" y="189"/>
                    <a:pt x="1" y="378"/>
                  </a:cubicBezTo>
                  <a:cubicBezTo>
                    <a:pt x="1" y="630"/>
                    <a:pt x="190" y="819"/>
                    <a:pt x="410" y="819"/>
                  </a:cubicBezTo>
                  <a:lnTo>
                    <a:pt x="5419" y="819"/>
                  </a:lnTo>
                  <a:cubicBezTo>
                    <a:pt x="5671" y="819"/>
                    <a:pt x="5829" y="630"/>
                    <a:pt x="5829" y="378"/>
                  </a:cubicBezTo>
                  <a:cubicBezTo>
                    <a:pt x="5829" y="189"/>
                    <a:pt x="5671" y="0"/>
                    <a:pt x="5419"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sp>
        <p:nvSpPr>
          <p:cNvPr id="10928" name="Google Shape;10928;p113"/>
          <p:cNvSpPr/>
          <p:nvPr/>
        </p:nvSpPr>
        <p:spPr>
          <a:xfrm>
            <a:off x="7081963" y="4249163"/>
            <a:ext cx="436155" cy="455664"/>
          </a:xfrm>
          <a:custGeom>
            <a:avLst/>
            <a:gdLst/>
            <a:ahLst/>
            <a:cxnLst/>
            <a:rect l="l" t="t" r="r" b="b"/>
            <a:pathLst>
              <a:path w="13548" h="14154" extrusionOk="0">
                <a:moveTo>
                  <a:pt x="6774" y="914"/>
                </a:moveTo>
                <a:cubicBezTo>
                  <a:pt x="7215" y="914"/>
                  <a:pt x="7593" y="1324"/>
                  <a:pt x="7593" y="1797"/>
                </a:cubicBezTo>
                <a:cubicBezTo>
                  <a:pt x="7593" y="2238"/>
                  <a:pt x="7247" y="2616"/>
                  <a:pt x="6774" y="2616"/>
                </a:cubicBezTo>
                <a:cubicBezTo>
                  <a:pt x="6301" y="2616"/>
                  <a:pt x="5955" y="2238"/>
                  <a:pt x="5955" y="1797"/>
                </a:cubicBezTo>
                <a:cubicBezTo>
                  <a:pt x="5955" y="1324"/>
                  <a:pt x="6333" y="914"/>
                  <a:pt x="6774" y="914"/>
                </a:cubicBezTo>
                <a:close/>
                <a:moveTo>
                  <a:pt x="1400" y="2610"/>
                </a:moveTo>
                <a:cubicBezTo>
                  <a:pt x="1427" y="2610"/>
                  <a:pt x="1454" y="2612"/>
                  <a:pt x="1481" y="2616"/>
                </a:cubicBezTo>
                <a:lnTo>
                  <a:pt x="4222" y="3151"/>
                </a:lnTo>
                <a:lnTo>
                  <a:pt x="3151" y="3781"/>
                </a:lnTo>
                <a:cubicBezTo>
                  <a:pt x="3119" y="3750"/>
                  <a:pt x="3245" y="3781"/>
                  <a:pt x="1324" y="3403"/>
                </a:cubicBezTo>
                <a:cubicBezTo>
                  <a:pt x="1072" y="3372"/>
                  <a:pt x="946" y="3120"/>
                  <a:pt x="1009" y="2931"/>
                </a:cubicBezTo>
                <a:cubicBezTo>
                  <a:pt x="1036" y="2710"/>
                  <a:pt x="1209" y="2610"/>
                  <a:pt x="1400" y="2610"/>
                </a:cubicBezTo>
                <a:close/>
                <a:moveTo>
                  <a:pt x="5502" y="3443"/>
                </a:moveTo>
                <a:cubicBezTo>
                  <a:pt x="5553" y="3443"/>
                  <a:pt x="5608" y="3451"/>
                  <a:pt x="5671" y="3466"/>
                </a:cubicBezTo>
                <a:cubicBezTo>
                  <a:pt x="5860" y="3561"/>
                  <a:pt x="5923" y="3624"/>
                  <a:pt x="5955" y="3907"/>
                </a:cubicBezTo>
                <a:cubicBezTo>
                  <a:pt x="5986" y="4254"/>
                  <a:pt x="5923" y="5766"/>
                  <a:pt x="7089" y="7278"/>
                </a:cubicBezTo>
                <a:cubicBezTo>
                  <a:pt x="7175" y="7385"/>
                  <a:pt x="7304" y="7449"/>
                  <a:pt x="7427" y="7449"/>
                </a:cubicBezTo>
                <a:cubicBezTo>
                  <a:pt x="7486" y="7449"/>
                  <a:pt x="7543" y="7435"/>
                  <a:pt x="7593" y="7404"/>
                </a:cubicBezTo>
                <a:lnTo>
                  <a:pt x="11972" y="5168"/>
                </a:lnTo>
                <a:cubicBezTo>
                  <a:pt x="12030" y="5129"/>
                  <a:pt x="12094" y="5111"/>
                  <a:pt x="12158" y="5111"/>
                </a:cubicBezTo>
                <a:cubicBezTo>
                  <a:pt x="12304" y="5111"/>
                  <a:pt x="12452" y="5204"/>
                  <a:pt x="12539" y="5357"/>
                </a:cubicBezTo>
                <a:cubicBezTo>
                  <a:pt x="12634" y="5577"/>
                  <a:pt x="12571" y="5798"/>
                  <a:pt x="12319" y="5924"/>
                </a:cubicBezTo>
                <a:lnTo>
                  <a:pt x="7499" y="8444"/>
                </a:lnTo>
                <a:cubicBezTo>
                  <a:pt x="7404" y="8476"/>
                  <a:pt x="7562" y="8350"/>
                  <a:pt x="5388" y="10366"/>
                </a:cubicBezTo>
                <a:cubicBezTo>
                  <a:pt x="5293" y="10492"/>
                  <a:pt x="5230" y="10712"/>
                  <a:pt x="5325" y="10870"/>
                </a:cubicBezTo>
                <a:lnTo>
                  <a:pt x="6396" y="12823"/>
                </a:lnTo>
                <a:cubicBezTo>
                  <a:pt x="6490" y="13012"/>
                  <a:pt x="6427" y="13233"/>
                  <a:pt x="6238" y="13359"/>
                </a:cubicBezTo>
                <a:cubicBezTo>
                  <a:pt x="6169" y="13398"/>
                  <a:pt x="6100" y="13416"/>
                  <a:pt x="6034" y="13416"/>
                </a:cubicBezTo>
                <a:cubicBezTo>
                  <a:pt x="5889" y="13416"/>
                  <a:pt x="5758" y="13331"/>
                  <a:pt x="5671" y="13201"/>
                </a:cubicBezTo>
                <a:lnTo>
                  <a:pt x="4285" y="10681"/>
                </a:lnTo>
                <a:cubicBezTo>
                  <a:pt x="4222" y="10523"/>
                  <a:pt x="4222" y="10334"/>
                  <a:pt x="4380" y="10177"/>
                </a:cubicBezTo>
                <a:lnTo>
                  <a:pt x="6333" y="8318"/>
                </a:lnTo>
                <a:cubicBezTo>
                  <a:pt x="6490" y="8161"/>
                  <a:pt x="6490" y="7940"/>
                  <a:pt x="6396" y="7783"/>
                </a:cubicBezTo>
                <a:cubicBezTo>
                  <a:pt x="5797" y="6995"/>
                  <a:pt x="5388" y="6050"/>
                  <a:pt x="5199" y="5042"/>
                </a:cubicBezTo>
                <a:cubicBezTo>
                  <a:pt x="5176" y="4859"/>
                  <a:pt x="4988" y="4727"/>
                  <a:pt x="4791" y="4727"/>
                </a:cubicBezTo>
                <a:cubicBezTo>
                  <a:pt x="4715" y="4727"/>
                  <a:pt x="4638" y="4746"/>
                  <a:pt x="4569" y="4790"/>
                </a:cubicBezTo>
                <a:cubicBezTo>
                  <a:pt x="4128" y="5042"/>
                  <a:pt x="4600" y="4727"/>
                  <a:pt x="1544" y="6743"/>
                </a:cubicBezTo>
                <a:cubicBezTo>
                  <a:pt x="1493" y="6768"/>
                  <a:pt x="1438" y="6780"/>
                  <a:pt x="1382" y="6780"/>
                </a:cubicBezTo>
                <a:cubicBezTo>
                  <a:pt x="1229" y="6780"/>
                  <a:pt x="1069" y="6692"/>
                  <a:pt x="977" y="6554"/>
                </a:cubicBezTo>
                <a:cubicBezTo>
                  <a:pt x="946" y="6270"/>
                  <a:pt x="1040" y="6050"/>
                  <a:pt x="1229" y="5955"/>
                </a:cubicBezTo>
                <a:cubicBezTo>
                  <a:pt x="1261" y="5955"/>
                  <a:pt x="5356" y="3466"/>
                  <a:pt x="5356" y="3466"/>
                </a:cubicBezTo>
                <a:cubicBezTo>
                  <a:pt x="5403" y="3451"/>
                  <a:pt x="5451" y="3443"/>
                  <a:pt x="5502" y="3443"/>
                </a:cubicBezTo>
                <a:close/>
                <a:moveTo>
                  <a:pt x="6774" y="1"/>
                </a:moveTo>
                <a:cubicBezTo>
                  <a:pt x="5892" y="1"/>
                  <a:pt x="5136" y="788"/>
                  <a:pt x="5136" y="1702"/>
                </a:cubicBezTo>
                <a:cubicBezTo>
                  <a:pt x="5136" y="1986"/>
                  <a:pt x="5199" y="2206"/>
                  <a:pt x="5325" y="2458"/>
                </a:cubicBezTo>
                <a:lnTo>
                  <a:pt x="1670" y="1702"/>
                </a:lnTo>
                <a:cubicBezTo>
                  <a:pt x="1594" y="1688"/>
                  <a:pt x="1517" y="1681"/>
                  <a:pt x="1441" y="1681"/>
                </a:cubicBezTo>
                <a:cubicBezTo>
                  <a:pt x="857" y="1681"/>
                  <a:pt x="305" y="2093"/>
                  <a:pt x="221" y="2679"/>
                </a:cubicBezTo>
                <a:cubicBezTo>
                  <a:pt x="95" y="3372"/>
                  <a:pt x="536" y="4033"/>
                  <a:pt x="1198" y="4159"/>
                </a:cubicBezTo>
                <a:lnTo>
                  <a:pt x="2174" y="4349"/>
                </a:lnTo>
                <a:lnTo>
                  <a:pt x="883" y="5136"/>
                </a:lnTo>
                <a:cubicBezTo>
                  <a:pt x="252" y="5514"/>
                  <a:pt x="0" y="6239"/>
                  <a:pt x="284" y="6869"/>
                </a:cubicBezTo>
                <a:cubicBezTo>
                  <a:pt x="512" y="7326"/>
                  <a:pt x="974" y="7536"/>
                  <a:pt x="1397" y="7536"/>
                </a:cubicBezTo>
                <a:cubicBezTo>
                  <a:pt x="1616" y="7536"/>
                  <a:pt x="1824" y="7480"/>
                  <a:pt x="1985" y="7373"/>
                </a:cubicBezTo>
                <a:lnTo>
                  <a:pt x="4506" y="5735"/>
                </a:lnTo>
                <a:cubicBezTo>
                  <a:pt x="4695" y="6522"/>
                  <a:pt x="5041" y="7215"/>
                  <a:pt x="5482" y="7877"/>
                </a:cubicBezTo>
                <a:lnTo>
                  <a:pt x="3781" y="9515"/>
                </a:lnTo>
                <a:cubicBezTo>
                  <a:pt x="3403" y="9893"/>
                  <a:pt x="3277" y="10523"/>
                  <a:pt x="3560" y="10996"/>
                </a:cubicBezTo>
                <a:lnTo>
                  <a:pt x="4947" y="13516"/>
                </a:lnTo>
                <a:cubicBezTo>
                  <a:pt x="5181" y="13922"/>
                  <a:pt x="5604" y="14154"/>
                  <a:pt x="6028" y="14154"/>
                </a:cubicBezTo>
                <a:cubicBezTo>
                  <a:pt x="6230" y="14154"/>
                  <a:pt x="6433" y="14101"/>
                  <a:pt x="6616" y="13989"/>
                </a:cubicBezTo>
                <a:cubicBezTo>
                  <a:pt x="7215" y="13642"/>
                  <a:pt x="7467" y="12886"/>
                  <a:pt x="7089" y="12288"/>
                </a:cubicBezTo>
                <a:lnTo>
                  <a:pt x="6207" y="10649"/>
                </a:lnTo>
                <a:lnTo>
                  <a:pt x="7877" y="9043"/>
                </a:lnTo>
                <a:lnTo>
                  <a:pt x="12697" y="6554"/>
                </a:lnTo>
                <a:cubicBezTo>
                  <a:pt x="13295" y="6239"/>
                  <a:pt x="13548" y="5483"/>
                  <a:pt x="13232" y="4884"/>
                </a:cubicBezTo>
                <a:cubicBezTo>
                  <a:pt x="13014" y="4446"/>
                  <a:pt x="12597" y="4206"/>
                  <a:pt x="12162" y="4206"/>
                </a:cubicBezTo>
                <a:cubicBezTo>
                  <a:pt x="11971" y="4206"/>
                  <a:pt x="11777" y="4252"/>
                  <a:pt x="11594" y="4349"/>
                </a:cubicBezTo>
                <a:lnTo>
                  <a:pt x="7530" y="6428"/>
                </a:lnTo>
                <a:cubicBezTo>
                  <a:pt x="6679" y="5136"/>
                  <a:pt x="6837" y="3907"/>
                  <a:pt x="6774" y="3750"/>
                </a:cubicBezTo>
                <a:cubicBezTo>
                  <a:pt x="6774" y="3687"/>
                  <a:pt x="6774" y="3529"/>
                  <a:pt x="6711" y="3372"/>
                </a:cubicBezTo>
                <a:lnTo>
                  <a:pt x="6774" y="3372"/>
                </a:lnTo>
                <a:cubicBezTo>
                  <a:pt x="7688" y="3372"/>
                  <a:pt x="8444" y="2616"/>
                  <a:pt x="8444" y="1702"/>
                </a:cubicBezTo>
                <a:cubicBezTo>
                  <a:pt x="8444" y="788"/>
                  <a:pt x="7688" y="1"/>
                  <a:pt x="6774"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nvGrpSpPr>
          <p:cNvPr id="10929" name="Google Shape;10929;p113"/>
          <p:cNvGrpSpPr/>
          <p:nvPr/>
        </p:nvGrpSpPr>
        <p:grpSpPr>
          <a:xfrm>
            <a:off x="10708794" y="3740244"/>
            <a:ext cx="430071" cy="456437"/>
            <a:chOff x="-10019125" y="2490075"/>
            <a:chExt cx="333975" cy="354450"/>
          </a:xfrm>
        </p:grpSpPr>
        <p:sp>
          <p:nvSpPr>
            <p:cNvPr id="10930" name="Google Shape;10930;p113"/>
            <p:cNvSpPr/>
            <p:nvPr/>
          </p:nvSpPr>
          <p:spPr>
            <a:xfrm>
              <a:off x="-10019125" y="2490850"/>
              <a:ext cx="333975" cy="353675"/>
            </a:xfrm>
            <a:custGeom>
              <a:avLst/>
              <a:gdLst/>
              <a:ahLst/>
              <a:cxnLst/>
              <a:rect l="l" t="t" r="r" b="b"/>
              <a:pathLst>
                <a:path w="13359" h="14147" extrusionOk="0">
                  <a:moveTo>
                    <a:pt x="7184" y="1670"/>
                  </a:moveTo>
                  <a:cubicBezTo>
                    <a:pt x="7405" y="1670"/>
                    <a:pt x="7625" y="1859"/>
                    <a:pt x="7625" y="2048"/>
                  </a:cubicBezTo>
                  <a:lnTo>
                    <a:pt x="7625" y="4191"/>
                  </a:lnTo>
                  <a:cubicBezTo>
                    <a:pt x="7499" y="4128"/>
                    <a:pt x="7342" y="4096"/>
                    <a:pt x="7184" y="4096"/>
                  </a:cubicBezTo>
                  <a:cubicBezTo>
                    <a:pt x="7027" y="4096"/>
                    <a:pt x="6900" y="4128"/>
                    <a:pt x="6743" y="4191"/>
                  </a:cubicBezTo>
                  <a:lnTo>
                    <a:pt x="6743" y="2048"/>
                  </a:lnTo>
                  <a:cubicBezTo>
                    <a:pt x="6743" y="1828"/>
                    <a:pt x="6932" y="1670"/>
                    <a:pt x="7184" y="1670"/>
                  </a:cubicBezTo>
                  <a:close/>
                  <a:moveTo>
                    <a:pt x="8791" y="788"/>
                  </a:moveTo>
                  <a:cubicBezTo>
                    <a:pt x="8980" y="788"/>
                    <a:pt x="9200" y="977"/>
                    <a:pt x="9200" y="1229"/>
                  </a:cubicBezTo>
                  <a:lnTo>
                    <a:pt x="9200" y="5356"/>
                  </a:lnTo>
                  <a:cubicBezTo>
                    <a:pt x="9200" y="5608"/>
                    <a:pt x="9389" y="5797"/>
                    <a:pt x="9610" y="5797"/>
                  </a:cubicBezTo>
                  <a:cubicBezTo>
                    <a:pt x="9862" y="5797"/>
                    <a:pt x="10019" y="5608"/>
                    <a:pt x="10019" y="5356"/>
                  </a:cubicBezTo>
                  <a:lnTo>
                    <a:pt x="10019" y="2048"/>
                  </a:lnTo>
                  <a:cubicBezTo>
                    <a:pt x="10019" y="1828"/>
                    <a:pt x="10209" y="1670"/>
                    <a:pt x="10398" y="1670"/>
                  </a:cubicBezTo>
                  <a:cubicBezTo>
                    <a:pt x="10618" y="1670"/>
                    <a:pt x="10807" y="1859"/>
                    <a:pt x="10807" y="2048"/>
                  </a:cubicBezTo>
                  <a:lnTo>
                    <a:pt x="10807" y="5356"/>
                  </a:lnTo>
                  <a:cubicBezTo>
                    <a:pt x="10807" y="5608"/>
                    <a:pt x="10996" y="5797"/>
                    <a:pt x="11185" y="5797"/>
                  </a:cubicBezTo>
                  <a:cubicBezTo>
                    <a:pt x="11406" y="5797"/>
                    <a:pt x="11626" y="5608"/>
                    <a:pt x="11626" y="5356"/>
                  </a:cubicBezTo>
                  <a:lnTo>
                    <a:pt x="11626" y="4537"/>
                  </a:lnTo>
                  <a:cubicBezTo>
                    <a:pt x="11626" y="4285"/>
                    <a:pt x="11815" y="4096"/>
                    <a:pt x="12036" y="4096"/>
                  </a:cubicBezTo>
                  <a:cubicBezTo>
                    <a:pt x="12256" y="4096"/>
                    <a:pt x="12414" y="4285"/>
                    <a:pt x="12414" y="4537"/>
                  </a:cubicBezTo>
                  <a:lnTo>
                    <a:pt x="12414" y="8696"/>
                  </a:lnTo>
                  <a:cubicBezTo>
                    <a:pt x="12414" y="9389"/>
                    <a:pt x="11878" y="9925"/>
                    <a:pt x="11154" y="9925"/>
                  </a:cubicBezTo>
                  <a:lnTo>
                    <a:pt x="9925" y="9925"/>
                  </a:lnTo>
                  <a:lnTo>
                    <a:pt x="9925" y="7845"/>
                  </a:lnTo>
                  <a:cubicBezTo>
                    <a:pt x="9925" y="7184"/>
                    <a:pt x="9389" y="6617"/>
                    <a:pt x="8665" y="6617"/>
                  </a:cubicBezTo>
                  <a:cubicBezTo>
                    <a:pt x="8507" y="6617"/>
                    <a:pt x="8413" y="6648"/>
                    <a:pt x="8287" y="6711"/>
                  </a:cubicBezTo>
                  <a:cubicBezTo>
                    <a:pt x="8413" y="6585"/>
                    <a:pt x="8413" y="1891"/>
                    <a:pt x="8413" y="1229"/>
                  </a:cubicBezTo>
                  <a:cubicBezTo>
                    <a:pt x="8413" y="977"/>
                    <a:pt x="8602" y="788"/>
                    <a:pt x="8791" y="788"/>
                  </a:cubicBezTo>
                  <a:close/>
                  <a:moveTo>
                    <a:pt x="5483" y="4096"/>
                  </a:moveTo>
                  <a:cubicBezTo>
                    <a:pt x="5735" y="4096"/>
                    <a:pt x="5892" y="4254"/>
                    <a:pt x="5924" y="4506"/>
                  </a:cubicBezTo>
                  <a:lnTo>
                    <a:pt x="5924" y="8696"/>
                  </a:lnTo>
                  <a:cubicBezTo>
                    <a:pt x="5924" y="8948"/>
                    <a:pt x="6113" y="9105"/>
                    <a:pt x="6302" y="9105"/>
                  </a:cubicBezTo>
                  <a:cubicBezTo>
                    <a:pt x="6554" y="9105"/>
                    <a:pt x="6743" y="8885"/>
                    <a:pt x="6743" y="8696"/>
                  </a:cubicBezTo>
                  <a:lnTo>
                    <a:pt x="6743" y="5356"/>
                  </a:lnTo>
                  <a:cubicBezTo>
                    <a:pt x="6743" y="5136"/>
                    <a:pt x="6932" y="4915"/>
                    <a:pt x="7153" y="4915"/>
                  </a:cubicBezTo>
                  <a:cubicBezTo>
                    <a:pt x="7342" y="4915"/>
                    <a:pt x="7562" y="5136"/>
                    <a:pt x="7562" y="5356"/>
                  </a:cubicBezTo>
                  <a:lnTo>
                    <a:pt x="7562" y="8696"/>
                  </a:lnTo>
                  <a:cubicBezTo>
                    <a:pt x="7562" y="8948"/>
                    <a:pt x="7783" y="9105"/>
                    <a:pt x="7972" y="9105"/>
                  </a:cubicBezTo>
                  <a:cubicBezTo>
                    <a:pt x="8161" y="9105"/>
                    <a:pt x="8350" y="8885"/>
                    <a:pt x="8350" y="8696"/>
                  </a:cubicBezTo>
                  <a:lnTo>
                    <a:pt x="8350" y="7877"/>
                  </a:lnTo>
                  <a:cubicBezTo>
                    <a:pt x="8350" y="7656"/>
                    <a:pt x="8570" y="7436"/>
                    <a:pt x="8759" y="7436"/>
                  </a:cubicBezTo>
                  <a:cubicBezTo>
                    <a:pt x="8948" y="7436"/>
                    <a:pt x="9137" y="7656"/>
                    <a:pt x="9137" y="7877"/>
                  </a:cubicBezTo>
                  <a:lnTo>
                    <a:pt x="9137" y="12035"/>
                  </a:lnTo>
                  <a:cubicBezTo>
                    <a:pt x="9137" y="12728"/>
                    <a:pt x="8602" y="13264"/>
                    <a:pt x="7940" y="13264"/>
                  </a:cubicBezTo>
                  <a:lnTo>
                    <a:pt x="3403" y="13264"/>
                  </a:lnTo>
                  <a:cubicBezTo>
                    <a:pt x="2994" y="13264"/>
                    <a:pt x="2647" y="13075"/>
                    <a:pt x="2427" y="12791"/>
                  </a:cubicBezTo>
                  <a:cubicBezTo>
                    <a:pt x="915" y="10523"/>
                    <a:pt x="1009" y="10649"/>
                    <a:pt x="1009" y="10586"/>
                  </a:cubicBezTo>
                  <a:cubicBezTo>
                    <a:pt x="915" y="10429"/>
                    <a:pt x="915" y="10208"/>
                    <a:pt x="1104" y="10051"/>
                  </a:cubicBezTo>
                  <a:cubicBezTo>
                    <a:pt x="1189" y="9980"/>
                    <a:pt x="1280" y="9947"/>
                    <a:pt x="1370" y="9947"/>
                  </a:cubicBezTo>
                  <a:cubicBezTo>
                    <a:pt x="1479" y="9947"/>
                    <a:pt x="1584" y="9995"/>
                    <a:pt x="1671" y="10082"/>
                  </a:cubicBezTo>
                  <a:lnTo>
                    <a:pt x="2742" y="11153"/>
                  </a:lnTo>
                  <a:cubicBezTo>
                    <a:pt x="2818" y="11230"/>
                    <a:pt x="2918" y="11271"/>
                    <a:pt x="3005" y="11271"/>
                  </a:cubicBezTo>
                  <a:cubicBezTo>
                    <a:pt x="3062" y="11271"/>
                    <a:pt x="3114" y="11254"/>
                    <a:pt x="3151" y="11216"/>
                  </a:cubicBezTo>
                  <a:cubicBezTo>
                    <a:pt x="3340" y="11153"/>
                    <a:pt x="3403" y="11027"/>
                    <a:pt x="3403" y="10838"/>
                  </a:cubicBezTo>
                  <a:lnTo>
                    <a:pt x="3403" y="5356"/>
                  </a:lnTo>
                  <a:cubicBezTo>
                    <a:pt x="3403" y="5136"/>
                    <a:pt x="3592" y="4915"/>
                    <a:pt x="3845" y="4915"/>
                  </a:cubicBezTo>
                  <a:cubicBezTo>
                    <a:pt x="4065" y="4915"/>
                    <a:pt x="4223" y="5136"/>
                    <a:pt x="4223" y="5356"/>
                  </a:cubicBezTo>
                  <a:lnTo>
                    <a:pt x="4223" y="8696"/>
                  </a:lnTo>
                  <a:cubicBezTo>
                    <a:pt x="4223" y="8948"/>
                    <a:pt x="4412" y="9105"/>
                    <a:pt x="4664" y="9105"/>
                  </a:cubicBezTo>
                  <a:cubicBezTo>
                    <a:pt x="4884" y="9105"/>
                    <a:pt x="5105" y="8885"/>
                    <a:pt x="5105" y="8696"/>
                  </a:cubicBezTo>
                  <a:lnTo>
                    <a:pt x="5105" y="4537"/>
                  </a:lnTo>
                  <a:cubicBezTo>
                    <a:pt x="5105" y="4285"/>
                    <a:pt x="5294" y="4096"/>
                    <a:pt x="5483" y="4096"/>
                  </a:cubicBezTo>
                  <a:close/>
                  <a:moveTo>
                    <a:pt x="8822" y="1"/>
                  </a:moveTo>
                  <a:cubicBezTo>
                    <a:pt x="8255" y="1"/>
                    <a:pt x="7783" y="410"/>
                    <a:pt x="7657" y="914"/>
                  </a:cubicBezTo>
                  <a:cubicBezTo>
                    <a:pt x="7499" y="883"/>
                    <a:pt x="7342" y="820"/>
                    <a:pt x="7184" y="820"/>
                  </a:cubicBezTo>
                  <a:cubicBezTo>
                    <a:pt x="6522" y="820"/>
                    <a:pt x="5955" y="1387"/>
                    <a:pt x="5955" y="2048"/>
                  </a:cubicBezTo>
                  <a:lnTo>
                    <a:pt x="5955" y="3340"/>
                  </a:lnTo>
                  <a:cubicBezTo>
                    <a:pt x="5829" y="3309"/>
                    <a:pt x="5672" y="3277"/>
                    <a:pt x="5514" y="3277"/>
                  </a:cubicBezTo>
                  <a:cubicBezTo>
                    <a:pt x="4947" y="3277"/>
                    <a:pt x="4475" y="3655"/>
                    <a:pt x="4349" y="4191"/>
                  </a:cubicBezTo>
                  <a:cubicBezTo>
                    <a:pt x="4191" y="4128"/>
                    <a:pt x="4034" y="4096"/>
                    <a:pt x="3876" y="4096"/>
                  </a:cubicBezTo>
                  <a:cubicBezTo>
                    <a:pt x="3214" y="4096"/>
                    <a:pt x="2616" y="4663"/>
                    <a:pt x="2616" y="5356"/>
                  </a:cubicBezTo>
                  <a:lnTo>
                    <a:pt x="2616" y="9862"/>
                  </a:lnTo>
                  <a:lnTo>
                    <a:pt x="2269" y="9483"/>
                  </a:lnTo>
                  <a:cubicBezTo>
                    <a:pt x="2025" y="9239"/>
                    <a:pt x="1712" y="9121"/>
                    <a:pt x="1398" y="9121"/>
                  </a:cubicBezTo>
                  <a:cubicBezTo>
                    <a:pt x="1105" y="9121"/>
                    <a:pt x="811" y="9223"/>
                    <a:pt x="568" y="9420"/>
                  </a:cubicBezTo>
                  <a:cubicBezTo>
                    <a:pt x="95" y="9862"/>
                    <a:pt x="1" y="10555"/>
                    <a:pt x="379" y="11059"/>
                  </a:cubicBezTo>
                  <a:lnTo>
                    <a:pt x="1797" y="13264"/>
                  </a:lnTo>
                  <a:cubicBezTo>
                    <a:pt x="2175" y="13831"/>
                    <a:pt x="2805" y="14146"/>
                    <a:pt x="3435" y="14146"/>
                  </a:cubicBezTo>
                  <a:lnTo>
                    <a:pt x="7972" y="14146"/>
                  </a:lnTo>
                  <a:cubicBezTo>
                    <a:pt x="9106" y="14146"/>
                    <a:pt x="10051" y="13201"/>
                    <a:pt x="10051" y="12035"/>
                  </a:cubicBezTo>
                  <a:lnTo>
                    <a:pt x="10051" y="10807"/>
                  </a:lnTo>
                  <a:lnTo>
                    <a:pt x="11280" y="10807"/>
                  </a:lnTo>
                  <a:cubicBezTo>
                    <a:pt x="12414" y="10807"/>
                    <a:pt x="13359" y="9862"/>
                    <a:pt x="13359" y="8696"/>
                  </a:cubicBezTo>
                  <a:lnTo>
                    <a:pt x="13359" y="4537"/>
                  </a:lnTo>
                  <a:cubicBezTo>
                    <a:pt x="13359" y="3876"/>
                    <a:pt x="12823" y="3309"/>
                    <a:pt x="12130" y="3309"/>
                  </a:cubicBezTo>
                  <a:cubicBezTo>
                    <a:pt x="11973" y="3309"/>
                    <a:pt x="11878" y="3340"/>
                    <a:pt x="11752" y="3372"/>
                  </a:cubicBezTo>
                  <a:lnTo>
                    <a:pt x="11752" y="2048"/>
                  </a:lnTo>
                  <a:cubicBezTo>
                    <a:pt x="11752" y="1387"/>
                    <a:pt x="11185" y="820"/>
                    <a:pt x="10492" y="820"/>
                  </a:cubicBezTo>
                  <a:cubicBezTo>
                    <a:pt x="10335" y="820"/>
                    <a:pt x="10177" y="883"/>
                    <a:pt x="10019" y="914"/>
                  </a:cubicBezTo>
                  <a:cubicBezTo>
                    <a:pt x="9862" y="410"/>
                    <a:pt x="9389" y="1"/>
                    <a:pt x="8822"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931" name="Google Shape;10931;p113"/>
            <p:cNvSpPr/>
            <p:nvPr/>
          </p:nvSpPr>
          <p:spPr>
            <a:xfrm>
              <a:off x="-10016750" y="2491050"/>
              <a:ext cx="63825" cy="61850"/>
            </a:xfrm>
            <a:custGeom>
              <a:avLst/>
              <a:gdLst/>
              <a:ahLst/>
              <a:cxnLst/>
              <a:rect l="l" t="t" r="r" b="b"/>
              <a:pathLst>
                <a:path w="2553" h="2474" extrusionOk="0">
                  <a:moveTo>
                    <a:pt x="457" y="0"/>
                  </a:moveTo>
                  <a:cubicBezTo>
                    <a:pt x="347" y="0"/>
                    <a:pt x="237" y="40"/>
                    <a:pt x="158" y="119"/>
                  </a:cubicBezTo>
                  <a:cubicBezTo>
                    <a:pt x="0" y="276"/>
                    <a:pt x="0" y="560"/>
                    <a:pt x="158" y="717"/>
                  </a:cubicBezTo>
                  <a:lnTo>
                    <a:pt x="1796" y="2355"/>
                  </a:lnTo>
                  <a:cubicBezTo>
                    <a:pt x="1891" y="2434"/>
                    <a:pt x="2001" y="2474"/>
                    <a:pt x="2107" y="2474"/>
                  </a:cubicBezTo>
                  <a:cubicBezTo>
                    <a:pt x="2214" y="2474"/>
                    <a:pt x="2316" y="2434"/>
                    <a:pt x="2395" y="2355"/>
                  </a:cubicBezTo>
                  <a:cubicBezTo>
                    <a:pt x="2552" y="2198"/>
                    <a:pt x="2552" y="1914"/>
                    <a:pt x="2395" y="1757"/>
                  </a:cubicBezTo>
                  <a:lnTo>
                    <a:pt x="757" y="119"/>
                  </a:lnTo>
                  <a:cubicBezTo>
                    <a:pt x="678" y="40"/>
                    <a:pt x="568" y="0"/>
                    <a:pt x="457"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932" name="Google Shape;10932;p113"/>
            <p:cNvSpPr/>
            <p:nvPr/>
          </p:nvSpPr>
          <p:spPr>
            <a:xfrm>
              <a:off x="-9933275" y="2490075"/>
              <a:ext cx="20525" cy="63025"/>
            </a:xfrm>
            <a:custGeom>
              <a:avLst/>
              <a:gdLst/>
              <a:ahLst/>
              <a:cxnLst/>
              <a:rect l="l" t="t" r="r" b="b"/>
              <a:pathLst>
                <a:path w="821" h="2521" extrusionOk="0">
                  <a:moveTo>
                    <a:pt x="442" y="0"/>
                  </a:moveTo>
                  <a:cubicBezTo>
                    <a:pt x="221" y="0"/>
                    <a:pt x="1" y="189"/>
                    <a:pt x="1" y="441"/>
                  </a:cubicBezTo>
                  <a:lnTo>
                    <a:pt x="1" y="2079"/>
                  </a:lnTo>
                  <a:cubicBezTo>
                    <a:pt x="1" y="2331"/>
                    <a:pt x="221" y="2520"/>
                    <a:pt x="442" y="2520"/>
                  </a:cubicBezTo>
                  <a:cubicBezTo>
                    <a:pt x="631" y="2520"/>
                    <a:pt x="820" y="2331"/>
                    <a:pt x="820" y="2079"/>
                  </a:cubicBezTo>
                  <a:lnTo>
                    <a:pt x="820" y="441"/>
                  </a:lnTo>
                  <a:cubicBezTo>
                    <a:pt x="820" y="189"/>
                    <a:pt x="631" y="0"/>
                    <a:pt x="442"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933" name="Google Shape;10933;p113"/>
            <p:cNvSpPr/>
            <p:nvPr/>
          </p:nvSpPr>
          <p:spPr>
            <a:xfrm>
              <a:off x="-10015975" y="2573550"/>
              <a:ext cx="63050" cy="20500"/>
            </a:xfrm>
            <a:custGeom>
              <a:avLst/>
              <a:gdLst/>
              <a:ahLst/>
              <a:cxnLst/>
              <a:rect l="l" t="t" r="r" b="b"/>
              <a:pathLst>
                <a:path w="2522" h="820" extrusionOk="0">
                  <a:moveTo>
                    <a:pt x="442" y="1"/>
                  </a:moveTo>
                  <a:cubicBezTo>
                    <a:pt x="190" y="1"/>
                    <a:pt x="1" y="190"/>
                    <a:pt x="1" y="442"/>
                  </a:cubicBezTo>
                  <a:cubicBezTo>
                    <a:pt x="1" y="631"/>
                    <a:pt x="190" y="820"/>
                    <a:pt x="442" y="820"/>
                  </a:cubicBezTo>
                  <a:lnTo>
                    <a:pt x="2080" y="820"/>
                  </a:lnTo>
                  <a:cubicBezTo>
                    <a:pt x="2332" y="820"/>
                    <a:pt x="2521" y="631"/>
                    <a:pt x="2521" y="442"/>
                  </a:cubicBezTo>
                  <a:cubicBezTo>
                    <a:pt x="2521" y="190"/>
                    <a:pt x="2332" y="1"/>
                    <a:pt x="2080"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10934" name="Google Shape;10934;p113"/>
          <p:cNvGrpSpPr/>
          <p:nvPr/>
        </p:nvGrpSpPr>
        <p:grpSpPr>
          <a:xfrm>
            <a:off x="8881574" y="4248257"/>
            <a:ext cx="469636" cy="457467"/>
            <a:chOff x="-8684100" y="2032450"/>
            <a:chExt cx="364700" cy="355250"/>
          </a:xfrm>
        </p:grpSpPr>
        <p:sp>
          <p:nvSpPr>
            <p:cNvPr id="10935" name="Google Shape;10935;p113"/>
            <p:cNvSpPr/>
            <p:nvPr/>
          </p:nvSpPr>
          <p:spPr>
            <a:xfrm>
              <a:off x="-8684100" y="2032450"/>
              <a:ext cx="364700" cy="355250"/>
            </a:xfrm>
            <a:custGeom>
              <a:avLst/>
              <a:gdLst/>
              <a:ahLst/>
              <a:cxnLst/>
              <a:rect l="l" t="t" r="r" b="b"/>
              <a:pathLst>
                <a:path w="14588" h="14210" extrusionOk="0">
                  <a:moveTo>
                    <a:pt x="13611" y="820"/>
                  </a:moveTo>
                  <a:lnTo>
                    <a:pt x="13611" y="1891"/>
                  </a:lnTo>
                  <a:lnTo>
                    <a:pt x="13642" y="1891"/>
                  </a:lnTo>
                  <a:lnTo>
                    <a:pt x="12130" y="2994"/>
                  </a:lnTo>
                  <a:lnTo>
                    <a:pt x="11469" y="2301"/>
                  </a:lnTo>
                  <a:lnTo>
                    <a:pt x="12571" y="820"/>
                  </a:lnTo>
                  <a:close/>
                  <a:moveTo>
                    <a:pt x="3561" y="2238"/>
                  </a:moveTo>
                  <a:lnTo>
                    <a:pt x="5294" y="3970"/>
                  </a:lnTo>
                  <a:cubicBezTo>
                    <a:pt x="5168" y="4033"/>
                    <a:pt x="5105" y="4128"/>
                    <a:pt x="4979" y="4254"/>
                  </a:cubicBezTo>
                  <a:lnTo>
                    <a:pt x="4695" y="4506"/>
                  </a:lnTo>
                  <a:lnTo>
                    <a:pt x="3844" y="3655"/>
                  </a:lnTo>
                  <a:cubicBezTo>
                    <a:pt x="3435" y="3246"/>
                    <a:pt x="3372" y="2710"/>
                    <a:pt x="3561" y="2238"/>
                  </a:cubicBezTo>
                  <a:close/>
                  <a:moveTo>
                    <a:pt x="10965" y="2899"/>
                  </a:moveTo>
                  <a:lnTo>
                    <a:pt x="11563" y="3498"/>
                  </a:lnTo>
                  <a:lnTo>
                    <a:pt x="8192" y="6837"/>
                  </a:lnTo>
                  <a:lnTo>
                    <a:pt x="7625" y="6239"/>
                  </a:lnTo>
                  <a:lnTo>
                    <a:pt x="10965" y="2899"/>
                  </a:lnTo>
                  <a:close/>
                  <a:moveTo>
                    <a:pt x="10492" y="9200"/>
                  </a:moveTo>
                  <a:lnTo>
                    <a:pt x="12225" y="10901"/>
                  </a:lnTo>
                  <a:cubicBezTo>
                    <a:pt x="12048" y="10984"/>
                    <a:pt x="11859" y="11027"/>
                    <a:pt x="11671" y="11027"/>
                  </a:cubicBezTo>
                  <a:cubicBezTo>
                    <a:pt x="11355" y="11027"/>
                    <a:pt x="11044" y="10906"/>
                    <a:pt x="10807" y="10649"/>
                  </a:cubicBezTo>
                  <a:lnTo>
                    <a:pt x="9925" y="9799"/>
                  </a:lnTo>
                  <a:lnTo>
                    <a:pt x="10208" y="9515"/>
                  </a:lnTo>
                  <a:cubicBezTo>
                    <a:pt x="10334" y="9389"/>
                    <a:pt x="10397" y="9326"/>
                    <a:pt x="10492" y="9200"/>
                  </a:cubicBezTo>
                  <a:close/>
                  <a:moveTo>
                    <a:pt x="2962" y="11059"/>
                  </a:moveTo>
                  <a:lnTo>
                    <a:pt x="3403" y="11500"/>
                  </a:lnTo>
                  <a:lnTo>
                    <a:pt x="2143" y="12319"/>
                  </a:lnTo>
                  <a:lnTo>
                    <a:pt x="2962" y="11059"/>
                  </a:lnTo>
                  <a:close/>
                  <a:moveTo>
                    <a:pt x="6996" y="4146"/>
                  </a:moveTo>
                  <a:cubicBezTo>
                    <a:pt x="7395" y="4146"/>
                    <a:pt x="7791" y="4258"/>
                    <a:pt x="8129" y="4474"/>
                  </a:cubicBezTo>
                  <a:lnTo>
                    <a:pt x="6711" y="5892"/>
                  </a:lnTo>
                  <a:cubicBezTo>
                    <a:pt x="6554" y="6050"/>
                    <a:pt x="6554" y="6333"/>
                    <a:pt x="6711" y="6491"/>
                  </a:cubicBezTo>
                  <a:lnTo>
                    <a:pt x="7877" y="7656"/>
                  </a:lnTo>
                  <a:cubicBezTo>
                    <a:pt x="7956" y="7735"/>
                    <a:pt x="8066" y="7775"/>
                    <a:pt x="8176" y="7775"/>
                  </a:cubicBezTo>
                  <a:cubicBezTo>
                    <a:pt x="8287" y="7775"/>
                    <a:pt x="8397" y="7735"/>
                    <a:pt x="8476" y="7656"/>
                  </a:cubicBezTo>
                  <a:lnTo>
                    <a:pt x="9893" y="6239"/>
                  </a:lnTo>
                  <a:cubicBezTo>
                    <a:pt x="10145" y="6648"/>
                    <a:pt x="10240" y="7026"/>
                    <a:pt x="10240" y="7436"/>
                  </a:cubicBezTo>
                  <a:cubicBezTo>
                    <a:pt x="10240" y="7971"/>
                    <a:pt x="10051" y="8476"/>
                    <a:pt x="9673" y="8885"/>
                  </a:cubicBezTo>
                  <a:lnTo>
                    <a:pt x="9232" y="9326"/>
                  </a:lnTo>
                  <a:cubicBezTo>
                    <a:pt x="9086" y="9286"/>
                    <a:pt x="8937" y="9266"/>
                    <a:pt x="8788" y="9266"/>
                  </a:cubicBezTo>
                  <a:cubicBezTo>
                    <a:pt x="8356" y="9266"/>
                    <a:pt x="7929" y="9431"/>
                    <a:pt x="7625" y="9736"/>
                  </a:cubicBezTo>
                  <a:cubicBezTo>
                    <a:pt x="7310" y="10051"/>
                    <a:pt x="7152" y="10492"/>
                    <a:pt x="7089" y="10933"/>
                  </a:cubicBezTo>
                  <a:cubicBezTo>
                    <a:pt x="7089" y="11405"/>
                    <a:pt x="7247" y="11784"/>
                    <a:pt x="7562" y="12099"/>
                  </a:cubicBezTo>
                  <a:lnTo>
                    <a:pt x="7310" y="12382"/>
                  </a:lnTo>
                  <a:cubicBezTo>
                    <a:pt x="6743" y="12949"/>
                    <a:pt x="6050" y="13264"/>
                    <a:pt x="5262" y="13264"/>
                  </a:cubicBezTo>
                  <a:cubicBezTo>
                    <a:pt x="4538" y="13264"/>
                    <a:pt x="3844" y="12981"/>
                    <a:pt x="3309" y="12508"/>
                  </a:cubicBezTo>
                  <a:lnTo>
                    <a:pt x="4317" y="11878"/>
                  </a:lnTo>
                  <a:cubicBezTo>
                    <a:pt x="4412" y="11784"/>
                    <a:pt x="4475" y="11689"/>
                    <a:pt x="4506" y="11563"/>
                  </a:cubicBezTo>
                  <a:cubicBezTo>
                    <a:pt x="4506" y="11437"/>
                    <a:pt x="4475" y="11311"/>
                    <a:pt x="4380" y="11216"/>
                  </a:cubicBezTo>
                  <a:lnTo>
                    <a:pt x="3214" y="10019"/>
                  </a:lnTo>
                  <a:cubicBezTo>
                    <a:pt x="3120" y="9956"/>
                    <a:pt x="2994" y="9893"/>
                    <a:pt x="2836" y="9893"/>
                  </a:cubicBezTo>
                  <a:cubicBezTo>
                    <a:pt x="2742" y="9893"/>
                    <a:pt x="2616" y="9988"/>
                    <a:pt x="2521" y="10114"/>
                  </a:cubicBezTo>
                  <a:lnTo>
                    <a:pt x="1891" y="11090"/>
                  </a:lnTo>
                  <a:cubicBezTo>
                    <a:pt x="883" y="9956"/>
                    <a:pt x="914" y="8223"/>
                    <a:pt x="2017" y="7121"/>
                  </a:cubicBezTo>
                  <a:lnTo>
                    <a:pt x="2301" y="6837"/>
                  </a:lnTo>
                  <a:cubicBezTo>
                    <a:pt x="2616" y="7152"/>
                    <a:pt x="3057" y="7310"/>
                    <a:pt x="3466" y="7310"/>
                  </a:cubicBezTo>
                  <a:cubicBezTo>
                    <a:pt x="3907" y="7310"/>
                    <a:pt x="4348" y="7121"/>
                    <a:pt x="4664" y="6806"/>
                  </a:cubicBezTo>
                  <a:cubicBezTo>
                    <a:pt x="5105" y="6365"/>
                    <a:pt x="5262" y="5766"/>
                    <a:pt x="5105" y="5168"/>
                  </a:cubicBezTo>
                  <a:lnTo>
                    <a:pt x="5514" y="4758"/>
                  </a:lnTo>
                  <a:cubicBezTo>
                    <a:pt x="5928" y="4344"/>
                    <a:pt x="6465" y="4146"/>
                    <a:pt x="6996" y="4146"/>
                  </a:cubicBezTo>
                  <a:close/>
                  <a:moveTo>
                    <a:pt x="12382" y="1"/>
                  </a:moveTo>
                  <a:cubicBezTo>
                    <a:pt x="12256" y="1"/>
                    <a:pt x="12130" y="64"/>
                    <a:pt x="12067" y="158"/>
                  </a:cubicBezTo>
                  <a:lnTo>
                    <a:pt x="10649" y="2080"/>
                  </a:lnTo>
                  <a:lnTo>
                    <a:pt x="8759" y="3970"/>
                  </a:lnTo>
                  <a:cubicBezTo>
                    <a:pt x="8249" y="3583"/>
                    <a:pt x="7634" y="3393"/>
                    <a:pt x="7024" y="3393"/>
                  </a:cubicBezTo>
                  <a:cubicBezTo>
                    <a:pt x="6692" y="3393"/>
                    <a:pt x="6361" y="3450"/>
                    <a:pt x="6050" y="3561"/>
                  </a:cubicBezTo>
                  <a:lnTo>
                    <a:pt x="2616" y="158"/>
                  </a:lnTo>
                  <a:cubicBezTo>
                    <a:pt x="2537" y="79"/>
                    <a:pt x="2427" y="40"/>
                    <a:pt x="2316" y="40"/>
                  </a:cubicBezTo>
                  <a:cubicBezTo>
                    <a:pt x="2206" y="40"/>
                    <a:pt x="2096" y="79"/>
                    <a:pt x="2017" y="158"/>
                  </a:cubicBezTo>
                  <a:cubicBezTo>
                    <a:pt x="1860" y="316"/>
                    <a:pt x="1860" y="568"/>
                    <a:pt x="2017" y="725"/>
                  </a:cubicBezTo>
                  <a:lnTo>
                    <a:pt x="2931" y="1639"/>
                  </a:lnTo>
                  <a:cubicBezTo>
                    <a:pt x="2427" y="2427"/>
                    <a:pt x="2490" y="3529"/>
                    <a:pt x="3214" y="4254"/>
                  </a:cubicBezTo>
                  <a:lnTo>
                    <a:pt x="4222" y="5262"/>
                  </a:lnTo>
                  <a:cubicBezTo>
                    <a:pt x="4222" y="5294"/>
                    <a:pt x="4222" y="5325"/>
                    <a:pt x="4254" y="5388"/>
                  </a:cubicBezTo>
                  <a:cubicBezTo>
                    <a:pt x="4412" y="5703"/>
                    <a:pt x="4348" y="6081"/>
                    <a:pt x="4096" y="6333"/>
                  </a:cubicBezTo>
                  <a:cubicBezTo>
                    <a:pt x="3948" y="6499"/>
                    <a:pt x="3721" y="6586"/>
                    <a:pt x="3493" y="6586"/>
                  </a:cubicBezTo>
                  <a:cubicBezTo>
                    <a:pt x="3287" y="6586"/>
                    <a:pt x="3080" y="6514"/>
                    <a:pt x="2931" y="6365"/>
                  </a:cubicBezTo>
                  <a:lnTo>
                    <a:pt x="2647" y="6081"/>
                  </a:lnTo>
                  <a:cubicBezTo>
                    <a:pt x="2568" y="6002"/>
                    <a:pt x="2458" y="5963"/>
                    <a:pt x="2348" y="5963"/>
                  </a:cubicBezTo>
                  <a:cubicBezTo>
                    <a:pt x="2238" y="5963"/>
                    <a:pt x="2127" y="6002"/>
                    <a:pt x="2049" y="6081"/>
                  </a:cubicBezTo>
                  <a:lnTo>
                    <a:pt x="1482" y="6680"/>
                  </a:lnTo>
                  <a:cubicBezTo>
                    <a:pt x="1" y="8129"/>
                    <a:pt x="1" y="10492"/>
                    <a:pt x="1482" y="11973"/>
                  </a:cubicBezTo>
                  <a:lnTo>
                    <a:pt x="442" y="13579"/>
                  </a:lnTo>
                  <a:cubicBezTo>
                    <a:pt x="316" y="13737"/>
                    <a:pt x="379" y="13957"/>
                    <a:pt x="473" y="14083"/>
                  </a:cubicBezTo>
                  <a:cubicBezTo>
                    <a:pt x="562" y="14154"/>
                    <a:pt x="670" y="14195"/>
                    <a:pt x="776" y="14195"/>
                  </a:cubicBezTo>
                  <a:cubicBezTo>
                    <a:pt x="859" y="14195"/>
                    <a:pt x="940" y="14170"/>
                    <a:pt x="1009" y="14115"/>
                  </a:cubicBezTo>
                  <a:lnTo>
                    <a:pt x="2616" y="13107"/>
                  </a:lnTo>
                  <a:cubicBezTo>
                    <a:pt x="3309" y="13800"/>
                    <a:pt x="4254" y="14209"/>
                    <a:pt x="5262" y="14209"/>
                  </a:cubicBezTo>
                  <a:cubicBezTo>
                    <a:pt x="6239" y="14209"/>
                    <a:pt x="7184" y="13800"/>
                    <a:pt x="7877" y="13107"/>
                  </a:cubicBezTo>
                  <a:lnTo>
                    <a:pt x="8476" y="12508"/>
                  </a:lnTo>
                  <a:cubicBezTo>
                    <a:pt x="8633" y="12351"/>
                    <a:pt x="8633" y="12067"/>
                    <a:pt x="8476" y="11910"/>
                  </a:cubicBezTo>
                  <a:lnTo>
                    <a:pt x="8192" y="11657"/>
                  </a:lnTo>
                  <a:cubicBezTo>
                    <a:pt x="7877" y="11342"/>
                    <a:pt x="7877" y="10775"/>
                    <a:pt x="8255" y="10460"/>
                  </a:cubicBezTo>
                  <a:cubicBezTo>
                    <a:pt x="8400" y="10315"/>
                    <a:pt x="8627" y="10225"/>
                    <a:pt x="8856" y="10225"/>
                  </a:cubicBezTo>
                  <a:cubicBezTo>
                    <a:pt x="8974" y="10225"/>
                    <a:pt x="9093" y="10249"/>
                    <a:pt x="9200" y="10303"/>
                  </a:cubicBezTo>
                  <a:cubicBezTo>
                    <a:pt x="9232" y="10303"/>
                    <a:pt x="9263" y="10334"/>
                    <a:pt x="9295" y="10334"/>
                  </a:cubicBezTo>
                  <a:lnTo>
                    <a:pt x="10334" y="11374"/>
                  </a:lnTo>
                  <a:cubicBezTo>
                    <a:pt x="10736" y="11775"/>
                    <a:pt x="11274" y="11976"/>
                    <a:pt x="11809" y="11976"/>
                  </a:cubicBezTo>
                  <a:cubicBezTo>
                    <a:pt x="12199" y="11976"/>
                    <a:pt x="12586" y="11870"/>
                    <a:pt x="12918" y="11657"/>
                  </a:cubicBezTo>
                  <a:lnTo>
                    <a:pt x="13831" y="12540"/>
                  </a:lnTo>
                  <a:cubicBezTo>
                    <a:pt x="13910" y="12618"/>
                    <a:pt x="14021" y="12658"/>
                    <a:pt x="14131" y="12658"/>
                  </a:cubicBezTo>
                  <a:cubicBezTo>
                    <a:pt x="14241" y="12658"/>
                    <a:pt x="14351" y="12618"/>
                    <a:pt x="14430" y="12540"/>
                  </a:cubicBezTo>
                  <a:cubicBezTo>
                    <a:pt x="14588" y="12382"/>
                    <a:pt x="14588" y="12130"/>
                    <a:pt x="14430" y="11973"/>
                  </a:cubicBezTo>
                  <a:lnTo>
                    <a:pt x="10996" y="8539"/>
                  </a:lnTo>
                  <a:cubicBezTo>
                    <a:pt x="11122" y="8223"/>
                    <a:pt x="11154" y="7908"/>
                    <a:pt x="11154" y="7562"/>
                  </a:cubicBezTo>
                  <a:cubicBezTo>
                    <a:pt x="11154" y="6932"/>
                    <a:pt x="10965" y="6333"/>
                    <a:pt x="10555" y="5829"/>
                  </a:cubicBezTo>
                  <a:lnTo>
                    <a:pt x="12445" y="3939"/>
                  </a:lnTo>
                  <a:lnTo>
                    <a:pt x="14399" y="2521"/>
                  </a:lnTo>
                  <a:cubicBezTo>
                    <a:pt x="14493" y="2427"/>
                    <a:pt x="14556" y="2301"/>
                    <a:pt x="14556" y="2206"/>
                  </a:cubicBezTo>
                  <a:lnTo>
                    <a:pt x="14556" y="536"/>
                  </a:lnTo>
                  <a:cubicBezTo>
                    <a:pt x="14462" y="190"/>
                    <a:pt x="14273" y="1"/>
                    <a:pt x="14021"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936" name="Google Shape;10936;p113"/>
            <p:cNvSpPr/>
            <p:nvPr/>
          </p:nvSpPr>
          <p:spPr>
            <a:xfrm>
              <a:off x="-8637625" y="2231725"/>
              <a:ext cx="81950" cy="32525"/>
            </a:xfrm>
            <a:custGeom>
              <a:avLst/>
              <a:gdLst/>
              <a:ahLst/>
              <a:cxnLst/>
              <a:rect l="l" t="t" r="r" b="b"/>
              <a:pathLst>
                <a:path w="3278" h="1301" extrusionOk="0">
                  <a:moveTo>
                    <a:pt x="2226" y="0"/>
                  </a:moveTo>
                  <a:cubicBezTo>
                    <a:pt x="1907" y="0"/>
                    <a:pt x="1592" y="126"/>
                    <a:pt x="1355" y="378"/>
                  </a:cubicBezTo>
                  <a:cubicBezTo>
                    <a:pt x="1277" y="457"/>
                    <a:pt x="1166" y="497"/>
                    <a:pt x="1056" y="497"/>
                  </a:cubicBezTo>
                  <a:cubicBezTo>
                    <a:pt x="946" y="497"/>
                    <a:pt x="835" y="457"/>
                    <a:pt x="757" y="378"/>
                  </a:cubicBezTo>
                  <a:cubicBezTo>
                    <a:pt x="678" y="300"/>
                    <a:pt x="568" y="260"/>
                    <a:pt x="457" y="260"/>
                  </a:cubicBezTo>
                  <a:cubicBezTo>
                    <a:pt x="347" y="260"/>
                    <a:pt x="237" y="300"/>
                    <a:pt x="158" y="378"/>
                  </a:cubicBezTo>
                  <a:cubicBezTo>
                    <a:pt x="1" y="536"/>
                    <a:pt x="1" y="788"/>
                    <a:pt x="158" y="946"/>
                  </a:cubicBezTo>
                  <a:cubicBezTo>
                    <a:pt x="394" y="1182"/>
                    <a:pt x="709" y="1300"/>
                    <a:pt x="1028" y="1300"/>
                  </a:cubicBezTo>
                  <a:cubicBezTo>
                    <a:pt x="1347" y="1300"/>
                    <a:pt x="1670" y="1182"/>
                    <a:pt x="1922" y="946"/>
                  </a:cubicBezTo>
                  <a:cubicBezTo>
                    <a:pt x="2001" y="867"/>
                    <a:pt x="2111" y="827"/>
                    <a:pt x="2222" y="827"/>
                  </a:cubicBezTo>
                  <a:cubicBezTo>
                    <a:pt x="2332" y="827"/>
                    <a:pt x="2442" y="867"/>
                    <a:pt x="2521" y="946"/>
                  </a:cubicBezTo>
                  <a:cubicBezTo>
                    <a:pt x="2600" y="1024"/>
                    <a:pt x="2710" y="1064"/>
                    <a:pt x="2820" y="1064"/>
                  </a:cubicBezTo>
                  <a:cubicBezTo>
                    <a:pt x="2931" y="1064"/>
                    <a:pt x="3041" y="1024"/>
                    <a:pt x="3120" y="946"/>
                  </a:cubicBezTo>
                  <a:cubicBezTo>
                    <a:pt x="3277" y="788"/>
                    <a:pt x="3277" y="536"/>
                    <a:pt x="3120" y="378"/>
                  </a:cubicBezTo>
                  <a:cubicBezTo>
                    <a:pt x="2868" y="126"/>
                    <a:pt x="2545" y="0"/>
                    <a:pt x="2226"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937" name="Google Shape;10937;p113"/>
            <p:cNvSpPr/>
            <p:nvPr/>
          </p:nvSpPr>
          <p:spPr>
            <a:xfrm>
              <a:off x="-8558075" y="2267375"/>
              <a:ext cx="38625" cy="79950"/>
            </a:xfrm>
            <a:custGeom>
              <a:avLst/>
              <a:gdLst/>
              <a:ahLst/>
              <a:cxnLst/>
              <a:rect l="l" t="t" r="r" b="b"/>
              <a:pathLst>
                <a:path w="1545" h="3198" extrusionOk="0">
                  <a:moveTo>
                    <a:pt x="772" y="0"/>
                  </a:moveTo>
                  <a:cubicBezTo>
                    <a:pt x="662" y="0"/>
                    <a:pt x="552" y="39"/>
                    <a:pt x="473" y="118"/>
                  </a:cubicBezTo>
                  <a:cubicBezTo>
                    <a:pt x="316" y="276"/>
                    <a:pt x="316" y="559"/>
                    <a:pt x="473" y="717"/>
                  </a:cubicBezTo>
                  <a:cubicBezTo>
                    <a:pt x="631" y="874"/>
                    <a:pt x="631" y="1158"/>
                    <a:pt x="473" y="1315"/>
                  </a:cubicBezTo>
                  <a:cubicBezTo>
                    <a:pt x="1" y="1788"/>
                    <a:pt x="1" y="2576"/>
                    <a:pt x="473" y="3080"/>
                  </a:cubicBezTo>
                  <a:cubicBezTo>
                    <a:pt x="552" y="3158"/>
                    <a:pt x="662" y="3198"/>
                    <a:pt x="772" y="3198"/>
                  </a:cubicBezTo>
                  <a:cubicBezTo>
                    <a:pt x="883" y="3198"/>
                    <a:pt x="993" y="3158"/>
                    <a:pt x="1072" y="3080"/>
                  </a:cubicBezTo>
                  <a:cubicBezTo>
                    <a:pt x="1229" y="2922"/>
                    <a:pt x="1229" y="2639"/>
                    <a:pt x="1072" y="2481"/>
                  </a:cubicBezTo>
                  <a:cubicBezTo>
                    <a:pt x="914" y="2324"/>
                    <a:pt x="914" y="2040"/>
                    <a:pt x="1072" y="1882"/>
                  </a:cubicBezTo>
                  <a:cubicBezTo>
                    <a:pt x="1544" y="1378"/>
                    <a:pt x="1544" y="591"/>
                    <a:pt x="1072" y="118"/>
                  </a:cubicBezTo>
                  <a:cubicBezTo>
                    <a:pt x="993" y="39"/>
                    <a:pt x="883" y="0"/>
                    <a:pt x="772"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sp>
        <p:nvSpPr>
          <p:cNvPr id="10938" name="Google Shape;10938;p113"/>
          <p:cNvSpPr/>
          <p:nvPr/>
        </p:nvSpPr>
        <p:spPr>
          <a:xfrm>
            <a:off x="7698279" y="2043062"/>
            <a:ext cx="400679" cy="454409"/>
          </a:xfrm>
          <a:custGeom>
            <a:avLst/>
            <a:gdLst/>
            <a:ahLst/>
            <a:cxnLst/>
            <a:rect l="l" t="t" r="r" b="b"/>
            <a:pathLst>
              <a:path w="12446" h="14115" extrusionOk="0">
                <a:moveTo>
                  <a:pt x="10744" y="788"/>
                </a:moveTo>
                <a:cubicBezTo>
                  <a:pt x="11216" y="788"/>
                  <a:pt x="11563" y="1135"/>
                  <a:pt x="11563" y="1607"/>
                </a:cubicBezTo>
                <a:cubicBezTo>
                  <a:pt x="11563" y="2080"/>
                  <a:pt x="11216" y="2458"/>
                  <a:pt x="10744" y="2458"/>
                </a:cubicBezTo>
                <a:cubicBezTo>
                  <a:pt x="10492" y="2458"/>
                  <a:pt x="10303" y="2647"/>
                  <a:pt x="10303" y="2867"/>
                </a:cubicBezTo>
                <a:cubicBezTo>
                  <a:pt x="10303" y="3119"/>
                  <a:pt x="10492" y="3308"/>
                  <a:pt x="10744" y="3308"/>
                </a:cubicBezTo>
                <a:lnTo>
                  <a:pt x="10744" y="4884"/>
                </a:lnTo>
                <a:cubicBezTo>
                  <a:pt x="10744" y="4947"/>
                  <a:pt x="10775" y="5041"/>
                  <a:pt x="10807" y="5073"/>
                </a:cubicBezTo>
                <a:cubicBezTo>
                  <a:pt x="11342" y="5892"/>
                  <a:pt x="11563" y="6900"/>
                  <a:pt x="11563" y="7877"/>
                </a:cubicBezTo>
                <a:cubicBezTo>
                  <a:pt x="11563" y="8822"/>
                  <a:pt x="11342" y="9735"/>
                  <a:pt x="10870" y="10523"/>
                </a:cubicBezTo>
                <a:lnTo>
                  <a:pt x="10145" y="10050"/>
                </a:lnTo>
                <a:cubicBezTo>
                  <a:pt x="10523" y="9357"/>
                  <a:pt x="10712" y="8633"/>
                  <a:pt x="10712" y="7845"/>
                </a:cubicBezTo>
                <a:cubicBezTo>
                  <a:pt x="10712" y="6931"/>
                  <a:pt x="10429" y="6018"/>
                  <a:pt x="9956" y="5262"/>
                </a:cubicBezTo>
                <a:cubicBezTo>
                  <a:pt x="9925" y="5199"/>
                  <a:pt x="9893" y="5104"/>
                  <a:pt x="9893" y="5041"/>
                </a:cubicBezTo>
                <a:lnTo>
                  <a:pt x="9893" y="1576"/>
                </a:lnTo>
                <a:cubicBezTo>
                  <a:pt x="9925" y="1198"/>
                  <a:pt x="10271" y="788"/>
                  <a:pt x="10744" y="788"/>
                </a:cubicBezTo>
                <a:close/>
                <a:moveTo>
                  <a:pt x="1639" y="788"/>
                </a:moveTo>
                <a:cubicBezTo>
                  <a:pt x="2111" y="788"/>
                  <a:pt x="2458" y="1135"/>
                  <a:pt x="2458" y="1607"/>
                </a:cubicBezTo>
                <a:lnTo>
                  <a:pt x="2458" y="5073"/>
                </a:lnTo>
                <a:cubicBezTo>
                  <a:pt x="2458" y="5167"/>
                  <a:pt x="2427" y="5230"/>
                  <a:pt x="2395" y="5325"/>
                </a:cubicBezTo>
                <a:cubicBezTo>
                  <a:pt x="1922" y="6081"/>
                  <a:pt x="1639" y="6963"/>
                  <a:pt x="1639" y="7877"/>
                </a:cubicBezTo>
                <a:cubicBezTo>
                  <a:pt x="1639" y="8664"/>
                  <a:pt x="1828" y="9420"/>
                  <a:pt x="2206" y="10082"/>
                </a:cubicBezTo>
                <a:lnTo>
                  <a:pt x="1481" y="10554"/>
                </a:lnTo>
                <a:cubicBezTo>
                  <a:pt x="1040" y="9767"/>
                  <a:pt x="788" y="8853"/>
                  <a:pt x="788" y="7908"/>
                </a:cubicBezTo>
                <a:cubicBezTo>
                  <a:pt x="788" y="6931"/>
                  <a:pt x="1040" y="5955"/>
                  <a:pt x="1513" y="5136"/>
                </a:cubicBezTo>
                <a:cubicBezTo>
                  <a:pt x="1576" y="5041"/>
                  <a:pt x="1607" y="4978"/>
                  <a:pt x="1607" y="4915"/>
                </a:cubicBezTo>
                <a:lnTo>
                  <a:pt x="1607" y="3340"/>
                </a:lnTo>
                <a:cubicBezTo>
                  <a:pt x="1891" y="3277"/>
                  <a:pt x="2048" y="3119"/>
                  <a:pt x="2048" y="2867"/>
                </a:cubicBezTo>
                <a:cubicBezTo>
                  <a:pt x="2048" y="2647"/>
                  <a:pt x="1828" y="2458"/>
                  <a:pt x="1639" y="2458"/>
                </a:cubicBezTo>
                <a:cubicBezTo>
                  <a:pt x="1166" y="2458"/>
                  <a:pt x="820" y="2080"/>
                  <a:pt x="820" y="1607"/>
                </a:cubicBezTo>
                <a:cubicBezTo>
                  <a:pt x="820" y="1135"/>
                  <a:pt x="1166" y="788"/>
                  <a:pt x="1639" y="788"/>
                </a:cubicBezTo>
                <a:close/>
                <a:moveTo>
                  <a:pt x="4128" y="3277"/>
                </a:moveTo>
                <a:lnTo>
                  <a:pt x="4128" y="10964"/>
                </a:lnTo>
                <a:cubicBezTo>
                  <a:pt x="3151" y="10271"/>
                  <a:pt x="2458" y="9137"/>
                  <a:pt x="2458" y="7845"/>
                </a:cubicBezTo>
                <a:cubicBezTo>
                  <a:pt x="2458" y="7089"/>
                  <a:pt x="2710" y="6333"/>
                  <a:pt x="3088" y="5766"/>
                </a:cubicBezTo>
                <a:cubicBezTo>
                  <a:pt x="3214" y="5545"/>
                  <a:pt x="3309" y="5325"/>
                  <a:pt x="3309" y="5073"/>
                </a:cubicBezTo>
                <a:lnTo>
                  <a:pt x="3309" y="3277"/>
                </a:lnTo>
                <a:close/>
                <a:moveTo>
                  <a:pt x="9074" y="3277"/>
                </a:moveTo>
                <a:lnTo>
                  <a:pt x="9074" y="5073"/>
                </a:lnTo>
                <a:cubicBezTo>
                  <a:pt x="9074" y="5325"/>
                  <a:pt x="9169" y="5545"/>
                  <a:pt x="9295" y="5797"/>
                </a:cubicBezTo>
                <a:cubicBezTo>
                  <a:pt x="9673" y="6396"/>
                  <a:pt x="9925" y="7120"/>
                  <a:pt x="9925" y="7877"/>
                </a:cubicBezTo>
                <a:cubicBezTo>
                  <a:pt x="9925" y="9168"/>
                  <a:pt x="9232" y="10334"/>
                  <a:pt x="8255" y="10996"/>
                </a:cubicBezTo>
                <a:lnTo>
                  <a:pt x="8255" y="3277"/>
                </a:lnTo>
                <a:close/>
                <a:moveTo>
                  <a:pt x="5766" y="3277"/>
                </a:moveTo>
                <a:lnTo>
                  <a:pt x="5766" y="11594"/>
                </a:lnTo>
                <a:cubicBezTo>
                  <a:pt x="5514" y="11531"/>
                  <a:pt x="5230" y="11500"/>
                  <a:pt x="4947" y="11374"/>
                </a:cubicBezTo>
                <a:lnTo>
                  <a:pt x="4947" y="3277"/>
                </a:lnTo>
                <a:close/>
                <a:moveTo>
                  <a:pt x="7436" y="3277"/>
                </a:moveTo>
                <a:lnTo>
                  <a:pt x="7436" y="11374"/>
                </a:lnTo>
                <a:cubicBezTo>
                  <a:pt x="7152" y="11500"/>
                  <a:pt x="6869" y="11531"/>
                  <a:pt x="6617" y="11594"/>
                </a:cubicBezTo>
                <a:lnTo>
                  <a:pt x="6617" y="3277"/>
                </a:lnTo>
                <a:close/>
                <a:moveTo>
                  <a:pt x="9767" y="10743"/>
                </a:moveTo>
                <a:lnTo>
                  <a:pt x="10460" y="11216"/>
                </a:lnTo>
                <a:cubicBezTo>
                  <a:pt x="9452" y="12445"/>
                  <a:pt x="7908" y="13264"/>
                  <a:pt x="6176" y="13264"/>
                </a:cubicBezTo>
                <a:cubicBezTo>
                  <a:pt x="4474" y="13264"/>
                  <a:pt x="2931" y="12445"/>
                  <a:pt x="1954" y="11216"/>
                </a:cubicBezTo>
                <a:lnTo>
                  <a:pt x="2679" y="10743"/>
                </a:lnTo>
                <a:cubicBezTo>
                  <a:pt x="3529" y="11815"/>
                  <a:pt x="4789" y="12445"/>
                  <a:pt x="6207" y="12445"/>
                </a:cubicBezTo>
                <a:cubicBezTo>
                  <a:pt x="7625" y="12445"/>
                  <a:pt x="8885" y="11783"/>
                  <a:pt x="9767" y="10743"/>
                </a:cubicBezTo>
                <a:close/>
                <a:moveTo>
                  <a:pt x="1670" y="0"/>
                </a:moveTo>
                <a:cubicBezTo>
                  <a:pt x="788" y="0"/>
                  <a:pt x="32" y="756"/>
                  <a:pt x="32" y="1670"/>
                </a:cubicBezTo>
                <a:cubicBezTo>
                  <a:pt x="32" y="2300"/>
                  <a:pt x="347" y="2804"/>
                  <a:pt x="851" y="3088"/>
                </a:cubicBezTo>
                <a:lnTo>
                  <a:pt x="851" y="4758"/>
                </a:lnTo>
                <a:cubicBezTo>
                  <a:pt x="253" y="5671"/>
                  <a:pt x="1" y="6742"/>
                  <a:pt x="1" y="7877"/>
                </a:cubicBezTo>
                <a:cubicBezTo>
                  <a:pt x="1" y="11279"/>
                  <a:pt x="2742" y="14114"/>
                  <a:pt x="6207" y="14114"/>
                </a:cubicBezTo>
                <a:cubicBezTo>
                  <a:pt x="9673" y="14114"/>
                  <a:pt x="12445" y="11279"/>
                  <a:pt x="12445" y="7877"/>
                </a:cubicBezTo>
                <a:cubicBezTo>
                  <a:pt x="12445" y="6774"/>
                  <a:pt x="12162" y="5703"/>
                  <a:pt x="11594" y="4758"/>
                </a:cubicBezTo>
                <a:lnTo>
                  <a:pt x="11594" y="3088"/>
                </a:lnTo>
                <a:cubicBezTo>
                  <a:pt x="12130" y="2804"/>
                  <a:pt x="12445" y="2237"/>
                  <a:pt x="12445" y="1670"/>
                </a:cubicBezTo>
                <a:cubicBezTo>
                  <a:pt x="12445" y="756"/>
                  <a:pt x="11689" y="0"/>
                  <a:pt x="10775" y="0"/>
                </a:cubicBezTo>
                <a:cubicBezTo>
                  <a:pt x="9862" y="0"/>
                  <a:pt x="9137" y="756"/>
                  <a:pt x="9137" y="1670"/>
                </a:cubicBezTo>
                <a:lnTo>
                  <a:pt x="9137" y="2489"/>
                </a:lnTo>
                <a:lnTo>
                  <a:pt x="3340" y="2489"/>
                </a:lnTo>
                <a:lnTo>
                  <a:pt x="3340" y="1670"/>
                </a:lnTo>
                <a:cubicBezTo>
                  <a:pt x="3340" y="756"/>
                  <a:pt x="2584" y="0"/>
                  <a:pt x="1670"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nvGrpSpPr>
          <p:cNvPr id="10939" name="Google Shape;10939;p113"/>
          <p:cNvGrpSpPr/>
          <p:nvPr/>
        </p:nvGrpSpPr>
        <p:grpSpPr>
          <a:xfrm>
            <a:off x="7669386" y="2586208"/>
            <a:ext cx="458465" cy="455632"/>
            <a:chOff x="-13095575" y="2073400"/>
            <a:chExt cx="356025" cy="353825"/>
          </a:xfrm>
        </p:grpSpPr>
        <p:sp>
          <p:nvSpPr>
            <p:cNvPr id="10940" name="Google Shape;10940;p113"/>
            <p:cNvSpPr/>
            <p:nvPr/>
          </p:nvSpPr>
          <p:spPr>
            <a:xfrm>
              <a:off x="-13095575" y="2073400"/>
              <a:ext cx="356025" cy="353825"/>
            </a:xfrm>
            <a:custGeom>
              <a:avLst/>
              <a:gdLst/>
              <a:ahLst/>
              <a:cxnLst/>
              <a:rect l="l" t="t" r="r" b="b"/>
              <a:pathLst>
                <a:path w="14241" h="14153" extrusionOk="0">
                  <a:moveTo>
                    <a:pt x="12886" y="820"/>
                  </a:moveTo>
                  <a:cubicBezTo>
                    <a:pt x="13107" y="820"/>
                    <a:pt x="13327" y="1041"/>
                    <a:pt x="13327" y="1261"/>
                  </a:cubicBezTo>
                  <a:lnTo>
                    <a:pt x="13327" y="9578"/>
                  </a:lnTo>
                  <a:cubicBezTo>
                    <a:pt x="13327" y="9799"/>
                    <a:pt x="13107" y="9988"/>
                    <a:pt x="12886" y="9988"/>
                  </a:cubicBezTo>
                  <a:lnTo>
                    <a:pt x="1261" y="9988"/>
                  </a:lnTo>
                  <a:cubicBezTo>
                    <a:pt x="1040" y="9988"/>
                    <a:pt x="851" y="9799"/>
                    <a:pt x="851" y="9578"/>
                  </a:cubicBezTo>
                  <a:lnTo>
                    <a:pt x="851" y="1261"/>
                  </a:lnTo>
                  <a:cubicBezTo>
                    <a:pt x="851" y="1041"/>
                    <a:pt x="1040" y="820"/>
                    <a:pt x="1261" y="820"/>
                  </a:cubicBezTo>
                  <a:close/>
                  <a:moveTo>
                    <a:pt x="1261" y="1"/>
                  </a:moveTo>
                  <a:cubicBezTo>
                    <a:pt x="599" y="1"/>
                    <a:pt x="1" y="568"/>
                    <a:pt x="1" y="1261"/>
                  </a:cubicBezTo>
                  <a:lnTo>
                    <a:pt x="1" y="9578"/>
                  </a:lnTo>
                  <a:cubicBezTo>
                    <a:pt x="1" y="10240"/>
                    <a:pt x="568" y="10839"/>
                    <a:pt x="1261" y="10839"/>
                  </a:cubicBezTo>
                  <a:lnTo>
                    <a:pt x="6270" y="10839"/>
                  </a:lnTo>
                  <a:lnTo>
                    <a:pt x="4285" y="13485"/>
                  </a:lnTo>
                  <a:cubicBezTo>
                    <a:pt x="4191" y="13674"/>
                    <a:pt x="4191" y="13895"/>
                    <a:pt x="4380" y="14052"/>
                  </a:cubicBezTo>
                  <a:cubicBezTo>
                    <a:pt x="4465" y="14109"/>
                    <a:pt x="4562" y="14140"/>
                    <a:pt x="4659" y="14140"/>
                  </a:cubicBezTo>
                  <a:cubicBezTo>
                    <a:pt x="4776" y="14140"/>
                    <a:pt x="4892" y="14093"/>
                    <a:pt x="4978" y="13989"/>
                  </a:cubicBezTo>
                  <a:lnTo>
                    <a:pt x="6711" y="11658"/>
                  </a:lnTo>
                  <a:lnTo>
                    <a:pt x="6711" y="12918"/>
                  </a:lnTo>
                  <a:cubicBezTo>
                    <a:pt x="6711" y="13138"/>
                    <a:pt x="6900" y="13359"/>
                    <a:pt x="7089" y="13359"/>
                  </a:cubicBezTo>
                  <a:cubicBezTo>
                    <a:pt x="7310" y="13359"/>
                    <a:pt x="7530" y="13138"/>
                    <a:pt x="7530" y="12918"/>
                  </a:cubicBezTo>
                  <a:lnTo>
                    <a:pt x="7530" y="11658"/>
                  </a:lnTo>
                  <a:lnTo>
                    <a:pt x="9263" y="13989"/>
                  </a:lnTo>
                  <a:cubicBezTo>
                    <a:pt x="9335" y="14096"/>
                    <a:pt x="9457" y="14153"/>
                    <a:pt x="9584" y="14153"/>
                  </a:cubicBezTo>
                  <a:cubicBezTo>
                    <a:pt x="9681" y="14153"/>
                    <a:pt x="9780" y="14120"/>
                    <a:pt x="9862" y="14052"/>
                  </a:cubicBezTo>
                  <a:cubicBezTo>
                    <a:pt x="10051" y="13926"/>
                    <a:pt x="10082" y="13674"/>
                    <a:pt x="9925" y="13485"/>
                  </a:cubicBezTo>
                  <a:lnTo>
                    <a:pt x="7971" y="10839"/>
                  </a:lnTo>
                  <a:lnTo>
                    <a:pt x="12981" y="10839"/>
                  </a:lnTo>
                  <a:cubicBezTo>
                    <a:pt x="13642" y="10839"/>
                    <a:pt x="14241" y="10272"/>
                    <a:pt x="14241" y="9578"/>
                  </a:cubicBezTo>
                  <a:lnTo>
                    <a:pt x="14241" y="1261"/>
                  </a:lnTo>
                  <a:cubicBezTo>
                    <a:pt x="14146" y="600"/>
                    <a:pt x="13579" y="1"/>
                    <a:pt x="12886"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941" name="Google Shape;10941;p113"/>
            <p:cNvSpPr/>
            <p:nvPr/>
          </p:nvSpPr>
          <p:spPr>
            <a:xfrm>
              <a:off x="-13055400" y="2115150"/>
              <a:ext cx="271750" cy="187475"/>
            </a:xfrm>
            <a:custGeom>
              <a:avLst/>
              <a:gdLst/>
              <a:ahLst/>
              <a:cxnLst/>
              <a:rect l="l" t="t" r="r" b="b"/>
              <a:pathLst>
                <a:path w="10870" h="7499" extrusionOk="0">
                  <a:moveTo>
                    <a:pt x="3781" y="820"/>
                  </a:moveTo>
                  <a:cubicBezTo>
                    <a:pt x="4474" y="820"/>
                    <a:pt x="5041" y="1355"/>
                    <a:pt x="5041" y="2017"/>
                  </a:cubicBezTo>
                  <a:lnTo>
                    <a:pt x="5041" y="6648"/>
                  </a:lnTo>
                  <a:lnTo>
                    <a:pt x="882" y="6648"/>
                  </a:lnTo>
                  <a:lnTo>
                    <a:pt x="882" y="820"/>
                  </a:lnTo>
                  <a:close/>
                  <a:moveTo>
                    <a:pt x="10050" y="851"/>
                  </a:moveTo>
                  <a:lnTo>
                    <a:pt x="10050" y="6680"/>
                  </a:lnTo>
                  <a:lnTo>
                    <a:pt x="5892" y="6680"/>
                  </a:lnTo>
                  <a:lnTo>
                    <a:pt x="5892" y="2080"/>
                  </a:lnTo>
                  <a:cubicBezTo>
                    <a:pt x="5892" y="1418"/>
                    <a:pt x="6427" y="851"/>
                    <a:pt x="7152" y="851"/>
                  </a:cubicBezTo>
                  <a:close/>
                  <a:moveTo>
                    <a:pt x="441" y="1"/>
                  </a:moveTo>
                  <a:cubicBezTo>
                    <a:pt x="221" y="1"/>
                    <a:pt x="0" y="190"/>
                    <a:pt x="0" y="410"/>
                  </a:cubicBezTo>
                  <a:lnTo>
                    <a:pt x="0" y="7089"/>
                  </a:lnTo>
                  <a:cubicBezTo>
                    <a:pt x="0" y="7310"/>
                    <a:pt x="221" y="7499"/>
                    <a:pt x="441" y="7499"/>
                  </a:cubicBezTo>
                  <a:lnTo>
                    <a:pt x="10397" y="7499"/>
                  </a:lnTo>
                  <a:cubicBezTo>
                    <a:pt x="10649" y="7499"/>
                    <a:pt x="10838" y="7310"/>
                    <a:pt x="10838" y="7089"/>
                  </a:cubicBezTo>
                  <a:lnTo>
                    <a:pt x="10838" y="410"/>
                  </a:lnTo>
                  <a:cubicBezTo>
                    <a:pt x="10869" y="190"/>
                    <a:pt x="10680" y="1"/>
                    <a:pt x="10460" y="1"/>
                  </a:cubicBezTo>
                  <a:lnTo>
                    <a:pt x="7089" y="1"/>
                  </a:lnTo>
                  <a:cubicBezTo>
                    <a:pt x="6427" y="1"/>
                    <a:pt x="5829" y="316"/>
                    <a:pt x="5451" y="820"/>
                  </a:cubicBezTo>
                  <a:cubicBezTo>
                    <a:pt x="5041" y="284"/>
                    <a:pt x="4474" y="1"/>
                    <a:pt x="3781"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942" name="Google Shape;10942;p113"/>
            <p:cNvSpPr/>
            <p:nvPr/>
          </p:nvSpPr>
          <p:spPr>
            <a:xfrm>
              <a:off x="-12887650" y="2156100"/>
              <a:ext cx="63050" cy="22100"/>
            </a:xfrm>
            <a:custGeom>
              <a:avLst/>
              <a:gdLst/>
              <a:ahLst/>
              <a:cxnLst/>
              <a:rect l="l" t="t" r="r" b="b"/>
              <a:pathLst>
                <a:path w="2522" h="884" extrusionOk="0">
                  <a:moveTo>
                    <a:pt x="442" y="1"/>
                  </a:moveTo>
                  <a:cubicBezTo>
                    <a:pt x="190" y="1"/>
                    <a:pt x="1" y="190"/>
                    <a:pt x="1" y="442"/>
                  </a:cubicBezTo>
                  <a:cubicBezTo>
                    <a:pt x="1" y="663"/>
                    <a:pt x="190" y="883"/>
                    <a:pt x="442" y="883"/>
                  </a:cubicBezTo>
                  <a:lnTo>
                    <a:pt x="2112" y="883"/>
                  </a:lnTo>
                  <a:cubicBezTo>
                    <a:pt x="2364" y="883"/>
                    <a:pt x="2521" y="663"/>
                    <a:pt x="2521" y="442"/>
                  </a:cubicBezTo>
                  <a:cubicBezTo>
                    <a:pt x="2521" y="190"/>
                    <a:pt x="2332" y="1"/>
                    <a:pt x="2112"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943" name="Google Shape;10943;p113"/>
            <p:cNvSpPr/>
            <p:nvPr/>
          </p:nvSpPr>
          <p:spPr>
            <a:xfrm>
              <a:off x="-12888425" y="2198650"/>
              <a:ext cx="63025" cy="21275"/>
            </a:xfrm>
            <a:custGeom>
              <a:avLst/>
              <a:gdLst/>
              <a:ahLst/>
              <a:cxnLst/>
              <a:rect l="l" t="t" r="r" b="b"/>
              <a:pathLst>
                <a:path w="2521" h="851" extrusionOk="0">
                  <a:moveTo>
                    <a:pt x="410" y="0"/>
                  </a:moveTo>
                  <a:cubicBezTo>
                    <a:pt x="189" y="0"/>
                    <a:pt x="0" y="189"/>
                    <a:pt x="0" y="410"/>
                  </a:cubicBezTo>
                  <a:cubicBezTo>
                    <a:pt x="0" y="662"/>
                    <a:pt x="189" y="851"/>
                    <a:pt x="410" y="851"/>
                  </a:cubicBezTo>
                  <a:lnTo>
                    <a:pt x="2111" y="851"/>
                  </a:lnTo>
                  <a:cubicBezTo>
                    <a:pt x="2363" y="851"/>
                    <a:pt x="2521" y="662"/>
                    <a:pt x="2521" y="410"/>
                  </a:cubicBezTo>
                  <a:cubicBezTo>
                    <a:pt x="2521" y="189"/>
                    <a:pt x="2363" y="0"/>
                    <a:pt x="2111"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944" name="Google Shape;10944;p113"/>
            <p:cNvSpPr/>
            <p:nvPr/>
          </p:nvSpPr>
          <p:spPr>
            <a:xfrm>
              <a:off x="-12888425" y="2239600"/>
              <a:ext cx="63025" cy="22075"/>
            </a:xfrm>
            <a:custGeom>
              <a:avLst/>
              <a:gdLst/>
              <a:ahLst/>
              <a:cxnLst/>
              <a:rect l="l" t="t" r="r" b="b"/>
              <a:pathLst>
                <a:path w="2521" h="883" extrusionOk="0">
                  <a:moveTo>
                    <a:pt x="410" y="0"/>
                  </a:moveTo>
                  <a:cubicBezTo>
                    <a:pt x="189" y="0"/>
                    <a:pt x="0" y="221"/>
                    <a:pt x="0" y="442"/>
                  </a:cubicBezTo>
                  <a:cubicBezTo>
                    <a:pt x="0" y="694"/>
                    <a:pt x="189" y="883"/>
                    <a:pt x="410" y="883"/>
                  </a:cubicBezTo>
                  <a:lnTo>
                    <a:pt x="2111" y="883"/>
                  </a:lnTo>
                  <a:cubicBezTo>
                    <a:pt x="2363" y="883"/>
                    <a:pt x="2521" y="694"/>
                    <a:pt x="2521" y="442"/>
                  </a:cubicBezTo>
                  <a:cubicBezTo>
                    <a:pt x="2521" y="221"/>
                    <a:pt x="2363" y="0"/>
                    <a:pt x="2111"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945" name="Google Shape;10945;p113"/>
            <p:cNvSpPr/>
            <p:nvPr/>
          </p:nvSpPr>
          <p:spPr>
            <a:xfrm>
              <a:off x="-13012875" y="2156100"/>
              <a:ext cx="63025" cy="22100"/>
            </a:xfrm>
            <a:custGeom>
              <a:avLst/>
              <a:gdLst/>
              <a:ahLst/>
              <a:cxnLst/>
              <a:rect l="l" t="t" r="r" b="b"/>
              <a:pathLst>
                <a:path w="2521" h="884" extrusionOk="0">
                  <a:moveTo>
                    <a:pt x="410" y="1"/>
                  </a:moveTo>
                  <a:cubicBezTo>
                    <a:pt x="158" y="1"/>
                    <a:pt x="1" y="190"/>
                    <a:pt x="1" y="442"/>
                  </a:cubicBezTo>
                  <a:cubicBezTo>
                    <a:pt x="1" y="663"/>
                    <a:pt x="190" y="883"/>
                    <a:pt x="410" y="883"/>
                  </a:cubicBezTo>
                  <a:lnTo>
                    <a:pt x="2080" y="883"/>
                  </a:lnTo>
                  <a:cubicBezTo>
                    <a:pt x="2332" y="883"/>
                    <a:pt x="2521" y="663"/>
                    <a:pt x="2521" y="442"/>
                  </a:cubicBezTo>
                  <a:cubicBezTo>
                    <a:pt x="2521" y="190"/>
                    <a:pt x="2332" y="1"/>
                    <a:pt x="2080"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946" name="Google Shape;10946;p113"/>
            <p:cNvSpPr/>
            <p:nvPr/>
          </p:nvSpPr>
          <p:spPr>
            <a:xfrm>
              <a:off x="-13012875" y="2198650"/>
              <a:ext cx="63025" cy="21275"/>
            </a:xfrm>
            <a:custGeom>
              <a:avLst/>
              <a:gdLst/>
              <a:ahLst/>
              <a:cxnLst/>
              <a:rect l="l" t="t" r="r" b="b"/>
              <a:pathLst>
                <a:path w="2521" h="851" extrusionOk="0">
                  <a:moveTo>
                    <a:pt x="410" y="0"/>
                  </a:moveTo>
                  <a:cubicBezTo>
                    <a:pt x="158" y="0"/>
                    <a:pt x="1" y="189"/>
                    <a:pt x="1" y="410"/>
                  </a:cubicBezTo>
                  <a:cubicBezTo>
                    <a:pt x="1" y="662"/>
                    <a:pt x="190" y="851"/>
                    <a:pt x="410" y="851"/>
                  </a:cubicBezTo>
                  <a:lnTo>
                    <a:pt x="2080" y="851"/>
                  </a:lnTo>
                  <a:cubicBezTo>
                    <a:pt x="2332" y="851"/>
                    <a:pt x="2521" y="662"/>
                    <a:pt x="2521" y="410"/>
                  </a:cubicBezTo>
                  <a:cubicBezTo>
                    <a:pt x="2521" y="189"/>
                    <a:pt x="2332" y="0"/>
                    <a:pt x="2080"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947" name="Google Shape;10947;p113"/>
            <p:cNvSpPr/>
            <p:nvPr/>
          </p:nvSpPr>
          <p:spPr>
            <a:xfrm>
              <a:off x="-13012875" y="2239600"/>
              <a:ext cx="63025" cy="22075"/>
            </a:xfrm>
            <a:custGeom>
              <a:avLst/>
              <a:gdLst/>
              <a:ahLst/>
              <a:cxnLst/>
              <a:rect l="l" t="t" r="r" b="b"/>
              <a:pathLst>
                <a:path w="2521" h="883" extrusionOk="0">
                  <a:moveTo>
                    <a:pt x="410" y="0"/>
                  </a:moveTo>
                  <a:cubicBezTo>
                    <a:pt x="158" y="0"/>
                    <a:pt x="1" y="221"/>
                    <a:pt x="1" y="442"/>
                  </a:cubicBezTo>
                  <a:cubicBezTo>
                    <a:pt x="1" y="694"/>
                    <a:pt x="190" y="883"/>
                    <a:pt x="410" y="883"/>
                  </a:cubicBezTo>
                  <a:lnTo>
                    <a:pt x="2080" y="883"/>
                  </a:lnTo>
                  <a:cubicBezTo>
                    <a:pt x="2332" y="883"/>
                    <a:pt x="2521" y="694"/>
                    <a:pt x="2521" y="442"/>
                  </a:cubicBezTo>
                  <a:cubicBezTo>
                    <a:pt x="2521" y="221"/>
                    <a:pt x="2332" y="0"/>
                    <a:pt x="2080"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sp>
        <p:nvSpPr>
          <p:cNvPr id="10948" name="Google Shape;10948;p113"/>
          <p:cNvSpPr/>
          <p:nvPr/>
        </p:nvSpPr>
        <p:spPr>
          <a:xfrm>
            <a:off x="7670899" y="3131598"/>
            <a:ext cx="455439" cy="454409"/>
          </a:xfrm>
          <a:custGeom>
            <a:avLst/>
            <a:gdLst/>
            <a:ahLst/>
            <a:cxnLst/>
            <a:rect l="l" t="t" r="r" b="b"/>
            <a:pathLst>
              <a:path w="14147" h="14115" extrusionOk="0">
                <a:moveTo>
                  <a:pt x="7058" y="851"/>
                </a:moveTo>
                <a:cubicBezTo>
                  <a:pt x="9294" y="851"/>
                  <a:pt x="10649" y="1386"/>
                  <a:pt x="10744" y="1670"/>
                </a:cubicBezTo>
                <a:cubicBezTo>
                  <a:pt x="10649" y="1922"/>
                  <a:pt x="9294" y="2489"/>
                  <a:pt x="7058" y="2489"/>
                </a:cubicBezTo>
                <a:cubicBezTo>
                  <a:pt x="4821" y="2489"/>
                  <a:pt x="3466" y="1922"/>
                  <a:pt x="3340" y="1670"/>
                </a:cubicBezTo>
                <a:cubicBezTo>
                  <a:pt x="3466" y="1386"/>
                  <a:pt x="4821" y="851"/>
                  <a:pt x="7058" y="851"/>
                </a:cubicBezTo>
                <a:close/>
                <a:moveTo>
                  <a:pt x="10681" y="2741"/>
                </a:moveTo>
                <a:lnTo>
                  <a:pt x="10114" y="8727"/>
                </a:lnTo>
                <a:cubicBezTo>
                  <a:pt x="9515" y="9042"/>
                  <a:pt x="8381" y="9200"/>
                  <a:pt x="7058" y="9200"/>
                </a:cubicBezTo>
                <a:cubicBezTo>
                  <a:pt x="5703" y="9200"/>
                  <a:pt x="4663" y="9010"/>
                  <a:pt x="4002" y="8727"/>
                </a:cubicBezTo>
                <a:lnTo>
                  <a:pt x="3435" y="2741"/>
                </a:lnTo>
                <a:lnTo>
                  <a:pt x="3435" y="2741"/>
                </a:lnTo>
                <a:cubicBezTo>
                  <a:pt x="4411" y="3214"/>
                  <a:pt x="5955" y="3308"/>
                  <a:pt x="7058" y="3308"/>
                </a:cubicBezTo>
                <a:cubicBezTo>
                  <a:pt x="8160" y="3308"/>
                  <a:pt x="9704" y="3151"/>
                  <a:pt x="10681" y="2741"/>
                </a:cubicBezTo>
                <a:close/>
                <a:moveTo>
                  <a:pt x="10051" y="9609"/>
                </a:moveTo>
                <a:lnTo>
                  <a:pt x="9956" y="10334"/>
                </a:lnTo>
                <a:cubicBezTo>
                  <a:pt x="9893" y="10397"/>
                  <a:pt x="9641" y="10523"/>
                  <a:pt x="9105" y="10649"/>
                </a:cubicBezTo>
                <a:cubicBezTo>
                  <a:pt x="8538" y="10775"/>
                  <a:pt x="7814" y="10838"/>
                  <a:pt x="7089" y="10838"/>
                </a:cubicBezTo>
                <a:cubicBezTo>
                  <a:pt x="6333" y="10838"/>
                  <a:pt x="5640" y="10775"/>
                  <a:pt x="5073" y="10649"/>
                </a:cubicBezTo>
                <a:cubicBezTo>
                  <a:pt x="4537" y="10523"/>
                  <a:pt x="4285" y="10397"/>
                  <a:pt x="4222" y="10334"/>
                </a:cubicBezTo>
                <a:lnTo>
                  <a:pt x="4128" y="9609"/>
                </a:lnTo>
                <a:lnTo>
                  <a:pt x="4128" y="9609"/>
                </a:lnTo>
                <a:cubicBezTo>
                  <a:pt x="5041" y="9924"/>
                  <a:pt x="6239" y="9987"/>
                  <a:pt x="7089" y="9987"/>
                </a:cubicBezTo>
                <a:cubicBezTo>
                  <a:pt x="7971" y="9987"/>
                  <a:pt x="9137" y="9893"/>
                  <a:pt x="10051" y="9609"/>
                </a:cubicBezTo>
                <a:close/>
                <a:moveTo>
                  <a:pt x="10964" y="9609"/>
                </a:moveTo>
                <a:cubicBezTo>
                  <a:pt x="12666" y="10082"/>
                  <a:pt x="13390" y="10712"/>
                  <a:pt x="13390" y="11247"/>
                </a:cubicBezTo>
                <a:cubicBezTo>
                  <a:pt x="13327" y="11720"/>
                  <a:pt x="12697" y="12224"/>
                  <a:pt x="11626" y="12602"/>
                </a:cubicBezTo>
                <a:cubicBezTo>
                  <a:pt x="10397" y="13043"/>
                  <a:pt x="8790" y="13327"/>
                  <a:pt x="7089" y="13327"/>
                </a:cubicBezTo>
                <a:cubicBezTo>
                  <a:pt x="5388" y="13327"/>
                  <a:pt x="3750" y="13075"/>
                  <a:pt x="2552" y="12602"/>
                </a:cubicBezTo>
                <a:cubicBezTo>
                  <a:pt x="1513" y="12224"/>
                  <a:pt x="883" y="11720"/>
                  <a:pt x="883" y="11247"/>
                </a:cubicBezTo>
                <a:cubicBezTo>
                  <a:pt x="883" y="10775"/>
                  <a:pt x="1639" y="10082"/>
                  <a:pt x="3309" y="9609"/>
                </a:cubicBezTo>
                <a:lnTo>
                  <a:pt x="3403" y="10397"/>
                </a:lnTo>
                <a:cubicBezTo>
                  <a:pt x="3435" y="11027"/>
                  <a:pt x="4380" y="11279"/>
                  <a:pt x="4695" y="11342"/>
                </a:cubicBezTo>
                <a:cubicBezTo>
                  <a:pt x="5356" y="11499"/>
                  <a:pt x="6239" y="11594"/>
                  <a:pt x="7152" y="11594"/>
                </a:cubicBezTo>
                <a:cubicBezTo>
                  <a:pt x="8034" y="11594"/>
                  <a:pt x="8916" y="11499"/>
                  <a:pt x="9578" y="11342"/>
                </a:cubicBezTo>
                <a:cubicBezTo>
                  <a:pt x="9893" y="11279"/>
                  <a:pt x="10838" y="11027"/>
                  <a:pt x="10870" y="10397"/>
                </a:cubicBezTo>
                <a:lnTo>
                  <a:pt x="10964" y="9609"/>
                </a:lnTo>
                <a:close/>
                <a:moveTo>
                  <a:pt x="7058" y="0"/>
                </a:moveTo>
                <a:cubicBezTo>
                  <a:pt x="5671" y="0"/>
                  <a:pt x="2521" y="284"/>
                  <a:pt x="2521" y="1670"/>
                </a:cubicBezTo>
                <a:cubicBezTo>
                  <a:pt x="2521" y="1733"/>
                  <a:pt x="2489" y="1197"/>
                  <a:pt x="3214" y="8790"/>
                </a:cubicBezTo>
                <a:cubicBezTo>
                  <a:pt x="1198" y="9294"/>
                  <a:pt x="1" y="10208"/>
                  <a:pt x="1" y="11247"/>
                </a:cubicBezTo>
                <a:cubicBezTo>
                  <a:pt x="1" y="12098"/>
                  <a:pt x="788" y="12854"/>
                  <a:pt x="2206" y="13358"/>
                </a:cubicBezTo>
                <a:cubicBezTo>
                  <a:pt x="3498" y="13831"/>
                  <a:pt x="5262" y="14114"/>
                  <a:pt x="7058" y="14114"/>
                </a:cubicBezTo>
                <a:cubicBezTo>
                  <a:pt x="8853" y="14114"/>
                  <a:pt x="10586" y="13831"/>
                  <a:pt x="11909" y="13358"/>
                </a:cubicBezTo>
                <a:cubicBezTo>
                  <a:pt x="13327" y="12823"/>
                  <a:pt x="14115" y="12066"/>
                  <a:pt x="14115" y="11247"/>
                </a:cubicBezTo>
                <a:cubicBezTo>
                  <a:pt x="14146" y="10208"/>
                  <a:pt x="12949" y="9357"/>
                  <a:pt x="10964" y="8790"/>
                </a:cubicBezTo>
                <a:cubicBezTo>
                  <a:pt x="11657" y="1197"/>
                  <a:pt x="11626" y="1733"/>
                  <a:pt x="11626" y="1670"/>
                </a:cubicBezTo>
                <a:cubicBezTo>
                  <a:pt x="11626" y="1481"/>
                  <a:pt x="11531" y="1166"/>
                  <a:pt x="11122" y="851"/>
                </a:cubicBezTo>
                <a:cubicBezTo>
                  <a:pt x="10177" y="158"/>
                  <a:pt x="8192" y="0"/>
                  <a:pt x="7058"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nvGrpSpPr>
          <p:cNvPr id="10949" name="Google Shape;10949;p113"/>
          <p:cNvGrpSpPr/>
          <p:nvPr/>
        </p:nvGrpSpPr>
        <p:grpSpPr>
          <a:xfrm>
            <a:off x="10102383" y="2041980"/>
            <a:ext cx="457467" cy="456565"/>
            <a:chOff x="-11332875" y="1660700"/>
            <a:chExt cx="355250" cy="354550"/>
          </a:xfrm>
        </p:grpSpPr>
        <p:sp>
          <p:nvSpPr>
            <p:cNvPr id="10950" name="Google Shape;10950;p113"/>
            <p:cNvSpPr/>
            <p:nvPr/>
          </p:nvSpPr>
          <p:spPr>
            <a:xfrm>
              <a:off x="-11332875" y="1660700"/>
              <a:ext cx="355250" cy="354550"/>
            </a:xfrm>
            <a:custGeom>
              <a:avLst/>
              <a:gdLst/>
              <a:ahLst/>
              <a:cxnLst/>
              <a:rect l="l" t="t" r="r" b="b"/>
              <a:pathLst>
                <a:path w="14210" h="14182" extrusionOk="0">
                  <a:moveTo>
                    <a:pt x="7089" y="914"/>
                  </a:moveTo>
                  <a:cubicBezTo>
                    <a:pt x="7278" y="914"/>
                    <a:pt x="7436" y="1072"/>
                    <a:pt x="7467" y="1229"/>
                  </a:cubicBezTo>
                  <a:cubicBezTo>
                    <a:pt x="7538" y="1417"/>
                    <a:pt x="7713" y="1517"/>
                    <a:pt x="7889" y="1517"/>
                  </a:cubicBezTo>
                  <a:cubicBezTo>
                    <a:pt x="7949" y="1517"/>
                    <a:pt x="8010" y="1505"/>
                    <a:pt x="8066" y="1481"/>
                  </a:cubicBezTo>
                  <a:cubicBezTo>
                    <a:pt x="8124" y="1437"/>
                    <a:pt x="8203" y="1414"/>
                    <a:pt x="8284" y="1414"/>
                  </a:cubicBezTo>
                  <a:cubicBezTo>
                    <a:pt x="8376" y="1414"/>
                    <a:pt x="8471" y="1445"/>
                    <a:pt x="8538" y="1513"/>
                  </a:cubicBezTo>
                  <a:cubicBezTo>
                    <a:pt x="8696" y="1670"/>
                    <a:pt x="8664" y="1859"/>
                    <a:pt x="8570" y="1985"/>
                  </a:cubicBezTo>
                  <a:cubicBezTo>
                    <a:pt x="8444" y="2206"/>
                    <a:pt x="8570" y="2489"/>
                    <a:pt x="8822" y="2584"/>
                  </a:cubicBezTo>
                  <a:cubicBezTo>
                    <a:pt x="8980" y="2615"/>
                    <a:pt x="9137" y="2773"/>
                    <a:pt x="9137" y="2962"/>
                  </a:cubicBezTo>
                  <a:cubicBezTo>
                    <a:pt x="9137" y="3151"/>
                    <a:pt x="8980" y="3308"/>
                    <a:pt x="8822" y="3371"/>
                  </a:cubicBezTo>
                  <a:cubicBezTo>
                    <a:pt x="8570" y="3434"/>
                    <a:pt x="8444" y="3718"/>
                    <a:pt x="8570" y="3939"/>
                  </a:cubicBezTo>
                  <a:cubicBezTo>
                    <a:pt x="8664" y="4065"/>
                    <a:pt x="8664" y="4317"/>
                    <a:pt x="8538" y="4411"/>
                  </a:cubicBezTo>
                  <a:cubicBezTo>
                    <a:pt x="8454" y="4496"/>
                    <a:pt x="8360" y="4526"/>
                    <a:pt x="8272" y="4526"/>
                  </a:cubicBezTo>
                  <a:cubicBezTo>
                    <a:pt x="8196" y="4526"/>
                    <a:pt x="8124" y="4503"/>
                    <a:pt x="8066" y="4474"/>
                  </a:cubicBezTo>
                  <a:cubicBezTo>
                    <a:pt x="8006" y="4440"/>
                    <a:pt x="7941" y="4424"/>
                    <a:pt x="7876" y="4424"/>
                  </a:cubicBezTo>
                  <a:cubicBezTo>
                    <a:pt x="7704" y="4424"/>
                    <a:pt x="7536" y="4534"/>
                    <a:pt x="7467" y="4695"/>
                  </a:cubicBezTo>
                  <a:cubicBezTo>
                    <a:pt x="7436" y="4852"/>
                    <a:pt x="7278" y="5010"/>
                    <a:pt x="7089" y="5010"/>
                  </a:cubicBezTo>
                  <a:cubicBezTo>
                    <a:pt x="6869" y="5010"/>
                    <a:pt x="6711" y="4852"/>
                    <a:pt x="6680" y="4695"/>
                  </a:cubicBezTo>
                  <a:cubicBezTo>
                    <a:pt x="6634" y="4534"/>
                    <a:pt x="6472" y="4424"/>
                    <a:pt x="6290" y="4424"/>
                  </a:cubicBezTo>
                  <a:cubicBezTo>
                    <a:pt x="6221" y="4424"/>
                    <a:pt x="6150" y="4440"/>
                    <a:pt x="6081" y="4474"/>
                  </a:cubicBezTo>
                  <a:cubicBezTo>
                    <a:pt x="6042" y="4500"/>
                    <a:pt x="5976" y="4516"/>
                    <a:pt x="5903" y="4516"/>
                  </a:cubicBezTo>
                  <a:cubicBezTo>
                    <a:pt x="5799" y="4516"/>
                    <a:pt x="5682" y="4485"/>
                    <a:pt x="5609" y="4411"/>
                  </a:cubicBezTo>
                  <a:cubicBezTo>
                    <a:pt x="5451" y="4254"/>
                    <a:pt x="5514" y="4065"/>
                    <a:pt x="5577" y="3939"/>
                  </a:cubicBezTo>
                  <a:cubicBezTo>
                    <a:pt x="5703" y="3718"/>
                    <a:pt x="5577" y="3434"/>
                    <a:pt x="5356" y="3371"/>
                  </a:cubicBezTo>
                  <a:cubicBezTo>
                    <a:pt x="5199" y="3308"/>
                    <a:pt x="5041" y="3151"/>
                    <a:pt x="5041" y="2962"/>
                  </a:cubicBezTo>
                  <a:cubicBezTo>
                    <a:pt x="5041" y="2773"/>
                    <a:pt x="5199" y="2615"/>
                    <a:pt x="5356" y="2584"/>
                  </a:cubicBezTo>
                  <a:cubicBezTo>
                    <a:pt x="5609" y="2489"/>
                    <a:pt x="5735" y="2206"/>
                    <a:pt x="5577" y="1985"/>
                  </a:cubicBezTo>
                  <a:cubicBezTo>
                    <a:pt x="5514" y="1859"/>
                    <a:pt x="5514" y="1639"/>
                    <a:pt x="5609" y="1513"/>
                  </a:cubicBezTo>
                  <a:cubicBezTo>
                    <a:pt x="5703" y="1434"/>
                    <a:pt x="5798" y="1402"/>
                    <a:pt x="5880" y="1402"/>
                  </a:cubicBezTo>
                  <a:cubicBezTo>
                    <a:pt x="5963" y="1402"/>
                    <a:pt x="6034" y="1434"/>
                    <a:pt x="6081" y="1481"/>
                  </a:cubicBezTo>
                  <a:cubicBezTo>
                    <a:pt x="6145" y="1505"/>
                    <a:pt x="6212" y="1517"/>
                    <a:pt x="6276" y="1517"/>
                  </a:cubicBezTo>
                  <a:cubicBezTo>
                    <a:pt x="6464" y="1517"/>
                    <a:pt x="6633" y="1417"/>
                    <a:pt x="6680" y="1229"/>
                  </a:cubicBezTo>
                  <a:cubicBezTo>
                    <a:pt x="6711" y="1072"/>
                    <a:pt x="6869" y="914"/>
                    <a:pt x="7089" y="914"/>
                  </a:cubicBezTo>
                  <a:close/>
                  <a:moveTo>
                    <a:pt x="11374" y="1702"/>
                  </a:moveTo>
                  <a:cubicBezTo>
                    <a:pt x="11563" y="1702"/>
                    <a:pt x="11720" y="1859"/>
                    <a:pt x="11783" y="2017"/>
                  </a:cubicBezTo>
                  <a:cubicBezTo>
                    <a:pt x="11830" y="2204"/>
                    <a:pt x="12000" y="2305"/>
                    <a:pt x="12174" y="2305"/>
                  </a:cubicBezTo>
                  <a:cubicBezTo>
                    <a:pt x="12234" y="2305"/>
                    <a:pt x="12294" y="2293"/>
                    <a:pt x="12351" y="2269"/>
                  </a:cubicBezTo>
                  <a:cubicBezTo>
                    <a:pt x="12424" y="2225"/>
                    <a:pt x="12517" y="2201"/>
                    <a:pt x="12609" y="2201"/>
                  </a:cubicBezTo>
                  <a:cubicBezTo>
                    <a:pt x="12715" y="2201"/>
                    <a:pt x="12819" y="2233"/>
                    <a:pt x="12886" y="2300"/>
                  </a:cubicBezTo>
                  <a:cubicBezTo>
                    <a:pt x="13044" y="2458"/>
                    <a:pt x="12981" y="2647"/>
                    <a:pt x="12918" y="2773"/>
                  </a:cubicBezTo>
                  <a:cubicBezTo>
                    <a:pt x="12792" y="2993"/>
                    <a:pt x="12918" y="3277"/>
                    <a:pt x="13138" y="3371"/>
                  </a:cubicBezTo>
                  <a:cubicBezTo>
                    <a:pt x="13296" y="3403"/>
                    <a:pt x="13453" y="3560"/>
                    <a:pt x="13453" y="3750"/>
                  </a:cubicBezTo>
                  <a:cubicBezTo>
                    <a:pt x="13327" y="4002"/>
                    <a:pt x="13170" y="4159"/>
                    <a:pt x="13075" y="4191"/>
                  </a:cubicBezTo>
                  <a:cubicBezTo>
                    <a:pt x="12823" y="4254"/>
                    <a:pt x="12697" y="4537"/>
                    <a:pt x="12823" y="4789"/>
                  </a:cubicBezTo>
                  <a:cubicBezTo>
                    <a:pt x="12918" y="4884"/>
                    <a:pt x="12918" y="5136"/>
                    <a:pt x="12792" y="5262"/>
                  </a:cubicBezTo>
                  <a:cubicBezTo>
                    <a:pt x="12716" y="5318"/>
                    <a:pt x="12606" y="5364"/>
                    <a:pt x="12497" y="5364"/>
                  </a:cubicBezTo>
                  <a:cubicBezTo>
                    <a:pt x="12424" y="5364"/>
                    <a:pt x="12351" y="5344"/>
                    <a:pt x="12288" y="5293"/>
                  </a:cubicBezTo>
                  <a:cubicBezTo>
                    <a:pt x="12219" y="5259"/>
                    <a:pt x="12150" y="5243"/>
                    <a:pt x="12084" y="5243"/>
                  </a:cubicBezTo>
                  <a:cubicBezTo>
                    <a:pt x="11910" y="5243"/>
                    <a:pt x="11758" y="5354"/>
                    <a:pt x="11689" y="5514"/>
                  </a:cubicBezTo>
                  <a:cubicBezTo>
                    <a:pt x="11657" y="5671"/>
                    <a:pt x="11500" y="5829"/>
                    <a:pt x="11311" y="5829"/>
                  </a:cubicBezTo>
                  <a:cubicBezTo>
                    <a:pt x="11090" y="5829"/>
                    <a:pt x="10933" y="5671"/>
                    <a:pt x="10901" y="5514"/>
                  </a:cubicBezTo>
                  <a:cubicBezTo>
                    <a:pt x="10856" y="5354"/>
                    <a:pt x="10693" y="5243"/>
                    <a:pt x="10511" y="5243"/>
                  </a:cubicBezTo>
                  <a:cubicBezTo>
                    <a:pt x="10443" y="5243"/>
                    <a:pt x="10372" y="5259"/>
                    <a:pt x="10303" y="5293"/>
                  </a:cubicBezTo>
                  <a:cubicBezTo>
                    <a:pt x="10260" y="5322"/>
                    <a:pt x="10186" y="5337"/>
                    <a:pt x="10106" y="5337"/>
                  </a:cubicBezTo>
                  <a:cubicBezTo>
                    <a:pt x="10007" y="5337"/>
                    <a:pt x="9900" y="5314"/>
                    <a:pt x="9830" y="5262"/>
                  </a:cubicBezTo>
                  <a:cubicBezTo>
                    <a:pt x="9673" y="5104"/>
                    <a:pt x="9736" y="4884"/>
                    <a:pt x="9799" y="4789"/>
                  </a:cubicBezTo>
                  <a:cubicBezTo>
                    <a:pt x="9925" y="4569"/>
                    <a:pt x="9830" y="4317"/>
                    <a:pt x="9610" y="4191"/>
                  </a:cubicBezTo>
                  <a:lnTo>
                    <a:pt x="9610" y="3939"/>
                  </a:lnTo>
                  <a:cubicBezTo>
                    <a:pt x="9925" y="3718"/>
                    <a:pt x="10114" y="3371"/>
                    <a:pt x="10114" y="2962"/>
                  </a:cubicBezTo>
                  <a:cubicBezTo>
                    <a:pt x="10114" y="2741"/>
                    <a:pt x="10051" y="2489"/>
                    <a:pt x="9925" y="2300"/>
                  </a:cubicBezTo>
                  <a:cubicBezTo>
                    <a:pt x="10009" y="2233"/>
                    <a:pt x="10094" y="2201"/>
                    <a:pt x="10178" y="2201"/>
                  </a:cubicBezTo>
                  <a:cubicBezTo>
                    <a:pt x="10251" y="2201"/>
                    <a:pt x="10324" y="2225"/>
                    <a:pt x="10397" y="2269"/>
                  </a:cubicBezTo>
                  <a:cubicBezTo>
                    <a:pt x="10454" y="2293"/>
                    <a:pt x="10514" y="2305"/>
                    <a:pt x="10574" y="2305"/>
                  </a:cubicBezTo>
                  <a:cubicBezTo>
                    <a:pt x="10750" y="2305"/>
                    <a:pt x="10925" y="2204"/>
                    <a:pt x="10996" y="2017"/>
                  </a:cubicBezTo>
                  <a:cubicBezTo>
                    <a:pt x="11027" y="1859"/>
                    <a:pt x="11185" y="1702"/>
                    <a:pt x="11374" y="1702"/>
                  </a:cubicBezTo>
                  <a:close/>
                  <a:moveTo>
                    <a:pt x="2994" y="1796"/>
                  </a:moveTo>
                  <a:cubicBezTo>
                    <a:pt x="3183" y="1796"/>
                    <a:pt x="3340" y="1954"/>
                    <a:pt x="3372" y="2111"/>
                  </a:cubicBezTo>
                  <a:cubicBezTo>
                    <a:pt x="3440" y="2272"/>
                    <a:pt x="3592" y="2382"/>
                    <a:pt x="3767" y="2382"/>
                  </a:cubicBezTo>
                  <a:cubicBezTo>
                    <a:pt x="3832" y="2382"/>
                    <a:pt x="3901" y="2366"/>
                    <a:pt x="3970" y="2332"/>
                  </a:cubicBezTo>
                  <a:cubicBezTo>
                    <a:pt x="4027" y="2303"/>
                    <a:pt x="4096" y="2288"/>
                    <a:pt x="4170" y="2288"/>
                  </a:cubicBezTo>
                  <a:cubicBezTo>
                    <a:pt x="4260" y="2288"/>
                    <a:pt x="4356" y="2311"/>
                    <a:pt x="4443" y="2363"/>
                  </a:cubicBezTo>
                  <a:cubicBezTo>
                    <a:pt x="4317" y="2584"/>
                    <a:pt x="4254" y="2804"/>
                    <a:pt x="4254" y="3056"/>
                  </a:cubicBezTo>
                  <a:cubicBezTo>
                    <a:pt x="4254" y="3434"/>
                    <a:pt x="4443" y="3781"/>
                    <a:pt x="4758" y="4033"/>
                  </a:cubicBezTo>
                  <a:lnTo>
                    <a:pt x="4758" y="4254"/>
                  </a:lnTo>
                  <a:cubicBezTo>
                    <a:pt x="4506" y="4348"/>
                    <a:pt x="4443" y="4632"/>
                    <a:pt x="4569" y="4852"/>
                  </a:cubicBezTo>
                  <a:cubicBezTo>
                    <a:pt x="4632" y="4978"/>
                    <a:pt x="4632" y="5199"/>
                    <a:pt x="4506" y="5325"/>
                  </a:cubicBezTo>
                  <a:cubicBezTo>
                    <a:pt x="4427" y="5404"/>
                    <a:pt x="4340" y="5435"/>
                    <a:pt x="4258" y="5435"/>
                  </a:cubicBezTo>
                  <a:cubicBezTo>
                    <a:pt x="4175" y="5435"/>
                    <a:pt x="4096" y="5404"/>
                    <a:pt x="4033" y="5356"/>
                  </a:cubicBezTo>
                  <a:cubicBezTo>
                    <a:pt x="3977" y="5332"/>
                    <a:pt x="3916" y="5320"/>
                    <a:pt x="3857" y="5320"/>
                  </a:cubicBezTo>
                  <a:cubicBezTo>
                    <a:pt x="3682" y="5320"/>
                    <a:pt x="3513" y="5421"/>
                    <a:pt x="3466" y="5608"/>
                  </a:cubicBezTo>
                  <a:cubicBezTo>
                    <a:pt x="3435" y="5766"/>
                    <a:pt x="3246" y="5923"/>
                    <a:pt x="3057" y="5923"/>
                  </a:cubicBezTo>
                  <a:cubicBezTo>
                    <a:pt x="2868" y="5923"/>
                    <a:pt x="2710" y="5766"/>
                    <a:pt x="2679" y="5608"/>
                  </a:cubicBezTo>
                  <a:cubicBezTo>
                    <a:pt x="2562" y="5399"/>
                    <a:pt x="2378" y="5276"/>
                    <a:pt x="2188" y="5276"/>
                  </a:cubicBezTo>
                  <a:cubicBezTo>
                    <a:pt x="2120" y="5276"/>
                    <a:pt x="2052" y="5292"/>
                    <a:pt x="1985" y="5325"/>
                  </a:cubicBezTo>
                  <a:cubicBezTo>
                    <a:pt x="1912" y="5369"/>
                    <a:pt x="1826" y="5392"/>
                    <a:pt x="1741" y="5392"/>
                  </a:cubicBezTo>
                  <a:cubicBezTo>
                    <a:pt x="1644" y="5392"/>
                    <a:pt x="1549" y="5361"/>
                    <a:pt x="1481" y="5293"/>
                  </a:cubicBezTo>
                  <a:cubicBezTo>
                    <a:pt x="1324" y="5136"/>
                    <a:pt x="1355" y="4947"/>
                    <a:pt x="1450" y="4821"/>
                  </a:cubicBezTo>
                  <a:cubicBezTo>
                    <a:pt x="1576" y="4569"/>
                    <a:pt x="1450" y="4317"/>
                    <a:pt x="1229" y="4222"/>
                  </a:cubicBezTo>
                  <a:cubicBezTo>
                    <a:pt x="1072" y="4191"/>
                    <a:pt x="914" y="4033"/>
                    <a:pt x="914" y="3844"/>
                  </a:cubicBezTo>
                  <a:cubicBezTo>
                    <a:pt x="914" y="3624"/>
                    <a:pt x="1072" y="3466"/>
                    <a:pt x="1229" y="3434"/>
                  </a:cubicBezTo>
                  <a:cubicBezTo>
                    <a:pt x="1450" y="3371"/>
                    <a:pt x="1576" y="3088"/>
                    <a:pt x="1450" y="2836"/>
                  </a:cubicBezTo>
                  <a:cubicBezTo>
                    <a:pt x="1355" y="2741"/>
                    <a:pt x="1355" y="2489"/>
                    <a:pt x="1481" y="2363"/>
                  </a:cubicBezTo>
                  <a:cubicBezTo>
                    <a:pt x="1557" y="2307"/>
                    <a:pt x="1678" y="2261"/>
                    <a:pt x="1790" y="2261"/>
                  </a:cubicBezTo>
                  <a:cubicBezTo>
                    <a:pt x="1864" y="2261"/>
                    <a:pt x="1935" y="2281"/>
                    <a:pt x="1985" y="2332"/>
                  </a:cubicBezTo>
                  <a:cubicBezTo>
                    <a:pt x="2054" y="2366"/>
                    <a:pt x="2126" y="2382"/>
                    <a:pt x="2194" y="2382"/>
                  </a:cubicBezTo>
                  <a:cubicBezTo>
                    <a:pt x="2376" y="2382"/>
                    <a:pt x="2538" y="2272"/>
                    <a:pt x="2584" y="2111"/>
                  </a:cubicBezTo>
                  <a:cubicBezTo>
                    <a:pt x="2616" y="1954"/>
                    <a:pt x="2773" y="1796"/>
                    <a:pt x="2994" y="1796"/>
                  </a:cubicBezTo>
                  <a:close/>
                  <a:moveTo>
                    <a:pt x="8885" y="5199"/>
                  </a:moveTo>
                  <a:cubicBezTo>
                    <a:pt x="8917" y="5325"/>
                    <a:pt x="8980" y="5451"/>
                    <a:pt x="9011" y="5514"/>
                  </a:cubicBezTo>
                  <a:lnTo>
                    <a:pt x="7656" y="9200"/>
                  </a:lnTo>
                  <a:lnTo>
                    <a:pt x="5703" y="9200"/>
                  </a:lnTo>
                  <a:lnTo>
                    <a:pt x="3687" y="6427"/>
                  </a:lnTo>
                  <a:cubicBezTo>
                    <a:pt x="3813" y="6364"/>
                    <a:pt x="3939" y="6238"/>
                    <a:pt x="4002" y="6112"/>
                  </a:cubicBezTo>
                  <a:cubicBezTo>
                    <a:pt x="4091" y="6133"/>
                    <a:pt x="4179" y="6143"/>
                    <a:pt x="4264" y="6143"/>
                  </a:cubicBezTo>
                  <a:cubicBezTo>
                    <a:pt x="4571" y="6143"/>
                    <a:pt x="4851" y="6012"/>
                    <a:pt x="5073" y="5766"/>
                  </a:cubicBezTo>
                  <a:cubicBezTo>
                    <a:pt x="5199" y="5671"/>
                    <a:pt x="5293" y="5451"/>
                    <a:pt x="5356" y="5199"/>
                  </a:cubicBezTo>
                  <a:cubicBezTo>
                    <a:pt x="5525" y="5295"/>
                    <a:pt x="5730" y="5336"/>
                    <a:pt x="5944" y="5336"/>
                  </a:cubicBezTo>
                  <a:cubicBezTo>
                    <a:pt x="6010" y="5336"/>
                    <a:pt x="6077" y="5332"/>
                    <a:pt x="6144" y="5325"/>
                  </a:cubicBezTo>
                  <a:cubicBezTo>
                    <a:pt x="6365" y="5640"/>
                    <a:pt x="6711" y="5829"/>
                    <a:pt x="7121" y="5829"/>
                  </a:cubicBezTo>
                  <a:cubicBezTo>
                    <a:pt x="7499" y="5829"/>
                    <a:pt x="7877" y="5640"/>
                    <a:pt x="8097" y="5325"/>
                  </a:cubicBezTo>
                  <a:cubicBezTo>
                    <a:pt x="8164" y="5332"/>
                    <a:pt x="8231" y="5336"/>
                    <a:pt x="8297" y="5336"/>
                  </a:cubicBezTo>
                  <a:cubicBezTo>
                    <a:pt x="8511" y="5336"/>
                    <a:pt x="8717" y="5295"/>
                    <a:pt x="8885" y="5199"/>
                  </a:cubicBezTo>
                  <a:close/>
                  <a:moveTo>
                    <a:pt x="9673" y="6112"/>
                  </a:moveTo>
                  <a:cubicBezTo>
                    <a:pt x="9777" y="6164"/>
                    <a:pt x="9890" y="6188"/>
                    <a:pt x="10003" y="6188"/>
                  </a:cubicBezTo>
                  <a:cubicBezTo>
                    <a:pt x="10095" y="6188"/>
                    <a:pt x="10186" y="6172"/>
                    <a:pt x="10271" y="6144"/>
                  </a:cubicBezTo>
                  <a:cubicBezTo>
                    <a:pt x="10334" y="6270"/>
                    <a:pt x="10460" y="6396"/>
                    <a:pt x="10586" y="6459"/>
                  </a:cubicBezTo>
                  <a:lnTo>
                    <a:pt x="8570" y="9231"/>
                  </a:lnTo>
                  <a:lnTo>
                    <a:pt x="9673" y="6112"/>
                  </a:lnTo>
                  <a:close/>
                  <a:moveTo>
                    <a:pt x="8349" y="10050"/>
                  </a:moveTo>
                  <a:lnTo>
                    <a:pt x="8349" y="10870"/>
                  </a:lnTo>
                  <a:lnTo>
                    <a:pt x="5861" y="10870"/>
                  </a:lnTo>
                  <a:lnTo>
                    <a:pt x="5861" y="10050"/>
                  </a:lnTo>
                  <a:close/>
                  <a:moveTo>
                    <a:pt x="8538" y="11720"/>
                  </a:moveTo>
                  <a:lnTo>
                    <a:pt x="9295" y="12823"/>
                  </a:lnTo>
                  <a:cubicBezTo>
                    <a:pt x="9116" y="12781"/>
                    <a:pt x="8938" y="12760"/>
                    <a:pt x="8761" y="12760"/>
                  </a:cubicBezTo>
                  <a:cubicBezTo>
                    <a:pt x="8409" y="12760"/>
                    <a:pt x="8066" y="12844"/>
                    <a:pt x="7751" y="13012"/>
                  </a:cubicBezTo>
                  <a:cubicBezTo>
                    <a:pt x="7562" y="13106"/>
                    <a:pt x="7341" y="13154"/>
                    <a:pt x="7117" y="13154"/>
                  </a:cubicBezTo>
                  <a:cubicBezTo>
                    <a:pt x="6892" y="13154"/>
                    <a:pt x="6664" y="13106"/>
                    <a:pt x="6459" y="13012"/>
                  </a:cubicBezTo>
                  <a:cubicBezTo>
                    <a:pt x="6144" y="12854"/>
                    <a:pt x="5798" y="12760"/>
                    <a:pt x="5419" y="12760"/>
                  </a:cubicBezTo>
                  <a:cubicBezTo>
                    <a:pt x="5262" y="12760"/>
                    <a:pt x="5073" y="12760"/>
                    <a:pt x="4915" y="12823"/>
                  </a:cubicBezTo>
                  <a:lnTo>
                    <a:pt x="5672" y="11720"/>
                  </a:lnTo>
                  <a:close/>
                  <a:moveTo>
                    <a:pt x="7089" y="0"/>
                  </a:moveTo>
                  <a:cubicBezTo>
                    <a:pt x="6680" y="0"/>
                    <a:pt x="6333" y="189"/>
                    <a:pt x="6081" y="505"/>
                  </a:cubicBezTo>
                  <a:cubicBezTo>
                    <a:pt x="6018" y="494"/>
                    <a:pt x="5954" y="489"/>
                    <a:pt x="5890" y="489"/>
                  </a:cubicBezTo>
                  <a:cubicBezTo>
                    <a:pt x="5571" y="489"/>
                    <a:pt x="5251" y="620"/>
                    <a:pt x="5041" y="883"/>
                  </a:cubicBezTo>
                  <a:cubicBezTo>
                    <a:pt x="4884" y="1040"/>
                    <a:pt x="4758" y="1261"/>
                    <a:pt x="4726" y="1513"/>
                  </a:cubicBezTo>
                  <a:cubicBezTo>
                    <a:pt x="4534" y="1416"/>
                    <a:pt x="4341" y="1375"/>
                    <a:pt x="4135" y="1375"/>
                  </a:cubicBezTo>
                  <a:cubicBezTo>
                    <a:pt x="4071" y="1375"/>
                    <a:pt x="4006" y="1379"/>
                    <a:pt x="3939" y="1387"/>
                  </a:cubicBezTo>
                  <a:cubicBezTo>
                    <a:pt x="3687" y="1072"/>
                    <a:pt x="3340" y="883"/>
                    <a:pt x="2931" y="883"/>
                  </a:cubicBezTo>
                  <a:cubicBezTo>
                    <a:pt x="2553" y="883"/>
                    <a:pt x="2206" y="1072"/>
                    <a:pt x="1954" y="1387"/>
                  </a:cubicBezTo>
                  <a:cubicBezTo>
                    <a:pt x="1872" y="1366"/>
                    <a:pt x="1788" y="1356"/>
                    <a:pt x="1704" y="1356"/>
                  </a:cubicBezTo>
                  <a:cubicBezTo>
                    <a:pt x="1402" y="1356"/>
                    <a:pt x="1098" y="1487"/>
                    <a:pt x="851" y="1733"/>
                  </a:cubicBezTo>
                  <a:cubicBezTo>
                    <a:pt x="568" y="2017"/>
                    <a:pt x="473" y="2426"/>
                    <a:pt x="505" y="2804"/>
                  </a:cubicBezTo>
                  <a:cubicBezTo>
                    <a:pt x="190" y="3025"/>
                    <a:pt x="1" y="3403"/>
                    <a:pt x="1" y="3781"/>
                  </a:cubicBezTo>
                  <a:cubicBezTo>
                    <a:pt x="1" y="4191"/>
                    <a:pt x="190" y="4537"/>
                    <a:pt x="505" y="4789"/>
                  </a:cubicBezTo>
                  <a:cubicBezTo>
                    <a:pt x="410" y="5167"/>
                    <a:pt x="536" y="5577"/>
                    <a:pt x="851" y="5829"/>
                  </a:cubicBezTo>
                  <a:cubicBezTo>
                    <a:pt x="1106" y="6084"/>
                    <a:pt x="1489" y="6212"/>
                    <a:pt x="1839" y="6212"/>
                  </a:cubicBezTo>
                  <a:cubicBezTo>
                    <a:pt x="1878" y="6212"/>
                    <a:pt x="1916" y="6210"/>
                    <a:pt x="1954" y="6207"/>
                  </a:cubicBezTo>
                  <a:cubicBezTo>
                    <a:pt x="2143" y="6427"/>
                    <a:pt x="2427" y="6616"/>
                    <a:pt x="2710" y="6679"/>
                  </a:cubicBezTo>
                  <a:lnTo>
                    <a:pt x="5010" y="9767"/>
                  </a:lnTo>
                  <a:lnTo>
                    <a:pt x="5010" y="11153"/>
                  </a:lnTo>
                  <a:lnTo>
                    <a:pt x="3435" y="13516"/>
                  </a:lnTo>
                  <a:cubicBezTo>
                    <a:pt x="3309" y="13674"/>
                    <a:pt x="3340" y="13863"/>
                    <a:pt x="3466" y="14020"/>
                  </a:cubicBezTo>
                  <a:cubicBezTo>
                    <a:pt x="3526" y="14120"/>
                    <a:pt x="3636" y="14182"/>
                    <a:pt x="3757" y="14182"/>
                  </a:cubicBezTo>
                  <a:cubicBezTo>
                    <a:pt x="3827" y="14182"/>
                    <a:pt x="3901" y="14161"/>
                    <a:pt x="3970" y="14115"/>
                  </a:cubicBezTo>
                  <a:lnTo>
                    <a:pt x="4789" y="13674"/>
                  </a:lnTo>
                  <a:cubicBezTo>
                    <a:pt x="4994" y="13579"/>
                    <a:pt x="5215" y="13532"/>
                    <a:pt x="5435" y="13532"/>
                  </a:cubicBezTo>
                  <a:cubicBezTo>
                    <a:pt x="5656" y="13532"/>
                    <a:pt x="5876" y="13579"/>
                    <a:pt x="6081" y="13674"/>
                  </a:cubicBezTo>
                  <a:cubicBezTo>
                    <a:pt x="6396" y="13831"/>
                    <a:pt x="6743" y="13910"/>
                    <a:pt x="7089" y="13910"/>
                  </a:cubicBezTo>
                  <a:cubicBezTo>
                    <a:pt x="7436" y="13910"/>
                    <a:pt x="7782" y="13831"/>
                    <a:pt x="8097" y="13674"/>
                  </a:cubicBezTo>
                  <a:cubicBezTo>
                    <a:pt x="8302" y="13579"/>
                    <a:pt x="8523" y="13532"/>
                    <a:pt x="8743" y="13532"/>
                  </a:cubicBezTo>
                  <a:cubicBezTo>
                    <a:pt x="8964" y="13532"/>
                    <a:pt x="9184" y="13579"/>
                    <a:pt x="9389" y="13674"/>
                  </a:cubicBezTo>
                  <a:lnTo>
                    <a:pt x="10240" y="14115"/>
                  </a:lnTo>
                  <a:cubicBezTo>
                    <a:pt x="10292" y="14136"/>
                    <a:pt x="10348" y="14146"/>
                    <a:pt x="10405" y="14146"/>
                  </a:cubicBezTo>
                  <a:cubicBezTo>
                    <a:pt x="10520" y="14146"/>
                    <a:pt x="10639" y="14104"/>
                    <a:pt x="10744" y="14020"/>
                  </a:cubicBezTo>
                  <a:cubicBezTo>
                    <a:pt x="10870" y="13863"/>
                    <a:pt x="10901" y="13674"/>
                    <a:pt x="10775" y="13516"/>
                  </a:cubicBezTo>
                  <a:lnTo>
                    <a:pt x="9200" y="11153"/>
                  </a:lnTo>
                  <a:lnTo>
                    <a:pt x="9200" y="9767"/>
                  </a:lnTo>
                  <a:lnTo>
                    <a:pt x="11500" y="6679"/>
                  </a:lnTo>
                  <a:cubicBezTo>
                    <a:pt x="11815" y="6616"/>
                    <a:pt x="12067" y="6427"/>
                    <a:pt x="12225" y="6207"/>
                  </a:cubicBezTo>
                  <a:cubicBezTo>
                    <a:pt x="12293" y="6217"/>
                    <a:pt x="12360" y="6223"/>
                    <a:pt x="12427" y="6223"/>
                  </a:cubicBezTo>
                  <a:cubicBezTo>
                    <a:pt x="12758" y="6223"/>
                    <a:pt x="13065" y="6091"/>
                    <a:pt x="13327" y="5829"/>
                  </a:cubicBezTo>
                  <a:cubicBezTo>
                    <a:pt x="13611" y="5577"/>
                    <a:pt x="13737" y="5167"/>
                    <a:pt x="13705" y="4789"/>
                  </a:cubicBezTo>
                  <a:cubicBezTo>
                    <a:pt x="14020" y="4537"/>
                    <a:pt x="14209" y="4191"/>
                    <a:pt x="14209" y="3781"/>
                  </a:cubicBezTo>
                  <a:cubicBezTo>
                    <a:pt x="14178" y="3403"/>
                    <a:pt x="13957" y="3056"/>
                    <a:pt x="13674" y="2804"/>
                  </a:cubicBezTo>
                  <a:cubicBezTo>
                    <a:pt x="13737" y="2426"/>
                    <a:pt x="13611" y="2017"/>
                    <a:pt x="13296" y="1733"/>
                  </a:cubicBezTo>
                  <a:cubicBezTo>
                    <a:pt x="13047" y="1484"/>
                    <a:pt x="12700" y="1381"/>
                    <a:pt x="12342" y="1381"/>
                  </a:cubicBezTo>
                  <a:cubicBezTo>
                    <a:pt x="12292" y="1381"/>
                    <a:pt x="12243" y="1383"/>
                    <a:pt x="12193" y="1387"/>
                  </a:cubicBezTo>
                  <a:cubicBezTo>
                    <a:pt x="11973" y="1072"/>
                    <a:pt x="11594" y="883"/>
                    <a:pt x="11216" y="883"/>
                  </a:cubicBezTo>
                  <a:cubicBezTo>
                    <a:pt x="10807" y="883"/>
                    <a:pt x="10460" y="1072"/>
                    <a:pt x="10240" y="1387"/>
                  </a:cubicBezTo>
                  <a:cubicBezTo>
                    <a:pt x="10173" y="1379"/>
                    <a:pt x="10106" y="1375"/>
                    <a:pt x="10040" y="1375"/>
                  </a:cubicBezTo>
                  <a:cubicBezTo>
                    <a:pt x="9826" y="1375"/>
                    <a:pt x="9621" y="1416"/>
                    <a:pt x="9452" y="1513"/>
                  </a:cubicBezTo>
                  <a:cubicBezTo>
                    <a:pt x="9421" y="1261"/>
                    <a:pt x="9295" y="1072"/>
                    <a:pt x="9137" y="883"/>
                  </a:cubicBezTo>
                  <a:cubicBezTo>
                    <a:pt x="8882" y="627"/>
                    <a:pt x="8525" y="500"/>
                    <a:pt x="8180" y="500"/>
                  </a:cubicBezTo>
                  <a:cubicBezTo>
                    <a:pt x="8142" y="500"/>
                    <a:pt x="8104" y="501"/>
                    <a:pt x="8066" y="505"/>
                  </a:cubicBezTo>
                  <a:cubicBezTo>
                    <a:pt x="7845" y="189"/>
                    <a:pt x="7467" y="0"/>
                    <a:pt x="7089"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951" name="Google Shape;10951;p113"/>
            <p:cNvSpPr/>
            <p:nvPr/>
          </p:nvSpPr>
          <p:spPr>
            <a:xfrm>
              <a:off x="-11072175" y="1734725"/>
              <a:ext cx="41775" cy="41000"/>
            </a:xfrm>
            <a:custGeom>
              <a:avLst/>
              <a:gdLst/>
              <a:ahLst/>
              <a:cxnLst/>
              <a:rect l="l" t="t" r="r" b="b"/>
              <a:pathLst>
                <a:path w="1671" h="1640" extrusionOk="0">
                  <a:moveTo>
                    <a:pt x="820" y="1"/>
                  </a:moveTo>
                  <a:cubicBezTo>
                    <a:pt x="379" y="1"/>
                    <a:pt x="1" y="379"/>
                    <a:pt x="1" y="820"/>
                  </a:cubicBezTo>
                  <a:cubicBezTo>
                    <a:pt x="1" y="1293"/>
                    <a:pt x="379" y="1639"/>
                    <a:pt x="820" y="1639"/>
                  </a:cubicBezTo>
                  <a:cubicBezTo>
                    <a:pt x="1292" y="1639"/>
                    <a:pt x="1671" y="1293"/>
                    <a:pt x="1671" y="820"/>
                  </a:cubicBezTo>
                  <a:cubicBezTo>
                    <a:pt x="1671" y="379"/>
                    <a:pt x="1292" y="1"/>
                    <a:pt x="820"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952" name="Google Shape;10952;p113"/>
            <p:cNvSpPr/>
            <p:nvPr/>
          </p:nvSpPr>
          <p:spPr>
            <a:xfrm>
              <a:off x="-11278525" y="1734725"/>
              <a:ext cx="40975" cy="41000"/>
            </a:xfrm>
            <a:custGeom>
              <a:avLst/>
              <a:gdLst/>
              <a:ahLst/>
              <a:cxnLst/>
              <a:rect l="l" t="t" r="r" b="b"/>
              <a:pathLst>
                <a:path w="1639" h="1640" extrusionOk="0">
                  <a:moveTo>
                    <a:pt x="820" y="1"/>
                  </a:moveTo>
                  <a:cubicBezTo>
                    <a:pt x="347" y="1"/>
                    <a:pt x="0" y="379"/>
                    <a:pt x="0" y="820"/>
                  </a:cubicBezTo>
                  <a:cubicBezTo>
                    <a:pt x="0" y="1293"/>
                    <a:pt x="347" y="1639"/>
                    <a:pt x="820" y="1639"/>
                  </a:cubicBezTo>
                  <a:cubicBezTo>
                    <a:pt x="1261" y="1639"/>
                    <a:pt x="1639" y="1293"/>
                    <a:pt x="1639" y="820"/>
                  </a:cubicBezTo>
                  <a:cubicBezTo>
                    <a:pt x="1639" y="379"/>
                    <a:pt x="1261" y="1"/>
                    <a:pt x="820"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953" name="Google Shape;10953;p113"/>
            <p:cNvSpPr/>
            <p:nvPr/>
          </p:nvSpPr>
          <p:spPr>
            <a:xfrm>
              <a:off x="-11175350" y="1714250"/>
              <a:ext cx="40975" cy="41000"/>
            </a:xfrm>
            <a:custGeom>
              <a:avLst/>
              <a:gdLst/>
              <a:ahLst/>
              <a:cxnLst/>
              <a:rect l="l" t="t" r="r" b="b"/>
              <a:pathLst>
                <a:path w="1639" h="1640" extrusionOk="0">
                  <a:moveTo>
                    <a:pt x="820" y="1"/>
                  </a:moveTo>
                  <a:cubicBezTo>
                    <a:pt x="379" y="1"/>
                    <a:pt x="1" y="379"/>
                    <a:pt x="1" y="820"/>
                  </a:cubicBezTo>
                  <a:cubicBezTo>
                    <a:pt x="1" y="1261"/>
                    <a:pt x="379" y="1639"/>
                    <a:pt x="820" y="1639"/>
                  </a:cubicBezTo>
                  <a:cubicBezTo>
                    <a:pt x="1261" y="1639"/>
                    <a:pt x="1639" y="1261"/>
                    <a:pt x="1639" y="820"/>
                  </a:cubicBezTo>
                  <a:cubicBezTo>
                    <a:pt x="1639" y="379"/>
                    <a:pt x="1261" y="1"/>
                    <a:pt x="820"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sp>
        <p:nvSpPr>
          <p:cNvPr id="10954" name="Google Shape;10954;p113"/>
          <p:cNvSpPr/>
          <p:nvPr/>
        </p:nvSpPr>
        <p:spPr>
          <a:xfrm>
            <a:off x="10100870" y="2587839"/>
            <a:ext cx="460493" cy="452381"/>
          </a:xfrm>
          <a:custGeom>
            <a:avLst/>
            <a:gdLst/>
            <a:ahLst/>
            <a:cxnLst/>
            <a:rect l="l" t="t" r="r" b="b"/>
            <a:pathLst>
              <a:path w="14304" h="14052" extrusionOk="0">
                <a:moveTo>
                  <a:pt x="12886" y="2489"/>
                </a:moveTo>
                <a:cubicBezTo>
                  <a:pt x="13106" y="2521"/>
                  <a:pt x="13295" y="2710"/>
                  <a:pt x="13295" y="2899"/>
                </a:cubicBezTo>
                <a:lnTo>
                  <a:pt x="13295" y="3875"/>
                </a:lnTo>
                <a:cubicBezTo>
                  <a:pt x="12933" y="3592"/>
                  <a:pt x="12500" y="3450"/>
                  <a:pt x="12067" y="3450"/>
                </a:cubicBezTo>
                <a:cubicBezTo>
                  <a:pt x="11633" y="3450"/>
                  <a:pt x="11200" y="3592"/>
                  <a:pt x="10838" y="3875"/>
                </a:cubicBezTo>
                <a:lnTo>
                  <a:pt x="10838" y="2899"/>
                </a:lnTo>
                <a:cubicBezTo>
                  <a:pt x="10838" y="2678"/>
                  <a:pt x="11027" y="2489"/>
                  <a:pt x="11216" y="2489"/>
                </a:cubicBezTo>
                <a:close/>
                <a:moveTo>
                  <a:pt x="2899" y="2521"/>
                </a:moveTo>
                <a:cubicBezTo>
                  <a:pt x="3151" y="2521"/>
                  <a:pt x="3308" y="2710"/>
                  <a:pt x="3308" y="2962"/>
                </a:cubicBezTo>
                <a:lnTo>
                  <a:pt x="3308" y="3907"/>
                </a:lnTo>
                <a:cubicBezTo>
                  <a:pt x="2962" y="3623"/>
                  <a:pt x="2521" y="3497"/>
                  <a:pt x="2048" y="3497"/>
                </a:cubicBezTo>
                <a:cubicBezTo>
                  <a:pt x="1575" y="3497"/>
                  <a:pt x="1166" y="3655"/>
                  <a:pt x="819" y="3907"/>
                </a:cubicBezTo>
                <a:lnTo>
                  <a:pt x="819" y="2962"/>
                </a:lnTo>
                <a:cubicBezTo>
                  <a:pt x="851" y="2710"/>
                  <a:pt x="1040" y="2521"/>
                  <a:pt x="1260" y="2521"/>
                </a:cubicBezTo>
                <a:close/>
                <a:moveTo>
                  <a:pt x="2079" y="4285"/>
                </a:moveTo>
                <a:cubicBezTo>
                  <a:pt x="2395" y="4285"/>
                  <a:pt x="2710" y="4411"/>
                  <a:pt x="2962" y="4663"/>
                </a:cubicBezTo>
                <a:lnTo>
                  <a:pt x="4411" y="6112"/>
                </a:lnTo>
                <a:cubicBezTo>
                  <a:pt x="4285" y="6301"/>
                  <a:pt x="2836" y="7719"/>
                  <a:pt x="2678" y="7876"/>
                </a:cubicBezTo>
                <a:lnTo>
                  <a:pt x="1229" y="6427"/>
                </a:lnTo>
                <a:cubicBezTo>
                  <a:pt x="756" y="5955"/>
                  <a:pt x="756" y="5167"/>
                  <a:pt x="1229" y="4663"/>
                </a:cubicBezTo>
                <a:cubicBezTo>
                  <a:pt x="1449" y="4411"/>
                  <a:pt x="1764" y="4285"/>
                  <a:pt x="2079" y="4285"/>
                </a:cubicBezTo>
                <a:close/>
                <a:moveTo>
                  <a:pt x="12055" y="4308"/>
                </a:moveTo>
                <a:cubicBezTo>
                  <a:pt x="12374" y="4308"/>
                  <a:pt x="12697" y="4427"/>
                  <a:pt x="12949" y="4663"/>
                </a:cubicBezTo>
                <a:cubicBezTo>
                  <a:pt x="13421" y="5167"/>
                  <a:pt x="13421" y="5955"/>
                  <a:pt x="12949" y="6427"/>
                </a:cubicBezTo>
                <a:lnTo>
                  <a:pt x="11499" y="7876"/>
                </a:lnTo>
                <a:lnTo>
                  <a:pt x="9735" y="6112"/>
                </a:lnTo>
                <a:lnTo>
                  <a:pt x="11184" y="4663"/>
                </a:lnTo>
                <a:cubicBezTo>
                  <a:pt x="11421" y="4427"/>
                  <a:pt x="11736" y="4308"/>
                  <a:pt x="12055" y="4308"/>
                </a:cubicBezTo>
                <a:close/>
                <a:moveTo>
                  <a:pt x="11657" y="819"/>
                </a:moveTo>
                <a:lnTo>
                  <a:pt x="11657" y="1701"/>
                </a:lnTo>
                <a:lnTo>
                  <a:pt x="11216" y="1701"/>
                </a:lnTo>
                <a:cubicBezTo>
                  <a:pt x="10554" y="1701"/>
                  <a:pt x="10019" y="2237"/>
                  <a:pt x="10019" y="2899"/>
                </a:cubicBezTo>
                <a:lnTo>
                  <a:pt x="10019" y="4663"/>
                </a:lnTo>
                <a:lnTo>
                  <a:pt x="8853" y="5797"/>
                </a:lnTo>
                <a:cubicBezTo>
                  <a:pt x="8696" y="5955"/>
                  <a:pt x="8696" y="6238"/>
                  <a:pt x="8853" y="6396"/>
                </a:cubicBezTo>
                <a:lnTo>
                  <a:pt x="9231" y="6742"/>
                </a:lnTo>
                <a:lnTo>
                  <a:pt x="7089" y="8443"/>
                </a:lnTo>
                <a:lnTo>
                  <a:pt x="4978" y="6742"/>
                </a:lnTo>
                <a:lnTo>
                  <a:pt x="5324" y="6396"/>
                </a:lnTo>
                <a:cubicBezTo>
                  <a:pt x="5482" y="6238"/>
                  <a:pt x="5482" y="5955"/>
                  <a:pt x="5324" y="5797"/>
                </a:cubicBezTo>
                <a:lnTo>
                  <a:pt x="4190" y="4663"/>
                </a:lnTo>
                <a:lnTo>
                  <a:pt x="4190" y="2899"/>
                </a:lnTo>
                <a:cubicBezTo>
                  <a:pt x="4190" y="2237"/>
                  <a:pt x="3623" y="1701"/>
                  <a:pt x="2962" y="1701"/>
                </a:cubicBezTo>
                <a:lnTo>
                  <a:pt x="2521" y="1701"/>
                </a:lnTo>
                <a:lnTo>
                  <a:pt x="2521" y="819"/>
                </a:lnTo>
                <a:close/>
                <a:moveTo>
                  <a:pt x="9767" y="7341"/>
                </a:moveTo>
                <a:lnTo>
                  <a:pt x="10176" y="7719"/>
                </a:lnTo>
                <a:lnTo>
                  <a:pt x="8506" y="9609"/>
                </a:lnTo>
                <a:lnTo>
                  <a:pt x="7719" y="8979"/>
                </a:lnTo>
                <a:lnTo>
                  <a:pt x="9767" y="7341"/>
                </a:lnTo>
                <a:close/>
                <a:moveTo>
                  <a:pt x="5545" y="10743"/>
                </a:moveTo>
                <a:lnTo>
                  <a:pt x="6553" y="11846"/>
                </a:lnTo>
                <a:lnTo>
                  <a:pt x="5230" y="13264"/>
                </a:lnTo>
                <a:lnTo>
                  <a:pt x="2426" y="13264"/>
                </a:lnTo>
                <a:lnTo>
                  <a:pt x="5545" y="10743"/>
                </a:lnTo>
                <a:close/>
                <a:moveTo>
                  <a:pt x="4379" y="7372"/>
                </a:moveTo>
                <a:lnTo>
                  <a:pt x="11751" y="13327"/>
                </a:lnTo>
                <a:lnTo>
                  <a:pt x="8948" y="13327"/>
                </a:lnTo>
                <a:lnTo>
                  <a:pt x="8948" y="13264"/>
                </a:lnTo>
                <a:lnTo>
                  <a:pt x="3970" y="7750"/>
                </a:lnTo>
                <a:lnTo>
                  <a:pt x="4379" y="7372"/>
                </a:lnTo>
                <a:close/>
                <a:moveTo>
                  <a:pt x="473" y="0"/>
                </a:moveTo>
                <a:cubicBezTo>
                  <a:pt x="252" y="0"/>
                  <a:pt x="32" y="189"/>
                  <a:pt x="32" y="441"/>
                </a:cubicBezTo>
                <a:cubicBezTo>
                  <a:pt x="32" y="662"/>
                  <a:pt x="252" y="819"/>
                  <a:pt x="473" y="819"/>
                </a:cubicBezTo>
                <a:lnTo>
                  <a:pt x="1733" y="819"/>
                </a:lnTo>
                <a:lnTo>
                  <a:pt x="1733" y="1701"/>
                </a:lnTo>
                <a:lnTo>
                  <a:pt x="1292" y="1701"/>
                </a:lnTo>
                <a:cubicBezTo>
                  <a:pt x="630" y="1701"/>
                  <a:pt x="32" y="2237"/>
                  <a:pt x="32" y="2899"/>
                </a:cubicBezTo>
                <a:lnTo>
                  <a:pt x="32" y="5387"/>
                </a:lnTo>
                <a:lnTo>
                  <a:pt x="32" y="5450"/>
                </a:lnTo>
                <a:cubicBezTo>
                  <a:pt x="0" y="5986"/>
                  <a:pt x="252" y="6553"/>
                  <a:pt x="630" y="6963"/>
                </a:cubicBezTo>
                <a:lnTo>
                  <a:pt x="2395" y="8758"/>
                </a:lnTo>
                <a:cubicBezTo>
                  <a:pt x="2473" y="8837"/>
                  <a:pt x="2584" y="8877"/>
                  <a:pt x="2694" y="8877"/>
                </a:cubicBezTo>
                <a:cubicBezTo>
                  <a:pt x="2804" y="8877"/>
                  <a:pt x="2914" y="8837"/>
                  <a:pt x="2993" y="8758"/>
                </a:cubicBezTo>
                <a:lnTo>
                  <a:pt x="3434" y="8317"/>
                </a:lnTo>
                <a:lnTo>
                  <a:pt x="5041" y="10082"/>
                </a:lnTo>
                <a:lnTo>
                  <a:pt x="1008" y="13327"/>
                </a:lnTo>
                <a:cubicBezTo>
                  <a:pt x="914" y="13421"/>
                  <a:pt x="819" y="13579"/>
                  <a:pt x="914" y="13768"/>
                </a:cubicBezTo>
                <a:cubicBezTo>
                  <a:pt x="945" y="13925"/>
                  <a:pt x="1103" y="14051"/>
                  <a:pt x="1292" y="14051"/>
                </a:cubicBezTo>
                <a:lnTo>
                  <a:pt x="5419" y="14051"/>
                </a:lnTo>
                <a:cubicBezTo>
                  <a:pt x="5545" y="14051"/>
                  <a:pt x="5671" y="14020"/>
                  <a:pt x="5734" y="13925"/>
                </a:cubicBezTo>
                <a:lnTo>
                  <a:pt x="7120" y="12413"/>
                </a:lnTo>
                <a:lnTo>
                  <a:pt x="8506" y="13925"/>
                </a:lnTo>
                <a:cubicBezTo>
                  <a:pt x="8569" y="14020"/>
                  <a:pt x="8696" y="14051"/>
                  <a:pt x="8822" y="14051"/>
                </a:cubicBezTo>
                <a:lnTo>
                  <a:pt x="12949" y="14051"/>
                </a:lnTo>
                <a:cubicBezTo>
                  <a:pt x="13106" y="14051"/>
                  <a:pt x="13264" y="13925"/>
                  <a:pt x="13358" y="13768"/>
                </a:cubicBezTo>
                <a:cubicBezTo>
                  <a:pt x="13390" y="13610"/>
                  <a:pt x="13358" y="13421"/>
                  <a:pt x="13232" y="13327"/>
                </a:cubicBezTo>
                <a:lnTo>
                  <a:pt x="9263" y="10082"/>
                </a:lnTo>
                <a:lnTo>
                  <a:pt x="10869" y="8286"/>
                </a:lnTo>
                <a:lnTo>
                  <a:pt x="11310" y="8695"/>
                </a:lnTo>
                <a:cubicBezTo>
                  <a:pt x="11389" y="8774"/>
                  <a:pt x="11492" y="8814"/>
                  <a:pt x="11594" y="8814"/>
                </a:cubicBezTo>
                <a:cubicBezTo>
                  <a:pt x="11696" y="8814"/>
                  <a:pt x="11799" y="8774"/>
                  <a:pt x="11878" y="8695"/>
                </a:cubicBezTo>
                <a:lnTo>
                  <a:pt x="13673" y="6931"/>
                </a:lnTo>
                <a:cubicBezTo>
                  <a:pt x="14083" y="6490"/>
                  <a:pt x="14303" y="5955"/>
                  <a:pt x="14240" y="5387"/>
                </a:cubicBezTo>
                <a:lnTo>
                  <a:pt x="14240" y="5356"/>
                </a:lnTo>
                <a:lnTo>
                  <a:pt x="14240" y="2867"/>
                </a:lnTo>
                <a:cubicBezTo>
                  <a:pt x="14240" y="2205"/>
                  <a:pt x="13705" y="1670"/>
                  <a:pt x="12980" y="1670"/>
                </a:cubicBezTo>
                <a:lnTo>
                  <a:pt x="12571" y="1670"/>
                </a:lnTo>
                <a:lnTo>
                  <a:pt x="12571" y="788"/>
                </a:lnTo>
                <a:lnTo>
                  <a:pt x="13736" y="788"/>
                </a:lnTo>
                <a:lnTo>
                  <a:pt x="13736" y="819"/>
                </a:lnTo>
                <a:cubicBezTo>
                  <a:pt x="13988" y="819"/>
                  <a:pt x="14177" y="630"/>
                  <a:pt x="14177" y="441"/>
                </a:cubicBezTo>
                <a:cubicBezTo>
                  <a:pt x="14177" y="189"/>
                  <a:pt x="13988" y="0"/>
                  <a:pt x="13736"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955" name="Google Shape;10955;p113"/>
          <p:cNvSpPr/>
          <p:nvPr/>
        </p:nvSpPr>
        <p:spPr>
          <a:xfrm>
            <a:off x="10101885" y="3159477"/>
            <a:ext cx="458465" cy="398651"/>
          </a:xfrm>
          <a:custGeom>
            <a:avLst/>
            <a:gdLst/>
            <a:ahLst/>
            <a:cxnLst/>
            <a:rect l="l" t="t" r="r" b="b"/>
            <a:pathLst>
              <a:path w="14241" h="12383" extrusionOk="0">
                <a:moveTo>
                  <a:pt x="9610" y="4128"/>
                </a:moveTo>
                <a:cubicBezTo>
                  <a:pt x="10271" y="4128"/>
                  <a:pt x="10870" y="4664"/>
                  <a:pt x="10870" y="5388"/>
                </a:cubicBezTo>
                <a:cubicBezTo>
                  <a:pt x="10870" y="6050"/>
                  <a:pt x="10303" y="6617"/>
                  <a:pt x="9610" y="6617"/>
                </a:cubicBezTo>
                <a:lnTo>
                  <a:pt x="8444" y="6617"/>
                </a:lnTo>
                <a:cubicBezTo>
                  <a:pt x="8412" y="6207"/>
                  <a:pt x="8381" y="5829"/>
                  <a:pt x="8381" y="5388"/>
                </a:cubicBezTo>
                <a:cubicBezTo>
                  <a:pt x="8381" y="4947"/>
                  <a:pt x="8412" y="4569"/>
                  <a:pt x="8444" y="4128"/>
                </a:cubicBezTo>
                <a:close/>
                <a:moveTo>
                  <a:pt x="3183" y="3309"/>
                </a:moveTo>
                <a:cubicBezTo>
                  <a:pt x="2773" y="3876"/>
                  <a:pt x="2553" y="4632"/>
                  <a:pt x="2553" y="5388"/>
                </a:cubicBezTo>
                <a:cubicBezTo>
                  <a:pt x="2553" y="6144"/>
                  <a:pt x="2773" y="6837"/>
                  <a:pt x="3183" y="7468"/>
                </a:cubicBezTo>
                <a:lnTo>
                  <a:pt x="2994" y="7468"/>
                </a:lnTo>
                <a:cubicBezTo>
                  <a:pt x="1765" y="7436"/>
                  <a:pt x="820" y="6459"/>
                  <a:pt x="883" y="5262"/>
                </a:cubicBezTo>
                <a:cubicBezTo>
                  <a:pt x="946" y="4191"/>
                  <a:pt x="1954" y="3309"/>
                  <a:pt x="3088" y="3309"/>
                </a:cubicBezTo>
                <a:close/>
                <a:moveTo>
                  <a:pt x="8129" y="2175"/>
                </a:moveTo>
                <a:lnTo>
                  <a:pt x="8129" y="2175"/>
                </a:lnTo>
                <a:cubicBezTo>
                  <a:pt x="7751" y="3088"/>
                  <a:pt x="7562" y="4160"/>
                  <a:pt x="7562" y="5294"/>
                </a:cubicBezTo>
                <a:cubicBezTo>
                  <a:pt x="7562" y="6428"/>
                  <a:pt x="7751" y="7499"/>
                  <a:pt x="8129" y="8413"/>
                </a:cubicBezTo>
                <a:lnTo>
                  <a:pt x="7908" y="8255"/>
                </a:lnTo>
                <a:cubicBezTo>
                  <a:pt x="6995" y="7783"/>
                  <a:pt x="5861" y="7436"/>
                  <a:pt x="4600" y="7436"/>
                </a:cubicBezTo>
                <a:lnTo>
                  <a:pt x="4254" y="7436"/>
                </a:lnTo>
                <a:cubicBezTo>
                  <a:pt x="3687" y="6869"/>
                  <a:pt x="3372" y="6144"/>
                  <a:pt x="3372" y="5357"/>
                </a:cubicBezTo>
                <a:cubicBezTo>
                  <a:pt x="3372" y="4569"/>
                  <a:pt x="3687" y="3813"/>
                  <a:pt x="4254" y="3246"/>
                </a:cubicBezTo>
                <a:lnTo>
                  <a:pt x="4632" y="3246"/>
                </a:lnTo>
                <a:cubicBezTo>
                  <a:pt x="5798" y="3246"/>
                  <a:pt x="6963" y="2931"/>
                  <a:pt x="7908" y="2332"/>
                </a:cubicBezTo>
                <a:lnTo>
                  <a:pt x="8129" y="2175"/>
                </a:lnTo>
                <a:close/>
                <a:moveTo>
                  <a:pt x="5041" y="8287"/>
                </a:moveTo>
                <a:cubicBezTo>
                  <a:pt x="5293" y="8287"/>
                  <a:pt x="5577" y="8350"/>
                  <a:pt x="5861" y="8413"/>
                </a:cubicBezTo>
                <a:lnTo>
                  <a:pt x="5861" y="8696"/>
                </a:lnTo>
                <a:cubicBezTo>
                  <a:pt x="5861" y="8917"/>
                  <a:pt x="5672" y="9137"/>
                  <a:pt x="5419" y="9137"/>
                </a:cubicBezTo>
                <a:lnTo>
                  <a:pt x="5041" y="9137"/>
                </a:lnTo>
                <a:lnTo>
                  <a:pt x="5041" y="8287"/>
                </a:lnTo>
                <a:close/>
                <a:moveTo>
                  <a:pt x="10870" y="757"/>
                </a:moveTo>
                <a:cubicBezTo>
                  <a:pt x="12193" y="757"/>
                  <a:pt x="13327" y="2868"/>
                  <a:pt x="13327" y="5325"/>
                </a:cubicBezTo>
                <a:cubicBezTo>
                  <a:pt x="13327" y="7814"/>
                  <a:pt x="12193" y="9925"/>
                  <a:pt x="10870" y="9925"/>
                </a:cubicBezTo>
                <a:cubicBezTo>
                  <a:pt x="10712" y="9925"/>
                  <a:pt x="10492" y="9862"/>
                  <a:pt x="10334" y="9799"/>
                </a:cubicBezTo>
                <a:lnTo>
                  <a:pt x="9862" y="9515"/>
                </a:lnTo>
                <a:cubicBezTo>
                  <a:pt x="9358" y="9074"/>
                  <a:pt x="8917" y="8350"/>
                  <a:pt x="8664" y="7436"/>
                </a:cubicBezTo>
                <a:lnTo>
                  <a:pt x="9610" y="7436"/>
                </a:lnTo>
                <a:cubicBezTo>
                  <a:pt x="10744" y="7436"/>
                  <a:pt x="11689" y="6491"/>
                  <a:pt x="11689" y="5325"/>
                </a:cubicBezTo>
                <a:cubicBezTo>
                  <a:pt x="11689" y="4191"/>
                  <a:pt x="10744" y="3246"/>
                  <a:pt x="9610" y="3246"/>
                </a:cubicBezTo>
                <a:lnTo>
                  <a:pt x="8664" y="3246"/>
                </a:lnTo>
                <a:cubicBezTo>
                  <a:pt x="8948" y="2332"/>
                  <a:pt x="9326" y="1608"/>
                  <a:pt x="9862" y="1167"/>
                </a:cubicBezTo>
                <a:lnTo>
                  <a:pt x="10334" y="883"/>
                </a:lnTo>
                <a:cubicBezTo>
                  <a:pt x="10523" y="820"/>
                  <a:pt x="10712" y="757"/>
                  <a:pt x="10870" y="757"/>
                </a:cubicBezTo>
                <a:close/>
                <a:moveTo>
                  <a:pt x="4222" y="8255"/>
                </a:moveTo>
                <a:lnTo>
                  <a:pt x="4222" y="11185"/>
                </a:lnTo>
                <a:cubicBezTo>
                  <a:pt x="4222" y="11406"/>
                  <a:pt x="4002" y="11595"/>
                  <a:pt x="3813" y="11595"/>
                </a:cubicBezTo>
                <a:cubicBezTo>
                  <a:pt x="3624" y="11595"/>
                  <a:pt x="3372" y="11406"/>
                  <a:pt x="3372" y="11185"/>
                </a:cubicBezTo>
                <a:lnTo>
                  <a:pt x="3372" y="8255"/>
                </a:lnTo>
                <a:close/>
                <a:moveTo>
                  <a:pt x="10870" y="1"/>
                </a:moveTo>
                <a:cubicBezTo>
                  <a:pt x="10303" y="1"/>
                  <a:pt x="9830" y="190"/>
                  <a:pt x="9389" y="536"/>
                </a:cubicBezTo>
                <a:lnTo>
                  <a:pt x="7467" y="1671"/>
                </a:lnTo>
                <a:cubicBezTo>
                  <a:pt x="6648" y="2206"/>
                  <a:pt x="5609" y="2458"/>
                  <a:pt x="4632" y="2458"/>
                </a:cubicBezTo>
                <a:lnTo>
                  <a:pt x="3088" y="2458"/>
                </a:lnTo>
                <a:cubicBezTo>
                  <a:pt x="1513" y="2458"/>
                  <a:pt x="158" y="3655"/>
                  <a:pt x="64" y="5231"/>
                </a:cubicBezTo>
                <a:cubicBezTo>
                  <a:pt x="1" y="6806"/>
                  <a:pt x="1135" y="8066"/>
                  <a:pt x="2553" y="8255"/>
                </a:cubicBezTo>
                <a:lnTo>
                  <a:pt x="2553" y="11185"/>
                </a:lnTo>
                <a:cubicBezTo>
                  <a:pt x="2553" y="11847"/>
                  <a:pt x="3088" y="12382"/>
                  <a:pt x="3813" y="12382"/>
                </a:cubicBezTo>
                <a:cubicBezTo>
                  <a:pt x="4474" y="12382"/>
                  <a:pt x="5073" y="11847"/>
                  <a:pt x="5073" y="11185"/>
                </a:cubicBezTo>
                <a:lnTo>
                  <a:pt x="5073" y="9925"/>
                </a:lnTo>
                <a:lnTo>
                  <a:pt x="5451" y="9925"/>
                </a:lnTo>
                <a:cubicBezTo>
                  <a:pt x="6144" y="9925"/>
                  <a:pt x="6711" y="9358"/>
                  <a:pt x="6711" y="8696"/>
                </a:cubicBezTo>
                <a:lnTo>
                  <a:pt x="6711" y="8665"/>
                </a:lnTo>
                <a:cubicBezTo>
                  <a:pt x="6995" y="8759"/>
                  <a:pt x="7278" y="8885"/>
                  <a:pt x="7562" y="9043"/>
                </a:cubicBezTo>
                <a:lnTo>
                  <a:pt x="9484" y="10177"/>
                </a:lnTo>
                <a:cubicBezTo>
                  <a:pt x="9925" y="10555"/>
                  <a:pt x="10397" y="10744"/>
                  <a:pt x="10933" y="10744"/>
                </a:cubicBezTo>
                <a:cubicBezTo>
                  <a:pt x="11878" y="10744"/>
                  <a:pt x="12697" y="10145"/>
                  <a:pt x="13327" y="9074"/>
                </a:cubicBezTo>
                <a:cubicBezTo>
                  <a:pt x="13926" y="8098"/>
                  <a:pt x="14241" y="6774"/>
                  <a:pt x="14241" y="5388"/>
                </a:cubicBezTo>
                <a:cubicBezTo>
                  <a:pt x="14178" y="2458"/>
                  <a:pt x="12792" y="1"/>
                  <a:pt x="10870"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nvGrpSpPr>
          <p:cNvPr id="10956" name="Google Shape;10956;p113"/>
          <p:cNvGrpSpPr/>
          <p:nvPr/>
        </p:nvGrpSpPr>
        <p:grpSpPr>
          <a:xfrm>
            <a:off x="7698795" y="3703997"/>
            <a:ext cx="399648" cy="458465"/>
            <a:chOff x="-9570950" y="1622100"/>
            <a:chExt cx="310350" cy="356025"/>
          </a:xfrm>
        </p:grpSpPr>
        <p:sp>
          <p:nvSpPr>
            <p:cNvPr id="10957" name="Google Shape;10957;p113"/>
            <p:cNvSpPr/>
            <p:nvPr/>
          </p:nvSpPr>
          <p:spPr>
            <a:xfrm>
              <a:off x="-9570950" y="1622100"/>
              <a:ext cx="310350" cy="356025"/>
            </a:xfrm>
            <a:custGeom>
              <a:avLst/>
              <a:gdLst/>
              <a:ahLst/>
              <a:cxnLst/>
              <a:rect l="l" t="t" r="r" b="b"/>
              <a:pathLst>
                <a:path w="12414" h="14241" extrusionOk="0">
                  <a:moveTo>
                    <a:pt x="7026" y="851"/>
                  </a:moveTo>
                  <a:cubicBezTo>
                    <a:pt x="7246" y="851"/>
                    <a:pt x="7404" y="1040"/>
                    <a:pt x="7404" y="1229"/>
                  </a:cubicBezTo>
                  <a:lnTo>
                    <a:pt x="7404" y="1670"/>
                  </a:lnTo>
                  <a:lnTo>
                    <a:pt x="4915" y="1670"/>
                  </a:lnTo>
                  <a:lnTo>
                    <a:pt x="4915" y="1229"/>
                  </a:lnTo>
                  <a:lnTo>
                    <a:pt x="4978" y="1229"/>
                  </a:lnTo>
                  <a:cubicBezTo>
                    <a:pt x="4978" y="1009"/>
                    <a:pt x="5167" y="851"/>
                    <a:pt x="5356" y="851"/>
                  </a:cubicBezTo>
                  <a:close/>
                  <a:moveTo>
                    <a:pt x="9987" y="2490"/>
                  </a:moveTo>
                  <a:lnTo>
                    <a:pt x="9987" y="7688"/>
                  </a:lnTo>
                  <a:lnTo>
                    <a:pt x="9924" y="7688"/>
                  </a:lnTo>
                  <a:lnTo>
                    <a:pt x="8160" y="5924"/>
                  </a:lnTo>
                  <a:cubicBezTo>
                    <a:pt x="8081" y="5845"/>
                    <a:pt x="7971" y="5805"/>
                    <a:pt x="7861" y="5805"/>
                  </a:cubicBezTo>
                  <a:cubicBezTo>
                    <a:pt x="7750" y="5805"/>
                    <a:pt x="7640" y="5845"/>
                    <a:pt x="7561" y="5924"/>
                  </a:cubicBezTo>
                  <a:lnTo>
                    <a:pt x="6396" y="7121"/>
                  </a:lnTo>
                  <a:lnTo>
                    <a:pt x="4883" y="5136"/>
                  </a:lnTo>
                  <a:cubicBezTo>
                    <a:pt x="4820" y="5010"/>
                    <a:pt x="4694" y="4978"/>
                    <a:pt x="4568" y="4978"/>
                  </a:cubicBezTo>
                  <a:cubicBezTo>
                    <a:pt x="4474" y="4978"/>
                    <a:pt x="4348" y="5073"/>
                    <a:pt x="4253" y="5136"/>
                  </a:cubicBezTo>
                  <a:lnTo>
                    <a:pt x="2521" y="7467"/>
                  </a:lnTo>
                  <a:lnTo>
                    <a:pt x="2521" y="2490"/>
                  </a:lnTo>
                  <a:close/>
                  <a:moveTo>
                    <a:pt x="4537" y="6081"/>
                  </a:moveTo>
                  <a:lnTo>
                    <a:pt x="6175" y="8286"/>
                  </a:lnTo>
                  <a:lnTo>
                    <a:pt x="2867" y="8286"/>
                  </a:lnTo>
                  <a:lnTo>
                    <a:pt x="4537" y="6081"/>
                  </a:lnTo>
                  <a:close/>
                  <a:moveTo>
                    <a:pt x="7845" y="6806"/>
                  </a:moveTo>
                  <a:lnTo>
                    <a:pt x="9326" y="8286"/>
                  </a:lnTo>
                  <a:lnTo>
                    <a:pt x="7215" y="8286"/>
                  </a:lnTo>
                  <a:lnTo>
                    <a:pt x="6868" y="7782"/>
                  </a:lnTo>
                  <a:lnTo>
                    <a:pt x="7845" y="6806"/>
                  </a:lnTo>
                  <a:close/>
                  <a:moveTo>
                    <a:pt x="1670" y="2458"/>
                  </a:moveTo>
                  <a:lnTo>
                    <a:pt x="1670" y="8696"/>
                  </a:lnTo>
                  <a:cubicBezTo>
                    <a:pt x="1670" y="8917"/>
                    <a:pt x="1859" y="9106"/>
                    <a:pt x="2080" y="9106"/>
                  </a:cubicBezTo>
                  <a:lnTo>
                    <a:pt x="10365" y="9106"/>
                  </a:lnTo>
                  <a:cubicBezTo>
                    <a:pt x="10586" y="9106"/>
                    <a:pt x="10806" y="8917"/>
                    <a:pt x="10743" y="8696"/>
                  </a:cubicBezTo>
                  <a:lnTo>
                    <a:pt x="10743" y="2490"/>
                  </a:lnTo>
                  <a:lnTo>
                    <a:pt x="11153" y="2490"/>
                  </a:lnTo>
                  <a:cubicBezTo>
                    <a:pt x="11374" y="2490"/>
                    <a:pt x="11594" y="2647"/>
                    <a:pt x="11594" y="2899"/>
                  </a:cubicBezTo>
                  <a:lnTo>
                    <a:pt x="11594" y="9515"/>
                  </a:lnTo>
                  <a:cubicBezTo>
                    <a:pt x="11594" y="9736"/>
                    <a:pt x="11374" y="9956"/>
                    <a:pt x="11184" y="9956"/>
                  </a:cubicBezTo>
                  <a:lnTo>
                    <a:pt x="1260" y="9956"/>
                  </a:lnTo>
                  <a:cubicBezTo>
                    <a:pt x="1040" y="9956"/>
                    <a:pt x="882" y="9736"/>
                    <a:pt x="882" y="9515"/>
                  </a:cubicBezTo>
                  <a:lnTo>
                    <a:pt x="882" y="2899"/>
                  </a:lnTo>
                  <a:cubicBezTo>
                    <a:pt x="882" y="2647"/>
                    <a:pt x="1071" y="2458"/>
                    <a:pt x="1260" y="2458"/>
                  </a:cubicBezTo>
                  <a:close/>
                  <a:moveTo>
                    <a:pt x="8286" y="10775"/>
                  </a:moveTo>
                  <a:lnTo>
                    <a:pt x="8286" y="11626"/>
                  </a:lnTo>
                  <a:lnTo>
                    <a:pt x="4127" y="11626"/>
                  </a:lnTo>
                  <a:lnTo>
                    <a:pt x="4127" y="10775"/>
                  </a:lnTo>
                  <a:close/>
                  <a:moveTo>
                    <a:pt x="3340" y="10775"/>
                  </a:moveTo>
                  <a:lnTo>
                    <a:pt x="3340" y="12886"/>
                  </a:lnTo>
                  <a:lnTo>
                    <a:pt x="3308" y="12886"/>
                  </a:lnTo>
                  <a:cubicBezTo>
                    <a:pt x="3308" y="13138"/>
                    <a:pt x="3119" y="13327"/>
                    <a:pt x="2930" y="13327"/>
                  </a:cubicBezTo>
                  <a:cubicBezTo>
                    <a:pt x="2710" y="13327"/>
                    <a:pt x="2521" y="13138"/>
                    <a:pt x="2521" y="12886"/>
                  </a:cubicBezTo>
                  <a:lnTo>
                    <a:pt x="2521" y="10775"/>
                  </a:lnTo>
                  <a:close/>
                  <a:moveTo>
                    <a:pt x="9956" y="10775"/>
                  </a:moveTo>
                  <a:lnTo>
                    <a:pt x="9956" y="12886"/>
                  </a:lnTo>
                  <a:lnTo>
                    <a:pt x="9924" y="12886"/>
                  </a:lnTo>
                  <a:cubicBezTo>
                    <a:pt x="9924" y="13138"/>
                    <a:pt x="9735" y="13327"/>
                    <a:pt x="9546" y="13327"/>
                  </a:cubicBezTo>
                  <a:cubicBezTo>
                    <a:pt x="9326" y="13327"/>
                    <a:pt x="9137" y="13138"/>
                    <a:pt x="9137" y="12886"/>
                  </a:cubicBezTo>
                  <a:lnTo>
                    <a:pt x="9137" y="10775"/>
                  </a:lnTo>
                  <a:close/>
                  <a:moveTo>
                    <a:pt x="5356" y="1"/>
                  </a:moveTo>
                  <a:cubicBezTo>
                    <a:pt x="4694" y="1"/>
                    <a:pt x="4127" y="568"/>
                    <a:pt x="4127" y="1292"/>
                  </a:cubicBezTo>
                  <a:lnTo>
                    <a:pt x="4127" y="1702"/>
                  </a:lnTo>
                  <a:lnTo>
                    <a:pt x="1229" y="1702"/>
                  </a:lnTo>
                  <a:cubicBezTo>
                    <a:pt x="567" y="1702"/>
                    <a:pt x="0" y="2269"/>
                    <a:pt x="0" y="2962"/>
                  </a:cubicBezTo>
                  <a:lnTo>
                    <a:pt x="0" y="9578"/>
                  </a:lnTo>
                  <a:cubicBezTo>
                    <a:pt x="0" y="10271"/>
                    <a:pt x="567" y="10838"/>
                    <a:pt x="1229" y="10838"/>
                  </a:cubicBezTo>
                  <a:lnTo>
                    <a:pt x="1607" y="10838"/>
                  </a:lnTo>
                  <a:lnTo>
                    <a:pt x="1607" y="12981"/>
                  </a:lnTo>
                  <a:cubicBezTo>
                    <a:pt x="1607" y="13642"/>
                    <a:pt x="2174" y="14241"/>
                    <a:pt x="2867" y="14241"/>
                  </a:cubicBezTo>
                  <a:cubicBezTo>
                    <a:pt x="3592" y="14241"/>
                    <a:pt x="4127" y="13674"/>
                    <a:pt x="4127" y="12981"/>
                  </a:cubicBezTo>
                  <a:lnTo>
                    <a:pt x="4127" y="12540"/>
                  </a:lnTo>
                  <a:lnTo>
                    <a:pt x="8286" y="12540"/>
                  </a:lnTo>
                  <a:lnTo>
                    <a:pt x="8286" y="12981"/>
                  </a:lnTo>
                  <a:cubicBezTo>
                    <a:pt x="8286" y="13642"/>
                    <a:pt x="8822" y="14241"/>
                    <a:pt x="9483" y="14241"/>
                  </a:cubicBezTo>
                  <a:cubicBezTo>
                    <a:pt x="10176" y="14241"/>
                    <a:pt x="10775" y="13674"/>
                    <a:pt x="10775" y="12981"/>
                  </a:cubicBezTo>
                  <a:lnTo>
                    <a:pt x="10775" y="10838"/>
                  </a:lnTo>
                  <a:lnTo>
                    <a:pt x="11153" y="10838"/>
                  </a:lnTo>
                  <a:cubicBezTo>
                    <a:pt x="11815" y="10838"/>
                    <a:pt x="12413" y="10303"/>
                    <a:pt x="12413" y="9578"/>
                  </a:cubicBezTo>
                  <a:lnTo>
                    <a:pt x="12413" y="2899"/>
                  </a:lnTo>
                  <a:cubicBezTo>
                    <a:pt x="12413" y="2238"/>
                    <a:pt x="11878" y="1639"/>
                    <a:pt x="11153" y="1639"/>
                  </a:cubicBezTo>
                  <a:lnTo>
                    <a:pt x="8286" y="1639"/>
                  </a:lnTo>
                  <a:lnTo>
                    <a:pt x="8286" y="1198"/>
                  </a:lnTo>
                  <a:cubicBezTo>
                    <a:pt x="8286" y="568"/>
                    <a:pt x="7687" y="1"/>
                    <a:pt x="7026"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958" name="Google Shape;10958;p113"/>
            <p:cNvSpPr/>
            <p:nvPr/>
          </p:nvSpPr>
          <p:spPr>
            <a:xfrm>
              <a:off x="-9426025" y="1695350"/>
              <a:ext cx="63025" cy="62250"/>
            </a:xfrm>
            <a:custGeom>
              <a:avLst/>
              <a:gdLst/>
              <a:ahLst/>
              <a:cxnLst/>
              <a:rect l="l" t="t" r="r" b="b"/>
              <a:pathLst>
                <a:path w="2521" h="2490" extrusionOk="0">
                  <a:moveTo>
                    <a:pt x="1260" y="820"/>
                  </a:moveTo>
                  <a:cubicBezTo>
                    <a:pt x="1449" y="820"/>
                    <a:pt x="1638" y="977"/>
                    <a:pt x="1638" y="1229"/>
                  </a:cubicBezTo>
                  <a:cubicBezTo>
                    <a:pt x="1638" y="1450"/>
                    <a:pt x="1449" y="1639"/>
                    <a:pt x="1260" y="1639"/>
                  </a:cubicBezTo>
                  <a:cubicBezTo>
                    <a:pt x="1071" y="1639"/>
                    <a:pt x="851" y="1450"/>
                    <a:pt x="851" y="1229"/>
                  </a:cubicBezTo>
                  <a:cubicBezTo>
                    <a:pt x="851" y="977"/>
                    <a:pt x="1071" y="820"/>
                    <a:pt x="1260" y="820"/>
                  </a:cubicBezTo>
                  <a:close/>
                  <a:moveTo>
                    <a:pt x="1260" y="1"/>
                  </a:moveTo>
                  <a:cubicBezTo>
                    <a:pt x="536" y="1"/>
                    <a:pt x="0" y="505"/>
                    <a:pt x="0" y="1229"/>
                  </a:cubicBezTo>
                  <a:cubicBezTo>
                    <a:pt x="0" y="1891"/>
                    <a:pt x="536" y="2490"/>
                    <a:pt x="1260" y="2490"/>
                  </a:cubicBezTo>
                  <a:cubicBezTo>
                    <a:pt x="1985" y="2490"/>
                    <a:pt x="2521" y="1922"/>
                    <a:pt x="2521" y="1229"/>
                  </a:cubicBezTo>
                  <a:cubicBezTo>
                    <a:pt x="2521" y="505"/>
                    <a:pt x="1985" y="1"/>
                    <a:pt x="1260"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10959" name="Google Shape;10959;p113"/>
          <p:cNvGrpSpPr/>
          <p:nvPr/>
        </p:nvGrpSpPr>
        <p:grpSpPr>
          <a:xfrm>
            <a:off x="7670400" y="4249271"/>
            <a:ext cx="456437" cy="455439"/>
            <a:chOff x="-9594575" y="2056875"/>
            <a:chExt cx="354450" cy="353675"/>
          </a:xfrm>
        </p:grpSpPr>
        <p:sp>
          <p:nvSpPr>
            <p:cNvPr id="10960" name="Google Shape;10960;p113"/>
            <p:cNvSpPr/>
            <p:nvPr/>
          </p:nvSpPr>
          <p:spPr>
            <a:xfrm>
              <a:off x="-9594575" y="2056875"/>
              <a:ext cx="354450" cy="353675"/>
            </a:xfrm>
            <a:custGeom>
              <a:avLst/>
              <a:gdLst/>
              <a:ahLst/>
              <a:cxnLst/>
              <a:rect l="l" t="t" r="r" b="b"/>
              <a:pathLst>
                <a:path w="14178" h="14147" extrusionOk="0">
                  <a:moveTo>
                    <a:pt x="3781" y="819"/>
                  </a:moveTo>
                  <a:cubicBezTo>
                    <a:pt x="4442" y="819"/>
                    <a:pt x="5041" y="1387"/>
                    <a:pt x="5041" y="2080"/>
                  </a:cubicBezTo>
                  <a:cubicBezTo>
                    <a:pt x="4694" y="1796"/>
                    <a:pt x="4253" y="1639"/>
                    <a:pt x="3812" y="1639"/>
                  </a:cubicBezTo>
                  <a:cubicBezTo>
                    <a:pt x="3340" y="1639"/>
                    <a:pt x="2930" y="1796"/>
                    <a:pt x="2552" y="2048"/>
                  </a:cubicBezTo>
                  <a:cubicBezTo>
                    <a:pt x="2552" y="1387"/>
                    <a:pt x="3119" y="819"/>
                    <a:pt x="3781" y="819"/>
                  </a:cubicBezTo>
                  <a:close/>
                  <a:moveTo>
                    <a:pt x="10491" y="819"/>
                  </a:moveTo>
                  <a:cubicBezTo>
                    <a:pt x="11153" y="819"/>
                    <a:pt x="11688" y="1387"/>
                    <a:pt x="11751" y="2048"/>
                  </a:cubicBezTo>
                  <a:cubicBezTo>
                    <a:pt x="11373" y="1765"/>
                    <a:pt x="10964" y="1639"/>
                    <a:pt x="10491" y="1639"/>
                  </a:cubicBezTo>
                  <a:cubicBezTo>
                    <a:pt x="10019" y="1639"/>
                    <a:pt x="9578" y="1796"/>
                    <a:pt x="9263" y="2080"/>
                  </a:cubicBezTo>
                  <a:cubicBezTo>
                    <a:pt x="9231" y="1387"/>
                    <a:pt x="9767" y="819"/>
                    <a:pt x="10491" y="819"/>
                  </a:cubicBezTo>
                  <a:close/>
                  <a:moveTo>
                    <a:pt x="6742" y="5797"/>
                  </a:moveTo>
                  <a:lnTo>
                    <a:pt x="6742" y="7467"/>
                  </a:lnTo>
                  <a:lnTo>
                    <a:pt x="5860" y="7467"/>
                  </a:lnTo>
                  <a:lnTo>
                    <a:pt x="5860" y="5797"/>
                  </a:lnTo>
                  <a:close/>
                  <a:moveTo>
                    <a:pt x="8380" y="5766"/>
                  </a:moveTo>
                  <a:lnTo>
                    <a:pt x="8380" y="7467"/>
                  </a:lnTo>
                  <a:lnTo>
                    <a:pt x="7530" y="7467"/>
                  </a:lnTo>
                  <a:lnTo>
                    <a:pt x="7530" y="5766"/>
                  </a:lnTo>
                  <a:close/>
                  <a:moveTo>
                    <a:pt x="8380" y="8318"/>
                  </a:moveTo>
                  <a:lnTo>
                    <a:pt x="8380" y="9137"/>
                  </a:lnTo>
                  <a:lnTo>
                    <a:pt x="5860" y="9137"/>
                  </a:lnTo>
                  <a:lnTo>
                    <a:pt x="5860" y="8318"/>
                  </a:lnTo>
                  <a:close/>
                  <a:moveTo>
                    <a:pt x="3781" y="2489"/>
                  </a:moveTo>
                  <a:cubicBezTo>
                    <a:pt x="4442" y="2489"/>
                    <a:pt x="5041" y="3025"/>
                    <a:pt x="5041" y="3686"/>
                  </a:cubicBezTo>
                  <a:lnTo>
                    <a:pt x="5041" y="9168"/>
                  </a:lnTo>
                  <a:cubicBezTo>
                    <a:pt x="4537" y="8633"/>
                    <a:pt x="3781" y="8318"/>
                    <a:pt x="2962" y="8318"/>
                  </a:cubicBezTo>
                  <a:cubicBezTo>
                    <a:pt x="2363" y="8318"/>
                    <a:pt x="1859" y="8475"/>
                    <a:pt x="1386" y="8790"/>
                  </a:cubicBezTo>
                  <a:lnTo>
                    <a:pt x="2552" y="3497"/>
                  </a:lnTo>
                  <a:cubicBezTo>
                    <a:pt x="2678" y="2899"/>
                    <a:pt x="3182" y="2489"/>
                    <a:pt x="3781" y="2489"/>
                  </a:cubicBezTo>
                  <a:close/>
                  <a:moveTo>
                    <a:pt x="10491" y="2489"/>
                  </a:moveTo>
                  <a:cubicBezTo>
                    <a:pt x="11090" y="2489"/>
                    <a:pt x="11594" y="2899"/>
                    <a:pt x="11720" y="3497"/>
                  </a:cubicBezTo>
                  <a:lnTo>
                    <a:pt x="12886" y="8790"/>
                  </a:lnTo>
                  <a:cubicBezTo>
                    <a:pt x="12413" y="8444"/>
                    <a:pt x="11909" y="8318"/>
                    <a:pt x="11310" y="8318"/>
                  </a:cubicBezTo>
                  <a:cubicBezTo>
                    <a:pt x="10491" y="8318"/>
                    <a:pt x="9767" y="8633"/>
                    <a:pt x="9231" y="9168"/>
                  </a:cubicBezTo>
                  <a:lnTo>
                    <a:pt x="9231" y="3686"/>
                  </a:lnTo>
                  <a:cubicBezTo>
                    <a:pt x="9231" y="3025"/>
                    <a:pt x="9767" y="2489"/>
                    <a:pt x="10491" y="2489"/>
                  </a:cubicBezTo>
                  <a:close/>
                  <a:moveTo>
                    <a:pt x="2962" y="9074"/>
                  </a:moveTo>
                  <a:cubicBezTo>
                    <a:pt x="4096" y="9074"/>
                    <a:pt x="5041" y="10019"/>
                    <a:pt x="5041" y="11185"/>
                  </a:cubicBezTo>
                  <a:cubicBezTo>
                    <a:pt x="5041" y="12350"/>
                    <a:pt x="4096" y="13264"/>
                    <a:pt x="2962" y="13264"/>
                  </a:cubicBezTo>
                  <a:cubicBezTo>
                    <a:pt x="1827" y="13264"/>
                    <a:pt x="882" y="12319"/>
                    <a:pt x="882" y="11185"/>
                  </a:cubicBezTo>
                  <a:cubicBezTo>
                    <a:pt x="882" y="10019"/>
                    <a:pt x="1764" y="9074"/>
                    <a:pt x="2962" y="9074"/>
                  </a:cubicBezTo>
                  <a:close/>
                  <a:moveTo>
                    <a:pt x="11310" y="9074"/>
                  </a:moveTo>
                  <a:cubicBezTo>
                    <a:pt x="12445" y="9074"/>
                    <a:pt x="13390" y="9987"/>
                    <a:pt x="13390" y="11185"/>
                  </a:cubicBezTo>
                  <a:cubicBezTo>
                    <a:pt x="13358" y="12350"/>
                    <a:pt x="12445" y="13264"/>
                    <a:pt x="11310" y="13264"/>
                  </a:cubicBezTo>
                  <a:cubicBezTo>
                    <a:pt x="10176" y="13264"/>
                    <a:pt x="9231" y="12319"/>
                    <a:pt x="9231" y="11185"/>
                  </a:cubicBezTo>
                  <a:cubicBezTo>
                    <a:pt x="9231" y="10019"/>
                    <a:pt x="10176" y="9074"/>
                    <a:pt x="11310" y="9074"/>
                  </a:cubicBezTo>
                  <a:close/>
                  <a:moveTo>
                    <a:pt x="3749" y="0"/>
                  </a:moveTo>
                  <a:cubicBezTo>
                    <a:pt x="2615" y="0"/>
                    <a:pt x="1670" y="946"/>
                    <a:pt x="1670" y="2080"/>
                  </a:cubicBezTo>
                  <a:cubicBezTo>
                    <a:pt x="1670" y="2363"/>
                    <a:pt x="1733" y="2647"/>
                    <a:pt x="1827" y="2899"/>
                  </a:cubicBezTo>
                  <a:cubicBezTo>
                    <a:pt x="1733" y="3056"/>
                    <a:pt x="1701" y="3182"/>
                    <a:pt x="1701" y="3340"/>
                  </a:cubicBezTo>
                  <a:lnTo>
                    <a:pt x="63" y="10680"/>
                  </a:lnTo>
                  <a:cubicBezTo>
                    <a:pt x="0" y="10870"/>
                    <a:pt x="0" y="11027"/>
                    <a:pt x="0" y="11216"/>
                  </a:cubicBezTo>
                  <a:cubicBezTo>
                    <a:pt x="0" y="12823"/>
                    <a:pt x="1323" y="14146"/>
                    <a:pt x="2930" y="14146"/>
                  </a:cubicBezTo>
                  <a:cubicBezTo>
                    <a:pt x="4537" y="14146"/>
                    <a:pt x="5797" y="12823"/>
                    <a:pt x="5797" y="11216"/>
                  </a:cubicBezTo>
                  <a:lnTo>
                    <a:pt x="5797" y="9956"/>
                  </a:lnTo>
                  <a:lnTo>
                    <a:pt x="8317" y="9956"/>
                  </a:lnTo>
                  <a:lnTo>
                    <a:pt x="8317" y="11185"/>
                  </a:lnTo>
                  <a:cubicBezTo>
                    <a:pt x="8317" y="12791"/>
                    <a:pt x="9609" y="14083"/>
                    <a:pt x="11184" y="14083"/>
                  </a:cubicBezTo>
                  <a:cubicBezTo>
                    <a:pt x="12760" y="14083"/>
                    <a:pt x="14114" y="12791"/>
                    <a:pt x="14114" y="11185"/>
                  </a:cubicBezTo>
                  <a:cubicBezTo>
                    <a:pt x="14177" y="11027"/>
                    <a:pt x="14177" y="10870"/>
                    <a:pt x="14146" y="10680"/>
                  </a:cubicBezTo>
                  <a:cubicBezTo>
                    <a:pt x="14146" y="10680"/>
                    <a:pt x="12539" y="3466"/>
                    <a:pt x="12476" y="3340"/>
                  </a:cubicBezTo>
                  <a:cubicBezTo>
                    <a:pt x="12445" y="3182"/>
                    <a:pt x="12413" y="3025"/>
                    <a:pt x="12382" y="2899"/>
                  </a:cubicBezTo>
                  <a:cubicBezTo>
                    <a:pt x="12476" y="2647"/>
                    <a:pt x="12539" y="2363"/>
                    <a:pt x="12539" y="2080"/>
                  </a:cubicBezTo>
                  <a:cubicBezTo>
                    <a:pt x="12539" y="946"/>
                    <a:pt x="11594" y="0"/>
                    <a:pt x="10428" y="0"/>
                  </a:cubicBezTo>
                  <a:cubicBezTo>
                    <a:pt x="9294" y="0"/>
                    <a:pt x="8349" y="946"/>
                    <a:pt x="8349" y="2080"/>
                  </a:cubicBezTo>
                  <a:cubicBezTo>
                    <a:pt x="8349" y="2363"/>
                    <a:pt x="8443" y="2647"/>
                    <a:pt x="8506" y="2899"/>
                  </a:cubicBezTo>
                  <a:cubicBezTo>
                    <a:pt x="8412" y="3151"/>
                    <a:pt x="8349" y="3466"/>
                    <a:pt x="8349" y="3749"/>
                  </a:cubicBezTo>
                  <a:lnTo>
                    <a:pt x="8349" y="5010"/>
                  </a:lnTo>
                  <a:lnTo>
                    <a:pt x="5828" y="5010"/>
                  </a:lnTo>
                  <a:lnTo>
                    <a:pt x="5828" y="3749"/>
                  </a:lnTo>
                  <a:cubicBezTo>
                    <a:pt x="5828" y="3466"/>
                    <a:pt x="5765" y="3151"/>
                    <a:pt x="5671" y="2899"/>
                  </a:cubicBezTo>
                  <a:cubicBezTo>
                    <a:pt x="5797" y="2647"/>
                    <a:pt x="5828" y="2363"/>
                    <a:pt x="5828" y="2080"/>
                  </a:cubicBezTo>
                  <a:cubicBezTo>
                    <a:pt x="5828" y="946"/>
                    <a:pt x="4883" y="0"/>
                    <a:pt x="3749"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961" name="Google Shape;10961;p113"/>
            <p:cNvSpPr/>
            <p:nvPr/>
          </p:nvSpPr>
          <p:spPr>
            <a:xfrm>
              <a:off x="-9342550" y="2305750"/>
              <a:ext cx="62250" cy="62250"/>
            </a:xfrm>
            <a:custGeom>
              <a:avLst/>
              <a:gdLst/>
              <a:ahLst/>
              <a:cxnLst/>
              <a:rect l="l" t="t" r="r" b="b"/>
              <a:pathLst>
                <a:path w="2490" h="2490" extrusionOk="0">
                  <a:moveTo>
                    <a:pt x="1229" y="820"/>
                  </a:moveTo>
                  <a:cubicBezTo>
                    <a:pt x="1450" y="820"/>
                    <a:pt x="1670" y="1041"/>
                    <a:pt x="1670" y="1230"/>
                  </a:cubicBezTo>
                  <a:cubicBezTo>
                    <a:pt x="1607" y="1450"/>
                    <a:pt x="1418" y="1639"/>
                    <a:pt x="1229" y="1639"/>
                  </a:cubicBezTo>
                  <a:cubicBezTo>
                    <a:pt x="977" y="1639"/>
                    <a:pt x="820" y="1450"/>
                    <a:pt x="820" y="1230"/>
                  </a:cubicBezTo>
                  <a:cubicBezTo>
                    <a:pt x="820" y="978"/>
                    <a:pt x="1040" y="820"/>
                    <a:pt x="1229" y="820"/>
                  </a:cubicBezTo>
                  <a:close/>
                  <a:moveTo>
                    <a:pt x="1229" y="1"/>
                  </a:moveTo>
                  <a:cubicBezTo>
                    <a:pt x="568" y="1"/>
                    <a:pt x="1" y="568"/>
                    <a:pt x="1" y="1230"/>
                  </a:cubicBezTo>
                  <a:cubicBezTo>
                    <a:pt x="1" y="1891"/>
                    <a:pt x="568" y="2490"/>
                    <a:pt x="1229" y="2490"/>
                  </a:cubicBezTo>
                  <a:cubicBezTo>
                    <a:pt x="1891" y="2490"/>
                    <a:pt x="2490" y="1923"/>
                    <a:pt x="2490" y="1230"/>
                  </a:cubicBezTo>
                  <a:cubicBezTo>
                    <a:pt x="2458" y="568"/>
                    <a:pt x="1891" y="1"/>
                    <a:pt x="1229"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962" name="Google Shape;10962;p113"/>
            <p:cNvSpPr/>
            <p:nvPr/>
          </p:nvSpPr>
          <p:spPr>
            <a:xfrm>
              <a:off x="-9552050" y="2305750"/>
              <a:ext cx="63025" cy="62250"/>
            </a:xfrm>
            <a:custGeom>
              <a:avLst/>
              <a:gdLst/>
              <a:ahLst/>
              <a:cxnLst/>
              <a:rect l="l" t="t" r="r" b="b"/>
              <a:pathLst>
                <a:path w="2521" h="2490" extrusionOk="0">
                  <a:moveTo>
                    <a:pt x="1261" y="820"/>
                  </a:moveTo>
                  <a:cubicBezTo>
                    <a:pt x="1481" y="820"/>
                    <a:pt x="1639" y="1041"/>
                    <a:pt x="1639" y="1230"/>
                  </a:cubicBezTo>
                  <a:cubicBezTo>
                    <a:pt x="1702" y="1450"/>
                    <a:pt x="1481" y="1639"/>
                    <a:pt x="1261" y="1639"/>
                  </a:cubicBezTo>
                  <a:cubicBezTo>
                    <a:pt x="1009" y="1639"/>
                    <a:pt x="819" y="1450"/>
                    <a:pt x="819" y="1230"/>
                  </a:cubicBezTo>
                  <a:cubicBezTo>
                    <a:pt x="819" y="978"/>
                    <a:pt x="1009" y="820"/>
                    <a:pt x="1261" y="820"/>
                  </a:cubicBezTo>
                  <a:close/>
                  <a:moveTo>
                    <a:pt x="1261" y="1"/>
                  </a:moveTo>
                  <a:cubicBezTo>
                    <a:pt x="599" y="1"/>
                    <a:pt x="0" y="568"/>
                    <a:pt x="0" y="1230"/>
                  </a:cubicBezTo>
                  <a:cubicBezTo>
                    <a:pt x="0" y="1891"/>
                    <a:pt x="536" y="2490"/>
                    <a:pt x="1261" y="2490"/>
                  </a:cubicBezTo>
                  <a:cubicBezTo>
                    <a:pt x="1922" y="2490"/>
                    <a:pt x="2489" y="1923"/>
                    <a:pt x="2489" y="1230"/>
                  </a:cubicBezTo>
                  <a:cubicBezTo>
                    <a:pt x="2521" y="568"/>
                    <a:pt x="1954" y="1"/>
                    <a:pt x="1261"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sp>
        <p:nvSpPr>
          <p:cNvPr id="10963" name="Google Shape;10963;p113"/>
          <p:cNvSpPr/>
          <p:nvPr/>
        </p:nvSpPr>
        <p:spPr>
          <a:xfrm>
            <a:off x="9497336" y="4289855"/>
            <a:ext cx="456469" cy="374280"/>
          </a:xfrm>
          <a:custGeom>
            <a:avLst/>
            <a:gdLst/>
            <a:ahLst/>
            <a:cxnLst/>
            <a:rect l="l" t="t" r="r" b="b"/>
            <a:pathLst>
              <a:path w="14179" h="11626" extrusionOk="0">
                <a:moveTo>
                  <a:pt x="1009" y="4159"/>
                </a:moveTo>
                <a:lnTo>
                  <a:pt x="1009" y="4159"/>
                </a:lnTo>
                <a:cubicBezTo>
                  <a:pt x="1671" y="4317"/>
                  <a:pt x="2301" y="4695"/>
                  <a:pt x="2742" y="5230"/>
                </a:cubicBezTo>
                <a:lnTo>
                  <a:pt x="3214" y="6616"/>
                </a:lnTo>
                <a:lnTo>
                  <a:pt x="1608" y="6616"/>
                </a:lnTo>
                <a:lnTo>
                  <a:pt x="1009" y="4159"/>
                </a:lnTo>
                <a:close/>
                <a:moveTo>
                  <a:pt x="2710" y="2521"/>
                </a:moveTo>
                <a:lnTo>
                  <a:pt x="2710" y="2521"/>
                </a:lnTo>
                <a:cubicBezTo>
                  <a:pt x="3782" y="2678"/>
                  <a:pt x="4758" y="3182"/>
                  <a:pt x="5514" y="3970"/>
                </a:cubicBezTo>
                <a:lnTo>
                  <a:pt x="6491" y="6616"/>
                </a:lnTo>
                <a:lnTo>
                  <a:pt x="4097" y="6616"/>
                </a:lnTo>
                <a:cubicBezTo>
                  <a:pt x="4002" y="6396"/>
                  <a:pt x="2773" y="2678"/>
                  <a:pt x="2710" y="2521"/>
                </a:cubicBezTo>
                <a:close/>
                <a:moveTo>
                  <a:pt x="5199" y="851"/>
                </a:moveTo>
                <a:cubicBezTo>
                  <a:pt x="8224" y="1135"/>
                  <a:pt x="10618" y="3592"/>
                  <a:pt x="10807" y="6616"/>
                </a:cubicBezTo>
                <a:lnTo>
                  <a:pt x="7342" y="6616"/>
                </a:lnTo>
                <a:lnTo>
                  <a:pt x="5199" y="851"/>
                </a:lnTo>
                <a:close/>
                <a:moveTo>
                  <a:pt x="13170" y="4159"/>
                </a:moveTo>
                <a:lnTo>
                  <a:pt x="12603" y="6616"/>
                </a:lnTo>
                <a:lnTo>
                  <a:pt x="11658" y="6616"/>
                </a:lnTo>
                <a:cubicBezTo>
                  <a:pt x="11595" y="6144"/>
                  <a:pt x="11532" y="5703"/>
                  <a:pt x="11437" y="5262"/>
                </a:cubicBezTo>
                <a:cubicBezTo>
                  <a:pt x="11847" y="4695"/>
                  <a:pt x="12477" y="4317"/>
                  <a:pt x="13170" y="4159"/>
                </a:cubicBezTo>
                <a:close/>
                <a:moveTo>
                  <a:pt x="12477" y="7436"/>
                </a:moveTo>
                <a:lnTo>
                  <a:pt x="12477" y="9105"/>
                </a:lnTo>
                <a:lnTo>
                  <a:pt x="9957" y="9105"/>
                </a:lnTo>
                <a:lnTo>
                  <a:pt x="9957" y="8664"/>
                </a:lnTo>
                <a:cubicBezTo>
                  <a:pt x="9957" y="8475"/>
                  <a:pt x="9799" y="8255"/>
                  <a:pt x="9547" y="8255"/>
                </a:cubicBezTo>
                <a:cubicBezTo>
                  <a:pt x="9326" y="8255"/>
                  <a:pt x="9169" y="8475"/>
                  <a:pt x="9169" y="8664"/>
                </a:cubicBezTo>
                <a:lnTo>
                  <a:pt x="9169" y="9105"/>
                </a:lnTo>
                <a:lnTo>
                  <a:pt x="7499" y="9105"/>
                </a:lnTo>
                <a:lnTo>
                  <a:pt x="7499" y="8664"/>
                </a:lnTo>
                <a:cubicBezTo>
                  <a:pt x="7499" y="8412"/>
                  <a:pt x="7310" y="8255"/>
                  <a:pt x="7121" y="8255"/>
                </a:cubicBezTo>
                <a:cubicBezTo>
                  <a:pt x="6869" y="8255"/>
                  <a:pt x="6680" y="8475"/>
                  <a:pt x="6680" y="8664"/>
                </a:cubicBezTo>
                <a:lnTo>
                  <a:pt x="6680" y="9105"/>
                </a:lnTo>
                <a:lnTo>
                  <a:pt x="5042" y="9105"/>
                </a:lnTo>
                <a:lnTo>
                  <a:pt x="5042" y="8664"/>
                </a:lnTo>
                <a:cubicBezTo>
                  <a:pt x="5042" y="8412"/>
                  <a:pt x="4821" y="8255"/>
                  <a:pt x="4601" y="8255"/>
                </a:cubicBezTo>
                <a:cubicBezTo>
                  <a:pt x="4349" y="8255"/>
                  <a:pt x="4191" y="8475"/>
                  <a:pt x="4191" y="8664"/>
                </a:cubicBezTo>
                <a:lnTo>
                  <a:pt x="4191" y="9105"/>
                </a:lnTo>
                <a:lnTo>
                  <a:pt x="1671" y="9105"/>
                </a:lnTo>
                <a:lnTo>
                  <a:pt x="1671" y="7436"/>
                </a:lnTo>
                <a:close/>
                <a:moveTo>
                  <a:pt x="12855" y="9924"/>
                </a:moveTo>
                <a:cubicBezTo>
                  <a:pt x="13107" y="9924"/>
                  <a:pt x="13265" y="10113"/>
                  <a:pt x="13265" y="10365"/>
                </a:cubicBezTo>
                <a:lnTo>
                  <a:pt x="13265" y="10744"/>
                </a:lnTo>
                <a:lnTo>
                  <a:pt x="852" y="10744"/>
                </a:lnTo>
                <a:lnTo>
                  <a:pt x="852" y="10365"/>
                </a:lnTo>
                <a:cubicBezTo>
                  <a:pt x="852" y="10113"/>
                  <a:pt x="1041" y="9924"/>
                  <a:pt x="1261" y="9924"/>
                </a:cubicBezTo>
                <a:close/>
                <a:moveTo>
                  <a:pt x="4601" y="0"/>
                </a:moveTo>
                <a:cubicBezTo>
                  <a:pt x="4475" y="0"/>
                  <a:pt x="4317" y="63"/>
                  <a:pt x="4254" y="189"/>
                </a:cubicBezTo>
                <a:cubicBezTo>
                  <a:pt x="4160" y="315"/>
                  <a:pt x="4160" y="410"/>
                  <a:pt x="4191" y="568"/>
                </a:cubicBezTo>
                <a:lnTo>
                  <a:pt x="4916" y="2458"/>
                </a:lnTo>
                <a:cubicBezTo>
                  <a:pt x="4097" y="1954"/>
                  <a:pt x="3088" y="1670"/>
                  <a:pt x="2112" y="1670"/>
                </a:cubicBezTo>
                <a:cubicBezTo>
                  <a:pt x="1986" y="1670"/>
                  <a:pt x="1828" y="1765"/>
                  <a:pt x="1765" y="1828"/>
                </a:cubicBezTo>
                <a:cubicBezTo>
                  <a:pt x="1671" y="1954"/>
                  <a:pt x="1639" y="2080"/>
                  <a:pt x="1734" y="2206"/>
                </a:cubicBezTo>
                <a:lnTo>
                  <a:pt x="2238" y="3781"/>
                </a:lnTo>
                <a:cubicBezTo>
                  <a:pt x="1671" y="3466"/>
                  <a:pt x="1041" y="3308"/>
                  <a:pt x="411" y="3308"/>
                </a:cubicBezTo>
                <a:cubicBezTo>
                  <a:pt x="316" y="3308"/>
                  <a:pt x="190" y="3340"/>
                  <a:pt x="95" y="3466"/>
                </a:cubicBezTo>
                <a:cubicBezTo>
                  <a:pt x="32" y="3592"/>
                  <a:pt x="1" y="3686"/>
                  <a:pt x="32" y="3813"/>
                </a:cubicBezTo>
                <a:lnTo>
                  <a:pt x="852" y="7089"/>
                </a:lnTo>
                <a:lnTo>
                  <a:pt x="852" y="9168"/>
                </a:lnTo>
                <a:cubicBezTo>
                  <a:pt x="379" y="9326"/>
                  <a:pt x="32" y="9798"/>
                  <a:pt x="32" y="10365"/>
                </a:cubicBezTo>
                <a:lnTo>
                  <a:pt x="32" y="11185"/>
                </a:lnTo>
                <a:cubicBezTo>
                  <a:pt x="32" y="11405"/>
                  <a:pt x="221" y="11626"/>
                  <a:pt x="411" y="11626"/>
                </a:cubicBezTo>
                <a:lnTo>
                  <a:pt x="13706" y="11626"/>
                </a:lnTo>
                <a:cubicBezTo>
                  <a:pt x="13926" y="11626"/>
                  <a:pt x="14084" y="11405"/>
                  <a:pt x="14084" y="11185"/>
                </a:cubicBezTo>
                <a:lnTo>
                  <a:pt x="14084" y="10365"/>
                </a:lnTo>
                <a:cubicBezTo>
                  <a:pt x="14115" y="9798"/>
                  <a:pt x="13769" y="9326"/>
                  <a:pt x="13296" y="9168"/>
                </a:cubicBezTo>
                <a:lnTo>
                  <a:pt x="13296" y="7089"/>
                </a:lnTo>
                <a:lnTo>
                  <a:pt x="14115" y="3813"/>
                </a:lnTo>
                <a:cubicBezTo>
                  <a:pt x="14178" y="3686"/>
                  <a:pt x="14115" y="3592"/>
                  <a:pt x="14052" y="3466"/>
                </a:cubicBezTo>
                <a:cubicBezTo>
                  <a:pt x="13958" y="3340"/>
                  <a:pt x="13863" y="3308"/>
                  <a:pt x="13737" y="3308"/>
                </a:cubicBezTo>
                <a:cubicBezTo>
                  <a:pt x="12760" y="3308"/>
                  <a:pt x="11847" y="3686"/>
                  <a:pt x="11122" y="4348"/>
                </a:cubicBezTo>
                <a:cubicBezTo>
                  <a:pt x="10083" y="1796"/>
                  <a:pt x="7562" y="0"/>
                  <a:pt x="4601"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nvGrpSpPr>
          <p:cNvPr id="10964" name="Google Shape;10964;p113"/>
          <p:cNvGrpSpPr/>
          <p:nvPr/>
        </p:nvGrpSpPr>
        <p:grpSpPr>
          <a:xfrm>
            <a:off x="8277976" y="2043058"/>
            <a:ext cx="456437" cy="454409"/>
            <a:chOff x="-12661600" y="1640225"/>
            <a:chExt cx="354450" cy="352875"/>
          </a:xfrm>
        </p:grpSpPr>
        <p:sp>
          <p:nvSpPr>
            <p:cNvPr id="10965" name="Google Shape;10965;p113"/>
            <p:cNvSpPr/>
            <p:nvPr/>
          </p:nvSpPr>
          <p:spPr>
            <a:xfrm>
              <a:off x="-12661600" y="1764675"/>
              <a:ext cx="188275" cy="228425"/>
            </a:xfrm>
            <a:custGeom>
              <a:avLst/>
              <a:gdLst/>
              <a:ahLst/>
              <a:cxnLst/>
              <a:rect l="l" t="t" r="r" b="b"/>
              <a:pathLst>
                <a:path w="7531" h="9137" extrusionOk="0">
                  <a:moveTo>
                    <a:pt x="5451" y="819"/>
                  </a:moveTo>
                  <a:cubicBezTo>
                    <a:pt x="5672" y="819"/>
                    <a:pt x="5829" y="1008"/>
                    <a:pt x="5829" y="1229"/>
                  </a:cubicBezTo>
                  <a:cubicBezTo>
                    <a:pt x="5829" y="1481"/>
                    <a:pt x="5640" y="1670"/>
                    <a:pt x="5451" y="1670"/>
                  </a:cubicBezTo>
                  <a:lnTo>
                    <a:pt x="2112" y="1670"/>
                  </a:lnTo>
                  <a:cubicBezTo>
                    <a:pt x="1860" y="1670"/>
                    <a:pt x="1671" y="1481"/>
                    <a:pt x="1671" y="1229"/>
                  </a:cubicBezTo>
                  <a:cubicBezTo>
                    <a:pt x="1671" y="1008"/>
                    <a:pt x="1860" y="819"/>
                    <a:pt x="2112" y="819"/>
                  </a:cubicBezTo>
                  <a:close/>
                  <a:moveTo>
                    <a:pt x="5010" y="2457"/>
                  </a:moveTo>
                  <a:lnTo>
                    <a:pt x="5010" y="3308"/>
                  </a:lnTo>
                  <a:lnTo>
                    <a:pt x="2490" y="3308"/>
                  </a:lnTo>
                  <a:lnTo>
                    <a:pt x="2490" y="2457"/>
                  </a:lnTo>
                  <a:close/>
                  <a:moveTo>
                    <a:pt x="5325" y="4159"/>
                  </a:moveTo>
                  <a:lnTo>
                    <a:pt x="6428" y="4726"/>
                  </a:lnTo>
                  <a:cubicBezTo>
                    <a:pt x="6585" y="4789"/>
                    <a:pt x="6680" y="4915"/>
                    <a:pt x="6680" y="5072"/>
                  </a:cubicBezTo>
                  <a:lnTo>
                    <a:pt x="6680" y="7876"/>
                  </a:lnTo>
                  <a:cubicBezTo>
                    <a:pt x="6680" y="8097"/>
                    <a:pt x="6459" y="8286"/>
                    <a:pt x="6239" y="8286"/>
                  </a:cubicBezTo>
                  <a:lnTo>
                    <a:pt x="1229" y="8286"/>
                  </a:lnTo>
                  <a:cubicBezTo>
                    <a:pt x="1009" y="8286"/>
                    <a:pt x="788" y="8097"/>
                    <a:pt x="788" y="7876"/>
                  </a:cubicBezTo>
                  <a:lnTo>
                    <a:pt x="788" y="5072"/>
                  </a:lnTo>
                  <a:lnTo>
                    <a:pt x="851" y="5072"/>
                  </a:lnTo>
                  <a:cubicBezTo>
                    <a:pt x="851" y="4915"/>
                    <a:pt x="914" y="4757"/>
                    <a:pt x="1072" y="4726"/>
                  </a:cubicBezTo>
                  <a:lnTo>
                    <a:pt x="2175" y="4159"/>
                  </a:lnTo>
                  <a:close/>
                  <a:moveTo>
                    <a:pt x="2112" y="0"/>
                  </a:moveTo>
                  <a:cubicBezTo>
                    <a:pt x="1418" y="0"/>
                    <a:pt x="851" y="536"/>
                    <a:pt x="851" y="1260"/>
                  </a:cubicBezTo>
                  <a:cubicBezTo>
                    <a:pt x="851" y="1796"/>
                    <a:pt x="1198" y="2237"/>
                    <a:pt x="1671" y="2426"/>
                  </a:cubicBezTo>
                  <a:lnTo>
                    <a:pt x="1671" y="3497"/>
                  </a:lnTo>
                  <a:lnTo>
                    <a:pt x="694" y="3970"/>
                  </a:lnTo>
                  <a:cubicBezTo>
                    <a:pt x="253" y="4159"/>
                    <a:pt x="1" y="4600"/>
                    <a:pt x="1" y="5072"/>
                  </a:cubicBezTo>
                  <a:lnTo>
                    <a:pt x="1" y="7876"/>
                  </a:lnTo>
                  <a:cubicBezTo>
                    <a:pt x="1" y="8538"/>
                    <a:pt x="568" y="9136"/>
                    <a:pt x="1261" y="9136"/>
                  </a:cubicBezTo>
                  <a:lnTo>
                    <a:pt x="6270" y="9136"/>
                  </a:lnTo>
                  <a:cubicBezTo>
                    <a:pt x="6963" y="9136"/>
                    <a:pt x="7530" y="8538"/>
                    <a:pt x="7530" y="7876"/>
                  </a:cubicBezTo>
                  <a:lnTo>
                    <a:pt x="7530" y="5072"/>
                  </a:lnTo>
                  <a:cubicBezTo>
                    <a:pt x="7530" y="4600"/>
                    <a:pt x="7247" y="4159"/>
                    <a:pt x="6869" y="3970"/>
                  </a:cubicBezTo>
                  <a:lnTo>
                    <a:pt x="5892" y="3497"/>
                  </a:lnTo>
                  <a:lnTo>
                    <a:pt x="5892" y="2426"/>
                  </a:lnTo>
                  <a:cubicBezTo>
                    <a:pt x="6365" y="2268"/>
                    <a:pt x="6711" y="1796"/>
                    <a:pt x="6711" y="1260"/>
                  </a:cubicBezTo>
                  <a:cubicBezTo>
                    <a:pt x="6711" y="567"/>
                    <a:pt x="6144" y="0"/>
                    <a:pt x="5451"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966" name="Google Shape;10966;p113"/>
            <p:cNvSpPr/>
            <p:nvPr/>
          </p:nvSpPr>
          <p:spPr>
            <a:xfrm>
              <a:off x="-12451300" y="1640225"/>
              <a:ext cx="144150" cy="350500"/>
            </a:xfrm>
            <a:custGeom>
              <a:avLst/>
              <a:gdLst/>
              <a:ahLst/>
              <a:cxnLst/>
              <a:rect l="l" t="t" r="r" b="b"/>
              <a:pathLst>
                <a:path w="5766" h="14020" extrusionOk="0">
                  <a:moveTo>
                    <a:pt x="2836" y="788"/>
                  </a:moveTo>
                  <a:cubicBezTo>
                    <a:pt x="3970" y="788"/>
                    <a:pt x="4915" y="1733"/>
                    <a:pt x="4915" y="2867"/>
                  </a:cubicBezTo>
                  <a:lnTo>
                    <a:pt x="4915" y="4285"/>
                  </a:lnTo>
                  <a:lnTo>
                    <a:pt x="3246" y="5388"/>
                  </a:lnTo>
                  <a:lnTo>
                    <a:pt x="3246" y="4569"/>
                  </a:lnTo>
                  <a:lnTo>
                    <a:pt x="3246" y="2048"/>
                  </a:lnTo>
                  <a:cubicBezTo>
                    <a:pt x="3246" y="1828"/>
                    <a:pt x="3057" y="1607"/>
                    <a:pt x="2836" y="1607"/>
                  </a:cubicBezTo>
                  <a:cubicBezTo>
                    <a:pt x="2584" y="1607"/>
                    <a:pt x="2426" y="1828"/>
                    <a:pt x="2426" y="2048"/>
                  </a:cubicBezTo>
                  <a:lnTo>
                    <a:pt x="2426" y="3781"/>
                  </a:lnTo>
                  <a:lnTo>
                    <a:pt x="788" y="2678"/>
                  </a:lnTo>
                  <a:cubicBezTo>
                    <a:pt x="914" y="1607"/>
                    <a:pt x="1765" y="788"/>
                    <a:pt x="2836" y="788"/>
                  </a:cubicBezTo>
                  <a:close/>
                  <a:moveTo>
                    <a:pt x="788" y="3655"/>
                  </a:moveTo>
                  <a:lnTo>
                    <a:pt x="2426" y="4758"/>
                  </a:lnTo>
                  <a:lnTo>
                    <a:pt x="2426" y="7089"/>
                  </a:lnTo>
                  <a:lnTo>
                    <a:pt x="788" y="5986"/>
                  </a:lnTo>
                  <a:lnTo>
                    <a:pt x="788" y="3655"/>
                  </a:lnTo>
                  <a:close/>
                  <a:moveTo>
                    <a:pt x="4915" y="5325"/>
                  </a:moveTo>
                  <a:lnTo>
                    <a:pt x="4915" y="7656"/>
                  </a:lnTo>
                  <a:lnTo>
                    <a:pt x="3277" y="8759"/>
                  </a:lnTo>
                  <a:lnTo>
                    <a:pt x="3277" y="6427"/>
                  </a:lnTo>
                  <a:lnTo>
                    <a:pt x="4915" y="5325"/>
                  </a:lnTo>
                  <a:close/>
                  <a:moveTo>
                    <a:pt x="788" y="7026"/>
                  </a:moveTo>
                  <a:lnTo>
                    <a:pt x="2426" y="8129"/>
                  </a:lnTo>
                  <a:lnTo>
                    <a:pt x="2426" y="11027"/>
                  </a:lnTo>
                  <a:lnTo>
                    <a:pt x="1355" y="9956"/>
                  </a:lnTo>
                  <a:cubicBezTo>
                    <a:pt x="977" y="9578"/>
                    <a:pt x="788" y="9074"/>
                    <a:pt x="788" y="8507"/>
                  </a:cubicBezTo>
                  <a:lnTo>
                    <a:pt x="788" y="7026"/>
                  </a:lnTo>
                  <a:close/>
                  <a:moveTo>
                    <a:pt x="4884" y="8664"/>
                  </a:moveTo>
                  <a:cubicBezTo>
                    <a:pt x="4884" y="9137"/>
                    <a:pt x="4632" y="9609"/>
                    <a:pt x="4285" y="9956"/>
                  </a:cubicBezTo>
                  <a:lnTo>
                    <a:pt x="3214" y="11027"/>
                  </a:lnTo>
                  <a:lnTo>
                    <a:pt x="3214" y="9767"/>
                  </a:lnTo>
                  <a:lnTo>
                    <a:pt x="4884" y="8664"/>
                  </a:lnTo>
                  <a:close/>
                  <a:moveTo>
                    <a:pt x="2868" y="0"/>
                  </a:moveTo>
                  <a:cubicBezTo>
                    <a:pt x="1292" y="0"/>
                    <a:pt x="1" y="1292"/>
                    <a:pt x="1" y="2930"/>
                  </a:cubicBezTo>
                  <a:lnTo>
                    <a:pt x="1" y="2962"/>
                  </a:lnTo>
                  <a:lnTo>
                    <a:pt x="1" y="8475"/>
                  </a:lnTo>
                  <a:cubicBezTo>
                    <a:pt x="1" y="9263"/>
                    <a:pt x="316" y="9956"/>
                    <a:pt x="851" y="10523"/>
                  </a:cubicBezTo>
                  <a:lnTo>
                    <a:pt x="2489" y="12130"/>
                  </a:lnTo>
                  <a:lnTo>
                    <a:pt x="2489" y="13642"/>
                  </a:lnTo>
                  <a:cubicBezTo>
                    <a:pt x="2489" y="13862"/>
                    <a:pt x="2679" y="14020"/>
                    <a:pt x="2868" y="14020"/>
                  </a:cubicBezTo>
                  <a:cubicBezTo>
                    <a:pt x="3057" y="14020"/>
                    <a:pt x="3309" y="13831"/>
                    <a:pt x="3309" y="13642"/>
                  </a:cubicBezTo>
                  <a:lnTo>
                    <a:pt x="3309" y="12130"/>
                  </a:lnTo>
                  <a:lnTo>
                    <a:pt x="4915" y="10523"/>
                  </a:lnTo>
                  <a:cubicBezTo>
                    <a:pt x="5451" y="9956"/>
                    <a:pt x="5766" y="9263"/>
                    <a:pt x="5766" y="8475"/>
                  </a:cubicBezTo>
                  <a:cubicBezTo>
                    <a:pt x="5734" y="8223"/>
                    <a:pt x="5734" y="3119"/>
                    <a:pt x="5734" y="2930"/>
                  </a:cubicBezTo>
                  <a:cubicBezTo>
                    <a:pt x="5734" y="1292"/>
                    <a:pt x="4443" y="0"/>
                    <a:pt x="2868"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967" name="Google Shape;10967;p113"/>
            <p:cNvSpPr/>
            <p:nvPr/>
          </p:nvSpPr>
          <p:spPr>
            <a:xfrm>
              <a:off x="-12619850" y="1887525"/>
              <a:ext cx="104000" cy="63050"/>
            </a:xfrm>
            <a:custGeom>
              <a:avLst/>
              <a:gdLst/>
              <a:ahLst/>
              <a:cxnLst/>
              <a:rect l="l" t="t" r="r" b="b"/>
              <a:pathLst>
                <a:path w="4160" h="2522" extrusionOk="0">
                  <a:moveTo>
                    <a:pt x="3340" y="851"/>
                  </a:moveTo>
                  <a:lnTo>
                    <a:pt x="3340" y="1702"/>
                  </a:lnTo>
                  <a:lnTo>
                    <a:pt x="820" y="1702"/>
                  </a:lnTo>
                  <a:lnTo>
                    <a:pt x="820" y="851"/>
                  </a:lnTo>
                  <a:close/>
                  <a:moveTo>
                    <a:pt x="442" y="1"/>
                  </a:moveTo>
                  <a:cubicBezTo>
                    <a:pt x="190" y="1"/>
                    <a:pt x="1" y="190"/>
                    <a:pt x="1" y="442"/>
                  </a:cubicBezTo>
                  <a:lnTo>
                    <a:pt x="1" y="2080"/>
                  </a:lnTo>
                  <a:cubicBezTo>
                    <a:pt x="1" y="2332"/>
                    <a:pt x="190" y="2521"/>
                    <a:pt x="442" y="2521"/>
                  </a:cubicBezTo>
                  <a:lnTo>
                    <a:pt x="3781" y="2521"/>
                  </a:lnTo>
                  <a:cubicBezTo>
                    <a:pt x="4002" y="2521"/>
                    <a:pt x="4159" y="2332"/>
                    <a:pt x="4159" y="2080"/>
                  </a:cubicBezTo>
                  <a:lnTo>
                    <a:pt x="4159" y="442"/>
                  </a:lnTo>
                  <a:cubicBezTo>
                    <a:pt x="4159" y="190"/>
                    <a:pt x="3970" y="1"/>
                    <a:pt x="3781"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10968" name="Google Shape;10968;p113"/>
          <p:cNvGrpSpPr/>
          <p:nvPr/>
        </p:nvGrpSpPr>
        <p:grpSpPr>
          <a:xfrm>
            <a:off x="8278477" y="2614442"/>
            <a:ext cx="455439" cy="399165"/>
            <a:chOff x="-12660025" y="2096250"/>
            <a:chExt cx="353675" cy="309975"/>
          </a:xfrm>
        </p:grpSpPr>
        <p:sp>
          <p:nvSpPr>
            <p:cNvPr id="10969" name="Google Shape;10969;p113"/>
            <p:cNvSpPr/>
            <p:nvPr/>
          </p:nvSpPr>
          <p:spPr>
            <a:xfrm>
              <a:off x="-12619850" y="2136425"/>
              <a:ext cx="63025" cy="62250"/>
            </a:xfrm>
            <a:custGeom>
              <a:avLst/>
              <a:gdLst/>
              <a:ahLst/>
              <a:cxnLst/>
              <a:rect l="l" t="t" r="r" b="b"/>
              <a:pathLst>
                <a:path w="2521" h="2490" extrusionOk="0">
                  <a:moveTo>
                    <a:pt x="1261" y="819"/>
                  </a:moveTo>
                  <a:cubicBezTo>
                    <a:pt x="1481" y="819"/>
                    <a:pt x="1702" y="1040"/>
                    <a:pt x="1702" y="1261"/>
                  </a:cubicBezTo>
                  <a:cubicBezTo>
                    <a:pt x="1702" y="1513"/>
                    <a:pt x="1481" y="1702"/>
                    <a:pt x="1261" y="1702"/>
                  </a:cubicBezTo>
                  <a:cubicBezTo>
                    <a:pt x="1040" y="1702"/>
                    <a:pt x="851" y="1513"/>
                    <a:pt x="851" y="1261"/>
                  </a:cubicBezTo>
                  <a:cubicBezTo>
                    <a:pt x="820" y="1040"/>
                    <a:pt x="1009" y="819"/>
                    <a:pt x="1261" y="819"/>
                  </a:cubicBezTo>
                  <a:close/>
                  <a:moveTo>
                    <a:pt x="1261" y="0"/>
                  </a:moveTo>
                  <a:cubicBezTo>
                    <a:pt x="568" y="0"/>
                    <a:pt x="1" y="567"/>
                    <a:pt x="1" y="1229"/>
                  </a:cubicBezTo>
                  <a:cubicBezTo>
                    <a:pt x="1" y="1922"/>
                    <a:pt x="568" y="2489"/>
                    <a:pt x="1261" y="2489"/>
                  </a:cubicBezTo>
                  <a:cubicBezTo>
                    <a:pt x="1922" y="2489"/>
                    <a:pt x="2521" y="1922"/>
                    <a:pt x="2521" y="1229"/>
                  </a:cubicBezTo>
                  <a:cubicBezTo>
                    <a:pt x="2521" y="567"/>
                    <a:pt x="1954" y="0"/>
                    <a:pt x="1261"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970" name="Google Shape;10970;p113"/>
            <p:cNvSpPr/>
            <p:nvPr/>
          </p:nvSpPr>
          <p:spPr>
            <a:xfrm>
              <a:off x="-12496200" y="2136425"/>
              <a:ext cx="63050" cy="62250"/>
            </a:xfrm>
            <a:custGeom>
              <a:avLst/>
              <a:gdLst/>
              <a:ahLst/>
              <a:cxnLst/>
              <a:rect l="l" t="t" r="r" b="b"/>
              <a:pathLst>
                <a:path w="2522" h="2490" extrusionOk="0">
                  <a:moveTo>
                    <a:pt x="1261" y="819"/>
                  </a:moveTo>
                  <a:cubicBezTo>
                    <a:pt x="1513" y="819"/>
                    <a:pt x="1702" y="1040"/>
                    <a:pt x="1702" y="1261"/>
                  </a:cubicBezTo>
                  <a:cubicBezTo>
                    <a:pt x="1702" y="1513"/>
                    <a:pt x="1513" y="1702"/>
                    <a:pt x="1261" y="1702"/>
                  </a:cubicBezTo>
                  <a:cubicBezTo>
                    <a:pt x="1040" y="1702"/>
                    <a:pt x="883" y="1513"/>
                    <a:pt x="883" y="1261"/>
                  </a:cubicBezTo>
                  <a:cubicBezTo>
                    <a:pt x="851" y="1040"/>
                    <a:pt x="1040" y="819"/>
                    <a:pt x="1261" y="819"/>
                  </a:cubicBezTo>
                  <a:close/>
                  <a:moveTo>
                    <a:pt x="1261" y="0"/>
                  </a:moveTo>
                  <a:cubicBezTo>
                    <a:pt x="568" y="0"/>
                    <a:pt x="64" y="567"/>
                    <a:pt x="64" y="1229"/>
                  </a:cubicBezTo>
                  <a:cubicBezTo>
                    <a:pt x="1" y="1922"/>
                    <a:pt x="568" y="2489"/>
                    <a:pt x="1261" y="2489"/>
                  </a:cubicBezTo>
                  <a:cubicBezTo>
                    <a:pt x="1954" y="2489"/>
                    <a:pt x="2521" y="1922"/>
                    <a:pt x="2521" y="1229"/>
                  </a:cubicBezTo>
                  <a:cubicBezTo>
                    <a:pt x="2521" y="567"/>
                    <a:pt x="1986" y="0"/>
                    <a:pt x="1261"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971" name="Google Shape;10971;p113"/>
            <p:cNvSpPr/>
            <p:nvPr/>
          </p:nvSpPr>
          <p:spPr>
            <a:xfrm>
              <a:off x="-12453650" y="2261650"/>
              <a:ext cx="19700" cy="19725"/>
            </a:xfrm>
            <a:custGeom>
              <a:avLst/>
              <a:gdLst/>
              <a:ahLst/>
              <a:cxnLst/>
              <a:rect l="l" t="t" r="r" b="b"/>
              <a:pathLst>
                <a:path w="788" h="789" extrusionOk="0">
                  <a:moveTo>
                    <a:pt x="410" y="1"/>
                  </a:moveTo>
                  <a:cubicBezTo>
                    <a:pt x="189" y="1"/>
                    <a:pt x="0" y="158"/>
                    <a:pt x="0" y="379"/>
                  </a:cubicBezTo>
                  <a:cubicBezTo>
                    <a:pt x="0" y="599"/>
                    <a:pt x="189" y="788"/>
                    <a:pt x="410" y="788"/>
                  </a:cubicBezTo>
                  <a:cubicBezTo>
                    <a:pt x="630" y="788"/>
                    <a:pt x="788" y="599"/>
                    <a:pt x="788" y="379"/>
                  </a:cubicBezTo>
                  <a:cubicBezTo>
                    <a:pt x="788" y="158"/>
                    <a:pt x="630" y="1"/>
                    <a:pt x="410"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972" name="Google Shape;10972;p113"/>
            <p:cNvSpPr/>
            <p:nvPr/>
          </p:nvSpPr>
          <p:spPr>
            <a:xfrm>
              <a:off x="-12494625" y="2261650"/>
              <a:ext cx="19725" cy="19725"/>
            </a:xfrm>
            <a:custGeom>
              <a:avLst/>
              <a:gdLst/>
              <a:ahLst/>
              <a:cxnLst/>
              <a:rect l="l" t="t" r="r" b="b"/>
              <a:pathLst>
                <a:path w="789" h="789" extrusionOk="0">
                  <a:moveTo>
                    <a:pt x="379" y="1"/>
                  </a:moveTo>
                  <a:cubicBezTo>
                    <a:pt x="158" y="1"/>
                    <a:pt x="1" y="158"/>
                    <a:pt x="1" y="379"/>
                  </a:cubicBezTo>
                  <a:cubicBezTo>
                    <a:pt x="1" y="599"/>
                    <a:pt x="158" y="788"/>
                    <a:pt x="379" y="788"/>
                  </a:cubicBezTo>
                  <a:cubicBezTo>
                    <a:pt x="599" y="788"/>
                    <a:pt x="788" y="599"/>
                    <a:pt x="788" y="379"/>
                  </a:cubicBezTo>
                  <a:cubicBezTo>
                    <a:pt x="788" y="158"/>
                    <a:pt x="599" y="1"/>
                    <a:pt x="379"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973" name="Google Shape;10973;p113"/>
            <p:cNvSpPr/>
            <p:nvPr/>
          </p:nvSpPr>
          <p:spPr>
            <a:xfrm>
              <a:off x="-12619850" y="2301825"/>
              <a:ext cx="103200" cy="60675"/>
            </a:xfrm>
            <a:custGeom>
              <a:avLst/>
              <a:gdLst/>
              <a:ahLst/>
              <a:cxnLst/>
              <a:rect l="l" t="t" r="r" b="b"/>
              <a:pathLst>
                <a:path w="4128" h="2427" extrusionOk="0">
                  <a:moveTo>
                    <a:pt x="3309" y="819"/>
                  </a:moveTo>
                  <a:lnTo>
                    <a:pt x="3309" y="1670"/>
                  </a:lnTo>
                  <a:lnTo>
                    <a:pt x="820" y="1670"/>
                  </a:lnTo>
                  <a:lnTo>
                    <a:pt x="820" y="819"/>
                  </a:lnTo>
                  <a:close/>
                  <a:moveTo>
                    <a:pt x="442" y="0"/>
                  </a:moveTo>
                  <a:cubicBezTo>
                    <a:pt x="190" y="0"/>
                    <a:pt x="1" y="189"/>
                    <a:pt x="1" y="410"/>
                  </a:cubicBezTo>
                  <a:lnTo>
                    <a:pt x="1" y="2048"/>
                  </a:lnTo>
                  <a:cubicBezTo>
                    <a:pt x="1" y="2269"/>
                    <a:pt x="190" y="2426"/>
                    <a:pt x="442" y="2426"/>
                  </a:cubicBezTo>
                  <a:lnTo>
                    <a:pt x="3750" y="2426"/>
                  </a:lnTo>
                  <a:cubicBezTo>
                    <a:pt x="3970" y="2426"/>
                    <a:pt x="4128" y="2237"/>
                    <a:pt x="4128" y="2048"/>
                  </a:cubicBezTo>
                  <a:lnTo>
                    <a:pt x="4128" y="410"/>
                  </a:lnTo>
                  <a:cubicBezTo>
                    <a:pt x="4128" y="189"/>
                    <a:pt x="3970" y="0"/>
                    <a:pt x="3750"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974" name="Google Shape;10974;p113"/>
            <p:cNvSpPr/>
            <p:nvPr/>
          </p:nvSpPr>
          <p:spPr>
            <a:xfrm>
              <a:off x="-12660025" y="2096250"/>
              <a:ext cx="353675" cy="309975"/>
            </a:xfrm>
            <a:custGeom>
              <a:avLst/>
              <a:gdLst/>
              <a:ahLst/>
              <a:cxnLst/>
              <a:rect l="l" t="t" r="r" b="b"/>
              <a:pathLst>
                <a:path w="14147" h="12399" extrusionOk="0">
                  <a:moveTo>
                    <a:pt x="5357" y="4317"/>
                  </a:moveTo>
                  <a:cubicBezTo>
                    <a:pt x="5451" y="4569"/>
                    <a:pt x="5609" y="4758"/>
                    <a:pt x="5766" y="4915"/>
                  </a:cubicBezTo>
                  <a:lnTo>
                    <a:pt x="4884" y="4915"/>
                  </a:lnTo>
                  <a:cubicBezTo>
                    <a:pt x="5042" y="4758"/>
                    <a:pt x="5199" y="4569"/>
                    <a:pt x="5357" y="4317"/>
                  </a:cubicBezTo>
                  <a:close/>
                  <a:moveTo>
                    <a:pt x="2868" y="788"/>
                  </a:moveTo>
                  <a:cubicBezTo>
                    <a:pt x="4002" y="788"/>
                    <a:pt x="4947" y="1733"/>
                    <a:pt x="4947" y="2868"/>
                  </a:cubicBezTo>
                  <a:cubicBezTo>
                    <a:pt x="4947" y="4002"/>
                    <a:pt x="4002" y="4947"/>
                    <a:pt x="2868" y="4947"/>
                  </a:cubicBezTo>
                  <a:cubicBezTo>
                    <a:pt x="1734" y="4915"/>
                    <a:pt x="788" y="4002"/>
                    <a:pt x="788" y="2868"/>
                  </a:cubicBezTo>
                  <a:cubicBezTo>
                    <a:pt x="788" y="1733"/>
                    <a:pt x="1734" y="788"/>
                    <a:pt x="2868" y="788"/>
                  </a:cubicBezTo>
                  <a:close/>
                  <a:moveTo>
                    <a:pt x="7814" y="788"/>
                  </a:moveTo>
                  <a:cubicBezTo>
                    <a:pt x="8980" y="788"/>
                    <a:pt x="9925" y="1733"/>
                    <a:pt x="9925" y="2868"/>
                  </a:cubicBezTo>
                  <a:cubicBezTo>
                    <a:pt x="9925" y="4002"/>
                    <a:pt x="8980" y="4947"/>
                    <a:pt x="7814" y="4947"/>
                  </a:cubicBezTo>
                  <a:cubicBezTo>
                    <a:pt x="6680" y="4947"/>
                    <a:pt x="5735" y="4002"/>
                    <a:pt x="5735" y="2868"/>
                  </a:cubicBezTo>
                  <a:cubicBezTo>
                    <a:pt x="5735" y="1733"/>
                    <a:pt x="6680" y="788"/>
                    <a:pt x="7814" y="788"/>
                  </a:cubicBezTo>
                  <a:close/>
                  <a:moveTo>
                    <a:pt x="13264" y="5987"/>
                  </a:moveTo>
                  <a:lnTo>
                    <a:pt x="13264" y="11311"/>
                  </a:lnTo>
                  <a:lnTo>
                    <a:pt x="10744" y="10051"/>
                  </a:lnTo>
                  <a:lnTo>
                    <a:pt x="10744" y="7247"/>
                  </a:lnTo>
                  <a:lnTo>
                    <a:pt x="13264" y="5987"/>
                  </a:lnTo>
                  <a:close/>
                  <a:moveTo>
                    <a:pt x="9484" y="5734"/>
                  </a:moveTo>
                  <a:cubicBezTo>
                    <a:pt x="9704" y="5734"/>
                    <a:pt x="9862" y="5955"/>
                    <a:pt x="9862" y="6176"/>
                  </a:cubicBezTo>
                  <a:lnTo>
                    <a:pt x="9862" y="11153"/>
                  </a:lnTo>
                  <a:cubicBezTo>
                    <a:pt x="9862" y="11374"/>
                    <a:pt x="9673" y="11563"/>
                    <a:pt x="9484" y="11563"/>
                  </a:cubicBezTo>
                  <a:lnTo>
                    <a:pt x="1198" y="11563"/>
                  </a:lnTo>
                  <a:cubicBezTo>
                    <a:pt x="977" y="11563"/>
                    <a:pt x="788" y="11374"/>
                    <a:pt x="788" y="11153"/>
                  </a:cubicBezTo>
                  <a:lnTo>
                    <a:pt x="788" y="6176"/>
                  </a:lnTo>
                  <a:cubicBezTo>
                    <a:pt x="788" y="5955"/>
                    <a:pt x="977" y="5734"/>
                    <a:pt x="1198" y="5734"/>
                  </a:cubicBezTo>
                  <a:close/>
                  <a:moveTo>
                    <a:pt x="2868" y="1"/>
                  </a:moveTo>
                  <a:cubicBezTo>
                    <a:pt x="1261" y="1"/>
                    <a:pt x="1" y="1292"/>
                    <a:pt x="1" y="2868"/>
                  </a:cubicBezTo>
                  <a:cubicBezTo>
                    <a:pt x="1" y="3687"/>
                    <a:pt x="347" y="4443"/>
                    <a:pt x="883" y="5010"/>
                  </a:cubicBezTo>
                  <a:cubicBezTo>
                    <a:pt x="379" y="5167"/>
                    <a:pt x="1" y="5640"/>
                    <a:pt x="1" y="6176"/>
                  </a:cubicBezTo>
                  <a:lnTo>
                    <a:pt x="1" y="11153"/>
                  </a:lnTo>
                  <a:cubicBezTo>
                    <a:pt x="1" y="11815"/>
                    <a:pt x="536" y="12382"/>
                    <a:pt x="1261" y="12382"/>
                  </a:cubicBezTo>
                  <a:lnTo>
                    <a:pt x="9515" y="12382"/>
                  </a:lnTo>
                  <a:cubicBezTo>
                    <a:pt x="10208" y="12382"/>
                    <a:pt x="10775" y="11846"/>
                    <a:pt x="10775" y="11153"/>
                  </a:cubicBezTo>
                  <a:lnTo>
                    <a:pt x="10775" y="10996"/>
                  </a:lnTo>
                  <a:lnTo>
                    <a:pt x="13548" y="12350"/>
                  </a:lnTo>
                  <a:cubicBezTo>
                    <a:pt x="13594" y="12385"/>
                    <a:pt x="13645" y="12399"/>
                    <a:pt x="13695" y="12399"/>
                  </a:cubicBezTo>
                  <a:cubicBezTo>
                    <a:pt x="13781" y="12399"/>
                    <a:pt x="13866" y="12359"/>
                    <a:pt x="13926" y="12319"/>
                  </a:cubicBezTo>
                  <a:cubicBezTo>
                    <a:pt x="14052" y="12256"/>
                    <a:pt x="14146" y="12130"/>
                    <a:pt x="14146" y="11972"/>
                  </a:cubicBezTo>
                  <a:lnTo>
                    <a:pt x="14146" y="5356"/>
                  </a:lnTo>
                  <a:cubicBezTo>
                    <a:pt x="14083" y="5199"/>
                    <a:pt x="14020" y="5073"/>
                    <a:pt x="13894" y="5010"/>
                  </a:cubicBezTo>
                  <a:cubicBezTo>
                    <a:pt x="13815" y="4950"/>
                    <a:pt x="13722" y="4928"/>
                    <a:pt x="13633" y="4928"/>
                  </a:cubicBezTo>
                  <a:cubicBezTo>
                    <a:pt x="13581" y="4928"/>
                    <a:pt x="13531" y="4935"/>
                    <a:pt x="13485" y="4947"/>
                  </a:cubicBezTo>
                  <a:lnTo>
                    <a:pt x="10744" y="6333"/>
                  </a:lnTo>
                  <a:lnTo>
                    <a:pt x="10744" y="6176"/>
                  </a:lnTo>
                  <a:cubicBezTo>
                    <a:pt x="10744" y="5577"/>
                    <a:pt x="10334" y="5104"/>
                    <a:pt x="9830" y="5010"/>
                  </a:cubicBezTo>
                  <a:cubicBezTo>
                    <a:pt x="10397" y="4474"/>
                    <a:pt x="10744" y="3750"/>
                    <a:pt x="10744" y="2868"/>
                  </a:cubicBezTo>
                  <a:cubicBezTo>
                    <a:pt x="10744" y="1261"/>
                    <a:pt x="9452" y="1"/>
                    <a:pt x="7814" y="1"/>
                  </a:cubicBezTo>
                  <a:cubicBezTo>
                    <a:pt x="6774" y="1"/>
                    <a:pt x="5861" y="536"/>
                    <a:pt x="5357" y="1418"/>
                  </a:cubicBezTo>
                  <a:cubicBezTo>
                    <a:pt x="4821" y="599"/>
                    <a:pt x="3939" y="1"/>
                    <a:pt x="2868"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10975" name="Google Shape;10975;p113"/>
          <p:cNvGrpSpPr/>
          <p:nvPr/>
        </p:nvGrpSpPr>
        <p:grpSpPr>
          <a:xfrm>
            <a:off x="8276447" y="3130837"/>
            <a:ext cx="459496" cy="455921"/>
            <a:chOff x="-12663175" y="2506800"/>
            <a:chExt cx="356825" cy="354050"/>
          </a:xfrm>
        </p:grpSpPr>
        <p:sp>
          <p:nvSpPr>
            <p:cNvPr id="10976" name="Google Shape;10976;p113"/>
            <p:cNvSpPr/>
            <p:nvPr/>
          </p:nvSpPr>
          <p:spPr>
            <a:xfrm>
              <a:off x="-12663175" y="2506800"/>
              <a:ext cx="356825" cy="354050"/>
            </a:xfrm>
            <a:custGeom>
              <a:avLst/>
              <a:gdLst/>
              <a:ahLst/>
              <a:cxnLst/>
              <a:rect l="l" t="t" r="r" b="b"/>
              <a:pathLst>
                <a:path w="14273" h="14162" extrusionOk="0">
                  <a:moveTo>
                    <a:pt x="9074" y="969"/>
                  </a:moveTo>
                  <a:lnTo>
                    <a:pt x="9169" y="1095"/>
                  </a:lnTo>
                  <a:cubicBezTo>
                    <a:pt x="8980" y="1536"/>
                    <a:pt x="9011" y="2135"/>
                    <a:pt x="9421" y="2513"/>
                  </a:cubicBezTo>
                  <a:cubicBezTo>
                    <a:pt x="9658" y="2770"/>
                    <a:pt x="9969" y="2890"/>
                    <a:pt x="10284" y="2890"/>
                  </a:cubicBezTo>
                  <a:cubicBezTo>
                    <a:pt x="10472" y="2890"/>
                    <a:pt x="10662" y="2847"/>
                    <a:pt x="10838" y="2765"/>
                  </a:cubicBezTo>
                  <a:lnTo>
                    <a:pt x="11500" y="3427"/>
                  </a:lnTo>
                  <a:cubicBezTo>
                    <a:pt x="11280" y="3899"/>
                    <a:pt x="11343" y="4435"/>
                    <a:pt x="11752" y="4844"/>
                  </a:cubicBezTo>
                  <a:cubicBezTo>
                    <a:pt x="11988" y="5080"/>
                    <a:pt x="12297" y="5206"/>
                    <a:pt x="12603" y="5206"/>
                  </a:cubicBezTo>
                  <a:cubicBezTo>
                    <a:pt x="12788" y="5206"/>
                    <a:pt x="12972" y="5160"/>
                    <a:pt x="13138" y="5065"/>
                  </a:cubicBezTo>
                  <a:lnTo>
                    <a:pt x="13264" y="5191"/>
                  </a:lnTo>
                  <a:cubicBezTo>
                    <a:pt x="13107" y="5537"/>
                    <a:pt x="13107" y="5947"/>
                    <a:pt x="13264" y="6262"/>
                  </a:cubicBezTo>
                  <a:lnTo>
                    <a:pt x="12445" y="7081"/>
                  </a:lnTo>
                  <a:lnTo>
                    <a:pt x="12162" y="6798"/>
                  </a:lnTo>
                  <a:cubicBezTo>
                    <a:pt x="12083" y="6719"/>
                    <a:pt x="11981" y="6680"/>
                    <a:pt x="11874" y="6680"/>
                  </a:cubicBezTo>
                  <a:cubicBezTo>
                    <a:pt x="11768" y="6680"/>
                    <a:pt x="11658" y="6719"/>
                    <a:pt x="11563" y="6798"/>
                  </a:cubicBezTo>
                  <a:cubicBezTo>
                    <a:pt x="11406" y="6955"/>
                    <a:pt x="11406" y="7239"/>
                    <a:pt x="11563" y="7396"/>
                  </a:cubicBezTo>
                  <a:lnTo>
                    <a:pt x="11847" y="7680"/>
                  </a:lnTo>
                  <a:lnTo>
                    <a:pt x="6333" y="13193"/>
                  </a:lnTo>
                  <a:cubicBezTo>
                    <a:pt x="6160" y="13114"/>
                    <a:pt x="5971" y="13075"/>
                    <a:pt x="5786" y="13075"/>
                  </a:cubicBezTo>
                  <a:cubicBezTo>
                    <a:pt x="5601" y="13075"/>
                    <a:pt x="5420" y="13114"/>
                    <a:pt x="5262" y="13193"/>
                  </a:cubicBezTo>
                  <a:lnTo>
                    <a:pt x="5168" y="13067"/>
                  </a:lnTo>
                  <a:cubicBezTo>
                    <a:pt x="5357" y="12626"/>
                    <a:pt x="5325" y="12059"/>
                    <a:pt x="4916" y="11649"/>
                  </a:cubicBezTo>
                  <a:cubicBezTo>
                    <a:pt x="4680" y="11414"/>
                    <a:pt x="4371" y="11288"/>
                    <a:pt x="4057" y="11288"/>
                  </a:cubicBezTo>
                  <a:cubicBezTo>
                    <a:pt x="3867" y="11288"/>
                    <a:pt x="3676" y="11334"/>
                    <a:pt x="3498" y="11429"/>
                  </a:cubicBezTo>
                  <a:lnTo>
                    <a:pt x="2836" y="10736"/>
                  </a:lnTo>
                  <a:cubicBezTo>
                    <a:pt x="3088" y="10263"/>
                    <a:pt x="2994" y="9728"/>
                    <a:pt x="2616" y="9318"/>
                  </a:cubicBezTo>
                  <a:cubicBezTo>
                    <a:pt x="2360" y="9082"/>
                    <a:pt x="2056" y="8957"/>
                    <a:pt x="1748" y="8957"/>
                  </a:cubicBezTo>
                  <a:cubicBezTo>
                    <a:pt x="1563" y="8957"/>
                    <a:pt x="1376" y="9003"/>
                    <a:pt x="1198" y="9098"/>
                  </a:cubicBezTo>
                  <a:lnTo>
                    <a:pt x="1072" y="8971"/>
                  </a:lnTo>
                  <a:cubicBezTo>
                    <a:pt x="1229" y="8625"/>
                    <a:pt x="1229" y="8215"/>
                    <a:pt x="1072" y="7900"/>
                  </a:cubicBezTo>
                  <a:lnTo>
                    <a:pt x="6585" y="2387"/>
                  </a:lnTo>
                  <a:lnTo>
                    <a:pt x="6869" y="2671"/>
                  </a:lnTo>
                  <a:cubicBezTo>
                    <a:pt x="6948" y="2749"/>
                    <a:pt x="7050" y="2789"/>
                    <a:pt x="7152" y="2789"/>
                  </a:cubicBezTo>
                  <a:cubicBezTo>
                    <a:pt x="7255" y="2789"/>
                    <a:pt x="7357" y="2749"/>
                    <a:pt x="7436" y="2671"/>
                  </a:cubicBezTo>
                  <a:cubicBezTo>
                    <a:pt x="7593" y="2513"/>
                    <a:pt x="7593" y="2229"/>
                    <a:pt x="7436" y="2072"/>
                  </a:cubicBezTo>
                  <a:lnTo>
                    <a:pt x="7184" y="1820"/>
                  </a:lnTo>
                  <a:lnTo>
                    <a:pt x="8003" y="969"/>
                  </a:lnTo>
                  <a:cubicBezTo>
                    <a:pt x="8176" y="1048"/>
                    <a:pt x="8365" y="1087"/>
                    <a:pt x="8550" y="1087"/>
                  </a:cubicBezTo>
                  <a:cubicBezTo>
                    <a:pt x="8735" y="1087"/>
                    <a:pt x="8917" y="1048"/>
                    <a:pt x="9074" y="969"/>
                  </a:cubicBezTo>
                  <a:close/>
                  <a:moveTo>
                    <a:pt x="7893" y="0"/>
                  </a:moveTo>
                  <a:cubicBezTo>
                    <a:pt x="7782" y="0"/>
                    <a:pt x="7672" y="40"/>
                    <a:pt x="7593" y="119"/>
                  </a:cubicBezTo>
                  <a:lnTo>
                    <a:pt x="158" y="7554"/>
                  </a:lnTo>
                  <a:cubicBezTo>
                    <a:pt x="1" y="7711"/>
                    <a:pt x="1" y="7995"/>
                    <a:pt x="158" y="8152"/>
                  </a:cubicBezTo>
                  <a:cubicBezTo>
                    <a:pt x="316" y="8310"/>
                    <a:pt x="316" y="8593"/>
                    <a:pt x="158" y="8751"/>
                  </a:cubicBezTo>
                  <a:cubicBezTo>
                    <a:pt x="1" y="8908"/>
                    <a:pt x="1" y="9161"/>
                    <a:pt x="158" y="9318"/>
                  </a:cubicBezTo>
                  <a:lnTo>
                    <a:pt x="757" y="9917"/>
                  </a:lnTo>
                  <a:cubicBezTo>
                    <a:pt x="836" y="9995"/>
                    <a:pt x="938" y="10035"/>
                    <a:pt x="1040" y="10035"/>
                  </a:cubicBezTo>
                  <a:cubicBezTo>
                    <a:pt x="1143" y="10035"/>
                    <a:pt x="1245" y="9995"/>
                    <a:pt x="1324" y="9917"/>
                  </a:cubicBezTo>
                  <a:cubicBezTo>
                    <a:pt x="1418" y="9838"/>
                    <a:pt x="1529" y="9798"/>
                    <a:pt x="1635" y="9798"/>
                  </a:cubicBezTo>
                  <a:cubicBezTo>
                    <a:pt x="1741" y="9798"/>
                    <a:pt x="1844" y="9838"/>
                    <a:pt x="1923" y="9917"/>
                  </a:cubicBezTo>
                  <a:cubicBezTo>
                    <a:pt x="2080" y="10074"/>
                    <a:pt x="2080" y="10358"/>
                    <a:pt x="1923" y="10515"/>
                  </a:cubicBezTo>
                  <a:cubicBezTo>
                    <a:pt x="1765" y="10673"/>
                    <a:pt x="1765" y="10956"/>
                    <a:pt x="1923" y="11114"/>
                  </a:cubicBezTo>
                  <a:lnTo>
                    <a:pt x="3120" y="12279"/>
                  </a:lnTo>
                  <a:cubicBezTo>
                    <a:pt x="3199" y="12358"/>
                    <a:pt x="3301" y="12398"/>
                    <a:pt x="3403" y="12398"/>
                  </a:cubicBezTo>
                  <a:cubicBezTo>
                    <a:pt x="3506" y="12398"/>
                    <a:pt x="3608" y="12358"/>
                    <a:pt x="3687" y="12279"/>
                  </a:cubicBezTo>
                  <a:cubicBezTo>
                    <a:pt x="3781" y="12201"/>
                    <a:pt x="3892" y="12161"/>
                    <a:pt x="3998" y="12161"/>
                  </a:cubicBezTo>
                  <a:cubicBezTo>
                    <a:pt x="4104" y="12161"/>
                    <a:pt x="4207" y="12201"/>
                    <a:pt x="4285" y="12279"/>
                  </a:cubicBezTo>
                  <a:cubicBezTo>
                    <a:pt x="4443" y="12437"/>
                    <a:pt x="4443" y="12721"/>
                    <a:pt x="4285" y="12878"/>
                  </a:cubicBezTo>
                  <a:cubicBezTo>
                    <a:pt x="4128" y="13036"/>
                    <a:pt x="4128" y="13319"/>
                    <a:pt x="4285" y="13477"/>
                  </a:cubicBezTo>
                  <a:lnTo>
                    <a:pt x="4884" y="14044"/>
                  </a:lnTo>
                  <a:cubicBezTo>
                    <a:pt x="4963" y="14123"/>
                    <a:pt x="5073" y="14162"/>
                    <a:pt x="5183" y="14162"/>
                  </a:cubicBezTo>
                  <a:cubicBezTo>
                    <a:pt x="5294" y="14162"/>
                    <a:pt x="5404" y="14123"/>
                    <a:pt x="5483" y="14044"/>
                  </a:cubicBezTo>
                  <a:cubicBezTo>
                    <a:pt x="5561" y="13965"/>
                    <a:pt x="5664" y="13926"/>
                    <a:pt x="5766" y="13926"/>
                  </a:cubicBezTo>
                  <a:cubicBezTo>
                    <a:pt x="5869" y="13926"/>
                    <a:pt x="5971" y="13965"/>
                    <a:pt x="6050" y="14044"/>
                  </a:cubicBezTo>
                  <a:cubicBezTo>
                    <a:pt x="6144" y="14123"/>
                    <a:pt x="6254" y="14162"/>
                    <a:pt x="6361" y="14162"/>
                  </a:cubicBezTo>
                  <a:cubicBezTo>
                    <a:pt x="6467" y="14162"/>
                    <a:pt x="6570" y="14123"/>
                    <a:pt x="6648" y="14044"/>
                  </a:cubicBezTo>
                  <a:lnTo>
                    <a:pt x="14115" y="6609"/>
                  </a:lnTo>
                  <a:cubicBezTo>
                    <a:pt x="14272" y="6451"/>
                    <a:pt x="14272" y="6168"/>
                    <a:pt x="14115" y="6010"/>
                  </a:cubicBezTo>
                  <a:cubicBezTo>
                    <a:pt x="13926" y="5853"/>
                    <a:pt x="13926" y="5600"/>
                    <a:pt x="14115" y="5443"/>
                  </a:cubicBezTo>
                  <a:cubicBezTo>
                    <a:pt x="14241" y="5285"/>
                    <a:pt x="14241" y="5002"/>
                    <a:pt x="14115" y="4844"/>
                  </a:cubicBezTo>
                  <a:lnTo>
                    <a:pt x="13516" y="4246"/>
                  </a:lnTo>
                  <a:cubicBezTo>
                    <a:pt x="13438" y="4167"/>
                    <a:pt x="13327" y="4128"/>
                    <a:pt x="13217" y="4128"/>
                  </a:cubicBezTo>
                  <a:cubicBezTo>
                    <a:pt x="13107" y="4128"/>
                    <a:pt x="12997" y="4167"/>
                    <a:pt x="12918" y="4246"/>
                  </a:cubicBezTo>
                  <a:cubicBezTo>
                    <a:pt x="12839" y="4325"/>
                    <a:pt x="12729" y="4364"/>
                    <a:pt x="12618" y="4364"/>
                  </a:cubicBezTo>
                  <a:cubicBezTo>
                    <a:pt x="12508" y="4364"/>
                    <a:pt x="12398" y="4325"/>
                    <a:pt x="12319" y="4246"/>
                  </a:cubicBezTo>
                  <a:cubicBezTo>
                    <a:pt x="12162" y="4088"/>
                    <a:pt x="12162" y="3805"/>
                    <a:pt x="12319" y="3647"/>
                  </a:cubicBezTo>
                  <a:cubicBezTo>
                    <a:pt x="12477" y="3490"/>
                    <a:pt x="12477" y="3238"/>
                    <a:pt x="12319" y="3080"/>
                  </a:cubicBezTo>
                  <a:lnTo>
                    <a:pt x="11154" y="1883"/>
                  </a:lnTo>
                  <a:cubicBezTo>
                    <a:pt x="11075" y="1804"/>
                    <a:pt x="10964" y="1765"/>
                    <a:pt x="10854" y="1765"/>
                  </a:cubicBezTo>
                  <a:cubicBezTo>
                    <a:pt x="10744" y="1765"/>
                    <a:pt x="10634" y="1804"/>
                    <a:pt x="10555" y="1883"/>
                  </a:cubicBezTo>
                  <a:cubicBezTo>
                    <a:pt x="10476" y="1962"/>
                    <a:pt x="10366" y="2001"/>
                    <a:pt x="10256" y="2001"/>
                  </a:cubicBezTo>
                  <a:cubicBezTo>
                    <a:pt x="10145" y="2001"/>
                    <a:pt x="10035" y="1962"/>
                    <a:pt x="9956" y="1883"/>
                  </a:cubicBezTo>
                  <a:cubicBezTo>
                    <a:pt x="9799" y="1725"/>
                    <a:pt x="9799" y="1442"/>
                    <a:pt x="9956" y="1284"/>
                  </a:cubicBezTo>
                  <a:cubicBezTo>
                    <a:pt x="10114" y="1127"/>
                    <a:pt x="10114" y="875"/>
                    <a:pt x="9956" y="717"/>
                  </a:cubicBezTo>
                  <a:lnTo>
                    <a:pt x="9389" y="119"/>
                  </a:lnTo>
                  <a:cubicBezTo>
                    <a:pt x="9295" y="40"/>
                    <a:pt x="9184" y="0"/>
                    <a:pt x="9078" y="0"/>
                  </a:cubicBezTo>
                  <a:cubicBezTo>
                    <a:pt x="8972" y="0"/>
                    <a:pt x="8869" y="40"/>
                    <a:pt x="8791" y="119"/>
                  </a:cubicBezTo>
                  <a:cubicBezTo>
                    <a:pt x="8712" y="197"/>
                    <a:pt x="8602" y="237"/>
                    <a:pt x="8491" y="237"/>
                  </a:cubicBezTo>
                  <a:cubicBezTo>
                    <a:pt x="8381" y="237"/>
                    <a:pt x="8271" y="197"/>
                    <a:pt x="8192" y="119"/>
                  </a:cubicBezTo>
                  <a:cubicBezTo>
                    <a:pt x="8113" y="40"/>
                    <a:pt x="8003" y="0"/>
                    <a:pt x="7893"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977" name="Google Shape;10977;p113"/>
            <p:cNvSpPr/>
            <p:nvPr/>
          </p:nvSpPr>
          <p:spPr>
            <a:xfrm>
              <a:off x="-12466275" y="2586350"/>
              <a:ext cx="37850" cy="35850"/>
            </a:xfrm>
            <a:custGeom>
              <a:avLst/>
              <a:gdLst/>
              <a:ahLst/>
              <a:cxnLst/>
              <a:rect l="l" t="t" r="r" b="b"/>
              <a:pathLst>
                <a:path w="1514" h="1434" extrusionOk="0">
                  <a:moveTo>
                    <a:pt x="458" y="0"/>
                  </a:moveTo>
                  <a:cubicBezTo>
                    <a:pt x="348" y="0"/>
                    <a:pt x="237" y="40"/>
                    <a:pt x="159" y="119"/>
                  </a:cubicBezTo>
                  <a:cubicBezTo>
                    <a:pt x="1" y="276"/>
                    <a:pt x="1" y="560"/>
                    <a:pt x="159" y="717"/>
                  </a:cubicBezTo>
                  <a:lnTo>
                    <a:pt x="757" y="1316"/>
                  </a:lnTo>
                  <a:cubicBezTo>
                    <a:pt x="836" y="1395"/>
                    <a:pt x="938" y="1434"/>
                    <a:pt x="1041" y="1434"/>
                  </a:cubicBezTo>
                  <a:cubicBezTo>
                    <a:pt x="1143" y="1434"/>
                    <a:pt x="1245" y="1395"/>
                    <a:pt x="1324" y="1316"/>
                  </a:cubicBezTo>
                  <a:cubicBezTo>
                    <a:pt x="1513" y="1158"/>
                    <a:pt x="1513" y="875"/>
                    <a:pt x="1324" y="717"/>
                  </a:cubicBezTo>
                  <a:lnTo>
                    <a:pt x="757" y="119"/>
                  </a:lnTo>
                  <a:cubicBezTo>
                    <a:pt x="678" y="40"/>
                    <a:pt x="568" y="0"/>
                    <a:pt x="458"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978" name="Google Shape;10978;p113"/>
            <p:cNvSpPr/>
            <p:nvPr/>
          </p:nvSpPr>
          <p:spPr>
            <a:xfrm>
              <a:off x="-12422950" y="2630450"/>
              <a:ext cx="37825" cy="35875"/>
            </a:xfrm>
            <a:custGeom>
              <a:avLst/>
              <a:gdLst/>
              <a:ahLst/>
              <a:cxnLst/>
              <a:rect l="l" t="t" r="r" b="b"/>
              <a:pathLst>
                <a:path w="1513" h="1435" extrusionOk="0">
                  <a:moveTo>
                    <a:pt x="458" y="1"/>
                  </a:moveTo>
                  <a:cubicBezTo>
                    <a:pt x="347" y="1"/>
                    <a:pt x="237" y="40"/>
                    <a:pt x="158" y="119"/>
                  </a:cubicBezTo>
                  <a:cubicBezTo>
                    <a:pt x="1" y="276"/>
                    <a:pt x="1" y="560"/>
                    <a:pt x="158" y="717"/>
                  </a:cubicBezTo>
                  <a:lnTo>
                    <a:pt x="757" y="1316"/>
                  </a:lnTo>
                  <a:cubicBezTo>
                    <a:pt x="836" y="1395"/>
                    <a:pt x="938" y="1434"/>
                    <a:pt x="1044" y="1434"/>
                  </a:cubicBezTo>
                  <a:cubicBezTo>
                    <a:pt x="1151" y="1434"/>
                    <a:pt x="1261" y="1395"/>
                    <a:pt x="1355" y="1316"/>
                  </a:cubicBezTo>
                  <a:cubicBezTo>
                    <a:pt x="1513" y="1159"/>
                    <a:pt x="1513" y="875"/>
                    <a:pt x="1355" y="717"/>
                  </a:cubicBezTo>
                  <a:lnTo>
                    <a:pt x="757" y="119"/>
                  </a:lnTo>
                  <a:cubicBezTo>
                    <a:pt x="678" y="40"/>
                    <a:pt x="568" y="1"/>
                    <a:pt x="458"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979" name="Google Shape;10979;p113"/>
            <p:cNvSpPr/>
            <p:nvPr/>
          </p:nvSpPr>
          <p:spPr>
            <a:xfrm>
              <a:off x="-12591500" y="2644250"/>
              <a:ext cx="192200" cy="142975"/>
            </a:xfrm>
            <a:custGeom>
              <a:avLst/>
              <a:gdLst/>
              <a:ahLst/>
              <a:cxnLst/>
              <a:rect l="l" t="t" r="r" b="b"/>
              <a:pathLst>
                <a:path w="7688" h="5719" extrusionOk="0">
                  <a:moveTo>
                    <a:pt x="1371" y="1780"/>
                  </a:moveTo>
                  <a:cubicBezTo>
                    <a:pt x="1481" y="1780"/>
                    <a:pt x="1592" y="1819"/>
                    <a:pt x="1670" y="1898"/>
                  </a:cubicBezTo>
                  <a:cubicBezTo>
                    <a:pt x="1828" y="2056"/>
                    <a:pt x="1828" y="2339"/>
                    <a:pt x="1670" y="2497"/>
                  </a:cubicBezTo>
                  <a:cubicBezTo>
                    <a:pt x="1592" y="2576"/>
                    <a:pt x="1481" y="2615"/>
                    <a:pt x="1371" y="2615"/>
                  </a:cubicBezTo>
                  <a:cubicBezTo>
                    <a:pt x="1261" y="2615"/>
                    <a:pt x="1151" y="2576"/>
                    <a:pt x="1072" y="2497"/>
                  </a:cubicBezTo>
                  <a:cubicBezTo>
                    <a:pt x="914" y="2339"/>
                    <a:pt x="914" y="2056"/>
                    <a:pt x="1072" y="1898"/>
                  </a:cubicBezTo>
                  <a:cubicBezTo>
                    <a:pt x="1151" y="1819"/>
                    <a:pt x="1261" y="1780"/>
                    <a:pt x="1371" y="1780"/>
                  </a:cubicBezTo>
                  <a:close/>
                  <a:moveTo>
                    <a:pt x="4317" y="985"/>
                  </a:moveTo>
                  <a:lnTo>
                    <a:pt x="6522" y="2308"/>
                  </a:lnTo>
                  <a:lnTo>
                    <a:pt x="5955" y="2843"/>
                  </a:lnTo>
                  <a:lnTo>
                    <a:pt x="3750" y="1552"/>
                  </a:lnTo>
                  <a:lnTo>
                    <a:pt x="4317" y="985"/>
                  </a:lnTo>
                  <a:close/>
                  <a:moveTo>
                    <a:pt x="3687" y="4111"/>
                  </a:moveTo>
                  <a:cubicBezTo>
                    <a:pt x="3789" y="4111"/>
                    <a:pt x="3892" y="4151"/>
                    <a:pt x="3970" y="4230"/>
                  </a:cubicBezTo>
                  <a:cubicBezTo>
                    <a:pt x="4159" y="4387"/>
                    <a:pt x="4159" y="4671"/>
                    <a:pt x="3970" y="4828"/>
                  </a:cubicBezTo>
                  <a:cubicBezTo>
                    <a:pt x="3892" y="4907"/>
                    <a:pt x="3789" y="4946"/>
                    <a:pt x="3687" y="4946"/>
                  </a:cubicBezTo>
                  <a:cubicBezTo>
                    <a:pt x="3584" y="4946"/>
                    <a:pt x="3482" y="4907"/>
                    <a:pt x="3403" y="4828"/>
                  </a:cubicBezTo>
                  <a:cubicBezTo>
                    <a:pt x="3246" y="4671"/>
                    <a:pt x="3246" y="4387"/>
                    <a:pt x="3403" y="4230"/>
                  </a:cubicBezTo>
                  <a:cubicBezTo>
                    <a:pt x="3482" y="4151"/>
                    <a:pt x="3584" y="4111"/>
                    <a:pt x="3687" y="4111"/>
                  </a:cubicBezTo>
                  <a:close/>
                  <a:moveTo>
                    <a:pt x="4302" y="0"/>
                  </a:moveTo>
                  <a:cubicBezTo>
                    <a:pt x="4187" y="0"/>
                    <a:pt x="4067" y="37"/>
                    <a:pt x="3970" y="134"/>
                  </a:cubicBezTo>
                  <a:lnTo>
                    <a:pt x="2490" y="1615"/>
                  </a:lnTo>
                  <a:lnTo>
                    <a:pt x="2269" y="1268"/>
                  </a:lnTo>
                  <a:cubicBezTo>
                    <a:pt x="2033" y="1032"/>
                    <a:pt x="1718" y="914"/>
                    <a:pt x="1395" y="914"/>
                  </a:cubicBezTo>
                  <a:cubicBezTo>
                    <a:pt x="1072" y="914"/>
                    <a:pt x="741" y="1032"/>
                    <a:pt x="473" y="1268"/>
                  </a:cubicBezTo>
                  <a:cubicBezTo>
                    <a:pt x="1" y="1741"/>
                    <a:pt x="1" y="2528"/>
                    <a:pt x="473" y="3032"/>
                  </a:cubicBezTo>
                  <a:cubicBezTo>
                    <a:pt x="710" y="3269"/>
                    <a:pt x="1025" y="3387"/>
                    <a:pt x="1348" y="3387"/>
                  </a:cubicBezTo>
                  <a:cubicBezTo>
                    <a:pt x="1670" y="3387"/>
                    <a:pt x="2001" y="3269"/>
                    <a:pt x="2269" y="3032"/>
                  </a:cubicBezTo>
                  <a:lnTo>
                    <a:pt x="3214" y="2087"/>
                  </a:lnTo>
                  <a:lnTo>
                    <a:pt x="5420" y="3410"/>
                  </a:lnTo>
                  <a:lnTo>
                    <a:pt x="4852" y="3946"/>
                  </a:lnTo>
                  <a:lnTo>
                    <a:pt x="4632" y="3600"/>
                  </a:lnTo>
                  <a:cubicBezTo>
                    <a:pt x="4396" y="3363"/>
                    <a:pt x="4081" y="3245"/>
                    <a:pt x="3758" y="3245"/>
                  </a:cubicBezTo>
                  <a:cubicBezTo>
                    <a:pt x="3435" y="3245"/>
                    <a:pt x="3104" y="3363"/>
                    <a:pt x="2836" y="3600"/>
                  </a:cubicBezTo>
                  <a:cubicBezTo>
                    <a:pt x="2364" y="4072"/>
                    <a:pt x="2364" y="4860"/>
                    <a:pt x="2836" y="5364"/>
                  </a:cubicBezTo>
                  <a:cubicBezTo>
                    <a:pt x="3072" y="5600"/>
                    <a:pt x="3387" y="5718"/>
                    <a:pt x="3710" y="5718"/>
                  </a:cubicBezTo>
                  <a:cubicBezTo>
                    <a:pt x="4033" y="5718"/>
                    <a:pt x="4364" y="5600"/>
                    <a:pt x="4632" y="5364"/>
                  </a:cubicBezTo>
                  <a:lnTo>
                    <a:pt x="7530" y="2465"/>
                  </a:lnTo>
                  <a:cubicBezTo>
                    <a:pt x="7688" y="2308"/>
                    <a:pt x="7656" y="1993"/>
                    <a:pt x="7404" y="1835"/>
                  </a:cubicBezTo>
                  <a:lnTo>
                    <a:pt x="4506" y="39"/>
                  </a:lnTo>
                  <a:cubicBezTo>
                    <a:pt x="4445" y="15"/>
                    <a:pt x="4374" y="0"/>
                    <a:pt x="4302"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10980" name="Google Shape;10980;p113"/>
          <p:cNvGrpSpPr/>
          <p:nvPr/>
        </p:nvGrpSpPr>
        <p:grpSpPr>
          <a:xfrm>
            <a:off x="10696625" y="2042543"/>
            <a:ext cx="454409" cy="455439"/>
            <a:chOff x="-10896525" y="1663050"/>
            <a:chExt cx="352875" cy="353675"/>
          </a:xfrm>
        </p:grpSpPr>
        <p:sp>
          <p:nvSpPr>
            <p:cNvPr id="10981" name="Google Shape;10981;p113"/>
            <p:cNvSpPr/>
            <p:nvPr/>
          </p:nvSpPr>
          <p:spPr>
            <a:xfrm>
              <a:off x="-10896525" y="1663050"/>
              <a:ext cx="166200" cy="311925"/>
            </a:xfrm>
            <a:custGeom>
              <a:avLst/>
              <a:gdLst/>
              <a:ahLst/>
              <a:cxnLst/>
              <a:rect l="l" t="t" r="r" b="b"/>
              <a:pathLst>
                <a:path w="6648" h="12477" extrusionOk="0">
                  <a:moveTo>
                    <a:pt x="3308" y="820"/>
                  </a:moveTo>
                  <a:cubicBezTo>
                    <a:pt x="3781" y="820"/>
                    <a:pt x="4285" y="1230"/>
                    <a:pt x="4663" y="1923"/>
                  </a:cubicBezTo>
                  <a:lnTo>
                    <a:pt x="3308" y="2931"/>
                  </a:lnTo>
                  <a:lnTo>
                    <a:pt x="1922" y="1923"/>
                  </a:lnTo>
                  <a:cubicBezTo>
                    <a:pt x="2300" y="1230"/>
                    <a:pt x="2804" y="820"/>
                    <a:pt x="3308" y="820"/>
                  </a:cubicBezTo>
                  <a:close/>
                  <a:moveTo>
                    <a:pt x="1513" y="2679"/>
                  </a:moveTo>
                  <a:lnTo>
                    <a:pt x="2584" y="3466"/>
                  </a:lnTo>
                  <a:lnTo>
                    <a:pt x="977" y="4695"/>
                  </a:lnTo>
                  <a:cubicBezTo>
                    <a:pt x="1072" y="3939"/>
                    <a:pt x="1292" y="3277"/>
                    <a:pt x="1513" y="2679"/>
                  </a:cubicBezTo>
                  <a:close/>
                  <a:moveTo>
                    <a:pt x="5010" y="2679"/>
                  </a:moveTo>
                  <a:cubicBezTo>
                    <a:pt x="5262" y="3277"/>
                    <a:pt x="5451" y="3939"/>
                    <a:pt x="5577" y="4695"/>
                  </a:cubicBezTo>
                  <a:lnTo>
                    <a:pt x="3970" y="3466"/>
                  </a:lnTo>
                  <a:lnTo>
                    <a:pt x="5010" y="2679"/>
                  </a:lnTo>
                  <a:close/>
                  <a:moveTo>
                    <a:pt x="3308" y="4002"/>
                  </a:moveTo>
                  <a:lnTo>
                    <a:pt x="5734" y="5829"/>
                  </a:lnTo>
                  <a:lnTo>
                    <a:pt x="5734" y="5861"/>
                  </a:lnTo>
                  <a:cubicBezTo>
                    <a:pt x="5608" y="6302"/>
                    <a:pt x="5230" y="6617"/>
                    <a:pt x="4758" y="6617"/>
                  </a:cubicBezTo>
                  <a:lnTo>
                    <a:pt x="1891" y="6617"/>
                  </a:lnTo>
                  <a:cubicBezTo>
                    <a:pt x="1355" y="6617"/>
                    <a:pt x="977" y="6302"/>
                    <a:pt x="851" y="5829"/>
                  </a:cubicBezTo>
                  <a:lnTo>
                    <a:pt x="3308" y="4002"/>
                  </a:lnTo>
                  <a:close/>
                  <a:moveTo>
                    <a:pt x="756" y="7121"/>
                  </a:moveTo>
                  <a:lnTo>
                    <a:pt x="756" y="7121"/>
                  </a:lnTo>
                  <a:cubicBezTo>
                    <a:pt x="1072" y="7310"/>
                    <a:pt x="1450" y="7436"/>
                    <a:pt x="1796" y="7436"/>
                  </a:cubicBezTo>
                  <a:lnTo>
                    <a:pt x="4663" y="7436"/>
                  </a:lnTo>
                  <a:cubicBezTo>
                    <a:pt x="5073" y="7436"/>
                    <a:pt x="5419" y="7310"/>
                    <a:pt x="5703" y="7121"/>
                  </a:cubicBezTo>
                  <a:lnTo>
                    <a:pt x="5703" y="7121"/>
                  </a:lnTo>
                  <a:cubicBezTo>
                    <a:pt x="5734" y="8507"/>
                    <a:pt x="5545" y="9830"/>
                    <a:pt x="5136" y="10902"/>
                  </a:cubicBezTo>
                  <a:cubicBezTo>
                    <a:pt x="4978" y="11374"/>
                    <a:pt x="4537" y="11626"/>
                    <a:pt x="3970" y="11626"/>
                  </a:cubicBezTo>
                  <a:lnTo>
                    <a:pt x="2395" y="11626"/>
                  </a:lnTo>
                  <a:cubicBezTo>
                    <a:pt x="1954" y="11626"/>
                    <a:pt x="1544" y="11343"/>
                    <a:pt x="1387" y="10902"/>
                  </a:cubicBezTo>
                  <a:cubicBezTo>
                    <a:pt x="1009" y="9830"/>
                    <a:pt x="820" y="8507"/>
                    <a:pt x="756" y="7121"/>
                  </a:cubicBezTo>
                  <a:close/>
                  <a:moveTo>
                    <a:pt x="3308" y="1"/>
                  </a:moveTo>
                  <a:cubicBezTo>
                    <a:pt x="2269" y="1"/>
                    <a:pt x="1450" y="946"/>
                    <a:pt x="1009" y="1891"/>
                  </a:cubicBezTo>
                  <a:cubicBezTo>
                    <a:pt x="252" y="3372"/>
                    <a:pt x="0" y="5262"/>
                    <a:pt x="0" y="6932"/>
                  </a:cubicBezTo>
                  <a:cubicBezTo>
                    <a:pt x="0" y="8507"/>
                    <a:pt x="221" y="9988"/>
                    <a:pt x="662" y="11217"/>
                  </a:cubicBezTo>
                  <a:cubicBezTo>
                    <a:pt x="946" y="11973"/>
                    <a:pt x="1639" y="12477"/>
                    <a:pt x="2426" y="12477"/>
                  </a:cubicBezTo>
                  <a:lnTo>
                    <a:pt x="4002" y="12477"/>
                  </a:lnTo>
                  <a:cubicBezTo>
                    <a:pt x="4947" y="12477"/>
                    <a:pt x="5703" y="12004"/>
                    <a:pt x="5986" y="11217"/>
                  </a:cubicBezTo>
                  <a:cubicBezTo>
                    <a:pt x="6396" y="10051"/>
                    <a:pt x="6648" y="8507"/>
                    <a:pt x="6648" y="6932"/>
                  </a:cubicBezTo>
                  <a:cubicBezTo>
                    <a:pt x="6585" y="3183"/>
                    <a:pt x="5230" y="1"/>
                    <a:pt x="3308"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982" name="Google Shape;10982;p113"/>
            <p:cNvSpPr/>
            <p:nvPr/>
          </p:nvSpPr>
          <p:spPr>
            <a:xfrm>
              <a:off x="-10709850" y="1704025"/>
              <a:ext cx="166200" cy="312700"/>
            </a:xfrm>
            <a:custGeom>
              <a:avLst/>
              <a:gdLst/>
              <a:ahLst/>
              <a:cxnLst/>
              <a:rect l="l" t="t" r="r" b="b"/>
              <a:pathLst>
                <a:path w="6648" h="12508" extrusionOk="0">
                  <a:moveTo>
                    <a:pt x="3308" y="851"/>
                  </a:moveTo>
                  <a:cubicBezTo>
                    <a:pt x="3781" y="851"/>
                    <a:pt x="4285" y="1229"/>
                    <a:pt x="4694" y="1954"/>
                  </a:cubicBezTo>
                  <a:lnTo>
                    <a:pt x="3308" y="2962"/>
                  </a:lnTo>
                  <a:lnTo>
                    <a:pt x="1922" y="1954"/>
                  </a:lnTo>
                  <a:cubicBezTo>
                    <a:pt x="2363" y="1229"/>
                    <a:pt x="2835" y="851"/>
                    <a:pt x="3308" y="851"/>
                  </a:cubicBezTo>
                  <a:close/>
                  <a:moveTo>
                    <a:pt x="1575" y="2678"/>
                  </a:moveTo>
                  <a:lnTo>
                    <a:pt x="2646" y="3466"/>
                  </a:lnTo>
                  <a:lnTo>
                    <a:pt x="1040" y="4694"/>
                  </a:lnTo>
                  <a:cubicBezTo>
                    <a:pt x="1134" y="3938"/>
                    <a:pt x="1355" y="3277"/>
                    <a:pt x="1575" y="2678"/>
                  </a:cubicBezTo>
                  <a:close/>
                  <a:moveTo>
                    <a:pt x="5072" y="2678"/>
                  </a:moveTo>
                  <a:cubicBezTo>
                    <a:pt x="5324" y="3277"/>
                    <a:pt x="5513" y="3938"/>
                    <a:pt x="5639" y="4694"/>
                  </a:cubicBezTo>
                  <a:lnTo>
                    <a:pt x="4001" y="3466"/>
                  </a:lnTo>
                  <a:lnTo>
                    <a:pt x="5072" y="2678"/>
                  </a:lnTo>
                  <a:close/>
                  <a:moveTo>
                    <a:pt x="3308" y="4033"/>
                  </a:moveTo>
                  <a:lnTo>
                    <a:pt x="5765" y="5829"/>
                  </a:lnTo>
                  <a:lnTo>
                    <a:pt x="5765" y="5892"/>
                  </a:lnTo>
                  <a:cubicBezTo>
                    <a:pt x="5639" y="6301"/>
                    <a:pt x="5230" y="6616"/>
                    <a:pt x="4757" y="6616"/>
                  </a:cubicBezTo>
                  <a:lnTo>
                    <a:pt x="1859" y="6616"/>
                  </a:lnTo>
                  <a:cubicBezTo>
                    <a:pt x="1418" y="6616"/>
                    <a:pt x="977" y="6301"/>
                    <a:pt x="851" y="5829"/>
                  </a:cubicBezTo>
                  <a:lnTo>
                    <a:pt x="3308" y="4033"/>
                  </a:lnTo>
                  <a:close/>
                  <a:moveTo>
                    <a:pt x="819" y="7152"/>
                  </a:moveTo>
                  <a:lnTo>
                    <a:pt x="819" y="7152"/>
                  </a:lnTo>
                  <a:cubicBezTo>
                    <a:pt x="1134" y="7341"/>
                    <a:pt x="1512" y="7467"/>
                    <a:pt x="1859" y="7467"/>
                  </a:cubicBezTo>
                  <a:lnTo>
                    <a:pt x="4757" y="7467"/>
                  </a:lnTo>
                  <a:cubicBezTo>
                    <a:pt x="5167" y="7467"/>
                    <a:pt x="5513" y="7341"/>
                    <a:pt x="5797" y="7152"/>
                  </a:cubicBezTo>
                  <a:lnTo>
                    <a:pt x="5797" y="7152"/>
                  </a:lnTo>
                  <a:cubicBezTo>
                    <a:pt x="5797" y="8507"/>
                    <a:pt x="5545" y="9861"/>
                    <a:pt x="5198" y="10932"/>
                  </a:cubicBezTo>
                  <a:cubicBezTo>
                    <a:pt x="5041" y="11405"/>
                    <a:pt x="4600" y="11625"/>
                    <a:pt x="4001" y="11625"/>
                  </a:cubicBezTo>
                  <a:lnTo>
                    <a:pt x="2426" y="11625"/>
                  </a:lnTo>
                  <a:cubicBezTo>
                    <a:pt x="2016" y="11625"/>
                    <a:pt x="1607" y="11342"/>
                    <a:pt x="1449" y="10932"/>
                  </a:cubicBezTo>
                  <a:cubicBezTo>
                    <a:pt x="1071" y="9861"/>
                    <a:pt x="851" y="8507"/>
                    <a:pt x="819" y="7152"/>
                  </a:cubicBezTo>
                  <a:close/>
                  <a:moveTo>
                    <a:pt x="3308" y="0"/>
                  </a:moveTo>
                  <a:cubicBezTo>
                    <a:pt x="2174" y="0"/>
                    <a:pt x="1355" y="1103"/>
                    <a:pt x="851" y="2174"/>
                  </a:cubicBezTo>
                  <a:cubicBezTo>
                    <a:pt x="315" y="3466"/>
                    <a:pt x="0" y="5167"/>
                    <a:pt x="0" y="6931"/>
                  </a:cubicBezTo>
                  <a:cubicBezTo>
                    <a:pt x="0" y="8507"/>
                    <a:pt x="221" y="10019"/>
                    <a:pt x="662" y="11247"/>
                  </a:cubicBezTo>
                  <a:cubicBezTo>
                    <a:pt x="945" y="11972"/>
                    <a:pt x="1638" y="12508"/>
                    <a:pt x="2426" y="12508"/>
                  </a:cubicBezTo>
                  <a:lnTo>
                    <a:pt x="4001" y="12508"/>
                  </a:lnTo>
                  <a:cubicBezTo>
                    <a:pt x="4978" y="12508"/>
                    <a:pt x="5702" y="12035"/>
                    <a:pt x="5986" y="11247"/>
                  </a:cubicBezTo>
                  <a:cubicBezTo>
                    <a:pt x="6427" y="10050"/>
                    <a:pt x="6648" y="8507"/>
                    <a:pt x="6648" y="6931"/>
                  </a:cubicBezTo>
                  <a:cubicBezTo>
                    <a:pt x="6616" y="3214"/>
                    <a:pt x="5293" y="0"/>
                    <a:pt x="3308"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sp>
        <p:nvSpPr>
          <p:cNvPr id="10983" name="Google Shape;10983;p113"/>
          <p:cNvSpPr/>
          <p:nvPr/>
        </p:nvSpPr>
        <p:spPr>
          <a:xfrm>
            <a:off x="10748858" y="2586212"/>
            <a:ext cx="349941" cy="455632"/>
          </a:xfrm>
          <a:custGeom>
            <a:avLst/>
            <a:gdLst/>
            <a:ahLst/>
            <a:cxnLst/>
            <a:rect l="l" t="t" r="r" b="b"/>
            <a:pathLst>
              <a:path w="10870" h="14153" extrusionOk="0">
                <a:moveTo>
                  <a:pt x="8286" y="1702"/>
                </a:moveTo>
                <a:lnTo>
                  <a:pt x="8286" y="4222"/>
                </a:lnTo>
                <a:lnTo>
                  <a:pt x="2521" y="4222"/>
                </a:lnTo>
                <a:lnTo>
                  <a:pt x="2521" y="1702"/>
                </a:lnTo>
                <a:close/>
                <a:moveTo>
                  <a:pt x="8286" y="5041"/>
                </a:moveTo>
                <a:lnTo>
                  <a:pt x="8286" y="6680"/>
                </a:lnTo>
                <a:lnTo>
                  <a:pt x="2521" y="6680"/>
                </a:lnTo>
                <a:lnTo>
                  <a:pt x="2521" y="5041"/>
                </a:lnTo>
                <a:close/>
                <a:moveTo>
                  <a:pt x="1733" y="5262"/>
                </a:moveTo>
                <a:lnTo>
                  <a:pt x="1733" y="6680"/>
                </a:lnTo>
                <a:lnTo>
                  <a:pt x="1292" y="6680"/>
                </a:lnTo>
                <a:cubicBezTo>
                  <a:pt x="1134" y="6680"/>
                  <a:pt x="1008" y="6711"/>
                  <a:pt x="914" y="6774"/>
                </a:cubicBezTo>
                <a:lnTo>
                  <a:pt x="914" y="5703"/>
                </a:lnTo>
                <a:lnTo>
                  <a:pt x="1733" y="5262"/>
                </a:lnTo>
                <a:close/>
                <a:moveTo>
                  <a:pt x="9137" y="5262"/>
                </a:moveTo>
                <a:lnTo>
                  <a:pt x="9956" y="5703"/>
                </a:lnTo>
                <a:lnTo>
                  <a:pt x="9956" y="6774"/>
                </a:lnTo>
                <a:cubicBezTo>
                  <a:pt x="9830" y="6743"/>
                  <a:pt x="9672" y="6680"/>
                  <a:pt x="9515" y="6680"/>
                </a:cubicBezTo>
                <a:lnTo>
                  <a:pt x="9137" y="6680"/>
                </a:lnTo>
                <a:lnTo>
                  <a:pt x="9137" y="5262"/>
                </a:lnTo>
                <a:close/>
                <a:moveTo>
                  <a:pt x="9578" y="7467"/>
                </a:moveTo>
                <a:cubicBezTo>
                  <a:pt x="9798" y="7467"/>
                  <a:pt x="9987" y="7688"/>
                  <a:pt x="9987" y="7908"/>
                </a:cubicBezTo>
                <a:cubicBezTo>
                  <a:pt x="9956" y="8160"/>
                  <a:pt x="9798" y="8349"/>
                  <a:pt x="9578" y="8349"/>
                </a:cubicBezTo>
                <a:lnTo>
                  <a:pt x="1292" y="8349"/>
                </a:lnTo>
                <a:cubicBezTo>
                  <a:pt x="1071" y="8349"/>
                  <a:pt x="914" y="8160"/>
                  <a:pt x="914" y="7908"/>
                </a:cubicBezTo>
                <a:cubicBezTo>
                  <a:pt x="914" y="7688"/>
                  <a:pt x="1103" y="7467"/>
                  <a:pt x="1292" y="7467"/>
                </a:cubicBezTo>
                <a:close/>
                <a:moveTo>
                  <a:pt x="7467" y="9169"/>
                </a:moveTo>
                <a:lnTo>
                  <a:pt x="5419" y="10712"/>
                </a:lnTo>
                <a:lnTo>
                  <a:pt x="3340" y="9169"/>
                </a:lnTo>
                <a:close/>
                <a:moveTo>
                  <a:pt x="2048" y="1"/>
                </a:moveTo>
                <a:cubicBezTo>
                  <a:pt x="1796" y="1"/>
                  <a:pt x="1638" y="190"/>
                  <a:pt x="1638" y="442"/>
                </a:cubicBezTo>
                <a:lnTo>
                  <a:pt x="1638" y="4380"/>
                </a:lnTo>
                <a:lnTo>
                  <a:pt x="221" y="5073"/>
                </a:lnTo>
                <a:cubicBezTo>
                  <a:pt x="63" y="5167"/>
                  <a:pt x="0" y="5325"/>
                  <a:pt x="0" y="5419"/>
                </a:cubicBezTo>
                <a:lnTo>
                  <a:pt x="0" y="7908"/>
                </a:lnTo>
                <a:cubicBezTo>
                  <a:pt x="0" y="8570"/>
                  <a:pt x="536" y="9137"/>
                  <a:pt x="1260" y="9137"/>
                </a:cubicBezTo>
                <a:lnTo>
                  <a:pt x="1953" y="9137"/>
                </a:lnTo>
                <a:lnTo>
                  <a:pt x="4726" y="11216"/>
                </a:lnTo>
                <a:lnTo>
                  <a:pt x="1859" y="13390"/>
                </a:lnTo>
                <a:cubicBezTo>
                  <a:pt x="1638" y="13516"/>
                  <a:pt x="1607" y="13768"/>
                  <a:pt x="1764" y="13989"/>
                </a:cubicBezTo>
                <a:cubicBezTo>
                  <a:pt x="1836" y="14096"/>
                  <a:pt x="1958" y="14153"/>
                  <a:pt x="2085" y="14153"/>
                </a:cubicBezTo>
                <a:cubicBezTo>
                  <a:pt x="2182" y="14153"/>
                  <a:pt x="2281" y="14120"/>
                  <a:pt x="2363" y="14052"/>
                </a:cubicBezTo>
                <a:lnTo>
                  <a:pt x="5419" y="11783"/>
                </a:lnTo>
                <a:lnTo>
                  <a:pt x="8506" y="14052"/>
                </a:lnTo>
                <a:cubicBezTo>
                  <a:pt x="8591" y="14108"/>
                  <a:pt x="8689" y="14140"/>
                  <a:pt x="8785" y="14140"/>
                </a:cubicBezTo>
                <a:cubicBezTo>
                  <a:pt x="8903" y="14140"/>
                  <a:pt x="9018" y="14093"/>
                  <a:pt x="9105" y="13989"/>
                </a:cubicBezTo>
                <a:cubicBezTo>
                  <a:pt x="9200" y="13768"/>
                  <a:pt x="9200" y="13548"/>
                  <a:pt x="9011" y="13390"/>
                </a:cubicBezTo>
                <a:lnTo>
                  <a:pt x="6144" y="11216"/>
                </a:lnTo>
                <a:lnTo>
                  <a:pt x="8885" y="9137"/>
                </a:lnTo>
                <a:lnTo>
                  <a:pt x="9609" y="9137"/>
                </a:lnTo>
                <a:cubicBezTo>
                  <a:pt x="10271" y="9137"/>
                  <a:pt x="10869" y="8570"/>
                  <a:pt x="10869" y="7908"/>
                </a:cubicBezTo>
                <a:lnTo>
                  <a:pt x="10869" y="5419"/>
                </a:lnTo>
                <a:cubicBezTo>
                  <a:pt x="10869" y="5262"/>
                  <a:pt x="10775" y="5104"/>
                  <a:pt x="10617" y="5073"/>
                </a:cubicBezTo>
                <a:lnTo>
                  <a:pt x="9200" y="4380"/>
                </a:lnTo>
                <a:lnTo>
                  <a:pt x="9200" y="442"/>
                </a:lnTo>
                <a:lnTo>
                  <a:pt x="9137" y="442"/>
                </a:lnTo>
                <a:cubicBezTo>
                  <a:pt x="9137" y="190"/>
                  <a:pt x="8916" y="1"/>
                  <a:pt x="8695" y="1"/>
                </a:cubicBezTo>
                <a:cubicBezTo>
                  <a:pt x="8475" y="1"/>
                  <a:pt x="8254" y="190"/>
                  <a:pt x="8254" y="442"/>
                </a:cubicBezTo>
                <a:lnTo>
                  <a:pt x="8254" y="820"/>
                </a:lnTo>
                <a:lnTo>
                  <a:pt x="2489" y="820"/>
                </a:lnTo>
                <a:lnTo>
                  <a:pt x="2489" y="442"/>
                </a:lnTo>
                <a:cubicBezTo>
                  <a:pt x="2489" y="190"/>
                  <a:pt x="2268" y="1"/>
                  <a:pt x="2048"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nvGrpSpPr>
          <p:cNvPr id="10984" name="Google Shape;10984;p113"/>
          <p:cNvGrpSpPr/>
          <p:nvPr/>
        </p:nvGrpSpPr>
        <p:grpSpPr>
          <a:xfrm>
            <a:off x="10696110" y="3145790"/>
            <a:ext cx="455439" cy="426015"/>
            <a:chOff x="-10898100" y="2542050"/>
            <a:chExt cx="353675" cy="330825"/>
          </a:xfrm>
        </p:grpSpPr>
        <p:sp>
          <p:nvSpPr>
            <p:cNvPr id="10985" name="Google Shape;10985;p113"/>
            <p:cNvSpPr/>
            <p:nvPr/>
          </p:nvSpPr>
          <p:spPr>
            <a:xfrm>
              <a:off x="-10772875" y="2583800"/>
              <a:ext cx="82725" cy="82725"/>
            </a:xfrm>
            <a:custGeom>
              <a:avLst/>
              <a:gdLst/>
              <a:ahLst/>
              <a:cxnLst/>
              <a:rect l="l" t="t" r="r" b="b"/>
              <a:pathLst>
                <a:path w="3309" h="3309" extrusionOk="0">
                  <a:moveTo>
                    <a:pt x="1639" y="819"/>
                  </a:moveTo>
                  <a:cubicBezTo>
                    <a:pt x="2111" y="819"/>
                    <a:pt x="2490" y="1166"/>
                    <a:pt x="2490" y="1638"/>
                  </a:cubicBezTo>
                  <a:cubicBezTo>
                    <a:pt x="2490" y="2111"/>
                    <a:pt x="2111" y="2457"/>
                    <a:pt x="1639" y="2457"/>
                  </a:cubicBezTo>
                  <a:cubicBezTo>
                    <a:pt x="1166" y="2457"/>
                    <a:pt x="820" y="2111"/>
                    <a:pt x="820" y="1638"/>
                  </a:cubicBezTo>
                  <a:cubicBezTo>
                    <a:pt x="820" y="1166"/>
                    <a:pt x="1229" y="819"/>
                    <a:pt x="1639" y="819"/>
                  </a:cubicBezTo>
                  <a:close/>
                  <a:moveTo>
                    <a:pt x="1639" y="0"/>
                  </a:moveTo>
                  <a:cubicBezTo>
                    <a:pt x="757" y="0"/>
                    <a:pt x="1" y="725"/>
                    <a:pt x="1" y="1638"/>
                  </a:cubicBezTo>
                  <a:cubicBezTo>
                    <a:pt x="1" y="2552"/>
                    <a:pt x="757" y="3308"/>
                    <a:pt x="1639" y="3308"/>
                  </a:cubicBezTo>
                  <a:cubicBezTo>
                    <a:pt x="2553" y="3308"/>
                    <a:pt x="3309" y="2552"/>
                    <a:pt x="3309" y="1638"/>
                  </a:cubicBezTo>
                  <a:cubicBezTo>
                    <a:pt x="3309" y="725"/>
                    <a:pt x="2553" y="0"/>
                    <a:pt x="1639"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986" name="Google Shape;10986;p113"/>
            <p:cNvSpPr/>
            <p:nvPr/>
          </p:nvSpPr>
          <p:spPr>
            <a:xfrm>
              <a:off x="-10772875" y="2749200"/>
              <a:ext cx="82725" cy="81950"/>
            </a:xfrm>
            <a:custGeom>
              <a:avLst/>
              <a:gdLst/>
              <a:ahLst/>
              <a:cxnLst/>
              <a:rect l="l" t="t" r="r" b="b"/>
              <a:pathLst>
                <a:path w="3309" h="3278" extrusionOk="0">
                  <a:moveTo>
                    <a:pt x="1639" y="819"/>
                  </a:moveTo>
                  <a:cubicBezTo>
                    <a:pt x="2111" y="819"/>
                    <a:pt x="2490" y="1166"/>
                    <a:pt x="2490" y="1638"/>
                  </a:cubicBezTo>
                  <a:cubicBezTo>
                    <a:pt x="2490" y="2111"/>
                    <a:pt x="2111" y="2457"/>
                    <a:pt x="1639" y="2457"/>
                  </a:cubicBezTo>
                  <a:cubicBezTo>
                    <a:pt x="1229" y="2457"/>
                    <a:pt x="820" y="2079"/>
                    <a:pt x="820" y="1638"/>
                  </a:cubicBezTo>
                  <a:cubicBezTo>
                    <a:pt x="820" y="1166"/>
                    <a:pt x="1198" y="819"/>
                    <a:pt x="1639" y="819"/>
                  </a:cubicBezTo>
                  <a:close/>
                  <a:moveTo>
                    <a:pt x="1639" y="0"/>
                  </a:moveTo>
                  <a:cubicBezTo>
                    <a:pt x="757" y="0"/>
                    <a:pt x="1" y="725"/>
                    <a:pt x="1" y="1638"/>
                  </a:cubicBezTo>
                  <a:cubicBezTo>
                    <a:pt x="1" y="2552"/>
                    <a:pt x="757" y="3277"/>
                    <a:pt x="1639" y="3277"/>
                  </a:cubicBezTo>
                  <a:cubicBezTo>
                    <a:pt x="1658" y="3277"/>
                    <a:pt x="1677" y="3278"/>
                    <a:pt x="1696" y="3278"/>
                  </a:cubicBezTo>
                  <a:cubicBezTo>
                    <a:pt x="2613" y="3278"/>
                    <a:pt x="3309" y="2534"/>
                    <a:pt x="3309" y="1638"/>
                  </a:cubicBezTo>
                  <a:cubicBezTo>
                    <a:pt x="3309" y="725"/>
                    <a:pt x="2553" y="0"/>
                    <a:pt x="1639"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987" name="Google Shape;10987;p113"/>
            <p:cNvSpPr/>
            <p:nvPr/>
          </p:nvSpPr>
          <p:spPr>
            <a:xfrm>
              <a:off x="-10855575" y="2666500"/>
              <a:ext cx="82725" cy="81925"/>
            </a:xfrm>
            <a:custGeom>
              <a:avLst/>
              <a:gdLst/>
              <a:ahLst/>
              <a:cxnLst/>
              <a:rect l="l" t="t" r="r" b="b"/>
              <a:pathLst>
                <a:path w="3309" h="3277" extrusionOk="0">
                  <a:moveTo>
                    <a:pt x="1670" y="819"/>
                  </a:moveTo>
                  <a:cubicBezTo>
                    <a:pt x="2143" y="819"/>
                    <a:pt x="2490" y="1166"/>
                    <a:pt x="2490" y="1638"/>
                  </a:cubicBezTo>
                  <a:cubicBezTo>
                    <a:pt x="2490" y="2079"/>
                    <a:pt x="2111" y="2457"/>
                    <a:pt x="1670" y="2457"/>
                  </a:cubicBezTo>
                  <a:cubicBezTo>
                    <a:pt x="1166" y="2457"/>
                    <a:pt x="820" y="2111"/>
                    <a:pt x="820" y="1638"/>
                  </a:cubicBezTo>
                  <a:cubicBezTo>
                    <a:pt x="820" y="1166"/>
                    <a:pt x="1198" y="819"/>
                    <a:pt x="1670" y="819"/>
                  </a:cubicBezTo>
                  <a:close/>
                  <a:moveTo>
                    <a:pt x="1670" y="0"/>
                  </a:moveTo>
                  <a:cubicBezTo>
                    <a:pt x="757" y="0"/>
                    <a:pt x="1" y="725"/>
                    <a:pt x="1" y="1638"/>
                  </a:cubicBezTo>
                  <a:cubicBezTo>
                    <a:pt x="1" y="2552"/>
                    <a:pt x="757" y="3277"/>
                    <a:pt x="1670" y="3277"/>
                  </a:cubicBezTo>
                  <a:cubicBezTo>
                    <a:pt x="2553" y="3277"/>
                    <a:pt x="3309" y="2552"/>
                    <a:pt x="3309" y="1638"/>
                  </a:cubicBezTo>
                  <a:cubicBezTo>
                    <a:pt x="3309" y="725"/>
                    <a:pt x="2584" y="0"/>
                    <a:pt x="1670"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988" name="Google Shape;10988;p113"/>
            <p:cNvSpPr/>
            <p:nvPr/>
          </p:nvSpPr>
          <p:spPr>
            <a:xfrm>
              <a:off x="-10690175" y="2666500"/>
              <a:ext cx="82725" cy="82725"/>
            </a:xfrm>
            <a:custGeom>
              <a:avLst/>
              <a:gdLst/>
              <a:ahLst/>
              <a:cxnLst/>
              <a:rect l="l" t="t" r="r" b="b"/>
              <a:pathLst>
                <a:path w="3309" h="3309" extrusionOk="0">
                  <a:moveTo>
                    <a:pt x="1639" y="819"/>
                  </a:moveTo>
                  <a:cubicBezTo>
                    <a:pt x="2143" y="819"/>
                    <a:pt x="2490" y="1166"/>
                    <a:pt x="2490" y="1638"/>
                  </a:cubicBezTo>
                  <a:cubicBezTo>
                    <a:pt x="2490" y="2111"/>
                    <a:pt x="2112" y="2457"/>
                    <a:pt x="1639" y="2457"/>
                  </a:cubicBezTo>
                  <a:cubicBezTo>
                    <a:pt x="1198" y="2457"/>
                    <a:pt x="820" y="2111"/>
                    <a:pt x="820" y="1638"/>
                  </a:cubicBezTo>
                  <a:cubicBezTo>
                    <a:pt x="820" y="1166"/>
                    <a:pt x="1229" y="819"/>
                    <a:pt x="1639" y="819"/>
                  </a:cubicBezTo>
                  <a:close/>
                  <a:moveTo>
                    <a:pt x="1639" y="0"/>
                  </a:moveTo>
                  <a:cubicBezTo>
                    <a:pt x="757" y="0"/>
                    <a:pt x="1" y="725"/>
                    <a:pt x="1" y="1638"/>
                  </a:cubicBezTo>
                  <a:cubicBezTo>
                    <a:pt x="1" y="2552"/>
                    <a:pt x="757" y="3308"/>
                    <a:pt x="1639" y="3308"/>
                  </a:cubicBezTo>
                  <a:cubicBezTo>
                    <a:pt x="2553" y="3308"/>
                    <a:pt x="3309" y="2552"/>
                    <a:pt x="3309" y="1638"/>
                  </a:cubicBezTo>
                  <a:cubicBezTo>
                    <a:pt x="3309" y="725"/>
                    <a:pt x="2553" y="0"/>
                    <a:pt x="1639"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989" name="Google Shape;10989;p113"/>
            <p:cNvSpPr/>
            <p:nvPr/>
          </p:nvSpPr>
          <p:spPr>
            <a:xfrm>
              <a:off x="-10752400" y="2686975"/>
              <a:ext cx="41775" cy="40975"/>
            </a:xfrm>
            <a:custGeom>
              <a:avLst/>
              <a:gdLst/>
              <a:ahLst/>
              <a:cxnLst/>
              <a:rect l="l" t="t" r="r" b="b"/>
              <a:pathLst>
                <a:path w="1671" h="1639" extrusionOk="0">
                  <a:moveTo>
                    <a:pt x="851" y="0"/>
                  </a:moveTo>
                  <a:cubicBezTo>
                    <a:pt x="379" y="0"/>
                    <a:pt x="1" y="378"/>
                    <a:pt x="1" y="819"/>
                  </a:cubicBezTo>
                  <a:cubicBezTo>
                    <a:pt x="1" y="1260"/>
                    <a:pt x="379" y="1638"/>
                    <a:pt x="851" y="1638"/>
                  </a:cubicBezTo>
                  <a:cubicBezTo>
                    <a:pt x="1292" y="1638"/>
                    <a:pt x="1671" y="1260"/>
                    <a:pt x="1671" y="819"/>
                  </a:cubicBezTo>
                  <a:cubicBezTo>
                    <a:pt x="1671" y="378"/>
                    <a:pt x="1292" y="0"/>
                    <a:pt x="851"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990" name="Google Shape;10990;p113"/>
            <p:cNvSpPr/>
            <p:nvPr/>
          </p:nvSpPr>
          <p:spPr>
            <a:xfrm>
              <a:off x="-10898100" y="2542050"/>
              <a:ext cx="353675" cy="330825"/>
            </a:xfrm>
            <a:custGeom>
              <a:avLst/>
              <a:gdLst/>
              <a:ahLst/>
              <a:cxnLst/>
              <a:rect l="l" t="t" r="r" b="b"/>
              <a:pathLst>
                <a:path w="14147" h="13233" extrusionOk="0">
                  <a:moveTo>
                    <a:pt x="6711" y="819"/>
                  </a:moveTo>
                  <a:cubicBezTo>
                    <a:pt x="9893" y="819"/>
                    <a:pt x="12476" y="3434"/>
                    <a:pt x="12476" y="6616"/>
                  </a:cubicBezTo>
                  <a:cubicBezTo>
                    <a:pt x="12476" y="9798"/>
                    <a:pt x="9893" y="12413"/>
                    <a:pt x="6711" y="12413"/>
                  </a:cubicBezTo>
                  <a:cubicBezTo>
                    <a:pt x="3466" y="12413"/>
                    <a:pt x="883" y="9798"/>
                    <a:pt x="883" y="6616"/>
                  </a:cubicBezTo>
                  <a:cubicBezTo>
                    <a:pt x="883" y="3434"/>
                    <a:pt x="3466" y="819"/>
                    <a:pt x="6711" y="819"/>
                  </a:cubicBezTo>
                  <a:close/>
                  <a:moveTo>
                    <a:pt x="13358" y="10743"/>
                  </a:moveTo>
                  <a:lnTo>
                    <a:pt x="13358" y="12413"/>
                  </a:lnTo>
                  <a:lnTo>
                    <a:pt x="9893" y="12413"/>
                  </a:lnTo>
                  <a:cubicBezTo>
                    <a:pt x="10649" y="12004"/>
                    <a:pt x="11311" y="11468"/>
                    <a:pt x="11846" y="10743"/>
                  </a:cubicBezTo>
                  <a:close/>
                  <a:moveTo>
                    <a:pt x="6648" y="0"/>
                  </a:moveTo>
                  <a:cubicBezTo>
                    <a:pt x="2993" y="0"/>
                    <a:pt x="0" y="2962"/>
                    <a:pt x="0" y="6616"/>
                  </a:cubicBezTo>
                  <a:cubicBezTo>
                    <a:pt x="0" y="10082"/>
                    <a:pt x="2678" y="12917"/>
                    <a:pt x="6112" y="13201"/>
                  </a:cubicBezTo>
                  <a:cubicBezTo>
                    <a:pt x="6144" y="13201"/>
                    <a:pt x="6175" y="13232"/>
                    <a:pt x="6238" y="13232"/>
                  </a:cubicBezTo>
                  <a:lnTo>
                    <a:pt x="13705" y="13232"/>
                  </a:lnTo>
                  <a:cubicBezTo>
                    <a:pt x="13957" y="13232"/>
                    <a:pt x="14146" y="13043"/>
                    <a:pt x="14146" y="12791"/>
                  </a:cubicBezTo>
                  <a:lnTo>
                    <a:pt x="14146" y="10302"/>
                  </a:lnTo>
                  <a:cubicBezTo>
                    <a:pt x="14146" y="10082"/>
                    <a:pt x="13957" y="9924"/>
                    <a:pt x="13737" y="9924"/>
                  </a:cubicBezTo>
                  <a:lnTo>
                    <a:pt x="12413" y="9924"/>
                  </a:lnTo>
                  <a:cubicBezTo>
                    <a:pt x="13012" y="8948"/>
                    <a:pt x="13264" y="7814"/>
                    <a:pt x="13264" y="6616"/>
                  </a:cubicBezTo>
                  <a:cubicBezTo>
                    <a:pt x="13264" y="2962"/>
                    <a:pt x="10334" y="0"/>
                    <a:pt x="6648"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10991" name="Google Shape;10991;p113"/>
          <p:cNvGrpSpPr/>
          <p:nvPr/>
        </p:nvGrpSpPr>
        <p:grpSpPr>
          <a:xfrm>
            <a:off x="8279489" y="3706943"/>
            <a:ext cx="453411" cy="452573"/>
            <a:chOff x="-9157450" y="1622750"/>
            <a:chExt cx="352100" cy="351450"/>
          </a:xfrm>
        </p:grpSpPr>
        <p:sp>
          <p:nvSpPr>
            <p:cNvPr id="10992" name="Google Shape;10992;p113"/>
            <p:cNvSpPr/>
            <p:nvPr/>
          </p:nvSpPr>
          <p:spPr>
            <a:xfrm>
              <a:off x="-9034575" y="1706075"/>
              <a:ext cx="229225" cy="268125"/>
            </a:xfrm>
            <a:custGeom>
              <a:avLst/>
              <a:gdLst/>
              <a:ahLst/>
              <a:cxnLst/>
              <a:rect l="l" t="t" r="r" b="b"/>
              <a:pathLst>
                <a:path w="9169" h="10725" extrusionOk="0">
                  <a:moveTo>
                    <a:pt x="8317" y="989"/>
                  </a:moveTo>
                  <a:lnTo>
                    <a:pt x="8317" y="1777"/>
                  </a:lnTo>
                  <a:lnTo>
                    <a:pt x="3308" y="3195"/>
                  </a:lnTo>
                  <a:lnTo>
                    <a:pt x="3308" y="2407"/>
                  </a:lnTo>
                  <a:lnTo>
                    <a:pt x="8317" y="989"/>
                  </a:lnTo>
                  <a:close/>
                  <a:moveTo>
                    <a:pt x="7498" y="6629"/>
                  </a:moveTo>
                  <a:cubicBezTo>
                    <a:pt x="7971" y="6629"/>
                    <a:pt x="8317" y="6975"/>
                    <a:pt x="8317" y="7448"/>
                  </a:cubicBezTo>
                  <a:cubicBezTo>
                    <a:pt x="8317" y="7920"/>
                    <a:pt x="7971" y="8267"/>
                    <a:pt x="7498" y="8267"/>
                  </a:cubicBezTo>
                  <a:cubicBezTo>
                    <a:pt x="7026" y="8267"/>
                    <a:pt x="6679" y="7920"/>
                    <a:pt x="6679" y="7448"/>
                  </a:cubicBezTo>
                  <a:cubicBezTo>
                    <a:pt x="6679" y="6975"/>
                    <a:pt x="7026" y="6629"/>
                    <a:pt x="7498" y="6629"/>
                  </a:cubicBezTo>
                  <a:close/>
                  <a:moveTo>
                    <a:pt x="1670" y="8267"/>
                  </a:moveTo>
                  <a:cubicBezTo>
                    <a:pt x="2142" y="8267"/>
                    <a:pt x="2489" y="8645"/>
                    <a:pt x="2489" y="9118"/>
                  </a:cubicBezTo>
                  <a:cubicBezTo>
                    <a:pt x="2489" y="9590"/>
                    <a:pt x="2111" y="9937"/>
                    <a:pt x="1670" y="9937"/>
                  </a:cubicBezTo>
                  <a:cubicBezTo>
                    <a:pt x="1197" y="9937"/>
                    <a:pt x="851" y="9590"/>
                    <a:pt x="851" y="9118"/>
                  </a:cubicBezTo>
                  <a:cubicBezTo>
                    <a:pt x="851" y="8645"/>
                    <a:pt x="1197" y="8267"/>
                    <a:pt x="1670" y="8267"/>
                  </a:cubicBezTo>
                  <a:close/>
                  <a:moveTo>
                    <a:pt x="8733" y="0"/>
                  </a:moveTo>
                  <a:cubicBezTo>
                    <a:pt x="8700" y="0"/>
                    <a:pt x="8666" y="4"/>
                    <a:pt x="8632" y="13"/>
                  </a:cubicBezTo>
                  <a:lnTo>
                    <a:pt x="2804" y="1651"/>
                  </a:lnTo>
                  <a:cubicBezTo>
                    <a:pt x="2615" y="1714"/>
                    <a:pt x="2489" y="1872"/>
                    <a:pt x="2489" y="2061"/>
                  </a:cubicBezTo>
                  <a:lnTo>
                    <a:pt x="2489" y="7637"/>
                  </a:lnTo>
                  <a:cubicBezTo>
                    <a:pt x="2268" y="7479"/>
                    <a:pt x="1985" y="7416"/>
                    <a:pt x="1670" y="7416"/>
                  </a:cubicBezTo>
                  <a:cubicBezTo>
                    <a:pt x="756" y="7416"/>
                    <a:pt x="0" y="8172"/>
                    <a:pt x="0" y="9055"/>
                  </a:cubicBezTo>
                  <a:cubicBezTo>
                    <a:pt x="0" y="9968"/>
                    <a:pt x="756" y="10724"/>
                    <a:pt x="1670" y="10724"/>
                  </a:cubicBezTo>
                  <a:cubicBezTo>
                    <a:pt x="2584" y="10724"/>
                    <a:pt x="3340" y="9968"/>
                    <a:pt x="3340" y="9055"/>
                  </a:cubicBezTo>
                  <a:lnTo>
                    <a:pt x="3340" y="3982"/>
                  </a:lnTo>
                  <a:lnTo>
                    <a:pt x="8317" y="2565"/>
                  </a:lnTo>
                  <a:lnTo>
                    <a:pt x="8317" y="5967"/>
                  </a:lnTo>
                  <a:cubicBezTo>
                    <a:pt x="8097" y="5810"/>
                    <a:pt x="7813" y="5715"/>
                    <a:pt x="7498" y="5715"/>
                  </a:cubicBezTo>
                  <a:cubicBezTo>
                    <a:pt x="6585" y="5715"/>
                    <a:pt x="5860" y="6471"/>
                    <a:pt x="5860" y="7385"/>
                  </a:cubicBezTo>
                  <a:cubicBezTo>
                    <a:pt x="5860" y="8267"/>
                    <a:pt x="6585" y="9023"/>
                    <a:pt x="7498" y="9023"/>
                  </a:cubicBezTo>
                  <a:cubicBezTo>
                    <a:pt x="8412" y="9023"/>
                    <a:pt x="9168" y="8267"/>
                    <a:pt x="9168" y="7385"/>
                  </a:cubicBezTo>
                  <a:lnTo>
                    <a:pt x="9168" y="359"/>
                  </a:lnTo>
                  <a:cubicBezTo>
                    <a:pt x="9137" y="296"/>
                    <a:pt x="9105" y="170"/>
                    <a:pt x="8979" y="76"/>
                  </a:cubicBezTo>
                  <a:cubicBezTo>
                    <a:pt x="8910" y="30"/>
                    <a:pt x="8824" y="0"/>
                    <a:pt x="8733"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993" name="Google Shape;10993;p113"/>
            <p:cNvSpPr/>
            <p:nvPr/>
          </p:nvSpPr>
          <p:spPr>
            <a:xfrm>
              <a:off x="-9157450" y="1622750"/>
              <a:ext cx="164625" cy="249850"/>
            </a:xfrm>
            <a:custGeom>
              <a:avLst/>
              <a:gdLst/>
              <a:ahLst/>
              <a:cxnLst/>
              <a:rect l="l" t="t" r="r" b="b"/>
              <a:pathLst>
                <a:path w="6585" h="9994" extrusionOk="0">
                  <a:moveTo>
                    <a:pt x="1607" y="7473"/>
                  </a:moveTo>
                  <a:cubicBezTo>
                    <a:pt x="2080" y="7473"/>
                    <a:pt x="2458" y="7819"/>
                    <a:pt x="2458" y="8292"/>
                  </a:cubicBezTo>
                  <a:cubicBezTo>
                    <a:pt x="2458" y="8765"/>
                    <a:pt x="2048" y="9143"/>
                    <a:pt x="1607" y="9143"/>
                  </a:cubicBezTo>
                  <a:cubicBezTo>
                    <a:pt x="1135" y="9143"/>
                    <a:pt x="788" y="8765"/>
                    <a:pt x="788" y="8292"/>
                  </a:cubicBezTo>
                  <a:cubicBezTo>
                    <a:pt x="788" y="7819"/>
                    <a:pt x="1135" y="7473"/>
                    <a:pt x="1607" y="7473"/>
                  </a:cubicBezTo>
                  <a:close/>
                  <a:moveTo>
                    <a:pt x="2922" y="0"/>
                  </a:moveTo>
                  <a:cubicBezTo>
                    <a:pt x="2874" y="0"/>
                    <a:pt x="2825" y="12"/>
                    <a:pt x="2773" y="38"/>
                  </a:cubicBezTo>
                  <a:cubicBezTo>
                    <a:pt x="2615" y="69"/>
                    <a:pt x="2489" y="227"/>
                    <a:pt x="2489" y="416"/>
                  </a:cubicBezTo>
                  <a:lnTo>
                    <a:pt x="2489" y="6906"/>
                  </a:lnTo>
                  <a:cubicBezTo>
                    <a:pt x="2237" y="6748"/>
                    <a:pt x="1985" y="6685"/>
                    <a:pt x="1670" y="6685"/>
                  </a:cubicBezTo>
                  <a:cubicBezTo>
                    <a:pt x="756" y="6685"/>
                    <a:pt x="0" y="7441"/>
                    <a:pt x="0" y="8355"/>
                  </a:cubicBezTo>
                  <a:cubicBezTo>
                    <a:pt x="0" y="9237"/>
                    <a:pt x="756" y="9993"/>
                    <a:pt x="1670" y="9993"/>
                  </a:cubicBezTo>
                  <a:cubicBezTo>
                    <a:pt x="2552" y="9993"/>
                    <a:pt x="3308" y="9237"/>
                    <a:pt x="3308" y="8355"/>
                  </a:cubicBezTo>
                  <a:lnTo>
                    <a:pt x="3308" y="1739"/>
                  </a:lnTo>
                  <a:cubicBezTo>
                    <a:pt x="3812" y="2369"/>
                    <a:pt x="4443" y="2999"/>
                    <a:pt x="5293" y="3566"/>
                  </a:cubicBezTo>
                  <a:cubicBezTo>
                    <a:pt x="5608" y="3818"/>
                    <a:pt x="5797" y="4165"/>
                    <a:pt x="5797" y="4574"/>
                  </a:cubicBezTo>
                  <a:cubicBezTo>
                    <a:pt x="5797" y="5236"/>
                    <a:pt x="5230" y="5835"/>
                    <a:pt x="4569" y="5835"/>
                  </a:cubicBezTo>
                  <a:cubicBezTo>
                    <a:pt x="4348" y="5835"/>
                    <a:pt x="4190" y="6024"/>
                    <a:pt x="4190" y="6244"/>
                  </a:cubicBezTo>
                  <a:cubicBezTo>
                    <a:pt x="4190" y="6496"/>
                    <a:pt x="4380" y="6654"/>
                    <a:pt x="4569" y="6654"/>
                  </a:cubicBezTo>
                  <a:cubicBezTo>
                    <a:pt x="5640" y="6654"/>
                    <a:pt x="6585" y="5740"/>
                    <a:pt x="6585" y="4606"/>
                  </a:cubicBezTo>
                  <a:cubicBezTo>
                    <a:pt x="6585" y="3944"/>
                    <a:pt x="6270" y="3314"/>
                    <a:pt x="5766" y="2936"/>
                  </a:cubicBezTo>
                  <a:cubicBezTo>
                    <a:pt x="4852" y="2275"/>
                    <a:pt x="4190" y="1613"/>
                    <a:pt x="3718" y="888"/>
                  </a:cubicBezTo>
                  <a:lnTo>
                    <a:pt x="3245" y="195"/>
                  </a:lnTo>
                  <a:cubicBezTo>
                    <a:pt x="3154" y="81"/>
                    <a:pt x="3046" y="0"/>
                    <a:pt x="2922"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10994" name="Google Shape;10994;p113"/>
          <p:cNvGrpSpPr/>
          <p:nvPr/>
        </p:nvGrpSpPr>
        <p:grpSpPr>
          <a:xfrm>
            <a:off x="8330212" y="4251299"/>
            <a:ext cx="351969" cy="451383"/>
            <a:chOff x="-9119650" y="2056875"/>
            <a:chExt cx="273325" cy="350525"/>
          </a:xfrm>
        </p:grpSpPr>
        <p:sp>
          <p:nvSpPr>
            <p:cNvPr id="10995" name="Google Shape;10995;p113"/>
            <p:cNvSpPr/>
            <p:nvPr/>
          </p:nvSpPr>
          <p:spPr>
            <a:xfrm>
              <a:off x="-9023550" y="2056875"/>
              <a:ext cx="82725" cy="82725"/>
            </a:xfrm>
            <a:custGeom>
              <a:avLst/>
              <a:gdLst/>
              <a:ahLst/>
              <a:cxnLst/>
              <a:rect l="l" t="t" r="r" b="b"/>
              <a:pathLst>
                <a:path w="3309" h="3309" extrusionOk="0">
                  <a:moveTo>
                    <a:pt x="1670" y="819"/>
                  </a:moveTo>
                  <a:cubicBezTo>
                    <a:pt x="2143" y="819"/>
                    <a:pt x="2489" y="1166"/>
                    <a:pt x="2489" y="1639"/>
                  </a:cubicBezTo>
                  <a:cubicBezTo>
                    <a:pt x="2489" y="2080"/>
                    <a:pt x="2143" y="2489"/>
                    <a:pt x="1670" y="2489"/>
                  </a:cubicBezTo>
                  <a:cubicBezTo>
                    <a:pt x="1197" y="2489"/>
                    <a:pt x="819" y="2111"/>
                    <a:pt x="819" y="1639"/>
                  </a:cubicBezTo>
                  <a:cubicBezTo>
                    <a:pt x="819" y="1166"/>
                    <a:pt x="1197" y="819"/>
                    <a:pt x="1670" y="819"/>
                  </a:cubicBezTo>
                  <a:close/>
                  <a:moveTo>
                    <a:pt x="1670" y="0"/>
                  </a:moveTo>
                  <a:cubicBezTo>
                    <a:pt x="756" y="0"/>
                    <a:pt x="0" y="756"/>
                    <a:pt x="0" y="1639"/>
                  </a:cubicBezTo>
                  <a:cubicBezTo>
                    <a:pt x="0" y="2552"/>
                    <a:pt x="756" y="3308"/>
                    <a:pt x="1670" y="3308"/>
                  </a:cubicBezTo>
                  <a:cubicBezTo>
                    <a:pt x="2552" y="3308"/>
                    <a:pt x="3308" y="2552"/>
                    <a:pt x="3308" y="1639"/>
                  </a:cubicBezTo>
                  <a:cubicBezTo>
                    <a:pt x="3308" y="756"/>
                    <a:pt x="2552" y="0"/>
                    <a:pt x="1670"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996" name="Google Shape;10996;p113"/>
            <p:cNvSpPr/>
            <p:nvPr/>
          </p:nvSpPr>
          <p:spPr>
            <a:xfrm>
              <a:off x="-9119650" y="2137200"/>
              <a:ext cx="273325" cy="270200"/>
            </a:xfrm>
            <a:custGeom>
              <a:avLst/>
              <a:gdLst/>
              <a:ahLst/>
              <a:cxnLst/>
              <a:rect l="l" t="t" r="r" b="b"/>
              <a:pathLst>
                <a:path w="10933" h="10808" extrusionOk="0">
                  <a:moveTo>
                    <a:pt x="9641" y="915"/>
                  </a:moveTo>
                  <a:cubicBezTo>
                    <a:pt x="9862" y="915"/>
                    <a:pt x="10082" y="1104"/>
                    <a:pt x="10082" y="1356"/>
                  </a:cubicBezTo>
                  <a:cubicBezTo>
                    <a:pt x="10082" y="1576"/>
                    <a:pt x="9862" y="1734"/>
                    <a:pt x="9641" y="1734"/>
                  </a:cubicBezTo>
                  <a:lnTo>
                    <a:pt x="6333" y="1734"/>
                  </a:lnTo>
                  <a:cubicBezTo>
                    <a:pt x="6081" y="1734"/>
                    <a:pt x="5924" y="1923"/>
                    <a:pt x="5924" y="2175"/>
                  </a:cubicBezTo>
                  <a:lnTo>
                    <a:pt x="5924" y="9641"/>
                  </a:lnTo>
                  <a:cubicBezTo>
                    <a:pt x="5924" y="9893"/>
                    <a:pt x="5734" y="10051"/>
                    <a:pt x="5514" y="10051"/>
                  </a:cubicBezTo>
                  <a:cubicBezTo>
                    <a:pt x="5262" y="10051"/>
                    <a:pt x="5104" y="9862"/>
                    <a:pt x="5104" y="9641"/>
                  </a:cubicBezTo>
                  <a:lnTo>
                    <a:pt x="5104" y="5703"/>
                  </a:lnTo>
                  <a:cubicBezTo>
                    <a:pt x="5104" y="5459"/>
                    <a:pt x="4917" y="5293"/>
                    <a:pt x="4707" y="5293"/>
                  </a:cubicBezTo>
                  <a:cubicBezTo>
                    <a:pt x="4619" y="5293"/>
                    <a:pt x="4527" y="5323"/>
                    <a:pt x="4443" y="5388"/>
                  </a:cubicBezTo>
                  <a:lnTo>
                    <a:pt x="1639" y="7531"/>
                  </a:lnTo>
                  <a:cubicBezTo>
                    <a:pt x="1557" y="7585"/>
                    <a:pt x="1464" y="7616"/>
                    <a:pt x="1372" y="7616"/>
                  </a:cubicBezTo>
                  <a:cubicBezTo>
                    <a:pt x="1250" y="7616"/>
                    <a:pt x="1130" y="7562"/>
                    <a:pt x="1040" y="7436"/>
                  </a:cubicBezTo>
                  <a:cubicBezTo>
                    <a:pt x="946" y="7247"/>
                    <a:pt x="946" y="7026"/>
                    <a:pt x="1135" y="6869"/>
                  </a:cubicBezTo>
                  <a:lnTo>
                    <a:pt x="4947" y="4033"/>
                  </a:lnTo>
                  <a:cubicBezTo>
                    <a:pt x="5073" y="3939"/>
                    <a:pt x="5104" y="3844"/>
                    <a:pt x="5104" y="3718"/>
                  </a:cubicBezTo>
                  <a:lnTo>
                    <a:pt x="5104" y="2206"/>
                  </a:lnTo>
                  <a:cubicBezTo>
                    <a:pt x="5104" y="1986"/>
                    <a:pt x="4915" y="1765"/>
                    <a:pt x="4726" y="1765"/>
                  </a:cubicBezTo>
                  <a:lnTo>
                    <a:pt x="1418" y="1765"/>
                  </a:lnTo>
                  <a:cubicBezTo>
                    <a:pt x="1166" y="1765"/>
                    <a:pt x="1009" y="1576"/>
                    <a:pt x="1009" y="1387"/>
                  </a:cubicBezTo>
                  <a:cubicBezTo>
                    <a:pt x="1009" y="1135"/>
                    <a:pt x="1198" y="946"/>
                    <a:pt x="1418" y="946"/>
                  </a:cubicBezTo>
                  <a:lnTo>
                    <a:pt x="9641" y="946"/>
                  </a:lnTo>
                  <a:lnTo>
                    <a:pt x="9641" y="915"/>
                  </a:lnTo>
                  <a:close/>
                  <a:moveTo>
                    <a:pt x="1355" y="1"/>
                  </a:moveTo>
                  <a:cubicBezTo>
                    <a:pt x="694" y="95"/>
                    <a:pt x="158" y="631"/>
                    <a:pt x="158" y="1293"/>
                  </a:cubicBezTo>
                  <a:cubicBezTo>
                    <a:pt x="158" y="1986"/>
                    <a:pt x="694" y="2521"/>
                    <a:pt x="1355" y="2521"/>
                  </a:cubicBezTo>
                  <a:lnTo>
                    <a:pt x="4285" y="2521"/>
                  </a:lnTo>
                  <a:lnTo>
                    <a:pt x="4285" y="3403"/>
                  </a:lnTo>
                  <a:lnTo>
                    <a:pt x="662" y="6113"/>
                  </a:lnTo>
                  <a:cubicBezTo>
                    <a:pt x="95" y="6491"/>
                    <a:pt x="1" y="7278"/>
                    <a:pt x="410" y="7846"/>
                  </a:cubicBezTo>
                  <a:cubicBezTo>
                    <a:pt x="651" y="8160"/>
                    <a:pt x="1022" y="8333"/>
                    <a:pt x="1396" y="8333"/>
                  </a:cubicBezTo>
                  <a:cubicBezTo>
                    <a:pt x="1658" y="8333"/>
                    <a:pt x="1922" y="8248"/>
                    <a:pt x="2143" y="8066"/>
                  </a:cubicBezTo>
                  <a:lnTo>
                    <a:pt x="4317" y="6459"/>
                  </a:lnTo>
                  <a:lnTo>
                    <a:pt x="4317" y="9578"/>
                  </a:lnTo>
                  <a:cubicBezTo>
                    <a:pt x="4317" y="10240"/>
                    <a:pt x="4884" y="10807"/>
                    <a:pt x="5545" y="10807"/>
                  </a:cubicBezTo>
                  <a:cubicBezTo>
                    <a:pt x="6207" y="10807"/>
                    <a:pt x="6806" y="10240"/>
                    <a:pt x="6806" y="9578"/>
                  </a:cubicBezTo>
                  <a:lnTo>
                    <a:pt x="6806" y="2490"/>
                  </a:lnTo>
                  <a:lnTo>
                    <a:pt x="9673" y="2490"/>
                  </a:lnTo>
                  <a:cubicBezTo>
                    <a:pt x="10334" y="2490"/>
                    <a:pt x="10933" y="1923"/>
                    <a:pt x="10933" y="1261"/>
                  </a:cubicBezTo>
                  <a:cubicBezTo>
                    <a:pt x="10933" y="599"/>
                    <a:pt x="10397" y="1"/>
                    <a:pt x="9673"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sp>
        <p:nvSpPr>
          <p:cNvPr id="10997" name="Google Shape;10997;p113"/>
          <p:cNvSpPr/>
          <p:nvPr/>
        </p:nvSpPr>
        <p:spPr>
          <a:xfrm>
            <a:off x="10697123" y="4289866"/>
            <a:ext cx="453411" cy="455407"/>
          </a:xfrm>
          <a:custGeom>
            <a:avLst/>
            <a:gdLst/>
            <a:ahLst/>
            <a:cxnLst/>
            <a:rect l="l" t="t" r="r" b="b"/>
            <a:pathLst>
              <a:path w="14084" h="14146" extrusionOk="0">
                <a:moveTo>
                  <a:pt x="5829" y="5261"/>
                </a:moveTo>
                <a:lnTo>
                  <a:pt x="6963" y="6585"/>
                </a:lnTo>
                <a:lnTo>
                  <a:pt x="5829" y="6585"/>
                </a:lnTo>
                <a:lnTo>
                  <a:pt x="5829" y="5261"/>
                </a:lnTo>
                <a:close/>
                <a:moveTo>
                  <a:pt x="6333" y="788"/>
                </a:moveTo>
                <a:cubicBezTo>
                  <a:pt x="6648" y="788"/>
                  <a:pt x="6963" y="914"/>
                  <a:pt x="7215" y="1166"/>
                </a:cubicBezTo>
                <a:lnTo>
                  <a:pt x="7877" y="1827"/>
                </a:lnTo>
                <a:cubicBezTo>
                  <a:pt x="8287" y="2205"/>
                  <a:pt x="8791" y="2426"/>
                  <a:pt x="9326" y="2426"/>
                </a:cubicBezTo>
                <a:lnTo>
                  <a:pt x="10334" y="2426"/>
                </a:lnTo>
                <a:cubicBezTo>
                  <a:pt x="11469" y="2426"/>
                  <a:pt x="12414" y="3371"/>
                  <a:pt x="12414" y="4505"/>
                </a:cubicBezTo>
                <a:cubicBezTo>
                  <a:pt x="12414" y="5639"/>
                  <a:pt x="11469" y="6585"/>
                  <a:pt x="10334" y="6585"/>
                </a:cubicBezTo>
                <a:lnTo>
                  <a:pt x="8003" y="6585"/>
                </a:lnTo>
                <a:lnTo>
                  <a:pt x="5766" y="4033"/>
                </a:lnTo>
                <a:lnTo>
                  <a:pt x="5766" y="2048"/>
                </a:lnTo>
                <a:cubicBezTo>
                  <a:pt x="5766" y="1827"/>
                  <a:pt x="5546" y="1670"/>
                  <a:pt x="5357" y="1670"/>
                </a:cubicBezTo>
                <a:cubicBezTo>
                  <a:pt x="5168" y="1670"/>
                  <a:pt x="4979" y="1859"/>
                  <a:pt x="4979" y="2048"/>
                </a:cubicBezTo>
                <a:lnTo>
                  <a:pt x="4979" y="3087"/>
                </a:lnTo>
                <a:lnTo>
                  <a:pt x="2994" y="788"/>
                </a:lnTo>
                <a:close/>
                <a:moveTo>
                  <a:pt x="13233" y="7341"/>
                </a:moveTo>
                <a:lnTo>
                  <a:pt x="13233" y="9451"/>
                </a:lnTo>
                <a:lnTo>
                  <a:pt x="13264" y="9451"/>
                </a:lnTo>
                <a:cubicBezTo>
                  <a:pt x="13264" y="9704"/>
                  <a:pt x="13075" y="9893"/>
                  <a:pt x="12886" y="9893"/>
                </a:cubicBezTo>
                <a:lnTo>
                  <a:pt x="820" y="9893"/>
                </a:lnTo>
                <a:lnTo>
                  <a:pt x="820" y="9451"/>
                </a:lnTo>
                <a:cubicBezTo>
                  <a:pt x="820" y="9231"/>
                  <a:pt x="1009" y="9042"/>
                  <a:pt x="1230" y="9042"/>
                </a:cubicBezTo>
                <a:lnTo>
                  <a:pt x="2049" y="9042"/>
                </a:lnTo>
                <a:cubicBezTo>
                  <a:pt x="2269" y="9042"/>
                  <a:pt x="2427" y="8821"/>
                  <a:pt x="2427" y="8601"/>
                </a:cubicBezTo>
                <a:lnTo>
                  <a:pt x="2427" y="7782"/>
                </a:lnTo>
                <a:cubicBezTo>
                  <a:pt x="2427" y="7530"/>
                  <a:pt x="2647" y="7341"/>
                  <a:pt x="2836" y="7341"/>
                </a:cubicBezTo>
                <a:close/>
                <a:moveTo>
                  <a:pt x="2427" y="10712"/>
                </a:moveTo>
                <a:lnTo>
                  <a:pt x="2112" y="13232"/>
                </a:lnTo>
                <a:lnTo>
                  <a:pt x="2049" y="13232"/>
                </a:lnTo>
                <a:lnTo>
                  <a:pt x="1734" y="10712"/>
                </a:lnTo>
                <a:close/>
                <a:moveTo>
                  <a:pt x="9043" y="10712"/>
                </a:moveTo>
                <a:lnTo>
                  <a:pt x="8728" y="13232"/>
                </a:lnTo>
                <a:lnTo>
                  <a:pt x="8665" y="13232"/>
                </a:lnTo>
                <a:lnTo>
                  <a:pt x="8350" y="10712"/>
                </a:lnTo>
                <a:close/>
                <a:moveTo>
                  <a:pt x="12414" y="10712"/>
                </a:moveTo>
                <a:lnTo>
                  <a:pt x="12099" y="13232"/>
                </a:lnTo>
                <a:lnTo>
                  <a:pt x="12004" y="13232"/>
                </a:lnTo>
                <a:lnTo>
                  <a:pt x="11689" y="10712"/>
                </a:lnTo>
                <a:close/>
                <a:moveTo>
                  <a:pt x="2080" y="0"/>
                </a:moveTo>
                <a:cubicBezTo>
                  <a:pt x="1923" y="0"/>
                  <a:pt x="1765" y="95"/>
                  <a:pt x="1702" y="252"/>
                </a:cubicBezTo>
                <a:cubicBezTo>
                  <a:pt x="1608" y="410"/>
                  <a:pt x="1639" y="567"/>
                  <a:pt x="1765" y="662"/>
                </a:cubicBezTo>
                <a:lnTo>
                  <a:pt x="4947" y="4348"/>
                </a:lnTo>
                <a:lnTo>
                  <a:pt x="4947" y="6616"/>
                </a:lnTo>
                <a:lnTo>
                  <a:pt x="2868" y="6616"/>
                </a:lnTo>
                <a:cubicBezTo>
                  <a:pt x="2206" y="6616"/>
                  <a:pt x="1608" y="7183"/>
                  <a:pt x="1608" y="7876"/>
                </a:cubicBezTo>
                <a:lnTo>
                  <a:pt x="1608" y="8286"/>
                </a:lnTo>
                <a:lnTo>
                  <a:pt x="1230" y="8286"/>
                </a:lnTo>
                <a:cubicBezTo>
                  <a:pt x="536" y="8286"/>
                  <a:pt x="1" y="8821"/>
                  <a:pt x="1" y="9546"/>
                </a:cubicBezTo>
                <a:lnTo>
                  <a:pt x="1" y="10365"/>
                </a:lnTo>
                <a:cubicBezTo>
                  <a:pt x="1" y="10586"/>
                  <a:pt x="190" y="10806"/>
                  <a:pt x="379" y="10806"/>
                </a:cubicBezTo>
                <a:lnTo>
                  <a:pt x="851" y="10806"/>
                </a:lnTo>
                <a:lnTo>
                  <a:pt x="1230" y="13799"/>
                </a:lnTo>
                <a:cubicBezTo>
                  <a:pt x="1261" y="13988"/>
                  <a:pt x="1419" y="14146"/>
                  <a:pt x="1608" y="14146"/>
                </a:cubicBezTo>
                <a:lnTo>
                  <a:pt x="2427" y="14146"/>
                </a:lnTo>
                <a:cubicBezTo>
                  <a:pt x="2647" y="14146"/>
                  <a:pt x="2836" y="13988"/>
                  <a:pt x="2836" y="13799"/>
                </a:cubicBezTo>
                <a:lnTo>
                  <a:pt x="3183" y="10806"/>
                </a:lnTo>
                <a:lnTo>
                  <a:pt x="7436" y="10806"/>
                </a:lnTo>
                <a:lnTo>
                  <a:pt x="7783" y="13799"/>
                </a:lnTo>
                <a:cubicBezTo>
                  <a:pt x="7846" y="13988"/>
                  <a:pt x="8003" y="14146"/>
                  <a:pt x="8192" y="14146"/>
                </a:cubicBezTo>
                <a:lnTo>
                  <a:pt x="9011" y="14146"/>
                </a:lnTo>
                <a:cubicBezTo>
                  <a:pt x="9200" y="14146"/>
                  <a:pt x="9421" y="13988"/>
                  <a:pt x="9421" y="13799"/>
                </a:cubicBezTo>
                <a:lnTo>
                  <a:pt x="9767" y="10806"/>
                </a:lnTo>
                <a:lnTo>
                  <a:pt x="10713" y="10806"/>
                </a:lnTo>
                <a:lnTo>
                  <a:pt x="11059" y="13799"/>
                </a:lnTo>
                <a:cubicBezTo>
                  <a:pt x="11091" y="13988"/>
                  <a:pt x="11248" y="14146"/>
                  <a:pt x="11469" y="14146"/>
                </a:cubicBezTo>
                <a:lnTo>
                  <a:pt x="12288" y="14146"/>
                </a:lnTo>
                <a:cubicBezTo>
                  <a:pt x="12477" y="14146"/>
                  <a:pt x="12666" y="13988"/>
                  <a:pt x="12666" y="13799"/>
                </a:cubicBezTo>
                <a:lnTo>
                  <a:pt x="13075" y="10712"/>
                </a:lnTo>
                <a:cubicBezTo>
                  <a:pt x="13579" y="10554"/>
                  <a:pt x="13926" y="10082"/>
                  <a:pt x="13926" y="9546"/>
                </a:cubicBezTo>
                <a:lnTo>
                  <a:pt x="13926" y="7057"/>
                </a:lnTo>
                <a:cubicBezTo>
                  <a:pt x="14084" y="6742"/>
                  <a:pt x="13926" y="6585"/>
                  <a:pt x="13705" y="6585"/>
                </a:cubicBezTo>
                <a:lnTo>
                  <a:pt x="12414" y="6585"/>
                </a:lnTo>
                <a:cubicBezTo>
                  <a:pt x="12949" y="6080"/>
                  <a:pt x="13264" y="5324"/>
                  <a:pt x="13264" y="4505"/>
                </a:cubicBezTo>
                <a:cubicBezTo>
                  <a:pt x="13264" y="2898"/>
                  <a:pt x="11973" y="1607"/>
                  <a:pt x="10366" y="1607"/>
                </a:cubicBezTo>
                <a:lnTo>
                  <a:pt x="9389" y="1607"/>
                </a:lnTo>
                <a:cubicBezTo>
                  <a:pt x="9074" y="1607"/>
                  <a:pt x="8728" y="1512"/>
                  <a:pt x="8507" y="1260"/>
                </a:cubicBezTo>
                <a:lnTo>
                  <a:pt x="7846" y="599"/>
                </a:lnTo>
                <a:cubicBezTo>
                  <a:pt x="7436" y="189"/>
                  <a:pt x="6932" y="0"/>
                  <a:pt x="6365"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998" name="Google Shape;10998;p113"/>
          <p:cNvSpPr/>
          <p:nvPr/>
        </p:nvSpPr>
        <p:spPr>
          <a:xfrm>
            <a:off x="9524750" y="3705530"/>
            <a:ext cx="401644" cy="455407"/>
          </a:xfrm>
          <a:custGeom>
            <a:avLst/>
            <a:gdLst/>
            <a:ahLst/>
            <a:cxnLst/>
            <a:rect l="l" t="t" r="r" b="b"/>
            <a:pathLst>
              <a:path w="12476" h="14146" extrusionOk="0">
                <a:moveTo>
                  <a:pt x="2552" y="819"/>
                </a:moveTo>
                <a:cubicBezTo>
                  <a:pt x="3056" y="819"/>
                  <a:pt x="3403" y="1198"/>
                  <a:pt x="3403" y="1670"/>
                </a:cubicBezTo>
                <a:lnTo>
                  <a:pt x="1733" y="1670"/>
                </a:lnTo>
                <a:cubicBezTo>
                  <a:pt x="1733" y="1198"/>
                  <a:pt x="2079" y="819"/>
                  <a:pt x="2552" y="819"/>
                </a:cubicBezTo>
                <a:close/>
                <a:moveTo>
                  <a:pt x="10019" y="819"/>
                </a:moveTo>
                <a:cubicBezTo>
                  <a:pt x="10491" y="819"/>
                  <a:pt x="10838" y="1198"/>
                  <a:pt x="10838" y="1670"/>
                </a:cubicBezTo>
                <a:lnTo>
                  <a:pt x="9168" y="1670"/>
                </a:lnTo>
                <a:cubicBezTo>
                  <a:pt x="9168" y="1198"/>
                  <a:pt x="9578" y="819"/>
                  <a:pt x="10019" y="819"/>
                </a:cubicBezTo>
                <a:close/>
                <a:moveTo>
                  <a:pt x="8286" y="2489"/>
                </a:moveTo>
                <a:lnTo>
                  <a:pt x="7593" y="5829"/>
                </a:lnTo>
                <a:lnTo>
                  <a:pt x="4978" y="5829"/>
                </a:lnTo>
                <a:lnTo>
                  <a:pt x="4285" y="2489"/>
                </a:lnTo>
                <a:cubicBezTo>
                  <a:pt x="4978" y="2489"/>
                  <a:pt x="5545" y="2710"/>
                  <a:pt x="5986" y="3182"/>
                </a:cubicBezTo>
                <a:cubicBezTo>
                  <a:pt x="6065" y="3261"/>
                  <a:pt x="6175" y="3300"/>
                  <a:pt x="6285" y="3300"/>
                </a:cubicBezTo>
                <a:cubicBezTo>
                  <a:pt x="6396" y="3300"/>
                  <a:pt x="6506" y="3261"/>
                  <a:pt x="6585" y="3182"/>
                </a:cubicBezTo>
                <a:cubicBezTo>
                  <a:pt x="7026" y="2773"/>
                  <a:pt x="7656" y="2489"/>
                  <a:pt x="8286" y="2489"/>
                </a:cubicBezTo>
                <a:close/>
                <a:moveTo>
                  <a:pt x="7120" y="6648"/>
                </a:moveTo>
                <a:cubicBezTo>
                  <a:pt x="7341" y="6648"/>
                  <a:pt x="7530" y="6648"/>
                  <a:pt x="7719" y="6711"/>
                </a:cubicBezTo>
                <a:lnTo>
                  <a:pt x="8443" y="8066"/>
                </a:lnTo>
                <a:cubicBezTo>
                  <a:pt x="8506" y="8223"/>
                  <a:pt x="8664" y="8318"/>
                  <a:pt x="8790" y="8318"/>
                </a:cubicBezTo>
                <a:cubicBezTo>
                  <a:pt x="8853" y="8318"/>
                  <a:pt x="8916" y="8318"/>
                  <a:pt x="8979" y="8286"/>
                </a:cubicBezTo>
                <a:cubicBezTo>
                  <a:pt x="9168" y="8160"/>
                  <a:pt x="9262" y="7908"/>
                  <a:pt x="9168" y="7719"/>
                </a:cubicBezTo>
                <a:lnTo>
                  <a:pt x="8821" y="6963"/>
                </a:lnTo>
                <a:lnTo>
                  <a:pt x="8821" y="6963"/>
                </a:lnTo>
                <a:cubicBezTo>
                  <a:pt x="10523" y="7656"/>
                  <a:pt x="11751" y="9294"/>
                  <a:pt x="11751" y="11216"/>
                </a:cubicBezTo>
                <a:lnTo>
                  <a:pt x="11751" y="11626"/>
                </a:lnTo>
                <a:lnTo>
                  <a:pt x="977" y="11626"/>
                </a:lnTo>
                <a:lnTo>
                  <a:pt x="977" y="11216"/>
                </a:lnTo>
                <a:cubicBezTo>
                  <a:pt x="914" y="9294"/>
                  <a:pt x="2142" y="7593"/>
                  <a:pt x="3812" y="6963"/>
                </a:cubicBezTo>
                <a:lnTo>
                  <a:pt x="3812" y="6963"/>
                </a:lnTo>
                <a:lnTo>
                  <a:pt x="3466" y="7719"/>
                </a:lnTo>
                <a:cubicBezTo>
                  <a:pt x="3340" y="7908"/>
                  <a:pt x="3466" y="8160"/>
                  <a:pt x="3655" y="8286"/>
                </a:cubicBezTo>
                <a:cubicBezTo>
                  <a:pt x="3749" y="8318"/>
                  <a:pt x="3781" y="8318"/>
                  <a:pt x="3875" y="8318"/>
                </a:cubicBezTo>
                <a:cubicBezTo>
                  <a:pt x="4033" y="8318"/>
                  <a:pt x="4190" y="8223"/>
                  <a:pt x="4222" y="8066"/>
                </a:cubicBezTo>
                <a:lnTo>
                  <a:pt x="4915" y="6711"/>
                </a:lnTo>
                <a:cubicBezTo>
                  <a:pt x="5135" y="6648"/>
                  <a:pt x="5324" y="6648"/>
                  <a:pt x="5513" y="6648"/>
                </a:cubicBezTo>
                <a:lnTo>
                  <a:pt x="5923" y="6648"/>
                </a:lnTo>
                <a:lnTo>
                  <a:pt x="5923" y="8759"/>
                </a:lnTo>
                <a:cubicBezTo>
                  <a:pt x="5923" y="8979"/>
                  <a:pt x="6112" y="9168"/>
                  <a:pt x="6333" y="9168"/>
                </a:cubicBezTo>
                <a:cubicBezTo>
                  <a:pt x="6585" y="9168"/>
                  <a:pt x="6742" y="8979"/>
                  <a:pt x="6742" y="8759"/>
                </a:cubicBezTo>
                <a:lnTo>
                  <a:pt x="6742" y="6648"/>
                </a:lnTo>
                <a:close/>
                <a:moveTo>
                  <a:pt x="11657" y="12445"/>
                </a:moveTo>
                <a:lnTo>
                  <a:pt x="11657" y="13264"/>
                </a:lnTo>
                <a:lnTo>
                  <a:pt x="914" y="13264"/>
                </a:lnTo>
                <a:lnTo>
                  <a:pt x="914" y="12445"/>
                </a:lnTo>
                <a:close/>
                <a:moveTo>
                  <a:pt x="2520" y="0"/>
                </a:moveTo>
                <a:cubicBezTo>
                  <a:pt x="1607" y="0"/>
                  <a:pt x="882" y="756"/>
                  <a:pt x="882" y="1670"/>
                </a:cubicBezTo>
                <a:lnTo>
                  <a:pt x="882" y="2048"/>
                </a:lnTo>
                <a:cubicBezTo>
                  <a:pt x="882" y="2269"/>
                  <a:pt x="1071" y="2489"/>
                  <a:pt x="1260" y="2489"/>
                </a:cubicBezTo>
                <a:lnTo>
                  <a:pt x="3403" y="2489"/>
                </a:lnTo>
                <a:lnTo>
                  <a:pt x="4096" y="5986"/>
                </a:lnTo>
                <a:cubicBezTo>
                  <a:pt x="1764" y="6585"/>
                  <a:pt x="0" y="8696"/>
                  <a:pt x="0" y="11216"/>
                </a:cubicBezTo>
                <a:lnTo>
                  <a:pt x="0" y="13705"/>
                </a:lnTo>
                <a:cubicBezTo>
                  <a:pt x="0" y="13925"/>
                  <a:pt x="189" y="14146"/>
                  <a:pt x="410" y="14146"/>
                </a:cubicBezTo>
                <a:lnTo>
                  <a:pt x="11972" y="14146"/>
                </a:lnTo>
                <a:cubicBezTo>
                  <a:pt x="12224" y="14146"/>
                  <a:pt x="12413" y="13925"/>
                  <a:pt x="12413" y="13705"/>
                </a:cubicBezTo>
                <a:lnTo>
                  <a:pt x="12413" y="11216"/>
                </a:lnTo>
                <a:cubicBezTo>
                  <a:pt x="12476" y="8696"/>
                  <a:pt x="10743" y="6585"/>
                  <a:pt x="8443" y="5986"/>
                </a:cubicBezTo>
                <a:lnTo>
                  <a:pt x="9136" y="2489"/>
                </a:lnTo>
                <a:lnTo>
                  <a:pt x="11279" y="2489"/>
                </a:lnTo>
                <a:cubicBezTo>
                  <a:pt x="11499" y="2489"/>
                  <a:pt x="11657" y="2269"/>
                  <a:pt x="11657" y="2048"/>
                </a:cubicBezTo>
                <a:lnTo>
                  <a:pt x="11657" y="1670"/>
                </a:lnTo>
                <a:cubicBezTo>
                  <a:pt x="11657" y="756"/>
                  <a:pt x="10901" y="0"/>
                  <a:pt x="10019" y="0"/>
                </a:cubicBezTo>
                <a:cubicBezTo>
                  <a:pt x="9105" y="0"/>
                  <a:pt x="8349" y="756"/>
                  <a:pt x="8349" y="1670"/>
                </a:cubicBezTo>
                <a:lnTo>
                  <a:pt x="8286" y="1670"/>
                </a:lnTo>
                <a:cubicBezTo>
                  <a:pt x="7530" y="1670"/>
                  <a:pt x="6868" y="1891"/>
                  <a:pt x="6269" y="2332"/>
                </a:cubicBezTo>
                <a:cubicBezTo>
                  <a:pt x="5702" y="1891"/>
                  <a:pt x="5009" y="1670"/>
                  <a:pt x="4253" y="1670"/>
                </a:cubicBezTo>
                <a:lnTo>
                  <a:pt x="4190" y="1670"/>
                </a:lnTo>
                <a:cubicBezTo>
                  <a:pt x="4190" y="756"/>
                  <a:pt x="3434" y="0"/>
                  <a:pt x="2520"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nvGrpSpPr>
          <p:cNvPr id="10999" name="Google Shape;10999;p113"/>
          <p:cNvGrpSpPr/>
          <p:nvPr/>
        </p:nvGrpSpPr>
        <p:grpSpPr>
          <a:xfrm>
            <a:off x="10102387" y="4290506"/>
            <a:ext cx="457459" cy="455425"/>
            <a:chOff x="6001575" y="3119050"/>
            <a:chExt cx="315025" cy="313625"/>
          </a:xfrm>
        </p:grpSpPr>
        <p:sp>
          <p:nvSpPr>
            <p:cNvPr id="11000" name="Google Shape;11000;p113"/>
            <p:cNvSpPr/>
            <p:nvPr/>
          </p:nvSpPr>
          <p:spPr>
            <a:xfrm>
              <a:off x="6001575" y="3119050"/>
              <a:ext cx="315025" cy="313625"/>
            </a:xfrm>
            <a:custGeom>
              <a:avLst/>
              <a:gdLst/>
              <a:ahLst/>
              <a:cxnLst/>
              <a:rect l="l" t="t" r="r" b="b"/>
              <a:pathLst>
                <a:path w="12601" h="12545" extrusionOk="0">
                  <a:moveTo>
                    <a:pt x="1952" y="726"/>
                  </a:moveTo>
                  <a:cubicBezTo>
                    <a:pt x="2565" y="726"/>
                    <a:pt x="3039" y="1227"/>
                    <a:pt x="3039" y="1841"/>
                  </a:cubicBezTo>
                  <a:cubicBezTo>
                    <a:pt x="3039" y="2454"/>
                    <a:pt x="2565" y="2928"/>
                    <a:pt x="1952" y="2928"/>
                  </a:cubicBezTo>
                  <a:cubicBezTo>
                    <a:pt x="1366" y="2928"/>
                    <a:pt x="837" y="2454"/>
                    <a:pt x="837" y="1841"/>
                  </a:cubicBezTo>
                  <a:cubicBezTo>
                    <a:pt x="837" y="1227"/>
                    <a:pt x="1339" y="726"/>
                    <a:pt x="1952" y="726"/>
                  </a:cubicBezTo>
                  <a:close/>
                  <a:moveTo>
                    <a:pt x="10788" y="726"/>
                  </a:moveTo>
                  <a:cubicBezTo>
                    <a:pt x="11374" y="726"/>
                    <a:pt x="11903" y="1227"/>
                    <a:pt x="11903" y="1841"/>
                  </a:cubicBezTo>
                  <a:cubicBezTo>
                    <a:pt x="11903" y="2454"/>
                    <a:pt x="11402" y="2928"/>
                    <a:pt x="10788" y="2928"/>
                  </a:cubicBezTo>
                  <a:cubicBezTo>
                    <a:pt x="10175" y="2928"/>
                    <a:pt x="9701" y="2454"/>
                    <a:pt x="9701" y="1841"/>
                  </a:cubicBezTo>
                  <a:cubicBezTo>
                    <a:pt x="9673" y="1227"/>
                    <a:pt x="10175" y="726"/>
                    <a:pt x="10788" y="726"/>
                  </a:cubicBezTo>
                  <a:close/>
                  <a:moveTo>
                    <a:pt x="9673" y="4015"/>
                  </a:moveTo>
                  <a:lnTo>
                    <a:pt x="9673" y="7639"/>
                  </a:lnTo>
                  <a:lnTo>
                    <a:pt x="8893" y="6078"/>
                  </a:lnTo>
                  <a:cubicBezTo>
                    <a:pt x="8837" y="5938"/>
                    <a:pt x="8726" y="5855"/>
                    <a:pt x="8586" y="5855"/>
                  </a:cubicBezTo>
                  <a:lnTo>
                    <a:pt x="4126" y="5855"/>
                  </a:lnTo>
                  <a:cubicBezTo>
                    <a:pt x="3987" y="5855"/>
                    <a:pt x="3847" y="5938"/>
                    <a:pt x="3819" y="6078"/>
                  </a:cubicBezTo>
                  <a:lnTo>
                    <a:pt x="3039" y="7639"/>
                  </a:lnTo>
                  <a:lnTo>
                    <a:pt x="3039" y="4015"/>
                  </a:lnTo>
                  <a:cubicBezTo>
                    <a:pt x="4126" y="4266"/>
                    <a:pt x="5241" y="4405"/>
                    <a:pt x="6356" y="4405"/>
                  </a:cubicBezTo>
                  <a:cubicBezTo>
                    <a:pt x="7471" y="4405"/>
                    <a:pt x="8586" y="4266"/>
                    <a:pt x="9673" y="4015"/>
                  </a:cubicBezTo>
                  <a:close/>
                  <a:moveTo>
                    <a:pt x="6746" y="6579"/>
                  </a:moveTo>
                  <a:lnTo>
                    <a:pt x="8001" y="9562"/>
                  </a:lnTo>
                  <a:lnTo>
                    <a:pt x="4712" y="9562"/>
                  </a:lnTo>
                  <a:lnTo>
                    <a:pt x="5966" y="6579"/>
                  </a:lnTo>
                  <a:close/>
                  <a:moveTo>
                    <a:pt x="1617" y="3633"/>
                  </a:moveTo>
                  <a:lnTo>
                    <a:pt x="1617" y="3633"/>
                  </a:lnTo>
                  <a:cubicBezTo>
                    <a:pt x="1697" y="3652"/>
                    <a:pt x="1797" y="3652"/>
                    <a:pt x="1896" y="3652"/>
                  </a:cubicBezTo>
                  <a:cubicBezTo>
                    <a:pt x="2035" y="3708"/>
                    <a:pt x="2175" y="3764"/>
                    <a:pt x="2314" y="3792"/>
                  </a:cubicBezTo>
                  <a:lnTo>
                    <a:pt x="2314" y="10343"/>
                  </a:lnTo>
                  <a:cubicBezTo>
                    <a:pt x="2203" y="10315"/>
                    <a:pt x="2063" y="10315"/>
                    <a:pt x="1952" y="10315"/>
                  </a:cubicBezTo>
                  <a:cubicBezTo>
                    <a:pt x="1868" y="10315"/>
                    <a:pt x="1729" y="10315"/>
                    <a:pt x="1617" y="10343"/>
                  </a:cubicBezTo>
                  <a:lnTo>
                    <a:pt x="1617" y="3633"/>
                  </a:lnTo>
                  <a:close/>
                  <a:moveTo>
                    <a:pt x="11123" y="3625"/>
                  </a:moveTo>
                  <a:lnTo>
                    <a:pt x="11123" y="10343"/>
                  </a:lnTo>
                  <a:cubicBezTo>
                    <a:pt x="11011" y="10315"/>
                    <a:pt x="10872" y="10315"/>
                    <a:pt x="10733" y="10315"/>
                  </a:cubicBezTo>
                  <a:cubicBezTo>
                    <a:pt x="10593" y="10315"/>
                    <a:pt x="10482" y="10315"/>
                    <a:pt x="10398" y="10343"/>
                  </a:cubicBezTo>
                  <a:lnTo>
                    <a:pt x="10398" y="3792"/>
                  </a:lnTo>
                  <a:cubicBezTo>
                    <a:pt x="10537" y="3764"/>
                    <a:pt x="10677" y="3736"/>
                    <a:pt x="10816" y="3652"/>
                  </a:cubicBezTo>
                  <a:cubicBezTo>
                    <a:pt x="10928" y="3652"/>
                    <a:pt x="11011" y="3652"/>
                    <a:pt x="11123" y="3625"/>
                  </a:cubicBezTo>
                  <a:close/>
                  <a:moveTo>
                    <a:pt x="8363" y="6579"/>
                  </a:moveTo>
                  <a:lnTo>
                    <a:pt x="9701" y="9283"/>
                  </a:lnTo>
                  <a:lnTo>
                    <a:pt x="9701" y="10677"/>
                  </a:lnTo>
                  <a:cubicBezTo>
                    <a:pt x="9534" y="10761"/>
                    <a:pt x="9422" y="10900"/>
                    <a:pt x="9311" y="11012"/>
                  </a:cubicBezTo>
                  <a:lnTo>
                    <a:pt x="3429" y="11012"/>
                  </a:lnTo>
                  <a:cubicBezTo>
                    <a:pt x="3318" y="10872"/>
                    <a:pt x="3178" y="10761"/>
                    <a:pt x="3067" y="10677"/>
                  </a:cubicBezTo>
                  <a:lnTo>
                    <a:pt x="3067" y="9283"/>
                  </a:lnTo>
                  <a:lnTo>
                    <a:pt x="4405" y="6579"/>
                  </a:lnTo>
                  <a:lnTo>
                    <a:pt x="5213" y="6579"/>
                  </a:lnTo>
                  <a:lnTo>
                    <a:pt x="3847" y="9785"/>
                  </a:lnTo>
                  <a:cubicBezTo>
                    <a:pt x="3819" y="9897"/>
                    <a:pt x="3819" y="10036"/>
                    <a:pt x="3875" y="10147"/>
                  </a:cubicBezTo>
                  <a:cubicBezTo>
                    <a:pt x="3959" y="10259"/>
                    <a:pt x="4042" y="10315"/>
                    <a:pt x="4182" y="10315"/>
                  </a:cubicBezTo>
                  <a:lnTo>
                    <a:pt x="8586" y="10315"/>
                  </a:lnTo>
                  <a:cubicBezTo>
                    <a:pt x="8726" y="10315"/>
                    <a:pt x="8837" y="10259"/>
                    <a:pt x="8893" y="10147"/>
                  </a:cubicBezTo>
                  <a:cubicBezTo>
                    <a:pt x="8976" y="10036"/>
                    <a:pt x="8976" y="9897"/>
                    <a:pt x="8921" y="9785"/>
                  </a:cubicBezTo>
                  <a:lnTo>
                    <a:pt x="7583" y="6579"/>
                  </a:lnTo>
                  <a:close/>
                  <a:moveTo>
                    <a:pt x="1952" y="11012"/>
                  </a:moveTo>
                  <a:cubicBezTo>
                    <a:pt x="2454" y="11012"/>
                    <a:pt x="2844" y="11318"/>
                    <a:pt x="3011" y="11736"/>
                  </a:cubicBezTo>
                  <a:lnTo>
                    <a:pt x="920" y="11736"/>
                  </a:lnTo>
                  <a:cubicBezTo>
                    <a:pt x="1060" y="11318"/>
                    <a:pt x="1478" y="11012"/>
                    <a:pt x="1952" y="11012"/>
                  </a:cubicBezTo>
                  <a:close/>
                  <a:moveTo>
                    <a:pt x="10788" y="11012"/>
                  </a:moveTo>
                  <a:cubicBezTo>
                    <a:pt x="11262" y="11012"/>
                    <a:pt x="11652" y="11318"/>
                    <a:pt x="11820" y="11736"/>
                  </a:cubicBezTo>
                  <a:lnTo>
                    <a:pt x="9729" y="11736"/>
                  </a:lnTo>
                  <a:cubicBezTo>
                    <a:pt x="9868" y="11318"/>
                    <a:pt x="10287" y="11012"/>
                    <a:pt x="10788" y="11012"/>
                  </a:cubicBezTo>
                  <a:close/>
                  <a:moveTo>
                    <a:pt x="1868" y="1"/>
                  </a:moveTo>
                  <a:cubicBezTo>
                    <a:pt x="837" y="1"/>
                    <a:pt x="1" y="837"/>
                    <a:pt x="1" y="1841"/>
                  </a:cubicBezTo>
                  <a:cubicBezTo>
                    <a:pt x="1" y="2454"/>
                    <a:pt x="279" y="2956"/>
                    <a:pt x="753" y="3318"/>
                  </a:cubicBezTo>
                  <a:lnTo>
                    <a:pt x="753" y="10677"/>
                  </a:lnTo>
                  <a:cubicBezTo>
                    <a:pt x="279" y="11012"/>
                    <a:pt x="1" y="11541"/>
                    <a:pt x="1" y="12127"/>
                  </a:cubicBezTo>
                  <a:cubicBezTo>
                    <a:pt x="1" y="12322"/>
                    <a:pt x="196" y="12517"/>
                    <a:pt x="363" y="12517"/>
                  </a:cubicBezTo>
                  <a:lnTo>
                    <a:pt x="3290" y="12517"/>
                  </a:lnTo>
                  <a:cubicBezTo>
                    <a:pt x="3485" y="12517"/>
                    <a:pt x="3624" y="12322"/>
                    <a:pt x="3624" y="12127"/>
                  </a:cubicBezTo>
                  <a:cubicBezTo>
                    <a:pt x="3624" y="11987"/>
                    <a:pt x="3624" y="11876"/>
                    <a:pt x="3596" y="11764"/>
                  </a:cubicBezTo>
                  <a:lnTo>
                    <a:pt x="8865" y="11764"/>
                  </a:lnTo>
                  <a:cubicBezTo>
                    <a:pt x="8837" y="11876"/>
                    <a:pt x="8837" y="12015"/>
                    <a:pt x="8837" y="12154"/>
                  </a:cubicBezTo>
                  <a:cubicBezTo>
                    <a:pt x="8837" y="12377"/>
                    <a:pt x="9004" y="12545"/>
                    <a:pt x="9199" y="12545"/>
                  </a:cubicBezTo>
                  <a:lnTo>
                    <a:pt x="12126" y="12545"/>
                  </a:lnTo>
                  <a:cubicBezTo>
                    <a:pt x="12349" y="12545"/>
                    <a:pt x="12489" y="12377"/>
                    <a:pt x="12489" y="12154"/>
                  </a:cubicBezTo>
                  <a:cubicBezTo>
                    <a:pt x="12489" y="11569"/>
                    <a:pt x="12210" y="11039"/>
                    <a:pt x="11764" y="10705"/>
                  </a:cubicBezTo>
                  <a:lnTo>
                    <a:pt x="11764" y="3346"/>
                  </a:lnTo>
                  <a:cubicBezTo>
                    <a:pt x="12321" y="2956"/>
                    <a:pt x="12600" y="2454"/>
                    <a:pt x="12600" y="1841"/>
                  </a:cubicBezTo>
                  <a:cubicBezTo>
                    <a:pt x="12600" y="837"/>
                    <a:pt x="11764" y="1"/>
                    <a:pt x="10733" y="1"/>
                  </a:cubicBezTo>
                  <a:cubicBezTo>
                    <a:pt x="9729" y="1"/>
                    <a:pt x="8893" y="837"/>
                    <a:pt x="8893" y="1841"/>
                  </a:cubicBezTo>
                  <a:cubicBezTo>
                    <a:pt x="8893" y="2398"/>
                    <a:pt x="9172" y="2928"/>
                    <a:pt x="9562" y="3290"/>
                  </a:cubicBezTo>
                  <a:cubicBezTo>
                    <a:pt x="8503" y="3541"/>
                    <a:pt x="7401" y="3666"/>
                    <a:pt x="6300" y="3666"/>
                  </a:cubicBezTo>
                  <a:cubicBezTo>
                    <a:pt x="5199" y="3666"/>
                    <a:pt x="4098" y="3541"/>
                    <a:pt x="3039" y="3290"/>
                  </a:cubicBezTo>
                  <a:cubicBezTo>
                    <a:pt x="3457" y="2928"/>
                    <a:pt x="3708" y="2454"/>
                    <a:pt x="3708" y="1841"/>
                  </a:cubicBezTo>
                  <a:cubicBezTo>
                    <a:pt x="3708" y="837"/>
                    <a:pt x="2872" y="1"/>
                    <a:pt x="1868"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1001" name="Google Shape;11001;p113"/>
            <p:cNvSpPr/>
            <p:nvPr/>
          </p:nvSpPr>
          <p:spPr>
            <a:xfrm flipH="1">
              <a:off x="6001575" y="3119050"/>
              <a:ext cx="315025" cy="313625"/>
            </a:xfrm>
            <a:custGeom>
              <a:avLst/>
              <a:gdLst/>
              <a:ahLst/>
              <a:cxnLst/>
              <a:rect l="l" t="t" r="r" b="b"/>
              <a:pathLst>
                <a:path w="12601" h="12545" extrusionOk="0">
                  <a:moveTo>
                    <a:pt x="1952" y="726"/>
                  </a:moveTo>
                  <a:cubicBezTo>
                    <a:pt x="2565" y="726"/>
                    <a:pt x="3039" y="1227"/>
                    <a:pt x="3039" y="1841"/>
                  </a:cubicBezTo>
                  <a:cubicBezTo>
                    <a:pt x="3039" y="2454"/>
                    <a:pt x="2565" y="2928"/>
                    <a:pt x="1952" y="2928"/>
                  </a:cubicBezTo>
                  <a:cubicBezTo>
                    <a:pt x="1366" y="2928"/>
                    <a:pt x="837" y="2454"/>
                    <a:pt x="837" y="1841"/>
                  </a:cubicBezTo>
                  <a:cubicBezTo>
                    <a:pt x="837" y="1227"/>
                    <a:pt x="1339" y="726"/>
                    <a:pt x="1952" y="726"/>
                  </a:cubicBezTo>
                  <a:close/>
                  <a:moveTo>
                    <a:pt x="10788" y="726"/>
                  </a:moveTo>
                  <a:cubicBezTo>
                    <a:pt x="11374" y="726"/>
                    <a:pt x="11903" y="1227"/>
                    <a:pt x="11903" y="1841"/>
                  </a:cubicBezTo>
                  <a:cubicBezTo>
                    <a:pt x="11903" y="2454"/>
                    <a:pt x="11402" y="2928"/>
                    <a:pt x="10788" y="2928"/>
                  </a:cubicBezTo>
                  <a:cubicBezTo>
                    <a:pt x="10175" y="2928"/>
                    <a:pt x="9701" y="2454"/>
                    <a:pt x="9701" y="1841"/>
                  </a:cubicBezTo>
                  <a:cubicBezTo>
                    <a:pt x="9673" y="1227"/>
                    <a:pt x="10175" y="726"/>
                    <a:pt x="10788" y="726"/>
                  </a:cubicBezTo>
                  <a:close/>
                  <a:moveTo>
                    <a:pt x="9673" y="4015"/>
                  </a:moveTo>
                  <a:lnTo>
                    <a:pt x="9673" y="7639"/>
                  </a:lnTo>
                  <a:lnTo>
                    <a:pt x="8893" y="6078"/>
                  </a:lnTo>
                  <a:cubicBezTo>
                    <a:pt x="8837" y="5938"/>
                    <a:pt x="8726" y="5855"/>
                    <a:pt x="8586" y="5855"/>
                  </a:cubicBezTo>
                  <a:lnTo>
                    <a:pt x="4126" y="5855"/>
                  </a:lnTo>
                  <a:cubicBezTo>
                    <a:pt x="3987" y="5855"/>
                    <a:pt x="3847" y="5938"/>
                    <a:pt x="3819" y="6078"/>
                  </a:cubicBezTo>
                  <a:lnTo>
                    <a:pt x="3039" y="7639"/>
                  </a:lnTo>
                  <a:lnTo>
                    <a:pt x="3039" y="4015"/>
                  </a:lnTo>
                  <a:cubicBezTo>
                    <a:pt x="4126" y="4266"/>
                    <a:pt x="5241" y="4405"/>
                    <a:pt x="6356" y="4405"/>
                  </a:cubicBezTo>
                  <a:cubicBezTo>
                    <a:pt x="7471" y="4405"/>
                    <a:pt x="8586" y="4266"/>
                    <a:pt x="9673" y="4015"/>
                  </a:cubicBezTo>
                  <a:close/>
                  <a:moveTo>
                    <a:pt x="6746" y="6579"/>
                  </a:moveTo>
                  <a:lnTo>
                    <a:pt x="8001" y="9562"/>
                  </a:lnTo>
                  <a:lnTo>
                    <a:pt x="4712" y="9562"/>
                  </a:lnTo>
                  <a:lnTo>
                    <a:pt x="5966" y="6579"/>
                  </a:lnTo>
                  <a:close/>
                  <a:moveTo>
                    <a:pt x="1617" y="3633"/>
                  </a:moveTo>
                  <a:lnTo>
                    <a:pt x="1617" y="3633"/>
                  </a:lnTo>
                  <a:cubicBezTo>
                    <a:pt x="1697" y="3652"/>
                    <a:pt x="1797" y="3652"/>
                    <a:pt x="1896" y="3652"/>
                  </a:cubicBezTo>
                  <a:cubicBezTo>
                    <a:pt x="2035" y="3708"/>
                    <a:pt x="2175" y="3764"/>
                    <a:pt x="2314" y="3792"/>
                  </a:cubicBezTo>
                  <a:lnTo>
                    <a:pt x="2314" y="10343"/>
                  </a:lnTo>
                  <a:cubicBezTo>
                    <a:pt x="2203" y="10315"/>
                    <a:pt x="2063" y="10315"/>
                    <a:pt x="1952" y="10315"/>
                  </a:cubicBezTo>
                  <a:cubicBezTo>
                    <a:pt x="1868" y="10315"/>
                    <a:pt x="1729" y="10315"/>
                    <a:pt x="1617" y="10343"/>
                  </a:cubicBezTo>
                  <a:lnTo>
                    <a:pt x="1617" y="3633"/>
                  </a:lnTo>
                  <a:close/>
                  <a:moveTo>
                    <a:pt x="11123" y="3625"/>
                  </a:moveTo>
                  <a:lnTo>
                    <a:pt x="11123" y="10343"/>
                  </a:lnTo>
                  <a:cubicBezTo>
                    <a:pt x="11011" y="10315"/>
                    <a:pt x="10872" y="10315"/>
                    <a:pt x="10733" y="10315"/>
                  </a:cubicBezTo>
                  <a:cubicBezTo>
                    <a:pt x="10593" y="10315"/>
                    <a:pt x="10482" y="10315"/>
                    <a:pt x="10398" y="10343"/>
                  </a:cubicBezTo>
                  <a:lnTo>
                    <a:pt x="10398" y="3792"/>
                  </a:lnTo>
                  <a:cubicBezTo>
                    <a:pt x="10537" y="3764"/>
                    <a:pt x="10677" y="3736"/>
                    <a:pt x="10816" y="3652"/>
                  </a:cubicBezTo>
                  <a:cubicBezTo>
                    <a:pt x="10928" y="3652"/>
                    <a:pt x="11011" y="3652"/>
                    <a:pt x="11123" y="3625"/>
                  </a:cubicBezTo>
                  <a:close/>
                  <a:moveTo>
                    <a:pt x="8363" y="6579"/>
                  </a:moveTo>
                  <a:lnTo>
                    <a:pt x="9701" y="9283"/>
                  </a:lnTo>
                  <a:lnTo>
                    <a:pt x="9701" y="10677"/>
                  </a:lnTo>
                  <a:cubicBezTo>
                    <a:pt x="9534" y="10761"/>
                    <a:pt x="9422" y="10900"/>
                    <a:pt x="9311" y="11012"/>
                  </a:cubicBezTo>
                  <a:lnTo>
                    <a:pt x="3429" y="11012"/>
                  </a:lnTo>
                  <a:cubicBezTo>
                    <a:pt x="3318" y="10872"/>
                    <a:pt x="3178" y="10761"/>
                    <a:pt x="3067" y="10677"/>
                  </a:cubicBezTo>
                  <a:lnTo>
                    <a:pt x="3067" y="9283"/>
                  </a:lnTo>
                  <a:lnTo>
                    <a:pt x="4405" y="6579"/>
                  </a:lnTo>
                  <a:lnTo>
                    <a:pt x="5213" y="6579"/>
                  </a:lnTo>
                  <a:lnTo>
                    <a:pt x="3847" y="9785"/>
                  </a:lnTo>
                  <a:cubicBezTo>
                    <a:pt x="3819" y="9897"/>
                    <a:pt x="3819" y="10036"/>
                    <a:pt x="3875" y="10147"/>
                  </a:cubicBezTo>
                  <a:cubicBezTo>
                    <a:pt x="3959" y="10259"/>
                    <a:pt x="4042" y="10315"/>
                    <a:pt x="4182" y="10315"/>
                  </a:cubicBezTo>
                  <a:lnTo>
                    <a:pt x="8586" y="10315"/>
                  </a:lnTo>
                  <a:cubicBezTo>
                    <a:pt x="8726" y="10315"/>
                    <a:pt x="8837" y="10259"/>
                    <a:pt x="8893" y="10147"/>
                  </a:cubicBezTo>
                  <a:cubicBezTo>
                    <a:pt x="8976" y="10036"/>
                    <a:pt x="8976" y="9897"/>
                    <a:pt x="8921" y="9785"/>
                  </a:cubicBezTo>
                  <a:lnTo>
                    <a:pt x="7583" y="6579"/>
                  </a:lnTo>
                  <a:close/>
                  <a:moveTo>
                    <a:pt x="1952" y="11012"/>
                  </a:moveTo>
                  <a:cubicBezTo>
                    <a:pt x="2454" y="11012"/>
                    <a:pt x="2844" y="11318"/>
                    <a:pt x="3011" y="11736"/>
                  </a:cubicBezTo>
                  <a:lnTo>
                    <a:pt x="920" y="11736"/>
                  </a:lnTo>
                  <a:cubicBezTo>
                    <a:pt x="1060" y="11318"/>
                    <a:pt x="1478" y="11012"/>
                    <a:pt x="1952" y="11012"/>
                  </a:cubicBezTo>
                  <a:close/>
                  <a:moveTo>
                    <a:pt x="10788" y="11012"/>
                  </a:moveTo>
                  <a:cubicBezTo>
                    <a:pt x="11262" y="11012"/>
                    <a:pt x="11652" y="11318"/>
                    <a:pt x="11820" y="11736"/>
                  </a:cubicBezTo>
                  <a:lnTo>
                    <a:pt x="9729" y="11736"/>
                  </a:lnTo>
                  <a:cubicBezTo>
                    <a:pt x="9868" y="11318"/>
                    <a:pt x="10287" y="11012"/>
                    <a:pt x="10788" y="11012"/>
                  </a:cubicBezTo>
                  <a:close/>
                  <a:moveTo>
                    <a:pt x="1868" y="1"/>
                  </a:moveTo>
                  <a:cubicBezTo>
                    <a:pt x="837" y="1"/>
                    <a:pt x="1" y="837"/>
                    <a:pt x="1" y="1841"/>
                  </a:cubicBezTo>
                  <a:cubicBezTo>
                    <a:pt x="1" y="2454"/>
                    <a:pt x="279" y="2956"/>
                    <a:pt x="753" y="3318"/>
                  </a:cubicBezTo>
                  <a:lnTo>
                    <a:pt x="753" y="10677"/>
                  </a:lnTo>
                  <a:cubicBezTo>
                    <a:pt x="279" y="11012"/>
                    <a:pt x="1" y="11541"/>
                    <a:pt x="1" y="12127"/>
                  </a:cubicBezTo>
                  <a:cubicBezTo>
                    <a:pt x="1" y="12322"/>
                    <a:pt x="196" y="12517"/>
                    <a:pt x="363" y="12517"/>
                  </a:cubicBezTo>
                  <a:lnTo>
                    <a:pt x="3290" y="12517"/>
                  </a:lnTo>
                  <a:cubicBezTo>
                    <a:pt x="3485" y="12517"/>
                    <a:pt x="3624" y="12322"/>
                    <a:pt x="3624" y="12127"/>
                  </a:cubicBezTo>
                  <a:cubicBezTo>
                    <a:pt x="3624" y="11987"/>
                    <a:pt x="3624" y="11876"/>
                    <a:pt x="3596" y="11764"/>
                  </a:cubicBezTo>
                  <a:lnTo>
                    <a:pt x="8865" y="11764"/>
                  </a:lnTo>
                  <a:cubicBezTo>
                    <a:pt x="8837" y="11876"/>
                    <a:pt x="8837" y="12015"/>
                    <a:pt x="8837" y="12154"/>
                  </a:cubicBezTo>
                  <a:cubicBezTo>
                    <a:pt x="8837" y="12377"/>
                    <a:pt x="9004" y="12545"/>
                    <a:pt x="9199" y="12545"/>
                  </a:cubicBezTo>
                  <a:lnTo>
                    <a:pt x="12126" y="12545"/>
                  </a:lnTo>
                  <a:cubicBezTo>
                    <a:pt x="12349" y="12545"/>
                    <a:pt x="12489" y="12377"/>
                    <a:pt x="12489" y="12154"/>
                  </a:cubicBezTo>
                  <a:cubicBezTo>
                    <a:pt x="12489" y="11569"/>
                    <a:pt x="12210" y="11039"/>
                    <a:pt x="11764" y="10705"/>
                  </a:cubicBezTo>
                  <a:lnTo>
                    <a:pt x="11764" y="3346"/>
                  </a:lnTo>
                  <a:cubicBezTo>
                    <a:pt x="12321" y="2956"/>
                    <a:pt x="12600" y="2454"/>
                    <a:pt x="12600" y="1841"/>
                  </a:cubicBezTo>
                  <a:cubicBezTo>
                    <a:pt x="12600" y="837"/>
                    <a:pt x="11764" y="1"/>
                    <a:pt x="10733" y="1"/>
                  </a:cubicBezTo>
                  <a:cubicBezTo>
                    <a:pt x="9729" y="1"/>
                    <a:pt x="8893" y="837"/>
                    <a:pt x="8893" y="1841"/>
                  </a:cubicBezTo>
                  <a:cubicBezTo>
                    <a:pt x="8893" y="2398"/>
                    <a:pt x="9172" y="2928"/>
                    <a:pt x="9562" y="3290"/>
                  </a:cubicBezTo>
                  <a:cubicBezTo>
                    <a:pt x="8503" y="3541"/>
                    <a:pt x="7401" y="3666"/>
                    <a:pt x="6300" y="3666"/>
                  </a:cubicBezTo>
                  <a:cubicBezTo>
                    <a:pt x="5199" y="3666"/>
                    <a:pt x="4098" y="3541"/>
                    <a:pt x="3039" y="3290"/>
                  </a:cubicBezTo>
                  <a:cubicBezTo>
                    <a:pt x="3457" y="2928"/>
                    <a:pt x="3708" y="2454"/>
                    <a:pt x="3708" y="1841"/>
                  </a:cubicBezTo>
                  <a:cubicBezTo>
                    <a:pt x="3708" y="837"/>
                    <a:pt x="2872" y="1"/>
                    <a:pt x="1868"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spTree>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bg>
      <p:bgPr>
        <a:solidFill>
          <a:srgbClr val="0E2A47"/>
        </a:solidFill>
        <a:effectLst/>
      </p:bgPr>
    </p:bg>
    <p:spTree>
      <p:nvGrpSpPr>
        <p:cNvPr id="1" name="Shape 11005"/>
        <p:cNvGrpSpPr/>
        <p:nvPr/>
      </p:nvGrpSpPr>
      <p:grpSpPr>
        <a:xfrm>
          <a:off x="0" y="0"/>
          <a:ext cx="0" cy="0"/>
          <a:chOff x="0" y="0"/>
          <a:chExt cx="0" cy="0"/>
        </a:xfrm>
      </p:grpSpPr>
      <p:sp>
        <p:nvSpPr>
          <p:cNvPr id="11006" name="Google Shape;11006;p114"/>
          <p:cNvSpPr/>
          <p:nvPr/>
        </p:nvSpPr>
        <p:spPr>
          <a:xfrm>
            <a:off x="1201981" y="2251279"/>
            <a:ext cx="481667" cy="631893"/>
          </a:xfrm>
          <a:custGeom>
            <a:avLst/>
            <a:gdLst/>
            <a:ahLst/>
            <a:cxnLst/>
            <a:rect l="l" t="t" r="r" b="b"/>
            <a:pathLst>
              <a:path w="9295" h="12194" extrusionOk="0">
                <a:moveTo>
                  <a:pt x="4568" y="662"/>
                </a:moveTo>
                <a:cubicBezTo>
                  <a:pt x="5167" y="662"/>
                  <a:pt x="5639" y="1135"/>
                  <a:pt x="5639" y="1734"/>
                </a:cubicBezTo>
                <a:cubicBezTo>
                  <a:pt x="5639" y="2301"/>
                  <a:pt x="5167" y="2773"/>
                  <a:pt x="4568" y="2773"/>
                </a:cubicBezTo>
                <a:cubicBezTo>
                  <a:pt x="3970" y="2773"/>
                  <a:pt x="3497" y="2301"/>
                  <a:pt x="3497" y="1734"/>
                </a:cubicBezTo>
                <a:cubicBezTo>
                  <a:pt x="3497" y="1135"/>
                  <a:pt x="3970" y="662"/>
                  <a:pt x="4568" y="662"/>
                </a:cubicBezTo>
                <a:close/>
                <a:moveTo>
                  <a:pt x="7750" y="3529"/>
                </a:moveTo>
                <a:cubicBezTo>
                  <a:pt x="8160" y="3529"/>
                  <a:pt x="8475" y="3844"/>
                  <a:pt x="8475" y="4254"/>
                </a:cubicBezTo>
                <a:cubicBezTo>
                  <a:pt x="8475" y="4632"/>
                  <a:pt x="8160" y="4947"/>
                  <a:pt x="7750" y="4947"/>
                </a:cubicBezTo>
                <a:cubicBezTo>
                  <a:pt x="7372" y="4947"/>
                  <a:pt x="7057" y="4632"/>
                  <a:pt x="7057" y="4254"/>
                </a:cubicBezTo>
                <a:cubicBezTo>
                  <a:pt x="7057" y="3876"/>
                  <a:pt x="7372" y="3529"/>
                  <a:pt x="7750" y="3529"/>
                </a:cubicBezTo>
                <a:close/>
                <a:moveTo>
                  <a:pt x="1733" y="4254"/>
                </a:moveTo>
                <a:cubicBezTo>
                  <a:pt x="2836" y="4254"/>
                  <a:pt x="3812" y="4979"/>
                  <a:pt x="4127" y="6018"/>
                </a:cubicBezTo>
                <a:lnTo>
                  <a:pt x="2678" y="5042"/>
                </a:lnTo>
                <a:cubicBezTo>
                  <a:pt x="2615" y="4991"/>
                  <a:pt x="2537" y="4966"/>
                  <a:pt x="2460" y="4966"/>
                </a:cubicBezTo>
                <a:cubicBezTo>
                  <a:pt x="2344" y="4966"/>
                  <a:pt x="2231" y="5023"/>
                  <a:pt x="2174" y="5136"/>
                </a:cubicBezTo>
                <a:cubicBezTo>
                  <a:pt x="2048" y="5294"/>
                  <a:pt x="2079" y="5546"/>
                  <a:pt x="2268" y="5672"/>
                </a:cubicBezTo>
                <a:lnTo>
                  <a:pt x="3434" y="6459"/>
                </a:lnTo>
                <a:lnTo>
                  <a:pt x="3182" y="6459"/>
                </a:lnTo>
                <a:cubicBezTo>
                  <a:pt x="1890" y="6396"/>
                  <a:pt x="819" y="5451"/>
                  <a:pt x="662" y="4254"/>
                </a:cubicBezTo>
                <a:close/>
                <a:moveTo>
                  <a:pt x="1355" y="7814"/>
                </a:moveTo>
                <a:cubicBezTo>
                  <a:pt x="1733" y="7814"/>
                  <a:pt x="2048" y="8129"/>
                  <a:pt x="2048" y="8539"/>
                </a:cubicBezTo>
                <a:cubicBezTo>
                  <a:pt x="2048" y="8917"/>
                  <a:pt x="1733" y="9232"/>
                  <a:pt x="1355" y="9232"/>
                </a:cubicBezTo>
                <a:cubicBezTo>
                  <a:pt x="945" y="9232"/>
                  <a:pt x="630" y="8917"/>
                  <a:pt x="630" y="8539"/>
                </a:cubicBezTo>
                <a:cubicBezTo>
                  <a:pt x="630" y="8129"/>
                  <a:pt x="945" y="7814"/>
                  <a:pt x="1355" y="7814"/>
                </a:cubicBezTo>
                <a:close/>
                <a:moveTo>
                  <a:pt x="8506" y="8476"/>
                </a:moveTo>
                <a:cubicBezTo>
                  <a:pt x="8317" y="9767"/>
                  <a:pt x="7246" y="10681"/>
                  <a:pt x="5986" y="10681"/>
                </a:cubicBezTo>
                <a:lnTo>
                  <a:pt x="5734" y="10681"/>
                </a:lnTo>
                <a:lnTo>
                  <a:pt x="6900" y="9893"/>
                </a:lnTo>
                <a:cubicBezTo>
                  <a:pt x="7057" y="9799"/>
                  <a:pt x="7089" y="9578"/>
                  <a:pt x="7026" y="9389"/>
                </a:cubicBezTo>
                <a:cubicBezTo>
                  <a:pt x="6940" y="9282"/>
                  <a:pt x="6809" y="9233"/>
                  <a:pt x="6675" y="9233"/>
                </a:cubicBezTo>
                <a:cubicBezTo>
                  <a:pt x="6613" y="9233"/>
                  <a:pt x="6550" y="9243"/>
                  <a:pt x="6490" y="9263"/>
                </a:cubicBezTo>
                <a:lnTo>
                  <a:pt x="5041" y="10271"/>
                </a:lnTo>
                <a:cubicBezTo>
                  <a:pt x="5356" y="9232"/>
                  <a:pt x="6301" y="8476"/>
                  <a:pt x="7435" y="8476"/>
                </a:cubicBezTo>
                <a:close/>
                <a:moveTo>
                  <a:pt x="4600" y="1"/>
                </a:moveTo>
                <a:cubicBezTo>
                  <a:pt x="3623" y="1"/>
                  <a:pt x="2836" y="788"/>
                  <a:pt x="2836" y="1765"/>
                </a:cubicBezTo>
                <a:cubicBezTo>
                  <a:pt x="2836" y="2616"/>
                  <a:pt x="3466" y="3340"/>
                  <a:pt x="4253" y="3498"/>
                </a:cubicBezTo>
                <a:lnTo>
                  <a:pt x="4253" y="4758"/>
                </a:lnTo>
                <a:cubicBezTo>
                  <a:pt x="3655" y="4033"/>
                  <a:pt x="2741" y="3561"/>
                  <a:pt x="1764" y="3561"/>
                </a:cubicBezTo>
                <a:lnTo>
                  <a:pt x="347" y="3561"/>
                </a:lnTo>
                <a:cubicBezTo>
                  <a:pt x="158" y="3561"/>
                  <a:pt x="0" y="3718"/>
                  <a:pt x="0" y="3939"/>
                </a:cubicBezTo>
                <a:cubicBezTo>
                  <a:pt x="0" y="5703"/>
                  <a:pt x="1449" y="7152"/>
                  <a:pt x="3214" y="7152"/>
                </a:cubicBezTo>
                <a:lnTo>
                  <a:pt x="4285" y="7152"/>
                </a:lnTo>
                <a:lnTo>
                  <a:pt x="4285" y="9988"/>
                </a:lnTo>
                <a:cubicBezTo>
                  <a:pt x="3844" y="9547"/>
                  <a:pt x="3340" y="9232"/>
                  <a:pt x="2804" y="9074"/>
                </a:cubicBezTo>
                <a:cubicBezTo>
                  <a:pt x="2836" y="8917"/>
                  <a:pt x="2867" y="8759"/>
                  <a:pt x="2867" y="8602"/>
                </a:cubicBezTo>
                <a:cubicBezTo>
                  <a:pt x="2867" y="7814"/>
                  <a:pt x="2237" y="7184"/>
                  <a:pt x="1449" y="7184"/>
                </a:cubicBezTo>
                <a:cubicBezTo>
                  <a:pt x="662" y="7184"/>
                  <a:pt x="32" y="7814"/>
                  <a:pt x="32" y="8602"/>
                </a:cubicBezTo>
                <a:cubicBezTo>
                  <a:pt x="32" y="9389"/>
                  <a:pt x="662" y="10019"/>
                  <a:pt x="1449" y="10019"/>
                </a:cubicBezTo>
                <a:cubicBezTo>
                  <a:pt x="1796" y="10019"/>
                  <a:pt x="2111" y="9893"/>
                  <a:pt x="2363" y="9673"/>
                </a:cubicBezTo>
                <a:cubicBezTo>
                  <a:pt x="3182" y="9862"/>
                  <a:pt x="3907" y="10429"/>
                  <a:pt x="4285" y="11153"/>
                </a:cubicBezTo>
                <a:lnTo>
                  <a:pt x="4285" y="11847"/>
                </a:lnTo>
                <a:cubicBezTo>
                  <a:pt x="4285" y="12036"/>
                  <a:pt x="4442" y="12193"/>
                  <a:pt x="4631" y="12193"/>
                </a:cubicBezTo>
                <a:cubicBezTo>
                  <a:pt x="4852" y="12193"/>
                  <a:pt x="5009" y="12036"/>
                  <a:pt x="5009" y="11847"/>
                </a:cubicBezTo>
                <a:lnTo>
                  <a:pt x="5009" y="11437"/>
                </a:lnTo>
                <a:lnTo>
                  <a:pt x="6049" y="11437"/>
                </a:lnTo>
                <a:cubicBezTo>
                  <a:pt x="7845" y="11437"/>
                  <a:pt x="9294" y="9988"/>
                  <a:pt x="9294" y="8224"/>
                </a:cubicBezTo>
                <a:cubicBezTo>
                  <a:pt x="9231" y="7971"/>
                  <a:pt x="9042" y="7814"/>
                  <a:pt x="8853" y="7814"/>
                </a:cubicBezTo>
                <a:lnTo>
                  <a:pt x="7435" y="7814"/>
                </a:lnTo>
                <a:cubicBezTo>
                  <a:pt x="6427" y="7814"/>
                  <a:pt x="5545" y="8287"/>
                  <a:pt x="4946" y="9011"/>
                </a:cubicBezTo>
                <a:lnTo>
                  <a:pt x="4946" y="6837"/>
                </a:lnTo>
                <a:cubicBezTo>
                  <a:pt x="5356" y="6081"/>
                  <a:pt x="6081" y="5546"/>
                  <a:pt x="6900" y="5357"/>
                </a:cubicBezTo>
                <a:cubicBezTo>
                  <a:pt x="7120" y="5546"/>
                  <a:pt x="7467" y="5703"/>
                  <a:pt x="7813" y="5703"/>
                </a:cubicBezTo>
                <a:cubicBezTo>
                  <a:pt x="8601" y="5703"/>
                  <a:pt x="9231" y="5073"/>
                  <a:pt x="9231" y="4285"/>
                </a:cubicBezTo>
                <a:cubicBezTo>
                  <a:pt x="9231" y="3498"/>
                  <a:pt x="8601" y="2868"/>
                  <a:pt x="7813" y="2868"/>
                </a:cubicBezTo>
                <a:cubicBezTo>
                  <a:pt x="7026" y="2868"/>
                  <a:pt x="6396" y="3498"/>
                  <a:pt x="6396" y="4285"/>
                </a:cubicBezTo>
                <a:cubicBezTo>
                  <a:pt x="6396" y="4443"/>
                  <a:pt x="6427" y="4600"/>
                  <a:pt x="6459" y="4758"/>
                </a:cubicBezTo>
                <a:cubicBezTo>
                  <a:pt x="5860" y="4947"/>
                  <a:pt x="5356" y="5262"/>
                  <a:pt x="4946" y="5672"/>
                </a:cubicBezTo>
                <a:lnTo>
                  <a:pt x="4946" y="3498"/>
                </a:lnTo>
                <a:cubicBezTo>
                  <a:pt x="5797" y="3340"/>
                  <a:pt x="6364" y="2584"/>
                  <a:pt x="6364" y="1765"/>
                </a:cubicBezTo>
                <a:cubicBezTo>
                  <a:pt x="6364" y="788"/>
                  <a:pt x="5576" y="1"/>
                  <a:pt x="4600"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nvGrpSpPr>
          <p:cNvPr id="11007" name="Google Shape;11007;p114"/>
          <p:cNvGrpSpPr/>
          <p:nvPr/>
        </p:nvGrpSpPr>
        <p:grpSpPr>
          <a:xfrm>
            <a:off x="1126978" y="3030927"/>
            <a:ext cx="635105" cy="634951"/>
            <a:chOff x="-21298675" y="2414425"/>
            <a:chExt cx="306400" cy="306325"/>
          </a:xfrm>
        </p:grpSpPr>
        <p:sp>
          <p:nvSpPr>
            <p:cNvPr id="11008" name="Google Shape;11008;p114"/>
            <p:cNvSpPr/>
            <p:nvPr/>
          </p:nvSpPr>
          <p:spPr>
            <a:xfrm>
              <a:off x="-21083650" y="2444575"/>
              <a:ext cx="20500" cy="18525"/>
            </a:xfrm>
            <a:custGeom>
              <a:avLst/>
              <a:gdLst/>
              <a:ahLst/>
              <a:cxnLst/>
              <a:rect l="l" t="t" r="r" b="b"/>
              <a:pathLst>
                <a:path w="820" h="741" extrusionOk="0">
                  <a:moveTo>
                    <a:pt x="410" y="1"/>
                  </a:moveTo>
                  <a:cubicBezTo>
                    <a:pt x="323" y="1"/>
                    <a:pt x="237" y="40"/>
                    <a:pt x="158" y="119"/>
                  </a:cubicBezTo>
                  <a:cubicBezTo>
                    <a:pt x="0" y="276"/>
                    <a:pt x="0" y="465"/>
                    <a:pt x="158" y="623"/>
                  </a:cubicBezTo>
                  <a:cubicBezTo>
                    <a:pt x="237" y="702"/>
                    <a:pt x="331" y="741"/>
                    <a:pt x="422" y="741"/>
                  </a:cubicBezTo>
                  <a:cubicBezTo>
                    <a:pt x="512" y="741"/>
                    <a:pt x="599" y="702"/>
                    <a:pt x="662" y="623"/>
                  </a:cubicBezTo>
                  <a:cubicBezTo>
                    <a:pt x="819" y="465"/>
                    <a:pt x="819" y="276"/>
                    <a:pt x="662" y="119"/>
                  </a:cubicBezTo>
                  <a:cubicBezTo>
                    <a:pt x="583" y="40"/>
                    <a:pt x="496" y="1"/>
                    <a:pt x="410"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1009" name="Google Shape;11009;p114"/>
            <p:cNvSpPr/>
            <p:nvPr/>
          </p:nvSpPr>
          <p:spPr>
            <a:xfrm>
              <a:off x="-21298675" y="2414425"/>
              <a:ext cx="306400" cy="306325"/>
            </a:xfrm>
            <a:custGeom>
              <a:avLst/>
              <a:gdLst/>
              <a:ahLst/>
              <a:cxnLst/>
              <a:rect l="l" t="t" r="r" b="b"/>
              <a:pathLst>
                <a:path w="12256" h="12253" extrusionOk="0">
                  <a:moveTo>
                    <a:pt x="9420" y="695"/>
                  </a:moveTo>
                  <a:cubicBezTo>
                    <a:pt x="9704" y="695"/>
                    <a:pt x="9924" y="695"/>
                    <a:pt x="10176" y="726"/>
                  </a:cubicBezTo>
                  <a:cubicBezTo>
                    <a:pt x="10429" y="789"/>
                    <a:pt x="10555" y="1136"/>
                    <a:pt x="10365" y="1325"/>
                  </a:cubicBezTo>
                  <a:cubicBezTo>
                    <a:pt x="10208" y="1482"/>
                    <a:pt x="10208" y="1671"/>
                    <a:pt x="10365" y="1829"/>
                  </a:cubicBezTo>
                  <a:cubicBezTo>
                    <a:pt x="10444" y="1908"/>
                    <a:pt x="10531" y="1947"/>
                    <a:pt x="10618" y="1947"/>
                  </a:cubicBezTo>
                  <a:cubicBezTo>
                    <a:pt x="10704" y="1947"/>
                    <a:pt x="10791" y="1908"/>
                    <a:pt x="10870" y="1829"/>
                  </a:cubicBezTo>
                  <a:cubicBezTo>
                    <a:pt x="10942" y="1767"/>
                    <a:pt x="11027" y="1739"/>
                    <a:pt x="11111" y="1739"/>
                  </a:cubicBezTo>
                  <a:cubicBezTo>
                    <a:pt x="11283" y="1739"/>
                    <a:pt x="11447" y="1858"/>
                    <a:pt x="11468" y="2049"/>
                  </a:cubicBezTo>
                  <a:cubicBezTo>
                    <a:pt x="11594" y="2711"/>
                    <a:pt x="11563" y="3719"/>
                    <a:pt x="11248" y="4727"/>
                  </a:cubicBezTo>
                  <a:cubicBezTo>
                    <a:pt x="11060" y="4761"/>
                    <a:pt x="10872" y="4778"/>
                    <a:pt x="10684" y="4778"/>
                  </a:cubicBezTo>
                  <a:cubicBezTo>
                    <a:pt x="9833" y="4778"/>
                    <a:pt x="9006" y="4433"/>
                    <a:pt x="8412" y="3814"/>
                  </a:cubicBezTo>
                  <a:cubicBezTo>
                    <a:pt x="7656" y="3058"/>
                    <a:pt x="7341" y="1986"/>
                    <a:pt x="7499" y="978"/>
                  </a:cubicBezTo>
                  <a:cubicBezTo>
                    <a:pt x="8129" y="789"/>
                    <a:pt x="8822" y="695"/>
                    <a:pt x="9420" y="695"/>
                  </a:cubicBezTo>
                  <a:close/>
                  <a:moveTo>
                    <a:pt x="5102" y="1271"/>
                  </a:moveTo>
                  <a:cubicBezTo>
                    <a:pt x="5187" y="1271"/>
                    <a:pt x="5273" y="1278"/>
                    <a:pt x="5356" y="1293"/>
                  </a:cubicBezTo>
                  <a:cubicBezTo>
                    <a:pt x="5293" y="1356"/>
                    <a:pt x="5167" y="1451"/>
                    <a:pt x="5104" y="1514"/>
                  </a:cubicBezTo>
                  <a:cubicBezTo>
                    <a:pt x="4348" y="2270"/>
                    <a:pt x="3781" y="3373"/>
                    <a:pt x="3466" y="4822"/>
                  </a:cubicBezTo>
                  <a:cubicBezTo>
                    <a:pt x="3182" y="4475"/>
                    <a:pt x="3088" y="4034"/>
                    <a:pt x="3088" y="3562"/>
                  </a:cubicBezTo>
                  <a:cubicBezTo>
                    <a:pt x="3088" y="2900"/>
                    <a:pt x="3340" y="2270"/>
                    <a:pt x="3844" y="1797"/>
                  </a:cubicBezTo>
                  <a:cubicBezTo>
                    <a:pt x="4163" y="1478"/>
                    <a:pt x="4639" y="1271"/>
                    <a:pt x="5102" y="1271"/>
                  </a:cubicBezTo>
                  <a:close/>
                  <a:moveTo>
                    <a:pt x="6711" y="1293"/>
                  </a:moveTo>
                  <a:lnTo>
                    <a:pt x="6711" y="1293"/>
                  </a:lnTo>
                  <a:cubicBezTo>
                    <a:pt x="6616" y="2427"/>
                    <a:pt x="7026" y="3530"/>
                    <a:pt x="7845" y="4318"/>
                  </a:cubicBezTo>
                  <a:cubicBezTo>
                    <a:pt x="8562" y="5035"/>
                    <a:pt x="9540" y="5465"/>
                    <a:pt x="10565" y="5465"/>
                  </a:cubicBezTo>
                  <a:cubicBezTo>
                    <a:pt x="10666" y="5465"/>
                    <a:pt x="10768" y="5460"/>
                    <a:pt x="10870" y="5452"/>
                  </a:cubicBezTo>
                  <a:lnTo>
                    <a:pt x="10870" y="5452"/>
                  </a:lnTo>
                  <a:cubicBezTo>
                    <a:pt x="10681" y="5893"/>
                    <a:pt x="10429" y="6303"/>
                    <a:pt x="10082" y="6618"/>
                  </a:cubicBezTo>
                  <a:cubicBezTo>
                    <a:pt x="8444" y="8256"/>
                    <a:pt x="4852" y="8413"/>
                    <a:pt x="3749" y="8413"/>
                  </a:cubicBezTo>
                  <a:cubicBezTo>
                    <a:pt x="3749" y="7311"/>
                    <a:pt x="3907" y="3719"/>
                    <a:pt x="5545" y="2081"/>
                  </a:cubicBezTo>
                  <a:cubicBezTo>
                    <a:pt x="5860" y="1766"/>
                    <a:pt x="6270" y="1482"/>
                    <a:pt x="6711" y="1293"/>
                  </a:cubicBezTo>
                  <a:close/>
                  <a:moveTo>
                    <a:pt x="10838" y="6838"/>
                  </a:moveTo>
                  <a:cubicBezTo>
                    <a:pt x="10964" y="7405"/>
                    <a:pt x="10775" y="7941"/>
                    <a:pt x="10365" y="8382"/>
                  </a:cubicBezTo>
                  <a:cubicBezTo>
                    <a:pt x="9888" y="8860"/>
                    <a:pt x="9239" y="9101"/>
                    <a:pt x="8593" y="9101"/>
                  </a:cubicBezTo>
                  <a:cubicBezTo>
                    <a:pt x="8132" y="9101"/>
                    <a:pt x="7672" y="8978"/>
                    <a:pt x="7278" y="8728"/>
                  </a:cubicBezTo>
                  <a:cubicBezTo>
                    <a:pt x="8759" y="8382"/>
                    <a:pt x="9893" y="7878"/>
                    <a:pt x="10586" y="7122"/>
                  </a:cubicBezTo>
                  <a:cubicBezTo>
                    <a:pt x="10681" y="7027"/>
                    <a:pt x="10775" y="6933"/>
                    <a:pt x="10838" y="6838"/>
                  </a:cubicBezTo>
                  <a:close/>
                  <a:moveTo>
                    <a:pt x="1902" y="8486"/>
                  </a:moveTo>
                  <a:cubicBezTo>
                    <a:pt x="2355" y="8486"/>
                    <a:pt x="2810" y="8652"/>
                    <a:pt x="3151" y="9012"/>
                  </a:cubicBezTo>
                  <a:cubicBezTo>
                    <a:pt x="3718" y="9611"/>
                    <a:pt x="3812" y="10461"/>
                    <a:pt x="3466" y="11123"/>
                  </a:cubicBezTo>
                  <a:cubicBezTo>
                    <a:pt x="3151" y="10619"/>
                    <a:pt x="2804" y="10178"/>
                    <a:pt x="2426" y="9768"/>
                  </a:cubicBezTo>
                  <a:cubicBezTo>
                    <a:pt x="2017" y="9358"/>
                    <a:pt x="1544" y="9012"/>
                    <a:pt x="1040" y="8697"/>
                  </a:cubicBezTo>
                  <a:cubicBezTo>
                    <a:pt x="1304" y="8559"/>
                    <a:pt x="1603" y="8486"/>
                    <a:pt x="1902" y="8486"/>
                  </a:cubicBezTo>
                  <a:close/>
                  <a:moveTo>
                    <a:pt x="9468" y="0"/>
                  </a:moveTo>
                  <a:cubicBezTo>
                    <a:pt x="8905" y="0"/>
                    <a:pt x="8299" y="77"/>
                    <a:pt x="7719" y="222"/>
                  </a:cubicBezTo>
                  <a:cubicBezTo>
                    <a:pt x="7247" y="348"/>
                    <a:pt x="6711" y="537"/>
                    <a:pt x="6112" y="852"/>
                  </a:cubicBezTo>
                  <a:cubicBezTo>
                    <a:pt x="5784" y="699"/>
                    <a:pt x="5436" y="625"/>
                    <a:pt x="5090" y="625"/>
                  </a:cubicBezTo>
                  <a:cubicBezTo>
                    <a:pt x="4442" y="625"/>
                    <a:pt x="3802" y="884"/>
                    <a:pt x="3308" y="1356"/>
                  </a:cubicBezTo>
                  <a:cubicBezTo>
                    <a:pt x="2741" y="1955"/>
                    <a:pt x="2363" y="2774"/>
                    <a:pt x="2363" y="3656"/>
                  </a:cubicBezTo>
                  <a:cubicBezTo>
                    <a:pt x="2363" y="4475"/>
                    <a:pt x="2678" y="5263"/>
                    <a:pt x="3277" y="5893"/>
                  </a:cubicBezTo>
                  <a:cubicBezTo>
                    <a:pt x="3151" y="6649"/>
                    <a:pt x="3088" y="7405"/>
                    <a:pt x="3088" y="8130"/>
                  </a:cubicBezTo>
                  <a:cubicBezTo>
                    <a:pt x="2722" y="7947"/>
                    <a:pt x="2319" y="7854"/>
                    <a:pt x="1916" y="7854"/>
                  </a:cubicBezTo>
                  <a:cubicBezTo>
                    <a:pt x="1278" y="7854"/>
                    <a:pt x="641" y="8088"/>
                    <a:pt x="158" y="8571"/>
                  </a:cubicBezTo>
                  <a:cubicBezTo>
                    <a:pt x="0" y="8728"/>
                    <a:pt x="63" y="9043"/>
                    <a:pt x="252" y="9169"/>
                  </a:cubicBezTo>
                  <a:cubicBezTo>
                    <a:pt x="1481" y="9800"/>
                    <a:pt x="2489" y="10808"/>
                    <a:pt x="3119" y="12036"/>
                  </a:cubicBezTo>
                  <a:cubicBezTo>
                    <a:pt x="3191" y="12180"/>
                    <a:pt x="3315" y="12252"/>
                    <a:pt x="3443" y="12252"/>
                  </a:cubicBezTo>
                  <a:cubicBezTo>
                    <a:pt x="3539" y="12252"/>
                    <a:pt x="3637" y="12212"/>
                    <a:pt x="3718" y="12131"/>
                  </a:cubicBezTo>
                  <a:cubicBezTo>
                    <a:pt x="4506" y="11343"/>
                    <a:pt x="4663" y="10146"/>
                    <a:pt x="4159" y="9201"/>
                  </a:cubicBezTo>
                  <a:cubicBezTo>
                    <a:pt x="4884" y="9201"/>
                    <a:pt x="5671" y="9138"/>
                    <a:pt x="6396" y="9012"/>
                  </a:cubicBezTo>
                  <a:cubicBezTo>
                    <a:pt x="7026" y="9611"/>
                    <a:pt x="7814" y="9926"/>
                    <a:pt x="8633" y="9926"/>
                  </a:cubicBezTo>
                  <a:cubicBezTo>
                    <a:pt x="9452" y="9926"/>
                    <a:pt x="10271" y="9611"/>
                    <a:pt x="10933" y="8980"/>
                  </a:cubicBezTo>
                  <a:cubicBezTo>
                    <a:pt x="11657" y="8224"/>
                    <a:pt x="11878" y="7122"/>
                    <a:pt x="11437" y="6176"/>
                  </a:cubicBezTo>
                  <a:cubicBezTo>
                    <a:pt x="11752" y="5609"/>
                    <a:pt x="11941" y="5042"/>
                    <a:pt x="12067" y="4570"/>
                  </a:cubicBezTo>
                  <a:cubicBezTo>
                    <a:pt x="12224" y="3625"/>
                    <a:pt x="12256" y="2616"/>
                    <a:pt x="12130" y="1923"/>
                  </a:cubicBezTo>
                  <a:cubicBezTo>
                    <a:pt x="12067" y="1419"/>
                    <a:pt x="11626" y="1041"/>
                    <a:pt x="11153" y="1041"/>
                  </a:cubicBezTo>
                  <a:cubicBezTo>
                    <a:pt x="11122" y="537"/>
                    <a:pt x="10775" y="159"/>
                    <a:pt x="10302" y="65"/>
                  </a:cubicBezTo>
                  <a:cubicBezTo>
                    <a:pt x="10043" y="21"/>
                    <a:pt x="9761" y="0"/>
                    <a:pt x="9468"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1010" name="Google Shape;11010;p114"/>
            <p:cNvSpPr/>
            <p:nvPr/>
          </p:nvSpPr>
          <p:spPr>
            <a:xfrm>
              <a:off x="-21171875" y="2521375"/>
              <a:ext cx="73275" cy="66100"/>
            </a:xfrm>
            <a:custGeom>
              <a:avLst/>
              <a:gdLst/>
              <a:ahLst/>
              <a:cxnLst/>
              <a:rect l="l" t="t" r="r" b="b"/>
              <a:pathLst>
                <a:path w="2931" h="2644" extrusionOk="0">
                  <a:moveTo>
                    <a:pt x="1499" y="0"/>
                  </a:moveTo>
                  <a:cubicBezTo>
                    <a:pt x="1471" y="0"/>
                    <a:pt x="1444" y="3"/>
                    <a:pt x="1418" y="8"/>
                  </a:cubicBezTo>
                  <a:lnTo>
                    <a:pt x="1009" y="166"/>
                  </a:lnTo>
                  <a:cubicBezTo>
                    <a:pt x="253" y="386"/>
                    <a:pt x="1" y="1394"/>
                    <a:pt x="568" y="1930"/>
                  </a:cubicBezTo>
                  <a:lnTo>
                    <a:pt x="977" y="2340"/>
                  </a:lnTo>
                  <a:cubicBezTo>
                    <a:pt x="1182" y="2544"/>
                    <a:pt x="1451" y="2643"/>
                    <a:pt x="1720" y="2643"/>
                  </a:cubicBezTo>
                  <a:cubicBezTo>
                    <a:pt x="2154" y="2643"/>
                    <a:pt x="2586" y="2385"/>
                    <a:pt x="2742" y="1898"/>
                  </a:cubicBezTo>
                  <a:lnTo>
                    <a:pt x="2899" y="1457"/>
                  </a:lnTo>
                  <a:cubicBezTo>
                    <a:pt x="2931" y="1268"/>
                    <a:pt x="2805" y="1016"/>
                    <a:pt x="2616" y="985"/>
                  </a:cubicBezTo>
                  <a:cubicBezTo>
                    <a:pt x="2577" y="972"/>
                    <a:pt x="2537" y="966"/>
                    <a:pt x="2498" y="966"/>
                  </a:cubicBezTo>
                  <a:cubicBezTo>
                    <a:pt x="2344" y="966"/>
                    <a:pt x="2200" y="1061"/>
                    <a:pt x="2175" y="1237"/>
                  </a:cubicBezTo>
                  <a:lnTo>
                    <a:pt x="2017" y="1646"/>
                  </a:lnTo>
                  <a:cubicBezTo>
                    <a:pt x="1977" y="1806"/>
                    <a:pt x="1836" y="1890"/>
                    <a:pt x="1682" y="1890"/>
                  </a:cubicBezTo>
                  <a:cubicBezTo>
                    <a:pt x="1593" y="1890"/>
                    <a:pt x="1499" y="1862"/>
                    <a:pt x="1418" y="1804"/>
                  </a:cubicBezTo>
                  <a:lnTo>
                    <a:pt x="1040" y="1426"/>
                  </a:lnTo>
                  <a:cubicBezTo>
                    <a:pt x="851" y="1237"/>
                    <a:pt x="914" y="922"/>
                    <a:pt x="1198" y="827"/>
                  </a:cubicBezTo>
                  <a:lnTo>
                    <a:pt x="1639" y="670"/>
                  </a:lnTo>
                  <a:cubicBezTo>
                    <a:pt x="1828" y="607"/>
                    <a:pt x="1891" y="386"/>
                    <a:pt x="1859" y="229"/>
                  </a:cubicBezTo>
                  <a:cubicBezTo>
                    <a:pt x="1807" y="70"/>
                    <a:pt x="1643" y="0"/>
                    <a:pt x="1499"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11011" name="Google Shape;11011;p114"/>
          <p:cNvGrpSpPr/>
          <p:nvPr/>
        </p:nvGrpSpPr>
        <p:grpSpPr>
          <a:xfrm>
            <a:off x="1126149" y="3820171"/>
            <a:ext cx="636764" cy="593909"/>
            <a:chOff x="-21299475" y="2798025"/>
            <a:chExt cx="307200" cy="286525"/>
          </a:xfrm>
        </p:grpSpPr>
        <p:sp>
          <p:nvSpPr>
            <p:cNvPr id="11012" name="Google Shape;11012;p114"/>
            <p:cNvSpPr/>
            <p:nvPr/>
          </p:nvSpPr>
          <p:spPr>
            <a:xfrm>
              <a:off x="-21153750" y="2798025"/>
              <a:ext cx="17350" cy="53575"/>
            </a:xfrm>
            <a:custGeom>
              <a:avLst/>
              <a:gdLst/>
              <a:ahLst/>
              <a:cxnLst/>
              <a:rect l="l" t="t" r="r" b="b"/>
              <a:pathLst>
                <a:path w="694" h="2143" extrusionOk="0">
                  <a:moveTo>
                    <a:pt x="347" y="0"/>
                  </a:moveTo>
                  <a:cubicBezTo>
                    <a:pt x="158" y="0"/>
                    <a:pt x="0" y="158"/>
                    <a:pt x="0" y="347"/>
                  </a:cubicBezTo>
                  <a:lnTo>
                    <a:pt x="0" y="1765"/>
                  </a:lnTo>
                  <a:cubicBezTo>
                    <a:pt x="0" y="1985"/>
                    <a:pt x="158" y="2143"/>
                    <a:pt x="347" y="2143"/>
                  </a:cubicBezTo>
                  <a:cubicBezTo>
                    <a:pt x="536" y="2143"/>
                    <a:pt x="693" y="1985"/>
                    <a:pt x="693" y="1765"/>
                  </a:cubicBezTo>
                  <a:lnTo>
                    <a:pt x="693" y="347"/>
                  </a:lnTo>
                  <a:cubicBezTo>
                    <a:pt x="693" y="158"/>
                    <a:pt x="536" y="0"/>
                    <a:pt x="347"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1013" name="Google Shape;11013;p114"/>
            <p:cNvSpPr/>
            <p:nvPr/>
          </p:nvSpPr>
          <p:spPr>
            <a:xfrm>
              <a:off x="-21256925" y="2838400"/>
              <a:ext cx="45700" cy="44525"/>
            </a:xfrm>
            <a:custGeom>
              <a:avLst/>
              <a:gdLst/>
              <a:ahLst/>
              <a:cxnLst/>
              <a:rect l="l" t="t" r="r" b="b"/>
              <a:pathLst>
                <a:path w="1828" h="1781" extrusionOk="0">
                  <a:moveTo>
                    <a:pt x="410" y="0"/>
                  </a:moveTo>
                  <a:cubicBezTo>
                    <a:pt x="323" y="0"/>
                    <a:pt x="236" y="39"/>
                    <a:pt x="158" y="118"/>
                  </a:cubicBezTo>
                  <a:cubicBezTo>
                    <a:pt x="0" y="276"/>
                    <a:pt x="0" y="465"/>
                    <a:pt x="158" y="622"/>
                  </a:cubicBezTo>
                  <a:lnTo>
                    <a:pt x="1166" y="1662"/>
                  </a:lnTo>
                  <a:cubicBezTo>
                    <a:pt x="1245" y="1741"/>
                    <a:pt x="1331" y="1780"/>
                    <a:pt x="1418" y="1780"/>
                  </a:cubicBezTo>
                  <a:cubicBezTo>
                    <a:pt x="1504" y="1780"/>
                    <a:pt x="1591" y="1741"/>
                    <a:pt x="1670" y="1662"/>
                  </a:cubicBezTo>
                  <a:cubicBezTo>
                    <a:pt x="1827" y="1504"/>
                    <a:pt x="1827" y="1315"/>
                    <a:pt x="1670" y="1158"/>
                  </a:cubicBezTo>
                  <a:lnTo>
                    <a:pt x="662" y="118"/>
                  </a:lnTo>
                  <a:cubicBezTo>
                    <a:pt x="583" y="39"/>
                    <a:pt x="496" y="0"/>
                    <a:pt x="410"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1014" name="Google Shape;11014;p114"/>
            <p:cNvSpPr/>
            <p:nvPr/>
          </p:nvSpPr>
          <p:spPr>
            <a:xfrm>
              <a:off x="-21079725" y="2838400"/>
              <a:ext cx="45700" cy="44525"/>
            </a:xfrm>
            <a:custGeom>
              <a:avLst/>
              <a:gdLst/>
              <a:ahLst/>
              <a:cxnLst/>
              <a:rect l="l" t="t" r="r" b="b"/>
              <a:pathLst>
                <a:path w="1828" h="1781" extrusionOk="0">
                  <a:moveTo>
                    <a:pt x="1418" y="0"/>
                  </a:moveTo>
                  <a:cubicBezTo>
                    <a:pt x="1332" y="0"/>
                    <a:pt x="1245" y="39"/>
                    <a:pt x="1166" y="118"/>
                  </a:cubicBezTo>
                  <a:lnTo>
                    <a:pt x="158" y="1158"/>
                  </a:lnTo>
                  <a:cubicBezTo>
                    <a:pt x="1" y="1315"/>
                    <a:pt x="1" y="1504"/>
                    <a:pt x="158" y="1662"/>
                  </a:cubicBezTo>
                  <a:cubicBezTo>
                    <a:pt x="237" y="1741"/>
                    <a:pt x="324" y="1780"/>
                    <a:pt x="410" y="1780"/>
                  </a:cubicBezTo>
                  <a:cubicBezTo>
                    <a:pt x="497" y="1780"/>
                    <a:pt x="584" y="1741"/>
                    <a:pt x="662" y="1662"/>
                  </a:cubicBezTo>
                  <a:lnTo>
                    <a:pt x="1671" y="622"/>
                  </a:lnTo>
                  <a:cubicBezTo>
                    <a:pt x="1828" y="465"/>
                    <a:pt x="1828" y="276"/>
                    <a:pt x="1671" y="118"/>
                  </a:cubicBezTo>
                  <a:cubicBezTo>
                    <a:pt x="1592" y="39"/>
                    <a:pt x="1505" y="0"/>
                    <a:pt x="1418"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1015" name="Google Shape;11015;p114"/>
            <p:cNvSpPr/>
            <p:nvPr/>
          </p:nvSpPr>
          <p:spPr>
            <a:xfrm>
              <a:off x="-21113575" y="2825000"/>
              <a:ext cx="26800" cy="35050"/>
            </a:xfrm>
            <a:custGeom>
              <a:avLst/>
              <a:gdLst/>
              <a:ahLst/>
              <a:cxnLst/>
              <a:rect l="l" t="t" r="r" b="b"/>
              <a:pathLst>
                <a:path w="1072" h="1402" extrusionOk="0">
                  <a:moveTo>
                    <a:pt x="647" y="0"/>
                  </a:moveTo>
                  <a:cubicBezTo>
                    <a:pt x="510" y="0"/>
                    <a:pt x="386" y="71"/>
                    <a:pt x="315" y="213"/>
                  </a:cubicBezTo>
                  <a:lnTo>
                    <a:pt x="32" y="906"/>
                  </a:lnTo>
                  <a:cubicBezTo>
                    <a:pt x="0" y="1095"/>
                    <a:pt x="95" y="1284"/>
                    <a:pt x="252" y="1379"/>
                  </a:cubicBezTo>
                  <a:cubicBezTo>
                    <a:pt x="298" y="1394"/>
                    <a:pt x="344" y="1402"/>
                    <a:pt x="388" y="1402"/>
                  </a:cubicBezTo>
                  <a:cubicBezTo>
                    <a:pt x="527" y="1402"/>
                    <a:pt x="653" y="1325"/>
                    <a:pt x="725" y="1158"/>
                  </a:cubicBezTo>
                  <a:lnTo>
                    <a:pt x="977" y="497"/>
                  </a:lnTo>
                  <a:cubicBezTo>
                    <a:pt x="1071" y="308"/>
                    <a:pt x="977" y="119"/>
                    <a:pt x="788" y="24"/>
                  </a:cubicBezTo>
                  <a:cubicBezTo>
                    <a:pt x="740" y="8"/>
                    <a:pt x="693" y="0"/>
                    <a:pt x="647"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1016" name="Google Shape;11016;p114"/>
            <p:cNvSpPr/>
            <p:nvPr/>
          </p:nvSpPr>
          <p:spPr>
            <a:xfrm>
              <a:off x="-21204175" y="2825000"/>
              <a:ext cx="27600" cy="35050"/>
            </a:xfrm>
            <a:custGeom>
              <a:avLst/>
              <a:gdLst/>
              <a:ahLst/>
              <a:cxnLst/>
              <a:rect l="l" t="t" r="r" b="b"/>
              <a:pathLst>
                <a:path w="1104" h="1402" extrusionOk="0">
                  <a:moveTo>
                    <a:pt x="429" y="0"/>
                  </a:moveTo>
                  <a:cubicBezTo>
                    <a:pt x="381" y="0"/>
                    <a:pt x="332" y="8"/>
                    <a:pt x="285" y="24"/>
                  </a:cubicBezTo>
                  <a:cubicBezTo>
                    <a:pt x="95" y="119"/>
                    <a:pt x="1" y="308"/>
                    <a:pt x="95" y="497"/>
                  </a:cubicBezTo>
                  <a:lnTo>
                    <a:pt x="348" y="1158"/>
                  </a:lnTo>
                  <a:cubicBezTo>
                    <a:pt x="419" y="1325"/>
                    <a:pt x="545" y="1402"/>
                    <a:pt x="684" y="1402"/>
                  </a:cubicBezTo>
                  <a:cubicBezTo>
                    <a:pt x="728" y="1402"/>
                    <a:pt x="774" y="1394"/>
                    <a:pt x="820" y="1379"/>
                  </a:cubicBezTo>
                  <a:cubicBezTo>
                    <a:pt x="1041" y="1284"/>
                    <a:pt x="1104" y="1095"/>
                    <a:pt x="1041" y="906"/>
                  </a:cubicBezTo>
                  <a:lnTo>
                    <a:pt x="757" y="213"/>
                  </a:lnTo>
                  <a:cubicBezTo>
                    <a:pt x="710" y="71"/>
                    <a:pt x="574" y="0"/>
                    <a:pt x="429"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1017" name="Google Shape;11017;p114"/>
            <p:cNvSpPr/>
            <p:nvPr/>
          </p:nvSpPr>
          <p:spPr>
            <a:xfrm>
              <a:off x="-21297900" y="2940575"/>
              <a:ext cx="54375" cy="18150"/>
            </a:xfrm>
            <a:custGeom>
              <a:avLst/>
              <a:gdLst/>
              <a:ahLst/>
              <a:cxnLst/>
              <a:rect l="l" t="t" r="r" b="b"/>
              <a:pathLst>
                <a:path w="2175" h="726" extrusionOk="0">
                  <a:moveTo>
                    <a:pt x="379" y="1"/>
                  </a:moveTo>
                  <a:cubicBezTo>
                    <a:pt x="158" y="1"/>
                    <a:pt x="1" y="158"/>
                    <a:pt x="1" y="379"/>
                  </a:cubicBezTo>
                  <a:cubicBezTo>
                    <a:pt x="1" y="568"/>
                    <a:pt x="158" y="725"/>
                    <a:pt x="379" y="725"/>
                  </a:cubicBezTo>
                  <a:lnTo>
                    <a:pt x="1828" y="725"/>
                  </a:lnTo>
                  <a:cubicBezTo>
                    <a:pt x="2017" y="725"/>
                    <a:pt x="2175" y="568"/>
                    <a:pt x="2175" y="379"/>
                  </a:cubicBezTo>
                  <a:cubicBezTo>
                    <a:pt x="2175" y="158"/>
                    <a:pt x="2017" y="1"/>
                    <a:pt x="1828"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1018" name="Google Shape;11018;p114"/>
            <p:cNvSpPr/>
            <p:nvPr/>
          </p:nvSpPr>
          <p:spPr>
            <a:xfrm>
              <a:off x="-21047425" y="2940575"/>
              <a:ext cx="54375" cy="18150"/>
            </a:xfrm>
            <a:custGeom>
              <a:avLst/>
              <a:gdLst/>
              <a:ahLst/>
              <a:cxnLst/>
              <a:rect l="l" t="t" r="r" b="b"/>
              <a:pathLst>
                <a:path w="2175" h="726" extrusionOk="0">
                  <a:moveTo>
                    <a:pt x="347" y="1"/>
                  </a:moveTo>
                  <a:cubicBezTo>
                    <a:pt x="158" y="1"/>
                    <a:pt x="0" y="158"/>
                    <a:pt x="0" y="379"/>
                  </a:cubicBezTo>
                  <a:cubicBezTo>
                    <a:pt x="0" y="568"/>
                    <a:pt x="158" y="725"/>
                    <a:pt x="347" y="725"/>
                  </a:cubicBezTo>
                  <a:lnTo>
                    <a:pt x="1796" y="725"/>
                  </a:lnTo>
                  <a:cubicBezTo>
                    <a:pt x="2017" y="725"/>
                    <a:pt x="2174" y="568"/>
                    <a:pt x="2174" y="379"/>
                  </a:cubicBezTo>
                  <a:cubicBezTo>
                    <a:pt x="2174" y="158"/>
                    <a:pt x="2017" y="1"/>
                    <a:pt x="1796"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1019" name="Google Shape;11019;p114"/>
            <p:cNvSpPr/>
            <p:nvPr/>
          </p:nvSpPr>
          <p:spPr>
            <a:xfrm>
              <a:off x="-21056100" y="2892750"/>
              <a:ext cx="37050" cy="25150"/>
            </a:xfrm>
            <a:custGeom>
              <a:avLst/>
              <a:gdLst/>
              <a:ahLst/>
              <a:cxnLst/>
              <a:rect l="l" t="t" r="r" b="b"/>
              <a:pathLst>
                <a:path w="1482" h="1006" extrusionOk="0">
                  <a:moveTo>
                    <a:pt x="1082" y="0"/>
                  </a:moveTo>
                  <a:cubicBezTo>
                    <a:pt x="1038" y="0"/>
                    <a:pt x="992" y="8"/>
                    <a:pt x="946" y="23"/>
                  </a:cubicBezTo>
                  <a:lnTo>
                    <a:pt x="284" y="307"/>
                  </a:lnTo>
                  <a:cubicBezTo>
                    <a:pt x="64" y="433"/>
                    <a:pt x="1" y="622"/>
                    <a:pt x="64" y="780"/>
                  </a:cubicBezTo>
                  <a:cubicBezTo>
                    <a:pt x="133" y="918"/>
                    <a:pt x="253" y="1006"/>
                    <a:pt x="386" y="1006"/>
                  </a:cubicBezTo>
                  <a:cubicBezTo>
                    <a:pt x="435" y="1006"/>
                    <a:pt x="486" y="994"/>
                    <a:pt x="536" y="969"/>
                  </a:cubicBezTo>
                  <a:lnTo>
                    <a:pt x="1198" y="717"/>
                  </a:lnTo>
                  <a:cubicBezTo>
                    <a:pt x="1419" y="622"/>
                    <a:pt x="1482" y="433"/>
                    <a:pt x="1419" y="244"/>
                  </a:cubicBezTo>
                  <a:cubicBezTo>
                    <a:pt x="1347" y="77"/>
                    <a:pt x="1221" y="0"/>
                    <a:pt x="1082"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1020" name="Google Shape;11020;p114"/>
            <p:cNvSpPr/>
            <p:nvPr/>
          </p:nvSpPr>
          <p:spPr>
            <a:xfrm>
              <a:off x="-21271100" y="2893975"/>
              <a:ext cx="37825" cy="25150"/>
            </a:xfrm>
            <a:custGeom>
              <a:avLst/>
              <a:gdLst/>
              <a:ahLst/>
              <a:cxnLst/>
              <a:rect l="l" t="t" r="r" b="b"/>
              <a:pathLst>
                <a:path w="1513" h="1006" extrusionOk="0">
                  <a:moveTo>
                    <a:pt x="398" y="0"/>
                  </a:moveTo>
                  <a:cubicBezTo>
                    <a:pt x="254" y="0"/>
                    <a:pt x="141" y="88"/>
                    <a:pt x="95" y="227"/>
                  </a:cubicBezTo>
                  <a:cubicBezTo>
                    <a:pt x="0" y="416"/>
                    <a:pt x="95" y="605"/>
                    <a:pt x="284" y="699"/>
                  </a:cubicBezTo>
                  <a:lnTo>
                    <a:pt x="945" y="983"/>
                  </a:lnTo>
                  <a:cubicBezTo>
                    <a:pt x="991" y="998"/>
                    <a:pt x="1039" y="1006"/>
                    <a:pt x="1086" y="1006"/>
                  </a:cubicBezTo>
                  <a:cubicBezTo>
                    <a:pt x="1232" y="1006"/>
                    <a:pt x="1370" y="929"/>
                    <a:pt x="1418" y="762"/>
                  </a:cubicBezTo>
                  <a:cubicBezTo>
                    <a:pt x="1512" y="573"/>
                    <a:pt x="1418" y="384"/>
                    <a:pt x="1229" y="290"/>
                  </a:cubicBezTo>
                  <a:lnTo>
                    <a:pt x="567" y="37"/>
                  </a:lnTo>
                  <a:cubicBezTo>
                    <a:pt x="508" y="12"/>
                    <a:pt x="451" y="0"/>
                    <a:pt x="398"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1021" name="Google Shape;11021;p114"/>
            <p:cNvSpPr/>
            <p:nvPr/>
          </p:nvSpPr>
          <p:spPr>
            <a:xfrm>
              <a:off x="-21298675" y="3049275"/>
              <a:ext cx="306400" cy="35275"/>
            </a:xfrm>
            <a:custGeom>
              <a:avLst/>
              <a:gdLst/>
              <a:ahLst/>
              <a:cxnLst/>
              <a:rect l="l" t="t" r="r" b="b"/>
              <a:pathLst>
                <a:path w="12256" h="1411" extrusionOk="0">
                  <a:moveTo>
                    <a:pt x="1832" y="0"/>
                  </a:moveTo>
                  <a:cubicBezTo>
                    <a:pt x="1379" y="0"/>
                    <a:pt x="930" y="126"/>
                    <a:pt x="567" y="378"/>
                  </a:cubicBezTo>
                  <a:cubicBezTo>
                    <a:pt x="473" y="441"/>
                    <a:pt x="347" y="505"/>
                    <a:pt x="284" y="536"/>
                  </a:cubicBezTo>
                  <a:cubicBezTo>
                    <a:pt x="95" y="631"/>
                    <a:pt x="0" y="820"/>
                    <a:pt x="95" y="1009"/>
                  </a:cubicBezTo>
                  <a:cubicBezTo>
                    <a:pt x="143" y="1176"/>
                    <a:pt x="263" y="1252"/>
                    <a:pt x="414" y="1252"/>
                  </a:cubicBezTo>
                  <a:cubicBezTo>
                    <a:pt x="462" y="1252"/>
                    <a:pt x="514" y="1244"/>
                    <a:pt x="567" y="1229"/>
                  </a:cubicBezTo>
                  <a:cubicBezTo>
                    <a:pt x="725" y="1166"/>
                    <a:pt x="819" y="1103"/>
                    <a:pt x="946" y="1009"/>
                  </a:cubicBezTo>
                  <a:cubicBezTo>
                    <a:pt x="1198" y="835"/>
                    <a:pt x="1505" y="749"/>
                    <a:pt x="1816" y="749"/>
                  </a:cubicBezTo>
                  <a:cubicBezTo>
                    <a:pt x="2127" y="749"/>
                    <a:pt x="2442" y="835"/>
                    <a:pt x="2710" y="1009"/>
                  </a:cubicBezTo>
                  <a:cubicBezTo>
                    <a:pt x="3104" y="1276"/>
                    <a:pt x="3553" y="1410"/>
                    <a:pt x="3994" y="1410"/>
                  </a:cubicBezTo>
                  <a:cubicBezTo>
                    <a:pt x="4435" y="1410"/>
                    <a:pt x="4868" y="1276"/>
                    <a:pt x="5230" y="1009"/>
                  </a:cubicBezTo>
                  <a:cubicBezTo>
                    <a:pt x="5498" y="835"/>
                    <a:pt x="5805" y="749"/>
                    <a:pt x="6108" y="749"/>
                  </a:cubicBezTo>
                  <a:cubicBezTo>
                    <a:pt x="6412" y="749"/>
                    <a:pt x="6711" y="835"/>
                    <a:pt x="6963" y="1009"/>
                  </a:cubicBezTo>
                  <a:cubicBezTo>
                    <a:pt x="7357" y="1276"/>
                    <a:pt x="7806" y="1410"/>
                    <a:pt x="8247" y="1410"/>
                  </a:cubicBezTo>
                  <a:cubicBezTo>
                    <a:pt x="8688" y="1410"/>
                    <a:pt x="9121" y="1276"/>
                    <a:pt x="9483" y="1009"/>
                  </a:cubicBezTo>
                  <a:cubicBezTo>
                    <a:pt x="9751" y="835"/>
                    <a:pt x="10058" y="749"/>
                    <a:pt x="10369" y="749"/>
                  </a:cubicBezTo>
                  <a:cubicBezTo>
                    <a:pt x="10681" y="749"/>
                    <a:pt x="10996" y="835"/>
                    <a:pt x="11279" y="1009"/>
                  </a:cubicBezTo>
                  <a:cubicBezTo>
                    <a:pt x="11437" y="1103"/>
                    <a:pt x="11531" y="1166"/>
                    <a:pt x="11689" y="1261"/>
                  </a:cubicBezTo>
                  <a:cubicBezTo>
                    <a:pt x="11736" y="1274"/>
                    <a:pt x="11782" y="1280"/>
                    <a:pt x="11825" y="1280"/>
                  </a:cubicBezTo>
                  <a:cubicBezTo>
                    <a:pt x="11984" y="1280"/>
                    <a:pt x="12112" y="1195"/>
                    <a:pt x="12161" y="1072"/>
                  </a:cubicBezTo>
                  <a:cubicBezTo>
                    <a:pt x="12256" y="820"/>
                    <a:pt x="12161" y="599"/>
                    <a:pt x="11972" y="536"/>
                  </a:cubicBezTo>
                  <a:cubicBezTo>
                    <a:pt x="11846" y="505"/>
                    <a:pt x="11783" y="473"/>
                    <a:pt x="11657" y="378"/>
                  </a:cubicBezTo>
                  <a:cubicBezTo>
                    <a:pt x="11279" y="126"/>
                    <a:pt x="10830" y="0"/>
                    <a:pt x="10381" y="0"/>
                  </a:cubicBezTo>
                  <a:cubicBezTo>
                    <a:pt x="9932" y="0"/>
                    <a:pt x="9483" y="126"/>
                    <a:pt x="9105" y="378"/>
                  </a:cubicBezTo>
                  <a:cubicBezTo>
                    <a:pt x="8853" y="568"/>
                    <a:pt x="8546" y="662"/>
                    <a:pt x="8239" y="662"/>
                  </a:cubicBezTo>
                  <a:cubicBezTo>
                    <a:pt x="7932" y="662"/>
                    <a:pt x="7625" y="568"/>
                    <a:pt x="7373" y="378"/>
                  </a:cubicBezTo>
                  <a:cubicBezTo>
                    <a:pt x="6979" y="126"/>
                    <a:pt x="6538" y="0"/>
                    <a:pt x="6101" y="0"/>
                  </a:cubicBezTo>
                  <a:cubicBezTo>
                    <a:pt x="5663" y="0"/>
                    <a:pt x="5230" y="126"/>
                    <a:pt x="4852" y="378"/>
                  </a:cubicBezTo>
                  <a:cubicBezTo>
                    <a:pt x="4600" y="568"/>
                    <a:pt x="4293" y="662"/>
                    <a:pt x="3986" y="662"/>
                  </a:cubicBezTo>
                  <a:cubicBezTo>
                    <a:pt x="3679" y="662"/>
                    <a:pt x="3371" y="568"/>
                    <a:pt x="3119" y="378"/>
                  </a:cubicBezTo>
                  <a:cubicBezTo>
                    <a:pt x="2741" y="126"/>
                    <a:pt x="2284" y="0"/>
                    <a:pt x="1832"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1022" name="Google Shape;11022;p114"/>
            <p:cNvSpPr/>
            <p:nvPr/>
          </p:nvSpPr>
          <p:spPr>
            <a:xfrm>
              <a:off x="-21298675" y="3013050"/>
              <a:ext cx="306400" cy="34675"/>
            </a:xfrm>
            <a:custGeom>
              <a:avLst/>
              <a:gdLst/>
              <a:ahLst/>
              <a:cxnLst/>
              <a:rect l="l" t="t" r="r" b="b"/>
              <a:pathLst>
                <a:path w="12256" h="1387" extrusionOk="0">
                  <a:moveTo>
                    <a:pt x="1832" y="0"/>
                  </a:moveTo>
                  <a:cubicBezTo>
                    <a:pt x="1379" y="0"/>
                    <a:pt x="930" y="126"/>
                    <a:pt x="567" y="378"/>
                  </a:cubicBezTo>
                  <a:cubicBezTo>
                    <a:pt x="473" y="410"/>
                    <a:pt x="347" y="504"/>
                    <a:pt x="284" y="536"/>
                  </a:cubicBezTo>
                  <a:cubicBezTo>
                    <a:pt x="95" y="599"/>
                    <a:pt x="0" y="819"/>
                    <a:pt x="95" y="1008"/>
                  </a:cubicBezTo>
                  <a:cubicBezTo>
                    <a:pt x="141" y="1147"/>
                    <a:pt x="255" y="1234"/>
                    <a:pt x="399" y="1234"/>
                  </a:cubicBezTo>
                  <a:cubicBezTo>
                    <a:pt x="452" y="1234"/>
                    <a:pt x="508" y="1223"/>
                    <a:pt x="567" y="1197"/>
                  </a:cubicBezTo>
                  <a:cubicBezTo>
                    <a:pt x="725" y="1166"/>
                    <a:pt x="819" y="1071"/>
                    <a:pt x="946" y="1008"/>
                  </a:cubicBezTo>
                  <a:cubicBezTo>
                    <a:pt x="1198" y="835"/>
                    <a:pt x="1505" y="748"/>
                    <a:pt x="1816" y="748"/>
                  </a:cubicBezTo>
                  <a:cubicBezTo>
                    <a:pt x="2127" y="748"/>
                    <a:pt x="2442" y="835"/>
                    <a:pt x="2710" y="1008"/>
                  </a:cubicBezTo>
                  <a:cubicBezTo>
                    <a:pt x="3104" y="1260"/>
                    <a:pt x="3553" y="1386"/>
                    <a:pt x="3994" y="1386"/>
                  </a:cubicBezTo>
                  <a:cubicBezTo>
                    <a:pt x="4435" y="1386"/>
                    <a:pt x="4868" y="1260"/>
                    <a:pt x="5230" y="1008"/>
                  </a:cubicBezTo>
                  <a:cubicBezTo>
                    <a:pt x="5498" y="835"/>
                    <a:pt x="5805" y="748"/>
                    <a:pt x="6108" y="748"/>
                  </a:cubicBezTo>
                  <a:cubicBezTo>
                    <a:pt x="6412" y="748"/>
                    <a:pt x="6711" y="835"/>
                    <a:pt x="6963" y="1008"/>
                  </a:cubicBezTo>
                  <a:cubicBezTo>
                    <a:pt x="7357" y="1260"/>
                    <a:pt x="7806" y="1386"/>
                    <a:pt x="8247" y="1386"/>
                  </a:cubicBezTo>
                  <a:cubicBezTo>
                    <a:pt x="8688" y="1386"/>
                    <a:pt x="9121" y="1260"/>
                    <a:pt x="9483" y="1008"/>
                  </a:cubicBezTo>
                  <a:cubicBezTo>
                    <a:pt x="9751" y="835"/>
                    <a:pt x="10058" y="748"/>
                    <a:pt x="10369" y="748"/>
                  </a:cubicBezTo>
                  <a:cubicBezTo>
                    <a:pt x="10681" y="748"/>
                    <a:pt x="10996" y="835"/>
                    <a:pt x="11279" y="1008"/>
                  </a:cubicBezTo>
                  <a:cubicBezTo>
                    <a:pt x="11437" y="1071"/>
                    <a:pt x="11531" y="1166"/>
                    <a:pt x="11689" y="1229"/>
                  </a:cubicBezTo>
                  <a:cubicBezTo>
                    <a:pt x="11741" y="1251"/>
                    <a:pt x="11792" y="1261"/>
                    <a:pt x="11840" y="1261"/>
                  </a:cubicBezTo>
                  <a:cubicBezTo>
                    <a:pt x="11992" y="1261"/>
                    <a:pt x="12113" y="1160"/>
                    <a:pt x="12161" y="1040"/>
                  </a:cubicBezTo>
                  <a:cubicBezTo>
                    <a:pt x="12256" y="819"/>
                    <a:pt x="12161" y="630"/>
                    <a:pt x="11972" y="536"/>
                  </a:cubicBezTo>
                  <a:cubicBezTo>
                    <a:pt x="11846" y="504"/>
                    <a:pt x="11783" y="473"/>
                    <a:pt x="11657" y="378"/>
                  </a:cubicBezTo>
                  <a:cubicBezTo>
                    <a:pt x="11279" y="126"/>
                    <a:pt x="10830" y="0"/>
                    <a:pt x="10381" y="0"/>
                  </a:cubicBezTo>
                  <a:cubicBezTo>
                    <a:pt x="9932" y="0"/>
                    <a:pt x="9483" y="126"/>
                    <a:pt x="9105" y="378"/>
                  </a:cubicBezTo>
                  <a:cubicBezTo>
                    <a:pt x="8853" y="552"/>
                    <a:pt x="8546" y="638"/>
                    <a:pt x="8239" y="638"/>
                  </a:cubicBezTo>
                  <a:cubicBezTo>
                    <a:pt x="7932" y="638"/>
                    <a:pt x="7625" y="552"/>
                    <a:pt x="7373" y="378"/>
                  </a:cubicBezTo>
                  <a:cubicBezTo>
                    <a:pt x="6979" y="126"/>
                    <a:pt x="6538" y="0"/>
                    <a:pt x="6101" y="0"/>
                  </a:cubicBezTo>
                  <a:cubicBezTo>
                    <a:pt x="5663" y="0"/>
                    <a:pt x="5230" y="126"/>
                    <a:pt x="4852" y="378"/>
                  </a:cubicBezTo>
                  <a:cubicBezTo>
                    <a:pt x="4600" y="552"/>
                    <a:pt x="4293" y="638"/>
                    <a:pt x="3986" y="638"/>
                  </a:cubicBezTo>
                  <a:cubicBezTo>
                    <a:pt x="3679" y="638"/>
                    <a:pt x="3371" y="552"/>
                    <a:pt x="3119" y="378"/>
                  </a:cubicBezTo>
                  <a:cubicBezTo>
                    <a:pt x="2741" y="126"/>
                    <a:pt x="2284" y="0"/>
                    <a:pt x="1832"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1023" name="Google Shape;11023;p114"/>
            <p:cNvSpPr/>
            <p:nvPr/>
          </p:nvSpPr>
          <p:spPr>
            <a:xfrm>
              <a:off x="-21299475" y="2868125"/>
              <a:ext cx="307200" cy="143375"/>
            </a:xfrm>
            <a:custGeom>
              <a:avLst/>
              <a:gdLst/>
              <a:ahLst/>
              <a:cxnLst/>
              <a:rect l="l" t="t" r="r" b="b"/>
              <a:pathLst>
                <a:path w="12288" h="5735" extrusionOk="0">
                  <a:moveTo>
                    <a:pt x="6144" y="788"/>
                  </a:moveTo>
                  <a:cubicBezTo>
                    <a:pt x="7531" y="788"/>
                    <a:pt x="8633" y="1891"/>
                    <a:pt x="8633" y="3245"/>
                  </a:cubicBezTo>
                  <a:cubicBezTo>
                    <a:pt x="8633" y="3938"/>
                    <a:pt x="8350" y="4506"/>
                    <a:pt x="7909" y="5010"/>
                  </a:cubicBezTo>
                  <a:cubicBezTo>
                    <a:pt x="7720" y="4947"/>
                    <a:pt x="7562" y="4884"/>
                    <a:pt x="7373" y="4758"/>
                  </a:cubicBezTo>
                  <a:cubicBezTo>
                    <a:pt x="7011" y="4506"/>
                    <a:pt x="6578" y="4379"/>
                    <a:pt x="6140" y="4379"/>
                  </a:cubicBezTo>
                  <a:cubicBezTo>
                    <a:pt x="5703" y="4379"/>
                    <a:pt x="5262" y="4506"/>
                    <a:pt x="4884" y="4758"/>
                  </a:cubicBezTo>
                  <a:cubicBezTo>
                    <a:pt x="4727" y="4884"/>
                    <a:pt x="4569" y="4947"/>
                    <a:pt x="4380" y="5010"/>
                  </a:cubicBezTo>
                  <a:cubicBezTo>
                    <a:pt x="3939" y="4537"/>
                    <a:pt x="3655" y="3875"/>
                    <a:pt x="3655" y="3245"/>
                  </a:cubicBezTo>
                  <a:cubicBezTo>
                    <a:pt x="3655" y="1891"/>
                    <a:pt x="4758" y="788"/>
                    <a:pt x="6144" y="788"/>
                  </a:cubicBezTo>
                  <a:close/>
                  <a:moveTo>
                    <a:pt x="6144" y="0"/>
                  </a:moveTo>
                  <a:cubicBezTo>
                    <a:pt x="4380" y="0"/>
                    <a:pt x="2931" y="1450"/>
                    <a:pt x="2931" y="3214"/>
                  </a:cubicBezTo>
                  <a:cubicBezTo>
                    <a:pt x="2931" y="3812"/>
                    <a:pt x="3088" y="4411"/>
                    <a:pt x="3372" y="4884"/>
                  </a:cubicBezTo>
                  <a:cubicBezTo>
                    <a:pt x="3277" y="4852"/>
                    <a:pt x="3183" y="4789"/>
                    <a:pt x="3120" y="4726"/>
                  </a:cubicBezTo>
                  <a:cubicBezTo>
                    <a:pt x="2742" y="4474"/>
                    <a:pt x="2285" y="4348"/>
                    <a:pt x="1832" y="4348"/>
                  </a:cubicBezTo>
                  <a:cubicBezTo>
                    <a:pt x="1379" y="4348"/>
                    <a:pt x="930" y="4474"/>
                    <a:pt x="568" y="4726"/>
                  </a:cubicBezTo>
                  <a:cubicBezTo>
                    <a:pt x="473" y="4758"/>
                    <a:pt x="347" y="4852"/>
                    <a:pt x="284" y="4884"/>
                  </a:cubicBezTo>
                  <a:cubicBezTo>
                    <a:pt x="95" y="4947"/>
                    <a:pt x="1" y="5167"/>
                    <a:pt x="95" y="5356"/>
                  </a:cubicBezTo>
                  <a:cubicBezTo>
                    <a:pt x="143" y="5498"/>
                    <a:pt x="261" y="5569"/>
                    <a:pt x="410" y="5569"/>
                  </a:cubicBezTo>
                  <a:cubicBezTo>
                    <a:pt x="460" y="5569"/>
                    <a:pt x="513" y="5561"/>
                    <a:pt x="568" y="5545"/>
                  </a:cubicBezTo>
                  <a:cubicBezTo>
                    <a:pt x="725" y="5514"/>
                    <a:pt x="820" y="5419"/>
                    <a:pt x="946" y="5356"/>
                  </a:cubicBezTo>
                  <a:cubicBezTo>
                    <a:pt x="1198" y="5183"/>
                    <a:pt x="1505" y="5096"/>
                    <a:pt x="1816" y="5096"/>
                  </a:cubicBezTo>
                  <a:cubicBezTo>
                    <a:pt x="2127" y="5096"/>
                    <a:pt x="2442" y="5183"/>
                    <a:pt x="2710" y="5356"/>
                  </a:cubicBezTo>
                  <a:cubicBezTo>
                    <a:pt x="3104" y="5608"/>
                    <a:pt x="3553" y="5734"/>
                    <a:pt x="3994" y="5734"/>
                  </a:cubicBezTo>
                  <a:cubicBezTo>
                    <a:pt x="4435" y="5734"/>
                    <a:pt x="4868" y="5608"/>
                    <a:pt x="5231" y="5356"/>
                  </a:cubicBezTo>
                  <a:cubicBezTo>
                    <a:pt x="5498" y="5183"/>
                    <a:pt x="5806" y="5096"/>
                    <a:pt x="6109" y="5096"/>
                  </a:cubicBezTo>
                  <a:cubicBezTo>
                    <a:pt x="6412" y="5096"/>
                    <a:pt x="6711" y="5183"/>
                    <a:pt x="6963" y="5356"/>
                  </a:cubicBezTo>
                  <a:cubicBezTo>
                    <a:pt x="7357" y="5608"/>
                    <a:pt x="7806" y="5734"/>
                    <a:pt x="8247" y="5734"/>
                  </a:cubicBezTo>
                  <a:cubicBezTo>
                    <a:pt x="8688" y="5734"/>
                    <a:pt x="9122" y="5608"/>
                    <a:pt x="9484" y="5356"/>
                  </a:cubicBezTo>
                  <a:cubicBezTo>
                    <a:pt x="9752" y="5183"/>
                    <a:pt x="10059" y="5096"/>
                    <a:pt x="10370" y="5096"/>
                  </a:cubicBezTo>
                  <a:cubicBezTo>
                    <a:pt x="10681" y="5096"/>
                    <a:pt x="10996" y="5183"/>
                    <a:pt x="11280" y="5356"/>
                  </a:cubicBezTo>
                  <a:cubicBezTo>
                    <a:pt x="11437" y="5419"/>
                    <a:pt x="11532" y="5514"/>
                    <a:pt x="11689" y="5577"/>
                  </a:cubicBezTo>
                  <a:cubicBezTo>
                    <a:pt x="11742" y="5599"/>
                    <a:pt x="11793" y="5609"/>
                    <a:pt x="11840" y="5609"/>
                  </a:cubicBezTo>
                  <a:cubicBezTo>
                    <a:pt x="11993" y="5609"/>
                    <a:pt x="12114" y="5508"/>
                    <a:pt x="12162" y="5388"/>
                  </a:cubicBezTo>
                  <a:cubicBezTo>
                    <a:pt x="12288" y="5199"/>
                    <a:pt x="12193" y="5010"/>
                    <a:pt x="12004" y="4915"/>
                  </a:cubicBezTo>
                  <a:cubicBezTo>
                    <a:pt x="11878" y="4884"/>
                    <a:pt x="11815" y="4852"/>
                    <a:pt x="11689" y="4758"/>
                  </a:cubicBezTo>
                  <a:cubicBezTo>
                    <a:pt x="11311" y="4506"/>
                    <a:pt x="10862" y="4379"/>
                    <a:pt x="10413" y="4379"/>
                  </a:cubicBezTo>
                  <a:cubicBezTo>
                    <a:pt x="9964" y="4379"/>
                    <a:pt x="9515" y="4506"/>
                    <a:pt x="9137" y="4758"/>
                  </a:cubicBezTo>
                  <a:lnTo>
                    <a:pt x="8885" y="4884"/>
                  </a:lnTo>
                  <a:cubicBezTo>
                    <a:pt x="9169" y="4379"/>
                    <a:pt x="9358" y="3812"/>
                    <a:pt x="9358" y="3214"/>
                  </a:cubicBezTo>
                  <a:cubicBezTo>
                    <a:pt x="9358" y="1450"/>
                    <a:pt x="7909" y="0"/>
                    <a:pt x="6144"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sp>
        <p:nvSpPr>
          <p:cNvPr id="11024" name="Google Shape;11024;p114"/>
          <p:cNvSpPr/>
          <p:nvPr/>
        </p:nvSpPr>
        <p:spPr>
          <a:xfrm>
            <a:off x="5021557" y="2253118"/>
            <a:ext cx="630235" cy="628213"/>
          </a:xfrm>
          <a:custGeom>
            <a:avLst/>
            <a:gdLst/>
            <a:ahLst/>
            <a:cxnLst/>
            <a:rect l="l" t="t" r="r" b="b"/>
            <a:pathLst>
              <a:path w="12162" h="12123" extrusionOk="0">
                <a:moveTo>
                  <a:pt x="8192" y="3616"/>
                </a:moveTo>
                <a:cubicBezTo>
                  <a:pt x="8381" y="3616"/>
                  <a:pt x="8539" y="3805"/>
                  <a:pt x="8539" y="3994"/>
                </a:cubicBezTo>
                <a:cubicBezTo>
                  <a:pt x="8539" y="4183"/>
                  <a:pt x="8381" y="4341"/>
                  <a:pt x="8192" y="4341"/>
                </a:cubicBezTo>
                <a:lnTo>
                  <a:pt x="3907" y="4341"/>
                </a:lnTo>
                <a:cubicBezTo>
                  <a:pt x="3687" y="4341"/>
                  <a:pt x="3529" y="4183"/>
                  <a:pt x="3529" y="3994"/>
                </a:cubicBezTo>
                <a:cubicBezTo>
                  <a:pt x="3529" y="3805"/>
                  <a:pt x="3687" y="3616"/>
                  <a:pt x="3907" y="3616"/>
                </a:cubicBezTo>
                <a:close/>
                <a:moveTo>
                  <a:pt x="8948" y="5097"/>
                </a:moveTo>
                <a:cubicBezTo>
                  <a:pt x="9137" y="5097"/>
                  <a:pt x="9295" y="5254"/>
                  <a:pt x="9295" y="5443"/>
                </a:cubicBezTo>
                <a:cubicBezTo>
                  <a:pt x="9295" y="5632"/>
                  <a:pt x="9137" y="5790"/>
                  <a:pt x="8948" y="5790"/>
                </a:cubicBezTo>
                <a:lnTo>
                  <a:pt x="3214" y="5790"/>
                </a:lnTo>
                <a:cubicBezTo>
                  <a:pt x="3025" y="5790"/>
                  <a:pt x="2868" y="5632"/>
                  <a:pt x="2868" y="5443"/>
                </a:cubicBezTo>
                <a:cubicBezTo>
                  <a:pt x="2868" y="5254"/>
                  <a:pt x="3025" y="5097"/>
                  <a:pt x="3214" y="5097"/>
                </a:cubicBezTo>
                <a:close/>
                <a:moveTo>
                  <a:pt x="4600" y="6514"/>
                </a:moveTo>
                <a:cubicBezTo>
                  <a:pt x="4443" y="6703"/>
                  <a:pt x="4317" y="6987"/>
                  <a:pt x="4285" y="7207"/>
                </a:cubicBezTo>
                <a:lnTo>
                  <a:pt x="2490" y="7207"/>
                </a:lnTo>
                <a:cubicBezTo>
                  <a:pt x="2269" y="7207"/>
                  <a:pt x="2112" y="7050"/>
                  <a:pt x="2112" y="6861"/>
                </a:cubicBezTo>
                <a:cubicBezTo>
                  <a:pt x="2112" y="6672"/>
                  <a:pt x="2269" y="6514"/>
                  <a:pt x="2490" y="6514"/>
                </a:cubicBezTo>
                <a:close/>
                <a:moveTo>
                  <a:pt x="9641" y="6514"/>
                </a:moveTo>
                <a:cubicBezTo>
                  <a:pt x="9830" y="6514"/>
                  <a:pt x="9988" y="6672"/>
                  <a:pt x="9988" y="6861"/>
                </a:cubicBezTo>
                <a:cubicBezTo>
                  <a:pt x="9988" y="7050"/>
                  <a:pt x="9830" y="7207"/>
                  <a:pt x="9641" y="7207"/>
                </a:cubicBezTo>
                <a:lnTo>
                  <a:pt x="7845" y="7207"/>
                </a:lnTo>
                <a:cubicBezTo>
                  <a:pt x="7782" y="6955"/>
                  <a:pt x="7688" y="6703"/>
                  <a:pt x="7530" y="6514"/>
                </a:cubicBezTo>
                <a:close/>
                <a:moveTo>
                  <a:pt x="4317" y="7932"/>
                </a:moveTo>
                <a:cubicBezTo>
                  <a:pt x="4380" y="8184"/>
                  <a:pt x="4506" y="8436"/>
                  <a:pt x="4632" y="8625"/>
                </a:cubicBezTo>
                <a:lnTo>
                  <a:pt x="3246" y="8625"/>
                </a:lnTo>
                <a:cubicBezTo>
                  <a:pt x="3025" y="8625"/>
                  <a:pt x="2868" y="8468"/>
                  <a:pt x="2868" y="8279"/>
                </a:cubicBezTo>
                <a:cubicBezTo>
                  <a:pt x="2868" y="8090"/>
                  <a:pt x="3025" y="7932"/>
                  <a:pt x="3246" y="7932"/>
                </a:cubicBezTo>
                <a:close/>
                <a:moveTo>
                  <a:pt x="6050" y="6514"/>
                </a:moveTo>
                <a:cubicBezTo>
                  <a:pt x="6648" y="6514"/>
                  <a:pt x="7121" y="6987"/>
                  <a:pt x="7121" y="7554"/>
                </a:cubicBezTo>
                <a:cubicBezTo>
                  <a:pt x="7121" y="8153"/>
                  <a:pt x="6648" y="8625"/>
                  <a:pt x="6050" y="8625"/>
                </a:cubicBezTo>
                <a:cubicBezTo>
                  <a:pt x="5483" y="8625"/>
                  <a:pt x="5010" y="8153"/>
                  <a:pt x="5010" y="7554"/>
                </a:cubicBezTo>
                <a:cubicBezTo>
                  <a:pt x="5010" y="6987"/>
                  <a:pt x="5483" y="6514"/>
                  <a:pt x="6050" y="6514"/>
                </a:cubicBezTo>
                <a:close/>
                <a:moveTo>
                  <a:pt x="8948" y="7932"/>
                </a:moveTo>
                <a:cubicBezTo>
                  <a:pt x="9137" y="7932"/>
                  <a:pt x="9295" y="8090"/>
                  <a:pt x="9295" y="8279"/>
                </a:cubicBezTo>
                <a:cubicBezTo>
                  <a:pt x="9295" y="8468"/>
                  <a:pt x="9137" y="8625"/>
                  <a:pt x="8948" y="8625"/>
                </a:cubicBezTo>
                <a:lnTo>
                  <a:pt x="7530" y="8625"/>
                </a:lnTo>
                <a:cubicBezTo>
                  <a:pt x="7688" y="8436"/>
                  <a:pt x="7782" y="8216"/>
                  <a:pt x="7845" y="7932"/>
                </a:cubicBezTo>
                <a:close/>
                <a:moveTo>
                  <a:pt x="8192" y="9350"/>
                </a:moveTo>
                <a:cubicBezTo>
                  <a:pt x="8381" y="9350"/>
                  <a:pt x="8539" y="9507"/>
                  <a:pt x="8539" y="9696"/>
                </a:cubicBezTo>
                <a:cubicBezTo>
                  <a:pt x="8539" y="9885"/>
                  <a:pt x="8381" y="10043"/>
                  <a:pt x="8192" y="10043"/>
                </a:cubicBezTo>
                <a:lnTo>
                  <a:pt x="3907" y="10043"/>
                </a:lnTo>
                <a:cubicBezTo>
                  <a:pt x="3687" y="10043"/>
                  <a:pt x="3529" y="9885"/>
                  <a:pt x="3529" y="9696"/>
                </a:cubicBezTo>
                <a:cubicBezTo>
                  <a:pt x="3529" y="9507"/>
                  <a:pt x="3687" y="9350"/>
                  <a:pt x="3907" y="9350"/>
                </a:cubicBezTo>
                <a:close/>
                <a:moveTo>
                  <a:pt x="7467" y="10799"/>
                </a:moveTo>
                <a:cubicBezTo>
                  <a:pt x="7688" y="10799"/>
                  <a:pt x="7845" y="10957"/>
                  <a:pt x="7845" y="11146"/>
                </a:cubicBezTo>
                <a:cubicBezTo>
                  <a:pt x="7845" y="11366"/>
                  <a:pt x="7688" y="11492"/>
                  <a:pt x="7467" y="11492"/>
                </a:cubicBezTo>
                <a:lnTo>
                  <a:pt x="4632" y="11492"/>
                </a:lnTo>
                <a:cubicBezTo>
                  <a:pt x="4443" y="11492"/>
                  <a:pt x="4285" y="11335"/>
                  <a:pt x="4285" y="11146"/>
                </a:cubicBezTo>
                <a:cubicBezTo>
                  <a:pt x="4285" y="10957"/>
                  <a:pt x="4443" y="10799"/>
                  <a:pt x="4632" y="10799"/>
                </a:cubicBezTo>
                <a:close/>
                <a:moveTo>
                  <a:pt x="8917" y="1"/>
                </a:moveTo>
                <a:cubicBezTo>
                  <a:pt x="8830" y="1"/>
                  <a:pt x="8743" y="40"/>
                  <a:pt x="8665" y="119"/>
                </a:cubicBezTo>
                <a:cubicBezTo>
                  <a:pt x="8507" y="276"/>
                  <a:pt x="8507" y="497"/>
                  <a:pt x="8665" y="654"/>
                </a:cubicBezTo>
                <a:lnTo>
                  <a:pt x="9484" y="1474"/>
                </a:lnTo>
                <a:lnTo>
                  <a:pt x="347" y="1474"/>
                </a:lnTo>
                <a:cubicBezTo>
                  <a:pt x="158" y="1474"/>
                  <a:pt x="1" y="1631"/>
                  <a:pt x="1" y="1820"/>
                </a:cubicBezTo>
                <a:cubicBezTo>
                  <a:pt x="1" y="2009"/>
                  <a:pt x="158" y="2167"/>
                  <a:pt x="347" y="2167"/>
                </a:cubicBezTo>
                <a:lnTo>
                  <a:pt x="1639" y="2167"/>
                </a:lnTo>
                <a:lnTo>
                  <a:pt x="820" y="3017"/>
                </a:lnTo>
                <a:cubicBezTo>
                  <a:pt x="662" y="3175"/>
                  <a:pt x="662" y="3364"/>
                  <a:pt x="820" y="3521"/>
                </a:cubicBezTo>
                <a:cubicBezTo>
                  <a:pt x="899" y="3600"/>
                  <a:pt x="985" y="3640"/>
                  <a:pt x="1072" y="3640"/>
                </a:cubicBezTo>
                <a:cubicBezTo>
                  <a:pt x="1159" y="3640"/>
                  <a:pt x="1245" y="3600"/>
                  <a:pt x="1324" y="3521"/>
                </a:cubicBezTo>
                <a:lnTo>
                  <a:pt x="2679" y="2167"/>
                </a:lnTo>
                <a:lnTo>
                  <a:pt x="5735" y="2167"/>
                </a:lnTo>
                <a:lnTo>
                  <a:pt x="5735" y="2923"/>
                </a:lnTo>
                <a:lnTo>
                  <a:pt x="3970" y="2923"/>
                </a:lnTo>
                <a:cubicBezTo>
                  <a:pt x="3372" y="2923"/>
                  <a:pt x="2899" y="3395"/>
                  <a:pt x="2899" y="3994"/>
                </a:cubicBezTo>
                <a:cubicBezTo>
                  <a:pt x="2899" y="4152"/>
                  <a:pt x="2962" y="4246"/>
                  <a:pt x="2994" y="4372"/>
                </a:cubicBezTo>
                <a:cubicBezTo>
                  <a:pt x="2521" y="4498"/>
                  <a:pt x="2206" y="4939"/>
                  <a:pt x="2206" y="5412"/>
                </a:cubicBezTo>
                <a:cubicBezTo>
                  <a:pt x="2206" y="5569"/>
                  <a:pt x="2238" y="5664"/>
                  <a:pt x="2269" y="5790"/>
                </a:cubicBezTo>
                <a:cubicBezTo>
                  <a:pt x="1797" y="5916"/>
                  <a:pt x="1481" y="6357"/>
                  <a:pt x="1481" y="6829"/>
                </a:cubicBezTo>
                <a:cubicBezTo>
                  <a:pt x="1481" y="7334"/>
                  <a:pt x="1797" y="7743"/>
                  <a:pt x="2269" y="7838"/>
                </a:cubicBezTo>
                <a:cubicBezTo>
                  <a:pt x="2238" y="7964"/>
                  <a:pt x="2206" y="8090"/>
                  <a:pt x="2206" y="8247"/>
                </a:cubicBezTo>
                <a:cubicBezTo>
                  <a:pt x="2206" y="8751"/>
                  <a:pt x="2553" y="9129"/>
                  <a:pt x="2994" y="9255"/>
                </a:cubicBezTo>
                <a:cubicBezTo>
                  <a:pt x="2962" y="9381"/>
                  <a:pt x="2899" y="9507"/>
                  <a:pt x="2899" y="9665"/>
                </a:cubicBezTo>
                <a:cubicBezTo>
                  <a:pt x="2899" y="10169"/>
                  <a:pt x="3277" y="10547"/>
                  <a:pt x="3687" y="10673"/>
                </a:cubicBezTo>
                <a:cubicBezTo>
                  <a:pt x="3655" y="10799"/>
                  <a:pt x="3624" y="10925"/>
                  <a:pt x="3624" y="11083"/>
                </a:cubicBezTo>
                <a:cubicBezTo>
                  <a:pt x="3624" y="11650"/>
                  <a:pt x="4096" y="12122"/>
                  <a:pt x="4695" y="12122"/>
                </a:cubicBezTo>
                <a:lnTo>
                  <a:pt x="7530" y="12122"/>
                </a:lnTo>
                <a:cubicBezTo>
                  <a:pt x="8097" y="12122"/>
                  <a:pt x="8570" y="11650"/>
                  <a:pt x="8570" y="11083"/>
                </a:cubicBezTo>
                <a:cubicBezTo>
                  <a:pt x="8570" y="10925"/>
                  <a:pt x="8539" y="10799"/>
                  <a:pt x="8507" y="10673"/>
                </a:cubicBezTo>
                <a:cubicBezTo>
                  <a:pt x="8980" y="10547"/>
                  <a:pt x="9295" y="10137"/>
                  <a:pt x="9295" y="9665"/>
                </a:cubicBezTo>
                <a:cubicBezTo>
                  <a:pt x="9295" y="9507"/>
                  <a:pt x="9263" y="9381"/>
                  <a:pt x="9200" y="9255"/>
                </a:cubicBezTo>
                <a:cubicBezTo>
                  <a:pt x="9673" y="9129"/>
                  <a:pt x="9988" y="8720"/>
                  <a:pt x="9988" y="8247"/>
                </a:cubicBezTo>
                <a:cubicBezTo>
                  <a:pt x="9988" y="8090"/>
                  <a:pt x="9956" y="7964"/>
                  <a:pt x="9925" y="7838"/>
                </a:cubicBezTo>
                <a:cubicBezTo>
                  <a:pt x="10397" y="7712"/>
                  <a:pt x="10712" y="7302"/>
                  <a:pt x="10712" y="6829"/>
                </a:cubicBezTo>
                <a:cubicBezTo>
                  <a:pt x="10712" y="6294"/>
                  <a:pt x="10366" y="5916"/>
                  <a:pt x="9925" y="5790"/>
                </a:cubicBezTo>
                <a:cubicBezTo>
                  <a:pt x="9956" y="5664"/>
                  <a:pt x="9988" y="5569"/>
                  <a:pt x="9988" y="5412"/>
                </a:cubicBezTo>
                <a:cubicBezTo>
                  <a:pt x="9988" y="4876"/>
                  <a:pt x="9641" y="4498"/>
                  <a:pt x="9200" y="4372"/>
                </a:cubicBezTo>
                <a:cubicBezTo>
                  <a:pt x="9263" y="4246"/>
                  <a:pt x="9295" y="4152"/>
                  <a:pt x="9295" y="3994"/>
                </a:cubicBezTo>
                <a:cubicBezTo>
                  <a:pt x="9295" y="3395"/>
                  <a:pt x="8822" y="2923"/>
                  <a:pt x="8224" y="2923"/>
                </a:cubicBezTo>
                <a:lnTo>
                  <a:pt x="6459" y="2923"/>
                </a:lnTo>
                <a:lnTo>
                  <a:pt x="6459" y="2167"/>
                </a:lnTo>
                <a:lnTo>
                  <a:pt x="11815" y="2167"/>
                </a:lnTo>
                <a:cubicBezTo>
                  <a:pt x="12004" y="2167"/>
                  <a:pt x="12162" y="2009"/>
                  <a:pt x="12162" y="1820"/>
                </a:cubicBezTo>
                <a:cubicBezTo>
                  <a:pt x="12162" y="1631"/>
                  <a:pt x="12004" y="1474"/>
                  <a:pt x="11815" y="1474"/>
                </a:cubicBezTo>
                <a:lnTo>
                  <a:pt x="10523" y="1474"/>
                </a:lnTo>
                <a:lnTo>
                  <a:pt x="9169" y="119"/>
                </a:lnTo>
                <a:cubicBezTo>
                  <a:pt x="9090" y="40"/>
                  <a:pt x="9003" y="1"/>
                  <a:pt x="8917"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1025" name="Google Shape;11025;p114"/>
          <p:cNvSpPr/>
          <p:nvPr/>
        </p:nvSpPr>
        <p:spPr>
          <a:xfrm>
            <a:off x="5020756" y="3031910"/>
            <a:ext cx="631841" cy="633500"/>
          </a:xfrm>
          <a:custGeom>
            <a:avLst/>
            <a:gdLst/>
            <a:ahLst/>
            <a:cxnLst/>
            <a:rect l="l" t="t" r="r" b="b"/>
            <a:pathLst>
              <a:path w="12193" h="12225" extrusionOk="0">
                <a:moveTo>
                  <a:pt x="8601" y="694"/>
                </a:moveTo>
                <a:cubicBezTo>
                  <a:pt x="9011" y="694"/>
                  <a:pt x="9326" y="1009"/>
                  <a:pt x="9326" y="1418"/>
                </a:cubicBezTo>
                <a:cubicBezTo>
                  <a:pt x="9326" y="1796"/>
                  <a:pt x="9011" y="2111"/>
                  <a:pt x="8601" y="2111"/>
                </a:cubicBezTo>
                <a:cubicBezTo>
                  <a:pt x="8223" y="2111"/>
                  <a:pt x="7908" y="1796"/>
                  <a:pt x="7908" y="1418"/>
                </a:cubicBezTo>
                <a:cubicBezTo>
                  <a:pt x="7908" y="1009"/>
                  <a:pt x="8223" y="694"/>
                  <a:pt x="8601" y="694"/>
                </a:cubicBezTo>
                <a:close/>
                <a:moveTo>
                  <a:pt x="10428" y="1418"/>
                </a:moveTo>
                <a:cubicBezTo>
                  <a:pt x="11027" y="1418"/>
                  <a:pt x="11500" y="1891"/>
                  <a:pt x="11500" y="2458"/>
                </a:cubicBezTo>
                <a:cubicBezTo>
                  <a:pt x="11058" y="2238"/>
                  <a:pt x="10586" y="2111"/>
                  <a:pt x="10113" y="2111"/>
                </a:cubicBezTo>
                <a:lnTo>
                  <a:pt x="9861" y="2111"/>
                </a:lnTo>
                <a:cubicBezTo>
                  <a:pt x="9987" y="1922"/>
                  <a:pt x="10082" y="1639"/>
                  <a:pt x="10082" y="1418"/>
                </a:cubicBezTo>
                <a:close/>
                <a:moveTo>
                  <a:pt x="7624" y="2427"/>
                </a:moveTo>
                <a:lnTo>
                  <a:pt x="7624" y="2427"/>
                </a:lnTo>
                <a:cubicBezTo>
                  <a:pt x="7782" y="2616"/>
                  <a:pt x="8034" y="2742"/>
                  <a:pt x="8255" y="2836"/>
                </a:cubicBezTo>
                <a:cubicBezTo>
                  <a:pt x="8223" y="3088"/>
                  <a:pt x="8286" y="3340"/>
                  <a:pt x="8412" y="3466"/>
                </a:cubicBezTo>
                <a:lnTo>
                  <a:pt x="9704" y="4915"/>
                </a:lnTo>
                <a:cubicBezTo>
                  <a:pt x="10239" y="5483"/>
                  <a:pt x="10334" y="6270"/>
                  <a:pt x="9987" y="6932"/>
                </a:cubicBezTo>
                <a:cubicBezTo>
                  <a:pt x="9672" y="7530"/>
                  <a:pt x="9074" y="7877"/>
                  <a:pt x="8412" y="7877"/>
                </a:cubicBezTo>
                <a:lnTo>
                  <a:pt x="7750" y="7877"/>
                </a:lnTo>
                <a:cubicBezTo>
                  <a:pt x="7813" y="7688"/>
                  <a:pt x="7908" y="7467"/>
                  <a:pt x="7908" y="7278"/>
                </a:cubicBezTo>
                <a:lnTo>
                  <a:pt x="7908" y="7152"/>
                </a:lnTo>
                <a:lnTo>
                  <a:pt x="8475" y="7152"/>
                </a:lnTo>
                <a:cubicBezTo>
                  <a:pt x="8853" y="7152"/>
                  <a:pt x="9200" y="6963"/>
                  <a:pt x="9420" y="6617"/>
                </a:cubicBezTo>
                <a:cubicBezTo>
                  <a:pt x="9672" y="6144"/>
                  <a:pt x="9483" y="5609"/>
                  <a:pt x="9326" y="5451"/>
                </a:cubicBezTo>
                <a:lnTo>
                  <a:pt x="7908" y="3970"/>
                </a:lnTo>
                <a:cubicBezTo>
                  <a:pt x="7530" y="3561"/>
                  <a:pt x="7435" y="2931"/>
                  <a:pt x="7624" y="2427"/>
                </a:cubicBezTo>
                <a:close/>
                <a:moveTo>
                  <a:pt x="4398" y="4298"/>
                </a:moveTo>
                <a:cubicBezTo>
                  <a:pt x="4581" y="4298"/>
                  <a:pt x="4764" y="4315"/>
                  <a:pt x="4946" y="4348"/>
                </a:cubicBezTo>
                <a:cubicBezTo>
                  <a:pt x="6238" y="4632"/>
                  <a:pt x="7183" y="5861"/>
                  <a:pt x="7183" y="7278"/>
                </a:cubicBezTo>
                <a:cubicBezTo>
                  <a:pt x="7183" y="7593"/>
                  <a:pt x="6931" y="7877"/>
                  <a:pt x="6616" y="7877"/>
                </a:cubicBezTo>
                <a:lnTo>
                  <a:pt x="2143" y="7877"/>
                </a:lnTo>
                <a:cubicBezTo>
                  <a:pt x="1607" y="7877"/>
                  <a:pt x="1134" y="8003"/>
                  <a:pt x="725" y="8223"/>
                </a:cubicBezTo>
                <a:cubicBezTo>
                  <a:pt x="725" y="7625"/>
                  <a:pt x="1197" y="7152"/>
                  <a:pt x="1796" y="7152"/>
                </a:cubicBezTo>
                <a:lnTo>
                  <a:pt x="5388" y="7152"/>
                </a:lnTo>
                <a:cubicBezTo>
                  <a:pt x="5577" y="7152"/>
                  <a:pt x="5734" y="6995"/>
                  <a:pt x="5734" y="6806"/>
                </a:cubicBezTo>
                <a:cubicBezTo>
                  <a:pt x="5734" y="6617"/>
                  <a:pt x="5577" y="6459"/>
                  <a:pt x="5388" y="6459"/>
                </a:cubicBezTo>
                <a:lnTo>
                  <a:pt x="2930" y="6459"/>
                </a:lnTo>
                <a:cubicBezTo>
                  <a:pt x="3088" y="6018"/>
                  <a:pt x="3497" y="5735"/>
                  <a:pt x="3970" y="5735"/>
                </a:cubicBezTo>
                <a:lnTo>
                  <a:pt x="4663" y="5735"/>
                </a:lnTo>
                <a:cubicBezTo>
                  <a:pt x="4883" y="5735"/>
                  <a:pt x="5041" y="5577"/>
                  <a:pt x="5041" y="5388"/>
                </a:cubicBezTo>
                <a:cubicBezTo>
                  <a:pt x="5041" y="5199"/>
                  <a:pt x="4883" y="5041"/>
                  <a:pt x="4663" y="5041"/>
                </a:cubicBezTo>
                <a:lnTo>
                  <a:pt x="3970" y="5041"/>
                </a:lnTo>
                <a:cubicBezTo>
                  <a:pt x="3088" y="5041"/>
                  <a:pt x="2395" y="5672"/>
                  <a:pt x="2237" y="6459"/>
                </a:cubicBezTo>
                <a:lnTo>
                  <a:pt x="1796" y="6459"/>
                </a:lnTo>
                <a:cubicBezTo>
                  <a:pt x="1733" y="6459"/>
                  <a:pt x="1607" y="6459"/>
                  <a:pt x="1512" y="6491"/>
                </a:cubicBezTo>
                <a:cubicBezTo>
                  <a:pt x="1670" y="5861"/>
                  <a:pt x="2048" y="5293"/>
                  <a:pt x="2552" y="4915"/>
                </a:cubicBezTo>
                <a:cubicBezTo>
                  <a:pt x="3072" y="4519"/>
                  <a:pt x="3728" y="4298"/>
                  <a:pt x="4398" y="4298"/>
                </a:cubicBezTo>
                <a:close/>
                <a:moveTo>
                  <a:pt x="5041" y="8728"/>
                </a:moveTo>
                <a:lnTo>
                  <a:pt x="5041" y="9295"/>
                </a:lnTo>
                <a:lnTo>
                  <a:pt x="4316" y="9295"/>
                </a:lnTo>
                <a:lnTo>
                  <a:pt x="5041" y="8728"/>
                </a:lnTo>
                <a:close/>
                <a:moveTo>
                  <a:pt x="8601" y="1"/>
                </a:moveTo>
                <a:cubicBezTo>
                  <a:pt x="7750" y="1"/>
                  <a:pt x="7089" y="757"/>
                  <a:pt x="7215" y="1607"/>
                </a:cubicBezTo>
                <a:cubicBezTo>
                  <a:pt x="6585" y="2458"/>
                  <a:pt x="6616" y="3655"/>
                  <a:pt x="7309" y="4443"/>
                </a:cubicBezTo>
                <a:lnTo>
                  <a:pt x="8727" y="5955"/>
                </a:lnTo>
                <a:cubicBezTo>
                  <a:pt x="8853" y="6176"/>
                  <a:pt x="8696" y="6491"/>
                  <a:pt x="8412" y="6491"/>
                </a:cubicBezTo>
                <a:lnTo>
                  <a:pt x="7782" y="6491"/>
                </a:lnTo>
                <a:cubicBezTo>
                  <a:pt x="7467" y="5104"/>
                  <a:pt x="6459" y="4002"/>
                  <a:pt x="5073" y="3750"/>
                </a:cubicBezTo>
                <a:cubicBezTo>
                  <a:pt x="4809" y="3688"/>
                  <a:pt x="4546" y="3658"/>
                  <a:pt x="4286" y="3658"/>
                </a:cubicBezTo>
                <a:cubicBezTo>
                  <a:pt x="3490" y="3658"/>
                  <a:pt x="2729" y="3936"/>
                  <a:pt x="2111" y="4411"/>
                </a:cubicBezTo>
                <a:cubicBezTo>
                  <a:pt x="1323" y="5010"/>
                  <a:pt x="851" y="5892"/>
                  <a:pt x="725" y="6837"/>
                </a:cubicBezTo>
                <a:cubicBezTo>
                  <a:pt x="315" y="7152"/>
                  <a:pt x="0" y="7719"/>
                  <a:pt x="0" y="8286"/>
                </a:cubicBezTo>
                <a:lnTo>
                  <a:pt x="0" y="9011"/>
                </a:lnTo>
                <a:cubicBezTo>
                  <a:pt x="0" y="9218"/>
                  <a:pt x="163" y="9357"/>
                  <a:pt x="328" y="9357"/>
                </a:cubicBezTo>
                <a:cubicBezTo>
                  <a:pt x="415" y="9357"/>
                  <a:pt x="502" y="9318"/>
                  <a:pt x="567" y="9232"/>
                </a:cubicBezTo>
                <a:cubicBezTo>
                  <a:pt x="977" y="8854"/>
                  <a:pt x="1512" y="8664"/>
                  <a:pt x="2080" y="8664"/>
                </a:cubicBezTo>
                <a:lnTo>
                  <a:pt x="4033" y="8664"/>
                </a:lnTo>
                <a:lnTo>
                  <a:pt x="2993" y="9452"/>
                </a:lnTo>
                <a:cubicBezTo>
                  <a:pt x="2710" y="9641"/>
                  <a:pt x="2867" y="10082"/>
                  <a:pt x="3182" y="10082"/>
                </a:cubicBezTo>
                <a:lnTo>
                  <a:pt x="4946" y="10082"/>
                </a:lnTo>
                <a:lnTo>
                  <a:pt x="4946" y="11878"/>
                </a:lnTo>
                <a:cubicBezTo>
                  <a:pt x="4946" y="12067"/>
                  <a:pt x="5104" y="12225"/>
                  <a:pt x="5293" y="12225"/>
                </a:cubicBezTo>
                <a:cubicBezTo>
                  <a:pt x="5514" y="12225"/>
                  <a:pt x="5671" y="12067"/>
                  <a:pt x="5671" y="11878"/>
                </a:cubicBezTo>
                <a:lnTo>
                  <a:pt x="5671" y="10082"/>
                </a:lnTo>
                <a:lnTo>
                  <a:pt x="6364" y="10082"/>
                </a:lnTo>
                <a:lnTo>
                  <a:pt x="6364" y="10429"/>
                </a:lnTo>
                <a:cubicBezTo>
                  <a:pt x="6364" y="10618"/>
                  <a:pt x="6522" y="10775"/>
                  <a:pt x="6711" y="10775"/>
                </a:cubicBezTo>
                <a:cubicBezTo>
                  <a:pt x="6931" y="10775"/>
                  <a:pt x="7089" y="10618"/>
                  <a:pt x="7089" y="10429"/>
                </a:cubicBezTo>
                <a:lnTo>
                  <a:pt x="7089" y="9704"/>
                </a:lnTo>
                <a:cubicBezTo>
                  <a:pt x="7089" y="9515"/>
                  <a:pt x="6931" y="9358"/>
                  <a:pt x="6711" y="9358"/>
                </a:cubicBezTo>
                <a:lnTo>
                  <a:pt x="5671" y="9358"/>
                </a:lnTo>
                <a:lnTo>
                  <a:pt x="5671" y="8664"/>
                </a:lnTo>
                <a:lnTo>
                  <a:pt x="8349" y="8664"/>
                </a:lnTo>
                <a:cubicBezTo>
                  <a:pt x="9231" y="8664"/>
                  <a:pt x="10113" y="8129"/>
                  <a:pt x="10554" y="7341"/>
                </a:cubicBezTo>
                <a:cubicBezTo>
                  <a:pt x="11027" y="6396"/>
                  <a:pt x="10901" y="5293"/>
                  <a:pt x="10145" y="4506"/>
                </a:cubicBezTo>
                <a:lnTo>
                  <a:pt x="8822" y="3057"/>
                </a:lnTo>
                <a:lnTo>
                  <a:pt x="8822" y="2994"/>
                </a:lnTo>
                <a:cubicBezTo>
                  <a:pt x="8853" y="2931"/>
                  <a:pt x="8759" y="2931"/>
                  <a:pt x="9987" y="2931"/>
                </a:cubicBezTo>
                <a:cubicBezTo>
                  <a:pt x="10554" y="2931"/>
                  <a:pt x="11058" y="3151"/>
                  <a:pt x="11437" y="3529"/>
                </a:cubicBezTo>
                <a:cubicBezTo>
                  <a:pt x="11523" y="3616"/>
                  <a:pt x="11621" y="3654"/>
                  <a:pt x="11712" y="3654"/>
                </a:cubicBezTo>
                <a:cubicBezTo>
                  <a:pt x="11886" y="3654"/>
                  <a:pt x="12035" y="3515"/>
                  <a:pt x="12035" y="3309"/>
                </a:cubicBezTo>
                <a:lnTo>
                  <a:pt x="12035" y="2584"/>
                </a:lnTo>
                <a:cubicBezTo>
                  <a:pt x="12193" y="1481"/>
                  <a:pt x="11374" y="694"/>
                  <a:pt x="10397" y="694"/>
                </a:cubicBezTo>
                <a:lnTo>
                  <a:pt x="9830" y="694"/>
                </a:lnTo>
                <a:cubicBezTo>
                  <a:pt x="9609" y="284"/>
                  <a:pt x="9137" y="1"/>
                  <a:pt x="8601"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1026" name="Google Shape;11026;p114"/>
          <p:cNvSpPr/>
          <p:nvPr/>
        </p:nvSpPr>
        <p:spPr>
          <a:xfrm>
            <a:off x="5010131" y="3801502"/>
            <a:ext cx="653088" cy="631841"/>
          </a:xfrm>
          <a:custGeom>
            <a:avLst/>
            <a:gdLst/>
            <a:ahLst/>
            <a:cxnLst/>
            <a:rect l="l" t="t" r="r" b="b"/>
            <a:pathLst>
              <a:path w="12603" h="12193" extrusionOk="0">
                <a:moveTo>
                  <a:pt x="9547" y="5986"/>
                </a:moveTo>
                <a:cubicBezTo>
                  <a:pt x="9767" y="6364"/>
                  <a:pt x="9925" y="6742"/>
                  <a:pt x="10019" y="7152"/>
                </a:cubicBezTo>
                <a:lnTo>
                  <a:pt x="8381" y="7152"/>
                </a:lnTo>
                <a:lnTo>
                  <a:pt x="9547" y="5986"/>
                </a:lnTo>
                <a:close/>
                <a:moveTo>
                  <a:pt x="9988" y="7845"/>
                </a:moveTo>
                <a:cubicBezTo>
                  <a:pt x="9925" y="8255"/>
                  <a:pt x="9767" y="8633"/>
                  <a:pt x="9515" y="8979"/>
                </a:cubicBezTo>
                <a:lnTo>
                  <a:pt x="8381" y="7845"/>
                </a:lnTo>
                <a:close/>
                <a:moveTo>
                  <a:pt x="7152" y="8349"/>
                </a:moveTo>
                <a:lnTo>
                  <a:pt x="7152" y="9987"/>
                </a:lnTo>
                <a:cubicBezTo>
                  <a:pt x="6774" y="9924"/>
                  <a:pt x="6365" y="9767"/>
                  <a:pt x="6018" y="9515"/>
                </a:cubicBezTo>
                <a:lnTo>
                  <a:pt x="7152" y="8349"/>
                </a:lnTo>
                <a:close/>
                <a:moveTo>
                  <a:pt x="7877" y="8349"/>
                </a:moveTo>
                <a:lnTo>
                  <a:pt x="9011" y="9515"/>
                </a:lnTo>
                <a:cubicBezTo>
                  <a:pt x="8665" y="9735"/>
                  <a:pt x="8255" y="9893"/>
                  <a:pt x="7877" y="9987"/>
                </a:cubicBezTo>
                <a:lnTo>
                  <a:pt x="7877" y="8349"/>
                </a:lnTo>
                <a:close/>
                <a:moveTo>
                  <a:pt x="10555" y="4947"/>
                </a:moveTo>
                <a:cubicBezTo>
                  <a:pt x="11815" y="6522"/>
                  <a:pt x="11721" y="8790"/>
                  <a:pt x="10271" y="10240"/>
                </a:cubicBezTo>
                <a:cubicBezTo>
                  <a:pt x="9506" y="11022"/>
                  <a:pt x="8502" y="11409"/>
                  <a:pt x="7503" y="11409"/>
                </a:cubicBezTo>
                <a:cubicBezTo>
                  <a:pt x="6611" y="11409"/>
                  <a:pt x="5723" y="11101"/>
                  <a:pt x="5010" y="10492"/>
                </a:cubicBezTo>
                <a:lnTo>
                  <a:pt x="5514" y="9987"/>
                </a:lnTo>
                <a:cubicBezTo>
                  <a:pt x="6089" y="10447"/>
                  <a:pt x="6788" y="10671"/>
                  <a:pt x="7489" y="10671"/>
                </a:cubicBezTo>
                <a:cubicBezTo>
                  <a:pt x="8325" y="10671"/>
                  <a:pt x="9165" y="10352"/>
                  <a:pt x="9799" y="9735"/>
                </a:cubicBezTo>
                <a:cubicBezTo>
                  <a:pt x="10996" y="8570"/>
                  <a:pt x="11059" y="6711"/>
                  <a:pt x="10051" y="5451"/>
                </a:cubicBezTo>
                <a:lnTo>
                  <a:pt x="10555" y="4947"/>
                </a:lnTo>
                <a:close/>
                <a:moveTo>
                  <a:pt x="5703" y="2143"/>
                </a:moveTo>
                <a:cubicBezTo>
                  <a:pt x="7404" y="2269"/>
                  <a:pt x="8948" y="3371"/>
                  <a:pt x="9641" y="4947"/>
                </a:cubicBezTo>
                <a:lnTo>
                  <a:pt x="4254" y="10334"/>
                </a:lnTo>
                <a:cubicBezTo>
                  <a:pt x="4096" y="10492"/>
                  <a:pt x="4096" y="10681"/>
                  <a:pt x="4254" y="10838"/>
                </a:cubicBezTo>
                <a:cubicBezTo>
                  <a:pt x="4506" y="11090"/>
                  <a:pt x="4758" y="11279"/>
                  <a:pt x="5042" y="11468"/>
                </a:cubicBezTo>
                <a:cubicBezTo>
                  <a:pt x="2584" y="11185"/>
                  <a:pt x="694" y="9137"/>
                  <a:pt x="694" y="6742"/>
                </a:cubicBezTo>
                <a:cubicBezTo>
                  <a:pt x="694" y="4317"/>
                  <a:pt x="2584" y="2300"/>
                  <a:pt x="5010" y="2143"/>
                </a:cubicBezTo>
                <a:lnTo>
                  <a:pt x="5010" y="3056"/>
                </a:lnTo>
                <a:cubicBezTo>
                  <a:pt x="4979" y="2993"/>
                  <a:pt x="4915" y="2993"/>
                  <a:pt x="4884" y="2962"/>
                </a:cubicBezTo>
                <a:cubicBezTo>
                  <a:pt x="4805" y="2883"/>
                  <a:pt x="4719" y="2844"/>
                  <a:pt x="4632" y="2844"/>
                </a:cubicBezTo>
                <a:cubicBezTo>
                  <a:pt x="4545" y="2844"/>
                  <a:pt x="4459" y="2883"/>
                  <a:pt x="4380" y="2962"/>
                </a:cubicBezTo>
                <a:cubicBezTo>
                  <a:pt x="4222" y="3119"/>
                  <a:pt x="4222" y="3308"/>
                  <a:pt x="4380" y="3466"/>
                </a:cubicBezTo>
                <a:cubicBezTo>
                  <a:pt x="4663" y="3750"/>
                  <a:pt x="4979" y="3876"/>
                  <a:pt x="5357" y="3876"/>
                </a:cubicBezTo>
                <a:cubicBezTo>
                  <a:pt x="5766" y="3876"/>
                  <a:pt x="6081" y="3718"/>
                  <a:pt x="6333" y="3466"/>
                </a:cubicBezTo>
                <a:cubicBezTo>
                  <a:pt x="6491" y="3308"/>
                  <a:pt x="6491" y="3119"/>
                  <a:pt x="6333" y="2962"/>
                </a:cubicBezTo>
                <a:cubicBezTo>
                  <a:pt x="6254" y="2883"/>
                  <a:pt x="6168" y="2844"/>
                  <a:pt x="6081" y="2844"/>
                </a:cubicBezTo>
                <a:cubicBezTo>
                  <a:pt x="5995" y="2844"/>
                  <a:pt x="5908" y="2883"/>
                  <a:pt x="5829" y="2962"/>
                </a:cubicBezTo>
                <a:cubicBezTo>
                  <a:pt x="5798" y="2993"/>
                  <a:pt x="5766" y="3056"/>
                  <a:pt x="5703" y="3056"/>
                </a:cubicBezTo>
                <a:lnTo>
                  <a:pt x="5703" y="2143"/>
                </a:lnTo>
                <a:close/>
                <a:moveTo>
                  <a:pt x="3907" y="0"/>
                </a:moveTo>
                <a:cubicBezTo>
                  <a:pt x="3687" y="0"/>
                  <a:pt x="3529" y="158"/>
                  <a:pt x="3529" y="379"/>
                </a:cubicBezTo>
                <a:cubicBezTo>
                  <a:pt x="3529" y="568"/>
                  <a:pt x="3687" y="725"/>
                  <a:pt x="3907" y="725"/>
                </a:cubicBezTo>
                <a:cubicBezTo>
                  <a:pt x="4380" y="725"/>
                  <a:pt x="4758" y="1040"/>
                  <a:pt x="4915" y="1481"/>
                </a:cubicBezTo>
                <a:cubicBezTo>
                  <a:pt x="2175" y="1670"/>
                  <a:pt x="1" y="4002"/>
                  <a:pt x="1" y="6774"/>
                </a:cubicBezTo>
                <a:cubicBezTo>
                  <a:pt x="1" y="9735"/>
                  <a:pt x="2427" y="12193"/>
                  <a:pt x="5420" y="12193"/>
                </a:cubicBezTo>
                <a:cubicBezTo>
                  <a:pt x="5798" y="12193"/>
                  <a:pt x="6144" y="12130"/>
                  <a:pt x="6522" y="12067"/>
                </a:cubicBezTo>
                <a:cubicBezTo>
                  <a:pt x="6858" y="12144"/>
                  <a:pt x="7200" y="12182"/>
                  <a:pt x="7541" y="12182"/>
                </a:cubicBezTo>
                <a:cubicBezTo>
                  <a:pt x="8738" y="12182"/>
                  <a:pt x="9931" y="11714"/>
                  <a:pt x="10838" y="10807"/>
                </a:cubicBezTo>
                <a:cubicBezTo>
                  <a:pt x="12603" y="8948"/>
                  <a:pt x="12603" y="6049"/>
                  <a:pt x="10775" y="4222"/>
                </a:cubicBezTo>
                <a:cubicBezTo>
                  <a:pt x="10697" y="4143"/>
                  <a:pt x="10610" y="4104"/>
                  <a:pt x="10523" y="4104"/>
                </a:cubicBezTo>
                <a:cubicBezTo>
                  <a:pt x="10437" y="4104"/>
                  <a:pt x="10350" y="4143"/>
                  <a:pt x="10271" y="4222"/>
                </a:cubicBezTo>
                <a:lnTo>
                  <a:pt x="10114" y="4380"/>
                </a:lnTo>
                <a:cubicBezTo>
                  <a:pt x="9295" y="2741"/>
                  <a:pt x="7593" y="1544"/>
                  <a:pt x="5640" y="1418"/>
                </a:cubicBezTo>
                <a:cubicBezTo>
                  <a:pt x="5483" y="599"/>
                  <a:pt x="4758" y="0"/>
                  <a:pt x="3907"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nvGrpSpPr>
          <p:cNvPr id="11027" name="Google Shape;11027;p114"/>
          <p:cNvGrpSpPr/>
          <p:nvPr/>
        </p:nvGrpSpPr>
        <p:grpSpPr>
          <a:xfrm>
            <a:off x="8951955" y="2251889"/>
            <a:ext cx="551883" cy="630235"/>
            <a:chOff x="-17545650" y="2051350"/>
            <a:chExt cx="266250" cy="304050"/>
          </a:xfrm>
        </p:grpSpPr>
        <p:sp>
          <p:nvSpPr>
            <p:cNvPr id="11028" name="Google Shape;11028;p114"/>
            <p:cNvSpPr/>
            <p:nvPr/>
          </p:nvSpPr>
          <p:spPr>
            <a:xfrm>
              <a:off x="-17475550" y="2230150"/>
              <a:ext cx="17350" cy="17350"/>
            </a:xfrm>
            <a:custGeom>
              <a:avLst/>
              <a:gdLst/>
              <a:ahLst/>
              <a:cxnLst/>
              <a:rect l="l" t="t" r="r" b="b"/>
              <a:pathLst>
                <a:path w="694" h="694" extrusionOk="0">
                  <a:moveTo>
                    <a:pt x="347" y="0"/>
                  </a:moveTo>
                  <a:cubicBezTo>
                    <a:pt x="158" y="0"/>
                    <a:pt x="0" y="158"/>
                    <a:pt x="0" y="347"/>
                  </a:cubicBezTo>
                  <a:cubicBezTo>
                    <a:pt x="0" y="536"/>
                    <a:pt x="158" y="694"/>
                    <a:pt x="347" y="694"/>
                  </a:cubicBezTo>
                  <a:cubicBezTo>
                    <a:pt x="536" y="694"/>
                    <a:pt x="694" y="536"/>
                    <a:pt x="694" y="347"/>
                  </a:cubicBezTo>
                  <a:cubicBezTo>
                    <a:pt x="694" y="158"/>
                    <a:pt x="536" y="0"/>
                    <a:pt x="347"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1029" name="Google Shape;11029;p114"/>
            <p:cNvSpPr/>
            <p:nvPr/>
          </p:nvSpPr>
          <p:spPr>
            <a:xfrm>
              <a:off x="-17458225" y="2212025"/>
              <a:ext cx="18150" cy="18150"/>
            </a:xfrm>
            <a:custGeom>
              <a:avLst/>
              <a:gdLst/>
              <a:ahLst/>
              <a:cxnLst/>
              <a:rect l="l" t="t" r="r" b="b"/>
              <a:pathLst>
                <a:path w="726" h="726" extrusionOk="0">
                  <a:moveTo>
                    <a:pt x="379" y="1"/>
                  </a:moveTo>
                  <a:cubicBezTo>
                    <a:pt x="158" y="1"/>
                    <a:pt x="1" y="158"/>
                    <a:pt x="1" y="379"/>
                  </a:cubicBezTo>
                  <a:cubicBezTo>
                    <a:pt x="1" y="568"/>
                    <a:pt x="158" y="725"/>
                    <a:pt x="379" y="725"/>
                  </a:cubicBezTo>
                  <a:cubicBezTo>
                    <a:pt x="568" y="725"/>
                    <a:pt x="725" y="568"/>
                    <a:pt x="725" y="379"/>
                  </a:cubicBezTo>
                  <a:cubicBezTo>
                    <a:pt x="725" y="158"/>
                    <a:pt x="568" y="1"/>
                    <a:pt x="379"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1030" name="Google Shape;11030;p114"/>
            <p:cNvSpPr/>
            <p:nvPr/>
          </p:nvSpPr>
          <p:spPr>
            <a:xfrm>
              <a:off x="-17493675" y="2212025"/>
              <a:ext cx="18150" cy="18150"/>
            </a:xfrm>
            <a:custGeom>
              <a:avLst/>
              <a:gdLst/>
              <a:ahLst/>
              <a:cxnLst/>
              <a:rect l="l" t="t" r="r" b="b"/>
              <a:pathLst>
                <a:path w="726" h="726" extrusionOk="0">
                  <a:moveTo>
                    <a:pt x="379" y="1"/>
                  </a:moveTo>
                  <a:cubicBezTo>
                    <a:pt x="158" y="1"/>
                    <a:pt x="1" y="158"/>
                    <a:pt x="1" y="379"/>
                  </a:cubicBezTo>
                  <a:cubicBezTo>
                    <a:pt x="1" y="568"/>
                    <a:pt x="158" y="725"/>
                    <a:pt x="379" y="725"/>
                  </a:cubicBezTo>
                  <a:cubicBezTo>
                    <a:pt x="568" y="725"/>
                    <a:pt x="725" y="568"/>
                    <a:pt x="725" y="379"/>
                  </a:cubicBezTo>
                  <a:cubicBezTo>
                    <a:pt x="725" y="158"/>
                    <a:pt x="568" y="1"/>
                    <a:pt x="379"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1031" name="Google Shape;11031;p114"/>
            <p:cNvSpPr/>
            <p:nvPr/>
          </p:nvSpPr>
          <p:spPr>
            <a:xfrm>
              <a:off x="-17545650" y="2051350"/>
              <a:ext cx="266250" cy="304050"/>
            </a:xfrm>
            <a:custGeom>
              <a:avLst/>
              <a:gdLst/>
              <a:ahLst/>
              <a:cxnLst/>
              <a:rect l="l" t="t" r="r" b="b"/>
              <a:pathLst>
                <a:path w="10650" h="12162" extrusionOk="0">
                  <a:moveTo>
                    <a:pt x="5640" y="694"/>
                  </a:moveTo>
                  <a:lnTo>
                    <a:pt x="5640" y="1072"/>
                  </a:lnTo>
                  <a:cubicBezTo>
                    <a:pt x="5640" y="1387"/>
                    <a:pt x="5797" y="1671"/>
                    <a:pt x="5986" y="1860"/>
                  </a:cubicBezTo>
                  <a:cubicBezTo>
                    <a:pt x="5797" y="2017"/>
                    <a:pt x="5577" y="2143"/>
                    <a:pt x="5293" y="2143"/>
                  </a:cubicBezTo>
                  <a:cubicBezTo>
                    <a:pt x="5010" y="2143"/>
                    <a:pt x="4789" y="2017"/>
                    <a:pt x="4569" y="1860"/>
                  </a:cubicBezTo>
                  <a:cubicBezTo>
                    <a:pt x="4821" y="1702"/>
                    <a:pt x="4915" y="1387"/>
                    <a:pt x="4915" y="1072"/>
                  </a:cubicBezTo>
                  <a:lnTo>
                    <a:pt x="4915" y="694"/>
                  </a:lnTo>
                  <a:close/>
                  <a:moveTo>
                    <a:pt x="7404" y="2143"/>
                  </a:moveTo>
                  <a:cubicBezTo>
                    <a:pt x="8507" y="2143"/>
                    <a:pt x="9452" y="2868"/>
                    <a:pt x="9799" y="3844"/>
                  </a:cubicBezTo>
                  <a:cubicBezTo>
                    <a:pt x="9893" y="4065"/>
                    <a:pt x="9704" y="4285"/>
                    <a:pt x="9452" y="4285"/>
                  </a:cubicBezTo>
                  <a:lnTo>
                    <a:pt x="8475" y="4285"/>
                  </a:lnTo>
                  <a:cubicBezTo>
                    <a:pt x="8381" y="3403"/>
                    <a:pt x="7971" y="2647"/>
                    <a:pt x="7278" y="2143"/>
                  </a:cubicBezTo>
                  <a:close/>
                  <a:moveTo>
                    <a:pt x="3277" y="2143"/>
                  </a:moveTo>
                  <a:cubicBezTo>
                    <a:pt x="2615" y="2647"/>
                    <a:pt x="2206" y="3435"/>
                    <a:pt x="2080" y="4285"/>
                  </a:cubicBezTo>
                  <a:lnTo>
                    <a:pt x="1103" y="4285"/>
                  </a:lnTo>
                  <a:cubicBezTo>
                    <a:pt x="1092" y="4287"/>
                    <a:pt x="1081" y="4288"/>
                    <a:pt x="1071" y="4288"/>
                  </a:cubicBezTo>
                  <a:cubicBezTo>
                    <a:pt x="893" y="4288"/>
                    <a:pt x="729" y="4052"/>
                    <a:pt x="788" y="3844"/>
                  </a:cubicBezTo>
                  <a:cubicBezTo>
                    <a:pt x="1135" y="2805"/>
                    <a:pt x="2080" y="2143"/>
                    <a:pt x="3151" y="2143"/>
                  </a:cubicBezTo>
                  <a:close/>
                  <a:moveTo>
                    <a:pt x="6428" y="2458"/>
                  </a:moveTo>
                  <a:cubicBezTo>
                    <a:pt x="7152" y="2805"/>
                    <a:pt x="7625" y="3529"/>
                    <a:pt x="7719" y="4317"/>
                  </a:cubicBezTo>
                  <a:lnTo>
                    <a:pt x="2773" y="4317"/>
                  </a:lnTo>
                  <a:cubicBezTo>
                    <a:pt x="2962" y="3529"/>
                    <a:pt x="3435" y="2805"/>
                    <a:pt x="4128" y="2458"/>
                  </a:cubicBezTo>
                  <a:cubicBezTo>
                    <a:pt x="4443" y="2742"/>
                    <a:pt x="4852" y="2899"/>
                    <a:pt x="5293" y="2899"/>
                  </a:cubicBezTo>
                  <a:cubicBezTo>
                    <a:pt x="5734" y="2899"/>
                    <a:pt x="6112" y="2742"/>
                    <a:pt x="6428" y="2458"/>
                  </a:cubicBezTo>
                  <a:close/>
                  <a:moveTo>
                    <a:pt x="9168" y="5010"/>
                  </a:moveTo>
                  <a:lnTo>
                    <a:pt x="9168" y="5861"/>
                  </a:lnTo>
                  <a:lnTo>
                    <a:pt x="9231" y="5861"/>
                  </a:lnTo>
                  <a:cubicBezTo>
                    <a:pt x="9231" y="8381"/>
                    <a:pt x="7656" y="10618"/>
                    <a:pt x="5293" y="11437"/>
                  </a:cubicBezTo>
                  <a:cubicBezTo>
                    <a:pt x="2930" y="10618"/>
                    <a:pt x="1355" y="8350"/>
                    <a:pt x="1355" y="5861"/>
                  </a:cubicBezTo>
                  <a:lnTo>
                    <a:pt x="1355" y="5010"/>
                  </a:lnTo>
                  <a:close/>
                  <a:moveTo>
                    <a:pt x="4600" y="1"/>
                  </a:moveTo>
                  <a:cubicBezTo>
                    <a:pt x="4411" y="1"/>
                    <a:pt x="4254" y="190"/>
                    <a:pt x="4254" y="379"/>
                  </a:cubicBezTo>
                  <a:lnTo>
                    <a:pt x="4254" y="1135"/>
                  </a:lnTo>
                  <a:cubicBezTo>
                    <a:pt x="4254" y="1324"/>
                    <a:pt x="4096" y="1482"/>
                    <a:pt x="3907" y="1482"/>
                  </a:cubicBezTo>
                  <a:lnTo>
                    <a:pt x="3183" y="1482"/>
                  </a:lnTo>
                  <a:cubicBezTo>
                    <a:pt x="1828" y="1482"/>
                    <a:pt x="599" y="2332"/>
                    <a:pt x="158" y="3655"/>
                  </a:cubicBezTo>
                  <a:cubicBezTo>
                    <a:pt x="1" y="4159"/>
                    <a:pt x="253" y="4695"/>
                    <a:pt x="725" y="4916"/>
                  </a:cubicBezTo>
                  <a:lnTo>
                    <a:pt x="725" y="5861"/>
                  </a:lnTo>
                  <a:cubicBezTo>
                    <a:pt x="725" y="7278"/>
                    <a:pt x="1135" y="8602"/>
                    <a:pt x="1985" y="9736"/>
                  </a:cubicBezTo>
                  <a:cubicBezTo>
                    <a:pt x="2804" y="10901"/>
                    <a:pt x="3939" y="11721"/>
                    <a:pt x="5230" y="12162"/>
                  </a:cubicBezTo>
                  <a:lnTo>
                    <a:pt x="5482" y="12162"/>
                  </a:lnTo>
                  <a:cubicBezTo>
                    <a:pt x="6806" y="11721"/>
                    <a:pt x="7908" y="10901"/>
                    <a:pt x="8759" y="9736"/>
                  </a:cubicBezTo>
                  <a:cubicBezTo>
                    <a:pt x="9578" y="8602"/>
                    <a:pt x="10019" y="7278"/>
                    <a:pt x="10019" y="5861"/>
                  </a:cubicBezTo>
                  <a:lnTo>
                    <a:pt x="10019" y="4916"/>
                  </a:lnTo>
                  <a:cubicBezTo>
                    <a:pt x="10397" y="4664"/>
                    <a:pt x="10649" y="4159"/>
                    <a:pt x="10492" y="3655"/>
                  </a:cubicBezTo>
                  <a:cubicBezTo>
                    <a:pt x="10051" y="2332"/>
                    <a:pt x="8822" y="1482"/>
                    <a:pt x="7436" y="1482"/>
                  </a:cubicBezTo>
                  <a:lnTo>
                    <a:pt x="6743" y="1482"/>
                  </a:lnTo>
                  <a:cubicBezTo>
                    <a:pt x="6554" y="1482"/>
                    <a:pt x="6396" y="1324"/>
                    <a:pt x="6396" y="1135"/>
                  </a:cubicBezTo>
                  <a:lnTo>
                    <a:pt x="6396" y="379"/>
                  </a:lnTo>
                  <a:cubicBezTo>
                    <a:pt x="6396" y="190"/>
                    <a:pt x="6238" y="1"/>
                    <a:pt x="6018"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sp>
        <p:nvSpPr>
          <p:cNvPr id="11032" name="Google Shape;11032;p114"/>
          <p:cNvSpPr/>
          <p:nvPr/>
        </p:nvSpPr>
        <p:spPr>
          <a:xfrm>
            <a:off x="8910560" y="3031935"/>
            <a:ext cx="631841" cy="633448"/>
          </a:xfrm>
          <a:custGeom>
            <a:avLst/>
            <a:gdLst/>
            <a:ahLst/>
            <a:cxnLst/>
            <a:rect l="l" t="t" r="r" b="b"/>
            <a:pathLst>
              <a:path w="12193" h="12224" extrusionOk="0">
                <a:moveTo>
                  <a:pt x="6144" y="788"/>
                </a:moveTo>
                <a:cubicBezTo>
                  <a:pt x="6805" y="788"/>
                  <a:pt x="7467" y="914"/>
                  <a:pt x="8097" y="1229"/>
                </a:cubicBezTo>
                <a:cubicBezTo>
                  <a:pt x="7625" y="1859"/>
                  <a:pt x="6931" y="2205"/>
                  <a:pt x="6144" y="2205"/>
                </a:cubicBezTo>
                <a:cubicBezTo>
                  <a:pt x="5356" y="2205"/>
                  <a:pt x="4632" y="1859"/>
                  <a:pt x="4159" y="1229"/>
                </a:cubicBezTo>
                <a:cubicBezTo>
                  <a:pt x="4758" y="945"/>
                  <a:pt x="5482" y="788"/>
                  <a:pt x="6144" y="788"/>
                </a:cubicBezTo>
                <a:close/>
                <a:moveTo>
                  <a:pt x="8727" y="1544"/>
                </a:moveTo>
                <a:cubicBezTo>
                  <a:pt x="9767" y="2268"/>
                  <a:pt x="10523" y="3371"/>
                  <a:pt x="10744" y="4663"/>
                </a:cubicBezTo>
                <a:cubicBezTo>
                  <a:pt x="10775" y="4852"/>
                  <a:pt x="10586" y="5041"/>
                  <a:pt x="10397" y="5041"/>
                </a:cubicBezTo>
                <a:lnTo>
                  <a:pt x="1922" y="5041"/>
                </a:lnTo>
                <a:cubicBezTo>
                  <a:pt x="1639" y="5041"/>
                  <a:pt x="1481" y="4883"/>
                  <a:pt x="1544" y="4663"/>
                </a:cubicBezTo>
                <a:cubicBezTo>
                  <a:pt x="1733" y="3371"/>
                  <a:pt x="2489" y="2268"/>
                  <a:pt x="3529" y="1544"/>
                </a:cubicBezTo>
                <a:cubicBezTo>
                  <a:pt x="4128" y="2363"/>
                  <a:pt x="5104" y="2899"/>
                  <a:pt x="6144" y="2899"/>
                </a:cubicBezTo>
                <a:cubicBezTo>
                  <a:pt x="7152" y="2899"/>
                  <a:pt x="8160" y="2426"/>
                  <a:pt x="8727" y="1544"/>
                </a:cubicBezTo>
                <a:close/>
                <a:moveTo>
                  <a:pt x="10082" y="5765"/>
                </a:moveTo>
                <a:lnTo>
                  <a:pt x="10082" y="6144"/>
                </a:lnTo>
                <a:cubicBezTo>
                  <a:pt x="10082" y="6364"/>
                  <a:pt x="9924" y="6522"/>
                  <a:pt x="9735" y="6522"/>
                </a:cubicBezTo>
                <a:lnTo>
                  <a:pt x="2552" y="6522"/>
                </a:lnTo>
                <a:cubicBezTo>
                  <a:pt x="2363" y="6522"/>
                  <a:pt x="2206" y="6364"/>
                  <a:pt x="2206" y="6144"/>
                </a:cubicBezTo>
                <a:lnTo>
                  <a:pt x="2206" y="5765"/>
                </a:lnTo>
                <a:close/>
                <a:moveTo>
                  <a:pt x="6112" y="0"/>
                </a:moveTo>
                <a:cubicBezTo>
                  <a:pt x="3466" y="0"/>
                  <a:pt x="1229" y="1985"/>
                  <a:pt x="788" y="4505"/>
                </a:cubicBezTo>
                <a:cubicBezTo>
                  <a:pt x="693" y="4978"/>
                  <a:pt x="977" y="5450"/>
                  <a:pt x="1418" y="5639"/>
                </a:cubicBezTo>
                <a:lnTo>
                  <a:pt x="1418" y="6112"/>
                </a:lnTo>
                <a:cubicBezTo>
                  <a:pt x="1418" y="6585"/>
                  <a:pt x="1733" y="6994"/>
                  <a:pt x="2111" y="7152"/>
                </a:cubicBezTo>
                <a:lnTo>
                  <a:pt x="2111" y="7939"/>
                </a:lnTo>
                <a:cubicBezTo>
                  <a:pt x="2111" y="8317"/>
                  <a:pt x="1796" y="8632"/>
                  <a:pt x="1418" y="8632"/>
                </a:cubicBezTo>
                <a:cubicBezTo>
                  <a:pt x="1009" y="8632"/>
                  <a:pt x="693" y="8317"/>
                  <a:pt x="693" y="7939"/>
                </a:cubicBezTo>
                <a:lnTo>
                  <a:pt x="693" y="7561"/>
                </a:lnTo>
                <a:cubicBezTo>
                  <a:pt x="693" y="7372"/>
                  <a:pt x="536" y="7215"/>
                  <a:pt x="347" y="7215"/>
                </a:cubicBezTo>
                <a:cubicBezTo>
                  <a:pt x="158" y="7215"/>
                  <a:pt x="0" y="7372"/>
                  <a:pt x="0" y="7561"/>
                </a:cubicBezTo>
                <a:lnTo>
                  <a:pt x="0" y="7939"/>
                </a:lnTo>
                <a:cubicBezTo>
                  <a:pt x="0" y="8727"/>
                  <a:pt x="630" y="9357"/>
                  <a:pt x="1418" y="9357"/>
                </a:cubicBezTo>
                <a:cubicBezTo>
                  <a:pt x="2206" y="9357"/>
                  <a:pt x="2836" y="8727"/>
                  <a:pt x="2836" y="7939"/>
                </a:cubicBezTo>
                <a:lnTo>
                  <a:pt x="2836" y="7215"/>
                </a:lnTo>
                <a:lnTo>
                  <a:pt x="4285" y="7215"/>
                </a:lnTo>
                <a:lnTo>
                  <a:pt x="4285" y="10806"/>
                </a:lnTo>
                <a:cubicBezTo>
                  <a:pt x="4285" y="11184"/>
                  <a:pt x="3970" y="11499"/>
                  <a:pt x="3592" y="11499"/>
                </a:cubicBezTo>
                <a:cubicBezTo>
                  <a:pt x="3182" y="11499"/>
                  <a:pt x="2867" y="11184"/>
                  <a:pt x="2867" y="10806"/>
                </a:cubicBezTo>
                <a:lnTo>
                  <a:pt x="2867" y="10460"/>
                </a:lnTo>
                <a:cubicBezTo>
                  <a:pt x="2867" y="10239"/>
                  <a:pt x="2710" y="10082"/>
                  <a:pt x="2521" y="10082"/>
                </a:cubicBezTo>
                <a:cubicBezTo>
                  <a:pt x="2332" y="10082"/>
                  <a:pt x="2174" y="10239"/>
                  <a:pt x="2174" y="10460"/>
                </a:cubicBezTo>
                <a:lnTo>
                  <a:pt x="2174" y="10806"/>
                </a:lnTo>
                <a:cubicBezTo>
                  <a:pt x="2174" y="11594"/>
                  <a:pt x="2804" y="12224"/>
                  <a:pt x="3592" y="12224"/>
                </a:cubicBezTo>
                <a:cubicBezTo>
                  <a:pt x="4380" y="12224"/>
                  <a:pt x="5010" y="11594"/>
                  <a:pt x="5010" y="10806"/>
                </a:cubicBezTo>
                <a:lnTo>
                  <a:pt x="5010" y="7215"/>
                </a:lnTo>
                <a:lnTo>
                  <a:pt x="7120" y="7215"/>
                </a:lnTo>
                <a:lnTo>
                  <a:pt x="7120" y="10806"/>
                </a:lnTo>
                <a:cubicBezTo>
                  <a:pt x="7120" y="11594"/>
                  <a:pt x="7751" y="12224"/>
                  <a:pt x="8538" y="12224"/>
                </a:cubicBezTo>
                <a:cubicBezTo>
                  <a:pt x="9326" y="12224"/>
                  <a:pt x="9956" y="11594"/>
                  <a:pt x="9956" y="10806"/>
                </a:cubicBezTo>
                <a:lnTo>
                  <a:pt x="9956" y="10460"/>
                </a:lnTo>
                <a:cubicBezTo>
                  <a:pt x="9956" y="10239"/>
                  <a:pt x="9798" y="10082"/>
                  <a:pt x="9609" y="10082"/>
                </a:cubicBezTo>
                <a:cubicBezTo>
                  <a:pt x="9420" y="10082"/>
                  <a:pt x="9263" y="10239"/>
                  <a:pt x="9263" y="10460"/>
                </a:cubicBezTo>
                <a:lnTo>
                  <a:pt x="9263" y="10806"/>
                </a:lnTo>
                <a:cubicBezTo>
                  <a:pt x="9263" y="11184"/>
                  <a:pt x="8948" y="11499"/>
                  <a:pt x="8538" y="11499"/>
                </a:cubicBezTo>
                <a:cubicBezTo>
                  <a:pt x="8160" y="11499"/>
                  <a:pt x="7845" y="11184"/>
                  <a:pt x="7845" y="10806"/>
                </a:cubicBezTo>
                <a:lnTo>
                  <a:pt x="7845" y="7215"/>
                </a:lnTo>
                <a:lnTo>
                  <a:pt x="9294" y="7215"/>
                </a:lnTo>
                <a:lnTo>
                  <a:pt x="9294" y="7939"/>
                </a:lnTo>
                <a:cubicBezTo>
                  <a:pt x="9294" y="8727"/>
                  <a:pt x="9924" y="9357"/>
                  <a:pt x="10712" y="9357"/>
                </a:cubicBezTo>
                <a:cubicBezTo>
                  <a:pt x="11500" y="9357"/>
                  <a:pt x="12130" y="8727"/>
                  <a:pt x="12130" y="7939"/>
                </a:cubicBezTo>
                <a:lnTo>
                  <a:pt x="12130" y="7561"/>
                </a:lnTo>
                <a:cubicBezTo>
                  <a:pt x="12193" y="7372"/>
                  <a:pt x="12035" y="7215"/>
                  <a:pt x="11846" y="7215"/>
                </a:cubicBezTo>
                <a:cubicBezTo>
                  <a:pt x="11657" y="7215"/>
                  <a:pt x="11500" y="7372"/>
                  <a:pt x="11500" y="7561"/>
                </a:cubicBezTo>
                <a:lnTo>
                  <a:pt x="11500" y="7939"/>
                </a:lnTo>
                <a:cubicBezTo>
                  <a:pt x="11500" y="8317"/>
                  <a:pt x="11185" y="8632"/>
                  <a:pt x="10775" y="8632"/>
                </a:cubicBezTo>
                <a:cubicBezTo>
                  <a:pt x="10397" y="8632"/>
                  <a:pt x="10082" y="8317"/>
                  <a:pt x="10082" y="7939"/>
                </a:cubicBezTo>
                <a:lnTo>
                  <a:pt x="10082" y="7152"/>
                </a:lnTo>
                <a:cubicBezTo>
                  <a:pt x="10523" y="6994"/>
                  <a:pt x="10775" y="6585"/>
                  <a:pt x="10775" y="6112"/>
                </a:cubicBezTo>
                <a:lnTo>
                  <a:pt x="10775" y="5639"/>
                </a:lnTo>
                <a:cubicBezTo>
                  <a:pt x="11216" y="5450"/>
                  <a:pt x="11500" y="4978"/>
                  <a:pt x="11405" y="4505"/>
                </a:cubicBezTo>
                <a:cubicBezTo>
                  <a:pt x="10996" y="1953"/>
                  <a:pt x="8727" y="0"/>
                  <a:pt x="6112"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nvGrpSpPr>
          <p:cNvPr id="11033" name="Google Shape;11033;p114"/>
          <p:cNvGrpSpPr/>
          <p:nvPr/>
        </p:nvGrpSpPr>
        <p:grpSpPr>
          <a:xfrm>
            <a:off x="8912779" y="3820766"/>
            <a:ext cx="630235" cy="592717"/>
            <a:chOff x="-17565350" y="2809825"/>
            <a:chExt cx="304050" cy="285950"/>
          </a:xfrm>
        </p:grpSpPr>
        <p:sp>
          <p:nvSpPr>
            <p:cNvPr id="11034" name="Google Shape;11034;p114"/>
            <p:cNvSpPr/>
            <p:nvPr/>
          </p:nvSpPr>
          <p:spPr>
            <a:xfrm>
              <a:off x="-17458225" y="2970500"/>
              <a:ext cx="18150" cy="17375"/>
            </a:xfrm>
            <a:custGeom>
              <a:avLst/>
              <a:gdLst/>
              <a:ahLst/>
              <a:cxnLst/>
              <a:rect l="l" t="t" r="r" b="b"/>
              <a:pathLst>
                <a:path w="726" h="695" extrusionOk="0">
                  <a:moveTo>
                    <a:pt x="379" y="1"/>
                  </a:moveTo>
                  <a:cubicBezTo>
                    <a:pt x="158" y="1"/>
                    <a:pt x="1" y="158"/>
                    <a:pt x="1" y="347"/>
                  </a:cubicBezTo>
                  <a:cubicBezTo>
                    <a:pt x="1" y="537"/>
                    <a:pt x="158" y="694"/>
                    <a:pt x="379" y="694"/>
                  </a:cubicBezTo>
                  <a:cubicBezTo>
                    <a:pt x="568" y="694"/>
                    <a:pt x="725" y="537"/>
                    <a:pt x="725" y="347"/>
                  </a:cubicBezTo>
                  <a:cubicBezTo>
                    <a:pt x="725" y="158"/>
                    <a:pt x="568" y="1"/>
                    <a:pt x="379"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1035" name="Google Shape;11035;p114"/>
            <p:cNvSpPr/>
            <p:nvPr/>
          </p:nvSpPr>
          <p:spPr>
            <a:xfrm>
              <a:off x="-17385750" y="2970500"/>
              <a:ext cx="17350" cy="17375"/>
            </a:xfrm>
            <a:custGeom>
              <a:avLst/>
              <a:gdLst/>
              <a:ahLst/>
              <a:cxnLst/>
              <a:rect l="l" t="t" r="r" b="b"/>
              <a:pathLst>
                <a:path w="694" h="695" extrusionOk="0">
                  <a:moveTo>
                    <a:pt x="347" y="1"/>
                  </a:moveTo>
                  <a:cubicBezTo>
                    <a:pt x="158" y="1"/>
                    <a:pt x="0" y="158"/>
                    <a:pt x="0" y="347"/>
                  </a:cubicBezTo>
                  <a:cubicBezTo>
                    <a:pt x="0" y="537"/>
                    <a:pt x="158" y="694"/>
                    <a:pt x="347" y="694"/>
                  </a:cubicBezTo>
                  <a:cubicBezTo>
                    <a:pt x="536" y="694"/>
                    <a:pt x="693" y="537"/>
                    <a:pt x="693" y="347"/>
                  </a:cubicBezTo>
                  <a:cubicBezTo>
                    <a:pt x="693" y="158"/>
                    <a:pt x="536" y="1"/>
                    <a:pt x="347"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1036" name="Google Shape;11036;p114"/>
            <p:cNvSpPr/>
            <p:nvPr/>
          </p:nvSpPr>
          <p:spPr>
            <a:xfrm>
              <a:off x="-17565350" y="2809825"/>
              <a:ext cx="304050" cy="285950"/>
            </a:xfrm>
            <a:custGeom>
              <a:avLst/>
              <a:gdLst/>
              <a:ahLst/>
              <a:cxnLst/>
              <a:rect l="l" t="t" r="r" b="b"/>
              <a:pathLst>
                <a:path w="12162" h="11438" extrusionOk="0">
                  <a:moveTo>
                    <a:pt x="3183" y="726"/>
                  </a:moveTo>
                  <a:cubicBezTo>
                    <a:pt x="4191" y="726"/>
                    <a:pt x="4979" y="1513"/>
                    <a:pt x="4979" y="2490"/>
                  </a:cubicBezTo>
                  <a:cubicBezTo>
                    <a:pt x="4979" y="3466"/>
                    <a:pt x="4191" y="4254"/>
                    <a:pt x="3183" y="4254"/>
                  </a:cubicBezTo>
                  <a:cubicBezTo>
                    <a:pt x="2206" y="4254"/>
                    <a:pt x="1419" y="3466"/>
                    <a:pt x="1419" y="2490"/>
                  </a:cubicBezTo>
                  <a:cubicBezTo>
                    <a:pt x="1419" y="1545"/>
                    <a:pt x="2206" y="726"/>
                    <a:pt x="3183" y="726"/>
                  </a:cubicBezTo>
                  <a:close/>
                  <a:moveTo>
                    <a:pt x="8980" y="726"/>
                  </a:moveTo>
                  <a:cubicBezTo>
                    <a:pt x="9956" y="726"/>
                    <a:pt x="10744" y="1513"/>
                    <a:pt x="10744" y="2490"/>
                  </a:cubicBezTo>
                  <a:cubicBezTo>
                    <a:pt x="10744" y="3466"/>
                    <a:pt x="9956" y="4254"/>
                    <a:pt x="8980" y="4254"/>
                  </a:cubicBezTo>
                  <a:cubicBezTo>
                    <a:pt x="8003" y="4254"/>
                    <a:pt x="7216" y="3466"/>
                    <a:pt x="7216" y="2490"/>
                  </a:cubicBezTo>
                  <a:cubicBezTo>
                    <a:pt x="7184" y="1545"/>
                    <a:pt x="8003" y="726"/>
                    <a:pt x="8980" y="726"/>
                  </a:cubicBezTo>
                  <a:close/>
                  <a:moveTo>
                    <a:pt x="6491" y="2868"/>
                  </a:moveTo>
                  <a:cubicBezTo>
                    <a:pt x="6648" y="4097"/>
                    <a:pt x="7720" y="5010"/>
                    <a:pt x="8980" y="5010"/>
                  </a:cubicBezTo>
                  <a:cubicBezTo>
                    <a:pt x="9610" y="5010"/>
                    <a:pt x="10208" y="4758"/>
                    <a:pt x="10650" y="4380"/>
                  </a:cubicBezTo>
                  <a:cubicBezTo>
                    <a:pt x="11185" y="5042"/>
                    <a:pt x="11469" y="5924"/>
                    <a:pt x="11469" y="6774"/>
                  </a:cubicBezTo>
                  <a:cubicBezTo>
                    <a:pt x="11469" y="6964"/>
                    <a:pt x="11311" y="7121"/>
                    <a:pt x="11122" y="7121"/>
                  </a:cubicBezTo>
                  <a:lnTo>
                    <a:pt x="10965" y="7121"/>
                  </a:lnTo>
                  <a:cubicBezTo>
                    <a:pt x="10051" y="7121"/>
                    <a:pt x="9137" y="7405"/>
                    <a:pt x="8381" y="7909"/>
                  </a:cubicBezTo>
                  <a:cubicBezTo>
                    <a:pt x="7751" y="8350"/>
                    <a:pt x="7026" y="8602"/>
                    <a:pt x="6239" y="8602"/>
                  </a:cubicBezTo>
                  <a:lnTo>
                    <a:pt x="5955" y="8602"/>
                  </a:lnTo>
                  <a:cubicBezTo>
                    <a:pt x="5168" y="8602"/>
                    <a:pt x="4412" y="8350"/>
                    <a:pt x="3781" y="7909"/>
                  </a:cubicBezTo>
                  <a:cubicBezTo>
                    <a:pt x="2962" y="7373"/>
                    <a:pt x="2049" y="7121"/>
                    <a:pt x="1072" y="7121"/>
                  </a:cubicBezTo>
                  <a:cubicBezTo>
                    <a:pt x="883" y="7121"/>
                    <a:pt x="725" y="6964"/>
                    <a:pt x="725" y="6774"/>
                  </a:cubicBezTo>
                  <a:cubicBezTo>
                    <a:pt x="725" y="5924"/>
                    <a:pt x="978" y="5042"/>
                    <a:pt x="1545" y="4380"/>
                  </a:cubicBezTo>
                  <a:cubicBezTo>
                    <a:pt x="1986" y="4758"/>
                    <a:pt x="2553" y="5010"/>
                    <a:pt x="3183" y="5010"/>
                  </a:cubicBezTo>
                  <a:cubicBezTo>
                    <a:pt x="4443" y="5010"/>
                    <a:pt x="5483" y="4065"/>
                    <a:pt x="5672" y="2868"/>
                  </a:cubicBezTo>
                  <a:close/>
                  <a:moveTo>
                    <a:pt x="1356" y="7877"/>
                  </a:moveTo>
                  <a:cubicBezTo>
                    <a:pt x="2112" y="7909"/>
                    <a:pt x="2805" y="8129"/>
                    <a:pt x="3403" y="8539"/>
                  </a:cubicBezTo>
                  <a:cubicBezTo>
                    <a:pt x="4160" y="9074"/>
                    <a:pt x="5042" y="9326"/>
                    <a:pt x="5955" y="9326"/>
                  </a:cubicBezTo>
                  <a:lnTo>
                    <a:pt x="6239" y="9326"/>
                  </a:lnTo>
                  <a:cubicBezTo>
                    <a:pt x="7153" y="9326"/>
                    <a:pt x="8035" y="9074"/>
                    <a:pt x="8791" y="8539"/>
                  </a:cubicBezTo>
                  <a:cubicBezTo>
                    <a:pt x="9389" y="8161"/>
                    <a:pt x="10145" y="7909"/>
                    <a:pt x="10839" y="7877"/>
                  </a:cubicBezTo>
                  <a:lnTo>
                    <a:pt x="10839" y="7877"/>
                  </a:lnTo>
                  <a:cubicBezTo>
                    <a:pt x="9925" y="9578"/>
                    <a:pt x="8066" y="10713"/>
                    <a:pt x="6113" y="10713"/>
                  </a:cubicBezTo>
                  <a:cubicBezTo>
                    <a:pt x="4097" y="10713"/>
                    <a:pt x="2301" y="9578"/>
                    <a:pt x="1356" y="7877"/>
                  </a:cubicBezTo>
                  <a:close/>
                  <a:moveTo>
                    <a:pt x="3214" y="1"/>
                  </a:moveTo>
                  <a:cubicBezTo>
                    <a:pt x="1828" y="1"/>
                    <a:pt x="725" y="1104"/>
                    <a:pt x="725" y="2490"/>
                  </a:cubicBezTo>
                  <a:cubicBezTo>
                    <a:pt x="725" y="2962"/>
                    <a:pt x="852" y="3403"/>
                    <a:pt x="1072" y="3782"/>
                  </a:cubicBezTo>
                  <a:cubicBezTo>
                    <a:pt x="379" y="4601"/>
                    <a:pt x="1" y="5672"/>
                    <a:pt x="1" y="6774"/>
                  </a:cubicBezTo>
                  <a:cubicBezTo>
                    <a:pt x="1" y="7121"/>
                    <a:pt x="221" y="7436"/>
                    <a:pt x="442" y="7657"/>
                  </a:cubicBezTo>
                  <a:cubicBezTo>
                    <a:pt x="1356" y="9862"/>
                    <a:pt x="3498" y="11437"/>
                    <a:pt x="6081" y="11437"/>
                  </a:cubicBezTo>
                  <a:cubicBezTo>
                    <a:pt x="8633" y="11437"/>
                    <a:pt x="10807" y="9862"/>
                    <a:pt x="11689" y="7657"/>
                  </a:cubicBezTo>
                  <a:cubicBezTo>
                    <a:pt x="12004" y="7436"/>
                    <a:pt x="12162" y="7121"/>
                    <a:pt x="12162" y="6774"/>
                  </a:cubicBezTo>
                  <a:cubicBezTo>
                    <a:pt x="12162" y="5672"/>
                    <a:pt x="11784" y="4664"/>
                    <a:pt x="11122" y="3782"/>
                  </a:cubicBezTo>
                  <a:cubicBezTo>
                    <a:pt x="11343" y="3403"/>
                    <a:pt x="11469" y="2962"/>
                    <a:pt x="11469" y="2490"/>
                  </a:cubicBezTo>
                  <a:cubicBezTo>
                    <a:pt x="11469" y="1104"/>
                    <a:pt x="10366" y="1"/>
                    <a:pt x="8980" y="1"/>
                  </a:cubicBezTo>
                  <a:cubicBezTo>
                    <a:pt x="7720" y="1"/>
                    <a:pt x="6711" y="946"/>
                    <a:pt x="6491" y="2143"/>
                  </a:cubicBezTo>
                  <a:lnTo>
                    <a:pt x="5672" y="2143"/>
                  </a:lnTo>
                  <a:cubicBezTo>
                    <a:pt x="5514" y="915"/>
                    <a:pt x="4475" y="1"/>
                    <a:pt x="3214"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1037" name="Google Shape;11037;p114"/>
            <p:cNvSpPr/>
            <p:nvPr/>
          </p:nvSpPr>
          <p:spPr>
            <a:xfrm>
              <a:off x="-17368425" y="2846075"/>
              <a:ext cx="54350" cy="53575"/>
            </a:xfrm>
            <a:custGeom>
              <a:avLst/>
              <a:gdLst/>
              <a:ahLst/>
              <a:cxnLst/>
              <a:rect l="l" t="t" r="r" b="b"/>
              <a:pathLst>
                <a:path w="2174" h="2143" extrusionOk="0">
                  <a:moveTo>
                    <a:pt x="1103" y="693"/>
                  </a:moveTo>
                  <a:cubicBezTo>
                    <a:pt x="1292" y="693"/>
                    <a:pt x="1449" y="851"/>
                    <a:pt x="1449" y="1040"/>
                  </a:cubicBezTo>
                  <a:cubicBezTo>
                    <a:pt x="1449" y="1229"/>
                    <a:pt x="1292" y="1386"/>
                    <a:pt x="1103" y="1386"/>
                  </a:cubicBezTo>
                  <a:cubicBezTo>
                    <a:pt x="914" y="1386"/>
                    <a:pt x="756" y="1229"/>
                    <a:pt x="756" y="1040"/>
                  </a:cubicBezTo>
                  <a:cubicBezTo>
                    <a:pt x="756" y="851"/>
                    <a:pt x="914" y="693"/>
                    <a:pt x="1103" y="693"/>
                  </a:cubicBezTo>
                  <a:close/>
                  <a:moveTo>
                    <a:pt x="1103" y="0"/>
                  </a:moveTo>
                  <a:cubicBezTo>
                    <a:pt x="504" y="0"/>
                    <a:pt x="32" y="473"/>
                    <a:pt x="32" y="1071"/>
                  </a:cubicBezTo>
                  <a:cubicBezTo>
                    <a:pt x="0" y="1638"/>
                    <a:pt x="504" y="2143"/>
                    <a:pt x="1103" y="2143"/>
                  </a:cubicBezTo>
                  <a:cubicBezTo>
                    <a:pt x="1701" y="2143"/>
                    <a:pt x="2174" y="1670"/>
                    <a:pt x="2174" y="1071"/>
                  </a:cubicBezTo>
                  <a:cubicBezTo>
                    <a:pt x="2174" y="473"/>
                    <a:pt x="1701" y="0"/>
                    <a:pt x="1103"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1038" name="Google Shape;11038;p114"/>
            <p:cNvSpPr/>
            <p:nvPr/>
          </p:nvSpPr>
          <p:spPr>
            <a:xfrm>
              <a:off x="-17511775" y="2846075"/>
              <a:ext cx="52775" cy="53575"/>
            </a:xfrm>
            <a:custGeom>
              <a:avLst/>
              <a:gdLst/>
              <a:ahLst/>
              <a:cxnLst/>
              <a:rect l="l" t="t" r="r" b="b"/>
              <a:pathLst>
                <a:path w="2111" h="2143" extrusionOk="0">
                  <a:moveTo>
                    <a:pt x="1040" y="693"/>
                  </a:moveTo>
                  <a:cubicBezTo>
                    <a:pt x="1260" y="693"/>
                    <a:pt x="1418" y="851"/>
                    <a:pt x="1418" y="1040"/>
                  </a:cubicBezTo>
                  <a:cubicBezTo>
                    <a:pt x="1418" y="1229"/>
                    <a:pt x="1260" y="1386"/>
                    <a:pt x="1040" y="1386"/>
                  </a:cubicBezTo>
                  <a:cubicBezTo>
                    <a:pt x="851" y="1386"/>
                    <a:pt x="693" y="1229"/>
                    <a:pt x="693" y="1040"/>
                  </a:cubicBezTo>
                  <a:cubicBezTo>
                    <a:pt x="693" y="851"/>
                    <a:pt x="851" y="693"/>
                    <a:pt x="1040" y="693"/>
                  </a:cubicBezTo>
                  <a:close/>
                  <a:moveTo>
                    <a:pt x="1040" y="0"/>
                  </a:moveTo>
                  <a:cubicBezTo>
                    <a:pt x="473" y="0"/>
                    <a:pt x="0" y="473"/>
                    <a:pt x="0" y="1071"/>
                  </a:cubicBezTo>
                  <a:cubicBezTo>
                    <a:pt x="0" y="1638"/>
                    <a:pt x="473" y="2143"/>
                    <a:pt x="1040" y="2143"/>
                  </a:cubicBezTo>
                  <a:cubicBezTo>
                    <a:pt x="1638" y="2143"/>
                    <a:pt x="2111" y="1670"/>
                    <a:pt x="2111" y="1071"/>
                  </a:cubicBezTo>
                  <a:cubicBezTo>
                    <a:pt x="2111" y="473"/>
                    <a:pt x="1638" y="0"/>
                    <a:pt x="1040"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sp>
        <p:nvSpPr>
          <p:cNvPr id="11039" name="Google Shape;11039;p114"/>
          <p:cNvSpPr/>
          <p:nvPr/>
        </p:nvSpPr>
        <p:spPr>
          <a:xfrm>
            <a:off x="3574020" y="4595426"/>
            <a:ext cx="480008" cy="628628"/>
          </a:xfrm>
          <a:custGeom>
            <a:avLst/>
            <a:gdLst/>
            <a:ahLst/>
            <a:cxnLst/>
            <a:rect l="l" t="t" r="r" b="b"/>
            <a:pathLst>
              <a:path w="9263" h="12131" extrusionOk="0">
                <a:moveTo>
                  <a:pt x="6207" y="694"/>
                </a:moveTo>
                <a:lnTo>
                  <a:pt x="5829" y="1419"/>
                </a:lnTo>
                <a:lnTo>
                  <a:pt x="3434" y="1419"/>
                </a:lnTo>
                <a:lnTo>
                  <a:pt x="3088" y="694"/>
                </a:lnTo>
                <a:close/>
                <a:moveTo>
                  <a:pt x="2363" y="946"/>
                </a:moveTo>
                <a:lnTo>
                  <a:pt x="2773" y="1671"/>
                </a:lnTo>
                <a:lnTo>
                  <a:pt x="1702" y="2742"/>
                </a:lnTo>
                <a:lnTo>
                  <a:pt x="945" y="2364"/>
                </a:lnTo>
                <a:lnTo>
                  <a:pt x="2363" y="946"/>
                </a:lnTo>
                <a:close/>
                <a:moveTo>
                  <a:pt x="6900" y="946"/>
                </a:moveTo>
                <a:lnTo>
                  <a:pt x="8318" y="2364"/>
                </a:lnTo>
                <a:lnTo>
                  <a:pt x="7561" y="2742"/>
                </a:lnTo>
                <a:lnTo>
                  <a:pt x="6522" y="1671"/>
                </a:lnTo>
                <a:lnTo>
                  <a:pt x="6900" y="946"/>
                </a:lnTo>
                <a:close/>
                <a:moveTo>
                  <a:pt x="725" y="3025"/>
                </a:moveTo>
                <a:lnTo>
                  <a:pt x="1418" y="3372"/>
                </a:lnTo>
                <a:lnTo>
                  <a:pt x="1418" y="8696"/>
                </a:lnTo>
                <a:lnTo>
                  <a:pt x="725" y="9043"/>
                </a:lnTo>
                <a:lnTo>
                  <a:pt x="725" y="3025"/>
                </a:lnTo>
                <a:close/>
                <a:moveTo>
                  <a:pt x="8570" y="3025"/>
                </a:moveTo>
                <a:lnTo>
                  <a:pt x="8570" y="9043"/>
                </a:lnTo>
                <a:lnTo>
                  <a:pt x="7845" y="8696"/>
                </a:lnTo>
                <a:lnTo>
                  <a:pt x="7845" y="3372"/>
                </a:lnTo>
                <a:lnTo>
                  <a:pt x="8570" y="3025"/>
                </a:lnTo>
                <a:close/>
                <a:moveTo>
                  <a:pt x="5923" y="2080"/>
                </a:moveTo>
                <a:lnTo>
                  <a:pt x="7152" y="3277"/>
                </a:lnTo>
                <a:lnTo>
                  <a:pt x="7152" y="8759"/>
                </a:lnTo>
                <a:lnTo>
                  <a:pt x="5923" y="9988"/>
                </a:lnTo>
                <a:lnTo>
                  <a:pt x="3371" y="9988"/>
                </a:lnTo>
                <a:lnTo>
                  <a:pt x="2143" y="8759"/>
                </a:lnTo>
                <a:lnTo>
                  <a:pt x="2143" y="3277"/>
                </a:lnTo>
                <a:lnTo>
                  <a:pt x="3371" y="2080"/>
                </a:lnTo>
                <a:close/>
                <a:moveTo>
                  <a:pt x="1702" y="9358"/>
                </a:moveTo>
                <a:lnTo>
                  <a:pt x="2773" y="10429"/>
                </a:lnTo>
                <a:lnTo>
                  <a:pt x="2395" y="11154"/>
                </a:lnTo>
                <a:lnTo>
                  <a:pt x="945" y="9736"/>
                </a:lnTo>
                <a:lnTo>
                  <a:pt x="1702" y="9358"/>
                </a:lnTo>
                <a:close/>
                <a:moveTo>
                  <a:pt x="7530" y="9358"/>
                </a:moveTo>
                <a:lnTo>
                  <a:pt x="8286" y="9767"/>
                </a:lnTo>
                <a:lnTo>
                  <a:pt x="6868" y="11185"/>
                </a:lnTo>
                <a:lnTo>
                  <a:pt x="6459" y="10429"/>
                </a:lnTo>
                <a:lnTo>
                  <a:pt x="7530" y="9358"/>
                </a:lnTo>
                <a:close/>
                <a:moveTo>
                  <a:pt x="5829" y="10713"/>
                </a:moveTo>
                <a:lnTo>
                  <a:pt x="6207" y="11406"/>
                </a:lnTo>
                <a:lnTo>
                  <a:pt x="3088" y="11406"/>
                </a:lnTo>
                <a:lnTo>
                  <a:pt x="3434" y="10713"/>
                </a:lnTo>
                <a:close/>
                <a:moveTo>
                  <a:pt x="2489" y="1"/>
                </a:moveTo>
                <a:cubicBezTo>
                  <a:pt x="2426" y="1"/>
                  <a:pt x="2300" y="32"/>
                  <a:pt x="2269" y="95"/>
                </a:cubicBezTo>
                <a:lnTo>
                  <a:pt x="126" y="2238"/>
                </a:lnTo>
                <a:cubicBezTo>
                  <a:pt x="63" y="2301"/>
                  <a:pt x="0" y="2395"/>
                  <a:pt x="0" y="2458"/>
                </a:cubicBezTo>
                <a:lnTo>
                  <a:pt x="0" y="9641"/>
                </a:lnTo>
                <a:cubicBezTo>
                  <a:pt x="0" y="9704"/>
                  <a:pt x="63" y="9830"/>
                  <a:pt x="126" y="9862"/>
                </a:cubicBezTo>
                <a:lnTo>
                  <a:pt x="2269" y="12004"/>
                </a:lnTo>
                <a:cubicBezTo>
                  <a:pt x="2332" y="12067"/>
                  <a:pt x="2426" y="12130"/>
                  <a:pt x="2489" y="12130"/>
                </a:cubicBezTo>
                <a:lnTo>
                  <a:pt x="6774" y="12130"/>
                </a:lnTo>
                <a:cubicBezTo>
                  <a:pt x="6868" y="12130"/>
                  <a:pt x="6994" y="12067"/>
                  <a:pt x="7026" y="12004"/>
                </a:cubicBezTo>
                <a:lnTo>
                  <a:pt x="9137" y="9862"/>
                </a:lnTo>
                <a:cubicBezTo>
                  <a:pt x="9231" y="9830"/>
                  <a:pt x="9263" y="9736"/>
                  <a:pt x="9263" y="9641"/>
                </a:cubicBezTo>
                <a:lnTo>
                  <a:pt x="9263" y="2458"/>
                </a:lnTo>
                <a:cubicBezTo>
                  <a:pt x="9263" y="2395"/>
                  <a:pt x="9231" y="2269"/>
                  <a:pt x="9137" y="2238"/>
                </a:cubicBezTo>
                <a:lnTo>
                  <a:pt x="7026" y="95"/>
                </a:lnTo>
                <a:cubicBezTo>
                  <a:pt x="6931" y="32"/>
                  <a:pt x="6868" y="1"/>
                  <a:pt x="6774"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1040" name="Google Shape;11040;p114"/>
          <p:cNvSpPr/>
          <p:nvPr/>
        </p:nvSpPr>
        <p:spPr>
          <a:xfrm>
            <a:off x="1904845" y="2251279"/>
            <a:ext cx="628628" cy="631893"/>
          </a:xfrm>
          <a:custGeom>
            <a:avLst/>
            <a:gdLst/>
            <a:ahLst/>
            <a:cxnLst/>
            <a:rect l="l" t="t" r="r" b="b"/>
            <a:pathLst>
              <a:path w="12131" h="12194" extrusionOk="0">
                <a:moveTo>
                  <a:pt x="4632" y="725"/>
                </a:moveTo>
                <a:cubicBezTo>
                  <a:pt x="5609" y="725"/>
                  <a:pt x="6396" y="1513"/>
                  <a:pt x="6396" y="2490"/>
                </a:cubicBezTo>
                <a:cubicBezTo>
                  <a:pt x="6365" y="2679"/>
                  <a:pt x="6522" y="2836"/>
                  <a:pt x="6680" y="2899"/>
                </a:cubicBezTo>
                <a:cubicBezTo>
                  <a:pt x="7341" y="2994"/>
                  <a:pt x="7814" y="3592"/>
                  <a:pt x="7814" y="4317"/>
                </a:cubicBezTo>
                <a:cubicBezTo>
                  <a:pt x="7814" y="4695"/>
                  <a:pt x="7656" y="5042"/>
                  <a:pt x="7404" y="5325"/>
                </a:cubicBezTo>
                <a:cubicBezTo>
                  <a:pt x="7184" y="5483"/>
                  <a:pt x="7278" y="5798"/>
                  <a:pt x="7530" y="5924"/>
                </a:cubicBezTo>
                <a:cubicBezTo>
                  <a:pt x="8129" y="6207"/>
                  <a:pt x="8539" y="6869"/>
                  <a:pt x="8539" y="7530"/>
                </a:cubicBezTo>
                <a:cubicBezTo>
                  <a:pt x="8539" y="8507"/>
                  <a:pt x="7751" y="9295"/>
                  <a:pt x="6774" y="9295"/>
                </a:cubicBezTo>
                <a:lnTo>
                  <a:pt x="4979" y="9295"/>
                </a:lnTo>
                <a:lnTo>
                  <a:pt x="4979" y="6932"/>
                </a:lnTo>
                <a:lnTo>
                  <a:pt x="6333" y="5609"/>
                </a:lnTo>
                <a:cubicBezTo>
                  <a:pt x="6491" y="5451"/>
                  <a:pt x="6491" y="5231"/>
                  <a:pt x="6333" y="5073"/>
                </a:cubicBezTo>
                <a:cubicBezTo>
                  <a:pt x="6254" y="4994"/>
                  <a:pt x="6168" y="4955"/>
                  <a:pt x="6081" y="4955"/>
                </a:cubicBezTo>
                <a:cubicBezTo>
                  <a:pt x="5995" y="4955"/>
                  <a:pt x="5908" y="4994"/>
                  <a:pt x="5829" y="5073"/>
                </a:cubicBezTo>
                <a:lnTo>
                  <a:pt x="4979" y="5924"/>
                </a:lnTo>
                <a:lnTo>
                  <a:pt x="4979" y="2490"/>
                </a:lnTo>
                <a:cubicBezTo>
                  <a:pt x="4979" y="2301"/>
                  <a:pt x="4821" y="2143"/>
                  <a:pt x="4632" y="2143"/>
                </a:cubicBezTo>
                <a:cubicBezTo>
                  <a:pt x="4443" y="2143"/>
                  <a:pt x="4285" y="2301"/>
                  <a:pt x="4285" y="2490"/>
                </a:cubicBezTo>
                <a:lnTo>
                  <a:pt x="4285" y="4506"/>
                </a:lnTo>
                <a:lnTo>
                  <a:pt x="3466" y="3655"/>
                </a:lnTo>
                <a:cubicBezTo>
                  <a:pt x="3388" y="3577"/>
                  <a:pt x="3293" y="3537"/>
                  <a:pt x="3198" y="3537"/>
                </a:cubicBezTo>
                <a:cubicBezTo>
                  <a:pt x="3104" y="3537"/>
                  <a:pt x="3009" y="3577"/>
                  <a:pt x="2931" y="3655"/>
                </a:cubicBezTo>
                <a:cubicBezTo>
                  <a:pt x="2773" y="3844"/>
                  <a:pt x="2773" y="4033"/>
                  <a:pt x="2931" y="4191"/>
                </a:cubicBezTo>
                <a:lnTo>
                  <a:pt x="4285" y="5514"/>
                </a:lnTo>
                <a:lnTo>
                  <a:pt x="4285" y="7373"/>
                </a:lnTo>
                <a:lnTo>
                  <a:pt x="3466" y="6554"/>
                </a:lnTo>
                <a:cubicBezTo>
                  <a:pt x="3388" y="6475"/>
                  <a:pt x="3293" y="6436"/>
                  <a:pt x="3198" y="6436"/>
                </a:cubicBezTo>
                <a:cubicBezTo>
                  <a:pt x="3104" y="6436"/>
                  <a:pt x="3009" y="6475"/>
                  <a:pt x="2931" y="6554"/>
                </a:cubicBezTo>
                <a:cubicBezTo>
                  <a:pt x="2773" y="6711"/>
                  <a:pt x="2773" y="6900"/>
                  <a:pt x="2931" y="7058"/>
                </a:cubicBezTo>
                <a:lnTo>
                  <a:pt x="4285" y="8413"/>
                </a:lnTo>
                <a:lnTo>
                  <a:pt x="4285" y="9295"/>
                </a:lnTo>
                <a:lnTo>
                  <a:pt x="2521" y="9295"/>
                </a:lnTo>
                <a:cubicBezTo>
                  <a:pt x="1513" y="9295"/>
                  <a:pt x="694" y="8507"/>
                  <a:pt x="694" y="7530"/>
                </a:cubicBezTo>
                <a:cubicBezTo>
                  <a:pt x="694" y="6837"/>
                  <a:pt x="1103" y="6207"/>
                  <a:pt x="1734" y="5924"/>
                </a:cubicBezTo>
                <a:cubicBezTo>
                  <a:pt x="1954" y="5798"/>
                  <a:pt x="1986" y="5514"/>
                  <a:pt x="1828" y="5325"/>
                </a:cubicBezTo>
                <a:cubicBezTo>
                  <a:pt x="1576" y="5042"/>
                  <a:pt x="1418" y="4695"/>
                  <a:pt x="1418" y="4317"/>
                </a:cubicBezTo>
                <a:cubicBezTo>
                  <a:pt x="1418" y="3624"/>
                  <a:pt x="1891" y="3057"/>
                  <a:pt x="2584" y="2899"/>
                </a:cubicBezTo>
                <a:cubicBezTo>
                  <a:pt x="2742" y="2836"/>
                  <a:pt x="2899" y="2679"/>
                  <a:pt x="2868" y="2490"/>
                </a:cubicBezTo>
                <a:cubicBezTo>
                  <a:pt x="2868" y="1513"/>
                  <a:pt x="3655" y="725"/>
                  <a:pt x="4632" y="725"/>
                </a:cubicBezTo>
                <a:close/>
                <a:moveTo>
                  <a:pt x="7467" y="725"/>
                </a:moveTo>
                <a:cubicBezTo>
                  <a:pt x="8444" y="725"/>
                  <a:pt x="9295" y="1513"/>
                  <a:pt x="9232" y="2584"/>
                </a:cubicBezTo>
                <a:cubicBezTo>
                  <a:pt x="9232" y="2742"/>
                  <a:pt x="9358" y="2899"/>
                  <a:pt x="9515" y="2931"/>
                </a:cubicBezTo>
                <a:cubicBezTo>
                  <a:pt x="10177" y="3057"/>
                  <a:pt x="10712" y="3624"/>
                  <a:pt x="10712" y="4348"/>
                </a:cubicBezTo>
                <a:cubicBezTo>
                  <a:pt x="10712" y="4726"/>
                  <a:pt x="10555" y="5105"/>
                  <a:pt x="10271" y="5357"/>
                </a:cubicBezTo>
                <a:cubicBezTo>
                  <a:pt x="10082" y="5514"/>
                  <a:pt x="10145" y="5829"/>
                  <a:pt x="10397" y="5955"/>
                </a:cubicBezTo>
                <a:cubicBezTo>
                  <a:pt x="11027" y="6239"/>
                  <a:pt x="11406" y="6900"/>
                  <a:pt x="11406" y="7562"/>
                </a:cubicBezTo>
                <a:cubicBezTo>
                  <a:pt x="11406" y="8570"/>
                  <a:pt x="10586" y="9358"/>
                  <a:pt x="9610" y="9358"/>
                </a:cubicBezTo>
                <a:lnTo>
                  <a:pt x="8507" y="9358"/>
                </a:lnTo>
                <a:cubicBezTo>
                  <a:pt x="8980" y="8885"/>
                  <a:pt x="9232" y="8224"/>
                  <a:pt x="9232" y="7562"/>
                </a:cubicBezTo>
                <a:cubicBezTo>
                  <a:pt x="9232" y="6743"/>
                  <a:pt x="8854" y="5987"/>
                  <a:pt x="8192" y="5514"/>
                </a:cubicBezTo>
                <a:cubicBezTo>
                  <a:pt x="8413" y="5168"/>
                  <a:pt x="8539" y="4789"/>
                  <a:pt x="8539" y="4348"/>
                </a:cubicBezTo>
                <a:cubicBezTo>
                  <a:pt x="8539" y="3435"/>
                  <a:pt x="7940" y="2616"/>
                  <a:pt x="7089" y="2332"/>
                </a:cubicBezTo>
                <a:cubicBezTo>
                  <a:pt x="7058" y="1828"/>
                  <a:pt x="6837" y="1387"/>
                  <a:pt x="6554" y="1009"/>
                </a:cubicBezTo>
                <a:cubicBezTo>
                  <a:pt x="6837" y="788"/>
                  <a:pt x="7152" y="725"/>
                  <a:pt x="7467" y="725"/>
                </a:cubicBezTo>
                <a:close/>
                <a:moveTo>
                  <a:pt x="7121" y="10019"/>
                </a:moveTo>
                <a:lnTo>
                  <a:pt x="7121" y="11469"/>
                </a:lnTo>
                <a:lnTo>
                  <a:pt x="4979" y="11469"/>
                </a:lnTo>
                <a:lnTo>
                  <a:pt x="4979" y="10019"/>
                </a:lnTo>
                <a:close/>
                <a:moveTo>
                  <a:pt x="4632" y="1"/>
                </a:moveTo>
                <a:cubicBezTo>
                  <a:pt x="3340" y="1"/>
                  <a:pt x="2269" y="1009"/>
                  <a:pt x="2175" y="2301"/>
                </a:cubicBezTo>
                <a:cubicBezTo>
                  <a:pt x="1292" y="2616"/>
                  <a:pt x="694" y="3403"/>
                  <a:pt x="694" y="4317"/>
                </a:cubicBezTo>
                <a:cubicBezTo>
                  <a:pt x="694" y="4726"/>
                  <a:pt x="820" y="5136"/>
                  <a:pt x="1072" y="5483"/>
                </a:cubicBezTo>
                <a:cubicBezTo>
                  <a:pt x="379" y="5955"/>
                  <a:pt x="1" y="6711"/>
                  <a:pt x="1" y="7530"/>
                </a:cubicBezTo>
                <a:cubicBezTo>
                  <a:pt x="1" y="8917"/>
                  <a:pt x="1135" y="10019"/>
                  <a:pt x="2521" y="10019"/>
                </a:cubicBezTo>
                <a:lnTo>
                  <a:pt x="4285" y="10019"/>
                </a:lnTo>
                <a:lnTo>
                  <a:pt x="4285" y="11469"/>
                </a:lnTo>
                <a:lnTo>
                  <a:pt x="2521" y="11469"/>
                </a:lnTo>
                <a:cubicBezTo>
                  <a:pt x="2332" y="11469"/>
                  <a:pt x="2175" y="11626"/>
                  <a:pt x="2175" y="11815"/>
                </a:cubicBezTo>
                <a:cubicBezTo>
                  <a:pt x="2175" y="12036"/>
                  <a:pt x="2332" y="12193"/>
                  <a:pt x="2521" y="12193"/>
                </a:cubicBezTo>
                <a:lnTo>
                  <a:pt x="9641" y="12193"/>
                </a:lnTo>
                <a:cubicBezTo>
                  <a:pt x="9830" y="12193"/>
                  <a:pt x="9988" y="12036"/>
                  <a:pt x="9988" y="11815"/>
                </a:cubicBezTo>
                <a:cubicBezTo>
                  <a:pt x="9988" y="11626"/>
                  <a:pt x="9830" y="11469"/>
                  <a:pt x="9641" y="11469"/>
                </a:cubicBezTo>
                <a:lnTo>
                  <a:pt x="7877" y="11469"/>
                </a:lnTo>
                <a:lnTo>
                  <a:pt x="7877" y="10019"/>
                </a:lnTo>
                <a:lnTo>
                  <a:pt x="9610" y="10019"/>
                </a:lnTo>
                <a:cubicBezTo>
                  <a:pt x="10964" y="10019"/>
                  <a:pt x="12130" y="8917"/>
                  <a:pt x="12130" y="7530"/>
                </a:cubicBezTo>
                <a:cubicBezTo>
                  <a:pt x="12130" y="6711"/>
                  <a:pt x="11721" y="5955"/>
                  <a:pt x="11059" y="5483"/>
                </a:cubicBezTo>
                <a:cubicBezTo>
                  <a:pt x="11280" y="5136"/>
                  <a:pt x="11406" y="4726"/>
                  <a:pt x="11406" y="4317"/>
                </a:cubicBezTo>
                <a:cubicBezTo>
                  <a:pt x="11406" y="3403"/>
                  <a:pt x="10838" y="2584"/>
                  <a:pt x="9956" y="2301"/>
                </a:cubicBezTo>
                <a:cubicBezTo>
                  <a:pt x="9830" y="1040"/>
                  <a:pt x="8791" y="1"/>
                  <a:pt x="7467" y="1"/>
                </a:cubicBezTo>
                <a:cubicBezTo>
                  <a:pt x="6963" y="1"/>
                  <a:pt x="6459" y="158"/>
                  <a:pt x="6050" y="442"/>
                </a:cubicBezTo>
                <a:cubicBezTo>
                  <a:pt x="5672" y="158"/>
                  <a:pt x="5168" y="1"/>
                  <a:pt x="4632"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1041" name="Google Shape;11041;p114"/>
          <p:cNvSpPr/>
          <p:nvPr/>
        </p:nvSpPr>
        <p:spPr>
          <a:xfrm>
            <a:off x="1904845" y="3032919"/>
            <a:ext cx="628628" cy="631479"/>
          </a:xfrm>
          <a:custGeom>
            <a:avLst/>
            <a:gdLst/>
            <a:ahLst/>
            <a:cxnLst/>
            <a:rect l="l" t="t" r="r" b="b"/>
            <a:pathLst>
              <a:path w="12131" h="12186" extrusionOk="0">
                <a:moveTo>
                  <a:pt x="6050" y="1442"/>
                </a:moveTo>
                <a:cubicBezTo>
                  <a:pt x="6396" y="1442"/>
                  <a:pt x="6774" y="1757"/>
                  <a:pt x="6774" y="2167"/>
                </a:cubicBezTo>
                <a:cubicBezTo>
                  <a:pt x="6774" y="2576"/>
                  <a:pt x="6459" y="2891"/>
                  <a:pt x="6050" y="2891"/>
                </a:cubicBezTo>
                <a:cubicBezTo>
                  <a:pt x="5672" y="2891"/>
                  <a:pt x="5357" y="2576"/>
                  <a:pt x="5357" y="2167"/>
                </a:cubicBezTo>
                <a:cubicBezTo>
                  <a:pt x="5357" y="1789"/>
                  <a:pt x="5672" y="1442"/>
                  <a:pt x="6050" y="1442"/>
                </a:cubicBezTo>
                <a:close/>
                <a:moveTo>
                  <a:pt x="6018" y="3585"/>
                </a:moveTo>
                <a:cubicBezTo>
                  <a:pt x="6207" y="3585"/>
                  <a:pt x="6365" y="3742"/>
                  <a:pt x="6365" y="3963"/>
                </a:cubicBezTo>
                <a:lnTo>
                  <a:pt x="6365" y="4309"/>
                </a:lnTo>
                <a:cubicBezTo>
                  <a:pt x="6239" y="4467"/>
                  <a:pt x="6176" y="4593"/>
                  <a:pt x="6018" y="4782"/>
                </a:cubicBezTo>
                <a:cubicBezTo>
                  <a:pt x="5861" y="4593"/>
                  <a:pt x="5766" y="4467"/>
                  <a:pt x="5672" y="4309"/>
                </a:cubicBezTo>
                <a:lnTo>
                  <a:pt x="5672" y="3963"/>
                </a:lnTo>
                <a:cubicBezTo>
                  <a:pt x="5672" y="3742"/>
                  <a:pt x="5829" y="3585"/>
                  <a:pt x="6018" y="3585"/>
                </a:cubicBezTo>
                <a:close/>
                <a:moveTo>
                  <a:pt x="1009" y="2891"/>
                </a:moveTo>
                <a:cubicBezTo>
                  <a:pt x="2710" y="2891"/>
                  <a:pt x="4317" y="3679"/>
                  <a:pt x="5325" y="5002"/>
                </a:cubicBezTo>
                <a:lnTo>
                  <a:pt x="1544" y="5002"/>
                </a:lnTo>
                <a:cubicBezTo>
                  <a:pt x="1040" y="5002"/>
                  <a:pt x="662" y="4624"/>
                  <a:pt x="662" y="4152"/>
                </a:cubicBezTo>
                <a:lnTo>
                  <a:pt x="662" y="3238"/>
                </a:lnTo>
                <a:cubicBezTo>
                  <a:pt x="662" y="3049"/>
                  <a:pt x="820" y="2891"/>
                  <a:pt x="1009" y="2891"/>
                </a:cubicBezTo>
                <a:close/>
                <a:moveTo>
                  <a:pt x="11059" y="2891"/>
                </a:moveTo>
                <a:cubicBezTo>
                  <a:pt x="11248" y="2891"/>
                  <a:pt x="11406" y="3049"/>
                  <a:pt x="11406" y="3238"/>
                </a:cubicBezTo>
                <a:lnTo>
                  <a:pt x="11406" y="4152"/>
                </a:lnTo>
                <a:cubicBezTo>
                  <a:pt x="11406" y="4624"/>
                  <a:pt x="11027" y="5002"/>
                  <a:pt x="10555" y="5002"/>
                </a:cubicBezTo>
                <a:lnTo>
                  <a:pt x="6774" y="5002"/>
                </a:lnTo>
                <a:cubicBezTo>
                  <a:pt x="7782" y="3679"/>
                  <a:pt x="9358" y="2891"/>
                  <a:pt x="11059" y="2891"/>
                </a:cubicBezTo>
                <a:close/>
                <a:moveTo>
                  <a:pt x="6018" y="5884"/>
                </a:moveTo>
                <a:lnTo>
                  <a:pt x="6365" y="6231"/>
                </a:lnTo>
                <a:lnTo>
                  <a:pt x="6365" y="6798"/>
                </a:lnTo>
                <a:cubicBezTo>
                  <a:pt x="6365" y="6987"/>
                  <a:pt x="6207" y="7145"/>
                  <a:pt x="6018" y="7145"/>
                </a:cubicBezTo>
                <a:cubicBezTo>
                  <a:pt x="5829" y="7145"/>
                  <a:pt x="5672" y="6987"/>
                  <a:pt x="5672" y="6798"/>
                </a:cubicBezTo>
                <a:lnTo>
                  <a:pt x="5672" y="6231"/>
                </a:lnTo>
                <a:lnTo>
                  <a:pt x="6018" y="5884"/>
                </a:lnTo>
                <a:close/>
                <a:moveTo>
                  <a:pt x="9893" y="5727"/>
                </a:moveTo>
                <a:cubicBezTo>
                  <a:pt x="10334" y="5727"/>
                  <a:pt x="10744" y="6105"/>
                  <a:pt x="10744" y="6578"/>
                </a:cubicBezTo>
                <a:lnTo>
                  <a:pt x="10744" y="6798"/>
                </a:lnTo>
                <a:lnTo>
                  <a:pt x="10712" y="6798"/>
                </a:lnTo>
                <a:cubicBezTo>
                  <a:pt x="10712" y="6987"/>
                  <a:pt x="10555" y="7145"/>
                  <a:pt x="10334" y="7145"/>
                </a:cubicBezTo>
                <a:cubicBezTo>
                  <a:pt x="9043" y="7145"/>
                  <a:pt x="7814" y="6641"/>
                  <a:pt x="6932" y="5727"/>
                </a:cubicBezTo>
                <a:close/>
                <a:moveTo>
                  <a:pt x="5136" y="5758"/>
                </a:moveTo>
                <a:cubicBezTo>
                  <a:pt x="4254" y="6672"/>
                  <a:pt x="3025" y="7176"/>
                  <a:pt x="1734" y="7176"/>
                </a:cubicBezTo>
                <a:cubicBezTo>
                  <a:pt x="1513" y="7145"/>
                  <a:pt x="1355" y="6987"/>
                  <a:pt x="1355" y="6798"/>
                </a:cubicBezTo>
                <a:lnTo>
                  <a:pt x="1355" y="6578"/>
                </a:lnTo>
                <a:cubicBezTo>
                  <a:pt x="1355" y="6357"/>
                  <a:pt x="1450" y="6168"/>
                  <a:pt x="1607" y="6010"/>
                </a:cubicBezTo>
                <a:cubicBezTo>
                  <a:pt x="1765" y="5853"/>
                  <a:pt x="1986" y="5758"/>
                  <a:pt x="2206" y="5758"/>
                </a:cubicBezTo>
                <a:close/>
                <a:moveTo>
                  <a:pt x="4616" y="1"/>
                </a:moveTo>
                <a:cubicBezTo>
                  <a:pt x="4522" y="1"/>
                  <a:pt x="4427" y="40"/>
                  <a:pt x="4348" y="119"/>
                </a:cubicBezTo>
                <a:cubicBezTo>
                  <a:pt x="4191" y="277"/>
                  <a:pt x="4191" y="466"/>
                  <a:pt x="4348" y="655"/>
                </a:cubicBezTo>
                <a:lnTo>
                  <a:pt x="4947" y="1222"/>
                </a:lnTo>
                <a:cubicBezTo>
                  <a:pt x="4726" y="1505"/>
                  <a:pt x="4600" y="1820"/>
                  <a:pt x="4600" y="2167"/>
                </a:cubicBezTo>
                <a:cubicBezTo>
                  <a:pt x="4600" y="2639"/>
                  <a:pt x="4821" y="3049"/>
                  <a:pt x="5199" y="3333"/>
                </a:cubicBezTo>
                <a:cubicBezTo>
                  <a:pt x="5105" y="3427"/>
                  <a:pt x="5073" y="3522"/>
                  <a:pt x="5042" y="3679"/>
                </a:cubicBezTo>
                <a:cubicBezTo>
                  <a:pt x="3939" y="2734"/>
                  <a:pt x="2521" y="2167"/>
                  <a:pt x="1040" y="2167"/>
                </a:cubicBezTo>
                <a:cubicBezTo>
                  <a:pt x="473" y="2167"/>
                  <a:pt x="1" y="2639"/>
                  <a:pt x="1" y="3238"/>
                </a:cubicBezTo>
                <a:lnTo>
                  <a:pt x="1" y="4152"/>
                </a:lnTo>
                <a:cubicBezTo>
                  <a:pt x="1" y="4845"/>
                  <a:pt x="410" y="5412"/>
                  <a:pt x="1009" y="5632"/>
                </a:cubicBezTo>
                <a:cubicBezTo>
                  <a:pt x="820" y="5916"/>
                  <a:pt x="694" y="6231"/>
                  <a:pt x="694" y="6578"/>
                </a:cubicBezTo>
                <a:lnTo>
                  <a:pt x="694" y="6798"/>
                </a:lnTo>
                <a:cubicBezTo>
                  <a:pt x="694" y="7365"/>
                  <a:pt x="1166" y="7838"/>
                  <a:pt x="1765" y="7838"/>
                </a:cubicBezTo>
                <a:cubicBezTo>
                  <a:pt x="2931" y="7838"/>
                  <a:pt x="4033" y="7491"/>
                  <a:pt x="4979" y="6830"/>
                </a:cubicBezTo>
                <a:cubicBezTo>
                  <a:pt x="4979" y="7271"/>
                  <a:pt x="5294" y="7649"/>
                  <a:pt x="5703" y="7806"/>
                </a:cubicBezTo>
                <a:lnTo>
                  <a:pt x="5703" y="11839"/>
                </a:lnTo>
                <a:cubicBezTo>
                  <a:pt x="5703" y="12028"/>
                  <a:pt x="5861" y="12185"/>
                  <a:pt x="6050" y="12185"/>
                </a:cubicBezTo>
                <a:cubicBezTo>
                  <a:pt x="6239" y="12185"/>
                  <a:pt x="6396" y="12028"/>
                  <a:pt x="6396" y="11839"/>
                </a:cubicBezTo>
                <a:lnTo>
                  <a:pt x="6396" y="7806"/>
                </a:lnTo>
                <a:cubicBezTo>
                  <a:pt x="6806" y="7649"/>
                  <a:pt x="7121" y="7302"/>
                  <a:pt x="7121" y="6830"/>
                </a:cubicBezTo>
                <a:cubicBezTo>
                  <a:pt x="8066" y="7491"/>
                  <a:pt x="9200" y="7838"/>
                  <a:pt x="10334" y="7838"/>
                </a:cubicBezTo>
                <a:cubicBezTo>
                  <a:pt x="10933" y="7838"/>
                  <a:pt x="11406" y="7365"/>
                  <a:pt x="11406" y="6798"/>
                </a:cubicBezTo>
                <a:lnTo>
                  <a:pt x="11406" y="6578"/>
                </a:lnTo>
                <a:cubicBezTo>
                  <a:pt x="11406" y="6231"/>
                  <a:pt x="11280" y="5916"/>
                  <a:pt x="11090" y="5632"/>
                </a:cubicBezTo>
                <a:cubicBezTo>
                  <a:pt x="11689" y="5443"/>
                  <a:pt x="12130" y="4845"/>
                  <a:pt x="12130" y="4152"/>
                </a:cubicBezTo>
                <a:lnTo>
                  <a:pt x="12130" y="3238"/>
                </a:lnTo>
                <a:cubicBezTo>
                  <a:pt x="12130" y="2639"/>
                  <a:pt x="11658" y="2167"/>
                  <a:pt x="11059" y="2167"/>
                </a:cubicBezTo>
                <a:cubicBezTo>
                  <a:pt x="9610" y="2167"/>
                  <a:pt x="8129" y="2734"/>
                  <a:pt x="7089" y="3679"/>
                </a:cubicBezTo>
                <a:cubicBezTo>
                  <a:pt x="7058" y="3553"/>
                  <a:pt x="6995" y="3427"/>
                  <a:pt x="6932" y="3333"/>
                </a:cubicBezTo>
                <a:cubicBezTo>
                  <a:pt x="7278" y="3049"/>
                  <a:pt x="7530" y="2639"/>
                  <a:pt x="7530" y="2167"/>
                </a:cubicBezTo>
                <a:cubicBezTo>
                  <a:pt x="7530" y="1820"/>
                  <a:pt x="7404" y="1505"/>
                  <a:pt x="7152" y="1222"/>
                </a:cubicBezTo>
                <a:lnTo>
                  <a:pt x="7751" y="655"/>
                </a:lnTo>
                <a:cubicBezTo>
                  <a:pt x="7908" y="466"/>
                  <a:pt x="7908" y="277"/>
                  <a:pt x="7751" y="119"/>
                </a:cubicBezTo>
                <a:cubicBezTo>
                  <a:pt x="7672" y="40"/>
                  <a:pt x="7586" y="1"/>
                  <a:pt x="7499" y="1"/>
                </a:cubicBezTo>
                <a:cubicBezTo>
                  <a:pt x="7412" y="1"/>
                  <a:pt x="7326" y="40"/>
                  <a:pt x="7247" y="119"/>
                </a:cubicBezTo>
                <a:lnTo>
                  <a:pt x="6522" y="844"/>
                </a:lnTo>
                <a:cubicBezTo>
                  <a:pt x="6365" y="812"/>
                  <a:pt x="6207" y="749"/>
                  <a:pt x="6050" y="749"/>
                </a:cubicBezTo>
                <a:cubicBezTo>
                  <a:pt x="5892" y="749"/>
                  <a:pt x="5735" y="812"/>
                  <a:pt x="5577" y="844"/>
                </a:cubicBezTo>
                <a:lnTo>
                  <a:pt x="4884" y="119"/>
                </a:lnTo>
                <a:cubicBezTo>
                  <a:pt x="4805" y="40"/>
                  <a:pt x="4711" y="1"/>
                  <a:pt x="4616"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nvGrpSpPr>
          <p:cNvPr id="11042" name="Google Shape;11042;p114"/>
          <p:cNvGrpSpPr/>
          <p:nvPr/>
        </p:nvGrpSpPr>
        <p:grpSpPr>
          <a:xfrm>
            <a:off x="1943325" y="3801206"/>
            <a:ext cx="555044" cy="631841"/>
            <a:chOff x="-20904875" y="2788575"/>
            <a:chExt cx="267775" cy="304825"/>
          </a:xfrm>
        </p:grpSpPr>
        <p:sp>
          <p:nvSpPr>
            <p:cNvPr id="11043" name="Google Shape;11043;p114"/>
            <p:cNvSpPr/>
            <p:nvPr/>
          </p:nvSpPr>
          <p:spPr>
            <a:xfrm>
              <a:off x="-20904875" y="2788575"/>
              <a:ext cx="267775" cy="304825"/>
            </a:xfrm>
            <a:custGeom>
              <a:avLst/>
              <a:gdLst/>
              <a:ahLst/>
              <a:cxnLst/>
              <a:rect l="l" t="t" r="r" b="b"/>
              <a:pathLst>
                <a:path w="10711" h="12193" extrusionOk="0">
                  <a:moveTo>
                    <a:pt x="5294" y="725"/>
                  </a:moveTo>
                  <a:cubicBezTo>
                    <a:pt x="5483" y="725"/>
                    <a:pt x="5640" y="882"/>
                    <a:pt x="5640" y="1103"/>
                  </a:cubicBezTo>
                  <a:lnTo>
                    <a:pt x="5640" y="1166"/>
                  </a:lnTo>
                  <a:cubicBezTo>
                    <a:pt x="5640" y="1373"/>
                    <a:pt x="5803" y="1512"/>
                    <a:pt x="5977" y="1512"/>
                  </a:cubicBezTo>
                  <a:cubicBezTo>
                    <a:pt x="6068" y="1512"/>
                    <a:pt x="6163" y="1473"/>
                    <a:pt x="6239" y="1387"/>
                  </a:cubicBezTo>
                  <a:lnTo>
                    <a:pt x="6270" y="1355"/>
                  </a:lnTo>
                  <a:cubicBezTo>
                    <a:pt x="6341" y="1284"/>
                    <a:pt x="6429" y="1252"/>
                    <a:pt x="6514" y="1252"/>
                  </a:cubicBezTo>
                  <a:cubicBezTo>
                    <a:pt x="6695" y="1252"/>
                    <a:pt x="6869" y="1393"/>
                    <a:pt x="6869" y="1607"/>
                  </a:cubicBezTo>
                  <a:cubicBezTo>
                    <a:pt x="6869" y="1765"/>
                    <a:pt x="6774" y="1828"/>
                    <a:pt x="6711" y="1922"/>
                  </a:cubicBezTo>
                  <a:cubicBezTo>
                    <a:pt x="6459" y="2143"/>
                    <a:pt x="6617" y="2489"/>
                    <a:pt x="6932" y="2489"/>
                  </a:cubicBezTo>
                  <a:lnTo>
                    <a:pt x="7026" y="2489"/>
                  </a:lnTo>
                  <a:cubicBezTo>
                    <a:pt x="7215" y="2489"/>
                    <a:pt x="7373" y="2678"/>
                    <a:pt x="7373" y="2867"/>
                  </a:cubicBezTo>
                  <a:cubicBezTo>
                    <a:pt x="7373" y="3056"/>
                    <a:pt x="7215" y="3214"/>
                    <a:pt x="7026" y="3214"/>
                  </a:cubicBezTo>
                  <a:lnTo>
                    <a:pt x="6932" y="3214"/>
                  </a:lnTo>
                  <a:cubicBezTo>
                    <a:pt x="6774" y="3214"/>
                    <a:pt x="6648" y="3277"/>
                    <a:pt x="6617" y="3466"/>
                  </a:cubicBezTo>
                  <a:cubicBezTo>
                    <a:pt x="6585" y="3560"/>
                    <a:pt x="6585" y="3718"/>
                    <a:pt x="6711" y="3844"/>
                  </a:cubicBezTo>
                  <a:lnTo>
                    <a:pt x="6743" y="3875"/>
                  </a:lnTo>
                  <a:cubicBezTo>
                    <a:pt x="6806" y="3970"/>
                    <a:pt x="6869" y="4033"/>
                    <a:pt x="6869" y="4127"/>
                  </a:cubicBezTo>
                  <a:cubicBezTo>
                    <a:pt x="6869" y="4334"/>
                    <a:pt x="6693" y="4473"/>
                    <a:pt x="6518" y="4473"/>
                  </a:cubicBezTo>
                  <a:cubicBezTo>
                    <a:pt x="6427" y="4473"/>
                    <a:pt x="6335" y="4435"/>
                    <a:pt x="6270" y="4348"/>
                  </a:cubicBezTo>
                  <a:lnTo>
                    <a:pt x="6239" y="4316"/>
                  </a:lnTo>
                  <a:cubicBezTo>
                    <a:pt x="6156" y="4234"/>
                    <a:pt x="6063" y="4199"/>
                    <a:pt x="5976" y="4199"/>
                  </a:cubicBezTo>
                  <a:cubicBezTo>
                    <a:pt x="5797" y="4199"/>
                    <a:pt x="5640" y="4346"/>
                    <a:pt x="5640" y="4537"/>
                  </a:cubicBezTo>
                  <a:lnTo>
                    <a:pt x="5640" y="4632"/>
                  </a:lnTo>
                  <a:cubicBezTo>
                    <a:pt x="5640" y="4821"/>
                    <a:pt x="5483" y="4978"/>
                    <a:pt x="5294" y="4978"/>
                  </a:cubicBezTo>
                  <a:cubicBezTo>
                    <a:pt x="5073" y="4978"/>
                    <a:pt x="4916" y="4821"/>
                    <a:pt x="4916" y="4632"/>
                  </a:cubicBezTo>
                  <a:lnTo>
                    <a:pt x="4916" y="4537"/>
                  </a:lnTo>
                  <a:cubicBezTo>
                    <a:pt x="4958" y="4346"/>
                    <a:pt x="4801" y="4213"/>
                    <a:pt x="4626" y="4213"/>
                  </a:cubicBezTo>
                  <a:cubicBezTo>
                    <a:pt x="4541" y="4213"/>
                    <a:pt x="4452" y="4244"/>
                    <a:pt x="4380" y="4316"/>
                  </a:cubicBezTo>
                  <a:lnTo>
                    <a:pt x="4349" y="4348"/>
                  </a:lnTo>
                  <a:cubicBezTo>
                    <a:pt x="4270" y="4427"/>
                    <a:pt x="4175" y="4466"/>
                    <a:pt x="4081" y="4466"/>
                  </a:cubicBezTo>
                  <a:cubicBezTo>
                    <a:pt x="3986" y="4466"/>
                    <a:pt x="3892" y="4427"/>
                    <a:pt x="3813" y="4348"/>
                  </a:cubicBezTo>
                  <a:cubicBezTo>
                    <a:pt x="3655" y="4190"/>
                    <a:pt x="3655" y="4001"/>
                    <a:pt x="3813" y="3844"/>
                  </a:cubicBezTo>
                  <a:lnTo>
                    <a:pt x="3876" y="3812"/>
                  </a:lnTo>
                  <a:cubicBezTo>
                    <a:pt x="4096" y="3560"/>
                    <a:pt x="3939" y="3214"/>
                    <a:pt x="3624" y="3214"/>
                  </a:cubicBezTo>
                  <a:lnTo>
                    <a:pt x="3561" y="3214"/>
                  </a:lnTo>
                  <a:cubicBezTo>
                    <a:pt x="3340" y="3214"/>
                    <a:pt x="3183" y="3056"/>
                    <a:pt x="3183" y="2867"/>
                  </a:cubicBezTo>
                  <a:cubicBezTo>
                    <a:pt x="3183" y="2678"/>
                    <a:pt x="3340" y="2489"/>
                    <a:pt x="3561" y="2489"/>
                  </a:cubicBezTo>
                  <a:lnTo>
                    <a:pt x="3624" y="2489"/>
                  </a:lnTo>
                  <a:cubicBezTo>
                    <a:pt x="3939" y="2489"/>
                    <a:pt x="4096" y="2111"/>
                    <a:pt x="3876" y="1922"/>
                  </a:cubicBezTo>
                  <a:cubicBezTo>
                    <a:pt x="3813" y="1891"/>
                    <a:pt x="3718" y="1796"/>
                    <a:pt x="3718" y="1607"/>
                  </a:cubicBezTo>
                  <a:cubicBezTo>
                    <a:pt x="3718" y="1393"/>
                    <a:pt x="3892" y="1252"/>
                    <a:pt x="4063" y="1252"/>
                  </a:cubicBezTo>
                  <a:cubicBezTo>
                    <a:pt x="4144" y="1252"/>
                    <a:pt x="4225" y="1284"/>
                    <a:pt x="4286" y="1355"/>
                  </a:cubicBezTo>
                  <a:lnTo>
                    <a:pt x="4349" y="1387"/>
                  </a:lnTo>
                  <a:cubicBezTo>
                    <a:pt x="4424" y="1473"/>
                    <a:pt x="4515" y="1512"/>
                    <a:pt x="4602" y="1512"/>
                  </a:cubicBezTo>
                  <a:cubicBezTo>
                    <a:pt x="4767" y="1512"/>
                    <a:pt x="4916" y="1373"/>
                    <a:pt x="4916" y="1166"/>
                  </a:cubicBezTo>
                  <a:lnTo>
                    <a:pt x="4916" y="1103"/>
                  </a:lnTo>
                  <a:cubicBezTo>
                    <a:pt x="4916" y="882"/>
                    <a:pt x="5073" y="725"/>
                    <a:pt x="5294" y="725"/>
                  </a:cubicBezTo>
                  <a:close/>
                  <a:moveTo>
                    <a:pt x="757" y="5766"/>
                  </a:moveTo>
                  <a:lnTo>
                    <a:pt x="757" y="5766"/>
                  </a:lnTo>
                  <a:cubicBezTo>
                    <a:pt x="1482" y="5892"/>
                    <a:pt x="2647" y="6144"/>
                    <a:pt x="3120" y="6648"/>
                  </a:cubicBezTo>
                  <a:cubicBezTo>
                    <a:pt x="3624" y="7152"/>
                    <a:pt x="3624" y="7498"/>
                    <a:pt x="3340" y="7908"/>
                  </a:cubicBezTo>
                  <a:lnTo>
                    <a:pt x="2616" y="7152"/>
                  </a:lnTo>
                  <a:cubicBezTo>
                    <a:pt x="2537" y="7073"/>
                    <a:pt x="2442" y="7034"/>
                    <a:pt x="2348" y="7034"/>
                  </a:cubicBezTo>
                  <a:cubicBezTo>
                    <a:pt x="2253" y="7034"/>
                    <a:pt x="2159" y="7073"/>
                    <a:pt x="2080" y="7152"/>
                  </a:cubicBezTo>
                  <a:cubicBezTo>
                    <a:pt x="1923" y="7309"/>
                    <a:pt x="1923" y="7498"/>
                    <a:pt x="2080" y="7656"/>
                  </a:cubicBezTo>
                  <a:lnTo>
                    <a:pt x="2836" y="8412"/>
                  </a:lnTo>
                  <a:cubicBezTo>
                    <a:pt x="2695" y="8515"/>
                    <a:pt x="2554" y="8575"/>
                    <a:pt x="2401" y="8575"/>
                  </a:cubicBezTo>
                  <a:cubicBezTo>
                    <a:pt x="2176" y="8575"/>
                    <a:pt x="1925" y="8446"/>
                    <a:pt x="1608" y="8129"/>
                  </a:cubicBezTo>
                  <a:cubicBezTo>
                    <a:pt x="1135" y="7656"/>
                    <a:pt x="883" y="6490"/>
                    <a:pt x="757" y="5766"/>
                  </a:cubicBezTo>
                  <a:close/>
                  <a:moveTo>
                    <a:pt x="9893" y="6459"/>
                  </a:moveTo>
                  <a:cubicBezTo>
                    <a:pt x="9799" y="7183"/>
                    <a:pt x="9578" y="8381"/>
                    <a:pt x="9074" y="8853"/>
                  </a:cubicBezTo>
                  <a:cubicBezTo>
                    <a:pt x="8805" y="9123"/>
                    <a:pt x="8570" y="9287"/>
                    <a:pt x="8321" y="9287"/>
                  </a:cubicBezTo>
                  <a:cubicBezTo>
                    <a:pt x="8162" y="9287"/>
                    <a:pt x="7998" y="9221"/>
                    <a:pt x="7814" y="9074"/>
                  </a:cubicBezTo>
                  <a:lnTo>
                    <a:pt x="8570" y="8349"/>
                  </a:lnTo>
                  <a:cubicBezTo>
                    <a:pt x="8728" y="8192"/>
                    <a:pt x="8728" y="7971"/>
                    <a:pt x="8570" y="7814"/>
                  </a:cubicBezTo>
                  <a:cubicBezTo>
                    <a:pt x="8491" y="7735"/>
                    <a:pt x="8397" y="7695"/>
                    <a:pt x="8302" y="7695"/>
                  </a:cubicBezTo>
                  <a:cubicBezTo>
                    <a:pt x="8208" y="7695"/>
                    <a:pt x="8113" y="7735"/>
                    <a:pt x="8035" y="7814"/>
                  </a:cubicBezTo>
                  <a:lnTo>
                    <a:pt x="7278" y="8570"/>
                  </a:lnTo>
                  <a:cubicBezTo>
                    <a:pt x="7026" y="8192"/>
                    <a:pt x="7026" y="7814"/>
                    <a:pt x="7531" y="7309"/>
                  </a:cubicBezTo>
                  <a:cubicBezTo>
                    <a:pt x="8003" y="6837"/>
                    <a:pt x="9169" y="6553"/>
                    <a:pt x="9893" y="6459"/>
                  </a:cubicBezTo>
                  <a:close/>
                  <a:moveTo>
                    <a:pt x="5357" y="0"/>
                  </a:moveTo>
                  <a:cubicBezTo>
                    <a:pt x="4979" y="0"/>
                    <a:pt x="4601" y="221"/>
                    <a:pt x="4412" y="536"/>
                  </a:cubicBezTo>
                  <a:cubicBezTo>
                    <a:pt x="4313" y="500"/>
                    <a:pt x="4206" y="482"/>
                    <a:pt x="4097" y="482"/>
                  </a:cubicBezTo>
                  <a:cubicBezTo>
                    <a:pt x="3826" y="482"/>
                    <a:pt x="3543" y="594"/>
                    <a:pt x="3340" y="819"/>
                  </a:cubicBezTo>
                  <a:cubicBezTo>
                    <a:pt x="3088" y="1103"/>
                    <a:pt x="2962" y="1513"/>
                    <a:pt x="3088" y="1891"/>
                  </a:cubicBezTo>
                  <a:cubicBezTo>
                    <a:pt x="2710" y="2080"/>
                    <a:pt x="2521" y="2426"/>
                    <a:pt x="2521" y="2836"/>
                  </a:cubicBezTo>
                  <a:cubicBezTo>
                    <a:pt x="2521" y="3214"/>
                    <a:pt x="2773" y="3560"/>
                    <a:pt x="3088" y="3781"/>
                  </a:cubicBezTo>
                  <a:cubicBezTo>
                    <a:pt x="2962" y="4127"/>
                    <a:pt x="3057" y="4569"/>
                    <a:pt x="3340" y="4821"/>
                  </a:cubicBezTo>
                  <a:cubicBezTo>
                    <a:pt x="3549" y="5030"/>
                    <a:pt x="3844" y="5153"/>
                    <a:pt x="4123" y="5153"/>
                  </a:cubicBezTo>
                  <a:cubicBezTo>
                    <a:pt x="4223" y="5153"/>
                    <a:pt x="4320" y="5137"/>
                    <a:pt x="4412" y="5104"/>
                  </a:cubicBezTo>
                  <a:cubicBezTo>
                    <a:pt x="4538" y="5325"/>
                    <a:pt x="4758" y="5545"/>
                    <a:pt x="5010" y="5608"/>
                  </a:cubicBezTo>
                  <a:lnTo>
                    <a:pt x="5010" y="9483"/>
                  </a:lnTo>
                  <a:lnTo>
                    <a:pt x="3907" y="8381"/>
                  </a:lnTo>
                  <a:cubicBezTo>
                    <a:pt x="4538" y="7593"/>
                    <a:pt x="4380" y="6837"/>
                    <a:pt x="3655" y="6144"/>
                  </a:cubicBezTo>
                  <a:cubicBezTo>
                    <a:pt x="2773" y="5230"/>
                    <a:pt x="505" y="5041"/>
                    <a:pt x="410" y="5041"/>
                  </a:cubicBezTo>
                  <a:cubicBezTo>
                    <a:pt x="158" y="5041"/>
                    <a:pt x="1" y="5199"/>
                    <a:pt x="1" y="5419"/>
                  </a:cubicBezTo>
                  <a:cubicBezTo>
                    <a:pt x="1" y="5482"/>
                    <a:pt x="190" y="7751"/>
                    <a:pt x="1104" y="8696"/>
                  </a:cubicBezTo>
                  <a:cubicBezTo>
                    <a:pt x="1517" y="9091"/>
                    <a:pt x="1951" y="9312"/>
                    <a:pt x="2382" y="9312"/>
                  </a:cubicBezTo>
                  <a:cubicBezTo>
                    <a:pt x="2706" y="9312"/>
                    <a:pt x="3029" y="9187"/>
                    <a:pt x="3340" y="8916"/>
                  </a:cubicBezTo>
                  <a:lnTo>
                    <a:pt x="4979" y="10554"/>
                  </a:lnTo>
                  <a:lnTo>
                    <a:pt x="4979" y="11500"/>
                  </a:lnTo>
                  <a:lnTo>
                    <a:pt x="2490" y="11500"/>
                  </a:lnTo>
                  <a:cubicBezTo>
                    <a:pt x="2301" y="11500"/>
                    <a:pt x="2143" y="11657"/>
                    <a:pt x="2143" y="11846"/>
                  </a:cubicBezTo>
                  <a:cubicBezTo>
                    <a:pt x="2143" y="12035"/>
                    <a:pt x="2301" y="12193"/>
                    <a:pt x="2490" y="12193"/>
                  </a:cubicBezTo>
                  <a:lnTo>
                    <a:pt x="8192" y="12193"/>
                  </a:lnTo>
                  <a:cubicBezTo>
                    <a:pt x="8381" y="12193"/>
                    <a:pt x="8539" y="12035"/>
                    <a:pt x="8539" y="11846"/>
                  </a:cubicBezTo>
                  <a:cubicBezTo>
                    <a:pt x="8539" y="11657"/>
                    <a:pt x="8381" y="11500"/>
                    <a:pt x="8192" y="11500"/>
                  </a:cubicBezTo>
                  <a:lnTo>
                    <a:pt x="5703" y="11500"/>
                  </a:lnTo>
                  <a:lnTo>
                    <a:pt x="5703" y="11248"/>
                  </a:lnTo>
                  <a:lnTo>
                    <a:pt x="7342" y="9641"/>
                  </a:lnTo>
                  <a:cubicBezTo>
                    <a:pt x="7677" y="9909"/>
                    <a:pt x="8000" y="10034"/>
                    <a:pt x="8317" y="10034"/>
                  </a:cubicBezTo>
                  <a:cubicBezTo>
                    <a:pt x="8746" y="10034"/>
                    <a:pt x="9162" y="9805"/>
                    <a:pt x="9578" y="9389"/>
                  </a:cubicBezTo>
                  <a:cubicBezTo>
                    <a:pt x="10492" y="8507"/>
                    <a:pt x="10681" y="6238"/>
                    <a:pt x="10681" y="6144"/>
                  </a:cubicBezTo>
                  <a:cubicBezTo>
                    <a:pt x="10710" y="5910"/>
                    <a:pt x="10550" y="5731"/>
                    <a:pt x="10376" y="5731"/>
                  </a:cubicBezTo>
                  <a:cubicBezTo>
                    <a:pt x="10362" y="5731"/>
                    <a:pt x="10348" y="5732"/>
                    <a:pt x="10334" y="5734"/>
                  </a:cubicBezTo>
                  <a:cubicBezTo>
                    <a:pt x="10240" y="5734"/>
                    <a:pt x="8003" y="5923"/>
                    <a:pt x="7058" y="6837"/>
                  </a:cubicBezTo>
                  <a:cubicBezTo>
                    <a:pt x="6333" y="7561"/>
                    <a:pt x="6176" y="8286"/>
                    <a:pt x="6806" y="9074"/>
                  </a:cubicBezTo>
                  <a:lnTo>
                    <a:pt x="5703" y="10176"/>
                  </a:lnTo>
                  <a:lnTo>
                    <a:pt x="5703" y="5608"/>
                  </a:lnTo>
                  <a:cubicBezTo>
                    <a:pt x="5955" y="5545"/>
                    <a:pt x="6176" y="5356"/>
                    <a:pt x="6302" y="5104"/>
                  </a:cubicBezTo>
                  <a:cubicBezTo>
                    <a:pt x="6401" y="5140"/>
                    <a:pt x="6508" y="5158"/>
                    <a:pt x="6616" y="5158"/>
                  </a:cubicBezTo>
                  <a:cubicBezTo>
                    <a:pt x="6888" y="5158"/>
                    <a:pt x="7170" y="5046"/>
                    <a:pt x="7373" y="4821"/>
                  </a:cubicBezTo>
                  <a:cubicBezTo>
                    <a:pt x="7562" y="4632"/>
                    <a:pt x="7688" y="4348"/>
                    <a:pt x="7688" y="4096"/>
                  </a:cubicBezTo>
                  <a:cubicBezTo>
                    <a:pt x="7688" y="3970"/>
                    <a:pt x="7688" y="3875"/>
                    <a:pt x="7657" y="3781"/>
                  </a:cubicBezTo>
                  <a:cubicBezTo>
                    <a:pt x="8003" y="3560"/>
                    <a:pt x="8192" y="3214"/>
                    <a:pt x="8192" y="2836"/>
                  </a:cubicBezTo>
                  <a:cubicBezTo>
                    <a:pt x="8192" y="2426"/>
                    <a:pt x="7972" y="2080"/>
                    <a:pt x="7657" y="1891"/>
                  </a:cubicBezTo>
                  <a:cubicBezTo>
                    <a:pt x="7751" y="1513"/>
                    <a:pt x="7688" y="1103"/>
                    <a:pt x="7373" y="819"/>
                  </a:cubicBezTo>
                  <a:cubicBezTo>
                    <a:pt x="7164" y="610"/>
                    <a:pt x="6869" y="487"/>
                    <a:pt x="6590" y="487"/>
                  </a:cubicBezTo>
                  <a:cubicBezTo>
                    <a:pt x="6491" y="487"/>
                    <a:pt x="6393" y="503"/>
                    <a:pt x="6302" y="536"/>
                  </a:cubicBezTo>
                  <a:cubicBezTo>
                    <a:pt x="6113" y="189"/>
                    <a:pt x="5766" y="0"/>
                    <a:pt x="5357"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1044" name="Google Shape;11044;p114"/>
            <p:cNvSpPr/>
            <p:nvPr/>
          </p:nvSpPr>
          <p:spPr>
            <a:xfrm>
              <a:off x="-20788300" y="2842125"/>
              <a:ext cx="35475" cy="35475"/>
            </a:xfrm>
            <a:custGeom>
              <a:avLst/>
              <a:gdLst/>
              <a:ahLst/>
              <a:cxnLst/>
              <a:rect l="l" t="t" r="r" b="b"/>
              <a:pathLst>
                <a:path w="1419" h="1419" extrusionOk="0">
                  <a:moveTo>
                    <a:pt x="694" y="1"/>
                  </a:moveTo>
                  <a:cubicBezTo>
                    <a:pt x="316" y="1"/>
                    <a:pt x="1" y="316"/>
                    <a:pt x="1" y="725"/>
                  </a:cubicBezTo>
                  <a:cubicBezTo>
                    <a:pt x="1" y="1103"/>
                    <a:pt x="316" y="1418"/>
                    <a:pt x="694" y="1418"/>
                  </a:cubicBezTo>
                  <a:cubicBezTo>
                    <a:pt x="1040" y="1418"/>
                    <a:pt x="1418" y="1103"/>
                    <a:pt x="1418" y="725"/>
                  </a:cubicBezTo>
                  <a:cubicBezTo>
                    <a:pt x="1418" y="316"/>
                    <a:pt x="1103" y="1"/>
                    <a:pt x="694"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11045" name="Google Shape;11045;p114"/>
          <p:cNvGrpSpPr/>
          <p:nvPr/>
        </p:nvGrpSpPr>
        <p:grpSpPr>
          <a:xfrm>
            <a:off x="5863878" y="3034086"/>
            <a:ext cx="480060" cy="628628"/>
            <a:chOff x="-19006700" y="2434925"/>
            <a:chExt cx="231600" cy="303275"/>
          </a:xfrm>
        </p:grpSpPr>
        <p:sp>
          <p:nvSpPr>
            <p:cNvPr id="11046" name="Google Shape;11046;p114"/>
            <p:cNvSpPr/>
            <p:nvPr/>
          </p:nvSpPr>
          <p:spPr>
            <a:xfrm>
              <a:off x="-18906675" y="2552275"/>
              <a:ext cx="36275" cy="44150"/>
            </a:xfrm>
            <a:custGeom>
              <a:avLst/>
              <a:gdLst/>
              <a:ahLst/>
              <a:cxnLst/>
              <a:rect l="l" t="t" r="r" b="b"/>
              <a:pathLst>
                <a:path w="1451" h="1766" extrusionOk="0">
                  <a:moveTo>
                    <a:pt x="1000" y="0"/>
                  </a:moveTo>
                  <a:cubicBezTo>
                    <a:pt x="853" y="0"/>
                    <a:pt x="718" y="108"/>
                    <a:pt x="694" y="253"/>
                  </a:cubicBezTo>
                  <a:cubicBezTo>
                    <a:pt x="641" y="95"/>
                    <a:pt x="478" y="25"/>
                    <a:pt x="334" y="25"/>
                  </a:cubicBezTo>
                  <a:cubicBezTo>
                    <a:pt x="306" y="25"/>
                    <a:pt x="279" y="27"/>
                    <a:pt x="253" y="32"/>
                  </a:cubicBezTo>
                  <a:cubicBezTo>
                    <a:pt x="64" y="95"/>
                    <a:pt x="1" y="316"/>
                    <a:pt x="32" y="473"/>
                  </a:cubicBezTo>
                  <a:lnTo>
                    <a:pt x="284" y="1513"/>
                  </a:lnTo>
                  <a:cubicBezTo>
                    <a:pt x="347" y="1671"/>
                    <a:pt x="505" y="1765"/>
                    <a:pt x="663" y="1765"/>
                  </a:cubicBezTo>
                  <a:cubicBezTo>
                    <a:pt x="820" y="1765"/>
                    <a:pt x="946" y="1671"/>
                    <a:pt x="1009" y="1513"/>
                  </a:cubicBezTo>
                  <a:lnTo>
                    <a:pt x="1356" y="473"/>
                  </a:lnTo>
                  <a:cubicBezTo>
                    <a:pt x="1450" y="253"/>
                    <a:pt x="1324" y="64"/>
                    <a:pt x="1135" y="32"/>
                  </a:cubicBezTo>
                  <a:cubicBezTo>
                    <a:pt x="1091" y="10"/>
                    <a:pt x="1045" y="0"/>
                    <a:pt x="1000"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1047" name="Google Shape;11047;p114"/>
            <p:cNvSpPr/>
            <p:nvPr/>
          </p:nvSpPr>
          <p:spPr>
            <a:xfrm>
              <a:off x="-18935800" y="2525500"/>
              <a:ext cx="18125" cy="17350"/>
            </a:xfrm>
            <a:custGeom>
              <a:avLst/>
              <a:gdLst/>
              <a:ahLst/>
              <a:cxnLst/>
              <a:rect l="l" t="t" r="r" b="b"/>
              <a:pathLst>
                <a:path w="725" h="694" extrusionOk="0">
                  <a:moveTo>
                    <a:pt x="347" y="1"/>
                  </a:moveTo>
                  <a:cubicBezTo>
                    <a:pt x="158" y="1"/>
                    <a:pt x="0" y="158"/>
                    <a:pt x="0" y="347"/>
                  </a:cubicBezTo>
                  <a:cubicBezTo>
                    <a:pt x="0" y="536"/>
                    <a:pt x="158" y="694"/>
                    <a:pt x="347" y="694"/>
                  </a:cubicBezTo>
                  <a:cubicBezTo>
                    <a:pt x="567" y="694"/>
                    <a:pt x="725" y="536"/>
                    <a:pt x="725" y="347"/>
                  </a:cubicBezTo>
                  <a:cubicBezTo>
                    <a:pt x="725" y="158"/>
                    <a:pt x="567" y="1"/>
                    <a:pt x="347"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1048" name="Google Shape;11048;p114"/>
            <p:cNvSpPr/>
            <p:nvPr/>
          </p:nvSpPr>
          <p:spPr>
            <a:xfrm>
              <a:off x="-18864125" y="2525500"/>
              <a:ext cx="18125" cy="17350"/>
            </a:xfrm>
            <a:custGeom>
              <a:avLst/>
              <a:gdLst/>
              <a:ahLst/>
              <a:cxnLst/>
              <a:rect l="l" t="t" r="r" b="b"/>
              <a:pathLst>
                <a:path w="725" h="694" extrusionOk="0">
                  <a:moveTo>
                    <a:pt x="378" y="1"/>
                  </a:moveTo>
                  <a:cubicBezTo>
                    <a:pt x="158" y="1"/>
                    <a:pt x="0" y="158"/>
                    <a:pt x="0" y="347"/>
                  </a:cubicBezTo>
                  <a:cubicBezTo>
                    <a:pt x="0" y="536"/>
                    <a:pt x="158" y="694"/>
                    <a:pt x="378" y="694"/>
                  </a:cubicBezTo>
                  <a:cubicBezTo>
                    <a:pt x="567" y="694"/>
                    <a:pt x="725" y="536"/>
                    <a:pt x="725" y="347"/>
                  </a:cubicBezTo>
                  <a:cubicBezTo>
                    <a:pt x="725" y="158"/>
                    <a:pt x="567" y="1"/>
                    <a:pt x="378"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1049" name="Google Shape;11049;p114"/>
            <p:cNvSpPr/>
            <p:nvPr/>
          </p:nvSpPr>
          <p:spPr>
            <a:xfrm>
              <a:off x="-19006700" y="2434925"/>
              <a:ext cx="231600" cy="303275"/>
            </a:xfrm>
            <a:custGeom>
              <a:avLst/>
              <a:gdLst/>
              <a:ahLst/>
              <a:cxnLst/>
              <a:rect l="l" t="t" r="r" b="b"/>
              <a:pathLst>
                <a:path w="9264" h="12131" extrusionOk="0">
                  <a:moveTo>
                    <a:pt x="6302" y="757"/>
                  </a:moveTo>
                  <a:cubicBezTo>
                    <a:pt x="6774" y="851"/>
                    <a:pt x="7089" y="1292"/>
                    <a:pt x="7089" y="1765"/>
                  </a:cubicBezTo>
                  <a:lnTo>
                    <a:pt x="7089" y="2521"/>
                  </a:lnTo>
                  <a:cubicBezTo>
                    <a:pt x="6774" y="2269"/>
                    <a:pt x="6428" y="2175"/>
                    <a:pt x="6018" y="2175"/>
                  </a:cubicBezTo>
                  <a:cubicBezTo>
                    <a:pt x="5451" y="2175"/>
                    <a:pt x="4916" y="2427"/>
                    <a:pt x="4601" y="2868"/>
                  </a:cubicBezTo>
                  <a:cubicBezTo>
                    <a:pt x="4285" y="2427"/>
                    <a:pt x="3781" y="2175"/>
                    <a:pt x="3183" y="2175"/>
                  </a:cubicBezTo>
                  <a:cubicBezTo>
                    <a:pt x="2805" y="2175"/>
                    <a:pt x="2395" y="2269"/>
                    <a:pt x="2143" y="2521"/>
                  </a:cubicBezTo>
                  <a:lnTo>
                    <a:pt x="2143" y="1765"/>
                  </a:lnTo>
                  <a:cubicBezTo>
                    <a:pt x="2143" y="1261"/>
                    <a:pt x="2458" y="851"/>
                    <a:pt x="2931" y="757"/>
                  </a:cubicBezTo>
                  <a:cubicBezTo>
                    <a:pt x="3088" y="1135"/>
                    <a:pt x="3466" y="1418"/>
                    <a:pt x="3907" y="1418"/>
                  </a:cubicBezTo>
                  <a:lnTo>
                    <a:pt x="5325" y="1418"/>
                  </a:lnTo>
                  <a:cubicBezTo>
                    <a:pt x="5766" y="1418"/>
                    <a:pt x="6144" y="1135"/>
                    <a:pt x="6302" y="757"/>
                  </a:cubicBezTo>
                  <a:close/>
                  <a:moveTo>
                    <a:pt x="6050" y="2899"/>
                  </a:moveTo>
                  <a:cubicBezTo>
                    <a:pt x="6617" y="2899"/>
                    <a:pt x="7089" y="3372"/>
                    <a:pt x="7089" y="3970"/>
                  </a:cubicBezTo>
                  <a:lnTo>
                    <a:pt x="7089" y="4695"/>
                  </a:lnTo>
                  <a:cubicBezTo>
                    <a:pt x="7089" y="6050"/>
                    <a:pt x="5987" y="7152"/>
                    <a:pt x="4632" y="7152"/>
                  </a:cubicBezTo>
                  <a:cubicBezTo>
                    <a:pt x="3246" y="7152"/>
                    <a:pt x="2143" y="6050"/>
                    <a:pt x="2143" y="4695"/>
                  </a:cubicBezTo>
                  <a:lnTo>
                    <a:pt x="2143" y="3970"/>
                  </a:lnTo>
                  <a:cubicBezTo>
                    <a:pt x="2143" y="3372"/>
                    <a:pt x="2616" y="2899"/>
                    <a:pt x="3183" y="2899"/>
                  </a:cubicBezTo>
                  <a:cubicBezTo>
                    <a:pt x="3781" y="2899"/>
                    <a:pt x="4254" y="3372"/>
                    <a:pt x="4254" y="3970"/>
                  </a:cubicBezTo>
                  <a:cubicBezTo>
                    <a:pt x="4254" y="4159"/>
                    <a:pt x="4411" y="4317"/>
                    <a:pt x="4632" y="4317"/>
                  </a:cubicBezTo>
                  <a:cubicBezTo>
                    <a:pt x="4821" y="4317"/>
                    <a:pt x="4979" y="4159"/>
                    <a:pt x="4979" y="3970"/>
                  </a:cubicBezTo>
                  <a:cubicBezTo>
                    <a:pt x="4979" y="3372"/>
                    <a:pt x="5451" y="2899"/>
                    <a:pt x="6050" y="2899"/>
                  </a:cubicBezTo>
                  <a:close/>
                  <a:moveTo>
                    <a:pt x="7121" y="7152"/>
                  </a:moveTo>
                  <a:cubicBezTo>
                    <a:pt x="7909" y="7152"/>
                    <a:pt x="8539" y="7782"/>
                    <a:pt x="8539" y="8570"/>
                  </a:cubicBezTo>
                  <a:lnTo>
                    <a:pt x="8539" y="9956"/>
                  </a:lnTo>
                  <a:cubicBezTo>
                    <a:pt x="8129" y="9799"/>
                    <a:pt x="7846" y="9421"/>
                    <a:pt x="7846" y="8948"/>
                  </a:cubicBezTo>
                  <a:cubicBezTo>
                    <a:pt x="7846" y="8728"/>
                    <a:pt x="7688" y="8570"/>
                    <a:pt x="7499" y="8570"/>
                  </a:cubicBezTo>
                  <a:cubicBezTo>
                    <a:pt x="7278" y="8570"/>
                    <a:pt x="7121" y="8728"/>
                    <a:pt x="7121" y="8948"/>
                  </a:cubicBezTo>
                  <a:cubicBezTo>
                    <a:pt x="7121" y="9799"/>
                    <a:pt x="7751" y="10523"/>
                    <a:pt x="8539" y="10681"/>
                  </a:cubicBezTo>
                  <a:lnTo>
                    <a:pt x="8539" y="11405"/>
                  </a:lnTo>
                  <a:cubicBezTo>
                    <a:pt x="6963" y="11405"/>
                    <a:pt x="5703" y="10114"/>
                    <a:pt x="5703" y="8570"/>
                  </a:cubicBezTo>
                  <a:cubicBezTo>
                    <a:pt x="5703" y="7782"/>
                    <a:pt x="6333" y="7152"/>
                    <a:pt x="7121" y="7152"/>
                  </a:cubicBezTo>
                  <a:close/>
                  <a:moveTo>
                    <a:pt x="2868" y="7373"/>
                  </a:moveTo>
                  <a:cubicBezTo>
                    <a:pt x="3435" y="7719"/>
                    <a:pt x="4033" y="7908"/>
                    <a:pt x="4664" y="7908"/>
                  </a:cubicBezTo>
                  <a:cubicBezTo>
                    <a:pt x="4821" y="7908"/>
                    <a:pt x="4979" y="7908"/>
                    <a:pt x="5168" y="7877"/>
                  </a:cubicBezTo>
                  <a:lnTo>
                    <a:pt x="5168" y="7877"/>
                  </a:lnTo>
                  <a:cubicBezTo>
                    <a:pt x="5073" y="8097"/>
                    <a:pt x="5042" y="8349"/>
                    <a:pt x="5042" y="8633"/>
                  </a:cubicBezTo>
                  <a:cubicBezTo>
                    <a:pt x="5042" y="9799"/>
                    <a:pt x="5609" y="10838"/>
                    <a:pt x="6459" y="11468"/>
                  </a:cubicBezTo>
                  <a:lnTo>
                    <a:pt x="5357" y="11468"/>
                  </a:lnTo>
                  <a:cubicBezTo>
                    <a:pt x="3970" y="11468"/>
                    <a:pt x="2868" y="10334"/>
                    <a:pt x="2868" y="8980"/>
                  </a:cubicBezTo>
                  <a:lnTo>
                    <a:pt x="2868" y="7373"/>
                  </a:lnTo>
                  <a:close/>
                  <a:moveTo>
                    <a:pt x="3246" y="1"/>
                  </a:moveTo>
                  <a:cubicBezTo>
                    <a:pt x="2238" y="1"/>
                    <a:pt x="1450" y="788"/>
                    <a:pt x="1450" y="1765"/>
                  </a:cubicBezTo>
                  <a:lnTo>
                    <a:pt x="1450" y="4695"/>
                  </a:lnTo>
                  <a:cubicBezTo>
                    <a:pt x="1450" y="5420"/>
                    <a:pt x="1734" y="6144"/>
                    <a:pt x="2175" y="6680"/>
                  </a:cubicBezTo>
                  <a:lnTo>
                    <a:pt x="2175" y="8948"/>
                  </a:lnTo>
                  <a:cubicBezTo>
                    <a:pt x="2175" y="9956"/>
                    <a:pt x="2647" y="10838"/>
                    <a:pt x="3340" y="11405"/>
                  </a:cubicBezTo>
                  <a:lnTo>
                    <a:pt x="2017" y="11405"/>
                  </a:lnTo>
                  <a:lnTo>
                    <a:pt x="1387" y="10208"/>
                  </a:lnTo>
                  <a:cubicBezTo>
                    <a:pt x="1319" y="10094"/>
                    <a:pt x="1184" y="10013"/>
                    <a:pt x="1055" y="10013"/>
                  </a:cubicBezTo>
                  <a:cubicBezTo>
                    <a:pt x="1006" y="10013"/>
                    <a:pt x="958" y="10025"/>
                    <a:pt x="914" y="10051"/>
                  </a:cubicBezTo>
                  <a:cubicBezTo>
                    <a:pt x="757" y="10114"/>
                    <a:pt x="662" y="10366"/>
                    <a:pt x="757" y="10523"/>
                  </a:cubicBezTo>
                  <a:lnTo>
                    <a:pt x="1229" y="11405"/>
                  </a:lnTo>
                  <a:lnTo>
                    <a:pt x="347" y="11405"/>
                  </a:lnTo>
                  <a:cubicBezTo>
                    <a:pt x="158" y="11405"/>
                    <a:pt x="1" y="11563"/>
                    <a:pt x="1" y="11783"/>
                  </a:cubicBezTo>
                  <a:cubicBezTo>
                    <a:pt x="1" y="11973"/>
                    <a:pt x="158" y="12130"/>
                    <a:pt x="347" y="12130"/>
                  </a:cubicBezTo>
                  <a:lnTo>
                    <a:pt x="8917" y="12130"/>
                  </a:lnTo>
                  <a:cubicBezTo>
                    <a:pt x="9106" y="12130"/>
                    <a:pt x="9263" y="11973"/>
                    <a:pt x="9263" y="11783"/>
                  </a:cubicBezTo>
                  <a:lnTo>
                    <a:pt x="9263" y="8633"/>
                  </a:lnTo>
                  <a:cubicBezTo>
                    <a:pt x="9263" y="7467"/>
                    <a:pt x="8381" y="6585"/>
                    <a:pt x="7278" y="6459"/>
                  </a:cubicBezTo>
                  <a:cubicBezTo>
                    <a:pt x="7657" y="5955"/>
                    <a:pt x="7846" y="5325"/>
                    <a:pt x="7846" y="4695"/>
                  </a:cubicBezTo>
                  <a:lnTo>
                    <a:pt x="7846" y="1765"/>
                  </a:lnTo>
                  <a:cubicBezTo>
                    <a:pt x="7846" y="788"/>
                    <a:pt x="7058" y="1"/>
                    <a:pt x="6081" y="1"/>
                  </a:cubicBezTo>
                  <a:cubicBezTo>
                    <a:pt x="5861" y="1"/>
                    <a:pt x="5703" y="158"/>
                    <a:pt x="5703" y="347"/>
                  </a:cubicBezTo>
                  <a:cubicBezTo>
                    <a:pt x="5703" y="536"/>
                    <a:pt x="5546" y="694"/>
                    <a:pt x="5357" y="694"/>
                  </a:cubicBezTo>
                  <a:lnTo>
                    <a:pt x="3939" y="694"/>
                  </a:lnTo>
                  <a:cubicBezTo>
                    <a:pt x="3750" y="694"/>
                    <a:pt x="3592" y="536"/>
                    <a:pt x="3592" y="347"/>
                  </a:cubicBezTo>
                  <a:cubicBezTo>
                    <a:pt x="3592" y="158"/>
                    <a:pt x="3435" y="1"/>
                    <a:pt x="3246"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sp>
        <p:nvSpPr>
          <p:cNvPr id="11050" name="Google Shape;11050;p114"/>
          <p:cNvSpPr/>
          <p:nvPr/>
        </p:nvSpPr>
        <p:spPr>
          <a:xfrm>
            <a:off x="5787255" y="3802304"/>
            <a:ext cx="630235" cy="630235"/>
          </a:xfrm>
          <a:custGeom>
            <a:avLst/>
            <a:gdLst/>
            <a:ahLst/>
            <a:cxnLst/>
            <a:rect l="l" t="t" r="r" b="b"/>
            <a:pathLst>
              <a:path w="12162" h="12162" extrusionOk="0">
                <a:moveTo>
                  <a:pt x="1072" y="3561"/>
                </a:moveTo>
                <a:cubicBezTo>
                  <a:pt x="1229" y="3561"/>
                  <a:pt x="1418" y="3813"/>
                  <a:pt x="1418" y="4254"/>
                </a:cubicBezTo>
                <a:cubicBezTo>
                  <a:pt x="1418" y="4695"/>
                  <a:pt x="1229" y="4979"/>
                  <a:pt x="1072" y="4979"/>
                </a:cubicBezTo>
                <a:cubicBezTo>
                  <a:pt x="914" y="4979"/>
                  <a:pt x="694" y="4695"/>
                  <a:pt x="694" y="4254"/>
                </a:cubicBezTo>
                <a:cubicBezTo>
                  <a:pt x="694" y="3813"/>
                  <a:pt x="914" y="3561"/>
                  <a:pt x="1072" y="3561"/>
                </a:cubicBezTo>
                <a:close/>
                <a:moveTo>
                  <a:pt x="4632" y="3561"/>
                </a:moveTo>
                <a:cubicBezTo>
                  <a:pt x="4821" y="3561"/>
                  <a:pt x="5010" y="3813"/>
                  <a:pt x="5010" y="4254"/>
                </a:cubicBezTo>
                <a:cubicBezTo>
                  <a:pt x="5010" y="4695"/>
                  <a:pt x="4758" y="4979"/>
                  <a:pt x="4632" y="4979"/>
                </a:cubicBezTo>
                <a:cubicBezTo>
                  <a:pt x="4474" y="4979"/>
                  <a:pt x="4285" y="4695"/>
                  <a:pt x="4285" y="4254"/>
                </a:cubicBezTo>
                <a:cubicBezTo>
                  <a:pt x="4285" y="3813"/>
                  <a:pt x="4474" y="3561"/>
                  <a:pt x="4632" y="3561"/>
                </a:cubicBezTo>
                <a:close/>
                <a:moveTo>
                  <a:pt x="2836" y="2080"/>
                </a:moveTo>
                <a:cubicBezTo>
                  <a:pt x="3466" y="2080"/>
                  <a:pt x="4065" y="2395"/>
                  <a:pt x="4443" y="2836"/>
                </a:cubicBezTo>
                <a:cubicBezTo>
                  <a:pt x="3939" y="2962"/>
                  <a:pt x="3529" y="3498"/>
                  <a:pt x="3529" y="4254"/>
                </a:cubicBezTo>
                <a:cubicBezTo>
                  <a:pt x="3529" y="4979"/>
                  <a:pt x="3939" y="5546"/>
                  <a:pt x="4443" y="5672"/>
                </a:cubicBezTo>
                <a:cubicBezTo>
                  <a:pt x="4065" y="6113"/>
                  <a:pt x="3466" y="6428"/>
                  <a:pt x="2836" y="6428"/>
                </a:cubicBezTo>
                <a:cubicBezTo>
                  <a:pt x="2206" y="6428"/>
                  <a:pt x="1607" y="6144"/>
                  <a:pt x="1229" y="5672"/>
                </a:cubicBezTo>
                <a:cubicBezTo>
                  <a:pt x="1733" y="5546"/>
                  <a:pt x="2143" y="5010"/>
                  <a:pt x="2143" y="4254"/>
                </a:cubicBezTo>
                <a:cubicBezTo>
                  <a:pt x="2143" y="3561"/>
                  <a:pt x="1733" y="2962"/>
                  <a:pt x="1229" y="2836"/>
                </a:cubicBezTo>
                <a:cubicBezTo>
                  <a:pt x="1607" y="2395"/>
                  <a:pt x="2206" y="2080"/>
                  <a:pt x="2836" y="2080"/>
                </a:cubicBezTo>
                <a:close/>
                <a:moveTo>
                  <a:pt x="11090" y="6459"/>
                </a:moveTo>
                <a:cubicBezTo>
                  <a:pt x="11311" y="6459"/>
                  <a:pt x="11468" y="6617"/>
                  <a:pt x="11468" y="6806"/>
                </a:cubicBezTo>
                <a:cubicBezTo>
                  <a:pt x="11468" y="7027"/>
                  <a:pt x="11311" y="7184"/>
                  <a:pt x="11090" y="7184"/>
                </a:cubicBezTo>
                <a:cubicBezTo>
                  <a:pt x="10901" y="7184"/>
                  <a:pt x="10744" y="7027"/>
                  <a:pt x="10744" y="6806"/>
                </a:cubicBezTo>
                <a:cubicBezTo>
                  <a:pt x="10744" y="6617"/>
                  <a:pt x="10901" y="6459"/>
                  <a:pt x="11090" y="6459"/>
                </a:cubicBezTo>
                <a:close/>
                <a:moveTo>
                  <a:pt x="4222" y="6774"/>
                </a:moveTo>
                <a:cubicBezTo>
                  <a:pt x="4254" y="6901"/>
                  <a:pt x="4285" y="7058"/>
                  <a:pt x="4285" y="7184"/>
                </a:cubicBezTo>
                <a:cubicBezTo>
                  <a:pt x="4285" y="7972"/>
                  <a:pt x="3655" y="8602"/>
                  <a:pt x="2868" y="8602"/>
                </a:cubicBezTo>
                <a:cubicBezTo>
                  <a:pt x="2080" y="8539"/>
                  <a:pt x="1418" y="7909"/>
                  <a:pt x="1418" y="7121"/>
                </a:cubicBezTo>
                <a:cubicBezTo>
                  <a:pt x="1418" y="7027"/>
                  <a:pt x="1418" y="6901"/>
                  <a:pt x="1450" y="6774"/>
                </a:cubicBezTo>
                <a:cubicBezTo>
                  <a:pt x="1859" y="7027"/>
                  <a:pt x="2332" y="7121"/>
                  <a:pt x="2836" y="7121"/>
                </a:cubicBezTo>
                <a:cubicBezTo>
                  <a:pt x="3340" y="7121"/>
                  <a:pt x="3813" y="7027"/>
                  <a:pt x="4222" y="6774"/>
                </a:cubicBezTo>
                <a:close/>
                <a:moveTo>
                  <a:pt x="10744" y="7877"/>
                </a:moveTo>
                <a:cubicBezTo>
                  <a:pt x="11153" y="7877"/>
                  <a:pt x="11468" y="8192"/>
                  <a:pt x="11468" y="8602"/>
                </a:cubicBezTo>
                <a:cubicBezTo>
                  <a:pt x="11468" y="8980"/>
                  <a:pt x="11153" y="9295"/>
                  <a:pt x="10744" y="9295"/>
                </a:cubicBezTo>
                <a:cubicBezTo>
                  <a:pt x="10618" y="8917"/>
                  <a:pt x="10397" y="8539"/>
                  <a:pt x="10114" y="8287"/>
                </a:cubicBezTo>
                <a:cubicBezTo>
                  <a:pt x="10240" y="8035"/>
                  <a:pt x="10492" y="7877"/>
                  <a:pt x="10744" y="7877"/>
                </a:cubicBezTo>
                <a:close/>
                <a:moveTo>
                  <a:pt x="8979" y="8539"/>
                </a:moveTo>
                <a:cubicBezTo>
                  <a:pt x="9578" y="8539"/>
                  <a:pt x="10051" y="9011"/>
                  <a:pt x="10051" y="9610"/>
                </a:cubicBezTo>
                <a:cubicBezTo>
                  <a:pt x="10051" y="10240"/>
                  <a:pt x="9578" y="10713"/>
                  <a:pt x="8979" y="10713"/>
                </a:cubicBezTo>
                <a:cubicBezTo>
                  <a:pt x="8822" y="10713"/>
                  <a:pt x="8664" y="10681"/>
                  <a:pt x="8538" y="10650"/>
                </a:cubicBezTo>
                <a:cubicBezTo>
                  <a:pt x="8570" y="10429"/>
                  <a:pt x="8633" y="10240"/>
                  <a:pt x="8633" y="10019"/>
                </a:cubicBezTo>
                <a:cubicBezTo>
                  <a:pt x="8633" y="9578"/>
                  <a:pt x="8507" y="9169"/>
                  <a:pt x="8255" y="8822"/>
                </a:cubicBezTo>
                <a:cubicBezTo>
                  <a:pt x="8475" y="8665"/>
                  <a:pt x="8696" y="8539"/>
                  <a:pt x="8979" y="8539"/>
                </a:cubicBezTo>
                <a:close/>
                <a:moveTo>
                  <a:pt x="4852" y="8003"/>
                </a:moveTo>
                <a:cubicBezTo>
                  <a:pt x="5356" y="8224"/>
                  <a:pt x="5734" y="8759"/>
                  <a:pt x="5734" y="9326"/>
                </a:cubicBezTo>
                <a:cubicBezTo>
                  <a:pt x="5734" y="10114"/>
                  <a:pt x="5104" y="10744"/>
                  <a:pt x="4317" y="10744"/>
                </a:cubicBezTo>
                <a:cubicBezTo>
                  <a:pt x="3529" y="10713"/>
                  <a:pt x="2868" y="10083"/>
                  <a:pt x="2868" y="9295"/>
                </a:cubicBezTo>
                <a:cubicBezTo>
                  <a:pt x="3781" y="9295"/>
                  <a:pt x="4537" y="8759"/>
                  <a:pt x="4852" y="8003"/>
                </a:cubicBezTo>
                <a:close/>
                <a:moveTo>
                  <a:pt x="6459" y="8633"/>
                </a:moveTo>
                <a:cubicBezTo>
                  <a:pt x="7247" y="8633"/>
                  <a:pt x="7877" y="9263"/>
                  <a:pt x="7877" y="10051"/>
                </a:cubicBezTo>
                <a:cubicBezTo>
                  <a:pt x="7877" y="10807"/>
                  <a:pt x="7247" y="11469"/>
                  <a:pt x="6459" y="11469"/>
                </a:cubicBezTo>
                <a:cubicBezTo>
                  <a:pt x="6113" y="11469"/>
                  <a:pt x="5734" y="11343"/>
                  <a:pt x="5514" y="11122"/>
                </a:cubicBezTo>
                <a:cubicBezTo>
                  <a:pt x="6113" y="10713"/>
                  <a:pt x="6459" y="10083"/>
                  <a:pt x="6459" y="9326"/>
                </a:cubicBezTo>
                <a:cubicBezTo>
                  <a:pt x="6459" y="9106"/>
                  <a:pt x="6428" y="8854"/>
                  <a:pt x="6333" y="8633"/>
                </a:cubicBezTo>
                <a:close/>
                <a:moveTo>
                  <a:pt x="1418" y="1"/>
                </a:moveTo>
                <a:cubicBezTo>
                  <a:pt x="631" y="1"/>
                  <a:pt x="1" y="631"/>
                  <a:pt x="1" y="1419"/>
                </a:cubicBezTo>
                <a:cubicBezTo>
                  <a:pt x="1" y="1891"/>
                  <a:pt x="221" y="2269"/>
                  <a:pt x="599" y="2553"/>
                </a:cubicBezTo>
                <a:cubicBezTo>
                  <a:pt x="221" y="3025"/>
                  <a:pt x="1" y="3624"/>
                  <a:pt x="1" y="4254"/>
                </a:cubicBezTo>
                <a:cubicBezTo>
                  <a:pt x="1" y="5042"/>
                  <a:pt x="316" y="5798"/>
                  <a:pt x="851" y="6302"/>
                </a:cubicBezTo>
                <a:cubicBezTo>
                  <a:pt x="757" y="6554"/>
                  <a:pt x="694" y="6806"/>
                  <a:pt x="694" y="7090"/>
                </a:cubicBezTo>
                <a:cubicBezTo>
                  <a:pt x="694" y="8035"/>
                  <a:pt x="1324" y="8822"/>
                  <a:pt x="2174" y="9137"/>
                </a:cubicBezTo>
                <a:lnTo>
                  <a:pt x="2174" y="9263"/>
                </a:lnTo>
                <a:cubicBezTo>
                  <a:pt x="2174" y="10429"/>
                  <a:pt x="3151" y="11437"/>
                  <a:pt x="4317" y="11437"/>
                </a:cubicBezTo>
                <a:cubicBezTo>
                  <a:pt x="4474" y="11437"/>
                  <a:pt x="4695" y="11374"/>
                  <a:pt x="4852" y="11374"/>
                </a:cubicBezTo>
                <a:cubicBezTo>
                  <a:pt x="5230" y="11847"/>
                  <a:pt x="5829" y="12162"/>
                  <a:pt x="6491" y="12162"/>
                </a:cubicBezTo>
                <a:cubicBezTo>
                  <a:pt x="7215" y="12162"/>
                  <a:pt x="7845" y="11815"/>
                  <a:pt x="8223" y="11311"/>
                </a:cubicBezTo>
                <a:cubicBezTo>
                  <a:pt x="8475" y="11437"/>
                  <a:pt x="8727" y="11469"/>
                  <a:pt x="8979" y="11469"/>
                </a:cubicBezTo>
                <a:cubicBezTo>
                  <a:pt x="9830" y="11469"/>
                  <a:pt x="10555" y="10839"/>
                  <a:pt x="10712" y="10051"/>
                </a:cubicBezTo>
                <a:lnTo>
                  <a:pt x="10744" y="10051"/>
                </a:lnTo>
                <a:cubicBezTo>
                  <a:pt x="11531" y="10051"/>
                  <a:pt x="12161" y="9421"/>
                  <a:pt x="12161" y="8633"/>
                </a:cubicBezTo>
                <a:cubicBezTo>
                  <a:pt x="12161" y="8287"/>
                  <a:pt x="12004" y="7909"/>
                  <a:pt x="11783" y="7657"/>
                </a:cubicBezTo>
                <a:cubicBezTo>
                  <a:pt x="12004" y="7436"/>
                  <a:pt x="12161" y="7121"/>
                  <a:pt x="12161" y="6806"/>
                </a:cubicBezTo>
                <a:cubicBezTo>
                  <a:pt x="12161" y="6239"/>
                  <a:pt x="11689" y="5766"/>
                  <a:pt x="11090" y="5766"/>
                </a:cubicBezTo>
                <a:cubicBezTo>
                  <a:pt x="10523" y="5766"/>
                  <a:pt x="10051" y="6239"/>
                  <a:pt x="10051" y="6806"/>
                </a:cubicBezTo>
                <a:cubicBezTo>
                  <a:pt x="10051" y="6964"/>
                  <a:pt x="10082" y="7184"/>
                  <a:pt x="10145" y="7279"/>
                </a:cubicBezTo>
                <a:cubicBezTo>
                  <a:pt x="10051" y="7342"/>
                  <a:pt x="9925" y="7405"/>
                  <a:pt x="9799" y="7531"/>
                </a:cubicBezTo>
                <a:cubicBezTo>
                  <a:pt x="9641" y="7657"/>
                  <a:pt x="9515" y="7783"/>
                  <a:pt x="9452" y="7940"/>
                </a:cubicBezTo>
                <a:cubicBezTo>
                  <a:pt x="9295" y="7909"/>
                  <a:pt x="9137" y="7877"/>
                  <a:pt x="8948" y="7877"/>
                </a:cubicBezTo>
                <a:cubicBezTo>
                  <a:pt x="8507" y="7877"/>
                  <a:pt x="8066" y="8035"/>
                  <a:pt x="7751" y="8318"/>
                </a:cubicBezTo>
                <a:cubicBezTo>
                  <a:pt x="7404" y="8035"/>
                  <a:pt x="6932" y="7877"/>
                  <a:pt x="6459" y="7877"/>
                </a:cubicBezTo>
                <a:cubicBezTo>
                  <a:pt x="6302" y="7877"/>
                  <a:pt x="6113" y="7909"/>
                  <a:pt x="5955" y="7909"/>
                </a:cubicBezTo>
                <a:cubicBezTo>
                  <a:pt x="5703" y="7594"/>
                  <a:pt x="5356" y="7373"/>
                  <a:pt x="5010" y="7247"/>
                </a:cubicBezTo>
                <a:lnTo>
                  <a:pt x="5010" y="7121"/>
                </a:lnTo>
                <a:cubicBezTo>
                  <a:pt x="5010" y="6869"/>
                  <a:pt x="4915" y="6585"/>
                  <a:pt x="4789" y="6302"/>
                </a:cubicBezTo>
                <a:cubicBezTo>
                  <a:pt x="5356" y="5798"/>
                  <a:pt x="5671" y="5042"/>
                  <a:pt x="5671" y="4254"/>
                </a:cubicBezTo>
                <a:cubicBezTo>
                  <a:pt x="5671" y="3624"/>
                  <a:pt x="5482" y="3025"/>
                  <a:pt x="5073" y="2553"/>
                </a:cubicBezTo>
                <a:cubicBezTo>
                  <a:pt x="5419" y="2301"/>
                  <a:pt x="5671" y="1891"/>
                  <a:pt x="5671" y="1419"/>
                </a:cubicBezTo>
                <a:cubicBezTo>
                  <a:pt x="5671" y="631"/>
                  <a:pt x="5041" y="1"/>
                  <a:pt x="4254" y="1"/>
                </a:cubicBezTo>
                <a:cubicBezTo>
                  <a:pt x="4065" y="1"/>
                  <a:pt x="3907" y="158"/>
                  <a:pt x="3907" y="348"/>
                </a:cubicBezTo>
                <a:cubicBezTo>
                  <a:pt x="3907" y="568"/>
                  <a:pt x="4065" y="726"/>
                  <a:pt x="4254" y="726"/>
                </a:cubicBezTo>
                <a:cubicBezTo>
                  <a:pt x="4632" y="726"/>
                  <a:pt x="4947" y="1041"/>
                  <a:pt x="4947" y="1419"/>
                </a:cubicBezTo>
                <a:cubicBezTo>
                  <a:pt x="4947" y="1702"/>
                  <a:pt x="4789" y="1923"/>
                  <a:pt x="4600" y="2049"/>
                </a:cubicBezTo>
                <a:cubicBezTo>
                  <a:pt x="4128" y="1671"/>
                  <a:pt x="3498" y="1419"/>
                  <a:pt x="2836" y="1419"/>
                </a:cubicBezTo>
                <a:cubicBezTo>
                  <a:pt x="2174" y="1419"/>
                  <a:pt x="1544" y="1671"/>
                  <a:pt x="1072" y="2049"/>
                </a:cubicBezTo>
                <a:cubicBezTo>
                  <a:pt x="820" y="1923"/>
                  <a:pt x="694" y="1702"/>
                  <a:pt x="694" y="1419"/>
                </a:cubicBezTo>
                <a:cubicBezTo>
                  <a:pt x="694" y="1041"/>
                  <a:pt x="1009" y="726"/>
                  <a:pt x="1418" y="726"/>
                </a:cubicBezTo>
                <a:cubicBezTo>
                  <a:pt x="1607" y="726"/>
                  <a:pt x="1765" y="568"/>
                  <a:pt x="1765" y="348"/>
                </a:cubicBezTo>
                <a:cubicBezTo>
                  <a:pt x="1765" y="158"/>
                  <a:pt x="1607" y="1"/>
                  <a:pt x="1418"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1051" name="Google Shape;11051;p114"/>
          <p:cNvSpPr/>
          <p:nvPr/>
        </p:nvSpPr>
        <p:spPr>
          <a:xfrm>
            <a:off x="9739801" y="2251305"/>
            <a:ext cx="553489" cy="631841"/>
          </a:xfrm>
          <a:custGeom>
            <a:avLst/>
            <a:gdLst/>
            <a:ahLst/>
            <a:cxnLst/>
            <a:rect l="l" t="t" r="r" b="b"/>
            <a:pathLst>
              <a:path w="10681" h="12193" extrusionOk="0">
                <a:moveTo>
                  <a:pt x="8475" y="693"/>
                </a:moveTo>
                <a:cubicBezTo>
                  <a:pt x="8318" y="1513"/>
                  <a:pt x="7562" y="2111"/>
                  <a:pt x="6742" y="2111"/>
                </a:cubicBezTo>
                <a:cubicBezTo>
                  <a:pt x="6333" y="2111"/>
                  <a:pt x="5986" y="2237"/>
                  <a:pt x="5671" y="2426"/>
                </a:cubicBezTo>
                <a:lnTo>
                  <a:pt x="5671" y="1765"/>
                </a:lnTo>
                <a:cubicBezTo>
                  <a:pt x="5671" y="1166"/>
                  <a:pt x="6144" y="693"/>
                  <a:pt x="6742" y="693"/>
                </a:cubicBezTo>
                <a:close/>
                <a:moveTo>
                  <a:pt x="7089" y="4285"/>
                </a:moveTo>
                <a:cubicBezTo>
                  <a:pt x="8853" y="4285"/>
                  <a:pt x="9924" y="5356"/>
                  <a:pt x="9924" y="7120"/>
                </a:cubicBezTo>
                <a:cubicBezTo>
                  <a:pt x="9956" y="8129"/>
                  <a:pt x="9609" y="9231"/>
                  <a:pt x="9074" y="10082"/>
                </a:cubicBezTo>
                <a:cubicBezTo>
                  <a:pt x="8507" y="10933"/>
                  <a:pt x="7814" y="11405"/>
                  <a:pt x="7089" y="11405"/>
                </a:cubicBezTo>
                <a:cubicBezTo>
                  <a:pt x="6931" y="11405"/>
                  <a:pt x="6774" y="11374"/>
                  <a:pt x="6648" y="11342"/>
                </a:cubicBezTo>
                <a:cubicBezTo>
                  <a:pt x="6238" y="11216"/>
                  <a:pt x="5766" y="11122"/>
                  <a:pt x="5325" y="11122"/>
                </a:cubicBezTo>
                <a:cubicBezTo>
                  <a:pt x="4884" y="11122"/>
                  <a:pt x="4411" y="11216"/>
                  <a:pt x="3970" y="11342"/>
                </a:cubicBezTo>
                <a:cubicBezTo>
                  <a:pt x="3812" y="11374"/>
                  <a:pt x="3655" y="11405"/>
                  <a:pt x="3560" y="11405"/>
                </a:cubicBezTo>
                <a:cubicBezTo>
                  <a:pt x="2836" y="11405"/>
                  <a:pt x="2143" y="10901"/>
                  <a:pt x="1576" y="10082"/>
                </a:cubicBezTo>
                <a:cubicBezTo>
                  <a:pt x="1040" y="9200"/>
                  <a:pt x="725" y="8097"/>
                  <a:pt x="725" y="7120"/>
                </a:cubicBezTo>
                <a:cubicBezTo>
                  <a:pt x="725" y="5356"/>
                  <a:pt x="1765" y="4285"/>
                  <a:pt x="3560" y="4285"/>
                </a:cubicBezTo>
                <a:cubicBezTo>
                  <a:pt x="3970" y="4285"/>
                  <a:pt x="4380" y="4348"/>
                  <a:pt x="4726" y="4474"/>
                </a:cubicBezTo>
                <a:cubicBezTo>
                  <a:pt x="4821" y="4506"/>
                  <a:pt x="4884" y="4506"/>
                  <a:pt x="4978" y="4569"/>
                </a:cubicBezTo>
                <a:lnTo>
                  <a:pt x="4978" y="5293"/>
                </a:lnTo>
                <a:cubicBezTo>
                  <a:pt x="4663" y="5262"/>
                  <a:pt x="4348" y="5199"/>
                  <a:pt x="4065" y="5041"/>
                </a:cubicBezTo>
                <a:cubicBezTo>
                  <a:pt x="4021" y="5015"/>
                  <a:pt x="3971" y="5003"/>
                  <a:pt x="3919" y="5003"/>
                </a:cubicBezTo>
                <a:cubicBezTo>
                  <a:pt x="3783" y="5003"/>
                  <a:pt x="3638" y="5084"/>
                  <a:pt x="3592" y="5199"/>
                </a:cubicBezTo>
                <a:cubicBezTo>
                  <a:pt x="3497" y="5356"/>
                  <a:pt x="3592" y="5577"/>
                  <a:pt x="3749" y="5671"/>
                </a:cubicBezTo>
                <a:cubicBezTo>
                  <a:pt x="4254" y="5892"/>
                  <a:pt x="4758" y="6018"/>
                  <a:pt x="5325" y="6018"/>
                </a:cubicBezTo>
                <a:cubicBezTo>
                  <a:pt x="5860" y="6018"/>
                  <a:pt x="6427" y="5892"/>
                  <a:pt x="6900" y="5671"/>
                </a:cubicBezTo>
                <a:cubicBezTo>
                  <a:pt x="7057" y="5577"/>
                  <a:pt x="7120" y="5356"/>
                  <a:pt x="7057" y="5199"/>
                </a:cubicBezTo>
                <a:cubicBezTo>
                  <a:pt x="6989" y="5084"/>
                  <a:pt x="6854" y="5003"/>
                  <a:pt x="6725" y="5003"/>
                </a:cubicBezTo>
                <a:cubicBezTo>
                  <a:pt x="6676" y="5003"/>
                  <a:pt x="6628" y="5015"/>
                  <a:pt x="6585" y="5041"/>
                </a:cubicBezTo>
                <a:cubicBezTo>
                  <a:pt x="6301" y="5199"/>
                  <a:pt x="5986" y="5262"/>
                  <a:pt x="5671" y="5293"/>
                </a:cubicBezTo>
                <a:lnTo>
                  <a:pt x="5671" y="4569"/>
                </a:lnTo>
                <a:cubicBezTo>
                  <a:pt x="5766" y="4569"/>
                  <a:pt x="5829" y="4506"/>
                  <a:pt x="5923" y="4474"/>
                </a:cubicBezTo>
                <a:cubicBezTo>
                  <a:pt x="6270" y="4348"/>
                  <a:pt x="6648" y="4285"/>
                  <a:pt x="7089" y="4285"/>
                </a:cubicBezTo>
                <a:close/>
                <a:moveTo>
                  <a:pt x="6774" y="0"/>
                </a:moveTo>
                <a:cubicBezTo>
                  <a:pt x="5797" y="0"/>
                  <a:pt x="5010" y="788"/>
                  <a:pt x="5010" y="1765"/>
                </a:cubicBezTo>
                <a:cubicBezTo>
                  <a:pt x="4695" y="1513"/>
                  <a:pt x="4348" y="1418"/>
                  <a:pt x="3938" y="1418"/>
                </a:cubicBezTo>
                <a:cubicBezTo>
                  <a:pt x="3749" y="1418"/>
                  <a:pt x="3592" y="1576"/>
                  <a:pt x="3592" y="1765"/>
                </a:cubicBezTo>
                <a:cubicBezTo>
                  <a:pt x="3592" y="1954"/>
                  <a:pt x="3749" y="2111"/>
                  <a:pt x="3938" y="2111"/>
                </a:cubicBezTo>
                <a:cubicBezTo>
                  <a:pt x="4537" y="2111"/>
                  <a:pt x="5010" y="2584"/>
                  <a:pt x="5010" y="3182"/>
                </a:cubicBezTo>
                <a:lnTo>
                  <a:pt x="5010" y="3812"/>
                </a:lnTo>
                <a:cubicBezTo>
                  <a:pt x="4569" y="3655"/>
                  <a:pt x="4096" y="3560"/>
                  <a:pt x="3592" y="3560"/>
                </a:cubicBezTo>
                <a:cubicBezTo>
                  <a:pt x="1513" y="3560"/>
                  <a:pt x="0" y="4884"/>
                  <a:pt x="0" y="7152"/>
                </a:cubicBezTo>
                <a:cubicBezTo>
                  <a:pt x="0" y="8286"/>
                  <a:pt x="347" y="9515"/>
                  <a:pt x="977" y="10491"/>
                </a:cubicBezTo>
                <a:cubicBezTo>
                  <a:pt x="1702" y="11594"/>
                  <a:pt x="2615" y="12193"/>
                  <a:pt x="3560" y="12193"/>
                </a:cubicBezTo>
                <a:cubicBezTo>
                  <a:pt x="3781" y="12193"/>
                  <a:pt x="3970" y="12161"/>
                  <a:pt x="4222" y="12130"/>
                </a:cubicBezTo>
                <a:cubicBezTo>
                  <a:pt x="4600" y="12004"/>
                  <a:pt x="4970" y="11941"/>
                  <a:pt x="5340" y="11941"/>
                </a:cubicBezTo>
                <a:cubicBezTo>
                  <a:pt x="5711" y="11941"/>
                  <a:pt x="6081" y="12004"/>
                  <a:pt x="6459" y="12130"/>
                </a:cubicBezTo>
                <a:cubicBezTo>
                  <a:pt x="6648" y="12193"/>
                  <a:pt x="6900" y="12193"/>
                  <a:pt x="7152" y="12193"/>
                </a:cubicBezTo>
                <a:cubicBezTo>
                  <a:pt x="8097" y="12193"/>
                  <a:pt x="8979" y="11594"/>
                  <a:pt x="9704" y="10491"/>
                </a:cubicBezTo>
                <a:cubicBezTo>
                  <a:pt x="10334" y="9546"/>
                  <a:pt x="10681" y="8286"/>
                  <a:pt x="10681" y="7152"/>
                </a:cubicBezTo>
                <a:cubicBezTo>
                  <a:pt x="10681" y="4884"/>
                  <a:pt x="9168" y="3560"/>
                  <a:pt x="7089" y="3560"/>
                </a:cubicBezTo>
                <a:cubicBezTo>
                  <a:pt x="6585" y="3560"/>
                  <a:pt x="6112" y="3655"/>
                  <a:pt x="5671" y="3812"/>
                </a:cubicBezTo>
                <a:lnTo>
                  <a:pt x="5671" y="3340"/>
                </a:lnTo>
                <a:lnTo>
                  <a:pt x="5797" y="3214"/>
                </a:lnTo>
                <a:cubicBezTo>
                  <a:pt x="6081" y="2930"/>
                  <a:pt x="6396" y="2836"/>
                  <a:pt x="6774" y="2836"/>
                </a:cubicBezTo>
                <a:cubicBezTo>
                  <a:pt x="8160" y="2836"/>
                  <a:pt x="9263" y="1733"/>
                  <a:pt x="9263" y="347"/>
                </a:cubicBezTo>
                <a:cubicBezTo>
                  <a:pt x="9263" y="158"/>
                  <a:pt x="9105" y="0"/>
                  <a:pt x="8916"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nvGrpSpPr>
          <p:cNvPr id="11052" name="Google Shape;11052;p114"/>
          <p:cNvGrpSpPr/>
          <p:nvPr/>
        </p:nvGrpSpPr>
        <p:grpSpPr>
          <a:xfrm>
            <a:off x="9702010" y="3052069"/>
            <a:ext cx="631841" cy="592665"/>
            <a:chOff x="-17190425" y="2435725"/>
            <a:chExt cx="304825" cy="285925"/>
          </a:xfrm>
        </p:grpSpPr>
        <p:sp>
          <p:nvSpPr>
            <p:cNvPr id="11053" name="Google Shape;11053;p114"/>
            <p:cNvSpPr/>
            <p:nvPr/>
          </p:nvSpPr>
          <p:spPr>
            <a:xfrm>
              <a:off x="-16994325" y="2596400"/>
              <a:ext cx="18150" cy="17350"/>
            </a:xfrm>
            <a:custGeom>
              <a:avLst/>
              <a:gdLst/>
              <a:ahLst/>
              <a:cxnLst/>
              <a:rect l="l" t="t" r="r" b="b"/>
              <a:pathLst>
                <a:path w="726" h="694" extrusionOk="0">
                  <a:moveTo>
                    <a:pt x="348" y="0"/>
                  </a:moveTo>
                  <a:cubicBezTo>
                    <a:pt x="159" y="0"/>
                    <a:pt x="1" y="158"/>
                    <a:pt x="1" y="347"/>
                  </a:cubicBezTo>
                  <a:cubicBezTo>
                    <a:pt x="1" y="536"/>
                    <a:pt x="159" y="693"/>
                    <a:pt x="348" y="693"/>
                  </a:cubicBezTo>
                  <a:cubicBezTo>
                    <a:pt x="568" y="693"/>
                    <a:pt x="726" y="536"/>
                    <a:pt x="726" y="347"/>
                  </a:cubicBezTo>
                  <a:cubicBezTo>
                    <a:pt x="726" y="158"/>
                    <a:pt x="568" y="0"/>
                    <a:pt x="348"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1054" name="Google Shape;11054;p114"/>
            <p:cNvSpPr/>
            <p:nvPr/>
          </p:nvSpPr>
          <p:spPr>
            <a:xfrm>
              <a:off x="-17100650" y="2596400"/>
              <a:ext cx="18150" cy="17350"/>
            </a:xfrm>
            <a:custGeom>
              <a:avLst/>
              <a:gdLst/>
              <a:ahLst/>
              <a:cxnLst/>
              <a:rect l="l" t="t" r="r" b="b"/>
              <a:pathLst>
                <a:path w="726" h="694" extrusionOk="0">
                  <a:moveTo>
                    <a:pt x="347" y="0"/>
                  </a:moveTo>
                  <a:cubicBezTo>
                    <a:pt x="158" y="0"/>
                    <a:pt x="1" y="158"/>
                    <a:pt x="1" y="347"/>
                  </a:cubicBezTo>
                  <a:cubicBezTo>
                    <a:pt x="1" y="536"/>
                    <a:pt x="158" y="693"/>
                    <a:pt x="347" y="693"/>
                  </a:cubicBezTo>
                  <a:cubicBezTo>
                    <a:pt x="568" y="693"/>
                    <a:pt x="725" y="536"/>
                    <a:pt x="725" y="347"/>
                  </a:cubicBezTo>
                  <a:cubicBezTo>
                    <a:pt x="725" y="158"/>
                    <a:pt x="568" y="0"/>
                    <a:pt x="347"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1055" name="Google Shape;11055;p114"/>
            <p:cNvSpPr/>
            <p:nvPr/>
          </p:nvSpPr>
          <p:spPr>
            <a:xfrm>
              <a:off x="-17190425" y="2435725"/>
              <a:ext cx="304825" cy="285925"/>
            </a:xfrm>
            <a:custGeom>
              <a:avLst/>
              <a:gdLst/>
              <a:ahLst/>
              <a:cxnLst/>
              <a:rect l="l" t="t" r="r" b="b"/>
              <a:pathLst>
                <a:path w="12193" h="11437" extrusionOk="0">
                  <a:moveTo>
                    <a:pt x="2111" y="725"/>
                  </a:moveTo>
                  <a:cubicBezTo>
                    <a:pt x="2836" y="725"/>
                    <a:pt x="3434" y="1292"/>
                    <a:pt x="3529" y="2016"/>
                  </a:cubicBezTo>
                  <a:cubicBezTo>
                    <a:pt x="2804" y="2363"/>
                    <a:pt x="2174" y="2867"/>
                    <a:pt x="1702" y="3497"/>
                  </a:cubicBezTo>
                  <a:cubicBezTo>
                    <a:pt x="1103" y="3308"/>
                    <a:pt x="693" y="2773"/>
                    <a:pt x="693" y="2143"/>
                  </a:cubicBezTo>
                  <a:cubicBezTo>
                    <a:pt x="693" y="1355"/>
                    <a:pt x="1323" y="725"/>
                    <a:pt x="2111" y="725"/>
                  </a:cubicBezTo>
                  <a:close/>
                  <a:moveTo>
                    <a:pt x="10019" y="693"/>
                  </a:moveTo>
                  <a:cubicBezTo>
                    <a:pt x="10806" y="693"/>
                    <a:pt x="11437" y="1323"/>
                    <a:pt x="11437" y="2111"/>
                  </a:cubicBezTo>
                  <a:cubicBezTo>
                    <a:pt x="11437" y="2773"/>
                    <a:pt x="11027" y="3308"/>
                    <a:pt x="10397" y="3497"/>
                  </a:cubicBezTo>
                  <a:cubicBezTo>
                    <a:pt x="9924" y="2867"/>
                    <a:pt x="9294" y="2363"/>
                    <a:pt x="8601" y="2016"/>
                  </a:cubicBezTo>
                  <a:cubicBezTo>
                    <a:pt x="8696" y="1260"/>
                    <a:pt x="9263" y="693"/>
                    <a:pt x="10019" y="693"/>
                  </a:cubicBezTo>
                  <a:close/>
                  <a:moveTo>
                    <a:pt x="7959" y="4997"/>
                  </a:moveTo>
                  <a:cubicBezTo>
                    <a:pt x="8453" y="4997"/>
                    <a:pt x="8961" y="5407"/>
                    <a:pt x="9200" y="6018"/>
                  </a:cubicBezTo>
                  <a:cubicBezTo>
                    <a:pt x="9452" y="6774"/>
                    <a:pt x="9231" y="7530"/>
                    <a:pt x="8664" y="7719"/>
                  </a:cubicBezTo>
                  <a:cubicBezTo>
                    <a:pt x="8555" y="7741"/>
                    <a:pt x="8447" y="7777"/>
                    <a:pt x="8338" y="7777"/>
                  </a:cubicBezTo>
                  <a:cubicBezTo>
                    <a:pt x="8289" y="7777"/>
                    <a:pt x="8240" y="7770"/>
                    <a:pt x="8192" y="7750"/>
                  </a:cubicBezTo>
                  <a:cubicBezTo>
                    <a:pt x="8003" y="7372"/>
                    <a:pt x="7624" y="6900"/>
                    <a:pt x="7183" y="6711"/>
                  </a:cubicBezTo>
                  <a:cubicBezTo>
                    <a:pt x="6900" y="5955"/>
                    <a:pt x="7152" y="5230"/>
                    <a:pt x="7687" y="5041"/>
                  </a:cubicBezTo>
                  <a:cubicBezTo>
                    <a:pt x="7776" y="5011"/>
                    <a:pt x="7868" y="4997"/>
                    <a:pt x="7959" y="4997"/>
                  </a:cubicBezTo>
                  <a:close/>
                  <a:moveTo>
                    <a:pt x="4107" y="4995"/>
                  </a:moveTo>
                  <a:cubicBezTo>
                    <a:pt x="4200" y="4995"/>
                    <a:pt x="4292" y="5010"/>
                    <a:pt x="4379" y="5041"/>
                  </a:cubicBezTo>
                  <a:cubicBezTo>
                    <a:pt x="4947" y="5230"/>
                    <a:pt x="5167" y="6081"/>
                    <a:pt x="4852" y="6805"/>
                  </a:cubicBezTo>
                  <a:cubicBezTo>
                    <a:pt x="4568" y="7026"/>
                    <a:pt x="4222" y="7404"/>
                    <a:pt x="4064" y="7687"/>
                  </a:cubicBezTo>
                  <a:cubicBezTo>
                    <a:pt x="3946" y="7755"/>
                    <a:pt x="3819" y="7786"/>
                    <a:pt x="3697" y="7786"/>
                  </a:cubicBezTo>
                  <a:cubicBezTo>
                    <a:pt x="3592" y="7786"/>
                    <a:pt x="3491" y="7763"/>
                    <a:pt x="3403" y="7719"/>
                  </a:cubicBezTo>
                  <a:cubicBezTo>
                    <a:pt x="2836" y="7530"/>
                    <a:pt x="2615" y="6742"/>
                    <a:pt x="2899" y="6018"/>
                  </a:cubicBezTo>
                  <a:cubicBezTo>
                    <a:pt x="3110" y="5385"/>
                    <a:pt x="3629" y="4995"/>
                    <a:pt x="4107" y="4995"/>
                  </a:cubicBezTo>
                  <a:close/>
                  <a:moveTo>
                    <a:pt x="6081" y="8538"/>
                  </a:moveTo>
                  <a:cubicBezTo>
                    <a:pt x="6207" y="8538"/>
                    <a:pt x="6364" y="8632"/>
                    <a:pt x="6396" y="8790"/>
                  </a:cubicBezTo>
                  <a:lnTo>
                    <a:pt x="6081" y="9105"/>
                  </a:lnTo>
                  <a:lnTo>
                    <a:pt x="5766" y="8790"/>
                  </a:lnTo>
                  <a:cubicBezTo>
                    <a:pt x="5797" y="8664"/>
                    <a:pt x="5955" y="8538"/>
                    <a:pt x="6081" y="8538"/>
                  </a:cubicBezTo>
                  <a:close/>
                  <a:moveTo>
                    <a:pt x="6144" y="2111"/>
                  </a:moveTo>
                  <a:cubicBezTo>
                    <a:pt x="8727" y="2111"/>
                    <a:pt x="10806" y="4064"/>
                    <a:pt x="10806" y="6427"/>
                  </a:cubicBezTo>
                  <a:cubicBezTo>
                    <a:pt x="10712" y="7908"/>
                    <a:pt x="9893" y="9263"/>
                    <a:pt x="8570" y="10050"/>
                  </a:cubicBezTo>
                  <a:cubicBezTo>
                    <a:pt x="8570" y="9924"/>
                    <a:pt x="8601" y="9767"/>
                    <a:pt x="8601" y="9609"/>
                  </a:cubicBezTo>
                  <a:cubicBezTo>
                    <a:pt x="8601" y="9168"/>
                    <a:pt x="8570" y="8790"/>
                    <a:pt x="8475" y="8475"/>
                  </a:cubicBezTo>
                  <a:cubicBezTo>
                    <a:pt x="8633" y="8475"/>
                    <a:pt x="8790" y="8443"/>
                    <a:pt x="8916" y="8380"/>
                  </a:cubicBezTo>
                  <a:cubicBezTo>
                    <a:pt x="9861" y="8034"/>
                    <a:pt x="10239" y="6868"/>
                    <a:pt x="9861" y="5766"/>
                  </a:cubicBezTo>
                  <a:cubicBezTo>
                    <a:pt x="9523" y="4855"/>
                    <a:pt x="8755" y="4267"/>
                    <a:pt x="7966" y="4267"/>
                  </a:cubicBezTo>
                  <a:cubicBezTo>
                    <a:pt x="7799" y="4267"/>
                    <a:pt x="7632" y="4293"/>
                    <a:pt x="7467" y="4348"/>
                  </a:cubicBezTo>
                  <a:cubicBezTo>
                    <a:pt x="6679" y="4600"/>
                    <a:pt x="6270" y="5514"/>
                    <a:pt x="6396" y="6396"/>
                  </a:cubicBezTo>
                  <a:cubicBezTo>
                    <a:pt x="6337" y="6376"/>
                    <a:pt x="6272" y="6369"/>
                    <a:pt x="6205" y="6369"/>
                  </a:cubicBezTo>
                  <a:cubicBezTo>
                    <a:pt x="6053" y="6369"/>
                    <a:pt x="5886" y="6405"/>
                    <a:pt x="5734" y="6427"/>
                  </a:cubicBezTo>
                  <a:cubicBezTo>
                    <a:pt x="5829" y="5514"/>
                    <a:pt x="5451" y="4600"/>
                    <a:pt x="4663" y="4348"/>
                  </a:cubicBezTo>
                  <a:cubicBezTo>
                    <a:pt x="4486" y="4277"/>
                    <a:pt x="4304" y="4244"/>
                    <a:pt x="4124" y="4244"/>
                  </a:cubicBezTo>
                  <a:cubicBezTo>
                    <a:pt x="3341" y="4244"/>
                    <a:pt x="2576" y="4869"/>
                    <a:pt x="2269" y="5766"/>
                  </a:cubicBezTo>
                  <a:cubicBezTo>
                    <a:pt x="1859" y="6868"/>
                    <a:pt x="2269" y="8034"/>
                    <a:pt x="3214" y="8380"/>
                  </a:cubicBezTo>
                  <a:cubicBezTo>
                    <a:pt x="3371" y="8475"/>
                    <a:pt x="3560" y="8475"/>
                    <a:pt x="3718" y="8475"/>
                  </a:cubicBezTo>
                  <a:lnTo>
                    <a:pt x="3749" y="8475"/>
                  </a:lnTo>
                  <a:cubicBezTo>
                    <a:pt x="3686" y="8790"/>
                    <a:pt x="3623" y="9137"/>
                    <a:pt x="3623" y="9609"/>
                  </a:cubicBezTo>
                  <a:cubicBezTo>
                    <a:pt x="3623" y="9767"/>
                    <a:pt x="3623" y="9893"/>
                    <a:pt x="3686" y="10050"/>
                  </a:cubicBezTo>
                  <a:cubicBezTo>
                    <a:pt x="2332" y="9263"/>
                    <a:pt x="1512" y="7908"/>
                    <a:pt x="1512" y="6427"/>
                  </a:cubicBezTo>
                  <a:cubicBezTo>
                    <a:pt x="1512" y="4064"/>
                    <a:pt x="3592" y="2111"/>
                    <a:pt x="6144" y="2111"/>
                  </a:cubicBezTo>
                  <a:close/>
                  <a:moveTo>
                    <a:pt x="6127" y="7151"/>
                  </a:moveTo>
                  <a:cubicBezTo>
                    <a:pt x="6481" y="7151"/>
                    <a:pt x="6828" y="7269"/>
                    <a:pt x="7057" y="7498"/>
                  </a:cubicBezTo>
                  <a:cubicBezTo>
                    <a:pt x="7656" y="8065"/>
                    <a:pt x="7845" y="8601"/>
                    <a:pt x="7845" y="9609"/>
                  </a:cubicBezTo>
                  <a:cubicBezTo>
                    <a:pt x="7845" y="10050"/>
                    <a:pt x="7782" y="10334"/>
                    <a:pt x="7624" y="10491"/>
                  </a:cubicBezTo>
                  <a:cubicBezTo>
                    <a:pt x="7451" y="10640"/>
                    <a:pt x="7123" y="10691"/>
                    <a:pt x="6746" y="10691"/>
                  </a:cubicBezTo>
                  <a:cubicBezTo>
                    <a:pt x="6643" y="10691"/>
                    <a:pt x="6536" y="10687"/>
                    <a:pt x="6427" y="10680"/>
                  </a:cubicBezTo>
                  <a:lnTo>
                    <a:pt x="6427" y="9767"/>
                  </a:lnTo>
                  <a:lnTo>
                    <a:pt x="7026" y="9168"/>
                  </a:lnTo>
                  <a:cubicBezTo>
                    <a:pt x="7089" y="9105"/>
                    <a:pt x="7152" y="9011"/>
                    <a:pt x="7152" y="8948"/>
                  </a:cubicBezTo>
                  <a:cubicBezTo>
                    <a:pt x="7152" y="8349"/>
                    <a:pt x="6679" y="7876"/>
                    <a:pt x="6081" y="7876"/>
                  </a:cubicBezTo>
                  <a:cubicBezTo>
                    <a:pt x="5482" y="7876"/>
                    <a:pt x="5010" y="8349"/>
                    <a:pt x="5010" y="8948"/>
                  </a:cubicBezTo>
                  <a:cubicBezTo>
                    <a:pt x="5010" y="9011"/>
                    <a:pt x="5041" y="9137"/>
                    <a:pt x="5136" y="9168"/>
                  </a:cubicBezTo>
                  <a:lnTo>
                    <a:pt x="5734" y="9767"/>
                  </a:lnTo>
                  <a:lnTo>
                    <a:pt x="5734" y="10680"/>
                  </a:lnTo>
                  <a:lnTo>
                    <a:pt x="5356" y="10680"/>
                  </a:lnTo>
                  <a:cubicBezTo>
                    <a:pt x="4631" y="10680"/>
                    <a:pt x="4316" y="10554"/>
                    <a:pt x="4316" y="9609"/>
                  </a:cubicBezTo>
                  <a:cubicBezTo>
                    <a:pt x="4316" y="8601"/>
                    <a:pt x="4537" y="8160"/>
                    <a:pt x="5104" y="7561"/>
                  </a:cubicBezTo>
                  <a:cubicBezTo>
                    <a:pt x="5364" y="7285"/>
                    <a:pt x="5750" y="7151"/>
                    <a:pt x="6127" y="7151"/>
                  </a:cubicBezTo>
                  <a:close/>
                  <a:moveTo>
                    <a:pt x="2143" y="0"/>
                  </a:moveTo>
                  <a:cubicBezTo>
                    <a:pt x="945" y="0"/>
                    <a:pt x="0" y="945"/>
                    <a:pt x="0" y="2143"/>
                  </a:cubicBezTo>
                  <a:cubicBezTo>
                    <a:pt x="0" y="2647"/>
                    <a:pt x="221" y="3151"/>
                    <a:pt x="536" y="3560"/>
                  </a:cubicBezTo>
                  <a:cubicBezTo>
                    <a:pt x="756" y="3812"/>
                    <a:pt x="1040" y="4001"/>
                    <a:pt x="1355" y="4127"/>
                  </a:cubicBezTo>
                  <a:cubicBezTo>
                    <a:pt x="945" y="4852"/>
                    <a:pt x="756" y="5640"/>
                    <a:pt x="756" y="6427"/>
                  </a:cubicBezTo>
                  <a:cubicBezTo>
                    <a:pt x="756" y="8506"/>
                    <a:pt x="2143" y="10334"/>
                    <a:pt x="4096" y="11058"/>
                  </a:cubicBezTo>
                  <a:cubicBezTo>
                    <a:pt x="4474" y="11373"/>
                    <a:pt x="4947" y="11436"/>
                    <a:pt x="5356" y="11436"/>
                  </a:cubicBezTo>
                  <a:lnTo>
                    <a:pt x="6364" y="11436"/>
                  </a:lnTo>
                  <a:cubicBezTo>
                    <a:pt x="7026" y="11436"/>
                    <a:pt x="7656" y="11436"/>
                    <a:pt x="8097" y="11058"/>
                  </a:cubicBezTo>
                  <a:cubicBezTo>
                    <a:pt x="10050" y="10334"/>
                    <a:pt x="11437" y="8506"/>
                    <a:pt x="11437" y="6427"/>
                  </a:cubicBezTo>
                  <a:cubicBezTo>
                    <a:pt x="11437" y="5608"/>
                    <a:pt x="11248" y="4820"/>
                    <a:pt x="10838" y="4127"/>
                  </a:cubicBezTo>
                  <a:cubicBezTo>
                    <a:pt x="11153" y="4001"/>
                    <a:pt x="11437" y="3812"/>
                    <a:pt x="11657" y="3560"/>
                  </a:cubicBezTo>
                  <a:cubicBezTo>
                    <a:pt x="12035" y="3151"/>
                    <a:pt x="12193" y="2647"/>
                    <a:pt x="12193" y="2143"/>
                  </a:cubicBezTo>
                  <a:cubicBezTo>
                    <a:pt x="12193" y="945"/>
                    <a:pt x="11185" y="0"/>
                    <a:pt x="10019" y="0"/>
                  </a:cubicBezTo>
                  <a:cubicBezTo>
                    <a:pt x="8979" y="0"/>
                    <a:pt x="8129" y="756"/>
                    <a:pt x="7939" y="1733"/>
                  </a:cubicBezTo>
                  <a:cubicBezTo>
                    <a:pt x="7341" y="1544"/>
                    <a:pt x="6711" y="1418"/>
                    <a:pt x="6081" y="1418"/>
                  </a:cubicBezTo>
                  <a:cubicBezTo>
                    <a:pt x="5451" y="1418"/>
                    <a:pt x="4821" y="1544"/>
                    <a:pt x="4222" y="1733"/>
                  </a:cubicBezTo>
                  <a:cubicBezTo>
                    <a:pt x="4033" y="756"/>
                    <a:pt x="3151" y="0"/>
                    <a:pt x="2143"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sp>
        <p:nvSpPr>
          <p:cNvPr id="11056" name="Google Shape;11056;p114"/>
          <p:cNvSpPr/>
          <p:nvPr/>
        </p:nvSpPr>
        <p:spPr>
          <a:xfrm>
            <a:off x="9703888" y="3804741"/>
            <a:ext cx="625312" cy="625364"/>
          </a:xfrm>
          <a:custGeom>
            <a:avLst/>
            <a:gdLst/>
            <a:ahLst/>
            <a:cxnLst/>
            <a:rect l="l" t="t" r="r" b="b"/>
            <a:pathLst>
              <a:path w="12067" h="12068" extrusionOk="0">
                <a:moveTo>
                  <a:pt x="5955" y="1104"/>
                </a:moveTo>
                <a:lnTo>
                  <a:pt x="6270" y="1734"/>
                </a:lnTo>
                <a:lnTo>
                  <a:pt x="5955" y="2364"/>
                </a:lnTo>
                <a:lnTo>
                  <a:pt x="5640" y="1734"/>
                </a:lnTo>
                <a:lnTo>
                  <a:pt x="5955" y="1104"/>
                </a:lnTo>
                <a:close/>
                <a:moveTo>
                  <a:pt x="9420" y="2521"/>
                </a:moveTo>
                <a:lnTo>
                  <a:pt x="9168" y="3183"/>
                </a:lnTo>
                <a:lnTo>
                  <a:pt x="8507" y="3435"/>
                </a:lnTo>
                <a:lnTo>
                  <a:pt x="8759" y="2773"/>
                </a:lnTo>
                <a:lnTo>
                  <a:pt x="9420" y="2521"/>
                </a:lnTo>
                <a:close/>
                <a:moveTo>
                  <a:pt x="2489" y="2553"/>
                </a:moveTo>
                <a:lnTo>
                  <a:pt x="3151" y="2805"/>
                </a:lnTo>
                <a:lnTo>
                  <a:pt x="3403" y="3466"/>
                </a:lnTo>
                <a:lnTo>
                  <a:pt x="2710" y="3246"/>
                </a:lnTo>
                <a:lnTo>
                  <a:pt x="2489" y="2553"/>
                </a:lnTo>
                <a:close/>
                <a:moveTo>
                  <a:pt x="4663" y="2931"/>
                </a:moveTo>
                <a:lnTo>
                  <a:pt x="5608" y="3403"/>
                </a:lnTo>
                <a:lnTo>
                  <a:pt x="5608" y="4254"/>
                </a:lnTo>
                <a:cubicBezTo>
                  <a:pt x="5356" y="4286"/>
                  <a:pt x="5167" y="4380"/>
                  <a:pt x="4978" y="4538"/>
                </a:cubicBezTo>
                <a:lnTo>
                  <a:pt x="4348" y="3908"/>
                </a:lnTo>
                <a:lnTo>
                  <a:pt x="4663" y="2931"/>
                </a:lnTo>
                <a:close/>
                <a:moveTo>
                  <a:pt x="7246" y="2931"/>
                </a:moveTo>
                <a:lnTo>
                  <a:pt x="7561" y="3908"/>
                </a:lnTo>
                <a:lnTo>
                  <a:pt x="6931" y="4538"/>
                </a:lnTo>
                <a:cubicBezTo>
                  <a:pt x="6742" y="4412"/>
                  <a:pt x="6553" y="4349"/>
                  <a:pt x="6301" y="4254"/>
                </a:cubicBezTo>
                <a:lnTo>
                  <a:pt x="6301" y="3403"/>
                </a:lnTo>
                <a:lnTo>
                  <a:pt x="7246" y="2931"/>
                </a:lnTo>
                <a:close/>
                <a:moveTo>
                  <a:pt x="3812" y="4412"/>
                </a:moveTo>
                <a:lnTo>
                  <a:pt x="4442" y="5042"/>
                </a:lnTo>
                <a:cubicBezTo>
                  <a:pt x="4348" y="5231"/>
                  <a:pt x="4253" y="5451"/>
                  <a:pt x="4190" y="5672"/>
                </a:cubicBezTo>
                <a:lnTo>
                  <a:pt x="3308" y="5672"/>
                </a:lnTo>
                <a:lnTo>
                  <a:pt x="2836" y="4727"/>
                </a:lnTo>
                <a:lnTo>
                  <a:pt x="3812" y="4412"/>
                </a:lnTo>
                <a:close/>
                <a:moveTo>
                  <a:pt x="8034" y="4412"/>
                </a:moveTo>
                <a:lnTo>
                  <a:pt x="9011" y="4727"/>
                </a:lnTo>
                <a:lnTo>
                  <a:pt x="8538" y="5672"/>
                </a:lnTo>
                <a:lnTo>
                  <a:pt x="7687" y="5672"/>
                </a:lnTo>
                <a:cubicBezTo>
                  <a:pt x="7656" y="5451"/>
                  <a:pt x="7561" y="5231"/>
                  <a:pt x="7404" y="5042"/>
                </a:cubicBezTo>
                <a:lnTo>
                  <a:pt x="8034" y="4412"/>
                </a:lnTo>
                <a:close/>
                <a:moveTo>
                  <a:pt x="1670" y="5703"/>
                </a:moveTo>
                <a:lnTo>
                  <a:pt x="2300" y="6018"/>
                </a:lnTo>
                <a:lnTo>
                  <a:pt x="1670" y="6333"/>
                </a:lnTo>
                <a:lnTo>
                  <a:pt x="1040" y="6018"/>
                </a:lnTo>
                <a:lnTo>
                  <a:pt x="1670" y="5703"/>
                </a:lnTo>
                <a:close/>
                <a:moveTo>
                  <a:pt x="10239" y="5703"/>
                </a:moveTo>
                <a:lnTo>
                  <a:pt x="10869" y="6018"/>
                </a:lnTo>
                <a:lnTo>
                  <a:pt x="10239" y="6333"/>
                </a:lnTo>
                <a:lnTo>
                  <a:pt x="9609" y="6018"/>
                </a:lnTo>
                <a:lnTo>
                  <a:pt x="10239" y="5703"/>
                </a:lnTo>
                <a:close/>
                <a:moveTo>
                  <a:pt x="5955" y="4979"/>
                </a:moveTo>
                <a:cubicBezTo>
                  <a:pt x="6553" y="4979"/>
                  <a:pt x="7026" y="5451"/>
                  <a:pt x="7026" y="6018"/>
                </a:cubicBezTo>
                <a:cubicBezTo>
                  <a:pt x="7026" y="6617"/>
                  <a:pt x="6553" y="7089"/>
                  <a:pt x="5955" y="7089"/>
                </a:cubicBezTo>
                <a:cubicBezTo>
                  <a:pt x="5356" y="7089"/>
                  <a:pt x="4884" y="6617"/>
                  <a:pt x="4884" y="6018"/>
                </a:cubicBezTo>
                <a:cubicBezTo>
                  <a:pt x="4884" y="5451"/>
                  <a:pt x="5356" y="4979"/>
                  <a:pt x="5955" y="4979"/>
                </a:cubicBezTo>
                <a:close/>
                <a:moveTo>
                  <a:pt x="4222" y="6365"/>
                </a:moveTo>
                <a:lnTo>
                  <a:pt x="4222" y="6396"/>
                </a:lnTo>
                <a:cubicBezTo>
                  <a:pt x="4253" y="6617"/>
                  <a:pt x="4348" y="6806"/>
                  <a:pt x="4505" y="7026"/>
                </a:cubicBezTo>
                <a:lnTo>
                  <a:pt x="3875" y="7657"/>
                </a:lnTo>
                <a:lnTo>
                  <a:pt x="2867" y="7310"/>
                </a:lnTo>
                <a:lnTo>
                  <a:pt x="3340" y="6365"/>
                </a:lnTo>
                <a:close/>
                <a:moveTo>
                  <a:pt x="8601" y="6396"/>
                </a:moveTo>
                <a:lnTo>
                  <a:pt x="9074" y="7342"/>
                </a:lnTo>
                <a:lnTo>
                  <a:pt x="8066" y="7657"/>
                </a:lnTo>
                <a:lnTo>
                  <a:pt x="7435" y="7026"/>
                </a:lnTo>
                <a:cubicBezTo>
                  <a:pt x="7561" y="6806"/>
                  <a:pt x="7656" y="6617"/>
                  <a:pt x="7719" y="6396"/>
                </a:cubicBezTo>
                <a:close/>
                <a:moveTo>
                  <a:pt x="4978" y="7531"/>
                </a:moveTo>
                <a:cubicBezTo>
                  <a:pt x="5167" y="7657"/>
                  <a:pt x="5356" y="7720"/>
                  <a:pt x="5608" y="7814"/>
                </a:cubicBezTo>
                <a:lnTo>
                  <a:pt x="5608" y="8665"/>
                </a:lnTo>
                <a:lnTo>
                  <a:pt x="4663" y="9137"/>
                </a:lnTo>
                <a:lnTo>
                  <a:pt x="4348" y="8161"/>
                </a:lnTo>
                <a:lnTo>
                  <a:pt x="4978" y="7531"/>
                </a:lnTo>
                <a:close/>
                <a:moveTo>
                  <a:pt x="6931" y="7531"/>
                </a:moveTo>
                <a:lnTo>
                  <a:pt x="7561" y="8161"/>
                </a:lnTo>
                <a:lnTo>
                  <a:pt x="7246" y="9137"/>
                </a:lnTo>
                <a:lnTo>
                  <a:pt x="6301" y="8665"/>
                </a:lnTo>
                <a:lnTo>
                  <a:pt x="6301" y="7814"/>
                </a:lnTo>
                <a:cubicBezTo>
                  <a:pt x="6553" y="7751"/>
                  <a:pt x="6742" y="7688"/>
                  <a:pt x="6931" y="7531"/>
                </a:cubicBezTo>
                <a:close/>
                <a:moveTo>
                  <a:pt x="8507" y="8602"/>
                </a:moveTo>
                <a:lnTo>
                  <a:pt x="9168" y="8822"/>
                </a:lnTo>
                <a:lnTo>
                  <a:pt x="9420" y="9484"/>
                </a:lnTo>
                <a:lnTo>
                  <a:pt x="8759" y="9263"/>
                </a:lnTo>
                <a:lnTo>
                  <a:pt x="8507" y="8602"/>
                </a:lnTo>
                <a:close/>
                <a:moveTo>
                  <a:pt x="3403" y="8633"/>
                </a:moveTo>
                <a:lnTo>
                  <a:pt x="3151" y="9295"/>
                </a:lnTo>
                <a:lnTo>
                  <a:pt x="2489" y="9547"/>
                </a:lnTo>
                <a:lnTo>
                  <a:pt x="2710" y="8854"/>
                </a:lnTo>
                <a:lnTo>
                  <a:pt x="3403" y="8633"/>
                </a:lnTo>
                <a:close/>
                <a:moveTo>
                  <a:pt x="5955" y="9704"/>
                </a:moveTo>
                <a:lnTo>
                  <a:pt x="6270" y="10334"/>
                </a:lnTo>
                <a:lnTo>
                  <a:pt x="5955" y="10965"/>
                </a:lnTo>
                <a:lnTo>
                  <a:pt x="5640" y="10334"/>
                </a:lnTo>
                <a:lnTo>
                  <a:pt x="5955" y="9704"/>
                </a:lnTo>
                <a:close/>
                <a:moveTo>
                  <a:pt x="6018" y="1"/>
                </a:moveTo>
                <a:cubicBezTo>
                  <a:pt x="5923" y="1"/>
                  <a:pt x="5766" y="95"/>
                  <a:pt x="5703" y="190"/>
                </a:cubicBezTo>
                <a:lnTo>
                  <a:pt x="5010" y="1671"/>
                </a:lnTo>
                <a:cubicBezTo>
                  <a:pt x="4978" y="1765"/>
                  <a:pt x="4978" y="1891"/>
                  <a:pt x="5010" y="1986"/>
                </a:cubicBezTo>
                <a:lnTo>
                  <a:pt x="5230" y="2458"/>
                </a:lnTo>
                <a:lnTo>
                  <a:pt x="4758" y="2206"/>
                </a:lnTo>
                <a:cubicBezTo>
                  <a:pt x="4710" y="2190"/>
                  <a:pt x="4655" y="2183"/>
                  <a:pt x="4596" y="2183"/>
                </a:cubicBezTo>
                <a:cubicBezTo>
                  <a:pt x="4537" y="2183"/>
                  <a:pt x="4474" y="2190"/>
                  <a:pt x="4411" y="2206"/>
                </a:cubicBezTo>
                <a:cubicBezTo>
                  <a:pt x="4285" y="2238"/>
                  <a:pt x="4222" y="2332"/>
                  <a:pt x="4190" y="2458"/>
                </a:cubicBezTo>
                <a:lnTo>
                  <a:pt x="4033" y="2962"/>
                </a:lnTo>
                <a:lnTo>
                  <a:pt x="3875" y="2458"/>
                </a:lnTo>
                <a:cubicBezTo>
                  <a:pt x="3812" y="2332"/>
                  <a:pt x="3749" y="2238"/>
                  <a:pt x="3623" y="2206"/>
                </a:cubicBezTo>
                <a:lnTo>
                  <a:pt x="2143" y="1702"/>
                </a:lnTo>
                <a:cubicBezTo>
                  <a:pt x="2109" y="1694"/>
                  <a:pt x="2073" y="1690"/>
                  <a:pt x="2036" y="1690"/>
                </a:cubicBezTo>
                <a:cubicBezTo>
                  <a:pt x="1937" y="1690"/>
                  <a:pt x="1834" y="1719"/>
                  <a:pt x="1765" y="1765"/>
                </a:cubicBezTo>
                <a:cubicBezTo>
                  <a:pt x="1702" y="1860"/>
                  <a:pt x="1670" y="2017"/>
                  <a:pt x="1702" y="2143"/>
                </a:cubicBezTo>
                <a:lnTo>
                  <a:pt x="2206" y="3624"/>
                </a:lnTo>
                <a:cubicBezTo>
                  <a:pt x="2237" y="3750"/>
                  <a:pt x="2332" y="3813"/>
                  <a:pt x="2458" y="3876"/>
                </a:cubicBezTo>
                <a:lnTo>
                  <a:pt x="2962" y="4034"/>
                </a:lnTo>
                <a:lnTo>
                  <a:pt x="2458" y="4191"/>
                </a:lnTo>
                <a:cubicBezTo>
                  <a:pt x="2332" y="4223"/>
                  <a:pt x="2237" y="4286"/>
                  <a:pt x="2206" y="4412"/>
                </a:cubicBezTo>
                <a:cubicBezTo>
                  <a:pt x="2174" y="4538"/>
                  <a:pt x="2143" y="4664"/>
                  <a:pt x="2206" y="4758"/>
                </a:cubicBezTo>
                <a:lnTo>
                  <a:pt x="2458" y="5231"/>
                </a:lnTo>
                <a:lnTo>
                  <a:pt x="1985" y="5010"/>
                </a:lnTo>
                <a:cubicBezTo>
                  <a:pt x="1922" y="4994"/>
                  <a:pt x="1859" y="4987"/>
                  <a:pt x="1804" y="4987"/>
                </a:cubicBezTo>
                <a:cubicBezTo>
                  <a:pt x="1749" y="4987"/>
                  <a:pt x="1702" y="4994"/>
                  <a:pt x="1670" y="5010"/>
                </a:cubicBezTo>
                <a:lnTo>
                  <a:pt x="189" y="5703"/>
                </a:lnTo>
                <a:cubicBezTo>
                  <a:pt x="95" y="5798"/>
                  <a:pt x="0" y="5924"/>
                  <a:pt x="0" y="6018"/>
                </a:cubicBezTo>
                <a:cubicBezTo>
                  <a:pt x="0" y="6144"/>
                  <a:pt x="95" y="6302"/>
                  <a:pt x="189" y="6333"/>
                </a:cubicBezTo>
                <a:lnTo>
                  <a:pt x="1670" y="7058"/>
                </a:lnTo>
                <a:cubicBezTo>
                  <a:pt x="1717" y="7074"/>
                  <a:pt x="1772" y="7082"/>
                  <a:pt x="1828" y="7082"/>
                </a:cubicBezTo>
                <a:cubicBezTo>
                  <a:pt x="1883" y="7082"/>
                  <a:pt x="1938" y="7074"/>
                  <a:pt x="1985" y="7058"/>
                </a:cubicBezTo>
                <a:lnTo>
                  <a:pt x="2458" y="6806"/>
                </a:lnTo>
                <a:lnTo>
                  <a:pt x="2206" y="7279"/>
                </a:lnTo>
                <a:cubicBezTo>
                  <a:pt x="2174" y="7405"/>
                  <a:pt x="2174" y="7531"/>
                  <a:pt x="2206" y="7657"/>
                </a:cubicBezTo>
                <a:cubicBezTo>
                  <a:pt x="2237" y="7751"/>
                  <a:pt x="2332" y="7846"/>
                  <a:pt x="2458" y="7877"/>
                </a:cubicBezTo>
                <a:lnTo>
                  <a:pt x="2962" y="8035"/>
                </a:lnTo>
                <a:lnTo>
                  <a:pt x="2458" y="8192"/>
                </a:lnTo>
                <a:cubicBezTo>
                  <a:pt x="2332" y="8224"/>
                  <a:pt x="2237" y="8318"/>
                  <a:pt x="2206" y="8444"/>
                </a:cubicBezTo>
                <a:lnTo>
                  <a:pt x="1702" y="9925"/>
                </a:lnTo>
                <a:cubicBezTo>
                  <a:pt x="1623" y="10161"/>
                  <a:pt x="1784" y="10397"/>
                  <a:pt x="2004" y="10397"/>
                </a:cubicBezTo>
                <a:cubicBezTo>
                  <a:pt x="2048" y="10397"/>
                  <a:pt x="2095" y="10387"/>
                  <a:pt x="2143" y="10366"/>
                </a:cubicBezTo>
                <a:lnTo>
                  <a:pt x="3623" y="9862"/>
                </a:lnTo>
                <a:cubicBezTo>
                  <a:pt x="3749" y="9799"/>
                  <a:pt x="3812" y="9736"/>
                  <a:pt x="3875" y="9610"/>
                </a:cubicBezTo>
                <a:lnTo>
                  <a:pt x="4033" y="9106"/>
                </a:lnTo>
                <a:lnTo>
                  <a:pt x="4190" y="9610"/>
                </a:lnTo>
                <a:cubicBezTo>
                  <a:pt x="4222" y="9736"/>
                  <a:pt x="4285" y="9799"/>
                  <a:pt x="4411" y="9862"/>
                </a:cubicBezTo>
                <a:cubicBezTo>
                  <a:pt x="4484" y="9880"/>
                  <a:pt x="4556" y="9898"/>
                  <a:pt x="4623" y="9898"/>
                </a:cubicBezTo>
                <a:cubicBezTo>
                  <a:pt x="4672" y="9898"/>
                  <a:pt x="4718" y="9889"/>
                  <a:pt x="4758" y="9862"/>
                </a:cubicBezTo>
                <a:lnTo>
                  <a:pt x="5230" y="9610"/>
                </a:lnTo>
                <a:lnTo>
                  <a:pt x="5010" y="10082"/>
                </a:lnTo>
                <a:cubicBezTo>
                  <a:pt x="4978" y="10208"/>
                  <a:pt x="4978" y="10334"/>
                  <a:pt x="5010" y="10398"/>
                </a:cubicBezTo>
                <a:lnTo>
                  <a:pt x="5703" y="11847"/>
                </a:lnTo>
                <a:cubicBezTo>
                  <a:pt x="5797" y="11973"/>
                  <a:pt x="5923" y="12067"/>
                  <a:pt x="6018" y="12067"/>
                </a:cubicBezTo>
                <a:cubicBezTo>
                  <a:pt x="6144" y="12067"/>
                  <a:pt x="6301" y="11973"/>
                  <a:pt x="6333" y="11847"/>
                </a:cubicBezTo>
                <a:lnTo>
                  <a:pt x="7057" y="10398"/>
                </a:lnTo>
                <a:cubicBezTo>
                  <a:pt x="7089" y="10271"/>
                  <a:pt x="7089" y="10177"/>
                  <a:pt x="7057" y="10082"/>
                </a:cubicBezTo>
                <a:lnTo>
                  <a:pt x="6805" y="9610"/>
                </a:lnTo>
                <a:lnTo>
                  <a:pt x="7278" y="9862"/>
                </a:lnTo>
                <a:cubicBezTo>
                  <a:pt x="7341" y="9878"/>
                  <a:pt x="7404" y="9886"/>
                  <a:pt x="7467" y="9886"/>
                </a:cubicBezTo>
                <a:cubicBezTo>
                  <a:pt x="7530" y="9886"/>
                  <a:pt x="7593" y="9878"/>
                  <a:pt x="7656" y="9862"/>
                </a:cubicBezTo>
                <a:cubicBezTo>
                  <a:pt x="7750" y="9799"/>
                  <a:pt x="7845" y="9736"/>
                  <a:pt x="7877" y="9610"/>
                </a:cubicBezTo>
                <a:lnTo>
                  <a:pt x="8034" y="9106"/>
                </a:lnTo>
                <a:lnTo>
                  <a:pt x="8192" y="9610"/>
                </a:lnTo>
                <a:cubicBezTo>
                  <a:pt x="8223" y="9736"/>
                  <a:pt x="8318" y="9799"/>
                  <a:pt x="8444" y="9862"/>
                </a:cubicBezTo>
                <a:lnTo>
                  <a:pt x="9924" y="10366"/>
                </a:lnTo>
                <a:cubicBezTo>
                  <a:pt x="9957" y="10373"/>
                  <a:pt x="9990" y="10377"/>
                  <a:pt x="10023" y="10377"/>
                </a:cubicBezTo>
                <a:cubicBezTo>
                  <a:pt x="10268" y="10377"/>
                  <a:pt x="10477" y="10175"/>
                  <a:pt x="10365" y="9925"/>
                </a:cubicBezTo>
                <a:lnTo>
                  <a:pt x="9861" y="8444"/>
                </a:lnTo>
                <a:cubicBezTo>
                  <a:pt x="9798" y="8318"/>
                  <a:pt x="9735" y="8224"/>
                  <a:pt x="9609" y="8192"/>
                </a:cubicBezTo>
                <a:lnTo>
                  <a:pt x="9105" y="8035"/>
                </a:lnTo>
                <a:lnTo>
                  <a:pt x="9609" y="7877"/>
                </a:lnTo>
                <a:cubicBezTo>
                  <a:pt x="9735" y="7846"/>
                  <a:pt x="9798" y="7751"/>
                  <a:pt x="9861" y="7657"/>
                </a:cubicBezTo>
                <a:cubicBezTo>
                  <a:pt x="9893" y="7531"/>
                  <a:pt x="9924" y="7405"/>
                  <a:pt x="9861" y="7279"/>
                </a:cubicBezTo>
                <a:lnTo>
                  <a:pt x="9609" y="6806"/>
                </a:lnTo>
                <a:lnTo>
                  <a:pt x="10082" y="7058"/>
                </a:lnTo>
                <a:cubicBezTo>
                  <a:pt x="10145" y="7074"/>
                  <a:pt x="10208" y="7082"/>
                  <a:pt x="10263" y="7082"/>
                </a:cubicBezTo>
                <a:cubicBezTo>
                  <a:pt x="10318" y="7082"/>
                  <a:pt x="10365" y="7074"/>
                  <a:pt x="10397" y="7058"/>
                </a:cubicBezTo>
                <a:lnTo>
                  <a:pt x="11846" y="6333"/>
                </a:lnTo>
                <a:cubicBezTo>
                  <a:pt x="11972" y="6270"/>
                  <a:pt x="12067" y="6144"/>
                  <a:pt x="12067" y="6018"/>
                </a:cubicBezTo>
                <a:cubicBezTo>
                  <a:pt x="12067" y="5924"/>
                  <a:pt x="11972" y="5766"/>
                  <a:pt x="11846" y="5703"/>
                </a:cubicBezTo>
                <a:lnTo>
                  <a:pt x="10397" y="5010"/>
                </a:lnTo>
                <a:cubicBezTo>
                  <a:pt x="10334" y="4994"/>
                  <a:pt x="10279" y="4987"/>
                  <a:pt x="10228" y="4987"/>
                </a:cubicBezTo>
                <a:cubicBezTo>
                  <a:pt x="10176" y="4987"/>
                  <a:pt x="10129" y="4994"/>
                  <a:pt x="10082" y="5010"/>
                </a:cubicBezTo>
                <a:lnTo>
                  <a:pt x="9609" y="5231"/>
                </a:lnTo>
                <a:lnTo>
                  <a:pt x="9861" y="4758"/>
                </a:lnTo>
                <a:cubicBezTo>
                  <a:pt x="9893" y="4664"/>
                  <a:pt x="9893" y="4538"/>
                  <a:pt x="9861" y="4412"/>
                </a:cubicBezTo>
                <a:cubicBezTo>
                  <a:pt x="9798" y="4286"/>
                  <a:pt x="9735" y="4223"/>
                  <a:pt x="9609" y="4191"/>
                </a:cubicBezTo>
                <a:lnTo>
                  <a:pt x="9105" y="4034"/>
                </a:lnTo>
                <a:lnTo>
                  <a:pt x="9609" y="3876"/>
                </a:lnTo>
                <a:cubicBezTo>
                  <a:pt x="9735" y="3813"/>
                  <a:pt x="9798" y="3750"/>
                  <a:pt x="9861" y="3624"/>
                </a:cubicBezTo>
                <a:lnTo>
                  <a:pt x="10365" y="2143"/>
                </a:lnTo>
                <a:cubicBezTo>
                  <a:pt x="10397" y="2017"/>
                  <a:pt x="10365" y="1860"/>
                  <a:pt x="10271" y="1765"/>
                </a:cubicBezTo>
                <a:cubicBezTo>
                  <a:pt x="10226" y="1721"/>
                  <a:pt x="10135" y="1676"/>
                  <a:pt x="10040" y="1676"/>
                </a:cubicBezTo>
                <a:cubicBezTo>
                  <a:pt x="10001" y="1676"/>
                  <a:pt x="9961" y="1684"/>
                  <a:pt x="9924" y="1702"/>
                </a:cubicBezTo>
                <a:lnTo>
                  <a:pt x="8444" y="2206"/>
                </a:lnTo>
                <a:cubicBezTo>
                  <a:pt x="8318" y="2238"/>
                  <a:pt x="8223" y="2332"/>
                  <a:pt x="8192" y="2458"/>
                </a:cubicBezTo>
                <a:lnTo>
                  <a:pt x="8034" y="2962"/>
                </a:lnTo>
                <a:lnTo>
                  <a:pt x="7877" y="2458"/>
                </a:lnTo>
                <a:cubicBezTo>
                  <a:pt x="7845" y="2332"/>
                  <a:pt x="7750" y="2238"/>
                  <a:pt x="7656" y="2206"/>
                </a:cubicBezTo>
                <a:cubicBezTo>
                  <a:pt x="7583" y="2188"/>
                  <a:pt x="7510" y="2170"/>
                  <a:pt x="7438" y="2170"/>
                </a:cubicBezTo>
                <a:cubicBezTo>
                  <a:pt x="7384" y="2170"/>
                  <a:pt x="7331" y="2180"/>
                  <a:pt x="7278" y="2206"/>
                </a:cubicBezTo>
                <a:lnTo>
                  <a:pt x="6805" y="2458"/>
                </a:lnTo>
                <a:lnTo>
                  <a:pt x="7057" y="1986"/>
                </a:lnTo>
                <a:cubicBezTo>
                  <a:pt x="7089" y="1860"/>
                  <a:pt x="7089" y="1734"/>
                  <a:pt x="7057" y="1671"/>
                </a:cubicBezTo>
                <a:lnTo>
                  <a:pt x="6333" y="190"/>
                </a:lnTo>
                <a:cubicBezTo>
                  <a:pt x="6270" y="95"/>
                  <a:pt x="6144" y="1"/>
                  <a:pt x="6018"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nvGrpSpPr>
          <p:cNvPr id="11057" name="Google Shape;11057;p114"/>
          <p:cNvGrpSpPr/>
          <p:nvPr/>
        </p:nvGrpSpPr>
        <p:grpSpPr>
          <a:xfrm>
            <a:off x="6574978" y="4592867"/>
            <a:ext cx="635105" cy="633448"/>
            <a:chOff x="-15719925" y="2416825"/>
            <a:chExt cx="306400" cy="305600"/>
          </a:xfrm>
        </p:grpSpPr>
        <p:sp>
          <p:nvSpPr>
            <p:cNvPr id="11058" name="Google Shape;11058;p114"/>
            <p:cNvSpPr/>
            <p:nvPr/>
          </p:nvSpPr>
          <p:spPr>
            <a:xfrm>
              <a:off x="-15719925" y="2416825"/>
              <a:ext cx="306400" cy="305600"/>
            </a:xfrm>
            <a:custGeom>
              <a:avLst/>
              <a:gdLst/>
              <a:ahLst/>
              <a:cxnLst/>
              <a:rect l="l" t="t" r="r" b="b"/>
              <a:pathLst>
                <a:path w="12256" h="12224" extrusionOk="0">
                  <a:moveTo>
                    <a:pt x="6648" y="756"/>
                  </a:moveTo>
                  <a:lnTo>
                    <a:pt x="8002" y="3466"/>
                  </a:lnTo>
                  <a:cubicBezTo>
                    <a:pt x="8034" y="3560"/>
                    <a:pt x="8065" y="3592"/>
                    <a:pt x="8160" y="3623"/>
                  </a:cubicBezTo>
                  <a:lnTo>
                    <a:pt x="9451" y="4316"/>
                  </a:lnTo>
                  <a:lnTo>
                    <a:pt x="10617" y="7246"/>
                  </a:lnTo>
                  <a:lnTo>
                    <a:pt x="7845" y="7246"/>
                  </a:lnTo>
                  <a:lnTo>
                    <a:pt x="7215" y="5356"/>
                  </a:lnTo>
                  <a:cubicBezTo>
                    <a:pt x="7135" y="5198"/>
                    <a:pt x="6990" y="5128"/>
                    <a:pt x="6852" y="5128"/>
                  </a:cubicBezTo>
                  <a:cubicBezTo>
                    <a:pt x="6826" y="5128"/>
                    <a:pt x="6799" y="5130"/>
                    <a:pt x="6774" y="5135"/>
                  </a:cubicBezTo>
                  <a:cubicBezTo>
                    <a:pt x="6616" y="5167"/>
                    <a:pt x="6490" y="5419"/>
                    <a:pt x="6522" y="5576"/>
                  </a:cubicBezTo>
                  <a:lnTo>
                    <a:pt x="7089" y="7215"/>
                  </a:lnTo>
                  <a:lnTo>
                    <a:pt x="5167" y="7215"/>
                  </a:lnTo>
                  <a:lnTo>
                    <a:pt x="5797" y="4064"/>
                  </a:lnTo>
                  <a:cubicBezTo>
                    <a:pt x="5828" y="3875"/>
                    <a:pt x="5702" y="3686"/>
                    <a:pt x="5513" y="3623"/>
                  </a:cubicBezTo>
                  <a:cubicBezTo>
                    <a:pt x="5494" y="3620"/>
                    <a:pt x="5474" y="3618"/>
                    <a:pt x="5454" y="3618"/>
                  </a:cubicBezTo>
                  <a:cubicBezTo>
                    <a:pt x="5281" y="3618"/>
                    <a:pt x="5101" y="3737"/>
                    <a:pt x="5072" y="3907"/>
                  </a:cubicBezTo>
                  <a:lnTo>
                    <a:pt x="4411" y="7183"/>
                  </a:lnTo>
                  <a:lnTo>
                    <a:pt x="1607" y="7183"/>
                  </a:lnTo>
                  <a:lnTo>
                    <a:pt x="2142" y="4946"/>
                  </a:lnTo>
                  <a:lnTo>
                    <a:pt x="3466" y="4316"/>
                  </a:lnTo>
                  <a:cubicBezTo>
                    <a:pt x="3529" y="4253"/>
                    <a:pt x="3560" y="4222"/>
                    <a:pt x="3623" y="4159"/>
                  </a:cubicBezTo>
                  <a:lnTo>
                    <a:pt x="4253" y="2930"/>
                  </a:lnTo>
                  <a:lnTo>
                    <a:pt x="6175" y="2930"/>
                  </a:lnTo>
                  <a:cubicBezTo>
                    <a:pt x="6364" y="2930"/>
                    <a:pt x="6522" y="2772"/>
                    <a:pt x="6522" y="2583"/>
                  </a:cubicBezTo>
                  <a:cubicBezTo>
                    <a:pt x="6522" y="2363"/>
                    <a:pt x="6364" y="2205"/>
                    <a:pt x="6175" y="2205"/>
                  </a:cubicBezTo>
                  <a:lnTo>
                    <a:pt x="5230" y="2205"/>
                  </a:lnTo>
                  <a:lnTo>
                    <a:pt x="5702" y="756"/>
                  </a:lnTo>
                  <a:close/>
                  <a:moveTo>
                    <a:pt x="10397" y="7876"/>
                  </a:moveTo>
                  <a:lnTo>
                    <a:pt x="9830" y="8601"/>
                  </a:lnTo>
                  <a:lnTo>
                    <a:pt x="8916" y="8601"/>
                  </a:lnTo>
                  <a:cubicBezTo>
                    <a:pt x="8727" y="8601"/>
                    <a:pt x="8569" y="8758"/>
                    <a:pt x="8569" y="8947"/>
                  </a:cubicBezTo>
                  <a:cubicBezTo>
                    <a:pt x="8664" y="9199"/>
                    <a:pt x="8821" y="9357"/>
                    <a:pt x="9010" y="9357"/>
                  </a:cubicBezTo>
                  <a:lnTo>
                    <a:pt x="9357" y="9357"/>
                  </a:lnTo>
                  <a:lnTo>
                    <a:pt x="8821" y="10050"/>
                  </a:lnTo>
                  <a:lnTo>
                    <a:pt x="7561" y="10050"/>
                  </a:lnTo>
                  <a:cubicBezTo>
                    <a:pt x="7435" y="10050"/>
                    <a:pt x="7278" y="10145"/>
                    <a:pt x="7246" y="10239"/>
                  </a:cubicBezTo>
                  <a:lnTo>
                    <a:pt x="6616" y="11468"/>
                  </a:lnTo>
                  <a:lnTo>
                    <a:pt x="5576" y="11468"/>
                  </a:lnTo>
                  <a:lnTo>
                    <a:pt x="5041" y="10775"/>
                  </a:lnTo>
                  <a:lnTo>
                    <a:pt x="6080" y="10775"/>
                  </a:lnTo>
                  <a:cubicBezTo>
                    <a:pt x="6301" y="10775"/>
                    <a:pt x="6459" y="10617"/>
                    <a:pt x="6459" y="10397"/>
                  </a:cubicBezTo>
                  <a:cubicBezTo>
                    <a:pt x="6459" y="10208"/>
                    <a:pt x="6301" y="10050"/>
                    <a:pt x="6080" y="10050"/>
                  </a:cubicBezTo>
                  <a:lnTo>
                    <a:pt x="4474" y="10050"/>
                  </a:lnTo>
                  <a:lnTo>
                    <a:pt x="3529" y="8758"/>
                  </a:lnTo>
                  <a:cubicBezTo>
                    <a:pt x="3466" y="8664"/>
                    <a:pt x="3371" y="8601"/>
                    <a:pt x="3245" y="8601"/>
                  </a:cubicBezTo>
                  <a:lnTo>
                    <a:pt x="2048" y="8601"/>
                  </a:lnTo>
                  <a:lnTo>
                    <a:pt x="1670" y="7876"/>
                  </a:lnTo>
                  <a:close/>
                  <a:moveTo>
                    <a:pt x="5419" y="0"/>
                  </a:moveTo>
                  <a:cubicBezTo>
                    <a:pt x="5261" y="0"/>
                    <a:pt x="5135" y="126"/>
                    <a:pt x="5072" y="252"/>
                  </a:cubicBezTo>
                  <a:lnTo>
                    <a:pt x="4442" y="2174"/>
                  </a:lnTo>
                  <a:lnTo>
                    <a:pt x="3970" y="2174"/>
                  </a:lnTo>
                  <a:cubicBezTo>
                    <a:pt x="3844" y="2174"/>
                    <a:pt x="3686" y="2237"/>
                    <a:pt x="3655" y="2363"/>
                  </a:cubicBezTo>
                  <a:lnTo>
                    <a:pt x="2993" y="3718"/>
                  </a:lnTo>
                  <a:lnTo>
                    <a:pt x="1638" y="4379"/>
                  </a:lnTo>
                  <a:cubicBezTo>
                    <a:pt x="1575" y="4411"/>
                    <a:pt x="1481" y="4505"/>
                    <a:pt x="1449" y="4600"/>
                  </a:cubicBezTo>
                  <a:lnTo>
                    <a:pt x="819" y="7215"/>
                  </a:lnTo>
                  <a:lnTo>
                    <a:pt x="347" y="7215"/>
                  </a:lnTo>
                  <a:cubicBezTo>
                    <a:pt x="158" y="7215"/>
                    <a:pt x="0" y="7372"/>
                    <a:pt x="0" y="7561"/>
                  </a:cubicBezTo>
                  <a:cubicBezTo>
                    <a:pt x="0" y="7750"/>
                    <a:pt x="158" y="7908"/>
                    <a:pt x="347" y="7908"/>
                  </a:cubicBezTo>
                  <a:lnTo>
                    <a:pt x="851" y="7908"/>
                  </a:lnTo>
                  <a:lnTo>
                    <a:pt x="1481" y="9136"/>
                  </a:lnTo>
                  <a:cubicBezTo>
                    <a:pt x="1575" y="9262"/>
                    <a:pt x="1670" y="9325"/>
                    <a:pt x="1796" y="9325"/>
                  </a:cubicBezTo>
                  <a:lnTo>
                    <a:pt x="3056" y="9325"/>
                  </a:lnTo>
                  <a:lnTo>
                    <a:pt x="3623" y="10050"/>
                  </a:lnTo>
                  <a:lnTo>
                    <a:pt x="2552" y="10050"/>
                  </a:lnTo>
                  <a:cubicBezTo>
                    <a:pt x="2363" y="10050"/>
                    <a:pt x="2205" y="10208"/>
                    <a:pt x="2205" y="10397"/>
                  </a:cubicBezTo>
                  <a:cubicBezTo>
                    <a:pt x="2205" y="10617"/>
                    <a:pt x="2363" y="10775"/>
                    <a:pt x="2552" y="10775"/>
                  </a:cubicBezTo>
                  <a:lnTo>
                    <a:pt x="4159" y="10775"/>
                  </a:lnTo>
                  <a:lnTo>
                    <a:pt x="5104" y="12066"/>
                  </a:lnTo>
                  <a:cubicBezTo>
                    <a:pt x="5198" y="12129"/>
                    <a:pt x="5261" y="12224"/>
                    <a:pt x="5387" y="12224"/>
                  </a:cubicBezTo>
                  <a:lnTo>
                    <a:pt x="6805" y="12224"/>
                  </a:lnTo>
                  <a:cubicBezTo>
                    <a:pt x="6931" y="12224"/>
                    <a:pt x="7089" y="12129"/>
                    <a:pt x="7120" y="12035"/>
                  </a:cubicBezTo>
                  <a:lnTo>
                    <a:pt x="7750" y="10806"/>
                  </a:lnTo>
                  <a:lnTo>
                    <a:pt x="8979" y="10806"/>
                  </a:lnTo>
                  <a:cubicBezTo>
                    <a:pt x="9073" y="10806"/>
                    <a:pt x="9199" y="10775"/>
                    <a:pt x="9231" y="10649"/>
                  </a:cubicBezTo>
                  <a:lnTo>
                    <a:pt x="10176" y="9357"/>
                  </a:lnTo>
                  <a:lnTo>
                    <a:pt x="11184" y="9357"/>
                  </a:lnTo>
                  <a:cubicBezTo>
                    <a:pt x="11373" y="9357"/>
                    <a:pt x="11531" y="9199"/>
                    <a:pt x="11531" y="8979"/>
                  </a:cubicBezTo>
                  <a:cubicBezTo>
                    <a:pt x="11531" y="8790"/>
                    <a:pt x="11373" y="8632"/>
                    <a:pt x="11184" y="8632"/>
                  </a:cubicBezTo>
                  <a:lnTo>
                    <a:pt x="10775" y="8632"/>
                  </a:lnTo>
                  <a:lnTo>
                    <a:pt x="11342" y="7908"/>
                  </a:lnTo>
                  <a:lnTo>
                    <a:pt x="11877" y="7908"/>
                  </a:lnTo>
                  <a:cubicBezTo>
                    <a:pt x="12098" y="7908"/>
                    <a:pt x="12255" y="7750"/>
                    <a:pt x="12255" y="7561"/>
                  </a:cubicBezTo>
                  <a:cubicBezTo>
                    <a:pt x="12255" y="7372"/>
                    <a:pt x="12098" y="7215"/>
                    <a:pt x="11877" y="7215"/>
                  </a:cubicBezTo>
                  <a:lnTo>
                    <a:pt x="11373" y="7215"/>
                  </a:lnTo>
                  <a:lnTo>
                    <a:pt x="10019" y="3875"/>
                  </a:lnTo>
                  <a:cubicBezTo>
                    <a:pt x="9987" y="3781"/>
                    <a:pt x="9956" y="3718"/>
                    <a:pt x="9861" y="3655"/>
                  </a:cubicBezTo>
                  <a:lnTo>
                    <a:pt x="8538" y="2993"/>
                  </a:lnTo>
                  <a:lnTo>
                    <a:pt x="7152" y="189"/>
                  </a:lnTo>
                  <a:cubicBezTo>
                    <a:pt x="7089" y="95"/>
                    <a:pt x="6963" y="0"/>
                    <a:pt x="6837"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1059" name="Google Shape;11059;p114"/>
            <p:cNvSpPr/>
            <p:nvPr/>
          </p:nvSpPr>
          <p:spPr>
            <a:xfrm>
              <a:off x="-15467900" y="2686175"/>
              <a:ext cx="53575" cy="17350"/>
            </a:xfrm>
            <a:custGeom>
              <a:avLst/>
              <a:gdLst/>
              <a:ahLst/>
              <a:cxnLst/>
              <a:rect l="l" t="t" r="r" b="b"/>
              <a:pathLst>
                <a:path w="2143" h="694" extrusionOk="0">
                  <a:moveTo>
                    <a:pt x="347" y="1"/>
                  </a:moveTo>
                  <a:cubicBezTo>
                    <a:pt x="158" y="1"/>
                    <a:pt x="1" y="158"/>
                    <a:pt x="1" y="347"/>
                  </a:cubicBezTo>
                  <a:cubicBezTo>
                    <a:pt x="1" y="536"/>
                    <a:pt x="158" y="694"/>
                    <a:pt x="347" y="694"/>
                  </a:cubicBezTo>
                  <a:lnTo>
                    <a:pt x="1796" y="694"/>
                  </a:lnTo>
                  <a:cubicBezTo>
                    <a:pt x="1985" y="694"/>
                    <a:pt x="2143" y="536"/>
                    <a:pt x="2143" y="347"/>
                  </a:cubicBezTo>
                  <a:cubicBezTo>
                    <a:pt x="2143" y="158"/>
                    <a:pt x="1985" y="1"/>
                    <a:pt x="1796"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1060" name="Google Shape;11060;p114"/>
            <p:cNvSpPr/>
            <p:nvPr/>
          </p:nvSpPr>
          <p:spPr>
            <a:xfrm>
              <a:off x="-15718350" y="2703500"/>
              <a:ext cx="54350" cy="18150"/>
            </a:xfrm>
            <a:custGeom>
              <a:avLst/>
              <a:gdLst/>
              <a:ahLst/>
              <a:cxnLst/>
              <a:rect l="l" t="t" r="r" b="b"/>
              <a:pathLst>
                <a:path w="2174" h="726" extrusionOk="0">
                  <a:moveTo>
                    <a:pt x="347" y="1"/>
                  </a:moveTo>
                  <a:cubicBezTo>
                    <a:pt x="158" y="1"/>
                    <a:pt x="0" y="158"/>
                    <a:pt x="0" y="347"/>
                  </a:cubicBezTo>
                  <a:cubicBezTo>
                    <a:pt x="0" y="568"/>
                    <a:pt x="158" y="725"/>
                    <a:pt x="347" y="725"/>
                  </a:cubicBezTo>
                  <a:lnTo>
                    <a:pt x="1827" y="725"/>
                  </a:lnTo>
                  <a:cubicBezTo>
                    <a:pt x="2016" y="725"/>
                    <a:pt x="2174" y="568"/>
                    <a:pt x="2174" y="347"/>
                  </a:cubicBezTo>
                  <a:cubicBezTo>
                    <a:pt x="2174" y="158"/>
                    <a:pt x="2016" y="1"/>
                    <a:pt x="1827"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sp>
        <p:nvSpPr>
          <p:cNvPr id="11061" name="Google Shape;11061;p114"/>
          <p:cNvSpPr/>
          <p:nvPr/>
        </p:nvSpPr>
        <p:spPr>
          <a:xfrm>
            <a:off x="2690011" y="2250060"/>
            <a:ext cx="636712" cy="634328"/>
          </a:xfrm>
          <a:custGeom>
            <a:avLst/>
            <a:gdLst/>
            <a:ahLst/>
            <a:cxnLst/>
            <a:rect l="l" t="t" r="r" b="b"/>
            <a:pathLst>
              <a:path w="12287" h="12241" extrusionOk="0">
                <a:moveTo>
                  <a:pt x="6207" y="1056"/>
                </a:moveTo>
                <a:lnTo>
                  <a:pt x="6553" y="1560"/>
                </a:lnTo>
                <a:cubicBezTo>
                  <a:pt x="6994" y="2253"/>
                  <a:pt x="7656" y="2663"/>
                  <a:pt x="8443" y="2820"/>
                </a:cubicBezTo>
                <a:cubicBezTo>
                  <a:pt x="8191" y="3261"/>
                  <a:pt x="8097" y="3765"/>
                  <a:pt x="8002" y="4332"/>
                </a:cubicBezTo>
                <a:cubicBezTo>
                  <a:pt x="7939" y="5152"/>
                  <a:pt x="8097" y="5939"/>
                  <a:pt x="8443" y="6506"/>
                </a:cubicBezTo>
                <a:cubicBezTo>
                  <a:pt x="8498" y="6588"/>
                  <a:pt x="8623" y="6670"/>
                  <a:pt x="8758" y="6670"/>
                </a:cubicBezTo>
                <a:cubicBezTo>
                  <a:pt x="8779" y="6670"/>
                  <a:pt x="8800" y="6668"/>
                  <a:pt x="8821" y="6664"/>
                </a:cubicBezTo>
                <a:cubicBezTo>
                  <a:pt x="9420" y="6506"/>
                  <a:pt x="9924" y="6223"/>
                  <a:pt x="10365" y="5908"/>
                </a:cubicBezTo>
                <a:cubicBezTo>
                  <a:pt x="10680" y="6254"/>
                  <a:pt x="11090" y="6569"/>
                  <a:pt x="11499" y="6853"/>
                </a:cubicBezTo>
                <a:cubicBezTo>
                  <a:pt x="11279" y="7325"/>
                  <a:pt x="11153" y="7798"/>
                  <a:pt x="11153" y="8271"/>
                </a:cubicBezTo>
                <a:cubicBezTo>
                  <a:pt x="10586" y="8302"/>
                  <a:pt x="10082" y="8428"/>
                  <a:pt x="9578" y="8617"/>
                </a:cubicBezTo>
                <a:cubicBezTo>
                  <a:pt x="9389" y="8712"/>
                  <a:pt x="9294" y="8932"/>
                  <a:pt x="9389" y="9090"/>
                </a:cubicBezTo>
                <a:lnTo>
                  <a:pt x="9704" y="9751"/>
                </a:lnTo>
                <a:lnTo>
                  <a:pt x="7183" y="8932"/>
                </a:lnTo>
                <a:lnTo>
                  <a:pt x="9861" y="7861"/>
                </a:lnTo>
                <a:cubicBezTo>
                  <a:pt x="10050" y="7798"/>
                  <a:pt x="10145" y="7609"/>
                  <a:pt x="10050" y="7388"/>
                </a:cubicBezTo>
                <a:cubicBezTo>
                  <a:pt x="10003" y="7247"/>
                  <a:pt x="9867" y="7176"/>
                  <a:pt x="9722" y="7176"/>
                </a:cubicBezTo>
                <a:cubicBezTo>
                  <a:pt x="9674" y="7176"/>
                  <a:pt x="9625" y="7184"/>
                  <a:pt x="9578" y="7199"/>
                </a:cubicBezTo>
                <a:lnTo>
                  <a:pt x="6522" y="8428"/>
                </a:lnTo>
                <a:lnTo>
                  <a:pt x="6522" y="3986"/>
                </a:lnTo>
                <a:cubicBezTo>
                  <a:pt x="6522" y="3765"/>
                  <a:pt x="6364" y="3608"/>
                  <a:pt x="6144" y="3608"/>
                </a:cubicBezTo>
                <a:cubicBezTo>
                  <a:pt x="5955" y="3608"/>
                  <a:pt x="5797" y="3765"/>
                  <a:pt x="5797" y="3986"/>
                </a:cubicBezTo>
                <a:lnTo>
                  <a:pt x="5797" y="8428"/>
                </a:lnTo>
                <a:lnTo>
                  <a:pt x="2710" y="7199"/>
                </a:lnTo>
                <a:cubicBezTo>
                  <a:pt x="2662" y="7184"/>
                  <a:pt x="2615" y="7176"/>
                  <a:pt x="2570" y="7176"/>
                </a:cubicBezTo>
                <a:cubicBezTo>
                  <a:pt x="2434" y="7176"/>
                  <a:pt x="2316" y="7247"/>
                  <a:pt x="2268" y="7388"/>
                </a:cubicBezTo>
                <a:cubicBezTo>
                  <a:pt x="2174" y="7609"/>
                  <a:pt x="2268" y="7798"/>
                  <a:pt x="2457" y="7861"/>
                </a:cubicBezTo>
                <a:lnTo>
                  <a:pt x="5135" y="8932"/>
                </a:lnTo>
                <a:lnTo>
                  <a:pt x="2615" y="9751"/>
                </a:lnTo>
                <a:lnTo>
                  <a:pt x="2930" y="9090"/>
                </a:lnTo>
                <a:cubicBezTo>
                  <a:pt x="2993" y="8901"/>
                  <a:pt x="2930" y="8712"/>
                  <a:pt x="2741" y="8617"/>
                </a:cubicBezTo>
                <a:cubicBezTo>
                  <a:pt x="2205" y="8397"/>
                  <a:pt x="1701" y="8271"/>
                  <a:pt x="1166" y="8271"/>
                </a:cubicBezTo>
                <a:cubicBezTo>
                  <a:pt x="1166" y="7798"/>
                  <a:pt x="1040" y="7325"/>
                  <a:pt x="882" y="6853"/>
                </a:cubicBezTo>
                <a:cubicBezTo>
                  <a:pt x="1323" y="6569"/>
                  <a:pt x="1701" y="6254"/>
                  <a:pt x="2016" y="5908"/>
                </a:cubicBezTo>
                <a:cubicBezTo>
                  <a:pt x="2457" y="6254"/>
                  <a:pt x="2962" y="6506"/>
                  <a:pt x="3560" y="6664"/>
                </a:cubicBezTo>
                <a:cubicBezTo>
                  <a:pt x="3596" y="6671"/>
                  <a:pt x="3631" y="6675"/>
                  <a:pt x="3665" y="6675"/>
                </a:cubicBezTo>
                <a:cubicBezTo>
                  <a:pt x="3784" y="6675"/>
                  <a:pt x="3889" y="6628"/>
                  <a:pt x="3938" y="6506"/>
                </a:cubicBezTo>
                <a:cubicBezTo>
                  <a:pt x="4316" y="5939"/>
                  <a:pt x="4411" y="5152"/>
                  <a:pt x="4379" y="4332"/>
                </a:cubicBezTo>
                <a:cubicBezTo>
                  <a:pt x="4348" y="3734"/>
                  <a:pt x="4190" y="3230"/>
                  <a:pt x="3938" y="2820"/>
                </a:cubicBezTo>
                <a:cubicBezTo>
                  <a:pt x="4694" y="2663"/>
                  <a:pt x="5356" y="2190"/>
                  <a:pt x="5828" y="1560"/>
                </a:cubicBezTo>
                <a:lnTo>
                  <a:pt x="6207" y="1056"/>
                </a:lnTo>
                <a:close/>
                <a:moveTo>
                  <a:pt x="6116" y="1"/>
                </a:moveTo>
                <a:cubicBezTo>
                  <a:pt x="6002" y="1"/>
                  <a:pt x="5892" y="48"/>
                  <a:pt x="5828" y="142"/>
                </a:cubicBezTo>
                <a:lnTo>
                  <a:pt x="5198" y="1150"/>
                </a:lnTo>
                <a:cubicBezTo>
                  <a:pt x="4789" y="1781"/>
                  <a:pt x="4064" y="2159"/>
                  <a:pt x="3277" y="2159"/>
                </a:cubicBezTo>
                <a:cubicBezTo>
                  <a:pt x="2962" y="2159"/>
                  <a:pt x="2804" y="2568"/>
                  <a:pt x="3056" y="2757"/>
                </a:cubicBezTo>
                <a:cubicBezTo>
                  <a:pt x="3371" y="3072"/>
                  <a:pt x="3592" y="3671"/>
                  <a:pt x="3623" y="4364"/>
                </a:cubicBezTo>
                <a:cubicBezTo>
                  <a:pt x="3686" y="4931"/>
                  <a:pt x="3592" y="5467"/>
                  <a:pt x="3434" y="5876"/>
                </a:cubicBezTo>
                <a:cubicBezTo>
                  <a:pt x="2962" y="5719"/>
                  <a:pt x="2520" y="5435"/>
                  <a:pt x="2174" y="5120"/>
                </a:cubicBezTo>
                <a:cubicBezTo>
                  <a:pt x="2103" y="5049"/>
                  <a:pt x="2019" y="5016"/>
                  <a:pt x="1937" y="5016"/>
                </a:cubicBezTo>
                <a:cubicBezTo>
                  <a:pt x="1837" y="5016"/>
                  <a:pt x="1739" y="5065"/>
                  <a:pt x="1670" y="5152"/>
                </a:cubicBezTo>
                <a:cubicBezTo>
                  <a:pt x="1323" y="5624"/>
                  <a:pt x="851" y="6065"/>
                  <a:pt x="252" y="6349"/>
                </a:cubicBezTo>
                <a:cubicBezTo>
                  <a:pt x="95" y="6412"/>
                  <a:pt x="0" y="6601"/>
                  <a:pt x="95" y="6790"/>
                </a:cubicBezTo>
                <a:cubicBezTo>
                  <a:pt x="347" y="7388"/>
                  <a:pt x="441" y="8018"/>
                  <a:pt x="410" y="8586"/>
                </a:cubicBezTo>
                <a:cubicBezTo>
                  <a:pt x="410" y="8712"/>
                  <a:pt x="441" y="8775"/>
                  <a:pt x="536" y="8838"/>
                </a:cubicBezTo>
                <a:cubicBezTo>
                  <a:pt x="630" y="8964"/>
                  <a:pt x="788" y="8964"/>
                  <a:pt x="945" y="8964"/>
                </a:cubicBezTo>
                <a:cubicBezTo>
                  <a:pt x="1355" y="8964"/>
                  <a:pt x="1701" y="9058"/>
                  <a:pt x="2111" y="9153"/>
                </a:cubicBezTo>
                <a:lnTo>
                  <a:pt x="1544" y="10224"/>
                </a:lnTo>
                <a:cubicBezTo>
                  <a:pt x="1406" y="10472"/>
                  <a:pt x="1606" y="10745"/>
                  <a:pt x="1870" y="10745"/>
                </a:cubicBezTo>
                <a:cubicBezTo>
                  <a:pt x="1907" y="10745"/>
                  <a:pt x="1946" y="10740"/>
                  <a:pt x="1985" y="10728"/>
                </a:cubicBezTo>
                <a:lnTo>
                  <a:pt x="5797" y="9499"/>
                </a:lnTo>
                <a:lnTo>
                  <a:pt x="5797" y="11894"/>
                </a:lnTo>
                <a:cubicBezTo>
                  <a:pt x="5797" y="12083"/>
                  <a:pt x="5955" y="12240"/>
                  <a:pt x="6144" y="12240"/>
                </a:cubicBezTo>
                <a:cubicBezTo>
                  <a:pt x="6364" y="12240"/>
                  <a:pt x="6522" y="12083"/>
                  <a:pt x="6522" y="11894"/>
                </a:cubicBezTo>
                <a:lnTo>
                  <a:pt x="6522" y="9499"/>
                </a:lnTo>
                <a:lnTo>
                  <a:pt x="10334" y="10728"/>
                </a:lnTo>
                <a:cubicBezTo>
                  <a:pt x="10382" y="10747"/>
                  <a:pt x="10431" y="10756"/>
                  <a:pt x="10476" y="10756"/>
                </a:cubicBezTo>
                <a:cubicBezTo>
                  <a:pt x="10726" y="10756"/>
                  <a:pt x="10908" y="10490"/>
                  <a:pt x="10775" y="10224"/>
                </a:cubicBezTo>
                <a:lnTo>
                  <a:pt x="10208" y="9153"/>
                </a:lnTo>
                <a:cubicBezTo>
                  <a:pt x="10554" y="9058"/>
                  <a:pt x="10964" y="8964"/>
                  <a:pt x="11342" y="8964"/>
                </a:cubicBezTo>
                <a:cubicBezTo>
                  <a:pt x="11387" y="8964"/>
                  <a:pt x="11432" y="8966"/>
                  <a:pt x="11476" y="8966"/>
                </a:cubicBezTo>
                <a:cubicBezTo>
                  <a:pt x="11587" y="8966"/>
                  <a:pt x="11693" y="8950"/>
                  <a:pt x="11783" y="8838"/>
                </a:cubicBezTo>
                <a:cubicBezTo>
                  <a:pt x="11846" y="8775"/>
                  <a:pt x="11909" y="8680"/>
                  <a:pt x="11909" y="8586"/>
                </a:cubicBezTo>
                <a:cubicBezTo>
                  <a:pt x="11877" y="7987"/>
                  <a:pt x="11972" y="7388"/>
                  <a:pt x="12224" y="6790"/>
                </a:cubicBezTo>
                <a:cubicBezTo>
                  <a:pt x="12287" y="6601"/>
                  <a:pt x="12224" y="6412"/>
                  <a:pt x="12003" y="6349"/>
                </a:cubicBezTo>
                <a:cubicBezTo>
                  <a:pt x="11436" y="6065"/>
                  <a:pt x="10964" y="5624"/>
                  <a:pt x="10586" y="5152"/>
                </a:cubicBezTo>
                <a:cubicBezTo>
                  <a:pt x="10534" y="5065"/>
                  <a:pt x="10434" y="5016"/>
                  <a:pt x="10329" y="5016"/>
                </a:cubicBezTo>
                <a:cubicBezTo>
                  <a:pt x="10243" y="5016"/>
                  <a:pt x="10153" y="5049"/>
                  <a:pt x="10082" y="5120"/>
                </a:cubicBezTo>
                <a:cubicBezTo>
                  <a:pt x="9735" y="5435"/>
                  <a:pt x="9294" y="5719"/>
                  <a:pt x="8821" y="5876"/>
                </a:cubicBezTo>
                <a:cubicBezTo>
                  <a:pt x="8664" y="5467"/>
                  <a:pt x="8601" y="4931"/>
                  <a:pt x="8632" y="4364"/>
                </a:cubicBezTo>
                <a:cubicBezTo>
                  <a:pt x="8664" y="3702"/>
                  <a:pt x="8916" y="3072"/>
                  <a:pt x="9231" y="2757"/>
                </a:cubicBezTo>
                <a:cubicBezTo>
                  <a:pt x="9452" y="2505"/>
                  <a:pt x="9294" y="2159"/>
                  <a:pt x="8979" y="2159"/>
                </a:cubicBezTo>
                <a:cubicBezTo>
                  <a:pt x="8191" y="2159"/>
                  <a:pt x="7498" y="1781"/>
                  <a:pt x="7057" y="1150"/>
                </a:cubicBezTo>
                <a:lnTo>
                  <a:pt x="6427" y="142"/>
                </a:lnTo>
                <a:cubicBezTo>
                  <a:pt x="6348" y="48"/>
                  <a:pt x="6230" y="1"/>
                  <a:pt x="6116"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1062" name="Google Shape;11062;p114"/>
          <p:cNvSpPr/>
          <p:nvPr/>
        </p:nvSpPr>
        <p:spPr>
          <a:xfrm>
            <a:off x="2692448" y="3109099"/>
            <a:ext cx="631841" cy="479128"/>
          </a:xfrm>
          <a:custGeom>
            <a:avLst/>
            <a:gdLst/>
            <a:ahLst/>
            <a:cxnLst/>
            <a:rect l="l" t="t" r="r" b="b"/>
            <a:pathLst>
              <a:path w="12193" h="9246" extrusionOk="0">
                <a:moveTo>
                  <a:pt x="3781" y="1936"/>
                </a:moveTo>
                <a:lnTo>
                  <a:pt x="3907" y="2881"/>
                </a:lnTo>
                <a:lnTo>
                  <a:pt x="3466" y="2881"/>
                </a:lnTo>
                <a:lnTo>
                  <a:pt x="3781" y="1936"/>
                </a:lnTo>
                <a:close/>
                <a:moveTo>
                  <a:pt x="2489" y="3574"/>
                </a:moveTo>
                <a:lnTo>
                  <a:pt x="2017" y="4961"/>
                </a:lnTo>
                <a:cubicBezTo>
                  <a:pt x="1387" y="4771"/>
                  <a:pt x="914" y="4267"/>
                  <a:pt x="757" y="3574"/>
                </a:cubicBezTo>
                <a:close/>
                <a:moveTo>
                  <a:pt x="7877" y="3574"/>
                </a:moveTo>
                <a:lnTo>
                  <a:pt x="7877" y="3952"/>
                </a:lnTo>
                <a:cubicBezTo>
                  <a:pt x="7877" y="4425"/>
                  <a:pt x="7562" y="4835"/>
                  <a:pt x="7089" y="4961"/>
                </a:cubicBezTo>
                <a:cubicBezTo>
                  <a:pt x="7058" y="4835"/>
                  <a:pt x="7026" y="4740"/>
                  <a:pt x="6932" y="4614"/>
                </a:cubicBezTo>
                <a:lnTo>
                  <a:pt x="6302" y="3574"/>
                </a:lnTo>
                <a:close/>
                <a:moveTo>
                  <a:pt x="4033" y="3574"/>
                </a:moveTo>
                <a:lnTo>
                  <a:pt x="4222" y="4992"/>
                </a:lnTo>
                <a:lnTo>
                  <a:pt x="2773" y="4992"/>
                </a:lnTo>
                <a:lnTo>
                  <a:pt x="3246" y="3574"/>
                </a:lnTo>
                <a:close/>
                <a:moveTo>
                  <a:pt x="10712" y="3574"/>
                </a:moveTo>
                <a:cubicBezTo>
                  <a:pt x="11153" y="3637"/>
                  <a:pt x="11468" y="3952"/>
                  <a:pt x="11468" y="4330"/>
                </a:cubicBezTo>
                <a:cubicBezTo>
                  <a:pt x="11437" y="4740"/>
                  <a:pt x="11153" y="4992"/>
                  <a:pt x="10775" y="4992"/>
                </a:cubicBezTo>
                <a:cubicBezTo>
                  <a:pt x="10366" y="4992"/>
                  <a:pt x="10051" y="4677"/>
                  <a:pt x="10051" y="4299"/>
                </a:cubicBezTo>
                <a:cubicBezTo>
                  <a:pt x="10051" y="3889"/>
                  <a:pt x="10334" y="3574"/>
                  <a:pt x="10712" y="3574"/>
                </a:cubicBezTo>
                <a:close/>
                <a:moveTo>
                  <a:pt x="4537" y="2062"/>
                </a:moveTo>
                <a:lnTo>
                  <a:pt x="6365" y="4992"/>
                </a:lnTo>
                <a:cubicBezTo>
                  <a:pt x="6428" y="5118"/>
                  <a:pt x="6491" y="5244"/>
                  <a:pt x="6491" y="5370"/>
                </a:cubicBezTo>
                <a:cubicBezTo>
                  <a:pt x="6491" y="5748"/>
                  <a:pt x="6176" y="6063"/>
                  <a:pt x="5766" y="6063"/>
                </a:cubicBezTo>
                <a:cubicBezTo>
                  <a:pt x="5356" y="6063"/>
                  <a:pt x="5104" y="5843"/>
                  <a:pt x="5010" y="5465"/>
                </a:cubicBezTo>
                <a:lnTo>
                  <a:pt x="4537" y="2062"/>
                </a:lnTo>
                <a:close/>
                <a:moveTo>
                  <a:pt x="9515" y="3543"/>
                </a:moveTo>
                <a:cubicBezTo>
                  <a:pt x="9389" y="3732"/>
                  <a:pt x="9295" y="3984"/>
                  <a:pt x="9295" y="4236"/>
                </a:cubicBezTo>
                <a:cubicBezTo>
                  <a:pt x="9295" y="5024"/>
                  <a:pt x="9925" y="5654"/>
                  <a:pt x="10712" y="5654"/>
                </a:cubicBezTo>
                <a:lnTo>
                  <a:pt x="10870" y="5654"/>
                </a:lnTo>
                <a:lnTo>
                  <a:pt x="10397" y="6693"/>
                </a:lnTo>
                <a:cubicBezTo>
                  <a:pt x="10303" y="6977"/>
                  <a:pt x="10019" y="7134"/>
                  <a:pt x="9704" y="7134"/>
                </a:cubicBezTo>
                <a:lnTo>
                  <a:pt x="4663" y="7134"/>
                </a:lnTo>
                <a:cubicBezTo>
                  <a:pt x="3781" y="7134"/>
                  <a:pt x="3088" y="6504"/>
                  <a:pt x="2931" y="5717"/>
                </a:cubicBezTo>
                <a:lnTo>
                  <a:pt x="4348" y="5717"/>
                </a:lnTo>
                <a:cubicBezTo>
                  <a:pt x="4506" y="6347"/>
                  <a:pt x="5041" y="6788"/>
                  <a:pt x="5734" y="6788"/>
                </a:cubicBezTo>
                <a:cubicBezTo>
                  <a:pt x="6396" y="6788"/>
                  <a:pt x="6932" y="6315"/>
                  <a:pt x="7089" y="5654"/>
                </a:cubicBezTo>
                <a:cubicBezTo>
                  <a:pt x="7940" y="5496"/>
                  <a:pt x="8570" y="4803"/>
                  <a:pt x="8570" y="3889"/>
                </a:cubicBezTo>
                <a:lnTo>
                  <a:pt x="8570" y="3543"/>
                </a:lnTo>
                <a:close/>
                <a:moveTo>
                  <a:pt x="3928" y="1"/>
                </a:moveTo>
                <a:cubicBezTo>
                  <a:pt x="3795" y="1"/>
                  <a:pt x="3661" y="81"/>
                  <a:pt x="3592" y="235"/>
                </a:cubicBezTo>
                <a:lnTo>
                  <a:pt x="2742" y="2850"/>
                </a:lnTo>
                <a:lnTo>
                  <a:pt x="379" y="2850"/>
                </a:lnTo>
                <a:cubicBezTo>
                  <a:pt x="158" y="2850"/>
                  <a:pt x="1" y="3007"/>
                  <a:pt x="1" y="3196"/>
                </a:cubicBezTo>
                <a:cubicBezTo>
                  <a:pt x="1" y="4330"/>
                  <a:pt x="757" y="5276"/>
                  <a:pt x="1828" y="5591"/>
                </a:cubicBezTo>
                <a:lnTo>
                  <a:pt x="851" y="8552"/>
                </a:lnTo>
                <a:lnTo>
                  <a:pt x="379" y="8552"/>
                </a:lnTo>
                <a:cubicBezTo>
                  <a:pt x="158" y="8552"/>
                  <a:pt x="1" y="8710"/>
                  <a:pt x="1" y="8899"/>
                </a:cubicBezTo>
                <a:cubicBezTo>
                  <a:pt x="1" y="9088"/>
                  <a:pt x="158" y="9245"/>
                  <a:pt x="379" y="9245"/>
                </a:cubicBezTo>
                <a:lnTo>
                  <a:pt x="1072" y="9245"/>
                </a:lnTo>
                <a:cubicBezTo>
                  <a:pt x="1229" y="9245"/>
                  <a:pt x="1355" y="9182"/>
                  <a:pt x="1450" y="9025"/>
                </a:cubicBezTo>
                <a:lnTo>
                  <a:pt x="2332" y="6252"/>
                </a:lnTo>
                <a:cubicBezTo>
                  <a:pt x="2710" y="7166"/>
                  <a:pt x="3592" y="7827"/>
                  <a:pt x="4663" y="7827"/>
                </a:cubicBezTo>
                <a:lnTo>
                  <a:pt x="6837" y="7827"/>
                </a:lnTo>
                <a:lnTo>
                  <a:pt x="6554" y="8552"/>
                </a:lnTo>
                <a:lnTo>
                  <a:pt x="6081" y="8552"/>
                </a:lnTo>
                <a:cubicBezTo>
                  <a:pt x="5892" y="8552"/>
                  <a:pt x="5734" y="8710"/>
                  <a:pt x="5734" y="8899"/>
                </a:cubicBezTo>
                <a:cubicBezTo>
                  <a:pt x="5734" y="9088"/>
                  <a:pt x="5892" y="9245"/>
                  <a:pt x="6081" y="9245"/>
                </a:cubicBezTo>
                <a:lnTo>
                  <a:pt x="6806" y="9245"/>
                </a:lnTo>
                <a:cubicBezTo>
                  <a:pt x="6963" y="9245"/>
                  <a:pt x="7058" y="9182"/>
                  <a:pt x="7121" y="9025"/>
                </a:cubicBezTo>
                <a:lnTo>
                  <a:pt x="7593" y="7796"/>
                </a:lnTo>
                <a:lnTo>
                  <a:pt x="8853" y="7796"/>
                </a:lnTo>
                <a:lnTo>
                  <a:pt x="9326" y="9025"/>
                </a:lnTo>
                <a:cubicBezTo>
                  <a:pt x="9358" y="9151"/>
                  <a:pt x="9515" y="9245"/>
                  <a:pt x="9641" y="9245"/>
                </a:cubicBezTo>
                <a:lnTo>
                  <a:pt x="10334" y="9245"/>
                </a:lnTo>
                <a:cubicBezTo>
                  <a:pt x="10523" y="9245"/>
                  <a:pt x="10681" y="9088"/>
                  <a:pt x="10681" y="8899"/>
                </a:cubicBezTo>
                <a:cubicBezTo>
                  <a:pt x="10681" y="8710"/>
                  <a:pt x="10523" y="8552"/>
                  <a:pt x="10334" y="8552"/>
                </a:cubicBezTo>
                <a:lnTo>
                  <a:pt x="9862" y="8552"/>
                </a:lnTo>
                <a:lnTo>
                  <a:pt x="9578" y="7827"/>
                </a:lnTo>
                <a:lnTo>
                  <a:pt x="9641" y="7827"/>
                </a:lnTo>
                <a:cubicBezTo>
                  <a:pt x="10208" y="7827"/>
                  <a:pt x="10744" y="7512"/>
                  <a:pt x="10964" y="7008"/>
                </a:cubicBezTo>
                <a:lnTo>
                  <a:pt x="11941" y="5055"/>
                </a:lnTo>
                <a:cubicBezTo>
                  <a:pt x="12067" y="4835"/>
                  <a:pt x="12098" y="4614"/>
                  <a:pt x="12098" y="4362"/>
                </a:cubicBezTo>
                <a:cubicBezTo>
                  <a:pt x="12193" y="4362"/>
                  <a:pt x="12193" y="4330"/>
                  <a:pt x="12193" y="4330"/>
                </a:cubicBezTo>
                <a:cubicBezTo>
                  <a:pt x="12130" y="3543"/>
                  <a:pt x="11468" y="2881"/>
                  <a:pt x="10681" y="2881"/>
                </a:cubicBezTo>
                <a:lnTo>
                  <a:pt x="10082" y="2881"/>
                </a:lnTo>
                <a:cubicBezTo>
                  <a:pt x="10240" y="2062"/>
                  <a:pt x="10996" y="1463"/>
                  <a:pt x="11815" y="1463"/>
                </a:cubicBezTo>
                <a:cubicBezTo>
                  <a:pt x="12035" y="1463"/>
                  <a:pt x="12193" y="1306"/>
                  <a:pt x="12193" y="1117"/>
                </a:cubicBezTo>
                <a:cubicBezTo>
                  <a:pt x="12193" y="896"/>
                  <a:pt x="12035" y="739"/>
                  <a:pt x="11815" y="739"/>
                </a:cubicBezTo>
                <a:cubicBezTo>
                  <a:pt x="10555" y="739"/>
                  <a:pt x="9547" y="1684"/>
                  <a:pt x="9358" y="2881"/>
                </a:cubicBezTo>
                <a:lnTo>
                  <a:pt x="5829" y="2881"/>
                </a:lnTo>
                <a:lnTo>
                  <a:pt x="4222" y="203"/>
                </a:lnTo>
                <a:lnTo>
                  <a:pt x="4222" y="172"/>
                </a:lnTo>
                <a:cubicBezTo>
                  <a:pt x="4150" y="57"/>
                  <a:pt x="4039" y="1"/>
                  <a:pt x="3928"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nvGrpSpPr>
          <p:cNvPr id="11063" name="Google Shape;11063;p114"/>
          <p:cNvGrpSpPr/>
          <p:nvPr/>
        </p:nvGrpSpPr>
        <p:grpSpPr>
          <a:xfrm>
            <a:off x="2690037" y="3802008"/>
            <a:ext cx="639977" cy="630235"/>
            <a:chOff x="-20550425" y="2789350"/>
            <a:chExt cx="308750" cy="304050"/>
          </a:xfrm>
        </p:grpSpPr>
        <p:sp>
          <p:nvSpPr>
            <p:cNvPr id="11064" name="Google Shape;11064;p114"/>
            <p:cNvSpPr/>
            <p:nvPr/>
          </p:nvSpPr>
          <p:spPr>
            <a:xfrm>
              <a:off x="-20550425" y="2824800"/>
              <a:ext cx="308750" cy="268600"/>
            </a:xfrm>
            <a:custGeom>
              <a:avLst/>
              <a:gdLst/>
              <a:ahLst/>
              <a:cxnLst/>
              <a:rect l="l" t="t" r="r" b="b"/>
              <a:pathLst>
                <a:path w="12350" h="10744" extrusionOk="0">
                  <a:moveTo>
                    <a:pt x="2962" y="662"/>
                  </a:moveTo>
                  <a:cubicBezTo>
                    <a:pt x="3403" y="662"/>
                    <a:pt x="3718" y="1009"/>
                    <a:pt x="3686" y="1450"/>
                  </a:cubicBezTo>
                  <a:cubicBezTo>
                    <a:pt x="3529" y="1481"/>
                    <a:pt x="3403" y="1576"/>
                    <a:pt x="3277" y="1670"/>
                  </a:cubicBezTo>
                  <a:cubicBezTo>
                    <a:pt x="3119" y="1828"/>
                    <a:pt x="3119" y="2048"/>
                    <a:pt x="3277" y="2206"/>
                  </a:cubicBezTo>
                  <a:cubicBezTo>
                    <a:pt x="3355" y="2285"/>
                    <a:pt x="3442" y="2324"/>
                    <a:pt x="3529" y="2324"/>
                  </a:cubicBezTo>
                  <a:cubicBezTo>
                    <a:pt x="3615" y="2324"/>
                    <a:pt x="3702" y="2285"/>
                    <a:pt x="3781" y="2206"/>
                  </a:cubicBezTo>
                  <a:cubicBezTo>
                    <a:pt x="3844" y="2174"/>
                    <a:pt x="3907" y="2111"/>
                    <a:pt x="3938" y="2111"/>
                  </a:cubicBezTo>
                  <a:lnTo>
                    <a:pt x="4064" y="2111"/>
                  </a:lnTo>
                  <a:cubicBezTo>
                    <a:pt x="4190" y="2111"/>
                    <a:pt x="4316" y="2237"/>
                    <a:pt x="4379" y="2363"/>
                  </a:cubicBezTo>
                  <a:cubicBezTo>
                    <a:pt x="4474" y="2584"/>
                    <a:pt x="4316" y="2836"/>
                    <a:pt x="4064" y="2836"/>
                  </a:cubicBezTo>
                  <a:lnTo>
                    <a:pt x="1953" y="2836"/>
                  </a:lnTo>
                  <a:cubicBezTo>
                    <a:pt x="1544" y="2836"/>
                    <a:pt x="1386" y="2489"/>
                    <a:pt x="1607" y="2237"/>
                  </a:cubicBezTo>
                  <a:cubicBezTo>
                    <a:pt x="1701" y="2174"/>
                    <a:pt x="1764" y="2111"/>
                    <a:pt x="1859" y="2111"/>
                  </a:cubicBezTo>
                  <a:lnTo>
                    <a:pt x="1985" y="2111"/>
                  </a:lnTo>
                  <a:cubicBezTo>
                    <a:pt x="2048" y="2111"/>
                    <a:pt x="2111" y="2174"/>
                    <a:pt x="2142" y="2206"/>
                  </a:cubicBezTo>
                  <a:cubicBezTo>
                    <a:pt x="2221" y="2285"/>
                    <a:pt x="2308" y="2324"/>
                    <a:pt x="2394" y="2324"/>
                  </a:cubicBezTo>
                  <a:cubicBezTo>
                    <a:pt x="2481" y="2324"/>
                    <a:pt x="2568" y="2285"/>
                    <a:pt x="2646" y="2206"/>
                  </a:cubicBezTo>
                  <a:cubicBezTo>
                    <a:pt x="2804" y="2048"/>
                    <a:pt x="2804" y="1828"/>
                    <a:pt x="2646" y="1670"/>
                  </a:cubicBezTo>
                  <a:cubicBezTo>
                    <a:pt x="2520" y="1576"/>
                    <a:pt x="2426" y="1481"/>
                    <a:pt x="2268" y="1450"/>
                  </a:cubicBezTo>
                  <a:lnTo>
                    <a:pt x="2268" y="1387"/>
                  </a:lnTo>
                  <a:cubicBezTo>
                    <a:pt x="2268" y="977"/>
                    <a:pt x="2583" y="662"/>
                    <a:pt x="2962" y="662"/>
                  </a:cubicBezTo>
                  <a:close/>
                  <a:moveTo>
                    <a:pt x="5009" y="2899"/>
                  </a:moveTo>
                  <a:cubicBezTo>
                    <a:pt x="5198" y="2994"/>
                    <a:pt x="5324" y="3120"/>
                    <a:pt x="5387" y="3309"/>
                  </a:cubicBezTo>
                  <a:lnTo>
                    <a:pt x="6553" y="5860"/>
                  </a:lnTo>
                  <a:lnTo>
                    <a:pt x="6112" y="6302"/>
                  </a:lnTo>
                  <a:lnTo>
                    <a:pt x="4915" y="5104"/>
                  </a:lnTo>
                  <a:cubicBezTo>
                    <a:pt x="4836" y="5026"/>
                    <a:pt x="4749" y="4986"/>
                    <a:pt x="4663" y="4986"/>
                  </a:cubicBezTo>
                  <a:cubicBezTo>
                    <a:pt x="4576" y="4986"/>
                    <a:pt x="4490" y="5026"/>
                    <a:pt x="4411" y="5104"/>
                  </a:cubicBezTo>
                  <a:lnTo>
                    <a:pt x="3245" y="6302"/>
                  </a:lnTo>
                  <a:lnTo>
                    <a:pt x="2804" y="5860"/>
                  </a:lnTo>
                  <a:lnTo>
                    <a:pt x="3812" y="3592"/>
                  </a:lnTo>
                  <a:cubicBezTo>
                    <a:pt x="4033" y="3592"/>
                    <a:pt x="4411" y="3592"/>
                    <a:pt x="4757" y="3277"/>
                  </a:cubicBezTo>
                  <a:cubicBezTo>
                    <a:pt x="4883" y="3151"/>
                    <a:pt x="4978" y="3025"/>
                    <a:pt x="5009" y="2899"/>
                  </a:cubicBezTo>
                  <a:close/>
                  <a:moveTo>
                    <a:pt x="4694" y="5829"/>
                  </a:moveTo>
                  <a:lnTo>
                    <a:pt x="5860" y="6995"/>
                  </a:lnTo>
                  <a:cubicBezTo>
                    <a:pt x="5955" y="7073"/>
                    <a:pt x="6049" y="7113"/>
                    <a:pt x="6140" y="7113"/>
                  </a:cubicBezTo>
                  <a:cubicBezTo>
                    <a:pt x="6230" y="7113"/>
                    <a:pt x="6317" y="7073"/>
                    <a:pt x="6396" y="6995"/>
                  </a:cubicBezTo>
                  <a:lnTo>
                    <a:pt x="6868" y="6522"/>
                  </a:lnTo>
                  <a:lnTo>
                    <a:pt x="8443" y="9988"/>
                  </a:lnTo>
                  <a:lnTo>
                    <a:pt x="945" y="9988"/>
                  </a:lnTo>
                  <a:lnTo>
                    <a:pt x="2520" y="6522"/>
                  </a:lnTo>
                  <a:lnTo>
                    <a:pt x="2993" y="6995"/>
                  </a:lnTo>
                  <a:cubicBezTo>
                    <a:pt x="3072" y="7073"/>
                    <a:pt x="3158" y="7113"/>
                    <a:pt x="3245" y="7113"/>
                  </a:cubicBezTo>
                  <a:cubicBezTo>
                    <a:pt x="3332" y="7113"/>
                    <a:pt x="3418" y="7073"/>
                    <a:pt x="3497" y="6995"/>
                  </a:cubicBezTo>
                  <a:lnTo>
                    <a:pt x="4694" y="5829"/>
                  </a:lnTo>
                  <a:close/>
                  <a:moveTo>
                    <a:pt x="8270" y="4986"/>
                  </a:moveTo>
                  <a:cubicBezTo>
                    <a:pt x="8554" y="4986"/>
                    <a:pt x="8837" y="5120"/>
                    <a:pt x="8979" y="5388"/>
                  </a:cubicBezTo>
                  <a:lnTo>
                    <a:pt x="11310" y="9988"/>
                  </a:lnTo>
                  <a:lnTo>
                    <a:pt x="9231" y="9988"/>
                  </a:lnTo>
                  <a:lnTo>
                    <a:pt x="7341" y="5860"/>
                  </a:lnTo>
                  <a:lnTo>
                    <a:pt x="7561" y="5388"/>
                  </a:lnTo>
                  <a:cubicBezTo>
                    <a:pt x="7703" y="5120"/>
                    <a:pt x="7987" y="4986"/>
                    <a:pt x="8270" y="4986"/>
                  </a:cubicBezTo>
                  <a:close/>
                  <a:moveTo>
                    <a:pt x="2962" y="1"/>
                  </a:moveTo>
                  <a:cubicBezTo>
                    <a:pt x="2174" y="1"/>
                    <a:pt x="1512" y="662"/>
                    <a:pt x="1544" y="1481"/>
                  </a:cubicBezTo>
                  <a:cubicBezTo>
                    <a:pt x="1166" y="1639"/>
                    <a:pt x="851" y="2048"/>
                    <a:pt x="851" y="2521"/>
                  </a:cubicBezTo>
                  <a:cubicBezTo>
                    <a:pt x="851" y="3120"/>
                    <a:pt x="1323" y="3592"/>
                    <a:pt x="1890" y="3592"/>
                  </a:cubicBezTo>
                  <a:lnTo>
                    <a:pt x="3151" y="3592"/>
                  </a:lnTo>
                  <a:lnTo>
                    <a:pt x="126" y="10240"/>
                  </a:lnTo>
                  <a:cubicBezTo>
                    <a:pt x="0" y="10460"/>
                    <a:pt x="189" y="10744"/>
                    <a:pt x="441" y="10744"/>
                  </a:cubicBezTo>
                  <a:lnTo>
                    <a:pt x="11909" y="10744"/>
                  </a:lnTo>
                  <a:cubicBezTo>
                    <a:pt x="12161" y="10744"/>
                    <a:pt x="12350" y="10460"/>
                    <a:pt x="12224" y="10240"/>
                  </a:cubicBezTo>
                  <a:lnTo>
                    <a:pt x="9609" y="5073"/>
                  </a:lnTo>
                  <a:cubicBezTo>
                    <a:pt x="9339" y="4533"/>
                    <a:pt x="8814" y="4265"/>
                    <a:pt x="8290" y="4265"/>
                  </a:cubicBezTo>
                  <a:cubicBezTo>
                    <a:pt x="7774" y="4265"/>
                    <a:pt x="7260" y="4525"/>
                    <a:pt x="6994" y="5041"/>
                  </a:cubicBezTo>
                  <a:lnTo>
                    <a:pt x="6081" y="2994"/>
                  </a:lnTo>
                  <a:cubicBezTo>
                    <a:pt x="5860" y="2552"/>
                    <a:pt x="5482" y="2237"/>
                    <a:pt x="5041" y="2174"/>
                  </a:cubicBezTo>
                  <a:cubicBezTo>
                    <a:pt x="5009" y="2017"/>
                    <a:pt x="4883" y="1859"/>
                    <a:pt x="4789" y="1733"/>
                  </a:cubicBezTo>
                  <a:cubicBezTo>
                    <a:pt x="4663" y="1607"/>
                    <a:pt x="4537" y="1544"/>
                    <a:pt x="4379" y="1481"/>
                  </a:cubicBezTo>
                  <a:cubicBezTo>
                    <a:pt x="4411" y="662"/>
                    <a:pt x="3781" y="1"/>
                    <a:pt x="2962"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1065" name="Google Shape;11065;p114"/>
            <p:cNvSpPr/>
            <p:nvPr/>
          </p:nvSpPr>
          <p:spPr>
            <a:xfrm>
              <a:off x="-20388175" y="2789350"/>
              <a:ext cx="144150" cy="106350"/>
            </a:xfrm>
            <a:custGeom>
              <a:avLst/>
              <a:gdLst/>
              <a:ahLst/>
              <a:cxnLst/>
              <a:rect l="l" t="t" r="r" b="b"/>
              <a:pathLst>
                <a:path w="5766" h="4254" extrusionOk="0">
                  <a:moveTo>
                    <a:pt x="3938" y="662"/>
                  </a:moveTo>
                  <a:cubicBezTo>
                    <a:pt x="4537" y="662"/>
                    <a:pt x="5009" y="1135"/>
                    <a:pt x="5009" y="1734"/>
                  </a:cubicBezTo>
                  <a:cubicBezTo>
                    <a:pt x="5009" y="2238"/>
                    <a:pt x="4694" y="2647"/>
                    <a:pt x="4222" y="2742"/>
                  </a:cubicBezTo>
                  <a:cubicBezTo>
                    <a:pt x="4190" y="2647"/>
                    <a:pt x="4096" y="2490"/>
                    <a:pt x="4001" y="2395"/>
                  </a:cubicBezTo>
                  <a:cubicBezTo>
                    <a:pt x="3875" y="2269"/>
                    <a:pt x="3749" y="2206"/>
                    <a:pt x="3592" y="2175"/>
                  </a:cubicBezTo>
                  <a:lnTo>
                    <a:pt x="3592" y="2080"/>
                  </a:lnTo>
                  <a:cubicBezTo>
                    <a:pt x="3592" y="1639"/>
                    <a:pt x="3403" y="1293"/>
                    <a:pt x="3119" y="1009"/>
                  </a:cubicBezTo>
                  <a:cubicBezTo>
                    <a:pt x="3371" y="820"/>
                    <a:pt x="3623" y="662"/>
                    <a:pt x="3938" y="662"/>
                  </a:cubicBezTo>
                  <a:close/>
                  <a:moveTo>
                    <a:pt x="2174" y="1387"/>
                  </a:moveTo>
                  <a:cubicBezTo>
                    <a:pt x="2584" y="1387"/>
                    <a:pt x="2899" y="1702"/>
                    <a:pt x="2899" y="2080"/>
                  </a:cubicBezTo>
                  <a:lnTo>
                    <a:pt x="2899" y="2175"/>
                  </a:lnTo>
                  <a:cubicBezTo>
                    <a:pt x="2741" y="2206"/>
                    <a:pt x="2615" y="2269"/>
                    <a:pt x="2489" y="2395"/>
                  </a:cubicBezTo>
                  <a:cubicBezTo>
                    <a:pt x="2331" y="2553"/>
                    <a:pt x="2331" y="2742"/>
                    <a:pt x="2489" y="2899"/>
                  </a:cubicBezTo>
                  <a:cubicBezTo>
                    <a:pt x="2568" y="2978"/>
                    <a:pt x="2662" y="3017"/>
                    <a:pt x="2757" y="3017"/>
                  </a:cubicBezTo>
                  <a:cubicBezTo>
                    <a:pt x="2851" y="3017"/>
                    <a:pt x="2946" y="2978"/>
                    <a:pt x="3025" y="2899"/>
                  </a:cubicBezTo>
                  <a:cubicBezTo>
                    <a:pt x="3056" y="2868"/>
                    <a:pt x="3119" y="2836"/>
                    <a:pt x="3182" y="2836"/>
                  </a:cubicBezTo>
                  <a:lnTo>
                    <a:pt x="3277" y="2836"/>
                  </a:lnTo>
                  <a:cubicBezTo>
                    <a:pt x="3371" y="2836"/>
                    <a:pt x="3434" y="2868"/>
                    <a:pt x="3529" y="2962"/>
                  </a:cubicBezTo>
                  <a:cubicBezTo>
                    <a:pt x="3749" y="3183"/>
                    <a:pt x="3592" y="3529"/>
                    <a:pt x="3277" y="3529"/>
                  </a:cubicBezTo>
                  <a:lnTo>
                    <a:pt x="1166" y="3529"/>
                  </a:lnTo>
                  <a:cubicBezTo>
                    <a:pt x="977" y="3529"/>
                    <a:pt x="756" y="3340"/>
                    <a:pt x="819" y="3151"/>
                  </a:cubicBezTo>
                  <a:lnTo>
                    <a:pt x="819" y="3120"/>
                  </a:lnTo>
                  <a:cubicBezTo>
                    <a:pt x="851" y="2962"/>
                    <a:pt x="977" y="2836"/>
                    <a:pt x="1134" y="2805"/>
                  </a:cubicBezTo>
                  <a:lnTo>
                    <a:pt x="1229" y="2805"/>
                  </a:lnTo>
                  <a:cubicBezTo>
                    <a:pt x="1323" y="2805"/>
                    <a:pt x="1355" y="2836"/>
                    <a:pt x="1386" y="2868"/>
                  </a:cubicBezTo>
                  <a:cubicBezTo>
                    <a:pt x="1465" y="2947"/>
                    <a:pt x="1560" y="2986"/>
                    <a:pt x="1654" y="2986"/>
                  </a:cubicBezTo>
                  <a:cubicBezTo>
                    <a:pt x="1749" y="2986"/>
                    <a:pt x="1843" y="2947"/>
                    <a:pt x="1922" y="2868"/>
                  </a:cubicBezTo>
                  <a:cubicBezTo>
                    <a:pt x="2079" y="2710"/>
                    <a:pt x="2079" y="2521"/>
                    <a:pt x="1922" y="2364"/>
                  </a:cubicBezTo>
                  <a:cubicBezTo>
                    <a:pt x="1796" y="2238"/>
                    <a:pt x="1670" y="2175"/>
                    <a:pt x="1512" y="2112"/>
                  </a:cubicBezTo>
                  <a:cubicBezTo>
                    <a:pt x="1418" y="1734"/>
                    <a:pt x="1733" y="1387"/>
                    <a:pt x="2174" y="1387"/>
                  </a:cubicBezTo>
                  <a:close/>
                  <a:moveTo>
                    <a:pt x="4001" y="1"/>
                  </a:moveTo>
                  <a:cubicBezTo>
                    <a:pt x="3403" y="1"/>
                    <a:pt x="2836" y="284"/>
                    <a:pt x="2520" y="757"/>
                  </a:cubicBezTo>
                  <a:cubicBezTo>
                    <a:pt x="2426" y="694"/>
                    <a:pt x="2331" y="694"/>
                    <a:pt x="2205" y="694"/>
                  </a:cubicBezTo>
                  <a:cubicBezTo>
                    <a:pt x="1386" y="694"/>
                    <a:pt x="756" y="1387"/>
                    <a:pt x="788" y="2206"/>
                  </a:cubicBezTo>
                  <a:cubicBezTo>
                    <a:pt x="378" y="2269"/>
                    <a:pt x="63" y="2679"/>
                    <a:pt x="63" y="3120"/>
                  </a:cubicBezTo>
                  <a:cubicBezTo>
                    <a:pt x="0" y="3687"/>
                    <a:pt x="473" y="4222"/>
                    <a:pt x="1071" y="4254"/>
                  </a:cubicBezTo>
                  <a:lnTo>
                    <a:pt x="3434" y="4254"/>
                  </a:lnTo>
                  <a:cubicBezTo>
                    <a:pt x="3844" y="4159"/>
                    <a:pt x="4159" y="3907"/>
                    <a:pt x="4253" y="3529"/>
                  </a:cubicBezTo>
                  <a:cubicBezTo>
                    <a:pt x="5104" y="3372"/>
                    <a:pt x="5766" y="2679"/>
                    <a:pt x="5766" y="1765"/>
                  </a:cubicBezTo>
                  <a:cubicBezTo>
                    <a:pt x="5766" y="788"/>
                    <a:pt x="4978" y="1"/>
                    <a:pt x="4001"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11066" name="Google Shape;11066;p114"/>
          <p:cNvGrpSpPr/>
          <p:nvPr/>
        </p:nvGrpSpPr>
        <p:grpSpPr>
          <a:xfrm>
            <a:off x="6577192" y="2250877"/>
            <a:ext cx="631893" cy="632256"/>
            <a:chOff x="-18666450" y="2059825"/>
            <a:chExt cx="304850" cy="305025"/>
          </a:xfrm>
        </p:grpSpPr>
        <p:sp>
          <p:nvSpPr>
            <p:cNvPr id="11067" name="Google Shape;11067;p114"/>
            <p:cNvSpPr/>
            <p:nvPr/>
          </p:nvSpPr>
          <p:spPr>
            <a:xfrm>
              <a:off x="-18471100" y="2202575"/>
              <a:ext cx="18125" cy="70925"/>
            </a:xfrm>
            <a:custGeom>
              <a:avLst/>
              <a:gdLst/>
              <a:ahLst/>
              <a:cxnLst/>
              <a:rect l="l" t="t" r="r" b="b"/>
              <a:pathLst>
                <a:path w="725" h="2837" extrusionOk="0">
                  <a:moveTo>
                    <a:pt x="347" y="1"/>
                  </a:moveTo>
                  <a:cubicBezTo>
                    <a:pt x="158" y="1"/>
                    <a:pt x="0" y="158"/>
                    <a:pt x="0" y="347"/>
                  </a:cubicBezTo>
                  <a:lnTo>
                    <a:pt x="0" y="2490"/>
                  </a:lnTo>
                  <a:cubicBezTo>
                    <a:pt x="0" y="2679"/>
                    <a:pt x="158" y="2836"/>
                    <a:pt x="347" y="2836"/>
                  </a:cubicBezTo>
                  <a:cubicBezTo>
                    <a:pt x="567" y="2836"/>
                    <a:pt x="725" y="2679"/>
                    <a:pt x="725" y="2490"/>
                  </a:cubicBezTo>
                  <a:lnTo>
                    <a:pt x="725" y="347"/>
                  </a:lnTo>
                  <a:cubicBezTo>
                    <a:pt x="725" y="190"/>
                    <a:pt x="567" y="1"/>
                    <a:pt x="347"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1068" name="Google Shape;11068;p114"/>
            <p:cNvSpPr/>
            <p:nvPr/>
          </p:nvSpPr>
          <p:spPr>
            <a:xfrm>
              <a:off x="-18666450" y="2059825"/>
              <a:ext cx="304850" cy="305025"/>
            </a:xfrm>
            <a:custGeom>
              <a:avLst/>
              <a:gdLst/>
              <a:ahLst/>
              <a:cxnLst/>
              <a:rect l="l" t="t" r="r" b="b"/>
              <a:pathLst>
                <a:path w="12194" h="12201" extrusionOk="0">
                  <a:moveTo>
                    <a:pt x="8539" y="859"/>
                  </a:moveTo>
                  <a:cubicBezTo>
                    <a:pt x="8728" y="1017"/>
                    <a:pt x="8948" y="1300"/>
                    <a:pt x="9106" y="1647"/>
                  </a:cubicBezTo>
                  <a:cubicBezTo>
                    <a:pt x="8759" y="2088"/>
                    <a:pt x="8539" y="2623"/>
                    <a:pt x="8539" y="3253"/>
                  </a:cubicBezTo>
                  <a:lnTo>
                    <a:pt x="8539" y="3505"/>
                  </a:lnTo>
                  <a:cubicBezTo>
                    <a:pt x="8255" y="3222"/>
                    <a:pt x="7814" y="2749"/>
                    <a:pt x="7814" y="2214"/>
                  </a:cubicBezTo>
                  <a:cubicBezTo>
                    <a:pt x="7814" y="1615"/>
                    <a:pt x="8255" y="1111"/>
                    <a:pt x="8539" y="859"/>
                  </a:cubicBezTo>
                  <a:close/>
                  <a:moveTo>
                    <a:pt x="2080" y="2151"/>
                  </a:moveTo>
                  <a:lnTo>
                    <a:pt x="2080" y="2529"/>
                  </a:lnTo>
                  <a:cubicBezTo>
                    <a:pt x="2080" y="3096"/>
                    <a:pt x="1608" y="3568"/>
                    <a:pt x="1009" y="3568"/>
                  </a:cubicBezTo>
                  <a:lnTo>
                    <a:pt x="663" y="3568"/>
                  </a:lnTo>
                  <a:lnTo>
                    <a:pt x="663" y="3222"/>
                  </a:lnTo>
                  <a:cubicBezTo>
                    <a:pt x="663" y="2623"/>
                    <a:pt x="1135" y="2151"/>
                    <a:pt x="1702" y="2151"/>
                  </a:cubicBezTo>
                  <a:close/>
                  <a:moveTo>
                    <a:pt x="11374" y="1458"/>
                  </a:moveTo>
                  <a:lnTo>
                    <a:pt x="11374" y="1804"/>
                  </a:lnTo>
                  <a:cubicBezTo>
                    <a:pt x="11374" y="2749"/>
                    <a:pt x="10650" y="3505"/>
                    <a:pt x="9736" y="3568"/>
                  </a:cubicBezTo>
                  <a:lnTo>
                    <a:pt x="10587" y="2749"/>
                  </a:lnTo>
                  <a:cubicBezTo>
                    <a:pt x="10744" y="2592"/>
                    <a:pt x="10744" y="2403"/>
                    <a:pt x="10587" y="2245"/>
                  </a:cubicBezTo>
                  <a:cubicBezTo>
                    <a:pt x="10508" y="2166"/>
                    <a:pt x="10413" y="2127"/>
                    <a:pt x="10319" y="2127"/>
                  </a:cubicBezTo>
                  <a:cubicBezTo>
                    <a:pt x="10224" y="2127"/>
                    <a:pt x="10130" y="2166"/>
                    <a:pt x="10051" y="2245"/>
                  </a:cubicBezTo>
                  <a:lnTo>
                    <a:pt x="9232" y="3064"/>
                  </a:lnTo>
                  <a:cubicBezTo>
                    <a:pt x="9326" y="2151"/>
                    <a:pt x="10051" y="1458"/>
                    <a:pt x="11028" y="1458"/>
                  </a:cubicBezTo>
                  <a:close/>
                  <a:moveTo>
                    <a:pt x="663" y="4356"/>
                  </a:moveTo>
                  <a:cubicBezTo>
                    <a:pt x="1072" y="4514"/>
                    <a:pt x="1356" y="4923"/>
                    <a:pt x="1356" y="5396"/>
                  </a:cubicBezTo>
                  <a:lnTo>
                    <a:pt x="1356" y="6089"/>
                  </a:lnTo>
                  <a:cubicBezTo>
                    <a:pt x="1356" y="7097"/>
                    <a:pt x="2143" y="7885"/>
                    <a:pt x="3120" y="7885"/>
                  </a:cubicBezTo>
                  <a:lnTo>
                    <a:pt x="4191" y="7885"/>
                  </a:lnTo>
                  <a:cubicBezTo>
                    <a:pt x="4601" y="7885"/>
                    <a:pt x="4916" y="8200"/>
                    <a:pt x="4916" y="8578"/>
                  </a:cubicBezTo>
                  <a:cubicBezTo>
                    <a:pt x="4916" y="8987"/>
                    <a:pt x="4601" y="9302"/>
                    <a:pt x="4191" y="9302"/>
                  </a:cubicBezTo>
                  <a:lnTo>
                    <a:pt x="3845" y="9302"/>
                  </a:lnTo>
                  <a:cubicBezTo>
                    <a:pt x="2080" y="9302"/>
                    <a:pt x="663" y="7822"/>
                    <a:pt x="663" y="6089"/>
                  </a:cubicBezTo>
                  <a:lnTo>
                    <a:pt x="663" y="4356"/>
                  </a:lnTo>
                  <a:close/>
                  <a:moveTo>
                    <a:pt x="9169" y="4293"/>
                  </a:moveTo>
                  <a:lnTo>
                    <a:pt x="9169" y="6057"/>
                  </a:lnTo>
                  <a:cubicBezTo>
                    <a:pt x="9169" y="6273"/>
                    <a:pt x="9334" y="6416"/>
                    <a:pt x="9510" y="6416"/>
                  </a:cubicBezTo>
                  <a:cubicBezTo>
                    <a:pt x="9564" y="6416"/>
                    <a:pt x="9620" y="6402"/>
                    <a:pt x="9673" y="6372"/>
                  </a:cubicBezTo>
                  <a:lnTo>
                    <a:pt x="10587" y="5900"/>
                  </a:lnTo>
                  <a:lnTo>
                    <a:pt x="10587" y="6656"/>
                  </a:lnTo>
                  <a:lnTo>
                    <a:pt x="10650" y="6656"/>
                  </a:lnTo>
                  <a:lnTo>
                    <a:pt x="9358" y="7948"/>
                  </a:lnTo>
                  <a:cubicBezTo>
                    <a:pt x="9263" y="8042"/>
                    <a:pt x="9232" y="8137"/>
                    <a:pt x="9232" y="8231"/>
                  </a:cubicBezTo>
                  <a:cubicBezTo>
                    <a:pt x="9358" y="9460"/>
                    <a:pt x="9862" y="10626"/>
                    <a:pt x="10744" y="11445"/>
                  </a:cubicBezTo>
                  <a:lnTo>
                    <a:pt x="7783" y="11445"/>
                  </a:lnTo>
                  <a:lnTo>
                    <a:pt x="7783" y="9649"/>
                  </a:lnTo>
                  <a:cubicBezTo>
                    <a:pt x="7783" y="9460"/>
                    <a:pt x="7625" y="9302"/>
                    <a:pt x="7436" y="9302"/>
                  </a:cubicBezTo>
                  <a:cubicBezTo>
                    <a:pt x="7216" y="9302"/>
                    <a:pt x="7058" y="9460"/>
                    <a:pt x="7058" y="9649"/>
                  </a:cubicBezTo>
                  <a:lnTo>
                    <a:pt x="7058" y="11445"/>
                  </a:lnTo>
                  <a:lnTo>
                    <a:pt x="4853" y="11445"/>
                  </a:lnTo>
                  <a:lnTo>
                    <a:pt x="4853" y="11098"/>
                  </a:lnTo>
                  <a:cubicBezTo>
                    <a:pt x="4853" y="10909"/>
                    <a:pt x="4695" y="10752"/>
                    <a:pt x="4506" y="10752"/>
                  </a:cubicBezTo>
                  <a:cubicBezTo>
                    <a:pt x="4317" y="10752"/>
                    <a:pt x="4160" y="10909"/>
                    <a:pt x="4160" y="11098"/>
                  </a:cubicBezTo>
                  <a:lnTo>
                    <a:pt x="4160" y="11445"/>
                  </a:lnTo>
                  <a:lnTo>
                    <a:pt x="1923" y="11445"/>
                  </a:lnTo>
                  <a:cubicBezTo>
                    <a:pt x="2332" y="11035"/>
                    <a:pt x="2710" y="10468"/>
                    <a:pt x="2962" y="9869"/>
                  </a:cubicBezTo>
                  <a:cubicBezTo>
                    <a:pt x="3246" y="9901"/>
                    <a:pt x="3530" y="9964"/>
                    <a:pt x="3813" y="9964"/>
                  </a:cubicBezTo>
                  <a:lnTo>
                    <a:pt x="4160" y="9964"/>
                  </a:lnTo>
                  <a:cubicBezTo>
                    <a:pt x="4947" y="9964"/>
                    <a:pt x="5577" y="9334"/>
                    <a:pt x="5577" y="8546"/>
                  </a:cubicBezTo>
                  <a:cubicBezTo>
                    <a:pt x="5577" y="7759"/>
                    <a:pt x="4947" y="7128"/>
                    <a:pt x="4160" y="7128"/>
                  </a:cubicBezTo>
                  <a:lnTo>
                    <a:pt x="3435" y="7128"/>
                  </a:lnTo>
                  <a:lnTo>
                    <a:pt x="3435" y="4293"/>
                  </a:lnTo>
                  <a:lnTo>
                    <a:pt x="4160" y="4293"/>
                  </a:lnTo>
                  <a:lnTo>
                    <a:pt x="4160" y="5364"/>
                  </a:lnTo>
                  <a:cubicBezTo>
                    <a:pt x="4160" y="5553"/>
                    <a:pt x="4317" y="5711"/>
                    <a:pt x="4506" y="5711"/>
                  </a:cubicBezTo>
                  <a:cubicBezTo>
                    <a:pt x="4695" y="5711"/>
                    <a:pt x="4853" y="5553"/>
                    <a:pt x="4853" y="5364"/>
                  </a:cubicBezTo>
                  <a:lnTo>
                    <a:pt x="4853" y="4293"/>
                  </a:lnTo>
                  <a:lnTo>
                    <a:pt x="6333" y="4293"/>
                  </a:lnTo>
                  <a:lnTo>
                    <a:pt x="6333" y="6782"/>
                  </a:lnTo>
                  <a:cubicBezTo>
                    <a:pt x="6333" y="6971"/>
                    <a:pt x="6491" y="7128"/>
                    <a:pt x="6680" y="7128"/>
                  </a:cubicBezTo>
                  <a:cubicBezTo>
                    <a:pt x="6869" y="7128"/>
                    <a:pt x="7027" y="6971"/>
                    <a:pt x="7027" y="6782"/>
                  </a:cubicBezTo>
                  <a:lnTo>
                    <a:pt x="7027" y="4293"/>
                  </a:lnTo>
                  <a:close/>
                  <a:moveTo>
                    <a:pt x="8539" y="1"/>
                  </a:moveTo>
                  <a:cubicBezTo>
                    <a:pt x="8460" y="1"/>
                    <a:pt x="8381" y="24"/>
                    <a:pt x="8318" y="71"/>
                  </a:cubicBezTo>
                  <a:cubicBezTo>
                    <a:pt x="8287" y="103"/>
                    <a:pt x="7121" y="985"/>
                    <a:pt x="7121" y="2151"/>
                  </a:cubicBezTo>
                  <a:cubicBezTo>
                    <a:pt x="7121" y="2718"/>
                    <a:pt x="7373" y="3222"/>
                    <a:pt x="7657" y="3568"/>
                  </a:cubicBezTo>
                  <a:lnTo>
                    <a:pt x="3151" y="3568"/>
                  </a:lnTo>
                  <a:cubicBezTo>
                    <a:pt x="2931" y="3568"/>
                    <a:pt x="2773" y="3726"/>
                    <a:pt x="2773" y="3946"/>
                  </a:cubicBezTo>
                  <a:lnTo>
                    <a:pt x="2773" y="7097"/>
                  </a:lnTo>
                  <a:cubicBezTo>
                    <a:pt x="2364" y="6939"/>
                    <a:pt x="2080" y="6530"/>
                    <a:pt x="2080" y="6057"/>
                  </a:cubicBezTo>
                  <a:lnTo>
                    <a:pt x="2080" y="5364"/>
                  </a:lnTo>
                  <a:cubicBezTo>
                    <a:pt x="2080" y="4892"/>
                    <a:pt x="1923" y="4482"/>
                    <a:pt x="1639" y="4167"/>
                  </a:cubicBezTo>
                  <a:cubicBezTo>
                    <a:pt x="2301" y="3946"/>
                    <a:pt x="2836" y="3253"/>
                    <a:pt x="2836" y="2529"/>
                  </a:cubicBezTo>
                  <a:lnTo>
                    <a:pt x="2836" y="1804"/>
                  </a:lnTo>
                  <a:cubicBezTo>
                    <a:pt x="2836" y="1615"/>
                    <a:pt x="2647" y="1458"/>
                    <a:pt x="2458" y="1458"/>
                  </a:cubicBezTo>
                  <a:lnTo>
                    <a:pt x="1765" y="1458"/>
                  </a:lnTo>
                  <a:cubicBezTo>
                    <a:pt x="789" y="1458"/>
                    <a:pt x="1" y="2245"/>
                    <a:pt x="1" y="3222"/>
                  </a:cubicBezTo>
                  <a:lnTo>
                    <a:pt x="1" y="3946"/>
                  </a:lnTo>
                  <a:lnTo>
                    <a:pt x="1" y="6057"/>
                  </a:lnTo>
                  <a:cubicBezTo>
                    <a:pt x="1" y="7664"/>
                    <a:pt x="978" y="9082"/>
                    <a:pt x="2395" y="9680"/>
                  </a:cubicBezTo>
                  <a:cubicBezTo>
                    <a:pt x="2017" y="10436"/>
                    <a:pt x="1482" y="11067"/>
                    <a:pt x="852" y="11539"/>
                  </a:cubicBezTo>
                  <a:cubicBezTo>
                    <a:pt x="568" y="11728"/>
                    <a:pt x="694" y="12201"/>
                    <a:pt x="1041" y="12201"/>
                  </a:cubicBezTo>
                  <a:lnTo>
                    <a:pt x="11784" y="12201"/>
                  </a:lnTo>
                  <a:cubicBezTo>
                    <a:pt x="11941" y="12201"/>
                    <a:pt x="12099" y="12075"/>
                    <a:pt x="12162" y="11949"/>
                  </a:cubicBezTo>
                  <a:cubicBezTo>
                    <a:pt x="12193" y="11791"/>
                    <a:pt x="12162" y="11634"/>
                    <a:pt x="12004" y="11571"/>
                  </a:cubicBezTo>
                  <a:cubicBezTo>
                    <a:pt x="10933" y="10846"/>
                    <a:pt x="10209" y="9680"/>
                    <a:pt x="10051" y="8389"/>
                  </a:cubicBezTo>
                  <a:lnTo>
                    <a:pt x="11374" y="7065"/>
                  </a:lnTo>
                  <a:cubicBezTo>
                    <a:pt x="11437" y="7002"/>
                    <a:pt x="11469" y="6908"/>
                    <a:pt x="11469" y="6845"/>
                  </a:cubicBezTo>
                  <a:lnTo>
                    <a:pt x="11469" y="5427"/>
                  </a:lnTo>
                  <a:cubicBezTo>
                    <a:pt x="11469" y="5301"/>
                    <a:pt x="11406" y="5175"/>
                    <a:pt x="11311" y="5112"/>
                  </a:cubicBezTo>
                  <a:cubicBezTo>
                    <a:pt x="11264" y="5065"/>
                    <a:pt x="11209" y="5041"/>
                    <a:pt x="11150" y="5041"/>
                  </a:cubicBezTo>
                  <a:cubicBezTo>
                    <a:pt x="11091" y="5041"/>
                    <a:pt x="11028" y="5065"/>
                    <a:pt x="10965" y="5112"/>
                  </a:cubicBezTo>
                  <a:lnTo>
                    <a:pt x="10051" y="5585"/>
                  </a:lnTo>
                  <a:lnTo>
                    <a:pt x="10051" y="4356"/>
                  </a:lnTo>
                  <a:cubicBezTo>
                    <a:pt x="11154" y="4104"/>
                    <a:pt x="12099" y="3064"/>
                    <a:pt x="12099" y="1804"/>
                  </a:cubicBezTo>
                  <a:lnTo>
                    <a:pt x="12099" y="1111"/>
                  </a:lnTo>
                  <a:cubicBezTo>
                    <a:pt x="12099" y="891"/>
                    <a:pt x="11941" y="733"/>
                    <a:pt x="11752" y="733"/>
                  </a:cubicBezTo>
                  <a:lnTo>
                    <a:pt x="11059" y="733"/>
                  </a:lnTo>
                  <a:cubicBezTo>
                    <a:pt x="10524" y="733"/>
                    <a:pt x="10051" y="891"/>
                    <a:pt x="9673" y="1143"/>
                  </a:cubicBezTo>
                  <a:cubicBezTo>
                    <a:pt x="9326" y="512"/>
                    <a:pt x="8759" y="103"/>
                    <a:pt x="8759" y="71"/>
                  </a:cubicBezTo>
                  <a:cubicBezTo>
                    <a:pt x="8696" y="24"/>
                    <a:pt x="8618" y="1"/>
                    <a:pt x="8539"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11069" name="Google Shape;11069;p114"/>
          <p:cNvGrpSpPr/>
          <p:nvPr/>
        </p:nvGrpSpPr>
        <p:grpSpPr>
          <a:xfrm>
            <a:off x="6576390" y="3034112"/>
            <a:ext cx="633500" cy="628576"/>
            <a:chOff x="-18668025" y="2435725"/>
            <a:chExt cx="305625" cy="303250"/>
          </a:xfrm>
        </p:grpSpPr>
        <p:sp>
          <p:nvSpPr>
            <p:cNvPr id="11070" name="Google Shape;11070;p114"/>
            <p:cNvSpPr/>
            <p:nvPr/>
          </p:nvSpPr>
          <p:spPr>
            <a:xfrm>
              <a:off x="-18668025" y="2435725"/>
              <a:ext cx="305625" cy="303250"/>
            </a:xfrm>
            <a:custGeom>
              <a:avLst/>
              <a:gdLst/>
              <a:ahLst/>
              <a:cxnLst/>
              <a:rect l="l" t="t" r="r" b="b"/>
              <a:pathLst>
                <a:path w="12225" h="12130" extrusionOk="0">
                  <a:moveTo>
                    <a:pt x="2143" y="662"/>
                  </a:moveTo>
                  <a:cubicBezTo>
                    <a:pt x="2395" y="662"/>
                    <a:pt x="2679" y="756"/>
                    <a:pt x="2931" y="914"/>
                  </a:cubicBezTo>
                  <a:cubicBezTo>
                    <a:pt x="2679" y="977"/>
                    <a:pt x="2490" y="1103"/>
                    <a:pt x="2301" y="1260"/>
                  </a:cubicBezTo>
                  <a:cubicBezTo>
                    <a:pt x="1734" y="1670"/>
                    <a:pt x="1419" y="2206"/>
                    <a:pt x="1419" y="2804"/>
                  </a:cubicBezTo>
                  <a:lnTo>
                    <a:pt x="1419" y="3308"/>
                  </a:lnTo>
                  <a:cubicBezTo>
                    <a:pt x="978" y="3088"/>
                    <a:pt x="726" y="2647"/>
                    <a:pt x="726" y="2079"/>
                  </a:cubicBezTo>
                  <a:cubicBezTo>
                    <a:pt x="726" y="1292"/>
                    <a:pt x="1356" y="662"/>
                    <a:pt x="2143" y="662"/>
                  </a:cubicBezTo>
                  <a:close/>
                  <a:moveTo>
                    <a:pt x="10020" y="662"/>
                  </a:moveTo>
                  <a:cubicBezTo>
                    <a:pt x="10807" y="662"/>
                    <a:pt x="11437" y="1292"/>
                    <a:pt x="11437" y="2079"/>
                  </a:cubicBezTo>
                  <a:cubicBezTo>
                    <a:pt x="11437" y="2647"/>
                    <a:pt x="11122" y="3119"/>
                    <a:pt x="10681" y="3340"/>
                  </a:cubicBezTo>
                  <a:lnTo>
                    <a:pt x="10681" y="2804"/>
                  </a:lnTo>
                  <a:cubicBezTo>
                    <a:pt x="10681" y="2206"/>
                    <a:pt x="10366" y="1638"/>
                    <a:pt x="9799" y="1260"/>
                  </a:cubicBezTo>
                  <a:cubicBezTo>
                    <a:pt x="9610" y="1134"/>
                    <a:pt x="9421" y="1008"/>
                    <a:pt x="9169" y="945"/>
                  </a:cubicBezTo>
                  <a:cubicBezTo>
                    <a:pt x="9452" y="756"/>
                    <a:pt x="9736" y="662"/>
                    <a:pt x="10020" y="662"/>
                  </a:cubicBezTo>
                  <a:close/>
                  <a:moveTo>
                    <a:pt x="7909" y="1355"/>
                  </a:moveTo>
                  <a:cubicBezTo>
                    <a:pt x="8476" y="1355"/>
                    <a:pt x="9011" y="1512"/>
                    <a:pt x="9484" y="1827"/>
                  </a:cubicBezTo>
                  <a:cubicBezTo>
                    <a:pt x="9893" y="2079"/>
                    <a:pt x="10083" y="2458"/>
                    <a:pt x="10083" y="2804"/>
                  </a:cubicBezTo>
                  <a:lnTo>
                    <a:pt x="10083" y="3434"/>
                  </a:lnTo>
                  <a:cubicBezTo>
                    <a:pt x="10083" y="5072"/>
                    <a:pt x="10587" y="6774"/>
                    <a:pt x="11500" y="8223"/>
                  </a:cubicBezTo>
                  <a:cubicBezTo>
                    <a:pt x="10555" y="10176"/>
                    <a:pt x="8633" y="11436"/>
                    <a:pt x="6491" y="11436"/>
                  </a:cubicBezTo>
                  <a:lnTo>
                    <a:pt x="5640" y="11436"/>
                  </a:lnTo>
                  <a:cubicBezTo>
                    <a:pt x="3561" y="11436"/>
                    <a:pt x="1576" y="10176"/>
                    <a:pt x="757" y="8223"/>
                  </a:cubicBezTo>
                  <a:cubicBezTo>
                    <a:pt x="1671" y="6805"/>
                    <a:pt x="2143" y="5135"/>
                    <a:pt x="2143" y="3434"/>
                  </a:cubicBezTo>
                  <a:lnTo>
                    <a:pt x="2143" y="2804"/>
                  </a:lnTo>
                  <a:cubicBezTo>
                    <a:pt x="2143" y="2458"/>
                    <a:pt x="2332" y="2079"/>
                    <a:pt x="2710" y="1827"/>
                  </a:cubicBezTo>
                  <a:cubicBezTo>
                    <a:pt x="3120" y="1544"/>
                    <a:pt x="3719" y="1355"/>
                    <a:pt x="4286" y="1355"/>
                  </a:cubicBezTo>
                  <a:cubicBezTo>
                    <a:pt x="4884" y="1355"/>
                    <a:pt x="5483" y="1512"/>
                    <a:pt x="5924" y="1827"/>
                  </a:cubicBezTo>
                  <a:cubicBezTo>
                    <a:pt x="5971" y="1859"/>
                    <a:pt x="6034" y="1875"/>
                    <a:pt x="6105" y="1875"/>
                  </a:cubicBezTo>
                  <a:cubicBezTo>
                    <a:pt x="6176" y="1875"/>
                    <a:pt x="6255" y="1859"/>
                    <a:pt x="6333" y="1827"/>
                  </a:cubicBezTo>
                  <a:cubicBezTo>
                    <a:pt x="6743" y="1512"/>
                    <a:pt x="7342" y="1355"/>
                    <a:pt x="7909" y="1355"/>
                  </a:cubicBezTo>
                  <a:close/>
                  <a:moveTo>
                    <a:pt x="2143" y="0"/>
                  </a:moveTo>
                  <a:cubicBezTo>
                    <a:pt x="946" y="0"/>
                    <a:pt x="1" y="945"/>
                    <a:pt x="1" y="2143"/>
                  </a:cubicBezTo>
                  <a:cubicBezTo>
                    <a:pt x="1" y="3025"/>
                    <a:pt x="568" y="3812"/>
                    <a:pt x="1419" y="4127"/>
                  </a:cubicBezTo>
                  <a:cubicBezTo>
                    <a:pt x="1293" y="5514"/>
                    <a:pt x="820" y="6900"/>
                    <a:pt x="95" y="8034"/>
                  </a:cubicBezTo>
                  <a:cubicBezTo>
                    <a:pt x="1" y="8128"/>
                    <a:pt x="1" y="8286"/>
                    <a:pt x="32" y="8349"/>
                  </a:cubicBezTo>
                  <a:cubicBezTo>
                    <a:pt x="474" y="9483"/>
                    <a:pt x="1261" y="10428"/>
                    <a:pt x="2301" y="11121"/>
                  </a:cubicBezTo>
                  <a:cubicBezTo>
                    <a:pt x="3309" y="11783"/>
                    <a:pt x="4443" y="12130"/>
                    <a:pt x="5672" y="12130"/>
                  </a:cubicBezTo>
                  <a:lnTo>
                    <a:pt x="6554" y="12130"/>
                  </a:lnTo>
                  <a:cubicBezTo>
                    <a:pt x="7751" y="12130"/>
                    <a:pt x="8948" y="11783"/>
                    <a:pt x="9925" y="11121"/>
                  </a:cubicBezTo>
                  <a:cubicBezTo>
                    <a:pt x="10965" y="10428"/>
                    <a:pt x="11689" y="9483"/>
                    <a:pt x="12162" y="8349"/>
                  </a:cubicBezTo>
                  <a:cubicBezTo>
                    <a:pt x="12225" y="8223"/>
                    <a:pt x="12225" y="8128"/>
                    <a:pt x="12130" y="8034"/>
                  </a:cubicBezTo>
                  <a:cubicBezTo>
                    <a:pt x="11311" y="6868"/>
                    <a:pt x="10839" y="5514"/>
                    <a:pt x="10713" y="4127"/>
                  </a:cubicBezTo>
                  <a:cubicBezTo>
                    <a:pt x="11532" y="3812"/>
                    <a:pt x="12130" y="3025"/>
                    <a:pt x="12130" y="2143"/>
                  </a:cubicBezTo>
                  <a:cubicBezTo>
                    <a:pt x="12130" y="945"/>
                    <a:pt x="11185" y="0"/>
                    <a:pt x="10020" y="0"/>
                  </a:cubicBezTo>
                  <a:cubicBezTo>
                    <a:pt x="9389" y="0"/>
                    <a:pt x="8791" y="284"/>
                    <a:pt x="8381" y="756"/>
                  </a:cubicBezTo>
                  <a:cubicBezTo>
                    <a:pt x="8224" y="725"/>
                    <a:pt x="8035" y="725"/>
                    <a:pt x="7846" y="725"/>
                  </a:cubicBezTo>
                  <a:cubicBezTo>
                    <a:pt x="7184" y="725"/>
                    <a:pt x="6554" y="882"/>
                    <a:pt x="6081" y="1197"/>
                  </a:cubicBezTo>
                  <a:cubicBezTo>
                    <a:pt x="5546" y="851"/>
                    <a:pt x="4916" y="725"/>
                    <a:pt x="4254" y="725"/>
                  </a:cubicBezTo>
                  <a:cubicBezTo>
                    <a:pt x="4097" y="725"/>
                    <a:pt x="3908" y="725"/>
                    <a:pt x="3750" y="756"/>
                  </a:cubicBezTo>
                  <a:cubicBezTo>
                    <a:pt x="3340" y="284"/>
                    <a:pt x="2773" y="0"/>
                    <a:pt x="2143"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1071" name="Google Shape;11071;p114"/>
            <p:cNvSpPr/>
            <p:nvPr/>
          </p:nvSpPr>
          <p:spPr>
            <a:xfrm>
              <a:off x="-18596350" y="2524725"/>
              <a:ext cx="160700" cy="178800"/>
            </a:xfrm>
            <a:custGeom>
              <a:avLst/>
              <a:gdLst/>
              <a:ahLst/>
              <a:cxnLst/>
              <a:rect l="l" t="t" r="r" b="b"/>
              <a:pathLst>
                <a:path w="6428" h="7152" extrusionOk="0">
                  <a:moveTo>
                    <a:pt x="1072" y="693"/>
                  </a:moveTo>
                  <a:cubicBezTo>
                    <a:pt x="1261" y="693"/>
                    <a:pt x="1419" y="851"/>
                    <a:pt x="1419" y="1040"/>
                  </a:cubicBezTo>
                  <a:cubicBezTo>
                    <a:pt x="1419" y="1260"/>
                    <a:pt x="1261" y="1418"/>
                    <a:pt x="1072" y="1418"/>
                  </a:cubicBezTo>
                  <a:cubicBezTo>
                    <a:pt x="883" y="1418"/>
                    <a:pt x="726" y="1260"/>
                    <a:pt x="726" y="1040"/>
                  </a:cubicBezTo>
                  <a:cubicBezTo>
                    <a:pt x="726" y="851"/>
                    <a:pt x="883" y="693"/>
                    <a:pt x="1072" y="693"/>
                  </a:cubicBezTo>
                  <a:close/>
                  <a:moveTo>
                    <a:pt x="5325" y="693"/>
                  </a:moveTo>
                  <a:cubicBezTo>
                    <a:pt x="5514" y="693"/>
                    <a:pt x="5672" y="851"/>
                    <a:pt x="5672" y="1040"/>
                  </a:cubicBezTo>
                  <a:cubicBezTo>
                    <a:pt x="5672" y="1260"/>
                    <a:pt x="5514" y="1418"/>
                    <a:pt x="5325" y="1418"/>
                  </a:cubicBezTo>
                  <a:cubicBezTo>
                    <a:pt x="5136" y="1418"/>
                    <a:pt x="4979" y="1260"/>
                    <a:pt x="4979" y="1040"/>
                  </a:cubicBezTo>
                  <a:cubicBezTo>
                    <a:pt x="4979" y="851"/>
                    <a:pt x="5136" y="693"/>
                    <a:pt x="5325" y="693"/>
                  </a:cubicBezTo>
                  <a:close/>
                  <a:moveTo>
                    <a:pt x="3214" y="3781"/>
                  </a:moveTo>
                  <a:cubicBezTo>
                    <a:pt x="3372" y="3781"/>
                    <a:pt x="3529" y="3875"/>
                    <a:pt x="3561" y="4001"/>
                  </a:cubicBezTo>
                  <a:lnTo>
                    <a:pt x="3214" y="4442"/>
                  </a:lnTo>
                  <a:lnTo>
                    <a:pt x="2836" y="4001"/>
                  </a:lnTo>
                  <a:cubicBezTo>
                    <a:pt x="2899" y="3844"/>
                    <a:pt x="3057" y="3781"/>
                    <a:pt x="3214" y="3781"/>
                  </a:cubicBezTo>
                  <a:close/>
                  <a:moveTo>
                    <a:pt x="3214" y="1449"/>
                  </a:moveTo>
                  <a:cubicBezTo>
                    <a:pt x="3876" y="1449"/>
                    <a:pt x="4475" y="1922"/>
                    <a:pt x="4632" y="2552"/>
                  </a:cubicBezTo>
                  <a:lnTo>
                    <a:pt x="5136" y="4631"/>
                  </a:lnTo>
                  <a:cubicBezTo>
                    <a:pt x="5357" y="5545"/>
                    <a:pt x="4664" y="6459"/>
                    <a:pt x="3718" y="6459"/>
                  </a:cubicBezTo>
                  <a:lnTo>
                    <a:pt x="3561" y="6459"/>
                  </a:lnTo>
                  <a:lnTo>
                    <a:pt x="3561" y="5136"/>
                  </a:lnTo>
                  <a:lnTo>
                    <a:pt x="4191" y="4348"/>
                  </a:lnTo>
                  <a:cubicBezTo>
                    <a:pt x="4223" y="4285"/>
                    <a:pt x="4254" y="4190"/>
                    <a:pt x="4254" y="4127"/>
                  </a:cubicBezTo>
                  <a:cubicBezTo>
                    <a:pt x="4254" y="3529"/>
                    <a:pt x="3781" y="3056"/>
                    <a:pt x="3214" y="3056"/>
                  </a:cubicBezTo>
                  <a:cubicBezTo>
                    <a:pt x="2616" y="3056"/>
                    <a:pt x="2143" y="3529"/>
                    <a:pt x="2143" y="4127"/>
                  </a:cubicBezTo>
                  <a:cubicBezTo>
                    <a:pt x="2143" y="4190"/>
                    <a:pt x="2175" y="4285"/>
                    <a:pt x="2206" y="4348"/>
                  </a:cubicBezTo>
                  <a:lnTo>
                    <a:pt x="2836" y="5136"/>
                  </a:lnTo>
                  <a:lnTo>
                    <a:pt x="2836" y="6459"/>
                  </a:lnTo>
                  <a:lnTo>
                    <a:pt x="2679" y="6459"/>
                  </a:lnTo>
                  <a:cubicBezTo>
                    <a:pt x="1734" y="6459"/>
                    <a:pt x="1041" y="5545"/>
                    <a:pt x="1261" y="4631"/>
                  </a:cubicBezTo>
                  <a:lnTo>
                    <a:pt x="1797" y="2552"/>
                  </a:lnTo>
                  <a:cubicBezTo>
                    <a:pt x="1954" y="1891"/>
                    <a:pt x="2521" y="1449"/>
                    <a:pt x="3214" y="1449"/>
                  </a:cubicBezTo>
                  <a:close/>
                  <a:moveTo>
                    <a:pt x="1072" y="0"/>
                  </a:moveTo>
                  <a:cubicBezTo>
                    <a:pt x="473" y="0"/>
                    <a:pt x="1" y="441"/>
                    <a:pt x="1" y="1040"/>
                  </a:cubicBezTo>
                  <a:cubicBezTo>
                    <a:pt x="1" y="1638"/>
                    <a:pt x="473" y="2111"/>
                    <a:pt x="1072" y="2111"/>
                  </a:cubicBezTo>
                  <a:lnTo>
                    <a:pt x="1167" y="2111"/>
                  </a:lnTo>
                  <a:cubicBezTo>
                    <a:pt x="1104" y="2174"/>
                    <a:pt x="1104" y="2269"/>
                    <a:pt x="1072" y="2332"/>
                  </a:cubicBezTo>
                  <a:lnTo>
                    <a:pt x="568" y="4442"/>
                  </a:lnTo>
                  <a:cubicBezTo>
                    <a:pt x="221" y="5797"/>
                    <a:pt x="1261" y="7152"/>
                    <a:pt x="2679" y="7152"/>
                  </a:cubicBezTo>
                  <a:lnTo>
                    <a:pt x="3718" y="7152"/>
                  </a:lnTo>
                  <a:cubicBezTo>
                    <a:pt x="5136" y="7152"/>
                    <a:pt x="6207" y="5797"/>
                    <a:pt x="5829" y="4442"/>
                  </a:cubicBezTo>
                  <a:lnTo>
                    <a:pt x="5325" y="2332"/>
                  </a:lnTo>
                  <a:cubicBezTo>
                    <a:pt x="5294" y="2269"/>
                    <a:pt x="5294" y="2174"/>
                    <a:pt x="5262" y="2111"/>
                  </a:cubicBezTo>
                  <a:lnTo>
                    <a:pt x="5325" y="2111"/>
                  </a:lnTo>
                  <a:cubicBezTo>
                    <a:pt x="5924" y="2111"/>
                    <a:pt x="6396" y="1638"/>
                    <a:pt x="6396" y="1040"/>
                  </a:cubicBezTo>
                  <a:cubicBezTo>
                    <a:pt x="6428" y="473"/>
                    <a:pt x="5924" y="0"/>
                    <a:pt x="5325" y="0"/>
                  </a:cubicBezTo>
                  <a:cubicBezTo>
                    <a:pt x="4790" y="0"/>
                    <a:pt x="4317" y="410"/>
                    <a:pt x="4254" y="977"/>
                  </a:cubicBezTo>
                  <a:cubicBezTo>
                    <a:pt x="3939" y="788"/>
                    <a:pt x="3592" y="693"/>
                    <a:pt x="3214" y="693"/>
                  </a:cubicBezTo>
                  <a:cubicBezTo>
                    <a:pt x="2805" y="693"/>
                    <a:pt x="2458" y="819"/>
                    <a:pt x="2143" y="977"/>
                  </a:cubicBezTo>
                  <a:cubicBezTo>
                    <a:pt x="2112" y="410"/>
                    <a:pt x="1639" y="0"/>
                    <a:pt x="1072"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11072" name="Google Shape;11072;p114"/>
          <p:cNvGrpSpPr/>
          <p:nvPr/>
        </p:nvGrpSpPr>
        <p:grpSpPr>
          <a:xfrm>
            <a:off x="6575586" y="3801204"/>
            <a:ext cx="635105" cy="631841"/>
            <a:chOff x="-18668800" y="2807475"/>
            <a:chExt cx="306400" cy="304825"/>
          </a:xfrm>
        </p:grpSpPr>
        <p:sp>
          <p:nvSpPr>
            <p:cNvPr id="11073" name="Google Shape;11073;p114"/>
            <p:cNvSpPr/>
            <p:nvPr/>
          </p:nvSpPr>
          <p:spPr>
            <a:xfrm>
              <a:off x="-18632575" y="2951600"/>
              <a:ext cx="18150" cy="35475"/>
            </a:xfrm>
            <a:custGeom>
              <a:avLst/>
              <a:gdLst/>
              <a:ahLst/>
              <a:cxnLst/>
              <a:rect l="l" t="t" r="r" b="b"/>
              <a:pathLst>
                <a:path w="726" h="1419" extrusionOk="0">
                  <a:moveTo>
                    <a:pt x="347" y="1"/>
                  </a:moveTo>
                  <a:cubicBezTo>
                    <a:pt x="158" y="1"/>
                    <a:pt x="1" y="158"/>
                    <a:pt x="1" y="347"/>
                  </a:cubicBezTo>
                  <a:lnTo>
                    <a:pt x="1" y="1072"/>
                  </a:lnTo>
                  <a:cubicBezTo>
                    <a:pt x="1" y="1261"/>
                    <a:pt x="158" y="1419"/>
                    <a:pt x="347" y="1419"/>
                  </a:cubicBezTo>
                  <a:cubicBezTo>
                    <a:pt x="568" y="1419"/>
                    <a:pt x="725" y="1261"/>
                    <a:pt x="725" y="1072"/>
                  </a:cubicBezTo>
                  <a:lnTo>
                    <a:pt x="725" y="347"/>
                  </a:lnTo>
                  <a:cubicBezTo>
                    <a:pt x="725" y="158"/>
                    <a:pt x="568" y="1"/>
                    <a:pt x="347"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1074" name="Google Shape;11074;p114"/>
            <p:cNvSpPr/>
            <p:nvPr/>
          </p:nvSpPr>
          <p:spPr>
            <a:xfrm>
              <a:off x="-18597125" y="2916175"/>
              <a:ext cx="18125" cy="35450"/>
            </a:xfrm>
            <a:custGeom>
              <a:avLst/>
              <a:gdLst/>
              <a:ahLst/>
              <a:cxnLst/>
              <a:rect l="l" t="t" r="r" b="b"/>
              <a:pathLst>
                <a:path w="725" h="1418" extrusionOk="0">
                  <a:moveTo>
                    <a:pt x="347" y="0"/>
                  </a:moveTo>
                  <a:cubicBezTo>
                    <a:pt x="158" y="0"/>
                    <a:pt x="0" y="158"/>
                    <a:pt x="0" y="347"/>
                  </a:cubicBezTo>
                  <a:lnTo>
                    <a:pt x="0" y="1071"/>
                  </a:lnTo>
                  <a:cubicBezTo>
                    <a:pt x="0" y="1260"/>
                    <a:pt x="158" y="1418"/>
                    <a:pt x="347" y="1418"/>
                  </a:cubicBezTo>
                  <a:cubicBezTo>
                    <a:pt x="567" y="1418"/>
                    <a:pt x="725" y="1260"/>
                    <a:pt x="725" y="1071"/>
                  </a:cubicBezTo>
                  <a:lnTo>
                    <a:pt x="725" y="347"/>
                  </a:lnTo>
                  <a:cubicBezTo>
                    <a:pt x="725" y="158"/>
                    <a:pt x="567" y="0"/>
                    <a:pt x="347"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1075" name="Google Shape;11075;p114"/>
            <p:cNvSpPr/>
            <p:nvPr/>
          </p:nvSpPr>
          <p:spPr>
            <a:xfrm>
              <a:off x="-18668800" y="2807475"/>
              <a:ext cx="306400" cy="304825"/>
            </a:xfrm>
            <a:custGeom>
              <a:avLst/>
              <a:gdLst/>
              <a:ahLst/>
              <a:cxnLst/>
              <a:rect l="l" t="t" r="r" b="b"/>
              <a:pathLst>
                <a:path w="12256" h="12193" extrusionOk="0">
                  <a:moveTo>
                    <a:pt x="3970" y="946"/>
                  </a:moveTo>
                  <a:cubicBezTo>
                    <a:pt x="4128" y="1198"/>
                    <a:pt x="4348" y="1513"/>
                    <a:pt x="4348" y="1859"/>
                  </a:cubicBezTo>
                  <a:lnTo>
                    <a:pt x="4348" y="2017"/>
                  </a:lnTo>
                  <a:cubicBezTo>
                    <a:pt x="4299" y="2260"/>
                    <a:pt x="4476" y="2447"/>
                    <a:pt x="4690" y="2447"/>
                  </a:cubicBezTo>
                  <a:cubicBezTo>
                    <a:pt x="4753" y="2447"/>
                    <a:pt x="4819" y="2431"/>
                    <a:pt x="4884" y="2395"/>
                  </a:cubicBezTo>
                  <a:cubicBezTo>
                    <a:pt x="5041" y="2269"/>
                    <a:pt x="5230" y="2237"/>
                    <a:pt x="5451" y="2237"/>
                  </a:cubicBezTo>
                  <a:lnTo>
                    <a:pt x="5766" y="2237"/>
                  </a:lnTo>
                  <a:cubicBezTo>
                    <a:pt x="5608" y="2647"/>
                    <a:pt x="5199" y="2930"/>
                    <a:pt x="4726" y="2930"/>
                  </a:cubicBezTo>
                  <a:lnTo>
                    <a:pt x="3214" y="2930"/>
                  </a:lnTo>
                  <a:cubicBezTo>
                    <a:pt x="2741" y="2930"/>
                    <a:pt x="2363" y="2615"/>
                    <a:pt x="2206" y="2237"/>
                  </a:cubicBezTo>
                  <a:lnTo>
                    <a:pt x="2521" y="2237"/>
                  </a:lnTo>
                  <a:cubicBezTo>
                    <a:pt x="2710" y="2237"/>
                    <a:pt x="2899" y="2269"/>
                    <a:pt x="3056" y="2395"/>
                  </a:cubicBezTo>
                  <a:cubicBezTo>
                    <a:pt x="3117" y="2428"/>
                    <a:pt x="3179" y="2443"/>
                    <a:pt x="3238" y="2443"/>
                  </a:cubicBezTo>
                  <a:cubicBezTo>
                    <a:pt x="3459" y="2443"/>
                    <a:pt x="3648" y="2240"/>
                    <a:pt x="3624" y="2017"/>
                  </a:cubicBezTo>
                  <a:lnTo>
                    <a:pt x="3624" y="1859"/>
                  </a:lnTo>
                  <a:cubicBezTo>
                    <a:pt x="3624" y="1513"/>
                    <a:pt x="3813" y="1198"/>
                    <a:pt x="3970" y="946"/>
                  </a:cubicBezTo>
                  <a:close/>
                  <a:moveTo>
                    <a:pt x="8853" y="3718"/>
                  </a:moveTo>
                  <a:lnTo>
                    <a:pt x="9042" y="3907"/>
                  </a:lnTo>
                  <a:cubicBezTo>
                    <a:pt x="9168" y="4033"/>
                    <a:pt x="9294" y="4222"/>
                    <a:pt x="9326" y="4443"/>
                  </a:cubicBezTo>
                  <a:cubicBezTo>
                    <a:pt x="9382" y="4591"/>
                    <a:pt x="9536" y="4685"/>
                    <a:pt x="9686" y="4685"/>
                  </a:cubicBezTo>
                  <a:cubicBezTo>
                    <a:pt x="9790" y="4685"/>
                    <a:pt x="9892" y="4640"/>
                    <a:pt x="9956" y="4537"/>
                  </a:cubicBezTo>
                  <a:cubicBezTo>
                    <a:pt x="9988" y="4506"/>
                    <a:pt x="10051" y="4474"/>
                    <a:pt x="10051" y="4443"/>
                  </a:cubicBezTo>
                  <a:cubicBezTo>
                    <a:pt x="10271" y="4191"/>
                    <a:pt x="10681" y="4065"/>
                    <a:pt x="10901" y="4033"/>
                  </a:cubicBezTo>
                  <a:lnTo>
                    <a:pt x="10901" y="4033"/>
                  </a:lnTo>
                  <a:cubicBezTo>
                    <a:pt x="10870" y="4317"/>
                    <a:pt x="10775" y="4663"/>
                    <a:pt x="10523" y="4915"/>
                  </a:cubicBezTo>
                  <a:cubicBezTo>
                    <a:pt x="10460" y="4947"/>
                    <a:pt x="10429" y="4947"/>
                    <a:pt x="10397" y="4978"/>
                  </a:cubicBezTo>
                  <a:cubicBezTo>
                    <a:pt x="10145" y="5167"/>
                    <a:pt x="10240" y="5545"/>
                    <a:pt x="10523" y="5608"/>
                  </a:cubicBezTo>
                  <a:cubicBezTo>
                    <a:pt x="10712" y="5640"/>
                    <a:pt x="10870" y="5766"/>
                    <a:pt x="11027" y="5892"/>
                  </a:cubicBezTo>
                  <a:lnTo>
                    <a:pt x="11216" y="6081"/>
                  </a:lnTo>
                  <a:cubicBezTo>
                    <a:pt x="11059" y="6144"/>
                    <a:pt x="10901" y="6207"/>
                    <a:pt x="10744" y="6207"/>
                  </a:cubicBezTo>
                  <a:cubicBezTo>
                    <a:pt x="10460" y="6207"/>
                    <a:pt x="10208" y="6081"/>
                    <a:pt x="9988" y="5892"/>
                  </a:cubicBezTo>
                  <a:lnTo>
                    <a:pt x="8979" y="4852"/>
                  </a:lnTo>
                  <a:cubicBezTo>
                    <a:pt x="8727" y="4632"/>
                    <a:pt x="8664" y="4159"/>
                    <a:pt x="8853" y="3718"/>
                  </a:cubicBezTo>
                  <a:close/>
                  <a:moveTo>
                    <a:pt x="3970" y="3687"/>
                  </a:moveTo>
                  <a:cubicBezTo>
                    <a:pt x="4852" y="3687"/>
                    <a:pt x="5514" y="3750"/>
                    <a:pt x="6018" y="3939"/>
                  </a:cubicBezTo>
                  <a:cubicBezTo>
                    <a:pt x="5640" y="4096"/>
                    <a:pt x="5199" y="4348"/>
                    <a:pt x="4852" y="4726"/>
                  </a:cubicBezTo>
                  <a:cubicBezTo>
                    <a:pt x="4033" y="5577"/>
                    <a:pt x="3340" y="6837"/>
                    <a:pt x="3025" y="8129"/>
                  </a:cubicBezTo>
                  <a:cubicBezTo>
                    <a:pt x="2804" y="9042"/>
                    <a:pt x="2804" y="9830"/>
                    <a:pt x="2993" y="10492"/>
                  </a:cubicBezTo>
                  <a:cubicBezTo>
                    <a:pt x="2426" y="10113"/>
                    <a:pt x="2017" y="9578"/>
                    <a:pt x="1639" y="8948"/>
                  </a:cubicBezTo>
                  <a:cubicBezTo>
                    <a:pt x="1103" y="7971"/>
                    <a:pt x="757" y="6742"/>
                    <a:pt x="757" y="5797"/>
                  </a:cubicBezTo>
                  <a:cubicBezTo>
                    <a:pt x="757" y="4222"/>
                    <a:pt x="1576" y="3687"/>
                    <a:pt x="3970" y="3687"/>
                  </a:cubicBezTo>
                  <a:close/>
                  <a:moveTo>
                    <a:pt x="6672" y="4532"/>
                  </a:moveTo>
                  <a:cubicBezTo>
                    <a:pt x="7416" y="4532"/>
                    <a:pt x="8169" y="5082"/>
                    <a:pt x="9042" y="5955"/>
                  </a:cubicBezTo>
                  <a:cubicBezTo>
                    <a:pt x="10555" y="7467"/>
                    <a:pt x="11059" y="8538"/>
                    <a:pt x="9798" y="9735"/>
                  </a:cubicBezTo>
                  <a:cubicBezTo>
                    <a:pt x="9105" y="10460"/>
                    <a:pt x="7908" y="11090"/>
                    <a:pt x="6774" y="11374"/>
                  </a:cubicBezTo>
                  <a:cubicBezTo>
                    <a:pt x="6350" y="11482"/>
                    <a:pt x="5952" y="11535"/>
                    <a:pt x="5591" y="11535"/>
                  </a:cubicBezTo>
                  <a:cubicBezTo>
                    <a:pt x="4905" y="11535"/>
                    <a:pt x="4352" y="11346"/>
                    <a:pt x="4002" y="10996"/>
                  </a:cubicBezTo>
                  <a:cubicBezTo>
                    <a:pt x="3466" y="10460"/>
                    <a:pt x="3340" y="9452"/>
                    <a:pt x="3655" y="8255"/>
                  </a:cubicBezTo>
                  <a:cubicBezTo>
                    <a:pt x="3939" y="7089"/>
                    <a:pt x="4569" y="5923"/>
                    <a:pt x="5262" y="5230"/>
                  </a:cubicBezTo>
                  <a:cubicBezTo>
                    <a:pt x="5746" y="4746"/>
                    <a:pt x="6207" y="4532"/>
                    <a:pt x="6672" y="4532"/>
                  </a:cubicBezTo>
                  <a:close/>
                  <a:moveTo>
                    <a:pt x="3935" y="0"/>
                  </a:moveTo>
                  <a:cubicBezTo>
                    <a:pt x="3844" y="0"/>
                    <a:pt x="3750" y="32"/>
                    <a:pt x="3687" y="95"/>
                  </a:cubicBezTo>
                  <a:cubicBezTo>
                    <a:pt x="3655" y="126"/>
                    <a:pt x="3025" y="694"/>
                    <a:pt x="2899" y="1481"/>
                  </a:cubicBezTo>
                  <a:cubicBezTo>
                    <a:pt x="2804" y="1418"/>
                    <a:pt x="2647" y="1418"/>
                    <a:pt x="2521" y="1418"/>
                  </a:cubicBezTo>
                  <a:lnTo>
                    <a:pt x="1796" y="1418"/>
                  </a:lnTo>
                  <a:cubicBezTo>
                    <a:pt x="1607" y="1418"/>
                    <a:pt x="1450" y="1576"/>
                    <a:pt x="1450" y="1796"/>
                  </a:cubicBezTo>
                  <a:cubicBezTo>
                    <a:pt x="1450" y="2300"/>
                    <a:pt x="1639" y="2741"/>
                    <a:pt x="1954" y="3056"/>
                  </a:cubicBezTo>
                  <a:cubicBezTo>
                    <a:pt x="694" y="3371"/>
                    <a:pt x="0" y="4222"/>
                    <a:pt x="0" y="5671"/>
                  </a:cubicBezTo>
                  <a:cubicBezTo>
                    <a:pt x="0" y="6774"/>
                    <a:pt x="378" y="8097"/>
                    <a:pt x="1009" y="9200"/>
                  </a:cubicBezTo>
                  <a:cubicBezTo>
                    <a:pt x="1702" y="10397"/>
                    <a:pt x="2552" y="11153"/>
                    <a:pt x="3466" y="11405"/>
                  </a:cubicBezTo>
                  <a:cubicBezTo>
                    <a:pt x="4002" y="11941"/>
                    <a:pt x="4758" y="12193"/>
                    <a:pt x="5545" y="12193"/>
                  </a:cubicBezTo>
                  <a:cubicBezTo>
                    <a:pt x="5986" y="12193"/>
                    <a:pt x="6427" y="12098"/>
                    <a:pt x="6932" y="11972"/>
                  </a:cubicBezTo>
                  <a:cubicBezTo>
                    <a:pt x="8192" y="11657"/>
                    <a:pt x="9483" y="10964"/>
                    <a:pt x="10303" y="10177"/>
                  </a:cubicBezTo>
                  <a:cubicBezTo>
                    <a:pt x="11374" y="9105"/>
                    <a:pt x="11468" y="8034"/>
                    <a:pt x="10838" y="6900"/>
                  </a:cubicBezTo>
                  <a:lnTo>
                    <a:pt x="10838" y="6900"/>
                  </a:lnTo>
                  <a:cubicBezTo>
                    <a:pt x="10921" y="6917"/>
                    <a:pt x="11002" y="6924"/>
                    <a:pt x="11081" y="6924"/>
                  </a:cubicBezTo>
                  <a:cubicBezTo>
                    <a:pt x="11453" y="6924"/>
                    <a:pt x="11787" y="6750"/>
                    <a:pt x="12098" y="6490"/>
                  </a:cubicBezTo>
                  <a:cubicBezTo>
                    <a:pt x="12256" y="6333"/>
                    <a:pt x="12256" y="6112"/>
                    <a:pt x="12098" y="5955"/>
                  </a:cubicBezTo>
                  <a:lnTo>
                    <a:pt x="11563" y="5451"/>
                  </a:lnTo>
                  <a:cubicBezTo>
                    <a:pt x="11500" y="5388"/>
                    <a:pt x="11374" y="5293"/>
                    <a:pt x="11248" y="5230"/>
                  </a:cubicBezTo>
                  <a:cubicBezTo>
                    <a:pt x="11689" y="4537"/>
                    <a:pt x="11657" y="3718"/>
                    <a:pt x="11657" y="3687"/>
                  </a:cubicBezTo>
                  <a:cubicBezTo>
                    <a:pt x="11657" y="3497"/>
                    <a:pt x="11500" y="3371"/>
                    <a:pt x="11311" y="3308"/>
                  </a:cubicBezTo>
                  <a:cubicBezTo>
                    <a:pt x="11303" y="3308"/>
                    <a:pt x="11283" y="3308"/>
                    <a:pt x="11252" y="3308"/>
                  </a:cubicBezTo>
                  <a:cubicBezTo>
                    <a:pt x="11038" y="3308"/>
                    <a:pt x="10318" y="3332"/>
                    <a:pt x="9767" y="3718"/>
                  </a:cubicBezTo>
                  <a:cubicBezTo>
                    <a:pt x="9672" y="3592"/>
                    <a:pt x="9609" y="3529"/>
                    <a:pt x="9515" y="3403"/>
                  </a:cubicBezTo>
                  <a:lnTo>
                    <a:pt x="9011" y="2899"/>
                  </a:lnTo>
                  <a:cubicBezTo>
                    <a:pt x="8932" y="2820"/>
                    <a:pt x="8845" y="2781"/>
                    <a:pt x="8759" y="2781"/>
                  </a:cubicBezTo>
                  <a:cubicBezTo>
                    <a:pt x="8672" y="2781"/>
                    <a:pt x="8586" y="2820"/>
                    <a:pt x="8507" y="2899"/>
                  </a:cubicBezTo>
                  <a:cubicBezTo>
                    <a:pt x="8160" y="3245"/>
                    <a:pt x="8003" y="3718"/>
                    <a:pt x="8003" y="4159"/>
                  </a:cubicBezTo>
                  <a:cubicBezTo>
                    <a:pt x="7751" y="4033"/>
                    <a:pt x="7530" y="3907"/>
                    <a:pt x="7278" y="3844"/>
                  </a:cubicBezTo>
                  <a:cubicBezTo>
                    <a:pt x="7247" y="3844"/>
                    <a:pt x="7215" y="3844"/>
                    <a:pt x="7215" y="3781"/>
                  </a:cubicBezTo>
                  <a:cubicBezTo>
                    <a:pt x="6900" y="3466"/>
                    <a:pt x="6459" y="3214"/>
                    <a:pt x="5860" y="3088"/>
                  </a:cubicBezTo>
                  <a:cubicBezTo>
                    <a:pt x="6207" y="2773"/>
                    <a:pt x="6427" y="2300"/>
                    <a:pt x="6427" y="1796"/>
                  </a:cubicBezTo>
                  <a:cubicBezTo>
                    <a:pt x="6427" y="1576"/>
                    <a:pt x="6270" y="1418"/>
                    <a:pt x="6049" y="1418"/>
                  </a:cubicBezTo>
                  <a:lnTo>
                    <a:pt x="5356" y="1418"/>
                  </a:lnTo>
                  <a:cubicBezTo>
                    <a:pt x="5230" y="1418"/>
                    <a:pt x="5073" y="1418"/>
                    <a:pt x="4947" y="1481"/>
                  </a:cubicBezTo>
                  <a:cubicBezTo>
                    <a:pt x="4789" y="694"/>
                    <a:pt x="4159" y="126"/>
                    <a:pt x="4159" y="95"/>
                  </a:cubicBezTo>
                  <a:cubicBezTo>
                    <a:pt x="4112" y="32"/>
                    <a:pt x="4025" y="0"/>
                    <a:pt x="3935"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1076" name="Google Shape;11076;p114"/>
            <p:cNvSpPr/>
            <p:nvPr/>
          </p:nvSpPr>
          <p:spPr>
            <a:xfrm>
              <a:off x="-18496300" y="2977800"/>
              <a:ext cx="33100" cy="31925"/>
            </a:xfrm>
            <a:custGeom>
              <a:avLst/>
              <a:gdLst/>
              <a:ahLst/>
              <a:cxnLst/>
              <a:rect l="l" t="t" r="r" b="b"/>
              <a:pathLst>
                <a:path w="1324" h="1277" extrusionOk="0">
                  <a:moveTo>
                    <a:pt x="914" y="0"/>
                  </a:moveTo>
                  <a:cubicBezTo>
                    <a:pt x="827" y="0"/>
                    <a:pt x="740" y="40"/>
                    <a:pt x="662" y="119"/>
                  </a:cubicBezTo>
                  <a:lnTo>
                    <a:pt x="158" y="654"/>
                  </a:lnTo>
                  <a:cubicBezTo>
                    <a:pt x="0" y="812"/>
                    <a:pt x="0" y="1001"/>
                    <a:pt x="158" y="1158"/>
                  </a:cubicBezTo>
                  <a:cubicBezTo>
                    <a:pt x="205" y="1237"/>
                    <a:pt x="291" y="1276"/>
                    <a:pt x="386" y="1276"/>
                  </a:cubicBezTo>
                  <a:cubicBezTo>
                    <a:pt x="480" y="1276"/>
                    <a:pt x="583" y="1237"/>
                    <a:pt x="662" y="1158"/>
                  </a:cubicBezTo>
                  <a:lnTo>
                    <a:pt x="1166" y="654"/>
                  </a:lnTo>
                  <a:cubicBezTo>
                    <a:pt x="1323" y="497"/>
                    <a:pt x="1323" y="276"/>
                    <a:pt x="1166" y="119"/>
                  </a:cubicBezTo>
                  <a:cubicBezTo>
                    <a:pt x="1087" y="40"/>
                    <a:pt x="1000" y="0"/>
                    <a:pt x="914"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1077" name="Google Shape;11077;p114"/>
            <p:cNvSpPr/>
            <p:nvPr/>
          </p:nvSpPr>
          <p:spPr>
            <a:xfrm>
              <a:off x="-18559325" y="3042375"/>
              <a:ext cx="33100" cy="31150"/>
            </a:xfrm>
            <a:custGeom>
              <a:avLst/>
              <a:gdLst/>
              <a:ahLst/>
              <a:cxnLst/>
              <a:rect l="l" t="t" r="r" b="b"/>
              <a:pathLst>
                <a:path w="1324" h="1246" extrusionOk="0">
                  <a:moveTo>
                    <a:pt x="902" y="1"/>
                  </a:moveTo>
                  <a:cubicBezTo>
                    <a:pt x="812" y="1"/>
                    <a:pt x="725" y="40"/>
                    <a:pt x="662" y="119"/>
                  </a:cubicBezTo>
                  <a:lnTo>
                    <a:pt x="158" y="623"/>
                  </a:lnTo>
                  <a:cubicBezTo>
                    <a:pt x="1" y="781"/>
                    <a:pt x="1" y="970"/>
                    <a:pt x="158" y="1127"/>
                  </a:cubicBezTo>
                  <a:cubicBezTo>
                    <a:pt x="237" y="1206"/>
                    <a:pt x="324" y="1245"/>
                    <a:pt x="410" y="1245"/>
                  </a:cubicBezTo>
                  <a:cubicBezTo>
                    <a:pt x="497" y="1245"/>
                    <a:pt x="583" y="1206"/>
                    <a:pt x="662" y="1127"/>
                  </a:cubicBezTo>
                  <a:lnTo>
                    <a:pt x="1166" y="623"/>
                  </a:lnTo>
                  <a:cubicBezTo>
                    <a:pt x="1324" y="465"/>
                    <a:pt x="1324" y="276"/>
                    <a:pt x="1166" y="119"/>
                  </a:cubicBezTo>
                  <a:cubicBezTo>
                    <a:pt x="1088" y="40"/>
                    <a:pt x="993" y="1"/>
                    <a:pt x="902"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1078" name="Google Shape;11078;p114"/>
            <p:cNvSpPr/>
            <p:nvPr/>
          </p:nvSpPr>
          <p:spPr>
            <a:xfrm>
              <a:off x="-18559325" y="2991175"/>
              <a:ext cx="33100" cy="31150"/>
            </a:xfrm>
            <a:custGeom>
              <a:avLst/>
              <a:gdLst/>
              <a:ahLst/>
              <a:cxnLst/>
              <a:rect l="l" t="t" r="r" b="b"/>
              <a:pathLst>
                <a:path w="1324" h="1246" extrusionOk="0">
                  <a:moveTo>
                    <a:pt x="914" y="1"/>
                  </a:moveTo>
                  <a:cubicBezTo>
                    <a:pt x="828" y="1"/>
                    <a:pt x="741" y="40"/>
                    <a:pt x="662" y="119"/>
                  </a:cubicBezTo>
                  <a:lnTo>
                    <a:pt x="158" y="623"/>
                  </a:lnTo>
                  <a:cubicBezTo>
                    <a:pt x="1" y="781"/>
                    <a:pt x="1" y="970"/>
                    <a:pt x="158" y="1127"/>
                  </a:cubicBezTo>
                  <a:cubicBezTo>
                    <a:pt x="205" y="1206"/>
                    <a:pt x="292" y="1245"/>
                    <a:pt x="387" y="1245"/>
                  </a:cubicBezTo>
                  <a:cubicBezTo>
                    <a:pt x="481" y="1245"/>
                    <a:pt x="583" y="1206"/>
                    <a:pt x="662" y="1127"/>
                  </a:cubicBezTo>
                  <a:lnTo>
                    <a:pt x="1166" y="623"/>
                  </a:lnTo>
                  <a:cubicBezTo>
                    <a:pt x="1324" y="466"/>
                    <a:pt x="1324" y="277"/>
                    <a:pt x="1166" y="119"/>
                  </a:cubicBezTo>
                  <a:cubicBezTo>
                    <a:pt x="1088" y="40"/>
                    <a:pt x="1001" y="1"/>
                    <a:pt x="914"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1079" name="Google Shape;11079;p114"/>
            <p:cNvSpPr/>
            <p:nvPr/>
          </p:nvSpPr>
          <p:spPr>
            <a:xfrm>
              <a:off x="-18491575" y="3024275"/>
              <a:ext cx="33100" cy="31925"/>
            </a:xfrm>
            <a:custGeom>
              <a:avLst/>
              <a:gdLst/>
              <a:ahLst/>
              <a:cxnLst/>
              <a:rect l="l" t="t" r="r" b="b"/>
              <a:pathLst>
                <a:path w="1324" h="1277" extrusionOk="0">
                  <a:moveTo>
                    <a:pt x="902" y="0"/>
                  </a:moveTo>
                  <a:cubicBezTo>
                    <a:pt x="811" y="0"/>
                    <a:pt x="725" y="40"/>
                    <a:pt x="662" y="118"/>
                  </a:cubicBezTo>
                  <a:lnTo>
                    <a:pt x="158" y="654"/>
                  </a:lnTo>
                  <a:cubicBezTo>
                    <a:pt x="0" y="811"/>
                    <a:pt x="0" y="1000"/>
                    <a:pt x="158" y="1158"/>
                  </a:cubicBezTo>
                  <a:cubicBezTo>
                    <a:pt x="236" y="1237"/>
                    <a:pt x="323" y="1276"/>
                    <a:pt x="410" y="1276"/>
                  </a:cubicBezTo>
                  <a:cubicBezTo>
                    <a:pt x="496" y="1276"/>
                    <a:pt x="583" y="1237"/>
                    <a:pt x="662" y="1158"/>
                  </a:cubicBezTo>
                  <a:lnTo>
                    <a:pt x="1166" y="654"/>
                  </a:lnTo>
                  <a:cubicBezTo>
                    <a:pt x="1323" y="496"/>
                    <a:pt x="1323" y="276"/>
                    <a:pt x="1166" y="118"/>
                  </a:cubicBezTo>
                  <a:cubicBezTo>
                    <a:pt x="1087" y="40"/>
                    <a:pt x="992" y="0"/>
                    <a:pt x="902"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1080" name="Google Shape;11080;p114"/>
            <p:cNvSpPr/>
            <p:nvPr/>
          </p:nvSpPr>
          <p:spPr>
            <a:xfrm>
              <a:off x="-18522300" y="2928175"/>
              <a:ext cx="32300" cy="31125"/>
            </a:xfrm>
            <a:custGeom>
              <a:avLst/>
              <a:gdLst/>
              <a:ahLst/>
              <a:cxnLst/>
              <a:rect l="l" t="t" r="r" b="b"/>
              <a:pathLst>
                <a:path w="1292" h="1245" extrusionOk="0">
                  <a:moveTo>
                    <a:pt x="930" y="1"/>
                  </a:moveTo>
                  <a:cubicBezTo>
                    <a:pt x="835" y="1"/>
                    <a:pt x="741" y="40"/>
                    <a:pt x="662" y="119"/>
                  </a:cubicBezTo>
                  <a:lnTo>
                    <a:pt x="158" y="623"/>
                  </a:lnTo>
                  <a:cubicBezTo>
                    <a:pt x="0" y="780"/>
                    <a:pt x="0" y="969"/>
                    <a:pt x="158" y="1127"/>
                  </a:cubicBezTo>
                  <a:cubicBezTo>
                    <a:pt x="237" y="1206"/>
                    <a:pt x="331" y="1245"/>
                    <a:pt x="422" y="1245"/>
                  </a:cubicBezTo>
                  <a:cubicBezTo>
                    <a:pt x="512" y="1245"/>
                    <a:pt x="599" y="1206"/>
                    <a:pt x="662" y="1127"/>
                  </a:cubicBezTo>
                  <a:lnTo>
                    <a:pt x="1198" y="623"/>
                  </a:lnTo>
                  <a:cubicBezTo>
                    <a:pt x="1292" y="497"/>
                    <a:pt x="1292" y="276"/>
                    <a:pt x="1198" y="119"/>
                  </a:cubicBezTo>
                  <a:cubicBezTo>
                    <a:pt x="1119" y="40"/>
                    <a:pt x="1024" y="1"/>
                    <a:pt x="930"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1081" name="Google Shape;11081;p114"/>
            <p:cNvSpPr/>
            <p:nvPr/>
          </p:nvSpPr>
          <p:spPr>
            <a:xfrm>
              <a:off x="-18446700" y="3004375"/>
              <a:ext cx="33900" cy="31325"/>
            </a:xfrm>
            <a:custGeom>
              <a:avLst/>
              <a:gdLst/>
              <a:ahLst/>
              <a:cxnLst/>
              <a:rect l="l" t="t" r="r" b="b"/>
              <a:pathLst>
                <a:path w="1356" h="1253" extrusionOk="0">
                  <a:moveTo>
                    <a:pt x="922" y="1"/>
                  </a:moveTo>
                  <a:cubicBezTo>
                    <a:pt x="828" y="1"/>
                    <a:pt x="741" y="32"/>
                    <a:pt x="694" y="95"/>
                  </a:cubicBezTo>
                  <a:lnTo>
                    <a:pt x="158" y="599"/>
                  </a:lnTo>
                  <a:cubicBezTo>
                    <a:pt x="1" y="757"/>
                    <a:pt x="1" y="977"/>
                    <a:pt x="158" y="1135"/>
                  </a:cubicBezTo>
                  <a:cubicBezTo>
                    <a:pt x="253" y="1214"/>
                    <a:pt x="347" y="1253"/>
                    <a:pt x="438" y="1253"/>
                  </a:cubicBezTo>
                  <a:cubicBezTo>
                    <a:pt x="529" y="1253"/>
                    <a:pt x="615" y="1214"/>
                    <a:pt x="694" y="1135"/>
                  </a:cubicBezTo>
                  <a:lnTo>
                    <a:pt x="1198" y="599"/>
                  </a:lnTo>
                  <a:cubicBezTo>
                    <a:pt x="1356" y="442"/>
                    <a:pt x="1356" y="253"/>
                    <a:pt x="1198" y="95"/>
                  </a:cubicBezTo>
                  <a:cubicBezTo>
                    <a:pt x="1119" y="32"/>
                    <a:pt x="1017" y="1"/>
                    <a:pt x="922"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11082" name="Google Shape;11082;p114"/>
          <p:cNvGrpSpPr/>
          <p:nvPr/>
        </p:nvGrpSpPr>
        <p:grpSpPr>
          <a:xfrm>
            <a:off x="10514211" y="2250258"/>
            <a:ext cx="555148" cy="633500"/>
            <a:chOff x="-16798200" y="2050575"/>
            <a:chExt cx="267825" cy="305625"/>
          </a:xfrm>
        </p:grpSpPr>
        <p:sp>
          <p:nvSpPr>
            <p:cNvPr id="11083" name="Google Shape;11083;p114"/>
            <p:cNvSpPr/>
            <p:nvPr/>
          </p:nvSpPr>
          <p:spPr>
            <a:xfrm>
              <a:off x="-16798200" y="2050575"/>
              <a:ext cx="267825" cy="305625"/>
            </a:xfrm>
            <a:custGeom>
              <a:avLst/>
              <a:gdLst/>
              <a:ahLst/>
              <a:cxnLst/>
              <a:rect l="l" t="t" r="r" b="b"/>
              <a:pathLst>
                <a:path w="10713" h="12225" extrusionOk="0">
                  <a:moveTo>
                    <a:pt x="5388" y="725"/>
                  </a:moveTo>
                  <a:cubicBezTo>
                    <a:pt x="7940" y="725"/>
                    <a:pt x="10051" y="2804"/>
                    <a:pt x="10051" y="5356"/>
                  </a:cubicBezTo>
                  <a:cubicBezTo>
                    <a:pt x="9988" y="5545"/>
                    <a:pt x="9830" y="5734"/>
                    <a:pt x="9641" y="5734"/>
                  </a:cubicBezTo>
                  <a:lnTo>
                    <a:pt x="1103" y="5734"/>
                  </a:lnTo>
                  <a:cubicBezTo>
                    <a:pt x="914" y="5734"/>
                    <a:pt x="757" y="5545"/>
                    <a:pt x="757" y="5356"/>
                  </a:cubicBezTo>
                  <a:cubicBezTo>
                    <a:pt x="757" y="2804"/>
                    <a:pt x="2836" y="725"/>
                    <a:pt x="5388" y="725"/>
                  </a:cubicBezTo>
                  <a:close/>
                  <a:moveTo>
                    <a:pt x="6050" y="6459"/>
                  </a:moveTo>
                  <a:cubicBezTo>
                    <a:pt x="6113" y="7561"/>
                    <a:pt x="6428" y="8664"/>
                    <a:pt x="6743" y="9609"/>
                  </a:cubicBezTo>
                  <a:cubicBezTo>
                    <a:pt x="6774" y="9767"/>
                    <a:pt x="6806" y="9893"/>
                    <a:pt x="6806" y="10050"/>
                  </a:cubicBezTo>
                  <a:cubicBezTo>
                    <a:pt x="6806" y="10491"/>
                    <a:pt x="6617" y="10901"/>
                    <a:pt x="6270" y="11185"/>
                  </a:cubicBezTo>
                  <a:cubicBezTo>
                    <a:pt x="6004" y="11387"/>
                    <a:pt x="5692" y="11481"/>
                    <a:pt x="5383" y="11481"/>
                  </a:cubicBezTo>
                  <a:cubicBezTo>
                    <a:pt x="4778" y="11481"/>
                    <a:pt x="4190" y="11118"/>
                    <a:pt x="4002" y="10491"/>
                  </a:cubicBezTo>
                  <a:cubicBezTo>
                    <a:pt x="3939" y="10176"/>
                    <a:pt x="3939" y="9861"/>
                    <a:pt x="4065" y="9546"/>
                  </a:cubicBezTo>
                  <a:cubicBezTo>
                    <a:pt x="4443" y="8601"/>
                    <a:pt x="4632" y="7530"/>
                    <a:pt x="4632" y="6459"/>
                  </a:cubicBezTo>
                  <a:close/>
                  <a:moveTo>
                    <a:pt x="5357" y="0"/>
                  </a:moveTo>
                  <a:cubicBezTo>
                    <a:pt x="2395" y="0"/>
                    <a:pt x="1" y="2395"/>
                    <a:pt x="1" y="5356"/>
                  </a:cubicBezTo>
                  <a:cubicBezTo>
                    <a:pt x="1" y="5955"/>
                    <a:pt x="473" y="6427"/>
                    <a:pt x="1072" y="6427"/>
                  </a:cubicBezTo>
                  <a:lnTo>
                    <a:pt x="3907" y="6427"/>
                  </a:lnTo>
                  <a:cubicBezTo>
                    <a:pt x="3907" y="7404"/>
                    <a:pt x="3718" y="8381"/>
                    <a:pt x="3340" y="9263"/>
                  </a:cubicBezTo>
                  <a:cubicBezTo>
                    <a:pt x="3151" y="9704"/>
                    <a:pt x="3151" y="10208"/>
                    <a:pt x="3277" y="10680"/>
                  </a:cubicBezTo>
                  <a:cubicBezTo>
                    <a:pt x="3498" y="11500"/>
                    <a:pt x="4285" y="12224"/>
                    <a:pt x="5325" y="12224"/>
                  </a:cubicBezTo>
                  <a:cubicBezTo>
                    <a:pt x="6491" y="12224"/>
                    <a:pt x="7436" y="11279"/>
                    <a:pt x="7436" y="10082"/>
                  </a:cubicBezTo>
                  <a:cubicBezTo>
                    <a:pt x="7436" y="9861"/>
                    <a:pt x="7404" y="9641"/>
                    <a:pt x="7341" y="9420"/>
                  </a:cubicBezTo>
                  <a:cubicBezTo>
                    <a:pt x="7058" y="8538"/>
                    <a:pt x="6743" y="7498"/>
                    <a:pt x="6743" y="6459"/>
                  </a:cubicBezTo>
                  <a:lnTo>
                    <a:pt x="9578" y="6459"/>
                  </a:lnTo>
                  <a:cubicBezTo>
                    <a:pt x="10177" y="6459"/>
                    <a:pt x="10649" y="5986"/>
                    <a:pt x="10649" y="5388"/>
                  </a:cubicBezTo>
                  <a:cubicBezTo>
                    <a:pt x="10712" y="2395"/>
                    <a:pt x="8350" y="0"/>
                    <a:pt x="5357"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1084" name="Google Shape;11084;p114"/>
            <p:cNvSpPr/>
            <p:nvPr/>
          </p:nvSpPr>
          <p:spPr>
            <a:xfrm>
              <a:off x="-16743850" y="2123025"/>
              <a:ext cx="52800" cy="52800"/>
            </a:xfrm>
            <a:custGeom>
              <a:avLst/>
              <a:gdLst/>
              <a:ahLst/>
              <a:cxnLst/>
              <a:rect l="l" t="t" r="r" b="b"/>
              <a:pathLst>
                <a:path w="2112" h="2112" extrusionOk="0">
                  <a:moveTo>
                    <a:pt x="1040" y="694"/>
                  </a:moveTo>
                  <a:cubicBezTo>
                    <a:pt x="1261" y="694"/>
                    <a:pt x="1418" y="851"/>
                    <a:pt x="1418" y="1040"/>
                  </a:cubicBezTo>
                  <a:cubicBezTo>
                    <a:pt x="1418" y="1261"/>
                    <a:pt x="1261" y="1418"/>
                    <a:pt x="1040" y="1418"/>
                  </a:cubicBezTo>
                  <a:cubicBezTo>
                    <a:pt x="851" y="1418"/>
                    <a:pt x="694" y="1261"/>
                    <a:pt x="694" y="1040"/>
                  </a:cubicBezTo>
                  <a:cubicBezTo>
                    <a:pt x="694" y="851"/>
                    <a:pt x="851" y="694"/>
                    <a:pt x="1040" y="694"/>
                  </a:cubicBezTo>
                  <a:close/>
                  <a:moveTo>
                    <a:pt x="1040" y="1"/>
                  </a:moveTo>
                  <a:cubicBezTo>
                    <a:pt x="473" y="1"/>
                    <a:pt x="1" y="473"/>
                    <a:pt x="1" y="1040"/>
                  </a:cubicBezTo>
                  <a:cubicBezTo>
                    <a:pt x="1" y="1639"/>
                    <a:pt x="473" y="2112"/>
                    <a:pt x="1040" y="2112"/>
                  </a:cubicBezTo>
                  <a:cubicBezTo>
                    <a:pt x="1639" y="2112"/>
                    <a:pt x="2111" y="1639"/>
                    <a:pt x="2111" y="1040"/>
                  </a:cubicBezTo>
                  <a:cubicBezTo>
                    <a:pt x="2111" y="473"/>
                    <a:pt x="1639" y="1"/>
                    <a:pt x="1040"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1085" name="Google Shape;11085;p114"/>
            <p:cNvSpPr/>
            <p:nvPr/>
          </p:nvSpPr>
          <p:spPr>
            <a:xfrm>
              <a:off x="-16691075" y="2087600"/>
              <a:ext cx="35475" cy="35450"/>
            </a:xfrm>
            <a:custGeom>
              <a:avLst/>
              <a:gdLst/>
              <a:ahLst/>
              <a:cxnLst/>
              <a:rect l="l" t="t" r="r" b="b"/>
              <a:pathLst>
                <a:path w="1419" h="1418" extrusionOk="0">
                  <a:moveTo>
                    <a:pt x="725" y="0"/>
                  </a:moveTo>
                  <a:cubicBezTo>
                    <a:pt x="315" y="0"/>
                    <a:pt x="0" y="315"/>
                    <a:pt x="0" y="693"/>
                  </a:cubicBezTo>
                  <a:cubicBezTo>
                    <a:pt x="0" y="1103"/>
                    <a:pt x="315" y="1418"/>
                    <a:pt x="725" y="1418"/>
                  </a:cubicBezTo>
                  <a:cubicBezTo>
                    <a:pt x="1103" y="1418"/>
                    <a:pt x="1418" y="1103"/>
                    <a:pt x="1418" y="693"/>
                  </a:cubicBezTo>
                  <a:cubicBezTo>
                    <a:pt x="1418" y="315"/>
                    <a:pt x="1103" y="0"/>
                    <a:pt x="725"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11086" name="Google Shape;11086;p114"/>
          <p:cNvGrpSpPr/>
          <p:nvPr/>
        </p:nvGrpSpPr>
        <p:grpSpPr>
          <a:xfrm>
            <a:off x="10475035" y="3802836"/>
            <a:ext cx="633500" cy="628576"/>
            <a:chOff x="-16817100" y="2801175"/>
            <a:chExt cx="305625" cy="303250"/>
          </a:xfrm>
        </p:grpSpPr>
        <p:sp>
          <p:nvSpPr>
            <p:cNvPr id="11087" name="Google Shape;11087;p114"/>
            <p:cNvSpPr/>
            <p:nvPr/>
          </p:nvSpPr>
          <p:spPr>
            <a:xfrm>
              <a:off x="-16817100" y="2801175"/>
              <a:ext cx="305625" cy="232375"/>
            </a:xfrm>
            <a:custGeom>
              <a:avLst/>
              <a:gdLst/>
              <a:ahLst/>
              <a:cxnLst/>
              <a:rect l="l" t="t" r="r" b="b"/>
              <a:pathLst>
                <a:path w="12225" h="9295" extrusionOk="0">
                  <a:moveTo>
                    <a:pt x="8633" y="1418"/>
                  </a:moveTo>
                  <a:lnTo>
                    <a:pt x="8633" y="7152"/>
                  </a:lnTo>
                  <a:cubicBezTo>
                    <a:pt x="8507" y="7152"/>
                    <a:pt x="8381" y="7120"/>
                    <a:pt x="8286" y="7120"/>
                  </a:cubicBezTo>
                  <a:cubicBezTo>
                    <a:pt x="8034" y="7120"/>
                    <a:pt x="7845" y="7152"/>
                    <a:pt x="7656" y="7247"/>
                  </a:cubicBezTo>
                  <a:cubicBezTo>
                    <a:pt x="7373" y="6837"/>
                    <a:pt x="6963" y="6522"/>
                    <a:pt x="6491" y="6459"/>
                  </a:cubicBezTo>
                  <a:lnTo>
                    <a:pt x="6491" y="4600"/>
                  </a:lnTo>
                  <a:cubicBezTo>
                    <a:pt x="6491" y="4411"/>
                    <a:pt x="6333" y="4254"/>
                    <a:pt x="6144" y="4254"/>
                  </a:cubicBezTo>
                  <a:cubicBezTo>
                    <a:pt x="5955" y="4254"/>
                    <a:pt x="5798" y="4411"/>
                    <a:pt x="5798" y="4600"/>
                  </a:cubicBezTo>
                  <a:lnTo>
                    <a:pt x="5798" y="6459"/>
                  </a:lnTo>
                  <a:cubicBezTo>
                    <a:pt x="5325" y="6522"/>
                    <a:pt x="4884" y="6837"/>
                    <a:pt x="4663" y="7247"/>
                  </a:cubicBezTo>
                  <a:cubicBezTo>
                    <a:pt x="4443" y="7152"/>
                    <a:pt x="4222" y="7120"/>
                    <a:pt x="4033" y="7120"/>
                  </a:cubicBezTo>
                  <a:cubicBezTo>
                    <a:pt x="3907" y="7120"/>
                    <a:pt x="3781" y="7120"/>
                    <a:pt x="3655" y="7152"/>
                  </a:cubicBezTo>
                  <a:lnTo>
                    <a:pt x="3655" y="1418"/>
                  </a:lnTo>
                  <a:lnTo>
                    <a:pt x="4380" y="1418"/>
                  </a:lnTo>
                  <a:lnTo>
                    <a:pt x="4380" y="2458"/>
                  </a:lnTo>
                  <a:cubicBezTo>
                    <a:pt x="4380" y="2678"/>
                    <a:pt x="4537" y="2836"/>
                    <a:pt x="4726" y="2836"/>
                  </a:cubicBezTo>
                  <a:cubicBezTo>
                    <a:pt x="4915" y="2836"/>
                    <a:pt x="5073" y="2678"/>
                    <a:pt x="5073" y="2458"/>
                  </a:cubicBezTo>
                  <a:lnTo>
                    <a:pt x="5073" y="1418"/>
                  </a:lnTo>
                  <a:lnTo>
                    <a:pt x="5798" y="1418"/>
                  </a:lnTo>
                  <a:lnTo>
                    <a:pt x="5798" y="3182"/>
                  </a:lnTo>
                  <a:cubicBezTo>
                    <a:pt x="5798" y="3371"/>
                    <a:pt x="5955" y="3529"/>
                    <a:pt x="6144" y="3529"/>
                  </a:cubicBezTo>
                  <a:cubicBezTo>
                    <a:pt x="6333" y="3529"/>
                    <a:pt x="6491" y="3371"/>
                    <a:pt x="6491" y="3182"/>
                  </a:cubicBezTo>
                  <a:lnTo>
                    <a:pt x="6491" y="1418"/>
                  </a:lnTo>
                  <a:lnTo>
                    <a:pt x="7215" y="1418"/>
                  </a:lnTo>
                  <a:lnTo>
                    <a:pt x="7215" y="2458"/>
                  </a:lnTo>
                  <a:cubicBezTo>
                    <a:pt x="7215" y="2678"/>
                    <a:pt x="7373" y="2836"/>
                    <a:pt x="7562" y="2836"/>
                  </a:cubicBezTo>
                  <a:cubicBezTo>
                    <a:pt x="7751" y="2836"/>
                    <a:pt x="7940" y="2678"/>
                    <a:pt x="7940" y="2458"/>
                  </a:cubicBezTo>
                  <a:lnTo>
                    <a:pt x="7940" y="1418"/>
                  </a:lnTo>
                  <a:close/>
                  <a:moveTo>
                    <a:pt x="6144" y="7120"/>
                  </a:moveTo>
                  <a:cubicBezTo>
                    <a:pt x="6585" y="7120"/>
                    <a:pt x="7026" y="7404"/>
                    <a:pt x="7184" y="7845"/>
                  </a:cubicBezTo>
                  <a:cubicBezTo>
                    <a:pt x="7227" y="7998"/>
                    <a:pt x="7378" y="8091"/>
                    <a:pt x="7528" y="8091"/>
                  </a:cubicBezTo>
                  <a:cubicBezTo>
                    <a:pt x="7595" y="8091"/>
                    <a:pt x="7662" y="8073"/>
                    <a:pt x="7719" y="8034"/>
                  </a:cubicBezTo>
                  <a:cubicBezTo>
                    <a:pt x="7877" y="7908"/>
                    <a:pt x="8129" y="7845"/>
                    <a:pt x="8318" y="7845"/>
                  </a:cubicBezTo>
                  <a:cubicBezTo>
                    <a:pt x="8790" y="7845"/>
                    <a:pt x="9169" y="8160"/>
                    <a:pt x="9326" y="8538"/>
                  </a:cubicBezTo>
                  <a:lnTo>
                    <a:pt x="3025" y="8538"/>
                  </a:lnTo>
                  <a:cubicBezTo>
                    <a:pt x="3120" y="8160"/>
                    <a:pt x="3498" y="7845"/>
                    <a:pt x="3970" y="7845"/>
                  </a:cubicBezTo>
                  <a:cubicBezTo>
                    <a:pt x="4191" y="7845"/>
                    <a:pt x="4411" y="7908"/>
                    <a:pt x="4569" y="8034"/>
                  </a:cubicBezTo>
                  <a:cubicBezTo>
                    <a:pt x="4624" y="8071"/>
                    <a:pt x="4680" y="8086"/>
                    <a:pt x="4741" y="8086"/>
                  </a:cubicBezTo>
                  <a:cubicBezTo>
                    <a:pt x="4785" y="8086"/>
                    <a:pt x="4832" y="8079"/>
                    <a:pt x="4884" y="8066"/>
                  </a:cubicBezTo>
                  <a:cubicBezTo>
                    <a:pt x="5010" y="8034"/>
                    <a:pt x="5073" y="7940"/>
                    <a:pt x="5136" y="7845"/>
                  </a:cubicBezTo>
                  <a:cubicBezTo>
                    <a:pt x="5293" y="7404"/>
                    <a:pt x="5671" y="7120"/>
                    <a:pt x="6144" y="7120"/>
                  </a:cubicBezTo>
                  <a:close/>
                  <a:moveTo>
                    <a:pt x="9704" y="694"/>
                  </a:moveTo>
                  <a:cubicBezTo>
                    <a:pt x="9893" y="694"/>
                    <a:pt x="10051" y="851"/>
                    <a:pt x="10051" y="1072"/>
                  </a:cubicBezTo>
                  <a:lnTo>
                    <a:pt x="10051" y="6049"/>
                  </a:lnTo>
                  <a:cubicBezTo>
                    <a:pt x="10051" y="6270"/>
                    <a:pt x="10208" y="6427"/>
                    <a:pt x="10397" y="6427"/>
                  </a:cubicBezTo>
                  <a:cubicBezTo>
                    <a:pt x="10618" y="6427"/>
                    <a:pt x="10775" y="6270"/>
                    <a:pt x="10775" y="6049"/>
                  </a:cubicBezTo>
                  <a:lnTo>
                    <a:pt x="10775" y="2111"/>
                  </a:lnTo>
                  <a:lnTo>
                    <a:pt x="11122" y="2111"/>
                  </a:lnTo>
                  <a:cubicBezTo>
                    <a:pt x="11311" y="2111"/>
                    <a:pt x="11500" y="2269"/>
                    <a:pt x="11500" y="2489"/>
                  </a:cubicBezTo>
                  <a:lnTo>
                    <a:pt x="11500" y="8538"/>
                  </a:lnTo>
                  <a:lnTo>
                    <a:pt x="10019" y="8538"/>
                  </a:lnTo>
                  <a:cubicBezTo>
                    <a:pt x="9925" y="8097"/>
                    <a:pt x="9641" y="7719"/>
                    <a:pt x="9326" y="7467"/>
                  </a:cubicBezTo>
                  <a:lnTo>
                    <a:pt x="9326" y="1072"/>
                  </a:lnTo>
                  <a:cubicBezTo>
                    <a:pt x="9326" y="851"/>
                    <a:pt x="9515" y="694"/>
                    <a:pt x="9704" y="694"/>
                  </a:cubicBezTo>
                  <a:close/>
                  <a:moveTo>
                    <a:pt x="2584" y="694"/>
                  </a:moveTo>
                  <a:cubicBezTo>
                    <a:pt x="2773" y="694"/>
                    <a:pt x="2931" y="851"/>
                    <a:pt x="2931" y="1072"/>
                  </a:cubicBezTo>
                  <a:lnTo>
                    <a:pt x="2931" y="7530"/>
                  </a:lnTo>
                  <a:cubicBezTo>
                    <a:pt x="2584" y="7782"/>
                    <a:pt x="2332" y="8160"/>
                    <a:pt x="2269" y="8570"/>
                  </a:cubicBezTo>
                  <a:lnTo>
                    <a:pt x="757" y="8570"/>
                  </a:lnTo>
                  <a:lnTo>
                    <a:pt x="757" y="2489"/>
                  </a:lnTo>
                  <a:cubicBezTo>
                    <a:pt x="757" y="2269"/>
                    <a:pt x="946" y="2111"/>
                    <a:pt x="1135" y="2111"/>
                  </a:cubicBezTo>
                  <a:lnTo>
                    <a:pt x="1513" y="2111"/>
                  </a:lnTo>
                  <a:lnTo>
                    <a:pt x="1513" y="6049"/>
                  </a:lnTo>
                  <a:cubicBezTo>
                    <a:pt x="1513" y="6270"/>
                    <a:pt x="1670" y="6427"/>
                    <a:pt x="1859" y="6427"/>
                  </a:cubicBezTo>
                  <a:cubicBezTo>
                    <a:pt x="2048" y="6427"/>
                    <a:pt x="2206" y="6270"/>
                    <a:pt x="2206" y="6049"/>
                  </a:cubicBezTo>
                  <a:lnTo>
                    <a:pt x="2206" y="1072"/>
                  </a:lnTo>
                  <a:cubicBezTo>
                    <a:pt x="2206" y="851"/>
                    <a:pt x="2363" y="694"/>
                    <a:pt x="2584" y="694"/>
                  </a:cubicBezTo>
                  <a:close/>
                  <a:moveTo>
                    <a:pt x="2521" y="0"/>
                  </a:moveTo>
                  <a:cubicBezTo>
                    <a:pt x="1922" y="0"/>
                    <a:pt x="1450" y="473"/>
                    <a:pt x="1450" y="1072"/>
                  </a:cubicBezTo>
                  <a:lnTo>
                    <a:pt x="1450" y="1418"/>
                  </a:lnTo>
                  <a:lnTo>
                    <a:pt x="1103" y="1418"/>
                  </a:lnTo>
                  <a:cubicBezTo>
                    <a:pt x="505" y="1418"/>
                    <a:pt x="1" y="1891"/>
                    <a:pt x="1" y="2489"/>
                  </a:cubicBezTo>
                  <a:lnTo>
                    <a:pt x="1" y="8948"/>
                  </a:lnTo>
                  <a:cubicBezTo>
                    <a:pt x="1" y="9137"/>
                    <a:pt x="158" y="9294"/>
                    <a:pt x="347" y="9294"/>
                  </a:cubicBezTo>
                  <a:lnTo>
                    <a:pt x="11815" y="9294"/>
                  </a:lnTo>
                  <a:cubicBezTo>
                    <a:pt x="12004" y="9294"/>
                    <a:pt x="12162" y="9137"/>
                    <a:pt x="12162" y="8948"/>
                  </a:cubicBezTo>
                  <a:lnTo>
                    <a:pt x="12162" y="2489"/>
                  </a:lnTo>
                  <a:cubicBezTo>
                    <a:pt x="12225" y="1891"/>
                    <a:pt x="11689" y="1418"/>
                    <a:pt x="11122" y="1418"/>
                  </a:cubicBezTo>
                  <a:lnTo>
                    <a:pt x="10744" y="1418"/>
                  </a:lnTo>
                  <a:lnTo>
                    <a:pt x="10744" y="1072"/>
                  </a:lnTo>
                  <a:cubicBezTo>
                    <a:pt x="10744" y="473"/>
                    <a:pt x="10271" y="0"/>
                    <a:pt x="9704" y="0"/>
                  </a:cubicBezTo>
                  <a:cubicBezTo>
                    <a:pt x="9232" y="0"/>
                    <a:pt x="8822" y="315"/>
                    <a:pt x="8664" y="694"/>
                  </a:cubicBezTo>
                  <a:lnTo>
                    <a:pt x="3561" y="694"/>
                  </a:lnTo>
                  <a:cubicBezTo>
                    <a:pt x="3403" y="284"/>
                    <a:pt x="2994" y="0"/>
                    <a:pt x="2521"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1088" name="Google Shape;11088;p114"/>
            <p:cNvSpPr/>
            <p:nvPr/>
          </p:nvSpPr>
          <p:spPr>
            <a:xfrm>
              <a:off x="-16636725" y="2889375"/>
              <a:ext cx="18125" cy="72500"/>
            </a:xfrm>
            <a:custGeom>
              <a:avLst/>
              <a:gdLst/>
              <a:ahLst/>
              <a:cxnLst/>
              <a:rect l="l" t="t" r="r" b="b"/>
              <a:pathLst>
                <a:path w="725" h="2900" extrusionOk="0">
                  <a:moveTo>
                    <a:pt x="347" y="1"/>
                  </a:moveTo>
                  <a:cubicBezTo>
                    <a:pt x="158" y="1"/>
                    <a:pt x="0" y="158"/>
                    <a:pt x="0" y="379"/>
                  </a:cubicBezTo>
                  <a:lnTo>
                    <a:pt x="0" y="2521"/>
                  </a:lnTo>
                  <a:cubicBezTo>
                    <a:pt x="0" y="2742"/>
                    <a:pt x="158" y="2899"/>
                    <a:pt x="347" y="2899"/>
                  </a:cubicBezTo>
                  <a:cubicBezTo>
                    <a:pt x="536" y="2899"/>
                    <a:pt x="725" y="2742"/>
                    <a:pt x="725" y="2521"/>
                  </a:cubicBezTo>
                  <a:lnTo>
                    <a:pt x="725" y="379"/>
                  </a:lnTo>
                  <a:cubicBezTo>
                    <a:pt x="693" y="158"/>
                    <a:pt x="536" y="1"/>
                    <a:pt x="347"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1089" name="Google Shape;11089;p114"/>
            <p:cNvSpPr/>
            <p:nvPr/>
          </p:nvSpPr>
          <p:spPr>
            <a:xfrm>
              <a:off x="-16708400" y="2889375"/>
              <a:ext cx="17350" cy="72500"/>
            </a:xfrm>
            <a:custGeom>
              <a:avLst/>
              <a:gdLst/>
              <a:ahLst/>
              <a:cxnLst/>
              <a:rect l="l" t="t" r="r" b="b"/>
              <a:pathLst>
                <a:path w="694" h="2900" extrusionOk="0">
                  <a:moveTo>
                    <a:pt x="347" y="1"/>
                  </a:moveTo>
                  <a:cubicBezTo>
                    <a:pt x="158" y="1"/>
                    <a:pt x="0" y="158"/>
                    <a:pt x="0" y="379"/>
                  </a:cubicBezTo>
                  <a:lnTo>
                    <a:pt x="0" y="2521"/>
                  </a:lnTo>
                  <a:cubicBezTo>
                    <a:pt x="0" y="2742"/>
                    <a:pt x="158" y="2899"/>
                    <a:pt x="347" y="2899"/>
                  </a:cubicBezTo>
                  <a:cubicBezTo>
                    <a:pt x="536" y="2899"/>
                    <a:pt x="693" y="2742"/>
                    <a:pt x="693" y="2521"/>
                  </a:cubicBezTo>
                  <a:lnTo>
                    <a:pt x="693" y="379"/>
                  </a:lnTo>
                  <a:cubicBezTo>
                    <a:pt x="693" y="158"/>
                    <a:pt x="536" y="1"/>
                    <a:pt x="347"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1090" name="Google Shape;11090;p114"/>
            <p:cNvSpPr/>
            <p:nvPr/>
          </p:nvSpPr>
          <p:spPr>
            <a:xfrm>
              <a:off x="-16816300" y="3050850"/>
              <a:ext cx="72475" cy="18150"/>
            </a:xfrm>
            <a:custGeom>
              <a:avLst/>
              <a:gdLst/>
              <a:ahLst/>
              <a:cxnLst/>
              <a:rect l="l" t="t" r="r" b="b"/>
              <a:pathLst>
                <a:path w="2899" h="726" extrusionOk="0">
                  <a:moveTo>
                    <a:pt x="378" y="0"/>
                  </a:moveTo>
                  <a:cubicBezTo>
                    <a:pt x="158" y="0"/>
                    <a:pt x="0" y="158"/>
                    <a:pt x="0" y="378"/>
                  </a:cubicBezTo>
                  <a:cubicBezTo>
                    <a:pt x="0" y="568"/>
                    <a:pt x="158" y="725"/>
                    <a:pt x="378" y="725"/>
                  </a:cubicBezTo>
                  <a:lnTo>
                    <a:pt x="2520" y="725"/>
                  </a:lnTo>
                  <a:cubicBezTo>
                    <a:pt x="2741" y="725"/>
                    <a:pt x="2899" y="568"/>
                    <a:pt x="2899" y="378"/>
                  </a:cubicBezTo>
                  <a:cubicBezTo>
                    <a:pt x="2899" y="158"/>
                    <a:pt x="2741" y="0"/>
                    <a:pt x="2520"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1091" name="Google Shape;11091;p114"/>
            <p:cNvSpPr/>
            <p:nvPr/>
          </p:nvSpPr>
          <p:spPr>
            <a:xfrm>
              <a:off x="-16779300" y="3086300"/>
              <a:ext cx="88250" cy="18125"/>
            </a:xfrm>
            <a:custGeom>
              <a:avLst/>
              <a:gdLst/>
              <a:ahLst/>
              <a:cxnLst/>
              <a:rect l="l" t="t" r="r" b="b"/>
              <a:pathLst>
                <a:path w="3530" h="725" extrusionOk="0">
                  <a:moveTo>
                    <a:pt x="347" y="0"/>
                  </a:moveTo>
                  <a:cubicBezTo>
                    <a:pt x="158" y="0"/>
                    <a:pt x="1" y="158"/>
                    <a:pt x="1" y="378"/>
                  </a:cubicBezTo>
                  <a:cubicBezTo>
                    <a:pt x="1" y="567"/>
                    <a:pt x="158" y="725"/>
                    <a:pt x="347" y="725"/>
                  </a:cubicBezTo>
                  <a:lnTo>
                    <a:pt x="3183" y="725"/>
                  </a:lnTo>
                  <a:cubicBezTo>
                    <a:pt x="3372" y="725"/>
                    <a:pt x="3529" y="567"/>
                    <a:pt x="3529" y="378"/>
                  </a:cubicBezTo>
                  <a:cubicBezTo>
                    <a:pt x="3529" y="221"/>
                    <a:pt x="3372" y="0"/>
                    <a:pt x="3183"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1092" name="Google Shape;11092;p114"/>
            <p:cNvSpPr/>
            <p:nvPr/>
          </p:nvSpPr>
          <p:spPr>
            <a:xfrm>
              <a:off x="-16636725" y="3086300"/>
              <a:ext cx="88225" cy="18125"/>
            </a:xfrm>
            <a:custGeom>
              <a:avLst/>
              <a:gdLst/>
              <a:ahLst/>
              <a:cxnLst/>
              <a:rect l="l" t="t" r="r" b="b"/>
              <a:pathLst>
                <a:path w="3529" h="725" extrusionOk="0">
                  <a:moveTo>
                    <a:pt x="347" y="0"/>
                  </a:moveTo>
                  <a:cubicBezTo>
                    <a:pt x="158" y="0"/>
                    <a:pt x="0" y="158"/>
                    <a:pt x="0" y="378"/>
                  </a:cubicBezTo>
                  <a:cubicBezTo>
                    <a:pt x="0" y="567"/>
                    <a:pt x="158" y="725"/>
                    <a:pt x="347" y="725"/>
                  </a:cubicBezTo>
                  <a:lnTo>
                    <a:pt x="3182" y="725"/>
                  </a:lnTo>
                  <a:cubicBezTo>
                    <a:pt x="3371" y="725"/>
                    <a:pt x="3529" y="567"/>
                    <a:pt x="3529" y="378"/>
                  </a:cubicBezTo>
                  <a:cubicBezTo>
                    <a:pt x="3529" y="221"/>
                    <a:pt x="3371" y="0"/>
                    <a:pt x="3182"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1093" name="Google Shape;11093;p114"/>
            <p:cNvSpPr/>
            <p:nvPr/>
          </p:nvSpPr>
          <p:spPr>
            <a:xfrm>
              <a:off x="-16583950" y="3050850"/>
              <a:ext cx="72475" cy="18150"/>
            </a:xfrm>
            <a:custGeom>
              <a:avLst/>
              <a:gdLst/>
              <a:ahLst/>
              <a:cxnLst/>
              <a:rect l="l" t="t" r="r" b="b"/>
              <a:pathLst>
                <a:path w="2899" h="726" extrusionOk="0">
                  <a:moveTo>
                    <a:pt x="378" y="0"/>
                  </a:moveTo>
                  <a:cubicBezTo>
                    <a:pt x="158" y="0"/>
                    <a:pt x="0" y="158"/>
                    <a:pt x="0" y="378"/>
                  </a:cubicBezTo>
                  <a:cubicBezTo>
                    <a:pt x="0" y="568"/>
                    <a:pt x="158" y="725"/>
                    <a:pt x="378" y="725"/>
                  </a:cubicBezTo>
                  <a:lnTo>
                    <a:pt x="2520" y="725"/>
                  </a:lnTo>
                  <a:cubicBezTo>
                    <a:pt x="2741" y="725"/>
                    <a:pt x="2899" y="568"/>
                    <a:pt x="2899" y="378"/>
                  </a:cubicBezTo>
                  <a:cubicBezTo>
                    <a:pt x="2899" y="158"/>
                    <a:pt x="2741" y="0"/>
                    <a:pt x="2520"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1094" name="Google Shape;11094;p114"/>
            <p:cNvSpPr/>
            <p:nvPr/>
          </p:nvSpPr>
          <p:spPr>
            <a:xfrm>
              <a:off x="-16726525" y="3050850"/>
              <a:ext cx="125250" cy="18150"/>
            </a:xfrm>
            <a:custGeom>
              <a:avLst/>
              <a:gdLst/>
              <a:ahLst/>
              <a:cxnLst/>
              <a:rect l="l" t="t" r="r" b="b"/>
              <a:pathLst>
                <a:path w="5010" h="726" extrusionOk="0">
                  <a:moveTo>
                    <a:pt x="347" y="0"/>
                  </a:moveTo>
                  <a:cubicBezTo>
                    <a:pt x="158" y="0"/>
                    <a:pt x="1" y="158"/>
                    <a:pt x="1" y="378"/>
                  </a:cubicBezTo>
                  <a:cubicBezTo>
                    <a:pt x="1" y="568"/>
                    <a:pt x="158" y="725"/>
                    <a:pt x="347" y="725"/>
                  </a:cubicBezTo>
                  <a:lnTo>
                    <a:pt x="4663" y="725"/>
                  </a:lnTo>
                  <a:cubicBezTo>
                    <a:pt x="4852" y="725"/>
                    <a:pt x="5010" y="568"/>
                    <a:pt x="5010" y="378"/>
                  </a:cubicBezTo>
                  <a:cubicBezTo>
                    <a:pt x="5010" y="158"/>
                    <a:pt x="4852" y="0"/>
                    <a:pt x="4663"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11095" name="Google Shape;11095;p114"/>
          <p:cNvGrpSpPr/>
          <p:nvPr/>
        </p:nvGrpSpPr>
        <p:grpSpPr>
          <a:xfrm>
            <a:off x="9684529" y="4592819"/>
            <a:ext cx="635105" cy="633500"/>
            <a:chOff x="-15717575" y="2786200"/>
            <a:chExt cx="306400" cy="305625"/>
          </a:xfrm>
        </p:grpSpPr>
        <p:sp>
          <p:nvSpPr>
            <p:cNvPr id="11096" name="Google Shape;11096;p114"/>
            <p:cNvSpPr/>
            <p:nvPr/>
          </p:nvSpPr>
          <p:spPr>
            <a:xfrm>
              <a:off x="-15717575" y="2786200"/>
              <a:ext cx="306400" cy="305625"/>
            </a:xfrm>
            <a:custGeom>
              <a:avLst/>
              <a:gdLst/>
              <a:ahLst/>
              <a:cxnLst/>
              <a:rect l="l" t="t" r="r" b="b"/>
              <a:pathLst>
                <a:path w="12256" h="12225" extrusionOk="0">
                  <a:moveTo>
                    <a:pt x="1387" y="788"/>
                  </a:moveTo>
                  <a:cubicBezTo>
                    <a:pt x="1796" y="788"/>
                    <a:pt x="2111" y="1103"/>
                    <a:pt x="2111" y="1513"/>
                  </a:cubicBezTo>
                  <a:lnTo>
                    <a:pt x="2111" y="4727"/>
                  </a:lnTo>
                  <a:cubicBezTo>
                    <a:pt x="2111" y="5325"/>
                    <a:pt x="2584" y="5798"/>
                    <a:pt x="3151" y="5798"/>
                  </a:cubicBezTo>
                  <a:lnTo>
                    <a:pt x="3907" y="5798"/>
                  </a:lnTo>
                  <a:cubicBezTo>
                    <a:pt x="4096" y="5798"/>
                    <a:pt x="4254" y="5640"/>
                    <a:pt x="4254" y="5420"/>
                  </a:cubicBezTo>
                  <a:lnTo>
                    <a:pt x="4254" y="3309"/>
                  </a:lnTo>
                  <a:cubicBezTo>
                    <a:pt x="4254" y="2332"/>
                    <a:pt x="5041" y="1545"/>
                    <a:pt x="6049" y="1545"/>
                  </a:cubicBezTo>
                  <a:cubicBezTo>
                    <a:pt x="7026" y="1545"/>
                    <a:pt x="7814" y="2332"/>
                    <a:pt x="7814" y="3309"/>
                  </a:cubicBezTo>
                  <a:lnTo>
                    <a:pt x="7814" y="8318"/>
                  </a:lnTo>
                  <a:cubicBezTo>
                    <a:pt x="7814" y="8507"/>
                    <a:pt x="7971" y="8665"/>
                    <a:pt x="8160" y="8665"/>
                  </a:cubicBezTo>
                  <a:lnTo>
                    <a:pt x="8916" y="8665"/>
                  </a:lnTo>
                  <a:cubicBezTo>
                    <a:pt x="9515" y="8665"/>
                    <a:pt x="9988" y="8192"/>
                    <a:pt x="9988" y="7593"/>
                  </a:cubicBezTo>
                  <a:lnTo>
                    <a:pt x="9988" y="5105"/>
                  </a:lnTo>
                  <a:cubicBezTo>
                    <a:pt x="9988" y="4727"/>
                    <a:pt x="10303" y="4411"/>
                    <a:pt x="10681" y="4411"/>
                  </a:cubicBezTo>
                  <a:cubicBezTo>
                    <a:pt x="11090" y="4411"/>
                    <a:pt x="11405" y="4727"/>
                    <a:pt x="11405" y="5105"/>
                  </a:cubicBezTo>
                  <a:lnTo>
                    <a:pt x="11405" y="7562"/>
                  </a:lnTo>
                  <a:lnTo>
                    <a:pt x="11437" y="7562"/>
                  </a:lnTo>
                  <a:cubicBezTo>
                    <a:pt x="11437" y="8948"/>
                    <a:pt x="10334" y="10051"/>
                    <a:pt x="8948" y="10051"/>
                  </a:cubicBezTo>
                  <a:lnTo>
                    <a:pt x="8192" y="10051"/>
                  </a:lnTo>
                  <a:cubicBezTo>
                    <a:pt x="8003" y="10051"/>
                    <a:pt x="7845" y="10208"/>
                    <a:pt x="7845" y="10397"/>
                  </a:cubicBezTo>
                  <a:lnTo>
                    <a:pt x="7845" y="11500"/>
                  </a:lnTo>
                  <a:lnTo>
                    <a:pt x="4254" y="11500"/>
                  </a:lnTo>
                  <a:lnTo>
                    <a:pt x="4254" y="7562"/>
                  </a:lnTo>
                  <a:cubicBezTo>
                    <a:pt x="4254" y="7373"/>
                    <a:pt x="4096" y="7215"/>
                    <a:pt x="3907" y="7215"/>
                  </a:cubicBezTo>
                  <a:lnTo>
                    <a:pt x="3151" y="7215"/>
                  </a:lnTo>
                  <a:cubicBezTo>
                    <a:pt x="1796" y="7215"/>
                    <a:pt x="694" y="6113"/>
                    <a:pt x="694" y="4727"/>
                  </a:cubicBezTo>
                  <a:lnTo>
                    <a:pt x="694" y="1513"/>
                  </a:lnTo>
                  <a:cubicBezTo>
                    <a:pt x="694" y="1103"/>
                    <a:pt x="1009" y="788"/>
                    <a:pt x="1387" y="788"/>
                  </a:cubicBezTo>
                  <a:close/>
                  <a:moveTo>
                    <a:pt x="1418" y="1"/>
                  </a:moveTo>
                  <a:cubicBezTo>
                    <a:pt x="631" y="1"/>
                    <a:pt x="1" y="631"/>
                    <a:pt x="1" y="1419"/>
                  </a:cubicBezTo>
                  <a:lnTo>
                    <a:pt x="1" y="4664"/>
                  </a:lnTo>
                  <a:cubicBezTo>
                    <a:pt x="1" y="6428"/>
                    <a:pt x="1481" y="7877"/>
                    <a:pt x="3246" y="7877"/>
                  </a:cubicBezTo>
                  <a:lnTo>
                    <a:pt x="3624" y="7877"/>
                  </a:lnTo>
                  <a:lnTo>
                    <a:pt x="3624" y="11500"/>
                  </a:lnTo>
                  <a:lnTo>
                    <a:pt x="2584" y="11500"/>
                  </a:lnTo>
                  <a:cubicBezTo>
                    <a:pt x="2363" y="11500"/>
                    <a:pt x="2206" y="11658"/>
                    <a:pt x="2206" y="11847"/>
                  </a:cubicBezTo>
                  <a:cubicBezTo>
                    <a:pt x="2206" y="12036"/>
                    <a:pt x="2363" y="12225"/>
                    <a:pt x="2584" y="12225"/>
                  </a:cubicBezTo>
                  <a:lnTo>
                    <a:pt x="9704" y="12225"/>
                  </a:lnTo>
                  <a:cubicBezTo>
                    <a:pt x="9893" y="12225"/>
                    <a:pt x="10051" y="12036"/>
                    <a:pt x="10051" y="11847"/>
                  </a:cubicBezTo>
                  <a:cubicBezTo>
                    <a:pt x="10051" y="11658"/>
                    <a:pt x="9893" y="11500"/>
                    <a:pt x="9704" y="11500"/>
                  </a:cubicBezTo>
                  <a:lnTo>
                    <a:pt x="8633" y="11500"/>
                  </a:lnTo>
                  <a:lnTo>
                    <a:pt x="8633" y="10744"/>
                  </a:lnTo>
                  <a:lnTo>
                    <a:pt x="9042" y="10744"/>
                  </a:lnTo>
                  <a:cubicBezTo>
                    <a:pt x="10807" y="10744"/>
                    <a:pt x="12256" y="9295"/>
                    <a:pt x="12256" y="7530"/>
                  </a:cubicBezTo>
                  <a:lnTo>
                    <a:pt x="12256" y="5042"/>
                  </a:lnTo>
                  <a:cubicBezTo>
                    <a:pt x="12130" y="4285"/>
                    <a:pt x="11500" y="3624"/>
                    <a:pt x="10712" y="3624"/>
                  </a:cubicBezTo>
                  <a:cubicBezTo>
                    <a:pt x="9925" y="3624"/>
                    <a:pt x="9294" y="4254"/>
                    <a:pt x="9294" y="5042"/>
                  </a:cubicBezTo>
                  <a:lnTo>
                    <a:pt x="9294" y="7530"/>
                  </a:lnTo>
                  <a:cubicBezTo>
                    <a:pt x="9294" y="7719"/>
                    <a:pt x="9137" y="7877"/>
                    <a:pt x="8948" y="7877"/>
                  </a:cubicBezTo>
                  <a:lnTo>
                    <a:pt x="8570" y="7877"/>
                  </a:lnTo>
                  <a:lnTo>
                    <a:pt x="8570" y="3246"/>
                  </a:lnTo>
                  <a:cubicBezTo>
                    <a:pt x="8570" y="1860"/>
                    <a:pt x="7467" y="757"/>
                    <a:pt x="6081" y="757"/>
                  </a:cubicBezTo>
                  <a:cubicBezTo>
                    <a:pt x="4695" y="757"/>
                    <a:pt x="3592" y="1860"/>
                    <a:pt x="3592" y="3246"/>
                  </a:cubicBezTo>
                  <a:lnTo>
                    <a:pt x="3592" y="5010"/>
                  </a:lnTo>
                  <a:lnTo>
                    <a:pt x="3214" y="5010"/>
                  </a:lnTo>
                  <a:cubicBezTo>
                    <a:pt x="2993" y="5010"/>
                    <a:pt x="2836" y="4853"/>
                    <a:pt x="2836" y="4664"/>
                  </a:cubicBezTo>
                  <a:lnTo>
                    <a:pt x="2836" y="1419"/>
                  </a:lnTo>
                  <a:cubicBezTo>
                    <a:pt x="2836" y="631"/>
                    <a:pt x="2206" y="1"/>
                    <a:pt x="1418"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1097" name="Google Shape;11097;p114"/>
            <p:cNvSpPr/>
            <p:nvPr/>
          </p:nvSpPr>
          <p:spPr>
            <a:xfrm>
              <a:off x="-15593125" y="2859450"/>
              <a:ext cx="18125" cy="35475"/>
            </a:xfrm>
            <a:custGeom>
              <a:avLst/>
              <a:gdLst/>
              <a:ahLst/>
              <a:cxnLst/>
              <a:rect l="l" t="t" r="r" b="b"/>
              <a:pathLst>
                <a:path w="725" h="1419" extrusionOk="0">
                  <a:moveTo>
                    <a:pt x="347" y="1"/>
                  </a:moveTo>
                  <a:cubicBezTo>
                    <a:pt x="158" y="1"/>
                    <a:pt x="0" y="158"/>
                    <a:pt x="0" y="347"/>
                  </a:cubicBezTo>
                  <a:lnTo>
                    <a:pt x="0" y="1040"/>
                  </a:lnTo>
                  <a:cubicBezTo>
                    <a:pt x="0" y="1261"/>
                    <a:pt x="158" y="1418"/>
                    <a:pt x="347" y="1418"/>
                  </a:cubicBezTo>
                  <a:cubicBezTo>
                    <a:pt x="536" y="1418"/>
                    <a:pt x="725" y="1261"/>
                    <a:pt x="725" y="1040"/>
                  </a:cubicBezTo>
                  <a:lnTo>
                    <a:pt x="725" y="347"/>
                  </a:lnTo>
                  <a:cubicBezTo>
                    <a:pt x="725" y="158"/>
                    <a:pt x="536" y="1"/>
                    <a:pt x="347"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1098" name="Google Shape;11098;p114"/>
            <p:cNvSpPr/>
            <p:nvPr/>
          </p:nvSpPr>
          <p:spPr>
            <a:xfrm>
              <a:off x="-15593125" y="2966575"/>
              <a:ext cx="17350" cy="35475"/>
            </a:xfrm>
            <a:custGeom>
              <a:avLst/>
              <a:gdLst/>
              <a:ahLst/>
              <a:cxnLst/>
              <a:rect l="l" t="t" r="r" b="b"/>
              <a:pathLst>
                <a:path w="694" h="1419" extrusionOk="0">
                  <a:moveTo>
                    <a:pt x="347" y="0"/>
                  </a:moveTo>
                  <a:cubicBezTo>
                    <a:pt x="158" y="0"/>
                    <a:pt x="0" y="158"/>
                    <a:pt x="0" y="347"/>
                  </a:cubicBezTo>
                  <a:lnTo>
                    <a:pt x="0" y="1072"/>
                  </a:lnTo>
                  <a:cubicBezTo>
                    <a:pt x="0" y="1261"/>
                    <a:pt x="158" y="1418"/>
                    <a:pt x="347" y="1418"/>
                  </a:cubicBezTo>
                  <a:cubicBezTo>
                    <a:pt x="536" y="1418"/>
                    <a:pt x="693" y="1261"/>
                    <a:pt x="693" y="1072"/>
                  </a:cubicBezTo>
                  <a:lnTo>
                    <a:pt x="693" y="347"/>
                  </a:lnTo>
                  <a:cubicBezTo>
                    <a:pt x="693" y="158"/>
                    <a:pt x="536" y="0"/>
                    <a:pt x="347"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1099" name="Google Shape;11099;p114"/>
            <p:cNvSpPr/>
            <p:nvPr/>
          </p:nvSpPr>
          <p:spPr>
            <a:xfrm>
              <a:off x="-15557675" y="2859450"/>
              <a:ext cx="17350" cy="35475"/>
            </a:xfrm>
            <a:custGeom>
              <a:avLst/>
              <a:gdLst/>
              <a:ahLst/>
              <a:cxnLst/>
              <a:rect l="l" t="t" r="r" b="b"/>
              <a:pathLst>
                <a:path w="694" h="1419" extrusionOk="0">
                  <a:moveTo>
                    <a:pt x="347" y="1"/>
                  </a:moveTo>
                  <a:cubicBezTo>
                    <a:pt x="158" y="1"/>
                    <a:pt x="0" y="158"/>
                    <a:pt x="0" y="347"/>
                  </a:cubicBezTo>
                  <a:lnTo>
                    <a:pt x="0" y="1040"/>
                  </a:lnTo>
                  <a:cubicBezTo>
                    <a:pt x="0" y="1261"/>
                    <a:pt x="158" y="1418"/>
                    <a:pt x="347" y="1418"/>
                  </a:cubicBezTo>
                  <a:cubicBezTo>
                    <a:pt x="536" y="1418"/>
                    <a:pt x="693" y="1261"/>
                    <a:pt x="693" y="1040"/>
                  </a:cubicBezTo>
                  <a:lnTo>
                    <a:pt x="693" y="347"/>
                  </a:lnTo>
                  <a:cubicBezTo>
                    <a:pt x="693" y="158"/>
                    <a:pt x="536" y="1"/>
                    <a:pt x="347"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1100" name="Google Shape;11100;p114"/>
            <p:cNvSpPr/>
            <p:nvPr/>
          </p:nvSpPr>
          <p:spPr>
            <a:xfrm>
              <a:off x="-15557675" y="2966575"/>
              <a:ext cx="17350" cy="35475"/>
            </a:xfrm>
            <a:custGeom>
              <a:avLst/>
              <a:gdLst/>
              <a:ahLst/>
              <a:cxnLst/>
              <a:rect l="l" t="t" r="r" b="b"/>
              <a:pathLst>
                <a:path w="694" h="1419" extrusionOk="0">
                  <a:moveTo>
                    <a:pt x="347" y="0"/>
                  </a:moveTo>
                  <a:cubicBezTo>
                    <a:pt x="158" y="0"/>
                    <a:pt x="0" y="158"/>
                    <a:pt x="0" y="347"/>
                  </a:cubicBezTo>
                  <a:lnTo>
                    <a:pt x="0" y="1072"/>
                  </a:lnTo>
                  <a:cubicBezTo>
                    <a:pt x="0" y="1261"/>
                    <a:pt x="158" y="1418"/>
                    <a:pt x="347" y="1418"/>
                  </a:cubicBezTo>
                  <a:cubicBezTo>
                    <a:pt x="536" y="1418"/>
                    <a:pt x="693" y="1261"/>
                    <a:pt x="693" y="1072"/>
                  </a:cubicBezTo>
                  <a:lnTo>
                    <a:pt x="693" y="347"/>
                  </a:lnTo>
                  <a:cubicBezTo>
                    <a:pt x="693" y="158"/>
                    <a:pt x="536" y="0"/>
                    <a:pt x="347"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1101" name="Google Shape;11101;p114"/>
            <p:cNvSpPr/>
            <p:nvPr/>
          </p:nvSpPr>
          <p:spPr>
            <a:xfrm>
              <a:off x="-15575800" y="2913025"/>
              <a:ext cx="18125" cy="35450"/>
            </a:xfrm>
            <a:custGeom>
              <a:avLst/>
              <a:gdLst/>
              <a:ahLst/>
              <a:cxnLst/>
              <a:rect l="l" t="t" r="r" b="b"/>
              <a:pathLst>
                <a:path w="725" h="1418" extrusionOk="0">
                  <a:moveTo>
                    <a:pt x="378" y="0"/>
                  </a:moveTo>
                  <a:cubicBezTo>
                    <a:pt x="158" y="0"/>
                    <a:pt x="0" y="158"/>
                    <a:pt x="0" y="378"/>
                  </a:cubicBezTo>
                  <a:lnTo>
                    <a:pt x="0" y="1071"/>
                  </a:lnTo>
                  <a:cubicBezTo>
                    <a:pt x="0" y="1260"/>
                    <a:pt x="158" y="1418"/>
                    <a:pt x="378" y="1418"/>
                  </a:cubicBezTo>
                  <a:cubicBezTo>
                    <a:pt x="568" y="1418"/>
                    <a:pt x="725" y="1260"/>
                    <a:pt x="725" y="1071"/>
                  </a:cubicBezTo>
                  <a:lnTo>
                    <a:pt x="725" y="378"/>
                  </a:lnTo>
                  <a:cubicBezTo>
                    <a:pt x="725" y="158"/>
                    <a:pt x="568" y="0"/>
                    <a:pt x="378"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1102" name="Google Shape;11102;p114"/>
            <p:cNvSpPr/>
            <p:nvPr/>
          </p:nvSpPr>
          <p:spPr>
            <a:xfrm>
              <a:off x="-15575800" y="3019350"/>
              <a:ext cx="18125" cy="35450"/>
            </a:xfrm>
            <a:custGeom>
              <a:avLst/>
              <a:gdLst/>
              <a:ahLst/>
              <a:cxnLst/>
              <a:rect l="l" t="t" r="r" b="b"/>
              <a:pathLst>
                <a:path w="725" h="1418" extrusionOk="0">
                  <a:moveTo>
                    <a:pt x="378" y="0"/>
                  </a:moveTo>
                  <a:cubicBezTo>
                    <a:pt x="158" y="0"/>
                    <a:pt x="0" y="158"/>
                    <a:pt x="0" y="378"/>
                  </a:cubicBezTo>
                  <a:lnTo>
                    <a:pt x="0" y="1071"/>
                  </a:lnTo>
                  <a:cubicBezTo>
                    <a:pt x="0" y="1260"/>
                    <a:pt x="158" y="1418"/>
                    <a:pt x="378" y="1418"/>
                  </a:cubicBezTo>
                  <a:cubicBezTo>
                    <a:pt x="568" y="1418"/>
                    <a:pt x="725" y="1260"/>
                    <a:pt x="725" y="1071"/>
                  </a:cubicBezTo>
                  <a:lnTo>
                    <a:pt x="725" y="378"/>
                  </a:lnTo>
                  <a:cubicBezTo>
                    <a:pt x="725" y="158"/>
                    <a:pt x="568" y="0"/>
                    <a:pt x="378"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11103" name="Google Shape;11103;p114"/>
          <p:cNvGrpSpPr/>
          <p:nvPr/>
        </p:nvGrpSpPr>
        <p:grpSpPr>
          <a:xfrm>
            <a:off x="3467959" y="2251062"/>
            <a:ext cx="633500" cy="631893"/>
            <a:chOff x="-20173175" y="2038750"/>
            <a:chExt cx="305625" cy="304850"/>
          </a:xfrm>
        </p:grpSpPr>
        <p:sp>
          <p:nvSpPr>
            <p:cNvPr id="11104" name="Google Shape;11104;p114"/>
            <p:cNvSpPr/>
            <p:nvPr/>
          </p:nvSpPr>
          <p:spPr>
            <a:xfrm>
              <a:off x="-20173175" y="2038750"/>
              <a:ext cx="197725" cy="303275"/>
            </a:xfrm>
            <a:custGeom>
              <a:avLst/>
              <a:gdLst/>
              <a:ahLst/>
              <a:cxnLst/>
              <a:rect l="l" t="t" r="r" b="b"/>
              <a:pathLst>
                <a:path w="7909" h="12131" extrusionOk="0">
                  <a:moveTo>
                    <a:pt x="2175" y="3624"/>
                  </a:moveTo>
                  <a:cubicBezTo>
                    <a:pt x="3120" y="3781"/>
                    <a:pt x="3908" y="4506"/>
                    <a:pt x="4160" y="5451"/>
                  </a:cubicBezTo>
                  <a:cubicBezTo>
                    <a:pt x="3845" y="5294"/>
                    <a:pt x="3372" y="5136"/>
                    <a:pt x="2931" y="5042"/>
                  </a:cubicBezTo>
                  <a:cubicBezTo>
                    <a:pt x="2521" y="4663"/>
                    <a:pt x="2238" y="4191"/>
                    <a:pt x="2175" y="3624"/>
                  </a:cubicBezTo>
                  <a:close/>
                  <a:moveTo>
                    <a:pt x="6932" y="725"/>
                  </a:moveTo>
                  <a:cubicBezTo>
                    <a:pt x="6302" y="2332"/>
                    <a:pt x="6302" y="4159"/>
                    <a:pt x="6932" y="5766"/>
                  </a:cubicBezTo>
                  <a:lnTo>
                    <a:pt x="5168" y="5766"/>
                  </a:lnTo>
                  <a:cubicBezTo>
                    <a:pt x="5798" y="4159"/>
                    <a:pt x="5798" y="2332"/>
                    <a:pt x="5168" y="725"/>
                  </a:cubicBezTo>
                  <a:close/>
                  <a:moveTo>
                    <a:pt x="2490" y="5766"/>
                  </a:moveTo>
                  <a:cubicBezTo>
                    <a:pt x="3025" y="5766"/>
                    <a:pt x="3530" y="5955"/>
                    <a:pt x="3908" y="6113"/>
                  </a:cubicBezTo>
                  <a:cubicBezTo>
                    <a:pt x="3530" y="6270"/>
                    <a:pt x="3025" y="6459"/>
                    <a:pt x="2490" y="6459"/>
                  </a:cubicBezTo>
                  <a:cubicBezTo>
                    <a:pt x="1923" y="6459"/>
                    <a:pt x="1419" y="6270"/>
                    <a:pt x="1009" y="6113"/>
                  </a:cubicBezTo>
                  <a:cubicBezTo>
                    <a:pt x="1387" y="5924"/>
                    <a:pt x="1891" y="5766"/>
                    <a:pt x="2490" y="5766"/>
                  </a:cubicBezTo>
                  <a:close/>
                  <a:moveTo>
                    <a:pt x="4128" y="6743"/>
                  </a:moveTo>
                  <a:lnTo>
                    <a:pt x="4128" y="6743"/>
                  </a:lnTo>
                  <a:cubicBezTo>
                    <a:pt x="3908" y="7688"/>
                    <a:pt x="3120" y="8444"/>
                    <a:pt x="2112" y="8570"/>
                  </a:cubicBezTo>
                  <a:cubicBezTo>
                    <a:pt x="2206" y="8003"/>
                    <a:pt x="2490" y="7530"/>
                    <a:pt x="2868" y="7152"/>
                  </a:cubicBezTo>
                  <a:cubicBezTo>
                    <a:pt x="3372" y="7058"/>
                    <a:pt x="3813" y="6900"/>
                    <a:pt x="4128" y="6743"/>
                  </a:cubicBezTo>
                  <a:close/>
                  <a:moveTo>
                    <a:pt x="6932" y="6428"/>
                  </a:moveTo>
                  <a:cubicBezTo>
                    <a:pt x="6270" y="8034"/>
                    <a:pt x="6270" y="9893"/>
                    <a:pt x="6932" y="11469"/>
                  </a:cubicBezTo>
                  <a:lnTo>
                    <a:pt x="5168" y="11469"/>
                  </a:lnTo>
                  <a:cubicBezTo>
                    <a:pt x="5798" y="9862"/>
                    <a:pt x="5798" y="8034"/>
                    <a:pt x="5168" y="6428"/>
                  </a:cubicBezTo>
                  <a:close/>
                  <a:moveTo>
                    <a:pt x="4664" y="1"/>
                  </a:moveTo>
                  <a:cubicBezTo>
                    <a:pt x="4380" y="1"/>
                    <a:pt x="4223" y="284"/>
                    <a:pt x="4349" y="536"/>
                  </a:cubicBezTo>
                  <a:cubicBezTo>
                    <a:pt x="5010" y="1860"/>
                    <a:pt x="5168" y="3403"/>
                    <a:pt x="4758" y="4853"/>
                  </a:cubicBezTo>
                  <a:cubicBezTo>
                    <a:pt x="4286" y="3718"/>
                    <a:pt x="3151" y="2868"/>
                    <a:pt x="1797" y="2868"/>
                  </a:cubicBezTo>
                  <a:cubicBezTo>
                    <a:pt x="1608" y="2868"/>
                    <a:pt x="1450" y="3057"/>
                    <a:pt x="1450" y="3246"/>
                  </a:cubicBezTo>
                  <a:cubicBezTo>
                    <a:pt x="1450" y="3907"/>
                    <a:pt x="1639" y="4537"/>
                    <a:pt x="2017" y="5042"/>
                  </a:cubicBezTo>
                  <a:cubicBezTo>
                    <a:pt x="978" y="5199"/>
                    <a:pt x="158" y="5766"/>
                    <a:pt x="158" y="5798"/>
                  </a:cubicBezTo>
                  <a:cubicBezTo>
                    <a:pt x="95" y="5861"/>
                    <a:pt x="1" y="5955"/>
                    <a:pt x="1" y="6081"/>
                  </a:cubicBezTo>
                  <a:cubicBezTo>
                    <a:pt x="1" y="6207"/>
                    <a:pt x="32" y="6302"/>
                    <a:pt x="158" y="6333"/>
                  </a:cubicBezTo>
                  <a:cubicBezTo>
                    <a:pt x="190" y="6396"/>
                    <a:pt x="978" y="6932"/>
                    <a:pt x="2017" y="7089"/>
                  </a:cubicBezTo>
                  <a:cubicBezTo>
                    <a:pt x="1639" y="7593"/>
                    <a:pt x="1450" y="8287"/>
                    <a:pt x="1450" y="8917"/>
                  </a:cubicBezTo>
                  <a:cubicBezTo>
                    <a:pt x="1450" y="9106"/>
                    <a:pt x="1608" y="9263"/>
                    <a:pt x="1797" y="9263"/>
                  </a:cubicBezTo>
                  <a:cubicBezTo>
                    <a:pt x="3151" y="9263"/>
                    <a:pt x="4286" y="8476"/>
                    <a:pt x="4758" y="7278"/>
                  </a:cubicBezTo>
                  <a:lnTo>
                    <a:pt x="4758" y="7278"/>
                  </a:lnTo>
                  <a:cubicBezTo>
                    <a:pt x="5168" y="8696"/>
                    <a:pt x="5010" y="10271"/>
                    <a:pt x="4349" y="11626"/>
                  </a:cubicBezTo>
                  <a:cubicBezTo>
                    <a:pt x="4223" y="11847"/>
                    <a:pt x="4380" y="12130"/>
                    <a:pt x="4664" y="12130"/>
                  </a:cubicBezTo>
                  <a:lnTo>
                    <a:pt x="7499" y="12130"/>
                  </a:lnTo>
                  <a:cubicBezTo>
                    <a:pt x="7751" y="12130"/>
                    <a:pt x="7909" y="11878"/>
                    <a:pt x="7814" y="11626"/>
                  </a:cubicBezTo>
                  <a:cubicBezTo>
                    <a:pt x="6932" y="9925"/>
                    <a:pt x="6932" y="7908"/>
                    <a:pt x="7814" y="6239"/>
                  </a:cubicBezTo>
                  <a:cubicBezTo>
                    <a:pt x="7846" y="6144"/>
                    <a:pt x="7846" y="6018"/>
                    <a:pt x="7814" y="5924"/>
                  </a:cubicBezTo>
                  <a:cubicBezTo>
                    <a:pt x="6932" y="4222"/>
                    <a:pt x="6932" y="2206"/>
                    <a:pt x="7814" y="505"/>
                  </a:cubicBezTo>
                  <a:cubicBezTo>
                    <a:pt x="7909" y="284"/>
                    <a:pt x="7720" y="1"/>
                    <a:pt x="7499"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1105" name="Google Shape;11105;p114"/>
            <p:cNvSpPr/>
            <p:nvPr/>
          </p:nvSpPr>
          <p:spPr>
            <a:xfrm>
              <a:off x="-19962875" y="2110425"/>
              <a:ext cx="95325" cy="233175"/>
            </a:xfrm>
            <a:custGeom>
              <a:avLst/>
              <a:gdLst/>
              <a:ahLst/>
              <a:cxnLst/>
              <a:rect l="l" t="t" r="r" b="b"/>
              <a:pathLst>
                <a:path w="3813" h="9327" extrusionOk="0">
                  <a:moveTo>
                    <a:pt x="2773" y="725"/>
                  </a:moveTo>
                  <a:cubicBezTo>
                    <a:pt x="2269" y="1859"/>
                    <a:pt x="2269" y="3151"/>
                    <a:pt x="2773" y="4317"/>
                  </a:cubicBezTo>
                  <a:lnTo>
                    <a:pt x="1103" y="4317"/>
                  </a:lnTo>
                  <a:cubicBezTo>
                    <a:pt x="1639" y="3151"/>
                    <a:pt x="1639" y="1859"/>
                    <a:pt x="1103" y="725"/>
                  </a:cubicBezTo>
                  <a:close/>
                  <a:moveTo>
                    <a:pt x="2742" y="4978"/>
                  </a:moveTo>
                  <a:cubicBezTo>
                    <a:pt x="2458" y="5546"/>
                    <a:pt x="2332" y="6176"/>
                    <a:pt x="2332" y="6806"/>
                  </a:cubicBezTo>
                  <a:cubicBezTo>
                    <a:pt x="2332" y="7467"/>
                    <a:pt x="2490" y="8066"/>
                    <a:pt x="2742" y="8602"/>
                  </a:cubicBezTo>
                  <a:lnTo>
                    <a:pt x="1072" y="8602"/>
                  </a:lnTo>
                  <a:cubicBezTo>
                    <a:pt x="1355" y="8066"/>
                    <a:pt x="1482" y="7436"/>
                    <a:pt x="1482" y="6806"/>
                  </a:cubicBezTo>
                  <a:cubicBezTo>
                    <a:pt x="1482" y="6176"/>
                    <a:pt x="1355" y="5546"/>
                    <a:pt x="1072" y="4978"/>
                  </a:cubicBezTo>
                  <a:close/>
                  <a:moveTo>
                    <a:pt x="473" y="1"/>
                  </a:moveTo>
                  <a:cubicBezTo>
                    <a:pt x="221" y="1"/>
                    <a:pt x="32" y="347"/>
                    <a:pt x="158" y="568"/>
                  </a:cubicBezTo>
                  <a:cubicBezTo>
                    <a:pt x="914" y="1670"/>
                    <a:pt x="1009" y="3151"/>
                    <a:pt x="158" y="4474"/>
                  </a:cubicBezTo>
                  <a:cubicBezTo>
                    <a:pt x="95" y="4600"/>
                    <a:pt x="95" y="4726"/>
                    <a:pt x="158" y="4852"/>
                  </a:cubicBezTo>
                  <a:cubicBezTo>
                    <a:pt x="946" y="6050"/>
                    <a:pt x="946" y="7625"/>
                    <a:pt x="158" y="8759"/>
                  </a:cubicBezTo>
                  <a:cubicBezTo>
                    <a:pt x="1" y="9011"/>
                    <a:pt x="158" y="9326"/>
                    <a:pt x="473" y="9326"/>
                  </a:cubicBezTo>
                  <a:lnTo>
                    <a:pt x="3309" y="9326"/>
                  </a:lnTo>
                  <a:cubicBezTo>
                    <a:pt x="3592" y="9326"/>
                    <a:pt x="3813" y="9011"/>
                    <a:pt x="3624" y="8759"/>
                  </a:cubicBezTo>
                  <a:cubicBezTo>
                    <a:pt x="2836" y="7593"/>
                    <a:pt x="2836" y="6018"/>
                    <a:pt x="3624" y="4852"/>
                  </a:cubicBezTo>
                  <a:cubicBezTo>
                    <a:pt x="3718" y="4726"/>
                    <a:pt x="3718" y="4600"/>
                    <a:pt x="3624" y="4474"/>
                  </a:cubicBezTo>
                  <a:cubicBezTo>
                    <a:pt x="2836" y="3277"/>
                    <a:pt x="2836" y="1765"/>
                    <a:pt x="3624" y="568"/>
                  </a:cubicBezTo>
                  <a:cubicBezTo>
                    <a:pt x="3813" y="347"/>
                    <a:pt x="3624" y="1"/>
                    <a:pt x="3309"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sp>
        <p:nvSpPr>
          <p:cNvPr id="11106" name="Google Shape;11106;p114"/>
          <p:cNvSpPr/>
          <p:nvPr/>
        </p:nvSpPr>
        <p:spPr>
          <a:xfrm>
            <a:off x="3467963" y="3033956"/>
            <a:ext cx="630235" cy="629405"/>
          </a:xfrm>
          <a:custGeom>
            <a:avLst/>
            <a:gdLst/>
            <a:ahLst/>
            <a:cxnLst/>
            <a:rect l="l" t="t" r="r" b="b"/>
            <a:pathLst>
              <a:path w="12162" h="12146" extrusionOk="0">
                <a:moveTo>
                  <a:pt x="8979" y="686"/>
                </a:moveTo>
                <a:lnTo>
                  <a:pt x="11437" y="1946"/>
                </a:lnTo>
                <a:lnTo>
                  <a:pt x="11437" y="5096"/>
                </a:lnTo>
                <a:lnTo>
                  <a:pt x="8979" y="6357"/>
                </a:lnTo>
                <a:lnTo>
                  <a:pt x="8444" y="6073"/>
                </a:lnTo>
                <a:cubicBezTo>
                  <a:pt x="8444" y="5821"/>
                  <a:pt x="8381" y="5569"/>
                  <a:pt x="8286" y="5285"/>
                </a:cubicBezTo>
                <a:lnTo>
                  <a:pt x="9767" y="4939"/>
                </a:lnTo>
                <a:cubicBezTo>
                  <a:pt x="9956" y="4907"/>
                  <a:pt x="10082" y="4718"/>
                  <a:pt x="10019" y="4498"/>
                </a:cubicBezTo>
                <a:cubicBezTo>
                  <a:pt x="9993" y="4342"/>
                  <a:pt x="9861" y="4229"/>
                  <a:pt x="9709" y="4229"/>
                </a:cubicBezTo>
                <a:cubicBezTo>
                  <a:pt x="9676" y="4229"/>
                  <a:pt x="9643" y="4235"/>
                  <a:pt x="9609" y="4246"/>
                </a:cubicBezTo>
                <a:lnTo>
                  <a:pt x="7940" y="4655"/>
                </a:lnTo>
                <a:cubicBezTo>
                  <a:pt x="7877" y="4592"/>
                  <a:pt x="7814" y="4498"/>
                  <a:pt x="7751" y="4435"/>
                </a:cubicBezTo>
                <a:lnTo>
                  <a:pt x="8570" y="2986"/>
                </a:lnTo>
                <a:cubicBezTo>
                  <a:pt x="8664" y="2828"/>
                  <a:pt x="8601" y="2576"/>
                  <a:pt x="8444" y="2513"/>
                </a:cubicBezTo>
                <a:cubicBezTo>
                  <a:pt x="8385" y="2477"/>
                  <a:pt x="8317" y="2460"/>
                  <a:pt x="8250" y="2460"/>
                </a:cubicBezTo>
                <a:cubicBezTo>
                  <a:pt x="8139" y="2460"/>
                  <a:pt x="8030" y="2509"/>
                  <a:pt x="7971" y="2607"/>
                </a:cubicBezTo>
                <a:lnTo>
                  <a:pt x="7184" y="3994"/>
                </a:lnTo>
                <a:cubicBezTo>
                  <a:pt x="6963" y="3868"/>
                  <a:pt x="6774" y="3805"/>
                  <a:pt x="6490" y="3710"/>
                </a:cubicBezTo>
                <a:lnTo>
                  <a:pt x="6490" y="1946"/>
                </a:lnTo>
                <a:lnTo>
                  <a:pt x="8979" y="686"/>
                </a:lnTo>
                <a:close/>
                <a:moveTo>
                  <a:pt x="2438" y="3498"/>
                </a:moveTo>
                <a:cubicBezTo>
                  <a:pt x="2782" y="3498"/>
                  <a:pt x="3112" y="3707"/>
                  <a:pt x="3245" y="4088"/>
                </a:cubicBezTo>
                <a:lnTo>
                  <a:pt x="4191" y="6451"/>
                </a:lnTo>
                <a:cubicBezTo>
                  <a:pt x="3876" y="6231"/>
                  <a:pt x="2363" y="5380"/>
                  <a:pt x="2017" y="5191"/>
                </a:cubicBezTo>
                <a:cubicBezTo>
                  <a:pt x="1481" y="4907"/>
                  <a:pt x="1387" y="4183"/>
                  <a:pt x="1796" y="3773"/>
                </a:cubicBezTo>
                <a:cubicBezTo>
                  <a:pt x="1983" y="3587"/>
                  <a:pt x="2213" y="3498"/>
                  <a:pt x="2438" y="3498"/>
                </a:cubicBezTo>
                <a:close/>
                <a:moveTo>
                  <a:pt x="5970" y="4409"/>
                </a:moveTo>
                <a:cubicBezTo>
                  <a:pt x="6417" y="4409"/>
                  <a:pt x="6857" y="4584"/>
                  <a:pt x="7184" y="4939"/>
                </a:cubicBezTo>
                <a:cubicBezTo>
                  <a:pt x="7940" y="5695"/>
                  <a:pt x="7877" y="6987"/>
                  <a:pt x="6995" y="7648"/>
                </a:cubicBezTo>
                <a:lnTo>
                  <a:pt x="5230" y="6955"/>
                </a:lnTo>
                <a:lnTo>
                  <a:pt x="4506" y="5191"/>
                </a:lnTo>
                <a:cubicBezTo>
                  <a:pt x="4870" y="4671"/>
                  <a:pt x="5424" y="4409"/>
                  <a:pt x="5970" y="4409"/>
                </a:cubicBezTo>
                <a:close/>
                <a:moveTo>
                  <a:pt x="3025" y="6609"/>
                </a:moveTo>
                <a:lnTo>
                  <a:pt x="4632" y="7491"/>
                </a:lnTo>
                <a:lnTo>
                  <a:pt x="5545" y="9129"/>
                </a:lnTo>
                <a:lnTo>
                  <a:pt x="5419" y="9223"/>
                </a:lnTo>
                <a:lnTo>
                  <a:pt x="2899" y="6703"/>
                </a:lnTo>
                <a:lnTo>
                  <a:pt x="3025" y="6609"/>
                </a:lnTo>
                <a:close/>
                <a:moveTo>
                  <a:pt x="2395" y="7207"/>
                </a:moveTo>
                <a:lnTo>
                  <a:pt x="4915" y="9759"/>
                </a:lnTo>
                <a:lnTo>
                  <a:pt x="4758" y="9917"/>
                </a:lnTo>
                <a:cubicBezTo>
                  <a:pt x="4632" y="10011"/>
                  <a:pt x="4537" y="10106"/>
                  <a:pt x="4411" y="10232"/>
                </a:cubicBezTo>
                <a:lnTo>
                  <a:pt x="1922" y="7743"/>
                </a:lnTo>
                <a:cubicBezTo>
                  <a:pt x="1985" y="7617"/>
                  <a:pt x="2111" y="7491"/>
                  <a:pt x="2237" y="7396"/>
                </a:cubicBezTo>
                <a:lnTo>
                  <a:pt x="2395" y="7207"/>
                </a:lnTo>
                <a:close/>
                <a:moveTo>
                  <a:pt x="5734" y="7900"/>
                </a:moveTo>
                <a:cubicBezTo>
                  <a:pt x="6018" y="8026"/>
                  <a:pt x="7782" y="8719"/>
                  <a:pt x="8066" y="8845"/>
                </a:cubicBezTo>
                <a:cubicBezTo>
                  <a:pt x="8664" y="9066"/>
                  <a:pt x="8822" y="9854"/>
                  <a:pt x="8381" y="10295"/>
                </a:cubicBezTo>
                <a:cubicBezTo>
                  <a:pt x="8196" y="10479"/>
                  <a:pt x="7968" y="10564"/>
                  <a:pt x="7744" y="10564"/>
                </a:cubicBezTo>
                <a:cubicBezTo>
                  <a:pt x="7432" y="10564"/>
                  <a:pt x="7128" y="10399"/>
                  <a:pt x="6963" y="10106"/>
                </a:cubicBezTo>
                <a:cubicBezTo>
                  <a:pt x="6837" y="9854"/>
                  <a:pt x="5860" y="8089"/>
                  <a:pt x="5734" y="7900"/>
                </a:cubicBezTo>
                <a:close/>
                <a:moveTo>
                  <a:pt x="1576" y="8404"/>
                </a:moveTo>
                <a:lnTo>
                  <a:pt x="3750" y="10578"/>
                </a:lnTo>
                <a:cubicBezTo>
                  <a:pt x="3447" y="10661"/>
                  <a:pt x="3132" y="10707"/>
                  <a:pt x="2819" y="10707"/>
                </a:cubicBezTo>
                <a:cubicBezTo>
                  <a:pt x="2414" y="10707"/>
                  <a:pt x="2012" y="10630"/>
                  <a:pt x="1639" y="10452"/>
                </a:cubicBezTo>
                <a:cubicBezTo>
                  <a:pt x="1324" y="9791"/>
                  <a:pt x="1324" y="9034"/>
                  <a:pt x="1576" y="8404"/>
                </a:cubicBezTo>
                <a:close/>
                <a:moveTo>
                  <a:pt x="8956" y="0"/>
                </a:moveTo>
                <a:cubicBezTo>
                  <a:pt x="8901" y="0"/>
                  <a:pt x="8853" y="8"/>
                  <a:pt x="8822" y="24"/>
                </a:cubicBezTo>
                <a:lnTo>
                  <a:pt x="5986" y="1442"/>
                </a:lnTo>
                <a:cubicBezTo>
                  <a:pt x="5860" y="1505"/>
                  <a:pt x="5766" y="1631"/>
                  <a:pt x="5766" y="1757"/>
                </a:cubicBezTo>
                <a:lnTo>
                  <a:pt x="5766" y="3710"/>
                </a:lnTo>
                <a:cubicBezTo>
                  <a:pt x="5199" y="3773"/>
                  <a:pt x="4632" y="4025"/>
                  <a:pt x="4254" y="4435"/>
                </a:cubicBezTo>
                <a:lnTo>
                  <a:pt x="4002" y="3805"/>
                </a:lnTo>
                <a:cubicBezTo>
                  <a:pt x="3751" y="3149"/>
                  <a:pt x="3134" y="2788"/>
                  <a:pt x="2505" y="2788"/>
                </a:cubicBezTo>
                <a:cubicBezTo>
                  <a:pt x="2107" y="2788"/>
                  <a:pt x="1704" y="2932"/>
                  <a:pt x="1387" y="3238"/>
                </a:cubicBezTo>
                <a:cubicBezTo>
                  <a:pt x="631" y="3994"/>
                  <a:pt x="788" y="5285"/>
                  <a:pt x="1733" y="5821"/>
                </a:cubicBezTo>
                <a:lnTo>
                  <a:pt x="2426" y="6199"/>
                </a:lnTo>
                <a:lnTo>
                  <a:pt x="1765" y="6861"/>
                </a:lnTo>
                <a:cubicBezTo>
                  <a:pt x="788" y="7869"/>
                  <a:pt x="473" y="9349"/>
                  <a:pt x="1009" y="10641"/>
                </a:cubicBezTo>
                <a:lnTo>
                  <a:pt x="158" y="11523"/>
                </a:lnTo>
                <a:cubicBezTo>
                  <a:pt x="0" y="11681"/>
                  <a:pt x="0" y="11870"/>
                  <a:pt x="158" y="12027"/>
                </a:cubicBezTo>
                <a:cubicBezTo>
                  <a:pt x="237" y="12106"/>
                  <a:pt x="323" y="12146"/>
                  <a:pt x="410" y="12146"/>
                </a:cubicBezTo>
                <a:cubicBezTo>
                  <a:pt x="497" y="12146"/>
                  <a:pt x="583" y="12106"/>
                  <a:pt x="662" y="12027"/>
                </a:cubicBezTo>
                <a:lnTo>
                  <a:pt x="1544" y="11177"/>
                </a:lnTo>
                <a:cubicBezTo>
                  <a:pt x="1966" y="11341"/>
                  <a:pt x="2408" y="11422"/>
                  <a:pt x="2846" y="11422"/>
                </a:cubicBezTo>
                <a:cubicBezTo>
                  <a:pt x="3752" y="11422"/>
                  <a:pt x="4646" y="11079"/>
                  <a:pt x="5325" y="10421"/>
                </a:cubicBezTo>
                <a:lnTo>
                  <a:pt x="5986" y="9759"/>
                </a:lnTo>
                <a:lnTo>
                  <a:pt x="6364" y="10452"/>
                </a:lnTo>
                <a:cubicBezTo>
                  <a:pt x="6672" y="10994"/>
                  <a:pt x="7217" y="11277"/>
                  <a:pt x="7776" y="11277"/>
                </a:cubicBezTo>
                <a:cubicBezTo>
                  <a:pt x="8190" y="11277"/>
                  <a:pt x="8612" y="11121"/>
                  <a:pt x="8948" y="10799"/>
                </a:cubicBezTo>
                <a:cubicBezTo>
                  <a:pt x="9767" y="9980"/>
                  <a:pt x="9483" y="8593"/>
                  <a:pt x="8381" y="8184"/>
                </a:cubicBezTo>
                <a:lnTo>
                  <a:pt x="7751" y="7932"/>
                </a:lnTo>
                <a:cubicBezTo>
                  <a:pt x="8066" y="7617"/>
                  <a:pt x="8255" y="7270"/>
                  <a:pt x="8381" y="6829"/>
                </a:cubicBezTo>
                <a:lnTo>
                  <a:pt x="8822" y="7081"/>
                </a:lnTo>
                <a:cubicBezTo>
                  <a:pt x="8885" y="7097"/>
                  <a:pt x="8940" y="7105"/>
                  <a:pt x="8991" y="7105"/>
                </a:cubicBezTo>
                <a:cubicBezTo>
                  <a:pt x="9042" y="7105"/>
                  <a:pt x="9090" y="7097"/>
                  <a:pt x="9137" y="7081"/>
                </a:cubicBezTo>
                <a:lnTo>
                  <a:pt x="11972" y="5663"/>
                </a:lnTo>
                <a:cubicBezTo>
                  <a:pt x="12098" y="5569"/>
                  <a:pt x="12161" y="5443"/>
                  <a:pt x="12161" y="5348"/>
                </a:cubicBezTo>
                <a:lnTo>
                  <a:pt x="12161" y="1757"/>
                </a:lnTo>
                <a:cubicBezTo>
                  <a:pt x="12161" y="1631"/>
                  <a:pt x="12067" y="1473"/>
                  <a:pt x="11972" y="1442"/>
                </a:cubicBezTo>
                <a:lnTo>
                  <a:pt x="9137" y="24"/>
                </a:lnTo>
                <a:cubicBezTo>
                  <a:pt x="9074" y="8"/>
                  <a:pt x="9011" y="0"/>
                  <a:pt x="8956"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nvGrpSpPr>
          <p:cNvPr id="11107" name="Google Shape;11107;p114"/>
          <p:cNvGrpSpPr/>
          <p:nvPr/>
        </p:nvGrpSpPr>
        <p:grpSpPr>
          <a:xfrm>
            <a:off x="3469591" y="3800377"/>
            <a:ext cx="630235" cy="633500"/>
            <a:chOff x="-20173175" y="2787775"/>
            <a:chExt cx="304050" cy="305625"/>
          </a:xfrm>
        </p:grpSpPr>
        <p:sp>
          <p:nvSpPr>
            <p:cNvPr id="11108" name="Google Shape;11108;p114"/>
            <p:cNvSpPr/>
            <p:nvPr/>
          </p:nvSpPr>
          <p:spPr>
            <a:xfrm>
              <a:off x="-19959725" y="2896475"/>
              <a:ext cx="18150" cy="18150"/>
            </a:xfrm>
            <a:custGeom>
              <a:avLst/>
              <a:gdLst/>
              <a:ahLst/>
              <a:cxnLst/>
              <a:rect l="l" t="t" r="r" b="b"/>
              <a:pathLst>
                <a:path w="726" h="726" extrusionOk="0">
                  <a:moveTo>
                    <a:pt x="347" y="0"/>
                  </a:moveTo>
                  <a:cubicBezTo>
                    <a:pt x="158" y="0"/>
                    <a:pt x="1" y="158"/>
                    <a:pt x="1" y="347"/>
                  </a:cubicBezTo>
                  <a:cubicBezTo>
                    <a:pt x="1" y="505"/>
                    <a:pt x="158" y="725"/>
                    <a:pt x="347" y="725"/>
                  </a:cubicBezTo>
                  <a:cubicBezTo>
                    <a:pt x="568" y="725"/>
                    <a:pt x="725" y="568"/>
                    <a:pt x="725" y="347"/>
                  </a:cubicBezTo>
                  <a:cubicBezTo>
                    <a:pt x="725" y="158"/>
                    <a:pt x="568" y="0"/>
                    <a:pt x="347"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1109" name="Google Shape;11109;p114"/>
            <p:cNvSpPr/>
            <p:nvPr/>
          </p:nvSpPr>
          <p:spPr>
            <a:xfrm>
              <a:off x="-19941600" y="2860250"/>
              <a:ext cx="17350" cy="17350"/>
            </a:xfrm>
            <a:custGeom>
              <a:avLst/>
              <a:gdLst/>
              <a:ahLst/>
              <a:cxnLst/>
              <a:rect l="l" t="t" r="r" b="b"/>
              <a:pathLst>
                <a:path w="694" h="694" extrusionOk="0">
                  <a:moveTo>
                    <a:pt x="347" y="0"/>
                  </a:moveTo>
                  <a:cubicBezTo>
                    <a:pt x="158" y="0"/>
                    <a:pt x="0" y="158"/>
                    <a:pt x="0" y="347"/>
                  </a:cubicBezTo>
                  <a:cubicBezTo>
                    <a:pt x="0" y="536"/>
                    <a:pt x="158" y="693"/>
                    <a:pt x="347" y="693"/>
                  </a:cubicBezTo>
                  <a:cubicBezTo>
                    <a:pt x="536" y="693"/>
                    <a:pt x="694" y="536"/>
                    <a:pt x="694" y="347"/>
                  </a:cubicBezTo>
                  <a:cubicBezTo>
                    <a:pt x="694" y="158"/>
                    <a:pt x="536" y="0"/>
                    <a:pt x="347"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1110" name="Google Shape;11110;p114"/>
            <p:cNvSpPr/>
            <p:nvPr/>
          </p:nvSpPr>
          <p:spPr>
            <a:xfrm>
              <a:off x="-20102275" y="2895675"/>
              <a:ext cx="18125" cy="17375"/>
            </a:xfrm>
            <a:custGeom>
              <a:avLst/>
              <a:gdLst/>
              <a:ahLst/>
              <a:cxnLst/>
              <a:rect l="l" t="t" r="r" b="b"/>
              <a:pathLst>
                <a:path w="725" h="695" extrusionOk="0">
                  <a:moveTo>
                    <a:pt x="347" y="1"/>
                  </a:moveTo>
                  <a:cubicBezTo>
                    <a:pt x="158" y="1"/>
                    <a:pt x="0" y="159"/>
                    <a:pt x="0" y="348"/>
                  </a:cubicBezTo>
                  <a:cubicBezTo>
                    <a:pt x="0" y="537"/>
                    <a:pt x="158" y="694"/>
                    <a:pt x="347" y="694"/>
                  </a:cubicBezTo>
                  <a:cubicBezTo>
                    <a:pt x="536" y="694"/>
                    <a:pt x="725" y="537"/>
                    <a:pt x="725" y="348"/>
                  </a:cubicBezTo>
                  <a:cubicBezTo>
                    <a:pt x="725" y="159"/>
                    <a:pt x="536" y="1"/>
                    <a:pt x="347"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1111" name="Google Shape;11111;p114"/>
            <p:cNvSpPr/>
            <p:nvPr/>
          </p:nvSpPr>
          <p:spPr>
            <a:xfrm>
              <a:off x="-20120400" y="2860250"/>
              <a:ext cx="18150" cy="17350"/>
            </a:xfrm>
            <a:custGeom>
              <a:avLst/>
              <a:gdLst/>
              <a:ahLst/>
              <a:cxnLst/>
              <a:rect l="l" t="t" r="r" b="b"/>
              <a:pathLst>
                <a:path w="726" h="694" extrusionOk="0">
                  <a:moveTo>
                    <a:pt x="379" y="0"/>
                  </a:moveTo>
                  <a:cubicBezTo>
                    <a:pt x="158" y="0"/>
                    <a:pt x="1" y="158"/>
                    <a:pt x="1" y="347"/>
                  </a:cubicBezTo>
                  <a:cubicBezTo>
                    <a:pt x="1" y="536"/>
                    <a:pt x="158" y="693"/>
                    <a:pt x="379" y="693"/>
                  </a:cubicBezTo>
                  <a:cubicBezTo>
                    <a:pt x="568" y="693"/>
                    <a:pt x="725" y="536"/>
                    <a:pt x="725" y="347"/>
                  </a:cubicBezTo>
                  <a:cubicBezTo>
                    <a:pt x="725" y="158"/>
                    <a:pt x="568" y="0"/>
                    <a:pt x="379"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1112" name="Google Shape;11112;p114"/>
            <p:cNvSpPr/>
            <p:nvPr/>
          </p:nvSpPr>
          <p:spPr>
            <a:xfrm>
              <a:off x="-20173175" y="2787775"/>
              <a:ext cx="304050" cy="305625"/>
            </a:xfrm>
            <a:custGeom>
              <a:avLst/>
              <a:gdLst/>
              <a:ahLst/>
              <a:cxnLst/>
              <a:rect l="l" t="t" r="r" b="b"/>
              <a:pathLst>
                <a:path w="12162" h="12225" extrusionOk="0">
                  <a:moveTo>
                    <a:pt x="11437" y="1482"/>
                  </a:moveTo>
                  <a:lnTo>
                    <a:pt x="11437" y="3246"/>
                  </a:lnTo>
                  <a:lnTo>
                    <a:pt x="11406" y="3246"/>
                  </a:lnTo>
                  <a:cubicBezTo>
                    <a:pt x="11406" y="3844"/>
                    <a:pt x="10902" y="4317"/>
                    <a:pt x="10303" y="4317"/>
                  </a:cubicBezTo>
                  <a:cubicBezTo>
                    <a:pt x="10114" y="4317"/>
                    <a:pt x="9957" y="4475"/>
                    <a:pt x="9957" y="4664"/>
                  </a:cubicBezTo>
                  <a:cubicBezTo>
                    <a:pt x="9957" y="5262"/>
                    <a:pt x="9484" y="5735"/>
                    <a:pt x="8885" y="5735"/>
                  </a:cubicBezTo>
                  <a:lnTo>
                    <a:pt x="7121" y="5735"/>
                  </a:lnTo>
                  <a:cubicBezTo>
                    <a:pt x="7279" y="3435"/>
                    <a:pt x="9137" y="1639"/>
                    <a:pt x="11437" y="1482"/>
                  </a:cubicBezTo>
                  <a:close/>
                  <a:moveTo>
                    <a:pt x="663" y="1513"/>
                  </a:moveTo>
                  <a:cubicBezTo>
                    <a:pt x="2962" y="1671"/>
                    <a:pt x="4790" y="3529"/>
                    <a:pt x="4947" y="5766"/>
                  </a:cubicBezTo>
                  <a:lnTo>
                    <a:pt x="3183" y="5766"/>
                  </a:lnTo>
                  <a:cubicBezTo>
                    <a:pt x="2584" y="5766"/>
                    <a:pt x="2143" y="5294"/>
                    <a:pt x="2143" y="4695"/>
                  </a:cubicBezTo>
                  <a:cubicBezTo>
                    <a:pt x="2143" y="4506"/>
                    <a:pt x="1986" y="4348"/>
                    <a:pt x="1765" y="4348"/>
                  </a:cubicBezTo>
                  <a:cubicBezTo>
                    <a:pt x="1198" y="4348"/>
                    <a:pt x="663" y="3876"/>
                    <a:pt x="663" y="3277"/>
                  </a:cubicBezTo>
                  <a:lnTo>
                    <a:pt x="663" y="1513"/>
                  </a:lnTo>
                  <a:close/>
                  <a:moveTo>
                    <a:pt x="6018" y="4317"/>
                  </a:moveTo>
                  <a:cubicBezTo>
                    <a:pt x="6207" y="4317"/>
                    <a:pt x="6365" y="4475"/>
                    <a:pt x="6365" y="4664"/>
                  </a:cubicBezTo>
                  <a:lnTo>
                    <a:pt x="6365" y="8948"/>
                  </a:lnTo>
                  <a:cubicBezTo>
                    <a:pt x="6365" y="9169"/>
                    <a:pt x="6207" y="9326"/>
                    <a:pt x="6018" y="9326"/>
                  </a:cubicBezTo>
                  <a:cubicBezTo>
                    <a:pt x="5829" y="9326"/>
                    <a:pt x="5672" y="9169"/>
                    <a:pt x="5672" y="8948"/>
                  </a:cubicBezTo>
                  <a:lnTo>
                    <a:pt x="5672" y="4664"/>
                  </a:lnTo>
                  <a:cubicBezTo>
                    <a:pt x="5672" y="4475"/>
                    <a:pt x="5829" y="4317"/>
                    <a:pt x="6018" y="4317"/>
                  </a:cubicBezTo>
                  <a:close/>
                  <a:moveTo>
                    <a:pt x="4947" y="6459"/>
                  </a:moveTo>
                  <a:lnTo>
                    <a:pt x="4947" y="8948"/>
                  </a:lnTo>
                  <a:lnTo>
                    <a:pt x="4947" y="11122"/>
                  </a:lnTo>
                  <a:cubicBezTo>
                    <a:pt x="4947" y="11311"/>
                    <a:pt x="4790" y="11469"/>
                    <a:pt x="4601" y="11469"/>
                  </a:cubicBezTo>
                  <a:cubicBezTo>
                    <a:pt x="4412" y="11469"/>
                    <a:pt x="4254" y="11311"/>
                    <a:pt x="4254" y="11122"/>
                  </a:cubicBezTo>
                  <a:cubicBezTo>
                    <a:pt x="4254" y="10838"/>
                    <a:pt x="4128" y="10586"/>
                    <a:pt x="3939" y="10366"/>
                  </a:cubicBezTo>
                  <a:cubicBezTo>
                    <a:pt x="3750" y="10177"/>
                    <a:pt x="3467" y="10051"/>
                    <a:pt x="3183" y="10051"/>
                  </a:cubicBezTo>
                  <a:cubicBezTo>
                    <a:pt x="2175" y="10051"/>
                    <a:pt x="1324" y="9200"/>
                    <a:pt x="1419" y="8161"/>
                  </a:cubicBezTo>
                  <a:cubicBezTo>
                    <a:pt x="1450" y="7215"/>
                    <a:pt x="2332" y="6459"/>
                    <a:pt x="3309" y="6459"/>
                  </a:cubicBezTo>
                  <a:close/>
                  <a:moveTo>
                    <a:pt x="8791" y="6491"/>
                  </a:moveTo>
                  <a:cubicBezTo>
                    <a:pt x="9767" y="6491"/>
                    <a:pt x="10618" y="7215"/>
                    <a:pt x="10681" y="8161"/>
                  </a:cubicBezTo>
                  <a:cubicBezTo>
                    <a:pt x="10713" y="9200"/>
                    <a:pt x="9925" y="10051"/>
                    <a:pt x="8885" y="10051"/>
                  </a:cubicBezTo>
                  <a:cubicBezTo>
                    <a:pt x="8633" y="10051"/>
                    <a:pt x="8350" y="10177"/>
                    <a:pt x="8161" y="10366"/>
                  </a:cubicBezTo>
                  <a:cubicBezTo>
                    <a:pt x="7940" y="10586"/>
                    <a:pt x="7846" y="10838"/>
                    <a:pt x="7846" y="11122"/>
                  </a:cubicBezTo>
                  <a:cubicBezTo>
                    <a:pt x="7846" y="11311"/>
                    <a:pt x="7688" y="11469"/>
                    <a:pt x="7468" y="11469"/>
                  </a:cubicBezTo>
                  <a:cubicBezTo>
                    <a:pt x="7279" y="11469"/>
                    <a:pt x="7121" y="11311"/>
                    <a:pt x="7121" y="11122"/>
                  </a:cubicBezTo>
                  <a:lnTo>
                    <a:pt x="7121" y="8948"/>
                  </a:lnTo>
                  <a:lnTo>
                    <a:pt x="7121" y="6491"/>
                  </a:lnTo>
                  <a:close/>
                  <a:moveTo>
                    <a:pt x="4632" y="1"/>
                  </a:moveTo>
                  <a:cubicBezTo>
                    <a:pt x="4443" y="1"/>
                    <a:pt x="4286" y="158"/>
                    <a:pt x="4286" y="379"/>
                  </a:cubicBezTo>
                  <a:cubicBezTo>
                    <a:pt x="4286" y="568"/>
                    <a:pt x="4443" y="725"/>
                    <a:pt x="4632" y="725"/>
                  </a:cubicBezTo>
                  <a:cubicBezTo>
                    <a:pt x="5231" y="725"/>
                    <a:pt x="5703" y="1230"/>
                    <a:pt x="5703" y="1828"/>
                  </a:cubicBezTo>
                  <a:lnTo>
                    <a:pt x="5703" y="3687"/>
                  </a:lnTo>
                  <a:cubicBezTo>
                    <a:pt x="5546" y="3750"/>
                    <a:pt x="5388" y="3844"/>
                    <a:pt x="5262" y="4002"/>
                  </a:cubicBezTo>
                  <a:cubicBezTo>
                    <a:pt x="4443" y="2112"/>
                    <a:pt x="2553" y="757"/>
                    <a:pt x="348" y="757"/>
                  </a:cubicBezTo>
                  <a:cubicBezTo>
                    <a:pt x="158" y="757"/>
                    <a:pt x="1" y="914"/>
                    <a:pt x="1" y="1135"/>
                  </a:cubicBezTo>
                  <a:lnTo>
                    <a:pt x="1" y="3246"/>
                  </a:lnTo>
                  <a:cubicBezTo>
                    <a:pt x="1" y="4159"/>
                    <a:pt x="663" y="4853"/>
                    <a:pt x="1482" y="5010"/>
                  </a:cubicBezTo>
                  <a:cubicBezTo>
                    <a:pt x="1576" y="5451"/>
                    <a:pt x="1797" y="5798"/>
                    <a:pt x="2112" y="6081"/>
                  </a:cubicBezTo>
                  <a:cubicBezTo>
                    <a:pt x="1324" y="6491"/>
                    <a:pt x="820" y="7215"/>
                    <a:pt x="757" y="8129"/>
                  </a:cubicBezTo>
                  <a:cubicBezTo>
                    <a:pt x="663" y="9547"/>
                    <a:pt x="1797" y="10775"/>
                    <a:pt x="3214" y="10775"/>
                  </a:cubicBezTo>
                  <a:cubicBezTo>
                    <a:pt x="3435" y="10775"/>
                    <a:pt x="3593" y="10965"/>
                    <a:pt x="3593" y="11154"/>
                  </a:cubicBezTo>
                  <a:cubicBezTo>
                    <a:pt x="3593" y="11752"/>
                    <a:pt x="4065" y="12225"/>
                    <a:pt x="4632" y="12225"/>
                  </a:cubicBezTo>
                  <a:cubicBezTo>
                    <a:pt x="5231" y="12225"/>
                    <a:pt x="5703" y="11752"/>
                    <a:pt x="5703" y="11154"/>
                  </a:cubicBezTo>
                  <a:lnTo>
                    <a:pt x="5703" y="10019"/>
                  </a:lnTo>
                  <a:cubicBezTo>
                    <a:pt x="5829" y="10051"/>
                    <a:pt x="5955" y="10082"/>
                    <a:pt x="6050" y="10082"/>
                  </a:cubicBezTo>
                  <a:cubicBezTo>
                    <a:pt x="6176" y="10082"/>
                    <a:pt x="6302" y="10051"/>
                    <a:pt x="6428" y="10019"/>
                  </a:cubicBezTo>
                  <a:lnTo>
                    <a:pt x="6428" y="11154"/>
                  </a:lnTo>
                  <a:cubicBezTo>
                    <a:pt x="6428" y="11752"/>
                    <a:pt x="6901" y="12225"/>
                    <a:pt x="7468" y="12225"/>
                  </a:cubicBezTo>
                  <a:cubicBezTo>
                    <a:pt x="8066" y="12225"/>
                    <a:pt x="8539" y="11752"/>
                    <a:pt x="8539" y="11154"/>
                  </a:cubicBezTo>
                  <a:cubicBezTo>
                    <a:pt x="8539" y="10965"/>
                    <a:pt x="8696" y="10775"/>
                    <a:pt x="8885" y="10775"/>
                  </a:cubicBezTo>
                  <a:cubicBezTo>
                    <a:pt x="10303" y="10775"/>
                    <a:pt x="11469" y="9578"/>
                    <a:pt x="11374" y="8129"/>
                  </a:cubicBezTo>
                  <a:cubicBezTo>
                    <a:pt x="11343" y="7499"/>
                    <a:pt x="11059" y="6869"/>
                    <a:pt x="10555" y="6428"/>
                  </a:cubicBezTo>
                  <a:cubicBezTo>
                    <a:pt x="10398" y="6270"/>
                    <a:pt x="10209" y="6176"/>
                    <a:pt x="10051" y="6081"/>
                  </a:cubicBezTo>
                  <a:cubicBezTo>
                    <a:pt x="10366" y="5798"/>
                    <a:pt x="10587" y="5451"/>
                    <a:pt x="10681" y="5010"/>
                  </a:cubicBezTo>
                  <a:cubicBezTo>
                    <a:pt x="11500" y="4853"/>
                    <a:pt x="12162" y="4159"/>
                    <a:pt x="12162" y="3246"/>
                  </a:cubicBezTo>
                  <a:lnTo>
                    <a:pt x="12162" y="1135"/>
                  </a:lnTo>
                  <a:cubicBezTo>
                    <a:pt x="12130" y="914"/>
                    <a:pt x="11973" y="757"/>
                    <a:pt x="11784" y="757"/>
                  </a:cubicBezTo>
                  <a:cubicBezTo>
                    <a:pt x="9578" y="757"/>
                    <a:pt x="7688" y="2112"/>
                    <a:pt x="6838" y="4002"/>
                  </a:cubicBezTo>
                  <a:cubicBezTo>
                    <a:pt x="6743" y="3876"/>
                    <a:pt x="6585" y="3750"/>
                    <a:pt x="6428" y="3687"/>
                  </a:cubicBezTo>
                  <a:lnTo>
                    <a:pt x="6428" y="1828"/>
                  </a:lnTo>
                  <a:cubicBezTo>
                    <a:pt x="6428" y="1230"/>
                    <a:pt x="6901" y="725"/>
                    <a:pt x="7468" y="725"/>
                  </a:cubicBezTo>
                  <a:cubicBezTo>
                    <a:pt x="7688" y="725"/>
                    <a:pt x="7846" y="568"/>
                    <a:pt x="7846" y="379"/>
                  </a:cubicBezTo>
                  <a:cubicBezTo>
                    <a:pt x="7846" y="158"/>
                    <a:pt x="7688" y="1"/>
                    <a:pt x="7468" y="1"/>
                  </a:cubicBezTo>
                  <a:cubicBezTo>
                    <a:pt x="6995" y="1"/>
                    <a:pt x="6522" y="221"/>
                    <a:pt x="6207" y="568"/>
                  </a:cubicBezTo>
                  <a:cubicBezTo>
                    <a:pt x="6144" y="631"/>
                    <a:pt x="6113" y="694"/>
                    <a:pt x="6050" y="757"/>
                  </a:cubicBezTo>
                  <a:cubicBezTo>
                    <a:pt x="6018" y="694"/>
                    <a:pt x="5955" y="631"/>
                    <a:pt x="5892" y="568"/>
                  </a:cubicBezTo>
                  <a:cubicBezTo>
                    <a:pt x="5546" y="221"/>
                    <a:pt x="5105" y="1"/>
                    <a:pt x="4632"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1113" name="Google Shape;11113;p114"/>
            <p:cNvSpPr/>
            <p:nvPr/>
          </p:nvSpPr>
          <p:spPr>
            <a:xfrm>
              <a:off x="-19977050" y="2967350"/>
              <a:ext cx="52800" cy="53600"/>
            </a:xfrm>
            <a:custGeom>
              <a:avLst/>
              <a:gdLst/>
              <a:ahLst/>
              <a:cxnLst/>
              <a:rect l="l" t="t" r="r" b="b"/>
              <a:pathLst>
                <a:path w="2112" h="2144" extrusionOk="0">
                  <a:moveTo>
                    <a:pt x="1040" y="726"/>
                  </a:moveTo>
                  <a:cubicBezTo>
                    <a:pt x="1261" y="726"/>
                    <a:pt x="1418" y="883"/>
                    <a:pt x="1418" y="1072"/>
                  </a:cubicBezTo>
                  <a:cubicBezTo>
                    <a:pt x="1418" y="1261"/>
                    <a:pt x="1261" y="1419"/>
                    <a:pt x="1040" y="1419"/>
                  </a:cubicBezTo>
                  <a:cubicBezTo>
                    <a:pt x="851" y="1419"/>
                    <a:pt x="694" y="1261"/>
                    <a:pt x="694" y="1072"/>
                  </a:cubicBezTo>
                  <a:cubicBezTo>
                    <a:pt x="694" y="883"/>
                    <a:pt x="851" y="726"/>
                    <a:pt x="1040" y="726"/>
                  </a:cubicBezTo>
                  <a:close/>
                  <a:moveTo>
                    <a:pt x="1040" y="1"/>
                  </a:moveTo>
                  <a:cubicBezTo>
                    <a:pt x="473" y="1"/>
                    <a:pt x="1" y="473"/>
                    <a:pt x="1" y="1072"/>
                  </a:cubicBezTo>
                  <a:cubicBezTo>
                    <a:pt x="1" y="1671"/>
                    <a:pt x="473" y="2143"/>
                    <a:pt x="1040" y="2143"/>
                  </a:cubicBezTo>
                  <a:cubicBezTo>
                    <a:pt x="1639" y="2143"/>
                    <a:pt x="2112" y="1671"/>
                    <a:pt x="2112" y="1072"/>
                  </a:cubicBezTo>
                  <a:cubicBezTo>
                    <a:pt x="2112" y="473"/>
                    <a:pt x="1639" y="1"/>
                    <a:pt x="1040"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1114" name="Google Shape;11114;p114"/>
            <p:cNvSpPr/>
            <p:nvPr/>
          </p:nvSpPr>
          <p:spPr>
            <a:xfrm>
              <a:off x="-20119600" y="2967350"/>
              <a:ext cx="52800" cy="52800"/>
            </a:xfrm>
            <a:custGeom>
              <a:avLst/>
              <a:gdLst/>
              <a:ahLst/>
              <a:cxnLst/>
              <a:rect l="l" t="t" r="r" b="b"/>
              <a:pathLst>
                <a:path w="2112" h="2112" extrusionOk="0">
                  <a:moveTo>
                    <a:pt x="1040" y="726"/>
                  </a:moveTo>
                  <a:cubicBezTo>
                    <a:pt x="1229" y="726"/>
                    <a:pt x="1418" y="883"/>
                    <a:pt x="1418" y="1072"/>
                  </a:cubicBezTo>
                  <a:cubicBezTo>
                    <a:pt x="1418" y="1261"/>
                    <a:pt x="1229" y="1419"/>
                    <a:pt x="1040" y="1419"/>
                  </a:cubicBezTo>
                  <a:cubicBezTo>
                    <a:pt x="851" y="1419"/>
                    <a:pt x="693" y="1261"/>
                    <a:pt x="693" y="1072"/>
                  </a:cubicBezTo>
                  <a:cubicBezTo>
                    <a:pt x="693" y="883"/>
                    <a:pt x="851" y="726"/>
                    <a:pt x="1040" y="726"/>
                  </a:cubicBezTo>
                  <a:close/>
                  <a:moveTo>
                    <a:pt x="1040" y="1"/>
                  </a:moveTo>
                  <a:cubicBezTo>
                    <a:pt x="441" y="1"/>
                    <a:pt x="0" y="473"/>
                    <a:pt x="0" y="1072"/>
                  </a:cubicBezTo>
                  <a:cubicBezTo>
                    <a:pt x="0" y="1639"/>
                    <a:pt x="441" y="2112"/>
                    <a:pt x="1040" y="2112"/>
                  </a:cubicBezTo>
                  <a:cubicBezTo>
                    <a:pt x="1639" y="2112"/>
                    <a:pt x="2111" y="1639"/>
                    <a:pt x="2111" y="1072"/>
                  </a:cubicBezTo>
                  <a:cubicBezTo>
                    <a:pt x="2111" y="473"/>
                    <a:pt x="1639" y="1"/>
                    <a:pt x="1040"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11115" name="Google Shape;11115;p114"/>
          <p:cNvGrpSpPr/>
          <p:nvPr/>
        </p:nvGrpSpPr>
        <p:grpSpPr>
          <a:xfrm>
            <a:off x="7369570" y="3034086"/>
            <a:ext cx="631841" cy="628628"/>
            <a:chOff x="-18294675" y="2434925"/>
            <a:chExt cx="304825" cy="303275"/>
          </a:xfrm>
        </p:grpSpPr>
        <p:sp>
          <p:nvSpPr>
            <p:cNvPr id="11116" name="Google Shape;11116;p114"/>
            <p:cNvSpPr/>
            <p:nvPr/>
          </p:nvSpPr>
          <p:spPr>
            <a:xfrm>
              <a:off x="-18294675" y="2434925"/>
              <a:ext cx="304825" cy="303275"/>
            </a:xfrm>
            <a:custGeom>
              <a:avLst/>
              <a:gdLst/>
              <a:ahLst/>
              <a:cxnLst/>
              <a:rect l="l" t="t" r="r" b="b"/>
              <a:pathLst>
                <a:path w="12193" h="12131" extrusionOk="0">
                  <a:moveTo>
                    <a:pt x="1103" y="694"/>
                  </a:moveTo>
                  <a:cubicBezTo>
                    <a:pt x="2363" y="694"/>
                    <a:pt x="3497" y="1450"/>
                    <a:pt x="4033" y="2584"/>
                  </a:cubicBezTo>
                  <a:cubicBezTo>
                    <a:pt x="3434" y="2836"/>
                    <a:pt x="2867" y="3214"/>
                    <a:pt x="2363" y="3687"/>
                  </a:cubicBezTo>
                  <a:lnTo>
                    <a:pt x="2237" y="3813"/>
                  </a:lnTo>
                  <a:cubicBezTo>
                    <a:pt x="1323" y="3214"/>
                    <a:pt x="756" y="2175"/>
                    <a:pt x="756" y="1072"/>
                  </a:cubicBezTo>
                  <a:lnTo>
                    <a:pt x="756" y="694"/>
                  </a:lnTo>
                  <a:close/>
                  <a:moveTo>
                    <a:pt x="11500" y="694"/>
                  </a:moveTo>
                  <a:lnTo>
                    <a:pt x="11500" y="1072"/>
                  </a:lnTo>
                  <a:cubicBezTo>
                    <a:pt x="11500" y="2175"/>
                    <a:pt x="10901" y="3214"/>
                    <a:pt x="9924" y="3813"/>
                  </a:cubicBezTo>
                  <a:cubicBezTo>
                    <a:pt x="9420" y="3277"/>
                    <a:pt x="8822" y="2868"/>
                    <a:pt x="8192" y="2584"/>
                  </a:cubicBezTo>
                  <a:cubicBezTo>
                    <a:pt x="8696" y="1450"/>
                    <a:pt x="9893" y="694"/>
                    <a:pt x="11153" y="694"/>
                  </a:cubicBezTo>
                  <a:close/>
                  <a:moveTo>
                    <a:pt x="2806" y="7389"/>
                  </a:moveTo>
                  <a:cubicBezTo>
                    <a:pt x="2924" y="7389"/>
                    <a:pt x="3043" y="7413"/>
                    <a:pt x="3151" y="7467"/>
                  </a:cubicBezTo>
                  <a:cubicBezTo>
                    <a:pt x="3434" y="7625"/>
                    <a:pt x="3623" y="7908"/>
                    <a:pt x="3623" y="8223"/>
                  </a:cubicBezTo>
                  <a:lnTo>
                    <a:pt x="3623" y="9011"/>
                  </a:lnTo>
                  <a:cubicBezTo>
                    <a:pt x="3182" y="8507"/>
                    <a:pt x="2552" y="8160"/>
                    <a:pt x="1891" y="7940"/>
                  </a:cubicBezTo>
                  <a:lnTo>
                    <a:pt x="2206" y="7625"/>
                  </a:lnTo>
                  <a:cubicBezTo>
                    <a:pt x="2351" y="7480"/>
                    <a:pt x="2578" y="7389"/>
                    <a:pt x="2806" y="7389"/>
                  </a:cubicBezTo>
                  <a:close/>
                  <a:moveTo>
                    <a:pt x="9468" y="7444"/>
                  </a:moveTo>
                  <a:cubicBezTo>
                    <a:pt x="9681" y="7444"/>
                    <a:pt x="9891" y="7528"/>
                    <a:pt x="10050" y="7688"/>
                  </a:cubicBezTo>
                  <a:lnTo>
                    <a:pt x="10365" y="8003"/>
                  </a:lnTo>
                  <a:cubicBezTo>
                    <a:pt x="9672" y="8160"/>
                    <a:pt x="9042" y="8507"/>
                    <a:pt x="8633" y="9043"/>
                  </a:cubicBezTo>
                  <a:lnTo>
                    <a:pt x="8633" y="8255"/>
                  </a:lnTo>
                  <a:cubicBezTo>
                    <a:pt x="8633" y="7940"/>
                    <a:pt x="8790" y="7688"/>
                    <a:pt x="9105" y="7530"/>
                  </a:cubicBezTo>
                  <a:cubicBezTo>
                    <a:pt x="9221" y="7473"/>
                    <a:pt x="9345" y="7444"/>
                    <a:pt x="9468" y="7444"/>
                  </a:cubicBezTo>
                  <a:close/>
                  <a:moveTo>
                    <a:pt x="6112" y="9484"/>
                  </a:moveTo>
                  <a:cubicBezTo>
                    <a:pt x="6270" y="9484"/>
                    <a:pt x="6427" y="9610"/>
                    <a:pt x="6459" y="9736"/>
                  </a:cubicBezTo>
                  <a:lnTo>
                    <a:pt x="6112" y="10145"/>
                  </a:lnTo>
                  <a:lnTo>
                    <a:pt x="5734" y="9736"/>
                  </a:lnTo>
                  <a:cubicBezTo>
                    <a:pt x="5797" y="9578"/>
                    <a:pt x="5955" y="9484"/>
                    <a:pt x="6112" y="9484"/>
                  </a:cubicBezTo>
                  <a:close/>
                  <a:moveTo>
                    <a:pt x="6270" y="2836"/>
                  </a:moveTo>
                  <a:cubicBezTo>
                    <a:pt x="8633" y="2899"/>
                    <a:pt x="10554" y="4884"/>
                    <a:pt x="10743" y="7310"/>
                  </a:cubicBezTo>
                  <a:lnTo>
                    <a:pt x="10554" y="7121"/>
                  </a:lnTo>
                  <a:cubicBezTo>
                    <a:pt x="10258" y="6824"/>
                    <a:pt x="9861" y="6664"/>
                    <a:pt x="9467" y="6664"/>
                  </a:cubicBezTo>
                  <a:cubicBezTo>
                    <a:pt x="9234" y="6664"/>
                    <a:pt x="9001" y="6720"/>
                    <a:pt x="8790" y="6837"/>
                  </a:cubicBezTo>
                  <a:cubicBezTo>
                    <a:pt x="8255" y="7121"/>
                    <a:pt x="7908" y="7625"/>
                    <a:pt x="7908" y="8223"/>
                  </a:cubicBezTo>
                  <a:lnTo>
                    <a:pt x="7908" y="9043"/>
                  </a:lnTo>
                  <a:cubicBezTo>
                    <a:pt x="7908" y="9641"/>
                    <a:pt x="7719" y="10240"/>
                    <a:pt x="7372" y="10744"/>
                  </a:cubicBezTo>
                  <a:cubicBezTo>
                    <a:pt x="7278" y="10870"/>
                    <a:pt x="7215" y="10933"/>
                    <a:pt x="7120" y="11027"/>
                  </a:cubicBezTo>
                  <a:cubicBezTo>
                    <a:pt x="6931" y="11216"/>
                    <a:pt x="6679" y="11342"/>
                    <a:pt x="6490" y="11374"/>
                  </a:cubicBezTo>
                  <a:lnTo>
                    <a:pt x="6490" y="10838"/>
                  </a:lnTo>
                  <a:lnTo>
                    <a:pt x="7120" y="10051"/>
                  </a:lnTo>
                  <a:cubicBezTo>
                    <a:pt x="7152" y="9956"/>
                    <a:pt x="7215" y="9893"/>
                    <a:pt x="7215" y="9799"/>
                  </a:cubicBezTo>
                  <a:cubicBezTo>
                    <a:pt x="7215" y="9200"/>
                    <a:pt x="6742" y="8728"/>
                    <a:pt x="6144" y="8728"/>
                  </a:cubicBezTo>
                  <a:cubicBezTo>
                    <a:pt x="5545" y="8728"/>
                    <a:pt x="5073" y="9200"/>
                    <a:pt x="5073" y="9799"/>
                  </a:cubicBezTo>
                  <a:cubicBezTo>
                    <a:pt x="5073" y="9893"/>
                    <a:pt x="5104" y="9956"/>
                    <a:pt x="5167" y="10051"/>
                  </a:cubicBezTo>
                  <a:lnTo>
                    <a:pt x="5797" y="10838"/>
                  </a:lnTo>
                  <a:lnTo>
                    <a:pt x="5797" y="11374"/>
                  </a:lnTo>
                  <a:cubicBezTo>
                    <a:pt x="5545" y="11311"/>
                    <a:pt x="5356" y="11185"/>
                    <a:pt x="5199" y="11027"/>
                  </a:cubicBezTo>
                  <a:cubicBezTo>
                    <a:pt x="5104" y="10933"/>
                    <a:pt x="5041" y="10838"/>
                    <a:pt x="4947" y="10744"/>
                  </a:cubicBezTo>
                  <a:cubicBezTo>
                    <a:pt x="4600" y="10271"/>
                    <a:pt x="4411" y="9673"/>
                    <a:pt x="4411" y="9043"/>
                  </a:cubicBezTo>
                  <a:lnTo>
                    <a:pt x="4411" y="8223"/>
                  </a:lnTo>
                  <a:cubicBezTo>
                    <a:pt x="4411" y="7625"/>
                    <a:pt x="4096" y="7121"/>
                    <a:pt x="3529" y="6837"/>
                  </a:cubicBezTo>
                  <a:cubicBezTo>
                    <a:pt x="3318" y="6720"/>
                    <a:pt x="3085" y="6664"/>
                    <a:pt x="2852" y="6664"/>
                  </a:cubicBezTo>
                  <a:cubicBezTo>
                    <a:pt x="2458" y="6664"/>
                    <a:pt x="2061" y="6824"/>
                    <a:pt x="1765" y="7121"/>
                  </a:cubicBezTo>
                  <a:lnTo>
                    <a:pt x="1576" y="7310"/>
                  </a:lnTo>
                  <a:cubicBezTo>
                    <a:pt x="1607" y="6270"/>
                    <a:pt x="2017" y="5230"/>
                    <a:pt x="2678" y="4443"/>
                  </a:cubicBezTo>
                  <a:cubicBezTo>
                    <a:pt x="2741" y="4317"/>
                    <a:pt x="2867" y="4254"/>
                    <a:pt x="2962" y="4128"/>
                  </a:cubicBezTo>
                  <a:cubicBezTo>
                    <a:pt x="3466" y="3655"/>
                    <a:pt x="4001" y="3309"/>
                    <a:pt x="4632" y="3057"/>
                  </a:cubicBezTo>
                  <a:cubicBezTo>
                    <a:pt x="5167" y="2899"/>
                    <a:pt x="5703" y="2836"/>
                    <a:pt x="6270" y="2836"/>
                  </a:cubicBezTo>
                  <a:close/>
                  <a:moveTo>
                    <a:pt x="11153" y="1"/>
                  </a:moveTo>
                  <a:cubicBezTo>
                    <a:pt x="10334" y="1"/>
                    <a:pt x="9483" y="253"/>
                    <a:pt x="8822" y="757"/>
                  </a:cubicBezTo>
                  <a:cubicBezTo>
                    <a:pt x="8255" y="1135"/>
                    <a:pt x="7782" y="1733"/>
                    <a:pt x="7530" y="2364"/>
                  </a:cubicBezTo>
                  <a:cubicBezTo>
                    <a:pt x="7120" y="2238"/>
                    <a:pt x="6679" y="2175"/>
                    <a:pt x="6270" y="2175"/>
                  </a:cubicBezTo>
                  <a:cubicBezTo>
                    <a:pt x="5703" y="2175"/>
                    <a:pt x="5199" y="2206"/>
                    <a:pt x="4695" y="2364"/>
                  </a:cubicBezTo>
                  <a:cubicBezTo>
                    <a:pt x="4411" y="1733"/>
                    <a:pt x="3938" y="1166"/>
                    <a:pt x="3371" y="788"/>
                  </a:cubicBezTo>
                  <a:cubicBezTo>
                    <a:pt x="2710" y="253"/>
                    <a:pt x="1891" y="32"/>
                    <a:pt x="1071" y="32"/>
                  </a:cubicBezTo>
                  <a:lnTo>
                    <a:pt x="347" y="32"/>
                  </a:lnTo>
                  <a:cubicBezTo>
                    <a:pt x="158" y="32"/>
                    <a:pt x="0" y="190"/>
                    <a:pt x="0" y="379"/>
                  </a:cubicBezTo>
                  <a:lnTo>
                    <a:pt x="0" y="1103"/>
                  </a:lnTo>
                  <a:cubicBezTo>
                    <a:pt x="0" y="1859"/>
                    <a:pt x="189" y="2553"/>
                    <a:pt x="599" y="3183"/>
                  </a:cubicBezTo>
                  <a:cubicBezTo>
                    <a:pt x="914" y="3655"/>
                    <a:pt x="1292" y="4096"/>
                    <a:pt x="1765" y="4411"/>
                  </a:cubicBezTo>
                  <a:cubicBezTo>
                    <a:pt x="1544" y="4726"/>
                    <a:pt x="1323" y="5073"/>
                    <a:pt x="1166" y="5420"/>
                  </a:cubicBezTo>
                  <a:cubicBezTo>
                    <a:pt x="914" y="6113"/>
                    <a:pt x="756" y="6806"/>
                    <a:pt x="756" y="7562"/>
                  </a:cubicBezTo>
                  <a:lnTo>
                    <a:pt x="756" y="8255"/>
                  </a:lnTo>
                  <a:cubicBezTo>
                    <a:pt x="756" y="8475"/>
                    <a:pt x="914" y="8633"/>
                    <a:pt x="1103" y="8633"/>
                  </a:cubicBezTo>
                  <a:cubicBezTo>
                    <a:pt x="1891" y="8633"/>
                    <a:pt x="2647" y="8980"/>
                    <a:pt x="3119" y="9610"/>
                  </a:cubicBezTo>
                  <a:lnTo>
                    <a:pt x="4316" y="11185"/>
                  </a:lnTo>
                  <a:cubicBezTo>
                    <a:pt x="4411" y="11311"/>
                    <a:pt x="4537" y="11405"/>
                    <a:pt x="4632" y="11531"/>
                  </a:cubicBezTo>
                  <a:cubicBezTo>
                    <a:pt x="5041" y="11941"/>
                    <a:pt x="5545" y="12130"/>
                    <a:pt x="6112" y="12130"/>
                  </a:cubicBezTo>
                  <a:cubicBezTo>
                    <a:pt x="6648" y="12130"/>
                    <a:pt x="7152" y="11941"/>
                    <a:pt x="7561" y="11531"/>
                  </a:cubicBezTo>
                  <a:cubicBezTo>
                    <a:pt x="7687" y="11405"/>
                    <a:pt x="7782" y="11311"/>
                    <a:pt x="7877" y="11185"/>
                  </a:cubicBezTo>
                  <a:lnTo>
                    <a:pt x="9105" y="9610"/>
                  </a:lnTo>
                  <a:cubicBezTo>
                    <a:pt x="9578" y="8980"/>
                    <a:pt x="10302" y="8633"/>
                    <a:pt x="11090" y="8633"/>
                  </a:cubicBezTo>
                  <a:cubicBezTo>
                    <a:pt x="11311" y="8633"/>
                    <a:pt x="11468" y="8475"/>
                    <a:pt x="11468" y="8255"/>
                  </a:cubicBezTo>
                  <a:lnTo>
                    <a:pt x="11468" y="7751"/>
                  </a:lnTo>
                  <a:cubicBezTo>
                    <a:pt x="11468" y="6522"/>
                    <a:pt x="11059" y="5388"/>
                    <a:pt x="10397" y="4411"/>
                  </a:cubicBezTo>
                  <a:cubicBezTo>
                    <a:pt x="10870" y="4096"/>
                    <a:pt x="11311" y="3655"/>
                    <a:pt x="11626" y="3151"/>
                  </a:cubicBezTo>
                  <a:cubicBezTo>
                    <a:pt x="12004" y="2521"/>
                    <a:pt x="12193" y="1796"/>
                    <a:pt x="12193" y="1072"/>
                  </a:cubicBezTo>
                  <a:lnTo>
                    <a:pt x="12193" y="347"/>
                  </a:lnTo>
                  <a:cubicBezTo>
                    <a:pt x="12193" y="158"/>
                    <a:pt x="12035" y="1"/>
                    <a:pt x="11846"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1117" name="Google Shape;11117;p114"/>
            <p:cNvSpPr/>
            <p:nvPr/>
          </p:nvSpPr>
          <p:spPr>
            <a:xfrm>
              <a:off x="-18223800" y="2559575"/>
              <a:ext cx="37050" cy="36850"/>
            </a:xfrm>
            <a:custGeom>
              <a:avLst/>
              <a:gdLst/>
              <a:ahLst/>
              <a:cxnLst/>
              <a:rect l="l" t="t" r="r" b="b"/>
              <a:pathLst>
                <a:path w="1482" h="1474" extrusionOk="0">
                  <a:moveTo>
                    <a:pt x="410" y="0"/>
                  </a:moveTo>
                  <a:cubicBezTo>
                    <a:pt x="324" y="0"/>
                    <a:pt x="237" y="40"/>
                    <a:pt x="158" y="118"/>
                  </a:cubicBezTo>
                  <a:cubicBezTo>
                    <a:pt x="1" y="276"/>
                    <a:pt x="1" y="497"/>
                    <a:pt x="158" y="654"/>
                  </a:cubicBezTo>
                  <a:lnTo>
                    <a:pt x="851" y="1347"/>
                  </a:lnTo>
                  <a:cubicBezTo>
                    <a:pt x="946" y="1442"/>
                    <a:pt x="1009" y="1473"/>
                    <a:pt x="1103" y="1473"/>
                  </a:cubicBezTo>
                  <a:cubicBezTo>
                    <a:pt x="1166" y="1473"/>
                    <a:pt x="1292" y="1442"/>
                    <a:pt x="1324" y="1347"/>
                  </a:cubicBezTo>
                  <a:cubicBezTo>
                    <a:pt x="1481" y="1190"/>
                    <a:pt x="1481" y="1001"/>
                    <a:pt x="1324" y="843"/>
                  </a:cubicBezTo>
                  <a:lnTo>
                    <a:pt x="662" y="118"/>
                  </a:lnTo>
                  <a:cubicBezTo>
                    <a:pt x="584" y="40"/>
                    <a:pt x="497" y="0"/>
                    <a:pt x="410"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1118" name="Google Shape;11118;p114"/>
            <p:cNvSpPr/>
            <p:nvPr/>
          </p:nvSpPr>
          <p:spPr>
            <a:xfrm>
              <a:off x="-18098550" y="2559575"/>
              <a:ext cx="37825" cy="36850"/>
            </a:xfrm>
            <a:custGeom>
              <a:avLst/>
              <a:gdLst/>
              <a:ahLst/>
              <a:cxnLst/>
              <a:rect l="l" t="t" r="r" b="b"/>
              <a:pathLst>
                <a:path w="1513" h="1474" extrusionOk="0">
                  <a:moveTo>
                    <a:pt x="1103" y="0"/>
                  </a:moveTo>
                  <a:cubicBezTo>
                    <a:pt x="1016" y="0"/>
                    <a:pt x="929" y="40"/>
                    <a:pt x="851" y="118"/>
                  </a:cubicBezTo>
                  <a:lnTo>
                    <a:pt x="158" y="843"/>
                  </a:lnTo>
                  <a:cubicBezTo>
                    <a:pt x="0" y="1001"/>
                    <a:pt x="0" y="1190"/>
                    <a:pt x="158" y="1347"/>
                  </a:cubicBezTo>
                  <a:cubicBezTo>
                    <a:pt x="221" y="1442"/>
                    <a:pt x="315" y="1473"/>
                    <a:pt x="410" y="1473"/>
                  </a:cubicBezTo>
                  <a:cubicBezTo>
                    <a:pt x="504" y="1473"/>
                    <a:pt x="630" y="1442"/>
                    <a:pt x="662" y="1347"/>
                  </a:cubicBezTo>
                  <a:lnTo>
                    <a:pt x="1355" y="623"/>
                  </a:lnTo>
                  <a:cubicBezTo>
                    <a:pt x="1512" y="465"/>
                    <a:pt x="1512" y="276"/>
                    <a:pt x="1355" y="118"/>
                  </a:cubicBezTo>
                  <a:cubicBezTo>
                    <a:pt x="1276" y="40"/>
                    <a:pt x="1189" y="0"/>
                    <a:pt x="1103"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11119" name="Google Shape;11119;p114"/>
          <p:cNvGrpSpPr/>
          <p:nvPr/>
        </p:nvGrpSpPr>
        <p:grpSpPr>
          <a:xfrm>
            <a:off x="7444656" y="3802810"/>
            <a:ext cx="481667" cy="628628"/>
            <a:chOff x="-18258450" y="2809825"/>
            <a:chExt cx="232375" cy="303275"/>
          </a:xfrm>
        </p:grpSpPr>
        <p:sp>
          <p:nvSpPr>
            <p:cNvPr id="11120" name="Google Shape;11120;p114"/>
            <p:cNvSpPr/>
            <p:nvPr/>
          </p:nvSpPr>
          <p:spPr>
            <a:xfrm>
              <a:off x="-18177325" y="2908300"/>
              <a:ext cx="17350" cy="18125"/>
            </a:xfrm>
            <a:custGeom>
              <a:avLst/>
              <a:gdLst/>
              <a:ahLst/>
              <a:cxnLst/>
              <a:rect l="l" t="t" r="r" b="b"/>
              <a:pathLst>
                <a:path w="694" h="725" extrusionOk="0">
                  <a:moveTo>
                    <a:pt x="347" y="0"/>
                  </a:moveTo>
                  <a:cubicBezTo>
                    <a:pt x="158" y="0"/>
                    <a:pt x="1" y="158"/>
                    <a:pt x="1" y="347"/>
                  </a:cubicBezTo>
                  <a:cubicBezTo>
                    <a:pt x="1" y="567"/>
                    <a:pt x="158" y="725"/>
                    <a:pt x="347" y="725"/>
                  </a:cubicBezTo>
                  <a:cubicBezTo>
                    <a:pt x="536" y="725"/>
                    <a:pt x="694" y="567"/>
                    <a:pt x="694" y="347"/>
                  </a:cubicBezTo>
                  <a:cubicBezTo>
                    <a:pt x="694" y="158"/>
                    <a:pt x="536" y="0"/>
                    <a:pt x="347"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1121" name="Google Shape;11121;p114"/>
            <p:cNvSpPr/>
            <p:nvPr/>
          </p:nvSpPr>
          <p:spPr>
            <a:xfrm>
              <a:off x="-18123775" y="2908300"/>
              <a:ext cx="18150" cy="18125"/>
            </a:xfrm>
            <a:custGeom>
              <a:avLst/>
              <a:gdLst/>
              <a:ahLst/>
              <a:cxnLst/>
              <a:rect l="l" t="t" r="r" b="b"/>
              <a:pathLst>
                <a:path w="726" h="725" extrusionOk="0">
                  <a:moveTo>
                    <a:pt x="379" y="0"/>
                  </a:moveTo>
                  <a:cubicBezTo>
                    <a:pt x="158" y="0"/>
                    <a:pt x="1" y="158"/>
                    <a:pt x="1" y="347"/>
                  </a:cubicBezTo>
                  <a:cubicBezTo>
                    <a:pt x="1" y="567"/>
                    <a:pt x="158" y="725"/>
                    <a:pt x="379" y="725"/>
                  </a:cubicBezTo>
                  <a:cubicBezTo>
                    <a:pt x="568" y="725"/>
                    <a:pt x="725" y="567"/>
                    <a:pt x="725" y="347"/>
                  </a:cubicBezTo>
                  <a:cubicBezTo>
                    <a:pt x="725" y="158"/>
                    <a:pt x="568" y="0"/>
                    <a:pt x="379"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1122" name="Google Shape;11122;p114"/>
            <p:cNvSpPr/>
            <p:nvPr/>
          </p:nvSpPr>
          <p:spPr>
            <a:xfrm>
              <a:off x="-18258450" y="2809825"/>
              <a:ext cx="232375" cy="303275"/>
            </a:xfrm>
            <a:custGeom>
              <a:avLst/>
              <a:gdLst/>
              <a:ahLst/>
              <a:cxnLst/>
              <a:rect l="l" t="t" r="r" b="b"/>
              <a:pathLst>
                <a:path w="9295" h="12131" extrusionOk="0">
                  <a:moveTo>
                    <a:pt x="4663" y="726"/>
                  </a:moveTo>
                  <a:cubicBezTo>
                    <a:pt x="5640" y="726"/>
                    <a:pt x="6617" y="1387"/>
                    <a:pt x="7373" y="2553"/>
                  </a:cubicBezTo>
                  <a:cubicBezTo>
                    <a:pt x="7121" y="2490"/>
                    <a:pt x="6459" y="2238"/>
                    <a:pt x="6175" y="2175"/>
                  </a:cubicBezTo>
                  <a:cubicBezTo>
                    <a:pt x="6144" y="2159"/>
                    <a:pt x="6097" y="2151"/>
                    <a:pt x="6049" y="2151"/>
                  </a:cubicBezTo>
                  <a:cubicBezTo>
                    <a:pt x="6002" y="2151"/>
                    <a:pt x="5955" y="2159"/>
                    <a:pt x="5923" y="2175"/>
                  </a:cubicBezTo>
                  <a:lnTo>
                    <a:pt x="4663" y="2805"/>
                  </a:lnTo>
                  <a:lnTo>
                    <a:pt x="3403" y="2175"/>
                  </a:lnTo>
                  <a:cubicBezTo>
                    <a:pt x="3356" y="2159"/>
                    <a:pt x="3301" y="2151"/>
                    <a:pt x="3249" y="2151"/>
                  </a:cubicBezTo>
                  <a:cubicBezTo>
                    <a:pt x="3198" y="2151"/>
                    <a:pt x="3151" y="2159"/>
                    <a:pt x="3120" y="2175"/>
                  </a:cubicBezTo>
                  <a:lnTo>
                    <a:pt x="1922" y="2553"/>
                  </a:lnTo>
                  <a:cubicBezTo>
                    <a:pt x="2710" y="1387"/>
                    <a:pt x="3718" y="726"/>
                    <a:pt x="4663" y="726"/>
                  </a:cubicBezTo>
                  <a:close/>
                  <a:moveTo>
                    <a:pt x="6144" y="2868"/>
                  </a:moveTo>
                  <a:lnTo>
                    <a:pt x="6617" y="3025"/>
                  </a:lnTo>
                  <a:cubicBezTo>
                    <a:pt x="7341" y="3908"/>
                    <a:pt x="7404" y="5168"/>
                    <a:pt x="6743" y="6081"/>
                  </a:cubicBezTo>
                  <a:lnTo>
                    <a:pt x="6112" y="6396"/>
                  </a:lnTo>
                  <a:lnTo>
                    <a:pt x="5041" y="5829"/>
                  </a:lnTo>
                  <a:lnTo>
                    <a:pt x="5041" y="5325"/>
                  </a:lnTo>
                  <a:cubicBezTo>
                    <a:pt x="5041" y="5136"/>
                    <a:pt x="4884" y="4979"/>
                    <a:pt x="4695" y="4979"/>
                  </a:cubicBezTo>
                  <a:cubicBezTo>
                    <a:pt x="4506" y="4979"/>
                    <a:pt x="4348" y="5136"/>
                    <a:pt x="4348" y="5325"/>
                  </a:cubicBezTo>
                  <a:lnTo>
                    <a:pt x="4348" y="5829"/>
                  </a:lnTo>
                  <a:lnTo>
                    <a:pt x="3277" y="6396"/>
                  </a:lnTo>
                  <a:lnTo>
                    <a:pt x="2647" y="6081"/>
                  </a:lnTo>
                  <a:cubicBezTo>
                    <a:pt x="1985" y="5136"/>
                    <a:pt x="2048" y="3908"/>
                    <a:pt x="2773" y="3025"/>
                  </a:cubicBezTo>
                  <a:lnTo>
                    <a:pt x="3246" y="2868"/>
                  </a:lnTo>
                  <a:lnTo>
                    <a:pt x="4537" y="3498"/>
                  </a:lnTo>
                  <a:cubicBezTo>
                    <a:pt x="4600" y="3530"/>
                    <a:pt x="4655" y="3545"/>
                    <a:pt x="4707" y="3545"/>
                  </a:cubicBezTo>
                  <a:cubicBezTo>
                    <a:pt x="4758" y="3545"/>
                    <a:pt x="4805" y="3530"/>
                    <a:pt x="4852" y="3498"/>
                  </a:cubicBezTo>
                  <a:lnTo>
                    <a:pt x="6144" y="2868"/>
                  </a:lnTo>
                  <a:close/>
                  <a:moveTo>
                    <a:pt x="7530" y="6459"/>
                  </a:moveTo>
                  <a:lnTo>
                    <a:pt x="8601" y="7027"/>
                  </a:lnTo>
                  <a:cubicBezTo>
                    <a:pt x="8507" y="9641"/>
                    <a:pt x="6932" y="11469"/>
                    <a:pt x="4663" y="11469"/>
                  </a:cubicBezTo>
                  <a:cubicBezTo>
                    <a:pt x="2363" y="11469"/>
                    <a:pt x="788" y="9704"/>
                    <a:pt x="725" y="7027"/>
                  </a:cubicBezTo>
                  <a:lnTo>
                    <a:pt x="1765" y="6459"/>
                  </a:lnTo>
                  <a:lnTo>
                    <a:pt x="2206" y="6648"/>
                  </a:lnTo>
                  <a:lnTo>
                    <a:pt x="3088" y="7090"/>
                  </a:lnTo>
                  <a:cubicBezTo>
                    <a:pt x="3135" y="7105"/>
                    <a:pt x="3190" y="7113"/>
                    <a:pt x="3246" y="7113"/>
                  </a:cubicBezTo>
                  <a:cubicBezTo>
                    <a:pt x="3301" y="7113"/>
                    <a:pt x="3356" y="7105"/>
                    <a:pt x="3403" y="7090"/>
                  </a:cubicBezTo>
                  <a:lnTo>
                    <a:pt x="4663" y="6459"/>
                  </a:lnTo>
                  <a:lnTo>
                    <a:pt x="5923" y="7090"/>
                  </a:lnTo>
                  <a:cubicBezTo>
                    <a:pt x="5971" y="7105"/>
                    <a:pt x="6026" y="7113"/>
                    <a:pt x="6081" y="7113"/>
                  </a:cubicBezTo>
                  <a:cubicBezTo>
                    <a:pt x="6136" y="7113"/>
                    <a:pt x="6191" y="7105"/>
                    <a:pt x="6238" y="7090"/>
                  </a:cubicBezTo>
                  <a:lnTo>
                    <a:pt x="7089" y="6648"/>
                  </a:lnTo>
                  <a:lnTo>
                    <a:pt x="7530" y="6459"/>
                  </a:lnTo>
                  <a:close/>
                  <a:moveTo>
                    <a:pt x="4663" y="1"/>
                  </a:moveTo>
                  <a:cubicBezTo>
                    <a:pt x="3214" y="1"/>
                    <a:pt x="1796" y="1135"/>
                    <a:pt x="883" y="3025"/>
                  </a:cubicBezTo>
                  <a:cubicBezTo>
                    <a:pt x="776" y="3265"/>
                    <a:pt x="939" y="3527"/>
                    <a:pt x="1163" y="3527"/>
                  </a:cubicBezTo>
                  <a:cubicBezTo>
                    <a:pt x="1205" y="3527"/>
                    <a:pt x="1248" y="3518"/>
                    <a:pt x="1292" y="3498"/>
                  </a:cubicBezTo>
                  <a:lnTo>
                    <a:pt x="1702" y="3403"/>
                  </a:lnTo>
                  <a:lnTo>
                    <a:pt x="1702" y="3403"/>
                  </a:lnTo>
                  <a:cubicBezTo>
                    <a:pt x="1387" y="4128"/>
                    <a:pt x="1355" y="4979"/>
                    <a:pt x="1607" y="5766"/>
                  </a:cubicBezTo>
                  <a:lnTo>
                    <a:pt x="221" y="6459"/>
                  </a:lnTo>
                  <a:cubicBezTo>
                    <a:pt x="95" y="6554"/>
                    <a:pt x="1" y="6648"/>
                    <a:pt x="1" y="6774"/>
                  </a:cubicBezTo>
                  <a:cubicBezTo>
                    <a:pt x="1" y="10209"/>
                    <a:pt x="2143" y="12130"/>
                    <a:pt x="4663" y="12130"/>
                  </a:cubicBezTo>
                  <a:cubicBezTo>
                    <a:pt x="7184" y="12130"/>
                    <a:pt x="9294" y="10177"/>
                    <a:pt x="9294" y="6774"/>
                  </a:cubicBezTo>
                  <a:cubicBezTo>
                    <a:pt x="9294" y="6648"/>
                    <a:pt x="9231" y="6554"/>
                    <a:pt x="9105" y="6459"/>
                  </a:cubicBezTo>
                  <a:lnTo>
                    <a:pt x="7688" y="5766"/>
                  </a:lnTo>
                  <a:cubicBezTo>
                    <a:pt x="7971" y="5010"/>
                    <a:pt x="7971" y="4191"/>
                    <a:pt x="7593" y="3403"/>
                  </a:cubicBezTo>
                  <a:lnTo>
                    <a:pt x="7593" y="3403"/>
                  </a:lnTo>
                  <a:lnTo>
                    <a:pt x="8003" y="3498"/>
                  </a:lnTo>
                  <a:cubicBezTo>
                    <a:pt x="8052" y="3518"/>
                    <a:pt x="8099" y="3527"/>
                    <a:pt x="8144" y="3527"/>
                  </a:cubicBezTo>
                  <a:cubicBezTo>
                    <a:pt x="8387" y="3527"/>
                    <a:pt x="8550" y="3265"/>
                    <a:pt x="8444" y="3025"/>
                  </a:cubicBezTo>
                  <a:cubicBezTo>
                    <a:pt x="7530" y="1135"/>
                    <a:pt x="6112" y="1"/>
                    <a:pt x="4663"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sp>
        <p:nvSpPr>
          <p:cNvPr id="11123" name="Google Shape;11123;p114"/>
          <p:cNvSpPr/>
          <p:nvPr/>
        </p:nvSpPr>
        <p:spPr>
          <a:xfrm>
            <a:off x="1942119" y="4592991"/>
            <a:ext cx="628628" cy="633500"/>
          </a:xfrm>
          <a:custGeom>
            <a:avLst/>
            <a:gdLst/>
            <a:ahLst/>
            <a:cxnLst/>
            <a:rect l="l" t="t" r="r" b="b"/>
            <a:pathLst>
              <a:path w="12131" h="12225" extrusionOk="0">
                <a:moveTo>
                  <a:pt x="6050" y="756"/>
                </a:moveTo>
                <a:cubicBezTo>
                  <a:pt x="6239" y="756"/>
                  <a:pt x="6396" y="914"/>
                  <a:pt x="6396" y="1103"/>
                </a:cubicBezTo>
                <a:cubicBezTo>
                  <a:pt x="6396" y="1324"/>
                  <a:pt x="6239" y="1481"/>
                  <a:pt x="6050" y="1481"/>
                </a:cubicBezTo>
                <a:cubicBezTo>
                  <a:pt x="5861" y="1481"/>
                  <a:pt x="5703" y="1324"/>
                  <a:pt x="5703" y="1103"/>
                </a:cubicBezTo>
                <a:cubicBezTo>
                  <a:pt x="5703" y="914"/>
                  <a:pt x="5861" y="756"/>
                  <a:pt x="6050" y="756"/>
                </a:cubicBezTo>
                <a:close/>
                <a:moveTo>
                  <a:pt x="3183" y="2174"/>
                </a:moveTo>
                <a:cubicBezTo>
                  <a:pt x="3372" y="2174"/>
                  <a:pt x="3530" y="2332"/>
                  <a:pt x="3530" y="2521"/>
                </a:cubicBezTo>
                <a:cubicBezTo>
                  <a:pt x="3530" y="2741"/>
                  <a:pt x="3372" y="2899"/>
                  <a:pt x="3183" y="2899"/>
                </a:cubicBezTo>
                <a:cubicBezTo>
                  <a:pt x="2994" y="2899"/>
                  <a:pt x="2836" y="2741"/>
                  <a:pt x="2836" y="2521"/>
                </a:cubicBezTo>
                <a:cubicBezTo>
                  <a:pt x="2836" y="2332"/>
                  <a:pt x="2994" y="2174"/>
                  <a:pt x="3183" y="2174"/>
                </a:cubicBezTo>
                <a:close/>
                <a:moveTo>
                  <a:pt x="8885" y="2174"/>
                </a:moveTo>
                <a:cubicBezTo>
                  <a:pt x="9074" y="2174"/>
                  <a:pt x="9232" y="2332"/>
                  <a:pt x="9232" y="2521"/>
                </a:cubicBezTo>
                <a:cubicBezTo>
                  <a:pt x="9232" y="2741"/>
                  <a:pt x="9074" y="2899"/>
                  <a:pt x="8885" y="2899"/>
                </a:cubicBezTo>
                <a:cubicBezTo>
                  <a:pt x="8696" y="2899"/>
                  <a:pt x="8539" y="2741"/>
                  <a:pt x="8539" y="2521"/>
                </a:cubicBezTo>
                <a:cubicBezTo>
                  <a:pt x="8539" y="2332"/>
                  <a:pt x="8696" y="2174"/>
                  <a:pt x="8885" y="2174"/>
                </a:cubicBezTo>
                <a:close/>
                <a:moveTo>
                  <a:pt x="6050" y="3718"/>
                </a:moveTo>
                <a:cubicBezTo>
                  <a:pt x="6396" y="4033"/>
                  <a:pt x="7153" y="4726"/>
                  <a:pt x="7562" y="5640"/>
                </a:cubicBezTo>
                <a:cubicBezTo>
                  <a:pt x="6869" y="6238"/>
                  <a:pt x="6365" y="6931"/>
                  <a:pt x="6050" y="7814"/>
                </a:cubicBezTo>
                <a:cubicBezTo>
                  <a:pt x="5735" y="6994"/>
                  <a:pt x="5199" y="6238"/>
                  <a:pt x="4569" y="5640"/>
                </a:cubicBezTo>
                <a:cubicBezTo>
                  <a:pt x="4947" y="4726"/>
                  <a:pt x="5703" y="4033"/>
                  <a:pt x="6050" y="3718"/>
                </a:cubicBezTo>
                <a:close/>
                <a:moveTo>
                  <a:pt x="1009" y="5010"/>
                </a:moveTo>
                <a:cubicBezTo>
                  <a:pt x="3561" y="5010"/>
                  <a:pt x="5672" y="7089"/>
                  <a:pt x="5672" y="9704"/>
                </a:cubicBezTo>
                <a:lnTo>
                  <a:pt x="5672" y="10050"/>
                </a:lnTo>
                <a:lnTo>
                  <a:pt x="5294" y="10050"/>
                </a:lnTo>
                <a:cubicBezTo>
                  <a:pt x="2773" y="10050"/>
                  <a:pt x="663" y="7971"/>
                  <a:pt x="663" y="5356"/>
                </a:cubicBezTo>
                <a:lnTo>
                  <a:pt x="663" y="5010"/>
                </a:lnTo>
                <a:close/>
                <a:moveTo>
                  <a:pt x="11406" y="5010"/>
                </a:moveTo>
                <a:lnTo>
                  <a:pt x="11406" y="5356"/>
                </a:lnTo>
                <a:cubicBezTo>
                  <a:pt x="11406" y="7971"/>
                  <a:pt x="9326" y="10050"/>
                  <a:pt x="6775" y="10050"/>
                </a:cubicBezTo>
                <a:lnTo>
                  <a:pt x="6396" y="10050"/>
                </a:lnTo>
                <a:lnTo>
                  <a:pt x="6396" y="9704"/>
                </a:lnTo>
                <a:cubicBezTo>
                  <a:pt x="6396" y="7089"/>
                  <a:pt x="8507" y="5010"/>
                  <a:pt x="11059" y="5010"/>
                </a:cubicBezTo>
                <a:close/>
                <a:moveTo>
                  <a:pt x="7814" y="10649"/>
                </a:moveTo>
                <a:lnTo>
                  <a:pt x="7814" y="10775"/>
                </a:lnTo>
                <a:cubicBezTo>
                  <a:pt x="7814" y="11153"/>
                  <a:pt x="7499" y="11468"/>
                  <a:pt x="7121" y="11468"/>
                </a:cubicBezTo>
                <a:cubicBezTo>
                  <a:pt x="6712" y="11468"/>
                  <a:pt x="6396" y="11153"/>
                  <a:pt x="6396" y="10775"/>
                </a:cubicBezTo>
                <a:cubicBezTo>
                  <a:pt x="6838" y="10775"/>
                  <a:pt x="7247" y="10775"/>
                  <a:pt x="7814" y="10649"/>
                </a:cubicBezTo>
                <a:close/>
                <a:moveTo>
                  <a:pt x="4286" y="10680"/>
                </a:moveTo>
                <a:cubicBezTo>
                  <a:pt x="4884" y="10806"/>
                  <a:pt x="5262" y="10806"/>
                  <a:pt x="5703" y="10806"/>
                </a:cubicBezTo>
                <a:cubicBezTo>
                  <a:pt x="5703" y="11153"/>
                  <a:pt x="5388" y="11500"/>
                  <a:pt x="4979" y="11500"/>
                </a:cubicBezTo>
                <a:cubicBezTo>
                  <a:pt x="4601" y="11500"/>
                  <a:pt x="4286" y="11185"/>
                  <a:pt x="4286" y="10806"/>
                </a:cubicBezTo>
                <a:lnTo>
                  <a:pt x="4286" y="10680"/>
                </a:lnTo>
                <a:close/>
                <a:moveTo>
                  <a:pt x="6050" y="0"/>
                </a:moveTo>
                <a:cubicBezTo>
                  <a:pt x="5451" y="0"/>
                  <a:pt x="4979" y="473"/>
                  <a:pt x="4979" y="1071"/>
                </a:cubicBezTo>
                <a:cubicBezTo>
                  <a:pt x="4979" y="1544"/>
                  <a:pt x="5294" y="1922"/>
                  <a:pt x="5703" y="2080"/>
                </a:cubicBezTo>
                <a:lnTo>
                  <a:pt x="5703" y="3025"/>
                </a:lnTo>
                <a:cubicBezTo>
                  <a:pt x="5357" y="3308"/>
                  <a:pt x="4475" y="4096"/>
                  <a:pt x="3971" y="5167"/>
                </a:cubicBezTo>
                <a:cubicBezTo>
                  <a:pt x="3845" y="5104"/>
                  <a:pt x="3687" y="5010"/>
                  <a:pt x="3561" y="4947"/>
                </a:cubicBezTo>
                <a:lnTo>
                  <a:pt x="3561" y="3529"/>
                </a:lnTo>
                <a:cubicBezTo>
                  <a:pt x="4002" y="3371"/>
                  <a:pt x="4286" y="2962"/>
                  <a:pt x="4286" y="2489"/>
                </a:cubicBezTo>
                <a:cubicBezTo>
                  <a:pt x="4286" y="1891"/>
                  <a:pt x="3813" y="1418"/>
                  <a:pt x="3214" y="1418"/>
                </a:cubicBezTo>
                <a:cubicBezTo>
                  <a:pt x="2616" y="1418"/>
                  <a:pt x="2143" y="1891"/>
                  <a:pt x="2143" y="2489"/>
                </a:cubicBezTo>
                <a:cubicBezTo>
                  <a:pt x="2143" y="2962"/>
                  <a:pt x="2458" y="3371"/>
                  <a:pt x="2868" y="3529"/>
                </a:cubicBezTo>
                <a:lnTo>
                  <a:pt x="2868" y="4632"/>
                </a:lnTo>
                <a:cubicBezTo>
                  <a:pt x="2269" y="4411"/>
                  <a:pt x="1671" y="4316"/>
                  <a:pt x="1041" y="4316"/>
                </a:cubicBezTo>
                <a:lnTo>
                  <a:pt x="348" y="4316"/>
                </a:lnTo>
                <a:cubicBezTo>
                  <a:pt x="158" y="4316"/>
                  <a:pt x="1" y="4474"/>
                  <a:pt x="1" y="4663"/>
                </a:cubicBezTo>
                <a:lnTo>
                  <a:pt x="1" y="5356"/>
                </a:lnTo>
                <a:cubicBezTo>
                  <a:pt x="1" y="6774"/>
                  <a:pt x="537" y="8160"/>
                  <a:pt x="1576" y="9200"/>
                </a:cubicBezTo>
                <a:cubicBezTo>
                  <a:pt x="2143" y="9767"/>
                  <a:pt x="2836" y="10208"/>
                  <a:pt x="3561" y="10491"/>
                </a:cubicBezTo>
                <a:lnTo>
                  <a:pt x="3561" y="10806"/>
                </a:lnTo>
                <a:cubicBezTo>
                  <a:pt x="3561" y="11594"/>
                  <a:pt x="4191" y="12224"/>
                  <a:pt x="4979" y="12224"/>
                </a:cubicBezTo>
                <a:cubicBezTo>
                  <a:pt x="5420" y="12224"/>
                  <a:pt x="5829" y="12035"/>
                  <a:pt x="6050" y="11752"/>
                </a:cubicBezTo>
                <a:cubicBezTo>
                  <a:pt x="6333" y="12067"/>
                  <a:pt x="6680" y="12224"/>
                  <a:pt x="7121" y="12224"/>
                </a:cubicBezTo>
                <a:cubicBezTo>
                  <a:pt x="7909" y="12224"/>
                  <a:pt x="8539" y="11594"/>
                  <a:pt x="8539" y="10806"/>
                </a:cubicBezTo>
                <a:lnTo>
                  <a:pt x="8539" y="10491"/>
                </a:lnTo>
                <a:cubicBezTo>
                  <a:pt x="9295" y="10208"/>
                  <a:pt x="9957" y="9767"/>
                  <a:pt x="10555" y="9200"/>
                </a:cubicBezTo>
                <a:cubicBezTo>
                  <a:pt x="11563" y="8160"/>
                  <a:pt x="12130" y="6837"/>
                  <a:pt x="12130" y="5356"/>
                </a:cubicBezTo>
                <a:lnTo>
                  <a:pt x="12130" y="4663"/>
                </a:lnTo>
                <a:cubicBezTo>
                  <a:pt x="12130" y="4474"/>
                  <a:pt x="11973" y="4316"/>
                  <a:pt x="11752" y="4316"/>
                </a:cubicBezTo>
                <a:lnTo>
                  <a:pt x="11059" y="4316"/>
                </a:lnTo>
                <a:cubicBezTo>
                  <a:pt x="10429" y="4316"/>
                  <a:pt x="9831" y="4411"/>
                  <a:pt x="9232" y="4632"/>
                </a:cubicBezTo>
                <a:lnTo>
                  <a:pt x="9232" y="3529"/>
                </a:lnTo>
                <a:cubicBezTo>
                  <a:pt x="9673" y="3371"/>
                  <a:pt x="9957" y="2962"/>
                  <a:pt x="9957" y="2489"/>
                </a:cubicBezTo>
                <a:cubicBezTo>
                  <a:pt x="9957" y="1891"/>
                  <a:pt x="9484" y="1418"/>
                  <a:pt x="8885" y="1418"/>
                </a:cubicBezTo>
                <a:cubicBezTo>
                  <a:pt x="8287" y="1418"/>
                  <a:pt x="7814" y="1891"/>
                  <a:pt x="7814" y="2489"/>
                </a:cubicBezTo>
                <a:cubicBezTo>
                  <a:pt x="7814" y="2962"/>
                  <a:pt x="8129" y="3371"/>
                  <a:pt x="8539" y="3529"/>
                </a:cubicBezTo>
                <a:lnTo>
                  <a:pt x="8539" y="4947"/>
                </a:lnTo>
                <a:cubicBezTo>
                  <a:pt x="8381" y="5010"/>
                  <a:pt x="8255" y="5104"/>
                  <a:pt x="8129" y="5167"/>
                </a:cubicBezTo>
                <a:cubicBezTo>
                  <a:pt x="7625" y="4096"/>
                  <a:pt x="6775" y="3308"/>
                  <a:pt x="6396" y="3025"/>
                </a:cubicBezTo>
                <a:lnTo>
                  <a:pt x="6396" y="2080"/>
                </a:lnTo>
                <a:cubicBezTo>
                  <a:pt x="6838" y="1922"/>
                  <a:pt x="7121" y="1544"/>
                  <a:pt x="7121" y="1071"/>
                </a:cubicBezTo>
                <a:cubicBezTo>
                  <a:pt x="7121" y="473"/>
                  <a:pt x="6649" y="0"/>
                  <a:pt x="6050"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nvGrpSpPr>
          <p:cNvPr id="11124" name="Google Shape;11124;p114"/>
          <p:cNvGrpSpPr/>
          <p:nvPr/>
        </p:nvGrpSpPr>
        <p:grpSpPr>
          <a:xfrm>
            <a:off x="5058257" y="4593644"/>
            <a:ext cx="553489" cy="631893"/>
            <a:chOff x="-16422500" y="2425450"/>
            <a:chExt cx="267025" cy="304850"/>
          </a:xfrm>
        </p:grpSpPr>
        <p:sp>
          <p:nvSpPr>
            <p:cNvPr id="11125" name="Google Shape;11125;p114"/>
            <p:cNvSpPr/>
            <p:nvPr/>
          </p:nvSpPr>
          <p:spPr>
            <a:xfrm>
              <a:off x="-16350825" y="2515275"/>
              <a:ext cx="17350" cy="18125"/>
            </a:xfrm>
            <a:custGeom>
              <a:avLst/>
              <a:gdLst/>
              <a:ahLst/>
              <a:cxnLst/>
              <a:rect l="l" t="t" r="r" b="b"/>
              <a:pathLst>
                <a:path w="694" h="725" extrusionOk="0">
                  <a:moveTo>
                    <a:pt x="347" y="0"/>
                  </a:moveTo>
                  <a:cubicBezTo>
                    <a:pt x="158" y="0"/>
                    <a:pt x="1" y="158"/>
                    <a:pt x="1" y="347"/>
                  </a:cubicBezTo>
                  <a:cubicBezTo>
                    <a:pt x="1" y="567"/>
                    <a:pt x="158" y="725"/>
                    <a:pt x="347" y="725"/>
                  </a:cubicBezTo>
                  <a:cubicBezTo>
                    <a:pt x="536" y="725"/>
                    <a:pt x="694" y="567"/>
                    <a:pt x="694" y="347"/>
                  </a:cubicBezTo>
                  <a:cubicBezTo>
                    <a:pt x="694" y="158"/>
                    <a:pt x="536" y="0"/>
                    <a:pt x="347"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1126" name="Google Shape;11126;p114"/>
            <p:cNvSpPr/>
            <p:nvPr/>
          </p:nvSpPr>
          <p:spPr>
            <a:xfrm>
              <a:off x="-16245275" y="2515275"/>
              <a:ext cx="18125" cy="18125"/>
            </a:xfrm>
            <a:custGeom>
              <a:avLst/>
              <a:gdLst/>
              <a:ahLst/>
              <a:cxnLst/>
              <a:rect l="l" t="t" r="r" b="b"/>
              <a:pathLst>
                <a:path w="725" h="725" extrusionOk="0">
                  <a:moveTo>
                    <a:pt x="378" y="0"/>
                  </a:moveTo>
                  <a:cubicBezTo>
                    <a:pt x="158" y="0"/>
                    <a:pt x="0" y="158"/>
                    <a:pt x="0" y="378"/>
                  </a:cubicBezTo>
                  <a:cubicBezTo>
                    <a:pt x="0" y="567"/>
                    <a:pt x="158" y="725"/>
                    <a:pt x="378" y="725"/>
                  </a:cubicBezTo>
                  <a:cubicBezTo>
                    <a:pt x="567" y="725"/>
                    <a:pt x="725" y="567"/>
                    <a:pt x="725" y="378"/>
                  </a:cubicBezTo>
                  <a:cubicBezTo>
                    <a:pt x="725" y="158"/>
                    <a:pt x="567" y="0"/>
                    <a:pt x="378"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1127" name="Google Shape;11127;p114"/>
            <p:cNvSpPr/>
            <p:nvPr/>
          </p:nvSpPr>
          <p:spPr>
            <a:xfrm>
              <a:off x="-16422500" y="2425450"/>
              <a:ext cx="267025" cy="304850"/>
            </a:xfrm>
            <a:custGeom>
              <a:avLst/>
              <a:gdLst/>
              <a:ahLst/>
              <a:cxnLst/>
              <a:rect l="l" t="t" r="r" b="b"/>
              <a:pathLst>
                <a:path w="10681" h="12194" extrusionOk="0">
                  <a:moveTo>
                    <a:pt x="5325" y="5925"/>
                  </a:moveTo>
                  <a:cubicBezTo>
                    <a:pt x="5482" y="5925"/>
                    <a:pt x="5640" y="6051"/>
                    <a:pt x="5703" y="6177"/>
                  </a:cubicBezTo>
                  <a:lnTo>
                    <a:pt x="5325" y="6586"/>
                  </a:lnTo>
                  <a:lnTo>
                    <a:pt x="4978" y="6177"/>
                  </a:lnTo>
                  <a:cubicBezTo>
                    <a:pt x="5010" y="6019"/>
                    <a:pt x="5167" y="5925"/>
                    <a:pt x="5325" y="5925"/>
                  </a:cubicBezTo>
                  <a:close/>
                  <a:moveTo>
                    <a:pt x="4411" y="5767"/>
                  </a:moveTo>
                  <a:cubicBezTo>
                    <a:pt x="4348" y="5925"/>
                    <a:pt x="4254" y="6114"/>
                    <a:pt x="4254" y="6334"/>
                  </a:cubicBezTo>
                  <a:cubicBezTo>
                    <a:pt x="4254" y="6366"/>
                    <a:pt x="4254" y="6429"/>
                    <a:pt x="4348" y="6523"/>
                  </a:cubicBezTo>
                  <a:lnTo>
                    <a:pt x="4978" y="7311"/>
                  </a:lnTo>
                  <a:cubicBezTo>
                    <a:pt x="4884" y="8004"/>
                    <a:pt x="4317" y="8602"/>
                    <a:pt x="3561" y="8602"/>
                  </a:cubicBezTo>
                  <a:cubicBezTo>
                    <a:pt x="2773" y="8602"/>
                    <a:pt x="2143" y="7972"/>
                    <a:pt x="2143" y="7185"/>
                  </a:cubicBezTo>
                  <a:cubicBezTo>
                    <a:pt x="2143" y="6397"/>
                    <a:pt x="2773" y="5767"/>
                    <a:pt x="3561" y="5767"/>
                  </a:cubicBezTo>
                  <a:close/>
                  <a:moveTo>
                    <a:pt x="7089" y="5735"/>
                  </a:moveTo>
                  <a:cubicBezTo>
                    <a:pt x="7877" y="5735"/>
                    <a:pt x="8507" y="6366"/>
                    <a:pt x="8507" y="7153"/>
                  </a:cubicBezTo>
                  <a:cubicBezTo>
                    <a:pt x="8507" y="7972"/>
                    <a:pt x="7877" y="8602"/>
                    <a:pt x="7089" y="8602"/>
                  </a:cubicBezTo>
                  <a:cubicBezTo>
                    <a:pt x="6365" y="8602"/>
                    <a:pt x="5734" y="8004"/>
                    <a:pt x="5671" y="7311"/>
                  </a:cubicBezTo>
                  <a:lnTo>
                    <a:pt x="6302" y="6523"/>
                  </a:lnTo>
                  <a:cubicBezTo>
                    <a:pt x="6365" y="6429"/>
                    <a:pt x="6396" y="6366"/>
                    <a:pt x="6396" y="6271"/>
                  </a:cubicBezTo>
                  <a:cubicBezTo>
                    <a:pt x="6396" y="6082"/>
                    <a:pt x="6365" y="5893"/>
                    <a:pt x="6239" y="5735"/>
                  </a:cubicBezTo>
                  <a:close/>
                  <a:moveTo>
                    <a:pt x="5317" y="725"/>
                  </a:moveTo>
                  <a:cubicBezTo>
                    <a:pt x="6534" y="725"/>
                    <a:pt x="7685" y="1194"/>
                    <a:pt x="8570" y="2018"/>
                  </a:cubicBezTo>
                  <a:cubicBezTo>
                    <a:pt x="9452" y="2932"/>
                    <a:pt x="9988" y="4129"/>
                    <a:pt x="9988" y="5389"/>
                  </a:cubicBezTo>
                  <a:lnTo>
                    <a:pt x="9988" y="8256"/>
                  </a:lnTo>
                  <a:cubicBezTo>
                    <a:pt x="9988" y="8854"/>
                    <a:pt x="9515" y="9327"/>
                    <a:pt x="8916" y="9327"/>
                  </a:cubicBezTo>
                  <a:lnTo>
                    <a:pt x="8570" y="9327"/>
                  </a:lnTo>
                  <a:lnTo>
                    <a:pt x="8570" y="8760"/>
                  </a:lnTo>
                  <a:cubicBezTo>
                    <a:pt x="9043" y="8350"/>
                    <a:pt x="9263" y="7783"/>
                    <a:pt x="9263" y="7153"/>
                  </a:cubicBezTo>
                  <a:cubicBezTo>
                    <a:pt x="9263" y="5956"/>
                    <a:pt x="8318" y="5011"/>
                    <a:pt x="7152" y="5011"/>
                  </a:cubicBezTo>
                  <a:lnTo>
                    <a:pt x="3561" y="5011"/>
                  </a:lnTo>
                  <a:cubicBezTo>
                    <a:pt x="2363" y="5011"/>
                    <a:pt x="1418" y="5956"/>
                    <a:pt x="1418" y="7153"/>
                  </a:cubicBezTo>
                  <a:cubicBezTo>
                    <a:pt x="1418" y="7783"/>
                    <a:pt x="1702" y="8319"/>
                    <a:pt x="2143" y="8760"/>
                  </a:cubicBezTo>
                  <a:lnTo>
                    <a:pt x="2143" y="9327"/>
                  </a:lnTo>
                  <a:lnTo>
                    <a:pt x="1796" y="9327"/>
                  </a:lnTo>
                  <a:cubicBezTo>
                    <a:pt x="1198" y="9327"/>
                    <a:pt x="725" y="8854"/>
                    <a:pt x="725" y="8256"/>
                  </a:cubicBezTo>
                  <a:lnTo>
                    <a:pt x="725" y="5609"/>
                  </a:lnTo>
                  <a:cubicBezTo>
                    <a:pt x="725" y="3026"/>
                    <a:pt x="2742" y="821"/>
                    <a:pt x="5199" y="726"/>
                  </a:cubicBezTo>
                  <a:cubicBezTo>
                    <a:pt x="5238" y="725"/>
                    <a:pt x="5278" y="725"/>
                    <a:pt x="5317" y="725"/>
                  </a:cubicBezTo>
                  <a:close/>
                  <a:moveTo>
                    <a:pt x="5325" y="8382"/>
                  </a:moveTo>
                  <a:cubicBezTo>
                    <a:pt x="5577" y="8760"/>
                    <a:pt x="5955" y="9043"/>
                    <a:pt x="6396" y="9201"/>
                  </a:cubicBezTo>
                  <a:lnTo>
                    <a:pt x="6396" y="9674"/>
                  </a:lnTo>
                  <a:cubicBezTo>
                    <a:pt x="6081" y="9894"/>
                    <a:pt x="5734" y="10020"/>
                    <a:pt x="5325" y="10020"/>
                  </a:cubicBezTo>
                  <a:cubicBezTo>
                    <a:pt x="4947" y="10020"/>
                    <a:pt x="4569" y="9894"/>
                    <a:pt x="4254" y="9674"/>
                  </a:cubicBezTo>
                  <a:lnTo>
                    <a:pt x="4254" y="9201"/>
                  </a:lnTo>
                  <a:cubicBezTo>
                    <a:pt x="4695" y="9043"/>
                    <a:pt x="5104" y="8728"/>
                    <a:pt x="5325" y="8382"/>
                  </a:cubicBezTo>
                  <a:close/>
                  <a:moveTo>
                    <a:pt x="2836" y="9201"/>
                  </a:moveTo>
                  <a:cubicBezTo>
                    <a:pt x="3088" y="9264"/>
                    <a:pt x="3309" y="9327"/>
                    <a:pt x="3561" y="9327"/>
                  </a:cubicBezTo>
                  <a:lnTo>
                    <a:pt x="3561" y="11406"/>
                  </a:lnTo>
                  <a:cubicBezTo>
                    <a:pt x="3151" y="11249"/>
                    <a:pt x="2836" y="10839"/>
                    <a:pt x="2836" y="10367"/>
                  </a:cubicBezTo>
                  <a:lnTo>
                    <a:pt x="2836" y="9201"/>
                  </a:lnTo>
                  <a:close/>
                  <a:moveTo>
                    <a:pt x="7814" y="9201"/>
                  </a:moveTo>
                  <a:lnTo>
                    <a:pt x="7814" y="10367"/>
                  </a:lnTo>
                  <a:cubicBezTo>
                    <a:pt x="7814" y="10839"/>
                    <a:pt x="7499" y="11249"/>
                    <a:pt x="7089" y="11406"/>
                  </a:cubicBezTo>
                  <a:lnTo>
                    <a:pt x="7089" y="9327"/>
                  </a:lnTo>
                  <a:cubicBezTo>
                    <a:pt x="7341" y="9327"/>
                    <a:pt x="7562" y="9264"/>
                    <a:pt x="7814" y="9201"/>
                  </a:cubicBezTo>
                  <a:close/>
                  <a:moveTo>
                    <a:pt x="5317" y="0"/>
                  </a:moveTo>
                  <a:cubicBezTo>
                    <a:pt x="5278" y="0"/>
                    <a:pt x="5238" y="1"/>
                    <a:pt x="5199" y="2"/>
                  </a:cubicBezTo>
                  <a:cubicBezTo>
                    <a:pt x="3781" y="65"/>
                    <a:pt x="2489" y="695"/>
                    <a:pt x="1513" y="1766"/>
                  </a:cubicBezTo>
                  <a:cubicBezTo>
                    <a:pt x="568" y="2806"/>
                    <a:pt x="1" y="4160"/>
                    <a:pt x="1" y="5609"/>
                  </a:cubicBezTo>
                  <a:lnTo>
                    <a:pt x="1" y="8256"/>
                  </a:lnTo>
                  <a:cubicBezTo>
                    <a:pt x="1" y="9233"/>
                    <a:pt x="788" y="10020"/>
                    <a:pt x="1796" y="10020"/>
                  </a:cubicBezTo>
                  <a:lnTo>
                    <a:pt x="2143" y="10020"/>
                  </a:lnTo>
                  <a:lnTo>
                    <a:pt x="2143" y="10367"/>
                  </a:lnTo>
                  <a:cubicBezTo>
                    <a:pt x="2143" y="10839"/>
                    <a:pt x="2332" y="11312"/>
                    <a:pt x="2647" y="11627"/>
                  </a:cubicBezTo>
                  <a:cubicBezTo>
                    <a:pt x="2994" y="12005"/>
                    <a:pt x="3435" y="12194"/>
                    <a:pt x="3907" y="12194"/>
                  </a:cubicBezTo>
                  <a:cubicBezTo>
                    <a:pt x="4096" y="12194"/>
                    <a:pt x="4254" y="12036"/>
                    <a:pt x="4254" y="11847"/>
                  </a:cubicBezTo>
                  <a:lnTo>
                    <a:pt x="4254" y="10493"/>
                  </a:lnTo>
                  <a:cubicBezTo>
                    <a:pt x="4569" y="10650"/>
                    <a:pt x="4978" y="10713"/>
                    <a:pt x="5325" y="10713"/>
                  </a:cubicBezTo>
                  <a:cubicBezTo>
                    <a:pt x="5703" y="10713"/>
                    <a:pt x="6081" y="10650"/>
                    <a:pt x="6396" y="10493"/>
                  </a:cubicBezTo>
                  <a:lnTo>
                    <a:pt x="6396" y="11847"/>
                  </a:lnTo>
                  <a:cubicBezTo>
                    <a:pt x="6396" y="12036"/>
                    <a:pt x="6554" y="12194"/>
                    <a:pt x="6743" y="12194"/>
                  </a:cubicBezTo>
                  <a:cubicBezTo>
                    <a:pt x="7215" y="12194"/>
                    <a:pt x="7656" y="12005"/>
                    <a:pt x="8003" y="11627"/>
                  </a:cubicBezTo>
                  <a:cubicBezTo>
                    <a:pt x="8381" y="11280"/>
                    <a:pt x="8538" y="10839"/>
                    <a:pt x="8538" y="10367"/>
                  </a:cubicBezTo>
                  <a:lnTo>
                    <a:pt x="8538" y="10020"/>
                  </a:lnTo>
                  <a:lnTo>
                    <a:pt x="8885" y="10020"/>
                  </a:lnTo>
                  <a:cubicBezTo>
                    <a:pt x="9862" y="10020"/>
                    <a:pt x="10649" y="9233"/>
                    <a:pt x="10649" y="8256"/>
                  </a:cubicBezTo>
                  <a:lnTo>
                    <a:pt x="10649" y="5420"/>
                  </a:lnTo>
                  <a:cubicBezTo>
                    <a:pt x="10681" y="4664"/>
                    <a:pt x="10523" y="3908"/>
                    <a:pt x="10240" y="3247"/>
                  </a:cubicBezTo>
                  <a:cubicBezTo>
                    <a:pt x="9988" y="2585"/>
                    <a:pt x="9578" y="2018"/>
                    <a:pt x="9074" y="1514"/>
                  </a:cubicBezTo>
                  <a:cubicBezTo>
                    <a:pt x="8033" y="534"/>
                    <a:pt x="6694" y="0"/>
                    <a:pt x="5317"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11128" name="Google Shape;11128;p114"/>
          <p:cNvGrpSpPr/>
          <p:nvPr/>
        </p:nvGrpSpPr>
        <p:grpSpPr>
          <a:xfrm>
            <a:off x="8128604" y="4594451"/>
            <a:ext cx="631893" cy="630235"/>
            <a:chOff x="-16442200" y="2801175"/>
            <a:chExt cx="304850" cy="304050"/>
          </a:xfrm>
        </p:grpSpPr>
        <p:sp>
          <p:nvSpPr>
            <p:cNvPr id="11129" name="Google Shape;11129;p114"/>
            <p:cNvSpPr/>
            <p:nvPr/>
          </p:nvSpPr>
          <p:spPr>
            <a:xfrm>
              <a:off x="-16369725" y="2942950"/>
              <a:ext cx="17350" cy="17350"/>
            </a:xfrm>
            <a:custGeom>
              <a:avLst/>
              <a:gdLst/>
              <a:ahLst/>
              <a:cxnLst/>
              <a:rect l="l" t="t" r="r" b="b"/>
              <a:pathLst>
                <a:path w="694" h="694" extrusionOk="0">
                  <a:moveTo>
                    <a:pt x="347" y="0"/>
                  </a:moveTo>
                  <a:cubicBezTo>
                    <a:pt x="158" y="0"/>
                    <a:pt x="0" y="158"/>
                    <a:pt x="0" y="347"/>
                  </a:cubicBezTo>
                  <a:cubicBezTo>
                    <a:pt x="0" y="536"/>
                    <a:pt x="158" y="693"/>
                    <a:pt x="347" y="693"/>
                  </a:cubicBezTo>
                  <a:cubicBezTo>
                    <a:pt x="536" y="693"/>
                    <a:pt x="694" y="536"/>
                    <a:pt x="694" y="347"/>
                  </a:cubicBezTo>
                  <a:cubicBezTo>
                    <a:pt x="694" y="158"/>
                    <a:pt x="536" y="0"/>
                    <a:pt x="347"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1130" name="Google Shape;11130;p114"/>
            <p:cNvSpPr/>
            <p:nvPr/>
          </p:nvSpPr>
          <p:spPr>
            <a:xfrm>
              <a:off x="-16442200" y="2801175"/>
              <a:ext cx="304850" cy="304050"/>
            </a:xfrm>
            <a:custGeom>
              <a:avLst/>
              <a:gdLst/>
              <a:ahLst/>
              <a:cxnLst/>
              <a:rect l="l" t="t" r="r" b="b"/>
              <a:pathLst>
                <a:path w="12194" h="12162" extrusionOk="0">
                  <a:moveTo>
                    <a:pt x="7940" y="694"/>
                  </a:moveTo>
                  <a:cubicBezTo>
                    <a:pt x="8255" y="694"/>
                    <a:pt x="8539" y="914"/>
                    <a:pt x="8602" y="1229"/>
                  </a:cubicBezTo>
                  <a:cubicBezTo>
                    <a:pt x="8633" y="1324"/>
                    <a:pt x="8728" y="1418"/>
                    <a:pt x="8854" y="1450"/>
                  </a:cubicBezTo>
                  <a:cubicBezTo>
                    <a:pt x="9169" y="1544"/>
                    <a:pt x="9358" y="1796"/>
                    <a:pt x="9358" y="2111"/>
                  </a:cubicBezTo>
                  <a:cubicBezTo>
                    <a:pt x="9358" y="2426"/>
                    <a:pt x="9169" y="2710"/>
                    <a:pt x="8854" y="2804"/>
                  </a:cubicBezTo>
                  <a:cubicBezTo>
                    <a:pt x="8728" y="2836"/>
                    <a:pt x="8633" y="2899"/>
                    <a:pt x="8602" y="3025"/>
                  </a:cubicBezTo>
                  <a:cubicBezTo>
                    <a:pt x="8539" y="3340"/>
                    <a:pt x="8255" y="3529"/>
                    <a:pt x="7940" y="3529"/>
                  </a:cubicBezTo>
                  <a:cubicBezTo>
                    <a:pt x="7625" y="3529"/>
                    <a:pt x="7373" y="3340"/>
                    <a:pt x="7279" y="3056"/>
                  </a:cubicBezTo>
                  <a:cubicBezTo>
                    <a:pt x="7216" y="2899"/>
                    <a:pt x="7058" y="2836"/>
                    <a:pt x="6901" y="2836"/>
                  </a:cubicBezTo>
                  <a:lnTo>
                    <a:pt x="6806" y="2836"/>
                  </a:lnTo>
                  <a:cubicBezTo>
                    <a:pt x="6649" y="2836"/>
                    <a:pt x="6522" y="2899"/>
                    <a:pt x="6428" y="3056"/>
                  </a:cubicBezTo>
                  <a:cubicBezTo>
                    <a:pt x="6333" y="3340"/>
                    <a:pt x="6081" y="3529"/>
                    <a:pt x="5766" y="3529"/>
                  </a:cubicBezTo>
                  <a:cubicBezTo>
                    <a:pt x="5451" y="3529"/>
                    <a:pt x="5231" y="3340"/>
                    <a:pt x="5105" y="3056"/>
                  </a:cubicBezTo>
                  <a:cubicBezTo>
                    <a:pt x="5073" y="2899"/>
                    <a:pt x="4916" y="2836"/>
                    <a:pt x="4758" y="2836"/>
                  </a:cubicBezTo>
                  <a:lnTo>
                    <a:pt x="4632" y="2836"/>
                  </a:lnTo>
                  <a:cubicBezTo>
                    <a:pt x="4475" y="2836"/>
                    <a:pt x="4349" y="2899"/>
                    <a:pt x="4254" y="3056"/>
                  </a:cubicBezTo>
                  <a:cubicBezTo>
                    <a:pt x="4191" y="3340"/>
                    <a:pt x="3908" y="3529"/>
                    <a:pt x="3593" y="3529"/>
                  </a:cubicBezTo>
                  <a:cubicBezTo>
                    <a:pt x="3277" y="3529"/>
                    <a:pt x="2994" y="3340"/>
                    <a:pt x="2931" y="3025"/>
                  </a:cubicBezTo>
                  <a:cubicBezTo>
                    <a:pt x="2899" y="2899"/>
                    <a:pt x="2805" y="2836"/>
                    <a:pt x="2679" y="2804"/>
                  </a:cubicBezTo>
                  <a:cubicBezTo>
                    <a:pt x="2395" y="2710"/>
                    <a:pt x="2175" y="2426"/>
                    <a:pt x="2175" y="2111"/>
                  </a:cubicBezTo>
                  <a:cubicBezTo>
                    <a:pt x="2175" y="1796"/>
                    <a:pt x="2395" y="1544"/>
                    <a:pt x="2679" y="1450"/>
                  </a:cubicBezTo>
                  <a:cubicBezTo>
                    <a:pt x="2805" y="1418"/>
                    <a:pt x="2899" y="1324"/>
                    <a:pt x="2931" y="1229"/>
                  </a:cubicBezTo>
                  <a:cubicBezTo>
                    <a:pt x="2994" y="914"/>
                    <a:pt x="3277" y="694"/>
                    <a:pt x="3593" y="694"/>
                  </a:cubicBezTo>
                  <a:cubicBezTo>
                    <a:pt x="3908" y="694"/>
                    <a:pt x="4160" y="914"/>
                    <a:pt x="4254" y="1166"/>
                  </a:cubicBezTo>
                  <a:cubicBezTo>
                    <a:pt x="4317" y="1324"/>
                    <a:pt x="4475" y="1418"/>
                    <a:pt x="4632" y="1418"/>
                  </a:cubicBezTo>
                  <a:lnTo>
                    <a:pt x="4758" y="1418"/>
                  </a:lnTo>
                  <a:cubicBezTo>
                    <a:pt x="4916" y="1418"/>
                    <a:pt x="5010" y="1324"/>
                    <a:pt x="5105" y="1166"/>
                  </a:cubicBezTo>
                  <a:cubicBezTo>
                    <a:pt x="5231" y="914"/>
                    <a:pt x="5451" y="694"/>
                    <a:pt x="5766" y="694"/>
                  </a:cubicBezTo>
                  <a:cubicBezTo>
                    <a:pt x="6081" y="694"/>
                    <a:pt x="6333" y="914"/>
                    <a:pt x="6428" y="1166"/>
                  </a:cubicBezTo>
                  <a:cubicBezTo>
                    <a:pt x="6491" y="1324"/>
                    <a:pt x="6649" y="1418"/>
                    <a:pt x="6806" y="1418"/>
                  </a:cubicBezTo>
                  <a:lnTo>
                    <a:pt x="6901" y="1418"/>
                  </a:lnTo>
                  <a:cubicBezTo>
                    <a:pt x="7058" y="1418"/>
                    <a:pt x="7184" y="1324"/>
                    <a:pt x="7279" y="1166"/>
                  </a:cubicBezTo>
                  <a:cubicBezTo>
                    <a:pt x="7373" y="914"/>
                    <a:pt x="7625" y="694"/>
                    <a:pt x="7940" y="694"/>
                  </a:cubicBezTo>
                  <a:close/>
                  <a:moveTo>
                    <a:pt x="6459" y="4065"/>
                  </a:moveTo>
                  <a:cubicBezTo>
                    <a:pt x="6522" y="4128"/>
                    <a:pt x="7184" y="4632"/>
                    <a:pt x="7184" y="5671"/>
                  </a:cubicBezTo>
                  <a:cubicBezTo>
                    <a:pt x="7184" y="6207"/>
                    <a:pt x="6995" y="6711"/>
                    <a:pt x="6585" y="7120"/>
                  </a:cubicBezTo>
                  <a:cubicBezTo>
                    <a:pt x="6428" y="7120"/>
                    <a:pt x="6270" y="7089"/>
                    <a:pt x="6081" y="7089"/>
                  </a:cubicBezTo>
                  <a:cubicBezTo>
                    <a:pt x="5798" y="7089"/>
                    <a:pt x="5514" y="7120"/>
                    <a:pt x="5294" y="7152"/>
                  </a:cubicBezTo>
                  <a:cubicBezTo>
                    <a:pt x="5577" y="6711"/>
                    <a:pt x="5735" y="6175"/>
                    <a:pt x="5735" y="5608"/>
                  </a:cubicBezTo>
                  <a:cubicBezTo>
                    <a:pt x="5735" y="5104"/>
                    <a:pt x="5577" y="4569"/>
                    <a:pt x="5294" y="4128"/>
                  </a:cubicBezTo>
                  <a:lnTo>
                    <a:pt x="5294" y="4128"/>
                  </a:lnTo>
                  <a:cubicBezTo>
                    <a:pt x="5420" y="4159"/>
                    <a:pt x="5577" y="4191"/>
                    <a:pt x="5735" y="4191"/>
                  </a:cubicBezTo>
                  <a:cubicBezTo>
                    <a:pt x="5792" y="4205"/>
                    <a:pt x="5848" y="4211"/>
                    <a:pt x="5905" y="4211"/>
                  </a:cubicBezTo>
                  <a:cubicBezTo>
                    <a:pt x="6099" y="4211"/>
                    <a:pt x="6289" y="4138"/>
                    <a:pt x="6459" y="4065"/>
                  </a:cubicBezTo>
                  <a:close/>
                  <a:moveTo>
                    <a:pt x="8602" y="4065"/>
                  </a:moveTo>
                  <a:cubicBezTo>
                    <a:pt x="8633" y="4128"/>
                    <a:pt x="9295" y="4632"/>
                    <a:pt x="9295" y="5671"/>
                  </a:cubicBezTo>
                  <a:cubicBezTo>
                    <a:pt x="9295" y="6459"/>
                    <a:pt x="9043" y="7404"/>
                    <a:pt x="8287" y="7751"/>
                  </a:cubicBezTo>
                  <a:cubicBezTo>
                    <a:pt x="8003" y="7562"/>
                    <a:pt x="7688" y="7404"/>
                    <a:pt x="7373" y="7310"/>
                  </a:cubicBezTo>
                  <a:cubicBezTo>
                    <a:pt x="7751" y="6837"/>
                    <a:pt x="7909" y="6270"/>
                    <a:pt x="7909" y="5671"/>
                  </a:cubicBezTo>
                  <a:cubicBezTo>
                    <a:pt x="7877" y="5167"/>
                    <a:pt x="7720" y="4632"/>
                    <a:pt x="7468" y="4159"/>
                  </a:cubicBezTo>
                  <a:lnTo>
                    <a:pt x="7468" y="4159"/>
                  </a:lnTo>
                  <a:cubicBezTo>
                    <a:pt x="7619" y="4209"/>
                    <a:pt x="7775" y="4235"/>
                    <a:pt x="7930" y="4235"/>
                  </a:cubicBezTo>
                  <a:cubicBezTo>
                    <a:pt x="8163" y="4235"/>
                    <a:pt x="8394" y="4178"/>
                    <a:pt x="8602" y="4065"/>
                  </a:cubicBezTo>
                  <a:close/>
                  <a:moveTo>
                    <a:pt x="9894" y="2710"/>
                  </a:moveTo>
                  <a:cubicBezTo>
                    <a:pt x="10870" y="3371"/>
                    <a:pt x="11469" y="4474"/>
                    <a:pt x="11469" y="5671"/>
                  </a:cubicBezTo>
                  <a:cubicBezTo>
                    <a:pt x="11469" y="7367"/>
                    <a:pt x="9957" y="9278"/>
                    <a:pt x="8454" y="9278"/>
                  </a:cubicBezTo>
                  <a:cubicBezTo>
                    <a:pt x="8141" y="9278"/>
                    <a:pt x="7829" y="9195"/>
                    <a:pt x="7531" y="9011"/>
                  </a:cubicBezTo>
                  <a:lnTo>
                    <a:pt x="7405" y="8948"/>
                  </a:lnTo>
                  <a:cubicBezTo>
                    <a:pt x="7011" y="8648"/>
                    <a:pt x="6562" y="8499"/>
                    <a:pt x="6117" y="8499"/>
                  </a:cubicBezTo>
                  <a:cubicBezTo>
                    <a:pt x="5672" y="8499"/>
                    <a:pt x="5231" y="8648"/>
                    <a:pt x="4853" y="8948"/>
                  </a:cubicBezTo>
                  <a:cubicBezTo>
                    <a:pt x="4601" y="9137"/>
                    <a:pt x="4309" y="9231"/>
                    <a:pt x="4018" y="9231"/>
                  </a:cubicBezTo>
                  <a:cubicBezTo>
                    <a:pt x="3726" y="9231"/>
                    <a:pt x="3435" y="9137"/>
                    <a:pt x="3183" y="8948"/>
                  </a:cubicBezTo>
                  <a:cubicBezTo>
                    <a:pt x="2789" y="8622"/>
                    <a:pt x="2329" y="8464"/>
                    <a:pt x="1870" y="8464"/>
                  </a:cubicBezTo>
                  <a:cubicBezTo>
                    <a:pt x="1486" y="8464"/>
                    <a:pt x="1102" y="8575"/>
                    <a:pt x="757" y="8790"/>
                  </a:cubicBezTo>
                  <a:lnTo>
                    <a:pt x="757" y="7940"/>
                  </a:lnTo>
                  <a:cubicBezTo>
                    <a:pt x="1080" y="7815"/>
                    <a:pt x="1423" y="7752"/>
                    <a:pt x="1769" y="7752"/>
                  </a:cubicBezTo>
                  <a:cubicBezTo>
                    <a:pt x="2469" y="7752"/>
                    <a:pt x="3180" y="8011"/>
                    <a:pt x="3750" y="8538"/>
                  </a:cubicBezTo>
                  <a:cubicBezTo>
                    <a:pt x="3813" y="8601"/>
                    <a:pt x="3900" y="8633"/>
                    <a:pt x="3986" y="8633"/>
                  </a:cubicBezTo>
                  <a:cubicBezTo>
                    <a:pt x="4073" y="8633"/>
                    <a:pt x="4160" y="8601"/>
                    <a:pt x="4223" y="8538"/>
                  </a:cubicBezTo>
                  <a:cubicBezTo>
                    <a:pt x="4724" y="8069"/>
                    <a:pt x="5416" y="7833"/>
                    <a:pt x="6124" y="7833"/>
                  </a:cubicBezTo>
                  <a:cubicBezTo>
                    <a:pt x="6796" y="7833"/>
                    <a:pt x="7483" y="8046"/>
                    <a:pt x="8035" y="8475"/>
                  </a:cubicBezTo>
                  <a:cubicBezTo>
                    <a:pt x="8090" y="8512"/>
                    <a:pt x="8167" y="8527"/>
                    <a:pt x="8234" y="8527"/>
                  </a:cubicBezTo>
                  <a:cubicBezTo>
                    <a:pt x="8281" y="8527"/>
                    <a:pt x="8324" y="8520"/>
                    <a:pt x="8350" y="8507"/>
                  </a:cubicBezTo>
                  <a:cubicBezTo>
                    <a:pt x="8917" y="8318"/>
                    <a:pt x="9358" y="7908"/>
                    <a:pt x="9673" y="7373"/>
                  </a:cubicBezTo>
                  <a:cubicBezTo>
                    <a:pt x="9894" y="6900"/>
                    <a:pt x="10051" y="6301"/>
                    <a:pt x="10051" y="5671"/>
                  </a:cubicBezTo>
                  <a:cubicBezTo>
                    <a:pt x="10051" y="4884"/>
                    <a:pt x="9736" y="4128"/>
                    <a:pt x="9137" y="3560"/>
                  </a:cubicBezTo>
                  <a:lnTo>
                    <a:pt x="9106" y="3529"/>
                  </a:lnTo>
                  <a:cubicBezTo>
                    <a:pt x="9137" y="3497"/>
                    <a:pt x="9200" y="3403"/>
                    <a:pt x="9200" y="3371"/>
                  </a:cubicBezTo>
                  <a:cubicBezTo>
                    <a:pt x="9515" y="3214"/>
                    <a:pt x="9736" y="2993"/>
                    <a:pt x="9894" y="2710"/>
                  </a:cubicBezTo>
                  <a:close/>
                  <a:moveTo>
                    <a:pt x="11500" y="8034"/>
                  </a:moveTo>
                  <a:lnTo>
                    <a:pt x="11500" y="11468"/>
                  </a:lnTo>
                  <a:lnTo>
                    <a:pt x="726" y="11468"/>
                  </a:lnTo>
                  <a:lnTo>
                    <a:pt x="726" y="11405"/>
                  </a:lnTo>
                  <a:lnTo>
                    <a:pt x="726" y="9672"/>
                  </a:lnTo>
                  <a:cubicBezTo>
                    <a:pt x="789" y="9641"/>
                    <a:pt x="883" y="9578"/>
                    <a:pt x="946" y="9515"/>
                  </a:cubicBezTo>
                  <a:cubicBezTo>
                    <a:pt x="1214" y="9326"/>
                    <a:pt x="1521" y="9231"/>
                    <a:pt x="1824" y="9231"/>
                  </a:cubicBezTo>
                  <a:cubicBezTo>
                    <a:pt x="2128" y="9231"/>
                    <a:pt x="2427" y="9326"/>
                    <a:pt x="2679" y="9515"/>
                  </a:cubicBezTo>
                  <a:cubicBezTo>
                    <a:pt x="3073" y="9830"/>
                    <a:pt x="3530" y="9987"/>
                    <a:pt x="3986" y="9987"/>
                  </a:cubicBezTo>
                  <a:cubicBezTo>
                    <a:pt x="4443" y="9987"/>
                    <a:pt x="4900" y="9830"/>
                    <a:pt x="5294" y="9515"/>
                  </a:cubicBezTo>
                  <a:cubicBezTo>
                    <a:pt x="5546" y="9326"/>
                    <a:pt x="5837" y="9231"/>
                    <a:pt x="6133" y="9231"/>
                  </a:cubicBezTo>
                  <a:cubicBezTo>
                    <a:pt x="6428" y="9231"/>
                    <a:pt x="6727" y="9326"/>
                    <a:pt x="6995" y="9515"/>
                  </a:cubicBezTo>
                  <a:cubicBezTo>
                    <a:pt x="7027" y="9515"/>
                    <a:pt x="7027" y="9578"/>
                    <a:pt x="7184" y="9641"/>
                  </a:cubicBezTo>
                  <a:cubicBezTo>
                    <a:pt x="7562" y="9893"/>
                    <a:pt x="8003" y="9987"/>
                    <a:pt x="8476" y="9987"/>
                  </a:cubicBezTo>
                  <a:cubicBezTo>
                    <a:pt x="9704" y="9987"/>
                    <a:pt x="10839" y="9105"/>
                    <a:pt x="11500" y="8034"/>
                  </a:cubicBezTo>
                  <a:close/>
                  <a:moveTo>
                    <a:pt x="3624" y="0"/>
                  </a:moveTo>
                  <a:cubicBezTo>
                    <a:pt x="3088" y="0"/>
                    <a:pt x="2584" y="315"/>
                    <a:pt x="2332" y="820"/>
                  </a:cubicBezTo>
                  <a:cubicBezTo>
                    <a:pt x="1828" y="1040"/>
                    <a:pt x="1513" y="1544"/>
                    <a:pt x="1513" y="2111"/>
                  </a:cubicBezTo>
                  <a:cubicBezTo>
                    <a:pt x="1513" y="2678"/>
                    <a:pt x="1828" y="3182"/>
                    <a:pt x="2332" y="3434"/>
                  </a:cubicBezTo>
                  <a:cubicBezTo>
                    <a:pt x="2584" y="3939"/>
                    <a:pt x="3057" y="4254"/>
                    <a:pt x="3624" y="4254"/>
                  </a:cubicBezTo>
                  <a:cubicBezTo>
                    <a:pt x="3876" y="4254"/>
                    <a:pt x="4160" y="4159"/>
                    <a:pt x="4349" y="4065"/>
                  </a:cubicBezTo>
                  <a:cubicBezTo>
                    <a:pt x="4380" y="4128"/>
                    <a:pt x="5042" y="4632"/>
                    <a:pt x="5042" y="5671"/>
                  </a:cubicBezTo>
                  <a:cubicBezTo>
                    <a:pt x="5042" y="6522"/>
                    <a:pt x="4538" y="7278"/>
                    <a:pt x="3750" y="7625"/>
                  </a:cubicBezTo>
                  <a:cubicBezTo>
                    <a:pt x="3164" y="7245"/>
                    <a:pt x="2502" y="7045"/>
                    <a:pt x="1837" y="7045"/>
                  </a:cubicBezTo>
                  <a:cubicBezTo>
                    <a:pt x="1287" y="7045"/>
                    <a:pt x="735" y="7182"/>
                    <a:pt x="221" y="7467"/>
                  </a:cubicBezTo>
                  <a:cubicBezTo>
                    <a:pt x="95" y="7562"/>
                    <a:pt x="1" y="7688"/>
                    <a:pt x="1" y="7782"/>
                  </a:cubicBezTo>
                  <a:lnTo>
                    <a:pt x="1" y="11815"/>
                  </a:lnTo>
                  <a:cubicBezTo>
                    <a:pt x="1" y="12004"/>
                    <a:pt x="158" y="12161"/>
                    <a:pt x="379" y="12161"/>
                  </a:cubicBezTo>
                  <a:lnTo>
                    <a:pt x="11815" y="12161"/>
                  </a:lnTo>
                  <a:cubicBezTo>
                    <a:pt x="12036" y="12161"/>
                    <a:pt x="12193" y="12004"/>
                    <a:pt x="12193" y="11815"/>
                  </a:cubicBezTo>
                  <a:lnTo>
                    <a:pt x="12193" y="5671"/>
                  </a:lnTo>
                  <a:cubicBezTo>
                    <a:pt x="12193" y="4128"/>
                    <a:pt x="11343" y="2710"/>
                    <a:pt x="10020" y="1954"/>
                  </a:cubicBezTo>
                  <a:cubicBezTo>
                    <a:pt x="9988" y="1450"/>
                    <a:pt x="9673" y="1009"/>
                    <a:pt x="9200" y="820"/>
                  </a:cubicBezTo>
                  <a:cubicBezTo>
                    <a:pt x="8948" y="315"/>
                    <a:pt x="8476" y="0"/>
                    <a:pt x="7909" y="0"/>
                  </a:cubicBezTo>
                  <a:cubicBezTo>
                    <a:pt x="7468" y="0"/>
                    <a:pt x="7121" y="189"/>
                    <a:pt x="6838" y="473"/>
                  </a:cubicBezTo>
                  <a:cubicBezTo>
                    <a:pt x="6554" y="158"/>
                    <a:pt x="6144" y="0"/>
                    <a:pt x="5766" y="0"/>
                  </a:cubicBezTo>
                  <a:cubicBezTo>
                    <a:pt x="5357" y="0"/>
                    <a:pt x="4979" y="189"/>
                    <a:pt x="4695" y="473"/>
                  </a:cubicBezTo>
                  <a:cubicBezTo>
                    <a:pt x="4412" y="158"/>
                    <a:pt x="4034" y="0"/>
                    <a:pt x="3624"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1131" name="Google Shape;11131;p114"/>
            <p:cNvSpPr/>
            <p:nvPr/>
          </p:nvSpPr>
          <p:spPr>
            <a:xfrm>
              <a:off x="-16423275" y="2907500"/>
              <a:ext cx="35450" cy="35475"/>
            </a:xfrm>
            <a:custGeom>
              <a:avLst/>
              <a:gdLst/>
              <a:ahLst/>
              <a:cxnLst/>
              <a:rect l="l" t="t" r="r" b="b"/>
              <a:pathLst>
                <a:path w="1418" h="1419" extrusionOk="0">
                  <a:moveTo>
                    <a:pt x="725" y="1"/>
                  </a:moveTo>
                  <a:cubicBezTo>
                    <a:pt x="315" y="1"/>
                    <a:pt x="0" y="316"/>
                    <a:pt x="0" y="694"/>
                  </a:cubicBezTo>
                  <a:cubicBezTo>
                    <a:pt x="0" y="1103"/>
                    <a:pt x="315" y="1418"/>
                    <a:pt x="725" y="1418"/>
                  </a:cubicBezTo>
                  <a:cubicBezTo>
                    <a:pt x="1103" y="1418"/>
                    <a:pt x="1418" y="1103"/>
                    <a:pt x="1418" y="694"/>
                  </a:cubicBezTo>
                  <a:cubicBezTo>
                    <a:pt x="1418" y="316"/>
                    <a:pt x="1103" y="1"/>
                    <a:pt x="725"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sp>
        <p:nvSpPr>
          <p:cNvPr id="11132" name="Google Shape;11132;p114"/>
          <p:cNvSpPr/>
          <p:nvPr/>
        </p:nvSpPr>
        <p:spPr>
          <a:xfrm>
            <a:off x="4276881" y="4596255"/>
            <a:ext cx="628576" cy="626971"/>
          </a:xfrm>
          <a:custGeom>
            <a:avLst/>
            <a:gdLst/>
            <a:ahLst/>
            <a:cxnLst/>
            <a:rect l="l" t="t" r="r" b="b"/>
            <a:pathLst>
              <a:path w="12130" h="12099" extrusionOk="0">
                <a:moveTo>
                  <a:pt x="6018" y="1072"/>
                </a:moveTo>
                <a:cubicBezTo>
                  <a:pt x="6396" y="1923"/>
                  <a:pt x="7089" y="3624"/>
                  <a:pt x="7089" y="5577"/>
                </a:cubicBezTo>
                <a:cubicBezTo>
                  <a:pt x="6869" y="6018"/>
                  <a:pt x="6680" y="6459"/>
                  <a:pt x="6522" y="6932"/>
                </a:cubicBezTo>
                <a:cubicBezTo>
                  <a:pt x="6333" y="7467"/>
                  <a:pt x="6176" y="8035"/>
                  <a:pt x="6018" y="8633"/>
                </a:cubicBezTo>
                <a:cubicBezTo>
                  <a:pt x="5892" y="8035"/>
                  <a:pt x="5703" y="7467"/>
                  <a:pt x="5514" y="6932"/>
                </a:cubicBezTo>
                <a:cubicBezTo>
                  <a:pt x="5356" y="6459"/>
                  <a:pt x="5136" y="6018"/>
                  <a:pt x="4947" y="5577"/>
                </a:cubicBezTo>
                <a:cubicBezTo>
                  <a:pt x="4978" y="3655"/>
                  <a:pt x="5608" y="1923"/>
                  <a:pt x="6018" y="1072"/>
                </a:cubicBezTo>
                <a:close/>
                <a:moveTo>
                  <a:pt x="2552" y="3183"/>
                </a:moveTo>
                <a:cubicBezTo>
                  <a:pt x="4285" y="5199"/>
                  <a:pt x="5356" y="7720"/>
                  <a:pt x="5608" y="10366"/>
                </a:cubicBezTo>
                <a:cubicBezTo>
                  <a:pt x="4947" y="9452"/>
                  <a:pt x="4411" y="9043"/>
                  <a:pt x="3529" y="8381"/>
                </a:cubicBezTo>
                <a:cubicBezTo>
                  <a:pt x="3529" y="7152"/>
                  <a:pt x="3340" y="5955"/>
                  <a:pt x="3025" y="4790"/>
                </a:cubicBezTo>
                <a:lnTo>
                  <a:pt x="2552" y="3183"/>
                </a:lnTo>
                <a:close/>
                <a:moveTo>
                  <a:pt x="9515" y="3183"/>
                </a:moveTo>
                <a:lnTo>
                  <a:pt x="9043" y="4790"/>
                </a:lnTo>
                <a:cubicBezTo>
                  <a:pt x="8727" y="5987"/>
                  <a:pt x="8538" y="7152"/>
                  <a:pt x="8538" y="8381"/>
                </a:cubicBezTo>
                <a:cubicBezTo>
                  <a:pt x="7719" y="9043"/>
                  <a:pt x="7152" y="9452"/>
                  <a:pt x="6459" y="10366"/>
                </a:cubicBezTo>
                <a:cubicBezTo>
                  <a:pt x="6711" y="7720"/>
                  <a:pt x="7782" y="5199"/>
                  <a:pt x="9515" y="3183"/>
                </a:cubicBezTo>
                <a:close/>
                <a:moveTo>
                  <a:pt x="662" y="5703"/>
                </a:moveTo>
                <a:cubicBezTo>
                  <a:pt x="1166" y="6995"/>
                  <a:pt x="2017" y="8066"/>
                  <a:pt x="3025" y="8885"/>
                </a:cubicBezTo>
                <a:cubicBezTo>
                  <a:pt x="3970" y="9641"/>
                  <a:pt x="4663" y="10145"/>
                  <a:pt x="5419" y="11374"/>
                </a:cubicBezTo>
                <a:cubicBezTo>
                  <a:pt x="2584" y="11374"/>
                  <a:pt x="662" y="9169"/>
                  <a:pt x="662" y="6680"/>
                </a:cubicBezTo>
                <a:lnTo>
                  <a:pt x="662" y="5703"/>
                </a:lnTo>
                <a:close/>
                <a:moveTo>
                  <a:pt x="11405" y="5703"/>
                </a:moveTo>
                <a:lnTo>
                  <a:pt x="11405" y="6680"/>
                </a:lnTo>
                <a:cubicBezTo>
                  <a:pt x="11405" y="9169"/>
                  <a:pt x="9484" y="11374"/>
                  <a:pt x="6648" y="11374"/>
                </a:cubicBezTo>
                <a:cubicBezTo>
                  <a:pt x="7436" y="10051"/>
                  <a:pt x="8192" y="9578"/>
                  <a:pt x="9137" y="8822"/>
                </a:cubicBezTo>
                <a:cubicBezTo>
                  <a:pt x="10145" y="8003"/>
                  <a:pt x="10901" y="6963"/>
                  <a:pt x="11405" y="5703"/>
                </a:cubicBezTo>
                <a:close/>
                <a:moveTo>
                  <a:pt x="6050" y="1"/>
                </a:moveTo>
                <a:cubicBezTo>
                  <a:pt x="5924" y="1"/>
                  <a:pt x="5829" y="64"/>
                  <a:pt x="5734" y="158"/>
                </a:cubicBezTo>
                <a:cubicBezTo>
                  <a:pt x="5734" y="190"/>
                  <a:pt x="5356" y="788"/>
                  <a:pt x="4978" y="1765"/>
                </a:cubicBezTo>
                <a:cubicBezTo>
                  <a:pt x="4758" y="2427"/>
                  <a:pt x="4474" y="3372"/>
                  <a:pt x="4317" y="4443"/>
                </a:cubicBezTo>
                <a:cubicBezTo>
                  <a:pt x="3939" y="3813"/>
                  <a:pt x="3529" y="3277"/>
                  <a:pt x="3057" y="2710"/>
                </a:cubicBezTo>
                <a:lnTo>
                  <a:pt x="2048" y="1482"/>
                </a:lnTo>
                <a:cubicBezTo>
                  <a:pt x="1966" y="1420"/>
                  <a:pt x="1871" y="1372"/>
                  <a:pt x="1771" y="1372"/>
                </a:cubicBezTo>
                <a:cubicBezTo>
                  <a:pt x="1717" y="1372"/>
                  <a:pt x="1662" y="1386"/>
                  <a:pt x="1607" y="1419"/>
                </a:cubicBezTo>
                <a:cubicBezTo>
                  <a:pt x="1450" y="1482"/>
                  <a:pt x="1355" y="1639"/>
                  <a:pt x="1450" y="1797"/>
                </a:cubicBezTo>
                <a:lnTo>
                  <a:pt x="2363" y="5010"/>
                </a:lnTo>
                <a:cubicBezTo>
                  <a:pt x="2584" y="5892"/>
                  <a:pt x="2773" y="6806"/>
                  <a:pt x="2836" y="7720"/>
                </a:cubicBezTo>
                <a:cubicBezTo>
                  <a:pt x="2206" y="7089"/>
                  <a:pt x="1733" y="6302"/>
                  <a:pt x="1355" y="5514"/>
                </a:cubicBezTo>
                <a:lnTo>
                  <a:pt x="662" y="3750"/>
                </a:lnTo>
                <a:cubicBezTo>
                  <a:pt x="568" y="3592"/>
                  <a:pt x="410" y="3498"/>
                  <a:pt x="253" y="3498"/>
                </a:cubicBezTo>
                <a:cubicBezTo>
                  <a:pt x="95" y="3529"/>
                  <a:pt x="1" y="3687"/>
                  <a:pt x="1" y="3844"/>
                </a:cubicBezTo>
                <a:lnTo>
                  <a:pt x="1" y="6680"/>
                </a:lnTo>
                <a:cubicBezTo>
                  <a:pt x="1" y="8098"/>
                  <a:pt x="536" y="9484"/>
                  <a:pt x="1576" y="10523"/>
                </a:cubicBezTo>
                <a:cubicBezTo>
                  <a:pt x="2584" y="11532"/>
                  <a:pt x="3939" y="12099"/>
                  <a:pt x="5356" y="12099"/>
                </a:cubicBezTo>
                <a:lnTo>
                  <a:pt x="6774" y="12099"/>
                </a:lnTo>
                <a:cubicBezTo>
                  <a:pt x="8192" y="12099"/>
                  <a:pt x="9547" y="11532"/>
                  <a:pt x="10555" y="10523"/>
                </a:cubicBezTo>
                <a:cubicBezTo>
                  <a:pt x="11563" y="9484"/>
                  <a:pt x="12130" y="8161"/>
                  <a:pt x="12130" y="6680"/>
                </a:cubicBezTo>
                <a:lnTo>
                  <a:pt x="12130" y="3844"/>
                </a:lnTo>
                <a:cubicBezTo>
                  <a:pt x="12130" y="3687"/>
                  <a:pt x="12004" y="3529"/>
                  <a:pt x="11846" y="3498"/>
                </a:cubicBezTo>
                <a:cubicBezTo>
                  <a:pt x="11821" y="3493"/>
                  <a:pt x="11794" y="3490"/>
                  <a:pt x="11768" y="3490"/>
                </a:cubicBezTo>
                <a:cubicBezTo>
                  <a:pt x="11631" y="3490"/>
                  <a:pt x="11490" y="3560"/>
                  <a:pt x="11437" y="3718"/>
                </a:cubicBezTo>
                <a:lnTo>
                  <a:pt x="10744" y="5514"/>
                </a:lnTo>
                <a:cubicBezTo>
                  <a:pt x="10429" y="6333"/>
                  <a:pt x="9925" y="7089"/>
                  <a:pt x="9295" y="7720"/>
                </a:cubicBezTo>
                <a:cubicBezTo>
                  <a:pt x="9358" y="6806"/>
                  <a:pt x="9515" y="5861"/>
                  <a:pt x="9767" y="4979"/>
                </a:cubicBezTo>
                <a:lnTo>
                  <a:pt x="10649" y="1797"/>
                </a:lnTo>
                <a:cubicBezTo>
                  <a:pt x="10712" y="1639"/>
                  <a:pt x="10618" y="1482"/>
                  <a:pt x="10492" y="1419"/>
                </a:cubicBezTo>
                <a:cubicBezTo>
                  <a:pt x="10454" y="1381"/>
                  <a:pt x="10398" y="1364"/>
                  <a:pt x="10337" y="1364"/>
                </a:cubicBezTo>
                <a:cubicBezTo>
                  <a:pt x="10243" y="1364"/>
                  <a:pt x="10139" y="1405"/>
                  <a:pt x="10082" y="1482"/>
                </a:cubicBezTo>
                <a:lnTo>
                  <a:pt x="9043" y="2710"/>
                </a:lnTo>
                <a:cubicBezTo>
                  <a:pt x="8570" y="3277"/>
                  <a:pt x="8129" y="3844"/>
                  <a:pt x="7782" y="4443"/>
                </a:cubicBezTo>
                <a:cubicBezTo>
                  <a:pt x="7656" y="3372"/>
                  <a:pt x="7404" y="2427"/>
                  <a:pt x="7121" y="1765"/>
                </a:cubicBezTo>
                <a:cubicBezTo>
                  <a:pt x="6774" y="788"/>
                  <a:pt x="6396" y="158"/>
                  <a:pt x="6365" y="158"/>
                </a:cubicBezTo>
                <a:cubicBezTo>
                  <a:pt x="6302" y="32"/>
                  <a:pt x="6176" y="1"/>
                  <a:pt x="6050"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1133" name="Google Shape;11133;p114"/>
          <p:cNvSpPr/>
          <p:nvPr/>
        </p:nvSpPr>
        <p:spPr>
          <a:xfrm>
            <a:off x="4232053" y="2275168"/>
            <a:ext cx="633500" cy="584115"/>
          </a:xfrm>
          <a:custGeom>
            <a:avLst/>
            <a:gdLst/>
            <a:ahLst/>
            <a:cxnLst/>
            <a:rect l="l" t="t" r="r" b="b"/>
            <a:pathLst>
              <a:path w="12225" h="11272" extrusionOk="0">
                <a:moveTo>
                  <a:pt x="2490" y="1190"/>
                </a:moveTo>
                <a:lnTo>
                  <a:pt x="4065" y="4372"/>
                </a:lnTo>
                <a:lnTo>
                  <a:pt x="4159" y="4624"/>
                </a:lnTo>
                <a:lnTo>
                  <a:pt x="3183" y="6577"/>
                </a:lnTo>
                <a:cubicBezTo>
                  <a:pt x="3151" y="6671"/>
                  <a:pt x="3120" y="6766"/>
                  <a:pt x="3057" y="6892"/>
                </a:cubicBezTo>
                <a:cubicBezTo>
                  <a:pt x="2868" y="6923"/>
                  <a:pt x="2679" y="6986"/>
                  <a:pt x="2490" y="6986"/>
                </a:cubicBezTo>
                <a:cubicBezTo>
                  <a:pt x="1482" y="6986"/>
                  <a:pt x="662" y="6199"/>
                  <a:pt x="662" y="5191"/>
                </a:cubicBezTo>
                <a:cubicBezTo>
                  <a:pt x="662" y="4939"/>
                  <a:pt x="757" y="4655"/>
                  <a:pt x="851" y="4372"/>
                </a:cubicBezTo>
                <a:cubicBezTo>
                  <a:pt x="851" y="4372"/>
                  <a:pt x="2269" y="1568"/>
                  <a:pt x="2490" y="1190"/>
                </a:cubicBezTo>
                <a:close/>
                <a:moveTo>
                  <a:pt x="9610" y="1190"/>
                </a:moveTo>
                <a:lnTo>
                  <a:pt x="11217" y="4372"/>
                </a:lnTo>
                <a:cubicBezTo>
                  <a:pt x="11343" y="4655"/>
                  <a:pt x="11406" y="4876"/>
                  <a:pt x="11406" y="5191"/>
                </a:cubicBezTo>
                <a:cubicBezTo>
                  <a:pt x="11406" y="6136"/>
                  <a:pt x="10618" y="6986"/>
                  <a:pt x="9610" y="6986"/>
                </a:cubicBezTo>
                <a:cubicBezTo>
                  <a:pt x="9421" y="6986"/>
                  <a:pt x="9200" y="6923"/>
                  <a:pt x="9011" y="6892"/>
                </a:cubicBezTo>
                <a:cubicBezTo>
                  <a:pt x="8980" y="6766"/>
                  <a:pt x="8948" y="6703"/>
                  <a:pt x="8885" y="6577"/>
                </a:cubicBezTo>
                <a:lnTo>
                  <a:pt x="7909" y="4624"/>
                </a:lnTo>
                <a:lnTo>
                  <a:pt x="8035" y="4372"/>
                </a:lnTo>
                <a:cubicBezTo>
                  <a:pt x="8035" y="4372"/>
                  <a:pt x="9452" y="1536"/>
                  <a:pt x="9610" y="1190"/>
                </a:cubicBezTo>
                <a:close/>
                <a:moveTo>
                  <a:pt x="6050" y="2387"/>
                </a:moveTo>
                <a:lnTo>
                  <a:pt x="8255" y="6892"/>
                </a:lnTo>
                <a:cubicBezTo>
                  <a:pt x="8476" y="7238"/>
                  <a:pt x="8539" y="7648"/>
                  <a:pt x="8539" y="8026"/>
                </a:cubicBezTo>
                <a:cubicBezTo>
                  <a:pt x="8539" y="9412"/>
                  <a:pt x="7436" y="10515"/>
                  <a:pt x="6050" y="10515"/>
                </a:cubicBezTo>
                <a:cubicBezTo>
                  <a:pt x="4695" y="10515"/>
                  <a:pt x="3592" y="9412"/>
                  <a:pt x="3592" y="8026"/>
                </a:cubicBezTo>
                <a:cubicBezTo>
                  <a:pt x="3592" y="7648"/>
                  <a:pt x="3655" y="7238"/>
                  <a:pt x="3844" y="6892"/>
                </a:cubicBezTo>
                <a:lnTo>
                  <a:pt x="6050" y="2387"/>
                </a:lnTo>
                <a:close/>
                <a:moveTo>
                  <a:pt x="2521" y="0"/>
                </a:moveTo>
                <a:cubicBezTo>
                  <a:pt x="2395" y="0"/>
                  <a:pt x="2269" y="71"/>
                  <a:pt x="2206" y="213"/>
                </a:cubicBezTo>
                <a:cubicBezTo>
                  <a:pt x="2112" y="307"/>
                  <a:pt x="284" y="4025"/>
                  <a:pt x="284" y="4025"/>
                </a:cubicBezTo>
                <a:cubicBezTo>
                  <a:pt x="64" y="4372"/>
                  <a:pt x="1" y="4781"/>
                  <a:pt x="1" y="5159"/>
                </a:cubicBezTo>
                <a:cubicBezTo>
                  <a:pt x="1" y="5821"/>
                  <a:pt x="284" y="6451"/>
                  <a:pt x="757" y="6923"/>
                </a:cubicBezTo>
                <a:cubicBezTo>
                  <a:pt x="1230" y="7396"/>
                  <a:pt x="1860" y="7680"/>
                  <a:pt x="2521" y="7680"/>
                </a:cubicBezTo>
                <a:cubicBezTo>
                  <a:pt x="2647" y="7680"/>
                  <a:pt x="2742" y="7680"/>
                  <a:pt x="2899" y="7648"/>
                </a:cubicBezTo>
                <a:lnTo>
                  <a:pt x="2899" y="7648"/>
                </a:lnTo>
                <a:cubicBezTo>
                  <a:pt x="2899" y="7774"/>
                  <a:pt x="2868" y="7932"/>
                  <a:pt x="2868" y="8026"/>
                </a:cubicBezTo>
                <a:cubicBezTo>
                  <a:pt x="2868" y="9822"/>
                  <a:pt x="4348" y="11271"/>
                  <a:pt x="6113" y="11271"/>
                </a:cubicBezTo>
                <a:cubicBezTo>
                  <a:pt x="7877" y="11271"/>
                  <a:pt x="9326" y="9822"/>
                  <a:pt x="9326" y="8026"/>
                </a:cubicBezTo>
                <a:cubicBezTo>
                  <a:pt x="9326" y="7932"/>
                  <a:pt x="9326" y="7774"/>
                  <a:pt x="9295" y="7648"/>
                </a:cubicBezTo>
                <a:cubicBezTo>
                  <a:pt x="9421" y="7648"/>
                  <a:pt x="9547" y="7680"/>
                  <a:pt x="9704" y="7680"/>
                </a:cubicBezTo>
                <a:cubicBezTo>
                  <a:pt x="11059" y="7680"/>
                  <a:pt x="12225" y="6577"/>
                  <a:pt x="12225" y="5191"/>
                </a:cubicBezTo>
                <a:cubicBezTo>
                  <a:pt x="12130" y="4750"/>
                  <a:pt x="12036" y="4372"/>
                  <a:pt x="11847" y="4025"/>
                </a:cubicBezTo>
                <a:lnTo>
                  <a:pt x="9925" y="213"/>
                </a:lnTo>
                <a:cubicBezTo>
                  <a:pt x="9862" y="71"/>
                  <a:pt x="9736" y="0"/>
                  <a:pt x="9610" y="0"/>
                </a:cubicBezTo>
                <a:cubicBezTo>
                  <a:pt x="9484" y="0"/>
                  <a:pt x="9358" y="71"/>
                  <a:pt x="9295" y="213"/>
                </a:cubicBezTo>
                <a:cubicBezTo>
                  <a:pt x="8948" y="906"/>
                  <a:pt x="7530" y="3773"/>
                  <a:pt x="7530" y="3773"/>
                </a:cubicBezTo>
                <a:lnTo>
                  <a:pt x="6365" y="1473"/>
                </a:lnTo>
                <a:cubicBezTo>
                  <a:pt x="6318" y="1331"/>
                  <a:pt x="6192" y="1260"/>
                  <a:pt x="6062" y="1260"/>
                </a:cubicBezTo>
                <a:cubicBezTo>
                  <a:pt x="5932" y="1260"/>
                  <a:pt x="5798" y="1331"/>
                  <a:pt x="5735" y="1473"/>
                </a:cubicBezTo>
                <a:lnTo>
                  <a:pt x="4601" y="3773"/>
                </a:lnTo>
                <a:lnTo>
                  <a:pt x="2836" y="213"/>
                </a:lnTo>
                <a:cubicBezTo>
                  <a:pt x="2773" y="71"/>
                  <a:pt x="2647" y="0"/>
                  <a:pt x="2521"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nvGrpSpPr>
          <p:cNvPr id="11134" name="Google Shape;11134;p114"/>
          <p:cNvGrpSpPr/>
          <p:nvPr/>
        </p:nvGrpSpPr>
        <p:grpSpPr>
          <a:xfrm>
            <a:off x="4229557" y="3035125"/>
            <a:ext cx="641687" cy="626556"/>
            <a:chOff x="-19802200" y="2416025"/>
            <a:chExt cx="309575" cy="302275"/>
          </a:xfrm>
        </p:grpSpPr>
        <p:sp>
          <p:nvSpPr>
            <p:cNvPr id="11135" name="Google Shape;11135;p114"/>
            <p:cNvSpPr/>
            <p:nvPr/>
          </p:nvSpPr>
          <p:spPr>
            <a:xfrm>
              <a:off x="-19602925" y="2575125"/>
              <a:ext cx="17350" cy="18150"/>
            </a:xfrm>
            <a:custGeom>
              <a:avLst/>
              <a:gdLst/>
              <a:ahLst/>
              <a:cxnLst/>
              <a:rect l="l" t="t" r="r" b="b"/>
              <a:pathLst>
                <a:path w="694" h="726" extrusionOk="0">
                  <a:moveTo>
                    <a:pt x="347" y="1"/>
                  </a:moveTo>
                  <a:cubicBezTo>
                    <a:pt x="158" y="1"/>
                    <a:pt x="1" y="190"/>
                    <a:pt x="1" y="379"/>
                  </a:cubicBezTo>
                  <a:cubicBezTo>
                    <a:pt x="1" y="568"/>
                    <a:pt x="158" y="725"/>
                    <a:pt x="347" y="725"/>
                  </a:cubicBezTo>
                  <a:cubicBezTo>
                    <a:pt x="536" y="725"/>
                    <a:pt x="694" y="568"/>
                    <a:pt x="694" y="379"/>
                  </a:cubicBezTo>
                  <a:cubicBezTo>
                    <a:pt x="694" y="190"/>
                    <a:pt x="536" y="1"/>
                    <a:pt x="347"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1136" name="Google Shape;11136;p114"/>
            <p:cNvSpPr/>
            <p:nvPr/>
          </p:nvSpPr>
          <p:spPr>
            <a:xfrm>
              <a:off x="-19710825" y="2575925"/>
              <a:ext cx="18925" cy="17350"/>
            </a:xfrm>
            <a:custGeom>
              <a:avLst/>
              <a:gdLst/>
              <a:ahLst/>
              <a:cxnLst/>
              <a:rect l="l" t="t" r="r" b="b"/>
              <a:pathLst>
                <a:path w="757" h="694" extrusionOk="0">
                  <a:moveTo>
                    <a:pt x="378" y="0"/>
                  </a:moveTo>
                  <a:cubicBezTo>
                    <a:pt x="158" y="0"/>
                    <a:pt x="0" y="158"/>
                    <a:pt x="0" y="347"/>
                  </a:cubicBezTo>
                  <a:cubicBezTo>
                    <a:pt x="0" y="536"/>
                    <a:pt x="158" y="693"/>
                    <a:pt x="378" y="693"/>
                  </a:cubicBezTo>
                  <a:cubicBezTo>
                    <a:pt x="567" y="693"/>
                    <a:pt x="725" y="536"/>
                    <a:pt x="725" y="347"/>
                  </a:cubicBezTo>
                  <a:cubicBezTo>
                    <a:pt x="756" y="158"/>
                    <a:pt x="567" y="0"/>
                    <a:pt x="378"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1137" name="Google Shape;11137;p114"/>
            <p:cNvSpPr/>
            <p:nvPr/>
          </p:nvSpPr>
          <p:spPr>
            <a:xfrm>
              <a:off x="-19602925" y="2611350"/>
              <a:ext cx="35475" cy="35475"/>
            </a:xfrm>
            <a:custGeom>
              <a:avLst/>
              <a:gdLst/>
              <a:ahLst/>
              <a:cxnLst/>
              <a:rect l="l" t="t" r="r" b="b"/>
              <a:pathLst>
                <a:path w="1419" h="1419" extrusionOk="0">
                  <a:moveTo>
                    <a:pt x="694" y="1"/>
                  </a:moveTo>
                  <a:cubicBezTo>
                    <a:pt x="316" y="1"/>
                    <a:pt x="1" y="316"/>
                    <a:pt x="1" y="694"/>
                  </a:cubicBezTo>
                  <a:cubicBezTo>
                    <a:pt x="1" y="1103"/>
                    <a:pt x="316" y="1418"/>
                    <a:pt x="694" y="1418"/>
                  </a:cubicBezTo>
                  <a:cubicBezTo>
                    <a:pt x="1103" y="1418"/>
                    <a:pt x="1418" y="1103"/>
                    <a:pt x="1418" y="694"/>
                  </a:cubicBezTo>
                  <a:cubicBezTo>
                    <a:pt x="1418" y="316"/>
                    <a:pt x="1103" y="1"/>
                    <a:pt x="694"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1138" name="Google Shape;11138;p114"/>
            <p:cNvSpPr/>
            <p:nvPr/>
          </p:nvSpPr>
          <p:spPr>
            <a:xfrm>
              <a:off x="-19728150" y="2611350"/>
              <a:ext cx="35450" cy="35475"/>
            </a:xfrm>
            <a:custGeom>
              <a:avLst/>
              <a:gdLst/>
              <a:ahLst/>
              <a:cxnLst/>
              <a:rect l="l" t="t" r="r" b="b"/>
              <a:pathLst>
                <a:path w="1418" h="1419" extrusionOk="0">
                  <a:moveTo>
                    <a:pt x="725" y="1"/>
                  </a:moveTo>
                  <a:cubicBezTo>
                    <a:pt x="315" y="1"/>
                    <a:pt x="0" y="316"/>
                    <a:pt x="0" y="694"/>
                  </a:cubicBezTo>
                  <a:cubicBezTo>
                    <a:pt x="0" y="1072"/>
                    <a:pt x="315" y="1418"/>
                    <a:pt x="725" y="1418"/>
                  </a:cubicBezTo>
                  <a:cubicBezTo>
                    <a:pt x="1103" y="1418"/>
                    <a:pt x="1418" y="1072"/>
                    <a:pt x="1418" y="694"/>
                  </a:cubicBezTo>
                  <a:cubicBezTo>
                    <a:pt x="1418" y="316"/>
                    <a:pt x="1103" y="1"/>
                    <a:pt x="725"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1139" name="Google Shape;11139;p114"/>
            <p:cNvSpPr/>
            <p:nvPr/>
          </p:nvSpPr>
          <p:spPr>
            <a:xfrm>
              <a:off x="-19802200" y="2416025"/>
              <a:ext cx="309575" cy="302275"/>
            </a:xfrm>
            <a:custGeom>
              <a:avLst/>
              <a:gdLst/>
              <a:ahLst/>
              <a:cxnLst/>
              <a:rect l="l" t="t" r="r" b="b"/>
              <a:pathLst>
                <a:path w="12383" h="12091" extrusionOk="0">
                  <a:moveTo>
                    <a:pt x="6176" y="2080"/>
                  </a:moveTo>
                  <a:cubicBezTo>
                    <a:pt x="6711" y="2080"/>
                    <a:pt x="7121" y="2458"/>
                    <a:pt x="7215" y="2931"/>
                  </a:cubicBezTo>
                  <a:cubicBezTo>
                    <a:pt x="6869" y="2836"/>
                    <a:pt x="6554" y="2804"/>
                    <a:pt x="6176" y="2804"/>
                  </a:cubicBezTo>
                  <a:cubicBezTo>
                    <a:pt x="5829" y="2804"/>
                    <a:pt x="5483" y="2836"/>
                    <a:pt x="5168" y="2931"/>
                  </a:cubicBezTo>
                  <a:cubicBezTo>
                    <a:pt x="5231" y="2458"/>
                    <a:pt x="5672" y="2080"/>
                    <a:pt x="6176" y="2080"/>
                  </a:cubicBezTo>
                  <a:close/>
                  <a:moveTo>
                    <a:pt x="6176" y="3561"/>
                  </a:moveTo>
                  <a:cubicBezTo>
                    <a:pt x="6900" y="3561"/>
                    <a:pt x="7562" y="3750"/>
                    <a:pt x="8129" y="4065"/>
                  </a:cubicBezTo>
                  <a:cubicBezTo>
                    <a:pt x="7656" y="4600"/>
                    <a:pt x="6932" y="4978"/>
                    <a:pt x="6176" y="4978"/>
                  </a:cubicBezTo>
                  <a:cubicBezTo>
                    <a:pt x="5451" y="4978"/>
                    <a:pt x="4727" y="4600"/>
                    <a:pt x="4254" y="4065"/>
                  </a:cubicBezTo>
                  <a:cubicBezTo>
                    <a:pt x="4853" y="3750"/>
                    <a:pt x="5483" y="3561"/>
                    <a:pt x="6176" y="3561"/>
                  </a:cubicBezTo>
                  <a:close/>
                  <a:moveTo>
                    <a:pt x="6176" y="6932"/>
                  </a:moveTo>
                  <a:lnTo>
                    <a:pt x="7026" y="10555"/>
                  </a:lnTo>
                  <a:cubicBezTo>
                    <a:pt x="6743" y="10649"/>
                    <a:pt x="6459" y="10681"/>
                    <a:pt x="6176" y="10681"/>
                  </a:cubicBezTo>
                  <a:cubicBezTo>
                    <a:pt x="5924" y="10681"/>
                    <a:pt x="5640" y="10649"/>
                    <a:pt x="5357" y="10555"/>
                  </a:cubicBezTo>
                  <a:lnTo>
                    <a:pt x="6176" y="6932"/>
                  </a:lnTo>
                  <a:close/>
                  <a:moveTo>
                    <a:pt x="3655" y="4443"/>
                  </a:moveTo>
                  <a:cubicBezTo>
                    <a:pt x="4191" y="5073"/>
                    <a:pt x="4884" y="5514"/>
                    <a:pt x="5766" y="5640"/>
                  </a:cubicBezTo>
                  <a:lnTo>
                    <a:pt x="4538" y="11027"/>
                  </a:lnTo>
                  <a:cubicBezTo>
                    <a:pt x="3151" y="10366"/>
                    <a:pt x="2238" y="8979"/>
                    <a:pt x="2238" y="7436"/>
                  </a:cubicBezTo>
                  <a:cubicBezTo>
                    <a:pt x="2238" y="6239"/>
                    <a:pt x="2805" y="5167"/>
                    <a:pt x="3655" y="4443"/>
                  </a:cubicBezTo>
                  <a:close/>
                  <a:moveTo>
                    <a:pt x="8696" y="4443"/>
                  </a:moveTo>
                  <a:cubicBezTo>
                    <a:pt x="9578" y="5167"/>
                    <a:pt x="10114" y="6270"/>
                    <a:pt x="10114" y="7436"/>
                  </a:cubicBezTo>
                  <a:cubicBezTo>
                    <a:pt x="10082" y="8979"/>
                    <a:pt x="9232" y="10366"/>
                    <a:pt x="7846" y="11027"/>
                  </a:cubicBezTo>
                  <a:lnTo>
                    <a:pt x="6617" y="5640"/>
                  </a:lnTo>
                  <a:cubicBezTo>
                    <a:pt x="7499" y="5514"/>
                    <a:pt x="8192" y="5073"/>
                    <a:pt x="8696" y="4443"/>
                  </a:cubicBezTo>
                  <a:close/>
                  <a:moveTo>
                    <a:pt x="4727" y="1"/>
                  </a:moveTo>
                  <a:cubicBezTo>
                    <a:pt x="4538" y="1"/>
                    <a:pt x="4380" y="158"/>
                    <a:pt x="4380" y="347"/>
                  </a:cubicBezTo>
                  <a:cubicBezTo>
                    <a:pt x="4380" y="946"/>
                    <a:pt x="4664" y="1513"/>
                    <a:pt x="5073" y="1828"/>
                  </a:cubicBezTo>
                  <a:cubicBezTo>
                    <a:pt x="4664" y="2143"/>
                    <a:pt x="4380" y="2678"/>
                    <a:pt x="4380" y="3246"/>
                  </a:cubicBezTo>
                  <a:cubicBezTo>
                    <a:pt x="3592" y="3561"/>
                    <a:pt x="2931" y="4096"/>
                    <a:pt x="2395" y="4758"/>
                  </a:cubicBezTo>
                  <a:lnTo>
                    <a:pt x="1387" y="4380"/>
                  </a:lnTo>
                  <a:lnTo>
                    <a:pt x="725" y="3088"/>
                  </a:lnTo>
                  <a:cubicBezTo>
                    <a:pt x="657" y="2974"/>
                    <a:pt x="522" y="2893"/>
                    <a:pt x="393" y="2893"/>
                  </a:cubicBezTo>
                  <a:cubicBezTo>
                    <a:pt x="344" y="2893"/>
                    <a:pt x="296" y="2904"/>
                    <a:pt x="253" y="2931"/>
                  </a:cubicBezTo>
                  <a:cubicBezTo>
                    <a:pt x="95" y="2994"/>
                    <a:pt x="1" y="3246"/>
                    <a:pt x="95" y="3403"/>
                  </a:cubicBezTo>
                  <a:lnTo>
                    <a:pt x="788" y="4789"/>
                  </a:lnTo>
                  <a:cubicBezTo>
                    <a:pt x="820" y="4884"/>
                    <a:pt x="914" y="4978"/>
                    <a:pt x="977" y="4978"/>
                  </a:cubicBezTo>
                  <a:lnTo>
                    <a:pt x="2017" y="5356"/>
                  </a:lnTo>
                  <a:cubicBezTo>
                    <a:pt x="1734" y="5923"/>
                    <a:pt x="1545" y="6491"/>
                    <a:pt x="1513" y="7121"/>
                  </a:cubicBezTo>
                  <a:lnTo>
                    <a:pt x="410" y="7121"/>
                  </a:lnTo>
                  <a:cubicBezTo>
                    <a:pt x="190" y="7121"/>
                    <a:pt x="32" y="7278"/>
                    <a:pt x="32" y="7499"/>
                  </a:cubicBezTo>
                  <a:cubicBezTo>
                    <a:pt x="32" y="7688"/>
                    <a:pt x="190" y="7845"/>
                    <a:pt x="410" y="7845"/>
                  </a:cubicBezTo>
                  <a:lnTo>
                    <a:pt x="1513" y="7845"/>
                  </a:lnTo>
                  <a:cubicBezTo>
                    <a:pt x="1545" y="8475"/>
                    <a:pt x="1734" y="9074"/>
                    <a:pt x="2017" y="9610"/>
                  </a:cubicBezTo>
                  <a:lnTo>
                    <a:pt x="977" y="10019"/>
                  </a:lnTo>
                  <a:cubicBezTo>
                    <a:pt x="914" y="10051"/>
                    <a:pt x="820" y="10082"/>
                    <a:pt x="788" y="10177"/>
                  </a:cubicBezTo>
                  <a:lnTo>
                    <a:pt x="95" y="11594"/>
                  </a:lnTo>
                  <a:cubicBezTo>
                    <a:pt x="1" y="11752"/>
                    <a:pt x="95" y="11972"/>
                    <a:pt x="253" y="12067"/>
                  </a:cubicBezTo>
                  <a:cubicBezTo>
                    <a:pt x="292" y="12083"/>
                    <a:pt x="336" y="12091"/>
                    <a:pt x="380" y="12091"/>
                  </a:cubicBezTo>
                  <a:cubicBezTo>
                    <a:pt x="513" y="12091"/>
                    <a:pt x="655" y="12020"/>
                    <a:pt x="725" y="11878"/>
                  </a:cubicBezTo>
                  <a:lnTo>
                    <a:pt x="1387" y="10586"/>
                  </a:lnTo>
                  <a:lnTo>
                    <a:pt x="2395" y="10208"/>
                  </a:lnTo>
                  <a:cubicBezTo>
                    <a:pt x="2962" y="10933"/>
                    <a:pt x="3718" y="11531"/>
                    <a:pt x="4664" y="11846"/>
                  </a:cubicBezTo>
                  <a:cubicBezTo>
                    <a:pt x="4706" y="11868"/>
                    <a:pt x="4750" y="11878"/>
                    <a:pt x="4794" y="11878"/>
                  </a:cubicBezTo>
                  <a:cubicBezTo>
                    <a:pt x="4944" y="11878"/>
                    <a:pt x="5087" y="11758"/>
                    <a:pt x="5136" y="11563"/>
                  </a:cubicBezTo>
                  <a:lnTo>
                    <a:pt x="5199" y="11248"/>
                  </a:lnTo>
                  <a:cubicBezTo>
                    <a:pt x="5514" y="11342"/>
                    <a:pt x="5829" y="11374"/>
                    <a:pt x="6176" y="11374"/>
                  </a:cubicBezTo>
                  <a:cubicBezTo>
                    <a:pt x="6491" y="11374"/>
                    <a:pt x="6869" y="11342"/>
                    <a:pt x="7184" y="11248"/>
                  </a:cubicBezTo>
                  <a:lnTo>
                    <a:pt x="7247" y="11563"/>
                  </a:lnTo>
                  <a:cubicBezTo>
                    <a:pt x="7275" y="11756"/>
                    <a:pt x="7471" y="11852"/>
                    <a:pt x="7646" y="11852"/>
                  </a:cubicBezTo>
                  <a:cubicBezTo>
                    <a:pt x="7671" y="11852"/>
                    <a:pt x="7696" y="11850"/>
                    <a:pt x="7720" y="11846"/>
                  </a:cubicBezTo>
                  <a:cubicBezTo>
                    <a:pt x="8633" y="11531"/>
                    <a:pt x="9421" y="10933"/>
                    <a:pt x="9956" y="10208"/>
                  </a:cubicBezTo>
                  <a:lnTo>
                    <a:pt x="10996" y="10586"/>
                  </a:lnTo>
                  <a:lnTo>
                    <a:pt x="11658" y="11878"/>
                  </a:lnTo>
                  <a:cubicBezTo>
                    <a:pt x="11729" y="12020"/>
                    <a:pt x="11870" y="12091"/>
                    <a:pt x="12003" y="12091"/>
                  </a:cubicBezTo>
                  <a:cubicBezTo>
                    <a:pt x="12048" y="12091"/>
                    <a:pt x="12091" y="12083"/>
                    <a:pt x="12130" y="12067"/>
                  </a:cubicBezTo>
                  <a:cubicBezTo>
                    <a:pt x="12288" y="11972"/>
                    <a:pt x="12382" y="11720"/>
                    <a:pt x="12288" y="11594"/>
                  </a:cubicBezTo>
                  <a:lnTo>
                    <a:pt x="11500" y="10177"/>
                  </a:lnTo>
                  <a:cubicBezTo>
                    <a:pt x="11469" y="10082"/>
                    <a:pt x="11374" y="10019"/>
                    <a:pt x="11311" y="10019"/>
                  </a:cubicBezTo>
                  <a:lnTo>
                    <a:pt x="10271" y="9610"/>
                  </a:lnTo>
                  <a:cubicBezTo>
                    <a:pt x="10555" y="9074"/>
                    <a:pt x="10712" y="8475"/>
                    <a:pt x="10807" y="7845"/>
                  </a:cubicBezTo>
                  <a:lnTo>
                    <a:pt x="11910" y="7845"/>
                  </a:lnTo>
                  <a:cubicBezTo>
                    <a:pt x="12099" y="7845"/>
                    <a:pt x="12256" y="7688"/>
                    <a:pt x="12256" y="7499"/>
                  </a:cubicBezTo>
                  <a:cubicBezTo>
                    <a:pt x="12256" y="7278"/>
                    <a:pt x="12099" y="7121"/>
                    <a:pt x="11910" y="7121"/>
                  </a:cubicBezTo>
                  <a:lnTo>
                    <a:pt x="10807" y="7121"/>
                  </a:lnTo>
                  <a:cubicBezTo>
                    <a:pt x="10775" y="6491"/>
                    <a:pt x="10555" y="5923"/>
                    <a:pt x="10271" y="5356"/>
                  </a:cubicBezTo>
                  <a:lnTo>
                    <a:pt x="11311" y="4978"/>
                  </a:lnTo>
                  <a:cubicBezTo>
                    <a:pt x="11374" y="4915"/>
                    <a:pt x="11469" y="4884"/>
                    <a:pt x="11500" y="4789"/>
                  </a:cubicBezTo>
                  <a:lnTo>
                    <a:pt x="12225" y="3403"/>
                  </a:lnTo>
                  <a:cubicBezTo>
                    <a:pt x="12288" y="3214"/>
                    <a:pt x="12225" y="2994"/>
                    <a:pt x="12067" y="2931"/>
                  </a:cubicBezTo>
                  <a:cubicBezTo>
                    <a:pt x="12024" y="2904"/>
                    <a:pt x="11973" y="2893"/>
                    <a:pt x="11922" y="2893"/>
                  </a:cubicBezTo>
                  <a:cubicBezTo>
                    <a:pt x="11785" y="2893"/>
                    <a:pt x="11640" y="2974"/>
                    <a:pt x="11595" y="3088"/>
                  </a:cubicBezTo>
                  <a:lnTo>
                    <a:pt x="10902" y="4380"/>
                  </a:lnTo>
                  <a:lnTo>
                    <a:pt x="9893" y="4758"/>
                  </a:lnTo>
                  <a:cubicBezTo>
                    <a:pt x="9389" y="4096"/>
                    <a:pt x="8696" y="3561"/>
                    <a:pt x="7909" y="3246"/>
                  </a:cubicBezTo>
                  <a:cubicBezTo>
                    <a:pt x="7909" y="2647"/>
                    <a:pt x="7656" y="2143"/>
                    <a:pt x="7215" y="1828"/>
                  </a:cubicBezTo>
                  <a:cubicBezTo>
                    <a:pt x="7656" y="1450"/>
                    <a:pt x="7909" y="946"/>
                    <a:pt x="7909" y="347"/>
                  </a:cubicBezTo>
                  <a:cubicBezTo>
                    <a:pt x="7909" y="158"/>
                    <a:pt x="7751" y="1"/>
                    <a:pt x="7562" y="1"/>
                  </a:cubicBezTo>
                  <a:cubicBezTo>
                    <a:pt x="7373" y="1"/>
                    <a:pt x="7215" y="158"/>
                    <a:pt x="7215" y="347"/>
                  </a:cubicBezTo>
                  <a:cubicBezTo>
                    <a:pt x="7215" y="946"/>
                    <a:pt x="6743" y="1450"/>
                    <a:pt x="6144" y="1450"/>
                  </a:cubicBezTo>
                  <a:cubicBezTo>
                    <a:pt x="5546" y="1450"/>
                    <a:pt x="5073" y="946"/>
                    <a:pt x="5073" y="347"/>
                  </a:cubicBezTo>
                  <a:cubicBezTo>
                    <a:pt x="5073" y="158"/>
                    <a:pt x="4916" y="1"/>
                    <a:pt x="4727"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11140" name="Google Shape;11140;p114"/>
          <p:cNvGrpSpPr/>
          <p:nvPr/>
        </p:nvGrpSpPr>
        <p:grpSpPr>
          <a:xfrm>
            <a:off x="4233651" y="3802008"/>
            <a:ext cx="633500" cy="630235"/>
            <a:chOff x="-19801400" y="2788575"/>
            <a:chExt cx="305625" cy="304050"/>
          </a:xfrm>
        </p:grpSpPr>
        <p:sp>
          <p:nvSpPr>
            <p:cNvPr id="11141" name="Google Shape;11141;p114"/>
            <p:cNvSpPr/>
            <p:nvPr/>
          </p:nvSpPr>
          <p:spPr>
            <a:xfrm>
              <a:off x="-19744700" y="2931925"/>
              <a:ext cx="52800" cy="18125"/>
            </a:xfrm>
            <a:custGeom>
              <a:avLst/>
              <a:gdLst/>
              <a:ahLst/>
              <a:cxnLst/>
              <a:rect l="l" t="t" r="r" b="b"/>
              <a:pathLst>
                <a:path w="2112" h="725" extrusionOk="0">
                  <a:moveTo>
                    <a:pt x="347" y="0"/>
                  </a:moveTo>
                  <a:cubicBezTo>
                    <a:pt x="158" y="0"/>
                    <a:pt x="1" y="158"/>
                    <a:pt x="1" y="347"/>
                  </a:cubicBezTo>
                  <a:cubicBezTo>
                    <a:pt x="1" y="567"/>
                    <a:pt x="158" y="725"/>
                    <a:pt x="347" y="725"/>
                  </a:cubicBezTo>
                  <a:lnTo>
                    <a:pt x="1765" y="725"/>
                  </a:lnTo>
                  <a:cubicBezTo>
                    <a:pt x="1922" y="725"/>
                    <a:pt x="2111" y="567"/>
                    <a:pt x="2111" y="347"/>
                  </a:cubicBezTo>
                  <a:cubicBezTo>
                    <a:pt x="2111" y="158"/>
                    <a:pt x="1954" y="0"/>
                    <a:pt x="1765"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1142" name="Google Shape;11142;p114"/>
            <p:cNvSpPr/>
            <p:nvPr/>
          </p:nvSpPr>
          <p:spPr>
            <a:xfrm>
              <a:off x="-19709250" y="2967350"/>
              <a:ext cx="52800" cy="18150"/>
            </a:xfrm>
            <a:custGeom>
              <a:avLst/>
              <a:gdLst/>
              <a:ahLst/>
              <a:cxnLst/>
              <a:rect l="l" t="t" r="r" b="b"/>
              <a:pathLst>
                <a:path w="2112" h="726" extrusionOk="0">
                  <a:moveTo>
                    <a:pt x="347" y="1"/>
                  </a:moveTo>
                  <a:cubicBezTo>
                    <a:pt x="158" y="1"/>
                    <a:pt x="0" y="158"/>
                    <a:pt x="0" y="347"/>
                  </a:cubicBezTo>
                  <a:cubicBezTo>
                    <a:pt x="0" y="568"/>
                    <a:pt x="158" y="726"/>
                    <a:pt x="347" y="726"/>
                  </a:cubicBezTo>
                  <a:lnTo>
                    <a:pt x="1765" y="726"/>
                  </a:lnTo>
                  <a:cubicBezTo>
                    <a:pt x="1954" y="726"/>
                    <a:pt x="2111" y="568"/>
                    <a:pt x="2111" y="347"/>
                  </a:cubicBezTo>
                  <a:cubicBezTo>
                    <a:pt x="2111" y="190"/>
                    <a:pt x="1954" y="1"/>
                    <a:pt x="1765"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1143" name="Google Shape;11143;p114"/>
            <p:cNvSpPr/>
            <p:nvPr/>
          </p:nvSpPr>
          <p:spPr>
            <a:xfrm>
              <a:off x="-19638375" y="2968150"/>
              <a:ext cx="52800" cy="18150"/>
            </a:xfrm>
            <a:custGeom>
              <a:avLst/>
              <a:gdLst/>
              <a:ahLst/>
              <a:cxnLst/>
              <a:rect l="l" t="t" r="r" b="b"/>
              <a:pathLst>
                <a:path w="2112" h="726" extrusionOk="0">
                  <a:moveTo>
                    <a:pt x="347" y="0"/>
                  </a:moveTo>
                  <a:cubicBezTo>
                    <a:pt x="158" y="0"/>
                    <a:pt x="1" y="158"/>
                    <a:pt x="1" y="378"/>
                  </a:cubicBezTo>
                  <a:cubicBezTo>
                    <a:pt x="1" y="568"/>
                    <a:pt x="158" y="725"/>
                    <a:pt x="347" y="725"/>
                  </a:cubicBezTo>
                  <a:lnTo>
                    <a:pt x="1765" y="725"/>
                  </a:lnTo>
                  <a:cubicBezTo>
                    <a:pt x="1954" y="725"/>
                    <a:pt x="2112" y="568"/>
                    <a:pt x="2112" y="378"/>
                  </a:cubicBezTo>
                  <a:cubicBezTo>
                    <a:pt x="2112" y="158"/>
                    <a:pt x="1954" y="0"/>
                    <a:pt x="1765"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1144" name="Google Shape;11144;p114"/>
            <p:cNvSpPr/>
            <p:nvPr/>
          </p:nvSpPr>
          <p:spPr>
            <a:xfrm>
              <a:off x="-19673800" y="2931925"/>
              <a:ext cx="52775" cy="18125"/>
            </a:xfrm>
            <a:custGeom>
              <a:avLst/>
              <a:gdLst/>
              <a:ahLst/>
              <a:cxnLst/>
              <a:rect l="l" t="t" r="r" b="b"/>
              <a:pathLst>
                <a:path w="2111" h="725" extrusionOk="0">
                  <a:moveTo>
                    <a:pt x="347" y="0"/>
                  </a:moveTo>
                  <a:cubicBezTo>
                    <a:pt x="158" y="0"/>
                    <a:pt x="0" y="158"/>
                    <a:pt x="0" y="347"/>
                  </a:cubicBezTo>
                  <a:cubicBezTo>
                    <a:pt x="0" y="567"/>
                    <a:pt x="158" y="725"/>
                    <a:pt x="347" y="725"/>
                  </a:cubicBezTo>
                  <a:lnTo>
                    <a:pt x="1764" y="725"/>
                  </a:lnTo>
                  <a:cubicBezTo>
                    <a:pt x="1953" y="725"/>
                    <a:pt x="2111" y="567"/>
                    <a:pt x="2111" y="347"/>
                  </a:cubicBezTo>
                  <a:cubicBezTo>
                    <a:pt x="2111" y="158"/>
                    <a:pt x="1953" y="0"/>
                    <a:pt x="1764"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1145" name="Google Shape;11145;p114"/>
            <p:cNvSpPr/>
            <p:nvPr/>
          </p:nvSpPr>
          <p:spPr>
            <a:xfrm>
              <a:off x="-19602925" y="2931925"/>
              <a:ext cx="52800" cy="18125"/>
            </a:xfrm>
            <a:custGeom>
              <a:avLst/>
              <a:gdLst/>
              <a:ahLst/>
              <a:cxnLst/>
              <a:rect l="l" t="t" r="r" b="b"/>
              <a:pathLst>
                <a:path w="2112" h="725" extrusionOk="0">
                  <a:moveTo>
                    <a:pt x="347" y="0"/>
                  </a:moveTo>
                  <a:cubicBezTo>
                    <a:pt x="158" y="0"/>
                    <a:pt x="1" y="158"/>
                    <a:pt x="1" y="347"/>
                  </a:cubicBezTo>
                  <a:cubicBezTo>
                    <a:pt x="1" y="567"/>
                    <a:pt x="158" y="725"/>
                    <a:pt x="347" y="725"/>
                  </a:cubicBezTo>
                  <a:lnTo>
                    <a:pt x="1765" y="725"/>
                  </a:lnTo>
                  <a:cubicBezTo>
                    <a:pt x="1954" y="725"/>
                    <a:pt x="2111" y="567"/>
                    <a:pt x="2111" y="347"/>
                  </a:cubicBezTo>
                  <a:cubicBezTo>
                    <a:pt x="2111" y="158"/>
                    <a:pt x="1954" y="0"/>
                    <a:pt x="1765"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1146" name="Google Shape;11146;p114"/>
            <p:cNvSpPr/>
            <p:nvPr/>
          </p:nvSpPr>
          <p:spPr>
            <a:xfrm>
              <a:off x="-19801400" y="2788575"/>
              <a:ext cx="305625" cy="304050"/>
            </a:xfrm>
            <a:custGeom>
              <a:avLst/>
              <a:gdLst/>
              <a:ahLst/>
              <a:cxnLst/>
              <a:rect l="l" t="t" r="r" b="b"/>
              <a:pathLst>
                <a:path w="12225" h="12162" extrusionOk="0">
                  <a:moveTo>
                    <a:pt x="6144" y="693"/>
                  </a:moveTo>
                  <a:cubicBezTo>
                    <a:pt x="7026" y="693"/>
                    <a:pt x="7940" y="2584"/>
                    <a:pt x="7940" y="4316"/>
                  </a:cubicBezTo>
                  <a:lnTo>
                    <a:pt x="4348" y="4316"/>
                  </a:lnTo>
                  <a:cubicBezTo>
                    <a:pt x="4348" y="2584"/>
                    <a:pt x="5293" y="693"/>
                    <a:pt x="6144" y="693"/>
                  </a:cubicBezTo>
                  <a:close/>
                  <a:moveTo>
                    <a:pt x="9677" y="1496"/>
                  </a:moveTo>
                  <a:cubicBezTo>
                    <a:pt x="9731" y="1496"/>
                    <a:pt x="9781" y="1501"/>
                    <a:pt x="9830" y="1513"/>
                  </a:cubicBezTo>
                  <a:cubicBezTo>
                    <a:pt x="10145" y="1607"/>
                    <a:pt x="10397" y="1985"/>
                    <a:pt x="10617" y="2552"/>
                  </a:cubicBezTo>
                  <a:cubicBezTo>
                    <a:pt x="10775" y="3056"/>
                    <a:pt x="10838" y="3686"/>
                    <a:pt x="10806" y="4316"/>
                  </a:cubicBezTo>
                  <a:lnTo>
                    <a:pt x="8633" y="4316"/>
                  </a:lnTo>
                  <a:cubicBezTo>
                    <a:pt x="8633" y="3686"/>
                    <a:pt x="8507" y="2993"/>
                    <a:pt x="8318" y="2300"/>
                  </a:cubicBezTo>
                  <a:cubicBezTo>
                    <a:pt x="8762" y="1800"/>
                    <a:pt x="9280" y="1496"/>
                    <a:pt x="9677" y="1496"/>
                  </a:cubicBezTo>
                  <a:close/>
                  <a:moveTo>
                    <a:pt x="2638" y="1496"/>
                  </a:moveTo>
                  <a:cubicBezTo>
                    <a:pt x="3024" y="1496"/>
                    <a:pt x="3501" y="1807"/>
                    <a:pt x="4001" y="2363"/>
                  </a:cubicBezTo>
                  <a:cubicBezTo>
                    <a:pt x="3781" y="2993"/>
                    <a:pt x="3686" y="3686"/>
                    <a:pt x="3686" y="4348"/>
                  </a:cubicBezTo>
                  <a:lnTo>
                    <a:pt x="1513" y="4348"/>
                  </a:lnTo>
                  <a:cubicBezTo>
                    <a:pt x="1481" y="3686"/>
                    <a:pt x="1544" y="3056"/>
                    <a:pt x="1702" y="2552"/>
                  </a:cubicBezTo>
                  <a:cubicBezTo>
                    <a:pt x="1891" y="1954"/>
                    <a:pt x="2174" y="1607"/>
                    <a:pt x="2489" y="1513"/>
                  </a:cubicBezTo>
                  <a:cubicBezTo>
                    <a:pt x="2537" y="1502"/>
                    <a:pt x="2587" y="1496"/>
                    <a:pt x="2638" y="1496"/>
                  </a:cubicBezTo>
                  <a:close/>
                  <a:moveTo>
                    <a:pt x="11153" y="5041"/>
                  </a:moveTo>
                  <a:cubicBezTo>
                    <a:pt x="11342" y="5041"/>
                    <a:pt x="11500" y="5199"/>
                    <a:pt x="11500" y="5388"/>
                  </a:cubicBezTo>
                  <a:cubicBezTo>
                    <a:pt x="11500" y="7152"/>
                    <a:pt x="10050" y="8601"/>
                    <a:pt x="8286" y="8601"/>
                  </a:cubicBezTo>
                  <a:lnTo>
                    <a:pt x="4001" y="8601"/>
                  </a:lnTo>
                  <a:cubicBezTo>
                    <a:pt x="2206" y="8601"/>
                    <a:pt x="756" y="7152"/>
                    <a:pt x="756" y="5388"/>
                  </a:cubicBezTo>
                  <a:cubicBezTo>
                    <a:pt x="756" y="5199"/>
                    <a:pt x="914" y="5041"/>
                    <a:pt x="1103" y="5041"/>
                  </a:cubicBezTo>
                  <a:close/>
                  <a:moveTo>
                    <a:pt x="9357" y="9326"/>
                  </a:moveTo>
                  <a:lnTo>
                    <a:pt x="9357" y="9672"/>
                  </a:lnTo>
                  <a:cubicBezTo>
                    <a:pt x="9357" y="10271"/>
                    <a:pt x="8885" y="10743"/>
                    <a:pt x="8286" y="10743"/>
                  </a:cubicBezTo>
                  <a:lnTo>
                    <a:pt x="7940" y="10743"/>
                  </a:lnTo>
                  <a:lnTo>
                    <a:pt x="7940" y="10397"/>
                  </a:lnTo>
                  <a:cubicBezTo>
                    <a:pt x="7940" y="9798"/>
                    <a:pt x="8412" y="9326"/>
                    <a:pt x="8979" y="9326"/>
                  </a:cubicBezTo>
                  <a:close/>
                  <a:moveTo>
                    <a:pt x="10050" y="9357"/>
                  </a:moveTo>
                  <a:cubicBezTo>
                    <a:pt x="10870" y="9515"/>
                    <a:pt x="11500" y="10208"/>
                    <a:pt x="11500" y="11090"/>
                  </a:cubicBezTo>
                  <a:lnTo>
                    <a:pt x="11500" y="11437"/>
                  </a:lnTo>
                  <a:lnTo>
                    <a:pt x="11153" y="11437"/>
                  </a:lnTo>
                  <a:cubicBezTo>
                    <a:pt x="10617" y="11437"/>
                    <a:pt x="10050" y="11185"/>
                    <a:pt x="9704" y="10743"/>
                  </a:cubicBezTo>
                  <a:cubicBezTo>
                    <a:pt x="9924" y="10428"/>
                    <a:pt x="10050" y="10082"/>
                    <a:pt x="10050" y="9672"/>
                  </a:cubicBezTo>
                  <a:lnTo>
                    <a:pt x="10050" y="9357"/>
                  </a:lnTo>
                  <a:close/>
                  <a:moveTo>
                    <a:pt x="6112" y="0"/>
                  </a:moveTo>
                  <a:cubicBezTo>
                    <a:pt x="5419" y="0"/>
                    <a:pt x="4789" y="536"/>
                    <a:pt x="4253" y="1513"/>
                  </a:cubicBezTo>
                  <a:cubicBezTo>
                    <a:pt x="4253" y="1576"/>
                    <a:pt x="4222" y="1576"/>
                    <a:pt x="4222" y="1607"/>
                  </a:cubicBezTo>
                  <a:cubicBezTo>
                    <a:pt x="3680" y="1065"/>
                    <a:pt x="3096" y="777"/>
                    <a:pt x="2591" y="777"/>
                  </a:cubicBezTo>
                  <a:cubicBezTo>
                    <a:pt x="2479" y="777"/>
                    <a:pt x="2371" y="791"/>
                    <a:pt x="2269" y="819"/>
                  </a:cubicBezTo>
                  <a:cubicBezTo>
                    <a:pt x="1166" y="1135"/>
                    <a:pt x="630" y="2836"/>
                    <a:pt x="725" y="4348"/>
                  </a:cubicBezTo>
                  <a:cubicBezTo>
                    <a:pt x="284" y="4506"/>
                    <a:pt x="0" y="4915"/>
                    <a:pt x="0" y="5388"/>
                  </a:cubicBezTo>
                  <a:cubicBezTo>
                    <a:pt x="0" y="7561"/>
                    <a:pt x="1796" y="9326"/>
                    <a:pt x="3938" y="9326"/>
                  </a:cubicBezTo>
                  <a:lnTo>
                    <a:pt x="7530" y="9326"/>
                  </a:lnTo>
                  <a:cubicBezTo>
                    <a:pt x="7309" y="9641"/>
                    <a:pt x="7183" y="9987"/>
                    <a:pt x="7183" y="10365"/>
                  </a:cubicBezTo>
                  <a:lnTo>
                    <a:pt x="7183" y="11090"/>
                  </a:lnTo>
                  <a:cubicBezTo>
                    <a:pt x="7183" y="11279"/>
                    <a:pt x="7341" y="11437"/>
                    <a:pt x="7530" y="11437"/>
                  </a:cubicBezTo>
                  <a:lnTo>
                    <a:pt x="8255" y="11437"/>
                  </a:lnTo>
                  <a:cubicBezTo>
                    <a:pt x="8570" y="11437"/>
                    <a:pt x="8885" y="11374"/>
                    <a:pt x="9137" y="11216"/>
                  </a:cubicBezTo>
                  <a:cubicBezTo>
                    <a:pt x="9609" y="11815"/>
                    <a:pt x="10365" y="12161"/>
                    <a:pt x="11122" y="12161"/>
                  </a:cubicBezTo>
                  <a:lnTo>
                    <a:pt x="11815" y="12161"/>
                  </a:lnTo>
                  <a:cubicBezTo>
                    <a:pt x="12035" y="12161"/>
                    <a:pt x="12193" y="12004"/>
                    <a:pt x="12193" y="11815"/>
                  </a:cubicBezTo>
                  <a:lnTo>
                    <a:pt x="12193" y="11090"/>
                  </a:lnTo>
                  <a:cubicBezTo>
                    <a:pt x="12224" y="9956"/>
                    <a:pt x="11468" y="9011"/>
                    <a:pt x="10397" y="8696"/>
                  </a:cubicBezTo>
                  <a:cubicBezTo>
                    <a:pt x="11500" y="7971"/>
                    <a:pt x="12224" y="6774"/>
                    <a:pt x="12224" y="5388"/>
                  </a:cubicBezTo>
                  <a:cubicBezTo>
                    <a:pt x="12224" y="4915"/>
                    <a:pt x="11909" y="4506"/>
                    <a:pt x="11500" y="4348"/>
                  </a:cubicBezTo>
                  <a:cubicBezTo>
                    <a:pt x="11594" y="2773"/>
                    <a:pt x="11122" y="1103"/>
                    <a:pt x="9987" y="819"/>
                  </a:cubicBezTo>
                  <a:cubicBezTo>
                    <a:pt x="9879" y="791"/>
                    <a:pt x="9767" y="777"/>
                    <a:pt x="9651" y="777"/>
                  </a:cubicBezTo>
                  <a:cubicBezTo>
                    <a:pt x="9129" y="777"/>
                    <a:pt x="8544" y="1065"/>
                    <a:pt x="8003" y="1607"/>
                  </a:cubicBezTo>
                  <a:cubicBezTo>
                    <a:pt x="8003" y="1576"/>
                    <a:pt x="7971" y="1576"/>
                    <a:pt x="7971" y="1513"/>
                  </a:cubicBezTo>
                  <a:cubicBezTo>
                    <a:pt x="7498" y="536"/>
                    <a:pt x="6837" y="0"/>
                    <a:pt x="6112"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11147" name="Google Shape;11147;p114"/>
          <p:cNvGrpSpPr/>
          <p:nvPr/>
        </p:nvGrpSpPr>
        <p:grpSpPr>
          <a:xfrm>
            <a:off x="8173753" y="2251888"/>
            <a:ext cx="563284" cy="630235"/>
            <a:chOff x="-17903225" y="2060800"/>
            <a:chExt cx="271750" cy="304050"/>
          </a:xfrm>
        </p:grpSpPr>
        <p:sp>
          <p:nvSpPr>
            <p:cNvPr id="11148" name="Google Shape;11148;p114"/>
            <p:cNvSpPr/>
            <p:nvPr/>
          </p:nvSpPr>
          <p:spPr>
            <a:xfrm>
              <a:off x="-17722875" y="2204150"/>
              <a:ext cx="18150" cy="18150"/>
            </a:xfrm>
            <a:custGeom>
              <a:avLst/>
              <a:gdLst/>
              <a:ahLst/>
              <a:cxnLst/>
              <a:rect l="l" t="t" r="r" b="b"/>
              <a:pathLst>
                <a:path w="726" h="726" extrusionOk="0">
                  <a:moveTo>
                    <a:pt x="347" y="1"/>
                  </a:moveTo>
                  <a:cubicBezTo>
                    <a:pt x="158" y="1"/>
                    <a:pt x="1" y="158"/>
                    <a:pt x="1" y="379"/>
                  </a:cubicBezTo>
                  <a:cubicBezTo>
                    <a:pt x="1" y="568"/>
                    <a:pt x="158" y="725"/>
                    <a:pt x="347" y="725"/>
                  </a:cubicBezTo>
                  <a:cubicBezTo>
                    <a:pt x="568" y="725"/>
                    <a:pt x="726" y="568"/>
                    <a:pt x="726" y="379"/>
                  </a:cubicBezTo>
                  <a:cubicBezTo>
                    <a:pt x="726" y="158"/>
                    <a:pt x="568" y="1"/>
                    <a:pt x="347"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1149" name="Google Shape;11149;p114"/>
            <p:cNvSpPr/>
            <p:nvPr/>
          </p:nvSpPr>
          <p:spPr>
            <a:xfrm>
              <a:off x="-17829200" y="2204150"/>
              <a:ext cx="18150" cy="18150"/>
            </a:xfrm>
            <a:custGeom>
              <a:avLst/>
              <a:gdLst/>
              <a:ahLst/>
              <a:cxnLst/>
              <a:rect l="l" t="t" r="r" b="b"/>
              <a:pathLst>
                <a:path w="726" h="726" extrusionOk="0">
                  <a:moveTo>
                    <a:pt x="347" y="1"/>
                  </a:moveTo>
                  <a:cubicBezTo>
                    <a:pt x="158" y="1"/>
                    <a:pt x="1" y="158"/>
                    <a:pt x="1" y="379"/>
                  </a:cubicBezTo>
                  <a:cubicBezTo>
                    <a:pt x="1" y="568"/>
                    <a:pt x="158" y="725"/>
                    <a:pt x="347" y="725"/>
                  </a:cubicBezTo>
                  <a:cubicBezTo>
                    <a:pt x="568" y="725"/>
                    <a:pt x="725" y="568"/>
                    <a:pt x="725" y="379"/>
                  </a:cubicBezTo>
                  <a:cubicBezTo>
                    <a:pt x="725" y="158"/>
                    <a:pt x="568" y="1"/>
                    <a:pt x="347"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1150" name="Google Shape;11150;p114"/>
            <p:cNvSpPr/>
            <p:nvPr/>
          </p:nvSpPr>
          <p:spPr>
            <a:xfrm>
              <a:off x="-17903225" y="2060800"/>
              <a:ext cx="271750" cy="304050"/>
            </a:xfrm>
            <a:custGeom>
              <a:avLst/>
              <a:gdLst/>
              <a:ahLst/>
              <a:cxnLst/>
              <a:rect l="l" t="t" r="r" b="b"/>
              <a:pathLst>
                <a:path w="10870" h="12162" extrusionOk="0">
                  <a:moveTo>
                    <a:pt x="1040" y="694"/>
                  </a:moveTo>
                  <a:cubicBezTo>
                    <a:pt x="1891" y="694"/>
                    <a:pt x="2615" y="1293"/>
                    <a:pt x="2773" y="2112"/>
                  </a:cubicBezTo>
                  <a:cubicBezTo>
                    <a:pt x="2552" y="2364"/>
                    <a:pt x="2332" y="2679"/>
                    <a:pt x="2143" y="2994"/>
                  </a:cubicBezTo>
                  <a:lnTo>
                    <a:pt x="1040" y="694"/>
                  </a:lnTo>
                  <a:close/>
                  <a:moveTo>
                    <a:pt x="9861" y="694"/>
                  </a:moveTo>
                  <a:lnTo>
                    <a:pt x="8727" y="2994"/>
                  </a:lnTo>
                  <a:cubicBezTo>
                    <a:pt x="8507" y="2679"/>
                    <a:pt x="8318" y="2395"/>
                    <a:pt x="8097" y="2112"/>
                  </a:cubicBezTo>
                  <a:cubicBezTo>
                    <a:pt x="8255" y="1293"/>
                    <a:pt x="8979" y="694"/>
                    <a:pt x="9830" y="694"/>
                  </a:cubicBezTo>
                  <a:close/>
                  <a:moveTo>
                    <a:pt x="5451" y="1419"/>
                  </a:moveTo>
                  <a:cubicBezTo>
                    <a:pt x="6144" y="1419"/>
                    <a:pt x="6900" y="1860"/>
                    <a:pt x="7561" y="2584"/>
                  </a:cubicBezTo>
                  <a:lnTo>
                    <a:pt x="6994" y="2994"/>
                  </a:lnTo>
                  <a:cubicBezTo>
                    <a:pt x="6270" y="3466"/>
                    <a:pt x="5829" y="4254"/>
                    <a:pt x="5829" y="5136"/>
                  </a:cubicBezTo>
                  <a:lnTo>
                    <a:pt x="5829" y="6522"/>
                  </a:lnTo>
                  <a:cubicBezTo>
                    <a:pt x="5734" y="6491"/>
                    <a:pt x="5608" y="6491"/>
                    <a:pt x="5482" y="6491"/>
                  </a:cubicBezTo>
                  <a:cubicBezTo>
                    <a:pt x="5356" y="6491"/>
                    <a:pt x="5199" y="6522"/>
                    <a:pt x="5104" y="6554"/>
                  </a:cubicBezTo>
                  <a:lnTo>
                    <a:pt x="5104" y="5199"/>
                  </a:lnTo>
                  <a:cubicBezTo>
                    <a:pt x="5104" y="4317"/>
                    <a:pt x="4663" y="3498"/>
                    <a:pt x="3938" y="3025"/>
                  </a:cubicBezTo>
                  <a:lnTo>
                    <a:pt x="3371" y="2616"/>
                  </a:lnTo>
                  <a:cubicBezTo>
                    <a:pt x="4001" y="1797"/>
                    <a:pt x="4726" y="1419"/>
                    <a:pt x="5451" y="1419"/>
                  </a:cubicBezTo>
                  <a:close/>
                  <a:moveTo>
                    <a:pt x="5451" y="7152"/>
                  </a:moveTo>
                  <a:cubicBezTo>
                    <a:pt x="5608" y="7152"/>
                    <a:pt x="5734" y="7279"/>
                    <a:pt x="5797" y="7405"/>
                  </a:cubicBezTo>
                  <a:lnTo>
                    <a:pt x="5797" y="7562"/>
                  </a:lnTo>
                  <a:cubicBezTo>
                    <a:pt x="5766" y="7625"/>
                    <a:pt x="5608" y="7751"/>
                    <a:pt x="5451" y="7846"/>
                  </a:cubicBezTo>
                  <a:cubicBezTo>
                    <a:pt x="5262" y="7720"/>
                    <a:pt x="5104" y="7594"/>
                    <a:pt x="5104" y="7499"/>
                  </a:cubicBezTo>
                  <a:cubicBezTo>
                    <a:pt x="5104" y="7310"/>
                    <a:pt x="5262" y="7152"/>
                    <a:pt x="5451" y="7152"/>
                  </a:cubicBezTo>
                  <a:close/>
                  <a:moveTo>
                    <a:pt x="2899" y="3151"/>
                  </a:moveTo>
                  <a:lnTo>
                    <a:pt x="3560" y="3561"/>
                  </a:lnTo>
                  <a:cubicBezTo>
                    <a:pt x="4064" y="3907"/>
                    <a:pt x="4379" y="4538"/>
                    <a:pt x="4379" y="5105"/>
                  </a:cubicBezTo>
                  <a:lnTo>
                    <a:pt x="4379" y="7499"/>
                  </a:lnTo>
                  <a:cubicBezTo>
                    <a:pt x="4379" y="7562"/>
                    <a:pt x="4379" y="7625"/>
                    <a:pt x="4411" y="7688"/>
                  </a:cubicBezTo>
                  <a:cubicBezTo>
                    <a:pt x="4505" y="8035"/>
                    <a:pt x="4852" y="8287"/>
                    <a:pt x="5104" y="8413"/>
                  </a:cubicBezTo>
                  <a:lnTo>
                    <a:pt x="5104" y="8948"/>
                  </a:lnTo>
                  <a:lnTo>
                    <a:pt x="5104" y="8980"/>
                  </a:lnTo>
                  <a:cubicBezTo>
                    <a:pt x="5059" y="9813"/>
                    <a:pt x="4353" y="10357"/>
                    <a:pt x="3575" y="10357"/>
                  </a:cubicBezTo>
                  <a:cubicBezTo>
                    <a:pt x="3264" y="10357"/>
                    <a:pt x="2943" y="10271"/>
                    <a:pt x="2647" y="10082"/>
                  </a:cubicBezTo>
                  <a:cubicBezTo>
                    <a:pt x="1859" y="9547"/>
                    <a:pt x="1512" y="8728"/>
                    <a:pt x="1512" y="7499"/>
                  </a:cubicBezTo>
                  <a:cubicBezTo>
                    <a:pt x="1512" y="6144"/>
                    <a:pt x="2017" y="4443"/>
                    <a:pt x="2899" y="3151"/>
                  </a:cubicBezTo>
                  <a:close/>
                  <a:moveTo>
                    <a:pt x="8066" y="3151"/>
                  </a:moveTo>
                  <a:cubicBezTo>
                    <a:pt x="8916" y="4412"/>
                    <a:pt x="9420" y="6144"/>
                    <a:pt x="9420" y="7499"/>
                  </a:cubicBezTo>
                  <a:cubicBezTo>
                    <a:pt x="9389" y="8696"/>
                    <a:pt x="8979" y="9578"/>
                    <a:pt x="8192" y="10082"/>
                  </a:cubicBezTo>
                  <a:cubicBezTo>
                    <a:pt x="7913" y="10271"/>
                    <a:pt x="7599" y="10357"/>
                    <a:pt x="7293" y="10357"/>
                  </a:cubicBezTo>
                  <a:cubicBezTo>
                    <a:pt x="6522" y="10357"/>
                    <a:pt x="5797" y="9813"/>
                    <a:pt x="5797" y="8980"/>
                  </a:cubicBezTo>
                  <a:lnTo>
                    <a:pt x="5797" y="8917"/>
                  </a:lnTo>
                  <a:lnTo>
                    <a:pt x="5797" y="8476"/>
                  </a:lnTo>
                  <a:cubicBezTo>
                    <a:pt x="6175" y="8255"/>
                    <a:pt x="6553" y="7940"/>
                    <a:pt x="6553" y="7499"/>
                  </a:cubicBezTo>
                  <a:lnTo>
                    <a:pt x="6553" y="7310"/>
                  </a:lnTo>
                  <a:lnTo>
                    <a:pt x="6553" y="5105"/>
                  </a:lnTo>
                  <a:cubicBezTo>
                    <a:pt x="6553" y="4475"/>
                    <a:pt x="6868" y="3907"/>
                    <a:pt x="7372" y="3561"/>
                  </a:cubicBezTo>
                  <a:lnTo>
                    <a:pt x="8066" y="3151"/>
                  </a:lnTo>
                  <a:close/>
                  <a:moveTo>
                    <a:pt x="5451" y="10145"/>
                  </a:moveTo>
                  <a:cubicBezTo>
                    <a:pt x="5577" y="10303"/>
                    <a:pt x="5671" y="10429"/>
                    <a:pt x="5797" y="10555"/>
                  </a:cubicBezTo>
                  <a:lnTo>
                    <a:pt x="5797" y="11437"/>
                  </a:lnTo>
                  <a:lnTo>
                    <a:pt x="5104" y="11437"/>
                  </a:lnTo>
                  <a:lnTo>
                    <a:pt x="5104" y="10555"/>
                  </a:lnTo>
                  <a:cubicBezTo>
                    <a:pt x="5199" y="10429"/>
                    <a:pt x="5356" y="10303"/>
                    <a:pt x="5451" y="10145"/>
                  </a:cubicBezTo>
                  <a:close/>
                  <a:moveTo>
                    <a:pt x="441" y="1"/>
                  </a:moveTo>
                  <a:cubicBezTo>
                    <a:pt x="158" y="1"/>
                    <a:pt x="0" y="284"/>
                    <a:pt x="126" y="505"/>
                  </a:cubicBezTo>
                  <a:lnTo>
                    <a:pt x="1733" y="3750"/>
                  </a:lnTo>
                  <a:cubicBezTo>
                    <a:pt x="1166" y="4947"/>
                    <a:pt x="788" y="6302"/>
                    <a:pt x="788" y="7499"/>
                  </a:cubicBezTo>
                  <a:cubicBezTo>
                    <a:pt x="788" y="8917"/>
                    <a:pt x="1260" y="9988"/>
                    <a:pt x="2269" y="10650"/>
                  </a:cubicBezTo>
                  <a:cubicBezTo>
                    <a:pt x="2670" y="10930"/>
                    <a:pt x="3134" y="11071"/>
                    <a:pt x="3598" y="11071"/>
                  </a:cubicBezTo>
                  <a:cubicBezTo>
                    <a:pt x="3863" y="11071"/>
                    <a:pt x="4127" y="11025"/>
                    <a:pt x="4379" y="10933"/>
                  </a:cubicBezTo>
                  <a:lnTo>
                    <a:pt x="4379" y="11815"/>
                  </a:lnTo>
                  <a:cubicBezTo>
                    <a:pt x="4379" y="12004"/>
                    <a:pt x="4537" y="12162"/>
                    <a:pt x="4726" y="12162"/>
                  </a:cubicBezTo>
                  <a:lnTo>
                    <a:pt x="6144" y="12162"/>
                  </a:lnTo>
                  <a:cubicBezTo>
                    <a:pt x="6364" y="12162"/>
                    <a:pt x="6522" y="12004"/>
                    <a:pt x="6522" y="11815"/>
                  </a:cubicBezTo>
                  <a:lnTo>
                    <a:pt x="6522" y="10933"/>
                  </a:lnTo>
                  <a:cubicBezTo>
                    <a:pt x="6774" y="11025"/>
                    <a:pt x="7038" y="11071"/>
                    <a:pt x="7303" y="11071"/>
                  </a:cubicBezTo>
                  <a:cubicBezTo>
                    <a:pt x="7767" y="11071"/>
                    <a:pt x="8232" y="10930"/>
                    <a:pt x="8633" y="10650"/>
                  </a:cubicBezTo>
                  <a:cubicBezTo>
                    <a:pt x="9641" y="9988"/>
                    <a:pt x="10113" y="8917"/>
                    <a:pt x="10113" y="7499"/>
                  </a:cubicBezTo>
                  <a:cubicBezTo>
                    <a:pt x="10113" y="6302"/>
                    <a:pt x="9735" y="4916"/>
                    <a:pt x="9137" y="3750"/>
                  </a:cubicBezTo>
                  <a:lnTo>
                    <a:pt x="10775" y="505"/>
                  </a:lnTo>
                  <a:cubicBezTo>
                    <a:pt x="10869" y="284"/>
                    <a:pt x="10680" y="1"/>
                    <a:pt x="10460" y="1"/>
                  </a:cubicBezTo>
                  <a:lnTo>
                    <a:pt x="9861" y="1"/>
                  </a:lnTo>
                  <a:cubicBezTo>
                    <a:pt x="8853" y="1"/>
                    <a:pt x="7940" y="631"/>
                    <a:pt x="7530" y="1576"/>
                  </a:cubicBezTo>
                  <a:cubicBezTo>
                    <a:pt x="7467" y="1545"/>
                    <a:pt x="7404" y="1450"/>
                    <a:pt x="7341" y="1419"/>
                  </a:cubicBezTo>
                  <a:cubicBezTo>
                    <a:pt x="6742" y="946"/>
                    <a:pt x="6112" y="694"/>
                    <a:pt x="5451" y="694"/>
                  </a:cubicBezTo>
                  <a:cubicBezTo>
                    <a:pt x="4663" y="694"/>
                    <a:pt x="3938" y="1072"/>
                    <a:pt x="3371" y="1576"/>
                  </a:cubicBezTo>
                  <a:cubicBezTo>
                    <a:pt x="2993" y="631"/>
                    <a:pt x="2111" y="1"/>
                    <a:pt x="1040"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11151" name="Google Shape;11151;p114"/>
          <p:cNvGrpSpPr/>
          <p:nvPr/>
        </p:nvGrpSpPr>
        <p:grpSpPr>
          <a:xfrm>
            <a:off x="8139474" y="3033283"/>
            <a:ext cx="631841" cy="630235"/>
            <a:chOff x="-17918975" y="2435725"/>
            <a:chExt cx="304825" cy="304050"/>
          </a:xfrm>
        </p:grpSpPr>
        <p:sp>
          <p:nvSpPr>
            <p:cNvPr id="11152" name="Google Shape;11152;p114"/>
            <p:cNvSpPr/>
            <p:nvPr/>
          </p:nvSpPr>
          <p:spPr>
            <a:xfrm>
              <a:off x="-17918975" y="2435725"/>
              <a:ext cx="304825" cy="304050"/>
            </a:xfrm>
            <a:custGeom>
              <a:avLst/>
              <a:gdLst/>
              <a:ahLst/>
              <a:cxnLst/>
              <a:rect l="l" t="t" r="r" b="b"/>
              <a:pathLst>
                <a:path w="12193" h="12162" extrusionOk="0">
                  <a:moveTo>
                    <a:pt x="1040" y="662"/>
                  </a:moveTo>
                  <a:cubicBezTo>
                    <a:pt x="1229" y="662"/>
                    <a:pt x="1386" y="819"/>
                    <a:pt x="1386" y="1040"/>
                  </a:cubicBezTo>
                  <a:cubicBezTo>
                    <a:pt x="1386" y="1229"/>
                    <a:pt x="1229" y="1386"/>
                    <a:pt x="1040" y="1386"/>
                  </a:cubicBezTo>
                  <a:cubicBezTo>
                    <a:pt x="851" y="1386"/>
                    <a:pt x="693" y="1229"/>
                    <a:pt x="693" y="1040"/>
                  </a:cubicBezTo>
                  <a:cubicBezTo>
                    <a:pt x="693" y="819"/>
                    <a:pt x="851" y="662"/>
                    <a:pt x="1040" y="662"/>
                  </a:cubicBezTo>
                  <a:close/>
                  <a:moveTo>
                    <a:pt x="3907" y="662"/>
                  </a:moveTo>
                  <a:cubicBezTo>
                    <a:pt x="4096" y="662"/>
                    <a:pt x="4253" y="819"/>
                    <a:pt x="4253" y="1040"/>
                  </a:cubicBezTo>
                  <a:cubicBezTo>
                    <a:pt x="4253" y="1229"/>
                    <a:pt x="4096" y="1386"/>
                    <a:pt x="3907" y="1386"/>
                  </a:cubicBezTo>
                  <a:cubicBezTo>
                    <a:pt x="3718" y="1386"/>
                    <a:pt x="3560" y="1229"/>
                    <a:pt x="3560" y="1040"/>
                  </a:cubicBezTo>
                  <a:cubicBezTo>
                    <a:pt x="3560" y="819"/>
                    <a:pt x="3718" y="662"/>
                    <a:pt x="3907" y="662"/>
                  </a:cubicBezTo>
                  <a:close/>
                  <a:moveTo>
                    <a:pt x="7828" y="2853"/>
                  </a:moveTo>
                  <a:cubicBezTo>
                    <a:pt x="9848" y="2853"/>
                    <a:pt x="11436" y="4484"/>
                    <a:pt x="11436" y="6427"/>
                  </a:cubicBezTo>
                  <a:lnTo>
                    <a:pt x="11436" y="6774"/>
                  </a:lnTo>
                  <a:cubicBezTo>
                    <a:pt x="11436" y="8538"/>
                    <a:pt x="9987" y="10019"/>
                    <a:pt x="8191" y="10019"/>
                  </a:cubicBezTo>
                  <a:cubicBezTo>
                    <a:pt x="6837" y="10019"/>
                    <a:pt x="5671" y="8916"/>
                    <a:pt x="5671" y="7530"/>
                  </a:cubicBezTo>
                  <a:lnTo>
                    <a:pt x="5671" y="6931"/>
                  </a:lnTo>
                  <a:cubicBezTo>
                    <a:pt x="5671" y="5955"/>
                    <a:pt x="6427" y="5072"/>
                    <a:pt x="7372" y="5041"/>
                  </a:cubicBezTo>
                  <a:cubicBezTo>
                    <a:pt x="7392" y="5040"/>
                    <a:pt x="7413" y="5040"/>
                    <a:pt x="7433" y="5040"/>
                  </a:cubicBezTo>
                  <a:cubicBezTo>
                    <a:pt x="8445" y="5040"/>
                    <a:pt x="9263" y="5817"/>
                    <a:pt x="9263" y="6805"/>
                  </a:cubicBezTo>
                  <a:lnTo>
                    <a:pt x="9263" y="7152"/>
                  </a:lnTo>
                  <a:cubicBezTo>
                    <a:pt x="9263" y="7561"/>
                    <a:pt x="8948" y="7876"/>
                    <a:pt x="8570" y="7876"/>
                  </a:cubicBezTo>
                  <a:cubicBezTo>
                    <a:pt x="8160" y="7876"/>
                    <a:pt x="7845" y="7561"/>
                    <a:pt x="7845" y="7152"/>
                  </a:cubicBezTo>
                  <a:lnTo>
                    <a:pt x="7845" y="6805"/>
                  </a:lnTo>
                  <a:cubicBezTo>
                    <a:pt x="7845" y="6616"/>
                    <a:pt x="7687" y="6459"/>
                    <a:pt x="7498" y="6459"/>
                  </a:cubicBezTo>
                  <a:cubicBezTo>
                    <a:pt x="7309" y="6459"/>
                    <a:pt x="7152" y="6616"/>
                    <a:pt x="7152" y="6805"/>
                  </a:cubicBezTo>
                  <a:lnTo>
                    <a:pt x="7152" y="7152"/>
                  </a:lnTo>
                  <a:cubicBezTo>
                    <a:pt x="7152" y="7939"/>
                    <a:pt x="7782" y="8569"/>
                    <a:pt x="8570" y="8569"/>
                  </a:cubicBezTo>
                  <a:cubicBezTo>
                    <a:pt x="9357" y="8569"/>
                    <a:pt x="9987" y="7939"/>
                    <a:pt x="9987" y="7152"/>
                  </a:cubicBezTo>
                  <a:lnTo>
                    <a:pt x="9987" y="6805"/>
                  </a:lnTo>
                  <a:cubicBezTo>
                    <a:pt x="9987" y="5425"/>
                    <a:pt x="8853" y="4314"/>
                    <a:pt x="7456" y="4314"/>
                  </a:cubicBezTo>
                  <a:cubicBezTo>
                    <a:pt x="7418" y="4314"/>
                    <a:pt x="7379" y="4315"/>
                    <a:pt x="7341" y="4316"/>
                  </a:cubicBezTo>
                  <a:cubicBezTo>
                    <a:pt x="5986" y="4411"/>
                    <a:pt x="4946" y="5577"/>
                    <a:pt x="4946" y="6931"/>
                  </a:cubicBezTo>
                  <a:lnTo>
                    <a:pt x="4946" y="7530"/>
                  </a:lnTo>
                  <a:cubicBezTo>
                    <a:pt x="4946" y="8191"/>
                    <a:pt x="5135" y="8790"/>
                    <a:pt x="5482" y="9294"/>
                  </a:cubicBezTo>
                  <a:lnTo>
                    <a:pt x="5293" y="9294"/>
                  </a:lnTo>
                  <a:cubicBezTo>
                    <a:pt x="4694" y="9294"/>
                    <a:pt x="4222" y="8822"/>
                    <a:pt x="4222" y="8223"/>
                  </a:cubicBezTo>
                  <a:lnTo>
                    <a:pt x="4222" y="6616"/>
                  </a:lnTo>
                  <a:cubicBezTo>
                    <a:pt x="4253" y="4663"/>
                    <a:pt x="5671" y="3025"/>
                    <a:pt x="7498" y="2867"/>
                  </a:cubicBezTo>
                  <a:cubicBezTo>
                    <a:pt x="7609" y="2857"/>
                    <a:pt x="7719" y="2853"/>
                    <a:pt x="7828" y="2853"/>
                  </a:cubicBezTo>
                  <a:close/>
                  <a:moveTo>
                    <a:pt x="2518" y="4236"/>
                  </a:moveTo>
                  <a:cubicBezTo>
                    <a:pt x="3101" y="4236"/>
                    <a:pt x="3592" y="4754"/>
                    <a:pt x="3592" y="5324"/>
                  </a:cubicBezTo>
                  <a:lnTo>
                    <a:pt x="3592" y="8160"/>
                  </a:lnTo>
                  <a:cubicBezTo>
                    <a:pt x="3592" y="9137"/>
                    <a:pt x="4379" y="9924"/>
                    <a:pt x="5356" y="9924"/>
                  </a:cubicBezTo>
                  <a:lnTo>
                    <a:pt x="6207" y="9924"/>
                  </a:lnTo>
                  <a:cubicBezTo>
                    <a:pt x="6742" y="10365"/>
                    <a:pt x="7467" y="10617"/>
                    <a:pt x="8254" y="10617"/>
                  </a:cubicBezTo>
                  <a:cubicBezTo>
                    <a:pt x="9011" y="10617"/>
                    <a:pt x="9704" y="10428"/>
                    <a:pt x="10334" y="10050"/>
                  </a:cubicBezTo>
                  <a:cubicBezTo>
                    <a:pt x="10838" y="10334"/>
                    <a:pt x="11279" y="10838"/>
                    <a:pt x="11405" y="11436"/>
                  </a:cubicBezTo>
                  <a:lnTo>
                    <a:pt x="3907" y="11436"/>
                  </a:lnTo>
                  <a:cubicBezTo>
                    <a:pt x="2521" y="11436"/>
                    <a:pt x="1418" y="10271"/>
                    <a:pt x="1418" y="8916"/>
                  </a:cubicBezTo>
                  <a:lnTo>
                    <a:pt x="1418" y="5388"/>
                  </a:lnTo>
                  <a:cubicBezTo>
                    <a:pt x="1418" y="4852"/>
                    <a:pt x="1827" y="4348"/>
                    <a:pt x="2332" y="4253"/>
                  </a:cubicBezTo>
                  <a:cubicBezTo>
                    <a:pt x="2394" y="4241"/>
                    <a:pt x="2457" y="4236"/>
                    <a:pt x="2518" y="4236"/>
                  </a:cubicBezTo>
                  <a:close/>
                  <a:moveTo>
                    <a:pt x="1071" y="0"/>
                  </a:moveTo>
                  <a:cubicBezTo>
                    <a:pt x="473" y="0"/>
                    <a:pt x="0" y="473"/>
                    <a:pt x="0" y="1071"/>
                  </a:cubicBezTo>
                  <a:cubicBezTo>
                    <a:pt x="0" y="1652"/>
                    <a:pt x="504" y="2144"/>
                    <a:pt x="1052" y="2144"/>
                  </a:cubicBezTo>
                  <a:cubicBezTo>
                    <a:pt x="1069" y="2144"/>
                    <a:pt x="1086" y="2143"/>
                    <a:pt x="1103" y="2143"/>
                  </a:cubicBezTo>
                  <a:lnTo>
                    <a:pt x="1733" y="3749"/>
                  </a:lnTo>
                  <a:cubicBezTo>
                    <a:pt x="1103" y="4001"/>
                    <a:pt x="725" y="4694"/>
                    <a:pt x="725" y="5451"/>
                  </a:cubicBezTo>
                  <a:lnTo>
                    <a:pt x="725" y="8948"/>
                  </a:lnTo>
                  <a:cubicBezTo>
                    <a:pt x="725" y="10712"/>
                    <a:pt x="2174" y="12161"/>
                    <a:pt x="3938" y="12161"/>
                  </a:cubicBezTo>
                  <a:lnTo>
                    <a:pt x="11815" y="12161"/>
                  </a:lnTo>
                  <a:cubicBezTo>
                    <a:pt x="12035" y="12161"/>
                    <a:pt x="12193" y="12004"/>
                    <a:pt x="12193" y="11814"/>
                  </a:cubicBezTo>
                  <a:cubicBezTo>
                    <a:pt x="12193" y="11279"/>
                    <a:pt x="11972" y="10712"/>
                    <a:pt x="11657" y="10271"/>
                  </a:cubicBezTo>
                  <a:cubicBezTo>
                    <a:pt x="11468" y="10019"/>
                    <a:pt x="11247" y="9798"/>
                    <a:pt x="10964" y="9641"/>
                  </a:cubicBezTo>
                  <a:cubicBezTo>
                    <a:pt x="11657" y="8916"/>
                    <a:pt x="12193" y="7876"/>
                    <a:pt x="12193" y="6774"/>
                  </a:cubicBezTo>
                  <a:lnTo>
                    <a:pt x="12193" y="6427"/>
                  </a:lnTo>
                  <a:cubicBezTo>
                    <a:pt x="12193" y="4080"/>
                    <a:pt x="10259" y="2153"/>
                    <a:pt x="7898" y="2153"/>
                  </a:cubicBezTo>
                  <a:cubicBezTo>
                    <a:pt x="7756" y="2153"/>
                    <a:pt x="7612" y="2160"/>
                    <a:pt x="7467" y="2174"/>
                  </a:cubicBezTo>
                  <a:cubicBezTo>
                    <a:pt x="5986" y="2332"/>
                    <a:pt x="4726" y="3214"/>
                    <a:pt x="4064" y="4537"/>
                  </a:cubicBezTo>
                  <a:cubicBezTo>
                    <a:pt x="3875" y="4190"/>
                    <a:pt x="3592" y="3907"/>
                    <a:pt x="3245" y="3749"/>
                  </a:cubicBezTo>
                  <a:lnTo>
                    <a:pt x="3875" y="2143"/>
                  </a:lnTo>
                  <a:lnTo>
                    <a:pt x="3907" y="2143"/>
                  </a:lnTo>
                  <a:cubicBezTo>
                    <a:pt x="4505" y="2143"/>
                    <a:pt x="4978" y="1670"/>
                    <a:pt x="4978" y="1071"/>
                  </a:cubicBezTo>
                  <a:cubicBezTo>
                    <a:pt x="4978" y="473"/>
                    <a:pt x="4505" y="0"/>
                    <a:pt x="3907" y="0"/>
                  </a:cubicBezTo>
                  <a:cubicBezTo>
                    <a:pt x="3308" y="0"/>
                    <a:pt x="2836" y="473"/>
                    <a:pt x="2836" y="1071"/>
                  </a:cubicBezTo>
                  <a:cubicBezTo>
                    <a:pt x="2836" y="1386"/>
                    <a:pt x="2993" y="1670"/>
                    <a:pt x="3214" y="1859"/>
                  </a:cubicBezTo>
                  <a:lnTo>
                    <a:pt x="2521" y="3592"/>
                  </a:lnTo>
                  <a:lnTo>
                    <a:pt x="2458" y="3592"/>
                  </a:lnTo>
                  <a:lnTo>
                    <a:pt x="1796" y="1859"/>
                  </a:lnTo>
                  <a:cubicBezTo>
                    <a:pt x="2016" y="1670"/>
                    <a:pt x="2142" y="1386"/>
                    <a:pt x="2142" y="1071"/>
                  </a:cubicBezTo>
                  <a:cubicBezTo>
                    <a:pt x="2142" y="473"/>
                    <a:pt x="1670" y="0"/>
                    <a:pt x="1071"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1153" name="Google Shape;11153;p114"/>
            <p:cNvSpPr/>
            <p:nvPr/>
          </p:nvSpPr>
          <p:spPr>
            <a:xfrm>
              <a:off x="-17865425" y="2560150"/>
              <a:ext cx="17350" cy="17375"/>
            </a:xfrm>
            <a:custGeom>
              <a:avLst/>
              <a:gdLst/>
              <a:ahLst/>
              <a:cxnLst/>
              <a:rect l="l" t="t" r="r" b="b"/>
              <a:pathLst>
                <a:path w="694" h="695" extrusionOk="0">
                  <a:moveTo>
                    <a:pt x="347" y="1"/>
                  </a:moveTo>
                  <a:cubicBezTo>
                    <a:pt x="158" y="1"/>
                    <a:pt x="0" y="158"/>
                    <a:pt x="0" y="347"/>
                  </a:cubicBezTo>
                  <a:cubicBezTo>
                    <a:pt x="0" y="537"/>
                    <a:pt x="158" y="694"/>
                    <a:pt x="347" y="694"/>
                  </a:cubicBezTo>
                  <a:cubicBezTo>
                    <a:pt x="536" y="694"/>
                    <a:pt x="694" y="537"/>
                    <a:pt x="694" y="347"/>
                  </a:cubicBezTo>
                  <a:cubicBezTo>
                    <a:pt x="694" y="158"/>
                    <a:pt x="536" y="1"/>
                    <a:pt x="347"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11154" name="Google Shape;11154;p114"/>
          <p:cNvGrpSpPr/>
          <p:nvPr/>
        </p:nvGrpSpPr>
        <p:grpSpPr>
          <a:xfrm>
            <a:off x="8177821" y="3803639"/>
            <a:ext cx="555148" cy="626971"/>
            <a:chOff x="-17899300" y="2810625"/>
            <a:chExt cx="267825" cy="302475"/>
          </a:xfrm>
        </p:grpSpPr>
        <p:sp>
          <p:nvSpPr>
            <p:cNvPr id="11155" name="Google Shape;11155;p114"/>
            <p:cNvSpPr/>
            <p:nvPr/>
          </p:nvSpPr>
          <p:spPr>
            <a:xfrm>
              <a:off x="-17899300" y="2810625"/>
              <a:ext cx="267825" cy="302475"/>
            </a:xfrm>
            <a:custGeom>
              <a:avLst/>
              <a:gdLst/>
              <a:ahLst/>
              <a:cxnLst/>
              <a:rect l="l" t="t" r="r" b="b"/>
              <a:pathLst>
                <a:path w="10713" h="12099" extrusionOk="0">
                  <a:moveTo>
                    <a:pt x="1009" y="4978"/>
                  </a:moveTo>
                  <a:cubicBezTo>
                    <a:pt x="1482" y="4978"/>
                    <a:pt x="1860" y="5293"/>
                    <a:pt x="2017" y="5671"/>
                  </a:cubicBezTo>
                  <a:lnTo>
                    <a:pt x="1702" y="5671"/>
                  </a:lnTo>
                  <a:cubicBezTo>
                    <a:pt x="1229" y="5671"/>
                    <a:pt x="851" y="5356"/>
                    <a:pt x="694" y="4978"/>
                  </a:cubicBezTo>
                  <a:close/>
                  <a:moveTo>
                    <a:pt x="9862" y="4978"/>
                  </a:moveTo>
                  <a:cubicBezTo>
                    <a:pt x="9704" y="5356"/>
                    <a:pt x="9295" y="5671"/>
                    <a:pt x="8822" y="5671"/>
                  </a:cubicBezTo>
                  <a:lnTo>
                    <a:pt x="8507" y="5671"/>
                  </a:lnTo>
                  <a:cubicBezTo>
                    <a:pt x="8696" y="5262"/>
                    <a:pt x="9074" y="4978"/>
                    <a:pt x="9547" y="4978"/>
                  </a:cubicBezTo>
                  <a:close/>
                  <a:moveTo>
                    <a:pt x="5294" y="7845"/>
                  </a:moveTo>
                  <a:cubicBezTo>
                    <a:pt x="5451" y="7845"/>
                    <a:pt x="5609" y="7971"/>
                    <a:pt x="5640" y="8097"/>
                  </a:cubicBezTo>
                  <a:lnTo>
                    <a:pt x="5294" y="8507"/>
                  </a:lnTo>
                  <a:lnTo>
                    <a:pt x="4947" y="8097"/>
                  </a:lnTo>
                  <a:cubicBezTo>
                    <a:pt x="4979" y="7971"/>
                    <a:pt x="5136" y="7845"/>
                    <a:pt x="5294" y="7845"/>
                  </a:cubicBezTo>
                  <a:close/>
                  <a:moveTo>
                    <a:pt x="5294" y="4254"/>
                  </a:moveTo>
                  <a:cubicBezTo>
                    <a:pt x="6774" y="4254"/>
                    <a:pt x="7783" y="5104"/>
                    <a:pt x="7783" y="6742"/>
                  </a:cubicBezTo>
                  <a:cubicBezTo>
                    <a:pt x="7783" y="7467"/>
                    <a:pt x="7625" y="8192"/>
                    <a:pt x="7310" y="8885"/>
                  </a:cubicBezTo>
                  <a:lnTo>
                    <a:pt x="7310" y="8822"/>
                  </a:lnTo>
                  <a:cubicBezTo>
                    <a:pt x="7152" y="7845"/>
                    <a:pt x="6270" y="7152"/>
                    <a:pt x="5294" y="7152"/>
                  </a:cubicBezTo>
                  <a:cubicBezTo>
                    <a:pt x="4317" y="7152"/>
                    <a:pt x="3435" y="7845"/>
                    <a:pt x="3277" y="8822"/>
                  </a:cubicBezTo>
                  <a:lnTo>
                    <a:pt x="3277" y="8885"/>
                  </a:lnTo>
                  <a:cubicBezTo>
                    <a:pt x="2962" y="8192"/>
                    <a:pt x="2805" y="7467"/>
                    <a:pt x="2805" y="6742"/>
                  </a:cubicBezTo>
                  <a:cubicBezTo>
                    <a:pt x="2805" y="5104"/>
                    <a:pt x="3844" y="4254"/>
                    <a:pt x="5294" y="4254"/>
                  </a:cubicBezTo>
                  <a:close/>
                  <a:moveTo>
                    <a:pt x="4254" y="8412"/>
                  </a:moveTo>
                  <a:cubicBezTo>
                    <a:pt x="4317" y="8444"/>
                    <a:pt x="4254" y="8412"/>
                    <a:pt x="4947" y="9263"/>
                  </a:cubicBezTo>
                  <a:lnTo>
                    <a:pt x="4947" y="9546"/>
                  </a:lnTo>
                  <a:lnTo>
                    <a:pt x="4348" y="10114"/>
                  </a:lnTo>
                  <a:cubicBezTo>
                    <a:pt x="4191" y="10271"/>
                    <a:pt x="4191" y="10492"/>
                    <a:pt x="4348" y="10649"/>
                  </a:cubicBezTo>
                  <a:cubicBezTo>
                    <a:pt x="4427" y="10728"/>
                    <a:pt x="4514" y="10767"/>
                    <a:pt x="4601" y="10767"/>
                  </a:cubicBezTo>
                  <a:cubicBezTo>
                    <a:pt x="4687" y="10767"/>
                    <a:pt x="4774" y="10728"/>
                    <a:pt x="4853" y="10649"/>
                  </a:cubicBezTo>
                  <a:lnTo>
                    <a:pt x="5325" y="10177"/>
                  </a:lnTo>
                  <a:lnTo>
                    <a:pt x="5798" y="10649"/>
                  </a:lnTo>
                  <a:cubicBezTo>
                    <a:pt x="5876" y="10728"/>
                    <a:pt x="5971" y="10767"/>
                    <a:pt x="6065" y="10767"/>
                  </a:cubicBezTo>
                  <a:cubicBezTo>
                    <a:pt x="6160" y="10767"/>
                    <a:pt x="6255" y="10728"/>
                    <a:pt x="6333" y="10649"/>
                  </a:cubicBezTo>
                  <a:cubicBezTo>
                    <a:pt x="6491" y="10492"/>
                    <a:pt x="6491" y="10271"/>
                    <a:pt x="6333" y="10114"/>
                  </a:cubicBezTo>
                  <a:lnTo>
                    <a:pt x="5735" y="9546"/>
                  </a:lnTo>
                  <a:lnTo>
                    <a:pt x="5735" y="9263"/>
                  </a:lnTo>
                  <a:cubicBezTo>
                    <a:pt x="6428" y="8412"/>
                    <a:pt x="6396" y="8444"/>
                    <a:pt x="6396" y="8412"/>
                  </a:cubicBezTo>
                  <a:lnTo>
                    <a:pt x="6396" y="8412"/>
                  </a:lnTo>
                  <a:cubicBezTo>
                    <a:pt x="6522" y="8570"/>
                    <a:pt x="6617" y="8790"/>
                    <a:pt x="6680" y="8979"/>
                  </a:cubicBezTo>
                  <a:lnTo>
                    <a:pt x="6837" y="9893"/>
                  </a:lnTo>
                  <a:cubicBezTo>
                    <a:pt x="6869" y="10681"/>
                    <a:pt x="6270" y="11437"/>
                    <a:pt x="5451" y="11437"/>
                  </a:cubicBezTo>
                  <a:lnTo>
                    <a:pt x="5136" y="11437"/>
                  </a:lnTo>
                  <a:cubicBezTo>
                    <a:pt x="4317" y="11437"/>
                    <a:pt x="3687" y="10681"/>
                    <a:pt x="3844" y="9893"/>
                  </a:cubicBezTo>
                  <a:lnTo>
                    <a:pt x="4002" y="8979"/>
                  </a:lnTo>
                  <a:cubicBezTo>
                    <a:pt x="4033" y="8759"/>
                    <a:pt x="4096" y="8570"/>
                    <a:pt x="4254" y="8412"/>
                  </a:cubicBezTo>
                  <a:close/>
                  <a:moveTo>
                    <a:pt x="1040" y="0"/>
                  </a:moveTo>
                  <a:cubicBezTo>
                    <a:pt x="851" y="0"/>
                    <a:pt x="694" y="158"/>
                    <a:pt x="694" y="379"/>
                  </a:cubicBezTo>
                  <a:lnTo>
                    <a:pt x="694" y="1072"/>
                  </a:lnTo>
                  <a:cubicBezTo>
                    <a:pt x="694" y="1670"/>
                    <a:pt x="1166" y="2143"/>
                    <a:pt x="1734" y="2143"/>
                  </a:cubicBezTo>
                  <a:lnTo>
                    <a:pt x="2112" y="2143"/>
                  </a:lnTo>
                  <a:lnTo>
                    <a:pt x="2112" y="3529"/>
                  </a:lnTo>
                  <a:cubicBezTo>
                    <a:pt x="2112" y="3907"/>
                    <a:pt x="2332" y="4317"/>
                    <a:pt x="2679" y="4474"/>
                  </a:cubicBezTo>
                  <a:lnTo>
                    <a:pt x="2899" y="4537"/>
                  </a:lnTo>
                  <a:cubicBezTo>
                    <a:pt x="2742" y="4695"/>
                    <a:pt x="2616" y="4852"/>
                    <a:pt x="2521" y="5041"/>
                  </a:cubicBezTo>
                  <a:cubicBezTo>
                    <a:pt x="2206" y="4569"/>
                    <a:pt x="1671" y="4254"/>
                    <a:pt x="1072" y="4254"/>
                  </a:cubicBezTo>
                  <a:lnTo>
                    <a:pt x="379" y="4254"/>
                  </a:lnTo>
                  <a:cubicBezTo>
                    <a:pt x="158" y="4254"/>
                    <a:pt x="1" y="4411"/>
                    <a:pt x="1" y="4632"/>
                  </a:cubicBezTo>
                  <a:cubicBezTo>
                    <a:pt x="1" y="5608"/>
                    <a:pt x="788" y="6396"/>
                    <a:pt x="1797" y="6396"/>
                  </a:cubicBezTo>
                  <a:lnTo>
                    <a:pt x="2143" y="6396"/>
                  </a:lnTo>
                  <a:lnTo>
                    <a:pt x="2143" y="6742"/>
                  </a:lnTo>
                  <a:cubicBezTo>
                    <a:pt x="2143" y="7877"/>
                    <a:pt x="2521" y="9105"/>
                    <a:pt x="3151" y="10019"/>
                  </a:cubicBezTo>
                  <a:cubicBezTo>
                    <a:pt x="3120" y="11153"/>
                    <a:pt x="4065" y="12098"/>
                    <a:pt x="5199" y="12098"/>
                  </a:cubicBezTo>
                  <a:lnTo>
                    <a:pt x="5514" y="12098"/>
                  </a:lnTo>
                  <a:cubicBezTo>
                    <a:pt x="6680" y="12098"/>
                    <a:pt x="7625" y="11153"/>
                    <a:pt x="7562" y="10019"/>
                  </a:cubicBezTo>
                  <a:cubicBezTo>
                    <a:pt x="8192" y="9105"/>
                    <a:pt x="8602" y="7845"/>
                    <a:pt x="8602" y="6742"/>
                  </a:cubicBezTo>
                  <a:lnTo>
                    <a:pt x="8602" y="6396"/>
                  </a:lnTo>
                  <a:lnTo>
                    <a:pt x="8948" y="6396"/>
                  </a:lnTo>
                  <a:cubicBezTo>
                    <a:pt x="9925" y="6396"/>
                    <a:pt x="10712" y="5608"/>
                    <a:pt x="10712" y="4632"/>
                  </a:cubicBezTo>
                  <a:cubicBezTo>
                    <a:pt x="10649" y="4411"/>
                    <a:pt x="10492" y="4254"/>
                    <a:pt x="10303" y="4254"/>
                  </a:cubicBezTo>
                  <a:lnTo>
                    <a:pt x="9578" y="4254"/>
                  </a:lnTo>
                  <a:cubicBezTo>
                    <a:pt x="8980" y="4254"/>
                    <a:pt x="8444" y="4569"/>
                    <a:pt x="8129" y="5041"/>
                  </a:cubicBezTo>
                  <a:cubicBezTo>
                    <a:pt x="8003" y="4852"/>
                    <a:pt x="7909" y="4695"/>
                    <a:pt x="7783" y="4537"/>
                  </a:cubicBezTo>
                  <a:lnTo>
                    <a:pt x="7972" y="4474"/>
                  </a:lnTo>
                  <a:cubicBezTo>
                    <a:pt x="8318" y="4254"/>
                    <a:pt x="8570" y="3907"/>
                    <a:pt x="8570" y="3529"/>
                  </a:cubicBezTo>
                  <a:lnTo>
                    <a:pt x="8570" y="2143"/>
                  </a:lnTo>
                  <a:lnTo>
                    <a:pt x="8917" y="2143"/>
                  </a:lnTo>
                  <a:cubicBezTo>
                    <a:pt x="9515" y="2143"/>
                    <a:pt x="9988" y="1670"/>
                    <a:pt x="9988" y="1072"/>
                  </a:cubicBezTo>
                  <a:lnTo>
                    <a:pt x="9988" y="379"/>
                  </a:lnTo>
                  <a:cubicBezTo>
                    <a:pt x="9988" y="158"/>
                    <a:pt x="9830" y="0"/>
                    <a:pt x="9610" y="0"/>
                  </a:cubicBezTo>
                  <a:cubicBezTo>
                    <a:pt x="9421" y="0"/>
                    <a:pt x="9263" y="158"/>
                    <a:pt x="9263" y="379"/>
                  </a:cubicBezTo>
                  <a:lnTo>
                    <a:pt x="9263" y="1072"/>
                  </a:lnTo>
                  <a:cubicBezTo>
                    <a:pt x="9263" y="1261"/>
                    <a:pt x="9106" y="1418"/>
                    <a:pt x="8917" y="1418"/>
                  </a:cubicBezTo>
                  <a:lnTo>
                    <a:pt x="8570" y="1418"/>
                  </a:lnTo>
                  <a:lnTo>
                    <a:pt x="8570" y="1072"/>
                  </a:lnTo>
                  <a:cubicBezTo>
                    <a:pt x="8570" y="883"/>
                    <a:pt x="8413" y="725"/>
                    <a:pt x="8192" y="725"/>
                  </a:cubicBezTo>
                  <a:cubicBezTo>
                    <a:pt x="8003" y="725"/>
                    <a:pt x="7846" y="883"/>
                    <a:pt x="7846" y="1072"/>
                  </a:cubicBezTo>
                  <a:lnTo>
                    <a:pt x="7846" y="2143"/>
                  </a:lnTo>
                  <a:lnTo>
                    <a:pt x="7499" y="2143"/>
                  </a:lnTo>
                  <a:cubicBezTo>
                    <a:pt x="7310" y="2143"/>
                    <a:pt x="7152" y="1985"/>
                    <a:pt x="7152" y="1796"/>
                  </a:cubicBezTo>
                  <a:lnTo>
                    <a:pt x="7152" y="1072"/>
                  </a:lnTo>
                  <a:cubicBezTo>
                    <a:pt x="7152" y="883"/>
                    <a:pt x="6995" y="725"/>
                    <a:pt x="6774" y="725"/>
                  </a:cubicBezTo>
                  <a:cubicBezTo>
                    <a:pt x="6585" y="725"/>
                    <a:pt x="6428" y="883"/>
                    <a:pt x="6428" y="1072"/>
                  </a:cubicBezTo>
                  <a:lnTo>
                    <a:pt x="6428" y="1796"/>
                  </a:lnTo>
                  <a:cubicBezTo>
                    <a:pt x="6428" y="2363"/>
                    <a:pt x="6900" y="2836"/>
                    <a:pt x="7499" y="2836"/>
                  </a:cubicBezTo>
                  <a:lnTo>
                    <a:pt x="7846" y="2836"/>
                  </a:lnTo>
                  <a:lnTo>
                    <a:pt x="7846" y="3498"/>
                  </a:lnTo>
                  <a:cubicBezTo>
                    <a:pt x="7846" y="3624"/>
                    <a:pt x="7783" y="3781"/>
                    <a:pt x="7656" y="3813"/>
                  </a:cubicBezTo>
                  <a:lnTo>
                    <a:pt x="7184" y="4065"/>
                  </a:lnTo>
                  <a:cubicBezTo>
                    <a:pt x="6680" y="3750"/>
                    <a:pt x="6050" y="3592"/>
                    <a:pt x="5325" y="3592"/>
                  </a:cubicBezTo>
                  <a:cubicBezTo>
                    <a:pt x="4632" y="3592"/>
                    <a:pt x="4002" y="3750"/>
                    <a:pt x="3466" y="4065"/>
                  </a:cubicBezTo>
                  <a:lnTo>
                    <a:pt x="2994" y="3813"/>
                  </a:lnTo>
                  <a:cubicBezTo>
                    <a:pt x="2899" y="3750"/>
                    <a:pt x="2805" y="3624"/>
                    <a:pt x="2805" y="3498"/>
                  </a:cubicBezTo>
                  <a:lnTo>
                    <a:pt x="2805" y="2836"/>
                  </a:lnTo>
                  <a:lnTo>
                    <a:pt x="3151" y="2836"/>
                  </a:lnTo>
                  <a:cubicBezTo>
                    <a:pt x="3750" y="2836"/>
                    <a:pt x="4222" y="2363"/>
                    <a:pt x="4222" y="1796"/>
                  </a:cubicBezTo>
                  <a:lnTo>
                    <a:pt x="4222" y="1072"/>
                  </a:lnTo>
                  <a:cubicBezTo>
                    <a:pt x="4222" y="883"/>
                    <a:pt x="4065" y="725"/>
                    <a:pt x="3876" y="725"/>
                  </a:cubicBezTo>
                  <a:cubicBezTo>
                    <a:pt x="3687" y="725"/>
                    <a:pt x="3529" y="883"/>
                    <a:pt x="3529" y="1072"/>
                  </a:cubicBezTo>
                  <a:lnTo>
                    <a:pt x="3529" y="1796"/>
                  </a:lnTo>
                  <a:cubicBezTo>
                    <a:pt x="3529" y="1985"/>
                    <a:pt x="3372" y="2143"/>
                    <a:pt x="3151" y="2143"/>
                  </a:cubicBezTo>
                  <a:lnTo>
                    <a:pt x="2805" y="2143"/>
                  </a:lnTo>
                  <a:lnTo>
                    <a:pt x="2805" y="1072"/>
                  </a:lnTo>
                  <a:cubicBezTo>
                    <a:pt x="2805" y="883"/>
                    <a:pt x="2647" y="725"/>
                    <a:pt x="2458" y="725"/>
                  </a:cubicBezTo>
                  <a:cubicBezTo>
                    <a:pt x="2269" y="725"/>
                    <a:pt x="2112" y="883"/>
                    <a:pt x="2112" y="1072"/>
                  </a:cubicBezTo>
                  <a:lnTo>
                    <a:pt x="2112" y="1418"/>
                  </a:lnTo>
                  <a:lnTo>
                    <a:pt x="1734" y="1418"/>
                  </a:lnTo>
                  <a:cubicBezTo>
                    <a:pt x="1545" y="1418"/>
                    <a:pt x="1387" y="1261"/>
                    <a:pt x="1387" y="1072"/>
                  </a:cubicBezTo>
                  <a:lnTo>
                    <a:pt x="1387" y="379"/>
                  </a:lnTo>
                  <a:cubicBezTo>
                    <a:pt x="1387" y="158"/>
                    <a:pt x="1229" y="0"/>
                    <a:pt x="1040"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1156" name="Google Shape;11156;p114"/>
            <p:cNvSpPr/>
            <p:nvPr/>
          </p:nvSpPr>
          <p:spPr>
            <a:xfrm>
              <a:off x="-17740200" y="2952400"/>
              <a:ext cx="17350" cy="18125"/>
            </a:xfrm>
            <a:custGeom>
              <a:avLst/>
              <a:gdLst/>
              <a:ahLst/>
              <a:cxnLst/>
              <a:rect l="l" t="t" r="r" b="b"/>
              <a:pathLst>
                <a:path w="694" h="725" extrusionOk="0">
                  <a:moveTo>
                    <a:pt x="347" y="0"/>
                  </a:moveTo>
                  <a:cubicBezTo>
                    <a:pt x="158" y="0"/>
                    <a:pt x="1" y="158"/>
                    <a:pt x="1" y="378"/>
                  </a:cubicBezTo>
                  <a:cubicBezTo>
                    <a:pt x="1" y="567"/>
                    <a:pt x="158" y="725"/>
                    <a:pt x="347" y="725"/>
                  </a:cubicBezTo>
                  <a:cubicBezTo>
                    <a:pt x="536" y="725"/>
                    <a:pt x="694" y="567"/>
                    <a:pt x="694" y="378"/>
                  </a:cubicBezTo>
                  <a:cubicBezTo>
                    <a:pt x="694" y="158"/>
                    <a:pt x="536" y="0"/>
                    <a:pt x="347"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1157" name="Google Shape;11157;p114"/>
            <p:cNvSpPr/>
            <p:nvPr/>
          </p:nvSpPr>
          <p:spPr>
            <a:xfrm>
              <a:off x="-17811075" y="2952400"/>
              <a:ext cx="17350" cy="18125"/>
            </a:xfrm>
            <a:custGeom>
              <a:avLst/>
              <a:gdLst/>
              <a:ahLst/>
              <a:cxnLst/>
              <a:rect l="l" t="t" r="r" b="b"/>
              <a:pathLst>
                <a:path w="694" h="725" extrusionOk="0">
                  <a:moveTo>
                    <a:pt x="347" y="0"/>
                  </a:moveTo>
                  <a:cubicBezTo>
                    <a:pt x="158" y="0"/>
                    <a:pt x="0" y="158"/>
                    <a:pt x="0" y="378"/>
                  </a:cubicBezTo>
                  <a:cubicBezTo>
                    <a:pt x="0" y="567"/>
                    <a:pt x="158" y="725"/>
                    <a:pt x="347" y="725"/>
                  </a:cubicBezTo>
                  <a:cubicBezTo>
                    <a:pt x="536" y="725"/>
                    <a:pt x="693" y="567"/>
                    <a:pt x="693" y="378"/>
                  </a:cubicBezTo>
                  <a:cubicBezTo>
                    <a:pt x="693" y="158"/>
                    <a:pt x="536" y="0"/>
                    <a:pt x="347"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11158" name="Google Shape;11158;p114"/>
          <p:cNvGrpSpPr/>
          <p:nvPr/>
        </p:nvGrpSpPr>
        <p:grpSpPr>
          <a:xfrm>
            <a:off x="2718957" y="4614889"/>
            <a:ext cx="630235" cy="589452"/>
            <a:chOff x="-16066500" y="2060800"/>
            <a:chExt cx="304050" cy="284375"/>
          </a:xfrm>
        </p:grpSpPr>
        <p:sp>
          <p:nvSpPr>
            <p:cNvPr id="11159" name="Google Shape;11159;p114"/>
            <p:cNvSpPr/>
            <p:nvPr/>
          </p:nvSpPr>
          <p:spPr>
            <a:xfrm>
              <a:off x="-15978275" y="2203375"/>
              <a:ext cx="18125" cy="18125"/>
            </a:xfrm>
            <a:custGeom>
              <a:avLst/>
              <a:gdLst/>
              <a:ahLst/>
              <a:cxnLst/>
              <a:rect l="l" t="t" r="r" b="b"/>
              <a:pathLst>
                <a:path w="725" h="725" extrusionOk="0">
                  <a:moveTo>
                    <a:pt x="347" y="0"/>
                  </a:moveTo>
                  <a:cubicBezTo>
                    <a:pt x="158" y="0"/>
                    <a:pt x="0" y="158"/>
                    <a:pt x="0" y="347"/>
                  </a:cubicBezTo>
                  <a:cubicBezTo>
                    <a:pt x="0" y="567"/>
                    <a:pt x="158" y="725"/>
                    <a:pt x="347" y="725"/>
                  </a:cubicBezTo>
                  <a:cubicBezTo>
                    <a:pt x="567" y="725"/>
                    <a:pt x="725" y="567"/>
                    <a:pt x="725" y="347"/>
                  </a:cubicBezTo>
                  <a:cubicBezTo>
                    <a:pt x="725" y="158"/>
                    <a:pt x="567" y="0"/>
                    <a:pt x="347"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1160" name="Google Shape;11160;p114"/>
            <p:cNvSpPr/>
            <p:nvPr/>
          </p:nvSpPr>
          <p:spPr>
            <a:xfrm>
              <a:off x="-15869575" y="2203375"/>
              <a:ext cx="17350" cy="18125"/>
            </a:xfrm>
            <a:custGeom>
              <a:avLst/>
              <a:gdLst/>
              <a:ahLst/>
              <a:cxnLst/>
              <a:rect l="l" t="t" r="r" b="b"/>
              <a:pathLst>
                <a:path w="694" h="725" extrusionOk="0">
                  <a:moveTo>
                    <a:pt x="347" y="0"/>
                  </a:moveTo>
                  <a:cubicBezTo>
                    <a:pt x="158" y="0"/>
                    <a:pt x="0" y="158"/>
                    <a:pt x="0" y="347"/>
                  </a:cubicBezTo>
                  <a:cubicBezTo>
                    <a:pt x="0" y="567"/>
                    <a:pt x="158" y="725"/>
                    <a:pt x="347" y="725"/>
                  </a:cubicBezTo>
                  <a:cubicBezTo>
                    <a:pt x="536" y="725"/>
                    <a:pt x="693" y="567"/>
                    <a:pt x="693" y="347"/>
                  </a:cubicBezTo>
                  <a:cubicBezTo>
                    <a:pt x="693" y="158"/>
                    <a:pt x="536" y="0"/>
                    <a:pt x="347"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1161" name="Google Shape;11161;p114"/>
            <p:cNvSpPr/>
            <p:nvPr/>
          </p:nvSpPr>
          <p:spPr>
            <a:xfrm>
              <a:off x="-15954650" y="2186825"/>
              <a:ext cx="78775" cy="88250"/>
            </a:xfrm>
            <a:custGeom>
              <a:avLst/>
              <a:gdLst/>
              <a:ahLst/>
              <a:cxnLst/>
              <a:rect l="l" t="t" r="r" b="b"/>
              <a:pathLst>
                <a:path w="3151" h="3530" extrusionOk="0">
                  <a:moveTo>
                    <a:pt x="1607" y="662"/>
                  </a:moveTo>
                  <a:cubicBezTo>
                    <a:pt x="1891" y="662"/>
                    <a:pt x="2080" y="820"/>
                    <a:pt x="2174" y="1103"/>
                  </a:cubicBezTo>
                  <a:lnTo>
                    <a:pt x="2458" y="2111"/>
                  </a:lnTo>
                  <a:cubicBezTo>
                    <a:pt x="2489" y="2269"/>
                    <a:pt x="2458" y="2490"/>
                    <a:pt x="2332" y="2584"/>
                  </a:cubicBezTo>
                  <a:cubicBezTo>
                    <a:pt x="2206" y="2710"/>
                    <a:pt x="2048" y="2805"/>
                    <a:pt x="1891" y="2805"/>
                  </a:cubicBezTo>
                  <a:lnTo>
                    <a:pt x="1387" y="2805"/>
                  </a:lnTo>
                  <a:cubicBezTo>
                    <a:pt x="1229" y="2805"/>
                    <a:pt x="1072" y="2710"/>
                    <a:pt x="946" y="2584"/>
                  </a:cubicBezTo>
                  <a:cubicBezTo>
                    <a:pt x="788" y="2458"/>
                    <a:pt x="757" y="2269"/>
                    <a:pt x="788" y="2111"/>
                  </a:cubicBezTo>
                  <a:lnTo>
                    <a:pt x="1072" y="1103"/>
                  </a:lnTo>
                  <a:cubicBezTo>
                    <a:pt x="1135" y="851"/>
                    <a:pt x="1355" y="662"/>
                    <a:pt x="1607" y="662"/>
                  </a:cubicBezTo>
                  <a:close/>
                  <a:moveTo>
                    <a:pt x="1576" y="1"/>
                  </a:moveTo>
                  <a:cubicBezTo>
                    <a:pt x="977" y="1"/>
                    <a:pt x="473" y="379"/>
                    <a:pt x="347" y="946"/>
                  </a:cubicBezTo>
                  <a:lnTo>
                    <a:pt x="95" y="1954"/>
                  </a:lnTo>
                  <a:cubicBezTo>
                    <a:pt x="1" y="2364"/>
                    <a:pt x="95" y="2742"/>
                    <a:pt x="316" y="3057"/>
                  </a:cubicBezTo>
                  <a:cubicBezTo>
                    <a:pt x="599" y="3340"/>
                    <a:pt x="946" y="3529"/>
                    <a:pt x="1355" y="3529"/>
                  </a:cubicBezTo>
                  <a:lnTo>
                    <a:pt x="1859" y="3529"/>
                  </a:lnTo>
                  <a:cubicBezTo>
                    <a:pt x="2237" y="3529"/>
                    <a:pt x="2615" y="3340"/>
                    <a:pt x="2836" y="3057"/>
                  </a:cubicBezTo>
                  <a:cubicBezTo>
                    <a:pt x="3088" y="2742"/>
                    <a:pt x="3151" y="2364"/>
                    <a:pt x="3088" y="1954"/>
                  </a:cubicBezTo>
                  <a:lnTo>
                    <a:pt x="2804" y="946"/>
                  </a:lnTo>
                  <a:cubicBezTo>
                    <a:pt x="2647" y="379"/>
                    <a:pt x="2174" y="1"/>
                    <a:pt x="1576"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1162" name="Google Shape;11162;p114"/>
            <p:cNvSpPr/>
            <p:nvPr/>
          </p:nvSpPr>
          <p:spPr>
            <a:xfrm>
              <a:off x="-16066500" y="2060800"/>
              <a:ext cx="304050" cy="284375"/>
            </a:xfrm>
            <a:custGeom>
              <a:avLst/>
              <a:gdLst/>
              <a:ahLst/>
              <a:cxnLst/>
              <a:rect l="l" t="t" r="r" b="b"/>
              <a:pathLst>
                <a:path w="12162" h="11375" extrusionOk="0">
                  <a:moveTo>
                    <a:pt x="9326" y="694"/>
                  </a:moveTo>
                  <a:cubicBezTo>
                    <a:pt x="10492" y="694"/>
                    <a:pt x="11437" y="1639"/>
                    <a:pt x="11437" y="2836"/>
                  </a:cubicBezTo>
                  <a:cubicBezTo>
                    <a:pt x="11437" y="2962"/>
                    <a:pt x="11437" y="3025"/>
                    <a:pt x="11406" y="3120"/>
                  </a:cubicBezTo>
                  <a:cubicBezTo>
                    <a:pt x="10996" y="2584"/>
                    <a:pt x="10334" y="2269"/>
                    <a:pt x="9673" y="2175"/>
                  </a:cubicBezTo>
                  <a:cubicBezTo>
                    <a:pt x="9649" y="2170"/>
                    <a:pt x="9625" y="2168"/>
                    <a:pt x="9602" y="2168"/>
                  </a:cubicBezTo>
                  <a:cubicBezTo>
                    <a:pt x="9302" y="2168"/>
                    <a:pt x="9153" y="2537"/>
                    <a:pt x="9358" y="2742"/>
                  </a:cubicBezTo>
                  <a:cubicBezTo>
                    <a:pt x="9767" y="3151"/>
                    <a:pt x="9988" y="3687"/>
                    <a:pt x="9988" y="4254"/>
                  </a:cubicBezTo>
                  <a:cubicBezTo>
                    <a:pt x="9988" y="4412"/>
                    <a:pt x="9988" y="4569"/>
                    <a:pt x="9956" y="4727"/>
                  </a:cubicBezTo>
                  <a:cubicBezTo>
                    <a:pt x="9484" y="3844"/>
                    <a:pt x="8759" y="3120"/>
                    <a:pt x="7909" y="2616"/>
                  </a:cubicBezTo>
                  <a:cubicBezTo>
                    <a:pt x="7657" y="2521"/>
                    <a:pt x="7468" y="2395"/>
                    <a:pt x="7247" y="2301"/>
                  </a:cubicBezTo>
                  <a:cubicBezTo>
                    <a:pt x="7468" y="1356"/>
                    <a:pt x="8287" y="694"/>
                    <a:pt x="9326" y="694"/>
                  </a:cubicBezTo>
                  <a:close/>
                  <a:moveTo>
                    <a:pt x="2836" y="757"/>
                  </a:moveTo>
                  <a:cubicBezTo>
                    <a:pt x="3813" y="757"/>
                    <a:pt x="4664" y="1419"/>
                    <a:pt x="4916" y="2364"/>
                  </a:cubicBezTo>
                  <a:cubicBezTo>
                    <a:pt x="3718" y="2742"/>
                    <a:pt x="2773" y="3687"/>
                    <a:pt x="2206" y="4758"/>
                  </a:cubicBezTo>
                  <a:cubicBezTo>
                    <a:pt x="2143" y="4601"/>
                    <a:pt x="2112" y="4443"/>
                    <a:pt x="2112" y="4286"/>
                  </a:cubicBezTo>
                  <a:cubicBezTo>
                    <a:pt x="2112" y="3750"/>
                    <a:pt x="2364" y="3183"/>
                    <a:pt x="2742" y="2773"/>
                  </a:cubicBezTo>
                  <a:cubicBezTo>
                    <a:pt x="2970" y="2574"/>
                    <a:pt x="2811" y="2193"/>
                    <a:pt x="2521" y="2193"/>
                  </a:cubicBezTo>
                  <a:cubicBezTo>
                    <a:pt x="2491" y="2193"/>
                    <a:pt x="2459" y="2197"/>
                    <a:pt x="2427" y="2206"/>
                  </a:cubicBezTo>
                  <a:cubicBezTo>
                    <a:pt x="1765" y="2269"/>
                    <a:pt x="1135" y="2616"/>
                    <a:pt x="694" y="3151"/>
                  </a:cubicBezTo>
                  <a:cubicBezTo>
                    <a:pt x="536" y="1891"/>
                    <a:pt x="1513" y="757"/>
                    <a:pt x="2836" y="757"/>
                  </a:cubicBezTo>
                  <a:close/>
                  <a:moveTo>
                    <a:pt x="6050" y="2836"/>
                  </a:moveTo>
                  <a:cubicBezTo>
                    <a:pt x="8224" y="2836"/>
                    <a:pt x="9988" y="5325"/>
                    <a:pt x="9988" y="7468"/>
                  </a:cubicBezTo>
                  <a:cubicBezTo>
                    <a:pt x="10019" y="9862"/>
                    <a:pt x="7909" y="10713"/>
                    <a:pt x="6050" y="10713"/>
                  </a:cubicBezTo>
                  <a:cubicBezTo>
                    <a:pt x="4254" y="10713"/>
                    <a:pt x="2112" y="9893"/>
                    <a:pt x="2112" y="7468"/>
                  </a:cubicBezTo>
                  <a:cubicBezTo>
                    <a:pt x="2112" y="5325"/>
                    <a:pt x="3876" y="2836"/>
                    <a:pt x="6050" y="2836"/>
                  </a:cubicBezTo>
                  <a:close/>
                  <a:moveTo>
                    <a:pt x="2836" y="1"/>
                  </a:moveTo>
                  <a:cubicBezTo>
                    <a:pt x="1261" y="1"/>
                    <a:pt x="1" y="1293"/>
                    <a:pt x="1" y="2836"/>
                  </a:cubicBezTo>
                  <a:cubicBezTo>
                    <a:pt x="1" y="3246"/>
                    <a:pt x="64" y="3655"/>
                    <a:pt x="253" y="4034"/>
                  </a:cubicBezTo>
                  <a:cubicBezTo>
                    <a:pt x="316" y="4175"/>
                    <a:pt x="450" y="4246"/>
                    <a:pt x="580" y="4246"/>
                  </a:cubicBezTo>
                  <a:cubicBezTo>
                    <a:pt x="710" y="4246"/>
                    <a:pt x="836" y="4175"/>
                    <a:pt x="883" y="4034"/>
                  </a:cubicBezTo>
                  <a:cubicBezTo>
                    <a:pt x="1040" y="3687"/>
                    <a:pt x="1293" y="3403"/>
                    <a:pt x="1608" y="3214"/>
                  </a:cubicBezTo>
                  <a:lnTo>
                    <a:pt x="1608" y="3214"/>
                  </a:lnTo>
                  <a:cubicBezTo>
                    <a:pt x="1482" y="3529"/>
                    <a:pt x="1419" y="3876"/>
                    <a:pt x="1419" y="4254"/>
                  </a:cubicBezTo>
                  <a:cubicBezTo>
                    <a:pt x="1419" y="4727"/>
                    <a:pt x="1513" y="5199"/>
                    <a:pt x="1765" y="5577"/>
                  </a:cubicBezTo>
                  <a:cubicBezTo>
                    <a:pt x="1513" y="6176"/>
                    <a:pt x="1419" y="6806"/>
                    <a:pt x="1419" y="7436"/>
                  </a:cubicBezTo>
                  <a:cubicBezTo>
                    <a:pt x="1419" y="9988"/>
                    <a:pt x="3498" y="11374"/>
                    <a:pt x="6050" y="11374"/>
                  </a:cubicBezTo>
                  <a:cubicBezTo>
                    <a:pt x="8665" y="11374"/>
                    <a:pt x="10713" y="9988"/>
                    <a:pt x="10713" y="7436"/>
                  </a:cubicBezTo>
                  <a:cubicBezTo>
                    <a:pt x="10713" y="6806"/>
                    <a:pt x="10586" y="6176"/>
                    <a:pt x="10334" y="5577"/>
                  </a:cubicBezTo>
                  <a:cubicBezTo>
                    <a:pt x="10586" y="5136"/>
                    <a:pt x="10713" y="4727"/>
                    <a:pt x="10713" y="4254"/>
                  </a:cubicBezTo>
                  <a:cubicBezTo>
                    <a:pt x="10713" y="3876"/>
                    <a:pt x="10618" y="3529"/>
                    <a:pt x="10492" y="3214"/>
                  </a:cubicBezTo>
                  <a:lnTo>
                    <a:pt x="10492" y="3214"/>
                  </a:lnTo>
                  <a:cubicBezTo>
                    <a:pt x="10776" y="3403"/>
                    <a:pt x="11028" y="3687"/>
                    <a:pt x="11217" y="4034"/>
                  </a:cubicBezTo>
                  <a:cubicBezTo>
                    <a:pt x="11280" y="4175"/>
                    <a:pt x="11406" y="4246"/>
                    <a:pt x="11532" y="4246"/>
                  </a:cubicBezTo>
                  <a:cubicBezTo>
                    <a:pt x="11658" y="4246"/>
                    <a:pt x="11784" y="4175"/>
                    <a:pt x="11847" y="4034"/>
                  </a:cubicBezTo>
                  <a:cubicBezTo>
                    <a:pt x="12036" y="3655"/>
                    <a:pt x="12130" y="3246"/>
                    <a:pt x="12130" y="2836"/>
                  </a:cubicBezTo>
                  <a:cubicBezTo>
                    <a:pt x="12162" y="1293"/>
                    <a:pt x="10870" y="1"/>
                    <a:pt x="9295" y="1"/>
                  </a:cubicBezTo>
                  <a:cubicBezTo>
                    <a:pt x="7940" y="1"/>
                    <a:pt x="6837" y="915"/>
                    <a:pt x="6522" y="2175"/>
                  </a:cubicBezTo>
                  <a:cubicBezTo>
                    <a:pt x="6365" y="2112"/>
                    <a:pt x="6207" y="2112"/>
                    <a:pt x="6050" y="2112"/>
                  </a:cubicBezTo>
                  <a:cubicBezTo>
                    <a:pt x="5892" y="2112"/>
                    <a:pt x="5735" y="2112"/>
                    <a:pt x="5577" y="2175"/>
                  </a:cubicBezTo>
                  <a:cubicBezTo>
                    <a:pt x="5262" y="915"/>
                    <a:pt x="4128" y="1"/>
                    <a:pt x="2836"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1163" name="Google Shape;11163;p114"/>
            <p:cNvSpPr/>
            <p:nvPr/>
          </p:nvSpPr>
          <p:spPr>
            <a:xfrm>
              <a:off x="-15960175" y="2287225"/>
              <a:ext cx="91400" cy="24075"/>
            </a:xfrm>
            <a:custGeom>
              <a:avLst/>
              <a:gdLst/>
              <a:ahLst/>
              <a:cxnLst/>
              <a:rect l="l" t="t" r="r" b="b"/>
              <a:pathLst>
                <a:path w="3656" h="963" extrusionOk="0">
                  <a:moveTo>
                    <a:pt x="437" y="1"/>
                  </a:moveTo>
                  <a:cubicBezTo>
                    <a:pt x="284" y="1"/>
                    <a:pt x="142" y="114"/>
                    <a:pt x="64" y="269"/>
                  </a:cubicBezTo>
                  <a:cubicBezTo>
                    <a:pt x="1" y="458"/>
                    <a:pt x="96" y="647"/>
                    <a:pt x="316" y="742"/>
                  </a:cubicBezTo>
                  <a:cubicBezTo>
                    <a:pt x="852" y="931"/>
                    <a:pt x="1450" y="962"/>
                    <a:pt x="1828" y="962"/>
                  </a:cubicBezTo>
                  <a:cubicBezTo>
                    <a:pt x="2238" y="962"/>
                    <a:pt x="2836" y="931"/>
                    <a:pt x="3372" y="742"/>
                  </a:cubicBezTo>
                  <a:cubicBezTo>
                    <a:pt x="3593" y="647"/>
                    <a:pt x="3656" y="458"/>
                    <a:pt x="3624" y="269"/>
                  </a:cubicBezTo>
                  <a:cubicBezTo>
                    <a:pt x="3546" y="114"/>
                    <a:pt x="3383" y="1"/>
                    <a:pt x="3240" y="1"/>
                  </a:cubicBezTo>
                  <a:cubicBezTo>
                    <a:pt x="3209" y="1"/>
                    <a:pt x="3179" y="6"/>
                    <a:pt x="3151" y="17"/>
                  </a:cubicBezTo>
                  <a:cubicBezTo>
                    <a:pt x="2679" y="206"/>
                    <a:pt x="2143" y="238"/>
                    <a:pt x="1828" y="238"/>
                  </a:cubicBezTo>
                  <a:cubicBezTo>
                    <a:pt x="1482" y="238"/>
                    <a:pt x="1009" y="206"/>
                    <a:pt x="537" y="17"/>
                  </a:cubicBezTo>
                  <a:cubicBezTo>
                    <a:pt x="503" y="6"/>
                    <a:pt x="470" y="1"/>
                    <a:pt x="437"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sp>
        <p:nvSpPr>
          <p:cNvPr id="11164" name="Google Shape;11164;p114"/>
          <p:cNvSpPr/>
          <p:nvPr/>
        </p:nvSpPr>
        <p:spPr>
          <a:xfrm>
            <a:off x="5793270" y="4593016"/>
            <a:ext cx="633500" cy="633448"/>
          </a:xfrm>
          <a:custGeom>
            <a:avLst/>
            <a:gdLst/>
            <a:ahLst/>
            <a:cxnLst/>
            <a:rect l="l" t="t" r="r" b="b"/>
            <a:pathLst>
              <a:path w="12225" h="12224" extrusionOk="0">
                <a:moveTo>
                  <a:pt x="6522" y="1638"/>
                </a:moveTo>
                <a:lnTo>
                  <a:pt x="9074" y="2678"/>
                </a:lnTo>
                <a:lnTo>
                  <a:pt x="8507" y="3245"/>
                </a:lnTo>
                <a:lnTo>
                  <a:pt x="6522" y="2426"/>
                </a:lnTo>
                <a:lnTo>
                  <a:pt x="6522" y="1638"/>
                </a:lnTo>
                <a:close/>
                <a:moveTo>
                  <a:pt x="5766" y="1670"/>
                </a:moveTo>
                <a:lnTo>
                  <a:pt x="5766" y="2457"/>
                </a:lnTo>
                <a:lnTo>
                  <a:pt x="3750" y="3277"/>
                </a:lnTo>
                <a:lnTo>
                  <a:pt x="3214" y="2741"/>
                </a:lnTo>
                <a:lnTo>
                  <a:pt x="5766" y="1670"/>
                </a:lnTo>
                <a:close/>
                <a:moveTo>
                  <a:pt x="5766" y="3214"/>
                </a:moveTo>
                <a:lnTo>
                  <a:pt x="5766" y="4001"/>
                </a:lnTo>
                <a:lnTo>
                  <a:pt x="4821" y="4348"/>
                </a:lnTo>
                <a:lnTo>
                  <a:pt x="4254" y="3781"/>
                </a:lnTo>
                <a:lnTo>
                  <a:pt x="5766" y="3214"/>
                </a:lnTo>
                <a:close/>
                <a:moveTo>
                  <a:pt x="6459" y="3214"/>
                </a:moveTo>
                <a:lnTo>
                  <a:pt x="7972" y="3781"/>
                </a:lnTo>
                <a:lnTo>
                  <a:pt x="7404" y="4348"/>
                </a:lnTo>
                <a:lnTo>
                  <a:pt x="6459" y="4001"/>
                </a:lnTo>
                <a:lnTo>
                  <a:pt x="6459" y="3214"/>
                </a:lnTo>
                <a:close/>
                <a:moveTo>
                  <a:pt x="5766" y="4726"/>
                </a:moveTo>
                <a:lnTo>
                  <a:pt x="5766" y="5293"/>
                </a:lnTo>
                <a:lnTo>
                  <a:pt x="5357" y="4883"/>
                </a:lnTo>
                <a:lnTo>
                  <a:pt x="5766" y="4726"/>
                </a:lnTo>
                <a:close/>
                <a:moveTo>
                  <a:pt x="6459" y="4726"/>
                </a:moveTo>
                <a:lnTo>
                  <a:pt x="6869" y="4883"/>
                </a:lnTo>
                <a:lnTo>
                  <a:pt x="6459" y="5293"/>
                </a:lnTo>
                <a:lnTo>
                  <a:pt x="6459" y="4726"/>
                </a:lnTo>
                <a:close/>
                <a:moveTo>
                  <a:pt x="2679" y="3214"/>
                </a:moveTo>
                <a:lnTo>
                  <a:pt x="3246" y="3749"/>
                </a:lnTo>
                <a:lnTo>
                  <a:pt x="2427" y="5765"/>
                </a:lnTo>
                <a:lnTo>
                  <a:pt x="1639" y="5765"/>
                </a:lnTo>
                <a:lnTo>
                  <a:pt x="2679" y="3214"/>
                </a:lnTo>
                <a:close/>
                <a:moveTo>
                  <a:pt x="4853" y="5356"/>
                </a:moveTo>
                <a:lnTo>
                  <a:pt x="5262" y="5765"/>
                </a:lnTo>
                <a:lnTo>
                  <a:pt x="4695" y="5765"/>
                </a:lnTo>
                <a:lnTo>
                  <a:pt x="4853" y="5356"/>
                </a:lnTo>
                <a:close/>
                <a:moveTo>
                  <a:pt x="7373" y="5356"/>
                </a:moveTo>
                <a:lnTo>
                  <a:pt x="7531" y="5765"/>
                </a:lnTo>
                <a:lnTo>
                  <a:pt x="6995" y="5765"/>
                </a:lnTo>
                <a:lnTo>
                  <a:pt x="7373" y="5356"/>
                </a:lnTo>
                <a:close/>
                <a:moveTo>
                  <a:pt x="8476" y="4253"/>
                </a:moveTo>
                <a:lnTo>
                  <a:pt x="9074" y="5765"/>
                </a:lnTo>
                <a:lnTo>
                  <a:pt x="8287" y="5765"/>
                </a:lnTo>
                <a:lnTo>
                  <a:pt x="7940" y="4820"/>
                </a:lnTo>
                <a:lnTo>
                  <a:pt x="8476" y="4253"/>
                </a:lnTo>
                <a:close/>
                <a:moveTo>
                  <a:pt x="9547" y="3214"/>
                </a:moveTo>
                <a:lnTo>
                  <a:pt x="10618" y="5765"/>
                </a:lnTo>
                <a:lnTo>
                  <a:pt x="9830" y="5765"/>
                </a:lnTo>
                <a:lnTo>
                  <a:pt x="8980" y="3749"/>
                </a:lnTo>
                <a:lnTo>
                  <a:pt x="9547" y="3214"/>
                </a:lnTo>
                <a:close/>
                <a:moveTo>
                  <a:pt x="3781" y="4316"/>
                </a:moveTo>
                <a:lnTo>
                  <a:pt x="4348" y="4852"/>
                </a:lnTo>
                <a:lnTo>
                  <a:pt x="4002" y="5797"/>
                </a:lnTo>
                <a:lnTo>
                  <a:pt x="3214" y="5797"/>
                </a:lnTo>
                <a:lnTo>
                  <a:pt x="3781" y="4316"/>
                </a:lnTo>
                <a:close/>
                <a:moveTo>
                  <a:pt x="5262" y="6522"/>
                </a:moveTo>
                <a:lnTo>
                  <a:pt x="4853" y="6900"/>
                </a:lnTo>
                <a:lnTo>
                  <a:pt x="4695" y="6522"/>
                </a:lnTo>
                <a:close/>
                <a:moveTo>
                  <a:pt x="7531" y="6522"/>
                </a:moveTo>
                <a:lnTo>
                  <a:pt x="7373" y="6900"/>
                </a:lnTo>
                <a:lnTo>
                  <a:pt x="6995" y="6522"/>
                </a:lnTo>
                <a:close/>
                <a:moveTo>
                  <a:pt x="5766" y="6994"/>
                </a:moveTo>
                <a:lnTo>
                  <a:pt x="5766" y="7530"/>
                </a:lnTo>
                <a:lnTo>
                  <a:pt x="5357" y="7372"/>
                </a:lnTo>
                <a:lnTo>
                  <a:pt x="5766" y="6994"/>
                </a:lnTo>
                <a:close/>
                <a:moveTo>
                  <a:pt x="6459" y="6994"/>
                </a:moveTo>
                <a:lnTo>
                  <a:pt x="6869" y="7372"/>
                </a:lnTo>
                <a:lnTo>
                  <a:pt x="6459" y="7530"/>
                </a:lnTo>
                <a:lnTo>
                  <a:pt x="6459" y="6994"/>
                </a:lnTo>
                <a:close/>
                <a:moveTo>
                  <a:pt x="9074" y="6459"/>
                </a:moveTo>
                <a:lnTo>
                  <a:pt x="8476" y="7971"/>
                </a:lnTo>
                <a:lnTo>
                  <a:pt x="7940" y="7404"/>
                </a:lnTo>
                <a:lnTo>
                  <a:pt x="8287" y="6459"/>
                </a:lnTo>
                <a:close/>
                <a:moveTo>
                  <a:pt x="3939" y="6522"/>
                </a:moveTo>
                <a:lnTo>
                  <a:pt x="4317" y="7467"/>
                </a:lnTo>
                <a:lnTo>
                  <a:pt x="3750" y="8002"/>
                </a:lnTo>
                <a:lnTo>
                  <a:pt x="3151" y="6522"/>
                </a:lnTo>
                <a:close/>
                <a:moveTo>
                  <a:pt x="2458" y="6522"/>
                </a:moveTo>
                <a:lnTo>
                  <a:pt x="3277" y="8506"/>
                </a:lnTo>
                <a:lnTo>
                  <a:pt x="2742" y="9073"/>
                </a:lnTo>
                <a:lnTo>
                  <a:pt x="1671" y="6522"/>
                </a:lnTo>
                <a:close/>
                <a:moveTo>
                  <a:pt x="4853" y="7939"/>
                </a:moveTo>
                <a:lnTo>
                  <a:pt x="5798" y="8286"/>
                </a:lnTo>
                <a:lnTo>
                  <a:pt x="5798" y="9073"/>
                </a:lnTo>
                <a:lnTo>
                  <a:pt x="4317" y="8475"/>
                </a:lnTo>
                <a:lnTo>
                  <a:pt x="4853" y="7939"/>
                </a:lnTo>
                <a:close/>
                <a:moveTo>
                  <a:pt x="7404" y="7939"/>
                </a:moveTo>
                <a:lnTo>
                  <a:pt x="7972" y="8475"/>
                </a:lnTo>
                <a:lnTo>
                  <a:pt x="6491" y="9073"/>
                </a:lnTo>
                <a:lnTo>
                  <a:pt x="6491" y="8286"/>
                </a:lnTo>
                <a:lnTo>
                  <a:pt x="6459" y="8286"/>
                </a:lnTo>
                <a:lnTo>
                  <a:pt x="7404" y="7939"/>
                </a:lnTo>
                <a:close/>
                <a:moveTo>
                  <a:pt x="10649" y="6522"/>
                </a:moveTo>
                <a:lnTo>
                  <a:pt x="9578" y="9073"/>
                </a:lnTo>
                <a:lnTo>
                  <a:pt x="9043" y="8506"/>
                </a:lnTo>
                <a:lnTo>
                  <a:pt x="9862" y="6522"/>
                </a:lnTo>
                <a:close/>
                <a:moveTo>
                  <a:pt x="8476" y="8979"/>
                </a:moveTo>
                <a:lnTo>
                  <a:pt x="9043" y="9546"/>
                </a:lnTo>
                <a:lnTo>
                  <a:pt x="6459" y="10617"/>
                </a:lnTo>
                <a:lnTo>
                  <a:pt x="6459" y="9830"/>
                </a:lnTo>
                <a:lnTo>
                  <a:pt x="8476" y="8979"/>
                </a:lnTo>
                <a:close/>
                <a:moveTo>
                  <a:pt x="3750" y="9042"/>
                </a:moveTo>
                <a:lnTo>
                  <a:pt x="5766" y="9861"/>
                </a:lnTo>
                <a:lnTo>
                  <a:pt x="5766" y="10649"/>
                </a:lnTo>
                <a:lnTo>
                  <a:pt x="3214" y="9578"/>
                </a:lnTo>
                <a:lnTo>
                  <a:pt x="3750" y="9042"/>
                </a:lnTo>
                <a:close/>
                <a:moveTo>
                  <a:pt x="6113" y="0"/>
                </a:moveTo>
                <a:cubicBezTo>
                  <a:pt x="5924" y="0"/>
                  <a:pt x="5766" y="158"/>
                  <a:pt x="5766" y="347"/>
                </a:cubicBezTo>
                <a:lnTo>
                  <a:pt x="5766" y="882"/>
                </a:lnTo>
                <a:lnTo>
                  <a:pt x="2647" y="2142"/>
                </a:lnTo>
                <a:lnTo>
                  <a:pt x="2332" y="1827"/>
                </a:lnTo>
                <a:cubicBezTo>
                  <a:pt x="2253" y="1749"/>
                  <a:pt x="2167" y="1709"/>
                  <a:pt x="2080" y="1709"/>
                </a:cubicBezTo>
                <a:cubicBezTo>
                  <a:pt x="1994" y="1709"/>
                  <a:pt x="1907" y="1749"/>
                  <a:pt x="1828" y="1827"/>
                </a:cubicBezTo>
                <a:cubicBezTo>
                  <a:pt x="1671" y="1985"/>
                  <a:pt x="1671" y="2174"/>
                  <a:pt x="1828" y="2331"/>
                </a:cubicBezTo>
                <a:lnTo>
                  <a:pt x="2143" y="2647"/>
                </a:lnTo>
                <a:lnTo>
                  <a:pt x="883" y="5765"/>
                </a:lnTo>
                <a:lnTo>
                  <a:pt x="379" y="5765"/>
                </a:lnTo>
                <a:cubicBezTo>
                  <a:pt x="158" y="5765"/>
                  <a:pt x="1" y="5923"/>
                  <a:pt x="1" y="6112"/>
                </a:cubicBezTo>
                <a:cubicBezTo>
                  <a:pt x="1" y="6301"/>
                  <a:pt x="158" y="6459"/>
                  <a:pt x="379" y="6459"/>
                </a:cubicBezTo>
                <a:lnTo>
                  <a:pt x="883" y="6459"/>
                </a:lnTo>
                <a:lnTo>
                  <a:pt x="2143" y="9578"/>
                </a:lnTo>
                <a:lnTo>
                  <a:pt x="1828" y="9893"/>
                </a:lnTo>
                <a:cubicBezTo>
                  <a:pt x="1671" y="10050"/>
                  <a:pt x="1671" y="10239"/>
                  <a:pt x="1828" y="10397"/>
                </a:cubicBezTo>
                <a:cubicBezTo>
                  <a:pt x="1907" y="10475"/>
                  <a:pt x="1994" y="10515"/>
                  <a:pt x="2080" y="10515"/>
                </a:cubicBezTo>
                <a:cubicBezTo>
                  <a:pt x="2167" y="10515"/>
                  <a:pt x="2253" y="10475"/>
                  <a:pt x="2332" y="10397"/>
                </a:cubicBezTo>
                <a:lnTo>
                  <a:pt x="2647" y="10082"/>
                </a:lnTo>
                <a:lnTo>
                  <a:pt x="5766" y="11342"/>
                </a:lnTo>
                <a:lnTo>
                  <a:pt x="5766" y="11877"/>
                </a:lnTo>
                <a:cubicBezTo>
                  <a:pt x="5766" y="12066"/>
                  <a:pt x="5924" y="12224"/>
                  <a:pt x="6113" y="12224"/>
                </a:cubicBezTo>
                <a:cubicBezTo>
                  <a:pt x="6302" y="12224"/>
                  <a:pt x="6459" y="12066"/>
                  <a:pt x="6459" y="11877"/>
                </a:cubicBezTo>
                <a:lnTo>
                  <a:pt x="6459" y="11405"/>
                </a:lnTo>
                <a:lnTo>
                  <a:pt x="9578" y="10145"/>
                </a:lnTo>
                <a:lnTo>
                  <a:pt x="9893" y="10460"/>
                </a:lnTo>
                <a:cubicBezTo>
                  <a:pt x="9972" y="10538"/>
                  <a:pt x="10067" y="10578"/>
                  <a:pt x="10157" y="10578"/>
                </a:cubicBezTo>
                <a:cubicBezTo>
                  <a:pt x="10248" y="10578"/>
                  <a:pt x="10334" y="10538"/>
                  <a:pt x="10397" y="10460"/>
                </a:cubicBezTo>
                <a:cubicBezTo>
                  <a:pt x="10555" y="10302"/>
                  <a:pt x="10555" y="10082"/>
                  <a:pt x="10397" y="9924"/>
                </a:cubicBezTo>
                <a:lnTo>
                  <a:pt x="10082" y="9609"/>
                </a:lnTo>
                <a:lnTo>
                  <a:pt x="11343" y="6522"/>
                </a:lnTo>
                <a:lnTo>
                  <a:pt x="11878" y="6522"/>
                </a:lnTo>
                <a:cubicBezTo>
                  <a:pt x="12067" y="6522"/>
                  <a:pt x="12225" y="6364"/>
                  <a:pt x="12225" y="6144"/>
                </a:cubicBezTo>
                <a:cubicBezTo>
                  <a:pt x="12225" y="5955"/>
                  <a:pt x="12067" y="5765"/>
                  <a:pt x="11878" y="5765"/>
                </a:cubicBezTo>
                <a:lnTo>
                  <a:pt x="11343" y="5765"/>
                </a:lnTo>
                <a:lnTo>
                  <a:pt x="10082" y="2647"/>
                </a:lnTo>
                <a:lnTo>
                  <a:pt x="10397" y="2331"/>
                </a:lnTo>
                <a:cubicBezTo>
                  <a:pt x="10555" y="2174"/>
                  <a:pt x="10555" y="1985"/>
                  <a:pt x="10397" y="1827"/>
                </a:cubicBezTo>
                <a:cubicBezTo>
                  <a:pt x="10319" y="1749"/>
                  <a:pt x="10232" y="1709"/>
                  <a:pt x="10145" y="1709"/>
                </a:cubicBezTo>
                <a:cubicBezTo>
                  <a:pt x="10059" y="1709"/>
                  <a:pt x="9972" y="1749"/>
                  <a:pt x="9893" y="1827"/>
                </a:cubicBezTo>
                <a:lnTo>
                  <a:pt x="9578" y="2142"/>
                </a:lnTo>
                <a:lnTo>
                  <a:pt x="6459" y="882"/>
                </a:lnTo>
                <a:lnTo>
                  <a:pt x="6459" y="347"/>
                </a:lnTo>
                <a:cubicBezTo>
                  <a:pt x="6459" y="158"/>
                  <a:pt x="6302" y="0"/>
                  <a:pt x="6113"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1165" name="Google Shape;11165;p114"/>
          <p:cNvSpPr/>
          <p:nvPr/>
        </p:nvSpPr>
        <p:spPr>
          <a:xfrm>
            <a:off x="8958322" y="4593198"/>
            <a:ext cx="522501" cy="633085"/>
          </a:xfrm>
          <a:custGeom>
            <a:avLst/>
            <a:gdLst/>
            <a:ahLst/>
            <a:cxnLst/>
            <a:rect l="l" t="t" r="r" b="b"/>
            <a:pathLst>
              <a:path w="10083" h="12217" extrusionOk="0">
                <a:moveTo>
                  <a:pt x="5356" y="1001"/>
                </a:moveTo>
                <a:cubicBezTo>
                  <a:pt x="5577" y="1316"/>
                  <a:pt x="5734" y="1694"/>
                  <a:pt x="5734" y="2104"/>
                </a:cubicBezTo>
                <a:cubicBezTo>
                  <a:pt x="5734" y="2135"/>
                  <a:pt x="5734" y="2198"/>
                  <a:pt x="5766" y="2261"/>
                </a:cubicBezTo>
                <a:cubicBezTo>
                  <a:pt x="5624" y="2230"/>
                  <a:pt x="5498" y="2214"/>
                  <a:pt x="5372" y="2214"/>
                </a:cubicBezTo>
                <a:cubicBezTo>
                  <a:pt x="5246" y="2214"/>
                  <a:pt x="5120" y="2230"/>
                  <a:pt x="4978" y="2261"/>
                </a:cubicBezTo>
                <a:cubicBezTo>
                  <a:pt x="5010" y="2198"/>
                  <a:pt x="5010" y="2135"/>
                  <a:pt x="5010" y="2104"/>
                </a:cubicBezTo>
                <a:cubicBezTo>
                  <a:pt x="5041" y="1663"/>
                  <a:pt x="5167" y="1316"/>
                  <a:pt x="5356" y="1001"/>
                </a:cubicBezTo>
                <a:close/>
                <a:moveTo>
                  <a:pt x="3529" y="1474"/>
                </a:moveTo>
                <a:cubicBezTo>
                  <a:pt x="3876" y="1631"/>
                  <a:pt x="4159" y="1883"/>
                  <a:pt x="4380" y="2261"/>
                </a:cubicBezTo>
                <a:lnTo>
                  <a:pt x="4506" y="2356"/>
                </a:lnTo>
                <a:cubicBezTo>
                  <a:pt x="4254" y="2450"/>
                  <a:pt x="4033" y="2608"/>
                  <a:pt x="3844" y="2765"/>
                </a:cubicBezTo>
                <a:cubicBezTo>
                  <a:pt x="3844" y="2734"/>
                  <a:pt x="3844" y="2639"/>
                  <a:pt x="3781" y="2608"/>
                </a:cubicBezTo>
                <a:cubicBezTo>
                  <a:pt x="3592" y="2261"/>
                  <a:pt x="3529" y="1852"/>
                  <a:pt x="3529" y="1474"/>
                </a:cubicBezTo>
                <a:close/>
                <a:moveTo>
                  <a:pt x="7247" y="1474"/>
                </a:moveTo>
                <a:lnTo>
                  <a:pt x="7247" y="1474"/>
                </a:lnTo>
                <a:cubicBezTo>
                  <a:pt x="7310" y="1852"/>
                  <a:pt x="7215" y="2261"/>
                  <a:pt x="7026" y="2608"/>
                </a:cubicBezTo>
                <a:cubicBezTo>
                  <a:pt x="6995" y="2639"/>
                  <a:pt x="6995" y="2734"/>
                  <a:pt x="6995" y="2765"/>
                </a:cubicBezTo>
                <a:cubicBezTo>
                  <a:pt x="6806" y="2608"/>
                  <a:pt x="6554" y="2450"/>
                  <a:pt x="6301" y="2356"/>
                </a:cubicBezTo>
                <a:cubicBezTo>
                  <a:pt x="6301" y="2324"/>
                  <a:pt x="6364" y="2293"/>
                  <a:pt x="6396" y="2261"/>
                </a:cubicBezTo>
                <a:cubicBezTo>
                  <a:pt x="6585" y="1883"/>
                  <a:pt x="6900" y="1663"/>
                  <a:pt x="7247" y="1474"/>
                </a:cubicBezTo>
                <a:close/>
                <a:moveTo>
                  <a:pt x="2143" y="2797"/>
                </a:moveTo>
                <a:cubicBezTo>
                  <a:pt x="2521" y="2797"/>
                  <a:pt x="2930" y="2891"/>
                  <a:pt x="3277" y="3080"/>
                </a:cubicBezTo>
                <a:cubicBezTo>
                  <a:pt x="3309" y="3112"/>
                  <a:pt x="3403" y="3112"/>
                  <a:pt x="3435" y="3112"/>
                </a:cubicBezTo>
                <a:cubicBezTo>
                  <a:pt x="3277" y="3301"/>
                  <a:pt x="3119" y="3553"/>
                  <a:pt x="3056" y="3773"/>
                </a:cubicBezTo>
                <a:lnTo>
                  <a:pt x="2930" y="3647"/>
                </a:lnTo>
                <a:cubicBezTo>
                  <a:pt x="2584" y="3458"/>
                  <a:pt x="2332" y="3143"/>
                  <a:pt x="2143" y="2797"/>
                </a:cubicBezTo>
                <a:close/>
                <a:moveTo>
                  <a:pt x="8487" y="2822"/>
                </a:moveTo>
                <a:cubicBezTo>
                  <a:pt x="8536" y="2822"/>
                  <a:pt x="8585" y="2824"/>
                  <a:pt x="8633" y="2828"/>
                </a:cubicBezTo>
                <a:cubicBezTo>
                  <a:pt x="8475" y="3206"/>
                  <a:pt x="8192" y="3458"/>
                  <a:pt x="7845" y="3710"/>
                </a:cubicBezTo>
                <a:lnTo>
                  <a:pt x="7719" y="3836"/>
                </a:lnTo>
                <a:cubicBezTo>
                  <a:pt x="7656" y="3584"/>
                  <a:pt x="7499" y="3364"/>
                  <a:pt x="7341" y="3143"/>
                </a:cubicBezTo>
                <a:cubicBezTo>
                  <a:pt x="7373" y="3112"/>
                  <a:pt x="7404" y="3112"/>
                  <a:pt x="7499" y="3080"/>
                </a:cubicBezTo>
                <a:cubicBezTo>
                  <a:pt x="7801" y="2915"/>
                  <a:pt x="8152" y="2822"/>
                  <a:pt x="8487" y="2822"/>
                </a:cubicBezTo>
                <a:close/>
                <a:moveTo>
                  <a:pt x="2930" y="4309"/>
                </a:moveTo>
                <a:lnTo>
                  <a:pt x="2930" y="4309"/>
                </a:lnTo>
                <a:cubicBezTo>
                  <a:pt x="2899" y="4561"/>
                  <a:pt x="2899" y="4813"/>
                  <a:pt x="2930" y="5097"/>
                </a:cubicBezTo>
                <a:cubicBezTo>
                  <a:pt x="2899" y="5034"/>
                  <a:pt x="2804" y="5034"/>
                  <a:pt x="2773" y="5034"/>
                </a:cubicBezTo>
                <a:cubicBezTo>
                  <a:pt x="2363" y="5034"/>
                  <a:pt x="1985" y="4939"/>
                  <a:pt x="1670" y="4687"/>
                </a:cubicBezTo>
                <a:cubicBezTo>
                  <a:pt x="1985" y="4498"/>
                  <a:pt x="2363" y="4341"/>
                  <a:pt x="2773" y="4341"/>
                </a:cubicBezTo>
                <a:cubicBezTo>
                  <a:pt x="2804" y="4341"/>
                  <a:pt x="2899" y="4341"/>
                  <a:pt x="2930" y="4309"/>
                </a:cubicBezTo>
                <a:close/>
                <a:moveTo>
                  <a:pt x="7845" y="4309"/>
                </a:moveTo>
                <a:cubicBezTo>
                  <a:pt x="7877" y="4341"/>
                  <a:pt x="7971" y="4341"/>
                  <a:pt x="8003" y="4341"/>
                </a:cubicBezTo>
                <a:cubicBezTo>
                  <a:pt x="8412" y="4372"/>
                  <a:pt x="8790" y="4498"/>
                  <a:pt x="9105" y="4687"/>
                </a:cubicBezTo>
                <a:cubicBezTo>
                  <a:pt x="8790" y="4876"/>
                  <a:pt x="8412" y="5034"/>
                  <a:pt x="8003" y="5034"/>
                </a:cubicBezTo>
                <a:cubicBezTo>
                  <a:pt x="7971" y="5034"/>
                  <a:pt x="7877" y="5034"/>
                  <a:pt x="7845" y="5097"/>
                </a:cubicBezTo>
                <a:cubicBezTo>
                  <a:pt x="7877" y="4813"/>
                  <a:pt x="7877" y="4561"/>
                  <a:pt x="7845" y="4309"/>
                </a:cubicBezTo>
                <a:close/>
                <a:moveTo>
                  <a:pt x="5356" y="2923"/>
                </a:moveTo>
                <a:cubicBezTo>
                  <a:pt x="6364" y="2923"/>
                  <a:pt x="7152" y="3710"/>
                  <a:pt x="7152" y="4687"/>
                </a:cubicBezTo>
                <a:cubicBezTo>
                  <a:pt x="7152" y="5664"/>
                  <a:pt x="6364" y="6451"/>
                  <a:pt x="5356" y="6451"/>
                </a:cubicBezTo>
                <a:cubicBezTo>
                  <a:pt x="4380" y="6451"/>
                  <a:pt x="3592" y="5664"/>
                  <a:pt x="3592" y="4687"/>
                </a:cubicBezTo>
                <a:cubicBezTo>
                  <a:pt x="3592" y="3710"/>
                  <a:pt x="4380" y="2923"/>
                  <a:pt x="5356" y="2923"/>
                </a:cubicBezTo>
                <a:close/>
                <a:moveTo>
                  <a:pt x="3056" y="5601"/>
                </a:moveTo>
                <a:cubicBezTo>
                  <a:pt x="3119" y="5821"/>
                  <a:pt x="3277" y="6073"/>
                  <a:pt x="3435" y="6262"/>
                </a:cubicBezTo>
                <a:cubicBezTo>
                  <a:pt x="3403" y="6262"/>
                  <a:pt x="3309" y="6262"/>
                  <a:pt x="3277" y="6294"/>
                </a:cubicBezTo>
                <a:cubicBezTo>
                  <a:pt x="2985" y="6479"/>
                  <a:pt x="2649" y="6554"/>
                  <a:pt x="2324" y="6554"/>
                </a:cubicBezTo>
                <a:cubicBezTo>
                  <a:pt x="2263" y="6554"/>
                  <a:pt x="2203" y="6551"/>
                  <a:pt x="2143" y="6546"/>
                </a:cubicBezTo>
                <a:cubicBezTo>
                  <a:pt x="2300" y="6199"/>
                  <a:pt x="2584" y="5916"/>
                  <a:pt x="2930" y="5664"/>
                </a:cubicBezTo>
                <a:cubicBezTo>
                  <a:pt x="2962" y="5664"/>
                  <a:pt x="2993" y="5632"/>
                  <a:pt x="3056" y="5601"/>
                </a:cubicBezTo>
                <a:close/>
                <a:moveTo>
                  <a:pt x="7719" y="5601"/>
                </a:moveTo>
                <a:lnTo>
                  <a:pt x="7845" y="5727"/>
                </a:lnTo>
                <a:cubicBezTo>
                  <a:pt x="8192" y="5916"/>
                  <a:pt x="8444" y="6231"/>
                  <a:pt x="8633" y="6577"/>
                </a:cubicBezTo>
                <a:cubicBezTo>
                  <a:pt x="8571" y="6583"/>
                  <a:pt x="8509" y="6585"/>
                  <a:pt x="8447" y="6585"/>
                </a:cubicBezTo>
                <a:cubicBezTo>
                  <a:pt x="8124" y="6585"/>
                  <a:pt x="7789" y="6515"/>
                  <a:pt x="7499" y="6357"/>
                </a:cubicBezTo>
                <a:cubicBezTo>
                  <a:pt x="7467" y="6294"/>
                  <a:pt x="7373" y="6294"/>
                  <a:pt x="7341" y="6294"/>
                </a:cubicBezTo>
                <a:cubicBezTo>
                  <a:pt x="7499" y="6073"/>
                  <a:pt x="7625" y="5821"/>
                  <a:pt x="7719" y="5601"/>
                </a:cubicBezTo>
                <a:close/>
                <a:moveTo>
                  <a:pt x="3781" y="6609"/>
                </a:moveTo>
                <a:cubicBezTo>
                  <a:pt x="4002" y="6766"/>
                  <a:pt x="4222" y="6924"/>
                  <a:pt x="4474" y="7018"/>
                </a:cubicBezTo>
                <a:lnTo>
                  <a:pt x="4348" y="7144"/>
                </a:lnTo>
                <a:cubicBezTo>
                  <a:pt x="4159" y="7491"/>
                  <a:pt x="3844" y="7712"/>
                  <a:pt x="3466" y="7932"/>
                </a:cubicBezTo>
                <a:cubicBezTo>
                  <a:pt x="3529" y="7523"/>
                  <a:pt x="3592" y="7144"/>
                  <a:pt x="3750" y="6766"/>
                </a:cubicBezTo>
                <a:cubicBezTo>
                  <a:pt x="3781" y="6735"/>
                  <a:pt x="3781" y="6672"/>
                  <a:pt x="3781" y="6609"/>
                </a:cubicBezTo>
                <a:close/>
                <a:moveTo>
                  <a:pt x="6932" y="6609"/>
                </a:moveTo>
                <a:cubicBezTo>
                  <a:pt x="6932" y="6672"/>
                  <a:pt x="6932" y="6735"/>
                  <a:pt x="6995" y="6766"/>
                </a:cubicBezTo>
                <a:cubicBezTo>
                  <a:pt x="7184" y="7144"/>
                  <a:pt x="7247" y="7523"/>
                  <a:pt x="7215" y="7932"/>
                </a:cubicBezTo>
                <a:cubicBezTo>
                  <a:pt x="6869" y="7775"/>
                  <a:pt x="6585" y="7491"/>
                  <a:pt x="6364" y="7144"/>
                </a:cubicBezTo>
                <a:lnTo>
                  <a:pt x="6238" y="7018"/>
                </a:lnTo>
                <a:cubicBezTo>
                  <a:pt x="6522" y="6924"/>
                  <a:pt x="6743" y="6829"/>
                  <a:pt x="6932" y="6609"/>
                </a:cubicBezTo>
                <a:close/>
                <a:moveTo>
                  <a:pt x="5766" y="7176"/>
                </a:moveTo>
                <a:cubicBezTo>
                  <a:pt x="5766" y="7207"/>
                  <a:pt x="5734" y="7239"/>
                  <a:pt x="5734" y="7334"/>
                </a:cubicBezTo>
                <a:cubicBezTo>
                  <a:pt x="5734" y="7712"/>
                  <a:pt x="5608" y="8121"/>
                  <a:pt x="5356" y="8436"/>
                </a:cubicBezTo>
                <a:cubicBezTo>
                  <a:pt x="5167" y="8121"/>
                  <a:pt x="5010" y="7712"/>
                  <a:pt x="5010" y="7334"/>
                </a:cubicBezTo>
                <a:cubicBezTo>
                  <a:pt x="5010" y="7302"/>
                  <a:pt x="5010" y="7207"/>
                  <a:pt x="4978" y="7176"/>
                </a:cubicBezTo>
                <a:lnTo>
                  <a:pt x="4978" y="7176"/>
                </a:lnTo>
                <a:cubicBezTo>
                  <a:pt x="5120" y="7192"/>
                  <a:pt x="5246" y="7200"/>
                  <a:pt x="5372" y="7200"/>
                </a:cubicBezTo>
                <a:cubicBezTo>
                  <a:pt x="5498" y="7200"/>
                  <a:pt x="5624" y="7192"/>
                  <a:pt x="5766" y="7176"/>
                </a:cubicBezTo>
                <a:close/>
                <a:moveTo>
                  <a:pt x="7971" y="7460"/>
                </a:moveTo>
                <a:cubicBezTo>
                  <a:pt x="8790" y="7869"/>
                  <a:pt x="9357" y="8751"/>
                  <a:pt x="9357" y="9728"/>
                </a:cubicBezTo>
                <a:lnTo>
                  <a:pt x="9357" y="10295"/>
                </a:lnTo>
                <a:lnTo>
                  <a:pt x="8538" y="9444"/>
                </a:lnTo>
                <a:cubicBezTo>
                  <a:pt x="8460" y="9366"/>
                  <a:pt x="8365" y="9326"/>
                  <a:pt x="8271" y="9326"/>
                </a:cubicBezTo>
                <a:cubicBezTo>
                  <a:pt x="8176" y="9326"/>
                  <a:pt x="8082" y="9366"/>
                  <a:pt x="8003" y="9444"/>
                </a:cubicBezTo>
                <a:cubicBezTo>
                  <a:pt x="7845" y="9602"/>
                  <a:pt x="7845" y="9822"/>
                  <a:pt x="8003" y="9980"/>
                </a:cubicBezTo>
                <a:lnTo>
                  <a:pt x="8853" y="10799"/>
                </a:lnTo>
                <a:lnTo>
                  <a:pt x="8286" y="10799"/>
                </a:lnTo>
                <a:cubicBezTo>
                  <a:pt x="7152" y="10799"/>
                  <a:pt x="6144" y="10043"/>
                  <a:pt x="5829" y="8972"/>
                </a:cubicBezTo>
                <a:cubicBezTo>
                  <a:pt x="6049" y="8751"/>
                  <a:pt x="6207" y="8436"/>
                  <a:pt x="6301" y="8121"/>
                </a:cubicBezTo>
                <a:cubicBezTo>
                  <a:pt x="6617" y="8405"/>
                  <a:pt x="7026" y="8625"/>
                  <a:pt x="7467" y="8720"/>
                </a:cubicBezTo>
                <a:cubicBezTo>
                  <a:pt x="7487" y="8723"/>
                  <a:pt x="7507" y="8725"/>
                  <a:pt x="7526" y="8725"/>
                </a:cubicBezTo>
                <a:cubicBezTo>
                  <a:pt x="7694" y="8725"/>
                  <a:pt x="7849" y="8609"/>
                  <a:pt x="7877" y="8468"/>
                </a:cubicBezTo>
                <a:cubicBezTo>
                  <a:pt x="7971" y="8121"/>
                  <a:pt x="8003" y="7806"/>
                  <a:pt x="7971" y="7460"/>
                </a:cubicBezTo>
                <a:close/>
                <a:moveTo>
                  <a:pt x="2836" y="7365"/>
                </a:moveTo>
                <a:cubicBezTo>
                  <a:pt x="2804" y="7712"/>
                  <a:pt x="2804" y="8121"/>
                  <a:pt x="2930" y="8468"/>
                </a:cubicBezTo>
                <a:cubicBezTo>
                  <a:pt x="2956" y="8623"/>
                  <a:pt x="3089" y="8736"/>
                  <a:pt x="3258" y="8736"/>
                </a:cubicBezTo>
                <a:cubicBezTo>
                  <a:pt x="3294" y="8736"/>
                  <a:pt x="3332" y="8731"/>
                  <a:pt x="3372" y="8720"/>
                </a:cubicBezTo>
                <a:cubicBezTo>
                  <a:pt x="3781" y="8594"/>
                  <a:pt x="4159" y="8373"/>
                  <a:pt x="4506" y="8121"/>
                </a:cubicBezTo>
                <a:cubicBezTo>
                  <a:pt x="4632" y="8436"/>
                  <a:pt x="4789" y="8751"/>
                  <a:pt x="4978" y="8972"/>
                </a:cubicBezTo>
                <a:cubicBezTo>
                  <a:pt x="4569" y="10452"/>
                  <a:pt x="3277" y="11492"/>
                  <a:pt x="1828" y="11492"/>
                </a:cubicBezTo>
                <a:lnTo>
                  <a:pt x="1261" y="11492"/>
                </a:lnTo>
                <a:lnTo>
                  <a:pt x="2804" y="9980"/>
                </a:lnTo>
                <a:cubicBezTo>
                  <a:pt x="2962" y="9822"/>
                  <a:pt x="2962" y="9602"/>
                  <a:pt x="2804" y="9444"/>
                </a:cubicBezTo>
                <a:cubicBezTo>
                  <a:pt x="2726" y="9366"/>
                  <a:pt x="2639" y="9326"/>
                  <a:pt x="2552" y="9326"/>
                </a:cubicBezTo>
                <a:cubicBezTo>
                  <a:pt x="2466" y="9326"/>
                  <a:pt x="2379" y="9366"/>
                  <a:pt x="2300" y="9444"/>
                </a:cubicBezTo>
                <a:lnTo>
                  <a:pt x="757" y="10988"/>
                </a:lnTo>
                <a:lnTo>
                  <a:pt x="757" y="10452"/>
                </a:lnTo>
                <a:cubicBezTo>
                  <a:pt x="757" y="9066"/>
                  <a:pt x="1639" y="7838"/>
                  <a:pt x="2836" y="7365"/>
                </a:cubicBezTo>
                <a:close/>
                <a:moveTo>
                  <a:pt x="5388" y="1"/>
                </a:moveTo>
                <a:cubicBezTo>
                  <a:pt x="5301" y="1"/>
                  <a:pt x="5215" y="40"/>
                  <a:pt x="5136" y="119"/>
                </a:cubicBezTo>
                <a:cubicBezTo>
                  <a:pt x="4821" y="434"/>
                  <a:pt x="4569" y="781"/>
                  <a:pt x="4474" y="1222"/>
                </a:cubicBezTo>
                <a:cubicBezTo>
                  <a:pt x="4159" y="938"/>
                  <a:pt x="3750" y="718"/>
                  <a:pt x="3309" y="623"/>
                </a:cubicBezTo>
                <a:cubicBezTo>
                  <a:pt x="3289" y="620"/>
                  <a:pt x="3269" y="618"/>
                  <a:pt x="3250" y="618"/>
                </a:cubicBezTo>
                <a:cubicBezTo>
                  <a:pt x="3082" y="618"/>
                  <a:pt x="2927" y="734"/>
                  <a:pt x="2899" y="875"/>
                </a:cubicBezTo>
                <a:cubicBezTo>
                  <a:pt x="2773" y="1316"/>
                  <a:pt x="2773" y="1726"/>
                  <a:pt x="2836" y="2135"/>
                </a:cubicBezTo>
                <a:cubicBezTo>
                  <a:pt x="2646" y="2091"/>
                  <a:pt x="2449" y="2068"/>
                  <a:pt x="2252" y="2068"/>
                </a:cubicBezTo>
                <a:cubicBezTo>
                  <a:pt x="2024" y="2068"/>
                  <a:pt x="1795" y="2099"/>
                  <a:pt x="1576" y="2167"/>
                </a:cubicBezTo>
                <a:cubicBezTo>
                  <a:pt x="1513" y="2198"/>
                  <a:pt x="1418" y="2261"/>
                  <a:pt x="1387" y="2324"/>
                </a:cubicBezTo>
                <a:cubicBezTo>
                  <a:pt x="1355" y="2419"/>
                  <a:pt x="1324" y="2513"/>
                  <a:pt x="1355" y="2608"/>
                </a:cubicBezTo>
                <a:cubicBezTo>
                  <a:pt x="1481" y="3049"/>
                  <a:pt x="1670" y="3395"/>
                  <a:pt x="1954" y="3742"/>
                </a:cubicBezTo>
                <a:cubicBezTo>
                  <a:pt x="1544" y="3868"/>
                  <a:pt x="1166" y="4089"/>
                  <a:pt x="851" y="4404"/>
                </a:cubicBezTo>
                <a:cubicBezTo>
                  <a:pt x="694" y="4561"/>
                  <a:pt x="694" y="4782"/>
                  <a:pt x="851" y="4939"/>
                </a:cubicBezTo>
                <a:cubicBezTo>
                  <a:pt x="1166" y="5254"/>
                  <a:pt x="1513" y="5475"/>
                  <a:pt x="1954" y="5601"/>
                </a:cubicBezTo>
                <a:cubicBezTo>
                  <a:pt x="1670" y="5916"/>
                  <a:pt x="1418" y="6294"/>
                  <a:pt x="1355" y="6735"/>
                </a:cubicBezTo>
                <a:cubicBezTo>
                  <a:pt x="1324" y="6924"/>
                  <a:pt x="1418" y="7144"/>
                  <a:pt x="1576" y="7176"/>
                </a:cubicBezTo>
                <a:cubicBezTo>
                  <a:pt x="1639" y="7176"/>
                  <a:pt x="1670" y="7176"/>
                  <a:pt x="1702" y="7207"/>
                </a:cubicBezTo>
                <a:cubicBezTo>
                  <a:pt x="1418" y="7397"/>
                  <a:pt x="1198" y="7649"/>
                  <a:pt x="946" y="7869"/>
                </a:cubicBezTo>
                <a:cubicBezTo>
                  <a:pt x="379" y="8594"/>
                  <a:pt x="0" y="9507"/>
                  <a:pt x="0" y="10452"/>
                </a:cubicBezTo>
                <a:lnTo>
                  <a:pt x="0" y="11870"/>
                </a:lnTo>
                <a:cubicBezTo>
                  <a:pt x="0" y="12028"/>
                  <a:pt x="127" y="12185"/>
                  <a:pt x="284" y="12217"/>
                </a:cubicBezTo>
                <a:lnTo>
                  <a:pt x="1733" y="12217"/>
                </a:lnTo>
                <a:cubicBezTo>
                  <a:pt x="2647" y="12217"/>
                  <a:pt x="3561" y="11870"/>
                  <a:pt x="4254" y="11272"/>
                </a:cubicBezTo>
                <a:cubicBezTo>
                  <a:pt x="4726" y="10862"/>
                  <a:pt x="5104" y="10358"/>
                  <a:pt x="5325" y="9822"/>
                </a:cubicBezTo>
                <a:cubicBezTo>
                  <a:pt x="5892" y="10831"/>
                  <a:pt x="6995" y="11492"/>
                  <a:pt x="8129" y="11492"/>
                </a:cubicBezTo>
                <a:lnTo>
                  <a:pt x="9546" y="11492"/>
                </a:lnTo>
                <a:cubicBezTo>
                  <a:pt x="9862" y="11492"/>
                  <a:pt x="10019" y="11335"/>
                  <a:pt x="10019" y="11146"/>
                </a:cubicBezTo>
                <a:lnTo>
                  <a:pt x="10019" y="9728"/>
                </a:lnTo>
                <a:cubicBezTo>
                  <a:pt x="10019" y="8751"/>
                  <a:pt x="9578" y="7838"/>
                  <a:pt x="8885" y="7239"/>
                </a:cubicBezTo>
                <a:cubicBezTo>
                  <a:pt x="8979" y="7239"/>
                  <a:pt x="9074" y="7207"/>
                  <a:pt x="9200" y="7176"/>
                </a:cubicBezTo>
                <a:cubicBezTo>
                  <a:pt x="9389" y="7144"/>
                  <a:pt x="9515" y="6924"/>
                  <a:pt x="9420" y="6735"/>
                </a:cubicBezTo>
                <a:cubicBezTo>
                  <a:pt x="9294" y="6294"/>
                  <a:pt x="9105" y="5947"/>
                  <a:pt x="8822" y="5601"/>
                </a:cubicBezTo>
                <a:cubicBezTo>
                  <a:pt x="9231" y="5475"/>
                  <a:pt x="9610" y="5254"/>
                  <a:pt x="9925" y="4939"/>
                </a:cubicBezTo>
                <a:cubicBezTo>
                  <a:pt x="10082" y="4782"/>
                  <a:pt x="10082" y="4561"/>
                  <a:pt x="9925" y="4404"/>
                </a:cubicBezTo>
                <a:cubicBezTo>
                  <a:pt x="9610" y="4089"/>
                  <a:pt x="9263" y="3868"/>
                  <a:pt x="8822" y="3742"/>
                </a:cubicBezTo>
                <a:cubicBezTo>
                  <a:pt x="9105" y="3427"/>
                  <a:pt x="9357" y="3049"/>
                  <a:pt x="9420" y="2608"/>
                </a:cubicBezTo>
                <a:cubicBezTo>
                  <a:pt x="9452" y="2419"/>
                  <a:pt x="9357" y="2198"/>
                  <a:pt x="9200" y="2167"/>
                </a:cubicBezTo>
                <a:cubicBezTo>
                  <a:pt x="8964" y="2099"/>
                  <a:pt x="8727" y="2068"/>
                  <a:pt x="8501" y="2068"/>
                </a:cubicBezTo>
                <a:cubicBezTo>
                  <a:pt x="8304" y="2068"/>
                  <a:pt x="8115" y="2091"/>
                  <a:pt x="7940" y="2135"/>
                </a:cubicBezTo>
                <a:cubicBezTo>
                  <a:pt x="8003" y="1694"/>
                  <a:pt x="8003" y="1253"/>
                  <a:pt x="7877" y="875"/>
                </a:cubicBezTo>
                <a:cubicBezTo>
                  <a:pt x="7851" y="719"/>
                  <a:pt x="7718" y="607"/>
                  <a:pt x="7567" y="607"/>
                </a:cubicBezTo>
                <a:cubicBezTo>
                  <a:pt x="7534" y="607"/>
                  <a:pt x="7501" y="612"/>
                  <a:pt x="7467" y="623"/>
                </a:cubicBezTo>
                <a:cubicBezTo>
                  <a:pt x="7026" y="749"/>
                  <a:pt x="6680" y="938"/>
                  <a:pt x="6301" y="1222"/>
                </a:cubicBezTo>
                <a:cubicBezTo>
                  <a:pt x="6207" y="844"/>
                  <a:pt x="5955" y="434"/>
                  <a:pt x="5640" y="119"/>
                </a:cubicBezTo>
                <a:cubicBezTo>
                  <a:pt x="5561" y="40"/>
                  <a:pt x="5474" y="1"/>
                  <a:pt x="5388"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1166" name="Google Shape;11166;p114"/>
          <p:cNvSpPr/>
          <p:nvPr/>
        </p:nvSpPr>
        <p:spPr>
          <a:xfrm>
            <a:off x="7351687" y="4595841"/>
            <a:ext cx="633448" cy="627799"/>
          </a:xfrm>
          <a:custGeom>
            <a:avLst/>
            <a:gdLst/>
            <a:ahLst/>
            <a:cxnLst/>
            <a:rect l="l" t="t" r="r" b="b"/>
            <a:pathLst>
              <a:path w="12224" h="12115" extrusionOk="0">
                <a:moveTo>
                  <a:pt x="3245" y="741"/>
                </a:moveTo>
                <a:cubicBezTo>
                  <a:pt x="3497" y="993"/>
                  <a:pt x="3938" y="1465"/>
                  <a:pt x="3938" y="2033"/>
                </a:cubicBezTo>
                <a:cubicBezTo>
                  <a:pt x="3938" y="2568"/>
                  <a:pt x="3497" y="3104"/>
                  <a:pt x="3245" y="3324"/>
                </a:cubicBezTo>
                <a:cubicBezTo>
                  <a:pt x="2962" y="3041"/>
                  <a:pt x="2520" y="2568"/>
                  <a:pt x="2520" y="2033"/>
                </a:cubicBezTo>
                <a:cubicBezTo>
                  <a:pt x="2520" y="1528"/>
                  <a:pt x="2962" y="993"/>
                  <a:pt x="3245" y="741"/>
                </a:cubicBezTo>
                <a:close/>
                <a:moveTo>
                  <a:pt x="8979" y="741"/>
                </a:moveTo>
                <a:cubicBezTo>
                  <a:pt x="9263" y="993"/>
                  <a:pt x="9704" y="1465"/>
                  <a:pt x="9704" y="2033"/>
                </a:cubicBezTo>
                <a:cubicBezTo>
                  <a:pt x="9704" y="2568"/>
                  <a:pt x="9263" y="3104"/>
                  <a:pt x="8979" y="3324"/>
                </a:cubicBezTo>
                <a:cubicBezTo>
                  <a:pt x="8695" y="3041"/>
                  <a:pt x="8286" y="2568"/>
                  <a:pt x="8286" y="2033"/>
                </a:cubicBezTo>
                <a:cubicBezTo>
                  <a:pt x="8286" y="1528"/>
                  <a:pt x="8758" y="993"/>
                  <a:pt x="8979" y="741"/>
                </a:cubicBezTo>
                <a:close/>
                <a:moveTo>
                  <a:pt x="1827" y="3482"/>
                </a:moveTo>
                <a:cubicBezTo>
                  <a:pt x="2394" y="3482"/>
                  <a:pt x="2899" y="3954"/>
                  <a:pt x="2899" y="4553"/>
                </a:cubicBezTo>
                <a:lnTo>
                  <a:pt x="2899" y="4899"/>
                </a:lnTo>
                <a:lnTo>
                  <a:pt x="2520" y="4899"/>
                </a:lnTo>
                <a:cubicBezTo>
                  <a:pt x="1922" y="4899"/>
                  <a:pt x="1449" y="4427"/>
                  <a:pt x="1449" y="3828"/>
                </a:cubicBezTo>
                <a:lnTo>
                  <a:pt x="1449" y="3482"/>
                </a:lnTo>
                <a:close/>
                <a:moveTo>
                  <a:pt x="5041" y="3482"/>
                </a:moveTo>
                <a:lnTo>
                  <a:pt x="5041" y="3828"/>
                </a:lnTo>
                <a:cubicBezTo>
                  <a:pt x="5041" y="4427"/>
                  <a:pt x="4568" y="4899"/>
                  <a:pt x="3970" y="4899"/>
                </a:cubicBezTo>
                <a:lnTo>
                  <a:pt x="3623" y="4899"/>
                </a:lnTo>
                <a:lnTo>
                  <a:pt x="3623" y="4553"/>
                </a:lnTo>
                <a:cubicBezTo>
                  <a:pt x="3623" y="3954"/>
                  <a:pt x="4096" y="3482"/>
                  <a:pt x="4694" y="3482"/>
                </a:cubicBezTo>
                <a:close/>
                <a:moveTo>
                  <a:pt x="7561" y="3482"/>
                </a:moveTo>
                <a:cubicBezTo>
                  <a:pt x="8160" y="3482"/>
                  <a:pt x="8632" y="3954"/>
                  <a:pt x="8632" y="4553"/>
                </a:cubicBezTo>
                <a:lnTo>
                  <a:pt x="8632" y="4899"/>
                </a:lnTo>
                <a:lnTo>
                  <a:pt x="8286" y="4899"/>
                </a:lnTo>
                <a:cubicBezTo>
                  <a:pt x="7687" y="4899"/>
                  <a:pt x="7215" y="4427"/>
                  <a:pt x="7215" y="3828"/>
                </a:cubicBezTo>
                <a:lnTo>
                  <a:pt x="7215" y="3482"/>
                </a:lnTo>
                <a:close/>
                <a:moveTo>
                  <a:pt x="10806" y="3482"/>
                </a:moveTo>
                <a:lnTo>
                  <a:pt x="10806" y="3828"/>
                </a:lnTo>
                <a:cubicBezTo>
                  <a:pt x="10806" y="4427"/>
                  <a:pt x="10334" y="4899"/>
                  <a:pt x="9735" y="4899"/>
                </a:cubicBezTo>
                <a:lnTo>
                  <a:pt x="9389" y="4899"/>
                </a:lnTo>
                <a:lnTo>
                  <a:pt x="9389" y="4553"/>
                </a:lnTo>
                <a:cubicBezTo>
                  <a:pt x="9389" y="3954"/>
                  <a:pt x="9861" y="3482"/>
                  <a:pt x="10428" y="3482"/>
                </a:cubicBezTo>
                <a:close/>
                <a:moveTo>
                  <a:pt x="1827" y="5624"/>
                </a:moveTo>
                <a:cubicBezTo>
                  <a:pt x="2394" y="5624"/>
                  <a:pt x="2899" y="6065"/>
                  <a:pt x="2899" y="6664"/>
                </a:cubicBezTo>
                <a:lnTo>
                  <a:pt x="2899" y="7042"/>
                </a:lnTo>
                <a:lnTo>
                  <a:pt x="2520" y="7042"/>
                </a:lnTo>
                <a:cubicBezTo>
                  <a:pt x="1922" y="7042"/>
                  <a:pt x="1449" y="6569"/>
                  <a:pt x="1449" y="5971"/>
                </a:cubicBezTo>
                <a:lnTo>
                  <a:pt x="1449" y="5624"/>
                </a:lnTo>
                <a:close/>
                <a:moveTo>
                  <a:pt x="7561" y="5624"/>
                </a:moveTo>
                <a:cubicBezTo>
                  <a:pt x="8160" y="5624"/>
                  <a:pt x="8632" y="6065"/>
                  <a:pt x="8632" y="6664"/>
                </a:cubicBezTo>
                <a:lnTo>
                  <a:pt x="8632" y="7042"/>
                </a:lnTo>
                <a:lnTo>
                  <a:pt x="8286" y="7042"/>
                </a:lnTo>
                <a:cubicBezTo>
                  <a:pt x="7687" y="7042"/>
                  <a:pt x="7215" y="6569"/>
                  <a:pt x="7215" y="5971"/>
                </a:cubicBezTo>
                <a:lnTo>
                  <a:pt x="7215" y="5624"/>
                </a:lnTo>
                <a:close/>
                <a:moveTo>
                  <a:pt x="5009" y="5656"/>
                </a:moveTo>
                <a:lnTo>
                  <a:pt x="5009" y="6002"/>
                </a:lnTo>
                <a:cubicBezTo>
                  <a:pt x="5009" y="6601"/>
                  <a:pt x="4537" y="7073"/>
                  <a:pt x="3938" y="7073"/>
                </a:cubicBezTo>
                <a:lnTo>
                  <a:pt x="3592" y="7073"/>
                </a:lnTo>
                <a:lnTo>
                  <a:pt x="3592" y="6727"/>
                </a:lnTo>
                <a:cubicBezTo>
                  <a:pt x="3592" y="6128"/>
                  <a:pt x="4064" y="5656"/>
                  <a:pt x="4663" y="5656"/>
                </a:cubicBezTo>
                <a:close/>
                <a:moveTo>
                  <a:pt x="10806" y="5656"/>
                </a:moveTo>
                <a:lnTo>
                  <a:pt x="10806" y="6002"/>
                </a:lnTo>
                <a:cubicBezTo>
                  <a:pt x="10806" y="6601"/>
                  <a:pt x="10334" y="7073"/>
                  <a:pt x="9735" y="7073"/>
                </a:cubicBezTo>
                <a:lnTo>
                  <a:pt x="9389" y="7073"/>
                </a:lnTo>
                <a:lnTo>
                  <a:pt x="9389" y="6727"/>
                </a:lnTo>
                <a:cubicBezTo>
                  <a:pt x="9389" y="6128"/>
                  <a:pt x="9861" y="5656"/>
                  <a:pt x="10428" y="5656"/>
                </a:cubicBezTo>
                <a:close/>
                <a:moveTo>
                  <a:pt x="1827" y="7766"/>
                </a:moveTo>
                <a:cubicBezTo>
                  <a:pt x="2394" y="7766"/>
                  <a:pt x="2899" y="8239"/>
                  <a:pt x="2899" y="8838"/>
                </a:cubicBezTo>
                <a:lnTo>
                  <a:pt x="2899" y="9184"/>
                </a:lnTo>
                <a:lnTo>
                  <a:pt x="2520" y="9184"/>
                </a:lnTo>
                <a:cubicBezTo>
                  <a:pt x="1922" y="9184"/>
                  <a:pt x="1449" y="8712"/>
                  <a:pt x="1449" y="8144"/>
                </a:cubicBezTo>
                <a:lnTo>
                  <a:pt x="1449" y="7766"/>
                </a:lnTo>
                <a:close/>
                <a:moveTo>
                  <a:pt x="5041" y="7766"/>
                </a:moveTo>
                <a:lnTo>
                  <a:pt x="5041" y="8144"/>
                </a:lnTo>
                <a:cubicBezTo>
                  <a:pt x="5041" y="8712"/>
                  <a:pt x="4568" y="9184"/>
                  <a:pt x="3970" y="9184"/>
                </a:cubicBezTo>
                <a:lnTo>
                  <a:pt x="3623" y="9184"/>
                </a:lnTo>
                <a:lnTo>
                  <a:pt x="3623" y="8838"/>
                </a:lnTo>
                <a:cubicBezTo>
                  <a:pt x="3623" y="8239"/>
                  <a:pt x="4096" y="7766"/>
                  <a:pt x="4694" y="7766"/>
                </a:cubicBezTo>
                <a:close/>
                <a:moveTo>
                  <a:pt x="7561" y="7766"/>
                </a:moveTo>
                <a:cubicBezTo>
                  <a:pt x="8160" y="7766"/>
                  <a:pt x="8632" y="8239"/>
                  <a:pt x="8632" y="8838"/>
                </a:cubicBezTo>
                <a:lnTo>
                  <a:pt x="8632" y="9184"/>
                </a:lnTo>
                <a:lnTo>
                  <a:pt x="8286" y="9184"/>
                </a:lnTo>
                <a:cubicBezTo>
                  <a:pt x="7687" y="9184"/>
                  <a:pt x="7215" y="8712"/>
                  <a:pt x="7215" y="8144"/>
                </a:cubicBezTo>
                <a:lnTo>
                  <a:pt x="7215" y="7766"/>
                </a:lnTo>
                <a:close/>
                <a:moveTo>
                  <a:pt x="10806" y="7766"/>
                </a:moveTo>
                <a:lnTo>
                  <a:pt x="10806" y="8144"/>
                </a:lnTo>
                <a:cubicBezTo>
                  <a:pt x="10806" y="8712"/>
                  <a:pt x="10334" y="9184"/>
                  <a:pt x="9735" y="9184"/>
                </a:cubicBezTo>
                <a:lnTo>
                  <a:pt x="9389" y="9184"/>
                </a:lnTo>
                <a:lnTo>
                  <a:pt x="9389" y="8838"/>
                </a:lnTo>
                <a:cubicBezTo>
                  <a:pt x="9389" y="8239"/>
                  <a:pt x="9861" y="7766"/>
                  <a:pt x="10428" y="7766"/>
                </a:cubicBezTo>
                <a:close/>
                <a:moveTo>
                  <a:pt x="3214" y="0"/>
                </a:moveTo>
                <a:cubicBezTo>
                  <a:pt x="3135" y="0"/>
                  <a:pt x="3056" y="16"/>
                  <a:pt x="2993" y="48"/>
                </a:cubicBezTo>
                <a:cubicBezTo>
                  <a:pt x="2962" y="79"/>
                  <a:pt x="1796" y="961"/>
                  <a:pt x="1796" y="2127"/>
                </a:cubicBezTo>
                <a:cubicBezTo>
                  <a:pt x="1796" y="2379"/>
                  <a:pt x="1827" y="2663"/>
                  <a:pt x="1953" y="2852"/>
                </a:cubicBezTo>
                <a:lnTo>
                  <a:pt x="1071" y="2852"/>
                </a:lnTo>
                <a:cubicBezTo>
                  <a:pt x="882" y="2852"/>
                  <a:pt x="725" y="3009"/>
                  <a:pt x="725" y="3198"/>
                </a:cubicBezTo>
                <a:lnTo>
                  <a:pt x="725" y="3923"/>
                </a:lnTo>
                <a:cubicBezTo>
                  <a:pt x="725" y="4301"/>
                  <a:pt x="851" y="4710"/>
                  <a:pt x="1071" y="4994"/>
                </a:cubicBezTo>
                <a:cubicBezTo>
                  <a:pt x="882" y="4994"/>
                  <a:pt x="725" y="5152"/>
                  <a:pt x="725" y="5341"/>
                </a:cubicBezTo>
                <a:lnTo>
                  <a:pt x="725" y="6034"/>
                </a:lnTo>
                <a:cubicBezTo>
                  <a:pt x="725" y="6443"/>
                  <a:pt x="851" y="6821"/>
                  <a:pt x="1071" y="7105"/>
                </a:cubicBezTo>
                <a:cubicBezTo>
                  <a:pt x="882" y="7105"/>
                  <a:pt x="725" y="7262"/>
                  <a:pt x="725" y="7451"/>
                </a:cubicBezTo>
                <a:lnTo>
                  <a:pt x="725" y="8176"/>
                </a:lnTo>
                <a:cubicBezTo>
                  <a:pt x="725" y="9153"/>
                  <a:pt x="1512" y="9940"/>
                  <a:pt x="2489" y="9940"/>
                </a:cubicBezTo>
                <a:lnTo>
                  <a:pt x="2836" y="9940"/>
                </a:lnTo>
                <a:lnTo>
                  <a:pt x="2836" y="11389"/>
                </a:lnTo>
                <a:lnTo>
                  <a:pt x="378" y="11389"/>
                </a:lnTo>
                <a:cubicBezTo>
                  <a:pt x="158" y="11389"/>
                  <a:pt x="0" y="11547"/>
                  <a:pt x="0" y="11768"/>
                </a:cubicBezTo>
                <a:cubicBezTo>
                  <a:pt x="0" y="11957"/>
                  <a:pt x="158" y="12114"/>
                  <a:pt x="378" y="12114"/>
                </a:cubicBezTo>
                <a:lnTo>
                  <a:pt x="11814" y="12114"/>
                </a:lnTo>
                <a:cubicBezTo>
                  <a:pt x="12035" y="12114"/>
                  <a:pt x="12192" y="11957"/>
                  <a:pt x="12192" y="11768"/>
                </a:cubicBezTo>
                <a:cubicBezTo>
                  <a:pt x="12224" y="11547"/>
                  <a:pt x="12066" y="11389"/>
                  <a:pt x="11846" y="11389"/>
                </a:cubicBezTo>
                <a:lnTo>
                  <a:pt x="9389" y="11389"/>
                </a:lnTo>
                <a:lnTo>
                  <a:pt x="9389" y="9940"/>
                </a:lnTo>
                <a:lnTo>
                  <a:pt x="9735" y="9940"/>
                </a:lnTo>
                <a:cubicBezTo>
                  <a:pt x="10712" y="9940"/>
                  <a:pt x="11499" y="9153"/>
                  <a:pt x="11499" y="8176"/>
                </a:cubicBezTo>
                <a:lnTo>
                  <a:pt x="11499" y="7451"/>
                </a:lnTo>
                <a:cubicBezTo>
                  <a:pt x="11499" y="7262"/>
                  <a:pt x="11342" y="7105"/>
                  <a:pt x="11153" y="7105"/>
                </a:cubicBezTo>
                <a:cubicBezTo>
                  <a:pt x="11373" y="6790"/>
                  <a:pt x="11499" y="6443"/>
                  <a:pt x="11499" y="6034"/>
                </a:cubicBezTo>
                <a:lnTo>
                  <a:pt x="11499" y="5341"/>
                </a:lnTo>
                <a:cubicBezTo>
                  <a:pt x="11499" y="5152"/>
                  <a:pt x="11342" y="4994"/>
                  <a:pt x="11153" y="4994"/>
                </a:cubicBezTo>
                <a:cubicBezTo>
                  <a:pt x="11373" y="4679"/>
                  <a:pt x="11499" y="4301"/>
                  <a:pt x="11499" y="3923"/>
                </a:cubicBezTo>
                <a:lnTo>
                  <a:pt x="11499" y="3198"/>
                </a:lnTo>
                <a:cubicBezTo>
                  <a:pt x="11499" y="3009"/>
                  <a:pt x="11342" y="2852"/>
                  <a:pt x="11153" y="2852"/>
                </a:cubicBezTo>
                <a:lnTo>
                  <a:pt x="10271" y="2852"/>
                </a:lnTo>
                <a:cubicBezTo>
                  <a:pt x="10365" y="2631"/>
                  <a:pt x="10428" y="2379"/>
                  <a:pt x="10428" y="2127"/>
                </a:cubicBezTo>
                <a:cubicBezTo>
                  <a:pt x="10428" y="993"/>
                  <a:pt x="9263" y="79"/>
                  <a:pt x="9231" y="48"/>
                </a:cubicBezTo>
                <a:cubicBezTo>
                  <a:pt x="9168" y="16"/>
                  <a:pt x="9089" y="0"/>
                  <a:pt x="9010" y="0"/>
                </a:cubicBezTo>
                <a:cubicBezTo>
                  <a:pt x="8932" y="0"/>
                  <a:pt x="8853" y="16"/>
                  <a:pt x="8790" y="48"/>
                </a:cubicBezTo>
                <a:cubicBezTo>
                  <a:pt x="8758" y="79"/>
                  <a:pt x="7561" y="961"/>
                  <a:pt x="7561" y="2127"/>
                </a:cubicBezTo>
                <a:cubicBezTo>
                  <a:pt x="7561" y="2379"/>
                  <a:pt x="7624" y="2663"/>
                  <a:pt x="7719" y="2852"/>
                </a:cubicBezTo>
                <a:lnTo>
                  <a:pt x="6868" y="2852"/>
                </a:lnTo>
                <a:cubicBezTo>
                  <a:pt x="6679" y="2852"/>
                  <a:pt x="6522" y="3009"/>
                  <a:pt x="6522" y="3198"/>
                </a:cubicBezTo>
                <a:lnTo>
                  <a:pt x="6522" y="3923"/>
                </a:lnTo>
                <a:cubicBezTo>
                  <a:pt x="6522" y="4301"/>
                  <a:pt x="6616" y="4710"/>
                  <a:pt x="6868" y="4994"/>
                </a:cubicBezTo>
                <a:cubicBezTo>
                  <a:pt x="6679" y="4994"/>
                  <a:pt x="6522" y="5152"/>
                  <a:pt x="6522" y="5341"/>
                </a:cubicBezTo>
                <a:lnTo>
                  <a:pt x="6522" y="6034"/>
                </a:lnTo>
                <a:cubicBezTo>
                  <a:pt x="6522" y="6443"/>
                  <a:pt x="6616" y="6821"/>
                  <a:pt x="6868" y="7105"/>
                </a:cubicBezTo>
                <a:cubicBezTo>
                  <a:pt x="6679" y="7105"/>
                  <a:pt x="6522" y="7262"/>
                  <a:pt x="6522" y="7451"/>
                </a:cubicBezTo>
                <a:lnTo>
                  <a:pt x="6522" y="8176"/>
                </a:lnTo>
                <a:cubicBezTo>
                  <a:pt x="6522" y="9153"/>
                  <a:pt x="7309" y="9940"/>
                  <a:pt x="8286" y="9940"/>
                </a:cubicBezTo>
                <a:lnTo>
                  <a:pt x="8632" y="9940"/>
                </a:lnTo>
                <a:lnTo>
                  <a:pt x="8632" y="11389"/>
                </a:lnTo>
                <a:lnTo>
                  <a:pt x="3592" y="11389"/>
                </a:lnTo>
                <a:lnTo>
                  <a:pt x="3592" y="9940"/>
                </a:lnTo>
                <a:lnTo>
                  <a:pt x="3938" y="9940"/>
                </a:lnTo>
                <a:cubicBezTo>
                  <a:pt x="4946" y="9940"/>
                  <a:pt x="5734" y="9153"/>
                  <a:pt x="5734" y="8176"/>
                </a:cubicBezTo>
                <a:lnTo>
                  <a:pt x="5734" y="7451"/>
                </a:lnTo>
                <a:cubicBezTo>
                  <a:pt x="5734" y="7262"/>
                  <a:pt x="5576" y="7105"/>
                  <a:pt x="5356" y="7105"/>
                </a:cubicBezTo>
                <a:cubicBezTo>
                  <a:pt x="5608" y="6790"/>
                  <a:pt x="5734" y="6443"/>
                  <a:pt x="5734" y="6034"/>
                </a:cubicBezTo>
                <a:lnTo>
                  <a:pt x="5734" y="5341"/>
                </a:lnTo>
                <a:cubicBezTo>
                  <a:pt x="5734" y="5152"/>
                  <a:pt x="5576" y="4994"/>
                  <a:pt x="5356" y="4994"/>
                </a:cubicBezTo>
                <a:cubicBezTo>
                  <a:pt x="5608" y="4679"/>
                  <a:pt x="5734" y="4301"/>
                  <a:pt x="5734" y="3923"/>
                </a:cubicBezTo>
                <a:lnTo>
                  <a:pt x="5734" y="3198"/>
                </a:lnTo>
                <a:cubicBezTo>
                  <a:pt x="5734" y="3009"/>
                  <a:pt x="5576" y="2852"/>
                  <a:pt x="5356" y="2852"/>
                </a:cubicBezTo>
                <a:lnTo>
                  <a:pt x="4505" y="2852"/>
                </a:lnTo>
                <a:cubicBezTo>
                  <a:pt x="4568" y="2631"/>
                  <a:pt x="4663" y="2379"/>
                  <a:pt x="4663" y="2127"/>
                </a:cubicBezTo>
                <a:cubicBezTo>
                  <a:pt x="4663" y="993"/>
                  <a:pt x="3466" y="79"/>
                  <a:pt x="3434" y="48"/>
                </a:cubicBezTo>
                <a:cubicBezTo>
                  <a:pt x="3371" y="16"/>
                  <a:pt x="3292" y="0"/>
                  <a:pt x="3214"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nvGrpSpPr>
          <p:cNvPr id="11167" name="Google Shape;11167;p114"/>
          <p:cNvGrpSpPr/>
          <p:nvPr/>
        </p:nvGrpSpPr>
        <p:grpSpPr>
          <a:xfrm>
            <a:off x="10565234" y="3063668"/>
            <a:ext cx="491149" cy="559085"/>
            <a:chOff x="4995050" y="3245650"/>
            <a:chExt cx="236950" cy="269725"/>
          </a:xfrm>
        </p:grpSpPr>
        <p:sp>
          <p:nvSpPr>
            <p:cNvPr id="11168" name="Google Shape;11168;p114"/>
            <p:cNvSpPr/>
            <p:nvPr/>
          </p:nvSpPr>
          <p:spPr>
            <a:xfrm>
              <a:off x="5074475" y="3356450"/>
              <a:ext cx="16050" cy="16050"/>
            </a:xfrm>
            <a:custGeom>
              <a:avLst/>
              <a:gdLst/>
              <a:ahLst/>
              <a:cxnLst/>
              <a:rect l="l" t="t" r="r" b="b"/>
              <a:pathLst>
                <a:path w="642" h="642" extrusionOk="0">
                  <a:moveTo>
                    <a:pt x="307" y="1"/>
                  </a:moveTo>
                  <a:cubicBezTo>
                    <a:pt x="140" y="1"/>
                    <a:pt x="1" y="140"/>
                    <a:pt x="1" y="307"/>
                  </a:cubicBezTo>
                  <a:cubicBezTo>
                    <a:pt x="1" y="502"/>
                    <a:pt x="140" y="642"/>
                    <a:pt x="307" y="642"/>
                  </a:cubicBezTo>
                  <a:cubicBezTo>
                    <a:pt x="503" y="642"/>
                    <a:pt x="642" y="502"/>
                    <a:pt x="642" y="307"/>
                  </a:cubicBezTo>
                  <a:cubicBezTo>
                    <a:pt x="642" y="140"/>
                    <a:pt x="503" y="1"/>
                    <a:pt x="307"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1169" name="Google Shape;11169;p114"/>
            <p:cNvSpPr/>
            <p:nvPr/>
          </p:nvSpPr>
          <p:spPr>
            <a:xfrm>
              <a:off x="5137200" y="3356450"/>
              <a:ext cx="16050" cy="16050"/>
            </a:xfrm>
            <a:custGeom>
              <a:avLst/>
              <a:gdLst/>
              <a:ahLst/>
              <a:cxnLst/>
              <a:rect l="l" t="t" r="r" b="b"/>
              <a:pathLst>
                <a:path w="642" h="642" extrusionOk="0">
                  <a:moveTo>
                    <a:pt x="307" y="1"/>
                  </a:moveTo>
                  <a:cubicBezTo>
                    <a:pt x="140" y="1"/>
                    <a:pt x="1" y="140"/>
                    <a:pt x="1" y="307"/>
                  </a:cubicBezTo>
                  <a:cubicBezTo>
                    <a:pt x="1" y="502"/>
                    <a:pt x="140" y="642"/>
                    <a:pt x="307" y="642"/>
                  </a:cubicBezTo>
                  <a:cubicBezTo>
                    <a:pt x="474" y="642"/>
                    <a:pt x="614" y="502"/>
                    <a:pt x="614" y="307"/>
                  </a:cubicBezTo>
                  <a:cubicBezTo>
                    <a:pt x="642" y="140"/>
                    <a:pt x="474" y="1"/>
                    <a:pt x="307"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1170" name="Google Shape;11170;p114"/>
            <p:cNvSpPr/>
            <p:nvPr/>
          </p:nvSpPr>
          <p:spPr>
            <a:xfrm>
              <a:off x="5089125" y="3371950"/>
              <a:ext cx="48100" cy="63100"/>
            </a:xfrm>
            <a:custGeom>
              <a:avLst/>
              <a:gdLst/>
              <a:ahLst/>
              <a:cxnLst/>
              <a:rect l="l" t="t" r="r" b="b"/>
              <a:pathLst>
                <a:path w="1924" h="2524" extrusionOk="0">
                  <a:moveTo>
                    <a:pt x="976" y="774"/>
                  </a:moveTo>
                  <a:lnTo>
                    <a:pt x="1227" y="1025"/>
                  </a:lnTo>
                  <a:lnTo>
                    <a:pt x="976" y="1499"/>
                  </a:lnTo>
                  <a:lnTo>
                    <a:pt x="753" y="1025"/>
                  </a:lnTo>
                  <a:lnTo>
                    <a:pt x="976" y="774"/>
                  </a:lnTo>
                  <a:close/>
                  <a:moveTo>
                    <a:pt x="976" y="1"/>
                  </a:moveTo>
                  <a:cubicBezTo>
                    <a:pt x="899" y="1"/>
                    <a:pt x="822" y="36"/>
                    <a:pt x="753" y="105"/>
                  </a:cubicBezTo>
                  <a:lnTo>
                    <a:pt x="112" y="747"/>
                  </a:lnTo>
                  <a:cubicBezTo>
                    <a:pt x="0" y="858"/>
                    <a:pt x="0" y="997"/>
                    <a:pt x="56" y="1081"/>
                  </a:cubicBezTo>
                  <a:lnTo>
                    <a:pt x="669" y="2335"/>
                  </a:lnTo>
                  <a:cubicBezTo>
                    <a:pt x="725" y="2461"/>
                    <a:pt x="836" y="2524"/>
                    <a:pt x="948" y="2524"/>
                  </a:cubicBezTo>
                  <a:cubicBezTo>
                    <a:pt x="1059" y="2524"/>
                    <a:pt x="1171" y="2461"/>
                    <a:pt x="1227" y="2335"/>
                  </a:cubicBezTo>
                  <a:lnTo>
                    <a:pt x="1840" y="1081"/>
                  </a:lnTo>
                  <a:cubicBezTo>
                    <a:pt x="1924" y="997"/>
                    <a:pt x="1896" y="802"/>
                    <a:pt x="1784" y="747"/>
                  </a:cubicBezTo>
                  <a:lnTo>
                    <a:pt x="1199" y="105"/>
                  </a:lnTo>
                  <a:cubicBezTo>
                    <a:pt x="1129" y="36"/>
                    <a:pt x="1052" y="1"/>
                    <a:pt x="976"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nvGrpSpPr>
            <p:cNvPr id="11171" name="Google Shape;11171;p114"/>
            <p:cNvGrpSpPr/>
            <p:nvPr/>
          </p:nvGrpSpPr>
          <p:grpSpPr>
            <a:xfrm>
              <a:off x="4995050" y="3245650"/>
              <a:ext cx="236950" cy="269725"/>
              <a:chOff x="4995050" y="3245650"/>
              <a:chExt cx="236950" cy="269725"/>
            </a:xfrm>
          </p:grpSpPr>
          <p:sp>
            <p:nvSpPr>
              <p:cNvPr id="11172" name="Google Shape;11172;p114"/>
              <p:cNvSpPr/>
              <p:nvPr/>
            </p:nvSpPr>
            <p:spPr>
              <a:xfrm>
                <a:off x="4995050" y="3245650"/>
                <a:ext cx="236950" cy="269725"/>
              </a:xfrm>
              <a:custGeom>
                <a:avLst/>
                <a:gdLst/>
                <a:ahLst/>
                <a:cxnLst/>
                <a:rect l="l" t="t" r="r" b="b"/>
                <a:pathLst>
                  <a:path w="9478" h="10789" extrusionOk="0">
                    <a:moveTo>
                      <a:pt x="4822" y="614"/>
                    </a:moveTo>
                    <a:cubicBezTo>
                      <a:pt x="7080" y="614"/>
                      <a:pt x="8920" y="2454"/>
                      <a:pt x="8920" y="4711"/>
                    </a:cubicBezTo>
                    <a:lnTo>
                      <a:pt x="8920" y="10147"/>
                    </a:lnTo>
                    <a:lnTo>
                      <a:pt x="8223" y="10147"/>
                    </a:lnTo>
                    <a:cubicBezTo>
                      <a:pt x="8223" y="8976"/>
                      <a:pt x="7805" y="8001"/>
                      <a:pt x="7108" y="7304"/>
                    </a:cubicBezTo>
                    <a:cubicBezTo>
                      <a:pt x="7471" y="6941"/>
                      <a:pt x="7749" y="6495"/>
                      <a:pt x="7944" y="6049"/>
                    </a:cubicBezTo>
                    <a:cubicBezTo>
                      <a:pt x="8167" y="5548"/>
                      <a:pt x="8251" y="5074"/>
                      <a:pt x="8251" y="4544"/>
                    </a:cubicBezTo>
                    <a:cubicBezTo>
                      <a:pt x="8251" y="3569"/>
                      <a:pt x="7526" y="2649"/>
                      <a:pt x="6551" y="2565"/>
                    </a:cubicBezTo>
                    <a:cubicBezTo>
                      <a:pt x="6475" y="2556"/>
                      <a:pt x="6400" y="2552"/>
                      <a:pt x="6324" y="2552"/>
                    </a:cubicBezTo>
                    <a:cubicBezTo>
                      <a:pt x="5706" y="2552"/>
                      <a:pt x="5115" y="2855"/>
                      <a:pt x="4767" y="3401"/>
                    </a:cubicBezTo>
                    <a:cubicBezTo>
                      <a:pt x="4424" y="2853"/>
                      <a:pt x="3838" y="2548"/>
                      <a:pt x="3192" y="2548"/>
                    </a:cubicBezTo>
                    <a:cubicBezTo>
                      <a:pt x="3050" y="2548"/>
                      <a:pt x="2905" y="2563"/>
                      <a:pt x="2760" y="2593"/>
                    </a:cubicBezTo>
                    <a:cubicBezTo>
                      <a:pt x="1923" y="2788"/>
                      <a:pt x="1338" y="3596"/>
                      <a:pt x="1338" y="4516"/>
                    </a:cubicBezTo>
                    <a:cubicBezTo>
                      <a:pt x="1338" y="5130"/>
                      <a:pt x="1505" y="5715"/>
                      <a:pt x="1868" y="6245"/>
                    </a:cubicBezTo>
                    <a:lnTo>
                      <a:pt x="2509" y="7220"/>
                    </a:lnTo>
                    <a:lnTo>
                      <a:pt x="2035" y="7861"/>
                    </a:lnTo>
                    <a:cubicBezTo>
                      <a:pt x="1589" y="8419"/>
                      <a:pt x="1338" y="9116"/>
                      <a:pt x="1338" y="9841"/>
                    </a:cubicBezTo>
                    <a:lnTo>
                      <a:pt x="1338" y="10119"/>
                    </a:lnTo>
                    <a:lnTo>
                      <a:pt x="697" y="10119"/>
                    </a:lnTo>
                    <a:lnTo>
                      <a:pt x="697" y="4711"/>
                    </a:lnTo>
                    <a:cubicBezTo>
                      <a:pt x="697" y="2454"/>
                      <a:pt x="2565" y="614"/>
                      <a:pt x="4822" y="614"/>
                    </a:cubicBezTo>
                    <a:close/>
                    <a:moveTo>
                      <a:pt x="6241" y="3171"/>
                    </a:moveTo>
                    <a:cubicBezTo>
                      <a:pt x="6288" y="3171"/>
                      <a:pt x="6335" y="3173"/>
                      <a:pt x="6383" y="3178"/>
                    </a:cubicBezTo>
                    <a:cubicBezTo>
                      <a:pt x="6997" y="3234"/>
                      <a:pt x="7498" y="3847"/>
                      <a:pt x="7498" y="4544"/>
                    </a:cubicBezTo>
                    <a:cubicBezTo>
                      <a:pt x="7498" y="5408"/>
                      <a:pt x="7164" y="6245"/>
                      <a:pt x="6523" y="6858"/>
                    </a:cubicBezTo>
                    <a:lnTo>
                      <a:pt x="6328" y="7081"/>
                    </a:lnTo>
                    <a:cubicBezTo>
                      <a:pt x="6188" y="7220"/>
                      <a:pt x="6188" y="7387"/>
                      <a:pt x="6328" y="7527"/>
                    </a:cubicBezTo>
                    <a:cubicBezTo>
                      <a:pt x="6634" y="7834"/>
                      <a:pt x="7498" y="8614"/>
                      <a:pt x="7498" y="10175"/>
                    </a:cubicBezTo>
                    <a:lnTo>
                      <a:pt x="1896" y="10175"/>
                    </a:lnTo>
                    <a:lnTo>
                      <a:pt x="1896" y="10147"/>
                    </a:lnTo>
                    <a:cubicBezTo>
                      <a:pt x="1896" y="9813"/>
                      <a:pt x="1868" y="9032"/>
                      <a:pt x="2453" y="8307"/>
                    </a:cubicBezTo>
                    <a:lnTo>
                      <a:pt x="3066" y="7499"/>
                    </a:lnTo>
                    <a:cubicBezTo>
                      <a:pt x="3150" y="7387"/>
                      <a:pt x="3178" y="7248"/>
                      <a:pt x="3066" y="7109"/>
                    </a:cubicBezTo>
                    <a:lnTo>
                      <a:pt x="2286" y="5938"/>
                    </a:lnTo>
                    <a:cubicBezTo>
                      <a:pt x="2007" y="5520"/>
                      <a:pt x="1868" y="5018"/>
                      <a:pt x="1868" y="4544"/>
                    </a:cubicBezTo>
                    <a:cubicBezTo>
                      <a:pt x="1868" y="3903"/>
                      <a:pt x="2286" y="3346"/>
                      <a:pt x="2788" y="3206"/>
                    </a:cubicBezTo>
                    <a:cubicBezTo>
                      <a:pt x="2884" y="3187"/>
                      <a:pt x="2980" y="3178"/>
                      <a:pt x="3074" y="3178"/>
                    </a:cubicBezTo>
                    <a:cubicBezTo>
                      <a:pt x="3788" y="3178"/>
                      <a:pt x="4376" y="3718"/>
                      <a:pt x="4376" y="4433"/>
                    </a:cubicBezTo>
                    <a:cubicBezTo>
                      <a:pt x="4376" y="4600"/>
                      <a:pt x="4516" y="4739"/>
                      <a:pt x="4683" y="4739"/>
                    </a:cubicBezTo>
                    <a:cubicBezTo>
                      <a:pt x="4850" y="4739"/>
                      <a:pt x="4990" y="4600"/>
                      <a:pt x="4990" y="4433"/>
                    </a:cubicBezTo>
                    <a:cubicBezTo>
                      <a:pt x="4990" y="3753"/>
                      <a:pt x="5530" y="3171"/>
                      <a:pt x="6241" y="3171"/>
                    </a:cubicBezTo>
                    <a:close/>
                    <a:moveTo>
                      <a:pt x="4739" y="1"/>
                    </a:moveTo>
                    <a:cubicBezTo>
                      <a:pt x="2146" y="1"/>
                      <a:pt x="0" y="2147"/>
                      <a:pt x="0" y="4739"/>
                    </a:cubicBezTo>
                    <a:lnTo>
                      <a:pt x="0" y="10454"/>
                    </a:lnTo>
                    <a:cubicBezTo>
                      <a:pt x="0" y="10649"/>
                      <a:pt x="139" y="10788"/>
                      <a:pt x="335" y="10788"/>
                    </a:cubicBezTo>
                    <a:lnTo>
                      <a:pt x="9171" y="10788"/>
                    </a:lnTo>
                    <a:cubicBezTo>
                      <a:pt x="9338" y="10788"/>
                      <a:pt x="9478" y="10649"/>
                      <a:pt x="9478" y="10454"/>
                    </a:cubicBezTo>
                    <a:lnTo>
                      <a:pt x="9478" y="4739"/>
                    </a:lnTo>
                    <a:cubicBezTo>
                      <a:pt x="9478" y="2147"/>
                      <a:pt x="7359" y="1"/>
                      <a:pt x="4739"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1173" name="Google Shape;11173;p114"/>
              <p:cNvSpPr/>
              <p:nvPr/>
            </p:nvSpPr>
            <p:spPr>
              <a:xfrm flipH="1">
                <a:off x="4995050" y="3245650"/>
                <a:ext cx="236950" cy="269725"/>
              </a:xfrm>
              <a:custGeom>
                <a:avLst/>
                <a:gdLst/>
                <a:ahLst/>
                <a:cxnLst/>
                <a:rect l="l" t="t" r="r" b="b"/>
                <a:pathLst>
                  <a:path w="9478" h="10789" extrusionOk="0">
                    <a:moveTo>
                      <a:pt x="4822" y="614"/>
                    </a:moveTo>
                    <a:cubicBezTo>
                      <a:pt x="7080" y="614"/>
                      <a:pt x="8920" y="2454"/>
                      <a:pt x="8920" y="4711"/>
                    </a:cubicBezTo>
                    <a:lnTo>
                      <a:pt x="8920" y="10147"/>
                    </a:lnTo>
                    <a:lnTo>
                      <a:pt x="8223" y="10147"/>
                    </a:lnTo>
                    <a:cubicBezTo>
                      <a:pt x="8223" y="8976"/>
                      <a:pt x="7805" y="8001"/>
                      <a:pt x="7108" y="7304"/>
                    </a:cubicBezTo>
                    <a:cubicBezTo>
                      <a:pt x="7471" y="6941"/>
                      <a:pt x="7749" y="6495"/>
                      <a:pt x="7944" y="6049"/>
                    </a:cubicBezTo>
                    <a:cubicBezTo>
                      <a:pt x="8167" y="5548"/>
                      <a:pt x="8251" y="5074"/>
                      <a:pt x="8251" y="4544"/>
                    </a:cubicBezTo>
                    <a:cubicBezTo>
                      <a:pt x="8251" y="3569"/>
                      <a:pt x="7526" y="2649"/>
                      <a:pt x="6551" y="2565"/>
                    </a:cubicBezTo>
                    <a:cubicBezTo>
                      <a:pt x="6475" y="2556"/>
                      <a:pt x="6400" y="2552"/>
                      <a:pt x="6324" y="2552"/>
                    </a:cubicBezTo>
                    <a:cubicBezTo>
                      <a:pt x="5706" y="2552"/>
                      <a:pt x="5115" y="2855"/>
                      <a:pt x="4767" y="3401"/>
                    </a:cubicBezTo>
                    <a:cubicBezTo>
                      <a:pt x="4424" y="2853"/>
                      <a:pt x="3838" y="2548"/>
                      <a:pt x="3192" y="2548"/>
                    </a:cubicBezTo>
                    <a:cubicBezTo>
                      <a:pt x="3050" y="2548"/>
                      <a:pt x="2905" y="2563"/>
                      <a:pt x="2760" y="2593"/>
                    </a:cubicBezTo>
                    <a:cubicBezTo>
                      <a:pt x="1923" y="2788"/>
                      <a:pt x="1338" y="3596"/>
                      <a:pt x="1338" y="4516"/>
                    </a:cubicBezTo>
                    <a:cubicBezTo>
                      <a:pt x="1338" y="5130"/>
                      <a:pt x="1505" y="5715"/>
                      <a:pt x="1868" y="6245"/>
                    </a:cubicBezTo>
                    <a:lnTo>
                      <a:pt x="2509" y="7220"/>
                    </a:lnTo>
                    <a:lnTo>
                      <a:pt x="2035" y="7861"/>
                    </a:lnTo>
                    <a:cubicBezTo>
                      <a:pt x="1589" y="8419"/>
                      <a:pt x="1338" y="9116"/>
                      <a:pt x="1338" y="9841"/>
                    </a:cubicBezTo>
                    <a:lnTo>
                      <a:pt x="1338" y="10119"/>
                    </a:lnTo>
                    <a:lnTo>
                      <a:pt x="697" y="10119"/>
                    </a:lnTo>
                    <a:lnTo>
                      <a:pt x="697" y="4711"/>
                    </a:lnTo>
                    <a:cubicBezTo>
                      <a:pt x="697" y="2454"/>
                      <a:pt x="2565" y="614"/>
                      <a:pt x="4822" y="614"/>
                    </a:cubicBezTo>
                    <a:close/>
                    <a:moveTo>
                      <a:pt x="6241" y="3171"/>
                    </a:moveTo>
                    <a:cubicBezTo>
                      <a:pt x="6288" y="3171"/>
                      <a:pt x="6335" y="3173"/>
                      <a:pt x="6383" y="3178"/>
                    </a:cubicBezTo>
                    <a:cubicBezTo>
                      <a:pt x="6997" y="3234"/>
                      <a:pt x="7498" y="3847"/>
                      <a:pt x="7498" y="4544"/>
                    </a:cubicBezTo>
                    <a:cubicBezTo>
                      <a:pt x="7498" y="5408"/>
                      <a:pt x="7164" y="6245"/>
                      <a:pt x="6523" y="6858"/>
                    </a:cubicBezTo>
                    <a:lnTo>
                      <a:pt x="6328" y="7081"/>
                    </a:lnTo>
                    <a:cubicBezTo>
                      <a:pt x="6188" y="7220"/>
                      <a:pt x="6188" y="7387"/>
                      <a:pt x="6328" y="7527"/>
                    </a:cubicBezTo>
                    <a:cubicBezTo>
                      <a:pt x="6634" y="7834"/>
                      <a:pt x="7498" y="8614"/>
                      <a:pt x="7498" y="10175"/>
                    </a:cubicBezTo>
                    <a:lnTo>
                      <a:pt x="1896" y="10175"/>
                    </a:lnTo>
                    <a:lnTo>
                      <a:pt x="1896" y="10147"/>
                    </a:lnTo>
                    <a:cubicBezTo>
                      <a:pt x="1896" y="9813"/>
                      <a:pt x="1868" y="9032"/>
                      <a:pt x="2453" y="8307"/>
                    </a:cubicBezTo>
                    <a:lnTo>
                      <a:pt x="3066" y="7499"/>
                    </a:lnTo>
                    <a:cubicBezTo>
                      <a:pt x="3150" y="7387"/>
                      <a:pt x="3178" y="7248"/>
                      <a:pt x="3066" y="7109"/>
                    </a:cubicBezTo>
                    <a:lnTo>
                      <a:pt x="2286" y="5938"/>
                    </a:lnTo>
                    <a:cubicBezTo>
                      <a:pt x="2007" y="5520"/>
                      <a:pt x="1868" y="5018"/>
                      <a:pt x="1868" y="4544"/>
                    </a:cubicBezTo>
                    <a:cubicBezTo>
                      <a:pt x="1868" y="3903"/>
                      <a:pt x="2286" y="3346"/>
                      <a:pt x="2788" y="3206"/>
                    </a:cubicBezTo>
                    <a:cubicBezTo>
                      <a:pt x="2884" y="3187"/>
                      <a:pt x="2980" y="3178"/>
                      <a:pt x="3074" y="3178"/>
                    </a:cubicBezTo>
                    <a:cubicBezTo>
                      <a:pt x="3788" y="3178"/>
                      <a:pt x="4376" y="3718"/>
                      <a:pt x="4376" y="4433"/>
                    </a:cubicBezTo>
                    <a:cubicBezTo>
                      <a:pt x="4376" y="4600"/>
                      <a:pt x="4516" y="4739"/>
                      <a:pt x="4683" y="4739"/>
                    </a:cubicBezTo>
                    <a:cubicBezTo>
                      <a:pt x="4850" y="4739"/>
                      <a:pt x="4990" y="4600"/>
                      <a:pt x="4990" y="4433"/>
                    </a:cubicBezTo>
                    <a:cubicBezTo>
                      <a:pt x="4990" y="3753"/>
                      <a:pt x="5530" y="3171"/>
                      <a:pt x="6241" y="3171"/>
                    </a:cubicBezTo>
                    <a:close/>
                    <a:moveTo>
                      <a:pt x="4739" y="1"/>
                    </a:moveTo>
                    <a:cubicBezTo>
                      <a:pt x="2146" y="1"/>
                      <a:pt x="0" y="2147"/>
                      <a:pt x="0" y="4739"/>
                    </a:cubicBezTo>
                    <a:lnTo>
                      <a:pt x="0" y="10454"/>
                    </a:lnTo>
                    <a:cubicBezTo>
                      <a:pt x="0" y="10649"/>
                      <a:pt x="139" y="10788"/>
                      <a:pt x="335" y="10788"/>
                    </a:cubicBezTo>
                    <a:lnTo>
                      <a:pt x="9171" y="10788"/>
                    </a:lnTo>
                    <a:cubicBezTo>
                      <a:pt x="9338" y="10788"/>
                      <a:pt x="9478" y="10649"/>
                      <a:pt x="9478" y="10454"/>
                    </a:cubicBezTo>
                    <a:lnTo>
                      <a:pt x="9478" y="4739"/>
                    </a:lnTo>
                    <a:cubicBezTo>
                      <a:pt x="9478" y="2147"/>
                      <a:pt x="7359" y="1"/>
                      <a:pt x="4739"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grpSp>
        <p:nvGrpSpPr>
          <p:cNvPr id="11174" name="Google Shape;11174;p114"/>
          <p:cNvGrpSpPr/>
          <p:nvPr/>
        </p:nvGrpSpPr>
        <p:grpSpPr>
          <a:xfrm>
            <a:off x="7364958" y="2252992"/>
            <a:ext cx="644999" cy="641723"/>
            <a:chOff x="4724650" y="2885700"/>
            <a:chExt cx="270750" cy="269375"/>
          </a:xfrm>
        </p:grpSpPr>
        <p:sp>
          <p:nvSpPr>
            <p:cNvPr id="11175" name="Google Shape;11175;p114"/>
            <p:cNvSpPr/>
            <p:nvPr/>
          </p:nvSpPr>
          <p:spPr>
            <a:xfrm flipH="1">
              <a:off x="4725000" y="2885700"/>
              <a:ext cx="270400" cy="269375"/>
            </a:xfrm>
            <a:custGeom>
              <a:avLst/>
              <a:gdLst/>
              <a:ahLst/>
              <a:cxnLst/>
              <a:rect l="l" t="t" r="r" b="b"/>
              <a:pathLst>
                <a:path w="10816" h="10775" extrusionOk="0">
                  <a:moveTo>
                    <a:pt x="1655" y="3145"/>
                  </a:moveTo>
                  <a:cubicBezTo>
                    <a:pt x="1870" y="3145"/>
                    <a:pt x="2092" y="3219"/>
                    <a:pt x="2286" y="3388"/>
                  </a:cubicBezTo>
                  <a:cubicBezTo>
                    <a:pt x="1840" y="3722"/>
                    <a:pt x="1450" y="4308"/>
                    <a:pt x="1338" y="5005"/>
                  </a:cubicBezTo>
                  <a:cubicBezTo>
                    <a:pt x="948" y="4865"/>
                    <a:pt x="697" y="4503"/>
                    <a:pt x="697" y="4085"/>
                  </a:cubicBezTo>
                  <a:cubicBezTo>
                    <a:pt x="697" y="3540"/>
                    <a:pt x="1158" y="3145"/>
                    <a:pt x="1655" y="3145"/>
                  </a:cubicBezTo>
                  <a:close/>
                  <a:moveTo>
                    <a:pt x="9227" y="3165"/>
                  </a:moveTo>
                  <a:cubicBezTo>
                    <a:pt x="9757" y="3165"/>
                    <a:pt x="10203" y="3555"/>
                    <a:pt x="10203" y="4085"/>
                  </a:cubicBezTo>
                  <a:cubicBezTo>
                    <a:pt x="10203" y="4503"/>
                    <a:pt x="9924" y="4865"/>
                    <a:pt x="9534" y="5005"/>
                  </a:cubicBezTo>
                  <a:cubicBezTo>
                    <a:pt x="9450" y="4419"/>
                    <a:pt x="9199" y="3917"/>
                    <a:pt x="8725" y="3499"/>
                  </a:cubicBezTo>
                  <a:cubicBezTo>
                    <a:pt x="8697" y="3471"/>
                    <a:pt x="8642" y="3444"/>
                    <a:pt x="8586" y="3388"/>
                  </a:cubicBezTo>
                  <a:cubicBezTo>
                    <a:pt x="8781" y="3248"/>
                    <a:pt x="8976" y="3165"/>
                    <a:pt x="9227" y="3165"/>
                  </a:cubicBezTo>
                  <a:close/>
                  <a:moveTo>
                    <a:pt x="5436" y="712"/>
                  </a:moveTo>
                  <a:lnTo>
                    <a:pt x="5882" y="991"/>
                  </a:lnTo>
                  <a:cubicBezTo>
                    <a:pt x="5921" y="1010"/>
                    <a:pt x="5972" y="1042"/>
                    <a:pt x="6037" y="1042"/>
                  </a:cubicBezTo>
                  <a:cubicBezTo>
                    <a:pt x="6066" y="1042"/>
                    <a:pt x="6098" y="1036"/>
                    <a:pt x="6133" y="1018"/>
                  </a:cubicBezTo>
                  <a:lnTo>
                    <a:pt x="6635" y="879"/>
                  </a:lnTo>
                  <a:lnTo>
                    <a:pt x="7025" y="1269"/>
                  </a:lnTo>
                  <a:cubicBezTo>
                    <a:pt x="7109" y="1325"/>
                    <a:pt x="7164" y="1381"/>
                    <a:pt x="7248" y="1381"/>
                  </a:cubicBezTo>
                  <a:lnTo>
                    <a:pt x="7805" y="1409"/>
                  </a:lnTo>
                  <a:lnTo>
                    <a:pt x="8028" y="1910"/>
                  </a:lnTo>
                  <a:cubicBezTo>
                    <a:pt x="8084" y="1966"/>
                    <a:pt x="8140" y="2050"/>
                    <a:pt x="8224" y="2050"/>
                  </a:cubicBezTo>
                  <a:lnTo>
                    <a:pt x="8725" y="2217"/>
                  </a:lnTo>
                  <a:lnTo>
                    <a:pt x="8809" y="2552"/>
                  </a:lnTo>
                  <a:cubicBezTo>
                    <a:pt x="8502" y="2663"/>
                    <a:pt x="8168" y="2830"/>
                    <a:pt x="7973" y="3109"/>
                  </a:cubicBezTo>
                  <a:cubicBezTo>
                    <a:pt x="7879" y="3091"/>
                    <a:pt x="7785" y="3082"/>
                    <a:pt x="7692" y="3082"/>
                  </a:cubicBezTo>
                  <a:cubicBezTo>
                    <a:pt x="7061" y="3082"/>
                    <a:pt x="6459" y="3478"/>
                    <a:pt x="6217" y="4085"/>
                  </a:cubicBezTo>
                  <a:lnTo>
                    <a:pt x="6021" y="4642"/>
                  </a:lnTo>
                  <a:cubicBezTo>
                    <a:pt x="5910" y="4893"/>
                    <a:pt x="5715" y="5032"/>
                    <a:pt x="5464" y="5032"/>
                  </a:cubicBezTo>
                  <a:cubicBezTo>
                    <a:pt x="5213" y="5032"/>
                    <a:pt x="4962" y="4893"/>
                    <a:pt x="4906" y="4642"/>
                  </a:cubicBezTo>
                  <a:lnTo>
                    <a:pt x="4683" y="4085"/>
                  </a:lnTo>
                  <a:cubicBezTo>
                    <a:pt x="4441" y="3478"/>
                    <a:pt x="3839" y="3082"/>
                    <a:pt x="3227" y="3082"/>
                  </a:cubicBezTo>
                  <a:cubicBezTo>
                    <a:pt x="3136" y="3082"/>
                    <a:pt x="3045" y="3091"/>
                    <a:pt x="2955" y="3109"/>
                  </a:cubicBezTo>
                  <a:cubicBezTo>
                    <a:pt x="2732" y="2830"/>
                    <a:pt x="2453" y="2635"/>
                    <a:pt x="2119" y="2552"/>
                  </a:cubicBezTo>
                  <a:lnTo>
                    <a:pt x="2175" y="2217"/>
                  </a:lnTo>
                  <a:lnTo>
                    <a:pt x="2649" y="2050"/>
                  </a:lnTo>
                  <a:cubicBezTo>
                    <a:pt x="2704" y="1994"/>
                    <a:pt x="2788" y="1966"/>
                    <a:pt x="2816" y="1910"/>
                  </a:cubicBezTo>
                  <a:lnTo>
                    <a:pt x="3067" y="1409"/>
                  </a:lnTo>
                  <a:lnTo>
                    <a:pt x="3624" y="1381"/>
                  </a:lnTo>
                  <a:cubicBezTo>
                    <a:pt x="3680" y="1381"/>
                    <a:pt x="3764" y="1353"/>
                    <a:pt x="3819" y="1269"/>
                  </a:cubicBezTo>
                  <a:lnTo>
                    <a:pt x="4210" y="879"/>
                  </a:lnTo>
                  <a:lnTo>
                    <a:pt x="4739" y="1018"/>
                  </a:lnTo>
                  <a:cubicBezTo>
                    <a:pt x="4756" y="1036"/>
                    <a:pt x="4779" y="1042"/>
                    <a:pt x="4804" y="1042"/>
                  </a:cubicBezTo>
                  <a:cubicBezTo>
                    <a:pt x="4859" y="1042"/>
                    <a:pt x="4924" y="1010"/>
                    <a:pt x="4962" y="991"/>
                  </a:cubicBezTo>
                  <a:lnTo>
                    <a:pt x="5436" y="712"/>
                  </a:lnTo>
                  <a:close/>
                  <a:moveTo>
                    <a:pt x="5436" y="7625"/>
                  </a:moveTo>
                  <a:cubicBezTo>
                    <a:pt x="5603" y="7625"/>
                    <a:pt x="5743" y="7681"/>
                    <a:pt x="5882" y="7792"/>
                  </a:cubicBezTo>
                  <a:cubicBezTo>
                    <a:pt x="5966" y="7904"/>
                    <a:pt x="6021" y="7987"/>
                    <a:pt x="6049" y="8099"/>
                  </a:cubicBezTo>
                  <a:cubicBezTo>
                    <a:pt x="5826" y="8350"/>
                    <a:pt x="5603" y="8600"/>
                    <a:pt x="5436" y="8768"/>
                  </a:cubicBezTo>
                  <a:lnTo>
                    <a:pt x="4795" y="8127"/>
                  </a:lnTo>
                  <a:cubicBezTo>
                    <a:pt x="4879" y="7848"/>
                    <a:pt x="5102" y="7625"/>
                    <a:pt x="5436" y="7625"/>
                  </a:cubicBezTo>
                  <a:close/>
                  <a:moveTo>
                    <a:pt x="3226" y="3711"/>
                  </a:moveTo>
                  <a:cubicBezTo>
                    <a:pt x="3600" y="3711"/>
                    <a:pt x="3965" y="3943"/>
                    <a:pt x="4126" y="4336"/>
                  </a:cubicBezTo>
                  <a:lnTo>
                    <a:pt x="4349" y="4893"/>
                  </a:lnTo>
                  <a:cubicBezTo>
                    <a:pt x="4516" y="5395"/>
                    <a:pt x="4990" y="5701"/>
                    <a:pt x="5492" y="5701"/>
                  </a:cubicBezTo>
                  <a:cubicBezTo>
                    <a:pt x="6021" y="5701"/>
                    <a:pt x="6467" y="5395"/>
                    <a:pt x="6635" y="4893"/>
                  </a:cubicBezTo>
                  <a:lnTo>
                    <a:pt x="6858" y="4336"/>
                  </a:lnTo>
                  <a:cubicBezTo>
                    <a:pt x="7002" y="3957"/>
                    <a:pt x="7379" y="3730"/>
                    <a:pt x="7756" y="3730"/>
                  </a:cubicBezTo>
                  <a:cubicBezTo>
                    <a:pt x="7962" y="3730"/>
                    <a:pt x="8168" y="3798"/>
                    <a:pt x="8335" y="3945"/>
                  </a:cubicBezTo>
                  <a:cubicBezTo>
                    <a:pt x="8725" y="4308"/>
                    <a:pt x="8948" y="4782"/>
                    <a:pt x="8948" y="5339"/>
                  </a:cubicBezTo>
                  <a:cubicBezTo>
                    <a:pt x="8920" y="6175"/>
                    <a:pt x="8502" y="7430"/>
                    <a:pt x="7861" y="8405"/>
                  </a:cubicBezTo>
                  <a:cubicBezTo>
                    <a:pt x="7248" y="9381"/>
                    <a:pt x="6467" y="10022"/>
                    <a:pt x="5771" y="10161"/>
                  </a:cubicBezTo>
                  <a:lnTo>
                    <a:pt x="5771" y="9353"/>
                  </a:lnTo>
                  <a:cubicBezTo>
                    <a:pt x="5938" y="9186"/>
                    <a:pt x="6328" y="8796"/>
                    <a:pt x="6635" y="8517"/>
                  </a:cubicBezTo>
                  <a:cubicBezTo>
                    <a:pt x="6718" y="8461"/>
                    <a:pt x="6746" y="8377"/>
                    <a:pt x="6746" y="8322"/>
                  </a:cubicBezTo>
                  <a:cubicBezTo>
                    <a:pt x="6746" y="7959"/>
                    <a:pt x="6607" y="7653"/>
                    <a:pt x="6356" y="7402"/>
                  </a:cubicBezTo>
                  <a:cubicBezTo>
                    <a:pt x="6105" y="7151"/>
                    <a:pt x="5798" y="7012"/>
                    <a:pt x="5464" y="7012"/>
                  </a:cubicBezTo>
                  <a:cubicBezTo>
                    <a:pt x="4767" y="7012"/>
                    <a:pt x="4210" y="7569"/>
                    <a:pt x="4210" y="8266"/>
                  </a:cubicBezTo>
                  <a:cubicBezTo>
                    <a:pt x="4210" y="8350"/>
                    <a:pt x="4237" y="8461"/>
                    <a:pt x="4293" y="8489"/>
                  </a:cubicBezTo>
                  <a:lnTo>
                    <a:pt x="5185" y="9353"/>
                  </a:lnTo>
                  <a:lnTo>
                    <a:pt x="5185" y="10161"/>
                  </a:lnTo>
                  <a:cubicBezTo>
                    <a:pt x="4433" y="10022"/>
                    <a:pt x="3708" y="9381"/>
                    <a:pt x="3095" y="8405"/>
                  </a:cubicBezTo>
                  <a:cubicBezTo>
                    <a:pt x="2453" y="7430"/>
                    <a:pt x="2035" y="6231"/>
                    <a:pt x="2035" y="5339"/>
                  </a:cubicBezTo>
                  <a:cubicBezTo>
                    <a:pt x="2035" y="4782"/>
                    <a:pt x="2258" y="4336"/>
                    <a:pt x="2621" y="3945"/>
                  </a:cubicBezTo>
                  <a:cubicBezTo>
                    <a:pt x="2801" y="3785"/>
                    <a:pt x="3015" y="3711"/>
                    <a:pt x="3226" y="3711"/>
                  </a:cubicBezTo>
                  <a:close/>
                  <a:moveTo>
                    <a:pt x="5408" y="1"/>
                  </a:moveTo>
                  <a:cubicBezTo>
                    <a:pt x="5352" y="1"/>
                    <a:pt x="5297" y="15"/>
                    <a:pt x="5241" y="43"/>
                  </a:cubicBezTo>
                  <a:lnTo>
                    <a:pt x="4739" y="377"/>
                  </a:lnTo>
                  <a:lnTo>
                    <a:pt x="4126" y="238"/>
                  </a:lnTo>
                  <a:cubicBezTo>
                    <a:pt x="4103" y="222"/>
                    <a:pt x="4077" y="215"/>
                    <a:pt x="4050" y="215"/>
                  </a:cubicBezTo>
                  <a:cubicBezTo>
                    <a:pt x="3980" y="215"/>
                    <a:pt x="3900" y="261"/>
                    <a:pt x="3819" y="322"/>
                  </a:cubicBezTo>
                  <a:lnTo>
                    <a:pt x="3401" y="740"/>
                  </a:lnTo>
                  <a:lnTo>
                    <a:pt x="2816" y="795"/>
                  </a:lnTo>
                  <a:cubicBezTo>
                    <a:pt x="2704" y="795"/>
                    <a:pt x="2593" y="851"/>
                    <a:pt x="2537" y="963"/>
                  </a:cubicBezTo>
                  <a:lnTo>
                    <a:pt x="2258" y="1492"/>
                  </a:lnTo>
                  <a:lnTo>
                    <a:pt x="1701" y="1687"/>
                  </a:lnTo>
                  <a:cubicBezTo>
                    <a:pt x="1589" y="1715"/>
                    <a:pt x="1534" y="1827"/>
                    <a:pt x="1478" y="1938"/>
                  </a:cubicBezTo>
                  <a:lnTo>
                    <a:pt x="1394" y="2524"/>
                  </a:lnTo>
                  <a:cubicBezTo>
                    <a:pt x="1032" y="2552"/>
                    <a:pt x="725" y="2747"/>
                    <a:pt x="474" y="2970"/>
                  </a:cubicBezTo>
                  <a:cubicBezTo>
                    <a:pt x="168" y="3304"/>
                    <a:pt x="0" y="3667"/>
                    <a:pt x="0" y="4085"/>
                  </a:cubicBezTo>
                  <a:cubicBezTo>
                    <a:pt x="0" y="4865"/>
                    <a:pt x="586" y="5534"/>
                    <a:pt x="1283" y="5618"/>
                  </a:cubicBezTo>
                  <a:cubicBezTo>
                    <a:pt x="1338" y="6566"/>
                    <a:pt x="1812" y="7764"/>
                    <a:pt x="2426" y="8740"/>
                  </a:cubicBezTo>
                  <a:cubicBezTo>
                    <a:pt x="3290" y="10050"/>
                    <a:pt x="4349" y="10775"/>
                    <a:pt x="5352" y="10775"/>
                  </a:cubicBezTo>
                  <a:cubicBezTo>
                    <a:pt x="6412" y="10775"/>
                    <a:pt x="7443" y="10050"/>
                    <a:pt x="8279" y="8740"/>
                  </a:cubicBezTo>
                  <a:cubicBezTo>
                    <a:pt x="8893" y="7764"/>
                    <a:pt x="9366" y="6566"/>
                    <a:pt x="9422" y="5618"/>
                  </a:cubicBezTo>
                  <a:cubicBezTo>
                    <a:pt x="9729" y="5562"/>
                    <a:pt x="10008" y="5423"/>
                    <a:pt x="10258" y="5200"/>
                  </a:cubicBezTo>
                  <a:cubicBezTo>
                    <a:pt x="10649" y="4921"/>
                    <a:pt x="10816" y="4503"/>
                    <a:pt x="10816" y="4085"/>
                  </a:cubicBezTo>
                  <a:cubicBezTo>
                    <a:pt x="10816" y="3667"/>
                    <a:pt x="10649" y="3248"/>
                    <a:pt x="10342" y="2970"/>
                  </a:cubicBezTo>
                  <a:cubicBezTo>
                    <a:pt x="10091" y="2747"/>
                    <a:pt x="9785" y="2607"/>
                    <a:pt x="9422" y="2524"/>
                  </a:cubicBezTo>
                  <a:lnTo>
                    <a:pt x="9339" y="1938"/>
                  </a:lnTo>
                  <a:cubicBezTo>
                    <a:pt x="9283" y="1827"/>
                    <a:pt x="9227" y="1715"/>
                    <a:pt x="9116" y="1687"/>
                  </a:cubicBezTo>
                  <a:lnTo>
                    <a:pt x="8558" y="1492"/>
                  </a:lnTo>
                  <a:lnTo>
                    <a:pt x="8279" y="963"/>
                  </a:lnTo>
                  <a:cubicBezTo>
                    <a:pt x="8251" y="851"/>
                    <a:pt x="8140" y="795"/>
                    <a:pt x="8001" y="795"/>
                  </a:cubicBezTo>
                  <a:lnTo>
                    <a:pt x="7415" y="740"/>
                  </a:lnTo>
                  <a:lnTo>
                    <a:pt x="6997" y="322"/>
                  </a:lnTo>
                  <a:cubicBezTo>
                    <a:pt x="6913" y="266"/>
                    <a:pt x="6774" y="238"/>
                    <a:pt x="6690" y="238"/>
                  </a:cubicBezTo>
                  <a:lnTo>
                    <a:pt x="6077" y="377"/>
                  </a:lnTo>
                  <a:lnTo>
                    <a:pt x="5575" y="43"/>
                  </a:lnTo>
                  <a:cubicBezTo>
                    <a:pt x="5520" y="15"/>
                    <a:pt x="5464" y="1"/>
                    <a:pt x="5408"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1176" name="Google Shape;11176;p114"/>
            <p:cNvSpPr/>
            <p:nvPr/>
          </p:nvSpPr>
          <p:spPr>
            <a:xfrm>
              <a:off x="4724650" y="2885700"/>
              <a:ext cx="270400" cy="269375"/>
            </a:xfrm>
            <a:custGeom>
              <a:avLst/>
              <a:gdLst/>
              <a:ahLst/>
              <a:cxnLst/>
              <a:rect l="l" t="t" r="r" b="b"/>
              <a:pathLst>
                <a:path w="10816" h="10775" extrusionOk="0">
                  <a:moveTo>
                    <a:pt x="1655" y="3145"/>
                  </a:moveTo>
                  <a:cubicBezTo>
                    <a:pt x="1870" y="3145"/>
                    <a:pt x="2092" y="3219"/>
                    <a:pt x="2286" y="3388"/>
                  </a:cubicBezTo>
                  <a:cubicBezTo>
                    <a:pt x="1840" y="3722"/>
                    <a:pt x="1450" y="4308"/>
                    <a:pt x="1338" y="5005"/>
                  </a:cubicBezTo>
                  <a:cubicBezTo>
                    <a:pt x="948" y="4865"/>
                    <a:pt x="697" y="4503"/>
                    <a:pt x="697" y="4085"/>
                  </a:cubicBezTo>
                  <a:cubicBezTo>
                    <a:pt x="697" y="3540"/>
                    <a:pt x="1158" y="3145"/>
                    <a:pt x="1655" y="3145"/>
                  </a:cubicBezTo>
                  <a:close/>
                  <a:moveTo>
                    <a:pt x="9227" y="3165"/>
                  </a:moveTo>
                  <a:cubicBezTo>
                    <a:pt x="9757" y="3165"/>
                    <a:pt x="10203" y="3555"/>
                    <a:pt x="10203" y="4085"/>
                  </a:cubicBezTo>
                  <a:cubicBezTo>
                    <a:pt x="10203" y="4503"/>
                    <a:pt x="9924" y="4865"/>
                    <a:pt x="9534" y="5005"/>
                  </a:cubicBezTo>
                  <a:cubicBezTo>
                    <a:pt x="9450" y="4419"/>
                    <a:pt x="9199" y="3917"/>
                    <a:pt x="8725" y="3499"/>
                  </a:cubicBezTo>
                  <a:cubicBezTo>
                    <a:pt x="8697" y="3471"/>
                    <a:pt x="8642" y="3444"/>
                    <a:pt x="8586" y="3388"/>
                  </a:cubicBezTo>
                  <a:cubicBezTo>
                    <a:pt x="8781" y="3248"/>
                    <a:pt x="8976" y="3165"/>
                    <a:pt x="9227" y="3165"/>
                  </a:cubicBezTo>
                  <a:close/>
                  <a:moveTo>
                    <a:pt x="5436" y="712"/>
                  </a:moveTo>
                  <a:lnTo>
                    <a:pt x="5882" y="991"/>
                  </a:lnTo>
                  <a:cubicBezTo>
                    <a:pt x="5921" y="1010"/>
                    <a:pt x="5972" y="1042"/>
                    <a:pt x="6037" y="1042"/>
                  </a:cubicBezTo>
                  <a:cubicBezTo>
                    <a:pt x="6066" y="1042"/>
                    <a:pt x="6098" y="1036"/>
                    <a:pt x="6133" y="1018"/>
                  </a:cubicBezTo>
                  <a:lnTo>
                    <a:pt x="6635" y="879"/>
                  </a:lnTo>
                  <a:lnTo>
                    <a:pt x="7025" y="1269"/>
                  </a:lnTo>
                  <a:cubicBezTo>
                    <a:pt x="7109" y="1325"/>
                    <a:pt x="7164" y="1381"/>
                    <a:pt x="7248" y="1381"/>
                  </a:cubicBezTo>
                  <a:lnTo>
                    <a:pt x="7805" y="1409"/>
                  </a:lnTo>
                  <a:lnTo>
                    <a:pt x="8028" y="1910"/>
                  </a:lnTo>
                  <a:cubicBezTo>
                    <a:pt x="8084" y="1966"/>
                    <a:pt x="8140" y="2050"/>
                    <a:pt x="8224" y="2050"/>
                  </a:cubicBezTo>
                  <a:lnTo>
                    <a:pt x="8725" y="2217"/>
                  </a:lnTo>
                  <a:lnTo>
                    <a:pt x="8809" y="2552"/>
                  </a:lnTo>
                  <a:cubicBezTo>
                    <a:pt x="8502" y="2663"/>
                    <a:pt x="8168" y="2830"/>
                    <a:pt x="7973" y="3109"/>
                  </a:cubicBezTo>
                  <a:cubicBezTo>
                    <a:pt x="7879" y="3091"/>
                    <a:pt x="7785" y="3082"/>
                    <a:pt x="7692" y="3082"/>
                  </a:cubicBezTo>
                  <a:cubicBezTo>
                    <a:pt x="7061" y="3082"/>
                    <a:pt x="6459" y="3478"/>
                    <a:pt x="6217" y="4085"/>
                  </a:cubicBezTo>
                  <a:lnTo>
                    <a:pt x="6021" y="4642"/>
                  </a:lnTo>
                  <a:cubicBezTo>
                    <a:pt x="5910" y="4893"/>
                    <a:pt x="5715" y="5032"/>
                    <a:pt x="5464" y="5032"/>
                  </a:cubicBezTo>
                  <a:cubicBezTo>
                    <a:pt x="5213" y="5032"/>
                    <a:pt x="4962" y="4893"/>
                    <a:pt x="4906" y="4642"/>
                  </a:cubicBezTo>
                  <a:lnTo>
                    <a:pt x="4683" y="4085"/>
                  </a:lnTo>
                  <a:cubicBezTo>
                    <a:pt x="4441" y="3478"/>
                    <a:pt x="3839" y="3082"/>
                    <a:pt x="3227" y="3082"/>
                  </a:cubicBezTo>
                  <a:cubicBezTo>
                    <a:pt x="3136" y="3082"/>
                    <a:pt x="3045" y="3091"/>
                    <a:pt x="2955" y="3109"/>
                  </a:cubicBezTo>
                  <a:cubicBezTo>
                    <a:pt x="2732" y="2830"/>
                    <a:pt x="2453" y="2635"/>
                    <a:pt x="2119" y="2552"/>
                  </a:cubicBezTo>
                  <a:lnTo>
                    <a:pt x="2175" y="2217"/>
                  </a:lnTo>
                  <a:lnTo>
                    <a:pt x="2649" y="2050"/>
                  </a:lnTo>
                  <a:cubicBezTo>
                    <a:pt x="2704" y="1994"/>
                    <a:pt x="2788" y="1966"/>
                    <a:pt x="2816" y="1910"/>
                  </a:cubicBezTo>
                  <a:lnTo>
                    <a:pt x="3067" y="1409"/>
                  </a:lnTo>
                  <a:lnTo>
                    <a:pt x="3624" y="1381"/>
                  </a:lnTo>
                  <a:cubicBezTo>
                    <a:pt x="3680" y="1381"/>
                    <a:pt x="3764" y="1353"/>
                    <a:pt x="3819" y="1269"/>
                  </a:cubicBezTo>
                  <a:lnTo>
                    <a:pt x="4210" y="879"/>
                  </a:lnTo>
                  <a:lnTo>
                    <a:pt x="4739" y="1018"/>
                  </a:lnTo>
                  <a:cubicBezTo>
                    <a:pt x="4756" y="1036"/>
                    <a:pt x="4779" y="1042"/>
                    <a:pt x="4804" y="1042"/>
                  </a:cubicBezTo>
                  <a:cubicBezTo>
                    <a:pt x="4859" y="1042"/>
                    <a:pt x="4924" y="1010"/>
                    <a:pt x="4962" y="991"/>
                  </a:cubicBezTo>
                  <a:lnTo>
                    <a:pt x="5436" y="712"/>
                  </a:lnTo>
                  <a:close/>
                  <a:moveTo>
                    <a:pt x="5436" y="7625"/>
                  </a:moveTo>
                  <a:cubicBezTo>
                    <a:pt x="5603" y="7625"/>
                    <a:pt x="5743" y="7681"/>
                    <a:pt x="5882" y="7792"/>
                  </a:cubicBezTo>
                  <a:cubicBezTo>
                    <a:pt x="5966" y="7904"/>
                    <a:pt x="6021" y="7987"/>
                    <a:pt x="6049" y="8099"/>
                  </a:cubicBezTo>
                  <a:cubicBezTo>
                    <a:pt x="5826" y="8350"/>
                    <a:pt x="5603" y="8600"/>
                    <a:pt x="5436" y="8768"/>
                  </a:cubicBezTo>
                  <a:lnTo>
                    <a:pt x="4795" y="8127"/>
                  </a:lnTo>
                  <a:cubicBezTo>
                    <a:pt x="4879" y="7848"/>
                    <a:pt x="5102" y="7625"/>
                    <a:pt x="5436" y="7625"/>
                  </a:cubicBezTo>
                  <a:close/>
                  <a:moveTo>
                    <a:pt x="3226" y="3711"/>
                  </a:moveTo>
                  <a:cubicBezTo>
                    <a:pt x="3600" y="3711"/>
                    <a:pt x="3965" y="3943"/>
                    <a:pt x="4126" y="4336"/>
                  </a:cubicBezTo>
                  <a:lnTo>
                    <a:pt x="4349" y="4893"/>
                  </a:lnTo>
                  <a:cubicBezTo>
                    <a:pt x="4516" y="5395"/>
                    <a:pt x="4990" y="5701"/>
                    <a:pt x="5492" y="5701"/>
                  </a:cubicBezTo>
                  <a:cubicBezTo>
                    <a:pt x="6021" y="5701"/>
                    <a:pt x="6467" y="5395"/>
                    <a:pt x="6635" y="4893"/>
                  </a:cubicBezTo>
                  <a:lnTo>
                    <a:pt x="6858" y="4336"/>
                  </a:lnTo>
                  <a:cubicBezTo>
                    <a:pt x="7002" y="3957"/>
                    <a:pt x="7379" y="3730"/>
                    <a:pt x="7756" y="3730"/>
                  </a:cubicBezTo>
                  <a:cubicBezTo>
                    <a:pt x="7962" y="3730"/>
                    <a:pt x="8168" y="3798"/>
                    <a:pt x="8335" y="3945"/>
                  </a:cubicBezTo>
                  <a:cubicBezTo>
                    <a:pt x="8725" y="4308"/>
                    <a:pt x="8948" y="4782"/>
                    <a:pt x="8948" y="5339"/>
                  </a:cubicBezTo>
                  <a:cubicBezTo>
                    <a:pt x="8920" y="6175"/>
                    <a:pt x="8502" y="7430"/>
                    <a:pt x="7861" y="8405"/>
                  </a:cubicBezTo>
                  <a:cubicBezTo>
                    <a:pt x="7248" y="9381"/>
                    <a:pt x="6467" y="10022"/>
                    <a:pt x="5771" y="10161"/>
                  </a:cubicBezTo>
                  <a:lnTo>
                    <a:pt x="5771" y="9353"/>
                  </a:lnTo>
                  <a:cubicBezTo>
                    <a:pt x="5938" y="9186"/>
                    <a:pt x="6328" y="8796"/>
                    <a:pt x="6635" y="8517"/>
                  </a:cubicBezTo>
                  <a:cubicBezTo>
                    <a:pt x="6718" y="8461"/>
                    <a:pt x="6746" y="8377"/>
                    <a:pt x="6746" y="8322"/>
                  </a:cubicBezTo>
                  <a:cubicBezTo>
                    <a:pt x="6746" y="7959"/>
                    <a:pt x="6607" y="7653"/>
                    <a:pt x="6356" y="7402"/>
                  </a:cubicBezTo>
                  <a:cubicBezTo>
                    <a:pt x="6105" y="7151"/>
                    <a:pt x="5798" y="7012"/>
                    <a:pt x="5464" y="7012"/>
                  </a:cubicBezTo>
                  <a:cubicBezTo>
                    <a:pt x="4767" y="7012"/>
                    <a:pt x="4210" y="7569"/>
                    <a:pt x="4210" y="8266"/>
                  </a:cubicBezTo>
                  <a:cubicBezTo>
                    <a:pt x="4210" y="8350"/>
                    <a:pt x="4237" y="8461"/>
                    <a:pt x="4293" y="8489"/>
                  </a:cubicBezTo>
                  <a:lnTo>
                    <a:pt x="5185" y="9353"/>
                  </a:lnTo>
                  <a:lnTo>
                    <a:pt x="5185" y="10161"/>
                  </a:lnTo>
                  <a:cubicBezTo>
                    <a:pt x="4433" y="10022"/>
                    <a:pt x="3708" y="9381"/>
                    <a:pt x="3095" y="8405"/>
                  </a:cubicBezTo>
                  <a:cubicBezTo>
                    <a:pt x="2453" y="7430"/>
                    <a:pt x="2035" y="6231"/>
                    <a:pt x="2035" y="5339"/>
                  </a:cubicBezTo>
                  <a:cubicBezTo>
                    <a:pt x="2035" y="4782"/>
                    <a:pt x="2258" y="4336"/>
                    <a:pt x="2621" y="3945"/>
                  </a:cubicBezTo>
                  <a:cubicBezTo>
                    <a:pt x="2801" y="3785"/>
                    <a:pt x="3015" y="3711"/>
                    <a:pt x="3226" y="3711"/>
                  </a:cubicBezTo>
                  <a:close/>
                  <a:moveTo>
                    <a:pt x="5408" y="1"/>
                  </a:moveTo>
                  <a:cubicBezTo>
                    <a:pt x="5352" y="1"/>
                    <a:pt x="5297" y="15"/>
                    <a:pt x="5241" y="43"/>
                  </a:cubicBezTo>
                  <a:lnTo>
                    <a:pt x="4739" y="377"/>
                  </a:lnTo>
                  <a:lnTo>
                    <a:pt x="4126" y="238"/>
                  </a:lnTo>
                  <a:cubicBezTo>
                    <a:pt x="4103" y="222"/>
                    <a:pt x="4077" y="215"/>
                    <a:pt x="4050" y="215"/>
                  </a:cubicBezTo>
                  <a:cubicBezTo>
                    <a:pt x="3980" y="215"/>
                    <a:pt x="3900" y="261"/>
                    <a:pt x="3819" y="322"/>
                  </a:cubicBezTo>
                  <a:lnTo>
                    <a:pt x="3401" y="740"/>
                  </a:lnTo>
                  <a:lnTo>
                    <a:pt x="2816" y="795"/>
                  </a:lnTo>
                  <a:cubicBezTo>
                    <a:pt x="2704" y="795"/>
                    <a:pt x="2593" y="851"/>
                    <a:pt x="2537" y="963"/>
                  </a:cubicBezTo>
                  <a:lnTo>
                    <a:pt x="2258" y="1492"/>
                  </a:lnTo>
                  <a:lnTo>
                    <a:pt x="1701" y="1687"/>
                  </a:lnTo>
                  <a:cubicBezTo>
                    <a:pt x="1589" y="1715"/>
                    <a:pt x="1534" y="1827"/>
                    <a:pt x="1478" y="1938"/>
                  </a:cubicBezTo>
                  <a:lnTo>
                    <a:pt x="1394" y="2524"/>
                  </a:lnTo>
                  <a:cubicBezTo>
                    <a:pt x="1032" y="2552"/>
                    <a:pt x="725" y="2747"/>
                    <a:pt x="474" y="2970"/>
                  </a:cubicBezTo>
                  <a:cubicBezTo>
                    <a:pt x="168" y="3304"/>
                    <a:pt x="0" y="3667"/>
                    <a:pt x="0" y="4085"/>
                  </a:cubicBezTo>
                  <a:cubicBezTo>
                    <a:pt x="0" y="4865"/>
                    <a:pt x="586" y="5534"/>
                    <a:pt x="1283" y="5618"/>
                  </a:cubicBezTo>
                  <a:cubicBezTo>
                    <a:pt x="1338" y="6566"/>
                    <a:pt x="1812" y="7764"/>
                    <a:pt x="2426" y="8740"/>
                  </a:cubicBezTo>
                  <a:cubicBezTo>
                    <a:pt x="3290" y="10050"/>
                    <a:pt x="4349" y="10775"/>
                    <a:pt x="5352" y="10775"/>
                  </a:cubicBezTo>
                  <a:cubicBezTo>
                    <a:pt x="6412" y="10775"/>
                    <a:pt x="7443" y="10050"/>
                    <a:pt x="8279" y="8740"/>
                  </a:cubicBezTo>
                  <a:cubicBezTo>
                    <a:pt x="8893" y="7764"/>
                    <a:pt x="9366" y="6566"/>
                    <a:pt x="9422" y="5618"/>
                  </a:cubicBezTo>
                  <a:cubicBezTo>
                    <a:pt x="9729" y="5562"/>
                    <a:pt x="10008" y="5423"/>
                    <a:pt x="10258" y="5200"/>
                  </a:cubicBezTo>
                  <a:cubicBezTo>
                    <a:pt x="10649" y="4921"/>
                    <a:pt x="10816" y="4503"/>
                    <a:pt x="10816" y="4085"/>
                  </a:cubicBezTo>
                  <a:cubicBezTo>
                    <a:pt x="10816" y="3667"/>
                    <a:pt x="10649" y="3248"/>
                    <a:pt x="10342" y="2970"/>
                  </a:cubicBezTo>
                  <a:cubicBezTo>
                    <a:pt x="10091" y="2747"/>
                    <a:pt x="9785" y="2607"/>
                    <a:pt x="9422" y="2524"/>
                  </a:cubicBezTo>
                  <a:lnTo>
                    <a:pt x="9339" y="1938"/>
                  </a:lnTo>
                  <a:cubicBezTo>
                    <a:pt x="9283" y="1827"/>
                    <a:pt x="9227" y="1715"/>
                    <a:pt x="9116" y="1687"/>
                  </a:cubicBezTo>
                  <a:lnTo>
                    <a:pt x="8558" y="1492"/>
                  </a:lnTo>
                  <a:lnTo>
                    <a:pt x="8279" y="963"/>
                  </a:lnTo>
                  <a:cubicBezTo>
                    <a:pt x="8251" y="851"/>
                    <a:pt x="8140" y="795"/>
                    <a:pt x="8001" y="795"/>
                  </a:cubicBezTo>
                  <a:lnTo>
                    <a:pt x="7415" y="740"/>
                  </a:lnTo>
                  <a:lnTo>
                    <a:pt x="6997" y="322"/>
                  </a:lnTo>
                  <a:cubicBezTo>
                    <a:pt x="6913" y="266"/>
                    <a:pt x="6774" y="238"/>
                    <a:pt x="6690" y="238"/>
                  </a:cubicBezTo>
                  <a:lnTo>
                    <a:pt x="6077" y="377"/>
                  </a:lnTo>
                  <a:lnTo>
                    <a:pt x="5575" y="43"/>
                  </a:lnTo>
                  <a:cubicBezTo>
                    <a:pt x="5520" y="15"/>
                    <a:pt x="5464" y="1"/>
                    <a:pt x="5408"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1177" name="Google Shape;11177;p114"/>
            <p:cNvSpPr/>
            <p:nvPr/>
          </p:nvSpPr>
          <p:spPr>
            <a:xfrm>
              <a:off x="4900250" y="3027525"/>
              <a:ext cx="16075" cy="15350"/>
            </a:xfrm>
            <a:custGeom>
              <a:avLst/>
              <a:gdLst/>
              <a:ahLst/>
              <a:cxnLst/>
              <a:rect l="l" t="t" r="r" b="b"/>
              <a:pathLst>
                <a:path w="643" h="614" extrusionOk="0">
                  <a:moveTo>
                    <a:pt x="308" y="1"/>
                  </a:moveTo>
                  <a:cubicBezTo>
                    <a:pt x="140" y="1"/>
                    <a:pt x="1" y="140"/>
                    <a:pt x="1" y="307"/>
                  </a:cubicBezTo>
                  <a:cubicBezTo>
                    <a:pt x="1" y="474"/>
                    <a:pt x="140" y="614"/>
                    <a:pt x="308" y="614"/>
                  </a:cubicBezTo>
                  <a:cubicBezTo>
                    <a:pt x="503" y="614"/>
                    <a:pt x="642" y="474"/>
                    <a:pt x="642" y="307"/>
                  </a:cubicBezTo>
                  <a:cubicBezTo>
                    <a:pt x="642" y="140"/>
                    <a:pt x="503" y="1"/>
                    <a:pt x="308"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1178" name="Google Shape;11178;p114"/>
            <p:cNvSpPr/>
            <p:nvPr/>
          </p:nvSpPr>
          <p:spPr>
            <a:xfrm>
              <a:off x="4805475" y="3027525"/>
              <a:ext cx="15375" cy="15350"/>
            </a:xfrm>
            <a:custGeom>
              <a:avLst/>
              <a:gdLst/>
              <a:ahLst/>
              <a:cxnLst/>
              <a:rect l="l" t="t" r="r" b="b"/>
              <a:pathLst>
                <a:path w="615" h="614" extrusionOk="0">
                  <a:moveTo>
                    <a:pt x="308" y="1"/>
                  </a:moveTo>
                  <a:cubicBezTo>
                    <a:pt x="140" y="1"/>
                    <a:pt x="1" y="140"/>
                    <a:pt x="1" y="307"/>
                  </a:cubicBezTo>
                  <a:cubicBezTo>
                    <a:pt x="1" y="474"/>
                    <a:pt x="140" y="614"/>
                    <a:pt x="308" y="614"/>
                  </a:cubicBezTo>
                  <a:cubicBezTo>
                    <a:pt x="475" y="614"/>
                    <a:pt x="614" y="474"/>
                    <a:pt x="614" y="307"/>
                  </a:cubicBezTo>
                  <a:cubicBezTo>
                    <a:pt x="614" y="140"/>
                    <a:pt x="475" y="1"/>
                    <a:pt x="308"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1179" name="Google Shape;11179;p114"/>
            <p:cNvSpPr/>
            <p:nvPr/>
          </p:nvSpPr>
          <p:spPr>
            <a:xfrm>
              <a:off x="4820825" y="2932750"/>
              <a:ext cx="16050" cy="32075"/>
            </a:xfrm>
            <a:custGeom>
              <a:avLst/>
              <a:gdLst/>
              <a:ahLst/>
              <a:cxnLst/>
              <a:rect l="l" t="t" r="r" b="b"/>
              <a:pathLst>
                <a:path w="642" h="1283" extrusionOk="0">
                  <a:moveTo>
                    <a:pt x="335" y="1"/>
                  </a:moveTo>
                  <a:cubicBezTo>
                    <a:pt x="140" y="1"/>
                    <a:pt x="0" y="140"/>
                    <a:pt x="0" y="335"/>
                  </a:cubicBezTo>
                  <a:lnTo>
                    <a:pt x="0" y="948"/>
                  </a:lnTo>
                  <a:cubicBezTo>
                    <a:pt x="0" y="1143"/>
                    <a:pt x="140" y="1283"/>
                    <a:pt x="335" y="1283"/>
                  </a:cubicBezTo>
                  <a:cubicBezTo>
                    <a:pt x="502" y="1283"/>
                    <a:pt x="641" y="1143"/>
                    <a:pt x="641" y="948"/>
                  </a:cubicBezTo>
                  <a:lnTo>
                    <a:pt x="641" y="335"/>
                  </a:lnTo>
                  <a:cubicBezTo>
                    <a:pt x="641" y="140"/>
                    <a:pt x="502" y="1"/>
                    <a:pt x="335"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1180" name="Google Shape;11180;p114"/>
            <p:cNvSpPr/>
            <p:nvPr/>
          </p:nvSpPr>
          <p:spPr>
            <a:xfrm>
              <a:off x="4884925" y="2932750"/>
              <a:ext cx="15350" cy="32075"/>
            </a:xfrm>
            <a:custGeom>
              <a:avLst/>
              <a:gdLst/>
              <a:ahLst/>
              <a:cxnLst/>
              <a:rect l="l" t="t" r="r" b="b"/>
              <a:pathLst>
                <a:path w="614" h="1283" extrusionOk="0">
                  <a:moveTo>
                    <a:pt x="307" y="1"/>
                  </a:moveTo>
                  <a:cubicBezTo>
                    <a:pt x="112" y="1"/>
                    <a:pt x="1" y="140"/>
                    <a:pt x="1" y="335"/>
                  </a:cubicBezTo>
                  <a:lnTo>
                    <a:pt x="1" y="948"/>
                  </a:lnTo>
                  <a:cubicBezTo>
                    <a:pt x="1" y="1143"/>
                    <a:pt x="112" y="1283"/>
                    <a:pt x="307" y="1283"/>
                  </a:cubicBezTo>
                  <a:cubicBezTo>
                    <a:pt x="475" y="1283"/>
                    <a:pt x="614" y="1143"/>
                    <a:pt x="614" y="948"/>
                  </a:cubicBezTo>
                  <a:lnTo>
                    <a:pt x="614" y="335"/>
                  </a:lnTo>
                  <a:cubicBezTo>
                    <a:pt x="614" y="140"/>
                    <a:pt x="475" y="1"/>
                    <a:pt x="307"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1181" name="Google Shape;11181;p114"/>
            <p:cNvSpPr/>
            <p:nvPr/>
          </p:nvSpPr>
          <p:spPr>
            <a:xfrm>
              <a:off x="4852175" y="2948775"/>
              <a:ext cx="16050" cy="31400"/>
            </a:xfrm>
            <a:custGeom>
              <a:avLst/>
              <a:gdLst/>
              <a:ahLst/>
              <a:cxnLst/>
              <a:rect l="l" t="t" r="r" b="b"/>
              <a:pathLst>
                <a:path w="642" h="1256" extrusionOk="0">
                  <a:moveTo>
                    <a:pt x="335" y="1"/>
                  </a:moveTo>
                  <a:cubicBezTo>
                    <a:pt x="140" y="1"/>
                    <a:pt x="1" y="140"/>
                    <a:pt x="1" y="307"/>
                  </a:cubicBezTo>
                  <a:lnTo>
                    <a:pt x="1" y="948"/>
                  </a:lnTo>
                  <a:cubicBezTo>
                    <a:pt x="1" y="1116"/>
                    <a:pt x="140" y="1255"/>
                    <a:pt x="335" y="1255"/>
                  </a:cubicBezTo>
                  <a:cubicBezTo>
                    <a:pt x="502" y="1255"/>
                    <a:pt x="642" y="1116"/>
                    <a:pt x="642" y="948"/>
                  </a:cubicBezTo>
                  <a:lnTo>
                    <a:pt x="642" y="307"/>
                  </a:lnTo>
                  <a:cubicBezTo>
                    <a:pt x="642" y="140"/>
                    <a:pt x="502" y="1"/>
                    <a:pt x="335"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11182" name="Google Shape;11182;p114"/>
          <p:cNvGrpSpPr/>
          <p:nvPr/>
        </p:nvGrpSpPr>
        <p:grpSpPr>
          <a:xfrm>
            <a:off x="5854432" y="2245160"/>
            <a:ext cx="519233" cy="623763"/>
            <a:chOff x="4459350" y="2882125"/>
            <a:chExt cx="228375" cy="274350"/>
          </a:xfrm>
        </p:grpSpPr>
        <p:sp>
          <p:nvSpPr>
            <p:cNvPr id="11183" name="Google Shape;11183;p114"/>
            <p:cNvSpPr/>
            <p:nvPr/>
          </p:nvSpPr>
          <p:spPr>
            <a:xfrm>
              <a:off x="4537175" y="3045650"/>
              <a:ext cx="15375" cy="15350"/>
            </a:xfrm>
            <a:custGeom>
              <a:avLst/>
              <a:gdLst/>
              <a:ahLst/>
              <a:cxnLst/>
              <a:rect l="l" t="t" r="r" b="b"/>
              <a:pathLst>
                <a:path w="615" h="614" extrusionOk="0">
                  <a:moveTo>
                    <a:pt x="308" y="0"/>
                  </a:moveTo>
                  <a:cubicBezTo>
                    <a:pt x="140" y="0"/>
                    <a:pt x="1" y="140"/>
                    <a:pt x="1" y="307"/>
                  </a:cubicBezTo>
                  <a:cubicBezTo>
                    <a:pt x="1" y="474"/>
                    <a:pt x="140" y="614"/>
                    <a:pt x="308" y="614"/>
                  </a:cubicBezTo>
                  <a:cubicBezTo>
                    <a:pt x="475" y="614"/>
                    <a:pt x="614" y="474"/>
                    <a:pt x="614" y="307"/>
                  </a:cubicBezTo>
                  <a:cubicBezTo>
                    <a:pt x="614" y="140"/>
                    <a:pt x="475" y="0"/>
                    <a:pt x="308"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1184" name="Google Shape;11184;p114"/>
            <p:cNvSpPr/>
            <p:nvPr/>
          </p:nvSpPr>
          <p:spPr>
            <a:xfrm>
              <a:off x="4599900" y="3045650"/>
              <a:ext cx="15350" cy="15350"/>
            </a:xfrm>
            <a:custGeom>
              <a:avLst/>
              <a:gdLst/>
              <a:ahLst/>
              <a:cxnLst/>
              <a:rect l="l" t="t" r="r" b="b"/>
              <a:pathLst>
                <a:path w="614" h="614" extrusionOk="0">
                  <a:moveTo>
                    <a:pt x="307" y="0"/>
                  </a:moveTo>
                  <a:cubicBezTo>
                    <a:pt x="140" y="0"/>
                    <a:pt x="1" y="140"/>
                    <a:pt x="1" y="307"/>
                  </a:cubicBezTo>
                  <a:cubicBezTo>
                    <a:pt x="1" y="474"/>
                    <a:pt x="140" y="614"/>
                    <a:pt x="307" y="614"/>
                  </a:cubicBezTo>
                  <a:cubicBezTo>
                    <a:pt x="475" y="614"/>
                    <a:pt x="614" y="474"/>
                    <a:pt x="614" y="307"/>
                  </a:cubicBezTo>
                  <a:cubicBezTo>
                    <a:pt x="614" y="140"/>
                    <a:pt x="475" y="0"/>
                    <a:pt x="307"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1185" name="Google Shape;11185;p114"/>
            <p:cNvSpPr/>
            <p:nvPr/>
          </p:nvSpPr>
          <p:spPr>
            <a:xfrm>
              <a:off x="4464700" y="2886250"/>
              <a:ext cx="223025" cy="270225"/>
            </a:xfrm>
            <a:custGeom>
              <a:avLst/>
              <a:gdLst/>
              <a:ahLst/>
              <a:cxnLst/>
              <a:rect l="l" t="t" r="r" b="b"/>
              <a:pathLst>
                <a:path w="8921" h="10809" extrusionOk="0">
                  <a:moveTo>
                    <a:pt x="921" y="773"/>
                  </a:moveTo>
                  <a:cubicBezTo>
                    <a:pt x="1757" y="1219"/>
                    <a:pt x="2398" y="1916"/>
                    <a:pt x="2788" y="2808"/>
                  </a:cubicBezTo>
                  <a:cubicBezTo>
                    <a:pt x="2900" y="3059"/>
                    <a:pt x="2956" y="3310"/>
                    <a:pt x="3039" y="3589"/>
                  </a:cubicBezTo>
                  <a:cubicBezTo>
                    <a:pt x="2538" y="3868"/>
                    <a:pt x="2175" y="4314"/>
                    <a:pt x="1924" y="4843"/>
                  </a:cubicBezTo>
                  <a:cubicBezTo>
                    <a:pt x="1534" y="4481"/>
                    <a:pt x="1255" y="4035"/>
                    <a:pt x="1060" y="3561"/>
                  </a:cubicBezTo>
                  <a:cubicBezTo>
                    <a:pt x="670" y="2641"/>
                    <a:pt x="642" y="1665"/>
                    <a:pt x="921" y="773"/>
                  </a:cubicBezTo>
                  <a:close/>
                  <a:moveTo>
                    <a:pt x="8029" y="773"/>
                  </a:moveTo>
                  <a:lnTo>
                    <a:pt x="8029" y="773"/>
                  </a:lnTo>
                  <a:cubicBezTo>
                    <a:pt x="8308" y="1665"/>
                    <a:pt x="8252" y="2641"/>
                    <a:pt x="7890" y="3561"/>
                  </a:cubicBezTo>
                  <a:cubicBezTo>
                    <a:pt x="7667" y="4035"/>
                    <a:pt x="7388" y="4481"/>
                    <a:pt x="6998" y="4843"/>
                  </a:cubicBezTo>
                  <a:cubicBezTo>
                    <a:pt x="6775" y="4314"/>
                    <a:pt x="6356" y="3868"/>
                    <a:pt x="5883" y="3589"/>
                  </a:cubicBezTo>
                  <a:cubicBezTo>
                    <a:pt x="5966" y="3310"/>
                    <a:pt x="6022" y="3031"/>
                    <a:pt x="6133" y="2808"/>
                  </a:cubicBezTo>
                  <a:cubicBezTo>
                    <a:pt x="6496" y="1944"/>
                    <a:pt x="7137" y="1219"/>
                    <a:pt x="8029" y="773"/>
                  </a:cubicBezTo>
                  <a:close/>
                  <a:moveTo>
                    <a:pt x="4545" y="3840"/>
                  </a:moveTo>
                  <a:cubicBezTo>
                    <a:pt x="5660" y="3923"/>
                    <a:pt x="6524" y="4983"/>
                    <a:pt x="6524" y="6153"/>
                  </a:cubicBezTo>
                  <a:lnTo>
                    <a:pt x="6524" y="6265"/>
                  </a:lnTo>
                  <a:cubicBezTo>
                    <a:pt x="6524" y="6655"/>
                    <a:pt x="6663" y="6990"/>
                    <a:pt x="6942" y="7352"/>
                  </a:cubicBezTo>
                  <a:cubicBezTo>
                    <a:pt x="7081" y="7547"/>
                    <a:pt x="7165" y="7742"/>
                    <a:pt x="7165" y="7937"/>
                  </a:cubicBezTo>
                  <a:cubicBezTo>
                    <a:pt x="7276" y="8300"/>
                    <a:pt x="7053" y="8662"/>
                    <a:pt x="6635" y="8941"/>
                  </a:cubicBezTo>
                  <a:cubicBezTo>
                    <a:pt x="6579" y="8774"/>
                    <a:pt x="6496" y="8578"/>
                    <a:pt x="6356" y="8383"/>
                  </a:cubicBezTo>
                  <a:cubicBezTo>
                    <a:pt x="6291" y="8302"/>
                    <a:pt x="6189" y="8259"/>
                    <a:pt x="6087" y="8259"/>
                  </a:cubicBezTo>
                  <a:cubicBezTo>
                    <a:pt x="6014" y="8259"/>
                    <a:pt x="5941" y="8281"/>
                    <a:pt x="5883" y="8328"/>
                  </a:cubicBezTo>
                  <a:cubicBezTo>
                    <a:pt x="5743" y="8439"/>
                    <a:pt x="5715" y="8634"/>
                    <a:pt x="5827" y="8774"/>
                  </a:cubicBezTo>
                  <a:cubicBezTo>
                    <a:pt x="5994" y="9024"/>
                    <a:pt x="6022" y="9275"/>
                    <a:pt x="5938" y="9470"/>
                  </a:cubicBezTo>
                  <a:cubicBezTo>
                    <a:pt x="5827" y="9693"/>
                    <a:pt x="5604" y="9861"/>
                    <a:pt x="5297" y="10000"/>
                  </a:cubicBezTo>
                  <a:lnTo>
                    <a:pt x="4712" y="9136"/>
                  </a:lnTo>
                  <a:lnTo>
                    <a:pt x="4712" y="8718"/>
                  </a:lnTo>
                  <a:lnTo>
                    <a:pt x="5241" y="8188"/>
                  </a:lnTo>
                  <a:cubicBezTo>
                    <a:pt x="5381" y="8049"/>
                    <a:pt x="5381" y="7882"/>
                    <a:pt x="5241" y="7742"/>
                  </a:cubicBezTo>
                  <a:cubicBezTo>
                    <a:pt x="5172" y="7673"/>
                    <a:pt x="5088" y="7638"/>
                    <a:pt x="5005" y="7638"/>
                  </a:cubicBezTo>
                  <a:cubicBezTo>
                    <a:pt x="4921" y="7638"/>
                    <a:pt x="4837" y="7673"/>
                    <a:pt x="4768" y="7742"/>
                  </a:cubicBezTo>
                  <a:lnTo>
                    <a:pt x="4349" y="8160"/>
                  </a:lnTo>
                  <a:lnTo>
                    <a:pt x="3931" y="7742"/>
                  </a:lnTo>
                  <a:cubicBezTo>
                    <a:pt x="3862" y="7673"/>
                    <a:pt x="3785" y="7638"/>
                    <a:pt x="3708" y="7638"/>
                  </a:cubicBezTo>
                  <a:cubicBezTo>
                    <a:pt x="3632" y="7638"/>
                    <a:pt x="3555" y="7673"/>
                    <a:pt x="3485" y="7742"/>
                  </a:cubicBezTo>
                  <a:cubicBezTo>
                    <a:pt x="3346" y="7882"/>
                    <a:pt x="3346" y="8049"/>
                    <a:pt x="3485" y="8188"/>
                  </a:cubicBezTo>
                  <a:lnTo>
                    <a:pt x="4015" y="8718"/>
                  </a:lnTo>
                  <a:lnTo>
                    <a:pt x="4015" y="9136"/>
                  </a:lnTo>
                  <a:lnTo>
                    <a:pt x="3430" y="10000"/>
                  </a:lnTo>
                  <a:cubicBezTo>
                    <a:pt x="3151" y="9889"/>
                    <a:pt x="2900" y="9693"/>
                    <a:pt x="2788" y="9470"/>
                  </a:cubicBezTo>
                  <a:cubicBezTo>
                    <a:pt x="2677" y="9275"/>
                    <a:pt x="2733" y="9024"/>
                    <a:pt x="2900" y="8774"/>
                  </a:cubicBezTo>
                  <a:cubicBezTo>
                    <a:pt x="3011" y="8634"/>
                    <a:pt x="2956" y="8439"/>
                    <a:pt x="2816" y="8328"/>
                  </a:cubicBezTo>
                  <a:cubicBezTo>
                    <a:pt x="2758" y="8281"/>
                    <a:pt x="2690" y="8259"/>
                    <a:pt x="2623" y="8259"/>
                  </a:cubicBezTo>
                  <a:cubicBezTo>
                    <a:pt x="2529" y="8259"/>
                    <a:pt x="2435" y="8302"/>
                    <a:pt x="2370" y="8383"/>
                  </a:cubicBezTo>
                  <a:cubicBezTo>
                    <a:pt x="2231" y="8578"/>
                    <a:pt x="2175" y="8774"/>
                    <a:pt x="2092" y="8941"/>
                  </a:cubicBezTo>
                  <a:cubicBezTo>
                    <a:pt x="1673" y="8662"/>
                    <a:pt x="1423" y="8328"/>
                    <a:pt x="1423" y="7937"/>
                  </a:cubicBezTo>
                  <a:cubicBezTo>
                    <a:pt x="1423" y="7742"/>
                    <a:pt x="1506" y="7519"/>
                    <a:pt x="1673" y="7352"/>
                  </a:cubicBezTo>
                  <a:cubicBezTo>
                    <a:pt x="1952" y="6990"/>
                    <a:pt x="2092" y="6655"/>
                    <a:pt x="2092" y="6265"/>
                  </a:cubicBezTo>
                  <a:lnTo>
                    <a:pt x="2092" y="6153"/>
                  </a:lnTo>
                  <a:cubicBezTo>
                    <a:pt x="2092" y="4983"/>
                    <a:pt x="2956" y="3923"/>
                    <a:pt x="4071" y="3840"/>
                  </a:cubicBezTo>
                  <a:close/>
                  <a:moveTo>
                    <a:pt x="4461" y="9749"/>
                  </a:moveTo>
                  <a:lnTo>
                    <a:pt x="4712" y="10139"/>
                  </a:lnTo>
                  <a:lnTo>
                    <a:pt x="4461" y="10139"/>
                  </a:lnTo>
                  <a:cubicBezTo>
                    <a:pt x="4405" y="10153"/>
                    <a:pt x="4363" y="10160"/>
                    <a:pt x="4325" y="10160"/>
                  </a:cubicBezTo>
                  <a:cubicBezTo>
                    <a:pt x="4287" y="10160"/>
                    <a:pt x="4252" y="10153"/>
                    <a:pt x="4210" y="10139"/>
                  </a:cubicBezTo>
                  <a:lnTo>
                    <a:pt x="4461" y="9749"/>
                  </a:lnTo>
                  <a:close/>
                  <a:moveTo>
                    <a:pt x="744" y="0"/>
                  </a:moveTo>
                  <a:cubicBezTo>
                    <a:pt x="622" y="0"/>
                    <a:pt x="510" y="68"/>
                    <a:pt x="447" y="216"/>
                  </a:cubicBezTo>
                  <a:cubicBezTo>
                    <a:pt x="1" y="1359"/>
                    <a:pt x="1" y="2641"/>
                    <a:pt x="503" y="3784"/>
                  </a:cubicBezTo>
                  <a:cubicBezTo>
                    <a:pt x="781" y="4453"/>
                    <a:pt x="1200" y="5038"/>
                    <a:pt x="1701" y="5512"/>
                  </a:cubicBezTo>
                  <a:cubicBezTo>
                    <a:pt x="1646" y="5847"/>
                    <a:pt x="1646" y="6098"/>
                    <a:pt x="1646" y="6265"/>
                  </a:cubicBezTo>
                  <a:cubicBezTo>
                    <a:pt x="1646" y="6516"/>
                    <a:pt x="1534" y="6711"/>
                    <a:pt x="1367" y="6962"/>
                  </a:cubicBezTo>
                  <a:cubicBezTo>
                    <a:pt x="1116" y="7268"/>
                    <a:pt x="1004" y="7603"/>
                    <a:pt x="1004" y="7937"/>
                  </a:cubicBezTo>
                  <a:cubicBezTo>
                    <a:pt x="1004" y="8746"/>
                    <a:pt x="1646" y="9359"/>
                    <a:pt x="2370" y="9721"/>
                  </a:cubicBezTo>
                  <a:cubicBezTo>
                    <a:pt x="2677" y="10390"/>
                    <a:pt x="3569" y="10809"/>
                    <a:pt x="4461" y="10809"/>
                  </a:cubicBezTo>
                  <a:cubicBezTo>
                    <a:pt x="5381" y="10809"/>
                    <a:pt x="6217" y="10418"/>
                    <a:pt x="6552" y="9749"/>
                  </a:cubicBezTo>
                  <a:cubicBezTo>
                    <a:pt x="6552" y="9749"/>
                    <a:pt x="6552" y="9721"/>
                    <a:pt x="6579" y="9721"/>
                  </a:cubicBezTo>
                  <a:cubicBezTo>
                    <a:pt x="7332" y="9359"/>
                    <a:pt x="7945" y="8746"/>
                    <a:pt x="7945" y="7937"/>
                  </a:cubicBezTo>
                  <a:cubicBezTo>
                    <a:pt x="7945" y="7603"/>
                    <a:pt x="7834" y="7268"/>
                    <a:pt x="7611" y="6962"/>
                  </a:cubicBezTo>
                  <a:cubicBezTo>
                    <a:pt x="7416" y="6711"/>
                    <a:pt x="7332" y="6516"/>
                    <a:pt x="7332" y="6265"/>
                  </a:cubicBezTo>
                  <a:cubicBezTo>
                    <a:pt x="7332" y="6125"/>
                    <a:pt x="7332" y="5847"/>
                    <a:pt x="7248" y="5512"/>
                  </a:cubicBezTo>
                  <a:cubicBezTo>
                    <a:pt x="7750" y="5038"/>
                    <a:pt x="8168" y="4453"/>
                    <a:pt x="8447" y="3784"/>
                  </a:cubicBezTo>
                  <a:cubicBezTo>
                    <a:pt x="8921" y="2641"/>
                    <a:pt x="8921" y="1359"/>
                    <a:pt x="8475" y="216"/>
                  </a:cubicBezTo>
                  <a:cubicBezTo>
                    <a:pt x="8412" y="68"/>
                    <a:pt x="8300" y="0"/>
                    <a:pt x="8177" y="0"/>
                  </a:cubicBezTo>
                  <a:cubicBezTo>
                    <a:pt x="8138" y="0"/>
                    <a:pt x="8097" y="7"/>
                    <a:pt x="8057" y="21"/>
                  </a:cubicBezTo>
                  <a:cubicBezTo>
                    <a:pt x="6914" y="523"/>
                    <a:pt x="5994" y="1415"/>
                    <a:pt x="5548" y="2530"/>
                  </a:cubicBezTo>
                  <a:cubicBezTo>
                    <a:pt x="5437" y="2780"/>
                    <a:pt x="5381" y="3031"/>
                    <a:pt x="5297" y="3310"/>
                  </a:cubicBezTo>
                  <a:cubicBezTo>
                    <a:pt x="5130" y="3226"/>
                    <a:pt x="4963" y="3199"/>
                    <a:pt x="4740" y="3199"/>
                  </a:cubicBezTo>
                  <a:cubicBezTo>
                    <a:pt x="4656" y="3185"/>
                    <a:pt x="4558" y="3178"/>
                    <a:pt x="4461" y="3178"/>
                  </a:cubicBezTo>
                  <a:cubicBezTo>
                    <a:pt x="4363" y="3178"/>
                    <a:pt x="4266" y="3185"/>
                    <a:pt x="4182" y="3199"/>
                  </a:cubicBezTo>
                  <a:cubicBezTo>
                    <a:pt x="4015" y="3226"/>
                    <a:pt x="3792" y="3254"/>
                    <a:pt x="3625" y="3310"/>
                  </a:cubicBezTo>
                  <a:cubicBezTo>
                    <a:pt x="3569" y="3031"/>
                    <a:pt x="3485" y="2780"/>
                    <a:pt x="3374" y="2530"/>
                  </a:cubicBezTo>
                  <a:cubicBezTo>
                    <a:pt x="2928" y="1387"/>
                    <a:pt x="2036" y="523"/>
                    <a:pt x="865" y="21"/>
                  </a:cubicBezTo>
                  <a:cubicBezTo>
                    <a:pt x="824" y="7"/>
                    <a:pt x="784" y="0"/>
                    <a:pt x="744"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1186" name="Google Shape;11186;p114"/>
            <p:cNvSpPr/>
            <p:nvPr/>
          </p:nvSpPr>
          <p:spPr>
            <a:xfrm flipH="1">
              <a:off x="4459350" y="2886250"/>
              <a:ext cx="223025" cy="270225"/>
            </a:xfrm>
            <a:custGeom>
              <a:avLst/>
              <a:gdLst/>
              <a:ahLst/>
              <a:cxnLst/>
              <a:rect l="l" t="t" r="r" b="b"/>
              <a:pathLst>
                <a:path w="8921" h="10809" extrusionOk="0">
                  <a:moveTo>
                    <a:pt x="921" y="773"/>
                  </a:moveTo>
                  <a:cubicBezTo>
                    <a:pt x="1757" y="1219"/>
                    <a:pt x="2398" y="1916"/>
                    <a:pt x="2788" y="2808"/>
                  </a:cubicBezTo>
                  <a:cubicBezTo>
                    <a:pt x="2900" y="3059"/>
                    <a:pt x="2956" y="3310"/>
                    <a:pt x="3039" y="3589"/>
                  </a:cubicBezTo>
                  <a:cubicBezTo>
                    <a:pt x="2538" y="3868"/>
                    <a:pt x="2175" y="4314"/>
                    <a:pt x="1924" y="4843"/>
                  </a:cubicBezTo>
                  <a:cubicBezTo>
                    <a:pt x="1534" y="4481"/>
                    <a:pt x="1255" y="4035"/>
                    <a:pt x="1060" y="3561"/>
                  </a:cubicBezTo>
                  <a:cubicBezTo>
                    <a:pt x="670" y="2641"/>
                    <a:pt x="642" y="1665"/>
                    <a:pt x="921" y="773"/>
                  </a:cubicBezTo>
                  <a:close/>
                  <a:moveTo>
                    <a:pt x="8029" y="773"/>
                  </a:moveTo>
                  <a:lnTo>
                    <a:pt x="8029" y="773"/>
                  </a:lnTo>
                  <a:cubicBezTo>
                    <a:pt x="8308" y="1665"/>
                    <a:pt x="8252" y="2641"/>
                    <a:pt x="7890" y="3561"/>
                  </a:cubicBezTo>
                  <a:cubicBezTo>
                    <a:pt x="7667" y="4035"/>
                    <a:pt x="7388" y="4481"/>
                    <a:pt x="6998" y="4843"/>
                  </a:cubicBezTo>
                  <a:cubicBezTo>
                    <a:pt x="6775" y="4314"/>
                    <a:pt x="6356" y="3868"/>
                    <a:pt x="5883" y="3589"/>
                  </a:cubicBezTo>
                  <a:cubicBezTo>
                    <a:pt x="5966" y="3310"/>
                    <a:pt x="6022" y="3031"/>
                    <a:pt x="6133" y="2808"/>
                  </a:cubicBezTo>
                  <a:cubicBezTo>
                    <a:pt x="6496" y="1944"/>
                    <a:pt x="7137" y="1219"/>
                    <a:pt x="8029" y="773"/>
                  </a:cubicBezTo>
                  <a:close/>
                  <a:moveTo>
                    <a:pt x="4545" y="3840"/>
                  </a:moveTo>
                  <a:cubicBezTo>
                    <a:pt x="5660" y="3923"/>
                    <a:pt x="6524" y="4983"/>
                    <a:pt x="6524" y="6153"/>
                  </a:cubicBezTo>
                  <a:lnTo>
                    <a:pt x="6524" y="6265"/>
                  </a:lnTo>
                  <a:cubicBezTo>
                    <a:pt x="6524" y="6655"/>
                    <a:pt x="6663" y="6990"/>
                    <a:pt x="6942" y="7352"/>
                  </a:cubicBezTo>
                  <a:cubicBezTo>
                    <a:pt x="7081" y="7547"/>
                    <a:pt x="7165" y="7742"/>
                    <a:pt x="7165" y="7937"/>
                  </a:cubicBezTo>
                  <a:cubicBezTo>
                    <a:pt x="7276" y="8300"/>
                    <a:pt x="7053" y="8662"/>
                    <a:pt x="6635" y="8941"/>
                  </a:cubicBezTo>
                  <a:cubicBezTo>
                    <a:pt x="6579" y="8774"/>
                    <a:pt x="6496" y="8578"/>
                    <a:pt x="6356" y="8383"/>
                  </a:cubicBezTo>
                  <a:cubicBezTo>
                    <a:pt x="6291" y="8302"/>
                    <a:pt x="6189" y="8259"/>
                    <a:pt x="6087" y="8259"/>
                  </a:cubicBezTo>
                  <a:cubicBezTo>
                    <a:pt x="6014" y="8259"/>
                    <a:pt x="5941" y="8281"/>
                    <a:pt x="5883" y="8328"/>
                  </a:cubicBezTo>
                  <a:cubicBezTo>
                    <a:pt x="5743" y="8439"/>
                    <a:pt x="5715" y="8634"/>
                    <a:pt x="5827" y="8774"/>
                  </a:cubicBezTo>
                  <a:cubicBezTo>
                    <a:pt x="5994" y="9024"/>
                    <a:pt x="6022" y="9275"/>
                    <a:pt x="5938" y="9470"/>
                  </a:cubicBezTo>
                  <a:cubicBezTo>
                    <a:pt x="5827" y="9693"/>
                    <a:pt x="5604" y="9861"/>
                    <a:pt x="5297" y="10000"/>
                  </a:cubicBezTo>
                  <a:lnTo>
                    <a:pt x="4712" y="9136"/>
                  </a:lnTo>
                  <a:lnTo>
                    <a:pt x="4712" y="8718"/>
                  </a:lnTo>
                  <a:lnTo>
                    <a:pt x="5241" y="8188"/>
                  </a:lnTo>
                  <a:cubicBezTo>
                    <a:pt x="5381" y="8049"/>
                    <a:pt x="5381" y="7882"/>
                    <a:pt x="5241" y="7742"/>
                  </a:cubicBezTo>
                  <a:cubicBezTo>
                    <a:pt x="5172" y="7673"/>
                    <a:pt x="5088" y="7638"/>
                    <a:pt x="5005" y="7638"/>
                  </a:cubicBezTo>
                  <a:cubicBezTo>
                    <a:pt x="4921" y="7638"/>
                    <a:pt x="4837" y="7673"/>
                    <a:pt x="4768" y="7742"/>
                  </a:cubicBezTo>
                  <a:lnTo>
                    <a:pt x="4349" y="8160"/>
                  </a:lnTo>
                  <a:lnTo>
                    <a:pt x="3931" y="7742"/>
                  </a:lnTo>
                  <a:cubicBezTo>
                    <a:pt x="3862" y="7673"/>
                    <a:pt x="3785" y="7638"/>
                    <a:pt x="3708" y="7638"/>
                  </a:cubicBezTo>
                  <a:cubicBezTo>
                    <a:pt x="3632" y="7638"/>
                    <a:pt x="3555" y="7673"/>
                    <a:pt x="3485" y="7742"/>
                  </a:cubicBezTo>
                  <a:cubicBezTo>
                    <a:pt x="3346" y="7882"/>
                    <a:pt x="3346" y="8049"/>
                    <a:pt x="3485" y="8188"/>
                  </a:cubicBezTo>
                  <a:lnTo>
                    <a:pt x="4015" y="8718"/>
                  </a:lnTo>
                  <a:lnTo>
                    <a:pt x="4015" y="9136"/>
                  </a:lnTo>
                  <a:lnTo>
                    <a:pt x="3430" y="10000"/>
                  </a:lnTo>
                  <a:cubicBezTo>
                    <a:pt x="3151" y="9889"/>
                    <a:pt x="2900" y="9693"/>
                    <a:pt x="2788" y="9470"/>
                  </a:cubicBezTo>
                  <a:cubicBezTo>
                    <a:pt x="2677" y="9275"/>
                    <a:pt x="2733" y="9024"/>
                    <a:pt x="2900" y="8774"/>
                  </a:cubicBezTo>
                  <a:cubicBezTo>
                    <a:pt x="3011" y="8634"/>
                    <a:pt x="2956" y="8439"/>
                    <a:pt x="2816" y="8328"/>
                  </a:cubicBezTo>
                  <a:cubicBezTo>
                    <a:pt x="2758" y="8281"/>
                    <a:pt x="2690" y="8259"/>
                    <a:pt x="2623" y="8259"/>
                  </a:cubicBezTo>
                  <a:cubicBezTo>
                    <a:pt x="2529" y="8259"/>
                    <a:pt x="2435" y="8302"/>
                    <a:pt x="2370" y="8383"/>
                  </a:cubicBezTo>
                  <a:cubicBezTo>
                    <a:pt x="2231" y="8578"/>
                    <a:pt x="2175" y="8774"/>
                    <a:pt x="2092" y="8941"/>
                  </a:cubicBezTo>
                  <a:cubicBezTo>
                    <a:pt x="1673" y="8662"/>
                    <a:pt x="1423" y="8328"/>
                    <a:pt x="1423" y="7937"/>
                  </a:cubicBezTo>
                  <a:cubicBezTo>
                    <a:pt x="1423" y="7742"/>
                    <a:pt x="1506" y="7519"/>
                    <a:pt x="1673" y="7352"/>
                  </a:cubicBezTo>
                  <a:cubicBezTo>
                    <a:pt x="1952" y="6990"/>
                    <a:pt x="2092" y="6655"/>
                    <a:pt x="2092" y="6265"/>
                  </a:cubicBezTo>
                  <a:lnTo>
                    <a:pt x="2092" y="6153"/>
                  </a:lnTo>
                  <a:cubicBezTo>
                    <a:pt x="2092" y="4983"/>
                    <a:pt x="2956" y="3923"/>
                    <a:pt x="4071" y="3840"/>
                  </a:cubicBezTo>
                  <a:close/>
                  <a:moveTo>
                    <a:pt x="4461" y="9749"/>
                  </a:moveTo>
                  <a:lnTo>
                    <a:pt x="4712" y="10139"/>
                  </a:lnTo>
                  <a:lnTo>
                    <a:pt x="4461" y="10139"/>
                  </a:lnTo>
                  <a:cubicBezTo>
                    <a:pt x="4405" y="10153"/>
                    <a:pt x="4363" y="10160"/>
                    <a:pt x="4325" y="10160"/>
                  </a:cubicBezTo>
                  <a:cubicBezTo>
                    <a:pt x="4287" y="10160"/>
                    <a:pt x="4252" y="10153"/>
                    <a:pt x="4210" y="10139"/>
                  </a:cubicBezTo>
                  <a:lnTo>
                    <a:pt x="4461" y="9749"/>
                  </a:lnTo>
                  <a:close/>
                  <a:moveTo>
                    <a:pt x="744" y="0"/>
                  </a:moveTo>
                  <a:cubicBezTo>
                    <a:pt x="622" y="0"/>
                    <a:pt x="510" y="68"/>
                    <a:pt x="447" y="216"/>
                  </a:cubicBezTo>
                  <a:cubicBezTo>
                    <a:pt x="1" y="1359"/>
                    <a:pt x="1" y="2641"/>
                    <a:pt x="503" y="3784"/>
                  </a:cubicBezTo>
                  <a:cubicBezTo>
                    <a:pt x="781" y="4453"/>
                    <a:pt x="1200" y="5038"/>
                    <a:pt x="1701" y="5512"/>
                  </a:cubicBezTo>
                  <a:cubicBezTo>
                    <a:pt x="1646" y="5847"/>
                    <a:pt x="1646" y="6098"/>
                    <a:pt x="1646" y="6265"/>
                  </a:cubicBezTo>
                  <a:cubicBezTo>
                    <a:pt x="1646" y="6516"/>
                    <a:pt x="1534" y="6711"/>
                    <a:pt x="1367" y="6962"/>
                  </a:cubicBezTo>
                  <a:cubicBezTo>
                    <a:pt x="1116" y="7268"/>
                    <a:pt x="1004" y="7603"/>
                    <a:pt x="1004" y="7937"/>
                  </a:cubicBezTo>
                  <a:cubicBezTo>
                    <a:pt x="1004" y="8746"/>
                    <a:pt x="1646" y="9359"/>
                    <a:pt x="2370" y="9721"/>
                  </a:cubicBezTo>
                  <a:cubicBezTo>
                    <a:pt x="2677" y="10390"/>
                    <a:pt x="3569" y="10809"/>
                    <a:pt x="4461" y="10809"/>
                  </a:cubicBezTo>
                  <a:cubicBezTo>
                    <a:pt x="5381" y="10809"/>
                    <a:pt x="6217" y="10418"/>
                    <a:pt x="6552" y="9749"/>
                  </a:cubicBezTo>
                  <a:cubicBezTo>
                    <a:pt x="6552" y="9749"/>
                    <a:pt x="6552" y="9721"/>
                    <a:pt x="6579" y="9721"/>
                  </a:cubicBezTo>
                  <a:cubicBezTo>
                    <a:pt x="7332" y="9359"/>
                    <a:pt x="7945" y="8746"/>
                    <a:pt x="7945" y="7937"/>
                  </a:cubicBezTo>
                  <a:cubicBezTo>
                    <a:pt x="7945" y="7603"/>
                    <a:pt x="7834" y="7268"/>
                    <a:pt x="7611" y="6962"/>
                  </a:cubicBezTo>
                  <a:cubicBezTo>
                    <a:pt x="7416" y="6711"/>
                    <a:pt x="7332" y="6516"/>
                    <a:pt x="7332" y="6265"/>
                  </a:cubicBezTo>
                  <a:cubicBezTo>
                    <a:pt x="7332" y="6125"/>
                    <a:pt x="7332" y="5847"/>
                    <a:pt x="7248" y="5512"/>
                  </a:cubicBezTo>
                  <a:cubicBezTo>
                    <a:pt x="7750" y="5038"/>
                    <a:pt x="8168" y="4453"/>
                    <a:pt x="8447" y="3784"/>
                  </a:cubicBezTo>
                  <a:cubicBezTo>
                    <a:pt x="8921" y="2641"/>
                    <a:pt x="8921" y="1359"/>
                    <a:pt x="8475" y="216"/>
                  </a:cubicBezTo>
                  <a:cubicBezTo>
                    <a:pt x="8412" y="68"/>
                    <a:pt x="8300" y="0"/>
                    <a:pt x="8177" y="0"/>
                  </a:cubicBezTo>
                  <a:cubicBezTo>
                    <a:pt x="8138" y="0"/>
                    <a:pt x="8097" y="7"/>
                    <a:pt x="8057" y="21"/>
                  </a:cubicBezTo>
                  <a:cubicBezTo>
                    <a:pt x="6914" y="523"/>
                    <a:pt x="5994" y="1415"/>
                    <a:pt x="5548" y="2530"/>
                  </a:cubicBezTo>
                  <a:cubicBezTo>
                    <a:pt x="5437" y="2780"/>
                    <a:pt x="5381" y="3031"/>
                    <a:pt x="5297" y="3310"/>
                  </a:cubicBezTo>
                  <a:cubicBezTo>
                    <a:pt x="5130" y="3226"/>
                    <a:pt x="4963" y="3199"/>
                    <a:pt x="4740" y="3199"/>
                  </a:cubicBezTo>
                  <a:cubicBezTo>
                    <a:pt x="4656" y="3185"/>
                    <a:pt x="4558" y="3178"/>
                    <a:pt x="4461" y="3178"/>
                  </a:cubicBezTo>
                  <a:cubicBezTo>
                    <a:pt x="4363" y="3178"/>
                    <a:pt x="4266" y="3185"/>
                    <a:pt x="4182" y="3199"/>
                  </a:cubicBezTo>
                  <a:cubicBezTo>
                    <a:pt x="4015" y="3226"/>
                    <a:pt x="3792" y="3254"/>
                    <a:pt x="3625" y="3310"/>
                  </a:cubicBezTo>
                  <a:cubicBezTo>
                    <a:pt x="3569" y="3031"/>
                    <a:pt x="3485" y="2780"/>
                    <a:pt x="3374" y="2530"/>
                  </a:cubicBezTo>
                  <a:cubicBezTo>
                    <a:pt x="2928" y="1387"/>
                    <a:pt x="2036" y="523"/>
                    <a:pt x="865" y="21"/>
                  </a:cubicBezTo>
                  <a:cubicBezTo>
                    <a:pt x="824" y="7"/>
                    <a:pt x="784" y="0"/>
                    <a:pt x="744"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1187" name="Google Shape;11187;p114"/>
            <p:cNvSpPr/>
            <p:nvPr/>
          </p:nvSpPr>
          <p:spPr>
            <a:xfrm rot="-537108">
              <a:off x="4468759" y="2883937"/>
              <a:ext cx="24732" cy="18476"/>
            </a:xfrm>
            <a:custGeom>
              <a:avLst/>
              <a:gdLst/>
              <a:ahLst/>
              <a:cxnLst/>
              <a:rect l="l" t="t" r="r" b="b"/>
              <a:pathLst>
                <a:path w="1081" h="721" extrusionOk="0">
                  <a:moveTo>
                    <a:pt x="17" y="657"/>
                  </a:moveTo>
                  <a:cubicBezTo>
                    <a:pt x="-46" y="550"/>
                    <a:pt x="128" y="70"/>
                    <a:pt x="303" y="14"/>
                  </a:cubicBezTo>
                  <a:cubicBezTo>
                    <a:pt x="478" y="-41"/>
                    <a:pt x="1002" y="217"/>
                    <a:pt x="1065" y="324"/>
                  </a:cubicBezTo>
                  <a:cubicBezTo>
                    <a:pt x="1129" y="431"/>
                    <a:pt x="859" y="602"/>
                    <a:pt x="684" y="657"/>
                  </a:cubicBezTo>
                  <a:cubicBezTo>
                    <a:pt x="509" y="713"/>
                    <a:pt x="81" y="764"/>
                    <a:pt x="17" y="657"/>
                  </a:cubicBezTo>
                  <a:close/>
                </a:path>
              </a:pathLst>
            </a:custGeom>
            <a:solidFill>
              <a:srgbClr val="5F7D95"/>
            </a:solidFill>
            <a:ln>
              <a:noFill/>
            </a:ln>
          </p:spPr>
        </p:sp>
        <p:sp>
          <p:nvSpPr>
            <p:cNvPr id="11188" name="Google Shape;11188;p114"/>
            <p:cNvSpPr/>
            <p:nvPr/>
          </p:nvSpPr>
          <p:spPr>
            <a:xfrm rot="537108" flipH="1">
              <a:off x="4653897" y="2883937"/>
              <a:ext cx="24732" cy="18476"/>
            </a:xfrm>
            <a:custGeom>
              <a:avLst/>
              <a:gdLst/>
              <a:ahLst/>
              <a:cxnLst/>
              <a:rect l="l" t="t" r="r" b="b"/>
              <a:pathLst>
                <a:path w="1081" h="721" extrusionOk="0">
                  <a:moveTo>
                    <a:pt x="17" y="657"/>
                  </a:moveTo>
                  <a:cubicBezTo>
                    <a:pt x="-46" y="550"/>
                    <a:pt x="128" y="70"/>
                    <a:pt x="303" y="14"/>
                  </a:cubicBezTo>
                  <a:cubicBezTo>
                    <a:pt x="478" y="-41"/>
                    <a:pt x="1002" y="217"/>
                    <a:pt x="1065" y="324"/>
                  </a:cubicBezTo>
                  <a:cubicBezTo>
                    <a:pt x="1129" y="431"/>
                    <a:pt x="859" y="602"/>
                    <a:pt x="684" y="657"/>
                  </a:cubicBezTo>
                  <a:cubicBezTo>
                    <a:pt x="509" y="713"/>
                    <a:pt x="81" y="764"/>
                    <a:pt x="17" y="657"/>
                  </a:cubicBezTo>
                  <a:close/>
                </a:path>
              </a:pathLst>
            </a:custGeom>
            <a:solidFill>
              <a:srgbClr val="5F7D95"/>
            </a:solidFill>
            <a:ln>
              <a:noFill/>
            </a:ln>
          </p:spPr>
        </p:sp>
      </p:grpSp>
      <p:sp>
        <p:nvSpPr>
          <p:cNvPr id="11189" name="Google Shape;11189;p114"/>
          <p:cNvSpPr txBox="1"/>
          <p:nvPr/>
        </p:nvSpPr>
        <p:spPr>
          <a:xfrm>
            <a:off x="1627333" y="1447800"/>
            <a:ext cx="9396400" cy="643200"/>
          </a:xfrm>
          <a:prstGeom prst="rect">
            <a:avLst/>
          </a:prstGeom>
          <a:noFill/>
          <a:ln>
            <a:noFill/>
          </a:ln>
        </p:spPr>
        <p:txBody>
          <a:bodyPr spcFirstLastPara="1" wrap="square" lIns="121900" tIns="121900" rIns="121900" bIns="121900" anchor="t" anchorCtr="0">
            <a:noAutofit/>
          </a:bodyPr>
          <a:lstStyle/>
          <a:p>
            <a:pPr algn="ctr" defTabSz="1219170">
              <a:buClr>
                <a:srgbClr val="000000"/>
              </a:buClr>
            </a:pPr>
            <a:r>
              <a:rPr lang="en" sz="3200" kern="0">
                <a:solidFill>
                  <a:srgbClr val="FFFFFF"/>
                </a:solidFill>
                <a:latin typeface="Arial"/>
                <a:cs typeface="Arial"/>
                <a:sym typeface="Arial"/>
              </a:rPr>
              <a:t>Nature Icons</a:t>
            </a:r>
            <a:endParaRPr sz="3200" kern="0">
              <a:solidFill>
                <a:srgbClr val="FFFFFF"/>
              </a:solidFill>
              <a:latin typeface="Arial"/>
              <a:cs typeface="Arial"/>
              <a:sym typeface="Arial"/>
            </a:endParaRPr>
          </a:p>
        </p:txBody>
      </p:sp>
    </p:spTree>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bg>
      <p:bgPr>
        <a:solidFill>
          <a:srgbClr val="0E2A47"/>
        </a:solidFill>
        <a:effectLst/>
      </p:bgPr>
    </p:bg>
    <p:spTree>
      <p:nvGrpSpPr>
        <p:cNvPr id="1" name="Shape 11193"/>
        <p:cNvGrpSpPr/>
        <p:nvPr/>
      </p:nvGrpSpPr>
      <p:grpSpPr>
        <a:xfrm>
          <a:off x="0" y="0"/>
          <a:ext cx="0" cy="0"/>
          <a:chOff x="0" y="0"/>
          <a:chExt cx="0" cy="0"/>
        </a:xfrm>
      </p:grpSpPr>
      <p:sp>
        <p:nvSpPr>
          <p:cNvPr id="11194" name="Google Shape;11194;p115"/>
          <p:cNvSpPr txBox="1">
            <a:spLocks noGrp="1"/>
          </p:cNvSpPr>
          <p:nvPr>
            <p:ph type="title" idx="4294967295"/>
          </p:nvPr>
        </p:nvSpPr>
        <p:spPr>
          <a:xfrm>
            <a:off x="1424133" y="1244600"/>
            <a:ext cx="9396400" cy="643200"/>
          </a:xfrm>
          <a:prstGeom prst="rect">
            <a:avLst/>
          </a:prstGeom>
        </p:spPr>
        <p:txBody>
          <a:bodyPr spcFirstLastPara="1" wrap="square" lIns="121900" tIns="121900" rIns="121900" bIns="121900" anchor="t" anchorCtr="0">
            <a:noAutofit/>
          </a:bodyPr>
          <a:lstStyle/>
          <a:p>
            <a:pPr>
              <a:buClr>
                <a:srgbClr val="000000"/>
              </a:buClr>
              <a:buSzPts val="1100"/>
            </a:pPr>
            <a:r>
              <a:rPr lang="en">
                <a:solidFill>
                  <a:srgbClr val="FFFFFF"/>
                </a:solidFill>
                <a:latin typeface="Arial"/>
                <a:ea typeface="Arial"/>
                <a:cs typeface="Arial"/>
                <a:sym typeface="Arial"/>
              </a:rPr>
              <a:t>SEO &amp; Marketing Icons</a:t>
            </a:r>
            <a:endParaRPr>
              <a:solidFill>
                <a:srgbClr val="FFFFFF"/>
              </a:solidFill>
              <a:latin typeface="Arial"/>
              <a:ea typeface="Arial"/>
              <a:cs typeface="Arial"/>
              <a:sym typeface="Arial"/>
            </a:endParaRPr>
          </a:p>
        </p:txBody>
      </p:sp>
      <p:sp>
        <p:nvSpPr>
          <p:cNvPr id="11195" name="Google Shape;11195;p115"/>
          <p:cNvSpPr/>
          <p:nvPr/>
        </p:nvSpPr>
        <p:spPr>
          <a:xfrm>
            <a:off x="1125467" y="2173519"/>
            <a:ext cx="577712" cy="563708"/>
          </a:xfrm>
          <a:custGeom>
            <a:avLst/>
            <a:gdLst/>
            <a:ahLst/>
            <a:cxnLst/>
            <a:rect l="l" t="t" r="r" b="b"/>
            <a:pathLst>
              <a:path w="12004" h="11713" extrusionOk="0">
                <a:moveTo>
                  <a:pt x="8633" y="2088"/>
                </a:moveTo>
                <a:cubicBezTo>
                  <a:pt x="8900" y="2088"/>
                  <a:pt x="9168" y="2182"/>
                  <a:pt x="9357" y="2371"/>
                </a:cubicBezTo>
                <a:cubicBezTo>
                  <a:pt x="9767" y="2781"/>
                  <a:pt x="9767" y="3442"/>
                  <a:pt x="9357" y="3820"/>
                </a:cubicBezTo>
                <a:lnTo>
                  <a:pt x="8128" y="5018"/>
                </a:lnTo>
                <a:cubicBezTo>
                  <a:pt x="7939" y="4702"/>
                  <a:pt x="7750" y="4419"/>
                  <a:pt x="7498" y="4135"/>
                </a:cubicBezTo>
                <a:cubicBezTo>
                  <a:pt x="7278" y="3915"/>
                  <a:pt x="6994" y="3726"/>
                  <a:pt x="6679" y="3568"/>
                </a:cubicBezTo>
                <a:lnTo>
                  <a:pt x="7908" y="2371"/>
                </a:lnTo>
                <a:cubicBezTo>
                  <a:pt x="8097" y="2182"/>
                  <a:pt x="8365" y="2088"/>
                  <a:pt x="8633" y="2088"/>
                </a:cubicBezTo>
                <a:close/>
                <a:moveTo>
                  <a:pt x="5230" y="5333"/>
                </a:moveTo>
                <a:cubicBezTo>
                  <a:pt x="5514" y="5333"/>
                  <a:pt x="5829" y="5396"/>
                  <a:pt x="6018" y="5648"/>
                </a:cubicBezTo>
                <a:cubicBezTo>
                  <a:pt x="6207" y="5837"/>
                  <a:pt x="6333" y="6120"/>
                  <a:pt x="6333" y="6435"/>
                </a:cubicBezTo>
                <a:cubicBezTo>
                  <a:pt x="6049" y="6435"/>
                  <a:pt x="5766" y="6309"/>
                  <a:pt x="5545" y="6120"/>
                </a:cubicBezTo>
                <a:cubicBezTo>
                  <a:pt x="5356" y="5931"/>
                  <a:pt x="5230" y="5648"/>
                  <a:pt x="5230" y="5333"/>
                </a:cubicBezTo>
                <a:close/>
                <a:moveTo>
                  <a:pt x="8617" y="717"/>
                </a:moveTo>
                <a:cubicBezTo>
                  <a:pt x="9223" y="717"/>
                  <a:pt x="9830" y="953"/>
                  <a:pt x="10302" y="1426"/>
                </a:cubicBezTo>
                <a:cubicBezTo>
                  <a:pt x="11247" y="2340"/>
                  <a:pt x="11247" y="3883"/>
                  <a:pt x="10302" y="4828"/>
                </a:cubicBezTo>
                <a:lnTo>
                  <a:pt x="8381" y="6719"/>
                </a:lnTo>
                <a:cubicBezTo>
                  <a:pt x="8412" y="6404"/>
                  <a:pt x="8412" y="6089"/>
                  <a:pt x="8349" y="5774"/>
                </a:cubicBezTo>
                <a:lnTo>
                  <a:pt x="9798" y="4356"/>
                </a:lnTo>
                <a:cubicBezTo>
                  <a:pt x="10460" y="3663"/>
                  <a:pt x="10460" y="2560"/>
                  <a:pt x="9798" y="1930"/>
                </a:cubicBezTo>
                <a:cubicBezTo>
                  <a:pt x="9467" y="1599"/>
                  <a:pt x="9034" y="1434"/>
                  <a:pt x="8601" y="1434"/>
                </a:cubicBezTo>
                <a:cubicBezTo>
                  <a:pt x="8168" y="1434"/>
                  <a:pt x="7735" y="1599"/>
                  <a:pt x="7404" y="1930"/>
                </a:cubicBezTo>
                <a:cubicBezTo>
                  <a:pt x="7309" y="2025"/>
                  <a:pt x="5356" y="3946"/>
                  <a:pt x="5073" y="4230"/>
                </a:cubicBezTo>
                <a:cubicBezTo>
                  <a:pt x="4411" y="4892"/>
                  <a:pt x="4411" y="5963"/>
                  <a:pt x="5073" y="6624"/>
                </a:cubicBezTo>
                <a:cubicBezTo>
                  <a:pt x="5356" y="6908"/>
                  <a:pt x="5671" y="7065"/>
                  <a:pt x="6049" y="7097"/>
                </a:cubicBezTo>
                <a:lnTo>
                  <a:pt x="5514" y="7664"/>
                </a:lnTo>
                <a:cubicBezTo>
                  <a:pt x="5167" y="7538"/>
                  <a:pt x="4883" y="7349"/>
                  <a:pt x="4600" y="7097"/>
                </a:cubicBezTo>
                <a:cubicBezTo>
                  <a:pt x="3655" y="6152"/>
                  <a:pt x="3655" y="4671"/>
                  <a:pt x="4600" y="3726"/>
                </a:cubicBezTo>
                <a:lnTo>
                  <a:pt x="6931" y="1426"/>
                </a:lnTo>
                <a:cubicBezTo>
                  <a:pt x="7404" y="953"/>
                  <a:pt x="8010" y="717"/>
                  <a:pt x="8617" y="717"/>
                </a:cubicBezTo>
                <a:close/>
                <a:moveTo>
                  <a:pt x="3497" y="6719"/>
                </a:moveTo>
                <a:cubicBezTo>
                  <a:pt x="3655" y="7034"/>
                  <a:pt x="3844" y="7286"/>
                  <a:pt x="4127" y="7569"/>
                </a:cubicBezTo>
                <a:cubicBezTo>
                  <a:pt x="4348" y="7821"/>
                  <a:pt x="4663" y="8042"/>
                  <a:pt x="4978" y="8168"/>
                </a:cubicBezTo>
                <a:lnTo>
                  <a:pt x="3812" y="9334"/>
                </a:lnTo>
                <a:cubicBezTo>
                  <a:pt x="3608" y="9538"/>
                  <a:pt x="3340" y="9641"/>
                  <a:pt x="3076" y="9641"/>
                </a:cubicBezTo>
                <a:cubicBezTo>
                  <a:pt x="2812" y="9641"/>
                  <a:pt x="2552" y="9538"/>
                  <a:pt x="2363" y="9334"/>
                </a:cubicBezTo>
                <a:cubicBezTo>
                  <a:pt x="1954" y="8956"/>
                  <a:pt x="1954" y="8294"/>
                  <a:pt x="2363" y="7884"/>
                </a:cubicBezTo>
                <a:lnTo>
                  <a:pt x="3497" y="6719"/>
                </a:lnTo>
                <a:close/>
                <a:moveTo>
                  <a:pt x="6112" y="4135"/>
                </a:moveTo>
                <a:cubicBezTo>
                  <a:pt x="6396" y="4261"/>
                  <a:pt x="6742" y="4450"/>
                  <a:pt x="6963" y="4702"/>
                </a:cubicBezTo>
                <a:cubicBezTo>
                  <a:pt x="7908" y="5648"/>
                  <a:pt x="7908" y="7128"/>
                  <a:pt x="6963" y="8073"/>
                </a:cubicBezTo>
                <a:lnTo>
                  <a:pt x="4757" y="10342"/>
                </a:lnTo>
                <a:cubicBezTo>
                  <a:pt x="4285" y="10814"/>
                  <a:pt x="3671" y="11051"/>
                  <a:pt x="3056" y="11051"/>
                </a:cubicBezTo>
                <a:cubicBezTo>
                  <a:pt x="2442" y="11051"/>
                  <a:pt x="1828" y="10814"/>
                  <a:pt x="1355" y="10342"/>
                </a:cubicBezTo>
                <a:cubicBezTo>
                  <a:pt x="945" y="9901"/>
                  <a:pt x="662" y="9271"/>
                  <a:pt x="662" y="8641"/>
                </a:cubicBezTo>
                <a:cubicBezTo>
                  <a:pt x="662" y="8010"/>
                  <a:pt x="882" y="7380"/>
                  <a:pt x="1355" y="6939"/>
                </a:cubicBezTo>
                <a:lnTo>
                  <a:pt x="3214" y="5081"/>
                </a:lnTo>
                <a:lnTo>
                  <a:pt x="3214" y="5081"/>
                </a:lnTo>
                <a:cubicBezTo>
                  <a:pt x="3182" y="5396"/>
                  <a:pt x="3214" y="5679"/>
                  <a:pt x="3245" y="5994"/>
                </a:cubicBezTo>
                <a:lnTo>
                  <a:pt x="1828" y="7443"/>
                </a:lnTo>
                <a:cubicBezTo>
                  <a:pt x="1166" y="8105"/>
                  <a:pt x="1166" y="9176"/>
                  <a:pt x="1828" y="9838"/>
                </a:cubicBezTo>
                <a:cubicBezTo>
                  <a:pt x="2174" y="10184"/>
                  <a:pt x="2623" y="10358"/>
                  <a:pt x="3064" y="10358"/>
                </a:cubicBezTo>
                <a:cubicBezTo>
                  <a:pt x="3505" y="10358"/>
                  <a:pt x="3938" y="10184"/>
                  <a:pt x="4253" y="9838"/>
                </a:cubicBezTo>
                <a:lnTo>
                  <a:pt x="6490" y="7569"/>
                </a:lnTo>
                <a:cubicBezTo>
                  <a:pt x="7152" y="6908"/>
                  <a:pt x="7152" y="5837"/>
                  <a:pt x="6490" y="5175"/>
                </a:cubicBezTo>
                <a:cubicBezTo>
                  <a:pt x="6207" y="4892"/>
                  <a:pt x="5892" y="4734"/>
                  <a:pt x="5514" y="4702"/>
                </a:cubicBezTo>
                <a:lnTo>
                  <a:pt x="6112" y="4135"/>
                </a:lnTo>
                <a:close/>
                <a:moveTo>
                  <a:pt x="8585" y="0"/>
                </a:moveTo>
                <a:cubicBezTo>
                  <a:pt x="7798" y="0"/>
                  <a:pt x="7010" y="308"/>
                  <a:pt x="6396" y="922"/>
                </a:cubicBezTo>
                <a:lnTo>
                  <a:pt x="4096" y="3190"/>
                </a:lnTo>
                <a:lnTo>
                  <a:pt x="882" y="6467"/>
                </a:lnTo>
                <a:cubicBezTo>
                  <a:pt x="315" y="7065"/>
                  <a:pt x="0" y="7821"/>
                  <a:pt x="0" y="8641"/>
                </a:cubicBezTo>
                <a:cubicBezTo>
                  <a:pt x="0" y="9460"/>
                  <a:pt x="315" y="10247"/>
                  <a:pt x="882" y="10814"/>
                </a:cubicBezTo>
                <a:cubicBezTo>
                  <a:pt x="1497" y="11413"/>
                  <a:pt x="2284" y="11712"/>
                  <a:pt x="3072" y="11712"/>
                </a:cubicBezTo>
                <a:cubicBezTo>
                  <a:pt x="3860" y="11712"/>
                  <a:pt x="4647" y="11413"/>
                  <a:pt x="5262" y="10814"/>
                </a:cubicBezTo>
                <a:cubicBezTo>
                  <a:pt x="8034" y="8010"/>
                  <a:pt x="6837" y="9145"/>
                  <a:pt x="10775" y="5301"/>
                </a:cubicBezTo>
                <a:cubicBezTo>
                  <a:pt x="12004" y="4072"/>
                  <a:pt x="12004" y="2151"/>
                  <a:pt x="10775" y="922"/>
                </a:cubicBezTo>
                <a:cubicBezTo>
                  <a:pt x="10161" y="308"/>
                  <a:pt x="9373" y="0"/>
                  <a:pt x="8585"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nvGrpSpPr>
          <p:cNvPr id="11196" name="Google Shape;11196;p115"/>
          <p:cNvGrpSpPr/>
          <p:nvPr/>
        </p:nvGrpSpPr>
        <p:grpSpPr>
          <a:xfrm>
            <a:off x="1129443" y="2853883"/>
            <a:ext cx="568616" cy="561061"/>
            <a:chOff x="-6713450" y="2397900"/>
            <a:chExt cx="295375" cy="291450"/>
          </a:xfrm>
        </p:grpSpPr>
        <p:sp>
          <p:nvSpPr>
            <p:cNvPr id="11197" name="Google Shape;11197;p115"/>
            <p:cNvSpPr/>
            <p:nvPr/>
          </p:nvSpPr>
          <p:spPr>
            <a:xfrm>
              <a:off x="-6628400" y="2465650"/>
              <a:ext cx="69350" cy="17350"/>
            </a:xfrm>
            <a:custGeom>
              <a:avLst/>
              <a:gdLst/>
              <a:ahLst/>
              <a:cxnLst/>
              <a:rect l="l" t="t" r="r" b="b"/>
              <a:pathLst>
                <a:path w="2774" h="694" extrusionOk="0">
                  <a:moveTo>
                    <a:pt x="379" y="0"/>
                  </a:moveTo>
                  <a:cubicBezTo>
                    <a:pt x="158" y="0"/>
                    <a:pt x="1" y="158"/>
                    <a:pt x="1" y="347"/>
                  </a:cubicBezTo>
                  <a:cubicBezTo>
                    <a:pt x="1" y="536"/>
                    <a:pt x="158" y="693"/>
                    <a:pt x="379" y="693"/>
                  </a:cubicBezTo>
                  <a:lnTo>
                    <a:pt x="2427" y="693"/>
                  </a:lnTo>
                  <a:cubicBezTo>
                    <a:pt x="2616" y="693"/>
                    <a:pt x="2773" y="536"/>
                    <a:pt x="2773" y="347"/>
                  </a:cubicBezTo>
                  <a:cubicBezTo>
                    <a:pt x="2773" y="158"/>
                    <a:pt x="2616" y="0"/>
                    <a:pt x="2427"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1198" name="Google Shape;11198;p115"/>
            <p:cNvSpPr/>
            <p:nvPr/>
          </p:nvSpPr>
          <p:spPr>
            <a:xfrm>
              <a:off x="-6713450" y="2397900"/>
              <a:ext cx="295375" cy="291450"/>
            </a:xfrm>
            <a:custGeom>
              <a:avLst/>
              <a:gdLst/>
              <a:ahLst/>
              <a:cxnLst/>
              <a:rect l="l" t="t" r="r" b="b"/>
              <a:pathLst>
                <a:path w="11815" h="11658" extrusionOk="0">
                  <a:moveTo>
                    <a:pt x="2048" y="1167"/>
                  </a:moveTo>
                  <a:lnTo>
                    <a:pt x="2048" y="2017"/>
                  </a:lnTo>
                  <a:lnTo>
                    <a:pt x="1166" y="2017"/>
                  </a:lnTo>
                  <a:lnTo>
                    <a:pt x="2048" y="1167"/>
                  </a:lnTo>
                  <a:close/>
                  <a:moveTo>
                    <a:pt x="10330" y="2773"/>
                  </a:moveTo>
                  <a:cubicBezTo>
                    <a:pt x="10507" y="2773"/>
                    <a:pt x="10680" y="2836"/>
                    <a:pt x="10806" y="2962"/>
                  </a:cubicBezTo>
                  <a:cubicBezTo>
                    <a:pt x="11058" y="3246"/>
                    <a:pt x="11058" y="3687"/>
                    <a:pt x="10775" y="3908"/>
                  </a:cubicBezTo>
                  <a:lnTo>
                    <a:pt x="10176" y="4506"/>
                  </a:lnTo>
                  <a:lnTo>
                    <a:pt x="9231" y="3561"/>
                  </a:lnTo>
                  <a:lnTo>
                    <a:pt x="9830" y="2962"/>
                  </a:lnTo>
                  <a:cubicBezTo>
                    <a:pt x="9972" y="2836"/>
                    <a:pt x="10153" y="2773"/>
                    <a:pt x="10330" y="2773"/>
                  </a:cubicBezTo>
                  <a:close/>
                  <a:moveTo>
                    <a:pt x="8727" y="4034"/>
                  </a:moveTo>
                  <a:lnTo>
                    <a:pt x="9672" y="4979"/>
                  </a:lnTo>
                  <a:cubicBezTo>
                    <a:pt x="8538" y="6207"/>
                    <a:pt x="7026" y="7688"/>
                    <a:pt x="5892" y="8854"/>
                  </a:cubicBezTo>
                  <a:lnTo>
                    <a:pt x="4915" y="7846"/>
                  </a:lnTo>
                  <a:lnTo>
                    <a:pt x="8727" y="4034"/>
                  </a:lnTo>
                  <a:close/>
                  <a:moveTo>
                    <a:pt x="4600" y="8539"/>
                  </a:moveTo>
                  <a:lnTo>
                    <a:pt x="5230" y="9169"/>
                  </a:lnTo>
                  <a:lnTo>
                    <a:pt x="4285" y="9421"/>
                  </a:lnTo>
                  <a:cubicBezTo>
                    <a:pt x="4348" y="9232"/>
                    <a:pt x="4505" y="8728"/>
                    <a:pt x="4600" y="8539"/>
                  </a:cubicBezTo>
                  <a:close/>
                  <a:moveTo>
                    <a:pt x="7908" y="694"/>
                  </a:moveTo>
                  <a:cubicBezTo>
                    <a:pt x="8097" y="694"/>
                    <a:pt x="8255" y="852"/>
                    <a:pt x="8255" y="1041"/>
                  </a:cubicBezTo>
                  <a:lnTo>
                    <a:pt x="8255" y="3592"/>
                  </a:lnTo>
                  <a:lnTo>
                    <a:pt x="7467" y="4380"/>
                  </a:lnTo>
                  <a:cubicBezTo>
                    <a:pt x="7435" y="4286"/>
                    <a:pt x="7309" y="4160"/>
                    <a:pt x="7152" y="4160"/>
                  </a:cubicBezTo>
                  <a:lnTo>
                    <a:pt x="1733" y="4160"/>
                  </a:lnTo>
                  <a:cubicBezTo>
                    <a:pt x="1512" y="4160"/>
                    <a:pt x="1386" y="4317"/>
                    <a:pt x="1386" y="4506"/>
                  </a:cubicBezTo>
                  <a:cubicBezTo>
                    <a:pt x="1386" y="4695"/>
                    <a:pt x="1512" y="4853"/>
                    <a:pt x="1733" y="4853"/>
                  </a:cubicBezTo>
                  <a:lnTo>
                    <a:pt x="6994" y="4853"/>
                  </a:lnTo>
                  <a:lnTo>
                    <a:pt x="6333" y="5546"/>
                  </a:lnTo>
                  <a:lnTo>
                    <a:pt x="1733" y="5546"/>
                  </a:lnTo>
                  <a:cubicBezTo>
                    <a:pt x="1512" y="5546"/>
                    <a:pt x="1355" y="5703"/>
                    <a:pt x="1355" y="5892"/>
                  </a:cubicBezTo>
                  <a:cubicBezTo>
                    <a:pt x="1355" y="6081"/>
                    <a:pt x="1512" y="6239"/>
                    <a:pt x="1733" y="6239"/>
                  </a:cubicBezTo>
                  <a:lnTo>
                    <a:pt x="5608" y="6239"/>
                  </a:lnTo>
                  <a:lnTo>
                    <a:pt x="4947" y="6901"/>
                  </a:lnTo>
                  <a:lnTo>
                    <a:pt x="1733" y="6901"/>
                  </a:lnTo>
                  <a:cubicBezTo>
                    <a:pt x="1512" y="6901"/>
                    <a:pt x="1355" y="7058"/>
                    <a:pt x="1355" y="7279"/>
                  </a:cubicBezTo>
                  <a:cubicBezTo>
                    <a:pt x="1355" y="7468"/>
                    <a:pt x="1512" y="7625"/>
                    <a:pt x="1733" y="7625"/>
                  </a:cubicBezTo>
                  <a:lnTo>
                    <a:pt x="4285" y="7625"/>
                  </a:lnTo>
                  <a:cubicBezTo>
                    <a:pt x="4190" y="7688"/>
                    <a:pt x="4159" y="7751"/>
                    <a:pt x="4127" y="7814"/>
                  </a:cubicBezTo>
                  <a:lnTo>
                    <a:pt x="3970" y="8287"/>
                  </a:lnTo>
                  <a:lnTo>
                    <a:pt x="1733" y="8287"/>
                  </a:lnTo>
                  <a:cubicBezTo>
                    <a:pt x="1512" y="8287"/>
                    <a:pt x="1355" y="8444"/>
                    <a:pt x="1355" y="8633"/>
                  </a:cubicBezTo>
                  <a:cubicBezTo>
                    <a:pt x="1355" y="8854"/>
                    <a:pt x="1512" y="9011"/>
                    <a:pt x="1733" y="9011"/>
                  </a:cubicBezTo>
                  <a:lnTo>
                    <a:pt x="3718" y="9011"/>
                  </a:lnTo>
                  <a:lnTo>
                    <a:pt x="3466" y="9893"/>
                  </a:lnTo>
                  <a:cubicBezTo>
                    <a:pt x="3385" y="10136"/>
                    <a:pt x="3557" y="10355"/>
                    <a:pt x="3766" y="10355"/>
                  </a:cubicBezTo>
                  <a:cubicBezTo>
                    <a:pt x="3802" y="10355"/>
                    <a:pt x="3839" y="10348"/>
                    <a:pt x="3875" y="10335"/>
                  </a:cubicBezTo>
                  <a:lnTo>
                    <a:pt x="6018" y="9704"/>
                  </a:lnTo>
                  <a:cubicBezTo>
                    <a:pt x="6049" y="9704"/>
                    <a:pt x="6144" y="9673"/>
                    <a:pt x="6175" y="9641"/>
                  </a:cubicBezTo>
                  <a:lnTo>
                    <a:pt x="8286" y="7499"/>
                  </a:lnTo>
                  <a:lnTo>
                    <a:pt x="8286" y="10681"/>
                  </a:lnTo>
                  <a:cubicBezTo>
                    <a:pt x="8255" y="10839"/>
                    <a:pt x="8097" y="10996"/>
                    <a:pt x="7908" y="10996"/>
                  </a:cubicBezTo>
                  <a:lnTo>
                    <a:pt x="1040" y="10996"/>
                  </a:lnTo>
                  <a:cubicBezTo>
                    <a:pt x="851" y="10996"/>
                    <a:pt x="693" y="10839"/>
                    <a:pt x="693" y="10650"/>
                  </a:cubicBezTo>
                  <a:lnTo>
                    <a:pt x="693" y="2742"/>
                  </a:lnTo>
                  <a:lnTo>
                    <a:pt x="2395" y="2742"/>
                  </a:lnTo>
                  <a:cubicBezTo>
                    <a:pt x="2584" y="2742"/>
                    <a:pt x="2741" y="2584"/>
                    <a:pt x="2741" y="2395"/>
                  </a:cubicBezTo>
                  <a:lnTo>
                    <a:pt x="2741" y="694"/>
                  </a:lnTo>
                  <a:close/>
                  <a:moveTo>
                    <a:pt x="2363" y="1"/>
                  </a:moveTo>
                  <a:cubicBezTo>
                    <a:pt x="2237" y="1"/>
                    <a:pt x="2143" y="64"/>
                    <a:pt x="2111" y="127"/>
                  </a:cubicBezTo>
                  <a:lnTo>
                    <a:pt x="158" y="2112"/>
                  </a:lnTo>
                  <a:cubicBezTo>
                    <a:pt x="63" y="2175"/>
                    <a:pt x="0" y="2269"/>
                    <a:pt x="0" y="2364"/>
                  </a:cubicBezTo>
                  <a:lnTo>
                    <a:pt x="0" y="10650"/>
                  </a:lnTo>
                  <a:cubicBezTo>
                    <a:pt x="0" y="11217"/>
                    <a:pt x="473" y="11658"/>
                    <a:pt x="1008" y="11658"/>
                  </a:cubicBezTo>
                  <a:lnTo>
                    <a:pt x="7908" y="11658"/>
                  </a:lnTo>
                  <a:cubicBezTo>
                    <a:pt x="8444" y="11658"/>
                    <a:pt x="8916" y="11217"/>
                    <a:pt x="8916" y="10650"/>
                  </a:cubicBezTo>
                  <a:lnTo>
                    <a:pt x="8916" y="6774"/>
                  </a:lnTo>
                  <a:lnTo>
                    <a:pt x="11279" y="4412"/>
                  </a:lnTo>
                  <a:cubicBezTo>
                    <a:pt x="11815" y="3876"/>
                    <a:pt x="11815" y="3025"/>
                    <a:pt x="11279" y="2490"/>
                  </a:cubicBezTo>
                  <a:cubicBezTo>
                    <a:pt x="11011" y="2222"/>
                    <a:pt x="10657" y="2088"/>
                    <a:pt x="10306" y="2088"/>
                  </a:cubicBezTo>
                  <a:cubicBezTo>
                    <a:pt x="9956" y="2088"/>
                    <a:pt x="9609" y="2222"/>
                    <a:pt x="9357" y="2490"/>
                  </a:cubicBezTo>
                  <a:lnTo>
                    <a:pt x="8916" y="2931"/>
                  </a:lnTo>
                  <a:lnTo>
                    <a:pt x="8916" y="1041"/>
                  </a:lnTo>
                  <a:cubicBezTo>
                    <a:pt x="8916" y="474"/>
                    <a:pt x="8444" y="1"/>
                    <a:pt x="7908"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sp>
        <p:nvSpPr>
          <p:cNvPr id="11199" name="Google Shape;11199;p115"/>
          <p:cNvSpPr/>
          <p:nvPr/>
        </p:nvSpPr>
        <p:spPr>
          <a:xfrm>
            <a:off x="1145900" y="3546972"/>
            <a:ext cx="568665" cy="562552"/>
          </a:xfrm>
          <a:custGeom>
            <a:avLst/>
            <a:gdLst/>
            <a:ahLst/>
            <a:cxnLst/>
            <a:rect l="l" t="t" r="r" b="b"/>
            <a:pathLst>
              <a:path w="11816" h="11689" extrusionOk="0">
                <a:moveTo>
                  <a:pt x="7026" y="757"/>
                </a:moveTo>
                <a:lnTo>
                  <a:pt x="7026" y="2710"/>
                </a:lnTo>
                <a:lnTo>
                  <a:pt x="5829" y="2710"/>
                </a:lnTo>
                <a:cubicBezTo>
                  <a:pt x="5924" y="2332"/>
                  <a:pt x="6081" y="1954"/>
                  <a:pt x="6176" y="1702"/>
                </a:cubicBezTo>
                <a:cubicBezTo>
                  <a:pt x="6428" y="1229"/>
                  <a:pt x="6711" y="914"/>
                  <a:pt x="7026" y="757"/>
                </a:cubicBezTo>
                <a:close/>
                <a:moveTo>
                  <a:pt x="7688" y="757"/>
                </a:moveTo>
                <a:cubicBezTo>
                  <a:pt x="8003" y="914"/>
                  <a:pt x="8287" y="1229"/>
                  <a:pt x="8507" y="1702"/>
                </a:cubicBezTo>
                <a:cubicBezTo>
                  <a:pt x="8665" y="2017"/>
                  <a:pt x="8791" y="2364"/>
                  <a:pt x="8854" y="2710"/>
                </a:cubicBezTo>
                <a:lnTo>
                  <a:pt x="7688" y="2710"/>
                </a:lnTo>
                <a:lnTo>
                  <a:pt x="7688" y="757"/>
                </a:lnTo>
                <a:close/>
                <a:moveTo>
                  <a:pt x="8917" y="977"/>
                </a:moveTo>
                <a:cubicBezTo>
                  <a:pt x="9704" y="1387"/>
                  <a:pt x="10334" y="1954"/>
                  <a:pt x="10712" y="2710"/>
                </a:cubicBezTo>
                <a:lnTo>
                  <a:pt x="9578" y="2710"/>
                </a:lnTo>
                <a:cubicBezTo>
                  <a:pt x="9452" y="2206"/>
                  <a:pt x="9295" y="1765"/>
                  <a:pt x="9106" y="1387"/>
                </a:cubicBezTo>
                <a:cubicBezTo>
                  <a:pt x="9011" y="1261"/>
                  <a:pt x="8948" y="1103"/>
                  <a:pt x="8917" y="977"/>
                </a:cubicBezTo>
                <a:close/>
                <a:moveTo>
                  <a:pt x="5798" y="1009"/>
                </a:moveTo>
                <a:lnTo>
                  <a:pt x="5798" y="1009"/>
                </a:lnTo>
                <a:cubicBezTo>
                  <a:pt x="5703" y="1135"/>
                  <a:pt x="5640" y="1261"/>
                  <a:pt x="5609" y="1418"/>
                </a:cubicBezTo>
                <a:cubicBezTo>
                  <a:pt x="5388" y="1796"/>
                  <a:pt x="5231" y="2269"/>
                  <a:pt x="5136" y="2742"/>
                </a:cubicBezTo>
                <a:lnTo>
                  <a:pt x="3970" y="2742"/>
                </a:lnTo>
                <a:cubicBezTo>
                  <a:pt x="4380" y="1954"/>
                  <a:pt x="5042" y="1387"/>
                  <a:pt x="5798" y="1009"/>
                </a:cubicBezTo>
                <a:close/>
                <a:moveTo>
                  <a:pt x="5010" y="3435"/>
                </a:moveTo>
                <a:cubicBezTo>
                  <a:pt x="4978" y="3750"/>
                  <a:pt x="4915" y="4096"/>
                  <a:pt x="4915" y="4443"/>
                </a:cubicBezTo>
                <a:cubicBezTo>
                  <a:pt x="4978" y="4789"/>
                  <a:pt x="4978" y="5167"/>
                  <a:pt x="5010" y="5482"/>
                </a:cubicBezTo>
                <a:lnTo>
                  <a:pt x="3718" y="5482"/>
                </a:lnTo>
                <a:cubicBezTo>
                  <a:pt x="3624" y="5167"/>
                  <a:pt x="3561" y="4789"/>
                  <a:pt x="3561" y="4443"/>
                </a:cubicBezTo>
                <a:cubicBezTo>
                  <a:pt x="3561" y="4096"/>
                  <a:pt x="3592" y="3750"/>
                  <a:pt x="3718" y="3435"/>
                </a:cubicBezTo>
                <a:close/>
                <a:moveTo>
                  <a:pt x="7026" y="3435"/>
                </a:moveTo>
                <a:lnTo>
                  <a:pt x="7026" y="5482"/>
                </a:lnTo>
                <a:lnTo>
                  <a:pt x="5703" y="5482"/>
                </a:lnTo>
                <a:cubicBezTo>
                  <a:pt x="5672" y="5136"/>
                  <a:pt x="5640" y="4789"/>
                  <a:pt x="5640" y="4443"/>
                </a:cubicBezTo>
                <a:cubicBezTo>
                  <a:pt x="5640" y="4096"/>
                  <a:pt x="5672" y="3718"/>
                  <a:pt x="5703" y="3435"/>
                </a:cubicBezTo>
                <a:close/>
                <a:moveTo>
                  <a:pt x="8980" y="3435"/>
                </a:moveTo>
                <a:cubicBezTo>
                  <a:pt x="9011" y="3750"/>
                  <a:pt x="9074" y="4096"/>
                  <a:pt x="9074" y="4443"/>
                </a:cubicBezTo>
                <a:cubicBezTo>
                  <a:pt x="9074" y="4789"/>
                  <a:pt x="9011" y="5167"/>
                  <a:pt x="8980" y="5482"/>
                </a:cubicBezTo>
                <a:lnTo>
                  <a:pt x="7688" y="5482"/>
                </a:lnTo>
                <a:lnTo>
                  <a:pt x="7688" y="3435"/>
                </a:lnTo>
                <a:close/>
                <a:moveTo>
                  <a:pt x="10996" y="3435"/>
                </a:moveTo>
                <a:cubicBezTo>
                  <a:pt x="11059" y="3750"/>
                  <a:pt x="11153" y="4096"/>
                  <a:pt x="11153" y="4443"/>
                </a:cubicBezTo>
                <a:cubicBezTo>
                  <a:pt x="11153" y="4789"/>
                  <a:pt x="11122" y="5167"/>
                  <a:pt x="10996" y="5482"/>
                </a:cubicBezTo>
                <a:lnTo>
                  <a:pt x="9704" y="5482"/>
                </a:lnTo>
                <a:cubicBezTo>
                  <a:pt x="9736" y="5136"/>
                  <a:pt x="9767" y="4789"/>
                  <a:pt x="9767" y="4443"/>
                </a:cubicBezTo>
                <a:cubicBezTo>
                  <a:pt x="9736" y="4096"/>
                  <a:pt x="9736" y="3750"/>
                  <a:pt x="9704" y="3435"/>
                </a:cubicBezTo>
                <a:close/>
                <a:moveTo>
                  <a:pt x="5136" y="6144"/>
                </a:moveTo>
                <a:cubicBezTo>
                  <a:pt x="5231" y="6648"/>
                  <a:pt x="5388" y="7089"/>
                  <a:pt x="5609" y="7467"/>
                </a:cubicBezTo>
                <a:cubicBezTo>
                  <a:pt x="5672" y="7593"/>
                  <a:pt x="5766" y="7751"/>
                  <a:pt x="5798" y="7877"/>
                </a:cubicBezTo>
                <a:cubicBezTo>
                  <a:pt x="5042" y="7530"/>
                  <a:pt x="4380" y="6932"/>
                  <a:pt x="3970" y="6144"/>
                </a:cubicBezTo>
                <a:close/>
                <a:moveTo>
                  <a:pt x="10712" y="6144"/>
                </a:moveTo>
                <a:cubicBezTo>
                  <a:pt x="10334" y="6932"/>
                  <a:pt x="9704" y="7530"/>
                  <a:pt x="8917" y="7877"/>
                </a:cubicBezTo>
                <a:cubicBezTo>
                  <a:pt x="8980" y="7751"/>
                  <a:pt x="9074" y="7625"/>
                  <a:pt x="9106" y="7467"/>
                </a:cubicBezTo>
                <a:cubicBezTo>
                  <a:pt x="9295" y="7089"/>
                  <a:pt x="9452" y="6617"/>
                  <a:pt x="9578" y="6144"/>
                </a:cubicBezTo>
                <a:close/>
                <a:moveTo>
                  <a:pt x="7026" y="6144"/>
                </a:moveTo>
                <a:lnTo>
                  <a:pt x="7026" y="8097"/>
                </a:lnTo>
                <a:cubicBezTo>
                  <a:pt x="6743" y="7940"/>
                  <a:pt x="6428" y="7625"/>
                  <a:pt x="6239" y="7152"/>
                </a:cubicBezTo>
                <a:cubicBezTo>
                  <a:pt x="6081" y="6837"/>
                  <a:pt x="5955" y="6491"/>
                  <a:pt x="5861" y="6144"/>
                </a:cubicBezTo>
                <a:close/>
                <a:moveTo>
                  <a:pt x="8854" y="6144"/>
                </a:moveTo>
                <a:cubicBezTo>
                  <a:pt x="8791" y="6522"/>
                  <a:pt x="8633" y="6900"/>
                  <a:pt x="8507" y="7152"/>
                </a:cubicBezTo>
                <a:cubicBezTo>
                  <a:pt x="8287" y="7688"/>
                  <a:pt x="8003" y="8003"/>
                  <a:pt x="7688" y="8097"/>
                </a:cubicBezTo>
                <a:lnTo>
                  <a:pt x="7688" y="6144"/>
                </a:lnTo>
                <a:close/>
                <a:moveTo>
                  <a:pt x="2726" y="8759"/>
                </a:moveTo>
                <a:cubicBezTo>
                  <a:pt x="2813" y="8759"/>
                  <a:pt x="2899" y="8790"/>
                  <a:pt x="2962" y="8853"/>
                </a:cubicBezTo>
                <a:cubicBezTo>
                  <a:pt x="3088" y="8980"/>
                  <a:pt x="3088" y="9169"/>
                  <a:pt x="2962" y="9326"/>
                </a:cubicBezTo>
                <a:lnTo>
                  <a:pt x="1387" y="10901"/>
                </a:lnTo>
                <a:cubicBezTo>
                  <a:pt x="1324" y="10964"/>
                  <a:pt x="1237" y="10996"/>
                  <a:pt x="1151" y="10996"/>
                </a:cubicBezTo>
                <a:cubicBezTo>
                  <a:pt x="1064" y="10996"/>
                  <a:pt x="977" y="10964"/>
                  <a:pt x="914" y="10901"/>
                </a:cubicBezTo>
                <a:cubicBezTo>
                  <a:pt x="788" y="10775"/>
                  <a:pt x="788" y="10555"/>
                  <a:pt x="914" y="10429"/>
                </a:cubicBezTo>
                <a:lnTo>
                  <a:pt x="2490" y="8853"/>
                </a:lnTo>
                <a:cubicBezTo>
                  <a:pt x="2553" y="8790"/>
                  <a:pt x="2639" y="8759"/>
                  <a:pt x="2726" y="8759"/>
                </a:cubicBezTo>
                <a:close/>
                <a:moveTo>
                  <a:pt x="7373" y="1"/>
                </a:moveTo>
                <a:cubicBezTo>
                  <a:pt x="4915" y="1"/>
                  <a:pt x="2931" y="1985"/>
                  <a:pt x="2931" y="4443"/>
                </a:cubicBezTo>
                <a:cubicBezTo>
                  <a:pt x="2931" y="5514"/>
                  <a:pt x="3309" y="6522"/>
                  <a:pt x="4002" y="7310"/>
                </a:cubicBezTo>
                <a:lnTo>
                  <a:pt x="3151" y="8160"/>
                </a:lnTo>
                <a:cubicBezTo>
                  <a:pt x="3011" y="8079"/>
                  <a:pt x="2858" y="8040"/>
                  <a:pt x="2705" y="8040"/>
                </a:cubicBezTo>
                <a:cubicBezTo>
                  <a:pt x="2445" y="8040"/>
                  <a:pt x="2184" y="8151"/>
                  <a:pt x="1986" y="8349"/>
                </a:cubicBezTo>
                <a:lnTo>
                  <a:pt x="410" y="9925"/>
                </a:lnTo>
                <a:cubicBezTo>
                  <a:pt x="1" y="10303"/>
                  <a:pt x="1" y="10996"/>
                  <a:pt x="410" y="11374"/>
                </a:cubicBezTo>
                <a:cubicBezTo>
                  <a:pt x="599" y="11563"/>
                  <a:pt x="883" y="11689"/>
                  <a:pt x="1103" y="11689"/>
                </a:cubicBezTo>
                <a:cubicBezTo>
                  <a:pt x="1387" y="11689"/>
                  <a:pt x="1607" y="11563"/>
                  <a:pt x="1828" y="11374"/>
                </a:cubicBezTo>
                <a:lnTo>
                  <a:pt x="3403" y="9799"/>
                </a:lnTo>
                <a:cubicBezTo>
                  <a:pt x="3718" y="9484"/>
                  <a:pt x="3781" y="9011"/>
                  <a:pt x="3592" y="8633"/>
                </a:cubicBezTo>
                <a:lnTo>
                  <a:pt x="4411" y="7782"/>
                </a:lnTo>
                <a:cubicBezTo>
                  <a:pt x="5199" y="8444"/>
                  <a:pt x="6207" y="8853"/>
                  <a:pt x="7278" y="8853"/>
                </a:cubicBezTo>
                <a:cubicBezTo>
                  <a:pt x="7298" y="8854"/>
                  <a:pt x="7318" y="8854"/>
                  <a:pt x="7338" y="8854"/>
                </a:cubicBezTo>
                <a:cubicBezTo>
                  <a:pt x="9830" y="8854"/>
                  <a:pt x="11815" y="6881"/>
                  <a:pt x="11815" y="4443"/>
                </a:cubicBezTo>
                <a:cubicBezTo>
                  <a:pt x="11815" y="2017"/>
                  <a:pt x="9799" y="1"/>
                  <a:pt x="7373"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nvGrpSpPr>
          <p:cNvPr id="11200" name="Google Shape;11200;p115"/>
          <p:cNvGrpSpPr/>
          <p:nvPr/>
        </p:nvGrpSpPr>
        <p:grpSpPr>
          <a:xfrm>
            <a:off x="4735793" y="2175202"/>
            <a:ext cx="564092" cy="560676"/>
            <a:chOff x="-4932650" y="2046625"/>
            <a:chExt cx="293025" cy="291250"/>
          </a:xfrm>
        </p:grpSpPr>
        <p:sp>
          <p:nvSpPr>
            <p:cNvPr id="11201" name="Google Shape;11201;p115"/>
            <p:cNvSpPr/>
            <p:nvPr/>
          </p:nvSpPr>
          <p:spPr>
            <a:xfrm>
              <a:off x="-4932650" y="2046625"/>
              <a:ext cx="293025" cy="291250"/>
            </a:xfrm>
            <a:custGeom>
              <a:avLst/>
              <a:gdLst/>
              <a:ahLst/>
              <a:cxnLst/>
              <a:rect l="l" t="t" r="r" b="b"/>
              <a:pathLst>
                <a:path w="11721" h="11650" extrusionOk="0">
                  <a:moveTo>
                    <a:pt x="7625" y="694"/>
                  </a:moveTo>
                  <a:cubicBezTo>
                    <a:pt x="9515" y="694"/>
                    <a:pt x="11059" y="2206"/>
                    <a:pt x="11059" y="4096"/>
                  </a:cubicBezTo>
                  <a:cubicBezTo>
                    <a:pt x="11059" y="5987"/>
                    <a:pt x="9515" y="7530"/>
                    <a:pt x="7625" y="7530"/>
                  </a:cubicBezTo>
                  <a:cubicBezTo>
                    <a:pt x="5735" y="7530"/>
                    <a:pt x="4223" y="5987"/>
                    <a:pt x="4223" y="4096"/>
                  </a:cubicBezTo>
                  <a:cubicBezTo>
                    <a:pt x="4223" y="2206"/>
                    <a:pt x="5735" y="694"/>
                    <a:pt x="7625" y="694"/>
                  </a:cubicBezTo>
                  <a:close/>
                  <a:moveTo>
                    <a:pt x="3344" y="8066"/>
                  </a:moveTo>
                  <a:cubicBezTo>
                    <a:pt x="3435" y="8066"/>
                    <a:pt x="3529" y="8098"/>
                    <a:pt x="3593" y="8161"/>
                  </a:cubicBezTo>
                  <a:cubicBezTo>
                    <a:pt x="3719" y="8287"/>
                    <a:pt x="3719" y="8507"/>
                    <a:pt x="3593" y="8633"/>
                  </a:cubicBezTo>
                  <a:lnTo>
                    <a:pt x="1324" y="10870"/>
                  </a:lnTo>
                  <a:cubicBezTo>
                    <a:pt x="1277" y="10933"/>
                    <a:pt x="1190" y="10964"/>
                    <a:pt x="1100" y="10964"/>
                  </a:cubicBezTo>
                  <a:cubicBezTo>
                    <a:pt x="1009" y="10964"/>
                    <a:pt x="915" y="10933"/>
                    <a:pt x="852" y="10870"/>
                  </a:cubicBezTo>
                  <a:cubicBezTo>
                    <a:pt x="757" y="10744"/>
                    <a:pt x="757" y="10523"/>
                    <a:pt x="852" y="10397"/>
                  </a:cubicBezTo>
                  <a:lnTo>
                    <a:pt x="3120" y="8161"/>
                  </a:lnTo>
                  <a:cubicBezTo>
                    <a:pt x="3167" y="8098"/>
                    <a:pt x="3254" y="8066"/>
                    <a:pt x="3344" y="8066"/>
                  </a:cubicBezTo>
                  <a:close/>
                  <a:moveTo>
                    <a:pt x="7625" y="1"/>
                  </a:moveTo>
                  <a:cubicBezTo>
                    <a:pt x="5357" y="1"/>
                    <a:pt x="3529" y="1860"/>
                    <a:pt x="3529" y="4096"/>
                  </a:cubicBezTo>
                  <a:cubicBezTo>
                    <a:pt x="3529" y="5136"/>
                    <a:pt x="3908" y="6050"/>
                    <a:pt x="4538" y="6743"/>
                  </a:cubicBezTo>
                  <a:lnTo>
                    <a:pt x="3813" y="7467"/>
                  </a:lnTo>
                  <a:cubicBezTo>
                    <a:pt x="3673" y="7386"/>
                    <a:pt x="3520" y="7347"/>
                    <a:pt x="3367" y="7347"/>
                  </a:cubicBezTo>
                  <a:cubicBezTo>
                    <a:pt x="3106" y="7347"/>
                    <a:pt x="2846" y="7458"/>
                    <a:pt x="2647" y="7656"/>
                  </a:cubicBezTo>
                  <a:lnTo>
                    <a:pt x="379" y="9893"/>
                  </a:lnTo>
                  <a:cubicBezTo>
                    <a:pt x="1" y="10271"/>
                    <a:pt x="1" y="10964"/>
                    <a:pt x="379" y="11343"/>
                  </a:cubicBezTo>
                  <a:cubicBezTo>
                    <a:pt x="584" y="11547"/>
                    <a:pt x="852" y="11650"/>
                    <a:pt x="1119" y="11650"/>
                  </a:cubicBezTo>
                  <a:cubicBezTo>
                    <a:pt x="1387" y="11650"/>
                    <a:pt x="1655" y="11547"/>
                    <a:pt x="1860" y="11343"/>
                  </a:cubicBezTo>
                  <a:lnTo>
                    <a:pt x="4097" y="9106"/>
                  </a:lnTo>
                  <a:cubicBezTo>
                    <a:pt x="4412" y="8791"/>
                    <a:pt x="4506" y="8318"/>
                    <a:pt x="4286" y="7909"/>
                  </a:cubicBezTo>
                  <a:lnTo>
                    <a:pt x="5010" y="7215"/>
                  </a:lnTo>
                  <a:cubicBezTo>
                    <a:pt x="5703" y="7814"/>
                    <a:pt x="6648" y="8192"/>
                    <a:pt x="7625" y="8192"/>
                  </a:cubicBezTo>
                  <a:cubicBezTo>
                    <a:pt x="9925" y="8192"/>
                    <a:pt x="11721" y="6333"/>
                    <a:pt x="11721" y="4096"/>
                  </a:cubicBezTo>
                  <a:cubicBezTo>
                    <a:pt x="11721" y="1828"/>
                    <a:pt x="9893" y="1"/>
                    <a:pt x="7625"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1202" name="Google Shape;11202;p115"/>
            <p:cNvSpPr/>
            <p:nvPr/>
          </p:nvSpPr>
          <p:spPr>
            <a:xfrm>
              <a:off x="-4802675" y="2115050"/>
              <a:ext cx="122100" cy="86075"/>
            </a:xfrm>
            <a:custGeom>
              <a:avLst/>
              <a:gdLst/>
              <a:ahLst/>
              <a:cxnLst/>
              <a:rect l="l" t="t" r="r" b="b"/>
              <a:pathLst>
                <a:path w="4884" h="3443" extrusionOk="0">
                  <a:moveTo>
                    <a:pt x="2428" y="1"/>
                  </a:moveTo>
                  <a:cubicBezTo>
                    <a:pt x="2301" y="1"/>
                    <a:pt x="2172" y="72"/>
                    <a:pt x="2111" y="225"/>
                  </a:cubicBezTo>
                  <a:lnTo>
                    <a:pt x="1418" y="2116"/>
                  </a:lnTo>
                  <a:lnTo>
                    <a:pt x="693" y="225"/>
                  </a:lnTo>
                  <a:cubicBezTo>
                    <a:pt x="645" y="105"/>
                    <a:pt x="524" y="4"/>
                    <a:pt x="400" y="4"/>
                  </a:cubicBezTo>
                  <a:cubicBezTo>
                    <a:pt x="361" y="4"/>
                    <a:pt x="321" y="14"/>
                    <a:pt x="284" y="36"/>
                  </a:cubicBezTo>
                  <a:cubicBezTo>
                    <a:pt x="126" y="99"/>
                    <a:pt x="0" y="288"/>
                    <a:pt x="63" y="446"/>
                  </a:cubicBezTo>
                  <a:lnTo>
                    <a:pt x="1103" y="3218"/>
                  </a:lnTo>
                  <a:cubicBezTo>
                    <a:pt x="1168" y="3364"/>
                    <a:pt x="1299" y="3443"/>
                    <a:pt x="1428" y="3443"/>
                  </a:cubicBezTo>
                  <a:cubicBezTo>
                    <a:pt x="1551" y="3443"/>
                    <a:pt x="1672" y="3372"/>
                    <a:pt x="1733" y="3218"/>
                  </a:cubicBezTo>
                  <a:lnTo>
                    <a:pt x="2426" y="1328"/>
                  </a:lnTo>
                  <a:lnTo>
                    <a:pt x="3151" y="3218"/>
                  </a:lnTo>
                  <a:cubicBezTo>
                    <a:pt x="3215" y="3364"/>
                    <a:pt x="3346" y="3443"/>
                    <a:pt x="3476" y="3443"/>
                  </a:cubicBezTo>
                  <a:cubicBezTo>
                    <a:pt x="3598" y="3443"/>
                    <a:pt x="3719" y="3372"/>
                    <a:pt x="3781" y="3218"/>
                  </a:cubicBezTo>
                  <a:lnTo>
                    <a:pt x="4789" y="446"/>
                  </a:lnTo>
                  <a:cubicBezTo>
                    <a:pt x="4884" y="257"/>
                    <a:pt x="4789" y="68"/>
                    <a:pt x="4600" y="36"/>
                  </a:cubicBezTo>
                  <a:cubicBezTo>
                    <a:pt x="4562" y="14"/>
                    <a:pt x="4521" y="4"/>
                    <a:pt x="4479" y="4"/>
                  </a:cubicBezTo>
                  <a:cubicBezTo>
                    <a:pt x="4346" y="4"/>
                    <a:pt x="4207" y="105"/>
                    <a:pt x="4159" y="225"/>
                  </a:cubicBezTo>
                  <a:lnTo>
                    <a:pt x="3466" y="2116"/>
                  </a:lnTo>
                  <a:lnTo>
                    <a:pt x="2741" y="225"/>
                  </a:lnTo>
                  <a:cubicBezTo>
                    <a:pt x="2693" y="80"/>
                    <a:pt x="2561" y="1"/>
                    <a:pt x="2428"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sp>
        <p:nvSpPr>
          <p:cNvPr id="11203" name="Google Shape;11203;p115"/>
          <p:cNvSpPr/>
          <p:nvPr/>
        </p:nvSpPr>
        <p:spPr>
          <a:xfrm>
            <a:off x="4737728" y="2854436"/>
            <a:ext cx="561061" cy="559569"/>
          </a:xfrm>
          <a:custGeom>
            <a:avLst/>
            <a:gdLst/>
            <a:ahLst/>
            <a:cxnLst/>
            <a:rect l="l" t="t" r="r" b="b"/>
            <a:pathLst>
              <a:path w="11658" h="11627" extrusionOk="0">
                <a:moveTo>
                  <a:pt x="6806" y="2017"/>
                </a:moveTo>
                <a:lnTo>
                  <a:pt x="6806" y="2773"/>
                </a:lnTo>
                <a:lnTo>
                  <a:pt x="4758" y="2773"/>
                </a:lnTo>
                <a:lnTo>
                  <a:pt x="4758" y="2017"/>
                </a:lnTo>
                <a:close/>
                <a:moveTo>
                  <a:pt x="7152" y="694"/>
                </a:moveTo>
                <a:cubicBezTo>
                  <a:pt x="7688" y="694"/>
                  <a:pt x="8192" y="1167"/>
                  <a:pt x="8192" y="1702"/>
                </a:cubicBezTo>
                <a:lnTo>
                  <a:pt x="8192" y="2773"/>
                </a:lnTo>
                <a:lnTo>
                  <a:pt x="7499" y="2773"/>
                </a:lnTo>
                <a:lnTo>
                  <a:pt x="7499" y="1702"/>
                </a:lnTo>
                <a:cubicBezTo>
                  <a:pt x="7499" y="1513"/>
                  <a:pt x="7341" y="1356"/>
                  <a:pt x="7152" y="1356"/>
                </a:cubicBezTo>
                <a:lnTo>
                  <a:pt x="4411" y="1356"/>
                </a:lnTo>
                <a:cubicBezTo>
                  <a:pt x="4191" y="1356"/>
                  <a:pt x="4033" y="1513"/>
                  <a:pt x="4033" y="1702"/>
                </a:cubicBezTo>
                <a:lnTo>
                  <a:pt x="4033" y="2773"/>
                </a:lnTo>
                <a:lnTo>
                  <a:pt x="3371" y="2773"/>
                </a:lnTo>
                <a:lnTo>
                  <a:pt x="3371" y="1702"/>
                </a:lnTo>
                <a:cubicBezTo>
                  <a:pt x="3371" y="1167"/>
                  <a:pt x="3844" y="694"/>
                  <a:pt x="4411" y="694"/>
                </a:cubicBezTo>
                <a:close/>
                <a:moveTo>
                  <a:pt x="10618" y="3498"/>
                </a:moveTo>
                <a:cubicBezTo>
                  <a:pt x="10807" y="3498"/>
                  <a:pt x="10964" y="3656"/>
                  <a:pt x="10964" y="3845"/>
                </a:cubicBezTo>
                <a:lnTo>
                  <a:pt x="10964" y="5010"/>
                </a:lnTo>
                <a:cubicBezTo>
                  <a:pt x="9546" y="6239"/>
                  <a:pt x="7688" y="6901"/>
                  <a:pt x="5766" y="6901"/>
                </a:cubicBezTo>
                <a:cubicBezTo>
                  <a:pt x="3876" y="6901"/>
                  <a:pt x="2080" y="6239"/>
                  <a:pt x="662" y="5010"/>
                </a:cubicBezTo>
                <a:lnTo>
                  <a:pt x="662" y="3971"/>
                </a:lnTo>
                <a:cubicBezTo>
                  <a:pt x="662" y="3687"/>
                  <a:pt x="851" y="3498"/>
                  <a:pt x="1135" y="3498"/>
                </a:cubicBezTo>
                <a:close/>
                <a:moveTo>
                  <a:pt x="6806" y="7531"/>
                </a:moveTo>
                <a:lnTo>
                  <a:pt x="6806" y="7940"/>
                </a:lnTo>
                <a:cubicBezTo>
                  <a:pt x="6806" y="8129"/>
                  <a:pt x="6648" y="8287"/>
                  <a:pt x="6459" y="8287"/>
                </a:cubicBezTo>
                <a:lnTo>
                  <a:pt x="5073" y="8287"/>
                </a:lnTo>
                <a:cubicBezTo>
                  <a:pt x="4884" y="8287"/>
                  <a:pt x="4726" y="8129"/>
                  <a:pt x="4726" y="7940"/>
                </a:cubicBezTo>
                <a:lnTo>
                  <a:pt x="4726" y="7531"/>
                </a:lnTo>
                <a:lnTo>
                  <a:pt x="4758" y="7531"/>
                </a:lnTo>
                <a:cubicBezTo>
                  <a:pt x="5104" y="7594"/>
                  <a:pt x="5419" y="7625"/>
                  <a:pt x="5766" y="7625"/>
                </a:cubicBezTo>
                <a:cubicBezTo>
                  <a:pt x="6112" y="7625"/>
                  <a:pt x="6427" y="7594"/>
                  <a:pt x="6806" y="7531"/>
                </a:cubicBezTo>
                <a:close/>
                <a:moveTo>
                  <a:pt x="10964" y="5892"/>
                </a:moveTo>
                <a:lnTo>
                  <a:pt x="10964" y="9988"/>
                </a:lnTo>
                <a:cubicBezTo>
                  <a:pt x="10964" y="10524"/>
                  <a:pt x="10492" y="10996"/>
                  <a:pt x="9956" y="10996"/>
                </a:cubicBezTo>
                <a:lnTo>
                  <a:pt x="1670" y="10996"/>
                </a:lnTo>
                <a:cubicBezTo>
                  <a:pt x="1135" y="10996"/>
                  <a:pt x="662" y="10524"/>
                  <a:pt x="662" y="9988"/>
                </a:cubicBezTo>
                <a:lnTo>
                  <a:pt x="662" y="5892"/>
                </a:lnTo>
                <a:cubicBezTo>
                  <a:pt x="1670" y="6649"/>
                  <a:pt x="2804" y="7184"/>
                  <a:pt x="4065" y="7436"/>
                </a:cubicBezTo>
                <a:lnTo>
                  <a:pt x="4065" y="7940"/>
                </a:lnTo>
                <a:cubicBezTo>
                  <a:pt x="4065" y="8476"/>
                  <a:pt x="4537" y="8948"/>
                  <a:pt x="5104" y="8948"/>
                </a:cubicBezTo>
                <a:lnTo>
                  <a:pt x="6490" y="8948"/>
                </a:lnTo>
                <a:cubicBezTo>
                  <a:pt x="7026" y="8948"/>
                  <a:pt x="7499" y="8476"/>
                  <a:pt x="7499" y="7940"/>
                </a:cubicBezTo>
                <a:lnTo>
                  <a:pt x="7499" y="7436"/>
                </a:lnTo>
                <a:cubicBezTo>
                  <a:pt x="7971" y="7342"/>
                  <a:pt x="8444" y="7184"/>
                  <a:pt x="8916" y="7027"/>
                </a:cubicBezTo>
                <a:cubicBezTo>
                  <a:pt x="9672" y="6743"/>
                  <a:pt x="10334" y="6365"/>
                  <a:pt x="10964" y="5892"/>
                </a:cubicBezTo>
                <a:close/>
                <a:moveTo>
                  <a:pt x="4411" y="1"/>
                </a:moveTo>
                <a:cubicBezTo>
                  <a:pt x="3466" y="1"/>
                  <a:pt x="2710" y="757"/>
                  <a:pt x="2710" y="1702"/>
                </a:cubicBezTo>
                <a:lnTo>
                  <a:pt x="2710" y="2773"/>
                </a:lnTo>
                <a:lnTo>
                  <a:pt x="1135" y="2773"/>
                </a:lnTo>
                <a:cubicBezTo>
                  <a:pt x="505" y="2773"/>
                  <a:pt x="0" y="3277"/>
                  <a:pt x="0" y="3908"/>
                </a:cubicBezTo>
                <a:lnTo>
                  <a:pt x="0" y="9957"/>
                </a:lnTo>
                <a:cubicBezTo>
                  <a:pt x="0" y="10902"/>
                  <a:pt x="725" y="11626"/>
                  <a:pt x="1670" y="11626"/>
                </a:cubicBezTo>
                <a:lnTo>
                  <a:pt x="9956" y="11626"/>
                </a:lnTo>
                <a:cubicBezTo>
                  <a:pt x="10901" y="11626"/>
                  <a:pt x="11657" y="10902"/>
                  <a:pt x="11657" y="9957"/>
                </a:cubicBezTo>
                <a:lnTo>
                  <a:pt x="11657" y="3813"/>
                </a:lnTo>
                <a:cubicBezTo>
                  <a:pt x="11626" y="3246"/>
                  <a:pt x="11153" y="2773"/>
                  <a:pt x="10618" y="2773"/>
                </a:cubicBezTo>
                <a:lnTo>
                  <a:pt x="8853" y="2773"/>
                </a:lnTo>
                <a:lnTo>
                  <a:pt x="8853" y="1702"/>
                </a:lnTo>
                <a:cubicBezTo>
                  <a:pt x="8853" y="757"/>
                  <a:pt x="8097" y="1"/>
                  <a:pt x="7152"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nvGrpSpPr>
          <p:cNvPr id="11204" name="Google Shape;11204;p115"/>
          <p:cNvGrpSpPr/>
          <p:nvPr/>
        </p:nvGrpSpPr>
        <p:grpSpPr>
          <a:xfrm>
            <a:off x="4751701" y="3547943"/>
            <a:ext cx="564092" cy="561061"/>
            <a:chOff x="-4931075" y="2765725"/>
            <a:chExt cx="293025" cy="291450"/>
          </a:xfrm>
        </p:grpSpPr>
        <p:sp>
          <p:nvSpPr>
            <p:cNvPr id="11205" name="Google Shape;11205;p115"/>
            <p:cNvSpPr/>
            <p:nvPr/>
          </p:nvSpPr>
          <p:spPr>
            <a:xfrm>
              <a:off x="-4810550" y="2884650"/>
              <a:ext cx="51225" cy="51225"/>
            </a:xfrm>
            <a:custGeom>
              <a:avLst/>
              <a:gdLst/>
              <a:ahLst/>
              <a:cxnLst/>
              <a:rect l="l" t="t" r="r" b="b"/>
              <a:pathLst>
                <a:path w="2049" h="2049" extrusionOk="0">
                  <a:moveTo>
                    <a:pt x="1008" y="663"/>
                  </a:moveTo>
                  <a:cubicBezTo>
                    <a:pt x="1229" y="663"/>
                    <a:pt x="1386" y="820"/>
                    <a:pt x="1386" y="1041"/>
                  </a:cubicBezTo>
                  <a:cubicBezTo>
                    <a:pt x="1386" y="1230"/>
                    <a:pt x="1229" y="1387"/>
                    <a:pt x="1008" y="1387"/>
                  </a:cubicBezTo>
                  <a:cubicBezTo>
                    <a:pt x="819" y="1387"/>
                    <a:pt x="662" y="1230"/>
                    <a:pt x="662" y="1041"/>
                  </a:cubicBezTo>
                  <a:cubicBezTo>
                    <a:pt x="662" y="820"/>
                    <a:pt x="819" y="663"/>
                    <a:pt x="1008" y="663"/>
                  </a:cubicBezTo>
                  <a:close/>
                  <a:moveTo>
                    <a:pt x="1008" y="1"/>
                  </a:moveTo>
                  <a:cubicBezTo>
                    <a:pt x="473" y="1"/>
                    <a:pt x="0" y="473"/>
                    <a:pt x="0" y="1041"/>
                  </a:cubicBezTo>
                  <a:cubicBezTo>
                    <a:pt x="0" y="1576"/>
                    <a:pt x="473" y="2049"/>
                    <a:pt x="1040" y="2049"/>
                  </a:cubicBezTo>
                  <a:cubicBezTo>
                    <a:pt x="1575" y="2049"/>
                    <a:pt x="2048" y="1576"/>
                    <a:pt x="2048" y="1041"/>
                  </a:cubicBezTo>
                  <a:cubicBezTo>
                    <a:pt x="2048" y="473"/>
                    <a:pt x="1607" y="1"/>
                    <a:pt x="1008"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1206" name="Google Shape;11206;p115"/>
            <p:cNvSpPr/>
            <p:nvPr/>
          </p:nvSpPr>
          <p:spPr>
            <a:xfrm>
              <a:off x="-4931075" y="2765725"/>
              <a:ext cx="293025" cy="291450"/>
            </a:xfrm>
            <a:custGeom>
              <a:avLst/>
              <a:gdLst/>
              <a:ahLst/>
              <a:cxnLst/>
              <a:rect l="l" t="t" r="r" b="b"/>
              <a:pathLst>
                <a:path w="11721" h="11658" extrusionOk="0">
                  <a:moveTo>
                    <a:pt x="3214" y="1387"/>
                  </a:moveTo>
                  <a:lnTo>
                    <a:pt x="4475" y="3844"/>
                  </a:lnTo>
                  <a:cubicBezTo>
                    <a:pt x="4223" y="4002"/>
                    <a:pt x="4034" y="4222"/>
                    <a:pt x="3876" y="4443"/>
                  </a:cubicBezTo>
                  <a:lnTo>
                    <a:pt x="1356" y="3214"/>
                  </a:lnTo>
                  <a:cubicBezTo>
                    <a:pt x="1828" y="2427"/>
                    <a:pt x="2458" y="1796"/>
                    <a:pt x="3214" y="1387"/>
                  </a:cubicBezTo>
                  <a:close/>
                  <a:moveTo>
                    <a:pt x="5829" y="4128"/>
                  </a:moveTo>
                  <a:cubicBezTo>
                    <a:pt x="6775" y="4128"/>
                    <a:pt x="7531" y="4884"/>
                    <a:pt x="7531" y="5829"/>
                  </a:cubicBezTo>
                  <a:cubicBezTo>
                    <a:pt x="7562" y="6743"/>
                    <a:pt x="6775" y="7530"/>
                    <a:pt x="5829" y="7530"/>
                  </a:cubicBezTo>
                  <a:cubicBezTo>
                    <a:pt x="4884" y="7530"/>
                    <a:pt x="4160" y="6774"/>
                    <a:pt x="4160" y="5829"/>
                  </a:cubicBezTo>
                  <a:cubicBezTo>
                    <a:pt x="4160" y="4884"/>
                    <a:pt x="4884" y="4128"/>
                    <a:pt x="5829" y="4128"/>
                  </a:cubicBezTo>
                  <a:close/>
                  <a:moveTo>
                    <a:pt x="5798" y="662"/>
                  </a:moveTo>
                  <a:cubicBezTo>
                    <a:pt x="8665" y="662"/>
                    <a:pt x="10996" y="2994"/>
                    <a:pt x="10996" y="5861"/>
                  </a:cubicBezTo>
                  <a:cubicBezTo>
                    <a:pt x="10996" y="6585"/>
                    <a:pt x="10839" y="7247"/>
                    <a:pt x="10618" y="7845"/>
                  </a:cubicBezTo>
                  <a:lnTo>
                    <a:pt x="8129" y="6585"/>
                  </a:lnTo>
                  <a:cubicBezTo>
                    <a:pt x="8192" y="6333"/>
                    <a:pt x="8255" y="6050"/>
                    <a:pt x="8255" y="5829"/>
                  </a:cubicBezTo>
                  <a:cubicBezTo>
                    <a:pt x="8255" y="4474"/>
                    <a:pt x="7184" y="3435"/>
                    <a:pt x="5829" y="3435"/>
                  </a:cubicBezTo>
                  <a:cubicBezTo>
                    <a:pt x="5577" y="3435"/>
                    <a:pt x="5325" y="3466"/>
                    <a:pt x="5105" y="3529"/>
                  </a:cubicBezTo>
                  <a:lnTo>
                    <a:pt x="3845" y="1072"/>
                  </a:lnTo>
                  <a:cubicBezTo>
                    <a:pt x="4412" y="820"/>
                    <a:pt x="5105" y="662"/>
                    <a:pt x="5798" y="662"/>
                  </a:cubicBezTo>
                  <a:close/>
                  <a:moveTo>
                    <a:pt x="7814" y="7152"/>
                  </a:moveTo>
                  <a:lnTo>
                    <a:pt x="10303" y="8412"/>
                  </a:lnTo>
                  <a:cubicBezTo>
                    <a:pt x="9862" y="9200"/>
                    <a:pt x="9232" y="9830"/>
                    <a:pt x="8444" y="10271"/>
                  </a:cubicBezTo>
                  <a:lnTo>
                    <a:pt x="7216" y="7751"/>
                  </a:lnTo>
                  <a:cubicBezTo>
                    <a:pt x="7468" y="7593"/>
                    <a:pt x="7657" y="7404"/>
                    <a:pt x="7814" y="7152"/>
                  </a:cubicBezTo>
                  <a:close/>
                  <a:moveTo>
                    <a:pt x="1072" y="3844"/>
                  </a:moveTo>
                  <a:lnTo>
                    <a:pt x="3593" y="5073"/>
                  </a:lnTo>
                  <a:cubicBezTo>
                    <a:pt x="3530" y="5325"/>
                    <a:pt x="3498" y="5546"/>
                    <a:pt x="3498" y="5829"/>
                  </a:cubicBezTo>
                  <a:cubicBezTo>
                    <a:pt x="3498" y="7152"/>
                    <a:pt x="4538" y="8223"/>
                    <a:pt x="5892" y="8223"/>
                  </a:cubicBezTo>
                  <a:cubicBezTo>
                    <a:pt x="6176" y="8223"/>
                    <a:pt x="6396" y="8192"/>
                    <a:pt x="6648" y="8097"/>
                  </a:cubicBezTo>
                  <a:lnTo>
                    <a:pt x="7846" y="10618"/>
                  </a:lnTo>
                  <a:cubicBezTo>
                    <a:pt x="7216" y="10901"/>
                    <a:pt x="6554" y="11027"/>
                    <a:pt x="5892" y="11027"/>
                  </a:cubicBezTo>
                  <a:cubicBezTo>
                    <a:pt x="2994" y="10996"/>
                    <a:pt x="694" y="8665"/>
                    <a:pt x="694" y="5829"/>
                  </a:cubicBezTo>
                  <a:cubicBezTo>
                    <a:pt x="694" y="5104"/>
                    <a:pt x="852" y="4443"/>
                    <a:pt x="1072" y="3844"/>
                  </a:cubicBezTo>
                  <a:close/>
                  <a:moveTo>
                    <a:pt x="5798" y="1"/>
                  </a:moveTo>
                  <a:cubicBezTo>
                    <a:pt x="4254" y="1"/>
                    <a:pt x="2773" y="599"/>
                    <a:pt x="1702" y="1702"/>
                  </a:cubicBezTo>
                  <a:cubicBezTo>
                    <a:pt x="600" y="2805"/>
                    <a:pt x="1" y="4254"/>
                    <a:pt x="1" y="5798"/>
                  </a:cubicBezTo>
                  <a:cubicBezTo>
                    <a:pt x="1" y="8980"/>
                    <a:pt x="2647" y="11657"/>
                    <a:pt x="5892" y="11657"/>
                  </a:cubicBezTo>
                  <a:cubicBezTo>
                    <a:pt x="9106" y="11657"/>
                    <a:pt x="11721" y="9043"/>
                    <a:pt x="11721" y="5829"/>
                  </a:cubicBezTo>
                  <a:cubicBezTo>
                    <a:pt x="11658" y="2647"/>
                    <a:pt x="9043" y="1"/>
                    <a:pt x="5798"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11207" name="Google Shape;11207;p115"/>
          <p:cNvGrpSpPr/>
          <p:nvPr/>
        </p:nvGrpSpPr>
        <p:grpSpPr>
          <a:xfrm>
            <a:off x="8359124" y="2208386"/>
            <a:ext cx="561061" cy="494309"/>
            <a:chOff x="-3137650" y="2067900"/>
            <a:chExt cx="291450" cy="256775"/>
          </a:xfrm>
        </p:grpSpPr>
        <p:sp>
          <p:nvSpPr>
            <p:cNvPr id="11208" name="Google Shape;11208;p115"/>
            <p:cNvSpPr/>
            <p:nvPr/>
          </p:nvSpPr>
          <p:spPr>
            <a:xfrm>
              <a:off x="-3137650" y="2067900"/>
              <a:ext cx="291450" cy="187475"/>
            </a:xfrm>
            <a:custGeom>
              <a:avLst/>
              <a:gdLst/>
              <a:ahLst/>
              <a:cxnLst/>
              <a:rect l="l" t="t" r="r" b="b"/>
              <a:pathLst>
                <a:path w="11658" h="7499" extrusionOk="0">
                  <a:moveTo>
                    <a:pt x="10618" y="694"/>
                  </a:moveTo>
                  <a:cubicBezTo>
                    <a:pt x="10838" y="694"/>
                    <a:pt x="10964" y="851"/>
                    <a:pt x="10964" y="1040"/>
                  </a:cubicBezTo>
                  <a:lnTo>
                    <a:pt x="10964" y="6522"/>
                  </a:lnTo>
                  <a:cubicBezTo>
                    <a:pt x="10964" y="6711"/>
                    <a:pt x="10838" y="6868"/>
                    <a:pt x="10618" y="6868"/>
                  </a:cubicBezTo>
                  <a:lnTo>
                    <a:pt x="1009" y="6868"/>
                  </a:lnTo>
                  <a:cubicBezTo>
                    <a:pt x="820" y="6868"/>
                    <a:pt x="662" y="6711"/>
                    <a:pt x="662" y="6522"/>
                  </a:cubicBezTo>
                  <a:lnTo>
                    <a:pt x="662" y="1040"/>
                  </a:lnTo>
                  <a:cubicBezTo>
                    <a:pt x="662" y="851"/>
                    <a:pt x="820" y="694"/>
                    <a:pt x="1009" y="694"/>
                  </a:cubicBezTo>
                  <a:close/>
                  <a:moveTo>
                    <a:pt x="1009" y="0"/>
                  </a:moveTo>
                  <a:cubicBezTo>
                    <a:pt x="473" y="0"/>
                    <a:pt x="1" y="473"/>
                    <a:pt x="1" y="1009"/>
                  </a:cubicBezTo>
                  <a:lnTo>
                    <a:pt x="1" y="6490"/>
                  </a:lnTo>
                  <a:cubicBezTo>
                    <a:pt x="1" y="7026"/>
                    <a:pt x="473" y="7499"/>
                    <a:pt x="1009" y="7499"/>
                  </a:cubicBezTo>
                  <a:lnTo>
                    <a:pt x="10618" y="7499"/>
                  </a:lnTo>
                  <a:cubicBezTo>
                    <a:pt x="11185" y="7499"/>
                    <a:pt x="11658" y="7026"/>
                    <a:pt x="11658" y="6490"/>
                  </a:cubicBezTo>
                  <a:lnTo>
                    <a:pt x="11658" y="1009"/>
                  </a:lnTo>
                  <a:cubicBezTo>
                    <a:pt x="11658" y="473"/>
                    <a:pt x="11217" y="0"/>
                    <a:pt x="10618"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1209" name="Google Shape;11209;p115"/>
            <p:cNvSpPr/>
            <p:nvPr/>
          </p:nvSpPr>
          <p:spPr>
            <a:xfrm>
              <a:off x="-3137650" y="2273475"/>
              <a:ext cx="291450" cy="51200"/>
            </a:xfrm>
            <a:custGeom>
              <a:avLst/>
              <a:gdLst/>
              <a:ahLst/>
              <a:cxnLst/>
              <a:rect l="l" t="t" r="r" b="b"/>
              <a:pathLst>
                <a:path w="11658" h="2048" extrusionOk="0">
                  <a:moveTo>
                    <a:pt x="10618" y="662"/>
                  </a:moveTo>
                  <a:cubicBezTo>
                    <a:pt x="10838" y="662"/>
                    <a:pt x="10964" y="819"/>
                    <a:pt x="10964" y="1008"/>
                  </a:cubicBezTo>
                  <a:cubicBezTo>
                    <a:pt x="10964" y="1197"/>
                    <a:pt x="10838" y="1355"/>
                    <a:pt x="10618" y="1355"/>
                  </a:cubicBezTo>
                  <a:lnTo>
                    <a:pt x="6050" y="1355"/>
                  </a:lnTo>
                  <a:cubicBezTo>
                    <a:pt x="6113" y="1260"/>
                    <a:pt x="6113" y="1134"/>
                    <a:pt x="6113" y="1008"/>
                  </a:cubicBezTo>
                  <a:cubicBezTo>
                    <a:pt x="6113" y="882"/>
                    <a:pt x="6050" y="788"/>
                    <a:pt x="6050" y="662"/>
                  </a:cubicBezTo>
                  <a:close/>
                  <a:moveTo>
                    <a:pt x="5105" y="662"/>
                  </a:moveTo>
                  <a:cubicBezTo>
                    <a:pt x="5294" y="662"/>
                    <a:pt x="5451" y="819"/>
                    <a:pt x="5451" y="1008"/>
                  </a:cubicBezTo>
                  <a:cubicBezTo>
                    <a:pt x="5451" y="1229"/>
                    <a:pt x="5294" y="1386"/>
                    <a:pt x="5105" y="1386"/>
                  </a:cubicBezTo>
                  <a:lnTo>
                    <a:pt x="1009" y="1386"/>
                  </a:lnTo>
                  <a:cubicBezTo>
                    <a:pt x="820" y="1355"/>
                    <a:pt x="662" y="1229"/>
                    <a:pt x="662" y="1008"/>
                  </a:cubicBezTo>
                  <a:cubicBezTo>
                    <a:pt x="662" y="819"/>
                    <a:pt x="820" y="662"/>
                    <a:pt x="1009" y="662"/>
                  </a:cubicBezTo>
                  <a:close/>
                  <a:moveTo>
                    <a:pt x="1009" y="0"/>
                  </a:moveTo>
                  <a:cubicBezTo>
                    <a:pt x="473" y="0"/>
                    <a:pt x="1" y="473"/>
                    <a:pt x="1" y="1008"/>
                  </a:cubicBezTo>
                  <a:cubicBezTo>
                    <a:pt x="1" y="1575"/>
                    <a:pt x="473" y="2048"/>
                    <a:pt x="1009" y="2048"/>
                  </a:cubicBezTo>
                  <a:lnTo>
                    <a:pt x="10618" y="2048"/>
                  </a:lnTo>
                  <a:cubicBezTo>
                    <a:pt x="11185" y="2048"/>
                    <a:pt x="11658" y="1575"/>
                    <a:pt x="11658" y="1008"/>
                  </a:cubicBezTo>
                  <a:cubicBezTo>
                    <a:pt x="11658" y="473"/>
                    <a:pt x="11217" y="0"/>
                    <a:pt x="10618"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1210" name="Google Shape;11210;p115"/>
            <p:cNvSpPr/>
            <p:nvPr/>
          </p:nvSpPr>
          <p:spPr>
            <a:xfrm>
              <a:off x="-3035250" y="2103000"/>
              <a:ext cx="104000" cy="118500"/>
            </a:xfrm>
            <a:custGeom>
              <a:avLst/>
              <a:gdLst/>
              <a:ahLst/>
              <a:cxnLst/>
              <a:rect l="l" t="t" r="r" b="b"/>
              <a:pathLst>
                <a:path w="4160" h="4740" extrusionOk="0">
                  <a:moveTo>
                    <a:pt x="662" y="896"/>
                  </a:moveTo>
                  <a:lnTo>
                    <a:pt x="3056" y="2346"/>
                  </a:lnTo>
                  <a:lnTo>
                    <a:pt x="662" y="3826"/>
                  </a:lnTo>
                  <a:lnTo>
                    <a:pt x="662" y="896"/>
                  </a:lnTo>
                  <a:close/>
                  <a:moveTo>
                    <a:pt x="322" y="1"/>
                  </a:moveTo>
                  <a:cubicBezTo>
                    <a:pt x="144" y="1"/>
                    <a:pt x="0" y="131"/>
                    <a:pt x="0" y="298"/>
                  </a:cubicBezTo>
                  <a:lnTo>
                    <a:pt x="0" y="4425"/>
                  </a:lnTo>
                  <a:cubicBezTo>
                    <a:pt x="0" y="4607"/>
                    <a:pt x="132" y="4740"/>
                    <a:pt x="301" y="4740"/>
                  </a:cubicBezTo>
                  <a:cubicBezTo>
                    <a:pt x="365" y="4740"/>
                    <a:pt x="435" y="4720"/>
                    <a:pt x="504" y="4677"/>
                  </a:cubicBezTo>
                  <a:lnTo>
                    <a:pt x="3939" y="2629"/>
                  </a:lnTo>
                  <a:cubicBezTo>
                    <a:pt x="4159" y="2535"/>
                    <a:pt x="4159" y="2219"/>
                    <a:pt x="3939" y="2093"/>
                  </a:cubicBezTo>
                  <a:lnTo>
                    <a:pt x="504" y="46"/>
                  </a:lnTo>
                  <a:cubicBezTo>
                    <a:pt x="443" y="15"/>
                    <a:pt x="381" y="1"/>
                    <a:pt x="322"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11211" name="Google Shape;11211;p115"/>
          <p:cNvGrpSpPr/>
          <p:nvPr/>
        </p:nvGrpSpPr>
        <p:grpSpPr>
          <a:xfrm>
            <a:off x="8359124" y="2853235"/>
            <a:ext cx="561061" cy="562360"/>
            <a:chOff x="-3137650" y="2408950"/>
            <a:chExt cx="291450" cy="292125"/>
          </a:xfrm>
        </p:grpSpPr>
        <p:sp>
          <p:nvSpPr>
            <p:cNvPr id="11212" name="Google Shape;11212;p115"/>
            <p:cNvSpPr/>
            <p:nvPr/>
          </p:nvSpPr>
          <p:spPr>
            <a:xfrm>
              <a:off x="-3137650" y="2408950"/>
              <a:ext cx="291450" cy="292125"/>
            </a:xfrm>
            <a:custGeom>
              <a:avLst/>
              <a:gdLst/>
              <a:ahLst/>
              <a:cxnLst/>
              <a:rect l="l" t="t" r="r" b="b"/>
              <a:pathLst>
                <a:path w="11658" h="11685" extrusionOk="0">
                  <a:moveTo>
                    <a:pt x="10618" y="662"/>
                  </a:moveTo>
                  <a:cubicBezTo>
                    <a:pt x="10807" y="662"/>
                    <a:pt x="10964" y="851"/>
                    <a:pt x="10964" y="1040"/>
                  </a:cubicBezTo>
                  <a:lnTo>
                    <a:pt x="10964" y="2741"/>
                  </a:lnTo>
                  <a:lnTo>
                    <a:pt x="662" y="2741"/>
                  </a:lnTo>
                  <a:lnTo>
                    <a:pt x="662" y="1040"/>
                  </a:lnTo>
                  <a:cubicBezTo>
                    <a:pt x="662" y="851"/>
                    <a:pt x="820" y="662"/>
                    <a:pt x="1009" y="662"/>
                  </a:cubicBezTo>
                  <a:close/>
                  <a:moveTo>
                    <a:pt x="10964" y="3403"/>
                  </a:moveTo>
                  <a:lnTo>
                    <a:pt x="10964" y="8601"/>
                  </a:lnTo>
                  <a:cubicBezTo>
                    <a:pt x="10964" y="8790"/>
                    <a:pt x="10838" y="8947"/>
                    <a:pt x="10618" y="8947"/>
                  </a:cubicBezTo>
                  <a:lnTo>
                    <a:pt x="10145" y="8947"/>
                  </a:lnTo>
                  <a:cubicBezTo>
                    <a:pt x="10208" y="8727"/>
                    <a:pt x="10240" y="8443"/>
                    <a:pt x="10240" y="8160"/>
                  </a:cubicBezTo>
                  <a:lnTo>
                    <a:pt x="10240" y="5860"/>
                  </a:lnTo>
                  <a:cubicBezTo>
                    <a:pt x="10240" y="5673"/>
                    <a:pt x="10058" y="5531"/>
                    <a:pt x="9868" y="5531"/>
                  </a:cubicBezTo>
                  <a:cubicBezTo>
                    <a:pt x="9835" y="5531"/>
                    <a:pt x="9801" y="5535"/>
                    <a:pt x="9767" y="5545"/>
                  </a:cubicBezTo>
                  <a:cubicBezTo>
                    <a:pt x="9545" y="5641"/>
                    <a:pt x="9341" y="5691"/>
                    <a:pt x="9142" y="5691"/>
                  </a:cubicBezTo>
                  <a:cubicBezTo>
                    <a:pt x="8693" y="5691"/>
                    <a:pt x="8275" y="5439"/>
                    <a:pt x="7751" y="4915"/>
                  </a:cubicBezTo>
                  <a:cubicBezTo>
                    <a:pt x="7688" y="4868"/>
                    <a:pt x="7601" y="4844"/>
                    <a:pt x="7515" y="4844"/>
                  </a:cubicBezTo>
                  <a:cubicBezTo>
                    <a:pt x="7428" y="4844"/>
                    <a:pt x="7341" y="4868"/>
                    <a:pt x="7278" y="4915"/>
                  </a:cubicBezTo>
                  <a:cubicBezTo>
                    <a:pt x="6753" y="5440"/>
                    <a:pt x="6334" y="5677"/>
                    <a:pt x="5884" y="5677"/>
                  </a:cubicBezTo>
                  <a:cubicBezTo>
                    <a:pt x="5686" y="5677"/>
                    <a:pt x="5483" y="5631"/>
                    <a:pt x="5262" y="5545"/>
                  </a:cubicBezTo>
                  <a:cubicBezTo>
                    <a:pt x="5229" y="5535"/>
                    <a:pt x="5195" y="5531"/>
                    <a:pt x="5161" y="5531"/>
                  </a:cubicBezTo>
                  <a:cubicBezTo>
                    <a:pt x="4971" y="5531"/>
                    <a:pt x="4789" y="5673"/>
                    <a:pt x="4789" y="5860"/>
                  </a:cubicBezTo>
                  <a:lnTo>
                    <a:pt x="4789" y="8160"/>
                  </a:lnTo>
                  <a:cubicBezTo>
                    <a:pt x="4789" y="8443"/>
                    <a:pt x="4821" y="8664"/>
                    <a:pt x="4884" y="8947"/>
                  </a:cubicBezTo>
                  <a:lnTo>
                    <a:pt x="1009" y="8947"/>
                  </a:lnTo>
                  <a:cubicBezTo>
                    <a:pt x="820" y="8947"/>
                    <a:pt x="662" y="8790"/>
                    <a:pt x="662" y="8601"/>
                  </a:cubicBezTo>
                  <a:lnTo>
                    <a:pt x="662" y="3403"/>
                  </a:lnTo>
                  <a:close/>
                  <a:moveTo>
                    <a:pt x="7152" y="5923"/>
                  </a:moveTo>
                  <a:lnTo>
                    <a:pt x="7152" y="10838"/>
                  </a:lnTo>
                  <a:cubicBezTo>
                    <a:pt x="6144" y="10365"/>
                    <a:pt x="5451" y="9357"/>
                    <a:pt x="5451" y="8160"/>
                  </a:cubicBezTo>
                  <a:lnTo>
                    <a:pt x="5451" y="6301"/>
                  </a:lnTo>
                  <a:cubicBezTo>
                    <a:pt x="5604" y="6330"/>
                    <a:pt x="5750" y="6344"/>
                    <a:pt x="5891" y="6344"/>
                  </a:cubicBezTo>
                  <a:cubicBezTo>
                    <a:pt x="6359" y="6344"/>
                    <a:pt x="6765" y="6189"/>
                    <a:pt x="7152" y="5923"/>
                  </a:cubicBezTo>
                  <a:close/>
                  <a:moveTo>
                    <a:pt x="7877" y="5923"/>
                  </a:moveTo>
                  <a:cubicBezTo>
                    <a:pt x="8242" y="6166"/>
                    <a:pt x="8644" y="6353"/>
                    <a:pt x="9128" y="6353"/>
                  </a:cubicBezTo>
                  <a:cubicBezTo>
                    <a:pt x="9271" y="6353"/>
                    <a:pt x="9420" y="6337"/>
                    <a:pt x="9578" y="6301"/>
                  </a:cubicBezTo>
                  <a:lnTo>
                    <a:pt x="9578" y="8160"/>
                  </a:lnTo>
                  <a:cubicBezTo>
                    <a:pt x="9547" y="9357"/>
                    <a:pt x="8885" y="10365"/>
                    <a:pt x="7877" y="10838"/>
                  </a:cubicBezTo>
                  <a:lnTo>
                    <a:pt x="7877" y="5923"/>
                  </a:lnTo>
                  <a:close/>
                  <a:moveTo>
                    <a:pt x="1009" y="0"/>
                  </a:moveTo>
                  <a:cubicBezTo>
                    <a:pt x="473" y="0"/>
                    <a:pt x="1" y="473"/>
                    <a:pt x="1" y="1040"/>
                  </a:cubicBezTo>
                  <a:lnTo>
                    <a:pt x="1" y="8601"/>
                  </a:lnTo>
                  <a:cubicBezTo>
                    <a:pt x="1" y="9136"/>
                    <a:pt x="473" y="9609"/>
                    <a:pt x="1009" y="9609"/>
                  </a:cubicBezTo>
                  <a:lnTo>
                    <a:pt x="5073" y="9609"/>
                  </a:lnTo>
                  <a:cubicBezTo>
                    <a:pt x="5199" y="9893"/>
                    <a:pt x="5357" y="10145"/>
                    <a:pt x="5514" y="10365"/>
                  </a:cubicBezTo>
                  <a:cubicBezTo>
                    <a:pt x="5987" y="10995"/>
                    <a:pt x="6617" y="11436"/>
                    <a:pt x="7404" y="11657"/>
                  </a:cubicBezTo>
                  <a:cubicBezTo>
                    <a:pt x="7446" y="11657"/>
                    <a:pt x="7488" y="11685"/>
                    <a:pt x="7530" y="11685"/>
                  </a:cubicBezTo>
                  <a:cubicBezTo>
                    <a:pt x="7551" y="11685"/>
                    <a:pt x="7572" y="11678"/>
                    <a:pt x="7593" y="11657"/>
                  </a:cubicBezTo>
                  <a:cubicBezTo>
                    <a:pt x="8350" y="11436"/>
                    <a:pt x="9011" y="10995"/>
                    <a:pt x="9484" y="10365"/>
                  </a:cubicBezTo>
                  <a:cubicBezTo>
                    <a:pt x="9641" y="10145"/>
                    <a:pt x="9799" y="9893"/>
                    <a:pt x="9925" y="9609"/>
                  </a:cubicBezTo>
                  <a:lnTo>
                    <a:pt x="10618" y="9609"/>
                  </a:lnTo>
                  <a:cubicBezTo>
                    <a:pt x="11185" y="9609"/>
                    <a:pt x="11658" y="9136"/>
                    <a:pt x="11658" y="8601"/>
                  </a:cubicBezTo>
                  <a:lnTo>
                    <a:pt x="11658" y="1040"/>
                  </a:lnTo>
                  <a:cubicBezTo>
                    <a:pt x="11658" y="473"/>
                    <a:pt x="11217" y="0"/>
                    <a:pt x="10618"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1213" name="Google Shape;11213;p115"/>
            <p:cNvSpPr/>
            <p:nvPr/>
          </p:nvSpPr>
          <p:spPr>
            <a:xfrm>
              <a:off x="-3104575" y="2442800"/>
              <a:ext cx="18150" cy="17350"/>
            </a:xfrm>
            <a:custGeom>
              <a:avLst/>
              <a:gdLst/>
              <a:ahLst/>
              <a:cxnLst/>
              <a:rect l="l" t="t" r="r" b="b"/>
              <a:pathLst>
                <a:path w="726" h="694" extrusionOk="0">
                  <a:moveTo>
                    <a:pt x="348" y="1"/>
                  </a:moveTo>
                  <a:cubicBezTo>
                    <a:pt x="158" y="1"/>
                    <a:pt x="1" y="158"/>
                    <a:pt x="1" y="347"/>
                  </a:cubicBezTo>
                  <a:cubicBezTo>
                    <a:pt x="1" y="536"/>
                    <a:pt x="158" y="694"/>
                    <a:pt x="348" y="694"/>
                  </a:cubicBezTo>
                  <a:cubicBezTo>
                    <a:pt x="568" y="694"/>
                    <a:pt x="726" y="536"/>
                    <a:pt x="726" y="347"/>
                  </a:cubicBezTo>
                  <a:cubicBezTo>
                    <a:pt x="726" y="158"/>
                    <a:pt x="568" y="1"/>
                    <a:pt x="348"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1214" name="Google Shape;11214;p115"/>
            <p:cNvSpPr/>
            <p:nvPr/>
          </p:nvSpPr>
          <p:spPr>
            <a:xfrm>
              <a:off x="-3069900" y="2442800"/>
              <a:ext cx="17350" cy="17350"/>
            </a:xfrm>
            <a:custGeom>
              <a:avLst/>
              <a:gdLst/>
              <a:ahLst/>
              <a:cxnLst/>
              <a:rect l="l" t="t" r="r" b="b"/>
              <a:pathLst>
                <a:path w="694" h="694" extrusionOk="0">
                  <a:moveTo>
                    <a:pt x="347" y="1"/>
                  </a:moveTo>
                  <a:cubicBezTo>
                    <a:pt x="158" y="1"/>
                    <a:pt x="0" y="158"/>
                    <a:pt x="0" y="347"/>
                  </a:cubicBezTo>
                  <a:cubicBezTo>
                    <a:pt x="0" y="536"/>
                    <a:pt x="158" y="694"/>
                    <a:pt x="347" y="694"/>
                  </a:cubicBezTo>
                  <a:cubicBezTo>
                    <a:pt x="536" y="694"/>
                    <a:pt x="693" y="536"/>
                    <a:pt x="693" y="347"/>
                  </a:cubicBezTo>
                  <a:cubicBezTo>
                    <a:pt x="693" y="158"/>
                    <a:pt x="536" y="1"/>
                    <a:pt x="347"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1215" name="Google Shape;11215;p115"/>
            <p:cNvSpPr/>
            <p:nvPr/>
          </p:nvSpPr>
          <p:spPr>
            <a:xfrm>
              <a:off x="-3035250" y="2442800"/>
              <a:ext cx="17350" cy="17350"/>
            </a:xfrm>
            <a:custGeom>
              <a:avLst/>
              <a:gdLst/>
              <a:ahLst/>
              <a:cxnLst/>
              <a:rect l="l" t="t" r="r" b="b"/>
              <a:pathLst>
                <a:path w="694" h="694" extrusionOk="0">
                  <a:moveTo>
                    <a:pt x="347" y="1"/>
                  </a:moveTo>
                  <a:cubicBezTo>
                    <a:pt x="158" y="1"/>
                    <a:pt x="0" y="158"/>
                    <a:pt x="0" y="347"/>
                  </a:cubicBezTo>
                  <a:cubicBezTo>
                    <a:pt x="0" y="536"/>
                    <a:pt x="158" y="694"/>
                    <a:pt x="347" y="694"/>
                  </a:cubicBezTo>
                  <a:cubicBezTo>
                    <a:pt x="536" y="694"/>
                    <a:pt x="693" y="536"/>
                    <a:pt x="693" y="347"/>
                  </a:cubicBezTo>
                  <a:cubicBezTo>
                    <a:pt x="693" y="158"/>
                    <a:pt x="536" y="1"/>
                    <a:pt x="347"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1216" name="Google Shape;11216;p115"/>
            <p:cNvSpPr/>
            <p:nvPr/>
          </p:nvSpPr>
          <p:spPr>
            <a:xfrm>
              <a:off x="-3002175" y="2442800"/>
              <a:ext cx="120525" cy="17350"/>
            </a:xfrm>
            <a:custGeom>
              <a:avLst/>
              <a:gdLst/>
              <a:ahLst/>
              <a:cxnLst/>
              <a:rect l="l" t="t" r="r" b="b"/>
              <a:pathLst>
                <a:path w="4821" h="694" extrusionOk="0">
                  <a:moveTo>
                    <a:pt x="347" y="1"/>
                  </a:moveTo>
                  <a:cubicBezTo>
                    <a:pt x="158" y="1"/>
                    <a:pt x="1" y="158"/>
                    <a:pt x="1" y="347"/>
                  </a:cubicBezTo>
                  <a:cubicBezTo>
                    <a:pt x="32" y="536"/>
                    <a:pt x="190" y="694"/>
                    <a:pt x="347" y="694"/>
                  </a:cubicBezTo>
                  <a:lnTo>
                    <a:pt x="4443" y="694"/>
                  </a:lnTo>
                  <a:cubicBezTo>
                    <a:pt x="4663" y="694"/>
                    <a:pt x="4821" y="536"/>
                    <a:pt x="4821" y="347"/>
                  </a:cubicBezTo>
                  <a:cubicBezTo>
                    <a:pt x="4821" y="158"/>
                    <a:pt x="4663" y="1"/>
                    <a:pt x="4443"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11217" name="Google Shape;11217;p115"/>
          <p:cNvGrpSpPr/>
          <p:nvPr/>
        </p:nvGrpSpPr>
        <p:grpSpPr>
          <a:xfrm>
            <a:off x="8375032" y="3580550"/>
            <a:ext cx="561061" cy="495849"/>
            <a:chOff x="-3137650" y="2787000"/>
            <a:chExt cx="291450" cy="257575"/>
          </a:xfrm>
        </p:grpSpPr>
        <p:sp>
          <p:nvSpPr>
            <p:cNvPr id="11218" name="Google Shape;11218;p115"/>
            <p:cNvSpPr/>
            <p:nvPr/>
          </p:nvSpPr>
          <p:spPr>
            <a:xfrm>
              <a:off x="-3137650" y="2787000"/>
              <a:ext cx="291450" cy="257575"/>
            </a:xfrm>
            <a:custGeom>
              <a:avLst/>
              <a:gdLst/>
              <a:ahLst/>
              <a:cxnLst/>
              <a:rect l="l" t="t" r="r" b="b"/>
              <a:pathLst>
                <a:path w="11658" h="10303" extrusionOk="0">
                  <a:moveTo>
                    <a:pt x="10618" y="693"/>
                  </a:moveTo>
                  <a:cubicBezTo>
                    <a:pt x="10807" y="693"/>
                    <a:pt x="10964" y="851"/>
                    <a:pt x="10964" y="1040"/>
                  </a:cubicBezTo>
                  <a:lnTo>
                    <a:pt x="10964" y="2741"/>
                  </a:lnTo>
                  <a:lnTo>
                    <a:pt x="662" y="2741"/>
                  </a:lnTo>
                  <a:lnTo>
                    <a:pt x="662" y="1040"/>
                  </a:lnTo>
                  <a:cubicBezTo>
                    <a:pt x="662" y="851"/>
                    <a:pt x="820" y="693"/>
                    <a:pt x="1009" y="693"/>
                  </a:cubicBezTo>
                  <a:close/>
                  <a:moveTo>
                    <a:pt x="10996" y="3403"/>
                  </a:moveTo>
                  <a:lnTo>
                    <a:pt x="10996" y="9231"/>
                  </a:lnTo>
                  <a:cubicBezTo>
                    <a:pt x="10964" y="9420"/>
                    <a:pt x="10838" y="9578"/>
                    <a:pt x="10618" y="9578"/>
                  </a:cubicBezTo>
                  <a:lnTo>
                    <a:pt x="1009" y="9578"/>
                  </a:lnTo>
                  <a:cubicBezTo>
                    <a:pt x="820" y="9578"/>
                    <a:pt x="662" y="9420"/>
                    <a:pt x="662" y="9231"/>
                  </a:cubicBezTo>
                  <a:lnTo>
                    <a:pt x="662" y="3403"/>
                  </a:lnTo>
                  <a:close/>
                  <a:moveTo>
                    <a:pt x="1009" y="0"/>
                  </a:moveTo>
                  <a:cubicBezTo>
                    <a:pt x="473" y="0"/>
                    <a:pt x="1" y="473"/>
                    <a:pt x="1" y="1040"/>
                  </a:cubicBezTo>
                  <a:lnTo>
                    <a:pt x="1" y="9263"/>
                  </a:lnTo>
                  <a:cubicBezTo>
                    <a:pt x="1" y="9830"/>
                    <a:pt x="473" y="10302"/>
                    <a:pt x="1009" y="10302"/>
                  </a:cubicBezTo>
                  <a:lnTo>
                    <a:pt x="10618" y="10302"/>
                  </a:lnTo>
                  <a:cubicBezTo>
                    <a:pt x="11185" y="10302"/>
                    <a:pt x="11658" y="9830"/>
                    <a:pt x="11658" y="9263"/>
                  </a:cubicBezTo>
                  <a:lnTo>
                    <a:pt x="11658" y="1040"/>
                  </a:lnTo>
                  <a:cubicBezTo>
                    <a:pt x="11658" y="441"/>
                    <a:pt x="11217" y="0"/>
                    <a:pt x="10618"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1219" name="Google Shape;11219;p115"/>
            <p:cNvSpPr/>
            <p:nvPr/>
          </p:nvSpPr>
          <p:spPr>
            <a:xfrm>
              <a:off x="-3104575" y="2820875"/>
              <a:ext cx="18150" cy="17350"/>
            </a:xfrm>
            <a:custGeom>
              <a:avLst/>
              <a:gdLst/>
              <a:ahLst/>
              <a:cxnLst/>
              <a:rect l="l" t="t" r="r" b="b"/>
              <a:pathLst>
                <a:path w="726" h="694" extrusionOk="0">
                  <a:moveTo>
                    <a:pt x="348" y="0"/>
                  </a:moveTo>
                  <a:cubicBezTo>
                    <a:pt x="158" y="0"/>
                    <a:pt x="1" y="158"/>
                    <a:pt x="1" y="347"/>
                  </a:cubicBezTo>
                  <a:cubicBezTo>
                    <a:pt x="1" y="536"/>
                    <a:pt x="158" y="693"/>
                    <a:pt x="348" y="693"/>
                  </a:cubicBezTo>
                  <a:cubicBezTo>
                    <a:pt x="568" y="693"/>
                    <a:pt x="726" y="536"/>
                    <a:pt x="726" y="347"/>
                  </a:cubicBezTo>
                  <a:cubicBezTo>
                    <a:pt x="726" y="158"/>
                    <a:pt x="568" y="0"/>
                    <a:pt x="348"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1220" name="Google Shape;11220;p115"/>
            <p:cNvSpPr/>
            <p:nvPr/>
          </p:nvSpPr>
          <p:spPr>
            <a:xfrm>
              <a:off x="-3069900" y="2820875"/>
              <a:ext cx="17350" cy="17350"/>
            </a:xfrm>
            <a:custGeom>
              <a:avLst/>
              <a:gdLst/>
              <a:ahLst/>
              <a:cxnLst/>
              <a:rect l="l" t="t" r="r" b="b"/>
              <a:pathLst>
                <a:path w="694" h="694" extrusionOk="0">
                  <a:moveTo>
                    <a:pt x="347" y="0"/>
                  </a:moveTo>
                  <a:cubicBezTo>
                    <a:pt x="158" y="0"/>
                    <a:pt x="0" y="158"/>
                    <a:pt x="0" y="347"/>
                  </a:cubicBezTo>
                  <a:cubicBezTo>
                    <a:pt x="0" y="536"/>
                    <a:pt x="158" y="693"/>
                    <a:pt x="347" y="693"/>
                  </a:cubicBezTo>
                  <a:cubicBezTo>
                    <a:pt x="536" y="693"/>
                    <a:pt x="693" y="536"/>
                    <a:pt x="693" y="347"/>
                  </a:cubicBezTo>
                  <a:cubicBezTo>
                    <a:pt x="693" y="158"/>
                    <a:pt x="536" y="0"/>
                    <a:pt x="347"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1221" name="Google Shape;11221;p115"/>
            <p:cNvSpPr/>
            <p:nvPr/>
          </p:nvSpPr>
          <p:spPr>
            <a:xfrm>
              <a:off x="-3035250" y="2820875"/>
              <a:ext cx="17350" cy="17350"/>
            </a:xfrm>
            <a:custGeom>
              <a:avLst/>
              <a:gdLst/>
              <a:ahLst/>
              <a:cxnLst/>
              <a:rect l="l" t="t" r="r" b="b"/>
              <a:pathLst>
                <a:path w="694" h="694" extrusionOk="0">
                  <a:moveTo>
                    <a:pt x="347" y="0"/>
                  </a:moveTo>
                  <a:cubicBezTo>
                    <a:pt x="158" y="0"/>
                    <a:pt x="0" y="158"/>
                    <a:pt x="0" y="347"/>
                  </a:cubicBezTo>
                  <a:cubicBezTo>
                    <a:pt x="0" y="536"/>
                    <a:pt x="158" y="693"/>
                    <a:pt x="347" y="693"/>
                  </a:cubicBezTo>
                  <a:cubicBezTo>
                    <a:pt x="536" y="693"/>
                    <a:pt x="693" y="536"/>
                    <a:pt x="693" y="347"/>
                  </a:cubicBezTo>
                  <a:cubicBezTo>
                    <a:pt x="693" y="158"/>
                    <a:pt x="536" y="0"/>
                    <a:pt x="347"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1222" name="Google Shape;11222;p115"/>
            <p:cNvSpPr/>
            <p:nvPr/>
          </p:nvSpPr>
          <p:spPr>
            <a:xfrm>
              <a:off x="-3002175" y="2820875"/>
              <a:ext cx="121325" cy="17350"/>
            </a:xfrm>
            <a:custGeom>
              <a:avLst/>
              <a:gdLst/>
              <a:ahLst/>
              <a:cxnLst/>
              <a:rect l="l" t="t" r="r" b="b"/>
              <a:pathLst>
                <a:path w="4853" h="694" extrusionOk="0">
                  <a:moveTo>
                    <a:pt x="347" y="0"/>
                  </a:moveTo>
                  <a:cubicBezTo>
                    <a:pt x="158" y="0"/>
                    <a:pt x="1" y="158"/>
                    <a:pt x="1" y="347"/>
                  </a:cubicBezTo>
                  <a:cubicBezTo>
                    <a:pt x="32" y="536"/>
                    <a:pt x="190" y="693"/>
                    <a:pt x="347" y="693"/>
                  </a:cubicBezTo>
                  <a:lnTo>
                    <a:pt x="4506" y="693"/>
                  </a:lnTo>
                  <a:cubicBezTo>
                    <a:pt x="4695" y="693"/>
                    <a:pt x="4852" y="536"/>
                    <a:pt x="4852" y="347"/>
                  </a:cubicBezTo>
                  <a:cubicBezTo>
                    <a:pt x="4852" y="158"/>
                    <a:pt x="4695" y="0"/>
                    <a:pt x="4506"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1223" name="Google Shape;11223;p115"/>
            <p:cNvSpPr/>
            <p:nvPr/>
          </p:nvSpPr>
          <p:spPr>
            <a:xfrm>
              <a:off x="-2948625" y="2907300"/>
              <a:ext cx="52025" cy="85300"/>
            </a:xfrm>
            <a:custGeom>
              <a:avLst/>
              <a:gdLst/>
              <a:ahLst/>
              <a:cxnLst/>
              <a:rect l="l" t="t" r="r" b="b"/>
              <a:pathLst>
                <a:path w="2081" h="3412" extrusionOk="0">
                  <a:moveTo>
                    <a:pt x="347" y="1"/>
                  </a:moveTo>
                  <a:cubicBezTo>
                    <a:pt x="261" y="1"/>
                    <a:pt x="174" y="24"/>
                    <a:pt x="127" y="72"/>
                  </a:cubicBezTo>
                  <a:cubicBezTo>
                    <a:pt x="1" y="198"/>
                    <a:pt x="1" y="450"/>
                    <a:pt x="127" y="544"/>
                  </a:cubicBezTo>
                  <a:lnTo>
                    <a:pt x="1261" y="1710"/>
                  </a:lnTo>
                  <a:lnTo>
                    <a:pt x="127" y="2844"/>
                  </a:lnTo>
                  <a:cubicBezTo>
                    <a:pt x="1" y="2970"/>
                    <a:pt x="1" y="3191"/>
                    <a:pt x="127" y="3317"/>
                  </a:cubicBezTo>
                  <a:cubicBezTo>
                    <a:pt x="174" y="3380"/>
                    <a:pt x="261" y="3411"/>
                    <a:pt x="347" y="3411"/>
                  </a:cubicBezTo>
                  <a:cubicBezTo>
                    <a:pt x="434" y="3411"/>
                    <a:pt x="521" y="3380"/>
                    <a:pt x="568" y="3317"/>
                  </a:cubicBezTo>
                  <a:lnTo>
                    <a:pt x="1954" y="1930"/>
                  </a:lnTo>
                  <a:cubicBezTo>
                    <a:pt x="2080" y="1804"/>
                    <a:pt x="2080" y="1584"/>
                    <a:pt x="1954" y="1458"/>
                  </a:cubicBezTo>
                  <a:lnTo>
                    <a:pt x="568" y="72"/>
                  </a:lnTo>
                  <a:cubicBezTo>
                    <a:pt x="521" y="24"/>
                    <a:pt x="434" y="1"/>
                    <a:pt x="347"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1224" name="Google Shape;11224;p115"/>
            <p:cNvSpPr/>
            <p:nvPr/>
          </p:nvSpPr>
          <p:spPr>
            <a:xfrm>
              <a:off x="-3088025" y="2907300"/>
              <a:ext cx="53575" cy="85300"/>
            </a:xfrm>
            <a:custGeom>
              <a:avLst/>
              <a:gdLst/>
              <a:ahLst/>
              <a:cxnLst/>
              <a:rect l="l" t="t" r="r" b="b"/>
              <a:pathLst>
                <a:path w="2143" h="3412" extrusionOk="0">
                  <a:moveTo>
                    <a:pt x="1749" y="1"/>
                  </a:moveTo>
                  <a:cubicBezTo>
                    <a:pt x="1662" y="1"/>
                    <a:pt x="1576" y="24"/>
                    <a:pt x="1513" y="72"/>
                  </a:cubicBezTo>
                  <a:lnTo>
                    <a:pt x="127" y="1458"/>
                  </a:lnTo>
                  <a:cubicBezTo>
                    <a:pt x="1" y="1584"/>
                    <a:pt x="1" y="1804"/>
                    <a:pt x="127" y="1930"/>
                  </a:cubicBezTo>
                  <a:lnTo>
                    <a:pt x="1513" y="3317"/>
                  </a:lnTo>
                  <a:cubicBezTo>
                    <a:pt x="1576" y="3380"/>
                    <a:pt x="1662" y="3411"/>
                    <a:pt x="1749" y="3411"/>
                  </a:cubicBezTo>
                  <a:cubicBezTo>
                    <a:pt x="1836" y="3411"/>
                    <a:pt x="1922" y="3380"/>
                    <a:pt x="1985" y="3317"/>
                  </a:cubicBezTo>
                  <a:cubicBezTo>
                    <a:pt x="2111" y="3191"/>
                    <a:pt x="2111" y="2970"/>
                    <a:pt x="1985" y="2844"/>
                  </a:cubicBezTo>
                  <a:lnTo>
                    <a:pt x="851" y="1710"/>
                  </a:lnTo>
                  <a:lnTo>
                    <a:pt x="1985" y="544"/>
                  </a:lnTo>
                  <a:cubicBezTo>
                    <a:pt x="2143" y="450"/>
                    <a:pt x="2143" y="198"/>
                    <a:pt x="1985" y="72"/>
                  </a:cubicBezTo>
                  <a:cubicBezTo>
                    <a:pt x="1922" y="24"/>
                    <a:pt x="1836" y="1"/>
                    <a:pt x="1749"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1225" name="Google Shape;11225;p115"/>
            <p:cNvSpPr/>
            <p:nvPr/>
          </p:nvSpPr>
          <p:spPr>
            <a:xfrm>
              <a:off x="-3019500" y="2888975"/>
              <a:ext cx="54375" cy="119400"/>
            </a:xfrm>
            <a:custGeom>
              <a:avLst/>
              <a:gdLst/>
              <a:ahLst/>
              <a:cxnLst/>
              <a:rect l="l" t="t" r="r" b="b"/>
              <a:pathLst>
                <a:path w="2175" h="4776" extrusionOk="0">
                  <a:moveTo>
                    <a:pt x="1778" y="0"/>
                  </a:moveTo>
                  <a:cubicBezTo>
                    <a:pt x="1617" y="0"/>
                    <a:pt x="1501" y="108"/>
                    <a:pt x="1450" y="237"/>
                  </a:cubicBezTo>
                  <a:lnTo>
                    <a:pt x="63" y="4333"/>
                  </a:lnTo>
                  <a:cubicBezTo>
                    <a:pt x="0" y="4522"/>
                    <a:pt x="95" y="4680"/>
                    <a:pt x="253" y="4743"/>
                  </a:cubicBezTo>
                  <a:cubicBezTo>
                    <a:pt x="305" y="4765"/>
                    <a:pt x="354" y="4775"/>
                    <a:pt x="399" y="4775"/>
                  </a:cubicBezTo>
                  <a:cubicBezTo>
                    <a:pt x="543" y="4775"/>
                    <a:pt x="646" y="4674"/>
                    <a:pt x="694" y="4554"/>
                  </a:cubicBezTo>
                  <a:lnTo>
                    <a:pt x="2080" y="458"/>
                  </a:lnTo>
                  <a:cubicBezTo>
                    <a:pt x="2174" y="300"/>
                    <a:pt x="2048" y="111"/>
                    <a:pt x="1891" y="17"/>
                  </a:cubicBezTo>
                  <a:cubicBezTo>
                    <a:pt x="1851" y="6"/>
                    <a:pt x="1813" y="0"/>
                    <a:pt x="1778"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sp>
        <p:nvSpPr>
          <p:cNvPr id="11226" name="Google Shape;11226;p115"/>
          <p:cNvSpPr/>
          <p:nvPr/>
        </p:nvSpPr>
        <p:spPr>
          <a:xfrm>
            <a:off x="1812179" y="4392822"/>
            <a:ext cx="561061" cy="394253"/>
          </a:xfrm>
          <a:custGeom>
            <a:avLst/>
            <a:gdLst/>
            <a:ahLst/>
            <a:cxnLst/>
            <a:rect l="l" t="t" r="r" b="b"/>
            <a:pathLst>
              <a:path w="11658" h="8192" extrusionOk="0">
                <a:moveTo>
                  <a:pt x="10429" y="662"/>
                </a:moveTo>
                <a:cubicBezTo>
                  <a:pt x="10114" y="1008"/>
                  <a:pt x="6207" y="4915"/>
                  <a:pt x="6081" y="5072"/>
                </a:cubicBezTo>
                <a:cubicBezTo>
                  <a:pt x="6018" y="5135"/>
                  <a:pt x="5916" y="5167"/>
                  <a:pt x="5813" y="5167"/>
                </a:cubicBezTo>
                <a:cubicBezTo>
                  <a:pt x="5711" y="5167"/>
                  <a:pt x="5608" y="5135"/>
                  <a:pt x="5545" y="5072"/>
                </a:cubicBezTo>
                <a:lnTo>
                  <a:pt x="1135" y="662"/>
                </a:lnTo>
                <a:close/>
                <a:moveTo>
                  <a:pt x="662" y="1134"/>
                </a:moveTo>
                <a:lnTo>
                  <a:pt x="3624" y="4096"/>
                </a:lnTo>
                <a:lnTo>
                  <a:pt x="662" y="7057"/>
                </a:lnTo>
                <a:lnTo>
                  <a:pt x="662" y="1134"/>
                </a:lnTo>
                <a:close/>
                <a:moveTo>
                  <a:pt x="10996" y="1134"/>
                </a:moveTo>
                <a:lnTo>
                  <a:pt x="10996" y="7057"/>
                </a:lnTo>
                <a:lnTo>
                  <a:pt x="8034" y="4096"/>
                </a:lnTo>
                <a:lnTo>
                  <a:pt x="10996" y="1134"/>
                </a:lnTo>
                <a:close/>
                <a:moveTo>
                  <a:pt x="7562" y="4568"/>
                </a:moveTo>
                <a:lnTo>
                  <a:pt x="10492" y="7530"/>
                </a:lnTo>
                <a:lnTo>
                  <a:pt x="1198" y="7530"/>
                </a:lnTo>
                <a:lnTo>
                  <a:pt x="4096" y="4568"/>
                </a:lnTo>
                <a:lnTo>
                  <a:pt x="5073" y="5545"/>
                </a:lnTo>
                <a:cubicBezTo>
                  <a:pt x="5278" y="5750"/>
                  <a:pt x="5553" y="5852"/>
                  <a:pt x="5829" y="5852"/>
                </a:cubicBezTo>
                <a:cubicBezTo>
                  <a:pt x="6105" y="5852"/>
                  <a:pt x="6380" y="5750"/>
                  <a:pt x="6585" y="5545"/>
                </a:cubicBezTo>
                <a:lnTo>
                  <a:pt x="7562" y="4568"/>
                </a:lnTo>
                <a:close/>
                <a:moveTo>
                  <a:pt x="1009" y="0"/>
                </a:moveTo>
                <a:cubicBezTo>
                  <a:pt x="473" y="0"/>
                  <a:pt x="1" y="473"/>
                  <a:pt x="1" y="1008"/>
                </a:cubicBezTo>
                <a:lnTo>
                  <a:pt x="1" y="7152"/>
                </a:lnTo>
                <a:cubicBezTo>
                  <a:pt x="1" y="7719"/>
                  <a:pt x="473" y="8191"/>
                  <a:pt x="1009" y="8191"/>
                </a:cubicBezTo>
                <a:lnTo>
                  <a:pt x="10618" y="8191"/>
                </a:lnTo>
                <a:cubicBezTo>
                  <a:pt x="11185" y="8191"/>
                  <a:pt x="11657" y="7719"/>
                  <a:pt x="11657" y="7152"/>
                </a:cubicBezTo>
                <a:lnTo>
                  <a:pt x="11657" y="1008"/>
                </a:lnTo>
                <a:cubicBezTo>
                  <a:pt x="11657" y="441"/>
                  <a:pt x="11185" y="0"/>
                  <a:pt x="10618"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1227" name="Google Shape;11227;p115"/>
          <p:cNvSpPr/>
          <p:nvPr/>
        </p:nvSpPr>
        <p:spPr>
          <a:xfrm>
            <a:off x="1850568" y="2173977"/>
            <a:ext cx="562552" cy="562793"/>
          </a:xfrm>
          <a:custGeom>
            <a:avLst/>
            <a:gdLst/>
            <a:ahLst/>
            <a:cxnLst/>
            <a:rect l="l" t="t" r="r" b="b"/>
            <a:pathLst>
              <a:path w="11689" h="11694" extrusionOk="0">
                <a:moveTo>
                  <a:pt x="5829" y="2048"/>
                </a:moveTo>
                <a:cubicBezTo>
                  <a:pt x="6018" y="2048"/>
                  <a:pt x="6175" y="2206"/>
                  <a:pt x="6175" y="2395"/>
                </a:cubicBezTo>
                <a:cubicBezTo>
                  <a:pt x="6175" y="2615"/>
                  <a:pt x="6018" y="2804"/>
                  <a:pt x="5829" y="2804"/>
                </a:cubicBezTo>
                <a:cubicBezTo>
                  <a:pt x="5640" y="2804"/>
                  <a:pt x="5482" y="2615"/>
                  <a:pt x="5482" y="2395"/>
                </a:cubicBezTo>
                <a:cubicBezTo>
                  <a:pt x="5482" y="2206"/>
                  <a:pt x="5640" y="2048"/>
                  <a:pt x="5829" y="2048"/>
                </a:cubicBezTo>
                <a:close/>
                <a:moveTo>
                  <a:pt x="5829" y="725"/>
                </a:moveTo>
                <a:cubicBezTo>
                  <a:pt x="6774" y="725"/>
                  <a:pt x="7530" y="1449"/>
                  <a:pt x="7530" y="2395"/>
                </a:cubicBezTo>
                <a:cubicBezTo>
                  <a:pt x="7530" y="2521"/>
                  <a:pt x="7530" y="2678"/>
                  <a:pt x="7467" y="2804"/>
                </a:cubicBezTo>
                <a:lnTo>
                  <a:pt x="6774" y="2804"/>
                </a:lnTo>
                <a:cubicBezTo>
                  <a:pt x="6806" y="2678"/>
                  <a:pt x="6837" y="2552"/>
                  <a:pt x="6837" y="2395"/>
                </a:cubicBezTo>
                <a:cubicBezTo>
                  <a:pt x="6837" y="1859"/>
                  <a:pt x="6364" y="1386"/>
                  <a:pt x="5829" y="1386"/>
                </a:cubicBezTo>
                <a:cubicBezTo>
                  <a:pt x="5262" y="1386"/>
                  <a:pt x="4789" y="1859"/>
                  <a:pt x="4789" y="2395"/>
                </a:cubicBezTo>
                <a:cubicBezTo>
                  <a:pt x="4789" y="2521"/>
                  <a:pt x="4852" y="2678"/>
                  <a:pt x="4884" y="2804"/>
                </a:cubicBezTo>
                <a:lnTo>
                  <a:pt x="4159" y="2804"/>
                </a:lnTo>
                <a:cubicBezTo>
                  <a:pt x="4128" y="2678"/>
                  <a:pt x="4128" y="2521"/>
                  <a:pt x="4128" y="2395"/>
                </a:cubicBezTo>
                <a:cubicBezTo>
                  <a:pt x="4128" y="1449"/>
                  <a:pt x="4884" y="725"/>
                  <a:pt x="5829" y="725"/>
                </a:cubicBezTo>
                <a:close/>
                <a:moveTo>
                  <a:pt x="10681" y="3466"/>
                </a:moveTo>
                <a:cubicBezTo>
                  <a:pt x="10870" y="3466"/>
                  <a:pt x="11027" y="3623"/>
                  <a:pt x="11027" y="3812"/>
                </a:cubicBezTo>
                <a:cubicBezTo>
                  <a:pt x="11027" y="4033"/>
                  <a:pt x="10870" y="4190"/>
                  <a:pt x="10681" y="4190"/>
                </a:cubicBezTo>
                <a:lnTo>
                  <a:pt x="1009" y="4190"/>
                </a:lnTo>
                <a:cubicBezTo>
                  <a:pt x="820" y="4190"/>
                  <a:pt x="662" y="4033"/>
                  <a:pt x="662" y="3812"/>
                </a:cubicBezTo>
                <a:cubicBezTo>
                  <a:pt x="662" y="3623"/>
                  <a:pt x="851" y="3466"/>
                  <a:pt x="1009" y="3466"/>
                </a:cubicBezTo>
                <a:close/>
                <a:moveTo>
                  <a:pt x="9799" y="4852"/>
                </a:moveTo>
                <a:lnTo>
                  <a:pt x="7058" y="7593"/>
                </a:lnTo>
                <a:lnTo>
                  <a:pt x="4600" y="7593"/>
                </a:lnTo>
                <a:lnTo>
                  <a:pt x="1859" y="4852"/>
                </a:lnTo>
                <a:close/>
                <a:moveTo>
                  <a:pt x="6869" y="8255"/>
                </a:moveTo>
                <a:lnTo>
                  <a:pt x="6869" y="9767"/>
                </a:lnTo>
                <a:lnTo>
                  <a:pt x="4789" y="10775"/>
                </a:lnTo>
                <a:lnTo>
                  <a:pt x="4789" y="8255"/>
                </a:lnTo>
                <a:close/>
                <a:moveTo>
                  <a:pt x="5829" y="0"/>
                </a:moveTo>
                <a:cubicBezTo>
                  <a:pt x="4474" y="0"/>
                  <a:pt x="3435" y="1071"/>
                  <a:pt x="3435" y="2395"/>
                </a:cubicBezTo>
                <a:cubicBezTo>
                  <a:pt x="3435" y="2521"/>
                  <a:pt x="3435" y="2678"/>
                  <a:pt x="3466" y="2804"/>
                </a:cubicBezTo>
                <a:lnTo>
                  <a:pt x="1009" y="2804"/>
                </a:lnTo>
                <a:cubicBezTo>
                  <a:pt x="473" y="2804"/>
                  <a:pt x="0" y="3277"/>
                  <a:pt x="0" y="3812"/>
                </a:cubicBezTo>
                <a:cubicBezTo>
                  <a:pt x="0" y="4348"/>
                  <a:pt x="379" y="4757"/>
                  <a:pt x="851" y="4852"/>
                </a:cubicBezTo>
                <a:lnTo>
                  <a:pt x="4096" y="8065"/>
                </a:lnTo>
                <a:lnTo>
                  <a:pt x="4096" y="11342"/>
                </a:lnTo>
                <a:cubicBezTo>
                  <a:pt x="4096" y="11518"/>
                  <a:pt x="4277" y="11694"/>
                  <a:pt x="4462" y="11694"/>
                </a:cubicBezTo>
                <a:cubicBezTo>
                  <a:pt x="4508" y="11694"/>
                  <a:pt x="4556" y="11683"/>
                  <a:pt x="4600" y="11657"/>
                </a:cubicBezTo>
                <a:lnTo>
                  <a:pt x="7373" y="10271"/>
                </a:lnTo>
                <a:cubicBezTo>
                  <a:pt x="7467" y="10239"/>
                  <a:pt x="7562" y="10113"/>
                  <a:pt x="7562" y="9956"/>
                </a:cubicBezTo>
                <a:lnTo>
                  <a:pt x="7562" y="8034"/>
                </a:lnTo>
                <a:lnTo>
                  <a:pt x="10838" y="4820"/>
                </a:lnTo>
                <a:cubicBezTo>
                  <a:pt x="11311" y="4757"/>
                  <a:pt x="11689" y="4348"/>
                  <a:pt x="11689" y="3812"/>
                </a:cubicBezTo>
                <a:cubicBezTo>
                  <a:pt x="11689" y="3277"/>
                  <a:pt x="11216" y="2804"/>
                  <a:pt x="10681" y="2804"/>
                </a:cubicBezTo>
                <a:lnTo>
                  <a:pt x="8192" y="2804"/>
                </a:lnTo>
                <a:cubicBezTo>
                  <a:pt x="8192" y="2678"/>
                  <a:pt x="8223" y="2521"/>
                  <a:pt x="8223" y="2395"/>
                </a:cubicBezTo>
                <a:cubicBezTo>
                  <a:pt x="8223" y="1071"/>
                  <a:pt x="7152" y="0"/>
                  <a:pt x="5829"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1228" name="Google Shape;11228;p115"/>
          <p:cNvSpPr/>
          <p:nvPr/>
        </p:nvSpPr>
        <p:spPr>
          <a:xfrm>
            <a:off x="1848282" y="2852366"/>
            <a:ext cx="567124" cy="563708"/>
          </a:xfrm>
          <a:custGeom>
            <a:avLst/>
            <a:gdLst/>
            <a:ahLst/>
            <a:cxnLst/>
            <a:rect l="l" t="t" r="r" b="b"/>
            <a:pathLst>
              <a:path w="11784" h="11713" extrusionOk="0">
                <a:moveTo>
                  <a:pt x="5136" y="4128"/>
                </a:moveTo>
                <a:cubicBezTo>
                  <a:pt x="5671" y="4128"/>
                  <a:pt x="6112" y="4569"/>
                  <a:pt x="6144" y="5136"/>
                </a:cubicBezTo>
                <a:lnTo>
                  <a:pt x="5230" y="4853"/>
                </a:lnTo>
                <a:cubicBezTo>
                  <a:pt x="5198" y="4839"/>
                  <a:pt x="5165" y="4832"/>
                  <a:pt x="5131" y="4832"/>
                </a:cubicBezTo>
                <a:cubicBezTo>
                  <a:pt x="4934" y="4832"/>
                  <a:pt x="4735" y="5052"/>
                  <a:pt x="4789" y="5294"/>
                </a:cubicBezTo>
                <a:lnTo>
                  <a:pt x="5073" y="6239"/>
                </a:lnTo>
                <a:cubicBezTo>
                  <a:pt x="4537" y="6176"/>
                  <a:pt x="4096" y="5703"/>
                  <a:pt x="4096" y="5168"/>
                </a:cubicBezTo>
                <a:cubicBezTo>
                  <a:pt x="4096" y="4601"/>
                  <a:pt x="4569" y="4128"/>
                  <a:pt x="5136" y="4128"/>
                </a:cubicBezTo>
                <a:close/>
                <a:moveTo>
                  <a:pt x="5199" y="2364"/>
                </a:moveTo>
                <a:cubicBezTo>
                  <a:pt x="6680" y="2364"/>
                  <a:pt x="7940" y="3592"/>
                  <a:pt x="7940" y="5136"/>
                </a:cubicBezTo>
                <a:cubicBezTo>
                  <a:pt x="7940" y="5294"/>
                  <a:pt x="7940" y="5388"/>
                  <a:pt x="7908" y="5546"/>
                </a:cubicBezTo>
                <a:lnTo>
                  <a:pt x="6932" y="5294"/>
                </a:lnTo>
                <a:lnTo>
                  <a:pt x="6932" y="5136"/>
                </a:lnTo>
                <a:cubicBezTo>
                  <a:pt x="6806" y="4223"/>
                  <a:pt x="6049" y="3466"/>
                  <a:pt x="5104" y="3466"/>
                </a:cubicBezTo>
                <a:cubicBezTo>
                  <a:pt x="4159" y="3466"/>
                  <a:pt x="3435" y="4223"/>
                  <a:pt x="3435" y="5168"/>
                </a:cubicBezTo>
                <a:cubicBezTo>
                  <a:pt x="3435" y="5609"/>
                  <a:pt x="3624" y="6081"/>
                  <a:pt x="3939" y="6396"/>
                </a:cubicBezTo>
                <a:cubicBezTo>
                  <a:pt x="4254" y="6743"/>
                  <a:pt x="4695" y="6900"/>
                  <a:pt x="5167" y="6900"/>
                </a:cubicBezTo>
                <a:lnTo>
                  <a:pt x="5325" y="6900"/>
                </a:lnTo>
                <a:lnTo>
                  <a:pt x="5577" y="7877"/>
                </a:lnTo>
                <a:cubicBezTo>
                  <a:pt x="5482" y="7909"/>
                  <a:pt x="5325" y="7909"/>
                  <a:pt x="5199" y="7909"/>
                </a:cubicBezTo>
                <a:cubicBezTo>
                  <a:pt x="3687" y="7909"/>
                  <a:pt x="2426" y="6648"/>
                  <a:pt x="2426" y="5136"/>
                </a:cubicBezTo>
                <a:cubicBezTo>
                  <a:pt x="2426" y="3624"/>
                  <a:pt x="3655" y="2364"/>
                  <a:pt x="5199" y="2364"/>
                </a:cubicBezTo>
                <a:close/>
                <a:moveTo>
                  <a:pt x="5167" y="726"/>
                </a:moveTo>
                <a:cubicBezTo>
                  <a:pt x="7940" y="726"/>
                  <a:pt x="10051" y="3277"/>
                  <a:pt x="9515" y="6018"/>
                </a:cubicBezTo>
                <a:lnTo>
                  <a:pt x="8507" y="5766"/>
                </a:lnTo>
                <a:cubicBezTo>
                  <a:pt x="8538" y="5546"/>
                  <a:pt x="8538" y="5357"/>
                  <a:pt x="8538" y="5136"/>
                </a:cubicBezTo>
                <a:cubicBezTo>
                  <a:pt x="8538" y="3246"/>
                  <a:pt x="7026" y="1702"/>
                  <a:pt x="5104" y="1702"/>
                </a:cubicBezTo>
                <a:cubicBezTo>
                  <a:pt x="3214" y="1702"/>
                  <a:pt x="1702" y="3246"/>
                  <a:pt x="1702" y="5136"/>
                </a:cubicBezTo>
                <a:cubicBezTo>
                  <a:pt x="1702" y="7027"/>
                  <a:pt x="3214" y="8602"/>
                  <a:pt x="5104" y="8602"/>
                </a:cubicBezTo>
                <a:cubicBezTo>
                  <a:pt x="5325" y="8602"/>
                  <a:pt x="5514" y="8602"/>
                  <a:pt x="5703" y="8539"/>
                </a:cubicBezTo>
                <a:lnTo>
                  <a:pt x="5986" y="9578"/>
                </a:lnTo>
                <a:cubicBezTo>
                  <a:pt x="5695" y="9636"/>
                  <a:pt x="5405" y="9664"/>
                  <a:pt x="5119" y="9664"/>
                </a:cubicBezTo>
                <a:cubicBezTo>
                  <a:pt x="2751" y="9664"/>
                  <a:pt x="694" y="7758"/>
                  <a:pt x="694" y="5199"/>
                </a:cubicBezTo>
                <a:cubicBezTo>
                  <a:pt x="694" y="2679"/>
                  <a:pt x="2773" y="726"/>
                  <a:pt x="5167" y="726"/>
                </a:cubicBezTo>
                <a:close/>
                <a:moveTo>
                  <a:pt x="5671" y="5672"/>
                </a:moveTo>
                <a:lnTo>
                  <a:pt x="5671" y="5672"/>
                </a:lnTo>
                <a:cubicBezTo>
                  <a:pt x="10240" y="6964"/>
                  <a:pt x="9578" y="6774"/>
                  <a:pt x="9704" y="6806"/>
                </a:cubicBezTo>
                <a:lnTo>
                  <a:pt x="8853" y="7373"/>
                </a:lnTo>
                <a:cubicBezTo>
                  <a:pt x="8664" y="7499"/>
                  <a:pt x="8664" y="7751"/>
                  <a:pt x="8822" y="7877"/>
                </a:cubicBezTo>
                <a:lnTo>
                  <a:pt x="10964" y="9956"/>
                </a:lnTo>
                <a:cubicBezTo>
                  <a:pt x="11027" y="10114"/>
                  <a:pt x="11027" y="10335"/>
                  <a:pt x="10901" y="10492"/>
                </a:cubicBezTo>
                <a:lnTo>
                  <a:pt x="10429" y="10965"/>
                </a:lnTo>
                <a:cubicBezTo>
                  <a:pt x="10366" y="11012"/>
                  <a:pt x="10279" y="11035"/>
                  <a:pt x="10192" y="11035"/>
                </a:cubicBezTo>
                <a:cubicBezTo>
                  <a:pt x="10106" y="11035"/>
                  <a:pt x="10019" y="11012"/>
                  <a:pt x="9956" y="10965"/>
                </a:cubicBezTo>
                <a:lnTo>
                  <a:pt x="7845" y="8854"/>
                </a:lnTo>
                <a:cubicBezTo>
                  <a:pt x="7777" y="8786"/>
                  <a:pt x="7691" y="8753"/>
                  <a:pt x="7606" y="8753"/>
                </a:cubicBezTo>
                <a:cubicBezTo>
                  <a:pt x="7493" y="8753"/>
                  <a:pt x="7381" y="8809"/>
                  <a:pt x="7310" y="8917"/>
                </a:cubicBezTo>
                <a:cubicBezTo>
                  <a:pt x="7247" y="8980"/>
                  <a:pt x="6806" y="9641"/>
                  <a:pt x="6774" y="9736"/>
                </a:cubicBezTo>
                <a:cubicBezTo>
                  <a:pt x="6680" y="9484"/>
                  <a:pt x="5703" y="5861"/>
                  <a:pt x="5671" y="5672"/>
                </a:cubicBezTo>
                <a:close/>
                <a:moveTo>
                  <a:pt x="5104" y="1"/>
                </a:moveTo>
                <a:cubicBezTo>
                  <a:pt x="2363" y="1"/>
                  <a:pt x="0" y="2238"/>
                  <a:pt x="0" y="5168"/>
                </a:cubicBezTo>
                <a:cubicBezTo>
                  <a:pt x="0" y="8066"/>
                  <a:pt x="2332" y="10303"/>
                  <a:pt x="5104" y="10303"/>
                </a:cubicBezTo>
                <a:cubicBezTo>
                  <a:pt x="5482" y="10303"/>
                  <a:pt x="5797" y="10272"/>
                  <a:pt x="6144" y="10208"/>
                </a:cubicBezTo>
                <a:lnTo>
                  <a:pt x="6270" y="10587"/>
                </a:lnTo>
                <a:cubicBezTo>
                  <a:pt x="6307" y="10755"/>
                  <a:pt x="6444" y="10845"/>
                  <a:pt x="6596" y="10845"/>
                </a:cubicBezTo>
                <a:cubicBezTo>
                  <a:pt x="6700" y="10845"/>
                  <a:pt x="6810" y="10802"/>
                  <a:pt x="6900" y="10713"/>
                </a:cubicBezTo>
                <a:lnTo>
                  <a:pt x="7625" y="9610"/>
                </a:lnTo>
                <a:lnTo>
                  <a:pt x="9483" y="11406"/>
                </a:lnTo>
                <a:cubicBezTo>
                  <a:pt x="9688" y="11610"/>
                  <a:pt x="9956" y="11713"/>
                  <a:pt x="10220" y="11713"/>
                </a:cubicBezTo>
                <a:cubicBezTo>
                  <a:pt x="10484" y="11713"/>
                  <a:pt x="10744" y="11610"/>
                  <a:pt x="10933" y="11406"/>
                </a:cubicBezTo>
                <a:lnTo>
                  <a:pt x="11405" y="10933"/>
                </a:lnTo>
                <a:cubicBezTo>
                  <a:pt x="11783" y="10555"/>
                  <a:pt x="11783" y="9893"/>
                  <a:pt x="11374" y="9484"/>
                </a:cubicBezTo>
                <a:lnTo>
                  <a:pt x="9515" y="7720"/>
                </a:lnTo>
                <a:lnTo>
                  <a:pt x="10618" y="6964"/>
                </a:lnTo>
                <a:cubicBezTo>
                  <a:pt x="10870" y="6806"/>
                  <a:pt x="10838" y="6428"/>
                  <a:pt x="10555" y="6333"/>
                </a:cubicBezTo>
                <a:lnTo>
                  <a:pt x="10145" y="6239"/>
                </a:lnTo>
                <a:cubicBezTo>
                  <a:pt x="10303" y="5483"/>
                  <a:pt x="10271" y="4695"/>
                  <a:pt x="10082" y="3908"/>
                </a:cubicBezTo>
                <a:cubicBezTo>
                  <a:pt x="9483" y="1576"/>
                  <a:pt x="7436" y="1"/>
                  <a:pt x="5104"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nvGrpSpPr>
          <p:cNvPr id="11229" name="Google Shape;11229;p115"/>
          <p:cNvGrpSpPr/>
          <p:nvPr/>
        </p:nvGrpSpPr>
        <p:grpSpPr>
          <a:xfrm>
            <a:off x="1865935" y="3547196"/>
            <a:ext cx="562552" cy="562552"/>
            <a:chOff x="-6354300" y="2757075"/>
            <a:chExt cx="292225" cy="292225"/>
          </a:xfrm>
        </p:grpSpPr>
        <p:sp>
          <p:nvSpPr>
            <p:cNvPr id="11230" name="Google Shape;11230;p115"/>
            <p:cNvSpPr/>
            <p:nvPr/>
          </p:nvSpPr>
          <p:spPr>
            <a:xfrm>
              <a:off x="-6354300" y="2757075"/>
              <a:ext cx="292225" cy="292225"/>
            </a:xfrm>
            <a:custGeom>
              <a:avLst/>
              <a:gdLst/>
              <a:ahLst/>
              <a:cxnLst/>
              <a:rect l="l" t="t" r="r" b="b"/>
              <a:pathLst>
                <a:path w="11689" h="11689" extrusionOk="0">
                  <a:moveTo>
                    <a:pt x="10681" y="4159"/>
                  </a:moveTo>
                  <a:cubicBezTo>
                    <a:pt x="10870" y="4159"/>
                    <a:pt x="11027" y="4316"/>
                    <a:pt x="11027" y="4505"/>
                  </a:cubicBezTo>
                  <a:lnTo>
                    <a:pt x="11027" y="4915"/>
                  </a:lnTo>
                  <a:cubicBezTo>
                    <a:pt x="10901" y="4883"/>
                    <a:pt x="10775" y="4883"/>
                    <a:pt x="10681" y="4883"/>
                  </a:cubicBezTo>
                  <a:lnTo>
                    <a:pt x="9609" y="4883"/>
                  </a:lnTo>
                  <a:lnTo>
                    <a:pt x="9609" y="4190"/>
                  </a:lnTo>
                  <a:lnTo>
                    <a:pt x="10681" y="4190"/>
                  </a:lnTo>
                  <a:lnTo>
                    <a:pt x="10681" y="4159"/>
                  </a:lnTo>
                  <a:close/>
                  <a:moveTo>
                    <a:pt x="2048" y="2773"/>
                  </a:moveTo>
                  <a:lnTo>
                    <a:pt x="2048" y="6207"/>
                  </a:lnTo>
                  <a:lnTo>
                    <a:pt x="662" y="6207"/>
                  </a:lnTo>
                  <a:lnTo>
                    <a:pt x="662" y="3151"/>
                  </a:lnTo>
                  <a:cubicBezTo>
                    <a:pt x="694" y="2930"/>
                    <a:pt x="851" y="2773"/>
                    <a:pt x="1009" y="2773"/>
                  </a:cubicBezTo>
                  <a:close/>
                  <a:moveTo>
                    <a:pt x="8885" y="693"/>
                  </a:moveTo>
                  <a:lnTo>
                    <a:pt x="8885" y="4883"/>
                  </a:lnTo>
                  <a:cubicBezTo>
                    <a:pt x="8538" y="4915"/>
                    <a:pt x="8223" y="5104"/>
                    <a:pt x="8066" y="5419"/>
                  </a:cubicBezTo>
                  <a:lnTo>
                    <a:pt x="7751" y="6049"/>
                  </a:lnTo>
                  <a:cubicBezTo>
                    <a:pt x="7719" y="6175"/>
                    <a:pt x="7593" y="6238"/>
                    <a:pt x="7436" y="6238"/>
                  </a:cubicBezTo>
                  <a:lnTo>
                    <a:pt x="2710" y="6238"/>
                  </a:lnTo>
                  <a:lnTo>
                    <a:pt x="2710" y="693"/>
                  </a:lnTo>
                  <a:close/>
                  <a:moveTo>
                    <a:pt x="10681" y="5513"/>
                  </a:moveTo>
                  <a:cubicBezTo>
                    <a:pt x="10870" y="5513"/>
                    <a:pt x="11027" y="5671"/>
                    <a:pt x="11027" y="5860"/>
                  </a:cubicBezTo>
                  <a:lnTo>
                    <a:pt x="11027" y="10649"/>
                  </a:lnTo>
                  <a:cubicBezTo>
                    <a:pt x="11027" y="10869"/>
                    <a:pt x="10870" y="11027"/>
                    <a:pt x="10681" y="11027"/>
                  </a:cubicBezTo>
                  <a:lnTo>
                    <a:pt x="1009" y="11027"/>
                  </a:lnTo>
                  <a:cubicBezTo>
                    <a:pt x="820" y="11027"/>
                    <a:pt x="662" y="10869"/>
                    <a:pt x="662" y="10649"/>
                  </a:cubicBezTo>
                  <a:lnTo>
                    <a:pt x="662" y="6868"/>
                  </a:lnTo>
                  <a:lnTo>
                    <a:pt x="7436" y="6868"/>
                  </a:lnTo>
                  <a:cubicBezTo>
                    <a:pt x="7845" y="6868"/>
                    <a:pt x="8192" y="6648"/>
                    <a:pt x="8349" y="6333"/>
                  </a:cubicBezTo>
                  <a:lnTo>
                    <a:pt x="8664" y="5703"/>
                  </a:lnTo>
                  <a:cubicBezTo>
                    <a:pt x="8696" y="5576"/>
                    <a:pt x="8822" y="5513"/>
                    <a:pt x="8979" y="5513"/>
                  </a:cubicBezTo>
                  <a:close/>
                  <a:moveTo>
                    <a:pt x="2395" y="0"/>
                  </a:moveTo>
                  <a:cubicBezTo>
                    <a:pt x="2206" y="0"/>
                    <a:pt x="2048" y="158"/>
                    <a:pt x="2048" y="347"/>
                  </a:cubicBezTo>
                  <a:lnTo>
                    <a:pt x="2048" y="2111"/>
                  </a:lnTo>
                  <a:lnTo>
                    <a:pt x="1009" y="2111"/>
                  </a:lnTo>
                  <a:cubicBezTo>
                    <a:pt x="473" y="2111"/>
                    <a:pt x="0" y="2584"/>
                    <a:pt x="0" y="3151"/>
                  </a:cubicBezTo>
                  <a:lnTo>
                    <a:pt x="0" y="10649"/>
                  </a:lnTo>
                  <a:cubicBezTo>
                    <a:pt x="0" y="11216"/>
                    <a:pt x="473" y="11688"/>
                    <a:pt x="1009" y="11688"/>
                  </a:cubicBezTo>
                  <a:lnTo>
                    <a:pt x="10618" y="11688"/>
                  </a:lnTo>
                  <a:cubicBezTo>
                    <a:pt x="11185" y="11688"/>
                    <a:pt x="11657" y="11216"/>
                    <a:pt x="11657" y="10649"/>
                  </a:cubicBezTo>
                  <a:lnTo>
                    <a:pt x="11657" y="4505"/>
                  </a:lnTo>
                  <a:cubicBezTo>
                    <a:pt x="11689" y="3938"/>
                    <a:pt x="11216" y="3466"/>
                    <a:pt x="10681" y="3466"/>
                  </a:cubicBezTo>
                  <a:lnTo>
                    <a:pt x="9609" y="3466"/>
                  </a:lnTo>
                  <a:lnTo>
                    <a:pt x="9609" y="347"/>
                  </a:lnTo>
                  <a:cubicBezTo>
                    <a:pt x="9609" y="158"/>
                    <a:pt x="9452" y="0"/>
                    <a:pt x="9263"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1231" name="Google Shape;11231;p115"/>
            <p:cNvSpPr/>
            <p:nvPr/>
          </p:nvSpPr>
          <p:spPr>
            <a:xfrm>
              <a:off x="-6268450" y="2790150"/>
              <a:ext cx="119750" cy="18125"/>
            </a:xfrm>
            <a:custGeom>
              <a:avLst/>
              <a:gdLst/>
              <a:ahLst/>
              <a:cxnLst/>
              <a:rect l="l" t="t" r="r" b="b"/>
              <a:pathLst>
                <a:path w="4790" h="725" extrusionOk="0">
                  <a:moveTo>
                    <a:pt x="347" y="0"/>
                  </a:moveTo>
                  <a:cubicBezTo>
                    <a:pt x="158" y="0"/>
                    <a:pt x="1" y="158"/>
                    <a:pt x="1" y="347"/>
                  </a:cubicBezTo>
                  <a:cubicBezTo>
                    <a:pt x="1" y="599"/>
                    <a:pt x="158" y="725"/>
                    <a:pt x="347" y="725"/>
                  </a:cubicBezTo>
                  <a:lnTo>
                    <a:pt x="4443" y="725"/>
                  </a:lnTo>
                  <a:cubicBezTo>
                    <a:pt x="4632" y="725"/>
                    <a:pt x="4789" y="567"/>
                    <a:pt x="4789" y="347"/>
                  </a:cubicBezTo>
                  <a:cubicBezTo>
                    <a:pt x="4789" y="158"/>
                    <a:pt x="4632" y="0"/>
                    <a:pt x="4443"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1232" name="Google Shape;11232;p115"/>
            <p:cNvSpPr/>
            <p:nvPr/>
          </p:nvSpPr>
          <p:spPr>
            <a:xfrm>
              <a:off x="-6268450" y="2825600"/>
              <a:ext cx="119750" cy="18125"/>
            </a:xfrm>
            <a:custGeom>
              <a:avLst/>
              <a:gdLst/>
              <a:ahLst/>
              <a:cxnLst/>
              <a:rect l="l" t="t" r="r" b="b"/>
              <a:pathLst>
                <a:path w="4790" h="725" extrusionOk="0">
                  <a:moveTo>
                    <a:pt x="347" y="0"/>
                  </a:moveTo>
                  <a:cubicBezTo>
                    <a:pt x="158" y="0"/>
                    <a:pt x="1" y="158"/>
                    <a:pt x="1" y="347"/>
                  </a:cubicBezTo>
                  <a:cubicBezTo>
                    <a:pt x="1" y="599"/>
                    <a:pt x="158" y="725"/>
                    <a:pt x="347" y="725"/>
                  </a:cubicBezTo>
                  <a:lnTo>
                    <a:pt x="4443" y="725"/>
                  </a:lnTo>
                  <a:cubicBezTo>
                    <a:pt x="4632" y="725"/>
                    <a:pt x="4789" y="567"/>
                    <a:pt x="4789" y="347"/>
                  </a:cubicBezTo>
                  <a:cubicBezTo>
                    <a:pt x="4789" y="158"/>
                    <a:pt x="4632" y="0"/>
                    <a:pt x="4443"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1233" name="Google Shape;11233;p115"/>
            <p:cNvSpPr/>
            <p:nvPr/>
          </p:nvSpPr>
          <p:spPr>
            <a:xfrm>
              <a:off x="-6268450" y="2860250"/>
              <a:ext cx="119750" cy="17350"/>
            </a:xfrm>
            <a:custGeom>
              <a:avLst/>
              <a:gdLst/>
              <a:ahLst/>
              <a:cxnLst/>
              <a:rect l="l" t="t" r="r" b="b"/>
              <a:pathLst>
                <a:path w="4790" h="694" extrusionOk="0">
                  <a:moveTo>
                    <a:pt x="347" y="0"/>
                  </a:moveTo>
                  <a:cubicBezTo>
                    <a:pt x="158" y="0"/>
                    <a:pt x="1" y="158"/>
                    <a:pt x="1" y="347"/>
                  </a:cubicBezTo>
                  <a:cubicBezTo>
                    <a:pt x="1" y="536"/>
                    <a:pt x="158" y="693"/>
                    <a:pt x="347" y="693"/>
                  </a:cubicBezTo>
                  <a:lnTo>
                    <a:pt x="4443" y="693"/>
                  </a:lnTo>
                  <a:cubicBezTo>
                    <a:pt x="4632" y="693"/>
                    <a:pt x="4789" y="536"/>
                    <a:pt x="4789" y="347"/>
                  </a:cubicBezTo>
                  <a:cubicBezTo>
                    <a:pt x="4789" y="158"/>
                    <a:pt x="4632" y="0"/>
                    <a:pt x="4443"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11234" name="Google Shape;11234;p115"/>
          <p:cNvGrpSpPr/>
          <p:nvPr/>
        </p:nvGrpSpPr>
        <p:grpSpPr>
          <a:xfrm>
            <a:off x="5457939" y="2172747"/>
            <a:ext cx="565584" cy="565584"/>
            <a:chOff x="-4573475" y="2045850"/>
            <a:chExt cx="293800" cy="293800"/>
          </a:xfrm>
        </p:grpSpPr>
        <p:sp>
          <p:nvSpPr>
            <p:cNvPr id="11235" name="Google Shape;11235;p115"/>
            <p:cNvSpPr/>
            <p:nvPr/>
          </p:nvSpPr>
          <p:spPr>
            <a:xfrm>
              <a:off x="-4573475" y="2045850"/>
              <a:ext cx="293800" cy="293800"/>
            </a:xfrm>
            <a:custGeom>
              <a:avLst/>
              <a:gdLst/>
              <a:ahLst/>
              <a:cxnLst/>
              <a:rect l="l" t="t" r="r" b="b"/>
              <a:pathLst>
                <a:path w="11752" h="11752" extrusionOk="0">
                  <a:moveTo>
                    <a:pt x="6333" y="756"/>
                  </a:moveTo>
                  <a:lnTo>
                    <a:pt x="6459" y="1292"/>
                  </a:lnTo>
                  <a:cubicBezTo>
                    <a:pt x="6490" y="1418"/>
                    <a:pt x="6585" y="1544"/>
                    <a:pt x="6742" y="1576"/>
                  </a:cubicBezTo>
                  <a:cubicBezTo>
                    <a:pt x="7372" y="1702"/>
                    <a:pt x="7908" y="1922"/>
                    <a:pt x="8444" y="2300"/>
                  </a:cubicBezTo>
                  <a:cubicBezTo>
                    <a:pt x="8491" y="2332"/>
                    <a:pt x="8546" y="2347"/>
                    <a:pt x="8605" y="2347"/>
                  </a:cubicBezTo>
                  <a:cubicBezTo>
                    <a:pt x="8664" y="2347"/>
                    <a:pt x="8727" y="2332"/>
                    <a:pt x="8790" y="2300"/>
                  </a:cubicBezTo>
                  <a:lnTo>
                    <a:pt x="9231" y="2017"/>
                  </a:lnTo>
                  <a:lnTo>
                    <a:pt x="9798" y="2584"/>
                  </a:lnTo>
                  <a:lnTo>
                    <a:pt x="9546" y="3025"/>
                  </a:lnTo>
                  <a:cubicBezTo>
                    <a:pt x="9452" y="3151"/>
                    <a:pt x="9452" y="3308"/>
                    <a:pt x="9546" y="3371"/>
                  </a:cubicBezTo>
                  <a:cubicBezTo>
                    <a:pt x="9893" y="3907"/>
                    <a:pt x="10113" y="4505"/>
                    <a:pt x="10239" y="5073"/>
                  </a:cubicBezTo>
                  <a:cubicBezTo>
                    <a:pt x="10271" y="5199"/>
                    <a:pt x="10365" y="5325"/>
                    <a:pt x="10523" y="5356"/>
                  </a:cubicBezTo>
                  <a:lnTo>
                    <a:pt x="11058" y="5482"/>
                  </a:lnTo>
                  <a:lnTo>
                    <a:pt x="11058" y="6301"/>
                  </a:lnTo>
                  <a:lnTo>
                    <a:pt x="10523" y="6427"/>
                  </a:lnTo>
                  <a:cubicBezTo>
                    <a:pt x="10397" y="6459"/>
                    <a:pt x="10271" y="6553"/>
                    <a:pt x="10239" y="6711"/>
                  </a:cubicBezTo>
                  <a:cubicBezTo>
                    <a:pt x="10113" y="7309"/>
                    <a:pt x="9893" y="7877"/>
                    <a:pt x="9546" y="8381"/>
                  </a:cubicBezTo>
                  <a:cubicBezTo>
                    <a:pt x="9452" y="8507"/>
                    <a:pt x="9452" y="8633"/>
                    <a:pt x="9546" y="8759"/>
                  </a:cubicBezTo>
                  <a:lnTo>
                    <a:pt x="9798" y="9168"/>
                  </a:lnTo>
                  <a:lnTo>
                    <a:pt x="9231" y="9767"/>
                  </a:lnTo>
                  <a:lnTo>
                    <a:pt x="8790" y="9483"/>
                  </a:lnTo>
                  <a:cubicBezTo>
                    <a:pt x="8727" y="9452"/>
                    <a:pt x="8656" y="9436"/>
                    <a:pt x="8593" y="9436"/>
                  </a:cubicBezTo>
                  <a:cubicBezTo>
                    <a:pt x="8530" y="9436"/>
                    <a:pt x="8475" y="9452"/>
                    <a:pt x="8444" y="9483"/>
                  </a:cubicBezTo>
                  <a:cubicBezTo>
                    <a:pt x="7908" y="9861"/>
                    <a:pt x="7341" y="10082"/>
                    <a:pt x="6742" y="10208"/>
                  </a:cubicBezTo>
                  <a:cubicBezTo>
                    <a:pt x="6616" y="10239"/>
                    <a:pt x="6490" y="10334"/>
                    <a:pt x="6459" y="10428"/>
                  </a:cubicBezTo>
                  <a:lnTo>
                    <a:pt x="6333" y="10964"/>
                  </a:lnTo>
                  <a:lnTo>
                    <a:pt x="5514" y="10964"/>
                  </a:lnTo>
                  <a:lnTo>
                    <a:pt x="5388" y="10428"/>
                  </a:lnTo>
                  <a:cubicBezTo>
                    <a:pt x="5356" y="10334"/>
                    <a:pt x="5230" y="10208"/>
                    <a:pt x="5136" y="10208"/>
                  </a:cubicBezTo>
                  <a:cubicBezTo>
                    <a:pt x="4505" y="10082"/>
                    <a:pt x="3938" y="9861"/>
                    <a:pt x="3434" y="9483"/>
                  </a:cubicBezTo>
                  <a:cubicBezTo>
                    <a:pt x="3371" y="9452"/>
                    <a:pt x="3308" y="9436"/>
                    <a:pt x="3249" y="9436"/>
                  </a:cubicBezTo>
                  <a:cubicBezTo>
                    <a:pt x="3190" y="9436"/>
                    <a:pt x="3135" y="9452"/>
                    <a:pt x="3088" y="9483"/>
                  </a:cubicBezTo>
                  <a:lnTo>
                    <a:pt x="2647" y="9767"/>
                  </a:lnTo>
                  <a:lnTo>
                    <a:pt x="2048" y="9168"/>
                  </a:lnTo>
                  <a:lnTo>
                    <a:pt x="2332" y="8759"/>
                  </a:lnTo>
                  <a:cubicBezTo>
                    <a:pt x="2395" y="8633"/>
                    <a:pt x="2395" y="8475"/>
                    <a:pt x="2332" y="8381"/>
                  </a:cubicBezTo>
                  <a:cubicBezTo>
                    <a:pt x="1985" y="7877"/>
                    <a:pt x="1733" y="7278"/>
                    <a:pt x="1607" y="6711"/>
                  </a:cubicBezTo>
                  <a:cubicBezTo>
                    <a:pt x="1575" y="6585"/>
                    <a:pt x="1512" y="6459"/>
                    <a:pt x="1386" y="6427"/>
                  </a:cubicBezTo>
                  <a:lnTo>
                    <a:pt x="882" y="6301"/>
                  </a:lnTo>
                  <a:lnTo>
                    <a:pt x="882" y="5482"/>
                  </a:lnTo>
                  <a:lnTo>
                    <a:pt x="1386" y="5356"/>
                  </a:lnTo>
                  <a:cubicBezTo>
                    <a:pt x="1512" y="5325"/>
                    <a:pt x="1607" y="5199"/>
                    <a:pt x="1607" y="5073"/>
                  </a:cubicBezTo>
                  <a:cubicBezTo>
                    <a:pt x="1733" y="4442"/>
                    <a:pt x="1985" y="3907"/>
                    <a:pt x="2332" y="3371"/>
                  </a:cubicBezTo>
                  <a:cubicBezTo>
                    <a:pt x="2395" y="3277"/>
                    <a:pt x="2395" y="3151"/>
                    <a:pt x="2332" y="3025"/>
                  </a:cubicBezTo>
                  <a:lnTo>
                    <a:pt x="2048" y="2584"/>
                  </a:lnTo>
                  <a:lnTo>
                    <a:pt x="2647" y="2017"/>
                  </a:lnTo>
                  <a:lnTo>
                    <a:pt x="3088" y="2300"/>
                  </a:lnTo>
                  <a:cubicBezTo>
                    <a:pt x="3135" y="2332"/>
                    <a:pt x="3198" y="2347"/>
                    <a:pt x="3261" y="2347"/>
                  </a:cubicBezTo>
                  <a:cubicBezTo>
                    <a:pt x="3324" y="2347"/>
                    <a:pt x="3387" y="2332"/>
                    <a:pt x="3434" y="2300"/>
                  </a:cubicBezTo>
                  <a:cubicBezTo>
                    <a:pt x="3938" y="1922"/>
                    <a:pt x="4537" y="1702"/>
                    <a:pt x="5136" y="1576"/>
                  </a:cubicBezTo>
                  <a:cubicBezTo>
                    <a:pt x="5230" y="1544"/>
                    <a:pt x="5356" y="1450"/>
                    <a:pt x="5388" y="1292"/>
                  </a:cubicBezTo>
                  <a:lnTo>
                    <a:pt x="5514" y="756"/>
                  </a:lnTo>
                  <a:close/>
                  <a:moveTo>
                    <a:pt x="5167" y="0"/>
                  </a:moveTo>
                  <a:cubicBezTo>
                    <a:pt x="5009" y="0"/>
                    <a:pt x="4852" y="126"/>
                    <a:pt x="4852" y="284"/>
                  </a:cubicBezTo>
                  <a:lnTo>
                    <a:pt x="4694" y="882"/>
                  </a:lnTo>
                  <a:cubicBezTo>
                    <a:pt x="4127" y="977"/>
                    <a:pt x="3623" y="1229"/>
                    <a:pt x="3119" y="1513"/>
                  </a:cubicBezTo>
                  <a:lnTo>
                    <a:pt x="2615" y="1197"/>
                  </a:lnTo>
                  <a:cubicBezTo>
                    <a:pt x="2557" y="1154"/>
                    <a:pt x="2485" y="1130"/>
                    <a:pt x="2412" y="1130"/>
                  </a:cubicBezTo>
                  <a:cubicBezTo>
                    <a:pt x="2327" y="1130"/>
                    <a:pt x="2242" y="1161"/>
                    <a:pt x="2174" y="1229"/>
                  </a:cubicBezTo>
                  <a:lnTo>
                    <a:pt x="1197" y="2206"/>
                  </a:lnTo>
                  <a:cubicBezTo>
                    <a:pt x="1071" y="2332"/>
                    <a:pt x="1071" y="2489"/>
                    <a:pt x="1134" y="2647"/>
                  </a:cubicBezTo>
                  <a:lnTo>
                    <a:pt x="1449" y="3151"/>
                  </a:lnTo>
                  <a:cubicBezTo>
                    <a:pt x="1134" y="3623"/>
                    <a:pt x="945" y="4159"/>
                    <a:pt x="819" y="4726"/>
                  </a:cubicBezTo>
                  <a:lnTo>
                    <a:pt x="284" y="4884"/>
                  </a:lnTo>
                  <a:cubicBezTo>
                    <a:pt x="126" y="4915"/>
                    <a:pt x="0" y="5041"/>
                    <a:pt x="0" y="5199"/>
                  </a:cubicBezTo>
                  <a:lnTo>
                    <a:pt x="0" y="6585"/>
                  </a:lnTo>
                  <a:cubicBezTo>
                    <a:pt x="0" y="6742"/>
                    <a:pt x="126" y="6868"/>
                    <a:pt x="284" y="6900"/>
                  </a:cubicBezTo>
                  <a:lnTo>
                    <a:pt x="819" y="7057"/>
                  </a:lnTo>
                  <a:cubicBezTo>
                    <a:pt x="945" y="7593"/>
                    <a:pt x="1197" y="8129"/>
                    <a:pt x="1449" y="8633"/>
                  </a:cubicBezTo>
                  <a:lnTo>
                    <a:pt x="1134" y="9137"/>
                  </a:lnTo>
                  <a:cubicBezTo>
                    <a:pt x="1071" y="9263"/>
                    <a:pt x="1071" y="9452"/>
                    <a:pt x="1197" y="9578"/>
                  </a:cubicBezTo>
                  <a:lnTo>
                    <a:pt x="2174" y="10554"/>
                  </a:lnTo>
                  <a:cubicBezTo>
                    <a:pt x="2242" y="10622"/>
                    <a:pt x="2318" y="10653"/>
                    <a:pt x="2399" y="10653"/>
                  </a:cubicBezTo>
                  <a:cubicBezTo>
                    <a:pt x="2469" y="10653"/>
                    <a:pt x="2542" y="10630"/>
                    <a:pt x="2615" y="10586"/>
                  </a:cubicBezTo>
                  <a:lnTo>
                    <a:pt x="3119" y="10271"/>
                  </a:lnTo>
                  <a:cubicBezTo>
                    <a:pt x="3592" y="10586"/>
                    <a:pt x="4127" y="10806"/>
                    <a:pt x="4694" y="10901"/>
                  </a:cubicBezTo>
                  <a:lnTo>
                    <a:pt x="4852" y="11468"/>
                  </a:lnTo>
                  <a:cubicBezTo>
                    <a:pt x="4883" y="11626"/>
                    <a:pt x="5009" y="11752"/>
                    <a:pt x="5167" y="11752"/>
                  </a:cubicBezTo>
                  <a:lnTo>
                    <a:pt x="6553" y="11752"/>
                  </a:lnTo>
                  <a:cubicBezTo>
                    <a:pt x="6711" y="11752"/>
                    <a:pt x="6805" y="11626"/>
                    <a:pt x="6868" y="11468"/>
                  </a:cubicBezTo>
                  <a:lnTo>
                    <a:pt x="7026" y="10901"/>
                  </a:lnTo>
                  <a:cubicBezTo>
                    <a:pt x="7561" y="10806"/>
                    <a:pt x="8065" y="10554"/>
                    <a:pt x="8601" y="10271"/>
                  </a:cubicBezTo>
                  <a:lnTo>
                    <a:pt x="9105" y="10586"/>
                  </a:lnTo>
                  <a:cubicBezTo>
                    <a:pt x="9164" y="10630"/>
                    <a:pt x="9236" y="10653"/>
                    <a:pt x="9309" y="10653"/>
                  </a:cubicBezTo>
                  <a:cubicBezTo>
                    <a:pt x="9393" y="10653"/>
                    <a:pt x="9479" y="10622"/>
                    <a:pt x="9546" y="10554"/>
                  </a:cubicBezTo>
                  <a:lnTo>
                    <a:pt x="10523" y="9578"/>
                  </a:lnTo>
                  <a:cubicBezTo>
                    <a:pt x="10649" y="9452"/>
                    <a:pt x="10649" y="9294"/>
                    <a:pt x="10554" y="9137"/>
                  </a:cubicBezTo>
                  <a:lnTo>
                    <a:pt x="10239" y="8633"/>
                  </a:lnTo>
                  <a:cubicBezTo>
                    <a:pt x="10554" y="8160"/>
                    <a:pt x="10743" y="7656"/>
                    <a:pt x="10869" y="7057"/>
                  </a:cubicBezTo>
                  <a:lnTo>
                    <a:pt x="11468" y="6900"/>
                  </a:lnTo>
                  <a:cubicBezTo>
                    <a:pt x="11626" y="6868"/>
                    <a:pt x="11752" y="6742"/>
                    <a:pt x="11752" y="6585"/>
                  </a:cubicBezTo>
                  <a:lnTo>
                    <a:pt x="11752" y="5199"/>
                  </a:lnTo>
                  <a:cubicBezTo>
                    <a:pt x="11752" y="5041"/>
                    <a:pt x="11626" y="4915"/>
                    <a:pt x="11468" y="4884"/>
                  </a:cubicBezTo>
                  <a:lnTo>
                    <a:pt x="10869" y="4726"/>
                  </a:lnTo>
                  <a:cubicBezTo>
                    <a:pt x="10743" y="4159"/>
                    <a:pt x="10523" y="3655"/>
                    <a:pt x="10239" y="3151"/>
                  </a:cubicBezTo>
                  <a:lnTo>
                    <a:pt x="10554" y="2647"/>
                  </a:lnTo>
                  <a:cubicBezTo>
                    <a:pt x="10649" y="2521"/>
                    <a:pt x="10649" y="2332"/>
                    <a:pt x="10523" y="2206"/>
                  </a:cubicBezTo>
                  <a:lnTo>
                    <a:pt x="9546" y="1229"/>
                  </a:lnTo>
                  <a:cubicBezTo>
                    <a:pt x="9479" y="1161"/>
                    <a:pt x="9402" y="1130"/>
                    <a:pt x="9321" y="1130"/>
                  </a:cubicBezTo>
                  <a:cubicBezTo>
                    <a:pt x="9251" y="1130"/>
                    <a:pt x="9178" y="1154"/>
                    <a:pt x="9105" y="1197"/>
                  </a:cubicBezTo>
                  <a:lnTo>
                    <a:pt x="8601" y="1513"/>
                  </a:lnTo>
                  <a:cubicBezTo>
                    <a:pt x="8128" y="1197"/>
                    <a:pt x="7593" y="977"/>
                    <a:pt x="7026" y="882"/>
                  </a:cubicBezTo>
                  <a:lnTo>
                    <a:pt x="6868" y="284"/>
                  </a:lnTo>
                  <a:cubicBezTo>
                    <a:pt x="6805" y="126"/>
                    <a:pt x="6711" y="0"/>
                    <a:pt x="6553"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1236" name="Google Shape;11236;p115"/>
            <p:cNvSpPr/>
            <p:nvPr/>
          </p:nvSpPr>
          <p:spPr>
            <a:xfrm>
              <a:off x="-4521500" y="2099400"/>
              <a:ext cx="189050" cy="188275"/>
            </a:xfrm>
            <a:custGeom>
              <a:avLst/>
              <a:gdLst/>
              <a:ahLst/>
              <a:cxnLst/>
              <a:rect l="l" t="t" r="r" b="b"/>
              <a:pathLst>
                <a:path w="7562" h="7531" extrusionOk="0">
                  <a:moveTo>
                    <a:pt x="3750" y="662"/>
                  </a:moveTo>
                  <a:cubicBezTo>
                    <a:pt x="5451" y="662"/>
                    <a:pt x="6837" y="2017"/>
                    <a:pt x="6837" y="3718"/>
                  </a:cubicBezTo>
                  <a:cubicBezTo>
                    <a:pt x="6869" y="5104"/>
                    <a:pt x="6049" y="6239"/>
                    <a:pt x="4821" y="6648"/>
                  </a:cubicBezTo>
                  <a:lnTo>
                    <a:pt x="4821" y="5892"/>
                  </a:lnTo>
                  <a:cubicBezTo>
                    <a:pt x="5640" y="5514"/>
                    <a:pt x="6207" y="4663"/>
                    <a:pt x="6207" y="3718"/>
                  </a:cubicBezTo>
                  <a:cubicBezTo>
                    <a:pt x="6207" y="2710"/>
                    <a:pt x="5577" y="1796"/>
                    <a:pt x="4569" y="1481"/>
                  </a:cubicBezTo>
                  <a:cubicBezTo>
                    <a:pt x="4535" y="1472"/>
                    <a:pt x="4501" y="1467"/>
                    <a:pt x="4468" y="1467"/>
                  </a:cubicBezTo>
                  <a:cubicBezTo>
                    <a:pt x="4278" y="1467"/>
                    <a:pt x="4096" y="1609"/>
                    <a:pt x="4096" y="1796"/>
                  </a:cubicBezTo>
                  <a:lnTo>
                    <a:pt x="4096" y="3372"/>
                  </a:lnTo>
                  <a:lnTo>
                    <a:pt x="3435" y="3372"/>
                  </a:lnTo>
                  <a:lnTo>
                    <a:pt x="3435" y="1796"/>
                  </a:lnTo>
                  <a:cubicBezTo>
                    <a:pt x="3435" y="1609"/>
                    <a:pt x="3276" y="1467"/>
                    <a:pt x="3073" y="1467"/>
                  </a:cubicBezTo>
                  <a:cubicBezTo>
                    <a:pt x="3037" y="1467"/>
                    <a:pt x="3000" y="1472"/>
                    <a:pt x="2962" y="1481"/>
                  </a:cubicBezTo>
                  <a:cubicBezTo>
                    <a:pt x="2017" y="1828"/>
                    <a:pt x="1355" y="2742"/>
                    <a:pt x="1355" y="3718"/>
                  </a:cubicBezTo>
                  <a:cubicBezTo>
                    <a:pt x="1355" y="4663"/>
                    <a:pt x="1891" y="5514"/>
                    <a:pt x="2741" y="5892"/>
                  </a:cubicBezTo>
                  <a:lnTo>
                    <a:pt x="2741" y="6648"/>
                  </a:lnTo>
                  <a:cubicBezTo>
                    <a:pt x="1544" y="6207"/>
                    <a:pt x="694" y="5073"/>
                    <a:pt x="694" y="3718"/>
                  </a:cubicBezTo>
                  <a:cubicBezTo>
                    <a:pt x="694" y="2017"/>
                    <a:pt x="2048" y="662"/>
                    <a:pt x="3750" y="662"/>
                  </a:cubicBezTo>
                  <a:close/>
                  <a:moveTo>
                    <a:pt x="4852" y="2363"/>
                  </a:moveTo>
                  <a:cubicBezTo>
                    <a:pt x="5293" y="2679"/>
                    <a:pt x="5514" y="3183"/>
                    <a:pt x="5514" y="3718"/>
                  </a:cubicBezTo>
                  <a:cubicBezTo>
                    <a:pt x="5514" y="4443"/>
                    <a:pt x="5041" y="5104"/>
                    <a:pt x="4380" y="5356"/>
                  </a:cubicBezTo>
                  <a:cubicBezTo>
                    <a:pt x="4254" y="5388"/>
                    <a:pt x="4159" y="5545"/>
                    <a:pt x="4159" y="5671"/>
                  </a:cubicBezTo>
                  <a:lnTo>
                    <a:pt x="4159" y="6806"/>
                  </a:lnTo>
                  <a:lnTo>
                    <a:pt x="3781" y="6806"/>
                  </a:lnTo>
                  <a:cubicBezTo>
                    <a:pt x="3734" y="6821"/>
                    <a:pt x="3679" y="6829"/>
                    <a:pt x="3624" y="6829"/>
                  </a:cubicBezTo>
                  <a:cubicBezTo>
                    <a:pt x="3568" y="6829"/>
                    <a:pt x="3513" y="6821"/>
                    <a:pt x="3466" y="6806"/>
                  </a:cubicBezTo>
                  <a:lnTo>
                    <a:pt x="3466" y="5671"/>
                  </a:lnTo>
                  <a:cubicBezTo>
                    <a:pt x="3466" y="5514"/>
                    <a:pt x="3403" y="5388"/>
                    <a:pt x="3246" y="5356"/>
                  </a:cubicBezTo>
                  <a:cubicBezTo>
                    <a:pt x="2584" y="5104"/>
                    <a:pt x="2111" y="4443"/>
                    <a:pt x="2111" y="3718"/>
                  </a:cubicBezTo>
                  <a:cubicBezTo>
                    <a:pt x="2111" y="3183"/>
                    <a:pt x="2363" y="2679"/>
                    <a:pt x="2773" y="2363"/>
                  </a:cubicBezTo>
                  <a:lnTo>
                    <a:pt x="2773" y="3718"/>
                  </a:lnTo>
                  <a:cubicBezTo>
                    <a:pt x="2773" y="3939"/>
                    <a:pt x="2930" y="4096"/>
                    <a:pt x="3120" y="4096"/>
                  </a:cubicBezTo>
                  <a:lnTo>
                    <a:pt x="4506" y="4096"/>
                  </a:lnTo>
                  <a:cubicBezTo>
                    <a:pt x="4695" y="4096"/>
                    <a:pt x="4852" y="3939"/>
                    <a:pt x="4852" y="3718"/>
                  </a:cubicBezTo>
                  <a:lnTo>
                    <a:pt x="4852" y="2363"/>
                  </a:lnTo>
                  <a:close/>
                  <a:moveTo>
                    <a:pt x="3781" y="1"/>
                  </a:moveTo>
                  <a:cubicBezTo>
                    <a:pt x="1702" y="1"/>
                    <a:pt x="1" y="1670"/>
                    <a:pt x="1" y="3781"/>
                  </a:cubicBezTo>
                  <a:cubicBezTo>
                    <a:pt x="1" y="5861"/>
                    <a:pt x="1702" y="7530"/>
                    <a:pt x="3781" y="7530"/>
                  </a:cubicBezTo>
                  <a:cubicBezTo>
                    <a:pt x="5892" y="7530"/>
                    <a:pt x="7562" y="5861"/>
                    <a:pt x="7562" y="3781"/>
                  </a:cubicBezTo>
                  <a:cubicBezTo>
                    <a:pt x="7562" y="1670"/>
                    <a:pt x="5892" y="1"/>
                    <a:pt x="3781"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11237" name="Google Shape;11237;p115"/>
          <p:cNvGrpSpPr/>
          <p:nvPr/>
        </p:nvGrpSpPr>
        <p:grpSpPr>
          <a:xfrm>
            <a:off x="5457170" y="2851600"/>
            <a:ext cx="567124" cy="565633"/>
            <a:chOff x="-4570325" y="2405775"/>
            <a:chExt cx="294600" cy="293825"/>
          </a:xfrm>
        </p:grpSpPr>
        <p:sp>
          <p:nvSpPr>
            <p:cNvPr id="11238" name="Google Shape;11238;p115"/>
            <p:cNvSpPr/>
            <p:nvPr/>
          </p:nvSpPr>
          <p:spPr>
            <a:xfrm>
              <a:off x="-4570325" y="2405775"/>
              <a:ext cx="294600" cy="293825"/>
            </a:xfrm>
            <a:custGeom>
              <a:avLst/>
              <a:gdLst/>
              <a:ahLst/>
              <a:cxnLst/>
              <a:rect l="l" t="t" r="r" b="b"/>
              <a:pathLst>
                <a:path w="11784" h="11753" extrusionOk="0">
                  <a:moveTo>
                    <a:pt x="5734" y="694"/>
                  </a:moveTo>
                  <a:cubicBezTo>
                    <a:pt x="7624" y="694"/>
                    <a:pt x="9168" y="2238"/>
                    <a:pt x="9168" y="4128"/>
                  </a:cubicBezTo>
                  <a:cubicBezTo>
                    <a:pt x="9168" y="6050"/>
                    <a:pt x="7624" y="7594"/>
                    <a:pt x="5734" y="7594"/>
                  </a:cubicBezTo>
                  <a:cubicBezTo>
                    <a:pt x="3844" y="7594"/>
                    <a:pt x="2332" y="6018"/>
                    <a:pt x="2332" y="4128"/>
                  </a:cubicBezTo>
                  <a:cubicBezTo>
                    <a:pt x="2332" y="2238"/>
                    <a:pt x="3844" y="694"/>
                    <a:pt x="5734" y="694"/>
                  </a:cubicBezTo>
                  <a:close/>
                  <a:moveTo>
                    <a:pt x="977" y="7531"/>
                  </a:moveTo>
                  <a:cubicBezTo>
                    <a:pt x="1166" y="7531"/>
                    <a:pt x="1323" y="7688"/>
                    <a:pt x="1323" y="7909"/>
                  </a:cubicBezTo>
                  <a:cubicBezTo>
                    <a:pt x="1292" y="8129"/>
                    <a:pt x="1134" y="8255"/>
                    <a:pt x="977" y="8255"/>
                  </a:cubicBezTo>
                  <a:cubicBezTo>
                    <a:pt x="788" y="8255"/>
                    <a:pt x="630" y="8098"/>
                    <a:pt x="630" y="7909"/>
                  </a:cubicBezTo>
                  <a:cubicBezTo>
                    <a:pt x="630" y="7688"/>
                    <a:pt x="788" y="7531"/>
                    <a:pt x="977" y="7531"/>
                  </a:cubicBezTo>
                  <a:close/>
                  <a:moveTo>
                    <a:pt x="10586" y="7531"/>
                  </a:moveTo>
                  <a:cubicBezTo>
                    <a:pt x="10775" y="7531"/>
                    <a:pt x="10932" y="7688"/>
                    <a:pt x="10932" y="7909"/>
                  </a:cubicBezTo>
                  <a:cubicBezTo>
                    <a:pt x="10932" y="8129"/>
                    <a:pt x="10775" y="8255"/>
                    <a:pt x="10586" y="8255"/>
                  </a:cubicBezTo>
                  <a:cubicBezTo>
                    <a:pt x="10397" y="8255"/>
                    <a:pt x="10239" y="8098"/>
                    <a:pt x="10239" y="7909"/>
                  </a:cubicBezTo>
                  <a:cubicBezTo>
                    <a:pt x="10239" y="7688"/>
                    <a:pt x="10397" y="7531"/>
                    <a:pt x="10586" y="7531"/>
                  </a:cubicBezTo>
                  <a:close/>
                  <a:moveTo>
                    <a:pt x="3025" y="9641"/>
                  </a:moveTo>
                  <a:cubicBezTo>
                    <a:pt x="3214" y="9641"/>
                    <a:pt x="3371" y="9799"/>
                    <a:pt x="3371" y="9988"/>
                  </a:cubicBezTo>
                  <a:cubicBezTo>
                    <a:pt x="3340" y="10177"/>
                    <a:pt x="3214" y="10335"/>
                    <a:pt x="3025" y="10335"/>
                  </a:cubicBezTo>
                  <a:cubicBezTo>
                    <a:pt x="2836" y="10335"/>
                    <a:pt x="2678" y="10177"/>
                    <a:pt x="2678" y="9988"/>
                  </a:cubicBezTo>
                  <a:cubicBezTo>
                    <a:pt x="2678" y="9799"/>
                    <a:pt x="2836" y="9641"/>
                    <a:pt x="3025" y="9641"/>
                  </a:cubicBezTo>
                  <a:close/>
                  <a:moveTo>
                    <a:pt x="8475" y="9641"/>
                  </a:moveTo>
                  <a:cubicBezTo>
                    <a:pt x="8696" y="9641"/>
                    <a:pt x="8822" y="9799"/>
                    <a:pt x="8822" y="9988"/>
                  </a:cubicBezTo>
                  <a:cubicBezTo>
                    <a:pt x="8822" y="10177"/>
                    <a:pt x="8664" y="10335"/>
                    <a:pt x="8475" y="10335"/>
                  </a:cubicBezTo>
                  <a:cubicBezTo>
                    <a:pt x="8255" y="10335"/>
                    <a:pt x="8128" y="10177"/>
                    <a:pt x="8128" y="9988"/>
                  </a:cubicBezTo>
                  <a:cubicBezTo>
                    <a:pt x="8128" y="9799"/>
                    <a:pt x="8255" y="9641"/>
                    <a:pt x="8475" y="9641"/>
                  </a:cubicBezTo>
                  <a:close/>
                  <a:moveTo>
                    <a:pt x="5734" y="10303"/>
                  </a:moveTo>
                  <a:cubicBezTo>
                    <a:pt x="5955" y="10303"/>
                    <a:pt x="6112" y="10461"/>
                    <a:pt x="6112" y="10650"/>
                  </a:cubicBezTo>
                  <a:cubicBezTo>
                    <a:pt x="6112" y="10839"/>
                    <a:pt x="5955" y="10996"/>
                    <a:pt x="5734" y="10996"/>
                  </a:cubicBezTo>
                  <a:cubicBezTo>
                    <a:pt x="5545" y="10996"/>
                    <a:pt x="5388" y="10839"/>
                    <a:pt x="5388" y="10650"/>
                  </a:cubicBezTo>
                  <a:cubicBezTo>
                    <a:pt x="5388" y="10461"/>
                    <a:pt x="5545" y="10303"/>
                    <a:pt x="5734" y="10303"/>
                  </a:cubicBezTo>
                  <a:close/>
                  <a:moveTo>
                    <a:pt x="5797" y="1"/>
                  </a:moveTo>
                  <a:cubicBezTo>
                    <a:pt x="3497" y="1"/>
                    <a:pt x="1701" y="1860"/>
                    <a:pt x="1701" y="4097"/>
                  </a:cubicBezTo>
                  <a:cubicBezTo>
                    <a:pt x="1701" y="5010"/>
                    <a:pt x="2017" y="5924"/>
                    <a:pt x="2552" y="6617"/>
                  </a:cubicBezTo>
                  <a:lnTo>
                    <a:pt x="1701" y="7153"/>
                  </a:lnTo>
                  <a:cubicBezTo>
                    <a:pt x="1481" y="6995"/>
                    <a:pt x="1260" y="6901"/>
                    <a:pt x="1040" y="6901"/>
                  </a:cubicBezTo>
                  <a:cubicBezTo>
                    <a:pt x="473" y="6901"/>
                    <a:pt x="0" y="7373"/>
                    <a:pt x="0" y="7940"/>
                  </a:cubicBezTo>
                  <a:cubicBezTo>
                    <a:pt x="0" y="8476"/>
                    <a:pt x="473" y="8948"/>
                    <a:pt x="1040" y="8948"/>
                  </a:cubicBezTo>
                  <a:cubicBezTo>
                    <a:pt x="1575" y="8948"/>
                    <a:pt x="2048" y="8476"/>
                    <a:pt x="2048" y="7940"/>
                  </a:cubicBezTo>
                  <a:lnTo>
                    <a:pt x="2048" y="7751"/>
                  </a:lnTo>
                  <a:lnTo>
                    <a:pt x="3088" y="7153"/>
                  </a:lnTo>
                  <a:cubicBezTo>
                    <a:pt x="3340" y="7373"/>
                    <a:pt x="3623" y="7625"/>
                    <a:pt x="3970" y="7783"/>
                  </a:cubicBezTo>
                  <a:lnTo>
                    <a:pt x="3308" y="8948"/>
                  </a:lnTo>
                  <a:lnTo>
                    <a:pt x="3119" y="8948"/>
                  </a:lnTo>
                  <a:cubicBezTo>
                    <a:pt x="2552" y="8948"/>
                    <a:pt x="2080" y="9421"/>
                    <a:pt x="2080" y="9988"/>
                  </a:cubicBezTo>
                  <a:cubicBezTo>
                    <a:pt x="2080" y="10524"/>
                    <a:pt x="2552" y="10996"/>
                    <a:pt x="3119" y="10996"/>
                  </a:cubicBezTo>
                  <a:cubicBezTo>
                    <a:pt x="3655" y="10996"/>
                    <a:pt x="4127" y="10524"/>
                    <a:pt x="4127" y="9988"/>
                  </a:cubicBezTo>
                  <a:cubicBezTo>
                    <a:pt x="4127" y="9736"/>
                    <a:pt x="4064" y="9515"/>
                    <a:pt x="3907" y="9326"/>
                  </a:cubicBezTo>
                  <a:lnTo>
                    <a:pt x="4600" y="8098"/>
                  </a:lnTo>
                  <a:cubicBezTo>
                    <a:pt x="4883" y="8161"/>
                    <a:pt x="5199" y="8255"/>
                    <a:pt x="5514" y="8287"/>
                  </a:cubicBezTo>
                  <a:lnTo>
                    <a:pt x="5514" y="9736"/>
                  </a:lnTo>
                  <a:cubicBezTo>
                    <a:pt x="5136" y="9894"/>
                    <a:pt x="4852" y="10272"/>
                    <a:pt x="4852" y="10713"/>
                  </a:cubicBezTo>
                  <a:cubicBezTo>
                    <a:pt x="4852" y="11280"/>
                    <a:pt x="5325" y="11752"/>
                    <a:pt x="5860" y="11752"/>
                  </a:cubicBezTo>
                  <a:cubicBezTo>
                    <a:pt x="6427" y="11752"/>
                    <a:pt x="6900" y="11280"/>
                    <a:pt x="6900" y="10713"/>
                  </a:cubicBezTo>
                  <a:cubicBezTo>
                    <a:pt x="6900" y="10303"/>
                    <a:pt x="6616" y="9894"/>
                    <a:pt x="6238" y="9736"/>
                  </a:cubicBezTo>
                  <a:lnTo>
                    <a:pt x="6238" y="8287"/>
                  </a:lnTo>
                  <a:cubicBezTo>
                    <a:pt x="6553" y="8255"/>
                    <a:pt x="6868" y="8224"/>
                    <a:pt x="7120" y="8098"/>
                  </a:cubicBezTo>
                  <a:lnTo>
                    <a:pt x="7845" y="9326"/>
                  </a:lnTo>
                  <a:cubicBezTo>
                    <a:pt x="7687" y="9515"/>
                    <a:pt x="7593" y="9736"/>
                    <a:pt x="7593" y="9988"/>
                  </a:cubicBezTo>
                  <a:cubicBezTo>
                    <a:pt x="7593" y="10524"/>
                    <a:pt x="8065" y="10996"/>
                    <a:pt x="8633" y="10996"/>
                  </a:cubicBezTo>
                  <a:cubicBezTo>
                    <a:pt x="9168" y="10996"/>
                    <a:pt x="9641" y="10524"/>
                    <a:pt x="9641" y="9988"/>
                  </a:cubicBezTo>
                  <a:cubicBezTo>
                    <a:pt x="9641" y="9421"/>
                    <a:pt x="9168" y="8948"/>
                    <a:pt x="8633" y="8948"/>
                  </a:cubicBezTo>
                  <a:lnTo>
                    <a:pt x="8444" y="8948"/>
                  </a:lnTo>
                  <a:lnTo>
                    <a:pt x="7750" y="7783"/>
                  </a:lnTo>
                  <a:cubicBezTo>
                    <a:pt x="8065" y="7625"/>
                    <a:pt x="8381" y="7373"/>
                    <a:pt x="8664" y="7153"/>
                  </a:cubicBezTo>
                  <a:lnTo>
                    <a:pt x="9735" y="7751"/>
                  </a:lnTo>
                  <a:lnTo>
                    <a:pt x="9735" y="7940"/>
                  </a:lnTo>
                  <a:cubicBezTo>
                    <a:pt x="9735" y="8476"/>
                    <a:pt x="10208" y="8948"/>
                    <a:pt x="10743" y="8948"/>
                  </a:cubicBezTo>
                  <a:cubicBezTo>
                    <a:pt x="11310" y="8948"/>
                    <a:pt x="11783" y="8476"/>
                    <a:pt x="11783" y="7940"/>
                  </a:cubicBezTo>
                  <a:cubicBezTo>
                    <a:pt x="11626" y="7342"/>
                    <a:pt x="11153" y="6901"/>
                    <a:pt x="10586" y="6901"/>
                  </a:cubicBezTo>
                  <a:cubicBezTo>
                    <a:pt x="10302" y="6901"/>
                    <a:pt x="10082" y="6995"/>
                    <a:pt x="9924" y="7153"/>
                  </a:cubicBezTo>
                  <a:lnTo>
                    <a:pt x="9011" y="6617"/>
                  </a:lnTo>
                  <a:cubicBezTo>
                    <a:pt x="9578" y="5924"/>
                    <a:pt x="9893" y="5010"/>
                    <a:pt x="9893" y="4097"/>
                  </a:cubicBezTo>
                  <a:cubicBezTo>
                    <a:pt x="9893" y="1828"/>
                    <a:pt x="8034" y="1"/>
                    <a:pt x="5797"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1239" name="Google Shape;11239;p115"/>
            <p:cNvSpPr/>
            <p:nvPr/>
          </p:nvSpPr>
          <p:spPr>
            <a:xfrm>
              <a:off x="-4478175" y="2439650"/>
              <a:ext cx="103975" cy="120525"/>
            </a:xfrm>
            <a:custGeom>
              <a:avLst/>
              <a:gdLst/>
              <a:ahLst/>
              <a:cxnLst/>
              <a:rect l="l" t="t" r="r" b="b"/>
              <a:pathLst>
                <a:path w="4159" h="4821" extrusionOk="0">
                  <a:moveTo>
                    <a:pt x="2048" y="725"/>
                  </a:moveTo>
                  <a:cubicBezTo>
                    <a:pt x="2458" y="725"/>
                    <a:pt x="2741" y="1040"/>
                    <a:pt x="2741" y="1387"/>
                  </a:cubicBezTo>
                  <a:cubicBezTo>
                    <a:pt x="2741" y="1765"/>
                    <a:pt x="2426" y="2049"/>
                    <a:pt x="2048" y="2049"/>
                  </a:cubicBezTo>
                  <a:cubicBezTo>
                    <a:pt x="1702" y="2049"/>
                    <a:pt x="1387" y="1733"/>
                    <a:pt x="1387" y="1387"/>
                  </a:cubicBezTo>
                  <a:cubicBezTo>
                    <a:pt x="1387" y="1040"/>
                    <a:pt x="1702" y="725"/>
                    <a:pt x="2048" y="725"/>
                  </a:cubicBezTo>
                  <a:close/>
                  <a:moveTo>
                    <a:pt x="2363" y="2773"/>
                  </a:moveTo>
                  <a:cubicBezTo>
                    <a:pt x="2930" y="2773"/>
                    <a:pt x="3403" y="3246"/>
                    <a:pt x="3403" y="3781"/>
                  </a:cubicBezTo>
                  <a:lnTo>
                    <a:pt x="3403" y="4128"/>
                  </a:lnTo>
                  <a:lnTo>
                    <a:pt x="630" y="4128"/>
                  </a:lnTo>
                  <a:lnTo>
                    <a:pt x="630" y="3781"/>
                  </a:lnTo>
                  <a:lnTo>
                    <a:pt x="693" y="3781"/>
                  </a:lnTo>
                  <a:cubicBezTo>
                    <a:pt x="693" y="3246"/>
                    <a:pt x="1166" y="2773"/>
                    <a:pt x="1702" y="2773"/>
                  </a:cubicBezTo>
                  <a:close/>
                  <a:moveTo>
                    <a:pt x="2111" y="1"/>
                  </a:moveTo>
                  <a:cubicBezTo>
                    <a:pt x="1355" y="1"/>
                    <a:pt x="725" y="631"/>
                    <a:pt x="725" y="1387"/>
                  </a:cubicBezTo>
                  <a:cubicBezTo>
                    <a:pt x="725" y="1702"/>
                    <a:pt x="851" y="2017"/>
                    <a:pt x="1040" y="2238"/>
                  </a:cubicBezTo>
                  <a:cubicBezTo>
                    <a:pt x="441" y="2521"/>
                    <a:pt x="63" y="3120"/>
                    <a:pt x="63" y="3781"/>
                  </a:cubicBezTo>
                  <a:lnTo>
                    <a:pt x="63" y="4443"/>
                  </a:lnTo>
                  <a:cubicBezTo>
                    <a:pt x="0" y="4663"/>
                    <a:pt x="158" y="4821"/>
                    <a:pt x="378" y="4821"/>
                  </a:cubicBezTo>
                  <a:lnTo>
                    <a:pt x="3781" y="4821"/>
                  </a:lnTo>
                  <a:cubicBezTo>
                    <a:pt x="4001" y="4821"/>
                    <a:pt x="4159" y="4663"/>
                    <a:pt x="4159" y="4443"/>
                  </a:cubicBezTo>
                  <a:lnTo>
                    <a:pt x="4159" y="3781"/>
                  </a:lnTo>
                  <a:cubicBezTo>
                    <a:pt x="4159" y="3120"/>
                    <a:pt x="3749" y="2521"/>
                    <a:pt x="3151" y="2238"/>
                  </a:cubicBezTo>
                  <a:cubicBezTo>
                    <a:pt x="3371" y="2017"/>
                    <a:pt x="3466" y="1733"/>
                    <a:pt x="3466" y="1387"/>
                  </a:cubicBezTo>
                  <a:cubicBezTo>
                    <a:pt x="3466" y="631"/>
                    <a:pt x="2836" y="1"/>
                    <a:pt x="2111"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11240" name="Google Shape;11240;p115"/>
          <p:cNvGrpSpPr/>
          <p:nvPr/>
        </p:nvGrpSpPr>
        <p:grpSpPr>
          <a:xfrm>
            <a:off x="5474594" y="3546451"/>
            <a:ext cx="564092" cy="564044"/>
            <a:chOff x="-4572700" y="2764950"/>
            <a:chExt cx="293025" cy="293000"/>
          </a:xfrm>
        </p:grpSpPr>
        <p:sp>
          <p:nvSpPr>
            <p:cNvPr id="11241" name="Google Shape;11241;p115"/>
            <p:cNvSpPr/>
            <p:nvPr/>
          </p:nvSpPr>
          <p:spPr>
            <a:xfrm>
              <a:off x="-4572700" y="2764950"/>
              <a:ext cx="293025" cy="293000"/>
            </a:xfrm>
            <a:custGeom>
              <a:avLst/>
              <a:gdLst/>
              <a:ahLst/>
              <a:cxnLst/>
              <a:rect l="l" t="t" r="r" b="b"/>
              <a:pathLst>
                <a:path w="11721" h="11720" extrusionOk="0">
                  <a:moveTo>
                    <a:pt x="10681" y="2048"/>
                  </a:moveTo>
                  <a:cubicBezTo>
                    <a:pt x="10870" y="2048"/>
                    <a:pt x="11027" y="2206"/>
                    <a:pt x="11027" y="2395"/>
                  </a:cubicBezTo>
                  <a:lnTo>
                    <a:pt x="11027" y="7246"/>
                  </a:lnTo>
                  <a:cubicBezTo>
                    <a:pt x="11027" y="7435"/>
                    <a:pt x="10870" y="7593"/>
                    <a:pt x="10681" y="7593"/>
                  </a:cubicBezTo>
                  <a:lnTo>
                    <a:pt x="1072" y="7593"/>
                  </a:lnTo>
                  <a:cubicBezTo>
                    <a:pt x="883" y="7593"/>
                    <a:pt x="725" y="7435"/>
                    <a:pt x="725" y="7246"/>
                  </a:cubicBezTo>
                  <a:lnTo>
                    <a:pt x="725" y="2395"/>
                  </a:lnTo>
                  <a:cubicBezTo>
                    <a:pt x="725" y="2206"/>
                    <a:pt x="883" y="2048"/>
                    <a:pt x="1072" y="2048"/>
                  </a:cubicBezTo>
                  <a:close/>
                  <a:moveTo>
                    <a:pt x="4821" y="8286"/>
                  </a:moveTo>
                  <a:lnTo>
                    <a:pt x="4821" y="8979"/>
                  </a:lnTo>
                  <a:lnTo>
                    <a:pt x="3435" y="8979"/>
                  </a:lnTo>
                  <a:lnTo>
                    <a:pt x="3435" y="8286"/>
                  </a:lnTo>
                  <a:close/>
                  <a:moveTo>
                    <a:pt x="8287" y="8286"/>
                  </a:moveTo>
                  <a:lnTo>
                    <a:pt x="8287" y="8979"/>
                  </a:lnTo>
                  <a:lnTo>
                    <a:pt x="6869" y="8979"/>
                  </a:lnTo>
                  <a:lnTo>
                    <a:pt x="6869" y="8286"/>
                  </a:lnTo>
                  <a:close/>
                  <a:moveTo>
                    <a:pt x="6207" y="8254"/>
                  </a:moveTo>
                  <a:lnTo>
                    <a:pt x="6207" y="11027"/>
                  </a:lnTo>
                  <a:lnTo>
                    <a:pt x="5514" y="11027"/>
                  </a:lnTo>
                  <a:lnTo>
                    <a:pt x="5514" y="8254"/>
                  </a:lnTo>
                  <a:close/>
                  <a:moveTo>
                    <a:pt x="1733" y="0"/>
                  </a:moveTo>
                  <a:cubicBezTo>
                    <a:pt x="1544" y="0"/>
                    <a:pt x="1387" y="158"/>
                    <a:pt x="1387" y="347"/>
                  </a:cubicBezTo>
                  <a:cubicBezTo>
                    <a:pt x="1387" y="536"/>
                    <a:pt x="1544" y="693"/>
                    <a:pt x="1733" y="693"/>
                  </a:cubicBezTo>
                  <a:lnTo>
                    <a:pt x="2112" y="693"/>
                  </a:lnTo>
                  <a:lnTo>
                    <a:pt x="2112" y="1355"/>
                  </a:lnTo>
                  <a:lnTo>
                    <a:pt x="1072" y="1355"/>
                  </a:lnTo>
                  <a:cubicBezTo>
                    <a:pt x="536" y="1355"/>
                    <a:pt x="64" y="1827"/>
                    <a:pt x="64" y="2395"/>
                  </a:cubicBezTo>
                  <a:lnTo>
                    <a:pt x="64" y="7246"/>
                  </a:lnTo>
                  <a:cubicBezTo>
                    <a:pt x="64" y="7782"/>
                    <a:pt x="536" y="8254"/>
                    <a:pt x="1072" y="8254"/>
                  </a:cubicBezTo>
                  <a:lnTo>
                    <a:pt x="2773" y="8254"/>
                  </a:lnTo>
                  <a:lnTo>
                    <a:pt x="2773" y="8916"/>
                  </a:lnTo>
                  <a:lnTo>
                    <a:pt x="1733" y="8916"/>
                  </a:lnTo>
                  <a:cubicBezTo>
                    <a:pt x="1544" y="8916"/>
                    <a:pt x="1387" y="9074"/>
                    <a:pt x="1387" y="9294"/>
                  </a:cubicBezTo>
                  <a:cubicBezTo>
                    <a:pt x="1387" y="9483"/>
                    <a:pt x="1544" y="9641"/>
                    <a:pt x="1733" y="9641"/>
                  </a:cubicBezTo>
                  <a:lnTo>
                    <a:pt x="4821" y="9641"/>
                  </a:lnTo>
                  <a:lnTo>
                    <a:pt x="4821" y="11027"/>
                  </a:lnTo>
                  <a:lnTo>
                    <a:pt x="379" y="11027"/>
                  </a:lnTo>
                  <a:cubicBezTo>
                    <a:pt x="158" y="11027"/>
                    <a:pt x="1" y="11184"/>
                    <a:pt x="1" y="11373"/>
                  </a:cubicBezTo>
                  <a:cubicBezTo>
                    <a:pt x="1" y="11562"/>
                    <a:pt x="158" y="11720"/>
                    <a:pt x="379" y="11720"/>
                  </a:cubicBezTo>
                  <a:lnTo>
                    <a:pt x="11342" y="11720"/>
                  </a:lnTo>
                  <a:cubicBezTo>
                    <a:pt x="11563" y="11720"/>
                    <a:pt x="11721" y="11562"/>
                    <a:pt x="11721" y="11373"/>
                  </a:cubicBezTo>
                  <a:cubicBezTo>
                    <a:pt x="11721" y="11184"/>
                    <a:pt x="11563" y="11027"/>
                    <a:pt x="11342" y="11027"/>
                  </a:cubicBezTo>
                  <a:lnTo>
                    <a:pt x="6869" y="11027"/>
                  </a:lnTo>
                  <a:lnTo>
                    <a:pt x="6869" y="9641"/>
                  </a:lnTo>
                  <a:lnTo>
                    <a:pt x="9988" y="9641"/>
                  </a:lnTo>
                  <a:cubicBezTo>
                    <a:pt x="10177" y="9641"/>
                    <a:pt x="10334" y="9483"/>
                    <a:pt x="10334" y="9294"/>
                  </a:cubicBezTo>
                  <a:cubicBezTo>
                    <a:pt x="10334" y="9074"/>
                    <a:pt x="10177" y="8916"/>
                    <a:pt x="9988" y="8916"/>
                  </a:cubicBezTo>
                  <a:lnTo>
                    <a:pt x="8948" y="8916"/>
                  </a:lnTo>
                  <a:lnTo>
                    <a:pt x="8948" y="8254"/>
                  </a:lnTo>
                  <a:lnTo>
                    <a:pt x="10681" y="8254"/>
                  </a:lnTo>
                  <a:cubicBezTo>
                    <a:pt x="11248" y="8254"/>
                    <a:pt x="11721" y="7782"/>
                    <a:pt x="11721" y="7246"/>
                  </a:cubicBezTo>
                  <a:lnTo>
                    <a:pt x="11721" y="2395"/>
                  </a:lnTo>
                  <a:cubicBezTo>
                    <a:pt x="11721" y="1827"/>
                    <a:pt x="11248" y="1355"/>
                    <a:pt x="10681" y="1355"/>
                  </a:cubicBezTo>
                  <a:lnTo>
                    <a:pt x="9673" y="1355"/>
                  </a:lnTo>
                  <a:lnTo>
                    <a:pt x="9673" y="693"/>
                  </a:lnTo>
                  <a:lnTo>
                    <a:pt x="10019" y="693"/>
                  </a:lnTo>
                  <a:cubicBezTo>
                    <a:pt x="10208" y="693"/>
                    <a:pt x="10366" y="536"/>
                    <a:pt x="10366" y="347"/>
                  </a:cubicBezTo>
                  <a:cubicBezTo>
                    <a:pt x="10366" y="158"/>
                    <a:pt x="10208" y="0"/>
                    <a:pt x="10019" y="0"/>
                  </a:cubicBezTo>
                  <a:lnTo>
                    <a:pt x="8633" y="0"/>
                  </a:lnTo>
                  <a:cubicBezTo>
                    <a:pt x="8444" y="0"/>
                    <a:pt x="8287" y="158"/>
                    <a:pt x="8287" y="347"/>
                  </a:cubicBezTo>
                  <a:cubicBezTo>
                    <a:pt x="8287" y="536"/>
                    <a:pt x="8444" y="693"/>
                    <a:pt x="8633" y="693"/>
                  </a:cubicBezTo>
                  <a:lnTo>
                    <a:pt x="8980" y="693"/>
                  </a:lnTo>
                  <a:lnTo>
                    <a:pt x="8980" y="1355"/>
                  </a:lnTo>
                  <a:lnTo>
                    <a:pt x="6207" y="1355"/>
                  </a:lnTo>
                  <a:lnTo>
                    <a:pt x="6207" y="693"/>
                  </a:lnTo>
                  <a:lnTo>
                    <a:pt x="6554" y="693"/>
                  </a:lnTo>
                  <a:cubicBezTo>
                    <a:pt x="6743" y="693"/>
                    <a:pt x="6900" y="536"/>
                    <a:pt x="6900" y="347"/>
                  </a:cubicBezTo>
                  <a:cubicBezTo>
                    <a:pt x="6900" y="158"/>
                    <a:pt x="6743" y="0"/>
                    <a:pt x="6554" y="0"/>
                  </a:cubicBezTo>
                  <a:lnTo>
                    <a:pt x="5168" y="0"/>
                  </a:lnTo>
                  <a:cubicBezTo>
                    <a:pt x="4978" y="0"/>
                    <a:pt x="4821" y="158"/>
                    <a:pt x="4821" y="347"/>
                  </a:cubicBezTo>
                  <a:cubicBezTo>
                    <a:pt x="4821" y="536"/>
                    <a:pt x="4978" y="693"/>
                    <a:pt x="5168" y="693"/>
                  </a:cubicBezTo>
                  <a:lnTo>
                    <a:pt x="5514" y="693"/>
                  </a:lnTo>
                  <a:lnTo>
                    <a:pt x="5514" y="1355"/>
                  </a:lnTo>
                  <a:lnTo>
                    <a:pt x="2773" y="1355"/>
                  </a:lnTo>
                  <a:lnTo>
                    <a:pt x="2773" y="693"/>
                  </a:lnTo>
                  <a:lnTo>
                    <a:pt x="3120" y="693"/>
                  </a:lnTo>
                  <a:cubicBezTo>
                    <a:pt x="3309" y="693"/>
                    <a:pt x="3466" y="536"/>
                    <a:pt x="3466" y="347"/>
                  </a:cubicBezTo>
                  <a:cubicBezTo>
                    <a:pt x="3466" y="158"/>
                    <a:pt x="3309" y="0"/>
                    <a:pt x="3120"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1242" name="Google Shape;11242;p115"/>
            <p:cNvSpPr/>
            <p:nvPr/>
          </p:nvSpPr>
          <p:spPr>
            <a:xfrm>
              <a:off x="-4538825" y="2833475"/>
              <a:ext cx="86650" cy="104775"/>
            </a:xfrm>
            <a:custGeom>
              <a:avLst/>
              <a:gdLst/>
              <a:ahLst/>
              <a:cxnLst/>
              <a:rect l="l" t="t" r="r" b="b"/>
              <a:pathLst>
                <a:path w="3466" h="4191" extrusionOk="0">
                  <a:moveTo>
                    <a:pt x="2804" y="662"/>
                  </a:moveTo>
                  <a:lnTo>
                    <a:pt x="2804" y="3466"/>
                  </a:lnTo>
                  <a:lnTo>
                    <a:pt x="757" y="3466"/>
                  </a:lnTo>
                  <a:lnTo>
                    <a:pt x="757" y="662"/>
                  </a:lnTo>
                  <a:close/>
                  <a:moveTo>
                    <a:pt x="347" y="0"/>
                  </a:moveTo>
                  <a:cubicBezTo>
                    <a:pt x="158" y="0"/>
                    <a:pt x="0" y="158"/>
                    <a:pt x="0" y="347"/>
                  </a:cubicBezTo>
                  <a:lnTo>
                    <a:pt x="0" y="3812"/>
                  </a:lnTo>
                  <a:cubicBezTo>
                    <a:pt x="0" y="4033"/>
                    <a:pt x="158" y="4190"/>
                    <a:pt x="347" y="4190"/>
                  </a:cubicBezTo>
                  <a:lnTo>
                    <a:pt x="3119" y="4190"/>
                  </a:lnTo>
                  <a:cubicBezTo>
                    <a:pt x="3308" y="4190"/>
                    <a:pt x="3466" y="4033"/>
                    <a:pt x="3466" y="3812"/>
                  </a:cubicBezTo>
                  <a:lnTo>
                    <a:pt x="3466" y="347"/>
                  </a:lnTo>
                  <a:cubicBezTo>
                    <a:pt x="3466" y="158"/>
                    <a:pt x="3308" y="0"/>
                    <a:pt x="3119"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1243" name="Google Shape;11243;p115"/>
            <p:cNvSpPr/>
            <p:nvPr/>
          </p:nvSpPr>
          <p:spPr>
            <a:xfrm>
              <a:off x="-4435650" y="2902775"/>
              <a:ext cx="121325" cy="17350"/>
            </a:xfrm>
            <a:custGeom>
              <a:avLst/>
              <a:gdLst/>
              <a:ahLst/>
              <a:cxnLst/>
              <a:rect l="l" t="t" r="r" b="b"/>
              <a:pathLst>
                <a:path w="4853" h="694" extrusionOk="0">
                  <a:moveTo>
                    <a:pt x="347" y="1"/>
                  </a:moveTo>
                  <a:cubicBezTo>
                    <a:pt x="158" y="1"/>
                    <a:pt x="1" y="158"/>
                    <a:pt x="1" y="347"/>
                  </a:cubicBezTo>
                  <a:cubicBezTo>
                    <a:pt x="32" y="536"/>
                    <a:pt x="158" y="694"/>
                    <a:pt x="347" y="694"/>
                  </a:cubicBezTo>
                  <a:lnTo>
                    <a:pt x="4506" y="694"/>
                  </a:lnTo>
                  <a:cubicBezTo>
                    <a:pt x="4695" y="694"/>
                    <a:pt x="4852" y="536"/>
                    <a:pt x="4852" y="347"/>
                  </a:cubicBezTo>
                  <a:cubicBezTo>
                    <a:pt x="4852" y="158"/>
                    <a:pt x="4695" y="1"/>
                    <a:pt x="4506"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1244" name="Google Shape;11244;p115"/>
            <p:cNvSpPr/>
            <p:nvPr/>
          </p:nvSpPr>
          <p:spPr>
            <a:xfrm>
              <a:off x="-4435650" y="2867325"/>
              <a:ext cx="121325" cy="17350"/>
            </a:xfrm>
            <a:custGeom>
              <a:avLst/>
              <a:gdLst/>
              <a:ahLst/>
              <a:cxnLst/>
              <a:rect l="l" t="t" r="r" b="b"/>
              <a:pathLst>
                <a:path w="4853" h="694" extrusionOk="0">
                  <a:moveTo>
                    <a:pt x="347" y="1"/>
                  </a:moveTo>
                  <a:cubicBezTo>
                    <a:pt x="158" y="1"/>
                    <a:pt x="1" y="158"/>
                    <a:pt x="1" y="347"/>
                  </a:cubicBezTo>
                  <a:cubicBezTo>
                    <a:pt x="32" y="568"/>
                    <a:pt x="158" y="694"/>
                    <a:pt x="347" y="694"/>
                  </a:cubicBezTo>
                  <a:lnTo>
                    <a:pt x="4506" y="694"/>
                  </a:lnTo>
                  <a:cubicBezTo>
                    <a:pt x="4695" y="694"/>
                    <a:pt x="4852" y="536"/>
                    <a:pt x="4852" y="347"/>
                  </a:cubicBezTo>
                  <a:cubicBezTo>
                    <a:pt x="4852" y="158"/>
                    <a:pt x="4695" y="1"/>
                    <a:pt x="4506"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1245" name="Google Shape;11245;p115"/>
            <p:cNvSpPr/>
            <p:nvPr/>
          </p:nvSpPr>
          <p:spPr>
            <a:xfrm>
              <a:off x="-4435650" y="2833475"/>
              <a:ext cx="121325" cy="18125"/>
            </a:xfrm>
            <a:custGeom>
              <a:avLst/>
              <a:gdLst/>
              <a:ahLst/>
              <a:cxnLst/>
              <a:rect l="l" t="t" r="r" b="b"/>
              <a:pathLst>
                <a:path w="4853" h="725" extrusionOk="0">
                  <a:moveTo>
                    <a:pt x="347" y="0"/>
                  </a:moveTo>
                  <a:cubicBezTo>
                    <a:pt x="158" y="0"/>
                    <a:pt x="1" y="158"/>
                    <a:pt x="1" y="347"/>
                  </a:cubicBezTo>
                  <a:cubicBezTo>
                    <a:pt x="32" y="567"/>
                    <a:pt x="158" y="725"/>
                    <a:pt x="347" y="725"/>
                  </a:cubicBezTo>
                  <a:lnTo>
                    <a:pt x="4506" y="725"/>
                  </a:lnTo>
                  <a:cubicBezTo>
                    <a:pt x="4695" y="725"/>
                    <a:pt x="4852" y="567"/>
                    <a:pt x="4852" y="347"/>
                  </a:cubicBezTo>
                  <a:cubicBezTo>
                    <a:pt x="4852" y="158"/>
                    <a:pt x="4695" y="0"/>
                    <a:pt x="4506"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11246" name="Google Shape;11246;p115"/>
          <p:cNvGrpSpPr/>
          <p:nvPr/>
        </p:nvGrpSpPr>
        <p:grpSpPr>
          <a:xfrm>
            <a:off x="9099609" y="2174986"/>
            <a:ext cx="553120" cy="561109"/>
            <a:chOff x="-2777700" y="2049775"/>
            <a:chExt cx="287325" cy="291475"/>
          </a:xfrm>
        </p:grpSpPr>
        <p:sp>
          <p:nvSpPr>
            <p:cNvPr id="11247" name="Google Shape;11247;p115"/>
            <p:cNvSpPr/>
            <p:nvPr/>
          </p:nvSpPr>
          <p:spPr>
            <a:xfrm>
              <a:off x="-2777700" y="2049775"/>
              <a:ext cx="287325" cy="291475"/>
            </a:xfrm>
            <a:custGeom>
              <a:avLst/>
              <a:gdLst/>
              <a:ahLst/>
              <a:cxnLst/>
              <a:rect l="l" t="t" r="r" b="b"/>
              <a:pathLst>
                <a:path w="11493" h="11659" extrusionOk="0">
                  <a:moveTo>
                    <a:pt x="7121" y="662"/>
                  </a:moveTo>
                  <a:cubicBezTo>
                    <a:pt x="7341" y="662"/>
                    <a:pt x="7499" y="820"/>
                    <a:pt x="7499" y="1040"/>
                  </a:cubicBezTo>
                  <a:cubicBezTo>
                    <a:pt x="7499" y="1230"/>
                    <a:pt x="7341" y="1387"/>
                    <a:pt x="7121" y="1387"/>
                  </a:cubicBezTo>
                  <a:lnTo>
                    <a:pt x="4380" y="1387"/>
                  </a:lnTo>
                  <a:cubicBezTo>
                    <a:pt x="4191" y="1387"/>
                    <a:pt x="4033" y="1230"/>
                    <a:pt x="4033" y="1040"/>
                  </a:cubicBezTo>
                  <a:cubicBezTo>
                    <a:pt x="4033" y="820"/>
                    <a:pt x="4191" y="662"/>
                    <a:pt x="4380" y="662"/>
                  </a:cubicBezTo>
                  <a:close/>
                  <a:moveTo>
                    <a:pt x="6774" y="2049"/>
                  </a:moveTo>
                  <a:lnTo>
                    <a:pt x="6774" y="4285"/>
                  </a:lnTo>
                  <a:cubicBezTo>
                    <a:pt x="6774" y="4412"/>
                    <a:pt x="6774" y="4443"/>
                    <a:pt x="7499" y="5514"/>
                  </a:cubicBezTo>
                  <a:lnTo>
                    <a:pt x="3970" y="5514"/>
                  </a:lnTo>
                  <a:cubicBezTo>
                    <a:pt x="4758" y="4412"/>
                    <a:pt x="4726" y="4443"/>
                    <a:pt x="4726" y="4348"/>
                  </a:cubicBezTo>
                  <a:lnTo>
                    <a:pt x="4726" y="2049"/>
                  </a:lnTo>
                  <a:close/>
                  <a:moveTo>
                    <a:pt x="8003" y="6176"/>
                  </a:moveTo>
                  <a:cubicBezTo>
                    <a:pt x="8696" y="7215"/>
                    <a:pt x="9578" y="8507"/>
                    <a:pt x="10177" y="9389"/>
                  </a:cubicBezTo>
                  <a:cubicBezTo>
                    <a:pt x="10649" y="10082"/>
                    <a:pt x="10177" y="10996"/>
                    <a:pt x="9294" y="10996"/>
                  </a:cubicBezTo>
                  <a:lnTo>
                    <a:pt x="2206" y="10996"/>
                  </a:lnTo>
                  <a:cubicBezTo>
                    <a:pt x="1387" y="10996"/>
                    <a:pt x="914" y="10051"/>
                    <a:pt x="1387" y="9389"/>
                  </a:cubicBezTo>
                  <a:cubicBezTo>
                    <a:pt x="1859" y="8665"/>
                    <a:pt x="2804" y="7341"/>
                    <a:pt x="3561" y="6176"/>
                  </a:cubicBezTo>
                  <a:close/>
                  <a:moveTo>
                    <a:pt x="4380" y="1"/>
                  </a:moveTo>
                  <a:cubicBezTo>
                    <a:pt x="3813" y="1"/>
                    <a:pt x="3340" y="473"/>
                    <a:pt x="3340" y="1040"/>
                  </a:cubicBezTo>
                  <a:cubicBezTo>
                    <a:pt x="3340" y="1513"/>
                    <a:pt x="3655" y="1860"/>
                    <a:pt x="4065" y="2017"/>
                  </a:cubicBezTo>
                  <a:lnTo>
                    <a:pt x="4065" y="4222"/>
                  </a:lnTo>
                  <a:cubicBezTo>
                    <a:pt x="3718" y="4790"/>
                    <a:pt x="1198" y="8413"/>
                    <a:pt x="788" y="8980"/>
                  </a:cubicBezTo>
                  <a:cubicBezTo>
                    <a:pt x="1" y="10114"/>
                    <a:pt x="820" y="11658"/>
                    <a:pt x="2206" y="11658"/>
                  </a:cubicBezTo>
                  <a:lnTo>
                    <a:pt x="9294" y="11658"/>
                  </a:lnTo>
                  <a:cubicBezTo>
                    <a:pt x="9308" y="11658"/>
                    <a:pt x="9322" y="11658"/>
                    <a:pt x="9335" y="11658"/>
                  </a:cubicBezTo>
                  <a:cubicBezTo>
                    <a:pt x="10697" y="11658"/>
                    <a:pt x="11492" y="10103"/>
                    <a:pt x="10712" y="9011"/>
                  </a:cubicBezTo>
                  <a:cubicBezTo>
                    <a:pt x="10271" y="8444"/>
                    <a:pt x="7845" y="4853"/>
                    <a:pt x="7499" y="4254"/>
                  </a:cubicBezTo>
                  <a:lnTo>
                    <a:pt x="7499" y="1986"/>
                  </a:lnTo>
                  <a:cubicBezTo>
                    <a:pt x="7877" y="1828"/>
                    <a:pt x="8160" y="1450"/>
                    <a:pt x="8160" y="1040"/>
                  </a:cubicBezTo>
                  <a:cubicBezTo>
                    <a:pt x="8160" y="473"/>
                    <a:pt x="7688" y="1"/>
                    <a:pt x="7121"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1248" name="Google Shape;11248;p115"/>
            <p:cNvSpPr/>
            <p:nvPr/>
          </p:nvSpPr>
          <p:spPr>
            <a:xfrm>
              <a:off x="-2694200" y="2221475"/>
              <a:ext cx="69325" cy="68550"/>
            </a:xfrm>
            <a:custGeom>
              <a:avLst/>
              <a:gdLst/>
              <a:ahLst/>
              <a:cxnLst/>
              <a:rect l="l" t="t" r="r" b="b"/>
              <a:pathLst>
                <a:path w="2773" h="2742" extrusionOk="0">
                  <a:moveTo>
                    <a:pt x="1386" y="694"/>
                  </a:moveTo>
                  <a:cubicBezTo>
                    <a:pt x="1733" y="694"/>
                    <a:pt x="2048" y="1009"/>
                    <a:pt x="2048" y="1356"/>
                  </a:cubicBezTo>
                  <a:cubicBezTo>
                    <a:pt x="2048" y="1765"/>
                    <a:pt x="1764" y="2049"/>
                    <a:pt x="1386" y="2049"/>
                  </a:cubicBezTo>
                  <a:cubicBezTo>
                    <a:pt x="1008" y="2049"/>
                    <a:pt x="725" y="1702"/>
                    <a:pt x="725" y="1356"/>
                  </a:cubicBezTo>
                  <a:cubicBezTo>
                    <a:pt x="725" y="978"/>
                    <a:pt x="1040" y="694"/>
                    <a:pt x="1386" y="694"/>
                  </a:cubicBezTo>
                  <a:close/>
                  <a:moveTo>
                    <a:pt x="1386" y="1"/>
                  </a:moveTo>
                  <a:cubicBezTo>
                    <a:pt x="630" y="1"/>
                    <a:pt x="0" y="631"/>
                    <a:pt x="0" y="1356"/>
                  </a:cubicBezTo>
                  <a:cubicBezTo>
                    <a:pt x="0" y="2112"/>
                    <a:pt x="630" y="2742"/>
                    <a:pt x="1386" y="2742"/>
                  </a:cubicBezTo>
                  <a:cubicBezTo>
                    <a:pt x="2142" y="2742"/>
                    <a:pt x="2772" y="2112"/>
                    <a:pt x="2772" y="1356"/>
                  </a:cubicBezTo>
                  <a:cubicBezTo>
                    <a:pt x="2772" y="631"/>
                    <a:pt x="2142" y="1"/>
                    <a:pt x="1386"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1249" name="Google Shape;11249;p115"/>
            <p:cNvSpPr/>
            <p:nvPr/>
          </p:nvSpPr>
          <p:spPr>
            <a:xfrm>
              <a:off x="-2608350" y="2255350"/>
              <a:ext cx="51200" cy="51225"/>
            </a:xfrm>
            <a:custGeom>
              <a:avLst/>
              <a:gdLst/>
              <a:ahLst/>
              <a:cxnLst/>
              <a:rect l="l" t="t" r="r" b="b"/>
              <a:pathLst>
                <a:path w="2048" h="2049" extrusionOk="0">
                  <a:moveTo>
                    <a:pt x="1040" y="694"/>
                  </a:moveTo>
                  <a:cubicBezTo>
                    <a:pt x="1229" y="694"/>
                    <a:pt x="1386" y="851"/>
                    <a:pt x="1386" y="1040"/>
                  </a:cubicBezTo>
                  <a:cubicBezTo>
                    <a:pt x="1386" y="1229"/>
                    <a:pt x="1229" y="1387"/>
                    <a:pt x="1040" y="1387"/>
                  </a:cubicBezTo>
                  <a:cubicBezTo>
                    <a:pt x="819" y="1387"/>
                    <a:pt x="693" y="1229"/>
                    <a:pt x="693" y="1040"/>
                  </a:cubicBezTo>
                  <a:cubicBezTo>
                    <a:pt x="693" y="851"/>
                    <a:pt x="819" y="694"/>
                    <a:pt x="1040" y="694"/>
                  </a:cubicBezTo>
                  <a:close/>
                  <a:moveTo>
                    <a:pt x="1040" y="1"/>
                  </a:moveTo>
                  <a:cubicBezTo>
                    <a:pt x="473" y="1"/>
                    <a:pt x="0" y="473"/>
                    <a:pt x="0" y="1040"/>
                  </a:cubicBezTo>
                  <a:cubicBezTo>
                    <a:pt x="0" y="1576"/>
                    <a:pt x="473" y="2048"/>
                    <a:pt x="1040" y="2048"/>
                  </a:cubicBezTo>
                  <a:cubicBezTo>
                    <a:pt x="1575" y="2048"/>
                    <a:pt x="2048" y="1576"/>
                    <a:pt x="2048" y="1040"/>
                  </a:cubicBezTo>
                  <a:cubicBezTo>
                    <a:pt x="2048" y="473"/>
                    <a:pt x="1575" y="1"/>
                    <a:pt x="1040"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11250" name="Google Shape;11250;p115"/>
          <p:cNvGrpSpPr/>
          <p:nvPr/>
        </p:nvGrpSpPr>
        <p:grpSpPr>
          <a:xfrm>
            <a:off x="9094893" y="2853909"/>
            <a:ext cx="562552" cy="561012"/>
            <a:chOff x="-2571737" y="2403625"/>
            <a:chExt cx="292225" cy="291425"/>
          </a:xfrm>
        </p:grpSpPr>
        <p:sp>
          <p:nvSpPr>
            <p:cNvPr id="11251" name="Google Shape;11251;p115"/>
            <p:cNvSpPr/>
            <p:nvPr/>
          </p:nvSpPr>
          <p:spPr>
            <a:xfrm>
              <a:off x="-2571737" y="2403625"/>
              <a:ext cx="292225" cy="291425"/>
            </a:xfrm>
            <a:custGeom>
              <a:avLst/>
              <a:gdLst/>
              <a:ahLst/>
              <a:cxnLst/>
              <a:rect l="l" t="t" r="r" b="b"/>
              <a:pathLst>
                <a:path w="11689" h="11657" extrusionOk="0">
                  <a:moveTo>
                    <a:pt x="9547" y="725"/>
                  </a:moveTo>
                  <a:cubicBezTo>
                    <a:pt x="9704" y="725"/>
                    <a:pt x="9830" y="788"/>
                    <a:pt x="9893" y="914"/>
                  </a:cubicBezTo>
                  <a:lnTo>
                    <a:pt x="10681" y="2772"/>
                  </a:lnTo>
                  <a:lnTo>
                    <a:pt x="1135" y="2772"/>
                  </a:lnTo>
                  <a:lnTo>
                    <a:pt x="1891" y="914"/>
                  </a:lnTo>
                  <a:cubicBezTo>
                    <a:pt x="1922" y="788"/>
                    <a:pt x="2080" y="725"/>
                    <a:pt x="2206" y="725"/>
                  </a:cubicBezTo>
                  <a:close/>
                  <a:moveTo>
                    <a:pt x="10649" y="3403"/>
                  </a:moveTo>
                  <a:cubicBezTo>
                    <a:pt x="10870" y="3403"/>
                    <a:pt x="11027" y="3560"/>
                    <a:pt x="11027" y="3749"/>
                  </a:cubicBezTo>
                  <a:lnTo>
                    <a:pt x="11027" y="5167"/>
                  </a:lnTo>
                  <a:cubicBezTo>
                    <a:pt x="11027" y="5356"/>
                    <a:pt x="10870" y="5513"/>
                    <a:pt x="10649" y="5513"/>
                  </a:cubicBezTo>
                  <a:lnTo>
                    <a:pt x="1040" y="5513"/>
                  </a:lnTo>
                  <a:cubicBezTo>
                    <a:pt x="851" y="5513"/>
                    <a:pt x="694" y="5356"/>
                    <a:pt x="694" y="5167"/>
                  </a:cubicBezTo>
                  <a:lnTo>
                    <a:pt x="694" y="3749"/>
                  </a:lnTo>
                  <a:cubicBezTo>
                    <a:pt x="694" y="3560"/>
                    <a:pt x="851" y="3403"/>
                    <a:pt x="1040" y="3403"/>
                  </a:cubicBezTo>
                  <a:close/>
                  <a:moveTo>
                    <a:pt x="10681" y="6206"/>
                  </a:moveTo>
                  <a:cubicBezTo>
                    <a:pt x="10870" y="6238"/>
                    <a:pt x="11027" y="6364"/>
                    <a:pt x="11027" y="6553"/>
                  </a:cubicBezTo>
                  <a:lnTo>
                    <a:pt x="11027" y="7939"/>
                  </a:lnTo>
                  <a:cubicBezTo>
                    <a:pt x="11027" y="8128"/>
                    <a:pt x="10870" y="8286"/>
                    <a:pt x="10681" y="8286"/>
                  </a:cubicBezTo>
                  <a:lnTo>
                    <a:pt x="1072" y="8286"/>
                  </a:lnTo>
                  <a:cubicBezTo>
                    <a:pt x="851" y="8286"/>
                    <a:pt x="694" y="8128"/>
                    <a:pt x="694" y="7939"/>
                  </a:cubicBezTo>
                  <a:lnTo>
                    <a:pt x="694" y="6553"/>
                  </a:lnTo>
                  <a:cubicBezTo>
                    <a:pt x="694" y="6364"/>
                    <a:pt x="851" y="6206"/>
                    <a:pt x="1072" y="6206"/>
                  </a:cubicBezTo>
                  <a:close/>
                  <a:moveTo>
                    <a:pt x="10681" y="8947"/>
                  </a:moveTo>
                  <a:cubicBezTo>
                    <a:pt x="10870" y="8947"/>
                    <a:pt x="11027" y="9105"/>
                    <a:pt x="11027" y="9294"/>
                  </a:cubicBezTo>
                  <a:lnTo>
                    <a:pt x="11027" y="10680"/>
                  </a:lnTo>
                  <a:cubicBezTo>
                    <a:pt x="11027" y="10869"/>
                    <a:pt x="10870" y="11027"/>
                    <a:pt x="10681" y="11027"/>
                  </a:cubicBezTo>
                  <a:lnTo>
                    <a:pt x="1072" y="11027"/>
                  </a:lnTo>
                  <a:cubicBezTo>
                    <a:pt x="851" y="11027"/>
                    <a:pt x="694" y="10869"/>
                    <a:pt x="694" y="10680"/>
                  </a:cubicBezTo>
                  <a:lnTo>
                    <a:pt x="694" y="9294"/>
                  </a:lnTo>
                  <a:cubicBezTo>
                    <a:pt x="694" y="9105"/>
                    <a:pt x="851" y="8947"/>
                    <a:pt x="1072" y="8947"/>
                  </a:cubicBezTo>
                  <a:close/>
                  <a:moveTo>
                    <a:pt x="2174" y="0"/>
                  </a:moveTo>
                  <a:cubicBezTo>
                    <a:pt x="1733" y="0"/>
                    <a:pt x="1387" y="252"/>
                    <a:pt x="1229" y="630"/>
                  </a:cubicBezTo>
                  <a:lnTo>
                    <a:pt x="64" y="3403"/>
                  </a:lnTo>
                  <a:cubicBezTo>
                    <a:pt x="32" y="3529"/>
                    <a:pt x="0" y="3686"/>
                    <a:pt x="0" y="3781"/>
                  </a:cubicBezTo>
                  <a:lnTo>
                    <a:pt x="0" y="5198"/>
                  </a:lnTo>
                  <a:cubicBezTo>
                    <a:pt x="0" y="5482"/>
                    <a:pt x="127" y="5734"/>
                    <a:pt x="284" y="5860"/>
                  </a:cubicBezTo>
                  <a:cubicBezTo>
                    <a:pt x="127" y="6080"/>
                    <a:pt x="0" y="6301"/>
                    <a:pt x="0" y="6553"/>
                  </a:cubicBezTo>
                  <a:lnTo>
                    <a:pt x="0" y="7908"/>
                  </a:lnTo>
                  <a:cubicBezTo>
                    <a:pt x="0" y="8191"/>
                    <a:pt x="127" y="8443"/>
                    <a:pt x="284" y="8601"/>
                  </a:cubicBezTo>
                  <a:cubicBezTo>
                    <a:pt x="127" y="8790"/>
                    <a:pt x="0" y="9010"/>
                    <a:pt x="0" y="9262"/>
                  </a:cubicBezTo>
                  <a:lnTo>
                    <a:pt x="0" y="10649"/>
                  </a:lnTo>
                  <a:cubicBezTo>
                    <a:pt x="0" y="11184"/>
                    <a:pt x="473" y="11657"/>
                    <a:pt x="1009" y="11657"/>
                  </a:cubicBezTo>
                  <a:lnTo>
                    <a:pt x="10618" y="11657"/>
                  </a:lnTo>
                  <a:cubicBezTo>
                    <a:pt x="11185" y="11657"/>
                    <a:pt x="11657" y="11184"/>
                    <a:pt x="11657" y="10649"/>
                  </a:cubicBezTo>
                  <a:lnTo>
                    <a:pt x="11657" y="9262"/>
                  </a:lnTo>
                  <a:cubicBezTo>
                    <a:pt x="11657" y="8979"/>
                    <a:pt x="11531" y="8758"/>
                    <a:pt x="11374" y="8601"/>
                  </a:cubicBezTo>
                  <a:cubicBezTo>
                    <a:pt x="11531" y="8380"/>
                    <a:pt x="11657" y="8160"/>
                    <a:pt x="11657" y="7908"/>
                  </a:cubicBezTo>
                  <a:lnTo>
                    <a:pt x="11657" y="6553"/>
                  </a:lnTo>
                  <a:cubicBezTo>
                    <a:pt x="11657" y="6269"/>
                    <a:pt x="11531" y="6017"/>
                    <a:pt x="11374" y="5860"/>
                  </a:cubicBezTo>
                  <a:cubicBezTo>
                    <a:pt x="11531" y="5671"/>
                    <a:pt x="11657" y="5450"/>
                    <a:pt x="11657" y="5198"/>
                  </a:cubicBezTo>
                  <a:lnTo>
                    <a:pt x="11657" y="3781"/>
                  </a:lnTo>
                  <a:lnTo>
                    <a:pt x="11689" y="3781"/>
                  </a:lnTo>
                  <a:cubicBezTo>
                    <a:pt x="11689" y="3686"/>
                    <a:pt x="11657" y="3529"/>
                    <a:pt x="11594" y="3403"/>
                  </a:cubicBezTo>
                  <a:lnTo>
                    <a:pt x="10460" y="630"/>
                  </a:lnTo>
                  <a:cubicBezTo>
                    <a:pt x="10303" y="252"/>
                    <a:pt x="9925" y="0"/>
                    <a:pt x="9515"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1252" name="Google Shape;11252;p115"/>
            <p:cNvSpPr/>
            <p:nvPr/>
          </p:nvSpPr>
          <p:spPr>
            <a:xfrm>
              <a:off x="-2485967" y="2649150"/>
              <a:ext cx="173300" cy="18150"/>
            </a:xfrm>
            <a:custGeom>
              <a:avLst/>
              <a:gdLst/>
              <a:ahLst/>
              <a:cxnLst/>
              <a:rect l="l" t="t" r="r" b="b"/>
              <a:pathLst>
                <a:path w="6932" h="726" extrusionOk="0">
                  <a:moveTo>
                    <a:pt x="378" y="1"/>
                  </a:moveTo>
                  <a:cubicBezTo>
                    <a:pt x="158" y="1"/>
                    <a:pt x="0" y="159"/>
                    <a:pt x="0" y="379"/>
                  </a:cubicBezTo>
                  <a:cubicBezTo>
                    <a:pt x="0" y="568"/>
                    <a:pt x="158" y="726"/>
                    <a:pt x="378" y="726"/>
                  </a:cubicBezTo>
                  <a:lnTo>
                    <a:pt x="6585" y="726"/>
                  </a:lnTo>
                  <a:cubicBezTo>
                    <a:pt x="6774" y="726"/>
                    <a:pt x="6931" y="568"/>
                    <a:pt x="6931" y="379"/>
                  </a:cubicBezTo>
                  <a:cubicBezTo>
                    <a:pt x="6931" y="159"/>
                    <a:pt x="6774" y="1"/>
                    <a:pt x="6585"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1253" name="Google Shape;11253;p115"/>
            <p:cNvSpPr/>
            <p:nvPr/>
          </p:nvSpPr>
          <p:spPr>
            <a:xfrm>
              <a:off x="-2485967" y="2511325"/>
              <a:ext cx="173300" cy="18150"/>
            </a:xfrm>
            <a:custGeom>
              <a:avLst/>
              <a:gdLst/>
              <a:ahLst/>
              <a:cxnLst/>
              <a:rect l="l" t="t" r="r" b="b"/>
              <a:pathLst>
                <a:path w="6932" h="726" extrusionOk="0">
                  <a:moveTo>
                    <a:pt x="378" y="1"/>
                  </a:moveTo>
                  <a:cubicBezTo>
                    <a:pt x="158" y="1"/>
                    <a:pt x="0" y="158"/>
                    <a:pt x="0" y="379"/>
                  </a:cubicBezTo>
                  <a:cubicBezTo>
                    <a:pt x="0" y="568"/>
                    <a:pt x="158" y="725"/>
                    <a:pt x="378" y="725"/>
                  </a:cubicBezTo>
                  <a:lnTo>
                    <a:pt x="6585" y="725"/>
                  </a:lnTo>
                  <a:cubicBezTo>
                    <a:pt x="6774" y="725"/>
                    <a:pt x="6931" y="568"/>
                    <a:pt x="6931" y="379"/>
                  </a:cubicBezTo>
                  <a:cubicBezTo>
                    <a:pt x="6931" y="158"/>
                    <a:pt x="6774" y="1"/>
                    <a:pt x="6585"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1254" name="Google Shape;11254;p115"/>
            <p:cNvSpPr/>
            <p:nvPr/>
          </p:nvSpPr>
          <p:spPr>
            <a:xfrm>
              <a:off x="-2540185" y="2511325"/>
              <a:ext cx="18125" cy="18925"/>
            </a:xfrm>
            <a:custGeom>
              <a:avLst/>
              <a:gdLst/>
              <a:ahLst/>
              <a:cxnLst/>
              <a:rect l="l" t="t" r="r" b="b"/>
              <a:pathLst>
                <a:path w="725" h="757" extrusionOk="0">
                  <a:moveTo>
                    <a:pt x="378" y="1"/>
                  </a:moveTo>
                  <a:cubicBezTo>
                    <a:pt x="158" y="1"/>
                    <a:pt x="0" y="158"/>
                    <a:pt x="0" y="379"/>
                  </a:cubicBezTo>
                  <a:cubicBezTo>
                    <a:pt x="0" y="568"/>
                    <a:pt x="158" y="757"/>
                    <a:pt x="378" y="757"/>
                  </a:cubicBezTo>
                  <a:cubicBezTo>
                    <a:pt x="567" y="757"/>
                    <a:pt x="725" y="568"/>
                    <a:pt x="725" y="379"/>
                  </a:cubicBezTo>
                  <a:cubicBezTo>
                    <a:pt x="725" y="158"/>
                    <a:pt x="567" y="1"/>
                    <a:pt x="378"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1255" name="Google Shape;11255;p115"/>
            <p:cNvSpPr/>
            <p:nvPr/>
          </p:nvSpPr>
          <p:spPr>
            <a:xfrm>
              <a:off x="-2485579" y="2580625"/>
              <a:ext cx="172525" cy="17350"/>
            </a:xfrm>
            <a:custGeom>
              <a:avLst/>
              <a:gdLst/>
              <a:ahLst/>
              <a:cxnLst/>
              <a:rect l="l" t="t" r="r" b="b"/>
              <a:pathLst>
                <a:path w="6901" h="694" extrusionOk="0">
                  <a:moveTo>
                    <a:pt x="347" y="0"/>
                  </a:moveTo>
                  <a:cubicBezTo>
                    <a:pt x="158" y="0"/>
                    <a:pt x="1" y="158"/>
                    <a:pt x="1" y="347"/>
                  </a:cubicBezTo>
                  <a:cubicBezTo>
                    <a:pt x="32" y="536"/>
                    <a:pt x="158" y="693"/>
                    <a:pt x="347" y="693"/>
                  </a:cubicBezTo>
                  <a:lnTo>
                    <a:pt x="6554" y="693"/>
                  </a:lnTo>
                  <a:cubicBezTo>
                    <a:pt x="6774" y="693"/>
                    <a:pt x="6900" y="536"/>
                    <a:pt x="6900" y="347"/>
                  </a:cubicBezTo>
                  <a:cubicBezTo>
                    <a:pt x="6900" y="158"/>
                    <a:pt x="6774" y="0"/>
                    <a:pt x="6554"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1256" name="Google Shape;11256;p115"/>
            <p:cNvSpPr/>
            <p:nvPr/>
          </p:nvSpPr>
          <p:spPr>
            <a:xfrm>
              <a:off x="-2540185" y="2580625"/>
              <a:ext cx="18125" cy="17350"/>
            </a:xfrm>
            <a:custGeom>
              <a:avLst/>
              <a:gdLst/>
              <a:ahLst/>
              <a:cxnLst/>
              <a:rect l="l" t="t" r="r" b="b"/>
              <a:pathLst>
                <a:path w="725" h="694" extrusionOk="0">
                  <a:moveTo>
                    <a:pt x="378" y="0"/>
                  </a:moveTo>
                  <a:cubicBezTo>
                    <a:pt x="158" y="0"/>
                    <a:pt x="0" y="158"/>
                    <a:pt x="0" y="347"/>
                  </a:cubicBezTo>
                  <a:cubicBezTo>
                    <a:pt x="0" y="536"/>
                    <a:pt x="158" y="693"/>
                    <a:pt x="378" y="693"/>
                  </a:cubicBezTo>
                  <a:cubicBezTo>
                    <a:pt x="567" y="693"/>
                    <a:pt x="725" y="536"/>
                    <a:pt x="725" y="347"/>
                  </a:cubicBezTo>
                  <a:cubicBezTo>
                    <a:pt x="725" y="158"/>
                    <a:pt x="567" y="0"/>
                    <a:pt x="378"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1257" name="Google Shape;11257;p115"/>
            <p:cNvSpPr/>
            <p:nvPr/>
          </p:nvSpPr>
          <p:spPr>
            <a:xfrm>
              <a:off x="-2540185" y="2649150"/>
              <a:ext cx="18125" cy="18150"/>
            </a:xfrm>
            <a:custGeom>
              <a:avLst/>
              <a:gdLst/>
              <a:ahLst/>
              <a:cxnLst/>
              <a:rect l="l" t="t" r="r" b="b"/>
              <a:pathLst>
                <a:path w="725" h="726" extrusionOk="0">
                  <a:moveTo>
                    <a:pt x="378" y="1"/>
                  </a:moveTo>
                  <a:cubicBezTo>
                    <a:pt x="158" y="1"/>
                    <a:pt x="0" y="159"/>
                    <a:pt x="0" y="379"/>
                  </a:cubicBezTo>
                  <a:cubicBezTo>
                    <a:pt x="0" y="568"/>
                    <a:pt x="158" y="726"/>
                    <a:pt x="378" y="726"/>
                  </a:cubicBezTo>
                  <a:cubicBezTo>
                    <a:pt x="567" y="726"/>
                    <a:pt x="725" y="568"/>
                    <a:pt x="725" y="379"/>
                  </a:cubicBezTo>
                  <a:cubicBezTo>
                    <a:pt x="725" y="159"/>
                    <a:pt x="567" y="1"/>
                    <a:pt x="378"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11258" name="Google Shape;11258;p115"/>
          <p:cNvGrpSpPr/>
          <p:nvPr/>
        </p:nvGrpSpPr>
        <p:grpSpPr>
          <a:xfrm>
            <a:off x="9094893" y="3548712"/>
            <a:ext cx="562552" cy="559520"/>
            <a:chOff x="-2571737" y="2764550"/>
            <a:chExt cx="292225" cy="290650"/>
          </a:xfrm>
        </p:grpSpPr>
        <p:sp>
          <p:nvSpPr>
            <p:cNvPr id="11259" name="Google Shape;11259;p115"/>
            <p:cNvSpPr/>
            <p:nvPr/>
          </p:nvSpPr>
          <p:spPr>
            <a:xfrm>
              <a:off x="-2496085" y="3009100"/>
              <a:ext cx="17350" cy="17350"/>
            </a:xfrm>
            <a:custGeom>
              <a:avLst/>
              <a:gdLst/>
              <a:ahLst/>
              <a:cxnLst/>
              <a:rect l="l" t="t" r="r" b="b"/>
              <a:pathLst>
                <a:path w="694" h="694" extrusionOk="0">
                  <a:moveTo>
                    <a:pt x="347" y="1"/>
                  </a:moveTo>
                  <a:cubicBezTo>
                    <a:pt x="127" y="1"/>
                    <a:pt x="0" y="158"/>
                    <a:pt x="0" y="347"/>
                  </a:cubicBezTo>
                  <a:cubicBezTo>
                    <a:pt x="0" y="536"/>
                    <a:pt x="127" y="694"/>
                    <a:pt x="347" y="694"/>
                  </a:cubicBezTo>
                  <a:cubicBezTo>
                    <a:pt x="536" y="694"/>
                    <a:pt x="694" y="536"/>
                    <a:pt x="694" y="347"/>
                  </a:cubicBezTo>
                  <a:cubicBezTo>
                    <a:pt x="662" y="158"/>
                    <a:pt x="505" y="1"/>
                    <a:pt x="347"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1260" name="Google Shape;11260;p115"/>
            <p:cNvSpPr/>
            <p:nvPr/>
          </p:nvSpPr>
          <p:spPr>
            <a:xfrm>
              <a:off x="-2398548" y="2800375"/>
              <a:ext cx="52000" cy="120525"/>
            </a:xfrm>
            <a:custGeom>
              <a:avLst/>
              <a:gdLst/>
              <a:ahLst/>
              <a:cxnLst/>
              <a:rect l="l" t="t" r="r" b="b"/>
              <a:pathLst>
                <a:path w="2080" h="4821" extrusionOk="0">
                  <a:moveTo>
                    <a:pt x="1008" y="0"/>
                  </a:moveTo>
                  <a:cubicBezTo>
                    <a:pt x="819" y="0"/>
                    <a:pt x="662" y="158"/>
                    <a:pt x="662" y="378"/>
                  </a:cubicBezTo>
                  <a:lnTo>
                    <a:pt x="662" y="757"/>
                  </a:lnTo>
                  <a:cubicBezTo>
                    <a:pt x="252" y="914"/>
                    <a:pt x="0" y="1261"/>
                    <a:pt x="0" y="1733"/>
                  </a:cubicBezTo>
                  <a:cubicBezTo>
                    <a:pt x="0" y="2300"/>
                    <a:pt x="473" y="2773"/>
                    <a:pt x="1008" y="2773"/>
                  </a:cubicBezTo>
                  <a:cubicBezTo>
                    <a:pt x="1323" y="2773"/>
                    <a:pt x="1481" y="3119"/>
                    <a:pt x="1260" y="3371"/>
                  </a:cubicBezTo>
                  <a:cubicBezTo>
                    <a:pt x="1197" y="3419"/>
                    <a:pt x="1103" y="3442"/>
                    <a:pt x="1012" y="3442"/>
                  </a:cubicBezTo>
                  <a:cubicBezTo>
                    <a:pt x="922" y="3442"/>
                    <a:pt x="835" y="3419"/>
                    <a:pt x="788" y="3371"/>
                  </a:cubicBezTo>
                  <a:cubicBezTo>
                    <a:pt x="725" y="3308"/>
                    <a:pt x="630" y="3277"/>
                    <a:pt x="540" y="3277"/>
                  </a:cubicBezTo>
                  <a:cubicBezTo>
                    <a:pt x="449" y="3277"/>
                    <a:pt x="362" y="3308"/>
                    <a:pt x="315" y="3371"/>
                  </a:cubicBezTo>
                  <a:cubicBezTo>
                    <a:pt x="189" y="3466"/>
                    <a:pt x="189" y="3718"/>
                    <a:pt x="315" y="3844"/>
                  </a:cubicBezTo>
                  <a:cubicBezTo>
                    <a:pt x="410" y="3939"/>
                    <a:pt x="536" y="4033"/>
                    <a:pt x="693" y="4065"/>
                  </a:cubicBezTo>
                  <a:lnTo>
                    <a:pt x="693" y="4474"/>
                  </a:lnTo>
                  <a:cubicBezTo>
                    <a:pt x="693" y="4663"/>
                    <a:pt x="851" y="4821"/>
                    <a:pt x="1040" y="4821"/>
                  </a:cubicBezTo>
                  <a:cubicBezTo>
                    <a:pt x="1260" y="4821"/>
                    <a:pt x="1418" y="4663"/>
                    <a:pt x="1418" y="4474"/>
                  </a:cubicBezTo>
                  <a:lnTo>
                    <a:pt x="1418" y="4065"/>
                  </a:lnTo>
                  <a:cubicBezTo>
                    <a:pt x="1796" y="3907"/>
                    <a:pt x="2079" y="3560"/>
                    <a:pt x="2079" y="3088"/>
                  </a:cubicBezTo>
                  <a:cubicBezTo>
                    <a:pt x="2079" y="2521"/>
                    <a:pt x="1607" y="2048"/>
                    <a:pt x="1040" y="2048"/>
                  </a:cubicBezTo>
                  <a:cubicBezTo>
                    <a:pt x="851" y="2048"/>
                    <a:pt x="693" y="1891"/>
                    <a:pt x="693" y="1702"/>
                  </a:cubicBezTo>
                  <a:cubicBezTo>
                    <a:pt x="693" y="1495"/>
                    <a:pt x="842" y="1356"/>
                    <a:pt x="1016" y="1356"/>
                  </a:cubicBezTo>
                  <a:cubicBezTo>
                    <a:pt x="1107" y="1356"/>
                    <a:pt x="1205" y="1394"/>
                    <a:pt x="1292" y="1481"/>
                  </a:cubicBezTo>
                  <a:cubicBezTo>
                    <a:pt x="1355" y="1528"/>
                    <a:pt x="1441" y="1552"/>
                    <a:pt x="1528" y="1552"/>
                  </a:cubicBezTo>
                  <a:cubicBezTo>
                    <a:pt x="1615" y="1552"/>
                    <a:pt x="1701" y="1528"/>
                    <a:pt x="1764" y="1481"/>
                  </a:cubicBezTo>
                  <a:cubicBezTo>
                    <a:pt x="1859" y="1355"/>
                    <a:pt x="1859" y="1103"/>
                    <a:pt x="1764" y="1009"/>
                  </a:cubicBezTo>
                  <a:cubicBezTo>
                    <a:pt x="1638" y="883"/>
                    <a:pt x="1512" y="788"/>
                    <a:pt x="1355" y="757"/>
                  </a:cubicBezTo>
                  <a:lnTo>
                    <a:pt x="1355" y="378"/>
                  </a:lnTo>
                  <a:cubicBezTo>
                    <a:pt x="1355" y="158"/>
                    <a:pt x="1197" y="0"/>
                    <a:pt x="1008"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1261" name="Google Shape;11261;p115"/>
            <p:cNvSpPr/>
            <p:nvPr/>
          </p:nvSpPr>
          <p:spPr>
            <a:xfrm>
              <a:off x="-2571737" y="2764550"/>
              <a:ext cx="292225" cy="290650"/>
            </a:xfrm>
            <a:custGeom>
              <a:avLst/>
              <a:gdLst/>
              <a:ahLst/>
              <a:cxnLst/>
              <a:rect l="l" t="t" r="r" b="b"/>
              <a:pathLst>
                <a:path w="11689" h="11626" extrusionOk="0">
                  <a:moveTo>
                    <a:pt x="5009" y="1355"/>
                  </a:moveTo>
                  <a:cubicBezTo>
                    <a:pt x="4789" y="1576"/>
                    <a:pt x="4694" y="1796"/>
                    <a:pt x="4537" y="2049"/>
                  </a:cubicBezTo>
                  <a:lnTo>
                    <a:pt x="662" y="2049"/>
                  </a:lnTo>
                  <a:lnTo>
                    <a:pt x="662" y="1670"/>
                  </a:lnTo>
                  <a:cubicBezTo>
                    <a:pt x="662" y="1513"/>
                    <a:pt x="819" y="1355"/>
                    <a:pt x="1008" y="1355"/>
                  </a:cubicBezTo>
                  <a:close/>
                  <a:moveTo>
                    <a:pt x="7908" y="694"/>
                  </a:moveTo>
                  <a:cubicBezTo>
                    <a:pt x="9609" y="694"/>
                    <a:pt x="10995" y="2080"/>
                    <a:pt x="10995" y="3781"/>
                  </a:cubicBezTo>
                  <a:cubicBezTo>
                    <a:pt x="10995" y="5451"/>
                    <a:pt x="9609" y="6837"/>
                    <a:pt x="7908" y="6837"/>
                  </a:cubicBezTo>
                  <a:cubicBezTo>
                    <a:pt x="7309" y="6837"/>
                    <a:pt x="6679" y="6680"/>
                    <a:pt x="6206" y="6365"/>
                  </a:cubicBezTo>
                  <a:cubicBezTo>
                    <a:pt x="6162" y="6342"/>
                    <a:pt x="6086" y="6320"/>
                    <a:pt x="6023" y="6320"/>
                  </a:cubicBezTo>
                  <a:cubicBezTo>
                    <a:pt x="5997" y="6320"/>
                    <a:pt x="5973" y="6324"/>
                    <a:pt x="5954" y="6333"/>
                  </a:cubicBezTo>
                  <a:cubicBezTo>
                    <a:pt x="5671" y="6396"/>
                    <a:pt x="5324" y="6522"/>
                    <a:pt x="5009" y="6648"/>
                  </a:cubicBezTo>
                  <a:lnTo>
                    <a:pt x="5324" y="5703"/>
                  </a:lnTo>
                  <a:cubicBezTo>
                    <a:pt x="5356" y="5609"/>
                    <a:pt x="5324" y="5514"/>
                    <a:pt x="5261" y="5420"/>
                  </a:cubicBezTo>
                  <a:cubicBezTo>
                    <a:pt x="4946" y="4947"/>
                    <a:pt x="4789" y="4348"/>
                    <a:pt x="4789" y="3781"/>
                  </a:cubicBezTo>
                  <a:cubicBezTo>
                    <a:pt x="4789" y="2080"/>
                    <a:pt x="6238" y="694"/>
                    <a:pt x="7908" y="694"/>
                  </a:cubicBezTo>
                  <a:close/>
                  <a:moveTo>
                    <a:pt x="4253" y="2710"/>
                  </a:moveTo>
                  <a:cubicBezTo>
                    <a:pt x="4190" y="3025"/>
                    <a:pt x="4096" y="3372"/>
                    <a:pt x="4096" y="3718"/>
                  </a:cubicBezTo>
                  <a:cubicBezTo>
                    <a:pt x="4096" y="4411"/>
                    <a:pt x="4253" y="5041"/>
                    <a:pt x="4600" y="5609"/>
                  </a:cubicBezTo>
                  <a:lnTo>
                    <a:pt x="4127" y="7089"/>
                  </a:lnTo>
                  <a:cubicBezTo>
                    <a:pt x="4096" y="7184"/>
                    <a:pt x="4127" y="7341"/>
                    <a:pt x="4222" y="7436"/>
                  </a:cubicBezTo>
                  <a:cubicBezTo>
                    <a:pt x="4266" y="7480"/>
                    <a:pt x="4358" y="7525"/>
                    <a:pt x="4453" y="7525"/>
                  </a:cubicBezTo>
                  <a:cubicBezTo>
                    <a:pt x="4492" y="7525"/>
                    <a:pt x="4531" y="7517"/>
                    <a:pt x="4568" y="7499"/>
                  </a:cubicBezTo>
                  <a:cubicBezTo>
                    <a:pt x="4568" y="7499"/>
                    <a:pt x="5387" y="7247"/>
                    <a:pt x="6017" y="7026"/>
                  </a:cubicBezTo>
                  <a:cubicBezTo>
                    <a:pt x="6080" y="7089"/>
                    <a:pt x="6143" y="7089"/>
                    <a:pt x="6175" y="7121"/>
                  </a:cubicBezTo>
                  <a:lnTo>
                    <a:pt x="6175" y="8223"/>
                  </a:lnTo>
                  <a:lnTo>
                    <a:pt x="662" y="8223"/>
                  </a:lnTo>
                  <a:lnTo>
                    <a:pt x="662" y="2710"/>
                  </a:lnTo>
                  <a:close/>
                  <a:moveTo>
                    <a:pt x="6112" y="8885"/>
                  </a:moveTo>
                  <a:lnTo>
                    <a:pt x="6112" y="10618"/>
                  </a:lnTo>
                  <a:cubicBezTo>
                    <a:pt x="6143" y="10807"/>
                    <a:pt x="5986" y="10964"/>
                    <a:pt x="5797" y="10964"/>
                  </a:cubicBezTo>
                  <a:lnTo>
                    <a:pt x="977" y="10964"/>
                  </a:lnTo>
                  <a:cubicBezTo>
                    <a:pt x="788" y="10964"/>
                    <a:pt x="630" y="10807"/>
                    <a:pt x="630" y="10618"/>
                  </a:cubicBezTo>
                  <a:lnTo>
                    <a:pt x="630" y="8885"/>
                  </a:lnTo>
                  <a:close/>
                  <a:moveTo>
                    <a:pt x="7908" y="1"/>
                  </a:moveTo>
                  <a:cubicBezTo>
                    <a:pt x="7120" y="1"/>
                    <a:pt x="6364" y="221"/>
                    <a:pt x="5734" y="662"/>
                  </a:cubicBezTo>
                  <a:lnTo>
                    <a:pt x="1008" y="662"/>
                  </a:lnTo>
                  <a:cubicBezTo>
                    <a:pt x="473" y="662"/>
                    <a:pt x="0" y="1135"/>
                    <a:pt x="0" y="1670"/>
                  </a:cubicBezTo>
                  <a:lnTo>
                    <a:pt x="0" y="10618"/>
                  </a:lnTo>
                  <a:cubicBezTo>
                    <a:pt x="0" y="11153"/>
                    <a:pt x="473" y="11626"/>
                    <a:pt x="1008" y="11626"/>
                  </a:cubicBezTo>
                  <a:lnTo>
                    <a:pt x="5828" y="11626"/>
                  </a:lnTo>
                  <a:cubicBezTo>
                    <a:pt x="6364" y="11626"/>
                    <a:pt x="6837" y="11153"/>
                    <a:pt x="6837" y="10618"/>
                  </a:cubicBezTo>
                  <a:lnTo>
                    <a:pt x="6837" y="7341"/>
                  </a:lnTo>
                  <a:cubicBezTo>
                    <a:pt x="7215" y="7436"/>
                    <a:pt x="7561" y="7499"/>
                    <a:pt x="7908" y="7499"/>
                  </a:cubicBezTo>
                  <a:cubicBezTo>
                    <a:pt x="9987" y="7499"/>
                    <a:pt x="11688" y="5798"/>
                    <a:pt x="11688" y="3718"/>
                  </a:cubicBezTo>
                  <a:cubicBezTo>
                    <a:pt x="11657" y="1670"/>
                    <a:pt x="9956" y="1"/>
                    <a:pt x="7908"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11262" name="Google Shape;11262;p115"/>
          <p:cNvGrpSpPr/>
          <p:nvPr/>
        </p:nvGrpSpPr>
        <p:grpSpPr>
          <a:xfrm>
            <a:off x="4027561" y="4307384"/>
            <a:ext cx="562552" cy="565152"/>
            <a:chOff x="-1333975" y="2365850"/>
            <a:chExt cx="292225" cy="293575"/>
          </a:xfrm>
        </p:grpSpPr>
        <p:sp>
          <p:nvSpPr>
            <p:cNvPr id="11263" name="Google Shape;11263;p115"/>
            <p:cNvSpPr/>
            <p:nvPr/>
          </p:nvSpPr>
          <p:spPr>
            <a:xfrm>
              <a:off x="-1285150" y="2365850"/>
              <a:ext cx="191225" cy="293575"/>
            </a:xfrm>
            <a:custGeom>
              <a:avLst/>
              <a:gdLst/>
              <a:ahLst/>
              <a:cxnLst/>
              <a:rect l="l" t="t" r="r" b="b"/>
              <a:pathLst>
                <a:path w="7649" h="11743" extrusionOk="0">
                  <a:moveTo>
                    <a:pt x="3813" y="684"/>
                  </a:moveTo>
                  <a:cubicBezTo>
                    <a:pt x="5545" y="684"/>
                    <a:pt x="6900" y="2039"/>
                    <a:pt x="6900" y="3740"/>
                  </a:cubicBezTo>
                  <a:cubicBezTo>
                    <a:pt x="6931" y="4780"/>
                    <a:pt x="6553" y="5347"/>
                    <a:pt x="6270" y="5788"/>
                  </a:cubicBezTo>
                  <a:cubicBezTo>
                    <a:pt x="5797" y="6544"/>
                    <a:pt x="5608" y="6922"/>
                    <a:pt x="5608" y="7930"/>
                  </a:cubicBezTo>
                  <a:cubicBezTo>
                    <a:pt x="5608" y="8119"/>
                    <a:pt x="5451" y="8277"/>
                    <a:pt x="5230" y="8277"/>
                  </a:cubicBezTo>
                  <a:lnTo>
                    <a:pt x="2489" y="8277"/>
                  </a:lnTo>
                  <a:cubicBezTo>
                    <a:pt x="2300" y="8277"/>
                    <a:pt x="2143" y="8119"/>
                    <a:pt x="2143" y="7930"/>
                  </a:cubicBezTo>
                  <a:cubicBezTo>
                    <a:pt x="2143" y="6922"/>
                    <a:pt x="1922" y="6576"/>
                    <a:pt x="1450" y="5820"/>
                  </a:cubicBezTo>
                  <a:cubicBezTo>
                    <a:pt x="1198" y="5347"/>
                    <a:pt x="567" y="4528"/>
                    <a:pt x="788" y="3205"/>
                  </a:cubicBezTo>
                  <a:cubicBezTo>
                    <a:pt x="1040" y="1819"/>
                    <a:pt x="2237" y="684"/>
                    <a:pt x="3813" y="684"/>
                  </a:cubicBezTo>
                  <a:close/>
                  <a:moveTo>
                    <a:pt x="4852" y="8907"/>
                  </a:moveTo>
                  <a:lnTo>
                    <a:pt x="4852" y="9569"/>
                  </a:lnTo>
                  <a:lnTo>
                    <a:pt x="4506" y="9569"/>
                  </a:lnTo>
                  <a:cubicBezTo>
                    <a:pt x="4285" y="9569"/>
                    <a:pt x="4128" y="9726"/>
                    <a:pt x="4128" y="9915"/>
                  </a:cubicBezTo>
                  <a:cubicBezTo>
                    <a:pt x="4128" y="10136"/>
                    <a:pt x="4285" y="10293"/>
                    <a:pt x="4506" y="10293"/>
                  </a:cubicBezTo>
                  <a:lnTo>
                    <a:pt x="4852" y="10293"/>
                  </a:lnTo>
                  <a:lnTo>
                    <a:pt x="4852" y="10640"/>
                  </a:lnTo>
                  <a:cubicBezTo>
                    <a:pt x="4884" y="10829"/>
                    <a:pt x="4726" y="10986"/>
                    <a:pt x="4537" y="10986"/>
                  </a:cubicBezTo>
                  <a:lnTo>
                    <a:pt x="3151" y="10986"/>
                  </a:lnTo>
                  <a:cubicBezTo>
                    <a:pt x="2962" y="10986"/>
                    <a:pt x="2804" y="10829"/>
                    <a:pt x="2804" y="10640"/>
                  </a:cubicBezTo>
                  <a:lnTo>
                    <a:pt x="2804" y="10293"/>
                  </a:lnTo>
                  <a:lnTo>
                    <a:pt x="3151" y="10293"/>
                  </a:lnTo>
                  <a:cubicBezTo>
                    <a:pt x="3371" y="10293"/>
                    <a:pt x="3529" y="10136"/>
                    <a:pt x="3529" y="9915"/>
                  </a:cubicBezTo>
                  <a:cubicBezTo>
                    <a:pt x="3529" y="9726"/>
                    <a:pt x="3371" y="9569"/>
                    <a:pt x="3151" y="9569"/>
                  </a:cubicBezTo>
                  <a:lnTo>
                    <a:pt x="2804" y="9569"/>
                  </a:lnTo>
                  <a:lnTo>
                    <a:pt x="2804" y="8907"/>
                  </a:lnTo>
                  <a:close/>
                  <a:moveTo>
                    <a:pt x="3897" y="1"/>
                  </a:moveTo>
                  <a:cubicBezTo>
                    <a:pt x="3632" y="1"/>
                    <a:pt x="3361" y="28"/>
                    <a:pt x="3088" y="86"/>
                  </a:cubicBezTo>
                  <a:cubicBezTo>
                    <a:pt x="1607" y="401"/>
                    <a:pt x="441" y="1566"/>
                    <a:pt x="158" y="3079"/>
                  </a:cubicBezTo>
                  <a:cubicBezTo>
                    <a:pt x="0" y="3992"/>
                    <a:pt x="158" y="4969"/>
                    <a:pt x="631" y="5757"/>
                  </a:cubicBezTo>
                  <a:cubicBezTo>
                    <a:pt x="757" y="5914"/>
                    <a:pt x="820" y="6072"/>
                    <a:pt x="914" y="6229"/>
                  </a:cubicBezTo>
                  <a:cubicBezTo>
                    <a:pt x="1355" y="6891"/>
                    <a:pt x="1450" y="7143"/>
                    <a:pt x="1450" y="7962"/>
                  </a:cubicBezTo>
                  <a:cubicBezTo>
                    <a:pt x="1450" y="8403"/>
                    <a:pt x="1733" y="8781"/>
                    <a:pt x="2143" y="8939"/>
                  </a:cubicBezTo>
                  <a:lnTo>
                    <a:pt x="2143" y="10703"/>
                  </a:lnTo>
                  <a:cubicBezTo>
                    <a:pt x="2143" y="11270"/>
                    <a:pt x="2615" y="11743"/>
                    <a:pt x="3151" y="11743"/>
                  </a:cubicBezTo>
                  <a:lnTo>
                    <a:pt x="4537" y="11743"/>
                  </a:lnTo>
                  <a:cubicBezTo>
                    <a:pt x="5073" y="11743"/>
                    <a:pt x="5545" y="11270"/>
                    <a:pt x="5545" y="10703"/>
                  </a:cubicBezTo>
                  <a:lnTo>
                    <a:pt x="5545" y="8939"/>
                  </a:lnTo>
                  <a:cubicBezTo>
                    <a:pt x="5955" y="8781"/>
                    <a:pt x="6238" y="8435"/>
                    <a:pt x="6238" y="7962"/>
                  </a:cubicBezTo>
                  <a:lnTo>
                    <a:pt x="6238" y="7930"/>
                  </a:lnTo>
                  <a:cubicBezTo>
                    <a:pt x="6238" y="7143"/>
                    <a:pt x="6427" y="6828"/>
                    <a:pt x="6805" y="6229"/>
                  </a:cubicBezTo>
                  <a:cubicBezTo>
                    <a:pt x="7089" y="5788"/>
                    <a:pt x="7593" y="5032"/>
                    <a:pt x="7593" y="3835"/>
                  </a:cubicBezTo>
                  <a:cubicBezTo>
                    <a:pt x="7649" y="1658"/>
                    <a:pt x="5950" y="1"/>
                    <a:pt x="3897"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1264" name="Google Shape;11264;p115"/>
            <p:cNvSpPr/>
            <p:nvPr/>
          </p:nvSpPr>
          <p:spPr>
            <a:xfrm>
              <a:off x="-1076425" y="2452250"/>
              <a:ext cx="34675" cy="18150"/>
            </a:xfrm>
            <a:custGeom>
              <a:avLst/>
              <a:gdLst/>
              <a:ahLst/>
              <a:cxnLst/>
              <a:rect l="l" t="t" r="r" b="b"/>
              <a:pathLst>
                <a:path w="1387" h="726" extrusionOk="0">
                  <a:moveTo>
                    <a:pt x="347" y="1"/>
                  </a:moveTo>
                  <a:cubicBezTo>
                    <a:pt x="158" y="1"/>
                    <a:pt x="0" y="158"/>
                    <a:pt x="0" y="379"/>
                  </a:cubicBezTo>
                  <a:cubicBezTo>
                    <a:pt x="0" y="568"/>
                    <a:pt x="158" y="725"/>
                    <a:pt x="347" y="725"/>
                  </a:cubicBezTo>
                  <a:lnTo>
                    <a:pt x="1040" y="725"/>
                  </a:lnTo>
                  <a:cubicBezTo>
                    <a:pt x="1229" y="725"/>
                    <a:pt x="1386" y="568"/>
                    <a:pt x="1386" y="379"/>
                  </a:cubicBezTo>
                  <a:cubicBezTo>
                    <a:pt x="1386" y="158"/>
                    <a:pt x="1229" y="1"/>
                    <a:pt x="1040"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1265" name="Google Shape;11265;p115"/>
            <p:cNvSpPr/>
            <p:nvPr/>
          </p:nvSpPr>
          <p:spPr>
            <a:xfrm>
              <a:off x="-1333975" y="2452250"/>
              <a:ext cx="34675" cy="18150"/>
            </a:xfrm>
            <a:custGeom>
              <a:avLst/>
              <a:gdLst/>
              <a:ahLst/>
              <a:cxnLst/>
              <a:rect l="l" t="t" r="r" b="b"/>
              <a:pathLst>
                <a:path w="1387" h="726" extrusionOk="0">
                  <a:moveTo>
                    <a:pt x="347" y="1"/>
                  </a:moveTo>
                  <a:cubicBezTo>
                    <a:pt x="158" y="1"/>
                    <a:pt x="0" y="158"/>
                    <a:pt x="0" y="379"/>
                  </a:cubicBezTo>
                  <a:cubicBezTo>
                    <a:pt x="0" y="568"/>
                    <a:pt x="158" y="725"/>
                    <a:pt x="347" y="725"/>
                  </a:cubicBezTo>
                  <a:lnTo>
                    <a:pt x="1008" y="725"/>
                  </a:lnTo>
                  <a:cubicBezTo>
                    <a:pt x="1197" y="694"/>
                    <a:pt x="1386" y="536"/>
                    <a:pt x="1386" y="379"/>
                  </a:cubicBezTo>
                  <a:cubicBezTo>
                    <a:pt x="1386" y="158"/>
                    <a:pt x="1197" y="1"/>
                    <a:pt x="1008"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1266" name="Google Shape;11266;p115"/>
            <p:cNvSpPr/>
            <p:nvPr/>
          </p:nvSpPr>
          <p:spPr>
            <a:xfrm>
              <a:off x="-1093750" y="2383050"/>
              <a:ext cx="35450" cy="26575"/>
            </a:xfrm>
            <a:custGeom>
              <a:avLst/>
              <a:gdLst/>
              <a:ahLst/>
              <a:cxnLst/>
              <a:rect l="l" t="t" r="r" b="b"/>
              <a:pathLst>
                <a:path w="1418" h="1063" extrusionOk="0">
                  <a:moveTo>
                    <a:pt x="992" y="1"/>
                  </a:moveTo>
                  <a:cubicBezTo>
                    <a:pt x="931" y="1"/>
                    <a:pt x="870" y="19"/>
                    <a:pt x="819" y="59"/>
                  </a:cubicBezTo>
                  <a:lnTo>
                    <a:pt x="221" y="406"/>
                  </a:lnTo>
                  <a:cubicBezTo>
                    <a:pt x="63" y="500"/>
                    <a:pt x="0" y="721"/>
                    <a:pt x="95" y="878"/>
                  </a:cubicBezTo>
                  <a:cubicBezTo>
                    <a:pt x="159" y="985"/>
                    <a:pt x="295" y="1063"/>
                    <a:pt x="415" y="1063"/>
                  </a:cubicBezTo>
                  <a:cubicBezTo>
                    <a:pt x="473" y="1063"/>
                    <a:pt x="527" y="1045"/>
                    <a:pt x="567" y="1005"/>
                  </a:cubicBezTo>
                  <a:lnTo>
                    <a:pt x="1166" y="658"/>
                  </a:lnTo>
                  <a:cubicBezTo>
                    <a:pt x="1323" y="563"/>
                    <a:pt x="1418" y="343"/>
                    <a:pt x="1292" y="185"/>
                  </a:cubicBezTo>
                  <a:cubicBezTo>
                    <a:pt x="1249" y="79"/>
                    <a:pt x="1120" y="1"/>
                    <a:pt x="992"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1267" name="Google Shape;11267;p115"/>
            <p:cNvSpPr/>
            <p:nvPr/>
          </p:nvSpPr>
          <p:spPr>
            <a:xfrm>
              <a:off x="-1317450" y="2512575"/>
              <a:ext cx="35475" cy="26225"/>
            </a:xfrm>
            <a:custGeom>
              <a:avLst/>
              <a:gdLst/>
              <a:ahLst/>
              <a:cxnLst/>
              <a:rect l="l" t="t" r="r" b="b"/>
              <a:pathLst>
                <a:path w="1419" h="1049" extrusionOk="0">
                  <a:moveTo>
                    <a:pt x="1005" y="1"/>
                  </a:moveTo>
                  <a:cubicBezTo>
                    <a:pt x="944" y="1"/>
                    <a:pt x="880" y="15"/>
                    <a:pt x="820" y="45"/>
                  </a:cubicBezTo>
                  <a:lnTo>
                    <a:pt x="221" y="392"/>
                  </a:lnTo>
                  <a:cubicBezTo>
                    <a:pt x="64" y="486"/>
                    <a:pt x="1" y="707"/>
                    <a:pt x="127" y="864"/>
                  </a:cubicBezTo>
                  <a:cubicBezTo>
                    <a:pt x="169" y="971"/>
                    <a:pt x="299" y="1049"/>
                    <a:pt x="427" y="1049"/>
                  </a:cubicBezTo>
                  <a:cubicBezTo>
                    <a:pt x="488" y="1049"/>
                    <a:pt x="548" y="1031"/>
                    <a:pt x="599" y="990"/>
                  </a:cubicBezTo>
                  <a:lnTo>
                    <a:pt x="1166" y="644"/>
                  </a:lnTo>
                  <a:cubicBezTo>
                    <a:pt x="1324" y="549"/>
                    <a:pt x="1418" y="329"/>
                    <a:pt x="1292" y="171"/>
                  </a:cubicBezTo>
                  <a:cubicBezTo>
                    <a:pt x="1250" y="64"/>
                    <a:pt x="1134" y="1"/>
                    <a:pt x="1005"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1268" name="Google Shape;11268;p115"/>
            <p:cNvSpPr/>
            <p:nvPr/>
          </p:nvSpPr>
          <p:spPr>
            <a:xfrm>
              <a:off x="-1092975" y="2512575"/>
              <a:ext cx="34675" cy="25525"/>
            </a:xfrm>
            <a:custGeom>
              <a:avLst/>
              <a:gdLst/>
              <a:ahLst/>
              <a:cxnLst/>
              <a:rect l="l" t="t" r="r" b="b"/>
              <a:pathLst>
                <a:path w="1387" h="1021" extrusionOk="0">
                  <a:moveTo>
                    <a:pt x="378" y="1"/>
                  </a:moveTo>
                  <a:cubicBezTo>
                    <a:pt x="264" y="1"/>
                    <a:pt x="149" y="64"/>
                    <a:pt x="64" y="171"/>
                  </a:cubicBezTo>
                  <a:cubicBezTo>
                    <a:pt x="1" y="329"/>
                    <a:pt x="32" y="518"/>
                    <a:pt x="190" y="644"/>
                  </a:cubicBezTo>
                  <a:lnTo>
                    <a:pt x="788" y="990"/>
                  </a:lnTo>
                  <a:cubicBezTo>
                    <a:pt x="838" y="1010"/>
                    <a:pt x="891" y="1021"/>
                    <a:pt x="944" y="1021"/>
                  </a:cubicBezTo>
                  <a:cubicBezTo>
                    <a:pt x="1059" y="1021"/>
                    <a:pt x="1175" y="972"/>
                    <a:pt x="1261" y="864"/>
                  </a:cubicBezTo>
                  <a:cubicBezTo>
                    <a:pt x="1387" y="675"/>
                    <a:pt x="1292" y="486"/>
                    <a:pt x="1135" y="392"/>
                  </a:cubicBezTo>
                  <a:lnTo>
                    <a:pt x="536" y="45"/>
                  </a:lnTo>
                  <a:cubicBezTo>
                    <a:pt x="486" y="15"/>
                    <a:pt x="432" y="1"/>
                    <a:pt x="378"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1269" name="Google Shape;11269;p115"/>
            <p:cNvSpPr/>
            <p:nvPr/>
          </p:nvSpPr>
          <p:spPr>
            <a:xfrm>
              <a:off x="-1316650" y="2383750"/>
              <a:ext cx="34675" cy="25525"/>
            </a:xfrm>
            <a:custGeom>
              <a:avLst/>
              <a:gdLst/>
              <a:ahLst/>
              <a:cxnLst/>
              <a:rect l="l" t="t" r="r" b="b"/>
              <a:pathLst>
                <a:path w="1387" h="1021" extrusionOk="0">
                  <a:moveTo>
                    <a:pt x="405" y="1"/>
                  </a:moveTo>
                  <a:cubicBezTo>
                    <a:pt x="283" y="1"/>
                    <a:pt x="159" y="50"/>
                    <a:pt x="95" y="157"/>
                  </a:cubicBezTo>
                  <a:cubicBezTo>
                    <a:pt x="0" y="315"/>
                    <a:pt x="63" y="504"/>
                    <a:pt x="221" y="630"/>
                  </a:cubicBezTo>
                  <a:lnTo>
                    <a:pt x="788" y="977"/>
                  </a:lnTo>
                  <a:cubicBezTo>
                    <a:pt x="838" y="1007"/>
                    <a:pt x="895" y="1021"/>
                    <a:pt x="953" y="1021"/>
                  </a:cubicBezTo>
                  <a:cubicBezTo>
                    <a:pt x="1074" y="1021"/>
                    <a:pt x="1196" y="958"/>
                    <a:pt x="1260" y="850"/>
                  </a:cubicBezTo>
                  <a:cubicBezTo>
                    <a:pt x="1386" y="693"/>
                    <a:pt x="1292" y="504"/>
                    <a:pt x="1134" y="378"/>
                  </a:cubicBezTo>
                  <a:lnTo>
                    <a:pt x="567" y="31"/>
                  </a:lnTo>
                  <a:cubicBezTo>
                    <a:pt x="517" y="11"/>
                    <a:pt x="461" y="1"/>
                    <a:pt x="405"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1270" name="Google Shape;11270;p115"/>
            <p:cNvSpPr/>
            <p:nvPr/>
          </p:nvSpPr>
          <p:spPr>
            <a:xfrm>
              <a:off x="-1239475" y="2401575"/>
              <a:ext cx="102425" cy="153100"/>
            </a:xfrm>
            <a:custGeom>
              <a:avLst/>
              <a:gdLst/>
              <a:ahLst/>
              <a:cxnLst/>
              <a:rect l="l" t="t" r="r" b="b"/>
              <a:pathLst>
                <a:path w="4097" h="6124" extrusionOk="0">
                  <a:moveTo>
                    <a:pt x="1733" y="1492"/>
                  </a:moveTo>
                  <a:lnTo>
                    <a:pt x="1733" y="2343"/>
                  </a:lnTo>
                  <a:cubicBezTo>
                    <a:pt x="1733" y="2500"/>
                    <a:pt x="1796" y="2626"/>
                    <a:pt x="1922" y="2658"/>
                  </a:cubicBezTo>
                  <a:lnTo>
                    <a:pt x="3246" y="3225"/>
                  </a:lnTo>
                  <a:lnTo>
                    <a:pt x="2395" y="4611"/>
                  </a:lnTo>
                  <a:lnTo>
                    <a:pt x="2395" y="3729"/>
                  </a:lnTo>
                  <a:cubicBezTo>
                    <a:pt x="2395" y="3572"/>
                    <a:pt x="2332" y="3445"/>
                    <a:pt x="2206" y="3414"/>
                  </a:cubicBezTo>
                  <a:lnTo>
                    <a:pt x="851" y="2878"/>
                  </a:lnTo>
                  <a:lnTo>
                    <a:pt x="1733" y="1492"/>
                  </a:lnTo>
                  <a:close/>
                  <a:moveTo>
                    <a:pt x="2038" y="0"/>
                  </a:moveTo>
                  <a:cubicBezTo>
                    <a:pt x="1919" y="0"/>
                    <a:pt x="1814" y="47"/>
                    <a:pt x="1765" y="169"/>
                  </a:cubicBezTo>
                  <a:lnTo>
                    <a:pt x="64" y="2941"/>
                  </a:lnTo>
                  <a:cubicBezTo>
                    <a:pt x="32" y="3004"/>
                    <a:pt x="1" y="3130"/>
                    <a:pt x="32" y="3225"/>
                  </a:cubicBezTo>
                  <a:cubicBezTo>
                    <a:pt x="64" y="3288"/>
                    <a:pt x="158" y="3382"/>
                    <a:pt x="221" y="3414"/>
                  </a:cubicBezTo>
                  <a:lnTo>
                    <a:pt x="1733" y="4013"/>
                  </a:lnTo>
                  <a:lnTo>
                    <a:pt x="1733" y="5808"/>
                  </a:lnTo>
                  <a:cubicBezTo>
                    <a:pt x="1733" y="5966"/>
                    <a:pt x="1859" y="6092"/>
                    <a:pt x="1954" y="6123"/>
                  </a:cubicBezTo>
                  <a:lnTo>
                    <a:pt x="2049" y="6123"/>
                  </a:lnTo>
                  <a:cubicBezTo>
                    <a:pt x="2143" y="6123"/>
                    <a:pt x="2269" y="6092"/>
                    <a:pt x="2301" y="5966"/>
                  </a:cubicBezTo>
                  <a:lnTo>
                    <a:pt x="4002" y="3225"/>
                  </a:lnTo>
                  <a:cubicBezTo>
                    <a:pt x="4033" y="3130"/>
                    <a:pt x="4096" y="3004"/>
                    <a:pt x="4033" y="2941"/>
                  </a:cubicBezTo>
                  <a:cubicBezTo>
                    <a:pt x="4033" y="2878"/>
                    <a:pt x="3970" y="2784"/>
                    <a:pt x="3907" y="2752"/>
                  </a:cubicBezTo>
                  <a:lnTo>
                    <a:pt x="2395" y="2154"/>
                  </a:lnTo>
                  <a:lnTo>
                    <a:pt x="2395" y="358"/>
                  </a:lnTo>
                  <a:cubicBezTo>
                    <a:pt x="2395" y="169"/>
                    <a:pt x="2269" y="74"/>
                    <a:pt x="2143" y="11"/>
                  </a:cubicBezTo>
                  <a:cubicBezTo>
                    <a:pt x="2108" y="4"/>
                    <a:pt x="2072" y="0"/>
                    <a:pt x="2038"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11271" name="Google Shape;11271;p115"/>
          <p:cNvGrpSpPr/>
          <p:nvPr/>
        </p:nvGrpSpPr>
        <p:grpSpPr>
          <a:xfrm>
            <a:off x="2605528" y="3547196"/>
            <a:ext cx="530693" cy="562552"/>
            <a:chOff x="-5995925" y="2757850"/>
            <a:chExt cx="275675" cy="292225"/>
          </a:xfrm>
        </p:grpSpPr>
        <p:sp>
          <p:nvSpPr>
            <p:cNvPr id="11272" name="Google Shape;11272;p115"/>
            <p:cNvSpPr/>
            <p:nvPr/>
          </p:nvSpPr>
          <p:spPr>
            <a:xfrm>
              <a:off x="-5995925" y="2757850"/>
              <a:ext cx="275675" cy="292225"/>
            </a:xfrm>
            <a:custGeom>
              <a:avLst/>
              <a:gdLst/>
              <a:ahLst/>
              <a:cxnLst/>
              <a:rect l="l" t="t" r="r" b="b"/>
              <a:pathLst>
                <a:path w="11027" h="11689" extrusionOk="0">
                  <a:moveTo>
                    <a:pt x="9924" y="1324"/>
                  </a:moveTo>
                  <a:cubicBezTo>
                    <a:pt x="10113" y="1324"/>
                    <a:pt x="10271" y="1481"/>
                    <a:pt x="10271" y="1702"/>
                  </a:cubicBezTo>
                  <a:lnTo>
                    <a:pt x="10271" y="9263"/>
                  </a:lnTo>
                  <a:lnTo>
                    <a:pt x="10302" y="9263"/>
                  </a:lnTo>
                  <a:cubicBezTo>
                    <a:pt x="10302" y="9452"/>
                    <a:pt x="10145" y="9610"/>
                    <a:pt x="9956" y="9610"/>
                  </a:cubicBezTo>
                  <a:lnTo>
                    <a:pt x="9609" y="9610"/>
                  </a:lnTo>
                  <a:lnTo>
                    <a:pt x="9609" y="8570"/>
                  </a:lnTo>
                  <a:cubicBezTo>
                    <a:pt x="9609" y="8381"/>
                    <a:pt x="9452" y="8223"/>
                    <a:pt x="9263" y="8223"/>
                  </a:cubicBezTo>
                  <a:lnTo>
                    <a:pt x="4442" y="8223"/>
                  </a:lnTo>
                  <a:cubicBezTo>
                    <a:pt x="4253" y="8223"/>
                    <a:pt x="4096" y="8381"/>
                    <a:pt x="4096" y="8570"/>
                  </a:cubicBezTo>
                  <a:lnTo>
                    <a:pt x="4096" y="9610"/>
                  </a:lnTo>
                  <a:lnTo>
                    <a:pt x="3434" y="9610"/>
                  </a:lnTo>
                  <a:lnTo>
                    <a:pt x="3434" y="1324"/>
                  </a:lnTo>
                  <a:close/>
                  <a:moveTo>
                    <a:pt x="2426" y="631"/>
                  </a:moveTo>
                  <a:cubicBezTo>
                    <a:pt x="2647" y="631"/>
                    <a:pt x="2804" y="788"/>
                    <a:pt x="2804" y="977"/>
                  </a:cubicBezTo>
                  <a:lnTo>
                    <a:pt x="2804" y="9925"/>
                  </a:lnTo>
                  <a:cubicBezTo>
                    <a:pt x="2804" y="10114"/>
                    <a:pt x="2647" y="10271"/>
                    <a:pt x="2426" y="10271"/>
                  </a:cubicBezTo>
                  <a:lnTo>
                    <a:pt x="1071" y="10271"/>
                  </a:lnTo>
                  <a:cubicBezTo>
                    <a:pt x="851" y="10271"/>
                    <a:pt x="693" y="10114"/>
                    <a:pt x="693" y="9925"/>
                  </a:cubicBezTo>
                  <a:lnTo>
                    <a:pt x="693" y="977"/>
                  </a:lnTo>
                  <a:cubicBezTo>
                    <a:pt x="693" y="788"/>
                    <a:pt x="851" y="631"/>
                    <a:pt x="1071" y="631"/>
                  </a:cubicBezTo>
                  <a:close/>
                  <a:moveTo>
                    <a:pt x="8948" y="8948"/>
                  </a:moveTo>
                  <a:lnTo>
                    <a:pt x="8948" y="10996"/>
                  </a:lnTo>
                  <a:lnTo>
                    <a:pt x="4852" y="10996"/>
                  </a:lnTo>
                  <a:lnTo>
                    <a:pt x="4852" y="8948"/>
                  </a:lnTo>
                  <a:close/>
                  <a:moveTo>
                    <a:pt x="1008" y="1"/>
                  </a:moveTo>
                  <a:cubicBezTo>
                    <a:pt x="473" y="1"/>
                    <a:pt x="0" y="473"/>
                    <a:pt x="0" y="1009"/>
                  </a:cubicBezTo>
                  <a:lnTo>
                    <a:pt x="0" y="9956"/>
                  </a:lnTo>
                  <a:cubicBezTo>
                    <a:pt x="0" y="10523"/>
                    <a:pt x="473" y="10996"/>
                    <a:pt x="1008" y="10996"/>
                  </a:cubicBezTo>
                  <a:lnTo>
                    <a:pt x="2395" y="10996"/>
                  </a:lnTo>
                  <a:cubicBezTo>
                    <a:pt x="2836" y="10996"/>
                    <a:pt x="3214" y="10712"/>
                    <a:pt x="3371" y="10303"/>
                  </a:cubicBezTo>
                  <a:lnTo>
                    <a:pt x="4127" y="10303"/>
                  </a:lnTo>
                  <a:lnTo>
                    <a:pt x="4127" y="11342"/>
                  </a:lnTo>
                  <a:cubicBezTo>
                    <a:pt x="4127" y="11531"/>
                    <a:pt x="4285" y="11689"/>
                    <a:pt x="4474" y="11689"/>
                  </a:cubicBezTo>
                  <a:lnTo>
                    <a:pt x="9294" y="11689"/>
                  </a:lnTo>
                  <a:cubicBezTo>
                    <a:pt x="9483" y="11689"/>
                    <a:pt x="9641" y="11531"/>
                    <a:pt x="9641" y="11342"/>
                  </a:cubicBezTo>
                  <a:lnTo>
                    <a:pt x="9641" y="10271"/>
                  </a:lnTo>
                  <a:lnTo>
                    <a:pt x="9987" y="10271"/>
                  </a:lnTo>
                  <a:cubicBezTo>
                    <a:pt x="10554" y="10271"/>
                    <a:pt x="11027" y="9799"/>
                    <a:pt x="11027" y="9263"/>
                  </a:cubicBezTo>
                  <a:lnTo>
                    <a:pt x="11027" y="1702"/>
                  </a:lnTo>
                  <a:cubicBezTo>
                    <a:pt x="10995" y="1103"/>
                    <a:pt x="10554" y="662"/>
                    <a:pt x="9956" y="662"/>
                  </a:cubicBezTo>
                  <a:lnTo>
                    <a:pt x="3371" y="662"/>
                  </a:lnTo>
                  <a:cubicBezTo>
                    <a:pt x="3214" y="284"/>
                    <a:pt x="2867" y="1"/>
                    <a:pt x="2395"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1273" name="Google Shape;11273;p115"/>
            <p:cNvSpPr/>
            <p:nvPr/>
          </p:nvSpPr>
          <p:spPr>
            <a:xfrm>
              <a:off x="-5892750" y="2808250"/>
              <a:ext cx="137850" cy="69350"/>
            </a:xfrm>
            <a:custGeom>
              <a:avLst/>
              <a:gdLst/>
              <a:ahLst/>
              <a:cxnLst/>
              <a:rect l="l" t="t" r="r" b="b"/>
              <a:pathLst>
                <a:path w="5514" h="2774" extrusionOk="0">
                  <a:moveTo>
                    <a:pt x="4821" y="694"/>
                  </a:moveTo>
                  <a:lnTo>
                    <a:pt x="4821" y="2112"/>
                  </a:lnTo>
                  <a:lnTo>
                    <a:pt x="725" y="2112"/>
                  </a:lnTo>
                  <a:lnTo>
                    <a:pt x="725" y="694"/>
                  </a:lnTo>
                  <a:close/>
                  <a:moveTo>
                    <a:pt x="347" y="1"/>
                  </a:moveTo>
                  <a:cubicBezTo>
                    <a:pt x="158" y="1"/>
                    <a:pt x="0" y="158"/>
                    <a:pt x="0" y="348"/>
                  </a:cubicBezTo>
                  <a:lnTo>
                    <a:pt x="0" y="2427"/>
                  </a:lnTo>
                  <a:cubicBezTo>
                    <a:pt x="0" y="2616"/>
                    <a:pt x="158" y="2773"/>
                    <a:pt x="347" y="2773"/>
                  </a:cubicBezTo>
                  <a:lnTo>
                    <a:pt x="5167" y="2773"/>
                  </a:lnTo>
                  <a:cubicBezTo>
                    <a:pt x="5356" y="2773"/>
                    <a:pt x="5514" y="2616"/>
                    <a:pt x="5514" y="2427"/>
                  </a:cubicBezTo>
                  <a:lnTo>
                    <a:pt x="5514" y="348"/>
                  </a:lnTo>
                  <a:cubicBezTo>
                    <a:pt x="5514" y="158"/>
                    <a:pt x="5356" y="1"/>
                    <a:pt x="5167"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1274" name="Google Shape;11274;p115"/>
            <p:cNvSpPr/>
            <p:nvPr/>
          </p:nvSpPr>
          <p:spPr>
            <a:xfrm>
              <a:off x="-5891975" y="2895675"/>
              <a:ext cx="34700" cy="17375"/>
            </a:xfrm>
            <a:custGeom>
              <a:avLst/>
              <a:gdLst/>
              <a:ahLst/>
              <a:cxnLst/>
              <a:rect l="l" t="t" r="r" b="b"/>
              <a:pathLst>
                <a:path w="1388" h="695" extrusionOk="0">
                  <a:moveTo>
                    <a:pt x="379" y="1"/>
                  </a:moveTo>
                  <a:cubicBezTo>
                    <a:pt x="158" y="1"/>
                    <a:pt x="1" y="159"/>
                    <a:pt x="1" y="348"/>
                  </a:cubicBezTo>
                  <a:cubicBezTo>
                    <a:pt x="1" y="537"/>
                    <a:pt x="158" y="694"/>
                    <a:pt x="379" y="694"/>
                  </a:cubicBezTo>
                  <a:lnTo>
                    <a:pt x="1041" y="694"/>
                  </a:lnTo>
                  <a:cubicBezTo>
                    <a:pt x="1230" y="694"/>
                    <a:pt x="1387" y="537"/>
                    <a:pt x="1387" y="348"/>
                  </a:cubicBezTo>
                  <a:cubicBezTo>
                    <a:pt x="1356" y="127"/>
                    <a:pt x="1198" y="1"/>
                    <a:pt x="1041"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1275" name="Google Shape;11275;p115"/>
            <p:cNvSpPr/>
            <p:nvPr/>
          </p:nvSpPr>
          <p:spPr>
            <a:xfrm>
              <a:off x="-5891975" y="2928775"/>
              <a:ext cx="34700" cy="18125"/>
            </a:xfrm>
            <a:custGeom>
              <a:avLst/>
              <a:gdLst/>
              <a:ahLst/>
              <a:cxnLst/>
              <a:rect l="l" t="t" r="r" b="b"/>
              <a:pathLst>
                <a:path w="1388" h="725" extrusionOk="0">
                  <a:moveTo>
                    <a:pt x="379" y="0"/>
                  </a:moveTo>
                  <a:cubicBezTo>
                    <a:pt x="158" y="0"/>
                    <a:pt x="1" y="158"/>
                    <a:pt x="1" y="378"/>
                  </a:cubicBezTo>
                  <a:cubicBezTo>
                    <a:pt x="1" y="567"/>
                    <a:pt x="158" y="725"/>
                    <a:pt x="379" y="725"/>
                  </a:cubicBezTo>
                  <a:lnTo>
                    <a:pt x="1041" y="725"/>
                  </a:lnTo>
                  <a:cubicBezTo>
                    <a:pt x="1230" y="725"/>
                    <a:pt x="1387" y="567"/>
                    <a:pt x="1387" y="378"/>
                  </a:cubicBezTo>
                  <a:cubicBezTo>
                    <a:pt x="1356" y="158"/>
                    <a:pt x="1198" y="0"/>
                    <a:pt x="1041"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1276" name="Google Shape;11276;p115"/>
            <p:cNvSpPr/>
            <p:nvPr/>
          </p:nvSpPr>
          <p:spPr>
            <a:xfrm>
              <a:off x="-5840775" y="2928775"/>
              <a:ext cx="34675" cy="18125"/>
            </a:xfrm>
            <a:custGeom>
              <a:avLst/>
              <a:gdLst/>
              <a:ahLst/>
              <a:cxnLst/>
              <a:rect l="l" t="t" r="r" b="b"/>
              <a:pathLst>
                <a:path w="1387" h="725" extrusionOk="0">
                  <a:moveTo>
                    <a:pt x="379" y="0"/>
                  </a:moveTo>
                  <a:cubicBezTo>
                    <a:pt x="158" y="0"/>
                    <a:pt x="1" y="158"/>
                    <a:pt x="1" y="378"/>
                  </a:cubicBezTo>
                  <a:cubicBezTo>
                    <a:pt x="1" y="567"/>
                    <a:pt x="158" y="725"/>
                    <a:pt x="379" y="725"/>
                  </a:cubicBezTo>
                  <a:lnTo>
                    <a:pt x="1040" y="725"/>
                  </a:lnTo>
                  <a:cubicBezTo>
                    <a:pt x="1229" y="725"/>
                    <a:pt x="1387" y="567"/>
                    <a:pt x="1387" y="378"/>
                  </a:cubicBezTo>
                  <a:cubicBezTo>
                    <a:pt x="1387" y="158"/>
                    <a:pt x="1229" y="0"/>
                    <a:pt x="1040"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1277" name="Google Shape;11277;p115"/>
            <p:cNvSpPr/>
            <p:nvPr/>
          </p:nvSpPr>
          <p:spPr>
            <a:xfrm>
              <a:off x="-5840775" y="2895675"/>
              <a:ext cx="34675" cy="17375"/>
            </a:xfrm>
            <a:custGeom>
              <a:avLst/>
              <a:gdLst/>
              <a:ahLst/>
              <a:cxnLst/>
              <a:rect l="l" t="t" r="r" b="b"/>
              <a:pathLst>
                <a:path w="1387" h="695" extrusionOk="0">
                  <a:moveTo>
                    <a:pt x="379" y="1"/>
                  </a:moveTo>
                  <a:cubicBezTo>
                    <a:pt x="158" y="1"/>
                    <a:pt x="1" y="159"/>
                    <a:pt x="1" y="348"/>
                  </a:cubicBezTo>
                  <a:cubicBezTo>
                    <a:pt x="1" y="537"/>
                    <a:pt x="158" y="694"/>
                    <a:pt x="379" y="694"/>
                  </a:cubicBezTo>
                  <a:lnTo>
                    <a:pt x="1040" y="694"/>
                  </a:lnTo>
                  <a:cubicBezTo>
                    <a:pt x="1229" y="694"/>
                    <a:pt x="1387" y="537"/>
                    <a:pt x="1387" y="348"/>
                  </a:cubicBezTo>
                  <a:cubicBezTo>
                    <a:pt x="1387" y="127"/>
                    <a:pt x="1229" y="1"/>
                    <a:pt x="1040"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1278" name="Google Shape;11278;p115"/>
            <p:cNvSpPr/>
            <p:nvPr/>
          </p:nvSpPr>
          <p:spPr>
            <a:xfrm>
              <a:off x="-5789575" y="2895675"/>
              <a:ext cx="34675" cy="17375"/>
            </a:xfrm>
            <a:custGeom>
              <a:avLst/>
              <a:gdLst/>
              <a:ahLst/>
              <a:cxnLst/>
              <a:rect l="l" t="t" r="r" b="b"/>
              <a:pathLst>
                <a:path w="1387" h="695" extrusionOk="0">
                  <a:moveTo>
                    <a:pt x="379" y="1"/>
                  </a:moveTo>
                  <a:cubicBezTo>
                    <a:pt x="158" y="1"/>
                    <a:pt x="1" y="159"/>
                    <a:pt x="1" y="348"/>
                  </a:cubicBezTo>
                  <a:cubicBezTo>
                    <a:pt x="1" y="537"/>
                    <a:pt x="158" y="694"/>
                    <a:pt x="379" y="694"/>
                  </a:cubicBezTo>
                  <a:lnTo>
                    <a:pt x="1040" y="694"/>
                  </a:lnTo>
                  <a:cubicBezTo>
                    <a:pt x="1229" y="694"/>
                    <a:pt x="1387" y="537"/>
                    <a:pt x="1387" y="348"/>
                  </a:cubicBezTo>
                  <a:cubicBezTo>
                    <a:pt x="1387" y="127"/>
                    <a:pt x="1229" y="1"/>
                    <a:pt x="1040"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1279" name="Google Shape;11279;p115"/>
            <p:cNvSpPr/>
            <p:nvPr/>
          </p:nvSpPr>
          <p:spPr>
            <a:xfrm>
              <a:off x="-5789575" y="2928775"/>
              <a:ext cx="34675" cy="18125"/>
            </a:xfrm>
            <a:custGeom>
              <a:avLst/>
              <a:gdLst/>
              <a:ahLst/>
              <a:cxnLst/>
              <a:rect l="l" t="t" r="r" b="b"/>
              <a:pathLst>
                <a:path w="1387" h="725" extrusionOk="0">
                  <a:moveTo>
                    <a:pt x="379" y="0"/>
                  </a:moveTo>
                  <a:cubicBezTo>
                    <a:pt x="158" y="0"/>
                    <a:pt x="1" y="158"/>
                    <a:pt x="1" y="378"/>
                  </a:cubicBezTo>
                  <a:cubicBezTo>
                    <a:pt x="1" y="567"/>
                    <a:pt x="158" y="725"/>
                    <a:pt x="379" y="725"/>
                  </a:cubicBezTo>
                  <a:lnTo>
                    <a:pt x="1040" y="725"/>
                  </a:lnTo>
                  <a:cubicBezTo>
                    <a:pt x="1229" y="725"/>
                    <a:pt x="1387" y="567"/>
                    <a:pt x="1387" y="378"/>
                  </a:cubicBezTo>
                  <a:cubicBezTo>
                    <a:pt x="1387" y="158"/>
                    <a:pt x="1229" y="0"/>
                    <a:pt x="1040"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1280" name="Google Shape;11280;p115"/>
            <p:cNvSpPr/>
            <p:nvPr/>
          </p:nvSpPr>
          <p:spPr>
            <a:xfrm>
              <a:off x="-5858100" y="2998075"/>
              <a:ext cx="68550" cy="17350"/>
            </a:xfrm>
            <a:custGeom>
              <a:avLst/>
              <a:gdLst/>
              <a:ahLst/>
              <a:cxnLst/>
              <a:rect l="l" t="t" r="r" b="b"/>
              <a:pathLst>
                <a:path w="2742" h="694" extrusionOk="0">
                  <a:moveTo>
                    <a:pt x="347" y="1"/>
                  </a:moveTo>
                  <a:cubicBezTo>
                    <a:pt x="158" y="1"/>
                    <a:pt x="1" y="158"/>
                    <a:pt x="1" y="347"/>
                  </a:cubicBezTo>
                  <a:cubicBezTo>
                    <a:pt x="1" y="536"/>
                    <a:pt x="158" y="694"/>
                    <a:pt x="347" y="694"/>
                  </a:cubicBezTo>
                  <a:lnTo>
                    <a:pt x="2395" y="694"/>
                  </a:lnTo>
                  <a:cubicBezTo>
                    <a:pt x="2584" y="694"/>
                    <a:pt x="2742" y="536"/>
                    <a:pt x="2742" y="347"/>
                  </a:cubicBezTo>
                  <a:cubicBezTo>
                    <a:pt x="2742" y="158"/>
                    <a:pt x="2584" y="1"/>
                    <a:pt x="2395"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11281" name="Google Shape;11281;p115"/>
          <p:cNvGrpSpPr/>
          <p:nvPr/>
        </p:nvGrpSpPr>
        <p:grpSpPr>
          <a:xfrm>
            <a:off x="6179245" y="2175756"/>
            <a:ext cx="562601" cy="559569"/>
            <a:chOff x="-4211975" y="2046625"/>
            <a:chExt cx="292250" cy="290675"/>
          </a:xfrm>
        </p:grpSpPr>
        <p:sp>
          <p:nvSpPr>
            <p:cNvPr id="11282" name="Google Shape;11282;p115"/>
            <p:cNvSpPr/>
            <p:nvPr/>
          </p:nvSpPr>
          <p:spPr>
            <a:xfrm>
              <a:off x="-4211975" y="2081300"/>
              <a:ext cx="256025" cy="256000"/>
            </a:xfrm>
            <a:custGeom>
              <a:avLst/>
              <a:gdLst/>
              <a:ahLst/>
              <a:cxnLst/>
              <a:rect l="l" t="t" r="r" b="b"/>
              <a:pathLst>
                <a:path w="10241" h="10240" extrusionOk="0">
                  <a:moveTo>
                    <a:pt x="4758" y="693"/>
                  </a:moveTo>
                  <a:lnTo>
                    <a:pt x="4758" y="5167"/>
                  </a:lnTo>
                  <a:cubicBezTo>
                    <a:pt x="4758" y="5356"/>
                    <a:pt x="4916" y="5513"/>
                    <a:pt x="5105" y="5513"/>
                  </a:cubicBezTo>
                  <a:lnTo>
                    <a:pt x="9578" y="5513"/>
                  </a:lnTo>
                  <a:cubicBezTo>
                    <a:pt x="9358" y="7813"/>
                    <a:pt x="7436" y="9609"/>
                    <a:pt x="5105" y="9609"/>
                  </a:cubicBezTo>
                  <a:cubicBezTo>
                    <a:pt x="2679" y="9609"/>
                    <a:pt x="663" y="7593"/>
                    <a:pt x="663" y="5167"/>
                  </a:cubicBezTo>
                  <a:cubicBezTo>
                    <a:pt x="663" y="2835"/>
                    <a:pt x="2490" y="914"/>
                    <a:pt x="4758" y="693"/>
                  </a:cubicBezTo>
                  <a:close/>
                  <a:moveTo>
                    <a:pt x="5105" y="0"/>
                  </a:moveTo>
                  <a:cubicBezTo>
                    <a:pt x="2269" y="0"/>
                    <a:pt x="1" y="2300"/>
                    <a:pt x="1" y="5104"/>
                  </a:cubicBezTo>
                  <a:cubicBezTo>
                    <a:pt x="1" y="7939"/>
                    <a:pt x="2269" y="10239"/>
                    <a:pt x="5105" y="10239"/>
                  </a:cubicBezTo>
                  <a:cubicBezTo>
                    <a:pt x="7940" y="10239"/>
                    <a:pt x="10240" y="7939"/>
                    <a:pt x="10240" y="5104"/>
                  </a:cubicBezTo>
                  <a:cubicBezTo>
                    <a:pt x="10240" y="4978"/>
                    <a:pt x="10083" y="4820"/>
                    <a:pt x="9925" y="4820"/>
                  </a:cubicBezTo>
                  <a:lnTo>
                    <a:pt x="5483" y="4820"/>
                  </a:lnTo>
                  <a:lnTo>
                    <a:pt x="5483" y="347"/>
                  </a:lnTo>
                  <a:cubicBezTo>
                    <a:pt x="5483" y="158"/>
                    <a:pt x="5325" y="0"/>
                    <a:pt x="5105"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1283" name="Google Shape;11283;p115"/>
            <p:cNvSpPr/>
            <p:nvPr/>
          </p:nvSpPr>
          <p:spPr>
            <a:xfrm>
              <a:off x="-4057600" y="2046625"/>
              <a:ext cx="137875" cy="137875"/>
            </a:xfrm>
            <a:custGeom>
              <a:avLst/>
              <a:gdLst/>
              <a:ahLst/>
              <a:cxnLst/>
              <a:rect l="l" t="t" r="r" b="b"/>
              <a:pathLst>
                <a:path w="5515" h="5515" extrusionOk="0">
                  <a:moveTo>
                    <a:pt x="663" y="694"/>
                  </a:moveTo>
                  <a:cubicBezTo>
                    <a:pt x="2836" y="851"/>
                    <a:pt x="4601" y="2616"/>
                    <a:pt x="4758" y="4790"/>
                  </a:cubicBezTo>
                  <a:lnTo>
                    <a:pt x="663" y="4790"/>
                  </a:lnTo>
                  <a:lnTo>
                    <a:pt x="663" y="694"/>
                  </a:lnTo>
                  <a:close/>
                  <a:moveTo>
                    <a:pt x="348" y="1"/>
                  </a:moveTo>
                  <a:cubicBezTo>
                    <a:pt x="158" y="1"/>
                    <a:pt x="1" y="158"/>
                    <a:pt x="1" y="379"/>
                  </a:cubicBezTo>
                  <a:lnTo>
                    <a:pt x="1" y="5168"/>
                  </a:lnTo>
                  <a:cubicBezTo>
                    <a:pt x="1" y="5357"/>
                    <a:pt x="158" y="5514"/>
                    <a:pt x="348" y="5514"/>
                  </a:cubicBezTo>
                  <a:lnTo>
                    <a:pt x="5168" y="5514"/>
                  </a:lnTo>
                  <a:cubicBezTo>
                    <a:pt x="5357" y="5514"/>
                    <a:pt x="5514" y="5357"/>
                    <a:pt x="5514" y="5168"/>
                  </a:cubicBezTo>
                  <a:cubicBezTo>
                    <a:pt x="5483" y="3750"/>
                    <a:pt x="4979" y="2490"/>
                    <a:pt x="3971" y="1513"/>
                  </a:cubicBezTo>
                  <a:cubicBezTo>
                    <a:pt x="2994" y="536"/>
                    <a:pt x="1734" y="1"/>
                    <a:pt x="348"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11284" name="Google Shape;11284;p115"/>
          <p:cNvGrpSpPr/>
          <p:nvPr/>
        </p:nvGrpSpPr>
        <p:grpSpPr>
          <a:xfrm>
            <a:off x="6245973" y="2851600"/>
            <a:ext cx="429145" cy="565633"/>
            <a:chOff x="-4178875" y="2405775"/>
            <a:chExt cx="222925" cy="293825"/>
          </a:xfrm>
        </p:grpSpPr>
        <p:sp>
          <p:nvSpPr>
            <p:cNvPr id="11285" name="Google Shape;11285;p115"/>
            <p:cNvSpPr/>
            <p:nvPr/>
          </p:nvSpPr>
          <p:spPr>
            <a:xfrm>
              <a:off x="-4178875" y="2405775"/>
              <a:ext cx="222925" cy="293825"/>
            </a:xfrm>
            <a:custGeom>
              <a:avLst/>
              <a:gdLst/>
              <a:ahLst/>
              <a:cxnLst/>
              <a:rect l="l" t="t" r="r" b="b"/>
              <a:pathLst>
                <a:path w="8917" h="11753" extrusionOk="0">
                  <a:moveTo>
                    <a:pt x="4474" y="694"/>
                  </a:moveTo>
                  <a:cubicBezTo>
                    <a:pt x="6553" y="694"/>
                    <a:pt x="8254" y="2395"/>
                    <a:pt x="8254" y="4475"/>
                  </a:cubicBezTo>
                  <a:cubicBezTo>
                    <a:pt x="8191" y="5262"/>
                    <a:pt x="7971" y="6018"/>
                    <a:pt x="7530" y="6649"/>
                  </a:cubicBezTo>
                  <a:lnTo>
                    <a:pt x="4474" y="10776"/>
                  </a:lnTo>
                  <a:lnTo>
                    <a:pt x="1418" y="6712"/>
                  </a:lnTo>
                  <a:cubicBezTo>
                    <a:pt x="945" y="6050"/>
                    <a:pt x="693" y="5294"/>
                    <a:pt x="693" y="4475"/>
                  </a:cubicBezTo>
                  <a:cubicBezTo>
                    <a:pt x="693" y="2395"/>
                    <a:pt x="2363" y="694"/>
                    <a:pt x="4474" y="694"/>
                  </a:cubicBezTo>
                  <a:close/>
                  <a:moveTo>
                    <a:pt x="4474" y="1"/>
                  </a:moveTo>
                  <a:cubicBezTo>
                    <a:pt x="2017" y="1"/>
                    <a:pt x="0" y="2017"/>
                    <a:pt x="0" y="4475"/>
                  </a:cubicBezTo>
                  <a:cubicBezTo>
                    <a:pt x="0" y="5451"/>
                    <a:pt x="315" y="6365"/>
                    <a:pt x="882" y="7153"/>
                  </a:cubicBezTo>
                  <a:lnTo>
                    <a:pt x="4190" y="11595"/>
                  </a:lnTo>
                  <a:cubicBezTo>
                    <a:pt x="4253" y="11689"/>
                    <a:pt x="4348" y="11752"/>
                    <a:pt x="4474" y="11752"/>
                  </a:cubicBezTo>
                  <a:cubicBezTo>
                    <a:pt x="4568" y="11752"/>
                    <a:pt x="4663" y="11721"/>
                    <a:pt x="4726" y="11595"/>
                  </a:cubicBezTo>
                  <a:lnTo>
                    <a:pt x="8097" y="7058"/>
                  </a:lnTo>
                  <a:cubicBezTo>
                    <a:pt x="8633" y="6333"/>
                    <a:pt x="8916" y="5420"/>
                    <a:pt x="8916" y="4506"/>
                  </a:cubicBezTo>
                  <a:cubicBezTo>
                    <a:pt x="8916" y="1986"/>
                    <a:pt x="6900" y="1"/>
                    <a:pt x="4474"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1286" name="Google Shape;11286;p115"/>
            <p:cNvSpPr/>
            <p:nvPr/>
          </p:nvSpPr>
          <p:spPr>
            <a:xfrm>
              <a:off x="-4093025" y="2491650"/>
              <a:ext cx="51225" cy="51200"/>
            </a:xfrm>
            <a:custGeom>
              <a:avLst/>
              <a:gdLst/>
              <a:ahLst/>
              <a:cxnLst/>
              <a:rect l="l" t="t" r="r" b="b"/>
              <a:pathLst>
                <a:path w="2049" h="2048" extrusionOk="0">
                  <a:moveTo>
                    <a:pt x="1040" y="630"/>
                  </a:moveTo>
                  <a:cubicBezTo>
                    <a:pt x="1229" y="630"/>
                    <a:pt x="1386" y="788"/>
                    <a:pt x="1386" y="1008"/>
                  </a:cubicBezTo>
                  <a:cubicBezTo>
                    <a:pt x="1386" y="1197"/>
                    <a:pt x="1197" y="1355"/>
                    <a:pt x="1040" y="1355"/>
                  </a:cubicBezTo>
                  <a:cubicBezTo>
                    <a:pt x="819" y="1355"/>
                    <a:pt x="662" y="1197"/>
                    <a:pt x="662" y="1008"/>
                  </a:cubicBezTo>
                  <a:cubicBezTo>
                    <a:pt x="662" y="788"/>
                    <a:pt x="819" y="630"/>
                    <a:pt x="1040" y="630"/>
                  </a:cubicBezTo>
                  <a:close/>
                  <a:moveTo>
                    <a:pt x="1040" y="0"/>
                  </a:moveTo>
                  <a:cubicBezTo>
                    <a:pt x="473" y="0"/>
                    <a:pt x="0" y="473"/>
                    <a:pt x="0" y="1040"/>
                  </a:cubicBezTo>
                  <a:cubicBezTo>
                    <a:pt x="0" y="1575"/>
                    <a:pt x="473" y="2048"/>
                    <a:pt x="1040" y="2048"/>
                  </a:cubicBezTo>
                  <a:cubicBezTo>
                    <a:pt x="1575" y="2048"/>
                    <a:pt x="2048" y="1575"/>
                    <a:pt x="2048" y="1040"/>
                  </a:cubicBezTo>
                  <a:cubicBezTo>
                    <a:pt x="2048" y="441"/>
                    <a:pt x="1575" y="0"/>
                    <a:pt x="1040"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1287" name="Google Shape;11287;p115"/>
            <p:cNvSpPr/>
            <p:nvPr/>
          </p:nvSpPr>
          <p:spPr>
            <a:xfrm>
              <a:off x="-4145800" y="2439650"/>
              <a:ext cx="155975" cy="155200"/>
            </a:xfrm>
            <a:custGeom>
              <a:avLst/>
              <a:gdLst/>
              <a:ahLst/>
              <a:cxnLst/>
              <a:rect l="l" t="t" r="r" b="b"/>
              <a:pathLst>
                <a:path w="6239" h="6208" extrusionOk="0">
                  <a:moveTo>
                    <a:pt x="3403" y="694"/>
                  </a:moveTo>
                  <a:lnTo>
                    <a:pt x="3403" y="1166"/>
                  </a:lnTo>
                  <a:cubicBezTo>
                    <a:pt x="3403" y="1324"/>
                    <a:pt x="3497" y="1450"/>
                    <a:pt x="3655" y="1481"/>
                  </a:cubicBezTo>
                  <a:cubicBezTo>
                    <a:pt x="3844" y="1576"/>
                    <a:pt x="4033" y="1670"/>
                    <a:pt x="4191" y="1828"/>
                  </a:cubicBezTo>
                  <a:cubicBezTo>
                    <a:pt x="4268" y="1867"/>
                    <a:pt x="4358" y="1894"/>
                    <a:pt x="4445" y="1894"/>
                  </a:cubicBezTo>
                  <a:cubicBezTo>
                    <a:pt x="4499" y="1894"/>
                    <a:pt x="4552" y="1884"/>
                    <a:pt x="4600" y="1859"/>
                  </a:cubicBezTo>
                  <a:lnTo>
                    <a:pt x="4978" y="1607"/>
                  </a:lnTo>
                  <a:lnTo>
                    <a:pt x="5356" y="2206"/>
                  </a:lnTo>
                  <a:lnTo>
                    <a:pt x="4947" y="2458"/>
                  </a:lnTo>
                  <a:cubicBezTo>
                    <a:pt x="4821" y="2521"/>
                    <a:pt x="4789" y="2647"/>
                    <a:pt x="4789" y="2805"/>
                  </a:cubicBezTo>
                  <a:cubicBezTo>
                    <a:pt x="4821" y="3025"/>
                    <a:pt x="4821" y="3183"/>
                    <a:pt x="4789" y="3435"/>
                  </a:cubicBezTo>
                  <a:cubicBezTo>
                    <a:pt x="4758" y="3592"/>
                    <a:pt x="4821" y="3687"/>
                    <a:pt x="4947" y="3781"/>
                  </a:cubicBezTo>
                  <a:lnTo>
                    <a:pt x="5356" y="4033"/>
                  </a:lnTo>
                  <a:lnTo>
                    <a:pt x="4978" y="4600"/>
                  </a:lnTo>
                  <a:lnTo>
                    <a:pt x="4600" y="4380"/>
                  </a:lnTo>
                  <a:cubicBezTo>
                    <a:pt x="4554" y="4345"/>
                    <a:pt x="4503" y="4332"/>
                    <a:pt x="4452" y="4332"/>
                  </a:cubicBezTo>
                  <a:cubicBezTo>
                    <a:pt x="4363" y="4332"/>
                    <a:pt x="4270" y="4372"/>
                    <a:pt x="4191" y="4411"/>
                  </a:cubicBezTo>
                  <a:cubicBezTo>
                    <a:pt x="4033" y="4537"/>
                    <a:pt x="3844" y="4632"/>
                    <a:pt x="3655" y="4726"/>
                  </a:cubicBezTo>
                  <a:cubicBezTo>
                    <a:pt x="3529" y="4758"/>
                    <a:pt x="3403" y="4915"/>
                    <a:pt x="3403" y="5041"/>
                  </a:cubicBezTo>
                  <a:lnTo>
                    <a:pt x="3403" y="5514"/>
                  </a:lnTo>
                  <a:lnTo>
                    <a:pt x="2741" y="5514"/>
                  </a:lnTo>
                  <a:lnTo>
                    <a:pt x="2741" y="5041"/>
                  </a:lnTo>
                  <a:cubicBezTo>
                    <a:pt x="2741" y="4884"/>
                    <a:pt x="2678" y="4758"/>
                    <a:pt x="2521" y="4726"/>
                  </a:cubicBezTo>
                  <a:cubicBezTo>
                    <a:pt x="2300" y="4663"/>
                    <a:pt x="2111" y="4569"/>
                    <a:pt x="1954" y="4411"/>
                  </a:cubicBezTo>
                  <a:cubicBezTo>
                    <a:pt x="1874" y="4372"/>
                    <a:pt x="1782" y="4332"/>
                    <a:pt x="1701" y="4332"/>
                  </a:cubicBezTo>
                  <a:cubicBezTo>
                    <a:pt x="1654" y="4332"/>
                    <a:pt x="1610" y="4345"/>
                    <a:pt x="1576" y="4380"/>
                  </a:cubicBezTo>
                  <a:lnTo>
                    <a:pt x="1166" y="4600"/>
                  </a:lnTo>
                  <a:lnTo>
                    <a:pt x="820" y="4033"/>
                  </a:lnTo>
                  <a:lnTo>
                    <a:pt x="1198" y="3781"/>
                  </a:lnTo>
                  <a:cubicBezTo>
                    <a:pt x="1324" y="3718"/>
                    <a:pt x="1418" y="3592"/>
                    <a:pt x="1355" y="3435"/>
                  </a:cubicBezTo>
                  <a:cubicBezTo>
                    <a:pt x="1324" y="3183"/>
                    <a:pt x="1324" y="3025"/>
                    <a:pt x="1355" y="2805"/>
                  </a:cubicBezTo>
                  <a:cubicBezTo>
                    <a:pt x="1418" y="2647"/>
                    <a:pt x="1324" y="2521"/>
                    <a:pt x="1198" y="2458"/>
                  </a:cubicBezTo>
                  <a:lnTo>
                    <a:pt x="820" y="2206"/>
                  </a:lnTo>
                  <a:lnTo>
                    <a:pt x="1166" y="1607"/>
                  </a:lnTo>
                  <a:lnTo>
                    <a:pt x="1576" y="1859"/>
                  </a:lnTo>
                  <a:cubicBezTo>
                    <a:pt x="1612" y="1884"/>
                    <a:pt x="1657" y="1894"/>
                    <a:pt x="1706" y="1894"/>
                  </a:cubicBezTo>
                  <a:cubicBezTo>
                    <a:pt x="1786" y="1894"/>
                    <a:pt x="1876" y="1867"/>
                    <a:pt x="1954" y="1828"/>
                  </a:cubicBezTo>
                  <a:cubicBezTo>
                    <a:pt x="2111" y="1702"/>
                    <a:pt x="2300" y="1576"/>
                    <a:pt x="2521" y="1481"/>
                  </a:cubicBezTo>
                  <a:cubicBezTo>
                    <a:pt x="2615" y="1450"/>
                    <a:pt x="2741" y="1292"/>
                    <a:pt x="2741" y="1166"/>
                  </a:cubicBezTo>
                  <a:lnTo>
                    <a:pt x="2741" y="694"/>
                  </a:lnTo>
                  <a:close/>
                  <a:moveTo>
                    <a:pt x="2426" y="1"/>
                  </a:moveTo>
                  <a:cubicBezTo>
                    <a:pt x="2237" y="1"/>
                    <a:pt x="2080" y="158"/>
                    <a:pt x="2080" y="347"/>
                  </a:cubicBezTo>
                  <a:lnTo>
                    <a:pt x="2080" y="946"/>
                  </a:lnTo>
                  <a:cubicBezTo>
                    <a:pt x="1954" y="977"/>
                    <a:pt x="1828" y="1072"/>
                    <a:pt x="1765" y="1135"/>
                  </a:cubicBezTo>
                  <a:lnTo>
                    <a:pt x="1261" y="851"/>
                  </a:lnTo>
                  <a:cubicBezTo>
                    <a:pt x="1211" y="831"/>
                    <a:pt x="1158" y="821"/>
                    <a:pt x="1104" y="821"/>
                  </a:cubicBezTo>
                  <a:cubicBezTo>
                    <a:pt x="990" y="821"/>
                    <a:pt x="874" y="870"/>
                    <a:pt x="788" y="977"/>
                  </a:cubicBezTo>
                  <a:lnTo>
                    <a:pt x="126" y="2175"/>
                  </a:lnTo>
                  <a:cubicBezTo>
                    <a:pt x="32" y="2332"/>
                    <a:pt x="63" y="2521"/>
                    <a:pt x="221" y="2647"/>
                  </a:cubicBezTo>
                  <a:lnTo>
                    <a:pt x="757" y="2899"/>
                  </a:lnTo>
                  <a:lnTo>
                    <a:pt x="757" y="3120"/>
                  </a:lnTo>
                  <a:lnTo>
                    <a:pt x="757" y="3309"/>
                  </a:lnTo>
                  <a:lnTo>
                    <a:pt x="221" y="3592"/>
                  </a:lnTo>
                  <a:cubicBezTo>
                    <a:pt x="63" y="3655"/>
                    <a:pt x="0" y="3907"/>
                    <a:pt x="126" y="4065"/>
                  </a:cubicBezTo>
                  <a:lnTo>
                    <a:pt x="788" y="5231"/>
                  </a:lnTo>
                  <a:cubicBezTo>
                    <a:pt x="831" y="5337"/>
                    <a:pt x="960" y="5415"/>
                    <a:pt x="1088" y="5415"/>
                  </a:cubicBezTo>
                  <a:cubicBezTo>
                    <a:pt x="1149" y="5415"/>
                    <a:pt x="1210" y="5397"/>
                    <a:pt x="1261" y="5357"/>
                  </a:cubicBezTo>
                  <a:lnTo>
                    <a:pt x="1765" y="5073"/>
                  </a:lnTo>
                  <a:cubicBezTo>
                    <a:pt x="1891" y="5167"/>
                    <a:pt x="1954" y="5199"/>
                    <a:pt x="2080" y="5262"/>
                  </a:cubicBezTo>
                  <a:lnTo>
                    <a:pt x="2080" y="5861"/>
                  </a:lnTo>
                  <a:cubicBezTo>
                    <a:pt x="2080" y="6050"/>
                    <a:pt x="2237" y="6207"/>
                    <a:pt x="2426" y="6207"/>
                  </a:cubicBezTo>
                  <a:lnTo>
                    <a:pt x="3812" y="6207"/>
                  </a:lnTo>
                  <a:cubicBezTo>
                    <a:pt x="4002" y="6207"/>
                    <a:pt x="4159" y="6050"/>
                    <a:pt x="4159" y="5861"/>
                  </a:cubicBezTo>
                  <a:lnTo>
                    <a:pt x="4159" y="5262"/>
                  </a:lnTo>
                  <a:cubicBezTo>
                    <a:pt x="4285" y="5231"/>
                    <a:pt x="4411" y="5167"/>
                    <a:pt x="4474" y="5073"/>
                  </a:cubicBezTo>
                  <a:lnTo>
                    <a:pt x="4978" y="5357"/>
                  </a:lnTo>
                  <a:cubicBezTo>
                    <a:pt x="5028" y="5376"/>
                    <a:pt x="5084" y="5387"/>
                    <a:pt x="5141" y="5387"/>
                  </a:cubicBezTo>
                  <a:cubicBezTo>
                    <a:pt x="5263" y="5387"/>
                    <a:pt x="5386" y="5338"/>
                    <a:pt x="5451" y="5231"/>
                  </a:cubicBezTo>
                  <a:lnTo>
                    <a:pt x="6144" y="4065"/>
                  </a:lnTo>
                  <a:cubicBezTo>
                    <a:pt x="6207" y="3907"/>
                    <a:pt x="6175" y="3687"/>
                    <a:pt x="6018" y="3592"/>
                  </a:cubicBezTo>
                  <a:lnTo>
                    <a:pt x="5514" y="3309"/>
                  </a:lnTo>
                  <a:lnTo>
                    <a:pt x="5514" y="3120"/>
                  </a:lnTo>
                  <a:lnTo>
                    <a:pt x="5514" y="2899"/>
                  </a:lnTo>
                  <a:lnTo>
                    <a:pt x="6018" y="2647"/>
                  </a:lnTo>
                  <a:cubicBezTo>
                    <a:pt x="6175" y="2521"/>
                    <a:pt x="6238" y="2332"/>
                    <a:pt x="6144" y="2175"/>
                  </a:cubicBezTo>
                  <a:lnTo>
                    <a:pt x="5451" y="977"/>
                  </a:lnTo>
                  <a:cubicBezTo>
                    <a:pt x="5408" y="870"/>
                    <a:pt x="5278" y="807"/>
                    <a:pt x="5149" y="807"/>
                  </a:cubicBezTo>
                  <a:cubicBezTo>
                    <a:pt x="5089" y="807"/>
                    <a:pt x="5029" y="821"/>
                    <a:pt x="4978" y="851"/>
                  </a:cubicBezTo>
                  <a:lnTo>
                    <a:pt x="4474" y="1135"/>
                  </a:lnTo>
                  <a:cubicBezTo>
                    <a:pt x="4348" y="1072"/>
                    <a:pt x="4285" y="1009"/>
                    <a:pt x="4159" y="946"/>
                  </a:cubicBezTo>
                  <a:lnTo>
                    <a:pt x="4159" y="347"/>
                  </a:lnTo>
                  <a:cubicBezTo>
                    <a:pt x="4159" y="158"/>
                    <a:pt x="4002" y="1"/>
                    <a:pt x="3812"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11288" name="Google Shape;11288;p115"/>
          <p:cNvGrpSpPr/>
          <p:nvPr/>
        </p:nvGrpSpPr>
        <p:grpSpPr>
          <a:xfrm>
            <a:off x="6195923" y="3564644"/>
            <a:ext cx="561061" cy="527661"/>
            <a:chOff x="-4211975" y="2783850"/>
            <a:chExt cx="291450" cy="274100"/>
          </a:xfrm>
        </p:grpSpPr>
        <p:sp>
          <p:nvSpPr>
            <p:cNvPr id="11289" name="Google Shape;11289;p115"/>
            <p:cNvSpPr/>
            <p:nvPr/>
          </p:nvSpPr>
          <p:spPr>
            <a:xfrm>
              <a:off x="-4211975" y="2937125"/>
              <a:ext cx="291450" cy="120825"/>
            </a:xfrm>
            <a:custGeom>
              <a:avLst/>
              <a:gdLst/>
              <a:ahLst/>
              <a:cxnLst/>
              <a:rect l="l" t="t" r="r" b="b"/>
              <a:pathLst>
                <a:path w="11658" h="4833" extrusionOk="0">
                  <a:moveTo>
                    <a:pt x="978" y="706"/>
                  </a:moveTo>
                  <a:cubicBezTo>
                    <a:pt x="1167" y="706"/>
                    <a:pt x="1324" y="863"/>
                    <a:pt x="1324" y="1052"/>
                  </a:cubicBezTo>
                  <a:lnTo>
                    <a:pt x="1324" y="3762"/>
                  </a:lnTo>
                  <a:cubicBezTo>
                    <a:pt x="1324" y="3982"/>
                    <a:pt x="1167" y="4140"/>
                    <a:pt x="978" y="4140"/>
                  </a:cubicBezTo>
                  <a:lnTo>
                    <a:pt x="631" y="4140"/>
                  </a:lnTo>
                  <a:lnTo>
                    <a:pt x="631" y="706"/>
                  </a:lnTo>
                  <a:close/>
                  <a:moveTo>
                    <a:pt x="3866" y="717"/>
                  </a:moveTo>
                  <a:cubicBezTo>
                    <a:pt x="4374" y="717"/>
                    <a:pt x="4886" y="859"/>
                    <a:pt x="5325" y="1147"/>
                  </a:cubicBezTo>
                  <a:cubicBezTo>
                    <a:pt x="5672" y="1367"/>
                    <a:pt x="5703" y="1399"/>
                    <a:pt x="5829" y="1399"/>
                  </a:cubicBezTo>
                  <a:lnTo>
                    <a:pt x="7247" y="1399"/>
                  </a:lnTo>
                  <a:cubicBezTo>
                    <a:pt x="7436" y="1399"/>
                    <a:pt x="7594" y="1556"/>
                    <a:pt x="7594" y="1777"/>
                  </a:cubicBezTo>
                  <a:cubicBezTo>
                    <a:pt x="7594" y="1966"/>
                    <a:pt x="7436" y="2124"/>
                    <a:pt x="7247" y="2124"/>
                  </a:cubicBezTo>
                  <a:lnTo>
                    <a:pt x="4758" y="2124"/>
                  </a:lnTo>
                  <a:cubicBezTo>
                    <a:pt x="4380" y="2124"/>
                    <a:pt x="4034" y="2344"/>
                    <a:pt x="3845" y="2659"/>
                  </a:cubicBezTo>
                  <a:cubicBezTo>
                    <a:pt x="3782" y="2817"/>
                    <a:pt x="3845" y="3069"/>
                    <a:pt x="4002" y="3132"/>
                  </a:cubicBezTo>
                  <a:cubicBezTo>
                    <a:pt x="4045" y="3158"/>
                    <a:pt x="4096" y="3169"/>
                    <a:pt x="4148" y="3169"/>
                  </a:cubicBezTo>
                  <a:cubicBezTo>
                    <a:pt x="4284" y="3169"/>
                    <a:pt x="4429" y="3088"/>
                    <a:pt x="4475" y="2974"/>
                  </a:cubicBezTo>
                  <a:cubicBezTo>
                    <a:pt x="4538" y="2848"/>
                    <a:pt x="4632" y="2785"/>
                    <a:pt x="4790" y="2785"/>
                  </a:cubicBezTo>
                  <a:lnTo>
                    <a:pt x="7562" y="2785"/>
                  </a:lnTo>
                  <a:cubicBezTo>
                    <a:pt x="7783" y="2785"/>
                    <a:pt x="8003" y="2722"/>
                    <a:pt x="8192" y="2596"/>
                  </a:cubicBezTo>
                  <a:lnTo>
                    <a:pt x="10555" y="769"/>
                  </a:lnTo>
                  <a:cubicBezTo>
                    <a:pt x="10603" y="747"/>
                    <a:pt x="10649" y="737"/>
                    <a:pt x="10693" y="737"/>
                  </a:cubicBezTo>
                  <a:cubicBezTo>
                    <a:pt x="10969" y="737"/>
                    <a:pt x="11146" y="1123"/>
                    <a:pt x="10902" y="1367"/>
                  </a:cubicBezTo>
                  <a:cubicBezTo>
                    <a:pt x="10844" y="1406"/>
                    <a:pt x="10817" y="1419"/>
                    <a:pt x="10805" y="1419"/>
                  </a:cubicBezTo>
                  <a:cubicBezTo>
                    <a:pt x="10780" y="1419"/>
                    <a:pt x="10836" y="1354"/>
                    <a:pt x="10826" y="1354"/>
                  </a:cubicBezTo>
                  <a:cubicBezTo>
                    <a:pt x="10804" y="1354"/>
                    <a:pt x="10447" y="1686"/>
                    <a:pt x="8066" y="3856"/>
                  </a:cubicBezTo>
                  <a:cubicBezTo>
                    <a:pt x="7877" y="4014"/>
                    <a:pt x="7625" y="4140"/>
                    <a:pt x="7373" y="4140"/>
                  </a:cubicBezTo>
                  <a:lnTo>
                    <a:pt x="3435" y="4140"/>
                  </a:lnTo>
                  <a:cubicBezTo>
                    <a:pt x="2962" y="4140"/>
                    <a:pt x="2490" y="4014"/>
                    <a:pt x="2049" y="3825"/>
                  </a:cubicBezTo>
                  <a:lnTo>
                    <a:pt x="2049" y="1399"/>
                  </a:lnTo>
                  <a:lnTo>
                    <a:pt x="2332" y="1210"/>
                  </a:lnTo>
                  <a:cubicBezTo>
                    <a:pt x="2774" y="883"/>
                    <a:pt x="3318" y="717"/>
                    <a:pt x="3866" y="717"/>
                  </a:cubicBezTo>
                  <a:close/>
                  <a:moveTo>
                    <a:pt x="3817" y="0"/>
                  </a:moveTo>
                  <a:cubicBezTo>
                    <a:pt x="3151" y="0"/>
                    <a:pt x="2491" y="205"/>
                    <a:pt x="1923" y="611"/>
                  </a:cubicBezTo>
                  <a:cubicBezTo>
                    <a:pt x="1765" y="265"/>
                    <a:pt x="1419" y="13"/>
                    <a:pt x="1009" y="13"/>
                  </a:cubicBezTo>
                  <a:lnTo>
                    <a:pt x="348" y="13"/>
                  </a:lnTo>
                  <a:cubicBezTo>
                    <a:pt x="159" y="13"/>
                    <a:pt x="1" y="170"/>
                    <a:pt x="1" y="391"/>
                  </a:cubicBezTo>
                  <a:lnTo>
                    <a:pt x="1" y="4486"/>
                  </a:lnTo>
                  <a:cubicBezTo>
                    <a:pt x="1" y="4675"/>
                    <a:pt x="159" y="4833"/>
                    <a:pt x="348" y="4833"/>
                  </a:cubicBezTo>
                  <a:lnTo>
                    <a:pt x="1009" y="4833"/>
                  </a:lnTo>
                  <a:cubicBezTo>
                    <a:pt x="1324" y="4833"/>
                    <a:pt x="1608" y="4675"/>
                    <a:pt x="1797" y="4486"/>
                  </a:cubicBezTo>
                  <a:cubicBezTo>
                    <a:pt x="2332" y="4707"/>
                    <a:pt x="2868" y="4833"/>
                    <a:pt x="3435" y="4833"/>
                  </a:cubicBezTo>
                  <a:lnTo>
                    <a:pt x="7373" y="4833"/>
                  </a:lnTo>
                  <a:cubicBezTo>
                    <a:pt x="7783" y="4833"/>
                    <a:pt x="8192" y="4675"/>
                    <a:pt x="8507" y="4392"/>
                  </a:cubicBezTo>
                  <a:cubicBezTo>
                    <a:pt x="8539" y="4392"/>
                    <a:pt x="11217" y="1903"/>
                    <a:pt x="11248" y="1872"/>
                  </a:cubicBezTo>
                  <a:cubicBezTo>
                    <a:pt x="11406" y="1809"/>
                    <a:pt x="11658" y="1493"/>
                    <a:pt x="11658" y="1084"/>
                  </a:cubicBezTo>
                  <a:cubicBezTo>
                    <a:pt x="11658" y="454"/>
                    <a:pt x="11185" y="44"/>
                    <a:pt x="10618" y="44"/>
                  </a:cubicBezTo>
                  <a:cubicBezTo>
                    <a:pt x="10303" y="44"/>
                    <a:pt x="10051" y="202"/>
                    <a:pt x="9925" y="296"/>
                  </a:cubicBezTo>
                  <a:lnTo>
                    <a:pt x="8192" y="1619"/>
                  </a:lnTo>
                  <a:cubicBezTo>
                    <a:pt x="8098" y="1084"/>
                    <a:pt x="7688" y="706"/>
                    <a:pt x="7153" y="706"/>
                  </a:cubicBezTo>
                  <a:lnTo>
                    <a:pt x="5861" y="706"/>
                  </a:lnTo>
                  <a:lnTo>
                    <a:pt x="5640" y="548"/>
                  </a:lnTo>
                  <a:cubicBezTo>
                    <a:pt x="5075" y="182"/>
                    <a:pt x="4444" y="0"/>
                    <a:pt x="3817"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1290" name="Google Shape;11290;p115"/>
            <p:cNvSpPr/>
            <p:nvPr/>
          </p:nvSpPr>
          <p:spPr>
            <a:xfrm>
              <a:off x="-4109575" y="2783850"/>
              <a:ext cx="153625" cy="154400"/>
            </a:xfrm>
            <a:custGeom>
              <a:avLst/>
              <a:gdLst/>
              <a:ahLst/>
              <a:cxnLst/>
              <a:rect l="l" t="t" r="r" b="b"/>
              <a:pathLst>
                <a:path w="6145" h="6176" extrusionOk="0">
                  <a:moveTo>
                    <a:pt x="3057" y="693"/>
                  </a:moveTo>
                  <a:cubicBezTo>
                    <a:pt x="4411" y="693"/>
                    <a:pt x="5482" y="1765"/>
                    <a:pt x="5482" y="3088"/>
                  </a:cubicBezTo>
                  <a:cubicBezTo>
                    <a:pt x="5482" y="4442"/>
                    <a:pt x="4411" y="5482"/>
                    <a:pt x="3057" y="5482"/>
                  </a:cubicBezTo>
                  <a:cubicBezTo>
                    <a:pt x="1733" y="5482"/>
                    <a:pt x="662" y="4442"/>
                    <a:pt x="662" y="3088"/>
                  </a:cubicBezTo>
                  <a:cubicBezTo>
                    <a:pt x="662" y="1765"/>
                    <a:pt x="1733" y="693"/>
                    <a:pt x="3057" y="693"/>
                  </a:cubicBezTo>
                  <a:close/>
                  <a:moveTo>
                    <a:pt x="3057" y="0"/>
                  </a:moveTo>
                  <a:cubicBezTo>
                    <a:pt x="1387" y="0"/>
                    <a:pt x="1" y="1387"/>
                    <a:pt x="1" y="3088"/>
                  </a:cubicBezTo>
                  <a:cubicBezTo>
                    <a:pt x="1" y="4789"/>
                    <a:pt x="1387" y="6175"/>
                    <a:pt x="3057" y="6175"/>
                  </a:cubicBezTo>
                  <a:cubicBezTo>
                    <a:pt x="4758" y="6175"/>
                    <a:pt x="6144" y="4789"/>
                    <a:pt x="6144" y="3088"/>
                  </a:cubicBezTo>
                  <a:cubicBezTo>
                    <a:pt x="6144" y="1387"/>
                    <a:pt x="4758" y="0"/>
                    <a:pt x="3057"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1291" name="Google Shape;11291;p115"/>
            <p:cNvSpPr/>
            <p:nvPr/>
          </p:nvSpPr>
          <p:spPr>
            <a:xfrm>
              <a:off x="-4074925" y="2818500"/>
              <a:ext cx="84300" cy="85100"/>
            </a:xfrm>
            <a:custGeom>
              <a:avLst/>
              <a:gdLst/>
              <a:ahLst/>
              <a:cxnLst/>
              <a:rect l="l" t="t" r="r" b="b"/>
              <a:pathLst>
                <a:path w="3372" h="3404" extrusionOk="0">
                  <a:moveTo>
                    <a:pt x="1671" y="631"/>
                  </a:moveTo>
                  <a:cubicBezTo>
                    <a:pt x="2238" y="631"/>
                    <a:pt x="2710" y="1103"/>
                    <a:pt x="2710" y="1670"/>
                  </a:cubicBezTo>
                  <a:cubicBezTo>
                    <a:pt x="2710" y="2206"/>
                    <a:pt x="2238" y="2678"/>
                    <a:pt x="1671" y="2678"/>
                  </a:cubicBezTo>
                  <a:cubicBezTo>
                    <a:pt x="1135" y="2678"/>
                    <a:pt x="662" y="2206"/>
                    <a:pt x="662" y="1670"/>
                  </a:cubicBezTo>
                  <a:cubicBezTo>
                    <a:pt x="662" y="1103"/>
                    <a:pt x="1135" y="631"/>
                    <a:pt x="1671" y="631"/>
                  </a:cubicBezTo>
                  <a:close/>
                  <a:moveTo>
                    <a:pt x="1671" y="1"/>
                  </a:moveTo>
                  <a:cubicBezTo>
                    <a:pt x="725" y="1"/>
                    <a:pt x="1" y="757"/>
                    <a:pt x="1" y="1702"/>
                  </a:cubicBezTo>
                  <a:cubicBezTo>
                    <a:pt x="1" y="2647"/>
                    <a:pt x="725" y="3403"/>
                    <a:pt x="1671" y="3403"/>
                  </a:cubicBezTo>
                  <a:cubicBezTo>
                    <a:pt x="2616" y="3403"/>
                    <a:pt x="3372" y="2647"/>
                    <a:pt x="3372" y="1702"/>
                  </a:cubicBezTo>
                  <a:cubicBezTo>
                    <a:pt x="3372" y="757"/>
                    <a:pt x="2616" y="1"/>
                    <a:pt x="1671"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sp>
        <p:nvSpPr>
          <p:cNvPr id="11292" name="Google Shape;11292;p115"/>
          <p:cNvSpPr/>
          <p:nvPr/>
        </p:nvSpPr>
        <p:spPr>
          <a:xfrm>
            <a:off x="9817116" y="2173327"/>
            <a:ext cx="532233" cy="564092"/>
          </a:xfrm>
          <a:custGeom>
            <a:avLst/>
            <a:gdLst/>
            <a:ahLst/>
            <a:cxnLst/>
            <a:rect l="l" t="t" r="r" b="b"/>
            <a:pathLst>
              <a:path w="11059" h="11721" extrusionOk="0">
                <a:moveTo>
                  <a:pt x="1418" y="693"/>
                </a:moveTo>
                <a:lnTo>
                  <a:pt x="1418" y="1387"/>
                </a:lnTo>
                <a:lnTo>
                  <a:pt x="725" y="1387"/>
                </a:lnTo>
                <a:lnTo>
                  <a:pt x="725" y="693"/>
                </a:lnTo>
                <a:close/>
                <a:moveTo>
                  <a:pt x="9011" y="693"/>
                </a:moveTo>
                <a:lnTo>
                  <a:pt x="9011" y="1387"/>
                </a:lnTo>
                <a:lnTo>
                  <a:pt x="8349" y="1387"/>
                </a:lnTo>
                <a:lnTo>
                  <a:pt x="8349" y="693"/>
                </a:lnTo>
                <a:close/>
                <a:moveTo>
                  <a:pt x="7656" y="1324"/>
                </a:moveTo>
                <a:lnTo>
                  <a:pt x="7656" y="1670"/>
                </a:lnTo>
                <a:cubicBezTo>
                  <a:pt x="7656" y="1891"/>
                  <a:pt x="7813" y="2048"/>
                  <a:pt x="8034" y="2048"/>
                </a:cubicBezTo>
                <a:lnTo>
                  <a:pt x="8381" y="2048"/>
                </a:lnTo>
                <a:lnTo>
                  <a:pt x="8381" y="4222"/>
                </a:lnTo>
                <a:cubicBezTo>
                  <a:pt x="8255" y="4253"/>
                  <a:pt x="8160" y="4316"/>
                  <a:pt x="8034" y="4411"/>
                </a:cubicBezTo>
                <a:cubicBezTo>
                  <a:pt x="7845" y="4243"/>
                  <a:pt x="7614" y="4159"/>
                  <a:pt x="7369" y="4159"/>
                </a:cubicBezTo>
                <a:cubicBezTo>
                  <a:pt x="7246" y="4159"/>
                  <a:pt x="7120" y="4180"/>
                  <a:pt x="6994" y="4222"/>
                </a:cubicBezTo>
                <a:lnTo>
                  <a:pt x="6994" y="3088"/>
                </a:lnTo>
                <a:cubicBezTo>
                  <a:pt x="6994" y="2552"/>
                  <a:pt x="6522" y="2080"/>
                  <a:pt x="5986" y="2080"/>
                </a:cubicBezTo>
                <a:cubicBezTo>
                  <a:pt x="5419" y="2080"/>
                  <a:pt x="4947" y="2552"/>
                  <a:pt x="4947" y="3088"/>
                </a:cubicBezTo>
                <a:lnTo>
                  <a:pt x="4947" y="6459"/>
                </a:lnTo>
                <a:lnTo>
                  <a:pt x="4789" y="6301"/>
                </a:lnTo>
                <a:cubicBezTo>
                  <a:pt x="4600" y="6097"/>
                  <a:pt x="4340" y="5994"/>
                  <a:pt x="4076" y="5994"/>
                </a:cubicBezTo>
                <a:cubicBezTo>
                  <a:pt x="3812" y="5994"/>
                  <a:pt x="3545" y="6097"/>
                  <a:pt x="3340" y="6301"/>
                </a:cubicBezTo>
                <a:cubicBezTo>
                  <a:pt x="2962" y="6679"/>
                  <a:pt x="2962" y="7341"/>
                  <a:pt x="3340" y="7751"/>
                </a:cubicBezTo>
                <a:lnTo>
                  <a:pt x="3812" y="8223"/>
                </a:lnTo>
                <a:lnTo>
                  <a:pt x="2111" y="8223"/>
                </a:lnTo>
                <a:lnTo>
                  <a:pt x="2111" y="7908"/>
                </a:lnTo>
                <a:cubicBezTo>
                  <a:pt x="2111" y="7719"/>
                  <a:pt x="1954" y="7561"/>
                  <a:pt x="1765" y="7561"/>
                </a:cubicBezTo>
                <a:lnTo>
                  <a:pt x="1418" y="7561"/>
                </a:lnTo>
                <a:lnTo>
                  <a:pt x="1418" y="2048"/>
                </a:lnTo>
                <a:lnTo>
                  <a:pt x="1765" y="2048"/>
                </a:lnTo>
                <a:cubicBezTo>
                  <a:pt x="1954" y="2048"/>
                  <a:pt x="2111" y="1891"/>
                  <a:pt x="2111" y="1670"/>
                </a:cubicBezTo>
                <a:lnTo>
                  <a:pt x="2111" y="1324"/>
                </a:lnTo>
                <a:close/>
                <a:moveTo>
                  <a:pt x="1418" y="8255"/>
                </a:moveTo>
                <a:lnTo>
                  <a:pt x="1418" y="8948"/>
                </a:lnTo>
                <a:lnTo>
                  <a:pt x="725" y="8948"/>
                </a:lnTo>
                <a:lnTo>
                  <a:pt x="725" y="8255"/>
                </a:lnTo>
                <a:close/>
                <a:moveTo>
                  <a:pt x="5955" y="2836"/>
                </a:moveTo>
                <a:cubicBezTo>
                  <a:pt x="6144" y="2836"/>
                  <a:pt x="6301" y="2993"/>
                  <a:pt x="6301" y="3182"/>
                </a:cubicBezTo>
                <a:lnTo>
                  <a:pt x="6301" y="6616"/>
                </a:lnTo>
                <a:cubicBezTo>
                  <a:pt x="6301" y="6805"/>
                  <a:pt x="6459" y="6963"/>
                  <a:pt x="6648" y="6963"/>
                </a:cubicBezTo>
                <a:cubicBezTo>
                  <a:pt x="6837" y="6963"/>
                  <a:pt x="6994" y="6805"/>
                  <a:pt x="6994" y="6616"/>
                </a:cubicBezTo>
                <a:lnTo>
                  <a:pt x="6994" y="5230"/>
                </a:lnTo>
                <a:cubicBezTo>
                  <a:pt x="6994" y="5041"/>
                  <a:pt x="7152" y="4884"/>
                  <a:pt x="7372" y="4884"/>
                </a:cubicBezTo>
                <a:cubicBezTo>
                  <a:pt x="7561" y="4884"/>
                  <a:pt x="7719" y="5041"/>
                  <a:pt x="7719" y="5230"/>
                </a:cubicBezTo>
                <a:lnTo>
                  <a:pt x="7719" y="6616"/>
                </a:lnTo>
                <a:cubicBezTo>
                  <a:pt x="7719" y="6805"/>
                  <a:pt x="7876" y="6963"/>
                  <a:pt x="8066" y="6963"/>
                </a:cubicBezTo>
                <a:cubicBezTo>
                  <a:pt x="8255" y="6963"/>
                  <a:pt x="8412" y="6805"/>
                  <a:pt x="8412" y="6616"/>
                </a:cubicBezTo>
                <a:lnTo>
                  <a:pt x="8412" y="5230"/>
                </a:lnTo>
                <a:cubicBezTo>
                  <a:pt x="8412" y="5041"/>
                  <a:pt x="8570" y="4884"/>
                  <a:pt x="8790" y="4884"/>
                </a:cubicBezTo>
                <a:cubicBezTo>
                  <a:pt x="8979" y="4884"/>
                  <a:pt x="9137" y="5041"/>
                  <a:pt x="9137" y="5230"/>
                </a:cubicBezTo>
                <a:lnTo>
                  <a:pt x="9137" y="6616"/>
                </a:lnTo>
                <a:cubicBezTo>
                  <a:pt x="9137" y="6805"/>
                  <a:pt x="9294" y="6963"/>
                  <a:pt x="9483" y="6963"/>
                </a:cubicBezTo>
                <a:cubicBezTo>
                  <a:pt x="9672" y="6963"/>
                  <a:pt x="9830" y="6805"/>
                  <a:pt x="9830" y="6616"/>
                </a:cubicBezTo>
                <a:lnTo>
                  <a:pt x="9830" y="5955"/>
                </a:lnTo>
                <a:cubicBezTo>
                  <a:pt x="9704" y="5703"/>
                  <a:pt x="9861" y="5545"/>
                  <a:pt x="10019" y="5545"/>
                </a:cubicBezTo>
                <a:cubicBezTo>
                  <a:pt x="10239" y="5545"/>
                  <a:pt x="10397" y="5703"/>
                  <a:pt x="10397" y="5892"/>
                </a:cubicBezTo>
                <a:lnTo>
                  <a:pt x="10397" y="7057"/>
                </a:lnTo>
                <a:cubicBezTo>
                  <a:pt x="10397" y="8003"/>
                  <a:pt x="10176" y="8885"/>
                  <a:pt x="9830" y="9672"/>
                </a:cubicBezTo>
                <a:lnTo>
                  <a:pt x="6144" y="9672"/>
                </a:lnTo>
                <a:lnTo>
                  <a:pt x="3812" y="7372"/>
                </a:lnTo>
                <a:cubicBezTo>
                  <a:pt x="3686" y="7246"/>
                  <a:pt x="3686" y="6994"/>
                  <a:pt x="3812" y="6900"/>
                </a:cubicBezTo>
                <a:cubicBezTo>
                  <a:pt x="3875" y="6837"/>
                  <a:pt x="3962" y="6805"/>
                  <a:pt x="4049" y="6805"/>
                </a:cubicBezTo>
                <a:cubicBezTo>
                  <a:pt x="4135" y="6805"/>
                  <a:pt x="4222" y="6837"/>
                  <a:pt x="4285" y="6900"/>
                </a:cubicBezTo>
                <a:lnTo>
                  <a:pt x="5010" y="7593"/>
                </a:lnTo>
                <a:cubicBezTo>
                  <a:pt x="5075" y="7659"/>
                  <a:pt x="5163" y="7690"/>
                  <a:pt x="5251" y="7690"/>
                </a:cubicBezTo>
                <a:cubicBezTo>
                  <a:pt x="5415" y="7690"/>
                  <a:pt x="5577" y="7578"/>
                  <a:pt x="5577" y="7372"/>
                </a:cubicBezTo>
                <a:lnTo>
                  <a:pt x="5577" y="3182"/>
                </a:lnTo>
                <a:cubicBezTo>
                  <a:pt x="5577" y="2993"/>
                  <a:pt x="5734" y="2836"/>
                  <a:pt x="5955" y="2836"/>
                </a:cubicBezTo>
                <a:close/>
                <a:moveTo>
                  <a:pt x="9672" y="10302"/>
                </a:moveTo>
                <a:lnTo>
                  <a:pt x="9672" y="10680"/>
                </a:lnTo>
                <a:cubicBezTo>
                  <a:pt x="9704" y="10869"/>
                  <a:pt x="9546" y="11027"/>
                  <a:pt x="9357" y="11027"/>
                </a:cubicBezTo>
                <a:lnTo>
                  <a:pt x="6616" y="11027"/>
                </a:lnTo>
                <a:cubicBezTo>
                  <a:pt x="6396" y="11027"/>
                  <a:pt x="6238" y="10869"/>
                  <a:pt x="6238" y="10680"/>
                </a:cubicBezTo>
                <a:lnTo>
                  <a:pt x="6238" y="10302"/>
                </a:lnTo>
                <a:close/>
                <a:moveTo>
                  <a:pt x="347" y="0"/>
                </a:moveTo>
                <a:cubicBezTo>
                  <a:pt x="158" y="0"/>
                  <a:pt x="0" y="158"/>
                  <a:pt x="0" y="347"/>
                </a:cubicBezTo>
                <a:lnTo>
                  <a:pt x="0" y="1733"/>
                </a:lnTo>
                <a:cubicBezTo>
                  <a:pt x="0" y="1922"/>
                  <a:pt x="158" y="2080"/>
                  <a:pt x="347" y="2080"/>
                </a:cubicBezTo>
                <a:lnTo>
                  <a:pt x="693" y="2080"/>
                </a:lnTo>
                <a:lnTo>
                  <a:pt x="693" y="7593"/>
                </a:lnTo>
                <a:lnTo>
                  <a:pt x="347" y="7593"/>
                </a:lnTo>
                <a:cubicBezTo>
                  <a:pt x="158" y="7593"/>
                  <a:pt x="0" y="7751"/>
                  <a:pt x="0" y="7940"/>
                </a:cubicBezTo>
                <a:lnTo>
                  <a:pt x="0" y="9326"/>
                </a:lnTo>
                <a:cubicBezTo>
                  <a:pt x="0" y="9515"/>
                  <a:pt x="158" y="9672"/>
                  <a:pt x="347" y="9672"/>
                </a:cubicBezTo>
                <a:lnTo>
                  <a:pt x="1733" y="9672"/>
                </a:lnTo>
                <a:cubicBezTo>
                  <a:pt x="1922" y="9672"/>
                  <a:pt x="2080" y="9515"/>
                  <a:pt x="2080" y="9326"/>
                </a:cubicBezTo>
                <a:lnTo>
                  <a:pt x="2080" y="8979"/>
                </a:lnTo>
                <a:lnTo>
                  <a:pt x="4442" y="8979"/>
                </a:lnTo>
                <a:lnTo>
                  <a:pt x="5577" y="10113"/>
                </a:lnTo>
                <a:lnTo>
                  <a:pt x="5577" y="10712"/>
                </a:lnTo>
                <a:cubicBezTo>
                  <a:pt x="5577" y="11248"/>
                  <a:pt x="6049" y="11720"/>
                  <a:pt x="6616" y="11720"/>
                </a:cubicBezTo>
                <a:lnTo>
                  <a:pt x="9357" y="11720"/>
                </a:lnTo>
                <a:cubicBezTo>
                  <a:pt x="9924" y="11720"/>
                  <a:pt x="10397" y="11248"/>
                  <a:pt x="10397" y="10712"/>
                </a:cubicBezTo>
                <a:lnTo>
                  <a:pt x="10397" y="10113"/>
                </a:lnTo>
                <a:cubicBezTo>
                  <a:pt x="10806" y="9200"/>
                  <a:pt x="11058" y="8160"/>
                  <a:pt x="11058" y="7026"/>
                </a:cubicBezTo>
                <a:lnTo>
                  <a:pt x="11058" y="5892"/>
                </a:lnTo>
                <a:cubicBezTo>
                  <a:pt x="11058" y="5325"/>
                  <a:pt x="10617" y="4884"/>
                  <a:pt x="10019" y="4884"/>
                </a:cubicBezTo>
                <a:cubicBezTo>
                  <a:pt x="9924" y="4884"/>
                  <a:pt x="9767" y="4915"/>
                  <a:pt x="9641" y="4947"/>
                </a:cubicBezTo>
                <a:cubicBezTo>
                  <a:pt x="9546" y="4632"/>
                  <a:pt x="9326" y="4379"/>
                  <a:pt x="9011" y="4253"/>
                </a:cubicBezTo>
                <a:lnTo>
                  <a:pt x="9011" y="2080"/>
                </a:lnTo>
                <a:lnTo>
                  <a:pt x="9357" y="2080"/>
                </a:lnTo>
                <a:cubicBezTo>
                  <a:pt x="9546" y="2080"/>
                  <a:pt x="9735" y="1922"/>
                  <a:pt x="9735" y="1733"/>
                </a:cubicBezTo>
                <a:lnTo>
                  <a:pt x="9735" y="347"/>
                </a:lnTo>
                <a:cubicBezTo>
                  <a:pt x="9735" y="158"/>
                  <a:pt x="9546" y="0"/>
                  <a:pt x="9357" y="0"/>
                </a:cubicBezTo>
                <a:lnTo>
                  <a:pt x="7971" y="0"/>
                </a:lnTo>
                <a:cubicBezTo>
                  <a:pt x="7782" y="0"/>
                  <a:pt x="7624" y="158"/>
                  <a:pt x="7624" y="347"/>
                </a:cubicBezTo>
                <a:lnTo>
                  <a:pt x="7624" y="693"/>
                </a:lnTo>
                <a:lnTo>
                  <a:pt x="2080" y="693"/>
                </a:lnTo>
                <a:lnTo>
                  <a:pt x="2080" y="347"/>
                </a:lnTo>
                <a:cubicBezTo>
                  <a:pt x="2080" y="158"/>
                  <a:pt x="1922" y="0"/>
                  <a:pt x="1733"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nvGrpSpPr>
          <p:cNvPr id="11293" name="Google Shape;11293;p115"/>
          <p:cNvGrpSpPr/>
          <p:nvPr/>
        </p:nvGrpSpPr>
        <p:grpSpPr>
          <a:xfrm>
            <a:off x="9802495" y="2853884"/>
            <a:ext cx="561061" cy="561061"/>
            <a:chOff x="-2419325" y="2408150"/>
            <a:chExt cx="291450" cy="291450"/>
          </a:xfrm>
        </p:grpSpPr>
        <p:sp>
          <p:nvSpPr>
            <p:cNvPr id="11294" name="Google Shape;11294;p115"/>
            <p:cNvSpPr/>
            <p:nvPr/>
          </p:nvSpPr>
          <p:spPr>
            <a:xfrm>
              <a:off x="-2419325" y="2408150"/>
              <a:ext cx="291450" cy="291450"/>
            </a:xfrm>
            <a:custGeom>
              <a:avLst/>
              <a:gdLst/>
              <a:ahLst/>
              <a:cxnLst/>
              <a:rect l="l" t="t" r="r" b="b"/>
              <a:pathLst>
                <a:path w="11658" h="11658" extrusionOk="0">
                  <a:moveTo>
                    <a:pt x="8948" y="725"/>
                  </a:moveTo>
                  <a:lnTo>
                    <a:pt x="8948" y="2489"/>
                  </a:lnTo>
                  <a:lnTo>
                    <a:pt x="8948" y="10366"/>
                  </a:lnTo>
                  <a:cubicBezTo>
                    <a:pt x="8948" y="10586"/>
                    <a:pt x="9011" y="10838"/>
                    <a:pt x="9137" y="11027"/>
                  </a:cubicBezTo>
                  <a:lnTo>
                    <a:pt x="1733" y="11027"/>
                  </a:lnTo>
                  <a:cubicBezTo>
                    <a:pt x="1134" y="11027"/>
                    <a:pt x="662" y="10586"/>
                    <a:pt x="662" y="10019"/>
                  </a:cubicBezTo>
                  <a:lnTo>
                    <a:pt x="662" y="725"/>
                  </a:lnTo>
                  <a:close/>
                  <a:moveTo>
                    <a:pt x="11027" y="2836"/>
                  </a:moveTo>
                  <a:lnTo>
                    <a:pt x="11027" y="10366"/>
                  </a:lnTo>
                  <a:lnTo>
                    <a:pt x="10995" y="10366"/>
                  </a:lnTo>
                  <a:cubicBezTo>
                    <a:pt x="10995" y="10744"/>
                    <a:pt x="10680" y="11027"/>
                    <a:pt x="10334" y="11027"/>
                  </a:cubicBezTo>
                  <a:cubicBezTo>
                    <a:pt x="9987" y="11027"/>
                    <a:pt x="9672" y="10712"/>
                    <a:pt x="9672" y="10366"/>
                  </a:cubicBezTo>
                  <a:lnTo>
                    <a:pt x="9672" y="2836"/>
                  </a:lnTo>
                  <a:close/>
                  <a:moveTo>
                    <a:pt x="347" y="1"/>
                  </a:moveTo>
                  <a:cubicBezTo>
                    <a:pt x="158" y="1"/>
                    <a:pt x="0" y="158"/>
                    <a:pt x="0" y="347"/>
                  </a:cubicBezTo>
                  <a:lnTo>
                    <a:pt x="0" y="9956"/>
                  </a:lnTo>
                  <a:cubicBezTo>
                    <a:pt x="0" y="10901"/>
                    <a:pt x="756" y="11657"/>
                    <a:pt x="1702" y="11657"/>
                  </a:cubicBezTo>
                  <a:lnTo>
                    <a:pt x="10302" y="11657"/>
                  </a:lnTo>
                  <a:cubicBezTo>
                    <a:pt x="11027" y="11657"/>
                    <a:pt x="11657" y="11027"/>
                    <a:pt x="11657" y="10271"/>
                  </a:cubicBezTo>
                  <a:lnTo>
                    <a:pt x="11657" y="2395"/>
                  </a:lnTo>
                  <a:cubicBezTo>
                    <a:pt x="11657" y="2300"/>
                    <a:pt x="11500" y="2143"/>
                    <a:pt x="11342" y="2143"/>
                  </a:cubicBezTo>
                  <a:lnTo>
                    <a:pt x="9641" y="2143"/>
                  </a:lnTo>
                  <a:lnTo>
                    <a:pt x="9641" y="347"/>
                  </a:lnTo>
                  <a:cubicBezTo>
                    <a:pt x="9641" y="158"/>
                    <a:pt x="9483" y="1"/>
                    <a:pt x="9294"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1295" name="Google Shape;11295;p115"/>
            <p:cNvSpPr/>
            <p:nvPr/>
          </p:nvSpPr>
          <p:spPr>
            <a:xfrm>
              <a:off x="-2385475" y="2444375"/>
              <a:ext cx="173325" cy="86675"/>
            </a:xfrm>
            <a:custGeom>
              <a:avLst/>
              <a:gdLst/>
              <a:ahLst/>
              <a:cxnLst/>
              <a:rect l="l" t="t" r="r" b="b"/>
              <a:pathLst>
                <a:path w="6933" h="3467" extrusionOk="0">
                  <a:moveTo>
                    <a:pt x="6207" y="694"/>
                  </a:moveTo>
                  <a:lnTo>
                    <a:pt x="6207" y="2742"/>
                  </a:lnTo>
                  <a:lnTo>
                    <a:pt x="694" y="2742"/>
                  </a:lnTo>
                  <a:lnTo>
                    <a:pt x="694" y="694"/>
                  </a:lnTo>
                  <a:close/>
                  <a:moveTo>
                    <a:pt x="348" y="1"/>
                  </a:moveTo>
                  <a:cubicBezTo>
                    <a:pt x="159" y="1"/>
                    <a:pt x="1" y="158"/>
                    <a:pt x="1" y="379"/>
                  </a:cubicBezTo>
                  <a:lnTo>
                    <a:pt x="1" y="3120"/>
                  </a:lnTo>
                  <a:cubicBezTo>
                    <a:pt x="1" y="3309"/>
                    <a:pt x="159" y="3466"/>
                    <a:pt x="348" y="3466"/>
                  </a:cubicBezTo>
                  <a:lnTo>
                    <a:pt x="6554" y="3466"/>
                  </a:lnTo>
                  <a:cubicBezTo>
                    <a:pt x="6775" y="3466"/>
                    <a:pt x="6932" y="3309"/>
                    <a:pt x="6932" y="3120"/>
                  </a:cubicBezTo>
                  <a:lnTo>
                    <a:pt x="6932" y="379"/>
                  </a:lnTo>
                  <a:cubicBezTo>
                    <a:pt x="6869" y="158"/>
                    <a:pt x="6712" y="1"/>
                    <a:pt x="6554"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1296" name="Google Shape;11296;p115"/>
            <p:cNvSpPr/>
            <p:nvPr/>
          </p:nvSpPr>
          <p:spPr>
            <a:xfrm>
              <a:off x="-2385475" y="2545975"/>
              <a:ext cx="86675" cy="86675"/>
            </a:xfrm>
            <a:custGeom>
              <a:avLst/>
              <a:gdLst/>
              <a:ahLst/>
              <a:cxnLst/>
              <a:rect l="l" t="t" r="r" b="b"/>
              <a:pathLst>
                <a:path w="3467" h="3467" extrusionOk="0">
                  <a:moveTo>
                    <a:pt x="2742" y="757"/>
                  </a:moveTo>
                  <a:lnTo>
                    <a:pt x="2742" y="2805"/>
                  </a:lnTo>
                  <a:lnTo>
                    <a:pt x="694" y="2805"/>
                  </a:lnTo>
                  <a:lnTo>
                    <a:pt x="694" y="757"/>
                  </a:lnTo>
                  <a:close/>
                  <a:moveTo>
                    <a:pt x="348" y="1"/>
                  </a:moveTo>
                  <a:cubicBezTo>
                    <a:pt x="159" y="1"/>
                    <a:pt x="1" y="158"/>
                    <a:pt x="1" y="347"/>
                  </a:cubicBezTo>
                  <a:lnTo>
                    <a:pt x="1" y="3120"/>
                  </a:lnTo>
                  <a:cubicBezTo>
                    <a:pt x="1" y="3309"/>
                    <a:pt x="159" y="3466"/>
                    <a:pt x="348" y="3466"/>
                  </a:cubicBezTo>
                  <a:lnTo>
                    <a:pt x="3088" y="3466"/>
                  </a:lnTo>
                  <a:cubicBezTo>
                    <a:pt x="3309" y="3466"/>
                    <a:pt x="3467" y="3309"/>
                    <a:pt x="3467" y="3120"/>
                  </a:cubicBezTo>
                  <a:lnTo>
                    <a:pt x="3467" y="347"/>
                  </a:lnTo>
                  <a:cubicBezTo>
                    <a:pt x="3467" y="158"/>
                    <a:pt x="3309" y="1"/>
                    <a:pt x="3088"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1297" name="Google Shape;11297;p115"/>
            <p:cNvSpPr/>
            <p:nvPr/>
          </p:nvSpPr>
          <p:spPr>
            <a:xfrm>
              <a:off x="-2281500" y="2546775"/>
              <a:ext cx="69350" cy="18125"/>
            </a:xfrm>
            <a:custGeom>
              <a:avLst/>
              <a:gdLst/>
              <a:ahLst/>
              <a:cxnLst/>
              <a:rect l="l" t="t" r="r" b="b"/>
              <a:pathLst>
                <a:path w="2774" h="725" extrusionOk="0">
                  <a:moveTo>
                    <a:pt x="347" y="0"/>
                  </a:moveTo>
                  <a:cubicBezTo>
                    <a:pt x="158" y="0"/>
                    <a:pt x="1" y="158"/>
                    <a:pt x="1" y="378"/>
                  </a:cubicBezTo>
                  <a:cubicBezTo>
                    <a:pt x="1" y="567"/>
                    <a:pt x="158" y="725"/>
                    <a:pt x="347" y="725"/>
                  </a:cubicBezTo>
                  <a:lnTo>
                    <a:pt x="2395" y="725"/>
                  </a:lnTo>
                  <a:cubicBezTo>
                    <a:pt x="2616" y="725"/>
                    <a:pt x="2773" y="567"/>
                    <a:pt x="2773" y="378"/>
                  </a:cubicBezTo>
                  <a:cubicBezTo>
                    <a:pt x="2710" y="158"/>
                    <a:pt x="2553" y="0"/>
                    <a:pt x="2395"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1298" name="Google Shape;11298;p115"/>
            <p:cNvSpPr/>
            <p:nvPr/>
          </p:nvSpPr>
          <p:spPr>
            <a:xfrm>
              <a:off x="-2281500" y="2581425"/>
              <a:ext cx="69350" cy="18150"/>
            </a:xfrm>
            <a:custGeom>
              <a:avLst/>
              <a:gdLst/>
              <a:ahLst/>
              <a:cxnLst/>
              <a:rect l="l" t="t" r="r" b="b"/>
              <a:pathLst>
                <a:path w="2774" h="726" extrusionOk="0">
                  <a:moveTo>
                    <a:pt x="347" y="1"/>
                  </a:moveTo>
                  <a:cubicBezTo>
                    <a:pt x="158" y="1"/>
                    <a:pt x="1" y="158"/>
                    <a:pt x="1" y="347"/>
                  </a:cubicBezTo>
                  <a:cubicBezTo>
                    <a:pt x="1" y="568"/>
                    <a:pt x="158" y="725"/>
                    <a:pt x="347" y="725"/>
                  </a:cubicBezTo>
                  <a:lnTo>
                    <a:pt x="2395" y="725"/>
                  </a:lnTo>
                  <a:cubicBezTo>
                    <a:pt x="2616" y="725"/>
                    <a:pt x="2773" y="568"/>
                    <a:pt x="2773" y="347"/>
                  </a:cubicBezTo>
                  <a:cubicBezTo>
                    <a:pt x="2710" y="158"/>
                    <a:pt x="2553" y="1"/>
                    <a:pt x="2395"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1299" name="Google Shape;11299;p115"/>
            <p:cNvSpPr/>
            <p:nvPr/>
          </p:nvSpPr>
          <p:spPr>
            <a:xfrm>
              <a:off x="-2281500" y="2616075"/>
              <a:ext cx="69350" cy="17350"/>
            </a:xfrm>
            <a:custGeom>
              <a:avLst/>
              <a:gdLst/>
              <a:ahLst/>
              <a:cxnLst/>
              <a:rect l="l" t="t" r="r" b="b"/>
              <a:pathLst>
                <a:path w="2774" h="694" extrusionOk="0">
                  <a:moveTo>
                    <a:pt x="347" y="1"/>
                  </a:moveTo>
                  <a:cubicBezTo>
                    <a:pt x="158" y="1"/>
                    <a:pt x="1" y="158"/>
                    <a:pt x="1" y="347"/>
                  </a:cubicBezTo>
                  <a:cubicBezTo>
                    <a:pt x="1" y="536"/>
                    <a:pt x="158" y="694"/>
                    <a:pt x="347" y="694"/>
                  </a:cubicBezTo>
                  <a:lnTo>
                    <a:pt x="2395" y="694"/>
                  </a:lnTo>
                  <a:cubicBezTo>
                    <a:pt x="2616" y="694"/>
                    <a:pt x="2773" y="536"/>
                    <a:pt x="2773" y="347"/>
                  </a:cubicBezTo>
                  <a:cubicBezTo>
                    <a:pt x="2710" y="158"/>
                    <a:pt x="2553" y="1"/>
                    <a:pt x="2395"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1300" name="Google Shape;11300;p115"/>
            <p:cNvSpPr/>
            <p:nvPr/>
          </p:nvSpPr>
          <p:spPr>
            <a:xfrm>
              <a:off x="-2385475" y="2649150"/>
              <a:ext cx="173325" cy="18150"/>
            </a:xfrm>
            <a:custGeom>
              <a:avLst/>
              <a:gdLst/>
              <a:ahLst/>
              <a:cxnLst/>
              <a:rect l="l" t="t" r="r" b="b"/>
              <a:pathLst>
                <a:path w="6933" h="726" extrusionOk="0">
                  <a:moveTo>
                    <a:pt x="348" y="1"/>
                  </a:moveTo>
                  <a:cubicBezTo>
                    <a:pt x="159" y="1"/>
                    <a:pt x="1" y="159"/>
                    <a:pt x="1" y="379"/>
                  </a:cubicBezTo>
                  <a:cubicBezTo>
                    <a:pt x="1" y="568"/>
                    <a:pt x="159" y="726"/>
                    <a:pt x="348" y="726"/>
                  </a:cubicBezTo>
                  <a:lnTo>
                    <a:pt x="6554" y="726"/>
                  </a:lnTo>
                  <a:cubicBezTo>
                    <a:pt x="6775" y="726"/>
                    <a:pt x="6932" y="568"/>
                    <a:pt x="6932" y="379"/>
                  </a:cubicBezTo>
                  <a:cubicBezTo>
                    <a:pt x="6869" y="159"/>
                    <a:pt x="6712" y="1"/>
                    <a:pt x="6554"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sp>
        <p:nvSpPr>
          <p:cNvPr id="11301" name="Google Shape;11301;p115"/>
          <p:cNvSpPr/>
          <p:nvPr/>
        </p:nvSpPr>
        <p:spPr>
          <a:xfrm>
            <a:off x="9816347" y="3546202"/>
            <a:ext cx="565584" cy="564092"/>
          </a:xfrm>
          <a:custGeom>
            <a:avLst/>
            <a:gdLst/>
            <a:ahLst/>
            <a:cxnLst/>
            <a:rect l="l" t="t" r="r" b="b"/>
            <a:pathLst>
              <a:path w="11752" h="11721" extrusionOk="0">
                <a:moveTo>
                  <a:pt x="6490" y="662"/>
                </a:moveTo>
                <a:cubicBezTo>
                  <a:pt x="6711" y="662"/>
                  <a:pt x="6868" y="820"/>
                  <a:pt x="6868" y="1009"/>
                </a:cubicBezTo>
                <a:lnTo>
                  <a:pt x="6868" y="1355"/>
                </a:lnTo>
                <a:lnTo>
                  <a:pt x="5167" y="1355"/>
                </a:lnTo>
                <a:cubicBezTo>
                  <a:pt x="4600" y="1355"/>
                  <a:pt x="4127" y="1828"/>
                  <a:pt x="4127" y="2395"/>
                </a:cubicBezTo>
                <a:lnTo>
                  <a:pt x="4127" y="2773"/>
                </a:lnTo>
                <a:lnTo>
                  <a:pt x="3088" y="2773"/>
                </a:lnTo>
                <a:cubicBezTo>
                  <a:pt x="2993" y="2773"/>
                  <a:pt x="2867" y="2836"/>
                  <a:pt x="2836" y="2899"/>
                </a:cubicBezTo>
                <a:lnTo>
                  <a:pt x="2048" y="3687"/>
                </a:lnTo>
                <a:lnTo>
                  <a:pt x="2048" y="3151"/>
                </a:lnTo>
                <a:cubicBezTo>
                  <a:pt x="2048" y="2931"/>
                  <a:pt x="1891" y="2773"/>
                  <a:pt x="1702" y="2773"/>
                </a:cubicBezTo>
                <a:lnTo>
                  <a:pt x="1040" y="2773"/>
                </a:lnTo>
                <a:cubicBezTo>
                  <a:pt x="819" y="2773"/>
                  <a:pt x="662" y="2616"/>
                  <a:pt x="662" y="2427"/>
                </a:cubicBezTo>
                <a:lnTo>
                  <a:pt x="662" y="1009"/>
                </a:lnTo>
                <a:cubicBezTo>
                  <a:pt x="662" y="820"/>
                  <a:pt x="819" y="662"/>
                  <a:pt x="1040" y="662"/>
                </a:cubicBezTo>
                <a:close/>
                <a:moveTo>
                  <a:pt x="10649" y="1986"/>
                </a:moveTo>
                <a:cubicBezTo>
                  <a:pt x="10838" y="1986"/>
                  <a:pt x="10995" y="2143"/>
                  <a:pt x="10995" y="2364"/>
                </a:cubicBezTo>
                <a:lnTo>
                  <a:pt x="10995" y="3781"/>
                </a:lnTo>
                <a:cubicBezTo>
                  <a:pt x="10995" y="3970"/>
                  <a:pt x="10838" y="4128"/>
                  <a:pt x="10649" y="4128"/>
                </a:cubicBezTo>
                <a:lnTo>
                  <a:pt x="8601" y="4128"/>
                </a:lnTo>
                <a:cubicBezTo>
                  <a:pt x="8412" y="4128"/>
                  <a:pt x="8255" y="4285"/>
                  <a:pt x="8255" y="4474"/>
                </a:cubicBezTo>
                <a:lnTo>
                  <a:pt x="8255" y="5041"/>
                </a:lnTo>
                <a:lnTo>
                  <a:pt x="7404" y="4191"/>
                </a:lnTo>
                <a:cubicBezTo>
                  <a:pt x="7372" y="4159"/>
                  <a:pt x="7246" y="4128"/>
                  <a:pt x="7183" y="4128"/>
                </a:cubicBezTo>
                <a:lnTo>
                  <a:pt x="5136" y="4128"/>
                </a:lnTo>
                <a:cubicBezTo>
                  <a:pt x="4947" y="4128"/>
                  <a:pt x="4789" y="3970"/>
                  <a:pt x="4789" y="3781"/>
                </a:cubicBezTo>
                <a:lnTo>
                  <a:pt x="4789" y="2364"/>
                </a:lnTo>
                <a:cubicBezTo>
                  <a:pt x="4789" y="2143"/>
                  <a:pt x="4947" y="1986"/>
                  <a:pt x="5136" y="1986"/>
                </a:cubicBezTo>
                <a:close/>
                <a:moveTo>
                  <a:pt x="3088" y="6207"/>
                </a:moveTo>
                <a:cubicBezTo>
                  <a:pt x="3623" y="6207"/>
                  <a:pt x="4096" y="6680"/>
                  <a:pt x="4096" y="7247"/>
                </a:cubicBezTo>
                <a:cubicBezTo>
                  <a:pt x="4096" y="7782"/>
                  <a:pt x="3623" y="8255"/>
                  <a:pt x="3088" y="8255"/>
                </a:cubicBezTo>
                <a:cubicBezTo>
                  <a:pt x="2521" y="8255"/>
                  <a:pt x="2048" y="7782"/>
                  <a:pt x="2048" y="7247"/>
                </a:cubicBezTo>
                <a:cubicBezTo>
                  <a:pt x="2048" y="6648"/>
                  <a:pt x="2489" y="6207"/>
                  <a:pt x="3088" y="6207"/>
                </a:cubicBezTo>
                <a:close/>
                <a:moveTo>
                  <a:pt x="8601" y="6207"/>
                </a:moveTo>
                <a:cubicBezTo>
                  <a:pt x="9137" y="6207"/>
                  <a:pt x="9609" y="6648"/>
                  <a:pt x="9609" y="7247"/>
                </a:cubicBezTo>
                <a:cubicBezTo>
                  <a:pt x="9609" y="7782"/>
                  <a:pt x="9137" y="8255"/>
                  <a:pt x="8601" y="8255"/>
                </a:cubicBezTo>
                <a:cubicBezTo>
                  <a:pt x="8003" y="8255"/>
                  <a:pt x="7530" y="7782"/>
                  <a:pt x="7530" y="7247"/>
                </a:cubicBezTo>
                <a:cubicBezTo>
                  <a:pt x="7530" y="6680"/>
                  <a:pt x="8003" y="6207"/>
                  <a:pt x="8601" y="6207"/>
                </a:cubicBezTo>
                <a:close/>
                <a:moveTo>
                  <a:pt x="3749" y="8980"/>
                </a:moveTo>
                <a:cubicBezTo>
                  <a:pt x="4695" y="8980"/>
                  <a:pt x="5451" y="9704"/>
                  <a:pt x="5451" y="10649"/>
                </a:cubicBezTo>
                <a:lnTo>
                  <a:pt x="5451" y="11027"/>
                </a:lnTo>
                <a:lnTo>
                  <a:pt x="630" y="11027"/>
                </a:lnTo>
                <a:lnTo>
                  <a:pt x="630" y="10649"/>
                </a:lnTo>
                <a:lnTo>
                  <a:pt x="662" y="10649"/>
                </a:lnTo>
                <a:cubicBezTo>
                  <a:pt x="662" y="9704"/>
                  <a:pt x="1418" y="8980"/>
                  <a:pt x="2363" y="8980"/>
                </a:cubicBezTo>
                <a:close/>
                <a:moveTo>
                  <a:pt x="9369" y="8976"/>
                </a:moveTo>
                <a:cubicBezTo>
                  <a:pt x="10266" y="8976"/>
                  <a:pt x="10995" y="9740"/>
                  <a:pt x="10995" y="10649"/>
                </a:cubicBezTo>
                <a:lnTo>
                  <a:pt x="10995" y="11027"/>
                </a:lnTo>
                <a:lnTo>
                  <a:pt x="6144" y="11027"/>
                </a:lnTo>
                <a:lnTo>
                  <a:pt x="6144" y="10649"/>
                </a:lnTo>
                <a:cubicBezTo>
                  <a:pt x="6144" y="9704"/>
                  <a:pt x="6900" y="8980"/>
                  <a:pt x="7845" y="8980"/>
                </a:cubicBezTo>
                <a:lnTo>
                  <a:pt x="9263" y="8980"/>
                </a:lnTo>
                <a:cubicBezTo>
                  <a:pt x="9298" y="8977"/>
                  <a:pt x="9334" y="8976"/>
                  <a:pt x="9369" y="8976"/>
                </a:cubicBezTo>
                <a:close/>
                <a:moveTo>
                  <a:pt x="1040" y="1"/>
                </a:moveTo>
                <a:cubicBezTo>
                  <a:pt x="473" y="1"/>
                  <a:pt x="0" y="473"/>
                  <a:pt x="0" y="1009"/>
                </a:cubicBezTo>
                <a:lnTo>
                  <a:pt x="0" y="2427"/>
                </a:lnTo>
                <a:cubicBezTo>
                  <a:pt x="0" y="2994"/>
                  <a:pt x="473" y="3466"/>
                  <a:pt x="1040" y="3466"/>
                </a:cubicBezTo>
                <a:lnTo>
                  <a:pt x="1386" y="3466"/>
                </a:lnTo>
                <a:lnTo>
                  <a:pt x="1386" y="4474"/>
                </a:lnTo>
                <a:cubicBezTo>
                  <a:pt x="1386" y="4688"/>
                  <a:pt x="1546" y="4829"/>
                  <a:pt x="1727" y="4829"/>
                </a:cubicBezTo>
                <a:cubicBezTo>
                  <a:pt x="1813" y="4829"/>
                  <a:pt x="1904" y="4797"/>
                  <a:pt x="1985" y="4726"/>
                </a:cubicBezTo>
                <a:lnTo>
                  <a:pt x="3245" y="3466"/>
                </a:lnTo>
                <a:lnTo>
                  <a:pt x="4096" y="3466"/>
                </a:lnTo>
                <a:lnTo>
                  <a:pt x="4096" y="3813"/>
                </a:lnTo>
                <a:cubicBezTo>
                  <a:pt x="4096" y="4348"/>
                  <a:pt x="4568" y="4821"/>
                  <a:pt x="5136" y="4821"/>
                </a:cubicBezTo>
                <a:lnTo>
                  <a:pt x="7057" y="4821"/>
                </a:lnTo>
                <a:lnTo>
                  <a:pt x="7908" y="5672"/>
                </a:lnTo>
                <a:cubicBezTo>
                  <a:pt x="7341" y="5924"/>
                  <a:pt x="6868" y="6522"/>
                  <a:pt x="6868" y="7247"/>
                </a:cubicBezTo>
                <a:cubicBezTo>
                  <a:pt x="6868" y="7625"/>
                  <a:pt x="7026" y="8034"/>
                  <a:pt x="7278" y="8349"/>
                </a:cubicBezTo>
                <a:cubicBezTo>
                  <a:pt x="6648" y="8507"/>
                  <a:pt x="6144" y="8885"/>
                  <a:pt x="5829" y="9452"/>
                </a:cubicBezTo>
                <a:cubicBezTo>
                  <a:pt x="5514" y="8917"/>
                  <a:pt x="5010" y="8539"/>
                  <a:pt x="4411" y="8381"/>
                </a:cubicBezTo>
                <a:cubicBezTo>
                  <a:pt x="4663" y="8066"/>
                  <a:pt x="4821" y="7719"/>
                  <a:pt x="4821" y="7278"/>
                </a:cubicBezTo>
                <a:cubicBezTo>
                  <a:pt x="4821" y="6333"/>
                  <a:pt x="4064" y="5577"/>
                  <a:pt x="3119" y="5577"/>
                </a:cubicBezTo>
                <a:cubicBezTo>
                  <a:pt x="2174" y="5577"/>
                  <a:pt x="1418" y="6333"/>
                  <a:pt x="1418" y="7278"/>
                </a:cubicBezTo>
                <a:cubicBezTo>
                  <a:pt x="1418" y="7719"/>
                  <a:pt x="1576" y="8097"/>
                  <a:pt x="1828" y="8381"/>
                </a:cubicBezTo>
                <a:cubicBezTo>
                  <a:pt x="788" y="8665"/>
                  <a:pt x="32" y="9610"/>
                  <a:pt x="32" y="10712"/>
                </a:cubicBezTo>
                <a:lnTo>
                  <a:pt x="32" y="11374"/>
                </a:lnTo>
                <a:cubicBezTo>
                  <a:pt x="32" y="11563"/>
                  <a:pt x="189" y="11721"/>
                  <a:pt x="410" y="11721"/>
                </a:cubicBezTo>
                <a:lnTo>
                  <a:pt x="11374" y="11721"/>
                </a:lnTo>
                <a:cubicBezTo>
                  <a:pt x="11594" y="11721"/>
                  <a:pt x="11752" y="11563"/>
                  <a:pt x="11752" y="11374"/>
                </a:cubicBezTo>
                <a:lnTo>
                  <a:pt x="11752" y="10712"/>
                </a:lnTo>
                <a:cubicBezTo>
                  <a:pt x="11752" y="9610"/>
                  <a:pt x="10995" y="8665"/>
                  <a:pt x="9956" y="8381"/>
                </a:cubicBezTo>
                <a:cubicBezTo>
                  <a:pt x="10208" y="8066"/>
                  <a:pt x="10365" y="7719"/>
                  <a:pt x="10365" y="7278"/>
                </a:cubicBezTo>
                <a:cubicBezTo>
                  <a:pt x="10365" y="6459"/>
                  <a:pt x="9767" y="5735"/>
                  <a:pt x="8979" y="5577"/>
                </a:cubicBezTo>
                <a:lnTo>
                  <a:pt x="8979" y="4884"/>
                </a:lnTo>
                <a:lnTo>
                  <a:pt x="10649" y="4884"/>
                </a:lnTo>
                <a:lnTo>
                  <a:pt x="10649" y="4821"/>
                </a:lnTo>
                <a:cubicBezTo>
                  <a:pt x="11185" y="4821"/>
                  <a:pt x="11657" y="4348"/>
                  <a:pt x="11657" y="3813"/>
                </a:cubicBezTo>
                <a:lnTo>
                  <a:pt x="11657" y="2395"/>
                </a:lnTo>
                <a:cubicBezTo>
                  <a:pt x="11657" y="1828"/>
                  <a:pt x="11185" y="1355"/>
                  <a:pt x="10649" y="1355"/>
                </a:cubicBezTo>
                <a:lnTo>
                  <a:pt x="7530" y="1355"/>
                </a:lnTo>
                <a:lnTo>
                  <a:pt x="7530" y="1009"/>
                </a:lnTo>
                <a:cubicBezTo>
                  <a:pt x="7530" y="473"/>
                  <a:pt x="7057" y="1"/>
                  <a:pt x="6490"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nvGrpSpPr>
          <p:cNvPr id="11302" name="Google Shape;11302;p115"/>
          <p:cNvGrpSpPr/>
          <p:nvPr/>
        </p:nvGrpSpPr>
        <p:grpSpPr>
          <a:xfrm>
            <a:off x="6231195" y="4308685"/>
            <a:ext cx="561061" cy="562552"/>
            <a:chOff x="-1333200" y="2770450"/>
            <a:chExt cx="291450" cy="292225"/>
          </a:xfrm>
        </p:grpSpPr>
        <p:sp>
          <p:nvSpPr>
            <p:cNvPr id="11303" name="Google Shape;11303;p115"/>
            <p:cNvSpPr/>
            <p:nvPr/>
          </p:nvSpPr>
          <p:spPr>
            <a:xfrm>
              <a:off x="-1299325" y="2808250"/>
              <a:ext cx="222925" cy="134725"/>
            </a:xfrm>
            <a:custGeom>
              <a:avLst/>
              <a:gdLst/>
              <a:ahLst/>
              <a:cxnLst/>
              <a:rect l="l" t="t" r="r" b="b"/>
              <a:pathLst>
                <a:path w="8917" h="5389" extrusionOk="0">
                  <a:moveTo>
                    <a:pt x="7877" y="631"/>
                  </a:moveTo>
                  <a:cubicBezTo>
                    <a:pt x="8066" y="631"/>
                    <a:pt x="8223" y="789"/>
                    <a:pt x="8223" y="978"/>
                  </a:cubicBezTo>
                  <a:cubicBezTo>
                    <a:pt x="8223" y="1167"/>
                    <a:pt x="8066" y="1324"/>
                    <a:pt x="7877" y="1324"/>
                  </a:cubicBezTo>
                  <a:cubicBezTo>
                    <a:pt x="7656" y="1324"/>
                    <a:pt x="7498" y="1167"/>
                    <a:pt x="7498" y="978"/>
                  </a:cubicBezTo>
                  <a:cubicBezTo>
                    <a:pt x="7498" y="789"/>
                    <a:pt x="7656" y="631"/>
                    <a:pt x="7877" y="631"/>
                  </a:cubicBezTo>
                  <a:close/>
                  <a:moveTo>
                    <a:pt x="3056" y="1293"/>
                  </a:moveTo>
                  <a:cubicBezTo>
                    <a:pt x="3245" y="1293"/>
                    <a:pt x="3403" y="1450"/>
                    <a:pt x="3403" y="1639"/>
                  </a:cubicBezTo>
                  <a:cubicBezTo>
                    <a:pt x="3403" y="1828"/>
                    <a:pt x="3245" y="1986"/>
                    <a:pt x="3056" y="1986"/>
                  </a:cubicBezTo>
                  <a:cubicBezTo>
                    <a:pt x="2867" y="1986"/>
                    <a:pt x="2710" y="1828"/>
                    <a:pt x="2710" y="1639"/>
                  </a:cubicBezTo>
                  <a:cubicBezTo>
                    <a:pt x="2741" y="1450"/>
                    <a:pt x="2899" y="1293"/>
                    <a:pt x="3056" y="1293"/>
                  </a:cubicBezTo>
                  <a:close/>
                  <a:moveTo>
                    <a:pt x="5797" y="3340"/>
                  </a:moveTo>
                  <a:cubicBezTo>
                    <a:pt x="6018" y="3340"/>
                    <a:pt x="6175" y="3498"/>
                    <a:pt x="6175" y="3687"/>
                  </a:cubicBezTo>
                  <a:cubicBezTo>
                    <a:pt x="6175" y="3876"/>
                    <a:pt x="6018" y="4034"/>
                    <a:pt x="5797" y="4034"/>
                  </a:cubicBezTo>
                  <a:cubicBezTo>
                    <a:pt x="5608" y="4034"/>
                    <a:pt x="5451" y="3876"/>
                    <a:pt x="5451" y="3687"/>
                  </a:cubicBezTo>
                  <a:cubicBezTo>
                    <a:pt x="5451" y="3498"/>
                    <a:pt x="5608" y="3340"/>
                    <a:pt x="5797" y="3340"/>
                  </a:cubicBezTo>
                  <a:close/>
                  <a:moveTo>
                    <a:pt x="1008" y="4034"/>
                  </a:moveTo>
                  <a:cubicBezTo>
                    <a:pt x="1198" y="4034"/>
                    <a:pt x="1355" y="4191"/>
                    <a:pt x="1355" y="4412"/>
                  </a:cubicBezTo>
                  <a:cubicBezTo>
                    <a:pt x="1355" y="4601"/>
                    <a:pt x="1198" y="4758"/>
                    <a:pt x="1008" y="4758"/>
                  </a:cubicBezTo>
                  <a:cubicBezTo>
                    <a:pt x="819" y="4758"/>
                    <a:pt x="662" y="4601"/>
                    <a:pt x="662" y="4412"/>
                  </a:cubicBezTo>
                  <a:cubicBezTo>
                    <a:pt x="662" y="4191"/>
                    <a:pt x="819" y="4034"/>
                    <a:pt x="1008" y="4034"/>
                  </a:cubicBezTo>
                  <a:close/>
                  <a:moveTo>
                    <a:pt x="7908" y="1"/>
                  </a:moveTo>
                  <a:cubicBezTo>
                    <a:pt x="7341" y="1"/>
                    <a:pt x="6868" y="474"/>
                    <a:pt x="6868" y="1009"/>
                  </a:cubicBezTo>
                  <a:cubicBezTo>
                    <a:pt x="6868" y="1198"/>
                    <a:pt x="6963" y="1419"/>
                    <a:pt x="7026" y="1576"/>
                  </a:cubicBezTo>
                  <a:lnTo>
                    <a:pt x="6112" y="2742"/>
                  </a:lnTo>
                  <a:cubicBezTo>
                    <a:pt x="6032" y="2722"/>
                    <a:pt x="5943" y="2711"/>
                    <a:pt x="5850" y="2711"/>
                  </a:cubicBezTo>
                  <a:cubicBezTo>
                    <a:pt x="5650" y="2711"/>
                    <a:pt x="5434" y="2760"/>
                    <a:pt x="5262" y="2868"/>
                  </a:cubicBezTo>
                  <a:lnTo>
                    <a:pt x="4096" y="1954"/>
                  </a:lnTo>
                  <a:cubicBezTo>
                    <a:pt x="4127" y="1891"/>
                    <a:pt x="4127" y="1765"/>
                    <a:pt x="4127" y="1639"/>
                  </a:cubicBezTo>
                  <a:cubicBezTo>
                    <a:pt x="4127" y="1104"/>
                    <a:pt x="3655" y="631"/>
                    <a:pt x="3088" y="631"/>
                  </a:cubicBezTo>
                  <a:cubicBezTo>
                    <a:pt x="2552" y="631"/>
                    <a:pt x="2080" y="1104"/>
                    <a:pt x="2080" y="1639"/>
                  </a:cubicBezTo>
                  <a:cubicBezTo>
                    <a:pt x="2080" y="1828"/>
                    <a:pt x="2143" y="2049"/>
                    <a:pt x="2237" y="2206"/>
                  </a:cubicBezTo>
                  <a:lnTo>
                    <a:pt x="1324" y="3372"/>
                  </a:lnTo>
                  <a:cubicBezTo>
                    <a:pt x="1261" y="3340"/>
                    <a:pt x="1134" y="3340"/>
                    <a:pt x="1008" y="3340"/>
                  </a:cubicBezTo>
                  <a:cubicBezTo>
                    <a:pt x="441" y="3340"/>
                    <a:pt x="0" y="3813"/>
                    <a:pt x="0" y="4349"/>
                  </a:cubicBezTo>
                  <a:cubicBezTo>
                    <a:pt x="0" y="4947"/>
                    <a:pt x="441" y="5388"/>
                    <a:pt x="1008" y="5388"/>
                  </a:cubicBezTo>
                  <a:cubicBezTo>
                    <a:pt x="1576" y="5388"/>
                    <a:pt x="2017" y="4916"/>
                    <a:pt x="2017" y="4349"/>
                  </a:cubicBezTo>
                  <a:cubicBezTo>
                    <a:pt x="2017" y="4160"/>
                    <a:pt x="1954" y="3971"/>
                    <a:pt x="1859" y="3813"/>
                  </a:cubicBezTo>
                  <a:lnTo>
                    <a:pt x="2773" y="2616"/>
                  </a:lnTo>
                  <a:cubicBezTo>
                    <a:pt x="2875" y="2650"/>
                    <a:pt x="2980" y="2667"/>
                    <a:pt x="3087" y="2667"/>
                  </a:cubicBezTo>
                  <a:cubicBezTo>
                    <a:pt x="3278" y="2667"/>
                    <a:pt x="3473" y="2611"/>
                    <a:pt x="3655" y="2490"/>
                  </a:cubicBezTo>
                  <a:lnTo>
                    <a:pt x="4821" y="3403"/>
                  </a:lnTo>
                  <a:cubicBezTo>
                    <a:pt x="4789" y="3498"/>
                    <a:pt x="4789" y="3624"/>
                    <a:pt x="4789" y="3719"/>
                  </a:cubicBezTo>
                  <a:cubicBezTo>
                    <a:pt x="4789" y="4286"/>
                    <a:pt x="5262" y="4758"/>
                    <a:pt x="5797" y="4758"/>
                  </a:cubicBezTo>
                  <a:cubicBezTo>
                    <a:pt x="6364" y="4758"/>
                    <a:pt x="6837" y="4286"/>
                    <a:pt x="6837" y="3719"/>
                  </a:cubicBezTo>
                  <a:cubicBezTo>
                    <a:pt x="6837" y="3529"/>
                    <a:pt x="6742" y="3340"/>
                    <a:pt x="6679" y="3183"/>
                  </a:cubicBezTo>
                  <a:lnTo>
                    <a:pt x="7593" y="1986"/>
                  </a:lnTo>
                  <a:cubicBezTo>
                    <a:pt x="7656" y="2049"/>
                    <a:pt x="7782" y="2049"/>
                    <a:pt x="7908" y="2049"/>
                  </a:cubicBezTo>
                  <a:cubicBezTo>
                    <a:pt x="8444" y="2049"/>
                    <a:pt x="8916" y="1576"/>
                    <a:pt x="8916" y="1009"/>
                  </a:cubicBezTo>
                  <a:cubicBezTo>
                    <a:pt x="8916" y="474"/>
                    <a:pt x="8444" y="1"/>
                    <a:pt x="7908"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1304" name="Google Shape;11304;p115"/>
            <p:cNvSpPr/>
            <p:nvPr/>
          </p:nvSpPr>
          <p:spPr>
            <a:xfrm>
              <a:off x="-1333200" y="2770450"/>
              <a:ext cx="291450" cy="292225"/>
            </a:xfrm>
            <a:custGeom>
              <a:avLst/>
              <a:gdLst/>
              <a:ahLst/>
              <a:cxnLst/>
              <a:rect l="l" t="t" r="r" b="b"/>
              <a:pathLst>
                <a:path w="11658" h="11689" extrusionOk="0">
                  <a:moveTo>
                    <a:pt x="10586" y="725"/>
                  </a:moveTo>
                  <a:cubicBezTo>
                    <a:pt x="10807" y="725"/>
                    <a:pt x="10964" y="883"/>
                    <a:pt x="10964" y="1072"/>
                  </a:cubicBezTo>
                  <a:lnTo>
                    <a:pt x="10964" y="7593"/>
                  </a:lnTo>
                  <a:lnTo>
                    <a:pt x="631" y="7593"/>
                  </a:lnTo>
                  <a:lnTo>
                    <a:pt x="631" y="1072"/>
                  </a:lnTo>
                  <a:cubicBezTo>
                    <a:pt x="662" y="883"/>
                    <a:pt x="820" y="725"/>
                    <a:pt x="977" y="725"/>
                  </a:cubicBezTo>
                  <a:close/>
                  <a:moveTo>
                    <a:pt x="10996" y="8286"/>
                  </a:moveTo>
                  <a:lnTo>
                    <a:pt x="10996" y="8633"/>
                  </a:lnTo>
                  <a:cubicBezTo>
                    <a:pt x="10996" y="8822"/>
                    <a:pt x="10838" y="8980"/>
                    <a:pt x="10618" y="8980"/>
                  </a:cubicBezTo>
                  <a:lnTo>
                    <a:pt x="1009" y="8980"/>
                  </a:lnTo>
                  <a:cubicBezTo>
                    <a:pt x="820" y="8980"/>
                    <a:pt x="662" y="8822"/>
                    <a:pt x="662" y="8633"/>
                  </a:cubicBezTo>
                  <a:lnTo>
                    <a:pt x="662" y="8286"/>
                  </a:lnTo>
                  <a:close/>
                  <a:moveTo>
                    <a:pt x="6617" y="9641"/>
                  </a:moveTo>
                  <a:lnTo>
                    <a:pt x="6932" y="11027"/>
                  </a:lnTo>
                  <a:lnTo>
                    <a:pt x="4632" y="11027"/>
                  </a:lnTo>
                  <a:lnTo>
                    <a:pt x="4947" y="9641"/>
                  </a:lnTo>
                  <a:close/>
                  <a:moveTo>
                    <a:pt x="1009" y="1"/>
                  </a:moveTo>
                  <a:cubicBezTo>
                    <a:pt x="473" y="1"/>
                    <a:pt x="1" y="473"/>
                    <a:pt x="1" y="1040"/>
                  </a:cubicBezTo>
                  <a:lnTo>
                    <a:pt x="1" y="8570"/>
                  </a:lnTo>
                  <a:cubicBezTo>
                    <a:pt x="1" y="9137"/>
                    <a:pt x="473" y="9610"/>
                    <a:pt x="1009" y="9610"/>
                  </a:cubicBezTo>
                  <a:lnTo>
                    <a:pt x="4285" y="9610"/>
                  </a:lnTo>
                  <a:lnTo>
                    <a:pt x="3970" y="10996"/>
                  </a:lnTo>
                  <a:lnTo>
                    <a:pt x="3057" y="10996"/>
                  </a:lnTo>
                  <a:cubicBezTo>
                    <a:pt x="2868" y="10996"/>
                    <a:pt x="2710" y="11153"/>
                    <a:pt x="2710" y="11342"/>
                  </a:cubicBezTo>
                  <a:cubicBezTo>
                    <a:pt x="2710" y="11531"/>
                    <a:pt x="2868" y="11689"/>
                    <a:pt x="3057" y="11689"/>
                  </a:cubicBezTo>
                  <a:lnTo>
                    <a:pt x="8538" y="11689"/>
                  </a:lnTo>
                  <a:cubicBezTo>
                    <a:pt x="8727" y="11689"/>
                    <a:pt x="8885" y="11531"/>
                    <a:pt x="8885" y="11342"/>
                  </a:cubicBezTo>
                  <a:cubicBezTo>
                    <a:pt x="8885" y="11153"/>
                    <a:pt x="8727" y="10996"/>
                    <a:pt x="8538" y="10996"/>
                  </a:cubicBezTo>
                  <a:lnTo>
                    <a:pt x="7625" y="10996"/>
                  </a:lnTo>
                  <a:lnTo>
                    <a:pt x="7310" y="9610"/>
                  </a:lnTo>
                  <a:lnTo>
                    <a:pt x="10618" y="9610"/>
                  </a:lnTo>
                  <a:cubicBezTo>
                    <a:pt x="11185" y="9610"/>
                    <a:pt x="11657" y="9137"/>
                    <a:pt x="11657" y="8570"/>
                  </a:cubicBezTo>
                  <a:lnTo>
                    <a:pt x="11657" y="1040"/>
                  </a:lnTo>
                  <a:cubicBezTo>
                    <a:pt x="11657" y="473"/>
                    <a:pt x="11185" y="1"/>
                    <a:pt x="10618"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11305" name="Google Shape;11305;p115"/>
          <p:cNvGrpSpPr/>
          <p:nvPr/>
        </p:nvGrpSpPr>
        <p:grpSpPr>
          <a:xfrm>
            <a:off x="3293346" y="2175008"/>
            <a:ext cx="564092" cy="561061"/>
            <a:chOff x="-5635200" y="2037975"/>
            <a:chExt cx="293025" cy="291450"/>
          </a:xfrm>
        </p:grpSpPr>
        <p:sp>
          <p:nvSpPr>
            <p:cNvPr id="11306" name="Google Shape;11306;p115"/>
            <p:cNvSpPr/>
            <p:nvPr/>
          </p:nvSpPr>
          <p:spPr>
            <a:xfrm>
              <a:off x="-5635200" y="2037975"/>
              <a:ext cx="293025" cy="291450"/>
            </a:xfrm>
            <a:custGeom>
              <a:avLst/>
              <a:gdLst/>
              <a:ahLst/>
              <a:cxnLst/>
              <a:rect l="l" t="t" r="r" b="b"/>
              <a:pathLst>
                <a:path w="11721" h="11658" extrusionOk="0">
                  <a:moveTo>
                    <a:pt x="2395" y="725"/>
                  </a:moveTo>
                  <a:cubicBezTo>
                    <a:pt x="2930" y="725"/>
                    <a:pt x="3403" y="1197"/>
                    <a:pt x="3403" y="1733"/>
                  </a:cubicBezTo>
                  <a:cubicBezTo>
                    <a:pt x="3403" y="2300"/>
                    <a:pt x="2930" y="2773"/>
                    <a:pt x="2395" y="2773"/>
                  </a:cubicBezTo>
                  <a:cubicBezTo>
                    <a:pt x="1828" y="2773"/>
                    <a:pt x="1355" y="2300"/>
                    <a:pt x="1355" y="1733"/>
                  </a:cubicBezTo>
                  <a:cubicBezTo>
                    <a:pt x="1355" y="1197"/>
                    <a:pt x="1828" y="725"/>
                    <a:pt x="2395" y="725"/>
                  </a:cubicBezTo>
                  <a:close/>
                  <a:moveTo>
                    <a:pt x="10303" y="725"/>
                  </a:moveTo>
                  <a:lnTo>
                    <a:pt x="10303" y="6585"/>
                  </a:lnTo>
                  <a:lnTo>
                    <a:pt x="10334" y="6585"/>
                  </a:lnTo>
                  <a:cubicBezTo>
                    <a:pt x="10334" y="6774"/>
                    <a:pt x="10177" y="6931"/>
                    <a:pt x="9988" y="6931"/>
                  </a:cubicBezTo>
                  <a:lnTo>
                    <a:pt x="4789" y="6931"/>
                  </a:lnTo>
                  <a:lnTo>
                    <a:pt x="4789" y="5167"/>
                  </a:lnTo>
                  <a:cubicBezTo>
                    <a:pt x="4789" y="4253"/>
                    <a:pt x="4285" y="3434"/>
                    <a:pt x="3498" y="3025"/>
                  </a:cubicBezTo>
                  <a:cubicBezTo>
                    <a:pt x="3844" y="2710"/>
                    <a:pt x="4096" y="2237"/>
                    <a:pt x="4096" y="1733"/>
                  </a:cubicBezTo>
                  <a:cubicBezTo>
                    <a:pt x="4096" y="1355"/>
                    <a:pt x="3970" y="977"/>
                    <a:pt x="3718" y="725"/>
                  </a:cubicBezTo>
                  <a:close/>
                  <a:moveTo>
                    <a:pt x="2710" y="3466"/>
                  </a:moveTo>
                  <a:cubicBezTo>
                    <a:pt x="3498" y="3623"/>
                    <a:pt x="4096" y="4316"/>
                    <a:pt x="4096" y="5167"/>
                  </a:cubicBezTo>
                  <a:lnTo>
                    <a:pt x="4096" y="7246"/>
                  </a:lnTo>
                  <a:cubicBezTo>
                    <a:pt x="4128" y="7435"/>
                    <a:pt x="3970" y="7593"/>
                    <a:pt x="3750" y="7593"/>
                  </a:cubicBezTo>
                  <a:cubicBezTo>
                    <a:pt x="3561" y="7593"/>
                    <a:pt x="3403" y="7750"/>
                    <a:pt x="3403" y="7971"/>
                  </a:cubicBezTo>
                  <a:lnTo>
                    <a:pt x="3403" y="10712"/>
                  </a:lnTo>
                  <a:cubicBezTo>
                    <a:pt x="3403" y="10901"/>
                    <a:pt x="3246" y="11058"/>
                    <a:pt x="3056" y="11058"/>
                  </a:cubicBezTo>
                  <a:lnTo>
                    <a:pt x="1670" y="11058"/>
                  </a:lnTo>
                  <a:cubicBezTo>
                    <a:pt x="1481" y="11058"/>
                    <a:pt x="1324" y="10901"/>
                    <a:pt x="1324" y="10712"/>
                  </a:cubicBezTo>
                  <a:lnTo>
                    <a:pt x="1324" y="7971"/>
                  </a:lnTo>
                  <a:cubicBezTo>
                    <a:pt x="1324" y="7750"/>
                    <a:pt x="1166" y="7593"/>
                    <a:pt x="977" y="7593"/>
                  </a:cubicBezTo>
                  <a:cubicBezTo>
                    <a:pt x="788" y="7593"/>
                    <a:pt x="631" y="7435"/>
                    <a:pt x="631" y="7246"/>
                  </a:cubicBezTo>
                  <a:lnTo>
                    <a:pt x="631" y="5167"/>
                  </a:lnTo>
                  <a:cubicBezTo>
                    <a:pt x="631" y="4316"/>
                    <a:pt x="1198" y="3623"/>
                    <a:pt x="1985" y="3466"/>
                  </a:cubicBezTo>
                  <a:lnTo>
                    <a:pt x="1985" y="5829"/>
                  </a:lnTo>
                  <a:cubicBezTo>
                    <a:pt x="1985" y="6018"/>
                    <a:pt x="2143" y="6175"/>
                    <a:pt x="2363" y="6175"/>
                  </a:cubicBezTo>
                  <a:cubicBezTo>
                    <a:pt x="2552" y="6175"/>
                    <a:pt x="2710" y="6018"/>
                    <a:pt x="2710" y="5829"/>
                  </a:cubicBezTo>
                  <a:lnTo>
                    <a:pt x="2710" y="3466"/>
                  </a:lnTo>
                  <a:close/>
                  <a:moveTo>
                    <a:pt x="2395" y="0"/>
                  </a:moveTo>
                  <a:cubicBezTo>
                    <a:pt x="1450" y="0"/>
                    <a:pt x="694" y="756"/>
                    <a:pt x="694" y="1702"/>
                  </a:cubicBezTo>
                  <a:cubicBezTo>
                    <a:pt x="694" y="2206"/>
                    <a:pt x="946" y="2678"/>
                    <a:pt x="1292" y="2993"/>
                  </a:cubicBezTo>
                  <a:cubicBezTo>
                    <a:pt x="536" y="3403"/>
                    <a:pt x="1" y="4222"/>
                    <a:pt x="1" y="5136"/>
                  </a:cubicBezTo>
                  <a:lnTo>
                    <a:pt x="1" y="7215"/>
                  </a:lnTo>
                  <a:cubicBezTo>
                    <a:pt x="1" y="7656"/>
                    <a:pt x="253" y="8034"/>
                    <a:pt x="662" y="8192"/>
                  </a:cubicBezTo>
                  <a:lnTo>
                    <a:pt x="662" y="10649"/>
                  </a:lnTo>
                  <a:cubicBezTo>
                    <a:pt x="662" y="11184"/>
                    <a:pt x="1135" y="11657"/>
                    <a:pt x="1670" y="11657"/>
                  </a:cubicBezTo>
                  <a:lnTo>
                    <a:pt x="3056" y="11657"/>
                  </a:lnTo>
                  <a:cubicBezTo>
                    <a:pt x="3624" y="11657"/>
                    <a:pt x="4096" y="11184"/>
                    <a:pt x="4096" y="10649"/>
                  </a:cubicBezTo>
                  <a:lnTo>
                    <a:pt x="4096" y="8192"/>
                  </a:lnTo>
                  <a:cubicBezTo>
                    <a:pt x="4348" y="8065"/>
                    <a:pt x="4600" y="7876"/>
                    <a:pt x="4726" y="7561"/>
                  </a:cubicBezTo>
                  <a:lnTo>
                    <a:pt x="9988" y="7561"/>
                  </a:lnTo>
                  <a:cubicBezTo>
                    <a:pt x="10555" y="7561"/>
                    <a:pt x="11027" y="7089"/>
                    <a:pt x="11027" y="6553"/>
                  </a:cubicBezTo>
                  <a:lnTo>
                    <a:pt x="11027" y="662"/>
                  </a:lnTo>
                  <a:lnTo>
                    <a:pt x="11374" y="662"/>
                  </a:lnTo>
                  <a:cubicBezTo>
                    <a:pt x="11563" y="662"/>
                    <a:pt x="11720" y="504"/>
                    <a:pt x="11720" y="315"/>
                  </a:cubicBezTo>
                  <a:cubicBezTo>
                    <a:pt x="11720" y="158"/>
                    <a:pt x="11563" y="0"/>
                    <a:pt x="11374"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1307" name="Google Shape;11307;p115"/>
            <p:cNvSpPr/>
            <p:nvPr/>
          </p:nvSpPr>
          <p:spPr>
            <a:xfrm>
              <a:off x="-5496575" y="2072625"/>
              <a:ext cx="102425" cy="102425"/>
            </a:xfrm>
            <a:custGeom>
              <a:avLst/>
              <a:gdLst/>
              <a:ahLst/>
              <a:cxnLst/>
              <a:rect l="l" t="t" r="r" b="b"/>
              <a:pathLst>
                <a:path w="4097" h="4097" extrusionOk="0">
                  <a:moveTo>
                    <a:pt x="2395" y="725"/>
                  </a:moveTo>
                  <a:cubicBezTo>
                    <a:pt x="2867" y="851"/>
                    <a:pt x="3245" y="1229"/>
                    <a:pt x="3371" y="1733"/>
                  </a:cubicBezTo>
                  <a:lnTo>
                    <a:pt x="2395" y="1733"/>
                  </a:lnTo>
                  <a:lnTo>
                    <a:pt x="2395" y="725"/>
                  </a:lnTo>
                  <a:close/>
                  <a:moveTo>
                    <a:pt x="1733" y="757"/>
                  </a:moveTo>
                  <a:lnTo>
                    <a:pt x="1733" y="2080"/>
                  </a:lnTo>
                  <a:cubicBezTo>
                    <a:pt x="1733" y="2269"/>
                    <a:pt x="1891" y="2426"/>
                    <a:pt x="2080" y="2426"/>
                  </a:cubicBezTo>
                  <a:lnTo>
                    <a:pt x="3403" y="2426"/>
                  </a:lnTo>
                  <a:cubicBezTo>
                    <a:pt x="3245" y="3025"/>
                    <a:pt x="2741" y="3466"/>
                    <a:pt x="2080" y="3466"/>
                  </a:cubicBezTo>
                  <a:cubicBezTo>
                    <a:pt x="1324" y="3466"/>
                    <a:pt x="693" y="2836"/>
                    <a:pt x="693" y="2080"/>
                  </a:cubicBezTo>
                  <a:cubicBezTo>
                    <a:pt x="693" y="1418"/>
                    <a:pt x="1135" y="851"/>
                    <a:pt x="1733" y="757"/>
                  </a:cubicBezTo>
                  <a:close/>
                  <a:moveTo>
                    <a:pt x="2048" y="0"/>
                  </a:moveTo>
                  <a:cubicBezTo>
                    <a:pt x="883" y="0"/>
                    <a:pt x="0" y="914"/>
                    <a:pt x="0" y="2048"/>
                  </a:cubicBezTo>
                  <a:cubicBezTo>
                    <a:pt x="0" y="3182"/>
                    <a:pt x="946" y="4096"/>
                    <a:pt x="2048" y="4096"/>
                  </a:cubicBezTo>
                  <a:cubicBezTo>
                    <a:pt x="3182" y="4096"/>
                    <a:pt x="4096" y="3182"/>
                    <a:pt x="4096" y="2048"/>
                  </a:cubicBezTo>
                  <a:cubicBezTo>
                    <a:pt x="4096" y="914"/>
                    <a:pt x="3182" y="0"/>
                    <a:pt x="2048"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11308" name="Google Shape;11308;p115"/>
          <p:cNvGrpSpPr/>
          <p:nvPr/>
        </p:nvGrpSpPr>
        <p:grpSpPr>
          <a:xfrm>
            <a:off x="3291061" y="2853883"/>
            <a:ext cx="568665" cy="561061"/>
            <a:chOff x="-5637575" y="2397900"/>
            <a:chExt cx="295400" cy="291450"/>
          </a:xfrm>
        </p:grpSpPr>
        <p:sp>
          <p:nvSpPr>
            <p:cNvPr id="11309" name="Google Shape;11309;p115"/>
            <p:cNvSpPr/>
            <p:nvPr/>
          </p:nvSpPr>
          <p:spPr>
            <a:xfrm>
              <a:off x="-5575350" y="2547550"/>
              <a:ext cx="79575" cy="88250"/>
            </a:xfrm>
            <a:custGeom>
              <a:avLst/>
              <a:gdLst/>
              <a:ahLst/>
              <a:cxnLst/>
              <a:rect l="l" t="t" r="r" b="b"/>
              <a:pathLst>
                <a:path w="3183" h="3530" extrusionOk="0">
                  <a:moveTo>
                    <a:pt x="1088" y="1"/>
                  </a:moveTo>
                  <a:cubicBezTo>
                    <a:pt x="1001" y="1"/>
                    <a:pt x="915" y="32"/>
                    <a:pt x="852" y="95"/>
                  </a:cubicBezTo>
                  <a:lnTo>
                    <a:pt x="379" y="568"/>
                  </a:lnTo>
                  <a:cubicBezTo>
                    <a:pt x="1" y="978"/>
                    <a:pt x="1" y="1639"/>
                    <a:pt x="379" y="2017"/>
                  </a:cubicBezTo>
                  <a:cubicBezTo>
                    <a:pt x="584" y="2222"/>
                    <a:pt x="852" y="2324"/>
                    <a:pt x="1115" y="2324"/>
                  </a:cubicBezTo>
                  <a:cubicBezTo>
                    <a:pt x="1379" y="2324"/>
                    <a:pt x="1639" y="2222"/>
                    <a:pt x="1828" y="2017"/>
                  </a:cubicBezTo>
                  <a:cubicBezTo>
                    <a:pt x="1891" y="1970"/>
                    <a:pt x="1986" y="1946"/>
                    <a:pt x="2076" y="1946"/>
                  </a:cubicBezTo>
                  <a:cubicBezTo>
                    <a:pt x="2167" y="1946"/>
                    <a:pt x="2253" y="1970"/>
                    <a:pt x="2301" y="2017"/>
                  </a:cubicBezTo>
                  <a:cubicBezTo>
                    <a:pt x="2427" y="2143"/>
                    <a:pt x="2427" y="2395"/>
                    <a:pt x="2301" y="2490"/>
                  </a:cubicBezTo>
                  <a:lnTo>
                    <a:pt x="1828" y="2962"/>
                  </a:lnTo>
                  <a:cubicBezTo>
                    <a:pt x="1734" y="3088"/>
                    <a:pt x="1734" y="3340"/>
                    <a:pt x="1828" y="3435"/>
                  </a:cubicBezTo>
                  <a:cubicBezTo>
                    <a:pt x="1891" y="3498"/>
                    <a:pt x="1986" y="3529"/>
                    <a:pt x="2076" y="3529"/>
                  </a:cubicBezTo>
                  <a:cubicBezTo>
                    <a:pt x="2167" y="3529"/>
                    <a:pt x="2253" y="3498"/>
                    <a:pt x="2301" y="3435"/>
                  </a:cubicBezTo>
                  <a:lnTo>
                    <a:pt x="2773" y="2962"/>
                  </a:lnTo>
                  <a:cubicBezTo>
                    <a:pt x="3183" y="2584"/>
                    <a:pt x="3183" y="1923"/>
                    <a:pt x="2773" y="1513"/>
                  </a:cubicBezTo>
                  <a:cubicBezTo>
                    <a:pt x="2569" y="1293"/>
                    <a:pt x="2309" y="1182"/>
                    <a:pt x="2049" y="1182"/>
                  </a:cubicBezTo>
                  <a:cubicBezTo>
                    <a:pt x="1789" y="1182"/>
                    <a:pt x="1529" y="1293"/>
                    <a:pt x="1324" y="1513"/>
                  </a:cubicBezTo>
                  <a:cubicBezTo>
                    <a:pt x="1261" y="1576"/>
                    <a:pt x="1174" y="1608"/>
                    <a:pt x="1088" y="1608"/>
                  </a:cubicBezTo>
                  <a:cubicBezTo>
                    <a:pt x="1001" y="1608"/>
                    <a:pt x="915" y="1576"/>
                    <a:pt x="852" y="1513"/>
                  </a:cubicBezTo>
                  <a:cubicBezTo>
                    <a:pt x="726" y="1387"/>
                    <a:pt x="726" y="1167"/>
                    <a:pt x="852" y="1041"/>
                  </a:cubicBezTo>
                  <a:lnTo>
                    <a:pt x="1324" y="568"/>
                  </a:lnTo>
                  <a:cubicBezTo>
                    <a:pt x="1450" y="442"/>
                    <a:pt x="1450" y="221"/>
                    <a:pt x="1324" y="95"/>
                  </a:cubicBezTo>
                  <a:cubicBezTo>
                    <a:pt x="1261" y="32"/>
                    <a:pt x="1174" y="1"/>
                    <a:pt x="1088"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1310" name="Google Shape;11310;p115"/>
            <p:cNvSpPr/>
            <p:nvPr/>
          </p:nvSpPr>
          <p:spPr>
            <a:xfrm>
              <a:off x="-5526500" y="2499525"/>
              <a:ext cx="85075" cy="81725"/>
            </a:xfrm>
            <a:custGeom>
              <a:avLst/>
              <a:gdLst/>
              <a:ahLst/>
              <a:cxnLst/>
              <a:rect l="l" t="t" r="r" b="b"/>
              <a:pathLst>
                <a:path w="3403" h="3269" extrusionOk="0">
                  <a:moveTo>
                    <a:pt x="1107" y="0"/>
                  </a:moveTo>
                  <a:cubicBezTo>
                    <a:pt x="1016" y="0"/>
                    <a:pt x="930" y="32"/>
                    <a:pt x="882" y="95"/>
                  </a:cubicBezTo>
                  <a:lnTo>
                    <a:pt x="410" y="567"/>
                  </a:lnTo>
                  <a:cubicBezTo>
                    <a:pt x="0" y="945"/>
                    <a:pt x="0" y="1638"/>
                    <a:pt x="410" y="2016"/>
                  </a:cubicBezTo>
                  <a:lnTo>
                    <a:pt x="882" y="2489"/>
                  </a:lnTo>
                  <a:lnTo>
                    <a:pt x="1355" y="2962"/>
                  </a:lnTo>
                  <a:cubicBezTo>
                    <a:pt x="1544" y="3166"/>
                    <a:pt x="1804" y="3269"/>
                    <a:pt x="2068" y="3269"/>
                  </a:cubicBezTo>
                  <a:cubicBezTo>
                    <a:pt x="2332" y="3269"/>
                    <a:pt x="2599" y="3166"/>
                    <a:pt x="2804" y="2962"/>
                  </a:cubicBezTo>
                  <a:lnTo>
                    <a:pt x="3277" y="2489"/>
                  </a:lnTo>
                  <a:cubicBezTo>
                    <a:pt x="3403" y="2363"/>
                    <a:pt x="3403" y="2142"/>
                    <a:pt x="3277" y="2016"/>
                  </a:cubicBezTo>
                  <a:cubicBezTo>
                    <a:pt x="3178" y="1918"/>
                    <a:pt x="3070" y="1870"/>
                    <a:pt x="2977" y="1870"/>
                  </a:cubicBezTo>
                  <a:cubicBezTo>
                    <a:pt x="2892" y="1870"/>
                    <a:pt x="2818" y="1910"/>
                    <a:pt x="2773" y="1985"/>
                  </a:cubicBezTo>
                  <a:lnTo>
                    <a:pt x="2300" y="2457"/>
                  </a:lnTo>
                  <a:cubicBezTo>
                    <a:pt x="2237" y="2520"/>
                    <a:pt x="2143" y="2552"/>
                    <a:pt x="2052" y="2552"/>
                  </a:cubicBezTo>
                  <a:cubicBezTo>
                    <a:pt x="1961" y="2552"/>
                    <a:pt x="1875" y="2520"/>
                    <a:pt x="1827" y="2457"/>
                  </a:cubicBezTo>
                  <a:lnTo>
                    <a:pt x="1575" y="2205"/>
                  </a:lnTo>
                  <a:lnTo>
                    <a:pt x="2300" y="1512"/>
                  </a:lnTo>
                  <a:cubicBezTo>
                    <a:pt x="2395" y="1386"/>
                    <a:pt x="2395" y="1134"/>
                    <a:pt x="2300" y="1040"/>
                  </a:cubicBezTo>
                  <a:cubicBezTo>
                    <a:pt x="2237" y="977"/>
                    <a:pt x="2143" y="945"/>
                    <a:pt x="2052" y="945"/>
                  </a:cubicBezTo>
                  <a:cubicBezTo>
                    <a:pt x="1961" y="945"/>
                    <a:pt x="1875" y="977"/>
                    <a:pt x="1827" y="1040"/>
                  </a:cubicBezTo>
                  <a:lnTo>
                    <a:pt x="1103" y="1733"/>
                  </a:lnTo>
                  <a:lnTo>
                    <a:pt x="882" y="1512"/>
                  </a:lnTo>
                  <a:cubicBezTo>
                    <a:pt x="756" y="1386"/>
                    <a:pt x="756" y="1166"/>
                    <a:pt x="882" y="1040"/>
                  </a:cubicBezTo>
                  <a:lnTo>
                    <a:pt x="1355" y="567"/>
                  </a:lnTo>
                  <a:cubicBezTo>
                    <a:pt x="1449" y="441"/>
                    <a:pt x="1449" y="221"/>
                    <a:pt x="1355" y="95"/>
                  </a:cubicBezTo>
                  <a:cubicBezTo>
                    <a:pt x="1292" y="32"/>
                    <a:pt x="1197" y="0"/>
                    <a:pt x="1107"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1311" name="Google Shape;11311;p115"/>
            <p:cNvSpPr/>
            <p:nvPr/>
          </p:nvSpPr>
          <p:spPr>
            <a:xfrm>
              <a:off x="-5480050" y="2456975"/>
              <a:ext cx="80375" cy="75650"/>
            </a:xfrm>
            <a:custGeom>
              <a:avLst/>
              <a:gdLst/>
              <a:ahLst/>
              <a:cxnLst/>
              <a:rect l="l" t="t" r="r" b="b"/>
              <a:pathLst>
                <a:path w="3215" h="3026" extrusionOk="0">
                  <a:moveTo>
                    <a:pt x="1100" y="686"/>
                  </a:moveTo>
                  <a:cubicBezTo>
                    <a:pt x="1190" y="686"/>
                    <a:pt x="1277" y="710"/>
                    <a:pt x="1324" y="757"/>
                  </a:cubicBezTo>
                  <a:lnTo>
                    <a:pt x="2332" y="1765"/>
                  </a:lnTo>
                  <a:cubicBezTo>
                    <a:pt x="2490" y="1860"/>
                    <a:pt x="2490" y="2112"/>
                    <a:pt x="2332" y="2238"/>
                  </a:cubicBezTo>
                  <a:cubicBezTo>
                    <a:pt x="2269" y="2285"/>
                    <a:pt x="2183" y="2309"/>
                    <a:pt x="2096" y="2309"/>
                  </a:cubicBezTo>
                  <a:cubicBezTo>
                    <a:pt x="2009" y="2309"/>
                    <a:pt x="1923" y="2285"/>
                    <a:pt x="1860" y="2238"/>
                  </a:cubicBezTo>
                  <a:lnTo>
                    <a:pt x="852" y="1229"/>
                  </a:lnTo>
                  <a:cubicBezTo>
                    <a:pt x="757" y="1135"/>
                    <a:pt x="757" y="883"/>
                    <a:pt x="852" y="757"/>
                  </a:cubicBezTo>
                  <a:cubicBezTo>
                    <a:pt x="915" y="710"/>
                    <a:pt x="1009" y="686"/>
                    <a:pt x="1100" y="686"/>
                  </a:cubicBezTo>
                  <a:close/>
                  <a:moveTo>
                    <a:pt x="1119" y="1"/>
                  </a:moveTo>
                  <a:cubicBezTo>
                    <a:pt x="852" y="1"/>
                    <a:pt x="584" y="95"/>
                    <a:pt x="379" y="284"/>
                  </a:cubicBezTo>
                  <a:cubicBezTo>
                    <a:pt x="1" y="694"/>
                    <a:pt x="1" y="1356"/>
                    <a:pt x="379" y="1765"/>
                  </a:cubicBezTo>
                  <a:lnTo>
                    <a:pt x="1387" y="2742"/>
                  </a:lnTo>
                  <a:cubicBezTo>
                    <a:pt x="1576" y="2931"/>
                    <a:pt x="1836" y="3025"/>
                    <a:pt x="2100" y="3025"/>
                  </a:cubicBezTo>
                  <a:cubicBezTo>
                    <a:pt x="2364" y="3025"/>
                    <a:pt x="2632" y="2931"/>
                    <a:pt x="2836" y="2742"/>
                  </a:cubicBezTo>
                  <a:cubicBezTo>
                    <a:pt x="3214" y="2332"/>
                    <a:pt x="3214" y="1671"/>
                    <a:pt x="2836" y="1293"/>
                  </a:cubicBezTo>
                  <a:lnTo>
                    <a:pt x="1860" y="284"/>
                  </a:lnTo>
                  <a:cubicBezTo>
                    <a:pt x="1655" y="95"/>
                    <a:pt x="1387" y="1"/>
                    <a:pt x="1119"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1312" name="Google Shape;11312;p115"/>
            <p:cNvSpPr/>
            <p:nvPr/>
          </p:nvSpPr>
          <p:spPr>
            <a:xfrm>
              <a:off x="-5637575" y="2397900"/>
              <a:ext cx="295400" cy="291450"/>
            </a:xfrm>
            <a:custGeom>
              <a:avLst/>
              <a:gdLst/>
              <a:ahLst/>
              <a:cxnLst/>
              <a:rect l="l" t="t" r="r" b="b"/>
              <a:pathLst>
                <a:path w="11816" h="11658" extrusionOk="0">
                  <a:moveTo>
                    <a:pt x="9185" y="1479"/>
                  </a:moveTo>
                  <a:cubicBezTo>
                    <a:pt x="9245" y="1479"/>
                    <a:pt x="9245" y="1482"/>
                    <a:pt x="9263" y="1482"/>
                  </a:cubicBezTo>
                  <a:cubicBezTo>
                    <a:pt x="9421" y="1482"/>
                    <a:pt x="9579" y="1513"/>
                    <a:pt x="9673" y="1545"/>
                  </a:cubicBezTo>
                  <a:lnTo>
                    <a:pt x="9106" y="2143"/>
                  </a:lnTo>
                  <a:cubicBezTo>
                    <a:pt x="8980" y="2269"/>
                    <a:pt x="8980" y="2490"/>
                    <a:pt x="9106" y="2616"/>
                  </a:cubicBezTo>
                  <a:cubicBezTo>
                    <a:pt x="9153" y="2679"/>
                    <a:pt x="9240" y="2710"/>
                    <a:pt x="9330" y="2710"/>
                  </a:cubicBezTo>
                  <a:cubicBezTo>
                    <a:pt x="9421" y="2710"/>
                    <a:pt x="9515" y="2679"/>
                    <a:pt x="9579" y="2616"/>
                  </a:cubicBezTo>
                  <a:lnTo>
                    <a:pt x="10146" y="2017"/>
                  </a:lnTo>
                  <a:cubicBezTo>
                    <a:pt x="10272" y="2175"/>
                    <a:pt x="10303" y="2332"/>
                    <a:pt x="10303" y="2553"/>
                  </a:cubicBezTo>
                  <a:lnTo>
                    <a:pt x="10146" y="5325"/>
                  </a:lnTo>
                  <a:cubicBezTo>
                    <a:pt x="10114" y="5798"/>
                    <a:pt x="9925" y="6239"/>
                    <a:pt x="9515" y="6554"/>
                  </a:cubicBezTo>
                  <a:lnTo>
                    <a:pt x="9484" y="6585"/>
                  </a:lnTo>
                  <a:lnTo>
                    <a:pt x="8570" y="7499"/>
                  </a:lnTo>
                  <a:cubicBezTo>
                    <a:pt x="5231" y="10902"/>
                    <a:pt x="5829" y="10303"/>
                    <a:pt x="5199" y="10902"/>
                  </a:cubicBezTo>
                  <a:cubicBezTo>
                    <a:pt x="5136" y="10949"/>
                    <a:pt x="5050" y="10972"/>
                    <a:pt x="4963" y="10972"/>
                  </a:cubicBezTo>
                  <a:cubicBezTo>
                    <a:pt x="4876" y="10972"/>
                    <a:pt x="4790" y="10949"/>
                    <a:pt x="4727" y="10902"/>
                  </a:cubicBezTo>
                  <a:lnTo>
                    <a:pt x="820" y="6995"/>
                  </a:lnTo>
                  <a:cubicBezTo>
                    <a:pt x="694" y="6869"/>
                    <a:pt x="694" y="6648"/>
                    <a:pt x="820" y="6522"/>
                  </a:cubicBezTo>
                  <a:lnTo>
                    <a:pt x="5262" y="2112"/>
                  </a:lnTo>
                  <a:cubicBezTo>
                    <a:pt x="5577" y="1797"/>
                    <a:pt x="5987" y="1639"/>
                    <a:pt x="6365" y="1608"/>
                  </a:cubicBezTo>
                  <a:cubicBezTo>
                    <a:pt x="8503" y="1495"/>
                    <a:pt x="9033" y="1479"/>
                    <a:pt x="9185" y="1479"/>
                  </a:cubicBezTo>
                  <a:close/>
                  <a:moveTo>
                    <a:pt x="11422" y="1"/>
                  </a:moveTo>
                  <a:cubicBezTo>
                    <a:pt x="11335" y="1"/>
                    <a:pt x="11248" y="32"/>
                    <a:pt x="11185" y="95"/>
                  </a:cubicBezTo>
                  <a:lnTo>
                    <a:pt x="10240" y="1041"/>
                  </a:lnTo>
                  <a:cubicBezTo>
                    <a:pt x="9958" y="871"/>
                    <a:pt x="9650" y="752"/>
                    <a:pt x="9316" y="752"/>
                  </a:cubicBezTo>
                  <a:cubicBezTo>
                    <a:pt x="9278" y="752"/>
                    <a:pt x="9239" y="754"/>
                    <a:pt x="9200" y="757"/>
                  </a:cubicBezTo>
                  <a:lnTo>
                    <a:pt x="6428" y="883"/>
                  </a:lnTo>
                  <a:cubicBezTo>
                    <a:pt x="5829" y="915"/>
                    <a:pt x="5262" y="1167"/>
                    <a:pt x="4853" y="1608"/>
                  </a:cubicBezTo>
                  <a:lnTo>
                    <a:pt x="379" y="6018"/>
                  </a:lnTo>
                  <a:cubicBezTo>
                    <a:pt x="1" y="6396"/>
                    <a:pt x="1" y="7058"/>
                    <a:pt x="379" y="7468"/>
                  </a:cubicBezTo>
                  <a:lnTo>
                    <a:pt x="4286" y="11374"/>
                  </a:lnTo>
                  <a:cubicBezTo>
                    <a:pt x="4490" y="11563"/>
                    <a:pt x="4758" y="11658"/>
                    <a:pt x="5022" y="11658"/>
                  </a:cubicBezTo>
                  <a:cubicBezTo>
                    <a:pt x="5286" y="11658"/>
                    <a:pt x="5546" y="11563"/>
                    <a:pt x="5735" y="11374"/>
                  </a:cubicBezTo>
                  <a:lnTo>
                    <a:pt x="9137" y="7972"/>
                  </a:lnTo>
                  <a:lnTo>
                    <a:pt x="10051" y="7058"/>
                  </a:lnTo>
                  <a:cubicBezTo>
                    <a:pt x="10555" y="6648"/>
                    <a:pt x="10870" y="6018"/>
                    <a:pt x="10902" y="5388"/>
                  </a:cubicBezTo>
                  <a:lnTo>
                    <a:pt x="11059" y="2584"/>
                  </a:lnTo>
                  <a:cubicBezTo>
                    <a:pt x="11059" y="2238"/>
                    <a:pt x="10996" y="1828"/>
                    <a:pt x="10776" y="1545"/>
                  </a:cubicBezTo>
                  <a:lnTo>
                    <a:pt x="11721" y="600"/>
                  </a:lnTo>
                  <a:cubicBezTo>
                    <a:pt x="11815" y="442"/>
                    <a:pt x="11815" y="221"/>
                    <a:pt x="11658" y="95"/>
                  </a:cubicBezTo>
                  <a:cubicBezTo>
                    <a:pt x="11595" y="32"/>
                    <a:pt x="11508" y="1"/>
                    <a:pt x="11422"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11313" name="Google Shape;11313;p115"/>
          <p:cNvGrpSpPr/>
          <p:nvPr/>
        </p:nvGrpSpPr>
        <p:grpSpPr>
          <a:xfrm>
            <a:off x="3309278" y="3547196"/>
            <a:ext cx="564044" cy="562552"/>
            <a:chOff x="-5635975" y="2757075"/>
            <a:chExt cx="293000" cy="292225"/>
          </a:xfrm>
        </p:grpSpPr>
        <p:sp>
          <p:nvSpPr>
            <p:cNvPr id="11314" name="Google Shape;11314;p115"/>
            <p:cNvSpPr/>
            <p:nvPr/>
          </p:nvSpPr>
          <p:spPr>
            <a:xfrm>
              <a:off x="-5635975" y="2757075"/>
              <a:ext cx="293000" cy="292225"/>
            </a:xfrm>
            <a:custGeom>
              <a:avLst/>
              <a:gdLst/>
              <a:ahLst/>
              <a:cxnLst/>
              <a:rect l="l" t="t" r="r" b="b"/>
              <a:pathLst>
                <a:path w="11720" h="11689" extrusionOk="0">
                  <a:moveTo>
                    <a:pt x="10649" y="693"/>
                  </a:moveTo>
                  <a:cubicBezTo>
                    <a:pt x="10838" y="693"/>
                    <a:pt x="10995" y="851"/>
                    <a:pt x="10995" y="1040"/>
                  </a:cubicBezTo>
                  <a:lnTo>
                    <a:pt x="10995" y="7593"/>
                  </a:lnTo>
                  <a:lnTo>
                    <a:pt x="693" y="7593"/>
                  </a:lnTo>
                  <a:lnTo>
                    <a:pt x="693" y="1040"/>
                  </a:lnTo>
                  <a:cubicBezTo>
                    <a:pt x="725" y="851"/>
                    <a:pt x="882" y="693"/>
                    <a:pt x="1040" y="693"/>
                  </a:cubicBezTo>
                  <a:close/>
                  <a:moveTo>
                    <a:pt x="10995" y="8223"/>
                  </a:moveTo>
                  <a:lnTo>
                    <a:pt x="10995" y="8569"/>
                  </a:lnTo>
                  <a:cubicBezTo>
                    <a:pt x="11027" y="8821"/>
                    <a:pt x="10869" y="8916"/>
                    <a:pt x="10680" y="8916"/>
                  </a:cubicBezTo>
                  <a:lnTo>
                    <a:pt x="1040" y="8916"/>
                  </a:lnTo>
                  <a:cubicBezTo>
                    <a:pt x="851" y="8916"/>
                    <a:pt x="693" y="8758"/>
                    <a:pt x="693" y="8569"/>
                  </a:cubicBezTo>
                  <a:lnTo>
                    <a:pt x="693" y="8223"/>
                  </a:lnTo>
                  <a:close/>
                  <a:moveTo>
                    <a:pt x="6679" y="9641"/>
                  </a:moveTo>
                  <a:lnTo>
                    <a:pt x="6994" y="11027"/>
                  </a:lnTo>
                  <a:lnTo>
                    <a:pt x="4694" y="11027"/>
                  </a:lnTo>
                  <a:lnTo>
                    <a:pt x="5009" y="9641"/>
                  </a:lnTo>
                  <a:close/>
                  <a:moveTo>
                    <a:pt x="1040" y="0"/>
                  </a:moveTo>
                  <a:cubicBezTo>
                    <a:pt x="473" y="0"/>
                    <a:pt x="0" y="473"/>
                    <a:pt x="0" y="1008"/>
                  </a:cubicBezTo>
                  <a:lnTo>
                    <a:pt x="0" y="8569"/>
                  </a:lnTo>
                  <a:cubicBezTo>
                    <a:pt x="0" y="9137"/>
                    <a:pt x="473" y="9609"/>
                    <a:pt x="1040" y="9609"/>
                  </a:cubicBezTo>
                  <a:lnTo>
                    <a:pt x="4316" y="9609"/>
                  </a:lnTo>
                  <a:lnTo>
                    <a:pt x="4001" y="10964"/>
                  </a:lnTo>
                  <a:lnTo>
                    <a:pt x="3087" y="10964"/>
                  </a:lnTo>
                  <a:cubicBezTo>
                    <a:pt x="2898" y="10964"/>
                    <a:pt x="2741" y="11121"/>
                    <a:pt x="2741" y="11342"/>
                  </a:cubicBezTo>
                  <a:cubicBezTo>
                    <a:pt x="2741" y="11531"/>
                    <a:pt x="2898" y="11688"/>
                    <a:pt x="3087" y="11688"/>
                  </a:cubicBezTo>
                  <a:lnTo>
                    <a:pt x="8569" y="11688"/>
                  </a:lnTo>
                  <a:cubicBezTo>
                    <a:pt x="8758" y="11688"/>
                    <a:pt x="8916" y="11531"/>
                    <a:pt x="8916" y="11342"/>
                  </a:cubicBezTo>
                  <a:cubicBezTo>
                    <a:pt x="8916" y="11121"/>
                    <a:pt x="8758" y="10964"/>
                    <a:pt x="8569" y="10964"/>
                  </a:cubicBezTo>
                  <a:lnTo>
                    <a:pt x="7656" y="10964"/>
                  </a:lnTo>
                  <a:lnTo>
                    <a:pt x="7341" y="9609"/>
                  </a:lnTo>
                  <a:lnTo>
                    <a:pt x="10649" y="9609"/>
                  </a:lnTo>
                  <a:cubicBezTo>
                    <a:pt x="11216" y="9609"/>
                    <a:pt x="11688" y="9137"/>
                    <a:pt x="11688" y="8569"/>
                  </a:cubicBezTo>
                  <a:lnTo>
                    <a:pt x="11688" y="1008"/>
                  </a:lnTo>
                  <a:cubicBezTo>
                    <a:pt x="11720" y="473"/>
                    <a:pt x="11247" y="0"/>
                    <a:pt x="10680"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1315" name="Google Shape;11315;p115"/>
            <p:cNvSpPr/>
            <p:nvPr/>
          </p:nvSpPr>
          <p:spPr>
            <a:xfrm>
              <a:off x="-5584800" y="2790150"/>
              <a:ext cx="189850" cy="138050"/>
            </a:xfrm>
            <a:custGeom>
              <a:avLst/>
              <a:gdLst/>
              <a:ahLst/>
              <a:cxnLst/>
              <a:rect l="l" t="t" r="r" b="b"/>
              <a:pathLst>
                <a:path w="7594" h="5522" extrusionOk="0">
                  <a:moveTo>
                    <a:pt x="2994" y="725"/>
                  </a:moveTo>
                  <a:lnTo>
                    <a:pt x="2332" y="1387"/>
                  </a:lnTo>
                  <a:lnTo>
                    <a:pt x="1230" y="1387"/>
                  </a:lnTo>
                  <a:lnTo>
                    <a:pt x="1891" y="725"/>
                  </a:lnTo>
                  <a:close/>
                  <a:moveTo>
                    <a:pt x="3781" y="882"/>
                  </a:moveTo>
                  <a:lnTo>
                    <a:pt x="4349" y="1418"/>
                  </a:lnTo>
                  <a:lnTo>
                    <a:pt x="3246" y="1418"/>
                  </a:lnTo>
                  <a:lnTo>
                    <a:pt x="3781" y="882"/>
                  </a:lnTo>
                  <a:close/>
                  <a:moveTo>
                    <a:pt x="5735" y="756"/>
                  </a:moveTo>
                  <a:lnTo>
                    <a:pt x="6396" y="1418"/>
                  </a:lnTo>
                  <a:lnTo>
                    <a:pt x="5294" y="1418"/>
                  </a:lnTo>
                  <a:lnTo>
                    <a:pt x="4632" y="756"/>
                  </a:lnTo>
                  <a:close/>
                  <a:moveTo>
                    <a:pt x="2175" y="2080"/>
                  </a:moveTo>
                  <a:lnTo>
                    <a:pt x="2868" y="3749"/>
                  </a:lnTo>
                  <a:lnTo>
                    <a:pt x="1198" y="2080"/>
                  </a:lnTo>
                  <a:close/>
                  <a:moveTo>
                    <a:pt x="6396" y="2080"/>
                  </a:moveTo>
                  <a:lnTo>
                    <a:pt x="4727" y="3749"/>
                  </a:lnTo>
                  <a:lnTo>
                    <a:pt x="5420" y="2080"/>
                  </a:lnTo>
                  <a:close/>
                  <a:moveTo>
                    <a:pt x="4664" y="2080"/>
                  </a:moveTo>
                  <a:lnTo>
                    <a:pt x="3781" y="4253"/>
                  </a:lnTo>
                  <a:lnTo>
                    <a:pt x="2931" y="2080"/>
                  </a:lnTo>
                  <a:close/>
                  <a:moveTo>
                    <a:pt x="1734" y="0"/>
                  </a:moveTo>
                  <a:cubicBezTo>
                    <a:pt x="1671" y="0"/>
                    <a:pt x="1545" y="32"/>
                    <a:pt x="1513" y="126"/>
                  </a:cubicBezTo>
                  <a:lnTo>
                    <a:pt x="127" y="1513"/>
                  </a:lnTo>
                  <a:cubicBezTo>
                    <a:pt x="1" y="1670"/>
                    <a:pt x="1" y="1859"/>
                    <a:pt x="127" y="2017"/>
                  </a:cubicBezTo>
                  <a:lnTo>
                    <a:pt x="3561" y="5451"/>
                  </a:lnTo>
                  <a:cubicBezTo>
                    <a:pt x="3624" y="5498"/>
                    <a:pt x="3711" y="5522"/>
                    <a:pt x="3797" y="5522"/>
                  </a:cubicBezTo>
                  <a:cubicBezTo>
                    <a:pt x="3884" y="5522"/>
                    <a:pt x="3970" y="5498"/>
                    <a:pt x="4033" y="5451"/>
                  </a:cubicBezTo>
                  <a:lnTo>
                    <a:pt x="7468" y="2017"/>
                  </a:lnTo>
                  <a:cubicBezTo>
                    <a:pt x="7594" y="1891"/>
                    <a:pt x="7594" y="1702"/>
                    <a:pt x="7499" y="1544"/>
                  </a:cubicBezTo>
                  <a:lnTo>
                    <a:pt x="7468" y="1513"/>
                  </a:lnTo>
                  <a:lnTo>
                    <a:pt x="6081" y="126"/>
                  </a:lnTo>
                  <a:cubicBezTo>
                    <a:pt x="6018" y="32"/>
                    <a:pt x="5924" y="0"/>
                    <a:pt x="5861"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11316" name="Google Shape;11316;p115"/>
          <p:cNvGrpSpPr/>
          <p:nvPr/>
        </p:nvGrpSpPr>
        <p:grpSpPr>
          <a:xfrm>
            <a:off x="6887858" y="2175008"/>
            <a:ext cx="564092" cy="561061"/>
            <a:chOff x="-3854375" y="2046625"/>
            <a:chExt cx="293025" cy="291450"/>
          </a:xfrm>
        </p:grpSpPr>
        <p:sp>
          <p:nvSpPr>
            <p:cNvPr id="11317" name="Google Shape;11317;p115"/>
            <p:cNvSpPr/>
            <p:nvPr/>
          </p:nvSpPr>
          <p:spPr>
            <a:xfrm>
              <a:off x="-3854375" y="2046625"/>
              <a:ext cx="293025" cy="291450"/>
            </a:xfrm>
            <a:custGeom>
              <a:avLst/>
              <a:gdLst/>
              <a:ahLst/>
              <a:cxnLst/>
              <a:rect l="l" t="t" r="r" b="b"/>
              <a:pathLst>
                <a:path w="11721" h="11658" extrusionOk="0">
                  <a:moveTo>
                    <a:pt x="7624" y="694"/>
                  </a:moveTo>
                  <a:cubicBezTo>
                    <a:pt x="9515" y="694"/>
                    <a:pt x="11058" y="2206"/>
                    <a:pt x="11058" y="4096"/>
                  </a:cubicBezTo>
                  <a:cubicBezTo>
                    <a:pt x="11058" y="5987"/>
                    <a:pt x="9515" y="7530"/>
                    <a:pt x="7624" y="7530"/>
                  </a:cubicBezTo>
                  <a:cubicBezTo>
                    <a:pt x="5734" y="7530"/>
                    <a:pt x="4190" y="5987"/>
                    <a:pt x="4190" y="4096"/>
                  </a:cubicBezTo>
                  <a:cubicBezTo>
                    <a:pt x="4190" y="2206"/>
                    <a:pt x="5734" y="694"/>
                    <a:pt x="7624" y="694"/>
                  </a:cubicBezTo>
                  <a:close/>
                  <a:moveTo>
                    <a:pt x="3336" y="8066"/>
                  </a:moveTo>
                  <a:cubicBezTo>
                    <a:pt x="3426" y="8066"/>
                    <a:pt x="3513" y="8098"/>
                    <a:pt x="3560" y="8161"/>
                  </a:cubicBezTo>
                  <a:cubicBezTo>
                    <a:pt x="3686" y="8287"/>
                    <a:pt x="3686" y="8507"/>
                    <a:pt x="3560" y="8633"/>
                  </a:cubicBezTo>
                  <a:lnTo>
                    <a:pt x="1323" y="10870"/>
                  </a:lnTo>
                  <a:cubicBezTo>
                    <a:pt x="1260" y="10933"/>
                    <a:pt x="1174" y="10964"/>
                    <a:pt x="1087" y="10964"/>
                  </a:cubicBezTo>
                  <a:cubicBezTo>
                    <a:pt x="1001" y="10964"/>
                    <a:pt x="914" y="10933"/>
                    <a:pt x="851" y="10870"/>
                  </a:cubicBezTo>
                  <a:cubicBezTo>
                    <a:pt x="725" y="10744"/>
                    <a:pt x="725" y="10523"/>
                    <a:pt x="851" y="10397"/>
                  </a:cubicBezTo>
                  <a:lnTo>
                    <a:pt x="3088" y="8161"/>
                  </a:lnTo>
                  <a:cubicBezTo>
                    <a:pt x="3151" y="8098"/>
                    <a:pt x="3245" y="8066"/>
                    <a:pt x="3336" y="8066"/>
                  </a:cubicBezTo>
                  <a:close/>
                  <a:moveTo>
                    <a:pt x="7624" y="1"/>
                  </a:moveTo>
                  <a:cubicBezTo>
                    <a:pt x="5356" y="1"/>
                    <a:pt x="3529" y="1860"/>
                    <a:pt x="3529" y="4096"/>
                  </a:cubicBezTo>
                  <a:cubicBezTo>
                    <a:pt x="3529" y="5136"/>
                    <a:pt x="3875" y="6050"/>
                    <a:pt x="4505" y="6743"/>
                  </a:cubicBezTo>
                  <a:lnTo>
                    <a:pt x="3812" y="7467"/>
                  </a:lnTo>
                  <a:cubicBezTo>
                    <a:pt x="3661" y="7386"/>
                    <a:pt x="3500" y="7347"/>
                    <a:pt x="3342" y="7347"/>
                  </a:cubicBezTo>
                  <a:cubicBezTo>
                    <a:pt x="3074" y="7347"/>
                    <a:pt x="2813" y="7458"/>
                    <a:pt x="2615" y="7656"/>
                  </a:cubicBezTo>
                  <a:lnTo>
                    <a:pt x="378" y="9893"/>
                  </a:lnTo>
                  <a:cubicBezTo>
                    <a:pt x="0" y="10271"/>
                    <a:pt x="0" y="10964"/>
                    <a:pt x="378" y="11343"/>
                  </a:cubicBezTo>
                  <a:cubicBezTo>
                    <a:pt x="567" y="11532"/>
                    <a:pt x="851" y="11658"/>
                    <a:pt x="1103" y="11658"/>
                  </a:cubicBezTo>
                  <a:cubicBezTo>
                    <a:pt x="1355" y="11658"/>
                    <a:pt x="1607" y="11532"/>
                    <a:pt x="1796" y="11343"/>
                  </a:cubicBezTo>
                  <a:lnTo>
                    <a:pt x="4033" y="9106"/>
                  </a:lnTo>
                  <a:cubicBezTo>
                    <a:pt x="4348" y="8791"/>
                    <a:pt x="4442" y="8318"/>
                    <a:pt x="4253" y="7909"/>
                  </a:cubicBezTo>
                  <a:lnTo>
                    <a:pt x="4947" y="7215"/>
                  </a:lnTo>
                  <a:cubicBezTo>
                    <a:pt x="5671" y="7814"/>
                    <a:pt x="6616" y="8192"/>
                    <a:pt x="7593" y="8192"/>
                  </a:cubicBezTo>
                  <a:cubicBezTo>
                    <a:pt x="9861" y="8192"/>
                    <a:pt x="11689" y="6333"/>
                    <a:pt x="11689" y="4096"/>
                  </a:cubicBezTo>
                  <a:cubicBezTo>
                    <a:pt x="11720" y="1828"/>
                    <a:pt x="9861" y="1"/>
                    <a:pt x="7624"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1318" name="Google Shape;11318;p115"/>
            <p:cNvSpPr/>
            <p:nvPr/>
          </p:nvSpPr>
          <p:spPr>
            <a:xfrm>
              <a:off x="-3714975" y="2080500"/>
              <a:ext cx="103200" cy="119750"/>
            </a:xfrm>
            <a:custGeom>
              <a:avLst/>
              <a:gdLst/>
              <a:ahLst/>
              <a:cxnLst/>
              <a:rect l="l" t="t" r="r" b="b"/>
              <a:pathLst>
                <a:path w="4128" h="4790" extrusionOk="0">
                  <a:moveTo>
                    <a:pt x="2048" y="694"/>
                  </a:moveTo>
                  <a:cubicBezTo>
                    <a:pt x="2458" y="694"/>
                    <a:pt x="2710" y="1009"/>
                    <a:pt x="2710" y="1387"/>
                  </a:cubicBezTo>
                  <a:cubicBezTo>
                    <a:pt x="2710" y="1765"/>
                    <a:pt x="2395" y="2048"/>
                    <a:pt x="2048" y="2048"/>
                  </a:cubicBezTo>
                  <a:cubicBezTo>
                    <a:pt x="1702" y="2048"/>
                    <a:pt x="1387" y="1733"/>
                    <a:pt x="1387" y="1387"/>
                  </a:cubicBezTo>
                  <a:cubicBezTo>
                    <a:pt x="1355" y="1009"/>
                    <a:pt x="1670" y="694"/>
                    <a:pt x="2048" y="694"/>
                  </a:cubicBezTo>
                  <a:close/>
                  <a:moveTo>
                    <a:pt x="2363" y="2741"/>
                  </a:moveTo>
                  <a:cubicBezTo>
                    <a:pt x="2931" y="2741"/>
                    <a:pt x="3403" y="3214"/>
                    <a:pt x="3403" y="3781"/>
                  </a:cubicBezTo>
                  <a:lnTo>
                    <a:pt x="3403" y="4128"/>
                  </a:lnTo>
                  <a:lnTo>
                    <a:pt x="662" y="4128"/>
                  </a:lnTo>
                  <a:lnTo>
                    <a:pt x="662" y="3781"/>
                  </a:lnTo>
                  <a:cubicBezTo>
                    <a:pt x="662" y="3214"/>
                    <a:pt x="1135" y="2741"/>
                    <a:pt x="1702" y="2741"/>
                  </a:cubicBezTo>
                  <a:close/>
                  <a:moveTo>
                    <a:pt x="2048" y="1"/>
                  </a:moveTo>
                  <a:cubicBezTo>
                    <a:pt x="1292" y="1"/>
                    <a:pt x="662" y="631"/>
                    <a:pt x="662" y="1387"/>
                  </a:cubicBezTo>
                  <a:cubicBezTo>
                    <a:pt x="662" y="1702"/>
                    <a:pt x="788" y="2017"/>
                    <a:pt x="977" y="2237"/>
                  </a:cubicBezTo>
                  <a:cubicBezTo>
                    <a:pt x="410" y="2521"/>
                    <a:pt x="1" y="3119"/>
                    <a:pt x="1" y="3781"/>
                  </a:cubicBezTo>
                  <a:lnTo>
                    <a:pt x="1" y="4443"/>
                  </a:lnTo>
                  <a:cubicBezTo>
                    <a:pt x="1" y="4632"/>
                    <a:pt x="158" y="4789"/>
                    <a:pt x="347" y="4789"/>
                  </a:cubicBezTo>
                  <a:lnTo>
                    <a:pt x="3781" y="4789"/>
                  </a:lnTo>
                  <a:cubicBezTo>
                    <a:pt x="3970" y="4789"/>
                    <a:pt x="4128" y="4632"/>
                    <a:pt x="4128" y="4443"/>
                  </a:cubicBezTo>
                  <a:lnTo>
                    <a:pt x="4128" y="3781"/>
                  </a:lnTo>
                  <a:cubicBezTo>
                    <a:pt x="4096" y="3119"/>
                    <a:pt x="3718" y="2521"/>
                    <a:pt x="3120" y="2237"/>
                  </a:cubicBezTo>
                  <a:cubicBezTo>
                    <a:pt x="3309" y="2017"/>
                    <a:pt x="3435" y="1733"/>
                    <a:pt x="3435" y="1387"/>
                  </a:cubicBezTo>
                  <a:cubicBezTo>
                    <a:pt x="3435" y="631"/>
                    <a:pt x="2805" y="1"/>
                    <a:pt x="2048"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11319" name="Google Shape;11319;p115"/>
          <p:cNvGrpSpPr/>
          <p:nvPr/>
        </p:nvGrpSpPr>
        <p:grpSpPr>
          <a:xfrm>
            <a:off x="6886342" y="2851623"/>
            <a:ext cx="567124" cy="565584"/>
            <a:chOff x="-3854375" y="2405000"/>
            <a:chExt cx="294600" cy="293800"/>
          </a:xfrm>
        </p:grpSpPr>
        <p:sp>
          <p:nvSpPr>
            <p:cNvPr id="11320" name="Google Shape;11320;p115"/>
            <p:cNvSpPr/>
            <p:nvPr/>
          </p:nvSpPr>
          <p:spPr>
            <a:xfrm>
              <a:off x="-3854375" y="2405000"/>
              <a:ext cx="294600" cy="293800"/>
            </a:xfrm>
            <a:custGeom>
              <a:avLst/>
              <a:gdLst/>
              <a:ahLst/>
              <a:cxnLst/>
              <a:rect l="l" t="t" r="r" b="b"/>
              <a:pathLst>
                <a:path w="11784" h="11752" extrusionOk="0">
                  <a:moveTo>
                    <a:pt x="6994" y="694"/>
                  </a:moveTo>
                  <a:lnTo>
                    <a:pt x="6994" y="1103"/>
                  </a:lnTo>
                  <a:cubicBezTo>
                    <a:pt x="6994" y="1261"/>
                    <a:pt x="7120" y="1387"/>
                    <a:pt x="7278" y="1418"/>
                  </a:cubicBezTo>
                  <a:cubicBezTo>
                    <a:pt x="7467" y="1481"/>
                    <a:pt x="7719" y="1576"/>
                    <a:pt x="7908" y="1702"/>
                  </a:cubicBezTo>
                  <a:cubicBezTo>
                    <a:pt x="7954" y="1736"/>
                    <a:pt x="8009" y="1750"/>
                    <a:pt x="8066" y="1750"/>
                  </a:cubicBezTo>
                  <a:cubicBezTo>
                    <a:pt x="8164" y="1750"/>
                    <a:pt x="8269" y="1710"/>
                    <a:pt x="8349" y="1670"/>
                  </a:cubicBezTo>
                  <a:lnTo>
                    <a:pt x="8664" y="1355"/>
                  </a:lnTo>
                  <a:lnTo>
                    <a:pt x="9137" y="1828"/>
                  </a:lnTo>
                  <a:lnTo>
                    <a:pt x="8822" y="2143"/>
                  </a:lnTo>
                  <a:cubicBezTo>
                    <a:pt x="8696" y="2269"/>
                    <a:pt x="8696" y="2426"/>
                    <a:pt x="8759" y="2584"/>
                  </a:cubicBezTo>
                  <a:cubicBezTo>
                    <a:pt x="8885" y="2773"/>
                    <a:pt x="8979" y="2962"/>
                    <a:pt x="9042" y="3214"/>
                  </a:cubicBezTo>
                  <a:cubicBezTo>
                    <a:pt x="9074" y="3372"/>
                    <a:pt x="9200" y="3466"/>
                    <a:pt x="9357" y="3466"/>
                  </a:cubicBezTo>
                  <a:lnTo>
                    <a:pt x="9798" y="3466"/>
                  </a:lnTo>
                  <a:lnTo>
                    <a:pt x="9798" y="4159"/>
                  </a:lnTo>
                  <a:lnTo>
                    <a:pt x="9357" y="4159"/>
                  </a:lnTo>
                  <a:cubicBezTo>
                    <a:pt x="9200" y="4159"/>
                    <a:pt x="9074" y="4222"/>
                    <a:pt x="9042" y="4380"/>
                  </a:cubicBezTo>
                  <a:cubicBezTo>
                    <a:pt x="9011" y="4569"/>
                    <a:pt x="8885" y="4821"/>
                    <a:pt x="8759" y="5010"/>
                  </a:cubicBezTo>
                  <a:cubicBezTo>
                    <a:pt x="8696" y="5136"/>
                    <a:pt x="8727" y="5325"/>
                    <a:pt x="8822" y="5451"/>
                  </a:cubicBezTo>
                  <a:lnTo>
                    <a:pt x="9137" y="5766"/>
                  </a:lnTo>
                  <a:lnTo>
                    <a:pt x="8664" y="6238"/>
                  </a:lnTo>
                  <a:lnTo>
                    <a:pt x="8349" y="5923"/>
                  </a:lnTo>
                  <a:cubicBezTo>
                    <a:pt x="8275" y="5850"/>
                    <a:pt x="8191" y="5819"/>
                    <a:pt x="8101" y="5819"/>
                  </a:cubicBezTo>
                  <a:cubicBezTo>
                    <a:pt x="8038" y="5819"/>
                    <a:pt x="7973" y="5834"/>
                    <a:pt x="7908" y="5860"/>
                  </a:cubicBezTo>
                  <a:cubicBezTo>
                    <a:pt x="7719" y="5986"/>
                    <a:pt x="7498" y="6081"/>
                    <a:pt x="7278" y="6144"/>
                  </a:cubicBezTo>
                  <a:cubicBezTo>
                    <a:pt x="7120" y="6175"/>
                    <a:pt x="6994" y="6301"/>
                    <a:pt x="6994" y="6459"/>
                  </a:cubicBezTo>
                  <a:lnTo>
                    <a:pt x="6994" y="6900"/>
                  </a:lnTo>
                  <a:lnTo>
                    <a:pt x="6333" y="6900"/>
                  </a:lnTo>
                  <a:lnTo>
                    <a:pt x="6333" y="6459"/>
                  </a:lnTo>
                  <a:cubicBezTo>
                    <a:pt x="6333" y="6301"/>
                    <a:pt x="6207" y="6207"/>
                    <a:pt x="6049" y="6144"/>
                  </a:cubicBezTo>
                  <a:cubicBezTo>
                    <a:pt x="5860" y="6112"/>
                    <a:pt x="5608" y="5986"/>
                    <a:pt x="5419" y="5860"/>
                  </a:cubicBezTo>
                  <a:cubicBezTo>
                    <a:pt x="5374" y="5838"/>
                    <a:pt x="5322" y="5828"/>
                    <a:pt x="5267" y="5828"/>
                  </a:cubicBezTo>
                  <a:cubicBezTo>
                    <a:pt x="5167" y="5828"/>
                    <a:pt x="5059" y="5862"/>
                    <a:pt x="4978" y="5923"/>
                  </a:cubicBezTo>
                  <a:lnTo>
                    <a:pt x="4663" y="6238"/>
                  </a:lnTo>
                  <a:lnTo>
                    <a:pt x="4190" y="5766"/>
                  </a:lnTo>
                  <a:lnTo>
                    <a:pt x="4505" y="5451"/>
                  </a:lnTo>
                  <a:cubicBezTo>
                    <a:pt x="4631" y="5325"/>
                    <a:pt x="4631" y="5167"/>
                    <a:pt x="4568" y="5010"/>
                  </a:cubicBezTo>
                  <a:cubicBezTo>
                    <a:pt x="4442" y="4821"/>
                    <a:pt x="4348" y="4632"/>
                    <a:pt x="4285" y="4380"/>
                  </a:cubicBezTo>
                  <a:cubicBezTo>
                    <a:pt x="4253" y="4254"/>
                    <a:pt x="4127" y="4159"/>
                    <a:pt x="4001" y="4159"/>
                  </a:cubicBezTo>
                  <a:lnTo>
                    <a:pt x="3529" y="4159"/>
                  </a:lnTo>
                  <a:lnTo>
                    <a:pt x="3529" y="3466"/>
                  </a:lnTo>
                  <a:lnTo>
                    <a:pt x="3970" y="3466"/>
                  </a:lnTo>
                  <a:cubicBezTo>
                    <a:pt x="4127" y="3466"/>
                    <a:pt x="4253" y="3372"/>
                    <a:pt x="4285" y="3214"/>
                  </a:cubicBezTo>
                  <a:cubicBezTo>
                    <a:pt x="4316" y="2993"/>
                    <a:pt x="4442" y="2773"/>
                    <a:pt x="4568" y="2584"/>
                  </a:cubicBezTo>
                  <a:cubicBezTo>
                    <a:pt x="4631" y="2458"/>
                    <a:pt x="4600" y="2269"/>
                    <a:pt x="4505" y="2143"/>
                  </a:cubicBezTo>
                  <a:lnTo>
                    <a:pt x="4190" y="1828"/>
                  </a:lnTo>
                  <a:lnTo>
                    <a:pt x="4663" y="1355"/>
                  </a:lnTo>
                  <a:lnTo>
                    <a:pt x="4978" y="1670"/>
                  </a:lnTo>
                  <a:cubicBezTo>
                    <a:pt x="5046" y="1738"/>
                    <a:pt x="5122" y="1769"/>
                    <a:pt x="5203" y="1769"/>
                  </a:cubicBezTo>
                  <a:cubicBezTo>
                    <a:pt x="5273" y="1769"/>
                    <a:pt x="5346" y="1746"/>
                    <a:pt x="5419" y="1702"/>
                  </a:cubicBezTo>
                  <a:cubicBezTo>
                    <a:pt x="5608" y="1576"/>
                    <a:pt x="5829" y="1513"/>
                    <a:pt x="6049" y="1418"/>
                  </a:cubicBezTo>
                  <a:cubicBezTo>
                    <a:pt x="6207" y="1387"/>
                    <a:pt x="6333" y="1261"/>
                    <a:pt x="6333" y="1103"/>
                  </a:cubicBezTo>
                  <a:lnTo>
                    <a:pt x="6333" y="694"/>
                  </a:lnTo>
                  <a:close/>
                  <a:moveTo>
                    <a:pt x="10964" y="4821"/>
                  </a:moveTo>
                  <a:lnTo>
                    <a:pt x="9830" y="8255"/>
                  </a:lnTo>
                  <a:lnTo>
                    <a:pt x="2773" y="8255"/>
                  </a:lnTo>
                  <a:lnTo>
                    <a:pt x="2143" y="4821"/>
                  </a:lnTo>
                  <a:lnTo>
                    <a:pt x="3686" y="4821"/>
                  </a:lnTo>
                  <a:cubicBezTo>
                    <a:pt x="3718" y="4947"/>
                    <a:pt x="3781" y="5010"/>
                    <a:pt x="3812" y="5136"/>
                  </a:cubicBezTo>
                  <a:lnTo>
                    <a:pt x="3466" y="5482"/>
                  </a:lnTo>
                  <a:cubicBezTo>
                    <a:pt x="3340" y="5608"/>
                    <a:pt x="3340" y="5829"/>
                    <a:pt x="3466" y="5955"/>
                  </a:cubicBezTo>
                  <a:lnTo>
                    <a:pt x="4442" y="6932"/>
                  </a:lnTo>
                  <a:cubicBezTo>
                    <a:pt x="4505" y="6995"/>
                    <a:pt x="4592" y="7026"/>
                    <a:pt x="4679" y="7026"/>
                  </a:cubicBezTo>
                  <a:cubicBezTo>
                    <a:pt x="4765" y="7026"/>
                    <a:pt x="4852" y="6995"/>
                    <a:pt x="4915" y="6932"/>
                  </a:cubicBezTo>
                  <a:lnTo>
                    <a:pt x="5262" y="6585"/>
                  </a:lnTo>
                  <a:cubicBezTo>
                    <a:pt x="5356" y="6617"/>
                    <a:pt x="5451" y="6680"/>
                    <a:pt x="5577" y="6711"/>
                  </a:cubicBezTo>
                  <a:lnTo>
                    <a:pt x="5577" y="7215"/>
                  </a:lnTo>
                  <a:cubicBezTo>
                    <a:pt x="5577" y="7404"/>
                    <a:pt x="5734" y="7562"/>
                    <a:pt x="5923" y="7562"/>
                  </a:cubicBezTo>
                  <a:lnTo>
                    <a:pt x="7309" y="7562"/>
                  </a:lnTo>
                  <a:cubicBezTo>
                    <a:pt x="7498" y="7562"/>
                    <a:pt x="7656" y="7404"/>
                    <a:pt x="7656" y="7215"/>
                  </a:cubicBezTo>
                  <a:lnTo>
                    <a:pt x="7656" y="6711"/>
                  </a:lnTo>
                  <a:cubicBezTo>
                    <a:pt x="7782" y="6680"/>
                    <a:pt x="7876" y="6617"/>
                    <a:pt x="7971" y="6585"/>
                  </a:cubicBezTo>
                  <a:lnTo>
                    <a:pt x="8349" y="6932"/>
                  </a:lnTo>
                  <a:cubicBezTo>
                    <a:pt x="8396" y="6995"/>
                    <a:pt x="8483" y="7026"/>
                    <a:pt x="8574" y="7026"/>
                  </a:cubicBezTo>
                  <a:cubicBezTo>
                    <a:pt x="8664" y="7026"/>
                    <a:pt x="8759" y="6995"/>
                    <a:pt x="8822" y="6932"/>
                  </a:cubicBezTo>
                  <a:lnTo>
                    <a:pt x="9798" y="5955"/>
                  </a:lnTo>
                  <a:cubicBezTo>
                    <a:pt x="9924" y="5829"/>
                    <a:pt x="9924" y="5608"/>
                    <a:pt x="9798" y="5482"/>
                  </a:cubicBezTo>
                  <a:lnTo>
                    <a:pt x="9452" y="5136"/>
                  </a:lnTo>
                  <a:cubicBezTo>
                    <a:pt x="9483" y="5041"/>
                    <a:pt x="9515" y="4947"/>
                    <a:pt x="9546" y="4821"/>
                  </a:cubicBezTo>
                  <a:close/>
                  <a:moveTo>
                    <a:pt x="3907" y="10334"/>
                  </a:moveTo>
                  <a:cubicBezTo>
                    <a:pt x="4096" y="10366"/>
                    <a:pt x="4253" y="10523"/>
                    <a:pt x="4253" y="10681"/>
                  </a:cubicBezTo>
                  <a:cubicBezTo>
                    <a:pt x="4253" y="10870"/>
                    <a:pt x="4096" y="11027"/>
                    <a:pt x="3907" y="11027"/>
                  </a:cubicBezTo>
                  <a:cubicBezTo>
                    <a:pt x="3686" y="11027"/>
                    <a:pt x="3529" y="10870"/>
                    <a:pt x="3529" y="10681"/>
                  </a:cubicBezTo>
                  <a:cubicBezTo>
                    <a:pt x="3529" y="10492"/>
                    <a:pt x="3686" y="10334"/>
                    <a:pt x="3907" y="10334"/>
                  </a:cubicBezTo>
                  <a:close/>
                  <a:moveTo>
                    <a:pt x="8664" y="10334"/>
                  </a:moveTo>
                  <a:cubicBezTo>
                    <a:pt x="8853" y="10366"/>
                    <a:pt x="9011" y="10523"/>
                    <a:pt x="9011" y="10681"/>
                  </a:cubicBezTo>
                  <a:cubicBezTo>
                    <a:pt x="9011" y="10870"/>
                    <a:pt x="8853" y="11027"/>
                    <a:pt x="8664" y="11027"/>
                  </a:cubicBezTo>
                  <a:cubicBezTo>
                    <a:pt x="8444" y="11027"/>
                    <a:pt x="8286" y="10870"/>
                    <a:pt x="8286" y="10681"/>
                  </a:cubicBezTo>
                  <a:cubicBezTo>
                    <a:pt x="8286" y="10492"/>
                    <a:pt x="8444" y="10334"/>
                    <a:pt x="8664" y="10334"/>
                  </a:cubicBezTo>
                  <a:close/>
                  <a:moveTo>
                    <a:pt x="5892" y="0"/>
                  </a:moveTo>
                  <a:cubicBezTo>
                    <a:pt x="5703" y="0"/>
                    <a:pt x="5545" y="158"/>
                    <a:pt x="5545" y="379"/>
                  </a:cubicBezTo>
                  <a:lnTo>
                    <a:pt x="5545" y="883"/>
                  </a:lnTo>
                  <a:cubicBezTo>
                    <a:pt x="5419" y="914"/>
                    <a:pt x="5356" y="946"/>
                    <a:pt x="5230" y="1009"/>
                  </a:cubicBezTo>
                  <a:lnTo>
                    <a:pt x="4883" y="631"/>
                  </a:lnTo>
                  <a:cubicBezTo>
                    <a:pt x="4820" y="583"/>
                    <a:pt x="4734" y="560"/>
                    <a:pt x="4647" y="560"/>
                  </a:cubicBezTo>
                  <a:cubicBezTo>
                    <a:pt x="4561" y="560"/>
                    <a:pt x="4474" y="583"/>
                    <a:pt x="4411" y="631"/>
                  </a:cubicBezTo>
                  <a:lnTo>
                    <a:pt x="3434" y="1639"/>
                  </a:lnTo>
                  <a:cubicBezTo>
                    <a:pt x="3308" y="1733"/>
                    <a:pt x="3308" y="1985"/>
                    <a:pt x="3434" y="2111"/>
                  </a:cubicBezTo>
                  <a:lnTo>
                    <a:pt x="3781" y="2458"/>
                  </a:lnTo>
                  <a:cubicBezTo>
                    <a:pt x="3718" y="2521"/>
                    <a:pt x="3686" y="2647"/>
                    <a:pt x="3655" y="2773"/>
                  </a:cubicBezTo>
                  <a:lnTo>
                    <a:pt x="3151" y="2773"/>
                  </a:lnTo>
                  <a:cubicBezTo>
                    <a:pt x="2930" y="2773"/>
                    <a:pt x="2773" y="2930"/>
                    <a:pt x="2773" y="3119"/>
                  </a:cubicBezTo>
                  <a:lnTo>
                    <a:pt x="2773" y="4159"/>
                  </a:lnTo>
                  <a:lnTo>
                    <a:pt x="1985" y="4159"/>
                  </a:lnTo>
                  <a:lnTo>
                    <a:pt x="1765" y="2930"/>
                  </a:lnTo>
                  <a:cubicBezTo>
                    <a:pt x="1670" y="2458"/>
                    <a:pt x="1197" y="2111"/>
                    <a:pt x="693" y="2111"/>
                  </a:cubicBezTo>
                  <a:lnTo>
                    <a:pt x="347" y="2111"/>
                  </a:lnTo>
                  <a:cubicBezTo>
                    <a:pt x="158" y="2111"/>
                    <a:pt x="0" y="2269"/>
                    <a:pt x="0" y="2458"/>
                  </a:cubicBezTo>
                  <a:cubicBezTo>
                    <a:pt x="0" y="2647"/>
                    <a:pt x="158" y="2804"/>
                    <a:pt x="347" y="2804"/>
                  </a:cubicBezTo>
                  <a:lnTo>
                    <a:pt x="693" y="2804"/>
                  </a:lnTo>
                  <a:cubicBezTo>
                    <a:pt x="882" y="2804"/>
                    <a:pt x="1103" y="2930"/>
                    <a:pt x="1103" y="3088"/>
                  </a:cubicBezTo>
                  <a:lnTo>
                    <a:pt x="2080" y="8570"/>
                  </a:lnTo>
                  <a:cubicBezTo>
                    <a:pt x="1891" y="8759"/>
                    <a:pt x="1765" y="9042"/>
                    <a:pt x="1765" y="9357"/>
                  </a:cubicBezTo>
                  <a:cubicBezTo>
                    <a:pt x="1765" y="9861"/>
                    <a:pt x="2143" y="10366"/>
                    <a:pt x="2867" y="10366"/>
                  </a:cubicBezTo>
                  <a:cubicBezTo>
                    <a:pt x="2836" y="10492"/>
                    <a:pt x="2836" y="10618"/>
                    <a:pt x="2836" y="10712"/>
                  </a:cubicBezTo>
                  <a:cubicBezTo>
                    <a:pt x="2836" y="11279"/>
                    <a:pt x="3308" y="11752"/>
                    <a:pt x="3844" y="11752"/>
                  </a:cubicBezTo>
                  <a:cubicBezTo>
                    <a:pt x="4411" y="11752"/>
                    <a:pt x="4883" y="11279"/>
                    <a:pt x="4883" y="10712"/>
                  </a:cubicBezTo>
                  <a:cubicBezTo>
                    <a:pt x="4883" y="10618"/>
                    <a:pt x="4820" y="10492"/>
                    <a:pt x="4820" y="10366"/>
                  </a:cubicBezTo>
                  <a:lnTo>
                    <a:pt x="7719" y="10366"/>
                  </a:lnTo>
                  <a:cubicBezTo>
                    <a:pt x="7656" y="10492"/>
                    <a:pt x="7656" y="10618"/>
                    <a:pt x="7656" y="10712"/>
                  </a:cubicBezTo>
                  <a:cubicBezTo>
                    <a:pt x="7656" y="11279"/>
                    <a:pt x="8129" y="11752"/>
                    <a:pt x="8696" y="11752"/>
                  </a:cubicBezTo>
                  <a:cubicBezTo>
                    <a:pt x="9231" y="11752"/>
                    <a:pt x="9735" y="11279"/>
                    <a:pt x="9735" y="10712"/>
                  </a:cubicBezTo>
                  <a:cubicBezTo>
                    <a:pt x="9735" y="10618"/>
                    <a:pt x="9672" y="10492"/>
                    <a:pt x="9672" y="10366"/>
                  </a:cubicBezTo>
                  <a:lnTo>
                    <a:pt x="10082" y="10366"/>
                  </a:lnTo>
                  <a:cubicBezTo>
                    <a:pt x="10271" y="10366"/>
                    <a:pt x="10428" y="10208"/>
                    <a:pt x="10428" y="10019"/>
                  </a:cubicBezTo>
                  <a:cubicBezTo>
                    <a:pt x="10428" y="9830"/>
                    <a:pt x="10271" y="9672"/>
                    <a:pt x="10082" y="9672"/>
                  </a:cubicBezTo>
                  <a:lnTo>
                    <a:pt x="2867" y="9672"/>
                  </a:lnTo>
                  <a:cubicBezTo>
                    <a:pt x="2678" y="9672"/>
                    <a:pt x="2521" y="9515"/>
                    <a:pt x="2521" y="9294"/>
                  </a:cubicBezTo>
                  <a:cubicBezTo>
                    <a:pt x="2521" y="9137"/>
                    <a:pt x="2678" y="8948"/>
                    <a:pt x="2867" y="8948"/>
                  </a:cubicBezTo>
                  <a:lnTo>
                    <a:pt x="10082" y="8948"/>
                  </a:lnTo>
                  <a:cubicBezTo>
                    <a:pt x="10239" y="8948"/>
                    <a:pt x="10334" y="8885"/>
                    <a:pt x="10397" y="8727"/>
                  </a:cubicBezTo>
                  <a:lnTo>
                    <a:pt x="11720" y="4663"/>
                  </a:lnTo>
                  <a:cubicBezTo>
                    <a:pt x="11783" y="4537"/>
                    <a:pt x="11720" y="4411"/>
                    <a:pt x="11689" y="4348"/>
                  </a:cubicBezTo>
                  <a:cubicBezTo>
                    <a:pt x="11563" y="4191"/>
                    <a:pt x="11405" y="4191"/>
                    <a:pt x="11279" y="4191"/>
                  </a:cubicBezTo>
                  <a:lnTo>
                    <a:pt x="10397" y="4191"/>
                  </a:lnTo>
                  <a:lnTo>
                    <a:pt x="10397" y="3119"/>
                  </a:lnTo>
                  <a:cubicBezTo>
                    <a:pt x="10397" y="2930"/>
                    <a:pt x="10239" y="2773"/>
                    <a:pt x="10019" y="2773"/>
                  </a:cubicBezTo>
                  <a:lnTo>
                    <a:pt x="9515" y="2773"/>
                  </a:lnTo>
                  <a:cubicBezTo>
                    <a:pt x="9483" y="2647"/>
                    <a:pt x="9452" y="2584"/>
                    <a:pt x="9389" y="2458"/>
                  </a:cubicBezTo>
                  <a:lnTo>
                    <a:pt x="9767" y="2080"/>
                  </a:lnTo>
                  <a:cubicBezTo>
                    <a:pt x="9861" y="1985"/>
                    <a:pt x="9861" y="1733"/>
                    <a:pt x="9767" y="1607"/>
                  </a:cubicBezTo>
                  <a:lnTo>
                    <a:pt x="8759" y="631"/>
                  </a:lnTo>
                  <a:cubicBezTo>
                    <a:pt x="8711" y="568"/>
                    <a:pt x="8625" y="536"/>
                    <a:pt x="8534" y="536"/>
                  </a:cubicBezTo>
                  <a:cubicBezTo>
                    <a:pt x="8444" y="536"/>
                    <a:pt x="8349" y="568"/>
                    <a:pt x="8286" y="631"/>
                  </a:cubicBezTo>
                  <a:lnTo>
                    <a:pt x="7939" y="1009"/>
                  </a:lnTo>
                  <a:cubicBezTo>
                    <a:pt x="7876" y="946"/>
                    <a:pt x="7750" y="914"/>
                    <a:pt x="7624" y="883"/>
                  </a:cubicBezTo>
                  <a:lnTo>
                    <a:pt x="7624" y="379"/>
                  </a:lnTo>
                  <a:cubicBezTo>
                    <a:pt x="7624" y="158"/>
                    <a:pt x="7467" y="0"/>
                    <a:pt x="7278"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1321" name="Google Shape;11321;p115"/>
            <p:cNvSpPr/>
            <p:nvPr/>
          </p:nvSpPr>
          <p:spPr>
            <a:xfrm>
              <a:off x="-3731500" y="2458550"/>
              <a:ext cx="84300" cy="84300"/>
            </a:xfrm>
            <a:custGeom>
              <a:avLst/>
              <a:gdLst/>
              <a:ahLst/>
              <a:cxnLst/>
              <a:rect l="l" t="t" r="r" b="b"/>
              <a:pathLst>
                <a:path w="3372" h="3372" extrusionOk="0">
                  <a:moveTo>
                    <a:pt x="1701" y="631"/>
                  </a:moveTo>
                  <a:cubicBezTo>
                    <a:pt x="2237" y="631"/>
                    <a:pt x="2709" y="1103"/>
                    <a:pt x="2709" y="1639"/>
                  </a:cubicBezTo>
                  <a:cubicBezTo>
                    <a:pt x="2709" y="2206"/>
                    <a:pt x="2237" y="2679"/>
                    <a:pt x="1701" y="2679"/>
                  </a:cubicBezTo>
                  <a:cubicBezTo>
                    <a:pt x="1134" y="2679"/>
                    <a:pt x="662" y="2206"/>
                    <a:pt x="662" y="1639"/>
                  </a:cubicBezTo>
                  <a:cubicBezTo>
                    <a:pt x="662" y="1103"/>
                    <a:pt x="1134" y="631"/>
                    <a:pt x="1701" y="631"/>
                  </a:cubicBezTo>
                  <a:close/>
                  <a:moveTo>
                    <a:pt x="1701" y="1"/>
                  </a:moveTo>
                  <a:cubicBezTo>
                    <a:pt x="756" y="1"/>
                    <a:pt x="0" y="725"/>
                    <a:pt x="0" y="1702"/>
                  </a:cubicBezTo>
                  <a:cubicBezTo>
                    <a:pt x="0" y="2647"/>
                    <a:pt x="756" y="3372"/>
                    <a:pt x="1701" y="3372"/>
                  </a:cubicBezTo>
                  <a:cubicBezTo>
                    <a:pt x="2646" y="3372"/>
                    <a:pt x="3371" y="2647"/>
                    <a:pt x="3371" y="1702"/>
                  </a:cubicBezTo>
                  <a:cubicBezTo>
                    <a:pt x="3371" y="725"/>
                    <a:pt x="2646" y="1"/>
                    <a:pt x="1701"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11322" name="Google Shape;11322;p115"/>
          <p:cNvGrpSpPr/>
          <p:nvPr/>
        </p:nvGrpSpPr>
        <p:grpSpPr>
          <a:xfrm>
            <a:off x="6905282" y="3546451"/>
            <a:ext cx="561061" cy="564044"/>
            <a:chOff x="-3852025" y="2764950"/>
            <a:chExt cx="291450" cy="293000"/>
          </a:xfrm>
        </p:grpSpPr>
        <p:sp>
          <p:nvSpPr>
            <p:cNvPr id="11323" name="Google Shape;11323;p115"/>
            <p:cNvSpPr/>
            <p:nvPr/>
          </p:nvSpPr>
          <p:spPr>
            <a:xfrm>
              <a:off x="-3852025" y="2764950"/>
              <a:ext cx="291450" cy="293000"/>
            </a:xfrm>
            <a:custGeom>
              <a:avLst/>
              <a:gdLst/>
              <a:ahLst/>
              <a:cxnLst/>
              <a:rect l="l" t="t" r="r" b="b"/>
              <a:pathLst>
                <a:path w="11658" h="11720" extrusionOk="0">
                  <a:moveTo>
                    <a:pt x="4380" y="693"/>
                  </a:moveTo>
                  <a:cubicBezTo>
                    <a:pt x="6774" y="693"/>
                    <a:pt x="8161" y="1355"/>
                    <a:pt x="8161" y="1733"/>
                  </a:cubicBezTo>
                  <a:cubicBezTo>
                    <a:pt x="8161" y="2080"/>
                    <a:pt x="6774" y="2741"/>
                    <a:pt x="4380" y="2741"/>
                  </a:cubicBezTo>
                  <a:cubicBezTo>
                    <a:pt x="1986" y="2741"/>
                    <a:pt x="599" y="2080"/>
                    <a:pt x="599" y="1733"/>
                  </a:cubicBezTo>
                  <a:cubicBezTo>
                    <a:pt x="631" y="1355"/>
                    <a:pt x="2017" y="693"/>
                    <a:pt x="4380" y="693"/>
                  </a:cubicBezTo>
                  <a:close/>
                  <a:moveTo>
                    <a:pt x="8224" y="2710"/>
                  </a:moveTo>
                  <a:lnTo>
                    <a:pt x="8224" y="4190"/>
                  </a:lnTo>
                  <a:lnTo>
                    <a:pt x="7845" y="4190"/>
                  </a:lnTo>
                  <a:cubicBezTo>
                    <a:pt x="7815" y="4189"/>
                    <a:pt x="7784" y="4189"/>
                    <a:pt x="7753" y="4189"/>
                  </a:cubicBezTo>
                  <a:cubicBezTo>
                    <a:pt x="6625" y="4189"/>
                    <a:pt x="5622" y="4748"/>
                    <a:pt x="4947" y="5545"/>
                  </a:cubicBezTo>
                  <a:cubicBezTo>
                    <a:pt x="4743" y="5555"/>
                    <a:pt x="4544" y="5560"/>
                    <a:pt x="4352" y="5560"/>
                  </a:cubicBezTo>
                  <a:cubicBezTo>
                    <a:pt x="2081" y="5560"/>
                    <a:pt x="662" y="4912"/>
                    <a:pt x="662" y="4505"/>
                  </a:cubicBezTo>
                  <a:lnTo>
                    <a:pt x="662" y="2710"/>
                  </a:lnTo>
                  <a:cubicBezTo>
                    <a:pt x="1639" y="3308"/>
                    <a:pt x="3246" y="3466"/>
                    <a:pt x="4443" y="3466"/>
                  </a:cubicBezTo>
                  <a:cubicBezTo>
                    <a:pt x="5577" y="3466"/>
                    <a:pt x="7215" y="3308"/>
                    <a:pt x="8224" y="2710"/>
                  </a:cubicBezTo>
                  <a:close/>
                  <a:moveTo>
                    <a:pt x="631" y="5514"/>
                  </a:moveTo>
                  <a:cubicBezTo>
                    <a:pt x="1639" y="6081"/>
                    <a:pt x="3309" y="6238"/>
                    <a:pt x="4474" y="6238"/>
                  </a:cubicBezTo>
                  <a:cubicBezTo>
                    <a:pt x="4222" y="6711"/>
                    <a:pt x="4065" y="7309"/>
                    <a:pt x="4065" y="7939"/>
                  </a:cubicBezTo>
                  <a:lnTo>
                    <a:pt x="4065" y="8286"/>
                  </a:lnTo>
                  <a:cubicBezTo>
                    <a:pt x="1860" y="8223"/>
                    <a:pt x="631" y="7624"/>
                    <a:pt x="631" y="7278"/>
                  </a:cubicBezTo>
                  <a:lnTo>
                    <a:pt x="631" y="5514"/>
                  </a:lnTo>
                  <a:close/>
                  <a:moveTo>
                    <a:pt x="631" y="8223"/>
                  </a:moveTo>
                  <a:cubicBezTo>
                    <a:pt x="1576" y="8759"/>
                    <a:pt x="3120" y="8979"/>
                    <a:pt x="4222" y="8979"/>
                  </a:cubicBezTo>
                  <a:cubicBezTo>
                    <a:pt x="4474" y="9798"/>
                    <a:pt x="4947" y="10460"/>
                    <a:pt x="5609" y="10964"/>
                  </a:cubicBezTo>
                  <a:cubicBezTo>
                    <a:pt x="5199" y="11005"/>
                    <a:pt x="4802" y="11024"/>
                    <a:pt x="4424" y="11024"/>
                  </a:cubicBezTo>
                  <a:cubicBezTo>
                    <a:pt x="2216" y="11024"/>
                    <a:pt x="631" y="10391"/>
                    <a:pt x="631" y="9987"/>
                  </a:cubicBezTo>
                  <a:lnTo>
                    <a:pt x="631" y="8223"/>
                  </a:lnTo>
                  <a:close/>
                  <a:moveTo>
                    <a:pt x="7814" y="4852"/>
                  </a:moveTo>
                  <a:cubicBezTo>
                    <a:pt x="9515" y="4852"/>
                    <a:pt x="10933" y="6238"/>
                    <a:pt x="10933" y="7939"/>
                  </a:cubicBezTo>
                  <a:cubicBezTo>
                    <a:pt x="10964" y="9641"/>
                    <a:pt x="9547" y="11027"/>
                    <a:pt x="7814" y="11027"/>
                  </a:cubicBezTo>
                  <a:cubicBezTo>
                    <a:pt x="6113" y="11027"/>
                    <a:pt x="4726" y="9641"/>
                    <a:pt x="4726" y="7939"/>
                  </a:cubicBezTo>
                  <a:cubicBezTo>
                    <a:pt x="4726" y="6238"/>
                    <a:pt x="6113" y="4852"/>
                    <a:pt x="7814" y="4852"/>
                  </a:cubicBezTo>
                  <a:close/>
                  <a:moveTo>
                    <a:pt x="4411" y="0"/>
                  </a:moveTo>
                  <a:cubicBezTo>
                    <a:pt x="3277" y="0"/>
                    <a:pt x="2206" y="158"/>
                    <a:pt x="1418" y="410"/>
                  </a:cubicBezTo>
                  <a:cubicBezTo>
                    <a:pt x="253" y="819"/>
                    <a:pt x="1" y="1323"/>
                    <a:pt x="1" y="1733"/>
                  </a:cubicBezTo>
                  <a:lnTo>
                    <a:pt x="1" y="9987"/>
                  </a:lnTo>
                  <a:cubicBezTo>
                    <a:pt x="1" y="10334"/>
                    <a:pt x="253" y="10901"/>
                    <a:pt x="1418" y="11279"/>
                  </a:cubicBezTo>
                  <a:cubicBezTo>
                    <a:pt x="2269" y="11562"/>
                    <a:pt x="3309" y="11720"/>
                    <a:pt x="4411" y="11720"/>
                  </a:cubicBezTo>
                  <a:cubicBezTo>
                    <a:pt x="5199" y="11720"/>
                    <a:pt x="5955" y="11657"/>
                    <a:pt x="6617" y="11531"/>
                  </a:cubicBezTo>
                  <a:cubicBezTo>
                    <a:pt x="7026" y="11657"/>
                    <a:pt x="7404" y="11720"/>
                    <a:pt x="7845" y="11720"/>
                  </a:cubicBezTo>
                  <a:cubicBezTo>
                    <a:pt x="9925" y="11720"/>
                    <a:pt x="11658" y="10019"/>
                    <a:pt x="11658" y="7939"/>
                  </a:cubicBezTo>
                  <a:cubicBezTo>
                    <a:pt x="11626" y="6175"/>
                    <a:pt x="10397" y="4757"/>
                    <a:pt x="8822" y="4316"/>
                  </a:cubicBezTo>
                  <a:lnTo>
                    <a:pt x="8822" y="1733"/>
                  </a:lnTo>
                  <a:cubicBezTo>
                    <a:pt x="8822" y="1355"/>
                    <a:pt x="8602" y="819"/>
                    <a:pt x="7404" y="410"/>
                  </a:cubicBezTo>
                  <a:cubicBezTo>
                    <a:pt x="6585" y="158"/>
                    <a:pt x="5514" y="0"/>
                    <a:pt x="4411"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1324" name="Google Shape;11324;p115"/>
            <p:cNvSpPr/>
            <p:nvPr/>
          </p:nvSpPr>
          <p:spPr>
            <a:xfrm>
              <a:off x="-3707100" y="2937425"/>
              <a:ext cx="103200" cy="67775"/>
            </a:xfrm>
            <a:custGeom>
              <a:avLst/>
              <a:gdLst/>
              <a:ahLst/>
              <a:cxnLst/>
              <a:rect l="l" t="t" r="r" b="b"/>
              <a:pathLst>
                <a:path w="4128" h="2711" extrusionOk="0">
                  <a:moveTo>
                    <a:pt x="3785" y="1"/>
                  </a:moveTo>
                  <a:cubicBezTo>
                    <a:pt x="3695" y="1"/>
                    <a:pt x="3608" y="32"/>
                    <a:pt x="3561" y="95"/>
                  </a:cubicBezTo>
                  <a:lnTo>
                    <a:pt x="1733" y="1923"/>
                  </a:lnTo>
                  <a:lnTo>
                    <a:pt x="599" y="757"/>
                  </a:lnTo>
                  <a:cubicBezTo>
                    <a:pt x="536" y="710"/>
                    <a:pt x="450" y="686"/>
                    <a:pt x="363" y="686"/>
                  </a:cubicBezTo>
                  <a:cubicBezTo>
                    <a:pt x="276" y="686"/>
                    <a:pt x="190" y="710"/>
                    <a:pt x="127" y="757"/>
                  </a:cubicBezTo>
                  <a:cubicBezTo>
                    <a:pt x="1" y="883"/>
                    <a:pt x="1" y="1135"/>
                    <a:pt x="127" y="1229"/>
                  </a:cubicBezTo>
                  <a:lnTo>
                    <a:pt x="1513" y="2616"/>
                  </a:lnTo>
                  <a:cubicBezTo>
                    <a:pt x="1560" y="2679"/>
                    <a:pt x="1647" y="2710"/>
                    <a:pt x="1737" y="2710"/>
                  </a:cubicBezTo>
                  <a:cubicBezTo>
                    <a:pt x="1828" y="2710"/>
                    <a:pt x="1922" y="2679"/>
                    <a:pt x="1985" y="2616"/>
                  </a:cubicBezTo>
                  <a:lnTo>
                    <a:pt x="4033" y="568"/>
                  </a:lnTo>
                  <a:cubicBezTo>
                    <a:pt x="4128" y="442"/>
                    <a:pt x="4128" y="221"/>
                    <a:pt x="4033" y="95"/>
                  </a:cubicBezTo>
                  <a:cubicBezTo>
                    <a:pt x="3970" y="32"/>
                    <a:pt x="3876" y="1"/>
                    <a:pt x="3785"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sp>
        <p:nvSpPr>
          <p:cNvPr id="11325" name="Google Shape;11325;p115"/>
          <p:cNvSpPr/>
          <p:nvPr/>
        </p:nvSpPr>
        <p:spPr>
          <a:xfrm>
            <a:off x="10534655" y="2242338"/>
            <a:ext cx="562552" cy="426065"/>
          </a:xfrm>
          <a:custGeom>
            <a:avLst/>
            <a:gdLst/>
            <a:ahLst/>
            <a:cxnLst/>
            <a:rect l="l" t="t" r="r" b="b"/>
            <a:pathLst>
              <a:path w="11689" h="8853" extrusionOk="0">
                <a:moveTo>
                  <a:pt x="1040" y="2709"/>
                </a:moveTo>
                <a:cubicBezTo>
                  <a:pt x="1229" y="2709"/>
                  <a:pt x="1386" y="2867"/>
                  <a:pt x="1386" y="3056"/>
                </a:cubicBezTo>
                <a:lnTo>
                  <a:pt x="1386" y="5828"/>
                </a:lnTo>
                <a:cubicBezTo>
                  <a:pt x="1386" y="6017"/>
                  <a:pt x="1229" y="6175"/>
                  <a:pt x="1040" y="6175"/>
                </a:cubicBezTo>
                <a:cubicBezTo>
                  <a:pt x="819" y="6175"/>
                  <a:pt x="662" y="6017"/>
                  <a:pt x="662" y="5828"/>
                </a:cubicBezTo>
                <a:lnTo>
                  <a:pt x="662" y="3056"/>
                </a:lnTo>
                <a:cubicBezTo>
                  <a:pt x="662" y="2867"/>
                  <a:pt x="819" y="2709"/>
                  <a:pt x="1040" y="2709"/>
                </a:cubicBezTo>
                <a:close/>
                <a:moveTo>
                  <a:pt x="9641" y="1449"/>
                </a:moveTo>
                <a:lnTo>
                  <a:pt x="9641" y="7435"/>
                </a:lnTo>
                <a:lnTo>
                  <a:pt x="2079" y="5545"/>
                </a:lnTo>
                <a:lnTo>
                  <a:pt x="2079" y="3340"/>
                </a:lnTo>
                <a:lnTo>
                  <a:pt x="9641" y="1449"/>
                </a:lnTo>
                <a:close/>
                <a:moveTo>
                  <a:pt x="3466" y="6616"/>
                </a:moveTo>
                <a:lnTo>
                  <a:pt x="6112" y="7278"/>
                </a:lnTo>
                <a:cubicBezTo>
                  <a:pt x="5954" y="7845"/>
                  <a:pt x="5450" y="8223"/>
                  <a:pt x="4820" y="8223"/>
                </a:cubicBezTo>
                <a:cubicBezTo>
                  <a:pt x="4064" y="8223"/>
                  <a:pt x="3434" y="7593"/>
                  <a:pt x="3434" y="6837"/>
                </a:cubicBezTo>
                <a:cubicBezTo>
                  <a:pt x="3434" y="6774"/>
                  <a:pt x="3434" y="6679"/>
                  <a:pt x="3466" y="6616"/>
                </a:cubicBezTo>
                <a:close/>
                <a:moveTo>
                  <a:pt x="10680" y="662"/>
                </a:moveTo>
                <a:cubicBezTo>
                  <a:pt x="10869" y="662"/>
                  <a:pt x="11027" y="819"/>
                  <a:pt x="11027" y="1008"/>
                </a:cubicBezTo>
                <a:lnTo>
                  <a:pt x="11027" y="7876"/>
                </a:lnTo>
                <a:cubicBezTo>
                  <a:pt x="11027" y="8065"/>
                  <a:pt x="10869" y="8223"/>
                  <a:pt x="10680" y="8223"/>
                </a:cubicBezTo>
                <a:cubicBezTo>
                  <a:pt x="10491" y="8223"/>
                  <a:pt x="10334" y="8065"/>
                  <a:pt x="10334" y="7876"/>
                </a:cubicBezTo>
                <a:lnTo>
                  <a:pt x="10334" y="1008"/>
                </a:lnTo>
                <a:cubicBezTo>
                  <a:pt x="10334" y="819"/>
                  <a:pt x="10491" y="662"/>
                  <a:pt x="10680" y="662"/>
                </a:cubicBezTo>
                <a:close/>
                <a:moveTo>
                  <a:pt x="10680" y="0"/>
                </a:moveTo>
                <a:cubicBezTo>
                  <a:pt x="10208" y="0"/>
                  <a:pt x="9798" y="315"/>
                  <a:pt x="9704" y="756"/>
                </a:cubicBezTo>
                <a:lnTo>
                  <a:pt x="1985" y="2678"/>
                </a:lnTo>
                <a:cubicBezTo>
                  <a:pt x="1827" y="2331"/>
                  <a:pt x="1449" y="2048"/>
                  <a:pt x="1040" y="2048"/>
                </a:cubicBezTo>
                <a:cubicBezTo>
                  <a:pt x="473" y="2048"/>
                  <a:pt x="0" y="2520"/>
                  <a:pt x="0" y="3056"/>
                </a:cubicBezTo>
                <a:lnTo>
                  <a:pt x="0" y="5828"/>
                </a:lnTo>
                <a:cubicBezTo>
                  <a:pt x="0" y="6364"/>
                  <a:pt x="473" y="6837"/>
                  <a:pt x="1040" y="6837"/>
                </a:cubicBezTo>
                <a:cubicBezTo>
                  <a:pt x="1449" y="6837"/>
                  <a:pt x="1827" y="6616"/>
                  <a:pt x="1985" y="6206"/>
                </a:cubicBezTo>
                <a:lnTo>
                  <a:pt x="2804" y="6427"/>
                </a:lnTo>
                <a:cubicBezTo>
                  <a:pt x="2772" y="6522"/>
                  <a:pt x="2772" y="6679"/>
                  <a:pt x="2772" y="6805"/>
                </a:cubicBezTo>
                <a:cubicBezTo>
                  <a:pt x="2772" y="7939"/>
                  <a:pt x="3655" y="8853"/>
                  <a:pt x="4820" y="8853"/>
                </a:cubicBezTo>
                <a:cubicBezTo>
                  <a:pt x="5324" y="8853"/>
                  <a:pt x="5828" y="8664"/>
                  <a:pt x="6175" y="8317"/>
                </a:cubicBezTo>
                <a:cubicBezTo>
                  <a:pt x="6459" y="8065"/>
                  <a:pt x="6648" y="7719"/>
                  <a:pt x="6774" y="7341"/>
                </a:cubicBezTo>
                <a:lnTo>
                  <a:pt x="9704" y="8065"/>
                </a:lnTo>
                <a:cubicBezTo>
                  <a:pt x="9798" y="8506"/>
                  <a:pt x="10208" y="8821"/>
                  <a:pt x="10680" y="8821"/>
                </a:cubicBezTo>
                <a:cubicBezTo>
                  <a:pt x="11216" y="8821"/>
                  <a:pt x="11688" y="8349"/>
                  <a:pt x="11688" y="7782"/>
                </a:cubicBezTo>
                <a:lnTo>
                  <a:pt x="11688" y="945"/>
                </a:lnTo>
                <a:cubicBezTo>
                  <a:pt x="11688" y="473"/>
                  <a:pt x="11279" y="0"/>
                  <a:pt x="10680"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1326" name="Google Shape;11326;p115"/>
          <p:cNvSpPr/>
          <p:nvPr/>
        </p:nvSpPr>
        <p:spPr>
          <a:xfrm>
            <a:off x="10534655" y="2853713"/>
            <a:ext cx="562552" cy="561012"/>
          </a:xfrm>
          <a:custGeom>
            <a:avLst/>
            <a:gdLst/>
            <a:ahLst/>
            <a:cxnLst/>
            <a:rect l="l" t="t" r="r" b="b"/>
            <a:pathLst>
              <a:path w="11689" h="11657" extrusionOk="0">
                <a:moveTo>
                  <a:pt x="5860" y="662"/>
                </a:moveTo>
                <a:cubicBezTo>
                  <a:pt x="6080" y="662"/>
                  <a:pt x="6238" y="851"/>
                  <a:pt x="6238" y="1040"/>
                </a:cubicBezTo>
                <a:lnTo>
                  <a:pt x="6238" y="1386"/>
                </a:lnTo>
                <a:lnTo>
                  <a:pt x="756" y="1386"/>
                </a:lnTo>
                <a:lnTo>
                  <a:pt x="756" y="1040"/>
                </a:lnTo>
                <a:cubicBezTo>
                  <a:pt x="725" y="851"/>
                  <a:pt x="882" y="662"/>
                  <a:pt x="1071" y="662"/>
                </a:cubicBezTo>
                <a:close/>
                <a:moveTo>
                  <a:pt x="6175" y="2048"/>
                </a:moveTo>
                <a:lnTo>
                  <a:pt x="6175" y="3686"/>
                </a:lnTo>
                <a:cubicBezTo>
                  <a:pt x="5639" y="3686"/>
                  <a:pt x="5198" y="4096"/>
                  <a:pt x="5198" y="4663"/>
                </a:cubicBezTo>
                <a:cubicBezTo>
                  <a:pt x="4820" y="4694"/>
                  <a:pt x="4505" y="4883"/>
                  <a:pt x="4348" y="5261"/>
                </a:cubicBezTo>
                <a:lnTo>
                  <a:pt x="3592" y="4505"/>
                </a:lnTo>
                <a:cubicBezTo>
                  <a:pt x="3403" y="4300"/>
                  <a:pt x="3135" y="4198"/>
                  <a:pt x="2867" y="4198"/>
                </a:cubicBezTo>
                <a:cubicBezTo>
                  <a:pt x="2599" y="4198"/>
                  <a:pt x="2331" y="4300"/>
                  <a:pt x="2142" y="4505"/>
                </a:cubicBezTo>
                <a:cubicBezTo>
                  <a:pt x="1733" y="4883"/>
                  <a:pt x="1733" y="5576"/>
                  <a:pt x="2142" y="5954"/>
                </a:cubicBezTo>
                <a:lnTo>
                  <a:pt x="4505" y="8317"/>
                </a:lnTo>
                <a:lnTo>
                  <a:pt x="4316" y="8317"/>
                </a:lnTo>
                <a:cubicBezTo>
                  <a:pt x="3875" y="8317"/>
                  <a:pt x="3466" y="8601"/>
                  <a:pt x="3308" y="9042"/>
                </a:cubicBezTo>
                <a:lnTo>
                  <a:pt x="725" y="9042"/>
                </a:lnTo>
                <a:lnTo>
                  <a:pt x="725" y="8979"/>
                </a:lnTo>
                <a:lnTo>
                  <a:pt x="725" y="2048"/>
                </a:lnTo>
                <a:close/>
                <a:moveTo>
                  <a:pt x="7640" y="3907"/>
                </a:moveTo>
                <a:cubicBezTo>
                  <a:pt x="7727" y="3907"/>
                  <a:pt x="7813" y="3938"/>
                  <a:pt x="7876" y="4001"/>
                </a:cubicBezTo>
                <a:lnTo>
                  <a:pt x="8664" y="4789"/>
                </a:lnTo>
                <a:cubicBezTo>
                  <a:pt x="9325" y="5450"/>
                  <a:pt x="9861" y="6238"/>
                  <a:pt x="10113" y="7026"/>
                </a:cubicBezTo>
                <a:lnTo>
                  <a:pt x="7530" y="9609"/>
                </a:lnTo>
                <a:lnTo>
                  <a:pt x="4222" y="9609"/>
                </a:lnTo>
                <a:cubicBezTo>
                  <a:pt x="4033" y="9609"/>
                  <a:pt x="3875" y="9451"/>
                  <a:pt x="3875" y="9262"/>
                </a:cubicBezTo>
                <a:cubicBezTo>
                  <a:pt x="3875" y="9073"/>
                  <a:pt x="4033" y="8916"/>
                  <a:pt x="4222" y="8916"/>
                </a:cubicBezTo>
                <a:lnTo>
                  <a:pt x="5230" y="8916"/>
                </a:lnTo>
                <a:cubicBezTo>
                  <a:pt x="5387" y="8916"/>
                  <a:pt x="5513" y="8821"/>
                  <a:pt x="5545" y="8695"/>
                </a:cubicBezTo>
                <a:cubicBezTo>
                  <a:pt x="5608" y="8601"/>
                  <a:pt x="5608" y="8443"/>
                  <a:pt x="5482" y="8349"/>
                </a:cubicBezTo>
                <a:lnTo>
                  <a:pt x="2520" y="5387"/>
                </a:lnTo>
                <a:cubicBezTo>
                  <a:pt x="2394" y="5293"/>
                  <a:pt x="2394" y="5041"/>
                  <a:pt x="2520" y="4915"/>
                </a:cubicBezTo>
                <a:cubicBezTo>
                  <a:pt x="2583" y="4868"/>
                  <a:pt x="2670" y="4844"/>
                  <a:pt x="2757" y="4844"/>
                </a:cubicBezTo>
                <a:cubicBezTo>
                  <a:pt x="2843" y="4844"/>
                  <a:pt x="2930" y="4868"/>
                  <a:pt x="2993" y="4915"/>
                </a:cubicBezTo>
                <a:lnTo>
                  <a:pt x="4442" y="6395"/>
                </a:lnTo>
                <a:lnTo>
                  <a:pt x="5450" y="7372"/>
                </a:lnTo>
                <a:cubicBezTo>
                  <a:pt x="5498" y="7435"/>
                  <a:pt x="5584" y="7467"/>
                  <a:pt x="5675" y="7467"/>
                </a:cubicBezTo>
                <a:cubicBezTo>
                  <a:pt x="5765" y="7467"/>
                  <a:pt x="5860" y="7435"/>
                  <a:pt x="5923" y="7372"/>
                </a:cubicBezTo>
                <a:cubicBezTo>
                  <a:pt x="6017" y="7246"/>
                  <a:pt x="6017" y="7026"/>
                  <a:pt x="5923" y="6900"/>
                </a:cubicBezTo>
                <a:lnTo>
                  <a:pt x="4915" y="5923"/>
                </a:lnTo>
                <a:cubicBezTo>
                  <a:pt x="4820" y="5797"/>
                  <a:pt x="4820" y="5545"/>
                  <a:pt x="4915" y="5450"/>
                </a:cubicBezTo>
                <a:cubicBezTo>
                  <a:pt x="4978" y="5387"/>
                  <a:pt x="5072" y="5356"/>
                  <a:pt x="5163" y="5356"/>
                </a:cubicBezTo>
                <a:cubicBezTo>
                  <a:pt x="5253" y="5356"/>
                  <a:pt x="5340" y="5387"/>
                  <a:pt x="5387" y="5450"/>
                </a:cubicBezTo>
                <a:lnTo>
                  <a:pt x="6396" y="6427"/>
                </a:lnTo>
                <a:cubicBezTo>
                  <a:pt x="6443" y="6490"/>
                  <a:pt x="6529" y="6522"/>
                  <a:pt x="6620" y="6522"/>
                </a:cubicBezTo>
                <a:cubicBezTo>
                  <a:pt x="6711" y="6522"/>
                  <a:pt x="6805" y="6490"/>
                  <a:pt x="6868" y="6427"/>
                </a:cubicBezTo>
                <a:cubicBezTo>
                  <a:pt x="6963" y="6301"/>
                  <a:pt x="6963" y="6080"/>
                  <a:pt x="6868" y="5954"/>
                </a:cubicBezTo>
                <a:lnTo>
                  <a:pt x="5860" y="4978"/>
                </a:lnTo>
                <a:cubicBezTo>
                  <a:pt x="5765" y="4852"/>
                  <a:pt x="5765" y="4631"/>
                  <a:pt x="5860" y="4505"/>
                </a:cubicBezTo>
                <a:cubicBezTo>
                  <a:pt x="5923" y="4442"/>
                  <a:pt x="6017" y="4411"/>
                  <a:pt x="6108" y="4411"/>
                </a:cubicBezTo>
                <a:cubicBezTo>
                  <a:pt x="6199" y="4411"/>
                  <a:pt x="6285" y="4442"/>
                  <a:pt x="6333" y="4505"/>
                </a:cubicBezTo>
                <a:lnTo>
                  <a:pt x="7341" y="5482"/>
                </a:lnTo>
                <a:cubicBezTo>
                  <a:pt x="7388" y="5545"/>
                  <a:pt x="7475" y="5576"/>
                  <a:pt x="7565" y="5576"/>
                </a:cubicBezTo>
                <a:cubicBezTo>
                  <a:pt x="7656" y="5576"/>
                  <a:pt x="7750" y="5545"/>
                  <a:pt x="7813" y="5482"/>
                </a:cubicBezTo>
                <a:cubicBezTo>
                  <a:pt x="7908" y="5356"/>
                  <a:pt x="7908" y="5135"/>
                  <a:pt x="7813" y="5009"/>
                </a:cubicBezTo>
                <a:lnTo>
                  <a:pt x="7341" y="4537"/>
                </a:lnTo>
                <a:cubicBezTo>
                  <a:pt x="7278" y="4348"/>
                  <a:pt x="7278" y="4096"/>
                  <a:pt x="7404" y="4001"/>
                </a:cubicBezTo>
                <a:cubicBezTo>
                  <a:pt x="7467" y="3938"/>
                  <a:pt x="7553" y="3907"/>
                  <a:pt x="7640" y="3907"/>
                </a:cubicBezTo>
                <a:close/>
                <a:moveTo>
                  <a:pt x="10554" y="7624"/>
                </a:moveTo>
                <a:lnTo>
                  <a:pt x="10806" y="7845"/>
                </a:lnTo>
                <a:cubicBezTo>
                  <a:pt x="10964" y="8002"/>
                  <a:pt x="10964" y="8191"/>
                  <a:pt x="10806" y="8317"/>
                </a:cubicBezTo>
                <a:lnTo>
                  <a:pt x="8853" y="10239"/>
                </a:lnTo>
                <a:cubicBezTo>
                  <a:pt x="8806" y="10302"/>
                  <a:pt x="8719" y="10334"/>
                  <a:pt x="8628" y="10334"/>
                </a:cubicBezTo>
                <a:cubicBezTo>
                  <a:pt x="8538" y="10334"/>
                  <a:pt x="8443" y="10302"/>
                  <a:pt x="8380" y="10239"/>
                </a:cubicBezTo>
                <a:lnTo>
                  <a:pt x="8160" y="10019"/>
                </a:lnTo>
                <a:lnTo>
                  <a:pt x="10554" y="7624"/>
                </a:lnTo>
                <a:close/>
                <a:moveTo>
                  <a:pt x="3277" y="9672"/>
                </a:moveTo>
                <a:cubicBezTo>
                  <a:pt x="3434" y="10050"/>
                  <a:pt x="3781" y="10334"/>
                  <a:pt x="4222" y="10334"/>
                </a:cubicBezTo>
                <a:lnTo>
                  <a:pt x="6143" y="10334"/>
                </a:lnTo>
                <a:lnTo>
                  <a:pt x="6143" y="10680"/>
                </a:lnTo>
                <a:lnTo>
                  <a:pt x="6175" y="10680"/>
                </a:lnTo>
                <a:cubicBezTo>
                  <a:pt x="6175" y="10869"/>
                  <a:pt x="6017" y="11027"/>
                  <a:pt x="5828" y="11027"/>
                </a:cubicBezTo>
                <a:lnTo>
                  <a:pt x="1040" y="11027"/>
                </a:lnTo>
                <a:cubicBezTo>
                  <a:pt x="819" y="11027"/>
                  <a:pt x="662" y="10869"/>
                  <a:pt x="662" y="10680"/>
                </a:cubicBezTo>
                <a:lnTo>
                  <a:pt x="662" y="9672"/>
                </a:lnTo>
                <a:close/>
                <a:moveTo>
                  <a:pt x="1040" y="0"/>
                </a:moveTo>
                <a:cubicBezTo>
                  <a:pt x="473" y="0"/>
                  <a:pt x="0" y="473"/>
                  <a:pt x="0" y="1040"/>
                </a:cubicBezTo>
                <a:lnTo>
                  <a:pt x="0" y="10649"/>
                </a:lnTo>
                <a:cubicBezTo>
                  <a:pt x="0" y="11184"/>
                  <a:pt x="473" y="11657"/>
                  <a:pt x="1040" y="11657"/>
                </a:cubicBezTo>
                <a:lnTo>
                  <a:pt x="5828" y="11657"/>
                </a:lnTo>
                <a:cubicBezTo>
                  <a:pt x="6396" y="11657"/>
                  <a:pt x="6868" y="11184"/>
                  <a:pt x="6868" y="10649"/>
                </a:cubicBezTo>
                <a:lnTo>
                  <a:pt x="6868" y="10334"/>
                </a:lnTo>
                <a:lnTo>
                  <a:pt x="7467" y="10334"/>
                </a:lnTo>
                <a:lnTo>
                  <a:pt x="7876" y="10775"/>
                </a:lnTo>
                <a:cubicBezTo>
                  <a:pt x="8081" y="10964"/>
                  <a:pt x="8349" y="11058"/>
                  <a:pt x="8613" y="11058"/>
                </a:cubicBezTo>
                <a:cubicBezTo>
                  <a:pt x="8877" y="11058"/>
                  <a:pt x="9136" y="10964"/>
                  <a:pt x="9325" y="10775"/>
                </a:cubicBezTo>
                <a:lnTo>
                  <a:pt x="11279" y="8821"/>
                </a:lnTo>
                <a:cubicBezTo>
                  <a:pt x="11688" y="8443"/>
                  <a:pt x="11688" y="7782"/>
                  <a:pt x="11310" y="7372"/>
                </a:cubicBezTo>
                <a:lnTo>
                  <a:pt x="10869" y="6931"/>
                </a:lnTo>
                <a:cubicBezTo>
                  <a:pt x="10554" y="6080"/>
                  <a:pt x="10082" y="5261"/>
                  <a:pt x="9420" y="4505"/>
                </a:cubicBezTo>
                <a:lnTo>
                  <a:pt x="8380" y="3466"/>
                </a:lnTo>
                <a:cubicBezTo>
                  <a:pt x="8191" y="3277"/>
                  <a:pt x="7931" y="3182"/>
                  <a:pt x="7668" y="3182"/>
                </a:cubicBezTo>
                <a:cubicBezTo>
                  <a:pt x="7404" y="3182"/>
                  <a:pt x="7136" y="3277"/>
                  <a:pt x="6931" y="3466"/>
                </a:cubicBezTo>
                <a:lnTo>
                  <a:pt x="6868" y="3560"/>
                </a:lnTo>
                <a:lnTo>
                  <a:pt x="6868" y="1040"/>
                </a:lnTo>
                <a:cubicBezTo>
                  <a:pt x="6868" y="473"/>
                  <a:pt x="6396" y="0"/>
                  <a:pt x="5828"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nvGrpSpPr>
          <p:cNvPr id="11327" name="Google Shape;11327;p115"/>
          <p:cNvGrpSpPr/>
          <p:nvPr/>
        </p:nvGrpSpPr>
        <p:grpSpPr>
          <a:xfrm>
            <a:off x="10535400" y="3547197"/>
            <a:ext cx="561061" cy="562552"/>
            <a:chOff x="-2060175" y="2768875"/>
            <a:chExt cx="291450" cy="292225"/>
          </a:xfrm>
        </p:grpSpPr>
        <p:sp>
          <p:nvSpPr>
            <p:cNvPr id="11328" name="Google Shape;11328;p115"/>
            <p:cNvSpPr/>
            <p:nvPr/>
          </p:nvSpPr>
          <p:spPr>
            <a:xfrm>
              <a:off x="-2060175" y="2768875"/>
              <a:ext cx="291450" cy="292225"/>
            </a:xfrm>
            <a:custGeom>
              <a:avLst/>
              <a:gdLst/>
              <a:ahLst/>
              <a:cxnLst/>
              <a:rect l="l" t="t" r="r" b="b"/>
              <a:pathLst>
                <a:path w="11658" h="11689" extrusionOk="0">
                  <a:moveTo>
                    <a:pt x="10649" y="662"/>
                  </a:moveTo>
                  <a:cubicBezTo>
                    <a:pt x="10838" y="662"/>
                    <a:pt x="10996" y="820"/>
                    <a:pt x="10996" y="1009"/>
                  </a:cubicBezTo>
                  <a:cubicBezTo>
                    <a:pt x="10996" y="1198"/>
                    <a:pt x="10838" y="1355"/>
                    <a:pt x="10649" y="1355"/>
                  </a:cubicBezTo>
                  <a:lnTo>
                    <a:pt x="1040" y="1355"/>
                  </a:lnTo>
                  <a:cubicBezTo>
                    <a:pt x="851" y="1355"/>
                    <a:pt x="694" y="1198"/>
                    <a:pt x="694" y="1009"/>
                  </a:cubicBezTo>
                  <a:cubicBezTo>
                    <a:pt x="694" y="820"/>
                    <a:pt x="851" y="662"/>
                    <a:pt x="1040" y="662"/>
                  </a:cubicBezTo>
                  <a:close/>
                  <a:moveTo>
                    <a:pt x="10303" y="2049"/>
                  </a:moveTo>
                  <a:lnTo>
                    <a:pt x="10303" y="7908"/>
                  </a:lnTo>
                  <a:cubicBezTo>
                    <a:pt x="10334" y="8097"/>
                    <a:pt x="10177" y="8255"/>
                    <a:pt x="9988" y="8255"/>
                  </a:cubicBezTo>
                  <a:lnTo>
                    <a:pt x="1702" y="8255"/>
                  </a:lnTo>
                  <a:cubicBezTo>
                    <a:pt x="1513" y="8255"/>
                    <a:pt x="1355" y="8097"/>
                    <a:pt x="1355" y="7908"/>
                  </a:cubicBezTo>
                  <a:lnTo>
                    <a:pt x="1355" y="2049"/>
                  </a:lnTo>
                  <a:close/>
                  <a:moveTo>
                    <a:pt x="5797" y="10271"/>
                  </a:moveTo>
                  <a:cubicBezTo>
                    <a:pt x="5986" y="10271"/>
                    <a:pt x="6144" y="10429"/>
                    <a:pt x="6144" y="10618"/>
                  </a:cubicBezTo>
                  <a:cubicBezTo>
                    <a:pt x="6144" y="10807"/>
                    <a:pt x="5986" y="10964"/>
                    <a:pt x="5797" y="10964"/>
                  </a:cubicBezTo>
                  <a:cubicBezTo>
                    <a:pt x="5608" y="10964"/>
                    <a:pt x="5451" y="10807"/>
                    <a:pt x="5451" y="10618"/>
                  </a:cubicBezTo>
                  <a:cubicBezTo>
                    <a:pt x="5451" y="10429"/>
                    <a:pt x="5608" y="10271"/>
                    <a:pt x="5797" y="10271"/>
                  </a:cubicBezTo>
                  <a:close/>
                  <a:moveTo>
                    <a:pt x="1040" y="1"/>
                  </a:moveTo>
                  <a:cubicBezTo>
                    <a:pt x="473" y="1"/>
                    <a:pt x="1" y="473"/>
                    <a:pt x="1" y="1009"/>
                  </a:cubicBezTo>
                  <a:cubicBezTo>
                    <a:pt x="1" y="1450"/>
                    <a:pt x="284" y="1828"/>
                    <a:pt x="694" y="1986"/>
                  </a:cubicBezTo>
                  <a:lnTo>
                    <a:pt x="694" y="7908"/>
                  </a:lnTo>
                  <a:cubicBezTo>
                    <a:pt x="694" y="8444"/>
                    <a:pt x="1166" y="8917"/>
                    <a:pt x="1702" y="8917"/>
                  </a:cubicBezTo>
                  <a:lnTo>
                    <a:pt x="5482" y="8917"/>
                  </a:lnTo>
                  <a:lnTo>
                    <a:pt x="5482" y="9673"/>
                  </a:lnTo>
                  <a:cubicBezTo>
                    <a:pt x="5104" y="9830"/>
                    <a:pt x="4821" y="10177"/>
                    <a:pt x="4821" y="10649"/>
                  </a:cubicBezTo>
                  <a:cubicBezTo>
                    <a:pt x="4821" y="11216"/>
                    <a:pt x="5293" y="11689"/>
                    <a:pt x="5829" y="11689"/>
                  </a:cubicBezTo>
                  <a:cubicBezTo>
                    <a:pt x="6396" y="11689"/>
                    <a:pt x="6869" y="11216"/>
                    <a:pt x="6869" y="10649"/>
                  </a:cubicBezTo>
                  <a:cubicBezTo>
                    <a:pt x="6869" y="10240"/>
                    <a:pt x="6585" y="9830"/>
                    <a:pt x="6207" y="9673"/>
                  </a:cubicBezTo>
                  <a:lnTo>
                    <a:pt x="6207" y="8917"/>
                  </a:lnTo>
                  <a:lnTo>
                    <a:pt x="10019" y="8917"/>
                  </a:lnTo>
                  <a:cubicBezTo>
                    <a:pt x="10555" y="8917"/>
                    <a:pt x="11027" y="8444"/>
                    <a:pt x="11027" y="7908"/>
                  </a:cubicBezTo>
                  <a:lnTo>
                    <a:pt x="11027" y="1986"/>
                  </a:lnTo>
                  <a:cubicBezTo>
                    <a:pt x="11405" y="1828"/>
                    <a:pt x="11657" y="1450"/>
                    <a:pt x="11657" y="1009"/>
                  </a:cubicBezTo>
                  <a:cubicBezTo>
                    <a:pt x="11657" y="473"/>
                    <a:pt x="11185" y="1"/>
                    <a:pt x="10649"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1329" name="Google Shape;11329;p115"/>
            <p:cNvSpPr/>
            <p:nvPr/>
          </p:nvSpPr>
          <p:spPr>
            <a:xfrm>
              <a:off x="-2008975" y="2855525"/>
              <a:ext cx="189050" cy="84500"/>
            </a:xfrm>
            <a:custGeom>
              <a:avLst/>
              <a:gdLst/>
              <a:ahLst/>
              <a:cxnLst/>
              <a:rect l="l" t="t" r="r" b="b"/>
              <a:pathLst>
                <a:path w="7562" h="3380" extrusionOk="0">
                  <a:moveTo>
                    <a:pt x="6553" y="0"/>
                  </a:moveTo>
                  <a:cubicBezTo>
                    <a:pt x="6144" y="0"/>
                    <a:pt x="6081" y="504"/>
                    <a:pt x="6427" y="662"/>
                  </a:cubicBezTo>
                  <a:lnTo>
                    <a:pt x="4474" y="2584"/>
                  </a:lnTo>
                  <a:lnTo>
                    <a:pt x="2647" y="788"/>
                  </a:lnTo>
                  <a:cubicBezTo>
                    <a:pt x="2584" y="725"/>
                    <a:pt x="2497" y="693"/>
                    <a:pt x="2410" y="693"/>
                  </a:cubicBezTo>
                  <a:cubicBezTo>
                    <a:pt x="2324" y="693"/>
                    <a:pt x="2237" y="725"/>
                    <a:pt x="2174" y="788"/>
                  </a:cubicBezTo>
                  <a:lnTo>
                    <a:pt x="126" y="2836"/>
                  </a:lnTo>
                  <a:cubicBezTo>
                    <a:pt x="0" y="2930"/>
                    <a:pt x="0" y="3182"/>
                    <a:pt x="126" y="3308"/>
                  </a:cubicBezTo>
                  <a:cubicBezTo>
                    <a:pt x="189" y="3356"/>
                    <a:pt x="276" y="3379"/>
                    <a:pt x="363" y="3379"/>
                  </a:cubicBezTo>
                  <a:cubicBezTo>
                    <a:pt x="449" y="3379"/>
                    <a:pt x="536" y="3356"/>
                    <a:pt x="599" y="3308"/>
                  </a:cubicBezTo>
                  <a:lnTo>
                    <a:pt x="2426" y="1481"/>
                  </a:lnTo>
                  <a:lnTo>
                    <a:pt x="4222" y="3308"/>
                  </a:lnTo>
                  <a:cubicBezTo>
                    <a:pt x="4285" y="3356"/>
                    <a:pt x="4372" y="3379"/>
                    <a:pt x="4458" y="3379"/>
                  </a:cubicBezTo>
                  <a:cubicBezTo>
                    <a:pt x="4545" y="3379"/>
                    <a:pt x="4632" y="3356"/>
                    <a:pt x="4695" y="3308"/>
                  </a:cubicBezTo>
                  <a:lnTo>
                    <a:pt x="6900" y="1134"/>
                  </a:lnTo>
                  <a:cubicBezTo>
                    <a:pt x="6931" y="1260"/>
                    <a:pt x="7057" y="1355"/>
                    <a:pt x="7215" y="1355"/>
                  </a:cubicBezTo>
                  <a:cubicBezTo>
                    <a:pt x="7404" y="1355"/>
                    <a:pt x="7562" y="1197"/>
                    <a:pt x="7562" y="1008"/>
                  </a:cubicBezTo>
                  <a:lnTo>
                    <a:pt x="7562" y="347"/>
                  </a:lnTo>
                  <a:cubicBezTo>
                    <a:pt x="7562" y="158"/>
                    <a:pt x="7467" y="0"/>
                    <a:pt x="7246"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11330" name="Google Shape;11330;p115"/>
          <p:cNvGrpSpPr/>
          <p:nvPr/>
        </p:nvGrpSpPr>
        <p:grpSpPr>
          <a:xfrm>
            <a:off x="2553547" y="4309428"/>
            <a:ext cx="562552" cy="561061"/>
            <a:chOff x="-937025" y="2064750"/>
            <a:chExt cx="292225" cy="291450"/>
          </a:xfrm>
        </p:grpSpPr>
        <p:sp>
          <p:nvSpPr>
            <p:cNvPr id="11331" name="Google Shape;11331;p115"/>
            <p:cNvSpPr/>
            <p:nvPr/>
          </p:nvSpPr>
          <p:spPr>
            <a:xfrm>
              <a:off x="-834625" y="2134850"/>
              <a:ext cx="86650" cy="85075"/>
            </a:xfrm>
            <a:custGeom>
              <a:avLst/>
              <a:gdLst/>
              <a:ahLst/>
              <a:cxnLst/>
              <a:rect l="l" t="t" r="r" b="b"/>
              <a:pathLst>
                <a:path w="3466" h="3403" extrusionOk="0">
                  <a:moveTo>
                    <a:pt x="1702" y="599"/>
                  </a:moveTo>
                  <a:cubicBezTo>
                    <a:pt x="1922" y="599"/>
                    <a:pt x="2080" y="788"/>
                    <a:pt x="2080" y="977"/>
                  </a:cubicBezTo>
                  <a:cubicBezTo>
                    <a:pt x="2080" y="1166"/>
                    <a:pt x="1922" y="1324"/>
                    <a:pt x="1702" y="1324"/>
                  </a:cubicBezTo>
                  <a:cubicBezTo>
                    <a:pt x="1512" y="1324"/>
                    <a:pt x="1355" y="1166"/>
                    <a:pt x="1355" y="977"/>
                  </a:cubicBezTo>
                  <a:cubicBezTo>
                    <a:pt x="1355" y="788"/>
                    <a:pt x="1512" y="599"/>
                    <a:pt x="1702" y="599"/>
                  </a:cubicBezTo>
                  <a:close/>
                  <a:moveTo>
                    <a:pt x="1765" y="2048"/>
                  </a:moveTo>
                  <a:cubicBezTo>
                    <a:pt x="2174" y="2048"/>
                    <a:pt x="2584" y="2300"/>
                    <a:pt x="2741" y="2710"/>
                  </a:cubicBezTo>
                  <a:lnTo>
                    <a:pt x="756" y="2710"/>
                  </a:lnTo>
                  <a:cubicBezTo>
                    <a:pt x="914" y="2300"/>
                    <a:pt x="1292" y="2048"/>
                    <a:pt x="1765" y="2048"/>
                  </a:cubicBezTo>
                  <a:close/>
                  <a:moveTo>
                    <a:pt x="1702" y="0"/>
                  </a:moveTo>
                  <a:cubicBezTo>
                    <a:pt x="1166" y="0"/>
                    <a:pt x="693" y="441"/>
                    <a:pt x="693" y="1009"/>
                  </a:cubicBezTo>
                  <a:cubicBezTo>
                    <a:pt x="693" y="1198"/>
                    <a:pt x="788" y="1387"/>
                    <a:pt x="851" y="1576"/>
                  </a:cubicBezTo>
                  <a:cubicBezTo>
                    <a:pt x="347" y="1891"/>
                    <a:pt x="0" y="2426"/>
                    <a:pt x="0" y="3056"/>
                  </a:cubicBezTo>
                  <a:cubicBezTo>
                    <a:pt x="0" y="3245"/>
                    <a:pt x="158" y="3403"/>
                    <a:pt x="347" y="3403"/>
                  </a:cubicBezTo>
                  <a:lnTo>
                    <a:pt x="3088" y="3403"/>
                  </a:lnTo>
                  <a:cubicBezTo>
                    <a:pt x="3308" y="3403"/>
                    <a:pt x="3466" y="3245"/>
                    <a:pt x="3466" y="3056"/>
                  </a:cubicBezTo>
                  <a:cubicBezTo>
                    <a:pt x="3434" y="2426"/>
                    <a:pt x="3088" y="1828"/>
                    <a:pt x="2584" y="1576"/>
                  </a:cubicBezTo>
                  <a:cubicBezTo>
                    <a:pt x="2710" y="1387"/>
                    <a:pt x="2741" y="1198"/>
                    <a:pt x="2741" y="1009"/>
                  </a:cubicBezTo>
                  <a:cubicBezTo>
                    <a:pt x="2741" y="441"/>
                    <a:pt x="2269" y="0"/>
                    <a:pt x="1702"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1332" name="Google Shape;11332;p115"/>
            <p:cNvSpPr/>
            <p:nvPr/>
          </p:nvSpPr>
          <p:spPr>
            <a:xfrm>
              <a:off x="-936225" y="2304975"/>
              <a:ext cx="289850" cy="51225"/>
            </a:xfrm>
            <a:custGeom>
              <a:avLst/>
              <a:gdLst/>
              <a:ahLst/>
              <a:cxnLst/>
              <a:rect l="l" t="t" r="r" b="b"/>
              <a:pathLst>
                <a:path w="11594" h="2049" extrusionOk="0">
                  <a:moveTo>
                    <a:pt x="3056" y="662"/>
                  </a:moveTo>
                  <a:cubicBezTo>
                    <a:pt x="3277" y="662"/>
                    <a:pt x="3434" y="820"/>
                    <a:pt x="3434" y="1009"/>
                  </a:cubicBezTo>
                  <a:cubicBezTo>
                    <a:pt x="3434" y="1229"/>
                    <a:pt x="3277" y="1387"/>
                    <a:pt x="3056" y="1387"/>
                  </a:cubicBezTo>
                  <a:lnTo>
                    <a:pt x="1008" y="1387"/>
                  </a:lnTo>
                  <a:cubicBezTo>
                    <a:pt x="819" y="1387"/>
                    <a:pt x="662" y="1229"/>
                    <a:pt x="662" y="1009"/>
                  </a:cubicBezTo>
                  <a:cubicBezTo>
                    <a:pt x="662" y="820"/>
                    <a:pt x="819" y="662"/>
                    <a:pt x="1008" y="662"/>
                  </a:cubicBezTo>
                  <a:close/>
                  <a:moveTo>
                    <a:pt x="10586" y="693"/>
                  </a:moveTo>
                  <a:cubicBezTo>
                    <a:pt x="10775" y="693"/>
                    <a:pt x="10932" y="851"/>
                    <a:pt x="10932" y="1072"/>
                  </a:cubicBezTo>
                  <a:cubicBezTo>
                    <a:pt x="10901" y="1229"/>
                    <a:pt x="10775" y="1387"/>
                    <a:pt x="10586" y="1387"/>
                  </a:cubicBezTo>
                  <a:lnTo>
                    <a:pt x="4001" y="1387"/>
                  </a:lnTo>
                  <a:cubicBezTo>
                    <a:pt x="4096" y="1166"/>
                    <a:pt x="4096" y="914"/>
                    <a:pt x="4001" y="693"/>
                  </a:cubicBezTo>
                  <a:close/>
                  <a:moveTo>
                    <a:pt x="1008" y="0"/>
                  </a:moveTo>
                  <a:cubicBezTo>
                    <a:pt x="473" y="0"/>
                    <a:pt x="0" y="473"/>
                    <a:pt x="0" y="1009"/>
                  </a:cubicBezTo>
                  <a:cubicBezTo>
                    <a:pt x="0" y="1576"/>
                    <a:pt x="473" y="2048"/>
                    <a:pt x="1008" y="2048"/>
                  </a:cubicBezTo>
                  <a:lnTo>
                    <a:pt x="10586" y="2048"/>
                  </a:lnTo>
                  <a:cubicBezTo>
                    <a:pt x="11121" y="2048"/>
                    <a:pt x="11594" y="1576"/>
                    <a:pt x="11594" y="1009"/>
                  </a:cubicBezTo>
                  <a:cubicBezTo>
                    <a:pt x="11594" y="473"/>
                    <a:pt x="11121" y="0"/>
                    <a:pt x="10586"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1333" name="Google Shape;11333;p115"/>
            <p:cNvSpPr/>
            <p:nvPr/>
          </p:nvSpPr>
          <p:spPr>
            <a:xfrm>
              <a:off x="-937025" y="2064750"/>
              <a:ext cx="292225" cy="223125"/>
            </a:xfrm>
            <a:custGeom>
              <a:avLst/>
              <a:gdLst/>
              <a:ahLst/>
              <a:cxnLst/>
              <a:rect l="l" t="t" r="r" b="b"/>
              <a:pathLst>
                <a:path w="11689" h="8925" extrusionOk="0">
                  <a:moveTo>
                    <a:pt x="3813" y="662"/>
                  </a:moveTo>
                  <a:cubicBezTo>
                    <a:pt x="4002" y="662"/>
                    <a:pt x="4159" y="820"/>
                    <a:pt x="4159" y="1009"/>
                  </a:cubicBezTo>
                  <a:lnTo>
                    <a:pt x="4159" y="1355"/>
                  </a:lnTo>
                  <a:lnTo>
                    <a:pt x="3813" y="1355"/>
                  </a:lnTo>
                  <a:cubicBezTo>
                    <a:pt x="3246" y="1355"/>
                    <a:pt x="2773" y="1828"/>
                    <a:pt x="2773" y="2395"/>
                  </a:cubicBezTo>
                  <a:lnTo>
                    <a:pt x="2773" y="4978"/>
                  </a:lnTo>
                  <a:lnTo>
                    <a:pt x="2080" y="5703"/>
                  </a:lnTo>
                  <a:lnTo>
                    <a:pt x="2080" y="5199"/>
                  </a:lnTo>
                  <a:cubicBezTo>
                    <a:pt x="2080" y="4978"/>
                    <a:pt x="1922" y="4821"/>
                    <a:pt x="1702" y="4821"/>
                  </a:cubicBezTo>
                  <a:lnTo>
                    <a:pt x="1040" y="4821"/>
                  </a:lnTo>
                  <a:cubicBezTo>
                    <a:pt x="851" y="4821"/>
                    <a:pt x="694" y="4663"/>
                    <a:pt x="694" y="4474"/>
                  </a:cubicBezTo>
                  <a:lnTo>
                    <a:pt x="694" y="1009"/>
                  </a:lnTo>
                  <a:cubicBezTo>
                    <a:pt x="694" y="820"/>
                    <a:pt x="851" y="662"/>
                    <a:pt x="1040" y="662"/>
                  </a:cubicBezTo>
                  <a:close/>
                  <a:moveTo>
                    <a:pt x="10649" y="662"/>
                  </a:moveTo>
                  <a:cubicBezTo>
                    <a:pt x="10838" y="662"/>
                    <a:pt x="10996" y="820"/>
                    <a:pt x="10996" y="1009"/>
                  </a:cubicBezTo>
                  <a:lnTo>
                    <a:pt x="10996" y="4474"/>
                  </a:lnTo>
                  <a:cubicBezTo>
                    <a:pt x="10996" y="4695"/>
                    <a:pt x="10838" y="4852"/>
                    <a:pt x="10649" y="4852"/>
                  </a:cubicBezTo>
                  <a:lnTo>
                    <a:pt x="9893" y="4852"/>
                  </a:lnTo>
                  <a:cubicBezTo>
                    <a:pt x="9704" y="4852"/>
                    <a:pt x="9547" y="5010"/>
                    <a:pt x="9547" y="5199"/>
                  </a:cubicBezTo>
                  <a:lnTo>
                    <a:pt x="9547" y="5703"/>
                  </a:lnTo>
                  <a:lnTo>
                    <a:pt x="8885" y="5010"/>
                  </a:lnTo>
                  <a:lnTo>
                    <a:pt x="8885" y="2395"/>
                  </a:lnTo>
                  <a:cubicBezTo>
                    <a:pt x="8885" y="1859"/>
                    <a:pt x="8412" y="1387"/>
                    <a:pt x="7845" y="1387"/>
                  </a:cubicBezTo>
                  <a:lnTo>
                    <a:pt x="7499" y="1387"/>
                  </a:lnTo>
                  <a:lnTo>
                    <a:pt x="7499" y="1009"/>
                  </a:lnTo>
                  <a:cubicBezTo>
                    <a:pt x="7499" y="820"/>
                    <a:pt x="7656" y="662"/>
                    <a:pt x="7845" y="662"/>
                  </a:cubicBezTo>
                  <a:close/>
                  <a:moveTo>
                    <a:pt x="7845" y="2048"/>
                  </a:moveTo>
                  <a:cubicBezTo>
                    <a:pt x="8066" y="2048"/>
                    <a:pt x="8223" y="2206"/>
                    <a:pt x="8223" y="2395"/>
                  </a:cubicBezTo>
                  <a:lnTo>
                    <a:pt x="8223" y="6522"/>
                  </a:lnTo>
                  <a:cubicBezTo>
                    <a:pt x="8223" y="6742"/>
                    <a:pt x="8066" y="6900"/>
                    <a:pt x="7845" y="6900"/>
                  </a:cubicBezTo>
                  <a:lnTo>
                    <a:pt x="6711" y="6900"/>
                  </a:lnTo>
                  <a:cubicBezTo>
                    <a:pt x="6585" y="6900"/>
                    <a:pt x="6491" y="6931"/>
                    <a:pt x="6428" y="7057"/>
                  </a:cubicBezTo>
                  <a:lnTo>
                    <a:pt x="5798" y="8003"/>
                  </a:lnTo>
                  <a:lnTo>
                    <a:pt x="5167" y="7057"/>
                  </a:lnTo>
                  <a:cubicBezTo>
                    <a:pt x="5104" y="6963"/>
                    <a:pt x="5010" y="6900"/>
                    <a:pt x="4915" y="6900"/>
                  </a:cubicBezTo>
                  <a:lnTo>
                    <a:pt x="3750" y="6900"/>
                  </a:lnTo>
                  <a:cubicBezTo>
                    <a:pt x="3561" y="6900"/>
                    <a:pt x="3403" y="6742"/>
                    <a:pt x="3403" y="6522"/>
                  </a:cubicBezTo>
                  <a:lnTo>
                    <a:pt x="3403" y="2395"/>
                  </a:lnTo>
                  <a:cubicBezTo>
                    <a:pt x="3403" y="2206"/>
                    <a:pt x="3561" y="2048"/>
                    <a:pt x="3750" y="2048"/>
                  </a:cubicBezTo>
                  <a:close/>
                  <a:moveTo>
                    <a:pt x="1009" y="0"/>
                  </a:moveTo>
                  <a:cubicBezTo>
                    <a:pt x="473" y="0"/>
                    <a:pt x="1" y="473"/>
                    <a:pt x="1" y="1009"/>
                  </a:cubicBezTo>
                  <a:lnTo>
                    <a:pt x="1" y="4474"/>
                  </a:lnTo>
                  <a:cubicBezTo>
                    <a:pt x="1" y="5041"/>
                    <a:pt x="473" y="5514"/>
                    <a:pt x="1009" y="5514"/>
                  </a:cubicBezTo>
                  <a:lnTo>
                    <a:pt x="1355" y="5514"/>
                  </a:lnTo>
                  <a:lnTo>
                    <a:pt x="1355" y="6522"/>
                  </a:lnTo>
                  <a:cubicBezTo>
                    <a:pt x="1355" y="6736"/>
                    <a:pt x="1544" y="6877"/>
                    <a:pt x="1724" y="6877"/>
                  </a:cubicBezTo>
                  <a:cubicBezTo>
                    <a:pt x="1809" y="6877"/>
                    <a:pt x="1893" y="6845"/>
                    <a:pt x="1954" y="6774"/>
                  </a:cubicBezTo>
                  <a:lnTo>
                    <a:pt x="2742" y="5986"/>
                  </a:lnTo>
                  <a:lnTo>
                    <a:pt x="2742" y="6522"/>
                  </a:lnTo>
                  <a:cubicBezTo>
                    <a:pt x="2742" y="7089"/>
                    <a:pt x="3214" y="7562"/>
                    <a:pt x="3781" y="7562"/>
                  </a:cubicBezTo>
                  <a:lnTo>
                    <a:pt x="4726" y="7562"/>
                  </a:lnTo>
                  <a:lnTo>
                    <a:pt x="5545" y="8759"/>
                  </a:lnTo>
                  <a:cubicBezTo>
                    <a:pt x="5608" y="8869"/>
                    <a:pt x="5719" y="8924"/>
                    <a:pt x="5825" y="8924"/>
                  </a:cubicBezTo>
                  <a:cubicBezTo>
                    <a:pt x="5931" y="8924"/>
                    <a:pt x="6034" y="8869"/>
                    <a:pt x="6081" y="8759"/>
                  </a:cubicBezTo>
                  <a:lnTo>
                    <a:pt x="6932" y="7562"/>
                  </a:lnTo>
                  <a:lnTo>
                    <a:pt x="7877" y="7562"/>
                  </a:lnTo>
                  <a:cubicBezTo>
                    <a:pt x="8412" y="7562"/>
                    <a:pt x="8885" y="7089"/>
                    <a:pt x="8885" y="6522"/>
                  </a:cubicBezTo>
                  <a:lnTo>
                    <a:pt x="8885" y="5986"/>
                  </a:lnTo>
                  <a:lnTo>
                    <a:pt x="9673" y="6774"/>
                  </a:lnTo>
                  <a:cubicBezTo>
                    <a:pt x="9733" y="6845"/>
                    <a:pt x="9817" y="6877"/>
                    <a:pt x="9903" y="6877"/>
                  </a:cubicBezTo>
                  <a:cubicBezTo>
                    <a:pt x="10083" y="6877"/>
                    <a:pt x="10271" y="6736"/>
                    <a:pt x="10271" y="6522"/>
                  </a:cubicBezTo>
                  <a:lnTo>
                    <a:pt x="10271" y="5514"/>
                  </a:lnTo>
                  <a:lnTo>
                    <a:pt x="10649" y="5514"/>
                  </a:lnTo>
                  <a:cubicBezTo>
                    <a:pt x="11216" y="5514"/>
                    <a:pt x="11689" y="5041"/>
                    <a:pt x="11689" y="4474"/>
                  </a:cubicBezTo>
                  <a:lnTo>
                    <a:pt x="11689" y="1009"/>
                  </a:lnTo>
                  <a:cubicBezTo>
                    <a:pt x="11689" y="441"/>
                    <a:pt x="11216" y="0"/>
                    <a:pt x="10649" y="0"/>
                  </a:cubicBezTo>
                  <a:lnTo>
                    <a:pt x="7845" y="0"/>
                  </a:lnTo>
                  <a:cubicBezTo>
                    <a:pt x="7310" y="0"/>
                    <a:pt x="6837" y="473"/>
                    <a:pt x="6837" y="1009"/>
                  </a:cubicBezTo>
                  <a:lnTo>
                    <a:pt x="6837" y="1387"/>
                  </a:lnTo>
                  <a:lnTo>
                    <a:pt x="4789" y="1387"/>
                  </a:lnTo>
                  <a:lnTo>
                    <a:pt x="4789" y="1009"/>
                  </a:lnTo>
                  <a:cubicBezTo>
                    <a:pt x="4789" y="473"/>
                    <a:pt x="4317" y="0"/>
                    <a:pt x="3781"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11334" name="Google Shape;11334;p115"/>
          <p:cNvGrpSpPr/>
          <p:nvPr/>
        </p:nvGrpSpPr>
        <p:grpSpPr>
          <a:xfrm>
            <a:off x="4024432" y="2174263"/>
            <a:ext cx="562601" cy="562552"/>
            <a:chOff x="-5276050" y="2037975"/>
            <a:chExt cx="292250" cy="292225"/>
          </a:xfrm>
        </p:grpSpPr>
        <p:sp>
          <p:nvSpPr>
            <p:cNvPr id="11335" name="Google Shape;11335;p115"/>
            <p:cNvSpPr/>
            <p:nvPr/>
          </p:nvSpPr>
          <p:spPr>
            <a:xfrm>
              <a:off x="-5102775" y="2211250"/>
              <a:ext cx="51225" cy="49650"/>
            </a:xfrm>
            <a:custGeom>
              <a:avLst/>
              <a:gdLst/>
              <a:ahLst/>
              <a:cxnLst/>
              <a:rect l="l" t="t" r="r" b="b"/>
              <a:pathLst>
                <a:path w="2049" h="1986" extrusionOk="0">
                  <a:moveTo>
                    <a:pt x="343" y="0"/>
                  </a:moveTo>
                  <a:cubicBezTo>
                    <a:pt x="253" y="0"/>
                    <a:pt x="158" y="32"/>
                    <a:pt x="95" y="95"/>
                  </a:cubicBezTo>
                  <a:cubicBezTo>
                    <a:pt x="1" y="189"/>
                    <a:pt x="1" y="441"/>
                    <a:pt x="95" y="536"/>
                  </a:cubicBezTo>
                  <a:lnTo>
                    <a:pt x="536" y="977"/>
                  </a:lnTo>
                  <a:lnTo>
                    <a:pt x="95" y="1418"/>
                  </a:lnTo>
                  <a:cubicBezTo>
                    <a:pt x="1" y="1544"/>
                    <a:pt x="1" y="1765"/>
                    <a:pt x="95" y="1891"/>
                  </a:cubicBezTo>
                  <a:cubicBezTo>
                    <a:pt x="158" y="1954"/>
                    <a:pt x="253" y="1985"/>
                    <a:pt x="343" y="1985"/>
                  </a:cubicBezTo>
                  <a:cubicBezTo>
                    <a:pt x="434" y="1985"/>
                    <a:pt x="521" y="1954"/>
                    <a:pt x="568" y="1891"/>
                  </a:cubicBezTo>
                  <a:lnTo>
                    <a:pt x="1009" y="1450"/>
                  </a:lnTo>
                  <a:lnTo>
                    <a:pt x="1450" y="1891"/>
                  </a:lnTo>
                  <a:cubicBezTo>
                    <a:pt x="1513" y="1954"/>
                    <a:pt x="1600" y="1985"/>
                    <a:pt x="1686" y="1985"/>
                  </a:cubicBezTo>
                  <a:cubicBezTo>
                    <a:pt x="1773" y="1985"/>
                    <a:pt x="1860" y="1954"/>
                    <a:pt x="1923" y="1891"/>
                  </a:cubicBezTo>
                  <a:cubicBezTo>
                    <a:pt x="2049" y="1765"/>
                    <a:pt x="2049" y="1544"/>
                    <a:pt x="1923" y="1418"/>
                  </a:cubicBezTo>
                  <a:lnTo>
                    <a:pt x="1482" y="977"/>
                  </a:lnTo>
                  <a:lnTo>
                    <a:pt x="1923" y="536"/>
                  </a:lnTo>
                  <a:cubicBezTo>
                    <a:pt x="2049" y="441"/>
                    <a:pt x="2049" y="189"/>
                    <a:pt x="1923" y="95"/>
                  </a:cubicBezTo>
                  <a:cubicBezTo>
                    <a:pt x="1860" y="32"/>
                    <a:pt x="1773" y="0"/>
                    <a:pt x="1686" y="0"/>
                  </a:cubicBezTo>
                  <a:cubicBezTo>
                    <a:pt x="1600" y="0"/>
                    <a:pt x="1513" y="32"/>
                    <a:pt x="1450" y="95"/>
                  </a:cubicBezTo>
                  <a:lnTo>
                    <a:pt x="1009" y="504"/>
                  </a:lnTo>
                  <a:lnTo>
                    <a:pt x="568" y="95"/>
                  </a:lnTo>
                  <a:cubicBezTo>
                    <a:pt x="521" y="32"/>
                    <a:pt x="434" y="0"/>
                    <a:pt x="343"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1336" name="Google Shape;11336;p115"/>
            <p:cNvSpPr/>
            <p:nvPr/>
          </p:nvSpPr>
          <p:spPr>
            <a:xfrm>
              <a:off x="-5224050" y="2107875"/>
              <a:ext cx="51200" cy="49825"/>
            </a:xfrm>
            <a:custGeom>
              <a:avLst/>
              <a:gdLst/>
              <a:ahLst/>
              <a:cxnLst/>
              <a:rect l="l" t="t" r="r" b="b"/>
              <a:pathLst>
                <a:path w="2048" h="1993" extrusionOk="0">
                  <a:moveTo>
                    <a:pt x="351" y="0"/>
                  </a:moveTo>
                  <a:cubicBezTo>
                    <a:pt x="260" y="0"/>
                    <a:pt x="173" y="24"/>
                    <a:pt x="126" y="71"/>
                  </a:cubicBezTo>
                  <a:cubicBezTo>
                    <a:pt x="0" y="197"/>
                    <a:pt x="0" y="449"/>
                    <a:pt x="126" y="544"/>
                  </a:cubicBezTo>
                  <a:lnTo>
                    <a:pt x="536" y="985"/>
                  </a:lnTo>
                  <a:lnTo>
                    <a:pt x="126" y="1426"/>
                  </a:lnTo>
                  <a:cubicBezTo>
                    <a:pt x="0" y="1552"/>
                    <a:pt x="0" y="1772"/>
                    <a:pt x="126" y="1898"/>
                  </a:cubicBezTo>
                  <a:cubicBezTo>
                    <a:pt x="173" y="1961"/>
                    <a:pt x="260" y="1993"/>
                    <a:pt x="351" y="1993"/>
                  </a:cubicBezTo>
                  <a:cubicBezTo>
                    <a:pt x="441" y="1993"/>
                    <a:pt x="536" y="1961"/>
                    <a:pt x="599" y="1898"/>
                  </a:cubicBezTo>
                  <a:lnTo>
                    <a:pt x="1008" y="1457"/>
                  </a:lnTo>
                  <a:lnTo>
                    <a:pt x="1449" y="1898"/>
                  </a:lnTo>
                  <a:cubicBezTo>
                    <a:pt x="1512" y="1961"/>
                    <a:pt x="1599" y="1993"/>
                    <a:pt x="1686" y="1993"/>
                  </a:cubicBezTo>
                  <a:cubicBezTo>
                    <a:pt x="1772" y="1993"/>
                    <a:pt x="1859" y="1961"/>
                    <a:pt x="1922" y="1898"/>
                  </a:cubicBezTo>
                  <a:cubicBezTo>
                    <a:pt x="2048" y="1772"/>
                    <a:pt x="2048" y="1520"/>
                    <a:pt x="1922" y="1426"/>
                  </a:cubicBezTo>
                  <a:lnTo>
                    <a:pt x="1481" y="985"/>
                  </a:lnTo>
                  <a:lnTo>
                    <a:pt x="1922" y="544"/>
                  </a:lnTo>
                  <a:cubicBezTo>
                    <a:pt x="2048" y="449"/>
                    <a:pt x="2048" y="197"/>
                    <a:pt x="1922" y="71"/>
                  </a:cubicBezTo>
                  <a:cubicBezTo>
                    <a:pt x="1875" y="24"/>
                    <a:pt x="1788" y="0"/>
                    <a:pt x="1697" y="0"/>
                  </a:cubicBezTo>
                  <a:cubicBezTo>
                    <a:pt x="1607" y="0"/>
                    <a:pt x="1512" y="24"/>
                    <a:pt x="1449" y="71"/>
                  </a:cubicBezTo>
                  <a:lnTo>
                    <a:pt x="1008" y="512"/>
                  </a:lnTo>
                  <a:lnTo>
                    <a:pt x="599" y="71"/>
                  </a:lnTo>
                  <a:cubicBezTo>
                    <a:pt x="536" y="24"/>
                    <a:pt x="441" y="0"/>
                    <a:pt x="351"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1337" name="Google Shape;11337;p115"/>
            <p:cNvSpPr/>
            <p:nvPr/>
          </p:nvSpPr>
          <p:spPr>
            <a:xfrm>
              <a:off x="-5276050" y="2037975"/>
              <a:ext cx="292250" cy="292225"/>
            </a:xfrm>
            <a:custGeom>
              <a:avLst/>
              <a:gdLst/>
              <a:ahLst/>
              <a:cxnLst/>
              <a:rect l="l" t="t" r="r" b="b"/>
              <a:pathLst>
                <a:path w="11690" h="11689" extrusionOk="0">
                  <a:moveTo>
                    <a:pt x="10334" y="3119"/>
                  </a:moveTo>
                  <a:cubicBezTo>
                    <a:pt x="10712" y="3119"/>
                    <a:pt x="11028" y="3403"/>
                    <a:pt x="11028" y="3781"/>
                  </a:cubicBezTo>
                  <a:cubicBezTo>
                    <a:pt x="11028" y="4190"/>
                    <a:pt x="10712" y="4442"/>
                    <a:pt x="10334" y="4442"/>
                  </a:cubicBezTo>
                  <a:cubicBezTo>
                    <a:pt x="9956" y="4442"/>
                    <a:pt x="9673" y="4127"/>
                    <a:pt x="9673" y="3781"/>
                  </a:cubicBezTo>
                  <a:cubicBezTo>
                    <a:pt x="9673" y="3403"/>
                    <a:pt x="9988" y="3119"/>
                    <a:pt x="10334" y="3119"/>
                  </a:cubicBezTo>
                  <a:close/>
                  <a:moveTo>
                    <a:pt x="4443" y="7593"/>
                  </a:moveTo>
                  <a:cubicBezTo>
                    <a:pt x="4853" y="7593"/>
                    <a:pt x="5105" y="7908"/>
                    <a:pt x="5105" y="8255"/>
                  </a:cubicBezTo>
                  <a:cubicBezTo>
                    <a:pt x="5105" y="8664"/>
                    <a:pt x="4790" y="8948"/>
                    <a:pt x="4443" y="8948"/>
                  </a:cubicBezTo>
                  <a:cubicBezTo>
                    <a:pt x="4065" y="8948"/>
                    <a:pt x="3781" y="8633"/>
                    <a:pt x="3781" y="8255"/>
                  </a:cubicBezTo>
                  <a:cubicBezTo>
                    <a:pt x="3781" y="7876"/>
                    <a:pt x="4096" y="7593"/>
                    <a:pt x="4443" y="7593"/>
                  </a:cubicBezTo>
                  <a:close/>
                  <a:moveTo>
                    <a:pt x="5829" y="725"/>
                  </a:moveTo>
                  <a:cubicBezTo>
                    <a:pt x="7341" y="725"/>
                    <a:pt x="8822" y="1386"/>
                    <a:pt x="9799" y="2521"/>
                  </a:cubicBezTo>
                  <a:cubicBezTo>
                    <a:pt x="9326" y="2710"/>
                    <a:pt x="8980" y="3245"/>
                    <a:pt x="8980" y="3781"/>
                  </a:cubicBezTo>
                  <a:cubicBezTo>
                    <a:pt x="8980" y="3718"/>
                    <a:pt x="8917" y="3623"/>
                    <a:pt x="8885" y="3560"/>
                  </a:cubicBezTo>
                  <a:lnTo>
                    <a:pt x="8854" y="3497"/>
                  </a:lnTo>
                  <a:lnTo>
                    <a:pt x="8192" y="2836"/>
                  </a:lnTo>
                  <a:cubicBezTo>
                    <a:pt x="8129" y="2773"/>
                    <a:pt x="8035" y="2741"/>
                    <a:pt x="7944" y="2741"/>
                  </a:cubicBezTo>
                  <a:cubicBezTo>
                    <a:pt x="7853" y="2741"/>
                    <a:pt x="7767" y="2773"/>
                    <a:pt x="7719" y="2836"/>
                  </a:cubicBezTo>
                  <a:cubicBezTo>
                    <a:pt x="7593" y="2962"/>
                    <a:pt x="7593" y="3182"/>
                    <a:pt x="7719" y="3308"/>
                  </a:cubicBezTo>
                  <a:lnTo>
                    <a:pt x="7814" y="3434"/>
                  </a:lnTo>
                  <a:cubicBezTo>
                    <a:pt x="6869" y="3466"/>
                    <a:pt x="5987" y="3875"/>
                    <a:pt x="5262" y="4568"/>
                  </a:cubicBezTo>
                  <a:cubicBezTo>
                    <a:pt x="4600" y="5230"/>
                    <a:pt x="4254" y="6081"/>
                    <a:pt x="4159" y="6963"/>
                  </a:cubicBezTo>
                  <a:cubicBezTo>
                    <a:pt x="3561" y="7120"/>
                    <a:pt x="3151" y="7656"/>
                    <a:pt x="3151" y="8318"/>
                  </a:cubicBezTo>
                  <a:cubicBezTo>
                    <a:pt x="3151" y="9074"/>
                    <a:pt x="3781" y="9704"/>
                    <a:pt x="4506" y="9704"/>
                  </a:cubicBezTo>
                  <a:cubicBezTo>
                    <a:pt x="5262" y="9704"/>
                    <a:pt x="5892" y="9074"/>
                    <a:pt x="5892" y="8318"/>
                  </a:cubicBezTo>
                  <a:cubicBezTo>
                    <a:pt x="5892" y="7687"/>
                    <a:pt x="5451" y="7120"/>
                    <a:pt x="4884" y="6963"/>
                  </a:cubicBezTo>
                  <a:cubicBezTo>
                    <a:pt x="5042" y="5482"/>
                    <a:pt x="6302" y="4222"/>
                    <a:pt x="7814" y="4127"/>
                  </a:cubicBezTo>
                  <a:lnTo>
                    <a:pt x="7814" y="4127"/>
                  </a:lnTo>
                  <a:lnTo>
                    <a:pt x="7751" y="4222"/>
                  </a:lnTo>
                  <a:cubicBezTo>
                    <a:pt x="7625" y="4348"/>
                    <a:pt x="7625" y="4568"/>
                    <a:pt x="7751" y="4694"/>
                  </a:cubicBezTo>
                  <a:cubicBezTo>
                    <a:pt x="7814" y="4757"/>
                    <a:pt x="7901" y="4789"/>
                    <a:pt x="7987" y="4789"/>
                  </a:cubicBezTo>
                  <a:cubicBezTo>
                    <a:pt x="8074" y="4789"/>
                    <a:pt x="8161" y="4757"/>
                    <a:pt x="8224" y="4694"/>
                  </a:cubicBezTo>
                  <a:lnTo>
                    <a:pt x="8885" y="4033"/>
                  </a:lnTo>
                  <a:cubicBezTo>
                    <a:pt x="8980" y="3938"/>
                    <a:pt x="9011" y="3875"/>
                    <a:pt x="9011" y="3781"/>
                  </a:cubicBezTo>
                  <a:cubicBezTo>
                    <a:pt x="9011" y="4537"/>
                    <a:pt x="9641" y="5167"/>
                    <a:pt x="10397" y="5167"/>
                  </a:cubicBezTo>
                  <a:cubicBezTo>
                    <a:pt x="10618" y="5167"/>
                    <a:pt x="10807" y="5136"/>
                    <a:pt x="11028" y="5010"/>
                  </a:cubicBezTo>
                  <a:cubicBezTo>
                    <a:pt x="11059" y="5293"/>
                    <a:pt x="11091" y="5545"/>
                    <a:pt x="11091" y="5829"/>
                  </a:cubicBezTo>
                  <a:cubicBezTo>
                    <a:pt x="11028" y="8696"/>
                    <a:pt x="8696" y="11027"/>
                    <a:pt x="5829" y="11027"/>
                  </a:cubicBezTo>
                  <a:cubicBezTo>
                    <a:pt x="2994" y="11027"/>
                    <a:pt x="694" y="8696"/>
                    <a:pt x="694" y="5829"/>
                  </a:cubicBezTo>
                  <a:cubicBezTo>
                    <a:pt x="694" y="2993"/>
                    <a:pt x="2994" y="725"/>
                    <a:pt x="5829" y="725"/>
                  </a:cubicBezTo>
                  <a:close/>
                  <a:moveTo>
                    <a:pt x="5829" y="0"/>
                  </a:moveTo>
                  <a:cubicBezTo>
                    <a:pt x="2584" y="0"/>
                    <a:pt x="1" y="2615"/>
                    <a:pt x="1" y="5829"/>
                  </a:cubicBezTo>
                  <a:cubicBezTo>
                    <a:pt x="1" y="7404"/>
                    <a:pt x="599" y="8853"/>
                    <a:pt x="1702" y="9956"/>
                  </a:cubicBezTo>
                  <a:cubicBezTo>
                    <a:pt x="2773" y="11058"/>
                    <a:pt x="4254" y="11689"/>
                    <a:pt x="5829" y="11689"/>
                  </a:cubicBezTo>
                  <a:cubicBezTo>
                    <a:pt x="6617" y="11689"/>
                    <a:pt x="7341" y="11531"/>
                    <a:pt x="8098" y="11216"/>
                  </a:cubicBezTo>
                  <a:cubicBezTo>
                    <a:pt x="8822" y="10901"/>
                    <a:pt x="9452" y="10523"/>
                    <a:pt x="9956" y="9956"/>
                  </a:cubicBezTo>
                  <a:cubicBezTo>
                    <a:pt x="10492" y="9420"/>
                    <a:pt x="10901" y="8790"/>
                    <a:pt x="11217" y="8128"/>
                  </a:cubicBezTo>
                  <a:cubicBezTo>
                    <a:pt x="11532" y="7404"/>
                    <a:pt x="11689" y="6616"/>
                    <a:pt x="11689" y="5829"/>
                  </a:cubicBezTo>
                  <a:cubicBezTo>
                    <a:pt x="11689" y="5356"/>
                    <a:pt x="11658" y="4884"/>
                    <a:pt x="11532" y="4442"/>
                  </a:cubicBezTo>
                  <a:cubicBezTo>
                    <a:pt x="11595" y="4253"/>
                    <a:pt x="11689" y="4033"/>
                    <a:pt x="11689" y="3781"/>
                  </a:cubicBezTo>
                  <a:cubicBezTo>
                    <a:pt x="11689" y="3119"/>
                    <a:pt x="11217" y="2552"/>
                    <a:pt x="10586" y="2458"/>
                  </a:cubicBezTo>
                  <a:cubicBezTo>
                    <a:pt x="9484" y="945"/>
                    <a:pt x="7719" y="0"/>
                    <a:pt x="5829"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sp>
        <p:nvSpPr>
          <p:cNvPr id="11338" name="Google Shape;11338;p115"/>
          <p:cNvSpPr/>
          <p:nvPr/>
        </p:nvSpPr>
        <p:spPr>
          <a:xfrm>
            <a:off x="4019587" y="2870557"/>
            <a:ext cx="573188" cy="527324"/>
          </a:xfrm>
          <a:custGeom>
            <a:avLst/>
            <a:gdLst/>
            <a:ahLst/>
            <a:cxnLst/>
            <a:rect l="l" t="t" r="r" b="b"/>
            <a:pathLst>
              <a:path w="11910" h="10957" extrusionOk="0">
                <a:moveTo>
                  <a:pt x="7325" y="654"/>
                </a:moveTo>
                <a:cubicBezTo>
                  <a:pt x="7412" y="654"/>
                  <a:pt x="7498" y="686"/>
                  <a:pt x="7561" y="749"/>
                </a:cubicBezTo>
                <a:lnTo>
                  <a:pt x="10995" y="4088"/>
                </a:lnTo>
                <a:cubicBezTo>
                  <a:pt x="11122" y="4246"/>
                  <a:pt x="11122" y="4466"/>
                  <a:pt x="10995" y="4592"/>
                </a:cubicBezTo>
                <a:lnTo>
                  <a:pt x="10082" y="5506"/>
                </a:lnTo>
                <a:lnTo>
                  <a:pt x="7404" y="2859"/>
                </a:lnTo>
                <a:cubicBezTo>
                  <a:pt x="7215" y="2670"/>
                  <a:pt x="6955" y="2576"/>
                  <a:pt x="6691" y="2576"/>
                </a:cubicBezTo>
                <a:cubicBezTo>
                  <a:pt x="6427" y="2576"/>
                  <a:pt x="6159" y="2670"/>
                  <a:pt x="5955" y="2859"/>
                </a:cubicBezTo>
                <a:lnTo>
                  <a:pt x="4978" y="3805"/>
                </a:lnTo>
                <a:cubicBezTo>
                  <a:pt x="4915" y="3868"/>
                  <a:pt x="4828" y="3899"/>
                  <a:pt x="4742" y="3899"/>
                </a:cubicBezTo>
                <a:cubicBezTo>
                  <a:pt x="4655" y="3899"/>
                  <a:pt x="4568" y="3868"/>
                  <a:pt x="4505" y="3805"/>
                </a:cubicBezTo>
                <a:cubicBezTo>
                  <a:pt x="4379" y="3679"/>
                  <a:pt x="4379" y="3458"/>
                  <a:pt x="4505" y="3332"/>
                </a:cubicBezTo>
                <a:lnTo>
                  <a:pt x="5955" y="1883"/>
                </a:lnTo>
                <a:lnTo>
                  <a:pt x="7089" y="749"/>
                </a:lnTo>
                <a:cubicBezTo>
                  <a:pt x="7152" y="686"/>
                  <a:pt x="7239" y="654"/>
                  <a:pt x="7325" y="654"/>
                </a:cubicBezTo>
                <a:close/>
                <a:moveTo>
                  <a:pt x="2808" y="5183"/>
                </a:moveTo>
                <a:cubicBezTo>
                  <a:pt x="2899" y="5183"/>
                  <a:pt x="2993" y="5207"/>
                  <a:pt x="3056" y="5254"/>
                </a:cubicBezTo>
                <a:cubicBezTo>
                  <a:pt x="3151" y="5380"/>
                  <a:pt x="3151" y="5632"/>
                  <a:pt x="3056" y="5726"/>
                </a:cubicBezTo>
                <a:lnTo>
                  <a:pt x="2048" y="6735"/>
                </a:lnTo>
                <a:cubicBezTo>
                  <a:pt x="2001" y="6782"/>
                  <a:pt x="1914" y="6805"/>
                  <a:pt x="1824" y="6805"/>
                </a:cubicBezTo>
                <a:cubicBezTo>
                  <a:pt x="1733" y="6805"/>
                  <a:pt x="1639" y="6782"/>
                  <a:pt x="1576" y="6735"/>
                </a:cubicBezTo>
                <a:cubicBezTo>
                  <a:pt x="1449" y="6609"/>
                  <a:pt x="1449" y="6357"/>
                  <a:pt x="1576" y="6262"/>
                </a:cubicBezTo>
                <a:lnTo>
                  <a:pt x="2584" y="5254"/>
                </a:lnTo>
                <a:cubicBezTo>
                  <a:pt x="2631" y="5207"/>
                  <a:pt x="2718" y="5183"/>
                  <a:pt x="2808" y="5183"/>
                </a:cubicBezTo>
                <a:close/>
                <a:moveTo>
                  <a:pt x="3785" y="6167"/>
                </a:moveTo>
                <a:cubicBezTo>
                  <a:pt x="3875" y="6167"/>
                  <a:pt x="3970" y="6199"/>
                  <a:pt x="4033" y="6262"/>
                </a:cubicBezTo>
                <a:cubicBezTo>
                  <a:pt x="4159" y="6357"/>
                  <a:pt x="4159" y="6609"/>
                  <a:pt x="4033" y="6735"/>
                </a:cubicBezTo>
                <a:lnTo>
                  <a:pt x="3056" y="7711"/>
                </a:lnTo>
                <a:cubicBezTo>
                  <a:pt x="2993" y="7774"/>
                  <a:pt x="2899" y="7806"/>
                  <a:pt x="2808" y="7806"/>
                </a:cubicBezTo>
                <a:cubicBezTo>
                  <a:pt x="2718" y="7806"/>
                  <a:pt x="2631" y="7774"/>
                  <a:pt x="2584" y="7711"/>
                </a:cubicBezTo>
                <a:cubicBezTo>
                  <a:pt x="2395" y="7554"/>
                  <a:pt x="2395" y="7365"/>
                  <a:pt x="2584" y="7239"/>
                </a:cubicBezTo>
                <a:lnTo>
                  <a:pt x="3560" y="6262"/>
                </a:lnTo>
                <a:cubicBezTo>
                  <a:pt x="3608" y="6199"/>
                  <a:pt x="3694" y="6167"/>
                  <a:pt x="3785" y="6167"/>
                </a:cubicBezTo>
                <a:close/>
                <a:moveTo>
                  <a:pt x="4730" y="7113"/>
                </a:moveTo>
                <a:cubicBezTo>
                  <a:pt x="4821" y="7113"/>
                  <a:pt x="4915" y="7144"/>
                  <a:pt x="4978" y="7207"/>
                </a:cubicBezTo>
                <a:cubicBezTo>
                  <a:pt x="5073" y="7302"/>
                  <a:pt x="5073" y="7554"/>
                  <a:pt x="4978" y="7680"/>
                </a:cubicBezTo>
                <a:lnTo>
                  <a:pt x="4001" y="8656"/>
                </a:lnTo>
                <a:cubicBezTo>
                  <a:pt x="3938" y="8719"/>
                  <a:pt x="3844" y="8751"/>
                  <a:pt x="3749" y="8751"/>
                </a:cubicBezTo>
                <a:cubicBezTo>
                  <a:pt x="3655" y="8751"/>
                  <a:pt x="3560" y="8719"/>
                  <a:pt x="3497" y="8656"/>
                </a:cubicBezTo>
                <a:cubicBezTo>
                  <a:pt x="3403" y="8530"/>
                  <a:pt x="3403" y="8310"/>
                  <a:pt x="3497" y="8184"/>
                </a:cubicBezTo>
                <a:lnTo>
                  <a:pt x="4505" y="7207"/>
                </a:lnTo>
                <a:cubicBezTo>
                  <a:pt x="4553" y="7144"/>
                  <a:pt x="4639" y="7113"/>
                  <a:pt x="4730" y="7113"/>
                </a:cubicBezTo>
                <a:close/>
                <a:moveTo>
                  <a:pt x="4100" y="969"/>
                </a:moveTo>
                <a:cubicBezTo>
                  <a:pt x="4190" y="969"/>
                  <a:pt x="4285" y="1001"/>
                  <a:pt x="4348" y="1064"/>
                </a:cubicBezTo>
                <a:lnTo>
                  <a:pt x="5041" y="1725"/>
                </a:lnTo>
                <a:lnTo>
                  <a:pt x="3938" y="2828"/>
                </a:lnTo>
                <a:cubicBezTo>
                  <a:pt x="3560" y="3206"/>
                  <a:pt x="3560" y="3899"/>
                  <a:pt x="3938" y="4277"/>
                </a:cubicBezTo>
                <a:cubicBezTo>
                  <a:pt x="4143" y="4482"/>
                  <a:pt x="4411" y="4584"/>
                  <a:pt x="4675" y="4584"/>
                </a:cubicBezTo>
                <a:cubicBezTo>
                  <a:pt x="4939" y="4584"/>
                  <a:pt x="5199" y="4482"/>
                  <a:pt x="5388" y="4277"/>
                </a:cubicBezTo>
                <a:lnTo>
                  <a:pt x="6396" y="3332"/>
                </a:lnTo>
                <a:cubicBezTo>
                  <a:pt x="6443" y="3269"/>
                  <a:pt x="6530" y="3238"/>
                  <a:pt x="6620" y="3238"/>
                </a:cubicBezTo>
                <a:cubicBezTo>
                  <a:pt x="6711" y="3238"/>
                  <a:pt x="6805" y="3269"/>
                  <a:pt x="6868" y="3332"/>
                </a:cubicBezTo>
                <a:lnTo>
                  <a:pt x="10334" y="6735"/>
                </a:lnTo>
                <a:cubicBezTo>
                  <a:pt x="10491" y="6829"/>
                  <a:pt x="10491" y="7113"/>
                  <a:pt x="10365" y="7239"/>
                </a:cubicBezTo>
                <a:cubicBezTo>
                  <a:pt x="10302" y="7302"/>
                  <a:pt x="10216" y="7333"/>
                  <a:pt x="10129" y="7333"/>
                </a:cubicBezTo>
                <a:cubicBezTo>
                  <a:pt x="10042" y="7333"/>
                  <a:pt x="9956" y="7302"/>
                  <a:pt x="9893" y="7239"/>
                </a:cubicBezTo>
                <a:lnTo>
                  <a:pt x="8444" y="5789"/>
                </a:lnTo>
                <a:cubicBezTo>
                  <a:pt x="8381" y="5726"/>
                  <a:pt x="8286" y="5695"/>
                  <a:pt x="8195" y="5695"/>
                </a:cubicBezTo>
                <a:cubicBezTo>
                  <a:pt x="8105" y="5695"/>
                  <a:pt x="8018" y="5726"/>
                  <a:pt x="7971" y="5789"/>
                </a:cubicBezTo>
                <a:cubicBezTo>
                  <a:pt x="7845" y="5884"/>
                  <a:pt x="7845" y="6136"/>
                  <a:pt x="7971" y="6262"/>
                </a:cubicBezTo>
                <a:lnTo>
                  <a:pt x="9420" y="7711"/>
                </a:lnTo>
                <a:cubicBezTo>
                  <a:pt x="9546" y="7837"/>
                  <a:pt x="9546" y="8058"/>
                  <a:pt x="9420" y="8184"/>
                </a:cubicBezTo>
                <a:cubicBezTo>
                  <a:pt x="9357" y="8247"/>
                  <a:pt x="9271" y="8278"/>
                  <a:pt x="9184" y="8278"/>
                </a:cubicBezTo>
                <a:cubicBezTo>
                  <a:pt x="9097" y="8278"/>
                  <a:pt x="9011" y="8247"/>
                  <a:pt x="8948" y="8184"/>
                </a:cubicBezTo>
                <a:lnTo>
                  <a:pt x="7498" y="6735"/>
                </a:lnTo>
                <a:cubicBezTo>
                  <a:pt x="7435" y="6672"/>
                  <a:pt x="7341" y="6640"/>
                  <a:pt x="7250" y="6640"/>
                </a:cubicBezTo>
                <a:cubicBezTo>
                  <a:pt x="7160" y="6640"/>
                  <a:pt x="7073" y="6672"/>
                  <a:pt x="7026" y="6735"/>
                </a:cubicBezTo>
                <a:cubicBezTo>
                  <a:pt x="6900" y="6829"/>
                  <a:pt x="6900" y="7081"/>
                  <a:pt x="7026" y="7176"/>
                </a:cubicBezTo>
                <a:lnTo>
                  <a:pt x="8475" y="8656"/>
                </a:lnTo>
                <a:cubicBezTo>
                  <a:pt x="8601" y="8751"/>
                  <a:pt x="8601" y="9003"/>
                  <a:pt x="8475" y="9129"/>
                </a:cubicBezTo>
                <a:cubicBezTo>
                  <a:pt x="8412" y="9176"/>
                  <a:pt x="8325" y="9200"/>
                  <a:pt x="8239" y="9200"/>
                </a:cubicBezTo>
                <a:cubicBezTo>
                  <a:pt x="8152" y="9200"/>
                  <a:pt x="8066" y="9176"/>
                  <a:pt x="8003" y="9129"/>
                </a:cubicBezTo>
                <a:lnTo>
                  <a:pt x="6459" y="7648"/>
                </a:lnTo>
                <a:cubicBezTo>
                  <a:pt x="6270" y="7459"/>
                  <a:pt x="6018" y="7396"/>
                  <a:pt x="5797" y="7396"/>
                </a:cubicBezTo>
                <a:cubicBezTo>
                  <a:pt x="5797" y="7144"/>
                  <a:pt x="5671" y="6924"/>
                  <a:pt x="5482" y="6735"/>
                </a:cubicBezTo>
                <a:cubicBezTo>
                  <a:pt x="5293" y="6514"/>
                  <a:pt x="5041" y="6451"/>
                  <a:pt x="4821" y="6388"/>
                </a:cubicBezTo>
                <a:cubicBezTo>
                  <a:pt x="4821" y="6167"/>
                  <a:pt x="4694" y="5947"/>
                  <a:pt x="4505" y="5726"/>
                </a:cubicBezTo>
                <a:cubicBezTo>
                  <a:pt x="4285" y="5537"/>
                  <a:pt x="4064" y="5474"/>
                  <a:pt x="3812" y="5411"/>
                </a:cubicBezTo>
                <a:cubicBezTo>
                  <a:pt x="3812" y="5191"/>
                  <a:pt x="3718" y="4939"/>
                  <a:pt x="3497" y="4750"/>
                </a:cubicBezTo>
                <a:cubicBezTo>
                  <a:pt x="3308" y="4561"/>
                  <a:pt x="3048" y="4466"/>
                  <a:pt x="2785" y="4466"/>
                </a:cubicBezTo>
                <a:cubicBezTo>
                  <a:pt x="2521" y="4466"/>
                  <a:pt x="2253" y="4561"/>
                  <a:pt x="2048" y="4750"/>
                </a:cubicBezTo>
                <a:lnTo>
                  <a:pt x="1544" y="5254"/>
                </a:lnTo>
                <a:lnTo>
                  <a:pt x="819" y="4561"/>
                </a:lnTo>
                <a:cubicBezTo>
                  <a:pt x="725" y="4435"/>
                  <a:pt x="725" y="4183"/>
                  <a:pt x="819" y="4088"/>
                </a:cubicBezTo>
                <a:lnTo>
                  <a:pt x="3875" y="1064"/>
                </a:lnTo>
                <a:cubicBezTo>
                  <a:pt x="3923" y="1001"/>
                  <a:pt x="4009" y="969"/>
                  <a:pt x="4100" y="969"/>
                </a:cubicBezTo>
                <a:close/>
                <a:moveTo>
                  <a:pt x="5718" y="8089"/>
                </a:moveTo>
                <a:cubicBezTo>
                  <a:pt x="5805" y="8089"/>
                  <a:pt x="5892" y="8121"/>
                  <a:pt x="5955" y="8184"/>
                </a:cubicBezTo>
                <a:cubicBezTo>
                  <a:pt x="6081" y="8310"/>
                  <a:pt x="6081" y="8530"/>
                  <a:pt x="5955" y="8656"/>
                </a:cubicBezTo>
                <a:lnTo>
                  <a:pt x="4978" y="9633"/>
                </a:lnTo>
                <a:cubicBezTo>
                  <a:pt x="4915" y="9696"/>
                  <a:pt x="4821" y="9728"/>
                  <a:pt x="4730" y="9728"/>
                </a:cubicBezTo>
                <a:cubicBezTo>
                  <a:pt x="4639" y="9728"/>
                  <a:pt x="4553" y="9696"/>
                  <a:pt x="4505" y="9633"/>
                </a:cubicBezTo>
                <a:cubicBezTo>
                  <a:pt x="4379" y="9507"/>
                  <a:pt x="4379" y="9286"/>
                  <a:pt x="4505" y="9160"/>
                </a:cubicBezTo>
                <a:lnTo>
                  <a:pt x="5482" y="8184"/>
                </a:lnTo>
                <a:cubicBezTo>
                  <a:pt x="5545" y="8121"/>
                  <a:pt x="5632" y="8089"/>
                  <a:pt x="5718" y="8089"/>
                </a:cubicBezTo>
                <a:close/>
                <a:moveTo>
                  <a:pt x="6616" y="8877"/>
                </a:moveTo>
                <a:lnTo>
                  <a:pt x="7467" y="9665"/>
                </a:lnTo>
                <a:cubicBezTo>
                  <a:pt x="7593" y="9759"/>
                  <a:pt x="7593" y="9980"/>
                  <a:pt x="7435" y="10106"/>
                </a:cubicBezTo>
                <a:cubicBezTo>
                  <a:pt x="7388" y="10169"/>
                  <a:pt x="7286" y="10200"/>
                  <a:pt x="7179" y="10200"/>
                </a:cubicBezTo>
                <a:cubicBezTo>
                  <a:pt x="7073" y="10200"/>
                  <a:pt x="6963" y="10169"/>
                  <a:pt x="6900" y="10106"/>
                </a:cubicBezTo>
                <a:lnTo>
                  <a:pt x="6207" y="9412"/>
                </a:lnTo>
                <a:lnTo>
                  <a:pt x="6427" y="9160"/>
                </a:lnTo>
                <a:cubicBezTo>
                  <a:pt x="6522" y="9097"/>
                  <a:pt x="6585" y="8971"/>
                  <a:pt x="6616" y="8877"/>
                </a:cubicBezTo>
                <a:close/>
                <a:moveTo>
                  <a:pt x="7309" y="0"/>
                </a:moveTo>
                <a:cubicBezTo>
                  <a:pt x="7042" y="0"/>
                  <a:pt x="6774" y="103"/>
                  <a:pt x="6585" y="308"/>
                </a:cubicBezTo>
                <a:lnTo>
                  <a:pt x="5608" y="1284"/>
                </a:lnTo>
                <a:lnTo>
                  <a:pt x="4852" y="560"/>
                </a:lnTo>
                <a:cubicBezTo>
                  <a:pt x="4656" y="394"/>
                  <a:pt x="4409" y="307"/>
                  <a:pt x="4163" y="307"/>
                </a:cubicBezTo>
                <a:cubicBezTo>
                  <a:pt x="3897" y="307"/>
                  <a:pt x="3631" y="409"/>
                  <a:pt x="3434" y="623"/>
                </a:cubicBezTo>
                <a:lnTo>
                  <a:pt x="410" y="3647"/>
                </a:lnTo>
                <a:cubicBezTo>
                  <a:pt x="0" y="4025"/>
                  <a:pt x="0" y="4718"/>
                  <a:pt x="410" y="5096"/>
                </a:cubicBezTo>
                <a:lnTo>
                  <a:pt x="1103" y="5821"/>
                </a:lnTo>
                <a:cubicBezTo>
                  <a:pt x="725" y="6199"/>
                  <a:pt x="725" y="6829"/>
                  <a:pt x="1103" y="7239"/>
                </a:cubicBezTo>
                <a:cubicBezTo>
                  <a:pt x="1292" y="7428"/>
                  <a:pt x="1544" y="7491"/>
                  <a:pt x="1765" y="7554"/>
                </a:cubicBezTo>
                <a:cubicBezTo>
                  <a:pt x="1765" y="7774"/>
                  <a:pt x="1891" y="8026"/>
                  <a:pt x="2080" y="8215"/>
                </a:cubicBezTo>
                <a:cubicBezTo>
                  <a:pt x="2300" y="8404"/>
                  <a:pt x="2521" y="8499"/>
                  <a:pt x="2773" y="8530"/>
                </a:cubicBezTo>
                <a:cubicBezTo>
                  <a:pt x="2773" y="8751"/>
                  <a:pt x="2867" y="9003"/>
                  <a:pt x="3088" y="9192"/>
                </a:cubicBezTo>
                <a:cubicBezTo>
                  <a:pt x="3277" y="9381"/>
                  <a:pt x="3497" y="9475"/>
                  <a:pt x="3749" y="9507"/>
                </a:cubicBezTo>
                <a:cubicBezTo>
                  <a:pt x="3749" y="9759"/>
                  <a:pt x="3875" y="9980"/>
                  <a:pt x="4064" y="10169"/>
                </a:cubicBezTo>
                <a:cubicBezTo>
                  <a:pt x="4253" y="10373"/>
                  <a:pt x="4521" y="10476"/>
                  <a:pt x="4789" y="10476"/>
                </a:cubicBezTo>
                <a:cubicBezTo>
                  <a:pt x="5057" y="10476"/>
                  <a:pt x="5325" y="10373"/>
                  <a:pt x="5514" y="10169"/>
                </a:cubicBezTo>
                <a:lnTo>
                  <a:pt x="5766" y="9948"/>
                </a:lnTo>
                <a:lnTo>
                  <a:pt x="6459" y="10673"/>
                </a:lnTo>
                <a:cubicBezTo>
                  <a:pt x="6664" y="10862"/>
                  <a:pt x="6939" y="10956"/>
                  <a:pt x="7219" y="10956"/>
                </a:cubicBezTo>
                <a:cubicBezTo>
                  <a:pt x="7498" y="10956"/>
                  <a:pt x="7782" y="10862"/>
                  <a:pt x="8003" y="10673"/>
                </a:cubicBezTo>
                <a:cubicBezTo>
                  <a:pt x="8192" y="10452"/>
                  <a:pt x="8286" y="10232"/>
                  <a:pt x="8318" y="9980"/>
                </a:cubicBezTo>
                <a:cubicBezTo>
                  <a:pt x="8538" y="9980"/>
                  <a:pt x="8790" y="9885"/>
                  <a:pt x="8979" y="9665"/>
                </a:cubicBezTo>
                <a:cubicBezTo>
                  <a:pt x="9168" y="9475"/>
                  <a:pt x="9263" y="9255"/>
                  <a:pt x="9294" y="9003"/>
                </a:cubicBezTo>
                <a:cubicBezTo>
                  <a:pt x="9546" y="9003"/>
                  <a:pt x="9767" y="8877"/>
                  <a:pt x="9956" y="8688"/>
                </a:cubicBezTo>
                <a:cubicBezTo>
                  <a:pt x="10176" y="8499"/>
                  <a:pt x="10239" y="8247"/>
                  <a:pt x="10271" y="8026"/>
                </a:cubicBezTo>
                <a:cubicBezTo>
                  <a:pt x="10523" y="8026"/>
                  <a:pt x="10743" y="7900"/>
                  <a:pt x="10964" y="7711"/>
                </a:cubicBezTo>
                <a:cubicBezTo>
                  <a:pt x="11342" y="7302"/>
                  <a:pt x="11342" y="6640"/>
                  <a:pt x="10964" y="6262"/>
                </a:cubicBezTo>
                <a:lnTo>
                  <a:pt x="10680" y="5978"/>
                </a:lnTo>
                <a:lnTo>
                  <a:pt x="11594" y="5065"/>
                </a:lnTo>
                <a:cubicBezTo>
                  <a:pt x="11909" y="4687"/>
                  <a:pt x="11909" y="4057"/>
                  <a:pt x="11468" y="3647"/>
                </a:cubicBezTo>
                <a:lnTo>
                  <a:pt x="8034" y="308"/>
                </a:lnTo>
                <a:cubicBezTo>
                  <a:pt x="7845" y="103"/>
                  <a:pt x="7577" y="0"/>
                  <a:pt x="7309"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1339" name="Google Shape;11339;p115"/>
          <p:cNvSpPr/>
          <p:nvPr/>
        </p:nvSpPr>
        <p:spPr>
          <a:xfrm>
            <a:off x="4040812" y="3547742"/>
            <a:ext cx="562552" cy="561012"/>
          </a:xfrm>
          <a:custGeom>
            <a:avLst/>
            <a:gdLst/>
            <a:ahLst/>
            <a:cxnLst/>
            <a:rect l="l" t="t" r="r" b="b"/>
            <a:pathLst>
              <a:path w="11689" h="11657" extrusionOk="0">
                <a:moveTo>
                  <a:pt x="5797" y="2111"/>
                </a:moveTo>
                <a:cubicBezTo>
                  <a:pt x="6175" y="2111"/>
                  <a:pt x="6459" y="2426"/>
                  <a:pt x="6459" y="2773"/>
                </a:cubicBezTo>
                <a:cubicBezTo>
                  <a:pt x="6459" y="3151"/>
                  <a:pt x="6175" y="3466"/>
                  <a:pt x="5797" y="3466"/>
                </a:cubicBezTo>
                <a:cubicBezTo>
                  <a:pt x="5388" y="3466"/>
                  <a:pt x="5104" y="3151"/>
                  <a:pt x="5104" y="2773"/>
                </a:cubicBezTo>
                <a:cubicBezTo>
                  <a:pt x="5104" y="2426"/>
                  <a:pt x="5419" y="2111"/>
                  <a:pt x="5797" y="2111"/>
                </a:cubicBezTo>
                <a:close/>
                <a:moveTo>
                  <a:pt x="6112" y="4159"/>
                </a:moveTo>
                <a:cubicBezTo>
                  <a:pt x="6648" y="4159"/>
                  <a:pt x="7120" y="4631"/>
                  <a:pt x="7120" y="5198"/>
                </a:cubicBezTo>
                <a:lnTo>
                  <a:pt x="7120" y="5545"/>
                </a:lnTo>
                <a:lnTo>
                  <a:pt x="4379" y="5545"/>
                </a:lnTo>
                <a:lnTo>
                  <a:pt x="4379" y="5198"/>
                </a:lnTo>
                <a:cubicBezTo>
                  <a:pt x="4411" y="4600"/>
                  <a:pt x="4884" y="4159"/>
                  <a:pt x="5419" y="4159"/>
                </a:cubicBezTo>
                <a:close/>
                <a:moveTo>
                  <a:pt x="10586" y="662"/>
                </a:moveTo>
                <a:cubicBezTo>
                  <a:pt x="10775" y="662"/>
                  <a:pt x="10932" y="819"/>
                  <a:pt x="10932" y="1008"/>
                </a:cubicBezTo>
                <a:lnTo>
                  <a:pt x="10932" y="5860"/>
                </a:lnTo>
                <a:lnTo>
                  <a:pt x="10996" y="5860"/>
                </a:lnTo>
                <a:cubicBezTo>
                  <a:pt x="10996" y="6049"/>
                  <a:pt x="10838" y="6207"/>
                  <a:pt x="10617" y="6207"/>
                </a:cubicBezTo>
                <a:lnTo>
                  <a:pt x="9483" y="6207"/>
                </a:lnTo>
                <a:cubicBezTo>
                  <a:pt x="9326" y="5829"/>
                  <a:pt x="8979" y="5545"/>
                  <a:pt x="8507" y="5545"/>
                </a:cubicBezTo>
                <a:lnTo>
                  <a:pt x="7845" y="5545"/>
                </a:lnTo>
                <a:lnTo>
                  <a:pt x="7845" y="5198"/>
                </a:lnTo>
                <a:cubicBezTo>
                  <a:pt x="7845" y="4505"/>
                  <a:pt x="7435" y="3938"/>
                  <a:pt x="6837" y="3655"/>
                </a:cubicBezTo>
                <a:cubicBezTo>
                  <a:pt x="7057" y="3403"/>
                  <a:pt x="7152" y="3151"/>
                  <a:pt x="7152" y="2773"/>
                </a:cubicBezTo>
                <a:cubicBezTo>
                  <a:pt x="7152" y="2048"/>
                  <a:pt x="6522" y="1418"/>
                  <a:pt x="5797" y="1418"/>
                </a:cubicBezTo>
                <a:cubicBezTo>
                  <a:pt x="5041" y="1418"/>
                  <a:pt x="4411" y="2048"/>
                  <a:pt x="4411" y="2773"/>
                </a:cubicBezTo>
                <a:cubicBezTo>
                  <a:pt x="4411" y="3088"/>
                  <a:pt x="4537" y="3403"/>
                  <a:pt x="4726" y="3655"/>
                </a:cubicBezTo>
                <a:cubicBezTo>
                  <a:pt x="4127" y="3938"/>
                  <a:pt x="3749" y="4505"/>
                  <a:pt x="3749" y="5198"/>
                </a:cubicBezTo>
                <a:lnTo>
                  <a:pt x="3749" y="5545"/>
                </a:lnTo>
                <a:lnTo>
                  <a:pt x="3056" y="5545"/>
                </a:lnTo>
                <a:cubicBezTo>
                  <a:pt x="2647" y="5545"/>
                  <a:pt x="2237" y="5829"/>
                  <a:pt x="2080" y="6207"/>
                </a:cubicBezTo>
                <a:lnTo>
                  <a:pt x="977" y="6207"/>
                </a:lnTo>
                <a:cubicBezTo>
                  <a:pt x="788" y="6207"/>
                  <a:pt x="630" y="6049"/>
                  <a:pt x="630" y="5860"/>
                </a:cubicBezTo>
                <a:lnTo>
                  <a:pt x="630" y="1008"/>
                </a:lnTo>
                <a:cubicBezTo>
                  <a:pt x="630" y="819"/>
                  <a:pt x="788" y="662"/>
                  <a:pt x="977" y="662"/>
                </a:cubicBezTo>
                <a:close/>
                <a:moveTo>
                  <a:pt x="8538" y="6175"/>
                </a:moveTo>
                <a:cubicBezTo>
                  <a:pt x="8759" y="6175"/>
                  <a:pt x="8916" y="6333"/>
                  <a:pt x="8916" y="6522"/>
                </a:cubicBezTo>
                <a:cubicBezTo>
                  <a:pt x="8853" y="6711"/>
                  <a:pt x="8696" y="6868"/>
                  <a:pt x="8538" y="6868"/>
                </a:cubicBezTo>
                <a:lnTo>
                  <a:pt x="3088" y="6868"/>
                </a:lnTo>
                <a:cubicBezTo>
                  <a:pt x="2867" y="6868"/>
                  <a:pt x="2710" y="6711"/>
                  <a:pt x="2710" y="6522"/>
                </a:cubicBezTo>
                <a:cubicBezTo>
                  <a:pt x="2710" y="6333"/>
                  <a:pt x="2867" y="6175"/>
                  <a:pt x="3088" y="6175"/>
                </a:cubicBezTo>
                <a:close/>
                <a:moveTo>
                  <a:pt x="8160" y="7593"/>
                </a:moveTo>
                <a:lnTo>
                  <a:pt x="7561" y="11027"/>
                </a:lnTo>
                <a:lnTo>
                  <a:pt x="4033" y="11027"/>
                </a:lnTo>
                <a:lnTo>
                  <a:pt x="3466" y="7593"/>
                </a:lnTo>
                <a:close/>
                <a:moveTo>
                  <a:pt x="1008" y="0"/>
                </a:moveTo>
                <a:cubicBezTo>
                  <a:pt x="473" y="0"/>
                  <a:pt x="0" y="473"/>
                  <a:pt x="0" y="1008"/>
                </a:cubicBezTo>
                <a:lnTo>
                  <a:pt x="0" y="5860"/>
                </a:lnTo>
                <a:cubicBezTo>
                  <a:pt x="0" y="6396"/>
                  <a:pt x="473" y="6868"/>
                  <a:pt x="1008" y="6868"/>
                </a:cubicBezTo>
                <a:lnTo>
                  <a:pt x="2111" y="6868"/>
                </a:lnTo>
                <a:cubicBezTo>
                  <a:pt x="2237" y="7183"/>
                  <a:pt x="2489" y="7435"/>
                  <a:pt x="2804" y="7498"/>
                </a:cubicBezTo>
                <a:lnTo>
                  <a:pt x="3434" y="11373"/>
                </a:lnTo>
                <a:cubicBezTo>
                  <a:pt x="3466" y="11531"/>
                  <a:pt x="3592" y="11657"/>
                  <a:pt x="3781" y="11657"/>
                </a:cubicBezTo>
                <a:lnTo>
                  <a:pt x="7877" y="11657"/>
                </a:lnTo>
                <a:cubicBezTo>
                  <a:pt x="8034" y="11657"/>
                  <a:pt x="8192" y="11531"/>
                  <a:pt x="8223" y="11373"/>
                </a:cubicBezTo>
                <a:lnTo>
                  <a:pt x="8853" y="7498"/>
                </a:lnTo>
                <a:cubicBezTo>
                  <a:pt x="9168" y="7435"/>
                  <a:pt x="9420" y="7183"/>
                  <a:pt x="9546" y="6868"/>
                </a:cubicBezTo>
                <a:lnTo>
                  <a:pt x="10680" y="6868"/>
                </a:lnTo>
                <a:cubicBezTo>
                  <a:pt x="11216" y="6868"/>
                  <a:pt x="11689" y="6396"/>
                  <a:pt x="11689" y="5860"/>
                </a:cubicBezTo>
                <a:lnTo>
                  <a:pt x="11689" y="1008"/>
                </a:lnTo>
                <a:cubicBezTo>
                  <a:pt x="11657" y="473"/>
                  <a:pt x="11185" y="0"/>
                  <a:pt x="10617"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nvGrpSpPr>
          <p:cNvPr id="11340" name="Google Shape;11340;p115"/>
          <p:cNvGrpSpPr/>
          <p:nvPr/>
        </p:nvGrpSpPr>
        <p:grpSpPr>
          <a:xfrm>
            <a:off x="7702849" y="2175008"/>
            <a:ext cx="432177" cy="561061"/>
            <a:chOff x="-3462150" y="2046625"/>
            <a:chExt cx="224500" cy="291450"/>
          </a:xfrm>
        </p:grpSpPr>
        <p:sp>
          <p:nvSpPr>
            <p:cNvPr id="11341" name="Google Shape;11341;p115"/>
            <p:cNvSpPr/>
            <p:nvPr/>
          </p:nvSpPr>
          <p:spPr>
            <a:xfrm>
              <a:off x="-3425125" y="2253000"/>
              <a:ext cx="51225" cy="50425"/>
            </a:xfrm>
            <a:custGeom>
              <a:avLst/>
              <a:gdLst/>
              <a:ahLst/>
              <a:cxnLst/>
              <a:rect l="l" t="t" r="r" b="b"/>
              <a:pathLst>
                <a:path w="2049" h="2017" extrusionOk="0">
                  <a:moveTo>
                    <a:pt x="1009" y="662"/>
                  </a:moveTo>
                  <a:cubicBezTo>
                    <a:pt x="1198" y="662"/>
                    <a:pt x="1355" y="819"/>
                    <a:pt x="1355" y="1008"/>
                  </a:cubicBezTo>
                  <a:cubicBezTo>
                    <a:pt x="1355" y="1197"/>
                    <a:pt x="1166" y="1355"/>
                    <a:pt x="1009" y="1355"/>
                  </a:cubicBezTo>
                  <a:cubicBezTo>
                    <a:pt x="820" y="1355"/>
                    <a:pt x="662" y="1197"/>
                    <a:pt x="662" y="1008"/>
                  </a:cubicBezTo>
                  <a:cubicBezTo>
                    <a:pt x="662" y="819"/>
                    <a:pt x="820" y="662"/>
                    <a:pt x="1009" y="662"/>
                  </a:cubicBezTo>
                  <a:close/>
                  <a:moveTo>
                    <a:pt x="1009" y="0"/>
                  </a:moveTo>
                  <a:cubicBezTo>
                    <a:pt x="473" y="0"/>
                    <a:pt x="0" y="441"/>
                    <a:pt x="0" y="1008"/>
                  </a:cubicBezTo>
                  <a:cubicBezTo>
                    <a:pt x="0" y="1575"/>
                    <a:pt x="473" y="2016"/>
                    <a:pt x="1009" y="2016"/>
                  </a:cubicBezTo>
                  <a:cubicBezTo>
                    <a:pt x="1576" y="2016"/>
                    <a:pt x="2048" y="1575"/>
                    <a:pt x="2048" y="1008"/>
                  </a:cubicBezTo>
                  <a:cubicBezTo>
                    <a:pt x="2048" y="441"/>
                    <a:pt x="1576" y="0"/>
                    <a:pt x="1009"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1342" name="Google Shape;11342;p115"/>
            <p:cNvSpPr/>
            <p:nvPr/>
          </p:nvSpPr>
          <p:spPr>
            <a:xfrm>
              <a:off x="-3425125" y="2116725"/>
              <a:ext cx="51225" cy="49650"/>
            </a:xfrm>
            <a:custGeom>
              <a:avLst/>
              <a:gdLst/>
              <a:ahLst/>
              <a:cxnLst/>
              <a:rect l="l" t="t" r="r" b="b"/>
              <a:pathLst>
                <a:path w="2049" h="1986" extrusionOk="0">
                  <a:moveTo>
                    <a:pt x="343" y="1"/>
                  </a:moveTo>
                  <a:cubicBezTo>
                    <a:pt x="252" y="1"/>
                    <a:pt x="158" y="32"/>
                    <a:pt x="95" y="95"/>
                  </a:cubicBezTo>
                  <a:cubicBezTo>
                    <a:pt x="0" y="190"/>
                    <a:pt x="0" y="442"/>
                    <a:pt x="95" y="536"/>
                  </a:cubicBezTo>
                  <a:lnTo>
                    <a:pt x="536" y="977"/>
                  </a:lnTo>
                  <a:lnTo>
                    <a:pt x="95" y="1418"/>
                  </a:lnTo>
                  <a:cubicBezTo>
                    <a:pt x="0" y="1544"/>
                    <a:pt x="0" y="1765"/>
                    <a:pt x="95" y="1891"/>
                  </a:cubicBezTo>
                  <a:cubicBezTo>
                    <a:pt x="158" y="1954"/>
                    <a:pt x="252" y="1986"/>
                    <a:pt x="343" y="1986"/>
                  </a:cubicBezTo>
                  <a:cubicBezTo>
                    <a:pt x="434" y="1986"/>
                    <a:pt x="520" y="1954"/>
                    <a:pt x="568" y="1891"/>
                  </a:cubicBezTo>
                  <a:lnTo>
                    <a:pt x="1009" y="1450"/>
                  </a:lnTo>
                  <a:lnTo>
                    <a:pt x="1450" y="1891"/>
                  </a:lnTo>
                  <a:cubicBezTo>
                    <a:pt x="1513" y="1954"/>
                    <a:pt x="1599" y="1986"/>
                    <a:pt x="1686" y="1986"/>
                  </a:cubicBezTo>
                  <a:cubicBezTo>
                    <a:pt x="1773" y="1986"/>
                    <a:pt x="1859" y="1954"/>
                    <a:pt x="1922" y="1891"/>
                  </a:cubicBezTo>
                  <a:cubicBezTo>
                    <a:pt x="2048" y="1765"/>
                    <a:pt x="2048" y="1544"/>
                    <a:pt x="1922" y="1418"/>
                  </a:cubicBezTo>
                  <a:lnTo>
                    <a:pt x="1481" y="977"/>
                  </a:lnTo>
                  <a:lnTo>
                    <a:pt x="1922" y="536"/>
                  </a:lnTo>
                  <a:cubicBezTo>
                    <a:pt x="2048" y="442"/>
                    <a:pt x="2048" y="190"/>
                    <a:pt x="1922" y="95"/>
                  </a:cubicBezTo>
                  <a:cubicBezTo>
                    <a:pt x="1859" y="32"/>
                    <a:pt x="1773" y="1"/>
                    <a:pt x="1686" y="1"/>
                  </a:cubicBezTo>
                  <a:cubicBezTo>
                    <a:pt x="1599" y="1"/>
                    <a:pt x="1513" y="32"/>
                    <a:pt x="1450" y="95"/>
                  </a:cubicBezTo>
                  <a:lnTo>
                    <a:pt x="1009" y="505"/>
                  </a:lnTo>
                  <a:lnTo>
                    <a:pt x="568" y="95"/>
                  </a:lnTo>
                  <a:cubicBezTo>
                    <a:pt x="520" y="32"/>
                    <a:pt x="434" y="1"/>
                    <a:pt x="343"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1343" name="Google Shape;11343;p115"/>
            <p:cNvSpPr/>
            <p:nvPr/>
          </p:nvSpPr>
          <p:spPr>
            <a:xfrm>
              <a:off x="-3425125" y="2185250"/>
              <a:ext cx="51225" cy="49650"/>
            </a:xfrm>
            <a:custGeom>
              <a:avLst/>
              <a:gdLst/>
              <a:ahLst/>
              <a:cxnLst/>
              <a:rect l="l" t="t" r="r" b="b"/>
              <a:pathLst>
                <a:path w="2049" h="1986" extrusionOk="0">
                  <a:moveTo>
                    <a:pt x="343" y="1"/>
                  </a:moveTo>
                  <a:cubicBezTo>
                    <a:pt x="252" y="1"/>
                    <a:pt x="158" y="32"/>
                    <a:pt x="95" y="95"/>
                  </a:cubicBezTo>
                  <a:cubicBezTo>
                    <a:pt x="0" y="221"/>
                    <a:pt x="0" y="442"/>
                    <a:pt x="95" y="568"/>
                  </a:cubicBezTo>
                  <a:lnTo>
                    <a:pt x="536" y="1009"/>
                  </a:lnTo>
                  <a:lnTo>
                    <a:pt x="95" y="1418"/>
                  </a:lnTo>
                  <a:cubicBezTo>
                    <a:pt x="0" y="1544"/>
                    <a:pt x="0" y="1796"/>
                    <a:pt x="95" y="1891"/>
                  </a:cubicBezTo>
                  <a:cubicBezTo>
                    <a:pt x="158" y="1954"/>
                    <a:pt x="252" y="1985"/>
                    <a:pt x="343" y="1985"/>
                  </a:cubicBezTo>
                  <a:cubicBezTo>
                    <a:pt x="434" y="1985"/>
                    <a:pt x="520" y="1954"/>
                    <a:pt x="568" y="1891"/>
                  </a:cubicBezTo>
                  <a:lnTo>
                    <a:pt x="1009" y="1481"/>
                  </a:lnTo>
                  <a:lnTo>
                    <a:pt x="1450" y="1891"/>
                  </a:lnTo>
                  <a:cubicBezTo>
                    <a:pt x="1513" y="1954"/>
                    <a:pt x="1599" y="1985"/>
                    <a:pt x="1686" y="1985"/>
                  </a:cubicBezTo>
                  <a:cubicBezTo>
                    <a:pt x="1773" y="1985"/>
                    <a:pt x="1859" y="1954"/>
                    <a:pt x="1922" y="1891"/>
                  </a:cubicBezTo>
                  <a:cubicBezTo>
                    <a:pt x="2048" y="1796"/>
                    <a:pt x="2048" y="1544"/>
                    <a:pt x="1922" y="1418"/>
                  </a:cubicBezTo>
                  <a:lnTo>
                    <a:pt x="1481" y="1009"/>
                  </a:lnTo>
                  <a:lnTo>
                    <a:pt x="1922" y="568"/>
                  </a:lnTo>
                  <a:cubicBezTo>
                    <a:pt x="2048" y="410"/>
                    <a:pt x="2048" y="221"/>
                    <a:pt x="1922" y="95"/>
                  </a:cubicBezTo>
                  <a:cubicBezTo>
                    <a:pt x="1859" y="32"/>
                    <a:pt x="1773" y="1"/>
                    <a:pt x="1686" y="1"/>
                  </a:cubicBezTo>
                  <a:cubicBezTo>
                    <a:pt x="1599" y="1"/>
                    <a:pt x="1513" y="32"/>
                    <a:pt x="1450" y="95"/>
                  </a:cubicBezTo>
                  <a:lnTo>
                    <a:pt x="1009" y="536"/>
                  </a:lnTo>
                  <a:lnTo>
                    <a:pt x="568" y="95"/>
                  </a:lnTo>
                  <a:cubicBezTo>
                    <a:pt x="520" y="32"/>
                    <a:pt x="434" y="1"/>
                    <a:pt x="343"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1344" name="Google Shape;11344;p115"/>
            <p:cNvSpPr/>
            <p:nvPr/>
          </p:nvSpPr>
          <p:spPr>
            <a:xfrm>
              <a:off x="-3462150" y="2046625"/>
              <a:ext cx="224500" cy="291450"/>
            </a:xfrm>
            <a:custGeom>
              <a:avLst/>
              <a:gdLst/>
              <a:ahLst/>
              <a:cxnLst/>
              <a:rect l="l" t="t" r="r" b="b"/>
              <a:pathLst>
                <a:path w="8980" h="11658" extrusionOk="0">
                  <a:moveTo>
                    <a:pt x="5924" y="694"/>
                  </a:moveTo>
                  <a:cubicBezTo>
                    <a:pt x="6113" y="694"/>
                    <a:pt x="6270" y="851"/>
                    <a:pt x="6270" y="1040"/>
                  </a:cubicBezTo>
                  <a:cubicBezTo>
                    <a:pt x="6270" y="1229"/>
                    <a:pt x="6113" y="1387"/>
                    <a:pt x="5924" y="1387"/>
                  </a:cubicBezTo>
                  <a:lnTo>
                    <a:pt x="3151" y="1387"/>
                  </a:lnTo>
                  <a:cubicBezTo>
                    <a:pt x="2962" y="1387"/>
                    <a:pt x="2805" y="1229"/>
                    <a:pt x="2805" y="1040"/>
                  </a:cubicBezTo>
                  <a:cubicBezTo>
                    <a:pt x="2805" y="851"/>
                    <a:pt x="2962" y="694"/>
                    <a:pt x="3151" y="694"/>
                  </a:cubicBezTo>
                  <a:close/>
                  <a:moveTo>
                    <a:pt x="8034" y="1356"/>
                  </a:moveTo>
                  <a:cubicBezTo>
                    <a:pt x="8255" y="1356"/>
                    <a:pt x="8413" y="1513"/>
                    <a:pt x="8413" y="1702"/>
                  </a:cubicBezTo>
                  <a:lnTo>
                    <a:pt x="8413" y="10649"/>
                  </a:lnTo>
                  <a:lnTo>
                    <a:pt x="8287" y="10649"/>
                  </a:lnTo>
                  <a:cubicBezTo>
                    <a:pt x="8287" y="10838"/>
                    <a:pt x="8129" y="10996"/>
                    <a:pt x="7940" y="10996"/>
                  </a:cubicBezTo>
                  <a:lnTo>
                    <a:pt x="1103" y="10996"/>
                  </a:lnTo>
                  <a:cubicBezTo>
                    <a:pt x="914" y="10996"/>
                    <a:pt x="757" y="10838"/>
                    <a:pt x="757" y="10649"/>
                  </a:cubicBezTo>
                  <a:lnTo>
                    <a:pt x="757" y="1702"/>
                  </a:lnTo>
                  <a:cubicBezTo>
                    <a:pt x="757" y="1513"/>
                    <a:pt x="914" y="1356"/>
                    <a:pt x="1103" y="1356"/>
                  </a:cubicBezTo>
                  <a:lnTo>
                    <a:pt x="2206" y="1356"/>
                  </a:lnTo>
                  <a:cubicBezTo>
                    <a:pt x="2364" y="1734"/>
                    <a:pt x="2742" y="2017"/>
                    <a:pt x="3214" y="2017"/>
                  </a:cubicBezTo>
                  <a:lnTo>
                    <a:pt x="5955" y="2017"/>
                  </a:lnTo>
                  <a:cubicBezTo>
                    <a:pt x="6396" y="2017"/>
                    <a:pt x="6774" y="1734"/>
                    <a:pt x="6932" y="1356"/>
                  </a:cubicBezTo>
                  <a:close/>
                  <a:moveTo>
                    <a:pt x="3120" y="1"/>
                  </a:moveTo>
                  <a:cubicBezTo>
                    <a:pt x="2679" y="1"/>
                    <a:pt x="2301" y="284"/>
                    <a:pt x="2143" y="694"/>
                  </a:cubicBezTo>
                  <a:lnTo>
                    <a:pt x="1040" y="694"/>
                  </a:lnTo>
                  <a:cubicBezTo>
                    <a:pt x="473" y="694"/>
                    <a:pt x="1" y="1166"/>
                    <a:pt x="1" y="1702"/>
                  </a:cubicBezTo>
                  <a:lnTo>
                    <a:pt x="1" y="10649"/>
                  </a:lnTo>
                  <a:cubicBezTo>
                    <a:pt x="1" y="11185"/>
                    <a:pt x="473" y="11658"/>
                    <a:pt x="1040" y="11658"/>
                  </a:cubicBezTo>
                  <a:lnTo>
                    <a:pt x="7877" y="11658"/>
                  </a:lnTo>
                  <a:cubicBezTo>
                    <a:pt x="8444" y="11658"/>
                    <a:pt x="8917" y="11185"/>
                    <a:pt x="8917" y="10649"/>
                  </a:cubicBezTo>
                  <a:lnTo>
                    <a:pt x="8917" y="1702"/>
                  </a:lnTo>
                  <a:cubicBezTo>
                    <a:pt x="8980" y="1166"/>
                    <a:pt x="8507" y="694"/>
                    <a:pt x="7971" y="694"/>
                  </a:cubicBezTo>
                  <a:lnTo>
                    <a:pt x="6869" y="694"/>
                  </a:lnTo>
                  <a:cubicBezTo>
                    <a:pt x="6711" y="284"/>
                    <a:pt x="6365" y="1"/>
                    <a:pt x="5892"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1345" name="Google Shape;11345;p115"/>
            <p:cNvSpPr/>
            <p:nvPr/>
          </p:nvSpPr>
          <p:spPr>
            <a:xfrm>
              <a:off x="-3358175" y="2133275"/>
              <a:ext cx="86650" cy="18125"/>
            </a:xfrm>
            <a:custGeom>
              <a:avLst/>
              <a:gdLst/>
              <a:ahLst/>
              <a:cxnLst/>
              <a:rect l="l" t="t" r="r" b="b"/>
              <a:pathLst>
                <a:path w="3466" h="725" extrusionOk="0">
                  <a:moveTo>
                    <a:pt x="347" y="0"/>
                  </a:moveTo>
                  <a:cubicBezTo>
                    <a:pt x="158" y="0"/>
                    <a:pt x="0" y="158"/>
                    <a:pt x="0" y="378"/>
                  </a:cubicBezTo>
                  <a:cubicBezTo>
                    <a:pt x="0" y="567"/>
                    <a:pt x="158" y="725"/>
                    <a:pt x="347" y="725"/>
                  </a:cubicBezTo>
                  <a:lnTo>
                    <a:pt x="3088" y="725"/>
                  </a:lnTo>
                  <a:cubicBezTo>
                    <a:pt x="3308" y="725"/>
                    <a:pt x="3466" y="567"/>
                    <a:pt x="3466" y="378"/>
                  </a:cubicBezTo>
                  <a:cubicBezTo>
                    <a:pt x="3466" y="158"/>
                    <a:pt x="3308" y="0"/>
                    <a:pt x="3088"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1346" name="Google Shape;11346;p115"/>
            <p:cNvSpPr/>
            <p:nvPr/>
          </p:nvSpPr>
          <p:spPr>
            <a:xfrm>
              <a:off x="-3358175" y="2201800"/>
              <a:ext cx="86650" cy="17350"/>
            </a:xfrm>
            <a:custGeom>
              <a:avLst/>
              <a:gdLst/>
              <a:ahLst/>
              <a:cxnLst/>
              <a:rect l="l" t="t" r="r" b="b"/>
              <a:pathLst>
                <a:path w="3466" h="694" extrusionOk="0">
                  <a:moveTo>
                    <a:pt x="347" y="0"/>
                  </a:moveTo>
                  <a:cubicBezTo>
                    <a:pt x="158" y="0"/>
                    <a:pt x="0" y="158"/>
                    <a:pt x="0" y="347"/>
                  </a:cubicBezTo>
                  <a:cubicBezTo>
                    <a:pt x="0" y="536"/>
                    <a:pt x="158" y="693"/>
                    <a:pt x="347" y="693"/>
                  </a:cubicBezTo>
                  <a:lnTo>
                    <a:pt x="3088" y="693"/>
                  </a:lnTo>
                  <a:cubicBezTo>
                    <a:pt x="3308" y="693"/>
                    <a:pt x="3466" y="536"/>
                    <a:pt x="3466" y="347"/>
                  </a:cubicBezTo>
                  <a:cubicBezTo>
                    <a:pt x="3466" y="158"/>
                    <a:pt x="3308" y="0"/>
                    <a:pt x="3088"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1347" name="Google Shape;11347;p115"/>
            <p:cNvSpPr/>
            <p:nvPr/>
          </p:nvSpPr>
          <p:spPr>
            <a:xfrm>
              <a:off x="-3358175" y="2270325"/>
              <a:ext cx="86650" cy="18125"/>
            </a:xfrm>
            <a:custGeom>
              <a:avLst/>
              <a:gdLst/>
              <a:ahLst/>
              <a:cxnLst/>
              <a:rect l="l" t="t" r="r" b="b"/>
              <a:pathLst>
                <a:path w="3466" h="725" extrusionOk="0">
                  <a:moveTo>
                    <a:pt x="347" y="0"/>
                  </a:moveTo>
                  <a:cubicBezTo>
                    <a:pt x="158" y="0"/>
                    <a:pt x="0" y="158"/>
                    <a:pt x="0" y="347"/>
                  </a:cubicBezTo>
                  <a:cubicBezTo>
                    <a:pt x="0" y="567"/>
                    <a:pt x="158" y="725"/>
                    <a:pt x="347" y="725"/>
                  </a:cubicBezTo>
                  <a:lnTo>
                    <a:pt x="3088" y="725"/>
                  </a:lnTo>
                  <a:cubicBezTo>
                    <a:pt x="3308" y="725"/>
                    <a:pt x="3466" y="567"/>
                    <a:pt x="3466" y="347"/>
                  </a:cubicBezTo>
                  <a:cubicBezTo>
                    <a:pt x="3466" y="158"/>
                    <a:pt x="3308" y="0"/>
                    <a:pt x="3088"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11348" name="Google Shape;11348;p115"/>
          <p:cNvGrpSpPr/>
          <p:nvPr/>
        </p:nvGrpSpPr>
        <p:grpSpPr>
          <a:xfrm>
            <a:off x="7670267" y="2852369"/>
            <a:ext cx="497341" cy="564092"/>
            <a:chOff x="-3478675" y="2405775"/>
            <a:chExt cx="258350" cy="293025"/>
          </a:xfrm>
        </p:grpSpPr>
        <p:sp>
          <p:nvSpPr>
            <p:cNvPr id="11349" name="Google Shape;11349;p115"/>
            <p:cNvSpPr/>
            <p:nvPr/>
          </p:nvSpPr>
          <p:spPr>
            <a:xfrm>
              <a:off x="-3478675" y="2405775"/>
              <a:ext cx="258350" cy="293025"/>
            </a:xfrm>
            <a:custGeom>
              <a:avLst/>
              <a:gdLst/>
              <a:ahLst/>
              <a:cxnLst/>
              <a:rect l="l" t="t" r="r" b="b"/>
              <a:pathLst>
                <a:path w="10334" h="11721" extrusionOk="0">
                  <a:moveTo>
                    <a:pt x="6018" y="694"/>
                  </a:moveTo>
                  <a:cubicBezTo>
                    <a:pt x="6175" y="694"/>
                    <a:pt x="6301" y="757"/>
                    <a:pt x="6333" y="915"/>
                  </a:cubicBezTo>
                  <a:lnTo>
                    <a:pt x="6490" y="1450"/>
                  </a:lnTo>
                  <a:lnTo>
                    <a:pt x="3781" y="1450"/>
                  </a:lnTo>
                  <a:lnTo>
                    <a:pt x="3970" y="915"/>
                  </a:lnTo>
                  <a:cubicBezTo>
                    <a:pt x="4033" y="757"/>
                    <a:pt x="4127" y="694"/>
                    <a:pt x="4285" y="694"/>
                  </a:cubicBezTo>
                  <a:close/>
                  <a:moveTo>
                    <a:pt x="9326" y="2049"/>
                  </a:moveTo>
                  <a:cubicBezTo>
                    <a:pt x="9546" y="2049"/>
                    <a:pt x="9704" y="2206"/>
                    <a:pt x="9704" y="2427"/>
                  </a:cubicBezTo>
                  <a:lnTo>
                    <a:pt x="9704" y="2773"/>
                  </a:lnTo>
                  <a:lnTo>
                    <a:pt x="756" y="2773"/>
                  </a:lnTo>
                  <a:lnTo>
                    <a:pt x="756" y="2427"/>
                  </a:lnTo>
                  <a:cubicBezTo>
                    <a:pt x="756" y="2206"/>
                    <a:pt x="914" y="2049"/>
                    <a:pt x="1103" y="2049"/>
                  </a:cubicBezTo>
                  <a:close/>
                  <a:moveTo>
                    <a:pt x="8916" y="3498"/>
                  </a:moveTo>
                  <a:lnTo>
                    <a:pt x="8317" y="10681"/>
                  </a:lnTo>
                  <a:cubicBezTo>
                    <a:pt x="8317" y="10839"/>
                    <a:pt x="8160" y="10996"/>
                    <a:pt x="7971" y="10996"/>
                  </a:cubicBezTo>
                  <a:lnTo>
                    <a:pt x="2363" y="10996"/>
                  </a:lnTo>
                  <a:cubicBezTo>
                    <a:pt x="2174" y="10996"/>
                    <a:pt x="2048" y="10902"/>
                    <a:pt x="2016" y="10681"/>
                  </a:cubicBezTo>
                  <a:lnTo>
                    <a:pt x="1418" y="3498"/>
                  </a:lnTo>
                  <a:close/>
                  <a:moveTo>
                    <a:pt x="4285" y="1"/>
                  </a:moveTo>
                  <a:cubicBezTo>
                    <a:pt x="3875" y="1"/>
                    <a:pt x="3466" y="285"/>
                    <a:pt x="3308" y="726"/>
                  </a:cubicBezTo>
                  <a:lnTo>
                    <a:pt x="3088" y="1450"/>
                  </a:lnTo>
                  <a:lnTo>
                    <a:pt x="1040" y="1450"/>
                  </a:lnTo>
                  <a:cubicBezTo>
                    <a:pt x="473" y="1450"/>
                    <a:pt x="0" y="1923"/>
                    <a:pt x="0" y="2458"/>
                  </a:cubicBezTo>
                  <a:lnTo>
                    <a:pt x="0" y="3120"/>
                  </a:lnTo>
                  <a:cubicBezTo>
                    <a:pt x="0" y="3341"/>
                    <a:pt x="158" y="3498"/>
                    <a:pt x="347" y="3498"/>
                  </a:cubicBezTo>
                  <a:lnTo>
                    <a:pt x="725" y="3498"/>
                  </a:lnTo>
                  <a:lnTo>
                    <a:pt x="1292" y="10776"/>
                  </a:lnTo>
                  <a:cubicBezTo>
                    <a:pt x="1355" y="11311"/>
                    <a:pt x="1764" y="11721"/>
                    <a:pt x="2331" y="11721"/>
                  </a:cubicBezTo>
                  <a:lnTo>
                    <a:pt x="7908" y="11721"/>
                  </a:lnTo>
                  <a:cubicBezTo>
                    <a:pt x="8475" y="11721"/>
                    <a:pt x="8916" y="11311"/>
                    <a:pt x="8948" y="10776"/>
                  </a:cubicBezTo>
                  <a:lnTo>
                    <a:pt x="9546" y="3498"/>
                  </a:lnTo>
                  <a:lnTo>
                    <a:pt x="9893" y="3498"/>
                  </a:lnTo>
                  <a:cubicBezTo>
                    <a:pt x="10082" y="3498"/>
                    <a:pt x="10239" y="3341"/>
                    <a:pt x="10239" y="3120"/>
                  </a:cubicBezTo>
                  <a:lnTo>
                    <a:pt x="10239" y="2458"/>
                  </a:lnTo>
                  <a:cubicBezTo>
                    <a:pt x="10334" y="1860"/>
                    <a:pt x="9861" y="1450"/>
                    <a:pt x="9294" y="1450"/>
                  </a:cubicBezTo>
                  <a:lnTo>
                    <a:pt x="7246" y="1450"/>
                  </a:lnTo>
                  <a:lnTo>
                    <a:pt x="7026" y="726"/>
                  </a:lnTo>
                  <a:cubicBezTo>
                    <a:pt x="6868" y="285"/>
                    <a:pt x="6490" y="1"/>
                    <a:pt x="6018"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1350" name="Google Shape;11350;p115"/>
            <p:cNvSpPr/>
            <p:nvPr/>
          </p:nvSpPr>
          <p:spPr>
            <a:xfrm>
              <a:off x="-3408575" y="2509750"/>
              <a:ext cx="17350" cy="154400"/>
            </a:xfrm>
            <a:custGeom>
              <a:avLst/>
              <a:gdLst/>
              <a:ahLst/>
              <a:cxnLst/>
              <a:rect l="l" t="t" r="r" b="b"/>
              <a:pathLst>
                <a:path w="694" h="6176" extrusionOk="0">
                  <a:moveTo>
                    <a:pt x="347" y="1"/>
                  </a:moveTo>
                  <a:cubicBezTo>
                    <a:pt x="158" y="1"/>
                    <a:pt x="0" y="158"/>
                    <a:pt x="0" y="347"/>
                  </a:cubicBezTo>
                  <a:lnTo>
                    <a:pt x="0" y="5829"/>
                  </a:lnTo>
                  <a:cubicBezTo>
                    <a:pt x="0" y="6018"/>
                    <a:pt x="158" y="6176"/>
                    <a:pt x="347" y="6176"/>
                  </a:cubicBezTo>
                  <a:cubicBezTo>
                    <a:pt x="536" y="6176"/>
                    <a:pt x="693" y="6018"/>
                    <a:pt x="693" y="5829"/>
                  </a:cubicBezTo>
                  <a:lnTo>
                    <a:pt x="693" y="347"/>
                  </a:lnTo>
                  <a:cubicBezTo>
                    <a:pt x="693" y="158"/>
                    <a:pt x="536" y="1"/>
                    <a:pt x="347"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1351" name="Google Shape;11351;p115"/>
            <p:cNvSpPr/>
            <p:nvPr/>
          </p:nvSpPr>
          <p:spPr>
            <a:xfrm>
              <a:off x="-3357400" y="2509750"/>
              <a:ext cx="17350" cy="154400"/>
            </a:xfrm>
            <a:custGeom>
              <a:avLst/>
              <a:gdLst/>
              <a:ahLst/>
              <a:cxnLst/>
              <a:rect l="l" t="t" r="r" b="b"/>
              <a:pathLst>
                <a:path w="694" h="6176" extrusionOk="0">
                  <a:moveTo>
                    <a:pt x="347" y="1"/>
                  </a:moveTo>
                  <a:cubicBezTo>
                    <a:pt x="158" y="1"/>
                    <a:pt x="1" y="158"/>
                    <a:pt x="1" y="347"/>
                  </a:cubicBezTo>
                  <a:lnTo>
                    <a:pt x="1" y="5829"/>
                  </a:lnTo>
                  <a:cubicBezTo>
                    <a:pt x="1" y="6018"/>
                    <a:pt x="158" y="6176"/>
                    <a:pt x="347" y="6176"/>
                  </a:cubicBezTo>
                  <a:cubicBezTo>
                    <a:pt x="536" y="6176"/>
                    <a:pt x="694" y="6018"/>
                    <a:pt x="694" y="5829"/>
                  </a:cubicBezTo>
                  <a:lnTo>
                    <a:pt x="694" y="347"/>
                  </a:lnTo>
                  <a:cubicBezTo>
                    <a:pt x="694" y="158"/>
                    <a:pt x="536" y="1"/>
                    <a:pt x="347"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1352" name="Google Shape;11352;p115"/>
            <p:cNvSpPr/>
            <p:nvPr/>
          </p:nvSpPr>
          <p:spPr>
            <a:xfrm>
              <a:off x="-3306200" y="2509750"/>
              <a:ext cx="17350" cy="154400"/>
            </a:xfrm>
            <a:custGeom>
              <a:avLst/>
              <a:gdLst/>
              <a:ahLst/>
              <a:cxnLst/>
              <a:rect l="l" t="t" r="r" b="b"/>
              <a:pathLst>
                <a:path w="694" h="6176" extrusionOk="0">
                  <a:moveTo>
                    <a:pt x="347" y="1"/>
                  </a:moveTo>
                  <a:cubicBezTo>
                    <a:pt x="158" y="1"/>
                    <a:pt x="1" y="158"/>
                    <a:pt x="1" y="347"/>
                  </a:cubicBezTo>
                  <a:lnTo>
                    <a:pt x="1" y="5829"/>
                  </a:lnTo>
                  <a:cubicBezTo>
                    <a:pt x="1" y="6018"/>
                    <a:pt x="158" y="6176"/>
                    <a:pt x="347" y="6176"/>
                  </a:cubicBezTo>
                  <a:cubicBezTo>
                    <a:pt x="536" y="6176"/>
                    <a:pt x="694" y="6018"/>
                    <a:pt x="694" y="5829"/>
                  </a:cubicBezTo>
                  <a:lnTo>
                    <a:pt x="694" y="347"/>
                  </a:lnTo>
                  <a:cubicBezTo>
                    <a:pt x="694" y="158"/>
                    <a:pt x="536" y="1"/>
                    <a:pt x="347"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11353" name="Google Shape;11353;p115"/>
          <p:cNvGrpSpPr/>
          <p:nvPr/>
        </p:nvGrpSpPr>
        <p:grpSpPr>
          <a:xfrm>
            <a:off x="7753625" y="3547197"/>
            <a:ext cx="362441" cy="562552"/>
            <a:chOff x="-3443250" y="2765725"/>
            <a:chExt cx="188275" cy="292225"/>
          </a:xfrm>
        </p:grpSpPr>
        <p:sp>
          <p:nvSpPr>
            <p:cNvPr id="11354" name="Google Shape;11354;p115"/>
            <p:cNvSpPr/>
            <p:nvPr/>
          </p:nvSpPr>
          <p:spPr>
            <a:xfrm>
              <a:off x="-3443250" y="2765725"/>
              <a:ext cx="188275" cy="292225"/>
            </a:xfrm>
            <a:custGeom>
              <a:avLst/>
              <a:gdLst/>
              <a:ahLst/>
              <a:cxnLst/>
              <a:rect l="l" t="t" r="r" b="b"/>
              <a:pathLst>
                <a:path w="7531" h="11689" extrusionOk="0">
                  <a:moveTo>
                    <a:pt x="6491" y="662"/>
                  </a:moveTo>
                  <a:cubicBezTo>
                    <a:pt x="6711" y="662"/>
                    <a:pt x="6869" y="820"/>
                    <a:pt x="6869" y="1009"/>
                  </a:cubicBezTo>
                  <a:lnTo>
                    <a:pt x="6869" y="7908"/>
                  </a:lnTo>
                  <a:cubicBezTo>
                    <a:pt x="6869" y="8097"/>
                    <a:pt x="6711" y="8255"/>
                    <a:pt x="6491" y="8255"/>
                  </a:cubicBezTo>
                  <a:lnTo>
                    <a:pt x="1040" y="8255"/>
                  </a:lnTo>
                  <a:cubicBezTo>
                    <a:pt x="851" y="8255"/>
                    <a:pt x="694" y="8097"/>
                    <a:pt x="694" y="7908"/>
                  </a:cubicBezTo>
                  <a:lnTo>
                    <a:pt x="694" y="1009"/>
                  </a:lnTo>
                  <a:cubicBezTo>
                    <a:pt x="694" y="820"/>
                    <a:pt x="851" y="662"/>
                    <a:pt x="1040" y="662"/>
                  </a:cubicBezTo>
                  <a:close/>
                  <a:moveTo>
                    <a:pt x="4821" y="8948"/>
                  </a:moveTo>
                  <a:lnTo>
                    <a:pt x="4821" y="10996"/>
                  </a:lnTo>
                  <a:lnTo>
                    <a:pt x="2773" y="10996"/>
                  </a:lnTo>
                  <a:lnTo>
                    <a:pt x="2773" y="8948"/>
                  </a:lnTo>
                  <a:close/>
                  <a:moveTo>
                    <a:pt x="1040" y="1"/>
                  </a:moveTo>
                  <a:cubicBezTo>
                    <a:pt x="473" y="1"/>
                    <a:pt x="1" y="473"/>
                    <a:pt x="1" y="1009"/>
                  </a:cubicBezTo>
                  <a:lnTo>
                    <a:pt x="1" y="7908"/>
                  </a:lnTo>
                  <a:cubicBezTo>
                    <a:pt x="1" y="8475"/>
                    <a:pt x="473" y="8917"/>
                    <a:pt x="1040" y="8917"/>
                  </a:cubicBezTo>
                  <a:lnTo>
                    <a:pt x="2049" y="8917"/>
                  </a:lnTo>
                  <a:lnTo>
                    <a:pt x="2049" y="10964"/>
                  </a:lnTo>
                  <a:lnTo>
                    <a:pt x="1040" y="10964"/>
                  </a:lnTo>
                  <a:cubicBezTo>
                    <a:pt x="851" y="10964"/>
                    <a:pt x="694" y="11122"/>
                    <a:pt x="694" y="11342"/>
                  </a:cubicBezTo>
                  <a:cubicBezTo>
                    <a:pt x="694" y="11531"/>
                    <a:pt x="851" y="11689"/>
                    <a:pt x="1040" y="11689"/>
                  </a:cubicBezTo>
                  <a:lnTo>
                    <a:pt x="6491" y="11689"/>
                  </a:lnTo>
                  <a:cubicBezTo>
                    <a:pt x="6711" y="11689"/>
                    <a:pt x="6869" y="11531"/>
                    <a:pt x="6869" y="11342"/>
                  </a:cubicBezTo>
                  <a:cubicBezTo>
                    <a:pt x="6869" y="11122"/>
                    <a:pt x="6711" y="10964"/>
                    <a:pt x="6491" y="10964"/>
                  </a:cubicBezTo>
                  <a:lnTo>
                    <a:pt x="5483" y="10964"/>
                  </a:lnTo>
                  <a:lnTo>
                    <a:pt x="5483" y="8917"/>
                  </a:lnTo>
                  <a:lnTo>
                    <a:pt x="6491" y="8917"/>
                  </a:lnTo>
                  <a:cubicBezTo>
                    <a:pt x="7058" y="8917"/>
                    <a:pt x="7531" y="8475"/>
                    <a:pt x="7531" y="7908"/>
                  </a:cubicBezTo>
                  <a:lnTo>
                    <a:pt x="7531" y="1009"/>
                  </a:lnTo>
                  <a:cubicBezTo>
                    <a:pt x="7531" y="442"/>
                    <a:pt x="7089" y="1"/>
                    <a:pt x="6491"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1355" name="Google Shape;11355;p115"/>
            <p:cNvSpPr/>
            <p:nvPr/>
          </p:nvSpPr>
          <p:spPr>
            <a:xfrm>
              <a:off x="-3411725" y="2799375"/>
              <a:ext cx="124450" cy="86100"/>
            </a:xfrm>
            <a:custGeom>
              <a:avLst/>
              <a:gdLst/>
              <a:ahLst/>
              <a:cxnLst/>
              <a:rect l="l" t="t" r="r" b="b"/>
              <a:pathLst>
                <a:path w="4978" h="3444" extrusionOk="0">
                  <a:moveTo>
                    <a:pt x="1859" y="1144"/>
                  </a:moveTo>
                  <a:lnTo>
                    <a:pt x="2678" y="2750"/>
                  </a:lnTo>
                  <a:lnTo>
                    <a:pt x="1040" y="2750"/>
                  </a:lnTo>
                  <a:lnTo>
                    <a:pt x="1859" y="1144"/>
                  </a:lnTo>
                  <a:close/>
                  <a:moveTo>
                    <a:pt x="3151" y="1049"/>
                  </a:moveTo>
                  <a:lnTo>
                    <a:pt x="4033" y="2782"/>
                  </a:lnTo>
                  <a:lnTo>
                    <a:pt x="3403" y="2782"/>
                  </a:lnTo>
                  <a:lnTo>
                    <a:pt x="3403" y="2750"/>
                  </a:lnTo>
                  <a:lnTo>
                    <a:pt x="2804" y="1553"/>
                  </a:lnTo>
                  <a:lnTo>
                    <a:pt x="3151" y="1049"/>
                  </a:lnTo>
                  <a:close/>
                  <a:moveTo>
                    <a:pt x="3213" y="1"/>
                  </a:moveTo>
                  <a:cubicBezTo>
                    <a:pt x="3110" y="1"/>
                    <a:pt x="3003" y="48"/>
                    <a:pt x="2930" y="135"/>
                  </a:cubicBezTo>
                  <a:lnTo>
                    <a:pt x="2457" y="829"/>
                  </a:lnTo>
                  <a:lnTo>
                    <a:pt x="2142" y="198"/>
                  </a:lnTo>
                  <a:cubicBezTo>
                    <a:pt x="2079" y="72"/>
                    <a:pt x="1961" y="9"/>
                    <a:pt x="1839" y="9"/>
                  </a:cubicBezTo>
                  <a:cubicBezTo>
                    <a:pt x="1717" y="9"/>
                    <a:pt x="1591" y="72"/>
                    <a:pt x="1512" y="198"/>
                  </a:cubicBezTo>
                  <a:lnTo>
                    <a:pt x="126" y="2939"/>
                  </a:lnTo>
                  <a:cubicBezTo>
                    <a:pt x="0" y="3191"/>
                    <a:pt x="158" y="3443"/>
                    <a:pt x="441" y="3443"/>
                  </a:cubicBezTo>
                  <a:lnTo>
                    <a:pt x="4537" y="3443"/>
                  </a:lnTo>
                  <a:cubicBezTo>
                    <a:pt x="4757" y="3443"/>
                    <a:pt x="4978" y="3191"/>
                    <a:pt x="4852" y="2939"/>
                  </a:cubicBezTo>
                  <a:lnTo>
                    <a:pt x="3497" y="198"/>
                  </a:lnTo>
                  <a:cubicBezTo>
                    <a:pt x="3446" y="63"/>
                    <a:pt x="3332" y="1"/>
                    <a:pt x="3213"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1356" name="Google Shape;11356;p115"/>
            <p:cNvSpPr/>
            <p:nvPr/>
          </p:nvSpPr>
          <p:spPr>
            <a:xfrm>
              <a:off x="-3392825" y="2903575"/>
              <a:ext cx="86650" cy="17350"/>
            </a:xfrm>
            <a:custGeom>
              <a:avLst/>
              <a:gdLst/>
              <a:ahLst/>
              <a:cxnLst/>
              <a:rect l="l" t="t" r="r" b="b"/>
              <a:pathLst>
                <a:path w="3466" h="694" extrusionOk="0">
                  <a:moveTo>
                    <a:pt x="347" y="0"/>
                  </a:moveTo>
                  <a:cubicBezTo>
                    <a:pt x="158" y="0"/>
                    <a:pt x="0" y="158"/>
                    <a:pt x="0" y="347"/>
                  </a:cubicBezTo>
                  <a:cubicBezTo>
                    <a:pt x="0" y="536"/>
                    <a:pt x="158" y="693"/>
                    <a:pt x="347" y="693"/>
                  </a:cubicBezTo>
                  <a:lnTo>
                    <a:pt x="3119" y="693"/>
                  </a:lnTo>
                  <a:cubicBezTo>
                    <a:pt x="3308" y="693"/>
                    <a:pt x="3466" y="536"/>
                    <a:pt x="3466" y="347"/>
                  </a:cubicBezTo>
                  <a:cubicBezTo>
                    <a:pt x="3466" y="158"/>
                    <a:pt x="3308" y="0"/>
                    <a:pt x="3119"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1357" name="Google Shape;11357;p115"/>
            <p:cNvSpPr/>
            <p:nvPr/>
          </p:nvSpPr>
          <p:spPr>
            <a:xfrm>
              <a:off x="-3392825" y="2938225"/>
              <a:ext cx="86650" cy="17350"/>
            </a:xfrm>
            <a:custGeom>
              <a:avLst/>
              <a:gdLst/>
              <a:ahLst/>
              <a:cxnLst/>
              <a:rect l="l" t="t" r="r" b="b"/>
              <a:pathLst>
                <a:path w="3466" h="694" extrusionOk="0">
                  <a:moveTo>
                    <a:pt x="347" y="0"/>
                  </a:moveTo>
                  <a:cubicBezTo>
                    <a:pt x="158" y="0"/>
                    <a:pt x="0" y="158"/>
                    <a:pt x="0" y="347"/>
                  </a:cubicBezTo>
                  <a:cubicBezTo>
                    <a:pt x="0" y="536"/>
                    <a:pt x="158" y="693"/>
                    <a:pt x="347" y="693"/>
                  </a:cubicBezTo>
                  <a:lnTo>
                    <a:pt x="3119" y="693"/>
                  </a:lnTo>
                  <a:cubicBezTo>
                    <a:pt x="3308" y="693"/>
                    <a:pt x="3466" y="536"/>
                    <a:pt x="3466" y="347"/>
                  </a:cubicBezTo>
                  <a:cubicBezTo>
                    <a:pt x="3466" y="158"/>
                    <a:pt x="3308" y="0"/>
                    <a:pt x="3119"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11358" name="Google Shape;11358;p115"/>
          <p:cNvGrpSpPr/>
          <p:nvPr/>
        </p:nvGrpSpPr>
        <p:grpSpPr>
          <a:xfrm>
            <a:off x="1125486" y="4307913"/>
            <a:ext cx="495849" cy="564092"/>
            <a:chOff x="-1684475" y="2049000"/>
            <a:chExt cx="257575" cy="293025"/>
          </a:xfrm>
        </p:grpSpPr>
        <p:sp>
          <p:nvSpPr>
            <p:cNvPr id="11359" name="Google Shape;11359;p115"/>
            <p:cNvSpPr/>
            <p:nvPr/>
          </p:nvSpPr>
          <p:spPr>
            <a:xfrm>
              <a:off x="-1684475" y="2049000"/>
              <a:ext cx="257575" cy="293025"/>
            </a:xfrm>
            <a:custGeom>
              <a:avLst/>
              <a:gdLst/>
              <a:ahLst/>
              <a:cxnLst/>
              <a:rect l="l" t="t" r="r" b="b"/>
              <a:pathLst>
                <a:path w="10303" h="11721" extrusionOk="0">
                  <a:moveTo>
                    <a:pt x="1355" y="693"/>
                  </a:moveTo>
                  <a:lnTo>
                    <a:pt x="1355" y="1387"/>
                  </a:lnTo>
                  <a:lnTo>
                    <a:pt x="694" y="1387"/>
                  </a:lnTo>
                  <a:lnTo>
                    <a:pt x="694" y="693"/>
                  </a:lnTo>
                  <a:close/>
                  <a:moveTo>
                    <a:pt x="9546" y="693"/>
                  </a:moveTo>
                  <a:lnTo>
                    <a:pt x="9546" y="1387"/>
                  </a:lnTo>
                  <a:lnTo>
                    <a:pt x="8885" y="1387"/>
                  </a:lnTo>
                  <a:lnTo>
                    <a:pt x="8885" y="693"/>
                  </a:lnTo>
                  <a:close/>
                  <a:moveTo>
                    <a:pt x="8223" y="1387"/>
                  </a:moveTo>
                  <a:lnTo>
                    <a:pt x="8223" y="1733"/>
                  </a:lnTo>
                  <a:cubicBezTo>
                    <a:pt x="8223" y="1922"/>
                    <a:pt x="8381" y="2080"/>
                    <a:pt x="8570" y="2080"/>
                  </a:cubicBezTo>
                  <a:lnTo>
                    <a:pt x="8916" y="2080"/>
                  </a:lnTo>
                  <a:lnTo>
                    <a:pt x="8916" y="9641"/>
                  </a:lnTo>
                  <a:lnTo>
                    <a:pt x="8538" y="9641"/>
                  </a:lnTo>
                  <a:cubicBezTo>
                    <a:pt x="8349" y="9641"/>
                    <a:pt x="8192" y="9798"/>
                    <a:pt x="8192" y="9987"/>
                  </a:cubicBezTo>
                  <a:lnTo>
                    <a:pt x="8192" y="10365"/>
                  </a:lnTo>
                  <a:lnTo>
                    <a:pt x="2080" y="10365"/>
                  </a:lnTo>
                  <a:lnTo>
                    <a:pt x="2080" y="9987"/>
                  </a:lnTo>
                  <a:cubicBezTo>
                    <a:pt x="2080" y="9798"/>
                    <a:pt x="1922" y="9641"/>
                    <a:pt x="1733" y="9641"/>
                  </a:cubicBezTo>
                  <a:lnTo>
                    <a:pt x="1355" y="9641"/>
                  </a:lnTo>
                  <a:lnTo>
                    <a:pt x="1355" y="2080"/>
                  </a:lnTo>
                  <a:lnTo>
                    <a:pt x="1733" y="2080"/>
                  </a:lnTo>
                  <a:cubicBezTo>
                    <a:pt x="1922" y="2080"/>
                    <a:pt x="2080" y="1922"/>
                    <a:pt x="2080" y="1733"/>
                  </a:cubicBezTo>
                  <a:lnTo>
                    <a:pt x="2080" y="1387"/>
                  </a:lnTo>
                  <a:close/>
                  <a:moveTo>
                    <a:pt x="1355" y="10365"/>
                  </a:moveTo>
                  <a:lnTo>
                    <a:pt x="1355" y="11027"/>
                  </a:lnTo>
                  <a:lnTo>
                    <a:pt x="694" y="11027"/>
                  </a:lnTo>
                  <a:lnTo>
                    <a:pt x="694" y="10365"/>
                  </a:lnTo>
                  <a:close/>
                  <a:moveTo>
                    <a:pt x="9609" y="10365"/>
                  </a:moveTo>
                  <a:lnTo>
                    <a:pt x="9609" y="11027"/>
                  </a:lnTo>
                  <a:lnTo>
                    <a:pt x="8916" y="11027"/>
                  </a:lnTo>
                  <a:lnTo>
                    <a:pt x="8916" y="10365"/>
                  </a:lnTo>
                  <a:close/>
                  <a:moveTo>
                    <a:pt x="347" y="0"/>
                  </a:moveTo>
                  <a:cubicBezTo>
                    <a:pt x="158" y="0"/>
                    <a:pt x="0" y="158"/>
                    <a:pt x="0" y="347"/>
                  </a:cubicBezTo>
                  <a:lnTo>
                    <a:pt x="0" y="1733"/>
                  </a:lnTo>
                  <a:cubicBezTo>
                    <a:pt x="0" y="1922"/>
                    <a:pt x="158" y="2080"/>
                    <a:pt x="347" y="2080"/>
                  </a:cubicBezTo>
                  <a:lnTo>
                    <a:pt x="694" y="2080"/>
                  </a:lnTo>
                  <a:lnTo>
                    <a:pt x="694" y="9641"/>
                  </a:lnTo>
                  <a:lnTo>
                    <a:pt x="347" y="9641"/>
                  </a:lnTo>
                  <a:cubicBezTo>
                    <a:pt x="158" y="9641"/>
                    <a:pt x="0" y="9798"/>
                    <a:pt x="0" y="9987"/>
                  </a:cubicBezTo>
                  <a:lnTo>
                    <a:pt x="0" y="11374"/>
                  </a:lnTo>
                  <a:cubicBezTo>
                    <a:pt x="0" y="11563"/>
                    <a:pt x="158" y="11720"/>
                    <a:pt x="347" y="11720"/>
                  </a:cubicBezTo>
                  <a:lnTo>
                    <a:pt x="1733" y="11720"/>
                  </a:lnTo>
                  <a:cubicBezTo>
                    <a:pt x="1922" y="11720"/>
                    <a:pt x="2080" y="11563"/>
                    <a:pt x="2080" y="11374"/>
                  </a:cubicBezTo>
                  <a:lnTo>
                    <a:pt x="2080" y="11027"/>
                  </a:lnTo>
                  <a:lnTo>
                    <a:pt x="8223" y="11027"/>
                  </a:lnTo>
                  <a:lnTo>
                    <a:pt x="8223" y="11374"/>
                  </a:lnTo>
                  <a:cubicBezTo>
                    <a:pt x="8223" y="11563"/>
                    <a:pt x="8381" y="11720"/>
                    <a:pt x="8570" y="11720"/>
                  </a:cubicBezTo>
                  <a:lnTo>
                    <a:pt x="9956" y="11720"/>
                  </a:lnTo>
                  <a:cubicBezTo>
                    <a:pt x="10145" y="11720"/>
                    <a:pt x="10303" y="11563"/>
                    <a:pt x="10303" y="11374"/>
                  </a:cubicBezTo>
                  <a:lnTo>
                    <a:pt x="10303" y="9987"/>
                  </a:lnTo>
                  <a:cubicBezTo>
                    <a:pt x="10303" y="9798"/>
                    <a:pt x="10145" y="9641"/>
                    <a:pt x="9956" y="9641"/>
                  </a:cubicBezTo>
                  <a:lnTo>
                    <a:pt x="9609" y="9641"/>
                  </a:lnTo>
                  <a:lnTo>
                    <a:pt x="9609" y="2080"/>
                  </a:lnTo>
                  <a:lnTo>
                    <a:pt x="9924" y="2080"/>
                  </a:lnTo>
                  <a:cubicBezTo>
                    <a:pt x="10113" y="2080"/>
                    <a:pt x="10271" y="1922"/>
                    <a:pt x="10271" y="1733"/>
                  </a:cubicBezTo>
                  <a:lnTo>
                    <a:pt x="10271" y="347"/>
                  </a:lnTo>
                  <a:cubicBezTo>
                    <a:pt x="10271" y="158"/>
                    <a:pt x="10113" y="0"/>
                    <a:pt x="9924" y="0"/>
                  </a:cubicBezTo>
                  <a:lnTo>
                    <a:pt x="8538" y="0"/>
                  </a:lnTo>
                  <a:cubicBezTo>
                    <a:pt x="8349" y="0"/>
                    <a:pt x="8192" y="158"/>
                    <a:pt x="8192" y="347"/>
                  </a:cubicBezTo>
                  <a:lnTo>
                    <a:pt x="8192" y="693"/>
                  </a:lnTo>
                  <a:lnTo>
                    <a:pt x="2080" y="693"/>
                  </a:lnTo>
                  <a:lnTo>
                    <a:pt x="2080" y="347"/>
                  </a:lnTo>
                  <a:cubicBezTo>
                    <a:pt x="2080" y="158"/>
                    <a:pt x="1922" y="0"/>
                    <a:pt x="1733"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1360" name="Google Shape;11360;p115"/>
            <p:cNvSpPr/>
            <p:nvPr/>
          </p:nvSpPr>
          <p:spPr>
            <a:xfrm>
              <a:off x="-1615950" y="2238800"/>
              <a:ext cx="120525" cy="18150"/>
            </a:xfrm>
            <a:custGeom>
              <a:avLst/>
              <a:gdLst/>
              <a:ahLst/>
              <a:cxnLst/>
              <a:rect l="l" t="t" r="r" b="b"/>
              <a:pathLst>
                <a:path w="4821" h="726" extrusionOk="0">
                  <a:moveTo>
                    <a:pt x="347" y="1"/>
                  </a:moveTo>
                  <a:cubicBezTo>
                    <a:pt x="158" y="1"/>
                    <a:pt x="0" y="159"/>
                    <a:pt x="0" y="348"/>
                  </a:cubicBezTo>
                  <a:cubicBezTo>
                    <a:pt x="0" y="568"/>
                    <a:pt x="158" y="726"/>
                    <a:pt x="347" y="726"/>
                  </a:cubicBezTo>
                  <a:lnTo>
                    <a:pt x="4443" y="726"/>
                  </a:lnTo>
                  <a:cubicBezTo>
                    <a:pt x="4663" y="726"/>
                    <a:pt x="4821" y="568"/>
                    <a:pt x="4821" y="348"/>
                  </a:cubicBezTo>
                  <a:cubicBezTo>
                    <a:pt x="4821" y="159"/>
                    <a:pt x="4663" y="1"/>
                    <a:pt x="4443"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1361" name="Google Shape;11361;p115"/>
            <p:cNvSpPr/>
            <p:nvPr/>
          </p:nvSpPr>
          <p:spPr>
            <a:xfrm>
              <a:off x="-1615950" y="2273475"/>
              <a:ext cx="120525" cy="17350"/>
            </a:xfrm>
            <a:custGeom>
              <a:avLst/>
              <a:gdLst/>
              <a:ahLst/>
              <a:cxnLst/>
              <a:rect l="l" t="t" r="r" b="b"/>
              <a:pathLst>
                <a:path w="4821" h="694" extrusionOk="0">
                  <a:moveTo>
                    <a:pt x="347" y="0"/>
                  </a:moveTo>
                  <a:cubicBezTo>
                    <a:pt x="158" y="0"/>
                    <a:pt x="0" y="158"/>
                    <a:pt x="0" y="347"/>
                  </a:cubicBezTo>
                  <a:cubicBezTo>
                    <a:pt x="0" y="536"/>
                    <a:pt x="158" y="693"/>
                    <a:pt x="347" y="693"/>
                  </a:cubicBezTo>
                  <a:lnTo>
                    <a:pt x="4443" y="693"/>
                  </a:lnTo>
                  <a:cubicBezTo>
                    <a:pt x="4663" y="693"/>
                    <a:pt x="4821" y="536"/>
                    <a:pt x="4821" y="347"/>
                  </a:cubicBezTo>
                  <a:cubicBezTo>
                    <a:pt x="4821" y="158"/>
                    <a:pt x="4663" y="0"/>
                    <a:pt x="4443"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1362" name="Google Shape;11362;p115"/>
            <p:cNvSpPr/>
            <p:nvPr/>
          </p:nvSpPr>
          <p:spPr>
            <a:xfrm>
              <a:off x="-1630925" y="2100975"/>
              <a:ext cx="153625" cy="116600"/>
            </a:xfrm>
            <a:custGeom>
              <a:avLst/>
              <a:gdLst/>
              <a:ahLst/>
              <a:cxnLst/>
              <a:rect l="l" t="t" r="r" b="b"/>
              <a:pathLst>
                <a:path w="6145" h="4664" extrusionOk="0">
                  <a:moveTo>
                    <a:pt x="4695" y="662"/>
                  </a:moveTo>
                  <a:lnTo>
                    <a:pt x="2994" y="1985"/>
                  </a:lnTo>
                  <a:lnTo>
                    <a:pt x="1261" y="662"/>
                  </a:lnTo>
                  <a:close/>
                  <a:moveTo>
                    <a:pt x="599" y="1040"/>
                  </a:moveTo>
                  <a:lnTo>
                    <a:pt x="2427" y="2395"/>
                  </a:lnTo>
                  <a:lnTo>
                    <a:pt x="599" y="3781"/>
                  </a:lnTo>
                  <a:lnTo>
                    <a:pt x="599" y="1040"/>
                  </a:lnTo>
                  <a:close/>
                  <a:moveTo>
                    <a:pt x="5357" y="1040"/>
                  </a:moveTo>
                  <a:lnTo>
                    <a:pt x="5357" y="3781"/>
                  </a:lnTo>
                  <a:lnTo>
                    <a:pt x="3561" y="2395"/>
                  </a:lnTo>
                  <a:lnTo>
                    <a:pt x="5357" y="1040"/>
                  </a:lnTo>
                  <a:close/>
                  <a:moveTo>
                    <a:pt x="2994" y="2836"/>
                  </a:moveTo>
                  <a:lnTo>
                    <a:pt x="4695" y="4128"/>
                  </a:lnTo>
                  <a:lnTo>
                    <a:pt x="1292" y="4128"/>
                  </a:lnTo>
                  <a:lnTo>
                    <a:pt x="2994" y="2836"/>
                  </a:lnTo>
                  <a:close/>
                  <a:moveTo>
                    <a:pt x="316" y="1"/>
                  </a:moveTo>
                  <a:cubicBezTo>
                    <a:pt x="158" y="1"/>
                    <a:pt x="1" y="127"/>
                    <a:pt x="1" y="284"/>
                  </a:cubicBezTo>
                  <a:lnTo>
                    <a:pt x="1" y="4380"/>
                  </a:lnTo>
                  <a:cubicBezTo>
                    <a:pt x="64" y="4506"/>
                    <a:pt x="127" y="4600"/>
                    <a:pt x="253" y="4663"/>
                  </a:cubicBezTo>
                  <a:lnTo>
                    <a:pt x="5798" y="4663"/>
                  </a:lnTo>
                  <a:cubicBezTo>
                    <a:pt x="5955" y="4663"/>
                    <a:pt x="6113" y="4537"/>
                    <a:pt x="6144" y="4317"/>
                  </a:cubicBezTo>
                  <a:lnTo>
                    <a:pt x="6081" y="316"/>
                  </a:lnTo>
                  <a:cubicBezTo>
                    <a:pt x="6081" y="158"/>
                    <a:pt x="5955" y="32"/>
                    <a:pt x="5798"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sp>
        <p:nvSpPr>
          <p:cNvPr id="11363" name="Google Shape;11363;p115"/>
          <p:cNvSpPr/>
          <p:nvPr/>
        </p:nvSpPr>
        <p:spPr>
          <a:xfrm>
            <a:off x="3296393" y="4309034"/>
            <a:ext cx="586808" cy="561831"/>
          </a:xfrm>
          <a:custGeom>
            <a:avLst/>
            <a:gdLst/>
            <a:ahLst/>
            <a:cxnLst/>
            <a:rect l="l" t="t" r="r" b="b"/>
            <a:pathLst>
              <a:path w="12193" h="11674" extrusionOk="0">
                <a:moveTo>
                  <a:pt x="9483" y="1174"/>
                </a:moveTo>
                <a:lnTo>
                  <a:pt x="9483" y="2308"/>
                </a:lnTo>
                <a:cubicBezTo>
                  <a:pt x="9483" y="2497"/>
                  <a:pt x="9641" y="2655"/>
                  <a:pt x="9830" y="2655"/>
                </a:cubicBezTo>
                <a:lnTo>
                  <a:pt x="10901" y="2655"/>
                </a:lnTo>
                <a:lnTo>
                  <a:pt x="9515" y="4041"/>
                </a:lnTo>
                <a:lnTo>
                  <a:pt x="8097" y="4041"/>
                </a:lnTo>
                <a:lnTo>
                  <a:pt x="8097" y="2560"/>
                </a:lnTo>
                <a:lnTo>
                  <a:pt x="9483" y="1174"/>
                </a:lnTo>
                <a:close/>
                <a:moveTo>
                  <a:pt x="4885" y="6181"/>
                </a:moveTo>
                <a:cubicBezTo>
                  <a:pt x="5033" y="6181"/>
                  <a:pt x="5183" y="6212"/>
                  <a:pt x="5325" y="6278"/>
                </a:cubicBezTo>
                <a:lnTo>
                  <a:pt x="4600" y="7003"/>
                </a:lnTo>
                <a:cubicBezTo>
                  <a:pt x="4474" y="7129"/>
                  <a:pt x="4474" y="7349"/>
                  <a:pt x="4600" y="7475"/>
                </a:cubicBezTo>
                <a:cubicBezTo>
                  <a:pt x="4663" y="7538"/>
                  <a:pt x="4750" y="7570"/>
                  <a:pt x="4836" y="7570"/>
                </a:cubicBezTo>
                <a:cubicBezTo>
                  <a:pt x="4923" y="7570"/>
                  <a:pt x="5010" y="7538"/>
                  <a:pt x="5073" y="7475"/>
                </a:cubicBezTo>
                <a:lnTo>
                  <a:pt x="5797" y="6751"/>
                </a:lnTo>
                <a:lnTo>
                  <a:pt x="5797" y="6751"/>
                </a:lnTo>
                <a:cubicBezTo>
                  <a:pt x="5986" y="7160"/>
                  <a:pt x="5892" y="7633"/>
                  <a:pt x="5577" y="7948"/>
                </a:cubicBezTo>
                <a:cubicBezTo>
                  <a:pt x="5388" y="8137"/>
                  <a:pt x="5128" y="8231"/>
                  <a:pt x="4864" y="8231"/>
                </a:cubicBezTo>
                <a:cubicBezTo>
                  <a:pt x="4600" y="8231"/>
                  <a:pt x="4332" y="8137"/>
                  <a:pt x="4127" y="7948"/>
                </a:cubicBezTo>
                <a:cubicBezTo>
                  <a:pt x="3749" y="7538"/>
                  <a:pt x="3749" y="6877"/>
                  <a:pt x="4127" y="6499"/>
                </a:cubicBezTo>
                <a:cubicBezTo>
                  <a:pt x="4333" y="6293"/>
                  <a:pt x="4606" y="6181"/>
                  <a:pt x="4885" y="6181"/>
                </a:cubicBezTo>
                <a:close/>
                <a:moveTo>
                  <a:pt x="4897" y="4831"/>
                </a:moveTo>
                <a:cubicBezTo>
                  <a:pt x="5396" y="4831"/>
                  <a:pt x="5890" y="4990"/>
                  <a:pt x="6301" y="5301"/>
                </a:cubicBezTo>
                <a:lnTo>
                  <a:pt x="5829" y="5774"/>
                </a:lnTo>
                <a:cubicBezTo>
                  <a:pt x="5553" y="5590"/>
                  <a:pt x="5233" y="5499"/>
                  <a:pt x="4911" y="5499"/>
                </a:cubicBezTo>
                <a:cubicBezTo>
                  <a:pt x="4460" y="5499"/>
                  <a:pt x="4004" y="5677"/>
                  <a:pt x="3655" y="6026"/>
                </a:cubicBezTo>
                <a:cubicBezTo>
                  <a:pt x="2993" y="6688"/>
                  <a:pt x="2993" y="7790"/>
                  <a:pt x="3655" y="8420"/>
                </a:cubicBezTo>
                <a:cubicBezTo>
                  <a:pt x="3986" y="8751"/>
                  <a:pt x="4427" y="8917"/>
                  <a:pt x="4864" y="8917"/>
                </a:cubicBezTo>
                <a:cubicBezTo>
                  <a:pt x="5301" y="8917"/>
                  <a:pt x="5734" y="8751"/>
                  <a:pt x="6049" y="8420"/>
                </a:cubicBezTo>
                <a:cubicBezTo>
                  <a:pt x="6648" y="7822"/>
                  <a:pt x="6742" y="6908"/>
                  <a:pt x="6301" y="6246"/>
                </a:cubicBezTo>
                <a:lnTo>
                  <a:pt x="6774" y="5774"/>
                </a:lnTo>
                <a:lnTo>
                  <a:pt x="6774" y="5774"/>
                </a:lnTo>
                <a:cubicBezTo>
                  <a:pt x="7467" y="6719"/>
                  <a:pt x="7404" y="8074"/>
                  <a:pt x="6585" y="8924"/>
                </a:cubicBezTo>
                <a:cubicBezTo>
                  <a:pt x="6112" y="9397"/>
                  <a:pt x="5498" y="9633"/>
                  <a:pt x="4883" y="9633"/>
                </a:cubicBezTo>
                <a:cubicBezTo>
                  <a:pt x="4269" y="9633"/>
                  <a:pt x="3655" y="9397"/>
                  <a:pt x="3182" y="8924"/>
                </a:cubicBezTo>
                <a:cubicBezTo>
                  <a:pt x="2237" y="7979"/>
                  <a:pt x="2237" y="6499"/>
                  <a:pt x="3182" y="5553"/>
                </a:cubicBezTo>
                <a:cubicBezTo>
                  <a:pt x="3667" y="5068"/>
                  <a:pt x="4286" y="4831"/>
                  <a:pt x="4897" y="4831"/>
                </a:cubicBezTo>
                <a:close/>
                <a:moveTo>
                  <a:pt x="4873" y="3463"/>
                </a:moveTo>
                <a:cubicBezTo>
                  <a:pt x="5728" y="3463"/>
                  <a:pt x="6583" y="3748"/>
                  <a:pt x="7278" y="4325"/>
                </a:cubicBezTo>
                <a:lnTo>
                  <a:pt x="6805" y="4797"/>
                </a:lnTo>
                <a:cubicBezTo>
                  <a:pt x="6228" y="4353"/>
                  <a:pt x="5533" y="4125"/>
                  <a:pt x="4844" y="4125"/>
                </a:cubicBezTo>
                <a:cubicBezTo>
                  <a:pt x="4065" y="4125"/>
                  <a:pt x="3294" y="4416"/>
                  <a:pt x="2710" y="5018"/>
                </a:cubicBezTo>
                <a:cubicBezTo>
                  <a:pt x="1481" y="6246"/>
                  <a:pt x="1481" y="8168"/>
                  <a:pt x="2710" y="9397"/>
                </a:cubicBezTo>
                <a:cubicBezTo>
                  <a:pt x="3324" y="10011"/>
                  <a:pt x="4112" y="10318"/>
                  <a:pt x="4899" y="10318"/>
                </a:cubicBezTo>
                <a:cubicBezTo>
                  <a:pt x="5687" y="10318"/>
                  <a:pt x="6474" y="10011"/>
                  <a:pt x="7089" y="9397"/>
                </a:cubicBezTo>
                <a:cubicBezTo>
                  <a:pt x="8223" y="8263"/>
                  <a:pt x="8255" y="6467"/>
                  <a:pt x="7309" y="5301"/>
                </a:cubicBezTo>
                <a:lnTo>
                  <a:pt x="7782" y="4829"/>
                </a:lnTo>
                <a:lnTo>
                  <a:pt x="7782" y="4829"/>
                </a:lnTo>
                <a:cubicBezTo>
                  <a:pt x="8979" y="6278"/>
                  <a:pt x="8885" y="8483"/>
                  <a:pt x="7530" y="9870"/>
                </a:cubicBezTo>
                <a:cubicBezTo>
                  <a:pt x="6790" y="10594"/>
                  <a:pt x="5821" y="10956"/>
                  <a:pt x="4856" y="10956"/>
                </a:cubicBezTo>
                <a:cubicBezTo>
                  <a:pt x="3891" y="10956"/>
                  <a:pt x="2930" y="10594"/>
                  <a:pt x="2206" y="9870"/>
                </a:cubicBezTo>
                <a:cubicBezTo>
                  <a:pt x="756" y="8420"/>
                  <a:pt x="756" y="6026"/>
                  <a:pt x="2206" y="4545"/>
                </a:cubicBezTo>
                <a:cubicBezTo>
                  <a:pt x="2941" y="3827"/>
                  <a:pt x="3907" y="3463"/>
                  <a:pt x="4873" y="3463"/>
                </a:cubicBezTo>
                <a:close/>
                <a:moveTo>
                  <a:pt x="9899" y="0"/>
                </a:moveTo>
                <a:cubicBezTo>
                  <a:pt x="9813" y="0"/>
                  <a:pt x="9722" y="32"/>
                  <a:pt x="9641" y="103"/>
                </a:cubicBezTo>
                <a:lnTo>
                  <a:pt x="7561" y="2182"/>
                </a:lnTo>
                <a:cubicBezTo>
                  <a:pt x="7467" y="2277"/>
                  <a:pt x="7435" y="2340"/>
                  <a:pt x="7435" y="2434"/>
                </a:cubicBezTo>
                <a:lnTo>
                  <a:pt x="7435" y="3600"/>
                </a:lnTo>
                <a:cubicBezTo>
                  <a:pt x="6670" y="3071"/>
                  <a:pt x="5769" y="2807"/>
                  <a:pt x="4868" y="2807"/>
                </a:cubicBezTo>
                <a:cubicBezTo>
                  <a:pt x="3731" y="2807"/>
                  <a:pt x="2595" y="3229"/>
                  <a:pt x="1733" y="4073"/>
                </a:cubicBezTo>
                <a:cubicBezTo>
                  <a:pt x="0" y="5805"/>
                  <a:pt x="0" y="8641"/>
                  <a:pt x="1733" y="10374"/>
                </a:cubicBezTo>
                <a:cubicBezTo>
                  <a:pt x="2599" y="11240"/>
                  <a:pt x="3741" y="11673"/>
                  <a:pt x="4883" y="11673"/>
                </a:cubicBezTo>
                <a:cubicBezTo>
                  <a:pt x="6026" y="11673"/>
                  <a:pt x="7168" y="11240"/>
                  <a:pt x="8034" y="10374"/>
                </a:cubicBezTo>
                <a:cubicBezTo>
                  <a:pt x="9578" y="8861"/>
                  <a:pt x="9735" y="6436"/>
                  <a:pt x="8538" y="4703"/>
                </a:cubicBezTo>
                <a:lnTo>
                  <a:pt x="9672" y="4703"/>
                </a:lnTo>
                <a:cubicBezTo>
                  <a:pt x="9767" y="4703"/>
                  <a:pt x="9893" y="4671"/>
                  <a:pt x="9924" y="4608"/>
                </a:cubicBezTo>
                <a:lnTo>
                  <a:pt x="12004" y="2497"/>
                </a:lnTo>
                <a:cubicBezTo>
                  <a:pt x="12193" y="2308"/>
                  <a:pt x="12035" y="1962"/>
                  <a:pt x="11783" y="1962"/>
                </a:cubicBezTo>
                <a:lnTo>
                  <a:pt x="10239" y="1962"/>
                </a:lnTo>
                <a:lnTo>
                  <a:pt x="10239" y="355"/>
                </a:lnTo>
                <a:cubicBezTo>
                  <a:pt x="10239" y="141"/>
                  <a:pt x="10080" y="0"/>
                  <a:pt x="9899"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nvGrpSpPr>
          <p:cNvPr id="11364" name="Google Shape;11364;p115"/>
          <p:cNvGrpSpPr/>
          <p:nvPr/>
        </p:nvGrpSpPr>
        <p:grpSpPr>
          <a:xfrm>
            <a:off x="5512010" y="4308685"/>
            <a:ext cx="561061" cy="562552"/>
            <a:chOff x="-1700225" y="2768875"/>
            <a:chExt cx="291450" cy="292225"/>
          </a:xfrm>
        </p:grpSpPr>
        <p:sp>
          <p:nvSpPr>
            <p:cNvPr id="11365" name="Google Shape;11365;p115"/>
            <p:cNvSpPr/>
            <p:nvPr/>
          </p:nvSpPr>
          <p:spPr>
            <a:xfrm>
              <a:off x="-1700225" y="2768875"/>
              <a:ext cx="291450" cy="292225"/>
            </a:xfrm>
            <a:custGeom>
              <a:avLst/>
              <a:gdLst/>
              <a:ahLst/>
              <a:cxnLst/>
              <a:rect l="l" t="t" r="r" b="b"/>
              <a:pathLst>
                <a:path w="11658" h="11689" extrusionOk="0">
                  <a:moveTo>
                    <a:pt x="10617" y="662"/>
                  </a:moveTo>
                  <a:cubicBezTo>
                    <a:pt x="10806" y="662"/>
                    <a:pt x="10964" y="820"/>
                    <a:pt x="10964" y="1009"/>
                  </a:cubicBezTo>
                  <a:lnTo>
                    <a:pt x="10964" y="2710"/>
                  </a:lnTo>
                  <a:lnTo>
                    <a:pt x="662" y="2710"/>
                  </a:lnTo>
                  <a:lnTo>
                    <a:pt x="662" y="1009"/>
                  </a:lnTo>
                  <a:cubicBezTo>
                    <a:pt x="662" y="820"/>
                    <a:pt x="819" y="662"/>
                    <a:pt x="1008" y="662"/>
                  </a:cubicBezTo>
                  <a:close/>
                  <a:moveTo>
                    <a:pt x="10933" y="3372"/>
                  </a:moveTo>
                  <a:lnTo>
                    <a:pt x="10933" y="9232"/>
                  </a:lnTo>
                  <a:cubicBezTo>
                    <a:pt x="10964" y="9484"/>
                    <a:pt x="10806" y="9610"/>
                    <a:pt x="10617" y="9610"/>
                  </a:cubicBezTo>
                  <a:lnTo>
                    <a:pt x="8916" y="9610"/>
                  </a:lnTo>
                  <a:lnTo>
                    <a:pt x="8570" y="9232"/>
                  </a:lnTo>
                  <a:cubicBezTo>
                    <a:pt x="8601" y="9169"/>
                    <a:pt x="8664" y="9043"/>
                    <a:pt x="8696" y="8917"/>
                  </a:cubicBezTo>
                  <a:lnTo>
                    <a:pt x="9200" y="8917"/>
                  </a:lnTo>
                  <a:cubicBezTo>
                    <a:pt x="9389" y="8917"/>
                    <a:pt x="9546" y="8759"/>
                    <a:pt x="9546" y="8570"/>
                  </a:cubicBezTo>
                  <a:lnTo>
                    <a:pt x="9546" y="7184"/>
                  </a:lnTo>
                  <a:cubicBezTo>
                    <a:pt x="9546" y="6995"/>
                    <a:pt x="9389" y="6837"/>
                    <a:pt x="9200" y="6837"/>
                  </a:cubicBezTo>
                  <a:lnTo>
                    <a:pt x="8696" y="6837"/>
                  </a:lnTo>
                  <a:cubicBezTo>
                    <a:pt x="8664" y="6711"/>
                    <a:pt x="8601" y="6648"/>
                    <a:pt x="8570" y="6522"/>
                  </a:cubicBezTo>
                  <a:lnTo>
                    <a:pt x="8916" y="6176"/>
                  </a:lnTo>
                  <a:cubicBezTo>
                    <a:pt x="9042" y="6050"/>
                    <a:pt x="9042" y="5798"/>
                    <a:pt x="8916" y="5703"/>
                  </a:cubicBezTo>
                  <a:lnTo>
                    <a:pt x="7940" y="4695"/>
                  </a:lnTo>
                  <a:cubicBezTo>
                    <a:pt x="7877" y="4648"/>
                    <a:pt x="7790" y="4624"/>
                    <a:pt x="7703" y="4624"/>
                  </a:cubicBezTo>
                  <a:cubicBezTo>
                    <a:pt x="7617" y="4624"/>
                    <a:pt x="7530" y="4648"/>
                    <a:pt x="7467" y="4695"/>
                  </a:cubicBezTo>
                  <a:lnTo>
                    <a:pt x="7120" y="5073"/>
                  </a:lnTo>
                  <a:cubicBezTo>
                    <a:pt x="7026" y="5041"/>
                    <a:pt x="6931" y="4978"/>
                    <a:pt x="6805" y="4947"/>
                  </a:cubicBezTo>
                  <a:lnTo>
                    <a:pt x="6805" y="4443"/>
                  </a:lnTo>
                  <a:cubicBezTo>
                    <a:pt x="6805" y="4222"/>
                    <a:pt x="6648" y="4065"/>
                    <a:pt x="6459" y="4065"/>
                  </a:cubicBezTo>
                  <a:lnTo>
                    <a:pt x="5073" y="4065"/>
                  </a:lnTo>
                  <a:cubicBezTo>
                    <a:pt x="4884" y="4065"/>
                    <a:pt x="4726" y="4222"/>
                    <a:pt x="4726" y="4443"/>
                  </a:cubicBezTo>
                  <a:lnTo>
                    <a:pt x="4726" y="4947"/>
                  </a:lnTo>
                  <a:cubicBezTo>
                    <a:pt x="4600" y="4978"/>
                    <a:pt x="4506" y="5010"/>
                    <a:pt x="4411" y="5073"/>
                  </a:cubicBezTo>
                  <a:lnTo>
                    <a:pt x="4033" y="4695"/>
                  </a:lnTo>
                  <a:cubicBezTo>
                    <a:pt x="3986" y="4648"/>
                    <a:pt x="3899" y="4624"/>
                    <a:pt x="3808" y="4624"/>
                  </a:cubicBezTo>
                  <a:cubicBezTo>
                    <a:pt x="3718" y="4624"/>
                    <a:pt x="3623" y="4648"/>
                    <a:pt x="3560" y="4695"/>
                  </a:cubicBezTo>
                  <a:lnTo>
                    <a:pt x="2584" y="5703"/>
                  </a:lnTo>
                  <a:cubicBezTo>
                    <a:pt x="2458" y="5829"/>
                    <a:pt x="2458" y="6050"/>
                    <a:pt x="2584" y="6176"/>
                  </a:cubicBezTo>
                  <a:lnTo>
                    <a:pt x="2930" y="6522"/>
                  </a:lnTo>
                  <a:cubicBezTo>
                    <a:pt x="2899" y="6585"/>
                    <a:pt x="2867" y="6711"/>
                    <a:pt x="2836" y="6837"/>
                  </a:cubicBezTo>
                  <a:lnTo>
                    <a:pt x="2300" y="6837"/>
                  </a:lnTo>
                  <a:cubicBezTo>
                    <a:pt x="2111" y="6837"/>
                    <a:pt x="1954" y="6995"/>
                    <a:pt x="1954" y="7184"/>
                  </a:cubicBezTo>
                  <a:lnTo>
                    <a:pt x="1954" y="8570"/>
                  </a:lnTo>
                  <a:cubicBezTo>
                    <a:pt x="1954" y="8759"/>
                    <a:pt x="2111" y="8917"/>
                    <a:pt x="2300" y="8917"/>
                  </a:cubicBezTo>
                  <a:lnTo>
                    <a:pt x="2836" y="8917"/>
                  </a:lnTo>
                  <a:cubicBezTo>
                    <a:pt x="2867" y="9043"/>
                    <a:pt x="2899" y="9137"/>
                    <a:pt x="2930" y="9232"/>
                  </a:cubicBezTo>
                  <a:lnTo>
                    <a:pt x="2584" y="9610"/>
                  </a:lnTo>
                  <a:lnTo>
                    <a:pt x="977" y="9610"/>
                  </a:lnTo>
                  <a:cubicBezTo>
                    <a:pt x="788" y="9610"/>
                    <a:pt x="630" y="9452"/>
                    <a:pt x="630" y="9232"/>
                  </a:cubicBezTo>
                  <a:lnTo>
                    <a:pt x="630" y="3372"/>
                  </a:lnTo>
                  <a:close/>
                  <a:moveTo>
                    <a:pt x="6112" y="4726"/>
                  </a:moveTo>
                  <a:lnTo>
                    <a:pt x="6112" y="5136"/>
                  </a:lnTo>
                  <a:cubicBezTo>
                    <a:pt x="6112" y="5294"/>
                    <a:pt x="6207" y="5420"/>
                    <a:pt x="6364" y="5451"/>
                  </a:cubicBezTo>
                  <a:cubicBezTo>
                    <a:pt x="6553" y="5514"/>
                    <a:pt x="6805" y="5609"/>
                    <a:pt x="6994" y="5735"/>
                  </a:cubicBezTo>
                  <a:cubicBezTo>
                    <a:pt x="7041" y="5769"/>
                    <a:pt x="7096" y="5783"/>
                    <a:pt x="7153" y="5783"/>
                  </a:cubicBezTo>
                  <a:cubicBezTo>
                    <a:pt x="7251" y="5783"/>
                    <a:pt x="7356" y="5743"/>
                    <a:pt x="7435" y="5703"/>
                  </a:cubicBezTo>
                  <a:lnTo>
                    <a:pt x="7751" y="5388"/>
                  </a:lnTo>
                  <a:lnTo>
                    <a:pt x="8223" y="5861"/>
                  </a:lnTo>
                  <a:lnTo>
                    <a:pt x="7908" y="6176"/>
                  </a:lnTo>
                  <a:cubicBezTo>
                    <a:pt x="7782" y="6302"/>
                    <a:pt x="7782" y="6459"/>
                    <a:pt x="7877" y="6617"/>
                  </a:cubicBezTo>
                  <a:cubicBezTo>
                    <a:pt x="7971" y="6806"/>
                    <a:pt x="8066" y="6995"/>
                    <a:pt x="8129" y="7247"/>
                  </a:cubicBezTo>
                  <a:cubicBezTo>
                    <a:pt x="8192" y="7404"/>
                    <a:pt x="8286" y="7499"/>
                    <a:pt x="8444" y="7499"/>
                  </a:cubicBezTo>
                  <a:lnTo>
                    <a:pt x="8885" y="7499"/>
                  </a:lnTo>
                  <a:lnTo>
                    <a:pt x="8885" y="8192"/>
                  </a:lnTo>
                  <a:lnTo>
                    <a:pt x="8444" y="8192"/>
                  </a:lnTo>
                  <a:cubicBezTo>
                    <a:pt x="8286" y="8192"/>
                    <a:pt x="8192" y="8286"/>
                    <a:pt x="8129" y="8444"/>
                  </a:cubicBezTo>
                  <a:cubicBezTo>
                    <a:pt x="8097" y="8665"/>
                    <a:pt x="7971" y="8885"/>
                    <a:pt x="7877" y="9074"/>
                  </a:cubicBezTo>
                  <a:cubicBezTo>
                    <a:pt x="7782" y="9200"/>
                    <a:pt x="7814" y="9389"/>
                    <a:pt x="7908" y="9515"/>
                  </a:cubicBezTo>
                  <a:lnTo>
                    <a:pt x="8223" y="9830"/>
                  </a:lnTo>
                  <a:lnTo>
                    <a:pt x="7751" y="10303"/>
                  </a:lnTo>
                  <a:lnTo>
                    <a:pt x="7435" y="9988"/>
                  </a:lnTo>
                  <a:cubicBezTo>
                    <a:pt x="7368" y="9920"/>
                    <a:pt x="7291" y="9889"/>
                    <a:pt x="7211" y="9889"/>
                  </a:cubicBezTo>
                  <a:cubicBezTo>
                    <a:pt x="7141" y="9889"/>
                    <a:pt x="7068" y="9912"/>
                    <a:pt x="6994" y="9956"/>
                  </a:cubicBezTo>
                  <a:cubicBezTo>
                    <a:pt x="6805" y="10082"/>
                    <a:pt x="6616" y="10145"/>
                    <a:pt x="6364" y="10208"/>
                  </a:cubicBezTo>
                  <a:cubicBezTo>
                    <a:pt x="6207" y="10271"/>
                    <a:pt x="6112" y="10366"/>
                    <a:pt x="6112" y="10555"/>
                  </a:cubicBezTo>
                  <a:lnTo>
                    <a:pt x="6112" y="10964"/>
                  </a:lnTo>
                  <a:lnTo>
                    <a:pt x="5419" y="10964"/>
                  </a:lnTo>
                  <a:lnTo>
                    <a:pt x="5419" y="10555"/>
                  </a:lnTo>
                  <a:cubicBezTo>
                    <a:pt x="5419" y="10366"/>
                    <a:pt x="5325" y="10271"/>
                    <a:pt x="5167" y="10208"/>
                  </a:cubicBezTo>
                  <a:cubicBezTo>
                    <a:pt x="4947" y="10177"/>
                    <a:pt x="4726" y="10051"/>
                    <a:pt x="4537" y="9956"/>
                  </a:cubicBezTo>
                  <a:cubicBezTo>
                    <a:pt x="4491" y="9921"/>
                    <a:pt x="4436" y="9908"/>
                    <a:pt x="4379" y="9908"/>
                  </a:cubicBezTo>
                  <a:cubicBezTo>
                    <a:pt x="4281" y="9908"/>
                    <a:pt x="4176" y="9948"/>
                    <a:pt x="4096" y="9988"/>
                  </a:cubicBezTo>
                  <a:lnTo>
                    <a:pt x="3781" y="10303"/>
                  </a:lnTo>
                  <a:lnTo>
                    <a:pt x="3308" y="9830"/>
                  </a:lnTo>
                  <a:lnTo>
                    <a:pt x="3623" y="9515"/>
                  </a:lnTo>
                  <a:cubicBezTo>
                    <a:pt x="3749" y="9389"/>
                    <a:pt x="3749" y="9232"/>
                    <a:pt x="3655" y="9074"/>
                  </a:cubicBezTo>
                  <a:cubicBezTo>
                    <a:pt x="3529" y="8885"/>
                    <a:pt x="3466" y="8696"/>
                    <a:pt x="3371" y="8444"/>
                  </a:cubicBezTo>
                  <a:cubicBezTo>
                    <a:pt x="3340" y="8286"/>
                    <a:pt x="3214" y="8192"/>
                    <a:pt x="3056" y="8192"/>
                  </a:cubicBezTo>
                  <a:lnTo>
                    <a:pt x="2647" y="8192"/>
                  </a:lnTo>
                  <a:lnTo>
                    <a:pt x="2647" y="7499"/>
                  </a:lnTo>
                  <a:lnTo>
                    <a:pt x="3056" y="7499"/>
                  </a:lnTo>
                  <a:cubicBezTo>
                    <a:pt x="3214" y="7499"/>
                    <a:pt x="3340" y="7404"/>
                    <a:pt x="3371" y="7247"/>
                  </a:cubicBezTo>
                  <a:cubicBezTo>
                    <a:pt x="3434" y="7026"/>
                    <a:pt x="3529" y="6806"/>
                    <a:pt x="3655" y="6617"/>
                  </a:cubicBezTo>
                  <a:cubicBezTo>
                    <a:pt x="3749" y="6491"/>
                    <a:pt x="3686" y="6302"/>
                    <a:pt x="3623" y="6176"/>
                  </a:cubicBezTo>
                  <a:lnTo>
                    <a:pt x="3308" y="5861"/>
                  </a:lnTo>
                  <a:lnTo>
                    <a:pt x="3781" y="5388"/>
                  </a:lnTo>
                  <a:lnTo>
                    <a:pt x="4096" y="5703"/>
                  </a:lnTo>
                  <a:cubicBezTo>
                    <a:pt x="4163" y="5771"/>
                    <a:pt x="4240" y="5802"/>
                    <a:pt x="4321" y="5802"/>
                  </a:cubicBezTo>
                  <a:cubicBezTo>
                    <a:pt x="4391" y="5802"/>
                    <a:pt x="4464" y="5778"/>
                    <a:pt x="4537" y="5735"/>
                  </a:cubicBezTo>
                  <a:cubicBezTo>
                    <a:pt x="4726" y="5609"/>
                    <a:pt x="4915" y="5546"/>
                    <a:pt x="5167" y="5451"/>
                  </a:cubicBezTo>
                  <a:cubicBezTo>
                    <a:pt x="5325" y="5420"/>
                    <a:pt x="5419" y="5294"/>
                    <a:pt x="5419" y="5136"/>
                  </a:cubicBezTo>
                  <a:lnTo>
                    <a:pt x="5419" y="4726"/>
                  </a:lnTo>
                  <a:close/>
                  <a:moveTo>
                    <a:pt x="1008" y="1"/>
                  </a:moveTo>
                  <a:cubicBezTo>
                    <a:pt x="473" y="1"/>
                    <a:pt x="0" y="473"/>
                    <a:pt x="0" y="1009"/>
                  </a:cubicBezTo>
                  <a:lnTo>
                    <a:pt x="0" y="9295"/>
                  </a:lnTo>
                  <a:cubicBezTo>
                    <a:pt x="0" y="9830"/>
                    <a:pt x="473" y="10303"/>
                    <a:pt x="1008" y="10303"/>
                  </a:cubicBezTo>
                  <a:lnTo>
                    <a:pt x="2867" y="10303"/>
                  </a:lnTo>
                  <a:lnTo>
                    <a:pt x="3623" y="11059"/>
                  </a:lnTo>
                  <a:cubicBezTo>
                    <a:pt x="3671" y="11122"/>
                    <a:pt x="3757" y="11153"/>
                    <a:pt x="3848" y="11153"/>
                  </a:cubicBezTo>
                  <a:cubicBezTo>
                    <a:pt x="3938" y="11153"/>
                    <a:pt x="4033" y="11122"/>
                    <a:pt x="4096" y="11059"/>
                  </a:cubicBezTo>
                  <a:lnTo>
                    <a:pt x="4442" y="10712"/>
                  </a:lnTo>
                  <a:cubicBezTo>
                    <a:pt x="4506" y="10744"/>
                    <a:pt x="4632" y="10775"/>
                    <a:pt x="4758" y="10807"/>
                  </a:cubicBezTo>
                  <a:lnTo>
                    <a:pt x="4758" y="11342"/>
                  </a:lnTo>
                  <a:cubicBezTo>
                    <a:pt x="4758" y="11531"/>
                    <a:pt x="4915" y="11689"/>
                    <a:pt x="5104" y="11689"/>
                  </a:cubicBezTo>
                  <a:lnTo>
                    <a:pt x="6490" y="11689"/>
                  </a:lnTo>
                  <a:cubicBezTo>
                    <a:pt x="6679" y="11689"/>
                    <a:pt x="6837" y="11531"/>
                    <a:pt x="6837" y="11342"/>
                  </a:cubicBezTo>
                  <a:lnTo>
                    <a:pt x="6837" y="10807"/>
                  </a:lnTo>
                  <a:cubicBezTo>
                    <a:pt x="6963" y="10775"/>
                    <a:pt x="7026" y="10744"/>
                    <a:pt x="7152" y="10712"/>
                  </a:cubicBezTo>
                  <a:lnTo>
                    <a:pt x="7498" y="11059"/>
                  </a:lnTo>
                  <a:cubicBezTo>
                    <a:pt x="7561" y="11122"/>
                    <a:pt x="7656" y="11153"/>
                    <a:pt x="7747" y="11153"/>
                  </a:cubicBezTo>
                  <a:cubicBezTo>
                    <a:pt x="7837" y="11153"/>
                    <a:pt x="7924" y="11122"/>
                    <a:pt x="7971" y="11059"/>
                  </a:cubicBezTo>
                  <a:lnTo>
                    <a:pt x="8727" y="10303"/>
                  </a:lnTo>
                  <a:lnTo>
                    <a:pt x="10617" y="10303"/>
                  </a:lnTo>
                  <a:cubicBezTo>
                    <a:pt x="11185" y="10303"/>
                    <a:pt x="11657" y="9830"/>
                    <a:pt x="11657" y="9295"/>
                  </a:cubicBezTo>
                  <a:lnTo>
                    <a:pt x="11657" y="1009"/>
                  </a:lnTo>
                  <a:cubicBezTo>
                    <a:pt x="11657" y="473"/>
                    <a:pt x="11216" y="1"/>
                    <a:pt x="10617"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1366" name="Google Shape;11366;p115"/>
            <p:cNvSpPr/>
            <p:nvPr/>
          </p:nvSpPr>
          <p:spPr>
            <a:xfrm>
              <a:off x="-1667150" y="2801950"/>
              <a:ext cx="18150" cy="18150"/>
            </a:xfrm>
            <a:custGeom>
              <a:avLst/>
              <a:gdLst/>
              <a:ahLst/>
              <a:cxnLst/>
              <a:rect l="l" t="t" r="r" b="b"/>
              <a:pathLst>
                <a:path w="726" h="726" extrusionOk="0">
                  <a:moveTo>
                    <a:pt x="347" y="1"/>
                  </a:moveTo>
                  <a:cubicBezTo>
                    <a:pt x="158" y="1"/>
                    <a:pt x="1" y="158"/>
                    <a:pt x="1" y="347"/>
                  </a:cubicBezTo>
                  <a:cubicBezTo>
                    <a:pt x="1" y="536"/>
                    <a:pt x="158" y="726"/>
                    <a:pt x="347" y="726"/>
                  </a:cubicBezTo>
                  <a:cubicBezTo>
                    <a:pt x="568" y="726"/>
                    <a:pt x="725" y="536"/>
                    <a:pt x="725" y="347"/>
                  </a:cubicBezTo>
                  <a:cubicBezTo>
                    <a:pt x="725" y="158"/>
                    <a:pt x="568" y="1"/>
                    <a:pt x="347"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1367" name="Google Shape;11367;p115"/>
            <p:cNvSpPr/>
            <p:nvPr/>
          </p:nvSpPr>
          <p:spPr>
            <a:xfrm>
              <a:off x="-1632500" y="2801950"/>
              <a:ext cx="17350" cy="18150"/>
            </a:xfrm>
            <a:custGeom>
              <a:avLst/>
              <a:gdLst/>
              <a:ahLst/>
              <a:cxnLst/>
              <a:rect l="l" t="t" r="r" b="b"/>
              <a:pathLst>
                <a:path w="694" h="726" extrusionOk="0">
                  <a:moveTo>
                    <a:pt x="347" y="1"/>
                  </a:moveTo>
                  <a:cubicBezTo>
                    <a:pt x="158" y="1"/>
                    <a:pt x="1" y="158"/>
                    <a:pt x="1" y="347"/>
                  </a:cubicBezTo>
                  <a:cubicBezTo>
                    <a:pt x="1" y="568"/>
                    <a:pt x="158" y="726"/>
                    <a:pt x="347" y="726"/>
                  </a:cubicBezTo>
                  <a:cubicBezTo>
                    <a:pt x="536" y="726"/>
                    <a:pt x="694" y="568"/>
                    <a:pt x="694" y="347"/>
                  </a:cubicBezTo>
                  <a:cubicBezTo>
                    <a:pt x="694" y="158"/>
                    <a:pt x="536" y="1"/>
                    <a:pt x="347"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1368" name="Google Shape;11368;p115"/>
            <p:cNvSpPr/>
            <p:nvPr/>
          </p:nvSpPr>
          <p:spPr>
            <a:xfrm>
              <a:off x="-1597850" y="2801950"/>
              <a:ext cx="17375" cy="18150"/>
            </a:xfrm>
            <a:custGeom>
              <a:avLst/>
              <a:gdLst/>
              <a:ahLst/>
              <a:cxnLst/>
              <a:rect l="l" t="t" r="r" b="b"/>
              <a:pathLst>
                <a:path w="695" h="726" extrusionOk="0">
                  <a:moveTo>
                    <a:pt x="347" y="1"/>
                  </a:moveTo>
                  <a:cubicBezTo>
                    <a:pt x="158" y="1"/>
                    <a:pt x="1" y="158"/>
                    <a:pt x="1" y="347"/>
                  </a:cubicBezTo>
                  <a:cubicBezTo>
                    <a:pt x="1" y="568"/>
                    <a:pt x="158" y="726"/>
                    <a:pt x="347" y="726"/>
                  </a:cubicBezTo>
                  <a:cubicBezTo>
                    <a:pt x="537" y="726"/>
                    <a:pt x="694" y="568"/>
                    <a:pt x="694" y="347"/>
                  </a:cubicBezTo>
                  <a:cubicBezTo>
                    <a:pt x="694" y="158"/>
                    <a:pt x="537" y="1"/>
                    <a:pt x="347"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1369" name="Google Shape;11369;p115"/>
            <p:cNvSpPr/>
            <p:nvPr/>
          </p:nvSpPr>
          <p:spPr>
            <a:xfrm>
              <a:off x="-1564750" y="2801950"/>
              <a:ext cx="120525" cy="18150"/>
            </a:xfrm>
            <a:custGeom>
              <a:avLst/>
              <a:gdLst/>
              <a:ahLst/>
              <a:cxnLst/>
              <a:rect l="l" t="t" r="r" b="b"/>
              <a:pathLst>
                <a:path w="4821" h="726" extrusionOk="0">
                  <a:moveTo>
                    <a:pt x="347" y="1"/>
                  </a:moveTo>
                  <a:cubicBezTo>
                    <a:pt x="158" y="1"/>
                    <a:pt x="0" y="158"/>
                    <a:pt x="0" y="347"/>
                  </a:cubicBezTo>
                  <a:cubicBezTo>
                    <a:pt x="32" y="568"/>
                    <a:pt x="189" y="726"/>
                    <a:pt x="347" y="726"/>
                  </a:cubicBezTo>
                  <a:lnTo>
                    <a:pt x="4442" y="726"/>
                  </a:lnTo>
                  <a:cubicBezTo>
                    <a:pt x="4663" y="726"/>
                    <a:pt x="4820" y="568"/>
                    <a:pt x="4820" y="347"/>
                  </a:cubicBezTo>
                  <a:cubicBezTo>
                    <a:pt x="4820" y="158"/>
                    <a:pt x="4663" y="1"/>
                    <a:pt x="4442"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1370" name="Google Shape;11370;p115"/>
            <p:cNvSpPr/>
            <p:nvPr/>
          </p:nvSpPr>
          <p:spPr>
            <a:xfrm>
              <a:off x="-1597850" y="2924050"/>
              <a:ext cx="85100" cy="85075"/>
            </a:xfrm>
            <a:custGeom>
              <a:avLst/>
              <a:gdLst/>
              <a:ahLst/>
              <a:cxnLst/>
              <a:rect l="l" t="t" r="r" b="b"/>
              <a:pathLst>
                <a:path w="3404" h="3403" extrusionOk="0">
                  <a:moveTo>
                    <a:pt x="1671" y="662"/>
                  </a:moveTo>
                  <a:cubicBezTo>
                    <a:pt x="2238" y="662"/>
                    <a:pt x="2710" y="1134"/>
                    <a:pt x="2710" y="1701"/>
                  </a:cubicBezTo>
                  <a:cubicBezTo>
                    <a:pt x="2710" y="2237"/>
                    <a:pt x="2269" y="2710"/>
                    <a:pt x="1671" y="2710"/>
                  </a:cubicBezTo>
                  <a:cubicBezTo>
                    <a:pt x="1135" y="2710"/>
                    <a:pt x="663" y="2237"/>
                    <a:pt x="663" y="1701"/>
                  </a:cubicBezTo>
                  <a:cubicBezTo>
                    <a:pt x="663" y="1134"/>
                    <a:pt x="1135" y="662"/>
                    <a:pt x="1671" y="662"/>
                  </a:cubicBezTo>
                  <a:close/>
                  <a:moveTo>
                    <a:pt x="1671" y="0"/>
                  </a:moveTo>
                  <a:cubicBezTo>
                    <a:pt x="726" y="0"/>
                    <a:pt x="1" y="756"/>
                    <a:pt x="1" y="1701"/>
                  </a:cubicBezTo>
                  <a:cubicBezTo>
                    <a:pt x="1" y="2647"/>
                    <a:pt x="726" y="3403"/>
                    <a:pt x="1671" y="3403"/>
                  </a:cubicBezTo>
                  <a:cubicBezTo>
                    <a:pt x="2616" y="3403"/>
                    <a:pt x="3372" y="2647"/>
                    <a:pt x="3372" y="1701"/>
                  </a:cubicBezTo>
                  <a:cubicBezTo>
                    <a:pt x="3403" y="756"/>
                    <a:pt x="2616" y="0"/>
                    <a:pt x="1671"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11371" name="Google Shape;11371;p115"/>
          <p:cNvGrpSpPr/>
          <p:nvPr/>
        </p:nvGrpSpPr>
        <p:grpSpPr>
          <a:xfrm>
            <a:off x="4803141" y="4307914"/>
            <a:ext cx="495849" cy="564092"/>
            <a:chOff x="-919700" y="2420750"/>
            <a:chExt cx="257575" cy="293025"/>
          </a:xfrm>
        </p:grpSpPr>
        <p:sp>
          <p:nvSpPr>
            <p:cNvPr id="11372" name="Google Shape;11372;p115"/>
            <p:cNvSpPr/>
            <p:nvPr/>
          </p:nvSpPr>
          <p:spPr>
            <a:xfrm>
              <a:off x="-884250" y="2490850"/>
              <a:ext cx="84300" cy="51225"/>
            </a:xfrm>
            <a:custGeom>
              <a:avLst/>
              <a:gdLst/>
              <a:ahLst/>
              <a:cxnLst/>
              <a:rect l="l" t="t" r="r" b="b"/>
              <a:pathLst>
                <a:path w="3372" h="2049" extrusionOk="0">
                  <a:moveTo>
                    <a:pt x="977" y="631"/>
                  </a:moveTo>
                  <a:cubicBezTo>
                    <a:pt x="1166" y="631"/>
                    <a:pt x="1324" y="788"/>
                    <a:pt x="1324" y="977"/>
                  </a:cubicBezTo>
                  <a:cubicBezTo>
                    <a:pt x="1324" y="1198"/>
                    <a:pt x="1166" y="1355"/>
                    <a:pt x="977" y="1355"/>
                  </a:cubicBezTo>
                  <a:cubicBezTo>
                    <a:pt x="788" y="1355"/>
                    <a:pt x="631" y="1198"/>
                    <a:pt x="631" y="977"/>
                  </a:cubicBezTo>
                  <a:cubicBezTo>
                    <a:pt x="631" y="788"/>
                    <a:pt x="788" y="631"/>
                    <a:pt x="977" y="631"/>
                  </a:cubicBezTo>
                  <a:close/>
                  <a:moveTo>
                    <a:pt x="2363" y="631"/>
                  </a:moveTo>
                  <a:cubicBezTo>
                    <a:pt x="2552" y="631"/>
                    <a:pt x="2710" y="788"/>
                    <a:pt x="2710" y="977"/>
                  </a:cubicBezTo>
                  <a:cubicBezTo>
                    <a:pt x="2710" y="1198"/>
                    <a:pt x="2552" y="1355"/>
                    <a:pt x="2363" y="1355"/>
                  </a:cubicBezTo>
                  <a:cubicBezTo>
                    <a:pt x="2174" y="1355"/>
                    <a:pt x="2017" y="1198"/>
                    <a:pt x="2017" y="977"/>
                  </a:cubicBezTo>
                  <a:cubicBezTo>
                    <a:pt x="2017" y="788"/>
                    <a:pt x="2174" y="631"/>
                    <a:pt x="2363" y="631"/>
                  </a:cubicBezTo>
                  <a:close/>
                  <a:moveTo>
                    <a:pt x="1009" y="1"/>
                  </a:moveTo>
                  <a:cubicBezTo>
                    <a:pt x="473" y="1"/>
                    <a:pt x="0" y="473"/>
                    <a:pt x="0" y="1040"/>
                  </a:cubicBezTo>
                  <a:cubicBezTo>
                    <a:pt x="0" y="1576"/>
                    <a:pt x="473" y="2048"/>
                    <a:pt x="1009" y="2048"/>
                  </a:cubicBezTo>
                  <a:cubicBezTo>
                    <a:pt x="1292" y="2048"/>
                    <a:pt x="1544" y="1922"/>
                    <a:pt x="1702" y="1765"/>
                  </a:cubicBezTo>
                  <a:cubicBezTo>
                    <a:pt x="1891" y="1922"/>
                    <a:pt x="2111" y="2048"/>
                    <a:pt x="2363" y="2048"/>
                  </a:cubicBezTo>
                  <a:cubicBezTo>
                    <a:pt x="2899" y="2048"/>
                    <a:pt x="3371" y="1576"/>
                    <a:pt x="3371" y="1040"/>
                  </a:cubicBezTo>
                  <a:cubicBezTo>
                    <a:pt x="3371" y="442"/>
                    <a:pt x="2899" y="1"/>
                    <a:pt x="2363" y="1"/>
                  </a:cubicBezTo>
                  <a:cubicBezTo>
                    <a:pt x="2080" y="1"/>
                    <a:pt x="1859" y="127"/>
                    <a:pt x="1702" y="284"/>
                  </a:cubicBezTo>
                  <a:cubicBezTo>
                    <a:pt x="1481" y="127"/>
                    <a:pt x="1261" y="1"/>
                    <a:pt x="1009"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1373" name="Google Shape;11373;p115"/>
            <p:cNvSpPr/>
            <p:nvPr/>
          </p:nvSpPr>
          <p:spPr>
            <a:xfrm>
              <a:off x="-919700" y="2420750"/>
              <a:ext cx="257575" cy="293025"/>
            </a:xfrm>
            <a:custGeom>
              <a:avLst/>
              <a:gdLst/>
              <a:ahLst/>
              <a:cxnLst/>
              <a:rect l="l" t="t" r="r" b="b"/>
              <a:pathLst>
                <a:path w="10303" h="11721" extrusionOk="0">
                  <a:moveTo>
                    <a:pt x="7152" y="694"/>
                  </a:moveTo>
                  <a:cubicBezTo>
                    <a:pt x="7373" y="694"/>
                    <a:pt x="7530" y="851"/>
                    <a:pt x="7530" y="1040"/>
                  </a:cubicBezTo>
                  <a:lnTo>
                    <a:pt x="7530" y="1418"/>
                  </a:lnTo>
                  <a:lnTo>
                    <a:pt x="662" y="1418"/>
                  </a:lnTo>
                  <a:lnTo>
                    <a:pt x="662" y="1040"/>
                  </a:lnTo>
                  <a:cubicBezTo>
                    <a:pt x="694" y="851"/>
                    <a:pt x="851" y="694"/>
                    <a:pt x="1009" y="694"/>
                  </a:cubicBezTo>
                  <a:close/>
                  <a:moveTo>
                    <a:pt x="7562" y="2111"/>
                  </a:moveTo>
                  <a:lnTo>
                    <a:pt x="7562" y="3403"/>
                  </a:lnTo>
                  <a:lnTo>
                    <a:pt x="7247" y="3088"/>
                  </a:lnTo>
                  <a:cubicBezTo>
                    <a:pt x="7042" y="2883"/>
                    <a:pt x="6784" y="2792"/>
                    <a:pt x="6528" y="2792"/>
                  </a:cubicBezTo>
                  <a:cubicBezTo>
                    <a:pt x="5999" y="2792"/>
                    <a:pt x="5483" y="3186"/>
                    <a:pt x="5483" y="3781"/>
                  </a:cubicBezTo>
                  <a:cubicBezTo>
                    <a:pt x="5483" y="4065"/>
                    <a:pt x="5577" y="4348"/>
                    <a:pt x="5798" y="4506"/>
                  </a:cubicBezTo>
                  <a:lnTo>
                    <a:pt x="6774" y="5482"/>
                  </a:lnTo>
                  <a:lnTo>
                    <a:pt x="1009" y="5482"/>
                  </a:lnTo>
                  <a:cubicBezTo>
                    <a:pt x="995" y="5485"/>
                    <a:pt x="982" y="5486"/>
                    <a:pt x="968" y="5486"/>
                  </a:cubicBezTo>
                  <a:cubicBezTo>
                    <a:pt x="825" y="5486"/>
                    <a:pt x="694" y="5340"/>
                    <a:pt x="694" y="5167"/>
                  </a:cubicBezTo>
                  <a:lnTo>
                    <a:pt x="694" y="2111"/>
                  </a:lnTo>
                  <a:close/>
                  <a:moveTo>
                    <a:pt x="8160" y="2584"/>
                  </a:moveTo>
                  <a:lnTo>
                    <a:pt x="9200" y="3624"/>
                  </a:lnTo>
                  <a:cubicBezTo>
                    <a:pt x="9421" y="3844"/>
                    <a:pt x="9515" y="4065"/>
                    <a:pt x="9515" y="4348"/>
                  </a:cubicBezTo>
                  <a:lnTo>
                    <a:pt x="9515" y="6900"/>
                  </a:lnTo>
                  <a:cubicBezTo>
                    <a:pt x="9515" y="7373"/>
                    <a:pt x="9358" y="7845"/>
                    <a:pt x="9043" y="8192"/>
                  </a:cubicBezTo>
                  <a:lnTo>
                    <a:pt x="5955" y="8192"/>
                  </a:lnTo>
                  <a:cubicBezTo>
                    <a:pt x="5640" y="7845"/>
                    <a:pt x="5483" y="7373"/>
                    <a:pt x="5483" y="6900"/>
                  </a:cubicBezTo>
                  <a:lnTo>
                    <a:pt x="5483" y="6144"/>
                  </a:lnTo>
                  <a:lnTo>
                    <a:pt x="6837" y="6144"/>
                  </a:lnTo>
                  <a:lnTo>
                    <a:pt x="6837" y="6207"/>
                  </a:lnTo>
                  <a:cubicBezTo>
                    <a:pt x="6837" y="6585"/>
                    <a:pt x="6900" y="6932"/>
                    <a:pt x="7089" y="7373"/>
                  </a:cubicBezTo>
                  <a:cubicBezTo>
                    <a:pt x="7135" y="7487"/>
                    <a:pt x="7263" y="7568"/>
                    <a:pt x="7403" y="7568"/>
                  </a:cubicBezTo>
                  <a:cubicBezTo>
                    <a:pt x="7455" y="7568"/>
                    <a:pt x="7510" y="7556"/>
                    <a:pt x="7562" y="7530"/>
                  </a:cubicBezTo>
                  <a:cubicBezTo>
                    <a:pt x="7719" y="7467"/>
                    <a:pt x="7782" y="7247"/>
                    <a:pt x="7719" y="7058"/>
                  </a:cubicBezTo>
                  <a:cubicBezTo>
                    <a:pt x="7593" y="6774"/>
                    <a:pt x="7530" y="6522"/>
                    <a:pt x="7530" y="6239"/>
                  </a:cubicBezTo>
                  <a:lnTo>
                    <a:pt x="7530" y="5451"/>
                  </a:lnTo>
                  <a:cubicBezTo>
                    <a:pt x="7530" y="5356"/>
                    <a:pt x="7467" y="5262"/>
                    <a:pt x="7404" y="5199"/>
                  </a:cubicBezTo>
                  <a:lnTo>
                    <a:pt x="6207" y="4033"/>
                  </a:lnTo>
                  <a:cubicBezTo>
                    <a:pt x="6018" y="3844"/>
                    <a:pt x="6144" y="3435"/>
                    <a:pt x="6459" y="3435"/>
                  </a:cubicBezTo>
                  <a:cubicBezTo>
                    <a:pt x="6522" y="3435"/>
                    <a:pt x="6648" y="3466"/>
                    <a:pt x="6680" y="3561"/>
                  </a:cubicBezTo>
                  <a:lnTo>
                    <a:pt x="8255" y="5136"/>
                  </a:lnTo>
                  <a:cubicBezTo>
                    <a:pt x="8318" y="5199"/>
                    <a:pt x="8413" y="5230"/>
                    <a:pt x="8503" y="5230"/>
                  </a:cubicBezTo>
                  <a:cubicBezTo>
                    <a:pt x="8594" y="5230"/>
                    <a:pt x="8680" y="5199"/>
                    <a:pt x="8728" y="5136"/>
                  </a:cubicBezTo>
                  <a:cubicBezTo>
                    <a:pt x="8854" y="5010"/>
                    <a:pt x="8854" y="4789"/>
                    <a:pt x="8728" y="4663"/>
                  </a:cubicBezTo>
                  <a:lnTo>
                    <a:pt x="8160" y="4065"/>
                  </a:lnTo>
                  <a:lnTo>
                    <a:pt x="8160" y="2584"/>
                  </a:lnTo>
                  <a:close/>
                  <a:moveTo>
                    <a:pt x="9295" y="8948"/>
                  </a:moveTo>
                  <a:cubicBezTo>
                    <a:pt x="9484" y="8948"/>
                    <a:pt x="9641" y="9105"/>
                    <a:pt x="9641" y="9295"/>
                  </a:cubicBezTo>
                  <a:lnTo>
                    <a:pt x="9641" y="10996"/>
                  </a:lnTo>
                  <a:lnTo>
                    <a:pt x="5514" y="10996"/>
                  </a:lnTo>
                  <a:lnTo>
                    <a:pt x="5514" y="9295"/>
                  </a:lnTo>
                  <a:cubicBezTo>
                    <a:pt x="5514" y="9105"/>
                    <a:pt x="5672" y="8948"/>
                    <a:pt x="5861" y="8948"/>
                  </a:cubicBezTo>
                  <a:close/>
                  <a:moveTo>
                    <a:pt x="1009" y="1"/>
                  </a:moveTo>
                  <a:cubicBezTo>
                    <a:pt x="473" y="1"/>
                    <a:pt x="1" y="473"/>
                    <a:pt x="1" y="1040"/>
                  </a:cubicBezTo>
                  <a:lnTo>
                    <a:pt x="1" y="5167"/>
                  </a:lnTo>
                  <a:cubicBezTo>
                    <a:pt x="1" y="5734"/>
                    <a:pt x="473" y="6207"/>
                    <a:pt x="1009" y="6207"/>
                  </a:cubicBezTo>
                  <a:lnTo>
                    <a:pt x="4789" y="6207"/>
                  </a:lnTo>
                  <a:lnTo>
                    <a:pt x="4789" y="6932"/>
                  </a:lnTo>
                  <a:cubicBezTo>
                    <a:pt x="4789" y="7499"/>
                    <a:pt x="4947" y="8003"/>
                    <a:pt x="5231" y="8444"/>
                  </a:cubicBezTo>
                  <a:cubicBezTo>
                    <a:pt x="4947" y="8633"/>
                    <a:pt x="4789" y="8948"/>
                    <a:pt x="4789" y="9295"/>
                  </a:cubicBezTo>
                  <a:lnTo>
                    <a:pt x="4789" y="11342"/>
                  </a:lnTo>
                  <a:cubicBezTo>
                    <a:pt x="4789" y="11563"/>
                    <a:pt x="4947" y="11720"/>
                    <a:pt x="5168" y="11720"/>
                  </a:cubicBezTo>
                  <a:lnTo>
                    <a:pt x="9956" y="11720"/>
                  </a:lnTo>
                  <a:cubicBezTo>
                    <a:pt x="10145" y="11720"/>
                    <a:pt x="10303" y="11563"/>
                    <a:pt x="10303" y="11342"/>
                  </a:cubicBezTo>
                  <a:lnTo>
                    <a:pt x="10303" y="9295"/>
                  </a:lnTo>
                  <a:cubicBezTo>
                    <a:pt x="10303" y="8948"/>
                    <a:pt x="10114" y="8633"/>
                    <a:pt x="9893" y="8444"/>
                  </a:cubicBezTo>
                  <a:cubicBezTo>
                    <a:pt x="10177" y="8003"/>
                    <a:pt x="10303" y="7499"/>
                    <a:pt x="10303" y="6932"/>
                  </a:cubicBezTo>
                  <a:lnTo>
                    <a:pt x="10303" y="4380"/>
                  </a:lnTo>
                  <a:lnTo>
                    <a:pt x="10271" y="4380"/>
                  </a:lnTo>
                  <a:cubicBezTo>
                    <a:pt x="10271" y="3907"/>
                    <a:pt x="10082" y="3466"/>
                    <a:pt x="9767" y="3151"/>
                  </a:cubicBezTo>
                  <a:lnTo>
                    <a:pt x="8224" y="1639"/>
                  </a:lnTo>
                  <a:lnTo>
                    <a:pt x="8224" y="1040"/>
                  </a:lnTo>
                  <a:cubicBezTo>
                    <a:pt x="8224" y="473"/>
                    <a:pt x="7751" y="1"/>
                    <a:pt x="7215"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1374" name="Google Shape;11374;p115"/>
            <p:cNvSpPr/>
            <p:nvPr/>
          </p:nvSpPr>
          <p:spPr>
            <a:xfrm>
              <a:off x="-766100" y="2660975"/>
              <a:ext cx="18125" cy="18150"/>
            </a:xfrm>
            <a:custGeom>
              <a:avLst/>
              <a:gdLst/>
              <a:ahLst/>
              <a:cxnLst/>
              <a:rect l="l" t="t" r="r" b="b"/>
              <a:pathLst>
                <a:path w="725" h="726" extrusionOk="0">
                  <a:moveTo>
                    <a:pt x="347" y="1"/>
                  </a:moveTo>
                  <a:cubicBezTo>
                    <a:pt x="158" y="1"/>
                    <a:pt x="0" y="158"/>
                    <a:pt x="0" y="379"/>
                  </a:cubicBezTo>
                  <a:cubicBezTo>
                    <a:pt x="0" y="568"/>
                    <a:pt x="158" y="725"/>
                    <a:pt x="347" y="725"/>
                  </a:cubicBezTo>
                  <a:cubicBezTo>
                    <a:pt x="536" y="725"/>
                    <a:pt x="725" y="568"/>
                    <a:pt x="725" y="379"/>
                  </a:cubicBezTo>
                  <a:cubicBezTo>
                    <a:pt x="693" y="158"/>
                    <a:pt x="536" y="1"/>
                    <a:pt x="347"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11375" name="Google Shape;11375;p115"/>
          <p:cNvGrpSpPr/>
          <p:nvPr/>
        </p:nvGrpSpPr>
        <p:grpSpPr>
          <a:xfrm>
            <a:off x="2583397" y="2194601"/>
            <a:ext cx="546041" cy="547489"/>
            <a:chOff x="6679825" y="2693700"/>
            <a:chExt cx="257875" cy="258575"/>
          </a:xfrm>
        </p:grpSpPr>
        <p:sp>
          <p:nvSpPr>
            <p:cNvPr id="11376" name="Google Shape;11376;p115"/>
            <p:cNvSpPr/>
            <p:nvPr/>
          </p:nvSpPr>
          <p:spPr>
            <a:xfrm>
              <a:off x="6679825" y="2693700"/>
              <a:ext cx="257875" cy="258575"/>
            </a:xfrm>
            <a:custGeom>
              <a:avLst/>
              <a:gdLst/>
              <a:ahLst/>
              <a:cxnLst/>
              <a:rect l="l" t="t" r="r" b="b"/>
              <a:pathLst>
                <a:path w="10315" h="10343" extrusionOk="0">
                  <a:moveTo>
                    <a:pt x="5102" y="670"/>
                  </a:moveTo>
                  <a:cubicBezTo>
                    <a:pt x="5604" y="670"/>
                    <a:pt x="6022" y="1088"/>
                    <a:pt x="6022" y="1562"/>
                  </a:cubicBezTo>
                  <a:cubicBezTo>
                    <a:pt x="6022" y="2063"/>
                    <a:pt x="5604" y="2481"/>
                    <a:pt x="5102" y="2481"/>
                  </a:cubicBezTo>
                  <a:cubicBezTo>
                    <a:pt x="4600" y="2481"/>
                    <a:pt x="4182" y="2063"/>
                    <a:pt x="4182" y="1562"/>
                  </a:cubicBezTo>
                  <a:cubicBezTo>
                    <a:pt x="4182" y="1088"/>
                    <a:pt x="4600" y="670"/>
                    <a:pt x="5102" y="670"/>
                  </a:cubicBezTo>
                  <a:close/>
                  <a:moveTo>
                    <a:pt x="1757" y="1896"/>
                  </a:moveTo>
                  <a:cubicBezTo>
                    <a:pt x="2063" y="1896"/>
                    <a:pt x="2342" y="2175"/>
                    <a:pt x="2342" y="2481"/>
                  </a:cubicBezTo>
                  <a:cubicBezTo>
                    <a:pt x="2342" y="2788"/>
                    <a:pt x="2063" y="3067"/>
                    <a:pt x="1757" y="3067"/>
                  </a:cubicBezTo>
                  <a:cubicBezTo>
                    <a:pt x="1422" y="3067"/>
                    <a:pt x="1143" y="2788"/>
                    <a:pt x="1143" y="2481"/>
                  </a:cubicBezTo>
                  <a:cubicBezTo>
                    <a:pt x="1143" y="2119"/>
                    <a:pt x="1422" y="1896"/>
                    <a:pt x="1757" y="1896"/>
                  </a:cubicBezTo>
                  <a:close/>
                  <a:moveTo>
                    <a:pt x="8447" y="1896"/>
                  </a:moveTo>
                  <a:cubicBezTo>
                    <a:pt x="8781" y="1896"/>
                    <a:pt x="9032" y="2175"/>
                    <a:pt x="9032" y="2481"/>
                  </a:cubicBezTo>
                  <a:cubicBezTo>
                    <a:pt x="9032" y="2788"/>
                    <a:pt x="8753" y="3067"/>
                    <a:pt x="8447" y="3067"/>
                  </a:cubicBezTo>
                  <a:cubicBezTo>
                    <a:pt x="8112" y="3067"/>
                    <a:pt x="7834" y="2788"/>
                    <a:pt x="7834" y="2481"/>
                  </a:cubicBezTo>
                  <a:cubicBezTo>
                    <a:pt x="7834" y="2119"/>
                    <a:pt x="8112" y="1896"/>
                    <a:pt x="8447" y="1896"/>
                  </a:cubicBezTo>
                  <a:close/>
                  <a:moveTo>
                    <a:pt x="1701" y="3624"/>
                  </a:moveTo>
                  <a:cubicBezTo>
                    <a:pt x="2370" y="3624"/>
                    <a:pt x="2927" y="4182"/>
                    <a:pt x="2927" y="4851"/>
                  </a:cubicBezTo>
                  <a:lnTo>
                    <a:pt x="2927" y="6412"/>
                  </a:lnTo>
                  <a:cubicBezTo>
                    <a:pt x="2955" y="6635"/>
                    <a:pt x="2816" y="6719"/>
                    <a:pt x="2649" y="6719"/>
                  </a:cubicBezTo>
                  <a:cubicBezTo>
                    <a:pt x="2481" y="6719"/>
                    <a:pt x="2342" y="6858"/>
                    <a:pt x="2342" y="7053"/>
                  </a:cubicBezTo>
                  <a:lnTo>
                    <a:pt x="2342" y="8865"/>
                  </a:lnTo>
                  <a:cubicBezTo>
                    <a:pt x="2342" y="9032"/>
                    <a:pt x="2203" y="9172"/>
                    <a:pt x="2035" y="9172"/>
                  </a:cubicBezTo>
                  <a:lnTo>
                    <a:pt x="1422" y="9172"/>
                  </a:lnTo>
                  <a:cubicBezTo>
                    <a:pt x="1255" y="9172"/>
                    <a:pt x="1116" y="9032"/>
                    <a:pt x="1116" y="8865"/>
                  </a:cubicBezTo>
                  <a:lnTo>
                    <a:pt x="1116" y="7053"/>
                  </a:lnTo>
                  <a:cubicBezTo>
                    <a:pt x="1116" y="6858"/>
                    <a:pt x="976" y="6719"/>
                    <a:pt x="809" y="6719"/>
                  </a:cubicBezTo>
                  <a:cubicBezTo>
                    <a:pt x="642" y="6719"/>
                    <a:pt x="502" y="6579"/>
                    <a:pt x="502" y="6412"/>
                  </a:cubicBezTo>
                  <a:lnTo>
                    <a:pt x="502" y="4851"/>
                  </a:lnTo>
                  <a:cubicBezTo>
                    <a:pt x="502" y="4182"/>
                    <a:pt x="1060" y="3624"/>
                    <a:pt x="1701" y="3624"/>
                  </a:cubicBezTo>
                  <a:close/>
                  <a:moveTo>
                    <a:pt x="8391" y="3624"/>
                  </a:moveTo>
                  <a:cubicBezTo>
                    <a:pt x="9060" y="3624"/>
                    <a:pt x="9618" y="4182"/>
                    <a:pt x="9618" y="4851"/>
                  </a:cubicBezTo>
                  <a:lnTo>
                    <a:pt x="9618" y="6440"/>
                  </a:lnTo>
                  <a:lnTo>
                    <a:pt x="9645" y="6440"/>
                  </a:lnTo>
                  <a:cubicBezTo>
                    <a:pt x="9645" y="6635"/>
                    <a:pt x="9506" y="6774"/>
                    <a:pt x="9339" y="6774"/>
                  </a:cubicBezTo>
                  <a:cubicBezTo>
                    <a:pt x="9172" y="6774"/>
                    <a:pt x="9032" y="6914"/>
                    <a:pt x="9032" y="7081"/>
                  </a:cubicBezTo>
                  <a:lnTo>
                    <a:pt x="9032" y="8893"/>
                  </a:lnTo>
                  <a:cubicBezTo>
                    <a:pt x="9032" y="9060"/>
                    <a:pt x="8893" y="9199"/>
                    <a:pt x="8726" y="9199"/>
                  </a:cubicBezTo>
                  <a:lnTo>
                    <a:pt x="8112" y="9199"/>
                  </a:lnTo>
                  <a:cubicBezTo>
                    <a:pt x="7945" y="9199"/>
                    <a:pt x="7806" y="9060"/>
                    <a:pt x="7806" y="8893"/>
                  </a:cubicBezTo>
                  <a:lnTo>
                    <a:pt x="7806" y="7053"/>
                  </a:lnTo>
                  <a:cubicBezTo>
                    <a:pt x="7806" y="6858"/>
                    <a:pt x="7666" y="6719"/>
                    <a:pt x="7499" y="6719"/>
                  </a:cubicBezTo>
                  <a:cubicBezTo>
                    <a:pt x="7332" y="6719"/>
                    <a:pt x="7192" y="6579"/>
                    <a:pt x="7192" y="6412"/>
                  </a:cubicBezTo>
                  <a:lnTo>
                    <a:pt x="7192" y="4851"/>
                  </a:lnTo>
                  <a:cubicBezTo>
                    <a:pt x="7192" y="4182"/>
                    <a:pt x="7750" y="3624"/>
                    <a:pt x="8391" y="3624"/>
                  </a:cubicBezTo>
                  <a:close/>
                  <a:moveTo>
                    <a:pt x="5381" y="3095"/>
                  </a:moveTo>
                  <a:cubicBezTo>
                    <a:pt x="6077" y="3234"/>
                    <a:pt x="6635" y="3875"/>
                    <a:pt x="6635" y="4600"/>
                  </a:cubicBezTo>
                  <a:lnTo>
                    <a:pt x="6635" y="6440"/>
                  </a:lnTo>
                  <a:cubicBezTo>
                    <a:pt x="6663" y="6635"/>
                    <a:pt x="6523" y="6719"/>
                    <a:pt x="6356" y="6719"/>
                  </a:cubicBezTo>
                  <a:cubicBezTo>
                    <a:pt x="6161" y="6719"/>
                    <a:pt x="6022" y="6858"/>
                    <a:pt x="6022" y="7053"/>
                  </a:cubicBezTo>
                  <a:lnTo>
                    <a:pt x="6022" y="9478"/>
                  </a:lnTo>
                  <a:cubicBezTo>
                    <a:pt x="6022" y="9645"/>
                    <a:pt x="5882" y="9785"/>
                    <a:pt x="5715" y="9785"/>
                  </a:cubicBezTo>
                  <a:lnTo>
                    <a:pt x="4461" y="9785"/>
                  </a:lnTo>
                  <a:cubicBezTo>
                    <a:pt x="4293" y="9785"/>
                    <a:pt x="4154" y="9645"/>
                    <a:pt x="4154" y="9478"/>
                  </a:cubicBezTo>
                  <a:lnTo>
                    <a:pt x="4154" y="7053"/>
                  </a:lnTo>
                  <a:cubicBezTo>
                    <a:pt x="4154" y="6858"/>
                    <a:pt x="4015" y="6719"/>
                    <a:pt x="3847" y="6719"/>
                  </a:cubicBezTo>
                  <a:cubicBezTo>
                    <a:pt x="3652" y="6719"/>
                    <a:pt x="3513" y="6579"/>
                    <a:pt x="3513" y="6412"/>
                  </a:cubicBezTo>
                  <a:lnTo>
                    <a:pt x="3513" y="4851"/>
                  </a:lnTo>
                  <a:lnTo>
                    <a:pt x="3513" y="4600"/>
                  </a:lnTo>
                  <a:cubicBezTo>
                    <a:pt x="3513" y="3875"/>
                    <a:pt x="4043" y="3234"/>
                    <a:pt x="4739" y="3095"/>
                  </a:cubicBezTo>
                  <a:lnTo>
                    <a:pt x="4739" y="5185"/>
                  </a:lnTo>
                  <a:cubicBezTo>
                    <a:pt x="4739" y="5381"/>
                    <a:pt x="4879" y="5520"/>
                    <a:pt x="5046" y="5520"/>
                  </a:cubicBezTo>
                  <a:cubicBezTo>
                    <a:pt x="5241" y="5520"/>
                    <a:pt x="5381" y="5381"/>
                    <a:pt x="5381" y="5185"/>
                  </a:cubicBezTo>
                  <a:lnTo>
                    <a:pt x="5381" y="3095"/>
                  </a:lnTo>
                  <a:close/>
                  <a:moveTo>
                    <a:pt x="5130" y="1"/>
                  </a:moveTo>
                  <a:cubicBezTo>
                    <a:pt x="4293" y="1"/>
                    <a:pt x="3624" y="670"/>
                    <a:pt x="3624" y="1506"/>
                  </a:cubicBezTo>
                  <a:cubicBezTo>
                    <a:pt x="3624" y="1952"/>
                    <a:pt x="3847" y="2370"/>
                    <a:pt x="4154" y="2649"/>
                  </a:cubicBezTo>
                  <a:cubicBezTo>
                    <a:pt x="3736" y="2872"/>
                    <a:pt x="3373" y="3234"/>
                    <a:pt x="3206" y="3652"/>
                  </a:cubicBezTo>
                  <a:cubicBezTo>
                    <a:pt x="3067" y="3485"/>
                    <a:pt x="2900" y="3346"/>
                    <a:pt x="2677" y="3234"/>
                  </a:cubicBezTo>
                  <a:cubicBezTo>
                    <a:pt x="2900" y="3039"/>
                    <a:pt x="3039" y="2732"/>
                    <a:pt x="3039" y="2398"/>
                  </a:cubicBezTo>
                  <a:cubicBezTo>
                    <a:pt x="3039" y="1757"/>
                    <a:pt x="2481" y="1199"/>
                    <a:pt x="1812" y="1199"/>
                  </a:cubicBezTo>
                  <a:cubicBezTo>
                    <a:pt x="1143" y="1199"/>
                    <a:pt x="586" y="1757"/>
                    <a:pt x="586" y="2398"/>
                  </a:cubicBezTo>
                  <a:cubicBezTo>
                    <a:pt x="586" y="2732"/>
                    <a:pt x="725" y="3039"/>
                    <a:pt x="948" y="3234"/>
                  </a:cubicBezTo>
                  <a:cubicBezTo>
                    <a:pt x="391" y="3569"/>
                    <a:pt x="1" y="4154"/>
                    <a:pt x="1" y="4851"/>
                  </a:cubicBezTo>
                  <a:lnTo>
                    <a:pt x="1" y="6412"/>
                  </a:lnTo>
                  <a:cubicBezTo>
                    <a:pt x="1" y="6802"/>
                    <a:pt x="251" y="7137"/>
                    <a:pt x="586" y="7276"/>
                  </a:cubicBezTo>
                  <a:lnTo>
                    <a:pt x="586" y="8865"/>
                  </a:lnTo>
                  <a:cubicBezTo>
                    <a:pt x="586" y="9339"/>
                    <a:pt x="1004" y="9757"/>
                    <a:pt x="1506" y="9757"/>
                  </a:cubicBezTo>
                  <a:lnTo>
                    <a:pt x="2091" y="9757"/>
                  </a:lnTo>
                  <a:cubicBezTo>
                    <a:pt x="2593" y="9757"/>
                    <a:pt x="3011" y="9339"/>
                    <a:pt x="3011" y="8865"/>
                  </a:cubicBezTo>
                  <a:lnTo>
                    <a:pt x="3011" y="7276"/>
                  </a:lnTo>
                  <a:cubicBezTo>
                    <a:pt x="3095" y="7248"/>
                    <a:pt x="3206" y="7192"/>
                    <a:pt x="3318" y="7109"/>
                  </a:cubicBezTo>
                  <a:cubicBezTo>
                    <a:pt x="3429" y="7192"/>
                    <a:pt x="3485" y="7248"/>
                    <a:pt x="3624" y="7276"/>
                  </a:cubicBezTo>
                  <a:lnTo>
                    <a:pt x="3624" y="9450"/>
                  </a:lnTo>
                  <a:cubicBezTo>
                    <a:pt x="3624" y="9924"/>
                    <a:pt x="4043" y="10342"/>
                    <a:pt x="4544" y="10342"/>
                  </a:cubicBezTo>
                  <a:lnTo>
                    <a:pt x="5799" y="10342"/>
                  </a:lnTo>
                  <a:cubicBezTo>
                    <a:pt x="6273" y="10342"/>
                    <a:pt x="6691" y="9924"/>
                    <a:pt x="6691" y="9450"/>
                  </a:cubicBezTo>
                  <a:lnTo>
                    <a:pt x="6691" y="7276"/>
                  </a:lnTo>
                  <a:cubicBezTo>
                    <a:pt x="6802" y="7248"/>
                    <a:pt x="6914" y="7192"/>
                    <a:pt x="6997" y="7109"/>
                  </a:cubicBezTo>
                  <a:cubicBezTo>
                    <a:pt x="7109" y="7192"/>
                    <a:pt x="7192" y="7248"/>
                    <a:pt x="7332" y="7276"/>
                  </a:cubicBezTo>
                  <a:lnTo>
                    <a:pt x="7332" y="8865"/>
                  </a:lnTo>
                  <a:cubicBezTo>
                    <a:pt x="7332" y="9339"/>
                    <a:pt x="7750" y="9757"/>
                    <a:pt x="8224" y="9757"/>
                  </a:cubicBezTo>
                  <a:lnTo>
                    <a:pt x="8809" y="9757"/>
                  </a:lnTo>
                  <a:cubicBezTo>
                    <a:pt x="9311" y="9757"/>
                    <a:pt x="9729" y="9339"/>
                    <a:pt x="9729" y="8865"/>
                  </a:cubicBezTo>
                  <a:lnTo>
                    <a:pt x="9729" y="7276"/>
                  </a:lnTo>
                  <a:cubicBezTo>
                    <a:pt x="10064" y="7137"/>
                    <a:pt x="10314" y="6830"/>
                    <a:pt x="10314" y="6412"/>
                  </a:cubicBezTo>
                  <a:lnTo>
                    <a:pt x="10314" y="4851"/>
                  </a:lnTo>
                  <a:cubicBezTo>
                    <a:pt x="10287" y="4210"/>
                    <a:pt x="9896" y="3596"/>
                    <a:pt x="9339" y="3318"/>
                  </a:cubicBezTo>
                  <a:cubicBezTo>
                    <a:pt x="9562" y="3095"/>
                    <a:pt x="9701" y="2788"/>
                    <a:pt x="9701" y="2481"/>
                  </a:cubicBezTo>
                  <a:cubicBezTo>
                    <a:pt x="9701" y="1812"/>
                    <a:pt x="9144" y="1255"/>
                    <a:pt x="8475" y="1255"/>
                  </a:cubicBezTo>
                  <a:cubicBezTo>
                    <a:pt x="7806" y="1255"/>
                    <a:pt x="7248" y="1812"/>
                    <a:pt x="7248" y="2481"/>
                  </a:cubicBezTo>
                  <a:cubicBezTo>
                    <a:pt x="7248" y="2788"/>
                    <a:pt x="7388" y="3095"/>
                    <a:pt x="7611" y="3318"/>
                  </a:cubicBezTo>
                  <a:cubicBezTo>
                    <a:pt x="7388" y="3429"/>
                    <a:pt x="7220" y="3569"/>
                    <a:pt x="7081" y="3736"/>
                  </a:cubicBezTo>
                  <a:cubicBezTo>
                    <a:pt x="6969" y="3485"/>
                    <a:pt x="6802" y="3290"/>
                    <a:pt x="6635" y="3067"/>
                  </a:cubicBezTo>
                  <a:cubicBezTo>
                    <a:pt x="6496" y="2927"/>
                    <a:pt x="6300" y="2788"/>
                    <a:pt x="6105" y="2677"/>
                  </a:cubicBezTo>
                  <a:cubicBezTo>
                    <a:pt x="6440" y="2370"/>
                    <a:pt x="6663" y="1952"/>
                    <a:pt x="6663" y="1534"/>
                  </a:cubicBezTo>
                  <a:cubicBezTo>
                    <a:pt x="6663" y="1116"/>
                    <a:pt x="6496" y="725"/>
                    <a:pt x="6217" y="447"/>
                  </a:cubicBezTo>
                  <a:cubicBezTo>
                    <a:pt x="5938" y="168"/>
                    <a:pt x="5520" y="1"/>
                    <a:pt x="5130"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1377" name="Google Shape;11377;p115"/>
            <p:cNvSpPr/>
            <p:nvPr/>
          </p:nvSpPr>
          <p:spPr>
            <a:xfrm flipH="1">
              <a:off x="6679825" y="2693700"/>
              <a:ext cx="257875" cy="258575"/>
            </a:xfrm>
            <a:custGeom>
              <a:avLst/>
              <a:gdLst/>
              <a:ahLst/>
              <a:cxnLst/>
              <a:rect l="l" t="t" r="r" b="b"/>
              <a:pathLst>
                <a:path w="10315" h="10343" extrusionOk="0">
                  <a:moveTo>
                    <a:pt x="5102" y="670"/>
                  </a:moveTo>
                  <a:cubicBezTo>
                    <a:pt x="5604" y="670"/>
                    <a:pt x="6022" y="1088"/>
                    <a:pt x="6022" y="1562"/>
                  </a:cubicBezTo>
                  <a:cubicBezTo>
                    <a:pt x="6022" y="2063"/>
                    <a:pt x="5604" y="2481"/>
                    <a:pt x="5102" y="2481"/>
                  </a:cubicBezTo>
                  <a:cubicBezTo>
                    <a:pt x="4600" y="2481"/>
                    <a:pt x="4182" y="2063"/>
                    <a:pt x="4182" y="1562"/>
                  </a:cubicBezTo>
                  <a:cubicBezTo>
                    <a:pt x="4182" y="1088"/>
                    <a:pt x="4600" y="670"/>
                    <a:pt x="5102" y="670"/>
                  </a:cubicBezTo>
                  <a:close/>
                  <a:moveTo>
                    <a:pt x="1757" y="1896"/>
                  </a:moveTo>
                  <a:cubicBezTo>
                    <a:pt x="2063" y="1896"/>
                    <a:pt x="2342" y="2175"/>
                    <a:pt x="2342" y="2481"/>
                  </a:cubicBezTo>
                  <a:cubicBezTo>
                    <a:pt x="2342" y="2788"/>
                    <a:pt x="2063" y="3067"/>
                    <a:pt x="1757" y="3067"/>
                  </a:cubicBezTo>
                  <a:cubicBezTo>
                    <a:pt x="1422" y="3067"/>
                    <a:pt x="1143" y="2788"/>
                    <a:pt x="1143" y="2481"/>
                  </a:cubicBezTo>
                  <a:cubicBezTo>
                    <a:pt x="1143" y="2119"/>
                    <a:pt x="1422" y="1896"/>
                    <a:pt x="1757" y="1896"/>
                  </a:cubicBezTo>
                  <a:close/>
                  <a:moveTo>
                    <a:pt x="8447" y="1896"/>
                  </a:moveTo>
                  <a:cubicBezTo>
                    <a:pt x="8781" y="1896"/>
                    <a:pt x="9032" y="2175"/>
                    <a:pt x="9032" y="2481"/>
                  </a:cubicBezTo>
                  <a:cubicBezTo>
                    <a:pt x="9032" y="2788"/>
                    <a:pt x="8753" y="3067"/>
                    <a:pt x="8447" y="3067"/>
                  </a:cubicBezTo>
                  <a:cubicBezTo>
                    <a:pt x="8112" y="3067"/>
                    <a:pt x="7834" y="2788"/>
                    <a:pt x="7834" y="2481"/>
                  </a:cubicBezTo>
                  <a:cubicBezTo>
                    <a:pt x="7834" y="2119"/>
                    <a:pt x="8112" y="1896"/>
                    <a:pt x="8447" y="1896"/>
                  </a:cubicBezTo>
                  <a:close/>
                  <a:moveTo>
                    <a:pt x="1701" y="3624"/>
                  </a:moveTo>
                  <a:cubicBezTo>
                    <a:pt x="2370" y="3624"/>
                    <a:pt x="2927" y="4182"/>
                    <a:pt x="2927" y="4851"/>
                  </a:cubicBezTo>
                  <a:lnTo>
                    <a:pt x="2927" y="6412"/>
                  </a:lnTo>
                  <a:cubicBezTo>
                    <a:pt x="2955" y="6635"/>
                    <a:pt x="2816" y="6719"/>
                    <a:pt x="2649" y="6719"/>
                  </a:cubicBezTo>
                  <a:cubicBezTo>
                    <a:pt x="2481" y="6719"/>
                    <a:pt x="2342" y="6858"/>
                    <a:pt x="2342" y="7053"/>
                  </a:cubicBezTo>
                  <a:lnTo>
                    <a:pt x="2342" y="8865"/>
                  </a:lnTo>
                  <a:cubicBezTo>
                    <a:pt x="2342" y="9032"/>
                    <a:pt x="2203" y="9172"/>
                    <a:pt x="2035" y="9172"/>
                  </a:cubicBezTo>
                  <a:lnTo>
                    <a:pt x="1422" y="9172"/>
                  </a:lnTo>
                  <a:cubicBezTo>
                    <a:pt x="1255" y="9172"/>
                    <a:pt x="1116" y="9032"/>
                    <a:pt x="1116" y="8865"/>
                  </a:cubicBezTo>
                  <a:lnTo>
                    <a:pt x="1116" y="7053"/>
                  </a:lnTo>
                  <a:cubicBezTo>
                    <a:pt x="1116" y="6858"/>
                    <a:pt x="976" y="6719"/>
                    <a:pt x="809" y="6719"/>
                  </a:cubicBezTo>
                  <a:cubicBezTo>
                    <a:pt x="642" y="6719"/>
                    <a:pt x="502" y="6579"/>
                    <a:pt x="502" y="6412"/>
                  </a:cubicBezTo>
                  <a:lnTo>
                    <a:pt x="502" y="4851"/>
                  </a:lnTo>
                  <a:cubicBezTo>
                    <a:pt x="502" y="4182"/>
                    <a:pt x="1060" y="3624"/>
                    <a:pt x="1701" y="3624"/>
                  </a:cubicBezTo>
                  <a:close/>
                  <a:moveTo>
                    <a:pt x="8391" y="3624"/>
                  </a:moveTo>
                  <a:cubicBezTo>
                    <a:pt x="9060" y="3624"/>
                    <a:pt x="9618" y="4182"/>
                    <a:pt x="9618" y="4851"/>
                  </a:cubicBezTo>
                  <a:lnTo>
                    <a:pt x="9618" y="6440"/>
                  </a:lnTo>
                  <a:lnTo>
                    <a:pt x="9645" y="6440"/>
                  </a:lnTo>
                  <a:cubicBezTo>
                    <a:pt x="9645" y="6635"/>
                    <a:pt x="9506" y="6774"/>
                    <a:pt x="9339" y="6774"/>
                  </a:cubicBezTo>
                  <a:cubicBezTo>
                    <a:pt x="9172" y="6774"/>
                    <a:pt x="9032" y="6914"/>
                    <a:pt x="9032" y="7081"/>
                  </a:cubicBezTo>
                  <a:lnTo>
                    <a:pt x="9032" y="8893"/>
                  </a:lnTo>
                  <a:cubicBezTo>
                    <a:pt x="9032" y="9060"/>
                    <a:pt x="8893" y="9199"/>
                    <a:pt x="8726" y="9199"/>
                  </a:cubicBezTo>
                  <a:lnTo>
                    <a:pt x="8112" y="9199"/>
                  </a:lnTo>
                  <a:cubicBezTo>
                    <a:pt x="7945" y="9199"/>
                    <a:pt x="7806" y="9060"/>
                    <a:pt x="7806" y="8893"/>
                  </a:cubicBezTo>
                  <a:lnTo>
                    <a:pt x="7806" y="7053"/>
                  </a:lnTo>
                  <a:cubicBezTo>
                    <a:pt x="7806" y="6858"/>
                    <a:pt x="7666" y="6719"/>
                    <a:pt x="7499" y="6719"/>
                  </a:cubicBezTo>
                  <a:cubicBezTo>
                    <a:pt x="7332" y="6719"/>
                    <a:pt x="7192" y="6579"/>
                    <a:pt x="7192" y="6412"/>
                  </a:cubicBezTo>
                  <a:lnTo>
                    <a:pt x="7192" y="4851"/>
                  </a:lnTo>
                  <a:cubicBezTo>
                    <a:pt x="7192" y="4182"/>
                    <a:pt x="7750" y="3624"/>
                    <a:pt x="8391" y="3624"/>
                  </a:cubicBezTo>
                  <a:close/>
                  <a:moveTo>
                    <a:pt x="5381" y="3095"/>
                  </a:moveTo>
                  <a:cubicBezTo>
                    <a:pt x="6077" y="3234"/>
                    <a:pt x="6635" y="3875"/>
                    <a:pt x="6635" y="4600"/>
                  </a:cubicBezTo>
                  <a:lnTo>
                    <a:pt x="6635" y="6440"/>
                  </a:lnTo>
                  <a:cubicBezTo>
                    <a:pt x="6663" y="6635"/>
                    <a:pt x="6523" y="6719"/>
                    <a:pt x="6356" y="6719"/>
                  </a:cubicBezTo>
                  <a:cubicBezTo>
                    <a:pt x="6161" y="6719"/>
                    <a:pt x="6022" y="6858"/>
                    <a:pt x="6022" y="7053"/>
                  </a:cubicBezTo>
                  <a:lnTo>
                    <a:pt x="6022" y="9478"/>
                  </a:lnTo>
                  <a:cubicBezTo>
                    <a:pt x="6022" y="9645"/>
                    <a:pt x="5882" y="9785"/>
                    <a:pt x="5715" y="9785"/>
                  </a:cubicBezTo>
                  <a:lnTo>
                    <a:pt x="4461" y="9785"/>
                  </a:lnTo>
                  <a:cubicBezTo>
                    <a:pt x="4293" y="9785"/>
                    <a:pt x="4154" y="9645"/>
                    <a:pt x="4154" y="9478"/>
                  </a:cubicBezTo>
                  <a:lnTo>
                    <a:pt x="4154" y="7053"/>
                  </a:lnTo>
                  <a:cubicBezTo>
                    <a:pt x="4154" y="6858"/>
                    <a:pt x="4015" y="6719"/>
                    <a:pt x="3847" y="6719"/>
                  </a:cubicBezTo>
                  <a:cubicBezTo>
                    <a:pt x="3652" y="6719"/>
                    <a:pt x="3513" y="6579"/>
                    <a:pt x="3513" y="6412"/>
                  </a:cubicBezTo>
                  <a:lnTo>
                    <a:pt x="3513" y="4851"/>
                  </a:lnTo>
                  <a:lnTo>
                    <a:pt x="3513" y="4600"/>
                  </a:lnTo>
                  <a:cubicBezTo>
                    <a:pt x="3513" y="3875"/>
                    <a:pt x="4043" y="3234"/>
                    <a:pt x="4739" y="3095"/>
                  </a:cubicBezTo>
                  <a:lnTo>
                    <a:pt x="4739" y="5185"/>
                  </a:lnTo>
                  <a:cubicBezTo>
                    <a:pt x="4739" y="5381"/>
                    <a:pt x="4879" y="5520"/>
                    <a:pt x="5046" y="5520"/>
                  </a:cubicBezTo>
                  <a:cubicBezTo>
                    <a:pt x="5241" y="5520"/>
                    <a:pt x="5381" y="5381"/>
                    <a:pt x="5381" y="5185"/>
                  </a:cubicBezTo>
                  <a:lnTo>
                    <a:pt x="5381" y="3095"/>
                  </a:lnTo>
                  <a:close/>
                  <a:moveTo>
                    <a:pt x="5130" y="1"/>
                  </a:moveTo>
                  <a:cubicBezTo>
                    <a:pt x="4293" y="1"/>
                    <a:pt x="3624" y="670"/>
                    <a:pt x="3624" y="1506"/>
                  </a:cubicBezTo>
                  <a:cubicBezTo>
                    <a:pt x="3624" y="1952"/>
                    <a:pt x="3847" y="2370"/>
                    <a:pt x="4154" y="2649"/>
                  </a:cubicBezTo>
                  <a:cubicBezTo>
                    <a:pt x="3736" y="2872"/>
                    <a:pt x="3373" y="3234"/>
                    <a:pt x="3206" y="3652"/>
                  </a:cubicBezTo>
                  <a:cubicBezTo>
                    <a:pt x="3067" y="3485"/>
                    <a:pt x="2900" y="3346"/>
                    <a:pt x="2677" y="3234"/>
                  </a:cubicBezTo>
                  <a:cubicBezTo>
                    <a:pt x="2900" y="3039"/>
                    <a:pt x="3039" y="2732"/>
                    <a:pt x="3039" y="2398"/>
                  </a:cubicBezTo>
                  <a:cubicBezTo>
                    <a:pt x="3039" y="1757"/>
                    <a:pt x="2481" y="1199"/>
                    <a:pt x="1812" y="1199"/>
                  </a:cubicBezTo>
                  <a:cubicBezTo>
                    <a:pt x="1143" y="1199"/>
                    <a:pt x="586" y="1757"/>
                    <a:pt x="586" y="2398"/>
                  </a:cubicBezTo>
                  <a:cubicBezTo>
                    <a:pt x="586" y="2732"/>
                    <a:pt x="725" y="3039"/>
                    <a:pt x="948" y="3234"/>
                  </a:cubicBezTo>
                  <a:cubicBezTo>
                    <a:pt x="391" y="3569"/>
                    <a:pt x="1" y="4154"/>
                    <a:pt x="1" y="4851"/>
                  </a:cubicBezTo>
                  <a:lnTo>
                    <a:pt x="1" y="6412"/>
                  </a:lnTo>
                  <a:cubicBezTo>
                    <a:pt x="1" y="6802"/>
                    <a:pt x="251" y="7137"/>
                    <a:pt x="586" y="7276"/>
                  </a:cubicBezTo>
                  <a:lnTo>
                    <a:pt x="586" y="8865"/>
                  </a:lnTo>
                  <a:cubicBezTo>
                    <a:pt x="586" y="9339"/>
                    <a:pt x="1004" y="9757"/>
                    <a:pt x="1506" y="9757"/>
                  </a:cubicBezTo>
                  <a:lnTo>
                    <a:pt x="2091" y="9757"/>
                  </a:lnTo>
                  <a:cubicBezTo>
                    <a:pt x="2593" y="9757"/>
                    <a:pt x="3011" y="9339"/>
                    <a:pt x="3011" y="8865"/>
                  </a:cubicBezTo>
                  <a:lnTo>
                    <a:pt x="3011" y="7276"/>
                  </a:lnTo>
                  <a:cubicBezTo>
                    <a:pt x="3095" y="7248"/>
                    <a:pt x="3206" y="7192"/>
                    <a:pt x="3318" y="7109"/>
                  </a:cubicBezTo>
                  <a:cubicBezTo>
                    <a:pt x="3429" y="7192"/>
                    <a:pt x="3485" y="7248"/>
                    <a:pt x="3624" y="7276"/>
                  </a:cubicBezTo>
                  <a:lnTo>
                    <a:pt x="3624" y="9450"/>
                  </a:lnTo>
                  <a:cubicBezTo>
                    <a:pt x="3624" y="9924"/>
                    <a:pt x="4043" y="10342"/>
                    <a:pt x="4544" y="10342"/>
                  </a:cubicBezTo>
                  <a:lnTo>
                    <a:pt x="5799" y="10342"/>
                  </a:lnTo>
                  <a:cubicBezTo>
                    <a:pt x="6273" y="10342"/>
                    <a:pt x="6691" y="9924"/>
                    <a:pt x="6691" y="9450"/>
                  </a:cubicBezTo>
                  <a:lnTo>
                    <a:pt x="6691" y="7276"/>
                  </a:lnTo>
                  <a:cubicBezTo>
                    <a:pt x="6802" y="7248"/>
                    <a:pt x="6914" y="7192"/>
                    <a:pt x="6997" y="7109"/>
                  </a:cubicBezTo>
                  <a:cubicBezTo>
                    <a:pt x="7109" y="7192"/>
                    <a:pt x="7192" y="7248"/>
                    <a:pt x="7332" y="7276"/>
                  </a:cubicBezTo>
                  <a:lnTo>
                    <a:pt x="7332" y="8865"/>
                  </a:lnTo>
                  <a:cubicBezTo>
                    <a:pt x="7332" y="9339"/>
                    <a:pt x="7750" y="9757"/>
                    <a:pt x="8224" y="9757"/>
                  </a:cubicBezTo>
                  <a:lnTo>
                    <a:pt x="8809" y="9757"/>
                  </a:lnTo>
                  <a:cubicBezTo>
                    <a:pt x="9311" y="9757"/>
                    <a:pt x="9729" y="9339"/>
                    <a:pt x="9729" y="8865"/>
                  </a:cubicBezTo>
                  <a:lnTo>
                    <a:pt x="9729" y="7276"/>
                  </a:lnTo>
                  <a:cubicBezTo>
                    <a:pt x="10064" y="7137"/>
                    <a:pt x="10314" y="6830"/>
                    <a:pt x="10314" y="6412"/>
                  </a:cubicBezTo>
                  <a:lnTo>
                    <a:pt x="10314" y="4851"/>
                  </a:lnTo>
                  <a:cubicBezTo>
                    <a:pt x="10287" y="4210"/>
                    <a:pt x="9896" y="3596"/>
                    <a:pt x="9339" y="3318"/>
                  </a:cubicBezTo>
                  <a:cubicBezTo>
                    <a:pt x="9562" y="3095"/>
                    <a:pt x="9701" y="2788"/>
                    <a:pt x="9701" y="2481"/>
                  </a:cubicBezTo>
                  <a:cubicBezTo>
                    <a:pt x="9701" y="1812"/>
                    <a:pt x="9144" y="1255"/>
                    <a:pt x="8475" y="1255"/>
                  </a:cubicBezTo>
                  <a:cubicBezTo>
                    <a:pt x="7806" y="1255"/>
                    <a:pt x="7248" y="1812"/>
                    <a:pt x="7248" y="2481"/>
                  </a:cubicBezTo>
                  <a:cubicBezTo>
                    <a:pt x="7248" y="2788"/>
                    <a:pt x="7388" y="3095"/>
                    <a:pt x="7611" y="3318"/>
                  </a:cubicBezTo>
                  <a:cubicBezTo>
                    <a:pt x="7388" y="3429"/>
                    <a:pt x="7220" y="3569"/>
                    <a:pt x="7081" y="3736"/>
                  </a:cubicBezTo>
                  <a:cubicBezTo>
                    <a:pt x="6969" y="3485"/>
                    <a:pt x="6802" y="3290"/>
                    <a:pt x="6635" y="3067"/>
                  </a:cubicBezTo>
                  <a:cubicBezTo>
                    <a:pt x="6496" y="2927"/>
                    <a:pt x="6300" y="2788"/>
                    <a:pt x="6105" y="2677"/>
                  </a:cubicBezTo>
                  <a:cubicBezTo>
                    <a:pt x="6440" y="2370"/>
                    <a:pt x="6663" y="1952"/>
                    <a:pt x="6663" y="1534"/>
                  </a:cubicBezTo>
                  <a:cubicBezTo>
                    <a:pt x="6663" y="1116"/>
                    <a:pt x="6496" y="725"/>
                    <a:pt x="6217" y="447"/>
                  </a:cubicBezTo>
                  <a:cubicBezTo>
                    <a:pt x="5938" y="168"/>
                    <a:pt x="5520" y="1"/>
                    <a:pt x="5130"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11378" name="Google Shape;11378;p115"/>
          <p:cNvGrpSpPr/>
          <p:nvPr/>
        </p:nvGrpSpPr>
        <p:grpSpPr>
          <a:xfrm>
            <a:off x="2569495" y="2856147"/>
            <a:ext cx="560708" cy="556349"/>
            <a:chOff x="6790450" y="3119050"/>
            <a:chExt cx="262750" cy="260675"/>
          </a:xfrm>
        </p:grpSpPr>
        <p:sp>
          <p:nvSpPr>
            <p:cNvPr id="11379" name="Google Shape;11379;p115"/>
            <p:cNvSpPr/>
            <p:nvPr/>
          </p:nvSpPr>
          <p:spPr>
            <a:xfrm>
              <a:off x="6790450" y="3119050"/>
              <a:ext cx="262750" cy="260675"/>
            </a:xfrm>
            <a:custGeom>
              <a:avLst/>
              <a:gdLst/>
              <a:ahLst/>
              <a:cxnLst/>
              <a:rect l="l" t="t" r="r" b="b"/>
              <a:pathLst>
                <a:path w="10510" h="10427" extrusionOk="0">
                  <a:moveTo>
                    <a:pt x="5269" y="1924"/>
                  </a:moveTo>
                  <a:cubicBezTo>
                    <a:pt x="6022" y="1924"/>
                    <a:pt x="6635" y="2454"/>
                    <a:pt x="6774" y="3151"/>
                  </a:cubicBezTo>
                  <a:lnTo>
                    <a:pt x="3791" y="3151"/>
                  </a:lnTo>
                  <a:cubicBezTo>
                    <a:pt x="3931" y="2454"/>
                    <a:pt x="4544" y="1924"/>
                    <a:pt x="5269" y="1924"/>
                  </a:cubicBezTo>
                  <a:close/>
                  <a:moveTo>
                    <a:pt x="4962" y="3764"/>
                  </a:moveTo>
                  <a:lnTo>
                    <a:pt x="4962" y="9785"/>
                  </a:lnTo>
                  <a:cubicBezTo>
                    <a:pt x="3959" y="9646"/>
                    <a:pt x="3150" y="8754"/>
                    <a:pt x="3150" y="7694"/>
                  </a:cubicBezTo>
                  <a:lnTo>
                    <a:pt x="3150" y="4071"/>
                  </a:lnTo>
                  <a:cubicBezTo>
                    <a:pt x="3150" y="3903"/>
                    <a:pt x="3290" y="3764"/>
                    <a:pt x="3485" y="3764"/>
                  </a:cubicBezTo>
                  <a:close/>
                  <a:moveTo>
                    <a:pt x="7109" y="3764"/>
                  </a:moveTo>
                  <a:cubicBezTo>
                    <a:pt x="7276" y="3764"/>
                    <a:pt x="7415" y="3903"/>
                    <a:pt x="7415" y="4071"/>
                  </a:cubicBezTo>
                  <a:lnTo>
                    <a:pt x="7415" y="7694"/>
                  </a:lnTo>
                  <a:cubicBezTo>
                    <a:pt x="7415" y="8754"/>
                    <a:pt x="6607" y="9646"/>
                    <a:pt x="5603" y="9785"/>
                  </a:cubicBezTo>
                  <a:lnTo>
                    <a:pt x="5603" y="3764"/>
                  </a:lnTo>
                  <a:close/>
                  <a:moveTo>
                    <a:pt x="3987" y="1"/>
                  </a:moveTo>
                  <a:cubicBezTo>
                    <a:pt x="3819" y="1"/>
                    <a:pt x="3680" y="140"/>
                    <a:pt x="3680" y="307"/>
                  </a:cubicBezTo>
                  <a:lnTo>
                    <a:pt x="3680" y="921"/>
                  </a:lnTo>
                  <a:cubicBezTo>
                    <a:pt x="3680" y="1199"/>
                    <a:pt x="3819" y="1422"/>
                    <a:pt x="3987" y="1618"/>
                  </a:cubicBezTo>
                  <a:cubicBezTo>
                    <a:pt x="3513" y="1952"/>
                    <a:pt x="3150" y="2482"/>
                    <a:pt x="3095" y="3095"/>
                  </a:cubicBezTo>
                  <a:cubicBezTo>
                    <a:pt x="2732" y="3206"/>
                    <a:pt x="2453" y="3569"/>
                    <a:pt x="2453" y="3987"/>
                  </a:cubicBezTo>
                  <a:lnTo>
                    <a:pt x="2453" y="4294"/>
                  </a:lnTo>
                  <a:lnTo>
                    <a:pt x="1840" y="4294"/>
                  </a:lnTo>
                  <a:cubicBezTo>
                    <a:pt x="1450" y="4294"/>
                    <a:pt x="1115" y="4043"/>
                    <a:pt x="976" y="3652"/>
                  </a:cubicBezTo>
                  <a:lnTo>
                    <a:pt x="642" y="2677"/>
                  </a:lnTo>
                  <a:cubicBezTo>
                    <a:pt x="600" y="2551"/>
                    <a:pt x="511" y="2489"/>
                    <a:pt x="399" y="2489"/>
                  </a:cubicBezTo>
                  <a:cubicBezTo>
                    <a:pt x="361" y="2489"/>
                    <a:pt x="321" y="2496"/>
                    <a:pt x="279" y="2510"/>
                  </a:cubicBezTo>
                  <a:cubicBezTo>
                    <a:pt x="84" y="2565"/>
                    <a:pt x="28" y="2705"/>
                    <a:pt x="84" y="2900"/>
                  </a:cubicBezTo>
                  <a:lnTo>
                    <a:pt x="419" y="3875"/>
                  </a:lnTo>
                  <a:cubicBezTo>
                    <a:pt x="614" y="4489"/>
                    <a:pt x="1171" y="4907"/>
                    <a:pt x="1840" y="4907"/>
                  </a:cubicBezTo>
                  <a:lnTo>
                    <a:pt x="2453" y="4907"/>
                  </a:lnTo>
                  <a:lnTo>
                    <a:pt x="2453" y="6133"/>
                  </a:lnTo>
                  <a:lnTo>
                    <a:pt x="335" y="6133"/>
                  </a:lnTo>
                  <a:cubicBezTo>
                    <a:pt x="168" y="6133"/>
                    <a:pt x="28" y="6273"/>
                    <a:pt x="28" y="6440"/>
                  </a:cubicBezTo>
                  <a:cubicBezTo>
                    <a:pt x="28" y="6635"/>
                    <a:pt x="168" y="6775"/>
                    <a:pt x="335" y="6775"/>
                  </a:cubicBezTo>
                  <a:lnTo>
                    <a:pt x="2453" y="6775"/>
                  </a:lnTo>
                  <a:lnTo>
                    <a:pt x="2453" y="7667"/>
                  </a:lnTo>
                  <a:lnTo>
                    <a:pt x="2453" y="7973"/>
                  </a:lnTo>
                  <a:lnTo>
                    <a:pt x="1812" y="7973"/>
                  </a:lnTo>
                  <a:cubicBezTo>
                    <a:pt x="1143" y="7973"/>
                    <a:pt x="586" y="8391"/>
                    <a:pt x="363" y="9032"/>
                  </a:cubicBezTo>
                  <a:lnTo>
                    <a:pt x="56" y="10008"/>
                  </a:lnTo>
                  <a:cubicBezTo>
                    <a:pt x="0" y="10175"/>
                    <a:pt x="84" y="10315"/>
                    <a:pt x="223" y="10398"/>
                  </a:cubicBezTo>
                  <a:cubicBezTo>
                    <a:pt x="259" y="10408"/>
                    <a:pt x="292" y="10413"/>
                    <a:pt x="323" y="10413"/>
                  </a:cubicBezTo>
                  <a:cubicBezTo>
                    <a:pt x="466" y="10413"/>
                    <a:pt x="568" y="10317"/>
                    <a:pt x="614" y="10203"/>
                  </a:cubicBezTo>
                  <a:lnTo>
                    <a:pt x="920" y="9228"/>
                  </a:lnTo>
                  <a:cubicBezTo>
                    <a:pt x="1060" y="8865"/>
                    <a:pt x="1394" y="8614"/>
                    <a:pt x="1812" y="8614"/>
                  </a:cubicBezTo>
                  <a:lnTo>
                    <a:pt x="2593" y="8614"/>
                  </a:lnTo>
                  <a:cubicBezTo>
                    <a:pt x="2983" y="9646"/>
                    <a:pt x="3987" y="10426"/>
                    <a:pt x="5185" y="10426"/>
                  </a:cubicBezTo>
                  <a:cubicBezTo>
                    <a:pt x="6356" y="10426"/>
                    <a:pt x="7387" y="9646"/>
                    <a:pt x="7750" y="8614"/>
                  </a:cubicBezTo>
                  <a:lnTo>
                    <a:pt x="8586" y="8614"/>
                  </a:lnTo>
                  <a:cubicBezTo>
                    <a:pt x="8976" y="8614"/>
                    <a:pt x="9339" y="8837"/>
                    <a:pt x="9478" y="9228"/>
                  </a:cubicBezTo>
                  <a:lnTo>
                    <a:pt x="9785" y="10203"/>
                  </a:lnTo>
                  <a:cubicBezTo>
                    <a:pt x="9827" y="10351"/>
                    <a:pt x="9917" y="10419"/>
                    <a:pt x="10043" y="10419"/>
                  </a:cubicBezTo>
                  <a:cubicBezTo>
                    <a:pt x="10084" y="10419"/>
                    <a:pt x="10128" y="10412"/>
                    <a:pt x="10175" y="10398"/>
                  </a:cubicBezTo>
                  <a:cubicBezTo>
                    <a:pt x="10342" y="10315"/>
                    <a:pt x="10398" y="10175"/>
                    <a:pt x="10342" y="10008"/>
                  </a:cubicBezTo>
                  <a:lnTo>
                    <a:pt x="10119" y="9032"/>
                  </a:lnTo>
                  <a:cubicBezTo>
                    <a:pt x="9924" y="8391"/>
                    <a:pt x="9367" y="7973"/>
                    <a:pt x="8698" y="7973"/>
                  </a:cubicBezTo>
                  <a:lnTo>
                    <a:pt x="8001" y="7973"/>
                  </a:lnTo>
                  <a:lnTo>
                    <a:pt x="8001" y="7667"/>
                  </a:lnTo>
                  <a:lnTo>
                    <a:pt x="8001" y="6775"/>
                  </a:lnTo>
                  <a:lnTo>
                    <a:pt x="10175" y="6775"/>
                  </a:lnTo>
                  <a:cubicBezTo>
                    <a:pt x="10342" y="6775"/>
                    <a:pt x="10482" y="6635"/>
                    <a:pt x="10482" y="6440"/>
                  </a:cubicBezTo>
                  <a:cubicBezTo>
                    <a:pt x="10482" y="6273"/>
                    <a:pt x="10342" y="6133"/>
                    <a:pt x="10175" y="6133"/>
                  </a:cubicBezTo>
                  <a:lnTo>
                    <a:pt x="8001" y="6133"/>
                  </a:lnTo>
                  <a:lnTo>
                    <a:pt x="8001" y="4907"/>
                  </a:lnTo>
                  <a:lnTo>
                    <a:pt x="8698" y="4907"/>
                  </a:lnTo>
                  <a:cubicBezTo>
                    <a:pt x="9367" y="4907"/>
                    <a:pt x="9924" y="4489"/>
                    <a:pt x="10119" y="3875"/>
                  </a:cubicBezTo>
                  <a:lnTo>
                    <a:pt x="10454" y="2900"/>
                  </a:lnTo>
                  <a:cubicBezTo>
                    <a:pt x="10509" y="2705"/>
                    <a:pt x="10398" y="2565"/>
                    <a:pt x="10259" y="2510"/>
                  </a:cubicBezTo>
                  <a:cubicBezTo>
                    <a:pt x="10223" y="2498"/>
                    <a:pt x="10188" y="2492"/>
                    <a:pt x="10156" y="2492"/>
                  </a:cubicBezTo>
                  <a:cubicBezTo>
                    <a:pt x="10036" y="2492"/>
                    <a:pt x="9940" y="2567"/>
                    <a:pt x="9896" y="2677"/>
                  </a:cubicBezTo>
                  <a:lnTo>
                    <a:pt x="9562" y="3652"/>
                  </a:lnTo>
                  <a:cubicBezTo>
                    <a:pt x="9422" y="4043"/>
                    <a:pt x="9116" y="4294"/>
                    <a:pt x="8698" y="4294"/>
                  </a:cubicBezTo>
                  <a:lnTo>
                    <a:pt x="8001" y="4294"/>
                  </a:lnTo>
                  <a:lnTo>
                    <a:pt x="8001" y="3987"/>
                  </a:lnTo>
                  <a:cubicBezTo>
                    <a:pt x="8001" y="3597"/>
                    <a:pt x="7750" y="3234"/>
                    <a:pt x="7387" y="3095"/>
                  </a:cubicBezTo>
                  <a:cubicBezTo>
                    <a:pt x="7304" y="2482"/>
                    <a:pt x="6969" y="1952"/>
                    <a:pt x="6468" y="1618"/>
                  </a:cubicBezTo>
                  <a:cubicBezTo>
                    <a:pt x="6691" y="1422"/>
                    <a:pt x="6774" y="1199"/>
                    <a:pt x="6774" y="921"/>
                  </a:cubicBezTo>
                  <a:lnTo>
                    <a:pt x="6774" y="307"/>
                  </a:lnTo>
                  <a:cubicBezTo>
                    <a:pt x="6774" y="140"/>
                    <a:pt x="6635" y="1"/>
                    <a:pt x="6468" y="1"/>
                  </a:cubicBezTo>
                  <a:cubicBezTo>
                    <a:pt x="6300" y="1"/>
                    <a:pt x="6161" y="140"/>
                    <a:pt x="6161" y="307"/>
                  </a:cubicBezTo>
                  <a:lnTo>
                    <a:pt x="6161" y="921"/>
                  </a:lnTo>
                  <a:cubicBezTo>
                    <a:pt x="6161" y="1088"/>
                    <a:pt x="6022" y="1255"/>
                    <a:pt x="5854" y="1255"/>
                  </a:cubicBezTo>
                  <a:lnTo>
                    <a:pt x="4628" y="1255"/>
                  </a:lnTo>
                  <a:cubicBezTo>
                    <a:pt x="4488" y="1255"/>
                    <a:pt x="4321" y="1088"/>
                    <a:pt x="4321" y="921"/>
                  </a:cubicBezTo>
                  <a:lnTo>
                    <a:pt x="4321" y="307"/>
                  </a:lnTo>
                  <a:cubicBezTo>
                    <a:pt x="4321" y="140"/>
                    <a:pt x="4182" y="1"/>
                    <a:pt x="3987"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1380" name="Google Shape;11380;p115"/>
            <p:cNvSpPr/>
            <p:nvPr/>
          </p:nvSpPr>
          <p:spPr>
            <a:xfrm flipH="1">
              <a:off x="6790450" y="3119050"/>
              <a:ext cx="262750" cy="260675"/>
            </a:xfrm>
            <a:custGeom>
              <a:avLst/>
              <a:gdLst/>
              <a:ahLst/>
              <a:cxnLst/>
              <a:rect l="l" t="t" r="r" b="b"/>
              <a:pathLst>
                <a:path w="10510" h="10427" extrusionOk="0">
                  <a:moveTo>
                    <a:pt x="5269" y="1924"/>
                  </a:moveTo>
                  <a:cubicBezTo>
                    <a:pt x="6022" y="1924"/>
                    <a:pt x="6635" y="2454"/>
                    <a:pt x="6774" y="3151"/>
                  </a:cubicBezTo>
                  <a:lnTo>
                    <a:pt x="3791" y="3151"/>
                  </a:lnTo>
                  <a:cubicBezTo>
                    <a:pt x="3931" y="2454"/>
                    <a:pt x="4544" y="1924"/>
                    <a:pt x="5269" y="1924"/>
                  </a:cubicBezTo>
                  <a:close/>
                  <a:moveTo>
                    <a:pt x="4962" y="3764"/>
                  </a:moveTo>
                  <a:lnTo>
                    <a:pt x="4962" y="9785"/>
                  </a:lnTo>
                  <a:cubicBezTo>
                    <a:pt x="3959" y="9646"/>
                    <a:pt x="3150" y="8754"/>
                    <a:pt x="3150" y="7694"/>
                  </a:cubicBezTo>
                  <a:lnTo>
                    <a:pt x="3150" y="4071"/>
                  </a:lnTo>
                  <a:cubicBezTo>
                    <a:pt x="3150" y="3903"/>
                    <a:pt x="3290" y="3764"/>
                    <a:pt x="3485" y="3764"/>
                  </a:cubicBezTo>
                  <a:close/>
                  <a:moveTo>
                    <a:pt x="7109" y="3764"/>
                  </a:moveTo>
                  <a:cubicBezTo>
                    <a:pt x="7276" y="3764"/>
                    <a:pt x="7415" y="3903"/>
                    <a:pt x="7415" y="4071"/>
                  </a:cubicBezTo>
                  <a:lnTo>
                    <a:pt x="7415" y="7694"/>
                  </a:lnTo>
                  <a:cubicBezTo>
                    <a:pt x="7415" y="8754"/>
                    <a:pt x="6607" y="9646"/>
                    <a:pt x="5603" y="9785"/>
                  </a:cubicBezTo>
                  <a:lnTo>
                    <a:pt x="5603" y="3764"/>
                  </a:lnTo>
                  <a:close/>
                  <a:moveTo>
                    <a:pt x="3987" y="1"/>
                  </a:moveTo>
                  <a:cubicBezTo>
                    <a:pt x="3819" y="1"/>
                    <a:pt x="3680" y="140"/>
                    <a:pt x="3680" y="307"/>
                  </a:cubicBezTo>
                  <a:lnTo>
                    <a:pt x="3680" y="921"/>
                  </a:lnTo>
                  <a:cubicBezTo>
                    <a:pt x="3680" y="1199"/>
                    <a:pt x="3819" y="1422"/>
                    <a:pt x="3987" y="1618"/>
                  </a:cubicBezTo>
                  <a:cubicBezTo>
                    <a:pt x="3513" y="1952"/>
                    <a:pt x="3150" y="2482"/>
                    <a:pt x="3095" y="3095"/>
                  </a:cubicBezTo>
                  <a:cubicBezTo>
                    <a:pt x="2732" y="3206"/>
                    <a:pt x="2453" y="3569"/>
                    <a:pt x="2453" y="3987"/>
                  </a:cubicBezTo>
                  <a:lnTo>
                    <a:pt x="2453" y="4294"/>
                  </a:lnTo>
                  <a:lnTo>
                    <a:pt x="1840" y="4294"/>
                  </a:lnTo>
                  <a:cubicBezTo>
                    <a:pt x="1450" y="4294"/>
                    <a:pt x="1115" y="4043"/>
                    <a:pt x="976" y="3652"/>
                  </a:cubicBezTo>
                  <a:lnTo>
                    <a:pt x="642" y="2677"/>
                  </a:lnTo>
                  <a:cubicBezTo>
                    <a:pt x="600" y="2551"/>
                    <a:pt x="511" y="2489"/>
                    <a:pt x="399" y="2489"/>
                  </a:cubicBezTo>
                  <a:cubicBezTo>
                    <a:pt x="361" y="2489"/>
                    <a:pt x="321" y="2496"/>
                    <a:pt x="279" y="2510"/>
                  </a:cubicBezTo>
                  <a:cubicBezTo>
                    <a:pt x="84" y="2565"/>
                    <a:pt x="28" y="2705"/>
                    <a:pt x="84" y="2900"/>
                  </a:cubicBezTo>
                  <a:lnTo>
                    <a:pt x="419" y="3875"/>
                  </a:lnTo>
                  <a:cubicBezTo>
                    <a:pt x="614" y="4489"/>
                    <a:pt x="1171" y="4907"/>
                    <a:pt x="1840" y="4907"/>
                  </a:cubicBezTo>
                  <a:lnTo>
                    <a:pt x="2453" y="4907"/>
                  </a:lnTo>
                  <a:lnTo>
                    <a:pt x="2453" y="6133"/>
                  </a:lnTo>
                  <a:lnTo>
                    <a:pt x="335" y="6133"/>
                  </a:lnTo>
                  <a:cubicBezTo>
                    <a:pt x="168" y="6133"/>
                    <a:pt x="28" y="6273"/>
                    <a:pt x="28" y="6440"/>
                  </a:cubicBezTo>
                  <a:cubicBezTo>
                    <a:pt x="28" y="6635"/>
                    <a:pt x="168" y="6775"/>
                    <a:pt x="335" y="6775"/>
                  </a:cubicBezTo>
                  <a:lnTo>
                    <a:pt x="2453" y="6775"/>
                  </a:lnTo>
                  <a:lnTo>
                    <a:pt x="2453" y="7667"/>
                  </a:lnTo>
                  <a:lnTo>
                    <a:pt x="2453" y="7973"/>
                  </a:lnTo>
                  <a:lnTo>
                    <a:pt x="1812" y="7973"/>
                  </a:lnTo>
                  <a:cubicBezTo>
                    <a:pt x="1143" y="7973"/>
                    <a:pt x="586" y="8391"/>
                    <a:pt x="363" y="9032"/>
                  </a:cubicBezTo>
                  <a:lnTo>
                    <a:pt x="56" y="10008"/>
                  </a:lnTo>
                  <a:cubicBezTo>
                    <a:pt x="0" y="10175"/>
                    <a:pt x="84" y="10315"/>
                    <a:pt x="223" y="10398"/>
                  </a:cubicBezTo>
                  <a:cubicBezTo>
                    <a:pt x="259" y="10408"/>
                    <a:pt x="292" y="10413"/>
                    <a:pt x="323" y="10413"/>
                  </a:cubicBezTo>
                  <a:cubicBezTo>
                    <a:pt x="466" y="10413"/>
                    <a:pt x="568" y="10317"/>
                    <a:pt x="614" y="10203"/>
                  </a:cubicBezTo>
                  <a:lnTo>
                    <a:pt x="920" y="9228"/>
                  </a:lnTo>
                  <a:cubicBezTo>
                    <a:pt x="1060" y="8865"/>
                    <a:pt x="1394" y="8614"/>
                    <a:pt x="1812" y="8614"/>
                  </a:cubicBezTo>
                  <a:lnTo>
                    <a:pt x="2593" y="8614"/>
                  </a:lnTo>
                  <a:cubicBezTo>
                    <a:pt x="2983" y="9646"/>
                    <a:pt x="3987" y="10426"/>
                    <a:pt x="5185" y="10426"/>
                  </a:cubicBezTo>
                  <a:cubicBezTo>
                    <a:pt x="6356" y="10426"/>
                    <a:pt x="7387" y="9646"/>
                    <a:pt x="7750" y="8614"/>
                  </a:cubicBezTo>
                  <a:lnTo>
                    <a:pt x="8586" y="8614"/>
                  </a:lnTo>
                  <a:cubicBezTo>
                    <a:pt x="8976" y="8614"/>
                    <a:pt x="9339" y="8837"/>
                    <a:pt x="9478" y="9228"/>
                  </a:cubicBezTo>
                  <a:lnTo>
                    <a:pt x="9785" y="10203"/>
                  </a:lnTo>
                  <a:cubicBezTo>
                    <a:pt x="9827" y="10351"/>
                    <a:pt x="9917" y="10419"/>
                    <a:pt x="10043" y="10419"/>
                  </a:cubicBezTo>
                  <a:cubicBezTo>
                    <a:pt x="10084" y="10419"/>
                    <a:pt x="10128" y="10412"/>
                    <a:pt x="10175" y="10398"/>
                  </a:cubicBezTo>
                  <a:cubicBezTo>
                    <a:pt x="10342" y="10315"/>
                    <a:pt x="10398" y="10175"/>
                    <a:pt x="10342" y="10008"/>
                  </a:cubicBezTo>
                  <a:lnTo>
                    <a:pt x="10119" y="9032"/>
                  </a:lnTo>
                  <a:cubicBezTo>
                    <a:pt x="9924" y="8391"/>
                    <a:pt x="9367" y="7973"/>
                    <a:pt x="8698" y="7973"/>
                  </a:cubicBezTo>
                  <a:lnTo>
                    <a:pt x="8001" y="7973"/>
                  </a:lnTo>
                  <a:lnTo>
                    <a:pt x="8001" y="7667"/>
                  </a:lnTo>
                  <a:lnTo>
                    <a:pt x="8001" y="6775"/>
                  </a:lnTo>
                  <a:lnTo>
                    <a:pt x="10175" y="6775"/>
                  </a:lnTo>
                  <a:cubicBezTo>
                    <a:pt x="10342" y="6775"/>
                    <a:pt x="10482" y="6635"/>
                    <a:pt x="10482" y="6440"/>
                  </a:cubicBezTo>
                  <a:cubicBezTo>
                    <a:pt x="10482" y="6273"/>
                    <a:pt x="10342" y="6133"/>
                    <a:pt x="10175" y="6133"/>
                  </a:cubicBezTo>
                  <a:lnTo>
                    <a:pt x="8001" y="6133"/>
                  </a:lnTo>
                  <a:lnTo>
                    <a:pt x="8001" y="4907"/>
                  </a:lnTo>
                  <a:lnTo>
                    <a:pt x="8698" y="4907"/>
                  </a:lnTo>
                  <a:cubicBezTo>
                    <a:pt x="9367" y="4907"/>
                    <a:pt x="9924" y="4489"/>
                    <a:pt x="10119" y="3875"/>
                  </a:cubicBezTo>
                  <a:lnTo>
                    <a:pt x="10454" y="2900"/>
                  </a:lnTo>
                  <a:cubicBezTo>
                    <a:pt x="10509" y="2705"/>
                    <a:pt x="10398" y="2565"/>
                    <a:pt x="10259" y="2510"/>
                  </a:cubicBezTo>
                  <a:cubicBezTo>
                    <a:pt x="10223" y="2498"/>
                    <a:pt x="10188" y="2492"/>
                    <a:pt x="10156" y="2492"/>
                  </a:cubicBezTo>
                  <a:cubicBezTo>
                    <a:pt x="10036" y="2492"/>
                    <a:pt x="9940" y="2567"/>
                    <a:pt x="9896" y="2677"/>
                  </a:cubicBezTo>
                  <a:lnTo>
                    <a:pt x="9562" y="3652"/>
                  </a:lnTo>
                  <a:cubicBezTo>
                    <a:pt x="9422" y="4043"/>
                    <a:pt x="9116" y="4294"/>
                    <a:pt x="8698" y="4294"/>
                  </a:cubicBezTo>
                  <a:lnTo>
                    <a:pt x="8001" y="4294"/>
                  </a:lnTo>
                  <a:lnTo>
                    <a:pt x="8001" y="3987"/>
                  </a:lnTo>
                  <a:cubicBezTo>
                    <a:pt x="8001" y="3597"/>
                    <a:pt x="7750" y="3234"/>
                    <a:pt x="7387" y="3095"/>
                  </a:cubicBezTo>
                  <a:cubicBezTo>
                    <a:pt x="7304" y="2482"/>
                    <a:pt x="6969" y="1952"/>
                    <a:pt x="6468" y="1618"/>
                  </a:cubicBezTo>
                  <a:cubicBezTo>
                    <a:pt x="6691" y="1422"/>
                    <a:pt x="6774" y="1199"/>
                    <a:pt x="6774" y="921"/>
                  </a:cubicBezTo>
                  <a:lnTo>
                    <a:pt x="6774" y="307"/>
                  </a:lnTo>
                  <a:cubicBezTo>
                    <a:pt x="6774" y="140"/>
                    <a:pt x="6635" y="1"/>
                    <a:pt x="6468" y="1"/>
                  </a:cubicBezTo>
                  <a:cubicBezTo>
                    <a:pt x="6300" y="1"/>
                    <a:pt x="6161" y="140"/>
                    <a:pt x="6161" y="307"/>
                  </a:cubicBezTo>
                  <a:lnTo>
                    <a:pt x="6161" y="921"/>
                  </a:lnTo>
                  <a:cubicBezTo>
                    <a:pt x="6161" y="1088"/>
                    <a:pt x="6022" y="1255"/>
                    <a:pt x="5854" y="1255"/>
                  </a:cubicBezTo>
                  <a:lnTo>
                    <a:pt x="4628" y="1255"/>
                  </a:lnTo>
                  <a:cubicBezTo>
                    <a:pt x="4488" y="1255"/>
                    <a:pt x="4321" y="1088"/>
                    <a:pt x="4321" y="921"/>
                  </a:cubicBezTo>
                  <a:lnTo>
                    <a:pt x="4321" y="307"/>
                  </a:lnTo>
                  <a:cubicBezTo>
                    <a:pt x="4321" y="140"/>
                    <a:pt x="4182" y="1"/>
                    <a:pt x="3987"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11381" name="Google Shape;11381;p115"/>
          <p:cNvGrpSpPr/>
          <p:nvPr/>
        </p:nvGrpSpPr>
        <p:grpSpPr>
          <a:xfrm>
            <a:off x="9137444" y="5007249"/>
            <a:ext cx="477457" cy="543188"/>
            <a:chOff x="7660859" y="2571753"/>
            <a:chExt cx="366561" cy="417024"/>
          </a:xfrm>
        </p:grpSpPr>
        <p:sp>
          <p:nvSpPr>
            <p:cNvPr id="11382" name="Google Shape;11382;p115"/>
            <p:cNvSpPr/>
            <p:nvPr/>
          </p:nvSpPr>
          <p:spPr>
            <a:xfrm>
              <a:off x="7770506" y="2633631"/>
              <a:ext cx="147259" cy="146633"/>
            </a:xfrm>
            <a:custGeom>
              <a:avLst/>
              <a:gdLst/>
              <a:ahLst/>
              <a:cxnLst/>
              <a:rect l="l" t="t" r="r" b="b"/>
              <a:pathLst>
                <a:path w="7056" h="7026" extrusionOk="0">
                  <a:moveTo>
                    <a:pt x="4114" y="2928"/>
                  </a:moveTo>
                  <a:lnTo>
                    <a:pt x="4114" y="4099"/>
                  </a:lnTo>
                  <a:lnTo>
                    <a:pt x="2943" y="4099"/>
                  </a:lnTo>
                  <a:lnTo>
                    <a:pt x="2943" y="2928"/>
                  </a:lnTo>
                  <a:close/>
                  <a:moveTo>
                    <a:pt x="2354" y="1"/>
                  </a:moveTo>
                  <a:cubicBezTo>
                    <a:pt x="2032" y="1"/>
                    <a:pt x="1771" y="263"/>
                    <a:pt x="1771" y="586"/>
                  </a:cubicBezTo>
                  <a:lnTo>
                    <a:pt x="1771" y="1757"/>
                  </a:lnTo>
                  <a:lnTo>
                    <a:pt x="618" y="1757"/>
                  </a:lnTo>
                  <a:cubicBezTo>
                    <a:pt x="301" y="1757"/>
                    <a:pt x="31" y="1999"/>
                    <a:pt x="17" y="2314"/>
                  </a:cubicBezTo>
                  <a:cubicBezTo>
                    <a:pt x="1" y="2650"/>
                    <a:pt x="268" y="2928"/>
                    <a:pt x="600" y="2928"/>
                  </a:cubicBezTo>
                  <a:lnTo>
                    <a:pt x="1771" y="2928"/>
                  </a:lnTo>
                  <a:lnTo>
                    <a:pt x="1771" y="4099"/>
                  </a:lnTo>
                  <a:lnTo>
                    <a:pt x="618" y="4099"/>
                  </a:lnTo>
                  <a:cubicBezTo>
                    <a:pt x="301" y="4099"/>
                    <a:pt x="31" y="4341"/>
                    <a:pt x="17" y="4656"/>
                  </a:cubicBezTo>
                  <a:cubicBezTo>
                    <a:pt x="1" y="4992"/>
                    <a:pt x="268" y="5270"/>
                    <a:pt x="600" y="5270"/>
                  </a:cubicBezTo>
                  <a:lnTo>
                    <a:pt x="1771" y="5270"/>
                  </a:lnTo>
                  <a:lnTo>
                    <a:pt x="1771" y="6423"/>
                  </a:lnTo>
                  <a:cubicBezTo>
                    <a:pt x="1771" y="6738"/>
                    <a:pt x="2014" y="7011"/>
                    <a:pt x="2329" y="7025"/>
                  </a:cubicBezTo>
                  <a:cubicBezTo>
                    <a:pt x="2338" y="7025"/>
                    <a:pt x="2348" y="7025"/>
                    <a:pt x="2357" y="7025"/>
                  </a:cubicBezTo>
                  <a:cubicBezTo>
                    <a:pt x="2680" y="7025"/>
                    <a:pt x="2943" y="6764"/>
                    <a:pt x="2943" y="6441"/>
                  </a:cubicBezTo>
                  <a:lnTo>
                    <a:pt x="2943" y="5270"/>
                  </a:lnTo>
                  <a:lnTo>
                    <a:pt x="4114" y="5270"/>
                  </a:lnTo>
                  <a:lnTo>
                    <a:pt x="4114" y="6423"/>
                  </a:lnTo>
                  <a:cubicBezTo>
                    <a:pt x="4114" y="6738"/>
                    <a:pt x="4356" y="7011"/>
                    <a:pt x="4671" y="7025"/>
                  </a:cubicBezTo>
                  <a:cubicBezTo>
                    <a:pt x="4680" y="7025"/>
                    <a:pt x="4690" y="7025"/>
                    <a:pt x="4699" y="7025"/>
                  </a:cubicBezTo>
                  <a:cubicBezTo>
                    <a:pt x="5023" y="7025"/>
                    <a:pt x="5285" y="6764"/>
                    <a:pt x="5285" y="6441"/>
                  </a:cubicBezTo>
                  <a:lnTo>
                    <a:pt x="5285" y="5270"/>
                  </a:lnTo>
                  <a:lnTo>
                    <a:pt x="6456" y="5270"/>
                  </a:lnTo>
                  <a:cubicBezTo>
                    <a:pt x="6788" y="5270"/>
                    <a:pt x="7056" y="4992"/>
                    <a:pt x="7040" y="4656"/>
                  </a:cubicBezTo>
                  <a:cubicBezTo>
                    <a:pt x="7025" y="4341"/>
                    <a:pt x="6753" y="4099"/>
                    <a:pt x="6438" y="4099"/>
                  </a:cubicBezTo>
                  <a:lnTo>
                    <a:pt x="5285" y="4099"/>
                  </a:lnTo>
                  <a:lnTo>
                    <a:pt x="5285" y="2928"/>
                  </a:lnTo>
                  <a:lnTo>
                    <a:pt x="6438" y="2928"/>
                  </a:lnTo>
                  <a:cubicBezTo>
                    <a:pt x="6753" y="2928"/>
                    <a:pt x="7025" y="2685"/>
                    <a:pt x="7040" y="2370"/>
                  </a:cubicBezTo>
                  <a:cubicBezTo>
                    <a:pt x="7056" y="2034"/>
                    <a:pt x="6788" y="1757"/>
                    <a:pt x="6456" y="1757"/>
                  </a:cubicBezTo>
                  <a:lnTo>
                    <a:pt x="5285" y="1757"/>
                  </a:lnTo>
                  <a:lnTo>
                    <a:pt x="5285" y="603"/>
                  </a:lnTo>
                  <a:cubicBezTo>
                    <a:pt x="5285" y="287"/>
                    <a:pt x="5042" y="16"/>
                    <a:pt x="4727" y="2"/>
                  </a:cubicBezTo>
                  <a:cubicBezTo>
                    <a:pt x="4717" y="1"/>
                    <a:pt x="4707" y="1"/>
                    <a:pt x="4696" y="1"/>
                  </a:cubicBezTo>
                  <a:cubicBezTo>
                    <a:pt x="4374" y="1"/>
                    <a:pt x="4114" y="263"/>
                    <a:pt x="4114" y="586"/>
                  </a:cubicBezTo>
                  <a:lnTo>
                    <a:pt x="4114" y="1757"/>
                  </a:lnTo>
                  <a:lnTo>
                    <a:pt x="2943" y="1757"/>
                  </a:lnTo>
                  <a:lnTo>
                    <a:pt x="2943" y="603"/>
                  </a:lnTo>
                  <a:cubicBezTo>
                    <a:pt x="2943" y="287"/>
                    <a:pt x="2700" y="16"/>
                    <a:pt x="2385" y="2"/>
                  </a:cubicBezTo>
                  <a:cubicBezTo>
                    <a:pt x="2375" y="1"/>
                    <a:pt x="2364" y="1"/>
                    <a:pt x="2354"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1383" name="Google Shape;11383;p115"/>
            <p:cNvSpPr/>
            <p:nvPr/>
          </p:nvSpPr>
          <p:spPr>
            <a:xfrm>
              <a:off x="7730834" y="2792447"/>
              <a:ext cx="226648" cy="76781"/>
            </a:xfrm>
            <a:custGeom>
              <a:avLst/>
              <a:gdLst/>
              <a:ahLst/>
              <a:cxnLst/>
              <a:rect l="l" t="t" r="r" b="b"/>
              <a:pathLst>
                <a:path w="10860" h="3679" extrusionOk="0">
                  <a:moveTo>
                    <a:pt x="747" y="0"/>
                  </a:moveTo>
                  <a:cubicBezTo>
                    <a:pt x="280" y="0"/>
                    <a:pt x="0" y="520"/>
                    <a:pt x="258" y="910"/>
                  </a:cubicBezTo>
                  <a:cubicBezTo>
                    <a:pt x="1470" y="2730"/>
                    <a:pt x="3430" y="3678"/>
                    <a:pt x="5429" y="3678"/>
                  </a:cubicBezTo>
                  <a:cubicBezTo>
                    <a:pt x="7423" y="3678"/>
                    <a:pt x="9385" y="2733"/>
                    <a:pt x="10600" y="911"/>
                  </a:cubicBezTo>
                  <a:cubicBezTo>
                    <a:pt x="10860" y="523"/>
                    <a:pt x="10578" y="2"/>
                    <a:pt x="10116" y="2"/>
                  </a:cubicBezTo>
                  <a:cubicBezTo>
                    <a:pt x="10115" y="2"/>
                    <a:pt x="10114" y="2"/>
                    <a:pt x="10113" y="2"/>
                  </a:cubicBezTo>
                  <a:cubicBezTo>
                    <a:pt x="9924" y="2"/>
                    <a:pt x="9738" y="92"/>
                    <a:pt x="9625" y="262"/>
                  </a:cubicBezTo>
                  <a:cubicBezTo>
                    <a:pt x="8688" y="1668"/>
                    <a:pt x="7119" y="2507"/>
                    <a:pt x="5429" y="2507"/>
                  </a:cubicBezTo>
                  <a:cubicBezTo>
                    <a:pt x="3740" y="2507"/>
                    <a:pt x="2172" y="1668"/>
                    <a:pt x="1235" y="264"/>
                  </a:cubicBezTo>
                  <a:cubicBezTo>
                    <a:pt x="1125" y="101"/>
                    <a:pt x="943" y="0"/>
                    <a:pt x="747"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1384" name="Google Shape;11384;p115"/>
            <p:cNvSpPr/>
            <p:nvPr/>
          </p:nvSpPr>
          <p:spPr>
            <a:xfrm>
              <a:off x="7660859" y="2571753"/>
              <a:ext cx="366561" cy="417024"/>
            </a:xfrm>
            <a:custGeom>
              <a:avLst/>
              <a:gdLst/>
              <a:ahLst/>
              <a:cxnLst/>
              <a:rect l="l" t="t" r="r" b="b"/>
              <a:pathLst>
                <a:path w="17564" h="19982" extrusionOk="0">
                  <a:moveTo>
                    <a:pt x="14636" y="1169"/>
                  </a:moveTo>
                  <a:cubicBezTo>
                    <a:pt x="15587" y="1169"/>
                    <a:pt x="16392" y="1992"/>
                    <a:pt x="16392" y="2965"/>
                  </a:cubicBezTo>
                  <a:lnTo>
                    <a:pt x="16392" y="14674"/>
                  </a:lnTo>
                  <a:cubicBezTo>
                    <a:pt x="16392" y="15643"/>
                    <a:pt x="15607" y="16431"/>
                    <a:pt x="14636" y="16431"/>
                  </a:cubicBezTo>
                  <a:lnTo>
                    <a:pt x="11124" y="16431"/>
                  </a:lnTo>
                  <a:cubicBezTo>
                    <a:pt x="10967" y="16431"/>
                    <a:pt x="10816" y="16493"/>
                    <a:pt x="10707" y="16604"/>
                  </a:cubicBezTo>
                  <a:lnTo>
                    <a:pt x="8782" y="18561"/>
                  </a:lnTo>
                  <a:lnTo>
                    <a:pt x="6857" y="16604"/>
                  </a:lnTo>
                  <a:cubicBezTo>
                    <a:pt x="6748" y="16493"/>
                    <a:pt x="6597" y="16431"/>
                    <a:pt x="6440" y="16431"/>
                  </a:cubicBezTo>
                  <a:lnTo>
                    <a:pt x="2928" y="16431"/>
                  </a:lnTo>
                  <a:cubicBezTo>
                    <a:pt x="1959" y="16431"/>
                    <a:pt x="1172" y="15643"/>
                    <a:pt x="1172" y="14674"/>
                  </a:cubicBezTo>
                  <a:lnTo>
                    <a:pt x="1172" y="2965"/>
                  </a:lnTo>
                  <a:cubicBezTo>
                    <a:pt x="1172" y="1992"/>
                    <a:pt x="1977" y="1169"/>
                    <a:pt x="2928" y="1169"/>
                  </a:cubicBezTo>
                  <a:close/>
                  <a:moveTo>
                    <a:pt x="2928" y="0"/>
                  </a:moveTo>
                  <a:cubicBezTo>
                    <a:pt x="1310" y="0"/>
                    <a:pt x="1" y="1346"/>
                    <a:pt x="1" y="2965"/>
                  </a:cubicBezTo>
                  <a:lnTo>
                    <a:pt x="1" y="14674"/>
                  </a:lnTo>
                  <a:cubicBezTo>
                    <a:pt x="1" y="16291"/>
                    <a:pt x="1312" y="17600"/>
                    <a:pt x="2928" y="17600"/>
                  </a:cubicBezTo>
                  <a:lnTo>
                    <a:pt x="6196" y="17600"/>
                  </a:lnTo>
                  <a:lnTo>
                    <a:pt x="8365" y="19806"/>
                  </a:lnTo>
                  <a:cubicBezTo>
                    <a:pt x="8474" y="19919"/>
                    <a:pt x="8625" y="19981"/>
                    <a:pt x="8782" y="19981"/>
                  </a:cubicBezTo>
                  <a:cubicBezTo>
                    <a:pt x="8940" y="19981"/>
                    <a:pt x="9090" y="19919"/>
                    <a:pt x="9200" y="19806"/>
                  </a:cubicBezTo>
                  <a:lnTo>
                    <a:pt x="11370" y="17600"/>
                  </a:lnTo>
                  <a:lnTo>
                    <a:pt x="14636" y="17600"/>
                  </a:lnTo>
                  <a:cubicBezTo>
                    <a:pt x="16251" y="17600"/>
                    <a:pt x="17563" y="16287"/>
                    <a:pt x="17563" y="14674"/>
                  </a:cubicBezTo>
                  <a:lnTo>
                    <a:pt x="17563" y="2965"/>
                  </a:lnTo>
                  <a:cubicBezTo>
                    <a:pt x="17563" y="1348"/>
                    <a:pt x="16254" y="0"/>
                    <a:pt x="14636"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11385" name="Google Shape;11385;p115"/>
          <p:cNvGrpSpPr/>
          <p:nvPr/>
        </p:nvGrpSpPr>
        <p:grpSpPr>
          <a:xfrm>
            <a:off x="5850351" y="5007249"/>
            <a:ext cx="543188" cy="543188"/>
            <a:chOff x="5566722" y="2571753"/>
            <a:chExt cx="417024" cy="417024"/>
          </a:xfrm>
        </p:grpSpPr>
        <p:sp>
          <p:nvSpPr>
            <p:cNvPr id="11386" name="Google Shape;11386;p115"/>
            <p:cNvSpPr/>
            <p:nvPr/>
          </p:nvSpPr>
          <p:spPr>
            <a:xfrm>
              <a:off x="5566722" y="2571753"/>
              <a:ext cx="417024" cy="417024"/>
            </a:xfrm>
            <a:custGeom>
              <a:avLst/>
              <a:gdLst/>
              <a:ahLst/>
              <a:cxnLst/>
              <a:rect l="l" t="t" r="r" b="b"/>
              <a:pathLst>
                <a:path w="19982" h="19982" extrusionOk="0">
                  <a:moveTo>
                    <a:pt x="9990" y="1171"/>
                  </a:moveTo>
                  <a:cubicBezTo>
                    <a:pt x="14855" y="1171"/>
                    <a:pt x="18810" y="5127"/>
                    <a:pt x="18810" y="9991"/>
                  </a:cubicBezTo>
                  <a:cubicBezTo>
                    <a:pt x="18810" y="14854"/>
                    <a:pt x="14855" y="18810"/>
                    <a:pt x="9990" y="18810"/>
                  </a:cubicBezTo>
                  <a:cubicBezTo>
                    <a:pt x="5127" y="18810"/>
                    <a:pt x="1170" y="14854"/>
                    <a:pt x="1170" y="9991"/>
                  </a:cubicBezTo>
                  <a:cubicBezTo>
                    <a:pt x="1170" y="5127"/>
                    <a:pt x="5127" y="1171"/>
                    <a:pt x="9990" y="1171"/>
                  </a:cubicBezTo>
                  <a:close/>
                  <a:moveTo>
                    <a:pt x="9990" y="0"/>
                  </a:moveTo>
                  <a:cubicBezTo>
                    <a:pt x="4488" y="0"/>
                    <a:pt x="0" y="4490"/>
                    <a:pt x="0" y="9990"/>
                  </a:cubicBezTo>
                  <a:cubicBezTo>
                    <a:pt x="0" y="15493"/>
                    <a:pt x="4490" y="19981"/>
                    <a:pt x="9990" y="19981"/>
                  </a:cubicBezTo>
                  <a:cubicBezTo>
                    <a:pt x="15492" y="19981"/>
                    <a:pt x="19981" y="15491"/>
                    <a:pt x="19981" y="9990"/>
                  </a:cubicBezTo>
                  <a:cubicBezTo>
                    <a:pt x="19981" y="4488"/>
                    <a:pt x="15492" y="0"/>
                    <a:pt x="9990"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1387" name="Google Shape;11387;p115"/>
            <p:cNvSpPr/>
            <p:nvPr/>
          </p:nvSpPr>
          <p:spPr>
            <a:xfrm>
              <a:off x="5653037" y="2658069"/>
              <a:ext cx="207719" cy="243052"/>
            </a:xfrm>
            <a:custGeom>
              <a:avLst/>
              <a:gdLst/>
              <a:ahLst/>
              <a:cxnLst/>
              <a:rect l="l" t="t" r="r" b="b"/>
              <a:pathLst>
                <a:path w="9953" h="11646" extrusionOk="0">
                  <a:moveTo>
                    <a:pt x="8782" y="1300"/>
                  </a:moveTo>
                  <a:lnTo>
                    <a:pt x="8782" y="2448"/>
                  </a:lnTo>
                  <a:lnTo>
                    <a:pt x="4099" y="3384"/>
                  </a:lnTo>
                  <a:lnTo>
                    <a:pt x="4099" y="2236"/>
                  </a:lnTo>
                  <a:lnTo>
                    <a:pt x="8782" y="1300"/>
                  </a:lnTo>
                  <a:close/>
                  <a:moveTo>
                    <a:pt x="8782" y="7304"/>
                  </a:moveTo>
                  <a:lnTo>
                    <a:pt x="8782" y="8447"/>
                  </a:lnTo>
                  <a:cubicBezTo>
                    <a:pt x="8782" y="8766"/>
                    <a:pt x="8591" y="9047"/>
                    <a:pt x="8295" y="9165"/>
                  </a:cubicBezTo>
                  <a:cubicBezTo>
                    <a:pt x="8163" y="9218"/>
                    <a:pt x="7987" y="9306"/>
                    <a:pt x="7782" y="9306"/>
                  </a:cubicBezTo>
                  <a:cubicBezTo>
                    <a:pt x="7653" y="9306"/>
                    <a:pt x="7513" y="9271"/>
                    <a:pt x="7365" y="9171"/>
                  </a:cubicBezTo>
                  <a:cubicBezTo>
                    <a:pt x="6850" y="8824"/>
                    <a:pt x="6937" y="8042"/>
                    <a:pt x="7512" y="7812"/>
                  </a:cubicBezTo>
                  <a:lnTo>
                    <a:pt x="8782" y="7304"/>
                  </a:lnTo>
                  <a:close/>
                  <a:moveTo>
                    <a:pt x="2928" y="8475"/>
                  </a:moveTo>
                  <a:lnTo>
                    <a:pt x="2928" y="9618"/>
                  </a:lnTo>
                  <a:cubicBezTo>
                    <a:pt x="2928" y="9937"/>
                    <a:pt x="2737" y="10218"/>
                    <a:pt x="2442" y="10336"/>
                  </a:cubicBezTo>
                  <a:cubicBezTo>
                    <a:pt x="2308" y="10389"/>
                    <a:pt x="2132" y="10476"/>
                    <a:pt x="1928" y="10476"/>
                  </a:cubicBezTo>
                  <a:cubicBezTo>
                    <a:pt x="1799" y="10476"/>
                    <a:pt x="1659" y="10442"/>
                    <a:pt x="1511" y="10342"/>
                  </a:cubicBezTo>
                  <a:cubicBezTo>
                    <a:pt x="996" y="9993"/>
                    <a:pt x="1083" y="9213"/>
                    <a:pt x="1658" y="8983"/>
                  </a:cubicBezTo>
                  <a:lnTo>
                    <a:pt x="2928" y="8475"/>
                  </a:lnTo>
                  <a:close/>
                  <a:moveTo>
                    <a:pt x="9369" y="1"/>
                  </a:moveTo>
                  <a:cubicBezTo>
                    <a:pt x="9330" y="1"/>
                    <a:pt x="9291" y="4"/>
                    <a:pt x="9252" y="12"/>
                  </a:cubicBezTo>
                  <a:lnTo>
                    <a:pt x="3399" y="1182"/>
                  </a:lnTo>
                  <a:cubicBezTo>
                    <a:pt x="3124" y="1237"/>
                    <a:pt x="2928" y="1477"/>
                    <a:pt x="2928" y="1757"/>
                  </a:cubicBezTo>
                  <a:lnTo>
                    <a:pt x="2928" y="7214"/>
                  </a:lnTo>
                  <a:lnTo>
                    <a:pt x="1223" y="7897"/>
                  </a:lnTo>
                  <a:cubicBezTo>
                    <a:pt x="480" y="8192"/>
                    <a:pt x="0" y="8902"/>
                    <a:pt x="0" y="9701"/>
                  </a:cubicBezTo>
                  <a:cubicBezTo>
                    <a:pt x="0" y="10782"/>
                    <a:pt x="880" y="11645"/>
                    <a:pt x="1944" y="11645"/>
                  </a:cubicBezTo>
                  <a:cubicBezTo>
                    <a:pt x="2362" y="11645"/>
                    <a:pt x="2624" y="11523"/>
                    <a:pt x="2877" y="11423"/>
                  </a:cubicBezTo>
                  <a:cubicBezTo>
                    <a:pt x="3618" y="11125"/>
                    <a:pt x="4099" y="10418"/>
                    <a:pt x="4099" y="9618"/>
                  </a:cubicBezTo>
                  <a:lnTo>
                    <a:pt x="4099" y="4578"/>
                  </a:lnTo>
                  <a:lnTo>
                    <a:pt x="8782" y="3641"/>
                  </a:lnTo>
                  <a:lnTo>
                    <a:pt x="8782" y="6043"/>
                  </a:lnTo>
                  <a:lnTo>
                    <a:pt x="7076" y="6726"/>
                  </a:lnTo>
                  <a:cubicBezTo>
                    <a:pt x="6335" y="7023"/>
                    <a:pt x="5854" y="7731"/>
                    <a:pt x="5854" y="8530"/>
                  </a:cubicBezTo>
                  <a:cubicBezTo>
                    <a:pt x="5854" y="9611"/>
                    <a:pt x="6733" y="10476"/>
                    <a:pt x="7798" y="10476"/>
                  </a:cubicBezTo>
                  <a:cubicBezTo>
                    <a:pt x="8216" y="10476"/>
                    <a:pt x="8477" y="10354"/>
                    <a:pt x="8730" y="10251"/>
                  </a:cubicBezTo>
                  <a:cubicBezTo>
                    <a:pt x="9473" y="9956"/>
                    <a:pt x="9953" y="9247"/>
                    <a:pt x="9953" y="8447"/>
                  </a:cubicBezTo>
                  <a:lnTo>
                    <a:pt x="9953" y="586"/>
                  </a:lnTo>
                  <a:cubicBezTo>
                    <a:pt x="9953" y="410"/>
                    <a:pt x="9873" y="244"/>
                    <a:pt x="9739" y="133"/>
                  </a:cubicBezTo>
                  <a:cubicBezTo>
                    <a:pt x="9633" y="47"/>
                    <a:pt x="9503" y="1"/>
                    <a:pt x="9369"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11388" name="Google Shape;11388;p115"/>
          <p:cNvGrpSpPr/>
          <p:nvPr/>
        </p:nvGrpSpPr>
        <p:grpSpPr>
          <a:xfrm>
            <a:off x="6672129" y="5143589"/>
            <a:ext cx="543175" cy="270507"/>
            <a:chOff x="6090251" y="2676413"/>
            <a:chExt cx="417014" cy="207677"/>
          </a:xfrm>
        </p:grpSpPr>
        <p:sp>
          <p:nvSpPr>
            <p:cNvPr id="11389" name="Google Shape;11389;p115"/>
            <p:cNvSpPr/>
            <p:nvPr/>
          </p:nvSpPr>
          <p:spPr>
            <a:xfrm>
              <a:off x="6237672" y="2725248"/>
              <a:ext cx="61086" cy="158842"/>
            </a:xfrm>
            <a:custGeom>
              <a:avLst/>
              <a:gdLst/>
              <a:ahLst/>
              <a:cxnLst/>
              <a:rect l="l" t="t" r="r" b="b"/>
              <a:pathLst>
                <a:path w="2927" h="7611" extrusionOk="0">
                  <a:moveTo>
                    <a:pt x="1463" y="1172"/>
                  </a:moveTo>
                  <a:cubicBezTo>
                    <a:pt x="1624" y="1172"/>
                    <a:pt x="1757" y="1303"/>
                    <a:pt x="1757" y="1465"/>
                  </a:cubicBezTo>
                  <a:lnTo>
                    <a:pt x="1757" y="6148"/>
                  </a:lnTo>
                  <a:cubicBezTo>
                    <a:pt x="1757" y="6309"/>
                    <a:pt x="1624" y="6440"/>
                    <a:pt x="1463" y="6440"/>
                  </a:cubicBezTo>
                  <a:cubicBezTo>
                    <a:pt x="1302" y="6440"/>
                    <a:pt x="1171" y="6309"/>
                    <a:pt x="1171" y="6148"/>
                  </a:cubicBezTo>
                  <a:lnTo>
                    <a:pt x="1171" y="1465"/>
                  </a:lnTo>
                  <a:cubicBezTo>
                    <a:pt x="1171" y="1303"/>
                    <a:pt x="1302" y="1172"/>
                    <a:pt x="1463" y="1172"/>
                  </a:cubicBezTo>
                  <a:close/>
                  <a:moveTo>
                    <a:pt x="1463" y="1"/>
                  </a:moveTo>
                  <a:cubicBezTo>
                    <a:pt x="657" y="1"/>
                    <a:pt x="0" y="657"/>
                    <a:pt x="0" y="1465"/>
                  </a:cubicBezTo>
                  <a:lnTo>
                    <a:pt x="0" y="6148"/>
                  </a:lnTo>
                  <a:cubicBezTo>
                    <a:pt x="0" y="6955"/>
                    <a:pt x="657" y="7611"/>
                    <a:pt x="1463" y="7611"/>
                  </a:cubicBezTo>
                  <a:cubicBezTo>
                    <a:pt x="2270" y="7611"/>
                    <a:pt x="2926" y="6955"/>
                    <a:pt x="2926" y="6148"/>
                  </a:cubicBezTo>
                  <a:lnTo>
                    <a:pt x="2926" y="1465"/>
                  </a:lnTo>
                  <a:cubicBezTo>
                    <a:pt x="2926" y="657"/>
                    <a:pt x="2270" y="1"/>
                    <a:pt x="1463"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1390" name="Google Shape;11390;p115"/>
            <p:cNvSpPr/>
            <p:nvPr/>
          </p:nvSpPr>
          <p:spPr>
            <a:xfrm>
              <a:off x="6446178" y="2761915"/>
              <a:ext cx="61086" cy="61086"/>
            </a:xfrm>
            <a:custGeom>
              <a:avLst/>
              <a:gdLst/>
              <a:ahLst/>
              <a:cxnLst/>
              <a:rect l="l" t="t" r="r" b="b"/>
              <a:pathLst>
                <a:path w="2927" h="2927" extrusionOk="0">
                  <a:moveTo>
                    <a:pt x="1464" y="1171"/>
                  </a:moveTo>
                  <a:cubicBezTo>
                    <a:pt x="1625" y="1171"/>
                    <a:pt x="1756" y="1302"/>
                    <a:pt x="1756" y="1463"/>
                  </a:cubicBezTo>
                  <a:cubicBezTo>
                    <a:pt x="1756" y="1626"/>
                    <a:pt x="1625" y="1757"/>
                    <a:pt x="1464" y="1757"/>
                  </a:cubicBezTo>
                  <a:cubicBezTo>
                    <a:pt x="1303" y="1757"/>
                    <a:pt x="1170" y="1626"/>
                    <a:pt x="1170" y="1463"/>
                  </a:cubicBezTo>
                  <a:cubicBezTo>
                    <a:pt x="1170" y="1302"/>
                    <a:pt x="1303" y="1171"/>
                    <a:pt x="1464" y="1171"/>
                  </a:cubicBezTo>
                  <a:close/>
                  <a:moveTo>
                    <a:pt x="1464" y="0"/>
                  </a:moveTo>
                  <a:cubicBezTo>
                    <a:pt x="657" y="0"/>
                    <a:pt x="1" y="657"/>
                    <a:pt x="1" y="1463"/>
                  </a:cubicBezTo>
                  <a:cubicBezTo>
                    <a:pt x="1" y="2270"/>
                    <a:pt x="657" y="2926"/>
                    <a:pt x="1464" y="2926"/>
                  </a:cubicBezTo>
                  <a:cubicBezTo>
                    <a:pt x="2270" y="2926"/>
                    <a:pt x="2927" y="2270"/>
                    <a:pt x="2927" y="1463"/>
                  </a:cubicBezTo>
                  <a:cubicBezTo>
                    <a:pt x="2927" y="657"/>
                    <a:pt x="2270" y="0"/>
                    <a:pt x="1464"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1391" name="Google Shape;11391;p115"/>
            <p:cNvSpPr/>
            <p:nvPr/>
          </p:nvSpPr>
          <p:spPr>
            <a:xfrm>
              <a:off x="6311758" y="2676413"/>
              <a:ext cx="135446" cy="207677"/>
            </a:xfrm>
            <a:custGeom>
              <a:avLst/>
              <a:gdLst/>
              <a:ahLst/>
              <a:cxnLst/>
              <a:rect l="l" t="t" r="r" b="b"/>
              <a:pathLst>
                <a:path w="6490" h="9951" extrusionOk="0">
                  <a:moveTo>
                    <a:pt x="1466" y="1171"/>
                  </a:moveTo>
                  <a:cubicBezTo>
                    <a:pt x="1627" y="1171"/>
                    <a:pt x="1757" y="1302"/>
                    <a:pt x="1757" y="1463"/>
                  </a:cubicBezTo>
                  <a:lnTo>
                    <a:pt x="1757" y="6026"/>
                  </a:lnTo>
                  <a:lnTo>
                    <a:pt x="4186" y="3598"/>
                  </a:lnTo>
                  <a:cubicBezTo>
                    <a:pt x="4243" y="3541"/>
                    <a:pt x="4318" y="3512"/>
                    <a:pt x="4392" y="3512"/>
                  </a:cubicBezTo>
                  <a:cubicBezTo>
                    <a:pt x="4467" y="3512"/>
                    <a:pt x="4542" y="3541"/>
                    <a:pt x="4598" y="3598"/>
                  </a:cubicBezTo>
                  <a:cubicBezTo>
                    <a:pt x="4713" y="3712"/>
                    <a:pt x="4713" y="3897"/>
                    <a:pt x="4598" y="4012"/>
                  </a:cubicBezTo>
                  <a:lnTo>
                    <a:pt x="3247" y="5364"/>
                  </a:lnTo>
                  <a:lnTo>
                    <a:pt x="5221" y="8325"/>
                  </a:lnTo>
                  <a:cubicBezTo>
                    <a:pt x="5280" y="8414"/>
                    <a:pt x="5274" y="8500"/>
                    <a:pt x="5265" y="8546"/>
                  </a:cubicBezTo>
                  <a:cubicBezTo>
                    <a:pt x="5257" y="8591"/>
                    <a:pt x="5228" y="8674"/>
                    <a:pt x="5140" y="8732"/>
                  </a:cubicBezTo>
                  <a:cubicBezTo>
                    <a:pt x="5090" y="8764"/>
                    <a:pt x="5037" y="8780"/>
                    <a:pt x="4979" y="8780"/>
                  </a:cubicBezTo>
                  <a:cubicBezTo>
                    <a:pt x="4880" y="8780"/>
                    <a:pt x="4788" y="8732"/>
                    <a:pt x="4735" y="8651"/>
                  </a:cubicBezTo>
                  <a:lnTo>
                    <a:pt x="2824" y="5787"/>
                  </a:lnTo>
                  <a:lnTo>
                    <a:pt x="1757" y="6853"/>
                  </a:lnTo>
                  <a:lnTo>
                    <a:pt x="1757" y="8488"/>
                  </a:lnTo>
                  <a:cubicBezTo>
                    <a:pt x="1757" y="8649"/>
                    <a:pt x="1627" y="8782"/>
                    <a:pt x="1466" y="8782"/>
                  </a:cubicBezTo>
                  <a:cubicBezTo>
                    <a:pt x="1305" y="8782"/>
                    <a:pt x="1172" y="8649"/>
                    <a:pt x="1172" y="8488"/>
                  </a:cubicBezTo>
                  <a:lnTo>
                    <a:pt x="1172" y="1463"/>
                  </a:lnTo>
                  <a:cubicBezTo>
                    <a:pt x="1172" y="1302"/>
                    <a:pt x="1305" y="1171"/>
                    <a:pt x="1466" y="1171"/>
                  </a:cubicBezTo>
                  <a:close/>
                  <a:moveTo>
                    <a:pt x="1466" y="0"/>
                  </a:moveTo>
                  <a:cubicBezTo>
                    <a:pt x="659" y="0"/>
                    <a:pt x="1" y="657"/>
                    <a:pt x="1" y="1463"/>
                  </a:cubicBezTo>
                  <a:lnTo>
                    <a:pt x="1" y="8488"/>
                  </a:lnTo>
                  <a:cubicBezTo>
                    <a:pt x="1" y="9295"/>
                    <a:pt x="659" y="9951"/>
                    <a:pt x="1466" y="9951"/>
                  </a:cubicBezTo>
                  <a:cubicBezTo>
                    <a:pt x="2272" y="9951"/>
                    <a:pt x="2929" y="9295"/>
                    <a:pt x="2929" y="8488"/>
                  </a:cubicBezTo>
                  <a:lnTo>
                    <a:pt x="2929" y="8053"/>
                  </a:lnTo>
                  <a:lnTo>
                    <a:pt x="3760" y="9300"/>
                  </a:lnTo>
                  <a:cubicBezTo>
                    <a:pt x="4032" y="9709"/>
                    <a:pt x="4487" y="9951"/>
                    <a:pt x="4979" y="9951"/>
                  </a:cubicBezTo>
                  <a:cubicBezTo>
                    <a:pt x="5269" y="9951"/>
                    <a:pt x="5548" y="9866"/>
                    <a:pt x="5789" y="9705"/>
                  </a:cubicBezTo>
                  <a:cubicBezTo>
                    <a:pt x="6114" y="9489"/>
                    <a:pt x="6336" y="9158"/>
                    <a:pt x="6413" y="8775"/>
                  </a:cubicBezTo>
                  <a:cubicBezTo>
                    <a:pt x="6490" y="8391"/>
                    <a:pt x="6412" y="8001"/>
                    <a:pt x="6196" y="7676"/>
                  </a:cubicBezTo>
                  <a:lnTo>
                    <a:pt x="4754" y="5512"/>
                  </a:lnTo>
                  <a:lnTo>
                    <a:pt x="5426" y="4840"/>
                  </a:lnTo>
                  <a:cubicBezTo>
                    <a:pt x="5998" y="4269"/>
                    <a:pt x="5998" y="3340"/>
                    <a:pt x="5426" y="2771"/>
                  </a:cubicBezTo>
                  <a:cubicBezTo>
                    <a:pt x="5142" y="2485"/>
                    <a:pt x="4767" y="2342"/>
                    <a:pt x="4392" y="2342"/>
                  </a:cubicBezTo>
                  <a:cubicBezTo>
                    <a:pt x="4017" y="2342"/>
                    <a:pt x="3642" y="2485"/>
                    <a:pt x="3357" y="2771"/>
                  </a:cubicBezTo>
                  <a:lnTo>
                    <a:pt x="2929" y="3199"/>
                  </a:lnTo>
                  <a:lnTo>
                    <a:pt x="2929" y="1463"/>
                  </a:lnTo>
                  <a:cubicBezTo>
                    <a:pt x="2929" y="657"/>
                    <a:pt x="2272" y="0"/>
                    <a:pt x="1466"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1392" name="Google Shape;11392;p115"/>
            <p:cNvSpPr/>
            <p:nvPr/>
          </p:nvSpPr>
          <p:spPr>
            <a:xfrm>
              <a:off x="6090251" y="2676413"/>
              <a:ext cx="135405" cy="207677"/>
            </a:xfrm>
            <a:custGeom>
              <a:avLst/>
              <a:gdLst/>
              <a:ahLst/>
              <a:cxnLst/>
              <a:rect l="l" t="t" r="r" b="b"/>
              <a:pathLst>
                <a:path w="6488" h="9951" extrusionOk="0">
                  <a:moveTo>
                    <a:pt x="1464" y="1171"/>
                  </a:moveTo>
                  <a:cubicBezTo>
                    <a:pt x="1625" y="1171"/>
                    <a:pt x="1757" y="1302"/>
                    <a:pt x="1757" y="1463"/>
                  </a:cubicBezTo>
                  <a:lnTo>
                    <a:pt x="1757" y="6026"/>
                  </a:lnTo>
                  <a:lnTo>
                    <a:pt x="4184" y="3598"/>
                  </a:lnTo>
                  <a:cubicBezTo>
                    <a:pt x="4241" y="3541"/>
                    <a:pt x="4316" y="3512"/>
                    <a:pt x="4391" y="3512"/>
                  </a:cubicBezTo>
                  <a:cubicBezTo>
                    <a:pt x="4466" y="3512"/>
                    <a:pt x="4541" y="3541"/>
                    <a:pt x="4598" y="3598"/>
                  </a:cubicBezTo>
                  <a:cubicBezTo>
                    <a:pt x="4712" y="3712"/>
                    <a:pt x="4712" y="3897"/>
                    <a:pt x="4598" y="4012"/>
                  </a:cubicBezTo>
                  <a:lnTo>
                    <a:pt x="3245" y="5364"/>
                  </a:lnTo>
                  <a:lnTo>
                    <a:pt x="5219" y="8325"/>
                  </a:lnTo>
                  <a:cubicBezTo>
                    <a:pt x="5278" y="8414"/>
                    <a:pt x="5272" y="8500"/>
                    <a:pt x="5264" y="8546"/>
                  </a:cubicBezTo>
                  <a:cubicBezTo>
                    <a:pt x="5255" y="8591"/>
                    <a:pt x="5226" y="8674"/>
                    <a:pt x="5138" y="8732"/>
                  </a:cubicBezTo>
                  <a:cubicBezTo>
                    <a:pt x="5090" y="8764"/>
                    <a:pt x="5035" y="8780"/>
                    <a:pt x="4977" y="8780"/>
                  </a:cubicBezTo>
                  <a:cubicBezTo>
                    <a:pt x="4878" y="8780"/>
                    <a:pt x="4788" y="8732"/>
                    <a:pt x="4733" y="8651"/>
                  </a:cubicBezTo>
                  <a:lnTo>
                    <a:pt x="2824" y="5787"/>
                  </a:lnTo>
                  <a:lnTo>
                    <a:pt x="1757" y="6853"/>
                  </a:lnTo>
                  <a:lnTo>
                    <a:pt x="1757" y="8488"/>
                  </a:lnTo>
                  <a:cubicBezTo>
                    <a:pt x="1757" y="8649"/>
                    <a:pt x="1625" y="8782"/>
                    <a:pt x="1464" y="8782"/>
                  </a:cubicBezTo>
                  <a:cubicBezTo>
                    <a:pt x="1303" y="8782"/>
                    <a:pt x="1172" y="8649"/>
                    <a:pt x="1172" y="8488"/>
                  </a:cubicBezTo>
                  <a:lnTo>
                    <a:pt x="1172" y="1463"/>
                  </a:lnTo>
                  <a:cubicBezTo>
                    <a:pt x="1172" y="1302"/>
                    <a:pt x="1303" y="1171"/>
                    <a:pt x="1464" y="1171"/>
                  </a:cubicBezTo>
                  <a:close/>
                  <a:moveTo>
                    <a:pt x="1464" y="0"/>
                  </a:moveTo>
                  <a:cubicBezTo>
                    <a:pt x="657" y="0"/>
                    <a:pt x="1" y="657"/>
                    <a:pt x="1" y="1463"/>
                  </a:cubicBezTo>
                  <a:lnTo>
                    <a:pt x="1" y="8488"/>
                  </a:lnTo>
                  <a:cubicBezTo>
                    <a:pt x="1" y="9295"/>
                    <a:pt x="657" y="9951"/>
                    <a:pt x="1464" y="9951"/>
                  </a:cubicBezTo>
                  <a:cubicBezTo>
                    <a:pt x="2270" y="9951"/>
                    <a:pt x="2927" y="9295"/>
                    <a:pt x="2927" y="8488"/>
                  </a:cubicBezTo>
                  <a:lnTo>
                    <a:pt x="2927" y="8053"/>
                  </a:lnTo>
                  <a:lnTo>
                    <a:pt x="3758" y="9300"/>
                  </a:lnTo>
                  <a:cubicBezTo>
                    <a:pt x="4031" y="9709"/>
                    <a:pt x="4485" y="9951"/>
                    <a:pt x="4977" y="9951"/>
                  </a:cubicBezTo>
                  <a:cubicBezTo>
                    <a:pt x="5267" y="9951"/>
                    <a:pt x="5548" y="9866"/>
                    <a:pt x="5787" y="9705"/>
                  </a:cubicBezTo>
                  <a:cubicBezTo>
                    <a:pt x="6113" y="9489"/>
                    <a:pt x="6336" y="9158"/>
                    <a:pt x="6412" y="8775"/>
                  </a:cubicBezTo>
                  <a:cubicBezTo>
                    <a:pt x="6488" y="8391"/>
                    <a:pt x="6410" y="8001"/>
                    <a:pt x="6194" y="7676"/>
                  </a:cubicBezTo>
                  <a:lnTo>
                    <a:pt x="4752" y="5512"/>
                  </a:lnTo>
                  <a:lnTo>
                    <a:pt x="5426" y="4840"/>
                  </a:lnTo>
                  <a:cubicBezTo>
                    <a:pt x="5996" y="4269"/>
                    <a:pt x="5996" y="3340"/>
                    <a:pt x="5426" y="2771"/>
                  </a:cubicBezTo>
                  <a:cubicBezTo>
                    <a:pt x="5141" y="2485"/>
                    <a:pt x="4766" y="2342"/>
                    <a:pt x="4391" y="2342"/>
                  </a:cubicBezTo>
                  <a:cubicBezTo>
                    <a:pt x="4016" y="2342"/>
                    <a:pt x="3641" y="2485"/>
                    <a:pt x="3357" y="2771"/>
                  </a:cubicBezTo>
                  <a:lnTo>
                    <a:pt x="2927" y="3199"/>
                  </a:lnTo>
                  <a:lnTo>
                    <a:pt x="2927" y="1463"/>
                  </a:lnTo>
                  <a:cubicBezTo>
                    <a:pt x="2927" y="657"/>
                    <a:pt x="2270" y="0"/>
                    <a:pt x="1464"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11393" name="Google Shape;11393;p115"/>
          <p:cNvGrpSpPr/>
          <p:nvPr/>
        </p:nvGrpSpPr>
        <p:grpSpPr>
          <a:xfrm>
            <a:off x="8315667" y="5007249"/>
            <a:ext cx="543188" cy="543188"/>
            <a:chOff x="7137330" y="2571753"/>
            <a:chExt cx="417024" cy="417024"/>
          </a:xfrm>
        </p:grpSpPr>
        <p:sp>
          <p:nvSpPr>
            <p:cNvPr id="11394" name="Google Shape;11394;p115"/>
            <p:cNvSpPr/>
            <p:nvPr/>
          </p:nvSpPr>
          <p:spPr>
            <a:xfrm>
              <a:off x="7235854" y="2645840"/>
              <a:ext cx="219949" cy="268826"/>
            </a:xfrm>
            <a:custGeom>
              <a:avLst/>
              <a:gdLst/>
              <a:ahLst/>
              <a:cxnLst/>
              <a:rect l="l" t="t" r="r" b="b"/>
              <a:pathLst>
                <a:path w="10539" h="12881" extrusionOk="0">
                  <a:moveTo>
                    <a:pt x="5271" y="1172"/>
                  </a:moveTo>
                  <a:cubicBezTo>
                    <a:pt x="7530" y="1172"/>
                    <a:pt x="9368" y="3010"/>
                    <a:pt x="9368" y="5270"/>
                  </a:cubicBezTo>
                  <a:cubicBezTo>
                    <a:pt x="9368" y="6273"/>
                    <a:pt x="8717" y="7797"/>
                    <a:pt x="7624" y="9343"/>
                  </a:cubicBezTo>
                  <a:cubicBezTo>
                    <a:pt x="6513" y="10917"/>
                    <a:pt x="5536" y="11665"/>
                    <a:pt x="5271" y="11708"/>
                  </a:cubicBezTo>
                  <a:cubicBezTo>
                    <a:pt x="5004" y="11665"/>
                    <a:pt x="4029" y="10917"/>
                    <a:pt x="2916" y="9343"/>
                  </a:cubicBezTo>
                  <a:cubicBezTo>
                    <a:pt x="1825" y="7797"/>
                    <a:pt x="1172" y="6273"/>
                    <a:pt x="1172" y="5270"/>
                  </a:cubicBezTo>
                  <a:cubicBezTo>
                    <a:pt x="1172" y="3010"/>
                    <a:pt x="3010" y="1172"/>
                    <a:pt x="5271" y="1172"/>
                  </a:cubicBezTo>
                  <a:close/>
                  <a:moveTo>
                    <a:pt x="5271" y="1"/>
                  </a:moveTo>
                  <a:cubicBezTo>
                    <a:pt x="2366" y="1"/>
                    <a:pt x="1" y="2364"/>
                    <a:pt x="1" y="5270"/>
                  </a:cubicBezTo>
                  <a:cubicBezTo>
                    <a:pt x="1" y="7084"/>
                    <a:pt x="1409" y="9247"/>
                    <a:pt x="2014" y="10093"/>
                  </a:cubicBezTo>
                  <a:cubicBezTo>
                    <a:pt x="2481" y="10747"/>
                    <a:pt x="4098" y="12881"/>
                    <a:pt x="5271" y="12881"/>
                  </a:cubicBezTo>
                  <a:cubicBezTo>
                    <a:pt x="6444" y="12881"/>
                    <a:pt x="8059" y="10747"/>
                    <a:pt x="8528" y="10093"/>
                  </a:cubicBezTo>
                  <a:cubicBezTo>
                    <a:pt x="9133" y="9247"/>
                    <a:pt x="10539" y="7084"/>
                    <a:pt x="10539" y="5270"/>
                  </a:cubicBezTo>
                  <a:cubicBezTo>
                    <a:pt x="10539" y="2364"/>
                    <a:pt x="8175" y="1"/>
                    <a:pt x="5271"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1395" name="Google Shape;11395;p115"/>
            <p:cNvSpPr/>
            <p:nvPr/>
          </p:nvSpPr>
          <p:spPr>
            <a:xfrm>
              <a:off x="7137330" y="2571753"/>
              <a:ext cx="417024" cy="417024"/>
            </a:xfrm>
            <a:custGeom>
              <a:avLst/>
              <a:gdLst/>
              <a:ahLst/>
              <a:cxnLst/>
              <a:rect l="l" t="t" r="r" b="b"/>
              <a:pathLst>
                <a:path w="19982" h="19982" extrusionOk="0">
                  <a:moveTo>
                    <a:pt x="9992" y="1171"/>
                  </a:moveTo>
                  <a:cubicBezTo>
                    <a:pt x="14855" y="1171"/>
                    <a:pt x="18812" y="5127"/>
                    <a:pt x="18812" y="9991"/>
                  </a:cubicBezTo>
                  <a:cubicBezTo>
                    <a:pt x="18812" y="14854"/>
                    <a:pt x="14855" y="18810"/>
                    <a:pt x="9992" y="18810"/>
                  </a:cubicBezTo>
                  <a:cubicBezTo>
                    <a:pt x="5127" y="18810"/>
                    <a:pt x="1171" y="14854"/>
                    <a:pt x="1171" y="9991"/>
                  </a:cubicBezTo>
                  <a:cubicBezTo>
                    <a:pt x="1171" y="5127"/>
                    <a:pt x="5127" y="1171"/>
                    <a:pt x="9992" y="1171"/>
                  </a:cubicBezTo>
                  <a:close/>
                  <a:moveTo>
                    <a:pt x="9992" y="0"/>
                  </a:moveTo>
                  <a:cubicBezTo>
                    <a:pt x="4490" y="0"/>
                    <a:pt x="0" y="4490"/>
                    <a:pt x="0" y="9990"/>
                  </a:cubicBezTo>
                  <a:cubicBezTo>
                    <a:pt x="0" y="15491"/>
                    <a:pt x="4490" y="19981"/>
                    <a:pt x="9992" y="19981"/>
                  </a:cubicBezTo>
                  <a:cubicBezTo>
                    <a:pt x="15493" y="19981"/>
                    <a:pt x="19981" y="15491"/>
                    <a:pt x="19981" y="9990"/>
                  </a:cubicBezTo>
                  <a:cubicBezTo>
                    <a:pt x="19981" y="4488"/>
                    <a:pt x="15492" y="0"/>
                    <a:pt x="9992"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1396" name="Google Shape;11396;p115"/>
            <p:cNvSpPr/>
            <p:nvPr/>
          </p:nvSpPr>
          <p:spPr>
            <a:xfrm>
              <a:off x="7284751" y="2694716"/>
              <a:ext cx="122173" cy="122194"/>
            </a:xfrm>
            <a:custGeom>
              <a:avLst/>
              <a:gdLst/>
              <a:ahLst/>
              <a:cxnLst/>
              <a:rect l="l" t="t" r="r" b="b"/>
              <a:pathLst>
                <a:path w="5854" h="5855" extrusionOk="0">
                  <a:moveTo>
                    <a:pt x="2928" y="1172"/>
                  </a:moveTo>
                  <a:cubicBezTo>
                    <a:pt x="3895" y="1172"/>
                    <a:pt x="4684" y="1959"/>
                    <a:pt x="4684" y="2928"/>
                  </a:cubicBezTo>
                  <a:cubicBezTo>
                    <a:pt x="4684" y="3896"/>
                    <a:pt x="3895" y="4683"/>
                    <a:pt x="2928" y="4683"/>
                  </a:cubicBezTo>
                  <a:cubicBezTo>
                    <a:pt x="1958" y="4683"/>
                    <a:pt x="1171" y="3896"/>
                    <a:pt x="1171" y="2928"/>
                  </a:cubicBezTo>
                  <a:cubicBezTo>
                    <a:pt x="2139" y="2928"/>
                    <a:pt x="2928" y="2139"/>
                    <a:pt x="2928" y="1172"/>
                  </a:cubicBezTo>
                  <a:close/>
                  <a:moveTo>
                    <a:pt x="2928" y="1"/>
                  </a:moveTo>
                  <a:cubicBezTo>
                    <a:pt x="2655" y="1"/>
                    <a:pt x="2374" y="47"/>
                    <a:pt x="2066" y="142"/>
                  </a:cubicBezTo>
                  <a:cubicBezTo>
                    <a:pt x="1732" y="245"/>
                    <a:pt x="1562" y="616"/>
                    <a:pt x="1704" y="936"/>
                  </a:cubicBezTo>
                  <a:cubicBezTo>
                    <a:pt x="1885" y="1345"/>
                    <a:pt x="1569" y="1756"/>
                    <a:pt x="1177" y="1756"/>
                  </a:cubicBezTo>
                  <a:cubicBezTo>
                    <a:pt x="1099" y="1756"/>
                    <a:pt x="1018" y="1740"/>
                    <a:pt x="938" y="1704"/>
                  </a:cubicBezTo>
                  <a:cubicBezTo>
                    <a:pt x="860" y="1670"/>
                    <a:pt x="780" y="1654"/>
                    <a:pt x="701" y="1654"/>
                  </a:cubicBezTo>
                  <a:cubicBezTo>
                    <a:pt x="453" y="1654"/>
                    <a:pt x="219" y="1813"/>
                    <a:pt x="142" y="2067"/>
                  </a:cubicBezTo>
                  <a:cubicBezTo>
                    <a:pt x="46" y="2373"/>
                    <a:pt x="0" y="2656"/>
                    <a:pt x="0" y="2928"/>
                  </a:cubicBezTo>
                  <a:cubicBezTo>
                    <a:pt x="0" y="4542"/>
                    <a:pt x="1313" y="5854"/>
                    <a:pt x="2928" y="5854"/>
                  </a:cubicBezTo>
                  <a:cubicBezTo>
                    <a:pt x="4541" y="5854"/>
                    <a:pt x="5854" y="4542"/>
                    <a:pt x="5854" y="2928"/>
                  </a:cubicBezTo>
                  <a:cubicBezTo>
                    <a:pt x="5854" y="1313"/>
                    <a:pt x="4541" y="1"/>
                    <a:pt x="2928"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11397" name="Google Shape;11397;p115"/>
          <p:cNvGrpSpPr/>
          <p:nvPr/>
        </p:nvGrpSpPr>
        <p:grpSpPr>
          <a:xfrm>
            <a:off x="7493891" y="5007249"/>
            <a:ext cx="543188" cy="543188"/>
            <a:chOff x="6613801" y="2571753"/>
            <a:chExt cx="417024" cy="417024"/>
          </a:xfrm>
        </p:grpSpPr>
        <p:sp>
          <p:nvSpPr>
            <p:cNvPr id="11398" name="Google Shape;11398;p115"/>
            <p:cNvSpPr/>
            <p:nvPr/>
          </p:nvSpPr>
          <p:spPr>
            <a:xfrm>
              <a:off x="6613801" y="2571753"/>
              <a:ext cx="417024" cy="417024"/>
            </a:xfrm>
            <a:custGeom>
              <a:avLst/>
              <a:gdLst/>
              <a:ahLst/>
              <a:cxnLst/>
              <a:rect l="l" t="t" r="r" b="b"/>
              <a:pathLst>
                <a:path w="19982" h="19982" extrusionOk="0">
                  <a:moveTo>
                    <a:pt x="9991" y="1171"/>
                  </a:moveTo>
                  <a:cubicBezTo>
                    <a:pt x="14854" y="1171"/>
                    <a:pt x="18812" y="5127"/>
                    <a:pt x="18812" y="9991"/>
                  </a:cubicBezTo>
                  <a:cubicBezTo>
                    <a:pt x="18812" y="14854"/>
                    <a:pt x="14854" y="18810"/>
                    <a:pt x="9991" y="18810"/>
                  </a:cubicBezTo>
                  <a:cubicBezTo>
                    <a:pt x="5127" y="18810"/>
                    <a:pt x="1171" y="14854"/>
                    <a:pt x="1171" y="9991"/>
                  </a:cubicBezTo>
                  <a:cubicBezTo>
                    <a:pt x="1171" y="5127"/>
                    <a:pt x="5127" y="1171"/>
                    <a:pt x="9991" y="1171"/>
                  </a:cubicBezTo>
                  <a:close/>
                  <a:moveTo>
                    <a:pt x="9991" y="0"/>
                  </a:moveTo>
                  <a:cubicBezTo>
                    <a:pt x="4490" y="0"/>
                    <a:pt x="0" y="4490"/>
                    <a:pt x="0" y="9990"/>
                  </a:cubicBezTo>
                  <a:cubicBezTo>
                    <a:pt x="0" y="15493"/>
                    <a:pt x="4490" y="19981"/>
                    <a:pt x="9991" y="19981"/>
                  </a:cubicBezTo>
                  <a:cubicBezTo>
                    <a:pt x="15493" y="19981"/>
                    <a:pt x="19981" y="15491"/>
                    <a:pt x="19981" y="9990"/>
                  </a:cubicBezTo>
                  <a:cubicBezTo>
                    <a:pt x="19981" y="4488"/>
                    <a:pt x="15491" y="0"/>
                    <a:pt x="9991"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1399" name="Google Shape;11399;p115"/>
            <p:cNvSpPr/>
            <p:nvPr/>
          </p:nvSpPr>
          <p:spPr>
            <a:xfrm>
              <a:off x="6663449" y="2645840"/>
              <a:ext cx="317704" cy="268826"/>
            </a:xfrm>
            <a:custGeom>
              <a:avLst/>
              <a:gdLst/>
              <a:ahLst/>
              <a:cxnLst/>
              <a:rect l="l" t="t" r="r" b="b"/>
              <a:pathLst>
                <a:path w="15223" h="12881" extrusionOk="0">
                  <a:moveTo>
                    <a:pt x="12295" y="1172"/>
                  </a:moveTo>
                  <a:cubicBezTo>
                    <a:pt x="12619" y="1172"/>
                    <a:pt x="12881" y="1435"/>
                    <a:pt x="12881" y="1757"/>
                  </a:cubicBezTo>
                  <a:cubicBezTo>
                    <a:pt x="12881" y="2079"/>
                    <a:pt x="12617" y="2343"/>
                    <a:pt x="12295" y="2343"/>
                  </a:cubicBezTo>
                  <a:cubicBezTo>
                    <a:pt x="11973" y="2343"/>
                    <a:pt x="11709" y="2079"/>
                    <a:pt x="11709" y="1757"/>
                  </a:cubicBezTo>
                  <a:cubicBezTo>
                    <a:pt x="11709" y="1435"/>
                    <a:pt x="11973" y="1172"/>
                    <a:pt x="12295" y="1172"/>
                  </a:cubicBezTo>
                  <a:close/>
                  <a:moveTo>
                    <a:pt x="2343" y="4685"/>
                  </a:moveTo>
                  <a:cubicBezTo>
                    <a:pt x="2592" y="4685"/>
                    <a:pt x="2827" y="4763"/>
                    <a:pt x="3022" y="4902"/>
                  </a:cubicBezTo>
                  <a:cubicBezTo>
                    <a:pt x="2330" y="5410"/>
                    <a:pt x="1821" y="6015"/>
                    <a:pt x="1513" y="6677"/>
                  </a:cubicBezTo>
                  <a:cubicBezTo>
                    <a:pt x="1301" y="6461"/>
                    <a:pt x="1173" y="6167"/>
                    <a:pt x="1173" y="5856"/>
                  </a:cubicBezTo>
                  <a:cubicBezTo>
                    <a:pt x="1173" y="5210"/>
                    <a:pt x="1697" y="4685"/>
                    <a:pt x="2343" y="4685"/>
                  </a:cubicBezTo>
                  <a:close/>
                  <a:moveTo>
                    <a:pt x="12881" y="4685"/>
                  </a:moveTo>
                  <a:cubicBezTo>
                    <a:pt x="13526" y="4685"/>
                    <a:pt x="14052" y="5208"/>
                    <a:pt x="14052" y="5854"/>
                  </a:cubicBezTo>
                  <a:cubicBezTo>
                    <a:pt x="14052" y="6167"/>
                    <a:pt x="13923" y="6461"/>
                    <a:pt x="13712" y="6677"/>
                  </a:cubicBezTo>
                  <a:cubicBezTo>
                    <a:pt x="13404" y="6015"/>
                    <a:pt x="12893" y="5410"/>
                    <a:pt x="12201" y="4902"/>
                  </a:cubicBezTo>
                  <a:cubicBezTo>
                    <a:pt x="12396" y="4763"/>
                    <a:pt x="12633" y="4685"/>
                    <a:pt x="12881" y="4685"/>
                  </a:cubicBezTo>
                  <a:close/>
                  <a:moveTo>
                    <a:pt x="7616" y="4685"/>
                  </a:moveTo>
                  <a:cubicBezTo>
                    <a:pt x="9058" y="4685"/>
                    <a:pt x="10407" y="5074"/>
                    <a:pt x="11416" y="5778"/>
                  </a:cubicBezTo>
                  <a:cubicBezTo>
                    <a:pt x="12360" y="6440"/>
                    <a:pt x="12881" y="7299"/>
                    <a:pt x="12881" y="8196"/>
                  </a:cubicBezTo>
                  <a:cubicBezTo>
                    <a:pt x="12881" y="9095"/>
                    <a:pt x="12360" y="9953"/>
                    <a:pt x="11416" y="10615"/>
                  </a:cubicBezTo>
                  <a:cubicBezTo>
                    <a:pt x="10407" y="11320"/>
                    <a:pt x="9056" y="11710"/>
                    <a:pt x="7612" y="11710"/>
                  </a:cubicBezTo>
                  <a:cubicBezTo>
                    <a:pt x="6167" y="11710"/>
                    <a:pt x="4816" y="11320"/>
                    <a:pt x="3807" y="10615"/>
                  </a:cubicBezTo>
                  <a:cubicBezTo>
                    <a:pt x="2863" y="9953"/>
                    <a:pt x="2343" y="9095"/>
                    <a:pt x="2343" y="8196"/>
                  </a:cubicBezTo>
                  <a:cubicBezTo>
                    <a:pt x="2343" y="7299"/>
                    <a:pt x="2863" y="6440"/>
                    <a:pt x="3807" y="5778"/>
                  </a:cubicBezTo>
                  <a:cubicBezTo>
                    <a:pt x="4816" y="5074"/>
                    <a:pt x="6165" y="4685"/>
                    <a:pt x="7609" y="4685"/>
                  </a:cubicBezTo>
                  <a:close/>
                  <a:moveTo>
                    <a:pt x="8782" y="0"/>
                  </a:moveTo>
                  <a:cubicBezTo>
                    <a:pt x="8538" y="0"/>
                    <a:pt x="8309" y="156"/>
                    <a:pt x="8228" y="402"/>
                  </a:cubicBezTo>
                  <a:lnTo>
                    <a:pt x="7186" y="3524"/>
                  </a:lnTo>
                  <a:cubicBezTo>
                    <a:pt x="6065" y="3576"/>
                    <a:pt x="4998" y="3836"/>
                    <a:pt x="4073" y="4276"/>
                  </a:cubicBezTo>
                  <a:cubicBezTo>
                    <a:pt x="3634" y="3797"/>
                    <a:pt x="3011" y="3514"/>
                    <a:pt x="2343" y="3514"/>
                  </a:cubicBezTo>
                  <a:cubicBezTo>
                    <a:pt x="1051" y="3514"/>
                    <a:pt x="0" y="4565"/>
                    <a:pt x="0" y="5856"/>
                  </a:cubicBezTo>
                  <a:cubicBezTo>
                    <a:pt x="0" y="6702"/>
                    <a:pt x="469" y="7478"/>
                    <a:pt x="1186" y="7889"/>
                  </a:cubicBezTo>
                  <a:cubicBezTo>
                    <a:pt x="1177" y="7991"/>
                    <a:pt x="1171" y="8094"/>
                    <a:pt x="1171" y="8196"/>
                  </a:cubicBezTo>
                  <a:cubicBezTo>
                    <a:pt x="1171" y="9488"/>
                    <a:pt x="1870" y="10687"/>
                    <a:pt x="3137" y="11573"/>
                  </a:cubicBezTo>
                  <a:cubicBezTo>
                    <a:pt x="4340" y="12415"/>
                    <a:pt x="5928" y="12881"/>
                    <a:pt x="7611" y="12881"/>
                  </a:cubicBezTo>
                  <a:cubicBezTo>
                    <a:pt x="9293" y="12881"/>
                    <a:pt x="10883" y="12415"/>
                    <a:pt x="12086" y="11573"/>
                  </a:cubicBezTo>
                  <a:cubicBezTo>
                    <a:pt x="13353" y="10687"/>
                    <a:pt x="14050" y="9488"/>
                    <a:pt x="14050" y="8196"/>
                  </a:cubicBezTo>
                  <a:cubicBezTo>
                    <a:pt x="14050" y="8094"/>
                    <a:pt x="14046" y="7991"/>
                    <a:pt x="14037" y="7889"/>
                  </a:cubicBezTo>
                  <a:cubicBezTo>
                    <a:pt x="14754" y="7478"/>
                    <a:pt x="15223" y="6702"/>
                    <a:pt x="15223" y="5856"/>
                  </a:cubicBezTo>
                  <a:cubicBezTo>
                    <a:pt x="15223" y="4565"/>
                    <a:pt x="14172" y="3514"/>
                    <a:pt x="12881" y="3514"/>
                  </a:cubicBezTo>
                  <a:cubicBezTo>
                    <a:pt x="12212" y="3514"/>
                    <a:pt x="11589" y="3797"/>
                    <a:pt x="11152" y="4276"/>
                  </a:cubicBezTo>
                  <a:cubicBezTo>
                    <a:pt x="10330" y="3885"/>
                    <a:pt x="9396" y="3636"/>
                    <a:pt x="8412" y="3549"/>
                  </a:cubicBezTo>
                  <a:lnTo>
                    <a:pt x="9153" y="1327"/>
                  </a:lnTo>
                  <a:lnTo>
                    <a:pt x="10540" y="1789"/>
                  </a:lnTo>
                  <a:cubicBezTo>
                    <a:pt x="10556" y="2742"/>
                    <a:pt x="11338" y="3514"/>
                    <a:pt x="12295" y="3514"/>
                  </a:cubicBezTo>
                  <a:cubicBezTo>
                    <a:pt x="13263" y="3514"/>
                    <a:pt x="14052" y="2725"/>
                    <a:pt x="14052" y="1757"/>
                  </a:cubicBezTo>
                  <a:cubicBezTo>
                    <a:pt x="14052" y="790"/>
                    <a:pt x="13263" y="1"/>
                    <a:pt x="12295" y="1"/>
                  </a:cubicBezTo>
                  <a:cubicBezTo>
                    <a:pt x="11732" y="1"/>
                    <a:pt x="11232" y="268"/>
                    <a:pt x="10910" y="678"/>
                  </a:cubicBezTo>
                  <a:lnTo>
                    <a:pt x="8968" y="31"/>
                  </a:lnTo>
                  <a:cubicBezTo>
                    <a:pt x="8906" y="10"/>
                    <a:pt x="8844" y="0"/>
                    <a:pt x="8782"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1400" name="Google Shape;11400;p115"/>
            <p:cNvSpPr/>
            <p:nvPr/>
          </p:nvSpPr>
          <p:spPr>
            <a:xfrm>
              <a:off x="6748992" y="2768030"/>
              <a:ext cx="48898" cy="48878"/>
            </a:xfrm>
            <a:custGeom>
              <a:avLst/>
              <a:gdLst/>
              <a:ahLst/>
              <a:cxnLst/>
              <a:rect l="l" t="t" r="r" b="b"/>
              <a:pathLst>
                <a:path w="2343" h="2342" extrusionOk="0">
                  <a:moveTo>
                    <a:pt x="1171" y="1"/>
                  </a:moveTo>
                  <a:cubicBezTo>
                    <a:pt x="526" y="1"/>
                    <a:pt x="0" y="525"/>
                    <a:pt x="0" y="1170"/>
                  </a:cubicBezTo>
                  <a:cubicBezTo>
                    <a:pt x="0" y="1816"/>
                    <a:pt x="526" y="2341"/>
                    <a:pt x="1171" y="2341"/>
                  </a:cubicBezTo>
                  <a:cubicBezTo>
                    <a:pt x="1817" y="2341"/>
                    <a:pt x="2342" y="1816"/>
                    <a:pt x="2342" y="1170"/>
                  </a:cubicBezTo>
                  <a:cubicBezTo>
                    <a:pt x="2342" y="525"/>
                    <a:pt x="1817" y="1"/>
                    <a:pt x="1171"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1401" name="Google Shape;11401;p115"/>
            <p:cNvSpPr/>
            <p:nvPr/>
          </p:nvSpPr>
          <p:spPr>
            <a:xfrm>
              <a:off x="6846703" y="2768030"/>
              <a:ext cx="48898" cy="48878"/>
            </a:xfrm>
            <a:custGeom>
              <a:avLst/>
              <a:gdLst/>
              <a:ahLst/>
              <a:cxnLst/>
              <a:rect l="l" t="t" r="r" b="b"/>
              <a:pathLst>
                <a:path w="2343" h="2342" extrusionOk="0">
                  <a:moveTo>
                    <a:pt x="1172" y="1"/>
                  </a:moveTo>
                  <a:cubicBezTo>
                    <a:pt x="526" y="1"/>
                    <a:pt x="1" y="525"/>
                    <a:pt x="1" y="1170"/>
                  </a:cubicBezTo>
                  <a:cubicBezTo>
                    <a:pt x="1" y="1816"/>
                    <a:pt x="526" y="2341"/>
                    <a:pt x="1172" y="2341"/>
                  </a:cubicBezTo>
                  <a:cubicBezTo>
                    <a:pt x="1818" y="2341"/>
                    <a:pt x="2343" y="1816"/>
                    <a:pt x="2343" y="1170"/>
                  </a:cubicBezTo>
                  <a:cubicBezTo>
                    <a:pt x="2343" y="525"/>
                    <a:pt x="1818" y="1"/>
                    <a:pt x="1172"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1402" name="Google Shape;11402;p115"/>
            <p:cNvSpPr/>
            <p:nvPr/>
          </p:nvSpPr>
          <p:spPr>
            <a:xfrm>
              <a:off x="6759469" y="2841323"/>
              <a:ext cx="125658" cy="35938"/>
            </a:xfrm>
            <a:custGeom>
              <a:avLst/>
              <a:gdLst/>
              <a:ahLst/>
              <a:cxnLst/>
              <a:rect l="l" t="t" r="r" b="b"/>
              <a:pathLst>
                <a:path w="6021" h="1722" extrusionOk="0">
                  <a:moveTo>
                    <a:pt x="670" y="0"/>
                  </a:moveTo>
                  <a:cubicBezTo>
                    <a:pt x="455" y="0"/>
                    <a:pt x="249" y="119"/>
                    <a:pt x="146" y="324"/>
                  </a:cubicBezTo>
                  <a:cubicBezTo>
                    <a:pt x="1" y="614"/>
                    <a:pt x="117" y="965"/>
                    <a:pt x="407" y="1110"/>
                  </a:cubicBezTo>
                  <a:cubicBezTo>
                    <a:pt x="1223" y="1516"/>
                    <a:pt x="2116" y="1722"/>
                    <a:pt x="3011" y="1722"/>
                  </a:cubicBezTo>
                  <a:cubicBezTo>
                    <a:pt x="3905" y="1722"/>
                    <a:pt x="4800" y="1518"/>
                    <a:pt x="5614" y="1110"/>
                  </a:cubicBezTo>
                  <a:cubicBezTo>
                    <a:pt x="5904" y="965"/>
                    <a:pt x="6021" y="614"/>
                    <a:pt x="5875" y="324"/>
                  </a:cubicBezTo>
                  <a:cubicBezTo>
                    <a:pt x="5774" y="119"/>
                    <a:pt x="5567" y="0"/>
                    <a:pt x="5352" y="0"/>
                  </a:cubicBezTo>
                  <a:cubicBezTo>
                    <a:pt x="5264" y="0"/>
                    <a:pt x="5174" y="20"/>
                    <a:pt x="5090" y="62"/>
                  </a:cubicBezTo>
                  <a:cubicBezTo>
                    <a:pt x="4439" y="388"/>
                    <a:pt x="3725" y="551"/>
                    <a:pt x="3011" y="551"/>
                  </a:cubicBezTo>
                  <a:cubicBezTo>
                    <a:pt x="2296" y="551"/>
                    <a:pt x="1582" y="388"/>
                    <a:pt x="931" y="62"/>
                  </a:cubicBezTo>
                  <a:cubicBezTo>
                    <a:pt x="847" y="20"/>
                    <a:pt x="758" y="0"/>
                    <a:pt x="670"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11403" name="Google Shape;11403;p115"/>
          <p:cNvGrpSpPr/>
          <p:nvPr/>
        </p:nvGrpSpPr>
        <p:grpSpPr>
          <a:xfrm>
            <a:off x="10544323" y="4318374"/>
            <a:ext cx="543215" cy="543215"/>
            <a:chOff x="2964567" y="2571753"/>
            <a:chExt cx="417045" cy="417045"/>
          </a:xfrm>
        </p:grpSpPr>
        <p:sp>
          <p:nvSpPr>
            <p:cNvPr id="11404" name="Google Shape;11404;p115"/>
            <p:cNvSpPr/>
            <p:nvPr/>
          </p:nvSpPr>
          <p:spPr>
            <a:xfrm>
              <a:off x="2964567" y="2571753"/>
              <a:ext cx="417045" cy="417045"/>
            </a:xfrm>
            <a:custGeom>
              <a:avLst/>
              <a:gdLst/>
              <a:ahLst/>
              <a:cxnLst/>
              <a:rect l="l" t="t" r="r" b="b"/>
              <a:pathLst>
                <a:path w="19983" h="19983" extrusionOk="0">
                  <a:moveTo>
                    <a:pt x="9992" y="1170"/>
                  </a:moveTo>
                  <a:cubicBezTo>
                    <a:pt x="14855" y="1170"/>
                    <a:pt x="18812" y="4866"/>
                    <a:pt x="18812" y="9405"/>
                  </a:cubicBezTo>
                  <a:cubicBezTo>
                    <a:pt x="18812" y="13925"/>
                    <a:pt x="14855" y="17601"/>
                    <a:pt x="9992" y="17601"/>
                  </a:cubicBezTo>
                  <a:cubicBezTo>
                    <a:pt x="9111" y="17601"/>
                    <a:pt x="8240" y="17481"/>
                    <a:pt x="7407" y="17242"/>
                  </a:cubicBezTo>
                  <a:cubicBezTo>
                    <a:pt x="7354" y="17226"/>
                    <a:pt x="7299" y="17218"/>
                    <a:pt x="7245" y="17218"/>
                  </a:cubicBezTo>
                  <a:cubicBezTo>
                    <a:pt x="7153" y="17218"/>
                    <a:pt x="7062" y="17240"/>
                    <a:pt x="6979" y="17282"/>
                  </a:cubicBezTo>
                  <a:lnTo>
                    <a:pt x="4723" y="18439"/>
                  </a:lnTo>
                  <a:lnTo>
                    <a:pt x="4723" y="16262"/>
                  </a:lnTo>
                  <a:cubicBezTo>
                    <a:pt x="4723" y="16078"/>
                    <a:pt x="4637" y="15904"/>
                    <a:pt x="4490" y="15793"/>
                  </a:cubicBezTo>
                  <a:cubicBezTo>
                    <a:pt x="2381" y="14208"/>
                    <a:pt x="1171" y="11880"/>
                    <a:pt x="1171" y="9405"/>
                  </a:cubicBezTo>
                  <a:cubicBezTo>
                    <a:pt x="1171" y="4866"/>
                    <a:pt x="5129" y="1170"/>
                    <a:pt x="9992" y="1170"/>
                  </a:cubicBezTo>
                  <a:close/>
                  <a:moveTo>
                    <a:pt x="9992" y="1"/>
                  </a:moveTo>
                  <a:cubicBezTo>
                    <a:pt x="4575" y="1"/>
                    <a:pt x="0" y="4153"/>
                    <a:pt x="0" y="9407"/>
                  </a:cubicBezTo>
                  <a:cubicBezTo>
                    <a:pt x="0" y="12221"/>
                    <a:pt x="1359" y="14795"/>
                    <a:pt x="3552" y="16548"/>
                  </a:cubicBezTo>
                  <a:lnTo>
                    <a:pt x="3552" y="19396"/>
                  </a:lnTo>
                  <a:cubicBezTo>
                    <a:pt x="3552" y="19602"/>
                    <a:pt x="3659" y="19791"/>
                    <a:pt x="3832" y="19897"/>
                  </a:cubicBezTo>
                  <a:cubicBezTo>
                    <a:pt x="3925" y="19953"/>
                    <a:pt x="4031" y="19982"/>
                    <a:pt x="4138" y="19982"/>
                  </a:cubicBezTo>
                  <a:cubicBezTo>
                    <a:pt x="4229" y="19982"/>
                    <a:pt x="4320" y="19961"/>
                    <a:pt x="4405" y="19918"/>
                  </a:cubicBezTo>
                  <a:lnTo>
                    <a:pt x="7310" y="18429"/>
                  </a:lnTo>
                  <a:cubicBezTo>
                    <a:pt x="8180" y="18657"/>
                    <a:pt x="9081" y="18772"/>
                    <a:pt x="9992" y="18772"/>
                  </a:cubicBezTo>
                  <a:cubicBezTo>
                    <a:pt x="15500" y="18772"/>
                    <a:pt x="19983" y="14570"/>
                    <a:pt x="19983" y="9407"/>
                  </a:cubicBezTo>
                  <a:cubicBezTo>
                    <a:pt x="19983" y="4151"/>
                    <a:pt x="15405" y="1"/>
                    <a:pt x="9992"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1405" name="Google Shape;11405;p115"/>
            <p:cNvSpPr/>
            <p:nvPr/>
          </p:nvSpPr>
          <p:spPr>
            <a:xfrm>
              <a:off x="3037777" y="2694715"/>
              <a:ext cx="270642" cy="146633"/>
            </a:xfrm>
            <a:custGeom>
              <a:avLst/>
              <a:gdLst/>
              <a:ahLst/>
              <a:cxnLst/>
              <a:rect l="l" t="t" r="r" b="b"/>
              <a:pathLst>
                <a:path w="12968" h="7026" extrusionOk="0">
                  <a:moveTo>
                    <a:pt x="5362" y="1463"/>
                  </a:moveTo>
                  <a:lnTo>
                    <a:pt x="7241" y="3341"/>
                  </a:lnTo>
                  <a:cubicBezTo>
                    <a:pt x="7353" y="3454"/>
                    <a:pt x="7503" y="3513"/>
                    <a:pt x="7655" y="3513"/>
                  </a:cubicBezTo>
                  <a:cubicBezTo>
                    <a:pt x="7744" y="3513"/>
                    <a:pt x="7833" y="3493"/>
                    <a:pt x="7917" y="3451"/>
                  </a:cubicBezTo>
                  <a:lnTo>
                    <a:pt x="10216" y="2303"/>
                  </a:lnTo>
                  <a:lnTo>
                    <a:pt x="7605" y="5565"/>
                  </a:lnTo>
                  <a:lnTo>
                    <a:pt x="5726" y="3685"/>
                  </a:lnTo>
                  <a:cubicBezTo>
                    <a:pt x="5614" y="3573"/>
                    <a:pt x="5463" y="3514"/>
                    <a:pt x="5311" y="3514"/>
                  </a:cubicBezTo>
                  <a:cubicBezTo>
                    <a:pt x="5223" y="3514"/>
                    <a:pt x="5133" y="3534"/>
                    <a:pt x="5051" y="3575"/>
                  </a:cubicBezTo>
                  <a:lnTo>
                    <a:pt x="2751" y="4725"/>
                  </a:lnTo>
                  <a:lnTo>
                    <a:pt x="2751" y="4725"/>
                  </a:lnTo>
                  <a:lnTo>
                    <a:pt x="5362" y="1463"/>
                  </a:lnTo>
                  <a:close/>
                  <a:moveTo>
                    <a:pt x="5312" y="1"/>
                  </a:moveTo>
                  <a:cubicBezTo>
                    <a:pt x="5302" y="1"/>
                    <a:pt x="5291" y="1"/>
                    <a:pt x="5281" y="2"/>
                  </a:cubicBezTo>
                  <a:cubicBezTo>
                    <a:pt x="5114" y="12"/>
                    <a:pt x="4959" y="92"/>
                    <a:pt x="4856" y="221"/>
                  </a:cubicBezTo>
                  <a:lnTo>
                    <a:pt x="172" y="6075"/>
                  </a:lnTo>
                  <a:cubicBezTo>
                    <a:pt x="0" y="6290"/>
                    <a:pt x="2" y="6595"/>
                    <a:pt x="174" y="6809"/>
                  </a:cubicBezTo>
                  <a:cubicBezTo>
                    <a:pt x="288" y="6950"/>
                    <a:pt x="457" y="7026"/>
                    <a:pt x="630" y="7026"/>
                  </a:cubicBezTo>
                  <a:cubicBezTo>
                    <a:pt x="719" y="7026"/>
                    <a:pt x="808" y="7006"/>
                    <a:pt x="892" y="6964"/>
                  </a:cubicBezTo>
                  <a:lnTo>
                    <a:pt x="5198" y="4811"/>
                  </a:lnTo>
                  <a:lnTo>
                    <a:pt x="7241" y="6855"/>
                  </a:lnTo>
                  <a:cubicBezTo>
                    <a:pt x="7349" y="6964"/>
                    <a:pt x="7496" y="7026"/>
                    <a:pt x="7650" y="7026"/>
                  </a:cubicBezTo>
                  <a:cubicBezTo>
                    <a:pt x="7662" y="7026"/>
                    <a:pt x="7674" y="7025"/>
                    <a:pt x="7687" y="7024"/>
                  </a:cubicBezTo>
                  <a:cubicBezTo>
                    <a:pt x="7853" y="7016"/>
                    <a:pt x="8007" y="6936"/>
                    <a:pt x="8111" y="6807"/>
                  </a:cubicBezTo>
                  <a:lnTo>
                    <a:pt x="12795" y="951"/>
                  </a:lnTo>
                  <a:cubicBezTo>
                    <a:pt x="12967" y="737"/>
                    <a:pt x="12965" y="431"/>
                    <a:pt x="12792" y="219"/>
                  </a:cubicBezTo>
                  <a:cubicBezTo>
                    <a:pt x="12679" y="78"/>
                    <a:pt x="12510" y="1"/>
                    <a:pt x="12337" y="1"/>
                  </a:cubicBezTo>
                  <a:cubicBezTo>
                    <a:pt x="12249" y="1"/>
                    <a:pt x="12159" y="21"/>
                    <a:pt x="12075" y="63"/>
                  </a:cubicBezTo>
                  <a:lnTo>
                    <a:pt x="7770" y="2216"/>
                  </a:lnTo>
                  <a:lnTo>
                    <a:pt x="5726" y="173"/>
                  </a:lnTo>
                  <a:cubicBezTo>
                    <a:pt x="5617" y="62"/>
                    <a:pt x="5467" y="1"/>
                    <a:pt x="5312"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11406" name="Google Shape;11406;p115"/>
          <p:cNvGrpSpPr/>
          <p:nvPr/>
        </p:nvGrpSpPr>
        <p:grpSpPr>
          <a:xfrm>
            <a:off x="2563219" y="5087863"/>
            <a:ext cx="543188" cy="381960"/>
            <a:chOff x="3476576" y="2633631"/>
            <a:chExt cx="417024" cy="293244"/>
          </a:xfrm>
        </p:grpSpPr>
        <p:sp>
          <p:nvSpPr>
            <p:cNvPr id="11407" name="Google Shape;11407;p115"/>
            <p:cNvSpPr/>
            <p:nvPr/>
          </p:nvSpPr>
          <p:spPr>
            <a:xfrm>
              <a:off x="3476576" y="2633631"/>
              <a:ext cx="417024" cy="293244"/>
            </a:xfrm>
            <a:custGeom>
              <a:avLst/>
              <a:gdLst/>
              <a:ahLst/>
              <a:cxnLst/>
              <a:rect l="l" t="t" r="r" b="b"/>
              <a:pathLst>
                <a:path w="19982" h="14051" extrusionOk="0">
                  <a:moveTo>
                    <a:pt x="17056" y="1172"/>
                  </a:moveTo>
                  <a:cubicBezTo>
                    <a:pt x="18023" y="1172"/>
                    <a:pt x="18811" y="1961"/>
                    <a:pt x="18811" y="2929"/>
                  </a:cubicBezTo>
                  <a:lnTo>
                    <a:pt x="18811" y="11124"/>
                  </a:lnTo>
                  <a:cubicBezTo>
                    <a:pt x="18811" y="12092"/>
                    <a:pt x="18023" y="12881"/>
                    <a:pt x="17056" y="12881"/>
                  </a:cubicBezTo>
                  <a:lnTo>
                    <a:pt x="2927" y="12881"/>
                  </a:lnTo>
                  <a:cubicBezTo>
                    <a:pt x="1959" y="12881"/>
                    <a:pt x="1172" y="12092"/>
                    <a:pt x="1172" y="11124"/>
                  </a:cubicBezTo>
                  <a:lnTo>
                    <a:pt x="1172" y="2929"/>
                  </a:lnTo>
                  <a:cubicBezTo>
                    <a:pt x="1172" y="1961"/>
                    <a:pt x="1959" y="1172"/>
                    <a:pt x="2927" y="1172"/>
                  </a:cubicBezTo>
                  <a:close/>
                  <a:moveTo>
                    <a:pt x="2927" y="1"/>
                  </a:moveTo>
                  <a:cubicBezTo>
                    <a:pt x="1313" y="1"/>
                    <a:pt x="1" y="1315"/>
                    <a:pt x="1" y="2929"/>
                  </a:cubicBezTo>
                  <a:lnTo>
                    <a:pt x="1" y="11124"/>
                  </a:lnTo>
                  <a:cubicBezTo>
                    <a:pt x="1" y="12738"/>
                    <a:pt x="1313" y="14050"/>
                    <a:pt x="2927" y="14050"/>
                  </a:cubicBezTo>
                  <a:lnTo>
                    <a:pt x="17056" y="14050"/>
                  </a:lnTo>
                  <a:cubicBezTo>
                    <a:pt x="18669" y="14050"/>
                    <a:pt x="19982" y="12738"/>
                    <a:pt x="19982" y="11124"/>
                  </a:cubicBezTo>
                  <a:lnTo>
                    <a:pt x="19982" y="2929"/>
                  </a:lnTo>
                  <a:cubicBezTo>
                    <a:pt x="19982" y="1315"/>
                    <a:pt x="18669" y="1"/>
                    <a:pt x="17056"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1408" name="Google Shape;11408;p115"/>
            <p:cNvSpPr/>
            <p:nvPr/>
          </p:nvSpPr>
          <p:spPr>
            <a:xfrm>
              <a:off x="3636206" y="2706945"/>
              <a:ext cx="122194" cy="146633"/>
            </a:xfrm>
            <a:custGeom>
              <a:avLst/>
              <a:gdLst/>
              <a:ahLst/>
              <a:cxnLst/>
              <a:rect l="l" t="t" r="r" b="b"/>
              <a:pathLst>
                <a:path w="5855" h="7026" extrusionOk="0">
                  <a:moveTo>
                    <a:pt x="1172" y="1643"/>
                  </a:moveTo>
                  <a:lnTo>
                    <a:pt x="4165" y="3514"/>
                  </a:lnTo>
                  <a:lnTo>
                    <a:pt x="1172" y="5384"/>
                  </a:lnTo>
                  <a:lnTo>
                    <a:pt x="1172" y="1643"/>
                  </a:lnTo>
                  <a:close/>
                  <a:moveTo>
                    <a:pt x="586" y="0"/>
                  </a:moveTo>
                  <a:cubicBezTo>
                    <a:pt x="489" y="0"/>
                    <a:pt x="391" y="25"/>
                    <a:pt x="302" y="74"/>
                  </a:cubicBezTo>
                  <a:cubicBezTo>
                    <a:pt x="116" y="178"/>
                    <a:pt x="1" y="373"/>
                    <a:pt x="1" y="587"/>
                  </a:cubicBezTo>
                  <a:lnTo>
                    <a:pt x="1" y="6440"/>
                  </a:lnTo>
                  <a:cubicBezTo>
                    <a:pt x="1" y="6653"/>
                    <a:pt x="116" y="6849"/>
                    <a:pt x="302" y="6953"/>
                  </a:cubicBezTo>
                  <a:cubicBezTo>
                    <a:pt x="389" y="7001"/>
                    <a:pt x="487" y="7026"/>
                    <a:pt x="585" y="7026"/>
                  </a:cubicBezTo>
                  <a:cubicBezTo>
                    <a:pt x="693" y="7026"/>
                    <a:pt x="801" y="6997"/>
                    <a:pt x="896" y="6937"/>
                  </a:cubicBezTo>
                  <a:lnTo>
                    <a:pt x="5580" y="4010"/>
                  </a:lnTo>
                  <a:cubicBezTo>
                    <a:pt x="5750" y="3903"/>
                    <a:pt x="5854" y="3714"/>
                    <a:pt x="5854" y="3513"/>
                  </a:cubicBezTo>
                  <a:cubicBezTo>
                    <a:pt x="5854" y="3311"/>
                    <a:pt x="5750" y="3123"/>
                    <a:pt x="5580" y="3017"/>
                  </a:cubicBezTo>
                  <a:lnTo>
                    <a:pt x="896" y="90"/>
                  </a:lnTo>
                  <a:cubicBezTo>
                    <a:pt x="801" y="30"/>
                    <a:pt x="694" y="0"/>
                    <a:pt x="586"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11409" name="Google Shape;11409;p115"/>
          <p:cNvGrpSpPr/>
          <p:nvPr/>
        </p:nvGrpSpPr>
        <p:grpSpPr>
          <a:xfrm>
            <a:off x="3384995" y="5007344"/>
            <a:ext cx="543215" cy="542997"/>
            <a:chOff x="3988564" y="2571836"/>
            <a:chExt cx="417045" cy="416878"/>
          </a:xfrm>
        </p:grpSpPr>
        <p:sp>
          <p:nvSpPr>
            <p:cNvPr id="11410" name="Google Shape;11410;p115"/>
            <p:cNvSpPr/>
            <p:nvPr/>
          </p:nvSpPr>
          <p:spPr>
            <a:xfrm>
              <a:off x="4090678" y="2650431"/>
              <a:ext cx="213124" cy="259268"/>
            </a:xfrm>
            <a:custGeom>
              <a:avLst/>
              <a:gdLst/>
              <a:ahLst/>
              <a:cxnLst/>
              <a:rect l="l" t="t" r="r" b="b"/>
              <a:pathLst>
                <a:path w="10212" h="12423" extrusionOk="0">
                  <a:moveTo>
                    <a:pt x="4938" y="1172"/>
                  </a:moveTo>
                  <a:cubicBezTo>
                    <a:pt x="7267" y="1172"/>
                    <a:pt x="8610" y="2621"/>
                    <a:pt x="8610" y="3081"/>
                  </a:cubicBezTo>
                  <a:cubicBezTo>
                    <a:pt x="8610" y="3348"/>
                    <a:pt x="8308" y="3471"/>
                    <a:pt x="8102" y="3471"/>
                  </a:cubicBezTo>
                  <a:cubicBezTo>
                    <a:pt x="7867" y="3471"/>
                    <a:pt x="7733" y="3357"/>
                    <a:pt x="7407" y="3026"/>
                  </a:cubicBezTo>
                  <a:cubicBezTo>
                    <a:pt x="6933" y="2541"/>
                    <a:pt x="6282" y="1879"/>
                    <a:pt x="4821" y="1879"/>
                  </a:cubicBezTo>
                  <a:cubicBezTo>
                    <a:pt x="4177" y="1879"/>
                    <a:pt x="3602" y="2046"/>
                    <a:pt x="3162" y="2362"/>
                  </a:cubicBezTo>
                  <a:cubicBezTo>
                    <a:pt x="2687" y="2700"/>
                    <a:pt x="2417" y="3188"/>
                    <a:pt x="2417" y="3701"/>
                  </a:cubicBezTo>
                  <a:cubicBezTo>
                    <a:pt x="2417" y="4145"/>
                    <a:pt x="2603" y="4758"/>
                    <a:pt x="3491" y="5152"/>
                  </a:cubicBezTo>
                  <a:cubicBezTo>
                    <a:pt x="3997" y="5378"/>
                    <a:pt x="4646" y="5506"/>
                    <a:pt x="5334" y="5642"/>
                  </a:cubicBezTo>
                  <a:cubicBezTo>
                    <a:pt x="7566" y="6081"/>
                    <a:pt x="9029" y="6514"/>
                    <a:pt x="9029" y="8449"/>
                  </a:cubicBezTo>
                  <a:cubicBezTo>
                    <a:pt x="9029" y="8455"/>
                    <a:pt x="9029" y="8464"/>
                    <a:pt x="9029" y="8478"/>
                  </a:cubicBezTo>
                  <a:cubicBezTo>
                    <a:pt x="9035" y="8646"/>
                    <a:pt x="9028" y="9518"/>
                    <a:pt x="8347" y="10222"/>
                  </a:cubicBezTo>
                  <a:cubicBezTo>
                    <a:pt x="7688" y="10903"/>
                    <a:pt x="6597" y="11248"/>
                    <a:pt x="5102" y="11252"/>
                  </a:cubicBezTo>
                  <a:cubicBezTo>
                    <a:pt x="2240" y="11250"/>
                    <a:pt x="1171" y="9891"/>
                    <a:pt x="1171" y="9033"/>
                  </a:cubicBezTo>
                  <a:cubicBezTo>
                    <a:pt x="1171" y="8780"/>
                    <a:pt x="1518" y="8672"/>
                    <a:pt x="1656" y="8672"/>
                  </a:cubicBezTo>
                  <a:cubicBezTo>
                    <a:pt x="1844" y="8672"/>
                    <a:pt x="2005" y="8837"/>
                    <a:pt x="2327" y="9212"/>
                  </a:cubicBezTo>
                  <a:cubicBezTo>
                    <a:pt x="2843" y="9813"/>
                    <a:pt x="3551" y="10636"/>
                    <a:pt x="5095" y="10636"/>
                  </a:cubicBezTo>
                  <a:cubicBezTo>
                    <a:pt x="6363" y="10636"/>
                    <a:pt x="7727" y="9881"/>
                    <a:pt x="7727" y="8612"/>
                  </a:cubicBezTo>
                  <a:cubicBezTo>
                    <a:pt x="7727" y="7951"/>
                    <a:pt x="7363" y="7445"/>
                    <a:pt x="6647" y="7109"/>
                  </a:cubicBezTo>
                  <a:cubicBezTo>
                    <a:pt x="6130" y="6866"/>
                    <a:pt x="5472" y="6726"/>
                    <a:pt x="4773" y="6578"/>
                  </a:cubicBezTo>
                  <a:cubicBezTo>
                    <a:pt x="2620" y="6120"/>
                    <a:pt x="1209" y="5683"/>
                    <a:pt x="1209" y="3859"/>
                  </a:cubicBezTo>
                  <a:cubicBezTo>
                    <a:pt x="1209" y="2893"/>
                    <a:pt x="1667" y="2191"/>
                    <a:pt x="2606" y="1711"/>
                  </a:cubicBezTo>
                  <a:cubicBezTo>
                    <a:pt x="3388" y="1313"/>
                    <a:pt x="4350" y="1172"/>
                    <a:pt x="4938" y="1172"/>
                  </a:cubicBezTo>
                  <a:close/>
                  <a:moveTo>
                    <a:pt x="4938" y="1"/>
                  </a:moveTo>
                  <a:cubicBezTo>
                    <a:pt x="2944" y="1"/>
                    <a:pt x="39" y="991"/>
                    <a:pt x="39" y="3861"/>
                  </a:cubicBezTo>
                  <a:cubicBezTo>
                    <a:pt x="39" y="5149"/>
                    <a:pt x="579" y="6129"/>
                    <a:pt x="1644" y="6772"/>
                  </a:cubicBezTo>
                  <a:cubicBezTo>
                    <a:pt x="2505" y="7293"/>
                    <a:pt x="3581" y="7523"/>
                    <a:pt x="4529" y="7724"/>
                  </a:cubicBezTo>
                  <a:cubicBezTo>
                    <a:pt x="5159" y="7857"/>
                    <a:pt x="5755" y="7984"/>
                    <a:pt x="6149" y="8170"/>
                  </a:cubicBezTo>
                  <a:cubicBezTo>
                    <a:pt x="6556" y="8359"/>
                    <a:pt x="6556" y="8518"/>
                    <a:pt x="6556" y="8612"/>
                  </a:cubicBezTo>
                  <a:cubicBezTo>
                    <a:pt x="6556" y="9100"/>
                    <a:pt x="5785" y="9465"/>
                    <a:pt x="5095" y="9465"/>
                  </a:cubicBezTo>
                  <a:cubicBezTo>
                    <a:pt x="4089" y="9465"/>
                    <a:pt x="3664" y="8971"/>
                    <a:pt x="3215" y="8449"/>
                  </a:cubicBezTo>
                  <a:cubicBezTo>
                    <a:pt x="2833" y="8005"/>
                    <a:pt x="2401" y="7501"/>
                    <a:pt x="1656" y="7501"/>
                  </a:cubicBezTo>
                  <a:cubicBezTo>
                    <a:pt x="860" y="7501"/>
                    <a:pt x="0" y="8087"/>
                    <a:pt x="0" y="9035"/>
                  </a:cubicBezTo>
                  <a:cubicBezTo>
                    <a:pt x="0" y="10459"/>
                    <a:pt x="1462" y="12423"/>
                    <a:pt x="5104" y="12423"/>
                  </a:cubicBezTo>
                  <a:cubicBezTo>
                    <a:pt x="6926" y="12419"/>
                    <a:pt x="8301" y="11954"/>
                    <a:pt x="9187" y="11036"/>
                  </a:cubicBezTo>
                  <a:cubicBezTo>
                    <a:pt x="10167" y="10024"/>
                    <a:pt x="10211" y="8803"/>
                    <a:pt x="10200" y="8442"/>
                  </a:cubicBezTo>
                  <a:cubicBezTo>
                    <a:pt x="10199" y="7101"/>
                    <a:pt x="9638" y="6090"/>
                    <a:pt x="8536" y="5435"/>
                  </a:cubicBezTo>
                  <a:cubicBezTo>
                    <a:pt x="7642" y="4904"/>
                    <a:pt x="6537" y="4685"/>
                    <a:pt x="5560" y="4492"/>
                  </a:cubicBezTo>
                  <a:cubicBezTo>
                    <a:pt x="4939" y="4370"/>
                    <a:pt x="4354" y="4255"/>
                    <a:pt x="3966" y="4084"/>
                  </a:cubicBezTo>
                  <a:cubicBezTo>
                    <a:pt x="3588" y="3916"/>
                    <a:pt x="3588" y="3781"/>
                    <a:pt x="3588" y="3703"/>
                  </a:cubicBezTo>
                  <a:cubicBezTo>
                    <a:pt x="3588" y="3429"/>
                    <a:pt x="4016" y="3050"/>
                    <a:pt x="4821" y="3050"/>
                  </a:cubicBezTo>
                  <a:cubicBezTo>
                    <a:pt x="5790" y="3050"/>
                    <a:pt x="6153" y="3418"/>
                    <a:pt x="6570" y="3847"/>
                  </a:cubicBezTo>
                  <a:cubicBezTo>
                    <a:pt x="6921" y="4202"/>
                    <a:pt x="7354" y="4644"/>
                    <a:pt x="8102" y="4644"/>
                  </a:cubicBezTo>
                  <a:cubicBezTo>
                    <a:pt x="8966" y="4644"/>
                    <a:pt x="9781" y="4016"/>
                    <a:pt x="9781" y="3082"/>
                  </a:cubicBezTo>
                  <a:cubicBezTo>
                    <a:pt x="9781" y="1768"/>
                    <a:pt x="7722" y="1"/>
                    <a:pt x="4938"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1411" name="Google Shape;11411;p115"/>
            <p:cNvSpPr/>
            <p:nvPr/>
          </p:nvSpPr>
          <p:spPr>
            <a:xfrm>
              <a:off x="3988564" y="2571836"/>
              <a:ext cx="417045" cy="416878"/>
            </a:xfrm>
            <a:custGeom>
              <a:avLst/>
              <a:gdLst/>
              <a:ahLst/>
              <a:cxnLst/>
              <a:rect l="l" t="t" r="r" b="b"/>
              <a:pathLst>
                <a:path w="19983" h="19975" extrusionOk="0">
                  <a:moveTo>
                    <a:pt x="5465" y="1172"/>
                  </a:moveTo>
                  <a:cubicBezTo>
                    <a:pt x="6229" y="1172"/>
                    <a:pt x="6714" y="1356"/>
                    <a:pt x="7184" y="1548"/>
                  </a:cubicBezTo>
                  <a:cubicBezTo>
                    <a:pt x="7842" y="1820"/>
                    <a:pt x="8120" y="1882"/>
                    <a:pt x="8506" y="1882"/>
                  </a:cubicBezTo>
                  <a:cubicBezTo>
                    <a:pt x="8831" y="1882"/>
                    <a:pt x="9232" y="1838"/>
                    <a:pt x="10000" y="1838"/>
                  </a:cubicBezTo>
                  <a:cubicBezTo>
                    <a:pt x="13275" y="1838"/>
                    <a:pt x="15226" y="3478"/>
                    <a:pt x="16286" y="4855"/>
                  </a:cubicBezTo>
                  <a:cubicBezTo>
                    <a:pt x="17660" y="6641"/>
                    <a:pt x="18149" y="8709"/>
                    <a:pt x="18149" y="9937"/>
                  </a:cubicBezTo>
                  <a:cubicBezTo>
                    <a:pt x="18149" y="11304"/>
                    <a:pt x="17841" y="11405"/>
                    <a:pt x="18414" y="12744"/>
                  </a:cubicBezTo>
                  <a:cubicBezTo>
                    <a:pt x="18610" y="13203"/>
                    <a:pt x="18812" y="13675"/>
                    <a:pt x="18812" y="14565"/>
                  </a:cubicBezTo>
                  <a:cubicBezTo>
                    <a:pt x="18812" y="15702"/>
                    <a:pt x="18373" y="16765"/>
                    <a:pt x="17575" y="17561"/>
                  </a:cubicBezTo>
                  <a:cubicBezTo>
                    <a:pt x="16776" y="18358"/>
                    <a:pt x="15671" y="18803"/>
                    <a:pt x="14546" y="18803"/>
                  </a:cubicBezTo>
                  <a:cubicBezTo>
                    <a:pt x="14544" y="18803"/>
                    <a:pt x="14542" y="18803"/>
                    <a:pt x="14540" y="18803"/>
                  </a:cubicBezTo>
                  <a:lnTo>
                    <a:pt x="14519" y="18803"/>
                  </a:lnTo>
                  <a:cubicBezTo>
                    <a:pt x="13754" y="18803"/>
                    <a:pt x="13270" y="18612"/>
                    <a:pt x="12799" y="18418"/>
                  </a:cubicBezTo>
                  <a:cubicBezTo>
                    <a:pt x="12161" y="18154"/>
                    <a:pt x="11842" y="18085"/>
                    <a:pt x="11520" y="18085"/>
                  </a:cubicBezTo>
                  <a:cubicBezTo>
                    <a:pt x="11167" y="18085"/>
                    <a:pt x="10809" y="18168"/>
                    <a:pt x="10022" y="18168"/>
                  </a:cubicBezTo>
                  <a:cubicBezTo>
                    <a:pt x="6746" y="18168"/>
                    <a:pt x="4785" y="16516"/>
                    <a:pt x="3717" y="15131"/>
                  </a:cubicBezTo>
                  <a:cubicBezTo>
                    <a:pt x="2328" y="13328"/>
                    <a:pt x="1835" y="11257"/>
                    <a:pt x="1835" y="10031"/>
                  </a:cubicBezTo>
                  <a:cubicBezTo>
                    <a:pt x="1835" y="8674"/>
                    <a:pt x="2146" y="8571"/>
                    <a:pt x="1569" y="7222"/>
                  </a:cubicBezTo>
                  <a:cubicBezTo>
                    <a:pt x="1375" y="6765"/>
                    <a:pt x="1173" y="6293"/>
                    <a:pt x="1171" y="5408"/>
                  </a:cubicBezTo>
                  <a:cubicBezTo>
                    <a:pt x="1175" y="3063"/>
                    <a:pt x="3100" y="1172"/>
                    <a:pt x="5465" y="1172"/>
                  </a:cubicBezTo>
                  <a:close/>
                  <a:moveTo>
                    <a:pt x="5465" y="0"/>
                  </a:moveTo>
                  <a:cubicBezTo>
                    <a:pt x="3993" y="0"/>
                    <a:pt x="2617" y="552"/>
                    <a:pt x="1587" y="1582"/>
                  </a:cubicBezTo>
                  <a:cubicBezTo>
                    <a:pt x="566" y="2603"/>
                    <a:pt x="4" y="3960"/>
                    <a:pt x="0" y="5403"/>
                  </a:cubicBezTo>
                  <a:lnTo>
                    <a:pt x="0" y="5414"/>
                  </a:lnTo>
                  <a:cubicBezTo>
                    <a:pt x="2" y="6535"/>
                    <a:pt x="274" y="7170"/>
                    <a:pt x="492" y="7682"/>
                  </a:cubicBezTo>
                  <a:cubicBezTo>
                    <a:pt x="938" y="8725"/>
                    <a:pt x="664" y="8547"/>
                    <a:pt x="664" y="10031"/>
                  </a:cubicBezTo>
                  <a:cubicBezTo>
                    <a:pt x="664" y="11738"/>
                    <a:pt x="1385" y="14023"/>
                    <a:pt x="2790" y="15845"/>
                  </a:cubicBezTo>
                  <a:cubicBezTo>
                    <a:pt x="4019" y="17439"/>
                    <a:pt x="6270" y="19339"/>
                    <a:pt x="10022" y="19339"/>
                  </a:cubicBezTo>
                  <a:cubicBezTo>
                    <a:pt x="10942" y="19339"/>
                    <a:pt x="11234" y="19255"/>
                    <a:pt x="11494" y="19255"/>
                  </a:cubicBezTo>
                  <a:cubicBezTo>
                    <a:pt x="11700" y="19255"/>
                    <a:pt x="11887" y="19308"/>
                    <a:pt x="12353" y="19500"/>
                  </a:cubicBezTo>
                  <a:cubicBezTo>
                    <a:pt x="12875" y="19716"/>
                    <a:pt x="13523" y="19974"/>
                    <a:pt x="14519" y="19974"/>
                  </a:cubicBezTo>
                  <a:lnTo>
                    <a:pt x="14554" y="19974"/>
                  </a:lnTo>
                  <a:cubicBezTo>
                    <a:pt x="15985" y="19974"/>
                    <a:pt x="17386" y="19403"/>
                    <a:pt x="18402" y="18391"/>
                  </a:cubicBezTo>
                  <a:cubicBezTo>
                    <a:pt x="19422" y="17374"/>
                    <a:pt x="19983" y="16015"/>
                    <a:pt x="19983" y="14565"/>
                  </a:cubicBezTo>
                  <a:cubicBezTo>
                    <a:pt x="19983" y="13436"/>
                    <a:pt x="19711" y="12797"/>
                    <a:pt x="19491" y="12284"/>
                  </a:cubicBezTo>
                  <a:cubicBezTo>
                    <a:pt x="19045" y="11243"/>
                    <a:pt x="19320" y="11421"/>
                    <a:pt x="19320" y="9937"/>
                  </a:cubicBezTo>
                  <a:cubicBezTo>
                    <a:pt x="19320" y="8218"/>
                    <a:pt x="18603" y="5946"/>
                    <a:pt x="17213" y="4140"/>
                  </a:cubicBezTo>
                  <a:cubicBezTo>
                    <a:pt x="15994" y="2557"/>
                    <a:pt x="13753" y="667"/>
                    <a:pt x="10000" y="667"/>
                  </a:cubicBezTo>
                  <a:cubicBezTo>
                    <a:pt x="9146" y="667"/>
                    <a:pt x="8785" y="712"/>
                    <a:pt x="8528" y="712"/>
                  </a:cubicBezTo>
                  <a:cubicBezTo>
                    <a:pt x="8261" y="712"/>
                    <a:pt x="8109" y="664"/>
                    <a:pt x="7630" y="466"/>
                  </a:cubicBezTo>
                  <a:cubicBezTo>
                    <a:pt x="7110" y="252"/>
                    <a:pt x="6461" y="0"/>
                    <a:pt x="5465"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11412" name="Google Shape;11412;p115"/>
          <p:cNvGrpSpPr/>
          <p:nvPr/>
        </p:nvGrpSpPr>
        <p:grpSpPr>
          <a:xfrm>
            <a:off x="4206799" y="5007249"/>
            <a:ext cx="543188" cy="543188"/>
            <a:chOff x="4500573" y="2571753"/>
            <a:chExt cx="417024" cy="417024"/>
          </a:xfrm>
        </p:grpSpPr>
        <p:sp>
          <p:nvSpPr>
            <p:cNvPr id="11413" name="Google Shape;11413;p115"/>
            <p:cNvSpPr/>
            <p:nvPr/>
          </p:nvSpPr>
          <p:spPr>
            <a:xfrm>
              <a:off x="4550263" y="2632817"/>
              <a:ext cx="317683" cy="293244"/>
            </a:xfrm>
            <a:custGeom>
              <a:avLst/>
              <a:gdLst/>
              <a:ahLst/>
              <a:cxnLst/>
              <a:rect l="l" t="t" r="r" b="b"/>
              <a:pathLst>
                <a:path w="15222" h="14051" extrusionOk="0">
                  <a:moveTo>
                    <a:pt x="7616" y="1172"/>
                  </a:moveTo>
                  <a:cubicBezTo>
                    <a:pt x="8529" y="1202"/>
                    <a:pt x="10613" y="1570"/>
                    <a:pt x="10613" y="4280"/>
                  </a:cubicBezTo>
                  <a:cubicBezTo>
                    <a:pt x="10613" y="4791"/>
                    <a:pt x="10565" y="5662"/>
                    <a:pt x="10565" y="5683"/>
                  </a:cubicBezTo>
                  <a:cubicBezTo>
                    <a:pt x="10565" y="6490"/>
                    <a:pt x="11186" y="6530"/>
                    <a:pt x="11312" y="6530"/>
                  </a:cubicBezTo>
                  <a:cubicBezTo>
                    <a:pt x="11563" y="6530"/>
                    <a:pt x="11867" y="6461"/>
                    <a:pt x="12149" y="6399"/>
                  </a:cubicBezTo>
                  <a:lnTo>
                    <a:pt x="12149" y="6399"/>
                  </a:lnTo>
                  <a:cubicBezTo>
                    <a:pt x="11697" y="6589"/>
                    <a:pt x="10875" y="6838"/>
                    <a:pt x="10875" y="7608"/>
                  </a:cubicBezTo>
                  <a:cubicBezTo>
                    <a:pt x="10875" y="9260"/>
                    <a:pt x="12294" y="9897"/>
                    <a:pt x="13233" y="10316"/>
                  </a:cubicBezTo>
                  <a:cubicBezTo>
                    <a:pt x="13419" y="10399"/>
                    <a:pt x="13661" y="10509"/>
                    <a:pt x="13838" y="10608"/>
                  </a:cubicBezTo>
                  <a:cubicBezTo>
                    <a:pt x="13590" y="10652"/>
                    <a:pt x="13247" y="10703"/>
                    <a:pt x="12826" y="10802"/>
                  </a:cubicBezTo>
                  <a:cubicBezTo>
                    <a:pt x="12446" y="10894"/>
                    <a:pt x="12149" y="11195"/>
                    <a:pt x="12067" y="11574"/>
                  </a:cubicBezTo>
                  <a:cubicBezTo>
                    <a:pt x="12058" y="11614"/>
                    <a:pt x="12049" y="11652"/>
                    <a:pt x="12041" y="11683"/>
                  </a:cubicBezTo>
                  <a:cubicBezTo>
                    <a:pt x="11837" y="11646"/>
                    <a:pt x="11549" y="11584"/>
                    <a:pt x="11156" y="11584"/>
                  </a:cubicBezTo>
                  <a:cubicBezTo>
                    <a:pt x="10220" y="11584"/>
                    <a:pt x="9658" y="11968"/>
                    <a:pt x="9161" y="12306"/>
                  </a:cubicBezTo>
                  <a:cubicBezTo>
                    <a:pt x="8711" y="12614"/>
                    <a:pt x="8322" y="12879"/>
                    <a:pt x="7611" y="12881"/>
                  </a:cubicBezTo>
                  <a:cubicBezTo>
                    <a:pt x="6900" y="12879"/>
                    <a:pt x="6511" y="12614"/>
                    <a:pt x="6060" y="12306"/>
                  </a:cubicBezTo>
                  <a:cubicBezTo>
                    <a:pt x="5563" y="11968"/>
                    <a:pt x="5000" y="11584"/>
                    <a:pt x="4064" y="11584"/>
                  </a:cubicBezTo>
                  <a:cubicBezTo>
                    <a:pt x="3671" y="11584"/>
                    <a:pt x="3381" y="11646"/>
                    <a:pt x="3180" y="11683"/>
                  </a:cubicBezTo>
                  <a:cubicBezTo>
                    <a:pt x="3171" y="11652"/>
                    <a:pt x="3164" y="11614"/>
                    <a:pt x="3155" y="11574"/>
                  </a:cubicBezTo>
                  <a:cubicBezTo>
                    <a:pt x="3072" y="11195"/>
                    <a:pt x="2775" y="10894"/>
                    <a:pt x="2394" y="10802"/>
                  </a:cubicBezTo>
                  <a:cubicBezTo>
                    <a:pt x="1973" y="10703"/>
                    <a:pt x="1630" y="10652"/>
                    <a:pt x="1384" y="10608"/>
                  </a:cubicBezTo>
                  <a:cubicBezTo>
                    <a:pt x="1559" y="10509"/>
                    <a:pt x="1803" y="10399"/>
                    <a:pt x="1987" y="10316"/>
                  </a:cubicBezTo>
                  <a:cubicBezTo>
                    <a:pt x="2927" y="9897"/>
                    <a:pt x="4347" y="9260"/>
                    <a:pt x="4347" y="7608"/>
                  </a:cubicBezTo>
                  <a:cubicBezTo>
                    <a:pt x="4347" y="6838"/>
                    <a:pt x="3525" y="6589"/>
                    <a:pt x="3072" y="6399"/>
                  </a:cubicBezTo>
                  <a:lnTo>
                    <a:pt x="3072" y="6399"/>
                  </a:lnTo>
                  <a:cubicBezTo>
                    <a:pt x="3355" y="6461"/>
                    <a:pt x="3657" y="6530"/>
                    <a:pt x="3910" y="6530"/>
                  </a:cubicBezTo>
                  <a:cubicBezTo>
                    <a:pt x="4034" y="6530"/>
                    <a:pt x="4655" y="6490"/>
                    <a:pt x="4655" y="5683"/>
                  </a:cubicBezTo>
                  <a:cubicBezTo>
                    <a:pt x="4655" y="5662"/>
                    <a:pt x="4609" y="4793"/>
                    <a:pt x="4609" y="4280"/>
                  </a:cubicBezTo>
                  <a:cubicBezTo>
                    <a:pt x="4609" y="1558"/>
                    <a:pt x="6698" y="1199"/>
                    <a:pt x="7616" y="1172"/>
                  </a:cubicBezTo>
                  <a:close/>
                  <a:moveTo>
                    <a:pt x="7602" y="1"/>
                  </a:moveTo>
                  <a:cubicBezTo>
                    <a:pt x="7201" y="11"/>
                    <a:pt x="6164" y="98"/>
                    <a:pt x="5219" y="691"/>
                  </a:cubicBezTo>
                  <a:cubicBezTo>
                    <a:pt x="4407" y="1200"/>
                    <a:pt x="3438" y="2237"/>
                    <a:pt x="3438" y="4280"/>
                  </a:cubicBezTo>
                  <a:cubicBezTo>
                    <a:pt x="3438" y="4714"/>
                    <a:pt x="3454" y="5041"/>
                    <a:pt x="3466" y="5288"/>
                  </a:cubicBezTo>
                  <a:cubicBezTo>
                    <a:pt x="3176" y="5225"/>
                    <a:pt x="2914" y="5159"/>
                    <a:pt x="2711" y="5159"/>
                  </a:cubicBezTo>
                  <a:cubicBezTo>
                    <a:pt x="2005" y="5159"/>
                    <a:pt x="1492" y="5593"/>
                    <a:pt x="1492" y="6187"/>
                  </a:cubicBezTo>
                  <a:cubicBezTo>
                    <a:pt x="1492" y="7031"/>
                    <a:pt x="2302" y="7355"/>
                    <a:pt x="2785" y="7547"/>
                  </a:cubicBezTo>
                  <a:cubicBezTo>
                    <a:pt x="2907" y="7595"/>
                    <a:pt x="3077" y="7664"/>
                    <a:pt x="3173" y="7717"/>
                  </a:cubicBezTo>
                  <a:cubicBezTo>
                    <a:pt x="3084" y="8885"/>
                    <a:pt x="1453" y="9124"/>
                    <a:pt x="595" y="9723"/>
                  </a:cubicBezTo>
                  <a:cubicBezTo>
                    <a:pt x="201" y="9999"/>
                    <a:pt x="1" y="10337"/>
                    <a:pt x="1" y="10730"/>
                  </a:cubicBezTo>
                  <a:cubicBezTo>
                    <a:pt x="1" y="11119"/>
                    <a:pt x="194" y="11425"/>
                    <a:pt x="547" y="11590"/>
                  </a:cubicBezTo>
                  <a:cubicBezTo>
                    <a:pt x="892" y="11752"/>
                    <a:pt x="1340" y="11765"/>
                    <a:pt x="2032" y="11920"/>
                  </a:cubicBezTo>
                  <a:cubicBezTo>
                    <a:pt x="2081" y="12138"/>
                    <a:pt x="2134" y="12318"/>
                    <a:pt x="2231" y="12474"/>
                  </a:cubicBezTo>
                  <a:cubicBezTo>
                    <a:pt x="2428" y="12789"/>
                    <a:pt x="2691" y="12874"/>
                    <a:pt x="2981" y="12874"/>
                  </a:cubicBezTo>
                  <a:cubicBezTo>
                    <a:pt x="3325" y="12874"/>
                    <a:pt x="3708" y="12754"/>
                    <a:pt x="4064" y="12754"/>
                  </a:cubicBezTo>
                  <a:cubicBezTo>
                    <a:pt x="4639" y="12754"/>
                    <a:pt x="4975" y="12984"/>
                    <a:pt x="5400" y="13274"/>
                  </a:cubicBezTo>
                  <a:cubicBezTo>
                    <a:pt x="5907" y="13619"/>
                    <a:pt x="6537" y="14050"/>
                    <a:pt x="7609" y="14050"/>
                  </a:cubicBezTo>
                  <a:lnTo>
                    <a:pt x="7611" y="14050"/>
                  </a:lnTo>
                  <a:cubicBezTo>
                    <a:pt x="8683" y="14050"/>
                    <a:pt x="9315" y="13620"/>
                    <a:pt x="9821" y="13274"/>
                  </a:cubicBezTo>
                  <a:cubicBezTo>
                    <a:pt x="10247" y="12984"/>
                    <a:pt x="10581" y="12754"/>
                    <a:pt x="11156" y="12754"/>
                  </a:cubicBezTo>
                  <a:cubicBezTo>
                    <a:pt x="11621" y="12754"/>
                    <a:pt x="11881" y="12881"/>
                    <a:pt x="12228" y="12881"/>
                  </a:cubicBezTo>
                  <a:cubicBezTo>
                    <a:pt x="12647" y="12881"/>
                    <a:pt x="12874" y="12660"/>
                    <a:pt x="12991" y="12474"/>
                  </a:cubicBezTo>
                  <a:cubicBezTo>
                    <a:pt x="13088" y="12318"/>
                    <a:pt x="13139" y="12136"/>
                    <a:pt x="13189" y="11920"/>
                  </a:cubicBezTo>
                  <a:cubicBezTo>
                    <a:pt x="13880" y="11765"/>
                    <a:pt x="14328" y="11752"/>
                    <a:pt x="14673" y="11590"/>
                  </a:cubicBezTo>
                  <a:cubicBezTo>
                    <a:pt x="15027" y="11425"/>
                    <a:pt x="15221" y="11119"/>
                    <a:pt x="15221" y="10730"/>
                  </a:cubicBezTo>
                  <a:cubicBezTo>
                    <a:pt x="15221" y="10337"/>
                    <a:pt x="15020" y="9999"/>
                    <a:pt x="14625" y="9723"/>
                  </a:cubicBezTo>
                  <a:cubicBezTo>
                    <a:pt x="13769" y="9124"/>
                    <a:pt x="12136" y="8885"/>
                    <a:pt x="12048" y="7717"/>
                  </a:cubicBezTo>
                  <a:cubicBezTo>
                    <a:pt x="12143" y="7664"/>
                    <a:pt x="12313" y="7595"/>
                    <a:pt x="12435" y="7547"/>
                  </a:cubicBezTo>
                  <a:cubicBezTo>
                    <a:pt x="12918" y="7355"/>
                    <a:pt x="13728" y="7031"/>
                    <a:pt x="13728" y="6187"/>
                  </a:cubicBezTo>
                  <a:cubicBezTo>
                    <a:pt x="13728" y="5593"/>
                    <a:pt x="13215" y="5159"/>
                    <a:pt x="12509" y="5159"/>
                  </a:cubicBezTo>
                  <a:cubicBezTo>
                    <a:pt x="12306" y="5159"/>
                    <a:pt x="12044" y="5225"/>
                    <a:pt x="11754" y="5288"/>
                  </a:cubicBezTo>
                  <a:cubicBezTo>
                    <a:pt x="11768" y="5041"/>
                    <a:pt x="11782" y="4714"/>
                    <a:pt x="11782" y="4280"/>
                  </a:cubicBezTo>
                  <a:cubicBezTo>
                    <a:pt x="11782" y="2246"/>
                    <a:pt x="10822" y="1211"/>
                    <a:pt x="10017" y="700"/>
                  </a:cubicBezTo>
                  <a:cubicBezTo>
                    <a:pt x="9076" y="105"/>
                    <a:pt x="8037" y="13"/>
                    <a:pt x="7634"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1414" name="Google Shape;11414;p115"/>
            <p:cNvSpPr/>
            <p:nvPr/>
          </p:nvSpPr>
          <p:spPr>
            <a:xfrm>
              <a:off x="4500573" y="2571753"/>
              <a:ext cx="417024" cy="417024"/>
            </a:xfrm>
            <a:custGeom>
              <a:avLst/>
              <a:gdLst/>
              <a:ahLst/>
              <a:cxnLst/>
              <a:rect l="l" t="t" r="r" b="b"/>
              <a:pathLst>
                <a:path w="19982" h="19982" extrusionOk="0">
                  <a:moveTo>
                    <a:pt x="17017" y="1172"/>
                  </a:moveTo>
                  <a:cubicBezTo>
                    <a:pt x="17990" y="1172"/>
                    <a:pt x="18812" y="1975"/>
                    <a:pt x="18812" y="2927"/>
                  </a:cubicBezTo>
                  <a:lnTo>
                    <a:pt x="18812" y="17017"/>
                  </a:lnTo>
                  <a:cubicBezTo>
                    <a:pt x="18812" y="17990"/>
                    <a:pt x="17990" y="18811"/>
                    <a:pt x="17017" y="18811"/>
                  </a:cubicBezTo>
                  <a:lnTo>
                    <a:pt x="2966" y="18811"/>
                  </a:lnTo>
                  <a:cubicBezTo>
                    <a:pt x="1993" y="18811"/>
                    <a:pt x="1172" y="17990"/>
                    <a:pt x="1172" y="17017"/>
                  </a:cubicBezTo>
                  <a:lnTo>
                    <a:pt x="1172" y="2927"/>
                  </a:lnTo>
                  <a:cubicBezTo>
                    <a:pt x="1172" y="1975"/>
                    <a:pt x="1993" y="1172"/>
                    <a:pt x="2966" y="1172"/>
                  </a:cubicBezTo>
                  <a:close/>
                  <a:moveTo>
                    <a:pt x="2966" y="1"/>
                  </a:moveTo>
                  <a:cubicBezTo>
                    <a:pt x="1349" y="1"/>
                    <a:pt x="1" y="1310"/>
                    <a:pt x="1" y="2927"/>
                  </a:cubicBezTo>
                  <a:lnTo>
                    <a:pt x="1" y="17015"/>
                  </a:lnTo>
                  <a:cubicBezTo>
                    <a:pt x="1" y="18636"/>
                    <a:pt x="1349" y="19982"/>
                    <a:pt x="2966" y="19982"/>
                  </a:cubicBezTo>
                  <a:lnTo>
                    <a:pt x="17017" y="19982"/>
                  </a:lnTo>
                  <a:cubicBezTo>
                    <a:pt x="18635" y="19982"/>
                    <a:pt x="19982" y="18634"/>
                    <a:pt x="19982" y="17015"/>
                  </a:cubicBezTo>
                  <a:lnTo>
                    <a:pt x="19982" y="2927"/>
                  </a:lnTo>
                  <a:cubicBezTo>
                    <a:pt x="19982" y="1310"/>
                    <a:pt x="18635" y="1"/>
                    <a:pt x="17017"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11415" name="Google Shape;11415;p115"/>
          <p:cNvGrpSpPr/>
          <p:nvPr/>
        </p:nvGrpSpPr>
        <p:grpSpPr>
          <a:xfrm>
            <a:off x="5028575" y="5007249"/>
            <a:ext cx="543188" cy="543188"/>
            <a:chOff x="5012603" y="2571753"/>
            <a:chExt cx="417024" cy="417024"/>
          </a:xfrm>
        </p:grpSpPr>
        <p:sp>
          <p:nvSpPr>
            <p:cNvPr id="11416" name="Google Shape;11416;p115"/>
            <p:cNvSpPr/>
            <p:nvPr/>
          </p:nvSpPr>
          <p:spPr>
            <a:xfrm>
              <a:off x="5133124" y="2631210"/>
              <a:ext cx="180818" cy="300048"/>
            </a:xfrm>
            <a:custGeom>
              <a:avLst/>
              <a:gdLst/>
              <a:ahLst/>
              <a:cxnLst/>
              <a:rect l="l" t="t" r="r" b="b"/>
              <a:pathLst>
                <a:path w="8664" h="14377" extrusionOk="0">
                  <a:moveTo>
                    <a:pt x="4683" y="1171"/>
                  </a:moveTo>
                  <a:lnTo>
                    <a:pt x="4683" y="3395"/>
                  </a:lnTo>
                  <a:cubicBezTo>
                    <a:pt x="4683" y="3719"/>
                    <a:pt x="4945" y="3980"/>
                    <a:pt x="5269" y="3980"/>
                  </a:cubicBezTo>
                  <a:lnTo>
                    <a:pt x="7493" y="3980"/>
                  </a:lnTo>
                  <a:lnTo>
                    <a:pt x="7493" y="5620"/>
                  </a:lnTo>
                  <a:lnTo>
                    <a:pt x="5269" y="5620"/>
                  </a:lnTo>
                  <a:cubicBezTo>
                    <a:pt x="4945" y="5620"/>
                    <a:pt x="4683" y="5882"/>
                    <a:pt x="4683" y="6206"/>
                  </a:cubicBezTo>
                  <a:lnTo>
                    <a:pt x="4683" y="9859"/>
                  </a:lnTo>
                  <a:cubicBezTo>
                    <a:pt x="4683" y="10227"/>
                    <a:pt x="4706" y="10648"/>
                    <a:pt x="4975" y="10986"/>
                  </a:cubicBezTo>
                  <a:cubicBezTo>
                    <a:pt x="5327" y="11423"/>
                    <a:pt x="5899" y="11474"/>
                    <a:pt x="6299" y="11474"/>
                  </a:cubicBezTo>
                  <a:lnTo>
                    <a:pt x="7494" y="11474"/>
                  </a:lnTo>
                  <a:lnTo>
                    <a:pt x="7494" y="13158"/>
                  </a:lnTo>
                  <a:cubicBezTo>
                    <a:pt x="7137" y="13183"/>
                    <a:pt x="6635" y="13207"/>
                    <a:pt x="6113" y="13207"/>
                  </a:cubicBezTo>
                  <a:cubicBezTo>
                    <a:pt x="3848" y="13207"/>
                    <a:pt x="3044" y="11806"/>
                    <a:pt x="3044" y="10607"/>
                  </a:cubicBezTo>
                  <a:lnTo>
                    <a:pt x="3044" y="6206"/>
                  </a:lnTo>
                  <a:cubicBezTo>
                    <a:pt x="3044" y="5882"/>
                    <a:pt x="2782" y="5620"/>
                    <a:pt x="2460" y="5620"/>
                  </a:cubicBezTo>
                  <a:lnTo>
                    <a:pt x="1172" y="5620"/>
                  </a:lnTo>
                  <a:lnTo>
                    <a:pt x="1172" y="4090"/>
                  </a:lnTo>
                  <a:cubicBezTo>
                    <a:pt x="2035" y="3913"/>
                    <a:pt x="2690" y="3487"/>
                    <a:pt x="3120" y="2820"/>
                  </a:cubicBezTo>
                  <a:cubicBezTo>
                    <a:pt x="3463" y="2289"/>
                    <a:pt x="3608" y="1697"/>
                    <a:pt x="3703" y="1171"/>
                  </a:cubicBezTo>
                  <a:close/>
                  <a:moveTo>
                    <a:pt x="3208" y="0"/>
                  </a:moveTo>
                  <a:cubicBezTo>
                    <a:pt x="2922" y="0"/>
                    <a:pt x="2677" y="207"/>
                    <a:pt x="2631" y="490"/>
                  </a:cubicBezTo>
                  <a:cubicBezTo>
                    <a:pt x="2409" y="1822"/>
                    <a:pt x="2209" y="2861"/>
                    <a:pt x="537" y="3000"/>
                  </a:cubicBezTo>
                  <a:cubicBezTo>
                    <a:pt x="234" y="3025"/>
                    <a:pt x="1" y="3278"/>
                    <a:pt x="1" y="3582"/>
                  </a:cubicBezTo>
                  <a:lnTo>
                    <a:pt x="1" y="6206"/>
                  </a:lnTo>
                  <a:cubicBezTo>
                    <a:pt x="1" y="6529"/>
                    <a:pt x="263" y="6791"/>
                    <a:pt x="586" y="6791"/>
                  </a:cubicBezTo>
                  <a:lnTo>
                    <a:pt x="1874" y="6791"/>
                  </a:lnTo>
                  <a:lnTo>
                    <a:pt x="1874" y="10607"/>
                  </a:lnTo>
                  <a:cubicBezTo>
                    <a:pt x="1874" y="12618"/>
                    <a:pt x="3355" y="14377"/>
                    <a:pt x="6111" y="14377"/>
                  </a:cubicBezTo>
                  <a:cubicBezTo>
                    <a:pt x="7158" y="14377"/>
                    <a:pt x="8098" y="14285"/>
                    <a:pt x="8137" y="14281"/>
                  </a:cubicBezTo>
                  <a:cubicBezTo>
                    <a:pt x="8436" y="14251"/>
                    <a:pt x="8664" y="14000"/>
                    <a:pt x="8664" y="13699"/>
                  </a:cubicBezTo>
                  <a:lnTo>
                    <a:pt x="8664" y="10888"/>
                  </a:lnTo>
                  <a:cubicBezTo>
                    <a:pt x="8664" y="10565"/>
                    <a:pt x="8402" y="10303"/>
                    <a:pt x="8078" y="10303"/>
                  </a:cubicBezTo>
                  <a:lnTo>
                    <a:pt x="6299" y="10303"/>
                  </a:lnTo>
                  <a:cubicBezTo>
                    <a:pt x="5828" y="10303"/>
                    <a:pt x="5855" y="10292"/>
                    <a:pt x="5855" y="9859"/>
                  </a:cubicBezTo>
                  <a:lnTo>
                    <a:pt x="5855" y="6791"/>
                  </a:lnTo>
                  <a:lnTo>
                    <a:pt x="8078" y="6791"/>
                  </a:lnTo>
                  <a:cubicBezTo>
                    <a:pt x="8402" y="6791"/>
                    <a:pt x="8664" y="6529"/>
                    <a:pt x="8664" y="6206"/>
                  </a:cubicBezTo>
                  <a:lnTo>
                    <a:pt x="8664" y="3397"/>
                  </a:lnTo>
                  <a:cubicBezTo>
                    <a:pt x="8664" y="3073"/>
                    <a:pt x="8402" y="2811"/>
                    <a:pt x="8078" y="2811"/>
                  </a:cubicBezTo>
                  <a:lnTo>
                    <a:pt x="5855" y="2811"/>
                  </a:lnTo>
                  <a:lnTo>
                    <a:pt x="5855" y="586"/>
                  </a:lnTo>
                  <a:cubicBezTo>
                    <a:pt x="5855" y="262"/>
                    <a:pt x="5593" y="0"/>
                    <a:pt x="5269"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1417" name="Google Shape;11417;p115"/>
            <p:cNvSpPr/>
            <p:nvPr/>
          </p:nvSpPr>
          <p:spPr>
            <a:xfrm>
              <a:off x="5012603" y="2571753"/>
              <a:ext cx="417024" cy="417024"/>
            </a:xfrm>
            <a:custGeom>
              <a:avLst/>
              <a:gdLst/>
              <a:ahLst/>
              <a:cxnLst/>
              <a:rect l="l" t="t" r="r" b="b"/>
              <a:pathLst>
                <a:path w="19982" h="19982" extrusionOk="0">
                  <a:moveTo>
                    <a:pt x="17053" y="1172"/>
                  </a:moveTo>
                  <a:cubicBezTo>
                    <a:pt x="18007" y="1172"/>
                    <a:pt x="18810" y="1993"/>
                    <a:pt x="18810" y="2966"/>
                  </a:cubicBezTo>
                  <a:lnTo>
                    <a:pt x="18810" y="17017"/>
                  </a:lnTo>
                  <a:cubicBezTo>
                    <a:pt x="18810" y="17990"/>
                    <a:pt x="18007" y="18811"/>
                    <a:pt x="17053" y="18811"/>
                  </a:cubicBezTo>
                  <a:lnTo>
                    <a:pt x="2965" y="18811"/>
                  </a:lnTo>
                  <a:cubicBezTo>
                    <a:pt x="1992" y="18811"/>
                    <a:pt x="1169" y="17990"/>
                    <a:pt x="1169" y="17017"/>
                  </a:cubicBezTo>
                  <a:lnTo>
                    <a:pt x="1169" y="2966"/>
                  </a:lnTo>
                  <a:cubicBezTo>
                    <a:pt x="1169" y="1993"/>
                    <a:pt x="1992" y="1172"/>
                    <a:pt x="2965" y="1172"/>
                  </a:cubicBezTo>
                  <a:close/>
                  <a:moveTo>
                    <a:pt x="2965" y="1"/>
                  </a:moveTo>
                  <a:cubicBezTo>
                    <a:pt x="1346" y="1"/>
                    <a:pt x="0" y="1349"/>
                    <a:pt x="0" y="2966"/>
                  </a:cubicBezTo>
                  <a:lnTo>
                    <a:pt x="0" y="17015"/>
                  </a:lnTo>
                  <a:cubicBezTo>
                    <a:pt x="0" y="18636"/>
                    <a:pt x="1348" y="19982"/>
                    <a:pt x="2965" y="19982"/>
                  </a:cubicBezTo>
                  <a:lnTo>
                    <a:pt x="17053" y="19982"/>
                  </a:lnTo>
                  <a:cubicBezTo>
                    <a:pt x="18672" y="19982"/>
                    <a:pt x="19981" y="18634"/>
                    <a:pt x="19981" y="17015"/>
                  </a:cubicBezTo>
                  <a:lnTo>
                    <a:pt x="19981" y="2966"/>
                  </a:lnTo>
                  <a:cubicBezTo>
                    <a:pt x="19981" y="1349"/>
                    <a:pt x="18672" y="1"/>
                    <a:pt x="17053"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sp>
        <p:nvSpPr>
          <p:cNvPr id="11418" name="Google Shape;11418;p115"/>
          <p:cNvSpPr/>
          <p:nvPr/>
        </p:nvSpPr>
        <p:spPr>
          <a:xfrm>
            <a:off x="6950386" y="4318470"/>
            <a:ext cx="543177" cy="543177"/>
          </a:xfrm>
          <a:custGeom>
            <a:avLst/>
            <a:gdLst/>
            <a:ahLst/>
            <a:cxnLst/>
            <a:rect l="l" t="t" r="r" b="b"/>
            <a:pathLst>
              <a:path w="19982" h="19982" extrusionOk="0">
                <a:moveTo>
                  <a:pt x="14602" y="3500"/>
                </a:moveTo>
                <a:cubicBezTo>
                  <a:pt x="15137" y="3500"/>
                  <a:pt x="15682" y="3563"/>
                  <a:pt x="16247" y="3689"/>
                </a:cubicBezTo>
                <a:cubicBezTo>
                  <a:pt x="16179" y="4154"/>
                  <a:pt x="16095" y="4705"/>
                  <a:pt x="16033" y="5120"/>
                </a:cubicBezTo>
                <a:cubicBezTo>
                  <a:pt x="15810" y="5075"/>
                  <a:pt x="15484" y="5035"/>
                  <a:pt x="15150" y="5035"/>
                </a:cubicBezTo>
                <a:cubicBezTo>
                  <a:pt x="14968" y="5035"/>
                  <a:pt x="14783" y="5047"/>
                  <a:pt x="14611" y="5076"/>
                </a:cubicBezTo>
                <a:cubicBezTo>
                  <a:pt x="13536" y="5258"/>
                  <a:pt x="12918" y="5925"/>
                  <a:pt x="12918" y="6907"/>
                </a:cubicBezTo>
                <a:lnTo>
                  <a:pt x="12918" y="8819"/>
                </a:lnTo>
                <a:cubicBezTo>
                  <a:pt x="12918" y="9143"/>
                  <a:pt x="13180" y="9405"/>
                  <a:pt x="13504" y="9405"/>
                </a:cubicBezTo>
                <a:lnTo>
                  <a:pt x="15681" y="9405"/>
                </a:lnTo>
                <a:lnTo>
                  <a:pt x="15388" y="10576"/>
                </a:lnTo>
                <a:lnTo>
                  <a:pt x="13504" y="10576"/>
                </a:lnTo>
                <a:cubicBezTo>
                  <a:pt x="13180" y="10576"/>
                  <a:pt x="12918" y="10838"/>
                  <a:pt x="12918" y="11161"/>
                </a:cubicBezTo>
                <a:lnTo>
                  <a:pt x="12918" y="18811"/>
                </a:lnTo>
                <a:lnTo>
                  <a:pt x="11162" y="18811"/>
                </a:lnTo>
                <a:lnTo>
                  <a:pt x="11162" y="11161"/>
                </a:lnTo>
                <a:cubicBezTo>
                  <a:pt x="11162" y="10838"/>
                  <a:pt x="10900" y="10576"/>
                  <a:pt x="10576" y="10576"/>
                </a:cubicBezTo>
                <a:lnTo>
                  <a:pt x="9407" y="10576"/>
                </a:lnTo>
                <a:lnTo>
                  <a:pt x="9407" y="9405"/>
                </a:lnTo>
                <a:lnTo>
                  <a:pt x="10576" y="9405"/>
                </a:lnTo>
                <a:cubicBezTo>
                  <a:pt x="10900" y="9405"/>
                  <a:pt x="11162" y="9143"/>
                  <a:pt x="11162" y="8821"/>
                </a:cubicBezTo>
                <a:cubicBezTo>
                  <a:pt x="11162" y="7215"/>
                  <a:pt x="11162" y="6481"/>
                  <a:pt x="11162" y="6143"/>
                </a:cubicBezTo>
                <a:cubicBezTo>
                  <a:pt x="11162" y="5520"/>
                  <a:pt x="11163" y="4843"/>
                  <a:pt x="11770" y="4324"/>
                </a:cubicBezTo>
                <a:cubicBezTo>
                  <a:pt x="12234" y="3928"/>
                  <a:pt x="12823" y="3687"/>
                  <a:pt x="13628" y="3571"/>
                </a:cubicBezTo>
                <a:cubicBezTo>
                  <a:pt x="13950" y="3524"/>
                  <a:pt x="14274" y="3500"/>
                  <a:pt x="14602" y="3500"/>
                </a:cubicBezTo>
                <a:close/>
                <a:moveTo>
                  <a:pt x="17017" y="1170"/>
                </a:moveTo>
                <a:cubicBezTo>
                  <a:pt x="17990" y="1170"/>
                  <a:pt x="18811" y="1975"/>
                  <a:pt x="18811" y="2927"/>
                </a:cubicBezTo>
                <a:lnTo>
                  <a:pt x="18811" y="17056"/>
                </a:lnTo>
                <a:cubicBezTo>
                  <a:pt x="18811" y="18023"/>
                  <a:pt x="18024" y="18811"/>
                  <a:pt x="17056" y="18811"/>
                </a:cubicBezTo>
                <a:lnTo>
                  <a:pt x="14089" y="18811"/>
                </a:lnTo>
                <a:lnTo>
                  <a:pt x="14089" y="11747"/>
                </a:lnTo>
                <a:lnTo>
                  <a:pt x="15846" y="11747"/>
                </a:lnTo>
                <a:cubicBezTo>
                  <a:pt x="16115" y="11747"/>
                  <a:pt x="16348" y="11565"/>
                  <a:pt x="16414" y="11305"/>
                </a:cubicBezTo>
                <a:lnTo>
                  <a:pt x="16999" y="8963"/>
                </a:lnTo>
                <a:cubicBezTo>
                  <a:pt x="17042" y="8787"/>
                  <a:pt x="17003" y="8602"/>
                  <a:pt x="16893" y="8460"/>
                </a:cubicBezTo>
                <a:cubicBezTo>
                  <a:pt x="16782" y="8317"/>
                  <a:pt x="16612" y="8235"/>
                  <a:pt x="16431" y="8235"/>
                </a:cubicBezTo>
                <a:lnTo>
                  <a:pt x="14089" y="8235"/>
                </a:lnTo>
                <a:lnTo>
                  <a:pt x="14089" y="6909"/>
                </a:lnTo>
                <a:cubicBezTo>
                  <a:pt x="14089" y="6638"/>
                  <a:pt x="14144" y="6343"/>
                  <a:pt x="14808" y="6229"/>
                </a:cubicBezTo>
                <a:cubicBezTo>
                  <a:pt x="14936" y="6208"/>
                  <a:pt x="15061" y="6199"/>
                  <a:pt x="15182" y="6199"/>
                </a:cubicBezTo>
                <a:cubicBezTo>
                  <a:pt x="15552" y="6199"/>
                  <a:pt x="15890" y="6283"/>
                  <a:pt x="16198" y="6360"/>
                </a:cubicBezTo>
                <a:cubicBezTo>
                  <a:pt x="16304" y="6387"/>
                  <a:pt x="16415" y="6421"/>
                  <a:pt x="16532" y="6421"/>
                </a:cubicBezTo>
                <a:cubicBezTo>
                  <a:pt x="16632" y="6421"/>
                  <a:pt x="16736" y="6396"/>
                  <a:pt x="16847" y="6321"/>
                </a:cubicBezTo>
                <a:cubicBezTo>
                  <a:pt x="16983" y="6229"/>
                  <a:pt x="17074" y="6084"/>
                  <a:pt x="17098" y="5923"/>
                </a:cubicBezTo>
                <a:cubicBezTo>
                  <a:pt x="17098" y="5923"/>
                  <a:pt x="17362" y="4156"/>
                  <a:pt x="17482" y="3339"/>
                </a:cubicBezTo>
                <a:cubicBezTo>
                  <a:pt x="17525" y="3049"/>
                  <a:pt x="17346" y="2769"/>
                  <a:pt x="17063" y="2690"/>
                </a:cubicBezTo>
                <a:cubicBezTo>
                  <a:pt x="16267" y="2463"/>
                  <a:pt x="15346" y="2343"/>
                  <a:pt x="14504" y="2343"/>
                </a:cubicBezTo>
                <a:cubicBezTo>
                  <a:pt x="14137" y="2343"/>
                  <a:pt x="13786" y="2365"/>
                  <a:pt x="13467" y="2412"/>
                </a:cubicBezTo>
                <a:cubicBezTo>
                  <a:pt x="12434" y="2562"/>
                  <a:pt x="11646" y="2888"/>
                  <a:pt x="11009" y="3434"/>
                </a:cubicBezTo>
                <a:cubicBezTo>
                  <a:pt x="10121" y="4193"/>
                  <a:pt x="10010" y="5168"/>
                  <a:pt x="9999" y="5833"/>
                </a:cubicBezTo>
                <a:cubicBezTo>
                  <a:pt x="9999" y="5847"/>
                  <a:pt x="9999" y="7029"/>
                  <a:pt x="9999" y="8235"/>
                </a:cubicBezTo>
                <a:lnTo>
                  <a:pt x="8821" y="8235"/>
                </a:lnTo>
                <a:cubicBezTo>
                  <a:pt x="8497" y="8235"/>
                  <a:pt x="8236" y="8497"/>
                  <a:pt x="8236" y="8819"/>
                </a:cubicBezTo>
                <a:lnTo>
                  <a:pt x="8236" y="11161"/>
                </a:lnTo>
                <a:cubicBezTo>
                  <a:pt x="8236" y="11485"/>
                  <a:pt x="8497" y="11747"/>
                  <a:pt x="8821" y="11747"/>
                </a:cubicBezTo>
                <a:lnTo>
                  <a:pt x="9991" y="11747"/>
                </a:lnTo>
                <a:lnTo>
                  <a:pt x="9991" y="18811"/>
                </a:lnTo>
                <a:lnTo>
                  <a:pt x="2927" y="18811"/>
                </a:lnTo>
                <a:cubicBezTo>
                  <a:pt x="1959" y="18811"/>
                  <a:pt x="1172" y="18023"/>
                  <a:pt x="1172" y="17054"/>
                </a:cubicBezTo>
                <a:lnTo>
                  <a:pt x="1172" y="2927"/>
                </a:lnTo>
                <a:cubicBezTo>
                  <a:pt x="1172" y="1959"/>
                  <a:pt x="1959" y="1170"/>
                  <a:pt x="2927" y="1170"/>
                </a:cubicBezTo>
                <a:close/>
                <a:moveTo>
                  <a:pt x="2927" y="1"/>
                </a:moveTo>
                <a:cubicBezTo>
                  <a:pt x="1314" y="1"/>
                  <a:pt x="1" y="1313"/>
                  <a:pt x="1" y="2927"/>
                </a:cubicBezTo>
                <a:lnTo>
                  <a:pt x="1" y="17056"/>
                </a:lnTo>
                <a:cubicBezTo>
                  <a:pt x="1" y="18669"/>
                  <a:pt x="1314" y="19982"/>
                  <a:pt x="2927" y="19982"/>
                </a:cubicBezTo>
                <a:lnTo>
                  <a:pt x="17054" y="19982"/>
                </a:lnTo>
                <a:cubicBezTo>
                  <a:pt x="18669" y="19982"/>
                  <a:pt x="19982" y="18669"/>
                  <a:pt x="19982" y="17056"/>
                </a:cubicBezTo>
                <a:lnTo>
                  <a:pt x="19982" y="2927"/>
                </a:lnTo>
                <a:cubicBezTo>
                  <a:pt x="19982" y="2145"/>
                  <a:pt x="19669" y="1409"/>
                  <a:pt x="19101" y="853"/>
                </a:cubicBezTo>
                <a:cubicBezTo>
                  <a:pt x="18538" y="303"/>
                  <a:pt x="17797" y="1"/>
                  <a:pt x="17015"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nvGrpSpPr>
          <p:cNvPr id="11419" name="Google Shape;11419;p115"/>
          <p:cNvGrpSpPr/>
          <p:nvPr/>
        </p:nvGrpSpPr>
        <p:grpSpPr>
          <a:xfrm>
            <a:off x="7644439" y="4318387"/>
            <a:ext cx="543243" cy="543188"/>
            <a:chOff x="812101" y="2571761"/>
            <a:chExt cx="417066" cy="417024"/>
          </a:xfrm>
        </p:grpSpPr>
        <p:sp>
          <p:nvSpPr>
            <p:cNvPr id="11420" name="Google Shape;11420;p115"/>
            <p:cNvSpPr/>
            <p:nvPr/>
          </p:nvSpPr>
          <p:spPr>
            <a:xfrm>
              <a:off x="935084" y="2694744"/>
              <a:ext cx="171071" cy="171071"/>
            </a:xfrm>
            <a:custGeom>
              <a:avLst/>
              <a:gdLst/>
              <a:ahLst/>
              <a:cxnLst/>
              <a:rect l="l" t="t" r="r" b="b"/>
              <a:pathLst>
                <a:path w="8197" h="8197" extrusionOk="0">
                  <a:moveTo>
                    <a:pt x="4099" y="1171"/>
                  </a:moveTo>
                  <a:cubicBezTo>
                    <a:pt x="5712" y="1171"/>
                    <a:pt x="7027" y="2484"/>
                    <a:pt x="7027" y="4097"/>
                  </a:cubicBezTo>
                  <a:cubicBezTo>
                    <a:pt x="7027" y="5712"/>
                    <a:pt x="5712" y="7025"/>
                    <a:pt x="4099" y="7025"/>
                  </a:cubicBezTo>
                  <a:cubicBezTo>
                    <a:pt x="2486" y="7025"/>
                    <a:pt x="1171" y="5712"/>
                    <a:pt x="1171" y="4097"/>
                  </a:cubicBezTo>
                  <a:cubicBezTo>
                    <a:pt x="1171" y="2484"/>
                    <a:pt x="2486" y="1171"/>
                    <a:pt x="4099" y="1171"/>
                  </a:cubicBezTo>
                  <a:close/>
                  <a:moveTo>
                    <a:pt x="4099" y="0"/>
                  </a:moveTo>
                  <a:cubicBezTo>
                    <a:pt x="1840" y="0"/>
                    <a:pt x="0" y="1838"/>
                    <a:pt x="0" y="4097"/>
                  </a:cubicBezTo>
                  <a:cubicBezTo>
                    <a:pt x="0" y="6358"/>
                    <a:pt x="1840" y="8196"/>
                    <a:pt x="4099" y="8196"/>
                  </a:cubicBezTo>
                  <a:cubicBezTo>
                    <a:pt x="6358" y="8196"/>
                    <a:pt x="8196" y="6358"/>
                    <a:pt x="8196" y="4097"/>
                  </a:cubicBezTo>
                  <a:cubicBezTo>
                    <a:pt x="8196" y="1838"/>
                    <a:pt x="6358" y="0"/>
                    <a:pt x="4099"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1421" name="Google Shape;11421;p115"/>
            <p:cNvSpPr/>
            <p:nvPr/>
          </p:nvSpPr>
          <p:spPr>
            <a:xfrm>
              <a:off x="860977" y="2620616"/>
              <a:ext cx="319311" cy="319290"/>
            </a:xfrm>
            <a:custGeom>
              <a:avLst/>
              <a:gdLst/>
              <a:ahLst/>
              <a:cxnLst/>
              <a:rect l="l" t="t" r="r" b="b"/>
              <a:pathLst>
                <a:path w="15300" h="15299" extrusionOk="0">
                  <a:moveTo>
                    <a:pt x="12333" y="1171"/>
                  </a:moveTo>
                  <a:cubicBezTo>
                    <a:pt x="13306" y="1171"/>
                    <a:pt x="14128" y="1994"/>
                    <a:pt x="14128" y="2967"/>
                  </a:cubicBezTo>
                  <a:lnTo>
                    <a:pt x="14128" y="12334"/>
                  </a:lnTo>
                  <a:cubicBezTo>
                    <a:pt x="14128" y="13307"/>
                    <a:pt x="13306" y="14129"/>
                    <a:pt x="12333" y="14129"/>
                  </a:cubicBezTo>
                  <a:lnTo>
                    <a:pt x="2968" y="14129"/>
                  </a:lnTo>
                  <a:cubicBezTo>
                    <a:pt x="1993" y="14129"/>
                    <a:pt x="1172" y="13307"/>
                    <a:pt x="1172" y="12334"/>
                  </a:cubicBezTo>
                  <a:lnTo>
                    <a:pt x="1172" y="2967"/>
                  </a:lnTo>
                  <a:cubicBezTo>
                    <a:pt x="1172" y="1994"/>
                    <a:pt x="1993" y="1171"/>
                    <a:pt x="2968" y="1171"/>
                  </a:cubicBezTo>
                  <a:close/>
                  <a:moveTo>
                    <a:pt x="2968" y="0"/>
                  </a:moveTo>
                  <a:cubicBezTo>
                    <a:pt x="1351" y="0"/>
                    <a:pt x="1" y="1346"/>
                    <a:pt x="1" y="2967"/>
                  </a:cubicBezTo>
                  <a:lnTo>
                    <a:pt x="1" y="12334"/>
                  </a:lnTo>
                  <a:cubicBezTo>
                    <a:pt x="1" y="13952"/>
                    <a:pt x="1349" y="15299"/>
                    <a:pt x="2968" y="15299"/>
                  </a:cubicBezTo>
                  <a:lnTo>
                    <a:pt x="12333" y="15299"/>
                  </a:lnTo>
                  <a:cubicBezTo>
                    <a:pt x="13953" y="15299"/>
                    <a:pt x="15299" y="13951"/>
                    <a:pt x="15299" y="12334"/>
                  </a:cubicBezTo>
                  <a:lnTo>
                    <a:pt x="15299" y="2967"/>
                  </a:lnTo>
                  <a:cubicBezTo>
                    <a:pt x="15299" y="1345"/>
                    <a:pt x="13948" y="0"/>
                    <a:pt x="12333"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1422" name="Google Shape;11422;p115"/>
            <p:cNvSpPr/>
            <p:nvPr/>
          </p:nvSpPr>
          <p:spPr>
            <a:xfrm>
              <a:off x="812101" y="2571761"/>
              <a:ext cx="417066" cy="417024"/>
            </a:xfrm>
            <a:custGeom>
              <a:avLst/>
              <a:gdLst/>
              <a:ahLst/>
              <a:cxnLst/>
              <a:rect l="l" t="t" r="r" b="b"/>
              <a:pathLst>
                <a:path w="19984" h="19982" extrusionOk="0">
                  <a:moveTo>
                    <a:pt x="17056" y="1172"/>
                  </a:moveTo>
                  <a:cubicBezTo>
                    <a:pt x="18025" y="1172"/>
                    <a:pt x="18812" y="1959"/>
                    <a:pt x="18812" y="2927"/>
                  </a:cubicBezTo>
                  <a:lnTo>
                    <a:pt x="18812" y="17056"/>
                  </a:lnTo>
                  <a:cubicBezTo>
                    <a:pt x="18812" y="18023"/>
                    <a:pt x="18025" y="18811"/>
                    <a:pt x="17056" y="18811"/>
                  </a:cubicBezTo>
                  <a:lnTo>
                    <a:pt x="2928" y="18811"/>
                  </a:lnTo>
                  <a:cubicBezTo>
                    <a:pt x="1961" y="18811"/>
                    <a:pt x="1172" y="18023"/>
                    <a:pt x="1172" y="17056"/>
                  </a:cubicBezTo>
                  <a:lnTo>
                    <a:pt x="1172" y="2927"/>
                  </a:lnTo>
                  <a:cubicBezTo>
                    <a:pt x="1172" y="1959"/>
                    <a:pt x="1961" y="1172"/>
                    <a:pt x="2928" y="1172"/>
                  </a:cubicBezTo>
                  <a:close/>
                  <a:moveTo>
                    <a:pt x="2928" y="1"/>
                  </a:moveTo>
                  <a:cubicBezTo>
                    <a:pt x="1313" y="1"/>
                    <a:pt x="1" y="1313"/>
                    <a:pt x="1" y="2927"/>
                  </a:cubicBezTo>
                  <a:lnTo>
                    <a:pt x="1" y="17056"/>
                  </a:lnTo>
                  <a:cubicBezTo>
                    <a:pt x="1" y="18669"/>
                    <a:pt x="1313" y="19982"/>
                    <a:pt x="2928" y="19982"/>
                  </a:cubicBezTo>
                  <a:lnTo>
                    <a:pt x="17056" y="19982"/>
                  </a:lnTo>
                  <a:cubicBezTo>
                    <a:pt x="18669" y="19982"/>
                    <a:pt x="19984" y="18669"/>
                    <a:pt x="19984" y="17056"/>
                  </a:cubicBezTo>
                  <a:lnTo>
                    <a:pt x="19984" y="2927"/>
                  </a:lnTo>
                  <a:cubicBezTo>
                    <a:pt x="19984" y="1313"/>
                    <a:pt x="18669" y="1"/>
                    <a:pt x="17056"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1423" name="Google Shape;11423;p115"/>
            <p:cNvSpPr/>
            <p:nvPr/>
          </p:nvSpPr>
          <p:spPr>
            <a:xfrm>
              <a:off x="1081712" y="2670306"/>
              <a:ext cx="48878" cy="48898"/>
            </a:xfrm>
            <a:custGeom>
              <a:avLst/>
              <a:gdLst/>
              <a:ahLst/>
              <a:cxnLst/>
              <a:rect l="l" t="t" r="r" b="b"/>
              <a:pathLst>
                <a:path w="2342" h="2343" extrusionOk="0">
                  <a:moveTo>
                    <a:pt x="1170" y="0"/>
                  </a:moveTo>
                  <a:cubicBezTo>
                    <a:pt x="524" y="0"/>
                    <a:pt x="1" y="526"/>
                    <a:pt x="1" y="1171"/>
                  </a:cubicBezTo>
                  <a:cubicBezTo>
                    <a:pt x="1" y="1817"/>
                    <a:pt x="524" y="2342"/>
                    <a:pt x="1170" y="2342"/>
                  </a:cubicBezTo>
                  <a:cubicBezTo>
                    <a:pt x="1816" y="2342"/>
                    <a:pt x="2341" y="1817"/>
                    <a:pt x="2341" y="1171"/>
                  </a:cubicBezTo>
                  <a:cubicBezTo>
                    <a:pt x="2341" y="526"/>
                    <a:pt x="1816" y="0"/>
                    <a:pt x="1170"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11424" name="Google Shape;11424;p115"/>
          <p:cNvGrpSpPr/>
          <p:nvPr/>
        </p:nvGrpSpPr>
        <p:grpSpPr>
          <a:xfrm>
            <a:off x="8338565" y="4318387"/>
            <a:ext cx="543188" cy="543188"/>
            <a:chOff x="1323129" y="2571761"/>
            <a:chExt cx="417024" cy="417024"/>
          </a:xfrm>
        </p:grpSpPr>
        <p:sp>
          <p:nvSpPr>
            <p:cNvPr id="11425" name="Google Shape;11425;p115"/>
            <p:cNvSpPr/>
            <p:nvPr/>
          </p:nvSpPr>
          <p:spPr>
            <a:xfrm>
              <a:off x="1385007" y="2719183"/>
              <a:ext cx="73337" cy="219907"/>
            </a:xfrm>
            <a:custGeom>
              <a:avLst/>
              <a:gdLst/>
              <a:ahLst/>
              <a:cxnLst/>
              <a:rect l="l" t="t" r="r" b="b"/>
              <a:pathLst>
                <a:path w="3514" h="10537" extrusionOk="0">
                  <a:moveTo>
                    <a:pt x="2342" y="1171"/>
                  </a:moveTo>
                  <a:lnTo>
                    <a:pt x="2342" y="9367"/>
                  </a:lnTo>
                  <a:lnTo>
                    <a:pt x="1171" y="9367"/>
                  </a:lnTo>
                  <a:lnTo>
                    <a:pt x="1171" y="1171"/>
                  </a:lnTo>
                  <a:close/>
                  <a:moveTo>
                    <a:pt x="586" y="0"/>
                  </a:moveTo>
                  <a:cubicBezTo>
                    <a:pt x="264" y="0"/>
                    <a:pt x="0" y="262"/>
                    <a:pt x="0" y="586"/>
                  </a:cubicBezTo>
                  <a:lnTo>
                    <a:pt x="0" y="9951"/>
                  </a:lnTo>
                  <a:cubicBezTo>
                    <a:pt x="0" y="10275"/>
                    <a:pt x="264" y="10537"/>
                    <a:pt x="586" y="10537"/>
                  </a:cubicBezTo>
                  <a:lnTo>
                    <a:pt x="2928" y="10537"/>
                  </a:lnTo>
                  <a:cubicBezTo>
                    <a:pt x="3252" y="10537"/>
                    <a:pt x="3514" y="10275"/>
                    <a:pt x="3514" y="9951"/>
                  </a:cubicBezTo>
                  <a:lnTo>
                    <a:pt x="3514" y="586"/>
                  </a:lnTo>
                  <a:cubicBezTo>
                    <a:pt x="3514" y="262"/>
                    <a:pt x="3252" y="0"/>
                    <a:pt x="2928"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1426" name="Google Shape;11426;p115"/>
            <p:cNvSpPr/>
            <p:nvPr/>
          </p:nvSpPr>
          <p:spPr>
            <a:xfrm>
              <a:off x="1385007" y="2621430"/>
              <a:ext cx="73337" cy="73337"/>
            </a:xfrm>
            <a:custGeom>
              <a:avLst/>
              <a:gdLst/>
              <a:ahLst/>
              <a:cxnLst/>
              <a:rect l="l" t="t" r="r" b="b"/>
              <a:pathLst>
                <a:path w="3514" h="3514" extrusionOk="0">
                  <a:moveTo>
                    <a:pt x="1757" y="1171"/>
                  </a:moveTo>
                  <a:cubicBezTo>
                    <a:pt x="2081" y="1171"/>
                    <a:pt x="2342" y="1435"/>
                    <a:pt x="2342" y="1757"/>
                  </a:cubicBezTo>
                  <a:cubicBezTo>
                    <a:pt x="2342" y="2080"/>
                    <a:pt x="2081" y="2342"/>
                    <a:pt x="1757" y="2342"/>
                  </a:cubicBezTo>
                  <a:cubicBezTo>
                    <a:pt x="1435" y="2342"/>
                    <a:pt x="1171" y="2080"/>
                    <a:pt x="1171" y="1757"/>
                  </a:cubicBezTo>
                  <a:cubicBezTo>
                    <a:pt x="1171" y="1435"/>
                    <a:pt x="1435" y="1171"/>
                    <a:pt x="1757" y="1171"/>
                  </a:cubicBezTo>
                  <a:close/>
                  <a:moveTo>
                    <a:pt x="1757" y="0"/>
                  </a:moveTo>
                  <a:cubicBezTo>
                    <a:pt x="789" y="0"/>
                    <a:pt x="0" y="789"/>
                    <a:pt x="0" y="1757"/>
                  </a:cubicBezTo>
                  <a:cubicBezTo>
                    <a:pt x="0" y="2726"/>
                    <a:pt x="789" y="3513"/>
                    <a:pt x="1757" y="3513"/>
                  </a:cubicBezTo>
                  <a:cubicBezTo>
                    <a:pt x="2726" y="3513"/>
                    <a:pt x="3514" y="2726"/>
                    <a:pt x="3514" y="1757"/>
                  </a:cubicBezTo>
                  <a:cubicBezTo>
                    <a:pt x="3514" y="789"/>
                    <a:pt x="2726" y="0"/>
                    <a:pt x="1757"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1427" name="Google Shape;11427;p115"/>
            <p:cNvSpPr/>
            <p:nvPr/>
          </p:nvSpPr>
          <p:spPr>
            <a:xfrm>
              <a:off x="1482759" y="2718786"/>
              <a:ext cx="195510" cy="220304"/>
            </a:xfrm>
            <a:custGeom>
              <a:avLst/>
              <a:gdLst/>
              <a:ahLst/>
              <a:cxnLst/>
              <a:rect l="l" t="t" r="r" b="b"/>
              <a:pathLst>
                <a:path w="9368" h="10556" extrusionOk="0">
                  <a:moveTo>
                    <a:pt x="5559" y="1173"/>
                  </a:moveTo>
                  <a:cubicBezTo>
                    <a:pt x="5720" y="1173"/>
                    <a:pt x="5883" y="1186"/>
                    <a:pt x="6044" y="1212"/>
                  </a:cubicBezTo>
                  <a:cubicBezTo>
                    <a:pt x="7422" y="1435"/>
                    <a:pt x="8196" y="2535"/>
                    <a:pt x="8196" y="3669"/>
                  </a:cubicBezTo>
                  <a:lnTo>
                    <a:pt x="8196" y="9386"/>
                  </a:lnTo>
                  <a:lnTo>
                    <a:pt x="7025" y="9386"/>
                  </a:lnTo>
                  <a:lnTo>
                    <a:pt x="7025" y="4702"/>
                  </a:lnTo>
                  <a:cubicBezTo>
                    <a:pt x="7025" y="3411"/>
                    <a:pt x="5975" y="2360"/>
                    <a:pt x="4683" y="2360"/>
                  </a:cubicBezTo>
                  <a:cubicBezTo>
                    <a:pt x="3392" y="2360"/>
                    <a:pt x="2341" y="3411"/>
                    <a:pt x="2341" y="4702"/>
                  </a:cubicBezTo>
                  <a:lnTo>
                    <a:pt x="2341" y="9386"/>
                  </a:lnTo>
                  <a:lnTo>
                    <a:pt x="1170" y="9386"/>
                  </a:lnTo>
                  <a:lnTo>
                    <a:pt x="1170" y="1190"/>
                  </a:lnTo>
                  <a:lnTo>
                    <a:pt x="2341" y="1190"/>
                  </a:lnTo>
                  <a:lnTo>
                    <a:pt x="2341" y="1776"/>
                  </a:lnTo>
                  <a:cubicBezTo>
                    <a:pt x="2341" y="2011"/>
                    <a:pt x="2484" y="2225"/>
                    <a:pt x="2704" y="2316"/>
                  </a:cubicBezTo>
                  <a:cubicBezTo>
                    <a:pt x="2776" y="2346"/>
                    <a:pt x="2852" y="2361"/>
                    <a:pt x="2928" y="2361"/>
                  </a:cubicBezTo>
                  <a:cubicBezTo>
                    <a:pt x="3080" y="2361"/>
                    <a:pt x="3229" y="2301"/>
                    <a:pt x="3341" y="2190"/>
                  </a:cubicBezTo>
                  <a:lnTo>
                    <a:pt x="3615" y="1916"/>
                  </a:lnTo>
                  <a:cubicBezTo>
                    <a:pt x="4086" y="1443"/>
                    <a:pt x="4813" y="1173"/>
                    <a:pt x="5559" y="1173"/>
                  </a:cubicBezTo>
                  <a:close/>
                  <a:moveTo>
                    <a:pt x="5553" y="0"/>
                  </a:moveTo>
                  <a:cubicBezTo>
                    <a:pt x="4823" y="0"/>
                    <a:pt x="4110" y="189"/>
                    <a:pt x="3509" y="536"/>
                  </a:cubicBezTo>
                  <a:cubicBezTo>
                    <a:pt x="3475" y="246"/>
                    <a:pt x="3227" y="19"/>
                    <a:pt x="2927" y="19"/>
                  </a:cubicBezTo>
                  <a:lnTo>
                    <a:pt x="586" y="19"/>
                  </a:lnTo>
                  <a:cubicBezTo>
                    <a:pt x="262" y="19"/>
                    <a:pt x="1" y="281"/>
                    <a:pt x="1" y="605"/>
                  </a:cubicBezTo>
                  <a:lnTo>
                    <a:pt x="1" y="9970"/>
                  </a:lnTo>
                  <a:cubicBezTo>
                    <a:pt x="1" y="10294"/>
                    <a:pt x="262" y="10556"/>
                    <a:pt x="586" y="10556"/>
                  </a:cubicBezTo>
                  <a:lnTo>
                    <a:pt x="2927" y="10556"/>
                  </a:lnTo>
                  <a:cubicBezTo>
                    <a:pt x="3250" y="10556"/>
                    <a:pt x="3512" y="10294"/>
                    <a:pt x="3512" y="9970"/>
                  </a:cubicBezTo>
                  <a:lnTo>
                    <a:pt x="3512" y="4702"/>
                  </a:lnTo>
                  <a:cubicBezTo>
                    <a:pt x="3512" y="4056"/>
                    <a:pt x="4038" y="3531"/>
                    <a:pt x="4683" y="3531"/>
                  </a:cubicBezTo>
                  <a:cubicBezTo>
                    <a:pt x="5329" y="3531"/>
                    <a:pt x="5854" y="4056"/>
                    <a:pt x="5854" y="4702"/>
                  </a:cubicBezTo>
                  <a:lnTo>
                    <a:pt x="5854" y="9970"/>
                  </a:lnTo>
                  <a:cubicBezTo>
                    <a:pt x="5854" y="10294"/>
                    <a:pt x="6116" y="10556"/>
                    <a:pt x="6440" y="10556"/>
                  </a:cubicBezTo>
                  <a:lnTo>
                    <a:pt x="8782" y="10556"/>
                  </a:lnTo>
                  <a:cubicBezTo>
                    <a:pt x="9104" y="10556"/>
                    <a:pt x="9368" y="10294"/>
                    <a:pt x="9368" y="9970"/>
                  </a:cubicBezTo>
                  <a:lnTo>
                    <a:pt x="9368" y="3669"/>
                  </a:lnTo>
                  <a:cubicBezTo>
                    <a:pt x="9368" y="1921"/>
                    <a:pt x="8131" y="364"/>
                    <a:pt x="6231" y="55"/>
                  </a:cubicBezTo>
                  <a:cubicBezTo>
                    <a:pt x="6005" y="18"/>
                    <a:pt x="5779" y="0"/>
                    <a:pt x="5553"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1428" name="Google Shape;11428;p115"/>
            <p:cNvSpPr/>
            <p:nvPr/>
          </p:nvSpPr>
          <p:spPr>
            <a:xfrm>
              <a:off x="1323129" y="2571761"/>
              <a:ext cx="417024" cy="417024"/>
            </a:xfrm>
            <a:custGeom>
              <a:avLst/>
              <a:gdLst/>
              <a:ahLst/>
              <a:cxnLst/>
              <a:rect l="l" t="t" r="r" b="b"/>
              <a:pathLst>
                <a:path w="19982" h="19982" extrusionOk="0">
                  <a:moveTo>
                    <a:pt x="17015" y="1170"/>
                  </a:moveTo>
                  <a:cubicBezTo>
                    <a:pt x="17989" y="1170"/>
                    <a:pt x="18810" y="1993"/>
                    <a:pt x="18810" y="2966"/>
                  </a:cubicBezTo>
                  <a:lnTo>
                    <a:pt x="18810" y="17015"/>
                  </a:lnTo>
                  <a:cubicBezTo>
                    <a:pt x="18810" y="17990"/>
                    <a:pt x="17989" y="18811"/>
                    <a:pt x="17015" y="18811"/>
                  </a:cubicBezTo>
                  <a:lnTo>
                    <a:pt x="2965" y="18811"/>
                  </a:lnTo>
                  <a:cubicBezTo>
                    <a:pt x="1992" y="18811"/>
                    <a:pt x="1170" y="17990"/>
                    <a:pt x="1170" y="17015"/>
                  </a:cubicBezTo>
                  <a:lnTo>
                    <a:pt x="1170" y="2966"/>
                  </a:lnTo>
                  <a:cubicBezTo>
                    <a:pt x="1170" y="1993"/>
                    <a:pt x="1992" y="1170"/>
                    <a:pt x="2965" y="1170"/>
                  </a:cubicBezTo>
                  <a:close/>
                  <a:moveTo>
                    <a:pt x="2965" y="1"/>
                  </a:moveTo>
                  <a:cubicBezTo>
                    <a:pt x="1347" y="1"/>
                    <a:pt x="0" y="1349"/>
                    <a:pt x="0" y="2966"/>
                  </a:cubicBezTo>
                  <a:lnTo>
                    <a:pt x="0" y="17015"/>
                  </a:lnTo>
                  <a:cubicBezTo>
                    <a:pt x="0" y="18635"/>
                    <a:pt x="1348" y="19982"/>
                    <a:pt x="2965" y="19982"/>
                  </a:cubicBezTo>
                  <a:lnTo>
                    <a:pt x="17017" y="19982"/>
                  </a:lnTo>
                  <a:cubicBezTo>
                    <a:pt x="18635" y="19982"/>
                    <a:pt x="19981" y="18634"/>
                    <a:pt x="19981" y="17015"/>
                  </a:cubicBezTo>
                  <a:lnTo>
                    <a:pt x="19981" y="2966"/>
                  </a:lnTo>
                  <a:cubicBezTo>
                    <a:pt x="19981" y="1347"/>
                    <a:pt x="18633" y="1"/>
                    <a:pt x="17017"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sp>
        <p:nvSpPr>
          <p:cNvPr id="11429" name="Google Shape;11429;p115"/>
          <p:cNvSpPr/>
          <p:nvPr/>
        </p:nvSpPr>
        <p:spPr>
          <a:xfrm>
            <a:off x="9103237" y="4367471"/>
            <a:ext cx="545868" cy="445181"/>
          </a:xfrm>
          <a:custGeom>
            <a:avLst/>
            <a:gdLst/>
            <a:ahLst/>
            <a:cxnLst/>
            <a:rect l="l" t="t" r="r" b="b"/>
            <a:pathLst>
              <a:path w="20081" h="16377" extrusionOk="0">
                <a:moveTo>
                  <a:pt x="13632" y="1165"/>
                </a:moveTo>
                <a:cubicBezTo>
                  <a:pt x="14903" y="1165"/>
                  <a:pt x="15458" y="1658"/>
                  <a:pt x="15826" y="1984"/>
                </a:cubicBezTo>
                <a:cubicBezTo>
                  <a:pt x="16040" y="2173"/>
                  <a:pt x="16244" y="2353"/>
                  <a:pt x="16548" y="2353"/>
                </a:cubicBezTo>
                <a:cubicBezTo>
                  <a:pt x="16762" y="2353"/>
                  <a:pt x="17038" y="2293"/>
                  <a:pt x="17344" y="2196"/>
                </a:cubicBezTo>
                <a:lnTo>
                  <a:pt x="17344" y="2196"/>
                </a:lnTo>
                <a:cubicBezTo>
                  <a:pt x="17236" y="2288"/>
                  <a:pt x="17119" y="2376"/>
                  <a:pt x="16995" y="2461"/>
                </a:cubicBezTo>
                <a:cubicBezTo>
                  <a:pt x="16780" y="2612"/>
                  <a:pt x="16689" y="2889"/>
                  <a:pt x="16778" y="3137"/>
                </a:cubicBezTo>
                <a:cubicBezTo>
                  <a:pt x="16861" y="3373"/>
                  <a:pt x="17082" y="3528"/>
                  <a:pt x="17329" y="3528"/>
                </a:cubicBezTo>
                <a:cubicBezTo>
                  <a:pt x="17343" y="3528"/>
                  <a:pt x="17358" y="3527"/>
                  <a:pt x="17372" y="3526"/>
                </a:cubicBezTo>
                <a:cubicBezTo>
                  <a:pt x="17475" y="3519"/>
                  <a:pt x="17576" y="3508"/>
                  <a:pt x="17680" y="3494"/>
                </a:cubicBezTo>
                <a:lnTo>
                  <a:pt x="17680" y="3494"/>
                </a:lnTo>
                <a:cubicBezTo>
                  <a:pt x="17275" y="3802"/>
                  <a:pt x="16921" y="3990"/>
                  <a:pt x="16937" y="4786"/>
                </a:cubicBezTo>
                <a:cubicBezTo>
                  <a:pt x="16937" y="4826"/>
                  <a:pt x="16939" y="4881"/>
                  <a:pt x="16939" y="4971"/>
                </a:cubicBezTo>
                <a:cubicBezTo>
                  <a:pt x="16939" y="6510"/>
                  <a:pt x="16350" y="9097"/>
                  <a:pt x="14694" y="11320"/>
                </a:cubicBezTo>
                <a:cubicBezTo>
                  <a:pt x="13372" y="13093"/>
                  <a:pt x="10896" y="15207"/>
                  <a:pt x="6611" y="15207"/>
                </a:cubicBezTo>
                <a:cubicBezTo>
                  <a:pt x="5368" y="15207"/>
                  <a:pt x="4159" y="14996"/>
                  <a:pt x="3001" y="14582"/>
                </a:cubicBezTo>
                <a:cubicBezTo>
                  <a:pt x="4359" y="14345"/>
                  <a:pt x="5612" y="13799"/>
                  <a:pt x="6698" y="12960"/>
                </a:cubicBezTo>
                <a:cubicBezTo>
                  <a:pt x="6893" y="12812"/>
                  <a:pt x="6972" y="12557"/>
                  <a:pt x="6900" y="12323"/>
                </a:cubicBezTo>
                <a:cubicBezTo>
                  <a:pt x="6827" y="12090"/>
                  <a:pt x="6617" y="11925"/>
                  <a:pt x="6372" y="11913"/>
                </a:cubicBezTo>
                <a:cubicBezTo>
                  <a:pt x="5203" y="11849"/>
                  <a:pt x="4280" y="11209"/>
                  <a:pt x="3767" y="10448"/>
                </a:cubicBezTo>
                <a:cubicBezTo>
                  <a:pt x="3968" y="10434"/>
                  <a:pt x="4207" y="10404"/>
                  <a:pt x="4564" y="10340"/>
                </a:cubicBezTo>
                <a:cubicBezTo>
                  <a:pt x="4832" y="10294"/>
                  <a:pt x="5030" y="10071"/>
                  <a:pt x="5047" y="9801"/>
                </a:cubicBezTo>
                <a:cubicBezTo>
                  <a:pt x="5065" y="9532"/>
                  <a:pt x="4895" y="9286"/>
                  <a:pt x="4637" y="9205"/>
                </a:cubicBezTo>
                <a:cubicBezTo>
                  <a:pt x="3296" y="8787"/>
                  <a:pt x="2498" y="8025"/>
                  <a:pt x="2180" y="6838"/>
                </a:cubicBezTo>
                <a:lnTo>
                  <a:pt x="2180" y="6838"/>
                </a:lnTo>
                <a:cubicBezTo>
                  <a:pt x="2390" y="6891"/>
                  <a:pt x="2642" y="6933"/>
                  <a:pt x="3057" y="6986"/>
                </a:cubicBezTo>
                <a:cubicBezTo>
                  <a:pt x="3081" y="6989"/>
                  <a:pt x="3105" y="6991"/>
                  <a:pt x="3129" y="6991"/>
                </a:cubicBezTo>
                <a:cubicBezTo>
                  <a:pt x="3359" y="6991"/>
                  <a:pt x="3571" y="6854"/>
                  <a:pt x="3666" y="6640"/>
                </a:cubicBezTo>
                <a:cubicBezTo>
                  <a:pt x="3770" y="6403"/>
                  <a:pt x="3707" y="6125"/>
                  <a:pt x="3508" y="5957"/>
                </a:cubicBezTo>
                <a:cubicBezTo>
                  <a:pt x="2014" y="4697"/>
                  <a:pt x="1936" y="3409"/>
                  <a:pt x="2210" y="2373"/>
                </a:cubicBezTo>
                <a:lnTo>
                  <a:pt x="2210" y="2373"/>
                </a:lnTo>
                <a:cubicBezTo>
                  <a:pt x="4267" y="4464"/>
                  <a:pt x="6801" y="5670"/>
                  <a:pt x="9880" y="5882"/>
                </a:cubicBezTo>
                <a:cubicBezTo>
                  <a:pt x="9894" y="5883"/>
                  <a:pt x="9908" y="5884"/>
                  <a:pt x="9921" y="5884"/>
                </a:cubicBezTo>
                <a:cubicBezTo>
                  <a:pt x="10265" y="5884"/>
                  <a:pt x="10539" y="5586"/>
                  <a:pt x="10503" y="5239"/>
                </a:cubicBezTo>
                <a:cubicBezTo>
                  <a:pt x="10372" y="3940"/>
                  <a:pt x="10634" y="2919"/>
                  <a:pt x="11281" y="2203"/>
                </a:cubicBezTo>
                <a:cubicBezTo>
                  <a:pt x="11975" y="1437"/>
                  <a:pt x="12981" y="1165"/>
                  <a:pt x="13632" y="1165"/>
                </a:cubicBezTo>
                <a:close/>
                <a:moveTo>
                  <a:pt x="13631" y="1"/>
                </a:moveTo>
                <a:cubicBezTo>
                  <a:pt x="12698" y="1"/>
                  <a:pt x="11363" y="368"/>
                  <a:pt x="10413" y="1418"/>
                </a:cubicBezTo>
                <a:cubicBezTo>
                  <a:pt x="9665" y="2245"/>
                  <a:pt x="9291" y="3332"/>
                  <a:pt x="9300" y="4649"/>
                </a:cubicBezTo>
                <a:cubicBezTo>
                  <a:pt x="6556" y="4315"/>
                  <a:pt x="4306" y="3079"/>
                  <a:pt x="2438" y="887"/>
                </a:cubicBezTo>
                <a:cubicBezTo>
                  <a:pt x="2327" y="756"/>
                  <a:pt x="2163" y="681"/>
                  <a:pt x="1993" y="681"/>
                </a:cubicBezTo>
                <a:cubicBezTo>
                  <a:pt x="1966" y="681"/>
                  <a:pt x="1938" y="683"/>
                  <a:pt x="1911" y="687"/>
                </a:cubicBezTo>
                <a:cubicBezTo>
                  <a:pt x="1713" y="715"/>
                  <a:pt x="1541" y="843"/>
                  <a:pt x="1460" y="1025"/>
                </a:cubicBezTo>
                <a:cubicBezTo>
                  <a:pt x="1207" y="1582"/>
                  <a:pt x="876" y="2444"/>
                  <a:pt x="922" y="3466"/>
                </a:cubicBezTo>
                <a:cubicBezTo>
                  <a:pt x="952" y="4138"/>
                  <a:pt x="1138" y="4773"/>
                  <a:pt x="1479" y="5368"/>
                </a:cubicBezTo>
                <a:cubicBezTo>
                  <a:pt x="1469" y="5367"/>
                  <a:pt x="1459" y="5367"/>
                  <a:pt x="1449" y="5367"/>
                </a:cubicBezTo>
                <a:cubicBezTo>
                  <a:pt x="1114" y="5367"/>
                  <a:pt x="843" y="5650"/>
                  <a:pt x="865" y="5990"/>
                </a:cubicBezTo>
                <a:cubicBezTo>
                  <a:pt x="963" y="7455"/>
                  <a:pt x="1501" y="8589"/>
                  <a:pt x="2470" y="9380"/>
                </a:cubicBezTo>
                <a:cubicBezTo>
                  <a:pt x="2284" y="9528"/>
                  <a:pt x="2208" y="9773"/>
                  <a:pt x="2274" y="9999"/>
                </a:cubicBezTo>
                <a:cubicBezTo>
                  <a:pt x="2578" y="11057"/>
                  <a:pt x="3469" y="12207"/>
                  <a:pt x="4833" y="12757"/>
                </a:cubicBezTo>
                <a:cubicBezTo>
                  <a:pt x="3802" y="13279"/>
                  <a:pt x="2644" y="13546"/>
                  <a:pt x="1412" y="13546"/>
                </a:cubicBezTo>
                <a:cubicBezTo>
                  <a:pt x="1173" y="13546"/>
                  <a:pt x="932" y="13536"/>
                  <a:pt x="689" y="13516"/>
                </a:cubicBezTo>
                <a:cubicBezTo>
                  <a:pt x="673" y="13515"/>
                  <a:pt x="658" y="13514"/>
                  <a:pt x="642" y="13514"/>
                </a:cubicBezTo>
                <a:cubicBezTo>
                  <a:pt x="390" y="13514"/>
                  <a:pt x="164" y="13676"/>
                  <a:pt x="84" y="13919"/>
                </a:cubicBezTo>
                <a:cubicBezTo>
                  <a:pt x="0" y="14177"/>
                  <a:pt x="105" y="14460"/>
                  <a:pt x="338" y="14600"/>
                </a:cubicBezTo>
                <a:cubicBezTo>
                  <a:pt x="2284" y="15778"/>
                  <a:pt x="4395" y="16376"/>
                  <a:pt x="6611" y="16376"/>
                </a:cubicBezTo>
                <a:cubicBezTo>
                  <a:pt x="11382" y="16376"/>
                  <a:pt x="14151" y="14008"/>
                  <a:pt x="15631" y="12019"/>
                </a:cubicBezTo>
                <a:cubicBezTo>
                  <a:pt x="17461" y="9567"/>
                  <a:pt x="18108" y="6689"/>
                  <a:pt x="18108" y="4971"/>
                </a:cubicBezTo>
                <a:cubicBezTo>
                  <a:pt x="18108" y="4747"/>
                  <a:pt x="18103" y="4701"/>
                  <a:pt x="18110" y="4637"/>
                </a:cubicBezTo>
                <a:cubicBezTo>
                  <a:pt x="18336" y="4435"/>
                  <a:pt x="18964" y="4133"/>
                  <a:pt x="19935" y="2718"/>
                </a:cubicBezTo>
                <a:cubicBezTo>
                  <a:pt x="20080" y="2505"/>
                  <a:pt x="20070" y="2221"/>
                  <a:pt x="19909" y="2019"/>
                </a:cubicBezTo>
                <a:cubicBezTo>
                  <a:pt x="19795" y="1879"/>
                  <a:pt x="19625" y="1801"/>
                  <a:pt x="19451" y="1801"/>
                </a:cubicBezTo>
                <a:cubicBezTo>
                  <a:pt x="19377" y="1801"/>
                  <a:pt x="19303" y="1815"/>
                  <a:pt x="19231" y="1844"/>
                </a:cubicBezTo>
                <a:cubicBezTo>
                  <a:pt x="19194" y="1860"/>
                  <a:pt x="19155" y="1874"/>
                  <a:pt x="19118" y="1890"/>
                </a:cubicBezTo>
                <a:cubicBezTo>
                  <a:pt x="19269" y="1630"/>
                  <a:pt x="19392" y="1356"/>
                  <a:pt x="19490" y="1062"/>
                </a:cubicBezTo>
                <a:cubicBezTo>
                  <a:pt x="19564" y="841"/>
                  <a:pt x="19498" y="598"/>
                  <a:pt x="19327" y="443"/>
                </a:cubicBezTo>
                <a:cubicBezTo>
                  <a:pt x="19217" y="344"/>
                  <a:pt x="19076" y="292"/>
                  <a:pt x="18934" y="292"/>
                </a:cubicBezTo>
                <a:cubicBezTo>
                  <a:pt x="18853" y="292"/>
                  <a:pt x="18771" y="309"/>
                  <a:pt x="18694" y="344"/>
                </a:cubicBezTo>
                <a:cubicBezTo>
                  <a:pt x="18690" y="345"/>
                  <a:pt x="18676" y="351"/>
                  <a:pt x="18651" y="363"/>
                </a:cubicBezTo>
                <a:cubicBezTo>
                  <a:pt x="17724" y="830"/>
                  <a:pt x="16999" y="1103"/>
                  <a:pt x="16670" y="1166"/>
                </a:cubicBezTo>
                <a:cubicBezTo>
                  <a:pt x="16647" y="1147"/>
                  <a:pt x="16624" y="1126"/>
                  <a:pt x="16603" y="1106"/>
                </a:cubicBezTo>
                <a:cubicBezTo>
                  <a:pt x="16194" y="745"/>
                  <a:pt x="15347" y="1"/>
                  <a:pt x="13631"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nvGrpSpPr>
          <p:cNvPr id="11430" name="Google Shape;11430;p115"/>
          <p:cNvGrpSpPr/>
          <p:nvPr/>
        </p:nvGrpSpPr>
        <p:grpSpPr>
          <a:xfrm>
            <a:off x="9853865" y="4318458"/>
            <a:ext cx="544031" cy="543215"/>
            <a:chOff x="2344476" y="2571761"/>
            <a:chExt cx="417671" cy="417045"/>
          </a:xfrm>
        </p:grpSpPr>
        <p:sp>
          <p:nvSpPr>
            <p:cNvPr id="11431" name="Google Shape;11431;p115"/>
            <p:cNvSpPr/>
            <p:nvPr/>
          </p:nvSpPr>
          <p:spPr>
            <a:xfrm>
              <a:off x="2344476" y="2571761"/>
              <a:ext cx="417671" cy="417045"/>
            </a:xfrm>
            <a:custGeom>
              <a:avLst/>
              <a:gdLst/>
              <a:ahLst/>
              <a:cxnLst/>
              <a:rect l="l" t="t" r="r" b="b"/>
              <a:pathLst>
                <a:path w="20013" h="19983" extrusionOk="0">
                  <a:moveTo>
                    <a:pt x="10022" y="1170"/>
                  </a:moveTo>
                  <a:cubicBezTo>
                    <a:pt x="14886" y="1170"/>
                    <a:pt x="18842" y="5127"/>
                    <a:pt x="18842" y="9990"/>
                  </a:cubicBezTo>
                  <a:cubicBezTo>
                    <a:pt x="18842" y="14855"/>
                    <a:pt x="14886" y="18811"/>
                    <a:pt x="10023" y="18811"/>
                  </a:cubicBezTo>
                  <a:cubicBezTo>
                    <a:pt x="8516" y="18811"/>
                    <a:pt x="7030" y="18423"/>
                    <a:pt x="5726" y="17691"/>
                  </a:cubicBezTo>
                  <a:cubicBezTo>
                    <a:pt x="5638" y="17641"/>
                    <a:pt x="5539" y="17615"/>
                    <a:pt x="5440" y="17615"/>
                  </a:cubicBezTo>
                  <a:cubicBezTo>
                    <a:pt x="5393" y="17615"/>
                    <a:pt x="5345" y="17621"/>
                    <a:pt x="5298" y="17632"/>
                  </a:cubicBezTo>
                  <a:lnTo>
                    <a:pt x="1419" y="18595"/>
                  </a:lnTo>
                  <a:lnTo>
                    <a:pt x="2381" y="14715"/>
                  </a:lnTo>
                  <a:cubicBezTo>
                    <a:pt x="2417" y="14570"/>
                    <a:pt x="2395" y="14416"/>
                    <a:pt x="2323" y="14287"/>
                  </a:cubicBezTo>
                  <a:cubicBezTo>
                    <a:pt x="1590" y="12982"/>
                    <a:pt x="1203" y="11498"/>
                    <a:pt x="1203" y="9990"/>
                  </a:cubicBezTo>
                  <a:cubicBezTo>
                    <a:pt x="1203" y="5127"/>
                    <a:pt x="5159" y="1170"/>
                    <a:pt x="10022" y="1170"/>
                  </a:cubicBezTo>
                  <a:close/>
                  <a:moveTo>
                    <a:pt x="10023" y="1"/>
                  </a:moveTo>
                  <a:cubicBezTo>
                    <a:pt x="4522" y="1"/>
                    <a:pt x="32" y="4491"/>
                    <a:pt x="32" y="9990"/>
                  </a:cubicBezTo>
                  <a:cubicBezTo>
                    <a:pt x="32" y="11620"/>
                    <a:pt x="432" y="13226"/>
                    <a:pt x="1191" y="14655"/>
                  </a:cubicBezTo>
                  <a:lnTo>
                    <a:pt x="50" y="19256"/>
                  </a:lnTo>
                  <a:cubicBezTo>
                    <a:pt x="0" y="19455"/>
                    <a:pt x="58" y="19665"/>
                    <a:pt x="204" y="19810"/>
                  </a:cubicBezTo>
                  <a:cubicBezTo>
                    <a:pt x="313" y="19921"/>
                    <a:pt x="461" y="19982"/>
                    <a:pt x="614" y="19982"/>
                  </a:cubicBezTo>
                  <a:cubicBezTo>
                    <a:pt x="662" y="19982"/>
                    <a:pt x="710" y="19976"/>
                    <a:pt x="757" y="19964"/>
                  </a:cubicBezTo>
                  <a:lnTo>
                    <a:pt x="5358" y="18823"/>
                  </a:lnTo>
                  <a:cubicBezTo>
                    <a:pt x="6788" y="19582"/>
                    <a:pt x="8394" y="19982"/>
                    <a:pt x="10022" y="19982"/>
                  </a:cubicBezTo>
                  <a:cubicBezTo>
                    <a:pt x="12680" y="19982"/>
                    <a:pt x="15187" y="18940"/>
                    <a:pt x="17078" y="17047"/>
                  </a:cubicBezTo>
                  <a:cubicBezTo>
                    <a:pt x="18971" y="15156"/>
                    <a:pt x="20013" y="12649"/>
                    <a:pt x="20013" y="9990"/>
                  </a:cubicBezTo>
                  <a:cubicBezTo>
                    <a:pt x="20013" y="7333"/>
                    <a:pt x="18971" y="4827"/>
                    <a:pt x="17080" y="2934"/>
                  </a:cubicBezTo>
                  <a:cubicBezTo>
                    <a:pt x="15187" y="1043"/>
                    <a:pt x="12680" y="1"/>
                    <a:pt x="10023"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1432" name="Google Shape;11432;p115"/>
            <p:cNvSpPr/>
            <p:nvPr/>
          </p:nvSpPr>
          <p:spPr>
            <a:xfrm>
              <a:off x="2421672" y="2657388"/>
              <a:ext cx="260625" cy="243636"/>
            </a:xfrm>
            <a:custGeom>
              <a:avLst/>
              <a:gdLst/>
              <a:ahLst/>
              <a:cxnLst/>
              <a:rect l="l" t="t" r="r" b="b"/>
              <a:pathLst>
                <a:path w="12488" h="11674" extrusionOk="0">
                  <a:moveTo>
                    <a:pt x="3164" y="1171"/>
                  </a:moveTo>
                  <a:cubicBezTo>
                    <a:pt x="3352" y="1171"/>
                    <a:pt x="3536" y="1247"/>
                    <a:pt x="3710" y="1424"/>
                  </a:cubicBezTo>
                  <a:lnTo>
                    <a:pt x="3719" y="1433"/>
                  </a:lnTo>
                  <a:cubicBezTo>
                    <a:pt x="4757" y="2473"/>
                    <a:pt x="4683" y="2832"/>
                    <a:pt x="4449" y="3068"/>
                  </a:cubicBezTo>
                  <a:cubicBezTo>
                    <a:pt x="4240" y="3275"/>
                    <a:pt x="3625" y="3692"/>
                    <a:pt x="3427" y="3892"/>
                  </a:cubicBezTo>
                  <a:cubicBezTo>
                    <a:pt x="2960" y="4359"/>
                    <a:pt x="3046" y="5081"/>
                    <a:pt x="3685" y="6039"/>
                  </a:cubicBezTo>
                  <a:cubicBezTo>
                    <a:pt x="4065" y="6611"/>
                    <a:pt x="4568" y="7166"/>
                    <a:pt x="4805" y="7405"/>
                  </a:cubicBezTo>
                  <a:lnTo>
                    <a:pt x="4806" y="7405"/>
                  </a:lnTo>
                  <a:cubicBezTo>
                    <a:pt x="5045" y="7642"/>
                    <a:pt x="5599" y="8146"/>
                    <a:pt x="6172" y="8527"/>
                  </a:cubicBezTo>
                  <a:cubicBezTo>
                    <a:pt x="6727" y="8895"/>
                    <a:pt x="7202" y="9079"/>
                    <a:pt x="7594" y="9079"/>
                  </a:cubicBezTo>
                  <a:cubicBezTo>
                    <a:pt x="7880" y="9079"/>
                    <a:pt x="8123" y="8981"/>
                    <a:pt x="8320" y="8785"/>
                  </a:cubicBezTo>
                  <a:cubicBezTo>
                    <a:pt x="8518" y="8585"/>
                    <a:pt x="8935" y="7971"/>
                    <a:pt x="9144" y="7762"/>
                  </a:cubicBezTo>
                  <a:cubicBezTo>
                    <a:pt x="9238" y="7668"/>
                    <a:pt x="9331" y="7609"/>
                    <a:pt x="9460" y="7609"/>
                  </a:cubicBezTo>
                  <a:cubicBezTo>
                    <a:pt x="9549" y="7609"/>
                    <a:pt x="9655" y="7637"/>
                    <a:pt x="9790" y="7702"/>
                  </a:cubicBezTo>
                  <a:cubicBezTo>
                    <a:pt x="10172" y="7886"/>
                    <a:pt x="10582" y="8297"/>
                    <a:pt x="10779" y="8493"/>
                  </a:cubicBezTo>
                  <a:lnTo>
                    <a:pt x="10788" y="8502"/>
                  </a:lnTo>
                  <a:cubicBezTo>
                    <a:pt x="11239" y="8944"/>
                    <a:pt x="11037" y="9452"/>
                    <a:pt x="10593" y="9898"/>
                  </a:cubicBezTo>
                  <a:cubicBezTo>
                    <a:pt x="10190" y="10300"/>
                    <a:pt x="9680" y="10502"/>
                    <a:pt x="9068" y="10502"/>
                  </a:cubicBezTo>
                  <a:cubicBezTo>
                    <a:pt x="8521" y="10502"/>
                    <a:pt x="7892" y="10341"/>
                    <a:pt x="7184" y="10020"/>
                  </a:cubicBezTo>
                  <a:cubicBezTo>
                    <a:pt x="5868" y="9420"/>
                    <a:pt x="4676" y="8428"/>
                    <a:pt x="4228" y="7984"/>
                  </a:cubicBezTo>
                  <a:cubicBezTo>
                    <a:pt x="3784" y="7536"/>
                    <a:pt x="2792" y="6344"/>
                    <a:pt x="2192" y="5028"/>
                  </a:cubicBezTo>
                  <a:cubicBezTo>
                    <a:pt x="1511" y="3527"/>
                    <a:pt x="1552" y="2381"/>
                    <a:pt x="2314" y="1619"/>
                  </a:cubicBezTo>
                  <a:cubicBezTo>
                    <a:pt x="2583" y="1350"/>
                    <a:pt x="2877" y="1171"/>
                    <a:pt x="3164" y="1171"/>
                  </a:cubicBezTo>
                  <a:close/>
                  <a:moveTo>
                    <a:pt x="3169" y="1"/>
                  </a:moveTo>
                  <a:cubicBezTo>
                    <a:pt x="2619" y="1"/>
                    <a:pt x="2030" y="247"/>
                    <a:pt x="1486" y="791"/>
                  </a:cubicBezTo>
                  <a:cubicBezTo>
                    <a:pt x="701" y="1576"/>
                    <a:pt x="0" y="3034"/>
                    <a:pt x="1127" y="5512"/>
                  </a:cubicBezTo>
                  <a:cubicBezTo>
                    <a:pt x="1794" y="6979"/>
                    <a:pt x="2868" y="8274"/>
                    <a:pt x="3398" y="8810"/>
                  </a:cubicBezTo>
                  <a:lnTo>
                    <a:pt x="3402" y="8813"/>
                  </a:lnTo>
                  <a:cubicBezTo>
                    <a:pt x="3938" y="9344"/>
                    <a:pt x="5235" y="10418"/>
                    <a:pt x="6699" y="11085"/>
                  </a:cubicBezTo>
                  <a:cubicBezTo>
                    <a:pt x="7490" y="11445"/>
                    <a:pt x="8308" y="11674"/>
                    <a:pt x="9088" y="11674"/>
                  </a:cubicBezTo>
                  <a:cubicBezTo>
                    <a:pt x="9940" y="11674"/>
                    <a:pt x="10746" y="11400"/>
                    <a:pt x="11421" y="10726"/>
                  </a:cubicBezTo>
                  <a:cubicBezTo>
                    <a:pt x="12488" y="9657"/>
                    <a:pt x="12399" y="8442"/>
                    <a:pt x="11607" y="7665"/>
                  </a:cubicBezTo>
                  <a:cubicBezTo>
                    <a:pt x="11219" y="7278"/>
                    <a:pt x="10791" y="6885"/>
                    <a:pt x="10297" y="6648"/>
                  </a:cubicBezTo>
                  <a:cubicBezTo>
                    <a:pt x="10009" y="6509"/>
                    <a:pt x="9725" y="6440"/>
                    <a:pt x="9455" y="6440"/>
                  </a:cubicBezTo>
                  <a:cubicBezTo>
                    <a:pt x="9034" y="6440"/>
                    <a:pt x="8646" y="6606"/>
                    <a:pt x="8316" y="6935"/>
                  </a:cubicBezTo>
                  <a:cubicBezTo>
                    <a:pt x="8070" y="7180"/>
                    <a:pt x="7732" y="7665"/>
                    <a:pt x="7538" y="7904"/>
                  </a:cubicBezTo>
                  <a:cubicBezTo>
                    <a:pt x="7035" y="7819"/>
                    <a:pt x="6032" y="6974"/>
                    <a:pt x="5634" y="6577"/>
                  </a:cubicBezTo>
                  <a:cubicBezTo>
                    <a:pt x="5236" y="6179"/>
                    <a:pt x="4393" y="5174"/>
                    <a:pt x="4308" y="4674"/>
                  </a:cubicBezTo>
                  <a:cubicBezTo>
                    <a:pt x="4545" y="4481"/>
                    <a:pt x="5031" y="4141"/>
                    <a:pt x="5277" y="3895"/>
                  </a:cubicBezTo>
                  <a:cubicBezTo>
                    <a:pt x="5817" y="3354"/>
                    <a:pt x="5919" y="2652"/>
                    <a:pt x="5564" y="1914"/>
                  </a:cubicBezTo>
                  <a:cubicBezTo>
                    <a:pt x="5327" y="1421"/>
                    <a:pt x="4934" y="993"/>
                    <a:pt x="4546" y="605"/>
                  </a:cubicBezTo>
                  <a:cubicBezTo>
                    <a:pt x="4165" y="216"/>
                    <a:pt x="3684" y="1"/>
                    <a:pt x="3169"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lt1">
            <a:alpha val="61960"/>
          </a:schemeClr>
        </a:solidFill>
        <a:effectLst/>
      </p:bgPr>
    </p:bg>
    <p:spTree>
      <p:nvGrpSpPr>
        <p:cNvPr id="1" name="Shape 498"/>
        <p:cNvGrpSpPr/>
        <p:nvPr/>
      </p:nvGrpSpPr>
      <p:grpSpPr>
        <a:xfrm>
          <a:off x="0" y="0"/>
          <a:ext cx="0" cy="0"/>
          <a:chOff x="0" y="0"/>
          <a:chExt cx="0" cy="0"/>
        </a:xfrm>
      </p:grpSpPr>
      <p:sp>
        <p:nvSpPr>
          <p:cNvPr id="499" name="Google Shape;499;p76"/>
          <p:cNvSpPr/>
          <p:nvPr/>
        </p:nvSpPr>
        <p:spPr>
          <a:xfrm>
            <a:off x="0" y="2406563"/>
            <a:ext cx="12204973" cy="4451437"/>
          </a:xfrm>
          <a:custGeom>
            <a:avLst/>
            <a:gdLst/>
            <a:ahLst/>
            <a:cxnLst/>
            <a:rect l="l" t="t" r="r" b="b"/>
            <a:pathLst>
              <a:path w="12204973" h="3880337" extrusionOk="0">
                <a:moveTo>
                  <a:pt x="0" y="0"/>
                </a:moveTo>
                <a:lnTo>
                  <a:pt x="37535" y="32"/>
                </a:lnTo>
                <a:cubicBezTo>
                  <a:pt x="857482" y="42746"/>
                  <a:pt x="2180070" y="1109820"/>
                  <a:pt x="3478874" y="1198586"/>
                </a:cubicBezTo>
                <a:cubicBezTo>
                  <a:pt x="5141346" y="1312206"/>
                  <a:pt x="7643709" y="780625"/>
                  <a:pt x="9453376" y="930766"/>
                </a:cubicBezTo>
                <a:cubicBezTo>
                  <a:pt x="10132002" y="987069"/>
                  <a:pt x="10925693" y="1038236"/>
                  <a:pt x="11676235" y="1127921"/>
                </a:cubicBezTo>
                <a:lnTo>
                  <a:pt x="12204973" y="1203321"/>
                </a:lnTo>
                <a:lnTo>
                  <a:pt x="12204973" y="3880337"/>
                </a:lnTo>
                <a:lnTo>
                  <a:pt x="0" y="3880337"/>
                </a:lnTo>
                <a:close/>
              </a:path>
            </a:pathLst>
          </a:custGeom>
          <a:solidFill>
            <a:srgbClr val="2856AE"/>
          </a:solidFill>
          <a:ln>
            <a:noFill/>
          </a:ln>
        </p:spPr>
        <p:txBody>
          <a:bodyPr spcFirstLastPara="1" wrap="square" lIns="91433" tIns="45700" rIns="91433" bIns="45700" anchor="ctr" anchorCtr="0">
            <a:noAutofit/>
          </a:bodyPr>
          <a:lstStyle/>
          <a:p>
            <a:pPr algn="ctr" defTabSz="1219170">
              <a:buClr>
                <a:srgbClr val="000000"/>
              </a:buClr>
            </a:pPr>
            <a:endParaRPr sz="1867" kern="0">
              <a:solidFill>
                <a:srgbClr val="FFFFFF"/>
              </a:solidFill>
              <a:latin typeface="Calibri"/>
              <a:ea typeface="Calibri"/>
              <a:cs typeface="Calibri"/>
              <a:sym typeface="Calibri"/>
            </a:endParaRPr>
          </a:p>
        </p:txBody>
      </p:sp>
      <p:sp>
        <p:nvSpPr>
          <p:cNvPr id="500" name="Google Shape;500;p76"/>
          <p:cNvSpPr/>
          <p:nvPr/>
        </p:nvSpPr>
        <p:spPr>
          <a:xfrm>
            <a:off x="721081" y="3021024"/>
            <a:ext cx="3364219" cy="2509045"/>
          </a:xfrm>
          <a:prstGeom prst="roundRect">
            <a:avLst>
              <a:gd name="adj" fmla="val 5783"/>
            </a:avLst>
          </a:prstGeom>
          <a:solidFill>
            <a:srgbClr val="9FC3EE"/>
          </a:solidFill>
          <a:ln>
            <a:noFill/>
          </a:ln>
        </p:spPr>
        <p:txBody>
          <a:bodyPr spcFirstLastPara="1" wrap="square" lIns="91433" tIns="45700" rIns="91433" bIns="45700" anchor="ctr" anchorCtr="0">
            <a:noAutofit/>
          </a:bodyPr>
          <a:lstStyle/>
          <a:p>
            <a:pPr algn="ctr" defTabSz="1219170">
              <a:buClr>
                <a:srgbClr val="000000"/>
              </a:buClr>
            </a:pPr>
            <a:endParaRPr sz="1867" kern="0">
              <a:solidFill>
                <a:srgbClr val="FFFFFF"/>
              </a:solidFill>
              <a:latin typeface="Calibri"/>
              <a:ea typeface="Calibri"/>
              <a:cs typeface="Calibri"/>
              <a:sym typeface="Calibri"/>
            </a:endParaRPr>
          </a:p>
        </p:txBody>
      </p:sp>
      <p:sp>
        <p:nvSpPr>
          <p:cNvPr id="501" name="Google Shape;501;p76"/>
          <p:cNvSpPr/>
          <p:nvPr/>
        </p:nvSpPr>
        <p:spPr>
          <a:xfrm>
            <a:off x="4413891" y="3021024"/>
            <a:ext cx="3364219" cy="2509045"/>
          </a:xfrm>
          <a:prstGeom prst="roundRect">
            <a:avLst>
              <a:gd name="adj" fmla="val 5783"/>
            </a:avLst>
          </a:prstGeom>
          <a:solidFill>
            <a:srgbClr val="9FC3EE"/>
          </a:solidFill>
          <a:ln>
            <a:noFill/>
          </a:ln>
        </p:spPr>
        <p:txBody>
          <a:bodyPr spcFirstLastPara="1" wrap="square" lIns="91433" tIns="45700" rIns="91433" bIns="45700" anchor="ctr" anchorCtr="0">
            <a:noAutofit/>
          </a:bodyPr>
          <a:lstStyle/>
          <a:p>
            <a:pPr algn="ctr" defTabSz="1219170">
              <a:buClr>
                <a:srgbClr val="000000"/>
              </a:buClr>
            </a:pPr>
            <a:endParaRPr sz="1867" kern="0">
              <a:solidFill>
                <a:srgbClr val="FFFFFF"/>
              </a:solidFill>
              <a:latin typeface="Calibri"/>
              <a:ea typeface="Calibri"/>
              <a:cs typeface="Calibri"/>
              <a:sym typeface="Calibri"/>
            </a:endParaRPr>
          </a:p>
        </p:txBody>
      </p:sp>
      <p:sp>
        <p:nvSpPr>
          <p:cNvPr id="502" name="Google Shape;502;p76"/>
          <p:cNvSpPr/>
          <p:nvPr/>
        </p:nvSpPr>
        <p:spPr>
          <a:xfrm>
            <a:off x="8106701" y="3021024"/>
            <a:ext cx="3364219" cy="2509045"/>
          </a:xfrm>
          <a:prstGeom prst="roundRect">
            <a:avLst>
              <a:gd name="adj" fmla="val 5783"/>
            </a:avLst>
          </a:prstGeom>
          <a:solidFill>
            <a:srgbClr val="9FC3EE"/>
          </a:solidFill>
          <a:ln>
            <a:noFill/>
          </a:ln>
        </p:spPr>
        <p:txBody>
          <a:bodyPr spcFirstLastPara="1" wrap="square" lIns="91433" tIns="45700" rIns="91433" bIns="45700" anchor="ctr" anchorCtr="0">
            <a:noAutofit/>
          </a:bodyPr>
          <a:lstStyle/>
          <a:p>
            <a:pPr algn="ctr" defTabSz="1219170">
              <a:buClr>
                <a:srgbClr val="000000"/>
              </a:buClr>
            </a:pPr>
            <a:endParaRPr sz="1867" kern="0">
              <a:solidFill>
                <a:srgbClr val="FFFFFF"/>
              </a:solidFill>
              <a:latin typeface="Calibri"/>
              <a:ea typeface="Calibri"/>
              <a:cs typeface="Calibri"/>
              <a:sym typeface="Calibri"/>
            </a:endParaRPr>
          </a:p>
        </p:txBody>
      </p:sp>
      <p:sp>
        <p:nvSpPr>
          <p:cNvPr id="503" name="Google Shape;503;p76"/>
          <p:cNvSpPr txBox="1"/>
          <p:nvPr/>
        </p:nvSpPr>
        <p:spPr>
          <a:xfrm>
            <a:off x="2061666" y="518161"/>
            <a:ext cx="8068669" cy="1231106"/>
          </a:xfrm>
          <a:prstGeom prst="rect">
            <a:avLst/>
          </a:prstGeom>
          <a:noFill/>
          <a:ln>
            <a:noFill/>
          </a:ln>
        </p:spPr>
        <p:txBody>
          <a:bodyPr spcFirstLastPara="1" wrap="square" lIns="0" tIns="0" rIns="0" bIns="0" anchor="t" anchorCtr="0">
            <a:spAutoFit/>
          </a:bodyPr>
          <a:lstStyle/>
          <a:p>
            <a:pPr algn="ctr" defTabSz="1219170">
              <a:buClr>
                <a:srgbClr val="000000"/>
              </a:buClr>
            </a:pPr>
            <a:r>
              <a:rPr lang="en" sz="4000" b="1" kern="0">
                <a:solidFill>
                  <a:srgbClr val="1E2860"/>
                </a:solidFill>
                <a:latin typeface="Inter"/>
                <a:ea typeface="Inter"/>
                <a:cs typeface="Inter"/>
                <a:sym typeface="Inter"/>
              </a:rPr>
              <a:t>Send Us Your Presentation Now</a:t>
            </a:r>
            <a:endParaRPr sz="1467" kern="0">
              <a:solidFill>
                <a:srgbClr val="000000"/>
              </a:solidFill>
              <a:latin typeface="Arial"/>
              <a:cs typeface="Arial"/>
              <a:sym typeface="Arial"/>
            </a:endParaRPr>
          </a:p>
          <a:p>
            <a:pPr algn="ctr" defTabSz="1219170">
              <a:buClr>
                <a:srgbClr val="000000"/>
              </a:buClr>
            </a:pPr>
            <a:r>
              <a:rPr lang="en" sz="4000" b="1" kern="0">
                <a:solidFill>
                  <a:srgbClr val="3EBF8A"/>
                </a:solidFill>
                <a:latin typeface="Inter"/>
                <a:ea typeface="Inter"/>
                <a:cs typeface="Inter"/>
                <a:sym typeface="Inter"/>
              </a:rPr>
              <a:t>And Stand Out Tomorrow</a:t>
            </a:r>
            <a:endParaRPr sz="1467" kern="0">
              <a:solidFill>
                <a:srgbClr val="000000"/>
              </a:solidFill>
              <a:latin typeface="Arial"/>
              <a:cs typeface="Arial"/>
              <a:sym typeface="Arial"/>
            </a:endParaRPr>
          </a:p>
        </p:txBody>
      </p:sp>
      <p:sp>
        <p:nvSpPr>
          <p:cNvPr id="504" name="Google Shape;504;p76"/>
          <p:cNvSpPr/>
          <p:nvPr/>
        </p:nvSpPr>
        <p:spPr>
          <a:xfrm>
            <a:off x="1369758" y="2411146"/>
            <a:ext cx="2066865" cy="1284005"/>
          </a:xfrm>
          <a:prstGeom prst="roundRect">
            <a:avLst>
              <a:gd name="adj" fmla="val 4798"/>
            </a:avLst>
          </a:prstGeom>
          <a:solidFill>
            <a:schemeClr val="lt1"/>
          </a:solidFill>
          <a:ln>
            <a:noFill/>
          </a:ln>
        </p:spPr>
        <p:txBody>
          <a:bodyPr spcFirstLastPara="1" wrap="square" lIns="91433" tIns="45700" rIns="91433" bIns="45700" anchor="ctr" anchorCtr="0">
            <a:noAutofit/>
          </a:bodyPr>
          <a:lstStyle/>
          <a:p>
            <a:pPr algn="ctr" defTabSz="1219170">
              <a:buClr>
                <a:srgbClr val="000000"/>
              </a:buClr>
            </a:pPr>
            <a:endParaRPr sz="1867" kern="0">
              <a:solidFill>
                <a:srgbClr val="FFFFFF"/>
              </a:solidFill>
              <a:latin typeface="Calibri"/>
              <a:ea typeface="Calibri"/>
              <a:cs typeface="Calibri"/>
              <a:sym typeface="Calibri"/>
            </a:endParaRPr>
          </a:p>
        </p:txBody>
      </p:sp>
      <p:sp>
        <p:nvSpPr>
          <p:cNvPr id="505" name="Google Shape;505;p76"/>
          <p:cNvSpPr/>
          <p:nvPr/>
        </p:nvSpPr>
        <p:spPr>
          <a:xfrm>
            <a:off x="5062569" y="2411146"/>
            <a:ext cx="2066865" cy="1284005"/>
          </a:xfrm>
          <a:prstGeom prst="roundRect">
            <a:avLst>
              <a:gd name="adj" fmla="val 4798"/>
            </a:avLst>
          </a:prstGeom>
          <a:solidFill>
            <a:schemeClr val="lt1"/>
          </a:solidFill>
          <a:ln>
            <a:noFill/>
          </a:ln>
        </p:spPr>
        <p:txBody>
          <a:bodyPr spcFirstLastPara="1" wrap="square" lIns="91433" tIns="45700" rIns="91433" bIns="45700" anchor="ctr" anchorCtr="0">
            <a:noAutofit/>
          </a:bodyPr>
          <a:lstStyle/>
          <a:p>
            <a:pPr algn="ctr" defTabSz="1219170">
              <a:buClr>
                <a:srgbClr val="000000"/>
              </a:buClr>
            </a:pPr>
            <a:endParaRPr sz="1867" kern="0">
              <a:solidFill>
                <a:srgbClr val="FFFFFF"/>
              </a:solidFill>
              <a:latin typeface="Calibri"/>
              <a:ea typeface="Calibri"/>
              <a:cs typeface="Calibri"/>
              <a:sym typeface="Calibri"/>
            </a:endParaRPr>
          </a:p>
        </p:txBody>
      </p:sp>
      <p:sp>
        <p:nvSpPr>
          <p:cNvPr id="506" name="Google Shape;506;p76"/>
          <p:cNvSpPr/>
          <p:nvPr/>
        </p:nvSpPr>
        <p:spPr>
          <a:xfrm>
            <a:off x="8755378" y="2411146"/>
            <a:ext cx="2066865" cy="1284005"/>
          </a:xfrm>
          <a:prstGeom prst="roundRect">
            <a:avLst>
              <a:gd name="adj" fmla="val 4798"/>
            </a:avLst>
          </a:prstGeom>
          <a:solidFill>
            <a:schemeClr val="lt1"/>
          </a:solidFill>
          <a:ln>
            <a:noFill/>
          </a:ln>
        </p:spPr>
        <p:txBody>
          <a:bodyPr spcFirstLastPara="1" wrap="square" lIns="91433" tIns="45700" rIns="91433" bIns="45700" anchor="ctr" anchorCtr="0">
            <a:noAutofit/>
          </a:bodyPr>
          <a:lstStyle/>
          <a:p>
            <a:pPr algn="ctr" defTabSz="1219170">
              <a:buClr>
                <a:srgbClr val="000000"/>
              </a:buClr>
            </a:pPr>
            <a:endParaRPr sz="1867" kern="0">
              <a:solidFill>
                <a:srgbClr val="FFFFFF"/>
              </a:solidFill>
              <a:latin typeface="Calibri"/>
              <a:ea typeface="Calibri"/>
              <a:cs typeface="Calibri"/>
              <a:sym typeface="Calibri"/>
            </a:endParaRPr>
          </a:p>
        </p:txBody>
      </p:sp>
      <p:pic>
        <p:nvPicPr>
          <p:cNvPr id="507" name="Google Shape;507;p76" descr="A picture containing text, monitor, electronics, computer&#10;&#10;Description automatically generated"/>
          <p:cNvPicPr preferRelativeResize="0"/>
          <p:nvPr/>
        </p:nvPicPr>
        <p:blipFill rotWithShape="1">
          <a:blip r:embed="rId3">
            <a:alphaModFix/>
          </a:blip>
          <a:srcRect/>
          <a:stretch/>
        </p:blipFill>
        <p:spPr>
          <a:xfrm>
            <a:off x="1091831" y="2348823"/>
            <a:ext cx="2622719" cy="1558075"/>
          </a:xfrm>
          <a:prstGeom prst="rect">
            <a:avLst/>
          </a:prstGeom>
          <a:noFill/>
          <a:ln>
            <a:noFill/>
          </a:ln>
        </p:spPr>
      </p:pic>
      <p:sp>
        <p:nvSpPr>
          <p:cNvPr id="508" name="Google Shape;508;p76"/>
          <p:cNvSpPr/>
          <p:nvPr/>
        </p:nvSpPr>
        <p:spPr>
          <a:xfrm>
            <a:off x="1741721" y="2125176"/>
            <a:ext cx="1322939" cy="1322939"/>
          </a:xfrm>
          <a:prstGeom prst="ellipse">
            <a:avLst/>
          </a:prstGeom>
          <a:solidFill>
            <a:schemeClr val="lt1"/>
          </a:solidFill>
          <a:ln>
            <a:noFill/>
          </a:ln>
          <a:effectLst>
            <a:outerShdw blurRad="127000" dist="63500" dir="5400000" algn="t" rotWithShape="0">
              <a:srgbClr val="000000">
                <a:alpha val="14901"/>
              </a:srgbClr>
            </a:outerShdw>
          </a:effectLst>
        </p:spPr>
        <p:txBody>
          <a:bodyPr spcFirstLastPara="1" wrap="square" lIns="91433" tIns="45700" rIns="91433" bIns="45700" anchor="ctr" anchorCtr="0">
            <a:noAutofit/>
          </a:bodyPr>
          <a:lstStyle/>
          <a:p>
            <a:pPr algn="ctr" defTabSz="1219170">
              <a:buClr>
                <a:srgbClr val="000000"/>
              </a:buClr>
            </a:pPr>
            <a:endParaRPr sz="1867" kern="0">
              <a:solidFill>
                <a:srgbClr val="FFFFFF"/>
              </a:solidFill>
              <a:latin typeface="Inter"/>
              <a:ea typeface="Inter"/>
              <a:cs typeface="Inter"/>
              <a:sym typeface="Inter"/>
            </a:endParaRPr>
          </a:p>
        </p:txBody>
      </p:sp>
      <p:pic>
        <p:nvPicPr>
          <p:cNvPr id="509" name="Google Shape;509;p76" descr="A picture containing text, monitor, electronics, computer&#10;&#10;Description automatically generated"/>
          <p:cNvPicPr preferRelativeResize="0"/>
          <p:nvPr/>
        </p:nvPicPr>
        <p:blipFill rotWithShape="1">
          <a:blip r:embed="rId3">
            <a:alphaModFix/>
          </a:blip>
          <a:srcRect/>
          <a:stretch/>
        </p:blipFill>
        <p:spPr>
          <a:xfrm>
            <a:off x="8477451" y="2348823"/>
            <a:ext cx="2622717" cy="1558075"/>
          </a:xfrm>
          <a:prstGeom prst="rect">
            <a:avLst/>
          </a:prstGeom>
          <a:noFill/>
          <a:ln>
            <a:noFill/>
          </a:ln>
        </p:spPr>
      </p:pic>
      <p:pic>
        <p:nvPicPr>
          <p:cNvPr id="510" name="Google Shape;510;p76" descr="A picture containing text, monitor, electronics, computer&#10;&#10;Description automatically generated"/>
          <p:cNvPicPr preferRelativeResize="0"/>
          <p:nvPr/>
        </p:nvPicPr>
        <p:blipFill rotWithShape="1">
          <a:blip r:embed="rId3">
            <a:alphaModFix/>
          </a:blip>
          <a:srcRect/>
          <a:stretch/>
        </p:blipFill>
        <p:spPr>
          <a:xfrm>
            <a:off x="4784642" y="2348823"/>
            <a:ext cx="2622719" cy="1558075"/>
          </a:xfrm>
          <a:prstGeom prst="rect">
            <a:avLst/>
          </a:prstGeom>
          <a:noFill/>
          <a:ln>
            <a:noFill/>
          </a:ln>
        </p:spPr>
      </p:pic>
      <p:pic>
        <p:nvPicPr>
          <p:cNvPr id="511" name="Google Shape;511;p76"/>
          <p:cNvPicPr preferRelativeResize="0"/>
          <p:nvPr/>
        </p:nvPicPr>
        <p:blipFill rotWithShape="1">
          <a:blip r:embed="rId4">
            <a:alphaModFix/>
          </a:blip>
          <a:srcRect/>
          <a:stretch/>
        </p:blipFill>
        <p:spPr>
          <a:xfrm rot="-5400000">
            <a:off x="2092729" y="2552736"/>
            <a:ext cx="620923" cy="467819"/>
          </a:xfrm>
          <a:prstGeom prst="rect">
            <a:avLst/>
          </a:prstGeom>
          <a:noFill/>
          <a:ln>
            <a:noFill/>
          </a:ln>
        </p:spPr>
      </p:pic>
      <p:grpSp>
        <p:nvGrpSpPr>
          <p:cNvPr id="512" name="Google Shape;512;p76"/>
          <p:cNvGrpSpPr/>
          <p:nvPr/>
        </p:nvGrpSpPr>
        <p:grpSpPr>
          <a:xfrm>
            <a:off x="9127341" y="2125176"/>
            <a:ext cx="1322939" cy="1322939"/>
            <a:chOff x="6341733" y="1647786"/>
            <a:chExt cx="914400" cy="914400"/>
          </a:xfrm>
        </p:grpSpPr>
        <p:sp>
          <p:nvSpPr>
            <p:cNvPr id="513" name="Google Shape;513;p76"/>
            <p:cNvSpPr/>
            <p:nvPr/>
          </p:nvSpPr>
          <p:spPr>
            <a:xfrm>
              <a:off x="6341733" y="1647786"/>
              <a:ext cx="914400" cy="914400"/>
            </a:xfrm>
            <a:prstGeom prst="ellipse">
              <a:avLst/>
            </a:prstGeom>
            <a:solidFill>
              <a:schemeClr val="lt1"/>
            </a:solidFill>
            <a:ln>
              <a:noFill/>
            </a:ln>
            <a:effectLst>
              <a:outerShdw blurRad="127000" dist="63500" dir="5400000" algn="t" rotWithShape="0">
                <a:srgbClr val="000000">
                  <a:alpha val="14901"/>
                </a:srgbClr>
              </a:outerShdw>
            </a:effectLst>
          </p:spPr>
          <p:txBody>
            <a:bodyPr spcFirstLastPara="1" wrap="square" lIns="91433" tIns="45700" rIns="91433" bIns="45700" anchor="ctr" anchorCtr="0">
              <a:noAutofit/>
            </a:bodyPr>
            <a:lstStyle/>
            <a:p>
              <a:pPr algn="ctr" defTabSz="1219170">
                <a:buClr>
                  <a:srgbClr val="000000"/>
                </a:buClr>
              </a:pPr>
              <a:endParaRPr sz="1867" kern="0">
                <a:solidFill>
                  <a:srgbClr val="FFFFFF"/>
                </a:solidFill>
                <a:latin typeface="Inter"/>
                <a:ea typeface="Inter"/>
                <a:cs typeface="Inter"/>
                <a:sym typeface="Inter"/>
              </a:endParaRPr>
            </a:p>
          </p:txBody>
        </p:sp>
        <p:pic>
          <p:nvPicPr>
            <p:cNvPr id="514" name="Google Shape;514;p76"/>
            <p:cNvPicPr preferRelativeResize="0"/>
            <p:nvPr/>
          </p:nvPicPr>
          <p:blipFill rotWithShape="1">
            <a:blip r:embed="rId4">
              <a:alphaModFix/>
            </a:blip>
            <a:srcRect/>
            <a:stretch/>
          </p:blipFill>
          <p:spPr>
            <a:xfrm rot="-5400000" flipH="1">
              <a:off x="6584346" y="1943311"/>
              <a:ext cx="429175" cy="323351"/>
            </a:xfrm>
            <a:prstGeom prst="rect">
              <a:avLst/>
            </a:prstGeom>
            <a:noFill/>
            <a:ln>
              <a:noFill/>
            </a:ln>
          </p:spPr>
        </p:pic>
      </p:grpSp>
      <p:grpSp>
        <p:nvGrpSpPr>
          <p:cNvPr id="515" name="Google Shape;515;p76"/>
          <p:cNvGrpSpPr/>
          <p:nvPr/>
        </p:nvGrpSpPr>
        <p:grpSpPr>
          <a:xfrm>
            <a:off x="5434531" y="2125176"/>
            <a:ext cx="1322939" cy="1322939"/>
            <a:chOff x="3962394" y="1647786"/>
            <a:chExt cx="914400" cy="914400"/>
          </a:xfrm>
        </p:grpSpPr>
        <p:sp>
          <p:nvSpPr>
            <p:cNvPr id="516" name="Google Shape;516;p76"/>
            <p:cNvSpPr/>
            <p:nvPr/>
          </p:nvSpPr>
          <p:spPr>
            <a:xfrm>
              <a:off x="3962394" y="1647786"/>
              <a:ext cx="914400" cy="914400"/>
            </a:xfrm>
            <a:prstGeom prst="ellipse">
              <a:avLst/>
            </a:prstGeom>
            <a:solidFill>
              <a:schemeClr val="lt1"/>
            </a:solidFill>
            <a:ln>
              <a:noFill/>
            </a:ln>
            <a:effectLst>
              <a:outerShdw blurRad="127000" dist="63500" dir="5400000" algn="t" rotWithShape="0">
                <a:srgbClr val="000000">
                  <a:alpha val="14901"/>
                </a:srgbClr>
              </a:outerShdw>
            </a:effectLst>
          </p:spPr>
          <p:txBody>
            <a:bodyPr spcFirstLastPara="1" wrap="square" lIns="91433" tIns="45700" rIns="91433" bIns="45700" anchor="ctr" anchorCtr="0">
              <a:noAutofit/>
            </a:bodyPr>
            <a:lstStyle/>
            <a:p>
              <a:pPr algn="ctr" defTabSz="1219170">
                <a:buClr>
                  <a:srgbClr val="000000"/>
                </a:buClr>
              </a:pPr>
              <a:endParaRPr sz="1867" kern="0">
                <a:solidFill>
                  <a:srgbClr val="FFFFFF"/>
                </a:solidFill>
                <a:latin typeface="Inter"/>
                <a:ea typeface="Inter"/>
                <a:cs typeface="Inter"/>
                <a:sym typeface="Inter"/>
              </a:endParaRPr>
            </a:p>
          </p:txBody>
        </p:sp>
        <p:pic>
          <p:nvPicPr>
            <p:cNvPr id="517" name="Google Shape;517;p76"/>
            <p:cNvPicPr preferRelativeResize="0"/>
            <p:nvPr/>
          </p:nvPicPr>
          <p:blipFill rotWithShape="1">
            <a:blip r:embed="rId5">
              <a:alphaModFix/>
            </a:blip>
            <a:srcRect/>
            <a:stretch/>
          </p:blipFill>
          <p:spPr>
            <a:xfrm>
              <a:off x="4239594" y="1942986"/>
              <a:ext cx="360000" cy="324000"/>
            </a:xfrm>
            <a:prstGeom prst="rect">
              <a:avLst/>
            </a:prstGeom>
            <a:noFill/>
            <a:ln>
              <a:noFill/>
            </a:ln>
          </p:spPr>
        </p:pic>
      </p:grpSp>
      <p:sp>
        <p:nvSpPr>
          <p:cNvPr id="518" name="Google Shape;518;p76"/>
          <p:cNvSpPr txBox="1"/>
          <p:nvPr/>
        </p:nvSpPr>
        <p:spPr>
          <a:xfrm>
            <a:off x="952497" y="4810600"/>
            <a:ext cx="2901388" cy="505968"/>
          </a:xfrm>
          <a:prstGeom prst="rect">
            <a:avLst/>
          </a:prstGeom>
          <a:noFill/>
          <a:ln>
            <a:noFill/>
          </a:ln>
        </p:spPr>
        <p:txBody>
          <a:bodyPr spcFirstLastPara="1" wrap="square" lIns="0" tIns="0" rIns="0" bIns="0" anchor="ctr" anchorCtr="0">
            <a:noAutofit/>
          </a:bodyPr>
          <a:lstStyle/>
          <a:p>
            <a:pPr algn="ctr" defTabSz="1219170">
              <a:buClr>
                <a:srgbClr val="1E2860"/>
              </a:buClr>
              <a:buSzPts val="1400"/>
            </a:pPr>
            <a:r>
              <a:rPr lang="en" sz="1867" b="1" kern="0">
                <a:solidFill>
                  <a:srgbClr val="1E2860"/>
                </a:solidFill>
                <a:latin typeface="Inter"/>
                <a:ea typeface="Inter"/>
                <a:cs typeface="Inter"/>
                <a:sym typeface="Inter"/>
              </a:rPr>
              <a:t>UPLOAD PRESENTATION</a:t>
            </a:r>
            <a:endParaRPr sz="1867" b="1" kern="0">
              <a:solidFill>
                <a:srgbClr val="1E2860"/>
              </a:solidFill>
              <a:latin typeface="Inter"/>
              <a:ea typeface="Inter"/>
              <a:cs typeface="Inter"/>
              <a:sym typeface="Inter"/>
            </a:endParaRPr>
          </a:p>
        </p:txBody>
      </p:sp>
      <p:sp>
        <p:nvSpPr>
          <p:cNvPr id="519" name="Google Shape;519;p76"/>
          <p:cNvSpPr/>
          <p:nvPr/>
        </p:nvSpPr>
        <p:spPr>
          <a:xfrm>
            <a:off x="1828118" y="4204093"/>
            <a:ext cx="1150145" cy="346203"/>
          </a:xfrm>
          <a:prstGeom prst="roundRect">
            <a:avLst>
              <a:gd name="adj" fmla="val 50000"/>
            </a:avLst>
          </a:prstGeom>
          <a:noFill/>
          <a:ln w="9525" cap="flat" cmpd="sng">
            <a:solidFill>
              <a:schemeClr val="lt1"/>
            </a:solidFill>
            <a:prstDash val="solid"/>
            <a:round/>
            <a:headEnd type="none" w="sm" len="sm"/>
            <a:tailEnd type="none" w="sm" len="sm"/>
          </a:ln>
        </p:spPr>
        <p:txBody>
          <a:bodyPr spcFirstLastPara="1" wrap="square" lIns="0" tIns="0" rIns="0" bIns="0" anchor="ctr" anchorCtr="0">
            <a:noAutofit/>
          </a:bodyPr>
          <a:lstStyle/>
          <a:p>
            <a:pPr algn="ctr" defTabSz="1219170">
              <a:buClr>
                <a:srgbClr val="1E2860"/>
              </a:buClr>
              <a:buSzPts val="900"/>
            </a:pPr>
            <a:r>
              <a:rPr lang="en" sz="1200" b="1" kern="0">
                <a:solidFill>
                  <a:srgbClr val="1E2860"/>
                </a:solidFill>
                <a:latin typeface="Inter"/>
                <a:ea typeface="Inter"/>
                <a:cs typeface="Inter"/>
                <a:sym typeface="Inter"/>
              </a:rPr>
              <a:t>STEP 1</a:t>
            </a:r>
            <a:endParaRPr sz="1200" b="1" kern="0">
              <a:solidFill>
                <a:srgbClr val="1E2860"/>
              </a:solidFill>
              <a:latin typeface="Inter"/>
              <a:ea typeface="Inter"/>
              <a:cs typeface="Inter"/>
              <a:sym typeface="Inter"/>
            </a:endParaRPr>
          </a:p>
        </p:txBody>
      </p:sp>
      <p:sp>
        <p:nvSpPr>
          <p:cNvPr id="520" name="Google Shape;520;p76"/>
          <p:cNvSpPr txBox="1"/>
          <p:nvPr/>
        </p:nvSpPr>
        <p:spPr>
          <a:xfrm>
            <a:off x="4645307" y="4810600"/>
            <a:ext cx="2901388" cy="505968"/>
          </a:xfrm>
          <a:prstGeom prst="rect">
            <a:avLst/>
          </a:prstGeom>
          <a:noFill/>
          <a:ln>
            <a:noFill/>
          </a:ln>
        </p:spPr>
        <p:txBody>
          <a:bodyPr spcFirstLastPara="1" wrap="square" lIns="0" tIns="0" rIns="0" bIns="0" anchor="ctr" anchorCtr="0">
            <a:noAutofit/>
          </a:bodyPr>
          <a:lstStyle/>
          <a:p>
            <a:pPr algn="ctr" defTabSz="1219170">
              <a:buClr>
                <a:srgbClr val="1E2860"/>
              </a:buClr>
              <a:buSzPts val="1400"/>
            </a:pPr>
            <a:r>
              <a:rPr lang="en" sz="1867" b="1" kern="0">
                <a:solidFill>
                  <a:srgbClr val="1E2860"/>
                </a:solidFill>
                <a:latin typeface="Inter"/>
                <a:ea typeface="Inter"/>
                <a:cs typeface="Inter"/>
                <a:sym typeface="Inter"/>
              </a:rPr>
              <a:t>REVIEW AND REVISE</a:t>
            </a:r>
            <a:endParaRPr sz="1867" b="1" kern="0">
              <a:solidFill>
                <a:srgbClr val="1E2860"/>
              </a:solidFill>
              <a:latin typeface="Inter"/>
              <a:ea typeface="Inter"/>
              <a:cs typeface="Inter"/>
              <a:sym typeface="Inter"/>
            </a:endParaRPr>
          </a:p>
        </p:txBody>
      </p:sp>
      <p:sp>
        <p:nvSpPr>
          <p:cNvPr id="521" name="Google Shape;521;p76"/>
          <p:cNvSpPr/>
          <p:nvPr/>
        </p:nvSpPr>
        <p:spPr>
          <a:xfrm>
            <a:off x="5520929" y="4204093"/>
            <a:ext cx="1150145" cy="346203"/>
          </a:xfrm>
          <a:prstGeom prst="roundRect">
            <a:avLst>
              <a:gd name="adj" fmla="val 50000"/>
            </a:avLst>
          </a:prstGeom>
          <a:noFill/>
          <a:ln w="9525" cap="flat" cmpd="sng">
            <a:solidFill>
              <a:schemeClr val="lt1"/>
            </a:solidFill>
            <a:prstDash val="solid"/>
            <a:round/>
            <a:headEnd type="none" w="sm" len="sm"/>
            <a:tailEnd type="none" w="sm" len="sm"/>
          </a:ln>
        </p:spPr>
        <p:txBody>
          <a:bodyPr spcFirstLastPara="1" wrap="square" lIns="0" tIns="0" rIns="0" bIns="0" anchor="ctr" anchorCtr="0">
            <a:noAutofit/>
          </a:bodyPr>
          <a:lstStyle/>
          <a:p>
            <a:pPr algn="ctr" defTabSz="1219170">
              <a:buClr>
                <a:srgbClr val="1E2860"/>
              </a:buClr>
              <a:buSzPts val="900"/>
            </a:pPr>
            <a:r>
              <a:rPr lang="en" sz="1200" b="1" kern="0">
                <a:solidFill>
                  <a:srgbClr val="1E2860"/>
                </a:solidFill>
                <a:latin typeface="Inter"/>
                <a:ea typeface="Inter"/>
                <a:cs typeface="Inter"/>
                <a:sym typeface="Inter"/>
              </a:rPr>
              <a:t>STEP 2</a:t>
            </a:r>
            <a:endParaRPr sz="1200" b="1" kern="0">
              <a:solidFill>
                <a:srgbClr val="1E2860"/>
              </a:solidFill>
              <a:latin typeface="Inter"/>
              <a:ea typeface="Inter"/>
              <a:cs typeface="Inter"/>
              <a:sym typeface="Inter"/>
            </a:endParaRPr>
          </a:p>
        </p:txBody>
      </p:sp>
      <p:sp>
        <p:nvSpPr>
          <p:cNvPr id="522" name="Google Shape;522;p76"/>
          <p:cNvSpPr txBox="1"/>
          <p:nvPr/>
        </p:nvSpPr>
        <p:spPr>
          <a:xfrm>
            <a:off x="8338117" y="4810600"/>
            <a:ext cx="2901388" cy="505968"/>
          </a:xfrm>
          <a:prstGeom prst="rect">
            <a:avLst/>
          </a:prstGeom>
          <a:noFill/>
          <a:ln>
            <a:noFill/>
          </a:ln>
        </p:spPr>
        <p:txBody>
          <a:bodyPr spcFirstLastPara="1" wrap="square" lIns="0" tIns="0" rIns="0" bIns="0" anchor="ctr" anchorCtr="0">
            <a:noAutofit/>
          </a:bodyPr>
          <a:lstStyle/>
          <a:p>
            <a:pPr algn="ctr" defTabSz="1219170">
              <a:buClr>
                <a:srgbClr val="1E2860"/>
              </a:buClr>
              <a:buSzPts val="1400"/>
            </a:pPr>
            <a:r>
              <a:rPr lang="en" sz="1867" b="1" kern="0">
                <a:solidFill>
                  <a:srgbClr val="1E2860"/>
                </a:solidFill>
                <a:latin typeface="Inter"/>
                <a:ea typeface="Inter"/>
                <a:cs typeface="Inter"/>
                <a:sym typeface="Inter"/>
              </a:rPr>
              <a:t>DOWNLOAD &amp; PRESENT</a:t>
            </a:r>
            <a:endParaRPr sz="1867" b="1" kern="0">
              <a:solidFill>
                <a:srgbClr val="1E2860"/>
              </a:solidFill>
              <a:latin typeface="Inter"/>
              <a:ea typeface="Inter"/>
              <a:cs typeface="Inter"/>
              <a:sym typeface="Inter"/>
            </a:endParaRPr>
          </a:p>
        </p:txBody>
      </p:sp>
      <p:sp>
        <p:nvSpPr>
          <p:cNvPr id="523" name="Google Shape;523;p76"/>
          <p:cNvSpPr/>
          <p:nvPr/>
        </p:nvSpPr>
        <p:spPr>
          <a:xfrm>
            <a:off x="9213740" y="4204093"/>
            <a:ext cx="1150145" cy="346203"/>
          </a:xfrm>
          <a:prstGeom prst="roundRect">
            <a:avLst>
              <a:gd name="adj" fmla="val 50000"/>
            </a:avLst>
          </a:prstGeom>
          <a:noFill/>
          <a:ln w="9525" cap="flat" cmpd="sng">
            <a:solidFill>
              <a:schemeClr val="lt1"/>
            </a:solidFill>
            <a:prstDash val="solid"/>
            <a:round/>
            <a:headEnd type="none" w="sm" len="sm"/>
            <a:tailEnd type="none" w="sm" len="sm"/>
          </a:ln>
        </p:spPr>
        <p:txBody>
          <a:bodyPr spcFirstLastPara="1" wrap="square" lIns="0" tIns="0" rIns="0" bIns="0" anchor="ctr" anchorCtr="0">
            <a:noAutofit/>
          </a:bodyPr>
          <a:lstStyle/>
          <a:p>
            <a:pPr algn="ctr" defTabSz="1219170">
              <a:buClr>
                <a:srgbClr val="1E2860"/>
              </a:buClr>
              <a:buSzPts val="900"/>
            </a:pPr>
            <a:r>
              <a:rPr lang="en" sz="1200" b="1" kern="0">
                <a:solidFill>
                  <a:srgbClr val="1E2860"/>
                </a:solidFill>
                <a:latin typeface="Inter"/>
                <a:ea typeface="Inter"/>
                <a:cs typeface="Inter"/>
                <a:sym typeface="Inter"/>
              </a:rPr>
              <a:t>STEP 3</a:t>
            </a:r>
            <a:endParaRPr sz="1200" b="1" kern="0">
              <a:solidFill>
                <a:srgbClr val="1E2860"/>
              </a:solidFill>
              <a:latin typeface="Inter"/>
              <a:ea typeface="Inter"/>
              <a:cs typeface="Inter"/>
              <a:sym typeface="Inter"/>
            </a:endParaRPr>
          </a:p>
        </p:txBody>
      </p:sp>
      <p:grpSp>
        <p:nvGrpSpPr>
          <p:cNvPr id="524" name="Google Shape;524;p76"/>
          <p:cNvGrpSpPr/>
          <p:nvPr/>
        </p:nvGrpSpPr>
        <p:grpSpPr>
          <a:xfrm>
            <a:off x="2519290" y="5996886"/>
            <a:ext cx="7458175" cy="471975"/>
            <a:chOff x="3443241" y="6139740"/>
            <a:chExt cx="7458175" cy="471975"/>
          </a:xfrm>
        </p:grpSpPr>
        <p:sp>
          <p:nvSpPr>
            <p:cNvPr id="525" name="Google Shape;525;p76">
              <a:hlinkClick r:id="rId6"/>
            </p:cNvPr>
            <p:cNvSpPr/>
            <p:nvPr/>
          </p:nvSpPr>
          <p:spPr>
            <a:xfrm>
              <a:off x="4438520" y="6175857"/>
              <a:ext cx="2901300" cy="389400"/>
            </a:xfrm>
            <a:prstGeom prst="roundRect">
              <a:avLst>
                <a:gd name="adj" fmla="val 50000"/>
              </a:avLst>
            </a:prstGeom>
            <a:solidFill>
              <a:srgbClr val="3EBF8A"/>
            </a:solidFill>
            <a:ln>
              <a:noFill/>
            </a:ln>
            <a:effectLst>
              <a:outerShdw blurRad="127000" dist="63500" dir="5400000" algn="t" rotWithShape="0">
                <a:srgbClr val="000000">
                  <a:alpha val="14901"/>
                </a:srgbClr>
              </a:outerShdw>
            </a:effectLst>
          </p:spPr>
          <p:txBody>
            <a:bodyPr spcFirstLastPara="1" wrap="square" lIns="68567" tIns="34267" rIns="68567" bIns="34267" anchor="ctr" anchorCtr="0">
              <a:noAutofit/>
            </a:bodyPr>
            <a:lstStyle/>
            <a:p>
              <a:pPr algn="ctr" defTabSz="1219170">
                <a:buClr>
                  <a:srgbClr val="FFFFFF"/>
                </a:buClr>
                <a:buSzPts val="1100"/>
              </a:pPr>
              <a:r>
                <a:rPr lang="en" sz="1867" b="1" kern="0" dirty="0">
                  <a:solidFill>
                    <a:srgbClr val="FFFFFF"/>
                  </a:solidFill>
                  <a:latin typeface="Inter"/>
                  <a:ea typeface="Inter"/>
                  <a:cs typeface="Inter"/>
                  <a:sym typeface="Inter"/>
                </a:rPr>
                <a:t>24slides.com/prices</a:t>
              </a:r>
              <a:endParaRPr sz="1067" kern="0" dirty="0">
                <a:solidFill>
                  <a:srgbClr val="FFFFFF"/>
                </a:solidFill>
                <a:latin typeface="Inter"/>
                <a:ea typeface="Inter"/>
                <a:cs typeface="Inter"/>
                <a:sym typeface="Inter"/>
              </a:endParaRPr>
            </a:p>
          </p:txBody>
        </p:sp>
        <p:sp>
          <p:nvSpPr>
            <p:cNvPr id="526" name="Google Shape;526;p76"/>
            <p:cNvSpPr txBox="1"/>
            <p:nvPr/>
          </p:nvSpPr>
          <p:spPr>
            <a:xfrm>
              <a:off x="7385116" y="6139740"/>
              <a:ext cx="3516300" cy="471975"/>
            </a:xfrm>
            <a:prstGeom prst="rect">
              <a:avLst/>
            </a:prstGeom>
            <a:noFill/>
            <a:ln>
              <a:noFill/>
            </a:ln>
          </p:spPr>
          <p:txBody>
            <a:bodyPr spcFirstLastPara="1" wrap="square" lIns="91433" tIns="91433" rIns="91433" bIns="91433" anchor="t" anchorCtr="0">
              <a:spAutoFit/>
            </a:bodyPr>
            <a:lstStyle/>
            <a:p>
              <a:pPr defTabSz="1219170">
                <a:buClr>
                  <a:srgbClr val="FFFFFF"/>
                </a:buClr>
                <a:buSzPts val="1400"/>
              </a:pPr>
              <a:r>
                <a:rPr lang="en" sz="1867" b="1" kern="0">
                  <a:solidFill>
                    <a:srgbClr val="FFFFFF"/>
                  </a:solidFill>
                  <a:latin typeface="Inter"/>
                  <a:ea typeface="Inter"/>
                  <a:cs typeface="Inter"/>
                  <a:sym typeface="Inter"/>
                </a:rPr>
                <a:t>FOR MORE INFORMATION</a:t>
              </a:r>
              <a:endParaRPr sz="1867" b="1" kern="0">
                <a:solidFill>
                  <a:srgbClr val="FFFFFF"/>
                </a:solidFill>
                <a:latin typeface="Inter"/>
                <a:ea typeface="Inter"/>
                <a:cs typeface="Inter"/>
                <a:sym typeface="Inter"/>
              </a:endParaRPr>
            </a:p>
          </p:txBody>
        </p:sp>
        <p:sp>
          <p:nvSpPr>
            <p:cNvPr id="527" name="Google Shape;527;p76"/>
            <p:cNvSpPr txBox="1"/>
            <p:nvPr/>
          </p:nvSpPr>
          <p:spPr>
            <a:xfrm>
              <a:off x="3443241" y="6139740"/>
              <a:ext cx="958800" cy="471975"/>
            </a:xfrm>
            <a:prstGeom prst="rect">
              <a:avLst/>
            </a:prstGeom>
            <a:noFill/>
            <a:ln>
              <a:noFill/>
            </a:ln>
          </p:spPr>
          <p:txBody>
            <a:bodyPr spcFirstLastPara="1" wrap="square" lIns="91433" tIns="91433" rIns="91433" bIns="91433" anchor="t" anchorCtr="0">
              <a:spAutoFit/>
            </a:bodyPr>
            <a:lstStyle/>
            <a:p>
              <a:pPr defTabSz="1219170">
                <a:buClr>
                  <a:srgbClr val="FFFFFF"/>
                </a:buClr>
                <a:buSzPts val="1400"/>
              </a:pPr>
              <a:r>
                <a:rPr lang="en" sz="1867" b="1" kern="0">
                  <a:solidFill>
                    <a:srgbClr val="FFFFFF"/>
                  </a:solidFill>
                  <a:latin typeface="Inter"/>
                  <a:ea typeface="Inter"/>
                  <a:cs typeface="Inter"/>
                  <a:sym typeface="Inter"/>
                </a:rPr>
                <a:t>GO TO</a:t>
              </a:r>
              <a:endParaRPr sz="1867" b="1" kern="0">
                <a:solidFill>
                  <a:srgbClr val="FFFFFF"/>
                </a:solidFill>
                <a:latin typeface="Inter"/>
                <a:ea typeface="Inter"/>
                <a:cs typeface="Inter"/>
                <a:sym typeface="Inter"/>
              </a:endParaRPr>
            </a:p>
          </p:txBody>
        </p:sp>
      </p:grpSp>
      <p:grpSp>
        <p:nvGrpSpPr>
          <p:cNvPr id="528" name="Google Shape;528;p76"/>
          <p:cNvGrpSpPr/>
          <p:nvPr/>
        </p:nvGrpSpPr>
        <p:grpSpPr>
          <a:xfrm rot="10800000">
            <a:off x="-289561" y="5791802"/>
            <a:ext cx="2504049" cy="1222173"/>
            <a:chOff x="5470199" y="-196657"/>
            <a:chExt cx="6968218" cy="3401039"/>
          </a:xfrm>
        </p:grpSpPr>
        <p:sp>
          <p:nvSpPr>
            <p:cNvPr id="529" name="Google Shape;529;p76"/>
            <p:cNvSpPr/>
            <p:nvPr/>
          </p:nvSpPr>
          <p:spPr>
            <a:xfrm>
              <a:off x="5470199" y="1"/>
              <a:ext cx="6734882" cy="3204381"/>
            </a:xfrm>
            <a:custGeom>
              <a:avLst/>
              <a:gdLst/>
              <a:ahLst/>
              <a:cxnLst/>
              <a:rect l="l" t="t" r="r" b="b"/>
              <a:pathLst>
                <a:path w="6734882" h="3204381" extrusionOk="0">
                  <a:moveTo>
                    <a:pt x="9584" y="0"/>
                  </a:moveTo>
                  <a:lnTo>
                    <a:pt x="6734882" y="0"/>
                  </a:lnTo>
                  <a:lnTo>
                    <a:pt x="6734882" y="3204381"/>
                  </a:lnTo>
                  <a:lnTo>
                    <a:pt x="6698227" y="3203377"/>
                  </a:lnTo>
                  <a:cubicBezTo>
                    <a:pt x="6444465" y="3191828"/>
                    <a:pt x="6208086" y="3162935"/>
                    <a:pt x="6020761" y="3124200"/>
                  </a:cubicBezTo>
                  <a:cubicBezTo>
                    <a:pt x="5271461" y="2969260"/>
                    <a:pt x="4900621" y="2032000"/>
                    <a:pt x="4100521" y="1706880"/>
                  </a:cubicBezTo>
                  <a:cubicBezTo>
                    <a:pt x="3300421" y="1381760"/>
                    <a:pt x="1832301" y="1508760"/>
                    <a:pt x="1220161" y="1173480"/>
                  </a:cubicBezTo>
                  <a:cubicBezTo>
                    <a:pt x="761056" y="922020"/>
                    <a:pt x="-69524" y="393383"/>
                    <a:pt x="4652" y="11906"/>
                  </a:cubicBezTo>
                  <a:close/>
                </a:path>
              </a:pathLst>
            </a:custGeom>
            <a:solidFill>
              <a:schemeClr val="lt1">
                <a:alpha val="9803"/>
              </a:schemeClr>
            </a:solidFill>
            <a:ln>
              <a:noFill/>
            </a:ln>
          </p:spPr>
          <p:txBody>
            <a:bodyPr spcFirstLastPara="1" wrap="square" lIns="91433" tIns="45700" rIns="91433" bIns="45700" anchor="ctr" anchorCtr="0">
              <a:noAutofit/>
            </a:bodyPr>
            <a:lstStyle/>
            <a:p>
              <a:pPr algn="ctr" defTabSz="1219170">
                <a:buClr>
                  <a:srgbClr val="000000"/>
                </a:buClr>
              </a:pPr>
              <a:endParaRPr sz="1867" kern="0">
                <a:solidFill>
                  <a:srgbClr val="FFFFFF"/>
                </a:solidFill>
                <a:latin typeface="Calibri"/>
                <a:ea typeface="Calibri"/>
                <a:cs typeface="Calibri"/>
                <a:sym typeface="Calibri"/>
              </a:endParaRPr>
            </a:p>
          </p:txBody>
        </p:sp>
        <p:sp>
          <p:nvSpPr>
            <p:cNvPr id="530" name="Google Shape;530;p76"/>
            <p:cNvSpPr/>
            <p:nvPr/>
          </p:nvSpPr>
          <p:spPr>
            <a:xfrm>
              <a:off x="5703535" y="-196657"/>
              <a:ext cx="6734882" cy="3204381"/>
            </a:xfrm>
            <a:custGeom>
              <a:avLst/>
              <a:gdLst/>
              <a:ahLst/>
              <a:cxnLst/>
              <a:rect l="l" t="t" r="r" b="b"/>
              <a:pathLst>
                <a:path w="6734882" h="3204381" extrusionOk="0">
                  <a:moveTo>
                    <a:pt x="9584" y="0"/>
                  </a:moveTo>
                  <a:lnTo>
                    <a:pt x="6734882" y="0"/>
                  </a:lnTo>
                  <a:lnTo>
                    <a:pt x="6734882" y="3204381"/>
                  </a:lnTo>
                  <a:lnTo>
                    <a:pt x="6698227" y="3203377"/>
                  </a:lnTo>
                  <a:cubicBezTo>
                    <a:pt x="6444465" y="3191828"/>
                    <a:pt x="6208086" y="3162935"/>
                    <a:pt x="6020761" y="3124200"/>
                  </a:cubicBezTo>
                  <a:cubicBezTo>
                    <a:pt x="5271461" y="2969260"/>
                    <a:pt x="4900621" y="2032000"/>
                    <a:pt x="4100521" y="1706880"/>
                  </a:cubicBezTo>
                  <a:cubicBezTo>
                    <a:pt x="3300421" y="1381760"/>
                    <a:pt x="1832301" y="1508760"/>
                    <a:pt x="1220161" y="1173480"/>
                  </a:cubicBezTo>
                  <a:cubicBezTo>
                    <a:pt x="761056" y="922020"/>
                    <a:pt x="-69524" y="393383"/>
                    <a:pt x="4652" y="11906"/>
                  </a:cubicBezTo>
                  <a:close/>
                </a:path>
              </a:pathLst>
            </a:custGeom>
            <a:noFill/>
            <a:ln w="12700" cap="flat" cmpd="sng">
              <a:solidFill>
                <a:srgbClr val="F2F2F2"/>
              </a:solidFill>
              <a:prstDash val="solid"/>
              <a:miter lim="800000"/>
              <a:headEnd type="none" w="sm" len="sm"/>
              <a:tailEnd type="none" w="sm" len="sm"/>
            </a:ln>
          </p:spPr>
          <p:txBody>
            <a:bodyPr spcFirstLastPara="1" wrap="square" lIns="91433" tIns="45700" rIns="91433" bIns="45700" anchor="ctr" anchorCtr="0">
              <a:noAutofit/>
            </a:bodyPr>
            <a:lstStyle/>
            <a:p>
              <a:pPr algn="ctr" defTabSz="1219170">
                <a:buClr>
                  <a:srgbClr val="000000"/>
                </a:buClr>
              </a:pPr>
              <a:endParaRPr sz="1867" kern="0">
                <a:solidFill>
                  <a:srgbClr val="FFFFFF"/>
                </a:solidFill>
                <a:latin typeface="Calibri"/>
                <a:ea typeface="Calibri"/>
                <a:cs typeface="Calibri"/>
                <a:sym typeface="Calibri"/>
              </a:endParaRPr>
            </a:p>
          </p:txBody>
        </p:sp>
      </p:grpSp>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Freeform 13"/>
          <p:cNvSpPr>
            <a:spLocks/>
          </p:cNvSpPr>
          <p:nvPr/>
        </p:nvSpPr>
        <p:spPr bwMode="auto">
          <a:xfrm>
            <a:off x="3994926" y="4749045"/>
            <a:ext cx="6542823" cy="821402"/>
          </a:xfrm>
          <a:custGeom>
            <a:avLst/>
            <a:gdLst>
              <a:gd name="connsiteX0" fmla="*/ 0 w 6086883"/>
              <a:gd name="connsiteY0" fmla="*/ 0 h 764162"/>
              <a:gd name="connsiteX1" fmla="*/ 3727958 w 6086883"/>
              <a:gd name="connsiteY1" fmla="*/ 0 h 764162"/>
              <a:gd name="connsiteX2" fmla="*/ 3727958 w 6086883"/>
              <a:gd name="connsiteY2" fmla="*/ 895 h 764162"/>
              <a:gd name="connsiteX3" fmla="*/ 5694166 w 6086883"/>
              <a:gd name="connsiteY3" fmla="*/ 895 h 764162"/>
              <a:gd name="connsiteX4" fmla="*/ 5890962 w 6086883"/>
              <a:gd name="connsiteY4" fmla="*/ 190312 h 764162"/>
              <a:gd name="connsiteX5" fmla="*/ 6086883 w 6086883"/>
              <a:gd name="connsiteY5" fmla="*/ 382529 h 764162"/>
              <a:gd name="connsiteX6" fmla="*/ 5890962 w 6086883"/>
              <a:gd name="connsiteY6" fmla="*/ 574745 h 764162"/>
              <a:gd name="connsiteX7" fmla="*/ 5694166 w 6086883"/>
              <a:gd name="connsiteY7" fmla="*/ 764162 h 764162"/>
              <a:gd name="connsiteX8" fmla="*/ 3727958 w 6086883"/>
              <a:gd name="connsiteY8" fmla="*/ 764162 h 764162"/>
              <a:gd name="connsiteX9" fmla="*/ 3436701 w 6086883"/>
              <a:gd name="connsiteY9" fmla="*/ 764162 h 764162"/>
              <a:gd name="connsiteX10" fmla="*/ 0 w 6086883"/>
              <a:gd name="connsiteY10" fmla="*/ 764162 h 7641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086883" h="764162">
                <a:moveTo>
                  <a:pt x="0" y="0"/>
                </a:moveTo>
                <a:lnTo>
                  <a:pt x="3727958" y="0"/>
                </a:lnTo>
                <a:lnTo>
                  <a:pt x="3727958" y="895"/>
                </a:lnTo>
                <a:lnTo>
                  <a:pt x="5694166" y="895"/>
                </a:lnTo>
                <a:lnTo>
                  <a:pt x="5890962" y="190312"/>
                </a:lnTo>
                <a:lnTo>
                  <a:pt x="6086883" y="382529"/>
                </a:lnTo>
                <a:lnTo>
                  <a:pt x="5890962" y="574745"/>
                </a:lnTo>
                <a:lnTo>
                  <a:pt x="5694166" y="764162"/>
                </a:lnTo>
                <a:lnTo>
                  <a:pt x="3727958" y="764162"/>
                </a:lnTo>
                <a:lnTo>
                  <a:pt x="3436701" y="764162"/>
                </a:lnTo>
                <a:lnTo>
                  <a:pt x="0" y="764162"/>
                </a:lnTo>
                <a:close/>
              </a:path>
            </a:pathLst>
          </a:custGeom>
          <a:solidFill>
            <a:schemeClr val="bg1"/>
          </a:solidFill>
          <a:ln w="3175" cap="flat">
            <a:noFill/>
            <a:prstDash val="solid"/>
            <a:miter lim="800000"/>
            <a:headEnd/>
            <a:tailEnd/>
          </a:ln>
          <a:effectLst>
            <a:outerShdw blurRad="38100" dist="25400" dir="5400000" algn="t" rotWithShape="0">
              <a:prstClr val="black">
                <a:alpha val="20000"/>
              </a:prstClr>
            </a:outerShdw>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5" name="Freeform 14"/>
          <p:cNvSpPr>
            <a:spLocks/>
          </p:cNvSpPr>
          <p:nvPr/>
        </p:nvSpPr>
        <p:spPr bwMode="auto">
          <a:xfrm>
            <a:off x="4009115" y="3930686"/>
            <a:ext cx="6047368" cy="821402"/>
          </a:xfrm>
          <a:custGeom>
            <a:avLst/>
            <a:gdLst>
              <a:gd name="connsiteX0" fmla="*/ 0 w 5625954"/>
              <a:gd name="connsiteY0" fmla="*/ 0 h 764162"/>
              <a:gd name="connsiteX1" fmla="*/ 3463633 w 5625954"/>
              <a:gd name="connsiteY1" fmla="*/ 0 h 764162"/>
              <a:gd name="connsiteX2" fmla="*/ 3463633 w 5625954"/>
              <a:gd name="connsiteY2" fmla="*/ 895 h 764162"/>
              <a:gd name="connsiteX3" fmla="*/ 5233237 w 5625954"/>
              <a:gd name="connsiteY3" fmla="*/ 895 h 764162"/>
              <a:gd name="connsiteX4" fmla="*/ 5430033 w 5625954"/>
              <a:gd name="connsiteY4" fmla="*/ 190312 h 764162"/>
              <a:gd name="connsiteX5" fmla="*/ 5625954 w 5625954"/>
              <a:gd name="connsiteY5" fmla="*/ 382529 h 764162"/>
              <a:gd name="connsiteX6" fmla="*/ 5430033 w 5625954"/>
              <a:gd name="connsiteY6" fmla="*/ 574745 h 764162"/>
              <a:gd name="connsiteX7" fmla="*/ 5233237 w 5625954"/>
              <a:gd name="connsiteY7" fmla="*/ 764162 h 764162"/>
              <a:gd name="connsiteX8" fmla="*/ 3463633 w 5625954"/>
              <a:gd name="connsiteY8" fmla="*/ 764162 h 764162"/>
              <a:gd name="connsiteX9" fmla="*/ 2975772 w 5625954"/>
              <a:gd name="connsiteY9" fmla="*/ 764162 h 764162"/>
              <a:gd name="connsiteX10" fmla="*/ 0 w 5625954"/>
              <a:gd name="connsiteY10" fmla="*/ 764162 h 7641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625954" h="764162">
                <a:moveTo>
                  <a:pt x="0" y="0"/>
                </a:moveTo>
                <a:lnTo>
                  <a:pt x="3463633" y="0"/>
                </a:lnTo>
                <a:lnTo>
                  <a:pt x="3463633" y="895"/>
                </a:lnTo>
                <a:lnTo>
                  <a:pt x="5233237" y="895"/>
                </a:lnTo>
                <a:lnTo>
                  <a:pt x="5430033" y="190312"/>
                </a:lnTo>
                <a:lnTo>
                  <a:pt x="5625954" y="382529"/>
                </a:lnTo>
                <a:lnTo>
                  <a:pt x="5430033" y="574745"/>
                </a:lnTo>
                <a:lnTo>
                  <a:pt x="5233237" y="764162"/>
                </a:lnTo>
                <a:lnTo>
                  <a:pt x="3463633" y="764162"/>
                </a:lnTo>
                <a:lnTo>
                  <a:pt x="2975772" y="764162"/>
                </a:lnTo>
                <a:lnTo>
                  <a:pt x="0" y="764162"/>
                </a:lnTo>
                <a:close/>
              </a:path>
            </a:pathLst>
          </a:custGeom>
          <a:solidFill>
            <a:schemeClr val="bg1"/>
          </a:solidFill>
          <a:ln w="3175" cap="flat">
            <a:noFill/>
            <a:prstDash val="solid"/>
            <a:miter lim="800000"/>
            <a:headEnd/>
            <a:tailEnd/>
          </a:ln>
          <a:effectLst>
            <a:outerShdw blurRad="38100" dist="25400" dir="5400000" algn="t" rotWithShape="0">
              <a:prstClr val="black">
                <a:alpha val="20000"/>
              </a:prstClr>
            </a:outerShdw>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6" name="Freeform 15"/>
          <p:cNvSpPr>
            <a:spLocks/>
          </p:cNvSpPr>
          <p:nvPr/>
        </p:nvSpPr>
        <p:spPr bwMode="auto">
          <a:xfrm>
            <a:off x="4015085" y="3112326"/>
            <a:ext cx="5560133" cy="821402"/>
          </a:xfrm>
          <a:custGeom>
            <a:avLst/>
            <a:gdLst>
              <a:gd name="connsiteX0" fmla="*/ 0 w 5172672"/>
              <a:gd name="connsiteY0" fmla="*/ 0 h 764162"/>
              <a:gd name="connsiteX1" fmla="*/ 3352425 w 5172672"/>
              <a:gd name="connsiteY1" fmla="*/ 0 h 764162"/>
              <a:gd name="connsiteX2" fmla="*/ 3352425 w 5172672"/>
              <a:gd name="connsiteY2" fmla="*/ 895 h 764162"/>
              <a:gd name="connsiteX3" fmla="*/ 4779955 w 5172672"/>
              <a:gd name="connsiteY3" fmla="*/ 895 h 764162"/>
              <a:gd name="connsiteX4" fmla="*/ 4976751 w 5172672"/>
              <a:gd name="connsiteY4" fmla="*/ 190312 h 764162"/>
              <a:gd name="connsiteX5" fmla="*/ 5172672 w 5172672"/>
              <a:gd name="connsiteY5" fmla="*/ 382529 h 764162"/>
              <a:gd name="connsiteX6" fmla="*/ 4976751 w 5172672"/>
              <a:gd name="connsiteY6" fmla="*/ 574745 h 764162"/>
              <a:gd name="connsiteX7" fmla="*/ 4779955 w 5172672"/>
              <a:gd name="connsiteY7" fmla="*/ 764162 h 764162"/>
              <a:gd name="connsiteX8" fmla="*/ 3352425 w 5172672"/>
              <a:gd name="connsiteY8" fmla="*/ 764162 h 764162"/>
              <a:gd name="connsiteX9" fmla="*/ 2522490 w 5172672"/>
              <a:gd name="connsiteY9" fmla="*/ 764162 h 764162"/>
              <a:gd name="connsiteX10" fmla="*/ 0 w 5172672"/>
              <a:gd name="connsiteY10" fmla="*/ 764162 h 7641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172672" h="764162">
                <a:moveTo>
                  <a:pt x="0" y="0"/>
                </a:moveTo>
                <a:lnTo>
                  <a:pt x="3352425" y="0"/>
                </a:lnTo>
                <a:lnTo>
                  <a:pt x="3352425" y="895"/>
                </a:lnTo>
                <a:lnTo>
                  <a:pt x="4779955" y="895"/>
                </a:lnTo>
                <a:lnTo>
                  <a:pt x="4976751" y="190312"/>
                </a:lnTo>
                <a:lnTo>
                  <a:pt x="5172672" y="382529"/>
                </a:lnTo>
                <a:lnTo>
                  <a:pt x="4976751" y="574745"/>
                </a:lnTo>
                <a:lnTo>
                  <a:pt x="4779955" y="764162"/>
                </a:lnTo>
                <a:lnTo>
                  <a:pt x="3352425" y="764162"/>
                </a:lnTo>
                <a:lnTo>
                  <a:pt x="2522490" y="764162"/>
                </a:lnTo>
                <a:lnTo>
                  <a:pt x="0" y="764162"/>
                </a:lnTo>
                <a:close/>
              </a:path>
            </a:pathLst>
          </a:custGeom>
          <a:solidFill>
            <a:schemeClr val="bg1"/>
          </a:solidFill>
          <a:ln w="3175" cap="flat">
            <a:noFill/>
            <a:prstDash val="solid"/>
            <a:miter lim="800000"/>
            <a:headEnd/>
            <a:tailEnd/>
          </a:ln>
          <a:effectLst>
            <a:outerShdw blurRad="38100" dist="25400" dir="5400000" algn="t" rotWithShape="0">
              <a:prstClr val="black">
                <a:alpha val="20000"/>
              </a:prstClr>
            </a:outerShdw>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7" name="Freeform 16"/>
          <p:cNvSpPr>
            <a:spLocks/>
          </p:cNvSpPr>
          <p:nvPr/>
        </p:nvSpPr>
        <p:spPr bwMode="auto">
          <a:xfrm>
            <a:off x="4031234" y="2293967"/>
            <a:ext cx="5062718" cy="821402"/>
          </a:xfrm>
          <a:custGeom>
            <a:avLst/>
            <a:gdLst>
              <a:gd name="connsiteX0" fmla="*/ 0 w 4709920"/>
              <a:gd name="connsiteY0" fmla="*/ 0 h 764162"/>
              <a:gd name="connsiteX1" fmla="*/ 3051594 w 4709920"/>
              <a:gd name="connsiteY1" fmla="*/ 0 h 764162"/>
              <a:gd name="connsiteX2" fmla="*/ 3051594 w 4709920"/>
              <a:gd name="connsiteY2" fmla="*/ 895 h 764162"/>
              <a:gd name="connsiteX3" fmla="*/ 4317203 w 4709920"/>
              <a:gd name="connsiteY3" fmla="*/ 895 h 764162"/>
              <a:gd name="connsiteX4" fmla="*/ 4513999 w 4709920"/>
              <a:gd name="connsiteY4" fmla="*/ 190312 h 764162"/>
              <a:gd name="connsiteX5" fmla="*/ 4709920 w 4709920"/>
              <a:gd name="connsiteY5" fmla="*/ 382529 h 764162"/>
              <a:gd name="connsiteX6" fmla="*/ 4513999 w 4709920"/>
              <a:gd name="connsiteY6" fmla="*/ 574745 h 764162"/>
              <a:gd name="connsiteX7" fmla="*/ 4317203 w 4709920"/>
              <a:gd name="connsiteY7" fmla="*/ 764162 h 764162"/>
              <a:gd name="connsiteX8" fmla="*/ 3051594 w 4709920"/>
              <a:gd name="connsiteY8" fmla="*/ 764162 h 764162"/>
              <a:gd name="connsiteX9" fmla="*/ 2059738 w 4709920"/>
              <a:gd name="connsiteY9" fmla="*/ 764162 h 764162"/>
              <a:gd name="connsiteX10" fmla="*/ 0 w 4709920"/>
              <a:gd name="connsiteY10" fmla="*/ 764162 h 7641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709920" h="764162">
                <a:moveTo>
                  <a:pt x="0" y="0"/>
                </a:moveTo>
                <a:lnTo>
                  <a:pt x="3051594" y="0"/>
                </a:lnTo>
                <a:lnTo>
                  <a:pt x="3051594" y="895"/>
                </a:lnTo>
                <a:lnTo>
                  <a:pt x="4317203" y="895"/>
                </a:lnTo>
                <a:lnTo>
                  <a:pt x="4513999" y="190312"/>
                </a:lnTo>
                <a:lnTo>
                  <a:pt x="4709920" y="382529"/>
                </a:lnTo>
                <a:lnTo>
                  <a:pt x="4513999" y="574745"/>
                </a:lnTo>
                <a:lnTo>
                  <a:pt x="4317203" y="764162"/>
                </a:lnTo>
                <a:lnTo>
                  <a:pt x="3051594" y="764162"/>
                </a:lnTo>
                <a:lnTo>
                  <a:pt x="2059738" y="764162"/>
                </a:lnTo>
                <a:lnTo>
                  <a:pt x="0" y="764162"/>
                </a:lnTo>
                <a:close/>
              </a:path>
            </a:pathLst>
          </a:custGeom>
          <a:solidFill>
            <a:schemeClr val="bg1"/>
          </a:solidFill>
          <a:ln w="3175" cap="flat">
            <a:noFill/>
            <a:prstDash val="solid"/>
            <a:miter lim="800000"/>
            <a:headEnd/>
            <a:tailEnd/>
          </a:ln>
          <a:effectLst>
            <a:outerShdw blurRad="38100" dist="25400" dir="5400000" algn="t" rotWithShape="0">
              <a:prstClr val="black">
                <a:alpha val="20000"/>
              </a:prstClr>
            </a:outerShdw>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grpSp>
        <p:nvGrpSpPr>
          <p:cNvPr id="18" name="Group 17"/>
          <p:cNvGrpSpPr/>
          <p:nvPr/>
        </p:nvGrpSpPr>
        <p:grpSpPr>
          <a:xfrm>
            <a:off x="2825696" y="1710150"/>
            <a:ext cx="2102205" cy="1602978"/>
            <a:chOff x="2191647" y="669925"/>
            <a:chExt cx="1955712" cy="1491274"/>
          </a:xfrm>
        </p:grpSpPr>
        <p:sp>
          <p:nvSpPr>
            <p:cNvPr id="19" name="Freeform 7"/>
            <p:cNvSpPr>
              <a:spLocks/>
            </p:cNvSpPr>
            <p:nvPr/>
          </p:nvSpPr>
          <p:spPr bwMode="auto">
            <a:xfrm>
              <a:off x="2191647" y="1443113"/>
              <a:ext cx="1955712" cy="718086"/>
            </a:xfrm>
            <a:custGeom>
              <a:avLst/>
              <a:gdLst>
                <a:gd name="T0" fmla="*/ 0 w 2236"/>
                <a:gd name="T1" fmla="*/ 523 h 821"/>
                <a:gd name="T2" fmla="*/ 1118 w 2236"/>
                <a:gd name="T3" fmla="*/ 821 h 821"/>
                <a:gd name="T4" fmla="*/ 2236 w 2236"/>
                <a:gd name="T5" fmla="*/ 523 h 821"/>
                <a:gd name="T6" fmla="*/ 2236 w 2236"/>
                <a:gd name="T7" fmla="*/ 0 h 821"/>
                <a:gd name="T8" fmla="*/ 0 w 2236"/>
                <a:gd name="T9" fmla="*/ 0 h 821"/>
                <a:gd name="T10" fmla="*/ 0 w 2236"/>
                <a:gd name="T11" fmla="*/ 523 h 821"/>
              </a:gdLst>
              <a:ahLst/>
              <a:cxnLst>
                <a:cxn ang="0">
                  <a:pos x="T0" y="T1"/>
                </a:cxn>
                <a:cxn ang="0">
                  <a:pos x="T2" y="T3"/>
                </a:cxn>
                <a:cxn ang="0">
                  <a:pos x="T4" y="T5"/>
                </a:cxn>
                <a:cxn ang="0">
                  <a:pos x="T6" y="T7"/>
                </a:cxn>
                <a:cxn ang="0">
                  <a:pos x="T8" y="T9"/>
                </a:cxn>
                <a:cxn ang="0">
                  <a:pos x="T10" y="T11"/>
                </a:cxn>
              </a:cxnLst>
              <a:rect l="0" t="0" r="r" b="b"/>
              <a:pathLst>
                <a:path w="2236" h="821">
                  <a:moveTo>
                    <a:pt x="0" y="523"/>
                  </a:moveTo>
                  <a:lnTo>
                    <a:pt x="1118" y="821"/>
                  </a:lnTo>
                  <a:lnTo>
                    <a:pt x="2236" y="523"/>
                  </a:lnTo>
                  <a:lnTo>
                    <a:pt x="2236" y="0"/>
                  </a:lnTo>
                  <a:lnTo>
                    <a:pt x="0" y="0"/>
                  </a:lnTo>
                  <a:lnTo>
                    <a:pt x="0" y="523"/>
                  </a:lnTo>
                  <a:close/>
                </a:path>
              </a:pathLst>
            </a:custGeom>
            <a:solidFill>
              <a:srgbClr val="D63E20"/>
            </a:solidFill>
            <a:ln w="3175"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0" name="Freeform 5"/>
            <p:cNvSpPr>
              <a:spLocks/>
            </p:cNvSpPr>
            <p:nvPr/>
          </p:nvSpPr>
          <p:spPr bwMode="auto">
            <a:xfrm>
              <a:off x="2191647" y="669925"/>
              <a:ext cx="977856" cy="1230629"/>
            </a:xfrm>
            <a:custGeom>
              <a:avLst/>
              <a:gdLst>
                <a:gd name="T0" fmla="*/ 0 w 1118"/>
                <a:gd name="T1" fmla="*/ 1407 h 1407"/>
                <a:gd name="T2" fmla="*/ 1118 w 1118"/>
                <a:gd name="T3" fmla="*/ 974 h 1407"/>
                <a:gd name="T4" fmla="*/ 1118 w 1118"/>
                <a:gd name="T5" fmla="*/ 0 h 1407"/>
                <a:gd name="T6" fmla="*/ 0 w 1118"/>
                <a:gd name="T7" fmla="*/ 622 h 1407"/>
                <a:gd name="T8" fmla="*/ 0 w 1118"/>
                <a:gd name="T9" fmla="*/ 1407 h 1407"/>
              </a:gdLst>
              <a:ahLst/>
              <a:cxnLst>
                <a:cxn ang="0">
                  <a:pos x="T0" y="T1"/>
                </a:cxn>
                <a:cxn ang="0">
                  <a:pos x="T2" y="T3"/>
                </a:cxn>
                <a:cxn ang="0">
                  <a:pos x="T4" y="T5"/>
                </a:cxn>
                <a:cxn ang="0">
                  <a:pos x="T6" y="T7"/>
                </a:cxn>
                <a:cxn ang="0">
                  <a:pos x="T8" y="T9"/>
                </a:cxn>
              </a:cxnLst>
              <a:rect l="0" t="0" r="r" b="b"/>
              <a:pathLst>
                <a:path w="1118" h="1407">
                  <a:moveTo>
                    <a:pt x="0" y="1407"/>
                  </a:moveTo>
                  <a:lnTo>
                    <a:pt x="1118" y="974"/>
                  </a:lnTo>
                  <a:lnTo>
                    <a:pt x="1118" y="0"/>
                  </a:lnTo>
                  <a:lnTo>
                    <a:pt x="0" y="622"/>
                  </a:lnTo>
                  <a:lnTo>
                    <a:pt x="0" y="1407"/>
                  </a:lnTo>
                  <a:close/>
                </a:path>
              </a:pathLst>
            </a:custGeom>
            <a:solidFill>
              <a:srgbClr val="E87862"/>
            </a:solidFill>
            <a:ln w="3175"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1" name="Freeform 6"/>
            <p:cNvSpPr>
              <a:spLocks/>
            </p:cNvSpPr>
            <p:nvPr/>
          </p:nvSpPr>
          <p:spPr bwMode="auto">
            <a:xfrm>
              <a:off x="3169503" y="669925"/>
              <a:ext cx="977856" cy="1230629"/>
            </a:xfrm>
            <a:custGeom>
              <a:avLst/>
              <a:gdLst>
                <a:gd name="T0" fmla="*/ 1118 w 1118"/>
                <a:gd name="T1" fmla="*/ 1407 h 1407"/>
                <a:gd name="T2" fmla="*/ 0 w 1118"/>
                <a:gd name="T3" fmla="*/ 974 h 1407"/>
                <a:gd name="T4" fmla="*/ 0 w 1118"/>
                <a:gd name="T5" fmla="*/ 0 h 1407"/>
                <a:gd name="T6" fmla="*/ 1118 w 1118"/>
                <a:gd name="T7" fmla="*/ 622 h 1407"/>
                <a:gd name="T8" fmla="*/ 1118 w 1118"/>
                <a:gd name="T9" fmla="*/ 1407 h 1407"/>
              </a:gdLst>
              <a:ahLst/>
              <a:cxnLst>
                <a:cxn ang="0">
                  <a:pos x="T0" y="T1"/>
                </a:cxn>
                <a:cxn ang="0">
                  <a:pos x="T2" y="T3"/>
                </a:cxn>
                <a:cxn ang="0">
                  <a:pos x="T4" y="T5"/>
                </a:cxn>
                <a:cxn ang="0">
                  <a:pos x="T6" y="T7"/>
                </a:cxn>
                <a:cxn ang="0">
                  <a:pos x="T8" y="T9"/>
                </a:cxn>
              </a:cxnLst>
              <a:rect l="0" t="0" r="r" b="b"/>
              <a:pathLst>
                <a:path w="1118" h="1407">
                  <a:moveTo>
                    <a:pt x="1118" y="1407"/>
                  </a:moveTo>
                  <a:lnTo>
                    <a:pt x="0" y="974"/>
                  </a:lnTo>
                  <a:lnTo>
                    <a:pt x="0" y="0"/>
                  </a:lnTo>
                  <a:lnTo>
                    <a:pt x="1118" y="622"/>
                  </a:lnTo>
                  <a:lnTo>
                    <a:pt x="1118" y="1407"/>
                  </a:lnTo>
                  <a:close/>
                </a:path>
              </a:pathLst>
            </a:custGeom>
            <a:solidFill>
              <a:srgbClr val="E2583D"/>
            </a:solidFill>
            <a:ln w="3175"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grpSp>
      <p:grpSp>
        <p:nvGrpSpPr>
          <p:cNvPr id="22" name="Group 21"/>
          <p:cNvGrpSpPr/>
          <p:nvPr/>
        </p:nvGrpSpPr>
        <p:grpSpPr>
          <a:xfrm>
            <a:off x="2333990" y="2964328"/>
            <a:ext cx="3076214" cy="1226913"/>
            <a:chOff x="1734207" y="1836705"/>
            <a:chExt cx="2861846" cy="1141415"/>
          </a:xfrm>
        </p:grpSpPr>
        <p:sp>
          <p:nvSpPr>
            <p:cNvPr id="23" name="Freeform 10"/>
            <p:cNvSpPr>
              <a:spLocks/>
            </p:cNvSpPr>
            <p:nvPr/>
          </p:nvSpPr>
          <p:spPr bwMode="auto">
            <a:xfrm>
              <a:off x="1734207" y="2609893"/>
              <a:ext cx="2861846" cy="368227"/>
            </a:xfrm>
            <a:custGeom>
              <a:avLst/>
              <a:gdLst>
                <a:gd name="T0" fmla="*/ 0 w 3272"/>
                <a:gd name="T1" fmla="*/ 312 h 421"/>
                <a:gd name="T2" fmla="*/ 1648 w 3272"/>
                <a:gd name="T3" fmla="*/ 421 h 421"/>
                <a:gd name="T4" fmla="*/ 3272 w 3272"/>
                <a:gd name="T5" fmla="*/ 312 h 421"/>
                <a:gd name="T6" fmla="*/ 3272 w 3272"/>
                <a:gd name="T7" fmla="*/ 0 h 421"/>
                <a:gd name="T8" fmla="*/ 0 w 3272"/>
                <a:gd name="T9" fmla="*/ 0 h 421"/>
                <a:gd name="T10" fmla="*/ 0 w 3272"/>
                <a:gd name="T11" fmla="*/ 312 h 421"/>
              </a:gdLst>
              <a:ahLst/>
              <a:cxnLst>
                <a:cxn ang="0">
                  <a:pos x="T0" y="T1"/>
                </a:cxn>
                <a:cxn ang="0">
                  <a:pos x="T2" y="T3"/>
                </a:cxn>
                <a:cxn ang="0">
                  <a:pos x="T4" y="T5"/>
                </a:cxn>
                <a:cxn ang="0">
                  <a:pos x="T6" y="T7"/>
                </a:cxn>
                <a:cxn ang="0">
                  <a:pos x="T8" y="T9"/>
                </a:cxn>
                <a:cxn ang="0">
                  <a:pos x="T10" y="T11"/>
                </a:cxn>
              </a:cxnLst>
              <a:rect l="0" t="0" r="r" b="b"/>
              <a:pathLst>
                <a:path w="3272" h="421">
                  <a:moveTo>
                    <a:pt x="0" y="312"/>
                  </a:moveTo>
                  <a:lnTo>
                    <a:pt x="1648" y="421"/>
                  </a:lnTo>
                  <a:lnTo>
                    <a:pt x="3272" y="312"/>
                  </a:lnTo>
                  <a:lnTo>
                    <a:pt x="3272" y="0"/>
                  </a:lnTo>
                  <a:lnTo>
                    <a:pt x="0" y="0"/>
                  </a:lnTo>
                  <a:lnTo>
                    <a:pt x="0" y="312"/>
                  </a:lnTo>
                  <a:close/>
                </a:path>
              </a:pathLst>
            </a:custGeom>
            <a:solidFill>
              <a:schemeClr val="bg2">
                <a:lumMod val="50000"/>
              </a:schemeClr>
            </a:solidFill>
            <a:ln w="3175"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4" name="Freeform 8"/>
            <p:cNvSpPr>
              <a:spLocks/>
            </p:cNvSpPr>
            <p:nvPr/>
          </p:nvSpPr>
          <p:spPr bwMode="auto">
            <a:xfrm>
              <a:off x="1734207" y="1836705"/>
              <a:ext cx="1435297" cy="1046078"/>
            </a:xfrm>
            <a:custGeom>
              <a:avLst/>
              <a:gdLst>
                <a:gd name="T0" fmla="*/ 0 w 1641"/>
                <a:gd name="T1" fmla="*/ 1196 h 1196"/>
                <a:gd name="T2" fmla="*/ 1641 w 1641"/>
                <a:gd name="T3" fmla="*/ 974 h 1196"/>
                <a:gd name="T4" fmla="*/ 1641 w 1641"/>
                <a:gd name="T5" fmla="*/ 0 h 1196"/>
                <a:gd name="T6" fmla="*/ 0 w 1641"/>
                <a:gd name="T7" fmla="*/ 508 h 1196"/>
                <a:gd name="T8" fmla="*/ 0 w 1641"/>
                <a:gd name="T9" fmla="*/ 1196 h 1196"/>
              </a:gdLst>
              <a:ahLst/>
              <a:cxnLst>
                <a:cxn ang="0">
                  <a:pos x="T0" y="T1"/>
                </a:cxn>
                <a:cxn ang="0">
                  <a:pos x="T2" y="T3"/>
                </a:cxn>
                <a:cxn ang="0">
                  <a:pos x="T4" y="T5"/>
                </a:cxn>
                <a:cxn ang="0">
                  <a:pos x="T6" y="T7"/>
                </a:cxn>
                <a:cxn ang="0">
                  <a:pos x="T8" y="T9"/>
                </a:cxn>
              </a:cxnLst>
              <a:rect l="0" t="0" r="r" b="b"/>
              <a:pathLst>
                <a:path w="1641" h="1196">
                  <a:moveTo>
                    <a:pt x="0" y="1196"/>
                  </a:moveTo>
                  <a:lnTo>
                    <a:pt x="1641" y="974"/>
                  </a:lnTo>
                  <a:lnTo>
                    <a:pt x="1641" y="0"/>
                  </a:lnTo>
                  <a:lnTo>
                    <a:pt x="0" y="508"/>
                  </a:lnTo>
                  <a:lnTo>
                    <a:pt x="0" y="1196"/>
                  </a:lnTo>
                  <a:close/>
                </a:path>
              </a:pathLst>
            </a:custGeom>
            <a:solidFill>
              <a:schemeClr val="bg2"/>
            </a:solidFill>
            <a:ln w="3175"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5" name="Freeform 9"/>
            <p:cNvSpPr>
              <a:spLocks/>
            </p:cNvSpPr>
            <p:nvPr/>
          </p:nvSpPr>
          <p:spPr bwMode="auto">
            <a:xfrm>
              <a:off x="3169503" y="1836705"/>
              <a:ext cx="1426550" cy="1046078"/>
            </a:xfrm>
            <a:custGeom>
              <a:avLst/>
              <a:gdLst>
                <a:gd name="T0" fmla="*/ 1631 w 1631"/>
                <a:gd name="T1" fmla="*/ 1196 h 1196"/>
                <a:gd name="T2" fmla="*/ 0 w 1631"/>
                <a:gd name="T3" fmla="*/ 974 h 1196"/>
                <a:gd name="T4" fmla="*/ 0 w 1631"/>
                <a:gd name="T5" fmla="*/ 0 h 1196"/>
                <a:gd name="T6" fmla="*/ 1631 w 1631"/>
                <a:gd name="T7" fmla="*/ 508 h 1196"/>
                <a:gd name="T8" fmla="*/ 1631 w 1631"/>
                <a:gd name="T9" fmla="*/ 1196 h 1196"/>
              </a:gdLst>
              <a:ahLst/>
              <a:cxnLst>
                <a:cxn ang="0">
                  <a:pos x="T0" y="T1"/>
                </a:cxn>
                <a:cxn ang="0">
                  <a:pos x="T2" y="T3"/>
                </a:cxn>
                <a:cxn ang="0">
                  <a:pos x="T4" y="T5"/>
                </a:cxn>
                <a:cxn ang="0">
                  <a:pos x="T6" y="T7"/>
                </a:cxn>
                <a:cxn ang="0">
                  <a:pos x="T8" y="T9"/>
                </a:cxn>
              </a:cxnLst>
              <a:rect l="0" t="0" r="r" b="b"/>
              <a:pathLst>
                <a:path w="1631" h="1196">
                  <a:moveTo>
                    <a:pt x="1631" y="1196"/>
                  </a:moveTo>
                  <a:lnTo>
                    <a:pt x="0" y="974"/>
                  </a:lnTo>
                  <a:lnTo>
                    <a:pt x="0" y="0"/>
                  </a:lnTo>
                  <a:lnTo>
                    <a:pt x="1631" y="508"/>
                  </a:lnTo>
                  <a:lnTo>
                    <a:pt x="1631" y="1196"/>
                  </a:lnTo>
                  <a:close/>
                </a:path>
              </a:pathLst>
            </a:custGeom>
            <a:solidFill>
              <a:schemeClr val="bg2">
                <a:lumMod val="75000"/>
              </a:schemeClr>
            </a:solidFill>
            <a:ln w="3175"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grpSp>
      <p:grpSp>
        <p:nvGrpSpPr>
          <p:cNvPr id="26" name="Group 25"/>
          <p:cNvGrpSpPr/>
          <p:nvPr/>
        </p:nvGrpSpPr>
        <p:grpSpPr>
          <a:xfrm>
            <a:off x="1654252" y="4851235"/>
            <a:ext cx="4445091" cy="1554091"/>
            <a:chOff x="1101837" y="3592122"/>
            <a:chExt cx="4135333" cy="1445793"/>
          </a:xfrm>
        </p:grpSpPr>
        <p:sp>
          <p:nvSpPr>
            <p:cNvPr id="27" name="Freeform 15"/>
            <p:cNvSpPr>
              <a:spLocks/>
            </p:cNvSpPr>
            <p:nvPr/>
          </p:nvSpPr>
          <p:spPr bwMode="auto">
            <a:xfrm>
              <a:off x="1101837" y="3592122"/>
              <a:ext cx="4135333" cy="612253"/>
            </a:xfrm>
            <a:custGeom>
              <a:avLst/>
              <a:gdLst>
                <a:gd name="T0" fmla="*/ 0 w 4728"/>
                <a:gd name="T1" fmla="*/ 700 h 700"/>
                <a:gd name="T2" fmla="*/ 0 w 4728"/>
                <a:gd name="T3" fmla="*/ 216 h 700"/>
                <a:gd name="T4" fmla="*/ 2371 w 4728"/>
                <a:gd name="T5" fmla="*/ 0 h 700"/>
                <a:gd name="T6" fmla="*/ 4728 w 4728"/>
                <a:gd name="T7" fmla="*/ 201 h 700"/>
                <a:gd name="T8" fmla="*/ 4728 w 4728"/>
                <a:gd name="T9" fmla="*/ 700 h 700"/>
                <a:gd name="T10" fmla="*/ 0 w 4728"/>
                <a:gd name="T11" fmla="*/ 700 h 700"/>
              </a:gdLst>
              <a:ahLst/>
              <a:cxnLst>
                <a:cxn ang="0">
                  <a:pos x="T0" y="T1"/>
                </a:cxn>
                <a:cxn ang="0">
                  <a:pos x="T2" y="T3"/>
                </a:cxn>
                <a:cxn ang="0">
                  <a:pos x="T4" y="T5"/>
                </a:cxn>
                <a:cxn ang="0">
                  <a:pos x="T6" y="T7"/>
                </a:cxn>
                <a:cxn ang="0">
                  <a:pos x="T8" y="T9"/>
                </a:cxn>
                <a:cxn ang="0">
                  <a:pos x="T10" y="T11"/>
                </a:cxn>
              </a:cxnLst>
              <a:rect l="0" t="0" r="r" b="b"/>
              <a:pathLst>
                <a:path w="4728" h="700">
                  <a:moveTo>
                    <a:pt x="0" y="700"/>
                  </a:moveTo>
                  <a:lnTo>
                    <a:pt x="0" y="216"/>
                  </a:lnTo>
                  <a:lnTo>
                    <a:pt x="2371" y="0"/>
                  </a:lnTo>
                  <a:lnTo>
                    <a:pt x="4728" y="201"/>
                  </a:lnTo>
                  <a:lnTo>
                    <a:pt x="4728" y="700"/>
                  </a:lnTo>
                  <a:lnTo>
                    <a:pt x="0" y="700"/>
                  </a:lnTo>
                  <a:close/>
                </a:path>
              </a:pathLst>
            </a:custGeom>
            <a:solidFill>
              <a:srgbClr val="252323"/>
            </a:solidFill>
            <a:ln w="3175"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grpSp>
          <p:nvGrpSpPr>
            <p:cNvPr id="28" name="Group 27"/>
            <p:cNvGrpSpPr/>
            <p:nvPr/>
          </p:nvGrpSpPr>
          <p:grpSpPr>
            <a:xfrm>
              <a:off x="1101837" y="3767926"/>
              <a:ext cx="4135332" cy="1269989"/>
              <a:chOff x="1101837" y="3767926"/>
              <a:chExt cx="4135332" cy="1269989"/>
            </a:xfrm>
          </p:grpSpPr>
          <p:sp>
            <p:nvSpPr>
              <p:cNvPr id="29" name="Freeform 13"/>
              <p:cNvSpPr>
                <a:spLocks/>
              </p:cNvSpPr>
              <p:nvPr/>
            </p:nvSpPr>
            <p:spPr bwMode="auto">
              <a:xfrm>
                <a:off x="1101837" y="3781046"/>
                <a:ext cx="2067666" cy="1256869"/>
              </a:xfrm>
              <a:custGeom>
                <a:avLst/>
                <a:gdLst>
                  <a:gd name="T0" fmla="*/ 0 w 2364"/>
                  <a:gd name="T1" fmla="*/ 555 h 1437"/>
                  <a:gd name="T2" fmla="*/ 2364 w 2364"/>
                  <a:gd name="T3" fmla="*/ 1437 h 1437"/>
                  <a:gd name="T4" fmla="*/ 2364 w 2364"/>
                  <a:gd name="T5" fmla="*/ 447 h 1437"/>
                  <a:gd name="T6" fmla="*/ 0 w 2364"/>
                  <a:gd name="T7" fmla="*/ 0 h 1437"/>
                  <a:gd name="T8" fmla="*/ 0 w 2364"/>
                  <a:gd name="T9" fmla="*/ 555 h 1437"/>
                </a:gdLst>
                <a:ahLst/>
                <a:cxnLst>
                  <a:cxn ang="0">
                    <a:pos x="T0" y="T1"/>
                  </a:cxn>
                  <a:cxn ang="0">
                    <a:pos x="T2" y="T3"/>
                  </a:cxn>
                  <a:cxn ang="0">
                    <a:pos x="T4" y="T5"/>
                  </a:cxn>
                  <a:cxn ang="0">
                    <a:pos x="T6" y="T7"/>
                  </a:cxn>
                  <a:cxn ang="0">
                    <a:pos x="T8" y="T9"/>
                  </a:cxn>
                </a:cxnLst>
                <a:rect l="0" t="0" r="r" b="b"/>
                <a:pathLst>
                  <a:path w="2364" h="1437">
                    <a:moveTo>
                      <a:pt x="0" y="555"/>
                    </a:moveTo>
                    <a:lnTo>
                      <a:pt x="2364" y="1437"/>
                    </a:lnTo>
                    <a:lnTo>
                      <a:pt x="2364" y="447"/>
                    </a:lnTo>
                    <a:lnTo>
                      <a:pt x="0" y="0"/>
                    </a:lnTo>
                    <a:lnTo>
                      <a:pt x="0" y="555"/>
                    </a:lnTo>
                    <a:close/>
                  </a:path>
                </a:pathLst>
              </a:custGeom>
              <a:solidFill>
                <a:srgbClr val="555353"/>
              </a:solidFill>
              <a:ln w="3175"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30" name="Freeform 14"/>
              <p:cNvSpPr>
                <a:spLocks/>
              </p:cNvSpPr>
              <p:nvPr/>
            </p:nvSpPr>
            <p:spPr bwMode="auto">
              <a:xfrm>
                <a:off x="3169503" y="3767926"/>
                <a:ext cx="2067666" cy="1269988"/>
              </a:xfrm>
              <a:custGeom>
                <a:avLst/>
                <a:gdLst>
                  <a:gd name="T0" fmla="*/ 2364 w 2364"/>
                  <a:gd name="T1" fmla="*/ 563 h 1452"/>
                  <a:gd name="T2" fmla="*/ 0 w 2364"/>
                  <a:gd name="T3" fmla="*/ 1452 h 1452"/>
                  <a:gd name="T4" fmla="*/ 0 w 2364"/>
                  <a:gd name="T5" fmla="*/ 462 h 1452"/>
                  <a:gd name="T6" fmla="*/ 2364 w 2364"/>
                  <a:gd name="T7" fmla="*/ 0 h 1452"/>
                  <a:gd name="T8" fmla="*/ 2364 w 2364"/>
                  <a:gd name="T9" fmla="*/ 563 h 1452"/>
                </a:gdLst>
                <a:ahLst/>
                <a:cxnLst>
                  <a:cxn ang="0">
                    <a:pos x="T0" y="T1"/>
                  </a:cxn>
                  <a:cxn ang="0">
                    <a:pos x="T2" y="T3"/>
                  </a:cxn>
                  <a:cxn ang="0">
                    <a:pos x="T4" y="T5"/>
                  </a:cxn>
                  <a:cxn ang="0">
                    <a:pos x="T6" y="T7"/>
                  </a:cxn>
                  <a:cxn ang="0">
                    <a:pos x="T8" y="T9"/>
                  </a:cxn>
                </a:cxnLst>
                <a:rect l="0" t="0" r="r" b="b"/>
                <a:pathLst>
                  <a:path w="2364" h="1452">
                    <a:moveTo>
                      <a:pt x="2364" y="563"/>
                    </a:moveTo>
                    <a:lnTo>
                      <a:pt x="0" y="1452"/>
                    </a:lnTo>
                    <a:lnTo>
                      <a:pt x="0" y="462"/>
                    </a:lnTo>
                    <a:lnTo>
                      <a:pt x="2364" y="0"/>
                    </a:lnTo>
                    <a:lnTo>
                      <a:pt x="2364" y="563"/>
                    </a:lnTo>
                    <a:close/>
                  </a:path>
                </a:pathLst>
              </a:custGeom>
              <a:solidFill>
                <a:srgbClr val="3B3939"/>
              </a:solidFill>
              <a:ln w="3175"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grpSp>
      </p:grpSp>
      <p:grpSp>
        <p:nvGrpSpPr>
          <p:cNvPr id="31" name="Group 30"/>
          <p:cNvGrpSpPr/>
          <p:nvPr/>
        </p:nvGrpSpPr>
        <p:grpSpPr>
          <a:xfrm>
            <a:off x="1958866" y="4156215"/>
            <a:ext cx="3827404" cy="941103"/>
            <a:chOff x="1385223" y="2945534"/>
            <a:chExt cx="3560689" cy="875522"/>
          </a:xfrm>
        </p:grpSpPr>
        <p:sp>
          <p:nvSpPr>
            <p:cNvPr id="32" name="Freeform 11"/>
            <p:cNvSpPr>
              <a:spLocks/>
            </p:cNvSpPr>
            <p:nvPr/>
          </p:nvSpPr>
          <p:spPr bwMode="auto">
            <a:xfrm>
              <a:off x="1385223" y="2945534"/>
              <a:ext cx="1790404" cy="875522"/>
            </a:xfrm>
            <a:custGeom>
              <a:avLst/>
              <a:gdLst>
                <a:gd name="T0" fmla="*/ 0 w 2047"/>
                <a:gd name="T1" fmla="*/ 741 h 1001"/>
                <a:gd name="T2" fmla="*/ 2047 w 2047"/>
                <a:gd name="T3" fmla="*/ 1001 h 1001"/>
                <a:gd name="T4" fmla="*/ 2047 w 2047"/>
                <a:gd name="T5" fmla="*/ 0 h 1001"/>
                <a:gd name="T6" fmla="*/ 0 w 2047"/>
                <a:gd name="T7" fmla="*/ 121 h 1001"/>
                <a:gd name="T8" fmla="*/ 0 w 2047"/>
                <a:gd name="T9" fmla="*/ 741 h 1001"/>
              </a:gdLst>
              <a:ahLst/>
              <a:cxnLst>
                <a:cxn ang="0">
                  <a:pos x="T0" y="T1"/>
                </a:cxn>
                <a:cxn ang="0">
                  <a:pos x="T2" y="T3"/>
                </a:cxn>
                <a:cxn ang="0">
                  <a:pos x="T4" y="T5"/>
                </a:cxn>
                <a:cxn ang="0">
                  <a:pos x="T6" y="T7"/>
                </a:cxn>
                <a:cxn ang="0">
                  <a:pos x="T8" y="T9"/>
                </a:cxn>
              </a:cxnLst>
              <a:rect l="0" t="0" r="r" b="b"/>
              <a:pathLst>
                <a:path w="2047" h="1001">
                  <a:moveTo>
                    <a:pt x="0" y="741"/>
                  </a:moveTo>
                  <a:lnTo>
                    <a:pt x="2047" y="1001"/>
                  </a:lnTo>
                  <a:lnTo>
                    <a:pt x="2047" y="0"/>
                  </a:lnTo>
                  <a:lnTo>
                    <a:pt x="0" y="121"/>
                  </a:lnTo>
                  <a:lnTo>
                    <a:pt x="0" y="741"/>
                  </a:lnTo>
                  <a:close/>
                </a:path>
              </a:pathLst>
            </a:custGeom>
            <a:solidFill>
              <a:srgbClr val="8EDCDA"/>
            </a:solidFill>
            <a:ln w="3175"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33" name="Freeform 12"/>
            <p:cNvSpPr>
              <a:spLocks/>
            </p:cNvSpPr>
            <p:nvPr/>
          </p:nvSpPr>
          <p:spPr bwMode="auto">
            <a:xfrm>
              <a:off x="3175626" y="2945534"/>
              <a:ext cx="1770286" cy="875522"/>
            </a:xfrm>
            <a:custGeom>
              <a:avLst/>
              <a:gdLst>
                <a:gd name="T0" fmla="*/ 2024 w 2024"/>
                <a:gd name="T1" fmla="*/ 741 h 1001"/>
                <a:gd name="T2" fmla="*/ 0 w 2024"/>
                <a:gd name="T3" fmla="*/ 1001 h 1001"/>
                <a:gd name="T4" fmla="*/ 0 w 2024"/>
                <a:gd name="T5" fmla="*/ 0 h 1001"/>
                <a:gd name="T6" fmla="*/ 2024 w 2024"/>
                <a:gd name="T7" fmla="*/ 121 h 1001"/>
                <a:gd name="T8" fmla="*/ 2024 w 2024"/>
                <a:gd name="T9" fmla="*/ 741 h 1001"/>
              </a:gdLst>
              <a:ahLst/>
              <a:cxnLst>
                <a:cxn ang="0">
                  <a:pos x="T0" y="T1"/>
                </a:cxn>
                <a:cxn ang="0">
                  <a:pos x="T2" y="T3"/>
                </a:cxn>
                <a:cxn ang="0">
                  <a:pos x="T4" y="T5"/>
                </a:cxn>
                <a:cxn ang="0">
                  <a:pos x="T6" y="T7"/>
                </a:cxn>
                <a:cxn ang="0">
                  <a:pos x="T8" y="T9"/>
                </a:cxn>
              </a:cxnLst>
              <a:rect l="0" t="0" r="r" b="b"/>
              <a:pathLst>
                <a:path w="2024" h="1001">
                  <a:moveTo>
                    <a:pt x="2024" y="741"/>
                  </a:moveTo>
                  <a:lnTo>
                    <a:pt x="0" y="1001"/>
                  </a:lnTo>
                  <a:lnTo>
                    <a:pt x="0" y="0"/>
                  </a:lnTo>
                  <a:lnTo>
                    <a:pt x="2024" y="121"/>
                  </a:lnTo>
                  <a:lnTo>
                    <a:pt x="2024" y="741"/>
                  </a:lnTo>
                  <a:close/>
                </a:path>
              </a:pathLst>
            </a:custGeom>
            <a:solidFill>
              <a:srgbClr val="78D2D2"/>
            </a:solidFill>
            <a:ln w="3175"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grpSp>
      <p:sp>
        <p:nvSpPr>
          <p:cNvPr id="34" name="TextBox 33"/>
          <p:cNvSpPr txBox="1"/>
          <p:nvPr/>
        </p:nvSpPr>
        <p:spPr>
          <a:xfrm>
            <a:off x="2910817" y="2340467"/>
            <a:ext cx="793822" cy="198498"/>
          </a:xfrm>
          <a:prstGeom prst="rect">
            <a:avLst/>
          </a:prstGeom>
          <a:noFill/>
          <a:ln w="6350">
            <a:noFill/>
            <a:prstDash val="dash"/>
          </a:ln>
        </p:spPr>
        <p:txBody>
          <a:bodyPr wrap="square" lIns="0" tIns="0" rIns="0" bIns="0" rtlCol="0">
            <a:spAutoFit/>
            <a:scene3d>
              <a:camera prst="perspectiveHeroicExtremeRightFacing" fov="3600000">
                <a:rot lat="1800000" lon="19200000" rev="0"/>
              </a:camera>
              <a:lightRig rig="threePt" dir="t"/>
            </a:scene3d>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uLnTx/>
                <a:uFillTx/>
                <a:latin typeface="Calibri"/>
                <a:ea typeface="+mn-ea"/>
                <a:cs typeface="+mn-cs"/>
              </a:rPr>
              <a:t>DEPT. 1</a:t>
            </a:r>
          </a:p>
        </p:txBody>
      </p:sp>
      <p:sp>
        <p:nvSpPr>
          <p:cNvPr id="35" name="TextBox 34"/>
          <p:cNvSpPr txBox="1"/>
          <p:nvPr/>
        </p:nvSpPr>
        <p:spPr>
          <a:xfrm>
            <a:off x="2683079" y="3496943"/>
            <a:ext cx="793822" cy="184666"/>
          </a:xfrm>
          <a:prstGeom prst="rect">
            <a:avLst/>
          </a:prstGeom>
          <a:noFill/>
          <a:ln w="6350">
            <a:noFill/>
            <a:prstDash val="dash"/>
          </a:ln>
        </p:spPr>
        <p:txBody>
          <a:bodyPr wrap="square" lIns="0" tIns="0" rIns="0" bIns="0" rtlCol="0">
            <a:spAutoFit/>
            <a:scene3d>
              <a:camera prst="perspectiveHeroicExtremeRightFacing" fov="3600000">
                <a:rot lat="600000" lon="19200000" rev="0"/>
              </a:camera>
              <a:lightRig rig="threePt" dir="t"/>
            </a:scene3d>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effectLst/>
                <a:uLnTx/>
                <a:uFillTx/>
                <a:latin typeface="Calibri"/>
                <a:ea typeface="+mn-ea"/>
                <a:cs typeface="+mn-cs"/>
              </a:rPr>
              <a:t>DEPT. 2</a:t>
            </a:r>
          </a:p>
        </p:txBody>
      </p:sp>
      <p:sp>
        <p:nvSpPr>
          <p:cNvPr id="36" name="TextBox 35"/>
          <p:cNvSpPr txBox="1"/>
          <p:nvPr/>
        </p:nvSpPr>
        <p:spPr>
          <a:xfrm>
            <a:off x="2350217" y="4461274"/>
            <a:ext cx="793822" cy="198498"/>
          </a:xfrm>
          <a:prstGeom prst="rect">
            <a:avLst/>
          </a:prstGeom>
          <a:noFill/>
          <a:ln w="6350">
            <a:noFill/>
            <a:prstDash val="dash"/>
          </a:ln>
        </p:spPr>
        <p:txBody>
          <a:bodyPr wrap="square" lIns="0" tIns="0" rIns="0" bIns="0" rtlCol="0">
            <a:spAutoFit/>
            <a:scene3d>
              <a:camera prst="perspectiveHeroicExtremeRightFacing" fov="3600000">
                <a:rot lat="0" lon="19500000" rev="0"/>
              </a:camera>
              <a:lightRig rig="threePt" dir="t"/>
            </a:scene3d>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uLnTx/>
                <a:uFillTx/>
                <a:latin typeface="Calibri"/>
                <a:ea typeface="+mn-ea"/>
                <a:cs typeface="+mn-cs"/>
              </a:rPr>
              <a:t>DEPT. 3</a:t>
            </a:r>
          </a:p>
        </p:txBody>
      </p:sp>
      <p:sp>
        <p:nvSpPr>
          <p:cNvPr id="37" name="TextBox 36"/>
          <p:cNvSpPr txBox="1"/>
          <p:nvPr/>
        </p:nvSpPr>
        <p:spPr>
          <a:xfrm>
            <a:off x="2083450" y="5461415"/>
            <a:ext cx="793822" cy="198498"/>
          </a:xfrm>
          <a:prstGeom prst="rect">
            <a:avLst/>
          </a:prstGeom>
          <a:noFill/>
          <a:ln w="6350">
            <a:noFill/>
            <a:prstDash val="dash"/>
          </a:ln>
        </p:spPr>
        <p:txBody>
          <a:bodyPr wrap="square" lIns="0" tIns="0" rIns="0" bIns="0" rtlCol="0">
            <a:spAutoFit/>
            <a:scene3d>
              <a:camera prst="perspectiveHeroicExtremeRightFacing" fov="3600000">
                <a:rot lat="1080000" lon="2400000" rev="0"/>
              </a:camera>
              <a:lightRig rig="threePt" dir="t"/>
            </a:scene3d>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uLnTx/>
                <a:uFillTx/>
                <a:latin typeface="Calibri"/>
                <a:ea typeface="+mn-ea"/>
                <a:cs typeface="+mn-cs"/>
              </a:rPr>
              <a:t>DEPT. 4</a:t>
            </a:r>
          </a:p>
        </p:txBody>
      </p:sp>
      <p:sp>
        <p:nvSpPr>
          <p:cNvPr id="47" name="Oval 46"/>
          <p:cNvSpPr/>
          <p:nvPr/>
        </p:nvSpPr>
        <p:spPr>
          <a:xfrm>
            <a:off x="5250571" y="2790389"/>
            <a:ext cx="193482" cy="193483"/>
          </a:xfrm>
          <a:prstGeom prst="ellipse">
            <a:avLst/>
          </a:prstGeom>
          <a:solidFill>
            <a:schemeClr val="bg1"/>
          </a:solidFill>
          <a:ln w="3175" cap="flat">
            <a:noFill/>
            <a:prstDash val="solid"/>
            <a:miter lim="800000"/>
            <a:headEnd/>
            <a:tailEnd/>
          </a:ln>
          <a:effectLst>
            <a:outerShdw blurRad="38100" dist="25400" dir="5400000" algn="t" rotWithShape="0">
              <a:prstClr val="black">
                <a:alpha val="20000"/>
              </a:prstClr>
            </a:outerShdw>
          </a:effectLst>
        </p:spPr>
        <p:txBody>
          <a:bodyPr vert="horz" wrap="square" lIns="91440" tIns="45720" rIns="91440" bIns="45720" numCol="1" anchor="t" anchorCtr="0" compatLnSpc="1">
            <a:prstTxWarp prst="textNoShape">
              <a:avLst/>
            </a:prstTxWarp>
            <a:noAutofit/>
          </a:bodyPr>
          <a:lstStyle/>
          <a:p>
            <a:endParaRPr lang="en-US">
              <a:solidFill>
                <a:prstClr val="black"/>
              </a:solidFill>
              <a:latin typeface="Calibri"/>
            </a:endParaRPr>
          </a:p>
        </p:txBody>
      </p:sp>
      <p:sp>
        <p:nvSpPr>
          <p:cNvPr id="49" name="Oval 48"/>
          <p:cNvSpPr/>
          <p:nvPr/>
        </p:nvSpPr>
        <p:spPr>
          <a:xfrm>
            <a:off x="5497588" y="2790389"/>
            <a:ext cx="193482" cy="193483"/>
          </a:xfrm>
          <a:prstGeom prst="ellipse">
            <a:avLst/>
          </a:prstGeom>
          <a:solidFill>
            <a:schemeClr val="bg1"/>
          </a:solidFill>
          <a:ln w="3175" cap="flat">
            <a:noFill/>
            <a:prstDash val="solid"/>
            <a:miter lim="800000"/>
            <a:headEnd/>
            <a:tailEnd/>
          </a:ln>
          <a:effectLst>
            <a:outerShdw blurRad="38100" dist="25400" dir="5400000" algn="t" rotWithShape="0">
              <a:prstClr val="black">
                <a:alpha val="20000"/>
              </a:prstClr>
            </a:outerShdw>
          </a:effectLst>
        </p:spPr>
        <p:txBody>
          <a:bodyPr vert="horz" wrap="square" lIns="91440" tIns="45720" rIns="91440" bIns="45720" numCol="1" anchor="t" anchorCtr="0" compatLnSpc="1">
            <a:prstTxWarp prst="textNoShape">
              <a:avLst/>
            </a:prstTxWarp>
            <a:noAutofit/>
          </a:bodyPr>
          <a:lstStyle/>
          <a:p>
            <a:endParaRPr lang="en-US">
              <a:solidFill>
                <a:prstClr val="black"/>
              </a:solidFill>
              <a:latin typeface="Calibri"/>
            </a:endParaRPr>
          </a:p>
        </p:txBody>
      </p:sp>
      <p:sp>
        <p:nvSpPr>
          <p:cNvPr id="51" name="Oval 50"/>
          <p:cNvSpPr/>
          <p:nvPr/>
        </p:nvSpPr>
        <p:spPr>
          <a:xfrm>
            <a:off x="5744605" y="2790389"/>
            <a:ext cx="193482" cy="193483"/>
          </a:xfrm>
          <a:prstGeom prst="ellipse">
            <a:avLst/>
          </a:prstGeom>
          <a:solidFill>
            <a:schemeClr val="bg1"/>
          </a:solidFill>
          <a:ln w="3175" cap="flat">
            <a:noFill/>
            <a:prstDash val="solid"/>
            <a:miter lim="800000"/>
            <a:headEnd/>
            <a:tailEnd/>
          </a:ln>
          <a:effectLst>
            <a:outerShdw blurRad="38100" dist="25400" dir="5400000" algn="t" rotWithShape="0">
              <a:prstClr val="black">
                <a:alpha val="20000"/>
              </a:prstClr>
            </a:outerShdw>
          </a:effectLst>
        </p:spPr>
        <p:txBody>
          <a:bodyPr vert="horz" wrap="square" lIns="91440" tIns="45720" rIns="91440" bIns="45720" numCol="1" anchor="t" anchorCtr="0" compatLnSpc="1">
            <a:prstTxWarp prst="textNoShape">
              <a:avLst/>
            </a:prstTxWarp>
            <a:noAutofit/>
          </a:bodyPr>
          <a:lstStyle/>
          <a:p>
            <a:endParaRPr lang="en-US">
              <a:solidFill>
                <a:prstClr val="black"/>
              </a:solidFill>
              <a:latin typeface="Calibri"/>
            </a:endParaRPr>
          </a:p>
        </p:txBody>
      </p:sp>
      <p:grpSp>
        <p:nvGrpSpPr>
          <p:cNvPr id="43" name="Group 42"/>
          <p:cNvGrpSpPr/>
          <p:nvPr/>
        </p:nvGrpSpPr>
        <p:grpSpPr>
          <a:xfrm>
            <a:off x="5061149" y="2425465"/>
            <a:ext cx="1066360" cy="320012"/>
            <a:chOff x="3712502" y="2528037"/>
            <a:chExt cx="992050" cy="297712"/>
          </a:xfrm>
        </p:grpSpPr>
        <p:sp>
          <p:nvSpPr>
            <p:cNvPr id="44" name="TextBox 43"/>
            <p:cNvSpPr txBox="1"/>
            <p:nvPr/>
          </p:nvSpPr>
          <p:spPr>
            <a:xfrm>
              <a:off x="3938576" y="2682585"/>
              <a:ext cx="539902" cy="143164"/>
            </a:xfrm>
            <a:prstGeom prst="rect">
              <a:avLst/>
            </a:prstGeom>
            <a:noFill/>
            <a:ln w="6350">
              <a:noFill/>
              <a:prstDash val="dash"/>
            </a:ln>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effectLst/>
                  <a:uLnTx/>
                  <a:uFillTx/>
                  <a:ea typeface="+mn-ea"/>
                  <a:cs typeface="+mn-cs"/>
                </a:rPr>
                <a:t>Leader</a:t>
              </a:r>
            </a:p>
          </p:txBody>
        </p:sp>
        <p:sp>
          <p:nvSpPr>
            <p:cNvPr id="45" name="TextBox 44"/>
            <p:cNvSpPr txBox="1"/>
            <p:nvPr/>
          </p:nvSpPr>
          <p:spPr>
            <a:xfrm>
              <a:off x="3712502" y="2528037"/>
              <a:ext cx="992050" cy="143164"/>
            </a:xfrm>
            <a:prstGeom prst="rect">
              <a:avLst/>
            </a:prstGeom>
            <a:noFill/>
            <a:ln w="6350">
              <a:noFill/>
              <a:prstDash val="dash"/>
            </a:ln>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effectLst/>
                  <a:uLnTx/>
                  <a:uFillTx/>
                  <a:ea typeface="+mn-ea"/>
                  <a:cs typeface="+mn-cs"/>
                </a:rPr>
                <a:t>MEMBER </a:t>
              </a:r>
              <a:r>
                <a:rPr kumimoji="0" lang="en-US" sz="1000" b="1" i="0" u="none" strike="noStrike" kern="1200" cap="none" spc="0" normalizeH="0" baseline="0" noProof="0" dirty="0">
                  <a:ln>
                    <a:noFill/>
                  </a:ln>
                  <a:effectLst/>
                  <a:uLnTx/>
                  <a:uFillTx/>
                  <a:ea typeface="+mn-ea"/>
                  <a:cs typeface="+mn-cs"/>
                </a:rPr>
                <a:t>NAME</a:t>
              </a:r>
            </a:p>
          </p:txBody>
        </p:sp>
      </p:grpSp>
      <p:cxnSp>
        <p:nvCxnSpPr>
          <p:cNvPr id="40" name="Straight Connector 39"/>
          <p:cNvCxnSpPr/>
          <p:nvPr/>
        </p:nvCxnSpPr>
        <p:spPr>
          <a:xfrm flipV="1">
            <a:off x="6196389" y="2450455"/>
            <a:ext cx="0" cy="508427"/>
          </a:xfrm>
          <a:prstGeom prst="line">
            <a:avLst/>
          </a:prstGeom>
          <a:ln w="63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41" name="TextBox 40"/>
          <p:cNvSpPr txBox="1"/>
          <p:nvPr/>
        </p:nvSpPr>
        <p:spPr>
          <a:xfrm>
            <a:off x="6265269" y="2473835"/>
            <a:ext cx="2330469" cy="461665"/>
          </a:xfrm>
          <a:prstGeom prst="rect">
            <a:avLst/>
          </a:prstGeom>
          <a:noFill/>
          <a:ln w="6350">
            <a:noFill/>
            <a:prstDash val="dash"/>
          </a:ln>
        </p:spPr>
        <p:txBody>
          <a:bodyPr wrap="square" lIns="0" tIns="0" rIns="0" b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err="1">
                <a:ln>
                  <a:noFill/>
                </a:ln>
                <a:effectLst/>
                <a:uLnTx/>
                <a:uFillTx/>
                <a:ea typeface="+mn-ea"/>
                <a:cs typeface="+mn-cs"/>
              </a:rPr>
              <a:t>Lorem</a:t>
            </a:r>
            <a:r>
              <a:rPr kumimoji="0" lang="en-US" sz="1000" b="0" i="0" u="none" strike="noStrike" kern="1200" cap="none" spc="0" normalizeH="0" baseline="0" noProof="0" dirty="0">
                <a:ln>
                  <a:noFill/>
                </a:ln>
                <a:effectLst/>
                <a:uLnTx/>
                <a:uFillTx/>
                <a:ea typeface="+mn-ea"/>
                <a:cs typeface="+mn-cs"/>
              </a:rPr>
              <a:t> </a:t>
            </a:r>
            <a:r>
              <a:rPr kumimoji="0" lang="en-US" sz="1000" b="0" i="0" u="none" strike="noStrike" kern="1200" cap="none" spc="0" normalizeH="0" baseline="0" noProof="0" dirty="0" err="1">
                <a:ln>
                  <a:noFill/>
                </a:ln>
                <a:effectLst/>
                <a:uLnTx/>
                <a:uFillTx/>
                <a:ea typeface="+mn-ea"/>
                <a:cs typeface="+mn-cs"/>
              </a:rPr>
              <a:t>Ipsum</a:t>
            </a:r>
            <a:r>
              <a:rPr kumimoji="0" lang="en-US" sz="1000" b="0" i="0" u="none" strike="noStrike" kern="1200" cap="none" spc="0" normalizeH="0" baseline="0" noProof="0" dirty="0">
                <a:ln>
                  <a:noFill/>
                </a:ln>
                <a:effectLst/>
                <a:uLnTx/>
                <a:uFillTx/>
                <a:ea typeface="+mn-ea"/>
                <a:cs typeface="+mn-cs"/>
              </a:rPr>
              <a:t> is simply dummy text of the printing and typesetting industry. Lorem </a:t>
            </a:r>
            <a:r>
              <a:rPr kumimoji="0" lang="en-US" sz="1000" b="0" i="0" u="none" strike="noStrike" kern="1200" cap="none" spc="0" normalizeH="0" baseline="0" noProof="0" dirty="0" err="1">
                <a:ln>
                  <a:noFill/>
                </a:ln>
                <a:effectLst/>
                <a:uLnTx/>
                <a:uFillTx/>
                <a:ea typeface="+mn-ea"/>
                <a:cs typeface="+mn-cs"/>
              </a:rPr>
              <a:t>Ipsum</a:t>
            </a:r>
            <a:r>
              <a:rPr kumimoji="0" lang="en-US" sz="1000" b="0" i="0" u="none" strike="noStrike" kern="1200" cap="none" spc="0" normalizeH="0" baseline="0" noProof="0" dirty="0">
                <a:ln>
                  <a:noFill/>
                </a:ln>
                <a:effectLst/>
                <a:uLnTx/>
                <a:uFillTx/>
                <a:ea typeface="+mn-ea"/>
                <a:cs typeface="+mn-cs"/>
              </a:rPr>
              <a:t> has been the industry's standard.</a:t>
            </a:r>
          </a:p>
        </p:txBody>
      </p:sp>
      <p:sp>
        <p:nvSpPr>
          <p:cNvPr id="63" name="Oval 62"/>
          <p:cNvSpPr/>
          <p:nvPr/>
        </p:nvSpPr>
        <p:spPr>
          <a:xfrm>
            <a:off x="5648583" y="3608749"/>
            <a:ext cx="193482" cy="193483"/>
          </a:xfrm>
          <a:prstGeom prst="ellipse">
            <a:avLst/>
          </a:prstGeom>
          <a:solidFill>
            <a:schemeClr val="bg1"/>
          </a:solidFill>
          <a:ln w="3175" cap="flat">
            <a:noFill/>
            <a:prstDash val="solid"/>
            <a:miter lim="800000"/>
            <a:headEnd/>
            <a:tailEnd/>
          </a:ln>
          <a:effectLst>
            <a:outerShdw blurRad="38100" dist="25400" dir="5400000" algn="t" rotWithShape="0">
              <a:prstClr val="black">
                <a:alpha val="20000"/>
              </a:prstClr>
            </a:outerShdw>
          </a:effectLst>
        </p:spPr>
        <p:txBody>
          <a:bodyPr vert="horz" wrap="square" lIns="91440" tIns="45720" rIns="91440" bIns="45720" numCol="1" anchor="t" anchorCtr="0" compatLnSpc="1">
            <a:prstTxWarp prst="textNoShape">
              <a:avLst/>
            </a:prstTxWarp>
            <a:noAutofit/>
          </a:bodyPr>
          <a:lstStyle/>
          <a:p>
            <a:endParaRPr lang="en-US">
              <a:solidFill>
                <a:prstClr val="black"/>
              </a:solidFill>
              <a:latin typeface="Calibri"/>
            </a:endParaRPr>
          </a:p>
        </p:txBody>
      </p:sp>
      <p:sp>
        <p:nvSpPr>
          <p:cNvPr id="65" name="Oval 64"/>
          <p:cNvSpPr/>
          <p:nvPr/>
        </p:nvSpPr>
        <p:spPr>
          <a:xfrm>
            <a:off x="5895600" y="3608749"/>
            <a:ext cx="193482" cy="193483"/>
          </a:xfrm>
          <a:prstGeom prst="ellipse">
            <a:avLst/>
          </a:prstGeom>
          <a:solidFill>
            <a:schemeClr val="bg1"/>
          </a:solidFill>
          <a:ln w="3175" cap="flat">
            <a:noFill/>
            <a:prstDash val="solid"/>
            <a:miter lim="800000"/>
            <a:headEnd/>
            <a:tailEnd/>
          </a:ln>
          <a:effectLst>
            <a:outerShdw blurRad="38100" dist="25400" dir="5400000" algn="t" rotWithShape="0">
              <a:prstClr val="black">
                <a:alpha val="20000"/>
              </a:prstClr>
            </a:outerShdw>
          </a:effectLst>
        </p:spPr>
        <p:txBody>
          <a:bodyPr vert="horz" wrap="square" lIns="91440" tIns="45720" rIns="91440" bIns="45720" numCol="1" anchor="t" anchorCtr="0" compatLnSpc="1">
            <a:prstTxWarp prst="textNoShape">
              <a:avLst/>
            </a:prstTxWarp>
            <a:noAutofit/>
          </a:bodyPr>
          <a:lstStyle/>
          <a:p>
            <a:endParaRPr lang="en-US">
              <a:solidFill>
                <a:prstClr val="black"/>
              </a:solidFill>
              <a:latin typeface="Calibri"/>
            </a:endParaRPr>
          </a:p>
        </p:txBody>
      </p:sp>
      <p:sp>
        <p:nvSpPr>
          <p:cNvPr id="67" name="Oval 66"/>
          <p:cNvSpPr/>
          <p:nvPr/>
        </p:nvSpPr>
        <p:spPr>
          <a:xfrm>
            <a:off x="6142617" y="3608749"/>
            <a:ext cx="193482" cy="193483"/>
          </a:xfrm>
          <a:prstGeom prst="ellipse">
            <a:avLst/>
          </a:prstGeom>
          <a:solidFill>
            <a:schemeClr val="bg1"/>
          </a:solidFill>
          <a:ln w="3175" cap="flat">
            <a:noFill/>
            <a:prstDash val="solid"/>
            <a:miter lim="800000"/>
            <a:headEnd/>
            <a:tailEnd/>
          </a:ln>
          <a:effectLst>
            <a:outerShdw blurRad="38100" dist="25400" dir="5400000" algn="t" rotWithShape="0">
              <a:prstClr val="black">
                <a:alpha val="20000"/>
              </a:prstClr>
            </a:outerShdw>
          </a:effectLst>
        </p:spPr>
        <p:txBody>
          <a:bodyPr vert="horz" wrap="square" lIns="91440" tIns="45720" rIns="91440" bIns="45720" numCol="1" anchor="t" anchorCtr="0" compatLnSpc="1">
            <a:prstTxWarp prst="textNoShape">
              <a:avLst/>
            </a:prstTxWarp>
            <a:noAutofit/>
          </a:bodyPr>
          <a:lstStyle/>
          <a:p>
            <a:endParaRPr lang="en-US">
              <a:solidFill>
                <a:prstClr val="black"/>
              </a:solidFill>
              <a:latin typeface="Calibri"/>
            </a:endParaRPr>
          </a:p>
        </p:txBody>
      </p:sp>
      <p:grpSp>
        <p:nvGrpSpPr>
          <p:cNvPr id="59" name="Group 58"/>
          <p:cNvGrpSpPr/>
          <p:nvPr/>
        </p:nvGrpSpPr>
        <p:grpSpPr>
          <a:xfrm>
            <a:off x="5459161" y="3243825"/>
            <a:ext cx="1066360" cy="320012"/>
            <a:chOff x="3712502" y="2528037"/>
            <a:chExt cx="992050" cy="297712"/>
          </a:xfrm>
        </p:grpSpPr>
        <p:sp>
          <p:nvSpPr>
            <p:cNvPr id="60" name="TextBox 59"/>
            <p:cNvSpPr txBox="1"/>
            <p:nvPr/>
          </p:nvSpPr>
          <p:spPr>
            <a:xfrm>
              <a:off x="3938576" y="2682585"/>
              <a:ext cx="539902" cy="143164"/>
            </a:xfrm>
            <a:prstGeom prst="rect">
              <a:avLst/>
            </a:prstGeom>
            <a:noFill/>
            <a:ln w="6350">
              <a:noFill/>
              <a:prstDash val="dash"/>
            </a:ln>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effectLst/>
                  <a:uLnTx/>
                  <a:uFillTx/>
                  <a:ea typeface="+mn-ea"/>
                  <a:cs typeface="+mn-cs"/>
                </a:rPr>
                <a:t>Leader</a:t>
              </a:r>
            </a:p>
          </p:txBody>
        </p:sp>
        <p:sp>
          <p:nvSpPr>
            <p:cNvPr id="61" name="TextBox 60"/>
            <p:cNvSpPr txBox="1"/>
            <p:nvPr/>
          </p:nvSpPr>
          <p:spPr>
            <a:xfrm>
              <a:off x="3712502" y="2528037"/>
              <a:ext cx="992050" cy="143164"/>
            </a:xfrm>
            <a:prstGeom prst="rect">
              <a:avLst/>
            </a:prstGeom>
            <a:noFill/>
            <a:ln w="6350">
              <a:noFill/>
              <a:prstDash val="dash"/>
            </a:ln>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effectLst/>
                  <a:uLnTx/>
                  <a:uFillTx/>
                  <a:ea typeface="+mn-ea"/>
                  <a:cs typeface="+mn-cs"/>
                </a:rPr>
                <a:t>MEMBER </a:t>
              </a:r>
              <a:r>
                <a:rPr kumimoji="0" lang="en-US" sz="1000" b="1" i="0" u="none" strike="noStrike" kern="1200" cap="none" spc="0" normalizeH="0" baseline="0" noProof="0" dirty="0">
                  <a:ln>
                    <a:noFill/>
                  </a:ln>
                  <a:effectLst/>
                  <a:uLnTx/>
                  <a:uFillTx/>
                  <a:ea typeface="+mn-ea"/>
                  <a:cs typeface="+mn-cs"/>
                </a:rPr>
                <a:t>NAME</a:t>
              </a:r>
            </a:p>
          </p:txBody>
        </p:sp>
      </p:grpSp>
      <p:cxnSp>
        <p:nvCxnSpPr>
          <p:cNvPr id="56" name="Straight Connector 55"/>
          <p:cNvCxnSpPr/>
          <p:nvPr/>
        </p:nvCxnSpPr>
        <p:spPr>
          <a:xfrm flipV="1">
            <a:off x="6594401" y="3268815"/>
            <a:ext cx="0" cy="508427"/>
          </a:xfrm>
          <a:prstGeom prst="line">
            <a:avLst/>
          </a:prstGeom>
          <a:ln w="63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57" name="TextBox 56"/>
          <p:cNvSpPr txBox="1"/>
          <p:nvPr/>
        </p:nvSpPr>
        <p:spPr>
          <a:xfrm>
            <a:off x="6663281" y="3292195"/>
            <a:ext cx="2330469" cy="461665"/>
          </a:xfrm>
          <a:prstGeom prst="rect">
            <a:avLst/>
          </a:prstGeom>
          <a:noFill/>
          <a:ln w="6350">
            <a:noFill/>
            <a:prstDash val="dash"/>
          </a:ln>
        </p:spPr>
        <p:txBody>
          <a:bodyPr wrap="square" lIns="0" tIns="0" rIns="0" b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err="1">
                <a:ln>
                  <a:noFill/>
                </a:ln>
                <a:effectLst/>
                <a:uLnTx/>
                <a:uFillTx/>
                <a:ea typeface="+mn-ea"/>
                <a:cs typeface="+mn-cs"/>
              </a:rPr>
              <a:t>Lorem</a:t>
            </a:r>
            <a:r>
              <a:rPr kumimoji="0" lang="en-US" sz="1000" b="0" i="0" u="none" strike="noStrike" kern="1200" cap="none" spc="0" normalizeH="0" baseline="0" noProof="0" dirty="0">
                <a:ln>
                  <a:noFill/>
                </a:ln>
                <a:effectLst/>
                <a:uLnTx/>
                <a:uFillTx/>
                <a:ea typeface="+mn-ea"/>
                <a:cs typeface="+mn-cs"/>
              </a:rPr>
              <a:t> </a:t>
            </a:r>
            <a:r>
              <a:rPr kumimoji="0" lang="en-US" sz="1000" b="0" i="0" u="none" strike="noStrike" kern="1200" cap="none" spc="0" normalizeH="0" baseline="0" noProof="0" dirty="0" err="1">
                <a:ln>
                  <a:noFill/>
                </a:ln>
                <a:effectLst/>
                <a:uLnTx/>
                <a:uFillTx/>
                <a:ea typeface="+mn-ea"/>
                <a:cs typeface="+mn-cs"/>
              </a:rPr>
              <a:t>Ipsum</a:t>
            </a:r>
            <a:r>
              <a:rPr kumimoji="0" lang="en-US" sz="1000" b="0" i="0" u="none" strike="noStrike" kern="1200" cap="none" spc="0" normalizeH="0" baseline="0" noProof="0" dirty="0">
                <a:ln>
                  <a:noFill/>
                </a:ln>
                <a:effectLst/>
                <a:uLnTx/>
                <a:uFillTx/>
                <a:ea typeface="+mn-ea"/>
                <a:cs typeface="+mn-cs"/>
              </a:rPr>
              <a:t> is simply dummy text of the printing and typesetting industry. Lorem </a:t>
            </a:r>
            <a:r>
              <a:rPr kumimoji="0" lang="en-US" sz="1000" b="0" i="0" u="none" strike="noStrike" kern="1200" cap="none" spc="0" normalizeH="0" baseline="0" noProof="0" dirty="0" err="1">
                <a:ln>
                  <a:noFill/>
                </a:ln>
                <a:effectLst/>
                <a:uLnTx/>
                <a:uFillTx/>
                <a:ea typeface="+mn-ea"/>
                <a:cs typeface="+mn-cs"/>
              </a:rPr>
              <a:t>Ipsum</a:t>
            </a:r>
            <a:r>
              <a:rPr kumimoji="0" lang="en-US" sz="1000" b="0" i="0" u="none" strike="noStrike" kern="1200" cap="none" spc="0" normalizeH="0" baseline="0" noProof="0" dirty="0">
                <a:ln>
                  <a:noFill/>
                </a:ln>
                <a:effectLst/>
                <a:uLnTx/>
                <a:uFillTx/>
                <a:ea typeface="+mn-ea"/>
                <a:cs typeface="+mn-cs"/>
              </a:rPr>
              <a:t> has been the industry's standard.</a:t>
            </a:r>
          </a:p>
        </p:txBody>
      </p:sp>
      <p:sp>
        <p:nvSpPr>
          <p:cNvPr id="79" name="Oval 78"/>
          <p:cNvSpPr/>
          <p:nvPr/>
        </p:nvSpPr>
        <p:spPr>
          <a:xfrm>
            <a:off x="6046595" y="4427109"/>
            <a:ext cx="193482" cy="193483"/>
          </a:xfrm>
          <a:prstGeom prst="ellipse">
            <a:avLst/>
          </a:prstGeom>
          <a:solidFill>
            <a:schemeClr val="bg1"/>
          </a:solidFill>
          <a:ln w="3175" cap="flat">
            <a:noFill/>
            <a:prstDash val="solid"/>
            <a:miter lim="800000"/>
            <a:headEnd/>
            <a:tailEnd/>
          </a:ln>
          <a:effectLst>
            <a:outerShdw blurRad="38100" dist="25400" dir="5400000" algn="t" rotWithShape="0">
              <a:prstClr val="black">
                <a:alpha val="20000"/>
              </a:prstClr>
            </a:outerShdw>
          </a:effectLst>
        </p:spPr>
        <p:txBody>
          <a:bodyPr vert="horz" wrap="square" lIns="91440" tIns="45720" rIns="91440" bIns="45720" numCol="1" anchor="t" anchorCtr="0" compatLnSpc="1">
            <a:prstTxWarp prst="textNoShape">
              <a:avLst/>
            </a:prstTxWarp>
            <a:noAutofit/>
          </a:bodyPr>
          <a:lstStyle/>
          <a:p>
            <a:endParaRPr lang="en-US">
              <a:solidFill>
                <a:prstClr val="black"/>
              </a:solidFill>
              <a:latin typeface="Calibri"/>
            </a:endParaRPr>
          </a:p>
        </p:txBody>
      </p:sp>
      <p:sp>
        <p:nvSpPr>
          <p:cNvPr id="81" name="Oval 80"/>
          <p:cNvSpPr/>
          <p:nvPr/>
        </p:nvSpPr>
        <p:spPr>
          <a:xfrm>
            <a:off x="6293612" y="4427109"/>
            <a:ext cx="193482" cy="193483"/>
          </a:xfrm>
          <a:prstGeom prst="ellipse">
            <a:avLst/>
          </a:prstGeom>
          <a:solidFill>
            <a:schemeClr val="bg1"/>
          </a:solidFill>
          <a:ln w="3175" cap="flat">
            <a:noFill/>
            <a:prstDash val="solid"/>
            <a:miter lim="800000"/>
            <a:headEnd/>
            <a:tailEnd/>
          </a:ln>
          <a:effectLst>
            <a:outerShdw blurRad="38100" dist="25400" dir="5400000" algn="t" rotWithShape="0">
              <a:prstClr val="black">
                <a:alpha val="20000"/>
              </a:prstClr>
            </a:outerShdw>
          </a:effectLst>
        </p:spPr>
        <p:txBody>
          <a:bodyPr vert="horz" wrap="square" lIns="91440" tIns="45720" rIns="91440" bIns="45720" numCol="1" anchor="t" anchorCtr="0" compatLnSpc="1">
            <a:prstTxWarp prst="textNoShape">
              <a:avLst/>
            </a:prstTxWarp>
            <a:noAutofit/>
          </a:bodyPr>
          <a:lstStyle/>
          <a:p>
            <a:endParaRPr lang="en-US">
              <a:solidFill>
                <a:prstClr val="black"/>
              </a:solidFill>
              <a:latin typeface="Calibri"/>
            </a:endParaRPr>
          </a:p>
        </p:txBody>
      </p:sp>
      <p:sp>
        <p:nvSpPr>
          <p:cNvPr id="83" name="Oval 82"/>
          <p:cNvSpPr/>
          <p:nvPr/>
        </p:nvSpPr>
        <p:spPr>
          <a:xfrm>
            <a:off x="6540629" y="4427109"/>
            <a:ext cx="193482" cy="193483"/>
          </a:xfrm>
          <a:prstGeom prst="ellipse">
            <a:avLst/>
          </a:prstGeom>
          <a:solidFill>
            <a:schemeClr val="bg1"/>
          </a:solidFill>
          <a:ln w="3175" cap="flat">
            <a:noFill/>
            <a:prstDash val="solid"/>
            <a:miter lim="800000"/>
            <a:headEnd/>
            <a:tailEnd/>
          </a:ln>
          <a:effectLst>
            <a:outerShdw blurRad="38100" dist="25400" dir="5400000" algn="t" rotWithShape="0">
              <a:prstClr val="black">
                <a:alpha val="20000"/>
              </a:prstClr>
            </a:outerShdw>
          </a:effectLst>
        </p:spPr>
        <p:txBody>
          <a:bodyPr vert="horz" wrap="square" lIns="91440" tIns="45720" rIns="91440" bIns="45720" numCol="1" anchor="t" anchorCtr="0" compatLnSpc="1">
            <a:prstTxWarp prst="textNoShape">
              <a:avLst/>
            </a:prstTxWarp>
            <a:noAutofit/>
          </a:bodyPr>
          <a:lstStyle/>
          <a:p>
            <a:endParaRPr lang="en-US">
              <a:solidFill>
                <a:prstClr val="black"/>
              </a:solidFill>
              <a:latin typeface="Calibri"/>
            </a:endParaRPr>
          </a:p>
        </p:txBody>
      </p:sp>
      <p:grpSp>
        <p:nvGrpSpPr>
          <p:cNvPr id="75" name="Group 74"/>
          <p:cNvGrpSpPr/>
          <p:nvPr/>
        </p:nvGrpSpPr>
        <p:grpSpPr>
          <a:xfrm>
            <a:off x="5857173" y="4062185"/>
            <a:ext cx="1066360" cy="320012"/>
            <a:chOff x="3712502" y="2528037"/>
            <a:chExt cx="992050" cy="297712"/>
          </a:xfrm>
        </p:grpSpPr>
        <p:sp>
          <p:nvSpPr>
            <p:cNvPr id="76" name="TextBox 75"/>
            <p:cNvSpPr txBox="1"/>
            <p:nvPr/>
          </p:nvSpPr>
          <p:spPr>
            <a:xfrm>
              <a:off x="3938576" y="2682585"/>
              <a:ext cx="539902" cy="143164"/>
            </a:xfrm>
            <a:prstGeom prst="rect">
              <a:avLst/>
            </a:prstGeom>
            <a:noFill/>
            <a:ln w="6350">
              <a:noFill/>
              <a:prstDash val="dash"/>
            </a:ln>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effectLst/>
                  <a:uLnTx/>
                  <a:uFillTx/>
                  <a:ea typeface="+mn-ea"/>
                  <a:cs typeface="+mn-cs"/>
                </a:rPr>
                <a:t>Leader</a:t>
              </a:r>
            </a:p>
          </p:txBody>
        </p:sp>
        <p:sp>
          <p:nvSpPr>
            <p:cNvPr id="77" name="TextBox 76"/>
            <p:cNvSpPr txBox="1"/>
            <p:nvPr/>
          </p:nvSpPr>
          <p:spPr>
            <a:xfrm>
              <a:off x="3712502" y="2528037"/>
              <a:ext cx="992050" cy="143164"/>
            </a:xfrm>
            <a:prstGeom prst="rect">
              <a:avLst/>
            </a:prstGeom>
            <a:noFill/>
            <a:ln w="6350">
              <a:noFill/>
              <a:prstDash val="dash"/>
            </a:ln>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effectLst/>
                  <a:uLnTx/>
                  <a:uFillTx/>
                  <a:ea typeface="+mn-ea"/>
                  <a:cs typeface="+mn-cs"/>
                </a:rPr>
                <a:t>MEMBER </a:t>
              </a:r>
              <a:r>
                <a:rPr kumimoji="0" lang="en-US" sz="1000" b="1" i="0" u="none" strike="noStrike" kern="1200" cap="none" spc="0" normalizeH="0" baseline="0" noProof="0" dirty="0">
                  <a:ln>
                    <a:noFill/>
                  </a:ln>
                  <a:effectLst/>
                  <a:uLnTx/>
                  <a:uFillTx/>
                  <a:ea typeface="+mn-ea"/>
                  <a:cs typeface="+mn-cs"/>
                </a:rPr>
                <a:t>NAME</a:t>
              </a:r>
            </a:p>
          </p:txBody>
        </p:sp>
      </p:grpSp>
      <p:cxnSp>
        <p:nvCxnSpPr>
          <p:cNvPr id="72" name="Straight Connector 71"/>
          <p:cNvCxnSpPr/>
          <p:nvPr/>
        </p:nvCxnSpPr>
        <p:spPr>
          <a:xfrm flipV="1">
            <a:off x="6992413" y="4087175"/>
            <a:ext cx="0" cy="508427"/>
          </a:xfrm>
          <a:prstGeom prst="line">
            <a:avLst/>
          </a:prstGeom>
          <a:ln w="63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73" name="TextBox 72"/>
          <p:cNvSpPr txBox="1"/>
          <p:nvPr/>
        </p:nvSpPr>
        <p:spPr>
          <a:xfrm>
            <a:off x="7061293" y="4110555"/>
            <a:ext cx="2330469" cy="461665"/>
          </a:xfrm>
          <a:prstGeom prst="rect">
            <a:avLst/>
          </a:prstGeom>
          <a:noFill/>
          <a:ln w="6350">
            <a:noFill/>
            <a:prstDash val="dash"/>
          </a:ln>
        </p:spPr>
        <p:txBody>
          <a:bodyPr wrap="square" lIns="0" tIns="0" rIns="0" b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err="1">
                <a:ln>
                  <a:noFill/>
                </a:ln>
                <a:effectLst/>
                <a:uLnTx/>
                <a:uFillTx/>
                <a:ea typeface="+mn-ea"/>
                <a:cs typeface="+mn-cs"/>
              </a:rPr>
              <a:t>Lorem</a:t>
            </a:r>
            <a:r>
              <a:rPr kumimoji="0" lang="en-US" sz="1000" b="0" i="0" u="none" strike="noStrike" kern="1200" cap="none" spc="0" normalizeH="0" baseline="0" noProof="0" dirty="0">
                <a:ln>
                  <a:noFill/>
                </a:ln>
                <a:effectLst/>
                <a:uLnTx/>
                <a:uFillTx/>
                <a:ea typeface="+mn-ea"/>
                <a:cs typeface="+mn-cs"/>
              </a:rPr>
              <a:t> </a:t>
            </a:r>
            <a:r>
              <a:rPr kumimoji="0" lang="en-US" sz="1000" b="0" i="0" u="none" strike="noStrike" kern="1200" cap="none" spc="0" normalizeH="0" baseline="0" noProof="0" dirty="0" err="1">
                <a:ln>
                  <a:noFill/>
                </a:ln>
                <a:effectLst/>
                <a:uLnTx/>
                <a:uFillTx/>
                <a:ea typeface="+mn-ea"/>
                <a:cs typeface="+mn-cs"/>
              </a:rPr>
              <a:t>Ipsum</a:t>
            </a:r>
            <a:r>
              <a:rPr kumimoji="0" lang="en-US" sz="1000" b="0" i="0" u="none" strike="noStrike" kern="1200" cap="none" spc="0" normalizeH="0" baseline="0" noProof="0" dirty="0">
                <a:ln>
                  <a:noFill/>
                </a:ln>
                <a:effectLst/>
                <a:uLnTx/>
                <a:uFillTx/>
                <a:ea typeface="+mn-ea"/>
                <a:cs typeface="+mn-cs"/>
              </a:rPr>
              <a:t> is simply dummy text of the printing and typesetting industry. Lorem </a:t>
            </a:r>
            <a:r>
              <a:rPr kumimoji="0" lang="en-US" sz="1000" b="0" i="0" u="none" strike="noStrike" kern="1200" cap="none" spc="0" normalizeH="0" baseline="0" noProof="0" dirty="0" err="1">
                <a:ln>
                  <a:noFill/>
                </a:ln>
                <a:effectLst/>
                <a:uLnTx/>
                <a:uFillTx/>
                <a:ea typeface="+mn-ea"/>
                <a:cs typeface="+mn-cs"/>
              </a:rPr>
              <a:t>Ipsum</a:t>
            </a:r>
            <a:r>
              <a:rPr kumimoji="0" lang="en-US" sz="1000" b="0" i="0" u="none" strike="noStrike" kern="1200" cap="none" spc="0" normalizeH="0" baseline="0" noProof="0" dirty="0">
                <a:ln>
                  <a:noFill/>
                </a:ln>
                <a:effectLst/>
                <a:uLnTx/>
                <a:uFillTx/>
                <a:ea typeface="+mn-ea"/>
                <a:cs typeface="+mn-cs"/>
              </a:rPr>
              <a:t> has been the industry's standard.</a:t>
            </a:r>
          </a:p>
        </p:txBody>
      </p:sp>
      <p:sp>
        <p:nvSpPr>
          <p:cNvPr id="95" name="Oval 94"/>
          <p:cNvSpPr/>
          <p:nvPr/>
        </p:nvSpPr>
        <p:spPr>
          <a:xfrm>
            <a:off x="6444607" y="5245468"/>
            <a:ext cx="193482" cy="193483"/>
          </a:xfrm>
          <a:prstGeom prst="ellipse">
            <a:avLst/>
          </a:prstGeom>
          <a:solidFill>
            <a:schemeClr val="bg1"/>
          </a:solidFill>
          <a:ln w="3175" cap="flat">
            <a:noFill/>
            <a:prstDash val="solid"/>
            <a:miter lim="800000"/>
            <a:headEnd/>
            <a:tailEnd/>
          </a:ln>
          <a:effectLst>
            <a:outerShdw blurRad="38100" dist="25400" dir="5400000" algn="t" rotWithShape="0">
              <a:prstClr val="black">
                <a:alpha val="20000"/>
              </a:prstClr>
            </a:outerShdw>
          </a:effectLst>
        </p:spPr>
        <p:txBody>
          <a:bodyPr vert="horz" wrap="square" lIns="91440" tIns="45720" rIns="91440" bIns="45720" numCol="1" anchor="t" anchorCtr="0" compatLnSpc="1">
            <a:prstTxWarp prst="textNoShape">
              <a:avLst/>
            </a:prstTxWarp>
            <a:noAutofit/>
          </a:bodyPr>
          <a:lstStyle/>
          <a:p>
            <a:endParaRPr lang="en-US">
              <a:solidFill>
                <a:prstClr val="black"/>
              </a:solidFill>
              <a:latin typeface="Calibri"/>
            </a:endParaRPr>
          </a:p>
        </p:txBody>
      </p:sp>
      <p:sp>
        <p:nvSpPr>
          <p:cNvPr id="97" name="Oval 96"/>
          <p:cNvSpPr/>
          <p:nvPr/>
        </p:nvSpPr>
        <p:spPr>
          <a:xfrm>
            <a:off x="6691624" y="5245468"/>
            <a:ext cx="193482" cy="193483"/>
          </a:xfrm>
          <a:prstGeom prst="ellipse">
            <a:avLst/>
          </a:prstGeom>
          <a:solidFill>
            <a:schemeClr val="bg1"/>
          </a:solidFill>
          <a:ln w="3175" cap="flat">
            <a:noFill/>
            <a:prstDash val="solid"/>
            <a:miter lim="800000"/>
            <a:headEnd/>
            <a:tailEnd/>
          </a:ln>
          <a:effectLst>
            <a:outerShdw blurRad="38100" dist="25400" dir="5400000" algn="t" rotWithShape="0">
              <a:prstClr val="black">
                <a:alpha val="20000"/>
              </a:prstClr>
            </a:outerShdw>
          </a:effectLst>
        </p:spPr>
        <p:txBody>
          <a:bodyPr vert="horz" wrap="square" lIns="91440" tIns="45720" rIns="91440" bIns="45720" numCol="1" anchor="t" anchorCtr="0" compatLnSpc="1">
            <a:prstTxWarp prst="textNoShape">
              <a:avLst/>
            </a:prstTxWarp>
            <a:noAutofit/>
          </a:bodyPr>
          <a:lstStyle/>
          <a:p>
            <a:endParaRPr lang="en-US">
              <a:solidFill>
                <a:prstClr val="black"/>
              </a:solidFill>
              <a:latin typeface="Calibri"/>
            </a:endParaRPr>
          </a:p>
        </p:txBody>
      </p:sp>
      <p:sp>
        <p:nvSpPr>
          <p:cNvPr id="99" name="Oval 98"/>
          <p:cNvSpPr/>
          <p:nvPr/>
        </p:nvSpPr>
        <p:spPr>
          <a:xfrm>
            <a:off x="6938641" y="5245468"/>
            <a:ext cx="193482" cy="193483"/>
          </a:xfrm>
          <a:prstGeom prst="ellipse">
            <a:avLst/>
          </a:prstGeom>
          <a:solidFill>
            <a:schemeClr val="bg1"/>
          </a:solidFill>
          <a:ln w="3175" cap="flat">
            <a:noFill/>
            <a:prstDash val="solid"/>
            <a:miter lim="800000"/>
            <a:headEnd/>
            <a:tailEnd/>
          </a:ln>
          <a:effectLst>
            <a:outerShdw blurRad="38100" dist="25400" dir="5400000" algn="t" rotWithShape="0">
              <a:prstClr val="black">
                <a:alpha val="20000"/>
              </a:prstClr>
            </a:outerShdw>
          </a:effectLst>
        </p:spPr>
        <p:txBody>
          <a:bodyPr vert="horz" wrap="square" lIns="91440" tIns="45720" rIns="91440" bIns="45720" numCol="1" anchor="t" anchorCtr="0" compatLnSpc="1">
            <a:prstTxWarp prst="textNoShape">
              <a:avLst/>
            </a:prstTxWarp>
            <a:noAutofit/>
          </a:bodyPr>
          <a:lstStyle/>
          <a:p>
            <a:endParaRPr lang="en-US">
              <a:solidFill>
                <a:prstClr val="black"/>
              </a:solidFill>
              <a:latin typeface="Calibri"/>
            </a:endParaRPr>
          </a:p>
        </p:txBody>
      </p:sp>
      <p:grpSp>
        <p:nvGrpSpPr>
          <p:cNvPr id="91" name="Group 90"/>
          <p:cNvGrpSpPr/>
          <p:nvPr/>
        </p:nvGrpSpPr>
        <p:grpSpPr>
          <a:xfrm>
            <a:off x="6255185" y="4880544"/>
            <a:ext cx="1066360" cy="320012"/>
            <a:chOff x="3712502" y="2528037"/>
            <a:chExt cx="992050" cy="297712"/>
          </a:xfrm>
        </p:grpSpPr>
        <p:sp>
          <p:nvSpPr>
            <p:cNvPr id="92" name="TextBox 91"/>
            <p:cNvSpPr txBox="1"/>
            <p:nvPr/>
          </p:nvSpPr>
          <p:spPr>
            <a:xfrm>
              <a:off x="3938576" y="2682585"/>
              <a:ext cx="539902" cy="143164"/>
            </a:xfrm>
            <a:prstGeom prst="rect">
              <a:avLst/>
            </a:prstGeom>
            <a:noFill/>
            <a:ln w="6350">
              <a:noFill/>
              <a:prstDash val="dash"/>
            </a:ln>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effectLst/>
                  <a:uLnTx/>
                  <a:uFillTx/>
                  <a:ea typeface="+mn-ea"/>
                  <a:cs typeface="+mn-cs"/>
                </a:rPr>
                <a:t>Leader</a:t>
              </a:r>
            </a:p>
          </p:txBody>
        </p:sp>
        <p:sp>
          <p:nvSpPr>
            <p:cNvPr id="93" name="TextBox 92"/>
            <p:cNvSpPr txBox="1"/>
            <p:nvPr/>
          </p:nvSpPr>
          <p:spPr>
            <a:xfrm>
              <a:off x="3712502" y="2528037"/>
              <a:ext cx="992050" cy="143164"/>
            </a:xfrm>
            <a:prstGeom prst="rect">
              <a:avLst/>
            </a:prstGeom>
            <a:noFill/>
            <a:ln w="6350">
              <a:noFill/>
              <a:prstDash val="dash"/>
            </a:ln>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effectLst/>
                  <a:uLnTx/>
                  <a:uFillTx/>
                  <a:ea typeface="+mn-ea"/>
                  <a:cs typeface="+mn-cs"/>
                </a:rPr>
                <a:t>MEMBER </a:t>
              </a:r>
              <a:r>
                <a:rPr kumimoji="0" lang="en-US" sz="1000" b="1" i="0" u="none" strike="noStrike" kern="1200" cap="none" spc="0" normalizeH="0" baseline="0" noProof="0" dirty="0">
                  <a:ln>
                    <a:noFill/>
                  </a:ln>
                  <a:effectLst/>
                  <a:uLnTx/>
                  <a:uFillTx/>
                  <a:ea typeface="+mn-ea"/>
                  <a:cs typeface="+mn-cs"/>
                </a:rPr>
                <a:t>NAME</a:t>
              </a:r>
            </a:p>
          </p:txBody>
        </p:sp>
      </p:grpSp>
      <p:cxnSp>
        <p:nvCxnSpPr>
          <p:cNvPr id="88" name="Straight Connector 87"/>
          <p:cNvCxnSpPr/>
          <p:nvPr/>
        </p:nvCxnSpPr>
        <p:spPr>
          <a:xfrm flipV="1">
            <a:off x="7390425" y="4905534"/>
            <a:ext cx="0" cy="508427"/>
          </a:xfrm>
          <a:prstGeom prst="line">
            <a:avLst/>
          </a:prstGeom>
          <a:ln w="63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89" name="TextBox 88"/>
          <p:cNvSpPr txBox="1"/>
          <p:nvPr/>
        </p:nvSpPr>
        <p:spPr>
          <a:xfrm>
            <a:off x="7459305" y="4928914"/>
            <a:ext cx="2330469" cy="461665"/>
          </a:xfrm>
          <a:prstGeom prst="rect">
            <a:avLst/>
          </a:prstGeom>
          <a:noFill/>
          <a:ln w="6350">
            <a:noFill/>
            <a:prstDash val="dash"/>
          </a:ln>
        </p:spPr>
        <p:txBody>
          <a:bodyPr wrap="square" lIns="0" tIns="0" rIns="0" b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err="1">
                <a:ln>
                  <a:noFill/>
                </a:ln>
                <a:effectLst/>
                <a:uLnTx/>
                <a:uFillTx/>
                <a:ea typeface="+mn-ea"/>
                <a:cs typeface="+mn-cs"/>
              </a:rPr>
              <a:t>Lorem</a:t>
            </a:r>
            <a:r>
              <a:rPr kumimoji="0" lang="en-US" sz="1000" b="0" i="0" u="none" strike="noStrike" kern="1200" cap="none" spc="0" normalizeH="0" baseline="0" noProof="0" dirty="0">
                <a:ln>
                  <a:noFill/>
                </a:ln>
                <a:effectLst/>
                <a:uLnTx/>
                <a:uFillTx/>
                <a:ea typeface="+mn-ea"/>
                <a:cs typeface="+mn-cs"/>
              </a:rPr>
              <a:t> </a:t>
            </a:r>
            <a:r>
              <a:rPr kumimoji="0" lang="en-US" sz="1000" b="0" i="0" u="none" strike="noStrike" kern="1200" cap="none" spc="0" normalizeH="0" baseline="0" noProof="0" dirty="0" err="1">
                <a:ln>
                  <a:noFill/>
                </a:ln>
                <a:effectLst/>
                <a:uLnTx/>
                <a:uFillTx/>
                <a:ea typeface="+mn-ea"/>
                <a:cs typeface="+mn-cs"/>
              </a:rPr>
              <a:t>Ipsum</a:t>
            </a:r>
            <a:r>
              <a:rPr kumimoji="0" lang="en-US" sz="1000" b="0" i="0" u="none" strike="noStrike" kern="1200" cap="none" spc="0" normalizeH="0" baseline="0" noProof="0" dirty="0">
                <a:ln>
                  <a:noFill/>
                </a:ln>
                <a:effectLst/>
                <a:uLnTx/>
                <a:uFillTx/>
                <a:ea typeface="+mn-ea"/>
                <a:cs typeface="+mn-cs"/>
              </a:rPr>
              <a:t> is simply dummy text of the printing and typesetting industry. Lorem </a:t>
            </a:r>
            <a:r>
              <a:rPr kumimoji="0" lang="en-US" sz="1000" b="0" i="0" u="none" strike="noStrike" kern="1200" cap="none" spc="0" normalizeH="0" baseline="0" noProof="0" dirty="0" err="1">
                <a:ln>
                  <a:noFill/>
                </a:ln>
                <a:effectLst/>
                <a:uLnTx/>
                <a:uFillTx/>
                <a:ea typeface="+mn-ea"/>
                <a:cs typeface="+mn-cs"/>
              </a:rPr>
              <a:t>Ipsum</a:t>
            </a:r>
            <a:r>
              <a:rPr kumimoji="0" lang="en-US" sz="1000" b="0" i="0" u="none" strike="noStrike" kern="1200" cap="none" spc="0" normalizeH="0" baseline="0" noProof="0" dirty="0">
                <a:ln>
                  <a:noFill/>
                </a:ln>
                <a:effectLst/>
                <a:uLnTx/>
                <a:uFillTx/>
                <a:ea typeface="+mn-ea"/>
                <a:cs typeface="+mn-cs"/>
              </a:rPr>
              <a:t> has been the industry's standard.</a:t>
            </a:r>
          </a:p>
        </p:txBody>
      </p:sp>
      <p:sp>
        <p:nvSpPr>
          <p:cNvPr id="103" name="Rectangle 102"/>
          <p:cNvSpPr/>
          <p:nvPr/>
        </p:nvSpPr>
        <p:spPr>
          <a:xfrm>
            <a:off x="12344400" y="0"/>
            <a:ext cx="469900" cy="469900"/>
          </a:xfrm>
          <a:prstGeom prst="rect">
            <a:avLst/>
          </a:prstGeom>
          <a:solidFill>
            <a:srgbClr val="E7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4" name="Rectangle 103"/>
          <p:cNvSpPr/>
          <p:nvPr/>
        </p:nvSpPr>
        <p:spPr>
          <a:xfrm>
            <a:off x="12344400" y="649557"/>
            <a:ext cx="469900" cy="469900"/>
          </a:xfrm>
          <a:prstGeom prst="rect">
            <a:avLst/>
          </a:prstGeom>
          <a:solidFill>
            <a:srgbClr val="AFABA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5" name="Rectangle 104"/>
          <p:cNvSpPr/>
          <p:nvPr/>
        </p:nvSpPr>
        <p:spPr>
          <a:xfrm>
            <a:off x="12344400" y="1299114"/>
            <a:ext cx="469900" cy="469900"/>
          </a:xfrm>
          <a:prstGeom prst="rect">
            <a:avLst/>
          </a:prstGeom>
          <a:solidFill>
            <a:srgbClr val="76717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7" name="Rectangle 106"/>
          <p:cNvSpPr/>
          <p:nvPr/>
        </p:nvSpPr>
        <p:spPr>
          <a:xfrm>
            <a:off x="12966699" y="0"/>
            <a:ext cx="469900" cy="469900"/>
          </a:xfrm>
          <a:prstGeom prst="rect">
            <a:avLst/>
          </a:prstGeom>
          <a:solidFill>
            <a:srgbClr val="E8786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8" name="Rectangle 107"/>
          <p:cNvSpPr/>
          <p:nvPr/>
        </p:nvSpPr>
        <p:spPr>
          <a:xfrm>
            <a:off x="12966699" y="649557"/>
            <a:ext cx="469900" cy="469900"/>
          </a:xfrm>
          <a:prstGeom prst="rect">
            <a:avLst/>
          </a:prstGeom>
          <a:solidFill>
            <a:srgbClr val="E258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9" name="Rectangle 108"/>
          <p:cNvSpPr/>
          <p:nvPr/>
        </p:nvSpPr>
        <p:spPr>
          <a:xfrm>
            <a:off x="12966699" y="1299114"/>
            <a:ext cx="469900" cy="469900"/>
          </a:xfrm>
          <a:prstGeom prst="rect">
            <a:avLst/>
          </a:prstGeom>
          <a:solidFill>
            <a:srgbClr val="D63E2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0" name="Rectangle 109"/>
          <p:cNvSpPr/>
          <p:nvPr/>
        </p:nvSpPr>
        <p:spPr>
          <a:xfrm>
            <a:off x="13588998" y="0"/>
            <a:ext cx="469900" cy="469900"/>
          </a:xfrm>
          <a:prstGeom prst="rect">
            <a:avLst/>
          </a:prstGeom>
          <a:solidFill>
            <a:srgbClr val="8EDCD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1" name="Rectangle 110"/>
          <p:cNvSpPr/>
          <p:nvPr/>
        </p:nvSpPr>
        <p:spPr>
          <a:xfrm>
            <a:off x="13588998" y="649557"/>
            <a:ext cx="469900" cy="469900"/>
          </a:xfrm>
          <a:prstGeom prst="rect">
            <a:avLst/>
          </a:prstGeom>
          <a:solidFill>
            <a:srgbClr val="78D2D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2" name="Rectangle 111"/>
          <p:cNvSpPr/>
          <p:nvPr/>
        </p:nvSpPr>
        <p:spPr>
          <a:xfrm>
            <a:off x="13588998" y="1299114"/>
            <a:ext cx="469900" cy="469900"/>
          </a:xfrm>
          <a:prstGeom prst="rect">
            <a:avLst/>
          </a:prstGeom>
          <a:solidFill>
            <a:srgbClr val="4CC7C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3" name="Rectangle 112"/>
          <p:cNvSpPr/>
          <p:nvPr/>
        </p:nvSpPr>
        <p:spPr>
          <a:xfrm>
            <a:off x="14211297" y="0"/>
            <a:ext cx="469900" cy="469900"/>
          </a:xfrm>
          <a:prstGeom prst="rect">
            <a:avLst/>
          </a:prstGeom>
          <a:solidFill>
            <a:srgbClr val="55535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4" name="Rectangle 113"/>
          <p:cNvSpPr/>
          <p:nvPr/>
        </p:nvSpPr>
        <p:spPr>
          <a:xfrm>
            <a:off x="14211297" y="649557"/>
            <a:ext cx="469900" cy="469900"/>
          </a:xfrm>
          <a:prstGeom prst="rect">
            <a:avLst/>
          </a:prstGeom>
          <a:solidFill>
            <a:srgbClr val="3B393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5" name="Rectangle 114"/>
          <p:cNvSpPr/>
          <p:nvPr/>
        </p:nvSpPr>
        <p:spPr>
          <a:xfrm>
            <a:off x="14211297" y="1299114"/>
            <a:ext cx="469900" cy="469900"/>
          </a:xfrm>
          <a:prstGeom prst="rect">
            <a:avLst/>
          </a:prstGeom>
          <a:solidFill>
            <a:srgbClr val="25232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46" name="Group 45"/>
          <p:cNvGrpSpPr>
            <a:grpSpLocks noChangeAspect="1"/>
          </p:cNvGrpSpPr>
          <p:nvPr/>
        </p:nvGrpSpPr>
        <p:grpSpPr>
          <a:xfrm>
            <a:off x="5298477" y="2854521"/>
            <a:ext cx="97669" cy="65219"/>
            <a:chOff x="5867374" y="2350192"/>
            <a:chExt cx="220415" cy="147182"/>
          </a:xfrm>
          <a:solidFill>
            <a:srgbClr val="E2583D"/>
          </a:solidFill>
          <a:effectLst/>
        </p:grpSpPr>
        <p:sp>
          <p:nvSpPr>
            <p:cNvPr id="52" name="Freeform 3506"/>
            <p:cNvSpPr>
              <a:spLocks/>
            </p:cNvSpPr>
            <p:nvPr/>
          </p:nvSpPr>
          <p:spPr bwMode="auto">
            <a:xfrm>
              <a:off x="5867374" y="2355679"/>
              <a:ext cx="220415" cy="141695"/>
            </a:xfrm>
            <a:custGeom>
              <a:avLst/>
              <a:gdLst>
                <a:gd name="T0" fmla="*/ 661 w 673"/>
                <a:gd name="T1" fmla="*/ 0 h 429"/>
                <a:gd name="T2" fmla="*/ 357 w 673"/>
                <a:gd name="T3" fmla="*/ 245 h 429"/>
                <a:gd name="T4" fmla="*/ 354 w 673"/>
                <a:gd name="T5" fmla="*/ 248 h 429"/>
                <a:gd name="T6" fmla="*/ 350 w 673"/>
                <a:gd name="T7" fmla="*/ 248 h 429"/>
                <a:gd name="T8" fmla="*/ 346 w 673"/>
                <a:gd name="T9" fmla="*/ 248 h 429"/>
                <a:gd name="T10" fmla="*/ 342 w 673"/>
                <a:gd name="T11" fmla="*/ 247 h 429"/>
                <a:gd name="T12" fmla="*/ 11 w 673"/>
                <a:gd name="T13" fmla="*/ 6 h 429"/>
                <a:gd name="T14" fmla="*/ 7 w 673"/>
                <a:gd name="T15" fmla="*/ 14 h 429"/>
                <a:gd name="T16" fmla="*/ 3 w 673"/>
                <a:gd name="T17" fmla="*/ 23 h 429"/>
                <a:gd name="T18" fmla="*/ 2 w 673"/>
                <a:gd name="T19" fmla="*/ 33 h 429"/>
                <a:gd name="T20" fmla="*/ 0 w 673"/>
                <a:gd name="T21" fmla="*/ 44 h 429"/>
                <a:gd name="T22" fmla="*/ 0 w 673"/>
                <a:gd name="T23" fmla="*/ 357 h 429"/>
                <a:gd name="T24" fmla="*/ 2 w 673"/>
                <a:gd name="T25" fmla="*/ 365 h 429"/>
                <a:gd name="T26" fmla="*/ 2 w 673"/>
                <a:gd name="T27" fmla="*/ 371 h 429"/>
                <a:gd name="T28" fmla="*/ 4 w 673"/>
                <a:gd name="T29" fmla="*/ 379 h 429"/>
                <a:gd name="T30" fmla="*/ 6 w 673"/>
                <a:gd name="T31" fmla="*/ 385 h 429"/>
                <a:gd name="T32" fmla="*/ 9 w 673"/>
                <a:gd name="T33" fmla="*/ 392 h 429"/>
                <a:gd name="T34" fmla="*/ 12 w 673"/>
                <a:gd name="T35" fmla="*/ 398 h 429"/>
                <a:gd name="T36" fmla="*/ 16 w 673"/>
                <a:gd name="T37" fmla="*/ 403 h 429"/>
                <a:gd name="T38" fmla="*/ 21 w 673"/>
                <a:gd name="T39" fmla="*/ 408 h 429"/>
                <a:gd name="T40" fmla="*/ 26 w 673"/>
                <a:gd name="T41" fmla="*/ 412 h 429"/>
                <a:gd name="T42" fmla="*/ 31 w 673"/>
                <a:gd name="T43" fmla="*/ 417 h 429"/>
                <a:gd name="T44" fmla="*/ 36 w 673"/>
                <a:gd name="T45" fmla="*/ 420 h 429"/>
                <a:gd name="T46" fmla="*/ 43 w 673"/>
                <a:gd name="T47" fmla="*/ 424 h 429"/>
                <a:gd name="T48" fmla="*/ 49 w 673"/>
                <a:gd name="T49" fmla="*/ 425 h 429"/>
                <a:gd name="T50" fmla="*/ 57 w 673"/>
                <a:gd name="T51" fmla="*/ 428 h 429"/>
                <a:gd name="T52" fmla="*/ 63 w 673"/>
                <a:gd name="T53" fmla="*/ 429 h 429"/>
                <a:gd name="T54" fmla="*/ 71 w 673"/>
                <a:gd name="T55" fmla="*/ 429 h 429"/>
                <a:gd name="T56" fmla="*/ 601 w 673"/>
                <a:gd name="T57" fmla="*/ 429 h 429"/>
                <a:gd name="T58" fmla="*/ 609 w 673"/>
                <a:gd name="T59" fmla="*/ 429 h 429"/>
                <a:gd name="T60" fmla="*/ 616 w 673"/>
                <a:gd name="T61" fmla="*/ 428 h 429"/>
                <a:gd name="T62" fmla="*/ 623 w 673"/>
                <a:gd name="T63" fmla="*/ 425 h 429"/>
                <a:gd name="T64" fmla="*/ 630 w 673"/>
                <a:gd name="T65" fmla="*/ 423 h 429"/>
                <a:gd name="T66" fmla="*/ 636 w 673"/>
                <a:gd name="T67" fmla="*/ 420 h 429"/>
                <a:gd name="T68" fmla="*/ 643 w 673"/>
                <a:gd name="T69" fmla="*/ 416 h 429"/>
                <a:gd name="T70" fmla="*/ 648 w 673"/>
                <a:gd name="T71" fmla="*/ 412 h 429"/>
                <a:gd name="T72" fmla="*/ 653 w 673"/>
                <a:gd name="T73" fmla="*/ 407 h 429"/>
                <a:gd name="T74" fmla="*/ 657 w 673"/>
                <a:gd name="T75" fmla="*/ 402 h 429"/>
                <a:gd name="T76" fmla="*/ 662 w 673"/>
                <a:gd name="T77" fmla="*/ 397 h 429"/>
                <a:gd name="T78" fmla="*/ 666 w 673"/>
                <a:gd name="T79" fmla="*/ 390 h 429"/>
                <a:gd name="T80" fmla="*/ 668 w 673"/>
                <a:gd name="T81" fmla="*/ 385 h 429"/>
                <a:gd name="T82" fmla="*/ 671 w 673"/>
                <a:gd name="T83" fmla="*/ 378 h 429"/>
                <a:gd name="T84" fmla="*/ 672 w 673"/>
                <a:gd name="T85" fmla="*/ 371 h 429"/>
                <a:gd name="T86" fmla="*/ 673 w 673"/>
                <a:gd name="T87" fmla="*/ 364 h 429"/>
                <a:gd name="T88" fmla="*/ 673 w 673"/>
                <a:gd name="T89" fmla="*/ 357 h 429"/>
                <a:gd name="T90" fmla="*/ 673 w 673"/>
                <a:gd name="T91" fmla="*/ 44 h 429"/>
                <a:gd name="T92" fmla="*/ 673 w 673"/>
                <a:gd name="T93" fmla="*/ 32 h 429"/>
                <a:gd name="T94" fmla="*/ 671 w 673"/>
                <a:gd name="T95" fmla="*/ 21 h 429"/>
                <a:gd name="T96" fmla="*/ 666 w 673"/>
                <a:gd name="T97" fmla="*/ 10 h 429"/>
                <a:gd name="T98" fmla="*/ 661 w 673"/>
                <a:gd name="T99" fmla="*/ 0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673" h="429">
                  <a:moveTo>
                    <a:pt x="661" y="0"/>
                  </a:moveTo>
                  <a:lnTo>
                    <a:pt x="357" y="245"/>
                  </a:lnTo>
                  <a:lnTo>
                    <a:pt x="354" y="248"/>
                  </a:lnTo>
                  <a:lnTo>
                    <a:pt x="350" y="248"/>
                  </a:lnTo>
                  <a:lnTo>
                    <a:pt x="346" y="248"/>
                  </a:lnTo>
                  <a:lnTo>
                    <a:pt x="342" y="247"/>
                  </a:lnTo>
                  <a:lnTo>
                    <a:pt x="11" y="6"/>
                  </a:lnTo>
                  <a:lnTo>
                    <a:pt x="7" y="14"/>
                  </a:lnTo>
                  <a:lnTo>
                    <a:pt x="3" y="23"/>
                  </a:lnTo>
                  <a:lnTo>
                    <a:pt x="2" y="33"/>
                  </a:lnTo>
                  <a:lnTo>
                    <a:pt x="0" y="44"/>
                  </a:lnTo>
                  <a:lnTo>
                    <a:pt x="0" y="357"/>
                  </a:lnTo>
                  <a:lnTo>
                    <a:pt x="2" y="365"/>
                  </a:lnTo>
                  <a:lnTo>
                    <a:pt x="2" y="371"/>
                  </a:lnTo>
                  <a:lnTo>
                    <a:pt x="4" y="379"/>
                  </a:lnTo>
                  <a:lnTo>
                    <a:pt x="6" y="385"/>
                  </a:lnTo>
                  <a:lnTo>
                    <a:pt x="9" y="392"/>
                  </a:lnTo>
                  <a:lnTo>
                    <a:pt x="12" y="398"/>
                  </a:lnTo>
                  <a:lnTo>
                    <a:pt x="16" y="403"/>
                  </a:lnTo>
                  <a:lnTo>
                    <a:pt x="21" y="408"/>
                  </a:lnTo>
                  <a:lnTo>
                    <a:pt x="26" y="412"/>
                  </a:lnTo>
                  <a:lnTo>
                    <a:pt x="31" y="417"/>
                  </a:lnTo>
                  <a:lnTo>
                    <a:pt x="36" y="420"/>
                  </a:lnTo>
                  <a:lnTo>
                    <a:pt x="43" y="424"/>
                  </a:lnTo>
                  <a:lnTo>
                    <a:pt x="49" y="425"/>
                  </a:lnTo>
                  <a:lnTo>
                    <a:pt x="57" y="428"/>
                  </a:lnTo>
                  <a:lnTo>
                    <a:pt x="63" y="429"/>
                  </a:lnTo>
                  <a:lnTo>
                    <a:pt x="71" y="429"/>
                  </a:lnTo>
                  <a:lnTo>
                    <a:pt x="601" y="429"/>
                  </a:lnTo>
                  <a:lnTo>
                    <a:pt x="609" y="429"/>
                  </a:lnTo>
                  <a:lnTo>
                    <a:pt x="616" y="428"/>
                  </a:lnTo>
                  <a:lnTo>
                    <a:pt x="623" y="425"/>
                  </a:lnTo>
                  <a:lnTo>
                    <a:pt x="630" y="423"/>
                  </a:lnTo>
                  <a:lnTo>
                    <a:pt x="636" y="420"/>
                  </a:lnTo>
                  <a:lnTo>
                    <a:pt x="643" y="416"/>
                  </a:lnTo>
                  <a:lnTo>
                    <a:pt x="648" y="412"/>
                  </a:lnTo>
                  <a:lnTo>
                    <a:pt x="653" y="407"/>
                  </a:lnTo>
                  <a:lnTo>
                    <a:pt x="657" y="402"/>
                  </a:lnTo>
                  <a:lnTo>
                    <a:pt x="662" y="397"/>
                  </a:lnTo>
                  <a:lnTo>
                    <a:pt x="666" y="390"/>
                  </a:lnTo>
                  <a:lnTo>
                    <a:pt x="668" y="385"/>
                  </a:lnTo>
                  <a:lnTo>
                    <a:pt x="671" y="378"/>
                  </a:lnTo>
                  <a:lnTo>
                    <a:pt x="672" y="371"/>
                  </a:lnTo>
                  <a:lnTo>
                    <a:pt x="673" y="364"/>
                  </a:lnTo>
                  <a:lnTo>
                    <a:pt x="673" y="357"/>
                  </a:lnTo>
                  <a:lnTo>
                    <a:pt x="673" y="44"/>
                  </a:lnTo>
                  <a:lnTo>
                    <a:pt x="673" y="32"/>
                  </a:lnTo>
                  <a:lnTo>
                    <a:pt x="671" y="21"/>
                  </a:lnTo>
                  <a:lnTo>
                    <a:pt x="666" y="10"/>
                  </a:lnTo>
                  <a:lnTo>
                    <a:pt x="661" y="0"/>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ysClr val="windowText" lastClr="000000"/>
                </a:solidFill>
                <a:effectLst/>
                <a:uLnTx/>
                <a:uFillTx/>
                <a:latin typeface="Calibri"/>
                <a:ea typeface="+mn-ea"/>
                <a:cs typeface="+mn-cs"/>
              </a:endParaRPr>
            </a:p>
          </p:txBody>
        </p:sp>
        <p:sp>
          <p:nvSpPr>
            <p:cNvPr id="53" name="Freeform 3507"/>
            <p:cNvSpPr>
              <a:spLocks/>
            </p:cNvSpPr>
            <p:nvPr/>
          </p:nvSpPr>
          <p:spPr bwMode="auto">
            <a:xfrm>
              <a:off x="5885741" y="2350192"/>
              <a:ext cx="183679" cy="73948"/>
            </a:xfrm>
            <a:custGeom>
              <a:avLst/>
              <a:gdLst>
                <a:gd name="T0" fmla="*/ 617 w 617"/>
                <a:gd name="T1" fmla="*/ 11 h 249"/>
                <a:gd name="T2" fmla="*/ 608 w 617"/>
                <a:gd name="T3" fmla="*/ 6 h 249"/>
                <a:gd name="T4" fmla="*/ 599 w 617"/>
                <a:gd name="T5" fmla="*/ 4 h 249"/>
                <a:gd name="T6" fmla="*/ 587 w 617"/>
                <a:gd name="T7" fmla="*/ 1 h 249"/>
                <a:gd name="T8" fmla="*/ 575 w 617"/>
                <a:gd name="T9" fmla="*/ 0 h 249"/>
                <a:gd name="T10" fmla="*/ 46 w 617"/>
                <a:gd name="T11" fmla="*/ 0 h 249"/>
                <a:gd name="T12" fmla="*/ 34 w 617"/>
                <a:gd name="T13" fmla="*/ 1 h 249"/>
                <a:gd name="T14" fmla="*/ 21 w 617"/>
                <a:gd name="T15" fmla="*/ 4 h 249"/>
                <a:gd name="T16" fmla="*/ 10 w 617"/>
                <a:gd name="T17" fmla="*/ 9 h 249"/>
                <a:gd name="T18" fmla="*/ 0 w 617"/>
                <a:gd name="T19" fmla="*/ 15 h 249"/>
                <a:gd name="T20" fmla="*/ 322 w 617"/>
                <a:gd name="T21" fmla="*/ 249 h 249"/>
                <a:gd name="T22" fmla="*/ 617 w 617"/>
                <a:gd name="T23" fmla="*/ 11 h 2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17" h="249">
                  <a:moveTo>
                    <a:pt x="617" y="11"/>
                  </a:moveTo>
                  <a:lnTo>
                    <a:pt x="608" y="6"/>
                  </a:lnTo>
                  <a:lnTo>
                    <a:pt x="599" y="4"/>
                  </a:lnTo>
                  <a:lnTo>
                    <a:pt x="587" y="1"/>
                  </a:lnTo>
                  <a:lnTo>
                    <a:pt x="575" y="0"/>
                  </a:lnTo>
                  <a:lnTo>
                    <a:pt x="46" y="0"/>
                  </a:lnTo>
                  <a:lnTo>
                    <a:pt x="34" y="1"/>
                  </a:lnTo>
                  <a:lnTo>
                    <a:pt x="21" y="4"/>
                  </a:lnTo>
                  <a:lnTo>
                    <a:pt x="10" y="9"/>
                  </a:lnTo>
                  <a:lnTo>
                    <a:pt x="0" y="15"/>
                  </a:lnTo>
                  <a:lnTo>
                    <a:pt x="322" y="249"/>
                  </a:lnTo>
                  <a:lnTo>
                    <a:pt x="617" y="11"/>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ysClr val="windowText" lastClr="000000"/>
                </a:solidFill>
                <a:effectLst/>
                <a:uLnTx/>
                <a:uFillTx/>
                <a:latin typeface="Calibri"/>
                <a:ea typeface="+mn-ea"/>
                <a:cs typeface="+mn-cs"/>
              </a:endParaRPr>
            </a:p>
          </p:txBody>
        </p:sp>
      </p:grpSp>
      <p:sp>
        <p:nvSpPr>
          <p:cNvPr id="48" name="Freeform 184"/>
          <p:cNvSpPr>
            <a:spLocks noChangeAspect="1"/>
          </p:cNvSpPr>
          <p:nvPr/>
        </p:nvSpPr>
        <p:spPr bwMode="auto">
          <a:xfrm>
            <a:off x="5545746" y="2847673"/>
            <a:ext cx="97163" cy="78914"/>
          </a:xfrm>
          <a:custGeom>
            <a:avLst/>
            <a:gdLst>
              <a:gd name="T0" fmla="*/ 393 w 393"/>
              <a:gd name="T1" fmla="*/ 38 h 319"/>
              <a:gd name="T2" fmla="*/ 347 w 393"/>
              <a:gd name="T3" fmla="*/ 52 h 319"/>
              <a:gd name="T4" fmla="*/ 359 w 393"/>
              <a:gd name="T5" fmla="*/ 42 h 319"/>
              <a:gd name="T6" fmla="*/ 377 w 393"/>
              <a:gd name="T7" fmla="*/ 20 h 319"/>
              <a:gd name="T8" fmla="*/ 383 w 393"/>
              <a:gd name="T9" fmla="*/ 6 h 319"/>
              <a:gd name="T10" fmla="*/ 345 w 393"/>
              <a:gd name="T11" fmla="*/ 22 h 319"/>
              <a:gd name="T12" fmla="*/ 331 w 393"/>
              <a:gd name="T13" fmla="*/ 26 h 319"/>
              <a:gd name="T14" fmla="*/ 305 w 393"/>
              <a:gd name="T15" fmla="*/ 8 h 319"/>
              <a:gd name="T16" fmla="*/ 273 w 393"/>
              <a:gd name="T17" fmla="*/ 0 h 319"/>
              <a:gd name="T18" fmla="*/ 255 w 393"/>
              <a:gd name="T19" fmla="*/ 2 h 319"/>
              <a:gd name="T20" fmla="*/ 227 w 393"/>
              <a:gd name="T21" fmla="*/ 14 h 319"/>
              <a:gd name="T22" fmla="*/ 205 w 393"/>
              <a:gd name="T23" fmla="*/ 36 h 319"/>
              <a:gd name="T24" fmla="*/ 193 w 393"/>
              <a:gd name="T25" fmla="*/ 64 h 319"/>
              <a:gd name="T26" fmla="*/ 191 w 393"/>
              <a:gd name="T27" fmla="*/ 82 h 319"/>
              <a:gd name="T28" fmla="*/ 193 w 393"/>
              <a:gd name="T29" fmla="*/ 100 h 319"/>
              <a:gd name="T30" fmla="*/ 145 w 393"/>
              <a:gd name="T31" fmla="*/ 92 h 319"/>
              <a:gd name="T32" fmla="*/ 99 w 393"/>
              <a:gd name="T33" fmla="*/ 74 h 319"/>
              <a:gd name="T34" fmla="*/ 62 w 393"/>
              <a:gd name="T35" fmla="*/ 48 h 319"/>
              <a:gd name="T36" fmla="*/ 28 w 393"/>
              <a:gd name="T37" fmla="*/ 16 h 319"/>
              <a:gd name="T38" fmla="*/ 24 w 393"/>
              <a:gd name="T39" fmla="*/ 24 h 319"/>
              <a:gd name="T40" fmla="*/ 18 w 393"/>
              <a:gd name="T41" fmla="*/ 44 h 319"/>
              <a:gd name="T42" fmla="*/ 16 w 393"/>
              <a:gd name="T43" fmla="*/ 56 h 319"/>
              <a:gd name="T44" fmla="*/ 20 w 393"/>
              <a:gd name="T45" fmla="*/ 76 h 319"/>
              <a:gd name="T46" fmla="*/ 26 w 393"/>
              <a:gd name="T47" fmla="*/ 94 h 319"/>
              <a:gd name="T48" fmla="*/ 52 w 393"/>
              <a:gd name="T49" fmla="*/ 124 h 319"/>
              <a:gd name="T50" fmla="*/ 34 w 393"/>
              <a:gd name="T51" fmla="*/ 120 h 319"/>
              <a:gd name="T52" fmla="*/ 16 w 393"/>
              <a:gd name="T53" fmla="*/ 114 h 319"/>
              <a:gd name="T54" fmla="*/ 16 w 393"/>
              <a:gd name="T55" fmla="*/ 114 h 319"/>
              <a:gd name="T56" fmla="*/ 22 w 393"/>
              <a:gd name="T57" fmla="*/ 142 h 319"/>
              <a:gd name="T58" fmla="*/ 34 w 393"/>
              <a:gd name="T59" fmla="*/ 166 h 319"/>
              <a:gd name="T60" fmla="*/ 56 w 393"/>
              <a:gd name="T61" fmla="*/ 183 h 319"/>
              <a:gd name="T62" fmla="*/ 82 w 393"/>
              <a:gd name="T63" fmla="*/ 193 h 319"/>
              <a:gd name="T64" fmla="*/ 70 w 393"/>
              <a:gd name="T65" fmla="*/ 195 h 319"/>
              <a:gd name="T66" fmla="*/ 60 w 393"/>
              <a:gd name="T67" fmla="*/ 195 h 319"/>
              <a:gd name="T68" fmla="*/ 44 w 393"/>
              <a:gd name="T69" fmla="*/ 193 h 319"/>
              <a:gd name="T70" fmla="*/ 56 w 393"/>
              <a:gd name="T71" fmla="*/ 215 h 319"/>
              <a:gd name="T72" fmla="*/ 72 w 393"/>
              <a:gd name="T73" fmla="*/ 233 h 319"/>
              <a:gd name="T74" fmla="*/ 93 w 393"/>
              <a:gd name="T75" fmla="*/ 245 h 319"/>
              <a:gd name="T76" fmla="*/ 119 w 393"/>
              <a:gd name="T77" fmla="*/ 249 h 319"/>
              <a:gd name="T78" fmla="*/ 97 w 393"/>
              <a:gd name="T79" fmla="*/ 265 h 319"/>
              <a:gd name="T80" fmla="*/ 48 w 393"/>
              <a:gd name="T81" fmla="*/ 283 h 319"/>
              <a:gd name="T82" fmla="*/ 20 w 393"/>
              <a:gd name="T83" fmla="*/ 285 h 319"/>
              <a:gd name="T84" fmla="*/ 0 w 393"/>
              <a:gd name="T85" fmla="*/ 283 h 319"/>
              <a:gd name="T86" fmla="*/ 28 w 393"/>
              <a:gd name="T87" fmla="*/ 299 h 319"/>
              <a:gd name="T88" fmla="*/ 89 w 393"/>
              <a:gd name="T89" fmla="*/ 317 h 319"/>
              <a:gd name="T90" fmla="*/ 123 w 393"/>
              <a:gd name="T91" fmla="*/ 319 h 319"/>
              <a:gd name="T92" fmla="*/ 151 w 393"/>
              <a:gd name="T93" fmla="*/ 319 h 319"/>
              <a:gd name="T94" fmla="*/ 199 w 393"/>
              <a:gd name="T95" fmla="*/ 307 h 319"/>
              <a:gd name="T96" fmla="*/ 243 w 393"/>
              <a:gd name="T97" fmla="*/ 287 h 319"/>
              <a:gd name="T98" fmla="*/ 279 w 393"/>
              <a:gd name="T99" fmla="*/ 261 h 319"/>
              <a:gd name="T100" fmla="*/ 307 w 393"/>
              <a:gd name="T101" fmla="*/ 227 h 319"/>
              <a:gd name="T102" fmla="*/ 329 w 393"/>
              <a:gd name="T103" fmla="*/ 191 h 319"/>
              <a:gd name="T104" fmla="*/ 345 w 393"/>
              <a:gd name="T105" fmla="*/ 152 h 319"/>
              <a:gd name="T106" fmla="*/ 353 w 393"/>
              <a:gd name="T107" fmla="*/ 110 h 319"/>
              <a:gd name="T108" fmla="*/ 353 w 393"/>
              <a:gd name="T109" fmla="*/ 90 h 319"/>
              <a:gd name="T110" fmla="*/ 353 w 393"/>
              <a:gd name="T111" fmla="*/ 80 h 319"/>
              <a:gd name="T112" fmla="*/ 375 w 393"/>
              <a:gd name="T113" fmla="*/ 62 h 319"/>
              <a:gd name="T114" fmla="*/ 393 w 393"/>
              <a:gd name="T115" fmla="*/ 38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93" h="319">
                <a:moveTo>
                  <a:pt x="393" y="38"/>
                </a:moveTo>
                <a:lnTo>
                  <a:pt x="393" y="38"/>
                </a:lnTo>
                <a:lnTo>
                  <a:pt x="371" y="46"/>
                </a:lnTo>
                <a:lnTo>
                  <a:pt x="347" y="52"/>
                </a:lnTo>
                <a:lnTo>
                  <a:pt x="347" y="52"/>
                </a:lnTo>
                <a:lnTo>
                  <a:pt x="359" y="42"/>
                </a:lnTo>
                <a:lnTo>
                  <a:pt x="369" y="32"/>
                </a:lnTo>
                <a:lnTo>
                  <a:pt x="377" y="20"/>
                </a:lnTo>
                <a:lnTo>
                  <a:pt x="383" y="6"/>
                </a:lnTo>
                <a:lnTo>
                  <a:pt x="383" y="6"/>
                </a:lnTo>
                <a:lnTo>
                  <a:pt x="357" y="18"/>
                </a:lnTo>
                <a:lnTo>
                  <a:pt x="345" y="22"/>
                </a:lnTo>
                <a:lnTo>
                  <a:pt x="331" y="26"/>
                </a:lnTo>
                <a:lnTo>
                  <a:pt x="331" y="26"/>
                </a:lnTo>
                <a:lnTo>
                  <a:pt x="319" y="16"/>
                </a:lnTo>
                <a:lnTo>
                  <a:pt x="305" y="8"/>
                </a:lnTo>
                <a:lnTo>
                  <a:pt x="289" y="2"/>
                </a:lnTo>
                <a:lnTo>
                  <a:pt x="273" y="0"/>
                </a:lnTo>
                <a:lnTo>
                  <a:pt x="273" y="0"/>
                </a:lnTo>
                <a:lnTo>
                  <a:pt x="255" y="2"/>
                </a:lnTo>
                <a:lnTo>
                  <a:pt x="241" y="6"/>
                </a:lnTo>
                <a:lnTo>
                  <a:pt x="227" y="14"/>
                </a:lnTo>
                <a:lnTo>
                  <a:pt x="215" y="24"/>
                </a:lnTo>
                <a:lnTo>
                  <a:pt x="205" y="36"/>
                </a:lnTo>
                <a:lnTo>
                  <a:pt x="197" y="50"/>
                </a:lnTo>
                <a:lnTo>
                  <a:pt x="193" y="64"/>
                </a:lnTo>
                <a:lnTo>
                  <a:pt x="191" y="82"/>
                </a:lnTo>
                <a:lnTo>
                  <a:pt x="191" y="82"/>
                </a:lnTo>
                <a:lnTo>
                  <a:pt x="193" y="100"/>
                </a:lnTo>
                <a:lnTo>
                  <a:pt x="193" y="100"/>
                </a:lnTo>
                <a:lnTo>
                  <a:pt x="169" y="98"/>
                </a:lnTo>
                <a:lnTo>
                  <a:pt x="145" y="92"/>
                </a:lnTo>
                <a:lnTo>
                  <a:pt x="121" y="84"/>
                </a:lnTo>
                <a:lnTo>
                  <a:pt x="99" y="74"/>
                </a:lnTo>
                <a:lnTo>
                  <a:pt x="80" y="62"/>
                </a:lnTo>
                <a:lnTo>
                  <a:pt x="62" y="48"/>
                </a:lnTo>
                <a:lnTo>
                  <a:pt x="44" y="32"/>
                </a:lnTo>
                <a:lnTo>
                  <a:pt x="28" y="16"/>
                </a:lnTo>
                <a:lnTo>
                  <a:pt x="28" y="16"/>
                </a:lnTo>
                <a:lnTo>
                  <a:pt x="24" y="24"/>
                </a:lnTo>
                <a:lnTo>
                  <a:pt x="20" y="34"/>
                </a:lnTo>
                <a:lnTo>
                  <a:pt x="18" y="44"/>
                </a:lnTo>
                <a:lnTo>
                  <a:pt x="16" y="56"/>
                </a:lnTo>
                <a:lnTo>
                  <a:pt x="16" y="56"/>
                </a:lnTo>
                <a:lnTo>
                  <a:pt x="18" y="66"/>
                </a:lnTo>
                <a:lnTo>
                  <a:pt x="20" y="76"/>
                </a:lnTo>
                <a:lnTo>
                  <a:pt x="22" y="86"/>
                </a:lnTo>
                <a:lnTo>
                  <a:pt x="26" y="94"/>
                </a:lnTo>
                <a:lnTo>
                  <a:pt x="38" y="110"/>
                </a:lnTo>
                <a:lnTo>
                  <a:pt x="52" y="124"/>
                </a:lnTo>
                <a:lnTo>
                  <a:pt x="52" y="124"/>
                </a:lnTo>
                <a:lnTo>
                  <a:pt x="34" y="120"/>
                </a:lnTo>
                <a:lnTo>
                  <a:pt x="16" y="114"/>
                </a:lnTo>
                <a:lnTo>
                  <a:pt x="16" y="114"/>
                </a:lnTo>
                <a:lnTo>
                  <a:pt x="16" y="114"/>
                </a:lnTo>
                <a:lnTo>
                  <a:pt x="16" y="114"/>
                </a:lnTo>
                <a:lnTo>
                  <a:pt x="18" y="128"/>
                </a:lnTo>
                <a:lnTo>
                  <a:pt x="22" y="142"/>
                </a:lnTo>
                <a:lnTo>
                  <a:pt x="26" y="154"/>
                </a:lnTo>
                <a:lnTo>
                  <a:pt x="34" y="166"/>
                </a:lnTo>
                <a:lnTo>
                  <a:pt x="44" y="176"/>
                </a:lnTo>
                <a:lnTo>
                  <a:pt x="56" y="183"/>
                </a:lnTo>
                <a:lnTo>
                  <a:pt x="68" y="189"/>
                </a:lnTo>
                <a:lnTo>
                  <a:pt x="82" y="193"/>
                </a:lnTo>
                <a:lnTo>
                  <a:pt x="82" y="193"/>
                </a:lnTo>
                <a:lnTo>
                  <a:pt x="70" y="195"/>
                </a:lnTo>
                <a:lnTo>
                  <a:pt x="60" y="195"/>
                </a:lnTo>
                <a:lnTo>
                  <a:pt x="60" y="195"/>
                </a:lnTo>
                <a:lnTo>
                  <a:pt x="44" y="193"/>
                </a:lnTo>
                <a:lnTo>
                  <a:pt x="44" y="193"/>
                </a:lnTo>
                <a:lnTo>
                  <a:pt x="50" y="205"/>
                </a:lnTo>
                <a:lnTo>
                  <a:pt x="56" y="215"/>
                </a:lnTo>
                <a:lnTo>
                  <a:pt x="64" y="225"/>
                </a:lnTo>
                <a:lnTo>
                  <a:pt x="72" y="233"/>
                </a:lnTo>
                <a:lnTo>
                  <a:pt x="84" y="241"/>
                </a:lnTo>
                <a:lnTo>
                  <a:pt x="93" y="245"/>
                </a:lnTo>
                <a:lnTo>
                  <a:pt x="107" y="249"/>
                </a:lnTo>
                <a:lnTo>
                  <a:pt x="119" y="249"/>
                </a:lnTo>
                <a:lnTo>
                  <a:pt x="119" y="249"/>
                </a:lnTo>
                <a:lnTo>
                  <a:pt x="97" y="265"/>
                </a:lnTo>
                <a:lnTo>
                  <a:pt x="74" y="275"/>
                </a:lnTo>
                <a:lnTo>
                  <a:pt x="48" y="283"/>
                </a:lnTo>
                <a:lnTo>
                  <a:pt x="34" y="283"/>
                </a:lnTo>
                <a:lnTo>
                  <a:pt x="20" y="285"/>
                </a:lnTo>
                <a:lnTo>
                  <a:pt x="20" y="285"/>
                </a:lnTo>
                <a:lnTo>
                  <a:pt x="0" y="283"/>
                </a:lnTo>
                <a:lnTo>
                  <a:pt x="0" y="283"/>
                </a:lnTo>
                <a:lnTo>
                  <a:pt x="28" y="299"/>
                </a:lnTo>
                <a:lnTo>
                  <a:pt x="58" y="311"/>
                </a:lnTo>
                <a:lnTo>
                  <a:pt x="89" y="317"/>
                </a:lnTo>
                <a:lnTo>
                  <a:pt x="107" y="319"/>
                </a:lnTo>
                <a:lnTo>
                  <a:pt x="123" y="319"/>
                </a:lnTo>
                <a:lnTo>
                  <a:pt x="123" y="319"/>
                </a:lnTo>
                <a:lnTo>
                  <a:pt x="151" y="319"/>
                </a:lnTo>
                <a:lnTo>
                  <a:pt x="175" y="315"/>
                </a:lnTo>
                <a:lnTo>
                  <a:pt x="199" y="307"/>
                </a:lnTo>
                <a:lnTo>
                  <a:pt x="223" y="299"/>
                </a:lnTo>
                <a:lnTo>
                  <a:pt x="243" y="287"/>
                </a:lnTo>
                <a:lnTo>
                  <a:pt x="261" y="275"/>
                </a:lnTo>
                <a:lnTo>
                  <a:pt x="279" y="261"/>
                </a:lnTo>
                <a:lnTo>
                  <a:pt x="295" y="245"/>
                </a:lnTo>
                <a:lnTo>
                  <a:pt x="307" y="227"/>
                </a:lnTo>
                <a:lnTo>
                  <a:pt x="319" y="209"/>
                </a:lnTo>
                <a:lnTo>
                  <a:pt x="329" y="191"/>
                </a:lnTo>
                <a:lnTo>
                  <a:pt x="339" y="172"/>
                </a:lnTo>
                <a:lnTo>
                  <a:pt x="345" y="152"/>
                </a:lnTo>
                <a:lnTo>
                  <a:pt x="349" y="132"/>
                </a:lnTo>
                <a:lnTo>
                  <a:pt x="353" y="110"/>
                </a:lnTo>
                <a:lnTo>
                  <a:pt x="353" y="90"/>
                </a:lnTo>
                <a:lnTo>
                  <a:pt x="353" y="90"/>
                </a:lnTo>
                <a:lnTo>
                  <a:pt x="353" y="80"/>
                </a:lnTo>
                <a:lnTo>
                  <a:pt x="353" y="80"/>
                </a:lnTo>
                <a:lnTo>
                  <a:pt x="365" y="72"/>
                </a:lnTo>
                <a:lnTo>
                  <a:pt x="375" y="62"/>
                </a:lnTo>
                <a:lnTo>
                  <a:pt x="385" y="50"/>
                </a:lnTo>
                <a:lnTo>
                  <a:pt x="393" y="38"/>
                </a:lnTo>
                <a:lnTo>
                  <a:pt x="393" y="38"/>
                </a:lnTo>
                <a:close/>
              </a:path>
            </a:pathLst>
          </a:custGeom>
          <a:solidFill>
            <a:srgbClr val="E2583D"/>
          </a:solidFill>
          <a:ln>
            <a:noFill/>
          </a:ln>
          <a:effec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ysClr val="windowText" lastClr="000000"/>
              </a:solidFill>
              <a:effectLst/>
              <a:uLnTx/>
              <a:uFillTx/>
              <a:latin typeface="Calibri"/>
              <a:ea typeface="+mn-ea"/>
              <a:cs typeface="+mn-cs"/>
            </a:endParaRPr>
          </a:p>
        </p:txBody>
      </p:sp>
      <p:sp>
        <p:nvSpPr>
          <p:cNvPr id="50" name="Freeform 1907"/>
          <p:cNvSpPr>
            <a:spLocks noChangeAspect="1"/>
          </p:cNvSpPr>
          <p:nvPr/>
        </p:nvSpPr>
        <p:spPr bwMode="auto">
          <a:xfrm>
            <a:off x="5798191" y="2843727"/>
            <a:ext cx="86310" cy="86806"/>
          </a:xfrm>
          <a:custGeom>
            <a:avLst/>
            <a:gdLst>
              <a:gd name="T0" fmla="*/ 748 w 871"/>
              <a:gd name="T1" fmla="*/ 538 h 872"/>
              <a:gd name="T2" fmla="*/ 732 w 871"/>
              <a:gd name="T3" fmla="*/ 525 h 872"/>
              <a:gd name="T4" fmla="*/ 714 w 871"/>
              <a:gd name="T5" fmla="*/ 515 h 872"/>
              <a:gd name="T6" fmla="*/ 694 w 871"/>
              <a:gd name="T7" fmla="*/ 509 h 872"/>
              <a:gd name="T8" fmla="*/ 674 w 871"/>
              <a:gd name="T9" fmla="*/ 506 h 872"/>
              <a:gd name="T10" fmla="*/ 654 w 871"/>
              <a:gd name="T11" fmla="*/ 509 h 872"/>
              <a:gd name="T12" fmla="*/ 634 w 871"/>
              <a:gd name="T13" fmla="*/ 515 h 872"/>
              <a:gd name="T14" fmla="*/ 617 w 871"/>
              <a:gd name="T15" fmla="*/ 525 h 872"/>
              <a:gd name="T16" fmla="*/ 601 w 871"/>
              <a:gd name="T17" fmla="*/ 538 h 872"/>
              <a:gd name="T18" fmla="*/ 544 w 871"/>
              <a:gd name="T19" fmla="*/ 529 h 872"/>
              <a:gd name="T20" fmla="*/ 474 w 871"/>
              <a:gd name="T21" fmla="*/ 465 h 872"/>
              <a:gd name="T22" fmla="*/ 407 w 871"/>
              <a:gd name="T23" fmla="*/ 398 h 872"/>
              <a:gd name="T24" fmla="*/ 344 w 871"/>
              <a:gd name="T25" fmla="*/ 328 h 872"/>
              <a:gd name="T26" fmla="*/ 335 w 871"/>
              <a:gd name="T27" fmla="*/ 271 h 872"/>
              <a:gd name="T28" fmla="*/ 348 w 871"/>
              <a:gd name="T29" fmla="*/ 254 h 872"/>
              <a:gd name="T30" fmla="*/ 358 w 871"/>
              <a:gd name="T31" fmla="*/ 237 h 872"/>
              <a:gd name="T32" fmla="*/ 364 w 871"/>
              <a:gd name="T33" fmla="*/ 218 h 872"/>
              <a:gd name="T34" fmla="*/ 365 w 871"/>
              <a:gd name="T35" fmla="*/ 198 h 872"/>
              <a:gd name="T36" fmla="*/ 364 w 871"/>
              <a:gd name="T37" fmla="*/ 178 h 872"/>
              <a:gd name="T38" fmla="*/ 358 w 871"/>
              <a:gd name="T39" fmla="*/ 159 h 872"/>
              <a:gd name="T40" fmla="*/ 348 w 871"/>
              <a:gd name="T41" fmla="*/ 141 h 872"/>
              <a:gd name="T42" fmla="*/ 335 w 871"/>
              <a:gd name="T43" fmla="*/ 125 h 872"/>
              <a:gd name="T44" fmla="*/ 233 w 871"/>
              <a:gd name="T45" fmla="*/ 24 h 872"/>
              <a:gd name="T46" fmla="*/ 217 w 871"/>
              <a:gd name="T47" fmla="*/ 13 h 872"/>
              <a:gd name="T48" fmla="*/ 198 w 871"/>
              <a:gd name="T49" fmla="*/ 5 h 872"/>
              <a:gd name="T50" fmla="*/ 178 w 871"/>
              <a:gd name="T51" fmla="*/ 1 h 872"/>
              <a:gd name="T52" fmla="*/ 158 w 871"/>
              <a:gd name="T53" fmla="*/ 1 h 872"/>
              <a:gd name="T54" fmla="*/ 138 w 871"/>
              <a:gd name="T55" fmla="*/ 5 h 872"/>
              <a:gd name="T56" fmla="*/ 119 w 871"/>
              <a:gd name="T57" fmla="*/ 13 h 872"/>
              <a:gd name="T58" fmla="*/ 102 w 871"/>
              <a:gd name="T59" fmla="*/ 24 h 872"/>
              <a:gd name="T60" fmla="*/ 43 w 871"/>
              <a:gd name="T61" fmla="*/ 82 h 872"/>
              <a:gd name="T62" fmla="*/ 27 w 871"/>
              <a:gd name="T63" fmla="*/ 102 h 872"/>
              <a:gd name="T64" fmla="*/ 14 w 871"/>
              <a:gd name="T65" fmla="*/ 124 h 872"/>
              <a:gd name="T66" fmla="*/ 6 w 871"/>
              <a:gd name="T67" fmla="*/ 147 h 872"/>
              <a:gd name="T68" fmla="*/ 1 w 871"/>
              <a:gd name="T69" fmla="*/ 172 h 872"/>
              <a:gd name="T70" fmla="*/ 0 w 871"/>
              <a:gd name="T71" fmla="*/ 197 h 872"/>
              <a:gd name="T72" fmla="*/ 5 w 871"/>
              <a:gd name="T73" fmla="*/ 221 h 872"/>
              <a:gd name="T74" fmla="*/ 12 w 871"/>
              <a:gd name="T75" fmla="*/ 246 h 872"/>
              <a:gd name="T76" fmla="*/ 25 w 871"/>
              <a:gd name="T77" fmla="*/ 268 h 872"/>
              <a:gd name="T78" fmla="*/ 84 w 871"/>
              <a:gd name="T79" fmla="*/ 352 h 872"/>
              <a:gd name="T80" fmla="*/ 147 w 871"/>
              <a:gd name="T81" fmla="*/ 434 h 872"/>
              <a:gd name="T82" fmla="*/ 214 w 871"/>
              <a:gd name="T83" fmla="*/ 512 h 872"/>
              <a:gd name="T84" fmla="*/ 286 w 871"/>
              <a:gd name="T85" fmla="*/ 587 h 872"/>
              <a:gd name="T86" fmla="*/ 361 w 871"/>
              <a:gd name="T87" fmla="*/ 658 h 872"/>
              <a:gd name="T88" fmla="*/ 439 w 871"/>
              <a:gd name="T89" fmla="*/ 725 h 872"/>
              <a:gd name="T90" fmla="*/ 519 w 871"/>
              <a:gd name="T91" fmla="*/ 789 h 872"/>
              <a:gd name="T92" fmla="*/ 604 w 871"/>
              <a:gd name="T93" fmla="*/ 848 h 872"/>
              <a:gd name="T94" fmla="*/ 622 w 871"/>
              <a:gd name="T95" fmla="*/ 858 h 872"/>
              <a:gd name="T96" fmla="*/ 643 w 871"/>
              <a:gd name="T97" fmla="*/ 866 h 872"/>
              <a:gd name="T98" fmla="*/ 664 w 871"/>
              <a:gd name="T99" fmla="*/ 870 h 872"/>
              <a:gd name="T100" fmla="*/ 686 w 871"/>
              <a:gd name="T101" fmla="*/ 872 h 872"/>
              <a:gd name="T102" fmla="*/ 715 w 871"/>
              <a:gd name="T103" fmla="*/ 869 h 872"/>
              <a:gd name="T104" fmla="*/ 743 w 871"/>
              <a:gd name="T105" fmla="*/ 860 h 872"/>
              <a:gd name="T106" fmla="*/ 767 w 871"/>
              <a:gd name="T107" fmla="*/ 848 h 872"/>
              <a:gd name="T108" fmla="*/ 790 w 871"/>
              <a:gd name="T109" fmla="*/ 829 h 872"/>
              <a:gd name="T110" fmla="*/ 849 w 871"/>
              <a:gd name="T111" fmla="*/ 769 h 872"/>
              <a:gd name="T112" fmla="*/ 859 w 871"/>
              <a:gd name="T113" fmla="*/ 752 h 872"/>
              <a:gd name="T114" fmla="*/ 867 w 871"/>
              <a:gd name="T115" fmla="*/ 734 h 872"/>
              <a:gd name="T116" fmla="*/ 871 w 871"/>
              <a:gd name="T117" fmla="*/ 715 h 872"/>
              <a:gd name="T118" fmla="*/ 871 w 871"/>
              <a:gd name="T119" fmla="*/ 694 h 872"/>
              <a:gd name="T120" fmla="*/ 867 w 871"/>
              <a:gd name="T121" fmla="*/ 675 h 872"/>
              <a:gd name="T122" fmla="*/ 859 w 871"/>
              <a:gd name="T123" fmla="*/ 656 h 872"/>
              <a:gd name="T124" fmla="*/ 849 w 871"/>
              <a:gd name="T125" fmla="*/ 638 h 8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871" h="872">
                <a:moveTo>
                  <a:pt x="841" y="631"/>
                </a:moveTo>
                <a:lnTo>
                  <a:pt x="748" y="538"/>
                </a:lnTo>
                <a:lnTo>
                  <a:pt x="740" y="530"/>
                </a:lnTo>
                <a:lnTo>
                  <a:pt x="732" y="525"/>
                </a:lnTo>
                <a:lnTo>
                  <a:pt x="723" y="519"/>
                </a:lnTo>
                <a:lnTo>
                  <a:pt x="714" y="515"/>
                </a:lnTo>
                <a:lnTo>
                  <a:pt x="705" y="511"/>
                </a:lnTo>
                <a:lnTo>
                  <a:pt x="694" y="509"/>
                </a:lnTo>
                <a:lnTo>
                  <a:pt x="685" y="508"/>
                </a:lnTo>
                <a:lnTo>
                  <a:pt x="674" y="506"/>
                </a:lnTo>
                <a:lnTo>
                  <a:pt x="664" y="508"/>
                </a:lnTo>
                <a:lnTo>
                  <a:pt x="654" y="509"/>
                </a:lnTo>
                <a:lnTo>
                  <a:pt x="644" y="511"/>
                </a:lnTo>
                <a:lnTo>
                  <a:pt x="634" y="515"/>
                </a:lnTo>
                <a:lnTo>
                  <a:pt x="626" y="519"/>
                </a:lnTo>
                <a:lnTo>
                  <a:pt x="617" y="525"/>
                </a:lnTo>
                <a:lnTo>
                  <a:pt x="609" y="530"/>
                </a:lnTo>
                <a:lnTo>
                  <a:pt x="601" y="538"/>
                </a:lnTo>
                <a:lnTo>
                  <a:pt x="580" y="559"/>
                </a:lnTo>
                <a:lnTo>
                  <a:pt x="544" y="529"/>
                </a:lnTo>
                <a:lnTo>
                  <a:pt x="509" y="497"/>
                </a:lnTo>
                <a:lnTo>
                  <a:pt x="474" y="465"/>
                </a:lnTo>
                <a:lnTo>
                  <a:pt x="440" y="431"/>
                </a:lnTo>
                <a:lnTo>
                  <a:pt x="407" y="398"/>
                </a:lnTo>
                <a:lnTo>
                  <a:pt x="375" y="364"/>
                </a:lnTo>
                <a:lnTo>
                  <a:pt x="344" y="328"/>
                </a:lnTo>
                <a:lnTo>
                  <a:pt x="314" y="293"/>
                </a:lnTo>
                <a:lnTo>
                  <a:pt x="335" y="271"/>
                </a:lnTo>
                <a:lnTo>
                  <a:pt x="343" y="263"/>
                </a:lnTo>
                <a:lnTo>
                  <a:pt x="348" y="254"/>
                </a:lnTo>
                <a:lnTo>
                  <a:pt x="353" y="246"/>
                </a:lnTo>
                <a:lnTo>
                  <a:pt x="358" y="237"/>
                </a:lnTo>
                <a:lnTo>
                  <a:pt x="361" y="228"/>
                </a:lnTo>
                <a:lnTo>
                  <a:pt x="364" y="218"/>
                </a:lnTo>
                <a:lnTo>
                  <a:pt x="365" y="207"/>
                </a:lnTo>
                <a:lnTo>
                  <a:pt x="365" y="198"/>
                </a:lnTo>
                <a:lnTo>
                  <a:pt x="365" y="188"/>
                </a:lnTo>
                <a:lnTo>
                  <a:pt x="364" y="178"/>
                </a:lnTo>
                <a:lnTo>
                  <a:pt x="361" y="169"/>
                </a:lnTo>
                <a:lnTo>
                  <a:pt x="358" y="159"/>
                </a:lnTo>
                <a:lnTo>
                  <a:pt x="353" y="149"/>
                </a:lnTo>
                <a:lnTo>
                  <a:pt x="348" y="141"/>
                </a:lnTo>
                <a:lnTo>
                  <a:pt x="343" y="132"/>
                </a:lnTo>
                <a:lnTo>
                  <a:pt x="335" y="125"/>
                </a:lnTo>
                <a:lnTo>
                  <a:pt x="242" y="30"/>
                </a:lnTo>
                <a:lnTo>
                  <a:pt x="233" y="24"/>
                </a:lnTo>
                <a:lnTo>
                  <a:pt x="226" y="17"/>
                </a:lnTo>
                <a:lnTo>
                  <a:pt x="217" y="13"/>
                </a:lnTo>
                <a:lnTo>
                  <a:pt x="207" y="9"/>
                </a:lnTo>
                <a:lnTo>
                  <a:pt x="198" y="5"/>
                </a:lnTo>
                <a:lnTo>
                  <a:pt x="188" y="2"/>
                </a:lnTo>
                <a:lnTo>
                  <a:pt x="178" y="1"/>
                </a:lnTo>
                <a:lnTo>
                  <a:pt x="168" y="0"/>
                </a:lnTo>
                <a:lnTo>
                  <a:pt x="158" y="1"/>
                </a:lnTo>
                <a:lnTo>
                  <a:pt x="147" y="2"/>
                </a:lnTo>
                <a:lnTo>
                  <a:pt x="138" y="5"/>
                </a:lnTo>
                <a:lnTo>
                  <a:pt x="128" y="9"/>
                </a:lnTo>
                <a:lnTo>
                  <a:pt x="119" y="13"/>
                </a:lnTo>
                <a:lnTo>
                  <a:pt x="111" y="17"/>
                </a:lnTo>
                <a:lnTo>
                  <a:pt x="102" y="24"/>
                </a:lnTo>
                <a:lnTo>
                  <a:pt x="95" y="31"/>
                </a:lnTo>
                <a:lnTo>
                  <a:pt x="43" y="82"/>
                </a:lnTo>
                <a:lnTo>
                  <a:pt x="35" y="91"/>
                </a:lnTo>
                <a:lnTo>
                  <a:pt x="27" y="102"/>
                </a:lnTo>
                <a:lnTo>
                  <a:pt x="20" y="113"/>
                </a:lnTo>
                <a:lnTo>
                  <a:pt x="14" y="124"/>
                </a:lnTo>
                <a:lnTo>
                  <a:pt x="9" y="135"/>
                </a:lnTo>
                <a:lnTo>
                  <a:pt x="6" y="147"/>
                </a:lnTo>
                <a:lnTo>
                  <a:pt x="3" y="160"/>
                </a:lnTo>
                <a:lnTo>
                  <a:pt x="1" y="172"/>
                </a:lnTo>
                <a:lnTo>
                  <a:pt x="0" y="185"/>
                </a:lnTo>
                <a:lnTo>
                  <a:pt x="0" y="197"/>
                </a:lnTo>
                <a:lnTo>
                  <a:pt x="3" y="209"/>
                </a:lnTo>
                <a:lnTo>
                  <a:pt x="5" y="221"/>
                </a:lnTo>
                <a:lnTo>
                  <a:pt x="8" y="234"/>
                </a:lnTo>
                <a:lnTo>
                  <a:pt x="12" y="246"/>
                </a:lnTo>
                <a:lnTo>
                  <a:pt x="19" y="257"/>
                </a:lnTo>
                <a:lnTo>
                  <a:pt x="25" y="268"/>
                </a:lnTo>
                <a:lnTo>
                  <a:pt x="54" y="310"/>
                </a:lnTo>
                <a:lnTo>
                  <a:pt x="84" y="352"/>
                </a:lnTo>
                <a:lnTo>
                  <a:pt x="115" y="394"/>
                </a:lnTo>
                <a:lnTo>
                  <a:pt x="147" y="434"/>
                </a:lnTo>
                <a:lnTo>
                  <a:pt x="181" y="473"/>
                </a:lnTo>
                <a:lnTo>
                  <a:pt x="214" y="512"/>
                </a:lnTo>
                <a:lnTo>
                  <a:pt x="249" y="549"/>
                </a:lnTo>
                <a:lnTo>
                  <a:pt x="286" y="587"/>
                </a:lnTo>
                <a:lnTo>
                  <a:pt x="322" y="623"/>
                </a:lnTo>
                <a:lnTo>
                  <a:pt x="361" y="658"/>
                </a:lnTo>
                <a:lnTo>
                  <a:pt x="399" y="692"/>
                </a:lnTo>
                <a:lnTo>
                  <a:pt x="439" y="725"/>
                </a:lnTo>
                <a:lnTo>
                  <a:pt x="479" y="757"/>
                </a:lnTo>
                <a:lnTo>
                  <a:pt x="519" y="789"/>
                </a:lnTo>
                <a:lnTo>
                  <a:pt x="561" y="819"/>
                </a:lnTo>
                <a:lnTo>
                  <a:pt x="604" y="848"/>
                </a:lnTo>
                <a:lnTo>
                  <a:pt x="614" y="853"/>
                </a:lnTo>
                <a:lnTo>
                  <a:pt x="622" y="858"/>
                </a:lnTo>
                <a:lnTo>
                  <a:pt x="633" y="863"/>
                </a:lnTo>
                <a:lnTo>
                  <a:pt x="643" y="866"/>
                </a:lnTo>
                <a:lnTo>
                  <a:pt x="654" y="868"/>
                </a:lnTo>
                <a:lnTo>
                  <a:pt x="664" y="870"/>
                </a:lnTo>
                <a:lnTo>
                  <a:pt x="675" y="871"/>
                </a:lnTo>
                <a:lnTo>
                  <a:pt x="686" y="872"/>
                </a:lnTo>
                <a:lnTo>
                  <a:pt x="701" y="871"/>
                </a:lnTo>
                <a:lnTo>
                  <a:pt x="715" y="869"/>
                </a:lnTo>
                <a:lnTo>
                  <a:pt x="729" y="866"/>
                </a:lnTo>
                <a:lnTo>
                  <a:pt x="743" y="860"/>
                </a:lnTo>
                <a:lnTo>
                  <a:pt x="755" y="855"/>
                </a:lnTo>
                <a:lnTo>
                  <a:pt x="767" y="848"/>
                </a:lnTo>
                <a:lnTo>
                  <a:pt x="779" y="839"/>
                </a:lnTo>
                <a:lnTo>
                  <a:pt x="790" y="829"/>
                </a:lnTo>
                <a:lnTo>
                  <a:pt x="841" y="777"/>
                </a:lnTo>
                <a:lnTo>
                  <a:pt x="849" y="769"/>
                </a:lnTo>
                <a:lnTo>
                  <a:pt x="854" y="761"/>
                </a:lnTo>
                <a:lnTo>
                  <a:pt x="859" y="752"/>
                </a:lnTo>
                <a:lnTo>
                  <a:pt x="864" y="744"/>
                </a:lnTo>
                <a:lnTo>
                  <a:pt x="867" y="734"/>
                </a:lnTo>
                <a:lnTo>
                  <a:pt x="870" y="724"/>
                </a:lnTo>
                <a:lnTo>
                  <a:pt x="871" y="715"/>
                </a:lnTo>
                <a:lnTo>
                  <a:pt x="871" y="704"/>
                </a:lnTo>
                <a:lnTo>
                  <a:pt x="871" y="694"/>
                </a:lnTo>
                <a:lnTo>
                  <a:pt x="870" y="685"/>
                </a:lnTo>
                <a:lnTo>
                  <a:pt x="867" y="675"/>
                </a:lnTo>
                <a:lnTo>
                  <a:pt x="864" y="665"/>
                </a:lnTo>
                <a:lnTo>
                  <a:pt x="859" y="656"/>
                </a:lnTo>
                <a:lnTo>
                  <a:pt x="854" y="647"/>
                </a:lnTo>
                <a:lnTo>
                  <a:pt x="849" y="638"/>
                </a:lnTo>
                <a:lnTo>
                  <a:pt x="841" y="631"/>
                </a:lnTo>
                <a:close/>
              </a:path>
            </a:pathLst>
          </a:custGeom>
          <a:solidFill>
            <a:srgbClr val="E2583D"/>
          </a:solidFill>
          <a:ln>
            <a:noFill/>
          </a:ln>
          <a:effec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ysClr val="windowText" lastClr="000000"/>
              </a:solidFill>
              <a:effectLst/>
              <a:uLnTx/>
              <a:uFillTx/>
              <a:latin typeface="Calibri"/>
              <a:ea typeface="+mn-ea"/>
              <a:cs typeface="+mn-cs"/>
            </a:endParaRPr>
          </a:p>
        </p:txBody>
      </p:sp>
      <p:grpSp>
        <p:nvGrpSpPr>
          <p:cNvPr id="62" name="Group 61"/>
          <p:cNvGrpSpPr>
            <a:grpSpLocks noChangeAspect="1"/>
          </p:cNvGrpSpPr>
          <p:nvPr/>
        </p:nvGrpSpPr>
        <p:grpSpPr>
          <a:xfrm>
            <a:off x="5696489" y="3672881"/>
            <a:ext cx="97669" cy="65219"/>
            <a:chOff x="5867374" y="2350192"/>
            <a:chExt cx="220415" cy="147182"/>
          </a:xfrm>
          <a:solidFill>
            <a:srgbClr val="AFABAB"/>
          </a:solidFill>
        </p:grpSpPr>
        <p:sp>
          <p:nvSpPr>
            <p:cNvPr id="68" name="Freeform 3506"/>
            <p:cNvSpPr>
              <a:spLocks/>
            </p:cNvSpPr>
            <p:nvPr/>
          </p:nvSpPr>
          <p:spPr bwMode="auto">
            <a:xfrm>
              <a:off x="5867374" y="2355679"/>
              <a:ext cx="220415" cy="141695"/>
            </a:xfrm>
            <a:custGeom>
              <a:avLst/>
              <a:gdLst>
                <a:gd name="T0" fmla="*/ 661 w 673"/>
                <a:gd name="T1" fmla="*/ 0 h 429"/>
                <a:gd name="T2" fmla="*/ 357 w 673"/>
                <a:gd name="T3" fmla="*/ 245 h 429"/>
                <a:gd name="T4" fmla="*/ 354 w 673"/>
                <a:gd name="T5" fmla="*/ 248 h 429"/>
                <a:gd name="T6" fmla="*/ 350 w 673"/>
                <a:gd name="T7" fmla="*/ 248 h 429"/>
                <a:gd name="T8" fmla="*/ 346 w 673"/>
                <a:gd name="T9" fmla="*/ 248 h 429"/>
                <a:gd name="T10" fmla="*/ 342 w 673"/>
                <a:gd name="T11" fmla="*/ 247 h 429"/>
                <a:gd name="T12" fmla="*/ 11 w 673"/>
                <a:gd name="T13" fmla="*/ 6 h 429"/>
                <a:gd name="T14" fmla="*/ 7 w 673"/>
                <a:gd name="T15" fmla="*/ 14 h 429"/>
                <a:gd name="T16" fmla="*/ 3 w 673"/>
                <a:gd name="T17" fmla="*/ 23 h 429"/>
                <a:gd name="T18" fmla="*/ 2 w 673"/>
                <a:gd name="T19" fmla="*/ 33 h 429"/>
                <a:gd name="T20" fmla="*/ 0 w 673"/>
                <a:gd name="T21" fmla="*/ 44 h 429"/>
                <a:gd name="T22" fmla="*/ 0 w 673"/>
                <a:gd name="T23" fmla="*/ 357 h 429"/>
                <a:gd name="T24" fmla="*/ 2 w 673"/>
                <a:gd name="T25" fmla="*/ 365 h 429"/>
                <a:gd name="T26" fmla="*/ 2 w 673"/>
                <a:gd name="T27" fmla="*/ 371 h 429"/>
                <a:gd name="T28" fmla="*/ 4 w 673"/>
                <a:gd name="T29" fmla="*/ 379 h 429"/>
                <a:gd name="T30" fmla="*/ 6 w 673"/>
                <a:gd name="T31" fmla="*/ 385 h 429"/>
                <a:gd name="T32" fmla="*/ 9 w 673"/>
                <a:gd name="T33" fmla="*/ 392 h 429"/>
                <a:gd name="T34" fmla="*/ 12 w 673"/>
                <a:gd name="T35" fmla="*/ 398 h 429"/>
                <a:gd name="T36" fmla="*/ 16 w 673"/>
                <a:gd name="T37" fmla="*/ 403 h 429"/>
                <a:gd name="T38" fmla="*/ 21 w 673"/>
                <a:gd name="T39" fmla="*/ 408 h 429"/>
                <a:gd name="T40" fmla="*/ 26 w 673"/>
                <a:gd name="T41" fmla="*/ 412 h 429"/>
                <a:gd name="T42" fmla="*/ 31 w 673"/>
                <a:gd name="T43" fmla="*/ 417 h 429"/>
                <a:gd name="T44" fmla="*/ 36 w 673"/>
                <a:gd name="T45" fmla="*/ 420 h 429"/>
                <a:gd name="T46" fmla="*/ 43 w 673"/>
                <a:gd name="T47" fmla="*/ 424 h 429"/>
                <a:gd name="T48" fmla="*/ 49 w 673"/>
                <a:gd name="T49" fmla="*/ 425 h 429"/>
                <a:gd name="T50" fmla="*/ 57 w 673"/>
                <a:gd name="T51" fmla="*/ 428 h 429"/>
                <a:gd name="T52" fmla="*/ 63 w 673"/>
                <a:gd name="T53" fmla="*/ 429 h 429"/>
                <a:gd name="T54" fmla="*/ 71 w 673"/>
                <a:gd name="T55" fmla="*/ 429 h 429"/>
                <a:gd name="T56" fmla="*/ 601 w 673"/>
                <a:gd name="T57" fmla="*/ 429 h 429"/>
                <a:gd name="T58" fmla="*/ 609 w 673"/>
                <a:gd name="T59" fmla="*/ 429 h 429"/>
                <a:gd name="T60" fmla="*/ 616 w 673"/>
                <a:gd name="T61" fmla="*/ 428 h 429"/>
                <a:gd name="T62" fmla="*/ 623 w 673"/>
                <a:gd name="T63" fmla="*/ 425 h 429"/>
                <a:gd name="T64" fmla="*/ 630 w 673"/>
                <a:gd name="T65" fmla="*/ 423 h 429"/>
                <a:gd name="T66" fmla="*/ 636 w 673"/>
                <a:gd name="T67" fmla="*/ 420 h 429"/>
                <a:gd name="T68" fmla="*/ 643 w 673"/>
                <a:gd name="T69" fmla="*/ 416 h 429"/>
                <a:gd name="T70" fmla="*/ 648 w 673"/>
                <a:gd name="T71" fmla="*/ 412 h 429"/>
                <a:gd name="T72" fmla="*/ 653 w 673"/>
                <a:gd name="T73" fmla="*/ 407 h 429"/>
                <a:gd name="T74" fmla="*/ 657 w 673"/>
                <a:gd name="T75" fmla="*/ 402 h 429"/>
                <a:gd name="T76" fmla="*/ 662 w 673"/>
                <a:gd name="T77" fmla="*/ 397 h 429"/>
                <a:gd name="T78" fmla="*/ 666 w 673"/>
                <a:gd name="T79" fmla="*/ 390 h 429"/>
                <a:gd name="T80" fmla="*/ 668 w 673"/>
                <a:gd name="T81" fmla="*/ 385 h 429"/>
                <a:gd name="T82" fmla="*/ 671 w 673"/>
                <a:gd name="T83" fmla="*/ 378 h 429"/>
                <a:gd name="T84" fmla="*/ 672 w 673"/>
                <a:gd name="T85" fmla="*/ 371 h 429"/>
                <a:gd name="T86" fmla="*/ 673 w 673"/>
                <a:gd name="T87" fmla="*/ 364 h 429"/>
                <a:gd name="T88" fmla="*/ 673 w 673"/>
                <a:gd name="T89" fmla="*/ 357 h 429"/>
                <a:gd name="T90" fmla="*/ 673 w 673"/>
                <a:gd name="T91" fmla="*/ 44 h 429"/>
                <a:gd name="T92" fmla="*/ 673 w 673"/>
                <a:gd name="T93" fmla="*/ 32 h 429"/>
                <a:gd name="T94" fmla="*/ 671 w 673"/>
                <a:gd name="T95" fmla="*/ 21 h 429"/>
                <a:gd name="T96" fmla="*/ 666 w 673"/>
                <a:gd name="T97" fmla="*/ 10 h 429"/>
                <a:gd name="T98" fmla="*/ 661 w 673"/>
                <a:gd name="T99" fmla="*/ 0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673" h="429">
                  <a:moveTo>
                    <a:pt x="661" y="0"/>
                  </a:moveTo>
                  <a:lnTo>
                    <a:pt x="357" y="245"/>
                  </a:lnTo>
                  <a:lnTo>
                    <a:pt x="354" y="248"/>
                  </a:lnTo>
                  <a:lnTo>
                    <a:pt x="350" y="248"/>
                  </a:lnTo>
                  <a:lnTo>
                    <a:pt x="346" y="248"/>
                  </a:lnTo>
                  <a:lnTo>
                    <a:pt x="342" y="247"/>
                  </a:lnTo>
                  <a:lnTo>
                    <a:pt x="11" y="6"/>
                  </a:lnTo>
                  <a:lnTo>
                    <a:pt x="7" y="14"/>
                  </a:lnTo>
                  <a:lnTo>
                    <a:pt x="3" y="23"/>
                  </a:lnTo>
                  <a:lnTo>
                    <a:pt x="2" y="33"/>
                  </a:lnTo>
                  <a:lnTo>
                    <a:pt x="0" y="44"/>
                  </a:lnTo>
                  <a:lnTo>
                    <a:pt x="0" y="357"/>
                  </a:lnTo>
                  <a:lnTo>
                    <a:pt x="2" y="365"/>
                  </a:lnTo>
                  <a:lnTo>
                    <a:pt x="2" y="371"/>
                  </a:lnTo>
                  <a:lnTo>
                    <a:pt x="4" y="379"/>
                  </a:lnTo>
                  <a:lnTo>
                    <a:pt x="6" y="385"/>
                  </a:lnTo>
                  <a:lnTo>
                    <a:pt x="9" y="392"/>
                  </a:lnTo>
                  <a:lnTo>
                    <a:pt x="12" y="398"/>
                  </a:lnTo>
                  <a:lnTo>
                    <a:pt x="16" y="403"/>
                  </a:lnTo>
                  <a:lnTo>
                    <a:pt x="21" y="408"/>
                  </a:lnTo>
                  <a:lnTo>
                    <a:pt x="26" y="412"/>
                  </a:lnTo>
                  <a:lnTo>
                    <a:pt x="31" y="417"/>
                  </a:lnTo>
                  <a:lnTo>
                    <a:pt x="36" y="420"/>
                  </a:lnTo>
                  <a:lnTo>
                    <a:pt x="43" y="424"/>
                  </a:lnTo>
                  <a:lnTo>
                    <a:pt x="49" y="425"/>
                  </a:lnTo>
                  <a:lnTo>
                    <a:pt x="57" y="428"/>
                  </a:lnTo>
                  <a:lnTo>
                    <a:pt x="63" y="429"/>
                  </a:lnTo>
                  <a:lnTo>
                    <a:pt x="71" y="429"/>
                  </a:lnTo>
                  <a:lnTo>
                    <a:pt x="601" y="429"/>
                  </a:lnTo>
                  <a:lnTo>
                    <a:pt x="609" y="429"/>
                  </a:lnTo>
                  <a:lnTo>
                    <a:pt x="616" y="428"/>
                  </a:lnTo>
                  <a:lnTo>
                    <a:pt x="623" y="425"/>
                  </a:lnTo>
                  <a:lnTo>
                    <a:pt x="630" y="423"/>
                  </a:lnTo>
                  <a:lnTo>
                    <a:pt x="636" y="420"/>
                  </a:lnTo>
                  <a:lnTo>
                    <a:pt x="643" y="416"/>
                  </a:lnTo>
                  <a:lnTo>
                    <a:pt x="648" y="412"/>
                  </a:lnTo>
                  <a:lnTo>
                    <a:pt x="653" y="407"/>
                  </a:lnTo>
                  <a:lnTo>
                    <a:pt x="657" y="402"/>
                  </a:lnTo>
                  <a:lnTo>
                    <a:pt x="662" y="397"/>
                  </a:lnTo>
                  <a:lnTo>
                    <a:pt x="666" y="390"/>
                  </a:lnTo>
                  <a:lnTo>
                    <a:pt x="668" y="385"/>
                  </a:lnTo>
                  <a:lnTo>
                    <a:pt x="671" y="378"/>
                  </a:lnTo>
                  <a:lnTo>
                    <a:pt x="672" y="371"/>
                  </a:lnTo>
                  <a:lnTo>
                    <a:pt x="673" y="364"/>
                  </a:lnTo>
                  <a:lnTo>
                    <a:pt x="673" y="357"/>
                  </a:lnTo>
                  <a:lnTo>
                    <a:pt x="673" y="44"/>
                  </a:lnTo>
                  <a:lnTo>
                    <a:pt x="673" y="32"/>
                  </a:lnTo>
                  <a:lnTo>
                    <a:pt x="671" y="21"/>
                  </a:lnTo>
                  <a:lnTo>
                    <a:pt x="666" y="10"/>
                  </a:lnTo>
                  <a:lnTo>
                    <a:pt x="661" y="0"/>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ysClr val="windowText" lastClr="000000"/>
                </a:solidFill>
                <a:effectLst/>
                <a:uLnTx/>
                <a:uFillTx/>
                <a:latin typeface="Calibri"/>
                <a:ea typeface="+mn-ea"/>
                <a:cs typeface="+mn-cs"/>
              </a:endParaRPr>
            </a:p>
          </p:txBody>
        </p:sp>
        <p:sp>
          <p:nvSpPr>
            <p:cNvPr id="69" name="Freeform 3507"/>
            <p:cNvSpPr>
              <a:spLocks/>
            </p:cNvSpPr>
            <p:nvPr/>
          </p:nvSpPr>
          <p:spPr bwMode="auto">
            <a:xfrm>
              <a:off x="5885741" y="2350192"/>
              <a:ext cx="183679" cy="73948"/>
            </a:xfrm>
            <a:custGeom>
              <a:avLst/>
              <a:gdLst>
                <a:gd name="T0" fmla="*/ 617 w 617"/>
                <a:gd name="T1" fmla="*/ 11 h 249"/>
                <a:gd name="T2" fmla="*/ 608 w 617"/>
                <a:gd name="T3" fmla="*/ 6 h 249"/>
                <a:gd name="T4" fmla="*/ 599 w 617"/>
                <a:gd name="T5" fmla="*/ 4 h 249"/>
                <a:gd name="T6" fmla="*/ 587 w 617"/>
                <a:gd name="T7" fmla="*/ 1 h 249"/>
                <a:gd name="T8" fmla="*/ 575 w 617"/>
                <a:gd name="T9" fmla="*/ 0 h 249"/>
                <a:gd name="T10" fmla="*/ 46 w 617"/>
                <a:gd name="T11" fmla="*/ 0 h 249"/>
                <a:gd name="T12" fmla="*/ 34 w 617"/>
                <a:gd name="T13" fmla="*/ 1 h 249"/>
                <a:gd name="T14" fmla="*/ 21 w 617"/>
                <a:gd name="T15" fmla="*/ 4 h 249"/>
                <a:gd name="T16" fmla="*/ 10 w 617"/>
                <a:gd name="T17" fmla="*/ 9 h 249"/>
                <a:gd name="T18" fmla="*/ 0 w 617"/>
                <a:gd name="T19" fmla="*/ 15 h 249"/>
                <a:gd name="T20" fmla="*/ 322 w 617"/>
                <a:gd name="T21" fmla="*/ 249 h 249"/>
                <a:gd name="T22" fmla="*/ 617 w 617"/>
                <a:gd name="T23" fmla="*/ 11 h 2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17" h="249">
                  <a:moveTo>
                    <a:pt x="617" y="11"/>
                  </a:moveTo>
                  <a:lnTo>
                    <a:pt x="608" y="6"/>
                  </a:lnTo>
                  <a:lnTo>
                    <a:pt x="599" y="4"/>
                  </a:lnTo>
                  <a:lnTo>
                    <a:pt x="587" y="1"/>
                  </a:lnTo>
                  <a:lnTo>
                    <a:pt x="575" y="0"/>
                  </a:lnTo>
                  <a:lnTo>
                    <a:pt x="46" y="0"/>
                  </a:lnTo>
                  <a:lnTo>
                    <a:pt x="34" y="1"/>
                  </a:lnTo>
                  <a:lnTo>
                    <a:pt x="21" y="4"/>
                  </a:lnTo>
                  <a:lnTo>
                    <a:pt x="10" y="9"/>
                  </a:lnTo>
                  <a:lnTo>
                    <a:pt x="0" y="15"/>
                  </a:lnTo>
                  <a:lnTo>
                    <a:pt x="322" y="249"/>
                  </a:lnTo>
                  <a:lnTo>
                    <a:pt x="617" y="11"/>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ysClr val="windowText" lastClr="000000"/>
                </a:solidFill>
                <a:effectLst/>
                <a:uLnTx/>
                <a:uFillTx/>
                <a:latin typeface="Calibri"/>
                <a:ea typeface="+mn-ea"/>
                <a:cs typeface="+mn-cs"/>
              </a:endParaRPr>
            </a:p>
          </p:txBody>
        </p:sp>
      </p:grpSp>
      <p:sp>
        <p:nvSpPr>
          <p:cNvPr id="64" name="Freeform 184"/>
          <p:cNvSpPr>
            <a:spLocks noChangeAspect="1"/>
          </p:cNvSpPr>
          <p:nvPr/>
        </p:nvSpPr>
        <p:spPr bwMode="auto">
          <a:xfrm>
            <a:off x="5943758" y="3666033"/>
            <a:ext cx="97163" cy="78914"/>
          </a:xfrm>
          <a:custGeom>
            <a:avLst/>
            <a:gdLst>
              <a:gd name="T0" fmla="*/ 393 w 393"/>
              <a:gd name="T1" fmla="*/ 38 h 319"/>
              <a:gd name="T2" fmla="*/ 347 w 393"/>
              <a:gd name="T3" fmla="*/ 52 h 319"/>
              <a:gd name="T4" fmla="*/ 359 w 393"/>
              <a:gd name="T5" fmla="*/ 42 h 319"/>
              <a:gd name="T6" fmla="*/ 377 w 393"/>
              <a:gd name="T7" fmla="*/ 20 h 319"/>
              <a:gd name="T8" fmla="*/ 383 w 393"/>
              <a:gd name="T9" fmla="*/ 6 h 319"/>
              <a:gd name="T10" fmla="*/ 345 w 393"/>
              <a:gd name="T11" fmla="*/ 22 h 319"/>
              <a:gd name="T12" fmla="*/ 331 w 393"/>
              <a:gd name="T13" fmla="*/ 26 h 319"/>
              <a:gd name="T14" fmla="*/ 305 w 393"/>
              <a:gd name="T15" fmla="*/ 8 h 319"/>
              <a:gd name="T16" fmla="*/ 273 w 393"/>
              <a:gd name="T17" fmla="*/ 0 h 319"/>
              <a:gd name="T18" fmla="*/ 255 w 393"/>
              <a:gd name="T19" fmla="*/ 2 h 319"/>
              <a:gd name="T20" fmla="*/ 227 w 393"/>
              <a:gd name="T21" fmla="*/ 14 h 319"/>
              <a:gd name="T22" fmla="*/ 205 w 393"/>
              <a:gd name="T23" fmla="*/ 36 h 319"/>
              <a:gd name="T24" fmla="*/ 193 w 393"/>
              <a:gd name="T25" fmla="*/ 64 h 319"/>
              <a:gd name="T26" fmla="*/ 191 w 393"/>
              <a:gd name="T27" fmla="*/ 82 h 319"/>
              <a:gd name="T28" fmla="*/ 193 w 393"/>
              <a:gd name="T29" fmla="*/ 100 h 319"/>
              <a:gd name="T30" fmla="*/ 145 w 393"/>
              <a:gd name="T31" fmla="*/ 92 h 319"/>
              <a:gd name="T32" fmla="*/ 99 w 393"/>
              <a:gd name="T33" fmla="*/ 74 h 319"/>
              <a:gd name="T34" fmla="*/ 62 w 393"/>
              <a:gd name="T35" fmla="*/ 48 h 319"/>
              <a:gd name="T36" fmla="*/ 28 w 393"/>
              <a:gd name="T37" fmla="*/ 16 h 319"/>
              <a:gd name="T38" fmla="*/ 24 w 393"/>
              <a:gd name="T39" fmla="*/ 24 h 319"/>
              <a:gd name="T40" fmla="*/ 18 w 393"/>
              <a:gd name="T41" fmla="*/ 44 h 319"/>
              <a:gd name="T42" fmla="*/ 16 w 393"/>
              <a:gd name="T43" fmla="*/ 56 h 319"/>
              <a:gd name="T44" fmla="*/ 20 w 393"/>
              <a:gd name="T45" fmla="*/ 76 h 319"/>
              <a:gd name="T46" fmla="*/ 26 w 393"/>
              <a:gd name="T47" fmla="*/ 94 h 319"/>
              <a:gd name="T48" fmla="*/ 52 w 393"/>
              <a:gd name="T49" fmla="*/ 124 h 319"/>
              <a:gd name="T50" fmla="*/ 34 w 393"/>
              <a:gd name="T51" fmla="*/ 120 h 319"/>
              <a:gd name="T52" fmla="*/ 16 w 393"/>
              <a:gd name="T53" fmla="*/ 114 h 319"/>
              <a:gd name="T54" fmla="*/ 16 w 393"/>
              <a:gd name="T55" fmla="*/ 114 h 319"/>
              <a:gd name="T56" fmla="*/ 22 w 393"/>
              <a:gd name="T57" fmla="*/ 142 h 319"/>
              <a:gd name="T58" fmla="*/ 34 w 393"/>
              <a:gd name="T59" fmla="*/ 166 h 319"/>
              <a:gd name="T60" fmla="*/ 56 w 393"/>
              <a:gd name="T61" fmla="*/ 183 h 319"/>
              <a:gd name="T62" fmla="*/ 82 w 393"/>
              <a:gd name="T63" fmla="*/ 193 h 319"/>
              <a:gd name="T64" fmla="*/ 70 w 393"/>
              <a:gd name="T65" fmla="*/ 195 h 319"/>
              <a:gd name="T66" fmla="*/ 60 w 393"/>
              <a:gd name="T67" fmla="*/ 195 h 319"/>
              <a:gd name="T68" fmla="*/ 44 w 393"/>
              <a:gd name="T69" fmla="*/ 193 h 319"/>
              <a:gd name="T70" fmla="*/ 56 w 393"/>
              <a:gd name="T71" fmla="*/ 215 h 319"/>
              <a:gd name="T72" fmla="*/ 72 w 393"/>
              <a:gd name="T73" fmla="*/ 233 h 319"/>
              <a:gd name="T74" fmla="*/ 93 w 393"/>
              <a:gd name="T75" fmla="*/ 245 h 319"/>
              <a:gd name="T76" fmla="*/ 119 w 393"/>
              <a:gd name="T77" fmla="*/ 249 h 319"/>
              <a:gd name="T78" fmla="*/ 97 w 393"/>
              <a:gd name="T79" fmla="*/ 265 h 319"/>
              <a:gd name="T80" fmla="*/ 48 w 393"/>
              <a:gd name="T81" fmla="*/ 283 h 319"/>
              <a:gd name="T82" fmla="*/ 20 w 393"/>
              <a:gd name="T83" fmla="*/ 285 h 319"/>
              <a:gd name="T84" fmla="*/ 0 w 393"/>
              <a:gd name="T85" fmla="*/ 283 h 319"/>
              <a:gd name="T86" fmla="*/ 28 w 393"/>
              <a:gd name="T87" fmla="*/ 299 h 319"/>
              <a:gd name="T88" fmla="*/ 89 w 393"/>
              <a:gd name="T89" fmla="*/ 317 h 319"/>
              <a:gd name="T90" fmla="*/ 123 w 393"/>
              <a:gd name="T91" fmla="*/ 319 h 319"/>
              <a:gd name="T92" fmla="*/ 151 w 393"/>
              <a:gd name="T93" fmla="*/ 319 h 319"/>
              <a:gd name="T94" fmla="*/ 199 w 393"/>
              <a:gd name="T95" fmla="*/ 307 h 319"/>
              <a:gd name="T96" fmla="*/ 243 w 393"/>
              <a:gd name="T97" fmla="*/ 287 h 319"/>
              <a:gd name="T98" fmla="*/ 279 w 393"/>
              <a:gd name="T99" fmla="*/ 261 h 319"/>
              <a:gd name="T100" fmla="*/ 307 w 393"/>
              <a:gd name="T101" fmla="*/ 227 h 319"/>
              <a:gd name="T102" fmla="*/ 329 w 393"/>
              <a:gd name="T103" fmla="*/ 191 h 319"/>
              <a:gd name="T104" fmla="*/ 345 w 393"/>
              <a:gd name="T105" fmla="*/ 152 h 319"/>
              <a:gd name="T106" fmla="*/ 353 w 393"/>
              <a:gd name="T107" fmla="*/ 110 h 319"/>
              <a:gd name="T108" fmla="*/ 353 w 393"/>
              <a:gd name="T109" fmla="*/ 90 h 319"/>
              <a:gd name="T110" fmla="*/ 353 w 393"/>
              <a:gd name="T111" fmla="*/ 80 h 319"/>
              <a:gd name="T112" fmla="*/ 375 w 393"/>
              <a:gd name="T113" fmla="*/ 62 h 319"/>
              <a:gd name="T114" fmla="*/ 393 w 393"/>
              <a:gd name="T115" fmla="*/ 38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93" h="319">
                <a:moveTo>
                  <a:pt x="393" y="38"/>
                </a:moveTo>
                <a:lnTo>
                  <a:pt x="393" y="38"/>
                </a:lnTo>
                <a:lnTo>
                  <a:pt x="371" y="46"/>
                </a:lnTo>
                <a:lnTo>
                  <a:pt x="347" y="52"/>
                </a:lnTo>
                <a:lnTo>
                  <a:pt x="347" y="52"/>
                </a:lnTo>
                <a:lnTo>
                  <a:pt x="359" y="42"/>
                </a:lnTo>
                <a:lnTo>
                  <a:pt x="369" y="32"/>
                </a:lnTo>
                <a:lnTo>
                  <a:pt x="377" y="20"/>
                </a:lnTo>
                <a:lnTo>
                  <a:pt x="383" y="6"/>
                </a:lnTo>
                <a:lnTo>
                  <a:pt x="383" y="6"/>
                </a:lnTo>
                <a:lnTo>
                  <a:pt x="357" y="18"/>
                </a:lnTo>
                <a:lnTo>
                  <a:pt x="345" y="22"/>
                </a:lnTo>
                <a:lnTo>
                  <a:pt x="331" y="26"/>
                </a:lnTo>
                <a:lnTo>
                  <a:pt x="331" y="26"/>
                </a:lnTo>
                <a:lnTo>
                  <a:pt x="319" y="16"/>
                </a:lnTo>
                <a:lnTo>
                  <a:pt x="305" y="8"/>
                </a:lnTo>
                <a:lnTo>
                  <a:pt x="289" y="2"/>
                </a:lnTo>
                <a:lnTo>
                  <a:pt x="273" y="0"/>
                </a:lnTo>
                <a:lnTo>
                  <a:pt x="273" y="0"/>
                </a:lnTo>
                <a:lnTo>
                  <a:pt x="255" y="2"/>
                </a:lnTo>
                <a:lnTo>
                  <a:pt x="241" y="6"/>
                </a:lnTo>
                <a:lnTo>
                  <a:pt x="227" y="14"/>
                </a:lnTo>
                <a:lnTo>
                  <a:pt x="215" y="24"/>
                </a:lnTo>
                <a:lnTo>
                  <a:pt x="205" y="36"/>
                </a:lnTo>
                <a:lnTo>
                  <a:pt x="197" y="50"/>
                </a:lnTo>
                <a:lnTo>
                  <a:pt x="193" y="64"/>
                </a:lnTo>
                <a:lnTo>
                  <a:pt x="191" y="82"/>
                </a:lnTo>
                <a:lnTo>
                  <a:pt x="191" y="82"/>
                </a:lnTo>
                <a:lnTo>
                  <a:pt x="193" y="100"/>
                </a:lnTo>
                <a:lnTo>
                  <a:pt x="193" y="100"/>
                </a:lnTo>
                <a:lnTo>
                  <a:pt x="169" y="98"/>
                </a:lnTo>
                <a:lnTo>
                  <a:pt x="145" y="92"/>
                </a:lnTo>
                <a:lnTo>
                  <a:pt x="121" y="84"/>
                </a:lnTo>
                <a:lnTo>
                  <a:pt x="99" y="74"/>
                </a:lnTo>
                <a:lnTo>
                  <a:pt x="80" y="62"/>
                </a:lnTo>
                <a:lnTo>
                  <a:pt x="62" y="48"/>
                </a:lnTo>
                <a:lnTo>
                  <a:pt x="44" y="32"/>
                </a:lnTo>
                <a:lnTo>
                  <a:pt x="28" y="16"/>
                </a:lnTo>
                <a:lnTo>
                  <a:pt x="28" y="16"/>
                </a:lnTo>
                <a:lnTo>
                  <a:pt x="24" y="24"/>
                </a:lnTo>
                <a:lnTo>
                  <a:pt x="20" y="34"/>
                </a:lnTo>
                <a:lnTo>
                  <a:pt x="18" y="44"/>
                </a:lnTo>
                <a:lnTo>
                  <a:pt x="16" y="56"/>
                </a:lnTo>
                <a:lnTo>
                  <a:pt x="16" y="56"/>
                </a:lnTo>
                <a:lnTo>
                  <a:pt x="18" y="66"/>
                </a:lnTo>
                <a:lnTo>
                  <a:pt x="20" y="76"/>
                </a:lnTo>
                <a:lnTo>
                  <a:pt x="22" y="86"/>
                </a:lnTo>
                <a:lnTo>
                  <a:pt x="26" y="94"/>
                </a:lnTo>
                <a:lnTo>
                  <a:pt x="38" y="110"/>
                </a:lnTo>
                <a:lnTo>
                  <a:pt x="52" y="124"/>
                </a:lnTo>
                <a:lnTo>
                  <a:pt x="52" y="124"/>
                </a:lnTo>
                <a:lnTo>
                  <a:pt x="34" y="120"/>
                </a:lnTo>
                <a:lnTo>
                  <a:pt x="16" y="114"/>
                </a:lnTo>
                <a:lnTo>
                  <a:pt x="16" y="114"/>
                </a:lnTo>
                <a:lnTo>
                  <a:pt x="16" y="114"/>
                </a:lnTo>
                <a:lnTo>
                  <a:pt x="16" y="114"/>
                </a:lnTo>
                <a:lnTo>
                  <a:pt x="18" y="128"/>
                </a:lnTo>
                <a:lnTo>
                  <a:pt x="22" y="142"/>
                </a:lnTo>
                <a:lnTo>
                  <a:pt x="26" y="154"/>
                </a:lnTo>
                <a:lnTo>
                  <a:pt x="34" y="166"/>
                </a:lnTo>
                <a:lnTo>
                  <a:pt x="44" y="176"/>
                </a:lnTo>
                <a:lnTo>
                  <a:pt x="56" y="183"/>
                </a:lnTo>
                <a:lnTo>
                  <a:pt x="68" y="189"/>
                </a:lnTo>
                <a:lnTo>
                  <a:pt x="82" y="193"/>
                </a:lnTo>
                <a:lnTo>
                  <a:pt x="82" y="193"/>
                </a:lnTo>
                <a:lnTo>
                  <a:pt x="70" y="195"/>
                </a:lnTo>
                <a:lnTo>
                  <a:pt x="60" y="195"/>
                </a:lnTo>
                <a:lnTo>
                  <a:pt x="60" y="195"/>
                </a:lnTo>
                <a:lnTo>
                  <a:pt x="44" y="193"/>
                </a:lnTo>
                <a:lnTo>
                  <a:pt x="44" y="193"/>
                </a:lnTo>
                <a:lnTo>
                  <a:pt x="50" y="205"/>
                </a:lnTo>
                <a:lnTo>
                  <a:pt x="56" y="215"/>
                </a:lnTo>
                <a:lnTo>
                  <a:pt x="64" y="225"/>
                </a:lnTo>
                <a:lnTo>
                  <a:pt x="72" y="233"/>
                </a:lnTo>
                <a:lnTo>
                  <a:pt x="84" y="241"/>
                </a:lnTo>
                <a:lnTo>
                  <a:pt x="93" y="245"/>
                </a:lnTo>
                <a:lnTo>
                  <a:pt x="107" y="249"/>
                </a:lnTo>
                <a:lnTo>
                  <a:pt x="119" y="249"/>
                </a:lnTo>
                <a:lnTo>
                  <a:pt x="119" y="249"/>
                </a:lnTo>
                <a:lnTo>
                  <a:pt x="97" y="265"/>
                </a:lnTo>
                <a:lnTo>
                  <a:pt x="74" y="275"/>
                </a:lnTo>
                <a:lnTo>
                  <a:pt x="48" y="283"/>
                </a:lnTo>
                <a:lnTo>
                  <a:pt x="34" y="283"/>
                </a:lnTo>
                <a:lnTo>
                  <a:pt x="20" y="285"/>
                </a:lnTo>
                <a:lnTo>
                  <a:pt x="20" y="285"/>
                </a:lnTo>
                <a:lnTo>
                  <a:pt x="0" y="283"/>
                </a:lnTo>
                <a:lnTo>
                  <a:pt x="0" y="283"/>
                </a:lnTo>
                <a:lnTo>
                  <a:pt x="28" y="299"/>
                </a:lnTo>
                <a:lnTo>
                  <a:pt x="58" y="311"/>
                </a:lnTo>
                <a:lnTo>
                  <a:pt x="89" y="317"/>
                </a:lnTo>
                <a:lnTo>
                  <a:pt x="107" y="319"/>
                </a:lnTo>
                <a:lnTo>
                  <a:pt x="123" y="319"/>
                </a:lnTo>
                <a:lnTo>
                  <a:pt x="123" y="319"/>
                </a:lnTo>
                <a:lnTo>
                  <a:pt x="151" y="319"/>
                </a:lnTo>
                <a:lnTo>
                  <a:pt x="175" y="315"/>
                </a:lnTo>
                <a:lnTo>
                  <a:pt x="199" y="307"/>
                </a:lnTo>
                <a:lnTo>
                  <a:pt x="223" y="299"/>
                </a:lnTo>
                <a:lnTo>
                  <a:pt x="243" y="287"/>
                </a:lnTo>
                <a:lnTo>
                  <a:pt x="261" y="275"/>
                </a:lnTo>
                <a:lnTo>
                  <a:pt x="279" y="261"/>
                </a:lnTo>
                <a:lnTo>
                  <a:pt x="295" y="245"/>
                </a:lnTo>
                <a:lnTo>
                  <a:pt x="307" y="227"/>
                </a:lnTo>
                <a:lnTo>
                  <a:pt x="319" y="209"/>
                </a:lnTo>
                <a:lnTo>
                  <a:pt x="329" y="191"/>
                </a:lnTo>
                <a:lnTo>
                  <a:pt x="339" y="172"/>
                </a:lnTo>
                <a:lnTo>
                  <a:pt x="345" y="152"/>
                </a:lnTo>
                <a:lnTo>
                  <a:pt x="349" y="132"/>
                </a:lnTo>
                <a:lnTo>
                  <a:pt x="353" y="110"/>
                </a:lnTo>
                <a:lnTo>
                  <a:pt x="353" y="90"/>
                </a:lnTo>
                <a:lnTo>
                  <a:pt x="353" y="90"/>
                </a:lnTo>
                <a:lnTo>
                  <a:pt x="353" y="80"/>
                </a:lnTo>
                <a:lnTo>
                  <a:pt x="353" y="80"/>
                </a:lnTo>
                <a:lnTo>
                  <a:pt x="365" y="72"/>
                </a:lnTo>
                <a:lnTo>
                  <a:pt x="375" y="62"/>
                </a:lnTo>
                <a:lnTo>
                  <a:pt x="385" y="50"/>
                </a:lnTo>
                <a:lnTo>
                  <a:pt x="393" y="38"/>
                </a:lnTo>
                <a:lnTo>
                  <a:pt x="393" y="38"/>
                </a:lnTo>
                <a:close/>
              </a:path>
            </a:pathLst>
          </a:custGeom>
          <a:solidFill>
            <a:srgbClr val="AFABAB"/>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ysClr val="windowText" lastClr="000000"/>
              </a:solidFill>
              <a:effectLst/>
              <a:uLnTx/>
              <a:uFillTx/>
              <a:latin typeface="Calibri"/>
              <a:ea typeface="+mn-ea"/>
              <a:cs typeface="+mn-cs"/>
            </a:endParaRPr>
          </a:p>
        </p:txBody>
      </p:sp>
      <p:sp>
        <p:nvSpPr>
          <p:cNvPr id="66" name="Freeform 1907"/>
          <p:cNvSpPr>
            <a:spLocks noChangeAspect="1"/>
          </p:cNvSpPr>
          <p:nvPr/>
        </p:nvSpPr>
        <p:spPr bwMode="auto">
          <a:xfrm>
            <a:off x="6196203" y="3662087"/>
            <a:ext cx="86310" cy="86806"/>
          </a:xfrm>
          <a:custGeom>
            <a:avLst/>
            <a:gdLst>
              <a:gd name="T0" fmla="*/ 748 w 871"/>
              <a:gd name="T1" fmla="*/ 538 h 872"/>
              <a:gd name="T2" fmla="*/ 732 w 871"/>
              <a:gd name="T3" fmla="*/ 525 h 872"/>
              <a:gd name="T4" fmla="*/ 714 w 871"/>
              <a:gd name="T5" fmla="*/ 515 h 872"/>
              <a:gd name="T6" fmla="*/ 694 w 871"/>
              <a:gd name="T7" fmla="*/ 509 h 872"/>
              <a:gd name="T8" fmla="*/ 674 w 871"/>
              <a:gd name="T9" fmla="*/ 506 h 872"/>
              <a:gd name="T10" fmla="*/ 654 w 871"/>
              <a:gd name="T11" fmla="*/ 509 h 872"/>
              <a:gd name="T12" fmla="*/ 634 w 871"/>
              <a:gd name="T13" fmla="*/ 515 h 872"/>
              <a:gd name="T14" fmla="*/ 617 w 871"/>
              <a:gd name="T15" fmla="*/ 525 h 872"/>
              <a:gd name="T16" fmla="*/ 601 w 871"/>
              <a:gd name="T17" fmla="*/ 538 h 872"/>
              <a:gd name="T18" fmla="*/ 544 w 871"/>
              <a:gd name="T19" fmla="*/ 529 h 872"/>
              <a:gd name="T20" fmla="*/ 474 w 871"/>
              <a:gd name="T21" fmla="*/ 465 h 872"/>
              <a:gd name="T22" fmla="*/ 407 w 871"/>
              <a:gd name="T23" fmla="*/ 398 h 872"/>
              <a:gd name="T24" fmla="*/ 344 w 871"/>
              <a:gd name="T25" fmla="*/ 328 h 872"/>
              <a:gd name="T26" fmla="*/ 335 w 871"/>
              <a:gd name="T27" fmla="*/ 271 h 872"/>
              <a:gd name="T28" fmla="*/ 348 w 871"/>
              <a:gd name="T29" fmla="*/ 254 h 872"/>
              <a:gd name="T30" fmla="*/ 358 w 871"/>
              <a:gd name="T31" fmla="*/ 237 h 872"/>
              <a:gd name="T32" fmla="*/ 364 w 871"/>
              <a:gd name="T33" fmla="*/ 218 h 872"/>
              <a:gd name="T34" fmla="*/ 365 w 871"/>
              <a:gd name="T35" fmla="*/ 198 h 872"/>
              <a:gd name="T36" fmla="*/ 364 w 871"/>
              <a:gd name="T37" fmla="*/ 178 h 872"/>
              <a:gd name="T38" fmla="*/ 358 w 871"/>
              <a:gd name="T39" fmla="*/ 159 h 872"/>
              <a:gd name="T40" fmla="*/ 348 w 871"/>
              <a:gd name="T41" fmla="*/ 141 h 872"/>
              <a:gd name="T42" fmla="*/ 335 w 871"/>
              <a:gd name="T43" fmla="*/ 125 h 872"/>
              <a:gd name="T44" fmla="*/ 233 w 871"/>
              <a:gd name="T45" fmla="*/ 24 h 872"/>
              <a:gd name="T46" fmla="*/ 217 w 871"/>
              <a:gd name="T47" fmla="*/ 13 h 872"/>
              <a:gd name="T48" fmla="*/ 198 w 871"/>
              <a:gd name="T49" fmla="*/ 5 h 872"/>
              <a:gd name="T50" fmla="*/ 178 w 871"/>
              <a:gd name="T51" fmla="*/ 1 h 872"/>
              <a:gd name="T52" fmla="*/ 158 w 871"/>
              <a:gd name="T53" fmla="*/ 1 h 872"/>
              <a:gd name="T54" fmla="*/ 138 w 871"/>
              <a:gd name="T55" fmla="*/ 5 h 872"/>
              <a:gd name="T56" fmla="*/ 119 w 871"/>
              <a:gd name="T57" fmla="*/ 13 h 872"/>
              <a:gd name="T58" fmla="*/ 102 w 871"/>
              <a:gd name="T59" fmla="*/ 24 h 872"/>
              <a:gd name="T60" fmla="*/ 43 w 871"/>
              <a:gd name="T61" fmla="*/ 82 h 872"/>
              <a:gd name="T62" fmla="*/ 27 w 871"/>
              <a:gd name="T63" fmla="*/ 102 h 872"/>
              <a:gd name="T64" fmla="*/ 14 w 871"/>
              <a:gd name="T65" fmla="*/ 124 h 872"/>
              <a:gd name="T66" fmla="*/ 6 w 871"/>
              <a:gd name="T67" fmla="*/ 147 h 872"/>
              <a:gd name="T68" fmla="*/ 1 w 871"/>
              <a:gd name="T69" fmla="*/ 172 h 872"/>
              <a:gd name="T70" fmla="*/ 0 w 871"/>
              <a:gd name="T71" fmla="*/ 197 h 872"/>
              <a:gd name="T72" fmla="*/ 5 w 871"/>
              <a:gd name="T73" fmla="*/ 221 h 872"/>
              <a:gd name="T74" fmla="*/ 12 w 871"/>
              <a:gd name="T75" fmla="*/ 246 h 872"/>
              <a:gd name="T76" fmla="*/ 25 w 871"/>
              <a:gd name="T77" fmla="*/ 268 h 872"/>
              <a:gd name="T78" fmla="*/ 84 w 871"/>
              <a:gd name="T79" fmla="*/ 352 h 872"/>
              <a:gd name="T80" fmla="*/ 147 w 871"/>
              <a:gd name="T81" fmla="*/ 434 h 872"/>
              <a:gd name="T82" fmla="*/ 214 w 871"/>
              <a:gd name="T83" fmla="*/ 512 h 872"/>
              <a:gd name="T84" fmla="*/ 286 w 871"/>
              <a:gd name="T85" fmla="*/ 587 h 872"/>
              <a:gd name="T86" fmla="*/ 361 w 871"/>
              <a:gd name="T87" fmla="*/ 658 h 872"/>
              <a:gd name="T88" fmla="*/ 439 w 871"/>
              <a:gd name="T89" fmla="*/ 725 h 872"/>
              <a:gd name="T90" fmla="*/ 519 w 871"/>
              <a:gd name="T91" fmla="*/ 789 h 872"/>
              <a:gd name="T92" fmla="*/ 604 w 871"/>
              <a:gd name="T93" fmla="*/ 848 h 872"/>
              <a:gd name="T94" fmla="*/ 622 w 871"/>
              <a:gd name="T95" fmla="*/ 858 h 872"/>
              <a:gd name="T96" fmla="*/ 643 w 871"/>
              <a:gd name="T97" fmla="*/ 866 h 872"/>
              <a:gd name="T98" fmla="*/ 664 w 871"/>
              <a:gd name="T99" fmla="*/ 870 h 872"/>
              <a:gd name="T100" fmla="*/ 686 w 871"/>
              <a:gd name="T101" fmla="*/ 872 h 872"/>
              <a:gd name="T102" fmla="*/ 715 w 871"/>
              <a:gd name="T103" fmla="*/ 869 h 872"/>
              <a:gd name="T104" fmla="*/ 743 w 871"/>
              <a:gd name="T105" fmla="*/ 860 h 872"/>
              <a:gd name="T106" fmla="*/ 767 w 871"/>
              <a:gd name="T107" fmla="*/ 848 h 872"/>
              <a:gd name="T108" fmla="*/ 790 w 871"/>
              <a:gd name="T109" fmla="*/ 829 h 872"/>
              <a:gd name="T110" fmla="*/ 849 w 871"/>
              <a:gd name="T111" fmla="*/ 769 h 872"/>
              <a:gd name="T112" fmla="*/ 859 w 871"/>
              <a:gd name="T113" fmla="*/ 752 h 872"/>
              <a:gd name="T114" fmla="*/ 867 w 871"/>
              <a:gd name="T115" fmla="*/ 734 h 872"/>
              <a:gd name="T116" fmla="*/ 871 w 871"/>
              <a:gd name="T117" fmla="*/ 715 h 872"/>
              <a:gd name="T118" fmla="*/ 871 w 871"/>
              <a:gd name="T119" fmla="*/ 694 h 872"/>
              <a:gd name="T120" fmla="*/ 867 w 871"/>
              <a:gd name="T121" fmla="*/ 675 h 872"/>
              <a:gd name="T122" fmla="*/ 859 w 871"/>
              <a:gd name="T123" fmla="*/ 656 h 872"/>
              <a:gd name="T124" fmla="*/ 849 w 871"/>
              <a:gd name="T125" fmla="*/ 638 h 8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871" h="872">
                <a:moveTo>
                  <a:pt x="841" y="631"/>
                </a:moveTo>
                <a:lnTo>
                  <a:pt x="748" y="538"/>
                </a:lnTo>
                <a:lnTo>
                  <a:pt x="740" y="530"/>
                </a:lnTo>
                <a:lnTo>
                  <a:pt x="732" y="525"/>
                </a:lnTo>
                <a:lnTo>
                  <a:pt x="723" y="519"/>
                </a:lnTo>
                <a:lnTo>
                  <a:pt x="714" y="515"/>
                </a:lnTo>
                <a:lnTo>
                  <a:pt x="705" y="511"/>
                </a:lnTo>
                <a:lnTo>
                  <a:pt x="694" y="509"/>
                </a:lnTo>
                <a:lnTo>
                  <a:pt x="685" y="508"/>
                </a:lnTo>
                <a:lnTo>
                  <a:pt x="674" y="506"/>
                </a:lnTo>
                <a:lnTo>
                  <a:pt x="664" y="508"/>
                </a:lnTo>
                <a:lnTo>
                  <a:pt x="654" y="509"/>
                </a:lnTo>
                <a:lnTo>
                  <a:pt x="644" y="511"/>
                </a:lnTo>
                <a:lnTo>
                  <a:pt x="634" y="515"/>
                </a:lnTo>
                <a:lnTo>
                  <a:pt x="626" y="519"/>
                </a:lnTo>
                <a:lnTo>
                  <a:pt x="617" y="525"/>
                </a:lnTo>
                <a:lnTo>
                  <a:pt x="609" y="530"/>
                </a:lnTo>
                <a:lnTo>
                  <a:pt x="601" y="538"/>
                </a:lnTo>
                <a:lnTo>
                  <a:pt x="580" y="559"/>
                </a:lnTo>
                <a:lnTo>
                  <a:pt x="544" y="529"/>
                </a:lnTo>
                <a:lnTo>
                  <a:pt x="509" y="497"/>
                </a:lnTo>
                <a:lnTo>
                  <a:pt x="474" y="465"/>
                </a:lnTo>
                <a:lnTo>
                  <a:pt x="440" y="431"/>
                </a:lnTo>
                <a:lnTo>
                  <a:pt x="407" y="398"/>
                </a:lnTo>
                <a:lnTo>
                  <a:pt x="375" y="364"/>
                </a:lnTo>
                <a:lnTo>
                  <a:pt x="344" y="328"/>
                </a:lnTo>
                <a:lnTo>
                  <a:pt x="314" y="293"/>
                </a:lnTo>
                <a:lnTo>
                  <a:pt x="335" y="271"/>
                </a:lnTo>
                <a:lnTo>
                  <a:pt x="343" y="263"/>
                </a:lnTo>
                <a:lnTo>
                  <a:pt x="348" y="254"/>
                </a:lnTo>
                <a:lnTo>
                  <a:pt x="353" y="246"/>
                </a:lnTo>
                <a:lnTo>
                  <a:pt x="358" y="237"/>
                </a:lnTo>
                <a:lnTo>
                  <a:pt x="361" y="228"/>
                </a:lnTo>
                <a:lnTo>
                  <a:pt x="364" y="218"/>
                </a:lnTo>
                <a:lnTo>
                  <a:pt x="365" y="207"/>
                </a:lnTo>
                <a:lnTo>
                  <a:pt x="365" y="198"/>
                </a:lnTo>
                <a:lnTo>
                  <a:pt x="365" y="188"/>
                </a:lnTo>
                <a:lnTo>
                  <a:pt x="364" y="178"/>
                </a:lnTo>
                <a:lnTo>
                  <a:pt x="361" y="169"/>
                </a:lnTo>
                <a:lnTo>
                  <a:pt x="358" y="159"/>
                </a:lnTo>
                <a:lnTo>
                  <a:pt x="353" y="149"/>
                </a:lnTo>
                <a:lnTo>
                  <a:pt x="348" y="141"/>
                </a:lnTo>
                <a:lnTo>
                  <a:pt x="343" y="132"/>
                </a:lnTo>
                <a:lnTo>
                  <a:pt x="335" y="125"/>
                </a:lnTo>
                <a:lnTo>
                  <a:pt x="242" y="30"/>
                </a:lnTo>
                <a:lnTo>
                  <a:pt x="233" y="24"/>
                </a:lnTo>
                <a:lnTo>
                  <a:pt x="226" y="17"/>
                </a:lnTo>
                <a:lnTo>
                  <a:pt x="217" y="13"/>
                </a:lnTo>
                <a:lnTo>
                  <a:pt x="207" y="9"/>
                </a:lnTo>
                <a:lnTo>
                  <a:pt x="198" y="5"/>
                </a:lnTo>
                <a:lnTo>
                  <a:pt x="188" y="2"/>
                </a:lnTo>
                <a:lnTo>
                  <a:pt x="178" y="1"/>
                </a:lnTo>
                <a:lnTo>
                  <a:pt x="168" y="0"/>
                </a:lnTo>
                <a:lnTo>
                  <a:pt x="158" y="1"/>
                </a:lnTo>
                <a:lnTo>
                  <a:pt x="147" y="2"/>
                </a:lnTo>
                <a:lnTo>
                  <a:pt x="138" y="5"/>
                </a:lnTo>
                <a:lnTo>
                  <a:pt x="128" y="9"/>
                </a:lnTo>
                <a:lnTo>
                  <a:pt x="119" y="13"/>
                </a:lnTo>
                <a:lnTo>
                  <a:pt x="111" y="17"/>
                </a:lnTo>
                <a:lnTo>
                  <a:pt x="102" y="24"/>
                </a:lnTo>
                <a:lnTo>
                  <a:pt x="95" y="31"/>
                </a:lnTo>
                <a:lnTo>
                  <a:pt x="43" y="82"/>
                </a:lnTo>
                <a:lnTo>
                  <a:pt x="35" y="91"/>
                </a:lnTo>
                <a:lnTo>
                  <a:pt x="27" y="102"/>
                </a:lnTo>
                <a:lnTo>
                  <a:pt x="20" y="113"/>
                </a:lnTo>
                <a:lnTo>
                  <a:pt x="14" y="124"/>
                </a:lnTo>
                <a:lnTo>
                  <a:pt x="9" y="135"/>
                </a:lnTo>
                <a:lnTo>
                  <a:pt x="6" y="147"/>
                </a:lnTo>
                <a:lnTo>
                  <a:pt x="3" y="160"/>
                </a:lnTo>
                <a:lnTo>
                  <a:pt x="1" y="172"/>
                </a:lnTo>
                <a:lnTo>
                  <a:pt x="0" y="185"/>
                </a:lnTo>
                <a:lnTo>
                  <a:pt x="0" y="197"/>
                </a:lnTo>
                <a:lnTo>
                  <a:pt x="3" y="209"/>
                </a:lnTo>
                <a:lnTo>
                  <a:pt x="5" y="221"/>
                </a:lnTo>
                <a:lnTo>
                  <a:pt x="8" y="234"/>
                </a:lnTo>
                <a:lnTo>
                  <a:pt x="12" y="246"/>
                </a:lnTo>
                <a:lnTo>
                  <a:pt x="19" y="257"/>
                </a:lnTo>
                <a:lnTo>
                  <a:pt x="25" y="268"/>
                </a:lnTo>
                <a:lnTo>
                  <a:pt x="54" y="310"/>
                </a:lnTo>
                <a:lnTo>
                  <a:pt x="84" y="352"/>
                </a:lnTo>
                <a:lnTo>
                  <a:pt x="115" y="394"/>
                </a:lnTo>
                <a:lnTo>
                  <a:pt x="147" y="434"/>
                </a:lnTo>
                <a:lnTo>
                  <a:pt x="181" y="473"/>
                </a:lnTo>
                <a:lnTo>
                  <a:pt x="214" y="512"/>
                </a:lnTo>
                <a:lnTo>
                  <a:pt x="249" y="549"/>
                </a:lnTo>
                <a:lnTo>
                  <a:pt x="286" y="587"/>
                </a:lnTo>
                <a:lnTo>
                  <a:pt x="322" y="623"/>
                </a:lnTo>
                <a:lnTo>
                  <a:pt x="361" y="658"/>
                </a:lnTo>
                <a:lnTo>
                  <a:pt x="399" y="692"/>
                </a:lnTo>
                <a:lnTo>
                  <a:pt x="439" y="725"/>
                </a:lnTo>
                <a:lnTo>
                  <a:pt x="479" y="757"/>
                </a:lnTo>
                <a:lnTo>
                  <a:pt x="519" y="789"/>
                </a:lnTo>
                <a:lnTo>
                  <a:pt x="561" y="819"/>
                </a:lnTo>
                <a:lnTo>
                  <a:pt x="604" y="848"/>
                </a:lnTo>
                <a:lnTo>
                  <a:pt x="614" y="853"/>
                </a:lnTo>
                <a:lnTo>
                  <a:pt x="622" y="858"/>
                </a:lnTo>
                <a:lnTo>
                  <a:pt x="633" y="863"/>
                </a:lnTo>
                <a:lnTo>
                  <a:pt x="643" y="866"/>
                </a:lnTo>
                <a:lnTo>
                  <a:pt x="654" y="868"/>
                </a:lnTo>
                <a:lnTo>
                  <a:pt x="664" y="870"/>
                </a:lnTo>
                <a:lnTo>
                  <a:pt x="675" y="871"/>
                </a:lnTo>
                <a:lnTo>
                  <a:pt x="686" y="872"/>
                </a:lnTo>
                <a:lnTo>
                  <a:pt x="701" y="871"/>
                </a:lnTo>
                <a:lnTo>
                  <a:pt x="715" y="869"/>
                </a:lnTo>
                <a:lnTo>
                  <a:pt x="729" y="866"/>
                </a:lnTo>
                <a:lnTo>
                  <a:pt x="743" y="860"/>
                </a:lnTo>
                <a:lnTo>
                  <a:pt x="755" y="855"/>
                </a:lnTo>
                <a:lnTo>
                  <a:pt x="767" y="848"/>
                </a:lnTo>
                <a:lnTo>
                  <a:pt x="779" y="839"/>
                </a:lnTo>
                <a:lnTo>
                  <a:pt x="790" y="829"/>
                </a:lnTo>
                <a:lnTo>
                  <a:pt x="841" y="777"/>
                </a:lnTo>
                <a:lnTo>
                  <a:pt x="849" y="769"/>
                </a:lnTo>
                <a:lnTo>
                  <a:pt x="854" y="761"/>
                </a:lnTo>
                <a:lnTo>
                  <a:pt x="859" y="752"/>
                </a:lnTo>
                <a:lnTo>
                  <a:pt x="864" y="744"/>
                </a:lnTo>
                <a:lnTo>
                  <a:pt x="867" y="734"/>
                </a:lnTo>
                <a:lnTo>
                  <a:pt x="870" y="724"/>
                </a:lnTo>
                <a:lnTo>
                  <a:pt x="871" y="715"/>
                </a:lnTo>
                <a:lnTo>
                  <a:pt x="871" y="704"/>
                </a:lnTo>
                <a:lnTo>
                  <a:pt x="871" y="694"/>
                </a:lnTo>
                <a:lnTo>
                  <a:pt x="870" y="685"/>
                </a:lnTo>
                <a:lnTo>
                  <a:pt x="867" y="675"/>
                </a:lnTo>
                <a:lnTo>
                  <a:pt x="864" y="665"/>
                </a:lnTo>
                <a:lnTo>
                  <a:pt x="859" y="656"/>
                </a:lnTo>
                <a:lnTo>
                  <a:pt x="854" y="647"/>
                </a:lnTo>
                <a:lnTo>
                  <a:pt x="849" y="638"/>
                </a:lnTo>
                <a:lnTo>
                  <a:pt x="841" y="631"/>
                </a:lnTo>
                <a:close/>
              </a:path>
            </a:pathLst>
          </a:custGeom>
          <a:solidFill>
            <a:srgbClr val="AFABAB"/>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ysClr val="windowText" lastClr="000000"/>
              </a:solidFill>
              <a:effectLst/>
              <a:uLnTx/>
              <a:uFillTx/>
              <a:latin typeface="Calibri"/>
              <a:ea typeface="+mn-ea"/>
              <a:cs typeface="+mn-cs"/>
            </a:endParaRPr>
          </a:p>
        </p:txBody>
      </p:sp>
      <p:grpSp>
        <p:nvGrpSpPr>
          <p:cNvPr id="78" name="Group 77"/>
          <p:cNvGrpSpPr>
            <a:grpSpLocks noChangeAspect="1"/>
          </p:cNvGrpSpPr>
          <p:nvPr/>
        </p:nvGrpSpPr>
        <p:grpSpPr>
          <a:xfrm>
            <a:off x="6094501" y="4491241"/>
            <a:ext cx="97669" cy="65219"/>
            <a:chOff x="5867374" y="2350192"/>
            <a:chExt cx="220415" cy="147182"/>
          </a:xfrm>
          <a:solidFill>
            <a:srgbClr val="78D2D2"/>
          </a:solidFill>
        </p:grpSpPr>
        <p:sp>
          <p:nvSpPr>
            <p:cNvPr id="84" name="Freeform 3506"/>
            <p:cNvSpPr>
              <a:spLocks/>
            </p:cNvSpPr>
            <p:nvPr/>
          </p:nvSpPr>
          <p:spPr bwMode="auto">
            <a:xfrm>
              <a:off x="5867374" y="2355679"/>
              <a:ext cx="220415" cy="141695"/>
            </a:xfrm>
            <a:custGeom>
              <a:avLst/>
              <a:gdLst>
                <a:gd name="T0" fmla="*/ 661 w 673"/>
                <a:gd name="T1" fmla="*/ 0 h 429"/>
                <a:gd name="T2" fmla="*/ 357 w 673"/>
                <a:gd name="T3" fmla="*/ 245 h 429"/>
                <a:gd name="T4" fmla="*/ 354 w 673"/>
                <a:gd name="T5" fmla="*/ 248 h 429"/>
                <a:gd name="T6" fmla="*/ 350 w 673"/>
                <a:gd name="T7" fmla="*/ 248 h 429"/>
                <a:gd name="T8" fmla="*/ 346 w 673"/>
                <a:gd name="T9" fmla="*/ 248 h 429"/>
                <a:gd name="T10" fmla="*/ 342 w 673"/>
                <a:gd name="T11" fmla="*/ 247 h 429"/>
                <a:gd name="T12" fmla="*/ 11 w 673"/>
                <a:gd name="T13" fmla="*/ 6 h 429"/>
                <a:gd name="T14" fmla="*/ 7 w 673"/>
                <a:gd name="T15" fmla="*/ 14 h 429"/>
                <a:gd name="T16" fmla="*/ 3 w 673"/>
                <a:gd name="T17" fmla="*/ 23 h 429"/>
                <a:gd name="T18" fmla="*/ 2 w 673"/>
                <a:gd name="T19" fmla="*/ 33 h 429"/>
                <a:gd name="T20" fmla="*/ 0 w 673"/>
                <a:gd name="T21" fmla="*/ 44 h 429"/>
                <a:gd name="T22" fmla="*/ 0 w 673"/>
                <a:gd name="T23" fmla="*/ 357 h 429"/>
                <a:gd name="T24" fmla="*/ 2 w 673"/>
                <a:gd name="T25" fmla="*/ 365 h 429"/>
                <a:gd name="T26" fmla="*/ 2 w 673"/>
                <a:gd name="T27" fmla="*/ 371 h 429"/>
                <a:gd name="T28" fmla="*/ 4 w 673"/>
                <a:gd name="T29" fmla="*/ 379 h 429"/>
                <a:gd name="T30" fmla="*/ 6 w 673"/>
                <a:gd name="T31" fmla="*/ 385 h 429"/>
                <a:gd name="T32" fmla="*/ 9 w 673"/>
                <a:gd name="T33" fmla="*/ 392 h 429"/>
                <a:gd name="T34" fmla="*/ 12 w 673"/>
                <a:gd name="T35" fmla="*/ 398 h 429"/>
                <a:gd name="T36" fmla="*/ 16 w 673"/>
                <a:gd name="T37" fmla="*/ 403 h 429"/>
                <a:gd name="T38" fmla="*/ 21 w 673"/>
                <a:gd name="T39" fmla="*/ 408 h 429"/>
                <a:gd name="T40" fmla="*/ 26 w 673"/>
                <a:gd name="T41" fmla="*/ 412 h 429"/>
                <a:gd name="T42" fmla="*/ 31 w 673"/>
                <a:gd name="T43" fmla="*/ 417 h 429"/>
                <a:gd name="T44" fmla="*/ 36 w 673"/>
                <a:gd name="T45" fmla="*/ 420 h 429"/>
                <a:gd name="T46" fmla="*/ 43 w 673"/>
                <a:gd name="T47" fmla="*/ 424 h 429"/>
                <a:gd name="T48" fmla="*/ 49 w 673"/>
                <a:gd name="T49" fmla="*/ 425 h 429"/>
                <a:gd name="T50" fmla="*/ 57 w 673"/>
                <a:gd name="T51" fmla="*/ 428 h 429"/>
                <a:gd name="T52" fmla="*/ 63 w 673"/>
                <a:gd name="T53" fmla="*/ 429 h 429"/>
                <a:gd name="T54" fmla="*/ 71 w 673"/>
                <a:gd name="T55" fmla="*/ 429 h 429"/>
                <a:gd name="T56" fmla="*/ 601 w 673"/>
                <a:gd name="T57" fmla="*/ 429 h 429"/>
                <a:gd name="T58" fmla="*/ 609 w 673"/>
                <a:gd name="T59" fmla="*/ 429 h 429"/>
                <a:gd name="T60" fmla="*/ 616 w 673"/>
                <a:gd name="T61" fmla="*/ 428 h 429"/>
                <a:gd name="T62" fmla="*/ 623 w 673"/>
                <a:gd name="T63" fmla="*/ 425 h 429"/>
                <a:gd name="T64" fmla="*/ 630 w 673"/>
                <a:gd name="T65" fmla="*/ 423 h 429"/>
                <a:gd name="T66" fmla="*/ 636 w 673"/>
                <a:gd name="T67" fmla="*/ 420 h 429"/>
                <a:gd name="T68" fmla="*/ 643 w 673"/>
                <a:gd name="T69" fmla="*/ 416 h 429"/>
                <a:gd name="T70" fmla="*/ 648 w 673"/>
                <a:gd name="T71" fmla="*/ 412 h 429"/>
                <a:gd name="T72" fmla="*/ 653 w 673"/>
                <a:gd name="T73" fmla="*/ 407 h 429"/>
                <a:gd name="T74" fmla="*/ 657 w 673"/>
                <a:gd name="T75" fmla="*/ 402 h 429"/>
                <a:gd name="T76" fmla="*/ 662 w 673"/>
                <a:gd name="T77" fmla="*/ 397 h 429"/>
                <a:gd name="T78" fmla="*/ 666 w 673"/>
                <a:gd name="T79" fmla="*/ 390 h 429"/>
                <a:gd name="T80" fmla="*/ 668 w 673"/>
                <a:gd name="T81" fmla="*/ 385 h 429"/>
                <a:gd name="T82" fmla="*/ 671 w 673"/>
                <a:gd name="T83" fmla="*/ 378 h 429"/>
                <a:gd name="T84" fmla="*/ 672 w 673"/>
                <a:gd name="T85" fmla="*/ 371 h 429"/>
                <a:gd name="T86" fmla="*/ 673 w 673"/>
                <a:gd name="T87" fmla="*/ 364 h 429"/>
                <a:gd name="T88" fmla="*/ 673 w 673"/>
                <a:gd name="T89" fmla="*/ 357 h 429"/>
                <a:gd name="T90" fmla="*/ 673 w 673"/>
                <a:gd name="T91" fmla="*/ 44 h 429"/>
                <a:gd name="T92" fmla="*/ 673 w 673"/>
                <a:gd name="T93" fmla="*/ 32 h 429"/>
                <a:gd name="T94" fmla="*/ 671 w 673"/>
                <a:gd name="T95" fmla="*/ 21 h 429"/>
                <a:gd name="T96" fmla="*/ 666 w 673"/>
                <a:gd name="T97" fmla="*/ 10 h 429"/>
                <a:gd name="T98" fmla="*/ 661 w 673"/>
                <a:gd name="T99" fmla="*/ 0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673" h="429">
                  <a:moveTo>
                    <a:pt x="661" y="0"/>
                  </a:moveTo>
                  <a:lnTo>
                    <a:pt x="357" y="245"/>
                  </a:lnTo>
                  <a:lnTo>
                    <a:pt x="354" y="248"/>
                  </a:lnTo>
                  <a:lnTo>
                    <a:pt x="350" y="248"/>
                  </a:lnTo>
                  <a:lnTo>
                    <a:pt x="346" y="248"/>
                  </a:lnTo>
                  <a:lnTo>
                    <a:pt x="342" y="247"/>
                  </a:lnTo>
                  <a:lnTo>
                    <a:pt x="11" y="6"/>
                  </a:lnTo>
                  <a:lnTo>
                    <a:pt x="7" y="14"/>
                  </a:lnTo>
                  <a:lnTo>
                    <a:pt x="3" y="23"/>
                  </a:lnTo>
                  <a:lnTo>
                    <a:pt x="2" y="33"/>
                  </a:lnTo>
                  <a:lnTo>
                    <a:pt x="0" y="44"/>
                  </a:lnTo>
                  <a:lnTo>
                    <a:pt x="0" y="357"/>
                  </a:lnTo>
                  <a:lnTo>
                    <a:pt x="2" y="365"/>
                  </a:lnTo>
                  <a:lnTo>
                    <a:pt x="2" y="371"/>
                  </a:lnTo>
                  <a:lnTo>
                    <a:pt x="4" y="379"/>
                  </a:lnTo>
                  <a:lnTo>
                    <a:pt x="6" y="385"/>
                  </a:lnTo>
                  <a:lnTo>
                    <a:pt x="9" y="392"/>
                  </a:lnTo>
                  <a:lnTo>
                    <a:pt x="12" y="398"/>
                  </a:lnTo>
                  <a:lnTo>
                    <a:pt x="16" y="403"/>
                  </a:lnTo>
                  <a:lnTo>
                    <a:pt x="21" y="408"/>
                  </a:lnTo>
                  <a:lnTo>
                    <a:pt x="26" y="412"/>
                  </a:lnTo>
                  <a:lnTo>
                    <a:pt x="31" y="417"/>
                  </a:lnTo>
                  <a:lnTo>
                    <a:pt x="36" y="420"/>
                  </a:lnTo>
                  <a:lnTo>
                    <a:pt x="43" y="424"/>
                  </a:lnTo>
                  <a:lnTo>
                    <a:pt x="49" y="425"/>
                  </a:lnTo>
                  <a:lnTo>
                    <a:pt x="57" y="428"/>
                  </a:lnTo>
                  <a:lnTo>
                    <a:pt x="63" y="429"/>
                  </a:lnTo>
                  <a:lnTo>
                    <a:pt x="71" y="429"/>
                  </a:lnTo>
                  <a:lnTo>
                    <a:pt x="601" y="429"/>
                  </a:lnTo>
                  <a:lnTo>
                    <a:pt x="609" y="429"/>
                  </a:lnTo>
                  <a:lnTo>
                    <a:pt x="616" y="428"/>
                  </a:lnTo>
                  <a:lnTo>
                    <a:pt x="623" y="425"/>
                  </a:lnTo>
                  <a:lnTo>
                    <a:pt x="630" y="423"/>
                  </a:lnTo>
                  <a:lnTo>
                    <a:pt x="636" y="420"/>
                  </a:lnTo>
                  <a:lnTo>
                    <a:pt x="643" y="416"/>
                  </a:lnTo>
                  <a:lnTo>
                    <a:pt x="648" y="412"/>
                  </a:lnTo>
                  <a:lnTo>
                    <a:pt x="653" y="407"/>
                  </a:lnTo>
                  <a:lnTo>
                    <a:pt x="657" y="402"/>
                  </a:lnTo>
                  <a:lnTo>
                    <a:pt x="662" y="397"/>
                  </a:lnTo>
                  <a:lnTo>
                    <a:pt x="666" y="390"/>
                  </a:lnTo>
                  <a:lnTo>
                    <a:pt x="668" y="385"/>
                  </a:lnTo>
                  <a:lnTo>
                    <a:pt x="671" y="378"/>
                  </a:lnTo>
                  <a:lnTo>
                    <a:pt x="672" y="371"/>
                  </a:lnTo>
                  <a:lnTo>
                    <a:pt x="673" y="364"/>
                  </a:lnTo>
                  <a:lnTo>
                    <a:pt x="673" y="357"/>
                  </a:lnTo>
                  <a:lnTo>
                    <a:pt x="673" y="44"/>
                  </a:lnTo>
                  <a:lnTo>
                    <a:pt x="673" y="32"/>
                  </a:lnTo>
                  <a:lnTo>
                    <a:pt x="671" y="21"/>
                  </a:lnTo>
                  <a:lnTo>
                    <a:pt x="666" y="10"/>
                  </a:lnTo>
                  <a:lnTo>
                    <a:pt x="661" y="0"/>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ysClr val="windowText" lastClr="000000"/>
                </a:solidFill>
                <a:effectLst/>
                <a:uLnTx/>
                <a:uFillTx/>
                <a:latin typeface="Calibri"/>
                <a:ea typeface="+mn-ea"/>
                <a:cs typeface="+mn-cs"/>
              </a:endParaRPr>
            </a:p>
          </p:txBody>
        </p:sp>
        <p:sp>
          <p:nvSpPr>
            <p:cNvPr id="85" name="Freeform 3507"/>
            <p:cNvSpPr>
              <a:spLocks/>
            </p:cNvSpPr>
            <p:nvPr/>
          </p:nvSpPr>
          <p:spPr bwMode="auto">
            <a:xfrm>
              <a:off x="5885741" y="2350192"/>
              <a:ext cx="183679" cy="73948"/>
            </a:xfrm>
            <a:custGeom>
              <a:avLst/>
              <a:gdLst>
                <a:gd name="T0" fmla="*/ 617 w 617"/>
                <a:gd name="T1" fmla="*/ 11 h 249"/>
                <a:gd name="T2" fmla="*/ 608 w 617"/>
                <a:gd name="T3" fmla="*/ 6 h 249"/>
                <a:gd name="T4" fmla="*/ 599 w 617"/>
                <a:gd name="T5" fmla="*/ 4 h 249"/>
                <a:gd name="T6" fmla="*/ 587 w 617"/>
                <a:gd name="T7" fmla="*/ 1 h 249"/>
                <a:gd name="T8" fmla="*/ 575 w 617"/>
                <a:gd name="T9" fmla="*/ 0 h 249"/>
                <a:gd name="T10" fmla="*/ 46 w 617"/>
                <a:gd name="T11" fmla="*/ 0 h 249"/>
                <a:gd name="T12" fmla="*/ 34 w 617"/>
                <a:gd name="T13" fmla="*/ 1 h 249"/>
                <a:gd name="T14" fmla="*/ 21 w 617"/>
                <a:gd name="T15" fmla="*/ 4 h 249"/>
                <a:gd name="T16" fmla="*/ 10 w 617"/>
                <a:gd name="T17" fmla="*/ 9 h 249"/>
                <a:gd name="T18" fmla="*/ 0 w 617"/>
                <a:gd name="T19" fmla="*/ 15 h 249"/>
                <a:gd name="T20" fmla="*/ 322 w 617"/>
                <a:gd name="T21" fmla="*/ 249 h 249"/>
                <a:gd name="T22" fmla="*/ 617 w 617"/>
                <a:gd name="T23" fmla="*/ 11 h 2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17" h="249">
                  <a:moveTo>
                    <a:pt x="617" y="11"/>
                  </a:moveTo>
                  <a:lnTo>
                    <a:pt x="608" y="6"/>
                  </a:lnTo>
                  <a:lnTo>
                    <a:pt x="599" y="4"/>
                  </a:lnTo>
                  <a:lnTo>
                    <a:pt x="587" y="1"/>
                  </a:lnTo>
                  <a:lnTo>
                    <a:pt x="575" y="0"/>
                  </a:lnTo>
                  <a:lnTo>
                    <a:pt x="46" y="0"/>
                  </a:lnTo>
                  <a:lnTo>
                    <a:pt x="34" y="1"/>
                  </a:lnTo>
                  <a:lnTo>
                    <a:pt x="21" y="4"/>
                  </a:lnTo>
                  <a:lnTo>
                    <a:pt x="10" y="9"/>
                  </a:lnTo>
                  <a:lnTo>
                    <a:pt x="0" y="15"/>
                  </a:lnTo>
                  <a:lnTo>
                    <a:pt x="322" y="249"/>
                  </a:lnTo>
                  <a:lnTo>
                    <a:pt x="617" y="11"/>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ysClr val="windowText" lastClr="000000"/>
                </a:solidFill>
                <a:effectLst/>
                <a:uLnTx/>
                <a:uFillTx/>
                <a:latin typeface="Calibri"/>
                <a:ea typeface="+mn-ea"/>
                <a:cs typeface="+mn-cs"/>
              </a:endParaRPr>
            </a:p>
          </p:txBody>
        </p:sp>
      </p:grpSp>
      <p:sp>
        <p:nvSpPr>
          <p:cNvPr id="80" name="Freeform 184"/>
          <p:cNvSpPr>
            <a:spLocks noChangeAspect="1"/>
          </p:cNvSpPr>
          <p:nvPr/>
        </p:nvSpPr>
        <p:spPr bwMode="auto">
          <a:xfrm>
            <a:off x="6341770" y="4484393"/>
            <a:ext cx="97163" cy="78914"/>
          </a:xfrm>
          <a:custGeom>
            <a:avLst/>
            <a:gdLst>
              <a:gd name="T0" fmla="*/ 393 w 393"/>
              <a:gd name="T1" fmla="*/ 38 h 319"/>
              <a:gd name="T2" fmla="*/ 347 w 393"/>
              <a:gd name="T3" fmla="*/ 52 h 319"/>
              <a:gd name="T4" fmla="*/ 359 w 393"/>
              <a:gd name="T5" fmla="*/ 42 h 319"/>
              <a:gd name="T6" fmla="*/ 377 w 393"/>
              <a:gd name="T7" fmla="*/ 20 h 319"/>
              <a:gd name="T8" fmla="*/ 383 w 393"/>
              <a:gd name="T9" fmla="*/ 6 h 319"/>
              <a:gd name="T10" fmla="*/ 345 w 393"/>
              <a:gd name="T11" fmla="*/ 22 h 319"/>
              <a:gd name="T12" fmla="*/ 331 w 393"/>
              <a:gd name="T13" fmla="*/ 26 h 319"/>
              <a:gd name="T14" fmla="*/ 305 w 393"/>
              <a:gd name="T15" fmla="*/ 8 h 319"/>
              <a:gd name="T16" fmla="*/ 273 w 393"/>
              <a:gd name="T17" fmla="*/ 0 h 319"/>
              <a:gd name="T18" fmla="*/ 255 w 393"/>
              <a:gd name="T19" fmla="*/ 2 h 319"/>
              <a:gd name="T20" fmla="*/ 227 w 393"/>
              <a:gd name="T21" fmla="*/ 14 h 319"/>
              <a:gd name="T22" fmla="*/ 205 w 393"/>
              <a:gd name="T23" fmla="*/ 36 h 319"/>
              <a:gd name="T24" fmla="*/ 193 w 393"/>
              <a:gd name="T25" fmla="*/ 64 h 319"/>
              <a:gd name="T26" fmla="*/ 191 w 393"/>
              <a:gd name="T27" fmla="*/ 82 h 319"/>
              <a:gd name="T28" fmla="*/ 193 w 393"/>
              <a:gd name="T29" fmla="*/ 100 h 319"/>
              <a:gd name="T30" fmla="*/ 145 w 393"/>
              <a:gd name="T31" fmla="*/ 92 h 319"/>
              <a:gd name="T32" fmla="*/ 99 w 393"/>
              <a:gd name="T33" fmla="*/ 74 h 319"/>
              <a:gd name="T34" fmla="*/ 62 w 393"/>
              <a:gd name="T35" fmla="*/ 48 h 319"/>
              <a:gd name="T36" fmla="*/ 28 w 393"/>
              <a:gd name="T37" fmla="*/ 16 h 319"/>
              <a:gd name="T38" fmla="*/ 24 w 393"/>
              <a:gd name="T39" fmla="*/ 24 h 319"/>
              <a:gd name="T40" fmla="*/ 18 w 393"/>
              <a:gd name="T41" fmla="*/ 44 h 319"/>
              <a:gd name="T42" fmla="*/ 16 w 393"/>
              <a:gd name="T43" fmla="*/ 56 h 319"/>
              <a:gd name="T44" fmla="*/ 20 w 393"/>
              <a:gd name="T45" fmla="*/ 76 h 319"/>
              <a:gd name="T46" fmla="*/ 26 w 393"/>
              <a:gd name="T47" fmla="*/ 94 h 319"/>
              <a:gd name="T48" fmla="*/ 52 w 393"/>
              <a:gd name="T49" fmla="*/ 124 h 319"/>
              <a:gd name="T50" fmla="*/ 34 w 393"/>
              <a:gd name="T51" fmla="*/ 120 h 319"/>
              <a:gd name="T52" fmla="*/ 16 w 393"/>
              <a:gd name="T53" fmla="*/ 114 h 319"/>
              <a:gd name="T54" fmla="*/ 16 w 393"/>
              <a:gd name="T55" fmla="*/ 114 h 319"/>
              <a:gd name="T56" fmla="*/ 22 w 393"/>
              <a:gd name="T57" fmla="*/ 142 h 319"/>
              <a:gd name="T58" fmla="*/ 34 w 393"/>
              <a:gd name="T59" fmla="*/ 166 h 319"/>
              <a:gd name="T60" fmla="*/ 56 w 393"/>
              <a:gd name="T61" fmla="*/ 183 h 319"/>
              <a:gd name="T62" fmla="*/ 82 w 393"/>
              <a:gd name="T63" fmla="*/ 193 h 319"/>
              <a:gd name="T64" fmla="*/ 70 w 393"/>
              <a:gd name="T65" fmla="*/ 195 h 319"/>
              <a:gd name="T66" fmla="*/ 60 w 393"/>
              <a:gd name="T67" fmla="*/ 195 h 319"/>
              <a:gd name="T68" fmla="*/ 44 w 393"/>
              <a:gd name="T69" fmla="*/ 193 h 319"/>
              <a:gd name="T70" fmla="*/ 56 w 393"/>
              <a:gd name="T71" fmla="*/ 215 h 319"/>
              <a:gd name="T72" fmla="*/ 72 w 393"/>
              <a:gd name="T73" fmla="*/ 233 h 319"/>
              <a:gd name="T74" fmla="*/ 93 w 393"/>
              <a:gd name="T75" fmla="*/ 245 h 319"/>
              <a:gd name="T76" fmla="*/ 119 w 393"/>
              <a:gd name="T77" fmla="*/ 249 h 319"/>
              <a:gd name="T78" fmla="*/ 97 w 393"/>
              <a:gd name="T79" fmla="*/ 265 h 319"/>
              <a:gd name="T80" fmla="*/ 48 w 393"/>
              <a:gd name="T81" fmla="*/ 283 h 319"/>
              <a:gd name="T82" fmla="*/ 20 w 393"/>
              <a:gd name="T83" fmla="*/ 285 h 319"/>
              <a:gd name="T84" fmla="*/ 0 w 393"/>
              <a:gd name="T85" fmla="*/ 283 h 319"/>
              <a:gd name="T86" fmla="*/ 28 w 393"/>
              <a:gd name="T87" fmla="*/ 299 h 319"/>
              <a:gd name="T88" fmla="*/ 89 w 393"/>
              <a:gd name="T89" fmla="*/ 317 h 319"/>
              <a:gd name="T90" fmla="*/ 123 w 393"/>
              <a:gd name="T91" fmla="*/ 319 h 319"/>
              <a:gd name="T92" fmla="*/ 151 w 393"/>
              <a:gd name="T93" fmla="*/ 319 h 319"/>
              <a:gd name="T94" fmla="*/ 199 w 393"/>
              <a:gd name="T95" fmla="*/ 307 h 319"/>
              <a:gd name="T96" fmla="*/ 243 w 393"/>
              <a:gd name="T97" fmla="*/ 287 h 319"/>
              <a:gd name="T98" fmla="*/ 279 w 393"/>
              <a:gd name="T99" fmla="*/ 261 h 319"/>
              <a:gd name="T100" fmla="*/ 307 w 393"/>
              <a:gd name="T101" fmla="*/ 227 h 319"/>
              <a:gd name="T102" fmla="*/ 329 w 393"/>
              <a:gd name="T103" fmla="*/ 191 h 319"/>
              <a:gd name="T104" fmla="*/ 345 w 393"/>
              <a:gd name="T105" fmla="*/ 152 h 319"/>
              <a:gd name="T106" fmla="*/ 353 w 393"/>
              <a:gd name="T107" fmla="*/ 110 h 319"/>
              <a:gd name="T108" fmla="*/ 353 w 393"/>
              <a:gd name="T109" fmla="*/ 90 h 319"/>
              <a:gd name="T110" fmla="*/ 353 w 393"/>
              <a:gd name="T111" fmla="*/ 80 h 319"/>
              <a:gd name="T112" fmla="*/ 375 w 393"/>
              <a:gd name="T113" fmla="*/ 62 h 319"/>
              <a:gd name="T114" fmla="*/ 393 w 393"/>
              <a:gd name="T115" fmla="*/ 38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93" h="319">
                <a:moveTo>
                  <a:pt x="393" y="38"/>
                </a:moveTo>
                <a:lnTo>
                  <a:pt x="393" y="38"/>
                </a:lnTo>
                <a:lnTo>
                  <a:pt x="371" y="46"/>
                </a:lnTo>
                <a:lnTo>
                  <a:pt x="347" y="52"/>
                </a:lnTo>
                <a:lnTo>
                  <a:pt x="347" y="52"/>
                </a:lnTo>
                <a:lnTo>
                  <a:pt x="359" y="42"/>
                </a:lnTo>
                <a:lnTo>
                  <a:pt x="369" y="32"/>
                </a:lnTo>
                <a:lnTo>
                  <a:pt x="377" y="20"/>
                </a:lnTo>
                <a:lnTo>
                  <a:pt x="383" y="6"/>
                </a:lnTo>
                <a:lnTo>
                  <a:pt x="383" y="6"/>
                </a:lnTo>
                <a:lnTo>
                  <a:pt x="357" y="18"/>
                </a:lnTo>
                <a:lnTo>
                  <a:pt x="345" y="22"/>
                </a:lnTo>
                <a:lnTo>
                  <a:pt x="331" y="26"/>
                </a:lnTo>
                <a:lnTo>
                  <a:pt x="331" y="26"/>
                </a:lnTo>
                <a:lnTo>
                  <a:pt x="319" y="16"/>
                </a:lnTo>
                <a:lnTo>
                  <a:pt x="305" y="8"/>
                </a:lnTo>
                <a:lnTo>
                  <a:pt x="289" y="2"/>
                </a:lnTo>
                <a:lnTo>
                  <a:pt x="273" y="0"/>
                </a:lnTo>
                <a:lnTo>
                  <a:pt x="273" y="0"/>
                </a:lnTo>
                <a:lnTo>
                  <a:pt x="255" y="2"/>
                </a:lnTo>
                <a:lnTo>
                  <a:pt x="241" y="6"/>
                </a:lnTo>
                <a:lnTo>
                  <a:pt x="227" y="14"/>
                </a:lnTo>
                <a:lnTo>
                  <a:pt x="215" y="24"/>
                </a:lnTo>
                <a:lnTo>
                  <a:pt x="205" y="36"/>
                </a:lnTo>
                <a:lnTo>
                  <a:pt x="197" y="50"/>
                </a:lnTo>
                <a:lnTo>
                  <a:pt x="193" y="64"/>
                </a:lnTo>
                <a:lnTo>
                  <a:pt x="191" y="82"/>
                </a:lnTo>
                <a:lnTo>
                  <a:pt x="191" y="82"/>
                </a:lnTo>
                <a:lnTo>
                  <a:pt x="193" y="100"/>
                </a:lnTo>
                <a:lnTo>
                  <a:pt x="193" y="100"/>
                </a:lnTo>
                <a:lnTo>
                  <a:pt x="169" y="98"/>
                </a:lnTo>
                <a:lnTo>
                  <a:pt x="145" y="92"/>
                </a:lnTo>
                <a:lnTo>
                  <a:pt x="121" y="84"/>
                </a:lnTo>
                <a:lnTo>
                  <a:pt x="99" y="74"/>
                </a:lnTo>
                <a:lnTo>
                  <a:pt x="80" y="62"/>
                </a:lnTo>
                <a:lnTo>
                  <a:pt x="62" y="48"/>
                </a:lnTo>
                <a:lnTo>
                  <a:pt x="44" y="32"/>
                </a:lnTo>
                <a:lnTo>
                  <a:pt x="28" y="16"/>
                </a:lnTo>
                <a:lnTo>
                  <a:pt x="28" y="16"/>
                </a:lnTo>
                <a:lnTo>
                  <a:pt x="24" y="24"/>
                </a:lnTo>
                <a:lnTo>
                  <a:pt x="20" y="34"/>
                </a:lnTo>
                <a:lnTo>
                  <a:pt x="18" y="44"/>
                </a:lnTo>
                <a:lnTo>
                  <a:pt x="16" y="56"/>
                </a:lnTo>
                <a:lnTo>
                  <a:pt x="16" y="56"/>
                </a:lnTo>
                <a:lnTo>
                  <a:pt x="18" y="66"/>
                </a:lnTo>
                <a:lnTo>
                  <a:pt x="20" y="76"/>
                </a:lnTo>
                <a:lnTo>
                  <a:pt x="22" y="86"/>
                </a:lnTo>
                <a:lnTo>
                  <a:pt x="26" y="94"/>
                </a:lnTo>
                <a:lnTo>
                  <a:pt x="38" y="110"/>
                </a:lnTo>
                <a:lnTo>
                  <a:pt x="52" y="124"/>
                </a:lnTo>
                <a:lnTo>
                  <a:pt x="52" y="124"/>
                </a:lnTo>
                <a:lnTo>
                  <a:pt x="34" y="120"/>
                </a:lnTo>
                <a:lnTo>
                  <a:pt x="16" y="114"/>
                </a:lnTo>
                <a:lnTo>
                  <a:pt x="16" y="114"/>
                </a:lnTo>
                <a:lnTo>
                  <a:pt x="16" y="114"/>
                </a:lnTo>
                <a:lnTo>
                  <a:pt x="16" y="114"/>
                </a:lnTo>
                <a:lnTo>
                  <a:pt x="18" y="128"/>
                </a:lnTo>
                <a:lnTo>
                  <a:pt x="22" y="142"/>
                </a:lnTo>
                <a:lnTo>
                  <a:pt x="26" y="154"/>
                </a:lnTo>
                <a:lnTo>
                  <a:pt x="34" y="166"/>
                </a:lnTo>
                <a:lnTo>
                  <a:pt x="44" y="176"/>
                </a:lnTo>
                <a:lnTo>
                  <a:pt x="56" y="183"/>
                </a:lnTo>
                <a:lnTo>
                  <a:pt x="68" y="189"/>
                </a:lnTo>
                <a:lnTo>
                  <a:pt x="82" y="193"/>
                </a:lnTo>
                <a:lnTo>
                  <a:pt x="82" y="193"/>
                </a:lnTo>
                <a:lnTo>
                  <a:pt x="70" y="195"/>
                </a:lnTo>
                <a:lnTo>
                  <a:pt x="60" y="195"/>
                </a:lnTo>
                <a:lnTo>
                  <a:pt x="60" y="195"/>
                </a:lnTo>
                <a:lnTo>
                  <a:pt x="44" y="193"/>
                </a:lnTo>
                <a:lnTo>
                  <a:pt x="44" y="193"/>
                </a:lnTo>
                <a:lnTo>
                  <a:pt x="50" y="205"/>
                </a:lnTo>
                <a:lnTo>
                  <a:pt x="56" y="215"/>
                </a:lnTo>
                <a:lnTo>
                  <a:pt x="64" y="225"/>
                </a:lnTo>
                <a:lnTo>
                  <a:pt x="72" y="233"/>
                </a:lnTo>
                <a:lnTo>
                  <a:pt x="84" y="241"/>
                </a:lnTo>
                <a:lnTo>
                  <a:pt x="93" y="245"/>
                </a:lnTo>
                <a:lnTo>
                  <a:pt x="107" y="249"/>
                </a:lnTo>
                <a:lnTo>
                  <a:pt x="119" y="249"/>
                </a:lnTo>
                <a:lnTo>
                  <a:pt x="119" y="249"/>
                </a:lnTo>
                <a:lnTo>
                  <a:pt x="97" y="265"/>
                </a:lnTo>
                <a:lnTo>
                  <a:pt x="74" y="275"/>
                </a:lnTo>
                <a:lnTo>
                  <a:pt x="48" y="283"/>
                </a:lnTo>
                <a:lnTo>
                  <a:pt x="34" y="283"/>
                </a:lnTo>
                <a:lnTo>
                  <a:pt x="20" y="285"/>
                </a:lnTo>
                <a:lnTo>
                  <a:pt x="20" y="285"/>
                </a:lnTo>
                <a:lnTo>
                  <a:pt x="0" y="283"/>
                </a:lnTo>
                <a:lnTo>
                  <a:pt x="0" y="283"/>
                </a:lnTo>
                <a:lnTo>
                  <a:pt x="28" y="299"/>
                </a:lnTo>
                <a:lnTo>
                  <a:pt x="58" y="311"/>
                </a:lnTo>
                <a:lnTo>
                  <a:pt x="89" y="317"/>
                </a:lnTo>
                <a:lnTo>
                  <a:pt x="107" y="319"/>
                </a:lnTo>
                <a:lnTo>
                  <a:pt x="123" y="319"/>
                </a:lnTo>
                <a:lnTo>
                  <a:pt x="123" y="319"/>
                </a:lnTo>
                <a:lnTo>
                  <a:pt x="151" y="319"/>
                </a:lnTo>
                <a:lnTo>
                  <a:pt x="175" y="315"/>
                </a:lnTo>
                <a:lnTo>
                  <a:pt x="199" y="307"/>
                </a:lnTo>
                <a:lnTo>
                  <a:pt x="223" y="299"/>
                </a:lnTo>
                <a:lnTo>
                  <a:pt x="243" y="287"/>
                </a:lnTo>
                <a:lnTo>
                  <a:pt x="261" y="275"/>
                </a:lnTo>
                <a:lnTo>
                  <a:pt x="279" y="261"/>
                </a:lnTo>
                <a:lnTo>
                  <a:pt x="295" y="245"/>
                </a:lnTo>
                <a:lnTo>
                  <a:pt x="307" y="227"/>
                </a:lnTo>
                <a:lnTo>
                  <a:pt x="319" y="209"/>
                </a:lnTo>
                <a:lnTo>
                  <a:pt x="329" y="191"/>
                </a:lnTo>
                <a:lnTo>
                  <a:pt x="339" y="172"/>
                </a:lnTo>
                <a:lnTo>
                  <a:pt x="345" y="152"/>
                </a:lnTo>
                <a:lnTo>
                  <a:pt x="349" y="132"/>
                </a:lnTo>
                <a:lnTo>
                  <a:pt x="353" y="110"/>
                </a:lnTo>
                <a:lnTo>
                  <a:pt x="353" y="90"/>
                </a:lnTo>
                <a:lnTo>
                  <a:pt x="353" y="90"/>
                </a:lnTo>
                <a:lnTo>
                  <a:pt x="353" y="80"/>
                </a:lnTo>
                <a:lnTo>
                  <a:pt x="353" y="80"/>
                </a:lnTo>
                <a:lnTo>
                  <a:pt x="365" y="72"/>
                </a:lnTo>
                <a:lnTo>
                  <a:pt x="375" y="62"/>
                </a:lnTo>
                <a:lnTo>
                  <a:pt x="385" y="50"/>
                </a:lnTo>
                <a:lnTo>
                  <a:pt x="393" y="38"/>
                </a:lnTo>
                <a:lnTo>
                  <a:pt x="393" y="38"/>
                </a:lnTo>
                <a:close/>
              </a:path>
            </a:pathLst>
          </a:custGeom>
          <a:solidFill>
            <a:srgbClr val="78D2D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ysClr val="windowText" lastClr="000000"/>
              </a:solidFill>
              <a:effectLst/>
              <a:uLnTx/>
              <a:uFillTx/>
              <a:latin typeface="Calibri"/>
              <a:ea typeface="+mn-ea"/>
              <a:cs typeface="+mn-cs"/>
            </a:endParaRPr>
          </a:p>
        </p:txBody>
      </p:sp>
      <p:sp>
        <p:nvSpPr>
          <p:cNvPr id="82" name="Freeform 1907"/>
          <p:cNvSpPr>
            <a:spLocks noChangeAspect="1"/>
          </p:cNvSpPr>
          <p:nvPr/>
        </p:nvSpPr>
        <p:spPr bwMode="auto">
          <a:xfrm>
            <a:off x="6594215" y="4480447"/>
            <a:ext cx="86310" cy="86806"/>
          </a:xfrm>
          <a:custGeom>
            <a:avLst/>
            <a:gdLst>
              <a:gd name="T0" fmla="*/ 748 w 871"/>
              <a:gd name="T1" fmla="*/ 538 h 872"/>
              <a:gd name="T2" fmla="*/ 732 w 871"/>
              <a:gd name="T3" fmla="*/ 525 h 872"/>
              <a:gd name="T4" fmla="*/ 714 w 871"/>
              <a:gd name="T5" fmla="*/ 515 h 872"/>
              <a:gd name="T6" fmla="*/ 694 w 871"/>
              <a:gd name="T7" fmla="*/ 509 h 872"/>
              <a:gd name="T8" fmla="*/ 674 w 871"/>
              <a:gd name="T9" fmla="*/ 506 h 872"/>
              <a:gd name="T10" fmla="*/ 654 w 871"/>
              <a:gd name="T11" fmla="*/ 509 h 872"/>
              <a:gd name="T12" fmla="*/ 634 w 871"/>
              <a:gd name="T13" fmla="*/ 515 h 872"/>
              <a:gd name="T14" fmla="*/ 617 w 871"/>
              <a:gd name="T15" fmla="*/ 525 h 872"/>
              <a:gd name="T16" fmla="*/ 601 w 871"/>
              <a:gd name="T17" fmla="*/ 538 h 872"/>
              <a:gd name="T18" fmla="*/ 544 w 871"/>
              <a:gd name="T19" fmla="*/ 529 h 872"/>
              <a:gd name="T20" fmla="*/ 474 w 871"/>
              <a:gd name="T21" fmla="*/ 465 h 872"/>
              <a:gd name="T22" fmla="*/ 407 w 871"/>
              <a:gd name="T23" fmla="*/ 398 h 872"/>
              <a:gd name="T24" fmla="*/ 344 w 871"/>
              <a:gd name="T25" fmla="*/ 328 h 872"/>
              <a:gd name="T26" fmla="*/ 335 w 871"/>
              <a:gd name="T27" fmla="*/ 271 h 872"/>
              <a:gd name="T28" fmla="*/ 348 w 871"/>
              <a:gd name="T29" fmla="*/ 254 h 872"/>
              <a:gd name="T30" fmla="*/ 358 w 871"/>
              <a:gd name="T31" fmla="*/ 237 h 872"/>
              <a:gd name="T32" fmla="*/ 364 w 871"/>
              <a:gd name="T33" fmla="*/ 218 h 872"/>
              <a:gd name="T34" fmla="*/ 365 w 871"/>
              <a:gd name="T35" fmla="*/ 198 h 872"/>
              <a:gd name="T36" fmla="*/ 364 w 871"/>
              <a:gd name="T37" fmla="*/ 178 h 872"/>
              <a:gd name="T38" fmla="*/ 358 w 871"/>
              <a:gd name="T39" fmla="*/ 159 h 872"/>
              <a:gd name="T40" fmla="*/ 348 w 871"/>
              <a:gd name="T41" fmla="*/ 141 h 872"/>
              <a:gd name="T42" fmla="*/ 335 w 871"/>
              <a:gd name="T43" fmla="*/ 125 h 872"/>
              <a:gd name="T44" fmla="*/ 233 w 871"/>
              <a:gd name="T45" fmla="*/ 24 h 872"/>
              <a:gd name="T46" fmla="*/ 217 w 871"/>
              <a:gd name="T47" fmla="*/ 13 h 872"/>
              <a:gd name="T48" fmla="*/ 198 w 871"/>
              <a:gd name="T49" fmla="*/ 5 h 872"/>
              <a:gd name="T50" fmla="*/ 178 w 871"/>
              <a:gd name="T51" fmla="*/ 1 h 872"/>
              <a:gd name="T52" fmla="*/ 158 w 871"/>
              <a:gd name="T53" fmla="*/ 1 h 872"/>
              <a:gd name="T54" fmla="*/ 138 w 871"/>
              <a:gd name="T55" fmla="*/ 5 h 872"/>
              <a:gd name="T56" fmla="*/ 119 w 871"/>
              <a:gd name="T57" fmla="*/ 13 h 872"/>
              <a:gd name="T58" fmla="*/ 102 w 871"/>
              <a:gd name="T59" fmla="*/ 24 h 872"/>
              <a:gd name="T60" fmla="*/ 43 w 871"/>
              <a:gd name="T61" fmla="*/ 82 h 872"/>
              <a:gd name="T62" fmla="*/ 27 w 871"/>
              <a:gd name="T63" fmla="*/ 102 h 872"/>
              <a:gd name="T64" fmla="*/ 14 w 871"/>
              <a:gd name="T65" fmla="*/ 124 h 872"/>
              <a:gd name="T66" fmla="*/ 6 w 871"/>
              <a:gd name="T67" fmla="*/ 147 h 872"/>
              <a:gd name="T68" fmla="*/ 1 w 871"/>
              <a:gd name="T69" fmla="*/ 172 h 872"/>
              <a:gd name="T70" fmla="*/ 0 w 871"/>
              <a:gd name="T71" fmla="*/ 197 h 872"/>
              <a:gd name="T72" fmla="*/ 5 w 871"/>
              <a:gd name="T73" fmla="*/ 221 h 872"/>
              <a:gd name="T74" fmla="*/ 12 w 871"/>
              <a:gd name="T75" fmla="*/ 246 h 872"/>
              <a:gd name="T76" fmla="*/ 25 w 871"/>
              <a:gd name="T77" fmla="*/ 268 h 872"/>
              <a:gd name="T78" fmla="*/ 84 w 871"/>
              <a:gd name="T79" fmla="*/ 352 h 872"/>
              <a:gd name="T80" fmla="*/ 147 w 871"/>
              <a:gd name="T81" fmla="*/ 434 h 872"/>
              <a:gd name="T82" fmla="*/ 214 w 871"/>
              <a:gd name="T83" fmla="*/ 512 h 872"/>
              <a:gd name="T84" fmla="*/ 286 w 871"/>
              <a:gd name="T85" fmla="*/ 587 h 872"/>
              <a:gd name="T86" fmla="*/ 361 w 871"/>
              <a:gd name="T87" fmla="*/ 658 h 872"/>
              <a:gd name="T88" fmla="*/ 439 w 871"/>
              <a:gd name="T89" fmla="*/ 725 h 872"/>
              <a:gd name="T90" fmla="*/ 519 w 871"/>
              <a:gd name="T91" fmla="*/ 789 h 872"/>
              <a:gd name="T92" fmla="*/ 604 w 871"/>
              <a:gd name="T93" fmla="*/ 848 h 872"/>
              <a:gd name="T94" fmla="*/ 622 w 871"/>
              <a:gd name="T95" fmla="*/ 858 h 872"/>
              <a:gd name="T96" fmla="*/ 643 w 871"/>
              <a:gd name="T97" fmla="*/ 866 h 872"/>
              <a:gd name="T98" fmla="*/ 664 w 871"/>
              <a:gd name="T99" fmla="*/ 870 h 872"/>
              <a:gd name="T100" fmla="*/ 686 w 871"/>
              <a:gd name="T101" fmla="*/ 872 h 872"/>
              <a:gd name="T102" fmla="*/ 715 w 871"/>
              <a:gd name="T103" fmla="*/ 869 h 872"/>
              <a:gd name="T104" fmla="*/ 743 w 871"/>
              <a:gd name="T105" fmla="*/ 860 h 872"/>
              <a:gd name="T106" fmla="*/ 767 w 871"/>
              <a:gd name="T107" fmla="*/ 848 h 872"/>
              <a:gd name="T108" fmla="*/ 790 w 871"/>
              <a:gd name="T109" fmla="*/ 829 h 872"/>
              <a:gd name="T110" fmla="*/ 849 w 871"/>
              <a:gd name="T111" fmla="*/ 769 h 872"/>
              <a:gd name="T112" fmla="*/ 859 w 871"/>
              <a:gd name="T113" fmla="*/ 752 h 872"/>
              <a:gd name="T114" fmla="*/ 867 w 871"/>
              <a:gd name="T115" fmla="*/ 734 h 872"/>
              <a:gd name="T116" fmla="*/ 871 w 871"/>
              <a:gd name="T117" fmla="*/ 715 h 872"/>
              <a:gd name="T118" fmla="*/ 871 w 871"/>
              <a:gd name="T119" fmla="*/ 694 h 872"/>
              <a:gd name="T120" fmla="*/ 867 w 871"/>
              <a:gd name="T121" fmla="*/ 675 h 872"/>
              <a:gd name="T122" fmla="*/ 859 w 871"/>
              <a:gd name="T123" fmla="*/ 656 h 872"/>
              <a:gd name="T124" fmla="*/ 849 w 871"/>
              <a:gd name="T125" fmla="*/ 638 h 8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871" h="872">
                <a:moveTo>
                  <a:pt x="841" y="631"/>
                </a:moveTo>
                <a:lnTo>
                  <a:pt x="748" y="538"/>
                </a:lnTo>
                <a:lnTo>
                  <a:pt x="740" y="530"/>
                </a:lnTo>
                <a:lnTo>
                  <a:pt x="732" y="525"/>
                </a:lnTo>
                <a:lnTo>
                  <a:pt x="723" y="519"/>
                </a:lnTo>
                <a:lnTo>
                  <a:pt x="714" y="515"/>
                </a:lnTo>
                <a:lnTo>
                  <a:pt x="705" y="511"/>
                </a:lnTo>
                <a:lnTo>
                  <a:pt x="694" y="509"/>
                </a:lnTo>
                <a:lnTo>
                  <a:pt x="685" y="508"/>
                </a:lnTo>
                <a:lnTo>
                  <a:pt x="674" y="506"/>
                </a:lnTo>
                <a:lnTo>
                  <a:pt x="664" y="508"/>
                </a:lnTo>
                <a:lnTo>
                  <a:pt x="654" y="509"/>
                </a:lnTo>
                <a:lnTo>
                  <a:pt x="644" y="511"/>
                </a:lnTo>
                <a:lnTo>
                  <a:pt x="634" y="515"/>
                </a:lnTo>
                <a:lnTo>
                  <a:pt x="626" y="519"/>
                </a:lnTo>
                <a:lnTo>
                  <a:pt x="617" y="525"/>
                </a:lnTo>
                <a:lnTo>
                  <a:pt x="609" y="530"/>
                </a:lnTo>
                <a:lnTo>
                  <a:pt x="601" y="538"/>
                </a:lnTo>
                <a:lnTo>
                  <a:pt x="580" y="559"/>
                </a:lnTo>
                <a:lnTo>
                  <a:pt x="544" y="529"/>
                </a:lnTo>
                <a:lnTo>
                  <a:pt x="509" y="497"/>
                </a:lnTo>
                <a:lnTo>
                  <a:pt x="474" y="465"/>
                </a:lnTo>
                <a:lnTo>
                  <a:pt x="440" y="431"/>
                </a:lnTo>
                <a:lnTo>
                  <a:pt x="407" y="398"/>
                </a:lnTo>
                <a:lnTo>
                  <a:pt x="375" y="364"/>
                </a:lnTo>
                <a:lnTo>
                  <a:pt x="344" y="328"/>
                </a:lnTo>
                <a:lnTo>
                  <a:pt x="314" y="293"/>
                </a:lnTo>
                <a:lnTo>
                  <a:pt x="335" y="271"/>
                </a:lnTo>
                <a:lnTo>
                  <a:pt x="343" y="263"/>
                </a:lnTo>
                <a:lnTo>
                  <a:pt x="348" y="254"/>
                </a:lnTo>
                <a:lnTo>
                  <a:pt x="353" y="246"/>
                </a:lnTo>
                <a:lnTo>
                  <a:pt x="358" y="237"/>
                </a:lnTo>
                <a:lnTo>
                  <a:pt x="361" y="228"/>
                </a:lnTo>
                <a:lnTo>
                  <a:pt x="364" y="218"/>
                </a:lnTo>
                <a:lnTo>
                  <a:pt x="365" y="207"/>
                </a:lnTo>
                <a:lnTo>
                  <a:pt x="365" y="198"/>
                </a:lnTo>
                <a:lnTo>
                  <a:pt x="365" y="188"/>
                </a:lnTo>
                <a:lnTo>
                  <a:pt x="364" y="178"/>
                </a:lnTo>
                <a:lnTo>
                  <a:pt x="361" y="169"/>
                </a:lnTo>
                <a:lnTo>
                  <a:pt x="358" y="159"/>
                </a:lnTo>
                <a:lnTo>
                  <a:pt x="353" y="149"/>
                </a:lnTo>
                <a:lnTo>
                  <a:pt x="348" y="141"/>
                </a:lnTo>
                <a:lnTo>
                  <a:pt x="343" y="132"/>
                </a:lnTo>
                <a:lnTo>
                  <a:pt x="335" y="125"/>
                </a:lnTo>
                <a:lnTo>
                  <a:pt x="242" y="30"/>
                </a:lnTo>
                <a:lnTo>
                  <a:pt x="233" y="24"/>
                </a:lnTo>
                <a:lnTo>
                  <a:pt x="226" y="17"/>
                </a:lnTo>
                <a:lnTo>
                  <a:pt x="217" y="13"/>
                </a:lnTo>
                <a:lnTo>
                  <a:pt x="207" y="9"/>
                </a:lnTo>
                <a:lnTo>
                  <a:pt x="198" y="5"/>
                </a:lnTo>
                <a:lnTo>
                  <a:pt x="188" y="2"/>
                </a:lnTo>
                <a:lnTo>
                  <a:pt x="178" y="1"/>
                </a:lnTo>
                <a:lnTo>
                  <a:pt x="168" y="0"/>
                </a:lnTo>
                <a:lnTo>
                  <a:pt x="158" y="1"/>
                </a:lnTo>
                <a:lnTo>
                  <a:pt x="147" y="2"/>
                </a:lnTo>
                <a:lnTo>
                  <a:pt x="138" y="5"/>
                </a:lnTo>
                <a:lnTo>
                  <a:pt x="128" y="9"/>
                </a:lnTo>
                <a:lnTo>
                  <a:pt x="119" y="13"/>
                </a:lnTo>
                <a:lnTo>
                  <a:pt x="111" y="17"/>
                </a:lnTo>
                <a:lnTo>
                  <a:pt x="102" y="24"/>
                </a:lnTo>
                <a:lnTo>
                  <a:pt x="95" y="31"/>
                </a:lnTo>
                <a:lnTo>
                  <a:pt x="43" y="82"/>
                </a:lnTo>
                <a:lnTo>
                  <a:pt x="35" y="91"/>
                </a:lnTo>
                <a:lnTo>
                  <a:pt x="27" y="102"/>
                </a:lnTo>
                <a:lnTo>
                  <a:pt x="20" y="113"/>
                </a:lnTo>
                <a:lnTo>
                  <a:pt x="14" y="124"/>
                </a:lnTo>
                <a:lnTo>
                  <a:pt x="9" y="135"/>
                </a:lnTo>
                <a:lnTo>
                  <a:pt x="6" y="147"/>
                </a:lnTo>
                <a:lnTo>
                  <a:pt x="3" y="160"/>
                </a:lnTo>
                <a:lnTo>
                  <a:pt x="1" y="172"/>
                </a:lnTo>
                <a:lnTo>
                  <a:pt x="0" y="185"/>
                </a:lnTo>
                <a:lnTo>
                  <a:pt x="0" y="197"/>
                </a:lnTo>
                <a:lnTo>
                  <a:pt x="3" y="209"/>
                </a:lnTo>
                <a:lnTo>
                  <a:pt x="5" y="221"/>
                </a:lnTo>
                <a:lnTo>
                  <a:pt x="8" y="234"/>
                </a:lnTo>
                <a:lnTo>
                  <a:pt x="12" y="246"/>
                </a:lnTo>
                <a:lnTo>
                  <a:pt x="19" y="257"/>
                </a:lnTo>
                <a:lnTo>
                  <a:pt x="25" y="268"/>
                </a:lnTo>
                <a:lnTo>
                  <a:pt x="54" y="310"/>
                </a:lnTo>
                <a:lnTo>
                  <a:pt x="84" y="352"/>
                </a:lnTo>
                <a:lnTo>
                  <a:pt x="115" y="394"/>
                </a:lnTo>
                <a:lnTo>
                  <a:pt x="147" y="434"/>
                </a:lnTo>
                <a:lnTo>
                  <a:pt x="181" y="473"/>
                </a:lnTo>
                <a:lnTo>
                  <a:pt x="214" y="512"/>
                </a:lnTo>
                <a:lnTo>
                  <a:pt x="249" y="549"/>
                </a:lnTo>
                <a:lnTo>
                  <a:pt x="286" y="587"/>
                </a:lnTo>
                <a:lnTo>
                  <a:pt x="322" y="623"/>
                </a:lnTo>
                <a:lnTo>
                  <a:pt x="361" y="658"/>
                </a:lnTo>
                <a:lnTo>
                  <a:pt x="399" y="692"/>
                </a:lnTo>
                <a:lnTo>
                  <a:pt x="439" y="725"/>
                </a:lnTo>
                <a:lnTo>
                  <a:pt x="479" y="757"/>
                </a:lnTo>
                <a:lnTo>
                  <a:pt x="519" y="789"/>
                </a:lnTo>
                <a:lnTo>
                  <a:pt x="561" y="819"/>
                </a:lnTo>
                <a:lnTo>
                  <a:pt x="604" y="848"/>
                </a:lnTo>
                <a:lnTo>
                  <a:pt x="614" y="853"/>
                </a:lnTo>
                <a:lnTo>
                  <a:pt x="622" y="858"/>
                </a:lnTo>
                <a:lnTo>
                  <a:pt x="633" y="863"/>
                </a:lnTo>
                <a:lnTo>
                  <a:pt x="643" y="866"/>
                </a:lnTo>
                <a:lnTo>
                  <a:pt x="654" y="868"/>
                </a:lnTo>
                <a:lnTo>
                  <a:pt x="664" y="870"/>
                </a:lnTo>
                <a:lnTo>
                  <a:pt x="675" y="871"/>
                </a:lnTo>
                <a:lnTo>
                  <a:pt x="686" y="872"/>
                </a:lnTo>
                <a:lnTo>
                  <a:pt x="701" y="871"/>
                </a:lnTo>
                <a:lnTo>
                  <a:pt x="715" y="869"/>
                </a:lnTo>
                <a:lnTo>
                  <a:pt x="729" y="866"/>
                </a:lnTo>
                <a:lnTo>
                  <a:pt x="743" y="860"/>
                </a:lnTo>
                <a:lnTo>
                  <a:pt x="755" y="855"/>
                </a:lnTo>
                <a:lnTo>
                  <a:pt x="767" y="848"/>
                </a:lnTo>
                <a:lnTo>
                  <a:pt x="779" y="839"/>
                </a:lnTo>
                <a:lnTo>
                  <a:pt x="790" y="829"/>
                </a:lnTo>
                <a:lnTo>
                  <a:pt x="841" y="777"/>
                </a:lnTo>
                <a:lnTo>
                  <a:pt x="849" y="769"/>
                </a:lnTo>
                <a:lnTo>
                  <a:pt x="854" y="761"/>
                </a:lnTo>
                <a:lnTo>
                  <a:pt x="859" y="752"/>
                </a:lnTo>
                <a:lnTo>
                  <a:pt x="864" y="744"/>
                </a:lnTo>
                <a:lnTo>
                  <a:pt x="867" y="734"/>
                </a:lnTo>
                <a:lnTo>
                  <a:pt x="870" y="724"/>
                </a:lnTo>
                <a:lnTo>
                  <a:pt x="871" y="715"/>
                </a:lnTo>
                <a:lnTo>
                  <a:pt x="871" y="704"/>
                </a:lnTo>
                <a:lnTo>
                  <a:pt x="871" y="694"/>
                </a:lnTo>
                <a:lnTo>
                  <a:pt x="870" y="685"/>
                </a:lnTo>
                <a:lnTo>
                  <a:pt x="867" y="675"/>
                </a:lnTo>
                <a:lnTo>
                  <a:pt x="864" y="665"/>
                </a:lnTo>
                <a:lnTo>
                  <a:pt x="859" y="656"/>
                </a:lnTo>
                <a:lnTo>
                  <a:pt x="854" y="647"/>
                </a:lnTo>
                <a:lnTo>
                  <a:pt x="849" y="638"/>
                </a:lnTo>
                <a:lnTo>
                  <a:pt x="841" y="631"/>
                </a:lnTo>
                <a:close/>
              </a:path>
            </a:pathLst>
          </a:custGeom>
          <a:solidFill>
            <a:srgbClr val="78D2D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ysClr val="windowText" lastClr="000000"/>
              </a:solidFill>
              <a:effectLst/>
              <a:uLnTx/>
              <a:uFillTx/>
              <a:latin typeface="Calibri"/>
              <a:ea typeface="+mn-ea"/>
              <a:cs typeface="+mn-cs"/>
            </a:endParaRPr>
          </a:p>
        </p:txBody>
      </p:sp>
      <p:grpSp>
        <p:nvGrpSpPr>
          <p:cNvPr id="94" name="Group 93"/>
          <p:cNvGrpSpPr>
            <a:grpSpLocks noChangeAspect="1"/>
          </p:cNvGrpSpPr>
          <p:nvPr/>
        </p:nvGrpSpPr>
        <p:grpSpPr>
          <a:xfrm>
            <a:off x="6492513" y="5309600"/>
            <a:ext cx="97669" cy="65219"/>
            <a:chOff x="5867374" y="2350192"/>
            <a:chExt cx="220415" cy="147182"/>
          </a:xfrm>
          <a:solidFill>
            <a:srgbClr val="3B3939"/>
          </a:solidFill>
        </p:grpSpPr>
        <p:sp>
          <p:nvSpPr>
            <p:cNvPr id="100" name="Freeform 3506"/>
            <p:cNvSpPr>
              <a:spLocks/>
            </p:cNvSpPr>
            <p:nvPr/>
          </p:nvSpPr>
          <p:spPr bwMode="auto">
            <a:xfrm>
              <a:off x="5867374" y="2355679"/>
              <a:ext cx="220415" cy="141695"/>
            </a:xfrm>
            <a:custGeom>
              <a:avLst/>
              <a:gdLst>
                <a:gd name="T0" fmla="*/ 661 w 673"/>
                <a:gd name="T1" fmla="*/ 0 h 429"/>
                <a:gd name="T2" fmla="*/ 357 w 673"/>
                <a:gd name="T3" fmla="*/ 245 h 429"/>
                <a:gd name="T4" fmla="*/ 354 w 673"/>
                <a:gd name="T5" fmla="*/ 248 h 429"/>
                <a:gd name="T6" fmla="*/ 350 w 673"/>
                <a:gd name="T7" fmla="*/ 248 h 429"/>
                <a:gd name="T8" fmla="*/ 346 w 673"/>
                <a:gd name="T9" fmla="*/ 248 h 429"/>
                <a:gd name="T10" fmla="*/ 342 w 673"/>
                <a:gd name="T11" fmla="*/ 247 h 429"/>
                <a:gd name="T12" fmla="*/ 11 w 673"/>
                <a:gd name="T13" fmla="*/ 6 h 429"/>
                <a:gd name="T14" fmla="*/ 7 w 673"/>
                <a:gd name="T15" fmla="*/ 14 h 429"/>
                <a:gd name="T16" fmla="*/ 3 w 673"/>
                <a:gd name="T17" fmla="*/ 23 h 429"/>
                <a:gd name="T18" fmla="*/ 2 w 673"/>
                <a:gd name="T19" fmla="*/ 33 h 429"/>
                <a:gd name="T20" fmla="*/ 0 w 673"/>
                <a:gd name="T21" fmla="*/ 44 h 429"/>
                <a:gd name="T22" fmla="*/ 0 w 673"/>
                <a:gd name="T23" fmla="*/ 357 h 429"/>
                <a:gd name="T24" fmla="*/ 2 w 673"/>
                <a:gd name="T25" fmla="*/ 365 h 429"/>
                <a:gd name="T26" fmla="*/ 2 w 673"/>
                <a:gd name="T27" fmla="*/ 371 h 429"/>
                <a:gd name="T28" fmla="*/ 4 w 673"/>
                <a:gd name="T29" fmla="*/ 379 h 429"/>
                <a:gd name="T30" fmla="*/ 6 w 673"/>
                <a:gd name="T31" fmla="*/ 385 h 429"/>
                <a:gd name="T32" fmla="*/ 9 w 673"/>
                <a:gd name="T33" fmla="*/ 392 h 429"/>
                <a:gd name="T34" fmla="*/ 12 w 673"/>
                <a:gd name="T35" fmla="*/ 398 h 429"/>
                <a:gd name="T36" fmla="*/ 16 w 673"/>
                <a:gd name="T37" fmla="*/ 403 h 429"/>
                <a:gd name="T38" fmla="*/ 21 w 673"/>
                <a:gd name="T39" fmla="*/ 408 h 429"/>
                <a:gd name="T40" fmla="*/ 26 w 673"/>
                <a:gd name="T41" fmla="*/ 412 h 429"/>
                <a:gd name="T42" fmla="*/ 31 w 673"/>
                <a:gd name="T43" fmla="*/ 417 h 429"/>
                <a:gd name="T44" fmla="*/ 36 w 673"/>
                <a:gd name="T45" fmla="*/ 420 h 429"/>
                <a:gd name="T46" fmla="*/ 43 w 673"/>
                <a:gd name="T47" fmla="*/ 424 h 429"/>
                <a:gd name="T48" fmla="*/ 49 w 673"/>
                <a:gd name="T49" fmla="*/ 425 h 429"/>
                <a:gd name="T50" fmla="*/ 57 w 673"/>
                <a:gd name="T51" fmla="*/ 428 h 429"/>
                <a:gd name="T52" fmla="*/ 63 w 673"/>
                <a:gd name="T53" fmla="*/ 429 h 429"/>
                <a:gd name="T54" fmla="*/ 71 w 673"/>
                <a:gd name="T55" fmla="*/ 429 h 429"/>
                <a:gd name="T56" fmla="*/ 601 w 673"/>
                <a:gd name="T57" fmla="*/ 429 h 429"/>
                <a:gd name="T58" fmla="*/ 609 w 673"/>
                <a:gd name="T59" fmla="*/ 429 h 429"/>
                <a:gd name="T60" fmla="*/ 616 w 673"/>
                <a:gd name="T61" fmla="*/ 428 h 429"/>
                <a:gd name="T62" fmla="*/ 623 w 673"/>
                <a:gd name="T63" fmla="*/ 425 h 429"/>
                <a:gd name="T64" fmla="*/ 630 w 673"/>
                <a:gd name="T65" fmla="*/ 423 h 429"/>
                <a:gd name="T66" fmla="*/ 636 w 673"/>
                <a:gd name="T67" fmla="*/ 420 h 429"/>
                <a:gd name="T68" fmla="*/ 643 w 673"/>
                <a:gd name="T69" fmla="*/ 416 h 429"/>
                <a:gd name="T70" fmla="*/ 648 w 673"/>
                <a:gd name="T71" fmla="*/ 412 h 429"/>
                <a:gd name="T72" fmla="*/ 653 w 673"/>
                <a:gd name="T73" fmla="*/ 407 h 429"/>
                <a:gd name="T74" fmla="*/ 657 w 673"/>
                <a:gd name="T75" fmla="*/ 402 h 429"/>
                <a:gd name="T76" fmla="*/ 662 w 673"/>
                <a:gd name="T77" fmla="*/ 397 h 429"/>
                <a:gd name="T78" fmla="*/ 666 w 673"/>
                <a:gd name="T79" fmla="*/ 390 h 429"/>
                <a:gd name="T80" fmla="*/ 668 w 673"/>
                <a:gd name="T81" fmla="*/ 385 h 429"/>
                <a:gd name="T82" fmla="*/ 671 w 673"/>
                <a:gd name="T83" fmla="*/ 378 h 429"/>
                <a:gd name="T84" fmla="*/ 672 w 673"/>
                <a:gd name="T85" fmla="*/ 371 h 429"/>
                <a:gd name="T86" fmla="*/ 673 w 673"/>
                <a:gd name="T87" fmla="*/ 364 h 429"/>
                <a:gd name="T88" fmla="*/ 673 w 673"/>
                <a:gd name="T89" fmla="*/ 357 h 429"/>
                <a:gd name="T90" fmla="*/ 673 w 673"/>
                <a:gd name="T91" fmla="*/ 44 h 429"/>
                <a:gd name="T92" fmla="*/ 673 w 673"/>
                <a:gd name="T93" fmla="*/ 32 h 429"/>
                <a:gd name="T94" fmla="*/ 671 w 673"/>
                <a:gd name="T95" fmla="*/ 21 h 429"/>
                <a:gd name="T96" fmla="*/ 666 w 673"/>
                <a:gd name="T97" fmla="*/ 10 h 429"/>
                <a:gd name="T98" fmla="*/ 661 w 673"/>
                <a:gd name="T99" fmla="*/ 0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673" h="429">
                  <a:moveTo>
                    <a:pt x="661" y="0"/>
                  </a:moveTo>
                  <a:lnTo>
                    <a:pt x="357" y="245"/>
                  </a:lnTo>
                  <a:lnTo>
                    <a:pt x="354" y="248"/>
                  </a:lnTo>
                  <a:lnTo>
                    <a:pt x="350" y="248"/>
                  </a:lnTo>
                  <a:lnTo>
                    <a:pt x="346" y="248"/>
                  </a:lnTo>
                  <a:lnTo>
                    <a:pt x="342" y="247"/>
                  </a:lnTo>
                  <a:lnTo>
                    <a:pt x="11" y="6"/>
                  </a:lnTo>
                  <a:lnTo>
                    <a:pt x="7" y="14"/>
                  </a:lnTo>
                  <a:lnTo>
                    <a:pt x="3" y="23"/>
                  </a:lnTo>
                  <a:lnTo>
                    <a:pt x="2" y="33"/>
                  </a:lnTo>
                  <a:lnTo>
                    <a:pt x="0" y="44"/>
                  </a:lnTo>
                  <a:lnTo>
                    <a:pt x="0" y="357"/>
                  </a:lnTo>
                  <a:lnTo>
                    <a:pt x="2" y="365"/>
                  </a:lnTo>
                  <a:lnTo>
                    <a:pt x="2" y="371"/>
                  </a:lnTo>
                  <a:lnTo>
                    <a:pt x="4" y="379"/>
                  </a:lnTo>
                  <a:lnTo>
                    <a:pt x="6" y="385"/>
                  </a:lnTo>
                  <a:lnTo>
                    <a:pt x="9" y="392"/>
                  </a:lnTo>
                  <a:lnTo>
                    <a:pt x="12" y="398"/>
                  </a:lnTo>
                  <a:lnTo>
                    <a:pt x="16" y="403"/>
                  </a:lnTo>
                  <a:lnTo>
                    <a:pt x="21" y="408"/>
                  </a:lnTo>
                  <a:lnTo>
                    <a:pt x="26" y="412"/>
                  </a:lnTo>
                  <a:lnTo>
                    <a:pt x="31" y="417"/>
                  </a:lnTo>
                  <a:lnTo>
                    <a:pt x="36" y="420"/>
                  </a:lnTo>
                  <a:lnTo>
                    <a:pt x="43" y="424"/>
                  </a:lnTo>
                  <a:lnTo>
                    <a:pt x="49" y="425"/>
                  </a:lnTo>
                  <a:lnTo>
                    <a:pt x="57" y="428"/>
                  </a:lnTo>
                  <a:lnTo>
                    <a:pt x="63" y="429"/>
                  </a:lnTo>
                  <a:lnTo>
                    <a:pt x="71" y="429"/>
                  </a:lnTo>
                  <a:lnTo>
                    <a:pt x="601" y="429"/>
                  </a:lnTo>
                  <a:lnTo>
                    <a:pt x="609" y="429"/>
                  </a:lnTo>
                  <a:lnTo>
                    <a:pt x="616" y="428"/>
                  </a:lnTo>
                  <a:lnTo>
                    <a:pt x="623" y="425"/>
                  </a:lnTo>
                  <a:lnTo>
                    <a:pt x="630" y="423"/>
                  </a:lnTo>
                  <a:lnTo>
                    <a:pt x="636" y="420"/>
                  </a:lnTo>
                  <a:lnTo>
                    <a:pt x="643" y="416"/>
                  </a:lnTo>
                  <a:lnTo>
                    <a:pt x="648" y="412"/>
                  </a:lnTo>
                  <a:lnTo>
                    <a:pt x="653" y="407"/>
                  </a:lnTo>
                  <a:lnTo>
                    <a:pt x="657" y="402"/>
                  </a:lnTo>
                  <a:lnTo>
                    <a:pt x="662" y="397"/>
                  </a:lnTo>
                  <a:lnTo>
                    <a:pt x="666" y="390"/>
                  </a:lnTo>
                  <a:lnTo>
                    <a:pt x="668" y="385"/>
                  </a:lnTo>
                  <a:lnTo>
                    <a:pt x="671" y="378"/>
                  </a:lnTo>
                  <a:lnTo>
                    <a:pt x="672" y="371"/>
                  </a:lnTo>
                  <a:lnTo>
                    <a:pt x="673" y="364"/>
                  </a:lnTo>
                  <a:lnTo>
                    <a:pt x="673" y="357"/>
                  </a:lnTo>
                  <a:lnTo>
                    <a:pt x="673" y="44"/>
                  </a:lnTo>
                  <a:lnTo>
                    <a:pt x="673" y="32"/>
                  </a:lnTo>
                  <a:lnTo>
                    <a:pt x="671" y="21"/>
                  </a:lnTo>
                  <a:lnTo>
                    <a:pt x="666" y="10"/>
                  </a:lnTo>
                  <a:lnTo>
                    <a:pt x="661" y="0"/>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ysClr val="windowText" lastClr="000000"/>
                </a:solidFill>
                <a:effectLst/>
                <a:uLnTx/>
                <a:uFillTx/>
                <a:latin typeface="Calibri"/>
                <a:ea typeface="+mn-ea"/>
                <a:cs typeface="+mn-cs"/>
              </a:endParaRPr>
            </a:p>
          </p:txBody>
        </p:sp>
        <p:sp>
          <p:nvSpPr>
            <p:cNvPr id="101" name="Freeform 3507"/>
            <p:cNvSpPr>
              <a:spLocks/>
            </p:cNvSpPr>
            <p:nvPr/>
          </p:nvSpPr>
          <p:spPr bwMode="auto">
            <a:xfrm>
              <a:off x="5885741" y="2350192"/>
              <a:ext cx="183679" cy="73948"/>
            </a:xfrm>
            <a:custGeom>
              <a:avLst/>
              <a:gdLst>
                <a:gd name="T0" fmla="*/ 617 w 617"/>
                <a:gd name="T1" fmla="*/ 11 h 249"/>
                <a:gd name="T2" fmla="*/ 608 w 617"/>
                <a:gd name="T3" fmla="*/ 6 h 249"/>
                <a:gd name="T4" fmla="*/ 599 w 617"/>
                <a:gd name="T5" fmla="*/ 4 h 249"/>
                <a:gd name="T6" fmla="*/ 587 w 617"/>
                <a:gd name="T7" fmla="*/ 1 h 249"/>
                <a:gd name="T8" fmla="*/ 575 w 617"/>
                <a:gd name="T9" fmla="*/ 0 h 249"/>
                <a:gd name="T10" fmla="*/ 46 w 617"/>
                <a:gd name="T11" fmla="*/ 0 h 249"/>
                <a:gd name="T12" fmla="*/ 34 w 617"/>
                <a:gd name="T13" fmla="*/ 1 h 249"/>
                <a:gd name="T14" fmla="*/ 21 w 617"/>
                <a:gd name="T15" fmla="*/ 4 h 249"/>
                <a:gd name="T16" fmla="*/ 10 w 617"/>
                <a:gd name="T17" fmla="*/ 9 h 249"/>
                <a:gd name="T18" fmla="*/ 0 w 617"/>
                <a:gd name="T19" fmla="*/ 15 h 249"/>
                <a:gd name="T20" fmla="*/ 322 w 617"/>
                <a:gd name="T21" fmla="*/ 249 h 249"/>
                <a:gd name="T22" fmla="*/ 617 w 617"/>
                <a:gd name="T23" fmla="*/ 11 h 2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17" h="249">
                  <a:moveTo>
                    <a:pt x="617" y="11"/>
                  </a:moveTo>
                  <a:lnTo>
                    <a:pt x="608" y="6"/>
                  </a:lnTo>
                  <a:lnTo>
                    <a:pt x="599" y="4"/>
                  </a:lnTo>
                  <a:lnTo>
                    <a:pt x="587" y="1"/>
                  </a:lnTo>
                  <a:lnTo>
                    <a:pt x="575" y="0"/>
                  </a:lnTo>
                  <a:lnTo>
                    <a:pt x="46" y="0"/>
                  </a:lnTo>
                  <a:lnTo>
                    <a:pt x="34" y="1"/>
                  </a:lnTo>
                  <a:lnTo>
                    <a:pt x="21" y="4"/>
                  </a:lnTo>
                  <a:lnTo>
                    <a:pt x="10" y="9"/>
                  </a:lnTo>
                  <a:lnTo>
                    <a:pt x="0" y="15"/>
                  </a:lnTo>
                  <a:lnTo>
                    <a:pt x="322" y="249"/>
                  </a:lnTo>
                  <a:lnTo>
                    <a:pt x="617" y="11"/>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ysClr val="windowText" lastClr="000000"/>
                </a:solidFill>
                <a:effectLst/>
                <a:uLnTx/>
                <a:uFillTx/>
                <a:latin typeface="Calibri"/>
                <a:ea typeface="+mn-ea"/>
                <a:cs typeface="+mn-cs"/>
              </a:endParaRPr>
            </a:p>
          </p:txBody>
        </p:sp>
      </p:grpSp>
      <p:sp>
        <p:nvSpPr>
          <p:cNvPr id="96" name="Freeform 184"/>
          <p:cNvSpPr>
            <a:spLocks noChangeAspect="1"/>
          </p:cNvSpPr>
          <p:nvPr/>
        </p:nvSpPr>
        <p:spPr bwMode="auto">
          <a:xfrm>
            <a:off x="6739782" y="5302752"/>
            <a:ext cx="97163" cy="78914"/>
          </a:xfrm>
          <a:custGeom>
            <a:avLst/>
            <a:gdLst>
              <a:gd name="T0" fmla="*/ 393 w 393"/>
              <a:gd name="T1" fmla="*/ 38 h 319"/>
              <a:gd name="T2" fmla="*/ 347 w 393"/>
              <a:gd name="T3" fmla="*/ 52 h 319"/>
              <a:gd name="T4" fmla="*/ 359 w 393"/>
              <a:gd name="T5" fmla="*/ 42 h 319"/>
              <a:gd name="T6" fmla="*/ 377 w 393"/>
              <a:gd name="T7" fmla="*/ 20 h 319"/>
              <a:gd name="T8" fmla="*/ 383 w 393"/>
              <a:gd name="T9" fmla="*/ 6 h 319"/>
              <a:gd name="T10" fmla="*/ 345 w 393"/>
              <a:gd name="T11" fmla="*/ 22 h 319"/>
              <a:gd name="T12" fmla="*/ 331 w 393"/>
              <a:gd name="T13" fmla="*/ 26 h 319"/>
              <a:gd name="T14" fmla="*/ 305 w 393"/>
              <a:gd name="T15" fmla="*/ 8 h 319"/>
              <a:gd name="T16" fmla="*/ 273 w 393"/>
              <a:gd name="T17" fmla="*/ 0 h 319"/>
              <a:gd name="T18" fmla="*/ 255 w 393"/>
              <a:gd name="T19" fmla="*/ 2 h 319"/>
              <a:gd name="T20" fmla="*/ 227 w 393"/>
              <a:gd name="T21" fmla="*/ 14 h 319"/>
              <a:gd name="T22" fmla="*/ 205 w 393"/>
              <a:gd name="T23" fmla="*/ 36 h 319"/>
              <a:gd name="T24" fmla="*/ 193 w 393"/>
              <a:gd name="T25" fmla="*/ 64 h 319"/>
              <a:gd name="T26" fmla="*/ 191 w 393"/>
              <a:gd name="T27" fmla="*/ 82 h 319"/>
              <a:gd name="T28" fmla="*/ 193 w 393"/>
              <a:gd name="T29" fmla="*/ 100 h 319"/>
              <a:gd name="T30" fmla="*/ 145 w 393"/>
              <a:gd name="T31" fmla="*/ 92 h 319"/>
              <a:gd name="T32" fmla="*/ 99 w 393"/>
              <a:gd name="T33" fmla="*/ 74 h 319"/>
              <a:gd name="T34" fmla="*/ 62 w 393"/>
              <a:gd name="T35" fmla="*/ 48 h 319"/>
              <a:gd name="T36" fmla="*/ 28 w 393"/>
              <a:gd name="T37" fmla="*/ 16 h 319"/>
              <a:gd name="T38" fmla="*/ 24 w 393"/>
              <a:gd name="T39" fmla="*/ 24 h 319"/>
              <a:gd name="T40" fmla="*/ 18 w 393"/>
              <a:gd name="T41" fmla="*/ 44 h 319"/>
              <a:gd name="T42" fmla="*/ 16 w 393"/>
              <a:gd name="T43" fmla="*/ 56 h 319"/>
              <a:gd name="T44" fmla="*/ 20 w 393"/>
              <a:gd name="T45" fmla="*/ 76 h 319"/>
              <a:gd name="T46" fmla="*/ 26 w 393"/>
              <a:gd name="T47" fmla="*/ 94 h 319"/>
              <a:gd name="T48" fmla="*/ 52 w 393"/>
              <a:gd name="T49" fmla="*/ 124 h 319"/>
              <a:gd name="T50" fmla="*/ 34 w 393"/>
              <a:gd name="T51" fmla="*/ 120 h 319"/>
              <a:gd name="T52" fmla="*/ 16 w 393"/>
              <a:gd name="T53" fmla="*/ 114 h 319"/>
              <a:gd name="T54" fmla="*/ 16 w 393"/>
              <a:gd name="T55" fmla="*/ 114 h 319"/>
              <a:gd name="T56" fmla="*/ 22 w 393"/>
              <a:gd name="T57" fmla="*/ 142 h 319"/>
              <a:gd name="T58" fmla="*/ 34 w 393"/>
              <a:gd name="T59" fmla="*/ 166 h 319"/>
              <a:gd name="T60" fmla="*/ 56 w 393"/>
              <a:gd name="T61" fmla="*/ 183 h 319"/>
              <a:gd name="T62" fmla="*/ 82 w 393"/>
              <a:gd name="T63" fmla="*/ 193 h 319"/>
              <a:gd name="T64" fmla="*/ 70 w 393"/>
              <a:gd name="T65" fmla="*/ 195 h 319"/>
              <a:gd name="T66" fmla="*/ 60 w 393"/>
              <a:gd name="T67" fmla="*/ 195 h 319"/>
              <a:gd name="T68" fmla="*/ 44 w 393"/>
              <a:gd name="T69" fmla="*/ 193 h 319"/>
              <a:gd name="T70" fmla="*/ 56 w 393"/>
              <a:gd name="T71" fmla="*/ 215 h 319"/>
              <a:gd name="T72" fmla="*/ 72 w 393"/>
              <a:gd name="T73" fmla="*/ 233 h 319"/>
              <a:gd name="T74" fmla="*/ 93 w 393"/>
              <a:gd name="T75" fmla="*/ 245 h 319"/>
              <a:gd name="T76" fmla="*/ 119 w 393"/>
              <a:gd name="T77" fmla="*/ 249 h 319"/>
              <a:gd name="T78" fmla="*/ 97 w 393"/>
              <a:gd name="T79" fmla="*/ 265 h 319"/>
              <a:gd name="T80" fmla="*/ 48 w 393"/>
              <a:gd name="T81" fmla="*/ 283 h 319"/>
              <a:gd name="T82" fmla="*/ 20 w 393"/>
              <a:gd name="T83" fmla="*/ 285 h 319"/>
              <a:gd name="T84" fmla="*/ 0 w 393"/>
              <a:gd name="T85" fmla="*/ 283 h 319"/>
              <a:gd name="T86" fmla="*/ 28 w 393"/>
              <a:gd name="T87" fmla="*/ 299 h 319"/>
              <a:gd name="T88" fmla="*/ 89 w 393"/>
              <a:gd name="T89" fmla="*/ 317 h 319"/>
              <a:gd name="T90" fmla="*/ 123 w 393"/>
              <a:gd name="T91" fmla="*/ 319 h 319"/>
              <a:gd name="T92" fmla="*/ 151 w 393"/>
              <a:gd name="T93" fmla="*/ 319 h 319"/>
              <a:gd name="T94" fmla="*/ 199 w 393"/>
              <a:gd name="T95" fmla="*/ 307 h 319"/>
              <a:gd name="T96" fmla="*/ 243 w 393"/>
              <a:gd name="T97" fmla="*/ 287 h 319"/>
              <a:gd name="T98" fmla="*/ 279 w 393"/>
              <a:gd name="T99" fmla="*/ 261 h 319"/>
              <a:gd name="T100" fmla="*/ 307 w 393"/>
              <a:gd name="T101" fmla="*/ 227 h 319"/>
              <a:gd name="T102" fmla="*/ 329 w 393"/>
              <a:gd name="T103" fmla="*/ 191 h 319"/>
              <a:gd name="T104" fmla="*/ 345 w 393"/>
              <a:gd name="T105" fmla="*/ 152 h 319"/>
              <a:gd name="T106" fmla="*/ 353 w 393"/>
              <a:gd name="T107" fmla="*/ 110 h 319"/>
              <a:gd name="T108" fmla="*/ 353 w 393"/>
              <a:gd name="T109" fmla="*/ 90 h 319"/>
              <a:gd name="T110" fmla="*/ 353 w 393"/>
              <a:gd name="T111" fmla="*/ 80 h 319"/>
              <a:gd name="T112" fmla="*/ 375 w 393"/>
              <a:gd name="T113" fmla="*/ 62 h 319"/>
              <a:gd name="T114" fmla="*/ 393 w 393"/>
              <a:gd name="T115" fmla="*/ 38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93" h="319">
                <a:moveTo>
                  <a:pt x="393" y="38"/>
                </a:moveTo>
                <a:lnTo>
                  <a:pt x="393" y="38"/>
                </a:lnTo>
                <a:lnTo>
                  <a:pt x="371" y="46"/>
                </a:lnTo>
                <a:lnTo>
                  <a:pt x="347" y="52"/>
                </a:lnTo>
                <a:lnTo>
                  <a:pt x="347" y="52"/>
                </a:lnTo>
                <a:lnTo>
                  <a:pt x="359" y="42"/>
                </a:lnTo>
                <a:lnTo>
                  <a:pt x="369" y="32"/>
                </a:lnTo>
                <a:lnTo>
                  <a:pt x="377" y="20"/>
                </a:lnTo>
                <a:lnTo>
                  <a:pt x="383" y="6"/>
                </a:lnTo>
                <a:lnTo>
                  <a:pt x="383" y="6"/>
                </a:lnTo>
                <a:lnTo>
                  <a:pt x="357" y="18"/>
                </a:lnTo>
                <a:lnTo>
                  <a:pt x="345" y="22"/>
                </a:lnTo>
                <a:lnTo>
                  <a:pt x="331" y="26"/>
                </a:lnTo>
                <a:lnTo>
                  <a:pt x="331" y="26"/>
                </a:lnTo>
                <a:lnTo>
                  <a:pt x="319" y="16"/>
                </a:lnTo>
                <a:lnTo>
                  <a:pt x="305" y="8"/>
                </a:lnTo>
                <a:lnTo>
                  <a:pt x="289" y="2"/>
                </a:lnTo>
                <a:lnTo>
                  <a:pt x="273" y="0"/>
                </a:lnTo>
                <a:lnTo>
                  <a:pt x="273" y="0"/>
                </a:lnTo>
                <a:lnTo>
                  <a:pt x="255" y="2"/>
                </a:lnTo>
                <a:lnTo>
                  <a:pt x="241" y="6"/>
                </a:lnTo>
                <a:lnTo>
                  <a:pt x="227" y="14"/>
                </a:lnTo>
                <a:lnTo>
                  <a:pt x="215" y="24"/>
                </a:lnTo>
                <a:lnTo>
                  <a:pt x="205" y="36"/>
                </a:lnTo>
                <a:lnTo>
                  <a:pt x="197" y="50"/>
                </a:lnTo>
                <a:lnTo>
                  <a:pt x="193" y="64"/>
                </a:lnTo>
                <a:lnTo>
                  <a:pt x="191" y="82"/>
                </a:lnTo>
                <a:lnTo>
                  <a:pt x="191" y="82"/>
                </a:lnTo>
                <a:lnTo>
                  <a:pt x="193" y="100"/>
                </a:lnTo>
                <a:lnTo>
                  <a:pt x="193" y="100"/>
                </a:lnTo>
                <a:lnTo>
                  <a:pt x="169" y="98"/>
                </a:lnTo>
                <a:lnTo>
                  <a:pt x="145" y="92"/>
                </a:lnTo>
                <a:lnTo>
                  <a:pt x="121" y="84"/>
                </a:lnTo>
                <a:lnTo>
                  <a:pt x="99" y="74"/>
                </a:lnTo>
                <a:lnTo>
                  <a:pt x="80" y="62"/>
                </a:lnTo>
                <a:lnTo>
                  <a:pt x="62" y="48"/>
                </a:lnTo>
                <a:lnTo>
                  <a:pt x="44" y="32"/>
                </a:lnTo>
                <a:lnTo>
                  <a:pt x="28" y="16"/>
                </a:lnTo>
                <a:lnTo>
                  <a:pt x="28" y="16"/>
                </a:lnTo>
                <a:lnTo>
                  <a:pt x="24" y="24"/>
                </a:lnTo>
                <a:lnTo>
                  <a:pt x="20" y="34"/>
                </a:lnTo>
                <a:lnTo>
                  <a:pt x="18" y="44"/>
                </a:lnTo>
                <a:lnTo>
                  <a:pt x="16" y="56"/>
                </a:lnTo>
                <a:lnTo>
                  <a:pt x="16" y="56"/>
                </a:lnTo>
                <a:lnTo>
                  <a:pt x="18" y="66"/>
                </a:lnTo>
                <a:lnTo>
                  <a:pt x="20" y="76"/>
                </a:lnTo>
                <a:lnTo>
                  <a:pt x="22" y="86"/>
                </a:lnTo>
                <a:lnTo>
                  <a:pt x="26" y="94"/>
                </a:lnTo>
                <a:lnTo>
                  <a:pt x="38" y="110"/>
                </a:lnTo>
                <a:lnTo>
                  <a:pt x="52" y="124"/>
                </a:lnTo>
                <a:lnTo>
                  <a:pt x="52" y="124"/>
                </a:lnTo>
                <a:lnTo>
                  <a:pt x="34" y="120"/>
                </a:lnTo>
                <a:lnTo>
                  <a:pt x="16" y="114"/>
                </a:lnTo>
                <a:lnTo>
                  <a:pt x="16" y="114"/>
                </a:lnTo>
                <a:lnTo>
                  <a:pt x="16" y="114"/>
                </a:lnTo>
                <a:lnTo>
                  <a:pt x="16" y="114"/>
                </a:lnTo>
                <a:lnTo>
                  <a:pt x="18" y="128"/>
                </a:lnTo>
                <a:lnTo>
                  <a:pt x="22" y="142"/>
                </a:lnTo>
                <a:lnTo>
                  <a:pt x="26" y="154"/>
                </a:lnTo>
                <a:lnTo>
                  <a:pt x="34" y="166"/>
                </a:lnTo>
                <a:lnTo>
                  <a:pt x="44" y="176"/>
                </a:lnTo>
                <a:lnTo>
                  <a:pt x="56" y="183"/>
                </a:lnTo>
                <a:lnTo>
                  <a:pt x="68" y="189"/>
                </a:lnTo>
                <a:lnTo>
                  <a:pt x="82" y="193"/>
                </a:lnTo>
                <a:lnTo>
                  <a:pt x="82" y="193"/>
                </a:lnTo>
                <a:lnTo>
                  <a:pt x="70" y="195"/>
                </a:lnTo>
                <a:lnTo>
                  <a:pt x="60" y="195"/>
                </a:lnTo>
                <a:lnTo>
                  <a:pt x="60" y="195"/>
                </a:lnTo>
                <a:lnTo>
                  <a:pt x="44" y="193"/>
                </a:lnTo>
                <a:lnTo>
                  <a:pt x="44" y="193"/>
                </a:lnTo>
                <a:lnTo>
                  <a:pt x="50" y="205"/>
                </a:lnTo>
                <a:lnTo>
                  <a:pt x="56" y="215"/>
                </a:lnTo>
                <a:lnTo>
                  <a:pt x="64" y="225"/>
                </a:lnTo>
                <a:lnTo>
                  <a:pt x="72" y="233"/>
                </a:lnTo>
                <a:lnTo>
                  <a:pt x="84" y="241"/>
                </a:lnTo>
                <a:lnTo>
                  <a:pt x="93" y="245"/>
                </a:lnTo>
                <a:lnTo>
                  <a:pt x="107" y="249"/>
                </a:lnTo>
                <a:lnTo>
                  <a:pt x="119" y="249"/>
                </a:lnTo>
                <a:lnTo>
                  <a:pt x="119" y="249"/>
                </a:lnTo>
                <a:lnTo>
                  <a:pt x="97" y="265"/>
                </a:lnTo>
                <a:lnTo>
                  <a:pt x="74" y="275"/>
                </a:lnTo>
                <a:lnTo>
                  <a:pt x="48" y="283"/>
                </a:lnTo>
                <a:lnTo>
                  <a:pt x="34" y="283"/>
                </a:lnTo>
                <a:lnTo>
                  <a:pt x="20" y="285"/>
                </a:lnTo>
                <a:lnTo>
                  <a:pt x="20" y="285"/>
                </a:lnTo>
                <a:lnTo>
                  <a:pt x="0" y="283"/>
                </a:lnTo>
                <a:lnTo>
                  <a:pt x="0" y="283"/>
                </a:lnTo>
                <a:lnTo>
                  <a:pt x="28" y="299"/>
                </a:lnTo>
                <a:lnTo>
                  <a:pt x="58" y="311"/>
                </a:lnTo>
                <a:lnTo>
                  <a:pt x="89" y="317"/>
                </a:lnTo>
                <a:lnTo>
                  <a:pt x="107" y="319"/>
                </a:lnTo>
                <a:lnTo>
                  <a:pt x="123" y="319"/>
                </a:lnTo>
                <a:lnTo>
                  <a:pt x="123" y="319"/>
                </a:lnTo>
                <a:lnTo>
                  <a:pt x="151" y="319"/>
                </a:lnTo>
                <a:lnTo>
                  <a:pt x="175" y="315"/>
                </a:lnTo>
                <a:lnTo>
                  <a:pt x="199" y="307"/>
                </a:lnTo>
                <a:lnTo>
                  <a:pt x="223" y="299"/>
                </a:lnTo>
                <a:lnTo>
                  <a:pt x="243" y="287"/>
                </a:lnTo>
                <a:lnTo>
                  <a:pt x="261" y="275"/>
                </a:lnTo>
                <a:lnTo>
                  <a:pt x="279" y="261"/>
                </a:lnTo>
                <a:lnTo>
                  <a:pt x="295" y="245"/>
                </a:lnTo>
                <a:lnTo>
                  <a:pt x="307" y="227"/>
                </a:lnTo>
                <a:lnTo>
                  <a:pt x="319" y="209"/>
                </a:lnTo>
                <a:lnTo>
                  <a:pt x="329" y="191"/>
                </a:lnTo>
                <a:lnTo>
                  <a:pt x="339" y="172"/>
                </a:lnTo>
                <a:lnTo>
                  <a:pt x="345" y="152"/>
                </a:lnTo>
                <a:lnTo>
                  <a:pt x="349" y="132"/>
                </a:lnTo>
                <a:lnTo>
                  <a:pt x="353" y="110"/>
                </a:lnTo>
                <a:lnTo>
                  <a:pt x="353" y="90"/>
                </a:lnTo>
                <a:lnTo>
                  <a:pt x="353" y="90"/>
                </a:lnTo>
                <a:lnTo>
                  <a:pt x="353" y="80"/>
                </a:lnTo>
                <a:lnTo>
                  <a:pt x="353" y="80"/>
                </a:lnTo>
                <a:lnTo>
                  <a:pt x="365" y="72"/>
                </a:lnTo>
                <a:lnTo>
                  <a:pt x="375" y="62"/>
                </a:lnTo>
                <a:lnTo>
                  <a:pt x="385" y="50"/>
                </a:lnTo>
                <a:lnTo>
                  <a:pt x="393" y="38"/>
                </a:lnTo>
                <a:lnTo>
                  <a:pt x="393" y="38"/>
                </a:lnTo>
                <a:close/>
              </a:path>
            </a:pathLst>
          </a:custGeom>
          <a:solidFill>
            <a:srgbClr val="3B3939"/>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ysClr val="windowText" lastClr="000000"/>
              </a:solidFill>
              <a:effectLst/>
              <a:uLnTx/>
              <a:uFillTx/>
              <a:latin typeface="Calibri"/>
              <a:ea typeface="+mn-ea"/>
              <a:cs typeface="+mn-cs"/>
            </a:endParaRPr>
          </a:p>
        </p:txBody>
      </p:sp>
      <p:sp>
        <p:nvSpPr>
          <p:cNvPr id="98" name="Freeform 1907"/>
          <p:cNvSpPr>
            <a:spLocks noChangeAspect="1"/>
          </p:cNvSpPr>
          <p:nvPr/>
        </p:nvSpPr>
        <p:spPr bwMode="auto">
          <a:xfrm>
            <a:off x="6992227" y="5298806"/>
            <a:ext cx="86310" cy="86806"/>
          </a:xfrm>
          <a:custGeom>
            <a:avLst/>
            <a:gdLst>
              <a:gd name="T0" fmla="*/ 748 w 871"/>
              <a:gd name="T1" fmla="*/ 538 h 872"/>
              <a:gd name="T2" fmla="*/ 732 w 871"/>
              <a:gd name="T3" fmla="*/ 525 h 872"/>
              <a:gd name="T4" fmla="*/ 714 w 871"/>
              <a:gd name="T5" fmla="*/ 515 h 872"/>
              <a:gd name="T6" fmla="*/ 694 w 871"/>
              <a:gd name="T7" fmla="*/ 509 h 872"/>
              <a:gd name="T8" fmla="*/ 674 w 871"/>
              <a:gd name="T9" fmla="*/ 506 h 872"/>
              <a:gd name="T10" fmla="*/ 654 w 871"/>
              <a:gd name="T11" fmla="*/ 509 h 872"/>
              <a:gd name="T12" fmla="*/ 634 w 871"/>
              <a:gd name="T13" fmla="*/ 515 h 872"/>
              <a:gd name="T14" fmla="*/ 617 w 871"/>
              <a:gd name="T15" fmla="*/ 525 h 872"/>
              <a:gd name="T16" fmla="*/ 601 w 871"/>
              <a:gd name="T17" fmla="*/ 538 h 872"/>
              <a:gd name="T18" fmla="*/ 544 w 871"/>
              <a:gd name="T19" fmla="*/ 529 h 872"/>
              <a:gd name="T20" fmla="*/ 474 w 871"/>
              <a:gd name="T21" fmla="*/ 465 h 872"/>
              <a:gd name="T22" fmla="*/ 407 w 871"/>
              <a:gd name="T23" fmla="*/ 398 h 872"/>
              <a:gd name="T24" fmla="*/ 344 w 871"/>
              <a:gd name="T25" fmla="*/ 328 h 872"/>
              <a:gd name="T26" fmla="*/ 335 w 871"/>
              <a:gd name="T27" fmla="*/ 271 h 872"/>
              <a:gd name="T28" fmla="*/ 348 w 871"/>
              <a:gd name="T29" fmla="*/ 254 h 872"/>
              <a:gd name="T30" fmla="*/ 358 w 871"/>
              <a:gd name="T31" fmla="*/ 237 h 872"/>
              <a:gd name="T32" fmla="*/ 364 w 871"/>
              <a:gd name="T33" fmla="*/ 218 h 872"/>
              <a:gd name="T34" fmla="*/ 365 w 871"/>
              <a:gd name="T35" fmla="*/ 198 h 872"/>
              <a:gd name="T36" fmla="*/ 364 w 871"/>
              <a:gd name="T37" fmla="*/ 178 h 872"/>
              <a:gd name="T38" fmla="*/ 358 w 871"/>
              <a:gd name="T39" fmla="*/ 159 h 872"/>
              <a:gd name="T40" fmla="*/ 348 w 871"/>
              <a:gd name="T41" fmla="*/ 141 h 872"/>
              <a:gd name="T42" fmla="*/ 335 w 871"/>
              <a:gd name="T43" fmla="*/ 125 h 872"/>
              <a:gd name="T44" fmla="*/ 233 w 871"/>
              <a:gd name="T45" fmla="*/ 24 h 872"/>
              <a:gd name="T46" fmla="*/ 217 w 871"/>
              <a:gd name="T47" fmla="*/ 13 h 872"/>
              <a:gd name="T48" fmla="*/ 198 w 871"/>
              <a:gd name="T49" fmla="*/ 5 h 872"/>
              <a:gd name="T50" fmla="*/ 178 w 871"/>
              <a:gd name="T51" fmla="*/ 1 h 872"/>
              <a:gd name="T52" fmla="*/ 158 w 871"/>
              <a:gd name="T53" fmla="*/ 1 h 872"/>
              <a:gd name="T54" fmla="*/ 138 w 871"/>
              <a:gd name="T55" fmla="*/ 5 h 872"/>
              <a:gd name="T56" fmla="*/ 119 w 871"/>
              <a:gd name="T57" fmla="*/ 13 h 872"/>
              <a:gd name="T58" fmla="*/ 102 w 871"/>
              <a:gd name="T59" fmla="*/ 24 h 872"/>
              <a:gd name="T60" fmla="*/ 43 w 871"/>
              <a:gd name="T61" fmla="*/ 82 h 872"/>
              <a:gd name="T62" fmla="*/ 27 w 871"/>
              <a:gd name="T63" fmla="*/ 102 h 872"/>
              <a:gd name="T64" fmla="*/ 14 w 871"/>
              <a:gd name="T65" fmla="*/ 124 h 872"/>
              <a:gd name="T66" fmla="*/ 6 w 871"/>
              <a:gd name="T67" fmla="*/ 147 h 872"/>
              <a:gd name="T68" fmla="*/ 1 w 871"/>
              <a:gd name="T69" fmla="*/ 172 h 872"/>
              <a:gd name="T70" fmla="*/ 0 w 871"/>
              <a:gd name="T71" fmla="*/ 197 h 872"/>
              <a:gd name="T72" fmla="*/ 5 w 871"/>
              <a:gd name="T73" fmla="*/ 221 h 872"/>
              <a:gd name="T74" fmla="*/ 12 w 871"/>
              <a:gd name="T75" fmla="*/ 246 h 872"/>
              <a:gd name="T76" fmla="*/ 25 w 871"/>
              <a:gd name="T77" fmla="*/ 268 h 872"/>
              <a:gd name="T78" fmla="*/ 84 w 871"/>
              <a:gd name="T79" fmla="*/ 352 h 872"/>
              <a:gd name="T80" fmla="*/ 147 w 871"/>
              <a:gd name="T81" fmla="*/ 434 h 872"/>
              <a:gd name="T82" fmla="*/ 214 w 871"/>
              <a:gd name="T83" fmla="*/ 512 h 872"/>
              <a:gd name="T84" fmla="*/ 286 w 871"/>
              <a:gd name="T85" fmla="*/ 587 h 872"/>
              <a:gd name="T86" fmla="*/ 361 w 871"/>
              <a:gd name="T87" fmla="*/ 658 h 872"/>
              <a:gd name="T88" fmla="*/ 439 w 871"/>
              <a:gd name="T89" fmla="*/ 725 h 872"/>
              <a:gd name="T90" fmla="*/ 519 w 871"/>
              <a:gd name="T91" fmla="*/ 789 h 872"/>
              <a:gd name="T92" fmla="*/ 604 w 871"/>
              <a:gd name="T93" fmla="*/ 848 h 872"/>
              <a:gd name="T94" fmla="*/ 622 w 871"/>
              <a:gd name="T95" fmla="*/ 858 h 872"/>
              <a:gd name="T96" fmla="*/ 643 w 871"/>
              <a:gd name="T97" fmla="*/ 866 h 872"/>
              <a:gd name="T98" fmla="*/ 664 w 871"/>
              <a:gd name="T99" fmla="*/ 870 h 872"/>
              <a:gd name="T100" fmla="*/ 686 w 871"/>
              <a:gd name="T101" fmla="*/ 872 h 872"/>
              <a:gd name="T102" fmla="*/ 715 w 871"/>
              <a:gd name="T103" fmla="*/ 869 h 872"/>
              <a:gd name="T104" fmla="*/ 743 w 871"/>
              <a:gd name="T105" fmla="*/ 860 h 872"/>
              <a:gd name="T106" fmla="*/ 767 w 871"/>
              <a:gd name="T107" fmla="*/ 848 h 872"/>
              <a:gd name="T108" fmla="*/ 790 w 871"/>
              <a:gd name="T109" fmla="*/ 829 h 872"/>
              <a:gd name="T110" fmla="*/ 849 w 871"/>
              <a:gd name="T111" fmla="*/ 769 h 872"/>
              <a:gd name="T112" fmla="*/ 859 w 871"/>
              <a:gd name="T113" fmla="*/ 752 h 872"/>
              <a:gd name="T114" fmla="*/ 867 w 871"/>
              <a:gd name="T115" fmla="*/ 734 h 872"/>
              <a:gd name="T116" fmla="*/ 871 w 871"/>
              <a:gd name="T117" fmla="*/ 715 h 872"/>
              <a:gd name="T118" fmla="*/ 871 w 871"/>
              <a:gd name="T119" fmla="*/ 694 h 872"/>
              <a:gd name="T120" fmla="*/ 867 w 871"/>
              <a:gd name="T121" fmla="*/ 675 h 872"/>
              <a:gd name="T122" fmla="*/ 859 w 871"/>
              <a:gd name="T123" fmla="*/ 656 h 872"/>
              <a:gd name="T124" fmla="*/ 849 w 871"/>
              <a:gd name="T125" fmla="*/ 638 h 8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871" h="872">
                <a:moveTo>
                  <a:pt x="841" y="631"/>
                </a:moveTo>
                <a:lnTo>
                  <a:pt x="748" y="538"/>
                </a:lnTo>
                <a:lnTo>
                  <a:pt x="740" y="530"/>
                </a:lnTo>
                <a:lnTo>
                  <a:pt x="732" y="525"/>
                </a:lnTo>
                <a:lnTo>
                  <a:pt x="723" y="519"/>
                </a:lnTo>
                <a:lnTo>
                  <a:pt x="714" y="515"/>
                </a:lnTo>
                <a:lnTo>
                  <a:pt x="705" y="511"/>
                </a:lnTo>
                <a:lnTo>
                  <a:pt x="694" y="509"/>
                </a:lnTo>
                <a:lnTo>
                  <a:pt x="685" y="508"/>
                </a:lnTo>
                <a:lnTo>
                  <a:pt x="674" y="506"/>
                </a:lnTo>
                <a:lnTo>
                  <a:pt x="664" y="508"/>
                </a:lnTo>
                <a:lnTo>
                  <a:pt x="654" y="509"/>
                </a:lnTo>
                <a:lnTo>
                  <a:pt x="644" y="511"/>
                </a:lnTo>
                <a:lnTo>
                  <a:pt x="634" y="515"/>
                </a:lnTo>
                <a:lnTo>
                  <a:pt x="626" y="519"/>
                </a:lnTo>
                <a:lnTo>
                  <a:pt x="617" y="525"/>
                </a:lnTo>
                <a:lnTo>
                  <a:pt x="609" y="530"/>
                </a:lnTo>
                <a:lnTo>
                  <a:pt x="601" y="538"/>
                </a:lnTo>
                <a:lnTo>
                  <a:pt x="580" y="559"/>
                </a:lnTo>
                <a:lnTo>
                  <a:pt x="544" y="529"/>
                </a:lnTo>
                <a:lnTo>
                  <a:pt x="509" y="497"/>
                </a:lnTo>
                <a:lnTo>
                  <a:pt x="474" y="465"/>
                </a:lnTo>
                <a:lnTo>
                  <a:pt x="440" y="431"/>
                </a:lnTo>
                <a:lnTo>
                  <a:pt x="407" y="398"/>
                </a:lnTo>
                <a:lnTo>
                  <a:pt x="375" y="364"/>
                </a:lnTo>
                <a:lnTo>
                  <a:pt x="344" y="328"/>
                </a:lnTo>
                <a:lnTo>
                  <a:pt x="314" y="293"/>
                </a:lnTo>
                <a:lnTo>
                  <a:pt x="335" y="271"/>
                </a:lnTo>
                <a:lnTo>
                  <a:pt x="343" y="263"/>
                </a:lnTo>
                <a:lnTo>
                  <a:pt x="348" y="254"/>
                </a:lnTo>
                <a:lnTo>
                  <a:pt x="353" y="246"/>
                </a:lnTo>
                <a:lnTo>
                  <a:pt x="358" y="237"/>
                </a:lnTo>
                <a:lnTo>
                  <a:pt x="361" y="228"/>
                </a:lnTo>
                <a:lnTo>
                  <a:pt x="364" y="218"/>
                </a:lnTo>
                <a:lnTo>
                  <a:pt x="365" y="207"/>
                </a:lnTo>
                <a:lnTo>
                  <a:pt x="365" y="198"/>
                </a:lnTo>
                <a:lnTo>
                  <a:pt x="365" y="188"/>
                </a:lnTo>
                <a:lnTo>
                  <a:pt x="364" y="178"/>
                </a:lnTo>
                <a:lnTo>
                  <a:pt x="361" y="169"/>
                </a:lnTo>
                <a:lnTo>
                  <a:pt x="358" y="159"/>
                </a:lnTo>
                <a:lnTo>
                  <a:pt x="353" y="149"/>
                </a:lnTo>
                <a:lnTo>
                  <a:pt x="348" y="141"/>
                </a:lnTo>
                <a:lnTo>
                  <a:pt x="343" y="132"/>
                </a:lnTo>
                <a:lnTo>
                  <a:pt x="335" y="125"/>
                </a:lnTo>
                <a:lnTo>
                  <a:pt x="242" y="30"/>
                </a:lnTo>
                <a:lnTo>
                  <a:pt x="233" y="24"/>
                </a:lnTo>
                <a:lnTo>
                  <a:pt x="226" y="17"/>
                </a:lnTo>
                <a:lnTo>
                  <a:pt x="217" y="13"/>
                </a:lnTo>
                <a:lnTo>
                  <a:pt x="207" y="9"/>
                </a:lnTo>
                <a:lnTo>
                  <a:pt x="198" y="5"/>
                </a:lnTo>
                <a:lnTo>
                  <a:pt x="188" y="2"/>
                </a:lnTo>
                <a:lnTo>
                  <a:pt x="178" y="1"/>
                </a:lnTo>
                <a:lnTo>
                  <a:pt x="168" y="0"/>
                </a:lnTo>
                <a:lnTo>
                  <a:pt x="158" y="1"/>
                </a:lnTo>
                <a:lnTo>
                  <a:pt x="147" y="2"/>
                </a:lnTo>
                <a:lnTo>
                  <a:pt x="138" y="5"/>
                </a:lnTo>
                <a:lnTo>
                  <a:pt x="128" y="9"/>
                </a:lnTo>
                <a:lnTo>
                  <a:pt x="119" y="13"/>
                </a:lnTo>
                <a:lnTo>
                  <a:pt x="111" y="17"/>
                </a:lnTo>
                <a:lnTo>
                  <a:pt x="102" y="24"/>
                </a:lnTo>
                <a:lnTo>
                  <a:pt x="95" y="31"/>
                </a:lnTo>
                <a:lnTo>
                  <a:pt x="43" y="82"/>
                </a:lnTo>
                <a:lnTo>
                  <a:pt x="35" y="91"/>
                </a:lnTo>
                <a:lnTo>
                  <a:pt x="27" y="102"/>
                </a:lnTo>
                <a:lnTo>
                  <a:pt x="20" y="113"/>
                </a:lnTo>
                <a:lnTo>
                  <a:pt x="14" y="124"/>
                </a:lnTo>
                <a:lnTo>
                  <a:pt x="9" y="135"/>
                </a:lnTo>
                <a:lnTo>
                  <a:pt x="6" y="147"/>
                </a:lnTo>
                <a:lnTo>
                  <a:pt x="3" y="160"/>
                </a:lnTo>
                <a:lnTo>
                  <a:pt x="1" y="172"/>
                </a:lnTo>
                <a:lnTo>
                  <a:pt x="0" y="185"/>
                </a:lnTo>
                <a:lnTo>
                  <a:pt x="0" y="197"/>
                </a:lnTo>
                <a:lnTo>
                  <a:pt x="3" y="209"/>
                </a:lnTo>
                <a:lnTo>
                  <a:pt x="5" y="221"/>
                </a:lnTo>
                <a:lnTo>
                  <a:pt x="8" y="234"/>
                </a:lnTo>
                <a:lnTo>
                  <a:pt x="12" y="246"/>
                </a:lnTo>
                <a:lnTo>
                  <a:pt x="19" y="257"/>
                </a:lnTo>
                <a:lnTo>
                  <a:pt x="25" y="268"/>
                </a:lnTo>
                <a:lnTo>
                  <a:pt x="54" y="310"/>
                </a:lnTo>
                <a:lnTo>
                  <a:pt x="84" y="352"/>
                </a:lnTo>
                <a:lnTo>
                  <a:pt x="115" y="394"/>
                </a:lnTo>
                <a:lnTo>
                  <a:pt x="147" y="434"/>
                </a:lnTo>
                <a:lnTo>
                  <a:pt x="181" y="473"/>
                </a:lnTo>
                <a:lnTo>
                  <a:pt x="214" y="512"/>
                </a:lnTo>
                <a:lnTo>
                  <a:pt x="249" y="549"/>
                </a:lnTo>
                <a:lnTo>
                  <a:pt x="286" y="587"/>
                </a:lnTo>
                <a:lnTo>
                  <a:pt x="322" y="623"/>
                </a:lnTo>
                <a:lnTo>
                  <a:pt x="361" y="658"/>
                </a:lnTo>
                <a:lnTo>
                  <a:pt x="399" y="692"/>
                </a:lnTo>
                <a:lnTo>
                  <a:pt x="439" y="725"/>
                </a:lnTo>
                <a:lnTo>
                  <a:pt x="479" y="757"/>
                </a:lnTo>
                <a:lnTo>
                  <a:pt x="519" y="789"/>
                </a:lnTo>
                <a:lnTo>
                  <a:pt x="561" y="819"/>
                </a:lnTo>
                <a:lnTo>
                  <a:pt x="604" y="848"/>
                </a:lnTo>
                <a:lnTo>
                  <a:pt x="614" y="853"/>
                </a:lnTo>
                <a:lnTo>
                  <a:pt x="622" y="858"/>
                </a:lnTo>
                <a:lnTo>
                  <a:pt x="633" y="863"/>
                </a:lnTo>
                <a:lnTo>
                  <a:pt x="643" y="866"/>
                </a:lnTo>
                <a:lnTo>
                  <a:pt x="654" y="868"/>
                </a:lnTo>
                <a:lnTo>
                  <a:pt x="664" y="870"/>
                </a:lnTo>
                <a:lnTo>
                  <a:pt x="675" y="871"/>
                </a:lnTo>
                <a:lnTo>
                  <a:pt x="686" y="872"/>
                </a:lnTo>
                <a:lnTo>
                  <a:pt x="701" y="871"/>
                </a:lnTo>
                <a:lnTo>
                  <a:pt x="715" y="869"/>
                </a:lnTo>
                <a:lnTo>
                  <a:pt x="729" y="866"/>
                </a:lnTo>
                <a:lnTo>
                  <a:pt x="743" y="860"/>
                </a:lnTo>
                <a:lnTo>
                  <a:pt x="755" y="855"/>
                </a:lnTo>
                <a:lnTo>
                  <a:pt x="767" y="848"/>
                </a:lnTo>
                <a:lnTo>
                  <a:pt x="779" y="839"/>
                </a:lnTo>
                <a:lnTo>
                  <a:pt x="790" y="829"/>
                </a:lnTo>
                <a:lnTo>
                  <a:pt x="841" y="777"/>
                </a:lnTo>
                <a:lnTo>
                  <a:pt x="849" y="769"/>
                </a:lnTo>
                <a:lnTo>
                  <a:pt x="854" y="761"/>
                </a:lnTo>
                <a:lnTo>
                  <a:pt x="859" y="752"/>
                </a:lnTo>
                <a:lnTo>
                  <a:pt x="864" y="744"/>
                </a:lnTo>
                <a:lnTo>
                  <a:pt x="867" y="734"/>
                </a:lnTo>
                <a:lnTo>
                  <a:pt x="870" y="724"/>
                </a:lnTo>
                <a:lnTo>
                  <a:pt x="871" y="715"/>
                </a:lnTo>
                <a:lnTo>
                  <a:pt x="871" y="704"/>
                </a:lnTo>
                <a:lnTo>
                  <a:pt x="871" y="694"/>
                </a:lnTo>
                <a:lnTo>
                  <a:pt x="870" y="685"/>
                </a:lnTo>
                <a:lnTo>
                  <a:pt x="867" y="675"/>
                </a:lnTo>
                <a:lnTo>
                  <a:pt x="864" y="665"/>
                </a:lnTo>
                <a:lnTo>
                  <a:pt x="859" y="656"/>
                </a:lnTo>
                <a:lnTo>
                  <a:pt x="854" y="647"/>
                </a:lnTo>
                <a:lnTo>
                  <a:pt x="849" y="638"/>
                </a:lnTo>
                <a:lnTo>
                  <a:pt x="841" y="631"/>
                </a:lnTo>
                <a:close/>
              </a:path>
            </a:pathLst>
          </a:custGeom>
          <a:solidFill>
            <a:srgbClr val="3B3939"/>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ysClr val="windowText" lastClr="000000"/>
              </a:solidFill>
              <a:effectLst/>
              <a:uLnTx/>
              <a:uFillTx/>
              <a:latin typeface="Calibri"/>
              <a:ea typeface="+mn-ea"/>
              <a:cs typeface="+mn-cs"/>
            </a:endParaRPr>
          </a:p>
        </p:txBody>
      </p:sp>
      <p:sp>
        <p:nvSpPr>
          <p:cNvPr id="121" name="Text Placeholder 120"/>
          <p:cNvSpPr>
            <a:spLocks noGrp="1"/>
          </p:cNvSpPr>
          <p:nvPr>
            <p:ph type="body" sz="quarter" idx="14"/>
          </p:nvPr>
        </p:nvSpPr>
        <p:spPr>
          <a:xfrm>
            <a:off x="1857375" y="1014880"/>
            <a:ext cx="8380505" cy="400110"/>
          </a:xfrm>
        </p:spPr>
        <p:txBody>
          <a:bodyPr/>
          <a:lstStyle/>
          <a:p>
            <a:r>
              <a:rPr lang="en-US" dirty="0"/>
              <a:t>Lorem </a:t>
            </a:r>
            <a:r>
              <a:rPr lang="en-US" dirty="0" err="1"/>
              <a:t>Ipsum</a:t>
            </a:r>
            <a:r>
              <a:rPr lang="en-US" dirty="0"/>
              <a:t> is simply dummy text of the printing and typesetting industry. Lorem </a:t>
            </a:r>
            <a:r>
              <a:rPr lang="en-US" dirty="0" err="1"/>
              <a:t>Ipsum</a:t>
            </a:r>
            <a:r>
              <a:rPr lang="en-US" dirty="0"/>
              <a:t> has been the industry's standard dummy text ever since the 1500s, when an unknown printer took a galley of type and scrambled it to make a type specimen book. </a:t>
            </a:r>
          </a:p>
        </p:txBody>
      </p:sp>
      <p:sp>
        <p:nvSpPr>
          <p:cNvPr id="120" name="Text Placeholder 119"/>
          <p:cNvSpPr>
            <a:spLocks noGrp="1"/>
          </p:cNvSpPr>
          <p:nvPr>
            <p:ph type="body" sz="quarter" idx="13"/>
          </p:nvPr>
        </p:nvSpPr>
        <p:spPr>
          <a:xfrm>
            <a:off x="3107788" y="360971"/>
            <a:ext cx="5976424" cy="535531"/>
          </a:xfrm>
        </p:spPr>
        <p:txBody>
          <a:bodyPr/>
          <a:lstStyle/>
          <a:p>
            <a:r>
              <a:rPr lang="en-US" sz="3200" dirty="0"/>
              <a:t>PowerPoint Presentation</a:t>
            </a:r>
          </a:p>
        </p:txBody>
      </p:sp>
      <p:sp>
        <p:nvSpPr>
          <p:cNvPr id="116" name="Date Placeholder 115"/>
          <p:cNvSpPr>
            <a:spLocks noGrp="1"/>
          </p:cNvSpPr>
          <p:nvPr>
            <p:ph type="dt" sz="half" idx="10"/>
          </p:nvPr>
        </p:nvSpPr>
        <p:spPr/>
        <p:txBody>
          <a:bodyPr/>
          <a:lstStyle/>
          <a:p>
            <a:fld id="{56E1B330-CB56-448E-9C70-830A2B9C05C8}" type="datetime1">
              <a:rPr lang="en-US" smtClean="0"/>
              <a:t>10/28/2022</a:t>
            </a:fld>
            <a:endParaRPr lang="en-US"/>
          </a:p>
        </p:txBody>
      </p:sp>
      <p:sp>
        <p:nvSpPr>
          <p:cNvPr id="117" name="Slide Number Placeholder 116"/>
          <p:cNvSpPr>
            <a:spLocks noGrp="1"/>
          </p:cNvSpPr>
          <p:nvPr>
            <p:ph type="sldNum" sz="quarter" idx="12"/>
          </p:nvPr>
        </p:nvSpPr>
        <p:spPr/>
        <p:txBody>
          <a:bodyPr/>
          <a:lstStyle/>
          <a:p>
            <a:fld id="{03206E70-9524-410D-AE9B-78D656EAA14D}" type="slidenum">
              <a:rPr lang="en-US" smtClean="0"/>
              <a:pPr/>
              <a:t>6</a:t>
            </a:fld>
            <a:endParaRPr lang="en-US"/>
          </a:p>
        </p:txBody>
      </p:sp>
    </p:spTree>
    <p:extLst>
      <p:ext uri="{BB962C8B-B14F-4D97-AF65-F5344CB8AC3E}">
        <p14:creationId xmlns:p14="http://schemas.microsoft.com/office/powerpoint/2010/main" val="27581910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3" name="Rectangle 102"/>
          <p:cNvSpPr/>
          <p:nvPr/>
        </p:nvSpPr>
        <p:spPr>
          <a:xfrm>
            <a:off x="12344400" y="0"/>
            <a:ext cx="469900" cy="469900"/>
          </a:xfrm>
          <a:prstGeom prst="rect">
            <a:avLst/>
          </a:prstGeom>
          <a:solidFill>
            <a:srgbClr val="E7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4" name="Rectangle 103"/>
          <p:cNvSpPr/>
          <p:nvPr/>
        </p:nvSpPr>
        <p:spPr>
          <a:xfrm>
            <a:off x="12344400" y="649557"/>
            <a:ext cx="469900" cy="469900"/>
          </a:xfrm>
          <a:prstGeom prst="rect">
            <a:avLst/>
          </a:prstGeom>
          <a:solidFill>
            <a:srgbClr val="AFABA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5" name="Rectangle 104"/>
          <p:cNvSpPr/>
          <p:nvPr/>
        </p:nvSpPr>
        <p:spPr>
          <a:xfrm>
            <a:off x="12344400" y="1299114"/>
            <a:ext cx="469900" cy="469900"/>
          </a:xfrm>
          <a:prstGeom prst="rect">
            <a:avLst/>
          </a:prstGeom>
          <a:solidFill>
            <a:srgbClr val="76717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7" name="Rectangle 106"/>
          <p:cNvSpPr/>
          <p:nvPr/>
        </p:nvSpPr>
        <p:spPr>
          <a:xfrm>
            <a:off x="12966699" y="0"/>
            <a:ext cx="469900" cy="469900"/>
          </a:xfrm>
          <a:prstGeom prst="rect">
            <a:avLst/>
          </a:prstGeom>
          <a:solidFill>
            <a:srgbClr val="E8786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8" name="Rectangle 107"/>
          <p:cNvSpPr/>
          <p:nvPr/>
        </p:nvSpPr>
        <p:spPr>
          <a:xfrm>
            <a:off x="12966699" y="649557"/>
            <a:ext cx="469900" cy="469900"/>
          </a:xfrm>
          <a:prstGeom prst="rect">
            <a:avLst/>
          </a:prstGeom>
          <a:solidFill>
            <a:srgbClr val="E258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9" name="Rectangle 108"/>
          <p:cNvSpPr/>
          <p:nvPr/>
        </p:nvSpPr>
        <p:spPr>
          <a:xfrm>
            <a:off x="12966699" y="1299114"/>
            <a:ext cx="469900" cy="469900"/>
          </a:xfrm>
          <a:prstGeom prst="rect">
            <a:avLst/>
          </a:prstGeom>
          <a:solidFill>
            <a:srgbClr val="D63E2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0" name="Rectangle 109"/>
          <p:cNvSpPr/>
          <p:nvPr/>
        </p:nvSpPr>
        <p:spPr>
          <a:xfrm>
            <a:off x="13588998" y="0"/>
            <a:ext cx="469900" cy="469900"/>
          </a:xfrm>
          <a:prstGeom prst="rect">
            <a:avLst/>
          </a:prstGeom>
          <a:solidFill>
            <a:srgbClr val="8EDCD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1" name="Rectangle 110"/>
          <p:cNvSpPr/>
          <p:nvPr/>
        </p:nvSpPr>
        <p:spPr>
          <a:xfrm>
            <a:off x="13588998" y="649557"/>
            <a:ext cx="469900" cy="469900"/>
          </a:xfrm>
          <a:prstGeom prst="rect">
            <a:avLst/>
          </a:prstGeom>
          <a:solidFill>
            <a:srgbClr val="78D2D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2" name="Rectangle 111"/>
          <p:cNvSpPr/>
          <p:nvPr/>
        </p:nvSpPr>
        <p:spPr>
          <a:xfrm>
            <a:off x="13588998" y="1299114"/>
            <a:ext cx="469900" cy="469900"/>
          </a:xfrm>
          <a:prstGeom prst="rect">
            <a:avLst/>
          </a:prstGeom>
          <a:solidFill>
            <a:srgbClr val="4CC7C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3" name="Rectangle 112"/>
          <p:cNvSpPr/>
          <p:nvPr/>
        </p:nvSpPr>
        <p:spPr>
          <a:xfrm>
            <a:off x="14211297" y="0"/>
            <a:ext cx="469900" cy="469900"/>
          </a:xfrm>
          <a:prstGeom prst="rect">
            <a:avLst/>
          </a:prstGeom>
          <a:solidFill>
            <a:srgbClr val="55535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4" name="Rectangle 113"/>
          <p:cNvSpPr/>
          <p:nvPr/>
        </p:nvSpPr>
        <p:spPr>
          <a:xfrm>
            <a:off x="14211297" y="649557"/>
            <a:ext cx="469900" cy="469900"/>
          </a:xfrm>
          <a:prstGeom prst="rect">
            <a:avLst/>
          </a:prstGeom>
          <a:solidFill>
            <a:srgbClr val="3B393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5" name="Rectangle 114"/>
          <p:cNvSpPr/>
          <p:nvPr/>
        </p:nvSpPr>
        <p:spPr>
          <a:xfrm>
            <a:off x="14211297" y="1299114"/>
            <a:ext cx="469900" cy="469900"/>
          </a:xfrm>
          <a:prstGeom prst="rect">
            <a:avLst/>
          </a:prstGeom>
          <a:solidFill>
            <a:srgbClr val="25232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1" name="Text Placeholder 120"/>
          <p:cNvSpPr>
            <a:spLocks noGrp="1"/>
          </p:cNvSpPr>
          <p:nvPr>
            <p:ph type="body" sz="quarter" idx="14"/>
          </p:nvPr>
        </p:nvSpPr>
        <p:spPr>
          <a:xfrm>
            <a:off x="1857375" y="1014880"/>
            <a:ext cx="8380505" cy="400110"/>
          </a:xfrm>
        </p:spPr>
        <p:txBody>
          <a:bodyPr/>
          <a:lstStyle/>
          <a:p>
            <a:r>
              <a:rPr lang="en-US" dirty="0"/>
              <a:t>Lorem </a:t>
            </a:r>
            <a:r>
              <a:rPr lang="en-US" dirty="0" err="1"/>
              <a:t>Ipsum</a:t>
            </a:r>
            <a:r>
              <a:rPr lang="en-US" dirty="0"/>
              <a:t> is simply dummy text of the printing and typesetting industry. Lorem </a:t>
            </a:r>
            <a:r>
              <a:rPr lang="en-US" dirty="0" err="1"/>
              <a:t>Ipsum</a:t>
            </a:r>
            <a:r>
              <a:rPr lang="en-US" dirty="0"/>
              <a:t> has been the industry's standard dummy text ever since the 1500s, when an unknown printer took a galley of type and scrambled it to make a type specimen book. </a:t>
            </a:r>
          </a:p>
        </p:txBody>
      </p:sp>
      <p:sp>
        <p:nvSpPr>
          <p:cNvPr id="120" name="Text Placeholder 119"/>
          <p:cNvSpPr>
            <a:spLocks noGrp="1"/>
          </p:cNvSpPr>
          <p:nvPr>
            <p:ph type="body" sz="quarter" idx="13"/>
          </p:nvPr>
        </p:nvSpPr>
        <p:spPr>
          <a:xfrm>
            <a:off x="3107788" y="360971"/>
            <a:ext cx="5976424" cy="535531"/>
          </a:xfrm>
        </p:spPr>
        <p:txBody>
          <a:bodyPr/>
          <a:lstStyle/>
          <a:p>
            <a:r>
              <a:rPr lang="en-US" sz="3200" dirty="0"/>
              <a:t>PowerPoint Presentation</a:t>
            </a:r>
          </a:p>
        </p:txBody>
      </p:sp>
      <p:sp>
        <p:nvSpPr>
          <p:cNvPr id="116" name="Date Placeholder 115"/>
          <p:cNvSpPr>
            <a:spLocks noGrp="1"/>
          </p:cNvSpPr>
          <p:nvPr>
            <p:ph type="dt" sz="half" idx="10"/>
          </p:nvPr>
        </p:nvSpPr>
        <p:spPr/>
        <p:txBody>
          <a:bodyPr/>
          <a:lstStyle/>
          <a:p>
            <a:fld id="{56E1B330-CB56-448E-9C70-830A2B9C05C8}" type="datetime1">
              <a:rPr lang="en-US" smtClean="0"/>
              <a:t>10/28/2022</a:t>
            </a:fld>
            <a:endParaRPr lang="en-US"/>
          </a:p>
        </p:txBody>
      </p:sp>
      <p:sp>
        <p:nvSpPr>
          <p:cNvPr id="117" name="Slide Number Placeholder 116"/>
          <p:cNvSpPr>
            <a:spLocks noGrp="1"/>
          </p:cNvSpPr>
          <p:nvPr>
            <p:ph type="sldNum" sz="quarter" idx="12"/>
          </p:nvPr>
        </p:nvSpPr>
        <p:spPr/>
        <p:txBody>
          <a:bodyPr/>
          <a:lstStyle/>
          <a:p>
            <a:fld id="{03206E70-9524-410D-AE9B-78D656EAA14D}" type="slidenum">
              <a:rPr lang="en-US" smtClean="0"/>
              <a:pPr/>
              <a:t>7</a:t>
            </a:fld>
            <a:endParaRPr lang="en-US"/>
          </a:p>
        </p:txBody>
      </p:sp>
      <p:sp>
        <p:nvSpPr>
          <p:cNvPr id="102" name="Freeform 5"/>
          <p:cNvSpPr>
            <a:spLocks/>
          </p:cNvSpPr>
          <p:nvPr/>
        </p:nvSpPr>
        <p:spPr bwMode="auto">
          <a:xfrm>
            <a:off x="1588773" y="1978520"/>
            <a:ext cx="2600282" cy="859033"/>
          </a:xfrm>
          <a:custGeom>
            <a:avLst/>
            <a:gdLst>
              <a:gd name="T0" fmla="*/ 634 w 638"/>
              <a:gd name="T1" fmla="*/ 120 h 259"/>
              <a:gd name="T2" fmla="*/ 592 w 638"/>
              <a:gd name="T3" fmla="*/ 74 h 259"/>
              <a:gd name="T4" fmla="*/ 584 w 638"/>
              <a:gd name="T5" fmla="*/ 65 h 259"/>
              <a:gd name="T6" fmla="*/ 555 w 638"/>
              <a:gd name="T7" fmla="*/ 33 h 259"/>
              <a:gd name="T8" fmla="*/ 534 w 638"/>
              <a:gd name="T9" fmla="*/ 10 h 259"/>
              <a:gd name="T10" fmla="*/ 534 w 638"/>
              <a:gd name="T11" fmla="*/ 9 h 259"/>
              <a:gd name="T12" fmla="*/ 525 w 638"/>
              <a:gd name="T13" fmla="*/ 0 h 259"/>
              <a:gd name="T14" fmla="*/ 0 w 638"/>
              <a:gd name="T15" fmla="*/ 0 h 259"/>
              <a:gd name="T16" fmla="*/ 0 w 638"/>
              <a:gd name="T17" fmla="*/ 259 h 259"/>
              <a:gd name="T18" fmla="*/ 525 w 638"/>
              <a:gd name="T19" fmla="*/ 259 h 259"/>
              <a:gd name="T20" fmla="*/ 534 w 638"/>
              <a:gd name="T21" fmla="*/ 250 h 259"/>
              <a:gd name="T22" fmla="*/ 534 w 638"/>
              <a:gd name="T23" fmla="*/ 250 h 259"/>
              <a:gd name="T24" fmla="*/ 555 w 638"/>
              <a:gd name="T25" fmla="*/ 226 h 259"/>
              <a:gd name="T26" fmla="*/ 584 w 638"/>
              <a:gd name="T27" fmla="*/ 194 h 259"/>
              <a:gd name="T28" fmla="*/ 592 w 638"/>
              <a:gd name="T29" fmla="*/ 185 h 259"/>
              <a:gd name="T30" fmla="*/ 634 w 638"/>
              <a:gd name="T31" fmla="*/ 139 h 259"/>
              <a:gd name="T32" fmla="*/ 634 w 638"/>
              <a:gd name="T33" fmla="*/ 120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38" h="259">
                <a:moveTo>
                  <a:pt x="634" y="120"/>
                </a:moveTo>
                <a:cubicBezTo>
                  <a:pt x="592" y="74"/>
                  <a:pt x="592" y="74"/>
                  <a:pt x="592" y="74"/>
                </a:cubicBezTo>
                <a:cubicBezTo>
                  <a:pt x="590" y="72"/>
                  <a:pt x="587" y="68"/>
                  <a:pt x="584" y="65"/>
                </a:cubicBezTo>
                <a:cubicBezTo>
                  <a:pt x="555" y="33"/>
                  <a:pt x="555" y="33"/>
                  <a:pt x="555" y="33"/>
                </a:cubicBezTo>
                <a:cubicBezTo>
                  <a:pt x="534" y="10"/>
                  <a:pt x="534" y="10"/>
                  <a:pt x="534" y="10"/>
                </a:cubicBezTo>
                <a:cubicBezTo>
                  <a:pt x="534" y="9"/>
                  <a:pt x="534" y="9"/>
                  <a:pt x="534" y="9"/>
                </a:cubicBezTo>
                <a:cubicBezTo>
                  <a:pt x="525" y="0"/>
                  <a:pt x="525" y="0"/>
                  <a:pt x="525" y="0"/>
                </a:cubicBezTo>
                <a:cubicBezTo>
                  <a:pt x="0" y="0"/>
                  <a:pt x="0" y="0"/>
                  <a:pt x="0" y="0"/>
                </a:cubicBezTo>
                <a:cubicBezTo>
                  <a:pt x="0" y="259"/>
                  <a:pt x="0" y="259"/>
                  <a:pt x="0" y="259"/>
                </a:cubicBezTo>
                <a:cubicBezTo>
                  <a:pt x="525" y="259"/>
                  <a:pt x="525" y="259"/>
                  <a:pt x="525" y="259"/>
                </a:cubicBezTo>
                <a:cubicBezTo>
                  <a:pt x="534" y="250"/>
                  <a:pt x="534" y="250"/>
                  <a:pt x="534" y="250"/>
                </a:cubicBezTo>
                <a:cubicBezTo>
                  <a:pt x="534" y="250"/>
                  <a:pt x="534" y="250"/>
                  <a:pt x="534" y="250"/>
                </a:cubicBezTo>
                <a:cubicBezTo>
                  <a:pt x="555" y="226"/>
                  <a:pt x="555" y="226"/>
                  <a:pt x="555" y="226"/>
                </a:cubicBezTo>
                <a:cubicBezTo>
                  <a:pt x="584" y="194"/>
                  <a:pt x="584" y="194"/>
                  <a:pt x="584" y="194"/>
                </a:cubicBezTo>
                <a:cubicBezTo>
                  <a:pt x="587" y="191"/>
                  <a:pt x="590" y="187"/>
                  <a:pt x="592" y="185"/>
                </a:cubicBezTo>
                <a:cubicBezTo>
                  <a:pt x="634" y="139"/>
                  <a:pt x="634" y="139"/>
                  <a:pt x="634" y="139"/>
                </a:cubicBezTo>
                <a:cubicBezTo>
                  <a:pt x="638" y="134"/>
                  <a:pt x="638" y="125"/>
                  <a:pt x="634" y="120"/>
                </a:cubicBezTo>
                <a:close/>
              </a:path>
            </a:pathLst>
          </a:custGeom>
          <a:solidFill>
            <a:srgbClr val="E2583D"/>
          </a:solidFill>
          <a:ln w="15875"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06" name="Freeform 6"/>
          <p:cNvSpPr>
            <a:spLocks/>
          </p:cNvSpPr>
          <p:nvPr/>
        </p:nvSpPr>
        <p:spPr bwMode="auto">
          <a:xfrm>
            <a:off x="1588773" y="2836100"/>
            <a:ext cx="2600282" cy="854829"/>
          </a:xfrm>
          <a:custGeom>
            <a:avLst/>
            <a:gdLst>
              <a:gd name="T0" fmla="*/ 634 w 638"/>
              <a:gd name="T1" fmla="*/ 120 h 258"/>
              <a:gd name="T2" fmla="*/ 592 w 638"/>
              <a:gd name="T3" fmla="*/ 73 h 258"/>
              <a:gd name="T4" fmla="*/ 584 w 638"/>
              <a:gd name="T5" fmla="*/ 64 h 258"/>
              <a:gd name="T6" fmla="*/ 555 w 638"/>
              <a:gd name="T7" fmla="*/ 32 h 258"/>
              <a:gd name="T8" fmla="*/ 534 w 638"/>
              <a:gd name="T9" fmla="*/ 9 h 258"/>
              <a:gd name="T10" fmla="*/ 534 w 638"/>
              <a:gd name="T11" fmla="*/ 9 h 258"/>
              <a:gd name="T12" fmla="*/ 525 w 638"/>
              <a:gd name="T13" fmla="*/ 0 h 258"/>
              <a:gd name="T14" fmla="*/ 0 w 638"/>
              <a:gd name="T15" fmla="*/ 0 h 258"/>
              <a:gd name="T16" fmla="*/ 0 w 638"/>
              <a:gd name="T17" fmla="*/ 258 h 258"/>
              <a:gd name="T18" fmla="*/ 525 w 638"/>
              <a:gd name="T19" fmla="*/ 258 h 258"/>
              <a:gd name="T20" fmla="*/ 534 w 638"/>
              <a:gd name="T21" fmla="*/ 249 h 258"/>
              <a:gd name="T22" fmla="*/ 534 w 638"/>
              <a:gd name="T23" fmla="*/ 249 h 258"/>
              <a:gd name="T24" fmla="*/ 555 w 638"/>
              <a:gd name="T25" fmla="*/ 226 h 258"/>
              <a:gd name="T26" fmla="*/ 584 w 638"/>
              <a:gd name="T27" fmla="*/ 193 h 258"/>
              <a:gd name="T28" fmla="*/ 592 w 638"/>
              <a:gd name="T29" fmla="*/ 184 h 258"/>
              <a:gd name="T30" fmla="*/ 634 w 638"/>
              <a:gd name="T31" fmla="*/ 138 h 258"/>
              <a:gd name="T32" fmla="*/ 634 w 638"/>
              <a:gd name="T33" fmla="*/ 120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38" h="258">
                <a:moveTo>
                  <a:pt x="634" y="120"/>
                </a:moveTo>
                <a:cubicBezTo>
                  <a:pt x="592" y="73"/>
                  <a:pt x="592" y="73"/>
                  <a:pt x="592" y="73"/>
                </a:cubicBezTo>
                <a:cubicBezTo>
                  <a:pt x="590" y="71"/>
                  <a:pt x="587" y="68"/>
                  <a:pt x="584" y="64"/>
                </a:cubicBezTo>
                <a:cubicBezTo>
                  <a:pt x="555" y="32"/>
                  <a:pt x="555" y="32"/>
                  <a:pt x="555" y="32"/>
                </a:cubicBezTo>
                <a:cubicBezTo>
                  <a:pt x="534" y="9"/>
                  <a:pt x="534" y="9"/>
                  <a:pt x="534" y="9"/>
                </a:cubicBezTo>
                <a:cubicBezTo>
                  <a:pt x="534" y="9"/>
                  <a:pt x="534" y="9"/>
                  <a:pt x="534" y="9"/>
                </a:cubicBezTo>
                <a:cubicBezTo>
                  <a:pt x="525" y="0"/>
                  <a:pt x="525" y="0"/>
                  <a:pt x="525" y="0"/>
                </a:cubicBezTo>
                <a:cubicBezTo>
                  <a:pt x="0" y="0"/>
                  <a:pt x="0" y="0"/>
                  <a:pt x="0" y="0"/>
                </a:cubicBezTo>
                <a:cubicBezTo>
                  <a:pt x="0" y="258"/>
                  <a:pt x="0" y="258"/>
                  <a:pt x="0" y="258"/>
                </a:cubicBezTo>
                <a:cubicBezTo>
                  <a:pt x="525" y="258"/>
                  <a:pt x="525" y="258"/>
                  <a:pt x="525" y="258"/>
                </a:cubicBezTo>
                <a:cubicBezTo>
                  <a:pt x="534" y="249"/>
                  <a:pt x="534" y="249"/>
                  <a:pt x="534" y="249"/>
                </a:cubicBezTo>
                <a:cubicBezTo>
                  <a:pt x="534" y="249"/>
                  <a:pt x="534" y="249"/>
                  <a:pt x="534" y="249"/>
                </a:cubicBezTo>
                <a:cubicBezTo>
                  <a:pt x="555" y="226"/>
                  <a:pt x="555" y="226"/>
                  <a:pt x="555" y="226"/>
                </a:cubicBezTo>
                <a:cubicBezTo>
                  <a:pt x="584" y="193"/>
                  <a:pt x="584" y="193"/>
                  <a:pt x="584" y="193"/>
                </a:cubicBezTo>
                <a:cubicBezTo>
                  <a:pt x="587" y="190"/>
                  <a:pt x="590" y="187"/>
                  <a:pt x="592" y="184"/>
                </a:cubicBezTo>
                <a:cubicBezTo>
                  <a:pt x="634" y="138"/>
                  <a:pt x="634" y="138"/>
                  <a:pt x="634" y="138"/>
                </a:cubicBezTo>
                <a:cubicBezTo>
                  <a:pt x="638" y="133"/>
                  <a:pt x="638" y="125"/>
                  <a:pt x="634" y="120"/>
                </a:cubicBezTo>
                <a:close/>
              </a:path>
            </a:pathLst>
          </a:custGeom>
          <a:solidFill>
            <a:srgbClr val="AFABAB"/>
          </a:solidFill>
          <a:ln w="15875"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18" name="Freeform 7"/>
          <p:cNvSpPr>
            <a:spLocks/>
          </p:cNvSpPr>
          <p:nvPr/>
        </p:nvSpPr>
        <p:spPr bwMode="auto">
          <a:xfrm>
            <a:off x="1588773" y="3690929"/>
            <a:ext cx="2600282" cy="856230"/>
          </a:xfrm>
          <a:custGeom>
            <a:avLst/>
            <a:gdLst>
              <a:gd name="T0" fmla="*/ 634 w 638"/>
              <a:gd name="T1" fmla="*/ 120 h 258"/>
              <a:gd name="T2" fmla="*/ 592 w 638"/>
              <a:gd name="T3" fmla="*/ 74 h 258"/>
              <a:gd name="T4" fmla="*/ 584 w 638"/>
              <a:gd name="T5" fmla="*/ 65 h 258"/>
              <a:gd name="T6" fmla="*/ 555 w 638"/>
              <a:gd name="T7" fmla="*/ 32 h 258"/>
              <a:gd name="T8" fmla="*/ 534 w 638"/>
              <a:gd name="T9" fmla="*/ 9 h 258"/>
              <a:gd name="T10" fmla="*/ 534 w 638"/>
              <a:gd name="T11" fmla="*/ 9 h 258"/>
              <a:gd name="T12" fmla="*/ 525 w 638"/>
              <a:gd name="T13" fmla="*/ 0 h 258"/>
              <a:gd name="T14" fmla="*/ 0 w 638"/>
              <a:gd name="T15" fmla="*/ 0 h 258"/>
              <a:gd name="T16" fmla="*/ 0 w 638"/>
              <a:gd name="T17" fmla="*/ 258 h 258"/>
              <a:gd name="T18" fmla="*/ 525 w 638"/>
              <a:gd name="T19" fmla="*/ 258 h 258"/>
              <a:gd name="T20" fmla="*/ 534 w 638"/>
              <a:gd name="T21" fmla="*/ 249 h 258"/>
              <a:gd name="T22" fmla="*/ 534 w 638"/>
              <a:gd name="T23" fmla="*/ 249 h 258"/>
              <a:gd name="T24" fmla="*/ 555 w 638"/>
              <a:gd name="T25" fmla="*/ 226 h 258"/>
              <a:gd name="T26" fmla="*/ 584 w 638"/>
              <a:gd name="T27" fmla="*/ 194 h 258"/>
              <a:gd name="T28" fmla="*/ 592 w 638"/>
              <a:gd name="T29" fmla="*/ 185 h 258"/>
              <a:gd name="T30" fmla="*/ 634 w 638"/>
              <a:gd name="T31" fmla="*/ 138 h 258"/>
              <a:gd name="T32" fmla="*/ 634 w 638"/>
              <a:gd name="T33" fmla="*/ 120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38" h="258">
                <a:moveTo>
                  <a:pt x="634" y="120"/>
                </a:moveTo>
                <a:cubicBezTo>
                  <a:pt x="592" y="74"/>
                  <a:pt x="592" y="74"/>
                  <a:pt x="592" y="74"/>
                </a:cubicBezTo>
                <a:cubicBezTo>
                  <a:pt x="590" y="71"/>
                  <a:pt x="587" y="68"/>
                  <a:pt x="584" y="65"/>
                </a:cubicBezTo>
                <a:cubicBezTo>
                  <a:pt x="555" y="32"/>
                  <a:pt x="555" y="32"/>
                  <a:pt x="555" y="32"/>
                </a:cubicBezTo>
                <a:cubicBezTo>
                  <a:pt x="534" y="9"/>
                  <a:pt x="534" y="9"/>
                  <a:pt x="534" y="9"/>
                </a:cubicBezTo>
                <a:cubicBezTo>
                  <a:pt x="534" y="9"/>
                  <a:pt x="534" y="9"/>
                  <a:pt x="534" y="9"/>
                </a:cubicBezTo>
                <a:cubicBezTo>
                  <a:pt x="525" y="0"/>
                  <a:pt x="525" y="0"/>
                  <a:pt x="525" y="0"/>
                </a:cubicBezTo>
                <a:cubicBezTo>
                  <a:pt x="0" y="0"/>
                  <a:pt x="0" y="0"/>
                  <a:pt x="0" y="0"/>
                </a:cubicBezTo>
                <a:cubicBezTo>
                  <a:pt x="0" y="258"/>
                  <a:pt x="0" y="258"/>
                  <a:pt x="0" y="258"/>
                </a:cubicBezTo>
                <a:cubicBezTo>
                  <a:pt x="525" y="258"/>
                  <a:pt x="525" y="258"/>
                  <a:pt x="525" y="258"/>
                </a:cubicBezTo>
                <a:cubicBezTo>
                  <a:pt x="534" y="249"/>
                  <a:pt x="534" y="249"/>
                  <a:pt x="534" y="249"/>
                </a:cubicBezTo>
                <a:cubicBezTo>
                  <a:pt x="534" y="249"/>
                  <a:pt x="534" y="249"/>
                  <a:pt x="534" y="249"/>
                </a:cubicBezTo>
                <a:cubicBezTo>
                  <a:pt x="555" y="226"/>
                  <a:pt x="555" y="226"/>
                  <a:pt x="555" y="226"/>
                </a:cubicBezTo>
                <a:cubicBezTo>
                  <a:pt x="584" y="194"/>
                  <a:pt x="584" y="194"/>
                  <a:pt x="584" y="194"/>
                </a:cubicBezTo>
                <a:cubicBezTo>
                  <a:pt x="587" y="190"/>
                  <a:pt x="590" y="187"/>
                  <a:pt x="592" y="185"/>
                </a:cubicBezTo>
                <a:cubicBezTo>
                  <a:pt x="634" y="138"/>
                  <a:pt x="634" y="138"/>
                  <a:pt x="634" y="138"/>
                </a:cubicBezTo>
                <a:cubicBezTo>
                  <a:pt x="638" y="133"/>
                  <a:pt x="638" y="125"/>
                  <a:pt x="634" y="120"/>
                </a:cubicBezTo>
                <a:close/>
              </a:path>
            </a:pathLst>
          </a:custGeom>
          <a:solidFill>
            <a:srgbClr val="78D2D2"/>
          </a:solidFill>
          <a:ln w="15875"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19" name="Freeform 8"/>
          <p:cNvSpPr>
            <a:spLocks/>
          </p:cNvSpPr>
          <p:nvPr/>
        </p:nvSpPr>
        <p:spPr bwMode="auto">
          <a:xfrm>
            <a:off x="1588773" y="4547160"/>
            <a:ext cx="2600282" cy="859033"/>
          </a:xfrm>
          <a:custGeom>
            <a:avLst/>
            <a:gdLst>
              <a:gd name="T0" fmla="*/ 634 w 638"/>
              <a:gd name="T1" fmla="*/ 120 h 259"/>
              <a:gd name="T2" fmla="*/ 592 w 638"/>
              <a:gd name="T3" fmla="*/ 74 h 259"/>
              <a:gd name="T4" fmla="*/ 584 w 638"/>
              <a:gd name="T5" fmla="*/ 65 h 259"/>
              <a:gd name="T6" fmla="*/ 555 w 638"/>
              <a:gd name="T7" fmla="*/ 33 h 259"/>
              <a:gd name="T8" fmla="*/ 534 w 638"/>
              <a:gd name="T9" fmla="*/ 9 h 259"/>
              <a:gd name="T10" fmla="*/ 534 w 638"/>
              <a:gd name="T11" fmla="*/ 9 h 259"/>
              <a:gd name="T12" fmla="*/ 525 w 638"/>
              <a:gd name="T13" fmla="*/ 0 h 259"/>
              <a:gd name="T14" fmla="*/ 0 w 638"/>
              <a:gd name="T15" fmla="*/ 0 h 259"/>
              <a:gd name="T16" fmla="*/ 0 w 638"/>
              <a:gd name="T17" fmla="*/ 259 h 259"/>
              <a:gd name="T18" fmla="*/ 525 w 638"/>
              <a:gd name="T19" fmla="*/ 259 h 259"/>
              <a:gd name="T20" fmla="*/ 534 w 638"/>
              <a:gd name="T21" fmla="*/ 250 h 259"/>
              <a:gd name="T22" fmla="*/ 534 w 638"/>
              <a:gd name="T23" fmla="*/ 250 h 259"/>
              <a:gd name="T24" fmla="*/ 555 w 638"/>
              <a:gd name="T25" fmla="*/ 226 h 259"/>
              <a:gd name="T26" fmla="*/ 584 w 638"/>
              <a:gd name="T27" fmla="*/ 194 h 259"/>
              <a:gd name="T28" fmla="*/ 592 w 638"/>
              <a:gd name="T29" fmla="*/ 185 h 259"/>
              <a:gd name="T30" fmla="*/ 634 w 638"/>
              <a:gd name="T31" fmla="*/ 139 h 259"/>
              <a:gd name="T32" fmla="*/ 634 w 638"/>
              <a:gd name="T33" fmla="*/ 120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38" h="259">
                <a:moveTo>
                  <a:pt x="634" y="120"/>
                </a:moveTo>
                <a:cubicBezTo>
                  <a:pt x="592" y="74"/>
                  <a:pt x="592" y="74"/>
                  <a:pt x="592" y="74"/>
                </a:cubicBezTo>
                <a:cubicBezTo>
                  <a:pt x="590" y="72"/>
                  <a:pt x="587" y="68"/>
                  <a:pt x="584" y="65"/>
                </a:cubicBezTo>
                <a:cubicBezTo>
                  <a:pt x="555" y="33"/>
                  <a:pt x="555" y="33"/>
                  <a:pt x="555" y="33"/>
                </a:cubicBezTo>
                <a:cubicBezTo>
                  <a:pt x="534" y="9"/>
                  <a:pt x="534" y="9"/>
                  <a:pt x="534" y="9"/>
                </a:cubicBezTo>
                <a:cubicBezTo>
                  <a:pt x="534" y="9"/>
                  <a:pt x="534" y="9"/>
                  <a:pt x="534" y="9"/>
                </a:cubicBezTo>
                <a:cubicBezTo>
                  <a:pt x="525" y="0"/>
                  <a:pt x="525" y="0"/>
                  <a:pt x="525" y="0"/>
                </a:cubicBezTo>
                <a:cubicBezTo>
                  <a:pt x="0" y="0"/>
                  <a:pt x="0" y="0"/>
                  <a:pt x="0" y="0"/>
                </a:cubicBezTo>
                <a:cubicBezTo>
                  <a:pt x="0" y="259"/>
                  <a:pt x="0" y="259"/>
                  <a:pt x="0" y="259"/>
                </a:cubicBezTo>
                <a:cubicBezTo>
                  <a:pt x="525" y="259"/>
                  <a:pt x="525" y="259"/>
                  <a:pt x="525" y="259"/>
                </a:cubicBezTo>
                <a:cubicBezTo>
                  <a:pt x="534" y="250"/>
                  <a:pt x="534" y="250"/>
                  <a:pt x="534" y="250"/>
                </a:cubicBezTo>
                <a:cubicBezTo>
                  <a:pt x="534" y="250"/>
                  <a:pt x="534" y="250"/>
                  <a:pt x="534" y="250"/>
                </a:cubicBezTo>
                <a:cubicBezTo>
                  <a:pt x="555" y="226"/>
                  <a:pt x="555" y="226"/>
                  <a:pt x="555" y="226"/>
                </a:cubicBezTo>
                <a:cubicBezTo>
                  <a:pt x="584" y="194"/>
                  <a:pt x="584" y="194"/>
                  <a:pt x="584" y="194"/>
                </a:cubicBezTo>
                <a:cubicBezTo>
                  <a:pt x="587" y="191"/>
                  <a:pt x="590" y="187"/>
                  <a:pt x="592" y="185"/>
                </a:cubicBezTo>
                <a:cubicBezTo>
                  <a:pt x="634" y="139"/>
                  <a:pt x="634" y="139"/>
                  <a:pt x="634" y="139"/>
                </a:cubicBezTo>
                <a:cubicBezTo>
                  <a:pt x="638" y="134"/>
                  <a:pt x="638" y="125"/>
                  <a:pt x="634" y="120"/>
                </a:cubicBezTo>
                <a:close/>
              </a:path>
            </a:pathLst>
          </a:custGeom>
          <a:solidFill>
            <a:srgbClr val="555353"/>
          </a:solidFill>
          <a:ln w="15875"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22" name="Rectangle 9"/>
          <p:cNvSpPr>
            <a:spLocks noChangeArrowheads="1"/>
          </p:cNvSpPr>
          <p:nvPr/>
        </p:nvSpPr>
        <p:spPr bwMode="auto">
          <a:xfrm>
            <a:off x="0" y="525260"/>
            <a:ext cx="415288" cy="1584936"/>
          </a:xfrm>
          <a:prstGeom prst="rect">
            <a:avLst/>
          </a:prstGeom>
          <a:solidFill>
            <a:srgbClr val="E2583D"/>
          </a:solidFill>
          <a:ln w="15875"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23" name="Rectangle 10"/>
          <p:cNvSpPr>
            <a:spLocks noChangeArrowheads="1"/>
          </p:cNvSpPr>
          <p:nvPr/>
        </p:nvSpPr>
        <p:spPr bwMode="auto">
          <a:xfrm>
            <a:off x="0" y="2110196"/>
            <a:ext cx="415288" cy="1580732"/>
          </a:xfrm>
          <a:prstGeom prst="rect">
            <a:avLst/>
          </a:prstGeom>
          <a:solidFill>
            <a:srgbClr val="AFABAB"/>
          </a:solidFill>
          <a:ln w="15875"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24" name="Rectangle 11"/>
          <p:cNvSpPr>
            <a:spLocks noChangeArrowheads="1"/>
          </p:cNvSpPr>
          <p:nvPr/>
        </p:nvSpPr>
        <p:spPr bwMode="auto">
          <a:xfrm>
            <a:off x="0" y="3690929"/>
            <a:ext cx="415288" cy="1584936"/>
          </a:xfrm>
          <a:prstGeom prst="rect">
            <a:avLst/>
          </a:prstGeom>
          <a:solidFill>
            <a:srgbClr val="78D2D2"/>
          </a:solidFill>
          <a:ln w="15875"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25" name="Rectangle 12"/>
          <p:cNvSpPr>
            <a:spLocks noChangeArrowheads="1"/>
          </p:cNvSpPr>
          <p:nvPr/>
        </p:nvSpPr>
        <p:spPr bwMode="auto">
          <a:xfrm>
            <a:off x="0" y="5275866"/>
            <a:ext cx="415288" cy="1582134"/>
          </a:xfrm>
          <a:prstGeom prst="rect">
            <a:avLst/>
          </a:prstGeom>
          <a:solidFill>
            <a:srgbClr val="555353"/>
          </a:solidFill>
          <a:ln w="15875"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26" name="Freeform 13"/>
          <p:cNvSpPr>
            <a:spLocks/>
          </p:cNvSpPr>
          <p:nvPr/>
        </p:nvSpPr>
        <p:spPr bwMode="auto">
          <a:xfrm>
            <a:off x="415286" y="2110196"/>
            <a:ext cx="1173487" cy="1580732"/>
          </a:xfrm>
          <a:custGeom>
            <a:avLst/>
            <a:gdLst>
              <a:gd name="T0" fmla="*/ 681 w 681"/>
              <a:gd name="T1" fmla="*/ 1128 h 1128"/>
              <a:gd name="T2" fmla="*/ 0 w 681"/>
              <a:gd name="T3" fmla="*/ 1128 h 1128"/>
              <a:gd name="T4" fmla="*/ 0 w 681"/>
              <a:gd name="T5" fmla="*/ 0 h 1128"/>
              <a:gd name="T6" fmla="*/ 681 w 681"/>
              <a:gd name="T7" fmla="*/ 525 h 1128"/>
              <a:gd name="T8" fmla="*/ 681 w 681"/>
              <a:gd name="T9" fmla="*/ 1128 h 1128"/>
            </a:gdLst>
            <a:ahLst/>
            <a:cxnLst>
              <a:cxn ang="0">
                <a:pos x="T0" y="T1"/>
              </a:cxn>
              <a:cxn ang="0">
                <a:pos x="T2" y="T3"/>
              </a:cxn>
              <a:cxn ang="0">
                <a:pos x="T4" y="T5"/>
              </a:cxn>
              <a:cxn ang="0">
                <a:pos x="T6" y="T7"/>
              </a:cxn>
              <a:cxn ang="0">
                <a:pos x="T8" y="T9"/>
              </a:cxn>
            </a:cxnLst>
            <a:rect l="0" t="0" r="r" b="b"/>
            <a:pathLst>
              <a:path w="681" h="1128">
                <a:moveTo>
                  <a:pt x="681" y="1128"/>
                </a:moveTo>
                <a:lnTo>
                  <a:pt x="0" y="1128"/>
                </a:lnTo>
                <a:lnTo>
                  <a:pt x="0" y="0"/>
                </a:lnTo>
                <a:lnTo>
                  <a:pt x="681" y="525"/>
                </a:lnTo>
                <a:lnTo>
                  <a:pt x="681" y="1128"/>
                </a:lnTo>
                <a:close/>
              </a:path>
            </a:pathLst>
          </a:custGeom>
          <a:solidFill>
            <a:srgbClr val="767171"/>
          </a:solidFill>
          <a:ln w="15875"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27" name="Freeform 14"/>
          <p:cNvSpPr>
            <a:spLocks/>
          </p:cNvSpPr>
          <p:nvPr/>
        </p:nvSpPr>
        <p:spPr bwMode="auto">
          <a:xfrm>
            <a:off x="415286" y="3690929"/>
            <a:ext cx="1173487" cy="1584936"/>
          </a:xfrm>
          <a:custGeom>
            <a:avLst/>
            <a:gdLst>
              <a:gd name="T0" fmla="*/ 681 w 681"/>
              <a:gd name="T1" fmla="*/ 611 h 1131"/>
              <a:gd name="T2" fmla="*/ 0 w 681"/>
              <a:gd name="T3" fmla="*/ 1131 h 1131"/>
              <a:gd name="T4" fmla="*/ 0 w 681"/>
              <a:gd name="T5" fmla="*/ 0 h 1131"/>
              <a:gd name="T6" fmla="*/ 681 w 681"/>
              <a:gd name="T7" fmla="*/ 0 h 1131"/>
              <a:gd name="T8" fmla="*/ 681 w 681"/>
              <a:gd name="T9" fmla="*/ 611 h 1131"/>
            </a:gdLst>
            <a:ahLst/>
            <a:cxnLst>
              <a:cxn ang="0">
                <a:pos x="T0" y="T1"/>
              </a:cxn>
              <a:cxn ang="0">
                <a:pos x="T2" y="T3"/>
              </a:cxn>
              <a:cxn ang="0">
                <a:pos x="T4" y="T5"/>
              </a:cxn>
              <a:cxn ang="0">
                <a:pos x="T6" y="T7"/>
              </a:cxn>
              <a:cxn ang="0">
                <a:pos x="T8" y="T9"/>
              </a:cxn>
            </a:cxnLst>
            <a:rect l="0" t="0" r="r" b="b"/>
            <a:pathLst>
              <a:path w="681" h="1131">
                <a:moveTo>
                  <a:pt x="681" y="611"/>
                </a:moveTo>
                <a:lnTo>
                  <a:pt x="0" y="1131"/>
                </a:lnTo>
                <a:lnTo>
                  <a:pt x="0" y="0"/>
                </a:lnTo>
                <a:lnTo>
                  <a:pt x="681" y="0"/>
                </a:lnTo>
                <a:lnTo>
                  <a:pt x="681" y="611"/>
                </a:lnTo>
                <a:close/>
              </a:path>
            </a:pathLst>
          </a:custGeom>
          <a:solidFill>
            <a:srgbClr val="4CC7C4"/>
          </a:solidFill>
          <a:ln w="15875"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28" name="Freeform 15"/>
          <p:cNvSpPr>
            <a:spLocks/>
          </p:cNvSpPr>
          <p:nvPr/>
        </p:nvSpPr>
        <p:spPr bwMode="auto">
          <a:xfrm>
            <a:off x="415286" y="4547160"/>
            <a:ext cx="1173487" cy="2310840"/>
          </a:xfrm>
          <a:custGeom>
            <a:avLst/>
            <a:gdLst>
              <a:gd name="T0" fmla="*/ 681 w 681"/>
              <a:gd name="T1" fmla="*/ 613 h 1649"/>
              <a:gd name="T2" fmla="*/ 0 w 681"/>
              <a:gd name="T3" fmla="*/ 1649 h 1649"/>
              <a:gd name="T4" fmla="*/ 0 w 681"/>
              <a:gd name="T5" fmla="*/ 520 h 1649"/>
              <a:gd name="T6" fmla="*/ 681 w 681"/>
              <a:gd name="T7" fmla="*/ 0 h 1649"/>
              <a:gd name="T8" fmla="*/ 681 w 681"/>
              <a:gd name="T9" fmla="*/ 613 h 1649"/>
            </a:gdLst>
            <a:ahLst/>
            <a:cxnLst>
              <a:cxn ang="0">
                <a:pos x="T0" y="T1"/>
              </a:cxn>
              <a:cxn ang="0">
                <a:pos x="T2" y="T3"/>
              </a:cxn>
              <a:cxn ang="0">
                <a:pos x="T4" y="T5"/>
              </a:cxn>
              <a:cxn ang="0">
                <a:pos x="T6" y="T7"/>
              </a:cxn>
              <a:cxn ang="0">
                <a:pos x="T8" y="T9"/>
              </a:cxn>
            </a:cxnLst>
            <a:rect l="0" t="0" r="r" b="b"/>
            <a:pathLst>
              <a:path w="681" h="1649">
                <a:moveTo>
                  <a:pt x="681" y="613"/>
                </a:moveTo>
                <a:lnTo>
                  <a:pt x="0" y="1649"/>
                </a:lnTo>
                <a:lnTo>
                  <a:pt x="0" y="520"/>
                </a:lnTo>
                <a:lnTo>
                  <a:pt x="681" y="0"/>
                </a:lnTo>
                <a:lnTo>
                  <a:pt x="681" y="613"/>
                </a:lnTo>
                <a:close/>
              </a:path>
            </a:pathLst>
          </a:custGeom>
          <a:solidFill>
            <a:srgbClr val="252323"/>
          </a:solidFill>
          <a:ln w="15875"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29" name="Freeform 16"/>
          <p:cNvSpPr>
            <a:spLocks/>
          </p:cNvSpPr>
          <p:nvPr/>
        </p:nvSpPr>
        <p:spPr bwMode="auto">
          <a:xfrm>
            <a:off x="415286" y="525260"/>
            <a:ext cx="1173487" cy="2320650"/>
          </a:xfrm>
          <a:custGeom>
            <a:avLst/>
            <a:gdLst>
              <a:gd name="T0" fmla="*/ 681 w 681"/>
              <a:gd name="T1" fmla="*/ 1656 h 1656"/>
              <a:gd name="T2" fmla="*/ 0 w 681"/>
              <a:gd name="T3" fmla="*/ 1135 h 1656"/>
              <a:gd name="T4" fmla="*/ 0 w 681"/>
              <a:gd name="T5" fmla="*/ 0 h 1656"/>
              <a:gd name="T6" fmla="*/ 681 w 681"/>
              <a:gd name="T7" fmla="*/ 1036 h 1656"/>
              <a:gd name="T8" fmla="*/ 681 w 681"/>
              <a:gd name="T9" fmla="*/ 1656 h 1656"/>
            </a:gdLst>
            <a:ahLst/>
            <a:cxnLst>
              <a:cxn ang="0">
                <a:pos x="T0" y="T1"/>
              </a:cxn>
              <a:cxn ang="0">
                <a:pos x="T2" y="T3"/>
              </a:cxn>
              <a:cxn ang="0">
                <a:pos x="T4" y="T5"/>
              </a:cxn>
              <a:cxn ang="0">
                <a:pos x="T6" y="T7"/>
              </a:cxn>
              <a:cxn ang="0">
                <a:pos x="T8" y="T9"/>
              </a:cxn>
            </a:cxnLst>
            <a:rect l="0" t="0" r="r" b="b"/>
            <a:pathLst>
              <a:path w="681" h="1656">
                <a:moveTo>
                  <a:pt x="681" y="1656"/>
                </a:moveTo>
                <a:lnTo>
                  <a:pt x="0" y="1135"/>
                </a:lnTo>
                <a:lnTo>
                  <a:pt x="0" y="0"/>
                </a:lnTo>
                <a:lnTo>
                  <a:pt x="681" y="1036"/>
                </a:lnTo>
                <a:lnTo>
                  <a:pt x="681" y="1656"/>
                </a:lnTo>
                <a:close/>
              </a:path>
            </a:pathLst>
          </a:custGeom>
          <a:solidFill>
            <a:srgbClr val="D63E20"/>
          </a:solidFill>
          <a:ln w="15875"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30" name="Freeform 17"/>
          <p:cNvSpPr>
            <a:spLocks/>
          </p:cNvSpPr>
          <p:nvPr/>
        </p:nvSpPr>
        <p:spPr bwMode="auto">
          <a:xfrm>
            <a:off x="9302224" y="1977067"/>
            <a:ext cx="1304448" cy="859033"/>
          </a:xfrm>
          <a:custGeom>
            <a:avLst/>
            <a:gdLst>
              <a:gd name="T0" fmla="*/ 5 w 320"/>
              <a:gd name="T1" fmla="*/ 120 h 259"/>
              <a:gd name="T2" fmla="*/ 46 w 320"/>
              <a:gd name="T3" fmla="*/ 74 h 259"/>
              <a:gd name="T4" fmla="*/ 55 w 320"/>
              <a:gd name="T5" fmla="*/ 65 h 259"/>
              <a:gd name="T6" fmla="*/ 84 w 320"/>
              <a:gd name="T7" fmla="*/ 33 h 259"/>
              <a:gd name="T8" fmla="*/ 105 w 320"/>
              <a:gd name="T9" fmla="*/ 10 h 259"/>
              <a:gd name="T10" fmla="*/ 105 w 320"/>
              <a:gd name="T11" fmla="*/ 9 h 259"/>
              <a:gd name="T12" fmla="*/ 113 w 320"/>
              <a:gd name="T13" fmla="*/ 0 h 259"/>
              <a:gd name="T14" fmla="*/ 320 w 320"/>
              <a:gd name="T15" fmla="*/ 0 h 259"/>
              <a:gd name="T16" fmla="*/ 320 w 320"/>
              <a:gd name="T17" fmla="*/ 259 h 259"/>
              <a:gd name="T18" fmla="*/ 113 w 320"/>
              <a:gd name="T19" fmla="*/ 259 h 259"/>
              <a:gd name="T20" fmla="*/ 105 w 320"/>
              <a:gd name="T21" fmla="*/ 250 h 259"/>
              <a:gd name="T22" fmla="*/ 105 w 320"/>
              <a:gd name="T23" fmla="*/ 250 h 259"/>
              <a:gd name="T24" fmla="*/ 84 w 320"/>
              <a:gd name="T25" fmla="*/ 226 h 259"/>
              <a:gd name="T26" fmla="*/ 55 w 320"/>
              <a:gd name="T27" fmla="*/ 194 h 259"/>
              <a:gd name="T28" fmla="*/ 46 w 320"/>
              <a:gd name="T29" fmla="*/ 185 h 259"/>
              <a:gd name="T30" fmla="*/ 5 w 320"/>
              <a:gd name="T31" fmla="*/ 139 h 259"/>
              <a:gd name="T32" fmla="*/ 5 w 320"/>
              <a:gd name="T33" fmla="*/ 120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20" h="259">
                <a:moveTo>
                  <a:pt x="5" y="120"/>
                </a:moveTo>
                <a:cubicBezTo>
                  <a:pt x="46" y="74"/>
                  <a:pt x="46" y="74"/>
                  <a:pt x="46" y="74"/>
                </a:cubicBezTo>
                <a:cubicBezTo>
                  <a:pt x="49" y="72"/>
                  <a:pt x="52" y="68"/>
                  <a:pt x="55" y="65"/>
                </a:cubicBezTo>
                <a:cubicBezTo>
                  <a:pt x="84" y="33"/>
                  <a:pt x="84" y="33"/>
                  <a:pt x="84" y="33"/>
                </a:cubicBezTo>
                <a:cubicBezTo>
                  <a:pt x="105" y="10"/>
                  <a:pt x="105" y="10"/>
                  <a:pt x="105" y="10"/>
                </a:cubicBezTo>
                <a:cubicBezTo>
                  <a:pt x="105" y="9"/>
                  <a:pt x="105" y="9"/>
                  <a:pt x="105" y="9"/>
                </a:cubicBezTo>
                <a:cubicBezTo>
                  <a:pt x="113" y="0"/>
                  <a:pt x="113" y="0"/>
                  <a:pt x="113" y="0"/>
                </a:cubicBezTo>
                <a:cubicBezTo>
                  <a:pt x="320" y="0"/>
                  <a:pt x="320" y="0"/>
                  <a:pt x="320" y="0"/>
                </a:cubicBezTo>
                <a:cubicBezTo>
                  <a:pt x="320" y="259"/>
                  <a:pt x="320" y="259"/>
                  <a:pt x="320" y="259"/>
                </a:cubicBezTo>
                <a:cubicBezTo>
                  <a:pt x="113" y="259"/>
                  <a:pt x="113" y="259"/>
                  <a:pt x="113" y="259"/>
                </a:cubicBezTo>
                <a:cubicBezTo>
                  <a:pt x="105" y="250"/>
                  <a:pt x="105" y="250"/>
                  <a:pt x="105" y="250"/>
                </a:cubicBezTo>
                <a:cubicBezTo>
                  <a:pt x="105" y="250"/>
                  <a:pt x="105" y="250"/>
                  <a:pt x="105" y="250"/>
                </a:cubicBezTo>
                <a:cubicBezTo>
                  <a:pt x="84" y="226"/>
                  <a:pt x="84" y="226"/>
                  <a:pt x="84" y="226"/>
                </a:cubicBezTo>
                <a:cubicBezTo>
                  <a:pt x="55" y="194"/>
                  <a:pt x="55" y="194"/>
                  <a:pt x="55" y="194"/>
                </a:cubicBezTo>
                <a:cubicBezTo>
                  <a:pt x="52" y="191"/>
                  <a:pt x="49" y="187"/>
                  <a:pt x="46" y="185"/>
                </a:cubicBezTo>
                <a:cubicBezTo>
                  <a:pt x="5" y="139"/>
                  <a:pt x="5" y="139"/>
                  <a:pt x="5" y="139"/>
                </a:cubicBezTo>
                <a:cubicBezTo>
                  <a:pt x="0" y="134"/>
                  <a:pt x="0" y="125"/>
                  <a:pt x="5" y="120"/>
                </a:cubicBezTo>
                <a:close/>
              </a:path>
            </a:pathLst>
          </a:custGeom>
          <a:solidFill>
            <a:srgbClr val="E2583D"/>
          </a:solidFill>
          <a:ln w="15875"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31" name="Freeform 18"/>
          <p:cNvSpPr>
            <a:spLocks/>
          </p:cNvSpPr>
          <p:nvPr/>
        </p:nvSpPr>
        <p:spPr bwMode="auto">
          <a:xfrm>
            <a:off x="9302224" y="2836100"/>
            <a:ext cx="1304448" cy="854829"/>
          </a:xfrm>
          <a:custGeom>
            <a:avLst/>
            <a:gdLst>
              <a:gd name="T0" fmla="*/ 5 w 320"/>
              <a:gd name="T1" fmla="*/ 120 h 258"/>
              <a:gd name="T2" fmla="*/ 46 w 320"/>
              <a:gd name="T3" fmla="*/ 73 h 258"/>
              <a:gd name="T4" fmla="*/ 55 w 320"/>
              <a:gd name="T5" fmla="*/ 64 h 258"/>
              <a:gd name="T6" fmla="*/ 84 w 320"/>
              <a:gd name="T7" fmla="*/ 32 h 258"/>
              <a:gd name="T8" fmla="*/ 105 w 320"/>
              <a:gd name="T9" fmla="*/ 9 h 258"/>
              <a:gd name="T10" fmla="*/ 105 w 320"/>
              <a:gd name="T11" fmla="*/ 9 h 258"/>
              <a:gd name="T12" fmla="*/ 113 w 320"/>
              <a:gd name="T13" fmla="*/ 0 h 258"/>
              <a:gd name="T14" fmla="*/ 320 w 320"/>
              <a:gd name="T15" fmla="*/ 0 h 258"/>
              <a:gd name="T16" fmla="*/ 320 w 320"/>
              <a:gd name="T17" fmla="*/ 258 h 258"/>
              <a:gd name="T18" fmla="*/ 113 w 320"/>
              <a:gd name="T19" fmla="*/ 258 h 258"/>
              <a:gd name="T20" fmla="*/ 105 w 320"/>
              <a:gd name="T21" fmla="*/ 249 h 258"/>
              <a:gd name="T22" fmla="*/ 105 w 320"/>
              <a:gd name="T23" fmla="*/ 249 h 258"/>
              <a:gd name="T24" fmla="*/ 84 w 320"/>
              <a:gd name="T25" fmla="*/ 226 h 258"/>
              <a:gd name="T26" fmla="*/ 55 w 320"/>
              <a:gd name="T27" fmla="*/ 193 h 258"/>
              <a:gd name="T28" fmla="*/ 46 w 320"/>
              <a:gd name="T29" fmla="*/ 184 h 258"/>
              <a:gd name="T30" fmla="*/ 5 w 320"/>
              <a:gd name="T31" fmla="*/ 138 h 258"/>
              <a:gd name="T32" fmla="*/ 5 w 320"/>
              <a:gd name="T33" fmla="*/ 120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20" h="258">
                <a:moveTo>
                  <a:pt x="5" y="120"/>
                </a:moveTo>
                <a:cubicBezTo>
                  <a:pt x="46" y="73"/>
                  <a:pt x="46" y="73"/>
                  <a:pt x="46" y="73"/>
                </a:cubicBezTo>
                <a:cubicBezTo>
                  <a:pt x="49" y="71"/>
                  <a:pt x="52" y="68"/>
                  <a:pt x="55" y="64"/>
                </a:cubicBezTo>
                <a:cubicBezTo>
                  <a:pt x="84" y="32"/>
                  <a:pt x="84" y="32"/>
                  <a:pt x="84" y="32"/>
                </a:cubicBezTo>
                <a:cubicBezTo>
                  <a:pt x="105" y="9"/>
                  <a:pt x="105" y="9"/>
                  <a:pt x="105" y="9"/>
                </a:cubicBezTo>
                <a:cubicBezTo>
                  <a:pt x="105" y="9"/>
                  <a:pt x="105" y="9"/>
                  <a:pt x="105" y="9"/>
                </a:cubicBezTo>
                <a:cubicBezTo>
                  <a:pt x="113" y="0"/>
                  <a:pt x="113" y="0"/>
                  <a:pt x="113" y="0"/>
                </a:cubicBezTo>
                <a:cubicBezTo>
                  <a:pt x="320" y="0"/>
                  <a:pt x="320" y="0"/>
                  <a:pt x="320" y="0"/>
                </a:cubicBezTo>
                <a:cubicBezTo>
                  <a:pt x="320" y="258"/>
                  <a:pt x="320" y="258"/>
                  <a:pt x="320" y="258"/>
                </a:cubicBezTo>
                <a:cubicBezTo>
                  <a:pt x="113" y="258"/>
                  <a:pt x="113" y="258"/>
                  <a:pt x="113" y="258"/>
                </a:cubicBezTo>
                <a:cubicBezTo>
                  <a:pt x="105" y="249"/>
                  <a:pt x="105" y="249"/>
                  <a:pt x="105" y="249"/>
                </a:cubicBezTo>
                <a:cubicBezTo>
                  <a:pt x="105" y="249"/>
                  <a:pt x="105" y="249"/>
                  <a:pt x="105" y="249"/>
                </a:cubicBezTo>
                <a:cubicBezTo>
                  <a:pt x="84" y="226"/>
                  <a:pt x="84" y="226"/>
                  <a:pt x="84" y="226"/>
                </a:cubicBezTo>
                <a:cubicBezTo>
                  <a:pt x="55" y="193"/>
                  <a:pt x="55" y="193"/>
                  <a:pt x="55" y="193"/>
                </a:cubicBezTo>
                <a:cubicBezTo>
                  <a:pt x="52" y="190"/>
                  <a:pt x="49" y="187"/>
                  <a:pt x="46" y="184"/>
                </a:cubicBezTo>
                <a:cubicBezTo>
                  <a:pt x="5" y="138"/>
                  <a:pt x="5" y="138"/>
                  <a:pt x="5" y="138"/>
                </a:cubicBezTo>
                <a:cubicBezTo>
                  <a:pt x="0" y="133"/>
                  <a:pt x="0" y="125"/>
                  <a:pt x="5" y="120"/>
                </a:cubicBezTo>
                <a:close/>
              </a:path>
            </a:pathLst>
          </a:custGeom>
          <a:solidFill>
            <a:srgbClr val="AFABAB"/>
          </a:solidFill>
          <a:ln w="15875"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32" name="Freeform 19"/>
          <p:cNvSpPr>
            <a:spLocks/>
          </p:cNvSpPr>
          <p:nvPr/>
        </p:nvSpPr>
        <p:spPr bwMode="auto">
          <a:xfrm>
            <a:off x="9302224" y="3690929"/>
            <a:ext cx="1304448" cy="856230"/>
          </a:xfrm>
          <a:custGeom>
            <a:avLst/>
            <a:gdLst>
              <a:gd name="T0" fmla="*/ 5 w 320"/>
              <a:gd name="T1" fmla="*/ 120 h 258"/>
              <a:gd name="T2" fmla="*/ 46 w 320"/>
              <a:gd name="T3" fmla="*/ 74 h 258"/>
              <a:gd name="T4" fmla="*/ 55 w 320"/>
              <a:gd name="T5" fmla="*/ 65 h 258"/>
              <a:gd name="T6" fmla="*/ 84 w 320"/>
              <a:gd name="T7" fmla="*/ 32 h 258"/>
              <a:gd name="T8" fmla="*/ 105 w 320"/>
              <a:gd name="T9" fmla="*/ 9 h 258"/>
              <a:gd name="T10" fmla="*/ 105 w 320"/>
              <a:gd name="T11" fmla="*/ 9 h 258"/>
              <a:gd name="T12" fmla="*/ 113 w 320"/>
              <a:gd name="T13" fmla="*/ 0 h 258"/>
              <a:gd name="T14" fmla="*/ 320 w 320"/>
              <a:gd name="T15" fmla="*/ 0 h 258"/>
              <a:gd name="T16" fmla="*/ 320 w 320"/>
              <a:gd name="T17" fmla="*/ 258 h 258"/>
              <a:gd name="T18" fmla="*/ 113 w 320"/>
              <a:gd name="T19" fmla="*/ 258 h 258"/>
              <a:gd name="T20" fmla="*/ 105 w 320"/>
              <a:gd name="T21" fmla="*/ 249 h 258"/>
              <a:gd name="T22" fmla="*/ 105 w 320"/>
              <a:gd name="T23" fmla="*/ 249 h 258"/>
              <a:gd name="T24" fmla="*/ 84 w 320"/>
              <a:gd name="T25" fmla="*/ 226 h 258"/>
              <a:gd name="T26" fmla="*/ 55 w 320"/>
              <a:gd name="T27" fmla="*/ 194 h 258"/>
              <a:gd name="T28" fmla="*/ 46 w 320"/>
              <a:gd name="T29" fmla="*/ 185 h 258"/>
              <a:gd name="T30" fmla="*/ 5 w 320"/>
              <a:gd name="T31" fmla="*/ 138 h 258"/>
              <a:gd name="T32" fmla="*/ 5 w 320"/>
              <a:gd name="T33" fmla="*/ 120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20" h="258">
                <a:moveTo>
                  <a:pt x="5" y="120"/>
                </a:moveTo>
                <a:cubicBezTo>
                  <a:pt x="46" y="74"/>
                  <a:pt x="46" y="74"/>
                  <a:pt x="46" y="74"/>
                </a:cubicBezTo>
                <a:cubicBezTo>
                  <a:pt x="49" y="71"/>
                  <a:pt x="52" y="68"/>
                  <a:pt x="55" y="65"/>
                </a:cubicBezTo>
                <a:cubicBezTo>
                  <a:pt x="84" y="32"/>
                  <a:pt x="84" y="32"/>
                  <a:pt x="84" y="32"/>
                </a:cubicBezTo>
                <a:cubicBezTo>
                  <a:pt x="105" y="9"/>
                  <a:pt x="105" y="9"/>
                  <a:pt x="105" y="9"/>
                </a:cubicBezTo>
                <a:cubicBezTo>
                  <a:pt x="105" y="9"/>
                  <a:pt x="105" y="9"/>
                  <a:pt x="105" y="9"/>
                </a:cubicBezTo>
                <a:cubicBezTo>
                  <a:pt x="113" y="0"/>
                  <a:pt x="113" y="0"/>
                  <a:pt x="113" y="0"/>
                </a:cubicBezTo>
                <a:cubicBezTo>
                  <a:pt x="320" y="0"/>
                  <a:pt x="320" y="0"/>
                  <a:pt x="320" y="0"/>
                </a:cubicBezTo>
                <a:cubicBezTo>
                  <a:pt x="320" y="258"/>
                  <a:pt x="320" y="258"/>
                  <a:pt x="320" y="258"/>
                </a:cubicBezTo>
                <a:cubicBezTo>
                  <a:pt x="113" y="258"/>
                  <a:pt x="113" y="258"/>
                  <a:pt x="113" y="258"/>
                </a:cubicBezTo>
                <a:cubicBezTo>
                  <a:pt x="105" y="249"/>
                  <a:pt x="105" y="249"/>
                  <a:pt x="105" y="249"/>
                </a:cubicBezTo>
                <a:cubicBezTo>
                  <a:pt x="105" y="249"/>
                  <a:pt x="105" y="249"/>
                  <a:pt x="105" y="249"/>
                </a:cubicBezTo>
                <a:cubicBezTo>
                  <a:pt x="84" y="226"/>
                  <a:pt x="84" y="226"/>
                  <a:pt x="84" y="226"/>
                </a:cubicBezTo>
                <a:cubicBezTo>
                  <a:pt x="55" y="194"/>
                  <a:pt x="55" y="194"/>
                  <a:pt x="55" y="194"/>
                </a:cubicBezTo>
                <a:cubicBezTo>
                  <a:pt x="52" y="190"/>
                  <a:pt x="49" y="187"/>
                  <a:pt x="46" y="185"/>
                </a:cubicBezTo>
                <a:cubicBezTo>
                  <a:pt x="5" y="138"/>
                  <a:pt x="5" y="138"/>
                  <a:pt x="5" y="138"/>
                </a:cubicBezTo>
                <a:cubicBezTo>
                  <a:pt x="0" y="133"/>
                  <a:pt x="0" y="125"/>
                  <a:pt x="5" y="120"/>
                </a:cubicBezTo>
                <a:close/>
              </a:path>
            </a:pathLst>
          </a:custGeom>
          <a:solidFill>
            <a:srgbClr val="78D2D2"/>
          </a:solidFill>
          <a:ln w="15875"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33" name="Freeform 20"/>
          <p:cNvSpPr>
            <a:spLocks/>
          </p:cNvSpPr>
          <p:nvPr/>
        </p:nvSpPr>
        <p:spPr bwMode="auto">
          <a:xfrm>
            <a:off x="9302224" y="4547160"/>
            <a:ext cx="1304448" cy="859033"/>
          </a:xfrm>
          <a:custGeom>
            <a:avLst/>
            <a:gdLst>
              <a:gd name="T0" fmla="*/ 5 w 320"/>
              <a:gd name="T1" fmla="*/ 120 h 259"/>
              <a:gd name="T2" fmla="*/ 46 w 320"/>
              <a:gd name="T3" fmla="*/ 74 h 259"/>
              <a:gd name="T4" fmla="*/ 55 w 320"/>
              <a:gd name="T5" fmla="*/ 65 h 259"/>
              <a:gd name="T6" fmla="*/ 84 w 320"/>
              <a:gd name="T7" fmla="*/ 33 h 259"/>
              <a:gd name="T8" fmla="*/ 105 w 320"/>
              <a:gd name="T9" fmla="*/ 9 h 259"/>
              <a:gd name="T10" fmla="*/ 105 w 320"/>
              <a:gd name="T11" fmla="*/ 9 h 259"/>
              <a:gd name="T12" fmla="*/ 113 w 320"/>
              <a:gd name="T13" fmla="*/ 0 h 259"/>
              <a:gd name="T14" fmla="*/ 320 w 320"/>
              <a:gd name="T15" fmla="*/ 0 h 259"/>
              <a:gd name="T16" fmla="*/ 320 w 320"/>
              <a:gd name="T17" fmla="*/ 259 h 259"/>
              <a:gd name="T18" fmla="*/ 113 w 320"/>
              <a:gd name="T19" fmla="*/ 259 h 259"/>
              <a:gd name="T20" fmla="*/ 105 w 320"/>
              <a:gd name="T21" fmla="*/ 250 h 259"/>
              <a:gd name="T22" fmla="*/ 105 w 320"/>
              <a:gd name="T23" fmla="*/ 250 h 259"/>
              <a:gd name="T24" fmla="*/ 84 w 320"/>
              <a:gd name="T25" fmla="*/ 226 h 259"/>
              <a:gd name="T26" fmla="*/ 55 w 320"/>
              <a:gd name="T27" fmla="*/ 194 h 259"/>
              <a:gd name="T28" fmla="*/ 46 w 320"/>
              <a:gd name="T29" fmla="*/ 185 h 259"/>
              <a:gd name="T30" fmla="*/ 5 w 320"/>
              <a:gd name="T31" fmla="*/ 139 h 259"/>
              <a:gd name="T32" fmla="*/ 5 w 320"/>
              <a:gd name="T33" fmla="*/ 120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20" h="259">
                <a:moveTo>
                  <a:pt x="5" y="120"/>
                </a:moveTo>
                <a:cubicBezTo>
                  <a:pt x="46" y="74"/>
                  <a:pt x="46" y="74"/>
                  <a:pt x="46" y="74"/>
                </a:cubicBezTo>
                <a:cubicBezTo>
                  <a:pt x="49" y="72"/>
                  <a:pt x="52" y="68"/>
                  <a:pt x="55" y="65"/>
                </a:cubicBezTo>
                <a:cubicBezTo>
                  <a:pt x="84" y="33"/>
                  <a:pt x="84" y="33"/>
                  <a:pt x="84" y="33"/>
                </a:cubicBezTo>
                <a:cubicBezTo>
                  <a:pt x="105" y="9"/>
                  <a:pt x="105" y="9"/>
                  <a:pt x="105" y="9"/>
                </a:cubicBezTo>
                <a:cubicBezTo>
                  <a:pt x="105" y="9"/>
                  <a:pt x="105" y="9"/>
                  <a:pt x="105" y="9"/>
                </a:cubicBezTo>
                <a:cubicBezTo>
                  <a:pt x="113" y="0"/>
                  <a:pt x="113" y="0"/>
                  <a:pt x="113" y="0"/>
                </a:cubicBezTo>
                <a:cubicBezTo>
                  <a:pt x="320" y="0"/>
                  <a:pt x="320" y="0"/>
                  <a:pt x="320" y="0"/>
                </a:cubicBezTo>
                <a:cubicBezTo>
                  <a:pt x="320" y="259"/>
                  <a:pt x="320" y="259"/>
                  <a:pt x="320" y="259"/>
                </a:cubicBezTo>
                <a:cubicBezTo>
                  <a:pt x="113" y="259"/>
                  <a:pt x="113" y="259"/>
                  <a:pt x="113" y="259"/>
                </a:cubicBezTo>
                <a:cubicBezTo>
                  <a:pt x="105" y="250"/>
                  <a:pt x="105" y="250"/>
                  <a:pt x="105" y="250"/>
                </a:cubicBezTo>
                <a:cubicBezTo>
                  <a:pt x="105" y="250"/>
                  <a:pt x="105" y="250"/>
                  <a:pt x="105" y="250"/>
                </a:cubicBezTo>
                <a:cubicBezTo>
                  <a:pt x="84" y="226"/>
                  <a:pt x="84" y="226"/>
                  <a:pt x="84" y="226"/>
                </a:cubicBezTo>
                <a:cubicBezTo>
                  <a:pt x="55" y="194"/>
                  <a:pt x="55" y="194"/>
                  <a:pt x="55" y="194"/>
                </a:cubicBezTo>
                <a:cubicBezTo>
                  <a:pt x="52" y="191"/>
                  <a:pt x="49" y="187"/>
                  <a:pt x="46" y="185"/>
                </a:cubicBezTo>
                <a:cubicBezTo>
                  <a:pt x="5" y="139"/>
                  <a:pt x="5" y="139"/>
                  <a:pt x="5" y="139"/>
                </a:cubicBezTo>
                <a:cubicBezTo>
                  <a:pt x="0" y="134"/>
                  <a:pt x="0" y="125"/>
                  <a:pt x="5" y="120"/>
                </a:cubicBezTo>
                <a:close/>
              </a:path>
            </a:pathLst>
          </a:custGeom>
          <a:solidFill>
            <a:srgbClr val="555353"/>
          </a:solidFill>
          <a:ln w="15875"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34" name="Rectangle 21"/>
          <p:cNvSpPr>
            <a:spLocks noChangeArrowheads="1"/>
          </p:cNvSpPr>
          <p:nvPr/>
        </p:nvSpPr>
        <p:spPr bwMode="auto">
          <a:xfrm>
            <a:off x="11780160" y="525260"/>
            <a:ext cx="411840" cy="1584936"/>
          </a:xfrm>
          <a:prstGeom prst="rect">
            <a:avLst/>
          </a:prstGeom>
          <a:solidFill>
            <a:srgbClr val="E2583D"/>
          </a:solidFill>
          <a:ln w="15875"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35" name="Rectangle 22"/>
          <p:cNvSpPr>
            <a:spLocks noChangeArrowheads="1"/>
          </p:cNvSpPr>
          <p:nvPr/>
        </p:nvSpPr>
        <p:spPr bwMode="auto">
          <a:xfrm>
            <a:off x="11780160" y="2110196"/>
            <a:ext cx="411840" cy="1580732"/>
          </a:xfrm>
          <a:prstGeom prst="rect">
            <a:avLst/>
          </a:prstGeom>
          <a:solidFill>
            <a:srgbClr val="AFABAB"/>
          </a:solidFill>
          <a:ln w="15875"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36" name="Rectangle 23"/>
          <p:cNvSpPr>
            <a:spLocks noChangeArrowheads="1"/>
          </p:cNvSpPr>
          <p:nvPr/>
        </p:nvSpPr>
        <p:spPr bwMode="auto">
          <a:xfrm>
            <a:off x="11780160" y="3690929"/>
            <a:ext cx="411840" cy="1584936"/>
          </a:xfrm>
          <a:prstGeom prst="rect">
            <a:avLst/>
          </a:prstGeom>
          <a:solidFill>
            <a:srgbClr val="78D2D2"/>
          </a:solidFill>
          <a:ln w="15875"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37" name="Rectangle 24"/>
          <p:cNvSpPr>
            <a:spLocks noChangeArrowheads="1"/>
          </p:cNvSpPr>
          <p:nvPr/>
        </p:nvSpPr>
        <p:spPr bwMode="auto">
          <a:xfrm>
            <a:off x="11780160" y="5275866"/>
            <a:ext cx="411840" cy="1582134"/>
          </a:xfrm>
          <a:prstGeom prst="rect">
            <a:avLst/>
          </a:prstGeom>
          <a:solidFill>
            <a:srgbClr val="555353"/>
          </a:solidFill>
          <a:ln w="15875"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38" name="Freeform 25"/>
          <p:cNvSpPr>
            <a:spLocks/>
          </p:cNvSpPr>
          <p:nvPr/>
        </p:nvSpPr>
        <p:spPr bwMode="auto">
          <a:xfrm>
            <a:off x="10606673" y="2110196"/>
            <a:ext cx="1173487" cy="1580732"/>
          </a:xfrm>
          <a:custGeom>
            <a:avLst/>
            <a:gdLst>
              <a:gd name="T0" fmla="*/ 0 w 681"/>
              <a:gd name="T1" fmla="*/ 1128 h 1128"/>
              <a:gd name="T2" fmla="*/ 681 w 681"/>
              <a:gd name="T3" fmla="*/ 1128 h 1128"/>
              <a:gd name="T4" fmla="*/ 681 w 681"/>
              <a:gd name="T5" fmla="*/ 0 h 1128"/>
              <a:gd name="T6" fmla="*/ 0 w 681"/>
              <a:gd name="T7" fmla="*/ 525 h 1128"/>
              <a:gd name="T8" fmla="*/ 0 w 681"/>
              <a:gd name="T9" fmla="*/ 1128 h 1128"/>
            </a:gdLst>
            <a:ahLst/>
            <a:cxnLst>
              <a:cxn ang="0">
                <a:pos x="T0" y="T1"/>
              </a:cxn>
              <a:cxn ang="0">
                <a:pos x="T2" y="T3"/>
              </a:cxn>
              <a:cxn ang="0">
                <a:pos x="T4" y="T5"/>
              </a:cxn>
              <a:cxn ang="0">
                <a:pos x="T6" y="T7"/>
              </a:cxn>
              <a:cxn ang="0">
                <a:pos x="T8" y="T9"/>
              </a:cxn>
            </a:cxnLst>
            <a:rect l="0" t="0" r="r" b="b"/>
            <a:pathLst>
              <a:path w="681" h="1128">
                <a:moveTo>
                  <a:pt x="0" y="1128"/>
                </a:moveTo>
                <a:lnTo>
                  <a:pt x="681" y="1128"/>
                </a:lnTo>
                <a:lnTo>
                  <a:pt x="681" y="0"/>
                </a:lnTo>
                <a:lnTo>
                  <a:pt x="0" y="525"/>
                </a:lnTo>
                <a:lnTo>
                  <a:pt x="0" y="1128"/>
                </a:lnTo>
                <a:close/>
              </a:path>
            </a:pathLst>
          </a:custGeom>
          <a:solidFill>
            <a:srgbClr val="767171"/>
          </a:solidFill>
          <a:ln w="15875"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39" name="Freeform 26"/>
          <p:cNvSpPr>
            <a:spLocks/>
          </p:cNvSpPr>
          <p:nvPr/>
        </p:nvSpPr>
        <p:spPr bwMode="auto">
          <a:xfrm>
            <a:off x="10606673" y="3690929"/>
            <a:ext cx="1173487" cy="1584936"/>
          </a:xfrm>
          <a:custGeom>
            <a:avLst/>
            <a:gdLst>
              <a:gd name="T0" fmla="*/ 0 w 681"/>
              <a:gd name="T1" fmla="*/ 611 h 1131"/>
              <a:gd name="T2" fmla="*/ 681 w 681"/>
              <a:gd name="T3" fmla="*/ 1131 h 1131"/>
              <a:gd name="T4" fmla="*/ 681 w 681"/>
              <a:gd name="T5" fmla="*/ 0 h 1131"/>
              <a:gd name="T6" fmla="*/ 0 w 681"/>
              <a:gd name="T7" fmla="*/ 0 h 1131"/>
              <a:gd name="T8" fmla="*/ 0 w 681"/>
              <a:gd name="T9" fmla="*/ 611 h 1131"/>
            </a:gdLst>
            <a:ahLst/>
            <a:cxnLst>
              <a:cxn ang="0">
                <a:pos x="T0" y="T1"/>
              </a:cxn>
              <a:cxn ang="0">
                <a:pos x="T2" y="T3"/>
              </a:cxn>
              <a:cxn ang="0">
                <a:pos x="T4" y="T5"/>
              </a:cxn>
              <a:cxn ang="0">
                <a:pos x="T6" y="T7"/>
              </a:cxn>
              <a:cxn ang="0">
                <a:pos x="T8" y="T9"/>
              </a:cxn>
            </a:cxnLst>
            <a:rect l="0" t="0" r="r" b="b"/>
            <a:pathLst>
              <a:path w="681" h="1131">
                <a:moveTo>
                  <a:pt x="0" y="611"/>
                </a:moveTo>
                <a:lnTo>
                  <a:pt x="681" y="1131"/>
                </a:lnTo>
                <a:lnTo>
                  <a:pt x="681" y="0"/>
                </a:lnTo>
                <a:lnTo>
                  <a:pt x="0" y="0"/>
                </a:lnTo>
                <a:lnTo>
                  <a:pt x="0" y="611"/>
                </a:lnTo>
                <a:close/>
              </a:path>
            </a:pathLst>
          </a:custGeom>
          <a:solidFill>
            <a:srgbClr val="4CC7C4"/>
          </a:solidFill>
          <a:ln w="15875"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40" name="Freeform 27"/>
          <p:cNvSpPr>
            <a:spLocks/>
          </p:cNvSpPr>
          <p:nvPr/>
        </p:nvSpPr>
        <p:spPr bwMode="auto">
          <a:xfrm>
            <a:off x="10606673" y="4547160"/>
            <a:ext cx="1173487" cy="2310840"/>
          </a:xfrm>
          <a:custGeom>
            <a:avLst/>
            <a:gdLst>
              <a:gd name="T0" fmla="*/ 0 w 681"/>
              <a:gd name="T1" fmla="*/ 613 h 1649"/>
              <a:gd name="T2" fmla="*/ 681 w 681"/>
              <a:gd name="T3" fmla="*/ 1649 h 1649"/>
              <a:gd name="T4" fmla="*/ 681 w 681"/>
              <a:gd name="T5" fmla="*/ 520 h 1649"/>
              <a:gd name="T6" fmla="*/ 0 w 681"/>
              <a:gd name="T7" fmla="*/ 0 h 1649"/>
              <a:gd name="T8" fmla="*/ 0 w 681"/>
              <a:gd name="T9" fmla="*/ 613 h 1649"/>
            </a:gdLst>
            <a:ahLst/>
            <a:cxnLst>
              <a:cxn ang="0">
                <a:pos x="T0" y="T1"/>
              </a:cxn>
              <a:cxn ang="0">
                <a:pos x="T2" y="T3"/>
              </a:cxn>
              <a:cxn ang="0">
                <a:pos x="T4" y="T5"/>
              </a:cxn>
              <a:cxn ang="0">
                <a:pos x="T6" y="T7"/>
              </a:cxn>
              <a:cxn ang="0">
                <a:pos x="T8" y="T9"/>
              </a:cxn>
            </a:cxnLst>
            <a:rect l="0" t="0" r="r" b="b"/>
            <a:pathLst>
              <a:path w="681" h="1649">
                <a:moveTo>
                  <a:pt x="0" y="613"/>
                </a:moveTo>
                <a:lnTo>
                  <a:pt x="681" y="1649"/>
                </a:lnTo>
                <a:lnTo>
                  <a:pt x="681" y="520"/>
                </a:lnTo>
                <a:lnTo>
                  <a:pt x="0" y="0"/>
                </a:lnTo>
                <a:lnTo>
                  <a:pt x="0" y="613"/>
                </a:lnTo>
                <a:close/>
              </a:path>
            </a:pathLst>
          </a:custGeom>
          <a:solidFill>
            <a:srgbClr val="252323"/>
          </a:solidFill>
          <a:ln w="15875"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41" name="Freeform 28"/>
          <p:cNvSpPr>
            <a:spLocks/>
          </p:cNvSpPr>
          <p:nvPr/>
        </p:nvSpPr>
        <p:spPr bwMode="auto">
          <a:xfrm>
            <a:off x="10606673" y="525260"/>
            <a:ext cx="1173487" cy="2320650"/>
          </a:xfrm>
          <a:custGeom>
            <a:avLst/>
            <a:gdLst>
              <a:gd name="T0" fmla="*/ 0 w 681"/>
              <a:gd name="T1" fmla="*/ 1656 h 1656"/>
              <a:gd name="T2" fmla="*/ 681 w 681"/>
              <a:gd name="T3" fmla="*/ 1135 h 1656"/>
              <a:gd name="T4" fmla="*/ 681 w 681"/>
              <a:gd name="T5" fmla="*/ 0 h 1656"/>
              <a:gd name="T6" fmla="*/ 0 w 681"/>
              <a:gd name="T7" fmla="*/ 1036 h 1656"/>
              <a:gd name="T8" fmla="*/ 0 w 681"/>
              <a:gd name="T9" fmla="*/ 1656 h 1656"/>
            </a:gdLst>
            <a:ahLst/>
            <a:cxnLst>
              <a:cxn ang="0">
                <a:pos x="T0" y="T1"/>
              </a:cxn>
              <a:cxn ang="0">
                <a:pos x="T2" y="T3"/>
              </a:cxn>
              <a:cxn ang="0">
                <a:pos x="T4" y="T5"/>
              </a:cxn>
              <a:cxn ang="0">
                <a:pos x="T6" y="T7"/>
              </a:cxn>
              <a:cxn ang="0">
                <a:pos x="T8" y="T9"/>
              </a:cxn>
            </a:cxnLst>
            <a:rect l="0" t="0" r="r" b="b"/>
            <a:pathLst>
              <a:path w="681" h="1656">
                <a:moveTo>
                  <a:pt x="0" y="1656"/>
                </a:moveTo>
                <a:lnTo>
                  <a:pt x="681" y="1135"/>
                </a:lnTo>
                <a:lnTo>
                  <a:pt x="681" y="0"/>
                </a:lnTo>
                <a:lnTo>
                  <a:pt x="0" y="1036"/>
                </a:lnTo>
                <a:lnTo>
                  <a:pt x="0" y="1656"/>
                </a:lnTo>
                <a:close/>
              </a:path>
            </a:pathLst>
          </a:custGeom>
          <a:solidFill>
            <a:srgbClr val="D63E20"/>
          </a:solidFill>
          <a:ln w="15875"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grpSp>
        <p:nvGrpSpPr>
          <p:cNvPr id="142" name="Group 141"/>
          <p:cNvGrpSpPr>
            <a:grpSpLocks noChangeAspect="1"/>
          </p:cNvGrpSpPr>
          <p:nvPr/>
        </p:nvGrpSpPr>
        <p:grpSpPr>
          <a:xfrm>
            <a:off x="2122133" y="2942177"/>
            <a:ext cx="394491" cy="384376"/>
            <a:chOff x="1973263" y="-365125"/>
            <a:chExt cx="371475" cy="361950"/>
          </a:xfrm>
          <a:solidFill>
            <a:schemeClr val="bg1"/>
          </a:solidFill>
        </p:grpSpPr>
        <p:sp>
          <p:nvSpPr>
            <p:cNvPr id="143" name="Freeform 14"/>
            <p:cNvSpPr>
              <a:spLocks/>
            </p:cNvSpPr>
            <p:nvPr/>
          </p:nvSpPr>
          <p:spPr bwMode="auto">
            <a:xfrm>
              <a:off x="1973263" y="-365125"/>
              <a:ext cx="279400" cy="254000"/>
            </a:xfrm>
            <a:custGeom>
              <a:avLst/>
              <a:gdLst>
                <a:gd name="T0" fmla="*/ 4 w 72"/>
                <a:gd name="T1" fmla="*/ 66 h 66"/>
                <a:gd name="T2" fmla="*/ 2 w 72"/>
                <a:gd name="T3" fmla="*/ 65 h 66"/>
                <a:gd name="T4" fmla="*/ 2 w 72"/>
                <a:gd name="T5" fmla="*/ 63 h 66"/>
                <a:gd name="T6" fmla="*/ 9 w 72"/>
                <a:gd name="T7" fmla="*/ 50 h 66"/>
                <a:gd name="T8" fmla="*/ 0 w 72"/>
                <a:gd name="T9" fmla="*/ 30 h 66"/>
                <a:gd name="T10" fmla="*/ 36 w 72"/>
                <a:gd name="T11" fmla="*/ 0 h 66"/>
                <a:gd name="T12" fmla="*/ 72 w 72"/>
                <a:gd name="T13" fmla="*/ 30 h 66"/>
                <a:gd name="T14" fmla="*/ 70 w 72"/>
                <a:gd name="T15" fmla="*/ 32 h 66"/>
                <a:gd name="T16" fmla="*/ 68 w 72"/>
                <a:gd name="T17" fmla="*/ 30 h 66"/>
                <a:gd name="T18" fmla="*/ 36 w 72"/>
                <a:gd name="T19" fmla="*/ 4 h 66"/>
                <a:gd name="T20" fmla="*/ 4 w 72"/>
                <a:gd name="T21" fmla="*/ 30 h 66"/>
                <a:gd name="T22" fmla="*/ 13 w 72"/>
                <a:gd name="T23" fmla="*/ 48 h 66"/>
                <a:gd name="T24" fmla="*/ 14 w 72"/>
                <a:gd name="T25" fmla="*/ 51 h 66"/>
                <a:gd name="T26" fmla="*/ 9 w 72"/>
                <a:gd name="T27" fmla="*/ 60 h 66"/>
                <a:gd name="T28" fmla="*/ 23 w 72"/>
                <a:gd name="T29" fmla="*/ 54 h 66"/>
                <a:gd name="T30" fmla="*/ 25 w 72"/>
                <a:gd name="T31" fmla="*/ 54 h 66"/>
                <a:gd name="T32" fmla="*/ 30 w 72"/>
                <a:gd name="T33" fmla="*/ 55 h 66"/>
                <a:gd name="T34" fmla="*/ 32 w 72"/>
                <a:gd name="T35" fmla="*/ 58 h 66"/>
                <a:gd name="T36" fmla="*/ 29 w 72"/>
                <a:gd name="T37" fmla="*/ 59 h 66"/>
                <a:gd name="T38" fmla="*/ 24 w 72"/>
                <a:gd name="T39" fmla="*/ 58 h 66"/>
                <a:gd name="T40" fmla="*/ 5 w 72"/>
                <a:gd name="T41" fmla="*/ 66 h 66"/>
                <a:gd name="T42" fmla="*/ 4 w 72"/>
                <a:gd name="T43" fmla="*/ 6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72" h="66">
                  <a:moveTo>
                    <a:pt x="4" y="66"/>
                  </a:moveTo>
                  <a:cubicBezTo>
                    <a:pt x="3" y="66"/>
                    <a:pt x="3" y="66"/>
                    <a:pt x="2" y="65"/>
                  </a:cubicBezTo>
                  <a:cubicBezTo>
                    <a:pt x="2" y="65"/>
                    <a:pt x="2" y="64"/>
                    <a:pt x="2" y="63"/>
                  </a:cubicBezTo>
                  <a:cubicBezTo>
                    <a:pt x="9" y="50"/>
                    <a:pt x="9" y="50"/>
                    <a:pt x="9" y="50"/>
                  </a:cubicBezTo>
                  <a:cubicBezTo>
                    <a:pt x="3" y="45"/>
                    <a:pt x="0" y="38"/>
                    <a:pt x="0" y="30"/>
                  </a:cubicBezTo>
                  <a:cubicBezTo>
                    <a:pt x="0" y="13"/>
                    <a:pt x="16" y="0"/>
                    <a:pt x="36" y="0"/>
                  </a:cubicBezTo>
                  <a:cubicBezTo>
                    <a:pt x="56" y="0"/>
                    <a:pt x="72" y="13"/>
                    <a:pt x="72" y="30"/>
                  </a:cubicBezTo>
                  <a:cubicBezTo>
                    <a:pt x="72" y="31"/>
                    <a:pt x="71" y="32"/>
                    <a:pt x="70" y="32"/>
                  </a:cubicBezTo>
                  <a:cubicBezTo>
                    <a:pt x="69" y="32"/>
                    <a:pt x="68" y="31"/>
                    <a:pt x="68" y="30"/>
                  </a:cubicBezTo>
                  <a:cubicBezTo>
                    <a:pt x="68" y="16"/>
                    <a:pt x="54" y="4"/>
                    <a:pt x="36" y="4"/>
                  </a:cubicBezTo>
                  <a:cubicBezTo>
                    <a:pt x="18" y="4"/>
                    <a:pt x="4" y="16"/>
                    <a:pt x="4" y="30"/>
                  </a:cubicBezTo>
                  <a:cubicBezTo>
                    <a:pt x="4" y="37"/>
                    <a:pt x="7" y="44"/>
                    <a:pt x="13" y="48"/>
                  </a:cubicBezTo>
                  <a:cubicBezTo>
                    <a:pt x="14" y="49"/>
                    <a:pt x="14" y="50"/>
                    <a:pt x="14" y="51"/>
                  </a:cubicBezTo>
                  <a:cubicBezTo>
                    <a:pt x="9" y="60"/>
                    <a:pt x="9" y="60"/>
                    <a:pt x="9" y="60"/>
                  </a:cubicBezTo>
                  <a:cubicBezTo>
                    <a:pt x="23" y="54"/>
                    <a:pt x="23" y="54"/>
                    <a:pt x="23" y="54"/>
                  </a:cubicBezTo>
                  <a:cubicBezTo>
                    <a:pt x="24" y="54"/>
                    <a:pt x="24" y="54"/>
                    <a:pt x="25" y="54"/>
                  </a:cubicBezTo>
                  <a:cubicBezTo>
                    <a:pt x="26" y="55"/>
                    <a:pt x="28" y="55"/>
                    <a:pt x="30" y="55"/>
                  </a:cubicBezTo>
                  <a:cubicBezTo>
                    <a:pt x="31" y="55"/>
                    <a:pt x="32" y="56"/>
                    <a:pt x="32" y="58"/>
                  </a:cubicBezTo>
                  <a:cubicBezTo>
                    <a:pt x="32" y="59"/>
                    <a:pt x="31" y="59"/>
                    <a:pt x="29" y="59"/>
                  </a:cubicBezTo>
                  <a:cubicBezTo>
                    <a:pt x="28" y="59"/>
                    <a:pt x="26" y="59"/>
                    <a:pt x="24" y="58"/>
                  </a:cubicBezTo>
                  <a:cubicBezTo>
                    <a:pt x="5" y="66"/>
                    <a:pt x="5" y="66"/>
                    <a:pt x="5" y="66"/>
                  </a:cubicBezTo>
                  <a:cubicBezTo>
                    <a:pt x="5" y="66"/>
                    <a:pt x="4" y="66"/>
                    <a:pt x="4" y="6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44" name="Freeform 15"/>
            <p:cNvSpPr>
              <a:spLocks noEditPoints="1"/>
            </p:cNvSpPr>
            <p:nvPr/>
          </p:nvSpPr>
          <p:spPr bwMode="auto">
            <a:xfrm>
              <a:off x="2112963" y="-219075"/>
              <a:ext cx="231775" cy="215900"/>
            </a:xfrm>
            <a:custGeom>
              <a:avLst/>
              <a:gdLst>
                <a:gd name="T0" fmla="*/ 56 w 60"/>
                <a:gd name="T1" fmla="*/ 56 h 56"/>
                <a:gd name="T2" fmla="*/ 55 w 60"/>
                <a:gd name="T3" fmla="*/ 56 h 56"/>
                <a:gd name="T4" fmla="*/ 40 w 60"/>
                <a:gd name="T5" fmla="*/ 50 h 56"/>
                <a:gd name="T6" fmla="*/ 29 w 60"/>
                <a:gd name="T7" fmla="*/ 52 h 56"/>
                <a:gd name="T8" fmla="*/ 29 w 60"/>
                <a:gd name="T9" fmla="*/ 52 h 56"/>
                <a:gd name="T10" fmla="*/ 0 w 60"/>
                <a:gd name="T11" fmla="*/ 26 h 56"/>
                <a:gd name="T12" fmla="*/ 30 w 60"/>
                <a:gd name="T13" fmla="*/ 0 h 56"/>
                <a:gd name="T14" fmla="*/ 60 w 60"/>
                <a:gd name="T15" fmla="*/ 26 h 56"/>
                <a:gd name="T16" fmla="*/ 52 w 60"/>
                <a:gd name="T17" fmla="*/ 43 h 56"/>
                <a:gd name="T18" fmla="*/ 58 w 60"/>
                <a:gd name="T19" fmla="*/ 53 h 56"/>
                <a:gd name="T20" fmla="*/ 58 w 60"/>
                <a:gd name="T21" fmla="*/ 54 h 56"/>
                <a:gd name="T22" fmla="*/ 56 w 60"/>
                <a:gd name="T23" fmla="*/ 56 h 56"/>
                <a:gd name="T24" fmla="*/ 56 w 60"/>
                <a:gd name="T25" fmla="*/ 56 h 56"/>
                <a:gd name="T26" fmla="*/ 40 w 60"/>
                <a:gd name="T27" fmla="*/ 46 h 56"/>
                <a:gd name="T28" fmla="*/ 41 w 60"/>
                <a:gd name="T29" fmla="*/ 46 h 56"/>
                <a:gd name="T30" fmla="*/ 52 w 60"/>
                <a:gd name="T31" fmla="*/ 50 h 56"/>
                <a:gd name="T32" fmla="*/ 48 w 60"/>
                <a:gd name="T33" fmla="*/ 43 h 56"/>
                <a:gd name="T34" fmla="*/ 49 w 60"/>
                <a:gd name="T35" fmla="*/ 40 h 56"/>
                <a:gd name="T36" fmla="*/ 56 w 60"/>
                <a:gd name="T37" fmla="*/ 26 h 56"/>
                <a:gd name="T38" fmla="*/ 30 w 60"/>
                <a:gd name="T39" fmla="*/ 4 h 56"/>
                <a:gd name="T40" fmla="*/ 4 w 60"/>
                <a:gd name="T41" fmla="*/ 26 h 56"/>
                <a:gd name="T42" fmla="*/ 29 w 60"/>
                <a:gd name="T43" fmla="*/ 48 h 56"/>
                <a:gd name="T44" fmla="*/ 29 w 60"/>
                <a:gd name="T45" fmla="*/ 48 h 56"/>
                <a:gd name="T46" fmla="*/ 39 w 60"/>
                <a:gd name="T47" fmla="*/ 46 h 56"/>
                <a:gd name="T48" fmla="*/ 40 w 60"/>
                <a:gd name="T49" fmla="*/ 4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0" h="56">
                  <a:moveTo>
                    <a:pt x="56" y="56"/>
                  </a:moveTo>
                  <a:cubicBezTo>
                    <a:pt x="56" y="56"/>
                    <a:pt x="56" y="56"/>
                    <a:pt x="55" y="56"/>
                  </a:cubicBezTo>
                  <a:cubicBezTo>
                    <a:pt x="40" y="50"/>
                    <a:pt x="40" y="50"/>
                    <a:pt x="40" y="50"/>
                  </a:cubicBezTo>
                  <a:cubicBezTo>
                    <a:pt x="36" y="52"/>
                    <a:pt x="33" y="52"/>
                    <a:pt x="29" y="52"/>
                  </a:cubicBezTo>
                  <a:cubicBezTo>
                    <a:pt x="29" y="52"/>
                    <a:pt x="29" y="52"/>
                    <a:pt x="29" y="52"/>
                  </a:cubicBezTo>
                  <a:cubicBezTo>
                    <a:pt x="13" y="52"/>
                    <a:pt x="0" y="40"/>
                    <a:pt x="0" y="26"/>
                  </a:cubicBezTo>
                  <a:cubicBezTo>
                    <a:pt x="0" y="12"/>
                    <a:pt x="14" y="0"/>
                    <a:pt x="30" y="0"/>
                  </a:cubicBezTo>
                  <a:cubicBezTo>
                    <a:pt x="46" y="0"/>
                    <a:pt x="60" y="12"/>
                    <a:pt x="60" y="26"/>
                  </a:cubicBezTo>
                  <a:cubicBezTo>
                    <a:pt x="60" y="32"/>
                    <a:pt x="57" y="38"/>
                    <a:pt x="52" y="43"/>
                  </a:cubicBezTo>
                  <a:cubicBezTo>
                    <a:pt x="58" y="53"/>
                    <a:pt x="58" y="53"/>
                    <a:pt x="58" y="53"/>
                  </a:cubicBezTo>
                  <a:cubicBezTo>
                    <a:pt x="58" y="53"/>
                    <a:pt x="58" y="53"/>
                    <a:pt x="58" y="54"/>
                  </a:cubicBezTo>
                  <a:cubicBezTo>
                    <a:pt x="58" y="55"/>
                    <a:pt x="57" y="56"/>
                    <a:pt x="56" y="56"/>
                  </a:cubicBezTo>
                  <a:cubicBezTo>
                    <a:pt x="56" y="56"/>
                    <a:pt x="56" y="56"/>
                    <a:pt x="56" y="56"/>
                  </a:cubicBezTo>
                  <a:close/>
                  <a:moveTo>
                    <a:pt x="40" y="46"/>
                  </a:moveTo>
                  <a:cubicBezTo>
                    <a:pt x="40" y="46"/>
                    <a:pt x="40" y="46"/>
                    <a:pt x="41" y="46"/>
                  </a:cubicBezTo>
                  <a:cubicBezTo>
                    <a:pt x="52" y="50"/>
                    <a:pt x="52" y="50"/>
                    <a:pt x="52" y="50"/>
                  </a:cubicBezTo>
                  <a:cubicBezTo>
                    <a:pt x="48" y="43"/>
                    <a:pt x="48" y="43"/>
                    <a:pt x="48" y="43"/>
                  </a:cubicBezTo>
                  <a:cubicBezTo>
                    <a:pt x="48" y="42"/>
                    <a:pt x="48" y="41"/>
                    <a:pt x="49" y="40"/>
                  </a:cubicBezTo>
                  <a:cubicBezTo>
                    <a:pt x="54" y="37"/>
                    <a:pt x="56" y="32"/>
                    <a:pt x="56" y="26"/>
                  </a:cubicBezTo>
                  <a:cubicBezTo>
                    <a:pt x="56" y="14"/>
                    <a:pt x="44" y="4"/>
                    <a:pt x="30" y="4"/>
                  </a:cubicBezTo>
                  <a:cubicBezTo>
                    <a:pt x="16" y="4"/>
                    <a:pt x="4" y="14"/>
                    <a:pt x="4" y="26"/>
                  </a:cubicBezTo>
                  <a:cubicBezTo>
                    <a:pt x="4" y="38"/>
                    <a:pt x="15" y="48"/>
                    <a:pt x="29" y="48"/>
                  </a:cubicBezTo>
                  <a:cubicBezTo>
                    <a:pt x="29" y="48"/>
                    <a:pt x="29" y="48"/>
                    <a:pt x="29" y="48"/>
                  </a:cubicBezTo>
                  <a:cubicBezTo>
                    <a:pt x="32" y="48"/>
                    <a:pt x="36" y="48"/>
                    <a:pt x="39" y="46"/>
                  </a:cubicBezTo>
                  <a:cubicBezTo>
                    <a:pt x="39" y="46"/>
                    <a:pt x="40" y="46"/>
                    <a:pt x="40" y="4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grpSp>
      <p:grpSp>
        <p:nvGrpSpPr>
          <p:cNvPr id="145" name="Group 144"/>
          <p:cNvGrpSpPr>
            <a:grpSpLocks noChangeAspect="1"/>
          </p:cNvGrpSpPr>
          <p:nvPr/>
        </p:nvGrpSpPr>
        <p:grpSpPr>
          <a:xfrm>
            <a:off x="2127190" y="3797706"/>
            <a:ext cx="384376" cy="384376"/>
            <a:chOff x="-1100138" y="4281488"/>
            <a:chExt cx="371475" cy="371475"/>
          </a:xfrm>
          <a:solidFill>
            <a:schemeClr val="bg1"/>
          </a:solidFill>
        </p:grpSpPr>
        <p:sp>
          <p:nvSpPr>
            <p:cNvPr id="146" name="Freeform 19"/>
            <p:cNvSpPr>
              <a:spLocks/>
            </p:cNvSpPr>
            <p:nvPr/>
          </p:nvSpPr>
          <p:spPr bwMode="auto">
            <a:xfrm>
              <a:off x="-1100138" y="4313238"/>
              <a:ext cx="371475" cy="339725"/>
            </a:xfrm>
            <a:custGeom>
              <a:avLst/>
              <a:gdLst>
                <a:gd name="T0" fmla="*/ 94 w 96"/>
                <a:gd name="T1" fmla="*/ 88 h 88"/>
                <a:gd name="T2" fmla="*/ 2 w 96"/>
                <a:gd name="T3" fmla="*/ 88 h 88"/>
                <a:gd name="T4" fmla="*/ 0 w 96"/>
                <a:gd name="T5" fmla="*/ 86 h 88"/>
                <a:gd name="T6" fmla="*/ 0 w 96"/>
                <a:gd name="T7" fmla="*/ 2 h 88"/>
                <a:gd name="T8" fmla="*/ 2 w 96"/>
                <a:gd name="T9" fmla="*/ 0 h 88"/>
                <a:gd name="T10" fmla="*/ 18 w 96"/>
                <a:gd name="T11" fmla="*/ 0 h 88"/>
                <a:gd name="T12" fmla="*/ 20 w 96"/>
                <a:gd name="T13" fmla="*/ 2 h 88"/>
                <a:gd name="T14" fmla="*/ 18 w 96"/>
                <a:gd name="T15" fmla="*/ 4 h 88"/>
                <a:gd name="T16" fmla="*/ 4 w 96"/>
                <a:gd name="T17" fmla="*/ 4 h 88"/>
                <a:gd name="T18" fmla="*/ 4 w 96"/>
                <a:gd name="T19" fmla="*/ 84 h 88"/>
                <a:gd name="T20" fmla="*/ 92 w 96"/>
                <a:gd name="T21" fmla="*/ 84 h 88"/>
                <a:gd name="T22" fmla="*/ 92 w 96"/>
                <a:gd name="T23" fmla="*/ 4 h 88"/>
                <a:gd name="T24" fmla="*/ 78 w 96"/>
                <a:gd name="T25" fmla="*/ 4 h 88"/>
                <a:gd name="T26" fmla="*/ 76 w 96"/>
                <a:gd name="T27" fmla="*/ 2 h 88"/>
                <a:gd name="T28" fmla="*/ 78 w 96"/>
                <a:gd name="T29" fmla="*/ 0 h 88"/>
                <a:gd name="T30" fmla="*/ 94 w 96"/>
                <a:gd name="T31" fmla="*/ 0 h 88"/>
                <a:gd name="T32" fmla="*/ 96 w 96"/>
                <a:gd name="T33" fmla="*/ 2 h 88"/>
                <a:gd name="T34" fmla="*/ 96 w 96"/>
                <a:gd name="T35" fmla="*/ 86 h 88"/>
                <a:gd name="T36" fmla="*/ 94 w 96"/>
                <a:gd name="T37" fmla="*/ 8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96" h="88">
                  <a:moveTo>
                    <a:pt x="94" y="88"/>
                  </a:moveTo>
                  <a:cubicBezTo>
                    <a:pt x="2" y="88"/>
                    <a:pt x="2" y="88"/>
                    <a:pt x="2" y="88"/>
                  </a:cubicBezTo>
                  <a:cubicBezTo>
                    <a:pt x="1" y="88"/>
                    <a:pt x="0" y="87"/>
                    <a:pt x="0" y="86"/>
                  </a:cubicBezTo>
                  <a:cubicBezTo>
                    <a:pt x="0" y="2"/>
                    <a:pt x="0" y="2"/>
                    <a:pt x="0" y="2"/>
                  </a:cubicBezTo>
                  <a:cubicBezTo>
                    <a:pt x="0" y="1"/>
                    <a:pt x="1" y="0"/>
                    <a:pt x="2" y="0"/>
                  </a:cubicBezTo>
                  <a:cubicBezTo>
                    <a:pt x="18" y="0"/>
                    <a:pt x="18" y="0"/>
                    <a:pt x="18" y="0"/>
                  </a:cubicBezTo>
                  <a:cubicBezTo>
                    <a:pt x="19" y="0"/>
                    <a:pt x="20" y="1"/>
                    <a:pt x="20" y="2"/>
                  </a:cubicBezTo>
                  <a:cubicBezTo>
                    <a:pt x="20" y="3"/>
                    <a:pt x="19" y="4"/>
                    <a:pt x="18" y="4"/>
                  </a:cubicBezTo>
                  <a:cubicBezTo>
                    <a:pt x="4" y="4"/>
                    <a:pt x="4" y="4"/>
                    <a:pt x="4" y="4"/>
                  </a:cubicBezTo>
                  <a:cubicBezTo>
                    <a:pt x="4" y="84"/>
                    <a:pt x="4" y="84"/>
                    <a:pt x="4" y="84"/>
                  </a:cubicBezTo>
                  <a:cubicBezTo>
                    <a:pt x="92" y="84"/>
                    <a:pt x="92" y="84"/>
                    <a:pt x="92" y="84"/>
                  </a:cubicBezTo>
                  <a:cubicBezTo>
                    <a:pt x="92" y="4"/>
                    <a:pt x="92" y="4"/>
                    <a:pt x="92" y="4"/>
                  </a:cubicBezTo>
                  <a:cubicBezTo>
                    <a:pt x="78" y="4"/>
                    <a:pt x="78" y="4"/>
                    <a:pt x="78" y="4"/>
                  </a:cubicBezTo>
                  <a:cubicBezTo>
                    <a:pt x="77" y="4"/>
                    <a:pt x="76" y="3"/>
                    <a:pt x="76" y="2"/>
                  </a:cubicBezTo>
                  <a:cubicBezTo>
                    <a:pt x="76" y="1"/>
                    <a:pt x="77" y="0"/>
                    <a:pt x="78" y="0"/>
                  </a:cubicBezTo>
                  <a:cubicBezTo>
                    <a:pt x="94" y="0"/>
                    <a:pt x="94" y="0"/>
                    <a:pt x="94" y="0"/>
                  </a:cubicBezTo>
                  <a:cubicBezTo>
                    <a:pt x="95" y="0"/>
                    <a:pt x="96" y="1"/>
                    <a:pt x="96" y="2"/>
                  </a:cubicBezTo>
                  <a:cubicBezTo>
                    <a:pt x="96" y="86"/>
                    <a:pt x="96" y="86"/>
                    <a:pt x="96" y="86"/>
                  </a:cubicBezTo>
                  <a:cubicBezTo>
                    <a:pt x="96" y="87"/>
                    <a:pt x="95" y="88"/>
                    <a:pt x="94"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47" name="Freeform 20"/>
            <p:cNvSpPr>
              <a:spLocks noEditPoints="1"/>
            </p:cNvSpPr>
            <p:nvPr/>
          </p:nvSpPr>
          <p:spPr bwMode="auto">
            <a:xfrm>
              <a:off x="-1038226" y="4281488"/>
              <a:ext cx="61913" cy="77788"/>
            </a:xfrm>
            <a:custGeom>
              <a:avLst/>
              <a:gdLst>
                <a:gd name="T0" fmla="*/ 14 w 16"/>
                <a:gd name="T1" fmla="*/ 20 h 20"/>
                <a:gd name="T2" fmla="*/ 2 w 16"/>
                <a:gd name="T3" fmla="*/ 20 h 20"/>
                <a:gd name="T4" fmla="*/ 0 w 16"/>
                <a:gd name="T5" fmla="*/ 18 h 20"/>
                <a:gd name="T6" fmla="*/ 0 w 16"/>
                <a:gd name="T7" fmla="*/ 2 h 20"/>
                <a:gd name="T8" fmla="*/ 2 w 16"/>
                <a:gd name="T9" fmla="*/ 0 h 20"/>
                <a:gd name="T10" fmla="*/ 14 w 16"/>
                <a:gd name="T11" fmla="*/ 0 h 20"/>
                <a:gd name="T12" fmla="*/ 16 w 16"/>
                <a:gd name="T13" fmla="*/ 2 h 20"/>
                <a:gd name="T14" fmla="*/ 16 w 16"/>
                <a:gd name="T15" fmla="*/ 18 h 20"/>
                <a:gd name="T16" fmla="*/ 14 w 16"/>
                <a:gd name="T17" fmla="*/ 20 h 20"/>
                <a:gd name="T18" fmla="*/ 4 w 16"/>
                <a:gd name="T19" fmla="*/ 16 h 20"/>
                <a:gd name="T20" fmla="*/ 12 w 16"/>
                <a:gd name="T21" fmla="*/ 16 h 20"/>
                <a:gd name="T22" fmla="*/ 12 w 16"/>
                <a:gd name="T23" fmla="*/ 4 h 20"/>
                <a:gd name="T24" fmla="*/ 4 w 16"/>
                <a:gd name="T25" fmla="*/ 4 h 20"/>
                <a:gd name="T26" fmla="*/ 4 w 16"/>
                <a:gd name="T27" fmla="*/ 16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 h="20">
                  <a:moveTo>
                    <a:pt x="14" y="20"/>
                  </a:moveTo>
                  <a:cubicBezTo>
                    <a:pt x="2" y="20"/>
                    <a:pt x="2" y="20"/>
                    <a:pt x="2" y="20"/>
                  </a:cubicBezTo>
                  <a:cubicBezTo>
                    <a:pt x="1" y="20"/>
                    <a:pt x="0" y="19"/>
                    <a:pt x="0" y="18"/>
                  </a:cubicBezTo>
                  <a:cubicBezTo>
                    <a:pt x="0" y="2"/>
                    <a:pt x="0" y="2"/>
                    <a:pt x="0" y="2"/>
                  </a:cubicBezTo>
                  <a:cubicBezTo>
                    <a:pt x="0" y="1"/>
                    <a:pt x="1" y="0"/>
                    <a:pt x="2" y="0"/>
                  </a:cubicBezTo>
                  <a:cubicBezTo>
                    <a:pt x="14" y="0"/>
                    <a:pt x="14" y="0"/>
                    <a:pt x="14" y="0"/>
                  </a:cubicBezTo>
                  <a:cubicBezTo>
                    <a:pt x="15" y="0"/>
                    <a:pt x="16" y="1"/>
                    <a:pt x="16" y="2"/>
                  </a:cubicBezTo>
                  <a:cubicBezTo>
                    <a:pt x="16" y="18"/>
                    <a:pt x="16" y="18"/>
                    <a:pt x="16" y="18"/>
                  </a:cubicBezTo>
                  <a:cubicBezTo>
                    <a:pt x="16" y="19"/>
                    <a:pt x="15" y="20"/>
                    <a:pt x="14" y="20"/>
                  </a:cubicBezTo>
                  <a:close/>
                  <a:moveTo>
                    <a:pt x="4" y="16"/>
                  </a:moveTo>
                  <a:cubicBezTo>
                    <a:pt x="12" y="16"/>
                    <a:pt x="12" y="16"/>
                    <a:pt x="12" y="16"/>
                  </a:cubicBezTo>
                  <a:cubicBezTo>
                    <a:pt x="12" y="4"/>
                    <a:pt x="12" y="4"/>
                    <a:pt x="12" y="4"/>
                  </a:cubicBezTo>
                  <a:cubicBezTo>
                    <a:pt x="4" y="4"/>
                    <a:pt x="4" y="4"/>
                    <a:pt x="4" y="4"/>
                  </a:cubicBezTo>
                  <a:lnTo>
                    <a:pt x="4"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48" name="Freeform 21"/>
            <p:cNvSpPr>
              <a:spLocks noEditPoints="1"/>
            </p:cNvSpPr>
            <p:nvPr/>
          </p:nvSpPr>
          <p:spPr bwMode="auto">
            <a:xfrm>
              <a:off x="-852488" y="4281488"/>
              <a:ext cx="61913" cy="77788"/>
            </a:xfrm>
            <a:custGeom>
              <a:avLst/>
              <a:gdLst>
                <a:gd name="T0" fmla="*/ 14 w 16"/>
                <a:gd name="T1" fmla="*/ 20 h 20"/>
                <a:gd name="T2" fmla="*/ 2 w 16"/>
                <a:gd name="T3" fmla="*/ 20 h 20"/>
                <a:gd name="T4" fmla="*/ 0 w 16"/>
                <a:gd name="T5" fmla="*/ 18 h 20"/>
                <a:gd name="T6" fmla="*/ 0 w 16"/>
                <a:gd name="T7" fmla="*/ 2 h 20"/>
                <a:gd name="T8" fmla="*/ 2 w 16"/>
                <a:gd name="T9" fmla="*/ 0 h 20"/>
                <a:gd name="T10" fmla="*/ 14 w 16"/>
                <a:gd name="T11" fmla="*/ 0 h 20"/>
                <a:gd name="T12" fmla="*/ 16 w 16"/>
                <a:gd name="T13" fmla="*/ 2 h 20"/>
                <a:gd name="T14" fmla="*/ 16 w 16"/>
                <a:gd name="T15" fmla="*/ 18 h 20"/>
                <a:gd name="T16" fmla="*/ 14 w 16"/>
                <a:gd name="T17" fmla="*/ 20 h 20"/>
                <a:gd name="T18" fmla="*/ 4 w 16"/>
                <a:gd name="T19" fmla="*/ 16 h 20"/>
                <a:gd name="T20" fmla="*/ 12 w 16"/>
                <a:gd name="T21" fmla="*/ 16 h 20"/>
                <a:gd name="T22" fmla="*/ 12 w 16"/>
                <a:gd name="T23" fmla="*/ 4 h 20"/>
                <a:gd name="T24" fmla="*/ 4 w 16"/>
                <a:gd name="T25" fmla="*/ 4 h 20"/>
                <a:gd name="T26" fmla="*/ 4 w 16"/>
                <a:gd name="T27" fmla="*/ 16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 h="20">
                  <a:moveTo>
                    <a:pt x="14" y="20"/>
                  </a:moveTo>
                  <a:cubicBezTo>
                    <a:pt x="2" y="20"/>
                    <a:pt x="2" y="20"/>
                    <a:pt x="2" y="20"/>
                  </a:cubicBezTo>
                  <a:cubicBezTo>
                    <a:pt x="1" y="20"/>
                    <a:pt x="0" y="19"/>
                    <a:pt x="0" y="18"/>
                  </a:cubicBezTo>
                  <a:cubicBezTo>
                    <a:pt x="0" y="2"/>
                    <a:pt x="0" y="2"/>
                    <a:pt x="0" y="2"/>
                  </a:cubicBezTo>
                  <a:cubicBezTo>
                    <a:pt x="0" y="1"/>
                    <a:pt x="1" y="0"/>
                    <a:pt x="2" y="0"/>
                  </a:cubicBezTo>
                  <a:cubicBezTo>
                    <a:pt x="14" y="0"/>
                    <a:pt x="14" y="0"/>
                    <a:pt x="14" y="0"/>
                  </a:cubicBezTo>
                  <a:cubicBezTo>
                    <a:pt x="15" y="0"/>
                    <a:pt x="16" y="1"/>
                    <a:pt x="16" y="2"/>
                  </a:cubicBezTo>
                  <a:cubicBezTo>
                    <a:pt x="16" y="18"/>
                    <a:pt x="16" y="18"/>
                    <a:pt x="16" y="18"/>
                  </a:cubicBezTo>
                  <a:cubicBezTo>
                    <a:pt x="16" y="19"/>
                    <a:pt x="15" y="20"/>
                    <a:pt x="14" y="20"/>
                  </a:cubicBezTo>
                  <a:close/>
                  <a:moveTo>
                    <a:pt x="4" y="16"/>
                  </a:moveTo>
                  <a:cubicBezTo>
                    <a:pt x="12" y="16"/>
                    <a:pt x="12" y="16"/>
                    <a:pt x="12" y="16"/>
                  </a:cubicBezTo>
                  <a:cubicBezTo>
                    <a:pt x="12" y="4"/>
                    <a:pt x="12" y="4"/>
                    <a:pt x="12" y="4"/>
                  </a:cubicBezTo>
                  <a:cubicBezTo>
                    <a:pt x="4" y="4"/>
                    <a:pt x="4" y="4"/>
                    <a:pt x="4" y="4"/>
                  </a:cubicBezTo>
                  <a:lnTo>
                    <a:pt x="4"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49" name="Freeform 22"/>
            <p:cNvSpPr>
              <a:spLocks/>
            </p:cNvSpPr>
            <p:nvPr/>
          </p:nvSpPr>
          <p:spPr bwMode="auto">
            <a:xfrm>
              <a:off x="-992188" y="4313238"/>
              <a:ext cx="155575" cy="14288"/>
            </a:xfrm>
            <a:custGeom>
              <a:avLst/>
              <a:gdLst>
                <a:gd name="T0" fmla="*/ 38 w 40"/>
                <a:gd name="T1" fmla="*/ 4 h 4"/>
                <a:gd name="T2" fmla="*/ 2 w 40"/>
                <a:gd name="T3" fmla="*/ 4 h 4"/>
                <a:gd name="T4" fmla="*/ 0 w 40"/>
                <a:gd name="T5" fmla="*/ 2 h 4"/>
                <a:gd name="T6" fmla="*/ 2 w 40"/>
                <a:gd name="T7" fmla="*/ 0 h 4"/>
                <a:gd name="T8" fmla="*/ 38 w 40"/>
                <a:gd name="T9" fmla="*/ 0 h 4"/>
                <a:gd name="T10" fmla="*/ 40 w 40"/>
                <a:gd name="T11" fmla="*/ 2 h 4"/>
                <a:gd name="T12" fmla="*/ 38 w 40"/>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40" h="4">
                  <a:moveTo>
                    <a:pt x="38" y="4"/>
                  </a:moveTo>
                  <a:cubicBezTo>
                    <a:pt x="2" y="4"/>
                    <a:pt x="2" y="4"/>
                    <a:pt x="2" y="4"/>
                  </a:cubicBezTo>
                  <a:cubicBezTo>
                    <a:pt x="1" y="4"/>
                    <a:pt x="0" y="3"/>
                    <a:pt x="0" y="2"/>
                  </a:cubicBezTo>
                  <a:cubicBezTo>
                    <a:pt x="0" y="1"/>
                    <a:pt x="1" y="0"/>
                    <a:pt x="2" y="0"/>
                  </a:cubicBezTo>
                  <a:cubicBezTo>
                    <a:pt x="38" y="0"/>
                    <a:pt x="38" y="0"/>
                    <a:pt x="38" y="0"/>
                  </a:cubicBezTo>
                  <a:cubicBezTo>
                    <a:pt x="39" y="0"/>
                    <a:pt x="40" y="1"/>
                    <a:pt x="40" y="2"/>
                  </a:cubicBezTo>
                  <a:cubicBezTo>
                    <a:pt x="40" y="3"/>
                    <a:pt x="39" y="4"/>
                    <a:pt x="38"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50" name="Freeform 23"/>
            <p:cNvSpPr>
              <a:spLocks/>
            </p:cNvSpPr>
            <p:nvPr/>
          </p:nvSpPr>
          <p:spPr bwMode="auto">
            <a:xfrm>
              <a:off x="-1100138" y="4389438"/>
              <a:ext cx="371475" cy="15875"/>
            </a:xfrm>
            <a:custGeom>
              <a:avLst/>
              <a:gdLst>
                <a:gd name="T0" fmla="*/ 94 w 96"/>
                <a:gd name="T1" fmla="*/ 4 h 4"/>
                <a:gd name="T2" fmla="*/ 2 w 96"/>
                <a:gd name="T3" fmla="*/ 4 h 4"/>
                <a:gd name="T4" fmla="*/ 0 w 96"/>
                <a:gd name="T5" fmla="*/ 2 h 4"/>
                <a:gd name="T6" fmla="*/ 2 w 96"/>
                <a:gd name="T7" fmla="*/ 0 h 4"/>
                <a:gd name="T8" fmla="*/ 94 w 96"/>
                <a:gd name="T9" fmla="*/ 0 h 4"/>
                <a:gd name="T10" fmla="*/ 96 w 96"/>
                <a:gd name="T11" fmla="*/ 2 h 4"/>
                <a:gd name="T12" fmla="*/ 94 w 96"/>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96" h="4">
                  <a:moveTo>
                    <a:pt x="94" y="4"/>
                  </a:moveTo>
                  <a:cubicBezTo>
                    <a:pt x="2" y="4"/>
                    <a:pt x="2" y="4"/>
                    <a:pt x="2" y="4"/>
                  </a:cubicBezTo>
                  <a:cubicBezTo>
                    <a:pt x="1" y="4"/>
                    <a:pt x="0" y="3"/>
                    <a:pt x="0" y="2"/>
                  </a:cubicBezTo>
                  <a:cubicBezTo>
                    <a:pt x="0" y="1"/>
                    <a:pt x="1" y="0"/>
                    <a:pt x="2" y="0"/>
                  </a:cubicBezTo>
                  <a:cubicBezTo>
                    <a:pt x="94" y="0"/>
                    <a:pt x="94" y="0"/>
                    <a:pt x="94" y="0"/>
                  </a:cubicBezTo>
                  <a:cubicBezTo>
                    <a:pt x="95" y="0"/>
                    <a:pt x="96" y="1"/>
                    <a:pt x="96" y="2"/>
                  </a:cubicBezTo>
                  <a:cubicBezTo>
                    <a:pt x="96" y="3"/>
                    <a:pt x="95" y="4"/>
                    <a:pt x="9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51" name="Freeform 24"/>
            <p:cNvSpPr>
              <a:spLocks/>
            </p:cNvSpPr>
            <p:nvPr/>
          </p:nvSpPr>
          <p:spPr bwMode="auto">
            <a:xfrm>
              <a:off x="-992188" y="4451351"/>
              <a:ext cx="47625" cy="139700"/>
            </a:xfrm>
            <a:custGeom>
              <a:avLst/>
              <a:gdLst>
                <a:gd name="T0" fmla="*/ 10 w 12"/>
                <a:gd name="T1" fmla="*/ 36 h 36"/>
                <a:gd name="T2" fmla="*/ 8 w 12"/>
                <a:gd name="T3" fmla="*/ 34 h 36"/>
                <a:gd name="T4" fmla="*/ 8 w 12"/>
                <a:gd name="T5" fmla="*/ 7 h 36"/>
                <a:gd name="T6" fmla="*/ 3 w 12"/>
                <a:gd name="T7" fmla="*/ 11 h 36"/>
                <a:gd name="T8" fmla="*/ 1 w 12"/>
                <a:gd name="T9" fmla="*/ 11 h 36"/>
                <a:gd name="T10" fmla="*/ 1 w 12"/>
                <a:gd name="T11" fmla="*/ 9 h 36"/>
                <a:gd name="T12" fmla="*/ 9 w 12"/>
                <a:gd name="T13" fmla="*/ 1 h 36"/>
                <a:gd name="T14" fmla="*/ 11 w 12"/>
                <a:gd name="T15" fmla="*/ 0 h 36"/>
                <a:gd name="T16" fmla="*/ 12 w 12"/>
                <a:gd name="T17" fmla="*/ 2 h 36"/>
                <a:gd name="T18" fmla="*/ 12 w 12"/>
                <a:gd name="T19" fmla="*/ 34 h 36"/>
                <a:gd name="T20" fmla="*/ 10 w 12"/>
                <a:gd name="T21"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 h="36">
                  <a:moveTo>
                    <a:pt x="10" y="36"/>
                  </a:moveTo>
                  <a:cubicBezTo>
                    <a:pt x="9" y="36"/>
                    <a:pt x="8" y="35"/>
                    <a:pt x="8" y="34"/>
                  </a:cubicBezTo>
                  <a:cubicBezTo>
                    <a:pt x="8" y="7"/>
                    <a:pt x="8" y="7"/>
                    <a:pt x="8" y="7"/>
                  </a:cubicBezTo>
                  <a:cubicBezTo>
                    <a:pt x="3" y="11"/>
                    <a:pt x="3" y="11"/>
                    <a:pt x="3" y="11"/>
                  </a:cubicBezTo>
                  <a:cubicBezTo>
                    <a:pt x="3" y="12"/>
                    <a:pt x="1" y="12"/>
                    <a:pt x="1" y="11"/>
                  </a:cubicBezTo>
                  <a:cubicBezTo>
                    <a:pt x="0" y="11"/>
                    <a:pt x="0" y="9"/>
                    <a:pt x="1" y="9"/>
                  </a:cubicBezTo>
                  <a:cubicBezTo>
                    <a:pt x="9" y="1"/>
                    <a:pt x="9" y="1"/>
                    <a:pt x="9" y="1"/>
                  </a:cubicBezTo>
                  <a:cubicBezTo>
                    <a:pt x="9" y="0"/>
                    <a:pt x="10" y="0"/>
                    <a:pt x="11" y="0"/>
                  </a:cubicBezTo>
                  <a:cubicBezTo>
                    <a:pt x="12" y="0"/>
                    <a:pt x="12" y="1"/>
                    <a:pt x="12" y="2"/>
                  </a:cubicBezTo>
                  <a:cubicBezTo>
                    <a:pt x="12" y="34"/>
                    <a:pt x="12" y="34"/>
                    <a:pt x="12" y="34"/>
                  </a:cubicBezTo>
                  <a:cubicBezTo>
                    <a:pt x="12" y="35"/>
                    <a:pt x="11" y="36"/>
                    <a:pt x="10"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52" name="Freeform 25"/>
            <p:cNvSpPr>
              <a:spLocks/>
            </p:cNvSpPr>
            <p:nvPr/>
          </p:nvSpPr>
          <p:spPr bwMode="auto">
            <a:xfrm>
              <a:off x="-992188" y="4575176"/>
              <a:ext cx="77788" cy="15875"/>
            </a:xfrm>
            <a:custGeom>
              <a:avLst/>
              <a:gdLst>
                <a:gd name="T0" fmla="*/ 18 w 20"/>
                <a:gd name="T1" fmla="*/ 4 h 4"/>
                <a:gd name="T2" fmla="*/ 2 w 20"/>
                <a:gd name="T3" fmla="*/ 4 h 4"/>
                <a:gd name="T4" fmla="*/ 0 w 20"/>
                <a:gd name="T5" fmla="*/ 2 h 4"/>
                <a:gd name="T6" fmla="*/ 2 w 20"/>
                <a:gd name="T7" fmla="*/ 0 h 4"/>
                <a:gd name="T8" fmla="*/ 18 w 20"/>
                <a:gd name="T9" fmla="*/ 0 h 4"/>
                <a:gd name="T10" fmla="*/ 20 w 20"/>
                <a:gd name="T11" fmla="*/ 2 h 4"/>
                <a:gd name="T12" fmla="*/ 18 w 20"/>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20" h="4">
                  <a:moveTo>
                    <a:pt x="18" y="4"/>
                  </a:moveTo>
                  <a:cubicBezTo>
                    <a:pt x="2" y="4"/>
                    <a:pt x="2" y="4"/>
                    <a:pt x="2" y="4"/>
                  </a:cubicBezTo>
                  <a:cubicBezTo>
                    <a:pt x="1" y="4"/>
                    <a:pt x="0" y="3"/>
                    <a:pt x="0" y="2"/>
                  </a:cubicBezTo>
                  <a:cubicBezTo>
                    <a:pt x="0" y="1"/>
                    <a:pt x="1" y="0"/>
                    <a:pt x="2" y="0"/>
                  </a:cubicBezTo>
                  <a:cubicBezTo>
                    <a:pt x="18" y="0"/>
                    <a:pt x="18" y="0"/>
                    <a:pt x="18" y="0"/>
                  </a:cubicBezTo>
                  <a:cubicBezTo>
                    <a:pt x="19" y="0"/>
                    <a:pt x="20" y="1"/>
                    <a:pt x="20" y="2"/>
                  </a:cubicBezTo>
                  <a:cubicBezTo>
                    <a:pt x="20" y="3"/>
                    <a:pt x="19" y="4"/>
                    <a:pt x="18"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53" name="Freeform 26"/>
            <p:cNvSpPr>
              <a:spLocks/>
            </p:cNvSpPr>
            <p:nvPr/>
          </p:nvSpPr>
          <p:spPr bwMode="auto">
            <a:xfrm>
              <a:off x="-922338" y="4451351"/>
              <a:ext cx="93663" cy="139700"/>
            </a:xfrm>
            <a:custGeom>
              <a:avLst/>
              <a:gdLst>
                <a:gd name="T0" fmla="*/ 10 w 24"/>
                <a:gd name="T1" fmla="*/ 36 h 36"/>
                <a:gd name="T2" fmla="*/ 9 w 24"/>
                <a:gd name="T3" fmla="*/ 36 h 36"/>
                <a:gd name="T4" fmla="*/ 8 w 24"/>
                <a:gd name="T5" fmla="*/ 33 h 36"/>
                <a:gd name="T6" fmla="*/ 19 w 24"/>
                <a:gd name="T7" fmla="*/ 4 h 36"/>
                <a:gd name="T8" fmla="*/ 4 w 24"/>
                <a:gd name="T9" fmla="*/ 4 h 36"/>
                <a:gd name="T10" fmla="*/ 4 w 24"/>
                <a:gd name="T11" fmla="*/ 6 h 36"/>
                <a:gd name="T12" fmla="*/ 2 w 24"/>
                <a:gd name="T13" fmla="*/ 8 h 36"/>
                <a:gd name="T14" fmla="*/ 0 w 24"/>
                <a:gd name="T15" fmla="*/ 6 h 36"/>
                <a:gd name="T16" fmla="*/ 0 w 24"/>
                <a:gd name="T17" fmla="*/ 2 h 36"/>
                <a:gd name="T18" fmla="*/ 2 w 24"/>
                <a:gd name="T19" fmla="*/ 0 h 36"/>
                <a:gd name="T20" fmla="*/ 22 w 24"/>
                <a:gd name="T21" fmla="*/ 0 h 36"/>
                <a:gd name="T22" fmla="*/ 24 w 24"/>
                <a:gd name="T23" fmla="*/ 1 h 36"/>
                <a:gd name="T24" fmla="*/ 24 w 24"/>
                <a:gd name="T25" fmla="*/ 3 h 36"/>
                <a:gd name="T26" fmla="*/ 12 w 24"/>
                <a:gd name="T27" fmla="*/ 35 h 36"/>
                <a:gd name="T28" fmla="*/ 10 w 24"/>
                <a:gd name="T29"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4" h="36">
                  <a:moveTo>
                    <a:pt x="10" y="36"/>
                  </a:moveTo>
                  <a:cubicBezTo>
                    <a:pt x="10" y="36"/>
                    <a:pt x="10" y="36"/>
                    <a:pt x="9" y="36"/>
                  </a:cubicBezTo>
                  <a:cubicBezTo>
                    <a:pt x="8" y="35"/>
                    <a:pt x="8" y="34"/>
                    <a:pt x="8" y="33"/>
                  </a:cubicBezTo>
                  <a:cubicBezTo>
                    <a:pt x="19" y="4"/>
                    <a:pt x="19" y="4"/>
                    <a:pt x="19" y="4"/>
                  </a:cubicBezTo>
                  <a:cubicBezTo>
                    <a:pt x="4" y="4"/>
                    <a:pt x="4" y="4"/>
                    <a:pt x="4" y="4"/>
                  </a:cubicBezTo>
                  <a:cubicBezTo>
                    <a:pt x="4" y="6"/>
                    <a:pt x="4" y="6"/>
                    <a:pt x="4" y="6"/>
                  </a:cubicBezTo>
                  <a:cubicBezTo>
                    <a:pt x="4" y="7"/>
                    <a:pt x="3" y="8"/>
                    <a:pt x="2" y="8"/>
                  </a:cubicBezTo>
                  <a:cubicBezTo>
                    <a:pt x="1" y="8"/>
                    <a:pt x="0" y="7"/>
                    <a:pt x="0" y="6"/>
                  </a:cubicBezTo>
                  <a:cubicBezTo>
                    <a:pt x="0" y="2"/>
                    <a:pt x="0" y="2"/>
                    <a:pt x="0" y="2"/>
                  </a:cubicBezTo>
                  <a:cubicBezTo>
                    <a:pt x="0" y="1"/>
                    <a:pt x="1" y="0"/>
                    <a:pt x="2" y="0"/>
                  </a:cubicBezTo>
                  <a:cubicBezTo>
                    <a:pt x="22" y="0"/>
                    <a:pt x="22" y="0"/>
                    <a:pt x="22" y="0"/>
                  </a:cubicBezTo>
                  <a:cubicBezTo>
                    <a:pt x="23" y="0"/>
                    <a:pt x="23" y="0"/>
                    <a:pt x="24" y="1"/>
                  </a:cubicBezTo>
                  <a:cubicBezTo>
                    <a:pt x="24" y="1"/>
                    <a:pt x="24" y="2"/>
                    <a:pt x="24" y="3"/>
                  </a:cubicBezTo>
                  <a:cubicBezTo>
                    <a:pt x="12" y="35"/>
                    <a:pt x="12" y="35"/>
                    <a:pt x="12" y="35"/>
                  </a:cubicBezTo>
                  <a:cubicBezTo>
                    <a:pt x="12" y="36"/>
                    <a:pt x="11" y="36"/>
                    <a:pt x="10"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54" name="Freeform 27"/>
            <p:cNvSpPr>
              <a:spLocks/>
            </p:cNvSpPr>
            <p:nvPr/>
          </p:nvSpPr>
          <p:spPr bwMode="auto">
            <a:xfrm>
              <a:off x="-898526" y="4513263"/>
              <a:ext cx="61913" cy="15875"/>
            </a:xfrm>
            <a:custGeom>
              <a:avLst/>
              <a:gdLst>
                <a:gd name="T0" fmla="*/ 14 w 16"/>
                <a:gd name="T1" fmla="*/ 4 h 4"/>
                <a:gd name="T2" fmla="*/ 2 w 16"/>
                <a:gd name="T3" fmla="*/ 4 h 4"/>
                <a:gd name="T4" fmla="*/ 0 w 16"/>
                <a:gd name="T5" fmla="*/ 2 h 4"/>
                <a:gd name="T6" fmla="*/ 2 w 16"/>
                <a:gd name="T7" fmla="*/ 0 h 4"/>
                <a:gd name="T8" fmla="*/ 14 w 16"/>
                <a:gd name="T9" fmla="*/ 0 h 4"/>
                <a:gd name="T10" fmla="*/ 16 w 16"/>
                <a:gd name="T11" fmla="*/ 2 h 4"/>
                <a:gd name="T12" fmla="*/ 14 w 16"/>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16" h="4">
                  <a:moveTo>
                    <a:pt x="14" y="4"/>
                  </a:moveTo>
                  <a:cubicBezTo>
                    <a:pt x="2" y="4"/>
                    <a:pt x="2" y="4"/>
                    <a:pt x="2" y="4"/>
                  </a:cubicBezTo>
                  <a:cubicBezTo>
                    <a:pt x="1" y="4"/>
                    <a:pt x="0" y="3"/>
                    <a:pt x="0" y="2"/>
                  </a:cubicBezTo>
                  <a:cubicBezTo>
                    <a:pt x="0" y="1"/>
                    <a:pt x="1" y="0"/>
                    <a:pt x="2" y="0"/>
                  </a:cubicBezTo>
                  <a:cubicBezTo>
                    <a:pt x="14" y="0"/>
                    <a:pt x="14" y="0"/>
                    <a:pt x="14" y="0"/>
                  </a:cubicBezTo>
                  <a:cubicBezTo>
                    <a:pt x="15" y="0"/>
                    <a:pt x="16" y="1"/>
                    <a:pt x="16" y="2"/>
                  </a:cubicBezTo>
                  <a:cubicBezTo>
                    <a:pt x="16" y="3"/>
                    <a:pt x="15" y="4"/>
                    <a:pt x="1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grpSp>
      <p:grpSp>
        <p:nvGrpSpPr>
          <p:cNvPr id="155" name="Group 154"/>
          <p:cNvGrpSpPr>
            <a:grpSpLocks noChangeAspect="1"/>
          </p:cNvGrpSpPr>
          <p:nvPr/>
        </p:nvGrpSpPr>
        <p:grpSpPr>
          <a:xfrm>
            <a:off x="2128833" y="4655339"/>
            <a:ext cx="381090" cy="384376"/>
            <a:chOff x="-663575" y="5349875"/>
            <a:chExt cx="368300" cy="371476"/>
          </a:xfrm>
          <a:solidFill>
            <a:schemeClr val="bg1"/>
          </a:solidFill>
        </p:grpSpPr>
        <p:sp>
          <p:nvSpPr>
            <p:cNvPr id="156" name="Freeform 31"/>
            <p:cNvSpPr>
              <a:spLocks/>
            </p:cNvSpPr>
            <p:nvPr/>
          </p:nvSpPr>
          <p:spPr bwMode="auto">
            <a:xfrm>
              <a:off x="-663575" y="5562600"/>
              <a:ext cx="147638" cy="158750"/>
            </a:xfrm>
            <a:custGeom>
              <a:avLst/>
              <a:gdLst>
                <a:gd name="T0" fmla="*/ 23 w 38"/>
                <a:gd name="T1" fmla="*/ 41 h 41"/>
                <a:gd name="T2" fmla="*/ 23 w 38"/>
                <a:gd name="T3" fmla="*/ 41 h 41"/>
                <a:gd name="T4" fmla="*/ 21 w 38"/>
                <a:gd name="T5" fmla="*/ 40 h 41"/>
                <a:gd name="T6" fmla="*/ 16 w 38"/>
                <a:gd name="T7" fmla="*/ 27 h 41"/>
                <a:gd name="T8" fmla="*/ 2 w 38"/>
                <a:gd name="T9" fmla="*/ 29 h 41"/>
                <a:gd name="T10" fmla="*/ 0 w 38"/>
                <a:gd name="T11" fmla="*/ 28 h 41"/>
                <a:gd name="T12" fmla="*/ 0 w 38"/>
                <a:gd name="T13" fmla="*/ 26 h 41"/>
                <a:gd name="T14" fmla="*/ 15 w 38"/>
                <a:gd name="T15" fmla="*/ 0 h 41"/>
                <a:gd name="T16" fmla="*/ 19 w 38"/>
                <a:gd name="T17" fmla="*/ 2 h 41"/>
                <a:gd name="T18" fmla="*/ 6 w 38"/>
                <a:gd name="T19" fmla="*/ 24 h 41"/>
                <a:gd name="T20" fmla="*/ 17 w 38"/>
                <a:gd name="T21" fmla="*/ 22 h 41"/>
                <a:gd name="T22" fmla="*/ 19 w 38"/>
                <a:gd name="T23" fmla="*/ 24 h 41"/>
                <a:gd name="T24" fmla="*/ 23 w 38"/>
                <a:gd name="T25" fmla="*/ 34 h 41"/>
                <a:gd name="T26" fmla="*/ 34 w 38"/>
                <a:gd name="T27" fmla="*/ 16 h 41"/>
                <a:gd name="T28" fmla="*/ 38 w 38"/>
                <a:gd name="T29" fmla="*/ 18 h 41"/>
                <a:gd name="T30" fmla="*/ 24 w 38"/>
                <a:gd name="T31" fmla="*/ 40 h 41"/>
                <a:gd name="T32" fmla="*/ 23 w 38"/>
                <a:gd name="T33"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8" h="41">
                  <a:moveTo>
                    <a:pt x="23" y="41"/>
                  </a:moveTo>
                  <a:cubicBezTo>
                    <a:pt x="23" y="41"/>
                    <a:pt x="23" y="41"/>
                    <a:pt x="23" y="41"/>
                  </a:cubicBezTo>
                  <a:cubicBezTo>
                    <a:pt x="22" y="41"/>
                    <a:pt x="21" y="40"/>
                    <a:pt x="21" y="40"/>
                  </a:cubicBezTo>
                  <a:cubicBezTo>
                    <a:pt x="16" y="27"/>
                    <a:pt x="16" y="27"/>
                    <a:pt x="16" y="27"/>
                  </a:cubicBezTo>
                  <a:cubicBezTo>
                    <a:pt x="2" y="29"/>
                    <a:pt x="2" y="29"/>
                    <a:pt x="2" y="29"/>
                  </a:cubicBezTo>
                  <a:cubicBezTo>
                    <a:pt x="2" y="29"/>
                    <a:pt x="1" y="29"/>
                    <a:pt x="0" y="28"/>
                  </a:cubicBezTo>
                  <a:cubicBezTo>
                    <a:pt x="0" y="27"/>
                    <a:pt x="0" y="27"/>
                    <a:pt x="0" y="26"/>
                  </a:cubicBezTo>
                  <a:cubicBezTo>
                    <a:pt x="15" y="0"/>
                    <a:pt x="15" y="0"/>
                    <a:pt x="15" y="0"/>
                  </a:cubicBezTo>
                  <a:cubicBezTo>
                    <a:pt x="19" y="2"/>
                    <a:pt x="19" y="2"/>
                    <a:pt x="19" y="2"/>
                  </a:cubicBezTo>
                  <a:cubicBezTo>
                    <a:pt x="6" y="24"/>
                    <a:pt x="6" y="24"/>
                    <a:pt x="6" y="24"/>
                  </a:cubicBezTo>
                  <a:cubicBezTo>
                    <a:pt x="17" y="22"/>
                    <a:pt x="17" y="22"/>
                    <a:pt x="17" y="22"/>
                  </a:cubicBezTo>
                  <a:cubicBezTo>
                    <a:pt x="18" y="22"/>
                    <a:pt x="19" y="23"/>
                    <a:pt x="19" y="24"/>
                  </a:cubicBezTo>
                  <a:cubicBezTo>
                    <a:pt x="23" y="34"/>
                    <a:pt x="23" y="34"/>
                    <a:pt x="23" y="34"/>
                  </a:cubicBezTo>
                  <a:cubicBezTo>
                    <a:pt x="34" y="16"/>
                    <a:pt x="34" y="16"/>
                    <a:pt x="34" y="16"/>
                  </a:cubicBezTo>
                  <a:cubicBezTo>
                    <a:pt x="38" y="18"/>
                    <a:pt x="38" y="18"/>
                    <a:pt x="38" y="18"/>
                  </a:cubicBezTo>
                  <a:cubicBezTo>
                    <a:pt x="24" y="40"/>
                    <a:pt x="24" y="40"/>
                    <a:pt x="24" y="40"/>
                  </a:cubicBezTo>
                  <a:cubicBezTo>
                    <a:pt x="24" y="41"/>
                    <a:pt x="23" y="41"/>
                    <a:pt x="23"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57" name="Freeform 32"/>
            <p:cNvSpPr>
              <a:spLocks/>
            </p:cNvSpPr>
            <p:nvPr/>
          </p:nvSpPr>
          <p:spPr bwMode="auto">
            <a:xfrm>
              <a:off x="-439738" y="5567363"/>
              <a:ext cx="144463" cy="153988"/>
            </a:xfrm>
            <a:custGeom>
              <a:avLst/>
              <a:gdLst>
                <a:gd name="T0" fmla="*/ 15 w 37"/>
                <a:gd name="T1" fmla="*/ 40 h 40"/>
                <a:gd name="T2" fmla="*/ 13 w 37"/>
                <a:gd name="T3" fmla="*/ 39 h 40"/>
                <a:gd name="T4" fmla="*/ 0 w 37"/>
                <a:gd name="T5" fmla="*/ 17 h 40"/>
                <a:gd name="T6" fmla="*/ 3 w 37"/>
                <a:gd name="T7" fmla="*/ 15 h 40"/>
                <a:gd name="T8" fmla="*/ 14 w 37"/>
                <a:gd name="T9" fmla="*/ 33 h 40"/>
                <a:gd name="T10" fmla="*/ 18 w 37"/>
                <a:gd name="T11" fmla="*/ 23 h 40"/>
                <a:gd name="T12" fmla="*/ 20 w 37"/>
                <a:gd name="T13" fmla="*/ 21 h 40"/>
                <a:gd name="T14" fmla="*/ 31 w 37"/>
                <a:gd name="T15" fmla="*/ 23 h 40"/>
                <a:gd name="T16" fmla="*/ 19 w 37"/>
                <a:gd name="T17" fmla="*/ 2 h 40"/>
                <a:gd name="T18" fmla="*/ 22 w 37"/>
                <a:gd name="T19" fmla="*/ 0 h 40"/>
                <a:gd name="T20" fmla="*/ 37 w 37"/>
                <a:gd name="T21" fmla="*/ 25 h 40"/>
                <a:gd name="T22" fmla="*/ 37 w 37"/>
                <a:gd name="T23" fmla="*/ 27 h 40"/>
                <a:gd name="T24" fmla="*/ 35 w 37"/>
                <a:gd name="T25" fmla="*/ 28 h 40"/>
                <a:gd name="T26" fmla="*/ 21 w 37"/>
                <a:gd name="T27" fmla="*/ 26 h 40"/>
                <a:gd name="T28" fmla="*/ 16 w 37"/>
                <a:gd name="T29" fmla="*/ 39 h 40"/>
                <a:gd name="T30" fmla="*/ 15 w 37"/>
                <a:gd name="T31" fmla="*/ 40 h 40"/>
                <a:gd name="T32" fmla="*/ 15 w 37"/>
                <a:gd name="T33" fmla="*/ 4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7" h="40">
                  <a:moveTo>
                    <a:pt x="15" y="40"/>
                  </a:moveTo>
                  <a:cubicBezTo>
                    <a:pt x="14" y="40"/>
                    <a:pt x="13" y="40"/>
                    <a:pt x="13" y="39"/>
                  </a:cubicBezTo>
                  <a:cubicBezTo>
                    <a:pt x="0" y="17"/>
                    <a:pt x="0" y="17"/>
                    <a:pt x="0" y="17"/>
                  </a:cubicBezTo>
                  <a:cubicBezTo>
                    <a:pt x="3" y="15"/>
                    <a:pt x="3" y="15"/>
                    <a:pt x="3" y="15"/>
                  </a:cubicBezTo>
                  <a:cubicBezTo>
                    <a:pt x="14" y="33"/>
                    <a:pt x="14" y="33"/>
                    <a:pt x="14" y="33"/>
                  </a:cubicBezTo>
                  <a:cubicBezTo>
                    <a:pt x="18" y="23"/>
                    <a:pt x="18" y="23"/>
                    <a:pt x="18" y="23"/>
                  </a:cubicBezTo>
                  <a:cubicBezTo>
                    <a:pt x="18" y="22"/>
                    <a:pt x="19" y="21"/>
                    <a:pt x="20" y="21"/>
                  </a:cubicBezTo>
                  <a:cubicBezTo>
                    <a:pt x="31" y="23"/>
                    <a:pt x="31" y="23"/>
                    <a:pt x="31" y="23"/>
                  </a:cubicBezTo>
                  <a:cubicBezTo>
                    <a:pt x="19" y="2"/>
                    <a:pt x="19" y="2"/>
                    <a:pt x="19" y="2"/>
                  </a:cubicBezTo>
                  <a:cubicBezTo>
                    <a:pt x="22" y="0"/>
                    <a:pt x="22" y="0"/>
                    <a:pt x="22" y="0"/>
                  </a:cubicBezTo>
                  <a:cubicBezTo>
                    <a:pt x="37" y="25"/>
                    <a:pt x="37" y="25"/>
                    <a:pt x="37" y="25"/>
                  </a:cubicBezTo>
                  <a:cubicBezTo>
                    <a:pt x="37" y="26"/>
                    <a:pt x="37" y="26"/>
                    <a:pt x="37" y="27"/>
                  </a:cubicBezTo>
                  <a:cubicBezTo>
                    <a:pt x="37" y="28"/>
                    <a:pt x="36" y="28"/>
                    <a:pt x="35" y="28"/>
                  </a:cubicBezTo>
                  <a:cubicBezTo>
                    <a:pt x="21" y="26"/>
                    <a:pt x="21" y="26"/>
                    <a:pt x="21" y="26"/>
                  </a:cubicBezTo>
                  <a:cubicBezTo>
                    <a:pt x="16" y="39"/>
                    <a:pt x="16" y="39"/>
                    <a:pt x="16" y="39"/>
                  </a:cubicBezTo>
                  <a:cubicBezTo>
                    <a:pt x="16" y="39"/>
                    <a:pt x="16" y="40"/>
                    <a:pt x="15" y="40"/>
                  </a:cubicBezTo>
                  <a:cubicBezTo>
                    <a:pt x="15" y="40"/>
                    <a:pt x="15" y="40"/>
                    <a:pt x="15" y="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58" name="Freeform 33"/>
            <p:cNvSpPr>
              <a:spLocks noEditPoints="1"/>
            </p:cNvSpPr>
            <p:nvPr/>
          </p:nvSpPr>
          <p:spPr bwMode="auto">
            <a:xfrm>
              <a:off x="-625475" y="5349875"/>
              <a:ext cx="295275" cy="293688"/>
            </a:xfrm>
            <a:custGeom>
              <a:avLst/>
              <a:gdLst>
                <a:gd name="T0" fmla="*/ 38 w 76"/>
                <a:gd name="T1" fmla="*/ 76 h 76"/>
                <a:gd name="T2" fmla="*/ 0 w 76"/>
                <a:gd name="T3" fmla="*/ 38 h 76"/>
                <a:gd name="T4" fmla="*/ 38 w 76"/>
                <a:gd name="T5" fmla="*/ 0 h 76"/>
                <a:gd name="T6" fmla="*/ 76 w 76"/>
                <a:gd name="T7" fmla="*/ 38 h 76"/>
                <a:gd name="T8" fmla="*/ 38 w 76"/>
                <a:gd name="T9" fmla="*/ 76 h 76"/>
                <a:gd name="T10" fmla="*/ 38 w 76"/>
                <a:gd name="T11" fmla="*/ 4 h 76"/>
                <a:gd name="T12" fmla="*/ 4 w 76"/>
                <a:gd name="T13" fmla="*/ 38 h 76"/>
                <a:gd name="T14" fmla="*/ 38 w 76"/>
                <a:gd name="T15" fmla="*/ 72 h 76"/>
                <a:gd name="T16" fmla="*/ 72 w 76"/>
                <a:gd name="T17" fmla="*/ 38 h 76"/>
                <a:gd name="T18" fmla="*/ 38 w 76"/>
                <a:gd name="T19" fmla="*/ 4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6" h="76">
                  <a:moveTo>
                    <a:pt x="38" y="76"/>
                  </a:moveTo>
                  <a:cubicBezTo>
                    <a:pt x="17" y="76"/>
                    <a:pt x="0" y="59"/>
                    <a:pt x="0" y="38"/>
                  </a:cubicBezTo>
                  <a:cubicBezTo>
                    <a:pt x="0" y="17"/>
                    <a:pt x="17" y="0"/>
                    <a:pt x="38" y="0"/>
                  </a:cubicBezTo>
                  <a:cubicBezTo>
                    <a:pt x="59" y="0"/>
                    <a:pt x="76" y="17"/>
                    <a:pt x="76" y="38"/>
                  </a:cubicBezTo>
                  <a:cubicBezTo>
                    <a:pt x="76" y="59"/>
                    <a:pt x="59" y="76"/>
                    <a:pt x="38" y="76"/>
                  </a:cubicBezTo>
                  <a:close/>
                  <a:moveTo>
                    <a:pt x="38" y="4"/>
                  </a:moveTo>
                  <a:cubicBezTo>
                    <a:pt x="19" y="4"/>
                    <a:pt x="4" y="19"/>
                    <a:pt x="4" y="38"/>
                  </a:cubicBezTo>
                  <a:cubicBezTo>
                    <a:pt x="4" y="57"/>
                    <a:pt x="19" y="72"/>
                    <a:pt x="38" y="72"/>
                  </a:cubicBezTo>
                  <a:cubicBezTo>
                    <a:pt x="57" y="72"/>
                    <a:pt x="72" y="57"/>
                    <a:pt x="72" y="38"/>
                  </a:cubicBezTo>
                  <a:cubicBezTo>
                    <a:pt x="72" y="19"/>
                    <a:pt x="57" y="4"/>
                    <a:pt x="38"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59" name="Freeform 34"/>
            <p:cNvSpPr>
              <a:spLocks noEditPoints="1"/>
            </p:cNvSpPr>
            <p:nvPr/>
          </p:nvSpPr>
          <p:spPr bwMode="auto">
            <a:xfrm>
              <a:off x="-555625" y="5411788"/>
              <a:ext cx="155575" cy="155575"/>
            </a:xfrm>
            <a:custGeom>
              <a:avLst/>
              <a:gdLst>
                <a:gd name="T0" fmla="*/ 32 w 40"/>
                <a:gd name="T1" fmla="*/ 40 h 40"/>
                <a:gd name="T2" fmla="*/ 31 w 40"/>
                <a:gd name="T3" fmla="*/ 40 h 40"/>
                <a:gd name="T4" fmla="*/ 20 w 40"/>
                <a:gd name="T5" fmla="*/ 33 h 40"/>
                <a:gd name="T6" fmla="*/ 9 w 40"/>
                <a:gd name="T7" fmla="*/ 40 h 40"/>
                <a:gd name="T8" fmla="*/ 7 w 40"/>
                <a:gd name="T9" fmla="*/ 40 h 40"/>
                <a:gd name="T10" fmla="*/ 6 w 40"/>
                <a:gd name="T11" fmla="*/ 37 h 40"/>
                <a:gd name="T12" fmla="*/ 10 w 40"/>
                <a:gd name="T13" fmla="*/ 25 h 40"/>
                <a:gd name="T14" fmla="*/ 1 w 40"/>
                <a:gd name="T15" fmla="*/ 15 h 40"/>
                <a:gd name="T16" fmla="*/ 0 w 40"/>
                <a:gd name="T17" fmla="*/ 13 h 40"/>
                <a:gd name="T18" fmla="*/ 2 w 40"/>
                <a:gd name="T19" fmla="*/ 12 h 40"/>
                <a:gd name="T20" fmla="*/ 13 w 40"/>
                <a:gd name="T21" fmla="*/ 12 h 40"/>
                <a:gd name="T22" fmla="*/ 18 w 40"/>
                <a:gd name="T23" fmla="*/ 1 h 40"/>
                <a:gd name="T24" fmla="*/ 22 w 40"/>
                <a:gd name="T25" fmla="*/ 1 h 40"/>
                <a:gd name="T26" fmla="*/ 27 w 40"/>
                <a:gd name="T27" fmla="*/ 12 h 40"/>
                <a:gd name="T28" fmla="*/ 38 w 40"/>
                <a:gd name="T29" fmla="*/ 12 h 40"/>
                <a:gd name="T30" fmla="*/ 40 w 40"/>
                <a:gd name="T31" fmla="*/ 13 h 40"/>
                <a:gd name="T32" fmla="*/ 39 w 40"/>
                <a:gd name="T33" fmla="*/ 15 h 40"/>
                <a:gd name="T34" fmla="*/ 30 w 40"/>
                <a:gd name="T35" fmla="*/ 25 h 40"/>
                <a:gd name="T36" fmla="*/ 34 w 40"/>
                <a:gd name="T37" fmla="*/ 37 h 40"/>
                <a:gd name="T38" fmla="*/ 33 w 40"/>
                <a:gd name="T39" fmla="*/ 40 h 40"/>
                <a:gd name="T40" fmla="*/ 32 w 40"/>
                <a:gd name="T41" fmla="*/ 40 h 40"/>
                <a:gd name="T42" fmla="*/ 20 w 40"/>
                <a:gd name="T43" fmla="*/ 28 h 40"/>
                <a:gd name="T44" fmla="*/ 21 w 40"/>
                <a:gd name="T45" fmla="*/ 29 h 40"/>
                <a:gd name="T46" fmla="*/ 29 w 40"/>
                <a:gd name="T47" fmla="*/ 34 h 40"/>
                <a:gd name="T48" fmla="*/ 26 w 40"/>
                <a:gd name="T49" fmla="*/ 25 h 40"/>
                <a:gd name="T50" fmla="*/ 27 w 40"/>
                <a:gd name="T51" fmla="*/ 23 h 40"/>
                <a:gd name="T52" fmla="*/ 33 w 40"/>
                <a:gd name="T53" fmla="*/ 16 h 40"/>
                <a:gd name="T54" fmla="*/ 26 w 40"/>
                <a:gd name="T55" fmla="*/ 16 h 40"/>
                <a:gd name="T56" fmla="*/ 24 w 40"/>
                <a:gd name="T57" fmla="*/ 15 h 40"/>
                <a:gd name="T58" fmla="*/ 20 w 40"/>
                <a:gd name="T59" fmla="*/ 6 h 40"/>
                <a:gd name="T60" fmla="*/ 16 w 40"/>
                <a:gd name="T61" fmla="*/ 15 h 40"/>
                <a:gd name="T62" fmla="*/ 14 w 40"/>
                <a:gd name="T63" fmla="*/ 16 h 40"/>
                <a:gd name="T64" fmla="*/ 7 w 40"/>
                <a:gd name="T65" fmla="*/ 16 h 40"/>
                <a:gd name="T66" fmla="*/ 13 w 40"/>
                <a:gd name="T67" fmla="*/ 23 h 40"/>
                <a:gd name="T68" fmla="*/ 14 w 40"/>
                <a:gd name="T69" fmla="*/ 25 h 40"/>
                <a:gd name="T70" fmla="*/ 11 w 40"/>
                <a:gd name="T71" fmla="*/ 34 h 40"/>
                <a:gd name="T72" fmla="*/ 19 w 40"/>
                <a:gd name="T73" fmla="*/ 29 h 40"/>
                <a:gd name="T74" fmla="*/ 20 w 40"/>
                <a:gd name="T75" fmla="*/ 28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0" h="40">
                  <a:moveTo>
                    <a:pt x="32" y="40"/>
                  </a:moveTo>
                  <a:cubicBezTo>
                    <a:pt x="32" y="40"/>
                    <a:pt x="31" y="40"/>
                    <a:pt x="31" y="40"/>
                  </a:cubicBezTo>
                  <a:cubicBezTo>
                    <a:pt x="20" y="33"/>
                    <a:pt x="20" y="33"/>
                    <a:pt x="20" y="33"/>
                  </a:cubicBezTo>
                  <a:cubicBezTo>
                    <a:pt x="9" y="40"/>
                    <a:pt x="9" y="40"/>
                    <a:pt x="9" y="40"/>
                  </a:cubicBezTo>
                  <a:cubicBezTo>
                    <a:pt x="8" y="40"/>
                    <a:pt x="7" y="40"/>
                    <a:pt x="7" y="40"/>
                  </a:cubicBezTo>
                  <a:cubicBezTo>
                    <a:pt x="6" y="39"/>
                    <a:pt x="6" y="38"/>
                    <a:pt x="6" y="37"/>
                  </a:cubicBezTo>
                  <a:cubicBezTo>
                    <a:pt x="10" y="25"/>
                    <a:pt x="10" y="25"/>
                    <a:pt x="10" y="25"/>
                  </a:cubicBezTo>
                  <a:cubicBezTo>
                    <a:pt x="1" y="15"/>
                    <a:pt x="1" y="15"/>
                    <a:pt x="1" y="15"/>
                  </a:cubicBezTo>
                  <a:cubicBezTo>
                    <a:pt x="0" y="15"/>
                    <a:pt x="0" y="14"/>
                    <a:pt x="0" y="13"/>
                  </a:cubicBezTo>
                  <a:cubicBezTo>
                    <a:pt x="0" y="12"/>
                    <a:pt x="1" y="12"/>
                    <a:pt x="2" y="12"/>
                  </a:cubicBezTo>
                  <a:cubicBezTo>
                    <a:pt x="13" y="12"/>
                    <a:pt x="13" y="12"/>
                    <a:pt x="13" y="12"/>
                  </a:cubicBezTo>
                  <a:cubicBezTo>
                    <a:pt x="18" y="1"/>
                    <a:pt x="18" y="1"/>
                    <a:pt x="18" y="1"/>
                  </a:cubicBezTo>
                  <a:cubicBezTo>
                    <a:pt x="19" y="0"/>
                    <a:pt x="21" y="0"/>
                    <a:pt x="22" y="1"/>
                  </a:cubicBezTo>
                  <a:cubicBezTo>
                    <a:pt x="27" y="12"/>
                    <a:pt x="27" y="12"/>
                    <a:pt x="27" y="12"/>
                  </a:cubicBezTo>
                  <a:cubicBezTo>
                    <a:pt x="38" y="12"/>
                    <a:pt x="38" y="12"/>
                    <a:pt x="38" y="12"/>
                  </a:cubicBezTo>
                  <a:cubicBezTo>
                    <a:pt x="39" y="12"/>
                    <a:pt x="40" y="12"/>
                    <a:pt x="40" y="13"/>
                  </a:cubicBezTo>
                  <a:cubicBezTo>
                    <a:pt x="40" y="14"/>
                    <a:pt x="40" y="15"/>
                    <a:pt x="39" y="15"/>
                  </a:cubicBezTo>
                  <a:cubicBezTo>
                    <a:pt x="30" y="25"/>
                    <a:pt x="30" y="25"/>
                    <a:pt x="30" y="25"/>
                  </a:cubicBezTo>
                  <a:cubicBezTo>
                    <a:pt x="34" y="37"/>
                    <a:pt x="34" y="37"/>
                    <a:pt x="34" y="37"/>
                  </a:cubicBezTo>
                  <a:cubicBezTo>
                    <a:pt x="34" y="38"/>
                    <a:pt x="34" y="39"/>
                    <a:pt x="33" y="40"/>
                  </a:cubicBezTo>
                  <a:cubicBezTo>
                    <a:pt x="33" y="40"/>
                    <a:pt x="32" y="40"/>
                    <a:pt x="32" y="40"/>
                  </a:cubicBezTo>
                  <a:close/>
                  <a:moveTo>
                    <a:pt x="20" y="28"/>
                  </a:moveTo>
                  <a:cubicBezTo>
                    <a:pt x="20" y="28"/>
                    <a:pt x="21" y="29"/>
                    <a:pt x="21" y="29"/>
                  </a:cubicBezTo>
                  <a:cubicBezTo>
                    <a:pt x="29" y="34"/>
                    <a:pt x="29" y="34"/>
                    <a:pt x="29" y="34"/>
                  </a:cubicBezTo>
                  <a:cubicBezTo>
                    <a:pt x="26" y="25"/>
                    <a:pt x="26" y="25"/>
                    <a:pt x="26" y="25"/>
                  </a:cubicBezTo>
                  <a:cubicBezTo>
                    <a:pt x="26" y="24"/>
                    <a:pt x="26" y="23"/>
                    <a:pt x="27" y="23"/>
                  </a:cubicBezTo>
                  <a:cubicBezTo>
                    <a:pt x="33" y="16"/>
                    <a:pt x="33" y="16"/>
                    <a:pt x="33" y="16"/>
                  </a:cubicBezTo>
                  <a:cubicBezTo>
                    <a:pt x="26" y="16"/>
                    <a:pt x="26" y="16"/>
                    <a:pt x="26" y="16"/>
                  </a:cubicBezTo>
                  <a:cubicBezTo>
                    <a:pt x="25" y="16"/>
                    <a:pt x="25" y="16"/>
                    <a:pt x="24" y="15"/>
                  </a:cubicBezTo>
                  <a:cubicBezTo>
                    <a:pt x="20" y="6"/>
                    <a:pt x="20" y="6"/>
                    <a:pt x="20" y="6"/>
                  </a:cubicBezTo>
                  <a:cubicBezTo>
                    <a:pt x="16" y="15"/>
                    <a:pt x="16" y="15"/>
                    <a:pt x="16" y="15"/>
                  </a:cubicBezTo>
                  <a:cubicBezTo>
                    <a:pt x="15" y="16"/>
                    <a:pt x="15" y="16"/>
                    <a:pt x="14" y="16"/>
                  </a:cubicBezTo>
                  <a:cubicBezTo>
                    <a:pt x="7" y="16"/>
                    <a:pt x="7" y="16"/>
                    <a:pt x="7" y="16"/>
                  </a:cubicBezTo>
                  <a:cubicBezTo>
                    <a:pt x="13" y="23"/>
                    <a:pt x="13" y="23"/>
                    <a:pt x="13" y="23"/>
                  </a:cubicBezTo>
                  <a:cubicBezTo>
                    <a:pt x="14" y="23"/>
                    <a:pt x="14" y="24"/>
                    <a:pt x="14" y="25"/>
                  </a:cubicBezTo>
                  <a:cubicBezTo>
                    <a:pt x="11" y="34"/>
                    <a:pt x="11" y="34"/>
                    <a:pt x="11" y="34"/>
                  </a:cubicBezTo>
                  <a:cubicBezTo>
                    <a:pt x="19" y="29"/>
                    <a:pt x="19" y="29"/>
                    <a:pt x="19" y="29"/>
                  </a:cubicBezTo>
                  <a:cubicBezTo>
                    <a:pt x="19" y="29"/>
                    <a:pt x="20" y="28"/>
                    <a:pt x="20"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grpSp>
      <p:sp>
        <p:nvSpPr>
          <p:cNvPr id="160" name="TextBox 159"/>
          <p:cNvSpPr txBox="1"/>
          <p:nvPr/>
        </p:nvSpPr>
        <p:spPr>
          <a:xfrm>
            <a:off x="3307190" y="2192593"/>
            <a:ext cx="454840" cy="430887"/>
          </a:xfrm>
          <a:prstGeom prst="rect">
            <a:avLst/>
          </a:prstGeom>
          <a:noFill/>
          <a:ln w="6350">
            <a:noFill/>
            <a:prstDash val="dash"/>
          </a:ln>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prstClr val="white"/>
                </a:solidFill>
                <a:effectLst/>
                <a:uLnTx/>
                <a:uFillTx/>
                <a:ea typeface="+mn-ea"/>
                <a:cs typeface="+mn-cs"/>
              </a:rPr>
              <a:t>1</a:t>
            </a:r>
          </a:p>
        </p:txBody>
      </p:sp>
      <p:grpSp>
        <p:nvGrpSpPr>
          <p:cNvPr id="161" name="Group 160"/>
          <p:cNvGrpSpPr/>
          <p:nvPr/>
        </p:nvGrpSpPr>
        <p:grpSpPr>
          <a:xfrm>
            <a:off x="2120039" y="2086699"/>
            <a:ext cx="398679" cy="384376"/>
            <a:chOff x="2084694" y="3456367"/>
            <a:chExt cx="298717" cy="288000"/>
          </a:xfrm>
        </p:grpSpPr>
        <p:sp>
          <p:nvSpPr>
            <p:cNvPr id="162" name="Freeform 52"/>
            <p:cNvSpPr>
              <a:spLocks noEditPoints="1"/>
            </p:cNvSpPr>
            <p:nvPr/>
          </p:nvSpPr>
          <p:spPr bwMode="auto">
            <a:xfrm>
              <a:off x="2103448" y="3586302"/>
              <a:ext cx="79033" cy="79033"/>
            </a:xfrm>
            <a:custGeom>
              <a:avLst/>
              <a:gdLst>
                <a:gd name="T0" fmla="*/ 12 w 24"/>
                <a:gd name="T1" fmla="*/ 24 h 24"/>
                <a:gd name="T2" fmla="*/ 0 w 24"/>
                <a:gd name="T3" fmla="*/ 12 h 24"/>
                <a:gd name="T4" fmla="*/ 12 w 24"/>
                <a:gd name="T5" fmla="*/ 0 h 24"/>
                <a:gd name="T6" fmla="*/ 24 w 24"/>
                <a:gd name="T7" fmla="*/ 12 h 24"/>
                <a:gd name="T8" fmla="*/ 12 w 24"/>
                <a:gd name="T9" fmla="*/ 24 h 24"/>
                <a:gd name="T10" fmla="*/ 12 w 24"/>
                <a:gd name="T11" fmla="*/ 4 h 24"/>
                <a:gd name="T12" fmla="*/ 4 w 24"/>
                <a:gd name="T13" fmla="*/ 12 h 24"/>
                <a:gd name="T14" fmla="*/ 12 w 24"/>
                <a:gd name="T15" fmla="*/ 20 h 24"/>
                <a:gd name="T16" fmla="*/ 20 w 24"/>
                <a:gd name="T17" fmla="*/ 12 h 24"/>
                <a:gd name="T18" fmla="*/ 12 w 24"/>
                <a:gd name="T19" fmla="*/ 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 h="24">
                  <a:moveTo>
                    <a:pt x="12" y="24"/>
                  </a:moveTo>
                  <a:cubicBezTo>
                    <a:pt x="5" y="24"/>
                    <a:pt x="0" y="19"/>
                    <a:pt x="0" y="12"/>
                  </a:cubicBezTo>
                  <a:cubicBezTo>
                    <a:pt x="0" y="5"/>
                    <a:pt x="5" y="0"/>
                    <a:pt x="12" y="0"/>
                  </a:cubicBezTo>
                  <a:cubicBezTo>
                    <a:pt x="19" y="0"/>
                    <a:pt x="24" y="5"/>
                    <a:pt x="24" y="12"/>
                  </a:cubicBezTo>
                  <a:cubicBezTo>
                    <a:pt x="24" y="19"/>
                    <a:pt x="19" y="24"/>
                    <a:pt x="12" y="24"/>
                  </a:cubicBezTo>
                  <a:close/>
                  <a:moveTo>
                    <a:pt x="12" y="4"/>
                  </a:moveTo>
                  <a:cubicBezTo>
                    <a:pt x="8" y="4"/>
                    <a:pt x="4" y="8"/>
                    <a:pt x="4" y="12"/>
                  </a:cubicBezTo>
                  <a:cubicBezTo>
                    <a:pt x="4" y="16"/>
                    <a:pt x="8" y="20"/>
                    <a:pt x="12" y="20"/>
                  </a:cubicBezTo>
                  <a:cubicBezTo>
                    <a:pt x="16" y="20"/>
                    <a:pt x="20" y="16"/>
                    <a:pt x="20" y="12"/>
                  </a:cubicBezTo>
                  <a:cubicBezTo>
                    <a:pt x="20" y="8"/>
                    <a:pt x="16" y="4"/>
                    <a:pt x="12" y="4"/>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63" name="Freeform 53"/>
            <p:cNvSpPr>
              <a:spLocks/>
            </p:cNvSpPr>
            <p:nvPr/>
          </p:nvSpPr>
          <p:spPr bwMode="auto">
            <a:xfrm>
              <a:off x="2084694" y="3651939"/>
              <a:ext cx="107163" cy="65638"/>
            </a:xfrm>
            <a:custGeom>
              <a:avLst/>
              <a:gdLst>
                <a:gd name="T0" fmla="*/ 24 w 33"/>
                <a:gd name="T1" fmla="*/ 20 h 20"/>
                <a:gd name="T2" fmla="*/ 2 w 33"/>
                <a:gd name="T3" fmla="*/ 20 h 20"/>
                <a:gd name="T4" fmla="*/ 0 w 33"/>
                <a:gd name="T5" fmla="*/ 18 h 20"/>
                <a:gd name="T6" fmla="*/ 18 w 33"/>
                <a:gd name="T7" fmla="*/ 0 h 20"/>
                <a:gd name="T8" fmla="*/ 33 w 33"/>
                <a:gd name="T9" fmla="*/ 7 h 20"/>
                <a:gd name="T10" fmla="*/ 32 w 33"/>
                <a:gd name="T11" fmla="*/ 10 h 20"/>
                <a:gd name="T12" fmla="*/ 29 w 33"/>
                <a:gd name="T13" fmla="*/ 10 h 20"/>
                <a:gd name="T14" fmla="*/ 18 w 33"/>
                <a:gd name="T15" fmla="*/ 4 h 20"/>
                <a:gd name="T16" fmla="*/ 4 w 33"/>
                <a:gd name="T17" fmla="*/ 16 h 20"/>
                <a:gd name="T18" fmla="*/ 24 w 33"/>
                <a:gd name="T19" fmla="*/ 16 h 20"/>
                <a:gd name="T20" fmla="*/ 26 w 33"/>
                <a:gd name="T21" fmla="*/ 18 h 20"/>
                <a:gd name="T22" fmla="*/ 24 w 33"/>
                <a:gd name="T23" fmla="*/ 2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3" h="20">
                  <a:moveTo>
                    <a:pt x="24" y="20"/>
                  </a:moveTo>
                  <a:cubicBezTo>
                    <a:pt x="2" y="20"/>
                    <a:pt x="2" y="20"/>
                    <a:pt x="2" y="20"/>
                  </a:cubicBezTo>
                  <a:cubicBezTo>
                    <a:pt x="1" y="20"/>
                    <a:pt x="0" y="19"/>
                    <a:pt x="0" y="18"/>
                  </a:cubicBezTo>
                  <a:cubicBezTo>
                    <a:pt x="0" y="8"/>
                    <a:pt x="8" y="0"/>
                    <a:pt x="18" y="0"/>
                  </a:cubicBezTo>
                  <a:cubicBezTo>
                    <a:pt x="24" y="0"/>
                    <a:pt x="29" y="3"/>
                    <a:pt x="33" y="7"/>
                  </a:cubicBezTo>
                  <a:cubicBezTo>
                    <a:pt x="33" y="8"/>
                    <a:pt x="33" y="9"/>
                    <a:pt x="32" y="10"/>
                  </a:cubicBezTo>
                  <a:cubicBezTo>
                    <a:pt x="31" y="11"/>
                    <a:pt x="30" y="11"/>
                    <a:pt x="29" y="10"/>
                  </a:cubicBezTo>
                  <a:cubicBezTo>
                    <a:pt x="27" y="6"/>
                    <a:pt x="22" y="4"/>
                    <a:pt x="18" y="4"/>
                  </a:cubicBezTo>
                  <a:cubicBezTo>
                    <a:pt x="11" y="4"/>
                    <a:pt x="5" y="9"/>
                    <a:pt x="4" y="16"/>
                  </a:cubicBezTo>
                  <a:cubicBezTo>
                    <a:pt x="24" y="16"/>
                    <a:pt x="24" y="16"/>
                    <a:pt x="24" y="16"/>
                  </a:cubicBezTo>
                  <a:cubicBezTo>
                    <a:pt x="25" y="16"/>
                    <a:pt x="26" y="17"/>
                    <a:pt x="26" y="18"/>
                  </a:cubicBezTo>
                  <a:cubicBezTo>
                    <a:pt x="26" y="19"/>
                    <a:pt x="25" y="20"/>
                    <a:pt x="24" y="2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64" name="Freeform 54"/>
            <p:cNvSpPr>
              <a:spLocks noEditPoints="1"/>
            </p:cNvSpPr>
            <p:nvPr/>
          </p:nvSpPr>
          <p:spPr bwMode="auto">
            <a:xfrm>
              <a:off x="2285624" y="3586302"/>
              <a:ext cx="79033" cy="79033"/>
            </a:xfrm>
            <a:custGeom>
              <a:avLst/>
              <a:gdLst>
                <a:gd name="T0" fmla="*/ 12 w 24"/>
                <a:gd name="T1" fmla="*/ 24 h 24"/>
                <a:gd name="T2" fmla="*/ 0 w 24"/>
                <a:gd name="T3" fmla="*/ 12 h 24"/>
                <a:gd name="T4" fmla="*/ 12 w 24"/>
                <a:gd name="T5" fmla="*/ 0 h 24"/>
                <a:gd name="T6" fmla="*/ 24 w 24"/>
                <a:gd name="T7" fmla="*/ 12 h 24"/>
                <a:gd name="T8" fmla="*/ 12 w 24"/>
                <a:gd name="T9" fmla="*/ 24 h 24"/>
                <a:gd name="T10" fmla="*/ 12 w 24"/>
                <a:gd name="T11" fmla="*/ 4 h 24"/>
                <a:gd name="T12" fmla="*/ 4 w 24"/>
                <a:gd name="T13" fmla="*/ 12 h 24"/>
                <a:gd name="T14" fmla="*/ 12 w 24"/>
                <a:gd name="T15" fmla="*/ 20 h 24"/>
                <a:gd name="T16" fmla="*/ 20 w 24"/>
                <a:gd name="T17" fmla="*/ 12 h 24"/>
                <a:gd name="T18" fmla="*/ 12 w 24"/>
                <a:gd name="T19" fmla="*/ 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 h="24">
                  <a:moveTo>
                    <a:pt x="12" y="24"/>
                  </a:moveTo>
                  <a:cubicBezTo>
                    <a:pt x="5" y="24"/>
                    <a:pt x="0" y="19"/>
                    <a:pt x="0" y="12"/>
                  </a:cubicBezTo>
                  <a:cubicBezTo>
                    <a:pt x="0" y="5"/>
                    <a:pt x="5" y="0"/>
                    <a:pt x="12" y="0"/>
                  </a:cubicBezTo>
                  <a:cubicBezTo>
                    <a:pt x="19" y="0"/>
                    <a:pt x="24" y="5"/>
                    <a:pt x="24" y="12"/>
                  </a:cubicBezTo>
                  <a:cubicBezTo>
                    <a:pt x="24" y="19"/>
                    <a:pt x="19" y="24"/>
                    <a:pt x="12" y="24"/>
                  </a:cubicBezTo>
                  <a:close/>
                  <a:moveTo>
                    <a:pt x="12" y="4"/>
                  </a:moveTo>
                  <a:cubicBezTo>
                    <a:pt x="8" y="4"/>
                    <a:pt x="4" y="8"/>
                    <a:pt x="4" y="12"/>
                  </a:cubicBezTo>
                  <a:cubicBezTo>
                    <a:pt x="4" y="16"/>
                    <a:pt x="8" y="20"/>
                    <a:pt x="12" y="20"/>
                  </a:cubicBezTo>
                  <a:cubicBezTo>
                    <a:pt x="16" y="20"/>
                    <a:pt x="20" y="16"/>
                    <a:pt x="20" y="12"/>
                  </a:cubicBezTo>
                  <a:cubicBezTo>
                    <a:pt x="20" y="8"/>
                    <a:pt x="16" y="4"/>
                    <a:pt x="12" y="4"/>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65" name="Freeform 55"/>
            <p:cNvSpPr>
              <a:spLocks/>
            </p:cNvSpPr>
            <p:nvPr/>
          </p:nvSpPr>
          <p:spPr bwMode="auto">
            <a:xfrm>
              <a:off x="2276248" y="3651939"/>
              <a:ext cx="107163" cy="65638"/>
            </a:xfrm>
            <a:custGeom>
              <a:avLst/>
              <a:gdLst>
                <a:gd name="T0" fmla="*/ 31 w 33"/>
                <a:gd name="T1" fmla="*/ 20 h 20"/>
                <a:gd name="T2" fmla="*/ 9 w 33"/>
                <a:gd name="T3" fmla="*/ 20 h 20"/>
                <a:gd name="T4" fmla="*/ 7 w 33"/>
                <a:gd name="T5" fmla="*/ 18 h 20"/>
                <a:gd name="T6" fmla="*/ 9 w 33"/>
                <a:gd name="T7" fmla="*/ 16 h 20"/>
                <a:gd name="T8" fmla="*/ 29 w 33"/>
                <a:gd name="T9" fmla="*/ 16 h 20"/>
                <a:gd name="T10" fmla="*/ 15 w 33"/>
                <a:gd name="T11" fmla="*/ 4 h 20"/>
                <a:gd name="T12" fmla="*/ 4 w 33"/>
                <a:gd name="T13" fmla="*/ 10 h 20"/>
                <a:gd name="T14" fmla="*/ 1 w 33"/>
                <a:gd name="T15" fmla="*/ 10 h 20"/>
                <a:gd name="T16" fmla="*/ 0 w 33"/>
                <a:gd name="T17" fmla="*/ 7 h 20"/>
                <a:gd name="T18" fmla="*/ 15 w 33"/>
                <a:gd name="T19" fmla="*/ 0 h 20"/>
                <a:gd name="T20" fmla="*/ 33 w 33"/>
                <a:gd name="T21" fmla="*/ 18 h 20"/>
                <a:gd name="T22" fmla="*/ 31 w 33"/>
                <a:gd name="T23" fmla="*/ 2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3" h="20">
                  <a:moveTo>
                    <a:pt x="31" y="20"/>
                  </a:moveTo>
                  <a:cubicBezTo>
                    <a:pt x="9" y="20"/>
                    <a:pt x="9" y="20"/>
                    <a:pt x="9" y="20"/>
                  </a:cubicBezTo>
                  <a:cubicBezTo>
                    <a:pt x="8" y="20"/>
                    <a:pt x="7" y="19"/>
                    <a:pt x="7" y="18"/>
                  </a:cubicBezTo>
                  <a:cubicBezTo>
                    <a:pt x="7" y="17"/>
                    <a:pt x="8" y="16"/>
                    <a:pt x="9" y="16"/>
                  </a:cubicBezTo>
                  <a:cubicBezTo>
                    <a:pt x="29" y="16"/>
                    <a:pt x="29" y="16"/>
                    <a:pt x="29" y="16"/>
                  </a:cubicBezTo>
                  <a:cubicBezTo>
                    <a:pt x="28" y="9"/>
                    <a:pt x="22" y="4"/>
                    <a:pt x="15" y="4"/>
                  </a:cubicBezTo>
                  <a:cubicBezTo>
                    <a:pt x="11" y="4"/>
                    <a:pt x="6" y="6"/>
                    <a:pt x="4" y="10"/>
                  </a:cubicBezTo>
                  <a:cubicBezTo>
                    <a:pt x="3" y="11"/>
                    <a:pt x="2" y="11"/>
                    <a:pt x="1" y="10"/>
                  </a:cubicBezTo>
                  <a:cubicBezTo>
                    <a:pt x="0" y="10"/>
                    <a:pt x="0" y="8"/>
                    <a:pt x="0" y="7"/>
                  </a:cubicBezTo>
                  <a:cubicBezTo>
                    <a:pt x="4" y="3"/>
                    <a:pt x="9" y="0"/>
                    <a:pt x="15" y="0"/>
                  </a:cubicBezTo>
                  <a:cubicBezTo>
                    <a:pt x="25" y="0"/>
                    <a:pt x="33" y="8"/>
                    <a:pt x="33" y="18"/>
                  </a:cubicBezTo>
                  <a:cubicBezTo>
                    <a:pt x="33" y="19"/>
                    <a:pt x="32" y="20"/>
                    <a:pt x="31" y="2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66" name="Freeform 56"/>
            <p:cNvSpPr>
              <a:spLocks noEditPoints="1"/>
            </p:cNvSpPr>
            <p:nvPr/>
          </p:nvSpPr>
          <p:spPr bwMode="auto">
            <a:xfrm>
              <a:off x="2182481" y="3560851"/>
              <a:ext cx="103145" cy="107163"/>
            </a:xfrm>
            <a:custGeom>
              <a:avLst/>
              <a:gdLst>
                <a:gd name="T0" fmla="*/ 16 w 32"/>
                <a:gd name="T1" fmla="*/ 33 h 33"/>
                <a:gd name="T2" fmla="*/ 0 w 32"/>
                <a:gd name="T3" fmla="*/ 16 h 33"/>
                <a:gd name="T4" fmla="*/ 16 w 32"/>
                <a:gd name="T5" fmla="*/ 0 h 33"/>
                <a:gd name="T6" fmla="*/ 32 w 32"/>
                <a:gd name="T7" fmla="*/ 16 h 33"/>
                <a:gd name="T8" fmla="*/ 16 w 32"/>
                <a:gd name="T9" fmla="*/ 33 h 33"/>
                <a:gd name="T10" fmla="*/ 16 w 32"/>
                <a:gd name="T11" fmla="*/ 4 h 33"/>
                <a:gd name="T12" fmla="*/ 4 w 32"/>
                <a:gd name="T13" fmla="*/ 16 h 33"/>
                <a:gd name="T14" fmla="*/ 16 w 32"/>
                <a:gd name="T15" fmla="*/ 29 h 33"/>
                <a:gd name="T16" fmla="*/ 28 w 32"/>
                <a:gd name="T17" fmla="*/ 16 h 33"/>
                <a:gd name="T18" fmla="*/ 16 w 32"/>
                <a:gd name="T19" fmla="*/ 4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3">
                  <a:moveTo>
                    <a:pt x="16" y="33"/>
                  </a:moveTo>
                  <a:cubicBezTo>
                    <a:pt x="7" y="33"/>
                    <a:pt x="0" y="26"/>
                    <a:pt x="0" y="16"/>
                  </a:cubicBezTo>
                  <a:cubicBezTo>
                    <a:pt x="0" y="7"/>
                    <a:pt x="7" y="0"/>
                    <a:pt x="16" y="0"/>
                  </a:cubicBezTo>
                  <a:cubicBezTo>
                    <a:pt x="25" y="0"/>
                    <a:pt x="32" y="7"/>
                    <a:pt x="32" y="16"/>
                  </a:cubicBezTo>
                  <a:cubicBezTo>
                    <a:pt x="32" y="26"/>
                    <a:pt x="25" y="33"/>
                    <a:pt x="16" y="33"/>
                  </a:cubicBezTo>
                  <a:close/>
                  <a:moveTo>
                    <a:pt x="16" y="4"/>
                  </a:moveTo>
                  <a:cubicBezTo>
                    <a:pt x="9" y="4"/>
                    <a:pt x="4" y="10"/>
                    <a:pt x="4" y="16"/>
                  </a:cubicBezTo>
                  <a:cubicBezTo>
                    <a:pt x="4" y="23"/>
                    <a:pt x="9" y="29"/>
                    <a:pt x="16" y="29"/>
                  </a:cubicBezTo>
                  <a:cubicBezTo>
                    <a:pt x="23" y="29"/>
                    <a:pt x="28" y="23"/>
                    <a:pt x="28" y="16"/>
                  </a:cubicBezTo>
                  <a:cubicBezTo>
                    <a:pt x="28" y="10"/>
                    <a:pt x="23" y="4"/>
                    <a:pt x="16" y="4"/>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67" name="Freeform 57"/>
            <p:cNvSpPr>
              <a:spLocks/>
            </p:cNvSpPr>
            <p:nvPr/>
          </p:nvSpPr>
          <p:spPr bwMode="auto">
            <a:xfrm>
              <a:off x="2159708" y="3520665"/>
              <a:ext cx="148689" cy="46884"/>
            </a:xfrm>
            <a:custGeom>
              <a:avLst/>
              <a:gdLst>
                <a:gd name="T0" fmla="*/ 2 w 46"/>
                <a:gd name="T1" fmla="*/ 14 h 14"/>
                <a:gd name="T2" fmla="*/ 1 w 46"/>
                <a:gd name="T3" fmla="*/ 14 h 14"/>
                <a:gd name="T4" fmla="*/ 1 w 46"/>
                <a:gd name="T5" fmla="*/ 11 h 14"/>
                <a:gd name="T6" fmla="*/ 23 w 46"/>
                <a:gd name="T7" fmla="*/ 0 h 14"/>
                <a:gd name="T8" fmla="*/ 45 w 46"/>
                <a:gd name="T9" fmla="*/ 11 h 14"/>
                <a:gd name="T10" fmla="*/ 45 w 46"/>
                <a:gd name="T11" fmla="*/ 14 h 14"/>
                <a:gd name="T12" fmla="*/ 42 w 46"/>
                <a:gd name="T13" fmla="*/ 13 h 14"/>
                <a:gd name="T14" fmla="*/ 23 w 46"/>
                <a:gd name="T15" fmla="*/ 4 h 14"/>
                <a:gd name="T16" fmla="*/ 4 w 46"/>
                <a:gd name="T17" fmla="*/ 13 h 14"/>
                <a:gd name="T18" fmla="*/ 2 w 46"/>
                <a:gd name="T19" fmla="*/ 14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6" h="14">
                  <a:moveTo>
                    <a:pt x="2" y="14"/>
                  </a:moveTo>
                  <a:cubicBezTo>
                    <a:pt x="2" y="14"/>
                    <a:pt x="2" y="14"/>
                    <a:pt x="1" y="14"/>
                  </a:cubicBezTo>
                  <a:cubicBezTo>
                    <a:pt x="0" y="13"/>
                    <a:pt x="0" y="12"/>
                    <a:pt x="1" y="11"/>
                  </a:cubicBezTo>
                  <a:cubicBezTo>
                    <a:pt x="6" y="4"/>
                    <a:pt x="14" y="0"/>
                    <a:pt x="23" y="0"/>
                  </a:cubicBezTo>
                  <a:cubicBezTo>
                    <a:pt x="32" y="0"/>
                    <a:pt x="40" y="4"/>
                    <a:pt x="45" y="11"/>
                  </a:cubicBezTo>
                  <a:cubicBezTo>
                    <a:pt x="46" y="12"/>
                    <a:pt x="46" y="13"/>
                    <a:pt x="45" y="14"/>
                  </a:cubicBezTo>
                  <a:cubicBezTo>
                    <a:pt x="44" y="14"/>
                    <a:pt x="43" y="14"/>
                    <a:pt x="42" y="13"/>
                  </a:cubicBezTo>
                  <a:cubicBezTo>
                    <a:pt x="37" y="7"/>
                    <a:pt x="30" y="4"/>
                    <a:pt x="23" y="4"/>
                  </a:cubicBezTo>
                  <a:cubicBezTo>
                    <a:pt x="16" y="4"/>
                    <a:pt x="9" y="7"/>
                    <a:pt x="4" y="13"/>
                  </a:cubicBezTo>
                  <a:cubicBezTo>
                    <a:pt x="4" y="14"/>
                    <a:pt x="3" y="14"/>
                    <a:pt x="2" y="14"/>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68" name="Freeform 58"/>
            <p:cNvSpPr>
              <a:spLocks/>
            </p:cNvSpPr>
            <p:nvPr/>
          </p:nvSpPr>
          <p:spPr bwMode="auto">
            <a:xfrm>
              <a:off x="2136936" y="3488516"/>
              <a:ext cx="195572" cy="58940"/>
            </a:xfrm>
            <a:custGeom>
              <a:avLst/>
              <a:gdLst>
                <a:gd name="T0" fmla="*/ 2 w 60"/>
                <a:gd name="T1" fmla="*/ 17 h 18"/>
                <a:gd name="T2" fmla="*/ 1 w 60"/>
                <a:gd name="T3" fmla="*/ 17 h 18"/>
                <a:gd name="T4" fmla="*/ 0 w 60"/>
                <a:gd name="T5" fmla="*/ 14 h 18"/>
                <a:gd name="T6" fmla="*/ 30 w 60"/>
                <a:gd name="T7" fmla="*/ 0 h 18"/>
                <a:gd name="T8" fmla="*/ 60 w 60"/>
                <a:gd name="T9" fmla="*/ 14 h 18"/>
                <a:gd name="T10" fmla="*/ 59 w 60"/>
                <a:gd name="T11" fmla="*/ 17 h 18"/>
                <a:gd name="T12" fmla="*/ 56 w 60"/>
                <a:gd name="T13" fmla="*/ 17 h 18"/>
                <a:gd name="T14" fmla="*/ 30 w 60"/>
                <a:gd name="T15" fmla="*/ 4 h 18"/>
                <a:gd name="T16" fmla="*/ 4 w 60"/>
                <a:gd name="T17" fmla="*/ 17 h 18"/>
                <a:gd name="T18" fmla="*/ 2 w 60"/>
                <a:gd name="T19" fmla="*/ 17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18">
                  <a:moveTo>
                    <a:pt x="2" y="17"/>
                  </a:moveTo>
                  <a:cubicBezTo>
                    <a:pt x="2" y="17"/>
                    <a:pt x="1" y="17"/>
                    <a:pt x="1" y="17"/>
                  </a:cubicBezTo>
                  <a:cubicBezTo>
                    <a:pt x="0" y="16"/>
                    <a:pt x="0" y="15"/>
                    <a:pt x="0" y="14"/>
                  </a:cubicBezTo>
                  <a:cubicBezTo>
                    <a:pt x="8" y="5"/>
                    <a:pt x="18" y="0"/>
                    <a:pt x="30" y="0"/>
                  </a:cubicBezTo>
                  <a:cubicBezTo>
                    <a:pt x="42" y="0"/>
                    <a:pt x="52" y="5"/>
                    <a:pt x="60" y="14"/>
                  </a:cubicBezTo>
                  <a:cubicBezTo>
                    <a:pt x="60" y="15"/>
                    <a:pt x="60" y="16"/>
                    <a:pt x="59" y="17"/>
                  </a:cubicBezTo>
                  <a:cubicBezTo>
                    <a:pt x="58" y="18"/>
                    <a:pt x="57" y="17"/>
                    <a:pt x="56" y="17"/>
                  </a:cubicBezTo>
                  <a:cubicBezTo>
                    <a:pt x="50" y="9"/>
                    <a:pt x="40" y="4"/>
                    <a:pt x="30" y="4"/>
                  </a:cubicBezTo>
                  <a:cubicBezTo>
                    <a:pt x="20" y="4"/>
                    <a:pt x="10" y="9"/>
                    <a:pt x="4" y="17"/>
                  </a:cubicBezTo>
                  <a:cubicBezTo>
                    <a:pt x="3" y="17"/>
                    <a:pt x="3" y="17"/>
                    <a:pt x="2" y="17"/>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69" name="Freeform 59"/>
            <p:cNvSpPr>
              <a:spLocks/>
            </p:cNvSpPr>
            <p:nvPr/>
          </p:nvSpPr>
          <p:spPr bwMode="auto">
            <a:xfrm>
              <a:off x="2110146" y="3456367"/>
              <a:ext cx="247815" cy="70996"/>
            </a:xfrm>
            <a:custGeom>
              <a:avLst/>
              <a:gdLst>
                <a:gd name="T0" fmla="*/ 74 w 76"/>
                <a:gd name="T1" fmla="*/ 21 h 22"/>
                <a:gd name="T2" fmla="*/ 73 w 76"/>
                <a:gd name="T3" fmla="*/ 21 h 22"/>
                <a:gd name="T4" fmla="*/ 38 w 76"/>
                <a:gd name="T5" fmla="*/ 4 h 22"/>
                <a:gd name="T6" fmla="*/ 4 w 76"/>
                <a:gd name="T7" fmla="*/ 21 h 22"/>
                <a:gd name="T8" fmla="*/ 1 w 76"/>
                <a:gd name="T9" fmla="*/ 21 h 22"/>
                <a:gd name="T10" fmla="*/ 0 w 76"/>
                <a:gd name="T11" fmla="*/ 18 h 22"/>
                <a:gd name="T12" fmla="*/ 38 w 76"/>
                <a:gd name="T13" fmla="*/ 0 h 22"/>
                <a:gd name="T14" fmla="*/ 76 w 76"/>
                <a:gd name="T15" fmla="*/ 18 h 22"/>
                <a:gd name="T16" fmla="*/ 75 w 76"/>
                <a:gd name="T17" fmla="*/ 21 h 22"/>
                <a:gd name="T18" fmla="*/ 74 w 76"/>
                <a:gd name="T19" fmla="*/ 21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6" h="22">
                  <a:moveTo>
                    <a:pt x="74" y="21"/>
                  </a:moveTo>
                  <a:cubicBezTo>
                    <a:pt x="73" y="21"/>
                    <a:pt x="73" y="21"/>
                    <a:pt x="73" y="21"/>
                  </a:cubicBezTo>
                  <a:cubicBezTo>
                    <a:pt x="64" y="10"/>
                    <a:pt x="52" y="4"/>
                    <a:pt x="38" y="4"/>
                  </a:cubicBezTo>
                  <a:cubicBezTo>
                    <a:pt x="24" y="4"/>
                    <a:pt x="12" y="10"/>
                    <a:pt x="4" y="21"/>
                  </a:cubicBezTo>
                  <a:cubicBezTo>
                    <a:pt x="3" y="21"/>
                    <a:pt x="2" y="22"/>
                    <a:pt x="1" y="21"/>
                  </a:cubicBezTo>
                  <a:cubicBezTo>
                    <a:pt x="0" y="20"/>
                    <a:pt x="0" y="19"/>
                    <a:pt x="0" y="18"/>
                  </a:cubicBezTo>
                  <a:cubicBezTo>
                    <a:pt x="10" y="7"/>
                    <a:pt x="23" y="0"/>
                    <a:pt x="38" y="0"/>
                  </a:cubicBezTo>
                  <a:cubicBezTo>
                    <a:pt x="53" y="0"/>
                    <a:pt x="66" y="7"/>
                    <a:pt x="76" y="18"/>
                  </a:cubicBezTo>
                  <a:cubicBezTo>
                    <a:pt x="76" y="19"/>
                    <a:pt x="76" y="20"/>
                    <a:pt x="75" y="21"/>
                  </a:cubicBezTo>
                  <a:cubicBezTo>
                    <a:pt x="75" y="21"/>
                    <a:pt x="75" y="21"/>
                    <a:pt x="74" y="21"/>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70" name="Freeform 60"/>
            <p:cNvSpPr>
              <a:spLocks noEditPoints="1"/>
            </p:cNvSpPr>
            <p:nvPr/>
          </p:nvSpPr>
          <p:spPr bwMode="auto">
            <a:xfrm>
              <a:off x="2153011" y="3655958"/>
              <a:ext cx="162084" cy="88409"/>
            </a:xfrm>
            <a:custGeom>
              <a:avLst/>
              <a:gdLst>
                <a:gd name="T0" fmla="*/ 48 w 50"/>
                <a:gd name="T1" fmla="*/ 27 h 27"/>
                <a:gd name="T2" fmla="*/ 48 w 50"/>
                <a:gd name="T3" fmla="*/ 27 h 27"/>
                <a:gd name="T4" fmla="*/ 2 w 50"/>
                <a:gd name="T5" fmla="*/ 27 h 27"/>
                <a:gd name="T6" fmla="*/ 0 w 50"/>
                <a:gd name="T7" fmla="*/ 25 h 27"/>
                <a:gd name="T8" fmla="*/ 25 w 50"/>
                <a:gd name="T9" fmla="*/ 0 h 27"/>
                <a:gd name="T10" fmla="*/ 50 w 50"/>
                <a:gd name="T11" fmla="*/ 24 h 27"/>
                <a:gd name="T12" fmla="*/ 50 w 50"/>
                <a:gd name="T13" fmla="*/ 25 h 27"/>
                <a:gd name="T14" fmla="*/ 48 w 50"/>
                <a:gd name="T15" fmla="*/ 27 h 27"/>
                <a:gd name="T16" fmla="*/ 4 w 50"/>
                <a:gd name="T17" fmla="*/ 23 h 27"/>
                <a:gd name="T18" fmla="*/ 46 w 50"/>
                <a:gd name="T19" fmla="*/ 23 h 27"/>
                <a:gd name="T20" fmla="*/ 25 w 50"/>
                <a:gd name="T21" fmla="*/ 4 h 27"/>
                <a:gd name="T22" fmla="*/ 4 w 50"/>
                <a:gd name="T23" fmla="*/ 23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0" h="27">
                  <a:moveTo>
                    <a:pt x="48" y="27"/>
                  </a:moveTo>
                  <a:cubicBezTo>
                    <a:pt x="48" y="27"/>
                    <a:pt x="48" y="27"/>
                    <a:pt x="48" y="27"/>
                  </a:cubicBezTo>
                  <a:cubicBezTo>
                    <a:pt x="2" y="27"/>
                    <a:pt x="2" y="27"/>
                    <a:pt x="2" y="27"/>
                  </a:cubicBezTo>
                  <a:cubicBezTo>
                    <a:pt x="1" y="27"/>
                    <a:pt x="0" y="26"/>
                    <a:pt x="0" y="25"/>
                  </a:cubicBezTo>
                  <a:cubicBezTo>
                    <a:pt x="0" y="11"/>
                    <a:pt x="11" y="0"/>
                    <a:pt x="25" y="0"/>
                  </a:cubicBezTo>
                  <a:cubicBezTo>
                    <a:pt x="39" y="0"/>
                    <a:pt x="50" y="11"/>
                    <a:pt x="50" y="24"/>
                  </a:cubicBezTo>
                  <a:cubicBezTo>
                    <a:pt x="50" y="25"/>
                    <a:pt x="50" y="25"/>
                    <a:pt x="50" y="25"/>
                  </a:cubicBezTo>
                  <a:cubicBezTo>
                    <a:pt x="50" y="26"/>
                    <a:pt x="49" y="27"/>
                    <a:pt x="48" y="27"/>
                  </a:cubicBezTo>
                  <a:close/>
                  <a:moveTo>
                    <a:pt x="4" y="23"/>
                  </a:moveTo>
                  <a:cubicBezTo>
                    <a:pt x="46" y="23"/>
                    <a:pt x="46" y="23"/>
                    <a:pt x="46" y="23"/>
                  </a:cubicBezTo>
                  <a:cubicBezTo>
                    <a:pt x="45" y="12"/>
                    <a:pt x="36" y="4"/>
                    <a:pt x="25" y="4"/>
                  </a:cubicBezTo>
                  <a:cubicBezTo>
                    <a:pt x="14" y="4"/>
                    <a:pt x="5" y="12"/>
                    <a:pt x="4" y="23"/>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grpSp>
      <p:sp>
        <p:nvSpPr>
          <p:cNvPr id="171" name="TextBox 170"/>
          <p:cNvSpPr txBox="1"/>
          <p:nvPr/>
        </p:nvSpPr>
        <p:spPr>
          <a:xfrm>
            <a:off x="1782089" y="2523988"/>
            <a:ext cx="1074577" cy="153888"/>
          </a:xfrm>
          <a:prstGeom prst="rect">
            <a:avLst/>
          </a:prstGeom>
          <a:noFill/>
          <a:ln w="6350">
            <a:noFill/>
            <a:prstDash val="dash"/>
          </a:ln>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white"/>
                </a:solidFill>
                <a:effectLst/>
                <a:uLnTx/>
                <a:uFillTx/>
                <a:ea typeface="+mn-ea"/>
                <a:cs typeface="+mn-cs"/>
              </a:rPr>
              <a:t>LOREM IPSUM </a:t>
            </a:r>
          </a:p>
        </p:txBody>
      </p:sp>
      <p:cxnSp>
        <p:nvCxnSpPr>
          <p:cNvPr id="172" name="Straight Connector 171"/>
          <p:cNvCxnSpPr/>
          <p:nvPr/>
        </p:nvCxnSpPr>
        <p:spPr>
          <a:xfrm>
            <a:off x="3171632" y="2076290"/>
            <a:ext cx="0" cy="663493"/>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sp>
        <p:nvSpPr>
          <p:cNvPr id="173" name="TextBox 172"/>
          <p:cNvSpPr txBox="1"/>
          <p:nvPr/>
        </p:nvSpPr>
        <p:spPr>
          <a:xfrm>
            <a:off x="3307190" y="3048072"/>
            <a:ext cx="454840" cy="430887"/>
          </a:xfrm>
          <a:prstGeom prst="rect">
            <a:avLst/>
          </a:prstGeom>
          <a:noFill/>
          <a:ln w="6350">
            <a:noFill/>
            <a:prstDash val="dash"/>
          </a:ln>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prstClr val="white"/>
                </a:solidFill>
                <a:effectLst/>
                <a:uLnTx/>
                <a:uFillTx/>
                <a:ea typeface="+mn-ea"/>
                <a:cs typeface="+mn-cs"/>
              </a:rPr>
              <a:t>2</a:t>
            </a:r>
          </a:p>
        </p:txBody>
      </p:sp>
      <p:sp>
        <p:nvSpPr>
          <p:cNvPr id="174" name="TextBox 173"/>
          <p:cNvSpPr txBox="1"/>
          <p:nvPr/>
        </p:nvSpPr>
        <p:spPr>
          <a:xfrm>
            <a:off x="1782089" y="3379467"/>
            <a:ext cx="1074577" cy="153888"/>
          </a:xfrm>
          <a:prstGeom prst="rect">
            <a:avLst/>
          </a:prstGeom>
          <a:noFill/>
          <a:ln w="6350">
            <a:noFill/>
            <a:prstDash val="dash"/>
          </a:ln>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white"/>
                </a:solidFill>
                <a:effectLst/>
                <a:uLnTx/>
                <a:uFillTx/>
                <a:ea typeface="+mn-ea"/>
                <a:cs typeface="+mn-cs"/>
              </a:rPr>
              <a:t>LOREM IPSUM </a:t>
            </a:r>
          </a:p>
        </p:txBody>
      </p:sp>
      <p:cxnSp>
        <p:nvCxnSpPr>
          <p:cNvPr id="175" name="Straight Connector 174"/>
          <p:cNvCxnSpPr/>
          <p:nvPr/>
        </p:nvCxnSpPr>
        <p:spPr>
          <a:xfrm>
            <a:off x="3171632" y="2931768"/>
            <a:ext cx="0" cy="663493"/>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sp>
        <p:nvSpPr>
          <p:cNvPr id="176" name="TextBox 175"/>
          <p:cNvSpPr txBox="1"/>
          <p:nvPr/>
        </p:nvSpPr>
        <p:spPr>
          <a:xfrm>
            <a:off x="3307190" y="3903601"/>
            <a:ext cx="454840" cy="430887"/>
          </a:xfrm>
          <a:prstGeom prst="rect">
            <a:avLst/>
          </a:prstGeom>
          <a:noFill/>
          <a:ln w="6350">
            <a:noFill/>
            <a:prstDash val="dash"/>
          </a:ln>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prstClr val="white"/>
                </a:solidFill>
                <a:effectLst/>
                <a:uLnTx/>
                <a:uFillTx/>
                <a:ea typeface="+mn-ea"/>
                <a:cs typeface="+mn-cs"/>
              </a:rPr>
              <a:t>3</a:t>
            </a:r>
          </a:p>
        </p:txBody>
      </p:sp>
      <p:sp>
        <p:nvSpPr>
          <p:cNvPr id="177" name="TextBox 176"/>
          <p:cNvSpPr txBox="1"/>
          <p:nvPr/>
        </p:nvSpPr>
        <p:spPr>
          <a:xfrm>
            <a:off x="1782089" y="4234996"/>
            <a:ext cx="1074577" cy="153888"/>
          </a:xfrm>
          <a:prstGeom prst="rect">
            <a:avLst/>
          </a:prstGeom>
          <a:noFill/>
          <a:ln w="6350">
            <a:noFill/>
            <a:prstDash val="dash"/>
          </a:ln>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white"/>
                </a:solidFill>
                <a:effectLst/>
                <a:uLnTx/>
                <a:uFillTx/>
                <a:ea typeface="+mn-ea"/>
                <a:cs typeface="+mn-cs"/>
              </a:rPr>
              <a:t>LOREM IPSUM </a:t>
            </a:r>
          </a:p>
        </p:txBody>
      </p:sp>
      <p:cxnSp>
        <p:nvCxnSpPr>
          <p:cNvPr id="178" name="Straight Connector 177"/>
          <p:cNvCxnSpPr/>
          <p:nvPr/>
        </p:nvCxnSpPr>
        <p:spPr>
          <a:xfrm>
            <a:off x="3171632" y="3787298"/>
            <a:ext cx="0" cy="663493"/>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sp>
        <p:nvSpPr>
          <p:cNvPr id="179" name="TextBox 178"/>
          <p:cNvSpPr txBox="1"/>
          <p:nvPr/>
        </p:nvSpPr>
        <p:spPr>
          <a:xfrm>
            <a:off x="3307190" y="4761234"/>
            <a:ext cx="454840" cy="430887"/>
          </a:xfrm>
          <a:prstGeom prst="rect">
            <a:avLst/>
          </a:prstGeom>
          <a:noFill/>
          <a:ln w="6350">
            <a:noFill/>
            <a:prstDash val="dash"/>
          </a:ln>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prstClr val="white"/>
                </a:solidFill>
                <a:effectLst/>
                <a:uLnTx/>
                <a:uFillTx/>
                <a:ea typeface="+mn-ea"/>
                <a:cs typeface="+mn-cs"/>
              </a:rPr>
              <a:t>4</a:t>
            </a:r>
          </a:p>
        </p:txBody>
      </p:sp>
      <p:sp>
        <p:nvSpPr>
          <p:cNvPr id="180" name="TextBox 179"/>
          <p:cNvSpPr txBox="1"/>
          <p:nvPr/>
        </p:nvSpPr>
        <p:spPr>
          <a:xfrm>
            <a:off x="1782089" y="5092628"/>
            <a:ext cx="1074577" cy="153888"/>
          </a:xfrm>
          <a:prstGeom prst="rect">
            <a:avLst/>
          </a:prstGeom>
          <a:noFill/>
          <a:ln w="6350">
            <a:noFill/>
            <a:prstDash val="dash"/>
          </a:ln>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white"/>
                </a:solidFill>
                <a:effectLst/>
                <a:uLnTx/>
                <a:uFillTx/>
                <a:ea typeface="+mn-ea"/>
                <a:cs typeface="+mn-cs"/>
              </a:rPr>
              <a:t>LOREM IPSUM </a:t>
            </a:r>
          </a:p>
        </p:txBody>
      </p:sp>
      <p:cxnSp>
        <p:nvCxnSpPr>
          <p:cNvPr id="181" name="Straight Connector 180"/>
          <p:cNvCxnSpPr/>
          <p:nvPr/>
        </p:nvCxnSpPr>
        <p:spPr>
          <a:xfrm>
            <a:off x="3171632" y="4644930"/>
            <a:ext cx="0" cy="663493"/>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sp>
        <p:nvSpPr>
          <p:cNvPr id="182" name="TextBox 181"/>
          <p:cNvSpPr txBox="1"/>
          <p:nvPr/>
        </p:nvSpPr>
        <p:spPr>
          <a:xfrm>
            <a:off x="4305257" y="2252694"/>
            <a:ext cx="4718743" cy="307777"/>
          </a:xfrm>
          <a:prstGeom prst="rect">
            <a:avLst/>
          </a:prstGeom>
          <a:noFill/>
          <a:ln w="6350">
            <a:noFill/>
            <a:prstDash val="dash"/>
          </a:ln>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effectLst/>
                <a:uLnTx/>
                <a:uFillTx/>
                <a:ea typeface="+mn-ea"/>
                <a:cs typeface="+mn-cs"/>
              </a:rPr>
              <a:t>Lorem </a:t>
            </a:r>
            <a:r>
              <a:rPr kumimoji="0" lang="en-US" sz="1000" b="0" i="0" u="none" strike="noStrike" kern="1200" cap="none" spc="0" normalizeH="0" baseline="0" noProof="0" dirty="0" err="1">
                <a:ln>
                  <a:noFill/>
                </a:ln>
                <a:effectLst/>
                <a:uLnTx/>
                <a:uFillTx/>
                <a:ea typeface="+mn-ea"/>
                <a:cs typeface="+mn-cs"/>
              </a:rPr>
              <a:t>Ipsum</a:t>
            </a:r>
            <a:r>
              <a:rPr kumimoji="0" lang="en-US" sz="1000" b="0" i="0" u="none" strike="noStrike" kern="1200" cap="none" spc="0" normalizeH="0" baseline="0" noProof="0" dirty="0">
                <a:ln>
                  <a:noFill/>
                </a:ln>
                <a:effectLst/>
                <a:uLnTx/>
                <a:uFillTx/>
                <a:ea typeface="+mn-ea"/>
                <a:cs typeface="+mn-cs"/>
              </a:rPr>
              <a:t> is simply dummy text of the printing and typesetting industry. Lorem </a:t>
            </a:r>
            <a:r>
              <a:rPr kumimoji="0" lang="en-US" sz="1000" b="0" i="0" u="none" strike="noStrike" kern="1200" cap="none" spc="0" normalizeH="0" baseline="0" noProof="0" dirty="0" err="1">
                <a:ln>
                  <a:noFill/>
                </a:ln>
                <a:effectLst/>
                <a:uLnTx/>
                <a:uFillTx/>
                <a:ea typeface="+mn-ea"/>
                <a:cs typeface="+mn-cs"/>
              </a:rPr>
              <a:t>Ipsum</a:t>
            </a:r>
            <a:r>
              <a:rPr kumimoji="0" lang="en-US" sz="1000" b="0" i="0" u="none" strike="noStrike" kern="1200" cap="none" spc="0" normalizeH="0" baseline="0" noProof="0" dirty="0">
                <a:ln>
                  <a:noFill/>
                </a:ln>
                <a:effectLst/>
                <a:uLnTx/>
                <a:uFillTx/>
                <a:ea typeface="+mn-ea"/>
                <a:cs typeface="+mn-cs"/>
              </a:rPr>
              <a:t> has been the industry's standard dummy text ever since the 1500s. </a:t>
            </a:r>
          </a:p>
        </p:txBody>
      </p:sp>
      <p:sp>
        <p:nvSpPr>
          <p:cNvPr id="183" name="TextBox 182"/>
          <p:cNvSpPr txBox="1"/>
          <p:nvPr/>
        </p:nvSpPr>
        <p:spPr>
          <a:xfrm>
            <a:off x="4305257" y="3108905"/>
            <a:ext cx="4718743" cy="307777"/>
          </a:xfrm>
          <a:prstGeom prst="rect">
            <a:avLst/>
          </a:prstGeom>
          <a:noFill/>
          <a:ln w="6350">
            <a:noFill/>
            <a:prstDash val="dash"/>
          </a:ln>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effectLst/>
                <a:uLnTx/>
                <a:uFillTx/>
                <a:ea typeface="+mn-ea"/>
                <a:cs typeface="+mn-cs"/>
              </a:rPr>
              <a:t>Lorem </a:t>
            </a:r>
            <a:r>
              <a:rPr kumimoji="0" lang="en-US" sz="1000" b="0" i="0" u="none" strike="noStrike" kern="1200" cap="none" spc="0" normalizeH="0" baseline="0" noProof="0" dirty="0" err="1">
                <a:ln>
                  <a:noFill/>
                </a:ln>
                <a:effectLst/>
                <a:uLnTx/>
                <a:uFillTx/>
                <a:ea typeface="+mn-ea"/>
                <a:cs typeface="+mn-cs"/>
              </a:rPr>
              <a:t>Ipsum</a:t>
            </a:r>
            <a:r>
              <a:rPr kumimoji="0" lang="en-US" sz="1000" b="0" i="0" u="none" strike="noStrike" kern="1200" cap="none" spc="0" normalizeH="0" baseline="0" noProof="0" dirty="0">
                <a:ln>
                  <a:noFill/>
                </a:ln>
                <a:effectLst/>
                <a:uLnTx/>
                <a:uFillTx/>
                <a:ea typeface="+mn-ea"/>
                <a:cs typeface="+mn-cs"/>
              </a:rPr>
              <a:t> is simply dummy text of the printing and typesetting industry. Lorem </a:t>
            </a:r>
            <a:r>
              <a:rPr kumimoji="0" lang="en-US" sz="1000" b="0" i="0" u="none" strike="noStrike" kern="1200" cap="none" spc="0" normalizeH="0" baseline="0" noProof="0" dirty="0" err="1">
                <a:ln>
                  <a:noFill/>
                </a:ln>
                <a:effectLst/>
                <a:uLnTx/>
                <a:uFillTx/>
                <a:ea typeface="+mn-ea"/>
                <a:cs typeface="+mn-cs"/>
              </a:rPr>
              <a:t>Ipsum</a:t>
            </a:r>
            <a:r>
              <a:rPr kumimoji="0" lang="en-US" sz="1000" b="0" i="0" u="none" strike="noStrike" kern="1200" cap="none" spc="0" normalizeH="0" baseline="0" noProof="0" dirty="0">
                <a:ln>
                  <a:noFill/>
                </a:ln>
                <a:effectLst/>
                <a:uLnTx/>
                <a:uFillTx/>
                <a:ea typeface="+mn-ea"/>
                <a:cs typeface="+mn-cs"/>
              </a:rPr>
              <a:t> has been the industry's standard dummy text ever since the 1500s. </a:t>
            </a:r>
          </a:p>
        </p:txBody>
      </p:sp>
      <p:sp>
        <p:nvSpPr>
          <p:cNvPr id="184" name="TextBox 183"/>
          <p:cNvSpPr txBox="1"/>
          <p:nvPr/>
        </p:nvSpPr>
        <p:spPr>
          <a:xfrm>
            <a:off x="4305257" y="3964131"/>
            <a:ext cx="4718743" cy="307777"/>
          </a:xfrm>
          <a:prstGeom prst="rect">
            <a:avLst/>
          </a:prstGeom>
          <a:noFill/>
          <a:ln w="6350">
            <a:noFill/>
            <a:prstDash val="dash"/>
          </a:ln>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effectLst/>
                <a:uLnTx/>
                <a:uFillTx/>
                <a:ea typeface="+mn-ea"/>
                <a:cs typeface="+mn-cs"/>
              </a:rPr>
              <a:t>Lorem </a:t>
            </a:r>
            <a:r>
              <a:rPr kumimoji="0" lang="en-US" sz="1000" b="0" i="0" u="none" strike="noStrike" kern="1200" cap="none" spc="0" normalizeH="0" baseline="0" noProof="0" dirty="0" err="1">
                <a:ln>
                  <a:noFill/>
                </a:ln>
                <a:effectLst/>
                <a:uLnTx/>
                <a:uFillTx/>
                <a:ea typeface="+mn-ea"/>
                <a:cs typeface="+mn-cs"/>
              </a:rPr>
              <a:t>Ipsum</a:t>
            </a:r>
            <a:r>
              <a:rPr kumimoji="0" lang="en-US" sz="1000" b="0" i="0" u="none" strike="noStrike" kern="1200" cap="none" spc="0" normalizeH="0" baseline="0" noProof="0" dirty="0">
                <a:ln>
                  <a:noFill/>
                </a:ln>
                <a:effectLst/>
                <a:uLnTx/>
                <a:uFillTx/>
                <a:ea typeface="+mn-ea"/>
                <a:cs typeface="+mn-cs"/>
              </a:rPr>
              <a:t> is simply dummy text of the printing and typesetting industry. Lorem </a:t>
            </a:r>
            <a:r>
              <a:rPr kumimoji="0" lang="en-US" sz="1000" b="0" i="0" u="none" strike="noStrike" kern="1200" cap="none" spc="0" normalizeH="0" baseline="0" noProof="0" dirty="0" err="1">
                <a:ln>
                  <a:noFill/>
                </a:ln>
                <a:effectLst/>
                <a:uLnTx/>
                <a:uFillTx/>
                <a:ea typeface="+mn-ea"/>
                <a:cs typeface="+mn-cs"/>
              </a:rPr>
              <a:t>Ipsum</a:t>
            </a:r>
            <a:r>
              <a:rPr kumimoji="0" lang="en-US" sz="1000" b="0" i="0" u="none" strike="noStrike" kern="1200" cap="none" spc="0" normalizeH="0" baseline="0" noProof="0" dirty="0">
                <a:ln>
                  <a:noFill/>
                </a:ln>
                <a:effectLst/>
                <a:uLnTx/>
                <a:uFillTx/>
                <a:ea typeface="+mn-ea"/>
                <a:cs typeface="+mn-cs"/>
              </a:rPr>
              <a:t> has been the industry's standard dummy text ever since the 1500s. </a:t>
            </a:r>
          </a:p>
        </p:txBody>
      </p:sp>
      <p:sp>
        <p:nvSpPr>
          <p:cNvPr id="185" name="TextBox 184"/>
          <p:cNvSpPr txBox="1"/>
          <p:nvPr/>
        </p:nvSpPr>
        <p:spPr>
          <a:xfrm>
            <a:off x="4305257" y="4807282"/>
            <a:ext cx="4718743" cy="307777"/>
          </a:xfrm>
          <a:prstGeom prst="rect">
            <a:avLst/>
          </a:prstGeom>
          <a:noFill/>
          <a:ln w="6350">
            <a:noFill/>
            <a:prstDash val="dash"/>
          </a:ln>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effectLst/>
                <a:uLnTx/>
                <a:uFillTx/>
                <a:ea typeface="+mn-ea"/>
                <a:cs typeface="+mn-cs"/>
              </a:rPr>
              <a:t>Lorem </a:t>
            </a:r>
            <a:r>
              <a:rPr kumimoji="0" lang="en-US" sz="1000" b="0" i="0" u="none" strike="noStrike" kern="1200" cap="none" spc="0" normalizeH="0" baseline="0" noProof="0" dirty="0" err="1">
                <a:ln>
                  <a:noFill/>
                </a:ln>
                <a:effectLst/>
                <a:uLnTx/>
                <a:uFillTx/>
                <a:ea typeface="+mn-ea"/>
                <a:cs typeface="+mn-cs"/>
              </a:rPr>
              <a:t>Ipsum</a:t>
            </a:r>
            <a:r>
              <a:rPr kumimoji="0" lang="en-US" sz="1000" b="0" i="0" u="none" strike="noStrike" kern="1200" cap="none" spc="0" normalizeH="0" baseline="0" noProof="0" dirty="0">
                <a:ln>
                  <a:noFill/>
                </a:ln>
                <a:effectLst/>
                <a:uLnTx/>
                <a:uFillTx/>
                <a:ea typeface="+mn-ea"/>
                <a:cs typeface="+mn-cs"/>
              </a:rPr>
              <a:t> is simply dummy text of the printing and typesetting industry. Lorem </a:t>
            </a:r>
            <a:r>
              <a:rPr kumimoji="0" lang="en-US" sz="1000" b="0" i="0" u="none" strike="noStrike" kern="1200" cap="none" spc="0" normalizeH="0" baseline="0" noProof="0" dirty="0" err="1">
                <a:ln>
                  <a:noFill/>
                </a:ln>
                <a:effectLst/>
                <a:uLnTx/>
                <a:uFillTx/>
                <a:ea typeface="+mn-ea"/>
                <a:cs typeface="+mn-cs"/>
              </a:rPr>
              <a:t>Ipsum</a:t>
            </a:r>
            <a:r>
              <a:rPr kumimoji="0" lang="en-US" sz="1000" b="0" i="0" u="none" strike="noStrike" kern="1200" cap="none" spc="0" normalizeH="0" baseline="0" noProof="0" dirty="0">
                <a:ln>
                  <a:noFill/>
                </a:ln>
                <a:effectLst/>
                <a:uLnTx/>
                <a:uFillTx/>
                <a:ea typeface="+mn-ea"/>
                <a:cs typeface="+mn-cs"/>
              </a:rPr>
              <a:t> has been the industry's standard dummy text ever since the 1500s. </a:t>
            </a:r>
          </a:p>
        </p:txBody>
      </p:sp>
      <p:grpSp>
        <p:nvGrpSpPr>
          <p:cNvPr id="186" name="Group 185"/>
          <p:cNvGrpSpPr/>
          <p:nvPr/>
        </p:nvGrpSpPr>
        <p:grpSpPr>
          <a:xfrm>
            <a:off x="9760211" y="2065134"/>
            <a:ext cx="682902" cy="682902"/>
            <a:chOff x="7312995" y="3266867"/>
            <a:chExt cx="511675" cy="511675"/>
          </a:xfrm>
        </p:grpSpPr>
        <p:sp>
          <p:nvSpPr>
            <p:cNvPr id="187" name="Oval 186"/>
            <p:cNvSpPr/>
            <p:nvPr/>
          </p:nvSpPr>
          <p:spPr>
            <a:xfrm>
              <a:off x="7312995" y="3266867"/>
              <a:ext cx="511675" cy="511675"/>
            </a:xfrm>
            <a:prstGeom prst="ellipse">
              <a:avLst/>
            </a:prstGeom>
            <a:solidFill>
              <a:schemeClr val="bg1"/>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188" name="Oval 187"/>
            <p:cNvSpPr/>
            <p:nvPr/>
          </p:nvSpPr>
          <p:spPr>
            <a:xfrm>
              <a:off x="7357396" y="3311268"/>
              <a:ext cx="422872" cy="422872"/>
            </a:xfrm>
            <a:prstGeom prst="ellipse">
              <a:avLst/>
            </a:prstGeom>
            <a:solidFill>
              <a:srgbClr val="F2F2F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189" name="Pie 188"/>
            <p:cNvSpPr/>
            <p:nvPr/>
          </p:nvSpPr>
          <p:spPr>
            <a:xfrm flipH="1">
              <a:off x="7357396" y="3311268"/>
              <a:ext cx="422872" cy="422872"/>
            </a:xfrm>
            <a:prstGeom prst="pie">
              <a:avLst>
                <a:gd name="adj1" fmla="val 7164634"/>
                <a:gd name="adj2" fmla="val 16200000"/>
              </a:avLst>
            </a:prstGeom>
            <a:solidFill>
              <a:srgbClr val="E2583D"/>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190" name="Oval 189"/>
            <p:cNvSpPr/>
            <p:nvPr/>
          </p:nvSpPr>
          <p:spPr>
            <a:xfrm>
              <a:off x="7409977" y="3363849"/>
              <a:ext cx="317710" cy="317710"/>
            </a:xfrm>
            <a:prstGeom prst="ellipse">
              <a:avLst/>
            </a:prstGeom>
            <a:solidFill>
              <a:schemeClr val="bg1"/>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191" name="TextBox 190"/>
            <p:cNvSpPr txBox="1"/>
            <p:nvPr/>
          </p:nvSpPr>
          <p:spPr>
            <a:xfrm>
              <a:off x="7447506" y="3465052"/>
              <a:ext cx="242652" cy="115303"/>
            </a:xfrm>
            <a:prstGeom prst="rect">
              <a:avLst/>
            </a:prstGeom>
            <a:noFill/>
            <a:ln w="6350">
              <a:noFill/>
              <a:prstDash val="dash"/>
            </a:ln>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E2583D"/>
                  </a:solidFill>
                  <a:effectLst/>
                  <a:uLnTx/>
                  <a:uFillTx/>
                  <a:ea typeface="+mn-ea"/>
                  <a:cs typeface="+mn-cs"/>
                </a:rPr>
                <a:t>45%</a:t>
              </a:r>
            </a:p>
          </p:txBody>
        </p:sp>
      </p:grpSp>
      <p:grpSp>
        <p:nvGrpSpPr>
          <p:cNvPr id="192" name="Group 191"/>
          <p:cNvGrpSpPr/>
          <p:nvPr/>
        </p:nvGrpSpPr>
        <p:grpSpPr>
          <a:xfrm>
            <a:off x="9760211" y="2922064"/>
            <a:ext cx="682902" cy="682902"/>
            <a:chOff x="7312995" y="3266867"/>
            <a:chExt cx="511675" cy="511675"/>
          </a:xfrm>
        </p:grpSpPr>
        <p:sp>
          <p:nvSpPr>
            <p:cNvPr id="193" name="Oval 192"/>
            <p:cNvSpPr/>
            <p:nvPr/>
          </p:nvSpPr>
          <p:spPr>
            <a:xfrm>
              <a:off x="7312995" y="3266867"/>
              <a:ext cx="511675" cy="511675"/>
            </a:xfrm>
            <a:prstGeom prst="ellipse">
              <a:avLst/>
            </a:prstGeom>
            <a:solidFill>
              <a:schemeClr val="bg1"/>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194" name="Oval 193"/>
            <p:cNvSpPr/>
            <p:nvPr/>
          </p:nvSpPr>
          <p:spPr>
            <a:xfrm>
              <a:off x="7357396" y="3311268"/>
              <a:ext cx="422872" cy="422872"/>
            </a:xfrm>
            <a:prstGeom prst="ellipse">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195" name="Pie 194"/>
            <p:cNvSpPr/>
            <p:nvPr/>
          </p:nvSpPr>
          <p:spPr>
            <a:xfrm flipH="1">
              <a:off x="7357396" y="3311268"/>
              <a:ext cx="422872" cy="422872"/>
            </a:xfrm>
            <a:prstGeom prst="pie">
              <a:avLst>
                <a:gd name="adj1" fmla="val 10629252"/>
                <a:gd name="adj2" fmla="val 16200000"/>
              </a:avLst>
            </a:prstGeom>
            <a:solidFill>
              <a:srgbClr val="AFABAB"/>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196" name="Oval 195"/>
            <p:cNvSpPr/>
            <p:nvPr/>
          </p:nvSpPr>
          <p:spPr>
            <a:xfrm>
              <a:off x="7409977" y="3363849"/>
              <a:ext cx="317710" cy="317710"/>
            </a:xfrm>
            <a:prstGeom prst="ellipse">
              <a:avLst/>
            </a:prstGeom>
            <a:solidFill>
              <a:schemeClr val="bg1"/>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197" name="TextBox 196"/>
            <p:cNvSpPr txBox="1"/>
            <p:nvPr/>
          </p:nvSpPr>
          <p:spPr>
            <a:xfrm>
              <a:off x="7447506" y="3465052"/>
              <a:ext cx="242652" cy="115303"/>
            </a:xfrm>
            <a:prstGeom prst="rect">
              <a:avLst/>
            </a:prstGeom>
            <a:noFill/>
            <a:ln w="6350">
              <a:noFill/>
              <a:prstDash val="dash"/>
            </a:ln>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AFABAB"/>
                  </a:solidFill>
                  <a:effectLst/>
                  <a:uLnTx/>
                  <a:uFillTx/>
                  <a:ea typeface="+mn-ea"/>
                  <a:cs typeface="+mn-cs"/>
                </a:rPr>
                <a:t>25%</a:t>
              </a:r>
            </a:p>
          </p:txBody>
        </p:sp>
      </p:grpSp>
      <p:grpSp>
        <p:nvGrpSpPr>
          <p:cNvPr id="198" name="Group 197"/>
          <p:cNvGrpSpPr/>
          <p:nvPr/>
        </p:nvGrpSpPr>
        <p:grpSpPr>
          <a:xfrm>
            <a:off x="9760211" y="3760143"/>
            <a:ext cx="682902" cy="682902"/>
            <a:chOff x="7312995" y="3266867"/>
            <a:chExt cx="511675" cy="511675"/>
          </a:xfrm>
        </p:grpSpPr>
        <p:sp>
          <p:nvSpPr>
            <p:cNvPr id="199" name="Oval 198"/>
            <p:cNvSpPr/>
            <p:nvPr/>
          </p:nvSpPr>
          <p:spPr>
            <a:xfrm>
              <a:off x="7312995" y="3266867"/>
              <a:ext cx="511675" cy="511675"/>
            </a:xfrm>
            <a:prstGeom prst="ellipse">
              <a:avLst/>
            </a:prstGeom>
            <a:solidFill>
              <a:schemeClr val="bg1"/>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200" name="Oval 199"/>
            <p:cNvSpPr/>
            <p:nvPr/>
          </p:nvSpPr>
          <p:spPr>
            <a:xfrm>
              <a:off x="7357396" y="3311268"/>
              <a:ext cx="422872" cy="422872"/>
            </a:xfrm>
            <a:prstGeom prst="ellipse">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201" name="Pie 200"/>
            <p:cNvSpPr/>
            <p:nvPr/>
          </p:nvSpPr>
          <p:spPr>
            <a:xfrm flipH="1">
              <a:off x="7357396" y="3311268"/>
              <a:ext cx="422872" cy="422872"/>
            </a:xfrm>
            <a:prstGeom prst="pie">
              <a:avLst>
                <a:gd name="adj1" fmla="val 3993824"/>
                <a:gd name="adj2" fmla="val 16200000"/>
              </a:avLst>
            </a:prstGeom>
            <a:solidFill>
              <a:srgbClr val="78D2D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202" name="Oval 201"/>
            <p:cNvSpPr/>
            <p:nvPr/>
          </p:nvSpPr>
          <p:spPr>
            <a:xfrm>
              <a:off x="7409977" y="3363849"/>
              <a:ext cx="317710" cy="317710"/>
            </a:xfrm>
            <a:prstGeom prst="ellipse">
              <a:avLst/>
            </a:prstGeom>
            <a:solidFill>
              <a:schemeClr val="bg1"/>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203" name="TextBox 202"/>
            <p:cNvSpPr txBox="1"/>
            <p:nvPr/>
          </p:nvSpPr>
          <p:spPr>
            <a:xfrm>
              <a:off x="7447506" y="3465052"/>
              <a:ext cx="242652" cy="115303"/>
            </a:xfrm>
            <a:prstGeom prst="rect">
              <a:avLst/>
            </a:prstGeom>
            <a:noFill/>
            <a:ln w="6350">
              <a:noFill/>
              <a:prstDash val="dash"/>
            </a:ln>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78D2D2"/>
                  </a:solidFill>
                  <a:effectLst/>
                  <a:uLnTx/>
                  <a:uFillTx/>
                  <a:ea typeface="+mn-ea"/>
                  <a:cs typeface="+mn-cs"/>
                </a:rPr>
                <a:t>65%</a:t>
              </a:r>
            </a:p>
          </p:txBody>
        </p:sp>
      </p:grpSp>
      <p:grpSp>
        <p:nvGrpSpPr>
          <p:cNvPr id="204" name="Group 203"/>
          <p:cNvGrpSpPr/>
          <p:nvPr/>
        </p:nvGrpSpPr>
        <p:grpSpPr>
          <a:xfrm>
            <a:off x="9760211" y="4635226"/>
            <a:ext cx="682902" cy="682902"/>
            <a:chOff x="7312995" y="3266867"/>
            <a:chExt cx="511675" cy="511675"/>
          </a:xfrm>
        </p:grpSpPr>
        <p:sp>
          <p:nvSpPr>
            <p:cNvPr id="205" name="Oval 204"/>
            <p:cNvSpPr/>
            <p:nvPr/>
          </p:nvSpPr>
          <p:spPr>
            <a:xfrm>
              <a:off x="7312995" y="3266867"/>
              <a:ext cx="511675" cy="511675"/>
            </a:xfrm>
            <a:prstGeom prst="ellipse">
              <a:avLst/>
            </a:prstGeom>
            <a:solidFill>
              <a:schemeClr val="bg1"/>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206" name="Oval 205"/>
            <p:cNvSpPr/>
            <p:nvPr/>
          </p:nvSpPr>
          <p:spPr>
            <a:xfrm>
              <a:off x="7357396" y="3311268"/>
              <a:ext cx="422872" cy="422872"/>
            </a:xfrm>
            <a:prstGeom prst="ellipse">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207" name="Pie 206"/>
            <p:cNvSpPr/>
            <p:nvPr/>
          </p:nvSpPr>
          <p:spPr>
            <a:xfrm flipH="1">
              <a:off x="7357396" y="3311268"/>
              <a:ext cx="422872" cy="422872"/>
            </a:xfrm>
            <a:prstGeom prst="pie">
              <a:avLst>
                <a:gd name="adj1" fmla="val 338468"/>
                <a:gd name="adj2" fmla="val 16200000"/>
              </a:avLst>
            </a:prstGeom>
            <a:solidFill>
              <a:srgbClr val="55535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208" name="Oval 207"/>
            <p:cNvSpPr/>
            <p:nvPr/>
          </p:nvSpPr>
          <p:spPr>
            <a:xfrm>
              <a:off x="7409977" y="3363849"/>
              <a:ext cx="317710" cy="317710"/>
            </a:xfrm>
            <a:prstGeom prst="ellipse">
              <a:avLst/>
            </a:prstGeom>
            <a:solidFill>
              <a:schemeClr val="bg1"/>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209" name="TextBox 208"/>
            <p:cNvSpPr txBox="1"/>
            <p:nvPr/>
          </p:nvSpPr>
          <p:spPr>
            <a:xfrm>
              <a:off x="7447506" y="3465052"/>
              <a:ext cx="242652" cy="115303"/>
            </a:xfrm>
            <a:prstGeom prst="rect">
              <a:avLst/>
            </a:prstGeom>
            <a:noFill/>
            <a:ln w="6350">
              <a:noFill/>
              <a:prstDash val="dash"/>
            </a:ln>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555353"/>
                  </a:solidFill>
                  <a:effectLst/>
                  <a:uLnTx/>
                  <a:uFillTx/>
                  <a:ea typeface="+mn-ea"/>
                  <a:cs typeface="+mn-cs"/>
                </a:rPr>
                <a:t>75%</a:t>
              </a:r>
            </a:p>
          </p:txBody>
        </p:sp>
      </p:grpSp>
      <p:cxnSp>
        <p:nvCxnSpPr>
          <p:cNvPr id="210" name="Straight Connector 209"/>
          <p:cNvCxnSpPr/>
          <p:nvPr/>
        </p:nvCxnSpPr>
        <p:spPr>
          <a:xfrm>
            <a:off x="4305257" y="2836143"/>
            <a:ext cx="4718743" cy="0"/>
          </a:xfrm>
          <a:prstGeom prst="line">
            <a:avLst/>
          </a:prstGeom>
          <a:ln w="317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cxnSp>
        <p:nvCxnSpPr>
          <p:cNvPr id="211" name="Straight Connector 210"/>
          <p:cNvCxnSpPr/>
          <p:nvPr/>
        </p:nvCxnSpPr>
        <p:spPr>
          <a:xfrm>
            <a:off x="4305257" y="3692355"/>
            <a:ext cx="4718743" cy="0"/>
          </a:xfrm>
          <a:prstGeom prst="line">
            <a:avLst/>
          </a:prstGeom>
          <a:ln w="317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cxnSp>
        <p:nvCxnSpPr>
          <p:cNvPr id="212" name="Straight Connector 211"/>
          <p:cNvCxnSpPr/>
          <p:nvPr/>
        </p:nvCxnSpPr>
        <p:spPr>
          <a:xfrm>
            <a:off x="4305257" y="4548568"/>
            <a:ext cx="4718743" cy="0"/>
          </a:xfrm>
          <a:prstGeom prst="line">
            <a:avLst/>
          </a:prstGeom>
          <a:ln w="317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3402754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3" name="Rectangle 102"/>
          <p:cNvSpPr/>
          <p:nvPr/>
        </p:nvSpPr>
        <p:spPr>
          <a:xfrm>
            <a:off x="12344400" y="0"/>
            <a:ext cx="469900" cy="469900"/>
          </a:xfrm>
          <a:prstGeom prst="rect">
            <a:avLst/>
          </a:prstGeom>
          <a:solidFill>
            <a:srgbClr val="E7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4" name="Rectangle 103"/>
          <p:cNvSpPr/>
          <p:nvPr/>
        </p:nvSpPr>
        <p:spPr>
          <a:xfrm>
            <a:off x="12344400" y="649557"/>
            <a:ext cx="469900" cy="469900"/>
          </a:xfrm>
          <a:prstGeom prst="rect">
            <a:avLst/>
          </a:prstGeom>
          <a:solidFill>
            <a:srgbClr val="AFABA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5" name="Rectangle 104"/>
          <p:cNvSpPr/>
          <p:nvPr/>
        </p:nvSpPr>
        <p:spPr>
          <a:xfrm>
            <a:off x="12344400" y="1299114"/>
            <a:ext cx="469900" cy="469900"/>
          </a:xfrm>
          <a:prstGeom prst="rect">
            <a:avLst/>
          </a:prstGeom>
          <a:solidFill>
            <a:srgbClr val="76717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7" name="Rectangle 106"/>
          <p:cNvSpPr/>
          <p:nvPr/>
        </p:nvSpPr>
        <p:spPr>
          <a:xfrm>
            <a:off x="12966699" y="0"/>
            <a:ext cx="469900" cy="469900"/>
          </a:xfrm>
          <a:prstGeom prst="rect">
            <a:avLst/>
          </a:prstGeom>
          <a:solidFill>
            <a:srgbClr val="E8786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8" name="Rectangle 107"/>
          <p:cNvSpPr/>
          <p:nvPr/>
        </p:nvSpPr>
        <p:spPr>
          <a:xfrm>
            <a:off x="12966699" y="649557"/>
            <a:ext cx="469900" cy="469900"/>
          </a:xfrm>
          <a:prstGeom prst="rect">
            <a:avLst/>
          </a:prstGeom>
          <a:solidFill>
            <a:srgbClr val="E258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9" name="Rectangle 108"/>
          <p:cNvSpPr/>
          <p:nvPr/>
        </p:nvSpPr>
        <p:spPr>
          <a:xfrm>
            <a:off x="12966699" y="1299114"/>
            <a:ext cx="469900" cy="469900"/>
          </a:xfrm>
          <a:prstGeom prst="rect">
            <a:avLst/>
          </a:prstGeom>
          <a:solidFill>
            <a:srgbClr val="D63E2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0" name="Rectangle 109"/>
          <p:cNvSpPr/>
          <p:nvPr/>
        </p:nvSpPr>
        <p:spPr>
          <a:xfrm>
            <a:off x="13588998" y="0"/>
            <a:ext cx="469900" cy="469900"/>
          </a:xfrm>
          <a:prstGeom prst="rect">
            <a:avLst/>
          </a:prstGeom>
          <a:solidFill>
            <a:srgbClr val="8EDCD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1" name="Rectangle 110"/>
          <p:cNvSpPr/>
          <p:nvPr/>
        </p:nvSpPr>
        <p:spPr>
          <a:xfrm>
            <a:off x="13588998" y="649557"/>
            <a:ext cx="469900" cy="469900"/>
          </a:xfrm>
          <a:prstGeom prst="rect">
            <a:avLst/>
          </a:prstGeom>
          <a:solidFill>
            <a:srgbClr val="78D2D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2" name="Rectangle 111"/>
          <p:cNvSpPr/>
          <p:nvPr/>
        </p:nvSpPr>
        <p:spPr>
          <a:xfrm>
            <a:off x="13588998" y="1299114"/>
            <a:ext cx="469900" cy="469900"/>
          </a:xfrm>
          <a:prstGeom prst="rect">
            <a:avLst/>
          </a:prstGeom>
          <a:solidFill>
            <a:srgbClr val="4CC7C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3" name="Rectangle 112"/>
          <p:cNvSpPr/>
          <p:nvPr/>
        </p:nvSpPr>
        <p:spPr>
          <a:xfrm>
            <a:off x="14211297" y="0"/>
            <a:ext cx="469900" cy="469900"/>
          </a:xfrm>
          <a:prstGeom prst="rect">
            <a:avLst/>
          </a:prstGeom>
          <a:solidFill>
            <a:srgbClr val="55535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4" name="Rectangle 113"/>
          <p:cNvSpPr/>
          <p:nvPr/>
        </p:nvSpPr>
        <p:spPr>
          <a:xfrm>
            <a:off x="14211297" y="649557"/>
            <a:ext cx="469900" cy="469900"/>
          </a:xfrm>
          <a:prstGeom prst="rect">
            <a:avLst/>
          </a:prstGeom>
          <a:solidFill>
            <a:srgbClr val="3B393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5" name="Rectangle 114"/>
          <p:cNvSpPr/>
          <p:nvPr/>
        </p:nvSpPr>
        <p:spPr>
          <a:xfrm>
            <a:off x="14211297" y="1299114"/>
            <a:ext cx="469900" cy="469900"/>
          </a:xfrm>
          <a:prstGeom prst="rect">
            <a:avLst/>
          </a:prstGeom>
          <a:solidFill>
            <a:srgbClr val="25232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1" name="Text Placeholder 120"/>
          <p:cNvSpPr>
            <a:spLocks noGrp="1"/>
          </p:cNvSpPr>
          <p:nvPr>
            <p:ph type="body" sz="quarter" idx="14"/>
          </p:nvPr>
        </p:nvSpPr>
        <p:spPr>
          <a:xfrm>
            <a:off x="1857375" y="1014880"/>
            <a:ext cx="8380505" cy="400110"/>
          </a:xfrm>
        </p:spPr>
        <p:txBody>
          <a:bodyPr/>
          <a:lstStyle/>
          <a:p>
            <a:r>
              <a:rPr lang="en-US" dirty="0"/>
              <a:t>Lorem </a:t>
            </a:r>
            <a:r>
              <a:rPr lang="en-US" dirty="0" err="1"/>
              <a:t>Ipsum</a:t>
            </a:r>
            <a:r>
              <a:rPr lang="en-US" dirty="0"/>
              <a:t> is simply dummy text of the printing and typesetting industry. Lorem </a:t>
            </a:r>
            <a:r>
              <a:rPr lang="en-US" dirty="0" err="1"/>
              <a:t>Ipsum</a:t>
            </a:r>
            <a:r>
              <a:rPr lang="en-US" dirty="0"/>
              <a:t> has been the industry's standard dummy text ever since the 1500s, when an unknown printer took a galley of type and scrambled it to make a type specimen book. </a:t>
            </a:r>
          </a:p>
        </p:txBody>
      </p:sp>
      <p:sp>
        <p:nvSpPr>
          <p:cNvPr id="120" name="Text Placeholder 119"/>
          <p:cNvSpPr>
            <a:spLocks noGrp="1"/>
          </p:cNvSpPr>
          <p:nvPr>
            <p:ph type="body" sz="quarter" idx="13"/>
          </p:nvPr>
        </p:nvSpPr>
        <p:spPr>
          <a:xfrm>
            <a:off x="3107788" y="360971"/>
            <a:ext cx="5976424" cy="535531"/>
          </a:xfrm>
        </p:spPr>
        <p:txBody>
          <a:bodyPr/>
          <a:lstStyle/>
          <a:p>
            <a:r>
              <a:rPr lang="en-US" sz="3200" dirty="0"/>
              <a:t>PowerPoint Presentation</a:t>
            </a:r>
          </a:p>
        </p:txBody>
      </p:sp>
      <p:sp>
        <p:nvSpPr>
          <p:cNvPr id="116" name="Date Placeholder 115"/>
          <p:cNvSpPr>
            <a:spLocks noGrp="1"/>
          </p:cNvSpPr>
          <p:nvPr>
            <p:ph type="dt" sz="half" idx="10"/>
          </p:nvPr>
        </p:nvSpPr>
        <p:spPr/>
        <p:txBody>
          <a:bodyPr/>
          <a:lstStyle/>
          <a:p>
            <a:fld id="{56E1B330-CB56-448E-9C70-830A2B9C05C8}" type="datetime1">
              <a:rPr lang="en-US" smtClean="0"/>
              <a:t>10/28/2022</a:t>
            </a:fld>
            <a:endParaRPr lang="en-US"/>
          </a:p>
        </p:txBody>
      </p:sp>
      <p:sp>
        <p:nvSpPr>
          <p:cNvPr id="117" name="Slide Number Placeholder 116"/>
          <p:cNvSpPr>
            <a:spLocks noGrp="1"/>
          </p:cNvSpPr>
          <p:nvPr>
            <p:ph type="sldNum" sz="quarter" idx="12"/>
          </p:nvPr>
        </p:nvSpPr>
        <p:spPr/>
        <p:txBody>
          <a:bodyPr/>
          <a:lstStyle/>
          <a:p>
            <a:fld id="{03206E70-9524-410D-AE9B-78D656EAA14D}" type="slidenum">
              <a:rPr lang="en-US" smtClean="0"/>
              <a:pPr/>
              <a:t>8</a:t>
            </a:fld>
            <a:endParaRPr lang="en-US"/>
          </a:p>
        </p:txBody>
      </p:sp>
      <p:sp>
        <p:nvSpPr>
          <p:cNvPr id="213" name="Freeform 14"/>
          <p:cNvSpPr>
            <a:spLocks/>
          </p:cNvSpPr>
          <p:nvPr/>
        </p:nvSpPr>
        <p:spPr bwMode="auto">
          <a:xfrm>
            <a:off x="8065046" y="2782044"/>
            <a:ext cx="3024205" cy="2473982"/>
          </a:xfrm>
          <a:custGeom>
            <a:avLst/>
            <a:gdLst>
              <a:gd name="T0" fmla="*/ 473 w 946"/>
              <a:gd name="T1" fmla="*/ 772 h 772"/>
              <a:gd name="T2" fmla="*/ 325 w 946"/>
              <a:gd name="T3" fmla="*/ 688 h 772"/>
              <a:gd name="T4" fmla="*/ 42 w 946"/>
              <a:gd name="T5" fmla="*/ 260 h 772"/>
              <a:gd name="T6" fmla="*/ 29 w 946"/>
              <a:gd name="T7" fmla="*/ 85 h 772"/>
              <a:gd name="T8" fmla="*/ 182 w 946"/>
              <a:gd name="T9" fmla="*/ 0 h 772"/>
              <a:gd name="T10" fmla="*/ 764 w 946"/>
              <a:gd name="T11" fmla="*/ 0 h 772"/>
              <a:gd name="T12" fmla="*/ 917 w 946"/>
              <a:gd name="T13" fmla="*/ 85 h 772"/>
              <a:gd name="T14" fmla="*/ 904 w 946"/>
              <a:gd name="T15" fmla="*/ 260 h 772"/>
              <a:gd name="T16" fmla="*/ 621 w 946"/>
              <a:gd name="T17" fmla="*/ 688 h 772"/>
              <a:gd name="T18" fmla="*/ 473 w 946"/>
              <a:gd name="T19" fmla="*/ 772 h 7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46" h="772">
                <a:moveTo>
                  <a:pt x="473" y="772"/>
                </a:moveTo>
                <a:cubicBezTo>
                  <a:pt x="414" y="772"/>
                  <a:pt x="360" y="741"/>
                  <a:pt x="325" y="688"/>
                </a:cubicBezTo>
                <a:cubicBezTo>
                  <a:pt x="42" y="260"/>
                  <a:pt x="42" y="260"/>
                  <a:pt x="42" y="260"/>
                </a:cubicBezTo>
                <a:cubicBezTo>
                  <a:pt x="5" y="204"/>
                  <a:pt x="0" y="138"/>
                  <a:pt x="29" y="85"/>
                </a:cubicBezTo>
                <a:cubicBezTo>
                  <a:pt x="58" y="32"/>
                  <a:pt x="115" y="0"/>
                  <a:pt x="182" y="0"/>
                </a:cubicBezTo>
                <a:cubicBezTo>
                  <a:pt x="764" y="0"/>
                  <a:pt x="764" y="0"/>
                  <a:pt x="764" y="0"/>
                </a:cubicBezTo>
                <a:cubicBezTo>
                  <a:pt x="831" y="0"/>
                  <a:pt x="888" y="32"/>
                  <a:pt x="917" y="85"/>
                </a:cubicBezTo>
                <a:cubicBezTo>
                  <a:pt x="946" y="138"/>
                  <a:pt x="941" y="204"/>
                  <a:pt x="904" y="260"/>
                </a:cubicBezTo>
                <a:cubicBezTo>
                  <a:pt x="621" y="688"/>
                  <a:pt x="621" y="688"/>
                  <a:pt x="621" y="688"/>
                </a:cubicBezTo>
                <a:cubicBezTo>
                  <a:pt x="586" y="741"/>
                  <a:pt x="532" y="772"/>
                  <a:pt x="473" y="772"/>
                </a:cubicBezTo>
                <a:close/>
              </a:path>
            </a:pathLst>
          </a:custGeom>
          <a:solidFill>
            <a:schemeClr val="bg2">
              <a:lumMod val="90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ndParaRPr>
          </a:p>
        </p:txBody>
      </p:sp>
      <p:sp>
        <p:nvSpPr>
          <p:cNvPr id="214" name="Freeform 10"/>
          <p:cNvSpPr>
            <a:spLocks/>
          </p:cNvSpPr>
          <p:nvPr/>
        </p:nvSpPr>
        <p:spPr bwMode="auto">
          <a:xfrm>
            <a:off x="6325148" y="2782044"/>
            <a:ext cx="3021501" cy="2473982"/>
          </a:xfrm>
          <a:custGeom>
            <a:avLst/>
            <a:gdLst>
              <a:gd name="T0" fmla="*/ 472 w 945"/>
              <a:gd name="T1" fmla="*/ 0 h 772"/>
              <a:gd name="T2" fmla="*/ 325 w 945"/>
              <a:gd name="T3" fmla="*/ 83 h 772"/>
              <a:gd name="T4" fmla="*/ 42 w 945"/>
              <a:gd name="T5" fmla="*/ 512 h 772"/>
              <a:gd name="T6" fmla="*/ 29 w 945"/>
              <a:gd name="T7" fmla="*/ 687 h 772"/>
              <a:gd name="T8" fmla="*/ 182 w 945"/>
              <a:gd name="T9" fmla="*/ 772 h 772"/>
              <a:gd name="T10" fmla="*/ 763 w 945"/>
              <a:gd name="T11" fmla="*/ 772 h 772"/>
              <a:gd name="T12" fmla="*/ 916 w 945"/>
              <a:gd name="T13" fmla="*/ 687 h 772"/>
              <a:gd name="T14" fmla="*/ 903 w 945"/>
              <a:gd name="T15" fmla="*/ 512 h 772"/>
              <a:gd name="T16" fmla="*/ 620 w 945"/>
              <a:gd name="T17" fmla="*/ 83 h 772"/>
              <a:gd name="T18" fmla="*/ 472 w 945"/>
              <a:gd name="T19" fmla="*/ 0 h 7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45" h="772">
                <a:moveTo>
                  <a:pt x="472" y="0"/>
                </a:moveTo>
                <a:cubicBezTo>
                  <a:pt x="414" y="0"/>
                  <a:pt x="360" y="30"/>
                  <a:pt x="325" y="83"/>
                </a:cubicBezTo>
                <a:cubicBezTo>
                  <a:pt x="42" y="512"/>
                  <a:pt x="42" y="512"/>
                  <a:pt x="42" y="512"/>
                </a:cubicBezTo>
                <a:cubicBezTo>
                  <a:pt x="5" y="568"/>
                  <a:pt x="0" y="633"/>
                  <a:pt x="29" y="687"/>
                </a:cubicBezTo>
                <a:cubicBezTo>
                  <a:pt x="57" y="740"/>
                  <a:pt x="115" y="772"/>
                  <a:pt x="182" y="772"/>
                </a:cubicBezTo>
                <a:cubicBezTo>
                  <a:pt x="763" y="772"/>
                  <a:pt x="763" y="772"/>
                  <a:pt x="763" y="772"/>
                </a:cubicBezTo>
                <a:cubicBezTo>
                  <a:pt x="830" y="772"/>
                  <a:pt x="888" y="740"/>
                  <a:pt x="916" y="687"/>
                </a:cubicBezTo>
                <a:cubicBezTo>
                  <a:pt x="945" y="633"/>
                  <a:pt x="940" y="568"/>
                  <a:pt x="903" y="512"/>
                </a:cubicBezTo>
                <a:cubicBezTo>
                  <a:pt x="620" y="83"/>
                  <a:pt x="620" y="83"/>
                  <a:pt x="620" y="83"/>
                </a:cubicBezTo>
                <a:cubicBezTo>
                  <a:pt x="585" y="30"/>
                  <a:pt x="531" y="0"/>
                  <a:pt x="472" y="0"/>
                </a:cubicBezTo>
                <a:close/>
              </a:path>
            </a:pathLst>
          </a:custGeom>
          <a:solidFill>
            <a:schemeClr val="bg2">
              <a:lumMod val="90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ndParaRPr>
          </a:p>
        </p:txBody>
      </p:sp>
      <p:sp>
        <p:nvSpPr>
          <p:cNvPr id="215" name="Freeform 12"/>
          <p:cNvSpPr>
            <a:spLocks/>
          </p:cNvSpPr>
          <p:nvPr/>
        </p:nvSpPr>
        <p:spPr bwMode="auto">
          <a:xfrm>
            <a:off x="4583897" y="2782044"/>
            <a:ext cx="3024205" cy="2473982"/>
          </a:xfrm>
          <a:custGeom>
            <a:avLst/>
            <a:gdLst>
              <a:gd name="T0" fmla="*/ 473 w 946"/>
              <a:gd name="T1" fmla="*/ 772 h 772"/>
              <a:gd name="T2" fmla="*/ 325 w 946"/>
              <a:gd name="T3" fmla="*/ 688 h 772"/>
              <a:gd name="T4" fmla="*/ 42 w 946"/>
              <a:gd name="T5" fmla="*/ 260 h 772"/>
              <a:gd name="T6" fmla="*/ 29 w 946"/>
              <a:gd name="T7" fmla="*/ 85 h 772"/>
              <a:gd name="T8" fmla="*/ 182 w 946"/>
              <a:gd name="T9" fmla="*/ 0 h 772"/>
              <a:gd name="T10" fmla="*/ 764 w 946"/>
              <a:gd name="T11" fmla="*/ 0 h 772"/>
              <a:gd name="T12" fmla="*/ 917 w 946"/>
              <a:gd name="T13" fmla="*/ 85 h 772"/>
              <a:gd name="T14" fmla="*/ 904 w 946"/>
              <a:gd name="T15" fmla="*/ 260 h 772"/>
              <a:gd name="T16" fmla="*/ 621 w 946"/>
              <a:gd name="T17" fmla="*/ 688 h 772"/>
              <a:gd name="T18" fmla="*/ 473 w 946"/>
              <a:gd name="T19" fmla="*/ 772 h 7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46" h="772">
                <a:moveTo>
                  <a:pt x="473" y="772"/>
                </a:moveTo>
                <a:cubicBezTo>
                  <a:pt x="414" y="772"/>
                  <a:pt x="360" y="741"/>
                  <a:pt x="325" y="688"/>
                </a:cubicBezTo>
                <a:cubicBezTo>
                  <a:pt x="42" y="260"/>
                  <a:pt x="42" y="260"/>
                  <a:pt x="42" y="260"/>
                </a:cubicBezTo>
                <a:cubicBezTo>
                  <a:pt x="5" y="204"/>
                  <a:pt x="0" y="138"/>
                  <a:pt x="29" y="85"/>
                </a:cubicBezTo>
                <a:cubicBezTo>
                  <a:pt x="58" y="32"/>
                  <a:pt x="115" y="0"/>
                  <a:pt x="182" y="0"/>
                </a:cubicBezTo>
                <a:cubicBezTo>
                  <a:pt x="764" y="0"/>
                  <a:pt x="764" y="0"/>
                  <a:pt x="764" y="0"/>
                </a:cubicBezTo>
                <a:cubicBezTo>
                  <a:pt x="831" y="0"/>
                  <a:pt x="888" y="32"/>
                  <a:pt x="917" y="85"/>
                </a:cubicBezTo>
                <a:cubicBezTo>
                  <a:pt x="946" y="138"/>
                  <a:pt x="941" y="204"/>
                  <a:pt x="904" y="260"/>
                </a:cubicBezTo>
                <a:cubicBezTo>
                  <a:pt x="621" y="688"/>
                  <a:pt x="621" y="688"/>
                  <a:pt x="621" y="688"/>
                </a:cubicBezTo>
                <a:cubicBezTo>
                  <a:pt x="586" y="741"/>
                  <a:pt x="532" y="772"/>
                  <a:pt x="473" y="772"/>
                </a:cubicBezTo>
                <a:close/>
              </a:path>
            </a:pathLst>
          </a:custGeom>
          <a:solidFill>
            <a:schemeClr val="bg2">
              <a:lumMod val="90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ndParaRPr>
          </a:p>
        </p:txBody>
      </p:sp>
      <p:sp>
        <p:nvSpPr>
          <p:cNvPr id="216" name="Freeform 8"/>
          <p:cNvSpPr>
            <a:spLocks/>
          </p:cNvSpPr>
          <p:nvPr/>
        </p:nvSpPr>
        <p:spPr bwMode="auto">
          <a:xfrm>
            <a:off x="2844000" y="2782044"/>
            <a:ext cx="3021501" cy="2473982"/>
          </a:xfrm>
          <a:custGeom>
            <a:avLst/>
            <a:gdLst>
              <a:gd name="T0" fmla="*/ 472 w 945"/>
              <a:gd name="T1" fmla="*/ 0 h 772"/>
              <a:gd name="T2" fmla="*/ 325 w 945"/>
              <a:gd name="T3" fmla="*/ 83 h 772"/>
              <a:gd name="T4" fmla="*/ 42 w 945"/>
              <a:gd name="T5" fmla="*/ 512 h 772"/>
              <a:gd name="T6" fmla="*/ 29 w 945"/>
              <a:gd name="T7" fmla="*/ 687 h 772"/>
              <a:gd name="T8" fmla="*/ 182 w 945"/>
              <a:gd name="T9" fmla="*/ 772 h 772"/>
              <a:gd name="T10" fmla="*/ 763 w 945"/>
              <a:gd name="T11" fmla="*/ 772 h 772"/>
              <a:gd name="T12" fmla="*/ 916 w 945"/>
              <a:gd name="T13" fmla="*/ 687 h 772"/>
              <a:gd name="T14" fmla="*/ 903 w 945"/>
              <a:gd name="T15" fmla="*/ 512 h 772"/>
              <a:gd name="T16" fmla="*/ 620 w 945"/>
              <a:gd name="T17" fmla="*/ 83 h 772"/>
              <a:gd name="T18" fmla="*/ 472 w 945"/>
              <a:gd name="T19" fmla="*/ 0 h 7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45" h="772">
                <a:moveTo>
                  <a:pt x="472" y="0"/>
                </a:moveTo>
                <a:cubicBezTo>
                  <a:pt x="414" y="0"/>
                  <a:pt x="360" y="30"/>
                  <a:pt x="325" y="83"/>
                </a:cubicBezTo>
                <a:cubicBezTo>
                  <a:pt x="42" y="512"/>
                  <a:pt x="42" y="512"/>
                  <a:pt x="42" y="512"/>
                </a:cubicBezTo>
                <a:cubicBezTo>
                  <a:pt x="5" y="568"/>
                  <a:pt x="0" y="633"/>
                  <a:pt x="29" y="687"/>
                </a:cubicBezTo>
                <a:cubicBezTo>
                  <a:pt x="57" y="740"/>
                  <a:pt x="115" y="772"/>
                  <a:pt x="182" y="772"/>
                </a:cubicBezTo>
                <a:cubicBezTo>
                  <a:pt x="763" y="772"/>
                  <a:pt x="763" y="772"/>
                  <a:pt x="763" y="772"/>
                </a:cubicBezTo>
                <a:cubicBezTo>
                  <a:pt x="830" y="772"/>
                  <a:pt x="888" y="740"/>
                  <a:pt x="916" y="687"/>
                </a:cubicBezTo>
                <a:cubicBezTo>
                  <a:pt x="945" y="633"/>
                  <a:pt x="940" y="568"/>
                  <a:pt x="903" y="512"/>
                </a:cubicBezTo>
                <a:cubicBezTo>
                  <a:pt x="620" y="83"/>
                  <a:pt x="620" y="83"/>
                  <a:pt x="620" y="83"/>
                </a:cubicBezTo>
                <a:cubicBezTo>
                  <a:pt x="585" y="30"/>
                  <a:pt x="531" y="0"/>
                  <a:pt x="472" y="0"/>
                </a:cubicBezTo>
                <a:close/>
              </a:path>
            </a:pathLst>
          </a:custGeom>
          <a:solidFill>
            <a:schemeClr val="bg2">
              <a:lumMod val="90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ndParaRPr>
          </a:p>
        </p:txBody>
      </p:sp>
      <p:sp>
        <p:nvSpPr>
          <p:cNvPr id="217" name="Freeform 6"/>
          <p:cNvSpPr>
            <a:spLocks/>
          </p:cNvSpPr>
          <p:nvPr/>
        </p:nvSpPr>
        <p:spPr bwMode="auto">
          <a:xfrm>
            <a:off x="1102749" y="2782044"/>
            <a:ext cx="3024205" cy="2473982"/>
          </a:xfrm>
          <a:custGeom>
            <a:avLst/>
            <a:gdLst>
              <a:gd name="T0" fmla="*/ 473 w 946"/>
              <a:gd name="T1" fmla="*/ 772 h 772"/>
              <a:gd name="T2" fmla="*/ 325 w 946"/>
              <a:gd name="T3" fmla="*/ 688 h 772"/>
              <a:gd name="T4" fmla="*/ 42 w 946"/>
              <a:gd name="T5" fmla="*/ 260 h 772"/>
              <a:gd name="T6" fmla="*/ 29 w 946"/>
              <a:gd name="T7" fmla="*/ 85 h 772"/>
              <a:gd name="T8" fmla="*/ 182 w 946"/>
              <a:gd name="T9" fmla="*/ 0 h 772"/>
              <a:gd name="T10" fmla="*/ 764 w 946"/>
              <a:gd name="T11" fmla="*/ 0 h 772"/>
              <a:gd name="T12" fmla="*/ 917 w 946"/>
              <a:gd name="T13" fmla="*/ 85 h 772"/>
              <a:gd name="T14" fmla="*/ 904 w 946"/>
              <a:gd name="T15" fmla="*/ 260 h 772"/>
              <a:gd name="T16" fmla="*/ 621 w 946"/>
              <a:gd name="T17" fmla="*/ 688 h 772"/>
              <a:gd name="T18" fmla="*/ 473 w 946"/>
              <a:gd name="T19" fmla="*/ 772 h 7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46" h="772">
                <a:moveTo>
                  <a:pt x="473" y="772"/>
                </a:moveTo>
                <a:cubicBezTo>
                  <a:pt x="414" y="772"/>
                  <a:pt x="360" y="741"/>
                  <a:pt x="325" y="688"/>
                </a:cubicBezTo>
                <a:cubicBezTo>
                  <a:pt x="42" y="260"/>
                  <a:pt x="42" y="260"/>
                  <a:pt x="42" y="260"/>
                </a:cubicBezTo>
                <a:cubicBezTo>
                  <a:pt x="5" y="204"/>
                  <a:pt x="0" y="138"/>
                  <a:pt x="29" y="85"/>
                </a:cubicBezTo>
                <a:cubicBezTo>
                  <a:pt x="58" y="32"/>
                  <a:pt x="115" y="0"/>
                  <a:pt x="182" y="0"/>
                </a:cubicBezTo>
                <a:cubicBezTo>
                  <a:pt x="764" y="0"/>
                  <a:pt x="764" y="0"/>
                  <a:pt x="764" y="0"/>
                </a:cubicBezTo>
                <a:cubicBezTo>
                  <a:pt x="831" y="0"/>
                  <a:pt x="888" y="32"/>
                  <a:pt x="917" y="85"/>
                </a:cubicBezTo>
                <a:cubicBezTo>
                  <a:pt x="946" y="138"/>
                  <a:pt x="941" y="204"/>
                  <a:pt x="904" y="260"/>
                </a:cubicBezTo>
                <a:cubicBezTo>
                  <a:pt x="621" y="688"/>
                  <a:pt x="621" y="688"/>
                  <a:pt x="621" y="688"/>
                </a:cubicBezTo>
                <a:cubicBezTo>
                  <a:pt x="586" y="741"/>
                  <a:pt x="532" y="772"/>
                  <a:pt x="473" y="772"/>
                </a:cubicBezTo>
                <a:close/>
              </a:path>
            </a:pathLst>
          </a:custGeom>
          <a:solidFill>
            <a:schemeClr val="bg2">
              <a:lumMod val="90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ndParaRPr>
          </a:p>
        </p:txBody>
      </p:sp>
      <p:sp>
        <p:nvSpPr>
          <p:cNvPr id="218" name="Freeform 7"/>
          <p:cNvSpPr>
            <a:spLocks/>
          </p:cNvSpPr>
          <p:nvPr/>
        </p:nvSpPr>
        <p:spPr bwMode="auto">
          <a:xfrm>
            <a:off x="1492097" y="3182207"/>
            <a:ext cx="2244157" cy="1702046"/>
          </a:xfrm>
          <a:custGeom>
            <a:avLst/>
            <a:gdLst>
              <a:gd name="T0" fmla="*/ 272 w 702"/>
              <a:gd name="T1" fmla="*/ 0 h 531"/>
              <a:gd name="T2" fmla="*/ 430 w 702"/>
              <a:gd name="T3" fmla="*/ 0 h 531"/>
              <a:gd name="T4" fmla="*/ 642 w 702"/>
              <a:gd name="T5" fmla="*/ 0 h 531"/>
              <a:gd name="T6" fmla="*/ 678 w 702"/>
              <a:gd name="T7" fmla="*/ 66 h 531"/>
              <a:gd name="T8" fmla="*/ 580 w 702"/>
              <a:gd name="T9" fmla="*/ 214 h 531"/>
              <a:gd name="T10" fmla="*/ 492 w 702"/>
              <a:gd name="T11" fmla="*/ 347 h 531"/>
              <a:gd name="T12" fmla="*/ 395 w 702"/>
              <a:gd name="T13" fmla="*/ 495 h 531"/>
              <a:gd name="T14" fmla="*/ 307 w 702"/>
              <a:gd name="T15" fmla="*/ 495 h 531"/>
              <a:gd name="T16" fmla="*/ 210 w 702"/>
              <a:gd name="T17" fmla="*/ 347 h 531"/>
              <a:gd name="T18" fmla="*/ 122 w 702"/>
              <a:gd name="T19" fmla="*/ 214 h 531"/>
              <a:gd name="T20" fmla="*/ 24 w 702"/>
              <a:gd name="T21" fmla="*/ 66 h 531"/>
              <a:gd name="T22" fmla="*/ 60 w 702"/>
              <a:gd name="T23" fmla="*/ 0 h 531"/>
              <a:gd name="T24" fmla="*/ 272 w 702"/>
              <a:gd name="T25" fmla="*/ 0 h 5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02" h="531">
                <a:moveTo>
                  <a:pt x="272" y="0"/>
                </a:moveTo>
                <a:cubicBezTo>
                  <a:pt x="315" y="0"/>
                  <a:pt x="387" y="0"/>
                  <a:pt x="430" y="0"/>
                </a:cubicBezTo>
                <a:cubicBezTo>
                  <a:pt x="642" y="0"/>
                  <a:pt x="642" y="0"/>
                  <a:pt x="642" y="0"/>
                </a:cubicBezTo>
                <a:cubicBezTo>
                  <a:pt x="685" y="0"/>
                  <a:pt x="702" y="29"/>
                  <a:pt x="678" y="66"/>
                </a:cubicBezTo>
                <a:cubicBezTo>
                  <a:pt x="580" y="214"/>
                  <a:pt x="580" y="214"/>
                  <a:pt x="580" y="214"/>
                </a:cubicBezTo>
                <a:cubicBezTo>
                  <a:pt x="556" y="251"/>
                  <a:pt x="516" y="310"/>
                  <a:pt x="492" y="347"/>
                </a:cubicBezTo>
                <a:cubicBezTo>
                  <a:pt x="395" y="495"/>
                  <a:pt x="395" y="495"/>
                  <a:pt x="395" y="495"/>
                </a:cubicBezTo>
                <a:cubicBezTo>
                  <a:pt x="371" y="531"/>
                  <a:pt x="331" y="531"/>
                  <a:pt x="307" y="495"/>
                </a:cubicBezTo>
                <a:cubicBezTo>
                  <a:pt x="210" y="347"/>
                  <a:pt x="210" y="347"/>
                  <a:pt x="210" y="347"/>
                </a:cubicBezTo>
                <a:cubicBezTo>
                  <a:pt x="186" y="310"/>
                  <a:pt x="146" y="251"/>
                  <a:pt x="122" y="214"/>
                </a:cubicBezTo>
                <a:cubicBezTo>
                  <a:pt x="24" y="66"/>
                  <a:pt x="24" y="66"/>
                  <a:pt x="24" y="66"/>
                </a:cubicBezTo>
                <a:cubicBezTo>
                  <a:pt x="0" y="29"/>
                  <a:pt x="17" y="0"/>
                  <a:pt x="60" y="0"/>
                </a:cubicBezTo>
                <a:lnTo>
                  <a:pt x="272" y="0"/>
                </a:lnTo>
                <a:close/>
              </a:path>
            </a:pathLst>
          </a:custGeom>
          <a:solidFill>
            <a:sysClr val="window" lastClr="FFFFFF"/>
          </a:solidFill>
          <a:ln w="14288" cap="flat">
            <a:noFill/>
            <a:prstDash val="solid"/>
            <a:miter lim="800000"/>
            <a:headEnd/>
            <a:tailEnd/>
          </a:ln>
          <a:effectLst>
            <a:outerShdw blurRad="50800" dist="38100" dir="16200000" rotWithShape="0">
              <a:prstClr val="black">
                <a:alpha val="40000"/>
              </a:prstClr>
            </a:outerShdw>
          </a:effec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ndParaRPr>
          </a:p>
        </p:txBody>
      </p:sp>
      <p:sp>
        <p:nvSpPr>
          <p:cNvPr id="219" name="Freeform 9"/>
          <p:cNvSpPr>
            <a:spLocks/>
          </p:cNvSpPr>
          <p:nvPr/>
        </p:nvSpPr>
        <p:spPr bwMode="auto">
          <a:xfrm>
            <a:off x="3234699" y="3153817"/>
            <a:ext cx="2240102" cy="1702046"/>
          </a:xfrm>
          <a:custGeom>
            <a:avLst/>
            <a:gdLst>
              <a:gd name="T0" fmla="*/ 271 w 701"/>
              <a:gd name="T1" fmla="*/ 531 h 531"/>
              <a:gd name="T2" fmla="*/ 430 w 701"/>
              <a:gd name="T3" fmla="*/ 531 h 531"/>
              <a:gd name="T4" fmla="*/ 641 w 701"/>
              <a:gd name="T5" fmla="*/ 531 h 531"/>
              <a:gd name="T6" fmla="*/ 677 w 701"/>
              <a:gd name="T7" fmla="*/ 465 h 531"/>
              <a:gd name="T8" fmla="*/ 579 w 701"/>
              <a:gd name="T9" fmla="*/ 317 h 531"/>
              <a:gd name="T10" fmla="*/ 492 w 701"/>
              <a:gd name="T11" fmla="*/ 184 h 531"/>
              <a:gd name="T12" fmla="*/ 394 w 701"/>
              <a:gd name="T13" fmla="*/ 36 h 531"/>
              <a:gd name="T14" fmla="*/ 307 w 701"/>
              <a:gd name="T15" fmla="*/ 36 h 531"/>
              <a:gd name="T16" fmla="*/ 209 w 701"/>
              <a:gd name="T17" fmla="*/ 184 h 531"/>
              <a:gd name="T18" fmla="*/ 122 w 701"/>
              <a:gd name="T19" fmla="*/ 317 h 531"/>
              <a:gd name="T20" fmla="*/ 24 w 701"/>
              <a:gd name="T21" fmla="*/ 465 h 531"/>
              <a:gd name="T22" fmla="*/ 60 w 701"/>
              <a:gd name="T23" fmla="*/ 531 h 531"/>
              <a:gd name="T24" fmla="*/ 271 w 701"/>
              <a:gd name="T25" fmla="*/ 531 h 5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01" h="531">
                <a:moveTo>
                  <a:pt x="271" y="531"/>
                </a:moveTo>
                <a:cubicBezTo>
                  <a:pt x="315" y="531"/>
                  <a:pt x="386" y="531"/>
                  <a:pt x="430" y="531"/>
                </a:cubicBezTo>
                <a:cubicBezTo>
                  <a:pt x="641" y="531"/>
                  <a:pt x="641" y="531"/>
                  <a:pt x="641" y="531"/>
                </a:cubicBezTo>
                <a:cubicBezTo>
                  <a:pt x="685" y="531"/>
                  <a:pt x="701" y="501"/>
                  <a:pt x="677" y="465"/>
                </a:cubicBezTo>
                <a:cubicBezTo>
                  <a:pt x="579" y="317"/>
                  <a:pt x="579" y="317"/>
                  <a:pt x="579" y="317"/>
                </a:cubicBezTo>
                <a:cubicBezTo>
                  <a:pt x="555" y="280"/>
                  <a:pt x="516" y="221"/>
                  <a:pt x="492" y="184"/>
                </a:cubicBezTo>
                <a:cubicBezTo>
                  <a:pt x="394" y="36"/>
                  <a:pt x="394" y="36"/>
                  <a:pt x="394" y="36"/>
                </a:cubicBezTo>
                <a:cubicBezTo>
                  <a:pt x="370" y="0"/>
                  <a:pt x="331" y="0"/>
                  <a:pt x="307" y="36"/>
                </a:cubicBezTo>
                <a:cubicBezTo>
                  <a:pt x="209" y="184"/>
                  <a:pt x="209" y="184"/>
                  <a:pt x="209" y="184"/>
                </a:cubicBezTo>
                <a:cubicBezTo>
                  <a:pt x="185" y="221"/>
                  <a:pt x="146" y="280"/>
                  <a:pt x="122" y="317"/>
                </a:cubicBezTo>
                <a:cubicBezTo>
                  <a:pt x="24" y="465"/>
                  <a:pt x="24" y="465"/>
                  <a:pt x="24" y="465"/>
                </a:cubicBezTo>
                <a:cubicBezTo>
                  <a:pt x="0" y="501"/>
                  <a:pt x="16" y="531"/>
                  <a:pt x="60" y="531"/>
                </a:cubicBezTo>
                <a:lnTo>
                  <a:pt x="271" y="531"/>
                </a:lnTo>
                <a:close/>
              </a:path>
            </a:pathLst>
          </a:custGeom>
          <a:solidFill>
            <a:sysClr val="window" lastClr="FFFFFF"/>
          </a:solidFill>
          <a:ln w="14288" cap="flat">
            <a:noFill/>
            <a:prstDash val="solid"/>
            <a:miter lim="800000"/>
            <a:headEnd/>
            <a:tailEnd/>
          </a:ln>
          <a:effectLst>
            <a:outerShdw blurRad="50800" dist="38100" dir="5400000" algn="t" rotWithShape="0">
              <a:prstClr val="black">
                <a:alpha val="40000"/>
              </a:prstClr>
            </a:outerShdw>
          </a:effec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ndParaRPr>
          </a:p>
        </p:txBody>
      </p:sp>
      <p:sp>
        <p:nvSpPr>
          <p:cNvPr id="220" name="Freeform 11"/>
          <p:cNvSpPr>
            <a:spLocks/>
          </p:cNvSpPr>
          <p:nvPr/>
        </p:nvSpPr>
        <p:spPr bwMode="auto">
          <a:xfrm>
            <a:off x="6715848" y="3153817"/>
            <a:ext cx="2240102" cy="1702046"/>
          </a:xfrm>
          <a:custGeom>
            <a:avLst/>
            <a:gdLst>
              <a:gd name="T0" fmla="*/ 271 w 701"/>
              <a:gd name="T1" fmla="*/ 531 h 531"/>
              <a:gd name="T2" fmla="*/ 430 w 701"/>
              <a:gd name="T3" fmla="*/ 531 h 531"/>
              <a:gd name="T4" fmla="*/ 641 w 701"/>
              <a:gd name="T5" fmla="*/ 531 h 531"/>
              <a:gd name="T6" fmla="*/ 677 w 701"/>
              <a:gd name="T7" fmla="*/ 465 h 531"/>
              <a:gd name="T8" fmla="*/ 579 w 701"/>
              <a:gd name="T9" fmla="*/ 317 h 531"/>
              <a:gd name="T10" fmla="*/ 492 w 701"/>
              <a:gd name="T11" fmla="*/ 184 h 531"/>
              <a:gd name="T12" fmla="*/ 394 w 701"/>
              <a:gd name="T13" fmla="*/ 36 h 531"/>
              <a:gd name="T14" fmla="*/ 307 w 701"/>
              <a:gd name="T15" fmla="*/ 36 h 531"/>
              <a:gd name="T16" fmla="*/ 209 w 701"/>
              <a:gd name="T17" fmla="*/ 184 h 531"/>
              <a:gd name="T18" fmla="*/ 122 w 701"/>
              <a:gd name="T19" fmla="*/ 317 h 531"/>
              <a:gd name="T20" fmla="*/ 24 w 701"/>
              <a:gd name="T21" fmla="*/ 465 h 531"/>
              <a:gd name="T22" fmla="*/ 60 w 701"/>
              <a:gd name="T23" fmla="*/ 531 h 531"/>
              <a:gd name="T24" fmla="*/ 271 w 701"/>
              <a:gd name="T25" fmla="*/ 531 h 5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01" h="531">
                <a:moveTo>
                  <a:pt x="271" y="531"/>
                </a:moveTo>
                <a:cubicBezTo>
                  <a:pt x="315" y="531"/>
                  <a:pt x="386" y="531"/>
                  <a:pt x="430" y="531"/>
                </a:cubicBezTo>
                <a:cubicBezTo>
                  <a:pt x="641" y="531"/>
                  <a:pt x="641" y="531"/>
                  <a:pt x="641" y="531"/>
                </a:cubicBezTo>
                <a:cubicBezTo>
                  <a:pt x="685" y="531"/>
                  <a:pt x="701" y="501"/>
                  <a:pt x="677" y="465"/>
                </a:cubicBezTo>
                <a:cubicBezTo>
                  <a:pt x="579" y="317"/>
                  <a:pt x="579" y="317"/>
                  <a:pt x="579" y="317"/>
                </a:cubicBezTo>
                <a:cubicBezTo>
                  <a:pt x="555" y="280"/>
                  <a:pt x="516" y="221"/>
                  <a:pt x="492" y="184"/>
                </a:cubicBezTo>
                <a:cubicBezTo>
                  <a:pt x="394" y="36"/>
                  <a:pt x="394" y="36"/>
                  <a:pt x="394" y="36"/>
                </a:cubicBezTo>
                <a:cubicBezTo>
                  <a:pt x="370" y="0"/>
                  <a:pt x="331" y="0"/>
                  <a:pt x="307" y="36"/>
                </a:cubicBezTo>
                <a:cubicBezTo>
                  <a:pt x="209" y="184"/>
                  <a:pt x="209" y="184"/>
                  <a:pt x="209" y="184"/>
                </a:cubicBezTo>
                <a:cubicBezTo>
                  <a:pt x="185" y="221"/>
                  <a:pt x="146" y="280"/>
                  <a:pt x="122" y="317"/>
                </a:cubicBezTo>
                <a:cubicBezTo>
                  <a:pt x="24" y="465"/>
                  <a:pt x="24" y="465"/>
                  <a:pt x="24" y="465"/>
                </a:cubicBezTo>
                <a:cubicBezTo>
                  <a:pt x="0" y="501"/>
                  <a:pt x="16" y="531"/>
                  <a:pt x="60" y="531"/>
                </a:cubicBezTo>
                <a:lnTo>
                  <a:pt x="271" y="531"/>
                </a:lnTo>
                <a:close/>
              </a:path>
            </a:pathLst>
          </a:custGeom>
          <a:solidFill>
            <a:sysClr val="window" lastClr="FFFFFF"/>
          </a:solidFill>
          <a:ln w="14288" cap="flat">
            <a:noFill/>
            <a:prstDash val="solid"/>
            <a:miter lim="800000"/>
            <a:headEnd/>
            <a:tailEnd/>
          </a:ln>
          <a:effectLst>
            <a:outerShdw blurRad="50800" dist="38100" dir="5400000" algn="t" rotWithShape="0">
              <a:prstClr val="black">
                <a:alpha val="40000"/>
              </a:prstClr>
            </a:outerShdw>
          </a:effec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ndParaRPr>
          </a:p>
        </p:txBody>
      </p:sp>
      <p:sp>
        <p:nvSpPr>
          <p:cNvPr id="221" name="Freeform 13"/>
          <p:cNvSpPr>
            <a:spLocks/>
          </p:cNvSpPr>
          <p:nvPr/>
        </p:nvSpPr>
        <p:spPr bwMode="auto">
          <a:xfrm>
            <a:off x="4973245" y="3182207"/>
            <a:ext cx="2244157" cy="1702046"/>
          </a:xfrm>
          <a:custGeom>
            <a:avLst/>
            <a:gdLst>
              <a:gd name="T0" fmla="*/ 272 w 702"/>
              <a:gd name="T1" fmla="*/ 0 h 531"/>
              <a:gd name="T2" fmla="*/ 430 w 702"/>
              <a:gd name="T3" fmla="*/ 0 h 531"/>
              <a:gd name="T4" fmla="*/ 642 w 702"/>
              <a:gd name="T5" fmla="*/ 0 h 531"/>
              <a:gd name="T6" fmla="*/ 678 w 702"/>
              <a:gd name="T7" fmla="*/ 66 h 531"/>
              <a:gd name="T8" fmla="*/ 580 w 702"/>
              <a:gd name="T9" fmla="*/ 214 h 531"/>
              <a:gd name="T10" fmla="*/ 492 w 702"/>
              <a:gd name="T11" fmla="*/ 347 h 531"/>
              <a:gd name="T12" fmla="*/ 395 w 702"/>
              <a:gd name="T13" fmla="*/ 495 h 531"/>
              <a:gd name="T14" fmla="*/ 307 w 702"/>
              <a:gd name="T15" fmla="*/ 495 h 531"/>
              <a:gd name="T16" fmla="*/ 210 w 702"/>
              <a:gd name="T17" fmla="*/ 347 h 531"/>
              <a:gd name="T18" fmla="*/ 122 w 702"/>
              <a:gd name="T19" fmla="*/ 214 h 531"/>
              <a:gd name="T20" fmla="*/ 24 w 702"/>
              <a:gd name="T21" fmla="*/ 66 h 531"/>
              <a:gd name="T22" fmla="*/ 60 w 702"/>
              <a:gd name="T23" fmla="*/ 0 h 531"/>
              <a:gd name="T24" fmla="*/ 272 w 702"/>
              <a:gd name="T25" fmla="*/ 0 h 5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02" h="531">
                <a:moveTo>
                  <a:pt x="272" y="0"/>
                </a:moveTo>
                <a:cubicBezTo>
                  <a:pt x="315" y="0"/>
                  <a:pt x="387" y="0"/>
                  <a:pt x="430" y="0"/>
                </a:cubicBezTo>
                <a:cubicBezTo>
                  <a:pt x="642" y="0"/>
                  <a:pt x="642" y="0"/>
                  <a:pt x="642" y="0"/>
                </a:cubicBezTo>
                <a:cubicBezTo>
                  <a:pt x="685" y="0"/>
                  <a:pt x="702" y="29"/>
                  <a:pt x="678" y="66"/>
                </a:cubicBezTo>
                <a:cubicBezTo>
                  <a:pt x="580" y="214"/>
                  <a:pt x="580" y="214"/>
                  <a:pt x="580" y="214"/>
                </a:cubicBezTo>
                <a:cubicBezTo>
                  <a:pt x="556" y="251"/>
                  <a:pt x="516" y="310"/>
                  <a:pt x="492" y="347"/>
                </a:cubicBezTo>
                <a:cubicBezTo>
                  <a:pt x="395" y="495"/>
                  <a:pt x="395" y="495"/>
                  <a:pt x="395" y="495"/>
                </a:cubicBezTo>
                <a:cubicBezTo>
                  <a:pt x="371" y="531"/>
                  <a:pt x="331" y="531"/>
                  <a:pt x="307" y="495"/>
                </a:cubicBezTo>
                <a:cubicBezTo>
                  <a:pt x="210" y="347"/>
                  <a:pt x="210" y="347"/>
                  <a:pt x="210" y="347"/>
                </a:cubicBezTo>
                <a:cubicBezTo>
                  <a:pt x="186" y="310"/>
                  <a:pt x="146" y="251"/>
                  <a:pt x="122" y="214"/>
                </a:cubicBezTo>
                <a:cubicBezTo>
                  <a:pt x="24" y="66"/>
                  <a:pt x="24" y="66"/>
                  <a:pt x="24" y="66"/>
                </a:cubicBezTo>
                <a:cubicBezTo>
                  <a:pt x="0" y="29"/>
                  <a:pt x="17" y="0"/>
                  <a:pt x="60" y="0"/>
                </a:cubicBezTo>
                <a:lnTo>
                  <a:pt x="272" y="0"/>
                </a:lnTo>
                <a:close/>
              </a:path>
            </a:pathLst>
          </a:custGeom>
          <a:solidFill>
            <a:sysClr val="window" lastClr="FFFFFF"/>
          </a:solidFill>
          <a:ln w="14288" cap="flat">
            <a:noFill/>
            <a:prstDash val="solid"/>
            <a:miter lim="800000"/>
            <a:headEnd/>
            <a:tailEnd/>
          </a:ln>
          <a:effectLst>
            <a:outerShdw blurRad="50800" dist="38100" dir="16200000" rotWithShape="0">
              <a:prstClr val="black">
                <a:alpha val="40000"/>
              </a:prstClr>
            </a:outerShdw>
          </a:effec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ndParaRPr>
          </a:p>
        </p:txBody>
      </p:sp>
      <p:sp>
        <p:nvSpPr>
          <p:cNvPr id="222" name="Freeform 15"/>
          <p:cNvSpPr>
            <a:spLocks/>
          </p:cNvSpPr>
          <p:nvPr/>
        </p:nvSpPr>
        <p:spPr bwMode="auto">
          <a:xfrm>
            <a:off x="8454394" y="3182207"/>
            <a:ext cx="2244157" cy="1702046"/>
          </a:xfrm>
          <a:custGeom>
            <a:avLst/>
            <a:gdLst>
              <a:gd name="T0" fmla="*/ 272 w 702"/>
              <a:gd name="T1" fmla="*/ 0 h 531"/>
              <a:gd name="T2" fmla="*/ 430 w 702"/>
              <a:gd name="T3" fmla="*/ 0 h 531"/>
              <a:gd name="T4" fmla="*/ 642 w 702"/>
              <a:gd name="T5" fmla="*/ 0 h 531"/>
              <a:gd name="T6" fmla="*/ 678 w 702"/>
              <a:gd name="T7" fmla="*/ 66 h 531"/>
              <a:gd name="T8" fmla="*/ 580 w 702"/>
              <a:gd name="T9" fmla="*/ 214 h 531"/>
              <a:gd name="T10" fmla="*/ 492 w 702"/>
              <a:gd name="T11" fmla="*/ 347 h 531"/>
              <a:gd name="T12" fmla="*/ 395 w 702"/>
              <a:gd name="T13" fmla="*/ 495 h 531"/>
              <a:gd name="T14" fmla="*/ 307 w 702"/>
              <a:gd name="T15" fmla="*/ 495 h 531"/>
              <a:gd name="T16" fmla="*/ 210 w 702"/>
              <a:gd name="T17" fmla="*/ 347 h 531"/>
              <a:gd name="T18" fmla="*/ 122 w 702"/>
              <a:gd name="T19" fmla="*/ 214 h 531"/>
              <a:gd name="T20" fmla="*/ 24 w 702"/>
              <a:gd name="T21" fmla="*/ 66 h 531"/>
              <a:gd name="T22" fmla="*/ 60 w 702"/>
              <a:gd name="T23" fmla="*/ 0 h 531"/>
              <a:gd name="T24" fmla="*/ 272 w 702"/>
              <a:gd name="T25" fmla="*/ 0 h 5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02" h="531">
                <a:moveTo>
                  <a:pt x="272" y="0"/>
                </a:moveTo>
                <a:cubicBezTo>
                  <a:pt x="315" y="0"/>
                  <a:pt x="387" y="0"/>
                  <a:pt x="430" y="0"/>
                </a:cubicBezTo>
                <a:cubicBezTo>
                  <a:pt x="642" y="0"/>
                  <a:pt x="642" y="0"/>
                  <a:pt x="642" y="0"/>
                </a:cubicBezTo>
                <a:cubicBezTo>
                  <a:pt x="685" y="0"/>
                  <a:pt x="702" y="29"/>
                  <a:pt x="678" y="66"/>
                </a:cubicBezTo>
                <a:cubicBezTo>
                  <a:pt x="580" y="214"/>
                  <a:pt x="580" y="214"/>
                  <a:pt x="580" y="214"/>
                </a:cubicBezTo>
                <a:cubicBezTo>
                  <a:pt x="556" y="251"/>
                  <a:pt x="516" y="310"/>
                  <a:pt x="492" y="347"/>
                </a:cubicBezTo>
                <a:cubicBezTo>
                  <a:pt x="395" y="495"/>
                  <a:pt x="395" y="495"/>
                  <a:pt x="395" y="495"/>
                </a:cubicBezTo>
                <a:cubicBezTo>
                  <a:pt x="371" y="531"/>
                  <a:pt x="331" y="531"/>
                  <a:pt x="307" y="495"/>
                </a:cubicBezTo>
                <a:cubicBezTo>
                  <a:pt x="210" y="347"/>
                  <a:pt x="210" y="347"/>
                  <a:pt x="210" y="347"/>
                </a:cubicBezTo>
                <a:cubicBezTo>
                  <a:pt x="186" y="310"/>
                  <a:pt x="146" y="251"/>
                  <a:pt x="122" y="214"/>
                </a:cubicBezTo>
                <a:cubicBezTo>
                  <a:pt x="24" y="66"/>
                  <a:pt x="24" y="66"/>
                  <a:pt x="24" y="66"/>
                </a:cubicBezTo>
                <a:cubicBezTo>
                  <a:pt x="0" y="29"/>
                  <a:pt x="17" y="0"/>
                  <a:pt x="60" y="0"/>
                </a:cubicBezTo>
                <a:lnTo>
                  <a:pt x="272" y="0"/>
                </a:lnTo>
                <a:close/>
              </a:path>
            </a:pathLst>
          </a:custGeom>
          <a:solidFill>
            <a:sysClr val="window" lastClr="FFFFFF"/>
          </a:solidFill>
          <a:ln w="14288" cap="flat">
            <a:noFill/>
            <a:prstDash val="solid"/>
            <a:miter lim="800000"/>
            <a:headEnd/>
            <a:tailEnd/>
          </a:ln>
          <a:effectLst>
            <a:outerShdw blurRad="50800" dist="38100" dir="16200000" rotWithShape="0">
              <a:prstClr val="black">
                <a:alpha val="40000"/>
              </a:prstClr>
            </a:outerShdw>
          </a:effec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ndParaRPr>
          </a:p>
        </p:txBody>
      </p:sp>
      <p:sp>
        <p:nvSpPr>
          <p:cNvPr id="223" name="Freeform 17"/>
          <p:cNvSpPr>
            <a:spLocks/>
          </p:cNvSpPr>
          <p:nvPr/>
        </p:nvSpPr>
        <p:spPr bwMode="auto">
          <a:xfrm>
            <a:off x="3307702" y="2782044"/>
            <a:ext cx="2077873" cy="1355958"/>
          </a:xfrm>
          <a:custGeom>
            <a:avLst/>
            <a:gdLst>
              <a:gd name="T0" fmla="*/ 327 w 650"/>
              <a:gd name="T1" fmla="*/ 0 h 423"/>
              <a:gd name="T2" fmla="*/ 180 w 650"/>
              <a:gd name="T3" fmla="*/ 83 h 423"/>
              <a:gd name="T4" fmla="*/ 0 w 650"/>
              <a:gd name="T5" fmla="*/ 356 h 423"/>
              <a:gd name="T6" fmla="*/ 105 w 650"/>
              <a:gd name="T7" fmla="*/ 423 h 423"/>
              <a:gd name="T8" fmla="*/ 186 w 650"/>
              <a:gd name="T9" fmla="*/ 300 h 423"/>
              <a:gd name="T10" fmla="*/ 284 w 650"/>
              <a:gd name="T11" fmla="*/ 152 h 423"/>
              <a:gd name="T12" fmla="*/ 371 w 650"/>
              <a:gd name="T13" fmla="*/ 152 h 423"/>
              <a:gd name="T14" fmla="*/ 469 w 650"/>
              <a:gd name="T15" fmla="*/ 300 h 423"/>
              <a:gd name="T16" fmla="*/ 547 w 650"/>
              <a:gd name="T17" fmla="*/ 419 h 423"/>
              <a:gd name="T18" fmla="*/ 621 w 650"/>
              <a:gd name="T19" fmla="*/ 419 h 423"/>
              <a:gd name="T20" fmla="*/ 650 w 650"/>
              <a:gd name="T21" fmla="*/ 349 h 423"/>
              <a:gd name="T22" fmla="*/ 650 w 650"/>
              <a:gd name="T23" fmla="*/ 348 h 423"/>
              <a:gd name="T24" fmla="*/ 475 w 650"/>
              <a:gd name="T25" fmla="*/ 83 h 423"/>
              <a:gd name="T26" fmla="*/ 327 w 650"/>
              <a:gd name="T27" fmla="*/ 0 h 4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50" h="423">
                <a:moveTo>
                  <a:pt x="327" y="0"/>
                </a:moveTo>
                <a:cubicBezTo>
                  <a:pt x="269" y="0"/>
                  <a:pt x="215" y="30"/>
                  <a:pt x="180" y="83"/>
                </a:cubicBezTo>
                <a:cubicBezTo>
                  <a:pt x="0" y="356"/>
                  <a:pt x="0" y="356"/>
                  <a:pt x="0" y="356"/>
                </a:cubicBezTo>
                <a:cubicBezTo>
                  <a:pt x="105" y="423"/>
                  <a:pt x="105" y="423"/>
                  <a:pt x="105" y="423"/>
                </a:cubicBezTo>
                <a:cubicBezTo>
                  <a:pt x="129" y="386"/>
                  <a:pt x="164" y="333"/>
                  <a:pt x="186" y="300"/>
                </a:cubicBezTo>
                <a:cubicBezTo>
                  <a:pt x="284" y="152"/>
                  <a:pt x="284" y="152"/>
                  <a:pt x="284" y="152"/>
                </a:cubicBezTo>
                <a:cubicBezTo>
                  <a:pt x="308" y="116"/>
                  <a:pt x="347" y="116"/>
                  <a:pt x="371" y="152"/>
                </a:cubicBezTo>
                <a:cubicBezTo>
                  <a:pt x="469" y="300"/>
                  <a:pt x="469" y="300"/>
                  <a:pt x="469" y="300"/>
                </a:cubicBezTo>
                <a:cubicBezTo>
                  <a:pt x="490" y="332"/>
                  <a:pt x="523" y="382"/>
                  <a:pt x="547" y="419"/>
                </a:cubicBezTo>
                <a:cubicBezTo>
                  <a:pt x="621" y="419"/>
                  <a:pt x="621" y="419"/>
                  <a:pt x="621" y="419"/>
                </a:cubicBezTo>
                <a:cubicBezTo>
                  <a:pt x="650" y="349"/>
                  <a:pt x="650" y="349"/>
                  <a:pt x="650" y="349"/>
                </a:cubicBezTo>
                <a:cubicBezTo>
                  <a:pt x="650" y="348"/>
                  <a:pt x="650" y="348"/>
                  <a:pt x="650" y="348"/>
                </a:cubicBezTo>
                <a:cubicBezTo>
                  <a:pt x="475" y="83"/>
                  <a:pt x="475" y="83"/>
                  <a:pt x="475" y="83"/>
                </a:cubicBezTo>
                <a:cubicBezTo>
                  <a:pt x="440" y="30"/>
                  <a:pt x="386" y="0"/>
                  <a:pt x="327" y="0"/>
                </a:cubicBezTo>
                <a:close/>
              </a:path>
            </a:pathLst>
          </a:custGeom>
          <a:solidFill>
            <a:srgbClr val="78D2D2"/>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ndParaRPr>
          </a:p>
        </p:txBody>
      </p:sp>
      <p:sp>
        <p:nvSpPr>
          <p:cNvPr id="224" name="Freeform 19"/>
          <p:cNvSpPr>
            <a:spLocks/>
          </p:cNvSpPr>
          <p:nvPr/>
        </p:nvSpPr>
        <p:spPr bwMode="auto">
          <a:xfrm>
            <a:off x="8538211" y="3897363"/>
            <a:ext cx="2077873" cy="1351903"/>
          </a:xfrm>
          <a:custGeom>
            <a:avLst/>
            <a:gdLst>
              <a:gd name="T0" fmla="*/ 619 w 650"/>
              <a:gd name="T1" fmla="*/ 6 h 422"/>
              <a:gd name="T2" fmla="*/ 544 w 650"/>
              <a:gd name="T3" fmla="*/ 5 h 422"/>
              <a:gd name="T4" fmla="*/ 467 w 650"/>
              <a:gd name="T5" fmla="*/ 122 h 422"/>
              <a:gd name="T6" fmla="*/ 369 w 650"/>
              <a:gd name="T7" fmla="*/ 270 h 422"/>
              <a:gd name="T8" fmla="*/ 282 w 650"/>
              <a:gd name="T9" fmla="*/ 270 h 422"/>
              <a:gd name="T10" fmla="*/ 184 w 650"/>
              <a:gd name="T11" fmla="*/ 122 h 422"/>
              <a:gd name="T12" fmla="*/ 104 w 650"/>
              <a:gd name="T13" fmla="*/ 0 h 422"/>
              <a:gd name="T14" fmla="*/ 104 w 650"/>
              <a:gd name="T15" fmla="*/ 0 h 422"/>
              <a:gd name="T16" fmla="*/ 74 w 650"/>
              <a:gd name="T17" fmla="*/ 70 h 422"/>
              <a:gd name="T18" fmla="*/ 0 w 650"/>
              <a:gd name="T19" fmla="*/ 70 h 422"/>
              <a:gd name="T20" fmla="*/ 178 w 650"/>
              <a:gd name="T21" fmla="*/ 339 h 422"/>
              <a:gd name="T22" fmla="*/ 289 w 650"/>
              <a:gd name="T23" fmla="*/ 418 h 422"/>
              <a:gd name="T24" fmla="*/ 322 w 650"/>
              <a:gd name="T25" fmla="*/ 422 h 422"/>
              <a:gd name="T26" fmla="*/ 325 w 650"/>
              <a:gd name="T27" fmla="*/ 422 h 422"/>
              <a:gd name="T28" fmla="*/ 473 w 650"/>
              <a:gd name="T29" fmla="*/ 339 h 422"/>
              <a:gd name="T30" fmla="*/ 650 w 650"/>
              <a:gd name="T31" fmla="*/ 72 h 422"/>
              <a:gd name="T32" fmla="*/ 619 w 650"/>
              <a:gd name="T33" fmla="*/ 6 h 4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50" h="422">
                <a:moveTo>
                  <a:pt x="619" y="6"/>
                </a:moveTo>
                <a:cubicBezTo>
                  <a:pt x="544" y="5"/>
                  <a:pt x="544" y="5"/>
                  <a:pt x="544" y="5"/>
                </a:cubicBezTo>
                <a:cubicBezTo>
                  <a:pt x="520" y="41"/>
                  <a:pt x="488" y="90"/>
                  <a:pt x="467" y="122"/>
                </a:cubicBezTo>
                <a:cubicBezTo>
                  <a:pt x="369" y="270"/>
                  <a:pt x="369" y="270"/>
                  <a:pt x="369" y="270"/>
                </a:cubicBezTo>
                <a:cubicBezTo>
                  <a:pt x="345" y="307"/>
                  <a:pt x="306" y="307"/>
                  <a:pt x="282" y="270"/>
                </a:cubicBezTo>
                <a:cubicBezTo>
                  <a:pt x="184" y="122"/>
                  <a:pt x="184" y="122"/>
                  <a:pt x="184" y="122"/>
                </a:cubicBezTo>
                <a:cubicBezTo>
                  <a:pt x="162" y="89"/>
                  <a:pt x="128" y="37"/>
                  <a:pt x="104" y="0"/>
                </a:cubicBezTo>
                <a:cubicBezTo>
                  <a:pt x="104" y="0"/>
                  <a:pt x="104" y="0"/>
                  <a:pt x="104" y="0"/>
                </a:cubicBezTo>
                <a:cubicBezTo>
                  <a:pt x="74" y="70"/>
                  <a:pt x="74" y="70"/>
                  <a:pt x="74" y="70"/>
                </a:cubicBezTo>
                <a:cubicBezTo>
                  <a:pt x="0" y="70"/>
                  <a:pt x="0" y="70"/>
                  <a:pt x="0" y="70"/>
                </a:cubicBezTo>
                <a:cubicBezTo>
                  <a:pt x="178" y="339"/>
                  <a:pt x="178" y="339"/>
                  <a:pt x="178" y="339"/>
                </a:cubicBezTo>
                <a:cubicBezTo>
                  <a:pt x="205" y="381"/>
                  <a:pt x="245" y="409"/>
                  <a:pt x="289" y="418"/>
                </a:cubicBezTo>
                <a:cubicBezTo>
                  <a:pt x="322" y="422"/>
                  <a:pt x="322" y="422"/>
                  <a:pt x="322" y="422"/>
                </a:cubicBezTo>
                <a:cubicBezTo>
                  <a:pt x="323" y="422"/>
                  <a:pt x="324" y="422"/>
                  <a:pt x="325" y="422"/>
                </a:cubicBezTo>
                <a:cubicBezTo>
                  <a:pt x="384" y="422"/>
                  <a:pt x="438" y="392"/>
                  <a:pt x="473" y="339"/>
                </a:cubicBezTo>
                <a:cubicBezTo>
                  <a:pt x="650" y="72"/>
                  <a:pt x="650" y="72"/>
                  <a:pt x="650" y="72"/>
                </a:cubicBezTo>
                <a:lnTo>
                  <a:pt x="619" y="6"/>
                </a:lnTo>
                <a:close/>
              </a:path>
            </a:pathLst>
          </a:custGeom>
          <a:solidFill>
            <a:srgbClr val="78D2D2"/>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ndParaRPr>
          </a:p>
        </p:txBody>
      </p:sp>
      <p:sp>
        <p:nvSpPr>
          <p:cNvPr id="225" name="Freeform 20"/>
          <p:cNvSpPr>
            <a:spLocks/>
          </p:cNvSpPr>
          <p:nvPr/>
        </p:nvSpPr>
        <p:spPr bwMode="auto">
          <a:xfrm>
            <a:off x="6788850" y="2777988"/>
            <a:ext cx="2077873" cy="1353255"/>
          </a:xfrm>
          <a:custGeom>
            <a:avLst/>
            <a:gdLst>
              <a:gd name="T0" fmla="*/ 327 w 650"/>
              <a:gd name="T1" fmla="*/ 0 h 422"/>
              <a:gd name="T2" fmla="*/ 179 w 650"/>
              <a:gd name="T3" fmla="*/ 83 h 422"/>
              <a:gd name="T4" fmla="*/ 0 w 650"/>
              <a:gd name="T5" fmla="*/ 356 h 422"/>
              <a:gd name="T6" fmla="*/ 105 w 650"/>
              <a:gd name="T7" fmla="*/ 422 h 422"/>
              <a:gd name="T8" fmla="*/ 186 w 650"/>
              <a:gd name="T9" fmla="*/ 300 h 422"/>
              <a:gd name="T10" fmla="*/ 284 w 650"/>
              <a:gd name="T11" fmla="*/ 152 h 422"/>
              <a:gd name="T12" fmla="*/ 371 w 650"/>
              <a:gd name="T13" fmla="*/ 152 h 422"/>
              <a:gd name="T14" fmla="*/ 469 w 650"/>
              <a:gd name="T15" fmla="*/ 300 h 422"/>
              <a:gd name="T16" fmla="*/ 547 w 650"/>
              <a:gd name="T17" fmla="*/ 419 h 422"/>
              <a:gd name="T18" fmla="*/ 620 w 650"/>
              <a:gd name="T19" fmla="*/ 419 h 422"/>
              <a:gd name="T20" fmla="*/ 650 w 650"/>
              <a:gd name="T21" fmla="*/ 348 h 422"/>
              <a:gd name="T22" fmla="*/ 650 w 650"/>
              <a:gd name="T23" fmla="*/ 348 h 422"/>
              <a:gd name="T24" fmla="*/ 475 w 650"/>
              <a:gd name="T25" fmla="*/ 83 h 422"/>
              <a:gd name="T26" fmla="*/ 327 w 650"/>
              <a:gd name="T27" fmla="*/ 0 h 4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50" h="422">
                <a:moveTo>
                  <a:pt x="327" y="0"/>
                </a:moveTo>
                <a:cubicBezTo>
                  <a:pt x="268" y="0"/>
                  <a:pt x="214" y="30"/>
                  <a:pt x="179" y="83"/>
                </a:cubicBezTo>
                <a:cubicBezTo>
                  <a:pt x="0" y="356"/>
                  <a:pt x="0" y="356"/>
                  <a:pt x="0" y="356"/>
                </a:cubicBezTo>
                <a:cubicBezTo>
                  <a:pt x="105" y="422"/>
                  <a:pt x="105" y="422"/>
                  <a:pt x="105" y="422"/>
                </a:cubicBezTo>
                <a:cubicBezTo>
                  <a:pt x="129" y="386"/>
                  <a:pt x="164" y="333"/>
                  <a:pt x="186" y="300"/>
                </a:cubicBezTo>
                <a:cubicBezTo>
                  <a:pt x="284" y="152"/>
                  <a:pt x="284" y="152"/>
                  <a:pt x="284" y="152"/>
                </a:cubicBezTo>
                <a:cubicBezTo>
                  <a:pt x="308" y="115"/>
                  <a:pt x="347" y="115"/>
                  <a:pt x="371" y="152"/>
                </a:cubicBezTo>
                <a:cubicBezTo>
                  <a:pt x="469" y="300"/>
                  <a:pt x="469" y="300"/>
                  <a:pt x="469" y="300"/>
                </a:cubicBezTo>
                <a:cubicBezTo>
                  <a:pt x="490" y="332"/>
                  <a:pt x="523" y="382"/>
                  <a:pt x="547" y="419"/>
                </a:cubicBezTo>
                <a:cubicBezTo>
                  <a:pt x="620" y="419"/>
                  <a:pt x="620" y="419"/>
                  <a:pt x="620" y="419"/>
                </a:cubicBezTo>
                <a:cubicBezTo>
                  <a:pt x="650" y="348"/>
                  <a:pt x="650" y="348"/>
                  <a:pt x="650" y="348"/>
                </a:cubicBezTo>
                <a:cubicBezTo>
                  <a:pt x="650" y="348"/>
                  <a:pt x="650" y="348"/>
                  <a:pt x="650" y="348"/>
                </a:cubicBezTo>
                <a:cubicBezTo>
                  <a:pt x="475" y="83"/>
                  <a:pt x="475" y="83"/>
                  <a:pt x="475" y="83"/>
                </a:cubicBezTo>
                <a:cubicBezTo>
                  <a:pt x="440" y="30"/>
                  <a:pt x="386" y="0"/>
                  <a:pt x="327" y="0"/>
                </a:cubicBezTo>
                <a:close/>
              </a:path>
            </a:pathLst>
          </a:custGeom>
          <a:solidFill>
            <a:srgbClr val="E2583D"/>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ndParaRPr>
          </a:p>
        </p:txBody>
      </p:sp>
      <p:sp>
        <p:nvSpPr>
          <p:cNvPr id="226" name="Freeform 16"/>
          <p:cNvSpPr>
            <a:spLocks/>
          </p:cNvSpPr>
          <p:nvPr/>
        </p:nvSpPr>
        <p:spPr bwMode="auto">
          <a:xfrm>
            <a:off x="1575916" y="3902770"/>
            <a:ext cx="2073817" cy="1353255"/>
          </a:xfrm>
          <a:custGeom>
            <a:avLst/>
            <a:gdLst>
              <a:gd name="T0" fmla="*/ 619 w 649"/>
              <a:gd name="T1" fmla="*/ 5 h 422"/>
              <a:gd name="T2" fmla="*/ 544 w 649"/>
              <a:gd name="T3" fmla="*/ 4 h 422"/>
              <a:gd name="T4" fmla="*/ 466 w 649"/>
              <a:gd name="T5" fmla="*/ 122 h 422"/>
              <a:gd name="T6" fmla="*/ 369 w 649"/>
              <a:gd name="T7" fmla="*/ 270 h 422"/>
              <a:gd name="T8" fmla="*/ 281 w 649"/>
              <a:gd name="T9" fmla="*/ 270 h 422"/>
              <a:gd name="T10" fmla="*/ 184 w 649"/>
              <a:gd name="T11" fmla="*/ 122 h 422"/>
              <a:gd name="T12" fmla="*/ 103 w 649"/>
              <a:gd name="T13" fmla="*/ 0 h 422"/>
              <a:gd name="T14" fmla="*/ 103 w 649"/>
              <a:gd name="T15" fmla="*/ 0 h 422"/>
              <a:gd name="T16" fmla="*/ 73 w 649"/>
              <a:gd name="T17" fmla="*/ 70 h 422"/>
              <a:gd name="T18" fmla="*/ 0 w 649"/>
              <a:gd name="T19" fmla="*/ 70 h 422"/>
              <a:gd name="T20" fmla="*/ 177 w 649"/>
              <a:gd name="T21" fmla="*/ 338 h 422"/>
              <a:gd name="T22" fmla="*/ 289 w 649"/>
              <a:gd name="T23" fmla="*/ 418 h 422"/>
              <a:gd name="T24" fmla="*/ 321 w 649"/>
              <a:gd name="T25" fmla="*/ 422 h 422"/>
              <a:gd name="T26" fmla="*/ 325 w 649"/>
              <a:gd name="T27" fmla="*/ 422 h 422"/>
              <a:gd name="T28" fmla="*/ 473 w 649"/>
              <a:gd name="T29" fmla="*/ 338 h 422"/>
              <a:gd name="T30" fmla="*/ 649 w 649"/>
              <a:gd name="T31" fmla="*/ 71 h 422"/>
              <a:gd name="T32" fmla="*/ 619 w 649"/>
              <a:gd name="T33" fmla="*/ 5 h 4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49" h="422">
                <a:moveTo>
                  <a:pt x="619" y="5"/>
                </a:moveTo>
                <a:cubicBezTo>
                  <a:pt x="544" y="4"/>
                  <a:pt x="544" y="4"/>
                  <a:pt x="544" y="4"/>
                </a:cubicBezTo>
                <a:cubicBezTo>
                  <a:pt x="520" y="40"/>
                  <a:pt x="487" y="90"/>
                  <a:pt x="466" y="122"/>
                </a:cubicBezTo>
                <a:cubicBezTo>
                  <a:pt x="369" y="270"/>
                  <a:pt x="369" y="270"/>
                  <a:pt x="369" y="270"/>
                </a:cubicBezTo>
                <a:cubicBezTo>
                  <a:pt x="345" y="306"/>
                  <a:pt x="305" y="306"/>
                  <a:pt x="281" y="270"/>
                </a:cubicBezTo>
                <a:cubicBezTo>
                  <a:pt x="184" y="122"/>
                  <a:pt x="184" y="122"/>
                  <a:pt x="184" y="122"/>
                </a:cubicBezTo>
                <a:cubicBezTo>
                  <a:pt x="162" y="89"/>
                  <a:pt x="127" y="36"/>
                  <a:pt x="103" y="0"/>
                </a:cubicBezTo>
                <a:cubicBezTo>
                  <a:pt x="103" y="0"/>
                  <a:pt x="103" y="0"/>
                  <a:pt x="103" y="0"/>
                </a:cubicBezTo>
                <a:cubicBezTo>
                  <a:pt x="73" y="70"/>
                  <a:pt x="73" y="70"/>
                  <a:pt x="73" y="70"/>
                </a:cubicBezTo>
                <a:cubicBezTo>
                  <a:pt x="0" y="70"/>
                  <a:pt x="0" y="70"/>
                  <a:pt x="0" y="70"/>
                </a:cubicBezTo>
                <a:cubicBezTo>
                  <a:pt x="177" y="338"/>
                  <a:pt x="177" y="338"/>
                  <a:pt x="177" y="338"/>
                </a:cubicBezTo>
                <a:cubicBezTo>
                  <a:pt x="205" y="380"/>
                  <a:pt x="244" y="408"/>
                  <a:pt x="289" y="418"/>
                </a:cubicBezTo>
                <a:cubicBezTo>
                  <a:pt x="321" y="422"/>
                  <a:pt x="321" y="422"/>
                  <a:pt x="321" y="422"/>
                </a:cubicBezTo>
                <a:cubicBezTo>
                  <a:pt x="323" y="422"/>
                  <a:pt x="324" y="422"/>
                  <a:pt x="325" y="422"/>
                </a:cubicBezTo>
                <a:cubicBezTo>
                  <a:pt x="384" y="422"/>
                  <a:pt x="438" y="391"/>
                  <a:pt x="473" y="338"/>
                </a:cubicBezTo>
                <a:cubicBezTo>
                  <a:pt x="649" y="71"/>
                  <a:pt x="649" y="71"/>
                  <a:pt x="649" y="71"/>
                </a:cubicBezTo>
                <a:lnTo>
                  <a:pt x="619" y="5"/>
                </a:lnTo>
                <a:close/>
              </a:path>
            </a:pathLst>
          </a:custGeom>
          <a:solidFill>
            <a:srgbClr val="E2583D"/>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ndParaRPr>
          </a:p>
        </p:txBody>
      </p:sp>
      <p:sp>
        <p:nvSpPr>
          <p:cNvPr id="227" name="Freeform 18"/>
          <p:cNvSpPr>
            <a:spLocks/>
          </p:cNvSpPr>
          <p:nvPr/>
        </p:nvSpPr>
        <p:spPr bwMode="auto">
          <a:xfrm>
            <a:off x="5057063" y="3897363"/>
            <a:ext cx="2073817" cy="1351903"/>
          </a:xfrm>
          <a:custGeom>
            <a:avLst/>
            <a:gdLst>
              <a:gd name="T0" fmla="*/ 618 w 649"/>
              <a:gd name="T1" fmla="*/ 6 h 422"/>
              <a:gd name="T2" fmla="*/ 544 w 649"/>
              <a:gd name="T3" fmla="*/ 5 h 422"/>
              <a:gd name="T4" fmla="*/ 466 w 649"/>
              <a:gd name="T5" fmla="*/ 122 h 422"/>
              <a:gd name="T6" fmla="*/ 369 w 649"/>
              <a:gd name="T7" fmla="*/ 270 h 422"/>
              <a:gd name="T8" fmla="*/ 281 w 649"/>
              <a:gd name="T9" fmla="*/ 270 h 422"/>
              <a:gd name="T10" fmla="*/ 183 w 649"/>
              <a:gd name="T11" fmla="*/ 122 h 422"/>
              <a:gd name="T12" fmla="*/ 103 w 649"/>
              <a:gd name="T13" fmla="*/ 0 h 422"/>
              <a:gd name="T14" fmla="*/ 103 w 649"/>
              <a:gd name="T15" fmla="*/ 0 h 422"/>
              <a:gd name="T16" fmla="*/ 73 w 649"/>
              <a:gd name="T17" fmla="*/ 70 h 422"/>
              <a:gd name="T18" fmla="*/ 0 w 649"/>
              <a:gd name="T19" fmla="*/ 70 h 422"/>
              <a:gd name="T20" fmla="*/ 177 w 649"/>
              <a:gd name="T21" fmla="*/ 339 h 422"/>
              <a:gd name="T22" fmla="*/ 288 w 649"/>
              <a:gd name="T23" fmla="*/ 418 h 422"/>
              <a:gd name="T24" fmla="*/ 321 w 649"/>
              <a:gd name="T25" fmla="*/ 422 h 422"/>
              <a:gd name="T26" fmla="*/ 325 w 649"/>
              <a:gd name="T27" fmla="*/ 422 h 422"/>
              <a:gd name="T28" fmla="*/ 473 w 649"/>
              <a:gd name="T29" fmla="*/ 339 h 422"/>
              <a:gd name="T30" fmla="*/ 649 w 649"/>
              <a:gd name="T31" fmla="*/ 72 h 422"/>
              <a:gd name="T32" fmla="*/ 618 w 649"/>
              <a:gd name="T33" fmla="*/ 6 h 4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49" h="422">
                <a:moveTo>
                  <a:pt x="618" y="6"/>
                </a:moveTo>
                <a:cubicBezTo>
                  <a:pt x="544" y="5"/>
                  <a:pt x="544" y="5"/>
                  <a:pt x="544" y="5"/>
                </a:cubicBezTo>
                <a:cubicBezTo>
                  <a:pt x="520" y="41"/>
                  <a:pt x="487" y="90"/>
                  <a:pt x="466" y="122"/>
                </a:cubicBezTo>
                <a:cubicBezTo>
                  <a:pt x="369" y="270"/>
                  <a:pt x="369" y="270"/>
                  <a:pt x="369" y="270"/>
                </a:cubicBezTo>
                <a:cubicBezTo>
                  <a:pt x="344" y="307"/>
                  <a:pt x="305" y="307"/>
                  <a:pt x="281" y="270"/>
                </a:cubicBezTo>
                <a:cubicBezTo>
                  <a:pt x="183" y="122"/>
                  <a:pt x="183" y="122"/>
                  <a:pt x="183" y="122"/>
                </a:cubicBezTo>
                <a:cubicBezTo>
                  <a:pt x="162" y="89"/>
                  <a:pt x="127" y="37"/>
                  <a:pt x="103" y="0"/>
                </a:cubicBezTo>
                <a:cubicBezTo>
                  <a:pt x="103" y="0"/>
                  <a:pt x="103" y="0"/>
                  <a:pt x="103" y="0"/>
                </a:cubicBezTo>
                <a:cubicBezTo>
                  <a:pt x="73" y="70"/>
                  <a:pt x="73" y="70"/>
                  <a:pt x="73" y="70"/>
                </a:cubicBezTo>
                <a:cubicBezTo>
                  <a:pt x="0" y="70"/>
                  <a:pt x="0" y="70"/>
                  <a:pt x="0" y="70"/>
                </a:cubicBezTo>
                <a:cubicBezTo>
                  <a:pt x="177" y="339"/>
                  <a:pt x="177" y="339"/>
                  <a:pt x="177" y="339"/>
                </a:cubicBezTo>
                <a:cubicBezTo>
                  <a:pt x="205" y="381"/>
                  <a:pt x="244" y="409"/>
                  <a:pt x="288" y="418"/>
                </a:cubicBezTo>
                <a:cubicBezTo>
                  <a:pt x="321" y="422"/>
                  <a:pt x="321" y="422"/>
                  <a:pt x="321" y="422"/>
                </a:cubicBezTo>
                <a:cubicBezTo>
                  <a:pt x="322" y="422"/>
                  <a:pt x="324" y="422"/>
                  <a:pt x="325" y="422"/>
                </a:cubicBezTo>
                <a:cubicBezTo>
                  <a:pt x="384" y="422"/>
                  <a:pt x="438" y="392"/>
                  <a:pt x="473" y="339"/>
                </a:cubicBezTo>
                <a:cubicBezTo>
                  <a:pt x="649" y="72"/>
                  <a:pt x="649" y="72"/>
                  <a:pt x="649" y="72"/>
                </a:cubicBezTo>
                <a:lnTo>
                  <a:pt x="618" y="6"/>
                </a:lnTo>
                <a:close/>
              </a:path>
            </a:pathLst>
          </a:custGeom>
          <a:solidFill>
            <a:srgbClr val="3B3939"/>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ndParaRPr>
          </a:p>
        </p:txBody>
      </p:sp>
      <p:sp>
        <p:nvSpPr>
          <p:cNvPr id="229" name="TextBox 228"/>
          <p:cNvSpPr txBox="1"/>
          <p:nvPr/>
        </p:nvSpPr>
        <p:spPr>
          <a:xfrm>
            <a:off x="2254539" y="3567836"/>
            <a:ext cx="719273" cy="184666"/>
          </a:xfrm>
          <a:prstGeom prst="rect">
            <a:avLst/>
          </a:prstGeom>
          <a:noFill/>
          <a:ln w="6350">
            <a:noFill/>
            <a:prstDash val="dash"/>
          </a:ln>
        </p:spPr>
        <p:txBody>
          <a:bodyPr wrap="square" lIns="0" tIns="0" rIns="0" bIns="0"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effectLst/>
                <a:uLnTx/>
                <a:uFillTx/>
              </a:rPr>
              <a:t>PLAN</a:t>
            </a:r>
          </a:p>
        </p:txBody>
      </p:sp>
      <p:grpSp>
        <p:nvGrpSpPr>
          <p:cNvPr id="230" name="Group 229"/>
          <p:cNvGrpSpPr>
            <a:grpSpLocks noChangeAspect="1"/>
          </p:cNvGrpSpPr>
          <p:nvPr/>
        </p:nvGrpSpPr>
        <p:grpSpPr>
          <a:xfrm>
            <a:off x="2417564" y="3810951"/>
            <a:ext cx="393224" cy="448854"/>
            <a:chOff x="2005013" y="1858963"/>
            <a:chExt cx="325437" cy="371476"/>
          </a:xfrm>
          <a:solidFill>
            <a:srgbClr val="E2583D"/>
          </a:solidFill>
        </p:grpSpPr>
        <p:sp>
          <p:nvSpPr>
            <p:cNvPr id="231" name="Freeform 26"/>
            <p:cNvSpPr>
              <a:spLocks noEditPoints="1"/>
            </p:cNvSpPr>
            <p:nvPr/>
          </p:nvSpPr>
          <p:spPr bwMode="auto">
            <a:xfrm>
              <a:off x="2051050" y="1905001"/>
              <a:ext cx="231775" cy="233363"/>
            </a:xfrm>
            <a:custGeom>
              <a:avLst/>
              <a:gdLst>
                <a:gd name="T0" fmla="*/ 30 w 60"/>
                <a:gd name="T1" fmla="*/ 60 h 60"/>
                <a:gd name="T2" fmla="*/ 0 w 60"/>
                <a:gd name="T3" fmla="*/ 30 h 60"/>
                <a:gd name="T4" fmla="*/ 30 w 60"/>
                <a:gd name="T5" fmla="*/ 0 h 60"/>
                <a:gd name="T6" fmla="*/ 60 w 60"/>
                <a:gd name="T7" fmla="*/ 30 h 60"/>
                <a:gd name="T8" fmla="*/ 30 w 60"/>
                <a:gd name="T9" fmla="*/ 60 h 60"/>
                <a:gd name="T10" fmla="*/ 30 w 60"/>
                <a:gd name="T11" fmla="*/ 4 h 60"/>
                <a:gd name="T12" fmla="*/ 4 w 60"/>
                <a:gd name="T13" fmla="*/ 30 h 60"/>
                <a:gd name="T14" fmla="*/ 30 w 60"/>
                <a:gd name="T15" fmla="*/ 56 h 60"/>
                <a:gd name="T16" fmla="*/ 56 w 60"/>
                <a:gd name="T17" fmla="*/ 30 h 60"/>
                <a:gd name="T18" fmla="*/ 30 w 60"/>
                <a:gd name="T19" fmla="*/ 4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0">
                  <a:moveTo>
                    <a:pt x="30" y="60"/>
                  </a:moveTo>
                  <a:cubicBezTo>
                    <a:pt x="13" y="60"/>
                    <a:pt x="0" y="47"/>
                    <a:pt x="0" y="30"/>
                  </a:cubicBezTo>
                  <a:cubicBezTo>
                    <a:pt x="0" y="13"/>
                    <a:pt x="13" y="0"/>
                    <a:pt x="30" y="0"/>
                  </a:cubicBezTo>
                  <a:cubicBezTo>
                    <a:pt x="47" y="0"/>
                    <a:pt x="60" y="13"/>
                    <a:pt x="60" y="30"/>
                  </a:cubicBezTo>
                  <a:cubicBezTo>
                    <a:pt x="60" y="47"/>
                    <a:pt x="47" y="60"/>
                    <a:pt x="30" y="60"/>
                  </a:cubicBezTo>
                  <a:close/>
                  <a:moveTo>
                    <a:pt x="30" y="4"/>
                  </a:moveTo>
                  <a:cubicBezTo>
                    <a:pt x="16" y="4"/>
                    <a:pt x="4" y="16"/>
                    <a:pt x="4" y="30"/>
                  </a:cubicBezTo>
                  <a:cubicBezTo>
                    <a:pt x="4" y="44"/>
                    <a:pt x="16" y="56"/>
                    <a:pt x="30" y="56"/>
                  </a:cubicBezTo>
                  <a:cubicBezTo>
                    <a:pt x="44" y="56"/>
                    <a:pt x="56" y="44"/>
                    <a:pt x="56" y="30"/>
                  </a:cubicBezTo>
                  <a:cubicBezTo>
                    <a:pt x="56" y="16"/>
                    <a:pt x="44" y="4"/>
                    <a:pt x="30"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ndParaRPr>
            </a:p>
          </p:txBody>
        </p:sp>
        <p:sp>
          <p:nvSpPr>
            <p:cNvPr id="232" name="Freeform 27"/>
            <p:cNvSpPr>
              <a:spLocks/>
            </p:cNvSpPr>
            <p:nvPr/>
          </p:nvSpPr>
          <p:spPr bwMode="auto">
            <a:xfrm>
              <a:off x="2112963" y="2122488"/>
              <a:ext cx="107950" cy="46038"/>
            </a:xfrm>
            <a:custGeom>
              <a:avLst/>
              <a:gdLst>
                <a:gd name="T0" fmla="*/ 26 w 28"/>
                <a:gd name="T1" fmla="*/ 12 h 12"/>
                <a:gd name="T2" fmla="*/ 2 w 28"/>
                <a:gd name="T3" fmla="*/ 12 h 12"/>
                <a:gd name="T4" fmla="*/ 0 w 28"/>
                <a:gd name="T5" fmla="*/ 10 h 12"/>
                <a:gd name="T6" fmla="*/ 0 w 28"/>
                <a:gd name="T7" fmla="*/ 0 h 12"/>
                <a:gd name="T8" fmla="*/ 4 w 28"/>
                <a:gd name="T9" fmla="*/ 0 h 12"/>
                <a:gd name="T10" fmla="*/ 4 w 28"/>
                <a:gd name="T11" fmla="*/ 8 h 12"/>
                <a:gd name="T12" fmla="*/ 24 w 28"/>
                <a:gd name="T13" fmla="*/ 8 h 12"/>
                <a:gd name="T14" fmla="*/ 24 w 28"/>
                <a:gd name="T15" fmla="*/ 0 h 12"/>
                <a:gd name="T16" fmla="*/ 28 w 28"/>
                <a:gd name="T17" fmla="*/ 0 h 12"/>
                <a:gd name="T18" fmla="*/ 28 w 28"/>
                <a:gd name="T19" fmla="*/ 10 h 12"/>
                <a:gd name="T20" fmla="*/ 26 w 28"/>
                <a:gd name="T21"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8" h="12">
                  <a:moveTo>
                    <a:pt x="26" y="12"/>
                  </a:moveTo>
                  <a:cubicBezTo>
                    <a:pt x="2" y="12"/>
                    <a:pt x="2" y="12"/>
                    <a:pt x="2" y="12"/>
                  </a:cubicBezTo>
                  <a:cubicBezTo>
                    <a:pt x="1" y="12"/>
                    <a:pt x="0" y="11"/>
                    <a:pt x="0" y="10"/>
                  </a:cubicBezTo>
                  <a:cubicBezTo>
                    <a:pt x="0" y="0"/>
                    <a:pt x="0" y="0"/>
                    <a:pt x="0" y="0"/>
                  </a:cubicBezTo>
                  <a:cubicBezTo>
                    <a:pt x="4" y="0"/>
                    <a:pt x="4" y="0"/>
                    <a:pt x="4" y="0"/>
                  </a:cubicBezTo>
                  <a:cubicBezTo>
                    <a:pt x="4" y="8"/>
                    <a:pt x="4" y="8"/>
                    <a:pt x="4" y="8"/>
                  </a:cubicBezTo>
                  <a:cubicBezTo>
                    <a:pt x="24" y="8"/>
                    <a:pt x="24" y="8"/>
                    <a:pt x="24" y="8"/>
                  </a:cubicBezTo>
                  <a:cubicBezTo>
                    <a:pt x="24" y="0"/>
                    <a:pt x="24" y="0"/>
                    <a:pt x="24" y="0"/>
                  </a:cubicBezTo>
                  <a:cubicBezTo>
                    <a:pt x="28" y="0"/>
                    <a:pt x="28" y="0"/>
                    <a:pt x="28" y="0"/>
                  </a:cubicBezTo>
                  <a:cubicBezTo>
                    <a:pt x="28" y="10"/>
                    <a:pt x="28" y="10"/>
                    <a:pt x="28" y="10"/>
                  </a:cubicBezTo>
                  <a:cubicBezTo>
                    <a:pt x="28" y="11"/>
                    <a:pt x="27" y="12"/>
                    <a:pt x="2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ndParaRPr>
            </a:p>
          </p:txBody>
        </p:sp>
        <p:sp>
          <p:nvSpPr>
            <p:cNvPr id="233" name="Freeform 28"/>
            <p:cNvSpPr>
              <a:spLocks noEditPoints="1"/>
            </p:cNvSpPr>
            <p:nvPr/>
          </p:nvSpPr>
          <p:spPr bwMode="auto">
            <a:xfrm>
              <a:off x="2128838" y="2152651"/>
              <a:ext cx="76200" cy="47625"/>
            </a:xfrm>
            <a:custGeom>
              <a:avLst/>
              <a:gdLst>
                <a:gd name="T0" fmla="*/ 18 w 20"/>
                <a:gd name="T1" fmla="*/ 12 h 12"/>
                <a:gd name="T2" fmla="*/ 2 w 20"/>
                <a:gd name="T3" fmla="*/ 12 h 12"/>
                <a:gd name="T4" fmla="*/ 0 w 20"/>
                <a:gd name="T5" fmla="*/ 10 h 12"/>
                <a:gd name="T6" fmla="*/ 0 w 20"/>
                <a:gd name="T7" fmla="*/ 2 h 12"/>
                <a:gd name="T8" fmla="*/ 2 w 20"/>
                <a:gd name="T9" fmla="*/ 0 h 12"/>
                <a:gd name="T10" fmla="*/ 18 w 20"/>
                <a:gd name="T11" fmla="*/ 0 h 12"/>
                <a:gd name="T12" fmla="*/ 20 w 20"/>
                <a:gd name="T13" fmla="*/ 2 h 12"/>
                <a:gd name="T14" fmla="*/ 20 w 20"/>
                <a:gd name="T15" fmla="*/ 10 h 12"/>
                <a:gd name="T16" fmla="*/ 18 w 20"/>
                <a:gd name="T17" fmla="*/ 12 h 12"/>
                <a:gd name="T18" fmla="*/ 4 w 20"/>
                <a:gd name="T19" fmla="*/ 8 h 12"/>
                <a:gd name="T20" fmla="*/ 16 w 20"/>
                <a:gd name="T21" fmla="*/ 8 h 12"/>
                <a:gd name="T22" fmla="*/ 16 w 20"/>
                <a:gd name="T23" fmla="*/ 4 h 12"/>
                <a:gd name="T24" fmla="*/ 4 w 20"/>
                <a:gd name="T25" fmla="*/ 4 h 12"/>
                <a:gd name="T26" fmla="*/ 4 w 20"/>
                <a:gd name="T27" fmla="*/ 8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 h="12">
                  <a:moveTo>
                    <a:pt x="18" y="12"/>
                  </a:moveTo>
                  <a:cubicBezTo>
                    <a:pt x="2" y="12"/>
                    <a:pt x="2" y="12"/>
                    <a:pt x="2" y="12"/>
                  </a:cubicBezTo>
                  <a:cubicBezTo>
                    <a:pt x="1" y="12"/>
                    <a:pt x="0" y="11"/>
                    <a:pt x="0" y="10"/>
                  </a:cubicBezTo>
                  <a:cubicBezTo>
                    <a:pt x="0" y="2"/>
                    <a:pt x="0" y="2"/>
                    <a:pt x="0" y="2"/>
                  </a:cubicBezTo>
                  <a:cubicBezTo>
                    <a:pt x="0" y="1"/>
                    <a:pt x="1" y="0"/>
                    <a:pt x="2" y="0"/>
                  </a:cubicBezTo>
                  <a:cubicBezTo>
                    <a:pt x="18" y="0"/>
                    <a:pt x="18" y="0"/>
                    <a:pt x="18" y="0"/>
                  </a:cubicBezTo>
                  <a:cubicBezTo>
                    <a:pt x="19" y="0"/>
                    <a:pt x="20" y="1"/>
                    <a:pt x="20" y="2"/>
                  </a:cubicBezTo>
                  <a:cubicBezTo>
                    <a:pt x="20" y="10"/>
                    <a:pt x="20" y="10"/>
                    <a:pt x="20" y="10"/>
                  </a:cubicBezTo>
                  <a:cubicBezTo>
                    <a:pt x="20" y="11"/>
                    <a:pt x="19" y="12"/>
                    <a:pt x="18" y="12"/>
                  </a:cubicBezTo>
                  <a:close/>
                  <a:moveTo>
                    <a:pt x="4" y="8"/>
                  </a:moveTo>
                  <a:cubicBezTo>
                    <a:pt x="16" y="8"/>
                    <a:pt x="16" y="8"/>
                    <a:pt x="16" y="8"/>
                  </a:cubicBezTo>
                  <a:cubicBezTo>
                    <a:pt x="16" y="4"/>
                    <a:pt x="16" y="4"/>
                    <a:pt x="16" y="4"/>
                  </a:cubicBezTo>
                  <a:cubicBezTo>
                    <a:pt x="4" y="4"/>
                    <a:pt x="4" y="4"/>
                    <a:pt x="4" y="4"/>
                  </a:cubicBezTo>
                  <a:lnTo>
                    <a:pt x="4"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ndParaRPr>
            </a:p>
          </p:txBody>
        </p:sp>
        <p:sp>
          <p:nvSpPr>
            <p:cNvPr id="234" name="Freeform 29"/>
            <p:cNvSpPr>
              <a:spLocks/>
            </p:cNvSpPr>
            <p:nvPr/>
          </p:nvSpPr>
          <p:spPr bwMode="auto">
            <a:xfrm>
              <a:off x="2159000" y="2184401"/>
              <a:ext cx="15875" cy="46038"/>
            </a:xfrm>
            <a:custGeom>
              <a:avLst/>
              <a:gdLst>
                <a:gd name="T0" fmla="*/ 2 w 4"/>
                <a:gd name="T1" fmla="*/ 12 h 12"/>
                <a:gd name="T2" fmla="*/ 0 w 4"/>
                <a:gd name="T3" fmla="*/ 10 h 12"/>
                <a:gd name="T4" fmla="*/ 0 w 4"/>
                <a:gd name="T5" fmla="*/ 2 h 12"/>
                <a:gd name="T6" fmla="*/ 2 w 4"/>
                <a:gd name="T7" fmla="*/ 0 h 12"/>
                <a:gd name="T8" fmla="*/ 4 w 4"/>
                <a:gd name="T9" fmla="*/ 2 h 12"/>
                <a:gd name="T10" fmla="*/ 4 w 4"/>
                <a:gd name="T11" fmla="*/ 10 h 12"/>
                <a:gd name="T12" fmla="*/ 2 w 4"/>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4" h="12">
                  <a:moveTo>
                    <a:pt x="2" y="12"/>
                  </a:moveTo>
                  <a:cubicBezTo>
                    <a:pt x="1" y="12"/>
                    <a:pt x="0" y="11"/>
                    <a:pt x="0" y="10"/>
                  </a:cubicBezTo>
                  <a:cubicBezTo>
                    <a:pt x="0" y="2"/>
                    <a:pt x="0" y="2"/>
                    <a:pt x="0" y="2"/>
                  </a:cubicBezTo>
                  <a:cubicBezTo>
                    <a:pt x="0" y="1"/>
                    <a:pt x="1" y="0"/>
                    <a:pt x="2" y="0"/>
                  </a:cubicBezTo>
                  <a:cubicBezTo>
                    <a:pt x="3" y="0"/>
                    <a:pt x="4" y="1"/>
                    <a:pt x="4" y="2"/>
                  </a:cubicBezTo>
                  <a:cubicBezTo>
                    <a:pt x="4" y="10"/>
                    <a:pt x="4" y="10"/>
                    <a:pt x="4" y="10"/>
                  </a:cubicBezTo>
                  <a:cubicBezTo>
                    <a:pt x="4" y="11"/>
                    <a:pt x="3" y="12"/>
                    <a:pt x="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ndParaRPr>
            </a:p>
          </p:txBody>
        </p:sp>
        <p:sp>
          <p:nvSpPr>
            <p:cNvPr id="235" name="Freeform 30"/>
            <p:cNvSpPr>
              <a:spLocks/>
            </p:cNvSpPr>
            <p:nvPr/>
          </p:nvSpPr>
          <p:spPr bwMode="auto">
            <a:xfrm>
              <a:off x="2159000" y="1858963"/>
              <a:ext cx="15875" cy="31750"/>
            </a:xfrm>
            <a:custGeom>
              <a:avLst/>
              <a:gdLst>
                <a:gd name="T0" fmla="*/ 2 w 4"/>
                <a:gd name="T1" fmla="*/ 8 h 8"/>
                <a:gd name="T2" fmla="*/ 0 w 4"/>
                <a:gd name="T3" fmla="*/ 6 h 8"/>
                <a:gd name="T4" fmla="*/ 0 w 4"/>
                <a:gd name="T5" fmla="*/ 2 h 8"/>
                <a:gd name="T6" fmla="*/ 2 w 4"/>
                <a:gd name="T7" fmla="*/ 0 h 8"/>
                <a:gd name="T8" fmla="*/ 4 w 4"/>
                <a:gd name="T9" fmla="*/ 2 h 8"/>
                <a:gd name="T10" fmla="*/ 4 w 4"/>
                <a:gd name="T11" fmla="*/ 6 h 8"/>
                <a:gd name="T12" fmla="*/ 2 w 4"/>
                <a:gd name="T13" fmla="*/ 8 h 8"/>
              </a:gdLst>
              <a:ahLst/>
              <a:cxnLst>
                <a:cxn ang="0">
                  <a:pos x="T0" y="T1"/>
                </a:cxn>
                <a:cxn ang="0">
                  <a:pos x="T2" y="T3"/>
                </a:cxn>
                <a:cxn ang="0">
                  <a:pos x="T4" y="T5"/>
                </a:cxn>
                <a:cxn ang="0">
                  <a:pos x="T6" y="T7"/>
                </a:cxn>
                <a:cxn ang="0">
                  <a:pos x="T8" y="T9"/>
                </a:cxn>
                <a:cxn ang="0">
                  <a:pos x="T10" y="T11"/>
                </a:cxn>
                <a:cxn ang="0">
                  <a:pos x="T12" y="T13"/>
                </a:cxn>
              </a:cxnLst>
              <a:rect l="0" t="0" r="r" b="b"/>
              <a:pathLst>
                <a:path w="4" h="8">
                  <a:moveTo>
                    <a:pt x="2" y="8"/>
                  </a:moveTo>
                  <a:cubicBezTo>
                    <a:pt x="1" y="8"/>
                    <a:pt x="0" y="7"/>
                    <a:pt x="0" y="6"/>
                  </a:cubicBezTo>
                  <a:cubicBezTo>
                    <a:pt x="0" y="2"/>
                    <a:pt x="0" y="2"/>
                    <a:pt x="0" y="2"/>
                  </a:cubicBezTo>
                  <a:cubicBezTo>
                    <a:pt x="0" y="1"/>
                    <a:pt x="1" y="0"/>
                    <a:pt x="2" y="0"/>
                  </a:cubicBezTo>
                  <a:cubicBezTo>
                    <a:pt x="3" y="0"/>
                    <a:pt x="4" y="1"/>
                    <a:pt x="4" y="2"/>
                  </a:cubicBezTo>
                  <a:cubicBezTo>
                    <a:pt x="4" y="6"/>
                    <a:pt x="4" y="6"/>
                    <a:pt x="4" y="6"/>
                  </a:cubicBezTo>
                  <a:cubicBezTo>
                    <a:pt x="4" y="7"/>
                    <a:pt x="3" y="8"/>
                    <a:pt x="2"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ndParaRPr>
            </a:p>
          </p:txBody>
        </p:sp>
        <p:sp>
          <p:nvSpPr>
            <p:cNvPr id="236" name="Freeform 31"/>
            <p:cNvSpPr>
              <a:spLocks/>
            </p:cNvSpPr>
            <p:nvPr/>
          </p:nvSpPr>
          <p:spPr bwMode="auto">
            <a:xfrm>
              <a:off x="2255838" y="1905001"/>
              <a:ext cx="26987" cy="26988"/>
            </a:xfrm>
            <a:custGeom>
              <a:avLst/>
              <a:gdLst>
                <a:gd name="T0" fmla="*/ 2 w 7"/>
                <a:gd name="T1" fmla="*/ 7 h 7"/>
                <a:gd name="T2" fmla="*/ 1 w 7"/>
                <a:gd name="T3" fmla="*/ 6 h 7"/>
                <a:gd name="T4" fmla="*/ 1 w 7"/>
                <a:gd name="T5" fmla="*/ 3 h 7"/>
                <a:gd name="T6" fmla="*/ 4 w 7"/>
                <a:gd name="T7" fmla="*/ 0 h 7"/>
                <a:gd name="T8" fmla="*/ 7 w 7"/>
                <a:gd name="T9" fmla="*/ 0 h 7"/>
                <a:gd name="T10" fmla="*/ 7 w 7"/>
                <a:gd name="T11" fmla="*/ 3 h 7"/>
                <a:gd name="T12" fmla="*/ 4 w 7"/>
                <a:gd name="T13" fmla="*/ 6 h 7"/>
                <a:gd name="T14" fmla="*/ 2 w 7"/>
                <a:gd name="T15" fmla="*/ 7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 h="7">
                  <a:moveTo>
                    <a:pt x="2" y="7"/>
                  </a:moveTo>
                  <a:cubicBezTo>
                    <a:pt x="2" y="7"/>
                    <a:pt x="1" y="6"/>
                    <a:pt x="1" y="6"/>
                  </a:cubicBezTo>
                  <a:cubicBezTo>
                    <a:pt x="0" y="5"/>
                    <a:pt x="0" y="4"/>
                    <a:pt x="1" y="3"/>
                  </a:cubicBezTo>
                  <a:cubicBezTo>
                    <a:pt x="4" y="0"/>
                    <a:pt x="4" y="0"/>
                    <a:pt x="4" y="0"/>
                  </a:cubicBezTo>
                  <a:cubicBezTo>
                    <a:pt x="5" y="0"/>
                    <a:pt x="6" y="0"/>
                    <a:pt x="7" y="0"/>
                  </a:cubicBezTo>
                  <a:cubicBezTo>
                    <a:pt x="7" y="1"/>
                    <a:pt x="7" y="2"/>
                    <a:pt x="7" y="3"/>
                  </a:cubicBezTo>
                  <a:cubicBezTo>
                    <a:pt x="4" y="6"/>
                    <a:pt x="4" y="6"/>
                    <a:pt x="4" y="6"/>
                  </a:cubicBezTo>
                  <a:cubicBezTo>
                    <a:pt x="3" y="6"/>
                    <a:pt x="3" y="7"/>
                    <a:pt x="2"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ndParaRPr>
            </a:p>
          </p:txBody>
        </p:sp>
        <p:sp>
          <p:nvSpPr>
            <p:cNvPr id="237" name="Freeform 32"/>
            <p:cNvSpPr>
              <a:spLocks/>
            </p:cNvSpPr>
            <p:nvPr/>
          </p:nvSpPr>
          <p:spPr bwMode="auto">
            <a:xfrm>
              <a:off x="2298700" y="2014538"/>
              <a:ext cx="31750" cy="14288"/>
            </a:xfrm>
            <a:custGeom>
              <a:avLst/>
              <a:gdLst>
                <a:gd name="T0" fmla="*/ 6 w 8"/>
                <a:gd name="T1" fmla="*/ 4 h 4"/>
                <a:gd name="T2" fmla="*/ 2 w 8"/>
                <a:gd name="T3" fmla="*/ 4 h 4"/>
                <a:gd name="T4" fmla="*/ 0 w 8"/>
                <a:gd name="T5" fmla="*/ 2 h 4"/>
                <a:gd name="T6" fmla="*/ 2 w 8"/>
                <a:gd name="T7" fmla="*/ 0 h 4"/>
                <a:gd name="T8" fmla="*/ 6 w 8"/>
                <a:gd name="T9" fmla="*/ 0 h 4"/>
                <a:gd name="T10" fmla="*/ 8 w 8"/>
                <a:gd name="T11" fmla="*/ 2 h 4"/>
                <a:gd name="T12" fmla="*/ 6 w 8"/>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8" h="4">
                  <a:moveTo>
                    <a:pt x="6" y="4"/>
                  </a:moveTo>
                  <a:cubicBezTo>
                    <a:pt x="2" y="4"/>
                    <a:pt x="2" y="4"/>
                    <a:pt x="2" y="4"/>
                  </a:cubicBezTo>
                  <a:cubicBezTo>
                    <a:pt x="1" y="4"/>
                    <a:pt x="0" y="3"/>
                    <a:pt x="0" y="2"/>
                  </a:cubicBezTo>
                  <a:cubicBezTo>
                    <a:pt x="0" y="1"/>
                    <a:pt x="1" y="0"/>
                    <a:pt x="2" y="0"/>
                  </a:cubicBezTo>
                  <a:cubicBezTo>
                    <a:pt x="6" y="0"/>
                    <a:pt x="6" y="0"/>
                    <a:pt x="6" y="0"/>
                  </a:cubicBezTo>
                  <a:cubicBezTo>
                    <a:pt x="7" y="0"/>
                    <a:pt x="8" y="1"/>
                    <a:pt x="8" y="2"/>
                  </a:cubicBezTo>
                  <a:cubicBezTo>
                    <a:pt x="8" y="3"/>
                    <a:pt x="7" y="4"/>
                    <a:pt x="6"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ndParaRPr>
            </a:p>
          </p:txBody>
        </p:sp>
        <p:sp>
          <p:nvSpPr>
            <p:cNvPr id="238" name="Freeform 33"/>
            <p:cNvSpPr>
              <a:spLocks/>
            </p:cNvSpPr>
            <p:nvPr/>
          </p:nvSpPr>
          <p:spPr bwMode="auto">
            <a:xfrm>
              <a:off x="2255838" y="2109788"/>
              <a:ext cx="26987" cy="28575"/>
            </a:xfrm>
            <a:custGeom>
              <a:avLst/>
              <a:gdLst>
                <a:gd name="T0" fmla="*/ 5 w 7"/>
                <a:gd name="T1" fmla="*/ 7 h 7"/>
                <a:gd name="T2" fmla="*/ 4 w 7"/>
                <a:gd name="T3" fmla="*/ 7 h 7"/>
                <a:gd name="T4" fmla="*/ 1 w 7"/>
                <a:gd name="T5" fmla="*/ 4 h 7"/>
                <a:gd name="T6" fmla="*/ 1 w 7"/>
                <a:gd name="T7" fmla="*/ 1 h 7"/>
                <a:gd name="T8" fmla="*/ 4 w 7"/>
                <a:gd name="T9" fmla="*/ 1 h 7"/>
                <a:gd name="T10" fmla="*/ 7 w 7"/>
                <a:gd name="T11" fmla="*/ 4 h 7"/>
                <a:gd name="T12" fmla="*/ 7 w 7"/>
                <a:gd name="T13" fmla="*/ 7 h 7"/>
                <a:gd name="T14" fmla="*/ 5 w 7"/>
                <a:gd name="T15" fmla="*/ 7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 h="7">
                  <a:moveTo>
                    <a:pt x="5" y="7"/>
                  </a:moveTo>
                  <a:cubicBezTo>
                    <a:pt x="5" y="7"/>
                    <a:pt x="4" y="7"/>
                    <a:pt x="4" y="7"/>
                  </a:cubicBezTo>
                  <a:cubicBezTo>
                    <a:pt x="1" y="4"/>
                    <a:pt x="1" y="4"/>
                    <a:pt x="1" y="4"/>
                  </a:cubicBezTo>
                  <a:cubicBezTo>
                    <a:pt x="0" y="3"/>
                    <a:pt x="0" y="2"/>
                    <a:pt x="1" y="1"/>
                  </a:cubicBezTo>
                  <a:cubicBezTo>
                    <a:pt x="2" y="0"/>
                    <a:pt x="3" y="0"/>
                    <a:pt x="4" y="1"/>
                  </a:cubicBezTo>
                  <a:cubicBezTo>
                    <a:pt x="7" y="4"/>
                    <a:pt x="7" y="4"/>
                    <a:pt x="7" y="4"/>
                  </a:cubicBezTo>
                  <a:cubicBezTo>
                    <a:pt x="7" y="5"/>
                    <a:pt x="7" y="6"/>
                    <a:pt x="7" y="7"/>
                  </a:cubicBezTo>
                  <a:cubicBezTo>
                    <a:pt x="6" y="7"/>
                    <a:pt x="6" y="7"/>
                    <a:pt x="5"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ndParaRPr>
            </a:p>
          </p:txBody>
        </p:sp>
        <p:sp>
          <p:nvSpPr>
            <p:cNvPr id="239" name="Freeform 34"/>
            <p:cNvSpPr>
              <a:spLocks/>
            </p:cNvSpPr>
            <p:nvPr/>
          </p:nvSpPr>
          <p:spPr bwMode="auto">
            <a:xfrm>
              <a:off x="2051050" y="1905001"/>
              <a:ext cx="26987" cy="26988"/>
            </a:xfrm>
            <a:custGeom>
              <a:avLst/>
              <a:gdLst>
                <a:gd name="T0" fmla="*/ 5 w 7"/>
                <a:gd name="T1" fmla="*/ 7 h 7"/>
                <a:gd name="T2" fmla="*/ 3 w 7"/>
                <a:gd name="T3" fmla="*/ 6 h 7"/>
                <a:gd name="T4" fmla="*/ 0 w 7"/>
                <a:gd name="T5" fmla="*/ 3 h 7"/>
                <a:gd name="T6" fmla="*/ 0 w 7"/>
                <a:gd name="T7" fmla="*/ 0 h 7"/>
                <a:gd name="T8" fmla="*/ 3 w 7"/>
                <a:gd name="T9" fmla="*/ 0 h 7"/>
                <a:gd name="T10" fmla="*/ 6 w 7"/>
                <a:gd name="T11" fmla="*/ 3 h 7"/>
                <a:gd name="T12" fmla="*/ 6 w 7"/>
                <a:gd name="T13" fmla="*/ 6 h 7"/>
                <a:gd name="T14" fmla="*/ 5 w 7"/>
                <a:gd name="T15" fmla="*/ 7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 h="7">
                  <a:moveTo>
                    <a:pt x="5" y="7"/>
                  </a:moveTo>
                  <a:cubicBezTo>
                    <a:pt x="4" y="7"/>
                    <a:pt x="4" y="6"/>
                    <a:pt x="3" y="6"/>
                  </a:cubicBezTo>
                  <a:cubicBezTo>
                    <a:pt x="0" y="3"/>
                    <a:pt x="0" y="3"/>
                    <a:pt x="0" y="3"/>
                  </a:cubicBezTo>
                  <a:cubicBezTo>
                    <a:pt x="0" y="2"/>
                    <a:pt x="0" y="1"/>
                    <a:pt x="0" y="0"/>
                  </a:cubicBezTo>
                  <a:cubicBezTo>
                    <a:pt x="1" y="0"/>
                    <a:pt x="2" y="0"/>
                    <a:pt x="3" y="0"/>
                  </a:cubicBezTo>
                  <a:cubicBezTo>
                    <a:pt x="6" y="3"/>
                    <a:pt x="6" y="3"/>
                    <a:pt x="6" y="3"/>
                  </a:cubicBezTo>
                  <a:cubicBezTo>
                    <a:pt x="7" y="4"/>
                    <a:pt x="7" y="5"/>
                    <a:pt x="6" y="6"/>
                  </a:cubicBezTo>
                  <a:cubicBezTo>
                    <a:pt x="6" y="6"/>
                    <a:pt x="5" y="7"/>
                    <a:pt x="5"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ndParaRPr>
            </a:p>
          </p:txBody>
        </p:sp>
        <p:sp>
          <p:nvSpPr>
            <p:cNvPr id="240" name="Freeform 35"/>
            <p:cNvSpPr>
              <a:spLocks/>
            </p:cNvSpPr>
            <p:nvPr/>
          </p:nvSpPr>
          <p:spPr bwMode="auto">
            <a:xfrm>
              <a:off x="2005013" y="2014538"/>
              <a:ext cx="30162" cy="14288"/>
            </a:xfrm>
            <a:custGeom>
              <a:avLst/>
              <a:gdLst>
                <a:gd name="T0" fmla="*/ 6 w 8"/>
                <a:gd name="T1" fmla="*/ 4 h 4"/>
                <a:gd name="T2" fmla="*/ 2 w 8"/>
                <a:gd name="T3" fmla="*/ 4 h 4"/>
                <a:gd name="T4" fmla="*/ 0 w 8"/>
                <a:gd name="T5" fmla="*/ 2 h 4"/>
                <a:gd name="T6" fmla="*/ 2 w 8"/>
                <a:gd name="T7" fmla="*/ 0 h 4"/>
                <a:gd name="T8" fmla="*/ 6 w 8"/>
                <a:gd name="T9" fmla="*/ 0 h 4"/>
                <a:gd name="T10" fmla="*/ 8 w 8"/>
                <a:gd name="T11" fmla="*/ 2 h 4"/>
                <a:gd name="T12" fmla="*/ 6 w 8"/>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8" h="4">
                  <a:moveTo>
                    <a:pt x="6" y="4"/>
                  </a:moveTo>
                  <a:cubicBezTo>
                    <a:pt x="2" y="4"/>
                    <a:pt x="2" y="4"/>
                    <a:pt x="2" y="4"/>
                  </a:cubicBezTo>
                  <a:cubicBezTo>
                    <a:pt x="1" y="4"/>
                    <a:pt x="0" y="3"/>
                    <a:pt x="0" y="2"/>
                  </a:cubicBezTo>
                  <a:cubicBezTo>
                    <a:pt x="0" y="1"/>
                    <a:pt x="1" y="0"/>
                    <a:pt x="2" y="0"/>
                  </a:cubicBezTo>
                  <a:cubicBezTo>
                    <a:pt x="6" y="0"/>
                    <a:pt x="6" y="0"/>
                    <a:pt x="6" y="0"/>
                  </a:cubicBezTo>
                  <a:cubicBezTo>
                    <a:pt x="7" y="0"/>
                    <a:pt x="8" y="1"/>
                    <a:pt x="8" y="2"/>
                  </a:cubicBezTo>
                  <a:cubicBezTo>
                    <a:pt x="8" y="3"/>
                    <a:pt x="7" y="4"/>
                    <a:pt x="6"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ndParaRPr>
            </a:p>
          </p:txBody>
        </p:sp>
        <p:sp>
          <p:nvSpPr>
            <p:cNvPr id="241" name="Freeform 36"/>
            <p:cNvSpPr>
              <a:spLocks/>
            </p:cNvSpPr>
            <p:nvPr/>
          </p:nvSpPr>
          <p:spPr bwMode="auto">
            <a:xfrm>
              <a:off x="2051050" y="2109788"/>
              <a:ext cx="26987" cy="28575"/>
            </a:xfrm>
            <a:custGeom>
              <a:avLst/>
              <a:gdLst>
                <a:gd name="T0" fmla="*/ 2 w 7"/>
                <a:gd name="T1" fmla="*/ 7 h 7"/>
                <a:gd name="T2" fmla="*/ 0 w 7"/>
                <a:gd name="T3" fmla="*/ 7 h 7"/>
                <a:gd name="T4" fmla="*/ 0 w 7"/>
                <a:gd name="T5" fmla="*/ 4 h 7"/>
                <a:gd name="T6" fmla="*/ 3 w 7"/>
                <a:gd name="T7" fmla="*/ 1 h 7"/>
                <a:gd name="T8" fmla="*/ 6 w 7"/>
                <a:gd name="T9" fmla="*/ 1 h 7"/>
                <a:gd name="T10" fmla="*/ 6 w 7"/>
                <a:gd name="T11" fmla="*/ 4 h 7"/>
                <a:gd name="T12" fmla="*/ 3 w 7"/>
                <a:gd name="T13" fmla="*/ 7 h 7"/>
                <a:gd name="T14" fmla="*/ 2 w 7"/>
                <a:gd name="T15" fmla="*/ 7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 h="7">
                  <a:moveTo>
                    <a:pt x="2" y="7"/>
                  </a:moveTo>
                  <a:cubicBezTo>
                    <a:pt x="1" y="7"/>
                    <a:pt x="1" y="7"/>
                    <a:pt x="0" y="7"/>
                  </a:cubicBezTo>
                  <a:cubicBezTo>
                    <a:pt x="0" y="6"/>
                    <a:pt x="0" y="5"/>
                    <a:pt x="0" y="4"/>
                  </a:cubicBezTo>
                  <a:cubicBezTo>
                    <a:pt x="3" y="1"/>
                    <a:pt x="3" y="1"/>
                    <a:pt x="3" y="1"/>
                  </a:cubicBezTo>
                  <a:cubicBezTo>
                    <a:pt x="4" y="0"/>
                    <a:pt x="5" y="0"/>
                    <a:pt x="6" y="1"/>
                  </a:cubicBezTo>
                  <a:cubicBezTo>
                    <a:pt x="7" y="2"/>
                    <a:pt x="7" y="3"/>
                    <a:pt x="6" y="4"/>
                  </a:cubicBezTo>
                  <a:cubicBezTo>
                    <a:pt x="3" y="7"/>
                    <a:pt x="3" y="7"/>
                    <a:pt x="3" y="7"/>
                  </a:cubicBezTo>
                  <a:cubicBezTo>
                    <a:pt x="3" y="7"/>
                    <a:pt x="2" y="7"/>
                    <a:pt x="2"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ndParaRPr>
            </a:p>
          </p:txBody>
        </p:sp>
        <p:sp>
          <p:nvSpPr>
            <p:cNvPr id="242" name="Freeform 37"/>
            <p:cNvSpPr>
              <a:spLocks noEditPoints="1"/>
            </p:cNvSpPr>
            <p:nvPr/>
          </p:nvSpPr>
          <p:spPr bwMode="auto">
            <a:xfrm>
              <a:off x="2097088" y="2014538"/>
              <a:ext cx="139700" cy="115888"/>
            </a:xfrm>
            <a:custGeom>
              <a:avLst/>
              <a:gdLst>
                <a:gd name="T0" fmla="*/ 20 w 36"/>
                <a:gd name="T1" fmla="*/ 30 h 30"/>
                <a:gd name="T2" fmla="*/ 20 w 36"/>
                <a:gd name="T3" fmla="*/ 30 h 30"/>
                <a:gd name="T4" fmla="*/ 18 w 36"/>
                <a:gd name="T5" fmla="*/ 28 h 30"/>
                <a:gd name="T6" fmla="*/ 16 w 36"/>
                <a:gd name="T7" fmla="*/ 30 h 30"/>
                <a:gd name="T8" fmla="*/ 14 w 36"/>
                <a:gd name="T9" fmla="*/ 28 h 30"/>
                <a:gd name="T10" fmla="*/ 10 w 36"/>
                <a:gd name="T11" fmla="*/ 12 h 30"/>
                <a:gd name="T12" fmla="*/ 6 w 36"/>
                <a:gd name="T13" fmla="*/ 12 h 30"/>
                <a:gd name="T14" fmla="*/ 0 w 36"/>
                <a:gd name="T15" fmla="*/ 6 h 30"/>
                <a:gd name="T16" fmla="*/ 6 w 36"/>
                <a:gd name="T17" fmla="*/ 0 h 30"/>
                <a:gd name="T18" fmla="*/ 13 w 36"/>
                <a:gd name="T19" fmla="*/ 5 h 30"/>
                <a:gd name="T20" fmla="*/ 13 w 36"/>
                <a:gd name="T21" fmla="*/ 8 h 30"/>
                <a:gd name="T22" fmla="*/ 23 w 36"/>
                <a:gd name="T23" fmla="*/ 8 h 30"/>
                <a:gd name="T24" fmla="*/ 23 w 36"/>
                <a:gd name="T25" fmla="*/ 5 h 30"/>
                <a:gd name="T26" fmla="*/ 30 w 36"/>
                <a:gd name="T27" fmla="*/ 0 h 30"/>
                <a:gd name="T28" fmla="*/ 36 w 36"/>
                <a:gd name="T29" fmla="*/ 6 h 30"/>
                <a:gd name="T30" fmla="*/ 30 w 36"/>
                <a:gd name="T31" fmla="*/ 12 h 30"/>
                <a:gd name="T32" fmla="*/ 26 w 36"/>
                <a:gd name="T33" fmla="*/ 12 h 30"/>
                <a:gd name="T34" fmla="*/ 22 w 36"/>
                <a:gd name="T35" fmla="*/ 28 h 30"/>
                <a:gd name="T36" fmla="*/ 20 w 36"/>
                <a:gd name="T37" fmla="*/ 30 h 30"/>
                <a:gd name="T38" fmla="*/ 14 w 36"/>
                <a:gd name="T39" fmla="*/ 12 h 30"/>
                <a:gd name="T40" fmla="*/ 18 w 36"/>
                <a:gd name="T41" fmla="*/ 28 h 30"/>
                <a:gd name="T42" fmla="*/ 18 w 36"/>
                <a:gd name="T43" fmla="*/ 28 h 30"/>
                <a:gd name="T44" fmla="*/ 18 w 36"/>
                <a:gd name="T45" fmla="*/ 28 h 30"/>
                <a:gd name="T46" fmla="*/ 22 w 36"/>
                <a:gd name="T47" fmla="*/ 12 h 30"/>
                <a:gd name="T48" fmla="*/ 14 w 36"/>
                <a:gd name="T49" fmla="*/ 12 h 30"/>
                <a:gd name="T50" fmla="*/ 27 w 36"/>
                <a:gd name="T51" fmla="*/ 8 h 30"/>
                <a:gd name="T52" fmla="*/ 30 w 36"/>
                <a:gd name="T53" fmla="*/ 8 h 30"/>
                <a:gd name="T54" fmla="*/ 32 w 36"/>
                <a:gd name="T55" fmla="*/ 6 h 30"/>
                <a:gd name="T56" fmla="*/ 30 w 36"/>
                <a:gd name="T57" fmla="*/ 4 h 30"/>
                <a:gd name="T58" fmla="*/ 27 w 36"/>
                <a:gd name="T59" fmla="*/ 6 h 30"/>
                <a:gd name="T60" fmla="*/ 27 w 36"/>
                <a:gd name="T61" fmla="*/ 8 h 30"/>
                <a:gd name="T62" fmla="*/ 6 w 36"/>
                <a:gd name="T63" fmla="*/ 4 h 30"/>
                <a:gd name="T64" fmla="*/ 4 w 36"/>
                <a:gd name="T65" fmla="*/ 6 h 30"/>
                <a:gd name="T66" fmla="*/ 6 w 36"/>
                <a:gd name="T67" fmla="*/ 8 h 30"/>
                <a:gd name="T68" fmla="*/ 9 w 36"/>
                <a:gd name="T69" fmla="*/ 8 h 30"/>
                <a:gd name="T70" fmla="*/ 9 w 36"/>
                <a:gd name="T71" fmla="*/ 6 h 30"/>
                <a:gd name="T72" fmla="*/ 6 w 36"/>
                <a:gd name="T73" fmla="*/ 4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6" h="30">
                  <a:moveTo>
                    <a:pt x="20" y="30"/>
                  </a:moveTo>
                  <a:cubicBezTo>
                    <a:pt x="20" y="30"/>
                    <a:pt x="20" y="30"/>
                    <a:pt x="20" y="30"/>
                  </a:cubicBezTo>
                  <a:cubicBezTo>
                    <a:pt x="19" y="30"/>
                    <a:pt x="18" y="29"/>
                    <a:pt x="18" y="28"/>
                  </a:cubicBezTo>
                  <a:cubicBezTo>
                    <a:pt x="18" y="29"/>
                    <a:pt x="17" y="30"/>
                    <a:pt x="16" y="30"/>
                  </a:cubicBezTo>
                  <a:cubicBezTo>
                    <a:pt x="15" y="30"/>
                    <a:pt x="14" y="30"/>
                    <a:pt x="14" y="28"/>
                  </a:cubicBezTo>
                  <a:cubicBezTo>
                    <a:pt x="10" y="12"/>
                    <a:pt x="10" y="12"/>
                    <a:pt x="10" y="12"/>
                  </a:cubicBezTo>
                  <a:cubicBezTo>
                    <a:pt x="6" y="12"/>
                    <a:pt x="6" y="12"/>
                    <a:pt x="6" y="12"/>
                  </a:cubicBezTo>
                  <a:cubicBezTo>
                    <a:pt x="3" y="12"/>
                    <a:pt x="0" y="9"/>
                    <a:pt x="0" y="6"/>
                  </a:cubicBezTo>
                  <a:cubicBezTo>
                    <a:pt x="0" y="3"/>
                    <a:pt x="3" y="0"/>
                    <a:pt x="6" y="0"/>
                  </a:cubicBezTo>
                  <a:cubicBezTo>
                    <a:pt x="9" y="0"/>
                    <a:pt x="12" y="2"/>
                    <a:pt x="13" y="5"/>
                  </a:cubicBezTo>
                  <a:cubicBezTo>
                    <a:pt x="13" y="8"/>
                    <a:pt x="13" y="8"/>
                    <a:pt x="13" y="8"/>
                  </a:cubicBezTo>
                  <a:cubicBezTo>
                    <a:pt x="23" y="8"/>
                    <a:pt x="23" y="8"/>
                    <a:pt x="23" y="8"/>
                  </a:cubicBezTo>
                  <a:cubicBezTo>
                    <a:pt x="23" y="5"/>
                    <a:pt x="23" y="5"/>
                    <a:pt x="23" y="5"/>
                  </a:cubicBezTo>
                  <a:cubicBezTo>
                    <a:pt x="24" y="2"/>
                    <a:pt x="27" y="0"/>
                    <a:pt x="30" y="0"/>
                  </a:cubicBezTo>
                  <a:cubicBezTo>
                    <a:pt x="33" y="0"/>
                    <a:pt x="36" y="3"/>
                    <a:pt x="36" y="6"/>
                  </a:cubicBezTo>
                  <a:cubicBezTo>
                    <a:pt x="36" y="9"/>
                    <a:pt x="33" y="12"/>
                    <a:pt x="30" y="12"/>
                  </a:cubicBezTo>
                  <a:cubicBezTo>
                    <a:pt x="26" y="12"/>
                    <a:pt x="26" y="12"/>
                    <a:pt x="26" y="12"/>
                  </a:cubicBezTo>
                  <a:cubicBezTo>
                    <a:pt x="22" y="28"/>
                    <a:pt x="22" y="28"/>
                    <a:pt x="22" y="28"/>
                  </a:cubicBezTo>
                  <a:cubicBezTo>
                    <a:pt x="22" y="29"/>
                    <a:pt x="21" y="30"/>
                    <a:pt x="20" y="30"/>
                  </a:cubicBezTo>
                  <a:close/>
                  <a:moveTo>
                    <a:pt x="14" y="12"/>
                  </a:moveTo>
                  <a:cubicBezTo>
                    <a:pt x="18" y="28"/>
                    <a:pt x="18" y="28"/>
                    <a:pt x="18" y="28"/>
                  </a:cubicBezTo>
                  <a:cubicBezTo>
                    <a:pt x="18" y="28"/>
                    <a:pt x="18" y="28"/>
                    <a:pt x="18" y="28"/>
                  </a:cubicBezTo>
                  <a:cubicBezTo>
                    <a:pt x="18" y="28"/>
                    <a:pt x="18" y="28"/>
                    <a:pt x="18" y="28"/>
                  </a:cubicBezTo>
                  <a:cubicBezTo>
                    <a:pt x="22" y="12"/>
                    <a:pt x="22" y="12"/>
                    <a:pt x="22" y="12"/>
                  </a:cubicBezTo>
                  <a:lnTo>
                    <a:pt x="14" y="12"/>
                  </a:lnTo>
                  <a:close/>
                  <a:moveTo>
                    <a:pt x="27" y="8"/>
                  </a:moveTo>
                  <a:cubicBezTo>
                    <a:pt x="30" y="8"/>
                    <a:pt x="30" y="8"/>
                    <a:pt x="30" y="8"/>
                  </a:cubicBezTo>
                  <a:cubicBezTo>
                    <a:pt x="31" y="8"/>
                    <a:pt x="32" y="7"/>
                    <a:pt x="32" y="6"/>
                  </a:cubicBezTo>
                  <a:cubicBezTo>
                    <a:pt x="32" y="5"/>
                    <a:pt x="31" y="4"/>
                    <a:pt x="30" y="4"/>
                  </a:cubicBezTo>
                  <a:cubicBezTo>
                    <a:pt x="29" y="4"/>
                    <a:pt x="27" y="5"/>
                    <a:pt x="27" y="6"/>
                  </a:cubicBezTo>
                  <a:lnTo>
                    <a:pt x="27" y="8"/>
                  </a:lnTo>
                  <a:close/>
                  <a:moveTo>
                    <a:pt x="6" y="4"/>
                  </a:moveTo>
                  <a:cubicBezTo>
                    <a:pt x="5" y="4"/>
                    <a:pt x="4" y="5"/>
                    <a:pt x="4" y="6"/>
                  </a:cubicBezTo>
                  <a:cubicBezTo>
                    <a:pt x="4" y="7"/>
                    <a:pt x="5" y="8"/>
                    <a:pt x="6" y="8"/>
                  </a:cubicBezTo>
                  <a:cubicBezTo>
                    <a:pt x="9" y="8"/>
                    <a:pt x="9" y="8"/>
                    <a:pt x="9" y="8"/>
                  </a:cubicBezTo>
                  <a:cubicBezTo>
                    <a:pt x="9" y="6"/>
                    <a:pt x="9" y="6"/>
                    <a:pt x="9" y="6"/>
                  </a:cubicBezTo>
                  <a:cubicBezTo>
                    <a:pt x="9" y="5"/>
                    <a:pt x="7" y="4"/>
                    <a:pt x="6"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ndParaRPr>
            </a:p>
          </p:txBody>
        </p:sp>
      </p:grpSp>
      <p:sp>
        <p:nvSpPr>
          <p:cNvPr id="243" name="TextBox 242"/>
          <p:cNvSpPr txBox="1"/>
          <p:nvPr/>
        </p:nvSpPr>
        <p:spPr>
          <a:xfrm>
            <a:off x="3899902" y="4320239"/>
            <a:ext cx="909697" cy="184666"/>
          </a:xfrm>
          <a:prstGeom prst="rect">
            <a:avLst/>
          </a:prstGeom>
          <a:noFill/>
          <a:ln w="6350">
            <a:noFill/>
            <a:prstDash val="dash"/>
          </a:ln>
        </p:spPr>
        <p:txBody>
          <a:bodyPr wrap="square" lIns="0" tIns="0" rIns="0" bIns="0"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effectLst/>
                <a:uLnTx/>
                <a:uFillTx/>
              </a:rPr>
              <a:t>DISCOVER</a:t>
            </a:r>
          </a:p>
        </p:txBody>
      </p:sp>
      <p:sp>
        <p:nvSpPr>
          <p:cNvPr id="244" name="TextBox 243"/>
          <p:cNvSpPr txBox="1"/>
          <p:nvPr/>
        </p:nvSpPr>
        <p:spPr>
          <a:xfrm>
            <a:off x="5735687" y="3567836"/>
            <a:ext cx="719273" cy="184666"/>
          </a:xfrm>
          <a:prstGeom prst="rect">
            <a:avLst/>
          </a:prstGeom>
          <a:noFill/>
          <a:ln w="6350">
            <a:noFill/>
            <a:prstDash val="dash"/>
          </a:ln>
        </p:spPr>
        <p:txBody>
          <a:bodyPr wrap="square" lIns="0" tIns="0" rIns="0" bIns="0"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effectLst/>
                <a:uLnTx/>
                <a:uFillTx/>
              </a:rPr>
              <a:t>ANALYZE</a:t>
            </a:r>
          </a:p>
        </p:txBody>
      </p:sp>
      <p:sp>
        <p:nvSpPr>
          <p:cNvPr id="245" name="TextBox 244"/>
          <p:cNvSpPr txBox="1"/>
          <p:nvPr/>
        </p:nvSpPr>
        <p:spPr>
          <a:xfrm>
            <a:off x="8971628" y="3567836"/>
            <a:ext cx="1209688" cy="184666"/>
          </a:xfrm>
          <a:prstGeom prst="rect">
            <a:avLst/>
          </a:prstGeom>
          <a:noFill/>
          <a:ln w="6350">
            <a:noFill/>
            <a:prstDash val="dash"/>
          </a:ln>
        </p:spPr>
        <p:txBody>
          <a:bodyPr wrap="square" lIns="0" tIns="0" rIns="0" bIns="0"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effectLst/>
                <a:uLnTx/>
                <a:uFillTx/>
              </a:rPr>
              <a:t>IMPLEMENT</a:t>
            </a:r>
          </a:p>
        </p:txBody>
      </p:sp>
      <p:grpSp>
        <p:nvGrpSpPr>
          <p:cNvPr id="246" name="Group 245"/>
          <p:cNvGrpSpPr>
            <a:grpSpLocks noChangeAspect="1"/>
          </p:cNvGrpSpPr>
          <p:nvPr/>
        </p:nvGrpSpPr>
        <p:grpSpPr>
          <a:xfrm>
            <a:off x="4130323" y="3810951"/>
            <a:ext cx="448854" cy="448854"/>
            <a:chOff x="3903073" y="3496769"/>
            <a:chExt cx="360000" cy="360000"/>
          </a:xfrm>
          <a:solidFill>
            <a:srgbClr val="78D2D2"/>
          </a:solidFill>
        </p:grpSpPr>
        <p:sp>
          <p:nvSpPr>
            <p:cNvPr id="247" name="Freeform 79"/>
            <p:cNvSpPr>
              <a:spLocks noEditPoints="1"/>
            </p:cNvSpPr>
            <p:nvPr/>
          </p:nvSpPr>
          <p:spPr bwMode="auto">
            <a:xfrm>
              <a:off x="3903073" y="3496769"/>
              <a:ext cx="255385" cy="255385"/>
            </a:xfrm>
            <a:custGeom>
              <a:avLst/>
              <a:gdLst>
                <a:gd name="T0" fmla="*/ 34 w 68"/>
                <a:gd name="T1" fmla="*/ 68 h 68"/>
                <a:gd name="T2" fmla="*/ 0 w 68"/>
                <a:gd name="T3" fmla="*/ 34 h 68"/>
                <a:gd name="T4" fmla="*/ 34 w 68"/>
                <a:gd name="T5" fmla="*/ 0 h 68"/>
                <a:gd name="T6" fmla="*/ 68 w 68"/>
                <a:gd name="T7" fmla="*/ 34 h 68"/>
                <a:gd name="T8" fmla="*/ 34 w 68"/>
                <a:gd name="T9" fmla="*/ 68 h 68"/>
                <a:gd name="T10" fmla="*/ 34 w 68"/>
                <a:gd name="T11" fmla="*/ 4 h 68"/>
                <a:gd name="T12" fmla="*/ 4 w 68"/>
                <a:gd name="T13" fmla="*/ 34 h 68"/>
                <a:gd name="T14" fmla="*/ 34 w 68"/>
                <a:gd name="T15" fmla="*/ 64 h 68"/>
                <a:gd name="T16" fmla="*/ 64 w 68"/>
                <a:gd name="T17" fmla="*/ 34 h 68"/>
                <a:gd name="T18" fmla="*/ 34 w 68"/>
                <a:gd name="T19" fmla="*/ 4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8" h="68">
                  <a:moveTo>
                    <a:pt x="34" y="68"/>
                  </a:moveTo>
                  <a:cubicBezTo>
                    <a:pt x="15" y="68"/>
                    <a:pt x="0" y="53"/>
                    <a:pt x="0" y="34"/>
                  </a:cubicBezTo>
                  <a:cubicBezTo>
                    <a:pt x="0" y="15"/>
                    <a:pt x="15" y="0"/>
                    <a:pt x="34" y="0"/>
                  </a:cubicBezTo>
                  <a:cubicBezTo>
                    <a:pt x="53" y="0"/>
                    <a:pt x="68" y="15"/>
                    <a:pt x="68" y="34"/>
                  </a:cubicBezTo>
                  <a:cubicBezTo>
                    <a:pt x="68" y="53"/>
                    <a:pt x="53" y="68"/>
                    <a:pt x="34" y="68"/>
                  </a:cubicBezTo>
                  <a:close/>
                  <a:moveTo>
                    <a:pt x="34" y="4"/>
                  </a:moveTo>
                  <a:cubicBezTo>
                    <a:pt x="17" y="4"/>
                    <a:pt x="4" y="17"/>
                    <a:pt x="4" y="34"/>
                  </a:cubicBezTo>
                  <a:cubicBezTo>
                    <a:pt x="4" y="51"/>
                    <a:pt x="17" y="64"/>
                    <a:pt x="34" y="64"/>
                  </a:cubicBezTo>
                  <a:cubicBezTo>
                    <a:pt x="51" y="64"/>
                    <a:pt x="64" y="51"/>
                    <a:pt x="64" y="34"/>
                  </a:cubicBezTo>
                  <a:cubicBezTo>
                    <a:pt x="64" y="17"/>
                    <a:pt x="51" y="4"/>
                    <a:pt x="3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ndParaRPr>
            </a:p>
          </p:txBody>
        </p:sp>
        <p:sp>
          <p:nvSpPr>
            <p:cNvPr id="248" name="Freeform 80"/>
            <p:cNvSpPr>
              <a:spLocks/>
            </p:cNvSpPr>
            <p:nvPr/>
          </p:nvSpPr>
          <p:spPr bwMode="auto">
            <a:xfrm>
              <a:off x="4106150" y="3699846"/>
              <a:ext cx="156923" cy="156923"/>
            </a:xfrm>
            <a:custGeom>
              <a:avLst/>
              <a:gdLst>
                <a:gd name="T0" fmla="*/ 40 w 42"/>
                <a:gd name="T1" fmla="*/ 42 h 42"/>
                <a:gd name="T2" fmla="*/ 39 w 42"/>
                <a:gd name="T3" fmla="*/ 41 h 42"/>
                <a:gd name="T4" fmla="*/ 1 w 42"/>
                <a:gd name="T5" fmla="*/ 4 h 42"/>
                <a:gd name="T6" fmla="*/ 1 w 42"/>
                <a:gd name="T7" fmla="*/ 1 h 42"/>
                <a:gd name="T8" fmla="*/ 4 w 42"/>
                <a:gd name="T9" fmla="*/ 1 h 42"/>
                <a:gd name="T10" fmla="*/ 41 w 42"/>
                <a:gd name="T11" fmla="*/ 39 h 42"/>
                <a:gd name="T12" fmla="*/ 41 w 42"/>
                <a:gd name="T13" fmla="*/ 41 h 42"/>
                <a:gd name="T14" fmla="*/ 40 w 42"/>
                <a:gd name="T15" fmla="*/ 42 h 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2" h="42">
                  <a:moveTo>
                    <a:pt x="40" y="42"/>
                  </a:moveTo>
                  <a:cubicBezTo>
                    <a:pt x="39" y="42"/>
                    <a:pt x="39" y="42"/>
                    <a:pt x="39" y="41"/>
                  </a:cubicBezTo>
                  <a:cubicBezTo>
                    <a:pt x="1" y="4"/>
                    <a:pt x="1" y="4"/>
                    <a:pt x="1" y="4"/>
                  </a:cubicBezTo>
                  <a:cubicBezTo>
                    <a:pt x="0" y="3"/>
                    <a:pt x="0" y="2"/>
                    <a:pt x="1" y="1"/>
                  </a:cubicBezTo>
                  <a:cubicBezTo>
                    <a:pt x="2" y="0"/>
                    <a:pt x="3" y="0"/>
                    <a:pt x="4" y="1"/>
                  </a:cubicBezTo>
                  <a:cubicBezTo>
                    <a:pt x="41" y="39"/>
                    <a:pt x="41" y="39"/>
                    <a:pt x="41" y="39"/>
                  </a:cubicBezTo>
                  <a:cubicBezTo>
                    <a:pt x="42" y="39"/>
                    <a:pt x="42" y="41"/>
                    <a:pt x="41" y="41"/>
                  </a:cubicBezTo>
                  <a:cubicBezTo>
                    <a:pt x="41" y="42"/>
                    <a:pt x="41" y="42"/>
                    <a:pt x="40" y="4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ndParaRPr>
            </a:p>
          </p:txBody>
        </p:sp>
      </p:grpSp>
      <p:grpSp>
        <p:nvGrpSpPr>
          <p:cNvPr id="249" name="Group 248"/>
          <p:cNvGrpSpPr>
            <a:grpSpLocks noChangeAspect="1"/>
          </p:cNvGrpSpPr>
          <p:nvPr/>
        </p:nvGrpSpPr>
        <p:grpSpPr>
          <a:xfrm>
            <a:off x="5909847" y="3888851"/>
            <a:ext cx="370954" cy="370954"/>
            <a:chOff x="-879475" y="2054225"/>
            <a:chExt cx="371475" cy="371475"/>
          </a:xfrm>
          <a:solidFill>
            <a:srgbClr val="3B3939"/>
          </a:solidFill>
        </p:grpSpPr>
        <p:sp>
          <p:nvSpPr>
            <p:cNvPr id="250" name="Freeform 41"/>
            <p:cNvSpPr>
              <a:spLocks noEditPoints="1"/>
            </p:cNvSpPr>
            <p:nvPr/>
          </p:nvSpPr>
          <p:spPr bwMode="auto">
            <a:xfrm>
              <a:off x="-879475" y="2054225"/>
              <a:ext cx="325438" cy="325438"/>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4 h 84"/>
                <a:gd name="T12" fmla="*/ 4 w 84"/>
                <a:gd name="T13" fmla="*/ 42 h 84"/>
                <a:gd name="T14" fmla="*/ 42 w 84"/>
                <a:gd name="T15" fmla="*/ 80 h 84"/>
                <a:gd name="T16" fmla="*/ 80 w 84"/>
                <a:gd name="T17" fmla="*/ 42 h 84"/>
                <a:gd name="T18" fmla="*/ 42 w 84"/>
                <a:gd name="T19" fmla="*/ 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4"/>
                  </a:moveTo>
                  <a:cubicBezTo>
                    <a:pt x="21" y="4"/>
                    <a:pt x="4" y="21"/>
                    <a:pt x="4" y="42"/>
                  </a:cubicBezTo>
                  <a:cubicBezTo>
                    <a:pt x="4" y="63"/>
                    <a:pt x="21" y="80"/>
                    <a:pt x="42" y="80"/>
                  </a:cubicBezTo>
                  <a:cubicBezTo>
                    <a:pt x="63" y="80"/>
                    <a:pt x="80" y="63"/>
                    <a:pt x="80" y="42"/>
                  </a:cubicBezTo>
                  <a:cubicBezTo>
                    <a:pt x="80" y="21"/>
                    <a:pt x="63" y="4"/>
                    <a:pt x="42"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ndParaRPr>
            </a:p>
          </p:txBody>
        </p:sp>
        <p:sp>
          <p:nvSpPr>
            <p:cNvPr id="251" name="Freeform 42"/>
            <p:cNvSpPr>
              <a:spLocks/>
            </p:cNvSpPr>
            <p:nvPr/>
          </p:nvSpPr>
          <p:spPr bwMode="auto">
            <a:xfrm>
              <a:off x="-615950" y="2317750"/>
              <a:ext cx="107950" cy="107950"/>
            </a:xfrm>
            <a:custGeom>
              <a:avLst/>
              <a:gdLst>
                <a:gd name="T0" fmla="*/ 26 w 28"/>
                <a:gd name="T1" fmla="*/ 28 h 28"/>
                <a:gd name="T2" fmla="*/ 25 w 28"/>
                <a:gd name="T3" fmla="*/ 27 h 28"/>
                <a:gd name="T4" fmla="*/ 1 w 28"/>
                <a:gd name="T5" fmla="*/ 4 h 28"/>
                <a:gd name="T6" fmla="*/ 1 w 28"/>
                <a:gd name="T7" fmla="*/ 1 h 28"/>
                <a:gd name="T8" fmla="*/ 4 w 28"/>
                <a:gd name="T9" fmla="*/ 1 h 28"/>
                <a:gd name="T10" fmla="*/ 27 w 28"/>
                <a:gd name="T11" fmla="*/ 25 h 28"/>
                <a:gd name="T12" fmla="*/ 27 w 28"/>
                <a:gd name="T13" fmla="*/ 27 h 28"/>
                <a:gd name="T14" fmla="*/ 26 w 28"/>
                <a:gd name="T15" fmla="*/ 28 h 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 h="28">
                  <a:moveTo>
                    <a:pt x="26" y="28"/>
                  </a:moveTo>
                  <a:cubicBezTo>
                    <a:pt x="25" y="28"/>
                    <a:pt x="25" y="28"/>
                    <a:pt x="25" y="27"/>
                  </a:cubicBezTo>
                  <a:cubicBezTo>
                    <a:pt x="1" y="4"/>
                    <a:pt x="1" y="4"/>
                    <a:pt x="1" y="4"/>
                  </a:cubicBezTo>
                  <a:cubicBezTo>
                    <a:pt x="0" y="3"/>
                    <a:pt x="0" y="2"/>
                    <a:pt x="1" y="1"/>
                  </a:cubicBezTo>
                  <a:cubicBezTo>
                    <a:pt x="2" y="0"/>
                    <a:pt x="3" y="0"/>
                    <a:pt x="4" y="1"/>
                  </a:cubicBezTo>
                  <a:cubicBezTo>
                    <a:pt x="27" y="25"/>
                    <a:pt x="27" y="25"/>
                    <a:pt x="27" y="25"/>
                  </a:cubicBezTo>
                  <a:cubicBezTo>
                    <a:pt x="28" y="25"/>
                    <a:pt x="28" y="27"/>
                    <a:pt x="27" y="27"/>
                  </a:cubicBezTo>
                  <a:cubicBezTo>
                    <a:pt x="27" y="28"/>
                    <a:pt x="27" y="28"/>
                    <a:pt x="26"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ndParaRPr>
            </a:p>
          </p:txBody>
        </p:sp>
        <p:sp>
          <p:nvSpPr>
            <p:cNvPr id="252" name="Freeform 43"/>
            <p:cNvSpPr>
              <a:spLocks noEditPoints="1"/>
            </p:cNvSpPr>
            <p:nvPr/>
          </p:nvSpPr>
          <p:spPr bwMode="auto">
            <a:xfrm>
              <a:off x="-825500" y="2108200"/>
              <a:ext cx="217488" cy="217488"/>
            </a:xfrm>
            <a:custGeom>
              <a:avLst/>
              <a:gdLst>
                <a:gd name="T0" fmla="*/ 22 w 56"/>
                <a:gd name="T1" fmla="*/ 56 h 56"/>
                <a:gd name="T2" fmla="*/ 20 w 56"/>
                <a:gd name="T3" fmla="*/ 48 h 56"/>
                <a:gd name="T4" fmla="*/ 9 w 56"/>
                <a:gd name="T5" fmla="*/ 48 h 56"/>
                <a:gd name="T6" fmla="*/ 1 w 56"/>
                <a:gd name="T7" fmla="*/ 37 h 56"/>
                <a:gd name="T8" fmla="*/ 1 w 56"/>
                <a:gd name="T9" fmla="*/ 34 h 56"/>
                <a:gd name="T10" fmla="*/ 6 w 56"/>
                <a:gd name="T11" fmla="*/ 25 h 56"/>
                <a:gd name="T12" fmla="*/ 1 w 56"/>
                <a:gd name="T13" fmla="*/ 19 h 56"/>
                <a:gd name="T14" fmla="*/ 9 w 56"/>
                <a:gd name="T15" fmla="*/ 8 h 56"/>
                <a:gd name="T16" fmla="*/ 20 w 56"/>
                <a:gd name="T17" fmla="*/ 8 h 56"/>
                <a:gd name="T18" fmla="*/ 22 w 56"/>
                <a:gd name="T19" fmla="*/ 0 h 56"/>
                <a:gd name="T20" fmla="*/ 36 w 56"/>
                <a:gd name="T21" fmla="*/ 2 h 56"/>
                <a:gd name="T22" fmla="*/ 42 w 56"/>
                <a:gd name="T23" fmla="*/ 11 h 56"/>
                <a:gd name="T24" fmla="*/ 49 w 56"/>
                <a:gd name="T25" fmla="*/ 9 h 56"/>
                <a:gd name="T26" fmla="*/ 55 w 56"/>
                <a:gd name="T27" fmla="*/ 21 h 56"/>
                <a:gd name="T28" fmla="*/ 50 w 56"/>
                <a:gd name="T29" fmla="*/ 25 h 56"/>
                <a:gd name="T30" fmla="*/ 55 w 56"/>
                <a:gd name="T31" fmla="*/ 34 h 56"/>
                <a:gd name="T32" fmla="*/ 55 w 56"/>
                <a:gd name="T33" fmla="*/ 37 h 56"/>
                <a:gd name="T34" fmla="*/ 47 w 56"/>
                <a:gd name="T35" fmla="*/ 48 h 56"/>
                <a:gd name="T36" fmla="*/ 36 w 56"/>
                <a:gd name="T37" fmla="*/ 48 h 56"/>
                <a:gd name="T38" fmla="*/ 34 w 56"/>
                <a:gd name="T39" fmla="*/ 56 h 56"/>
                <a:gd name="T40" fmla="*/ 32 w 56"/>
                <a:gd name="T41" fmla="*/ 52 h 56"/>
                <a:gd name="T42" fmla="*/ 33 w 56"/>
                <a:gd name="T43" fmla="*/ 45 h 56"/>
                <a:gd name="T44" fmla="*/ 42 w 56"/>
                <a:gd name="T45" fmla="*/ 41 h 56"/>
                <a:gd name="T46" fmla="*/ 51 w 56"/>
                <a:gd name="T47" fmla="*/ 37 h 56"/>
                <a:gd name="T48" fmla="*/ 45 w 56"/>
                <a:gd name="T49" fmla="*/ 32 h 56"/>
                <a:gd name="T50" fmla="*/ 46 w 56"/>
                <a:gd name="T51" fmla="*/ 22 h 56"/>
                <a:gd name="T52" fmla="*/ 47 w 56"/>
                <a:gd name="T53" fmla="*/ 13 h 56"/>
                <a:gd name="T54" fmla="*/ 40 w 56"/>
                <a:gd name="T55" fmla="*/ 15 h 56"/>
                <a:gd name="T56" fmla="*/ 32 w 56"/>
                <a:gd name="T57" fmla="*/ 9 h 56"/>
                <a:gd name="T58" fmla="*/ 24 w 56"/>
                <a:gd name="T59" fmla="*/ 4 h 56"/>
                <a:gd name="T60" fmla="*/ 23 w 56"/>
                <a:gd name="T61" fmla="*/ 11 h 56"/>
                <a:gd name="T62" fmla="*/ 14 w 56"/>
                <a:gd name="T63" fmla="*/ 15 h 56"/>
                <a:gd name="T64" fmla="*/ 5 w 56"/>
                <a:gd name="T65" fmla="*/ 19 h 56"/>
                <a:gd name="T66" fmla="*/ 11 w 56"/>
                <a:gd name="T67" fmla="*/ 24 h 56"/>
                <a:gd name="T68" fmla="*/ 10 w 56"/>
                <a:gd name="T69" fmla="*/ 34 h 56"/>
                <a:gd name="T70" fmla="*/ 9 w 56"/>
                <a:gd name="T71" fmla="*/ 43 h 56"/>
                <a:gd name="T72" fmla="*/ 16 w 56"/>
                <a:gd name="T73" fmla="*/ 41 h 56"/>
                <a:gd name="T74" fmla="*/ 24 w 56"/>
                <a:gd name="T75" fmla="*/ 47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6" h="56">
                  <a:moveTo>
                    <a:pt x="34" y="56"/>
                  </a:moveTo>
                  <a:cubicBezTo>
                    <a:pt x="22" y="56"/>
                    <a:pt x="22" y="56"/>
                    <a:pt x="22" y="56"/>
                  </a:cubicBezTo>
                  <a:cubicBezTo>
                    <a:pt x="21" y="56"/>
                    <a:pt x="20" y="55"/>
                    <a:pt x="20" y="54"/>
                  </a:cubicBezTo>
                  <a:cubicBezTo>
                    <a:pt x="20" y="48"/>
                    <a:pt x="20" y="48"/>
                    <a:pt x="20" y="48"/>
                  </a:cubicBezTo>
                  <a:cubicBezTo>
                    <a:pt x="18" y="48"/>
                    <a:pt x="16" y="47"/>
                    <a:pt x="14" y="45"/>
                  </a:cubicBezTo>
                  <a:cubicBezTo>
                    <a:pt x="9" y="48"/>
                    <a:pt x="9" y="48"/>
                    <a:pt x="9" y="48"/>
                  </a:cubicBezTo>
                  <a:cubicBezTo>
                    <a:pt x="9" y="48"/>
                    <a:pt x="7" y="48"/>
                    <a:pt x="7" y="47"/>
                  </a:cubicBezTo>
                  <a:cubicBezTo>
                    <a:pt x="1" y="37"/>
                    <a:pt x="1" y="37"/>
                    <a:pt x="1" y="37"/>
                  </a:cubicBezTo>
                  <a:cubicBezTo>
                    <a:pt x="0" y="36"/>
                    <a:pt x="0" y="36"/>
                    <a:pt x="1" y="35"/>
                  </a:cubicBezTo>
                  <a:cubicBezTo>
                    <a:pt x="1" y="35"/>
                    <a:pt x="1" y="34"/>
                    <a:pt x="1" y="34"/>
                  </a:cubicBezTo>
                  <a:cubicBezTo>
                    <a:pt x="6" y="31"/>
                    <a:pt x="6" y="31"/>
                    <a:pt x="6" y="31"/>
                  </a:cubicBezTo>
                  <a:cubicBezTo>
                    <a:pt x="6" y="29"/>
                    <a:pt x="6" y="27"/>
                    <a:pt x="6" y="25"/>
                  </a:cubicBezTo>
                  <a:cubicBezTo>
                    <a:pt x="1" y="22"/>
                    <a:pt x="1" y="22"/>
                    <a:pt x="1" y="22"/>
                  </a:cubicBezTo>
                  <a:cubicBezTo>
                    <a:pt x="1" y="21"/>
                    <a:pt x="0" y="20"/>
                    <a:pt x="1" y="19"/>
                  </a:cubicBezTo>
                  <a:cubicBezTo>
                    <a:pt x="7" y="9"/>
                    <a:pt x="7" y="9"/>
                    <a:pt x="7" y="9"/>
                  </a:cubicBezTo>
                  <a:cubicBezTo>
                    <a:pt x="7" y="8"/>
                    <a:pt x="9" y="8"/>
                    <a:pt x="9" y="8"/>
                  </a:cubicBezTo>
                  <a:cubicBezTo>
                    <a:pt x="14" y="11"/>
                    <a:pt x="14" y="11"/>
                    <a:pt x="14" y="11"/>
                  </a:cubicBezTo>
                  <a:cubicBezTo>
                    <a:pt x="16" y="9"/>
                    <a:pt x="18" y="8"/>
                    <a:pt x="20" y="8"/>
                  </a:cubicBezTo>
                  <a:cubicBezTo>
                    <a:pt x="20" y="2"/>
                    <a:pt x="20" y="2"/>
                    <a:pt x="20" y="2"/>
                  </a:cubicBezTo>
                  <a:cubicBezTo>
                    <a:pt x="20" y="1"/>
                    <a:pt x="21" y="0"/>
                    <a:pt x="22" y="0"/>
                  </a:cubicBezTo>
                  <a:cubicBezTo>
                    <a:pt x="34" y="0"/>
                    <a:pt x="34" y="0"/>
                    <a:pt x="34" y="0"/>
                  </a:cubicBezTo>
                  <a:cubicBezTo>
                    <a:pt x="35" y="0"/>
                    <a:pt x="36" y="1"/>
                    <a:pt x="36" y="2"/>
                  </a:cubicBezTo>
                  <a:cubicBezTo>
                    <a:pt x="36" y="8"/>
                    <a:pt x="36" y="8"/>
                    <a:pt x="36" y="8"/>
                  </a:cubicBezTo>
                  <a:cubicBezTo>
                    <a:pt x="38" y="8"/>
                    <a:pt x="40" y="9"/>
                    <a:pt x="42" y="11"/>
                  </a:cubicBezTo>
                  <a:cubicBezTo>
                    <a:pt x="47" y="8"/>
                    <a:pt x="47" y="8"/>
                    <a:pt x="47" y="8"/>
                  </a:cubicBezTo>
                  <a:cubicBezTo>
                    <a:pt x="47" y="8"/>
                    <a:pt x="49" y="8"/>
                    <a:pt x="49" y="9"/>
                  </a:cubicBezTo>
                  <a:cubicBezTo>
                    <a:pt x="55" y="19"/>
                    <a:pt x="55" y="19"/>
                    <a:pt x="55" y="19"/>
                  </a:cubicBezTo>
                  <a:cubicBezTo>
                    <a:pt x="56" y="20"/>
                    <a:pt x="56" y="20"/>
                    <a:pt x="55" y="21"/>
                  </a:cubicBezTo>
                  <a:cubicBezTo>
                    <a:pt x="55" y="21"/>
                    <a:pt x="55" y="22"/>
                    <a:pt x="55" y="22"/>
                  </a:cubicBezTo>
                  <a:cubicBezTo>
                    <a:pt x="50" y="25"/>
                    <a:pt x="50" y="25"/>
                    <a:pt x="50" y="25"/>
                  </a:cubicBezTo>
                  <a:cubicBezTo>
                    <a:pt x="50" y="27"/>
                    <a:pt x="50" y="29"/>
                    <a:pt x="50" y="31"/>
                  </a:cubicBezTo>
                  <a:cubicBezTo>
                    <a:pt x="55" y="34"/>
                    <a:pt x="55" y="34"/>
                    <a:pt x="55" y="34"/>
                  </a:cubicBezTo>
                  <a:cubicBezTo>
                    <a:pt x="55" y="34"/>
                    <a:pt x="55" y="35"/>
                    <a:pt x="55" y="35"/>
                  </a:cubicBezTo>
                  <a:cubicBezTo>
                    <a:pt x="56" y="36"/>
                    <a:pt x="56" y="36"/>
                    <a:pt x="55" y="37"/>
                  </a:cubicBezTo>
                  <a:cubicBezTo>
                    <a:pt x="49" y="47"/>
                    <a:pt x="49" y="47"/>
                    <a:pt x="49" y="47"/>
                  </a:cubicBezTo>
                  <a:cubicBezTo>
                    <a:pt x="49" y="48"/>
                    <a:pt x="47" y="48"/>
                    <a:pt x="47" y="48"/>
                  </a:cubicBezTo>
                  <a:cubicBezTo>
                    <a:pt x="42" y="45"/>
                    <a:pt x="42" y="45"/>
                    <a:pt x="42" y="45"/>
                  </a:cubicBezTo>
                  <a:cubicBezTo>
                    <a:pt x="40" y="47"/>
                    <a:pt x="38" y="48"/>
                    <a:pt x="36" y="48"/>
                  </a:cubicBezTo>
                  <a:cubicBezTo>
                    <a:pt x="36" y="54"/>
                    <a:pt x="36" y="54"/>
                    <a:pt x="36" y="54"/>
                  </a:cubicBezTo>
                  <a:cubicBezTo>
                    <a:pt x="36" y="55"/>
                    <a:pt x="35" y="56"/>
                    <a:pt x="34" y="56"/>
                  </a:cubicBezTo>
                  <a:close/>
                  <a:moveTo>
                    <a:pt x="24" y="52"/>
                  </a:moveTo>
                  <a:cubicBezTo>
                    <a:pt x="32" y="52"/>
                    <a:pt x="32" y="52"/>
                    <a:pt x="32" y="52"/>
                  </a:cubicBezTo>
                  <a:cubicBezTo>
                    <a:pt x="32" y="47"/>
                    <a:pt x="32" y="47"/>
                    <a:pt x="32" y="47"/>
                  </a:cubicBezTo>
                  <a:cubicBezTo>
                    <a:pt x="32" y="46"/>
                    <a:pt x="33" y="45"/>
                    <a:pt x="33" y="45"/>
                  </a:cubicBezTo>
                  <a:cubicBezTo>
                    <a:pt x="36" y="44"/>
                    <a:pt x="38" y="43"/>
                    <a:pt x="40" y="41"/>
                  </a:cubicBezTo>
                  <a:cubicBezTo>
                    <a:pt x="41" y="41"/>
                    <a:pt x="42" y="41"/>
                    <a:pt x="42" y="41"/>
                  </a:cubicBezTo>
                  <a:cubicBezTo>
                    <a:pt x="47" y="43"/>
                    <a:pt x="47" y="43"/>
                    <a:pt x="47" y="43"/>
                  </a:cubicBezTo>
                  <a:cubicBezTo>
                    <a:pt x="51" y="37"/>
                    <a:pt x="51" y="37"/>
                    <a:pt x="51" y="37"/>
                  </a:cubicBezTo>
                  <a:cubicBezTo>
                    <a:pt x="46" y="34"/>
                    <a:pt x="46" y="34"/>
                    <a:pt x="46" y="34"/>
                  </a:cubicBezTo>
                  <a:cubicBezTo>
                    <a:pt x="46" y="34"/>
                    <a:pt x="45" y="33"/>
                    <a:pt x="45" y="32"/>
                  </a:cubicBezTo>
                  <a:cubicBezTo>
                    <a:pt x="46" y="29"/>
                    <a:pt x="46" y="27"/>
                    <a:pt x="45" y="24"/>
                  </a:cubicBezTo>
                  <a:cubicBezTo>
                    <a:pt x="45" y="23"/>
                    <a:pt x="46" y="22"/>
                    <a:pt x="46" y="22"/>
                  </a:cubicBezTo>
                  <a:cubicBezTo>
                    <a:pt x="51" y="19"/>
                    <a:pt x="51" y="19"/>
                    <a:pt x="51" y="19"/>
                  </a:cubicBezTo>
                  <a:cubicBezTo>
                    <a:pt x="47" y="13"/>
                    <a:pt x="47" y="13"/>
                    <a:pt x="47" y="13"/>
                  </a:cubicBezTo>
                  <a:cubicBezTo>
                    <a:pt x="42" y="15"/>
                    <a:pt x="42" y="15"/>
                    <a:pt x="42" y="15"/>
                  </a:cubicBezTo>
                  <a:cubicBezTo>
                    <a:pt x="42" y="15"/>
                    <a:pt x="41" y="15"/>
                    <a:pt x="40" y="15"/>
                  </a:cubicBezTo>
                  <a:cubicBezTo>
                    <a:pt x="38" y="13"/>
                    <a:pt x="36" y="12"/>
                    <a:pt x="33" y="11"/>
                  </a:cubicBezTo>
                  <a:cubicBezTo>
                    <a:pt x="33" y="11"/>
                    <a:pt x="32" y="10"/>
                    <a:pt x="32" y="9"/>
                  </a:cubicBezTo>
                  <a:cubicBezTo>
                    <a:pt x="32" y="4"/>
                    <a:pt x="32" y="4"/>
                    <a:pt x="32" y="4"/>
                  </a:cubicBezTo>
                  <a:cubicBezTo>
                    <a:pt x="24" y="4"/>
                    <a:pt x="24" y="4"/>
                    <a:pt x="24" y="4"/>
                  </a:cubicBezTo>
                  <a:cubicBezTo>
                    <a:pt x="24" y="9"/>
                    <a:pt x="24" y="9"/>
                    <a:pt x="24" y="9"/>
                  </a:cubicBezTo>
                  <a:cubicBezTo>
                    <a:pt x="24" y="10"/>
                    <a:pt x="23" y="11"/>
                    <a:pt x="23" y="11"/>
                  </a:cubicBezTo>
                  <a:cubicBezTo>
                    <a:pt x="20" y="12"/>
                    <a:pt x="18" y="13"/>
                    <a:pt x="16" y="15"/>
                  </a:cubicBezTo>
                  <a:cubicBezTo>
                    <a:pt x="15" y="15"/>
                    <a:pt x="14" y="15"/>
                    <a:pt x="14" y="15"/>
                  </a:cubicBezTo>
                  <a:cubicBezTo>
                    <a:pt x="9" y="13"/>
                    <a:pt x="9" y="13"/>
                    <a:pt x="9" y="13"/>
                  </a:cubicBezTo>
                  <a:cubicBezTo>
                    <a:pt x="5" y="19"/>
                    <a:pt x="5" y="19"/>
                    <a:pt x="5" y="19"/>
                  </a:cubicBezTo>
                  <a:cubicBezTo>
                    <a:pt x="10" y="22"/>
                    <a:pt x="10" y="22"/>
                    <a:pt x="10" y="22"/>
                  </a:cubicBezTo>
                  <a:cubicBezTo>
                    <a:pt x="10" y="22"/>
                    <a:pt x="11" y="23"/>
                    <a:pt x="11" y="24"/>
                  </a:cubicBezTo>
                  <a:cubicBezTo>
                    <a:pt x="10" y="27"/>
                    <a:pt x="10" y="29"/>
                    <a:pt x="11" y="32"/>
                  </a:cubicBezTo>
                  <a:cubicBezTo>
                    <a:pt x="11" y="33"/>
                    <a:pt x="10" y="34"/>
                    <a:pt x="10" y="34"/>
                  </a:cubicBezTo>
                  <a:cubicBezTo>
                    <a:pt x="5" y="37"/>
                    <a:pt x="5" y="37"/>
                    <a:pt x="5" y="37"/>
                  </a:cubicBezTo>
                  <a:cubicBezTo>
                    <a:pt x="9" y="43"/>
                    <a:pt x="9" y="43"/>
                    <a:pt x="9" y="43"/>
                  </a:cubicBezTo>
                  <a:cubicBezTo>
                    <a:pt x="14" y="41"/>
                    <a:pt x="14" y="41"/>
                    <a:pt x="14" y="41"/>
                  </a:cubicBezTo>
                  <a:cubicBezTo>
                    <a:pt x="14" y="41"/>
                    <a:pt x="15" y="41"/>
                    <a:pt x="16" y="41"/>
                  </a:cubicBezTo>
                  <a:cubicBezTo>
                    <a:pt x="18" y="43"/>
                    <a:pt x="20" y="44"/>
                    <a:pt x="23" y="45"/>
                  </a:cubicBezTo>
                  <a:cubicBezTo>
                    <a:pt x="23" y="45"/>
                    <a:pt x="24" y="46"/>
                    <a:pt x="24" y="47"/>
                  </a:cubicBezTo>
                  <a:lnTo>
                    <a:pt x="24"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ndParaRPr>
            </a:p>
          </p:txBody>
        </p:sp>
        <p:sp>
          <p:nvSpPr>
            <p:cNvPr id="253" name="Freeform 44"/>
            <p:cNvSpPr>
              <a:spLocks noEditPoints="1"/>
            </p:cNvSpPr>
            <p:nvPr/>
          </p:nvSpPr>
          <p:spPr bwMode="auto">
            <a:xfrm>
              <a:off x="-755650" y="2178050"/>
              <a:ext cx="77788" cy="77788"/>
            </a:xfrm>
            <a:custGeom>
              <a:avLst/>
              <a:gdLst>
                <a:gd name="T0" fmla="*/ 10 w 20"/>
                <a:gd name="T1" fmla="*/ 20 h 20"/>
                <a:gd name="T2" fmla="*/ 0 w 20"/>
                <a:gd name="T3" fmla="*/ 10 h 20"/>
                <a:gd name="T4" fmla="*/ 10 w 20"/>
                <a:gd name="T5" fmla="*/ 0 h 20"/>
                <a:gd name="T6" fmla="*/ 20 w 20"/>
                <a:gd name="T7" fmla="*/ 10 h 20"/>
                <a:gd name="T8" fmla="*/ 10 w 20"/>
                <a:gd name="T9" fmla="*/ 20 h 20"/>
                <a:gd name="T10" fmla="*/ 10 w 20"/>
                <a:gd name="T11" fmla="*/ 4 h 20"/>
                <a:gd name="T12" fmla="*/ 4 w 20"/>
                <a:gd name="T13" fmla="*/ 10 h 20"/>
                <a:gd name="T14" fmla="*/ 10 w 20"/>
                <a:gd name="T15" fmla="*/ 16 h 20"/>
                <a:gd name="T16" fmla="*/ 16 w 20"/>
                <a:gd name="T17" fmla="*/ 10 h 20"/>
                <a:gd name="T18" fmla="*/ 10 w 20"/>
                <a:gd name="T19" fmla="*/ 4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 h="20">
                  <a:moveTo>
                    <a:pt x="10" y="20"/>
                  </a:moveTo>
                  <a:cubicBezTo>
                    <a:pt x="4" y="20"/>
                    <a:pt x="0" y="16"/>
                    <a:pt x="0" y="10"/>
                  </a:cubicBezTo>
                  <a:cubicBezTo>
                    <a:pt x="0" y="4"/>
                    <a:pt x="4" y="0"/>
                    <a:pt x="10" y="0"/>
                  </a:cubicBezTo>
                  <a:cubicBezTo>
                    <a:pt x="16" y="0"/>
                    <a:pt x="20" y="4"/>
                    <a:pt x="20" y="10"/>
                  </a:cubicBezTo>
                  <a:cubicBezTo>
                    <a:pt x="20" y="16"/>
                    <a:pt x="16" y="20"/>
                    <a:pt x="10" y="20"/>
                  </a:cubicBezTo>
                  <a:close/>
                  <a:moveTo>
                    <a:pt x="10" y="4"/>
                  </a:moveTo>
                  <a:cubicBezTo>
                    <a:pt x="7" y="4"/>
                    <a:pt x="4" y="7"/>
                    <a:pt x="4" y="10"/>
                  </a:cubicBezTo>
                  <a:cubicBezTo>
                    <a:pt x="4" y="13"/>
                    <a:pt x="7" y="16"/>
                    <a:pt x="10" y="16"/>
                  </a:cubicBezTo>
                  <a:cubicBezTo>
                    <a:pt x="13" y="16"/>
                    <a:pt x="16" y="13"/>
                    <a:pt x="16" y="10"/>
                  </a:cubicBezTo>
                  <a:cubicBezTo>
                    <a:pt x="16" y="7"/>
                    <a:pt x="13" y="4"/>
                    <a:pt x="10"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ndParaRPr>
            </a:p>
          </p:txBody>
        </p:sp>
      </p:grpSp>
      <p:sp>
        <p:nvSpPr>
          <p:cNvPr id="255" name="TextBox 254"/>
          <p:cNvSpPr txBox="1"/>
          <p:nvPr/>
        </p:nvSpPr>
        <p:spPr>
          <a:xfrm>
            <a:off x="7352860" y="4320240"/>
            <a:ext cx="966078" cy="184666"/>
          </a:xfrm>
          <a:prstGeom prst="rect">
            <a:avLst/>
          </a:prstGeom>
          <a:noFill/>
          <a:ln w="6350">
            <a:noFill/>
            <a:prstDash val="dash"/>
          </a:ln>
        </p:spPr>
        <p:txBody>
          <a:bodyPr wrap="square" lIns="0" tIns="0" rIns="0" bIns="0"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effectLst/>
                <a:uLnTx/>
                <a:uFillTx/>
              </a:rPr>
              <a:t>RE-MODEL</a:t>
            </a:r>
          </a:p>
        </p:txBody>
      </p:sp>
      <p:sp>
        <p:nvSpPr>
          <p:cNvPr id="256" name="Freeform 48"/>
          <p:cNvSpPr>
            <a:spLocks noChangeAspect="1" noEditPoints="1"/>
          </p:cNvSpPr>
          <p:nvPr/>
        </p:nvSpPr>
        <p:spPr bwMode="auto">
          <a:xfrm>
            <a:off x="7632392" y="3864814"/>
            <a:ext cx="407013" cy="394992"/>
          </a:xfrm>
          <a:custGeom>
            <a:avLst/>
            <a:gdLst>
              <a:gd name="T0" fmla="*/ 10 w 97"/>
              <a:gd name="T1" fmla="*/ 94 h 94"/>
              <a:gd name="T2" fmla="*/ 3 w 97"/>
              <a:gd name="T3" fmla="*/ 91 h 94"/>
              <a:gd name="T4" fmla="*/ 0 w 97"/>
              <a:gd name="T5" fmla="*/ 84 h 94"/>
              <a:gd name="T6" fmla="*/ 3 w 97"/>
              <a:gd name="T7" fmla="*/ 77 h 94"/>
              <a:gd name="T8" fmla="*/ 41 w 97"/>
              <a:gd name="T9" fmla="*/ 39 h 94"/>
              <a:gd name="T10" fmla="*/ 47 w 97"/>
              <a:gd name="T11" fmla="*/ 8 h 94"/>
              <a:gd name="T12" fmla="*/ 67 w 97"/>
              <a:gd name="T13" fmla="*/ 0 h 94"/>
              <a:gd name="T14" fmla="*/ 79 w 97"/>
              <a:gd name="T15" fmla="*/ 3 h 94"/>
              <a:gd name="T16" fmla="*/ 80 w 97"/>
              <a:gd name="T17" fmla="*/ 4 h 94"/>
              <a:gd name="T18" fmla="*/ 80 w 97"/>
              <a:gd name="T19" fmla="*/ 6 h 94"/>
              <a:gd name="T20" fmla="*/ 68 w 97"/>
              <a:gd name="T21" fmla="*/ 19 h 94"/>
              <a:gd name="T22" fmla="*/ 68 w 97"/>
              <a:gd name="T23" fmla="*/ 27 h 94"/>
              <a:gd name="T24" fmla="*/ 75 w 97"/>
              <a:gd name="T25" fmla="*/ 27 h 94"/>
              <a:gd name="T26" fmla="*/ 88 w 97"/>
              <a:gd name="T27" fmla="*/ 14 h 94"/>
              <a:gd name="T28" fmla="*/ 90 w 97"/>
              <a:gd name="T29" fmla="*/ 14 h 94"/>
              <a:gd name="T30" fmla="*/ 91 w 97"/>
              <a:gd name="T31" fmla="*/ 15 h 94"/>
              <a:gd name="T32" fmla="*/ 86 w 97"/>
              <a:gd name="T33" fmla="*/ 47 h 94"/>
              <a:gd name="T34" fmla="*/ 66 w 97"/>
              <a:gd name="T35" fmla="*/ 56 h 94"/>
              <a:gd name="T36" fmla="*/ 66 w 97"/>
              <a:gd name="T37" fmla="*/ 56 h 94"/>
              <a:gd name="T38" fmla="*/ 55 w 97"/>
              <a:gd name="T39" fmla="*/ 53 h 94"/>
              <a:gd name="T40" fmla="*/ 17 w 97"/>
              <a:gd name="T41" fmla="*/ 91 h 94"/>
              <a:gd name="T42" fmla="*/ 10 w 97"/>
              <a:gd name="T43" fmla="*/ 94 h 94"/>
              <a:gd name="T44" fmla="*/ 67 w 97"/>
              <a:gd name="T45" fmla="*/ 4 h 94"/>
              <a:gd name="T46" fmla="*/ 50 w 97"/>
              <a:gd name="T47" fmla="*/ 11 h 94"/>
              <a:gd name="T48" fmla="*/ 45 w 97"/>
              <a:gd name="T49" fmla="*/ 39 h 94"/>
              <a:gd name="T50" fmla="*/ 45 w 97"/>
              <a:gd name="T51" fmla="*/ 41 h 94"/>
              <a:gd name="T52" fmla="*/ 5 w 97"/>
              <a:gd name="T53" fmla="*/ 80 h 94"/>
              <a:gd name="T54" fmla="*/ 4 w 97"/>
              <a:gd name="T55" fmla="*/ 84 h 94"/>
              <a:gd name="T56" fmla="*/ 5 w 97"/>
              <a:gd name="T57" fmla="*/ 89 h 94"/>
              <a:gd name="T58" fmla="*/ 14 w 97"/>
              <a:gd name="T59" fmla="*/ 89 h 94"/>
              <a:gd name="T60" fmla="*/ 53 w 97"/>
              <a:gd name="T61" fmla="*/ 49 h 94"/>
              <a:gd name="T62" fmla="*/ 55 w 97"/>
              <a:gd name="T63" fmla="*/ 49 h 94"/>
              <a:gd name="T64" fmla="*/ 66 w 97"/>
              <a:gd name="T65" fmla="*/ 52 h 94"/>
              <a:gd name="T66" fmla="*/ 83 w 97"/>
              <a:gd name="T67" fmla="*/ 45 h 94"/>
              <a:gd name="T68" fmla="*/ 89 w 97"/>
              <a:gd name="T69" fmla="*/ 19 h 94"/>
              <a:gd name="T70" fmla="*/ 78 w 97"/>
              <a:gd name="T71" fmla="*/ 30 h 94"/>
              <a:gd name="T72" fmla="*/ 76 w 97"/>
              <a:gd name="T73" fmla="*/ 31 h 94"/>
              <a:gd name="T74" fmla="*/ 66 w 97"/>
              <a:gd name="T75" fmla="*/ 31 h 94"/>
              <a:gd name="T76" fmla="*/ 64 w 97"/>
              <a:gd name="T77" fmla="*/ 29 h 94"/>
              <a:gd name="T78" fmla="*/ 64 w 97"/>
              <a:gd name="T79" fmla="*/ 18 h 94"/>
              <a:gd name="T80" fmla="*/ 64 w 97"/>
              <a:gd name="T81" fmla="*/ 16 h 94"/>
              <a:gd name="T82" fmla="*/ 75 w 97"/>
              <a:gd name="T83" fmla="*/ 5 h 94"/>
              <a:gd name="T84" fmla="*/ 67 w 97"/>
              <a:gd name="T85" fmla="*/ 4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7" h="94">
                <a:moveTo>
                  <a:pt x="10" y="94"/>
                </a:moveTo>
                <a:cubicBezTo>
                  <a:pt x="7" y="94"/>
                  <a:pt x="4" y="93"/>
                  <a:pt x="3" y="91"/>
                </a:cubicBezTo>
                <a:cubicBezTo>
                  <a:pt x="1" y="90"/>
                  <a:pt x="0" y="87"/>
                  <a:pt x="0" y="84"/>
                </a:cubicBezTo>
                <a:cubicBezTo>
                  <a:pt x="0" y="82"/>
                  <a:pt x="1" y="79"/>
                  <a:pt x="3" y="77"/>
                </a:cubicBezTo>
                <a:cubicBezTo>
                  <a:pt x="41" y="39"/>
                  <a:pt x="41" y="39"/>
                  <a:pt x="41" y="39"/>
                </a:cubicBezTo>
                <a:cubicBezTo>
                  <a:pt x="36" y="28"/>
                  <a:pt x="38" y="16"/>
                  <a:pt x="47" y="8"/>
                </a:cubicBezTo>
                <a:cubicBezTo>
                  <a:pt x="52" y="3"/>
                  <a:pt x="59" y="0"/>
                  <a:pt x="67" y="0"/>
                </a:cubicBezTo>
                <a:cubicBezTo>
                  <a:pt x="71" y="0"/>
                  <a:pt x="76" y="1"/>
                  <a:pt x="79" y="3"/>
                </a:cubicBezTo>
                <a:cubicBezTo>
                  <a:pt x="80" y="3"/>
                  <a:pt x="80" y="4"/>
                  <a:pt x="80" y="4"/>
                </a:cubicBezTo>
                <a:cubicBezTo>
                  <a:pt x="81" y="5"/>
                  <a:pt x="80" y="5"/>
                  <a:pt x="80" y="6"/>
                </a:cubicBezTo>
                <a:cubicBezTo>
                  <a:pt x="68" y="19"/>
                  <a:pt x="68" y="19"/>
                  <a:pt x="68" y="19"/>
                </a:cubicBezTo>
                <a:cubicBezTo>
                  <a:pt x="68" y="27"/>
                  <a:pt x="68" y="27"/>
                  <a:pt x="68" y="27"/>
                </a:cubicBezTo>
                <a:cubicBezTo>
                  <a:pt x="75" y="27"/>
                  <a:pt x="75" y="27"/>
                  <a:pt x="75" y="27"/>
                </a:cubicBezTo>
                <a:cubicBezTo>
                  <a:pt x="88" y="14"/>
                  <a:pt x="88" y="14"/>
                  <a:pt x="88" y="14"/>
                </a:cubicBezTo>
                <a:cubicBezTo>
                  <a:pt x="89" y="14"/>
                  <a:pt x="89" y="14"/>
                  <a:pt x="90" y="14"/>
                </a:cubicBezTo>
                <a:cubicBezTo>
                  <a:pt x="90" y="14"/>
                  <a:pt x="91" y="14"/>
                  <a:pt x="91" y="15"/>
                </a:cubicBezTo>
                <a:cubicBezTo>
                  <a:pt x="97" y="26"/>
                  <a:pt x="95" y="39"/>
                  <a:pt x="86" y="47"/>
                </a:cubicBezTo>
                <a:cubicBezTo>
                  <a:pt x="81" y="53"/>
                  <a:pt x="74" y="56"/>
                  <a:pt x="66" y="56"/>
                </a:cubicBezTo>
                <a:cubicBezTo>
                  <a:pt x="66" y="56"/>
                  <a:pt x="66" y="56"/>
                  <a:pt x="66" y="56"/>
                </a:cubicBezTo>
                <a:cubicBezTo>
                  <a:pt x="62" y="56"/>
                  <a:pt x="59" y="55"/>
                  <a:pt x="55" y="53"/>
                </a:cubicBezTo>
                <a:cubicBezTo>
                  <a:pt x="17" y="91"/>
                  <a:pt x="17" y="91"/>
                  <a:pt x="17" y="91"/>
                </a:cubicBezTo>
                <a:cubicBezTo>
                  <a:pt x="15" y="93"/>
                  <a:pt x="12" y="94"/>
                  <a:pt x="10" y="94"/>
                </a:cubicBezTo>
                <a:close/>
                <a:moveTo>
                  <a:pt x="67" y="4"/>
                </a:moveTo>
                <a:cubicBezTo>
                  <a:pt x="60" y="4"/>
                  <a:pt x="54" y="6"/>
                  <a:pt x="50" y="11"/>
                </a:cubicBezTo>
                <a:cubicBezTo>
                  <a:pt x="42" y="18"/>
                  <a:pt x="40" y="29"/>
                  <a:pt x="45" y="39"/>
                </a:cubicBezTo>
                <a:cubicBezTo>
                  <a:pt x="45" y="39"/>
                  <a:pt x="45" y="40"/>
                  <a:pt x="45" y="41"/>
                </a:cubicBezTo>
                <a:cubicBezTo>
                  <a:pt x="5" y="80"/>
                  <a:pt x="5" y="80"/>
                  <a:pt x="5" y="80"/>
                </a:cubicBezTo>
                <a:cubicBezTo>
                  <a:pt x="4" y="81"/>
                  <a:pt x="4" y="83"/>
                  <a:pt x="4" y="84"/>
                </a:cubicBezTo>
                <a:cubicBezTo>
                  <a:pt x="4" y="86"/>
                  <a:pt x="4" y="87"/>
                  <a:pt x="5" y="89"/>
                </a:cubicBezTo>
                <a:cubicBezTo>
                  <a:pt x="8" y="91"/>
                  <a:pt x="12" y="91"/>
                  <a:pt x="14" y="89"/>
                </a:cubicBezTo>
                <a:cubicBezTo>
                  <a:pt x="53" y="49"/>
                  <a:pt x="53" y="49"/>
                  <a:pt x="53" y="49"/>
                </a:cubicBezTo>
                <a:cubicBezTo>
                  <a:pt x="54" y="49"/>
                  <a:pt x="55" y="49"/>
                  <a:pt x="55" y="49"/>
                </a:cubicBezTo>
                <a:cubicBezTo>
                  <a:pt x="59" y="51"/>
                  <a:pt x="63" y="52"/>
                  <a:pt x="66" y="52"/>
                </a:cubicBezTo>
                <a:cubicBezTo>
                  <a:pt x="73" y="52"/>
                  <a:pt x="79" y="49"/>
                  <a:pt x="83" y="45"/>
                </a:cubicBezTo>
                <a:cubicBezTo>
                  <a:pt x="90" y="38"/>
                  <a:pt x="92" y="28"/>
                  <a:pt x="89" y="19"/>
                </a:cubicBezTo>
                <a:cubicBezTo>
                  <a:pt x="78" y="30"/>
                  <a:pt x="78" y="30"/>
                  <a:pt x="78" y="30"/>
                </a:cubicBezTo>
                <a:cubicBezTo>
                  <a:pt x="77" y="31"/>
                  <a:pt x="77" y="31"/>
                  <a:pt x="76" y="31"/>
                </a:cubicBezTo>
                <a:cubicBezTo>
                  <a:pt x="66" y="31"/>
                  <a:pt x="66" y="31"/>
                  <a:pt x="66" y="31"/>
                </a:cubicBezTo>
                <a:cubicBezTo>
                  <a:pt x="65" y="31"/>
                  <a:pt x="64" y="30"/>
                  <a:pt x="64" y="29"/>
                </a:cubicBezTo>
                <a:cubicBezTo>
                  <a:pt x="64" y="18"/>
                  <a:pt x="64" y="18"/>
                  <a:pt x="64" y="18"/>
                </a:cubicBezTo>
                <a:cubicBezTo>
                  <a:pt x="64" y="17"/>
                  <a:pt x="64" y="17"/>
                  <a:pt x="64" y="16"/>
                </a:cubicBezTo>
                <a:cubicBezTo>
                  <a:pt x="75" y="5"/>
                  <a:pt x="75" y="5"/>
                  <a:pt x="75" y="5"/>
                </a:cubicBezTo>
                <a:cubicBezTo>
                  <a:pt x="72" y="4"/>
                  <a:pt x="70" y="4"/>
                  <a:pt x="67" y="4"/>
                </a:cubicBezTo>
                <a:close/>
              </a:path>
            </a:pathLst>
          </a:custGeom>
          <a:solidFill>
            <a:srgbClr val="E2583D"/>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ndParaRPr>
          </a:p>
        </p:txBody>
      </p:sp>
      <p:grpSp>
        <p:nvGrpSpPr>
          <p:cNvPr id="257" name="Group 256"/>
          <p:cNvGrpSpPr>
            <a:grpSpLocks noChangeAspect="1"/>
          </p:cNvGrpSpPr>
          <p:nvPr/>
        </p:nvGrpSpPr>
        <p:grpSpPr>
          <a:xfrm>
            <a:off x="9352045" y="3810951"/>
            <a:ext cx="448855" cy="448854"/>
            <a:chOff x="5988050" y="1774825"/>
            <a:chExt cx="371476" cy="371475"/>
          </a:xfrm>
          <a:solidFill>
            <a:srgbClr val="78D2D2"/>
          </a:solidFill>
        </p:grpSpPr>
        <p:sp>
          <p:nvSpPr>
            <p:cNvPr id="258" name="Freeform 52"/>
            <p:cNvSpPr>
              <a:spLocks noEditPoints="1"/>
            </p:cNvSpPr>
            <p:nvPr/>
          </p:nvSpPr>
          <p:spPr bwMode="auto">
            <a:xfrm>
              <a:off x="6065838" y="1960563"/>
              <a:ext cx="107950" cy="107950"/>
            </a:xfrm>
            <a:custGeom>
              <a:avLst/>
              <a:gdLst>
                <a:gd name="T0" fmla="*/ 14 w 28"/>
                <a:gd name="T1" fmla="*/ 28 h 28"/>
                <a:gd name="T2" fmla="*/ 0 w 28"/>
                <a:gd name="T3" fmla="*/ 14 h 28"/>
                <a:gd name="T4" fmla="*/ 14 w 28"/>
                <a:gd name="T5" fmla="*/ 0 h 28"/>
                <a:gd name="T6" fmla="*/ 28 w 28"/>
                <a:gd name="T7" fmla="*/ 14 h 28"/>
                <a:gd name="T8" fmla="*/ 14 w 28"/>
                <a:gd name="T9" fmla="*/ 28 h 28"/>
                <a:gd name="T10" fmla="*/ 14 w 28"/>
                <a:gd name="T11" fmla="*/ 4 h 28"/>
                <a:gd name="T12" fmla="*/ 4 w 28"/>
                <a:gd name="T13" fmla="*/ 14 h 28"/>
                <a:gd name="T14" fmla="*/ 14 w 28"/>
                <a:gd name="T15" fmla="*/ 24 h 28"/>
                <a:gd name="T16" fmla="*/ 24 w 28"/>
                <a:gd name="T17" fmla="*/ 14 h 28"/>
                <a:gd name="T18" fmla="*/ 14 w 28"/>
                <a:gd name="T19" fmla="*/ 4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 h="28">
                  <a:moveTo>
                    <a:pt x="14" y="28"/>
                  </a:moveTo>
                  <a:cubicBezTo>
                    <a:pt x="6" y="28"/>
                    <a:pt x="0" y="22"/>
                    <a:pt x="0" y="14"/>
                  </a:cubicBezTo>
                  <a:cubicBezTo>
                    <a:pt x="0" y="6"/>
                    <a:pt x="6" y="0"/>
                    <a:pt x="14" y="0"/>
                  </a:cubicBezTo>
                  <a:cubicBezTo>
                    <a:pt x="22" y="0"/>
                    <a:pt x="28" y="6"/>
                    <a:pt x="28" y="14"/>
                  </a:cubicBezTo>
                  <a:cubicBezTo>
                    <a:pt x="28" y="22"/>
                    <a:pt x="22" y="28"/>
                    <a:pt x="14" y="28"/>
                  </a:cubicBezTo>
                  <a:close/>
                  <a:moveTo>
                    <a:pt x="14" y="4"/>
                  </a:moveTo>
                  <a:cubicBezTo>
                    <a:pt x="8" y="4"/>
                    <a:pt x="4" y="8"/>
                    <a:pt x="4" y="14"/>
                  </a:cubicBezTo>
                  <a:cubicBezTo>
                    <a:pt x="4" y="20"/>
                    <a:pt x="8" y="24"/>
                    <a:pt x="14" y="24"/>
                  </a:cubicBezTo>
                  <a:cubicBezTo>
                    <a:pt x="20" y="24"/>
                    <a:pt x="24" y="20"/>
                    <a:pt x="24" y="14"/>
                  </a:cubicBezTo>
                  <a:cubicBezTo>
                    <a:pt x="24" y="8"/>
                    <a:pt x="20" y="4"/>
                    <a:pt x="1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ndParaRPr>
            </a:p>
          </p:txBody>
        </p:sp>
        <p:sp>
          <p:nvSpPr>
            <p:cNvPr id="259" name="Freeform 53"/>
            <p:cNvSpPr>
              <a:spLocks noEditPoints="1"/>
            </p:cNvSpPr>
            <p:nvPr/>
          </p:nvSpPr>
          <p:spPr bwMode="auto">
            <a:xfrm>
              <a:off x="5988050" y="1882775"/>
              <a:ext cx="263525" cy="263525"/>
            </a:xfrm>
            <a:custGeom>
              <a:avLst/>
              <a:gdLst>
                <a:gd name="T0" fmla="*/ 26 w 68"/>
                <a:gd name="T1" fmla="*/ 68 h 68"/>
                <a:gd name="T2" fmla="*/ 24 w 68"/>
                <a:gd name="T3" fmla="*/ 60 h 68"/>
                <a:gd name="T4" fmla="*/ 11 w 68"/>
                <a:gd name="T5" fmla="*/ 59 h 68"/>
                <a:gd name="T6" fmla="*/ 1 w 68"/>
                <a:gd name="T7" fmla="*/ 44 h 68"/>
                <a:gd name="T8" fmla="*/ 1 w 68"/>
                <a:gd name="T9" fmla="*/ 41 h 68"/>
                <a:gd name="T10" fmla="*/ 6 w 68"/>
                <a:gd name="T11" fmla="*/ 30 h 68"/>
                <a:gd name="T12" fmla="*/ 1 w 68"/>
                <a:gd name="T13" fmla="*/ 24 h 68"/>
                <a:gd name="T14" fmla="*/ 10 w 68"/>
                <a:gd name="T15" fmla="*/ 9 h 68"/>
                <a:gd name="T16" fmla="*/ 16 w 68"/>
                <a:gd name="T17" fmla="*/ 12 h 68"/>
                <a:gd name="T18" fmla="*/ 24 w 68"/>
                <a:gd name="T19" fmla="*/ 2 h 68"/>
                <a:gd name="T20" fmla="*/ 42 w 68"/>
                <a:gd name="T21" fmla="*/ 0 h 68"/>
                <a:gd name="T22" fmla="*/ 44 w 68"/>
                <a:gd name="T23" fmla="*/ 8 h 68"/>
                <a:gd name="T24" fmla="*/ 57 w 68"/>
                <a:gd name="T25" fmla="*/ 9 h 68"/>
                <a:gd name="T26" fmla="*/ 67 w 68"/>
                <a:gd name="T27" fmla="*/ 24 h 68"/>
                <a:gd name="T28" fmla="*/ 62 w 68"/>
                <a:gd name="T29" fmla="*/ 30 h 68"/>
                <a:gd name="T30" fmla="*/ 67 w 68"/>
                <a:gd name="T31" fmla="*/ 41 h 68"/>
                <a:gd name="T32" fmla="*/ 67 w 68"/>
                <a:gd name="T33" fmla="*/ 44 h 68"/>
                <a:gd name="T34" fmla="*/ 58 w 68"/>
                <a:gd name="T35" fmla="*/ 59 h 68"/>
                <a:gd name="T36" fmla="*/ 52 w 68"/>
                <a:gd name="T37" fmla="*/ 56 h 68"/>
                <a:gd name="T38" fmla="*/ 44 w 68"/>
                <a:gd name="T39" fmla="*/ 66 h 68"/>
                <a:gd name="T40" fmla="*/ 28 w 68"/>
                <a:gd name="T41" fmla="*/ 64 h 68"/>
                <a:gd name="T42" fmla="*/ 40 w 68"/>
                <a:gd name="T43" fmla="*/ 59 h 68"/>
                <a:gd name="T44" fmla="*/ 50 w 68"/>
                <a:gd name="T45" fmla="*/ 52 h 68"/>
                <a:gd name="T46" fmla="*/ 57 w 68"/>
                <a:gd name="T47" fmla="*/ 54 h 68"/>
                <a:gd name="T48" fmla="*/ 58 w 68"/>
                <a:gd name="T49" fmla="*/ 41 h 68"/>
                <a:gd name="T50" fmla="*/ 57 w 68"/>
                <a:gd name="T51" fmla="*/ 29 h 68"/>
                <a:gd name="T52" fmla="*/ 63 w 68"/>
                <a:gd name="T53" fmla="*/ 24 h 68"/>
                <a:gd name="T54" fmla="*/ 52 w 68"/>
                <a:gd name="T55" fmla="*/ 16 h 68"/>
                <a:gd name="T56" fmla="*/ 41 w 68"/>
                <a:gd name="T57" fmla="*/ 11 h 68"/>
                <a:gd name="T58" fmla="*/ 40 w 68"/>
                <a:gd name="T59" fmla="*/ 4 h 68"/>
                <a:gd name="T60" fmla="*/ 28 w 68"/>
                <a:gd name="T61" fmla="*/ 9 h 68"/>
                <a:gd name="T62" fmla="*/ 18 w 68"/>
                <a:gd name="T63" fmla="*/ 16 h 68"/>
                <a:gd name="T64" fmla="*/ 11 w 68"/>
                <a:gd name="T65" fmla="*/ 14 h 68"/>
                <a:gd name="T66" fmla="*/ 10 w 68"/>
                <a:gd name="T67" fmla="*/ 27 h 68"/>
                <a:gd name="T68" fmla="*/ 11 w 68"/>
                <a:gd name="T69" fmla="*/ 39 h 68"/>
                <a:gd name="T70" fmla="*/ 5 w 68"/>
                <a:gd name="T71" fmla="*/ 44 h 68"/>
                <a:gd name="T72" fmla="*/ 16 w 68"/>
                <a:gd name="T73" fmla="*/ 52 h 68"/>
                <a:gd name="T74" fmla="*/ 27 w 68"/>
                <a:gd name="T75" fmla="*/ 57 h 68"/>
                <a:gd name="T76" fmla="*/ 28 w 68"/>
                <a:gd name="T77" fmla="*/ 64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68" h="68">
                  <a:moveTo>
                    <a:pt x="42" y="68"/>
                  </a:moveTo>
                  <a:cubicBezTo>
                    <a:pt x="26" y="68"/>
                    <a:pt x="26" y="68"/>
                    <a:pt x="26" y="68"/>
                  </a:cubicBezTo>
                  <a:cubicBezTo>
                    <a:pt x="25" y="68"/>
                    <a:pt x="24" y="67"/>
                    <a:pt x="24" y="66"/>
                  </a:cubicBezTo>
                  <a:cubicBezTo>
                    <a:pt x="24" y="60"/>
                    <a:pt x="24" y="60"/>
                    <a:pt x="24" y="60"/>
                  </a:cubicBezTo>
                  <a:cubicBezTo>
                    <a:pt x="21" y="59"/>
                    <a:pt x="19" y="58"/>
                    <a:pt x="16" y="56"/>
                  </a:cubicBezTo>
                  <a:cubicBezTo>
                    <a:pt x="11" y="59"/>
                    <a:pt x="11" y="59"/>
                    <a:pt x="11" y="59"/>
                  </a:cubicBezTo>
                  <a:cubicBezTo>
                    <a:pt x="10" y="59"/>
                    <a:pt x="9" y="59"/>
                    <a:pt x="9" y="58"/>
                  </a:cubicBezTo>
                  <a:cubicBezTo>
                    <a:pt x="1" y="44"/>
                    <a:pt x="1" y="44"/>
                    <a:pt x="1" y="44"/>
                  </a:cubicBezTo>
                  <a:cubicBezTo>
                    <a:pt x="0" y="44"/>
                    <a:pt x="0" y="43"/>
                    <a:pt x="0" y="43"/>
                  </a:cubicBezTo>
                  <a:cubicBezTo>
                    <a:pt x="0" y="42"/>
                    <a:pt x="1" y="42"/>
                    <a:pt x="1" y="41"/>
                  </a:cubicBezTo>
                  <a:cubicBezTo>
                    <a:pt x="6" y="38"/>
                    <a:pt x="6" y="38"/>
                    <a:pt x="6" y="38"/>
                  </a:cubicBezTo>
                  <a:cubicBezTo>
                    <a:pt x="6" y="35"/>
                    <a:pt x="6" y="33"/>
                    <a:pt x="6" y="30"/>
                  </a:cubicBezTo>
                  <a:cubicBezTo>
                    <a:pt x="1" y="27"/>
                    <a:pt x="1" y="27"/>
                    <a:pt x="1" y="27"/>
                  </a:cubicBezTo>
                  <a:cubicBezTo>
                    <a:pt x="0" y="26"/>
                    <a:pt x="0" y="25"/>
                    <a:pt x="1" y="24"/>
                  </a:cubicBezTo>
                  <a:cubicBezTo>
                    <a:pt x="9" y="10"/>
                    <a:pt x="9" y="10"/>
                    <a:pt x="9" y="10"/>
                  </a:cubicBezTo>
                  <a:cubicBezTo>
                    <a:pt x="9" y="10"/>
                    <a:pt x="9" y="9"/>
                    <a:pt x="10" y="9"/>
                  </a:cubicBezTo>
                  <a:cubicBezTo>
                    <a:pt x="10" y="9"/>
                    <a:pt x="11" y="9"/>
                    <a:pt x="11" y="9"/>
                  </a:cubicBezTo>
                  <a:cubicBezTo>
                    <a:pt x="16" y="12"/>
                    <a:pt x="16" y="12"/>
                    <a:pt x="16" y="12"/>
                  </a:cubicBezTo>
                  <a:cubicBezTo>
                    <a:pt x="19" y="10"/>
                    <a:pt x="21" y="9"/>
                    <a:pt x="24" y="8"/>
                  </a:cubicBezTo>
                  <a:cubicBezTo>
                    <a:pt x="24" y="2"/>
                    <a:pt x="24" y="2"/>
                    <a:pt x="24" y="2"/>
                  </a:cubicBezTo>
                  <a:cubicBezTo>
                    <a:pt x="24" y="1"/>
                    <a:pt x="25" y="0"/>
                    <a:pt x="26" y="0"/>
                  </a:cubicBezTo>
                  <a:cubicBezTo>
                    <a:pt x="42" y="0"/>
                    <a:pt x="42" y="0"/>
                    <a:pt x="42" y="0"/>
                  </a:cubicBezTo>
                  <a:cubicBezTo>
                    <a:pt x="43" y="0"/>
                    <a:pt x="44" y="1"/>
                    <a:pt x="44" y="2"/>
                  </a:cubicBezTo>
                  <a:cubicBezTo>
                    <a:pt x="44" y="8"/>
                    <a:pt x="44" y="8"/>
                    <a:pt x="44" y="8"/>
                  </a:cubicBezTo>
                  <a:cubicBezTo>
                    <a:pt x="47" y="9"/>
                    <a:pt x="49" y="10"/>
                    <a:pt x="52" y="12"/>
                  </a:cubicBezTo>
                  <a:cubicBezTo>
                    <a:pt x="57" y="9"/>
                    <a:pt x="57" y="9"/>
                    <a:pt x="57" y="9"/>
                  </a:cubicBezTo>
                  <a:cubicBezTo>
                    <a:pt x="58" y="9"/>
                    <a:pt x="59" y="9"/>
                    <a:pt x="59" y="10"/>
                  </a:cubicBezTo>
                  <a:cubicBezTo>
                    <a:pt x="67" y="24"/>
                    <a:pt x="67" y="24"/>
                    <a:pt x="67" y="24"/>
                  </a:cubicBezTo>
                  <a:cubicBezTo>
                    <a:pt x="68" y="25"/>
                    <a:pt x="68" y="26"/>
                    <a:pt x="67" y="27"/>
                  </a:cubicBezTo>
                  <a:cubicBezTo>
                    <a:pt x="62" y="30"/>
                    <a:pt x="62" y="30"/>
                    <a:pt x="62" y="30"/>
                  </a:cubicBezTo>
                  <a:cubicBezTo>
                    <a:pt x="62" y="33"/>
                    <a:pt x="62" y="35"/>
                    <a:pt x="62" y="38"/>
                  </a:cubicBezTo>
                  <a:cubicBezTo>
                    <a:pt x="67" y="41"/>
                    <a:pt x="67" y="41"/>
                    <a:pt x="67" y="41"/>
                  </a:cubicBezTo>
                  <a:cubicBezTo>
                    <a:pt x="67" y="42"/>
                    <a:pt x="68" y="42"/>
                    <a:pt x="68" y="43"/>
                  </a:cubicBezTo>
                  <a:cubicBezTo>
                    <a:pt x="68" y="43"/>
                    <a:pt x="68" y="44"/>
                    <a:pt x="67" y="44"/>
                  </a:cubicBezTo>
                  <a:cubicBezTo>
                    <a:pt x="59" y="58"/>
                    <a:pt x="59" y="58"/>
                    <a:pt x="59" y="58"/>
                  </a:cubicBezTo>
                  <a:cubicBezTo>
                    <a:pt x="59" y="58"/>
                    <a:pt x="59" y="59"/>
                    <a:pt x="58" y="59"/>
                  </a:cubicBezTo>
                  <a:cubicBezTo>
                    <a:pt x="58" y="59"/>
                    <a:pt x="57" y="59"/>
                    <a:pt x="57" y="59"/>
                  </a:cubicBezTo>
                  <a:cubicBezTo>
                    <a:pt x="52" y="56"/>
                    <a:pt x="52" y="56"/>
                    <a:pt x="52" y="56"/>
                  </a:cubicBezTo>
                  <a:cubicBezTo>
                    <a:pt x="49" y="58"/>
                    <a:pt x="47" y="59"/>
                    <a:pt x="44" y="60"/>
                  </a:cubicBezTo>
                  <a:cubicBezTo>
                    <a:pt x="44" y="66"/>
                    <a:pt x="44" y="66"/>
                    <a:pt x="44" y="66"/>
                  </a:cubicBezTo>
                  <a:cubicBezTo>
                    <a:pt x="44" y="67"/>
                    <a:pt x="43" y="68"/>
                    <a:pt x="42" y="68"/>
                  </a:cubicBezTo>
                  <a:close/>
                  <a:moveTo>
                    <a:pt x="28" y="64"/>
                  </a:moveTo>
                  <a:cubicBezTo>
                    <a:pt x="40" y="64"/>
                    <a:pt x="40" y="64"/>
                    <a:pt x="40" y="64"/>
                  </a:cubicBezTo>
                  <a:cubicBezTo>
                    <a:pt x="40" y="59"/>
                    <a:pt x="40" y="59"/>
                    <a:pt x="40" y="59"/>
                  </a:cubicBezTo>
                  <a:cubicBezTo>
                    <a:pt x="40" y="58"/>
                    <a:pt x="41" y="57"/>
                    <a:pt x="41" y="57"/>
                  </a:cubicBezTo>
                  <a:cubicBezTo>
                    <a:pt x="45" y="56"/>
                    <a:pt x="48" y="54"/>
                    <a:pt x="50" y="52"/>
                  </a:cubicBezTo>
                  <a:cubicBezTo>
                    <a:pt x="51" y="51"/>
                    <a:pt x="52" y="51"/>
                    <a:pt x="52" y="52"/>
                  </a:cubicBezTo>
                  <a:cubicBezTo>
                    <a:pt x="57" y="54"/>
                    <a:pt x="57" y="54"/>
                    <a:pt x="57" y="54"/>
                  </a:cubicBezTo>
                  <a:cubicBezTo>
                    <a:pt x="63" y="44"/>
                    <a:pt x="63" y="44"/>
                    <a:pt x="63" y="44"/>
                  </a:cubicBezTo>
                  <a:cubicBezTo>
                    <a:pt x="58" y="41"/>
                    <a:pt x="58" y="41"/>
                    <a:pt x="58" y="41"/>
                  </a:cubicBezTo>
                  <a:cubicBezTo>
                    <a:pt x="58" y="41"/>
                    <a:pt x="57" y="40"/>
                    <a:pt x="57" y="39"/>
                  </a:cubicBezTo>
                  <a:cubicBezTo>
                    <a:pt x="58" y="36"/>
                    <a:pt x="58" y="32"/>
                    <a:pt x="57" y="29"/>
                  </a:cubicBezTo>
                  <a:cubicBezTo>
                    <a:pt x="57" y="28"/>
                    <a:pt x="58" y="27"/>
                    <a:pt x="58" y="27"/>
                  </a:cubicBezTo>
                  <a:cubicBezTo>
                    <a:pt x="63" y="24"/>
                    <a:pt x="63" y="24"/>
                    <a:pt x="63" y="24"/>
                  </a:cubicBezTo>
                  <a:cubicBezTo>
                    <a:pt x="57" y="14"/>
                    <a:pt x="57" y="14"/>
                    <a:pt x="57" y="14"/>
                  </a:cubicBezTo>
                  <a:cubicBezTo>
                    <a:pt x="52" y="16"/>
                    <a:pt x="52" y="16"/>
                    <a:pt x="52" y="16"/>
                  </a:cubicBezTo>
                  <a:cubicBezTo>
                    <a:pt x="52" y="17"/>
                    <a:pt x="51" y="17"/>
                    <a:pt x="50" y="16"/>
                  </a:cubicBezTo>
                  <a:cubicBezTo>
                    <a:pt x="48" y="14"/>
                    <a:pt x="45" y="12"/>
                    <a:pt x="41" y="11"/>
                  </a:cubicBezTo>
                  <a:cubicBezTo>
                    <a:pt x="41" y="11"/>
                    <a:pt x="40" y="10"/>
                    <a:pt x="40" y="9"/>
                  </a:cubicBezTo>
                  <a:cubicBezTo>
                    <a:pt x="40" y="4"/>
                    <a:pt x="40" y="4"/>
                    <a:pt x="40" y="4"/>
                  </a:cubicBezTo>
                  <a:cubicBezTo>
                    <a:pt x="28" y="4"/>
                    <a:pt x="28" y="4"/>
                    <a:pt x="28" y="4"/>
                  </a:cubicBezTo>
                  <a:cubicBezTo>
                    <a:pt x="28" y="9"/>
                    <a:pt x="28" y="9"/>
                    <a:pt x="28" y="9"/>
                  </a:cubicBezTo>
                  <a:cubicBezTo>
                    <a:pt x="28" y="10"/>
                    <a:pt x="27" y="11"/>
                    <a:pt x="27" y="11"/>
                  </a:cubicBezTo>
                  <a:cubicBezTo>
                    <a:pt x="23" y="12"/>
                    <a:pt x="20" y="14"/>
                    <a:pt x="18" y="16"/>
                  </a:cubicBezTo>
                  <a:cubicBezTo>
                    <a:pt x="17" y="17"/>
                    <a:pt x="16" y="17"/>
                    <a:pt x="16" y="16"/>
                  </a:cubicBezTo>
                  <a:cubicBezTo>
                    <a:pt x="11" y="14"/>
                    <a:pt x="11" y="14"/>
                    <a:pt x="11" y="14"/>
                  </a:cubicBezTo>
                  <a:cubicBezTo>
                    <a:pt x="5" y="24"/>
                    <a:pt x="5" y="24"/>
                    <a:pt x="5" y="24"/>
                  </a:cubicBezTo>
                  <a:cubicBezTo>
                    <a:pt x="10" y="27"/>
                    <a:pt x="10" y="27"/>
                    <a:pt x="10" y="27"/>
                  </a:cubicBezTo>
                  <a:cubicBezTo>
                    <a:pt x="10" y="27"/>
                    <a:pt x="11" y="28"/>
                    <a:pt x="11" y="29"/>
                  </a:cubicBezTo>
                  <a:cubicBezTo>
                    <a:pt x="10" y="32"/>
                    <a:pt x="10" y="36"/>
                    <a:pt x="11" y="39"/>
                  </a:cubicBezTo>
                  <a:cubicBezTo>
                    <a:pt x="11" y="40"/>
                    <a:pt x="10" y="41"/>
                    <a:pt x="10" y="41"/>
                  </a:cubicBezTo>
                  <a:cubicBezTo>
                    <a:pt x="5" y="44"/>
                    <a:pt x="5" y="44"/>
                    <a:pt x="5" y="44"/>
                  </a:cubicBezTo>
                  <a:cubicBezTo>
                    <a:pt x="11" y="54"/>
                    <a:pt x="11" y="54"/>
                    <a:pt x="11" y="54"/>
                  </a:cubicBezTo>
                  <a:cubicBezTo>
                    <a:pt x="16" y="52"/>
                    <a:pt x="16" y="52"/>
                    <a:pt x="16" y="52"/>
                  </a:cubicBezTo>
                  <a:cubicBezTo>
                    <a:pt x="16" y="51"/>
                    <a:pt x="17" y="51"/>
                    <a:pt x="18" y="52"/>
                  </a:cubicBezTo>
                  <a:cubicBezTo>
                    <a:pt x="20" y="54"/>
                    <a:pt x="23" y="56"/>
                    <a:pt x="27" y="57"/>
                  </a:cubicBezTo>
                  <a:cubicBezTo>
                    <a:pt x="27" y="57"/>
                    <a:pt x="28" y="58"/>
                    <a:pt x="28" y="59"/>
                  </a:cubicBezTo>
                  <a:lnTo>
                    <a:pt x="28" y="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ndParaRPr>
            </a:p>
          </p:txBody>
        </p:sp>
        <p:sp>
          <p:nvSpPr>
            <p:cNvPr id="260" name="Freeform 54"/>
            <p:cNvSpPr>
              <a:spLocks noEditPoints="1"/>
            </p:cNvSpPr>
            <p:nvPr/>
          </p:nvSpPr>
          <p:spPr bwMode="auto">
            <a:xfrm>
              <a:off x="6251575" y="1820863"/>
              <a:ext cx="61913" cy="61913"/>
            </a:xfrm>
            <a:custGeom>
              <a:avLst/>
              <a:gdLst>
                <a:gd name="T0" fmla="*/ 8 w 16"/>
                <a:gd name="T1" fmla="*/ 16 h 16"/>
                <a:gd name="T2" fmla="*/ 0 w 16"/>
                <a:gd name="T3" fmla="*/ 8 h 16"/>
                <a:gd name="T4" fmla="*/ 8 w 16"/>
                <a:gd name="T5" fmla="*/ 0 h 16"/>
                <a:gd name="T6" fmla="*/ 16 w 16"/>
                <a:gd name="T7" fmla="*/ 8 h 16"/>
                <a:gd name="T8" fmla="*/ 8 w 16"/>
                <a:gd name="T9" fmla="*/ 16 h 16"/>
                <a:gd name="T10" fmla="*/ 8 w 16"/>
                <a:gd name="T11" fmla="*/ 4 h 16"/>
                <a:gd name="T12" fmla="*/ 4 w 16"/>
                <a:gd name="T13" fmla="*/ 8 h 16"/>
                <a:gd name="T14" fmla="*/ 8 w 16"/>
                <a:gd name="T15" fmla="*/ 12 h 16"/>
                <a:gd name="T16" fmla="*/ 12 w 16"/>
                <a:gd name="T17" fmla="*/ 8 h 16"/>
                <a:gd name="T18" fmla="*/ 8 w 16"/>
                <a:gd name="T19" fmla="*/ 4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 h="16">
                  <a:moveTo>
                    <a:pt x="8" y="16"/>
                  </a:moveTo>
                  <a:cubicBezTo>
                    <a:pt x="4" y="16"/>
                    <a:pt x="0" y="12"/>
                    <a:pt x="0" y="8"/>
                  </a:cubicBezTo>
                  <a:cubicBezTo>
                    <a:pt x="0" y="4"/>
                    <a:pt x="4" y="0"/>
                    <a:pt x="8" y="0"/>
                  </a:cubicBezTo>
                  <a:cubicBezTo>
                    <a:pt x="12" y="0"/>
                    <a:pt x="16" y="4"/>
                    <a:pt x="16" y="8"/>
                  </a:cubicBezTo>
                  <a:cubicBezTo>
                    <a:pt x="16" y="12"/>
                    <a:pt x="12" y="16"/>
                    <a:pt x="8" y="16"/>
                  </a:cubicBezTo>
                  <a:close/>
                  <a:moveTo>
                    <a:pt x="8" y="4"/>
                  </a:moveTo>
                  <a:cubicBezTo>
                    <a:pt x="6" y="4"/>
                    <a:pt x="4" y="6"/>
                    <a:pt x="4" y="8"/>
                  </a:cubicBezTo>
                  <a:cubicBezTo>
                    <a:pt x="4" y="10"/>
                    <a:pt x="6" y="12"/>
                    <a:pt x="8" y="12"/>
                  </a:cubicBezTo>
                  <a:cubicBezTo>
                    <a:pt x="10" y="12"/>
                    <a:pt x="12" y="10"/>
                    <a:pt x="12" y="8"/>
                  </a:cubicBezTo>
                  <a:cubicBezTo>
                    <a:pt x="12" y="6"/>
                    <a:pt x="10" y="4"/>
                    <a:pt x="8"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ndParaRPr>
            </a:p>
          </p:txBody>
        </p:sp>
        <p:sp>
          <p:nvSpPr>
            <p:cNvPr id="261" name="Freeform 55"/>
            <p:cNvSpPr>
              <a:spLocks noEditPoints="1"/>
            </p:cNvSpPr>
            <p:nvPr/>
          </p:nvSpPr>
          <p:spPr bwMode="auto">
            <a:xfrm>
              <a:off x="6205538" y="1774825"/>
              <a:ext cx="153988" cy="155575"/>
            </a:xfrm>
            <a:custGeom>
              <a:avLst/>
              <a:gdLst>
                <a:gd name="T0" fmla="*/ 16 w 40"/>
                <a:gd name="T1" fmla="*/ 40 h 40"/>
                <a:gd name="T2" fmla="*/ 14 w 40"/>
                <a:gd name="T3" fmla="*/ 35 h 40"/>
                <a:gd name="T4" fmla="*/ 7 w 40"/>
                <a:gd name="T5" fmla="*/ 34 h 40"/>
                <a:gd name="T6" fmla="*/ 5 w 40"/>
                <a:gd name="T7" fmla="*/ 33 h 40"/>
                <a:gd name="T8" fmla="*/ 1 w 40"/>
                <a:gd name="T9" fmla="*/ 24 h 40"/>
                <a:gd name="T10" fmla="*/ 4 w 40"/>
                <a:gd name="T11" fmla="*/ 18 h 40"/>
                <a:gd name="T12" fmla="*/ 0 w 40"/>
                <a:gd name="T13" fmla="*/ 15 h 40"/>
                <a:gd name="T14" fmla="*/ 5 w 40"/>
                <a:gd name="T15" fmla="*/ 7 h 40"/>
                <a:gd name="T16" fmla="*/ 7 w 40"/>
                <a:gd name="T17" fmla="*/ 6 h 40"/>
                <a:gd name="T18" fmla="*/ 14 w 40"/>
                <a:gd name="T19" fmla="*/ 5 h 40"/>
                <a:gd name="T20" fmla="*/ 16 w 40"/>
                <a:gd name="T21" fmla="*/ 0 h 40"/>
                <a:gd name="T22" fmla="*/ 26 w 40"/>
                <a:gd name="T23" fmla="*/ 2 h 40"/>
                <a:gd name="T24" fmla="*/ 30 w 40"/>
                <a:gd name="T25" fmla="*/ 7 h 40"/>
                <a:gd name="T26" fmla="*/ 34 w 40"/>
                <a:gd name="T27" fmla="*/ 6 h 40"/>
                <a:gd name="T28" fmla="*/ 39 w 40"/>
                <a:gd name="T29" fmla="*/ 13 h 40"/>
                <a:gd name="T30" fmla="*/ 36 w 40"/>
                <a:gd name="T31" fmla="*/ 18 h 40"/>
                <a:gd name="T32" fmla="*/ 39 w 40"/>
                <a:gd name="T33" fmla="*/ 24 h 40"/>
                <a:gd name="T34" fmla="*/ 35 w 40"/>
                <a:gd name="T35" fmla="*/ 33 h 40"/>
                <a:gd name="T36" fmla="*/ 33 w 40"/>
                <a:gd name="T37" fmla="*/ 34 h 40"/>
                <a:gd name="T38" fmla="*/ 26 w 40"/>
                <a:gd name="T39" fmla="*/ 35 h 40"/>
                <a:gd name="T40" fmla="*/ 24 w 40"/>
                <a:gd name="T41" fmla="*/ 40 h 40"/>
                <a:gd name="T42" fmla="*/ 22 w 40"/>
                <a:gd name="T43" fmla="*/ 36 h 40"/>
                <a:gd name="T44" fmla="*/ 23 w 40"/>
                <a:gd name="T45" fmla="*/ 31 h 40"/>
                <a:gd name="T46" fmla="*/ 31 w 40"/>
                <a:gd name="T47" fmla="*/ 28 h 40"/>
                <a:gd name="T48" fmla="*/ 35 w 40"/>
                <a:gd name="T49" fmla="*/ 26 h 40"/>
                <a:gd name="T50" fmla="*/ 32 w 40"/>
                <a:gd name="T51" fmla="*/ 23 h 40"/>
                <a:gd name="T52" fmla="*/ 33 w 40"/>
                <a:gd name="T53" fmla="*/ 15 h 40"/>
                <a:gd name="T54" fmla="*/ 33 w 40"/>
                <a:gd name="T55" fmla="*/ 10 h 40"/>
                <a:gd name="T56" fmla="*/ 28 w 40"/>
                <a:gd name="T57" fmla="*/ 11 h 40"/>
                <a:gd name="T58" fmla="*/ 22 w 40"/>
                <a:gd name="T59" fmla="*/ 7 h 40"/>
                <a:gd name="T60" fmla="*/ 18 w 40"/>
                <a:gd name="T61" fmla="*/ 4 h 40"/>
                <a:gd name="T62" fmla="*/ 17 w 40"/>
                <a:gd name="T63" fmla="*/ 9 h 40"/>
                <a:gd name="T64" fmla="*/ 9 w 40"/>
                <a:gd name="T65" fmla="*/ 12 h 40"/>
                <a:gd name="T66" fmla="*/ 5 w 40"/>
                <a:gd name="T67" fmla="*/ 14 h 40"/>
                <a:gd name="T68" fmla="*/ 8 w 40"/>
                <a:gd name="T69" fmla="*/ 17 h 40"/>
                <a:gd name="T70" fmla="*/ 7 w 40"/>
                <a:gd name="T71" fmla="*/ 25 h 40"/>
                <a:gd name="T72" fmla="*/ 7 w 40"/>
                <a:gd name="T73" fmla="*/ 30 h 40"/>
                <a:gd name="T74" fmla="*/ 12 w 40"/>
                <a:gd name="T75" fmla="*/ 29 h 40"/>
                <a:gd name="T76" fmla="*/ 18 w 40"/>
                <a:gd name="T77" fmla="*/ 33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0" h="40">
                  <a:moveTo>
                    <a:pt x="24" y="40"/>
                  </a:moveTo>
                  <a:cubicBezTo>
                    <a:pt x="16" y="40"/>
                    <a:pt x="16" y="40"/>
                    <a:pt x="16" y="40"/>
                  </a:cubicBezTo>
                  <a:cubicBezTo>
                    <a:pt x="15" y="40"/>
                    <a:pt x="14" y="39"/>
                    <a:pt x="14" y="38"/>
                  </a:cubicBezTo>
                  <a:cubicBezTo>
                    <a:pt x="14" y="35"/>
                    <a:pt x="14" y="35"/>
                    <a:pt x="14" y="35"/>
                  </a:cubicBezTo>
                  <a:cubicBezTo>
                    <a:pt x="13" y="34"/>
                    <a:pt x="11" y="34"/>
                    <a:pt x="10" y="33"/>
                  </a:cubicBezTo>
                  <a:cubicBezTo>
                    <a:pt x="7" y="34"/>
                    <a:pt x="7" y="34"/>
                    <a:pt x="7" y="34"/>
                  </a:cubicBezTo>
                  <a:cubicBezTo>
                    <a:pt x="7" y="34"/>
                    <a:pt x="6" y="35"/>
                    <a:pt x="6" y="34"/>
                  </a:cubicBezTo>
                  <a:cubicBezTo>
                    <a:pt x="5" y="34"/>
                    <a:pt x="5" y="34"/>
                    <a:pt x="5" y="33"/>
                  </a:cubicBezTo>
                  <a:cubicBezTo>
                    <a:pt x="1" y="27"/>
                    <a:pt x="1" y="27"/>
                    <a:pt x="1" y="27"/>
                  </a:cubicBezTo>
                  <a:cubicBezTo>
                    <a:pt x="0" y="26"/>
                    <a:pt x="0" y="24"/>
                    <a:pt x="1" y="24"/>
                  </a:cubicBezTo>
                  <a:cubicBezTo>
                    <a:pt x="4" y="22"/>
                    <a:pt x="4" y="22"/>
                    <a:pt x="4" y="22"/>
                  </a:cubicBezTo>
                  <a:cubicBezTo>
                    <a:pt x="4" y="21"/>
                    <a:pt x="4" y="19"/>
                    <a:pt x="4" y="18"/>
                  </a:cubicBezTo>
                  <a:cubicBezTo>
                    <a:pt x="1" y="16"/>
                    <a:pt x="1" y="16"/>
                    <a:pt x="1" y="16"/>
                  </a:cubicBezTo>
                  <a:cubicBezTo>
                    <a:pt x="1" y="16"/>
                    <a:pt x="1" y="15"/>
                    <a:pt x="0" y="15"/>
                  </a:cubicBezTo>
                  <a:cubicBezTo>
                    <a:pt x="0" y="14"/>
                    <a:pt x="0" y="14"/>
                    <a:pt x="1" y="13"/>
                  </a:cubicBezTo>
                  <a:cubicBezTo>
                    <a:pt x="5" y="7"/>
                    <a:pt x="5" y="7"/>
                    <a:pt x="5" y="7"/>
                  </a:cubicBezTo>
                  <a:cubicBezTo>
                    <a:pt x="5" y="6"/>
                    <a:pt x="5" y="6"/>
                    <a:pt x="6" y="6"/>
                  </a:cubicBezTo>
                  <a:cubicBezTo>
                    <a:pt x="6" y="5"/>
                    <a:pt x="7" y="6"/>
                    <a:pt x="7" y="6"/>
                  </a:cubicBezTo>
                  <a:cubicBezTo>
                    <a:pt x="10" y="7"/>
                    <a:pt x="10" y="7"/>
                    <a:pt x="10" y="7"/>
                  </a:cubicBezTo>
                  <a:cubicBezTo>
                    <a:pt x="11" y="7"/>
                    <a:pt x="13" y="6"/>
                    <a:pt x="14" y="5"/>
                  </a:cubicBezTo>
                  <a:cubicBezTo>
                    <a:pt x="14" y="2"/>
                    <a:pt x="14" y="2"/>
                    <a:pt x="14" y="2"/>
                  </a:cubicBezTo>
                  <a:cubicBezTo>
                    <a:pt x="14" y="1"/>
                    <a:pt x="15" y="0"/>
                    <a:pt x="16" y="0"/>
                  </a:cubicBezTo>
                  <a:cubicBezTo>
                    <a:pt x="24" y="0"/>
                    <a:pt x="24" y="0"/>
                    <a:pt x="24" y="0"/>
                  </a:cubicBezTo>
                  <a:cubicBezTo>
                    <a:pt x="25" y="0"/>
                    <a:pt x="26" y="1"/>
                    <a:pt x="26" y="2"/>
                  </a:cubicBezTo>
                  <a:cubicBezTo>
                    <a:pt x="26" y="5"/>
                    <a:pt x="26" y="5"/>
                    <a:pt x="26" y="5"/>
                  </a:cubicBezTo>
                  <a:cubicBezTo>
                    <a:pt x="27" y="6"/>
                    <a:pt x="29" y="6"/>
                    <a:pt x="30" y="7"/>
                  </a:cubicBezTo>
                  <a:cubicBezTo>
                    <a:pt x="33" y="6"/>
                    <a:pt x="33" y="6"/>
                    <a:pt x="33" y="6"/>
                  </a:cubicBezTo>
                  <a:cubicBezTo>
                    <a:pt x="33" y="6"/>
                    <a:pt x="34" y="5"/>
                    <a:pt x="34" y="6"/>
                  </a:cubicBezTo>
                  <a:cubicBezTo>
                    <a:pt x="35" y="6"/>
                    <a:pt x="35" y="6"/>
                    <a:pt x="35" y="7"/>
                  </a:cubicBezTo>
                  <a:cubicBezTo>
                    <a:pt x="39" y="13"/>
                    <a:pt x="39" y="13"/>
                    <a:pt x="39" y="13"/>
                  </a:cubicBezTo>
                  <a:cubicBezTo>
                    <a:pt x="40" y="14"/>
                    <a:pt x="40" y="16"/>
                    <a:pt x="39" y="16"/>
                  </a:cubicBezTo>
                  <a:cubicBezTo>
                    <a:pt x="36" y="18"/>
                    <a:pt x="36" y="18"/>
                    <a:pt x="36" y="18"/>
                  </a:cubicBezTo>
                  <a:cubicBezTo>
                    <a:pt x="36" y="19"/>
                    <a:pt x="36" y="21"/>
                    <a:pt x="36" y="22"/>
                  </a:cubicBezTo>
                  <a:cubicBezTo>
                    <a:pt x="39" y="24"/>
                    <a:pt x="39" y="24"/>
                    <a:pt x="39" y="24"/>
                  </a:cubicBezTo>
                  <a:cubicBezTo>
                    <a:pt x="40" y="24"/>
                    <a:pt x="40" y="26"/>
                    <a:pt x="39" y="27"/>
                  </a:cubicBezTo>
                  <a:cubicBezTo>
                    <a:pt x="35" y="33"/>
                    <a:pt x="35" y="33"/>
                    <a:pt x="35" y="33"/>
                  </a:cubicBezTo>
                  <a:cubicBezTo>
                    <a:pt x="35" y="34"/>
                    <a:pt x="35" y="34"/>
                    <a:pt x="34" y="34"/>
                  </a:cubicBezTo>
                  <a:cubicBezTo>
                    <a:pt x="34" y="35"/>
                    <a:pt x="33" y="34"/>
                    <a:pt x="33" y="34"/>
                  </a:cubicBezTo>
                  <a:cubicBezTo>
                    <a:pt x="30" y="33"/>
                    <a:pt x="30" y="33"/>
                    <a:pt x="30" y="33"/>
                  </a:cubicBezTo>
                  <a:cubicBezTo>
                    <a:pt x="29" y="33"/>
                    <a:pt x="27" y="34"/>
                    <a:pt x="26" y="35"/>
                  </a:cubicBezTo>
                  <a:cubicBezTo>
                    <a:pt x="26" y="38"/>
                    <a:pt x="26" y="38"/>
                    <a:pt x="26" y="38"/>
                  </a:cubicBezTo>
                  <a:cubicBezTo>
                    <a:pt x="26" y="39"/>
                    <a:pt x="25" y="40"/>
                    <a:pt x="24" y="40"/>
                  </a:cubicBezTo>
                  <a:close/>
                  <a:moveTo>
                    <a:pt x="18" y="36"/>
                  </a:moveTo>
                  <a:cubicBezTo>
                    <a:pt x="22" y="36"/>
                    <a:pt x="22" y="36"/>
                    <a:pt x="22" y="36"/>
                  </a:cubicBezTo>
                  <a:cubicBezTo>
                    <a:pt x="22" y="33"/>
                    <a:pt x="22" y="33"/>
                    <a:pt x="22" y="33"/>
                  </a:cubicBezTo>
                  <a:cubicBezTo>
                    <a:pt x="22" y="32"/>
                    <a:pt x="23" y="32"/>
                    <a:pt x="23" y="31"/>
                  </a:cubicBezTo>
                  <a:cubicBezTo>
                    <a:pt x="25" y="31"/>
                    <a:pt x="27" y="30"/>
                    <a:pt x="28" y="29"/>
                  </a:cubicBezTo>
                  <a:cubicBezTo>
                    <a:pt x="29" y="28"/>
                    <a:pt x="30" y="28"/>
                    <a:pt x="31" y="28"/>
                  </a:cubicBezTo>
                  <a:cubicBezTo>
                    <a:pt x="33" y="30"/>
                    <a:pt x="33" y="30"/>
                    <a:pt x="33" y="30"/>
                  </a:cubicBezTo>
                  <a:cubicBezTo>
                    <a:pt x="35" y="26"/>
                    <a:pt x="35" y="26"/>
                    <a:pt x="35" y="26"/>
                  </a:cubicBezTo>
                  <a:cubicBezTo>
                    <a:pt x="33" y="25"/>
                    <a:pt x="33" y="25"/>
                    <a:pt x="33" y="25"/>
                  </a:cubicBezTo>
                  <a:cubicBezTo>
                    <a:pt x="32" y="25"/>
                    <a:pt x="31" y="24"/>
                    <a:pt x="32" y="23"/>
                  </a:cubicBezTo>
                  <a:cubicBezTo>
                    <a:pt x="32" y="21"/>
                    <a:pt x="32" y="19"/>
                    <a:pt x="32" y="17"/>
                  </a:cubicBezTo>
                  <a:cubicBezTo>
                    <a:pt x="31" y="16"/>
                    <a:pt x="32" y="15"/>
                    <a:pt x="33" y="15"/>
                  </a:cubicBezTo>
                  <a:cubicBezTo>
                    <a:pt x="35" y="14"/>
                    <a:pt x="35" y="14"/>
                    <a:pt x="35" y="14"/>
                  </a:cubicBezTo>
                  <a:cubicBezTo>
                    <a:pt x="33" y="10"/>
                    <a:pt x="33" y="10"/>
                    <a:pt x="33" y="10"/>
                  </a:cubicBezTo>
                  <a:cubicBezTo>
                    <a:pt x="31" y="12"/>
                    <a:pt x="31" y="12"/>
                    <a:pt x="31" y="12"/>
                  </a:cubicBezTo>
                  <a:cubicBezTo>
                    <a:pt x="30" y="12"/>
                    <a:pt x="29" y="12"/>
                    <a:pt x="28" y="11"/>
                  </a:cubicBezTo>
                  <a:cubicBezTo>
                    <a:pt x="27" y="10"/>
                    <a:pt x="25" y="9"/>
                    <a:pt x="23" y="9"/>
                  </a:cubicBezTo>
                  <a:cubicBezTo>
                    <a:pt x="23" y="8"/>
                    <a:pt x="22" y="8"/>
                    <a:pt x="22" y="7"/>
                  </a:cubicBezTo>
                  <a:cubicBezTo>
                    <a:pt x="22" y="4"/>
                    <a:pt x="22" y="4"/>
                    <a:pt x="22" y="4"/>
                  </a:cubicBezTo>
                  <a:cubicBezTo>
                    <a:pt x="18" y="4"/>
                    <a:pt x="18" y="4"/>
                    <a:pt x="18" y="4"/>
                  </a:cubicBezTo>
                  <a:cubicBezTo>
                    <a:pt x="18" y="7"/>
                    <a:pt x="18" y="7"/>
                    <a:pt x="18" y="7"/>
                  </a:cubicBezTo>
                  <a:cubicBezTo>
                    <a:pt x="18" y="8"/>
                    <a:pt x="17" y="8"/>
                    <a:pt x="17" y="9"/>
                  </a:cubicBezTo>
                  <a:cubicBezTo>
                    <a:pt x="15" y="9"/>
                    <a:pt x="13" y="10"/>
                    <a:pt x="12" y="11"/>
                  </a:cubicBezTo>
                  <a:cubicBezTo>
                    <a:pt x="11" y="12"/>
                    <a:pt x="10" y="12"/>
                    <a:pt x="9" y="12"/>
                  </a:cubicBezTo>
                  <a:cubicBezTo>
                    <a:pt x="7" y="10"/>
                    <a:pt x="7" y="10"/>
                    <a:pt x="7" y="10"/>
                  </a:cubicBezTo>
                  <a:cubicBezTo>
                    <a:pt x="5" y="14"/>
                    <a:pt x="5" y="14"/>
                    <a:pt x="5" y="14"/>
                  </a:cubicBezTo>
                  <a:cubicBezTo>
                    <a:pt x="7" y="15"/>
                    <a:pt x="7" y="15"/>
                    <a:pt x="7" y="15"/>
                  </a:cubicBezTo>
                  <a:cubicBezTo>
                    <a:pt x="8" y="15"/>
                    <a:pt x="9" y="16"/>
                    <a:pt x="8" y="17"/>
                  </a:cubicBezTo>
                  <a:cubicBezTo>
                    <a:pt x="8" y="19"/>
                    <a:pt x="8" y="21"/>
                    <a:pt x="8" y="23"/>
                  </a:cubicBezTo>
                  <a:cubicBezTo>
                    <a:pt x="9" y="24"/>
                    <a:pt x="8" y="24"/>
                    <a:pt x="7" y="25"/>
                  </a:cubicBezTo>
                  <a:cubicBezTo>
                    <a:pt x="5" y="26"/>
                    <a:pt x="5" y="26"/>
                    <a:pt x="5" y="26"/>
                  </a:cubicBezTo>
                  <a:cubicBezTo>
                    <a:pt x="7" y="30"/>
                    <a:pt x="7" y="30"/>
                    <a:pt x="7" y="30"/>
                  </a:cubicBezTo>
                  <a:cubicBezTo>
                    <a:pt x="9" y="28"/>
                    <a:pt x="9" y="28"/>
                    <a:pt x="9" y="28"/>
                  </a:cubicBezTo>
                  <a:cubicBezTo>
                    <a:pt x="10" y="28"/>
                    <a:pt x="11" y="28"/>
                    <a:pt x="12" y="29"/>
                  </a:cubicBezTo>
                  <a:cubicBezTo>
                    <a:pt x="13" y="30"/>
                    <a:pt x="15" y="31"/>
                    <a:pt x="17" y="31"/>
                  </a:cubicBezTo>
                  <a:cubicBezTo>
                    <a:pt x="17" y="32"/>
                    <a:pt x="18" y="33"/>
                    <a:pt x="18" y="33"/>
                  </a:cubicBezTo>
                  <a:lnTo>
                    <a:pt x="18" y="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ndParaRPr>
            </a:p>
          </p:txBody>
        </p:sp>
      </p:grpSp>
      <p:grpSp>
        <p:nvGrpSpPr>
          <p:cNvPr id="262" name="Group 261"/>
          <p:cNvGrpSpPr/>
          <p:nvPr/>
        </p:nvGrpSpPr>
        <p:grpSpPr>
          <a:xfrm>
            <a:off x="1659449" y="1710150"/>
            <a:ext cx="1910806" cy="1067838"/>
            <a:chOff x="1013695" y="2240659"/>
            <a:chExt cx="1532549" cy="856452"/>
          </a:xfrm>
        </p:grpSpPr>
        <p:grpSp>
          <p:nvGrpSpPr>
            <p:cNvPr id="263" name="Group 262"/>
            <p:cNvGrpSpPr/>
            <p:nvPr/>
          </p:nvGrpSpPr>
          <p:grpSpPr>
            <a:xfrm>
              <a:off x="1553008" y="2757488"/>
              <a:ext cx="453923" cy="339623"/>
              <a:chOff x="1553007" y="2757488"/>
              <a:chExt cx="453923" cy="339623"/>
            </a:xfrm>
          </p:grpSpPr>
          <p:cxnSp>
            <p:nvCxnSpPr>
              <p:cNvPr id="265" name="Straight Connector 264"/>
              <p:cNvCxnSpPr/>
              <p:nvPr/>
            </p:nvCxnSpPr>
            <p:spPr>
              <a:xfrm>
                <a:off x="1779969" y="2757488"/>
                <a:ext cx="0" cy="339623"/>
              </a:xfrm>
              <a:prstGeom prst="line">
                <a:avLst/>
              </a:prstGeom>
              <a:noFill/>
              <a:ln w="12700" cap="flat" cmpd="sng" algn="ctr">
                <a:solidFill>
                  <a:sysClr val="windowText" lastClr="000000">
                    <a:lumMod val="65000"/>
                    <a:lumOff val="35000"/>
                  </a:sysClr>
                </a:solidFill>
                <a:prstDash val="solid"/>
                <a:miter lim="800000"/>
              </a:ln>
              <a:effectLst/>
            </p:spPr>
          </p:cxnSp>
          <p:cxnSp>
            <p:nvCxnSpPr>
              <p:cNvPr id="266" name="Straight Connector 265"/>
              <p:cNvCxnSpPr/>
              <p:nvPr/>
            </p:nvCxnSpPr>
            <p:spPr>
              <a:xfrm rot="16200000">
                <a:off x="1779969" y="2530526"/>
                <a:ext cx="0" cy="453923"/>
              </a:xfrm>
              <a:prstGeom prst="line">
                <a:avLst/>
              </a:prstGeom>
              <a:noFill/>
              <a:ln w="12700" cap="flat" cmpd="sng" algn="ctr">
                <a:solidFill>
                  <a:sysClr val="windowText" lastClr="000000">
                    <a:lumMod val="65000"/>
                    <a:lumOff val="35000"/>
                  </a:sysClr>
                </a:solidFill>
                <a:prstDash val="solid"/>
                <a:miter lim="800000"/>
              </a:ln>
              <a:effectLst/>
            </p:spPr>
          </p:cxnSp>
        </p:grpSp>
        <p:sp>
          <p:nvSpPr>
            <p:cNvPr id="264" name="TextBox 263"/>
            <p:cNvSpPr txBox="1"/>
            <p:nvPr/>
          </p:nvSpPr>
          <p:spPr>
            <a:xfrm>
              <a:off x="1013695" y="2240659"/>
              <a:ext cx="1532549" cy="370275"/>
            </a:xfrm>
            <a:prstGeom prst="rect">
              <a:avLst/>
            </a:prstGeom>
            <a:noFill/>
            <a:ln w="6350">
              <a:noFill/>
              <a:prstDash val="dash"/>
            </a:ln>
          </p:spPr>
          <p:txBody>
            <a:bodyPr wrap="square" lIns="0" tIns="0" rIns="0" bIns="0"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effectLst/>
                  <a:uLnTx/>
                  <a:uFillTx/>
                </a:rPr>
                <a:t>Lorem </a:t>
              </a:r>
              <a:r>
                <a:rPr kumimoji="0" lang="en-US" sz="1000" b="0" i="0" u="none" strike="noStrike" kern="0" cap="none" spc="0" normalizeH="0" baseline="0" noProof="0" dirty="0" err="1">
                  <a:ln>
                    <a:noFill/>
                  </a:ln>
                  <a:effectLst/>
                  <a:uLnTx/>
                  <a:uFillTx/>
                </a:rPr>
                <a:t>Ipsum</a:t>
              </a:r>
              <a:r>
                <a:rPr kumimoji="0" lang="en-US" sz="1000" b="0" i="0" u="none" strike="noStrike" kern="0" cap="none" spc="0" normalizeH="0" baseline="0" noProof="0" dirty="0">
                  <a:ln>
                    <a:noFill/>
                  </a:ln>
                  <a:effectLst/>
                  <a:uLnTx/>
                  <a:uFillTx/>
                </a:rPr>
                <a:t> is simply dummy text of the printing and typesetting industry.</a:t>
              </a:r>
            </a:p>
          </p:txBody>
        </p:sp>
      </p:grpSp>
      <p:grpSp>
        <p:nvGrpSpPr>
          <p:cNvPr id="267" name="Group 266"/>
          <p:cNvGrpSpPr/>
          <p:nvPr/>
        </p:nvGrpSpPr>
        <p:grpSpPr>
          <a:xfrm>
            <a:off x="5140597" y="1710150"/>
            <a:ext cx="1910806" cy="1067838"/>
            <a:chOff x="1013695" y="2240659"/>
            <a:chExt cx="1532549" cy="856452"/>
          </a:xfrm>
        </p:grpSpPr>
        <p:grpSp>
          <p:nvGrpSpPr>
            <p:cNvPr id="268" name="Group 267"/>
            <p:cNvGrpSpPr/>
            <p:nvPr/>
          </p:nvGrpSpPr>
          <p:grpSpPr>
            <a:xfrm>
              <a:off x="1553008" y="2757488"/>
              <a:ext cx="453923" cy="339623"/>
              <a:chOff x="1553007" y="2757488"/>
              <a:chExt cx="453923" cy="339623"/>
            </a:xfrm>
          </p:grpSpPr>
          <p:cxnSp>
            <p:nvCxnSpPr>
              <p:cNvPr id="270" name="Straight Connector 269"/>
              <p:cNvCxnSpPr/>
              <p:nvPr/>
            </p:nvCxnSpPr>
            <p:spPr>
              <a:xfrm>
                <a:off x="1779969" y="2757488"/>
                <a:ext cx="0" cy="339623"/>
              </a:xfrm>
              <a:prstGeom prst="line">
                <a:avLst/>
              </a:prstGeom>
              <a:noFill/>
              <a:ln w="12700" cap="flat" cmpd="sng" algn="ctr">
                <a:solidFill>
                  <a:sysClr val="windowText" lastClr="000000">
                    <a:lumMod val="65000"/>
                    <a:lumOff val="35000"/>
                  </a:sysClr>
                </a:solidFill>
                <a:prstDash val="solid"/>
                <a:miter lim="800000"/>
              </a:ln>
              <a:effectLst/>
            </p:spPr>
          </p:cxnSp>
          <p:cxnSp>
            <p:nvCxnSpPr>
              <p:cNvPr id="271" name="Straight Connector 270"/>
              <p:cNvCxnSpPr/>
              <p:nvPr/>
            </p:nvCxnSpPr>
            <p:spPr>
              <a:xfrm rot="16200000">
                <a:off x="1779969" y="2530526"/>
                <a:ext cx="0" cy="453923"/>
              </a:xfrm>
              <a:prstGeom prst="line">
                <a:avLst/>
              </a:prstGeom>
              <a:noFill/>
              <a:ln w="12700" cap="flat" cmpd="sng" algn="ctr">
                <a:solidFill>
                  <a:sysClr val="windowText" lastClr="000000">
                    <a:lumMod val="65000"/>
                    <a:lumOff val="35000"/>
                  </a:sysClr>
                </a:solidFill>
                <a:prstDash val="solid"/>
                <a:miter lim="800000"/>
              </a:ln>
              <a:effectLst/>
            </p:spPr>
          </p:cxnSp>
        </p:grpSp>
        <p:sp>
          <p:nvSpPr>
            <p:cNvPr id="269" name="TextBox 268"/>
            <p:cNvSpPr txBox="1"/>
            <p:nvPr/>
          </p:nvSpPr>
          <p:spPr>
            <a:xfrm>
              <a:off x="1013695" y="2240659"/>
              <a:ext cx="1532549" cy="370275"/>
            </a:xfrm>
            <a:prstGeom prst="rect">
              <a:avLst/>
            </a:prstGeom>
            <a:noFill/>
            <a:ln w="6350">
              <a:noFill/>
              <a:prstDash val="dash"/>
            </a:ln>
          </p:spPr>
          <p:txBody>
            <a:bodyPr wrap="square" lIns="0" tIns="0" rIns="0" bIns="0"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effectLst/>
                  <a:uLnTx/>
                  <a:uFillTx/>
                </a:rPr>
                <a:t>Lorem </a:t>
              </a:r>
              <a:r>
                <a:rPr kumimoji="0" lang="en-US" sz="1000" b="0" i="0" u="none" strike="noStrike" kern="0" cap="none" spc="0" normalizeH="0" baseline="0" noProof="0" dirty="0" err="1">
                  <a:ln>
                    <a:noFill/>
                  </a:ln>
                  <a:effectLst/>
                  <a:uLnTx/>
                  <a:uFillTx/>
                </a:rPr>
                <a:t>Ipsum</a:t>
              </a:r>
              <a:r>
                <a:rPr kumimoji="0" lang="en-US" sz="1000" b="0" i="0" u="none" strike="noStrike" kern="0" cap="none" spc="0" normalizeH="0" baseline="0" noProof="0" dirty="0">
                  <a:ln>
                    <a:noFill/>
                  </a:ln>
                  <a:effectLst/>
                  <a:uLnTx/>
                  <a:uFillTx/>
                </a:rPr>
                <a:t> is simply dummy text of the printing and typesetting industry.</a:t>
              </a:r>
            </a:p>
          </p:txBody>
        </p:sp>
      </p:grpSp>
      <p:grpSp>
        <p:nvGrpSpPr>
          <p:cNvPr id="272" name="Group 271"/>
          <p:cNvGrpSpPr/>
          <p:nvPr/>
        </p:nvGrpSpPr>
        <p:grpSpPr>
          <a:xfrm>
            <a:off x="8621745" y="1710150"/>
            <a:ext cx="1910806" cy="1067838"/>
            <a:chOff x="1013695" y="2240659"/>
            <a:chExt cx="1532549" cy="856452"/>
          </a:xfrm>
        </p:grpSpPr>
        <p:grpSp>
          <p:nvGrpSpPr>
            <p:cNvPr id="273" name="Group 272"/>
            <p:cNvGrpSpPr/>
            <p:nvPr/>
          </p:nvGrpSpPr>
          <p:grpSpPr>
            <a:xfrm>
              <a:off x="1553008" y="2757488"/>
              <a:ext cx="453923" cy="339623"/>
              <a:chOff x="1553007" y="2757488"/>
              <a:chExt cx="453923" cy="339623"/>
            </a:xfrm>
          </p:grpSpPr>
          <p:cxnSp>
            <p:nvCxnSpPr>
              <p:cNvPr id="275" name="Straight Connector 274"/>
              <p:cNvCxnSpPr/>
              <p:nvPr/>
            </p:nvCxnSpPr>
            <p:spPr>
              <a:xfrm>
                <a:off x="1779969" y="2757488"/>
                <a:ext cx="0" cy="339623"/>
              </a:xfrm>
              <a:prstGeom prst="line">
                <a:avLst/>
              </a:prstGeom>
              <a:noFill/>
              <a:ln w="12700" cap="flat" cmpd="sng" algn="ctr">
                <a:solidFill>
                  <a:sysClr val="windowText" lastClr="000000">
                    <a:lumMod val="65000"/>
                    <a:lumOff val="35000"/>
                  </a:sysClr>
                </a:solidFill>
                <a:prstDash val="solid"/>
                <a:miter lim="800000"/>
              </a:ln>
              <a:effectLst/>
            </p:spPr>
          </p:cxnSp>
          <p:cxnSp>
            <p:nvCxnSpPr>
              <p:cNvPr id="276" name="Straight Connector 275"/>
              <p:cNvCxnSpPr/>
              <p:nvPr/>
            </p:nvCxnSpPr>
            <p:spPr>
              <a:xfrm rot="16200000">
                <a:off x="1779969" y="2530526"/>
                <a:ext cx="0" cy="453923"/>
              </a:xfrm>
              <a:prstGeom prst="line">
                <a:avLst/>
              </a:prstGeom>
              <a:noFill/>
              <a:ln w="12700" cap="flat" cmpd="sng" algn="ctr">
                <a:solidFill>
                  <a:sysClr val="windowText" lastClr="000000">
                    <a:lumMod val="65000"/>
                    <a:lumOff val="35000"/>
                  </a:sysClr>
                </a:solidFill>
                <a:prstDash val="solid"/>
                <a:miter lim="800000"/>
              </a:ln>
              <a:effectLst/>
            </p:spPr>
          </p:cxnSp>
        </p:grpSp>
        <p:sp>
          <p:nvSpPr>
            <p:cNvPr id="274" name="TextBox 273"/>
            <p:cNvSpPr txBox="1"/>
            <p:nvPr/>
          </p:nvSpPr>
          <p:spPr>
            <a:xfrm>
              <a:off x="1013695" y="2240659"/>
              <a:ext cx="1532549" cy="370275"/>
            </a:xfrm>
            <a:prstGeom prst="rect">
              <a:avLst/>
            </a:prstGeom>
            <a:noFill/>
            <a:ln w="6350">
              <a:noFill/>
              <a:prstDash val="dash"/>
            </a:ln>
          </p:spPr>
          <p:txBody>
            <a:bodyPr wrap="square" lIns="0" tIns="0" rIns="0" bIns="0"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effectLst/>
                  <a:uLnTx/>
                  <a:uFillTx/>
                </a:rPr>
                <a:t>Lorem </a:t>
              </a:r>
              <a:r>
                <a:rPr kumimoji="0" lang="en-US" sz="1000" b="0" i="0" u="none" strike="noStrike" kern="0" cap="none" spc="0" normalizeH="0" baseline="0" noProof="0" dirty="0" err="1">
                  <a:ln>
                    <a:noFill/>
                  </a:ln>
                  <a:effectLst/>
                  <a:uLnTx/>
                  <a:uFillTx/>
                </a:rPr>
                <a:t>Ipsum</a:t>
              </a:r>
              <a:r>
                <a:rPr kumimoji="0" lang="en-US" sz="1000" b="0" i="0" u="none" strike="noStrike" kern="0" cap="none" spc="0" normalizeH="0" baseline="0" noProof="0" dirty="0">
                  <a:ln>
                    <a:noFill/>
                  </a:ln>
                  <a:effectLst/>
                  <a:uLnTx/>
                  <a:uFillTx/>
                </a:rPr>
                <a:t> is simply dummy text of the printing and typesetting industry.</a:t>
              </a:r>
            </a:p>
          </p:txBody>
        </p:sp>
      </p:grpSp>
      <p:grpSp>
        <p:nvGrpSpPr>
          <p:cNvPr id="277" name="Group 276"/>
          <p:cNvGrpSpPr/>
          <p:nvPr/>
        </p:nvGrpSpPr>
        <p:grpSpPr>
          <a:xfrm flipV="1">
            <a:off x="3399348" y="5257778"/>
            <a:ext cx="1910806" cy="953891"/>
            <a:chOff x="1013695" y="2332049"/>
            <a:chExt cx="1532549" cy="765062"/>
          </a:xfrm>
        </p:grpSpPr>
        <p:grpSp>
          <p:nvGrpSpPr>
            <p:cNvPr id="278" name="Group 277"/>
            <p:cNvGrpSpPr/>
            <p:nvPr/>
          </p:nvGrpSpPr>
          <p:grpSpPr>
            <a:xfrm>
              <a:off x="1553008" y="2757488"/>
              <a:ext cx="453923" cy="339623"/>
              <a:chOff x="1553007" y="2757488"/>
              <a:chExt cx="453923" cy="339623"/>
            </a:xfrm>
          </p:grpSpPr>
          <p:cxnSp>
            <p:nvCxnSpPr>
              <p:cNvPr id="280" name="Straight Connector 279"/>
              <p:cNvCxnSpPr/>
              <p:nvPr/>
            </p:nvCxnSpPr>
            <p:spPr>
              <a:xfrm>
                <a:off x="1779969" y="2757488"/>
                <a:ext cx="0" cy="339623"/>
              </a:xfrm>
              <a:prstGeom prst="line">
                <a:avLst/>
              </a:prstGeom>
              <a:noFill/>
              <a:ln w="12700" cap="flat" cmpd="sng" algn="ctr">
                <a:solidFill>
                  <a:sysClr val="windowText" lastClr="000000">
                    <a:lumMod val="65000"/>
                    <a:lumOff val="35000"/>
                  </a:sysClr>
                </a:solidFill>
                <a:prstDash val="solid"/>
                <a:miter lim="800000"/>
              </a:ln>
              <a:effectLst/>
            </p:spPr>
          </p:cxnSp>
          <p:cxnSp>
            <p:nvCxnSpPr>
              <p:cNvPr id="281" name="Straight Connector 280"/>
              <p:cNvCxnSpPr/>
              <p:nvPr/>
            </p:nvCxnSpPr>
            <p:spPr>
              <a:xfrm rot="16200000">
                <a:off x="1779969" y="2530526"/>
                <a:ext cx="0" cy="453923"/>
              </a:xfrm>
              <a:prstGeom prst="line">
                <a:avLst/>
              </a:prstGeom>
              <a:noFill/>
              <a:ln w="12700" cap="flat" cmpd="sng" algn="ctr">
                <a:solidFill>
                  <a:sysClr val="windowText" lastClr="000000">
                    <a:lumMod val="65000"/>
                    <a:lumOff val="35000"/>
                  </a:sysClr>
                </a:solidFill>
                <a:prstDash val="solid"/>
                <a:miter lim="800000"/>
              </a:ln>
              <a:effectLst/>
            </p:spPr>
          </p:cxnSp>
        </p:grpSp>
        <p:sp>
          <p:nvSpPr>
            <p:cNvPr id="279" name="TextBox 278"/>
            <p:cNvSpPr txBox="1"/>
            <p:nvPr/>
          </p:nvSpPr>
          <p:spPr>
            <a:xfrm flipV="1">
              <a:off x="1013695" y="2332049"/>
              <a:ext cx="1532549" cy="370275"/>
            </a:xfrm>
            <a:prstGeom prst="rect">
              <a:avLst/>
            </a:prstGeom>
            <a:noFill/>
            <a:ln w="6350">
              <a:noFill/>
              <a:prstDash val="dash"/>
            </a:ln>
          </p:spPr>
          <p:txBody>
            <a:bodyPr wrap="square" lIns="0" tIns="0" rIns="0" bIns="0"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effectLst/>
                  <a:uLnTx/>
                  <a:uFillTx/>
                </a:rPr>
                <a:t>Lorem </a:t>
              </a:r>
              <a:r>
                <a:rPr kumimoji="0" lang="en-US" sz="1000" b="0" i="0" u="none" strike="noStrike" kern="0" cap="none" spc="0" normalizeH="0" baseline="0" noProof="0" dirty="0" err="1">
                  <a:ln>
                    <a:noFill/>
                  </a:ln>
                  <a:effectLst/>
                  <a:uLnTx/>
                  <a:uFillTx/>
                </a:rPr>
                <a:t>Ipsum</a:t>
              </a:r>
              <a:r>
                <a:rPr kumimoji="0" lang="en-US" sz="1000" b="0" i="0" u="none" strike="noStrike" kern="0" cap="none" spc="0" normalizeH="0" baseline="0" noProof="0" dirty="0">
                  <a:ln>
                    <a:noFill/>
                  </a:ln>
                  <a:effectLst/>
                  <a:uLnTx/>
                  <a:uFillTx/>
                </a:rPr>
                <a:t> is simply dummy text of the printing and typesetting industry.</a:t>
              </a:r>
            </a:p>
          </p:txBody>
        </p:sp>
      </p:grpSp>
      <p:grpSp>
        <p:nvGrpSpPr>
          <p:cNvPr id="282" name="Group 281"/>
          <p:cNvGrpSpPr/>
          <p:nvPr/>
        </p:nvGrpSpPr>
        <p:grpSpPr>
          <a:xfrm flipV="1">
            <a:off x="6880496" y="5257778"/>
            <a:ext cx="1910806" cy="953891"/>
            <a:chOff x="1013695" y="2332049"/>
            <a:chExt cx="1532549" cy="765062"/>
          </a:xfrm>
        </p:grpSpPr>
        <p:grpSp>
          <p:nvGrpSpPr>
            <p:cNvPr id="283" name="Group 282"/>
            <p:cNvGrpSpPr/>
            <p:nvPr/>
          </p:nvGrpSpPr>
          <p:grpSpPr>
            <a:xfrm>
              <a:off x="1553008" y="2757488"/>
              <a:ext cx="453923" cy="339623"/>
              <a:chOff x="1553007" y="2757488"/>
              <a:chExt cx="453923" cy="339623"/>
            </a:xfrm>
          </p:grpSpPr>
          <p:cxnSp>
            <p:nvCxnSpPr>
              <p:cNvPr id="285" name="Straight Connector 284"/>
              <p:cNvCxnSpPr/>
              <p:nvPr/>
            </p:nvCxnSpPr>
            <p:spPr>
              <a:xfrm>
                <a:off x="1779969" y="2757488"/>
                <a:ext cx="0" cy="339623"/>
              </a:xfrm>
              <a:prstGeom prst="line">
                <a:avLst/>
              </a:prstGeom>
              <a:noFill/>
              <a:ln w="12700" cap="flat" cmpd="sng" algn="ctr">
                <a:solidFill>
                  <a:sysClr val="windowText" lastClr="000000">
                    <a:lumMod val="65000"/>
                    <a:lumOff val="35000"/>
                  </a:sysClr>
                </a:solidFill>
                <a:prstDash val="solid"/>
                <a:miter lim="800000"/>
              </a:ln>
              <a:effectLst/>
            </p:spPr>
          </p:cxnSp>
          <p:cxnSp>
            <p:nvCxnSpPr>
              <p:cNvPr id="286" name="Straight Connector 285"/>
              <p:cNvCxnSpPr/>
              <p:nvPr/>
            </p:nvCxnSpPr>
            <p:spPr>
              <a:xfrm rot="16200000">
                <a:off x="1779969" y="2530526"/>
                <a:ext cx="0" cy="453923"/>
              </a:xfrm>
              <a:prstGeom prst="line">
                <a:avLst/>
              </a:prstGeom>
              <a:noFill/>
              <a:ln w="12700" cap="flat" cmpd="sng" algn="ctr">
                <a:solidFill>
                  <a:sysClr val="windowText" lastClr="000000">
                    <a:lumMod val="65000"/>
                    <a:lumOff val="35000"/>
                  </a:sysClr>
                </a:solidFill>
                <a:prstDash val="solid"/>
                <a:miter lim="800000"/>
              </a:ln>
              <a:effectLst/>
            </p:spPr>
          </p:cxnSp>
        </p:grpSp>
        <p:sp>
          <p:nvSpPr>
            <p:cNvPr id="284" name="TextBox 283"/>
            <p:cNvSpPr txBox="1"/>
            <p:nvPr/>
          </p:nvSpPr>
          <p:spPr>
            <a:xfrm flipV="1">
              <a:off x="1013695" y="2332049"/>
              <a:ext cx="1532549" cy="370275"/>
            </a:xfrm>
            <a:prstGeom prst="rect">
              <a:avLst/>
            </a:prstGeom>
            <a:noFill/>
            <a:ln w="6350">
              <a:noFill/>
              <a:prstDash val="dash"/>
            </a:ln>
          </p:spPr>
          <p:txBody>
            <a:bodyPr wrap="square" lIns="0" tIns="0" rIns="0" bIns="0"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effectLst/>
                  <a:uLnTx/>
                  <a:uFillTx/>
                </a:rPr>
                <a:t>Lorem </a:t>
              </a:r>
              <a:r>
                <a:rPr kumimoji="0" lang="en-US" sz="1000" b="0" i="0" u="none" strike="noStrike" kern="0" cap="none" spc="0" normalizeH="0" baseline="0" noProof="0" dirty="0" err="1">
                  <a:ln>
                    <a:noFill/>
                  </a:ln>
                  <a:effectLst/>
                  <a:uLnTx/>
                  <a:uFillTx/>
                </a:rPr>
                <a:t>Ipsum</a:t>
              </a:r>
              <a:r>
                <a:rPr kumimoji="0" lang="en-US" sz="1000" b="0" i="0" u="none" strike="noStrike" kern="0" cap="none" spc="0" normalizeH="0" baseline="0" noProof="0" dirty="0">
                  <a:ln>
                    <a:noFill/>
                  </a:ln>
                  <a:effectLst/>
                  <a:uLnTx/>
                  <a:uFillTx/>
                </a:rPr>
                <a:t> is simply dummy text of the printing and typesetting industry.</a:t>
              </a:r>
            </a:p>
          </p:txBody>
        </p:sp>
      </p:grpSp>
    </p:spTree>
    <p:extLst>
      <p:ext uri="{BB962C8B-B14F-4D97-AF65-F5344CB8AC3E}">
        <p14:creationId xmlns:p14="http://schemas.microsoft.com/office/powerpoint/2010/main" val="282891714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3" name="Rectangle 102"/>
          <p:cNvSpPr/>
          <p:nvPr/>
        </p:nvSpPr>
        <p:spPr>
          <a:xfrm>
            <a:off x="12344400" y="0"/>
            <a:ext cx="469900" cy="469900"/>
          </a:xfrm>
          <a:prstGeom prst="rect">
            <a:avLst/>
          </a:prstGeom>
          <a:solidFill>
            <a:srgbClr val="E7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4" name="Rectangle 103"/>
          <p:cNvSpPr/>
          <p:nvPr/>
        </p:nvSpPr>
        <p:spPr>
          <a:xfrm>
            <a:off x="12344400" y="649557"/>
            <a:ext cx="469900" cy="469900"/>
          </a:xfrm>
          <a:prstGeom prst="rect">
            <a:avLst/>
          </a:prstGeom>
          <a:solidFill>
            <a:srgbClr val="AFABA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5" name="Rectangle 104"/>
          <p:cNvSpPr/>
          <p:nvPr/>
        </p:nvSpPr>
        <p:spPr>
          <a:xfrm>
            <a:off x="12344400" y="1299114"/>
            <a:ext cx="469900" cy="469900"/>
          </a:xfrm>
          <a:prstGeom prst="rect">
            <a:avLst/>
          </a:prstGeom>
          <a:solidFill>
            <a:srgbClr val="76717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7" name="Rectangle 106"/>
          <p:cNvSpPr/>
          <p:nvPr/>
        </p:nvSpPr>
        <p:spPr>
          <a:xfrm>
            <a:off x="12966699" y="0"/>
            <a:ext cx="469900" cy="469900"/>
          </a:xfrm>
          <a:prstGeom prst="rect">
            <a:avLst/>
          </a:prstGeom>
          <a:solidFill>
            <a:srgbClr val="E8786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8" name="Rectangle 107"/>
          <p:cNvSpPr/>
          <p:nvPr/>
        </p:nvSpPr>
        <p:spPr>
          <a:xfrm>
            <a:off x="12966699" y="649557"/>
            <a:ext cx="469900" cy="469900"/>
          </a:xfrm>
          <a:prstGeom prst="rect">
            <a:avLst/>
          </a:prstGeom>
          <a:solidFill>
            <a:srgbClr val="E258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9" name="Rectangle 108"/>
          <p:cNvSpPr/>
          <p:nvPr/>
        </p:nvSpPr>
        <p:spPr>
          <a:xfrm>
            <a:off x="12966699" y="1299114"/>
            <a:ext cx="469900" cy="469900"/>
          </a:xfrm>
          <a:prstGeom prst="rect">
            <a:avLst/>
          </a:prstGeom>
          <a:solidFill>
            <a:srgbClr val="D63E2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0" name="Rectangle 109"/>
          <p:cNvSpPr/>
          <p:nvPr/>
        </p:nvSpPr>
        <p:spPr>
          <a:xfrm>
            <a:off x="13588998" y="0"/>
            <a:ext cx="469900" cy="469900"/>
          </a:xfrm>
          <a:prstGeom prst="rect">
            <a:avLst/>
          </a:prstGeom>
          <a:solidFill>
            <a:srgbClr val="8EDCD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1" name="Rectangle 110"/>
          <p:cNvSpPr/>
          <p:nvPr/>
        </p:nvSpPr>
        <p:spPr>
          <a:xfrm>
            <a:off x="13588998" y="649557"/>
            <a:ext cx="469900" cy="469900"/>
          </a:xfrm>
          <a:prstGeom prst="rect">
            <a:avLst/>
          </a:prstGeom>
          <a:solidFill>
            <a:srgbClr val="78D2D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2" name="Rectangle 111"/>
          <p:cNvSpPr/>
          <p:nvPr/>
        </p:nvSpPr>
        <p:spPr>
          <a:xfrm>
            <a:off x="13588998" y="1299114"/>
            <a:ext cx="469900" cy="469900"/>
          </a:xfrm>
          <a:prstGeom prst="rect">
            <a:avLst/>
          </a:prstGeom>
          <a:solidFill>
            <a:srgbClr val="4CC7C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3" name="Rectangle 112"/>
          <p:cNvSpPr/>
          <p:nvPr/>
        </p:nvSpPr>
        <p:spPr>
          <a:xfrm>
            <a:off x="14211297" y="0"/>
            <a:ext cx="469900" cy="469900"/>
          </a:xfrm>
          <a:prstGeom prst="rect">
            <a:avLst/>
          </a:prstGeom>
          <a:solidFill>
            <a:srgbClr val="55535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4" name="Rectangle 113"/>
          <p:cNvSpPr/>
          <p:nvPr/>
        </p:nvSpPr>
        <p:spPr>
          <a:xfrm>
            <a:off x="14211297" y="649557"/>
            <a:ext cx="469900" cy="469900"/>
          </a:xfrm>
          <a:prstGeom prst="rect">
            <a:avLst/>
          </a:prstGeom>
          <a:solidFill>
            <a:srgbClr val="3B393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5" name="Rectangle 114"/>
          <p:cNvSpPr/>
          <p:nvPr/>
        </p:nvSpPr>
        <p:spPr>
          <a:xfrm>
            <a:off x="14211297" y="1299114"/>
            <a:ext cx="469900" cy="469900"/>
          </a:xfrm>
          <a:prstGeom prst="rect">
            <a:avLst/>
          </a:prstGeom>
          <a:solidFill>
            <a:srgbClr val="25232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0" name="Text Placeholder 119"/>
          <p:cNvSpPr>
            <a:spLocks noGrp="1"/>
          </p:cNvSpPr>
          <p:nvPr>
            <p:ph type="body" sz="quarter" idx="13"/>
          </p:nvPr>
        </p:nvSpPr>
        <p:spPr>
          <a:xfrm>
            <a:off x="3107788" y="360971"/>
            <a:ext cx="5976424" cy="535531"/>
          </a:xfrm>
        </p:spPr>
        <p:txBody>
          <a:bodyPr/>
          <a:lstStyle/>
          <a:p>
            <a:r>
              <a:rPr lang="en-US" sz="3200" dirty="0"/>
              <a:t>PowerPoint Presentation</a:t>
            </a:r>
          </a:p>
        </p:txBody>
      </p:sp>
      <p:sp>
        <p:nvSpPr>
          <p:cNvPr id="116" name="Date Placeholder 115"/>
          <p:cNvSpPr>
            <a:spLocks noGrp="1"/>
          </p:cNvSpPr>
          <p:nvPr>
            <p:ph type="dt" sz="half" idx="10"/>
          </p:nvPr>
        </p:nvSpPr>
        <p:spPr/>
        <p:txBody>
          <a:bodyPr/>
          <a:lstStyle/>
          <a:p>
            <a:fld id="{56E1B330-CB56-448E-9C70-830A2B9C05C8}" type="datetime1">
              <a:rPr lang="en-US" smtClean="0"/>
              <a:t>10/28/2022</a:t>
            </a:fld>
            <a:endParaRPr lang="en-US"/>
          </a:p>
        </p:txBody>
      </p:sp>
      <p:sp>
        <p:nvSpPr>
          <p:cNvPr id="117" name="Slide Number Placeholder 116"/>
          <p:cNvSpPr>
            <a:spLocks noGrp="1"/>
          </p:cNvSpPr>
          <p:nvPr>
            <p:ph type="sldNum" sz="quarter" idx="12"/>
          </p:nvPr>
        </p:nvSpPr>
        <p:spPr/>
        <p:txBody>
          <a:bodyPr/>
          <a:lstStyle/>
          <a:p>
            <a:fld id="{03206E70-9524-410D-AE9B-78D656EAA14D}" type="slidenum">
              <a:rPr lang="en-US" smtClean="0"/>
              <a:pPr/>
              <a:t>9</a:t>
            </a:fld>
            <a:endParaRPr lang="en-US"/>
          </a:p>
        </p:txBody>
      </p:sp>
      <p:sp>
        <p:nvSpPr>
          <p:cNvPr id="2" name="Text Placeholder 1"/>
          <p:cNvSpPr>
            <a:spLocks noGrp="1"/>
          </p:cNvSpPr>
          <p:nvPr>
            <p:ph type="body" sz="quarter" idx="14"/>
          </p:nvPr>
        </p:nvSpPr>
        <p:spPr>
          <a:xfrm>
            <a:off x="1857375" y="1014880"/>
            <a:ext cx="8380505" cy="400110"/>
          </a:xfrm>
        </p:spPr>
        <p:txBody>
          <a:bodyPr/>
          <a:lstStyle/>
          <a:p>
            <a:r>
              <a:rPr lang="en-US" dirty="0"/>
              <a:t>Lorem Ipsum is simply dummy text of the printing and typesetting industry. Lorem Ipsum has been the industry's standard dummy text ever since the 1500s, when an unknown printer took a galley of type and scrambled it to make a type specimen book. </a:t>
            </a:r>
          </a:p>
        </p:txBody>
      </p:sp>
      <p:sp>
        <p:nvSpPr>
          <p:cNvPr id="91" name="TextBox 90"/>
          <p:cNvSpPr txBox="1"/>
          <p:nvPr/>
        </p:nvSpPr>
        <p:spPr>
          <a:xfrm>
            <a:off x="1813577" y="5345772"/>
            <a:ext cx="2370858" cy="353943"/>
          </a:xfrm>
          <a:prstGeom prst="rect">
            <a:avLst/>
          </a:prstGeom>
          <a:noFill/>
          <a:ln w="6350">
            <a:noFill/>
            <a:prstDash val="dash"/>
          </a:ln>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effectLst/>
                <a:uLnTx/>
                <a:uFillTx/>
                <a:ea typeface="+mn-ea"/>
                <a:cs typeface="+mn-cs"/>
              </a:rPr>
              <a:t>RAW MATERIALS</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effectLst/>
                <a:uLnTx/>
                <a:uFillTx/>
                <a:ea typeface="+mn-ea"/>
                <a:cs typeface="+mn-cs"/>
              </a:rPr>
              <a:t> </a:t>
            </a:r>
            <a:r>
              <a:rPr kumimoji="0" lang="en-US" sz="1100" b="0" i="0" u="none" strike="noStrike" kern="1200" cap="none" spc="0" normalizeH="0" baseline="0" noProof="0" dirty="0" err="1">
                <a:ln>
                  <a:noFill/>
                </a:ln>
                <a:effectLst/>
                <a:uLnTx/>
                <a:uFillTx/>
                <a:ea typeface="+mn-ea"/>
                <a:cs typeface="+mn-cs"/>
              </a:rPr>
              <a:t>Lorem</a:t>
            </a:r>
            <a:r>
              <a:rPr kumimoji="0" lang="en-US" sz="1100" b="0" i="0" u="none" strike="noStrike" kern="1200" cap="none" spc="0" normalizeH="0" baseline="0" noProof="0" dirty="0">
                <a:ln>
                  <a:noFill/>
                </a:ln>
                <a:effectLst/>
                <a:uLnTx/>
                <a:uFillTx/>
                <a:ea typeface="+mn-ea"/>
                <a:cs typeface="+mn-cs"/>
              </a:rPr>
              <a:t> </a:t>
            </a:r>
            <a:r>
              <a:rPr kumimoji="0" lang="en-US" sz="1100" b="0" i="0" u="none" strike="noStrike" kern="1200" cap="none" spc="0" normalizeH="0" baseline="0" noProof="0" dirty="0" err="1">
                <a:ln>
                  <a:noFill/>
                </a:ln>
                <a:effectLst/>
                <a:uLnTx/>
                <a:uFillTx/>
                <a:ea typeface="+mn-ea"/>
                <a:cs typeface="+mn-cs"/>
              </a:rPr>
              <a:t>Ipsum</a:t>
            </a:r>
            <a:r>
              <a:rPr kumimoji="0" lang="en-US" sz="1100" b="0" i="0" u="none" strike="noStrike" kern="1200" cap="none" spc="0" normalizeH="0" baseline="0" noProof="0" dirty="0">
                <a:ln>
                  <a:noFill/>
                </a:ln>
                <a:effectLst/>
                <a:uLnTx/>
                <a:uFillTx/>
                <a:ea typeface="+mn-ea"/>
                <a:cs typeface="+mn-cs"/>
              </a:rPr>
              <a:t> is simply dummy</a:t>
            </a:r>
          </a:p>
        </p:txBody>
      </p:sp>
      <p:sp>
        <p:nvSpPr>
          <p:cNvPr id="92" name="TextBox 91"/>
          <p:cNvSpPr txBox="1"/>
          <p:nvPr/>
        </p:nvSpPr>
        <p:spPr>
          <a:xfrm>
            <a:off x="1270339" y="4329240"/>
            <a:ext cx="2315695" cy="353943"/>
          </a:xfrm>
          <a:prstGeom prst="rect">
            <a:avLst/>
          </a:prstGeom>
          <a:noFill/>
          <a:ln w="6350">
            <a:noFill/>
            <a:prstDash val="dash"/>
          </a:ln>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effectLst/>
                <a:uLnTx/>
                <a:uFillTx/>
                <a:ea typeface="+mn-ea"/>
                <a:cs typeface="+mn-cs"/>
              </a:rPr>
              <a:t>SUPPLIERS</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effectLst/>
                <a:uLnTx/>
                <a:uFillTx/>
                <a:ea typeface="+mn-ea"/>
                <a:cs typeface="+mn-cs"/>
              </a:rPr>
              <a:t> </a:t>
            </a:r>
            <a:r>
              <a:rPr kumimoji="0" lang="en-US" sz="1100" b="0" i="0" u="none" strike="noStrike" kern="1200" cap="none" spc="0" normalizeH="0" baseline="0" noProof="0" dirty="0" err="1">
                <a:ln>
                  <a:noFill/>
                </a:ln>
                <a:effectLst/>
                <a:uLnTx/>
                <a:uFillTx/>
                <a:ea typeface="+mn-ea"/>
                <a:cs typeface="+mn-cs"/>
              </a:rPr>
              <a:t>Lorem</a:t>
            </a:r>
            <a:r>
              <a:rPr kumimoji="0" lang="en-US" sz="1100" b="0" i="0" u="none" strike="noStrike" kern="1200" cap="none" spc="0" normalizeH="0" baseline="0" noProof="0" dirty="0">
                <a:ln>
                  <a:noFill/>
                </a:ln>
                <a:effectLst/>
                <a:uLnTx/>
                <a:uFillTx/>
                <a:ea typeface="+mn-ea"/>
                <a:cs typeface="+mn-cs"/>
              </a:rPr>
              <a:t> </a:t>
            </a:r>
            <a:r>
              <a:rPr kumimoji="0" lang="en-US" sz="1100" b="0" i="0" u="none" strike="noStrike" kern="1200" cap="none" spc="0" normalizeH="0" baseline="0" noProof="0" dirty="0" err="1">
                <a:ln>
                  <a:noFill/>
                </a:ln>
                <a:effectLst/>
                <a:uLnTx/>
                <a:uFillTx/>
                <a:ea typeface="+mn-ea"/>
                <a:cs typeface="+mn-cs"/>
              </a:rPr>
              <a:t>Ipsum</a:t>
            </a:r>
            <a:r>
              <a:rPr kumimoji="0" lang="en-US" sz="1100" b="0" i="0" u="none" strike="noStrike" kern="1200" cap="none" spc="0" normalizeH="0" baseline="0" noProof="0" dirty="0">
                <a:ln>
                  <a:noFill/>
                </a:ln>
                <a:effectLst/>
                <a:uLnTx/>
                <a:uFillTx/>
                <a:ea typeface="+mn-ea"/>
                <a:cs typeface="+mn-cs"/>
              </a:rPr>
              <a:t> is simply dummy</a:t>
            </a:r>
          </a:p>
        </p:txBody>
      </p:sp>
      <p:sp>
        <p:nvSpPr>
          <p:cNvPr id="93" name="TextBox 92"/>
          <p:cNvSpPr txBox="1"/>
          <p:nvPr/>
        </p:nvSpPr>
        <p:spPr>
          <a:xfrm>
            <a:off x="1270339" y="3312707"/>
            <a:ext cx="2356859" cy="353943"/>
          </a:xfrm>
          <a:prstGeom prst="rect">
            <a:avLst/>
          </a:prstGeom>
          <a:noFill/>
          <a:ln w="6350">
            <a:noFill/>
            <a:prstDash val="dash"/>
          </a:ln>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effectLst/>
                <a:uLnTx/>
                <a:uFillTx/>
                <a:ea typeface="+mn-ea"/>
                <a:cs typeface="+mn-cs"/>
              </a:rPr>
              <a:t>MANUFACTURERS</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effectLst/>
                <a:uLnTx/>
                <a:uFillTx/>
                <a:ea typeface="+mn-ea"/>
                <a:cs typeface="+mn-cs"/>
              </a:rPr>
              <a:t> </a:t>
            </a:r>
            <a:r>
              <a:rPr kumimoji="0" lang="en-US" sz="1100" b="0" i="0" u="none" strike="noStrike" kern="1200" cap="none" spc="0" normalizeH="0" baseline="0" noProof="0" dirty="0" err="1">
                <a:ln>
                  <a:noFill/>
                </a:ln>
                <a:effectLst/>
                <a:uLnTx/>
                <a:uFillTx/>
                <a:ea typeface="+mn-ea"/>
                <a:cs typeface="+mn-cs"/>
              </a:rPr>
              <a:t>Lorem</a:t>
            </a:r>
            <a:r>
              <a:rPr kumimoji="0" lang="en-US" sz="1100" b="0" i="0" u="none" strike="noStrike" kern="1200" cap="none" spc="0" normalizeH="0" baseline="0" noProof="0" dirty="0">
                <a:ln>
                  <a:noFill/>
                </a:ln>
                <a:effectLst/>
                <a:uLnTx/>
                <a:uFillTx/>
                <a:ea typeface="+mn-ea"/>
                <a:cs typeface="+mn-cs"/>
              </a:rPr>
              <a:t> </a:t>
            </a:r>
            <a:r>
              <a:rPr kumimoji="0" lang="en-US" sz="1100" b="0" i="0" u="none" strike="noStrike" kern="1200" cap="none" spc="0" normalizeH="0" baseline="0" noProof="0" dirty="0" err="1">
                <a:ln>
                  <a:noFill/>
                </a:ln>
                <a:effectLst/>
                <a:uLnTx/>
                <a:uFillTx/>
                <a:ea typeface="+mn-ea"/>
                <a:cs typeface="+mn-cs"/>
              </a:rPr>
              <a:t>Ipsum</a:t>
            </a:r>
            <a:r>
              <a:rPr kumimoji="0" lang="en-US" sz="1100" b="0" i="0" u="none" strike="noStrike" kern="1200" cap="none" spc="0" normalizeH="0" baseline="0" noProof="0" dirty="0">
                <a:ln>
                  <a:noFill/>
                </a:ln>
                <a:effectLst/>
                <a:uLnTx/>
                <a:uFillTx/>
                <a:ea typeface="+mn-ea"/>
                <a:cs typeface="+mn-cs"/>
              </a:rPr>
              <a:t> is simply dummy</a:t>
            </a:r>
          </a:p>
        </p:txBody>
      </p:sp>
      <p:sp>
        <p:nvSpPr>
          <p:cNvPr id="94" name="TextBox 93"/>
          <p:cNvSpPr txBox="1"/>
          <p:nvPr/>
        </p:nvSpPr>
        <p:spPr>
          <a:xfrm>
            <a:off x="2011984" y="2296174"/>
            <a:ext cx="2318158" cy="353943"/>
          </a:xfrm>
          <a:prstGeom prst="rect">
            <a:avLst/>
          </a:prstGeom>
          <a:noFill/>
          <a:ln w="6350">
            <a:noFill/>
            <a:prstDash val="dash"/>
          </a:ln>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effectLst/>
                <a:uLnTx/>
                <a:uFillTx/>
                <a:ea typeface="+mn-ea"/>
                <a:cs typeface="+mn-cs"/>
              </a:rPr>
              <a:t>WAREHOUSE</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effectLst/>
                <a:uLnTx/>
                <a:uFillTx/>
                <a:ea typeface="+mn-ea"/>
                <a:cs typeface="+mn-cs"/>
              </a:rPr>
              <a:t> </a:t>
            </a:r>
            <a:r>
              <a:rPr kumimoji="0" lang="en-US" sz="1100" b="0" i="0" u="none" strike="noStrike" kern="1200" cap="none" spc="0" normalizeH="0" baseline="0" noProof="0" dirty="0" err="1">
                <a:ln>
                  <a:noFill/>
                </a:ln>
                <a:effectLst/>
                <a:uLnTx/>
                <a:uFillTx/>
                <a:ea typeface="+mn-ea"/>
                <a:cs typeface="+mn-cs"/>
              </a:rPr>
              <a:t>Lorem</a:t>
            </a:r>
            <a:r>
              <a:rPr kumimoji="0" lang="en-US" sz="1100" b="0" i="0" u="none" strike="noStrike" kern="1200" cap="none" spc="0" normalizeH="0" baseline="0" noProof="0" dirty="0">
                <a:ln>
                  <a:noFill/>
                </a:ln>
                <a:effectLst/>
                <a:uLnTx/>
                <a:uFillTx/>
                <a:ea typeface="+mn-ea"/>
                <a:cs typeface="+mn-cs"/>
              </a:rPr>
              <a:t> </a:t>
            </a:r>
            <a:r>
              <a:rPr kumimoji="0" lang="en-US" sz="1100" b="0" i="0" u="none" strike="noStrike" kern="1200" cap="none" spc="0" normalizeH="0" baseline="0" noProof="0" dirty="0" err="1">
                <a:ln>
                  <a:noFill/>
                </a:ln>
                <a:effectLst/>
                <a:uLnTx/>
                <a:uFillTx/>
                <a:ea typeface="+mn-ea"/>
                <a:cs typeface="+mn-cs"/>
              </a:rPr>
              <a:t>Ipsum</a:t>
            </a:r>
            <a:r>
              <a:rPr kumimoji="0" lang="en-US" sz="1100" b="0" i="0" u="none" strike="noStrike" kern="1200" cap="none" spc="0" normalizeH="0" baseline="0" noProof="0" dirty="0">
                <a:ln>
                  <a:noFill/>
                </a:ln>
                <a:effectLst/>
                <a:uLnTx/>
                <a:uFillTx/>
                <a:ea typeface="+mn-ea"/>
                <a:cs typeface="+mn-cs"/>
              </a:rPr>
              <a:t> is simply dummy</a:t>
            </a:r>
          </a:p>
        </p:txBody>
      </p:sp>
      <p:sp>
        <p:nvSpPr>
          <p:cNvPr id="95" name="TextBox 94"/>
          <p:cNvSpPr txBox="1"/>
          <p:nvPr/>
        </p:nvSpPr>
        <p:spPr>
          <a:xfrm>
            <a:off x="8637383" y="4329240"/>
            <a:ext cx="2379529" cy="353943"/>
          </a:xfrm>
          <a:prstGeom prst="rect">
            <a:avLst/>
          </a:prstGeom>
          <a:noFill/>
          <a:ln w="6350">
            <a:noFill/>
            <a:prstDash val="dash"/>
          </a:ln>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effectLst/>
                <a:uLnTx/>
                <a:uFillTx/>
                <a:ea typeface="+mn-ea"/>
                <a:cs typeface="+mn-cs"/>
              </a:rPr>
              <a:t>TRANSPORTATIO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err="1">
                <a:ln>
                  <a:noFill/>
                </a:ln>
                <a:effectLst/>
                <a:uLnTx/>
                <a:uFillTx/>
                <a:ea typeface="+mn-ea"/>
                <a:cs typeface="+mn-cs"/>
              </a:rPr>
              <a:t>Lorem</a:t>
            </a:r>
            <a:r>
              <a:rPr kumimoji="0" lang="en-US" sz="1100" b="0" i="0" u="none" strike="noStrike" kern="1200" cap="none" spc="0" normalizeH="0" baseline="0" noProof="0" dirty="0">
                <a:ln>
                  <a:noFill/>
                </a:ln>
                <a:effectLst/>
                <a:uLnTx/>
                <a:uFillTx/>
                <a:ea typeface="+mn-ea"/>
                <a:cs typeface="+mn-cs"/>
              </a:rPr>
              <a:t> </a:t>
            </a:r>
            <a:r>
              <a:rPr kumimoji="0" lang="en-US" sz="1100" b="0" i="0" u="none" strike="noStrike" kern="1200" cap="none" spc="0" normalizeH="0" baseline="0" noProof="0" dirty="0" err="1">
                <a:ln>
                  <a:noFill/>
                </a:ln>
                <a:effectLst/>
                <a:uLnTx/>
                <a:uFillTx/>
                <a:ea typeface="+mn-ea"/>
                <a:cs typeface="+mn-cs"/>
              </a:rPr>
              <a:t>Ipsum</a:t>
            </a:r>
            <a:r>
              <a:rPr kumimoji="0" lang="en-US" sz="1100" b="0" i="0" u="none" strike="noStrike" kern="1200" cap="none" spc="0" normalizeH="0" baseline="0" noProof="0" dirty="0">
                <a:ln>
                  <a:noFill/>
                </a:ln>
                <a:effectLst/>
                <a:uLnTx/>
                <a:uFillTx/>
                <a:ea typeface="+mn-ea"/>
                <a:cs typeface="+mn-cs"/>
              </a:rPr>
              <a:t> is simply dummy</a:t>
            </a:r>
          </a:p>
        </p:txBody>
      </p:sp>
      <p:sp>
        <p:nvSpPr>
          <p:cNvPr id="96" name="TextBox 95"/>
          <p:cNvSpPr txBox="1"/>
          <p:nvPr/>
        </p:nvSpPr>
        <p:spPr>
          <a:xfrm>
            <a:off x="8593249" y="3312707"/>
            <a:ext cx="2325240" cy="353943"/>
          </a:xfrm>
          <a:prstGeom prst="rect">
            <a:avLst/>
          </a:prstGeom>
          <a:noFill/>
          <a:ln w="6350">
            <a:noFill/>
            <a:prstDash val="dash"/>
          </a:ln>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effectLst/>
                <a:uLnTx/>
                <a:uFillTx/>
                <a:ea typeface="+mn-ea"/>
                <a:cs typeface="+mn-cs"/>
              </a:rPr>
              <a:t>CUSTOMER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err="1">
                <a:ln>
                  <a:noFill/>
                </a:ln>
                <a:effectLst/>
                <a:uLnTx/>
                <a:uFillTx/>
                <a:ea typeface="+mn-ea"/>
                <a:cs typeface="+mn-cs"/>
              </a:rPr>
              <a:t>Lorem</a:t>
            </a:r>
            <a:r>
              <a:rPr kumimoji="0" lang="en-US" sz="1100" b="0" i="0" u="none" strike="noStrike" kern="1200" cap="none" spc="0" normalizeH="0" baseline="0" noProof="0" dirty="0">
                <a:ln>
                  <a:noFill/>
                </a:ln>
                <a:effectLst/>
                <a:uLnTx/>
                <a:uFillTx/>
                <a:ea typeface="+mn-ea"/>
                <a:cs typeface="+mn-cs"/>
              </a:rPr>
              <a:t> </a:t>
            </a:r>
            <a:r>
              <a:rPr kumimoji="0" lang="en-US" sz="1100" b="0" i="0" u="none" strike="noStrike" kern="1200" cap="none" spc="0" normalizeH="0" baseline="0" noProof="0" dirty="0" err="1">
                <a:ln>
                  <a:noFill/>
                </a:ln>
                <a:effectLst/>
                <a:uLnTx/>
                <a:uFillTx/>
                <a:ea typeface="+mn-ea"/>
                <a:cs typeface="+mn-cs"/>
              </a:rPr>
              <a:t>Ipsum</a:t>
            </a:r>
            <a:r>
              <a:rPr kumimoji="0" lang="en-US" sz="1100" b="0" i="0" u="none" strike="noStrike" kern="1200" cap="none" spc="0" normalizeH="0" baseline="0" noProof="0" dirty="0">
                <a:ln>
                  <a:noFill/>
                </a:ln>
                <a:effectLst/>
                <a:uLnTx/>
                <a:uFillTx/>
                <a:ea typeface="+mn-ea"/>
                <a:cs typeface="+mn-cs"/>
              </a:rPr>
              <a:t> is simply dummy</a:t>
            </a:r>
          </a:p>
        </p:txBody>
      </p:sp>
      <p:sp>
        <p:nvSpPr>
          <p:cNvPr id="97" name="TextBox 96"/>
          <p:cNvSpPr txBox="1"/>
          <p:nvPr/>
        </p:nvSpPr>
        <p:spPr>
          <a:xfrm>
            <a:off x="7879368" y="2296174"/>
            <a:ext cx="2296083" cy="353943"/>
          </a:xfrm>
          <a:prstGeom prst="rect">
            <a:avLst/>
          </a:prstGeom>
          <a:noFill/>
          <a:ln w="6350">
            <a:noFill/>
            <a:prstDash val="dash"/>
          </a:ln>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effectLst/>
                <a:uLnTx/>
                <a:uFillTx/>
                <a:ea typeface="+mn-ea"/>
                <a:cs typeface="+mn-cs"/>
              </a:rPr>
              <a:t>INVENTORY</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err="1">
                <a:ln>
                  <a:noFill/>
                </a:ln>
                <a:effectLst/>
                <a:uLnTx/>
                <a:uFillTx/>
                <a:ea typeface="+mn-ea"/>
                <a:cs typeface="+mn-cs"/>
              </a:rPr>
              <a:t>Lorem</a:t>
            </a:r>
            <a:r>
              <a:rPr kumimoji="0" lang="en-US" sz="1100" b="0" i="0" u="none" strike="noStrike" kern="1200" cap="none" spc="0" normalizeH="0" baseline="0" noProof="0" dirty="0">
                <a:ln>
                  <a:noFill/>
                </a:ln>
                <a:effectLst/>
                <a:uLnTx/>
                <a:uFillTx/>
                <a:ea typeface="+mn-ea"/>
                <a:cs typeface="+mn-cs"/>
              </a:rPr>
              <a:t> </a:t>
            </a:r>
            <a:r>
              <a:rPr kumimoji="0" lang="en-US" sz="1100" b="0" i="0" u="none" strike="noStrike" kern="1200" cap="none" spc="0" normalizeH="0" baseline="0" noProof="0" dirty="0" err="1">
                <a:ln>
                  <a:noFill/>
                </a:ln>
                <a:effectLst/>
                <a:uLnTx/>
                <a:uFillTx/>
                <a:ea typeface="+mn-ea"/>
                <a:cs typeface="+mn-cs"/>
              </a:rPr>
              <a:t>Ipsum</a:t>
            </a:r>
            <a:r>
              <a:rPr kumimoji="0" lang="en-US" sz="1100" b="0" i="0" u="none" strike="noStrike" kern="1200" cap="none" spc="0" normalizeH="0" baseline="0" noProof="0" dirty="0">
                <a:ln>
                  <a:noFill/>
                </a:ln>
                <a:effectLst/>
                <a:uLnTx/>
                <a:uFillTx/>
                <a:ea typeface="+mn-ea"/>
                <a:cs typeface="+mn-cs"/>
              </a:rPr>
              <a:t> is simply dummy</a:t>
            </a:r>
          </a:p>
        </p:txBody>
      </p:sp>
      <p:sp>
        <p:nvSpPr>
          <p:cNvPr id="98" name="TextBox 97"/>
          <p:cNvSpPr txBox="1"/>
          <p:nvPr/>
        </p:nvSpPr>
        <p:spPr>
          <a:xfrm>
            <a:off x="8008533" y="5345772"/>
            <a:ext cx="2365325" cy="353943"/>
          </a:xfrm>
          <a:prstGeom prst="rect">
            <a:avLst/>
          </a:prstGeom>
          <a:noFill/>
          <a:ln w="6350">
            <a:noFill/>
            <a:prstDash val="dash"/>
          </a:ln>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effectLst/>
                <a:uLnTx/>
                <a:uFillTx/>
                <a:ea typeface="+mn-ea"/>
                <a:cs typeface="+mn-cs"/>
              </a:rPr>
              <a:t>COS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err="1">
                <a:ln>
                  <a:noFill/>
                </a:ln>
                <a:effectLst/>
                <a:uLnTx/>
                <a:uFillTx/>
                <a:ea typeface="+mn-ea"/>
                <a:cs typeface="+mn-cs"/>
              </a:rPr>
              <a:t>Lorem</a:t>
            </a:r>
            <a:r>
              <a:rPr kumimoji="0" lang="en-US" sz="1100" b="0" i="0" u="none" strike="noStrike" kern="1200" cap="none" spc="0" normalizeH="0" baseline="0" noProof="0" dirty="0">
                <a:ln>
                  <a:noFill/>
                </a:ln>
                <a:effectLst/>
                <a:uLnTx/>
                <a:uFillTx/>
                <a:ea typeface="+mn-ea"/>
                <a:cs typeface="+mn-cs"/>
              </a:rPr>
              <a:t> </a:t>
            </a:r>
            <a:r>
              <a:rPr kumimoji="0" lang="en-US" sz="1100" b="0" i="0" u="none" strike="noStrike" kern="1200" cap="none" spc="0" normalizeH="0" baseline="0" noProof="0" dirty="0" err="1">
                <a:ln>
                  <a:noFill/>
                </a:ln>
                <a:effectLst/>
                <a:uLnTx/>
                <a:uFillTx/>
                <a:ea typeface="+mn-ea"/>
                <a:cs typeface="+mn-cs"/>
              </a:rPr>
              <a:t>Ipsum</a:t>
            </a:r>
            <a:r>
              <a:rPr kumimoji="0" lang="en-US" sz="1100" b="0" i="0" u="none" strike="noStrike" kern="1200" cap="none" spc="0" normalizeH="0" baseline="0" noProof="0" dirty="0">
                <a:ln>
                  <a:noFill/>
                </a:ln>
                <a:effectLst/>
                <a:uLnTx/>
                <a:uFillTx/>
                <a:ea typeface="+mn-ea"/>
                <a:cs typeface="+mn-cs"/>
              </a:rPr>
              <a:t> is simply dummy</a:t>
            </a:r>
          </a:p>
        </p:txBody>
      </p:sp>
      <p:sp>
        <p:nvSpPr>
          <p:cNvPr id="99" name="Freeform 23"/>
          <p:cNvSpPr>
            <a:spLocks/>
          </p:cNvSpPr>
          <p:nvPr/>
        </p:nvSpPr>
        <p:spPr bwMode="auto">
          <a:xfrm>
            <a:off x="4114813" y="2092192"/>
            <a:ext cx="3957810" cy="3631314"/>
          </a:xfrm>
          <a:custGeom>
            <a:avLst/>
            <a:gdLst>
              <a:gd name="T0" fmla="*/ 235 w 1090"/>
              <a:gd name="T1" fmla="*/ 1000 h 1000"/>
              <a:gd name="T2" fmla="*/ 254 w 1090"/>
              <a:gd name="T3" fmla="*/ 977 h 1000"/>
              <a:gd name="T4" fmla="*/ 32 w 1090"/>
              <a:gd name="T5" fmla="*/ 554 h 1000"/>
              <a:gd name="T6" fmla="*/ 545 w 1090"/>
              <a:gd name="T7" fmla="*/ 40 h 1000"/>
              <a:gd name="T8" fmla="*/ 1058 w 1090"/>
              <a:gd name="T9" fmla="*/ 554 h 1000"/>
              <a:gd name="T10" fmla="*/ 871 w 1090"/>
              <a:gd name="T11" fmla="*/ 951 h 1000"/>
              <a:gd name="T12" fmla="*/ 896 w 1090"/>
              <a:gd name="T13" fmla="*/ 969 h 1000"/>
              <a:gd name="T14" fmla="*/ 1090 w 1090"/>
              <a:gd name="T15" fmla="*/ 549 h 1000"/>
              <a:gd name="T16" fmla="*/ 545 w 1090"/>
              <a:gd name="T17" fmla="*/ 0 h 1000"/>
              <a:gd name="T18" fmla="*/ 0 w 1090"/>
              <a:gd name="T19" fmla="*/ 549 h 1000"/>
              <a:gd name="T20" fmla="*/ 235 w 1090"/>
              <a:gd name="T21" fmla="*/ 1000 h 1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90" h="1000">
                <a:moveTo>
                  <a:pt x="235" y="1000"/>
                </a:moveTo>
                <a:cubicBezTo>
                  <a:pt x="254" y="977"/>
                  <a:pt x="254" y="977"/>
                  <a:pt x="254" y="977"/>
                </a:cubicBezTo>
                <a:cubicBezTo>
                  <a:pt x="120" y="885"/>
                  <a:pt x="32" y="730"/>
                  <a:pt x="32" y="554"/>
                </a:cubicBezTo>
                <a:cubicBezTo>
                  <a:pt x="32" y="270"/>
                  <a:pt x="262" y="40"/>
                  <a:pt x="545" y="40"/>
                </a:cubicBezTo>
                <a:cubicBezTo>
                  <a:pt x="828" y="40"/>
                  <a:pt x="1058" y="270"/>
                  <a:pt x="1058" y="554"/>
                </a:cubicBezTo>
                <a:cubicBezTo>
                  <a:pt x="1058" y="714"/>
                  <a:pt x="985" y="856"/>
                  <a:pt x="871" y="951"/>
                </a:cubicBezTo>
                <a:cubicBezTo>
                  <a:pt x="896" y="969"/>
                  <a:pt x="896" y="969"/>
                  <a:pt x="896" y="969"/>
                </a:cubicBezTo>
                <a:cubicBezTo>
                  <a:pt x="1014" y="868"/>
                  <a:pt x="1090" y="718"/>
                  <a:pt x="1090" y="549"/>
                </a:cubicBezTo>
                <a:cubicBezTo>
                  <a:pt x="1090" y="246"/>
                  <a:pt x="846" y="0"/>
                  <a:pt x="545" y="0"/>
                </a:cubicBezTo>
                <a:cubicBezTo>
                  <a:pt x="244" y="0"/>
                  <a:pt x="0" y="246"/>
                  <a:pt x="0" y="549"/>
                </a:cubicBezTo>
                <a:cubicBezTo>
                  <a:pt x="0" y="736"/>
                  <a:pt x="93" y="901"/>
                  <a:pt x="235" y="1000"/>
                </a:cubicBezTo>
                <a:close/>
              </a:path>
            </a:pathLst>
          </a:custGeom>
          <a:solidFill>
            <a:schemeClr val="bg1">
              <a:lumMod val="75000"/>
            </a:schemeClr>
          </a:solidFill>
          <a:ln w="15875"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Light"/>
              <a:ea typeface="+mn-ea"/>
              <a:cs typeface="+mn-cs"/>
            </a:endParaRPr>
          </a:p>
        </p:txBody>
      </p:sp>
      <p:sp>
        <p:nvSpPr>
          <p:cNvPr id="100" name="Oval 8"/>
          <p:cNvSpPr>
            <a:spLocks noChangeArrowheads="1"/>
          </p:cNvSpPr>
          <p:nvPr/>
        </p:nvSpPr>
        <p:spPr bwMode="auto">
          <a:xfrm>
            <a:off x="3844717" y="4195672"/>
            <a:ext cx="780848" cy="790123"/>
          </a:xfrm>
          <a:prstGeom prst="ellipse">
            <a:avLst/>
          </a:prstGeom>
          <a:solidFill>
            <a:srgbClr val="78D2D2"/>
          </a:solidFill>
          <a:ln w="15875"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Light"/>
              <a:ea typeface="+mn-ea"/>
              <a:cs typeface="+mn-cs"/>
            </a:endParaRPr>
          </a:p>
        </p:txBody>
      </p:sp>
      <p:sp>
        <p:nvSpPr>
          <p:cNvPr id="101" name="Oval 7"/>
          <p:cNvSpPr>
            <a:spLocks noChangeArrowheads="1"/>
          </p:cNvSpPr>
          <p:nvPr/>
        </p:nvSpPr>
        <p:spPr bwMode="auto">
          <a:xfrm>
            <a:off x="3943134" y="4297958"/>
            <a:ext cx="584017" cy="585547"/>
          </a:xfrm>
          <a:prstGeom prst="ellipse">
            <a:avLst/>
          </a:prstGeom>
          <a:solidFill>
            <a:schemeClr val="bg1"/>
          </a:solidFill>
          <a:ln w="15875" cap="flat">
            <a:noFill/>
            <a:prstDash val="solid"/>
            <a:miter lim="800000"/>
            <a:headEnd/>
            <a:tailEnd/>
          </a:ln>
          <a:effectLst>
            <a:outerShdw blurRad="50800" dist="38100" dir="5400000" algn="t" rotWithShape="0">
              <a:prstClr val="black">
                <a:alpha val="40000"/>
              </a:prstClr>
            </a:outerShdw>
          </a:effec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Light"/>
              <a:ea typeface="+mn-ea"/>
              <a:cs typeface="+mn-cs"/>
            </a:endParaRPr>
          </a:p>
        </p:txBody>
      </p:sp>
      <p:sp>
        <p:nvSpPr>
          <p:cNvPr id="102" name="Oval 10"/>
          <p:cNvSpPr>
            <a:spLocks noChangeArrowheads="1"/>
          </p:cNvSpPr>
          <p:nvPr/>
        </p:nvSpPr>
        <p:spPr bwMode="auto">
          <a:xfrm>
            <a:off x="3895301" y="3044827"/>
            <a:ext cx="780848" cy="786411"/>
          </a:xfrm>
          <a:prstGeom prst="ellipse">
            <a:avLst/>
          </a:prstGeom>
          <a:solidFill>
            <a:srgbClr val="3B3939"/>
          </a:solidFill>
          <a:ln w="15875"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Light"/>
              <a:ea typeface="+mn-ea"/>
              <a:cs typeface="+mn-cs"/>
            </a:endParaRPr>
          </a:p>
        </p:txBody>
      </p:sp>
      <p:sp>
        <p:nvSpPr>
          <p:cNvPr id="106" name="Oval 9"/>
          <p:cNvSpPr>
            <a:spLocks noChangeArrowheads="1"/>
          </p:cNvSpPr>
          <p:nvPr/>
        </p:nvSpPr>
        <p:spPr bwMode="auto">
          <a:xfrm>
            <a:off x="3993717" y="3146026"/>
            <a:ext cx="584017" cy="584017"/>
          </a:xfrm>
          <a:prstGeom prst="ellipse">
            <a:avLst/>
          </a:prstGeom>
          <a:solidFill>
            <a:schemeClr val="bg1"/>
          </a:solidFill>
          <a:ln w="15875" cap="flat">
            <a:noFill/>
            <a:prstDash val="solid"/>
            <a:miter lim="800000"/>
            <a:headEnd/>
            <a:tailEnd/>
          </a:ln>
          <a:effectLst>
            <a:outerShdw blurRad="50800" dist="38100" dir="5400000" algn="t" rotWithShape="0">
              <a:prstClr val="black">
                <a:alpha val="40000"/>
              </a:prstClr>
            </a:outerShdw>
          </a:effec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Light"/>
              <a:ea typeface="+mn-ea"/>
              <a:cs typeface="+mn-cs"/>
            </a:endParaRPr>
          </a:p>
        </p:txBody>
      </p:sp>
      <p:sp>
        <p:nvSpPr>
          <p:cNvPr id="118" name="Oval 12"/>
          <p:cNvSpPr>
            <a:spLocks noChangeArrowheads="1"/>
          </p:cNvSpPr>
          <p:nvPr/>
        </p:nvSpPr>
        <p:spPr bwMode="auto">
          <a:xfrm>
            <a:off x="4603476" y="2118664"/>
            <a:ext cx="780848" cy="790123"/>
          </a:xfrm>
          <a:prstGeom prst="ellipse">
            <a:avLst/>
          </a:prstGeom>
          <a:solidFill>
            <a:srgbClr val="E2583D"/>
          </a:solidFill>
          <a:ln w="15875"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Light"/>
              <a:ea typeface="+mn-ea"/>
              <a:cs typeface="+mn-cs"/>
            </a:endParaRPr>
          </a:p>
        </p:txBody>
      </p:sp>
      <p:sp>
        <p:nvSpPr>
          <p:cNvPr id="119" name="Oval 11"/>
          <p:cNvSpPr>
            <a:spLocks noChangeArrowheads="1"/>
          </p:cNvSpPr>
          <p:nvPr/>
        </p:nvSpPr>
        <p:spPr bwMode="auto">
          <a:xfrm>
            <a:off x="4703425" y="2219418"/>
            <a:ext cx="580949" cy="588614"/>
          </a:xfrm>
          <a:prstGeom prst="ellipse">
            <a:avLst/>
          </a:prstGeom>
          <a:solidFill>
            <a:schemeClr val="bg1"/>
          </a:solidFill>
          <a:ln w="15875" cap="flat">
            <a:noFill/>
            <a:prstDash val="solid"/>
            <a:miter lim="800000"/>
            <a:headEnd/>
            <a:tailEnd/>
          </a:ln>
          <a:effectLst>
            <a:outerShdw blurRad="50800" dist="38100" dir="5400000" algn="t" rotWithShape="0">
              <a:prstClr val="black">
                <a:alpha val="40000"/>
              </a:prstClr>
            </a:outerShdw>
          </a:effec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Light"/>
              <a:ea typeface="+mn-ea"/>
              <a:cs typeface="+mn-cs"/>
            </a:endParaRPr>
          </a:p>
        </p:txBody>
      </p:sp>
      <p:sp>
        <p:nvSpPr>
          <p:cNvPr id="122" name="Oval 14"/>
          <p:cNvSpPr>
            <a:spLocks noChangeArrowheads="1"/>
          </p:cNvSpPr>
          <p:nvPr/>
        </p:nvSpPr>
        <p:spPr bwMode="auto">
          <a:xfrm>
            <a:off x="5702366" y="1769014"/>
            <a:ext cx="782701" cy="791978"/>
          </a:xfrm>
          <a:prstGeom prst="ellipse">
            <a:avLst/>
          </a:prstGeom>
          <a:solidFill>
            <a:schemeClr val="accent3"/>
          </a:solidFill>
          <a:ln w="15875"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Light"/>
              <a:ea typeface="+mn-ea"/>
              <a:cs typeface="+mn-cs"/>
            </a:endParaRPr>
          </a:p>
        </p:txBody>
      </p:sp>
      <p:sp>
        <p:nvSpPr>
          <p:cNvPr id="123" name="Oval 13"/>
          <p:cNvSpPr>
            <a:spLocks noChangeArrowheads="1"/>
          </p:cNvSpPr>
          <p:nvPr/>
        </p:nvSpPr>
        <p:spPr bwMode="auto">
          <a:xfrm>
            <a:off x="5804010" y="1872995"/>
            <a:ext cx="579416" cy="584017"/>
          </a:xfrm>
          <a:prstGeom prst="ellipse">
            <a:avLst/>
          </a:prstGeom>
          <a:solidFill>
            <a:schemeClr val="bg1"/>
          </a:solidFill>
          <a:ln w="15875" cap="flat">
            <a:noFill/>
            <a:prstDash val="solid"/>
            <a:miter lim="800000"/>
            <a:headEnd/>
            <a:tailEnd/>
          </a:ln>
          <a:effectLst>
            <a:outerShdw blurRad="50800" dist="38100" dir="5400000" algn="t" rotWithShape="0">
              <a:prstClr val="black">
                <a:alpha val="40000"/>
              </a:prstClr>
            </a:outerShdw>
          </a:effec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Light"/>
              <a:ea typeface="+mn-ea"/>
              <a:cs typeface="+mn-cs"/>
            </a:endParaRPr>
          </a:p>
        </p:txBody>
      </p:sp>
      <p:sp>
        <p:nvSpPr>
          <p:cNvPr id="124" name="Oval 16"/>
          <p:cNvSpPr>
            <a:spLocks noChangeArrowheads="1"/>
          </p:cNvSpPr>
          <p:nvPr/>
        </p:nvSpPr>
        <p:spPr bwMode="auto">
          <a:xfrm>
            <a:off x="6810774" y="2118664"/>
            <a:ext cx="780848" cy="790123"/>
          </a:xfrm>
          <a:prstGeom prst="ellipse">
            <a:avLst/>
          </a:prstGeom>
          <a:solidFill>
            <a:srgbClr val="3B3939"/>
          </a:solidFill>
          <a:ln w="15875"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Light"/>
              <a:ea typeface="+mn-ea"/>
              <a:cs typeface="+mn-cs"/>
            </a:endParaRPr>
          </a:p>
        </p:txBody>
      </p:sp>
      <p:sp>
        <p:nvSpPr>
          <p:cNvPr id="125" name="Oval 15"/>
          <p:cNvSpPr>
            <a:spLocks noChangeArrowheads="1"/>
          </p:cNvSpPr>
          <p:nvPr/>
        </p:nvSpPr>
        <p:spPr bwMode="auto">
          <a:xfrm>
            <a:off x="6910725" y="2221718"/>
            <a:ext cx="580949" cy="584017"/>
          </a:xfrm>
          <a:prstGeom prst="ellipse">
            <a:avLst/>
          </a:prstGeom>
          <a:solidFill>
            <a:schemeClr val="bg1"/>
          </a:solidFill>
          <a:ln w="15875" cap="flat">
            <a:noFill/>
            <a:prstDash val="solid"/>
            <a:miter lim="800000"/>
            <a:headEnd/>
            <a:tailEnd/>
          </a:ln>
          <a:effectLst>
            <a:outerShdw blurRad="50800" dist="38100" dir="5400000" algn="t" rotWithShape="0">
              <a:prstClr val="black">
                <a:alpha val="40000"/>
              </a:prstClr>
            </a:outerShdw>
          </a:effec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Light"/>
              <a:ea typeface="+mn-ea"/>
              <a:cs typeface="+mn-cs"/>
            </a:endParaRPr>
          </a:p>
        </p:txBody>
      </p:sp>
      <p:sp>
        <p:nvSpPr>
          <p:cNvPr id="126" name="Oval 18"/>
          <p:cNvSpPr>
            <a:spLocks noChangeArrowheads="1"/>
          </p:cNvSpPr>
          <p:nvPr/>
        </p:nvSpPr>
        <p:spPr bwMode="auto">
          <a:xfrm>
            <a:off x="7522015" y="3033773"/>
            <a:ext cx="780848" cy="790123"/>
          </a:xfrm>
          <a:prstGeom prst="ellipse">
            <a:avLst/>
          </a:prstGeom>
          <a:solidFill>
            <a:srgbClr val="E2583D"/>
          </a:solidFill>
          <a:ln w="15875"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Light"/>
              <a:ea typeface="+mn-ea"/>
              <a:cs typeface="+mn-cs"/>
            </a:endParaRPr>
          </a:p>
        </p:txBody>
      </p:sp>
      <p:sp>
        <p:nvSpPr>
          <p:cNvPr id="127" name="Oval 17"/>
          <p:cNvSpPr>
            <a:spLocks noChangeArrowheads="1"/>
          </p:cNvSpPr>
          <p:nvPr/>
        </p:nvSpPr>
        <p:spPr bwMode="auto">
          <a:xfrm>
            <a:off x="7620432" y="3134527"/>
            <a:ext cx="584017" cy="588614"/>
          </a:xfrm>
          <a:prstGeom prst="ellipse">
            <a:avLst/>
          </a:prstGeom>
          <a:solidFill>
            <a:schemeClr val="bg1"/>
          </a:solidFill>
          <a:ln w="15875" cap="flat">
            <a:noFill/>
            <a:prstDash val="solid"/>
            <a:miter lim="800000"/>
            <a:headEnd/>
            <a:tailEnd/>
          </a:ln>
          <a:effectLst>
            <a:outerShdw blurRad="50800" dist="38100" dir="5400000" algn="t" rotWithShape="0">
              <a:prstClr val="black">
                <a:alpha val="40000"/>
              </a:prstClr>
            </a:outerShdw>
          </a:effec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Light"/>
              <a:ea typeface="+mn-ea"/>
              <a:cs typeface="+mn-cs"/>
            </a:endParaRPr>
          </a:p>
        </p:txBody>
      </p:sp>
      <p:sp>
        <p:nvSpPr>
          <p:cNvPr id="128" name="Oval 20"/>
          <p:cNvSpPr>
            <a:spLocks noChangeArrowheads="1"/>
          </p:cNvSpPr>
          <p:nvPr/>
        </p:nvSpPr>
        <p:spPr bwMode="auto">
          <a:xfrm>
            <a:off x="7569855" y="4195672"/>
            <a:ext cx="777139" cy="790123"/>
          </a:xfrm>
          <a:prstGeom prst="ellipse">
            <a:avLst/>
          </a:prstGeom>
          <a:solidFill>
            <a:schemeClr val="accent3"/>
          </a:solidFill>
          <a:ln w="15875"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Light"/>
              <a:ea typeface="+mn-ea"/>
              <a:cs typeface="+mn-cs"/>
            </a:endParaRPr>
          </a:p>
        </p:txBody>
      </p:sp>
      <p:sp>
        <p:nvSpPr>
          <p:cNvPr id="129" name="Oval 19"/>
          <p:cNvSpPr>
            <a:spLocks noChangeArrowheads="1"/>
          </p:cNvSpPr>
          <p:nvPr/>
        </p:nvSpPr>
        <p:spPr bwMode="auto">
          <a:xfrm>
            <a:off x="7665652" y="4296425"/>
            <a:ext cx="585546" cy="588614"/>
          </a:xfrm>
          <a:prstGeom prst="ellipse">
            <a:avLst/>
          </a:prstGeom>
          <a:solidFill>
            <a:schemeClr val="bg1"/>
          </a:solidFill>
          <a:ln w="15875" cap="flat">
            <a:noFill/>
            <a:prstDash val="solid"/>
            <a:miter lim="800000"/>
            <a:headEnd/>
            <a:tailEnd/>
          </a:ln>
          <a:effectLst>
            <a:outerShdw blurRad="50800" dist="38100" dir="5400000" algn="t" rotWithShape="0">
              <a:prstClr val="black">
                <a:alpha val="40000"/>
              </a:prstClr>
            </a:outerShdw>
          </a:effec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Light"/>
              <a:ea typeface="+mn-ea"/>
              <a:cs typeface="+mn-cs"/>
            </a:endParaRPr>
          </a:p>
        </p:txBody>
      </p:sp>
      <p:sp>
        <p:nvSpPr>
          <p:cNvPr id="130" name="Oval 22"/>
          <p:cNvSpPr>
            <a:spLocks noChangeArrowheads="1"/>
          </p:cNvSpPr>
          <p:nvPr/>
        </p:nvSpPr>
        <p:spPr bwMode="auto">
          <a:xfrm>
            <a:off x="6941066" y="5167334"/>
            <a:ext cx="780848" cy="791978"/>
          </a:xfrm>
          <a:prstGeom prst="ellipse">
            <a:avLst/>
          </a:prstGeom>
          <a:solidFill>
            <a:srgbClr val="3B3939"/>
          </a:solidFill>
          <a:ln w="15875"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Light"/>
              <a:ea typeface="+mn-ea"/>
              <a:cs typeface="+mn-cs"/>
            </a:endParaRPr>
          </a:p>
        </p:txBody>
      </p:sp>
      <p:sp>
        <p:nvSpPr>
          <p:cNvPr id="131" name="Oval 21"/>
          <p:cNvSpPr>
            <a:spLocks noChangeArrowheads="1"/>
          </p:cNvSpPr>
          <p:nvPr/>
        </p:nvSpPr>
        <p:spPr bwMode="auto">
          <a:xfrm>
            <a:off x="7039483" y="5269016"/>
            <a:ext cx="584017" cy="588614"/>
          </a:xfrm>
          <a:prstGeom prst="ellipse">
            <a:avLst/>
          </a:prstGeom>
          <a:solidFill>
            <a:schemeClr val="bg1"/>
          </a:solidFill>
          <a:ln w="15875" cap="flat">
            <a:noFill/>
            <a:prstDash val="solid"/>
            <a:miter lim="800000"/>
            <a:headEnd/>
            <a:tailEnd/>
          </a:ln>
          <a:effectLst>
            <a:outerShdw blurRad="50800" dist="38100" dir="5400000" algn="t" rotWithShape="0">
              <a:prstClr val="black">
                <a:alpha val="40000"/>
              </a:prstClr>
            </a:outerShdw>
          </a:effec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Light"/>
              <a:ea typeface="+mn-ea"/>
              <a:cs typeface="+mn-cs"/>
            </a:endParaRPr>
          </a:p>
        </p:txBody>
      </p:sp>
      <p:sp>
        <p:nvSpPr>
          <p:cNvPr id="132" name="TextBox 131"/>
          <p:cNvSpPr txBox="1"/>
          <p:nvPr/>
        </p:nvSpPr>
        <p:spPr>
          <a:xfrm>
            <a:off x="5500659" y="3966212"/>
            <a:ext cx="1190714" cy="184666"/>
          </a:xfrm>
          <a:prstGeom prst="rect">
            <a:avLst/>
          </a:prstGeom>
          <a:noFill/>
          <a:ln w="6350">
            <a:noFill/>
            <a:prstDash val="dash"/>
          </a:ln>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effectLst/>
                <a:uLnTx/>
                <a:uFillTx/>
                <a:ea typeface="+mn-ea"/>
                <a:cs typeface="+mn-cs"/>
              </a:rPr>
              <a:t>LOGISTICS</a:t>
            </a:r>
          </a:p>
        </p:txBody>
      </p:sp>
      <p:sp>
        <p:nvSpPr>
          <p:cNvPr id="133" name="TextBox 132"/>
          <p:cNvSpPr txBox="1"/>
          <p:nvPr/>
        </p:nvSpPr>
        <p:spPr>
          <a:xfrm>
            <a:off x="5012558" y="4232982"/>
            <a:ext cx="2166918" cy="338554"/>
          </a:xfrm>
          <a:prstGeom prst="rect">
            <a:avLst/>
          </a:prstGeom>
          <a:noFill/>
          <a:ln w="6350">
            <a:noFill/>
            <a:prstDash val="dash"/>
          </a:ln>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err="1">
                <a:ln>
                  <a:noFill/>
                </a:ln>
                <a:effectLst/>
                <a:uLnTx/>
                <a:uFillTx/>
                <a:ea typeface="+mn-ea"/>
                <a:cs typeface="+mn-cs"/>
              </a:rPr>
              <a:t>Lorem</a:t>
            </a:r>
            <a:r>
              <a:rPr kumimoji="0" lang="en-US" sz="1100" b="0" i="0" u="none" strike="noStrike" kern="1200" cap="none" spc="0" normalizeH="0" baseline="0" noProof="0" dirty="0">
                <a:ln>
                  <a:noFill/>
                </a:ln>
                <a:effectLst/>
                <a:uLnTx/>
                <a:uFillTx/>
                <a:ea typeface="+mn-ea"/>
                <a:cs typeface="+mn-cs"/>
              </a:rPr>
              <a:t> </a:t>
            </a:r>
            <a:r>
              <a:rPr kumimoji="0" lang="en-US" sz="1100" b="0" i="0" u="none" strike="noStrike" kern="1200" cap="none" spc="0" normalizeH="0" baseline="0" noProof="0" dirty="0" err="1">
                <a:ln>
                  <a:noFill/>
                </a:ln>
                <a:effectLst/>
                <a:uLnTx/>
                <a:uFillTx/>
                <a:ea typeface="+mn-ea"/>
                <a:cs typeface="+mn-cs"/>
              </a:rPr>
              <a:t>Ipsum</a:t>
            </a:r>
            <a:r>
              <a:rPr kumimoji="0" lang="en-US" sz="1100" b="0" i="0" u="none" strike="noStrike" kern="1200" cap="none" spc="0" normalizeH="0" baseline="0" noProof="0" dirty="0">
                <a:ln>
                  <a:noFill/>
                </a:ln>
                <a:effectLst/>
                <a:uLnTx/>
                <a:uFillTx/>
                <a:ea typeface="+mn-ea"/>
                <a:cs typeface="+mn-cs"/>
              </a:rPr>
              <a:t> is simply dummy text of the printing and typesetting industry. </a:t>
            </a:r>
          </a:p>
        </p:txBody>
      </p:sp>
      <p:sp>
        <p:nvSpPr>
          <p:cNvPr id="134" name="Oval 6"/>
          <p:cNvSpPr>
            <a:spLocks noChangeArrowheads="1"/>
          </p:cNvSpPr>
          <p:nvPr/>
        </p:nvSpPr>
        <p:spPr bwMode="auto">
          <a:xfrm>
            <a:off x="4465520" y="5172419"/>
            <a:ext cx="780848" cy="786411"/>
          </a:xfrm>
          <a:prstGeom prst="ellipse">
            <a:avLst/>
          </a:prstGeom>
          <a:solidFill>
            <a:srgbClr val="E2583D"/>
          </a:solidFill>
          <a:ln w="15875"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Light"/>
              <a:ea typeface="+mn-ea"/>
              <a:cs typeface="+mn-cs"/>
            </a:endParaRPr>
          </a:p>
        </p:txBody>
      </p:sp>
      <p:sp>
        <p:nvSpPr>
          <p:cNvPr id="135" name="Oval 5"/>
          <p:cNvSpPr>
            <a:spLocks noChangeArrowheads="1"/>
          </p:cNvSpPr>
          <p:nvPr/>
        </p:nvSpPr>
        <p:spPr bwMode="auto">
          <a:xfrm>
            <a:off x="4565469" y="5272851"/>
            <a:ext cx="580949" cy="585546"/>
          </a:xfrm>
          <a:prstGeom prst="ellipse">
            <a:avLst/>
          </a:prstGeom>
          <a:solidFill>
            <a:schemeClr val="bg1"/>
          </a:solidFill>
          <a:ln w="15875" cap="flat">
            <a:noFill/>
            <a:prstDash val="solid"/>
            <a:miter lim="800000"/>
            <a:headEnd/>
            <a:tailEnd/>
          </a:ln>
          <a:effectLst>
            <a:outerShdw blurRad="50800" dist="38100" dir="5400000" algn="t" rotWithShape="0">
              <a:prstClr val="black">
                <a:alpha val="40000"/>
              </a:prstClr>
            </a:outerShdw>
          </a:effec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Light"/>
              <a:ea typeface="+mn-ea"/>
              <a:cs typeface="+mn-cs"/>
            </a:endParaRPr>
          </a:p>
        </p:txBody>
      </p:sp>
      <p:grpSp>
        <p:nvGrpSpPr>
          <p:cNvPr id="182" name="Group 181"/>
          <p:cNvGrpSpPr/>
          <p:nvPr/>
        </p:nvGrpSpPr>
        <p:grpSpPr>
          <a:xfrm>
            <a:off x="4746406" y="5421955"/>
            <a:ext cx="219075" cy="287338"/>
            <a:chOff x="6445250" y="2498725"/>
            <a:chExt cx="219075" cy="287338"/>
          </a:xfrm>
          <a:solidFill>
            <a:srgbClr val="E2583D"/>
          </a:solidFill>
        </p:grpSpPr>
        <p:sp>
          <p:nvSpPr>
            <p:cNvPr id="183" name="Freeform 227"/>
            <p:cNvSpPr>
              <a:spLocks noEditPoints="1"/>
            </p:cNvSpPr>
            <p:nvPr/>
          </p:nvSpPr>
          <p:spPr bwMode="auto">
            <a:xfrm>
              <a:off x="6445250" y="2498725"/>
              <a:ext cx="219075" cy="287338"/>
            </a:xfrm>
            <a:custGeom>
              <a:avLst/>
              <a:gdLst>
                <a:gd name="T0" fmla="*/ 104 w 692"/>
                <a:gd name="T1" fmla="*/ 868 h 902"/>
                <a:gd name="T2" fmla="*/ 69 w 692"/>
                <a:gd name="T3" fmla="*/ 849 h 902"/>
                <a:gd name="T4" fmla="*/ 43 w 692"/>
                <a:gd name="T5" fmla="*/ 818 h 902"/>
                <a:gd name="T6" fmla="*/ 31 w 692"/>
                <a:gd name="T7" fmla="*/ 778 h 902"/>
                <a:gd name="T8" fmla="*/ 35 w 692"/>
                <a:gd name="T9" fmla="*/ 736 h 902"/>
                <a:gd name="T10" fmla="*/ 55 w 692"/>
                <a:gd name="T11" fmla="*/ 700 h 902"/>
                <a:gd name="T12" fmla="*/ 86 w 692"/>
                <a:gd name="T13" fmla="*/ 674 h 902"/>
                <a:gd name="T14" fmla="*/ 124 w 692"/>
                <a:gd name="T15" fmla="*/ 662 h 902"/>
                <a:gd name="T16" fmla="*/ 167 w 692"/>
                <a:gd name="T17" fmla="*/ 667 h 902"/>
                <a:gd name="T18" fmla="*/ 202 w 692"/>
                <a:gd name="T19" fmla="*/ 686 h 902"/>
                <a:gd name="T20" fmla="*/ 228 w 692"/>
                <a:gd name="T21" fmla="*/ 717 h 902"/>
                <a:gd name="T22" fmla="*/ 240 w 692"/>
                <a:gd name="T23" fmla="*/ 757 h 902"/>
                <a:gd name="T24" fmla="*/ 236 w 692"/>
                <a:gd name="T25" fmla="*/ 798 h 902"/>
                <a:gd name="T26" fmla="*/ 216 w 692"/>
                <a:gd name="T27" fmla="*/ 834 h 902"/>
                <a:gd name="T28" fmla="*/ 185 w 692"/>
                <a:gd name="T29" fmla="*/ 859 h 902"/>
                <a:gd name="T30" fmla="*/ 146 w 692"/>
                <a:gd name="T31" fmla="*/ 872 h 902"/>
                <a:gd name="T32" fmla="*/ 511 w 692"/>
                <a:gd name="T33" fmla="*/ 361 h 902"/>
                <a:gd name="T34" fmla="*/ 271 w 692"/>
                <a:gd name="T35" fmla="*/ 722 h 902"/>
                <a:gd name="T36" fmla="*/ 632 w 692"/>
                <a:gd name="T37" fmla="*/ 722 h 902"/>
                <a:gd name="T38" fmla="*/ 622 w 692"/>
                <a:gd name="T39" fmla="*/ 813 h 902"/>
                <a:gd name="T40" fmla="*/ 266 w 692"/>
                <a:gd name="T41" fmla="*/ 802 h 902"/>
                <a:gd name="T42" fmla="*/ 270 w 692"/>
                <a:gd name="T43" fmla="*/ 760 h 902"/>
                <a:gd name="T44" fmla="*/ 652 w 692"/>
                <a:gd name="T45" fmla="*/ 751 h 902"/>
                <a:gd name="T46" fmla="*/ 660 w 692"/>
                <a:gd name="T47" fmla="*/ 743 h 902"/>
                <a:gd name="T48" fmla="*/ 661 w 692"/>
                <a:gd name="T49" fmla="*/ 373 h 902"/>
                <a:gd name="T50" fmla="*/ 655 w 692"/>
                <a:gd name="T51" fmla="*/ 364 h 902"/>
                <a:gd name="T52" fmla="*/ 541 w 692"/>
                <a:gd name="T53" fmla="*/ 361 h 902"/>
                <a:gd name="T54" fmla="*/ 539 w 692"/>
                <a:gd name="T55" fmla="*/ 158 h 902"/>
                <a:gd name="T56" fmla="*/ 529 w 692"/>
                <a:gd name="T57" fmla="*/ 151 h 902"/>
                <a:gd name="T58" fmla="*/ 250 w 692"/>
                <a:gd name="T59" fmla="*/ 151 h 902"/>
                <a:gd name="T60" fmla="*/ 242 w 692"/>
                <a:gd name="T61" fmla="*/ 160 h 902"/>
                <a:gd name="T62" fmla="*/ 241 w 692"/>
                <a:gd name="T63" fmla="*/ 683 h 902"/>
                <a:gd name="T64" fmla="*/ 213 w 692"/>
                <a:gd name="T65" fmla="*/ 657 h 902"/>
                <a:gd name="T66" fmla="*/ 180 w 692"/>
                <a:gd name="T67" fmla="*/ 640 h 902"/>
                <a:gd name="T68" fmla="*/ 178 w 692"/>
                <a:gd name="T69" fmla="*/ 7 h 902"/>
                <a:gd name="T70" fmla="*/ 168 w 692"/>
                <a:gd name="T71" fmla="*/ 0 h 902"/>
                <a:gd name="T72" fmla="*/ 70 w 692"/>
                <a:gd name="T73" fmla="*/ 1 h 902"/>
                <a:gd name="T74" fmla="*/ 61 w 692"/>
                <a:gd name="T75" fmla="*/ 10 h 902"/>
                <a:gd name="T76" fmla="*/ 61 w 692"/>
                <a:gd name="T77" fmla="*/ 22 h 902"/>
                <a:gd name="T78" fmla="*/ 70 w 692"/>
                <a:gd name="T79" fmla="*/ 29 h 902"/>
                <a:gd name="T80" fmla="*/ 150 w 692"/>
                <a:gd name="T81" fmla="*/ 632 h 902"/>
                <a:gd name="T82" fmla="*/ 108 w 692"/>
                <a:gd name="T83" fmla="*/ 635 h 902"/>
                <a:gd name="T84" fmla="*/ 60 w 692"/>
                <a:gd name="T85" fmla="*/ 655 h 902"/>
                <a:gd name="T86" fmla="*/ 24 w 692"/>
                <a:gd name="T87" fmla="*/ 691 h 902"/>
                <a:gd name="T88" fmla="*/ 3 w 692"/>
                <a:gd name="T89" fmla="*/ 740 h 902"/>
                <a:gd name="T90" fmla="*/ 3 w 692"/>
                <a:gd name="T91" fmla="*/ 794 h 902"/>
                <a:gd name="T92" fmla="*/ 24 w 692"/>
                <a:gd name="T93" fmla="*/ 842 h 902"/>
                <a:gd name="T94" fmla="*/ 60 w 692"/>
                <a:gd name="T95" fmla="*/ 880 h 902"/>
                <a:gd name="T96" fmla="*/ 108 w 692"/>
                <a:gd name="T97" fmla="*/ 900 h 902"/>
                <a:gd name="T98" fmla="*/ 152 w 692"/>
                <a:gd name="T99" fmla="*/ 901 h 902"/>
                <a:gd name="T100" fmla="*/ 200 w 692"/>
                <a:gd name="T101" fmla="*/ 886 h 902"/>
                <a:gd name="T102" fmla="*/ 247 w 692"/>
                <a:gd name="T103" fmla="*/ 842 h 902"/>
                <a:gd name="T104" fmla="*/ 671 w 692"/>
                <a:gd name="T105" fmla="*/ 901 h 902"/>
                <a:gd name="T106" fmla="*/ 682 w 692"/>
                <a:gd name="T107" fmla="*/ 901 h 902"/>
                <a:gd name="T108" fmla="*/ 691 w 692"/>
                <a:gd name="T109" fmla="*/ 893 h 902"/>
                <a:gd name="T110" fmla="*/ 691 w 692"/>
                <a:gd name="T111" fmla="*/ 882 h 9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692" h="902">
                  <a:moveTo>
                    <a:pt x="135" y="872"/>
                  </a:moveTo>
                  <a:lnTo>
                    <a:pt x="124" y="872"/>
                  </a:lnTo>
                  <a:lnTo>
                    <a:pt x="115" y="870"/>
                  </a:lnTo>
                  <a:lnTo>
                    <a:pt x="104" y="868"/>
                  </a:lnTo>
                  <a:lnTo>
                    <a:pt x="94" y="864"/>
                  </a:lnTo>
                  <a:lnTo>
                    <a:pt x="86" y="859"/>
                  </a:lnTo>
                  <a:lnTo>
                    <a:pt x="76" y="854"/>
                  </a:lnTo>
                  <a:lnTo>
                    <a:pt x="69" y="849"/>
                  </a:lnTo>
                  <a:lnTo>
                    <a:pt x="61" y="841"/>
                  </a:lnTo>
                  <a:lnTo>
                    <a:pt x="55" y="834"/>
                  </a:lnTo>
                  <a:lnTo>
                    <a:pt x="48" y="826"/>
                  </a:lnTo>
                  <a:lnTo>
                    <a:pt x="43" y="818"/>
                  </a:lnTo>
                  <a:lnTo>
                    <a:pt x="39" y="808"/>
                  </a:lnTo>
                  <a:lnTo>
                    <a:pt x="35" y="798"/>
                  </a:lnTo>
                  <a:lnTo>
                    <a:pt x="32" y="789"/>
                  </a:lnTo>
                  <a:lnTo>
                    <a:pt x="31" y="778"/>
                  </a:lnTo>
                  <a:lnTo>
                    <a:pt x="30" y="767"/>
                  </a:lnTo>
                  <a:lnTo>
                    <a:pt x="31" y="757"/>
                  </a:lnTo>
                  <a:lnTo>
                    <a:pt x="32" y="746"/>
                  </a:lnTo>
                  <a:lnTo>
                    <a:pt x="35" y="736"/>
                  </a:lnTo>
                  <a:lnTo>
                    <a:pt x="39" y="727"/>
                  </a:lnTo>
                  <a:lnTo>
                    <a:pt x="43" y="717"/>
                  </a:lnTo>
                  <a:lnTo>
                    <a:pt x="48" y="708"/>
                  </a:lnTo>
                  <a:lnTo>
                    <a:pt x="55" y="700"/>
                  </a:lnTo>
                  <a:lnTo>
                    <a:pt x="61" y="692"/>
                  </a:lnTo>
                  <a:lnTo>
                    <a:pt x="69" y="686"/>
                  </a:lnTo>
                  <a:lnTo>
                    <a:pt x="76" y="680"/>
                  </a:lnTo>
                  <a:lnTo>
                    <a:pt x="86" y="674"/>
                  </a:lnTo>
                  <a:lnTo>
                    <a:pt x="94" y="670"/>
                  </a:lnTo>
                  <a:lnTo>
                    <a:pt x="104" y="667"/>
                  </a:lnTo>
                  <a:lnTo>
                    <a:pt x="115" y="665"/>
                  </a:lnTo>
                  <a:lnTo>
                    <a:pt x="124" y="662"/>
                  </a:lnTo>
                  <a:lnTo>
                    <a:pt x="135" y="662"/>
                  </a:lnTo>
                  <a:lnTo>
                    <a:pt x="146" y="662"/>
                  </a:lnTo>
                  <a:lnTo>
                    <a:pt x="156" y="665"/>
                  </a:lnTo>
                  <a:lnTo>
                    <a:pt x="167" y="667"/>
                  </a:lnTo>
                  <a:lnTo>
                    <a:pt x="177" y="670"/>
                  </a:lnTo>
                  <a:lnTo>
                    <a:pt x="185" y="674"/>
                  </a:lnTo>
                  <a:lnTo>
                    <a:pt x="194" y="680"/>
                  </a:lnTo>
                  <a:lnTo>
                    <a:pt x="202" y="686"/>
                  </a:lnTo>
                  <a:lnTo>
                    <a:pt x="210" y="692"/>
                  </a:lnTo>
                  <a:lnTo>
                    <a:pt x="216" y="700"/>
                  </a:lnTo>
                  <a:lnTo>
                    <a:pt x="223" y="708"/>
                  </a:lnTo>
                  <a:lnTo>
                    <a:pt x="228" y="717"/>
                  </a:lnTo>
                  <a:lnTo>
                    <a:pt x="232" y="727"/>
                  </a:lnTo>
                  <a:lnTo>
                    <a:pt x="236" y="736"/>
                  </a:lnTo>
                  <a:lnTo>
                    <a:pt x="239" y="746"/>
                  </a:lnTo>
                  <a:lnTo>
                    <a:pt x="240" y="757"/>
                  </a:lnTo>
                  <a:lnTo>
                    <a:pt x="241" y="767"/>
                  </a:lnTo>
                  <a:lnTo>
                    <a:pt x="240" y="778"/>
                  </a:lnTo>
                  <a:lnTo>
                    <a:pt x="239" y="789"/>
                  </a:lnTo>
                  <a:lnTo>
                    <a:pt x="236" y="798"/>
                  </a:lnTo>
                  <a:lnTo>
                    <a:pt x="232" y="808"/>
                  </a:lnTo>
                  <a:lnTo>
                    <a:pt x="228" y="818"/>
                  </a:lnTo>
                  <a:lnTo>
                    <a:pt x="223" y="826"/>
                  </a:lnTo>
                  <a:lnTo>
                    <a:pt x="216" y="834"/>
                  </a:lnTo>
                  <a:lnTo>
                    <a:pt x="210" y="841"/>
                  </a:lnTo>
                  <a:lnTo>
                    <a:pt x="202" y="849"/>
                  </a:lnTo>
                  <a:lnTo>
                    <a:pt x="194" y="854"/>
                  </a:lnTo>
                  <a:lnTo>
                    <a:pt x="185" y="859"/>
                  </a:lnTo>
                  <a:lnTo>
                    <a:pt x="177" y="864"/>
                  </a:lnTo>
                  <a:lnTo>
                    <a:pt x="167" y="868"/>
                  </a:lnTo>
                  <a:lnTo>
                    <a:pt x="156" y="870"/>
                  </a:lnTo>
                  <a:lnTo>
                    <a:pt x="146" y="872"/>
                  </a:lnTo>
                  <a:lnTo>
                    <a:pt x="135" y="872"/>
                  </a:lnTo>
                  <a:close/>
                  <a:moveTo>
                    <a:pt x="271" y="180"/>
                  </a:moveTo>
                  <a:lnTo>
                    <a:pt x="511" y="180"/>
                  </a:lnTo>
                  <a:lnTo>
                    <a:pt x="511" y="361"/>
                  </a:lnTo>
                  <a:lnTo>
                    <a:pt x="271" y="361"/>
                  </a:lnTo>
                  <a:lnTo>
                    <a:pt x="271" y="180"/>
                  </a:lnTo>
                  <a:close/>
                  <a:moveTo>
                    <a:pt x="632" y="722"/>
                  </a:moveTo>
                  <a:lnTo>
                    <a:pt x="271" y="722"/>
                  </a:lnTo>
                  <a:lnTo>
                    <a:pt x="271" y="391"/>
                  </a:lnTo>
                  <a:lnTo>
                    <a:pt x="526" y="391"/>
                  </a:lnTo>
                  <a:lnTo>
                    <a:pt x="632" y="391"/>
                  </a:lnTo>
                  <a:lnTo>
                    <a:pt x="632" y="722"/>
                  </a:lnTo>
                  <a:close/>
                  <a:moveTo>
                    <a:pt x="688" y="877"/>
                  </a:moveTo>
                  <a:lnTo>
                    <a:pt x="627" y="817"/>
                  </a:lnTo>
                  <a:lnTo>
                    <a:pt x="625" y="814"/>
                  </a:lnTo>
                  <a:lnTo>
                    <a:pt x="622" y="813"/>
                  </a:lnTo>
                  <a:lnTo>
                    <a:pt x="619" y="812"/>
                  </a:lnTo>
                  <a:lnTo>
                    <a:pt x="616" y="812"/>
                  </a:lnTo>
                  <a:lnTo>
                    <a:pt x="262" y="812"/>
                  </a:lnTo>
                  <a:lnTo>
                    <a:pt x="266" y="802"/>
                  </a:lnTo>
                  <a:lnTo>
                    <a:pt x="269" y="790"/>
                  </a:lnTo>
                  <a:lnTo>
                    <a:pt x="270" y="779"/>
                  </a:lnTo>
                  <a:lnTo>
                    <a:pt x="271" y="767"/>
                  </a:lnTo>
                  <a:lnTo>
                    <a:pt x="270" y="760"/>
                  </a:lnTo>
                  <a:lnTo>
                    <a:pt x="270" y="752"/>
                  </a:lnTo>
                  <a:lnTo>
                    <a:pt x="647" y="752"/>
                  </a:lnTo>
                  <a:lnTo>
                    <a:pt x="649" y="752"/>
                  </a:lnTo>
                  <a:lnTo>
                    <a:pt x="652" y="751"/>
                  </a:lnTo>
                  <a:lnTo>
                    <a:pt x="655" y="749"/>
                  </a:lnTo>
                  <a:lnTo>
                    <a:pt x="657" y="748"/>
                  </a:lnTo>
                  <a:lnTo>
                    <a:pt x="659" y="746"/>
                  </a:lnTo>
                  <a:lnTo>
                    <a:pt x="660" y="743"/>
                  </a:lnTo>
                  <a:lnTo>
                    <a:pt x="661" y="741"/>
                  </a:lnTo>
                  <a:lnTo>
                    <a:pt x="662" y="737"/>
                  </a:lnTo>
                  <a:lnTo>
                    <a:pt x="662" y="376"/>
                  </a:lnTo>
                  <a:lnTo>
                    <a:pt x="661" y="373"/>
                  </a:lnTo>
                  <a:lnTo>
                    <a:pt x="660" y="370"/>
                  </a:lnTo>
                  <a:lnTo>
                    <a:pt x="659" y="368"/>
                  </a:lnTo>
                  <a:lnTo>
                    <a:pt x="657" y="366"/>
                  </a:lnTo>
                  <a:lnTo>
                    <a:pt x="655" y="364"/>
                  </a:lnTo>
                  <a:lnTo>
                    <a:pt x="652" y="362"/>
                  </a:lnTo>
                  <a:lnTo>
                    <a:pt x="649" y="361"/>
                  </a:lnTo>
                  <a:lnTo>
                    <a:pt x="647" y="361"/>
                  </a:lnTo>
                  <a:lnTo>
                    <a:pt x="541" y="361"/>
                  </a:lnTo>
                  <a:lnTo>
                    <a:pt x="541" y="165"/>
                  </a:lnTo>
                  <a:lnTo>
                    <a:pt x="541" y="163"/>
                  </a:lnTo>
                  <a:lnTo>
                    <a:pt x="540" y="160"/>
                  </a:lnTo>
                  <a:lnTo>
                    <a:pt x="539" y="158"/>
                  </a:lnTo>
                  <a:lnTo>
                    <a:pt x="537" y="155"/>
                  </a:lnTo>
                  <a:lnTo>
                    <a:pt x="535" y="154"/>
                  </a:lnTo>
                  <a:lnTo>
                    <a:pt x="532" y="152"/>
                  </a:lnTo>
                  <a:lnTo>
                    <a:pt x="529" y="151"/>
                  </a:lnTo>
                  <a:lnTo>
                    <a:pt x="526" y="150"/>
                  </a:lnTo>
                  <a:lnTo>
                    <a:pt x="256" y="150"/>
                  </a:lnTo>
                  <a:lnTo>
                    <a:pt x="253" y="151"/>
                  </a:lnTo>
                  <a:lnTo>
                    <a:pt x="250" y="151"/>
                  </a:lnTo>
                  <a:lnTo>
                    <a:pt x="247" y="154"/>
                  </a:lnTo>
                  <a:lnTo>
                    <a:pt x="245" y="155"/>
                  </a:lnTo>
                  <a:lnTo>
                    <a:pt x="243" y="158"/>
                  </a:lnTo>
                  <a:lnTo>
                    <a:pt x="242" y="160"/>
                  </a:lnTo>
                  <a:lnTo>
                    <a:pt x="241" y="163"/>
                  </a:lnTo>
                  <a:lnTo>
                    <a:pt x="241" y="165"/>
                  </a:lnTo>
                  <a:lnTo>
                    <a:pt x="241" y="376"/>
                  </a:lnTo>
                  <a:lnTo>
                    <a:pt x="241" y="683"/>
                  </a:lnTo>
                  <a:lnTo>
                    <a:pt x="235" y="675"/>
                  </a:lnTo>
                  <a:lnTo>
                    <a:pt x="228" y="669"/>
                  </a:lnTo>
                  <a:lnTo>
                    <a:pt x="221" y="662"/>
                  </a:lnTo>
                  <a:lnTo>
                    <a:pt x="213" y="657"/>
                  </a:lnTo>
                  <a:lnTo>
                    <a:pt x="206" y="652"/>
                  </a:lnTo>
                  <a:lnTo>
                    <a:pt x="198" y="647"/>
                  </a:lnTo>
                  <a:lnTo>
                    <a:pt x="190" y="643"/>
                  </a:lnTo>
                  <a:lnTo>
                    <a:pt x="180" y="640"/>
                  </a:lnTo>
                  <a:lnTo>
                    <a:pt x="180" y="15"/>
                  </a:lnTo>
                  <a:lnTo>
                    <a:pt x="180" y="12"/>
                  </a:lnTo>
                  <a:lnTo>
                    <a:pt x="179" y="10"/>
                  </a:lnTo>
                  <a:lnTo>
                    <a:pt x="178" y="7"/>
                  </a:lnTo>
                  <a:lnTo>
                    <a:pt x="176" y="5"/>
                  </a:lnTo>
                  <a:lnTo>
                    <a:pt x="174" y="3"/>
                  </a:lnTo>
                  <a:lnTo>
                    <a:pt x="171" y="1"/>
                  </a:lnTo>
                  <a:lnTo>
                    <a:pt x="168" y="0"/>
                  </a:lnTo>
                  <a:lnTo>
                    <a:pt x="165" y="0"/>
                  </a:lnTo>
                  <a:lnTo>
                    <a:pt x="75" y="0"/>
                  </a:lnTo>
                  <a:lnTo>
                    <a:pt x="72" y="0"/>
                  </a:lnTo>
                  <a:lnTo>
                    <a:pt x="70" y="1"/>
                  </a:lnTo>
                  <a:lnTo>
                    <a:pt x="66" y="3"/>
                  </a:lnTo>
                  <a:lnTo>
                    <a:pt x="64" y="5"/>
                  </a:lnTo>
                  <a:lnTo>
                    <a:pt x="63" y="7"/>
                  </a:lnTo>
                  <a:lnTo>
                    <a:pt x="61" y="10"/>
                  </a:lnTo>
                  <a:lnTo>
                    <a:pt x="60" y="12"/>
                  </a:lnTo>
                  <a:lnTo>
                    <a:pt x="60" y="15"/>
                  </a:lnTo>
                  <a:lnTo>
                    <a:pt x="60" y="19"/>
                  </a:lnTo>
                  <a:lnTo>
                    <a:pt x="61" y="22"/>
                  </a:lnTo>
                  <a:lnTo>
                    <a:pt x="63" y="24"/>
                  </a:lnTo>
                  <a:lnTo>
                    <a:pt x="64" y="26"/>
                  </a:lnTo>
                  <a:lnTo>
                    <a:pt x="66" y="28"/>
                  </a:lnTo>
                  <a:lnTo>
                    <a:pt x="70" y="29"/>
                  </a:lnTo>
                  <a:lnTo>
                    <a:pt x="72" y="30"/>
                  </a:lnTo>
                  <a:lnTo>
                    <a:pt x="75" y="30"/>
                  </a:lnTo>
                  <a:lnTo>
                    <a:pt x="150" y="30"/>
                  </a:lnTo>
                  <a:lnTo>
                    <a:pt x="150" y="632"/>
                  </a:lnTo>
                  <a:lnTo>
                    <a:pt x="142" y="632"/>
                  </a:lnTo>
                  <a:lnTo>
                    <a:pt x="135" y="632"/>
                  </a:lnTo>
                  <a:lnTo>
                    <a:pt x="121" y="632"/>
                  </a:lnTo>
                  <a:lnTo>
                    <a:pt x="108" y="635"/>
                  </a:lnTo>
                  <a:lnTo>
                    <a:pt x="95" y="638"/>
                  </a:lnTo>
                  <a:lnTo>
                    <a:pt x="82" y="642"/>
                  </a:lnTo>
                  <a:lnTo>
                    <a:pt x="71" y="648"/>
                  </a:lnTo>
                  <a:lnTo>
                    <a:pt x="60" y="655"/>
                  </a:lnTo>
                  <a:lnTo>
                    <a:pt x="49" y="662"/>
                  </a:lnTo>
                  <a:lnTo>
                    <a:pt x="40" y="672"/>
                  </a:lnTo>
                  <a:lnTo>
                    <a:pt x="31" y="682"/>
                  </a:lnTo>
                  <a:lnTo>
                    <a:pt x="24" y="691"/>
                  </a:lnTo>
                  <a:lnTo>
                    <a:pt x="16" y="703"/>
                  </a:lnTo>
                  <a:lnTo>
                    <a:pt x="11" y="715"/>
                  </a:lnTo>
                  <a:lnTo>
                    <a:pt x="6" y="727"/>
                  </a:lnTo>
                  <a:lnTo>
                    <a:pt x="3" y="740"/>
                  </a:lnTo>
                  <a:lnTo>
                    <a:pt x="1" y="753"/>
                  </a:lnTo>
                  <a:lnTo>
                    <a:pt x="0" y="767"/>
                  </a:lnTo>
                  <a:lnTo>
                    <a:pt x="1" y="781"/>
                  </a:lnTo>
                  <a:lnTo>
                    <a:pt x="3" y="794"/>
                  </a:lnTo>
                  <a:lnTo>
                    <a:pt x="6" y="807"/>
                  </a:lnTo>
                  <a:lnTo>
                    <a:pt x="11" y="820"/>
                  </a:lnTo>
                  <a:lnTo>
                    <a:pt x="16" y="832"/>
                  </a:lnTo>
                  <a:lnTo>
                    <a:pt x="24" y="842"/>
                  </a:lnTo>
                  <a:lnTo>
                    <a:pt x="31" y="853"/>
                  </a:lnTo>
                  <a:lnTo>
                    <a:pt x="40" y="863"/>
                  </a:lnTo>
                  <a:lnTo>
                    <a:pt x="49" y="871"/>
                  </a:lnTo>
                  <a:lnTo>
                    <a:pt x="60" y="880"/>
                  </a:lnTo>
                  <a:lnTo>
                    <a:pt x="71" y="886"/>
                  </a:lnTo>
                  <a:lnTo>
                    <a:pt x="82" y="892"/>
                  </a:lnTo>
                  <a:lnTo>
                    <a:pt x="95" y="896"/>
                  </a:lnTo>
                  <a:lnTo>
                    <a:pt x="108" y="900"/>
                  </a:lnTo>
                  <a:lnTo>
                    <a:pt x="121" y="902"/>
                  </a:lnTo>
                  <a:lnTo>
                    <a:pt x="135" y="902"/>
                  </a:lnTo>
                  <a:lnTo>
                    <a:pt x="144" y="902"/>
                  </a:lnTo>
                  <a:lnTo>
                    <a:pt x="152" y="901"/>
                  </a:lnTo>
                  <a:lnTo>
                    <a:pt x="161" y="900"/>
                  </a:lnTo>
                  <a:lnTo>
                    <a:pt x="169" y="898"/>
                  </a:lnTo>
                  <a:lnTo>
                    <a:pt x="185" y="893"/>
                  </a:lnTo>
                  <a:lnTo>
                    <a:pt x="200" y="886"/>
                  </a:lnTo>
                  <a:lnTo>
                    <a:pt x="214" y="878"/>
                  </a:lnTo>
                  <a:lnTo>
                    <a:pt x="226" y="867"/>
                  </a:lnTo>
                  <a:lnTo>
                    <a:pt x="238" y="855"/>
                  </a:lnTo>
                  <a:lnTo>
                    <a:pt x="247" y="842"/>
                  </a:lnTo>
                  <a:lnTo>
                    <a:pt x="611" y="842"/>
                  </a:lnTo>
                  <a:lnTo>
                    <a:pt x="666" y="898"/>
                  </a:lnTo>
                  <a:lnTo>
                    <a:pt x="668" y="900"/>
                  </a:lnTo>
                  <a:lnTo>
                    <a:pt x="671" y="901"/>
                  </a:lnTo>
                  <a:lnTo>
                    <a:pt x="674" y="902"/>
                  </a:lnTo>
                  <a:lnTo>
                    <a:pt x="677" y="902"/>
                  </a:lnTo>
                  <a:lnTo>
                    <a:pt x="679" y="902"/>
                  </a:lnTo>
                  <a:lnTo>
                    <a:pt x="682" y="901"/>
                  </a:lnTo>
                  <a:lnTo>
                    <a:pt x="685" y="900"/>
                  </a:lnTo>
                  <a:lnTo>
                    <a:pt x="688" y="898"/>
                  </a:lnTo>
                  <a:lnTo>
                    <a:pt x="689" y="896"/>
                  </a:lnTo>
                  <a:lnTo>
                    <a:pt x="691" y="893"/>
                  </a:lnTo>
                  <a:lnTo>
                    <a:pt x="691" y="891"/>
                  </a:lnTo>
                  <a:lnTo>
                    <a:pt x="692" y="887"/>
                  </a:lnTo>
                  <a:lnTo>
                    <a:pt x="691" y="884"/>
                  </a:lnTo>
                  <a:lnTo>
                    <a:pt x="691" y="882"/>
                  </a:lnTo>
                  <a:lnTo>
                    <a:pt x="689" y="879"/>
                  </a:lnTo>
                  <a:lnTo>
                    <a:pt x="688" y="877"/>
                  </a:lnTo>
                  <a:lnTo>
                    <a:pt x="688" y="87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Freeform 228"/>
            <p:cNvSpPr>
              <a:spLocks/>
            </p:cNvSpPr>
            <p:nvPr/>
          </p:nvSpPr>
          <p:spPr bwMode="auto">
            <a:xfrm>
              <a:off x="6592888" y="2709863"/>
              <a:ext cx="42863" cy="9525"/>
            </a:xfrm>
            <a:custGeom>
              <a:avLst/>
              <a:gdLst>
                <a:gd name="T0" fmla="*/ 0 w 135"/>
                <a:gd name="T1" fmla="*/ 15 h 30"/>
                <a:gd name="T2" fmla="*/ 0 w 135"/>
                <a:gd name="T3" fmla="*/ 18 h 30"/>
                <a:gd name="T4" fmla="*/ 1 w 135"/>
                <a:gd name="T5" fmla="*/ 21 h 30"/>
                <a:gd name="T6" fmla="*/ 3 w 135"/>
                <a:gd name="T7" fmla="*/ 23 h 30"/>
                <a:gd name="T8" fmla="*/ 4 w 135"/>
                <a:gd name="T9" fmla="*/ 26 h 30"/>
                <a:gd name="T10" fmla="*/ 6 w 135"/>
                <a:gd name="T11" fmla="*/ 27 h 30"/>
                <a:gd name="T12" fmla="*/ 10 w 135"/>
                <a:gd name="T13" fmla="*/ 29 h 30"/>
                <a:gd name="T14" fmla="*/ 12 w 135"/>
                <a:gd name="T15" fmla="*/ 29 h 30"/>
                <a:gd name="T16" fmla="*/ 15 w 135"/>
                <a:gd name="T17" fmla="*/ 30 h 30"/>
                <a:gd name="T18" fmla="*/ 120 w 135"/>
                <a:gd name="T19" fmla="*/ 30 h 30"/>
                <a:gd name="T20" fmla="*/ 123 w 135"/>
                <a:gd name="T21" fmla="*/ 29 h 30"/>
                <a:gd name="T22" fmla="*/ 126 w 135"/>
                <a:gd name="T23" fmla="*/ 28 h 30"/>
                <a:gd name="T24" fmla="*/ 129 w 135"/>
                <a:gd name="T25" fmla="*/ 27 h 30"/>
                <a:gd name="T26" fmla="*/ 131 w 135"/>
                <a:gd name="T27" fmla="*/ 26 h 30"/>
                <a:gd name="T28" fmla="*/ 133 w 135"/>
                <a:gd name="T29" fmla="*/ 23 h 30"/>
                <a:gd name="T30" fmla="*/ 134 w 135"/>
                <a:gd name="T31" fmla="*/ 21 h 30"/>
                <a:gd name="T32" fmla="*/ 135 w 135"/>
                <a:gd name="T33" fmla="*/ 18 h 30"/>
                <a:gd name="T34" fmla="*/ 135 w 135"/>
                <a:gd name="T35" fmla="*/ 15 h 30"/>
                <a:gd name="T36" fmla="*/ 135 w 135"/>
                <a:gd name="T37" fmla="*/ 12 h 30"/>
                <a:gd name="T38" fmla="*/ 134 w 135"/>
                <a:gd name="T39" fmla="*/ 9 h 30"/>
                <a:gd name="T40" fmla="*/ 133 w 135"/>
                <a:gd name="T41" fmla="*/ 7 h 30"/>
                <a:gd name="T42" fmla="*/ 131 w 135"/>
                <a:gd name="T43" fmla="*/ 5 h 30"/>
                <a:gd name="T44" fmla="*/ 129 w 135"/>
                <a:gd name="T45" fmla="*/ 3 h 30"/>
                <a:gd name="T46" fmla="*/ 126 w 135"/>
                <a:gd name="T47" fmla="*/ 1 h 30"/>
                <a:gd name="T48" fmla="*/ 123 w 135"/>
                <a:gd name="T49" fmla="*/ 0 h 30"/>
                <a:gd name="T50" fmla="*/ 120 w 135"/>
                <a:gd name="T51" fmla="*/ 0 h 30"/>
                <a:gd name="T52" fmla="*/ 15 w 135"/>
                <a:gd name="T53" fmla="*/ 0 h 30"/>
                <a:gd name="T54" fmla="*/ 12 w 135"/>
                <a:gd name="T55" fmla="*/ 0 h 30"/>
                <a:gd name="T56" fmla="*/ 10 w 135"/>
                <a:gd name="T57" fmla="*/ 1 h 30"/>
                <a:gd name="T58" fmla="*/ 6 w 135"/>
                <a:gd name="T59" fmla="*/ 3 h 30"/>
                <a:gd name="T60" fmla="*/ 4 w 135"/>
                <a:gd name="T61" fmla="*/ 5 h 30"/>
                <a:gd name="T62" fmla="*/ 3 w 135"/>
                <a:gd name="T63" fmla="*/ 7 h 30"/>
                <a:gd name="T64" fmla="*/ 1 w 135"/>
                <a:gd name="T65" fmla="*/ 9 h 30"/>
                <a:gd name="T66" fmla="*/ 0 w 135"/>
                <a:gd name="T67" fmla="*/ 12 h 30"/>
                <a:gd name="T68" fmla="*/ 0 w 135"/>
                <a:gd name="T69" fmla="*/ 15 h 30"/>
                <a:gd name="T70" fmla="*/ 0 w 135"/>
                <a:gd name="T71" fmla="*/ 15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35" h="30">
                  <a:moveTo>
                    <a:pt x="0" y="15"/>
                  </a:moveTo>
                  <a:lnTo>
                    <a:pt x="0" y="18"/>
                  </a:lnTo>
                  <a:lnTo>
                    <a:pt x="1" y="21"/>
                  </a:lnTo>
                  <a:lnTo>
                    <a:pt x="3" y="23"/>
                  </a:lnTo>
                  <a:lnTo>
                    <a:pt x="4" y="26"/>
                  </a:lnTo>
                  <a:lnTo>
                    <a:pt x="6" y="27"/>
                  </a:lnTo>
                  <a:lnTo>
                    <a:pt x="10" y="29"/>
                  </a:lnTo>
                  <a:lnTo>
                    <a:pt x="12" y="29"/>
                  </a:lnTo>
                  <a:lnTo>
                    <a:pt x="15" y="30"/>
                  </a:lnTo>
                  <a:lnTo>
                    <a:pt x="120" y="30"/>
                  </a:lnTo>
                  <a:lnTo>
                    <a:pt x="123" y="29"/>
                  </a:lnTo>
                  <a:lnTo>
                    <a:pt x="126" y="28"/>
                  </a:lnTo>
                  <a:lnTo>
                    <a:pt x="129" y="27"/>
                  </a:lnTo>
                  <a:lnTo>
                    <a:pt x="131" y="26"/>
                  </a:lnTo>
                  <a:lnTo>
                    <a:pt x="133" y="23"/>
                  </a:lnTo>
                  <a:lnTo>
                    <a:pt x="134" y="21"/>
                  </a:lnTo>
                  <a:lnTo>
                    <a:pt x="135" y="18"/>
                  </a:lnTo>
                  <a:lnTo>
                    <a:pt x="135" y="15"/>
                  </a:lnTo>
                  <a:lnTo>
                    <a:pt x="135" y="12"/>
                  </a:lnTo>
                  <a:lnTo>
                    <a:pt x="134" y="9"/>
                  </a:lnTo>
                  <a:lnTo>
                    <a:pt x="133" y="7"/>
                  </a:lnTo>
                  <a:lnTo>
                    <a:pt x="131" y="5"/>
                  </a:lnTo>
                  <a:lnTo>
                    <a:pt x="129" y="3"/>
                  </a:lnTo>
                  <a:lnTo>
                    <a:pt x="126" y="1"/>
                  </a:lnTo>
                  <a:lnTo>
                    <a:pt x="123" y="0"/>
                  </a:lnTo>
                  <a:lnTo>
                    <a:pt x="120" y="0"/>
                  </a:lnTo>
                  <a:lnTo>
                    <a:pt x="15" y="0"/>
                  </a:lnTo>
                  <a:lnTo>
                    <a:pt x="12" y="0"/>
                  </a:lnTo>
                  <a:lnTo>
                    <a:pt x="10" y="1"/>
                  </a:lnTo>
                  <a:lnTo>
                    <a:pt x="6" y="3"/>
                  </a:lnTo>
                  <a:lnTo>
                    <a:pt x="4" y="5"/>
                  </a:lnTo>
                  <a:lnTo>
                    <a:pt x="3" y="7"/>
                  </a:lnTo>
                  <a:lnTo>
                    <a:pt x="1" y="9"/>
                  </a:lnTo>
                  <a:lnTo>
                    <a:pt x="0" y="12"/>
                  </a:lnTo>
                  <a:lnTo>
                    <a:pt x="0" y="15"/>
                  </a:lnTo>
                  <a:lnTo>
                    <a:pt x="0"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Freeform 229"/>
            <p:cNvSpPr>
              <a:spLocks/>
            </p:cNvSpPr>
            <p:nvPr/>
          </p:nvSpPr>
          <p:spPr bwMode="auto">
            <a:xfrm>
              <a:off x="6540500" y="2593975"/>
              <a:ext cx="28575" cy="9525"/>
            </a:xfrm>
            <a:custGeom>
              <a:avLst/>
              <a:gdLst>
                <a:gd name="T0" fmla="*/ 75 w 90"/>
                <a:gd name="T1" fmla="*/ 0 h 30"/>
                <a:gd name="T2" fmla="*/ 15 w 90"/>
                <a:gd name="T3" fmla="*/ 0 h 30"/>
                <a:gd name="T4" fmla="*/ 12 w 90"/>
                <a:gd name="T5" fmla="*/ 0 h 30"/>
                <a:gd name="T6" fmla="*/ 9 w 90"/>
                <a:gd name="T7" fmla="*/ 1 h 30"/>
                <a:gd name="T8" fmla="*/ 6 w 90"/>
                <a:gd name="T9" fmla="*/ 3 h 30"/>
                <a:gd name="T10" fmla="*/ 4 w 90"/>
                <a:gd name="T11" fmla="*/ 5 h 30"/>
                <a:gd name="T12" fmla="*/ 2 w 90"/>
                <a:gd name="T13" fmla="*/ 7 h 30"/>
                <a:gd name="T14" fmla="*/ 1 w 90"/>
                <a:gd name="T15" fmla="*/ 9 h 30"/>
                <a:gd name="T16" fmla="*/ 0 w 90"/>
                <a:gd name="T17" fmla="*/ 12 h 30"/>
                <a:gd name="T18" fmla="*/ 0 w 90"/>
                <a:gd name="T19" fmla="*/ 15 h 30"/>
                <a:gd name="T20" fmla="*/ 0 w 90"/>
                <a:gd name="T21" fmla="*/ 19 h 30"/>
                <a:gd name="T22" fmla="*/ 1 w 90"/>
                <a:gd name="T23" fmla="*/ 21 h 30"/>
                <a:gd name="T24" fmla="*/ 2 w 90"/>
                <a:gd name="T25" fmla="*/ 24 h 30"/>
                <a:gd name="T26" fmla="*/ 4 w 90"/>
                <a:gd name="T27" fmla="*/ 26 h 30"/>
                <a:gd name="T28" fmla="*/ 6 w 90"/>
                <a:gd name="T29" fmla="*/ 27 h 30"/>
                <a:gd name="T30" fmla="*/ 9 w 90"/>
                <a:gd name="T31" fmla="*/ 29 h 30"/>
                <a:gd name="T32" fmla="*/ 12 w 90"/>
                <a:gd name="T33" fmla="*/ 30 h 30"/>
                <a:gd name="T34" fmla="*/ 15 w 90"/>
                <a:gd name="T35" fmla="*/ 30 h 30"/>
                <a:gd name="T36" fmla="*/ 75 w 90"/>
                <a:gd name="T37" fmla="*/ 30 h 30"/>
                <a:gd name="T38" fmla="*/ 78 w 90"/>
                <a:gd name="T39" fmla="*/ 30 h 30"/>
                <a:gd name="T40" fmla="*/ 80 w 90"/>
                <a:gd name="T41" fmla="*/ 29 h 30"/>
                <a:gd name="T42" fmla="*/ 84 w 90"/>
                <a:gd name="T43" fmla="*/ 27 h 30"/>
                <a:gd name="T44" fmla="*/ 86 w 90"/>
                <a:gd name="T45" fmla="*/ 26 h 30"/>
                <a:gd name="T46" fmla="*/ 88 w 90"/>
                <a:gd name="T47" fmla="*/ 24 h 30"/>
                <a:gd name="T48" fmla="*/ 89 w 90"/>
                <a:gd name="T49" fmla="*/ 21 h 30"/>
                <a:gd name="T50" fmla="*/ 90 w 90"/>
                <a:gd name="T51" fmla="*/ 19 h 30"/>
                <a:gd name="T52" fmla="*/ 90 w 90"/>
                <a:gd name="T53" fmla="*/ 15 h 30"/>
                <a:gd name="T54" fmla="*/ 90 w 90"/>
                <a:gd name="T55" fmla="*/ 12 h 30"/>
                <a:gd name="T56" fmla="*/ 89 w 90"/>
                <a:gd name="T57" fmla="*/ 9 h 30"/>
                <a:gd name="T58" fmla="*/ 88 w 90"/>
                <a:gd name="T59" fmla="*/ 7 h 30"/>
                <a:gd name="T60" fmla="*/ 86 w 90"/>
                <a:gd name="T61" fmla="*/ 5 h 30"/>
                <a:gd name="T62" fmla="*/ 84 w 90"/>
                <a:gd name="T63" fmla="*/ 3 h 30"/>
                <a:gd name="T64" fmla="*/ 80 w 90"/>
                <a:gd name="T65" fmla="*/ 1 h 30"/>
                <a:gd name="T66" fmla="*/ 78 w 90"/>
                <a:gd name="T67" fmla="*/ 0 h 30"/>
                <a:gd name="T68" fmla="*/ 75 w 90"/>
                <a:gd name="T69" fmla="*/ 0 h 30"/>
                <a:gd name="T70" fmla="*/ 75 w 90"/>
                <a:gd name="T7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0" h="30">
                  <a:moveTo>
                    <a:pt x="75" y="0"/>
                  </a:moveTo>
                  <a:lnTo>
                    <a:pt x="15" y="0"/>
                  </a:lnTo>
                  <a:lnTo>
                    <a:pt x="12" y="0"/>
                  </a:lnTo>
                  <a:lnTo>
                    <a:pt x="9" y="1"/>
                  </a:lnTo>
                  <a:lnTo>
                    <a:pt x="6" y="3"/>
                  </a:lnTo>
                  <a:lnTo>
                    <a:pt x="4" y="5"/>
                  </a:lnTo>
                  <a:lnTo>
                    <a:pt x="2" y="7"/>
                  </a:lnTo>
                  <a:lnTo>
                    <a:pt x="1" y="9"/>
                  </a:lnTo>
                  <a:lnTo>
                    <a:pt x="0" y="12"/>
                  </a:lnTo>
                  <a:lnTo>
                    <a:pt x="0" y="15"/>
                  </a:lnTo>
                  <a:lnTo>
                    <a:pt x="0" y="19"/>
                  </a:lnTo>
                  <a:lnTo>
                    <a:pt x="1" y="21"/>
                  </a:lnTo>
                  <a:lnTo>
                    <a:pt x="2" y="24"/>
                  </a:lnTo>
                  <a:lnTo>
                    <a:pt x="4" y="26"/>
                  </a:lnTo>
                  <a:lnTo>
                    <a:pt x="6" y="27"/>
                  </a:lnTo>
                  <a:lnTo>
                    <a:pt x="9" y="29"/>
                  </a:lnTo>
                  <a:lnTo>
                    <a:pt x="12" y="30"/>
                  </a:lnTo>
                  <a:lnTo>
                    <a:pt x="15" y="30"/>
                  </a:lnTo>
                  <a:lnTo>
                    <a:pt x="75" y="30"/>
                  </a:lnTo>
                  <a:lnTo>
                    <a:pt x="78" y="30"/>
                  </a:lnTo>
                  <a:lnTo>
                    <a:pt x="80" y="29"/>
                  </a:lnTo>
                  <a:lnTo>
                    <a:pt x="84" y="27"/>
                  </a:lnTo>
                  <a:lnTo>
                    <a:pt x="86" y="26"/>
                  </a:lnTo>
                  <a:lnTo>
                    <a:pt x="88" y="24"/>
                  </a:lnTo>
                  <a:lnTo>
                    <a:pt x="89" y="21"/>
                  </a:lnTo>
                  <a:lnTo>
                    <a:pt x="90" y="19"/>
                  </a:lnTo>
                  <a:lnTo>
                    <a:pt x="90" y="15"/>
                  </a:lnTo>
                  <a:lnTo>
                    <a:pt x="90" y="12"/>
                  </a:lnTo>
                  <a:lnTo>
                    <a:pt x="89" y="9"/>
                  </a:lnTo>
                  <a:lnTo>
                    <a:pt x="88" y="7"/>
                  </a:lnTo>
                  <a:lnTo>
                    <a:pt x="86" y="5"/>
                  </a:lnTo>
                  <a:lnTo>
                    <a:pt x="84" y="3"/>
                  </a:lnTo>
                  <a:lnTo>
                    <a:pt x="80" y="1"/>
                  </a:lnTo>
                  <a:lnTo>
                    <a:pt x="78" y="0"/>
                  </a:lnTo>
                  <a:lnTo>
                    <a:pt x="75" y="0"/>
                  </a:lnTo>
                  <a:lnTo>
                    <a:pt x="7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86" name="Group 185"/>
          <p:cNvGrpSpPr/>
          <p:nvPr/>
        </p:nvGrpSpPr>
        <p:grpSpPr>
          <a:xfrm>
            <a:off x="4091472" y="4447062"/>
            <a:ext cx="287338" cy="287338"/>
            <a:chOff x="8743951" y="1343025"/>
            <a:chExt cx="287338" cy="287338"/>
          </a:xfrm>
          <a:solidFill>
            <a:srgbClr val="78D2D2"/>
          </a:solidFill>
        </p:grpSpPr>
        <p:sp>
          <p:nvSpPr>
            <p:cNvPr id="187" name="Freeform 369"/>
            <p:cNvSpPr>
              <a:spLocks noEditPoints="1"/>
            </p:cNvSpPr>
            <p:nvPr/>
          </p:nvSpPr>
          <p:spPr bwMode="auto">
            <a:xfrm>
              <a:off x="8767763" y="1343025"/>
              <a:ext cx="171450" cy="53975"/>
            </a:xfrm>
            <a:custGeom>
              <a:avLst/>
              <a:gdLst>
                <a:gd name="T0" fmla="*/ 209 w 541"/>
                <a:gd name="T1" fmla="*/ 33 h 167"/>
                <a:gd name="T2" fmla="*/ 267 w 541"/>
                <a:gd name="T3" fmla="*/ 47 h 167"/>
                <a:gd name="T4" fmla="*/ 356 w 541"/>
                <a:gd name="T5" fmla="*/ 75 h 167"/>
                <a:gd name="T6" fmla="*/ 402 w 541"/>
                <a:gd name="T7" fmla="*/ 84 h 167"/>
                <a:gd name="T8" fmla="*/ 442 w 541"/>
                <a:gd name="T9" fmla="*/ 83 h 167"/>
                <a:gd name="T10" fmla="*/ 449 w 541"/>
                <a:gd name="T11" fmla="*/ 92 h 167"/>
                <a:gd name="T12" fmla="*/ 398 w 541"/>
                <a:gd name="T13" fmla="*/ 122 h 167"/>
                <a:gd name="T14" fmla="*/ 344 w 541"/>
                <a:gd name="T15" fmla="*/ 136 h 167"/>
                <a:gd name="T16" fmla="*/ 289 w 541"/>
                <a:gd name="T17" fmla="*/ 134 h 167"/>
                <a:gd name="T18" fmla="*/ 218 w 541"/>
                <a:gd name="T19" fmla="*/ 116 h 167"/>
                <a:gd name="T20" fmla="*/ 125 w 541"/>
                <a:gd name="T21" fmla="*/ 85 h 167"/>
                <a:gd name="T22" fmla="*/ 82 w 541"/>
                <a:gd name="T23" fmla="*/ 77 h 167"/>
                <a:gd name="T24" fmla="*/ 66 w 541"/>
                <a:gd name="T25" fmla="*/ 76 h 167"/>
                <a:gd name="T26" fmla="*/ 108 w 541"/>
                <a:gd name="T27" fmla="*/ 48 h 167"/>
                <a:gd name="T28" fmla="*/ 151 w 541"/>
                <a:gd name="T29" fmla="*/ 33 h 167"/>
                <a:gd name="T30" fmla="*/ 181 w 541"/>
                <a:gd name="T31" fmla="*/ 31 h 167"/>
                <a:gd name="T32" fmla="*/ 43 w 541"/>
                <a:gd name="T33" fmla="*/ 109 h 167"/>
                <a:gd name="T34" fmla="*/ 80 w 541"/>
                <a:gd name="T35" fmla="*/ 107 h 167"/>
                <a:gd name="T36" fmla="*/ 119 w 541"/>
                <a:gd name="T37" fmla="*/ 115 h 167"/>
                <a:gd name="T38" fmla="*/ 210 w 541"/>
                <a:gd name="T39" fmla="*/ 145 h 167"/>
                <a:gd name="T40" fmla="*/ 285 w 541"/>
                <a:gd name="T41" fmla="*/ 164 h 167"/>
                <a:gd name="T42" fmla="*/ 339 w 541"/>
                <a:gd name="T43" fmla="*/ 166 h 167"/>
                <a:gd name="T44" fmla="*/ 383 w 541"/>
                <a:gd name="T45" fmla="*/ 159 h 167"/>
                <a:gd name="T46" fmla="*/ 425 w 541"/>
                <a:gd name="T47" fmla="*/ 143 h 167"/>
                <a:gd name="T48" fmla="*/ 465 w 541"/>
                <a:gd name="T49" fmla="*/ 118 h 167"/>
                <a:gd name="T50" fmla="*/ 503 w 541"/>
                <a:gd name="T51" fmla="*/ 84 h 167"/>
                <a:gd name="T52" fmla="*/ 539 w 541"/>
                <a:gd name="T53" fmla="*/ 40 h 167"/>
                <a:gd name="T54" fmla="*/ 540 w 541"/>
                <a:gd name="T55" fmla="*/ 25 h 167"/>
                <a:gd name="T56" fmla="*/ 527 w 541"/>
                <a:gd name="T57" fmla="*/ 16 h 167"/>
                <a:gd name="T58" fmla="*/ 506 w 541"/>
                <a:gd name="T59" fmla="*/ 27 h 167"/>
                <a:gd name="T60" fmla="*/ 469 w 541"/>
                <a:gd name="T61" fmla="*/ 45 h 167"/>
                <a:gd name="T62" fmla="*/ 432 w 541"/>
                <a:gd name="T63" fmla="*/ 54 h 167"/>
                <a:gd name="T64" fmla="*/ 390 w 541"/>
                <a:gd name="T65" fmla="*/ 51 h 167"/>
                <a:gd name="T66" fmla="*/ 333 w 541"/>
                <a:gd name="T67" fmla="*/ 37 h 167"/>
                <a:gd name="T68" fmla="*/ 244 w 541"/>
                <a:gd name="T69" fmla="*/ 10 h 167"/>
                <a:gd name="T70" fmla="*/ 197 w 541"/>
                <a:gd name="T71" fmla="*/ 1 h 167"/>
                <a:gd name="T72" fmla="*/ 156 w 541"/>
                <a:gd name="T73" fmla="*/ 2 h 167"/>
                <a:gd name="T74" fmla="*/ 122 w 541"/>
                <a:gd name="T75" fmla="*/ 10 h 167"/>
                <a:gd name="T76" fmla="*/ 89 w 541"/>
                <a:gd name="T77" fmla="*/ 24 h 167"/>
                <a:gd name="T78" fmla="*/ 56 w 541"/>
                <a:gd name="T79" fmla="*/ 45 h 167"/>
                <a:gd name="T80" fmla="*/ 24 w 541"/>
                <a:gd name="T81" fmla="*/ 73 h 167"/>
                <a:gd name="T82" fmla="*/ 1 w 541"/>
                <a:gd name="T83" fmla="*/ 101 h 167"/>
                <a:gd name="T84" fmla="*/ 3 w 541"/>
                <a:gd name="T85" fmla="*/ 116 h 167"/>
                <a:gd name="T86" fmla="*/ 18 w 541"/>
                <a:gd name="T87" fmla="*/ 120 h 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41" h="167">
                  <a:moveTo>
                    <a:pt x="181" y="31"/>
                  </a:moveTo>
                  <a:lnTo>
                    <a:pt x="195" y="31"/>
                  </a:lnTo>
                  <a:lnTo>
                    <a:pt x="209" y="33"/>
                  </a:lnTo>
                  <a:lnTo>
                    <a:pt x="224" y="35"/>
                  </a:lnTo>
                  <a:lnTo>
                    <a:pt x="238" y="39"/>
                  </a:lnTo>
                  <a:lnTo>
                    <a:pt x="267" y="47"/>
                  </a:lnTo>
                  <a:lnTo>
                    <a:pt x="296" y="57"/>
                  </a:lnTo>
                  <a:lnTo>
                    <a:pt x="324" y="66"/>
                  </a:lnTo>
                  <a:lnTo>
                    <a:pt x="356" y="75"/>
                  </a:lnTo>
                  <a:lnTo>
                    <a:pt x="371" y="78"/>
                  </a:lnTo>
                  <a:lnTo>
                    <a:pt x="387" y="81"/>
                  </a:lnTo>
                  <a:lnTo>
                    <a:pt x="402" y="84"/>
                  </a:lnTo>
                  <a:lnTo>
                    <a:pt x="418" y="84"/>
                  </a:lnTo>
                  <a:lnTo>
                    <a:pt x="430" y="84"/>
                  </a:lnTo>
                  <a:lnTo>
                    <a:pt x="442" y="83"/>
                  </a:lnTo>
                  <a:lnTo>
                    <a:pt x="453" y="80"/>
                  </a:lnTo>
                  <a:lnTo>
                    <a:pt x="465" y="77"/>
                  </a:lnTo>
                  <a:lnTo>
                    <a:pt x="449" y="92"/>
                  </a:lnTo>
                  <a:lnTo>
                    <a:pt x="433" y="104"/>
                  </a:lnTo>
                  <a:lnTo>
                    <a:pt x="416" y="114"/>
                  </a:lnTo>
                  <a:lnTo>
                    <a:pt x="398" y="122"/>
                  </a:lnTo>
                  <a:lnTo>
                    <a:pt x="380" y="129"/>
                  </a:lnTo>
                  <a:lnTo>
                    <a:pt x="363" y="133"/>
                  </a:lnTo>
                  <a:lnTo>
                    <a:pt x="344" y="136"/>
                  </a:lnTo>
                  <a:lnTo>
                    <a:pt x="324" y="137"/>
                  </a:lnTo>
                  <a:lnTo>
                    <a:pt x="307" y="136"/>
                  </a:lnTo>
                  <a:lnTo>
                    <a:pt x="289" y="134"/>
                  </a:lnTo>
                  <a:lnTo>
                    <a:pt x="271" y="131"/>
                  </a:lnTo>
                  <a:lnTo>
                    <a:pt x="254" y="127"/>
                  </a:lnTo>
                  <a:lnTo>
                    <a:pt x="218" y="116"/>
                  </a:lnTo>
                  <a:lnTo>
                    <a:pt x="184" y="104"/>
                  </a:lnTo>
                  <a:lnTo>
                    <a:pt x="154" y="94"/>
                  </a:lnTo>
                  <a:lnTo>
                    <a:pt x="125" y="85"/>
                  </a:lnTo>
                  <a:lnTo>
                    <a:pt x="110" y="81"/>
                  </a:lnTo>
                  <a:lnTo>
                    <a:pt x="96" y="78"/>
                  </a:lnTo>
                  <a:lnTo>
                    <a:pt x="82" y="77"/>
                  </a:lnTo>
                  <a:lnTo>
                    <a:pt x="68" y="76"/>
                  </a:lnTo>
                  <a:lnTo>
                    <a:pt x="67" y="76"/>
                  </a:lnTo>
                  <a:lnTo>
                    <a:pt x="66" y="76"/>
                  </a:lnTo>
                  <a:lnTo>
                    <a:pt x="80" y="65"/>
                  </a:lnTo>
                  <a:lnTo>
                    <a:pt x="94" y="56"/>
                  </a:lnTo>
                  <a:lnTo>
                    <a:pt x="108" y="48"/>
                  </a:lnTo>
                  <a:lnTo>
                    <a:pt x="122" y="42"/>
                  </a:lnTo>
                  <a:lnTo>
                    <a:pt x="136" y="36"/>
                  </a:lnTo>
                  <a:lnTo>
                    <a:pt x="151" y="33"/>
                  </a:lnTo>
                  <a:lnTo>
                    <a:pt x="166" y="31"/>
                  </a:lnTo>
                  <a:lnTo>
                    <a:pt x="181" y="31"/>
                  </a:lnTo>
                  <a:lnTo>
                    <a:pt x="181" y="31"/>
                  </a:lnTo>
                  <a:close/>
                  <a:moveTo>
                    <a:pt x="23" y="119"/>
                  </a:moveTo>
                  <a:lnTo>
                    <a:pt x="33" y="114"/>
                  </a:lnTo>
                  <a:lnTo>
                    <a:pt x="43" y="109"/>
                  </a:lnTo>
                  <a:lnTo>
                    <a:pt x="55" y="107"/>
                  </a:lnTo>
                  <a:lnTo>
                    <a:pt x="68" y="106"/>
                  </a:lnTo>
                  <a:lnTo>
                    <a:pt x="80" y="107"/>
                  </a:lnTo>
                  <a:lnTo>
                    <a:pt x="93" y="108"/>
                  </a:lnTo>
                  <a:lnTo>
                    <a:pt x="106" y="112"/>
                  </a:lnTo>
                  <a:lnTo>
                    <a:pt x="119" y="115"/>
                  </a:lnTo>
                  <a:lnTo>
                    <a:pt x="145" y="123"/>
                  </a:lnTo>
                  <a:lnTo>
                    <a:pt x="174" y="133"/>
                  </a:lnTo>
                  <a:lnTo>
                    <a:pt x="210" y="145"/>
                  </a:lnTo>
                  <a:lnTo>
                    <a:pt x="246" y="155"/>
                  </a:lnTo>
                  <a:lnTo>
                    <a:pt x="265" y="161"/>
                  </a:lnTo>
                  <a:lnTo>
                    <a:pt x="285" y="164"/>
                  </a:lnTo>
                  <a:lnTo>
                    <a:pt x="305" y="166"/>
                  </a:lnTo>
                  <a:lnTo>
                    <a:pt x="324" y="167"/>
                  </a:lnTo>
                  <a:lnTo>
                    <a:pt x="339" y="166"/>
                  </a:lnTo>
                  <a:lnTo>
                    <a:pt x="355" y="165"/>
                  </a:lnTo>
                  <a:lnTo>
                    <a:pt x="370" y="163"/>
                  </a:lnTo>
                  <a:lnTo>
                    <a:pt x="383" y="159"/>
                  </a:lnTo>
                  <a:lnTo>
                    <a:pt x="397" y="154"/>
                  </a:lnTo>
                  <a:lnTo>
                    <a:pt x="411" y="149"/>
                  </a:lnTo>
                  <a:lnTo>
                    <a:pt x="425" y="143"/>
                  </a:lnTo>
                  <a:lnTo>
                    <a:pt x="438" y="135"/>
                  </a:lnTo>
                  <a:lnTo>
                    <a:pt x="451" y="127"/>
                  </a:lnTo>
                  <a:lnTo>
                    <a:pt x="465" y="118"/>
                  </a:lnTo>
                  <a:lnTo>
                    <a:pt x="478" y="107"/>
                  </a:lnTo>
                  <a:lnTo>
                    <a:pt x="490" y="95"/>
                  </a:lnTo>
                  <a:lnTo>
                    <a:pt x="503" y="84"/>
                  </a:lnTo>
                  <a:lnTo>
                    <a:pt x="514" y="70"/>
                  </a:lnTo>
                  <a:lnTo>
                    <a:pt x="527" y="55"/>
                  </a:lnTo>
                  <a:lnTo>
                    <a:pt x="539" y="40"/>
                  </a:lnTo>
                  <a:lnTo>
                    <a:pt x="541" y="34"/>
                  </a:lnTo>
                  <a:lnTo>
                    <a:pt x="541" y="29"/>
                  </a:lnTo>
                  <a:lnTo>
                    <a:pt x="540" y="25"/>
                  </a:lnTo>
                  <a:lnTo>
                    <a:pt x="537" y="20"/>
                  </a:lnTo>
                  <a:lnTo>
                    <a:pt x="533" y="17"/>
                  </a:lnTo>
                  <a:lnTo>
                    <a:pt x="527" y="16"/>
                  </a:lnTo>
                  <a:lnTo>
                    <a:pt x="522" y="16"/>
                  </a:lnTo>
                  <a:lnTo>
                    <a:pt x="518" y="18"/>
                  </a:lnTo>
                  <a:lnTo>
                    <a:pt x="506" y="27"/>
                  </a:lnTo>
                  <a:lnTo>
                    <a:pt x="493" y="34"/>
                  </a:lnTo>
                  <a:lnTo>
                    <a:pt x="481" y="41"/>
                  </a:lnTo>
                  <a:lnTo>
                    <a:pt x="469" y="45"/>
                  </a:lnTo>
                  <a:lnTo>
                    <a:pt x="456" y="49"/>
                  </a:lnTo>
                  <a:lnTo>
                    <a:pt x="445" y="51"/>
                  </a:lnTo>
                  <a:lnTo>
                    <a:pt x="432" y="54"/>
                  </a:lnTo>
                  <a:lnTo>
                    <a:pt x="418" y="54"/>
                  </a:lnTo>
                  <a:lnTo>
                    <a:pt x="404" y="54"/>
                  </a:lnTo>
                  <a:lnTo>
                    <a:pt x="390" y="51"/>
                  </a:lnTo>
                  <a:lnTo>
                    <a:pt x="376" y="49"/>
                  </a:lnTo>
                  <a:lnTo>
                    <a:pt x="362" y="46"/>
                  </a:lnTo>
                  <a:lnTo>
                    <a:pt x="333" y="37"/>
                  </a:lnTo>
                  <a:lnTo>
                    <a:pt x="305" y="28"/>
                  </a:lnTo>
                  <a:lnTo>
                    <a:pt x="275" y="18"/>
                  </a:lnTo>
                  <a:lnTo>
                    <a:pt x="244" y="10"/>
                  </a:lnTo>
                  <a:lnTo>
                    <a:pt x="228" y="5"/>
                  </a:lnTo>
                  <a:lnTo>
                    <a:pt x="213" y="3"/>
                  </a:lnTo>
                  <a:lnTo>
                    <a:pt x="197" y="1"/>
                  </a:lnTo>
                  <a:lnTo>
                    <a:pt x="181" y="0"/>
                  </a:lnTo>
                  <a:lnTo>
                    <a:pt x="168" y="1"/>
                  </a:lnTo>
                  <a:lnTo>
                    <a:pt x="156" y="2"/>
                  </a:lnTo>
                  <a:lnTo>
                    <a:pt x="145" y="3"/>
                  </a:lnTo>
                  <a:lnTo>
                    <a:pt x="134" y="6"/>
                  </a:lnTo>
                  <a:lnTo>
                    <a:pt x="122" y="10"/>
                  </a:lnTo>
                  <a:lnTo>
                    <a:pt x="111" y="14"/>
                  </a:lnTo>
                  <a:lnTo>
                    <a:pt x="99" y="18"/>
                  </a:lnTo>
                  <a:lnTo>
                    <a:pt x="89" y="24"/>
                  </a:lnTo>
                  <a:lnTo>
                    <a:pt x="78" y="30"/>
                  </a:lnTo>
                  <a:lnTo>
                    <a:pt x="67" y="37"/>
                  </a:lnTo>
                  <a:lnTo>
                    <a:pt x="56" y="45"/>
                  </a:lnTo>
                  <a:lnTo>
                    <a:pt x="46" y="54"/>
                  </a:lnTo>
                  <a:lnTo>
                    <a:pt x="35" y="63"/>
                  </a:lnTo>
                  <a:lnTo>
                    <a:pt x="24" y="73"/>
                  </a:lnTo>
                  <a:lnTo>
                    <a:pt x="13" y="84"/>
                  </a:lnTo>
                  <a:lnTo>
                    <a:pt x="3" y="95"/>
                  </a:lnTo>
                  <a:lnTo>
                    <a:pt x="1" y="101"/>
                  </a:lnTo>
                  <a:lnTo>
                    <a:pt x="0" y="106"/>
                  </a:lnTo>
                  <a:lnTo>
                    <a:pt x="1" y="110"/>
                  </a:lnTo>
                  <a:lnTo>
                    <a:pt x="3" y="116"/>
                  </a:lnTo>
                  <a:lnTo>
                    <a:pt x="7" y="119"/>
                  </a:lnTo>
                  <a:lnTo>
                    <a:pt x="12" y="121"/>
                  </a:lnTo>
                  <a:lnTo>
                    <a:pt x="18" y="120"/>
                  </a:lnTo>
                  <a:lnTo>
                    <a:pt x="23" y="1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370"/>
            <p:cNvSpPr>
              <a:spLocks/>
            </p:cNvSpPr>
            <p:nvPr/>
          </p:nvSpPr>
          <p:spPr bwMode="auto">
            <a:xfrm>
              <a:off x="8829676" y="1563688"/>
              <a:ext cx="28575" cy="9525"/>
            </a:xfrm>
            <a:custGeom>
              <a:avLst/>
              <a:gdLst>
                <a:gd name="T0" fmla="*/ 76 w 91"/>
                <a:gd name="T1" fmla="*/ 0 h 30"/>
                <a:gd name="T2" fmla="*/ 16 w 91"/>
                <a:gd name="T3" fmla="*/ 0 h 30"/>
                <a:gd name="T4" fmla="*/ 13 w 91"/>
                <a:gd name="T5" fmla="*/ 0 h 30"/>
                <a:gd name="T6" fmla="*/ 9 w 91"/>
                <a:gd name="T7" fmla="*/ 1 h 30"/>
                <a:gd name="T8" fmla="*/ 7 w 91"/>
                <a:gd name="T9" fmla="*/ 2 h 30"/>
                <a:gd name="T10" fmla="*/ 5 w 91"/>
                <a:gd name="T11" fmla="*/ 4 h 30"/>
                <a:gd name="T12" fmla="*/ 3 w 91"/>
                <a:gd name="T13" fmla="*/ 6 h 30"/>
                <a:gd name="T14" fmla="*/ 2 w 91"/>
                <a:gd name="T15" fmla="*/ 10 h 30"/>
                <a:gd name="T16" fmla="*/ 1 w 91"/>
                <a:gd name="T17" fmla="*/ 12 h 30"/>
                <a:gd name="T18" fmla="*/ 0 w 91"/>
                <a:gd name="T19" fmla="*/ 15 h 30"/>
                <a:gd name="T20" fmla="*/ 1 w 91"/>
                <a:gd name="T21" fmla="*/ 18 h 30"/>
                <a:gd name="T22" fmla="*/ 2 w 91"/>
                <a:gd name="T23" fmla="*/ 21 h 30"/>
                <a:gd name="T24" fmla="*/ 3 w 91"/>
                <a:gd name="T25" fmla="*/ 24 h 30"/>
                <a:gd name="T26" fmla="*/ 5 w 91"/>
                <a:gd name="T27" fmla="*/ 26 h 30"/>
                <a:gd name="T28" fmla="*/ 7 w 91"/>
                <a:gd name="T29" fmla="*/ 28 h 30"/>
                <a:gd name="T30" fmla="*/ 9 w 91"/>
                <a:gd name="T31" fmla="*/ 29 h 30"/>
                <a:gd name="T32" fmla="*/ 13 w 91"/>
                <a:gd name="T33" fmla="*/ 30 h 30"/>
                <a:gd name="T34" fmla="*/ 16 w 91"/>
                <a:gd name="T35" fmla="*/ 30 h 30"/>
                <a:gd name="T36" fmla="*/ 76 w 91"/>
                <a:gd name="T37" fmla="*/ 30 h 30"/>
                <a:gd name="T38" fmla="*/ 78 w 91"/>
                <a:gd name="T39" fmla="*/ 30 h 30"/>
                <a:gd name="T40" fmla="*/ 81 w 91"/>
                <a:gd name="T41" fmla="*/ 29 h 30"/>
                <a:gd name="T42" fmla="*/ 83 w 91"/>
                <a:gd name="T43" fmla="*/ 28 h 30"/>
                <a:gd name="T44" fmla="*/ 87 w 91"/>
                <a:gd name="T45" fmla="*/ 26 h 30"/>
                <a:gd name="T46" fmla="*/ 88 w 91"/>
                <a:gd name="T47" fmla="*/ 24 h 30"/>
                <a:gd name="T48" fmla="*/ 90 w 91"/>
                <a:gd name="T49" fmla="*/ 21 h 30"/>
                <a:gd name="T50" fmla="*/ 90 w 91"/>
                <a:gd name="T51" fmla="*/ 18 h 30"/>
                <a:gd name="T52" fmla="*/ 91 w 91"/>
                <a:gd name="T53" fmla="*/ 15 h 30"/>
                <a:gd name="T54" fmla="*/ 90 w 91"/>
                <a:gd name="T55" fmla="*/ 12 h 30"/>
                <a:gd name="T56" fmla="*/ 90 w 91"/>
                <a:gd name="T57" fmla="*/ 10 h 30"/>
                <a:gd name="T58" fmla="*/ 88 w 91"/>
                <a:gd name="T59" fmla="*/ 6 h 30"/>
                <a:gd name="T60" fmla="*/ 87 w 91"/>
                <a:gd name="T61" fmla="*/ 4 h 30"/>
                <a:gd name="T62" fmla="*/ 83 w 91"/>
                <a:gd name="T63" fmla="*/ 2 h 30"/>
                <a:gd name="T64" fmla="*/ 81 w 91"/>
                <a:gd name="T65" fmla="*/ 1 h 30"/>
                <a:gd name="T66" fmla="*/ 78 w 91"/>
                <a:gd name="T67" fmla="*/ 0 h 30"/>
                <a:gd name="T68" fmla="*/ 76 w 91"/>
                <a:gd name="T69"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91" h="30">
                  <a:moveTo>
                    <a:pt x="76" y="0"/>
                  </a:moveTo>
                  <a:lnTo>
                    <a:pt x="16" y="0"/>
                  </a:lnTo>
                  <a:lnTo>
                    <a:pt x="13" y="0"/>
                  </a:lnTo>
                  <a:lnTo>
                    <a:pt x="9" y="1"/>
                  </a:lnTo>
                  <a:lnTo>
                    <a:pt x="7" y="2"/>
                  </a:lnTo>
                  <a:lnTo>
                    <a:pt x="5" y="4"/>
                  </a:lnTo>
                  <a:lnTo>
                    <a:pt x="3" y="6"/>
                  </a:lnTo>
                  <a:lnTo>
                    <a:pt x="2" y="10"/>
                  </a:lnTo>
                  <a:lnTo>
                    <a:pt x="1" y="12"/>
                  </a:lnTo>
                  <a:lnTo>
                    <a:pt x="0" y="15"/>
                  </a:lnTo>
                  <a:lnTo>
                    <a:pt x="1" y="18"/>
                  </a:lnTo>
                  <a:lnTo>
                    <a:pt x="2" y="21"/>
                  </a:lnTo>
                  <a:lnTo>
                    <a:pt x="3" y="24"/>
                  </a:lnTo>
                  <a:lnTo>
                    <a:pt x="5" y="26"/>
                  </a:lnTo>
                  <a:lnTo>
                    <a:pt x="7" y="28"/>
                  </a:lnTo>
                  <a:lnTo>
                    <a:pt x="9" y="29"/>
                  </a:lnTo>
                  <a:lnTo>
                    <a:pt x="13" y="30"/>
                  </a:lnTo>
                  <a:lnTo>
                    <a:pt x="16" y="30"/>
                  </a:lnTo>
                  <a:lnTo>
                    <a:pt x="76" y="30"/>
                  </a:lnTo>
                  <a:lnTo>
                    <a:pt x="78" y="30"/>
                  </a:lnTo>
                  <a:lnTo>
                    <a:pt x="81" y="29"/>
                  </a:lnTo>
                  <a:lnTo>
                    <a:pt x="83" y="28"/>
                  </a:lnTo>
                  <a:lnTo>
                    <a:pt x="87" y="26"/>
                  </a:lnTo>
                  <a:lnTo>
                    <a:pt x="88" y="24"/>
                  </a:lnTo>
                  <a:lnTo>
                    <a:pt x="90" y="21"/>
                  </a:lnTo>
                  <a:lnTo>
                    <a:pt x="90" y="18"/>
                  </a:lnTo>
                  <a:lnTo>
                    <a:pt x="91" y="15"/>
                  </a:lnTo>
                  <a:lnTo>
                    <a:pt x="90" y="12"/>
                  </a:lnTo>
                  <a:lnTo>
                    <a:pt x="90" y="10"/>
                  </a:lnTo>
                  <a:lnTo>
                    <a:pt x="88" y="6"/>
                  </a:lnTo>
                  <a:lnTo>
                    <a:pt x="87" y="4"/>
                  </a:lnTo>
                  <a:lnTo>
                    <a:pt x="83" y="2"/>
                  </a:lnTo>
                  <a:lnTo>
                    <a:pt x="81" y="1"/>
                  </a:lnTo>
                  <a:lnTo>
                    <a:pt x="78" y="0"/>
                  </a:lnTo>
                  <a:lnTo>
                    <a:pt x="7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371"/>
            <p:cNvSpPr>
              <a:spLocks/>
            </p:cNvSpPr>
            <p:nvPr/>
          </p:nvSpPr>
          <p:spPr bwMode="auto">
            <a:xfrm>
              <a:off x="8829676" y="1592263"/>
              <a:ext cx="28575" cy="9525"/>
            </a:xfrm>
            <a:custGeom>
              <a:avLst/>
              <a:gdLst>
                <a:gd name="T0" fmla="*/ 76 w 91"/>
                <a:gd name="T1" fmla="*/ 0 h 30"/>
                <a:gd name="T2" fmla="*/ 16 w 91"/>
                <a:gd name="T3" fmla="*/ 0 h 30"/>
                <a:gd name="T4" fmla="*/ 13 w 91"/>
                <a:gd name="T5" fmla="*/ 1 h 30"/>
                <a:gd name="T6" fmla="*/ 9 w 91"/>
                <a:gd name="T7" fmla="*/ 1 h 30"/>
                <a:gd name="T8" fmla="*/ 7 w 91"/>
                <a:gd name="T9" fmla="*/ 3 h 30"/>
                <a:gd name="T10" fmla="*/ 5 w 91"/>
                <a:gd name="T11" fmla="*/ 4 h 30"/>
                <a:gd name="T12" fmla="*/ 3 w 91"/>
                <a:gd name="T13" fmla="*/ 8 h 30"/>
                <a:gd name="T14" fmla="*/ 2 w 91"/>
                <a:gd name="T15" fmla="*/ 10 h 30"/>
                <a:gd name="T16" fmla="*/ 1 w 91"/>
                <a:gd name="T17" fmla="*/ 13 h 30"/>
                <a:gd name="T18" fmla="*/ 0 w 91"/>
                <a:gd name="T19" fmla="*/ 15 h 30"/>
                <a:gd name="T20" fmla="*/ 1 w 91"/>
                <a:gd name="T21" fmla="*/ 18 h 30"/>
                <a:gd name="T22" fmla="*/ 2 w 91"/>
                <a:gd name="T23" fmla="*/ 22 h 30"/>
                <a:gd name="T24" fmla="*/ 3 w 91"/>
                <a:gd name="T25" fmla="*/ 24 h 30"/>
                <a:gd name="T26" fmla="*/ 5 w 91"/>
                <a:gd name="T27" fmla="*/ 26 h 30"/>
                <a:gd name="T28" fmla="*/ 7 w 91"/>
                <a:gd name="T29" fmla="*/ 28 h 30"/>
                <a:gd name="T30" fmla="*/ 9 w 91"/>
                <a:gd name="T31" fmla="*/ 29 h 30"/>
                <a:gd name="T32" fmla="*/ 13 w 91"/>
                <a:gd name="T33" fmla="*/ 30 h 30"/>
                <a:gd name="T34" fmla="*/ 16 w 91"/>
                <a:gd name="T35" fmla="*/ 30 h 30"/>
                <a:gd name="T36" fmla="*/ 76 w 91"/>
                <a:gd name="T37" fmla="*/ 30 h 30"/>
                <a:gd name="T38" fmla="*/ 78 w 91"/>
                <a:gd name="T39" fmla="*/ 30 h 30"/>
                <a:gd name="T40" fmla="*/ 81 w 91"/>
                <a:gd name="T41" fmla="*/ 29 h 30"/>
                <a:gd name="T42" fmla="*/ 83 w 91"/>
                <a:gd name="T43" fmla="*/ 28 h 30"/>
                <a:gd name="T44" fmla="*/ 87 w 91"/>
                <a:gd name="T45" fmla="*/ 26 h 30"/>
                <a:gd name="T46" fmla="*/ 88 w 91"/>
                <a:gd name="T47" fmla="*/ 24 h 30"/>
                <a:gd name="T48" fmla="*/ 90 w 91"/>
                <a:gd name="T49" fmla="*/ 22 h 30"/>
                <a:gd name="T50" fmla="*/ 90 w 91"/>
                <a:gd name="T51" fmla="*/ 18 h 30"/>
                <a:gd name="T52" fmla="*/ 91 w 91"/>
                <a:gd name="T53" fmla="*/ 15 h 30"/>
                <a:gd name="T54" fmla="*/ 90 w 91"/>
                <a:gd name="T55" fmla="*/ 13 h 30"/>
                <a:gd name="T56" fmla="*/ 90 w 91"/>
                <a:gd name="T57" fmla="*/ 10 h 30"/>
                <a:gd name="T58" fmla="*/ 88 w 91"/>
                <a:gd name="T59" fmla="*/ 8 h 30"/>
                <a:gd name="T60" fmla="*/ 87 w 91"/>
                <a:gd name="T61" fmla="*/ 4 h 30"/>
                <a:gd name="T62" fmla="*/ 83 w 91"/>
                <a:gd name="T63" fmla="*/ 3 h 30"/>
                <a:gd name="T64" fmla="*/ 81 w 91"/>
                <a:gd name="T65" fmla="*/ 1 h 30"/>
                <a:gd name="T66" fmla="*/ 78 w 91"/>
                <a:gd name="T67" fmla="*/ 1 h 30"/>
                <a:gd name="T68" fmla="*/ 76 w 91"/>
                <a:gd name="T69"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91" h="30">
                  <a:moveTo>
                    <a:pt x="76" y="0"/>
                  </a:moveTo>
                  <a:lnTo>
                    <a:pt x="16" y="0"/>
                  </a:lnTo>
                  <a:lnTo>
                    <a:pt x="13" y="1"/>
                  </a:lnTo>
                  <a:lnTo>
                    <a:pt x="9" y="1"/>
                  </a:lnTo>
                  <a:lnTo>
                    <a:pt x="7" y="3"/>
                  </a:lnTo>
                  <a:lnTo>
                    <a:pt x="5" y="4"/>
                  </a:lnTo>
                  <a:lnTo>
                    <a:pt x="3" y="8"/>
                  </a:lnTo>
                  <a:lnTo>
                    <a:pt x="2" y="10"/>
                  </a:lnTo>
                  <a:lnTo>
                    <a:pt x="1" y="13"/>
                  </a:lnTo>
                  <a:lnTo>
                    <a:pt x="0" y="15"/>
                  </a:lnTo>
                  <a:lnTo>
                    <a:pt x="1" y="18"/>
                  </a:lnTo>
                  <a:lnTo>
                    <a:pt x="2" y="22"/>
                  </a:lnTo>
                  <a:lnTo>
                    <a:pt x="3" y="24"/>
                  </a:lnTo>
                  <a:lnTo>
                    <a:pt x="5" y="26"/>
                  </a:lnTo>
                  <a:lnTo>
                    <a:pt x="7" y="28"/>
                  </a:lnTo>
                  <a:lnTo>
                    <a:pt x="9" y="29"/>
                  </a:lnTo>
                  <a:lnTo>
                    <a:pt x="13" y="30"/>
                  </a:lnTo>
                  <a:lnTo>
                    <a:pt x="16" y="30"/>
                  </a:lnTo>
                  <a:lnTo>
                    <a:pt x="76" y="30"/>
                  </a:lnTo>
                  <a:lnTo>
                    <a:pt x="78" y="30"/>
                  </a:lnTo>
                  <a:lnTo>
                    <a:pt x="81" y="29"/>
                  </a:lnTo>
                  <a:lnTo>
                    <a:pt x="83" y="28"/>
                  </a:lnTo>
                  <a:lnTo>
                    <a:pt x="87" y="26"/>
                  </a:lnTo>
                  <a:lnTo>
                    <a:pt x="88" y="24"/>
                  </a:lnTo>
                  <a:lnTo>
                    <a:pt x="90" y="22"/>
                  </a:lnTo>
                  <a:lnTo>
                    <a:pt x="90" y="18"/>
                  </a:lnTo>
                  <a:lnTo>
                    <a:pt x="91" y="15"/>
                  </a:lnTo>
                  <a:lnTo>
                    <a:pt x="90" y="13"/>
                  </a:lnTo>
                  <a:lnTo>
                    <a:pt x="90" y="10"/>
                  </a:lnTo>
                  <a:lnTo>
                    <a:pt x="88" y="8"/>
                  </a:lnTo>
                  <a:lnTo>
                    <a:pt x="87" y="4"/>
                  </a:lnTo>
                  <a:lnTo>
                    <a:pt x="83" y="3"/>
                  </a:lnTo>
                  <a:lnTo>
                    <a:pt x="81" y="1"/>
                  </a:lnTo>
                  <a:lnTo>
                    <a:pt x="78" y="1"/>
                  </a:lnTo>
                  <a:lnTo>
                    <a:pt x="7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372"/>
            <p:cNvSpPr>
              <a:spLocks/>
            </p:cNvSpPr>
            <p:nvPr/>
          </p:nvSpPr>
          <p:spPr bwMode="auto">
            <a:xfrm>
              <a:off x="8901113" y="1563688"/>
              <a:ext cx="28575" cy="9525"/>
            </a:xfrm>
            <a:custGeom>
              <a:avLst/>
              <a:gdLst>
                <a:gd name="T0" fmla="*/ 75 w 90"/>
                <a:gd name="T1" fmla="*/ 0 h 30"/>
                <a:gd name="T2" fmla="*/ 15 w 90"/>
                <a:gd name="T3" fmla="*/ 0 h 30"/>
                <a:gd name="T4" fmla="*/ 12 w 90"/>
                <a:gd name="T5" fmla="*/ 0 h 30"/>
                <a:gd name="T6" fmla="*/ 10 w 90"/>
                <a:gd name="T7" fmla="*/ 1 h 30"/>
                <a:gd name="T8" fmla="*/ 6 w 90"/>
                <a:gd name="T9" fmla="*/ 2 h 30"/>
                <a:gd name="T10" fmla="*/ 4 w 90"/>
                <a:gd name="T11" fmla="*/ 4 h 30"/>
                <a:gd name="T12" fmla="*/ 2 w 90"/>
                <a:gd name="T13" fmla="*/ 6 h 30"/>
                <a:gd name="T14" fmla="*/ 1 w 90"/>
                <a:gd name="T15" fmla="*/ 10 h 30"/>
                <a:gd name="T16" fmla="*/ 0 w 90"/>
                <a:gd name="T17" fmla="*/ 12 h 30"/>
                <a:gd name="T18" fmla="*/ 0 w 90"/>
                <a:gd name="T19" fmla="*/ 15 h 30"/>
                <a:gd name="T20" fmla="*/ 0 w 90"/>
                <a:gd name="T21" fmla="*/ 18 h 30"/>
                <a:gd name="T22" fmla="*/ 1 w 90"/>
                <a:gd name="T23" fmla="*/ 21 h 30"/>
                <a:gd name="T24" fmla="*/ 2 w 90"/>
                <a:gd name="T25" fmla="*/ 24 h 30"/>
                <a:gd name="T26" fmla="*/ 4 w 90"/>
                <a:gd name="T27" fmla="*/ 26 h 30"/>
                <a:gd name="T28" fmla="*/ 6 w 90"/>
                <a:gd name="T29" fmla="*/ 28 h 30"/>
                <a:gd name="T30" fmla="*/ 10 w 90"/>
                <a:gd name="T31" fmla="*/ 29 h 30"/>
                <a:gd name="T32" fmla="*/ 12 w 90"/>
                <a:gd name="T33" fmla="*/ 30 h 30"/>
                <a:gd name="T34" fmla="*/ 15 w 90"/>
                <a:gd name="T35" fmla="*/ 30 h 30"/>
                <a:gd name="T36" fmla="*/ 75 w 90"/>
                <a:gd name="T37" fmla="*/ 30 h 30"/>
                <a:gd name="T38" fmla="*/ 78 w 90"/>
                <a:gd name="T39" fmla="*/ 30 h 30"/>
                <a:gd name="T40" fmla="*/ 82 w 90"/>
                <a:gd name="T41" fmla="*/ 29 h 30"/>
                <a:gd name="T42" fmla="*/ 84 w 90"/>
                <a:gd name="T43" fmla="*/ 28 h 30"/>
                <a:gd name="T44" fmla="*/ 86 w 90"/>
                <a:gd name="T45" fmla="*/ 26 h 30"/>
                <a:gd name="T46" fmla="*/ 88 w 90"/>
                <a:gd name="T47" fmla="*/ 24 h 30"/>
                <a:gd name="T48" fmla="*/ 89 w 90"/>
                <a:gd name="T49" fmla="*/ 21 h 30"/>
                <a:gd name="T50" fmla="*/ 90 w 90"/>
                <a:gd name="T51" fmla="*/ 18 h 30"/>
                <a:gd name="T52" fmla="*/ 90 w 90"/>
                <a:gd name="T53" fmla="*/ 15 h 30"/>
                <a:gd name="T54" fmla="*/ 90 w 90"/>
                <a:gd name="T55" fmla="*/ 12 h 30"/>
                <a:gd name="T56" fmla="*/ 89 w 90"/>
                <a:gd name="T57" fmla="*/ 10 h 30"/>
                <a:gd name="T58" fmla="*/ 88 w 90"/>
                <a:gd name="T59" fmla="*/ 6 h 30"/>
                <a:gd name="T60" fmla="*/ 86 w 90"/>
                <a:gd name="T61" fmla="*/ 4 h 30"/>
                <a:gd name="T62" fmla="*/ 84 w 90"/>
                <a:gd name="T63" fmla="*/ 2 h 30"/>
                <a:gd name="T64" fmla="*/ 82 w 90"/>
                <a:gd name="T65" fmla="*/ 1 h 30"/>
                <a:gd name="T66" fmla="*/ 78 w 90"/>
                <a:gd name="T67" fmla="*/ 0 h 30"/>
                <a:gd name="T68" fmla="*/ 75 w 90"/>
                <a:gd name="T69"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90" h="30">
                  <a:moveTo>
                    <a:pt x="75" y="0"/>
                  </a:moveTo>
                  <a:lnTo>
                    <a:pt x="15" y="0"/>
                  </a:lnTo>
                  <a:lnTo>
                    <a:pt x="12" y="0"/>
                  </a:lnTo>
                  <a:lnTo>
                    <a:pt x="10" y="1"/>
                  </a:lnTo>
                  <a:lnTo>
                    <a:pt x="6" y="2"/>
                  </a:lnTo>
                  <a:lnTo>
                    <a:pt x="4" y="4"/>
                  </a:lnTo>
                  <a:lnTo>
                    <a:pt x="2" y="6"/>
                  </a:lnTo>
                  <a:lnTo>
                    <a:pt x="1" y="10"/>
                  </a:lnTo>
                  <a:lnTo>
                    <a:pt x="0" y="12"/>
                  </a:lnTo>
                  <a:lnTo>
                    <a:pt x="0" y="15"/>
                  </a:lnTo>
                  <a:lnTo>
                    <a:pt x="0" y="18"/>
                  </a:lnTo>
                  <a:lnTo>
                    <a:pt x="1" y="21"/>
                  </a:lnTo>
                  <a:lnTo>
                    <a:pt x="2" y="24"/>
                  </a:lnTo>
                  <a:lnTo>
                    <a:pt x="4" y="26"/>
                  </a:lnTo>
                  <a:lnTo>
                    <a:pt x="6" y="28"/>
                  </a:lnTo>
                  <a:lnTo>
                    <a:pt x="10" y="29"/>
                  </a:lnTo>
                  <a:lnTo>
                    <a:pt x="12" y="30"/>
                  </a:lnTo>
                  <a:lnTo>
                    <a:pt x="15" y="30"/>
                  </a:lnTo>
                  <a:lnTo>
                    <a:pt x="75" y="30"/>
                  </a:lnTo>
                  <a:lnTo>
                    <a:pt x="78" y="30"/>
                  </a:lnTo>
                  <a:lnTo>
                    <a:pt x="82" y="29"/>
                  </a:lnTo>
                  <a:lnTo>
                    <a:pt x="84" y="28"/>
                  </a:lnTo>
                  <a:lnTo>
                    <a:pt x="86" y="26"/>
                  </a:lnTo>
                  <a:lnTo>
                    <a:pt x="88" y="24"/>
                  </a:lnTo>
                  <a:lnTo>
                    <a:pt x="89" y="21"/>
                  </a:lnTo>
                  <a:lnTo>
                    <a:pt x="90" y="18"/>
                  </a:lnTo>
                  <a:lnTo>
                    <a:pt x="90" y="15"/>
                  </a:lnTo>
                  <a:lnTo>
                    <a:pt x="90" y="12"/>
                  </a:lnTo>
                  <a:lnTo>
                    <a:pt x="89" y="10"/>
                  </a:lnTo>
                  <a:lnTo>
                    <a:pt x="88" y="6"/>
                  </a:lnTo>
                  <a:lnTo>
                    <a:pt x="86" y="4"/>
                  </a:lnTo>
                  <a:lnTo>
                    <a:pt x="84" y="2"/>
                  </a:lnTo>
                  <a:lnTo>
                    <a:pt x="82" y="1"/>
                  </a:lnTo>
                  <a:lnTo>
                    <a:pt x="78" y="0"/>
                  </a:lnTo>
                  <a:lnTo>
                    <a:pt x="7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373"/>
            <p:cNvSpPr>
              <a:spLocks/>
            </p:cNvSpPr>
            <p:nvPr/>
          </p:nvSpPr>
          <p:spPr bwMode="auto">
            <a:xfrm>
              <a:off x="8901113" y="1592263"/>
              <a:ext cx="28575" cy="9525"/>
            </a:xfrm>
            <a:custGeom>
              <a:avLst/>
              <a:gdLst>
                <a:gd name="T0" fmla="*/ 75 w 90"/>
                <a:gd name="T1" fmla="*/ 0 h 30"/>
                <a:gd name="T2" fmla="*/ 15 w 90"/>
                <a:gd name="T3" fmla="*/ 0 h 30"/>
                <a:gd name="T4" fmla="*/ 12 w 90"/>
                <a:gd name="T5" fmla="*/ 1 h 30"/>
                <a:gd name="T6" fmla="*/ 10 w 90"/>
                <a:gd name="T7" fmla="*/ 1 h 30"/>
                <a:gd name="T8" fmla="*/ 6 w 90"/>
                <a:gd name="T9" fmla="*/ 3 h 30"/>
                <a:gd name="T10" fmla="*/ 4 w 90"/>
                <a:gd name="T11" fmla="*/ 4 h 30"/>
                <a:gd name="T12" fmla="*/ 2 w 90"/>
                <a:gd name="T13" fmla="*/ 8 h 30"/>
                <a:gd name="T14" fmla="*/ 1 w 90"/>
                <a:gd name="T15" fmla="*/ 10 h 30"/>
                <a:gd name="T16" fmla="*/ 0 w 90"/>
                <a:gd name="T17" fmla="*/ 13 h 30"/>
                <a:gd name="T18" fmla="*/ 0 w 90"/>
                <a:gd name="T19" fmla="*/ 15 h 30"/>
                <a:gd name="T20" fmla="*/ 0 w 90"/>
                <a:gd name="T21" fmla="*/ 18 h 30"/>
                <a:gd name="T22" fmla="*/ 1 w 90"/>
                <a:gd name="T23" fmla="*/ 22 h 30"/>
                <a:gd name="T24" fmla="*/ 2 w 90"/>
                <a:gd name="T25" fmla="*/ 24 h 30"/>
                <a:gd name="T26" fmla="*/ 4 w 90"/>
                <a:gd name="T27" fmla="*/ 26 h 30"/>
                <a:gd name="T28" fmla="*/ 6 w 90"/>
                <a:gd name="T29" fmla="*/ 28 h 30"/>
                <a:gd name="T30" fmla="*/ 10 w 90"/>
                <a:gd name="T31" fmla="*/ 29 h 30"/>
                <a:gd name="T32" fmla="*/ 12 w 90"/>
                <a:gd name="T33" fmla="*/ 30 h 30"/>
                <a:gd name="T34" fmla="*/ 15 w 90"/>
                <a:gd name="T35" fmla="*/ 30 h 30"/>
                <a:gd name="T36" fmla="*/ 75 w 90"/>
                <a:gd name="T37" fmla="*/ 30 h 30"/>
                <a:gd name="T38" fmla="*/ 78 w 90"/>
                <a:gd name="T39" fmla="*/ 30 h 30"/>
                <a:gd name="T40" fmla="*/ 82 w 90"/>
                <a:gd name="T41" fmla="*/ 29 h 30"/>
                <a:gd name="T42" fmla="*/ 84 w 90"/>
                <a:gd name="T43" fmla="*/ 28 h 30"/>
                <a:gd name="T44" fmla="*/ 86 w 90"/>
                <a:gd name="T45" fmla="*/ 26 h 30"/>
                <a:gd name="T46" fmla="*/ 88 w 90"/>
                <a:gd name="T47" fmla="*/ 24 h 30"/>
                <a:gd name="T48" fmla="*/ 89 w 90"/>
                <a:gd name="T49" fmla="*/ 22 h 30"/>
                <a:gd name="T50" fmla="*/ 90 w 90"/>
                <a:gd name="T51" fmla="*/ 18 h 30"/>
                <a:gd name="T52" fmla="*/ 90 w 90"/>
                <a:gd name="T53" fmla="*/ 15 h 30"/>
                <a:gd name="T54" fmla="*/ 90 w 90"/>
                <a:gd name="T55" fmla="*/ 13 h 30"/>
                <a:gd name="T56" fmla="*/ 89 w 90"/>
                <a:gd name="T57" fmla="*/ 10 h 30"/>
                <a:gd name="T58" fmla="*/ 88 w 90"/>
                <a:gd name="T59" fmla="*/ 8 h 30"/>
                <a:gd name="T60" fmla="*/ 86 w 90"/>
                <a:gd name="T61" fmla="*/ 4 h 30"/>
                <a:gd name="T62" fmla="*/ 84 w 90"/>
                <a:gd name="T63" fmla="*/ 3 h 30"/>
                <a:gd name="T64" fmla="*/ 82 w 90"/>
                <a:gd name="T65" fmla="*/ 1 h 30"/>
                <a:gd name="T66" fmla="*/ 78 w 90"/>
                <a:gd name="T67" fmla="*/ 1 h 30"/>
                <a:gd name="T68" fmla="*/ 75 w 90"/>
                <a:gd name="T69"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90" h="30">
                  <a:moveTo>
                    <a:pt x="75" y="0"/>
                  </a:moveTo>
                  <a:lnTo>
                    <a:pt x="15" y="0"/>
                  </a:lnTo>
                  <a:lnTo>
                    <a:pt x="12" y="1"/>
                  </a:lnTo>
                  <a:lnTo>
                    <a:pt x="10" y="1"/>
                  </a:lnTo>
                  <a:lnTo>
                    <a:pt x="6" y="3"/>
                  </a:lnTo>
                  <a:lnTo>
                    <a:pt x="4" y="4"/>
                  </a:lnTo>
                  <a:lnTo>
                    <a:pt x="2" y="8"/>
                  </a:lnTo>
                  <a:lnTo>
                    <a:pt x="1" y="10"/>
                  </a:lnTo>
                  <a:lnTo>
                    <a:pt x="0" y="13"/>
                  </a:lnTo>
                  <a:lnTo>
                    <a:pt x="0" y="15"/>
                  </a:lnTo>
                  <a:lnTo>
                    <a:pt x="0" y="18"/>
                  </a:lnTo>
                  <a:lnTo>
                    <a:pt x="1" y="22"/>
                  </a:lnTo>
                  <a:lnTo>
                    <a:pt x="2" y="24"/>
                  </a:lnTo>
                  <a:lnTo>
                    <a:pt x="4" y="26"/>
                  </a:lnTo>
                  <a:lnTo>
                    <a:pt x="6" y="28"/>
                  </a:lnTo>
                  <a:lnTo>
                    <a:pt x="10" y="29"/>
                  </a:lnTo>
                  <a:lnTo>
                    <a:pt x="12" y="30"/>
                  </a:lnTo>
                  <a:lnTo>
                    <a:pt x="15" y="30"/>
                  </a:lnTo>
                  <a:lnTo>
                    <a:pt x="75" y="30"/>
                  </a:lnTo>
                  <a:lnTo>
                    <a:pt x="78" y="30"/>
                  </a:lnTo>
                  <a:lnTo>
                    <a:pt x="82" y="29"/>
                  </a:lnTo>
                  <a:lnTo>
                    <a:pt x="84" y="28"/>
                  </a:lnTo>
                  <a:lnTo>
                    <a:pt x="86" y="26"/>
                  </a:lnTo>
                  <a:lnTo>
                    <a:pt x="88" y="24"/>
                  </a:lnTo>
                  <a:lnTo>
                    <a:pt x="89" y="22"/>
                  </a:lnTo>
                  <a:lnTo>
                    <a:pt x="90" y="18"/>
                  </a:lnTo>
                  <a:lnTo>
                    <a:pt x="90" y="15"/>
                  </a:lnTo>
                  <a:lnTo>
                    <a:pt x="90" y="13"/>
                  </a:lnTo>
                  <a:lnTo>
                    <a:pt x="89" y="10"/>
                  </a:lnTo>
                  <a:lnTo>
                    <a:pt x="88" y="8"/>
                  </a:lnTo>
                  <a:lnTo>
                    <a:pt x="86" y="4"/>
                  </a:lnTo>
                  <a:lnTo>
                    <a:pt x="84" y="3"/>
                  </a:lnTo>
                  <a:lnTo>
                    <a:pt x="82" y="1"/>
                  </a:lnTo>
                  <a:lnTo>
                    <a:pt x="78" y="1"/>
                  </a:lnTo>
                  <a:lnTo>
                    <a:pt x="7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374"/>
            <p:cNvSpPr>
              <a:spLocks/>
            </p:cNvSpPr>
            <p:nvPr/>
          </p:nvSpPr>
          <p:spPr bwMode="auto">
            <a:xfrm>
              <a:off x="8974138" y="1563688"/>
              <a:ext cx="28575" cy="9525"/>
            </a:xfrm>
            <a:custGeom>
              <a:avLst/>
              <a:gdLst>
                <a:gd name="T0" fmla="*/ 15 w 90"/>
                <a:gd name="T1" fmla="*/ 30 h 30"/>
                <a:gd name="T2" fmla="*/ 75 w 90"/>
                <a:gd name="T3" fmla="*/ 30 h 30"/>
                <a:gd name="T4" fmla="*/ 79 w 90"/>
                <a:gd name="T5" fmla="*/ 30 h 30"/>
                <a:gd name="T6" fmla="*/ 81 w 90"/>
                <a:gd name="T7" fmla="*/ 29 h 30"/>
                <a:gd name="T8" fmla="*/ 84 w 90"/>
                <a:gd name="T9" fmla="*/ 28 h 30"/>
                <a:gd name="T10" fmla="*/ 86 w 90"/>
                <a:gd name="T11" fmla="*/ 26 h 30"/>
                <a:gd name="T12" fmla="*/ 87 w 90"/>
                <a:gd name="T13" fmla="*/ 24 h 30"/>
                <a:gd name="T14" fmla="*/ 89 w 90"/>
                <a:gd name="T15" fmla="*/ 21 h 30"/>
                <a:gd name="T16" fmla="*/ 89 w 90"/>
                <a:gd name="T17" fmla="*/ 18 h 30"/>
                <a:gd name="T18" fmla="*/ 90 w 90"/>
                <a:gd name="T19" fmla="*/ 15 h 30"/>
                <a:gd name="T20" fmla="*/ 89 w 90"/>
                <a:gd name="T21" fmla="*/ 12 h 30"/>
                <a:gd name="T22" fmla="*/ 89 w 90"/>
                <a:gd name="T23" fmla="*/ 10 h 30"/>
                <a:gd name="T24" fmla="*/ 87 w 90"/>
                <a:gd name="T25" fmla="*/ 6 h 30"/>
                <a:gd name="T26" fmla="*/ 86 w 90"/>
                <a:gd name="T27" fmla="*/ 4 h 30"/>
                <a:gd name="T28" fmla="*/ 84 w 90"/>
                <a:gd name="T29" fmla="*/ 3 h 30"/>
                <a:gd name="T30" fmla="*/ 81 w 90"/>
                <a:gd name="T31" fmla="*/ 1 h 30"/>
                <a:gd name="T32" fmla="*/ 79 w 90"/>
                <a:gd name="T33" fmla="*/ 0 h 30"/>
                <a:gd name="T34" fmla="*/ 75 w 90"/>
                <a:gd name="T35" fmla="*/ 0 h 30"/>
                <a:gd name="T36" fmla="*/ 15 w 90"/>
                <a:gd name="T37" fmla="*/ 0 h 30"/>
                <a:gd name="T38" fmla="*/ 12 w 90"/>
                <a:gd name="T39" fmla="*/ 0 h 30"/>
                <a:gd name="T40" fmla="*/ 9 w 90"/>
                <a:gd name="T41" fmla="*/ 1 h 30"/>
                <a:gd name="T42" fmla="*/ 7 w 90"/>
                <a:gd name="T43" fmla="*/ 2 h 30"/>
                <a:gd name="T44" fmla="*/ 5 w 90"/>
                <a:gd name="T45" fmla="*/ 4 h 30"/>
                <a:gd name="T46" fmla="*/ 2 w 90"/>
                <a:gd name="T47" fmla="*/ 6 h 30"/>
                <a:gd name="T48" fmla="*/ 1 w 90"/>
                <a:gd name="T49" fmla="*/ 10 h 30"/>
                <a:gd name="T50" fmla="*/ 0 w 90"/>
                <a:gd name="T51" fmla="*/ 12 h 30"/>
                <a:gd name="T52" fmla="*/ 0 w 90"/>
                <a:gd name="T53" fmla="*/ 15 h 30"/>
                <a:gd name="T54" fmla="*/ 0 w 90"/>
                <a:gd name="T55" fmla="*/ 18 h 30"/>
                <a:gd name="T56" fmla="*/ 1 w 90"/>
                <a:gd name="T57" fmla="*/ 21 h 30"/>
                <a:gd name="T58" fmla="*/ 2 w 90"/>
                <a:gd name="T59" fmla="*/ 24 h 30"/>
                <a:gd name="T60" fmla="*/ 5 w 90"/>
                <a:gd name="T61" fmla="*/ 26 h 30"/>
                <a:gd name="T62" fmla="*/ 7 w 90"/>
                <a:gd name="T63" fmla="*/ 28 h 30"/>
                <a:gd name="T64" fmla="*/ 9 w 90"/>
                <a:gd name="T65" fmla="*/ 29 h 30"/>
                <a:gd name="T66" fmla="*/ 12 w 90"/>
                <a:gd name="T67" fmla="*/ 30 h 30"/>
                <a:gd name="T68" fmla="*/ 15 w 90"/>
                <a:gd name="T69" fmla="*/ 30 h 30"/>
                <a:gd name="T70" fmla="*/ 15 w 90"/>
                <a:gd name="T71"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0" h="30">
                  <a:moveTo>
                    <a:pt x="15" y="30"/>
                  </a:moveTo>
                  <a:lnTo>
                    <a:pt x="75" y="30"/>
                  </a:lnTo>
                  <a:lnTo>
                    <a:pt x="79" y="30"/>
                  </a:lnTo>
                  <a:lnTo>
                    <a:pt x="81" y="29"/>
                  </a:lnTo>
                  <a:lnTo>
                    <a:pt x="84" y="28"/>
                  </a:lnTo>
                  <a:lnTo>
                    <a:pt x="86" y="26"/>
                  </a:lnTo>
                  <a:lnTo>
                    <a:pt x="87" y="24"/>
                  </a:lnTo>
                  <a:lnTo>
                    <a:pt x="89" y="21"/>
                  </a:lnTo>
                  <a:lnTo>
                    <a:pt x="89" y="18"/>
                  </a:lnTo>
                  <a:lnTo>
                    <a:pt x="90" y="15"/>
                  </a:lnTo>
                  <a:lnTo>
                    <a:pt x="89" y="12"/>
                  </a:lnTo>
                  <a:lnTo>
                    <a:pt x="89" y="10"/>
                  </a:lnTo>
                  <a:lnTo>
                    <a:pt x="87" y="6"/>
                  </a:lnTo>
                  <a:lnTo>
                    <a:pt x="86" y="4"/>
                  </a:lnTo>
                  <a:lnTo>
                    <a:pt x="84" y="3"/>
                  </a:lnTo>
                  <a:lnTo>
                    <a:pt x="81" y="1"/>
                  </a:lnTo>
                  <a:lnTo>
                    <a:pt x="79" y="0"/>
                  </a:lnTo>
                  <a:lnTo>
                    <a:pt x="75" y="0"/>
                  </a:lnTo>
                  <a:lnTo>
                    <a:pt x="15" y="0"/>
                  </a:lnTo>
                  <a:lnTo>
                    <a:pt x="12" y="0"/>
                  </a:lnTo>
                  <a:lnTo>
                    <a:pt x="9" y="1"/>
                  </a:lnTo>
                  <a:lnTo>
                    <a:pt x="7" y="2"/>
                  </a:lnTo>
                  <a:lnTo>
                    <a:pt x="5" y="4"/>
                  </a:lnTo>
                  <a:lnTo>
                    <a:pt x="2" y="6"/>
                  </a:lnTo>
                  <a:lnTo>
                    <a:pt x="1" y="10"/>
                  </a:lnTo>
                  <a:lnTo>
                    <a:pt x="0" y="12"/>
                  </a:lnTo>
                  <a:lnTo>
                    <a:pt x="0" y="15"/>
                  </a:lnTo>
                  <a:lnTo>
                    <a:pt x="0" y="18"/>
                  </a:lnTo>
                  <a:lnTo>
                    <a:pt x="1" y="21"/>
                  </a:lnTo>
                  <a:lnTo>
                    <a:pt x="2" y="24"/>
                  </a:lnTo>
                  <a:lnTo>
                    <a:pt x="5" y="26"/>
                  </a:lnTo>
                  <a:lnTo>
                    <a:pt x="7" y="28"/>
                  </a:lnTo>
                  <a:lnTo>
                    <a:pt x="9" y="29"/>
                  </a:lnTo>
                  <a:lnTo>
                    <a:pt x="12" y="30"/>
                  </a:lnTo>
                  <a:lnTo>
                    <a:pt x="15" y="30"/>
                  </a:lnTo>
                  <a:lnTo>
                    <a:pt x="15" y="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375"/>
            <p:cNvSpPr>
              <a:spLocks/>
            </p:cNvSpPr>
            <p:nvPr/>
          </p:nvSpPr>
          <p:spPr bwMode="auto">
            <a:xfrm>
              <a:off x="8974138" y="1592263"/>
              <a:ext cx="28575" cy="9525"/>
            </a:xfrm>
            <a:custGeom>
              <a:avLst/>
              <a:gdLst>
                <a:gd name="T0" fmla="*/ 15 w 90"/>
                <a:gd name="T1" fmla="*/ 30 h 30"/>
                <a:gd name="T2" fmla="*/ 75 w 90"/>
                <a:gd name="T3" fmla="*/ 30 h 30"/>
                <a:gd name="T4" fmla="*/ 79 w 90"/>
                <a:gd name="T5" fmla="*/ 30 h 30"/>
                <a:gd name="T6" fmla="*/ 81 w 90"/>
                <a:gd name="T7" fmla="*/ 29 h 30"/>
                <a:gd name="T8" fmla="*/ 84 w 90"/>
                <a:gd name="T9" fmla="*/ 28 h 30"/>
                <a:gd name="T10" fmla="*/ 86 w 90"/>
                <a:gd name="T11" fmla="*/ 26 h 30"/>
                <a:gd name="T12" fmla="*/ 87 w 90"/>
                <a:gd name="T13" fmla="*/ 24 h 30"/>
                <a:gd name="T14" fmla="*/ 89 w 90"/>
                <a:gd name="T15" fmla="*/ 22 h 30"/>
                <a:gd name="T16" fmla="*/ 89 w 90"/>
                <a:gd name="T17" fmla="*/ 18 h 30"/>
                <a:gd name="T18" fmla="*/ 90 w 90"/>
                <a:gd name="T19" fmla="*/ 15 h 30"/>
                <a:gd name="T20" fmla="*/ 89 w 90"/>
                <a:gd name="T21" fmla="*/ 13 h 30"/>
                <a:gd name="T22" fmla="*/ 89 w 90"/>
                <a:gd name="T23" fmla="*/ 10 h 30"/>
                <a:gd name="T24" fmla="*/ 87 w 90"/>
                <a:gd name="T25" fmla="*/ 8 h 30"/>
                <a:gd name="T26" fmla="*/ 86 w 90"/>
                <a:gd name="T27" fmla="*/ 4 h 30"/>
                <a:gd name="T28" fmla="*/ 84 w 90"/>
                <a:gd name="T29" fmla="*/ 3 h 30"/>
                <a:gd name="T30" fmla="*/ 81 w 90"/>
                <a:gd name="T31" fmla="*/ 1 h 30"/>
                <a:gd name="T32" fmla="*/ 79 w 90"/>
                <a:gd name="T33" fmla="*/ 1 h 30"/>
                <a:gd name="T34" fmla="*/ 75 w 90"/>
                <a:gd name="T35" fmla="*/ 0 h 30"/>
                <a:gd name="T36" fmla="*/ 15 w 90"/>
                <a:gd name="T37" fmla="*/ 0 h 30"/>
                <a:gd name="T38" fmla="*/ 12 w 90"/>
                <a:gd name="T39" fmla="*/ 1 h 30"/>
                <a:gd name="T40" fmla="*/ 9 w 90"/>
                <a:gd name="T41" fmla="*/ 1 h 30"/>
                <a:gd name="T42" fmla="*/ 7 w 90"/>
                <a:gd name="T43" fmla="*/ 3 h 30"/>
                <a:gd name="T44" fmla="*/ 5 w 90"/>
                <a:gd name="T45" fmla="*/ 4 h 30"/>
                <a:gd name="T46" fmla="*/ 2 w 90"/>
                <a:gd name="T47" fmla="*/ 8 h 30"/>
                <a:gd name="T48" fmla="*/ 1 w 90"/>
                <a:gd name="T49" fmla="*/ 10 h 30"/>
                <a:gd name="T50" fmla="*/ 0 w 90"/>
                <a:gd name="T51" fmla="*/ 13 h 30"/>
                <a:gd name="T52" fmla="*/ 0 w 90"/>
                <a:gd name="T53" fmla="*/ 15 h 30"/>
                <a:gd name="T54" fmla="*/ 0 w 90"/>
                <a:gd name="T55" fmla="*/ 18 h 30"/>
                <a:gd name="T56" fmla="*/ 1 w 90"/>
                <a:gd name="T57" fmla="*/ 22 h 30"/>
                <a:gd name="T58" fmla="*/ 2 w 90"/>
                <a:gd name="T59" fmla="*/ 24 h 30"/>
                <a:gd name="T60" fmla="*/ 5 w 90"/>
                <a:gd name="T61" fmla="*/ 26 h 30"/>
                <a:gd name="T62" fmla="*/ 7 w 90"/>
                <a:gd name="T63" fmla="*/ 28 h 30"/>
                <a:gd name="T64" fmla="*/ 9 w 90"/>
                <a:gd name="T65" fmla="*/ 29 h 30"/>
                <a:gd name="T66" fmla="*/ 12 w 90"/>
                <a:gd name="T67" fmla="*/ 30 h 30"/>
                <a:gd name="T68" fmla="*/ 15 w 90"/>
                <a:gd name="T69"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90" h="30">
                  <a:moveTo>
                    <a:pt x="15" y="30"/>
                  </a:moveTo>
                  <a:lnTo>
                    <a:pt x="75" y="30"/>
                  </a:lnTo>
                  <a:lnTo>
                    <a:pt x="79" y="30"/>
                  </a:lnTo>
                  <a:lnTo>
                    <a:pt x="81" y="29"/>
                  </a:lnTo>
                  <a:lnTo>
                    <a:pt x="84" y="28"/>
                  </a:lnTo>
                  <a:lnTo>
                    <a:pt x="86" y="26"/>
                  </a:lnTo>
                  <a:lnTo>
                    <a:pt x="87" y="24"/>
                  </a:lnTo>
                  <a:lnTo>
                    <a:pt x="89" y="22"/>
                  </a:lnTo>
                  <a:lnTo>
                    <a:pt x="89" y="18"/>
                  </a:lnTo>
                  <a:lnTo>
                    <a:pt x="90" y="15"/>
                  </a:lnTo>
                  <a:lnTo>
                    <a:pt x="89" y="13"/>
                  </a:lnTo>
                  <a:lnTo>
                    <a:pt x="89" y="10"/>
                  </a:lnTo>
                  <a:lnTo>
                    <a:pt x="87" y="8"/>
                  </a:lnTo>
                  <a:lnTo>
                    <a:pt x="86" y="4"/>
                  </a:lnTo>
                  <a:lnTo>
                    <a:pt x="84" y="3"/>
                  </a:lnTo>
                  <a:lnTo>
                    <a:pt x="81" y="1"/>
                  </a:lnTo>
                  <a:lnTo>
                    <a:pt x="79" y="1"/>
                  </a:lnTo>
                  <a:lnTo>
                    <a:pt x="75" y="0"/>
                  </a:lnTo>
                  <a:lnTo>
                    <a:pt x="15" y="0"/>
                  </a:lnTo>
                  <a:lnTo>
                    <a:pt x="12" y="1"/>
                  </a:lnTo>
                  <a:lnTo>
                    <a:pt x="9" y="1"/>
                  </a:lnTo>
                  <a:lnTo>
                    <a:pt x="7" y="3"/>
                  </a:lnTo>
                  <a:lnTo>
                    <a:pt x="5" y="4"/>
                  </a:lnTo>
                  <a:lnTo>
                    <a:pt x="2" y="8"/>
                  </a:lnTo>
                  <a:lnTo>
                    <a:pt x="1" y="10"/>
                  </a:lnTo>
                  <a:lnTo>
                    <a:pt x="0" y="13"/>
                  </a:lnTo>
                  <a:lnTo>
                    <a:pt x="0" y="15"/>
                  </a:lnTo>
                  <a:lnTo>
                    <a:pt x="0" y="18"/>
                  </a:lnTo>
                  <a:lnTo>
                    <a:pt x="1" y="22"/>
                  </a:lnTo>
                  <a:lnTo>
                    <a:pt x="2" y="24"/>
                  </a:lnTo>
                  <a:lnTo>
                    <a:pt x="5" y="26"/>
                  </a:lnTo>
                  <a:lnTo>
                    <a:pt x="7" y="28"/>
                  </a:lnTo>
                  <a:lnTo>
                    <a:pt x="9" y="29"/>
                  </a:lnTo>
                  <a:lnTo>
                    <a:pt x="12" y="30"/>
                  </a:lnTo>
                  <a:lnTo>
                    <a:pt x="15" y="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376"/>
            <p:cNvSpPr>
              <a:spLocks noEditPoints="1"/>
            </p:cNvSpPr>
            <p:nvPr/>
          </p:nvSpPr>
          <p:spPr bwMode="auto">
            <a:xfrm>
              <a:off x="8743951" y="1401763"/>
              <a:ext cx="287338" cy="228600"/>
            </a:xfrm>
            <a:custGeom>
              <a:avLst/>
              <a:gdLst>
                <a:gd name="T0" fmla="*/ 873 w 903"/>
                <a:gd name="T1" fmla="*/ 692 h 722"/>
                <a:gd name="T2" fmla="*/ 30 w 903"/>
                <a:gd name="T3" fmla="*/ 692 h 722"/>
                <a:gd name="T4" fmla="*/ 30 w 903"/>
                <a:gd name="T5" fmla="*/ 394 h 722"/>
                <a:gd name="T6" fmla="*/ 86 w 903"/>
                <a:gd name="T7" fmla="*/ 30 h 722"/>
                <a:gd name="T8" fmla="*/ 126 w 903"/>
                <a:gd name="T9" fmla="*/ 30 h 722"/>
                <a:gd name="T10" fmla="*/ 197 w 903"/>
                <a:gd name="T11" fmla="*/ 397 h 722"/>
                <a:gd name="T12" fmla="*/ 205 w 903"/>
                <a:gd name="T13" fmla="*/ 442 h 722"/>
                <a:gd name="T14" fmla="*/ 243 w 903"/>
                <a:gd name="T15" fmla="*/ 417 h 722"/>
                <a:gd name="T16" fmla="*/ 422 w 903"/>
                <a:gd name="T17" fmla="*/ 297 h 722"/>
                <a:gd name="T18" fmla="*/ 422 w 903"/>
                <a:gd name="T19" fmla="*/ 392 h 722"/>
                <a:gd name="T20" fmla="*/ 422 w 903"/>
                <a:gd name="T21" fmla="*/ 448 h 722"/>
                <a:gd name="T22" fmla="*/ 468 w 903"/>
                <a:gd name="T23" fmla="*/ 417 h 722"/>
                <a:gd name="T24" fmla="*/ 647 w 903"/>
                <a:gd name="T25" fmla="*/ 297 h 722"/>
                <a:gd name="T26" fmla="*/ 647 w 903"/>
                <a:gd name="T27" fmla="*/ 392 h 722"/>
                <a:gd name="T28" fmla="*/ 647 w 903"/>
                <a:gd name="T29" fmla="*/ 448 h 722"/>
                <a:gd name="T30" fmla="*/ 694 w 903"/>
                <a:gd name="T31" fmla="*/ 417 h 722"/>
                <a:gd name="T32" fmla="*/ 873 w 903"/>
                <a:gd name="T33" fmla="*/ 297 h 722"/>
                <a:gd name="T34" fmla="*/ 873 w 903"/>
                <a:gd name="T35" fmla="*/ 692 h 722"/>
                <a:gd name="T36" fmla="*/ 677 w 903"/>
                <a:gd name="T37" fmla="*/ 392 h 722"/>
                <a:gd name="T38" fmla="*/ 677 w 903"/>
                <a:gd name="T39" fmla="*/ 241 h 722"/>
                <a:gd name="T40" fmla="*/ 452 w 903"/>
                <a:gd name="T41" fmla="*/ 392 h 722"/>
                <a:gd name="T42" fmla="*/ 452 w 903"/>
                <a:gd name="T43" fmla="*/ 241 h 722"/>
                <a:gd name="T44" fmla="*/ 226 w 903"/>
                <a:gd name="T45" fmla="*/ 392 h 722"/>
                <a:gd name="T46" fmla="*/ 151 w 903"/>
                <a:gd name="T47" fmla="*/ 0 h 722"/>
                <a:gd name="T48" fmla="*/ 60 w 903"/>
                <a:gd name="T49" fmla="*/ 0 h 722"/>
                <a:gd name="T50" fmla="*/ 0 w 903"/>
                <a:gd name="T51" fmla="*/ 392 h 722"/>
                <a:gd name="T52" fmla="*/ 0 w 903"/>
                <a:gd name="T53" fmla="*/ 722 h 722"/>
                <a:gd name="T54" fmla="*/ 903 w 903"/>
                <a:gd name="T55" fmla="*/ 722 h 722"/>
                <a:gd name="T56" fmla="*/ 903 w 903"/>
                <a:gd name="T57" fmla="*/ 241 h 722"/>
                <a:gd name="T58" fmla="*/ 677 w 903"/>
                <a:gd name="T59" fmla="*/ 392 h 7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903" h="722">
                  <a:moveTo>
                    <a:pt x="873" y="692"/>
                  </a:moveTo>
                  <a:lnTo>
                    <a:pt x="30" y="692"/>
                  </a:lnTo>
                  <a:lnTo>
                    <a:pt x="30" y="394"/>
                  </a:lnTo>
                  <a:lnTo>
                    <a:pt x="86" y="30"/>
                  </a:lnTo>
                  <a:lnTo>
                    <a:pt x="126" y="30"/>
                  </a:lnTo>
                  <a:lnTo>
                    <a:pt x="197" y="397"/>
                  </a:lnTo>
                  <a:lnTo>
                    <a:pt x="205" y="442"/>
                  </a:lnTo>
                  <a:lnTo>
                    <a:pt x="243" y="417"/>
                  </a:lnTo>
                  <a:lnTo>
                    <a:pt x="422" y="297"/>
                  </a:lnTo>
                  <a:lnTo>
                    <a:pt x="422" y="392"/>
                  </a:lnTo>
                  <a:lnTo>
                    <a:pt x="422" y="448"/>
                  </a:lnTo>
                  <a:lnTo>
                    <a:pt x="468" y="417"/>
                  </a:lnTo>
                  <a:lnTo>
                    <a:pt x="647" y="297"/>
                  </a:lnTo>
                  <a:lnTo>
                    <a:pt x="647" y="392"/>
                  </a:lnTo>
                  <a:lnTo>
                    <a:pt x="647" y="448"/>
                  </a:lnTo>
                  <a:lnTo>
                    <a:pt x="694" y="417"/>
                  </a:lnTo>
                  <a:lnTo>
                    <a:pt x="873" y="297"/>
                  </a:lnTo>
                  <a:lnTo>
                    <a:pt x="873" y="692"/>
                  </a:lnTo>
                  <a:close/>
                  <a:moveTo>
                    <a:pt x="677" y="392"/>
                  </a:moveTo>
                  <a:lnTo>
                    <a:pt x="677" y="241"/>
                  </a:lnTo>
                  <a:lnTo>
                    <a:pt x="452" y="392"/>
                  </a:lnTo>
                  <a:lnTo>
                    <a:pt x="452" y="241"/>
                  </a:lnTo>
                  <a:lnTo>
                    <a:pt x="226" y="392"/>
                  </a:lnTo>
                  <a:lnTo>
                    <a:pt x="151" y="0"/>
                  </a:lnTo>
                  <a:lnTo>
                    <a:pt x="60" y="0"/>
                  </a:lnTo>
                  <a:lnTo>
                    <a:pt x="0" y="392"/>
                  </a:lnTo>
                  <a:lnTo>
                    <a:pt x="0" y="722"/>
                  </a:lnTo>
                  <a:lnTo>
                    <a:pt x="903" y="722"/>
                  </a:lnTo>
                  <a:lnTo>
                    <a:pt x="903" y="241"/>
                  </a:lnTo>
                  <a:lnTo>
                    <a:pt x="677" y="3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95" name="Group 194"/>
          <p:cNvGrpSpPr/>
          <p:nvPr/>
        </p:nvGrpSpPr>
        <p:grpSpPr>
          <a:xfrm>
            <a:off x="4142056" y="3318178"/>
            <a:ext cx="287338" cy="239712"/>
            <a:chOff x="10464801" y="817563"/>
            <a:chExt cx="287338" cy="239712"/>
          </a:xfrm>
          <a:solidFill>
            <a:srgbClr val="3B3939"/>
          </a:solidFill>
        </p:grpSpPr>
        <p:sp>
          <p:nvSpPr>
            <p:cNvPr id="196" name="Freeform 334"/>
            <p:cNvSpPr>
              <a:spLocks noEditPoints="1"/>
            </p:cNvSpPr>
            <p:nvPr/>
          </p:nvSpPr>
          <p:spPr bwMode="auto">
            <a:xfrm>
              <a:off x="10464801" y="817563"/>
              <a:ext cx="287338" cy="239712"/>
            </a:xfrm>
            <a:custGeom>
              <a:avLst/>
              <a:gdLst>
                <a:gd name="T0" fmla="*/ 723 w 904"/>
                <a:gd name="T1" fmla="*/ 602 h 753"/>
                <a:gd name="T2" fmla="*/ 512 w 904"/>
                <a:gd name="T3" fmla="*/ 602 h 753"/>
                <a:gd name="T4" fmla="*/ 512 w 904"/>
                <a:gd name="T5" fmla="*/ 722 h 753"/>
                <a:gd name="T6" fmla="*/ 181 w 904"/>
                <a:gd name="T7" fmla="*/ 542 h 753"/>
                <a:gd name="T8" fmla="*/ 181 w 904"/>
                <a:gd name="T9" fmla="*/ 722 h 753"/>
                <a:gd name="T10" fmla="*/ 391 w 904"/>
                <a:gd name="T11" fmla="*/ 722 h 753"/>
                <a:gd name="T12" fmla="*/ 331 w 904"/>
                <a:gd name="T13" fmla="*/ 524 h 753"/>
                <a:gd name="T14" fmla="*/ 327 w 904"/>
                <a:gd name="T15" fmla="*/ 516 h 753"/>
                <a:gd name="T16" fmla="*/ 319 w 904"/>
                <a:gd name="T17" fmla="*/ 512 h 753"/>
                <a:gd name="T18" fmla="*/ 163 w 904"/>
                <a:gd name="T19" fmla="*/ 512 h 753"/>
                <a:gd name="T20" fmla="*/ 155 w 904"/>
                <a:gd name="T21" fmla="*/ 516 h 753"/>
                <a:gd name="T22" fmla="*/ 151 w 904"/>
                <a:gd name="T23" fmla="*/ 524 h 753"/>
                <a:gd name="T24" fmla="*/ 91 w 904"/>
                <a:gd name="T25" fmla="*/ 722 h 753"/>
                <a:gd name="T26" fmla="*/ 813 w 904"/>
                <a:gd name="T27" fmla="*/ 722 h 753"/>
                <a:gd name="T28" fmla="*/ 753 w 904"/>
                <a:gd name="T29" fmla="*/ 584 h 753"/>
                <a:gd name="T30" fmla="*/ 748 w 904"/>
                <a:gd name="T31" fmla="*/ 577 h 753"/>
                <a:gd name="T32" fmla="*/ 741 w 904"/>
                <a:gd name="T33" fmla="*/ 572 h 753"/>
                <a:gd name="T34" fmla="*/ 494 w 904"/>
                <a:gd name="T35" fmla="*/ 572 h 753"/>
                <a:gd name="T36" fmla="*/ 487 w 904"/>
                <a:gd name="T37" fmla="*/ 577 h 753"/>
                <a:gd name="T38" fmla="*/ 482 w 904"/>
                <a:gd name="T39" fmla="*/ 584 h 753"/>
                <a:gd name="T40" fmla="*/ 421 w 904"/>
                <a:gd name="T41" fmla="*/ 722 h 753"/>
                <a:gd name="T42" fmla="*/ 723 w 904"/>
                <a:gd name="T43" fmla="*/ 121 h 753"/>
                <a:gd name="T44" fmla="*/ 723 w 904"/>
                <a:gd name="T45" fmla="*/ 241 h 753"/>
                <a:gd name="T46" fmla="*/ 843 w 904"/>
                <a:gd name="T47" fmla="*/ 722 h 753"/>
                <a:gd name="T48" fmla="*/ 885 w 904"/>
                <a:gd name="T49" fmla="*/ 376 h 753"/>
                <a:gd name="T50" fmla="*/ 895 w 904"/>
                <a:gd name="T51" fmla="*/ 375 h 753"/>
                <a:gd name="T52" fmla="*/ 903 w 904"/>
                <a:gd name="T53" fmla="*/ 366 h 753"/>
                <a:gd name="T54" fmla="*/ 903 w 904"/>
                <a:gd name="T55" fmla="*/ 358 h 753"/>
                <a:gd name="T56" fmla="*/ 898 w 904"/>
                <a:gd name="T57" fmla="*/ 350 h 753"/>
                <a:gd name="T58" fmla="*/ 813 w 904"/>
                <a:gd name="T59" fmla="*/ 106 h 753"/>
                <a:gd name="T60" fmla="*/ 811 w 904"/>
                <a:gd name="T61" fmla="*/ 97 h 753"/>
                <a:gd name="T62" fmla="*/ 804 w 904"/>
                <a:gd name="T63" fmla="*/ 92 h 753"/>
                <a:gd name="T64" fmla="*/ 708 w 904"/>
                <a:gd name="T65" fmla="*/ 91 h 753"/>
                <a:gd name="T66" fmla="*/ 699 w 904"/>
                <a:gd name="T67" fmla="*/ 93 h 753"/>
                <a:gd name="T68" fmla="*/ 694 w 904"/>
                <a:gd name="T69" fmla="*/ 99 h 753"/>
                <a:gd name="T70" fmla="*/ 693 w 904"/>
                <a:gd name="T71" fmla="*/ 221 h 753"/>
                <a:gd name="T72" fmla="*/ 333 w 904"/>
                <a:gd name="T73" fmla="*/ 0 h 753"/>
                <a:gd name="T74" fmla="*/ 325 w 904"/>
                <a:gd name="T75" fmla="*/ 1 h 753"/>
                <a:gd name="T76" fmla="*/ 318 w 904"/>
                <a:gd name="T77" fmla="*/ 7 h 753"/>
                <a:gd name="T78" fmla="*/ 316 w 904"/>
                <a:gd name="T79" fmla="*/ 15 h 753"/>
                <a:gd name="T80" fmla="*/ 319 w 904"/>
                <a:gd name="T81" fmla="*/ 24 h 753"/>
                <a:gd name="T82" fmla="*/ 391 w 904"/>
                <a:gd name="T83" fmla="*/ 70 h 753"/>
                <a:gd name="T84" fmla="*/ 69 w 904"/>
                <a:gd name="T85" fmla="*/ 394 h 753"/>
                <a:gd name="T86" fmla="*/ 6 w 904"/>
                <a:gd name="T87" fmla="*/ 424 h 753"/>
                <a:gd name="T88" fmla="*/ 1 w 904"/>
                <a:gd name="T89" fmla="*/ 432 h 753"/>
                <a:gd name="T90" fmla="*/ 1 w 904"/>
                <a:gd name="T91" fmla="*/ 440 h 753"/>
                <a:gd name="T92" fmla="*/ 7 w 904"/>
                <a:gd name="T93" fmla="*/ 450 h 753"/>
                <a:gd name="T94" fmla="*/ 19 w 904"/>
                <a:gd name="T95" fmla="*/ 451 h 753"/>
                <a:gd name="T96" fmla="*/ 61 w 904"/>
                <a:gd name="T97" fmla="*/ 722 h 753"/>
                <a:gd name="T98" fmla="*/ 9 w 904"/>
                <a:gd name="T99" fmla="*/ 724 h 753"/>
                <a:gd name="T100" fmla="*/ 3 w 904"/>
                <a:gd name="T101" fmla="*/ 730 h 753"/>
                <a:gd name="T102" fmla="*/ 0 w 904"/>
                <a:gd name="T103" fmla="*/ 738 h 753"/>
                <a:gd name="T104" fmla="*/ 3 w 904"/>
                <a:gd name="T105" fmla="*/ 746 h 753"/>
                <a:gd name="T106" fmla="*/ 9 w 904"/>
                <a:gd name="T107" fmla="*/ 751 h 753"/>
                <a:gd name="T108" fmla="*/ 166 w 904"/>
                <a:gd name="T109" fmla="*/ 753 h 753"/>
                <a:gd name="T110" fmla="*/ 738 w 904"/>
                <a:gd name="T111" fmla="*/ 753 h 753"/>
                <a:gd name="T112" fmla="*/ 894 w 904"/>
                <a:gd name="T113" fmla="*/ 751 h 753"/>
                <a:gd name="T114" fmla="*/ 901 w 904"/>
                <a:gd name="T115" fmla="*/ 746 h 753"/>
                <a:gd name="T116" fmla="*/ 904 w 904"/>
                <a:gd name="T117" fmla="*/ 738 h 753"/>
                <a:gd name="T118" fmla="*/ 901 w 904"/>
                <a:gd name="T119" fmla="*/ 730 h 753"/>
                <a:gd name="T120" fmla="*/ 894 w 904"/>
                <a:gd name="T121" fmla="*/ 724 h 7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904" h="753">
                  <a:moveTo>
                    <a:pt x="632" y="722"/>
                  </a:moveTo>
                  <a:lnTo>
                    <a:pt x="632" y="602"/>
                  </a:lnTo>
                  <a:lnTo>
                    <a:pt x="723" y="602"/>
                  </a:lnTo>
                  <a:lnTo>
                    <a:pt x="723" y="722"/>
                  </a:lnTo>
                  <a:lnTo>
                    <a:pt x="632" y="722"/>
                  </a:lnTo>
                  <a:close/>
                  <a:moveTo>
                    <a:pt x="512" y="602"/>
                  </a:moveTo>
                  <a:lnTo>
                    <a:pt x="602" y="602"/>
                  </a:lnTo>
                  <a:lnTo>
                    <a:pt x="602" y="722"/>
                  </a:lnTo>
                  <a:lnTo>
                    <a:pt x="512" y="722"/>
                  </a:lnTo>
                  <a:lnTo>
                    <a:pt x="512" y="602"/>
                  </a:lnTo>
                  <a:close/>
                  <a:moveTo>
                    <a:pt x="181" y="722"/>
                  </a:moveTo>
                  <a:lnTo>
                    <a:pt x="181" y="542"/>
                  </a:lnTo>
                  <a:lnTo>
                    <a:pt x="301" y="542"/>
                  </a:lnTo>
                  <a:lnTo>
                    <a:pt x="301" y="722"/>
                  </a:lnTo>
                  <a:lnTo>
                    <a:pt x="181" y="722"/>
                  </a:lnTo>
                  <a:close/>
                  <a:moveTo>
                    <a:pt x="91" y="417"/>
                  </a:moveTo>
                  <a:lnTo>
                    <a:pt x="391" y="273"/>
                  </a:lnTo>
                  <a:lnTo>
                    <a:pt x="391" y="722"/>
                  </a:lnTo>
                  <a:lnTo>
                    <a:pt x="331" y="722"/>
                  </a:lnTo>
                  <a:lnTo>
                    <a:pt x="331" y="527"/>
                  </a:lnTo>
                  <a:lnTo>
                    <a:pt x="331" y="524"/>
                  </a:lnTo>
                  <a:lnTo>
                    <a:pt x="330" y="521"/>
                  </a:lnTo>
                  <a:lnTo>
                    <a:pt x="329" y="519"/>
                  </a:lnTo>
                  <a:lnTo>
                    <a:pt x="327" y="516"/>
                  </a:lnTo>
                  <a:lnTo>
                    <a:pt x="325" y="514"/>
                  </a:lnTo>
                  <a:lnTo>
                    <a:pt x="323" y="513"/>
                  </a:lnTo>
                  <a:lnTo>
                    <a:pt x="319" y="512"/>
                  </a:lnTo>
                  <a:lnTo>
                    <a:pt x="316" y="512"/>
                  </a:lnTo>
                  <a:lnTo>
                    <a:pt x="166" y="512"/>
                  </a:lnTo>
                  <a:lnTo>
                    <a:pt x="163" y="512"/>
                  </a:lnTo>
                  <a:lnTo>
                    <a:pt x="160" y="513"/>
                  </a:lnTo>
                  <a:lnTo>
                    <a:pt x="157" y="514"/>
                  </a:lnTo>
                  <a:lnTo>
                    <a:pt x="155" y="516"/>
                  </a:lnTo>
                  <a:lnTo>
                    <a:pt x="153" y="519"/>
                  </a:lnTo>
                  <a:lnTo>
                    <a:pt x="152" y="521"/>
                  </a:lnTo>
                  <a:lnTo>
                    <a:pt x="151" y="524"/>
                  </a:lnTo>
                  <a:lnTo>
                    <a:pt x="151" y="527"/>
                  </a:lnTo>
                  <a:lnTo>
                    <a:pt x="151" y="722"/>
                  </a:lnTo>
                  <a:lnTo>
                    <a:pt x="91" y="722"/>
                  </a:lnTo>
                  <a:lnTo>
                    <a:pt x="91" y="417"/>
                  </a:lnTo>
                  <a:close/>
                  <a:moveTo>
                    <a:pt x="813" y="332"/>
                  </a:moveTo>
                  <a:lnTo>
                    <a:pt x="813" y="722"/>
                  </a:lnTo>
                  <a:lnTo>
                    <a:pt x="753" y="722"/>
                  </a:lnTo>
                  <a:lnTo>
                    <a:pt x="753" y="587"/>
                  </a:lnTo>
                  <a:lnTo>
                    <a:pt x="753" y="584"/>
                  </a:lnTo>
                  <a:lnTo>
                    <a:pt x="752" y="582"/>
                  </a:lnTo>
                  <a:lnTo>
                    <a:pt x="750" y="579"/>
                  </a:lnTo>
                  <a:lnTo>
                    <a:pt x="748" y="577"/>
                  </a:lnTo>
                  <a:lnTo>
                    <a:pt x="746" y="574"/>
                  </a:lnTo>
                  <a:lnTo>
                    <a:pt x="744" y="573"/>
                  </a:lnTo>
                  <a:lnTo>
                    <a:pt x="741" y="572"/>
                  </a:lnTo>
                  <a:lnTo>
                    <a:pt x="738" y="572"/>
                  </a:lnTo>
                  <a:lnTo>
                    <a:pt x="497" y="572"/>
                  </a:lnTo>
                  <a:lnTo>
                    <a:pt x="494" y="572"/>
                  </a:lnTo>
                  <a:lnTo>
                    <a:pt x="491" y="573"/>
                  </a:lnTo>
                  <a:lnTo>
                    <a:pt x="489" y="574"/>
                  </a:lnTo>
                  <a:lnTo>
                    <a:pt x="487" y="577"/>
                  </a:lnTo>
                  <a:lnTo>
                    <a:pt x="484" y="579"/>
                  </a:lnTo>
                  <a:lnTo>
                    <a:pt x="483" y="582"/>
                  </a:lnTo>
                  <a:lnTo>
                    <a:pt x="482" y="584"/>
                  </a:lnTo>
                  <a:lnTo>
                    <a:pt x="482" y="587"/>
                  </a:lnTo>
                  <a:lnTo>
                    <a:pt x="482" y="722"/>
                  </a:lnTo>
                  <a:lnTo>
                    <a:pt x="421" y="722"/>
                  </a:lnTo>
                  <a:lnTo>
                    <a:pt x="421" y="89"/>
                  </a:lnTo>
                  <a:lnTo>
                    <a:pt x="813" y="332"/>
                  </a:lnTo>
                  <a:close/>
                  <a:moveTo>
                    <a:pt x="723" y="121"/>
                  </a:moveTo>
                  <a:lnTo>
                    <a:pt x="783" y="121"/>
                  </a:lnTo>
                  <a:lnTo>
                    <a:pt x="783" y="278"/>
                  </a:lnTo>
                  <a:lnTo>
                    <a:pt x="723" y="241"/>
                  </a:lnTo>
                  <a:lnTo>
                    <a:pt x="723" y="121"/>
                  </a:lnTo>
                  <a:close/>
                  <a:moveTo>
                    <a:pt x="889" y="722"/>
                  </a:moveTo>
                  <a:lnTo>
                    <a:pt x="843" y="722"/>
                  </a:lnTo>
                  <a:lnTo>
                    <a:pt x="843" y="351"/>
                  </a:lnTo>
                  <a:lnTo>
                    <a:pt x="880" y="374"/>
                  </a:lnTo>
                  <a:lnTo>
                    <a:pt x="885" y="376"/>
                  </a:lnTo>
                  <a:lnTo>
                    <a:pt x="889" y="377"/>
                  </a:lnTo>
                  <a:lnTo>
                    <a:pt x="892" y="376"/>
                  </a:lnTo>
                  <a:lnTo>
                    <a:pt x="895" y="375"/>
                  </a:lnTo>
                  <a:lnTo>
                    <a:pt x="898" y="373"/>
                  </a:lnTo>
                  <a:lnTo>
                    <a:pt x="901" y="369"/>
                  </a:lnTo>
                  <a:lnTo>
                    <a:pt x="903" y="366"/>
                  </a:lnTo>
                  <a:lnTo>
                    <a:pt x="903" y="364"/>
                  </a:lnTo>
                  <a:lnTo>
                    <a:pt x="904" y="361"/>
                  </a:lnTo>
                  <a:lnTo>
                    <a:pt x="903" y="358"/>
                  </a:lnTo>
                  <a:lnTo>
                    <a:pt x="902" y="356"/>
                  </a:lnTo>
                  <a:lnTo>
                    <a:pt x="901" y="352"/>
                  </a:lnTo>
                  <a:lnTo>
                    <a:pt x="898" y="350"/>
                  </a:lnTo>
                  <a:lnTo>
                    <a:pt x="896" y="349"/>
                  </a:lnTo>
                  <a:lnTo>
                    <a:pt x="813" y="297"/>
                  </a:lnTo>
                  <a:lnTo>
                    <a:pt x="813" y="106"/>
                  </a:lnTo>
                  <a:lnTo>
                    <a:pt x="813" y="102"/>
                  </a:lnTo>
                  <a:lnTo>
                    <a:pt x="812" y="99"/>
                  </a:lnTo>
                  <a:lnTo>
                    <a:pt x="811" y="97"/>
                  </a:lnTo>
                  <a:lnTo>
                    <a:pt x="808" y="95"/>
                  </a:lnTo>
                  <a:lnTo>
                    <a:pt x="806" y="93"/>
                  </a:lnTo>
                  <a:lnTo>
                    <a:pt x="804" y="92"/>
                  </a:lnTo>
                  <a:lnTo>
                    <a:pt x="801" y="91"/>
                  </a:lnTo>
                  <a:lnTo>
                    <a:pt x="798" y="91"/>
                  </a:lnTo>
                  <a:lnTo>
                    <a:pt x="708" y="91"/>
                  </a:lnTo>
                  <a:lnTo>
                    <a:pt x="704" y="91"/>
                  </a:lnTo>
                  <a:lnTo>
                    <a:pt x="702" y="92"/>
                  </a:lnTo>
                  <a:lnTo>
                    <a:pt x="699" y="93"/>
                  </a:lnTo>
                  <a:lnTo>
                    <a:pt x="697" y="95"/>
                  </a:lnTo>
                  <a:lnTo>
                    <a:pt x="695" y="97"/>
                  </a:lnTo>
                  <a:lnTo>
                    <a:pt x="694" y="99"/>
                  </a:lnTo>
                  <a:lnTo>
                    <a:pt x="693" y="102"/>
                  </a:lnTo>
                  <a:lnTo>
                    <a:pt x="693" y="106"/>
                  </a:lnTo>
                  <a:lnTo>
                    <a:pt x="693" y="221"/>
                  </a:lnTo>
                  <a:lnTo>
                    <a:pt x="340" y="3"/>
                  </a:lnTo>
                  <a:lnTo>
                    <a:pt x="336" y="0"/>
                  </a:lnTo>
                  <a:lnTo>
                    <a:pt x="333" y="0"/>
                  </a:lnTo>
                  <a:lnTo>
                    <a:pt x="331" y="0"/>
                  </a:lnTo>
                  <a:lnTo>
                    <a:pt x="328" y="0"/>
                  </a:lnTo>
                  <a:lnTo>
                    <a:pt x="325" y="1"/>
                  </a:lnTo>
                  <a:lnTo>
                    <a:pt x="323" y="3"/>
                  </a:lnTo>
                  <a:lnTo>
                    <a:pt x="320" y="5"/>
                  </a:lnTo>
                  <a:lnTo>
                    <a:pt x="318" y="7"/>
                  </a:lnTo>
                  <a:lnTo>
                    <a:pt x="317" y="10"/>
                  </a:lnTo>
                  <a:lnTo>
                    <a:pt x="316" y="12"/>
                  </a:lnTo>
                  <a:lnTo>
                    <a:pt x="316" y="15"/>
                  </a:lnTo>
                  <a:lnTo>
                    <a:pt x="317" y="19"/>
                  </a:lnTo>
                  <a:lnTo>
                    <a:pt x="317" y="21"/>
                  </a:lnTo>
                  <a:lnTo>
                    <a:pt x="319" y="24"/>
                  </a:lnTo>
                  <a:lnTo>
                    <a:pt x="321" y="26"/>
                  </a:lnTo>
                  <a:lnTo>
                    <a:pt x="324" y="28"/>
                  </a:lnTo>
                  <a:lnTo>
                    <a:pt x="391" y="70"/>
                  </a:lnTo>
                  <a:lnTo>
                    <a:pt x="391" y="239"/>
                  </a:lnTo>
                  <a:lnTo>
                    <a:pt x="72" y="393"/>
                  </a:lnTo>
                  <a:lnTo>
                    <a:pt x="69" y="394"/>
                  </a:lnTo>
                  <a:lnTo>
                    <a:pt x="67" y="395"/>
                  </a:lnTo>
                  <a:lnTo>
                    <a:pt x="8" y="423"/>
                  </a:lnTo>
                  <a:lnTo>
                    <a:pt x="6" y="424"/>
                  </a:lnTo>
                  <a:lnTo>
                    <a:pt x="4" y="426"/>
                  </a:lnTo>
                  <a:lnTo>
                    <a:pt x="2" y="429"/>
                  </a:lnTo>
                  <a:lnTo>
                    <a:pt x="1" y="432"/>
                  </a:lnTo>
                  <a:lnTo>
                    <a:pt x="1" y="435"/>
                  </a:lnTo>
                  <a:lnTo>
                    <a:pt x="1" y="437"/>
                  </a:lnTo>
                  <a:lnTo>
                    <a:pt x="1" y="440"/>
                  </a:lnTo>
                  <a:lnTo>
                    <a:pt x="2" y="444"/>
                  </a:lnTo>
                  <a:lnTo>
                    <a:pt x="4" y="447"/>
                  </a:lnTo>
                  <a:lnTo>
                    <a:pt x="7" y="450"/>
                  </a:lnTo>
                  <a:lnTo>
                    <a:pt x="12" y="451"/>
                  </a:lnTo>
                  <a:lnTo>
                    <a:pt x="16" y="452"/>
                  </a:lnTo>
                  <a:lnTo>
                    <a:pt x="19" y="451"/>
                  </a:lnTo>
                  <a:lnTo>
                    <a:pt x="22" y="450"/>
                  </a:lnTo>
                  <a:lnTo>
                    <a:pt x="61" y="432"/>
                  </a:lnTo>
                  <a:lnTo>
                    <a:pt x="61" y="722"/>
                  </a:lnTo>
                  <a:lnTo>
                    <a:pt x="16" y="722"/>
                  </a:lnTo>
                  <a:lnTo>
                    <a:pt x="13" y="724"/>
                  </a:lnTo>
                  <a:lnTo>
                    <a:pt x="9" y="724"/>
                  </a:lnTo>
                  <a:lnTo>
                    <a:pt x="7" y="726"/>
                  </a:lnTo>
                  <a:lnTo>
                    <a:pt x="5" y="727"/>
                  </a:lnTo>
                  <a:lnTo>
                    <a:pt x="3" y="730"/>
                  </a:lnTo>
                  <a:lnTo>
                    <a:pt x="2" y="732"/>
                  </a:lnTo>
                  <a:lnTo>
                    <a:pt x="1" y="735"/>
                  </a:lnTo>
                  <a:lnTo>
                    <a:pt x="0" y="738"/>
                  </a:lnTo>
                  <a:lnTo>
                    <a:pt x="1" y="741"/>
                  </a:lnTo>
                  <a:lnTo>
                    <a:pt x="2" y="744"/>
                  </a:lnTo>
                  <a:lnTo>
                    <a:pt x="3" y="746"/>
                  </a:lnTo>
                  <a:lnTo>
                    <a:pt x="5" y="748"/>
                  </a:lnTo>
                  <a:lnTo>
                    <a:pt x="7" y="750"/>
                  </a:lnTo>
                  <a:lnTo>
                    <a:pt x="9" y="751"/>
                  </a:lnTo>
                  <a:lnTo>
                    <a:pt x="13" y="753"/>
                  </a:lnTo>
                  <a:lnTo>
                    <a:pt x="16" y="753"/>
                  </a:lnTo>
                  <a:lnTo>
                    <a:pt x="166" y="753"/>
                  </a:lnTo>
                  <a:lnTo>
                    <a:pt x="316" y="753"/>
                  </a:lnTo>
                  <a:lnTo>
                    <a:pt x="497" y="753"/>
                  </a:lnTo>
                  <a:lnTo>
                    <a:pt x="738" y="753"/>
                  </a:lnTo>
                  <a:lnTo>
                    <a:pt x="889" y="753"/>
                  </a:lnTo>
                  <a:lnTo>
                    <a:pt x="891" y="753"/>
                  </a:lnTo>
                  <a:lnTo>
                    <a:pt x="894" y="751"/>
                  </a:lnTo>
                  <a:lnTo>
                    <a:pt x="896" y="750"/>
                  </a:lnTo>
                  <a:lnTo>
                    <a:pt x="898" y="748"/>
                  </a:lnTo>
                  <a:lnTo>
                    <a:pt x="901" y="746"/>
                  </a:lnTo>
                  <a:lnTo>
                    <a:pt x="902" y="744"/>
                  </a:lnTo>
                  <a:lnTo>
                    <a:pt x="903" y="741"/>
                  </a:lnTo>
                  <a:lnTo>
                    <a:pt x="904" y="738"/>
                  </a:lnTo>
                  <a:lnTo>
                    <a:pt x="903" y="735"/>
                  </a:lnTo>
                  <a:lnTo>
                    <a:pt x="902" y="732"/>
                  </a:lnTo>
                  <a:lnTo>
                    <a:pt x="901" y="730"/>
                  </a:lnTo>
                  <a:lnTo>
                    <a:pt x="898" y="727"/>
                  </a:lnTo>
                  <a:lnTo>
                    <a:pt x="896" y="726"/>
                  </a:lnTo>
                  <a:lnTo>
                    <a:pt x="894" y="724"/>
                  </a:lnTo>
                  <a:lnTo>
                    <a:pt x="891" y="724"/>
                  </a:lnTo>
                  <a:lnTo>
                    <a:pt x="889" y="72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335"/>
            <p:cNvSpPr>
              <a:spLocks/>
            </p:cNvSpPr>
            <p:nvPr/>
          </p:nvSpPr>
          <p:spPr bwMode="auto">
            <a:xfrm>
              <a:off x="10512426" y="962025"/>
              <a:ext cx="57150" cy="9525"/>
            </a:xfrm>
            <a:custGeom>
              <a:avLst/>
              <a:gdLst>
                <a:gd name="T0" fmla="*/ 15 w 180"/>
                <a:gd name="T1" fmla="*/ 30 h 30"/>
                <a:gd name="T2" fmla="*/ 165 w 180"/>
                <a:gd name="T3" fmla="*/ 30 h 30"/>
                <a:gd name="T4" fmla="*/ 168 w 180"/>
                <a:gd name="T5" fmla="*/ 29 h 30"/>
                <a:gd name="T6" fmla="*/ 172 w 180"/>
                <a:gd name="T7" fmla="*/ 29 h 30"/>
                <a:gd name="T8" fmla="*/ 174 w 180"/>
                <a:gd name="T9" fmla="*/ 27 h 30"/>
                <a:gd name="T10" fmla="*/ 176 w 180"/>
                <a:gd name="T11" fmla="*/ 26 h 30"/>
                <a:gd name="T12" fmla="*/ 178 w 180"/>
                <a:gd name="T13" fmla="*/ 24 h 30"/>
                <a:gd name="T14" fmla="*/ 179 w 180"/>
                <a:gd name="T15" fmla="*/ 20 h 30"/>
                <a:gd name="T16" fmla="*/ 180 w 180"/>
                <a:gd name="T17" fmla="*/ 18 h 30"/>
                <a:gd name="T18" fmla="*/ 180 w 180"/>
                <a:gd name="T19" fmla="*/ 15 h 30"/>
                <a:gd name="T20" fmla="*/ 180 w 180"/>
                <a:gd name="T21" fmla="*/ 12 h 30"/>
                <a:gd name="T22" fmla="*/ 179 w 180"/>
                <a:gd name="T23" fmla="*/ 9 h 30"/>
                <a:gd name="T24" fmla="*/ 178 w 180"/>
                <a:gd name="T25" fmla="*/ 7 h 30"/>
                <a:gd name="T26" fmla="*/ 176 w 180"/>
                <a:gd name="T27" fmla="*/ 4 h 30"/>
                <a:gd name="T28" fmla="*/ 174 w 180"/>
                <a:gd name="T29" fmla="*/ 2 h 30"/>
                <a:gd name="T30" fmla="*/ 172 w 180"/>
                <a:gd name="T31" fmla="*/ 1 h 30"/>
                <a:gd name="T32" fmla="*/ 168 w 180"/>
                <a:gd name="T33" fmla="*/ 0 h 30"/>
                <a:gd name="T34" fmla="*/ 165 w 180"/>
                <a:gd name="T35" fmla="*/ 0 h 30"/>
                <a:gd name="T36" fmla="*/ 15 w 180"/>
                <a:gd name="T37" fmla="*/ 0 h 30"/>
                <a:gd name="T38" fmla="*/ 12 w 180"/>
                <a:gd name="T39" fmla="*/ 0 h 30"/>
                <a:gd name="T40" fmla="*/ 9 w 180"/>
                <a:gd name="T41" fmla="*/ 1 h 30"/>
                <a:gd name="T42" fmla="*/ 6 w 180"/>
                <a:gd name="T43" fmla="*/ 2 h 30"/>
                <a:gd name="T44" fmla="*/ 4 w 180"/>
                <a:gd name="T45" fmla="*/ 4 h 30"/>
                <a:gd name="T46" fmla="*/ 2 w 180"/>
                <a:gd name="T47" fmla="*/ 7 h 30"/>
                <a:gd name="T48" fmla="*/ 1 w 180"/>
                <a:gd name="T49" fmla="*/ 9 h 30"/>
                <a:gd name="T50" fmla="*/ 0 w 180"/>
                <a:gd name="T51" fmla="*/ 12 h 30"/>
                <a:gd name="T52" fmla="*/ 0 w 180"/>
                <a:gd name="T53" fmla="*/ 15 h 30"/>
                <a:gd name="T54" fmla="*/ 0 w 180"/>
                <a:gd name="T55" fmla="*/ 18 h 30"/>
                <a:gd name="T56" fmla="*/ 1 w 180"/>
                <a:gd name="T57" fmla="*/ 20 h 30"/>
                <a:gd name="T58" fmla="*/ 2 w 180"/>
                <a:gd name="T59" fmla="*/ 24 h 30"/>
                <a:gd name="T60" fmla="*/ 4 w 180"/>
                <a:gd name="T61" fmla="*/ 26 h 30"/>
                <a:gd name="T62" fmla="*/ 6 w 180"/>
                <a:gd name="T63" fmla="*/ 27 h 30"/>
                <a:gd name="T64" fmla="*/ 9 w 180"/>
                <a:gd name="T65" fmla="*/ 29 h 30"/>
                <a:gd name="T66" fmla="*/ 12 w 180"/>
                <a:gd name="T67" fmla="*/ 29 h 30"/>
                <a:gd name="T68" fmla="*/ 15 w 180"/>
                <a:gd name="T69" fmla="*/ 30 h 30"/>
                <a:gd name="T70" fmla="*/ 15 w 180"/>
                <a:gd name="T71"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80" h="30">
                  <a:moveTo>
                    <a:pt x="15" y="30"/>
                  </a:moveTo>
                  <a:lnTo>
                    <a:pt x="165" y="30"/>
                  </a:lnTo>
                  <a:lnTo>
                    <a:pt x="168" y="29"/>
                  </a:lnTo>
                  <a:lnTo>
                    <a:pt x="172" y="29"/>
                  </a:lnTo>
                  <a:lnTo>
                    <a:pt x="174" y="27"/>
                  </a:lnTo>
                  <a:lnTo>
                    <a:pt x="176" y="26"/>
                  </a:lnTo>
                  <a:lnTo>
                    <a:pt x="178" y="24"/>
                  </a:lnTo>
                  <a:lnTo>
                    <a:pt x="179" y="20"/>
                  </a:lnTo>
                  <a:lnTo>
                    <a:pt x="180" y="18"/>
                  </a:lnTo>
                  <a:lnTo>
                    <a:pt x="180" y="15"/>
                  </a:lnTo>
                  <a:lnTo>
                    <a:pt x="180" y="12"/>
                  </a:lnTo>
                  <a:lnTo>
                    <a:pt x="179" y="9"/>
                  </a:lnTo>
                  <a:lnTo>
                    <a:pt x="178" y="7"/>
                  </a:lnTo>
                  <a:lnTo>
                    <a:pt x="176" y="4"/>
                  </a:lnTo>
                  <a:lnTo>
                    <a:pt x="174" y="2"/>
                  </a:lnTo>
                  <a:lnTo>
                    <a:pt x="172" y="1"/>
                  </a:lnTo>
                  <a:lnTo>
                    <a:pt x="168" y="0"/>
                  </a:lnTo>
                  <a:lnTo>
                    <a:pt x="165" y="0"/>
                  </a:lnTo>
                  <a:lnTo>
                    <a:pt x="15" y="0"/>
                  </a:lnTo>
                  <a:lnTo>
                    <a:pt x="12" y="0"/>
                  </a:lnTo>
                  <a:lnTo>
                    <a:pt x="9" y="1"/>
                  </a:lnTo>
                  <a:lnTo>
                    <a:pt x="6" y="2"/>
                  </a:lnTo>
                  <a:lnTo>
                    <a:pt x="4" y="4"/>
                  </a:lnTo>
                  <a:lnTo>
                    <a:pt x="2" y="7"/>
                  </a:lnTo>
                  <a:lnTo>
                    <a:pt x="1" y="9"/>
                  </a:lnTo>
                  <a:lnTo>
                    <a:pt x="0" y="12"/>
                  </a:lnTo>
                  <a:lnTo>
                    <a:pt x="0" y="15"/>
                  </a:lnTo>
                  <a:lnTo>
                    <a:pt x="0" y="18"/>
                  </a:lnTo>
                  <a:lnTo>
                    <a:pt x="1" y="20"/>
                  </a:lnTo>
                  <a:lnTo>
                    <a:pt x="2" y="24"/>
                  </a:lnTo>
                  <a:lnTo>
                    <a:pt x="4" y="26"/>
                  </a:lnTo>
                  <a:lnTo>
                    <a:pt x="6" y="27"/>
                  </a:lnTo>
                  <a:lnTo>
                    <a:pt x="9" y="29"/>
                  </a:lnTo>
                  <a:lnTo>
                    <a:pt x="12" y="29"/>
                  </a:lnTo>
                  <a:lnTo>
                    <a:pt x="15" y="30"/>
                  </a:lnTo>
                  <a:lnTo>
                    <a:pt x="15" y="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336"/>
            <p:cNvSpPr>
              <a:spLocks noEditPoints="1"/>
            </p:cNvSpPr>
            <p:nvPr/>
          </p:nvSpPr>
          <p:spPr bwMode="auto">
            <a:xfrm>
              <a:off x="10607676" y="893763"/>
              <a:ext cx="47625" cy="49212"/>
            </a:xfrm>
            <a:custGeom>
              <a:avLst/>
              <a:gdLst>
                <a:gd name="T0" fmla="*/ 84 w 150"/>
                <a:gd name="T1" fmla="*/ 31 h 151"/>
                <a:gd name="T2" fmla="*/ 100 w 150"/>
                <a:gd name="T3" fmla="*/ 37 h 151"/>
                <a:gd name="T4" fmla="*/ 113 w 150"/>
                <a:gd name="T5" fmla="*/ 50 h 151"/>
                <a:gd name="T6" fmla="*/ 119 w 150"/>
                <a:gd name="T7" fmla="*/ 66 h 151"/>
                <a:gd name="T8" fmla="*/ 119 w 150"/>
                <a:gd name="T9" fmla="*/ 84 h 151"/>
                <a:gd name="T10" fmla="*/ 113 w 150"/>
                <a:gd name="T11" fmla="*/ 101 h 151"/>
                <a:gd name="T12" fmla="*/ 100 w 150"/>
                <a:gd name="T13" fmla="*/ 112 h 151"/>
                <a:gd name="T14" fmla="*/ 84 w 150"/>
                <a:gd name="T15" fmla="*/ 120 h 151"/>
                <a:gd name="T16" fmla="*/ 66 w 150"/>
                <a:gd name="T17" fmla="*/ 120 h 151"/>
                <a:gd name="T18" fmla="*/ 50 w 150"/>
                <a:gd name="T19" fmla="*/ 112 h 151"/>
                <a:gd name="T20" fmla="*/ 38 w 150"/>
                <a:gd name="T21" fmla="*/ 101 h 151"/>
                <a:gd name="T22" fmla="*/ 30 w 150"/>
                <a:gd name="T23" fmla="*/ 84 h 151"/>
                <a:gd name="T24" fmla="*/ 30 w 150"/>
                <a:gd name="T25" fmla="*/ 66 h 151"/>
                <a:gd name="T26" fmla="*/ 38 w 150"/>
                <a:gd name="T27" fmla="*/ 50 h 151"/>
                <a:gd name="T28" fmla="*/ 50 w 150"/>
                <a:gd name="T29" fmla="*/ 37 h 151"/>
                <a:gd name="T30" fmla="*/ 66 w 150"/>
                <a:gd name="T31" fmla="*/ 31 h 151"/>
                <a:gd name="T32" fmla="*/ 75 w 150"/>
                <a:gd name="T33" fmla="*/ 150 h 151"/>
                <a:gd name="T34" fmla="*/ 90 w 150"/>
                <a:gd name="T35" fmla="*/ 149 h 151"/>
                <a:gd name="T36" fmla="*/ 104 w 150"/>
                <a:gd name="T37" fmla="*/ 145 h 151"/>
                <a:gd name="T38" fmla="*/ 117 w 150"/>
                <a:gd name="T39" fmla="*/ 137 h 151"/>
                <a:gd name="T40" fmla="*/ 128 w 150"/>
                <a:gd name="T41" fmla="*/ 128 h 151"/>
                <a:gd name="T42" fmla="*/ 138 w 150"/>
                <a:gd name="T43" fmla="*/ 118 h 151"/>
                <a:gd name="T44" fmla="*/ 144 w 150"/>
                <a:gd name="T45" fmla="*/ 105 h 151"/>
                <a:gd name="T46" fmla="*/ 148 w 150"/>
                <a:gd name="T47" fmla="*/ 90 h 151"/>
                <a:gd name="T48" fmla="*/ 150 w 150"/>
                <a:gd name="T49" fmla="*/ 75 h 151"/>
                <a:gd name="T50" fmla="*/ 148 w 150"/>
                <a:gd name="T51" fmla="*/ 60 h 151"/>
                <a:gd name="T52" fmla="*/ 144 w 150"/>
                <a:gd name="T53" fmla="*/ 46 h 151"/>
                <a:gd name="T54" fmla="*/ 138 w 150"/>
                <a:gd name="T55" fmla="*/ 33 h 151"/>
                <a:gd name="T56" fmla="*/ 128 w 150"/>
                <a:gd name="T57" fmla="*/ 22 h 151"/>
                <a:gd name="T58" fmla="*/ 117 w 150"/>
                <a:gd name="T59" fmla="*/ 13 h 151"/>
                <a:gd name="T60" fmla="*/ 104 w 150"/>
                <a:gd name="T61" fmla="*/ 6 h 151"/>
                <a:gd name="T62" fmla="*/ 90 w 150"/>
                <a:gd name="T63" fmla="*/ 2 h 151"/>
                <a:gd name="T64" fmla="*/ 75 w 150"/>
                <a:gd name="T65" fmla="*/ 0 h 151"/>
                <a:gd name="T66" fmla="*/ 60 w 150"/>
                <a:gd name="T67" fmla="*/ 2 h 151"/>
                <a:gd name="T68" fmla="*/ 45 w 150"/>
                <a:gd name="T69" fmla="*/ 6 h 151"/>
                <a:gd name="T70" fmla="*/ 32 w 150"/>
                <a:gd name="T71" fmla="*/ 13 h 151"/>
                <a:gd name="T72" fmla="*/ 22 w 150"/>
                <a:gd name="T73" fmla="*/ 22 h 151"/>
                <a:gd name="T74" fmla="*/ 13 w 150"/>
                <a:gd name="T75" fmla="*/ 33 h 151"/>
                <a:gd name="T76" fmla="*/ 6 w 150"/>
                <a:gd name="T77" fmla="*/ 46 h 151"/>
                <a:gd name="T78" fmla="*/ 1 w 150"/>
                <a:gd name="T79" fmla="*/ 60 h 151"/>
                <a:gd name="T80" fmla="*/ 0 w 150"/>
                <a:gd name="T81" fmla="*/ 75 h 151"/>
                <a:gd name="T82" fmla="*/ 1 w 150"/>
                <a:gd name="T83" fmla="*/ 90 h 151"/>
                <a:gd name="T84" fmla="*/ 6 w 150"/>
                <a:gd name="T85" fmla="*/ 105 h 151"/>
                <a:gd name="T86" fmla="*/ 13 w 150"/>
                <a:gd name="T87" fmla="*/ 117 h 151"/>
                <a:gd name="T88" fmla="*/ 22 w 150"/>
                <a:gd name="T89" fmla="*/ 128 h 151"/>
                <a:gd name="T90" fmla="*/ 32 w 150"/>
                <a:gd name="T91" fmla="*/ 137 h 151"/>
                <a:gd name="T92" fmla="*/ 45 w 150"/>
                <a:gd name="T93" fmla="*/ 145 h 151"/>
                <a:gd name="T94" fmla="*/ 60 w 150"/>
                <a:gd name="T95" fmla="*/ 149 h 151"/>
                <a:gd name="T96" fmla="*/ 75 w 150"/>
                <a:gd name="T97" fmla="*/ 151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50" h="151">
                  <a:moveTo>
                    <a:pt x="75" y="30"/>
                  </a:moveTo>
                  <a:lnTo>
                    <a:pt x="84" y="31"/>
                  </a:lnTo>
                  <a:lnTo>
                    <a:pt x="93" y="34"/>
                  </a:lnTo>
                  <a:lnTo>
                    <a:pt x="100" y="37"/>
                  </a:lnTo>
                  <a:lnTo>
                    <a:pt x="106" y="44"/>
                  </a:lnTo>
                  <a:lnTo>
                    <a:pt x="113" y="50"/>
                  </a:lnTo>
                  <a:lnTo>
                    <a:pt x="116" y="58"/>
                  </a:lnTo>
                  <a:lnTo>
                    <a:pt x="119" y="66"/>
                  </a:lnTo>
                  <a:lnTo>
                    <a:pt x="120" y="75"/>
                  </a:lnTo>
                  <a:lnTo>
                    <a:pt x="119" y="84"/>
                  </a:lnTo>
                  <a:lnTo>
                    <a:pt x="116" y="93"/>
                  </a:lnTo>
                  <a:lnTo>
                    <a:pt x="113" y="101"/>
                  </a:lnTo>
                  <a:lnTo>
                    <a:pt x="106" y="107"/>
                  </a:lnTo>
                  <a:lnTo>
                    <a:pt x="100" y="112"/>
                  </a:lnTo>
                  <a:lnTo>
                    <a:pt x="93" y="117"/>
                  </a:lnTo>
                  <a:lnTo>
                    <a:pt x="84" y="120"/>
                  </a:lnTo>
                  <a:lnTo>
                    <a:pt x="75" y="120"/>
                  </a:lnTo>
                  <a:lnTo>
                    <a:pt x="66" y="120"/>
                  </a:lnTo>
                  <a:lnTo>
                    <a:pt x="57" y="117"/>
                  </a:lnTo>
                  <a:lnTo>
                    <a:pt x="50" y="112"/>
                  </a:lnTo>
                  <a:lnTo>
                    <a:pt x="43" y="107"/>
                  </a:lnTo>
                  <a:lnTo>
                    <a:pt x="38" y="101"/>
                  </a:lnTo>
                  <a:lnTo>
                    <a:pt x="34" y="93"/>
                  </a:lnTo>
                  <a:lnTo>
                    <a:pt x="30" y="84"/>
                  </a:lnTo>
                  <a:lnTo>
                    <a:pt x="30" y="75"/>
                  </a:lnTo>
                  <a:lnTo>
                    <a:pt x="30" y="66"/>
                  </a:lnTo>
                  <a:lnTo>
                    <a:pt x="34" y="58"/>
                  </a:lnTo>
                  <a:lnTo>
                    <a:pt x="38" y="50"/>
                  </a:lnTo>
                  <a:lnTo>
                    <a:pt x="43" y="44"/>
                  </a:lnTo>
                  <a:lnTo>
                    <a:pt x="50" y="37"/>
                  </a:lnTo>
                  <a:lnTo>
                    <a:pt x="57" y="34"/>
                  </a:lnTo>
                  <a:lnTo>
                    <a:pt x="66" y="31"/>
                  </a:lnTo>
                  <a:lnTo>
                    <a:pt x="75" y="30"/>
                  </a:lnTo>
                  <a:close/>
                  <a:moveTo>
                    <a:pt x="75" y="150"/>
                  </a:moveTo>
                  <a:lnTo>
                    <a:pt x="83" y="150"/>
                  </a:lnTo>
                  <a:lnTo>
                    <a:pt x="90" y="149"/>
                  </a:lnTo>
                  <a:lnTo>
                    <a:pt x="98" y="147"/>
                  </a:lnTo>
                  <a:lnTo>
                    <a:pt x="104" y="145"/>
                  </a:lnTo>
                  <a:lnTo>
                    <a:pt x="111" y="141"/>
                  </a:lnTo>
                  <a:lnTo>
                    <a:pt x="117" y="137"/>
                  </a:lnTo>
                  <a:lnTo>
                    <a:pt x="123" y="133"/>
                  </a:lnTo>
                  <a:lnTo>
                    <a:pt x="128" y="128"/>
                  </a:lnTo>
                  <a:lnTo>
                    <a:pt x="133" y="123"/>
                  </a:lnTo>
                  <a:lnTo>
                    <a:pt x="138" y="118"/>
                  </a:lnTo>
                  <a:lnTo>
                    <a:pt x="141" y="111"/>
                  </a:lnTo>
                  <a:lnTo>
                    <a:pt x="144" y="105"/>
                  </a:lnTo>
                  <a:lnTo>
                    <a:pt x="147" y="97"/>
                  </a:lnTo>
                  <a:lnTo>
                    <a:pt x="148" y="90"/>
                  </a:lnTo>
                  <a:lnTo>
                    <a:pt x="150" y="83"/>
                  </a:lnTo>
                  <a:lnTo>
                    <a:pt x="150" y="75"/>
                  </a:lnTo>
                  <a:lnTo>
                    <a:pt x="150" y="67"/>
                  </a:lnTo>
                  <a:lnTo>
                    <a:pt x="148" y="60"/>
                  </a:lnTo>
                  <a:lnTo>
                    <a:pt x="147" y="52"/>
                  </a:lnTo>
                  <a:lnTo>
                    <a:pt x="144" y="46"/>
                  </a:lnTo>
                  <a:lnTo>
                    <a:pt x="141" y="39"/>
                  </a:lnTo>
                  <a:lnTo>
                    <a:pt x="138" y="33"/>
                  </a:lnTo>
                  <a:lnTo>
                    <a:pt x="133" y="28"/>
                  </a:lnTo>
                  <a:lnTo>
                    <a:pt x="128" y="22"/>
                  </a:lnTo>
                  <a:lnTo>
                    <a:pt x="123" y="17"/>
                  </a:lnTo>
                  <a:lnTo>
                    <a:pt x="117" y="13"/>
                  </a:lnTo>
                  <a:lnTo>
                    <a:pt x="111" y="9"/>
                  </a:lnTo>
                  <a:lnTo>
                    <a:pt x="104" y="6"/>
                  </a:lnTo>
                  <a:lnTo>
                    <a:pt x="98" y="3"/>
                  </a:lnTo>
                  <a:lnTo>
                    <a:pt x="90" y="2"/>
                  </a:lnTo>
                  <a:lnTo>
                    <a:pt x="83" y="1"/>
                  </a:lnTo>
                  <a:lnTo>
                    <a:pt x="75" y="0"/>
                  </a:lnTo>
                  <a:lnTo>
                    <a:pt x="68" y="1"/>
                  </a:lnTo>
                  <a:lnTo>
                    <a:pt x="60" y="2"/>
                  </a:lnTo>
                  <a:lnTo>
                    <a:pt x="53" y="3"/>
                  </a:lnTo>
                  <a:lnTo>
                    <a:pt x="45" y="6"/>
                  </a:lnTo>
                  <a:lnTo>
                    <a:pt x="39" y="9"/>
                  </a:lnTo>
                  <a:lnTo>
                    <a:pt x="32" y="13"/>
                  </a:lnTo>
                  <a:lnTo>
                    <a:pt x="27" y="17"/>
                  </a:lnTo>
                  <a:lnTo>
                    <a:pt x="22" y="22"/>
                  </a:lnTo>
                  <a:lnTo>
                    <a:pt x="17" y="28"/>
                  </a:lnTo>
                  <a:lnTo>
                    <a:pt x="13" y="33"/>
                  </a:lnTo>
                  <a:lnTo>
                    <a:pt x="9" y="39"/>
                  </a:lnTo>
                  <a:lnTo>
                    <a:pt x="6" y="46"/>
                  </a:lnTo>
                  <a:lnTo>
                    <a:pt x="4" y="53"/>
                  </a:lnTo>
                  <a:lnTo>
                    <a:pt x="1" y="60"/>
                  </a:lnTo>
                  <a:lnTo>
                    <a:pt x="0" y="67"/>
                  </a:lnTo>
                  <a:lnTo>
                    <a:pt x="0" y="75"/>
                  </a:lnTo>
                  <a:lnTo>
                    <a:pt x="0" y="83"/>
                  </a:lnTo>
                  <a:lnTo>
                    <a:pt x="1" y="90"/>
                  </a:lnTo>
                  <a:lnTo>
                    <a:pt x="4" y="97"/>
                  </a:lnTo>
                  <a:lnTo>
                    <a:pt x="6" y="105"/>
                  </a:lnTo>
                  <a:lnTo>
                    <a:pt x="9" y="111"/>
                  </a:lnTo>
                  <a:lnTo>
                    <a:pt x="13" y="117"/>
                  </a:lnTo>
                  <a:lnTo>
                    <a:pt x="17" y="123"/>
                  </a:lnTo>
                  <a:lnTo>
                    <a:pt x="22" y="128"/>
                  </a:lnTo>
                  <a:lnTo>
                    <a:pt x="27" y="133"/>
                  </a:lnTo>
                  <a:lnTo>
                    <a:pt x="32" y="137"/>
                  </a:lnTo>
                  <a:lnTo>
                    <a:pt x="39" y="141"/>
                  </a:lnTo>
                  <a:lnTo>
                    <a:pt x="45" y="145"/>
                  </a:lnTo>
                  <a:lnTo>
                    <a:pt x="53" y="147"/>
                  </a:lnTo>
                  <a:lnTo>
                    <a:pt x="60" y="149"/>
                  </a:lnTo>
                  <a:lnTo>
                    <a:pt x="68" y="150"/>
                  </a:lnTo>
                  <a:lnTo>
                    <a:pt x="75" y="151"/>
                  </a:lnTo>
                  <a:lnTo>
                    <a:pt x="75" y="15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99" name="Group 198"/>
          <p:cNvGrpSpPr/>
          <p:nvPr/>
        </p:nvGrpSpPr>
        <p:grpSpPr>
          <a:xfrm>
            <a:off x="4850230" y="2393869"/>
            <a:ext cx="287338" cy="239712"/>
            <a:chOff x="11037888" y="817563"/>
            <a:chExt cx="287338" cy="239712"/>
          </a:xfrm>
          <a:solidFill>
            <a:srgbClr val="E2583D"/>
          </a:solidFill>
        </p:grpSpPr>
        <p:sp>
          <p:nvSpPr>
            <p:cNvPr id="200" name="Freeform 294"/>
            <p:cNvSpPr>
              <a:spLocks noEditPoints="1"/>
            </p:cNvSpPr>
            <p:nvPr/>
          </p:nvSpPr>
          <p:spPr bwMode="auto">
            <a:xfrm>
              <a:off x="11037888" y="817563"/>
              <a:ext cx="287338" cy="239712"/>
            </a:xfrm>
            <a:custGeom>
              <a:avLst/>
              <a:gdLst>
                <a:gd name="T0" fmla="*/ 752 w 903"/>
                <a:gd name="T1" fmla="*/ 722 h 753"/>
                <a:gd name="T2" fmla="*/ 752 w 903"/>
                <a:gd name="T3" fmla="*/ 374 h 753"/>
                <a:gd name="T4" fmla="*/ 750 w 903"/>
                <a:gd name="T5" fmla="*/ 368 h 753"/>
                <a:gd name="T6" fmla="*/ 745 w 903"/>
                <a:gd name="T7" fmla="*/ 364 h 753"/>
                <a:gd name="T8" fmla="*/ 740 w 903"/>
                <a:gd name="T9" fmla="*/ 362 h 753"/>
                <a:gd name="T10" fmla="*/ 165 w 903"/>
                <a:gd name="T11" fmla="*/ 361 h 753"/>
                <a:gd name="T12" fmla="*/ 160 w 903"/>
                <a:gd name="T13" fmla="*/ 363 h 753"/>
                <a:gd name="T14" fmla="*/ 154 w 903"/>
                <a:gd name="T15" fmla="*/ 366 h 753"/>
                <a:gd name="T16" fmla="*/ 151 w 903"/>
                <a:gd name="T17" fmla="*/ 371 h 753"/>
                <a:gd name="T18" fmla="*/ 150 w 903"/>
                <a:gd name="T19" fmla="*/ 377 h 753"/>
                <a:gd name="T20" fmla="*/ 90 w 903"/>
                <a:gd name="T21" fmla="*/ 722 h 753"/>
                <a:gd name="T22" fmla="*/ 813 w 903"/>
                <a:gd name="T23" fmla="*/ 301 h 753"/>
                <a:gd name="T24" fmla="*/ 180 w 903"/>
                <a:gd name="T25" fmla="*/ 722 h 753"/>
                <a:gd name="T26" fmla="*/ 722 w 903"/>
                <a:gd name="T27" fmla="*/ 391 h 753"/>
                <a:gd name="T28" fmla="*/ 180 w 903"/>
                <a:gd name="T29" fmla="*/ 722 h 753"/>
                <a:gd name="T30" fmla="*/ 451 w 903"/>
                <a:gd name="T31" fmla="*/ 32 h 753"/>
                <a:gd name="T32" fmla="*/ 873 w 903"/>
                <a:gd name="T33" fmla="*/ 271 h 753"/>
                <a:gd name="T34" fmla="*/ 75 w 903"/>
                <a:gd name="T35" fmla="*/ 271 h 753"/>
                <a:gd name="T36" fmla="*/ 30 w 903"/>
                <a:gd name="T37" fmla="*/ 220 h 753"/>
                <a:gd name="T38" fmla="*/ 891 w 903"/>
                <a:gd name="T39" fmla="*/ 301 h 753"/>
                <a:gd name="T40" fmla="*/ 896 w 903"/>
                <a:gd name="T41" fmla="*/ 299 h 753"/>
                <a:gd name="T42" fmla="*/ 900 w 903"/>
                <a:gd name="T43" fmla="*/ 294 h 753"/>
                <a:gd name="T44" fmla="*/ 902 w 903"/>
                <a:gd name="T45" fmla="*/ 289 h 753"/>
                <a:gd name="T46" fmla="*/ 903 w 903"/>
                <a:gd name="T47" fmla="*/ 211 h 753"/>
                <a:gd name="T48" fmla="*/ 901 w 903"/>
                <a:gd name="T49" fmla="*/ 202 h 753"/>
                <a:gd name="T50" fmla="*/ 894 w 903"/>
                <a:gd name="T51" fmla="*/ 197 h 753"/>
                <a:gd name="T52" fmla="*/ 455 w 903"/>
                <a:gd name="T53" fmla="*/ 0 h 753"/>
                <a:gd name="T54" fmla="*/ 448 w 903"/>
                <a:gd name="T55" fmla="*/ 0 h 753"/>
                <a:gd name="T56" fmla="*/ 8 w 903"/>
                <a:gd name="T57" fmla="*/ 197 h 753"/>
                <a:gd name="T58" fmla="*/ 2 w 903"/>
                <a:gd name="T59" fmla="*/ 202 h 753"/>
                <a:gd name="T60" fmla="*/ 0 w 903"/>
                <a:gd name="T61" fmla="*/ 211 h 753"/>
                <a:gd name="T62" fmla="*/ 0 w 903"/>
                <a:gd name="T63" fmla="*/ 289 h 753"/>
                <a:gd name="T64" fmla="*/ 2 w 903"/>
                <a:gd name="T65" fmla="*/ 294 h 753"/>
                <a:gd name="T66" fmla="*/ 6 w 903"/>
                <a:gd name="T67" fmla="*/ 299 h 753"/>
                <a:gd name="T68" fmla="*/ 12 w 903"/>
                <a:gd name="T69" fmla="*/ 301 h 753"/>
                <a:gd name="T70" fmla="*/ 60 w 903"/>
                <a:gd name="T71" fmla="*/ 301 h 753"/>
                <a:gd name="T72" fmla="*/ 15 w 903"/>
                <a:gd name="T73" fmla="*/ 722 h 753"/>
                <a:gd name="T74" fmla="*/ 8 w 903"/>
                <a:gd name="T75" fmla="*/ 724 h 753"/>
                <a:gd name="T76" fmla="*/ 4 w 903"/>
                <a:gd name="T77" fmla="*/ 727 h 753"/>
                <a:gd name="T78" fmla="*/ 1 w 903"/>
                <a:gd name="T79" fmla="*/ 732 h 753"/>
                <a:gd name="T80" fmla="*/ 0 w 903"/>
                <a:gd name="T81" fmla="*/ 738 h 753"/>
                <a:gd name="T82" fmla="*/ 1 w 903"/>
                <a:gd name="T83" fmla="*/ 744 h 753"/>
                <a:gd name="T84" fmla="*/ 4 w 903"/>
                <a:gd name="T85" fmla="*/ 748 h 753"/>
                <a:gd name="T86" fmla="*/ 8 w 903"/>
                <a:gd name="T87" fmla="*/ 751 h 753"/>
                <a:gd name="T88" fmla="*/ 15 w 903"/>
                <a:gd name="T89" fmla="*/ 753 h 753"/>
                <a:gd name="T90" fmla="*/ 165 w 903"/>
                <a:gd name="T91" fmla="*/ 753 h 753"/>
                <a:gd name="T92" fmla="*/ 828 w 903"/>
                <a:gd name="T93" fmla="*/ 753 h 753"/>
                <a:gd name="T94" fmla="*/ 891 w 903"/>
                <a:gd name="T95" fmla="*/ 753 h 753"/>
                <a:gd name="T96" fmla="*/ 896 w 903"/>
                <a:gd name="T97" fmla="*/ 750 h 753"/>
                <a:gd name="T98" fmla="*/ 900 w 903"/>
                <a:gd name="T99" fmla="*/ 746 h 753"/>
                <a:gd name="T100" fmla="*/ 902 w 903"/>
                <a:gd name="T101" fmla="*/ 741 h 753"/>
                <a:gd name="T102" fmla="*/ 903 w 903"/>
                <a:gd name="T103" fmla="*/ 735 h 753"/>
                <a:gd name="T104" fmla="*/ 900 w 903"/>
                <a:gd name="T105" fmla="*/ 730 h 753"/>
                <a:gd name="T106" fmla="*/ 896 w 903"/>
                <a:gd name="T107" fmla="*/ 726 h 753"/>
                <a:gd name="T108" fmla="*/ 891 w 903"/>
                <a:gd name="T109" fmla="*/ 724 h 753"/>
                <a:gd name="T110" fmla="*/ 843 w 903"/>
                <a:gd name="T111" fmla="*/ 722 h 753"/>
                <a:gd name="T112" fmla="*/ 888 w 903"/>
                <a:gd name="T113" fmla="*/ 301 h 7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903" h="753">
                  <a:moveTo>
                    <a:pt x="813" y="722"/>
                  </a:moveTo>
                  <a:lnTo>
                    <a:pt x="752" y="722"/>
                  </a:lnTo>
                  <a:lnTo>
                    <a:pt x="752" y="376"/>
                  </a:lnTo>
                  <a:lnTo>
                    <a:pt x="752" y="374"/>
                  </a:lnTo>
                  <a:lnTo>
                    <a:pt x="751" y="371"/>
                  </a:lnTo>
                  <a:lnTo>
                    <a:pt x="750" y="368"/>
                  </a:lnTo>
                  <a:lnTo>
                    <a:pt x="747" y="366"/>
                  </a:lnTo>
                  <a:lnTo>
                    <a:pt x="745" y="364"/>
                  </a:lnTo>
                  <a:lnTo>
                    <a:pt x="743" y="363"/>
                  </a:lnTo>
                  <a:lnTo>
                    <a:pt x="740" y="362"/>
                  </a:lnTo>
                  <a:lnTo>
                    <a:pt x="737" y="361"/>
                  </a:lnTo>
                  <a:lnTo>
                    <a:pt x="165" y="361"/>
                  </a:lnTo>
                  <a:lnTo>
                    <a:pt x="162" y="362"/>
                  </a:lnTo>
                  <a:lnTo>
                    <a:pt x="160" y="363"/>
                  </a:lnTo>
                  <a:lnTo>
                    <a:pt x="156" y="364"/>
                  </a:lnTo>
                  <a:lnTo>
                    <a:pt x="154" y="366"/>
                  </a:lnTo>
                  <a:lnTo>
                    <a:pt x="152" y="368"/>
                  </a:lnTo>
                  <a:lnTo>
                    <a:pt x="151" y="371"/>
                  </a:lnTo>
                  <a:lnTo>
                    <a:pt x="150" y="374"/>
                  </a:lnTo>
                  <a:lnTo>
                    <a:pt x="150" y="377"/>
                  </a:lnTo>
                  <a:lnTo>
                    <a:pt x="150" y="722"/>
                  </a:lnTo>
                  <a:lnTo>
                    <a:pt x="90" y="722"/>
                  </a:lnTo>
                  <a:lnTo>
                    <a:pt x="90" y="301"/>
                  </a:lnTo>
                  <a:lnTo>
                    <a:pt x="813" y="301"/>
                  </a:lnTo>
                  <a:lnTo>
                    <a:pt x="813" y="722"/>
                  </a:lnTo>
                  <a:close/>
                  <a:moveTo>
                    <a:pt x="180" y="722"/>
                  </a:moveTo>
                  <a:lnTo>
                    <a:pt x="180" y="391"/>
                  </a:lnTo>
                  <a:lnTo>
                    <a:pt x="722" y="391"/>
                  </a:lnTo>
                  <a:lnTo>
                    <a:pt x="722" y="722"/>
                  </a:lnTo>
                  <a:lnTo>
                    <a:pt x="180" y="722"/>
                  </a:lnTo>
                  <a:close/>
                  <a:moveTo>
                    <a:pt x="30" y="220"/>
                  </a:moveTo>
                  <a:lnTo>
                    <a:pt x="451" y="32"/>
                  </a:lnTo>
                  <a:lnTo>
                    <a:pt x="873" y="220"/>
                  </a:lnTo>
                  <a:lnTo>
                    <a:pt x="873" y="271"/>
                  </a:lnTo>
                  <a:lnTo>
                    <a:pt x="828" y="271"/>
                  </a:lnTo>
                  <a:lnTo>
                    <a:pt x="75" y="271"/>
                  </a:lnTo>
                  <a:lnTo>
                    <a:pt x="30" y="271"/>
                  </a:lnTo>
                  <a:lnTo>
                    <a:pt x="30" y="220"/>
                  </a:lnTo>
                  <a:close/>
                  <a:moveTo>
                    <a:pt x="888" y="301"/>
                  </a:moveTo>
                  <a:lnTo>
                    <a:pt x="891" y="301"/>
                  </a:lnTo>
                  <a:lnTo>
                    <a:pt x="893" y="300"/>
                  </a:lnTo>
                  <a:lnTo>
                    <a:pt x="896" y="299"/>
                  </a:lnTo>
                  <a:lnTo>
                    <a:pt x="899" y="297"/>
                  </a:lnTo>
                  <a:lnTo>
                    <a:pt x="900" y="294"/>
                  </a:lnTo>
                  <a:lnTo>
                    <a:pt x="902" y="292"/>
                  </a:lnTo>
                  <a:lnTo>
                    <a:pt x="902" y="289"/>
                  </a:lnTo>
                  <a:lnTo>
                    <a:pt x="903" y="286"/>
                  </a:lnTo>
                  <a:lnTo>
                    <a:pt x="903" y="211"/>
                  </a:lnTo>
                  <a:lnTo>
                    <a:pt x="902" y="206"/>
                  </a:lnTo>
                  <a:lnTo>
                    <a:pt x="901" y="202"/>
                  </a:lnTo>
                  <a:lnTo>
                    <a:pt x="898" y="199"/>
                  </a:lnTo>
                  <a:lnTo>
                    <a:pt x="894" y="197"/>
                  </a:lnTo>
                  <a:lnTo>
                    <a:pt x="458" y="1"/>
                  </a:lnTo>
                  <a:lnTo>
                    <a:pt x="455" y="0"/>
                  </a:lnTo>
                  <a:lnTo>
                    <a:pt x="451" y="0"/>
                  </a:lnTo>
                  <a:lnTo>
                    <a:pt x="448" y="0"/>
                  </a:lnTo>
                  <a:lnTo>
                    <a:pt x="445" y="1"/>
                  </a:lnTo>
                  <a:lnTo>
                    <a:pt x="8" y="197"/>
                  </a:lnTo>
                  <a:lnTo>
                    <a:pt x="5" y="199"/>
                  </a:lnTo>
                  <a:lnTo>
                    <a:pt x="2" y="202"/>
                  </a:lnTo>
                  <a:lnTo>
                    <a:pt x="0" y="206"/>
                  </a:lnTo>
                  <a:lnTo>
                    <a:pt x="0" y="211"/>
                  </a:lnTo>
                  <a:lnTo>
                    <a:pt x="0" y="286"/>
                  </a:lnTo>
                  <a:lnTo>
                    <a:pt x="0" y="289"/>
                  </a:lnTo>
                  <a:lnTo>
                    <a:pt x="1" y="292"/>
                  </a:lnTo>
                  <a:lnTo>
                    <a:pt x="2" y="294"/>
                  </a:lnTo>
                  <a:lnTo>
                    <a:pt x="4" y="297"/>
                  </a:lnTo>
                  <a:lnTo>
                    <a:pt x="6" y="299"/>
                  </a:lnTo>
                  <a:lnTo>
                    <a:pt x="8" y="300"/>
                  </a:lnTo>
                  <a:lnTo>
                    <a:pt x="12" y="301"/>
                  </a:lnTo>
                  <a:lnTo>
                    <a:pt x="15" y="301"/>
                  </a:lnTo>
                  <a:lnTo>
                    <a:pt x="60" y="301"/>
                  </a:lnTo>
                  <a:lnTo>
                    <a:pt x="60" y="722"/>
                  </a:lnTo>
                  <a:lnTo>
                    <a:pt x="15" y="722"/>
                  </a:lnTo>
                  <a:lnTo>
                    <a:pt x="12" y="724"/>
                  </a:lnTo>
                  <a:lnTo>
                    <a:pt x="8" y="724"/>
                  </a:lnTo>
                  <a:lnTo>
                    <a:pt x="6" y="726"/>
                  </a:lnTo>
                  <a:lnTo>
                    <a:pt x="4" y="727"/>
                  </a:lnTo>
                  <a:lnTo>
                    <a:pt x="2" y="730"/>
                  </a:lnTo>
                  <a:lnTo>
                    <a:pt x="1" y="732"/>
                  </a:lnTo>
                  <a:lnTo>
                    <a:pt x="0" y="735"/>
                  </a:lnTo>
                  <a:lnTo>
                    <a:pt x="0" y="738"/>
                  </a:lnTo>
                  <a:lnTo>
                    <a:pt x="0" y="741"/>
                  </a:lnTo>
                  <a:lnTo>
                    <a:pt x="1" y="744"/>
                  </a:lnTo>
                  <a:lnTo>
                    <a:pt x="2" y="746"/>
                  </a:lnTo>
                  <a:lnTo>
                    <a:pt x="4" y="748"/>
                  </a:lnTo>
                  <a:lnTo>
                    <a:pt x="6" y="750"/>
                  </a:lnTo>
                  <a:lnTo>
                    <a:pt x="8" y="751"/>
                  </a:lnTo>
                  <a:lnTo>
                    <a:pt x="12" y="753"/>
                  </a:lnTo>
                  <a:lnTo>
                    <a:pt x="15" y="753"/>
                  </a:lnTo>
                  <a:lnTo>
                    <a:pt x="75" y="753"/>
                  </a:lnTo>
                  <a:lnTo>
                    <a:pt x="165" y="753"/>
                  </a:lnTo>
                  <a:lnTo>
                    <a:pt x="737" y="753"/>
                  </a:lnTo>
                  <a:lnTo>
                    <a:pt x="828" y="753"/>
                  </a:lnTo>
                  <a:lnTo>
                    <a:pt x="888" y="753"/>
                  </a:lnTo>
                  <a:lnTo>
                    <a:pt x="891" y="753"/>
                  </a:lnTo>
                  <a:lnTo>
                    <a:pt x="893" y="751"/>
                  </a:lnTo>
                  <a:lnTo>
                    <a:pt x="896" y="750"/>
                  </a:lnTo>
                  <a:lnTo>
                    <a:pt x="899" y="748"/>
                  </a:lnTo>
                  <a:lnTo>
                    <a:pt x="900" y="746"/>
                  </a:lnTo>
                  <a:lnTo>
                    <a:pt x="902" y="744"/>
                  </a:lnTo>
                  <a:lnTo>
                    <a:pt x="902" y="741"/>
                  </a:lnTo>
                  <a:lnTo>
                    <a:pt x="903" y="738"/>
                  </a:lnTo>
                  <a:lnTo>
                    <a:pt x="903" y="735"/>
                  </a:lnTo>
                  <a:lnTo>
                    <a:pt x="902" y="732"/>
                  </a:lnTo>
                  <a:lnTo>
                    <a:pt x="900" y="730"/>
                  </a:lnTo>
                  <a:lnTo>
                    <a:pt x="899" y="727"/>
                  </a:lnTo>
                  <a:lnTo>
                    <a:pt x="896" y="726"/>
                  </a:lnTo>
                  <a:lnTo>
                    <a:pt x="893" y="724"/>
                  </a:lnTo>
                  <a:lnTo>
                    <a:pt x="891" y="724"/>
                  </a:lnTo>
                  <a:lnTo>
                    <a:pt x="888" y="722"/>
                  </a:lnTo>
                  <a:lnTo>
                    <a:pt x="843" y="722"/>
                  </a:lnTo>
                  <a:lnTo>
                    <a:pt x="843" y="301"/>
                  </a:lnTo>
                  <a:lnTo>
                    <a:pt x="888" y="3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295"/>
            <p:cNvSpPr>
              <a:spLocks/>
            </p:cNvSpPr>
            <p:nvPr/>
          </p:nvSpPr>
          <p:spPr bwMode="auto">
            <a:xfrm>
              <a:off x="11114088" y="962025"/>
              <a:ext cx="134938" cy="9525"/>
            </a:xfrm>
            <a:custGeom>
              <a:avLst/>
              <a:gdLst>
                <a:gd name="T0" fmla="*/ 407 w 422"/>
                <a:gd name="T1" fmla="*/ 0 h 30"/>
                <a:gd name="T2" fmla="*/ 15 w 422"/>
                <a:gd name="T3" fmla="*/ 0 h 30"/>
                <a:gd name="T4" fmla="*/ 12 w 422"/>
                <a:gd name="T5" fmla="*/ 0 h 30"/>
                <a:gd name="T6" fmla="*/ 10 w 422"/>
                <a:gd name="T7" fmla="*/ 1 h 30"/>
                <a:gd name="T8" fmla="*/ 7 w 422"/>
                <a:gd name="T9" fmla="*/ 2 h 30"/>
                <a:gd name="T10" fmla="*/ 4 w 422"/>
                <a:gd name="T11" fmla="*/ 4 h 30"/>
                <a:gd name="T12" fmla="*/ 3 w 422"/>
                <a:gd name="T13" fmla="*/ 7 h 30"/>
                <a:gd name="T14" fmla="*/ 1 w 422"/>
                <a:gd name="T15" fmla="*/ 9 h 30"/>
                <a:gd name="T16" fmla="*/ 1 w 422"/>
                <a:gd name="T17" fmla="*/ 12 h 30"/>
                <a:gd name="T18" fmla="*/ 0 w 422"/>
                <a:gd name="T19" fmla="*/ 15 h 30"/>
                <a:gd name="T20" fmla="*/ 1 w 422"/>
                <a:gd name="T21" fmla="*/ 18 h 30"/>
                <a:gd name="T22" fmla="*/ 1 w 422"/>
                <a:gd name="T23" fmla="*/ 20 h 30"/>
                <a:gd name="T24" fmla="*/ 3 w 422"/>
                <a:gd name="T25" fmla="*/ 24 h 30"/>
                <a:gd name="T26" fmla="*/ 4 w 422"/>
                <a:gd name="T27" fmla="*/ 26 h 30"/>
                <a:gd name="T28" fmla="*/ 7 w 422"/>
                <a:gd name="T29" fmla="*/ 27 h 30"/>
                <a:gd name="T30" fmla="*/ 10 w 422"/>
                <a:gd name="T31" fmla="*/ 29 h 30"/>
                <a:gd name="T32" fmla="*/ 12 w 422"/>
                <a:gd name="T33" fmla="*/ 29 h 30"/>
                <a:gd name="T34" fmla="*/ 15 w 422"/>
                <a:gd name="T35" fmla="*/ 30 h 30"/>
                <a:gd name="T36" fmla="*/ 407 w 422"/>
                <a:gd name="T37" fmla="*/ 30 h 30"/>
                <a:gd name="T38" fmla="*/ 410 w 422"/>
                <a:gd name="T39" fmla="*/ 29 h 30"/>
                <a:gd name="T40" fmla="*/ 413 w 422"/>
                <a:gd name="T41" fmla="*/ 29 h 30"/>
                <a:gd name="T42" fmla="*/ 415 w 422"/>
                <a:gd name="T43" fmla="*/ 27 h 30"/>
                <a:gd name="T44" fmla="*/ 417 w 422"/>
                <a:gd name="T45" fmla="*/ 26 h 30"/>
                <a:gd name="T46" fmla="*/ 419 w 422"/>
                <a:gd name="T47" fmla="*/ 24 h 30"/>
                <a:gd name="T48" fmla="*/ 421 w 422"/>
                <a:gd name="T49" fmla="*/ 20 h 30"/>
                <a:gd name="T50" fmla="*/ 422 w 422"/>
                <a:gd name="T51" fmla="*/ 18 h 30"/>
                <a:gd name="T52" fmla="*/ 422 w 422"/>
                <a:gd name="T53" fmla="*/ 15 h 30"/>
                <a:gd name="T54" fmla="*/ 422 w 422"/>
                <a:gd name="T55" fmla="*/ 12 h 30"/>
                <a:gd name="T56" fmla="*/ 421 w 422"/>
                <a:gd name="T57" fmla="*/ 9 h 30"/>
                <a:gd name="T58" fmla="*/ 419 w 422"/>
                <a:gd name="T59" fmla="*/ 7 h 30"/>
                <a:gd name="T60" fmla="*/ 417 w 422"/>
                <a:gd name="T61" fmla="*/ 4 h 30"/>
                <a:gd name="T62" fmla="*/ 415 w 422"/>
                <a:gd name="T63" fmla="*/ 2 h 30"/>
                <a:gd name="T64" fmla="*/ 413 w 422"/>
                <a:gd name="T65" fmla="*/ 1 h 30"/>
                <a:gd name="T66" fmla="*/ 410 w 422"/>
                <a:gd name="T67" fmla="*/ 0 h 30"/>
                <a:gd name="T68" fmla="*/ 407 w 422"/>
                <a:gd name="T69"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22" h="30">
                  <a:moveTo>
                    <a:pt x="407" y="0"/>
                  </a:moveTo>
                  <a:lnTo>
                    <a:pt x="15" y="0"/>
                  </a:lnTo>
                  <a:lnTo>
                    <a:pt x="12" y="0"/>
                  </a:lnTo>
                  <a:lnTo>
                    <a:pt x="10" y="1"/>
                  </a:lnTo>
                  <a:lnTo>
                    <a:pt x="7" y="2"/>
                  </a:lnTo>
                  <a:lnTo>
                    <a:pt x="4" y="4"/>
                  </a:lnTo>
                  <a:lnTo>
                    <a:pt x="3" y="7"/>
                  </a:lnTo>
                  <a:lnTo>
                    <a:pt x="1" y="9"/>
                  </a:lnTo>
                  <a:lnTo>
                    <a:pt x="1" y="12"/>
                  </a:lnTo>
                  <a:lnTo>
                    <a:pt x="0" y="15"/>
                  </a:lnTo>
                  <a:lnTo>
                    <a:pt x="1" y="18"/>
                  </a:lnTo>
                  <a:lnTo>
                    <a:pt x="1" y="20"/>
                  </a:lnTo>
                  <a:lnTo>
                    <a:pt x="3" y="24"/>
                  </a:lnTo>
                  <a:lnTo>
                    <a:pt x="4" y="26"/>
                  </a:lnTo>
                  <a:lnTo>
                    <a:pt x="7" y="27"/>
                  </a:lnTo>
                  <a:lnTo>
                    <a:pt x="10" y="29"/>
                  </a:lnTo>
                  <a:lnTo>
                    <a:pt x="12" y="29"/>
                  </a:lnTo>
                  <a:lnTo>
                    <a:pt x="15" y="30"/>
                  </a:lnTo>
                  <a:lnTo>
                    <a:pt x="407" y="30"/>
                  </a:lnTo>
                  <a:lnTo>
                    <a:pt x="410" y="29"/>
                  </a:lnTo>
                  <a:lnTo>
                    <a:pt x="413" y="29"/>
                  </a:lnTo>
                  <a:lnTo>
                    <a:pt x="415" y="27"/>
                  </a:lnTo>
                  <a:lnTo>
                    <a:pt x="417" y="26"/>
                  </a:lnTo>
                  <a:lnTo>
                    <a:pt x="419" y="24"/>
                  </a:lnTo>
                  <a:lnTo>
                    <a:pt x="421" y="20"/>
                  </a:lnTo>
                  <a:lnTo>
                    <a:pt x="422" y="18"/>
                  </a:lnTo>
                  <a:lnTo>
                    <a:pt x="422" y="15"/>
                  </a:lnTo>
                  <a:lnTo>
                    <a:pt x="422" y="12"/>
                  </a:lnTo>
                  <a:lnTo>
                    <a:pt x="421" y="9"/>
                  </a:lnTo>
                  <a:lnTo>
                    <a:pt x="419" y="7"/>
                  </a:lnTo>
                  <a:lnTo>
                    <a:pt x="417" y="4"/>
                  </a:lnTo>
                  <a:lnTo>
                    <a:pt x="415" y="2"/>
                  </a:lnTo>
                  <a:lnTo>
                    <a:pt x="413" y="1"/>
                  </a:lnTo>
                  <a:lnTo>
                    <a:pt x="410" y="0"/>
                  </a:lnTo>
                  <a:lnTo>
                    <a:pt x="40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296"/>
            <p:cNvSpPr>
              <a:spLocks/>
            </p:cNvSpPr>
            <p:nvPr/>
          </p:nvSpPr>
          <p:spPr bwMode="auto">
            <a:xfrm>
              <a:off x="11114088" y="990600"/>
              <a:ext cx="134938" cy="9525"/>
            </a:xfrm>
            <a:custGeom>
              <a:avLst/>
              <a:gdLst>
                <a:gd name="T0" fmla="*/ 407 w 422"/>
                <a:gd name="T1" fmla="*/ 0 h 30"/>
                <a:gd name="T2" fmla="*/ 15 w 422"/>
                <a:gd name="T3" fmla="*/ 0 h 30"/>
                <a:gd name="T4" fmla="*/ 12 w 422"/>
                <a:gd name="T5" fmla="*/ 0 h 30"/>
                <a:gd name="T6" fmla="*/ 10 w 422"/>
                <a:gd name="T7" fmla="*/ 1 h 30"/>
                <a:gd name="T8" fmla="*/ 7 w 422"/>
                <a:gd name="T9" fmla="*/ 2 h 30"/>
                <a:gd name="T10" fmla="*/ 4 w 422"/>
                <a:gd name="T11" fmla="*/ 5 h 30"/>
                <a:gd name="T12" fmla="*/ 3 w 422"/>
                <a:gd name="T13" fmla="*/ 7 h 30"/>
                <a:gd name="T14" fmla="*/ 1 w 422"/>
                <a:gd name="T15" fmla="*/ 9 h 30"/>
                <a:gd name="T16" fmla="*/ 1 w 422"/>
                <a:gd name="T17" fmla="*/ 12 h 30"/>
                <a:gd name="T18" fmla="*/ 0 w 422"/>
                <a:gd name="T19" fmla="*/ 15 h 30"/>
                <a:gd name="T20" fmla="*/ 1 w 422"/>
                <a:gd name="T21" fmla="*/ 18 h 30"/>
                <a:gd name="T22" fmla="*/ 1 w 422"/>
                <a:gd name="T23" fmla="*/ 21 h 30"/>
                <a:gd name="T24" fmla="*/ 3 w 422"/>
                <a:gd name="T25" fmla="*/ 24 h 30"/>
                <a:gd name="T26" fmla="*/ 4 w 422"/>
                <a:gd name="T27" fmla="*/ 26 h 30"/>
                <a:gd name="T28" fmla="*/ 7 w 422"/>
                <a:gd name="T29" fmla="*/ 28 h 30"/>
                <a:gd name="T30" fmla="*/ 10 w 422"/>
                <a:gd name="T31" fmla="*/ 29 h 30"/>
                <a:gd name="T32" fmla="*/ 12 w 422"/>
                <a:gd name="T33" fmla="*/ 30 h 30"/>
                <a:gd name="T34" fmla="*/ 15 w 422"/>
                <a:gd name="T35" fmla="*/ 30 h 30"/>
                <a:gd name="T36" fmla="*/ 407 w 422"/>
                <a:gd name="T37" fmla="*/ 30 h 30"/>
                <a:gd name="T38" fmla="*/ 410 w 422"/>
                <a:gd name="T39" fmla="*/ 30 h 30"/>
                <a:gd name="T40" fmla="*/ 413 w 422"/>
                <a:gd name="T41" fmla="*/ 29 h 30"/>
                <a:gd name="T42" fmla="*/ 415 w 422"/>
                <a:gd name="T43" fmla="*/ 28 h 30"/>
                <a:gd name="T44" fmla="*/ 417 w 422"/>
                <a:gd name="T45" fmla="*/ 26 h 30"/>
                <a:gd name="T46" fmla="*/ 419 w 422"/>
                <a:gd name="T47" fmla="*/ 24 h 30"/>
                <a:gd name="T48" fmla="*/ 421 w 422"/>
                <a:gd name="T49" fmla="*/ 21 h 30"/>
                <a:gd name="T50" fmla="*/ 422 w 422"/>
                <a:gd name="T51" fmla="*/ 18 h 30"/>
                <a:gd name="T52" fmla="*/ 422 w 422"/>
                <a:gd name="T53" fmla="*/ 15 h 30"/>
                <a:gd name="T54" fmla="*/ 422 w 422"/>
                <a:gd name="T55" fmla="*/ 12 h 30"/>
                <a:gd name="T56" fmla="*/ 421 w 422"/>
                <a:gd name="T57" fmla="*/ 9 h 30"/>
                <a:gd name="T58" fmla="*/ 419 w 422"/>
                <a:gd name="T59" fmla="*/ 7 h 30"/>
                <a:gd name="T60" fmla="*/ 417 w 422"/>
                <a:gd name="T61" fmla="*/ 5 h 30"/>
                <a:gd name="T62" fmla="*/ 415 w 422"/>
                <a:gd name="T63" fmla="*/ 2 h 30"/>
                <a:gd name="T64" fmla="*/ 413 w 422"/>
                <a:gd name="T65" fmla="*/ 1 h 30"/>
                <a:gd name="T66" fmla="*/ 410 w 422"/>
                <a:gd name="T67" fmla="*/ 0 h 30"/>
                <a:gd name="T68" fmla="*/ 407 w 422"/>
                <a:gd name="T69"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22" h="30">
                  <a:moveTo>
                    <a:pt x="407" y="0"/>
                  </a:moveTo>
                  <a:lnTo>
                    <a:pt x="15" y="0"/>
                  </a:lnTo>
                  <a:lnTo>
                    <a:pt x="12" y="0"/>
                  </a:lnTo>
                  <a:lnTo>
                    <a:pt x="10" y="1"/>
                  </a:lnTo>
                  <a:lnTo>
                    <a:pt x="7" y="2"/>
                  </a:lnTo>
                  <a:lnTo>
                    <a:pt x="4" y="5"/>
                  </a:lnTo>
                  <a:lnTo>
                    <a:pt x="3" y="7"/>
                  </a:lnTo>
                  <a:lnTo>
                    <a:pt x="1" y="9"/>
                  </a:lnTo>
                  <a:lnTo>
                    <a:pt x="1" y="12"/>
                  </a:lnTo>
                  <a:lnTo>
                    <a:pt x="0" y="15"/>
                  </a:lnTo>
                  <a:lnTo>
                    <a:pt x="1" y="18"/>
                  </a:lnTo>
                  <a:lnTo>
                    <a:pt x="1" y="21"/>
                  </a:lnTo>
                  <a:lnTo>
                    <a:pt x="3" y="24"/>
                  </a:lnTo>
                  <a:lnTo>
                    <a:pt x="4" y="26"/>
                  </a:lnTo>
                  <a:lnTo>
                    <a:pt x="7" y="28"/>
                  </a:lnTo>
                  <a:lnTo>
                    <a:pt x="10" y="29"/>
                  </a:lnTo>
                  <a:lnTo>
                    <a:pt x="12" y="30"/>
                  </a:lnTo>
                  <a:lnTo>
                    <a:pt x="15" y="30"/>
                  </a:lnTo>
                  <a:lnTo>
                    <a:pt x="407" y="30"/>
                  </a:lnTo>
                  <a:lnTo>
                    <a:pt x="410" y="30"/>
                  </a:lnTo>
                  <a:lnTo>
                    <a:pt x="413" y="29"/>
                  </a:lnTo>
                  <a:lnTo>
                    <a:pt x="415" y="28"/>
                  </a:lnTo>
                  <a:lnTo>
                    <a:pt x="417" y="26"/>
                  </a:lnTo>
                  <a:lnTo>
                    <a:pt x="419" y="24"/>
                  </a:lnTo>
                  <a:lnTo>
                    <a:pt x="421" y="21"/>
                  </a:lnTo>
                  <a:lnTo>
                    <a:pt x="422" y="18"/>
                  </a:lnTo>
                  <a:lnTo>
                    <a:pt x="422" y="15"/>
                  </a:lnTo>
                  <a:lnTo>
                    <a:pt x="422" y="12"/>
                  </a:lnTo>
                  <a:lnTo>
                    <a:pt x="421" y="9"/>
                  </a:lnTo>
                  <a:lnTo>
                    <a:pt x="419" y="7"/>
                  </a:lnTo>
                  <a:lnTo>
                    <a:pt x="417" y="5"/>
                  </a:lnTo>
                  <a:lnTo>
                    <a:pt x="415" y="2"/>
                  </a:lnTo>
                  <a:lnTo>
                    <a:pt x="413" y="1"/>
                  </a:lnTo>
                  <a:lnTo>
                    <a:pt x="410" y="0"/>
                  </a:lnTo>
                  <a:lnTo>
                    <a:pt x="40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297"/>
            <p:cNvSpPr>
              <a:spLocks/>
            </p:cNvSpPr>
            <p:nvPr/>
          </p:nvSpPr>
          <p:spPr bwMode="auto">
            <a:xfrm>
              <a:off x="11114088" y="1019175"/>
              <a:ext cx="134938" cy="9525"/>
            </a:xfrm>
            <a:custGeom>
              <a:avLst/>
              <a:gdLst>
                <a:gd name="T0" fmla="*/ 407 w 422"/>
                <a:gd name="T1" fmla="*/ 0 h 30"/>
                <a:gd name="T2" fmla="*/ 15 w 422"/>
                <a:gd name="T3" fmla="*/ 0 h 30"/>
                <a:gd name="T4" fmla="*/ 12 w 422"/>
                <a:gd name="T5" fmla="*/ 0 h 30"/>
                <a:gd name="T6" fmla="*/ 10 w 422"/>
                <a:gd name="T7" fmla="*/ 1 h 30"/>
                <a:gd name="T8" fmla="*/ 7 w 422"/>
                <a:gd name="T9" fmla="*/ 3 h 30"/>
                <a:gd name="T10" fmla="*/ 4 w 422"/>
                <a:gd name="T11" fmla="*/ 5 h 30"/>
                <a:gd name="T12" fmla="*/ 3 w 422"/>
                <a:gd name="T13" fmla="*/ 7 h 30"/>
                <a:gd name="T14" fmla="*/ 1 w 422"/>
                <a:gd name="T15" fmla="*/ 10 h 30"/>
                <a:gd name="T16" fmla="*/ 1 w 422"/>
                <a:gd name="T17" fmla="*/ 12 h 30"/>
                <a:gd name="T18" fmla="*/ 0 w 422"/>
                <a:gd name="T19" fmla="*/ 15 h 30"/>
                <a:gd name="T20" fmla="*/ 1 w 422"/>
                <a:gd name="T21" fmla="*/ 19 h 30"/>
                <a:gd name="T22" fmla="*/ 1 w 422"/>
                <a:gd name="T23" fmla="*/ 22 h 30"/>
                <a:gd name="T24" fmla="*/ 3 w 422"/>
                <a:gd name="T25" fmla="*/ 24 h 30"/>
                <a:gd name="T26" fmla="*/ 4 w 422"/>
                <a:gd name="T27" fmla="*/ 26 h 30"/>
                <a:gd name="T28" fmla="*/ 7 w 422"/>
                <a:gd name="T29" fmla="*/ 28 h 30"/>
                <a:gd name="T30" fmla="*/ 10 w 422"/>
                <a:gd name="T31" fmla="*/ 29 h 30"/>
                <a:gd name="T32" fmla="*/ 12 w 422"/>
                <a:gd name="T33" fmla="*/ 30 h 30"/>
                <a:gd name="T34" fmla="*/ 15 w 422"/>
                <a:gd name="T35" fmla="*/ 30 h 30"/>
                <a:gd name="T36" fmla="*/ 407 w 422"/>
                <a:gd name="T37" fmla="*/ 30 h 30"/>
                <a:gd name="T38" fmla="*/ 410 w 422"/>
                <a:gd name="T39" fmla="*/ 30 h 30"/>
                <a:gd name="T40" fmla="*/ 413 w 422"/>
                <a:gd name="T41" fmla="*/ 29 h 30"/>
                <a:gd name="T42" fmla="*/ 415 w 422"/>
                <a:gd name="T43" fmla="*/ 28 h 30"/>
                <a:gd name="T44" fmla="*/ 417 w 422"/>
                <a:gd name="T45" fmla="*/ 26 h 30"/>
                <a:gd name="T46" fmla="*/ 419 w 422"/>
                <a:gd name="T47" fmla="*/ 24 h 30"/>
                <a:gd name="T48" fmla="*/ 421 w 422"/>
                <a:gd name="T49" fmla="*/ 22 h 30"/>
                <a:gd name="T50" fmla="*/ 422 w 422"/>
                <a:gd name="T51" fmla="*/ 19 h 30"/>
                <a:gd name="T52" fmla="*/ 422 w 422"/>
                <a:gd name="T53" fmla="*/ 15 h 30"/>
                <a:gd name="T54" fmla="*/ 422 w 422"/>
                <a:gd name="T55" fmla="*/ 12 h 30"/>
                <a:gd name="T56" fmla="*/ 421 w 422"/>
                <a:gd name="T57" fmla="*/ 10 h 30"/>
                <a:gd name="T58" fmla="*/ 419 w 422"/>
                <a:gd name="T59" fmla="*/ 7 h 30"/>
                <a:gd name="T60" fmla="*/ 417 w 422"/>
                <a:gd name="T61" fmla="*/ 5 h 30"/>
                <a:gd name="T62" fmla="*/ 415 w 422"/>
                <a:gd name="T63" fmla="*/ 3 h 30"/>
                <a:gd name="T64" fmla="*/ 413 w 422"/>
                <a:gd name="T65" fmla="*/ 1 h 30"/>
                <a:gd name="T66" fmla="*/ 410 w 422"/>
                <a:gd name="T67" fmla="*/ 0 h 30"/>
                <a:gd name="T68" fmla="*/ 407 w 422"/>
                <a:gd name="T69" fmla="*/ 0 h 30"/>
                <a:gd name="T70" fmla="*/ 407 w 422"/>
                <a:gd name="T7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22" h="30">
                  <a:moveTo>
                    <a:pt x="407" y="0"/>
                  </a:moveTo>
                  <a:lnTo>
                    <a:pt x="15" y="0"/>
                  </a:lnTo>
                  <a:lnTo>
                    <a:pt x="12" y="0"/>
                  </a:lnTo>
                  <a:lnTo>
                    <a:pt x="10" y="1"/>
                  </a:lnTo>
                  <a:lnTo>
                    <a:pt x="7" y="3"/>
                  </a:lnTo>
                  <a:lnTo>
                    <a:pt x="4" y="5"/>
                  </a:lnTo>
                  <a:lnTo>
                    <a:pt x="3" y="7"/>
                  </a:lnTo>
                  <a:lnTo>
                    <a:pt x="1" y="10"/>
                  </a:lnTo>
                  <a:lnTo>
                    <a:pt x="1" y="12"/>
                  </a:lnTo>
                  <a:lnTo>
                    <a:pt x="0" y="15"/>
                  </a:lnTo>
                  <a:lnTo>
                    <a:pt x="1" y="19"/>
                  </a:lnTo>
                  <a:lnTo>
                    <a:pt x="1" y="22"/>
                  </a:lnTo>
                  <a:lnTo>
                    <a:pt x="3" y="24"/>
                  </a:lnTo>
                  <a:lnTo>
                    <a:pt x="4" y="26"/>
                  </a:lnTo>
                  <a:lnTo>
                    <a:pt x="7" y="28"/>
                  </a:lnTo>
                  <a:lnTo>
                    <a:pt x="10" y="29"/>
                  </a:lnTo>
                  <a:lnTo>
                    <a:pt x="12" y="30"/>
                  </a:lnTo>
                  <a:lnTo>
                    <a:pt x="15" y="30"/>
                  </a:lnTo>
                  <a:lnTo>
                    <a:pt x="407" y="30"/>
                  </a:lnTo>
                  <a:lnTo>
                    <a:pt x="410" y="30"/>
                  </a:lnTo>
                  <a:lnTo>
                    <a:pt x="413" y="29"/>
                  </a:lnTo>
                  <a:lnTo>
                    <a:pt x="415" y="28"/>
                  </a:lnTo>
                  <a:lnTo>
                    <a:pt x="417" y="26"/>
                  </a:lnTo>
                  <a:lnTo>
                    <a:pt x="419" y="24"/>
                  </a:lnTo>
                  <a:lnTo>
                    <a:pt x="421" y="22"/>
                  </a:lnTo>
                  <a:lnTo>
                    <a:pt x="422" y="19"/>
                  </a:lnTo>
                  <a:lnTo>
                    <a:pt x="422" y="15"/>
                  </a:lnTo>
                  <a:lnTo>
                    <a:pt x="422" y="12"/>
                  </a:lnTo>
                  <a:lnTo>
                    <a:pt x="421" y="10"/>
                  </a:lnTo>
                  <a:lnTo>
                    <a:pt x="419" y="7"/>
                  </a:lnTo>
                  <a:lnTo>
                    <a:pt x="417" y="5"/>
                  </a:lnTo>
                  <a:lnTo>
                    <a:pt x="415" y="3"/>
                  </a:lnTo>
                  <a:lnTo>
                    <a:pt x="413" y="1"/>
                  </a:lnTo>
                  <a:lnTo>
                    <a:pt x="410" y="0"/>
                  </a:lnTo>
                  <a:lnTo>
                    <a:pt x="407" y="0"/>
                  </a:lnTo>
                  <a:lnTo>
                    <a:pt x="40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04" name="Group 203"/>
          <p:cNvGrpSpPr/>
          <p:nvPr/>
        </p:nvGrpSpPr>
        <p:grpSpPr>
          <a:xfrm>
            <a:off x="5952331" y="2021335"/>
            <a:ext cx="287338" cy="287337"/>
            <a:chOff x="7023101" y="1917700"/>
            <a:chExt cx="287338" cy="287337"/>
          </a:xfrm>
          <a:solidFill>
            <a:srgbClr val="78D2D2"/>
          </a:solidFill>
        </p:grpSpPr>
        <p:sp>
          <p:nvSpPr>
            <p:cNvPr id="205" name="Freeform 274"/>
            <p:cNvSpPr>
              <a:spLocks noEditPoints="1"/>
            </p:cNvSpPr>
            <p:nvPr/>
          </p:nvSpPr>
          <p:spPr bwMode="auto">
            <a:xfrm>
              <a:off x="7023101" y="1917700"/>
              <a:ext cx="287338" cy="287337"/>
            </a:xfrm>
            <a:custGeom>
              <a:avLst/>
              <a:gdLst>
                <a:gd name="T0" fmla="*/ 813 w 903"/>
                <a:gd name="T1" fmla="*/ 795 h 903"/>
                <a:gd name="T2" fmla="*/ 807 w 903"/>
                <a:gd name="T3" fmla="*/ 785 h 903"/>
                <a:gd name="T4" fmla="*/ 738 w 903"/>
                <a:gd name="T5" fmla="*/ 782 h 903"/>
                <a:gd name="T6" fmla="*/ 727 w 903"/>
                <a:gd name="T7" fmla="*/ 787 h 903"/>
                <a:gd name="T8" fmla="*/ 723 w 903"/>
                <a:gd name="T9" fmla="*/ 798 h 903"/>
                <a:gd name="T10" fmla="*/ 678 w 903"/>
                <a:gd name="T11" fmla="*/ 391 h 903"/>
                <a:gd name="T12" fmla="*/ 753 w 903"/>
                <a:gd name="T13" fmla="*/ 873 h 903"/>
                <a:gd name="T14" fmla="*/ 753 w 903"/>
                <a:gd name="T15" fmla="*/ 873 h 903"/>
                <a:gd name="T16" fmla="*/ 181 w 903"/>
                <a:gd name="T17" fmla="*/ 873 h 903"/>
                <a:gd name="T18" fmla="*/ 286 w 903"/>
                <a:gd name="T19" fmla="*/ 300 h 903"/>
                <a:gd name="T20" fmla="*/ 211 w 903"/>
                <a:gd name="T21" fmla="*/ 797 h 903"/>
                <a:gd name="T22" fmla="*/ 207 w 903"/>
                <a:gd name="T23" fmla="*/ 787 h 903"/>
                <a:gd name="T24" fmla="*/ 196 w 903"/>
                <a:gd name="T25" fmla="*/ 783 h 903"/>
                <a:gd name="T26" fmla="*/ 128 w 903"/>
                <a:gd name="T27" fmla="*/ 785 h 903"/>
                <a:gd name="T28" fmla="*/ 121 w 903"/>
                <a:gd name="T29" fmla="*/ 795 h 903"/>
                <a:gd name="T30" fmla="*/ 30 w 903"/>
                <a:gd name="T31" fmla="*/ 300 h 903"/>
                <a:gd name="T32" fmla="*/ 90 w 903"/>
                <a:gd name="T33" fmla="*/ 270 h 903"/>
                <a:gd name="T34" fmla="*/ 362 w 903"/>
                <a:gd name="T35" fmla="*/ 873 h 903"/>
                <a:gd name="T36" fmla="*/ 813 w 903"/>
                <a:gd name="T37" fmla="*/ 300 h 903"/>
                <a:gd name="T38" fmla="*/ 888 w 903"/>
                <a:gd name="T39" fmla="*/ 361 h 903"/>
                <a:gd name="T40" fmla="*/ 842 w 903"/>
                <a:gd name="T41" fmla="*/ 280 h 903"/>
                <a:gd name="T42" fmla="*/ 834 w 903"/>
                <a:gd name="T43" fmla="*/ 271 h 903"/>
                <a:gd name="T44" fmla="*/ 675 w 903"/>
                <a:gd name="T45" fmla="*/ 271 h 903"/>
                <a:gd name="T46" fmla="*/ 665 w 903"/>
                <a:gd name="T47" fmla="*/ 278 h 903"/>
                <a:gd name="T48" fmla="*/ 663 w 903"/>
                <a:gd name="T49" fmla="*/ 361 h 903"/>
                <a:gd name="T50" fmla="*/ 609 w 903"/>
                <a:gd name="T51" fmla="*/ 364 h 903"/>
                <a:gd name="T52" fmla="*/ 603 w 903"/>
                <a:gd name="T53" fmla="*/ 373 h 903"/>
                <a:gd name="T54" fmla="*/ 362 w 903"/>
                <a:gd name="T55" fmla="*/ 285 h 903"/>
                <a:gd name="T56" fmla="*/ 357 w 903"/>
                <a:gd name="T57" fmla="*/ 274 h 903"/>
                <a:gd name="T58" fmla="*/ 347 w 903"/>
                <a:gd name="T59" fmla="*/ 270 h 903"/>
                <a:gd name="T60" fmla="*/ 300 w 903"/>
                <a:gd name="T61" fmla="*/ 160 h 903"/>
                <a:gd name="T62" fmla="*/ 292 w 903"/>
                <a:gd name="T63" fmla="*/ 151 h 903"/>
                <a:gd name="T64" fmla="*/ 181 w 903"/>
                <a:gd name="T65" fmla="*/ 15 h 903"/>
                <a:gd name="T66" fmla="*/ 177 w 903"/>
                <a:gd name="T67" fmla="*/ 4 h 903"/>
                <a:gd name="T68" fmla="*/ 166 w 903"/>
                <a:gd name="T69" fmla="*/ 0 h 903"/>
                <a:gd name="T70" fmla="*/ 156 w 903"/>
                <a:gd name="T71" fmla="*/ 4 h 903"/>
                <a:gd name="T72" fmla="*/ 151 w 903"/>
                <a:gd name="T73" fmla="*/ 15 h 903"/>
                <a:gd name="T74" fmla="*/ 70 w 903"/>
                <a:gd name="T75" fmla="*/ 151 h 903"/>
                <a:gd name="T76" fmla="*/ 61 w 903"/>
                <a:gd name="T77" fmla="*/ 160 h 903"/>
                <a:gd name="T78" fmla="*/ 15 w 903"/>
                <a:gd name="T79" fmla="*/ 270 h 903"/>
                <a:gd name="T80" fmla="*/ 4 w 903"/>
                <a:gd name="T81" fmla="*/ 274 h 903"/>
                <a:gd name="T82" fmla="*/ 0 w 903"/>
                <a:gd name="T83" fmla="*/ 285 h 903"/>
                <a:gd name="T84" fmla="*/ 3 w 903"/>
                <a:gd name="T85" fmla="*/ 897 h 903"/>
                <a:gd name="T86" fmla="*/ 12 w 903"/>
                <a:gd name="T87" fmla="*/ 903 h 903"/>
                <a:gd name="T88" fmla="*/ 347 w 903"/>
                <a:gd name="T89" fmla="*/ 903 h 903"/>
                <a:gd name="T90" fmla="*/ 888 w 903"/>
                <a:gd name="T91" fmla="*/ 903 h 903"/>
                <a:gd name="T92" fmla="*/ 899 w 903"/>
                <a:gd name="T93" fmla="*/ 899 h 903"/>
                <a:gd name="T94" fmla="*/ 903 w 903"/>
                <a:gd name="T95" fmla="*/ 888 h 903"/>
                <a:gd name="T96" fmla="*/ 901 w 903"/>
                <a:gd name="T97" fmla="*/ 368 h 903"/>
                <a:gd name="T98" fmla="*/ 891 w 903"/>
                <a:gd name="T99" fmla="*/ 361 h 9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903" h="903">
                  <a:moveTo>
                    <a:pt x="873" y="873"/>
                  </a:moveTo>
                  <a:lnTo>
                    <a:pt x="813" y="873"/>
                  </a:lnTo>
                  <a:lnTo>
                    <a:pt x="813" y="797"/>
                  </a:lnTo>
                  <a:lnTo>
                    <a:pt x="813" y="795"/>
                  </a:lnTo>
                  <a:lnTo>
                    <a:pt x="812" y="792"/>
                  </a:lnTo>
                  <a:lnTo>
                    <a:pt x="811" y="789"/>
                  </a:lnTo>
                  <a:lnTo>
                    <a:pt x="809" y="787"/>
                  </a:lnTo>
                  <a:lnTo>
                    <a:pt x="807" y="785"/>
                  </a:lnTo>
                  <a:lnTo>
                    <a:pt x="804" y="784"/>
                  </a:lnTo>
                  <a:lnTo>
                    <a:pt x="801" y="783"/>
                  </a:lnTo>
                  <a:lnTo>
                    <a:pt x="798" y="783"/>
                  </a:lnTo>
                  <a:lnTo>
                    <a:pt x="738" y="782"/>
                  </a:lnTo>
                  <a:lnTo>
                    <a:pt x="735" y="783"/>
                  </a:lnTo>
                  <a:lnTo>
                    <a:pt x="733" y="784"/>
                  </a:lnTo>
                  <a:lnTo>
                    <a:pt x="729" y="785"/>
                  </a:lnTo>
                  <a:lnTo>
                    <a:pt x="727" y="787"/>
                  </a:lnTo>
                  <a:lnTo>
                    <a:pt x="725" y="789"/>
                  </a:lnTo>
                  <a:lnTo>
                    <a:pt x="724" y="792"/>
                  </a:lnTo>
                  <a:lnTo>
                    <a:pt x="723" y="795"/>
                  </a:lnTo>
                  <a:lnTo>
                    <a:pt x="723" y="798"/>
                  </a:lnTo>
                  <a:lnTo>
                    <a:pt x="723" y="873"/>
                  </a:lnTo>
                  <a:lnTo>
                    <a:pt x="633" y="873"/>
                  </a:lnTo>
                  <a:lnTo>
                    <a:pt x="633" y="391"/>
                  </a:lnTo>
                  <a:lnTo>
                    <a:pt x="678" y="391"/>
                  </a:lnTo>
                  <a:lnTo>
                    <a:pt x="828" y="391"/>
                  </a:lnTo>
                  <a:lnTo>
                    <a:pt x="873" y="391"/>
                  </a:lnTo>
                  <a:lnTo>
                    <a:pt x="873" y="873"/>
                  </a:lnTo>
                  <a:close/>
                  <a:moveTo>
                    <a:pt x="753" y="873"/>
                  </a:moveTo>
                  <a:lnTo>
                    <a:pt x="753" y="813"/>
                  </a:lnTo>
                  <a:lnTo>
                    <a:pt x="783" y="813"/>
                  </a:lnTo>
                  <a:lnTo>
                    <a:pt x="783" y="873"/>
                  </a:lnTo>
                  <a:lnTo>
                    <a:pt x="753" y="873"/>
                  </a:lnTo>
                  <a:close/>
                  <a:moveTo>
                    <a:pt x="151" y="873"/>
                  </a:moveTo>
                  <a:lnTo>
                    <a:pt x="151" y="813"/>
                  </a:lnTo>
                  <a:lnTo>
                    <a:pt x="181" y="813"/>
                  </a:lnTo>
                  <a:lnTo>
                    <a:pt x="181" y="873"/>
                  </a:lnTo>
                  <a:lnTo>
                    <a:pt x="151" y="873"/>
                  </a:lnTo>
                  <a:close/>
                  <a:moveTo>
                    <a:pt x="30" y="300"/>
                  </a:moveTo>
                  <a:lnTo>
                    <a:pt x="75" y="300"/>
                  </a:lnTo>
                  <a:lnTo>
                    <a:pt x="286" y="300"/>
                  </a:lnTo>
                  <a:lnTo>
                    <a:pt x="331" y="300"/>
                  </a:lnTo>
                  <a:lnTo>
                    <a:pt x="331" y="873"/>
                  </a:lnTo>
                  <a:lnTo>
                    <a:pt x="211" y="873"/>
                  </a:lnTo>
                  <a:lnTo>
                    <a:pt x="211" y="797"/>
                  </a:lnTo>
                  <a:lnTo>
                    <a:pt x="210" y="795"/>
                  </a:lnTo>
                  <a:lnTo>
                    <a:pt x="210" y="792"/>
                  </a:lnTo>
                  <a:lnTo>
                    <a:pt x="208" y="789"/>
                  </a:lnTo>
                  <a:lnTo>
                    <a:pt x="207" y="787"/>
                  </a:lnTo>
                  <a:lnTo>
                    <a:pt x="205" y="785"/>
                  </a:lnTo>
                  <a:lnTo>
                    <a:pt x="202" y="784"/>
                  </a:lnTo>
                  <a:lnTo>
                    <a:pt x="200" y="783"/>
                  </a:lnTo>
                  <a:lnTo>
                    <a:pt x="196" y="783"/>
                  </a:lnTo>
                  <a:lnTo>
                    <a:pt x="136" y="782"/>
                  </a:lnTo>
                  <a:lnTo>
                    <a:pt x="133" y="783"/>
                  </a:lnTo>
                  <a:lnTo>
                    <a:pt x="130" y="784"/>
                  </a:lnTo>
                  <a:lnTo>
                    <a:pt x="128" y="785"/>
                  </a:lnTo>
                  <a:lnTo>
                    <a:pt x="126" y="787"/>
                  </a:lnTo>
                  <a:lnTo>
                    <a:pt x="123" y="789"/>
                  </a:lnTo>
                  <a:lnTo>
                    <a:pt x="122" y="792"/>
                  </a:lnTo>
                  <a:lnTo>
                    <a:pt x="121" y="795"/>
                  </a:lnTo>
                  <a:lnTo>
                    <a:pt x="121" y="798"/>
                  </a:lnTo>
                  <a:lnTo>
                    <a:pt x="121" y="873"/>
                  </a:lnTo>
                  <a:lnTo>
                    <a:pt x="30" y="873"/>
                  </a:lnTo>
                  <a:lnTo>
                    <a:pt x="30" y="300"/>
                  </a:lnTo>
                  <a:close/>
                  <a:moveTo>
                    <a:pt x="90" y="180"/>
                  </a:moveTo>
                  <a:lnTo>
                    <a:pt x="271" y="180"/>
                  </a:lnTo>
                  <a:lnTo>
                    <a:pt x="271" y="270"/>
                  </a:lnTo>
                  <a:lnTo>
                    <a:pt x="90" y="270"/>
                  </a:lnTo>
                  <a:lnTo>
                    <a:pt x="90" y="180"/>
                  </a:lnTo>
                  <a:close/>
                  <a:moveTo>
                    <a:pt x="603" y="542"/>
                  </a:moveTo>
                  <a:lnTo>
                    <a:pt x="603" y="873"/>
                  </a:lnTo>
                  <a:lnTo>
                    <a:pt x="362" y="873"/>
                  </a:lnTo>
                  <a:lnTo>
                    <a:pt x="362" y="542"/>
                  </a:lnTo>
                  <a:lnTo>
                    <a:pt x="603" y="542"/>
                  </a:lnTo>
                  <a:close/>
                  <a:moveTo>
                    <a:pt x="693" y="300"/>
                  </a:moveTo>
                  <a:lnTo>
                    <a:pt x="813" y="300"/>
                  </a:lnTo>
                  <a:lnTo>
                    <a:pt x="813" y="361"/>
                  </a:lnTo>
                  <a:lnTo>
                    <a:pt x="693" y="361"/>
                  </a:lnTo>
                  <a:lnTo>
                    <a:pt x="693" y="300"/>
                  </a:lnTo>
                  <a:close/>
                  <a:moveTo>
                    <a:pt x="888" y="361"/>
                  </a:moveTo>
                  <a:lnTo>
                    <a:pt x="843" y="361"/>
                  </a:lnTo>
                  <a:lnTo>
                    <a:pt x="843" y="285"/>
                  </a:lnTo>
                  <a:lnTo>
                    <a:pt x="843" y="282"/>
                  </a:lnTo>
                  <a:lnTo>
                    <a:pt x="842" y="280"/>
                  </a:lnTo>
                  <a:lnTo>
                    <a:pt x="841" y="277"/>
                  </a:lnTo>
                  <a:lnTo>
                    <a:pt x="839" y="274"/>
                  </a:lnTo>
                  <a:lnTo>
                    <a:pt x="837" y="273"/>
                  </a:lnTo>
                  <a:lnTo>
                    <a:pt x="834" y="271"/>
                  </a:lnTo>
                  <a:lnTo>
                    <a:pt x="831" y="271"/>
                  </a:lnTo>
                  <a:lnTo>
                    <a:pt x="828" y="270"/>
                  </a:lnTo>
                  <a:lnTo>
                    <a:pt x="678" y="270"/>
                  </a:lnTo>
                  <a:lnTo>
                    <a:pt x="675" y="271"/>
                  </a:lnTo>
                  <a:lnTo>
                    <a:pt x="671" y="271"/>
                  </a:lnTo>
                  <a:lnTo>
                    <a:pt x="669" y="273"/>
                  </a:lnTo>
                  <a:lnTo>
                    <a:pt x="667" y="274"/>
                  </a:lnTo>
                  <a:lnTo>
                    <a:pt x="665" y="278"/>
                  </a:lnTo>
                  <a:lnTo>
                    <a:pt x="664" y="280"/>
                  </a:lnTo>
                  <a:lnTo>
                    <a:pt x="663" y="283"/>
                  </a:lnTo>
                  <a:lnTo>
                    <a:pt x="663" y="285"/>
                  </a:lnTo>
                  <a:lnTo>
                    <a:pt x="663" y="361"/>
                  </a:lnTo>
                  <a:lnTo>
                    <a:pt x="618" y="361"/>
                  </a:lnTo>
                  <a:lnTo>
                    <a:pt x="615" y="361"/>
                  </a:lnTo>
                  <a:lnTo>
                    <a:pt x="611" y="362"/>
                  </a:lnTo>
                  <a:lnTo>
                    <a:pt x="609" y="364"/>
                  </a:lnTo>
                  <a:lnTo>
                    <a:pt x="607" y="366"/>
                  </a:lnTo>
                  <a:lnTo>
                    <a:pt x="605" y="368"/>
                  </a:lnTo>
                  <a:lnTo>
                    <a:pt x="604" y="370"/>
                  </a:lnTo>
                  <a:lnTo>
                    <a:pt x="603" y="373"/>
                  </a:lnTo>
                  <a:lnTo>
                    <a:pt x="603" y="376"/>
                  </a:lnTo>
                  <a:lnTo>
                    <a:pt x="603" y="512"/>
                  </a:lnTo>
                  <a:lnTo>
                    <a:pt x="362" y="512"/>
                  </a:lnTo>
                  <a:lnTo>
                    <a:pt x="362" y="285"/>
                  </a:lnTo>
                  <a:lnTo>
                    <a:pt x="362" y="282"/>
                  </a:lnTo>
                  <a:lnTo>
                    <a:pt x="360" y="280"/>
                  </a:lnTo>
                  <a:lnTo>
                    <a:pt x="359" y="277"/>
                  </a:lnTo>
                  <a:lnTo>
                    <a:pt x="357" y="274"/>
                  </a:lnTo>
                  <a:lnTo>
                    <a:pt x="355" y="273"/>
                  </a:lnTo>
                  <a:lnTo>
                    <a:pt x="352" y="271"/>
                  </a:lnTo>
                  <a:lnTo>
                    <a:pt x="350" y="271"/>
                  </a:lnTo>
                  <a:lnTo>
                    <a:pt x="347" y="270"/>
                  </a:lnTo>
                  <a:lnTo>
                    <a:pt x="301" y="270"/>
                  </a:lnTo>
                  <a:lnTo>
                    <a:pt x="301" y="165"/>
                  </a:lnTo>
                  <a:lnTo>
                    <a:pt x="301" y="162"/>
                  </a:lnTo>
                  <a:lnTo>
                    <a:pt x="300" y="160"/>
                  </a:lnTo>
                  <a:lnTo>
                    <a:pt x="299" y="156"/>
                  </a:lnTo>
                  <a:lnTo>
                    <a:pt x="297" y="154"/>
                  </a:lnTo>
                  <a:lnTo>
                    <a:pt x="295" y="152"/>
                  </a:lnTo>
                  <a:lnTo>
                    <a:pt x="292" y="151"/>
                  </a:lnTo>
                  <a:lnTo>
                    <a:pt x="290" y="150"/>
                  </a:lnTo>
                  <a:lnTo>
                    <a:pt x="286" y="150"/>
                  </a:lnTo>
                  <a:lnTo>
                    <a:pt x="181" y="150"/>
                  </a:lnTo>
                  <a:lnTo>
                    <a:pt x="181" y="15"/>
                  </a:lnTo>
                  <a:lnTo>
                    <a:pt x="180" y="12"/>
                  </a:lnTo>
                  <a:lnTo>
                    <a:pt x="180" y="8"/>
                  </a:lnTo>
                  <a:lnTo>
                    <a:pt x="178" y="6"/>
                  </a:lnTo>
                  <a:lnTo>
                    <a:pt x="177" y="4"/>
                  </a:lnTo>
                  <a:lnTo>
                    <a:pt x="174" y="2"/>
                  </a:lnTo>
                  <a:lnTo>
                    <a:pt x="172" y="1"/>
                  </a:lnTo>
                  <a:lnTo>
                    <a:pt x="168" y="0"/>
                  </a:lnTo>
                  <a:lnTo>
                    <a:pt x="166" y="0"/>
                  </a:lnTo>
                  <a:lnTo>
                    <a:pt x="163" y="0"/>
                  </a:lnTo>
                  <a:lnTo>
                    <a:pt x="160" y="1"/>
                  </a:lnTo>
                  <a:lnTo>
                    <a:pt x="158" y="2"/>
                  </a:lnTo>
                  <a:lnTo>
                    <a:pt x="156" y="4"/>
                  </a:lnTo>
                  <a:lnTo>
                    <a:pt x="153" y="6"/>
                  </a:lnTo>
                  <a:lnTo>
                    <a:pt x="152" y="8"/>
                  </a:lnTo>
                  <a:lnTo>
                    <a:pt x="151" y="12"/>
                  </a:lnTo>
                  <a:lnTo>
                    <a:pt x="151" y="15"/>
                  </a:lnTo>
                  <a:lnTo>
                    <a:pt x="151" y="150"/>
                  </a:lnTo>
                  <a:lnTo>
                    <a:pt x="75" y="150"/>
                  </a:lnTo>
                  <a:lnTo>
                    <a:pt x="73" y="150"/>
                  </a:lnTo>
                  <a:lnTo>
                    <a:pt x="70" y="151"/>
                  </a:lnTo>
                  <a:lnTo>
                    <a:pt x="68" y="152"/>
                  </a:lnTo>
                  <a:lnTo>
                    <a:pt x="64" y="154"/>
                  </a:lnTo>
                  <a:lnTo>
                    <a:pt x="63" y="156"/>
                  </a:lnTo>
                  <a:lnTo>
                    <a:pt x="61" y="160"/>
                  </a:lnTo>
                  <a:lnTo>
                    <a:pt x="61" y="162"/>
                  </a:lnTo>
                  <a:lnTo>
                    <a:pt x="60" y="165"/>
                  </a:lnTo>
                  <a:lnTo>
                    <a:pt x="60" y="270"/>
                  </a:lnTo>
                  <a:lnTo>
                    <a:pt x="15" y="270"/>
                  </a:lnTo>
                  <a:lnTo>
                    <a:pt x="12" y="271"/>
                  </a:lnTo>
                  <a:lnTo>
                    <a:pt x="10" y="271"/>
                  </a:lnTo>
                  <a:lnTo>
                    <a:pt x="7" y="273"/>
                  </a:lnTo>
                  <a:lnTo>
                    <a:pt x="4" y="274"/>
                  </a:lnTo>
                  <a:lnTo>
                    <a:pt x="3" y="278"/>
                  </a:lnTo>
                  <a:lnTo>
                    <a:pt x="1" y="280"/>
                  </a:lnTo>
                  <a:lnTo>
                    <a:pt x="1" y="283"/>
                  </a:lnTo>
                  <a:lnTo>
                    <a:pt x="0" y="285"/>
                  </a:lnTo>
                  <a:lnTo>
                    <a:pt x="0" y="888"/>
                  </a:lnTo>
                  <a:lnTo>
                    <a:pt x="1" y="891"/>
                  </a:lnTo>
                  <a:lnTo>
                    <a:pt x="1" y="894"/>
                  </a:lnTo>
                  <a:lnTo>
                    <a:pt x="3" y="897"/>
                  </a:lnTo>
                  <a:lnTo>
                    <a:pt x="4" y="899"/>
                  </a:lnTo>
                  <a:lnTo>
                    <a:pt x="7" y="900"/>
                  </a:lnTo>
                  <a:lnTo>
                    <a:pt x="10" y="902"/>
                  </a:lnTo>
                  <a:lnTo>
                    <a:pt x="12" y="903"/>
                  </a:lnTo>
                  <a:lnTo>
                    <a:pt x="15" y="903"/>
                  </a:lnTo>
                  <a:lnTo>
                    <a:pt x="136" y="903"/>
                  </a:lnTo>
                  <a:lnTo>
                    <a:pt x="196" y="903"/>
                  </a:lnTo>
                  <a:lnTo>
                    <a:pt x="347" y="903"/>
                  </a:lnTo>
                  <a:lnTo>
                    <a:pt x="618" y="903"/>
                  </a:lnTo>
                  <a:lnTo>
                    <a:pt x="738" y="903"/>
                  </a:lnTo>
                  <a:lnTo>
                    <a:pt x="798" y="903"/>
                  </a:lnTo>
                  <a:lnTo>
                    <a:pt x="888" y="903"/>
                  </a:lnTo>
                  <a:lnTo>
                    <a:pt x="891" y="902"/>
                  </a:lnTo>
                  <a:lnTo>
                    <a:pt x="895" y="902"/>
                  </a:lnTo>
                  <a:lnTo>
                    <a:pt x="897" y="900"/>
                  </a:lnTo>
                  <a:lnTo>
                    <a:pt x="899" y="899"/>
                  </a:lnTo>
                  <a:lnTo>
                    <a:pt x="901" y="897"/>
                  </a:lnTo>
                  <a:lnTo>
                    <a:pt x="902" y="894"/>
                  </a:lnTo>
                  <a:lnTo>
                    <a:pt x="903" y="891"/>
                  </a:lnTo>
                  <a:lnTo>
                    <a:pt x="903" y="888"/>
                  </a:lnTo>
                  <a:lnTo>
                    <a:pt x="903" y="376"/>
                  </a:lnTo>
                  <a:lnTo>
                    <a:pt x="903" y="373"/>
                  </a:lnTo>
                  <a:lnTo>
                    <a:pt x="902" y="370"/>
                  </a:lnTo>
                  <a:lnTo>
                    <a:pt x="901" y="368"/>
                  </a:lnTo>
                  <a:lnTo>
                    <a:pt x="899" y="366"/>
                  </a:lnTo>
                  <a:lnTo>
                    <a:pt x="897" y="364"/>
                  </a:lnTo>
                  <a:lnTo>
                    <a:pt x="895" y="362"/>
                  </a:lnTo>
                  <a:lnTo>
                    <a:pt x="891" y="361"/>
                  </a:lnTo>
                  <a:lnTo>
                    <a:pt x="888" y="3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Freeform 275"/>
            <p:cNvSpPr>
              <a:spLocks/>
            </p:cNvSpPr>
            <p:nvPr/>
          </p:nvSpPr>
          <p:spPr bwMode="auto">
            <a:xfrm>
              <a:off x="7061201" y="1984375"/>
              <a:ext cx="38100" cy="9525"/>
            </a:xfrm>
            <a:custGeom>
              <a:avLst/>
              <a:gdLst>
                <a:gd name="T0" fmla="*/ 105 w 120"/>
                <a:gd name="T1" fmla="*/ 0 h 30"/>
                <a:gd name="T2" fmla="*/ 15 w 120"/>
                <a:gd name="T3" fmla="*/ 0 h 30"/>
                <a:gd name="T4" fmla="*/ 12 w 120"/>
                <a:gd name="T5" fmla="*/ 0 h 30"/>
                <a:gd name="T6" fmla="*/ 9 w 120"/>
                <a:gd name="T7" fmla="*/ 1 h 30"/>
                <a:gd name="T8" fmla="*/ 7 w 120"/>
                <a:gd name="T9" fmla="*/ 3 h 30"/>
                <a:gd name="T10" fmla="*/ 5 w 120"/>
                <a:gd name="T11" fmla="*/ 4 h 30"/>
                <a:gd name="T12" fmla="*/ 2 w 120"/>
                <a:gd name="T13" fmla="*/ 7 h 30"/>
                <a:gd name="T14" fmla="*/ 1 w 120"/>
                <a:gd name="T15" fmla="*/ 10 h 30"/>
                <a:gd name="T16" fmla="*/ 0 w 120"/>
                <a:gd name="T17" fmla="*/ 12 h 30"/>
                <a:gd name="T18" fmla="*/ 0 w 120"/>
                <a:gd name="T19" fmla="*/ 15 h 30"/>
                <a:gd name="T20" fmla="*/ 0 w 120"/>
                <a:gd name="T21" fmla="*/ 18 h 30"/>
                <a:gd name="T22" fmla="*/ 1 w 120"/>
                <a:gd name="T23" fmla="*/ 22 h 30"/>
                <a:gd name="T24" fmla="*/ 2 w 120"/>
                <a:gd name="T25" fmla="*/ 24 h 30"/>
                <a:gd name="T26" fmla="*/ 5 w 120"/>
                <a:gd name="T27" fmla="*/ 26 h 30"/>
                <a:gd name="T28" fmla="*/ 7 w 120"/>
                <a:gd name="T29" fmla="*/ 28 h 30"/>
                <a:gd name="T30" fmla="*/ 9 w 120"/>
                <a:gd name="T31" fmla="*/ 29 h 30"/>
                <a:gd name="T32" fmla="*/ 12 w 120"/>
                <a:gd name="T33" fmla="*/ 30 h 30"/>
                <a:gd name="T34" fmla="*/ 15 w 120"/>
                <a:gd name="T35" fmla="*/ 30 h 30"/>
                <a:gd name="T36" fmla="*/ 105 w 120"/>
                <a:gd name="T37" fmla="*/ 30 h 30"/>
                <a:gd name="T38" fmla="*/ 109 w 120"/>
                <a:gd name="T39" fmla="*/ 30 h 30"/>
                <a:gd name="T40" fmla="*/ 111 w 120"/>
                <a:gd name="T41" fmla="*/ 29 h 30"/>
                <a:gd name="T42" fmla="*/ 114 w 120"/>
                <a:gd name="T43" fmla="*/ 28 h 30"/>
                <a:gd name="T44" fmla="*/ 116 w 120"/>
                <a:gd name="T45" fmla="*/ 26 h 30"/>
                <a:gd name="T46" fmla="*/ 117 w 120"/>
                <a:gd name="T47" fmla="*/ 24 h 30"/>
                <a:gd name="T48" fmla="*/ 119 w 120"/>
                <a:gd name="T49" fmla="*/ 22 h 30"/>
                <a:gd name="T50" fmla="*/ 120 w 120"/>
                <a:gd name="T51" fmla="*/ 18 h 30"/>
                <a:gd name="T52" fmla="*/ 120 w 120"/>
                <a:gd name="T53" fmla="*/ 15 h 30"/>
                <a:gd name="T54" fmla="*/ 120 w 120"/>
                <a:gd name="T55" fmla="*/ 12 h 30"/>
                <a:gd name="T56" fmla="*/ 119 w 120"/>
                <a:gd name="T57" fmla="*/ 10 h 30"/>
                <a:gd name="T58" fmla="*/ 117 w 120"/>
                <a:gd name="T59" fmla="*/ 7 h 30"/>
                <a:gd name="T60" fmla="*/ 116 w 120"/>
                <a:gd name="T61" fmla="*/ 4 h 30"/>
                <a:gd name="T62" fmla="*/ 114 w 120"/>
                <a:gd name="T63" fmla="*/ 3 h 30"/>
                <a:gd name="T64" fmla="*/ 111 w 120"/>
                <a:gd name="T65" fmla="*/ 1 h 30"/>
                <a:gd name="T66" fmla="*/ 109 w 120"/>
                <a:gd name="T67" fmla="*/ 0 h 30"/>
                <a:gd name="T68" fmla="*/ 105 w 120"/>
                <a:gd name="T69"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20" h="30">
                  <a:moveTo>
                    <a:pt x="105" y="0"/>
                  </a:moveTo>
                  <a:lnTo>
                    <a:pt x="15" y="0"/>
                  </a:lnTo>
                  <a:lnTo>
                    <a:pt x="12" y="0"/>
                  </a:lnTo>
                  <a:lnTo>
                    <a:pt x="9" y="1"/>
                  </a:lnTo>
                  <a:lnTo>
                    <a:pt x="7" y="3"/>
                  </a:lnTo>
                  <a:lnTo>
                    <a:pt x="5" y="4"/>
                  </a:lnTo>
                  <a:lnTo>
                    <a:pt x="2" y="7"/>
                  </a:lnTo>
                  <a:lnTo>
                    <a:pt x="1" y="10"/>
                  </a:lnTo>
                  <a:lnTo>
                    <a:pt x="0" y="12"/>
                  </a:lnTo>
                  <a:lnTo>
                    <a:pt x="0" y="15"/>
                  </a:lnTo>
                  <a:lnTo>
                    <a:pt x="0" y="18"/>
                  </a:lnTo>
                  <a:lnTo>
                    <a:pt x="1" y="22"/>
                  </a:lnTo>
                  <a:lnTo>
                    <a:pt x="2" y="24"/>
                  </a:lnTo>
                  <a:lnTo>
                    <a:pt x="5" y="26"/>
                  </a:lnTo>
                  <a:lnTo>
                    <a:pt x="7" y="28"/>
                  </a:lnTo>
                  <a:lnTo>
                    <a:pt x="9" y="29"/>
                  </a:lnTo>
                  <a:lnTo>
                    <a:pt x="12" y="30"/>
                  </a:lnTo>
                  <a:lnTo>
                    <a:pt x="15" y="30"/>
                  </a:lnTo>
                  <a:lnTo>
                    <a:pt x="105" y="30"/>
                  </a:lnTo>
                  <a:lnTo>
                    <a:pt x="109" y="30"/>
                  </a:lnTo>
                  <a:lnTo>
                    <a:pt x="111" y="29"/>
                  </a:lnTo>
                  <a:lnTo>
                    <a:pt x="114" y="28"/>
                  </a:lnTo>
                  <a:lnTo>
                    <a:pt x="116" y="26"/>
                  </a:lnTo>
                  <a:lnTo>
                    <a:pt x="117" y="24"/>
                  </a:lnTo>
                  <a:lnTo>
                    <a:pt x="119" y="22"/>
                  </a:lnTo>
                  <a:lnTo>
                    <a:pt x="120" y="18"/>
                  </a:lnTo>
                  <a:lnTo>
                    <a:pt x="120" y="15"/>
                  </a:lnTo>
                  <a:lnTo>
                    <a:pt x="120" y="12"/>
                  </a:lnTo>
                  <a:lnTo>
                    <a:pt x="119" y="10"/>
                  </a:lnTo>
                  <a:lnTo>
                    <a:pt x="117" y="7"/>
                  </a:lnTo>
                  <a:lnTo>
                    <a:pt x="116" y="4"/>
                  </a:lnTo>
                  <a:lnTo>
                    <a:pt x="114" y="3"/>
                  </a:lnTo>
                  <a:lnTo>
                    <a:pt x="111" y="1"/>
                  </a:lnTo>
                  <a:lnTo>
                    <a:pt x="109" y="0"/>
                  </a:lnTo>
                  <a:lnTo>
                    <a:pt x="10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Freeform 276"/>
            <p:cNvSpPr>
              <a:spLocks/>
            </p:cNvSpPr>
            <p:nvPr/>
          </p:nvSpPr>
          <p:spPr bwMode="auto">
            <a:xfrm>
              <a:off x="7042151" y="2041525"/>
              <a:ext cx="76200" cy="9525"/>
            </a:xfrm>
            <a:custGeom>
              <a:avLst/>
              <a:gdLst>
                <a:gd name="T0" fmla="*/ 15 w 241"/>
                <a:gd name="T1" fmla="*/ 30 h 30"/>
                <a:gd name="T2" fmla="*/ 226 w 241"/>
                <a:gd name="T3" fmla="*/ 30 h 30"/>
                <a:gd name="T4" fmla="*/ 230 w 241"/>
                <a:gd name="T5" fmla="*/ 29 h 30"/>
                <a:gd name="T6" fmla="*/ 232 w 241"/>
                <a:gd name="T7" fmla="*/ 29 h 30"/>
                <a:gd name="T8" fmla="*/ 235 w 241"/>
                <a:gd name="T9" fmla="*/ 27 h 30"/>
                <a:gd name="T10" fmla="*/ 237 w 241"/>
                <a:gd name="T11" fmla="*/ 26 h 30"/>
                <a:gd name="T12" fmla="*/ 239 w 241"/>
                <a:gd name="T13" fmla="*/ 23 h 30"/>
                <a:gd name="T14" fmla="*/ 240 w 241"/>
                <a:gd name="T15" fmla="*/ 21 h 30"/>
                <a:gd name="T16" fmla="*/ 241 w 241"/>
                <a:gd name="T17" fmla="*/ 18 h 30"/>
                <a:gd name="T18" fmla="*/ 241 w 241"/>
                <a:gd name="T19" fmla="*/ 15 h 30"/>
                <a:gd name="T20" fmla="*/ 241 w 241"/>
                <a:gd name="T21" fmla="*/ 12 h 30"/>
                <a:gd name="T22" fmla="*/ 240 w 241"/>
                <a:gd name="T23" fmla="*/ 9 h 30"/>
                <a:gd name="T24" fmla="*/ 239 w 241"/>
                <a:gd name="T25" fmla="*/ 7 h 30"/>
                <a:gd name="T26" fmla="*/ 237 w 241"/>
                <a:gd name="T27" fmla="*/ 5 h 30"/>
                <a:gd name="T28" fmla="*/ 235 w 241"/>
                <a:gd name="T29" fmla="*/ 3 h 30"/>
                <a:gd name="T30" fmla="*/ 232 w 241"/>
                <a:gd name="T31" fmla="*/ 1 h 30"/>
                <a:gd name="T32" fmla="*/ 230 w 241"/>
                <a:gd name="T33" fmla="*/ 0 h 30"/>
                <a:gd name="T34" fmla="*/ 226 w 241"/>
                <a:gd name="T35" fmla="*/ 0 h 30"/>
                <a:gd name="T36" fmla="*/ 15 w 241"/>
                <a:gd name="T37" fmla="*/ 0 h 30"/>
                <a:gd name="T38" fmla="*/ 13 w 241"/>
                <a:gd name="T39" fmla="*/ 0 h 30"/>
                <a:gd name="T40" fmla="*/ 10 w 241"/>
                <a:gd name="T41" fmla="*/ 1 h 30"/>
                <a:gd name="T42" fmla="*/ 8 w 241"/>
                <a:gd name="T43" fmla="*/ 3 h 30"/>
                <a:gd name="T44" fmla="*/ 4 w 241"/>
                <a:gd name="T45" fmla="*/ 5 h 30"/>
                <a:gd name="T46" fmla="*/ 3 w 241"/>
                <a:gd name="T47" fmla="*/ 7 h 30"/>
                <a:gd name="T48" fmla="*/ 1 w 241"/>
                <a:gd name="T49" fmla="*/ 9 h 30"/>
                <a:gd name="T50" fmla="*/ 1 w 241"/>
                <a:gd name="T51" fmla="*/ 12 h 30"/>
                <a:gd name="T52" fmla="*/ 0 w 241"/>
                <a:gd name="T53" fmla="*/ 15 h 30"/>
                <a:gd name="T54" fmla="*/ 1 w 241"/>
                <a:gd name="T55" fmla="*/ 18 h 30"/>
                <a:gd name="T56" fmla="*/ 1 w 241"/>
                <a:gd name="T57" fmla="*/ 21 h 30"/>
                <a:gd name="T58" fmla="*/ 3 w 241"/>
                <a:gd name="T59" fmla="*/ 23 h 30"/>
                <a:gd name="T60" fmla="*/ 4 w 241"/>
                <a:gd name="T61" fmla="*/ 26 h 30"/>
                <a:gd name="T62" fmla="*/ 8 w 241"/>
                <a:gd name="T63" fmla="*/ 27 h 30"/>
                <a:gd name="T64" fmla="*/ 10 w 241"/>
                <a:gd name="T65" fmla="*/ 29 h 30"/>
                <a:gd name="T66" fmla="*/ 13 w 241"/>
                <a:gd name="T67" fmla="*/ 29 h 30"/>
                <a:gd name="T68" fmla="*/ 15 w 241"/>
                <a:gd name="T69" fmla="*/ 30 h 30"/>
                <a:gd name="T70" fmla="*/ 15 w 241"/>
                <a:gd name="T71"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41" h="30">
                  <a:moveTo>
                    <a:pt x="15" y="30"/>
                  </a:moveTo>
                  <a:lnTo>
                    <a:pt x="226" y="30"/>
                  </a:lnTo>
                  <a:lnTo>
                    <a:pt x="230" y="29"/>
                  </a:lnTo>
                  <a:lnTo>
                    <a:pt x="232" y="29"/>
                  </a:lnTo>
                  <a:lnTo>
                    <a:pt x="235" y="27"/>
                  </a:lnTo>
                  <a:lnTo>
                    <a:pt x="237" y="26"/>
                  </a:lnTo>
                  <a:lnTo>
                    <a:pt x="239" y="23"/>
                  </a:lnTo>
                  <a:lnTo>
                    <a:pt x="240" y="21"/>
                  </a:lnTo>
                  <a:lnTo>
                    <a:pt x="241" y="18"/>
                  </a:lnTo>
                  <a:lnTo>
                    <a:pt x="241" y="15"/>
                  </a:lnTo>
                  <a:lnTo>
                    <a:pt x="241" y="12"/>
                  </a:lnTo>
                  <a:lnTo>
                    <a:pt x="240" y="9"/>
                  </a:lnTo>
                  <a:lnTo>
                    <a:pt x="239" y="7"/>
                  </a:lnTo>
                  <a:lnTo>
                    <a:pt x="237" y="5"/>
                  </a:lnTo>
                  <a:lnTo>
                    <a:pt x="235" y="3"/>
                  </a:lnTo>
                  <a:lnTo>
                    <a:pt x="232" y="1"/>
                  </a:lnTo>
                  <a:lnTo>
                    <a:pt x="230" y="0"/>
                  </a:lnTo>
                  <a:lnTo>
                    <a:pt x="226" y="0"/>
                  </a:lnTo>
                  <a:lnTo>
                    <a:pt x="15" y="0"/>
                  </a:lnTo>
                  <a:lnTo>
                    <a:pt x="13" y="0"/>
                  </a:lnTo>
                  <a:lnTo>
                    <a:pt x="10" y="1"/>
                  </a:lnTo>
                  <a:lnTo>
                    <a:pt x="8" y="3"/>
                  </a:lnTo>
                  <a:lnTo>
                    <a:pt x="4" y="5"/>
                  </a:lnTo>
                  <a:lnTo>
                    <a:pt x="3" y="7"/>
                  </a:lnTo>
                  <a:lnTo>
                    <a:pt x="1" y="9"/>
                  </a:lnTo>
                  <a:lnTo>
                    <a:pt x="1" y="12"/>
                  </a:lnTo>
                  <a:lnTo>
                    <a:pt x="0" y="15"/>
                  </a:lnTo>
                  <a:lnTo>
                    <a:pt x="1" y="18"/>
                  </a:lnTo>
                  <a:lnTo>
                    <a:pt x="1" y="21"/>
                  </a:lnTo>
                  <a:lnTo>
                    <a:pt x="3" y="23"/>
                  </a:lnTo>
                  <a:lnTo>
                    <a:pt x="4" y="26"/>
                  </a:lnTo>
                  <a:lnTo>
                    <a:pt x="8" y="27"/>
                  </a:lnTo>
                  <a:lnTo>
                    <a:pt x="10" y="29"/>
                  </a:lnTo>
                  <a:lnTo>
                    <a:pt x="13" y="29"/>
                  </a:lnTo>
                  <a:lnTo>
                    <a:pt x="15" y="30"/>
                  </a:lnTo>
                  <a:lnTo>
                    <a:pt x="15" y="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Freeform 277"/>
            <p:cNvSpPr>
              <a:spLocks/>
            </p:cNvSpPr>
            <p:nvPr/>
          </p:nvSpPr>
          <p:spPr bwMode="auto">
            <a:xfrm>
              <a:off x="7042151" y="2022475"/>
              <a:ext cx="76200" cy="9525"/>
            </a:xfrm>
            <a:custGeom>
              <a:avLst/>
              <a:gdLst>
                <a:gd name="T0" fmla="*/ 15 w 241"/>
                <a:gd name="T1" fmla="*/ 31 h 31"/>
                <a:gd name="T2" fmla="*/ 226 w 241"/>
                <a:gd name="T3" fmla="*/ 31 h 31"/>
                <a:gd name="T4" fmla="*/ 230 w 241"/>
                <a:gd name="T5" fmla="*/ 30 h 31"/>
                <a:gd name="T6" fmla="*/ 232 w 241"/>
                <a:gd name="T7" fmla="*/ 29 h 31"/>
                <a:gd name="T8" fmla="*/ 235 w 241"/>
                <a:gd name="T9" fmla="*/ 28 h 31"/>
                <a:gd name="T10" fmla="*/ 237 w 241"/>
                <a:gd name="T11" fmla="*/ 26 h 31"/>
                <a:gd name="T12" fmla="*/ 239 w 241"/>
                <a:gd name="T13" fmla="*/ 24 h 31"/>
                <a:gd name="T14" fmla="*/ 240 w 241"/>
                <a:gd name="T15" fmla="*/ 22 h 31"/>
                <a:gd name="T16" fmla="*/ 241 w 241"/>
                <a:gd name="T17" fmla="*/ 18 h 31"/>
                <a:gd name="T18" fmla="*/ 241 w 241"/>
                <a:gd name="T19" fmla="*/ 16 h 31"/>
                <a:gd name="T20" fmla="*/ 241 w 241"/>
                <a:gd name="T21" fmla="*/ 13 h 31"/>
                <a:gd name="T22" fmla="*/ 240 w 241"/>
                <a:gd name="T23" fmla="*/ 10 h 31"/>
                <a:gd name="T24" fmla="*/ 239 w 241"/>
                <a:gd name="T25" fmla="*/ 8 h 31"/>
                <a:gd name="T26" fmla="*/ 237 w 241"/>
                <a:gd name="T27" fmla="*/ 6 h 31"/>
                <a:gd name="T28" fmla="*/ 235 w 241"/>
                <a:gd name="T29" fmla="*/ 3 h 31"/>
                <a:gd name="T30" fmla="*/ 232 w 241"/>
                <a:gd name="T31" fmla="*/ 2 h 31"/>
                <a:gd name="T32" fmla="*/ 230 w 241"/>
                <a:gd name="T33" fmla="*/ 1 h 31"/>
                <a:gd name="T34" fmla="*/ 226 w 241"/>
                <a:gd name="T35" fmla="*/ 0 h 31"/>
                <a:gd name="T36" fmla="*/ 15 w 241"/>
                <a:gd name="T37" fmla="*/ 0 h 31"/>
                <a:gd name="T38" fmla="*/ 13 w 241"/>
                <a:gd name="T39" fmla="*/ 1 h 31"/>
                <a:gd name="T40" fmla="*/ 10 w 241"/>
                <a:gd name="T41" fmla="*/ 2 h 31"/>
                <a:gd name="T42" fmla="*/ 8 w 241"/>
                <a:gd name="T43" fmla="*/ 3 h 31"/>
                <a:gd name="T44" fmla="*/ 4 w 241"/>
                <a:gd name="T45" fmla="*/ 6 h 31"/>
                <a:gd name="T46" fmla="*/ 3 w 241"/>
                <a:gd name="T47" fmla="*/ 8 h 31"/>
                <a:gd name="T48" fmla="*/ 1 w 241"/>
                <a:gd name="T49" fmla="*/ 10 h 31"/>
                <a:gd name="T50" fmla="*/ 1 w 241"/>
                <a:gd name="T51" fmla="*/ 13 h 31"/>
                <a:gd name="T52" fmla="*/ 0 w 241"/>
                <a:gd name="T53" fmla="*/ 16 h 31"/>
                <a:gd name="T54" fmla="*/ 1 w 241"/>
                <a:gd name="T55" fmla="*/ 18 h 31"/>
                <a:gd name="T56" fmla="*/ 1 w 241"/>
                <a:gd name="T57" fmla="*/ 22 h 31"/>
                <a:gd name="T58" fmla="*/ 3 w 241"/>
                <a:gd name="T59" fmla="*/ 24 h 31"/>
                <a:gd name="T60" fmla="*/ 4 w 241"/>
                <a:gd name="T61" fmla="*/ 26 h 31"/>
                <a:gd name="T62" fmla="*/ 8 w 241"/>
                <a:gd name="T63" fmla="*/ 28 h 31"/>
                <a:gd name="T64" fmla="*/ 10 w 241"/>
                <a:gd name="T65" fmla="*/ 29 h 31"/>
                <a:gd name="T66" fmla="*/ 13 w 241"/>
                <a:gd name="T67" fmla="*/ 30 h 31"/>
                <a:gd name="T68" fmla="*/ 15 w 241"/>
                <a:gd name="T69"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41" h="31">
                  <a:moveTo>
                    <a:pt x="15" y="31"/>
                  </a:moveTo>
                  <a:lnTo>
                    <a:pt x="226" y="31"/>
                  </a:lnTo>
                  <a:lnTo>
                    <a:pt x="230" y="30"/>
                  </a:lnTo>
                  <a:lnTo>
                    <a:pt x="232" y="29"/>
                  </a:lnTo>
                  <a:lnTo>
                    <a:pt x="235" y="28"/>
                  </a:lnTo>
                  <a:lnTo>
                    <a:pt x="237" y="26"/>
                  </a:lnTo>
                  <a:lnTo>
                    <a:pt x="239" y="24"/>
                  </a:lnTo>
                  <a:lnTo>
                    <a:pt x="240" y="22"/>
                  </a:lnTo>
                  <a:lnTo>
                    <a:pt x="241" y="18"/>
                  </a:lnTo>
                  <a:lnTo>
                    <a:pt x="241" y="16"/>
                  </a:lnTo>
                  <a:lnTo>
                    <a:pt x="241" y="13"/>
                  </a:lnTo>
                  <a:lnTo>
                    <a:pt x="240" y="10"/>
                  </a:lnTo>
                  <a:lnTo>
                    <a:pt x="239" y="8"/>
                  </a:lnTo>
                  <a:lnTo>
                    <a:pt x="237" y="6"/>
                  </a:lnTo>
                  <a:lnTo>
                    <a:pt x="235" y="3"/>
                  </a:lnTo>
                  <a:lnTo>
                    <a:pt x="232" y="2"/>
                  </a:lnTo>
                  <a:lnTo>
                    <a:pt x="230" y="1"/>
                  </a:lnTo>
                  <a:lnTo>
                    <a:pt x="226" y="0"/>
                  </a:lnTo>
                  <a:lnTo>
                    <a:pt x="15" y="0"/>
                  </a:lnTo>
                  <a:lnTo>
                    <a:pt x="13" y="1"/>
                  </a:lnTo>
                  <a:lnTo>
                    <a:pt x="10" y="2"/>
                  </a:lnTo>
                  <a:lnTo>
                    <a:pt x="8" y="3"/>
                  </a:lnTo>
                  <a:lnTo>
                    <a:pt x="4" y="6"/>
                  </a:lnTo>
                  <a:lnTo>
                    <a:pt x="3" y="8"/>
                  </a:lnTo>
                  <a:lnTo>
                    <a:pt x="1" y="10"/>
                  </a:lnTo>
                  <a:lnTo>
                    <a:pt x="1" y="13"/>
                  </a:lnTo>
                  <a:lnTo>
                    <a:pt x="0" y="16"/>
                  </a:lnTo>
                  <a:lnTo>
                    <a:pt x="1" y="18"/>
                  </a:lnTo>
                  <a:lnTo>
                    <a:pt x="1" y="22"/>
                  </a:lnTo>
                  <a:lnTo>
                    <a:pt x="3" y="24"/>
                  </a:lnTo>
                  <a:lnTo>
                    <a:pt x="4" y="26"/>
                  </a:lnTo>
                  <a:lnTo>
                    <a:pt x="8" y="28"/>
                  </a:lnTo>
                  <a:lnTo>
                    <a:pt x="10" y="29"/>
                  </a:lnTo>
                  <a:lnTo>
                    <a:pt x="13" y="30"/>
                  </a:lnTo>
                  <a:lnTo>
                    <a:pt x="15"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Freeform 278"/>
            <p:cNvSpPr>
              <a:spLocks/>
            </p:cNvSpPr>
            <p:nvPr/>
          </p:nvSpPr>
          <p:spPr bwMode="auto">
            <a:xfrm>
              <a:off x="7042151" y="2060575"/>
              <a:ext cx="76200" cy="9525"/>
            </a:xfrm>
            <a:custGeom>
              <a:avLst/>
              <a:gdLst>
                <a:gd name="T0" fmla="*/ 15 w 241"/>
                <a:gd name="T1" fmla="*/ 31 h 31"/>
                <a:gd name="T2" fmla="*/ 226 w 241"/>
                <a:gd name="T3" fmla="*/ 31 h 31"/>
                <a:gd name="T4" fmla="*/ 230 w 241"/>
                <a:gd name="T5" fmla="*/ 31 h 31"/>
                <a:gd name="T6" fmla="*/ 232 w 241"/>
                <a:gd name="T7" fmla="*/ 29 h 31"/>
                <a:gd name="T8" fmla="*/ 235 w 241"/>
                <a:gd name="T9" fmla="*/ 27 h 31"/>
                <a:gd name="T10" fmla="*/ 237 w 241"/>
                <a:gd name="T11" fmla="*/ 26 h 31"/>
                <a:gd name="T12" fmla="*/ 239 w 241"/>
                <a:gd name="T13" fmla="*/ 24 h 31"/>
                <a:gd name="T14" fmla="*/ 240 w 241"/>
                <a:gd name="T15" fmla="*/ 21 h 31"/>
                <a:gd name="T16" fmla="*/ 241 w 241"/>
                <a:gd name="T17" fmla="*/ 19 h 31"/>
                <a:gd name="T18" fmla="*/ 241 w 241"/>
                <a:gd name="T19" fmla="*/ 16 h 31"/>
                <a:gd name="T20" fmla="*/ 241 w 241"/>
                <a:gd name="T21" fmla="*/ 12 h 31"/>
                <a:gd name="T22" fmla="*/ 240 w 241"/>
                <a:gd name="T23" fmla="*/ 9 h 31"/>
                <a:gd name="T24" fmla="*/ 239 w 241"/>
                <a:gd name="T25" fmla="*/ 7 h 31"/>
                <a:gd name="T26" fmla="*/ 237 w 241"/>
                <a:gd name="T27" fmla="*/ 5 h 31"/>
                <a:gd name="T28" fmla="*/ 235 w 241"/>
                <a:gd name="T29" fmla="*/ 3 h 31"/>
                <a:gd name="T30" fmla="*/ 232 w 241"/>
                <a:gd name="T31" fmla="*/ 2 h 31"/>
                <a:gd name="T32" fmla="*/ 230 w 241"/>
                <a:gd name="T33" fmla="*/ 0 h 31"/>
                <a:gd name="T34" fmla="*/ 226 w 241"/>
                <a:gd name="T35" fmla="*/ 0 h 31"/>
                <a:gd name="T36" fmla="*/ 15 w 241"/>
                <a:gd name="T37" fmla="*/ 0 h 31"/>
                <a:gd name="T38" fmla="*/ 13 w 241"/>
                <a:gd name="T39" fmla="*/ 0 h 31"/>
                <a:gd name="T40" fmla="*/ 10 w 241"/>
                <a:gd name="T41" fmla="*/ 2 h 31"/>
                <a:gd name="T42" fmla="*/ 8 w 241"/>
                <a:gd name="T43" fmla="*/ 3 h 31"/>
                <a:gd name="T44" fmla="*/ 4 w 241"/>
                <a:gd name="T45" fmla="*/ 5 h 31"/>
                <a:gd name="T46" fmla="*/ 3 w 241"/>
                <a:gd name="T47" fmla="*/ 7 h 31"/>
                <a:gd name="T48" fmla="*/ 1 w 241"/>
                <a:gd name="T49" fmla="*/ 9 h 31"/>
                <a:gd name="T50" fmla="*/ 1 w 241"/>
                <a:gd name="T51" fmla="*/ 12 h 31"/>
                <a:gd name="T52" fmla="*/ 0 w 241"/>
                <a:gd name="T53" fmla="*/ 16 h 31"/>
                <a:gd name="T54" fmla="*/ 1 w 241"/>
                <a:gd name="T55" fmla="*/ 19 h 31"/>
                <a:gd name="T56" fmla="*/ 1 w 241"/>
                <a:gd name="T57" fmla="*/ 21 h 31"/>
                <a:gd name="T58" fmla="*/ 3 w 241"/>
                <a:gd name="T59" fmla="*/ 24 h 31"/>
                <a:gd name="T60" fmla="*/ 4 w 241"/>
                <a:gd name="T61" fmla="*/ 26 h 31"/>
                <a:gd name="T62" fmla="*/ 8 w 241"/>
                <a:gd name="T63" fmla="*/ 27 h 31"/>
                <a:gd name="T64" fmla="*/ 10 w 241"/>
                <a:gd name="T65" fmla="*/ 29 h 31"/>
                <a:gd name="T66" fmla="*/ 13 w 241"/>
                <a:gd name="T67" fmla="*/ 31 h 31"/>
                <a:gd name="T68" fmla="*/ 15 w 241"/>
                <a:gd name="T69"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41" h="31">
                  <a:moveTo>
                    <a:pt x="15" y="31"/>
                  </a:moveTo>
                  <a:lnTo>
                    <a:pt x="226" y="31"/>
                  </a:lnTo>
                  <a:lnTo>
                    <a:pt x="230" y="31"/>
                  </a:lnTo>
                  <a:lnTo>
                    <a:pt x="232" y="29"/>
                  </a:lnTo>
                  <a:lnTo>
                    <a:pt x="235" y="27"/>
                  </a:lnTo>
                  <a:lnTo>
                    <a:pt x="237" y="26"/>
                  </a:lnTo>
                  <a:lnTo>
                    <a:pt x="239" y="24"/>
                  </a:lnTo>
                  <a:lnTo>
                    <a:pt x="240" y="21"/>
                  </a:lnTo>
                  <a:lnTo>
                    <a:pt x="241" y="19"/>
                  </a:lnTo>
                  <a:lnTo>
                    <a:pt x="241" y="16"/>
                  </a:lnTo>
                  <a:lnTo>
                    <a:pt x="241" y="12"/>
                  </a:lnTo>
                  <a:lnTo>
                    <a:pt x="240" y="9"/>
                  </a:lnTo>
                  <a:lnTo>
                    <a:pt x="239" y="7"/>
                  </a:lnTo>
                  <a:lnTo>
                    <a:pt x="237" y="5"/>
                  </a:lnTo>
                  <a:lnTo>
                    <a:pt x="235" y="3"/>
                  </a:lnTo>
                  <a:lnTo>
                    <a:pt x="232" y="2"/>
                  </a:lnTo>
                  <a:lnTo>
                    <a:pt x="230" y="0"/>
                  </a:lnTo>
                  <a:lnTo>
                    <a:pt x="226" y="0"/>
                  </a:lnTo>
                  <a:lnTo>
                    <a:pt x="15" y="0"/>
                  </a:lnTo>
                  <a:lnTo>
                    <a:pt x="13" y="0"/>
                  </a:lnTo>
                  <a:lnTo>
                    <a:pt x="10" y="2"/>
                  </a:lnTo>
                  <a:lnTo>
                    <a:pt x="8" y="3"/>
                  </a:lnTo>
                  <a:lnTo>
                    <a:pt x="4" y="5"/>
                  </a:lnTo>
                  <a:lnTo>
                    <a:pt x="3" y="7"/>
                  </a:lnTo>
                  <a:lnTo>
                    <a:pt x="1" y="9"/>
                  </a:lnTo>
                  <a:lnTo>
                    <a:pt x="1" y="12"/>
                  </a:lnTo>
                  <a:lnTo>
                    <a:pt x="0" y="16"/>
                  </a:lnTo>
                  <a:lnTo>
                    <a:pt x="1" y="19"/>
                  </a:lnTo>
                  <a:lnTo>
                    <a:pt x="1" y="21"/>
                  </a:lnTo>
                  <a:lnTo>
                    <a:pt x="3" y="24"/>
                  </a:lnTo>
                  <a:lnTo>
                    <a:pt x="4" y="26"/>
                  </a:lnTo>
                  <a:lnTo>
                    <a:pt x="8" y="27"/>
                  </a:lnTo>
                  <a:lnTo>
                    <a:pt x="10" y="29"/>
                  </a:lnTo>
                  <a:lnTo>
                    <a:pt x="13" y="31"/>
                  </a:lnTo>
                  <a:lnTo>
                    <a:pt x="15"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Freeform 279"/>
            <p:cNvSpPr>
              <a:spLocks/>
            </p:cNvSpPr>
            <p:nvPr/>
          </p:nvSpPr>
          <p:spPr bwMode="auto">
            <a:xfrm>
              <a:off x="7042151" y="2079625"/>
              <a:ext cx="76200" cy="9525"/>
            </a:xfrm>
            <a:custGeom>
              <a:avLst/>
              <a:gdLst>
                <a:gd name="T0" fmla="*/ 15 w 241"/>
                <a:gd name="T1" fmla="*/ 30 h 30"/>
                <a:gd name="T2" fmla="*/ 226 w 241"/>
                <a:gd name="T3" fmla="*/ 30 h 30"/>
                <a:gd name="T4" fmla="*/ 230 w 241"/>
                <a:gd name="T5" fmla="*/ 30 h 30"/>
                <a:gd name="T6" fmla="*/ 232 w 241"/>
                <a:gd name="T7" fmla="*/ 29 h 30"/>
                <a:gd name="T8" fmla="*/ 235 w 241"/>
                <a:gd name="T9" fmla="*/ 27 h 30"/>
                <a:gd name="T10" fmla="*/ 237 w 241"/>
                <a:gd name="T11" fmla="*/ 25 h 30"/>
                <a:gd name="T12" fmla="*/ 239 w 241"/>
                <a:gd name="T13" fmla="*/ 23 h 30"/>
                <a:gd name="T14" fmla="*/ 240 w 241"/>
                <a:gd name="T15" fmla="*/ 20 h 30"/>
                <a:gd name="T16" fmla="*/ 241 w 241"/>
                <a:gd name="T17" fmla="*/ 18 h 30"/>
                <a:gd name="T18" fmla="*/ 241 w 241"/>
                <a:gd name="T19" fmla="*/ 15 h 30"/>
                <a:gd name="T20" fmla="*/ 241 w 241"/>
                <a:gd name="T21" fmla="*/ 11 h 30"/>
                <a:gd name="T22" fmla="*/ 240 w 241"/>
                <a:gd name="T23" fmla="*/ 8 h 30"/>
                <a:gd name="T24" fmla="*/ 239 w 241"/>
                <a:gd name="T25" fmla="*/ 6 h 30"/>
                <a:gd name="T26" fmla="*/ 237 w 241"/>
                <a:gd name="T27" fmla="*/ 4 h 30"/>
                <a:gd name="T28" fmla="*/ 235 w 241"/>
                <a:gd name="T29" fmla="*/ 2 h 30"/>
                <a:gd name="T30" fmla="*/ 232 w 241"/>
                <a:gd name="T31" fmla="*/ 1 h 30"/>
                <a:gd name="T32" fmla="*/ 230 w 241"/>
                <a:gd name="T33" fmla="*/ 0 h 30"/>
                <a:gd name="T34" fmla="*/ 226 w 241"/>
                <a:gd name="T35" fmla="*/ 0 h 30"/>
                <a:gd name="T36" fmla="*/ 15 w 241"/>
                <a:gd name="T37" fmla="*/ 0 h 30"/>
                <a:gd name="T38" fmla="*/ 13 w 241"/>
                <a:gd name="T39" fmla="*/ 0 h 30"/>
                <a:gd name="T40" fmla="*/ 10 w 241"/>
                <a:gd name="T41" fmla="*/ 1 h 30"/>
                <a:gd name="T42" fmla="*/ 8 w 241"/>
                <a:gd name="T43" fmla="*/ 2 h 30"/>
                <a:gd name="T44" fmla="*/ 4 w 241"/>
                <a:gd name="T45" fmla="*/ 4 h 30"/>
                <a:gd name="T46" fmla="*/ 3 w 241"/>
                <a:gd name="T47" fmla="*/ 6 h 30"/>
                <a:gd name="T48" fmla="*/ 1 w 241"/>
                <a:gd name="T49" fmla="*/ 8 h 30"/>
                <a:gd name="T50" fmla="*/ 1 w 241"/>
                <a:gd name="T51" fmla="*/ 11 h 30"/>
                <a:gd name="T52" fmla="*/ 0 w 241"/>
                <a:gd name="T53" fmla="*/ 15 h 30"/>
                <a:gd name="T54" fmla="*/ 1 w 241"/>
                <a:gd name="T55" fmla="*/ 18 h 30"/>
                <a:gd name="T56" fmla="*/ 1 w 241"/>
                <a:gd name="T57" fmla="*/ 20 h 30"/>
                <a:gd name="T58" fmla="*/ 3 w 241"/>
                <a:gd name="T59" fmla="*/ 23 h 30"/>
                <a:gd name="T60" fmla="*/ 4 w 241"/>
                <a:gd name="T61" fmla="*/ 25 h 30"/>
                <a:gd name="T62" fmla="*/ 8 w 241"/>
                <a:gd name="T63" fmla="*/ 27 h 30"/>
                <a:gd name="T64" fmla="*/ 10 w 241"/>
                <a:gd name="T65" fmla="*/ 29 h 30"/>
                <a:gd name="T66" fmla="*/ 13 w 241"/>
                <a:gd name="T67" fmla="*/ 30 h 30"/>
                <a:gd name="T68" fmla="*/ 15 w 241"/>
                <a:gd name="T69" fmla="*/ 30 h 30"/>
                <a:gd name="T70" fmla="*/ 15 w 241"/>
                <a:gd name="T71"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41" h="30">
                  <a:moveTo>
                    <a:pt x="15" y="30"/>
                  </a:moveTo>
                  <a:lnTo>
                    <a:pt x="226" y="30"/>
                  </a:lnTo>
                  <a:lnTo>
                    <a:pt x="230" y="30"/>
                  </a:lnTo>
                  <a:lnTo>
                    <a:pt x="232" y="29"/>
                  </a:lnTo>
                  <a:lnTo>
                    <a:pt x="235" y="27"/>
                  </a:lnTo>
                  <a:lnTo>
                    <a:pt x="237" y="25"/>
                  </a:lnTo>
                  <a:lnTo>
                    <a:pt x="239" y="23"/>
                  </a:lnTo>
                  <a:lnTo>
                    <a:pt x="240" y="20"/>
                  </a:lnTo>
                  <a:lnTo>
                    <a:pt x="241" y="18"/>
                  </a:lnTo>
                  <a:lnTo>
                    <a:pt x="241" y="15"/>
                  </a:lnTo>
                  <a:lnTo>
                    <a:pt x="241" y="11"/>
                  </a:lnTo>
                  <a:lnTo>
                    <a:pt x="240" y="8"/>
                  </a:lnTo>
                  <a:lnTo>
                    <a:pt x="239" y="6"/>
                  </a:lnTo>
                  <a:lnTo>
                    <a:pt x="237" y="4"/>
                  </a:lnTo>
                  <a:lnTo>
                    <a:pt x="235" y="2"/>
                  </a:lnTo>
                  <a:lnTo>
                    <a:pt x="232" y="1"/>
                  </a:lnTo>
                  <a:lnTo>
                    <a:pt x="230" y="0"/>
                  </a:lnTo>
                  <a:lnTo>
                    <a:pt x="226" y="0"/>
                  </a:lnTo>
                  <a:lnTo>
                    <a:pt x="15" y="0"/>
                  </a:lnTo>
                  <a:lnTo>
                    <a:pt x="13" y="0"/>
                  </a:lnTo>
                  <a:lnTo>
                    <a:pt x="10" y="1"/>
                  </a:lnTo>
                  <a:lnTo>
                    <a:pt x="8" y="2"/>
                  </a:lnTo>
                  <a:lnTo>
                    <a:pt x="4" y="4"/>
                  </a:lnTo>
                  <a:lnTo>
                    <a:pt x="3" y="6"/>
                  </a:lnTo>
                  <a:lnTo>
                    <a:pt x="1" y="8"/>
                  </a:lnTo>
                  <a:lnTo>
                    <a:pt x="1" y="11"/>
                  </a:lnTo>
                  <a:lnTo>
                    <a:pt x="0" y="15"/>
                  </a:lnTo>
                  <a:lnTo>
                    <a:pt x="1" y="18"/>
                  </a:lnTo>
                  <a:lnTo>
                    <a:pt x="1" y="20"/>
                  </a:lnTo>
                  <a:lnTo>
                    <a:pt x="3" y="23"/>
                  </a:lnTo>
                  <a:lnTo>
                    <a:pt x="4" y="25"/>
                  </a:lnTo>
                  <a:lnTo>
                    <a:pt x="8" y="27"/>
                  </a:lnTo>
                  <a:lnTo>
                    <a:pt x="10" y="29"/>
                  </a:lnTo>
                  <a:lnTo>
                    <a:pt x="13" y="30"/>
                  </a:lnTo>
                  <a:lnTo>
                    <a:pt x="15" y="30"/>
                  </a:lnTo>
                  <a:lnTo>
                    <a:pt x="15" y="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Freeform 280"/>
            <p:cNvSpPr>
              <a:spLocks/>
            </p:cNvSpPr>
            <p:nvPr/>
          </p:nvSpPr>
          <p:spPr bwMode="auto">
            <a:xfrm>
              <a:off x="7042151" y="2098675"/>
              <a:ext cx="76200" cy="9525"/>
            </a:xfrm>
            <a:custGeom>
              <a:avLst/>
              <a:gdLst>
                <a:gd name="T0" fmla="*/ 15 w 241"/>
                <a:gd name="T1" fmla="*/ 30 h 30"/>
                <a:gd name="T2" fmla="*/ 226 w 241"/>
                <a:gd name="T3" fmla="*/ 30 h 30"/>
                <a:gd name="T4" fmla="*/ 230 w 241"/>
                <a:gd name="T5" fmla="*/ 30 h 30"/>
                <a:gd name="T6" fmla="*/ 232 w 241"/>
                <a:gd name="T7" fmla="*/ 29 h 30"/>
                <a:gd name="T8" fmla="*/ 235 w 241"/>
                <a:gd name="T9" fmla="*/ 28 h 30"/>
                <a:gd name="T10" fmla="*/ 237 w 241"/>
                <a:gd name="T11" fmla="*/ 25 h 30"/>
                <a:gd name="T12" fmla="*/ 239 w 241"/>
                <a:gd name="T13" fmla="*/ 23 h 30"/>
                <a:gd name="T14" fmla="*/ 240 w 241"/>
                <a:gd name="T15" fmla="*/ 21 h 30"/>
                <a:gd name="T16" fmla="*/ 241 w 241"/>
                <a:gd name="T17" fmla="*/ 18 h 30"/>
                <a:gd name="T18" fmla="*/ 241 w 241"/>
                <a:gd name="T19" fmla="*/ 15 h 30"/>
                <a:gd name="T20" fmla="*/ 241 w 241"/>
                <a:gd name="T21" fmla="*/ 11 h 30"/>
                <a:gd name="T22" fmla="*/ 240 w 241"/>
                <a:gd name="T23" fmla="*/ 9 h 30"/>
                <a:gd name="T24" fmla="*/ 239 w 241"/>
                <a:gd name="T25" fmla="*/ 6 h 30"/>
                <a:gd name="T26" fmla="*/ 237 w 241"/>
                <a:gd name="T27" fmla="*/ 4 h 30"/>
                <a:gd name="T28" fmla="*/ 235 w 241"/>
                <a:gd name="T29" fmla="*/ 2 h 30"/>
                <a:gd name="T30" fmla="*/ 232 w 241"/>
                <a:gd name="T31" fmla="*/ 1 h 30"/>
                <a:gd name="T32" fmla="*/ 230 w 241"/>
                <a:gd name="T33" fmla="*/ 0 h 30"/>
                <a:gd name="T34" fmla="*/ 226 w 241"/>
                <a:gd name="T35" fmla="*/ 0 h 30"/>
                <a:gd name="T36" fmla="*/ 15 w 241"/>
                <a:gd name="T37" fmla="*/ 0 h 30"/>
                <a:gd name="T38" fmla="*/ 13 w 241"/>
                <a:gd name="T39" fmla="*/ 0 h 30"/>
                <a:gd name="T40" fmla="*/ 10 w 241"/>
                <a:gd name="T41" fmla="*/ 1 h 30"/>
                <a:gd name="T42" fmla="*/ 8 w 241"/>
                <a:gd name="T43" fmla="*/ 2 h 30"/>
                <a:gd name="T44" fmla="*/ 4 w 241"/>
                <a:gd name="T45" fmla="*/ 4 h 30"/>
                <a:gd name="T46" fmla="*/ 3 w 241"/>
                <a:gd name="T47" fmla="*/ 6 h 30"/>
                <a:gd name="T48" fmla="*/ 1 w 241"/>
                <a:gd name="T49" fmla="*/ 9 h 30"/>
                <a:gd name="T50" fmla="*/ 1 w 241"/>
                <a:gd name="T51" fmla="*/ 11 h 30"/>
                <a:gd name="T52" fmla="*/ 0 w 241"/>
                <a:gd name="T53" fmla="*/ 15 h 30"/>
                <a:gd name="T54" fmla="*/ 1 w 241"/>
                <a:gd name="T55" fmla="*/ 18 h 30"/>
                <a:gd name="T56" fmla="*/ 1 w 241"/>
                <a:gd name="T57" fmla="*/ 21 h 30"/>
                <a:gd name="T58" fmla="*/ 3 w 241"/>
                <a:gd name="T59" fmla="*/ 23 h 30"/>
                <a:gd name="T60" fmla="*/ 4 w 241"/>
                <a:gd name="T61" fmla="*/ 25 h 30"/>
                <a:gd name="T62" fmla="*/ 8 w 241"/>
                <a:gd name="T63" fmla="*/ 28 h 30"/>
                <a:gd name="T64" fmla="*/ 10 w 241"/>
                <a:gd name="T65" fmla="*/ 29 h 30"/>
                <a:gd name="T66" fmla="*/ 13 w 241"/>
                <a:gd name="T67" fmla="*/ 30 h 30"/>
                <a:gd name="T68" fmla="*/ 15 w 241"/>
                <a:gd name="T69"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41" h="30">
                  <a:moveTo>
                    <a:pt x="15" y="30"/>
                  </a:moveTo>
                  <a:lnTo>
                    <a:pt x="226" y="30"/>
                  </a:lnTo>
                  <a:lnTo>
                    <a:pt x="230" y="30"/>
                  </a:lnTo>
                  <a:lnTo>
                    <a:pt x="232" y="29"/>
                  </a:lnTo>
                  <a:lnTo>
                    <a:pt x="235" y="28"/>
                  </a:lnTo>
                  <a:lnTo>
                    <a:pt x="237" y="25"/>
                  </a:lnTo>
                  <a:lnTo>
                    <a:pt x="239" y="23"/>
                  </a:lnTo>
                  <a:lnTo>
                    <a:pt x="240" y="21"/>
                  </a:lnTo>
                  <a:lnTo>
                    <a:pt x="241" y="18"/>
                  </a:lnTo>
                  <a:lnTo>
                    <a:pt x="241" y="15"/>
                  </a:lnTo>
                  <a:lnTo>
                    <a:pt x="241" y="11"/>
                  </a:lnTo>
                  <a:lnTo>
                    <a:pt x="240" y="9"/>
                  </a:lnTo>
                  <a:lnTo>
                    <a:pt x="239" y="6"/>
                  </a:lnTo>
                  <a:lnTo>
                    <a:pt x="237" y="4"/>
                  </a:lnTo>
                  <a:lnTo>
                    <a:pt x="235" y="2"/>
                  </a:lnTo>
                  <a:lnTo>
                    <a:pt x="232" y="1"/>
                  </a:lnTo>
                  <a:lnTo>
                    <a:pt x="230" y="0"/>
                  </a:lnTo>
                  <a:lnTo>
                    <a:pt x="226" y="0"/>
                  </a:lnTo>
                  <a:lnTo>
                    <a:pt x="15" y="0"/>
                  </a:lnTo>
                  <a:lnTo>
                    <a:pt x="13" y="0"/>
                  </a:lnTo>
                  <a:lnTo>
                    <a:pt x="10" y="1"/>
                  </a:lnTo>
                  <a:lnTo>
                    <a:pt x="8" y="2"/>
                  </a:lnTo>
                  <a:lnTo>
                    <a:pt x="4" y="4"/>
                  </a:lnTo>
                  <a:lnTo>
                    <a:pt x="3" y="6"/>
                  </a:lnTo>
                  <a:lnTo>
                    <a:pt x="1" y="9"/>
                  </a:lnTo>
                  <a:lnTo>
                    <a:pt x="1" y="11"/>
                  </a:lnTo>
                  <a:lnTo>
                    <a:pt x="0" y="15"/>
                  </a:lnTo>
                  <a:lnTo>
                    <a:pt x="1" y="18"/>
                  </a:lnTo>
                  <a:lnTo>
                    <a:pt x="1" y="21"/>
                  </a:lnTo>
                  <a:lnTo>
                    <a:pt x="3" y="23"/>
                  </a:lnTo>
                  <a:lnTo>
                    <a:pt x="4" y="25"/>
                  </a:lnTo>
                  <a:lnTo>
                    <a:pt x="8" y="28"/>
                  </a:lnTo>
                  <a:lnTo>
                    <a:pt x="10" y="29"/>
                  </a:lnTo>
                  <a:lnTo>
                    <a:pt x="13" y="30"/>
                  </a:lnTo>
                  <a:lnTo>
                    <a:pt x="15" y="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Freeform 281"/>
            <p:cNvSpPr>
              <a:spLocks/>
            </p:cNvSpPr>
            <p:nvPr/>
          </p:nvSpPr>
          <p:spPr bwMode="auto">
            <a:xfrm>
              <a:off x="7042151" y="2117725"/>
              <a:ext cx="76200" cy="9525"/>
            </a:xfrm>
            <a:custGeom>
              <a:avLst/>
              <a:gdLst>
                <a:gd name="T0" fmla="*/ 15 w 241"/>
                <a:gd name="T1" fmla="*/ 30 h 30"/>
                <a:gd name="T2" fmla="*/ 226 w 241"/>
                <a:gd name="T3" fmla="*/ 30 h 30"/>
                <a:gd name="T4" fmla="*/ 230 w 241"/>
                <a:gd name="T5" fmla="*/ 30 h 30"/>
                <a:gd name="T6" fmla="*/ 232 w 241"/>
                <a:gd name="T7" fmla="*/ 29 h 30"/>
                <a:gd name="T8" fmla="*/ 235 w 241"/>
                <a:gd name="T9" fmla="*/ 28 h 30"/>
                <a:gd name="T10" fmla="*/ 237 w 241"/>
                <a:gd name="T11" fmla="*/ 25 h 30"/>
                <a:gd name="T12" fmla="*/ 239 w 241"/>
                <a:gd name="T13" fmla="*/ 23 h 30"/>
                <a:gd name="T14" fmla="*/ 240 w 241"/>
                <a:gd name="T15" fmla="*/ 21 h 30"/>
                <a:gd name="T16" fmla="*/ 241 w 241"/>
                <a:gd name="T17" fmla="*/ 18 h 30"/>
                <a:gd name="T18" fmla="*/ 241 w 241"/>
                <a:gd name="T19" fmla="*/ 15 h 30"/>
                <a:gd name="T20" fmla="*/ 241 w 241"/>
                <a:gd name="T21" fmla="*/ 12 h 30"/>
                <a:gd name="T22" fmla="*/ 240 w 241"/>
                <a:gd name="T23" fmla="*/ 9 h 30"/>
                <a:gd name="T24" fmla="*/ 239 w 241"/>
                <a:gd name="T25" fmla="*/ 6 h 30"/>
                <a:gd name="T26" fmla="*/ 237 w 241"/>
                <a:gd name="T27" fmla="*/ 4 h 30"/>
                <a:gd name="T28" fmla="*/ 235 w 241"/>
                <a:gd name="T29" fmla="*/ 3 h 30"/>
                <a:gd name="T30" fmla="*/ 232 w 241"/>
                <a:gd name="T31" fmla="*/ 1 h 30"/>
                <a:gd name="T32" fmla="*/ 230 w 241"/>
                <a:gd name="T33" fmla="*/ 0 h 30"/>
                <a:gd name="T34" fmla="*/ 226 w 241"/>
                <a:gd name="T35" fmla="*/ 0 h 30"/>
                <a:gd name="T36" fmla="*/ 15 w 241"/>
                <a:gd name="T37" fmla="*/ 0 h 30"/>
                <a:gd name="T38" fmla="*/ 13 w 241"/>
                <a:gd name="T39" fmla="*/ 0 h 30"/>
                <a:gd name="T40" fmla="*/ 10 w 241"/>
                <a:gd name="T41" fmla="*/ 1 h 30"/>
                <a:gd name="T42" fmla="*/ 8 w 241"/>
                <a:gd name="T43" fmla="*/ 3 h 30"/>
                <a:gd name="T44" fmla="*/ 4 w 241"/>
                <a:gd name="T45" fmla="*/ 4 h 30"/>
                <a:gd name="T46" fmla="*/ 3 w 241"/>
                <a:gd name="T47" fmla="*/ 6 h 30"/>
                <a:gd name="T48" fmla="*/ 1 w 241"/>
                <a:gd name="T49" fmla="*/ 9 h 30"/>
                <a:gd name="T50" fmla="*/ 1 w 241"/>
                <a:gd name="T51" fmla="*/ 12 h 30"/>
                <a:gd name="T52" fmla="*/ 0 w 241"/>
                <a:gd name="T53" fmla="*/ 15 h 30"/>
                <a:gd name="T54" fmla="*/ 1 w 241"/>
                <a:gd name="T55" fmla="*/ 18 h 30"/>
                <a:gd name="T56" fmla="*/ 1 w 241"/>
                <a:gd name="T57" fmla="*/ 21 h 30"/>
                <a:gd name="T58" fmla="*/ 3 w 241"/>
                <a:gd name="T59" fmla="*/ 23 h 30"/>
                <a:gd name="T60" fmla="*/ 4 w 241"/>
                <a:gd name="T61" fmla="*/ 25 h 30"/>
                <a:gd name="T62" fmla="*/ 8 w 241"/>
                <a:gd name="T63" fmla="*/ 28 h 30"/>
                <a:gd name="T64" fmla="*/ 10 w 241"/>
                <a:gd name="T65" fmla="*/ 29 h 30"/>
                <a:gd name="T66" fmla="*/ 13 w 241"/>
                <a:gd name="T67" fmla="*/ 30 h 30"/>
                <a:gd name="T68" fmla="*/ 15 w 241"/>
                <a:gd name="T69" fmla="*/ 30 h 30"/>
                <a:gd name="T70" fmla="*/ 15 w 241"/>
                <a:gd name="T71"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41" h="30">
                  <a:moveTo>
                    <a:pt x="15" y="30"/>
                  </a:moveTo>
                  <a:lnTo>
                    <a:pt x="226" y="30"/>
                  </a:lnTo>
                  <a:lnTo>
                    <a:pt x="230" y="30"/>
                  </a:lnTo>
                  <a:lnTo>
                    <a:pt x="232" y="29"/>
                  </a:lnTo>
                  <a:lnTo>
                    <a:pt x="235" y="28"/>
                  </a:lnTo>
                  <a:lnTo>
                    <a:pt x="237" y="25"/>
                  </a:lnTo>
                  <a:lnTo>
                    <a:pt x="239" y="23"/>
                  </a:lnTo>
                  <a:lnTo>
                    <a:pt x="240" y="21"/>
                  </a:lnTo>
                  <a:lnTo>
                    <a:pt x="241" y="18"/>
                  </a:lnTo>
                  <a:lnTo>
                    <a:pt x="241" y="15"/>
                  </a:lnTo>
                  <a:lnTo>
                    <a:pt x="241" y="12"/>
                  </a:lnTo>
                  <a:lnTo>
                    <a:pt x="240" y="9"/>
                  </a:lnTo>
                  <a:lnTo>
                    <a:pt x="239" y="6"/>
                  </a:lnTo>
                  <a:lnTo>
                    <a:pt x="237" y="4"/>
                  </a:lnTo>
                  <a:lnTo>
                    <a:pt x="235" y="3"/>
                  </a:lnTo>
                  <a:lnTo>
                    <a:pt x="232" y="1"/>
                  </a:lnTo>
                  <a:lnTo>
                    <a:pt x="230" y="0"/>
                  </a:lnTo>
                  <a:lnTo>
                    <a:pt x="226" y="0"/>
                  </a:lnTo>
                  <a:lnTo>
                    <a:pt x="15" y="0"/>
                  </a:lnTo>
                  <a:lnTo>
                    <a:pt x="13" y="0"/>
                  </a:lnTo>
                  <a:lnTo>
                    <a:pt x="10" y="1"/>
                  </a:lnTo>
                  <a:lnTo>
                    <a:pt x="8" y="3"/>
                  </a:lnTo>
                  <a:lnTo>
                    <a:pt x="4" y="4"/>
                  </a:lnTo>
                  <a:lnTo>
                    <a:pt x="3" y="6"/>
                  </a:lnTo>
                  <a:lnTo>
                    <a:pt x="1" y="9"/>
                  </a:lnTo>
                  <a:lnTo>
                    <a:pt x="1" y="12"/>
                  </a:lnTo>
                  <a:lnTo>
                    <a:pt x="0" y="15"/>
                  </a:lnTo>
                  <a:lnTo>
                    <a:pt x="1" y="18"/>
                  </a:lnTo>
                  <a:lnTo>
                    <a:pt x="1" y="21"/>
                  </a:lnTo>
                  <a:lnTo>
                    <a:pt x="3" y="23"/>
                  </a:lnTo>
                  <a:lnTo>
                    <a:pt x="4" y="25"/>
                  </a:lnTo>
                  <a:lnTo>
                    <a:pt x="8" y="28"/>
                  </a:lnTo>
                  <a:lnTo>
                    <a:pt x="10" y="29"/>
                  </a:lnTo>
                  <a:lnTo>
                    <a:pt x="13" y="30"/>
                  </a:lnTo>
                  <a:lnTo>
                    <a:pt x="15" y="30"/>
                  </a:lnTo>
                  <a:lnTo>
                    <a:pt x="15" y="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8" name="Freeform 282"/>
            <p:cNvSpPr>
              <a:spLocks/>
            </p:cNvSpPr>
            <p:nvPr/>
          </p:nvSpPr>
          <p:spPr bwMode="auto">
            <a:xfrm>
              <a:off x="7042151" y="2136775"/>
              <a:ext cx="76200" cy="9525"/>
            </a:xfrm>
            <a:custGeom>
              <a:avLst/>
              <a:gdLst>
                <a:gd name="T0" fmla="*/ 226 w 241"/>
                <a:gd name="T1" fmla="*/ 30 h 30"/>
                <a:gd name="T2" fmla="*/ 230 w 241"/>
                <a:gd name="T3" fmla="*/ 30 h 30"/>
                <a:gd name="T4" fmla="*/ 232 w 241"/>
                <a:gd name="T5" fmla="*/ 29 h 30"/>
                <a:gd name="T6" fmla="*/ 235 w 241"/>
                <a:gd name="T7" fmla="*/ 28 h 30"/>
                <a:gd name="T8" fmla="*/ 237 w 241"/>
                <a:gd name="T9" fmla="*/ 26 h 30"/>
                <a:gd name="T10" fmla="*/ 239 w 241"/>
                <a:gd name="T11" fmla="*/ 23 h 30"/>
                <a:gd name="T12" fmla="*/ 240 w 241"/>
                <a:gd name="T13" fmla="*/ 21 h 30"/>
                <a:gd name="T14" fmla="*/ 241 w 241"/>
                <a:gd name="T15" fmla="*/ 18 h 30"/>
                <a:gd name="T16" fmla="*/ 241 w 241"/>
                <a:gd name="T17" fmla="*/ 15 h 30"/>
                <a:gd name="T18" fmla="*/ 241 w 241"/>
                <a:gd name="T19" fmla="*/ 13 h 30"/>
                <a:gd name="T20" fmla="*/ 240 w 241"/>
                <a:gd name="T21" fmla="*/ 9 h 30"/>
                <a:gd name="T22" fmla="*/ 239 w 241"/>
                <a:gd name="T23" fmla="*/ 6 h 30"/>
                <a:gd name="T24" fmla="*/ 237 w 241"/>
                <a:gd name="T25" fmla="*/ 4 h 30"/>
                <a:gd name="T26" fmla="*/ 235 w 241"/>
                <a:gd name="T27" fmla="*/ 3 h 30"/>
                <a:gd name="T28" fmla="*/ 232 w 241"/>
                <a:gd name="T29" fmla="*/ 1 h 30"/>
                <a:gd name="T30" fmla="*/ 230 w 241"/>
                <a:gd name="T31" fmla="*/ 1 h 30"/>
                <a:gd name="T32" fmla="*/ 226 w 241"/>
                <a:gd name="T33" fmla="*/ 0 h 30"/>
                <a:gd name="T34" fmla="*/ 15 w 241"/>
                <a:gd name="T35" fmla="*/ 0 h 30"/>
                <a:gd name="T36" fmla="*/ 13 w 241"/>
                <a:gd name="T37" fmla="*/ 1 h 30"/>
                <a:gd name="T38" fmla="*/ 10 w 241"/>
                <a:gd name="T39" fmla="*/ 1 h 30"/>
                <a:gd name="T40" fmla="*/ 8 w 241"/>
                <a:gd name="T41" fmla="*/ 3 h 30"/>
                <a:gd name="T42" fmla="*/ 4 w 241"/>
                <a:gd name="T43" fmla="*/ 4 h 30"/>
                <a:gd name="T44" fmla="*/ 3 w 241"/>
                <a:gd name="T45" fmla="*/ 6 h 30"/>
                <a:gd name="T46" fmla="*/ 1 w 241"/>
                <a:gd name="T47" fmla="*/ 9 h 30"/>
                <a:gd name="T48" fmla="*/ 1 w 241"/>
                <a:gd name="T49" fmla="*/ 13 h 30"/>
                <a:gd name="T50" fmla="*/ 0 w 241"/>
                <a:gd name="T51" fmla="*/ 15 h 30"/>
                <a:gd name="T52" fmla="*/ 1 w 241"/>
                <a:gd name="T53" fmla="*/ 18 h 30"/>
                <a:gd name="T54" fmla="*/ 1 w 241"/>
                <a:gd name="T55" fmla="*/ 21 h 30"/>
                <a:gd name="T56" fmla="*/ 3 w 241"/>
                <a:gd name="T57" fmla="*/ 23 h 30"/>
                <a:gd name="T58" fmla="*/ 4 w 241"/>
                <a:gd name="T59" fmla="*/ 26 h 30"/>
                <a:gd name="T60" fmla="*/ 8 w 241"/>
                <a:gd name="T61" fmla="*/ 28 h 30"/>
                <a:gd name="T62" fmla="*/ 10 w 241"/>
                <a:gd name="T63" fmla="*/ 29 h 30"/>
                <a:gd name="T64" fmla="*/ 13 w 241"/>
                <a:gd name="T65" fmla="*/ 30 h 30"/>
                <a:gd name="T66" fmla="*/ 15 w 241"/>
                <a:gd name="T67" fmla="*/ 30 h 30"/>
                <a:gd name="T68" fmla="*/ 226 w 241"/>
                <a:gd name="T69"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41" h="30">
                  <a:moveTo>
                    <a:pt x="226" y="30"/>
                  </a:moveTo>
                  <a:lnTo>
                    <a:pt x="230" y="30"/>
                  </a:lnTo>
                  <a:lnTo>
                    <a:pt x="232" y="29"/>
                  </a:lnTo>
                  <a:lnTo>
                    <a:pt x="235" y="28"/>
                  </a:lnTo>
                  <a:lnTo>
                    <a:pt x="237" y="26"/>
                  </a:lnTo>
                  <a:lnTo>
                    <a:pt x="239" y="23"/>
                  </a:lnTo>
                  <a:lnTo>
                    <a:pt x="240" y="21"/>
                  </a:lnTo>
                  <a:lnTo>
                    <a:pt x="241" y="18"/>
                  </a:lnTo>
                  <a:lnTo>
                    <a:pt x="241" y="15"/>
                  </a:lnTo>
                  <a:lnTo>
                    <a:pt x="241" y="13"/>
                  </a:lnTo>
                  <a:lnTo>
                    <a:pt x="240" y="9"/>
                  </a:lnTo>
                  <a:lnTo>
                    <a:pt x="239" y="6"/>
                  </a:lnTo>
                  <a:lnTo>
                    <a:pt x="237" y="4"/>
                  </a:lnTo>
                  <a:lnTo>
                    <a:pt x="235" y="3"/>
                  </a:lnTo>
                  <a:lnTo>
                    <a:pt x="232" y="1"/>
                  </a:lnTo>
                  <a:lnTo>
                    <a:pt x="230" y="1"/>
                  </a:lnTo>
                  <a:lnTo>
                    <a:pt x="226" y="0"/>
                  </a:lnTo>
                  <a:lnTo>
                    <a:pt x="15" y="0"/>
                  </a:lnTo>
                  <a:lnTo>
                    <a:pt x="13" y="1"/>
                  </a:lnTo>
                  <a:lnTo>
                    <a:pt x="10" y="1"/>
                  </a:lnTo>
                  <a:lnTo>
                    <a:pt x="8" y="3"/>
                  </a:lnTo>
                  <a:lnTo>
                    <a:pt x="4" y="4"/>
                  </a:lnTo>
                  <a:lnTo>
                    <a:pt x="3" y="6"/>
                  </a:lnTo>
                  <a:lnTo>
                    <a:pt x="1" y="9"/>
                  </a:lnTo>
                  <a:lnTo>
                    <a:pt x="1" y="13"/>
                  </a:lnTo>
                  <a:lnTo>
                    <a:pt x="0" y="15"/>
                  </a:lnTo>
                  <a:lnTo>
                    <a:pt x="1" y="18"/>
                  </a:lnTo>
                  <a:lnTo>
                    <a:pt x="1" y="21"/>
                  </a:lnTo>
                  <a:lnTo>
                    <a:pt x="3" y="23"/>
                  </a:lnTo>
                  <a:lnTo>
                    <a:pt x="4" y="26"/>
                  </a:lnTo>
                  <a:lnTo>
                    <a:pt x="8" y="28"/>
                  </a:lnTo>
                  <a:lnTo>
                    <a:pt x="10" y="29"/>
                  </a:lnTo>
                  <a:lnTo>
                    <a:pt x="13" y="30"/>
                  </a:lnTo>
                  <a:lnTo>
                    <a:pt x="15" y="30"/>
                  </a:lnTo>
                  <a:lnTo>
                    <a:pt x="226" y="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4" name="Freeform 283"/>
            <p:cNvSpPr>
              <a:spLocks/>
            </p:cNvSpPr>
            <p:nvPr/>
          </p:nvSpPr>
          <p:spPr bwMode="auto">
            <a:xfrm>
              <a:off x="7234238" y="2051050"/>
              <a:ext cx="57150" cy="9525"/>
            </a:xfrm>
            <a:custGeom>
              <a:avLst/>
              <a:gdLst>
                <a:gd name="T0" fmla="*/ 15 w 180"/>
                <a:gd name="T1" fmla="*/ 0 h 30"/>
                <a:gd name="T2" fmla="*/ 12 w 180"/>
                <a:gd name="T3" fmla="*/ 0 h 30"/>
                <a:gd name="T4" fmla="*/ 8 w 180"/>
                <a:gd name="T5" fmla="*/ 2 h 30"/>
                <a:gd name="T6" fmla="*/ 6 w 180"/>
                <a:gd name="T7" fmla="*/ 3 h 30"/>
                <a:gd name="T8" fmla="*/ 4 w 180"/>
                <a:gd name="T9" fmla="*/ 5 h 30"/>
                <a:gd name="T10" fmla="*/ 2 w 180"/>
                <a:gd name="T11" fmla="*/ 7 h 30"/>
                <a:gd name="T12" fmla="*/ 1 w 180"/>
                <a:gd name="T13" fmla="*/ 9 h 30"/>
                <a:gd name="T14" fmla="*/ 0 w 180"/>
                <a:gd name="T15" fmla="*/ 12 h 30"/>
                <a:gd name="T16" fmla="*/ 0 w 180"/>
                <a:gd name="T17" fmla="*/ 15 h 30"/>
                <a:gd name="T18" fmla="*/ 0 w 180"/>
                <a:gd name="T19" fmla="*/ 19 h 30"/>
                <a:gd name="T20" fmla="*/ 1 w 180"/>
                <a:gd name="T21" fmla="*/ 21 h 30"/>
                <a:gd name="T22" fmla="*/ 2 w 180"/>
                <a:gd name="T23" fmla="*/ 24 h 30"/>
                <a:gd name="T24" fmla="*/ 4 w 180"/>
                <a:gd name="T25" fmla="*/ 26 h 30"/>
                <a:gd name="T26" fmla="*/ 6 w 180"/>
                <a:gd name="T27" fmla="*/ 27 h 30"/>
                <a:gd name="T28" fmla="*/ 8 w 180"/>
                <a:gd name="T29" fmla="*/ 29 h 30"/>
                <a:gd name="T30" fmla="*/ 12 w 180"/>
                <a:gd name="T31" fmla="*/ 29 h 30"/>
                <a:gd name="T32" fmla="*/ 15 w 180"/>
                <a:gd name="T33" fmla="*/ 30 h 30"/>
                <a:gd name="T34" fmla="*/ 165 w 180"/>
                <a:gd name="T35" fmla="*/ 30 h 30"/>
                <a:gd name="T36" fmla="*/ 168 w 180"/>
                <a:gd name="T37" fmla="*/ 29 h 30"/>
                <a:gd name="T38" fmla="*/ 171 w 180"/>
                <a:gd name="T39" fmla="*/ 29 h 30"/>
                <a:gd name="T40" fmla="*/ 174 w 180"/>
                <a:gd name="T41" fmla="*/ 27 h 30"/>
                <a:gd name="T42" fmla="*/ 176 w 180"/>
                <a:gd name="T43" fmla="*/ 26 h 30"/>
                <a:gd name="T44" fmla="*/ 178 w 180"/>
                <a:gd name="T45" fmla="*/ 24 h 30"/>
                <a:gd name="T46" fmla="*/ 179 w 180"/>
                <a:gd name="T47" fmla="*/ 21 h 30"/>
                <a:gd name="T48" fmla="*/ 180 w 180"/>
                <a:gd name="T49" fmla="*/ 19 h 30"/>
                <a:gd name="T50" fmla="*/ 180 w 180"/>
                <a:gd name="T51" fmla="*/ 15 h 30"/>
                <a:gd name="T52" fmla="*/ 180 w 180"/>
                <a:gd name="T53" fmla="*/ 12 h 30"/>
                <a:gd name="T54" fmla="*/ 179 w 180"/>
                <a:gd name="T55" fmla="*/ 9 h 30"/>
                <a:gd name="T56" fmla="*/ 178 w 180"/>
                <a:gd name="T57" fmla="*/ 7 h 30"/>
                <a:gd name="T58" fmla="*/ 176 w 180"/>
                <a:gd name="T59" fmla="*/ 5 h 30"/>
                <a:gd name="T60" fmla="*/ 174 w 180"/>
                <a:gd name="T61" fmla="*/ 3 h 30"/>
                <a:gd name="T62" fmla="*/ 171 w 180"/>
                <a:gd name="T63" fmla="*/ 2 h 30"/>
                <a:gd name="T64" fmla="*/ 168 w 180"/>
                <a:gd name="T65" fmla="*/ 0 h 30"/>
                <a:gd name="T66" fmla="*/ 165 w 180"/>
                <a:gd name="T67" fmla="*/ 0 h 30"/>
                <a:gd name="T68" fmla="*/ 15 w 180"/>
                <a:gd name="T69"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0" h="30">
                  <a:moveTo>
                    <a:pt x="15" y="0"/>
                  </a:moveTo>
                  <a:lnTo>
                    <a:pt x="12" y="0"/>
                  </a:lnTo>
                  <a:lnTo>
                    <a:pt x="8" y="2"/>
                  </a:lnTo>
                  <a:lnTo>
                    <a:pt x="6" y="3"/>
                  </a:lnTo>
                  <a:lnTo>
                    <a:pt x="4" y="5"/>
                  </a:lnTo>
                  <a:lnTo>
                    <a:pt x="2" y="7"/>
                  </a:lnTo>
                  <a:lnTo>
                    <a:pt x="1" y="9"/>
                  </a:lnTo>
                  <a:lnTo>
                    <a:pt x="0" y="12"/>
                  </a:lnTo>
                  <a:lnTo>
                    <a:pt x="0" y="15"/>
                  </a:lnTo>
                  <a:lnTo>
                    <a:pt x="0" y="19"/>
                  </a:lnTo>
                  <a:lnTo>
                    <a:pt x="1" y="21"/>
                  </a:lnTo>
                  <a:lnTo>
                    <a:pt x="2" y="24"/>
                  </a:lnTo>
                  <a:lnTo>
                    <a:pt x="4" y="26"/>
                  </a:lnTo>
                  <a:lnTo>
                    <a:pt x="6" y="27"/>
                  </a:lnTo>
                  <a:lnTo>
                    <a:pt x="8" y="29"/>
                  </a:lnTo>
                  <a:lnTo>
                    <a:pt x="12" y="29"/>
                  </a:lnTo>
                  <a:lnTo>
                    <a:pt x="15" y="30"/>
                  </a:lnTo>
                  <a:lnTo>
                    <a:pt x="165" y="30"/>
                  </a:lnTo>
                  <a:lnTo>
                    <a:pt x="168" y="29"/>
                  </a:lnTo>
                  <a:lnTo>
                    <a:pt x="171" y="29"/>
                  </a:lnTo>
                  <a:lnTo>
                    <a:pt x="174" y="27"/>
                  </a:lnTo>
                  <a:lnTo>
                    <a:pt x="176" y="26"/>
                  </a:lnTo>
                  <a:lnTo>
                    <a:pt x="178" y="24"/>
                  </a:lnTo>
                  <a:lnTo>
                    <a:pt x="179" y="21"/>
                  </a:lnTo>
                  <a:lnTo>
                    <a:pt x="180" y="19"/>
                  </a:lnTo>
                  <a:lnTo>
                    <a:pt x="180" y="15"/>
                  </a:lnTo>
                  <a:lnTo>
                    <a:pt x="180" y="12"/>
                  </a:lnTo>
                  <a:lnTo>
                    <a:pt x="179" y="9"/>
                  </a:lnTo>
                  <a:lnTo>
                    <a:pt x="178" y="7"/>
                  </a:lnTo>
                  <a:lnTo>
                    <a:pt x="176" y="5"/>
                  </a:lnTo>
                  <a:lnTo>
                    <a:pt x="174" y="3"/>
                  </a:lnTo>
                  <a:lnTo>
                    <a:pt x="171" y="2"/>
                  </a:lnTo>
                  <a:lnTo>
                    <a:pt x="168" y="0"/>
                  </a:lnTo>
                  <a:lnTo>
                    <a:pt x="165" y="0"/>
                  </a:lnTo>
                  <a:lnTo>
                    <a:pt x="1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7" name="Freeform 284"/>
            <p:cNvSpPr>
              <a:spLocks/>
            </p:cNvSpPr>
            <p:nvPr/>
          </p:nvSpPr>
          <p:spPr bwMode="auto">
            <a:xfrm>
              <a:off x="7234238" y="2070100"/>
              <a:ext cx="57150" cy="9525"/>
            </a:xfrm>
            <a:custGeom>
              <a:avLst/>
              <a:gdLst>
                <a:gd name="T0" fmla="*/ 165 w 180"/>
                <a:gd name="T1" fmla="*/ 0 h 30"/>
                <a:gd name="T2" fmla="*/ 15 w 180"/>
                <a:gd name="T3" fmla="*/ 0 h 30"/>
                <a:gd name="T4" fmla="*/ 12 w 180"/>
                <a:gd name="T5" fmla="*/ 0 h 30"/>
                <a:gd name="T6" fmla="*/ 8 w 180"/>
                <a:gd name="T7" fmla="*/ 1 h 30"/>
                <a:gd name="T8" fmla="*/ 6 w 180"/>
                <a:gd name="T9" fmla="*/ 2 h 30"/>
                <a:gd name="T10" fmla="*/ 4 w 180"/>
                <a:gd name="T11" fmla="*/ 4 h 30"/>
                <a:gd name="T12" fmla="*/ 2 w 180"/>
                <a:gd name="T13" fmla="*/ 6 h 30"/>
                <a:gd name="T14" fmla="*/ 1 w 180"/>
                <a:gd name="T15" fmla="*/ 8 h 30"/>
                <a:gd name="T16" fmla="*/ 0 w 180"/>
                <a:gd name="T17" fmla="*/ 11 h 30"/>
                <a:gd name="T18" fmla="*/ 0 w 180"/>
                <a:gd name="T19" fmla="*/ 15 h 30"/>
                <a:gd name="T20" fmla="*/ 0 w 180"/>
                <a:gd name="T21" fmla="*/ 18 h 30"/>
                <a:gd name="T22" fmla="*/ 1 w 180"/>
                <a:gd name="T23" fmla="*/ 20 h 30"/>
                <a:gd name="T24" fmla="*/ 2 w 180"/>
                <a:gd name="T25" fmla="*/ 23 h 30"/>
                <a:gd name="T26" fmla="*/ 4 w 180"/>
                <a:gd name="T27" fmla="*/ 25 h 30"/>
                <a:gd name="T28" fmla="*/ 6 w 180"/>
                <a:gd name="T29" fmla="*/ 26 h 30"/>
                <a:gd name="T30" fmla="*/ 8 w 180"/>
                <a:gd name="T31" fmla="*/ 29 h 30"/>
                <a:gd name="T32" fmla="*/ 12 w 180"/>
                <a:gd name="T33" fmla="*/ 30 h 30"/>
                <a:gd name="T34" fmla="*/ 15 w 180"/>
                <a:gd name="T35" fmla="*/ 30 h 30"/>
                <a:gd name="T36" fmla="*/ 165 w 180"/>
                <a:gd name="T37" fmla="*/ 30 h 30"/>
                <a:gd name="T38" fmla="*/ 168 w 180"/>
                <a:gd name="T39" fmla="*/ 30 h 30"/>
                <a:gd name="T40" fmla="*/ 171 w 180"/>
                <a:gd name="T41" fmla="*/ 29 h 30"/>
                <a:gd name="T42" fmla="*/ 174 w 180"/>
                <a:gd name="T43" fmla="*/ 26 h 30"/>
                <a:gd name="T44" fmla="*/ 176 w 180"/>
                <a:gd name="T45" fmla="*/ 25 h 30"/>
                <a:gd name="T46" fmla="*/ 178 w 180"/>
                <a:gd name="T47" fmla="*/ 23 h 30"/>
                <a:gd name="T48" fmla="*/ 179 w 180"/>
                <a:gd name="T49" fmla="*/ 20 h 30"/>
                <a:gd name="T50" fmla="*/ 180 w 180"/>
                <a:gd name="T51" fmla="*/ 18 h 30"/>
                <a:gd name="T52" fmla="*/ 180 w 180"/>
                <a:gd name="T53" fmla="*/ 15 h 30"/>
                <a:gd name="T54" fmla="*/ 180 w 180"/>
                <a:gd name="T55" fmla="*/ 11 h 30"/>
                <a:gd name="T56" fmla="*/ 179 w 180"/>
                <a:gd name="T57" fmla="*/ 8 h 30"/>
                <a:gd name="T58" fmla="*/ 178 w 180"/>
                <a:gd name="T59" fmla="*/ 6 h 30"/>
                <a:gd name="T60" fmla="*/ 176 w 180"/>
                <a:gd name="T61" fmla="*/ 4 h 30"/>
                <a:gd name="T62" fmla="*/ 174 w 180"/>
                <a:gd name="T63" fmla="*/ 2 h 30"/>
                <a:gd name="T64" fmla="*/ 171 w 180"/>
                <a:gd name="T65" fmla="*/ 1 h 30"/>
                <a:gd name="T66" fmla="*/ 168 w 180"/>
                <a:gd name="T67" fmla="*/ 0 h 30"/>
                <a:gd name="T68" fmla="*/ 165 w 180"/>
                <a:gd name="T69"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0" h="30">
                  <a:moveTo>
                    <a:pt x="165" y="0"/>
                  </a:moveTo>
                  <a:lnTo>
                    <a:pt x="15" y="0"/>
                  </a:lnTo>
                  <a:lnTo>
                    <a:pt x="12" y="0"/>
                  </a:lnTo>
                  <a:lnTo>
                    <a:pt x="8" y="1"/>
                  </a:lnTo>
                  <a:lnTo>
                    <a:pt x="6" y="2"/>
                  </a:lnTo>
                  <a:lnTo>
                    <a:pt x="4" y="4"/>
                  </a:lnTo>
                  <a:lnTo>
                    <a:pt x="2" y="6"/>
                  </a:lnTo>
                  <a:lnTo>
                    <a:pt x="1" y="8"/>
                  </a:lnTo>
                  <a:lnTo>
                    <a:pt x="0" y="11"/>
                  </a:lnTo>
                  <a:lnTo>
                    <a:pt x="0" y="15"/>
                  </a:lnTo>
                  <a:lnTo>
                    <a:pt x="0" y="18"/>
                  </a:lnTo>
                  <a:lnTo>
                    <a:pt x="1" y="20"/>
                  </a:lnTo>
                  <a:lnTo>
                    <a:pt x="2" y="23"/>
                  </a:lnTo>
                  <a:lnTo>
                    <a:pt x="4" y="25"/>
                  </a:lnTo>
                  <a:lnTo>
                    <a:pt x="6" y="26"/>
                  </a:lnTo>
                  <a:lnTo>
                    <a:pt x="8" y="29"/>
                  </a:lnTo>
                  <a:lnTo>
                    <a:pt x="12" y="30"/>
                  </a:lnTo>
                  <a:lnTo>
                    <a:pt x="15" y="30"/>
                  </a:lnTo>
                  <a:lnTo>
                    <a:pt x="165" y="30"/>
                  </a:lnTo>
                  <a:lnTo>
                    <a:pt x="168" y="30"/>
                  </a:lnTo>
                  <a:lnTo>
                    <a:pt x="171" y="29"/>
                  </a:lnTo>
                  <a:lnTo>
                    <a:pt x="174" y="26"/>
                  </a:lnTo>
                  <a:lnTo>
                    <a:pt x="176" y="25"/>
                  </a:lnTo>
                  <a:lnTo>
                    <a:pt x="178" y="23"/>
                  </a:lnTo>
                  <a:lnTo>
                    <a:pt x="179" y="20"/>
                  </a:lnTo>
                  <a:lnTo>
                    <a:pt x="180" y="18"/>
                  </a:lnTo>
                  <a:lnTo>
                    <a:pt x="180" y="15"/>
                  </a:lnTo>
                  <a:lnTo>
                    <a:pt x="180" y="11"/>
                  </a:lnTo>
                  <a:lnTo>
                    <a:pt x="179" y="8"/>
                  </a:lnTo>
                  <a:lnTo>
                    <a:pt x="178" y="6"/>
                  </a:lnTo>
                  <a:lnTo>
                    <a:pt x="176" y="4"/>
                  </a:lnTo>
                  <a:lnTo>
                    <a:pt x="174" y="2"/>
                  </a:lnTo>
                  <a:lnTo>
                    <a:pt x="171" y="1"/>
                  </a:lnTo>
                  <a:lnTo>
                    <a:pt x="168" y="0"/>
                  </a:lnTo>
                  <a:lnTo>
                    <a:pt x="16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8" name="Freeform 285"/>
            <p:cNvSpPr>
              <a:spLocks/>
            </p:cNvSpPr>
            <p:nvPr/>
          </p:nvSpPr>
          <p:spPr bwMode="auto">
            <a:xfrm>
              <a:off x="7234238" y="2089150"/>
              <a:ext cx="57150" cy="9525"/>
            </a:xfrm>
            <a:custGeom>
              <a:avLst/>
              <a:gdLst>
                <a:gd name="T0" fmla="*/ 165 w 180"/>
                <a:gd name="T1" fmla="*/ 0 h 30"/>
                <a:gd name="T2" fmla="*/ 15 w 180"/>
                <a:gd name="T3" fmla="*/ 0 h 30"/>
                <a:gd name="T4" fmla="*/ 12 w 180"/>
                <a:gd name="T5" fmla="*/ 0 h 30"/>
                <a:gd name="T6" fmla="*/ 8 w 180"/>
                <a:gd name="T7" fmla="*/ 1 h 30"/>
                <a:gd name="T8" fmla="*/ 6 w 180"/>
                <a:gd name="T9" fmla="*/ 2 h 30"/>
                <a:gd name="T10" fmla="*/ 4 w 180"/>
                <a:gd name="T11" fmla="*/ 4 h 30"/>
                <a:gd name="T12" fmla="*/ 2 w 180"/>
                <a:gd name="T13" fmla="*/ 6 h 30"/>
                <a:gd name="T14" fmla="*/ 1 w 180"/>
                <a:gd name="T15" fmla="*/ 9 h 30"/>
                <a:gd name="T16" fmla="*/ 0 w 180"/>
                <a:gd name="T17" fmla="*/ 11 h 30"/>
                <a:gd name="T18" fmla="*/ 0 w 180"/>
                <a:gd name="T19" fmla="*/ 15 h 30"/>
                <a:gd name="T20" fmla="*/ 0 w 180"/>
                <a:gd name="T21" fmla="*/ 18 h 30"/>
                <a:gd name="T22" fmla="*/ 1 w 180"/>
                <a:gd name="T23" fmla="*/ 20 h 30"/>
                <a:gd name="T24" fmla="*/ 2 w 180"/>
                <a:gd name="T25" fmla="*/ 23 h 30"/>
                <a:gd name="T26" fmla="*/ 4 w 180"/>
                <a:gd name="T27" fmla="*/ 25 h 30"/>
                <a:gd name="T28" fmla="*/ 6 w 180"/>
                <a:gd name="T29" fmla="*/ 28 h 30"/>
                <a:gd name="T30" fmla="*/ 8 w 180"/>
                <a:gd name="T31" fmla="*/ 29 h 30"/>
                <a:gd name="T32" fmla="*/ 12 w 180"/>
                <a:gd name="T33" fmla="*/ 30 h 30"/>
                <a:gd name="T34" fmla="*/ 15 w 180"/>
                <a:gd name="T35" fmla="*/ 30 h 30"/>
                <a:gd name="T36" fmla="*/ 165 w 180"/>
                <a:gd name="T37" fmla="*/ 30 h 30"/>
                <a:gd name="T38" fmla="*/ 168 w 180"/>
                <a:gd name="T39" fmla="*/ 30 h 30"/>
                <a:gd name="T40" fmla="*/ 171 w 180"/>
                <a:gd name="T41" fmla="*/ 29 h 30"/>
                <a:gd name="T42" fmla="*/ 174 w 180"/>
                <a:gd name="T43" fmla="*/ 28 h 30"/>
                <a:gd name="T44" fmla="*/ 176 w 180"/>
                <a:gd name="T45" fmla="*/ 25 h 30"/>
                <a:gd name="T46" fmla="*/ 178 w 180"/>
                <a:gd name="T47" fmla="*/ 23 h 30"/>
                <a:gd name="T48" fmla="*/ 179 w 180"/>
                <a:gd name="T49" fmla="*/ 20 h 30"/>
                <a:gd name="T50" fmla="*/ 180 w 180"/>
                <a:gd name="T51" fmla="*/ 18 h 30"/>
                <a:gd name="T52" fmla="*/ 180 w 180"/>
                <a:gd name="T53" fmla="*/ 15 h 30"/>
                <a:gd name="T54" fmla="*/ 180 w 180"/>
                <a:gd name="T55" fmla="*/ 11 h 30"/>
                <a:gd name="T56" fmla="*/ 179 w 180"/>
                <a:gd name="T57" fmla="*/ 9 h 30"/>
                <a:gd name="T58" fmla="*/ 178 w 180"/>
                <a:gd name="T59" fmla="*/ 6 h 30"/>
                <a:gd name="T60" fmla="*/ 176 w 180"/>
                <a:gd name="T61" fmla="*/ 4 h 30"/>
                <a:gd name="T62" fmla="*/ 174 w 180"/>
                <a:gd name="T63" fmla="*/ 2 h 30"/>
                <a:gd name="T64" fmla="*/ 171 w 180"/>
                <a:gd name="T65" fmla="*/ 1 h 30"/>
                <a:gd name="T66" fmla="*/ 168 w 180"/>
                <a:gd name="T67" fmla="*/ 0 h 30"/>
                <a:gd name="T68" fmla="*/ 165 w 180"/>
                <a:gd name="T69" fmla="*/ 0 h 30"/>
                <a:gd name="T70" fmla="*/ 165 w 180"/>
                <a:gd name="T7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80" h="30">
                  <a:moveTo>
                    <a:pt x="165" y="0"/>
                  </a:moveTo>
                  <a:lnTo>
                    <a:pt x="15" y="0"/>
                  </a:lnTo>
                  <a:lnTo>
                    <a:pt x="12" y="0"/>
                  </a:lnTo>
                  <a:lnTo>
                    <a:pt x="8" y="1"/>
                  </a:lnTo>
                  <a:lnTo>
                    <a:pt x="6" y="2"/>
                  </a:lnTo>
                  <a:lnTo>
                    <a:pt x="4" y="4"/>
                  </a:lnTo>
                  <a:lnTo>
                    <a:pt x="2" y="6"/>
                  </a:lnTo>
                  <a:lnTo>
                    <a:pt x="1" y="9"/>
                  </a:lnTo>
                  <a:lnTo>
                    <a:pt x="0" y="11"/>
                  </a:lnTo>
                  <a:lnTo>
                    <a:pt x="0" y="15"/>
                  </a:lnTo>
                  <a:lnTo>
                    <a:pt x="0" y="18"/>
                  </a:lnTo>
                  <a:lnTo>
                    <a:pt x="1" y="20"/>
                  </a:lnTo>
                  <a:lnTo>
                    <a:pt x="2" y="23"/>
                  </a:lnTo>
                  <a:lnTo>
                    <a:pt x="4" y="25"/>
                  </a:lnTo>
                  <a:lnTo>
                    <a:pt x="6" y="28"/>
                  </a:lnTo>
                  <a:lnTo>
                    <a:pt x="8" y="29"/>
                  </a:lnTo>
                  <a:lnTo>
                    <a:pt x="12" y="30"/>
                  </a:lnTo>
                  <a:lnTo>
                    <a:pt x="15" y="30"/>
                  </a:lnTo>
                  <a:lnTo>
                    <a:pt x="165" y="30"/>
                  </a:lnTo>
                  <a:lnTo>
                    <a:pt x="168" y="30"/>
                  </a:lnTo>
                  <a:lnTo>
                    <a:pt x="171" y="29"/>
                  </a:lnTo>
                  <a:lnTo>
                    <a:pt x="174" y="28"/>
                  </a:lnTo>
                  <a:lnTo>
                    <a:pt x="176" y="25"/>
                  </a:lnTo>
                  <a:lnTo>
                    <a:pt x="178" y="23"/>
                  </a:lnTo>
                  <a:lnTo>
                    <a:pt x="179" y="20"/>
                  </a:lnTo>
                  <a:lnTo>
                    <a:pt x="180" y="18"/>
                  </a:lnTo>
                  <a:lnTo>
                    <a:pt x="180" y="15"/>
                  </a:lnTo>
                  <a:lnTo>
                    <a:pt x="180" y="11"/>
                  </a:lnTo>
                  <a:lnTo>
                    <a:pt x="179" y="9"/>
                  </a:lnTo>
                  <a:lnTo>
                    <a:pt x="178" y="6"/>
                  </a:lnTo>
                  <a:lnTo>
                    <a:pt x="176" y="4"/>
                  </a:lnTo>
                  <a:lnTo>
                    <a:pt x="174" y="2"/>
                  </a:lnTo>
                  <a:lnTo>
                    <a:pt x="171" y="1"/>
                  </a:lnTo>
                  <a:lnTo>
                    <a:pt x="168" y="0"/>
                  </a:lnTo>
                  <a:lnTo>
                    <a:pt x="165" y="0"/>
                  </a:lnTo>
                  <a:lnTo>
                    <a:pt x="16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9" name="Freeform 286"/>
            <p:cNvSpPr>
              <a:spLocks/>
            </p:cNvSpPr>
            <p:nvPr/>
          </p:nvSpPr>
          <p:spPr bwMode="auto">
            <a:xfrm>
              <a:off x="7234238" y="2108200"/>
              <a:ext cx="57150" cy="9525"/>
            </a:xfrm>
            <a:custGeom>
              <a:avLst/>
              <a:gdLst>
                <a:gd name="T0" fmla="*/ 165 w 180"/>
                <a:gd name="T1" fmla="*/ 0 h 30"/>
                <a:gd name="T2" fmla="*/ 15 w 180"/>
                <a:gd name="T3" fmla="*/ 0 h 30"/>
                <a:gd name="T4" fmla="*/ 12 w 180"/>
                <a:gd name="T5" fmla="*/ 0 h 30"/>
                <a:gd name="T6" fmla="*/ 8 w 180"/>
                <a:gd name="T7" fmla="*/ 1 h 30"/>
                <a:gd name="T8" fmla="*/ 6 w 180"/>
                <a:gd name="T9" fmla="*/ 3 h 30"/>
                <a:gd name="T10" fmla="*/ 4 w 180"/>
                <a:gd name="T11" fmla="*/ 4 h 30"/>
                <a:gd name="T12" fmla="*/ 2 w 180"/>
                <a:gd name="T13" fmla="*/ 6 h 30"/>
                <a:gd name="T14" fmla="*/ 1 w 180"/>
                <a:gd name="T15" fmla="*/ 9 h 30"/>
                <a:gd name="T16" fmla="*/ 0 w 180"/>
                <a:gd name="T17" fmla="*/ 12 h 30"/>
                <a:gd name="T18" fmla="*/ 0 w 180"/>
                <a:gd name="T19" fmla="*/ 15 h 30"/>
                <a:gd name="T20" fmla="*/ 0 w 180"/>
                <a:gd name="T21" fmla="*/ 18 h 30"/>
                <a:gd name="T22" fmla="*/ 1 w 180"/>
                <a:gd name="T23" fmla="*/ 21 h 30"/>
                <a:gd name="T24" fmla="*/ 2 w 180"/>
                <a:gd name="T25" fmla="*/ 23 h 30"/>
                <a:gd name="T26" fmla="*/ 4 w 180"/>
                <a:gd name="T27" fmla="*/ 25 h 30"/>
                <a:gd name="T28" fmla="*/ 6 w 180"/>
                <a:gd name="T29" fmla="*/ 28 h 30"/>
                <a:gd name="T30" fmla="*/ 8 w 180"/>
                <a:gd name="T31" fmla="*/ 29 h 30"/>
                <a:gd name="T32" fmla="*/ 12 w 180"/>
                <a:gd name="T33" fmla="*/ 30 h 30"/>
                <a:gd name="T34" fmla="*/ 15 w 180"/>
                <a:gd name="T35" fmla="*/ 30 h 30"/>
                <a:gd name="T36" fmla="*/ 165 w 180"/>
                <a:gd name="T37" fmla="*/ 30 h 30"/>
                <a:gd name="T38" fmla="*/ 168 w 180"/>
                <a:gd name="T39" fmla="*/ 30 h 30"/>
                <a:gd name="T40" fmla="*/ 171 w 180"/>
                <a:gd name="T41" fmla="*/ 29 h 30"/>
                <a:gd name="T42" fmla="*/ 174 w 180"/>
                <a:gd name="T43" fmla="*/ 28 h 30"/>
                <a:gd name="T44" fmla="*/ 176 w 180"/>
                <a:gd name="T45" fmla="*/ 25 h 30"/>
                <a:gd name="T46" fmla="*/ 178 w 180"/>
                <a:gd name="T47" fmla="*/ 23 h 30"/>
                <a:gd name="T48" fmla="*/ 179 w 180"/>
                <a:gd name="T49" fmla="*/ 21 h 30"/>
                <a:gd name="T50" fmla="*/ 180 w 180"/>
                <a:gd name="T51" fmla="*/ 18 h 30"/>
                <a:gd name="T52" fmla="*/ 180 w 180"/>
                <a:gd name="T53" fmla="*/ 15 h 30"/>
                <a:gd name="T54" fmla="*/ 180 w 180"/>
                <a:gd name="T55" fmla="*/ 12 h 30"/>
                <a:gd name="T56" fmla="*/ 179 w 180"/>
                <a:gd name="T57" fmla="*/ 9 h 30"/>
                <a:gd name="T58" fmla="*/ 178 w 180"/>
                <a:gd name="T59" fmla="*/ 6 h 30"/>
                <a:gd name="T60" fmla="*/ 176 w 180"/>
                <a:gd name="T61" fmla="*/ 4 h 30"/>
                <a:gd name="T62" fmla="*/ 174 w 180"/>
                <a:gd name="T63" fmla="*/ 3 h 30"/>
                <a:gd name="T64" fmla="*/ 171 w 180"/>
                <a:gd name="T65" fmla="*/ 1 h 30"/>
                <a:gd name="T66" fmla="*/ 168 w 180"/>
                <a:gd name="T67" fmla="*/ 0 h 30"/>
                <a:gd name="T68" fmla="*/ 165 w 180"/>
                <a:gd name="T69"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0" h="30">
                  <a:moveTo>
                    <a:pt x="165" y="0"/>
                  </a:moveTo>
                  <a:lnTo>
                    <a:pt x="15" y="0"/>
                  </a:lnTo>
                  <a:lnTo>
                    <a:pt x="12" y="0"/>
                  </a:lnTo>
                  <a:lnTo>
                    <a:pt x="8" y="1"/>
                  </a:lnTo>
                  <a:lnTo>
                    <a:pt x="6" y="3"/>
                  </a:lnTo>
                  <a:lnTo>
                    <a:pt x="4" y="4"/>
                  </a:lnTo>
                  <a:lnTo>
                    <a:pt x="2" y="6"/>
                  </a:lnTo>
                  <a:lnTo>
                    <a:pt x="1" y="9"/>
                  </a:lnTo>
                  <a:lnTo>
                    <a:pt x="0" y="12"/>
                  </a:lnTo>
                  <a:lnTo>
                    <a:pt x="0" y="15"/>
                  </a:lnTo>
                  <a:lnTo>
                    <a:pt x="0" y="18"/>
                  </a:lnTo>
                  <a:lnTo>
                    <a:pt x="1" y="21"/>
                  </a:lnTo>
                  <a:lnTo>
                    <a:pt x="2" y="23"/>
                  </a:lnTo>
                  <a:lnTo>
                    <a:pt x="4" y="25"/>
                  </a:lnTo>
                  <a:lnTo>
                    <a:pt x="6" y="28"/>
                  </a:lnTo>
                  <a:lnTo>
                    <a:pt x="8" y="29"/>
                  </a:lnTo>
                  <a:lnTo>
                    <a:pt x="12" y="30"/>
                  </a:lnTo>
                  <a:lnTo>
                    <a:pt x="15" y="30"/>
                  </a:lnTo>
                  <a:lnTo>
                    <a:pt x="165" y="30"/>
                  </a:lnTo>
                  <a:lnTo>
                    <a:pt x="168" y="30"/>
                  </a:lnTo>
                  <a:lnTo>
                    <a:pt x="171" y="29"/>
                  </a:lnTo>
                  <a:lnTo>
                    <a:pt x="174" y="28"/>
                  </a:lnTo>
                  <a:lnTo>
                    <a:pt x="176" y="25"/>
                  </a:lnTo>
                  <a:lnTo>
                    <a:pt x="178" y="23"/>
                  </a:lnTo>
                  <a:lnTo>
                    <a:pt x="179" y="21"/>
                  </a:lnTo>
                  <a:lnTo>
                    <a:pt x="180" y="18"/>
                  </a:lnTo>
                  <a:lnTo>
                    <a:pt x="180" y="15"/>
                  </a:lnTo>
                  <a:lnTo>
                    <a:pt x="180" y="12"/>
                  </a:lnTo>
                  <a:lnTo>
                    <a:pt x="179" y="9"/>
                  </a:lnTo>
                  <a:lnTo>
                    <a:pt x="178" y="6"/>
                  </a:lnTo>
                  <a:lnTo>
                    <a:pt x="176" y="4"/>
                  </a:lnTo>
                  <a:lnTo>
                    <a:pt x="174" y="3"/>
                  </a:lnTo>
                  <a:lnTo>
                    <a:pt x="171" y="1"/>
                  </a:lnTo>
                  <a:lnTo>
                    <a:pt x="168" y="0"/>
                  </a:lnTo>
                  <a:lnTo>
                    <a:pt x="16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0" name="Freeform 287"/>
            <p:cNvSpPr>
              <a:spLocks/>
            </p:cNvSpPr>
            <p:nvPr/>
          </p:nvSpPr>
          <p:spPr bwMode="auto">
            <a:xfrm>
              <a:off x="7234238" y="2146300"/>
              <a:ext cx="57150" cy="9525"/>
            </a:xfrm>
            <a:custGeom>
              <a:avLst/>
              <a:gdLst>
                <a:gd name="T0" fmla="*/ 165 w 180"/>
                <a:gd name="T1" fmla="*/ 0 h 30"/>
                <a:gd name="T2" fmla="*/ 15 w 180"/>
                <a:gd name="T3" fmla="*/ 0 h 30"/>
                <a:gd name="T4" fmla="*/ 12 w 180"/>
                <a:gd name="T5" fmla="*/ 1 h 30"/>
                <a:gd name="T6" fmla="*/ 8 w 180"/>
                <a:gd name="T7" fmla="*/ 1 h 30"/>
                <a:gd name="T8" fmla="*/ 6 w 180"/>
                <a:gd name="T9" fmla="*/ 3 h 30"/>
                <a:gd name="T10" fmla="*/ 4 w 180"/>
                <a:gd name="T11" fmla="*/ 4 h 30"/>
                <a:gd name="T12" fmla="*/ 2 w 180"/>
                <a:gd name="T13" fmla="*/ 7 h 30"/>
                <a:gd name="T14" fmla="*/ 1 w 180"/>
                <a:gd name="T15" fmla="*/ 10 h 30"/>
                <a:gd name="T16" fmla="*/ 0 w 180"/>
                <a:gd name="T17" fmla="*/ 13 h 30"/>
                <a:gd name="T18" fmla="*/ 0 w 180"/>
                <a:gd name="T19" fmla="*/ 15 h 30"/>
                <a:gd name="T20" fmla="*/ 0 w 180"/>
                <a:gd name="T21" fmla="*/ 18 h 30"/>
                <a:gd name="T22" fmla="*/ 1 w 180"/>
                <a:gd name="T23" fmla="*/ 21 h 30"/>
                <a:gd name="T24" fmla="*/ 2 w 180"/>
                <a:gd name="T25" fmla="*/ 23 h 30"/>
                <a:gd name="T26" fmla="*/ 4 w 180"/>
                <a:gd name="T27" fmla="*/ 26 h 30"/>
                <a:gd name="T28" fmla="*/ 6 w 180"/>
                <a:gd name="T29" fmla="*/ 28 h 30"/>
                <a:gd name="T30" fmla="*/ 8 w 180"/>
                <a:gd name="T31" fmla="*/ 29 h 30"/>
                <a:gd name="T32" fmla="*/ 12 w 180"/>
                <a:gd name="T33" fmla="*/ 30 h 30"/>
                <a:gd name="T34" fmla="*/ 15 w 180"/>
                <a:gd name="T35" fmla="*/ 30 h 30"/>
                <a:gd name="T36" fmla="*/ 165 w 180"/>
                <a:gd name="T37" fmla="*/ 30 h 30"/>
                <a:gd name="T38" fmla="*/ 168 w 180"/>
                <a:gd name="T39" fmla="*/ 30 h 30"/>
                <a:gd name="T40" fmla="*/ 171 w 180"/>
                <a:gd name="T41" fmla="*/ 29 h 30"/>
                <a:gd name="T42" fmla="*/ 174 w 180"/>
                <a:gd name="T43" fmla="*/ 28 h 30"/>
                <a:gd name="T44" fmla="*/ 176 w 180"/>
                <a:gd name="T45" fmla="*/ 26 h 30"/>
                <a:gd name="T46" fmla="*/ 178 w 180"/>
                <a:gd name="T47" fmla="*/ 23 h 30"/>
                <a:gd name="T48" fmla="*/ 179 w 180"/>
                <a:gd name="T49" fmla="*/ 21 h 30"/>
                <a:gd name="T50" fmla="*/ 180 w 180"/>
                <a:gd name="T51" fmla="*/ 18 h 30"/>
                <a:gd name="T52" fmla="*/ 180 w 180"/>
                <a:gd name="T53" fmla="*/ 15 h 30"/>
                <a:gd name="T54" fmla="*/ 180 w 180"/>
                <a:gd name="T55" fmla="*/ 13 h 30"/>
                <a:gd name="T56" fmla="*/ 179 w 180"/>
                <a:gd name="T57" fmla="*/ 10 h 30"/>
                <a:gd name="T58" fmla="*/ 178 w 180"/>
                <a:gd name="T59" fmla="*/ 7 h 30"/>
                <a:gd name="T60" fmla="*/ 176 w 180"/>
                <a:gd name="T61" fmla="*/ 4 h 30"/>
                <a:gd name="T62" fmla="*/ 174 w 180"/>
                <a:gd name="T63" fmla="*/ 3 h 30"/>
                <a:gd name="T64" fmla="*/ 171 w 180"/>
                <a:gd name="T65" fmla="*/ 1 h 30"/>
                <a:gd name="T66" fmla="*/ 168 w 180"/>
                <a:gd name="T67" fmla="*/ 1 h 30"/>
                <a:gd name="T68" fmla="*/ 165 w 180"/>
                <a:gd name="T69" fmla="*/ 0 h 30"/>
                <a:gd name="T70" fmla="*/ 165 w 180"/>
                <a:gd name="T7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80" h="30">
                  <a:moveTo>
                    <a:pt x="165" y="0"/>
                  </a:moveTo>
                  <a:lnTo>
                    <a:pt x="15" y="0"/>
                  </a:lnTo>
                  <a:lnTo>
                    <a:pt x="12" y="1"/>
                  </a:lnTo>
                  <a:lnTo>
                    <a:pt x="8" y="1"/>
                  </a:lnTo>
                  <a:lnTo>
                    <a:pt x="6" y="3"/>
                  </a:lnTo>
                  <a:lnTo>
                    <a:pt x="4" y="4"/>
                  </a:lnTo>
                  <a:lnTo>
                    <a:pt x="2" y="7"/>
                  </a:lnTo>
                  <a:lnTo>
                    <a:pt x="1" y="10"/>
                  </a:lnTo>
                  <a:lnTo>
                    <a:pt x="0" y="13"/>
                  </a:lnTo>
                  <a:lnTo>
                    <a:pt x="0" y="15"/>
                  </a:lnTo>
                  <a:lnTo>
                    <a:pt x="0" y="18"/>
                  </a:lnTo>
                  <a:lnTo>
                    <a:pt x="1" y="21"/>
                  </a:lnTo>
                  <a:lnTo>
                    <a:pt x="2" y="23"/>
                  </a:lnTo>
                  <a:lnTo>
                    <a:pt x="4" y="26"/>
                  </a:lnTo>
                  <a:lnTo>
                    <a:pt x="6" y="28"/>
                  </a:lnTo>
                  <a:lnTo>
                    <a:pt x="8" y="29"/>
                  </a:lnTo>
                  <a:lnTo>
                    <a:pt x="12" y="30"/>
                  </a:lnTo>
                  <a:lnTo>
                    <a:pt x="15" y="30"/>
                  </a:lnTo>
                  <a:lnTo>
                    <a:pt x="165" y="30"/>
                  </a:lnTo>
                  <a:lnTo>
                    <a:pt x="168" y="30"/>
                  </a:lnTo>
                  <a:lnTo>
                    <a:pt x="171" y="29"/>
                  </a:lnTo>
                  <a:lnTo>
                    <a:pt x="174" y="28"/>
                  </a:lnTo>
                  <a:lnTo>
                    <a:pt x="176" y="26"/>
                  </a:lnTo>
                  <a:lnTo>
                    <a:pt x="178" y="23"/>
                  </a:lnTo>
                  <a:lnTo>
                    <a:pt x="179" y="21"/>
                  </a:lnTo>
                  <a:lnTo>
                    <a:pt x="180" y="18"/>
                  </a:lnTo>
                  <a:lnTo>
                    <a:pt x="180" y="15"/>
                  </a:lnTo>
                  <a:lnTo>
                    <a:pt x="180" y="13"/>
                  </a:lnTo>
                  <a:lnTo>
                    <a:pt x="179" y="10"/>
                  </a:lnTo>
                  <a:lnTo>
                    <a:pt x="178" y="7"/>
                  </a:lnTo>
                  <a:lnTo>
                    <a:pt x="176" y="4"/>
                  </a:lnTo>
                  <a:lnTo>
                    <a:pt x="174" y="3"/>
                  </a:lnTo>
                  <a:lnTo>
                    <a:pt x="171" y="1"/>
                  </a:lnTo>
                  <a:lnTo>
                    <a:pt x="168" y="1"/>
                  </a:lnTo>
                  <a:lnTo>
                    <a:pt x="165" y="0"/>
                  </a:lnTo>
                  <a:lnTo>
                    <a:pt x="16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1" name="Freeform 288"/>
            <p:cNvSpPr>
              <a:spLocks/>
            </p:cNvSpPr>
            <p:nvPr/>
          </p:nvSpPr>
          <p:spPr bwMode="auto">
            <a:xfrm>
              <a:off x="7234238" y="2127250"/>
              <a:ext cx="57150" cy="9525"/>
            </a:xfrm>
            <a:custGeom>
              <a:avLst/>
              <a:gdLst>
                <a:gd name="T0" fmla="*/ 165 w 180"/>
                <a:gd name="T1" fmla="*/ 0 h 30"/>
                <a:gd name="T2" fmla="*/ 15 w 180"/>
                <a:gd name="T3" fmla="*/ 0 h 30"/>
                <a:gd name="T4" fmla="*/ 12 w 180"/>
                <a:gd name="T5" fmla="*/ 0 h 30"/>
                <a:gd name="T6" fmla="*/ 8 w 180"/>
                <a:gd name="T7" fmla="*/ 1 h 30"/>
                <a:gd name="T8" fmla="*/ 6 w 180"/>
                <a:gd name="T9" fmla="*/ 3 h 30"/>
                <a:gd name="T10" fmla="*/ 4 w 180"/>
                <a:gd name="T11" fmla="*/ 4 h 30"/>
                <a:gd name="T12" fmla="*/ 2 w 180"/>
                <a:gd name="T13" fmla="*/ 6 h 30"/>
                <a:gd name="T14" fmla="*/ 1 w 180"/>
                <a:gd name="T15" fmla="*/ 9 h 30"/>
                <a:gd name="T16" fmla="*/ 0 w 180"/>
                <a:gd name="T17" fmla="*/ 12 h 30"/>
                <a:gd name="T18" fmla="*/ 0 w 180"/>
                <a:gd name="T19" fmla="*/ 15 h 30"/>
                <a:gd name="T20" fmla="*/ 0 w 180"/>
                <a:gd name="T21" fmla="*/ 18 h 30"/>
                <a:gd name="T22" fmla="*/ 1 w 180"/>
                <a:gd name="T23" fmla="*/ 21 h 30"/>
                <a:gd name="T24" fmla="*/ 2 w 180"/>
                <a:gd name="T25" fmla="*/ 23 h 30"/>
                <a:gd name="T26" fmla="*/ 4 w 180"/>
                <a:gd name="T27" fmla="*/ 26 h 30"/>
                <a:gd name="T28" fmla="*/ 6 w 180"/>
                <a:gd name="T29" fmla="*/ 28 h 30"/>
                <a:gd name="T30" fmla="*/ 8 w 180"/>
                <a:gd name="T31" fmla="*/ 29 h 30"/>
                <a:gd name="T32" fmla="*/ 12 w 180"/>
                <a:gd name="T33" fmla="*/ 30 h 30"/>
                <a:gd name="T34" fmla="*/ 15 w 180"/>
                <a:gd name="T35" fmla="*/ 30 h 30"/>
                <a:gd name="T36" fmla="*/ 165 w 180"/>
                <a:gd name="T37" fmla="*/ 30 h 30"/>
                <a:gd name="T38" fmla="*/ 168 w 180"/>
                <a:gd name="T39" fmla="*/ 30 h 30"/>
                <a:gd name="T40" fmla="*/ 171 w 180"/>
                <a:gd name="T41" fmla="*/ 29 h 30"/>
                <a:gd name="T42" fmla="*/ 174 w 180"/>
                <a:gd name="T43" fmla="*/ 28 h 30"/>
                <a:gd name="T44" fmla="*/ 176 w 180"/>
                <a:gd name="T45" fmla="*/ 26 h 30"/>
                <a:gd name="T46" fmla="*/ 178 w 180"/>
                <a:gd name="T47" fmla="*/ 23 h 30"/>
                <a:gd name="T48" fmla="*/ 179 w 180"/>
                <a:gd name="T49" fmla="*/ 21 h 30"/>
                <a:gd name="T50" fmla="*/ 180 w 180"/>
                <a:gd name="T51" fmla="*/ 18 h 30"/>
                <a:gd name="T52" fmla="*/ 180 w 180"/>
                <a:gd name="T53" fmla="*/ 15 h 30"/>
                <a:gd name="T54" fmla="*/ 180 w 180"/>
                <a:gd name="T55" fmla="*/ 12 h 30"/>
                <a:gd name="T56" fmla="*/ 179 w 180"/>
                <a:gd name="T57" fmla="*/ 9 h 30"/>
                <a:gd name="T58" fmla="*/ 178 w 180"/>
                <a:gd name="T59" fmla="*/ 6 h 30"/>
                <a:gd name="T60" fmla="*/ 176 w 180"/>
                <a:gd name="T61" fmla="*/ 4 h 30"/>
                <a:gd name="T62" fmla="*/ 174 w 180"/>
                <a:gd name="T63" fmla="*/ 3 h 30"/>
                <a:gd name="T64" fmla="*/ 171 w 180"/>
                <a:gd name="T65" fmla="*/ 1 h 30"/>
                <a:gd name="T66" fmla="*/ 168 w 180"/>
                <a:gd name="T67" fmla="*/ 1 h 30"/>
                <a:gd name="T68" fmla="*/ 165 w 180"/>
                <a:gd name="T69" fmla="*/ 0 h 30"/>
                <a:gd name="T70" fmla="*/ 165 w 180"/>
                <a:gd name="T7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80" h="30">
                  <a:moveTo>
                    <a:pt x="165" y="0"/>
                  </a:moveTo>
                  <a:lnTo>
                    <a:pt x="15" y="0"/>
                  </a:lnTo>
                  <a:lnTo>
                    <a:pt x="12" y="0"/>
                  </a:lnTo>
                  <a:lnTo>
                    <a:pt x="8" y="1"/>
                  </a:lnTo>
                  <a:lnTo>
                    <a:pt x="6" y="3"/>
                  </a:lnTo>
                  <a:lnTo>
                    <a:pt x="4" y="4"/>
                  </a:lnTo>
                  <a:lnTo>
                    <a:pt x="2" y="6"/>
                  </a:lnTo>
                  <a:lnTo>
                    <a:pt x="1" y="9"/>
                  </a:lnTo>
                  <a:lnTo>
                    <a:pt x="0" y="12"/>
                  </a:lnTo>
                  <a:lnTo>
                    <a:pt x="0" y="15"/>
                  </a:lnTo>
                  <a:lnTo>
                    <a:pt x="0" y="18"/>
                  </a:lnTo>
                  <a:lnTo>
                    <a:pt x="1" y="21"/>
                  </a:lnTo>
                  <a:lnTo>
                    <a:pt x="2" y="23"/>
                  </a:lnTo>
                  <a:lnTo>
                    <a:pt x="4" y="26"/>
                  </a:lnTo>
                  <a:lnTo>
                    <a:pt x="6" y="28"/>
                  </a:lnTo>
                  <a:lnTo>
                    <a:pt x="8" y="29"/>
                  </a:lnTo>
                  <a:lnTo>
                    <a:pt x="12" y="30"/>
                  </a:lnTo>
                  <a:lnTo>
                    <a:pt x="15" y="30"/>
                  </a:lnTo>
                  <a:lnTo>
                    <a:pt x="165" y="30"/>
                  </a:lnTo>
                  <a:lnTo>
                    <a:pt x="168" y="30"/>
                  </a:lnTo>
                  <a:lnTo>
                    <a:pt x="171" y="29"/>
                  </a:lnTo>
                  <a:lnTo>
                    <a:pt x="174" y="28"/>
                  </a:lnTo>
                  <a:lnTo>
                    <a:pt x="176" y="26"/>
                  </a:lnTo>
                  <a:lnTo>
                    <a:pt x="178" y="23"/>
                  </a:lnTo>
                  <a:lnTo>
                    <a:pt x="179" y="21"/>
                  </a:lnTo>
                  <a:lnTo>
                    <a:pt x="180" y="18"/>
                  </a:lnTo>
                  <a:lnTo>
                    <a:pt x="180" y="15"/>
                  </a:lnTo>
                  <a:lnTo>
                    <a:pt x="180" y="12"/>
                  </a:lnTo>
                  <a:lnTo>
                    <a:pt x="179" y="9"/>
                  </a:lnTo>
                  <a:lnTo>
                    <a:pt x="178" y="6"/>
                  </a:lnTo>
                  <a:lnTo>
                    <a:pt x="176" y="4"/>
                  </a:lnTo>
                  <a:lnTo>
                    <a:pt x="174" y="3"/>
                  </a:lnTo>
                  <a:lnTo>
                    <a:pt x="171" y="1"/>
                  </a:lnTo>
                  <a:lnTo>
                    <a:pt x="168" y="1"/>
                  </a:lnTo>
                  <a:lnTo>
                    <a:pt x="165" y="0"/>
                  </a:lnTo>
                  <a:lnTo>
                    <a:pt x="16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2" name="Freeform 289"/>
            <p:cNvSpPr>
              <a:spLocks/>
            </p:cNvSpPr>
            <p:nvPr/>
          </p:nvSpPr>
          <p:spPr bwMode="auto">
            <a:xfrm>
              <a:off x="7148513" y="2108200"/>
              <a:ext cx="57150" cy="9525"/>
            </a:xfrm>
            <a:custGeom>
              <a:avLst/>
              <a:gdLst>
                <a:gd name="T0" fmla="*/ 15 w 181"/>
                <a:gd name="T1" fmla="*/ 30 h 30"/>
                <a:gd name="T2" fmla="*/ 166 w 181"/>
                <a:gd name="T3" fmla="*/ 30 h 30"/>
                <a:gd name="T4" fmla="*/ 168 w 181"/>
                <a:gd name="T5" fmla="*/ 30 h 30"/>
                <a:gd name="T6" fmla="*/ 171 w 181"/>
                <a:gd name="T7" fmla="*/ 29 h 30"/>
                <a:gd name="T8" fmla="*/ 173 w 181"/>
                <a:gd name="T9" fmla="*/ 28 h 30"/>
                <a:gd name="T10" fmla="*/ 175 w 181"/>
                <a:gd name="T11" fmla="*/ 25 h 30"/>
                <a:gd name="T12" fmla="*/ 178 w 181"/>
                <a:gd name="T13" fmla="*/ 23 h 30"/>
                <a:gd name="T14" fmla="*/ 179 w 181"/>
                <a:gd name="T15" fmla="*/ 21 h 30"/>
                <a:gd name="T16" fmla="*/ 180 w 181"/>
                <a:gd name="T17" fmla="*/ 18 h 30"/>
                <a:gd name="T18" fmla="*/ 181 w 181"/>
                <a:gd name="T19" fmla="*/ 15 h 30"/>
                <a:gd name="T20" fmla="*/ 180 w 181"/>
                <a:gd name="T21" fmla="*/ 12 h 30"/>
                <a:gd name="T22" fmla="*/ 179 w 181"/>
                <a:gd name="T23" fmla="*/ 9 h 30"/>
                <a:gd name="T24" fmla="*/ 178 w 181"/>
                <a:gd name="T25" fmla="*/ 6 h 30"/>
                <a:gd name="T26" fmla="*/ 175 w 181"/>
                <a:gd name="T27" fmla="*/ 4 h 30"/>
                <a:gd name="T28" fmla="*/ 173 w 181"/>
                <a:gd name="T29" fmla="*/ 3 h 30"/>
                <a:gd name="T30" fmla="*/ 171 w 181"/>
                <a:gd name="T31" fmla="*/ 1 h 30"/>
                <a:gd name="T32" fmla="*/ 168 w 181"/>
                <a:gd name="T33" fmla="*/ 0 h 30"/>
                <a:gd name="T34" fmla="*/ 166 w 181"/>
                <a:gd name="T35" fmla="*/ 0 h 30"/>
                <a:gd name="T36" fmla="*/ 15 w 181"/>
                <a:gd name="T37" fmla="*/ 0 h 30"/>
                <a:gd name="T38" fmla="*/ 11 w 181"/>
                <a:gd name="T39" fmla="*/ 0 h 30"/>
                <a:gd name="T40" fmla="*/ 9 w 181"/>
                <a:gd name="T41" fmla="*/ 1 h 30"/>
                <a:gd name="T42" fmla="*/ 6 w 181"/>
                <a:gd name="T43" fmla="*/ 3 h 30"/>
                <a:gd name="T44" fmla="*/ 4 w 181"/>
                <a:gd name="T45" fmla="*/ 4 h 30"/>
                <a:gd name="T46" fmla="*/ 3 w 181"/>
                <a:gd name="T47" fmla="*/ 6 h 30"/>
                <a:gd name="T48" fmla="*/ 1 w 181"/>
                <a:gd name="T49" fmla="*/ 9 h 30"/>
                <a:gd name="T50" fmla="*/ 0 w 181"/>
                <a:gd name="T51" fmla="*/ 12 h 30"/>
                <a:gd name="T52" fmla="*/ 0 w 181"/>
                <a:gd name="T53" fmla="*/ 15 h 30"/>
                <a:gd name="T54" fmla="*/ 0 w 181"/>
                <a:gd name="T55" fmla="*/ 18 h 30"/>
                <a:gd name="T56" fmla="*/ 1 w 181"/>
                <a:gd name="T57" fmla="*/ 21 h 30"/>
                <a:gd name="T58" fmla="*/ 3 w 181"/>
                <a:gd name="T59" fmla="*/ 23 h 30"/>
                <a:gd name="T60" fmla="*/ 4 w 181"/>
                <a:gd name="T61" fmla="*/ 25 h 30"/>
                <a:gd name="T62" fmla="*/ 6 w 181"/>
                <a:gd name="T63" fmla="*/ 28 h 30"/>
                <a:gd name="T64" fmla="*/ 9 w 181"/>
                <a:gd name="T65" fmla="*/ 29 h 30"/>
                <a:gd name="T66" fmla="*/ 11 w 181"/>
                <a:gd name="T67" fmla="*/ 30 h 30"/>
                <a:gd name="T68" fmla="*/ 15 w 181"/>
                <a:gd name="T69"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1" h="30">
                  <a:moveTo>
                    <a:pt x="15" y="30"/>
                  </a:moveTo>
                  <a:lnTo>
                    <a:pt x="166" y="30"/>
                  </a:lnTo>
                  <a:lnTo>
                    <a:pt x="168" y="30"/>
                  </a:lnTo>
                  <a:lnTo>
                    <a:pt x="171" y="29"/>
                  </a:lnTo>
                  <a:lnTo>
                    <a:pt x="173" y="28"/>
                  </a:lnTo>
                  <a:lnTo>
                    <a:pt x="175" y="25"/>
                  </a:lnTo>
                  <a:lnTo>
                    <a:pt x="178" y="23"/>
                  </a:lnTo>
                  <a:lnTo>
                    <a:pt x="179" y="21"/>
                  </a:lnTo>
                  <a:lnTo>
                    <a:pt x="180" y="18"/>
                  </a:lnTo>
                  <a:lnTo>
                    <a:pt x="181" y="15"/>
                  </a:lnTo>
                  <a:lnTo>
                    <a:pt x="180" y="12"/>
                  </a:lnTo>
                  <a:lnTo>
                    <a:pt x="179" y="9"/>
                  </a:lnTo>
                  <a:lnTo>
                    <a:pt x="178" y="6"/>
                  </a:lnTo>
                  <a:lnTo>
                    <a:pt x="175" y="4"/>
                  </a:lnTo>
                  <a:lnTo>
                    <a:pt x="173" y="3"/>
                  </a:lnTo>
                  <a:lnTo>
                    <a:pt x="171" y="1"/>
                  </a:lnTo>
                  <a:lnTo>
                    <a:pt x="168" y="0"/>
                  </a:lnTo>
                  <a:lnTo>
                    <a:pt x="166" y="0"/>
                  </a:lnTo>
                  <a:lnTo>
                    <a:pt x="15" y="0"/>
                  </a:lnTo>
                  <a:lnTo>
                    <a:pt x="11" y="0"/>
                  </a:lnTo>
                  <a:lnTo>
                    <a:pt x="9" y="1"/>
                  </a:lnTo>
                  <a:lnTo>
                    <a:pt x="6" y="3"/>
                  </a:lnTo>
                  <a:lnTo>
                    <a:pt x="4" y="4"/>
                  </a:lnTo>
                  <a:lnTo>
                    <a:pt x="3" y="6"/>
                  </a:lnTo>
                  <a:lnTo>
                    <a:pt x="1" y="9"/>
                  </a:lnTo>
                  <a:lnTo>
                    <a:pt x="0" y="12"/>
                  </a:lnTo>
                  <a:lnTo>
                    <a:pt x="0" y="15"/>
                  </a:lnTo>
                  <a:lnTo>
                    <a:pt x="0" y="18"/>
                  </a:lnTo>
                  <a:lnTo>
                    <a:pt x="1" y="21"/>
                  </a:lnTo>
                  <a:lnTo>
                    <a:pt x="3" y="23"/>
                  </a:lnTo>
                  <a:lnTo>
                    <a:pt x="4" y="25"/>
                  </a:lnTo>
                  <a:lnTo>
                    <a:pt x="6" y="28"/>
                  </a:lnTo>
                  <a:lnTo>
                    <a:pt x="9" y="29"/>
                  </a:lnTo>
                  <a:lnTo>
                    <a:pt x="11" y="30"/>
                  </a:lnTo>
                  <a:lnTo>
                    <a:pt x="15" y="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3" name="Freeform 290"/>
            <p:cNvSpPr>
              <a:spLocks/>
            </p:cNvSpPr>
            <p:nvPr/>
          </p:nvSpPr>
          <p:spPr bwMode="auto">
            <a:xfrm>
              <a:off x="7148513" y="2127250"/>
              <a:ext cx="57150" cy="9525"/>
            </a:xfrm>
            <a:custGeom>
              <a:avLst/>
              <a:gdLst>
                <a:gd name="T0" fmla="*/ 15 w 181"/>
                <a:gd name="T1" fmla="*/ 30 h 30"/>
                <a:gd name="T2" fmla="*/ 166 w 181"/>
                <a:gd name="T3" fmla="*/ 30 h 30"/>
                <a:gd name="T4" fmla="*/ 168 w 181"/>
                <a:gd name="T5" fmla="*/ 30 h 30"/>
                <a:gd name="T6" fmla="*/ 171 w 181"/>
                <a:gd name="T7" fmla="*/ 29 h 30"/>
                <a:gd name="T8" fmla="*/ 173 w 181"/>
                <a:gd name="T9" fmla="*/ 28 h 30"/>
                <a:gd name="T10" fmla="*/ 175 w 181"/>
                <a:gd name="T11" fmla="*/ 26 h 30"/>
                <a:gd name="T12" fmla="*/ 178 w 181"/>
                <a:gd name="T13" fmla="*/ 23 h 30"/>
                <a:gd name="T14" fmla="*/ 179 w 181"/>
                <a:gd name="T15" fmla="*/ 21 h 30"/>
                <a:gd name="T16" fmla="*/ 180 w 181"/>
                <a:gd name="T17" fmla="*/ 18 h 30"/>
                <a:gd name="T18" fmla="*/ 181 w 181"/>
                <a:gd name="T19" fmla="*/ 15 h 30"/>
                <a:gd name="T20" fmla="*/ 180 w 181"/>
                <a:gd name="T21" fmla="*/ 12 h 30"/>
                <a:gd name="T22" fmla="*/ 179 w 181"/>
                <a:gd name="T23" fmla="*/ 9 h 30"/>
                <a:gd name="T24" fmla="*/ 178 w 181"/>
                <a:gd name="T25" fmla="*/ 6 h 30"/>
                <a:gd name="T26" fmla="*/ 175 w 181"/>
                <a:gd name="T27" fmla="*/ 4 h 30"/>
                <a:gd name="T28" fmla="*/ 173 w 181"/>
                <a:gd name="T29" fmla="*/ 3 h 30"/>
                <a:gd name="T30" fmla="*/ 171 w 181"/>
                <a:gd name="T31" fmla="*/ 1 h 30"/>
                <a:gd name="T32" fmla="*/ 168 w 181"/>
                <a:gd name="T33" fmla="*/ 1 h 30"/>
                <a:gd name="T34" fmla="*/ 166 w 181"/>
                <a:gd name="T35" fmla="*/ 0 h 30"/>
                <a:gd name="T36" fmla="*/ 15 w 181"/>
                <a:gd name="T37" fmla="*/ 0 h 30"/>
                <a:gd name="T38" fmla="*/ 11 w 181"/>
                <a:gd name="T39" fmla="*/ 0 h 30"/>
                <a:gd name="T40" fmla="*/ 9 w 181"/>
                <a:gd name="T41" fmla="*/ 1 h 30"/>
                <a:gd name="T42" fmla="*/ 6 w 181"/>
                <a:gd name="T43" fmla="*/ 3 h 30"/>
                <a:gd name="T44" fmla="*/ 4 w 181"/>
                <a:gd name="T45" fmla="*/ 4 h 30"/>
                <a:gd name="T46" fmla="*/ 3 w 181"/>
                <a:gd name="T47" fmla="*/ 6 h 30"/>
                <a:gd name="T48" fmla="*/ 1 w 181"/>
                <a:gd name="T49" fmla="*/ 9 h 30"/>
                <a:gd name="T50" fmla="*/ 0 w 181"/>
                <a:gd name="T51" fmla="*/ 12 h 30"/>
                <a:gd name="T52" fmla="*/ 0 w 181"/>
                <a:gd name="T53" fmla="*/ 15 h 30"/>
                <a:gd name="T54" fmla="*/ 0 w 181"/>
                <a:gd name="T55" fmla="*/ 18 h 30"/>
                <a:gd name="T56" fmla="*/ 1 w 181"/>
                <a:gd name="T57" fmla="*/ 21 h 30"/>
                <a:gd name="T58" fmla="*/ 3 w 181"/>
                <a:gd name="T59" fmla="*/ 23 h 30"/>
                <a:gd name="T60" fmla="*/ 4 w 181"/>
                <a:gd name="T61" fmla="*/ 26 h 30"/>
                <a:gd name="T62" fmla="*/ 6 w 181"/>
                <a:gd name="T63" fmla="*/ 28 h 30"/>
                <a:gd name="T64" fmla="*/ 9 w 181"/>
                <a:gd name="T65" fmla="*/ 29 h 30"/>
                <a:gd name="T66" fmla="*/ 11 w 181"/>
                <a:gd name="T67" fmla="*/ 30 h 30"/>
                <a:gd name="T68" fmla="*/ 15 w 181"/>
                <a:gd name="T69" fmla="*/ 30 h 30"/>
                <a:gd name="T70" fmla="*/ 15 w 181"/>
                <a:gd name="T71"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81" h="30">
                  <a:moveTo>
                    <a:pt x="15" y="30"/>
                  </a:moveTo>
                  <a:lnTo>
                    <a:pt x="166" y="30"/>
                  </a:lnTo>
                  <a:lnTo>
                    <a:pt x="168" y="30"/>
                  </a:lnTo>
                  <a:lnTo>
                    <a:pt x="171" y="29"/>
                  </a:lnTo>
                  <a:lnTo>
                    <a:pt x="173" y="28"/>
                  </a:lnTo>
                  <a:lnTo>
                    <a:pt x="175" y="26"/>
                  </a:lnTo>
                  <a:lnTo>
                    <a:pt x="178" y="23"/>
                  </a:lnTo>
                  <a:lnTo>
                    <a:pt x="179" y="21"/>
                  </a:lnTo>
                  <a:lnTo>
                    <a:pt x="180" y="18"/>
                  </a:lnTo>
                  <a:lnTo>
                    <a:pt x="181" y="15"/>
                  </a:lnTo>
                  <a:lnTo>
                    <a:pt x="180" y="12"/>
                  </a:lnTo>
                  <a:lnTo>
                    <a:pt x="179" y="9"/>
                  </a:lnTo>
                  <a:lnTo>
                    <a:pt x="178" y="6"/>
                  </a:lnTo>
                  <a:lnTo>
                    <a:pt x="175" y="4"/>
                  </a:lnTo>
                  <a:lnTo>
                    <a:pt x="173" y="3"/>
                  </a:lnTo>
                  <a:lnTo>
                    <a:pt x="171" y="1"/>
                  </a:lnTo>
                  <a:lnTo>
                    <a:pt x="168" y="1"/>
                  </a:lnTo>
                  <a:lnTo>
                    <a:pt x="166" y="0"/>
                  </a:lnTo>
                  <a:lnTo>
                    <a:pt x="15" y="0"/>
                  </a:lnTo>
                  <a:lnTo>
                    <a:pt x="11" y="0"/>
                  </a:lnTo>
                  <a:lnTo>
                    <a:pt x="9" y="1"/>
                  </a:lnTo>
                  <a:lnTo>
                    <a:pt x="6" y="3"/>
                  </a:lnTo>
                  <a:lnTo>
                    <a:pt x="4" y="4"/>
                  </a:lnTo>
                  <a:lnTo>
                    <a:pt x="3" y="6"/>
                  </a:lnTo>
                  <a:lnTo>
                    <a:pt x="1" y="9"/>
                  </a:lnTo>
                  <a:lnTo>
                    <a:pt x="0" y="12"/>
                  </a:lnTo>
                  <a:lnTo>
                    <a:pt x="0" y="15"/>
                  </a:lnTo>
                  <a:lnTo>
                    <a:pt x="0" y="18"/>
                  </a:lnTo>
                  <a:lnTo>
                    <a:pt x="1" y="21"/>
                  </a:lnTo>
                  <a:lnTo>
                    <a:pt x="3" y="23"/>
                  </a:lnTo>
                  <a:lnTo>
                    <a:pt x="4" y="26"/>
                  </a:lnTo>
                  <a:lnTo>
                    <a:pt x="6" y="28"/>
                  </a:lnTo>
                  <a:lnTo>
                    <a:pt x="9" y="29"/>
                  </a:lnTo>
                  <a:lnTo>
                    <a:pt x="11" y="30"/>
                  </a:lnTo>
                  <a:lnTo>
                    <a:pt x="15" y="30"/>
                  </a:lnTo>
                  <a:lnTo>
                    <a:pt x="15" y="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4" name="Freeform 291"/>
            <p:cNvSpPr>
              <a:spLocks/>
            </p:cNvSpPr>
            <p:nvPr/>
          </p:nvSpPr>
          <p:spPr bwMode="auto">
            <a:xfrm>
              <a:off x="7148513" y="2146300"/>
              <a:ext cx="57150" cy="9525"/>
            </a:xfrm>
            <a:custGeom>
              <a:avLst/>
              <a:gdLst>
                <a:gd name="T0" fmla="*/ 166 w 181"/>
                <a:gd name="T1" fmla="*/ 0 h 30"/>
                <a:gd name="T2" fmla="*/ 15 w 181"/>
                <a:gd name="T3" fmla="*/ 0 h 30"/>
                <a:gd name="T4" fmla="*/ 11 w 181"/>
                <a:gd name="T5" fmla="*/ 1 h 30"/>
                <a:gd name="T6" fmla="*/ 9 w 181"/>
                <a:gd name="T7" fmla="*/ 1 h 30"/>
                <a:gd name="T8" fmla="*/ 6 w 181"/>
                <a:gd name="T9" fmla="*/ 3 h 30"/>
                <a:gd name="T10" fmla="*/ 4 w 181"/>
                <a:gd name="T11" fmla="*/ 4 h 30"/>
                <a:gd name="T12" fmla="*/ 3 w 181"/>
                <a:gd name="T13" fmla="*/ 7 h 30"/>
                <a:gd name="T14" fmla="*/ 1 w 181"/>
                <a:gd name="T15" fmla="*/ 10 h 30"/>
                <a:gd name="T16" fmla="*/ 0 w 181"/>
                <a:gd name="T17" fmla="*/ 13 h 30"/>
                <a:gd name="T18" fmla="*/ 0 w 181"/>
                <a:gd name="T19" fmla="*/ 15 h 30"/>
                <a:gd name="T20" fmla="*/ 0 w 181"/>
                <a:gd name="T21" fmla="*/ 18 h 30"/>
                <a:gd name="T22" fmla="*/ 1 w 181"/>
                <a:gd name="T23" fmla="*/ 21 h 30"/>
                <a:gd name="T24" fmla="*/ 3 w 181"/>
                <a:gd name="T25" fmla="*/ 23 h 30"/>
                <a:gd name="T26" fmla="*/ 4 w 181"/>
                <a:gd name="T27" fmla="*/ 26 h 30"/>
                <a:gd name="T28" fmla="*/ 6 w 181"/>
                <a:gd name="T29" fmla="*/ 28 h 30"/>
                <a:gd name="T30" fmla="*/ 9 w 181"/>
                <a:gd name="T31" fmla="*/ 29 h 30"/>
                <a:gd name="T32" fmla="*/ 11 w 181"/>
                <a:gd name="T33" fmla="*/ 30 h 30"/>
                <a:gd name="T34" fmla="*/ 15 w 181"/>
                <a:gd name="T35" fmla="*/ 30 h 30"/>
                <a:gd name="T36" fmla="*/ 166 w 181"/>
                <a:gd name="T37" fmla="*/ 30 h 30"/>
                <a:gd name="T38" fmla="*/ 168 w 181"/>
                <a:gd name="T39" fmla="*/ 30 h 30"/>
                <a:gd name="T40" fmla="*/ 171 w 181"/>
                <a:gd name="T41" fmla="*/ 29 h 30"/>
                <a:gd name="T42" fmla="*/ 173 w 181"/>
                <a:gd name="T43" fmla="*/ 28 h 30"/>
                <a:gd name="T44" fmla="*/ 175 w 181"/>
                <a:gd name="T45" fmla="*/ 26 h 30"/>
                <a:gd name="T46" fmla="*/ 178 w 181"/>
                <a:gd name="T47" fmla="*/ 23 h 30"/>
                <a:gd name="T48" fmla="*/ 179 w 181"/>
                <a:gd name="T49" fmla="*/ 21 h 30"/>
                <a:gd name="T50" fmla="*/ 180 w 181"/>
                <a:gd name="T51" fmla="*/ 18 h 30"/>
                <a:gd name="T52" fmla="*/ 181 w 181"/>
                <a:gd name="T53" fmla="*/ 15 h 30"/>
                <a:gd name="T54" fmla="*/ 180 w 181"/>
                <a:gd name="T55" fmla="*/ 13 h 30"/>
                <a:gd name="T56" fmla="*/ 179 w 181"/>
                <a:gd name="T57" fmla="*/ 10 h 30"/>
                <a:gd name="T58" fmla="*/ 178 w 181"/>
                <a:gd name="T59" fmla="*/ 7 h 30"/>
                <a:gd name="T60" fmla="*/ 175 w 181"/>
                <a:gd name="T61" fmla="*/ 4 h 30"/>
                <a:gd name="T62" fmla="*/ 173 w 181"/>
                <a:gd name="T63" fmla="*/ 3 h 30"/>
                <a:gd name="T64" fmla="*/ 171 w 181"/>
                <a:gd name="T65" fmla="*/ 1 h 30"/>
                <a:gd name="T66" fmla="*/ 168 w 181"/>
                <a:gd name="T67" fmla="*/ 1 h 30"/>
                <a:gd name="T68" fmla="*/ 166 w 181"/>
                <a:gd name="T69" fmla="*/ 0 h 30"/>
                <a:gd name="T70" fmla="*/ 166 w 181"/>
                <a:gd name="T7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81" h="30">
                  <a:moveTo>
                    <a:pt x="166" y="0"/>
                  </a:moveTo>
                  <a:lnTo>
                    <a:pt x="15" y="0"/>
                  </a:lnTo>
                  <a:lnTo>
                    <a:pt x="11" y="1"/>
                  </a:lnTo>
                  <a:lnTo>
                    <a:pt x="9" y="1"/>
                  </a:lnTo>
                  <a:lnTo>
                    <a:pt x="6" y="3"/>
                  </a:lnTo>
                  <a:lnTo>
                    <a:pt x="4" y="4"/>
                  </a:lnTo>
                  <a:lnTo>
                    <a:pt x="3" y="7"/>
                  </a:lnTo>
                  <a:lnTo>
                    <a:pt x="1" y="10"/>
                  </a:lnTo>
                  <a:lnTo>
                    <a:pt x="0" y="13"/>
                  </a:lnTo>
                  <a:lnTo>
                    <a:pt x="0" y="15"/>
                  </a:lnTo>
                  <a:lnTo>
                    <a:pt x="0" y="18"/>
                  </a:lnTo>
                  <a:lnTo>
                    <a:pt x="1" y="21"/>
                  </a:lnTo>
                  <a:lnTo>
                    <a:pt x="3" y="23"/>
                  </a:lnTo>
                  <a:lnTo>
                    <a:pt x="4" y="26"/>
                  </a:lnTo>
                  <a:lnTo>
                    <a:pt x="6" y="28"/>
                  </a:lnTo>
                  <a:lnTo>
                    <a:pt x="9" y="29"/>
                  </a:lnTo>
                  <a:lnTo>
                    <a:pt x="11" y="30"/>
                  </a:lnTo>
                  <a:lnTo>
                    <a:pt x="15" y="30"/>
                  </a:lnTo>
                  <a:lnTo>
                    <a:pt x="166" y="30"/>
                  </a:lnTo>
                  <a:lnTo>
                    <a:pt x="168" y="30"/>
                  </a:lnTo>
                  <a:lnTo>
                    <a:pt x="171" y="29"/>
                  </a:lnTo>
                  <a:lnTo>
                    <a:pt x="173" y="28"/>
                  </a:lnTo>
                  <a:lnTo>
                    <a:pt x="175" y="26"/>
                  </a:lnTo>
                  <a:lnTo>
                    <a:pt x="178" y="23"/>
                  </a:lnTo>
                  <a:lnTo>
                    <a:pt x="179" y="21"/>
                  </a:lnTo>
                  <a:lnTo>
                    <a:pt x="180" y="18"/>
                  </a:lnTo>
                  <a:lnTo>
                    <a:pt x="181" y="15"/>
                  </a:lnTo>
                  <a:lnTo>
                    <a:pt x="180" y="13"/>
                  </a:lnTo>
                  <a:lnTo>
                    <a:pt x="179" y="10"/>
                  </a:lnTo>
                  <a:lnTo>
                    <a:pt x="178" y="7"/>
                  </a:lnTo>
                  <a:lnTo>
                    <a:pt x="175" y="4"/>
                  </a:lnTo>
                  <a:lnTo>
                    <a:pt x="173" y="3"/>
                  </a:lnTo>
                  <a:lnTo>
                    <a:pt x="171" y="1"/>
                  </a:lnTo>
                  <a:lnTo>
                    <a:pt x="168" y="1"/>
                  </a:lnTo>
                  <a:lnTo>
                    <a:pt x="166" y="0"/>
                  </a:lnTo>
                  <a:lnTo>
                    <a:pt x="16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95" name="Group 294"/>
          <p:cNvGrpSpPr/>
          <p:nvPr/>
        </p:nvGrpSpPr>
        <p:grpSpPr>
          <a:xfrm>
            <a:off x="7057530" y="2370057"/>
            <a:ext cx="287338" cy="287338"/>
            <a:chOff x="885825" y="1925638"/>
            <a:chExt cx="287338" cy="287338"/>
          </a:xfrm>
          <a:solidFill>
            <a:srgbClr val="3B3939"/>
          </a:solidFill>
        </p:grpSpPr>
        <p:sp>
          <p:nvSpPr>
            <p:cNvPr id="296" name="Freeform 50"/>
            <p:cNvSpPr>
              <a:spLocks noEditPoints="1"/>
            </p:cNvSpPr>
            <p:nvPr/>
          </p:nvSpPr>
          <p:spPr bwMode="auto">
            <a:xfrm>
              <a:off x="885825" y="1925638"/>
              <a:ext cx="228600" cy="287338"/>
            </a:xfrm>
            <a:custGeom>
              <a:avLst/>
              <a:gdLst>
                <a:gd name="T0" fmla="*/ 230 w 722"/>
                <a:gd name="T1" fmla="*/ 221 h 905"/>
                <a:gd name="T2" fmla="*/ 252 w 722"/>
                <a:gd name="T3" fmla="*/ 167 h 905"/>
                <a:gd name="T4" fmla="*/ 252 w 722"/>
                <a:gd name="T5" fmla="*/ 105 h 905"/>
                <a:gd name="T6" fmla="*/ 227 w 722"/>
                <a:gd name="T7" fmla="*/ 52 h 905"/>
                <a:gd name="T8" fmla="*/ 598 w 722"/>
                <a:gd name="T9" fmla="*/ 30 h 905"/>
                <a:gd name="T10" fmla="*/ 635 w 722"/>
                <a:gd name="T11" fmla="*/ 43 h 905"/>
                <a:gd name="T12" fmla="*/ 668 w 722"/>
                <a:gd name="T13" fmla="*/ 70 h 905"/>
                <a:gd name="T14" fmla="*/ 688 w 722"/>
                <a:gd name="T15" fmla="*/ 106 h 905"/>
                <a:gd name="T16" fmla="*/ 692 w 722"/>
                <a:gd name="T17" fmla="*/ 145 h 905"/>
                <a:gd name="T18" fmla="*/ 679 w 722"/>
                <a:gd name="T19" fmla="*/ 184 h 905"/>
                <a:gd name="T20" fmla="*/ 652 w 722"/>
                <a:gd name="T21" fmla="*/ 216 h 905"/>
                <a:gd name="T22" fmla="*/ 617 w 722"/>
                <a:gd name="T23" fmla="*/ 236 h 905"/>
                <a:gd name="T24" fmla="*/ 587 w 722"/>
                <a:gd name="T25" fmla="*/ 241 h 905"/>
                <a:gd name="T26" fmla="*/ 572 w 722"/>
                <a:gd name="T27" fmla="*/ 271 h 905"/>
                <a:gd name="T28" fmla="*/ 217 w 722"/>
                <a:gd name="T29" fmla="*/ 181 h 905"/>
                <a:gd name="T30" fmla="*/ 191 w 722"/>
                <a:gd name="T31" fmla="*/ 220 h 905"/>
                <a:gd name="T32" fmla="*/ 150 w 722"/>
                <a:gd name="T33" fmla="*/ 240 h 905"/>
                <a:gd name="T34" fmla="*/ 30 w 722"/>
                <a:gd name="T35" fmla="*/ 125 h 905"/>
                <a:gd name="T36" fmla="*/ 42 w 722"/>
                <a:gd name="T37" fmla="*/ 86 h 905"/>
                <a:gd name="T38" fmla="*/ 66 w 722"/>
                <a:gd name="T39" fmla="*/ 55 h 905"/>
                <a:gd name="T40" fmla="*/ 100 w 722"/>
                <a:gd name="T41" fmla="*/ 35 h 905"/>
                <a:gd name="T42" fmla="*/ 138 w 722"/>
                <a:gd name="T43" fmla="*/ 30 h 905"/>
                <a:gd name="T44" fmla="*/ 174 w 722"/>
                <a:gd name="T45" fmla="*/ 43 h 905"/>
                <a:gd name="T46" fmla="*/ 203 w 722"/>
                <a:gd name="T47" fmla="*/ 69 h 905"/>
                <a:gd name="T48" fmla="*/ 221 w 722"/>
                <a:gd name="T49" fmla="*/ 105 h 905"/>
                <a:gd name="T50" fmla="*/ 225 w 722"/>
                <a:gd name="T51" fmla="*/ 143 h 905"/>
                <a:gd name="T52" fmla="*/ 129 w 722"/>
                <a:gd name="T53" fmla="*/ 152 h 905"/>
                <a:gd name="T54" fmla="*/ 121 w 722"/>
                <a:gd name="T55" fmla="*/ 160 h 905"/>
                <a:gd name="T56" fmla="*/ 120 w 722"/>
                <a:gd name="T57" fmla="*/ 604 h 905"/>
                <a:gd name="T58" fmla="*/ 720 w 722"/>
                <a:gd name="T59" fmla="*/ 110 h 905"/>
                <a:gd name="T60" fmla="*/ 699 w 722"/>
                <a:gd name="T61" fmla="*/ 62 h 905"/>
                <a:gd name="T62" fmla="*/ 661 w 722"/>
                <a:gd name="T63" fmla="*/ 24 h 905"/>
                <a:gd name="T64" fmla="*/ 614 w 722"/>
                <a:gd name="T65" fmla="*/ 3 h 905"/>
                <a:gd name="T66" fmla="*/ 134 w 722"/>
                <a:gd name="T67" fmla="*/ 0 h 905"/>
                <a:gd name="T68" fmla="*/ 116 w 722"/>
                <a:gd name="T69" fmla="*/ 1 h 905"/>
                <a:gd name="T70" fmla="*/ 67 w 722"/>
                <a:gd name="T71" fmla="*/ 16 h 905"/>
                <a:gd name="T72" fmla="*/ 29 w 722"/>
                <a:gd name="T73" fmla="*/ 50 h 905"/>
                <a:gd name="T74" fmla="*/ 5 w 722"/>
                <a:gd name="T75" fmla="*/ 96 h 905"/>
                <a:gd name="T76" fmla="*/ 0 w 722"/>
                <a:gd name="T77" fmla="*/ 619 h 905"/>
                <a:gd name="T78" fmla="*/ 4 w 722"/>
                <a:gd name="T79" fmla="*/ 629 h 905"/>
                <a:gd name="T80" fmla="*/ 15 w 722"/>
                <a:gd name="T81" fmla="*/ 634 h 905"/>
                <a:gd name="T82" fmla="*/ 121 w 722"/>
                <a:gd name="T83" fmla="*/ 895 h 905"/>
                <a:gd name="T84" fmla="*/ 129 w 722"/>
                <a:gd name="T85" fmla="*/ 904 h 905"/>
                <a:gd name="T86" fmla="*/ 590 w 722"/>
                <a:gd name="T87" fmla="*/ 905 h 905"/>
                <a:gd name="T88" fmla="*/ 600 w 722"/>
                <a:gd name="T89" fmla="*/ 898 h 905"/>
                <a:gd name="T90" fmla="*/ 602 w 722"/>
                <a:gd name="T91" fmla="*/ 270 h 905"/>
                <a:gd name="T92" fmla="*/ 648 w 722"/>
                <a:gd name="T93" fmla="*/ 255 h 905"/>
                <a:gd name="T94" fmla="*/ 687 w 722"/>
                <a:gd name="T95" fmla="*/ 225 h 905"/>
                <a:gd name="T96" fmla="*/ 713 w 722"/>
                <a:gd name="T97" fmla="*/ 183 h 905"/>
                <a:gd name="T98" fmla="*/ 722 w 722"/>
                <a:gd name="T99" fmla="*/ 136 h 9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722" h="905">
                  <a:moveTo>
                    <a:pt x="587" y="241"/>
                  </a:moveTo>
                  <a:lnTo>
                    <a:pt x="211" y="241"/>
                  </a:lnTo>
                  <a:lnTo>
                    <a:pt x="221" y="231"/>
                  </a:lnTo>
                  <a:lnTo>
                    <a:pt x="230" y="221"/>
                  </a:lnTo>
                  <a:lnTo>
                    <a:pt x="237" y="209"/>
                  </a:lnTo>
                  <a:lnTo>
                    <a:pt x="244" y="195"/>
                  </a:lnTo>
                  <a:lnTo>
                    <a:pt x="249" y="182"/>
                  </a:lnTo>
                  <a:lnTo>
                    <a:pt x="252" y="167"/>
                  </a:lnTo>
                  <a:lnTo>
                    <a:pt x="254" y="152"/>
                  </a:lnTo>
                  <a:lnTo>
                    <a:pt x="256" y="136"/>
                  </a:lnTo>
                  <a:lnTo>
                    <a:pt x="254" y="120"/>
                  </a:lnTo>
                  <a:lnTo>
                    <a:pt x="252" y="105"/>
                  </a:lnTo>
                  <a:lnTo>
                    <a:pt x="248" y="91"/>
                  </a:lnTo>
                  <a:lnTo>
                    <a:pt x="243" y="77"/>
                  </a:lnTo>
                  <a:lnTo>
                    <a:pt x="235" y="64"/>
                  </a:lnTo>
                  <a:lnTo>
                    <a:pt x="227" y="52"/>
                  </a:lnTo>
                  <a:lnTo>
                    <a:pt x="218" y="40"/>
                  </a:lnTo>
                  <a:lnTo>
                    <a:pt x="207" y="30"/>
                  </a:lnTo>
                  <a:lnTo>
                    <a:pt x="587" y="30"/>
                  </a:lnTo>
                  <a:lnTo>
                    <a:pt x="598" y="30"/>
                  </a:lnTo>
                  <a:lnTo>
                    <a:pt x="607" y="33"/>
                  </a:lnTo>
                  <a:lnTo>
                    <a:pt x="617" y="36"/>
                  </a:lnTo>
                  <a:lnTo>
                    <a:pt x="627" y="39"/>
                  </a:lnTo>
                  <a:lnTo>
                    <a:pt x="635" y="43"/>
                  </a:lnTo>
                  <a:lnTo>
                    <a:pt x="645" y="50"/>
                  </a:lnTo>
                  <a:lnTo>
                    <a:pt x="652" y="56"/>
                  </a:lnTo>
                  <a:lnTo>
                    <a:pt x="660" y="63"/>
                  </a:lnTo>
                  <a:lnTo>
                    <a:pt x="668" y="70"/>
                  </a:lnTo>
                  <a:lnTo>
                    <a:pt x="674" y="79"/>
                  </a:lnTo>
                  <a:lnTo>
                    <a:pt x="679" y="87"/>
                  </a:lnTo>
                  <a:lnTo>
                    <a:pt x="684" y="96"/>
                  </a:lnTo>
                  <a:lnTo>
                    <a:pt x="688" y="106"/>
                  </a:lnTo>
                  <a:lnTo>
                    <a:pt x="690" y="115"/>
                  </a:lnTo>
                  <a:lnTo>
                    <a:pt x="692" y="126"/>
                  </a:lnTo>
                  <a:lnTo>
                    <a:pt x="692" y="136"/>
                  </a:lnTo>
                  <a:lnTo>
                    <a:pt x="692" y="145"/>
                  </a:lnTo>
                  <a:lnTo>
                    <a:pt x="690" y="156"/>
                  </a:lnTo>
                  <a:lnTo>
                    <a:pt x="688" y="166"/>
                  </a:lnTo>
                  <a:lnTo>
                    <a:pt x="684" y="176"/>
                  </a:lnTo>
                  <a:lnTo>
                    <a:pt x="679" y="184"/>
                  </a:lnTo>
                  <a:lnTo>
                    <a:pt x="674" y="193"/>
                  </a:lnTo>
                  <a:lnTo>
                    <a:pt x="668" y="201"/>
                  </a:lnTo>
                  <a:lnTo>
                    <a:pt x="660" y="209"/>
                  </a:lnTo>
                  <a:lnTo>
                    <a:pt x="652" y="216"/>
                  </a:lnTo>
                  <a:lnTo>
                    <a:pt x="645" y="222"/>
                  </a:lnTo>
                  <a:lnTo>
                    <a:pt x="635" y="228"/>
                  </a:lnTo>
                  <a:lnTo>
                    <a:pt x="627" y="233"/>
                  </a:lnTo>
                  <a:lnTo>
                    <a:pt x="617" y="236"/>
                  </a:lnTo>
                  <a:lnTo>
                    <a:pt x="607" y="239"/>
                  </a:lnTo>
                  <a:lnTo>
                    <a:pt x="598" y="241"/>
                  </a:lnTo>
                  <a:lnTo>
                    <a:pt x="587" y="241"/>
                  </a:lnTo>
                  <a:lnTo>
                    <a:pt x="587" y="241"/>
                  </a:lnTo>
                  <a:close/>
                  <a:moveTo>
                    <a:pt x="572" y="874"/>
                  </a:moveTo>
                  <a:lnTo>
                    <a:pt x="150" y="874"/>
                  </a:lnTo>
                  <a:lnTo>
                    <a:pt x="150" y="271"/>
                  </a:lnTo>
                  <a:lnTo>
                    <a:pt x="572" y="271"/>
                  </a:lnTo>
                  <a:lnTo>
                    <a:pt x="572" y="874"/>
                  </a:lnTo>
                  <a:close/>
                  <a:moveTo>
                    <a:pt x="150" y="240"/>
                  </a:moveTo>
                  <a:lnTo>
                    <a:pt x="150" y="181"/>
                  </a:lnTo>
                  <a:lnTo>
                    <a:pt x="217" y="181"/>
                  </a:lnTo>
                  <a:lnTo>
                    <a:pt x="211" y="192"/>
                  </a:lnTo>
                  <a:lnTo>
                    <a:pt x="206" y="201"/>
                  </a:lnTo>
                  <a:lnTo>
                    <a:pt x="199" y="211"/>
                  </a:lnTo>
                  <a:lnTo>
                    <a:pt x="191" y="220"/>
                  </a:lnTo>
                  <a:lnTo>
                    <a:pt x="182" y="226"/>
                  </a:lnTo>
                  <a:lnTo>
                    <a:pt x="172" y="233"/>
                  </a:lnTo>
                  <a:lnTo>
                    <a:pt x="161" y="237"/>
                  </a:lnTo>
                  <a:lnTo>
                    <a:pt x="150" y="240"/>
                  </a:lnTo>
                  <a:lnTo>
                    <a:pt x="150" y="240"/>
                  </a:lnTo>
                  <a:close/>
                  <a:moveTo>
                    <a:pt x="30" y="604"/>
                  </a:moveTo>
                  <a:lnTo>
                    <a:pt x="30" y="136"/>
                  </a:lnTo>
                  <a:lnTo>
                    <a:pt x="30" y="125"/>
                  </a:lnTo>
                  <a:lnTo>
                    <a:pt x="32" y="115"/>
                  </a:lnTo>
                  <a:lnTo>
                    <a:pt x="34" y="105"/>
                  </a:lnTo>
                  <a:lnTo>
                    <a:pt x="37" y="96"/>
                  </a:lnTo>
                  <a:lnTo>
                    <a:pt x="42" y="86"/>
                  </a:lnTo>
                  <a:lnTo>
                    <a:pt x="47" y="78"/>
                  </a:lnTo>
                  <a:lnTo>
                    <a:pt x="52" y="69"/>
                  </a:lnTo>
                  <a:lnTo>
                    <a:pt x="59" y="62"/>
                  </a:lnTo>
                  <a:lnTo>
                    <a:pt x="66" y="55"/>
                  </a:lnTo>
                  <a:lnTo>
                    <a:pt x="74" y="49"/>
                  </a:lnTo>
                  <a:lnTo>
                    <a:pt x="82" y="43"/>
                  </a:lnTo>
                  <a:lnTo>
                    <a:pt x="91" y="39"/>
                  </a:lnTo>
                  <a:lnTo>
                    <a:pt x="100" y="35"/>
                  </a:lnTo>
                  <a:lnTo>
                    <a:pt x="109" y="33"/>
                  </a:lnTo>
                  <a:lnTo>
                    <a:pt x="119" y="30"/>
                  </a:lnTo>
                  <a:lnTo>
                    <a:pt x="129" y="30"/>
                  </a:lnTo>
                  <a:lnTo>
                    <a:pt x="138" y="30"/>
                  </a:lnTo>
                  <a:lnTo>
                    <a:pt x="148" y="33"/>
                  </a:lnTo>
                  <a:lnTo>
                    <a:pt x="157" y="35"/>
                  </a:lnTo>
                  <a:lnTo>
                    <a:pt x="165" y="39"/>
                  </a:lnTo>
                  <a:lnTo>
                    <a:pt x="174" y="43"/>
                  </a:lnTo>
                  <a:lnTo>
                    <a:pt x="182" y="49"/>
                  </a:lnTo>
                  <a:lnTo>
                    <a:pt x="190" y="55"/>
                  </a:lnTo>
                  <a:lnTo>
                    <a:pt x="196" y="62"/>
                  </a:lnTo>
                  <a:lnTo>
                    <a:pt x="203" y="69"/>
                  </a:lnTo>
                  <a:lnTo>
                    <a:pt x="208" y="78"/>
                  </a:lnTo>
                  <a:lnTo>
                    <a:pt x="214" y="86"/>
                  </a:lnTo>
                  <a:lnTo>
                    <a:pt x="218" y="95"/>
                  </a:lnTo>
                  <a:lnTo>
                    <a:pt x="221" y="105"/>
                  </a:lnTo>
                  <a:lnTo>
                    <a:pt x="223" y="115"/>
                  </a:lnTo>
                  <a:lnTo>
                    <a:pt x="224" y="125"/>
                  </a:lnTo>
                  <a:lnTo>
                    <a:pt x="225" y="136"/>
                  </a:lnTo>
                  <a:lnTo>
                    <a:pt x="225" y="143"/>
                  </a:lnTo>
                  <a:lnTo>
                    <a:pt x="224" y="151"/>
                  </a:lnTo>
                  <a:lnTo>
                    <a:pt x="135" y="151"/>
                  </a:lnTo>
                  <a:lnTo>
                    <a:pt x="132" y="151"/>
                  </a:lnTo>
                  <a:lnTo>
                    <a:pt x="129" y="152"/>
                  </a:lnTo>
                  <a:lnTo>
                    <a:pt x="126" y="153"/>
                  </a:lnTo>
                  <a:lnTo>
                    <a:pt x="124" y="155"/>
                  </a:lnTo>
                  <a:lnTo>
                    <a:pt x="122" y="157"/>
                  </a:lnTo>
                  <a:lnTo>
                    <a:pt x="121" y="160"/>
                  </a:lnTo>
                  <a:lnTo>
                    <a:pt x="120" y="163"/>
                  </a:lnTo>
                  <a:lnTo>
                    <a:pt x="120" y="166"/>
                  </a:lnTo>
                  <a:lnTo>
                    <a:pt x="120" y="256"/>
                  </a:lnTo>
                  <a:lnTo>
                    <a:pt x="120" y="604"/>
                  </a:lnTo>
                  <a:lnTo>
                    <a:pt x="30" y="604"/>
                  </a:lnTo>
                  <a:close/>
                  <a:moveTo>
                    <a:pt x="722" y="136"/>
                  </a:moveTo>
                  <a:lnTo>
                    <a:pt x="722" y="123"/>
                  </a:lnTo>
                  <a:lnTo>
                    <a:pt x="720" y="110"/>
                  </a:lnTo>
                  <a:lnTo>
                    <a:pt x="717" y="97"/>
                  </a:lnTo>
                  <a:lnTo>
                    <a:pt x="712" y="84"/>
                  </a:lnTo>
                  <a:lnTo>
                    <a:pt x="706" y="72"/>
                  </a:lnTo>
                  <a:lnTo>
                    <a:pt x="699" y="62"/>
                  </a:lnTo>
                  <a:lnTo>
                    <a:pt x="691" y="51"/>
                  </a:lnTo>
                  <a:lnTo>
                    <a:pt x="682" y="41"/>
                  </a:lnTo>
                  <a:lnTo>
                    <a:pt x="672" y="33"/>
                  </a:lnTo>
                  <a:lnTo>
                    <a:pt x="661" y="24"/>
                  </a:lnTo>
                  <a:lnTo>
                    <a:pt x="650" y="17"/>
                  </a:lnTo>
                  <a:lnTo>
                    <a:pt x="638" y="11"/>
                  </a:lnTo>
                  <a:lnTo>
                    <a:pt x="626" y="7"/>
                  </a:lnTo>
                  <a:lnTo>
                    <a:pt x="614" y="3"/>
                  </a:lnTo>
                  <a:lnTo>
                    <a:pt x="601" y="1"/>
                  </a:lnTo>
                  <a:lnTo>
                    <a:pt x="587" y="0"/>
                  </a:lnTo>
                  <a:lnTo>
                    <a:pt x="135" y="0"/>
                  </a:lnTo>
                  <a:lnTo>
                    <a:pt x="134" y="0"/>
                  </a:lnTo>
                  <a:lnTo>
                    <a:pt x="133" y="0"/>
                  </a:lnTo>
                  <a:lnTo>
                    <a:pt x="131" y="0"/>
                  </a:lnTo>
                  <a:lnTo>
                    <a:pt x="129" y="0"/>
                  </a:lnTo>
                  <a:lnTo>
                    <a:pt x="116" y="1"/>
                  </a:lnTo>
                  <a:lnTo>
                    <a:pt x="103" y="2"/>
                  </a:lnTo>
                  <a:lnTo>
                    <a:pt x="90" y="7"/>
                  </a:lnTo>
                  <a:lnTo>
                    <a:pt x="78" y="11"/>
                  </a:lnTo>
                  <a:lnTo>
                    <a:pt x="67" y="16"/>
                  </a:lnTo>
                  <a:lnTo>
                    <a:pt x="57" y="24"/>
                  </a:lnTo>
                  <a:lnTo>
                    <a:pt x="47" y="31"/>
                  </a:lnTo>
                  <a:lnTo>
                    <a:pt x="37" y="40"/>
                  </a:lnTo>
                  <a:lnTo>
                    <a:pt x="29" y="50"/>
                  </a:lnTo>
                  <a:lnTo>
                    <a:pt x="21" y="60"/>
                  </a:lnTo>
                  <a:lnTo>
                    <a:pt x="15" y="71"/>
                  </a:lnTo>
                  <a:lnTo>
                    <a:pt x="9" y="83"/>
                  </a:lnTo>
                  <a:lnTo>
                    <a:pt x="5" y="96"/>
                  </a:lnTo>
                  <a:lnTo>
                    <a:pt x="2" y="109"/>
                  </a:lnTo>
                  <a:lnTo>
                    <a:pt x="0" y="122"/>
                  </a:lnTo>
                  <a:lnTo>
                    <a:pt x="0" y="136"/>
                  </a:lnTo>
                  <a:lnTo>
                    <a:pt x="0" y="619"/>
                  </a:lnTo>
                  <a:lnTo>
                    <a:pt x="0" y="621"/>
                  </a:lnTo>
                  <a:lnTo>
                    <a:pt x="1" y="624"/>
                  </a:lnTo>
                  <a:lnTo>
                    <a:pt x="2" y="626"/>
                  </a:lnTo>
                  <a:lnTo>
                    <a:pt x="4" y="629"/>
                  </a:lnTo>
                  <a:lnTo>
                    <a:pt x="6" y="630"/>
                  </a:lnTo>
                  <a:lnTo>
                    <a:pt x="8" y="633"/>
                  </a:lnTo>
                  <a:lnTo>
                    <a:pt x="11" y="633"/>
                  </a:lnTo>
                  <a:lnTo>
                    <a:pt x="15" y="634"/>
                  </a:lnTo>
                  <a:lnTo>
                    <a:pt x="120" y="634"/>
                  </a:lnTo>
                  <a:lnTo>
                    <a:pt x="120" y="890"/>
                  </a:lnTo>
                  <a:lnTo>
                    <a:pt x="120" y="893"/>
                  </a:lnTo>
                  <a:lnTo>
                    <a:pt x="121" y="895"/>
                  </a:lnTo>
                  <a:lnTo>
                    <a:pt x="122" y="898"/>
                  </a:lnTo>
                  <a:lnTo>
                    <a:pt x="124" y="900"/>
                  </a:lnTo>
                  <a:lnTo>
                    <a:pt x="126" y="902"/>
                  </a:lnTo>
                  <a:lnTo>
                    <a:pt x="129" y="904"/>
                  </a:lnTo>
                  <a:lnTo>
                    <a:pt x="132" y="905"/>
                  </a:lnTo>
                  <a:lnTo>
                    <a:pt x="135" y="905"/>
                  </a:lnTo>
                  <a:lnTo>
                    <a:pt x="587" y="905"/>
                  </a:lnTo>
                  <a:lnTo>
                    <a:pt x="590" y="905"/>
                  </a:lnTo>
                  <a:lnTo>
                    <a:pt x="593" y="904"/>
                  </a:lnTo>
                  <a:lnTo>
                    <a:pt x="595" y="902"/>
                  </a:lnTo>
                  <a:lnTo>
                    <a:pt x="598" y="900"/>
                  </a:lnTo>
                  <a:lnTo>
                    <a:pt x="600" y="898"/>
                  </a:lnTo>
                  <a:lnTo>
                    <a:pt x="601" y="895"/>
                  </a:lnTo>
                  <a:lnTo>
                    <a:pt x="602" y="893"/>
                  </a:lnTo>
                  <a:lnTo>
                    <a:pt x="602" y="890"/>
                  </a:lnTo>
                  <a:lnTo>
                    <a:pt x="602" y="270"/>
                  </a:lnTo>
                  <a:lnTo>
                    <a:pt x="615" y="268"/>
                  </a:lnTo>
                  <a:lnTo>
                    <a:pt x="626" y="265"/>
                  </a:lnTo>
                  <a:lnTo>
                    <a:pt x="637" y="260"/>
                  </a:lnTo>
                  <a:lnTo>
                    <a:pt x="648" y="255"/>
                  </a:lnTo>
                  <a:lnTo>
                    <a:pt x="659" y="249"/>
                  </a:lnTo>
                  <a:lnTo>
                    <a:pt x="669" y="241"/>
                  </a:lnTo>
                  <a:lnTo>
                    <a:pt x="678" y="234"/>
                  </a:lnTo>
                  <a:lnTo>
                    <a:pt x="687" y="225"/>
                  </a:lnTo>
                  <a:lnTo>
                    <a:pt x="694" y="215"/>
                  </a:lnTo>
                  <a:lnTo>
                    <a:pt x="702" y="206"/>
                  </a:lnTo>
                  <a:lnTo>
                    <a:pt x="708" y="195"/>
                  </a:lnTo>
                  <a:lnTo>
                    <a:pt x="713" y="183"/>
                  </a:lnTo>
                  <a:lnTo>
                    <a:pt x="717" y="172"/>
                  </a:lnTo>
                  <a:lnTo>
                    <a:pt x="720" y="160"/>
                  </a:lnTo>
                  <a:lnTo>
                    <a:pt x="722" y="148"/>
                  </a:lnTo>
                  <a:lnTo>
                    <a:pt x="722" y="136"/>
                  </a:lnTo>
                  <a:lnTo>
                    <a:pt x="722" y="1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7" name="Freeform 51"/>
            <p:cNvSpPr>
              <a:spLocks/>
            </p:cNvSpPr>
            <p:nvPr/>
          </p:nvSpPr>
          <p:spPr bwMode="auto">
            <a:xfrm>
              <a:off x="995363" y="2051050"/>
              <a:ext cx="57150" cy="9525"/>
            </a:xfrm>
            <a:custGeom>
              <a:avLst/>
              <a:gdLst>
                <a:gd name="T0" fmla="*/ 15 w 181"/>
                <a:gd name="T1" fmla="*/ 30 h 30"/>
                <a:gd name="T2" fmla="*/ 166 w 181"/>
                <a:gd name="T3" fmla="*/ 30 h 30"/>
                <a:gd name="T4" fmla="*/ 169 w 181"/>
                <a:gd name="T5" fmla="*/ 30 h 30"/>
                <a:gd name="T6" fmla="*/ 172 w 181"/>
                <a:gd name="T7" fmla="*/ 29 h 30"/>
                <a:gd name="T8" fmla="*/ 174 w 181"/>
                <a:gd name="T9" fmla="*/ 28 h 30"/>
                <a:gd name="T10" fmla="*/ 176 w 181"/>
                <a:gd name="T11" fmla="*/ 25 h 30"/>
                <a:gd name="T12" fmla="*/ 178 w 181"/>
                <a:gd name="T13" fmla="*/ 23 h 30"/>
                <a:gd name="T14" fmla="*/ 180 w 181"/>
                <a:gd name="T15" fmla="*/ 21 h 30"/>
                <a:gd name="T16" fmla="*/ 181 w 181"/>
                <a:gd name="T17" fmla="*/ 18 h 30"/>
                <a:gd name="T18" fmla="*/ 181 w 181"/>
                <a:gd name="T19" fmla="*/ 15 h 30"/>
                <a:gd name="T20" fmla="*/ 181 w 181"/>
                <a:gd name="T21" fmla="*/ 13 h 30"/>
                <a:gd name="T22" fmla="*/ 180 w 181"/>
                <a:gd name="T23" fmla="*/ 9 h 30"/>
                <a:gd name="T24" fmla="*/ 178 w 181"/>
                <a:gd name="T25" fmla="*/ 7 h 30"/>
                <a:gd name="T26" fmla="*/ 176 w 181"/>
                <a:gd name="T27" fmla="*/ 4 h 30"/>
                <a:gd name="T28" fmla="*/ 174 w 181"/>
                <a:gd name="T29" fmla="*/ 3 h 30"/>
                <a:gd name="T30" fmla="*/ 172 w 181"/>
                <a:gd name="T31" fmla="*/ 1 h 30"/>
                <a:gd name="T32" fmla="*/ 169 w 181"/>
                <a:gd name="T33" fmla="*/ 1 h 30"/>
                <a:gd name="T34" fmla="*/ 166 w 181"/>
                <a:gd name="T35" fmla="*/ 0 h 30"/>
                <a:gd name="T36" fmla="*/ 15 w 181"/>
                <a:gd name="T37" fmla="*/ 0 h 30"/>
                <a:gd name="T38" fmla="*/ 12 w 181"/>
                <a:gd name="T39" fmla="*/ 1 h 30"/>
                <a:gd name="T40" fmla="*/ 10 w 181"/>
                <a:gd name="T41" fmla="*/ 1 h 30"/>
                <a:gd name="T42" fmla="*/ 6 w 181"/>
                <a:gd name="T43" fmla="*/ 3 h 30"/>
                <a:gd name="T44" fmla="*/ 4 w 181"/>
                <a:gd name="T45" fmla="*/ 4 h 30"/>
                <a:gd name="T46" fmla="*/ 2 w 181"/>
                <a:gd name="T47" fmla="*/ 7 h 30"/>
                <a:gd name="T48" fmla="*/ 1 w 181"/>
                <a:gd name="T49" fmla="*/ 9 h 30"/>
                <a:gd name="T50" fmla="*/ 0 w 181"/>
                <a:gd name="T51" fmla="*/ 13 h 30"/>
                <a:gd name="T52" fmla="*/ 0 w 181"/>
                <a:gd name="T53" fmla="*/ 15 h 30"/>
                <a:gd name="T54" fmla="*/ 0 w 181"/>
                <a:gd name="T55" fmla="*/ 18 h 30"/>
                <a:gd name="T56" fmla="*/ 1 w 181"/>
                <a:gd name="T57" fmla="*/ 21 h 30"/>
                <a:gd name="T58" fmla="*/ 2 w 181"/>
                <a:gd name="T59" fmla="*/ 23 h 30"/>
                <a:gd name="T60" fmla="*/ 4 w 181"/>
                <a:gd name="T61" fmla="*/ 25 h 30"/>
                <a:gd name="T62" fmla="*/ 6 w 181"/>
                <a:gd name="T63" fmla="*/ 28 h 30"/>
                <a:gd name="T64" fmla="*/ 10 w 181"/>
                <a:gd name="T65" fmla="*/ 29 h 30"/>
                <a:gd name="T66" fmla="*/ 12 w 181"/>
                <a:gd name="T67" fmla="*/ 30 h 30"/>
                <a:gd name="T68" fmla="*/ 15 w 181"/>
                <a:gd name="T69"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1" h="30">
                  <a:moveTo>
                    <a:pt x="15" y="30"/>
                  </a:moveTo>
                  <a:lnTo>
                    <a:pt x="166" y="30"/>
                  </a:lnTo>
                  <a:lnTo>
                    <a:pt x="169" y="30"/>
                  </a:lnTo>
                  <a:lnTo>
                    <a:pt x="172" y="29"/>
                  </a:lnTo>
                  <a:lnTo>
                    <a:pt x="174" y="28"/>
                  </a:lnTo>
                  <a:lnTo>
                    <a:pt x="176" y="25"/>
                  </a:lnTo>
                  <a:lnTo>
                    <a:pt x="178" y="23"/>
                  </a:lnTo>
                  <a:lnTo>
                    <a:pt x="180" y="21"/>
                  </a:lnTo>
                  <a:lnTo>
                    <a:pt x="181" y="18"/>
                  </a:lnTo>
                  <a:lnTo>
                    <a:pt x="181" y="15"/>
                  </a:lnTo>
                  <a:lnTo>
                    <a:pt x="181" y="13"/>
                  </a:lnTo>
                  <a:lnTo>
                    <a:pt x="180" y="9"/>
                  </a:lnTo>
                  <a:lnTo>
                    <a:pt x="178" y="7"/>
                  </a:lnTo>
                  <a:lnTo>
                    <a:pt x="176" y="4"/>
                  </a:lnTo>
                  <a:lnTo>
                    <a:pt x="174" y="3"/>
                  </a:lnTo>
                  <a:lnTo>
                    <a:pt x="172" y="1"/>
                  </a:lnTo>
                  <a:lnTo>
                    <a:pt x="169" y="1"/>
                  </a:lnTo>
                  <a:lnTo>
                    <a:pt x="166" y="0"/>
                  </a:lnTo>
                  <a:lnTo>
                    <a:pt x="15" y="0"/>
                  </a:lnTo>
                  <a:lnTo>
                    <a:pt x="12" y="1"/>
                  </a:lnTo>
                  <a:lnTo>
                    <a:pt x="10" y="1"/>
                  </a:lnTo>
                  <a:lnTo>
                    <a:pt x="6" y="3"/>
                  </a:lnTo>
                  <a:lnTo>
                    <a:pt x="4" y="4"/>
                  </a:lnTo>
                  <a:lnTo>
                    <a:pt x="2" y="7"/>
                  </a:lnTo>
                  <a:lnTo>
                    <a:pt x="1" y="9"/>
                  </a:lnTo>
                  <a:lnTo>
                    <a:pt x="0" y="13"/>
                  </a:lnTo>
                  <a:lnTo>
                    <a:pt x="0" y="15"/>
                  </a:lnTo>
                  <a:lnTo>
                    <a:pt x="0" y="18"/>
                  </a:lnTo>
                  <a:lnTo>
                    <a:pt x="1" y="21"/>
                  </a:lnTo>
                  <a:lnTo>
                    <a:pt x="2" y="23"/>
                  </a:lnTo>
                  <a:lnTo>
                    <a:pt x="4" y="25"/>
                  </a:lnTo>
                  <a:lnTo>
                    <a:pt x="6" y="28"/>
                  </a:lnTo>
                  <a:lnTo>
                    <a:pt x="10" y="29"/>
                  </a:lnTo>
                  <a:lnTo>
                    <a:pt x="12" y="30"/>
                  </a:lnTo>
                  <a:lnTo>
                    <a:pt x="15" y="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8" name="Freeform 52"/>
            <p:cNvSpPr>
              <a:spLocks/>
            </p:cNvSpPr>
            <p:nvPr/>
          </p:nvSpPr>
          <p:spPr bwMode="auto">
            <a:xfrm>
              <a:off x="995363" y="2098675"/>
              <a:ext cx="57150" cy="9525"/>
            </a:xfrm>
            <a:custGeom>
              <a:avLst/>
              <a:gdLst>
                <a:gd name="T0" fmla="*/ 15 w 181"/>
                <a:gd name="T1" fmla="*/ 31 h 31"/>
                <a:gd name="T2" fmla="*/ 166 w 181"/>
                <a:gd name="T3" fmla="*/ 31 h 31"/>
                <a:gd name="T4" fmla="*/ 169 w 181"/>
                <a:gd name="T5" fmla="*/ 30 h 31"/>
                <a:gd name="T6" fmla="*/ 172 w 181"/>
                <a:gd name="T7" fmla="*/ 30 h 31"/>
                <a:gd name="T8" fmla="*/ 174 w 181"/>
                <a:gd name="T9" fmla="*/ 28 h 31"/>
                <a:gd name="T10" fmla="*/ 176 w 181"/>
                <a:gd name="T11" fmla="*/ 27 h 31"/>
                <a:gd name="T12" fmla="*/ 178 w 181"/>
                <a:gd name="T13" fmla="*/ 24 h 31"/>
                <a:gd name="T14" fmla="*/ 180 w 181"/>
                <a:gd name="T15" fmla="*/ 22 h 31"/>
                <a:gd name="T16" fmla="*/ 181 w 181"/>
                <a:gd name="T17" fmla="*/ 19 h 31"/>
                <a:gd name="T18" fmla="*/ 181 w 181"/>
                <a:gd name="T19" fmla="*/ 16 h 31"/>
                <a:gd name="T20" fmla="*/ 181 w 181"/>
                <a:gd name="T21" fmla="*/ 13 h 31"/>
                <a:gd name="T22" fmla="*/ 180 w 181"/>
                <a:gd name="T23" fmla="*/ 10 h 31"/>
                <a:gd name="T24" fmla="*/ 178 w 181"/>
                <a:gd name="T25" fmla="*/ 8 h 31"/>
                <a:gd name="T26" fmla="*/ 176 w 181"/>
                <a:gd name="T27" fmla="*/ 6 h 31"/>
                <a:gd name="T28" fmla="*/ 174 w 181"/>
                <a:gd name="T29" fmla="*/ 3 h 31"/>
                <a:gd name="T30" fmla="*/ 172 w 181"/>
                <a:gd name="T31" fmla="*/ 2 h 31"/>
                <a:gd name="T32" fmla="*/ 169 w 181"/>
                <a:gd name="T33" fmla="*/ 1 h 31"/>
                <a:gd name="T34" fmla="*/ 166 w 181"/>
                <a:gd name="T35" fmla="*/ 1 h 31"/>
                <a:gd name="T36" fmla="*/ 15 w 181"/>
                <a:gd name="T37" fmla="*/ 0 h 31"/>
                <a:gd name="T38" fmla="*/ 12 w 181"/>
                <a:gd name="T39" fmla="*/ 1 h 31"/>
                <a:gd name="T40" fmla="*/ 10 w 181"/>
                <a:gd name="T41" fmla="*/ 2 h 31"/>
                <a:gd name="T42" fmla="*/ 6 w 181"/>
                <a:gd name="T43" fmla="*/ 3 h 31"/>
                <a:gd name="T44" fmla="*/ 4 w 181"/>
                <a:gd name="T45" fmla="*/ 6 h 31"/>
                <a:gd name="T46" fmla="*/ 2 w 181"/>
                <a:gd name="T47" fmla="*/ 8 h 31"/>
                <a:gd name="T48" fmla="*/ 1 w 181"/>
                <a:gd name="T49" fmla="*/ 10 h 31"/>
                <a:gd name="T50" fmla="*/ 0 w 181"/>
                <a:gd name="T51" fmla="*/ 13 h 31"/>
                <a:gd name="T52" fmla="*/ 0 w 181"/>
                <a:gd name="T53" fmla="*/ 16 h 31"/>
                <a:gd name="T54" fmla="*/ 0 w 181"/>
                <a:gd name="T55" fmla="*/ 19 h 31"/>
                <a:gd name="T56" fmla="*/ 1 w 181"/>
                <a:gd name="T57" fmla="*/ 22 h 31"/>
                <a:gd name="T58" fmla="*/ 2 w 181"/>
                <a:gd name="T59" fmla="*/ 24 h 31"/>
                <a:gd name="T60" fmla="*/ 4 w 181"/>
                <a:gd name="T61" fmla="*/ 27 h 31"/>
                <a:gd name="T62" fmla="*/ 6 w 181"/>
                <a:gd name="T63" fmla="*/ 28 h 31"/>
                <a:gd name="T64" fmla="*/ 10 w 181"/>
                <a:gd name="T65" fmla="*/ 30 h 31"/>
                <a:gd name="T66" fmla="*/ 12 w 181"/>
                <a:gd name="T67" fmla="*/ 30 h 31"/>
                <a:gd name="T68" fmla="*/ 15 w 181"/>
                <a:gd name="T69"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1" h="31">
                  <a:moveTo>
                    <a:pt x="15" y="31"/>
                  </a:moveTo>
                  <a:lnTo>
                    <a:pt x="166" y="31"/>
                  </a:lnTo>
                  <a:lnTo>
                    <a:pt x="169" y="30"/>
                  </a:lnTo>
                  <a:lnTo>
                    <a:pt x="172" y="30"/>
                  </a:lnTo>
                  <a:lnTo>
                    <a:pt x="174" y="28"/>
                  </a:lnTo>
                  <a:lnTo>
                    <a:pt x="176" y="27"/>
                  </a:lnTo>
                  <a:lnTo>
                    <a:pt x="178" y="24"/>
                  </a:lnTo>
                  <a:lnTo>
                    <a:pt x="180" y="22"/>
                  </a:lnTo>
                  <a:lnTo>
                    <a:pt x="181" y="19"/>
                  </a:lnTo>
                  <a:lnTo>
                    <a:pt x="181" y="16"/>
                  </a:lnTo>
                  <a:lnTo>
                    <a:pt x="181" y="13"/>
                  </a:lnTo>
                  <a:lnTo>
                    <a:pt x="180" y="10"/>
                  </a:lnTo>
                  <a:lnTo>
                    <a:pt x="178" y="8"/>
                  </a:lnTo>
                  <a:lnTo>
                    <a:pt x="176" y="6"/>
                  </a:lnTo>
                  <a:lnTo>
                    <a:pt x="174" y="3"/>
                  </a:lnTo>
                  <a:lnTo>
                    <a:pt x="172" y="2"/>
                  </a:lnTo>
                  <a:lnTo>
                    <a:pt x="169" y="1"/>
                  </a:lnTo>
                  <a:lnTo>
                    <a:pt x="166" y="1"/>
                  </a:lnTo>
                  <a:lnTo>
                    <a:pt x="15" y="0"/>
                  </a:lnTo>
                  <a:lnTo>
                    <a:pt x="12" y="1"/>
                  </a:lnTo>
                  <a:lnTo>
                    <a:pt x="10" y="2"/>
                  </a:lnTo>
                  <a:lnTo>
                    <a:pt x="6" y="3"/>
                  </a:lnTo>
                  <a:lnTo>
                    <a:pt x="4" y="6"/>
                  </a:lnTo>
                  <a:lnTo>
                    <a:pt x="2" y="8"/>
                  </a:lnTo>
                  <a:lnTo>
                    <a:pt x="1" y="10"/>
                  </a:lnTo>
                  <a:lnTo>
                    <a:pt x="0" y="13"/>
                  </a:lnTo>
                  <a:lnTo>
                    <a:pt x="0" y="16"/>
                  </a:lnTo>
                  <a:lnTo>
                    <a:pt x="0" y="19"/>
                  </a:lnTo>
                  <a:lnTo>
                    <a:pt x="1" y="22"/>
                  </a:lnTo>
                  <a:lnTo>
                    <a:pt x="2" y="24"/>
                  </a:lnTo>
                  <a:lnTo>
                    <a:pt x="4" y="27"/>
                  </a:lnTo>
                  <a:lnTo>
                    <a:pt x="6" y="28"/>
                  </a:lnTo>
                  <a:lnTo>
                    <a:pt x="10" y="30"/>
                  </a:lnTo>
                  <a:lnTo>
                    <a:pt x="12" y="30"/>
                  </a:lnTo>
                  <a:lnTo>
                    <a:pt x="15"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9" name="Freeform 53"/>
            <p:cNvSpPr>
              <a:spLocks/>
            </p:cNvSpPr>
            <p:nvPr/>
          </p:nvSpPr>
          <p:spPr bwMode="auto">
            <a:xfrm>
              <a:off x="995363" y="2146300"/>
              <a:ext cx="57150" cy="9525"/>
            </a:xfrm>
            <a:custGeom>
              <a:avLst/>
              <a:gdLst>
                <a:gd name="T0" fmla="*/ 15 w 181"/>
                <a:gd name="T1" fmla="*/ 30 h 30"/>
                <a:gd name="T2" fmla="*/ 166 w 181"/>
                <a:gd name="T3" fmla="*/ 30 h 30"/>
                <a:gd name="T4" fmla="*/ 169 w 181"/>
                <a:gd name="T5" fmla="*/ 30 h 30"/>
                <a:gd name="T6" fmla="*/ 172 w 181"/>
                <a:gd name="T7" fmla="*/ 29 h 30"/>
                <a:gd name="T8" fmla="*/ 174 w 181"/>
                <a:gd name="T9" fmla="*/ 27 h 30"/>
                <a:gd name="T10" fmla="*/ 176 w 181"/>
                <a:gd name="T11" fmla="*/ 26 h 30"/>
                <a:gd name="T12" fmla="*/ 178 w 181"/>
                <a:gd name="T13" fmla="*/ 23 h 30"/>
                <a:gd name="T14" fmla="*/ 180 w 181"/>
                <a:gd name="T15" fmla="*/ 20 h 30"/>
                <a:gd name="T16" fmla="*/ 181 w 181"/>
                <a:gd name="T17" fmla="*/ 18 h 30"/>
                <a:gd name="T18" fmla="*/ 181 w 181"/>
                <a:gd name="T19" fmla="*/ 15 h 30"/>
                <a:gd name="T20" fmla="*/ 181 w 181"/>
                <a:gd name="T21" fmla="*/ 12 h 30"/>
                <a:gd name="T22" fmla="*/ 180 w 181"/>
                <a:gd name="T23" fmla="*/ 8 h 30"/>
                <a:gd name="T24" fmla="*/ 178 w 181"/>
                <a:gd name="T25" fmla="*/ 6 h 30"/>
                <a:gd name="T26" fmla="*/ 176 w 181"/>
                <a:gd name="T27" fmla="*/ 4 h 30"/>
                <a:gd name="T28" fmla="*/ 174 w 181"/>
                <a:gd name="T29" fmla="*/ 2 h 30"/>
                <a:gd name="T30" fmla="*/ 172 w 181"/>
                <a:gd name="T31" fmla="*/ 1 h 30"/>
                <a:gd name="T32" fmla="*/ 169 w 181"/>
                <a:gd name="T33" fmla="*/ 0 h 30"/>
                <a:gd name="T34" fmla="*/ 166 w 181"/>
                <a:gd name="T35" fmla="*/ 0 h 30"/>
                <a:gd name="T36" fmla="*/ 15 w 181"/>
                <a:gd name="T37" fmla="*/ 0 h 30"/>
                <a:gd name="T38" fmla="*/ 12 w 181"/>
                <a:gd name="T39" fmla="*/ 0 h 30"/>
                <a:gd name="T40" fmla="*/ 10 w 181"/>
                <a:gd name="T41" fmla="*/ 1 h 30"/>
                <a:gd name="T42" fmla="*/ 6 w 181"/>
                <a:gd name="T43" fmla="*/ 2 h 30"/>
                <a:gd name="T44" fmla="*/ 4 w 181"/>
                <a:gd name="T45" fmla="*/ 4 h 30"/>
                <a:gd name="T46" fmla="*/ 2 w 181"/>
                <a:gd name="T47" fmla="*/ 6 h 30"/>
                <a:gd name="T48" fmla="*/ 1 w 181"/>
                <a:gd name="T49" fmla="*/ 8 h 30"/>
                <a:gd name="T50" fmla="*/ 0 w 181"/>
                <a:gd name="T51" fmla="*/ 12 h 30"/>
                <a:gd name="T52" fmla="*/ 0 w 181"/>
                <a:gd name="T53" fmla="*/ 15 h 30"/>
                <a:gd name="T54" fmla="*/ 0 w 181"/>
                <a:gd name="T55" fmla="*/ 18 h 30"/>
                <a:gd name="T56" fmla="*/ 1 w 181"/>
                <a:gd name="T57" fmla="*/ 20 h 30"/>
                <a:gd name="T58" fmla="*/ 2 w 181"/>
                <a:gd name="T59" fmla="*/ 23 h 30"/>
                <a:gd name="T60" fmla="*/ 4 w 181"/>
                <a:gd name="T61" fmla="*/ 26 h 30"/>
                <a:gd name="T62" fmla="*/ 6 w 181"/>
                <a:gd name="T63" fmla="*/ 27 h 30"/>
                <a:gd name="T64" fmla="*/ 10 w 181"/>
                <a:gd name="T65" fmla="*/ 29 h 30"/>
                <a:gd name="T66" fmla="*/ 12 w 181"/>
                <a:gd name="T67" fmla="*/ 30 h 30"/>
                <a:gd name="T68" fmla="*/ 15 w 181"/>
                <a:gd name="T69"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1" h="30">
                  <a:moveTo>
                    <a:pt x="15" y="30"/>
                  </a:moveTo>
                  <a:lnTo>
                    <a:pt x="166" y="30"/>
                  </a:lnTo>
                  <a:lnTo>
                    <a:pt x="169" y="30"/>
                  </a:lnTo>
                  <a:lnTo>
                    <a:pt x="172" y="29"/>
                  </a:lnTo>
                  <a:lnTo>
                    <a:pt x="174" y="27"/>
                  </a:lnTo>
                  <a:lnTo>
                    <a:pt x="176" y="26"/>
                  </a:lnTo>
                  <a:lnTo>
                    <a:pt x="178" y="23"/>
                  </a:lnTo>
                  <a:lnTo>
                    <a:pt x="180" y="20"/>
                  </a:lnTo>
                  <a:lnTo>
                    <a:pt x="181" y="18"/>
                  </a:lnTo>
                  <a:lnTo>
                    <a:pt x="181" y="15"/>
                  </a:lnTo>
                  <a:lnTo>
                    <a:pt x="181" y="12"/>
                  </a:lnTo>
                  <a:lnTo>
                    <a:pt x="180" y="8"/>
                  </a:lnTo>
                  <a:lnTo>
                    <a:pt x="178" y="6"/>
                  </a:lnTo>
                  <a:lnTo>
                    <a:pt x="176" y="4"/>
                  </a:lnTo>
                  <a:lnTo>
                    <a:pt x="174" y="2"/>
                  </a:lnTo>
                  <a:lnTo>
                    <a:pt x="172" y="1"/>
                  </a:lnTo>
                  <a:lnTo>
                    <a:pt x="169" y="0"/>
                  </a:lnTo>
                  <a:lnTo>
                    <a:pt x="166" y="0"/>
                  </a:lnTo>
                  <a:lnTo>
                    <a:pt x="15" y="0"/>
                  </a:lnTo>
                  <a:lnTo>
                    <a:pt x="12" y="0"/>
                  </a:lnTo>
                  <a:lnTo>
                    <a:pt x="10" y="1"/>
                  </a:lnTo>
                  <a:lnTo>
                    <a:pt x="6" y="2"/>
                  </a:lnTo>
                  <a:lnTo>
                    <a:pt x="4" y="4"/>
                  </a:lnTo>
                  <a:lnTo>
                    <a:pt x="2" y="6"/>
                  </a:lnTo>
                  <a:lnTo>
                    <a:pt x="1" y="8"/>
                  </a:lnTo>
                  <a:lnTo>
                    <a:pt x="0" y="12"/>
                  </a:lnTo>
                  <a:lnTo>
                    <a:pt x="0" y="15"/>
                  </a:lnTo>
                  <a:lnTo>
                    <a:pt x="0" y="18"/>
                  </a:lnTo>
                  <a:lnTo>
                    <a:pt x="1" y="20"/>
                  </a:lnTo>
                  <a:lnTo>
                    <a:pt x="2" y="23"/>
                  </a:lnTo>
                  <a:lnTo>
                    <a:pt x="4" y="26"/>
                  </a:lnTo>
                  <a:lnTo>
                    <a:pt x="6" y="27"/>
                  </a:lnTo>
                  <a:lnTo>
                    <a:pt x="10" y="29"/>
                  </a:lnTo>
                  <a:lnTo>
                    <a:pt x="12" y="30"/>
                  </a:lnTo>
                  <a:lnTo>
                    <a:pt x="15" y="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0" name="Freeform 54"/>
            <p:cNvSpPr>
              <a:spLocks/>
            </p:cNvSpPr>
            <p:nvPr/>
          </p:nvSpPr>
          <p:spPr bwMode="auto">
            <a:xfrm>
              <a:off x="947738" y="2022475"/>
              <a:ext cx="38100" cy="33338"/>
            </a:xfrm>
            <a:custGeom>
              <a:avLst/>
              <a:gdLst>
                <a:gd name="T0" fmla="*/ 20 w 121"/>
                <a:gd name="T1" fmla="*/ 101 h 106"/>
                <a:gd name="T2" fmla="*/ 22 w 121"/>
                <a:gd name="T3" fmla="*/ 104 h 106"/>
                <a:gd name="T4" fmla="*/ 25 w 121"/>
                <a:gd name="T5" fmla="*/ 105 h 106"/>
                <a:gd name="T6" fmla="*/ 27 w 121"/>
                <a:gd name="T7" fmla="*/ 106 h 106"/>
                <a:gd name="T8" fmla="*/ 30 w 121"/>
                <a:gd name="T9" fmla="*/ 106 h 106"/>
                <a:gd name="T10" fmla="*/ 36 w 121"/>
                <a:gd name="T11" fmla="*/ 105 h 106"/>
                <a:gd name="T12" fmla="*/ 41 w 121"/>
                <a:gd name="T13" fmla="*/ 101 h 106"/>
                <a:gd name="T14" fmla="*/ 116 w 121"/>
                <a:gd name="T15" fmla="*/ 26 h 106"/>
                <a:gd name="T16" fmla="*/ 119 w 121"/>
                <a:gd name="T17" fmla="*/ 24 h 106"/>
                <a:gd name="T18" fmla="*/ 120 w 121"/>
                <a:gd name="T19" fmla="*/ 21 h 106"/>
                <a:gd name="T20" fmla="*/ 121 w 121"/>
                <a:gd name="T21" fmla="*/ 19 h 106"/>
                <a:gd name="T22" fmla="*/ 121 w 121"/>
                <a:gd name="T23" fmla="*/ 15 h 106"/>
                <a:gd name="T24" fmla="*/ 121 w 121"/>
                <a:gd name="T25" fmla="*/ 13 h 106"/>
                <a:gd name="T26" fmla="*/ 120 w 121"/>
                <a:gd name="T27" fmla="*/ 10 h 106"/>
                <a:gd name="T28" fmla="*/ 119 w 121"/>
                <a:gd name="T29" fmla="*/ 8 h 106"/>
                <a:gd name="T30" fmla="*/ 116 w 121"/>
                <a:gd name="T31" fmla="*/ 5 h 106"/>
                <a:gd name="T32" fmla="*/ 114 w 121"/>
                <a:gd name="T33" fmla="*/ 4 h 106"/>
                <a:gd name="T34" fmla="*/ 111 w 121"/>
                <a:gd name="T35" fmla="*/ 1 h 106"/>
                <a:gd name="T36" fmla="*/ 109 w 121"/>
                <a:gd name="T37" fmla="*/ 0 h 106"/>
                <a:gd name="T38" fmla="*/ 106 w 121"/>
                <a:gd name="T39" fmla="*/ 0 h 106"/>
                <a:gd name="T40" fmla="*/ 103 w 121"/>
                <a:gd name="T41" fmla="*/ 0 h 106"/>
                <a:gd name="T42" fmla="*/ 100 w 121"/>
                <a:gd name="T43" fmla="*/ 1 h 106"/>
                <a:gd name="T44" fmla="*/ 97 w 121"/>
                <a:gd name="T45" fmla="*/ 4 h 106"/>
                <a:gd name="T46" fmla="*/ 95 w 121"/>
                <a:gd name="T47" fmla="*/ 5 h 106"/>
                <a:gd name="T48" fmla="*/ 30 w 121"/>
                <a:gd name="T49" fmla="*/ 69 h 106"/>
                <a:gd name="T50" fmla="*/ 26 w 121"/>
                <a:gd name="T51" fmla="*/ 65 h 106"/>
                <a:gd name="T52" fmla="*/ 24 w 121"/>
                <a:gd name="T53" fmla="*/ 64 h 106"/>
                <a:gd name="T54" fmla="*/ 21 w 121"/>
                <a:gd name="T55" fmla="*/ 62 h 106"/>
                <a:gd name="T56" fmla="*/ 18 w 121"/>
                <a:gd name="T57" fmla="*/ 62 h 106"/>
                <a:gd name="T58" fmla="*/ 15 w 121"/>
                <a:gd name="T59" fmla="*/ 61 h 106"/>
                <a:gd name="T60" fmla="*/ 12 w 121"/>
                <a:gd name="T61" fmla="*/ 62 h 106"/>
                <a:gd name="T62" fmla="*/ 10 w 121"/>
                <a:gd name="T63" fmla="*/ 62 h 106"/>
                <a:gd name="T64" fmla="*/ 7 w 121"/>
                <a:gd name="T65" fmla="*/ 64 h 106"/>
                <a:gd name="T66" fmla="*/ 5 w 121"/>
                <a:gd name="T67" fmla="*/ 65 h 106"/>
                <a:gd name="T68" fmla="*/ 2 w 121"/>
                <a:gd name="T69" fmla="*/ 68 h 106"/>
                <a:gd name="T70" fmla="*/ 1 w 121"/>
                <a:gd name="T71" fmla="*/ 70 h 106"/>
                <a:gd name="T72" fmla="*/ 0 w 121"/>
                <a:gd name="T73" fmla="*/ 73 h 106"/>
                <a:gd name="T74" fmla="*/ 0 w 121"/>
                <a:gd name="T75" fmla="*/ 76 h 106"/>
                <a:gd name="T76" fmla="*/ 0 w 121"/>
                <a:gd name="T77" fmla="*/ 79 h 106"/>
                <a:gd name="T78" fmla="*/ 1 w 121"/>
                <a:gd name="T79" fmla="*/ 82 h 106"/>
                <a:gd name="T80" fmla="*/ 2 w 121"/>
                <a:gd name="T81" fmla="*/ 84 h 106"/>
                <a:gd name="T82" fmla="*/ 5 w 121"/>
                <a:gd name="T83" fmla="*/ 86 h 106"/>
                <a:gd name="T84" fmla="*/ 20 w 121"/>
                <a:gd name="T85" fmla="*/ 101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21" h="106">
                  <a:moveTo>
                    <a:pt x="20" y="101"/>
                  </a:moveTo>
                  <a:lnTo>
                    <a:pt x="22" y="104"/>
                  </a:lnTo>
                  <a:lnTo>
                    <a:pt x="25" y="105"/>
                  </a:lnTo>
                  <a:lnTo>
                    <a:pt x="27" y="106"/>
                  </a:lnTo>
                  <a:lnTo>
                    <a:pt x="30" y="106"/>
                  </a:lnTo>
                  <a:lnTo>
                    <a:pt x="36" y="105"/>
                  </a:lnTo>
                  <a:lnTo>
                    <a:pt x="41" y="101"/>
                  </a:lnTo>
                  <a:lnTo>
                    <a:pt x="116" y="26"/>
                  </a:lnTo>
                  <a:lnTo>
                    <a:pt x="119" y="24"/>
                  </a:lnTo>
                  <a:lnTo>
                    <a:pt x="120" y="21"/>
                  </a:lnTo>
                  <a:lnTo>
                    <a:pt x="121" y="19"/>
                  </a:lnTo>
                  <a:lnTo>
                    <a:pt x="121" y="15"/>
                  </a:lnTo>
                  <a:lnTo>
                    <a:pt x="121" y="13"/>
                  </a:lnTo>
                  <a:lnTo>
                    <a:pt x="120" y="10"/>
                  </a:lnTo>
                  <a:lnTo>
                    <a:pt x="119" y="8"/>
                  </a:lnTo>
                  <a:lnTo>
                    <a:pt x="116" y="5"/>
                  </a:lnTo>
                  <a:lnTo>
                    <a:pt x="114" y="4"/>
                  </a:lnTo>
                  <a:lnTo>
                    <a:pt x="111" y="1"/>
                  </a:lnTo>
                  <a:lnTo>
                    <a:pt x="109" y="0"/>
                  </a:lnTo>
                  <a:lnTo>
                    <a:pt x="106" y="0"/>
                  </a:lnTo>
                  <a:lnTo>
                    <a:pt x="103" y="0"/>
                  </a:lnTo>
                  <a:lnTo>
                    <a:pt x="100" y="1"/>
                  </a:lnTo>
                  <a:lnTo>
                    <a:pt x="97" y="4"/>
                  </a:lnTo>
                  <a:lnTo>
                    <a:pt x="95" y="5"/>
                  </a:lnTo>
                  <a:lnTo>
                    <a:pt x="30" y="69"/>
                  </a:lnTo>
                  <a:lnTo>
                    <a:pt x="26" y="65"/>
                  </a:lnTo>
                  <a:lnTo>
                    <a:pt x="24" y="64"/>
                  </a:lnTo>
                  <a:lnTo>
                    <a:pt x="21" y="62"/>
                  </a:lnTo>
                  <a:lnTo>
                    <a:pt x="18" y="62"/>
                  </a:lnTo>
                  <a:lnTo>
                    <a:pt x="15" y="61"/>
                  </a:lnTo>
                  <a:lnTo>
                    <a:pt x="12" y="62"/>
                  </a:lnTo>
                  <a:lnTo>
                    <a:pt x="10" y="62"/>
                  </a:lnTo>
                  <a:lnTo>
                    <a:pt x="7" y="64"/>
                  </a:lnTo>
                  <a:lnTo>
                    <a:pt x="5" y="65"/>
                  </a:lnTo>
                  <a:lnTo>
                    <a:pt x="2" y="68"/>
                  </a:lnTo>
                  <a:lnTo>
                    <a:pt x="1" y="70"/>
                  </a:lnTo>
                  <a:lnTo>
                    <a:pt x="0" y="73"/>
                  </a:lnTo>
                  <a:lnTo>
                    <a:pt x="0" y="76"/>
                  </a:lnTo>
                  <a:lnTo>
                    <a:pt x="0" y="79"/>
                  </a:lnTo>
                  <a:lnTo>
                    <a:pt x="1" y="82"/>
                  </a:lnTo>
                  <a:lnTo>
                    <a:pt x="2" y="84"/>
                  </a:lnTo>
                  <a:lnTo>
                    <a:pt x="5" y="86"/>
                  </a:lnTo>
                  <a:lnTo>
                    <a:pt x="20" y="1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1" name="Freeform 55"/>
            <p:cNvSpPr>
              <a:spLocks/>
            </p:cNvSpPr>
            <p:nvPr/>
          </p:nvSpPr>
          <p:spPr bwMode="auto">
            <a:xfrm>
              <a:off x="947738" y="2070100"/>
              <a:ext cx="38100" cy="33338"/>
            </a:xfrm>
            <a:custGeom>
              <a:avLst/>
              <a:gdLst>
                <a:gd name="T0" fmla="*/ 20 w 121"/>
                <a:gd name="T1" fmla="*/ 101 h 106"/>
                <a:gd name="T2" fmla="*/ 22 w 121"/>
                <a:gd name="T3" fmla="*/ 103 h 106"/>
                <a:gd name="T4" fmla="*/ 25 w 121"/>
                <a:gd name="T5" fmla="*/ 105 h 106"/>
                <a:gd name="T6" fmla="*/ 27 w 121"/>
                <a:gd name="T7" fmla="*/ 105 h 106"/>
                <a:gd name="T8" fmla="*/ 30 w 121"/>
                <a:gd name="T9" fmla="*/ 106 h 106"/>
                <a:gd name="T10" fmla="*/ 34 w 121"/>
                <a:gd name="T11" fmla="*/ 105 h 106"/>
                <a:gd name="T12" fmla="*/ 36 w 121"/>
                <a:gd name="T13" fmla="*/ 105 h 106"/>
                <a:gd name="T14" fmla="*/ 39 w 121"/>
                <a:gd name="T15" fmla="*/ 103 h 106"/>
                <a:gd name="T16" fmla="*/ 41 w 121"/>
                <a:gd name="T17" fmla="*/ 102 h 106"/>
                <a:gd name="T18" fmla="*/ 116 w 121"/>
                <a:gd name="T19" fmla="*/ 26 h 106"/>
                <a:gd name="T20" fmla="*/ 119 w 121"/>
                <a:gd name="T21" fmla="*/ 24 h 106"/>
                <a:gd name="T22" fmla="*/ 120 w 121"/>
                <a:gd name="T23" fmla="*/ 21 h 106"/>
                <a:gd name="T24" fmla="*/ 121 w 121"/>
                <a:gd name="T25" fmla="*/ 18 h 106"/>
                <a:gd name="T26" fmla="*/ 121 w 121"/>
                <a:gd name="T27" fmla="*/ 15 h 106"/>
                <a:gd name="T28" fmla="*/ 121 w 121"/>
                <a:gd name="T29" fmla="*/ 13 h 106"/>
                <a:gd name="T30" fmla="*/ 120 w 121"/>
                <a:gd name="T31" fmla="*/ 10 h 106"/>
                <a:gd name="T32" fmla="*/ 119 w 121"/>
                <a:gd name="T33" fmla="*/ 7 h 106"/>
                <a:gd name="T34" fmla="*/ 116 w 121"/>
                <a:gd name="T35" fmla="*/ 5 h 106"/>
                <a:gd name="T36" fmla="*/ 114 w 121"/>
                <a:gd name="T37" fmla="*/ 3 h 106"/>
                <a:gd name="T38" fmla="*/ 111 w 121"/>
                <a:gd name="T39" fmla="*/ 1 h 106"/>
                <a:gd name="T40" fmla="*/ 109 w 121"/>
                <a:gd name="T41" fmla="*/ 1 h 106"/>
                <a:gd name="T42" fmla="*/ 106 w 121"/>
                <a:gd name="T43" fmla="*/ 0 h 106"/>
                <a:gd name="T44" fmla="*/ 103 w 121"/>
                <a:gd name="T45" fmla="*/ 1 h 106"/>
                <a:gd name="T46" fmla="*/ 100 w 121"/>
                <a:gd name="T47" fmla="*/ 1 h 106"/>
                <a:gd name="T48" fmla="*/ 97 w 121"/>
                <a:gd name="T49" fmla="*/ 3 h 106"/>
                <a:gd name="T50" fmla="*/ 95 w 121"/>
                <a:gd name="T51" fmla="*/ 5 h 106"/>
                <a:gd name="T52" fmla="*/ 30 w 121"/>
                <a:gd name="T53" fmla="*/ 70 h 106"/>
                <a:gd name="T54" fmla="*/ 26 w 121"/>
                <a:gd name="T55" fmla="*/ 65 h 106"/>
                <a:gd name="T56" fmla="*/ 24 w 121"/>
                <a:gd name="T57" fmla="*/ 63 h 106"/>
                <a:gd name="T58" fmla="*/ 21 w 121"/>
                <a:gd name="T59" fmla="*/ 61 h 106"/>
                <a:gd name="T60" fmla="*/ 18 w 121"/>
                <a:gd name="T61" fmla="*/ 61 h 106"/>
                <a:gd name="T62" fmla="*/ 15 w 121"/>
                <a:gd name="T63" fmla="*/ 60 h 106"/>
                <a:gd name="T64" fmla="*/ 12 w 121"/>
                <a:gd name="T65" fmla="*/ 61 h 106"/>
                <a:gd name="T66" fmla="*/ 10 w 121"/>
                <a:gd name="T67" fmla="*/ 62 h 106"/>
                <a:gd name="T68" fmla="*/ 7 w 121"/>
                <a:gd name="T69" fmla="*/ 63 h 106"/>
                <a:gd name="T70" fmla="*/ 5 w 121"/>
                <a:gd name="T71" fmla="*/ 65 h 106"/>
                <a:gd name="T72" fmla="*/ 2 w 121"/>
                <a:gd name="T73" fmla="*/ 68 h 106"/>
                <a:gd name="T74" fmla="*/ 1 w 121"/>
                <a:gd name="T75" fmla="*/ 70 h 106"/>
                <a:gd name="T76" fmla="*/ 0 w 121"/>
                <a:gd name="T77" fmla="*/ 73 h 106"/>
                <a:gd name="T78" fmla="*/ 0 w 121"/>
                <a:gd name="T79" fmla="*/ 76 h 106"/>
                <a:gd name="T80" fmla="*/ 0 w 121"/>
                <a:gd name="T81" fmla="*/ 78 h 106"/>
                <a:gd name="T82" fmla="*/ 1 w 121"/>
                <a:gd name="T83" fmla="*/ 82 h 106"/>
                <a:gd name="T84" fmla="*/ 2 w 121"/>
                <a:gd name="T85" fmla="*/ 84 h 106"/>
                <a:gd name="T86" fmla="*/ 5 w 121"/>
                <a:gd name="T87" fmla="*/ 87 h 106"/>
                <a:gd name="T88" fmla="*/ 20 w 121"/>
                <a:gd name="T89" fmla="*/ 101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21" h="106">
                  <a:moveTo>
                    <a:pt x="20" y="101"/>
                  </a:moveTo>
                  <a:lnTo>
                    <a:pt x="22" y="103"/>
                  </a:lnTo>
                  <a:lnTo>
                    <a:pt x="25" y="105"/>
                  </a:lnTo>
                  <a:lnTo>
                    <a:pt x="27" y="105"/>
                  </a:lnTo>
                  <a:lnTo>
                    <a:pt x="30" y="106"/>
                  </a:lnTo>
                  <a:lnTo>
                    <a:pt x="34" y="105"/>
                  </a:lnTo>
                  <a:lnTo>
                    <a:pt x="36" y="105"/>
                  </a:lnTo>
                  <a:lnTo>
                    <a:pt x="39" y="103"/>
                  </a:lnTo>
                  <a:lnTo>
                    <a:pt x="41" y="102"/>
                  </a:lnTo>
                  <a:lnTo>
                    <a:pt x="116" y="26"/>
                  </a:lnTo>
                  <a:lnTo>
                    <a:pt x="119" y="24"/>
                  </a:lnTo>
                  <a:lnTo>
                    <a:pt x="120" y="21"/>
                  </a:lnTo>
                  <a:lnTo>
                    <a:pt x="121" y="18"/>
                  </a:lnTo>
                  <a:lnTo>
                    <a:pt x="121" y="15"/>
                  </a:lnTo>
                  <a:lnTo>
                    <a:pt x="121" y="13"/>
                  </a:lnTo>
                  <a:lnTo>
                    <a:pt x="120" y="10"/>
                  </a:lnTo>
                  <a:lnTo>
                    <a:pt x="119" y="7"/>
                  </a:lnTo>
                  <a:lnTo>
                    <a:pt x="116" y="5"/>
                  </a:lnTo>
                  <a:lnTo>
                    <a:pt x="114" y="3"/>
                  </a:lnTo>
                  <a:lnTo>
                    <a:pt x="111" y="1"/>
                  </a:lnTo>
                  <a:lnTo>
                    <a:pt x="109" y="1"/>
                  </a:lnTo>
                  <a:lnTo>
                    <a:pt x="106" y="0"/>
                  </a:lnTo>
                  <a:lnTo>
                    <a:pt x="103" y="1"/>
                  </a:lnTo>
                  <a:lnTo>
                    <a:pt x="100" y="1"/>
                  </a:lnTo>
                  <a:lnTo>
                    <a:pt x="97" y="3"/>
                  </a:lnTo>
                  <a:lnTo>
                    <a:pt x="95" y="5"/>
                  </a:lnTo>
                  <a:lnTo>
                    <a:pt x="30" y="70"/>
                  </a:lnTo>
                  <a:lnTo>
                    <a:pt x="26" y="65"/>
                  </a:lnTo>
                  <a:lnTo>
                    <a:pt x="24" y="63"/>
                  </a:lnTo>
                  <a:lnTo>
                    <a:pt x="21" y="61"/>
                  </a:lnTo>
                  <a:lnTo>
                    <a:pt x="18" y="61"/>
                  </a:lnTo>
                  <a:lnTo>
                    <a:pt x="15" y="60"/>
                  </a:lnTo>
                  <a:lnTo>
                    <a:pt x="12" y="61"/>
                  </a:lnTo>
                  <a:lnTo>
                    <a:pt x="10" y="62"/>
                  </a:lnTo>
                  <a:lnTo>
                    <a:pt x="7" y="63"/>
                  </a:lnTo>
                  <a:lnTo>
                    <a:pt x="5" y="65"/>
                  </a:lnTo>
                  <a:lnTo>
                    <a:pt x="2" y="68"/>
                  </a:lnTo>
                  <a:lnTo>
                    <a:pt x="1" y="70"/>
                  </a:lnTo>
                  <a:lnTo>
                    <a:pt x="0" y="73"/>
                  </a:lnTo>
                  <a:lnTo>
                    <a:pt x="0" y="76"/>
                  </a:lnTo>
                  <a:lnTo>
                    <a:pt x="0" y="78"/>
                  </a:lnTo>
                  <a:lnTo>
                    <a:pt x="1" y="82"/>
                  </a:lnTo>
                  <a:lnTo>
                    <a:pt x="2" y="84"/>
                  </a:lnTo>
                  <a:lnTo>
                    <a:pt x="5" y="87"/>
                  </a:lnTo>
                  <a:lnTo>
                    <a:pt x="20" y="1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2" name="Freeform 56"/>
            <p:cNvSpPr>
              <a:spLocks noEditPoints="1"/>
            </p:cNvSpPr>
            <p:nvPr/>
          </p:nvSpPr>
          <p:spPr bwMode="auto">
            <a:xfrm>
              <a:off x="1104900" y="1993900"/>
              <a:ext cx="68263" cy="219075"/>
            </a:xfrm>
            <a:custGeom>
              <a:avLst/>
              <a:gdLst>
                <a:gd name="T0" fmla="*/ 120 w 212"/>
                <a:gd name="T1" fmla="*/ 659 h 694"/>
                <a:gd name="T2" fmla="*/ 99 w 212"/>
                <a:gd name="T3" fmla="*/ 643 h 694"/>
                <a:gd name="T4" fmla="*/ 92 w 212"/>
                <a:gd name="T5" fmla="*/ 618 h 694"/>
                <a:gd name="T6" fmla="*/ 181 w 212"/>
                <a:gd name="T7" fmla="*/ 616 h 694"/>
                <a:gd name="T8" fmla="*/ 167 w 212"/>
                <a:gd name="T9" fmla="*/ 647 h 694"/>
                <a:gd name="T10" fmla="*/ 144 w 212"/>
                <a:gd name="T11" fmla="*/ 662 h 694"/>
                <a:gd name="T12" fmla="*/ 145 w 212"/>
                <a:gd name="T13" fmla="*/ 31 h 694"/>
                <a:gd name="T14" fmla="*/ 168 w 212"/>
                <a:gd name="T15" fmla="*/ 43 h 694"/>
                <a:gd name="T16" fmla="*/ 181 w 212"/>
                <a:gd name="T17" fmla="*/ 57 h 694"/>
                <a:gd name="T18" fmla="*/ 92 w 212"/>
                <a:gd name="T19" fmla="*/ 331 h 694"/>
                <a:gd name="T20" fmla="*/ 95 w 212"/>
                <a:gd name="T21" fmla="*/ 53 h 694"/>
                <a:gd name="T22" fmla="*/ 112 w 212"/>
                <a:gd name="T23" fmla="*/ 38 h 694"/>
                <a:gd name="T24" fmla="*/ 137 w 212"/>
                <a:gd name="T25" fmla="*/ 30 h 694"/>
                <a:gd name="T26" fmla="*/ 182 w 212"/>
                <a:gd name="T27" fmla="*/ 362 h 694"/>
                <a:gd name="T28" fmla="*/ 92 w 212"/>
                <a:gd name="T29" fmla="*/ 362 h 694"/>
                <a:gd name="T30" fmla="*/ 113 w 212"/>
                <a:gd name="T31" fmla="*/ 4 h 694"/>
                <a:gd name="T32" fmla="*/ 84 w 212"/>
                <a:gd name="T33" fmla="*/ 22 h 694"/>
                <a:gd name="T34" fmla="*/ 65 w 212"/>
                <a:gd name="T35" fmla="*/ 46 h 694"/>
                <a:gd name="T36" fmla="*/ 36 w 212"/>
                <a:gd name="T37" fmla="*/ 55 h 694"/>
                <a:gd name="T38" fmla="*/ 21 w 212"/>
                <a:gd name="T39" fmla="*/ 67 h 694"/>
                <a:gd name="T40" fmla="*/ 9 w 212"/>
                <a:gd name="T41" fmla="*/ 82 h 694"/>
                <a:gd name="T42" fmla="*/ 2 w 212"/>
                <a:gd name="T43" fmla="*/ 103 h 694"/>
                <a:gd name="T44" fmla="*/ 0 w 212"/>
                <a:gd name="T45" fmla="*/ 394 h 694"/>
                <a:gd name="T46" fmla="*/ 3 w 212"/>
                <a:gd name="T47" fmla="*/ 402 h 694"/>
                <a:gd name="T48" fmla="*/ 10 w 212"/>
                <a:gd name="T49" fmla="*/ 408 h 694"/>
                <a:gd name="T50" fmla="*/ 19 w 212"/>
                <a:gd name="T51" fmla="*/ 409 h 694"/>
                <a:gd name="T52" fmla="*/ 26 w 212"/>
                <a:gd name="T53" fmla="*/ 404 h 694"/>
                <a:gd name="T54" fmla="*/ 30 w 212"/>
                <a:gd name="T55" fmla="*/ 397 h 694"/>
                <a:gd name="T56" fmla="*/ 31 w 212"/>
                <a:gd name="T57" fmla="*/ 111 h 694"/>
                <a:gd name="T58" fmla="*/ 40 w 212"/>
                <a:gd name="T59" fmla="*/ 89 h 694"/>
                <a:gd name="T60" fmla="*/ 55 w 212"/>
                <a:gd name="T61" fmla="*/ 79 h 694"/>
                <a:gd name="T62" fmla="*/ 62 w 212"/>
                <a:gd name="T63" fmla="*/ 626 h 694"/>
                <a:gd name="T64" fmla="*/ 67 w 212"/>
                <a:gd name="T65" fmla="*/ 647 h 694"/>
                <a:gd name="T66" fmla="*/ 79 w 212"/>
                <a:gd name="T67" fmla="*/ 666 h 694"/>
                <a:gd name="T68" fmla="*/ 95 w 212"/>
                <a:gd name="T69" fmla="*/ 681 h 694"/>
                <a:gd name="T70" fmla="*/ 114 w 212"/>
                <a:gd name="T71" fmla="*/ 690 h 694"/>
                <a:gd name="T72" fmla="*/ 137 w 212"/>
                <a:gd name="T73" fmla="*/ 694 h 694"/>
                <a:gd name="T74" fmla="*/ 157 w 212"/>
                <a:gd name="T75" fmla="*/ 690 h 694"/>
                <a:gd name="T76" fmla="*/ 177 w 212"/>
                <a:gd name="T77" fmla="*/ 680 h 694"/>
                <a:gd name="T78" fmla="*/ 193 w 212"/>
                <a:gd name="T79" fmla="*/ 663 h 694"/>
                <a:gd name="T80" fmla="*/ 206 w 212"/>
                <a:gd name="T81" fmla="*/ 641 h 694"/>
                <a:gd name="T82" fmla="*/ 211 w 212"/>
                <a:gd name="T83" fmla="*/ 613 h 694"/>
                <a:gd name="T84" fmla="*/ 211 w 212"/>
                <a:gd name="T85" fmla="*/ 56 h 694"/>
                <a:gd name="T86" fmla="*/ 206 w 212"/>
                <a:gd name="T87" fmla="*/ 41 h 694"/>
                <a:gd name="T88" fmla="*/ 177 w 212"/>
                <a:gd name="T89" fmla="*/ 13 h 694"/>
                <a:gd name="T90" fmla="*/ 151 w 212"/>
                <a:gd name="T91" fmla="*/ 2 h 694"/>
                <a:gd name="T92" fmla="*/ 137 w 212"/>
                <a:gd name="T93" fmla="*/ 0 h 6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12" h="694">
                  <a:moveTo>
                    <a:pt x="137" y="663"/>
                  </a:moveTo>
                  <a:lnTo>
                    <a:pt x="128" y="662"/>
                  </a:lnTo>
                  <a:lnTo>
                    <a:pt x="120" y="659"/>
                  </a:lnTo>
                  <a:lnTo>
                    <a:pt x="112" y="655"/>
                  </a:lnTo>
                  <a:lnTo>
                    <a:pt x="105" y="650"/>
                  </a:lnTo>
                  <a:lnTo>
                    <a:pt x="99" y="643"/>
                  </a:lnTo>
                  <a:lnTo>
                    <a:pt x="95" y="636"/>
                  </a:lnTo>
                  <a:lnTo>
                    <a:pt x="92" y="627"/>
                  </a:lnTo>
                  <a:lnTo>
                    <a:pt x="92" y="618"/>
                  </a:lnTo>
                  <a:lnTo>
                    <a:pt x="92" y="603"/>
                  </a:lnTo>
                  <a:lnTo>
                    <a:pt x="182" y="603"/>
                  </a:lnTo>
                  <a:lnTo>
                    <a:pt x="181" y="616"/>
                  </a:lnTo>
                  <a:lnTo>
                    <a:pt x="178" y="628"/>
                  </a:lnTo>
                  <a:lnTo>
                    <a:pt x="173" y="639"/>
                  </a:lnTo>
                  <a:lnTo>
                    <a:pt x="167" y="647"/>
                  </a:lnTo>
                  <a:lnTo>
                    <a:pt x="161" y="654"/>
                  </a:lnTo>
                  <a:lnTo>
                    <a:pt x="153" y="659"/>
                  </a:lnTo>
                  <a:lnTo>
                    <a:pt x="144" y="662"/>
                  </a:lnTo>
                  <a:lnTo>
                    <a:pt x="137" y="663"/>
                  </a:lnTo>
                  <a:close/>
                  <a:moveTo>
                    <a:pt x="137" y="30"/>
                  </a:moveTo>
                  <a:lnTo>
                    <a:pt x="145" y="31"/>
                  </a:lnTo>
                  <a:lnTo>
                    <a:pt x="153" y="34"/>
                  </a:lnTo>
                  <a:lnTo>
                    <a:pt x="161" y="38"/>
                  </a:lnTo>
                  <a:lnTo>
                    <a:pt x="168" y="43"/>
                  </a:lnTo>
                  <a:lnTo>
                    <a:pt x="173" y="47"/>
                  </a:lnTo>
                  <a:lnTo>
                    <a:pt x="178" y="53"/>
                  </a:lnTo>
                  <a:lnTo>
                    <a:pt x="181" y="57"/>
                  </a:lnTo>
                  <a:lnTo>
                    <a:pt x="182" y="60"/>
                  </a:lnTo>
                  <a:lnTo>
                    <a:pt x="182" y="331"/>
                  </a:lnTo>
                  <a:lnTo>
                    <a:pt x="92" y="331"/>
                  </a:lnTo>
                  <a:lnTo>
                    <a:pt x="92" y="60"/>
                  </a:lnTo>
                  <a:lnTo>
                    <a:pt x="93" y="57"/>
                  </a:lnTo>
                  <a:lnTo>
                    <a:pt x="95" y="53"/>
                  </a:lnTo>
                  <a:lnTo>
                    <a:pt x="99" y="48"/>
                  </a:lnTo>
                  <a:lnTo>
                    <a:pt x="106" y="43"/>
                  </a:lnTo>
                  <a:lnTo>
                    <a:pt x="112" y="38"/>
                  </a:lnTo>
                  <a:lnTo>
                    <a:pt x="120" y="34"/>
                  </a:lnTo>
                  <a:lnTo>
                    <a:pt x="127" y="31"/>
                  </a:lnTo>
                  <a:lnTo>
                    <a:pt x="137" y="30"/>
                  </a:lnTo>
                  <a:lnTo>
                    <a:pt x="137" y="30"/>
                  </a:lnTo>
                  <a:close/>
                  <a:moveTo>
                    <a:pt x="92" y="362"/>
                  </a:moveTo>
                  <a:lnTo>
                    <a:pt x="182" y="362"/>
                  </a:lnTo>
                  <a:lnTo>
                    <a:pt x="182" y="573"/>
                  </a:lnTo>
                  <a:lnTo>
                    <a:pt x="92" y="573"/>
                  </a:lnTo>
                  <a:lnTo>
                    <a:pt x="92" y="362"/>
                  </a:lnTo>
                  <a:close/>
                  <a:moveTo>
                    <a:pt x="137" y="0"/>
                  </a:moveTo>
                  <a:lnTo>
                    <a:pt x="125" y="1"/>
                  </a:lnTo>
                  <a:lnTo>
                    <a:pt x="113" y="4"/>
                  </a:lnTo>
                  <a:lnTo>
                    <a:pt x="102" y="9"/>
                  </a:lnTo>
                  <a:lnTo>
                    <a:pt x="93" y="15"/>
                  </a:lnTo>
                  <a:lnTo>
                    <a:pt x="84" y="22"/>
                  </a:lnTo>
                  <a:lnTo>
                    <a:pt x="76" y="29"/>
                  </a:lnTo>
                  <a:lnTo>
                    <a:pt x="69" y="38"/>
                  </a:lnTo>
                  <a:lnTo>
                    <a:pt x="65" y="46"/>
                  </a:lnTo>
                  <a:lnTo>
                    <a:pt x="53" y="48"/>
                  </a:lnTo>
                  <a:lnTo>
                    <a:pt x="41" y="53"/>
                  </a:lnTo>
                  <a:lnTo>
                    <a:pt x="36" y="55"/>
                  </a:lnTo>
                  <a:lnTo>
                    <a:pt x="30" y="58"/>
                  </a:lnTo>
                  <a:lnTo>
                    <a:pt x="25" y="62"/>
                  </a:lnTo>
                  <a:lnTo>
                    <a:pt x="21" y="67"/>
                  </a:lnTo>
                  <a:lnTo>
                    <a:pt x="16" y="71"/>
                  </a:lnTo>
                  <a:lnTo>
                    <a:pt x="12" y="76"/>
                  </a:lnTo>
                  <a:lnTo>
                    <a:pt x="9" y="82"/>
                  </a:lnTo>
                  <a:lnTo>
                    <a:pt x="6" y="88"/>
                  </a:lnTo>
                  <a:lnTo>
                    <a:pt x="3" y="96"/>
                  </a:lnTo>
                  <a:lnTo>
                    <a:pt x="2" y="103"/>
                  </a:lnTo>
                  <a:lnTo>
                    <a:pt x="1" y="112"/>
                  </a:lnTo>
                  <a:lnTo>
                    <a:pt x="0" y="120"/>
                  </a:lnTo>
                  <a:lnTo>
                    <a:pt x="0" y="394"/>
                  </a:lnTo>
                  <a:lnTo>
                    <a:pt x="1" y="397"/>
                  </a:lnTo>
                  <a:lnTo>
                    <a:pt x="2" y="399"/>
                  </a:lnTo>
                  <a:lnTo>
                    <a:pt x="3" y="402"/>
                  </a:lnTo>
                  <a:lnTo>
                    <a:pt x="6" y="404"/>
                  </a:lnTo>
                  <a:lnTo>
                    <a:pt x="8" y="406"/>
                  </a:lnTo>
                  <a:lnTo>
                    <a:pt x="10" y="408"/>
                  </a:lnTo>
                  <a:lnTo>
                    <a:pt x="13" y="409"/>
                  </a:lnTo>
                  <a:lnTo>
                    <a:pt x="15" y="409"/>
                  </a:lnTo>
                  <a:lnTo>
                    <a:pt x="19" y="409"/>
                  </a:lnTo>
                  <a:lnTo>
                    <a:pt x="22" y="408"/>
                  </a:lnTo>
                  <a:lnTo>
                    <a:pt x="24" y="406"/>
                  </a:lnTo>
                  <a:lnTo>
                    <a:pt x="26" y="404"/>
                  </a:lnTo>
                  <a:lnTo>
                    <a:pt x="28" y="402"/>
                  </a:lnTo>
                  <a:lnTo>
                    <a:pt x="29" y="399"/>
                  </a:lnTo>
                  <a:lnTo>
                    <a:pt x="30" y="397"/>
                  </a:lnTo>
                  <a:lnTo>
                    <a:pt x="30" y="394"/>
                  </a:lnTo>
                  <a:lnTo>
                    <a:pt x="30" y="120"/>
                  </a:lnTo>
                  <a:lnTo>
                    <a:pt x="31" y="111"/>
                  </a:lnTo>
                  <a:lnTo>
                    <a:pt x="34" y="102"/>
                  </a:lnTo>
                  <a:lnTo>
                    <a:pt x="36" y="96"/>
                  </a:lnTo>
                  <a:lnTo>
                    <a:pt x="40" y="89"/>
                  </a:lnTo>
                  <a:lnTo>
                    <a:pt x="44" y="85"/>
                  </a:lnTo>
                  <a:lnTo>
                    <a:pt x="50" y="82"/>
                  </a:lnTo>
                  <a:lnTo>
                    <a:pt x="55" y="79"/>
                  </a:lnTo>
                  <a:lnTo>
                    <a:pt x="62" y="77"/>
                  </a:lnTo>
                  <a:lnTo>
                    <a:pt x="62" y="618"/>
                  </a:lnTo>
                  <a:lnTo>
                    <a:pt x="62" y="626"/>
                  </a:lnTo>
                  <a:lnTo>
                    <a:pt x="63" y="633"/>
                  </a:lnTo>
                  <a:lnTo>
                    <a:pt x="65" y="640"/>
                  </a:lnTo>
                  <a:lnTo>
                    <a:pt x="67" y="647"/>
                  </a:lnTo>
                  <a:lnTo>
                    <a:pt x="70" y="654"/>
                  </a:lnTo>
                  <a:lnTo>
                    <a:pt x="74" y="660"/>
                  </a:lnTo>
                  <a:lnTo>
                    <a:pt x="79" y="666"/>
                  </a:lnTo>
                  <a:lnTo>
                    <a:pt x="84" y="671"/>
                  </a:lnTo>
                  <a:lnTo>
                    <a:pt x="90" y="676"/>
                  </a:lnTo>
                  <a:lnTo>
                    <a:pt x="95" y="681"/>
                  </a:lnTo>
                  <a:lnTo>
                    <a:pt x="101" y="684"/>
                  </a:lnTo>
                  <a:lnTo>
                    <a:pt x="108" y="687"/>
                  </a:lnTo>
                  <a:lnTo>
                    <a:pt x="114" y="690"/>
                  </a:lnTo>
                  <a:lnTo>
                    <a:pt x="122" y="693"/>
                  </a:lnTo>
                  <a:lnTo>
                    <a:pt x="129" y="694"/>
                  </a:lnTo>
                  <a:lnTo>
                    <a:pt x="137" y="694"/>
                  </a:lnTo>
                  <a:lnTo>
                    <a:pt x="143" y="694"/>
                  </a:lnTo>
                  <a:lnTo>
                    <a:pt x="150" y="693"/>
                  </a:lnTo>
                  <a:lnTo>
                    <a:pt x="157" y="690"/>
                  </a:lnTo>
                  <a:lnTo>
                    <a:pt x="164" y="687"/>
                  </a:lnTo>
                  <a:lnTo>
                    <a:pt x="170" y="684"/>
                  </a:lnTo>
                  <a:lnTo>
                    <a:pt x="177" y="680"/>
                  </a:lnTo>
                  <a:lnTo>
                    <a:pt x="182" y="675"/>
                  </a:lnTo>
                  <a:lnTo>
                    <a:pt x="187" y="669"/>
                  </a:lnTo>
                  <a:lnTo>
                    <a:pt x="193" y="663"/>
                  </a:lnTo>
                  <a:lnTo>
                    <a:pt x="197" y="656"/>
                  </a:lnTo>
                  <a:lnTo>
                    <a:pt x="201" y="648"/>
                  </a:lnTo>
                  <a:lnTo>
                    <a:pt x="206" y="641"/>
                  </a:lnTo>
                  <a:lnTo>
                    <a:pt x="208" y="632"/>
                  </a:lnTo>
                  <a:lnTo>
                    <a:pt x="210" y="623"/>
                  </a:lnTo>
                  <a:lnTo>
                    <a:pt x="211" y="613"/>
                  </a:lnTo>
                  <a:lnTo>
                    <a:pt x="212" y="603"/>
                  </a:lnTo>
                  <a:lnTo>
                    <a:pt x="212" y="60"/>
                  </a:lnTo>
                  <a:lnTo>
                    <a:pt x="211" y="56"/>
                  </a:lnTo>
                  <a:lnTo>
                    <a:pt x="210" y="51"/>
                  </a:lnTo>
                  <a:lnTo>
                    <a:pt x="208" y="45"/>
                  </a:lnTo>
                  <a:lnTo>
                    <a:pt x="206" y="41"/>
                  </a:lnTo>
                  <a:lnTo>
                    <a:pt x="198" y="30"/>
                  </a:lnTo>
                  <a:lnTo>
                    <a:pt x="188" y="20"/>
                  </a:lnTo>
                  <a:lnTo>
                    <a:pt x="177" y="13"/>
                  </a:lnTo>
                  <a:lnTo>
                    <a:pt x="164" y="6"/>
                  </a:lnTo>
                  <a:lnTo>
                    <a:pt x="157" y="3"/>
                  </a:lnTo>
                  <a:lnTo>
                    <a:pt x="151" y="2"/>
                  </a:lnTo>
                  <a:lnTo>
                    <a:pt x="143" y="1"/>
                  </a:lnTo>
                  <a:lnTo>
                    <a:pt x="137" y="0"/>
                  </a:lnTo>
                  <a:lnTo>
                    <a:pt x="13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303" name="Group 302"/>
          <p:cNvGrpSpPr/>
          <p:nvPr/>
        </p:nvGrpSpPr>
        <p:grpSpPr>
          <a:xfrm>
            <a:off x="7769565" y="3304215"/>
            <a:ext cx="285750" cy="249238"/>
            <a:chOff x="3173413" y="1952625"/>
            <a:chExt cx="285750" cy="249238"/>
          </a:xfrm>
          <a:solidFill>
            <a:srgbClr val="E2583D"/>
          </a:solidFill>
        </p:grpSpPr>
        <p:sp>
          <p:nvSpPr>
            <p:cNvPr id="304" name="Freeform 83"/>
            <p:cNvSpPr>
              <a:spLocks noEditPoints="1"/>
            </p:cNvSpPr>
            <p:nvPr/>
          </p:nvSpPr>
          <p:spPr bwMode="auto">
            <a:xfrm>
              <a:off x="3173413" y="1952625"/>
              <a:ext cx="225425" cy="249238"/>
            </a:xfrm>
            <a:custGeom>
              <a:avLst/>
              <a:gdLst>
                <a:gd name="T0" fmla="*/ 37 w 713"/>
                <a:gd name="T1" fmla="*/ 654 h 786"/>
                <a:gd name="T2" fmla="*/ 60 w 713"/>
                <a:gd name="T3" fmla="*/ 578 h 786"/>
                <a:gd name="T4" fmla="*/ 188 w 713"/>
                <a:gd name="T5" fmla="*/ 520 h 786"/>
                <a:gd name="T6" fmla="*/ 295 w 713"/>
                <a:gd name="T7" fmla="*/ 482 h 786"/>
                <a:gd name="T8" fmla="*/ 299 w 713"/>
                <a:gd name="T9" fmla="*/ 372 h 786"/>
                <a:gd name="T10" fmla="*/ 265 w 713"/>
                <a:gd name="T11" fmla="*/ 342 h 786"/>
                <a:gd name="T12" fmla="*/ 241 w 713"/>
                <a:gd name="T13" fmla="*/ 287 h 786"/>
                <a:gd name="T14" fmla="*/ 235 w 713"/>
                <a:gd name="T15" fmla="*/ 248 h 786"/>
                <a:gd name="T16" fmla="*/ 220 w 713"/>
                <a:gd name="T17" fmla="*/ 237 h 786"/>
                <a:gd name="T18" fmla="*/ 221 w 713"/>
                <a:gd name="T19" fmla="*/ 202 h 786"/>
                <a:gd name="T20" fmla="*/ 235 w 713"/>
                <a:gd name="T21" fmla="*/ 193 h 786"/>
                <a:gd name="T22" fmla="*/ 235 w 713"/>
                <a:gd name="T23" fmla="*/ 164 h 786"/>
                <a:gd name="T24" fmla="*/ 225 w 713"/>
                <a:gd name="T25" fmla="*/ 96 h 786"/>
                <a:gd name="T26" fmla="*/ 246 w 713"/>
                <a:gd name="T27" fmla="*/ 83 h 786"/>
                <a:gd name="T28" fmla="*/ 275 w 713"/>
                <a:gd name="T29" fmla="*/ 79 h 786"/>
                <a:gd name="T30" fmla="*/ 289 w 713"/>
                <a:gd name="T31" fmla="*/ 56 h 786"/>
                <a:gd name="T32" fmla="*/ 345 w 713"/>
                <a:gd name="T33" fmla="*/ 34 h 786"/>
                <a:gd name="T34" fmla="*/ 459 w 713"/>
                <a:gd name="T35" fmla="*/ 42 h 786"/>
                <a:gd name="T36" fmla="*/ 490 w 713"/>
                <a:gd name="T37" fmla="*/ 64 h 786"/>
                <a:gd name="T38" fmla="*/ 493 w 713"/>
                <a:gd name="T39" fmla="*/ 123 h 786"/>
                <a:gd name="T40" fmla="*/ 476 w 713"/>
                <a:gd name="T41" fmla="*/ 189 h 786"/>
                <a:gd name="T42" fmla="*/ 489 w 713"/>
                <a:gd name="T43" fmla="*/ 198 h 786"/>
                <a:gd name="T44" fmla="*/ 493 w 713"/>
                <a:gd name="T45" fmla="*/ 238 h 786"/>
                <a:gd name="T46" fmla="*/ 479 w 713"/>
                <a:gd name="T47" fmla="*/ 248 h 786"/>
                <a:gd name="T48" fmla="*/ 473 w 713"/>
                <a:gd name="T49" fmla="*/ 287 h 786"/>
                <a:gd name="T50" fmla="*/ 453 w 713"/>
                <a:gd name="T51" fmla="*/ 342 h 786"/>
                <a:gd name="T52" fmla="*/ 424 w 713"/>
                <a:gd name="T53" fmla="*/ 372 h 786"/>
                <a:gd name="T54" fmla="*/ 427 w 713"/>
                <a:gd name="T55" fmla="*/ 482 h 786"/>
                <a:gd name="T56" fmla="*/ 531 w 713"/>
                <a:gd name="T57" fmla="*/ 520 h 786"/>
                <a:gd name="T58" fmla="*/ 654 w 713"/>
                <a:gd name="T59" fmla="*/ 578 h 786"/>
                <a:gd name="T60" fmla="*/ 677 w 713"/>
                <a:gd name="T61" fmla="*/ 654 h 786"/>
                <a:gd name="T62" fmla="*/ 30 w 713"/>
                <a:gd name="T63" fmla="*/ 756 h 786"/>
                <a:gd name="T64" fmla="*/ 452 w 713"/>
                <a:gd name="T65" fmla="*/ 387 h 786"/>
                <a:gd name="T66" fmla="*/ 490 w 713"/>
                <a:gd name="T67" fmla="*/ 335 h 786"/>
                <a:gd name="T68" fmla="*/ 504 w 713"/>
                <a:gd name="T69" fmla="*/ 271 h 786"/>
                <a:gd name="T70" fmla="*/ 524 w 713"/>
                <a:gd name="T71" fmla="*/ 238 h 786"/>
                <a:gd name="T72" fmla="*/ 522 w 713"/>
                <a:gd name="T73" fmla="*/ 193 h 786"/>
                <a:gd name="T74" fmla="*/ 523 w 713"/>
                <a:gd name="T75" fmla="*/ 127 h 786"/>
                <a:gd name="T76" fmla="*/ 516 w 713"/>
                <a:gd name="T77" fmla="*/ 49 h 786"/>
                <a:gd name="T78" fmla="*/ 471 w 713"/>
                <a:gd name="T79" fmla="*/ 14 h 786"/>
                <a:gd name="T80" fmla="*/ 385 w 713"/>
                <a:gd name="T81" fmla="*/ 0 h 786"/>
                <a:gd name="T82" fmla="*/ 290 w 713"/>
                <a:gd name="T83" fmla="*/ 19 h 786"/>
                <a:gd name="T84" fmla="*/ 252 w 713"/>
                <a:gd name="T85" fmla="*/ 53 h 786"/>
                <a:gd name="T86" fmla="*/ 211 w 713"/>
                <a:gd name="T87" fmla="*/ 64 h 786"/>
                <a:gd name="T88" fmla="*/ 195 w 713"/>
                <a:gd name="T89" fmla="*/ 95 h 786"/>
                <a:gd name="T90" fmla="*/ 206 w 713"/>
                <a:gd name="T91" fmla="*/ 173 h 786"/>
                <a:gd name="T92" fmla="*/ 192 w 713"/>
                <a:gd name="T93" fmla="*/ 192 h 786"/>
                <a:gd name="T94" fmla="*/ 189 w 713"/>
                <a:gd name="T95" fmla="*/ 237 h 786"/>
                <a:gd name="T96" fmla="*/ 209 w 713"/>
                <a:gd name="T97" fmla="*/ 271 h 786"/>
                <a:gd name="T98" fmla="*/ 226 w 713"/>
                <a:gd name="T99" fmla="*/ 336 h 786"/>
                <a:gd name="T100" fmla="*/ 271 w 713"/>
                <a:gd name="T101" fmla="*/ 388 h 786"/>
                <a:gd name="T102" fmla="*/ 173 w 713"/>
                <a:gd name="T103" fmla="*/ 495 h 786"/>
                <a:gd name="T104" fmla="*/ 51 w 713"/>
                <a:gd name="T105" fmla="*/ 549 h 786"/>
                <a:gd name="T106" fmla="*/ 16 w 713"/>
                <a:gd name="T107" fmla="*/ 596 h 786"/>
                <a:gd name="T108" fmla="*/ 1 w 713"/>
                <a:gd name="T109" fmla="*/ 725 h 786"/>
                <a:gd name="T110" fmla="*/ 3 w 713"/>
                <a:gd name="T111" fmla="*/ 780 h 786"/>
                <a:gd name="T112" fmla="*/ 698 w 713"/>
                <a:gd name="T113" fmla="*/ 786 h 786"/>
                <a:gd name="T114" fmla="*/ 712 w 713"/>
                <a:gd name="T115" fmla="*/ 777 h 786"/>
                <a:gd name="T116" fmla="*/ 711 w 713"/>
                <a:gd name="T117" fmla="*/ 697 h 786"/>
                <a:gd name="T118" fmla="*/ 695 w 713"/>
                <a:gd name="T119" fmla="*/ 586 h 786"/>
                <a:gd name="T120" fmla="*/ 655 w 713"/>
                <a:gd name="T121" fmla="*/ 542 h 786"/>
                <a:gd name="T122" fmla="*/ 512 w 713"/>
                <a:gd name="T123" fmla="*/ 482 h 7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713" h="786">
                  <a:moveTo>
                    <a:pt x="30" y="756"/>
                  </a:moveTo>
                  <a:lnTo>
                    <a:pt x="31" y="740"/>
                  </a:lnTo>
                  <a:lnTo>
                    <a:pt x="31" y="722"/>
                  </a:lnTo>
                  <a:lnTo>
                    <a:pt x="32" y="700"/>
                  </a:lnTo>
                  <a:lnTo>
                    <a:pt x="34" y="678"/>
                  </a:lnTo>
                  <a:lnTo>
                    <a:pt x="37" y="654"/>
                  </a:lnTo>
                  <a:lnTo>
                    <a:pt x="40" y="632"/>
                  </a:lnTo>
                  <a:lnTo>
                    <a:pt x="43" y="613"/>
                  </a:lnTo>
                  <a:lnTo>
                    <a:pt x="47" y="595"/>
                  </a:lnTo>
                  <a:lnTo>
                    <a:pt x="51" y="589"/>
                  </a:lnTo>
                  <a:lnTo>
                    <a:pt x="55" y="584"/>
                  </a:lnTo>
                  <a:lnTo>
                    <a:pt x="60" y="578"/>
                  </a:lnTo>
                  <a:lnTo>
                    <a:pt x="68" y="573"/>
                  </a:lnTo>
                  <a:lnTo>
                    <a:pt x="86" y="562"/>
                  </a:lnTo>
                  <a:lnTo>
                    <a:pt x="107" y="551"/>
                  </a:lnTo>
                  <a:lnTo>
                    <a:pt x="133" y="541"/>
                  </a:lnTo>
                  <a:lnTo>
                    <a:pt x="160" y="531"/>
                  </a:lnTo>
                  <a:lnTo>
                    <a:pt x="188" y="520"/>
                  </a:lnTo>
                  <a:lnTo>
                    <a:pt x="216" y="511"/>
                  </a:lnTo>
                  <a:lnTo>
                    <a:pt x="235" y="504"/>
                  </a:lnTo>
                  <a:lnTo>
                    <a:pt x="254" y="498"/>
                  </a:lnTo>
                  <a:lnTo>
                    <a:pt x="273" y="491"/>
                  </a:lnTo>
                  <a:lnTo>
                    <a:pt x="292" y="484"/>
                  </a:lnTo>
                  <a:lnTo>
                    <a:pt x="295" y="482"/>
                  </a:lnTo>
                  <a:lnTo>
                    <a:pt x="298" y="479"/>
                  </a:lnTo>
                  <a:lnTo>
                    <a:pt x="300" y="474"/>
                  </a:lnTo>
                  <a:lnTo>
                    <a:pt x="301" y="470"/>
                  </a:lnTo>
                  <a:lnTo>
                    <a:pt x="301" y="380"/>
                  </a:lnTo>
                  <a:lnTo>
                    <a:pt x="300" y="376"/>
                  </a:lnTo>
                  <a:lnTo>
                    <a:pt x="299" y="372"/>
                  </a:lnTo>
                  <a:lnTo>
                    <a:pt x="296" y="369"/>
                  </a:lnTo>
                  <a:lnTo>
                    <a:pt x="293" y="366"/>
                  </a:lnTo>
                  <a:lnTo>
                    <a:pt x="290" y="365"/>
                  </a:lnTo>
                  <a:lnTo>
                    <a:pt x="283" y="361"/>
                  </a:lnTo>
                  <a:lnTo>
                    <a:pt x="275" y="353"/>
                  </a:lnTo>
                  <a:lnTo>
                    <a:pt x="265" y="342"/>
                  </a:lnTo>
                  <a:lnTo>
                    <a:pt x="261" y="335"/>
                  </a:lnTo>
                  <a:lnTo>
                    <a:pt x="255" y="327"/>
                  </a:lnTo>
                  <a:lnTo>
                    <a:pt x="251" y="319"/>
                  </a:lnTo>
                  <a:lnTo>
                    <a:pt x="247" y="309"/>
                  </a:lnTo>
                  <a:lnTo>
                    <a:pt x="244" y="298"/>
                  </a:lnTo>
                  <a:lnTo>
                    <a:pt x="241" y="287"/>
                  </a:lnTo>
                  <a:lnTo>
                    <a:pt x="239" y="273"/>
                  </a:lnTo>
                  <a:lnTo>
                    <a:pt x="239" y="259"/>
                  </a:lnTo>
                  <a:lnTo>
                    <a:pt x="239" y="256"/>
                  </a:lnTo>
                  <a:lnTo>
                    <a:pt x="238" y="253"/>
                  </a:lnTo>
                  <a:lnTo>
                    <a:pt x="236" y="250"/>
                  </a:lnTo>
                  <a:lnTo>
                    <a:pt x="235" y="248"/>
                  </a:lnTo>
                  <a:lnTo>
                    <a:pt x="233" y="246"/>
                  </a:lnTo>
                  <a:lnTo>
                    <a:pt x="230" y="245"/>
                  </a:lnTo>
                  <a:lnTo>
                    <a:pt x="227" y="244"/>
                  </a:lnTo>
                  <a:lnTo>
                    <a:pt x="224" y="244"/>
                  </a:lnTo>
                  <a:lnTo>
                    <a:pt x="222" y="243"/>
                  </a:lnTo>
                  <a:lnTo>
                    <a:pt x="220" y="237"/>
                  </a:lnTo>
                  <a:lnTo>
                    <a:pt x="218" y="231"/>
                  </a:lnTo>
                  <a:lnTo>
                    <a:pt x="217" y="221"/>
                  </a:lnTo>
                  <a:lnTo>
                    <a:pt x="217" y="216"/>
                  </a:lnTo>
                  <a:lnTo>
                    <a:pt x="218" y="210"/>
                  </a:lnTo>
                  <a:lnTo>
                    <a:pt x="219" y="206"/>
                  </a:lnTo>
                  <a:lnTo>
                    <a:pt x="221" y="202"/>
                  </a:lnTo>
                  <a:lnTo>
                    <a:pt x="222" y="200"/>
                  </a:lnTo>
                  <a:lnTo>
                    <a:pt x="224" y="198"/>
                  </a:lnTo>
                  <a:lnTo>
                    <a:pt x="227" y="198"/>
                  </a:lnTo>
                  <a:lnTo>
                    <a:pt x="230" y="197"/>
                  </a:lnTo>
                  <a:lnTo>
                    <a:pt x="233" y="195"/>
                  </a:lnTo>
                  <a:lnTo>
                    <a:pt x="235" y="193"/>
                  </a:lnTo>
                  <a:lnTo>
                    <a:pt x="236" y="191"/>
                  </a:lnTo>
                  <a:lnTo>
                    <a:pt x="238" y="189"/>
                  </a:lnTo>
                  <a:lnTo>
                    <a:pt x="239" y="186"/>
                  </a:lnTo>
                  <a:lnTo>
                    <a:pt x="239" y="183"/>
                  </a:lnTo>
                  <a:lnTo>
                    <a:pt x="238" y="176"/>
                  </a:lnTo>
                  <a:lnTo>
                    <a:pt x="235" y="164"/>
                  </a:lnTo>
                  <a:lnTo>
                    <a:pt x="231" y="147"/>
                  </a:lnTo>
                  <a:lnTo>
                    <a:pt x="225" y="126"/>
                  </a:lnTo>
                  <a:lnTo>
                    <a:pt x="224" y="114"/>
                  </a:lnTo>
                  <a:lnTo>
                    <a:pt x="224" y="104"/>
                  </a:lnTo>
                  <a:lnTo>
                    <a:pt x="224" y="100"/>
                  </a:lnTo>
                  <a:lnTo>
                    <a:pt x="225" y="96"/>
                  </a:lnTo>
                  <a:lnTo>
                    <a:pt x="227" y="91"/>
                  </a:lnTo>
                  <a:lnTo>
                    <a:pt x="229" y="88"/>
                  </a:lnTo>
                  <a:lnTo>
                    <a:pt x="231" y="87"/>
                  </a:lnTo>
                  <a:lnTo>
                    <a:pt x="233" y="85"/>
                  </a:lnTo>
                  <a:lnTo>
                    <a:pt x="238" y="83"/>
                  </a:lnTo>
                  <a:lnTo>
                    <a:pt x="246" y="83"/>
                  </a:lnTo>
                  <a:lnTo>
                    <a:pt x="252" y="83"/>
                  </a:lnTo>
                  <a:lnTo>
                    <a:pt x="259" y="84"/>
                  </a:lnTo>
                  <a:lnTo>
                    <a:pt x="265" y="84"/>
                  </a:lnTo>
                  <a:lnTo>
                    <a:pt x="270" y="82"/>
                  </a:lnTo>
                  <a:lnTo>
                    <a:pt x="273" y="81"/>
                  </a:lnTo>
                  <a:lnTo>
                    <a:pt x="275" y="79"/>
                  </a:lnTo>
                  <a:lnTo>
                    <a:pt x="276" y="75"/>
                  </a:lnTo>
                  <a:lnTo>
                    <a:pt x="277" y="73"/>
                  </a:lnTo>
                  <a:lnTo>
                    <a:pt x="278" y="68"/>
                  </a:lnTo>
                  <a:lnTo>
                    <a:pt x="281" y="64"/>
                  </a:lnTo>
                  <a:lnTo>
                    <a:pt x="284" y="59"/>
                  </a:lnTo>
                  <a:lnTo>
                    <a:pt x="289" y="56"/>
                  </a:lnTo>
                  <a:lnTo>
                    <a:pt x="293" y="52"/>
                  </a:lnTo>
                  <a:lnTo>
                    <a:pt x="298" y="49"/>
                  </a:lnTo>
                  <a:lnTo>
                    <a:pt x="305" y="45"/>
                  </a:lnTo>
                  <a:lnTo>
                    <a:pt x="312" y="42"/>
                  </a:lnTo>
                  <a:lnTo>
                    <a:pt x="327" y="37"/>
                  </a:lnTo>
                  <a:lnTo>
                    <a:pt x="345" y="34"/>
                  </a:lnTo>
                  <a:lnTo>
                    <a:pt x="365" y="30"/>
                  </a:lnTo>
                  <a:lnTo>
                    <a:pt x="385" y="30"/>
                  </a:lnTo>
                  <a:lnTo>
                    <a:pt x="407" y="30"/>
                  </a:lnTo>
                  <a:lnTo>
                    <a:pt x="426" y="34"/>
                  </a:lnTo>
                  <a:lnTo>
                    <a:pt x="443" y="37"/>
                  </a:lnTo>
                  <a:lnTo>
                    <a:pt x="459" y="42"/>
                  </a:lnTo>
                  <a:lnTo>
                    <a:pt x="466" y="45"/>
                  </a:lnTo>
                  <a:lnTo>
                    <a:pt x="472" y="49"/>
                  </a:lnTo>
                  <a:lnTo>
                    <a:pt x="477" y="52"/>
                  </a:lnTo>
                  <a:lnTo>
                    <a:pt x="483" y="56"/>
                  </a:lnTo>
                  <a:lnTo>
                    <a:pt x="487" y="59"/>
                  </a:lnTo>
                  <a:lnTo>
                    <a:pt x="490" y="64"/>
                  </a:lnTo>
                  <a:lnTo>
                    <a:pt x="492" y="68"/>
                  </a:lnTo>
                  <a:lnTo>
                    <a:pt x="494" y="73"/>
                  </a:lnTo>
                  <a:lnTo>
                    <a:pt x="496" y="85"/>
                  </a:lnTo>
                  <a:lnTo>
                    <a:pt x="497" y="98"/>
                  </a:lnTo>
                  <a:lnTo>
                    <a:pt x="496" y="111"/>
                  </a:lnTo>
                  <a:lnTo>
                    <a:pt x="493" y="123"/>
                  </a:lnTo>
                  <a:lnTo>
                    <a:pt x="487" y="145"/>
                  </a:lnTo>
                  <a:lnTo>
                    <a:pt x="481" y="163"/>
                  </a:lnTo>
                  <a:lnTo>
                    <a:pt x="476" y="175"/>
                  </a:lnTo>
                  <a:lnTo>
                    <a:pt x="474" y="183"/>
                  </a:lnTo>
                  <a:lnTo>
                    <a:pt x="475" y="186"/>
                  </a:lnTo>
                  <a:lnTo>
                    <a:pt x="476" y="189"/>
                  </a:lnTo>
                  <a:lnTo>
                    <a:pt x="477" y="191"/>
                  </a:lnTo>
                  <a:lnTo>
                    <a:pt x="479" y="193"/>
                  </a:lnTo>
                  <a:lnTo>
                    <a:pt x="482" y="195"/>
                  </a:lnTo>
                  <a:lnTo>
                    <a:pt x="484" y="197"/>
                  </a:lnTo>
                  <a:lnTo>
                    <a:pt x="487" y="198"/>
                  </a:lnTo>
                  <a:lnTo>
                    <a:pt x="489" y="198"/>
                  </a:lnTo>
                  <a:lnTo>
                    <a:pt x="491" y="200"/>
                  </a:lnTo>
                  <a:lnTo>
                    <a:pt x="493" y="204"/>
                  </a:lnTo>
                  <a:lnTo>
                    <a:pt x="496" y="210"/>
                  </a:lnTo>
                  <a:lnTo>
                    <a:pt x="497" y="221"/>
                  </a:lnTo>
                  <a:lnTo>
                    <a:pt x="496" y="231"/>
                  </a:lnTo>
                  <a:lnTo>
                    <a:pt x="493" y="238"/>
                  </a:lnTo>
                  <a:lnTo>
                    <a:pt x="491" y="243"/>
                  </a:lnTo>
                  <a:lnTo>
                    <a:pt x="489" y="244"/>
                  </a:lnTo>
                  <a:lnTo>
                    <a:pt x="487" y="244"/>
                  </a:lnTo>
                  <a:lnTo>
                    <a:pt x="484" y="245"/>
                  </a:lnTo>
                  <a:lnTo>
                    <a:pt x="482" y="246"/>
                  </a:lnTo>
                  <a:lnTo>
                    <a:pt x="479" y="248"/>
                  </a:lnTo>
                  <a:lnTo>
                    <a:pt x="477" y="250"/>
                  </a:lnTo>
                  <a:lnTo>
                    <a:pt x="476" y="253"/>
                  </a:lnTo>
                  <a:lnTo>
                    <a:pt x="475" y="256"/>
                  </a:lnTo>
                  <a:lnTo>
                    <a:pt x="474" y="259"/>
                  </a:lnTo>
                  <a:lnTo>
                    <a:pt x="474" y="273"/>
                  </a:lnTo>
                  <a:lnTo>
                    <a:pt x="473" y="287"/>
                  </a:lnTo>
                  <a:lnTo>
                    <a:pt x="471" y="298"/>
                  </a:lnTo>
                  <a:lnTo>
                    <a:pt x="468" y="309"/>
                  </a:lnTo>
                  <a:lnTo>
                    <a:pt x="464" y="319"/>
                  </a:lnTo>
                  <a:lnTo>
                    <a:pt x="460" y="327"/>
                  </a:lnTo>
                  <a:lnTo>
                    <a:pt x="457" y="336"/>
                  </a:lnTo>
                  <a:lnTo>
                    <a:pt x="453" y="342"/>
                  </a:lnTo>
                  <a:lnTo>
                    <a:pt x="444" y="353"/>
                  </a:lnTo>
                  <a:lnTo>
                    <a:pt x="437" y="361"/>
                  </a:lnTo>
                  <a:lnTo>
                    <a:pt x="431" y="365"/>
                  </a:lnTo>
                  <a:lnTo>
                    <a:pt x="429" y="367"/>
                  </a:lnTo>
                  <a:lnTo>
                    <a:pt x="426" y="369"/>
                  </a:lnTo>
                  <a:lnTo>
                    <a:pt x="424" y="372"/>
                  </a:lnTo>
                  <a:lnTo>
                    <a:pt x="423" y="376"/>
                  </a:lnTo>
                  <a:lnTo>
                    <a:pt x="422" y="380"/>
                  </a:lnTo>
                  <a:lnTo>
                    <a:pt x="422" y="470"/>
                  </a:lnTo>
                  <a:lnTo>
                    <a:pt x="423" y="474"/>
                  </a:lnTo>
                  <a:lnTo>
                    <a:pt x="425" y="479"/>
                  </a:lnTo>
                  <a:lnTo>
                    <a:pt x="427" y="482"/>
                  </a:lnTo>
                  <a:lnTo>
                    <a:pt x="431" y="484"/>
                  </a:lnTo>
                  <a:lnTo>
                    <a:pt x="449" y="490"/>
                  </a:lnTo>
                  <a:lnTo>
                    <a:pt x="467" y="497"/>
                  </a:lnTo>
                  <a:lnTo>
                    <a:pt x="485" y="503"/>
                  </a:lnTo>
                  <a:lnTo>
                    <a:pt x="502" y="510"/>
                  </a:lnTo>
                  <a:lnTo>
                    <a:pt x="531" y="520"/>
                  </a:lnTo>
                  <a:lnTo>
                    <a:pt x="559" y="530"/>
                  </a:lnTo>
                  <a:lnTo>
                    <a:pt x="586" y="541"/>
                  </a:lnTo>
                  <a:lnTo>
                    <a:pt x="609" y="551"/>
                  </a:lnTo>
                  <a:lnTo>
                    <a:pt x="631" y="562"/>
                  </a:lnTo>
                  <a:lnTo>
                    <a:pt x="647" y="573"/>
                  </a:lnTo>
                  <a:lnTo>
                    <a:pt x="654" y="578"/>
                  </a:lnTo>
                  <a:lnTo>
                    <a:pt x="660" y="584"/>
                  </a:lnTo>
                  <a:lnTo>
                    <a:pt x="663" y="589"/>
                  </a:lnTo>
                  <a:lnTo>
                    <a:pt x="666" y="595"/>
                  </a:lnTo>
                  <a:lnTo>
                    <a:pt x="670" y="613"/>
                  </a:lnTo>
                  <a:lnTo>
                    <a:pt x="675" y="632"/>
                  </a:lnTo>
                  <a:lnTo>
                    <a:pt x="677" y="654"/>
                  </a:lnTo>
                  <a:lnTo>
                    <a:pt x="679" y="678"/>
                  </a:lnTo>
                  <a:lnTo>
                    <a:pt x="681" y="700"/>
                  </a:lnTo>
                  <a:lnTo>
                    <a:pt x="682" y="722"/>
                  </a:lnTo>
                  <a:lnTo>
                    <a:pt x="682" y="740"/>
                  </a:lnTo>
                  <a:lnTo>
                    <a:pt x="683" y="756"/>
                  </a:lnTo>
                  <a:lnTo>
                    <a:pt x="30" y="756"/>
                  </a:lnTo>
                  <a:close/>
                  <a:moveTo>
                    <a:pt x="512" y="482"/>
                  </a:moveTo>
                  <a:lnTo>
                    <a:pt x="497" y="476"/>
                  </a:lnTo>
                  <a:lnTo>
                    <a:pt x="482" y="471"/>
                  </a:lnTo>
                  <a:lnTo>
                    <a:pt x="467" y="466"/>
                  </a:lnTo>
                  <a:lnTo>
                    <a:pt x="452" y="459"/>
                  </a:lnTo>
                  <a:lnTo>
                    <a:pt x="452" y="387"/>
                  </a:lnTo>
                  <a:lnTo>
                    <a:pt x="458" y="382"/>
                  </a:lnTo>
                  <a:lnTo>
                    <a:pt x="466" y="373"/>
                  </a:lnTo>
                  <a:lnTo>
                    <a:pt x="474" y="364"/>
                  </a:lnTo>
                  <a:lnTo>
                    <a:pt x="483" y="351"/>
                  </a:lnTo>
                  <a:lnTo>
                    <a:pt x="487" y="343"/>
                  </a:lnTo>
                  <a:lnTo>
                    <a:pt x="490" y="335"/>
                  </a:lnTo>
                  <a:lnTo>
                    <a:pt x="493" y="326"/>
                  </a:lnTo>
                  <a:lnTo>
                    <a:pt x="497" y="317"/>
                  </a:lnTo>
                  <a:lnTo>
                    <a:pt x="500" y="306"/>
                  </a:lnTo>
                  <a:lnTo>
                    <a:pt x="502" y="295"/>
                  </a:lnTo>
                  <a:lnTo>
                    <a:pt x="503" y="283"/>
                  </a:lnTo>
                  <a:lnTo>
                    <a:pt x="504" y="271"/>
                  </a:lnTo>
                  <a:lnTo>
                    <a:pt x="508" y="267"/>
                  </a:lnTo>
                  <a:lnTo>
                    <a:pt x="513" y="264"/>
                  </a:lnTo>
                  <a:lnTo>
                    <a:pt x="517" y="259"/>
                  </a:lnTo>
                  <a:lnTo>
                    <a:pt x="519" y="254"/>
                  </a:lnTo>
                  <a:lnTo>
                    <a:pt x="522" y="247"/>
                  </a:lnTo>
                  <a:lnTo>
                    <a:pt x="524" y="238"/>
                  </a:lnTo>
                  <a:lnTo>
                    <a:pt x="527" y="230"/>
                  </a:lnTo>
                  <a:lnTo>
                    <a:pt x="527" y="221"/>
                  </a:lnTo>
                  <a:lnTo>
                    <a:pt x="527" y="213"/>
                  </a:lnTo>
                  <a:lnTo>
                    <a:pt x="526" y="206"/>
                  </a:lnTo>
                  <a:lnTo>
                    <a:pt x="524" y="199"/>
                  </a:lnTo>
                  <a:lnTo>
                    <a:pt x="522" y="193"/>
                  </a:lnTo>
                  <a:lnTo>
                    <a:pt x="519" y="187"/>
                  </a:lnTo>
                  <a:lnTo>
                    <a:pt x="516" y="183"/>
                  </a:lnTo>
                  <a:lnTo>
                    <a:pt x="513" y="177"/>
                  </a:lnTo>
                  <a:lnTo>
                    <a:pt x="508" y="174"/>
                  </a:lnTo>
                  <a:lnTo>
                    <a:pt x="516" y="154"/>
                  </a:lnTo>
                  <a:lnTo>
                    <a:pt x="523" y="127"/>
                  </a:lnTo>
                  <a:lnTo>
                    <a:pt x="526" y="113"/>
                  </a:lnTo>
                  <a:lnTo>
                    <a:pt x="527" y="97"/>
                  </a:lnTo>
                  <a:lnTo>
                    <a:pt x="526" y="82"/>
                  </a:lnTo>
                  <a:lnTo>
                    <a:pt x="523" y="66"/>
                  </a:lnTo>
                  <a:lnTo>
                    <a:pt x="520" y="57"/>
                  </a:lnTo>
                  <a:lnTo>
                    <a:pt x="516" y="49"/>
                  </a:lnTo>
                  <a:lnTo>
                    <a:pt x="511" y="41"/>
                  </a:lnTo>
                  <a:lnTo>
                    <a:pt x="504" y="35"/>
                  </a:lnTo>
                  <a:lnTo>
                    <a:pt x="497" y="29"/>
                  </a:lnTo>
                  <a:lnTo>
                    <a:pt x="489" y="24"/>
                  </a:lnTo>
                  <a:lnTo>
                    <a:pt x="481" y="19"/>
                  </a:lnTo>
                  <a:lnTo>
                    <a:pt x="471" y="14"/>
                  </a:lnTo>
                  <a:lnTo>
                    <a:pt x="461" y="11"/>
                  </a:lnTo>
                  <a:lnTo>
                    <a:pt x="450" y="8"/>
                  </a:lnTo>
                  <a:lnTo>
                    <a:pt x="440" y="6"/>
                  </a:lnTo>
                  <a:lnTo>
                    <a:pt x="429" y="4"/>
                  </a:lnTo>
                  <a:lnTo>
                    <a:pt x="407" y="0"/>
                  </a:lnTo>
                  <a:lnTo>
                    <a:pt x="385" y="0"/>
                  </a:lnTo>
                  <a:lnTo>
                    <a:pt x="366" y="0"/>
                  </a:lnTo>
                  <a:lnTo>
                    <a:pt x="345" y="3"/>
                  </a:lnTo>
                  <a:lnTo>
                    <a:pt x="326" y="7"/>
                  </a:lnTo>
                  <a:lnTo>
                    <a:pt x="308" y="12"/>
                  </a:lnTo>
                  <a:lnTo>
                    <a:pt x="298" y="15"/>
                  </a:lnTo>
                  <a:lnTo>
                    <a:pt x="290" y="19"/>
                  </a:lnTo>
                  <a:lnTo>
                    <a:pt x="282" y="23"/>
                  </a:lnTo>
                  <a:lnTo>
                    <a:pt x="275" y="28"/>
                  </a:lnTo>
                  <a:lnTo>
                    <a:pt x="268" y="34"/>
                  </a:lnTo>
                  <a:lnTo>
                    <a:pt x="262" y="39"/>
                  </a:lnTo>
                  <a:lnTo>
                    <a:pt x="256" y="45"/>
                  </a:lnTo>
                  <a:lnTo>
                    <a:pt x="252" y="53"/>
                  </a:lnTo>
                  <a:lnTo>
                    <a:pt x="244" y="53"/>
                  </a:lnTo>
                  <a:lnTo>
                    <a:pt x="235" y="53"/>
                  </a:lnTo>
                  <a:lnTo>
                    <a:pt x="227" y="55"/>
                  </a:lnTo>
                  <a:lnTo>
                    <a:pt x="221" y="57"/>
                  </a:lnTo>
                  <a:lnTo>
                    <a:pt x="216" y="60"/>
                  </a:lnTo>
                  <a:lnTo>
                    <a:pt x="211" y="64"/>
                  </a:lnTo>
                  <a:lnTo>
                    <a:pt x="208" y="67"/>
                  </a:lnTo>
                  <a:lnTo>
                    <a:pt x="205" y="70"/>
                  </a:lnTo>
                  <a:lnTo>
                    <a:pt x="202" y="75"/>
                  </a:lnTo>
                  <a:lnTo>
                    <a:pt x="199" y="82"/>
                  </a:lnTo>
                  <a:lnTo>
                    <a:pt x="196" y="87"/>
                  </a:lnTo>
                  <a:lnTo>
                    <a:pt x="195" y="95"/>
                  </a:lnTo>
                  <a:lnTo>
                    <a:pt x="194" y="108"/>
                  </a:lnTo>
                  <a:lnTo>
                    <a:pt x="195" y="122"/>
                  </a:lnTo>
                  <a:lnTo>
                    <a:pt x="197" y="137"/>
                  </a:lnTo>
                  <a:lnTo>
                    <a:pt x="200" y="149"/>
                  </a:lnTo>
                  <a:lnTo>
                    <a:pt x="203" y="162"/>
                  </a:lnTo>
                  <a:lnTo>
                    <a:pt x="206" y="173"/>
                  </a:lnTo>
                  <a:lnTo>
                    <a:pt x="206" y="173"/>
                  </a:lnTo>
                  <a:lnTo>
                    <a:pt x="206" y="174"/>
                  </a:lnTo>
                  <a:lnTo>
                    <a:pt x="202" y="177"/>
                  </a:lnTo>
                  <a:lnTo>
                    <a:pt x="199" y="182"/>
                  </a:lnTo>
                  <a:lnTo>
                    <a:pt x="195" y="187"/>
                  </a:lnTo>
                  <a:lnTo>
                    <a:pt x="192" y="192"/>
                  </a:lnTo>
                  <a:lnTo>
                    <a:pt x="190" y="199"/>
                  </a:lnTo>
                  <a:lnTo>
                    <a:pt x="188" y="205"/>
                  </a:lnTo>
                  <a:lnTo>
                    <a:pt x="187" y="213"/>
                  </a:lnTo>
                  <a:lnTo>
                    <a:pt x="187" y="221"/>
                  </a:lnTo>
                  <a:lnTo>
                    <a:pt x="187" y="230"/>
                  </a:lnTo>
                  <a:lnTo>
                    <a:pt x="189" y="237"/>
                  </a:lnTo>
                  <a:lnTo>
                    <a:pt x="190" y="245"/>
                  </a:lnTo>
                  <a:lnTo>
                    <a:pt x="193" y="251"/>
                  </a:lnTo>
                  <a:lnTo>
                    <a:pt x="196" y="258"/>
                  </a:lnTo>
                  <a:lnTo>
                    <a:pt x="200" y="263"/>
                  </a:lnTo>
                  <a:lnTo>
                    <a:pt x="205" y="267"/>
                  </a:lnTo>
                  <a:lnTo>
                    <a:pt x="209" y="271"/>
                  </a:lnTo>
                  <a:lnTo>
                    <a:pt x="210" y="283"/>
                  </a:lnTo>
                  <a:lnTo>
                    <a:pt x="212" y="295"/>
                  </a:lnTo>
                  <a:lnTo>
                    <a:pt x="215" y="307"/>
                  </a:lnTo>
                  <a:lnTo>
                    <a:pt x="218" y="317"/>
                  </a:lnTo>
                  <a:lnTo>
                    <a:pt x="222" y="326"/>
                  </a:lnTo>
                  <a:lnTo>
                    <a:pt x="226" y="336"/>
                  </a:lnTo>
                  <a:lnTo>
                    <a:pt x="231" y="343"/>
                  </a:lnTo>
                  <a:lnTo>
                    <a:pt x="235" y="351"/>
                  </a:lnTo>
                  <a:lnTo>
                    <a:pt x="245" y="365"/>
                  </a:lnTo>
                  <a:lnTo>
                    <a:pt x="254" y="375"/>
                  </a:lnTo>
                  <a:lnTo>
                    <a:pt x="264" y="383"/>
                  </a:lnTo>
                  <a:lnTo>
                    <a:pt x="271" y="388"/>
                  </a:lnTo>
                  <a:lnTo>
                    <a:pt x="271" y="459"/>
                  </a:lnTo>
                  <a:lnTo>
                    <a:pt x="255" y="466"/>
                  </a:lnTo>
                  <a:lnTo>
                    <a:pt x="239" y="471"/>
                  </a:lnTo>
                  <a:lnTo>
                    <a:pt x="222" y="477"/>
                  </a:lnTo>
                  <a:lnTo>
                    <a:pt x="206" y="483"/>
                  </a:lnTo>
                  <a:lnTo>
                    <a:pt x="173" y="495"/>
                  </a:lnTo>
                  <a:lnTo>
                    <a:pt x="140" y="506"/>
                  </a:lnTo>
                  <a:lnTo>
                    <a:pt x="111" y="518"/>
                  </a:lnTo>
                  <a:lnTo>
                    <a:pt x="84" y="530"/>
                  </a:lnTo>
                  <a:lnTo>
                    <a:pt x="71" y="536"/>
                  </a:lnTo>
                  <a:lnTo>
                    <a:pt x="60" y="542"/>
                  </a:lnTo>
                  <a:lnTo>
                    <a:pt x="51" y="549"/>
                  </a:lnTo>
                  <a:lnTo>
                    <a:pt x="42" y="556"/>
                  </a:lnTo>
                  <a:lnTo>
                    <a:pt x="33" y="562"/>
                  </a:lnTo>
                  <a:lnTo>
                    <a:pt x="28" y="570"/>
                  </a:lnTo>
                  <a:lnTo>
                    <a:pt x="23" y="577"/>
                  </a:lnTo>
                  <a:lnTo>
                    <a:pt x="19" y="586"/>
                  </a:lnTo>
                  <a:lnTo>
                    <a:pt x="16" y="596"/>
                  </a:lnTo>
                  <a:lnTo>
                    <a:pt x="13" y="609"/>
                  </a:lnTo>
                  <a:lnTo>
                    <a:pt x="11" y="623"/>
                  </a:lnTo>
                  <a:lnTo>
                    <a:pt x="9" y="637"/>
                  </a:lnTo>
                  <a:lnTo>
                    <a:pt x="6" y="667"/>
                  </a:lnTo>
                  <a:lnTo>
                    <a:pt x="3" y="697"/>
                  </a:lnTo>
                  <a:lnTo>
                    <a:pt x="1" y="725"/>
                  </a:lnTo>
                  <a:lnTo>
                    <a:pt x="1" y="748"/>
                  </a:lnTo>
                  <a:lnTo>
                    <a:pt x="0" y="764"/>
                  </a:lnTo>
                  <a:lnTo>
                    <a:pt x="0" y="771"/>
                  </a:lnTo>
                  <a:lnTo>
                    <a:pt x="1" y="774"/>
                  </a:lnTo>
                  <a:lnTo>
                    <a:pt x="1" y="777"/>
                  </a:lnTo>
                  <a:lnTo>
                    <a:pt x="3" y="780"/>
                  </a:lnTo>
                  <a:lnTo>
                    <a:pt x="4" y="782"/>
                  </a:lnTo>
                  <a:lnTo>
                    <a:pt x="7" y="783"/>
                  </a:lnTo>
                  <a:lnTo>
                    <a:pt x="10" y="785"/>
                  </a:lnTo>
                  <a:lnTo>
                    <a:pt x="12" y="785"/>
                  </a:lnTo>
                  <a:lnTo>
                    <a:pt x="15" y="786"/>
                  </a:lnTo>
                  <a:lnTo>
                    <a:pt x="698" y="786"/>
                  </a:lnTo>
                  <a:lnTo>
                    <a:pt x="701" y="785"/>
                  </a:lnTo>
                  <a:lnTo>
                    <a:pt x="704" y="785"/>
                  </a:lnTo>
                  <a:lnTo>
                    <a:pt x="707" y="783"/>
                  </a:lnTo>
                  <a:lnTo>
                    <a:pt x="709" y="782"/>
                  </a:lnTo>
                  <a:lnTo>
                    <a:pt x="711" y="780"/>
                  </a:lnTo>
                  <a:lnTo>
                    <a:pt x="712" y="777"/>
                  </a:lnTo>
                  <a:lnTo>
                    <a:pt x="713" y="774"/>
                  </a:lnTo>
                  <a:lnTo>
                    <a:pt x="713" y="771"/>
                  </a:lnTo>
                  <a:lnTo>
                    <a:pt x="713" y="764"/>
                  </a:lnTo>
                  <a:lnTo>
                    <a:pt x="713" y="748"/>
                  </a:lnTo>
                  <a:lnTo>
                    <a:pt x="712" y="725"/>
                  </a:lnTo>
                  <a:lnTo>
                    <a:pt x="711" y="697"/>
                  </a:lnTo>
                  <a:lnTo>
                    <a:pt x="709" y="667"/>
                  </a:lnTo>
                  <a:lnTo>
                    <a:pt x="706" y="637"/>
                  </a:lnTo>
                  <a:lnTo>
                    <a:pt x="704" y="623"/>
                  </a:lnTo>
                  <a:lnTo>
                    <a:pt x="700" y="609"/>
                  </a:lnTo>
                  <a:lnTo>
                    <a:pt x="698" y="596"/>
                  </a:lnTo>
                  <a:lnTo>
                    <a:pt x="695" y="586"/>
                  </a:lnTo>
                  <a:lnTo>
                    <a:pt x="691" y="577"/>
                  </a:lnTo>
                  <a:lnTo>
                    <a:pt x="686" y="570"/>
                  </a:lnTo>
                  <a:lnTo>
                    <a:pt x="680" y="562"/>
                  </a:lnTo>
                  <a:lnTo>
                    <a:pt x="672" y="555"/>
                  </a:lnTo>
                  <a:lnTo>
                    <a:pt x="665" y="548"/>
                  </a:lnTo>
                  <a:lnTo>
                    <a:pt x="655" y="542"/>
                  </a:lnTo>
                  <a:lnTo>
                    <a:pt x="645" y="535"/>
                  </a:lnTo>
                  <a:lnTo>
                    <a:pt x="633" y="529"/>
                  </a:lnTo>
                  <a:lnTo>
                    <a:pt x="607" y="517"/>
                  </a:lnTo>
                  <a:lnTo>
                    <a:pt x="578" y="505"/>
                  </a:lnTo>
                  <a:lnTo>
                    <a:pt x="546" y="494"/>
                  </a:lnTo>
                  <a:lnTo>
                    <a:pt x="512" y="48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5" name="Freeform 84"/>
            <p:cNvSpPr>
              <a:spLocks/>
            </p:cNvSpPr>
            <p:nvPr/>
          </p:nvSpPr>
          <p:spPr bwMode="auto">
            <a:xfrm>
              <a:off x="3348038" y="1954213"/>
              <a:ext cx="111125" cy="247650"/>
            </a:xfrm>
            <a:custGeom>
              <a:avLst/>
              <a:gdLst>
                <a:gd name="T0" fmla="*/ 315 w 353"/>
                <a:gd name="T1" fmla="*/ 553 h 782"/>
                <a:gd name="T2" fmla="*/ 265 w 353"/>
                <a:gd name="T3" fmla="*/ 517 h 782"/>
                <a:gd name="T4" fmla="*/ 129 w 353"/>
                <a:gd name="T5" fmla="*/ 458 h 782"/>
                <a:gd name="T6" fmla="*/ 90 w 353"/>
                <a:gd name="T7" fmla="*/ 394 h 782"/>
                <a:gd name="T8" fmla="*/ 124 w 353"/>
                <a:gd name="T9" fmla="*/ 358 h 782"/>
                <a:gd name="T10" fmla="*/ 139 w 353"/>
                <a:gd name="T11" fmla="*/ 321 h 782"/>
                <a:gd name="T12" fmla="*/ 148 w 353"/>
                <a:gd name="T13" fmla="*/ 283 h 782"/>
                <a:gd name="T14" fmla="*/ 162 w 353"/>
                <a:gd name="T15" fmla="*/ 261 h 782"/>
                <a:gd name="T16" fmla="*/ 166 w 353"/>
                <a:gd name="T17" fmla="*/ 228 h 782"/>
                <a:gd name="T18" fmla="*/ 159 w 353"/>
                <a:gd name="T19" fmla="*/ 202 h 782"/>
                <a:gd name="T20" fmla="*/ 148 w 353"/>
                <a:gd name="T21" fmla="*/ 188 h 782"/>
                <a:gd name="T22" fmla="*/ 165 w 353"/>
                <a:gd name="T23" fmla="*/ 122 h 782"/>
                <a:gd name="T24" fmla="*/ 159 w 353"/>
                <a:gd name="T25" fmla="*/ 64 h 782"/>
                <a:gd name="T26" fmla="*/ 129 w 353"/>
                <a:gd name="T27" fmla="*/ 26 h 782"/>
                <a:gd name="T28" fmla="*/ 83 w 353"/>
                <a:gd name="T29" fmla="*/ 3 h 782"/>
                <a:gd name="T30" fmla="*/ 38 w 353"/>
                <a:gd name="T31" fmla="*/ 2 h 782"/>
                <a:gd name="T32" fmla="*/ 5 w 353"/>
                <a:gd name="T33" fmla="*/ 17 h 782"/>
                <a:gd name="T34" fmla="*/ 0 w 353"/>
                <a:gd name="T35" fmla="*/ 27 h 782"/>
                <a:gd name="T36" fmla="*/ 5 w 353"/>
                <a:gd name="T37" fmla="*/ 38 h 782"/>
                <a:gd name="T38" fmla="*/ 15 w 353"/>
                <a:gd name="T39" fmla="*/ 42 h 782"/>
                <a:gd name="T40" fmla="*/ 32 w 353"/>
                <a:gd name="T41" fmla="*/ 35 h 782"/>
                <a:gd name="T42" fmla="*/ 65 w 353"/>
                <a:gd name="T43" fmla="*/ 30 h 782"/>
                <a:gd name="T44" fmla="*/ 93 w 353"/>
                <a:gd name="T45" fmla="*/ 39 h 782"/>
                <a:gd name="T46" fmla="*/ 124 w 353"/>
                <a:gd name="T47" fmla="*/ 64 h 782"/>
                <a:gd name="T48" fmla="*/ 135 w 353"/>
                <a:gd name="T49" fmla="*/ 94 h 782"/>
                <a:gd name="T50" fmla="*/ 127 w 353"/>
                <a:gd name="T51" fmla="*/ 158 h 782"/>
                <a:gd name="T52" fmla="*/ 115 w 353"/>
                <a:gd name="T53" fmla="*/ 201 h 782"/>
                <a:gd name="T54" fmla="*/ 120 w 353"/>
                <a:gd name="T55" fmla="*/ 211 h 782"/>
                <a:gd name="T56" fmla="*/ 131 w 353"/>
                <a:gd name="T57" fmla="*/ 214 h 782"/>
                <a:gd name="T58" fmla="*/ 136 w 353"/>
                <a:gd name="T59" fmla="*/ 241 h 782"/>
                <a:gd name="T60" fmla="*/ 131 w 353"/>
                <a:gd name="T61" fmla="*/ 258 h 782"/>
                <a:gd name="T62" fmla="*/ 120 w 353"/>
                <a:gd name="T63" fmla="*/ 261 h 782"/>
                <a:gd name="T64" fmla="*/ 115 w 353"/>
                <a:gd name="T65" fmla="*/ 271 h 782"/>
                <a:gd name="T66" fmla="*/ 110 w 353"/>
                <a:gd name="T67" fmla="*/ 313 h 782"/>
                <a:gd name="T68" fmla="*/ 93 w 353"/>
                <a:gd name="T69" fmla="*/ 348 h 782"/>
                <a:gd name="T70" fmla="*/ 65 w 353"/>
                <a:gd name="T71" fmla="*/ 376 h 782"/>
                <a:gd name="T72" fmla="*/ 53 w 353"/>
                <a:gd name="T73" fmla="*/ 387 h 782"/>
                <a:gd name="T74" fmla="*/ 55 w 353"/>
                <a:gd name="T75" fmla="*/ 460 h 782"/>
                <a:gd name="T76" fmla="*/ 112 w 353"/>
                <a:gd name="T77" fmla="*/ 484 h 782"/>
                <a:gd name="T78" fmla="*/ 239 w 353"/>
                <a:gd name="T79" fmla="*/ 538 h 782"/>
                <a:gd name="T80" fmla="*/ 289 w 353"/>
                <a:gd name="T81" fmla="*/ 569 h 782"/>
                <a:gd name="T82" fmla="*/ 310 w 353"/>
                <a:gd name="T83" fmla="*/ 609 h 782"/>
                <a:gd name="T84" fmla="*/ 321 w 353"/>
                <a:gd name="T85" fmla="*/ 696 h 782"/>
                <a:gd name="T86" fmla="*/ 262 w 353"/>
                <a:gd name="T87" fmla="*/ 752 h 782"/>
                <a:gd name="T88" fmla="*/ 251 w 353"/>
                <a:gd name="T89" fmla="*/ 756 h 782"/>
                <a:gd name="T90" fmla="*/ 247 w 353"/>
                <a:gd name="T91" fmla="*/ 767 h 782"/>
                <a:gd name="T92" fmla="*/ 251 w 353"/>
                <a:gd name="T93" fmla="*/ 778 h 782"/>
                <a:gd name="T94" fmla="*/ 262 w 353"/>
                <a:gd name="T95" fmla="*/ 782 h 782"/>
                <a:gd name="T96" fmla="*/ 347 w 353"/>
                <a:gd name="T97" fmla="*/ 779 h 782"/>
                <a:gd name="T98" fmla="*/ 353 w 353"/>
                <a:gd name="T99" fmla="*/ 770 h 782"/>
                <a:gd name="T100" fmla="*/ 352 w 353"/>
                <a:gd name="T101" fmla="*/ 721 h 782"/>
                <a:gd name="T102" fmla="*/ 342 w 353"/>
                <a:gd name="T103" fmla="*/ 619 h 7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82">
                  <a:moveTo>
                    <a:pt x="334" y="582"/>
                  </a:moveTo>
                  <a:lnTo>
                    <a:pt x="329" y="572"/>
                  </a:lnTo>
                  <a:lnTo>
                    <a:pt x="323" y="562"/>
                  </a:lnTo>
                  <a:lnTo>
                    <a:pt x="315" y="553"/>
                  </a:lnTo>
                  <a:lnTo>
                    <a:pt x="305" y="544"/>
                  </a:lnTo>
                  <a:lnTo>
                    <a:pt x="293" y="536"/>
                  </a:lnTo>
                  <a:lnTo>
                    <a:pt x="280" y="526"/>
                  </a:lnTo>
                  <a:lnTo>
                    <a:pt x="265" y="517"/>
                  </a:lnTo>
                  <a:lnTo>
                    <a:pt x="249" y="509"/>
                  </a:lnTo>
                  <a:lnTo>
                    <a:pt x="214" y="493"/>
                  </a:lnTo>
                  <a:lnTo>
                    <a:pt x="173" y="476"/>
                  </a:lnTo>
                  <a:lnTo>
                    <a:pt x="129" y="458"/>
                  </a:lnTo>
                  <a:lnTo>
                    <a:pt x="83" y="441"/>
                  </a:lnTo>
                  <a:lnTo>
                    <a:pt x="82" y="440"/>
                  </a:lnTo>
                  <a:lnTo>
                    <a:pt x="82" y="399"/>
                  </a:lnTo>
                  <a:lnTo>
                    <a:pt x="90" y="394"/>
                  </a:lnTo>
                  <a:lnTo>
                    <a:pt x="99" y="387"/>
                  </a:lnTo>
                  <a:lnTo>
                    <a:pt x="109" y="377"/>
                  </a:lnTo>
                  <a:lnTo>
                    <a:pt x="118" y="364"/>
                  </a:lnTo>
                  <a:lnTo>
                    <a:pt x="124" y="358"/>
                  </a:lnTo>
                  <a:lnTo>
                    <a:pt x="128" y="349"/>
                  </a:lnTo>
                  <a:lnTo>
                    <a:pt x="132" y="341"/>
                  </a:lnTo>
                  <a:lnTo>
                    <a:pt x="135" y="331"/>
                  </a:lnTo>
                  <a:lnTo>
                    <a:pt x="139" y="321"/>
                  </a:lnTo>
                  <a:lnTo>
                    <a:pt x="141" y="309"/>
                  </a:lnTo>
                  <a:lnTo>
                    <a:pt x="143" y="298"/>
                  </a:lnTo>
                  <a:lnTo>
                    <a:pt x="144" y="285"/>
                  </a:lnTo>
                  <a:lnTo>
                    <a:pt x="148" y="283"/>
                  </a:lnTo>
                  <a:lnTo>
                    <a:pt x="152" y="278"/>
                  </a:lnTo>
                  <a:lnTo>
                    <a:pt x="156" y="274"/>
                  </a:lnTo>
                  <a:lnTo>
                    <a:pt x="159" y="269"/>
                  </a:lnTo>
                  <a:lnTo>
                    <a:pt x="162" y="261"/>
                  </a:lnTo>
                  <a:lnTo>
                    <a:pt x="164" y="254"/>
                  </a:lnTo>
                  <a:lnTo>
                    <a:pt x="166" y="245"/>
                  </a:lnTo>
                  <a:lnTo>
                    <a:pt x="166" y="235"/>
                  </a:lnTo>
                  <a:lnTo>
                    <a:pt x="166" y="228"/>
                  </a:lnTo>
                  <a:lnTo>
                    <a:pt x="165" y="220"/>
                  </a:lnTo>
                  <a:lnTo>
                    <a:pt x="163" y="214"/>
                  </a:lnTo>
                  <a:lnTo>
                    <a:pt x="161" y="208"/>
                  </a:lnTo>
                  <a:lnTo>
                    <a:pt x="159" y="202"/>
                  </a:lnTo>
                  <a:lnTo>
                    <a:pt x="156" y="197"/>
                  </a:lnTo>
                  <a:lnTo>
                    <a:pt x="151" y="193"/>
                  </a:lnTo>
                  <a:lnTo>
                    <a:pt x="147" y="189"/>
                  </a:lnTo>
                  <a:lnTo>
                    <a:pt x="148" y="188"/>
                  </a:lnTo>
                  <a:lnTo>
                    <a:pt x="148" y="188"/>
                  </a:lnTo>
                  <a:lnTo>
                    <a:pt x="156" y="166"/>
                  </a:lnTo>
                  <a:lnTo>
                    <a:pt x="162" y="137"/>
                  </a:lnTo>
                  <a:lnTo>
                    <a:pt x="165" y="122"/>
                  </a:lnTo>
                  <a:lnTo>
                    <a:pt x="166" y="106"/>
                  </a:lnTo>
                  <a:lnTo>
                    <a:pt x="165" y="90"/>
                  </a:lnTo>
                  <a:lnTo>
                    <a:pt x="163" y="74"/>
                  </a:lnTo>
                  <a:lnTo>
                    <a:pt x="159" y="64"/>
                  </a:lnTo>
                  <a:lnTo>
                    <a:pt x="154" y="54"/>
                  </a:lnTo>
                  <a:lnTo>
                    <a:pt x="147" y="45"/>
                  </a:lnTo>
                  <a:lnTo>
                    <a:pt x="139" y="35"/>
                  </a:lnTo>
                  <a:lnTo>
                    <a:pt x="129" y="26"/>
                  </a:lnTo>
                  <a:lnTo>
                    <a:pt x="118" y="19"/>
                  </a:lnTo>
                  <a:lnTo>
                    <a:pt x="106" y="12"/>
                  </a:lnTo>
                  <a:lnTo>
                    <a:pt x="95" y="6"/>
                  </a:lnTo>
                  <a:lnTo>
                    <a:pt x="83" y="3"/>
                  </a:lnTo>
                  <a:lnTo>
                    <a:pt x="72" y="1"/>
                  </a:lnTo>
                  <a:lnTo>
                    <a:pt x="60" y="0"/>
                  </a:lnTo>
                  <a:lnTo>
                    <a:pt x="50" y="0"/>
                  </a:lnTo>
                  <a:lnTo>
                    <a:pt x="38" y="2"/>
                  </a:lnTo>
                  <a:lnTo>
                    <a:pt x="27" y="5"/>
                  </a:lnTo>
                  <a:lnTo>
                    <a:pt x="17" y="9"/>
                  </a:lnTo>
                  <a:lnTo>
                    <a:pt x="7" y="15"/>
                  </a:lnTo>
                  <a:lnTo>
                    <a:pt x="5" y="17"/>
                  </a:lnTo>
                  <a:lnTo>
                    <a:pt x="3" y="19"/>
                  </a:lnTo>
                  <a:lnTo>
                    <a:pt x="1" y="22"/>
                  </a:lnTo>
                  <a:lnTo>
                    <a:pt x="0" y="24"/>
                  </a:lnTo>
                  <a:lnTo>
                    <a:pt x="0" y="27"/>
                  </a:lnTo>
                  <a:lnTo>
                    <a:pt x="0" y="31"/>
                  </a:lnTo>
                  <a:lnTo>
                    <a:pt x="1" y="33"/>
                  </a:lnTo>
                  <a:lnTo>
                    <a:pt x="3" y="36"/>
                  </a:lnTo>
                  <a:lnTo>
                    <a:pt x="5" y="38"/>
                  </a:lnTo>
                  <a:lnTo>
                    <a:pt x="7" y="40"/>
                  </a:lnTo>
                  <a:lnTo>
                    <a:pt x="10" y="41"/>
                  </a:lnTo>
                  <a:lnTo>
                    <a:pt x="12" y="42"/>
                  </a:lnTo>
                  <a:lnTo>
                    <a:pt x="15" y="42"/>
                  </a:lnTo>
                  <a:lnTo>
                    <a:pt x="18" y="42"/>
                  </a:lnTo>
                  <a:lnTo>
                    <a:pt x="21" y="41"/>
                  </a:lnTo>
                  <a:lnTo>
                    <a:pt x="24" y="40"/>
                  </a:lnTo>
                  <a:lnTo>
                    <a:pt x="32" y="35"/>
                  </a:lnTo>
                  <a:lnTo>
                    <a:pt x="41" y="32"/>
                  </a:lnTo>
                  <a:lnTo>
                    <a:pt x="48" y="31"/>
                  </a:lnTo>
                  <a:lnTo>
                    <a:pt x="57" y="30"/>
                  </a:lnTo>
                  <a:lnTo>
                    <a:pt x="65" y="30"/>
                  </a:lnTo>
                  <a:lnTo>
                    <a:pt x="71" y="31"/>
                  </a:lnTo>
                  <a:lnTo>
                    <a:pt x="77" y="33"/>
                  </a:lnTo>
                  <a:lnTo>
                    <a:pt x="84" y="35"/>
                  </a:lnTo>
                  <a:lnTo>
                    <a:pt x="93" y="39"/>
                  </a:lnTo>
                  <a:lnTo>
                    <a:pt x="103" y="45"/>
                  </a:lnTo>
                  <a:lnTo>
                    <a:pt x="111" y="51"/>
                  </a:lnTo>
                  <a:lnTo>
                    <a:pt x="118" y="57"/>
                  </a:lnTo>
                  <a:lnTo>
                    <a:pt x="124" y="64"/>
                  </a:lnTo>
                  <a:lnTo>
                    <a:pt x="129" y="70"/>
                  </a:lnTo>
                  <a:lnTo>
                    <a:pt x="132" y="76"/>
                  </a:lnTo>
                  <a:lnTo>
                    <a:pt x="133" y="81"/>
                  </a:lnTo>
                  <a:lnTo>
                    <a:pt x="135" y="94"/>
                  </a:lnTo>
                  <a:lnTo>
                    <a:pt x="136" y="107"/>
                  </a:lnTo>
                  <a:lnTo>
                    <a:pt x="135" y="121"/>
                  </a:lnTo>
                  <a:lnTo>
                    <a:pt x="133" y="134"/>
                  </a:lnTo>
                  <a:lnTo>
                    <a:pt x="127" y="158"/>
                  </a:lnTo>
                  <a:lnTo>
                    <a:pt x="119" y="178"/>
                  </a:lnTo>
                  <a:lnTo>
                    <a:pt x="116" y="190"/>
                  </a:lnTo>
                  <a:lnTo>
                    <a:pt x="114" y="198"/>
                  </a:lnTo>
                  <a:lnTo>
                    <a:pt x="115" y="201"/>
                  </a:lnTo>
                  <a:lnTo>
                    <a:pt x="115" y="203"/>
                  </a:lnTo>
                  <a:lnTo>
                    <a:pt x="117" y="206"/>
                  </a:lnTo>
                  <a:lnTo>
                    <a:pt x="118" y="209"/>
                  </a:lnTo>
                  <a:lnTo>
                    <a:pt x="120" y="211"/>
                  </a:lnTo>
                  <a:lnTo>
                    <a:pt x="124" y="212"/>
                  </a:lnTo>
                  <a:lnTo>
                    <a:pt x="127" y="213"/>
                  </a:lnTo>
                  <a:lnTo>
                    <a:pt x="129" y="213"/>
                  </a:lnTo>
                  <a:lnTo>
                    <a:pt x="131" y="214"/>
                  </a:lnTo>
                  <a:lnTo>
                    <a:pt x="133" y="218"/>
                  </a:lnTo>
                  <a:lnTo>
                    <a:pt x="135" y="226"/>
                  </a:lnTo>
                  <a:lnTo>
                    <a:pt x="136" y="235"/>
                  </a:lnTo>
                  <a:lnTo>
                    <a:pt x="136" y="241"/>
                  </a:lnTo>
                  <a:lnTo>
                    <a:pt x="135" y="246"/>
                  </a:lnTo>
                  <a:lnTo>
                    <a:pt x="134" y="252"/>
                  </a:lnTo>
                  <a:lnTo>
                    <a:pt x="132" y="255"/>
                  </a:lnTo>
                  <a:lnTo>
                    <a:pt x="131" y="258"/>
                  </a:lnTo>
                  <a:lnTo>
                    <a:pt x="129" y="259"/>
                  </a:lnTo>
                  <a:lnTo>
                    <a:pt x="127" y="259"/>
                  </a:lnTo>
                  <a:lnTo>
                    <a:pt x="124" y="260"/>
                  </a:lnTo>
                  <a:lnTo>
                    <a:pt x="120" y="261"/>
                  </a:lnTo>
                  <a:lnTo>
                    <a:pt x="118" y="263"/>
                  </a:lnTo>
                  <a:lnTo>
                    <a:pt x="117" y="265"/>
                  </a:lnTo>
                  <a:lnTo>
                    <a:pt x="115" y="268"/>
                  </a:lnTo>
                  <a:lnTo>
                    <a:pt x="115" y="271"/>
                  </a:lnTo>
                  <a:lnTo>
                    <a:pt x="114" y="274"/>
                  </a:lnTo>
                  <a:lnTo>
                    <a:pt x="114" y="288"/>
                  </a:lnTo>
                  <a:lnTo>
                    <a:pt x="112" y="301"/>
                  </a:lnTo>
                  <a:lnTo>
                    <a:pt x="110" y="313"/>
                  </a:lnTo>
                  <a:lnTo>
                    <a:pt x="106" y="323"/>
                  </a:lnTo>
                  <a:lnTo>
                    <a:pt x="102" y="332"/>
                  </a:lnTo>
                  <a:lnTo>
                    <a:pt x="98" y="341"/>
                  </a:lnTo>
                  <a:lnTo>
                    <a:pt x="93" y="348"/>
                  </a:lnTo>
                  <a:lnTo>
                    <a:pt x="88" y="354"/>
                  </a:lnTo>
                  <a:lnTo>
                    <a:pt x="78" y="365"/>
                  </a:lnTo>
                  <a:lnTo>
                    <a:pt x="70" y="372"/>
                  </a:lnTo>
                  <a:lnTo>
                    <a:pt x="65" y="376"/>
                  </a:lnTo>
                  <a:lnTo>
                    <a:pt x="61" y="377"/>
                  </a:lnTo>
                  <a:lnTo>
                    <a:pt x="57" y="379"/>
                  </a:lnTo>
                  <a:lnTo>
                    <a:pt x="55" y="382"/>
                  </a:lnTo>
                  <a:lnTo>
                    <a:pt x="53" y="387"/>
                  </a:lnTo>
                  <a:lnTo>
                    <a:pt x="52" y="391"/>
                  </a:lnTo>
                  <a:lnTo>
                    <a:pt x="52" y="451"/>
                  </a:lnTo>
                  <a:lnTo>
                    <a:pt x="53" y="455"/>
                  </a:lnTo>
                  <a:lnTo>
                    <a:pt x="55" y="460"/>
                  </a:lnTo>
                  <a:lnTo>
                    <a:pt x="58" y="463"/>
                  </a:lnTo>
                  <a:lnTo>
                    <a:pt x="61" y="465"/>
                  </a:lnTo>
                  <a:lnTo>
                    <a:pt x="73" y="469"/>
                  </a:lnTo>
                  <a:lnTo>
                    <a:pt x="112" y="484"/>
                  </a:lnTo>
                  <a:lnTo>
                    <a:pt x="150" y="499"/>
                  </a:lnTo>
                  <a:lnTo>
                    <a:pt x="188" y="514"/>
                  </a:lnTo>
                  <a:lnTo>
                    <a:pt x="223" y="530"/>
                  </a:lnTo>
                  <a:lnTo>
                    <a:pt x="239" y="538"/>
                  </a:lnTo>
                  <a:lnTo>
                    <a:pt x="253" y="545"/>
                  </a:lnTo>
                  <a:lnTo>
                    <a:pt x="266" y="553"/>
                  </a:lnTo>
                  <a:lnTo>
                    <a:pt x="278" y="561"/>
                  </a:lnTo>
                  <a:lnTo>
                    <a:pt x="289" y="569"/>
                  </a:lnTo>
                  <a:lnTo>
                    <a:pt x="296" y="576"/>
                  </a:lnTo>
                  <a:lnTo>
                    <a:pt x="301" y="584"/>
                  </a:lnTo>
                  <a:lnTo>
                    <a:pt x="306" y="591"/>
                  </a:lnTo>
                  <a:lnTo>
                    <a:pt x="310" y="609"/>
                  </a:lnTo>
                  <a:lnTo>
                    <a:pt x="313" y="628"/>
                  </a:lnTo>
                  <a:lnTo>
                    <a:pt x="317" y="650"/>
                  </a:lnTo>
                  <a:lnTo>
                    <a:pt x="319" y="674"/>
                  </a:lnTo>
                  <a:lnTo>
                    <a:pt x="321" y="696"/>
                  </a:lnTo>
                  <a:lnTo>
                    <a:pt x="322" y="718"/>
                  </a:lnTo>
                  <a:lnTo>
                    <a:pt x="322" y="736"/>
                  </a:lnTo>
                  <a:lnTo>
                    <a:pt x="323" y="752"/>
                  </a:lnTo>
                  <a:lnTo>
                    <a:pt x="262" y="752"/>
                  </a:lnTo>
                  <a:lnTo>
                    <a:pt x="259" y="752"/>
                  </a:lnTo>
                  <a:lnTo>
                    <a:pt x="256" y="753"/>
                  </a:lnTo>
                  <a:lnTo>
                    <a:pt x="253" y="754"/>
                  </a:lnTo>
                  <a:lnTo>
                    <a:pt x="251" y="756"/>
                  </a:lnTo>
                  <a:lnTo>
                    <a:pt x="249" y="759"/>
                  </a:lnTo>
                  <a:lnTo>
                    <a:pt x="248" y="761"/>
                  </a:lnTo>
                  <a:lnTo>
                    <a:pt x="247" y="764"/>
                  </a:lnTo>
                  <a:lnTo>
                    <a:pt x="247" y="767"/>
                  </a:lnTo>
                  <a:lnTo>
                    <a:pt x="247" y="770"/>
                  </a:lnTo>
                  <a:lnTo>
                    <a:pt x="248" y="773"/>
                  </a:lnTo>
                  <a:lnTo>
                    <a:pt x="249" y="776"/>
                  </a:lnTo>
                  <a:lnTo>
                    <a:pt x="251" y="778"/>
                  </a:lnTo>
                  <a:lnTo>
                    <a:pt x="253" y="779"/>
                  </a:lnTo>
                  <a:lnTo>
                    <a:pt x="256" y="781"/>
                  </a:lnTo>
                  <a:lnTo>
                    <a:pt x="259" y="781"/>
                  </a:lnTo>
                  <a:lnTo>
                    <a:pt x="262" y="782"/>
                  </a:lnTo>
                  <a:lnTo>
                    <a:pt x="338" y="782"/>
                  </a:lnTo>
                  <a:lnTo>
                    <a:pt x="341" y="781"/>
                  </a:lnTo>
                  <a:lnTo>
                    <a:pt x="343" y="781"/>
                  </a:lnTo>
                  <a:lnTo>
                    <a:pt x="347" y="779"/>
                  </a:lnTo>
                  <a:lnTo>
                    <a:pt x="349" y="778"/>
                  </a:lnTo>
                  <a:lnTo>
                    <a:pt x="351" y="776"/>
                  </a:lnTo>
                  <a:lnTo>
                    <a:pt x="352" y="773"/>
                  </a:lnTo>
                  <a:lnTo>
                    <a:pt x="353" y="770"/>
                  </a:lnTo>
                  <a:lnTo>
                    <a:pt x="353" y="767"/>
                  </a:lnTo>
                  <a:lnTo>
                    <a:pt x="353" y="760"/>
                  </a:lnTo>
                  <a:lnTo>
                    <a:pt x="353" y="744"/>
                  </a:lnTo>
                  <a:lnTo>
                    <a:pt x="352" y="721"/>
                  </a:lnTo>
                  <a:lnTo>
                    <a:pt x="351" y="693"/>
                  </a:lnTo>
                  <a:lnTo>
                    <a:pt x="349" y="663"/>
                  </a:lnTo>
                  <a:lnTo>
                    <a:pt x="344" y="633"/>
                  </a:lnTo>
                  <a:lnTo>
                    <a:pt x="342" y="619"/>
                  </a:lnTo>
                  <a:lnTo>
                    <a:pt x="340" y="605"/>
                  </a:lnTo>
                  <a:lnTo>
                    <a:pt x="337" y="592"/>
                  </a:lnTo>
                  <a:lnTo>
                    <a:pt x="334" y="58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306" name="Group 305"/>
          <p:cNvGrpSpPr/>
          <p:nvPr/>
        </p:nvGrpSpPr>
        <p:grpSpPr>
          <a:xfrm>
            <a:off x="7814756" y="4466113"/>
            <a:ext cx="287338" cy="249238"/>
            <a:chOff x="8736013" y="2536825"/>
            <a:chExt cx="287338" cy="249238"/>
          </a:xfrm>
          <a:solidFill>
            <a:schemeClr val="accent3"/>
          </a:solidFill>
        </p:grpSpPr>
        <p:sp>
          <p:nvSpPr>
            <p:cNvPr id="307" name="Freeform 219"/>
            <p:cNvSpPr>
              <a:spLocks noEditPoints="1"/>
            </p:cNvSpPr>
            <p:nvPr/>
          </p:nvSpPr>
          <p:spPr bwMode="auto">
            <a:xfrm>
              <a:off x="8793163" y="2632075"/>
              <a:ext cx="230188" cy="153988"/>
            </a:xfrm>
            <a:custGeom>
              <a:avLst/>
              <a:gdLst>
                <a:gd name="T0" fmla="*/ 621 w 722"/>
                <a:gd name="T1" fmla="*/ 368 h 481"/>
                <a:gd name="T2" fmla="*/ 588 w 722"/>
                <a:gd name="T3" fmla="*/ 338 h 481"/>
                <a:gd name="T4" fmla="*/ 557 w 722"/>
                <a:gd name="T5" fmla="*/ 331 h 481"/>
                <a:gd name="T6" fmla="*/ 525 w 722"/>
                <a:gd name="T7" fmla="*/ 338 h 481"/>
                <a:gd name="T8" fmla="*/ 493 w 722"/>
                <a:gd name="T9" fmla="*/ 368 h 481"/>
                <a:gd name="T10" fmla="*/ 451 w 722"/>
                <a:gd name="T11" fmla="*/ 391 h 481"/>
                <a:gd name="T12" fmla="*/ 557 w 722"/>
                <a:gd name="T13" fmla="*/ 451 h 481"/>
                <a:gd name="T14" fmla="*/ 520 w 722"/>
                <a:gd name="T15" fmla="*/ 432 h 481"/>
                <a:gd name="T16" fmla="*/ 515 w 722"/>
                <a:gd name="T17" fmla="*/ 389 h 481"/>
                <a:gd name="T18" fmla="*/ 547 w 722"/>
                <a:gd name="T19" fmla="*/ 362 h 481"/>
                <a:gd name="T20" fmla="*/ 588 w 722"/>
                <a:gd name="T21" fmla="*/ 374 h 481"/>
                <a:gd name="T22" fmla="*/ 601 w 722"/>
                <a:gd name="T23" fmla="*/ 415 h 481"/>
                <a:gd name="T24" fmla="*/ 574 w 722"/>
                <a:gd name="T25" fmla="*/ 448 h 481"/>
                <a:gd name="T26" fmla="*/ 451 w 722"/>
                <a:gd name="T27" fmla="*/ 241 h 481"/>
                <a:gd name="T28" fmla="*/ 163 w 722"/>
                <a:gd name="T29" fmla="*/ 448 h 481"/>
                <a:gd name="T30" fmla="*/ 136 w 722"/>
                <a:gd name="T31" fmla="*/ 415 h 481"/>
                <a:gd name="T32" fmla="*/ 149 w 722"/>
                <a:gd name="T33" fmla="*/ 374 h 481"/>
                <a:gd name="T34" fmla="*/ 190 w 722"/>
                <a:gd name="T35" fmla="*/ 362 h 481"/>
                <a:gd name="T36" fmla="*/ 222 w 722"/>
                <a:gd name="T37" fmla="*/ 389 h 481"/>
                <a:gd name="T38" fmla="*/ 219 w 722"/>
                <a:gd name="T39" fmla="*/ 431 h 481"/>
                <a:gd name="T40" fmla="*/ 181 w 722"/>
                <a:gd name="T41" fmla="*/ 451 h 481"/>
                <a:gd name="T42" fmla="*/ 565 w 722"/>
                <a:gd name="T43" fmla="*/ 94 h 481"/>
                <a:gd name="T44" fmla="*/ 451 w 722"/>
                <a:gd name="T45" fmla="*/ 15 h 481"/>
                <a:gd name="T46" fmla="*/ 445 w 722"/>
                <a:gd name="T47" fmla="*/ 3 h 481"/>
                <a:gd name="T48" fmla="*/ 253 w 722"/>
                <a:gd name="T49" fmla="*/ 0 h 481"/>
                <a:gd name="T50" fmla="*/ 242 w 722"/>
                <a:gd name="T51" fmla="*/ 10 h 481"/>
                <a:gd name="T52" fmla="*/ 243 w 722"/>
                <a:gd name="T53" fmla="*/ 24 h 481"/>
                <a:gd name="T54" fmla="*/ 256 w 722"/>
                <a:gd name="T55" fmla="*/ 30 h 481"/>
                <a:gd name="T56" fmla="*/ 251 w 722"/>
                <a:gd name="T57" fmla="*/ 378 h 481"/>
                <a:gd name="T58" fmla="*/ 224 w 722"/>
                <a:gd name="T59" fmla="*/ 344 h 481"/>
                <a:gd name="T60" fmla="*/ 194 w 722"/>
                <a:gd name="T61" fmla="*/ 332 h 481"/>
                <a:gd name="T62" fmla="*/ 161 w 722"/>
                <a:gd name="T63" fmla="*/ 334 h 481"/>
                <a:gd name="T64" fmla="*/ 133 w 722"/>
                <a:gd name="T65" fmla="*/ 349 h 481"/>
                <a:gd name="T66" fmla="*/ 108 w 722"/>
                <a:gd name="T67" fmla="*/ 385 h 481"/>
                <a:gd name="T68" fmla="*/ 29 w 722"/>
                <a:gd name="T69" fmla="*/ 115 h 481"/>
                <a:gd name="T70" fmla="*/ 18 w 722"/>
                <a:gd name="T71" fmla="*/ 106 h 481"/>
                <a:gd name="T72" fmla="*/ 4 w 722"/>
                <a:gd name="T73" fmla="*/ 110 h 481"/>
                <a:gd name="T74" fmla="*/ 0 w 722"/>
                <a:gd name="T75" fmla="*/ 406 h 481"/>
                <a:gd name="T76" fmla="*/ 6 w 722"/>
                <a:gd name="T77" fmla="*/ 419 h 481"/>
                <a:gd name="T78" fmla="*/ 108 w 722"/>
                <a:gd name="T79" fmla="*/ 428 h 481"/>
                <a:gd name="T80" fmla="*/ 133 w 722"/>
                <a:gd name="T81" fmla="*/ 464 h 481"/>
                <a:gd name="T82" fmla="*/ 161 w 722"/>
                <a:gd name="T83" fmla="*/ 479 h 481"/>
                <a:gd name="T84" fmla="*/ 194 w 722"/>
                <a:gd name="T85" fmla="*/ 480 h 481"/>
                <a:gd name="T86" fmla="*/ 224 w 722"/>
                <a:gd name="T87" fmla="*/ 468 h 481"/>
                <a:gd name="T88" fmla="*/ 251 w 722"/>
                <a:gd name="T89" fmla="*/ 434 h 481"/>
                <a:gd name="T90" fmla="*/ 484 w 722"/>
                <a:gd name="T91" fmla="*/ 428 h 481"/>
                <a:gd name="T92" fmla="*/ 509 w 722"/>
                <a:gd name="T93" fmla="*/ 464 h 481"/>
                <a:gd name="T94" fmla="*/ 537 w 722"/>
                <a:gd name="T95" fmla="*/ 479 h 481"/>
                <a:gd name="T96" fmla="*/ 570 w 722"/>
                <a:gd name="T97" fmla="*/ 480 h 481"/>
                <a:gd name="T98" fmla="*/ 599 w 722"/>
                <a:gd name="T99" fmla="*/ 468 h 481"/>
                <a:gd name="T100" fmla="*/ 627 w 722"/>
                <a:gd name="T101" fmla="*/ 434 h 481"/>
                <a:gd name="T102" fmla="*/ 712 w 722"/>
                <a:gd name="T103" fmla="*/ 420 h 481"/>
                <a:gd name="T104" fmla="*/ 722 w 722"/>
                <a:gd name="T105" fmla="*/ 410 h 481"/>
                <a:gd name="T106" fmla="*/ 721 w 722"/>
                <a:gd name="T107" fmla="*/ 250 h 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722" h="481">
                  <a:moveTo>
                    <a:pt x="630" y="391"/>
                  </a:moveTo>
                  <a:lnTo>
                    <a:pt x="629" y="385"/>
                  </a:lnTo>
                  <a:lnTo>
                    <a:pt x="627" y="378"/>
                  </a:lnTo>
                  <a:lnTo>
                    <a:pt x="623" y="373"/>
                  </a:lnTo>
                  <a:lnTo>
                    <a:pt x="621" y="368"/>
                  </a:lnTo>
                  <a:lnTo>
                    <a:pt x="614" y="357"/>
                  </a:lnTo>
                  <a:lnTo>
                    <a:pt x="604" y="349"/>
                  </a:lnTo>
                  <a:lnTo>
                    <a:pt x="599" y="344"/>
                  </a:lnTo>
                  <a:lnTo>
                    <a:pt x="593" y="341"/>
                  </a:lnTo>
                  <a:lnTo>
                    <a:pt x="588" y="338"/>
                  </a:lnTo>
                  <a:lnTo>
                    <a:pt x="583" y="336"/>
                  </a:lnTo>
                  <a:lnTo>
                    <a:pt x="576" y="334"/>
                  </a:lnTo>
                  <a:lnTo>
                    <a:pt x="570" y="332"/>
                  </a:lnTo>
                  <a:lnTo>
                    <a:pt x="563" y="331"/>
                  </a:lnTo>
                  <a:lnTo>
                    <a:pt x="557" y="331"/>
                  </a:lnTo>
                  <a:lnTo>
                    <a:pt x="550" y="331"/>
                  </a:lnTo>
                  <a:lnTo>
                    <a:pt x="543" y="332"/>
                  </a:lnTo>
                  <a:lnTo>
                    <a:pt x="537" y="334"/>
                  </a:lnTo>
                  <a:lnTo>
                    <a:pt x="530" y="336"/>
                  </a:lnTo>
                  <a:lnTo>
                    <a:pt x="525" y="338"/>
                  </a:lnTo>
                  <a:lnTo>
                    <a:pt x="520" y="341"/>
                  </a:lnTo>
                  <a:lnTo>
                    <a:pt x="514" y="344"/>
                  </a:lnTo>
                  <a:lnTo>
                    <a:pt x="509" y="349"/>
                  </a:lnTo>
                  <a:lnTo>
                    <a:pt x="499" y="357"/>
                  </a:lnTo>
                  <a:lnTo>
                    <a:pt x="493" y="368"/>
                  </a:lnTo>
                  <a:lnTo>
                    <a:pt x="490" y="373"/>
                  </a:lnTo>
                  <a:lnTo>
                    <a:pt x="486" y="378"/>
                  </a:lnTo>
                  <a:lnTo>
                    <a:pt x="484" y="385"/>
                  </a:lnTo>
                  <a:lnTo>
                    <a:pt x="483" y="391"/>
                  </a:lnTo>
                  <a:lnTo>
                    <a:pt x="451" y="391"/>
                  </a:lnTo>
                  <a:lnTo>
                    <a:pt x="451" y="271"/>
                  </a:lnTo>
                  <a:lnTo>
                    <a:pt x="692" y="271"/>
                  </a:lnTo>
                  <a:lnTo>
                    <a:pt x="692" y="391"/>
                  </a:lnTo>
                  <a:lnTo>
                    <a:pt x="630" y="391"/>
                  </a:lnTo>
                  <a:close/>
                  <a:moveTo>
                    <a:pt x="557" y="451"/>
                  </a:moveTo>
                  <a:lnTo>
                    <a:pt x="547" y="450"/>
                  </a:lnTo>
                  <a:lnTo>
                    <a:pt x="539" y="448"/>
                  </a:lnTo>
                  <a:lnTo>
                    <a:pt x="531" y="444"/>
                  </a:lnTo>
                  <a:lnTo>
                    <a:pt x="525" y="438"/>
                  </a:lnTo>
                  <a:lnTo>
                    <a:pt x="520" y="432"/>
                  </a:lnTo>
                  <a:lnTo>
                    <a:pt x="515" y="423"/>
                  </a:lnTo>
                  <a:lnTo>
                    <a:pt x="512" y="415"/>
                  </a:lnTo>
                  <a:lnTo>
                    <a:pt x="511" y="406"/>
                  </a:lnTo>
                  <a:lnTo>
                    <a:pt x="512" y="398"/>
                  </a:lnTo>
                  <a:lnTo>
                    <a:pt x="515" y="389"/>
                  </a:lnTo>
                  <a:lnTo>
                    <a:pt x="520" y="381"/>
                  </a:lnTo>
                  <a:lnTo>
                    <a:pt x="525" y="374"/>
                  </a:lnTo>
                  <a:lnTo>
                    <a:pt x="531" y="369"/>
                  </a:lnTo>
                  <a:lnTo>
                    <a:pt x="539" y="365"/>
                  </a:lnTo>
                  <a:lnTo>
                    <a:pt x="547" y="362"/>
                  </a:lnTo>
                  <a:lnTo>
                    <a:pt x="557" y="361"/>
                  </a:lnTo>
                  <a:lnTo>
                    <a:pt x="566" y="362"/>
                  </a:lnTo>
                  <a:lnTo>
                    <a:pt x="574" y="365"/>
                  </a:lnTo>
                  <a:lnTo>
                    <a:pt x="582" y="369"/>
                  </a:lnTo>
                  <a:lnTo>
                    <a:pt x="588" y="374"/>
                  </a:lnTo>
                  <a:lnTo>
                    <a:pt x="593" y="381"/>
                  </a:lnTo>
                  <a:lnTo>
                    <a:pt x="598" y="389"/>
                  </a:lnTo>
                  <a:lnTo>
                    <a:pt x="601" y="398"/>
                  </a:lnTo>
                  <a:lnTo>
                    <a:pt x="602" y="406"/>
                  </a:lnTo>
                  <a:lnTo>
                    <a:pt x="601" y="415"/>
                  </a:lnTo>
                  <a:lnTo>
                    <a:pt x="598" y="423"/>
                  </a:lnTo>
                  <a:lnTo>
                    <a:pt x="593" y="431"/>
                  </a:lnTo>
                  <a:lnTo>
                    <a:pt x="588" y="438"/>
                  </a:lnTo>
                  <a:lnTo>
                    <a:pt x="582" y="444"/>
                  </a:lnTo>
                  <a:lnTo>
                    <a:pt x="574" y="448"/>
                  </a:lnTo>
                  <a:lnTo>
                    <a:pt x="566" y="450"/>
                  </a:lnTo>
                  <a:lnTo>
                    <a:pt x="557" y="451"/>
                  </a:lnTo>
                  <a:close/>
                  <a:moveTo>
                    <a:pt x="551" y="120"/>
                  </a:moveTo>
                  <a:lnTo>
                    <a:pt x="671" y="241"/>
                  </a:lnTo>
                  <a:lnTo>
                    <a:pt x="451" y="241"/>
                  </a:lnTo>
                  <a:lnTo>
                    <a:pt x="451" y="120"/>
                  </a:lnTo>
                  <a:lnTo>
                    <a:pt x="551" y="120"/>
                  </a:lnTo>
                  <a:close/>
                  <a:moveTo>
                    <a:pt x="181" y="451"/>
                  </a:moveTo>
                  <a:lnTo>
                    <a:pt x="171" y="450"/>
                  </a:lnTo>
                  <a:lnTo>
                    <a:pt x="163" y="448"/>
                  </a:lnTo>
                  <a:lnTo>
                    <a:pt x="155" y="444"/>
                  </a:lnTo>
                  <a:lnTo>
                    <a:pt x="149" y="438"/>
                  </a:lnTo>
                  <a:lnTo>
                    <a:pt x="144" y="432"/>
                  </a:lnTo>
                  <a:lnTo>
                    <a:pt x="139" y="423"/>
                  </a:lnTo>
                  <a:lnTo>
                    <a:pt x="136" y="415"/>
                  </a:lnTo>
                  <a:lnTo>
                    <a:pt x="136" y="406"/>
                  </a:lnTo>
                  <a:lnTo>
                    <a:pt x="136" y="398"/>
                  </a:lnTo>
                  <a:lnTo>
                    <a:pt x="139" y="389"/>
                  </a:lnTo>
                  <a:lnTo>
                    <a:pt x="144" y="381"/>
                  </a:lnTo>
                  <a:lnTo>
                    <a:pt x="149" y="374"/>
                  </a:lnTo>
                  <a:lnTo>
                    <a:pt x="155" y="369"/>
                  </a:lnTo>
                  <a:lnTo>
                    <a:pt x="163" y="365"/>
                  </a:lnTo>
                  <a:lnTo>
                    <a:pt x="171" y="362"/>
                  </a:lnTo>
                  <a:lnTo>
                    <a:pt x="181" y="361"/>
                  </a:lnTo>
                  <a:lnTo>
                    <a:pt x="190" y="362"/>
                  </a:lnTo>
                  <a:lnTo>
                    <a:pt x="198" y="365"/>
                  </a:lnTo>
                  <a:lnTo>
                    <a:pt x="206" y="369"/>
                  </a:lnTo>
                  <a:lnTo>
                    <a:pt x="212" y="374"/>
                  </a:lnTo>
                  <a:lnTo>
                    <a:pt x="219" y="381"/>
                  </a:lnTo>
                  <a:lnTo>
                    <a:pt x="222" y="389"/>
                  </a:lnTo>
                  <a:lnTo>
                    <a:pt x="225" y="398"/>
                  </a:lnTo>
                  <a:lnTo>
                    <a:pt x="226" y="406"/>
                  </a:lnTo>
                  <a:lnTo>
                    <a:pt x="225" y="415"/>
                  </a:lnTo>
                  <a:lnTo>
                    <a:pt x="222" y="423"/>
                  </a:lnTo>
                  <a:lnTo>
                    <a:pt x="219" y="431"/>
                  </a:lnTo>
                  <a:lnTo>
                    <a:pt x="212" y="438"/>
                  </a:lnTo>
                  <a:lnTo>
                    <a:pt x="206" y="444"/>
                  </a:lnTo>
                  <a:lnTo>
                    <a:pt x="198" y="448"/>
                  </a:lnTo>
                  <a:lnTo>
                    <a:pt x="190" y="450"/>
                  </a:lnTo>
                  <a:lnTo>
                    <a:pt x="181" y="451"/>
                  </a:lnTo>
                  <a:close/>
                  <a:moveTo>
                    <a:pt x="721" y="250"/>
                  </a:moveTo>
                  <a:lnTo>
                    <a:pt x="720" y="248"/>
                  </a:lnTo>
                  <a:lnTo>
                    <a:pt x="718" y="246"/>
                  </a:lnTo>
                  <a:lnTo>
                    <a:pt x="568" y="95"/>
                  </a:lnTo>
                  <a:lnTo>
                    <a:pt x="565" y="94"/>
                  </a:lnTo>
                  <a:lnTo>
                    <a:pt x="562" y="91"/>
                  </a:lnTo>
                  <a:lnTo>
                    <a:pt x="559" y="91"/>
                  </a:lnTo>
                  <a:lnTo>
                    <a:pt x="557" y="90"/>
                  </a:lnTo>
                  <a:lnTo>
                    <a:pt x="451" y="90"/>
                  </a:lnTo>
                  <a:lnTo>
                    <a:pt x="451" y="15"/>
                  </a:lnTo>
                  <a:lnTo>
                    <a:pt x="451" y="12"/>
                  </a:lnTo>
                  <a:lnTo>
                    <a:pt x="450" y="10"/>
                  </a:lnTo>
                  <a:lnTo>
                    <a:pt x="449" y="7"/>
                  </a:lnTo>
                  <a:lnTo>
                    <a:pt x="447" y="5"/>
                  </a:lnTo>
                  <a:lnTo>
                    <a:pt x="445" y="3"/>
                  </a:lnTo>
                  <a:lnTo>
                    <a:pt x="442" y="1"/>
                  </a:lnTo>
                  <a:lnTo>
                    <a:pt x="439" y="0"/>
                  </a:lnTo>
                  <a:lnTo>
                    <a:pt x="436" y="0"/>
                  </a:lnTo>
                  <a:lnTo>
                    <a:pt x="256" y="0"/>
                  </a:lnTo>
                  <a:lnTo>
                    <a:pt x="253" y="0"/>
                  </a:lnTo>
                  <a:lnTo>
                    <a:pt x="250" y="1"/>
                  </a:lnTo>
                  <a:lnTo>
                    <a:pt x="247" y="3"/>
                  </a:lnTo>
                  <a:lnTo>
                    <a:pt x="245" y="5"/>
                  </a:lnTo>
                  <a:lnTo>
                    <a:pt x="243" y="7"/>
                  </a:lnTo>
                  <a:lnTo>
                    <a:pt x="242" y="10"/>
                  </a:lnTo>
                  <a:lnTo>
                    <a:pt x="241" y="12"/>
                  </a:lnTo>
                  <a:lnTo>
                    <a:pt x="241" y="15"/>
                  </a:lnTo>
                  <a:lnTo>
                    <a:pt x="241" y="19"/>
                  </a:lnTo>
                  <a:lnTo>
                    <a:pt x="242" y="22"/>
                  </a:lnTo>
                  <a:lnTo>
                    <a:pt x="243" y="24"/>
                  </a:lnTo>
                  <a:lnTo>
                    <a:pt x="245" y="26"/>
                  </a:lnTo>
                  <a:lnTo>
                    <a:pt x="247" y="28"/>
                  </a:lnTo>
                  <a:lnTo>
                    <a:pt x="250" y="29"/>
                  </a:lnTo>
                  <a:lnTo>
                    <a:pt x="253" y="30"/>
                  </a:lnTo>
                  <a:lnTo>
                    <a:pt x="256" y="30"/>
                  </a:lnTo>
                  <a:lnTo>
                    <a:pt x="421" y="30"/>
                  </a:lnTo>
                  <a:lnTo>
                    <a:pt x="421" y="391"/>
                  </a:lnTo>
                  <a:lnTo>
                    <a:pt x="254" y="391"/>
                  </a:lnTo>
                  <a:lnTo>
                    <a:pt x="253" y="385"/>
                  </a:lnTo>
                  <a:lnTo>
                    <a:pt x="251" y="378"/>
                  </a:lnTo>
                  <a:lnTo>
                    <a:pt x="249" y="373"/>
                  </a:lnTo>
                  <a:lnTo>
                    <a:pt x="245" y="368"/>
                  </a:lnTo>
                  <a:lnTo>
                    <a:pt x="238" y="357"/>
                  </a:lnTo>
                  <a:lnTo>
                    <a:pt x="228" y="349"/>
                  </a:lnTo>
                  <a:lnTo>
                    <a:pt x="224" y="344"/>
                  </a:lnTo>
                  <a:lnTo>
                    <a:pt x="219" y="341"/>
                  </a:lnTo>
                  <a:lnTo>
                    <a:pt x="212" y="338"/>
                  </a:lnTo>
                  <a:lnTo>
                    <a:pt x="207" y="336"/>
                  </a:lnTo>
                  <a:lnTo>
                    <a:pt x="200" y="334"/>
                  </a:lnTo>
                  <a:lnTo>
                    <a:pt x="194" y="332"/>
                  </a:lnTo>
                  <a:lnTo>
                    <a:pt x="187" y="331"/>
                  </a:lnTo>
                  <a:lnTo>
                    <a:pt x="181" y="331"/>
                  </a:lnTo>
                  <a:lnTo>
                    <a:pt x="174" y="331"/>
                  </a:lnTo>
                  <a:lnTo>
                    <a:pt x="167" y="332"/>
                  </a:lnTo>
                  <a:lnTo>
                    <a:pt x="161" y="334"/>
                  </a:lnTo>
                  <a:lnTo>
                    <a:pt x="155" y="336"/>
                  </a:lnTo>
                  <a:lnTo>
                    <a:pt x="149" y="338"/>
                  </a:lnTo>
                  <a:lnTo>
                    <a:pt x="144" y="341"/>
                  </a:lnTo>
                  <a:lnTo>
                    <a:pt x="138" y="344"/>
                  </a:lnTo>
                  <a:lnTo>
                    <a:pt x="133" y="349"/>
                  </a:lnTo>
                  <a:lnTo>
                    <a:pt x="124" y="357"/>
                  </a:lnTo>
                  <a:lnTo>
                    <a:pt x="117" y="368"/>
                  </a:lnTo>
                  <a:lnTo>
                    <a:pt x="114" y="373"/>
                  </a:lnTo>
                  <a:lnTo>
                    <a:pt x="110" y="378"/>
                  </a:lnTo>
                  <a:lnTo>
                    <a:pt x="108" y="385"/>
                  </a:lnTo>
                  <a:lnTo>
                    <a:pt x="107" y="391"/>
                  </a:lnTo>
                  <a:lnTo>
                    <a:pt x="30" y="391"/>
                  </a:lnTo>
                  <a:lnTo>
                    <a:pt x="30" y="120"/>
                  </a:lnTo>
                  <a:lnTo>
                    <a:pt x="30" y="117"/>
                  </a:lnTo>
                  <a:lnTo>
                    <a:pt x="29" y="115"/>
                  </a:lnTo>
                  <a:lnTo>
                    <a:pt x="28" y="112"/>
                  </a:lnTo>
                  <a:lnTo>
                    <a:pt x="26" y="110"/>
                  </a:lnTo>
                  <a:lnTo>
                    <a:pt x="24" y="109"/>
                  </a:lnTo>
                  <a:lnTo>
                    <a:pt x="21" y="106"/>
                  </a:lnTo>
                  <a:lnTo>
                    <a:pt x="18" y="106"/>
                  </a:lnTo>
                  <a:lnTo>
                    <a:pt x="15" y="105"/>
                  </a:lnTo>
                  <a:lnTo>
                    <a:pt x="12" y="106"/>
                  </a:lnTo>
                  <a:lnTo>
                    <a:pt x="10" y="106"/>
                  </a:lnTo>
                  <a:lnTo>
                    <a:pt x="6" y="109"/>
                  </a:lnTo>
                  <a:lnTo>
                    <a:pt x="4" y="110"/>
                  </a:lnTo>
                  <a:lnTo>
                    <a:pt x="3" y="112"/>
                  </a:lnTo>
                  <a:lnTo>
                    <a:pt x="1" y="115"/>
                  </a:lnTo>
                  <a:lnTo>
                    <a:pt x="1" y="117"/>
                  </a:lnTo>
                  <a:lnTo>
                    <a:pt x="0" y="120"/>
                  </a:lnTo>
                  <a:lnTo>
                    <a:pt x="0" y="406"/>
                  </a:lnTo>
                  <a:lnTo>
                    <a:pt x="1" y="410"/>
                  </a:lnTo>
                  <a:lnTo>
                    <a:pt x="1" y="412"/>
                  </a:lnTo>
                  <a:lnTo>
                    <a:pt x="3" y="415"/>
                  </a:lnTo>
                  <a:lnTo>
                    <a:pt x="4" y="417"/>
                  </a:lnTo>
                  <a:lnTo>
                    <a:pt x="6" y="419"/>
                  </a:lnTo>
                  <a:lnTo>
                    <a:pt x="10" y="420"/>
                  </a:lnTo>
                  <a:lnTo>
                    <a:pt x="12" y="421"/>
                  </a:lnTo>
                  <a:lnTo>
                    <a:pt x="15" y="421"/>
                  </a:lnTo>
                  <a:lnTo>
                    <a:pt x="107" y="421"/>
                  </a:lnTo>
                  <a:lnTo>
                    <a:pt x="108" y="428"/>
                  </a:lnTo>
                  <a:lnTo>
                    <a:pt x="110" y="434"/>
                  </a:lnTo>
                  <a:lnTo>
                    <a:pt x="114" y="440"/>
                  </a:lnTo>
                  <a:lnTo>
                    <a:pt x="117" y="445"/>
                  </a:lnTo>
                  <a:lnTo>
                    <a:pt x="124" y="456"/>
                  </a:lnTo>
                  <a:lnTo>
                    <a:pt x="133" y="464"/>
                  </a:lnTo>
                  <a:lnTo>
                    <a:pt x="138" y="468"/>
                  </a:lnTo>
                  <a:lnTo>
                    <a:pt x="144" y="472"/>
                  </a:lnTo>
                  <a:lnTo>
                    <a:pt x="149" y="475"/>
                  </a:lnTo>
                  <a:lnTo>
                    <a:pt x="155" y="477"/>
                  </a:lnTo>
                  <a:lnTo>
                    <a:pt x="161" y="479"/>
                  </a:lnTo>
                  <a:lnTo>
                    <a:pt x="167" y="480"/>
                  </a:lnTo>
                  <a:lnTo>
                    <a:pt x="174" y="481"/>
                  </a:lnTo>
                  <a:lnTo>
                    <a:pt x="181" y="481"/>
                  </a:lnTo>
                  <a:lnTo>
                    <a:pt x="187" y="481"/>
                  </a:lnTo>
                  <a:lnTo>
                    <a:pt x="194" y="480"/>
                  </a:lnTo>
                  <a:lnTo>
                    <a:pt x="200" y="479"/>
                  </a:lnTo>
                  <a:lnTo>
                    <a:pt x="207" y="477"/>
                  </a:lnTo>
                  <a:lnTo>
                    <a:pt x="212" y="475"/>
                  </a:lnTo>
                  <a:lnTo>
                    <a:pt x="219" y="472"/>
                  </a:lnTo>
                  <a:lnTo>
                    <a:pt x="224" y="468"/>
                  </a:lnTo>
                  <a:lnTo>
                    <a:pt x="228" y="464"/>
                  </a:lnTo>
                  <a:lnTo>
                    <a:pt x="238" y="456"/>
                  </a:lnTo>
                  <a:lnTo>
                    <a:pt x="245" y="445"/>
                  </a:lnTo>
                  <a:lnTo>
                    <a:pt x="249" y="440"/>
                  </a:lnTo>
                  <a:lnTo>
                    <a:pt x="251" y="434"/>
                  </a:lnTo>
                  <a:lnTo>
                    <a:pt x="253" y="428"/>
                  </a:lnTo>
                  <a:lnTo>
                    <a:pt x="254" y="421"/>
                  </a:lnTo>
                  <a:lnTo>
                    <a:pt x="436" y="421"/>
                  </a:lnTo>
                  <a:lnTo>
                    <a:pt x="483" y="421"/>
                  </a:lnTo>
                  <a:lnTo>
                    <a:pt x="484" y="428"/>
                  </a:lnTo>
                  <a:lnTo>
                    <a:pt x="486" y="434"/>
                  </a:lnTo>
                  <a:lnTo>
                    <a:pt x="490" y="440"/>
                  </a:lnTo>
                  <a:lnTo>
                    <a:pt x="493" y="445"/>
                  </a:lnTo>
                  <a:lnTo>
                    <a:pt x="499" y="456"/>
                  </a:lnTo>
                  <a:lnTo>
                    <a:pt x="509" y="464"/>
                  </a:lnTo>
                  <a:lnTo>
                    <a:pt x="514" y="468"/>
                  </a:lnTo>
                  <a:lnTo>
                    <a:pt x="520" y="472"/>
                  </a:lnTo>
                  <a:lnTo>
                    <a:pt x="525" y="475"/>
                  </a:lnTo>
                  <a:lnTo>
                    <a:pt x="530" y="477"/>
                  </a:lnTo>
                  <a:lnTo>
                    <a:pt x="537" y="479"/>
                  </a:lnTo>
                  <a:lnTo>
                    <a:pt x="543" y="480"/>
                  </a:lnTo>
                  <a:lnTo>
                    <a:pt x="550" y="481"/>
                  </a:lnTo>
                  <a:lnTo>
                    <a:pt x="557" y="481"/>
                  </a:lnTo>
                  <a:lnTo>
                    <a:pt x="563" y="481"/>
                  </a:lnTo>
                  <a:lnTo>
                    <a:pt x="570" y="480"/>
                  </a:lnTo>
                  <a:lnTo>
                    <a:pt x="576" y="479"/>
                  </a:lnTo>
                  <a:lnTo>
                    <a:pt x="583" y="477"/>
                  </a:lnTo>
                  <a:lnTo>
                    <a:pt x="588" y="475"/>
                  </a:lnTo>
                  <a:lnTo>
                    <a:pt x="593" y="472"/>
                  </a:lnTo>
                  <a:lnTo>
                    <a:pt x="599" y="468"/>
                  </a:lnTo>
                  <a:lnTo>
                    <a:pt x="604" y="464"/>
                  </a:lnTo>
                  <a:lnTo>
                    <a:pt x="614" y="456"/>
                  </a:lnTo>
                  <a:lnTo>
                    <a:pt x="621" y="445"/>
                  </a:lnTo>
                  <a:lnTo>
                    <a:pt x="623" y="440"/>
                  </a:lnTo>
                  <a:lnTo>
                    <a:pt x="627" y="434"/>
                  </a:lnTo>
                  <a:lnTo>
                    <a:pt x="629" y="428"/>
                  </a:lnTo>
                  <a:lnTo>
                    <a:pt x="630" y="421"/>
                  </a:lnTo>
                  <a:lnTo>
                    <a:pt x="707" y="421"/>
                  </a:lnTo>
                  <a:lnTo>
                    <a:pt x="710" y="421"/>
                  </a:lnTo>
                  <a:lnTo>
                    <a:pt x="712" y="420"/>
                  </a:lnTo>
                  <a:lnTo>
                    <a:pt x="716" y="419"/>
                  </a:lnTo>
                  <a:lnTo>
                    <a:pt x="718" y="417"/>
                  </a:lnTo>
                  <a:lnTo>
                    <a:pt x="720" y="415"/>
                  </a:lnTo>
                  <a:lnTo>
                    <a:pt x="721" y="412"/>
                  </a:lnTo>
                  <a:lnTo>
                    <a:pt x="722" y="410"/>
                  </a:lnTo>
                  <a:lnTo>
                    <a:pt x="722" y="406"/>
                  </a:lnTo>
                  <a:lnTo>
                    <a:pt x="722" y="256"/>
                  </a:lnTo>
                  <a:lnTo>
                    <a:pt x="722" y="253"/>
                  </a:lnTo>
                  <a:lnTo>
                    <a:pt x="721" y="250"/>
                  </a:lnTo>
                  <a:lnTo>
                    <a:pt x="721" y="25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8" name="Freeform 220"/>
            <p:cNvSpPr>
              <a:spLocks/>
            </p:cNvSpPr>
            <p:nvPr/>
          </p:nvSpPr>
          <p:spPr bwMode="auto">
            <a:xfrm>
              <a:off x="8793163" y="2565400"/>
              <a:ext cx="28575" cy="38100"/>
            </a:xfrm>
            <a:custGeom>
              <a:avLst/>
              <a:gdLst>
                <a:gd name="T0" fmla="*/ 15 w 90"/>
                <a:gd name="T1" fmla="*/ 120 h 120"/>
                <a:gd name="T2" fmla="*/ 75 w 90"/>
                <a:gd name="T3" fmla="*/ 120 h 120"/>
                <a:gd name="T4" fmla="*/ 78 w 90"/>
                <a:gd name="T5" fmla="*/ 120 h 120"/>
                <a:gd name="T6" fmla="*/ 81 w 90"/>
                <a:gd name="T7" fmla="*/ 119 h 120"/>
                <a:gd name="T8" fmla="*/ 84 w 90"/>
                <a:gd name="T9" fmla="*/ 117 h 120"/>
                <a:gd name="T10" fmla="*/ 86 w 90"/>
                <a:gd name="T11" fmla="*/ 116 h 120"/>
                <a:gd name="T12" fmla="*/ 88 w 90"/>
                <a:gd name="T13" fmla="*/ 114 h 120"/>
                <a:gd name="T14" fmla="*/ 89 w 90"/>
                <a:gd name="T15" fmla="*/ 111 h 120"/>
                <a:gd name="T16" fmla="*/ 90 w 90"/>
                <a:gd name="T17" fmla="*/ 109 h 120"/>
                <a:gd name="T18" fmla="*/ 90 w 90"/>
                <a:gd name="T19" fmla="*/ 105 h 120"/>
                <a:gd name="T20" fmla="*/ 90 w 90"/>
                <a:gd name="T21" fmla="*/ 102 h 120"/>
                <a:gd name="T22" fmla="*/ 89 w 90"/>
                <a:gd name="T23" fmla="*/ 99 h 120"/>
                <a:gd name="T24" fmla="*/ 88 w 90"/>
                <a:gd name="T25" fmla="*/ 97 h 120"/>
                <a:gd name="T26" fmla="*/ 86 w 90"/>
                <a:gd name="T27" fmla="*/ 95 h 120"/>
                <a:gd name="T28" fmla="*/ 84 w 90"/>
                <a:gd name="T29" fmla="*/ 93 h 120"/>
                <a:gd name="T30" fmla="*/ 81 w 90"/>
                <a:gd name="T31" fmla="*/ 91 h 120"/>
                <a:gd name="T32" fmla="*/ 78 w 90"/>
                <a:gd name="T33" fmla="*/ 90 h 120"/>
                <a:gd name="T34" fmla="*/ 75 w 90"/>
                <a:gd name="T35" fmla="*/ 90 h 120"/>
                <a:gd name="T36" fmla="*/ 30 w 90"/>
                <a:gd name="T37" fmla="*/ 90 h 120"/>
                <a:gd name="T38" fmla="*/ 30 w 90"/>
                <a:gd name="T39" fmla="*/ 15 h 120"/>
                <a:gd name="T40" fmla="*/ 30 w 90"/>
                <a:gd name="T41" fmla="*/ 12 h 120"/>
                <a:gd name="T42" fmla="*/ 29 w 90"/>
                <a:gd name="T43" fmla="*/ 9 h 120"/>
                <a:gd name="T44" fmla="*/ 28 w 90"/>
                <a:gd name="T45" fmla="*/ 7 h 120"/>
                <a:gd name="T46" fmla="*/ 26 w 90"/>
                <a:gd name="T47" fmla="*/ 5 h 120"/>
                <a:gd name="T48" fmla="*/ 24 w 90"/>
                <a:gd name="T49" fmla="*/ 3 h 120"/>
                <a:gd name="T50" fmla="*/ 21 w 90"/>
                <a:gd name="T51" fmla="*/ 1 h 120"/>
                <a:gd name="T52" fmla="*/ 18 w 90"/>
                <a:gd name="T53" fmla="*/ 0 h 120"/>
                <a:gd name="T54" fmla="*/ 15 w 90"/>
                <a:gd name="T55" fmla="*/ 0 h 120"/>
                <a:gd name="T56" fmla="*/ 12 w 90"/>
                <a:gd name="T57" fmla="*/ 0 h 120"/>
                <a:gd name="T58" fmla="*/ 10 w 90"/>
                <a:gd name="T59" fmla="*/ 1 h 120"/>
                <a:gd name="T60" fmla="*/ 6 w 90"/>
                <a:gd name="T61" fmla="*/ 3 h 120"/>
                <a:gd name="T62" fmla="*/ 4 w 90"/>
                <a:gd name="T63" fmla="*/ 5 h 120"/>
                <a:gd name="T64" fmla="*/ 3 w 90"/>
                <a:gd name="T65" fmla="*/ 7 h 120"/>
                <a:gd name="T66" fmla="*/ 1 w 90"/>
                <a:gd name="T67" fmla="*/ 9 h 120"/>
                <a:gd name="T68" fmla="*/ 1 w 90"/>
                <a:gd name="T69" fmla="*/ 12 h 120"/>
                <a:gd name="T70" fmla="*/ 0 w 90"/>
                <a:gd name="T71" fmla="*/ 15 h 120"/>
                <a:gd name="T72" fmla="*/ 0 w 90"/>
                <a:gd name="T73" fmla="*/ 105 h 120"/>
                <a:gd name="T74" fmla="*/ 1 w 90"/>
                <a:gd name="T75" fmla="*/ 109 h 120"/>
                <a:gd name="T76" fmla="*/ 1 w 90"/>
                <a:gd name="T77" fmla="*/ 111 h 120"/>
                <a:gd name="T78" fmla="*/ 3 w 90"/>
                <a:gd name="T79" fmla="*/ 114 h 120"/>
                <a:gd name="T80" fmla="*/ 4 w 90"/>
                <a:gd name="T81" fmla="*/ 116 h 120"/>
                <a:gd name="T82" fmla="*/ 6 w 90"/>
                <a:gd name="T83" fmla="*/ 117 h 120"/>
                <a:gd name="T84" fmla="*/ 10 w 90"/>
                <a:gd name="T85" fmla="*/ 119 h 120"/>
                <a:gd name="T86" fmla="*/ 13 w 90"/>
                <a:gd name="T87" fmla="*/ 120 h 120"/>
                <a:gd name="T88" fmla="*/ 15 w 90"/>
                <a:gd name="T89" fmla="*/ 12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90" h="120">
                  <a:moveTo>
                    <a:pt x="15" y="120"/>
                  </a:moveTo>
                  <a:lnTo>
                    <a:pt x="75" y="120"/>
                  </a:lnTo>
                  <a:lnTo>
                    <a:pt x="78" y="120"/>
                  </a:lnTo>
                  <a:lnTo>
                    <a:pt x="81" y="119"/>
                  </a:lnTo>
                  <a:lnTo>
                    <a:pt x="84" y="117"/>
                  </a:lnTo>
                  <a:lnTo>
                    <a:pt x="86" y="116"/>
                  </a:lnTo>
                  <a:lnTo>
                    <a:pt x="88" y="114"/>
                  </a:lnTo>
                  <a:lnTo>
                    <a:pt x="89" y="111"/>
                  </a:lnTo>
                  <a:lnTo>
                    <a:pt x="90" y="109"/>
                  </a:lnTo>
                  <a:lnTo>
                    <a:pt x="90" y="105"/>
                  </a:lnTo>
                  <a:lnTo>
                    <a:pt x="90" y="102"/>
                  </a:lnTo>
                  <a:lnTo>
                    <a:pt x="89" y="99"/>
                  </a:lnTo>
                  <a:lnTo>
                    <a:pt x="88" y="97"/>
                  </a:lnTo>
                  <a:lnTo>
                    <a:pt x="86" y="95"/>
                  </a:lnTo>
                  <a:lnTo>
                    <a:pt x="84" y="93"/>
                  </a:lnTo>
                  <a:lnTo>
                    <a:pt x="81" y="91"/>
                  </a:lnTo>
                  <a:lnTo>
                    <a:pt x="78" y="90"/>
                  </a:lnTo>
                  <a:lnTo>
                    <a:pt x="75" y="90"/>
                  </a:lnTo>
                  <a:lnTo>
                    <a:pt x="30" y="90"/>
                  </a:lnTo>
                  <a:lnTo>
                    <a:pt x="30" y="15"/>
                  </a:lnTo>
                  <a:lnTo>
                    <a:pt x="30" y="12"/>
                  </a:lnTo>
                  <a:lnTo>
                    <a:pt x="29" y="9"/>
                  </a:lnTo>
                  <a:lnTo>
                    <a:pt x="28" y="7"/>
                  </a:lnTo>
                  <a:lnTo>
                    <a:pt x="26" y="5"/>
                  </a:lnTo>
                  <a:lnTo>
                    <a:pt x="24" y="3"/>
                  </a:lnTo>
                  <a:lnTo>
                    <a:pt x="21" y="1"/>
                  </a:lnTo>
                  <a:lnTo>
                    <a:pt x="18" y="0"/>
                  </a:lnTo>
                  <a:lnTo>
                    <a:pt x="15" y="0"/>
                  </a:lnTo>
                  <a:lnTo>
                    <a:pt x="12" y="0"/>
                  </a:lnTo>
                  <a:lnTo>
                    <a:pt x="10" y="1"/>
                  </a:lnTo>
                  <a:lnTo>
                    <a:pt x="6" y="3"/>
                  </a:lnTo>
                  <a:lnTo>
                    <a:pt x="4" y="5"/>
                  </a:lnTo>
                  <a:lnTo>
                    <a:pt x="3" y="7"/>
                  </a:lnTo>
                  <a:lnTo>
                    <a:pt x="1" y="9"/>
                  </a:lnTo>
                  <a:lnTo>
                    <a:pt x="1" y="12"/>
                  </a:lnTo>
                  <a:lnTo>
                    <a:pt x="0" y="15"/>
                  </a:lnTo>
                  <a:lnTo>
                    <a:pt x="0" y="105"/>
                  </a:lnTo>
                  <a:lnTo>
                    <a:pt x="1" y="109"/>
                  </a:lnTo>
                  <a:lnTo>
                    <a:pt x="1" y="111"/>
                  </a:lnTo>
                  <a:lnTo>
                    <a:pt x="3" y="114"/>
                  </a:lnTo>
                  <a:lnTo>
                    <a:pt x="4" y="116"/>
                  </a:lnTo>
                  <a:lnTo>
                    <a:pt x="6" y="117"/>
                  </a:lnTo>
                  <a:lnTo>
                    <a:pt x="10" y="119"/>
                  </a:lnTo>
                  <a:lnTo>
                    <a:pt x="13" y="120"/>
                  </a:lnTo>
                  <a:lnTo>
                    <a:pt x="15" y="1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9" name="Freeform 221"/>
            <p:cNvSpPr>
              <a:spLocks/>
            </p:cNvSpPr>
            <p:nvPr/>
          </p:nvSpPr>
          <p:spPr bwMode="auto">
            <a:xfrm>
              <a:off x="8736013" y="2698750"/>
              <a:ext cx="47625" cy="11113"/>
            </a:xfrm>
            <a:custGeom>
              <a:avLst/>
              <a:gdLst>
                <a:gd name="T0" fmla="*/ 135 w 150"/>
                <a:gd name="T1" fmla="*/ 0 h 31"/>
                <a:gd name="T2" fmla="*/ 15 w 150"/>
                <a:gd name="T3" fmla="*/ 0 h 31"/>
                <a:gd name="T4" fmla="*/ 12 w 150"/>
                <a:gd name="T5" fmla="*/ 1 h 31"/>
                <a:gd name="T6" fmla="*/ 9 w 150"/>
                <a:gd name="T7" fmla="*/ 2 h 31"/>
                <a:gd name="T8" fmla="*/ 6 w 150"/>
                <a:gd name="T9" fmla="*/ 4 h 31"/>
                <a:gd name="T10" fmla="*/ 4 w 150"/>
                <a:gd name="T11" fmla="*/ 6 h 31"/>
                <a:gd name="T12" fmla="*/ 2 w 150"/>
                <a:gd name="T13" fmla="*/ 8 h 31"/>
                <a:gd name="T14" fmla="*/ 1 w 150"/>
                <a:gd name="T15" fmla="*/ 10 h 31"/>
                <a:gd name="T16" fmla="*/ 0 w 150"/>
                <a:gd name="T17" fmla="*/ 13 h 31"/>
                <a:gd name="T18" fmla="*/ 0 w 150"/>
                <a:gd name="T19" fmla="*/ 16 h 31"/>
                <a:gd name="T20" fmla="*/ 0 w 150"/>
                <a:gd name="T21" fmla="*/ 19 h 31"/>
                <a:gd name="T22" fmla="*/ 1 w 150"/>
                <a:gd name="T23" fmla="*/ 22 h 31"/>
                <a:gd name="T24" fmla="*/ 2 w 150"/>
                <a:gd name="T25" fmla="*/ 24 h 31"/>
                <a:gd name="T26" fmla="*/ 4 w 150"/>
                <a:gd name="T27" fmla="*/ 26 h 31"/>
                <a:gd name="T28" fmla="*/ 6 w 150"/>
                <a:gd name="T29" fmla="*/ 28 h 31"/>
                <a:gd name="T30" fmla="*/ 9 w 150"/>
                <a:gd name="T31" fmla="*/ 29 h 31"/>
                <a:gd name="T32" fmla="*/ 12 w 150"/>
                <a:gd name="T33" fmla="*/ 30 h 31"/>
                <a:gd name="T34" fmla="*/ 15 w 150"/>
                <a:gd name="T35" fmla="*/ 31 h 31"/>
                <a:gd name="T36" fmla="*/ 135 w 150"/>
                <a:gd name="T37" fmla="*/ 31 h 31"/>
                <a:gd name="T38" fmla="*/ 138 w 150"/>
                <a:gd name="T39" fmla="*/ 30 h 31"/>
                <a:gd name="T40" fmla="*/ 141 w 150"/>
                <a:gd name="T41" fmla="*/ 29 h 31"/>
                <a:gd name="T42" fmla="*/ 144 w 150"/>
                <a:gd name="T43" fmla="*/ 28 h 31"/>
                <a:gd name="T44" fmla="*/ 146 w 150"/>
                <a:gd name="T45" fmla="*/ 26 h 31"/>
                <a:gd name="T46" fmla="*/ 148 w 150"/>
                <a:gd name="T47" fmla="*/ 24 h 31"/>
                <a:gd name="T48" fmla="*/ 149 w 150"/>
                <a:gd name="T49" fmla="*/ 22 h 31"/>
                <a:gd name="T50" fmla="*/ 150 w 150"/>
                <a:gd name="T51" fmla="*/ 19 h 31"/>
                <a:gd name="T52" fmla="*/ 150 w 150"/>
                <a:gd name="T53" fmla="*/ 16 h 31"/>
                <a:gd name="T54" fmla="*/ 150 w 150"/>
                <a:gd name="T55" fmla="*/ 13 h 31"/>
                <a:gd name="T56" fmla="*/ 149 w 150"/>
                <a:gd name="T57" fmla="*/ 10 h 31"/>
                <a:gd name="T58" fmla="*/ 148 w 150"/>
                <a:gd name="T59" fmla="*/ 8 h 31"/>
                <a:gd name="T60" fmla="*/ 146 w 150"/>
                <a:gd name="T61" fmla="*/ 6 h 31"/>
                <a:gd name="T62" fmla="*/ 144 w 150"/>
                <a:gd name="T63" fmla="*/ 4 h 31"/>
                <a:gd name="T64" fmla="*/ 141 w 150"/>
                <a:gd name="T65" fmla="*/ 2 h 31"/>
                <a:gd name="T66" fmla="*/ 138 w 150"/>
                <a:gd name="T67" fmla="*/ 1 h 31"/>
                <a:gd name="T68" fmla="*/ 135 w 150"/>
                <a:gd name="T69"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50" h="31">
                  <a:moveTo>
                    <a:pt x="135" y="0"/>
                  </a:moveTo>
                  <a:lnTo>
                    <a:pt x="15" y="0"/>
                  </a:lnTo>
                  <a:lnTo>
                    <a:pt x="12" y="1"/>
                  </a:lnTo>
                  <a:lnTo>
                    <a:pt x="9" y="2"/>
                  </a:lnTo>
                  <a:lnTo>
                    <a:pt x="6" y="4"/>
                  </a:lnTo>
                  <a:lnTo>
                    <a:pt x="4" y="6"/>
                  </a:lnTo>
                  <a:lnTo>
                    <a:pt x="2" y="8"/>
                  </a:lnTo>
                  <a:lnTo>
                    <a:pt x="1" y="10"/>
                  </a:lnTo>
                  <a:lnTo>
                    <a:pt x="0" y="13"/>
                  </a:lnTo>
                  <a:lnTo>
                    <a:pt x="0" y="16"/>
                  </a:lnTo>
                  <a:lnTo>
                    <a:pt x="0" y="19"/>
                  </a:lnTo>
                  <a:lnTo>
                    <a:pt x="1" y="22"/>
                  </a:lnTo>
                  <a:lnTo>
                    <a:pt x="2" y="24"/>
                  </a:lnTo>
                  <a:lnTo>
                    <a:pt x="4" y="26"/>
                  </a:lnTo>
                  <a:lnTo>
                    <a:pt x="6" y="28"/>
                  </a:lnTo>
                  <a:lnTo>
                    <a:pt x="9" y="29"/>
                  </a:lnTo>
                  <a:lnTo>
                    <a:pt x="12" y="30"/>
                  </a:lnTo>
                  <a:lnTo>
                    <a:pt x="15" y="31"/>
                  </a:lnTo>
                  <a:lnTo>
                    <a:pt x="135" y="31"/>
                  </a:lnTo>
                  <a:lnTo>
                    <a:pt x="138" y="30"/>
                  </a:lnTo>
                  <a:lnTo>
                    <a:pt x="141" y="29"/>
                  </a:lnTo>
                  <a:lnTo>
                    <a:pt x="144" y="28"/>
                  </a:lnTo>
                  <a:lnTo>
                    <a:pt x="146" y="26"/>
                  </a:lnTo>
                  <a:lnTo>
                    <a:pt x="148" y="24"/>
                  </a:lnTo>
                  <a:lnTo>
                    <a:pt x="149" y="22"/>
                  </a:lnTo>
                  <a:lnTo>
                    <a:pt x="150" y="19"/>
                  </a:lnTo>
                  <a:lnTo>
                    <a:pt x="150" y="16"/>
                  </a:lnTo>
                  <a:lnTo>
                    <a:pt x="150" y="13"/>
                  </a:lnTo>
                  <a:lnTo>
                    <a:pt x="149" y="10"/>
                  </a:lnTo>
                  <a:lnTo>
                    <a:pt x="148" y="8"/>
                  </a:lnTo>
                  <a:lnTo>
                    <a:pt x="146" y="6"/>
                  </a:lnTo>
                  <a:lnTo>
                    <a:pt x="144" y="4"/>
                  </a:lnTo>
                  <a:lnTo>
                    <a:pt x="141" y="2"/>
                  </a:lnTo>
                  <a:lnTo>
                    <a:pt x="138" y="1"/>
                  </a:lnTo>
                  <a:lnTo>
                    <a:pt x="13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0" name="Freeform 222"/>
            <p:cNvSpPr>
              <a:spLocks/>
            </p:cNvSpPr>
            <p:nvPr/>
          </p:nvSpPr>
          <p:spPr bwMode="auto">
            <a:xfrm>
              <a:off x="8755063" y="2719388"/>
              <a:ext cx="28575" cy="9525"/>
            </a:xfrm>
            <a:custGeom>
              <a:avLst/>
              <a:gdLst>
                <a:gd name="T0" fmla="*/ 75 w 90"/>
                <a:gd name="T1" fmla="*/ 0 h 30"/>
                <a:gd name="T2" fmla="*/ 15 w 90"/>
                <a:gd name="T3" fmla="*/ 0 h 30"/>
                <a:gd name="T4" fmla="*/ 12 w 90"/>
                <a:gd name="T5" fmla="*/ 0 h 30"/>
                <a:gd name="T6" fmla="*/ 10 w 90"/>
                <a:gd name="T7" fmla="*/ 1 h 30"/>
                <a:gd name="T8" fmla="*/ 6 w 90"/>
                <a:gd name="T9" fmla="*/ 3 h 30"/>
                <a:gd name="T10" fmla="*/ 4 w 90"/>
                <a:gd name="T11" fmla="*/ 5 h 30"/>
                <a:gd name="T12" fmla="*/ 2 w 90"/>
                <a:gd name="T13" fmla="*/ 7 h 30"/>
                <a:gd name="T14" fmla="*/ 1 w 90"/>
                <a:gd name="T15" fmla="*/ 9 h 30"/>
                <a:gd name="T16" fmla="*/ 0 w 90"/>
                <a:gd name="T17" fmla="*/ 12 h 30"/>
                <a:gd name="T18" fmla="*/ 0 w 90"/>
                <a:gd name="T19" fmla="*/ 15 h 30"/>
                <a:gd name="T20" fmla="*/ 0 w 90"/>
                <a:gd name="T21" fmla="*/ 19 h 30"/>
                <a:gd name="T22" fmla="*/ 1 w 90"/>
                <a:gd name="T23" fmla="*/ 21 h 30"/>
                <a:gd name="T24" fmla="*/ 2 w 90"/>
                <a:gd name="T25" fmla="*/ 24 h 30"/>
                <a:gd name="T26" fmla="*/ 4 w 90"/>
                <a:gd name="T27" fmla="*/ 26 h 30"/>
                <a:gd name="T28" fmla="*/ 6 w 90"/>
                <a:gd name="T29" fmla="*/ 27 h 30"/>
                <a:gd name="T30" fmla="*/ 10 w 90"/>
                <a:gd name="T31" fmla="*/ 29 h 30"/>
                <a:gd name="T32" fmla="*/ 12 w 90"/>
                <a:gd name="T33" fmla="*/ 29 h 30"/>
                <a:gd name="T34" fmla="*/ 15 w 90"/>
                <a:gd name="T35" fmla="*/ 30 h 30"/>
                <a:gd name="T36" fmla="*/ 75 w 90"/>
                <a:gd name="T37" fmla="*/ 30 h 30"/>
                <a:gd name="T38" fmla="*/ 78 w 90"/>
                <a:gd name="T39" fmla="*/ 29 h 30"/>
                <a:gd name="T40" fmla="*/ 81 w 90"/>
                <a:gd name="T41" fmla="*/ 29 h 30"/>
                <a:gd name="T42" fmla="*/ 84 w 90"/>
                <a:gd name="T43" fmla="*/ 27 h 30"/>
                <a:gd name="T44" fmla="*/ 86 w 90"/>
                <a:gd name="T45" fmla="*/ 26 h 30"/>
                <a:gd name="T46" fmla="*/ 88 w 90"/>
                <a:gd name="T47" fmla="*/ 24 h 30"/>
                <a:gd name="T48" fmla="*/ 89 w 90"/>
                <a:gd name="T49" fmla="*/ 21 h 30"/>
                <a:gd name="T50" fmla="*/ 90 w 90"/>
                <a:gd name="T51" fmla="*/ 19 h 30"/>
                <a:gd name="T52" fmla="*/ 90 w 90"/>
                <a:gd name="T53" fmla="*/ 15 h 30"/>
                <a:gd name="T54" fmla="*/ 90 w 90"/>
                <a:gd name="T55" fmla="*/ 12 h 30"/>
                <a:gd name="T56" fmla="*/ 89 w 90"/>
                <a:gd name="T57" fmla="*/ 9 h 30"/>
                <a:gd name="T58" fmla="*/ 88 w 90"/>
                <a:gd name="T59" fmla="*/ 7 h 30"/>
                <a:gd name="T60" fmla="*/ 86 w 90"/>
                <a:gd name="T61" fmla="*/ 5 h 30"/>
                <a:gd name="T62" fmla="*/ 84 w 90"/>
                <a:gd name="T63" fmla="*/ 3 h 30"/>
                <a:gd name="T64" fmla="*/ 81 w 90"/>
                <a:gd name="T65" fmla="*/ 1 h 30"/>
                <a:gd name="T66" fmla="*/ 78 w 90"/>
                <a:gd name="T67" fmla="*/ 0 h 30"/>
                <a:gd name="T68" fmla="*/ 75 w 90"/>
                <a:gd name="T69" fmla="*/ 0 h 30"/>
                <a:gd name="T70" fmla="*/ 75 w 90"/>
                <a:gd name="T7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0" h="30">
                  <a:moveTo>
                    <a:pt x="75" y="0"/>
                  </a:moveTo>
                  <a:lnTo>
                    <a:pt x="15" y="0"/>
                  </a:lnTo>
                  <a:lnTo>
                    <a:pt x="12" y="0"/>
                  </a:lnTo>
                  <a:lnTo>
                    <a:pt x="10" y="1"/>
                  </a:lnTo>
                  <a:lnTo>
                    <a:pt x="6" y="3"/>
                  </a:lnTo>
                  <a:lnTo>
                    <a:pt x="4" y="5"/>
                  </a:lnTo>
                  <a:lnTo>
                    <a:pt x="2" y="7"/>
                  </a:lnTo>
                  <a:lnTo>
                    <a:pt x="1" y="9"/>
                  </a:lnTo>
                  <a:lnTo>
                    <a:pt x="0" y="12"/>
                  </a:lnTo>
                  <a:lnTo>
                    <a:pt x="0" y="15"/>
                  </a:lnTo>
                  <a:lnTo>
                    <a:pt x="0" y="19"/>
                  </a:lnTo>
                  <a:lnTo>
                    <a:pt x="1" y="21"/>
                  </a:lnTo>
                  <a:lnTo>
                    <a:pt x="2" y="24"/>
                  </a:lnTo>
                  <a:lnTo>
                    <a:pt x="4" y="26"/>
                  </a:lnTo>
                  <a:lnTo>
                    <a:pt x="6" y="27"/>
                  </a:lnTo>
                  <a:lnTo>
                    <a:pt x="10" y="29"/>
                  </a:lnTo>
                  <a:lnTo>
                    <a:pt x="12" y="29"/>
                  </a:lnTo>
                  <a:lnTo>
                    <a:pt x="15" y="30"/>
                  </a:lnTo>
                  <a:lnTo>
                    <a:pt x="75" y="30"/>
                  </a:lnTo>
                  <a:lnTo>
                    <a:pt x="78" y="29"/>
                  </a:lnTo>
                  <a:lnTo>
                    <a:pt x="81" y="29"/>
                  </a:lnTo>
                  <a:lnTo>
                    <a:pt x="84" y="27"/>
                  </a:lnTo>
                  <a:lnTo>
                    <a:pt x="86" y="26"/>
                  </a:lnTo>
                  <a:lnTo>
                    <a:pt x="88" y="24"/>
                  </a:lnTo>
                  <a:lnTo>
                    <a:pt x="89" y="21"/>
                  </a:lnTo>
                  <a:lnTo>
                    <a:pt x="90" y="19"/>
                  </a:lnTo>
                  <a:lnTo>
                    <a:pt x="90" y="15"/>
                  </a:lnTo>
                  <a:lnTo>
                    <a:pt x="90" y="12"/>
                  </a:lnTo>
                  <a:lnTo>
                    <a:pt x="89" y="9"/>
                  </a:lnTo>
                  <a:lnTo>
                    <a:pt x="88" y="7"/>
                  </a:lnTo>
                  <a:lnTo>
                    <a:pt x="86" y="5"/>
                  </a:lnTo>
                  <a:lnTo>
                    <a:pt x="84" y="3"/>
                  </a:lnTo>
                  <a:lnTo>
                    <a:pt x="81" y="1"/>
                  </a:lnTo>
                  <a:lnTo>
                    <a:pt x="78" y="0"/>
                  </a:lnTo>
                  <a:lnTo>
                    <a:pt x="75" y="0"/>
                  </a:lnTo>
                  <a:lnTo>
                    <a:pt x="7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1" name="Freeform 223"/>
            <p:cNvSpPr>
              <a:spLocks/>
            </p:cNvSpPr>
            <p:nvPr/>
          </p:nvSpPr>
          <p:spPr bwMode="auto">
            <a:xfrm>
              <a:off x="8764588" y="2738438"/>
              <a:ext cx="19050" cy="9525"/>
            </a:xfrm>
            <a:custGeom>
              <a:avLst/>
              <a:gdLst>
                <a:gd name="T0" fmla="*/ 45 w 60"/>
                <a:gd name="T1" fmla="*/ 0 h 30"/>
                <a:gd name="T2" fmla="*/ 15 w 60"/>
                <a:gd name="T3" fmla="*/ 0 h 30"/>
                <a:gd name="T4" fmla="*/ 12 w 60"/>
                <a:gd name="T5" fmla="*/ 0 h 30"/>
                <a:gd name="T6" fmla="*/ 10 w 60"/>
                <a:gd name="T7" fmla="*/ 1 h 30"/>
                <a:gd name="T8" fmla="*/ 6 w 60"/>
                <a:gd name="T9" fmla="*/ 3 h 30"/>
                <a:gd name="T10" fmla="*/ 4 w 60"/>
                <a:gd name="T11" fmla="*/ 5 h 30"/>
                <a:gd name="T12" fmla="*/ 2 w 60"/>
                <a:gd name="T13" fmla="*/ 7 h 30"/>
                <a:gd name="T14" fmla="*/ 1 w 60"/>
                <a:gd name="T15" fmla="*/ 9 h 30"/>
                <a:gd name="T16" fmla="*/ 0 w 60"/>
                <a:gd name="T17" fmla="*/ 12 h 30"/>
                <a:gd name="T18" fmla="*/ 0 w 60"/>
                <a:gd name="T19" fmla="*/ 15 h 30"/>
                <a:gd name="T20" fmla="*/ 0 w 60"/>
                <a:gd name="T21" fmla="*/ 19 h 30"/>
                <a:gd name="T22" fmla="*/ 1 w 60"/>
                <a:gd name="T23" fmla="*/ 21 h 30"/>
                <a:gd name="T24" fmla="*/ 2 w 60"/>
                <a:gd name="T25" fmla="*/ 24 h 30"/>
                <a:gd name="T26" fmla="*/ 4 w 60"/>
                <a:gd name="T27" fmla="*/ 26 h 30"/>
                <a:gd name="T28" fmla="*/ 6 w 60"/>
                <a:gd name="T29" fmla="*/ 27 h 30"/>
                <a:gd name="T30" fmla="*/ 10 w 60"/>
                <a:gd name="T31" fmla="*/ 29 h 30"/>
                <a:gd name="T32" fmla="*/ 12 w 60"/>
                <a:gd name="T33" fmla="*/ 30 h 30"/>
                <a:gd name="T34" fmla="*/ 15 w 60"/>
                <a:gd name="T35" fmla="*/ 30 h 30"/>
                <a:gd name="T36" fmla="*/ 45 w 60"/>
                <a:gd name="T37" fmla="*/ 30 h 30"/>
                <a:gd name="T38" fmla="*/ 48 w 60"/>
                <a:gd name="T39" fmla="*/ 30 h 30"/>
                <a:gd name="T40" fmla="*/ 51 w 60"/>
                <a:gd name="T41" fmla="*/ 29 h 30"/>
                <a:gd name="T42" fmla="*/ 54 w 60"/>
                <a:gd name="T43" fmla="*/ 27 h 30"/>
                <a:gd name="T44" fmla="*/ 56 w 60"/>
                <a:gd name="T45" fmla="*/ 26 h 30"/>
                <a:gd name="T46" fmla="*/ 58 w 60"/>
                <a:gd name="T47" fmla="*/ 24 h 30"/>
                <a:gd name="T48" fmla="*/ 59 w 60"/>
                <a:gd name="T49" fmla="*/ 21 h 30"/>
                <a:gd name="T50" fmla="*/ 60 w 60"/>
                <a:gd name="T51" fmla="*/ 19 h 30"/>
                <a:gd name="T52" fmla="*/ 60 w 60"/>
                <a:gd name="T53" fmla="*/ 15 h 30"/>
                <a:gd name="T54" fmla="*/ 60 w 60"/>
                <a:gd name="T55" fmla="*/ 12 h 30"/>
                <a:gd name="T56" fmla="*/ 59 w 60"/>
                <a:gd name="T57" fmla="*/ 9 h 30"/>
                <a:gd name="T58" fmla="*/ 58 w 60"/>
                <a:gd name="T59" fmla="*/ 7 h 30"/>
                <a:gd name="T60" fmla="*/ 56 w 60"/>
                <a:gd name="T61" fmla="*/ 5 h 30"/>
                <a:gd name="T62" fmla="*/ 54 w 60"/>
                <a:gd name="T63" fmla="*/ 3 h 30"/>
                <a:gd name="T64" fmla="*/ 51 w 60"/>
                <a:gd name="T65" fmla="*/ 1 h 30"/>
                <a:gd name="T66" fmla="*/ 48 w 60"/>
                <a:gd name="T67" fmla="*/ 0 h 30"/>
                <a:gd name="T68" fmla="*/ 45 w 60"/>
                <a:gd name="T69"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0" h="30">
                  <a:moveTo>
                    <a:pt x="45" y="0"/>
                  </a:moveTo>
                  <a:lnTo>
                    <a:pt x="15" y="0"/>
                  </a:lnTo>
                  <a:lnTo>
                    <a:pt x="12" y="0"/>
                  </a:lnTo>
                  <a:lnTo>
                    <a:pt x="10" y="1"/>
                  </a:lnTo>
                  <a:lnTo>
                    <a:pt x="6" y="3"/>
                  </a:lnTo>
                  <a:lnTo>
                    <a:pt x="4" y="5"/>
                  </a:lnTo>
                  <a:lnTo>
                    <a:pt x="2" y="7"/>
                  </a:lnTo>
                  <a:lnTo>
                    <a:pt x="1" y="9"/>
                  </a:lnTo>
                  <a:lnTo>
                    <a:pt x="0" y="12"/>
                  </a:lnTo>
                  <a:lnTo>
                    <a:pt x="0" y="15"/>
                  </a:lnTo>
                  <a:lnTo>
                    <a:pt x="0" y="19"/>
                  </a:lnTo>
                  <a:lnTo>
                    <a:pt x="1" y="21"/>
                  </a:lnTo>
                  <a:lnTo>
                    <a:pt x="2" y="24"/>
                  </a:lnTo>
                  <a:lnTo>
                    <a:pt x="4" y="26"/>
                  </a:lnTo>
                  <a:lnTo>
                    <a:pt x="6" y="27"/>
                  </a:lnTo>
                  <a:lnTo>
                    <a:pt x="10" y="29"/>
                  </a:lnTo>
                  <a:lnTo>
                    <a:pt x="12" y="30"/>
                  </a:lnTo>
                  <a:lnTo>
                    <a:pt x="15" y="30"/>
                  </a:lnTo>
                  <a:lnTo>
                    <a:pt x="45" y="30"/>
                  </a:lnTo>
                  <a:lnTo>
                    <a:pt x="48" y="30"/>
                  </a:lnTo>
                  <a:lnTo>
                    <a:pt x="51" y="29"/>
                  </a:lnTo>
                  <a:lnTo>
                    <a:pt x="54" y="27"/>
                  </a:lnTo>
                  <a:lnTo>
                    <a:pt x="56" y="26"/>
                  </a:lnTo>
                  <a:lnTo>
                    <a:pt x="58" y="24"/>
                  </a:lnTo>
                  <a:lnTo>
                    <a:pt x="59" y="21"/>
                  </a:lnTo>
                  <a:lnTo>
                    <a:pt x="60" y="19"/>
                  </a:lnTo>
                  <a:lnTo>
                    <a:pt x="60" y="15"/>
                  </a:lnTo>
                  <a:lnTo>
                    <a:pt x="60" y="12"/>
                  </a:lnTo>
                  <a:lnTo>
                    <a:pt x="59" y="9"/>
                  </a:lnTo>
                  <a:lnTo>
                    <a:pt x="58" y="7"/>
                  </a:lnTo>
                  <a:lnTo>
                    <a:pt x="56" y="5"/>
                  </a:lnTo>
                  <a:lnTo>
                    <a:pt x="54" y="3"/>
                  </a:lnTo>
                  <a:lnTo>
                    <a:pt x="51" y="1"/>
                  </a:lnTo>
                  <a:lnTo>
                    <a:pt x="48" y="0"/>
                  </a:lnTo>
                  <a:lnTo>
                    <a:pt x="4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2" name="Freeform 224"/>
            <p:cNvSpPr>
              <a:spLocks noEditPoints="1"/>
            </p:cNvSpPr>
            <p:nvPr/>
          </p:nvSpPr>
          <p:spPr bwMode="auto">
            <a:xfrm>
              <a:off x="8740775" y="2536825"/>
              <a:ext cx="115888" cy="114300"/>
            </a:xfrm>
            <a:custGeom>
              <a:avLst/>
              <a:gdLst>
                <a:gd name="T0" fmla="*/ 211 w 361"/>
                <a:gd name="T1" fmla="*/ 34 h 361"/>
                <a:gd name="T2" fmla="*/ 252 w 361"/>
                <a:gd name="T3" fmla="*/ 49 h 361"/>
                <a:gd name="T4" fmla="*/ 286 w 361"/>
                <a:gd name="T5" fmla="*/ 75 h 361"/>
                <a:gd name="T6" fmla="*/ 313 w 361"/>
                <a:gd name="T7" fmla="*/ 110 h 361"/>
                <a:gd name="T8" fmla="*/ 328 w 361"/>
                <a:gd name="T9" fmla="*/ 151 h 361"/>
                <a:gd name="T10" fmla="*/ 330 w 361"/>
                <a:gd name="T11" fmla="*/ 196 h 361"/>
                <a:gd name="T12" fmla="*/ 319 w 361"/>
                <a:gd name="T13" fmla="*/ 239 h 361"/>
                <a:gd name="T14" fmla="*/ 297 w 361"/>
                <a:gd name="T15" fmla="*/ 277 h 361"/>
                <a:gd name="T16" fmla="*/ 265 w 361"/>
                <a:gd name="T17" fmla="*/ 306 h 361"/>
                <a:gd name="T18" fmla="*/ 225 w 361"/>
                <a:gd name="T19" fmla="*/ 325 h 361"/>
                <a:gd name="T20" fmla="*/ 180 w 361"/>
                <a:gd name="T21" fmla="*/ 331 h 361"/>
                <a:gd name="T22" fmla="*/ 136 w 361"/>
                <a:gd name="T23" fmla="*/ 325 h 361"/>
                <a:gd name="T24" fmla="*/ 96 w 361"/>
                <a:gd name="T25" fmla="*/ 306 h 361"/>
                <a:gd name="T26" fmla="*/ 64 w 361"/>
                <a:gd name="T27" fmla="*/ 277 h 361"/>
                <a:gd name="T28" fmla="*/ 42 w 361"/>
                <a:gd name="T29" fmla="*/ 239 h 361"/>
                <a:gd name="T30" fmla="*/ 31 w 361"/>
                <a:gd name="T31" fmla="*/ 196 h 361"/>
                <a:gd name="T32" fmla="*/ 33 w 361"/>
                <a:gd name="T33" fmla="*/ 151 h 361"/>
                <a:gd name="T34" fmla="*/ 48 w 361"/>
                <a:gd name="T35" fmla="*/ 110 h 361"/>
                <a:gd name="T36" fmla="*/ 74 w 361"/>
                <a:gd name="T37" fmla="*/ 75 h 361"/>
                <a:gd name="T38" fmla="*/ 108 w 361"/>
                <a:gd name="T39" fmla="*/ 49 h 361"/>
                <a:gd name="T40" fmla="*/ 150 w 361"/>
                <a:gd name="T41" fmla="*/ 34 h 361"/>
                <a:gd name="T42" fmla="*/ 180 w 361"/>
                <a:gd name="T43" fmla="*/ 30 h 361"/>
                <a:gd name="T44" fmla="*/ 216 w 361"/>
                <a:gd name="T45" fmla="*/ 358 h 361"/>
                <a:gd name="T46" fmla="*/ 267 w 361"/>
                <a:gd name="T47" fmla="*/ 340 h 361"/>
                <a:gd name="T48" fmla="*/ 307 w 361"/>
                <a:gd name="T49" fmla="*/ 309 h 361"/>
                <a:gd name="T50" fmla="*/ 339 w 361"/>
                <a:gd name="T51" fmla="*/ 267 h 361"/>
                <a:gd name="T52" fmla="*/ 357 w 361"/>
                <a:gd name="T53" fmla="*/ 218 h 361"/>
                <a:gd name="T54" fmla="*/ 360 w 361"/>
                <a:gd name="T55" fmla="*/ 163 h 361"/>
                <a:gd name="T56" fmla="*/ 346 w 361"/>
                <a:gd name="T57" fmla="*/ 111 h 361"/>
                <a:gd name="T58" fmla="*/ 319 w 361"/>
                <a:gd name="T59" fmla="*/ 67 h 361"/>
                <a:gd name="T60" fmla="*/ 281 w 361"/>
                <a:gd name="T61" fmla="*/ 31 h 361"/>
                <a:gd name="T62" fmla="*/ 234 w 361"/>
                <a:gd name="T63" fmla="*/ 9 h 361"/>
                <a:gd name="T64" fmla="*/ 180 w 361"/>
                <a:gd name="T65" fmla="*/ 0 h 361"/>
                <a:gd name="T66" fmla="*/ 126 w 361"/>
                <a:gd name="T67" fmla="*/ 9 h 361"/>
                <a:gd name="T68" fmla="*/ 79 w 361"/>
                <a:gd name="T69" fmla="*/ 31 h 361"/>
                <a:gd name="T70" fmla="*/ 41 w 361"/>
                <a:gd name="T71" fmla="*/ 67 h 361"/>
                <a:gd name="T72" fmla="*/ 14 w 361"/>
                <a:gd name="T73" fmla="*/ 111 h 361"/>
                <a:gd name="T74" fmla="*/ 1 w 361"/>
                <a:gd name="T75" fmla="*/ 163 h 361"/>
                <a:gd name="T76" fmla="*/ 3 w 361"/>
                <a:gd name="T77" fmla="*/ 218 h 361"/>
                <a:gd name="T78" fmla="*/ 21 w 361"/>
                <a:gd name="T79" fmla="*/ 267 h 361"/>
                <a:gd name="T80" fmla="*/ 53 w 361"/>
                <a:gd name="T81" fmla="*/ 309 h 361"/>
                <a:gd name="T82" fmla="*/ 94 w 361"/>
                <a:gd name="T83" fmla="*/ 340 h 361"/>
                <a:gd name="T84" fmla="*/ 144 w 361"/>
                <a:gd name="T85" fmla="*/ 358 h 3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61" h="361">
                  <a:moveTo>
                    <a:pt x="180" y="30"/>
                  </a:moveTo>
                  <a:lnTo>
                    <a:pt x="196" y="31"/>
                  </a:lnTo>
                  <a:lnTo>
                    <a:pt x="211" y="34"/>
                  </a:lnTo>
                  <a:lnTo>
                    <a:pt x="225" y="38"/>
                  </a:lnTo>
                  <a:lnTo>
                    <a:pt x="239" y="42"/>
                  </a:lnTo>
                  <a:lnTo>
                    <a:pt x="252" y="49"/>
                  </a:lnTo>
                  <a:lnTo>
                    <a:pt x="265" y="56"/>
                  </a:lnTo>
                  <a:lnTo>
                    <a:pt x="276" y="65"/>
                  </a:lnTo>
                  <a:lnTo>
                    <a:pt x="286" y="75"/>
                  </a:lnTo>
                  <a:lnTo>
                    <a:pt x="297" y="85"/>
                  </a:lnTo>
                  <a:lnTo>
                    <a:pt x="305" y="97"/>
                  </a:lnTo>
                  <a:lnTo>
                    <a:pt x="313" y="110"/>
                  </a:lnTo>
                  <a:lnTo>
                    <a:pt x="319" y="122"/>
                  </a:lnTo>
                  <a:lnTo>
                    <a:pt x="324" y="136"/>
                  </a:lnTo>
                  <a:lnTo>
                    <a:pt x="328" y="151"/>
                  </a:lnTo>
                  <a:lnTo>
                    <a:pt x="330" y="165"/>
                  </a:lnTo>
                  <a:lnTo>
                    <a:pt x="331" y="181"/>
                  </a:lnTo>
                  <a:lnTo>
                    <a:pt x="330" y="196"/>
                  </a:lnTo>
                  <a:lnTo>
                    <a:pt x="328" y="211"/>
                  </a:lnTo>
                  <a:lnTo>
                    <a:pt x="324" y="225"/>
                  </a:lnTo>
                  <a:lnTo>
                    <a:pt x="319" y="239"/>
                  </a:lnTo>
                  <a:lnTo>
                    <a:pt x="313" y="253"/>
                  </a:lnTo>
                  <a:lnTo>
                    <a:pt x="305" y="265"/>
                  </a:lnTo>
                  <a:lnTo>
                    <a:pt x="297" y="277"/>
                  </a:lnTo>
                  <a:lnTo>
                    <a:pt x="286" y="287"/>
                  </a:lnTo>
                  <a:lnTo>
                    <a:pt x="276" y="297"/>
                  </a:lnTo>
                  <a:lnTo>
                    <a:pt x="265" y="306"/>
                  </a:lnTo>
                  <a:lnTo>
                    <a:pt x="252" y="313"/>
                  </a:lnTo>
                  <a:lnTo>
                    <a:pt x="239" y="320"/>
                  </a:lnTo>
                  <a:lnTo>
                    <a:pt x="225" y="325"/>
                  </a:lnTo>
                  <a:lnTo>
                    <a:pt x="211" y="328"/>
                  </a:lnTo>
                  <a:lnTo>
                    <a:pt x="196" y="330"/>
                  </a:lnTo>
                  <a:lnTo>
                    <a:pt x="180" y="331"/>
                  </a:lnTo>
                  <a:lnTo>
                    <a:pt x="165" y="330"/>
                  </a:lnTo>
                  <a:lnTo>
                    <a:pt x="150" y="328"/>
                  </a:lnTo>
                  <a:lnTo>
                    <a:pt x="136" y="325"/>
                  </a:lnTo>
                  <a:lnTo>
                    <a:pt x="122" y="320"/>
                  </a:lnTo>
                  <a:lnTo>
                    <a:pt x="108" y="313"/>
                  </a:lnTo>
                  <a:lnTo>
                    <a:pt x="96" y="306"/>
                  </a:lnTo>
                  <a:lnTo>
                    <a:pt x="85" y="297"/>
                  </a:lnTo>
                  <a:lnTo>
                    <a:pt x="74" y="287"/>
                  </a:lnTo>
                  <a:lnTo>
                    <a:pt x="64" y="277"/>
                  </a:lnTo>
                  <a:lnTo>
                    <a:pt x="56" y="265"/>
                  </a:lnTo>
                  <a:lnTo>
                    <a:pt x="48" y="253"/>
                  </a:lnTo>
                  <a:lnTo>
                    <a:pt x="42" y="239"/>
                  </a:lnTo>
                  <a:lnTo>
                    <a:pt x="36" y="225"/>
                  </a:lnTo>
                  <a:lnTo>
                    <a:pt x="33" y="211"/>
                  </a:lnTo>
                  <a:lnTo>
                    <a:pt x="31" y="196"/>
                  </a:lnTo>
                  <a:lnTo>
                    <a:pt x="30" y="181"/>
                  </a:lnTo>
                  <a:lnTo>
                    <a:pt x="31" y="165"/>
                  </a:lnTo>
                  <a:lnTo>
                    <a:pt x="33" y="151"/>
                  </a:lnTo>
                  <a:lnTo>
                    <a:pt x="36" y="136"/>
                  </a:lnTo>
                  <a:lnTo>
                    <a:pt x="42" y="122"/>
                  </a:lnTo>
                  <a:lnTo>
                    <a:pt x="48" y="110"/>
                  </a:lnTo>
                  <a:lnTo>
                    <a:pt x="56" y="97"/>
                  </a:lnTo>
                  <a:lnTo>
                    <a:pt x="64" y="86"/>
                  </a:lnTo>
                  <a:lnTo>
                    <a:pt x="74" y="75"/>
                  </a:lnTo>
                  <a:lnTo>
                    <a:pt x="85" y="65"/>
                  </a:lnTo>
                  <a:lnTo>
                    <a:pt x="96" y="56"/>
                  </a:lnTo>
                  <a:lnTo>
                    <a:pt x="108" y="49"/>
                  </a:lnTo>
                  <a:lnTo>
                    <a:pt x="122" y="42"/>
                  </a:lnTo>
                  <a:lnTo>
                    <a:pt x="136" y="38"/>
                  </a:lnTo>
                  <a:lnTo>
                    <a:pt x="150" y="34"/>
                  </a:lnTo>
                  <a:lnTo>
                    <a:pt x="165" y="31"/>
                  </a:lnTo>
                  <a:lnTo>
                    <a:pt x="180" y="30"/>
                  </a:lnTo>
                  <a:lnTo>
                    <a:pt x="180" y="30"/>
                  </a:lnTo>
                  <a:close/>
                  <a:moveTo>
                    <a:pt x="180" y="361"/>
                  </a:moveTo>
                  <a:lnTo>
                    <a:pt x="199" y="360"/>
                  </a:lnTo>
                  <a:lnTo>
                    <a:pt x="216" y="358"/>
                  </a:lnTo>
                  <a:lnTo>
                    <a:pt x="234" y="354"/>
                  </a:lnTo>
                  <a:lnTo>
                    <a:pt x="251" y="347"/>
                  </a:lnTo>
                  <a:lnTo>
                    <a:pt x="267" y="340"/>
                  </a:lnTo>
                  <a:lnTo>
                    <a:pt x="281" y="330"/>
                  </a:lnTo>
                  <a:lnTo>
                    <a:pt x="295" y="321"/>
                  </a:lnTo>
                  <a:lnTo>
                    <a:pt x="307" y="309"/>
                  </a:lnTo>
                  <a:lnTo>
                    <a:pt x="319" y="296"/>
                  </a:lnTo>
                  <a:lnTo>
                    <a:pt x="330" y="282"/>
                  </a:lnTo>
                  <a:lnTo>
                    <a:pt x="339" y="267"/>
                  </a:lnTo>
                  <a:lnTo>
                    <a:pt x="346" y="251"/>
                  </a:lnTo>
                  <a:lnTo>
                    <a:pt x="352" y="235"/>
                  </a:lnTo>
                  <a:lnTo>
                    <a:pt x="357" y="218"/>
                  </a:lnTo>
                  <a:lnTo>
                    <a:pt x="360" y="200"/>
                  </a:lnTo>
                  <a:lnTo>
                    <a:pt x="361" y="181"/>
                  </a:lnTo>
                  <a:lnTo>
                    <a:pt x="360" y="163"/>
                  </a:lnTo>
                  <a:lnTo>
                    <a:pt x="357" y="145"/>
                  </a:lnTo>
                  <a:lnTo>
                    <a:pt x="352" y="128"/>
                  </a:lnTo>
                  <a:lnTo>
                    <a:pt x="346" y="111"/>
                  </a:lnTo>
                  <a:lnTo>
                    <a:pt x="339" y="96"/>
                  </a:lnTo>
                  <a:lnTo>
                    <a:pt x="330" y="81"/>
                  </a:lnTo>
                  <a:lnTo>
                    <a:pt x="319" y="67"/>
                  </a:lnTo>
                  <a:lnTo>
                    <a:pt x="307" y="54"/>
                  </a:lnTo>
                  <a:lnTo>
                    <a:pt x="295" y="42"/>
                  </a:lnTo>
                  <a:lnTo>
                    <a:pt x="281" y="31"/>
                  </a:lnTo>
                  <a:lnTo>
                    <a:pt x="267" y="23"/>
                  </a:lnTo>
                  <a:lnTo>
                    <a:pt x="251" y="15"/>
                  </a:lnTo>
                  <a:lnTo>
                    <a:pt x="234" y="9"/>
                  </a:lnTo>
                  <a:lnTo>
                    <a:pt x="216" y="5"/>
                  </a:lnTo>
                  <a:lnTo>
                    <a:pt x="199" y="1"/>
                  </a:lnTo>
                  <a:lnTo>
                    <a:pt x="180" y="0"/>
                  </a:lnTo>
                  <a:lnTo>
                    <a:pt x="162" y="1"/>
                  </a:lnTo>
                  <a:lnTo>
                    <a:pt x="144" y="5"/>
                  </a:lnTo>
                  <a:lnTo>
                    <a:pt x="126" y="9"/>
                  </a:lnTo>
                  <a:lnTo>
                    <a:pt x="110" y="15"/>
                  </a:lnTo>
                  <a:lnTo>
                    <a:pt x="94" y="23"/>
                  </a:lnTo>
                  <a:lnTo>
                    <a:pt x="79" y="31"/>
                  </a:lnTo>
                  <a:lnTo>
                    <a:pt x="65" y="42"/>
                  </a:lnTo>
                  <a:lnTo>
                    <a:pt x="53" y="54"/>
                  </a:lnTo>
                  <a:lnTo>
                    <a:pt x="41" y="67"/>
                  </a:lnTo>
                  <a:lnTo>
                    <a:pt x="31" y="81"/>
                  </a:lnTo>
                  <a:lnTo>
                    <a:pt x="21" y="96"/>
                  </a:lnTo>
                  <a:lnTo>
                    <a:pt x="14" y="111"/>
                  </a:lnTo>
                  <a:lnTo>
                    <a:pt x="8" y="128"/>
                  </a:lnTo>
                  <a:lnTo>
                    <a:pt x="3" y="145"/>
                  </a:lnTo>
                  <a:lnTo>
                    <a:pt x="1" y="163"/>
                  </a:lnTo>
                  <a:lnTo>
                    <a:pt x="0" y="181"/>
                  </a:lnTo>
                  <a:lnTo>
                    <a:pt x="1" y="200"/>
                  </a:lnTo>
                  <a:lnTo>
                    <a:pt x="3" y="218"/>
                  </a:lnTo>
                  <a:lnTo>
                    <a:pt x="8" y="235"/>
                  </a:lnTo>
                  <a:lnTo>
                    <a:pt x="14" y="251"/>
                  </a:lnTo>
                  <a:lnTo>
                    <a:pt x="21" y="267"/>
                  </a:lnTo>
                  <a:lnTo>
                    <a:pt x="31" y="282"/>
                  </a:lnTo>
                  <a:lnTo>
                    <a:pt x="41" y="296"/>
                  </a:lnTo>
                  <a:lnTo>
                    <a:pt x="53" y="309"/>
                  </a:lnTo>
                  <a:lnTo>
                    <a:pt x="65" y="321"/>
                  </a:lnTo>
                  <a:lnTo>
                    <a:pt x="79" y="330"/>
                  </a:lnTo>
                  <a:lnTo>
                    <a:pt x="94" y="340"/>
                  </a:lnTo>
                  <a:lnTo>
                    <a:pt x="110" y="347"/>
                  </a:lnTo>
                  <a:lnTo>
                    <a:pt x="126" y="354"/>
                  </a:lnTo>
                  <a:lnTo>
                    <a:pt x="144" y="358"/>
                  </a:lnTo>
                  <a:lnTo>
                    <a:pt x="162" y="360"/>
                  </a:lnTo>
                  <a:lnTo>
                    <a:pt x="180" y="3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313" name="Group 312"/>
          <p:cNvGrpSpPr/>
          <p:nvPr/>
        </p:nvGrpSpPr>
        <p:grpSpPr>
          <a:xfrm>
            <a:off x="7188616" y="5420448"/>
            <a:ext cx="285750" cy="285750"/>
            <a:chOff x="9882188" y="1354138"/>
            <a:chExt cx="285750" cy="285750"/>
          </a:xfrm>
          <a:solidFill>
            <a:srgbClr val="3B3939"/>
          </a:solidFill>
        </p:grpSpPr>
        <p:sp>
          <p:nvSpPr>
            <p:cNvPr id="314" name="Freeform 186"/>
            <p:cNvSpPr>
              <a:spLocks noEditPoints="1"/>
            </p:cNvSpPr>
            <p:nvPr/>
          </p:nvSpPr>
          <p:spPr bwMode="auto">
            <a:xfrm>
              <a:off x="9891713" y="1482725"/>
              <a:ext cx="133350" cy="157163"/>
            </a:xfrm>
            <a:custGeom>
              <a:avLst/>
              <a:gdLst>
                <a:gd name="T0" fmla="*/ 89 w 421"/>
                <a:gd name="T1" fmla="*/ 454 h 496"/>
                <a:gd name="T2" fmla="*/ 30 w 421"/>
                <a:gd name="T3" fmla="*/ 392 h 496"/>
                <a:gd name="T4" fmla="*/ 145 w 421"/>
                <a:gd name="T5" fmla="*/ 416 h 496"/>
                <a:gd name="T6" fmla="*/ 253 w 421"/>
                <a:gd name="T7" fmla="*/ 418 h 496"/>
                <a:gd name="T8" fmla="*/ 373 w 421"/>
                <a:gd name="T9" fmla="*/ 399 h 496"/>
                <a:gd name="T10" fmla="*/ 355 w 421"/>
                <a:gd name="T11" fmla="*/ 448 h 496"/>
                <a:gd name="T12" fmla="*/ 211 w 421"/>
                <a:gd name="T13" fmla="*/ 466 h 496"/>
                <a:gd name="T14" fmla="*/ 302 w 421"/>
                <a:gd name="T15" fmla="*/ 36 h 496"/>
                <a:gd name="T16" fmla="*/ 389 w 421"/>
                <a:gd name="T17" fmla="*/ 60 h 496"/>
                <a:gd name="T18" fmla="*/ 302 w 421"/>
                <a:gd name="T19" fmla="*/ 83 h 496"/>
                <a:gd name="T20" fmla="*/ 148 w 421"/>
                <a:gd name="T21" fmla="*/ 86 h 496"/>
                <a:gd name="T22" fmla="*/ 43 w 421"/>
                <a:gd name="T23" fmla="*/ 64 h 496"/>
                <a:gd name="T24" fmla="*/ 95 w 421"/>
                <a:gd name="T25" fmla="*/ 39 h 496"/>
                <a:gd name="T26" fmla="*/ 391 w 421"/>
                <a:gd name="T27" fmla="*/ 132 h 496"/>
                <a:gd name="T28" fmla="*/ 306 w 421"/>
                <a:gd name="T29" fmla="*/ 157 h 496"/>
                <a:gd name="T30" fmla="*/ 145 w 421"/>
                <a:gd name="T31" fmla="*/ 161 h 496"/>
                <a:gd name="T32" fmla="*/ 37 w 421"/>
                <a:gd name="T33" fmla="*/ 137 h 496"/>
                <a:gd name="T34" fmla="*/ 94 w 421"/>
                <a:gd name="T35" fmla="*/ 109 h 496"/>
                <a:gd name="T36" fmla="*/ 211 w 421"/>
                <a:gd name="T37" fmla="*/ 120 h 496"/>
                <a:gd name="T38" fmla="*/ 327 w 421"/>
                <a:gd name="T39" fmla="*/ 109 h 496"/>
                <a:gd name="T40" fmla="*/ 391 w 421"/>
                <a:gd name="T41" fmla="*/ 207 h 496"/>
                <a:gd name="T42" fmla="*/ 306 w 421"/>
                <a:gd name="T43" fmla="*/ 233 h 496"/>
                <a:gd name="T44" fmla="*/ 145 w 421"/>
                <a:gd name="T45" fmla="*/ 236 h 496"/>
                <a:gd name="T46" fmla="*/ 37 w 421"/>
                <a:gd name="T47" fmla="*/ 212 h 496"/>
                <a:gd name="T48" fmla="*/ 94 w 421"/>
                <a:gd name="T49" fmla="*/ 184 h 496"/>
                <a:gd name="T50" fmla="*/ 211 w 421"/>
                <a:gd name="T51" fmla="*/ 195 h 496"/>
                <a:gd name="T52" fmla="*/ 327 w 421"/>
                <a:gd name="T53" fmla="*/ 184 h 496"/>
                <a:gd name="T54" fmla="*/ 391 w 421"/>
                <a:gd name="T55" fmla="*/ 282 h 496"/>
                <a:gd name="T56" fmla="*/ 306 w 421"/>
                <a:gd name="T57" fmla="*/ 308 h 496"/>
                <a:gd name="T58" fmla="*/ 145 w 421"/>
                <a:gd name="T59" fmla="*/ 311 h 496"/>
                <a:gd name="T60" fmla="*/ 37 w 421"/>
                <a:gd name="T61" fmla="*/ 288 h 496"/>
                <a:gd name="T62" fmla="*/ 94 w 421"/>
                <a:gd name="T63" fmla="*/ 260 h 496"/>
                <a:gd name="T64" fmla="*/ 211 w 421"/>
                <a:gd name="T65" fmla="*/ 270 h 496"/>
                <a:gd name="T66" fmla="*/ 327 w 421"/>
                <a:gd name="T67" fmla="*/ 260 h 496"/>
                <a:gd name="T68" fmla="*/ 391 w 421"/>
                <a:gd name="T69" fmla="*/ 357 h 496"/>
                <a:gd name="T70" fmla="*/ 306 w 421"/>
                <a:gd name="T71" fmla="*/ 383 h 496"/>
                <a:gd name="T72" fmla="*/ 145 w 421"/>
                <a:gd name="T73" fmla="*/ 386 h 496"/>
                <a:gd name="T74" fmla="*/ 37 w 421"/>
                <a:gd name="T75" fmla="*/ 363 h 496"/>
                <a:gd name="T76" fmla="*/ 94 w 421"/>
                <a:gd name="T77" fmla="*/ 335 h 496"/>
                <a:gd name="T78" fmla="*/ 211 w 421"/>
                <a:gd name="T79" fmla="*/ 344 h 496"/>
                <a:gd name="T80" fmla="*/ 327 w 421"/>
                <a:gd name="T81" fmla="*/ 335 h 496"/>
                <a:gd name="T82" fmla="*/ 211 w 421"/>
                <a:gd name="T83" fmla="*/ 0 h 496"/>
                <a:gd name="T84" fmla="*/ 64 w 421"/>
                <a:gd name="T85" fmla="*/ 16 h 496"/>
                <a:gd name="T86" fmla="*/ 6 w 421"/>
                <a:gd name="T87" fmla="*/ 43 h 496"/>
                <a:gd name="T88" fmla="*/ 0 w 421"/>
                <a:gd name="T89" fmla="*/ 135 h 496"/>
                <a:gd name="T90" fmla="*/ 1 w 421"/>
                <a:gd name="T91" fmla="*/ 440 h 496"/>
                <a:gd name="T92" fmla="*/ 24 w 421"/>
                <a:gd name="T93" fmla="*/ 463 h 496"/>
                <a:gd name="T94" fmla="*/ 114 w 421"/>
                <a:gd name="T95" fmla="*/ 488 h 496"/>
                <a:gd name="T96" fmla="*/ 273 w 421"/>
                <a:gd name="T97" fmla="*/ 492 h 496"/>
                <a:gd name="T98" fmla="*/ 387 w 421"/>
                <a:gd name="T99" fmla="*/ 469 h 496"/>
                <a:gd name="T100" fmla="*/ 420 w 421"/>
                <a:gd name="T101" fmla="*/ 443 h 496"/>
                <a:gd name="T102" fmla="*/ 421 w 421"/>
                <a:gd name="T103" fmla="*/ 210 h 496"/>
                <a:gd name="T104" fmla="*/ 418 w 421"/>
                <a:gd name="T105" fmla="*/ 48 h 496"/>
                <a:gd name="T106" fmla="*/ 373 w 421"/>
                <a:gd name="T107" fmla="*/ 20 h 496"/>
                <a:gd name="T108" fmla="*/ 240 w 421"/>
                <a:gd name="T109" fmla="*/ 0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21" h="496">
                  <a:moveTo>
                    <a:pt x="211" y="466"/>
                  </a:moveTo>
                  <a:lnTo>
                    <a:pt x="177" y="464"/>
                  </a:lnTo>
                  <a:lnTo>
                    <a:pt x="145" y="462"/>
                  </a:lnTo>
                  <a:lnTo>
                    <a:pt x="115" y="458"/>
                  </a:lnTo>
                  <a:lnTo>
                    <a:pt x="89" y="454"/>
                  </a:lnTo>
                  <a:lnTo>
                    <a:pt x="67" y="448"/>
                  </a:lnTo>
                  <a:lnTo>
                    <a:pt x="50" y="443"/>
                  </a:lnTo>
                  <a:lnTo>
                    <a:pt x="37" y="438"/>
                  </a:lnTo>
                  <a:lnTo>
                    <a:pt x="30" y="433"/>
                  </a:lnTo>
                  <a:lnTo>
                    <a:pt x="30" y="392"/>
                  </a:lnTo>
                  <a:lnTo>
                    <a:pt x="49" y="399"/>
                  </a:lnTo>
                  <a:lnTo>
                    <a:pt x="71" y="404"/>
                  </a:lnTo>
                  <a:lnTo>
                    <a:pt x="94" y="410"/>
                  </a:lnTo>
                  <a:lnTo>
                    <a:pt x="119" y="414"/>
                  </a:lnTo>
                  <a:lnTo>
                    <a:pt x="145" y="416"/>
                  </a:lnTo>
                  <a:lnTo>
                    <a:pt x="168" y="418"/>
                  </a:lnTo>
                  <a:lnTo>
                    <a:pt x="191" y="419"/>
                  </a:lnTo>
                  <a:lnTo>
                    <a:pt x="211" y="421"/>
                  </a:lnTo>
                  <a:lnTo>
                    <a:pt x="230" y="419"/>
                  </a:lnTo>
                  <a:lnTo>
                    <a:pt x="253" y="418"/>
                  </a:lnTo>
                  <a:lnTo>
                    <a:pt x="277" y="416"/>
                  </a:lnTo>
                  <a:lnTo>
                    <a:pt x="302" y="414"/>
                  </a:lnTo>
                  <a:lnTo>
                    <a:pt x="327" y="410"/>
                  </a:lnTo>
                  <a:lnTo>
                    <a:pt x="350" y="404"/>
                  </a:lnTo>
                  <a:lnTo>
                    <a:pt x="373" y="399"/>
                  </a:lnTo>
                  <a:lnTo>
                    <a:pt x="391" y="392"/>
                  </a:lnTo>
                  <a:lnTo>
                    <a:pt x="391" y="432"/>
                  </a:lnTo>
                  <a:lnTo>
                    <a:pt x="385" y="438"/>
                  </a:lnTo>
                  <a:lnTo>
                    <a:pt x="372" y="443"/>
                  </a:lnTo>
                  <a:lnTo>
                    <a:pt x="355" y="448"/>
                  </a:lnTo>
                  <a:lnTo>
                    <a:pt x="332" y="454"/>
                  </a:lnTo>
                  <a:lnTo>
                    <a:pt x="306" y="458"/>
                  </a:lnTo>
                  <a:lnTo>
                    <a:pt x="277" y="462"/>
                  </a:lnTo>
                  <a:lnTo>
                    <a:pt x="245" y="464"/>
                  </a:lnTo>
                  <a:lnTo>
                    <a:pt x="211" y="466"/>
                  </a:lnTo>
                  <a:lnTo>
                    <a:pt x="211" y="466"/>
                  </a:lnTo>
                  <a:close/>
                  <a:moveTo>
                    <a:pt x="211" y="30"/>
                  </a:moveTo>
                  <a:lnTo>
                    <a:pt x="243" y="30"/>
                  </a:lnTo>
                  <a:lnTo>
                    <a:pt x="274" y="32"/>
                  </a:lnTo>
                  <a:lnTo>
                    <a:pt x="302" y="36"/>
                  </a:lnTo>
                  <a:lnTo>
                    <a:pt x="327" y="39"/>
                  </a:lnTo>
                  <a:lnTo>
                    <a:pt x="348" y="45"/>
                  </a:lnTo>
                  <a:lnTo>
                    <a:pt x="365" y="50"/>
                  </a:lnTo>
                  <a:lnTo>
                    <a:pt x="379" y="54"/>
                  </a:lnTo>
                  <a:lnTo>
                    <a:pt x="389" y="60"/>
                  </a:lnTo>
                  <a:lnTo>
                    <a:pt x="379" y="64"/>
                  </a:lnTo>
                  <a:lnTo>
                    <a:pt x="365" y="69"/>
                  </a:lnTo>
                  <a:lnTo>
                    <a:pt x="348" y="75"/>
                  </a:lnTo>
                  <a:lnTo>
                    <a:pt x="327" y="79"/>
                  </a:lnTo>
                  <a:lnTo>
                    <a:pt x="302" y="83"/>
                  </a:lnTo>
                  <a:lnTo>
                    <a:pt x="274" y="86"/>
                  </a:lnTo>
                  <a:lnTo>
                    <a:pt x="243" y="88"/>
                  </a:lnTo>
                  <a:lnTo>
                    <a:pt x="211" y="90"/>
                  </a:lnTo>
                  <a:lnTo>
                    <a:pt x="178" y="88"/>
                  </a:lnTo>
                  <a:lnTo>
                    <a:pt x="148" y="86"/>
                  </a:lnTo>
                  <a:lnTo>
                    <a:pt x="120" y="83"/>
                  </a:lnTo>
                  <a:lnTo>
                    <a:pt x="95" y="79"/>
                  </a:lnTo>
                  <a:lnTo>
                    <a:pt x="74" y="75"/>
                  </a:lnTo>
                  <a:lnTo>
                    <a:pt x="56" y="69"/>
                  </a:lnTo>
                  <a:lnTo>
                    <a:pt x="43" y="64"/>
                  </a:lnTo>
                  <a:lnTo>
                    <a:pt x="33" y="60"/>
                  </a:lnTo>
                  <a:lnTo>
                    <a:pt x="43" y="54"/>
                  </a:lnTo>
                  <a:lnTo>
                    <a:pt x="56" y="50"/>
                  </a:lnTo>
                  <a:lnTo>
                    <a:pt x="74" y="45"/>
                  </a:lnTo>
                  <a:lnTo>
                    <a:pt x="95" y="39"/>
                  </a:lnTo>
                  <a:lnTo>
                    <a:pt x="120" y="36"/>
                  </a:lnTo>
                  <a:lnTo>
                    <a:pt x="148" y="32"/>
                  </a:lnTo>
                  <a:lnTo>
                    <a:pt x="178" y="30"/>
                  </a:lnTo>
                  <a:lnTo>
                    <a:pt x="211" y="30"/>
                  </a:lnTo>
                  <a:close/>
                  <a:moveTo>
                    <a:pt x="391" y="132"/>
                  </a:moveTo>
                  <a:lnTo>
                    <a:pt x="385" y="137"/>
                  </a:lnTo>
                  <a:lnTo>
                    <a:pt x="372" y="142"/>
                  </a:lnTo>
                  <a:lnTo>
                    <a:pt x="355" y="147"/>
                  </a:lnTo>
                  <a:lnTo>
                    <a:pt x="332" y="153"/>
                  </a:lnTo>
                  <a:lnTo>
                    <a:pt x="306" y="157"/>
                  </a:lnTo>
                  <a:lnTo>
                    <a:pt x="277" y="161"/>
                  </a:lnTo>
                  <a:lnTo>
                    <a:pt x="245" y="163"/>
                  </a:lnTo>
                  <a:lnTo>
                    <a:pt x="211" y="165"/>
                  </a:lnTo>
                  <a:lnTo>
                    <a:pt x="177" y="163"/>
                  </a:lnTo>
                  <a:lnTo>
                    <a:pt x="145" y="161"/>
                  </a:lnTo>
                  <a:lnTo>
                    <a:pt x="115" y="157"/>
                  </a:lnTo>
                  <a:lnTo>
                    <a:pt x="89" y="153"/>
                  </a:lnTo>
                  <a:lnTo>
                    <a:pt x="67" y="147"/>
                  </a:lnTo>
                  <a:lnTo>
                    <a:pt x="50" y="142"/>
                  </a:lnTo>
                  <a:lnTo>
                    <a:pt x="37" y="137"/>
                  </a:lnTo>
                  <a:lnTo>
                    <a:pt x="30" y="132"/>
                  </a:lnTo>
                  <a:lnTo>
                    <a:pt x="30" y="91"/>
                  </a:lnTo>
                  <a:lnTo>
                    <a:pt x="49" y="98"/>
                  </a:lnTo>
                  <a:lnTo>
                    <a:pt x="71" y="105"/>
                  </a:lnTo>
                  <a:lnTo>
                    <a:pt x="94" y="109"/>
                  </a:lnTo>
                  <a:lnTo>
                    <a:pt x="119" y="113"/>
                  </a:lnTo>
                  <a:lnTo>
                    <a:pt x="145" y="116"/>
                  </a:lnTo>
                  <a:lnTo>
                    <a:pt x="168" y="117"/>
                  </a:lnTo>
                  <a:lnTo>
                    <a:pt x="191" y="120"/>
                  </a:lnTo>
                  <a:lnTo>
                    <a:pt x="211" y="120"/>
                  </a:lnTo>
                  <a:lnTo>
                    <a:pt x="230" y="120"/>
                  </a:lnTo>
                  <a:lnTo>
                    <a:pt x="253" y="117"/>
                  </a:lnTo>
                  <a:lnTo>
                    <a:pt x="277" y="116"/>
                  </a:lnTo>
                  <a:lnTo>
                    <a:pt x="302" y="113"/>
                  </a:lnTo>
                  <a:lnTo>
                    <a:pt x="327" y="109"/>
                  </a:lnTo>
                  <a:lnTo>
                    <a:pt x="350" y="105"/>
                  </a:lnTo>
                  <a:lnTo>
                    <a:pt x="373" y="98"/>
                  </a:lnTo>
                  <a:lnTo>
                    <a:pt x="391" y="91"/>
                  </a:lnTo>
                  <a:lnTo>
                    <a:pt x="391" y="132"/>
                  </a:lnTo>
                  <a:close/>
                  <a:moveTo>
                    <a:pt x="391" y="207"/>
                  </a:moveTo>
                  <a:lnTo>
                    <a:pt x="385" y="212"/>
                  </a:lnTo>
                  <a:lnTo>
                    <a:pt x="372" y="217"/>
                  </a:lnTo>
                  <a:lnTo>
                    <a:pt x="355" y="222"/>
                  </a:lnTo>
                  <a:lnTo>
                    <a:pt x="332" y="228"/>
                  </a:lnTo>
                  <a:lnTo>
                    <a:pt x="306" y="233"/>
                  </a:lnTo>
                  <a:lnTo>
                    <a:pt x="277" y="236"/>
                  </a:lnTo>
                  <a:lnTo>
                    <a:pt x="245" y="238"/>
                  </a:lnTo>
                  <a:lnTo>
                    <a:pt x="211" y="240"/>
                  </a:lnTo>
                  <a:lnTo>
                    <a:pt x="177" y="238"/>
                  </a:lnTo>
                  <a:lnTo>
                    <a:pt x="145" y="236"/>
                  </a:lnTo>
                  <a:lnTo>
                    <a:pt x="115" y="233"/>
                  </a:lnTo>
                  <a:lnTo>
                    <a:pt x="89" y="228"/>
                  </a:lnTo>
                  <a:lnTo>
                    <a:pt x="67" y="222"/>
                  </a:lnTo>
                  <a:lnTo>
                    <a:pt x="50" y="217"/>
                  </a:lnTo>
                  <a:lnTo>
                    <a:pt x="37" y="212"/>
                  </a:lnTo>
                  <a:lnTo>
                    <a:pt x="30" y="207"/>
                  </a:lnTo>
                  <a:lnTo>
                    <a:pt x="30" y="166"/>
                  </a:lnTo>
                  <a:lnTo>
                    <a:pt x="49" y="173"/>
                  </a:lnTo>
                  <a:lnTo>
                    <a:pt x="71" y="180"/>
                  </a:lnTo>
                  <a:lnTo>
                    <a:pt x="94" y="184"/>
                  </a:lnTo>
                  <a:lnTo>
                    <a:pt x="119" y="188"/>
                  </a:lnTo>
                  <a:lnTo>
                    <a:pt x="145" y="191"/>
                  </a:lnTo>
                  <a:lnTo>
                    <a:pt x="168" y="193"/>
                  </a:lnTo>
                  <a:lnTo>
                    <a:pt x="191" y="195"/>
                  </a:lnTo>
                  <a:lnTo>
                    <a:pt x="211" y="195"/>
                  </a:lnTo>
                  <a:lnTo>
                    <a:pt x="230" y="195"/>
                  </a:lnTo>
                  <a:lnTo>
                    <a:pt x="253" y="193"/>
                  </a:lnTo>
                  <a:lnTo>
                    <a:pt x="277" y="191"/>
                  </a:lnTo>
                  <a:lnTo>
                    <a:pt x="302" y="188"/>
                  </a:lnTo>
                  <a:lnTo>
                    <a:pt x="327" y="184"/>
                  </a:lnTo>
                  <a:lnTo>
                    <a:pt x="350" y="180"/>
                  </a:lnTo>
                  <a:lnTo>
                    <a:pt x="373" y="173"/>
                  </a:lnTo>
                  <a:lnTo>
                    <a:pt x="391" y="167"/>
                  </a:lnTo>
                  <a:lnTo>
                    <a:pt x="391" y="207"/>
                  </a:lnTo>
                  <a:close/>
                  <a:moveTo>
                    <a:pt x="391" y="282"/>
                  </a:moveTo>
                  <a:lnTo>
                    <a:pt x="385" y="288"/>
                  </a:lnTo>
                  <a:lnTo>
                    <a:pt x="372" y="293"/>
                  </a:lnTo>
                  <a:lnTo>
                    <a:pt x="355" y="298"/>
                  </a:lnTo>
                  <a:lnTo>
                    <a:pt x="332" y="303"/>
                  </a:lnTo>
                  <a:lnTo>
                    <a:pt x="306" y="308"/>
                  </a:lnTo>
                  <a:lnTo>
                    <a:pt x="277" y="311"/>
                  </a:lnTo>
                  <a:lnTo>
                    <a:pt x="245" y="315"/>
                  </a:lnTo>
                  <a:lnTo>
                    <a:pt x="211" y="315"/>
                  </a:lnTo>
                  <a:lnTo>
                    <a:pt x="177" y="315"/>
                  </a:lnTo>
                  <a:lnTo>
                    <a:pt x="145" y="311"/>
                  </a:lnTo>
                  <a:lnTo>
                    <a:pt x="115" y="308"/>
                  </a:lnTo>
                  <a:lnTo>
                    <a:pt x="89" y="303"/>
                  </a:lnTo>
                  <a:lnTo>
                    <a:pt x="67" y="298"/>
                  </a:lnTo>
                  <a:lnTo>
                    <a:pt x="50" y="293"/>
                  </a:lnTo>
                  <a:lnTo>
                    <a:pt x="37" y="288"/>
                  </a:lnTo>
                  <a:lnTo>
                    <a:pt x="30" y="282"/>
                  </a:lnTo>
                  <a:lnTo>
                    <a:pt x="30" y="242"/>
                  </a:lnTo>
                  <a:lnTo>
                    <a:pt x="49" y="248"/>
                  </a:lnTo>
                  <a:lnTo>
                    <a:pt x="71" y="255"/>
                  </a:lnTo>
                  <a:lnTo>
                    <a:pt x="94" y="260"/>
                  </a:lnTo>
                  <a:lnTo>
                    <a:pt x="119" y="263"/>
                  </a:lnTo>
                  <a:lnTo>
                    <a:pt x="145" y="266"/>
                  </a:lnTo>
                  <a:lnTo>
                    <a:pt x="168" y="268"/>
                  </a:lnTo>
                  <a:lnTo>
                    <a:pt x="191" y="270"/>
                  </a:lnTo>
                  <a:lnTo>
                    <a:pt x="211" y="270"/>
                  </a:lnTo>
                  <a:lnTo>
                    <a:pt x="230" y="270"/>
                  </a:lnTo>
                  <a:lnTo>
                    <a:pt x="253" y="268"/>
                  </a:lnTo>
                  <a:lnTo>
                    <a:pt x="277" y="266"/>
                  </a:lnTo>
                  <a:lnTo>
                    <a:pt x="302" y="263"/>
                  </a:lnTo>
                  <a:lnTo>
                    <a:pt x="327" y="260"/>
                  </a:lnTo>
                  <a:lnTo>
                    <a:pt x="350" y="255"/>
                  </a:lnTo>
                  <a:lnTo>
                    <a:pt x="373" y="248"/>
                  </a:lnTo>
                  <a:lnTo>
                    <a:pt x="391" y="242"/>
                  </a:lnTo>
                  <a:lnTo>
                    <a:pt x="391" y="282"/>
                  </a:lnTo>
                  <a:close/>
                  <a:moveTo>
                    <a:pt x="391" y="357"/>
                  </a:moveTo>
                  <a:lnTo>
                    <a:pt x="385" y="363"/>
                  </a:lnTo>
                  <a:lnTo>
                    <a:pt x="372" y="368"/>
                  </a:lnTo>
                  <a:lnTo>
                    <a:pt x="355" y="373"/>
                  </a:lnTo>
                  <a:lnTo>
                    <a:pt x="332" y="379"/>
                  </a:lnTo>
                  <a:lnTo>
                    <a:pt x="306" y="383"/>
                  </a:lnTo>
                  <a:lnTo>
                    <a:pt x="277" y="386"/>
                  </a:lnTo>
                  <a:lnTo>
                    <a:pt x="245" y="389"/>
                  </a:lnTo>
                  <a:lnTo>
                    <a:pt x="211" y="391"/>
                  </a:lnTo>
                  <a:lnTo>
                    <a:pt x="177" y="389"/>
                  </a:lnTo>
                  <a:lnTo>
                    <a:pt x="145" y="386"/>
                  </a:lnTo>
                  <a:lnTo>
                    <a:pt x="115" y="383"/>
                  </a:lnTo>
                  <a:lnTo>
                    <a:pt x="89" y="379"/>
                  </a:lnTo>
                  <a:lnTo>
                    <a:pt x="67" y="373"/>
                  </a:lnTo>
                  <a:lnTo>
                    <a:pt x="50" y="368"/>
                  </a:lnTo>
                  <a:lnTo>
                    <a:pt x="37" y="363"/>
                  </a:lnTo>
                  <a:lnTo>
                    <a:pt x="30" y="357"/>
                  </a:lnTo>
                  <a:lnTo>
                    <a:pt x="30" y="317"/>
                  </a:lnTo>
                  <a:lnTo>
                    <a:pt x="49" y="324"/>
                  </a:lnTo>
                  <a:lnTo>
                    <a:pt x="71" y="329"/>
                  </a:lnTo>
                  <a:lnTo>
                    <a:pt x="94" y="335"/>
                  </a:lnTo>
                  <a:lnTo>
                    <a:pt x="119" y="338"/>
                  </a:lnTo>
                  <a:lnTo>
                    <a:pt x="145" y="341"/>
                  </a:lnTo>
                  <a:lnTo>
                    <a:pt x="168" y="343"/>
                  </a:lnTo>
                  <a:lnTo>
                    <a:pt x="191" y="344"/>
                  </a:lnTo>
                  <a:lnTo>
                    <a:pt x="211" y="344"/>
                  </a:lnTo>
                  <a:lnTo>
                    <a:pt x="230" y="344"/>
                  </a:lnTo>
                  <a:lnTo>
                    <a:pt x="253" y="343"/>
                  </a:lnTo>
                  <a:lnTo>
                    <a:pt x="277" y="341"/>
                  </a:lnTo>
                  <a:lnTo>
                    <a:pt x="302" y="338"/>
                  </a:lnTo>
                  <a:lnTo>
                    <a:pt x="327" y="335"/>
                  </a:lnTo>
                  <a:lnTo>
                    <a:pt x="350" y="329"/>
                  </a:lnTo>
                  <a:lnTo>
                    <a:pt x="373" y="324"/>
                  </a:lnTo>
                  <a:lnTo>
                    <a:pt x="391" y="317"/>
                  </a:lnTo>
                  <a:lnTo>
                    <a:pt x="391" y="357"/>
                  </a:lnTo>
                  <a:close/>
                  <a:moveTo>
                    <a:pt x="211" y="0"/>
                  </a:moveTo>
                  <a:lnTo>
                    <a:pt x="182" y="0"/>
                  </a:lnTo>
                  <a:lnTo>
                    <a:pt x="149" y="2"/>
                  </a:lnTo>
                  <a:lnTo>
                    <a:pt x="114" y="6"/>
                  </a:lnTo>
                  <a:lnTo>
                    <a:pt x="80" y="12"/>
                  </a:lnTo>
                  <a:lnTo>
                    <a:pt x="64" y="16"/>
                  </a:lnTo>
                  <a:lnTo>
                    <a:pt x="49" y="20"/>
                  </a:lnTo>
                  <a:lnTo>
                    <a:pt x="35" y="25"/>
                  </a:lnTo>
                  <a:lnTo>
                    <a:pt x="24" y="31"/>
                  </a:lnTo>
                  <a:lnTo>
                    <a:pt x="14" y="37"/>
                  </a:lnTo>
                  <a:lnTo>
                    <a:pt x="6" y="43"/>
                  </a:lnTo>
                  <a:lnTo>
                    <a:pt x="4" y="48"/>
                  </a:lnTo>
                  <a:lnTo>
                    <a:pt x="2" y="51"/>
                  </a:lnTo>
                  <a:lnTo>
                    <a:pt x="1" y="55"/>
                  </a:lnTo>
                  <a:lnTo>
                    <a:pt x="0" y="60"/>
                  </a:lnTo>
                  <a:lnTo>
                    <a:pt x="0" y="135"/>
                  </a:lnTo>
                  <a:lnTo>
                    <a:pt x="0" y="210"/>
                  </a:lnTo>
                  <a:lnTo>
                    <a:pt x="0" y="285"/>
                  </a:lnTo>
                  <a:lnTo>
                    <a:pt x="0" y="359"/>
                  </a:lnTo>
                  <a:lnTo>
                    <a:pt x="0" y="436"/>
                  </a:lnTo>
                  <a:lnTo>
                    <a:pt x="1" y="440"/>
                  </a:lnTo>
                  <a:lnTo>
                    <a:pt x="2" y="443"/>
                  </a:lnTo>
                  <a:lnTo>
                    <a:pt x="4" y="447"/>
                  </a:lnTo>
                  <a:lnTo>
                    <a:pt x="6" y="451"/>
                  </a:lnTo>
                  <a:lnTo>
                    <a:pt x="14" y="458"/>
                  </a:lnTo>
                  <a:lnTo>
                    <a:pt x="24" y="463"/>
                  </a:lnTo>
                  <a:lnTo>
                    <a:pt x="35" y="469"/>
                  </a:lnTo>
                  <a:lnTo>
                    <a:pt x="49" y="474"/>
                  </a:lnTo>
                  <a:lnTo>
                    <a:pt x="64" y="478"/>
                  </a:lnTo>
                  <a:lnTo>
                    <a:pt x="80" y="483"/>
                  </a:lnTo>
                  <a:lnTo>
                    <a:pt x="114" y="488"/>
                  </a:lnTo>
                  <a:lnTo>
                    <a:pt x="149" y="492"/>
                  </a:lnTo>
                  <a:lnTo>
                    <a:pt x="182" y="494"/>
                  </a:lnTo>
                  <a:lnTo>
                    <a:pt x="211" y="496"/>
                  </a:lnTo>
                  <a:lnTo>
                    <a:pt x="240" y="494"/>
                  </a:lnTo>
                  <a:lnTo>
                    <a:pt x="273" y="492"/>
                  </a:lnTo>
                  <a:lnTo>
                    <a:pt x="307" y="488"/>
                  </a:lnTo>
                  <a:lnTo>
                    <a:pt x="342" y="483"/>
                  </a:lnTo>
                  <a:lnTo>
                    <a:pt x="358" y="478"/>
                  </a:lnTo>
                  <a:lnTo>
                    <a:pt x="373" y="474"/>
                  </a:lnTo>
                  <a:lnTo>
                    <a:pt x="387" y="469"/>
                  </a:lnTo>
                  <a:lnTo>
                    <a:pt x="398" y="463"/>
                  </a:lnTo>
                  <a:lnTo>
                    <a:pt x="408" y="458"/>
                  </a:lnTo>
                  <a:lnTo>
                    <a:pt x="416" y="451"/>
                  </a:lnTo>
                  <a:lnTo>
                    <a:pt x="418" y="447"/>
                  </a:lnTo>
                  <a:lnTo>
                    <a:pt x="420" y="443"/>
                  </a:lnTo>
                  <a:lnTo>
                    <a:pt x="421" y="440"/>
                  </a:lnTo>
                  <a:lnTo>
                    <a:pt x="421" y="436"/>
                  </a:lnTo>
                  <a:lnTo>
                    <a:pt x="421" y="359"/>
                  </a:lnTo>
                  <a:lnTo>
                    <a:pt x="421" y="285"/>
                  </a:lnTo>
                  <a:lnTo>
                    <a:pt x="421" y="210"/>
                  </a:lnTo>
                  <a:lnTo>
                    <a:pt x="421" y="135"/>
                  </a:lnTo>
                  <a:lnTo>
                    <a:pt x="421" y="60"/>
                  </a:lnTo>
                  <a:lnTo>
                    <a:pt x="421" y="55"/>
                  </a:lnTo>
                  <a:lnTo>
                    <a:pt x="420" y="51"/>
                  </a:lnTo>
                  <a:lnTo>
                    <a:pt x="418" y="48"/>
                  </a:lnTo>
                  <a:lnTo>
                    <a:pt x="416" y="43"/>
                  </a:lnTo>
                  <a:lnTo>
                    <a:pt x="408" y="37"/>
                  </a:lnTo>
                  <a:lnTo>
                    <a:pt x="398" y="31"/>
                  </a:lnTo>
                  <a:lnTo>
                    <a:pt x="387" y="25"/>
                  </a:lnTo>
                  <a:lnTo>
                    <a:pt x="373" y="20"/>
                  </a:lnTo>
                  <a:lnTo>
                    <a:pt x="358" y="16"/>
                  </a:lnTo>
                  <a:lnTo>
                    <a:pt x="342" y="12"/>
                  </a:lnTo>
                  <a:lnTo>
                    <a:pt x="307" y="6"/>
                  </a:lnTo>
                  <a:lnTo>
                    <a:pt x="273" y="2"/>
                  </a:lnTo>
                  <a:lnTo>
                    <a:pt x="240" y="0"/>
                  </a:lnTo>
                  <a:lnTo>
                    <a:pt x="21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5" name="Freeform 187"/>
            <p:cNvSpPr>
              <a:spLocks/>
            </p:cNvSpPr>
            <p:nvPr/>
          </p:nvSpPr>
          <p:spPr bwMode="auto">
            <a:xfrm>
              <a:off x="9882188" y="1354138"/>
              <a:ext cx="285750" cy="180975"/>
            </a:xfrm>
            <a:custGeom>
              <a:avLst/>
              <a:gdLst>
                <a:gd name="T0" fmla="*/ 0 w 902"/>
                <a:gd name="T1" fmla="*/ 0 h 571"/>
                <a:gd name="T2" fmla="*/ 0 w 902"/>
                <a:gd name="T3" fmla="*/ 345 h 571"/>
                <a:gd name="T4" fmla="*/ 1 w 902"/>
                <a:gd name="T5" fmla="*/ 348 h 571"/>
                <a:gd name="T6" fmla="*/ 1 w 902"/>
                <a:gd name="T7" fmla="*/ 351 h 571"/>
                <a:gd name="T8" fmla="*/ 3 w 902"/>
                <a:gd name="T9" fmla="*/ 353 h 571"/>
                <a:gd name="T10" fmla="*/ 4 w 902"/>
                <a:gd name="T11" fmla="*/ 355 h 571"/>
                <a:gd name="T12" fmla="*/ 6 w 902"/>
                <a:gd name="T13" fmla="*/ 357 h 571"/>
                <a:gd name="T14" fmla="*/ 10 w 902"/>
                <a:gd name="T15" fmla="*/ 358 h 571"/>
                <a:gd name="T16" fmla="*/ 12 w 902"/>
                <a:gd name="T17" fmla="*/ 360 h 571"/>
                <a:gd name="T18" fmla="*/ 15 w 902"/>
                <a:gd name="T19" fmla="*/ 361 h 571"/>
                <a:gd name="T20" fmla="*/ 18 w 902"/>
                <a:gd name="T21" fmla="*/ 360 h 571"/>
                <a:gd name="T22" fmla="*/ 21 w 902"/>
                <a:gd name="T23" fmla="*/ 358 h 571"/>
                <a:gd name="T24" fmla="*/ 24 w 902"/>
                <a:gd name="T25" fmla="*/ 357 h 571"/>
                <a:gd name="T26" fmla="*/ 26 w 902"/>
                <a:gd name="T27" fmla="*/ 355 h 571"/>
                <a:gd name="T28" fmla="*/ 28 w 902"/>
                <a:gd name="T29" fmla="*/ 353 h 571"/>
                <a:gd name="T30" fmla="*/ 29 w 902"/>
                <a:gd name="T31" fmla="*/ 351 h 571"/>
                <a:gd name="T32" fmla="*/ 30 w 902"/>
                <a:gd name="T33" fmla="*/ 348 h 571"/>
                <a:gd name="T34" fmla="*/ 30 w 902"/>
                <a:gd name="T35" fmla="*/ 345 h 571"/>
                <a:gd name="T36" fmla="*/ 30 w 902"/>
                <a:gd name="T37" fmla="*/ 30 h 571"/>
                <a:gd name="T38" fmla="*/ 872 w 902"/>
                <a:gd name="T39" fmla="*/ 30 h 571"/>
                <a:gd name="T40" fmla="*/ 872 w 902"/>
                <a:gd name="T41" fmla="*/ 541 h 571"/>
                <a:gd name="T42" fmla="*/ 572 w 902"/>
                <a:gd name="T43" fmla="*/ 541 h 571"/>
                <a:gd name="T44" fmla="*/ 569 w 902"/>
                <a:gd name="T45" fmla="*/ 541 h 571"/>
                <a:gd name="T46" fmla="*/ 566 w 902"/>
                <a:gd name="T47" fmla="*/ 542 h 571"/>
                <a:gd name="T48" fmla="*/ 563 w 902"/>
                <a:gd name="T49" fmla="*/ 543 h 571"/>
                <a:gd name="T50" fmla="*/ 561 w 902"/>
                <a:gd name="T51" fmla="*/ 545 h 571"/>
                <a:gd name="T52" fmla="*/ 559 w 902"/>
                <a:gd name="T53" fmla="*/ 547 h 571"/>
                <a:gd name="T54" fmla="*/ 558 w 902"/>
                <a:gd name="T55" fmla="*/ 550 h 571"/>
                <a:gd name="T56" fmla="*/ 557 w 902"/>
                <a:gd name="T57" fmla="*/ 552 h 571"/>
                <a:gd name="T58" fmla="*/ 557 w 902"/>
                <a:gd name="T59" fmla="*/ 556 h 571"/>
                <a:gd name="T60" fmla="*/ 557 w 902"/>
                <a:gd name="T61" fmla="*/ 559 h 571"/>
                <a:gd name="T62" fmla="*/ 558 w 902"/>
                <a:gd name="T63" fmla="*/ 561 h 571"/>
                <a:gd name="T64" fmla="*/ 559 w 902"/>
                <a:gd name="T65" fmla="*/ 564 h 571"/>
                <a:gd name="T66" fmla="*/ 561 w 902"/>
                <a:gd name="T67" fmla="*/ 566 h 571"/>
                <a:gd name="T68" fmla="*/ 563 w 902"/>
                <a:gd name="T69" fmla="*/ 568 h 571"/>
                <a:gd name="T70" fmla="*/ 566 w 902"/>
                <a:gd name="T71" fmla="*/ 569 h 571"/>
                <a:gd name="T72" fmla="*/ 569 w 902"/>
                <a:gd name="T73" fmla="*/ 571 h 571"/>
                <a:gd name="T74" fmla="*/ 572 w 902"/>
                <a:gd name="T75" fmla="*/ 571 h 571"/>
                <a:gd name="T76" fmla="*/ 902 w 902"/>
                <a:gd name="T77" fmla="*/ 571 h 571"/>
                <a:gd name="T78" fmla="*/ 902 w 902"/>
                <a:gd name="T79" fmla="*/ 0 h 571"/>
                <a:gd name="T80" fmla="*/ 0 w 902"/>
                <a:gd name="T81" fmla="*/ 0 h 5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902" h="571">
                  <a:moveTo>
                    <a:pt x="0" y="0"/>
                  </a:moveTo>
                  <a:lnTo>
                    <a:pt x="0" y="345"/>
                  </a:lnTo>
                  <a:lnTo>
                    <a:pt x="1" y="348"/>
                  </a:lnTo>
                  <a:lnTo>
                    <a:pt x="1" y="351"/>
                  </a:lnTo>
                  <a:lnTo>
                    <a:pt x="3" y="353"/>
                  </a:lnTo>
                  <a:lnTo>
                    <a:pt x="4" y="355"/>
                  </a:lnTo>
                  <a:lnTo>
                    <a:pt x="6" y="357"/>
                  </a:lnTo>
                  <a:lnTo>
                    <a:pt x="10" y="358"/>
                  </a:lnTo>
                  <a:lnTo>
                    <a:pt x="12" y="360"/>
                  </a:lnTo>
                  <a:lnTo>
                    <a:pt x="15" y="361"/>
                  </a:lnTo>
                  <a:lnTo>
                    <a:pt x="18" y="360"/>
                  </a:lnTo>
                  <a:lnTo>
                    <a:pt x="21" y="358"/>
                  </a:lnTo>
                  <a:lnTo>
                    <a:pt x="24" y="357"/>
                  </a:lnTo>
                  <a:lnTo>
                    <a:pt x="26" y="355"/>
                  </a:lnTo>
                  <a:lnTo>
                    <a:pt x="28" y="353"/>
                  </a:lnTo>
                  <a:lnTo>
                    <a:pt x="29" y="351"/>
                  </a:lnTo>
                  <a:lnTo>
                    <a:pt x="30" y="348"/>
                  </a:lnTo>
                  <a:lnTo>
                    <a:pt x="30" y="345"/>
                  </a:lnTo>
                  <a:lnTo>
                    <a:pt x="30" y="30"/>
                  </a:lnTo>
                  <a:lnTo>
                    <a:pt x="872" y="30"/>
                  </a:lnTo>
                  <a:lnTo>
                    <a:pt x="872" y="541"/>
                  </a:lnTo>
                  <a:lnTo>
                    <a:pt x="572" y="541"/>
                  </a:lnTo>
                  <a:lnTo>
                    <a:pt x="569" y="541"/>
                  </a:lnTo>
                  <a:lnTo>
                    <a:pt x="566" y="542"/>
                  </a:lnTo>
                  <a:lnTo>
                    <a:pt x="563" y="543"/>
                  </a:lnTo>
                  <a:lnTo>
                    <a:pt x="561" y="545"/>
                  </a:lnTo>
                  <a:lnTo>
                    <a:pt x="559" y="547"/>
                  </a:lnTo>
                  <a:lnTo>
                    <a:pt x="558" y="550"/>
                  </a:lnTo>
                  <a:lnTo>
                    <a:pt x="557" y="552"/>
                  </a:lnTo>
                  <a:lnTo>
                    <a:pt x="557" y="556"/>
                  </a:lnTo>
                  <a:lnTo>
                    <a:pt x="557" y="559"/>
                  </a:lnTo>
                  <a:lnTo>
                    <a:pt x="558" y="561"/>
                  </a:lnTo>
                  <a:lnTo>
                    <a:pt x="559" y="564"/>
                  </a:lnTo>
                  <a:lnTo>
                    <a:pt x="561" y="566"/>
                  </a:lnTo>
                  <a:lnTo>
                    <a:pt x="563" y="568"/>
                  </a:lnTo>
                  <a:lnTo>
                    <a:pt x="566" y="569"/>
                  </a:lnTo>
                  <a:lnTo>
                    <a:pt x="569" y="571"/>
                  </a:lnTo>
                  <a:lnTo>
                    <a:pt x="572" y="571"/>
                  </a:lnTo>
                  <a:lnTo>
                    <a:pt x="902" y="571"/>
                  </a:lnTo>
                  <a:lnTo>
                    <a:pt x="90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6" name="Freeform 188"/>
            <p:cNvSpPr>
              <a:spLocks noEditPoints="1"/>
            </p:cNvSpPr>
            <p:nvPr/>
          </p:nvSpPr>
          <p:spPr bwMode="auto">
            <a:xfrm>
              <a:off x="9986963" y="1406525"/>
              <a:ext cx="76200" cy="76200"/>
            </a:xfrm>
            <a:custGeom>
              <a:avLst/>
              <a:gdLst>
                <a:gd name="T0" fmla="*/ 102 w 241"/>
                <a:gd name="T1" fmla="*/ 208 h 241"/>
                <a:gd name="T2" fmla="*/ 77 w 241"/>
                <a:gd name="T3" fmla="*/ 199 h 241"/>
                <a:gd name="T4" fmla="*/ 57 w 241"/>
                <a:gd name="T5" fmla="*/ 184 h 241"/>
                <a:gd name="T6" fmla="*/ 41 w 241"/>
                <a:gd name="T7" fmla="*/ 162 h 241"/>
                <a:gd name="T8" fmla="*/ 32 w 241"/>
                <a:gd name="T9" fmla="*/ 138 h 241"/>
                <a:gd name="T10" fmla="*/ 31 w 241"/>
                <a:gd name="T11" fmla="*/ 111 h 241"/>
                <a:gd name="T12" fmla="*/ 37 w 241"/>
                <a:gd name="T13" fmla="*/ 85 h 241"/>
                <a:gd name="T14" fmla="*/ 50 w 241"/>
                <a:gd name="T15" fmla="*/ 63 h 241"/>
                <a:gd name="T16" fmla="*/ 70 w 241"/>
                <a:gd name="T17" fmla="*/ 46 h 241"/>
                <a:gd name="T18" fmla="*/ 93 w 241"/>
                <a:gd name="T19" fmla="*/ 34 h 241"/>
                <a:gd name="T20" fmla="*/ 120 w 241"/>
                <a:gd name="T21" fmla="*/ 30 h 241"/>
                <a:gd name="T22" fmla="*/ 147 w 241"/>
                <a:gd name="T23" fmla="*/ 34 h 241"/>
                <a:gd name="T24" fmla="*/ 170 w 241"/>
                <a:gd name="T25" fmla="*/ 46 h 241"/>
                <a:gd name="T26" fmla="*/ 190 w 241"/>
                <a:gd name="T27" fmla="*/ 63 h 241"/>
                <a:gd name="T28" fmla="*/ 204 w 241"/>
                <a:gd name="T29" fmla="*/ 85 h 241"/>
                <a:gd name="T30" fmla="*/ 210 w 241"/>
                <a:gd name="T31" fmla="*/ 111 h 241"/>
                <a:gd name="T32" fmla="*/ 209 w 241"/>
                <a:gd name="T33" fmla="*/ 138 h 241"/>
                <a:gd name="T34" fmla="*/ 199 w 241"/>
                <a:gd name="T35" fmla="*/ 162 h 241"/>
                <a:gd name="T36" fmla="*/ 184 w 241"/>
                <a:gd name="T37" fmla="*/ 184 h 241"/>
                <a:gd name="T38" fmla="*/ 163 w 241"/>
                <a:gd name="T39" fmla="*/ 199 h 241"/>
                <a:gd name="T40" fmla="*/ 138 w 241"/>
                <a:gd name="T41" fmla="*/ 208 h 241"/>
                <a:gd name="T42" fmla="*/ 120 w 241"/>
                <a:gd name="T43" fmla="*/ 210 h 241"/>
                <a:gd name="T44" fmla="*/ 96 w 241"/>
                <a:gd name="T45" fmla="*/ 2 h 241"/>
                <a:gd name="T46" fmla="*/ 63 w 241"/>
                <a:gd name="T47" fmla="*/ 15 h 241"/>
                <a:gd name="T48" fmla="*/ 35 w 241"/>
                <a:gd name="T49" fmla="*/ 35 h 241"/>
                <a:gd name="T50" fmla="*/ 15 w 241"/>
                <a:gd name="T51" fmla="*/ 63 h 241"/>
                <a:gd name="T52" fmla="*/ 2 w 241"/>
                <a:gd name="T53" fmla="*/ 96 h 241"/>
                <a:gd name="T54" fmla="*/ 1 w 241"/>
                <a:gd name="T55" fmla="*/ 132 h 241"/>
                <a:gd name="T56" fmla="*/ 10 w 241"/>
                <a:gd name="T57" fmla="*/ 167 h 241"/>
                <a:gd name="T58" fmla="*/ 28 w 241"/>
                <a:gd name="T59" fmla="*/ 197 h 241"/>
                <a:gd name="T60" fmla="*/ 54 w 241"/>
                <a:gd name="T61" fmla="*/ 219 h 241"/>
                <a:gd name="T62" fmla="*/ 85 w 241"/>
                <a:gd name="T63" fmla="*/ 235 h 241"/>
                <a:gd name="T64" fmla="*/ 120 w 241"/>
                <a:gd name="T65" fmla="*/ 241 h 241"/>
                <a:gd name="T66" fmla="*/ 156 w 241"/>
                <a:gd name="T67" fmla="*/ 235 h 241"/>
                <a:gd name="T68" fmla="*/ 187 w 241"/>
                <a:gd name="T69" fmla="*/ 219 h 241"/>
                <a:gd name="T70" fmla="*/ 213 w 241"/>
                <a:gd name="T71" fmla="*/ 197 h 241"/>
                <a:gd name="T72" fmla="*/ 231 w 241"/>
                <a:gd name="T73" fmla="*/ 167 h 241"/>
                <a:gd name="T74" fmla="*/ 240 w 241"/>
                <a:gd name="T75" fmla="*/ 132 h 241"/>
                <a:gd name="T76" fmla="*/ 238 w 241"/>
                <a:gd name="T77" fmla="*/ 96 h 241"/>
                <a:gd name="T78" fmla="*/ 226 w 241"/>
                <a:gd name="T79" fmla="*/ 63 h 241"/>
                <a:gd name="T80" fmla="*/ 206 w 241"/>
                <a:gd name="T81" fmla="*/ 35 h 241"/>
                <a:gd name="T82" fmla="*/ 178 w 241"/>
                <a:gd name="T83" fmla="*/ 15 h 241"/>
                <a:gd name="T84" fmla="*/ 145 w 241"/>
                <a:gd name="T85" fmla="*/ 2 h 241"/>
                <a:gd name="T86" fmla="*/ 120 w 241"/>
                <a:gd name="T87" fmla="*/ 0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41" h="241">
                  <a:moveTo>
                    <a:pt x="120" y="210"/>
                  </a:moveTo>
                  <a:lnTo>
                    <a:pt x="111" y="210"/>
                  </a:lnTo>
                  <a:lnTo>
                    <a:pt x="102" y="208"/>
                  </a:lnTo>
                  <a:lnTo>
                    <a:pt x="93" y="206"/>
                  </a:lnTo>
                  <a:lnTo>
                    <a:pt x="86" y="203"/>
                  </a:lnTo>
                  <a:lnTo>
                    <a:pt x="77" y="199"/>
                  </a:lnTo>
                  <a:lnTo>
                    <a:pt x="70" y="195"/>
                  </a:lnTo>
                  <a:lnTo>
                    <a:pt x="63" y="189"/>
                  </a:lnTo>
                  <a:lnTo>
                    <a:pt x="57" y="184"/>
                  </a:lnTo>
                  <a:lnTo>
                    <a:pt x="50" y="177"/>
                  </a:lnTo>
                  <a:lnTo>
                    <a:pt x="46" y="170"/>
                  </a:lnTo>
                  <a:lnTo>
                    <a:pt x="41" y="162"/>
                  </a:lnTo>
                  <a:lnTo>
                    <a:pt x="37" y="155"/>
                  </a:lnTo>
                  <a:lnTo>
                    <a:pt x="34" y="146"/>
                  </a:lnTo>
                  <a:lnTo>
                    <a:pt x="32" y="138"/>
                  </a:lnTo>
                  <a:lnTo>
                    <a:pt x="31" y="129"/>
                  </a:lnTo>
                  <a:lnTo>
                    <a:pt x="30" y="120"/>
                  </a:lnTo>
                  <a:lnTo>
                    <a:pt x="31" y="111"/>
                  </a:lnTo>
                  <a:lnTo>
                    <a:pt x="32" y="101"/>
                  </a:lnTo>
                  <a:lnTo>
                    <a:pt x="34" y="93"/>
                  </a:lnTo>
                  <a:lnTo>
                    <a:pt x="37" y="85"/>
                  </a:lnTo>
                  <a:lnTo>
                    <a:pt x="41" y="77"/>
                  </a:lnTo>
                  <a:lnTo>
                    <a:pt x="46" y="69"/>
                  </a:lnTo>
                  <a:lnTo>
                    <a:pt x="50" y="63"/>
                  </a:lnTo>
                  <a:lnTo>
                    <a:pt x="57" y="56"/>
                  </a:lnTo>
                  <a:lnTo>
                    <a:pt x="63" y="50"/>
                  </a:lnTo>
                  <a:lnTo>
                    <a:pt x="70" y="46"/>
                  </a:lnTo>
                  <a:lnTo>
                    <a:pt x="77" y="40"/>
                  </a:lnTo>
                  <a:lnTo>
                    <a:pt x="86" y="37"/>
                  </a:lnTo>
                  <a:lnTo>
                    <a:pt x="93" y="34"/>
                  </a:lnTo>
                  <a:lnTo>
                    <a:pt x="102" y="32"/>
                  </a:lnTo>
                  <a:lnTo>
                    <a:pt x="111" y="31"/>
                  </a:lnTo>
                  <a:lnTo>
                    <a:pt x="120" y="30"/>
                  </a:lnTo>
                  <a:lnTo>
                    <a:pt x="130" y="31"/>
                  </a:lnTo>
                  <a:lnTo>
                    <a:pt x="138" y="32"/>
                  </a:lnTo>
                  <a:lnTo>
                    <a:pt x="147" y="34"/>
                  </a:lnTo>
                  <a:lnTo>
                    <a:pt x="155" y="37"/>
                  </a:lnTo>
                  <a:lnTo>
                    <a:pt x="163" y="40"/>
                  </a:lnTo>
                  <a:lnTo>
                    <a:pt x="170" y="46"/>
                  </a:lnTo>
                  <a:lnTo>
                    <a:pt x="178" y="50"/>
                  </a:lnTo>
                  <a:lnTo>
                    <a:pt x="184" y="56"/>
                  </a:lnTo>
                  <a:lnTo>
                    <a:pt x="190" y="63"/>
                  </a:lnTo>
                  <a:lnTo>
                    <a:pt x="195" y="69"/>
                  </a:lnTo>
                  <a:lnTo>
                    <a:pt x="199" y="77"/>
                  </a:lnTo>
                  <a:lnTo>
                    <a:pt x="204" y="85"/>
                  </a:lnTo>
                  <a:lnTo>
                    <a:pt x="207" y="93"/>
                  </a:lnTo>
                  <a:lnTo>
                    <a:pt x="209" y="101"/>
                  </a:lnTo>
                  <a:lnTo>
                    <a:pt x="210" y="111"/>
                  </a:lnTo>
                  <a:lnTo>
                    <a:pt x="211" y="120"/>
                  </a:lnTo>
                  <a:lnTo>
                    <a:pt x="210" y="129"/>
                  </a:lnTo>
                  <a:lnTo>
                    <a:pt x="209" y="138"/>
                  </a:lnTo>
                  <a:lnTo>
                    <a:pt x="207" y="146"/>
                  </a:lnTo>
                  <a:lnTo>
                    <a:pt x="204" y="155"/>
                  </a:lnTo>
                  <a:lnTo>
                    <a:pt x="199" y="162"/>
                  </a:lnTo>
                  <a:lnTo>
                    <a:pt x="195" y="170"/>
                  </a:lnTo>
                  <a:lnTo>
                    <a:pt x="190" y="177"/>
                  </a:lnTo>
                  <a:lnTo>
                    <a:pt x="184" y="184"/>
                  </a:lnTo>
                  <a:lnTo>
                    <a:pt x="178" y="189"/>
                  </a:lnTo>
                  <a:lnTo>
                    <a:pt x="170" y="195"/>
                  </a:lnTo>
                  <a:lnTo>
                    <a:pt x="163" y="199"/>
                  </a:lnTo>
                  <a:lnTo>
                    <a:pt x="155" y="203"/>
                  </a:lnTo>
                  <a:lnTo>
                    <a:pt x="147" y="206"/>
                  </a:lnTo>
                  <a:lnTo>
                    <a:pt x="138" y="208"/>
                  </a:lnTo>
                  <a:lnTo>
                    <a:pt x="130" y="210"/>
                  </a:lnTo>
                  <a:lnTo>
                    <a:pt x="120" y="211"/>
                  </a:lnTo>
                  <a:lnTo>
                    <a:pt x="120" y="210"/>
                  </a:lnTo>
                  <a:close/>
                  <a:moveTo>
                    <a:pt x="120" y="0"/>
                  </a:moveTo>
                  <a:lnTo>
                    <a:pt x="108" y="1"/>
                  </a:lnTo>
                  <a:lnTo>
                    <a:pt x="96" y="2"/>
                  </a:lnTo>
                  <a:lnTo>
                    <a:pt x="85" y="5"/>
                  </a:lnTo>
                  <a:lnTo>
                    <a:pt x="74" y="9"/>
                  </a:lnTo>
                  <a:lnTo>
                    <a:pt x="63" y="15"/>
                  </a:lnTo>
                  <a:lnTo>
                    <a:pt x="54" y="20"/>
                  </a:lnTo>
                  <a:lnTo>
                    <a:pt x="44" y="27"/>
                  </a:lnTo>
                  <a:lnTo>
                    <a:pt x="35" y="35"/>
                  </a:lnTo>
                  <a:lnTo>
                    <a:pt x="28" y="43"/>
                  </a:lnTo>
                  <a:lnTo>
                    <a:pt x="20" y="53"/>
                  </a:lnTo>
                  <a:lnTo>
                    <a:pt x="15" y="63"/>
                  </a:lnTo>
                  <a:lnTo>
                    <a:pt x="10" y="73"/>
                  </a:lnTo>
                  <a:lnTo>
                    <a:pt x="5" y="84"/>
                  </a:lnTo>
                  <a:lnTo>
                    <a:pt x="2" y="96"/>
                  </a:lnTo>
                  <a:lnTo>
                    <a:pt x="1" y="108"/>
                  </a:lnTo>
                  <a:lnTo>
                    <a:pt x="0" y="120"/>
                  </a:lnTo>
                  <a:lnTo>
                    <a:pt x="1" y="132"/>
                  </a:lnTo>
                  <a:lnTo>
                    <a:pt x="2" y="144"/>
                  </a:lnTo>
                  <a:lnTo>
                    <a:pt x="5" y="156"/>
                  </a:lnTo>
                  <a:lnTo>
                    <a:pt x="10" y="167"/>
                  </a:lnTo>
                  <a:lnTo>
                    <a:pt x="15" y="177"/>
                  </a:lnTo>
                  <a:lnTo>
                    <a:pt x="20" y="187"/>
                  </a:lnTo>
                  <a:lnTo>
                    <a:pt x="28" y="197"/>
                  </a:lnTo>
                  <a:lnTo>
                    <a:pt x="35" y="205"/>
                  </a:lnTo>
                  <a:lnTo>
                    <a:pt x="44" y="213"/>
                  </a:lnTo>
                  <a:lnTo>
                    <a:pt x="54" y="219"/>
                  </a:lnTo>
                  <a:lnTo>
                    <a:pt x="63" y="226"/>
                  </a:lnTo>
                  <a:lnTo>
                    <a:pt x="74" y="231"/>
                  </a:lnTo>
                  <a:lnTo>
                    <a:pt x="85" y="235"/>
                  </a:lnTo>
                  <a:lnTo>
                    <a:pt x="96" y="237"/>
                  </a:lnTo>
                  <a:lnTo>
                    <a:pt x="108" y="239"/>
                  </a:lnTo>
                  <a:lnTo>
                    <a:pt x="120" y="241"/>
                  </a:lnTo>
                  <a:lnTo>
                    <a:pt x="133" y="239"/>
                  </a:lnTo>
                  <a:lnTo>
                    <a:pt x="145" y="237"/>
                  </a:lnTo>
                  <a:lnTo>
                    <a:pt x="156" y="235"/>
                  </a:lnTo>
                  <a:lnTo>
                    <a:pt x="167" y="231"/>
                  </a:lnTo>
                  <a:lnTo>
                    <a:pt x="178" y="226"/>
                  </a:lnTo>
                  <a:lnTo>
                    <a:pt x="187" y="219"/>
                  </a:lnTo>
                  <a:lnTo>
                    <a:pt x="197" y="213"/>
                  </a:lnTo>
                  <a:lnTo>
                    <a:pt x="206" y="205"/>
                  </a:lnTo>
                  <a:lnTo>
                    <a:pt x="213" y="197"/>
                  </a:lnTo>
                  <a:lnTo>
                    <a:pt x="220" y="187"/>
                  </a:lnTo>
                  <a:lnTo>
                    <a:pt x="226" y="177"/>
                  </a:lnTo>
                  <a:lnTo>
                    <a:pt x="231" y="167"/>
                  </a:lnTo>
                  <a:lnTo>
                    <a:pt x="236" y="156"/>
                  </a:lnTo>
                  <a:lnTo>
                    <a:pt x="238" y="144"/>
                  </a:lnTo>
                  <a:lnTo>
                    <a:pt x="240" y="132"/>
                  </a:lnTo>
                  <a:lnTo>
                    <a:pt x="241" y="120"/>
                  </a:lnTo>
                  <a:lnTo>
                    <a:pt x="240" y="108"/>
                  </a:lnTo>
                  <a:lnTo>
                    <a:pt x="238" y="96"/>
                  </a:lnTo>
                  <a:lnTo>
                    <a:pt x="236" y="84"/>
                  </a:lnTo>
                  <a:lnTo>
                    <a:pt x="231" y="73"/>
                  </a:lnTo>
                  <a:lnTo>
                    <a:pt x="226" y="63"/>
                  </a:lnTo>
                  <a:lnTo>
                    <a:pt x="220" y="53"/>
                  </a:lnTo>
                  <a:lnTo>
                    <a:pt x="213" y="43"/>
                  </a:lnTo>
                  <a:lnTo>
                    <a:pt x="206" y="35"/>
                  </a:lnTo>
                  <a:lnTo>
                    <a:pt x="197" y="27"/>
                  </a:lnTo>
                  <a:lnTo>
                    <a:pt x="187" y="20"/>
                  </a:lnTo>
                  <a:lnTo>
                    <a:pt x="178" y="15"/>
                  </a:lnTo>
                  <a:lnTo>
                    <a:pt x="167" y="9"/>
                  </a:lnTo>
                  <a:lnTo>
                    <a:pt x="156" y="5"/>
                  </a:lnTo>
                  <a:lnTo>
                    <a:pt x="145" y="2"/>
                  </a:lnTo>
                  <a:lnTo>
                    <a:pt x="133" y="1"/>
                  </a:lnTo>
                  <a:lnTo>
                    <a:pt x="120" y="0"/>
                  </a:lnTo>
                  <a:lnTo>
                    <a:pt x="12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7" name="Freeform 189"/>
            <p:cNvSpPr>
              <a:spLocks noEditPoints="1"/>
            </p:cNvSpPr>
            <p:nvPr/>
          </p:nvSpPr>
          <p:spPr bwMode="auto">
            <a:xfrm>
              <a:off x="10091738" y="1458913"/>
              <a:ext cx="28575" cy="28575"/>
            </a:xfrm>
            <a:custGeom>
              <a:avLst/>
              <a:gdLst>
                <a:gd name="T0" fmla="*/ 30 w 90"/>
                <a:gd name="T1" fmla="*/ 42 h 91"/>
                <a:gd name="T2" fmla="*/ 32 w 90"/>
                <a:gd name="T3" fmla="*/ 37 h 91"/>
                <a:gd name="T4" fmla="*/ 36 w 90"/>
                <a:gd name="T5" fmla="*/ 33 h 91"/>
                <a:gd name="T6" fmla="*/ 42 w 90"/>
                <a:gd name="T7" fmla="*/ 31 h 91"/>
                <a:gd name="T8" fmla="*/ 48 w 90"/>
                <a:gd name="T9" fmla="*/ 31 h 91"/>
                <a:gd name="T10" fmla="*/ 54 w 90"/>
                <a:gd name="T11" fmla="*/ 33 h 91"/>
                <a:gd name="T12" fmla="*/ 58 w 90"/>
                <a:gd name="T13" fmla="*/ 37 h 91"/>
                <a:gd name="T14" fmla="*/ 60 w 90"/>
                <a:gd name="T15" fmla="*/ 42 h 91"/>
                <a:gd name="T16" fmla="*/ 60 w 90"/>
                <a:gd name="T17" fmla="*/ 48 h 91"/>
                <a:gd name="T18" fmla="*/ 58 w 90"/>
                <a:gd name="T19" fmla="*/ 53 h 91"/>
                <a:gd name="T20" fmla="*/ 54 w 90"/>
                <a:gd name="T21" fmla="*/ 57 h 91"/>
                <a:gd name="T22" fmla="*/ 48 w 90"/>
                <a:gd name="T23" fmla="*/ 60 h 91"/>
                <a:gd name="T24" fmla="*/ 42 w 90"/>
                <a:gd name="T25" fmla="*/ 60 h 91"/>
                <a:gd name="T26" fmla="*/ 36 w 90"/>
                <a:gd name="T27" fmla="*/ 57 h 91"/>
                <a:gd name="T28" fmla="*/ 32 w 90"/>
                <a:gd name="T29" fmla="*/ 53 h 91"/>
                <a:gd name="T30" fmla="*/ 30 w 90"/>
                <a:gd name="T31" fmla="*/ 48 h 91"/>
                <a:gd name="T32" fmla="*/ 30 w 90"/>
                <a:gd name="T33" fmla="*/ 45 h 91"/>
                <a:gd name="T34" fmla="*/ 89 w 90"/>
                <a:gd name="T35" fmla="*/ 36 h 91"/>
                <a:gd name="T36" fmla="*/ 83 w 90"/>
                <a:gd name="T37" fmla="*/ 20 h 91"/>
                <a:gd name="T38" fmla="*/ 70 w 90"/>
                <a:gd name="T39" fmla="*/ 8 h 91"/>
                <a:gd name="T40" fmla="*/ 54 w 90"/>
                <a:gd name="T41" fmla="*/ 1 h 91"/>
                <a:gd name="T42" fmla="*/ 35 w 90"/>
                <a:gd name="T43" fmla="*/ 1 h 91"/>
                <a:gd name="T44" fmla="*/ 19 w 90"/>
                <a:gd name="T45" fmla="*/ 8 h 91"/>
                <a:gd name="T46" fmla="*/ 8 w 90"/>
                <a:gd name="T47" fmla="*/ 20 h 91"/>
                <a:gd name="T48" fmla="*/ 1 w 90"/>
                <a:gd name="T49" fmla="*/ 36 h 91"/>
                <a:gd name="T50" fmla="*/ 1 w 90"/>
                <a:gd name="T51" fmla="*/ 54 h 91"/>
                <a:gd name="T52" fmla="*/ 8 w 90"/>
                <a:gd name="T53" fmla="*/ 70 h 91"/>
                <a:gd name="T54" fmla="*/ 19 w 90"/>
                <a:gd name="T55" fmla="*/ 82 h 91"/>
                <a:gd name="T56" fmla="*/ 35 w 90"/>
                <a:gd name="T57" fmla="*/ 89 h 91"/>
                <a:gd name="T58" fmla="*/ 54 w 90"/>
                <a:gd name="T59" fmla="*/ 89 h 91"/>
                <a:gd name="T60" fmla="*/ 70 w 90"/>
                <a:gd name="T61" fmla="*/ 82 h 91"/>
                <a:gd name="T62" fmla="*/ 83 w 90"/>
                <a:gd name="T63" fmla="*/ 70 h 91"/>
                <a:gd name="T64" fmla="*/ 89 w 90"/>
                <a:gd name="T65" fmla="*/ 54 h 91"/>
                <a:gd name="T66" fmla="*/ 90 w 90"/>
                <a:gd name="T67" fmla="*/ 45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90" h="91">
                  <a:moveTo>
                    <a:pt x="30" y="45"/>
                  </a:moveTo>
                  <a:lnTo>
                    <a:pt x="30" y="42"/>
                  </a:lnTo>
                  <a:lnTo>
                    <a:pt x="31" y="39"/>
                  </a:lnTo>
                  <a:lnTo>
                    <a:pt x="32" y="37"/>
                  </a:lnTo>
                  <a:lnTo>
                    <a:pt x="34" y="35"/>
                  </a:lnTo>
                  <a:lnTo>
                    <a:pt x="36" y="33"/>
                  </a:lnTo>
                  <a:lnTo>
                    <a:pt x="39" y="32"/>
                  </a:lnTo>
                  <a:lnTo>
                    <a:pt x="42" y="31"/>
                  </a:lnTo>
                  <a:lnTo>
                    <a:pt x="45" y="31"/>
                  </a:lnTo>
                  <a:lnTo>
                    <a:pt x="48" y="31"/>
                  </a:lnTo>
                  <a:lnTo>
                    <a:pt x="50" y="32"/>
                  </a:lnTo>
                  <a:lnTo>
                    <a:pt x="54" y="33"/>
                  </a:lnTo>
                  <a:lnTo>
                    <a:pt x="56" y="35"/>
                  </a:lnTo>
                  <a:lnTo>
                    <a:pt x="58" y="37"/>
                  </a:lnTo>
                  <a:lnTo>
                    <a:pt x="59" y="39"/>
                  </a:lnTo>
                  <a:lnTo>
                    <a:pt x="60" y="42"/>
                  </a:lnTo>
                  <a:lnTo>
                    <a:pt x="60" y="46"/>
                  </a:lnTo>
                  <a:lnTo>
                    <a:pt x="60" y="48"/>
                  </a:lnTo>
                  <a:lnTo>
                    <a:pt x="59" y="51"/>
                  </a:lnTo>
                  <a:lnTo>
                    <a:pt x="58" y="53"/>
                  </a:lnTo>
                  <a:lnTo>
                    <a:pt x="56" y="55"/>
                  </a:lnTo>
                  <a:lnTo>
                    <a:pt x="54" y="57"/>
                  </a:lnTo>
                  <a:lnTo>
                    <a:pt x="50" y="58"/>
                  </a:lnTo>
                  <a:lnTo>
                    <a:pt x="48" y="60"/>
                  </a:lnTo>
                  <a:lnTo>
                    <a:pt x="45" y="61"/>
                  </a:lnTo>
                  <a:lnTo>
                    <a:pt x="42" y="60"/>
                  </a:lnTo>
                  <a:lnTo>
                    <a:pt x="39" y="58"/>
                  </a:lnTo>
                  <a:lnTo>
                    <a:pt x="36" y="57"/>
                  </a:lnTo>
                  <a:lnTo>
                    <a:pt x="34" y="55"/>
                  </a:lnTo>
                  <a:lnTo>
                    <a:pt x="32" y="53"/>
                  </a:lnTo>
                  <a:lnTo>
                    <a:pt x="31" y="51"/>
                  </a:lnTo>
                  <a:lnTo>
                    <a:pt x="30" y="48"/>
                  </a:lnTo>
                  <a:lnTo>
                    <a:pt x="30" y="46"/>
                  </a:lnTo>
                  <a:lnTo>
                    <a:pt x="30" y="45"/>
                  </a:lnTo>
                  <a:close/>
                  <a:moveTo>
                    <a:pt x="90" y="45"/>
                  </a:moveTo>
                  <a:lnTo>
                    <a:pt x="89" y="36"/>
                  </a:lnTo>
                  <a:lnTo>
                    <a:pt x="87" y="27"/>
                  </a:lnTo>
                  <a:lnTo>
                    <a:pt x="83" y="20"/>
                  </a:lnTo>
                  <a:lnTo>
                    <a:pt x="77" y="13"/>
                  </a:lnTo>
                  <a:lnTo>
                    <a:pt x="70" y="8"/>
                  </a:lnTo>
                  <a:lnTo>
                    <a:pt x="62" y="4"/>
                  </a:lnTo>
                  <a:lnTo>
                    <a:pt x="54" y="1"/>
                  </a:lnTo>
                  <a:lnTo>
                    <a:pt x="45" y="0"/>
                  </a:lnTo>
                  <a:lnTo>
                    <a:pt x="35" y="1"/>
                  </a:lnTo>
                  <a:lnTo>
                    <a:pt x="28" y="4"/>
                  </a:lnTo>
                  <a:lnTo>
                    <a:pt x="19" y="8"/>
                  </a:lnTo>
                  <a:lnTo>
                    <a:pt x="13" y="13"/>
                  </a:lnTo>
                  <a:lnTo>
                    <a:pt x="8" y="20"/>
                  </a:lnTo>
                  <a:lnTo>
                    <a:pt x="3" y="27"/>
                  </a:lnTo>
                  <a:lnTo>
                    <a:pt x="1" y="36"/>
                  </a:lnTo>
                  <a:lnTo>
                    <a:pt x="0" y="46"/>
                  </a:lnTo>
                  <a:lnTo>
                    <a:pt x="1" y="54"/>
                  </a:lnTo>
                  <a:lnTo>
                    <a:pt x="3" y="63"/>
                  </a:lnTo>
                  <a:lnTo>
                    <a:pt x="8" y="70"/>
                  </a:lnTo>
                  <a:lnTo>
                    <a:pt x="13" y="77"/>
                  </a:lnTo>
                  <a:lnTo>
                    <a:pt x="19" y="82"/>
                  </a:lnTo>
                  <a:lnTo>
                    <a:pt x="28" y="86"/>
                  </a:lnTo>
                  <a:lnTo>
                    <a:pt x="35" y="89"/>
                  </a:lnTo>
                  <a:lnTo>
                    <a:pt x="45" y="91"/>
                  </a:lnTo>
                  <a:lnTo>
                    <a:pt x="54" y="89"/>
                  </a:lnTo>
                  <a:lnTo>
                    <a:pt x="62" y="86"/>
                  </a:lnTo>
                  <a:lnTo>
                    <a:pt x="70" y="82"/>
                  </a:lnTo>
                  <a:lnTo>
                    <a:pt x="77" y="77"/>
                  </a:lnTo>
                  <a:lnTo>
                    <a:pt x="83" y="70"/>
                  </a:lnTo>
                  <a:lnTo>
                    <a:pt x="87" y="63"/>
                  </a:lnTo>
                  <a:lnTo>
                    <a:pt x="89" y="54"/>
                  </a:lnTo>
                  <a:lnTo>
                    <a:pt x="90" y="46"/>
                  </a:lnTo>
                  <a:lnTo>
                    <a:pt x="90" y="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8" name="Freeform 190"/>
            <p:cNvSpPr>
              <a:spLocks noEditPoints="1"/>
            </p:cNvSpPr>
            <p:nvPr/>
          </p:nvSpPr>
          <p:spPr bwMode="auto">
            <a:xfrm>
              <a:off x="9929813" y="1401763"/>
              <a:ext cx="28575" cy="28575"/>
            </a:xfrm>
            <a:custGeom>
              <a:avLst/>
              <a:gdLst>
                <a:gd name="T0" fmla="*/ 59 w 90"/>
                <a:gd name="T1" fmla="*/ 48 h 90"/>
                <a:gd name="T2" fmla="*/ 57 w 90"/>
                <a:gd name="T3" fmla="*/ 53 h 90"/>
                <a:gd name="T4" fmla="*/ 54 w 90"/>
                <a:gd name="T5" fmla="*/ 57 h 90"/>
                <a:gd name="T6" fmla="*/ 48 w 90"/>
                <a:gd name="T7" fmla="*/ 60 h 90"/>
                <a:gd name="T8" fmla="*/ 42 w 90"/>
                <a:gd name="T9" fmla="*/ 60 h 90"/>
                <a:gd name="T10" fmla="*/ 36 w 90"/>
                <a:gd name="T11" fmla="*/ 57 h 90"/>
                <a:gd name="T12" fmla="*/ 32 w 90"/>
                <a:gd name="T13" fmla="*/ 53 h 90"/>
                <a:gd name="T14" fmla="*/ 30 w 90"/>
                <a:gd name="T15" fmla="*/ 48 h 90"/>
                <a:gd name="T16" fmla="*/ 30 w 90"/>
                <a:gd name="T17" fmla="*/ 41 h 90"/>
                <a:gd name="T18" fmla="*/ 32 w 90"/>
                <a:gd name="T19" fmla="*/ 36 h 90"/>
                <a:gd name="T20" fmla="*/ 36 w 90"/>
                <a:gd name="T21" fmla="*/ 32 h 90"/>
                <a:gd name="T22" fmla="*/ 42 w 90"/>
                <a:gd name="T23" fmla="*/ 30 h 90"/>
                <a:gd name="T24" fmla="*/ 48 w 90"/>
                <a:gd name="T25" fmla="*/ 30 h 90"/>
                <a:gd name="T26" fmla="*/ 54 w 90"/>
                <a:gd name="T27" fmla="*/ 32 h 90"/>
                <a:gd name="T28" fmla="*/ 57 w 90"/>
                <a:gd name="T29" fmla="*/ 36 h 90"/>
                <a:gd name="T30" fmla="*/ 59 w 90"/>
                <a:gd name="T31" fmla="*/ 41 h 90"/>
                <a:gd name="T32" fmla="*/ 60 w 90"/>
                <a:gd name="T33" fmla="*/ 45 h 90"/>
                <a:gd name="T34" fmla="*/ 0 w 90"/>
                <a:gd name="T35" fmla="*/ 54 h 90"/>
                <a:gd name="T36" fmla="*/ 8 w 90"/>
                <a:gd name="T37" fmla="*/ 70 h 90"/>
                <a:gd name="T38" fmla="*/ 19 w 90"/>
                <a:gd name="T39" fmla="*/ 82 h 90"/>
                <a:gd name="T40" fmla="*/ 35 w 90"/>
                <a:gd name="T41" fmla="*/ 88 h 90"/>
                <a:gd name="T42" fmla="*/ 54 w 90"/>
                <a:gd name="T43" fmla="*/ 88 h 90"/>
                <a:gd name="T44" fmla="*/ 70 w 90"/>
                <a:gd name="T45" fmla="*/ 82 h 90"/>
                <a:gd name="T46" fmla="*/ 83 w 90"/>
                <a:gd name="T47" fmla="*/ 70 h 90"/>
                <a:gd name="T48" fmla="*/ 89 w 90"/>
                <a:gd name="T49" fmla="*/ 54 h 90"/>
                <a:gd name="T50" fmla="*/ 89 w 90"/>
                <a:gd name="T51" fmla="*/ 36 h 90"/>
                <a:gd name="T52" fmla="*/ 83 w 90"/>
                <a:gd name="T53" fmla="*/ 20 h 90"/>
                <a:gd name="T54" fmla="*/ 70 w 90"/>
                <a:gd name="T55" fmla="*/ 7 h 90"/>
                <a:gd name="T56" fmla="*/ 54 w 90"/>
                <a:gd name="T57" fmla="*/ 1 h 90"/>
                <a:gd name="T58" fmla="*/ 35 w 90"/>
                <a:gd name="T59" fmla="*/ 1 h 90"/>
                <a:gd name="T60" fmla="*/ 19 w 90"/>
                <a:gd name="T61" fmla="*/ 7 h 90"/>
                <a:gd name="T62" fmla="*/ 8 w 90"/>
                <a:gd name="T63" fmla="*/ 20 h 90"/>
                <a:gd name="T64" fmla="*/ 0 w 90"/>
                <a:gd name="T65" fmla="*/ 36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90" h="90">
                  <a:moveTo>
                    <a:pt x="60" y="45"/>
                  </a:moveTo>
                  <a:lnTo>
                    <a:pt x="59" y="48"/>
                  </a:lnTo>
                  <a:lnTo>
                    <a:pt x="59" y="51"/>
                  </a:lnTo>
                  <a:lnTo>
                    <a:pt x="57" y="53"/>
                  </a:lnTo>
                  <a:lnTo>
                    <a:pt x="56" y="55"/>
                  </a:lnTo>
                  <a:lnTo>
                    <a:pt x="54" y="57"/>
                  </a:lnTo>
                  <a:lnTo>
                    <a:pt x="50" y="58"/>
                  </a:lnTo>
                  <a:lnTo>
                    <a:pt x="48" y="60"/>
                  </a:lnTo>
                  <a:lnTo>
                    <a:pt x="45" y="60"/>
                  </a:lnTo>
                  <a:lnTo>
                    <a:pt x="42" y="60"/>
                  </a:lnTo>
                  <a:lnTo>
                    <a:pt x="39" y="58"/>
                  </a:lnTo>
                  <a:lnTo>
                    <a:pt x="36" y="57"/>
                  </a:lnTo>
                  <a:lnTo>
                    <a:pt x="34" y="55"/>
                  </a:lnTo>
                  <a:lnTo>
                    <a:pt x="32" y="53"/>
                  </a:lnTo>
                  <a:lnTo>
                    <a:pt x="31" y="51"/>
                  </a:lnTo>
                  <a:lnTo>
                    <a:pt x="30" y="48"/>
                  </a:lnTo>
                  <a:lnTo>
                    <a:pt x="30" y="45"/>
                  </a:lnTo>
                  <a:lnTo>
                    <a:pt x="30" y="41"/>
                  </a:lnTo>
                  <a:lnTo>
                    <a:pt x="31" y="39"/>
                  </a:lnTo>
                  <a:lnTo>
                    <a:pt x="32" y="36"/>
                  </a:lnTo>
                  <a:lnTo>
                    <a:pt x="34" y="34"/>
                  </a:lnTo>
                  <a:lnTo>
                    <a:pt x="36" y="32"/>
                  </a:lnTo>
                  <a:lnTo>
                    <a:pt x="39" y="31"/>
                  </a:lnTo>
                  <a:lnTo>
                    <a:pt x="42" y="30"/>
                  </a:lnTo>
                  <a:lnTo>
                    <a:pt x="45" y="30"/>
                  </a:lnTo>
                  <a:lnTo>
                    <a:pt x="48" y="30"/>
                  </a:lnTo>
                  <a:lnTo>
                    <a:pt x="50" y="31"/>
                  </a:lnTo>
                  <a:lnTo>
                    <a:pt x="54" y="32"/>
                  </a:lnTo>
                  <a:lnTo>
                    <a:pt x="56" y="34"/>
                  </a:lnTo>
                  <a:lnTo>
                    <a:pt x="57" y="36"/>
                  </a:lnTo>
                  <a:lnTo>
                    <a:pt x="59" y="39"/>
                  </a:lnTo>
                  <a:lnTo>
                    <a:pt x="59" y="41"/>
                  </a:lnTo>
                  <a:lnTo>
                    <a:pt x="60" y="45"/>
                  </a:lnTo>
                  <a:lnTo>
                    <a:pt x="60" y="45"/>
                  </a:lnTo>
                  <a:close/>
                  <a:moveTo>
                    <a:pt x="0" y="45"/>
                  </a:moveTo>
                  <a:lnTo>
                    <a:pt x="0" y="54"/>
                  </a:lnTo>
                  <a:lnTo>
                    <a:pt x="3" y="62"/>
                  </a:lnTo>
                  <a:lnTo>
                    <a:pt x="8" y="70"/>
                  </a:lnTo>
                  <a:lnTo>
                    <a:pt x="13" y="77"/>
                  </a:lnTo>
                  <a:lnTo>
                    <a:pt x="19" y="82"/>
                  </a:lnTo>
                  <a:lnTo>
                    <a:pt x="27" y="86"/>
                  </a:lnTo>
                  <a:lnTo>
                    <a:pt x="35" y="88"/>
                  </a:lnTo>
                  <a:lnTo>
                    <a:pt x="45" y="90"/>
                  </a:lnTo>
                  <a:lnTo>
                    <a:pt x="54" y="88"/>
                  </a:lnTo>
                  <a:lnTo>
                    <a:pt x="62" y="86"/>
                  </a:lnTo>
                  <a:lnTo>
                    <a:pt x="70" y="82"/>
                  </a:lnTo>
                  <a:lnTo>
                    <a:pt x="76" y="77"/>
                  </a:lnTo>
                  <a:lnTo>
                    <a:pt x="83" y="70"/>
                  </a:lnTo>
                  <a:lnTo>
                    <a:pt x="87" y="62"/>
                  </a:lnTo>
                  <a:lnTo>
                    <a:pt x="89" y="54"/>
                  </a:lnTo>
                  <a:lnTo>
                    <a:pt x="90" y="45"/>
                  </a:lnTo>
                  <a:lnTo>
                    <a:pt x="89" y="36"/>
                  </a:lnTo>
                  <a:lnTo>
                    <a:pt x="87" y="27"/>
                  </a:lnTo>
                  <a:lnTo>
                    <a:pt x="83" y="20"/>
                  </a:lnTo>
                  <a:lnTo>
                    <a:pt x="76" y="12"/>
                  </a:lnTo>
                  <a:lnTo>
                    <a:pt x="70" y="7"/>
                  </a:lnTo>
                  <a:lnTo>
                    <a:pt x="62" y="3"/>
                  </a:lnTo>
                  <a:lnTo>
                    <a:pt x="54" y="1"/>
                  </a:lnTo>
                  <a:lnTo>
                    <a:pt x="45" y="0"/>
                  </a:lnTo>
                  <a:lnTo>
                    <a:pt x="35" y="1"/>
                  </a:lnTo>
                  <a:lnTo>
                    <a:pt x="27" y="3"/>
                  </a:lnTo>
                  <a:lnTo>
                    <a:pt x="19" y="7"/>
                  </a:lnTo>
                  <a:lnTo>
                    <a:pt x="13" y="12"/>
                  </a:lnTo>
                  <a:lnTo>
                    <a:pt x="8" y="20"/>
                  </a:lnTo>
                  <a:lnTo>
                    <a:pt x="3" y="27"/>
                  </a:lnTo>
                  <a:lnTo>
                    <a:pt x="0" y="36"/>
                  </a:lnTo>
                  <a:lnTo>
                    <a:pt x="0" y="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9" name="Freeform 191"/>
            <p:cNvSpPr>
              <a:spLocks/>
            </p:cNvSpPr>
            <p:nvPr/>
          </p:nvSpPr>
          <p:spPr bwMode="auto">
            <a:xfrm>
              <a:off x="9901238" y="1373188"/>
              <a:ext cx="247650" cy="142875"/>
            </a:xfrm>
            <a:custGeom>
              <a:avLst/>
              <a:gdLst>
                <a:gd name="T0" fmla="*/ 498 w 782"/>
                <a:gd name="T1" fmla="*/ 441 h 451"/>
                <a:gd name="T2" fmla="*/ 503 w 782"/>
                <a:gd name="T3" fmla="*/ 447 h 451"/>
                <a:gd name="T4" fmla="*/ 512 w 782"/>
                <a:gd name="T5" fmla="*/ 451 h 451"/>
                <a:gd name="T6" fmla="*/ 710 w 782"/>
                <a:gd name="T7" fmla="*/ 448 h 451"/>
                <a:gd name="T8" fmla="*/ 735 w 782"/>
                <a:gd name="T9" fmla="*/ 440 h 451"/>
                <a:gd name="T10" fmla="*/ 756 w 782"/>
                <a:gd name="T11" fmla="*/ 424 h 451"/>
                <a:gd name="T12" fmla="*/ 771 w 782"/>
                <a:gd name="T13" fmla="*/ 403 h 451"/>
                <a:gd name="T14" fmla="*/ 781 w 782"/>
                <a:gd name="T15" fmla="*/ 379 h 451"/>
                <a:gd name="T16" fmla="*/ 782 w 782"/>
                <a:gd name="T17" fmla="*/ 90 h 451"/>
                <a:gd name="T18" fmla="*/ 779 w 782"/>
                <a:gd name="T19" fmla="*/ 63 h 451"/>
                <a:gd name="T20" fmla="*/ 767 w 782"/>
                <a:gd name="T21" fmla="*/ 39 h 451"/>
                <a:gd name="T22" fmla="*/ 750 w 782"/>
                <a:gd name="T23" fmla="*/ 20 h 451"/>
                <a:gd name="T24" fmla="*/ 727 w 782"/>
                <a:gd name="T25" fmla="*/ 6 h 451"/>
                <a:gd name="T26" fmla="*/ 702 w 782"/>
                <a:gd name="T27" fmla="*/ 0 h 451"/>
                <a:gd name="T28" fmla="*/ 81 w 782"/>
                <a:gd name="T29" fmla="*/ 0 h 451"/>
                <a:gd name="T30" fmla="*/ 56 w 782"/>
                <a:gd name="T31" fmla="*/ 6 h 451"/>
                <a:gd name="T32" fmla="*/ 33 w 782"/>
                <a:gd name="T33" fmla="*/ 20 h 451"/>
                <a:gd name="T34" fmla="*/ 16 w 782"/>
                <a:gd name="T35" fmla="*/ 39 h 451"/>
                <a:gd name="T36" fmla="*/ 4 w 782"/>
                <a:gd name="T37" fmla="*/ 63 h 451"/>
                <a:gd name="T38" fmla="*/ 0 w 782"/>
                <a:gd name="T39" fmla="*/ 90 h 451"/>
                <a:gd name="T40" fmla="*/ 2 w 782"/>
                <a:gd name="T41" fmla="*/ 291 h 451"/>
                <a:gd name="T42" fmla="*/ 7 w 782"/>
                <a:gd name="T43" fmla="*/ 297 h 451"/>
                <a:gd name="T44" fmla="*/ 15 w 782"/>
                <a:gd name="T45" fmla="*/ 301 h 451"/>
                <a:gd name="T46" fmla="*/ 24 w 782"/>
                <a:gd name="T47" fmla="*/ 297 h 451"/>
                <a:gd name="T48" fmla="*/ 29 w 782"/>
                <a:gd name="T49" fmla="*/ 291 h 451"/>
                <a:gd name="T50" fmla="*/ 30 w 782"/>
                <a:gd name="T51" fmla="*/ 90 h 451"/>
                <a:gd name="T52" fmla="*/ 33 w 782"/>
                <a:gd name="T53" fmla="*/ 71 h 451"/>
                <a:gd name="T54" fmla="*/ 41 w 782"/>
                <a:gd name="T55" fmla="*/ 55 h 451"/>
                <a:gd name="T56" fmla="*/ 52 w 782"/>
                <a:gd name="T57" fmla="*/ 43 h 451"/>
                <a:gd name="T58" fmla="*/ 67 w 782"/>
                <a:gd name="T59" fmla="*/ 34 h 451"/>
                <a:gd name="T60" fmla="*/ 85 w 782"/>
                <a:gd name="T61" fmla="*/ 30 h 451"/>
                <a:gd name="T62" fmla="*/ 698 w 782"/>
                <a:gd name="T63" fmla="*/ 30 h 451"/>
                <a:gd name="T64" fmla="*/ 716 w 782"/>
                <a:gd name="T65" fmla="*/ 34 h 451"/>
                <a:gd name="T66" fmla="*/ 731 w 782"/>
                <a:gd name="T67" fmla="*/ 43 h 451"/>
                <a:gd name="T68" fmla="*/ 742 w 782"/>
                <a:gd name="T69" fmla="*/ 55 h 451"/>
                <a:gd name="T70" fmla="*/ 750 w 782"/>
                <a:gd name="T71" fmla="*/ 71 h 451"/>
                <a:gd name="T72" fmla="*/ 752 w 782"/>
                <a:gd name="T73" fmla="*/ 90 h 451"/>
                <a:gd name="T74" fmla="*/ 751 w 782"/>
                <a:gd name="T75" fmla="*/ 372 h 451"/>
                <a:gd name="T76" fmla="*/ 744 w 782"/>
                <a:gd name="T77" fmla="*/ 389 h 451"/>
                <a:gd name="T78" fmla="*/ 735 w 782"/>
                <a:gd name="T79" fmla="*/ 403 h 451"/>
                <a:gd name="T80" fmla="*/ 721 w 782"/>
                <a:gd name="T81" fmla="*/ 413 h 451"/>
                <a:gd name="T82" fmla="*/ 704 w 782"/>
                <a:gd name="T83" fmla="*/ 419 h 451"/>
                <a:gd name="T84" fmla="*/ 512 w 782"/>
                <a:gd name="T85" fmla="*/ 421 h 451"/>
                <a:gd name="T86" fmla="*/ 503 w 782"/>
                <a:gd name="T87" fmla="*/ 423 h 451"/>
                <a:gd name="T88" fmla="*/ 498 w 782"/>
                <a:gd name="T89" fmla="*/ 429 h 451"/>
                <a:gd name="T90" fmla="*/ 497 w 782"/>
                <a:gd name="T91" fmla="*/ 436 h 4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782" h="451">
                  <a:moveTo>
                    <a:pt x="497" y="436"/>
                  </a:moveTo>
                  <a:lnTo>
                    <a:pt x="497" y="439"/>
                  </a:lnTo>
                  <a:lnTo>
                    <a:pt x="498" y="441"/>
                  </a:lnTo>
                  <a:lnTo>
                    <a:pt x="499" y="444"/>
                  </a:lnTo>
                  <a:lnTo>
                    <a:pt x="501" y="446"/>
                  </a:lnTo>
                  <a:lnTo>
                    <a:pt x="503" y="447"/>
                  </a:lnTo>
                  <a:lnTo>
                    <a:pt x="506" y="449"/>
                  </a:lnTo>
                  <a:lnTo>
                    <a:pt x="509" y="451"/>
                  </a:lnTo>
                  <a:lnTo>
                    <a:pt x="512" y="451"/>
                  </a:lnTo>
                  <a:lnTo>
                    <a:pt x="692" y="451"/>
                  </a:lnTo>
                  <a:lnTo>
                    <a:pt x="702" y="449"/>
                  </a:lnTo>
                  <a:lnTo>
                    <a:pt x="710" y="448"/>
                  </a:lnTo>
                  <a:lnTo>
                    <a:pt x="719" y="446"/>
                  </a:lnTo>
                  <a:lnTo>
                    <a:pt x="727" y="443"/>
                  </a:lnTo>
                  <a:lnTo>
                    <a:pt x="735" y="440"/>
                  </a:lnTo>
                  <a:lnTo>
                    <a:pt x="742" y="436"/>
                  </a:lnTo>
                  <a:lnTo>
                    <a:pt x="750" y="430"/>
                  </a:lnTo>
                  <a:lnTo>
                    <a:pt x="756" y="424"/>
                  </a:lnTo>
                  <a:lnTo>
                    <a:pt x="762" y="417"/>
                  </a:lnTo>
                  <a:lnTo>
                    <a:pt x="767" y="411"/>
                  </a:lnTo>
                  <a:lnTo>
                    <a:pt x="771" y="403"/>
                  </a:lnTo>
                  <a:lnTo>
                    <a:pt x="776" y="396"/>
                  </a:lnTo>
                  <a:lnTo>
                    <a:pt x="779" y="387"/>
                  </a:lnTo>
                  <a:lnTo>
                    <a:pt x="781" y="379"/>
                  </a:lnTo>
                  <a:lnTo>
                    <a:pt x="782" y="369"/>
                  </a:lnTo>
                  <a:lnTo>
                    <a:pt x="782" y="361"/>
                  </a:lnTo>
                  <a:lnTo>
                    <a:pt x="782" y="90"/>
                  </a:lnTo>
                  <a:lnTo>
                    <a:pt x="782" y="80"/>
                  </a:lnTo>
                  <a:lnTo>
                    <a:pt x="781" y="71"/>
                  </a:lnTo>
                  <a:lnTo>
                    <a:pt x="779" y="63"/>
                  </a:lnTo>
                  <a:lnTo>
                    <a:pt x="776" y="54"/>
                  </a:lnTo>
                  <a:lnTo>
                    <a:pt x="771" y="47"/>
                  </a:lnTo>
                  <a:lnTo>
                    <a:pt x="767" y="39"/>
                  </a:lnTo>
                  <a:lnTo>
                    <a:pt x="762" y="32"/>
                  </a:lnTo>
                  <a:lnTo>
                    <a:pt x="756" y="25"/>
                  </a:lnTo>
                  <a:lnTo>
                    <a:pt x="750" y="20"/>
                  </a:lnTo>
                  <a:lnTo>
                    <a:pt x="742" y="15"/>
                  </a:lnTo>
                  <a:lnTo>
                    <a:pt x="735" y="10"/>
                  </a:lnTo>
                  <a:lnTo>
                    <a:pt x="727" y="6"/>
                  </a:lnTo>
                  <a:lnTo>
                    <a:pt x="719" y="4"/>
                  </a:lnTo>
                  <a:lnTo>
                    <a:pt x="710" y="1"/>
                  </a:lnTo>
                  <a:lnTo>
                    <a:pt x="702" y="0"/>
                  </a:lnTo>
                  <a:lnTo>
                    <a:pt x="692" y="0"/>
                  </a:lnTo>
                  <a:lnTo>
                    <a:pt x="91" y="0"/>
                  </a:lnTo>
                  <a:lnTo>
                    <a:pt x="81" y="0"/>
                  </a:lnTo>
                  <a:lnTo>
                    <a:pt x="72" y="1"/>
                  </a:lnTo>
                  <a:lnTo>
                    <a:pt x="63" y="4"/>
                  </a:lnTo>
                  <a:lnTo>
                    <a:pt x="56" y="6"/>
                  </a:lnTo>
                  <a:lnTo>
                    <a:pt x="47" y="10"/>
                  </a:lnTo>
                  <a:lnTo>
                    <a:pt x="40" y="15"/>
                  </a:lnTo>
                  <a:lnTo>
                    <a:pt x="33" y="20"/>
                  </a:lnTo>
                  <a:lnTo>
                    <a:pt x="27" y="25"/>
                  </a:lnTo>
                  <a:lnTo>
                    <a:pt x="20" y="32"/>
                  </a:lnTo>
                  <a:lnTo>
                    <a:pt x="16" y="39"/>
                  </a:lnTo>
                  <a:lnTo>
                    <a:pt x="11" y="47"/>
                  </a:lnTo>
                  <a:lnTo>
                    <a:pt x="7" y="54"/>
                  </a:lnTo>
                  <a:lnTo>
                    <a:pt x="4" y="63"/>
                  </a:lnTo>
                  <a:lnTo>
                    <a:pt x="2" y="71"/>
                  </a:lnTo>
                  <a:lnTo>
                    <a:pt x="1" y="80"/>
                  </a:lnTo>
                  <a:lnTo>
                    <a:pt x="0" y="90"/>
                  </a:lnTo>
                  <a:lnTo>
                    <a:pt x="0" y="285"/>
                  </a:lnTo>
                  <a:lnTo>
                    <a:pt x="1" y="288"/>
                  </a:lnTo>
                  <a:lnTo>
                    <a:pt x="2" y="291"/>
                  </a:lnTo>
                  <a:lnTo>
                    <a:pt x="3" y="293"/>
                  </a:lnTo>
                  <a:lnTo>
                    <a:pt x="5" y="295"/>
                  </a:lnTo>
                  <a:lnTo>
                    <a:pt x="7" y="297"/>
                  </a:lnTo>
                  <a:lnTo>
                    <a:pt x="10" y="298"/>
                  </a:lnTo>
                  <a:lnTo>
                    <a:pt x="13" y="300"/>
                  </a:lnTo>
                  <a:lnTo>
                    <a:pt x="15" y="301"/>
                  </a:lnTo>
                  <a:lnTo>
                    <a:pt x="18" y="300"/>
                  </a:lnTo>
                  <a:lnTo>
                    <a:pt x="21" y="298"/>
                  </a:lnTo>
                  <a:lnTo>
                    <a:pt x="24" y="297"/>
                  </a:lnTo>
                  <a:lnTo>
                    <a:pt x="26" y="295"/>
                  </a:lnTo>
                  <a:lnTo>
                    <a:pt x="28" y="293"/>
                  </a:lnTo>
                  <a:lnTo>
                    <a:pt x="29" y="291"/>
                  </a:lnTo>
                  <a:lnTo>
                    <a:pt x="30" y="288"/>
                  </a:lnTo>
                  <a:lnTo>
                    <a:pt x="30" y="285"/>
                  </a:lnTo>
                  <a:lnTo>
                    <a:pt x="30" y="90"/>
                  </a:lnTo>
                  <a:lnTo>
                    <a:pt x="31" y="83"/>
                  </a:lnTo>
                  <a:lnTo>
                    <a:pt x="32" y="78"/>
                  </a:lnTo>
                  <a:lnTo>
                    <a:pt x="33" y="71"/>
                  </a:lnTo>
                  <a:lnTo>
                    <a:pt x="35" y="66"/>
                  </a:lnTo>
                  <a:lnTo>
                    <a:pt x="37" y="61"/>
                  </a:lnTo>
                  <a:lnTo>
                    <a:pt x="41" y="55"/>
                  </a:lnTo>
                  <a:lnTo>
                    <a:pt x="44" y="51"/>
                  </a:lnTo>
                  <a:lnTo>
                    <a:pt x="48" y="47"/>
                  </a:lnTo>
                  <a:lnTo>
                    <a:pt x="52" y="43"/>
                  </a:lnTo>
                  <a:lnTo>
                    <a:pt x="57" y="39"/>
                  </a:lnTo>
                  <a:lnTo>
                    <a:pt x="62" y="37"/>
                  </a:lnTo>
                  <a:lnTo>
                    <a:pt x="67" y="34"/>
                  </a:lnTo>
                  <a:lnTo>
                    <a:pt x="73" y="32"/>
                  </a:lnTo>
                  <a:lnTo>
                    <a:pt x="78" y="31"/>
                  </a:lnTo>
                  <a:lnTo>
                    <a:pt x="85" y="30"/>
                  </a:lnTo>
                  <a:lnTo>
                    <a:pt x="91" y="30"/>
                  </a:lnTo>
                  <a:lnTo>
                    <a:pt x="692" y="30"/>
                  </a:lnTo>
                  <a:lnTo>
                    <a:pt x="698" y="30"/>
                  </a:lnTo>
                  <a:lnTo>
                    <a:pt x="704" y="31"/>
                  </a:lnTo>
                  <a:lnTo>
                    <a:pt x="710" y="32"/>
                  </a:lnTo>
                  <a:lnTo>
                    <a:pt x="716" y="34"/>
                  </a:lnTo>
                  <a:lnTo>
                    <a:pt x="721" y="37"/>
                  </a:lnTo>
                  <a:lnTo>
                    <a:pt x="726" y="39"/>
                  </a:lnTo>
                  <a:lnTo>
                    <a:pt x="731" y="43"/>
                  </a:lnTo>
                  <a:lnTo>
                    <a:pt x="735" y="47"/>
                  </a:lnTo>
                  <a:lnTo>
                    <a:pt x="738" y="51"/>
                  </a:lnTo>
                  <a:lnTo>
                    <a:pt x="742" y="55"/>
                  </a:lnTo>
                  <a:lnTo>
                    <a:pt x="744" y="61"/>
                  </a:lnTo>
                  <a:lnTo>
                    <a:pt x="748" y="66"/>
                  </a:lnTo>
                  <a:lnTo>
                    <a:pt x="750" y="71"/>
                  </a:lnTo>
                  <a:lnTo>
                    <a:pt x="751" y="78"/>
                  </a:lnTo>
                  <a:lnTo>
                    <a:pt x="752" y="83"/>
                  </a:lnTo>
                  <a:lnTo>
                    <a:pt x="752" y="90"/>
                  </a:lnTo>
                  <a:lnTo>
                    <a:pt x="752" y="361"/>
                  </a:lnTo>
                  <a:lnTo>
                    <a:pt x="752" y="366"/>
                  </a:lnTo>
                  <a:lnTo>
                    <a:pt x="751" y="372"/>
                  </a:lnTo>
                  <a:lnTo>
                    <a:pt x="750" y="379"/>
                  </a:lnTo>
                  <a:lnTo>
                    <a:pt x="748" y="384"/>
                  </a:lnTo>
                  <a:lnTo>
                    <a:pt x="744" y="389"/>
                  </a:lnTo>
                  <a:lnTo>
                    <a:pt x="742" y="394"/>
                  </a:lnTo>
                  <a:lnTo>
                    <a:pt x="738" y="399"/>
                  </a:lnTo>
                  <a:lnTo>
                    <a:pt x="735" y="403"/>
                  </a:lnTo>
                  <a:lnTo>
                    <a:pt x="731" y="407"/>
                  </a:lnTo>
                  <a:lnTo>
                    <a:pt x="726" y="410"/>
                  </a:lnTo>
                  <a:lnTo>
                    <a:pt x="721" y="413"/>
                  </a:lnTo>
                  <a:lnTo>
                    <a:pt x="716" y="415"/>
                  </a:lnTo>
                  <a:lnTo>
                    <a:pt x="710" y="417"/>
                  </a:lnTo>
                  <a:lnTo>
                    <a:pt x="704" y="419"/>
                  </a:lnTo>
                  <a:lnTo>
                    <a:pt x="698" y="421"/>
                  </a:lnTo>
                  <a:lnTo>
                    <a:pt x="692" y="421"/>
                  </a:lnTo>
                  <a:lnTo>
                    <a:pt x="512" y="421"/>
                  </a:lnTo>
                  <a:lnTo>
                    <a:pt x="509" y="421"/>
                  </a:lnTo>
                  <a:lnTo>
                    <a:pt x="506" y="422"/>
                  </a:lnTo>
                  <a:lnTo>
                    <a:pt x="503" y="423"/>
                  </a:lnTo>
                  <a:lnTo>
                    <a:pt x="501" y="425"/>
                  </a:lnTo>
                  <a:lnTo>
                    <a:pt x="499" y="427"/>
                  </a:lnTo>
                  <a:lnTo>
                    <a:pt x="498" y="429"/>
                  </a:lnTo>
                  <a:lnTo>
                    <a:pt x="497" y="432"/>
                  </a:lnTo>
                  <a:lnTo>
                    <a:pt x="497" y="436"/>
                  </a:lnTo>
                  <a:lnTo>
                    <a:pt x="497" y="4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320" name="Group 319"/>
          <p:cNvGrpSpPr/>
          <p:nvPr/>
        </p:nvGrpSpPr>
        <p:grpSpPr>
          <a:xfrm>
            <a:off x="5808574" y="3478515"/>
            <a:ext cx="574852" cy="405594"/>
            <a:chOff x="8164513" y="2584450"/>
            <a:chExt cx="285750" cy="201613"/>
          </a:xfrm>
        </p:grpSpPr>
        <p:sp>
          <p:nvSpPr>
            <p:cNvPr id="321" name="Freeform 106"/>
            <p:cNvSpPr>
              <a:spLocks noEditPoints="1"/>
            </p:cNvSpPr>
            <p:nvPr/>
          </p:nvSpPr>
          <p:spPr bwMode="auto">
            <a:xfrm>
              <a:off x="8164513" y="2584450"/>
              <a:ext cx="285750" cy="201613"/>
            </a:xfrm>
            <a:custGeom>
              <a:avLst/>
              <a:gdLst>
                <a:gd name="T0" fmla="*/ 806 w 902"/>
                <a:gd name="T1" fmla="*/ 508 h 631"/>
                <a:gd name="T2" fmla="*/ 872 w 902"/>
                <a:gd name="T3" fmla="*/ 481 h 631"/>
                <a:gd name="T4" fmla="*/ 709 w 902"/>
                <a:gd name="T5" fmla="*/ 600 h 631"/>
                <a:gd name="T6" fmla="*/ 683 w 902"/>
                <a:gd name="T7" fmla="*/ 587 h 631"/>
                <a:gd name="T8" fmla="*/ 666 w 902"/>
                <a:gd name="T9" fmla="*/ 565 h 631"/>
                <a:gd name="T10" fmla="*/ 661 w 902"/>
                <a:gd name="T11" fmla="*/ 535 h 631"/>
                <a:gd name="T12" fmla="*/ 672 w 902"/>
                <a:gd name="T13" fmla="*/ 508 h 631"/>
                <a:gd name="T14" fmla="*/ 693 w 902"/>
                <a:gd name="T15" fmla="*/ 489 h 631"/>
                <a:gd name="T16" fmla="*/ 721 w 902"/>
                <a:gd name="T17" fmla="*/ 481 h 631"/>
                <a:gd name="T18" fmla="*/ 750 w 902"/>
                <a:gd name="T19" fmla="*/ 489 h 631"/>
                <a:gd name="T20" fmla="*/ 771 w 902"/>
                <a:gd name="T21" fmla="*/ 508 h 631"/>
                <a:gd name="T22" fmla="*/ 781 w 902"/>
                <a:gd name="T23" fmla="*/ 535 h 631"/>
                <a:gd name="T24" fmla="*/ 777 w 902"/>
                <a:gd name="T25" fmla="*/ 565 h 631"/>
                <a:gd name="T26" fmla="*/ 760 w 902"/>
                <a:gd name="T27" fmla="*/ 587 h 631"/>
                <a:gd name="T28" fmla="*/ 734 w 902"/>
                <a:gd name="T29" fmla="*/ 600 h 631"/>
                <a:gd name="T30" fmla="*/ 269 w 902"/>
                <a:gd name="T31" fmla="*/ 524 h 631"/>
                <a:gd name="T32" fmla="*/ 252 w 902"/>
                <a:gd name="T33" fmla="*/ 488 h 631"/>
                <a:gd name="T34" fmla="*/ 641 w 902"/>
                <a:gd name="T35" fmla="*/ 501 h 631"/>
                <a:gd name="T36" fmla="*/ 631 w 902"/>
                <a:gd name="T37" fmla="*/ 541 h 631"/>
                <a:gd name="T38" fmla="*/ 162 w 902"/>
                <a:gd name="T39" fmla="*/ 599 h 631"/>
                <a:gd name="T40" fmla="*/ 137 w 902"/>
                <a:gd name="T41" fmla="*/ 584 h 631"/>
                <a:gd name="T42" fmla="*/ 122 w 902"/>
                <a:gd name="T43" fmla="*/ 560 h 631"/>
                <a:gd name="T44" fmla="*/ 121 w 902"/>
                <a:gd name="T45" fmla="*/ 530 h 631"/>
                <a:gd name="T46" fmla="*/ 134 w 902"/>
                <a:gd name="T47" fmla="*/ 503 h 631"/>
                <a:gd name="T48" fmla="*/ 156 w 902"/>
                <a:gd name="T49" fmla="*/ 486 h 631"/>
                <a:gd name="T50" fmla="*/ 186 w 902"/>
                <a:gd name="T51" fmla="*/ 481 h 631"/>
                <a:gd name="T52" fmla="*/ 213 w 902"/>
                <a:gd name="T53" fmla="*/ 491 h 631"/>
                <a:gd name="T54" fmla="*/ 232 w 902"/>
                <a:gd name="T55" fmla="*/ 512 h 631"/>
                <a:gd name="T56" fmla="*/ 240 w 902"/>
                <a:gd name="T57" fmla="*/ 541 h 631"/>
                <a:gd name="T58" fmla="*/ 232 w 902"/>
                <a:gd name="T59" fmla="*/ 570 h 631"/>
                <a:gd name="T60" fmla="*/ 213 w 902"/>
                <a:gd name="T61" fmla="*/ 591 h 631"/>
                <a:gd name="T62" fmla="*/ 186 w 902"/>
                <a:gd name="T63" fmla="*/ 601 h 631"/>
                <a:gd name="T64" fmla="*/ 108 w 902"/>
                <a:gd name="T65" fmla="*/ 488 h 631"/>
                <a:gd name="T66" fmla="*/ 91 w 902"/>
                <a:gd name="T67" fmla="*/ 524 h 631"/>
                <a:gd name="T68" fmla="*/ 117 w 902"/>
                <a:gd name="T69" fmla="*/ 265 h 631"/>
                <a:gd name="T70" fmla="*/ 30 w 902"/>
                <a:gd name="T71" fmla="*/ 451 h 631"/>
                <a:gd name="T72" fmla="*/ 872 w 902"/>
                <a:gd name="T73" fmla="*/ 451 h 631"/>
                <a:gd name="T74" fmla="*/ 887 w 902"/>
                <a:gd name="T75" fmla="*/ 0 h 631"/>
                <a:gd name="T76" fmla="*/ 365 w 902"/>
                <a:gd name="T77" fmla="*/ 5 h 631"/>
                <a:gd name="T78" fmla="*/ 361 w 902"/>
                <a:gd name="T79" fmla="*/ 90 h 631"/>
                <a:gd name="T80" fmla="*/ 182 w 902"/>
                <a:gd name="T81" fmla="*/ 98 h 631"/>
                <a:gd name="T82" fmla="*/ 0 w 902"/>
                <a:gd name="T83" fmla="*/ 327 h 631"/>
                <a:gd name="T84" fmla="*/ 2 w 902"/>
                <a:gd name="T85" fmla="*/ 565 h 631"/>
                <a:gd name="T86" fmla="*/ 15 w 902"/>
                <a:gd name="T87" fmla="*/ 571 h 631"/>
                <a:gd name="T88" fmla="*/ 128 w 902"/>
                <a:gd name="T89" fmla="*/ 614 h 631"/>
                <a:gd name="T90" fmla="*/ 172 w 902"/>
                <a:gd name="T91" fmla="*/ 631 h 631"/>
                <a:gd name="T92" fmla="*/ 208 w 902"/>
                <a:gd name="T93" fmla="*/ 627 h 631"/>
                <a:gd name="T94" fmla="*/ 259 w 902"/>
                <a:gd name="T95" fmla="*/ 584 h 631"/>
                <a:gd name="T96" fmla="*/ 659 w 902"/>
                <a:gd name="T97" fmla="*/ 606 h 631"/>
                <a:gd name="T98" fmla="*/ 707 w 902"/>
                <a:gd name="T99" fmla="*/ 630 h 631"/>
                <a:gd name="T100" fmla="*/ 742 w 902"/>
                <a:gd name="T101" fmla="*/ 629 h 631"/>
                <a:gd name="T102" fmla="*/ 793 w 902"/>
                <a:gd name="T103" fmla="*/ 596 h 631"/>
                <a:gd name="T104" fmla="*/ 892 w 902"/>
                <a:gd name="T105" fmla="*/ 570 h 631"/>
                <a:gd name="T106" fmla="*/ 901 w 902"/>
                <a:gd name="T107" fmla="*/ 560 h 631"/>
                <a:gd name="T108" fmla="*/ 899 w 902"/>
                <a:gd name="T109" fmla="*/ 7 h 631"/>
                <a:gd name="T110" fmla="*/ 887 w 902"/>
                <a:gd name="T111" fmla="*/ 0 h 6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902" h="631">
                  <a:moveTo>
                    <a:pt x="812" y="541"/>
                  </a:moveTo>
                  <a:lnTo>
                    <a:pt x="811" y="533"/>
                  </a:lnTo>
                  <a:lnTo>
                    <a:pt x="810" y="524"/>
                  </a:lnTo>
                  <a:lnTo>
                    <a:pt x="808" y="517"/>
                  </a:lnTo>
                  <a:lnTo>
                    <a:pt x="806" y="508"/>
                  </a:lnTo>
                  <a:lnTo>
                    <a:pt x="802" y="501"/>
                  </a:lnTo>
                  <a:lnTo>
                    <a:pt x="798" y="494"/>
                  </a:lnTo>
                  <a:lnTo>
                    <a:pt x="794" y="488"/>
                  </a:lnTo>
                  <a:lnTo>
                    <a:pt x="788" y="481"/>
                  </a:lnTo>
                  <a:lnTo>
                    <a:pt x="872" y="481"/>
                  </a:lnTo>
                  <a:lnTo>
                    <a:pt x="872" y="541"/>
                  </a:lnTo>
                  <a:lnTo>
                    <a:pt x="812" y="541"/>
                  </a:lnTo>
                  <a:close/>
                  <a:moveTo>
                    <a:pt x="721" y="601"/>
                  </a:moveTo>
                  <a:lnTo>
                    <a:pt x="716" y="601"/>
                  </a:lnTo>
                  <a:lnTo>
                    <a:pt x="709" y="600"/>
                  </a:lnTo>
                  <a:lnTo>
                    <a:pt x="704" y="599"/>
                  </a:lnTo>
                  <a:lnTo>
                    <a:pt x="697" y="597"/>
                  </a:lnTo>
                  <a:lnTo>
                    <a:pt x="693" y="594"/>
                  </a:lnTo>
                  <a:lnTo>
                    <a:pt x="688" y="591"/>
                  </a:lnTo>
                  <a:lnTo>
                    <a:pt x="683" y="587"/>
                  </a:lnTo>
                  <a:lnTo>
                    <a:pt x="679" y="584"/>
                  </a:lnTo>
                  <a:lnTo>
                    <a:pt x="675" y="580"/>
                  </a:lnTo>
                  <a:lnTo>
                    <a:pt x="672" y="575"/>
                  </a:lnTo>
                  <a:lnTo>
                    <a:pt x="668" y="570"/>
                  </a:lnTo>
                  <a:lnTo>
                    <a:pt x="666" y="565"/>
                  </a:lnTo>
                  <a:lnTo>
                    <a:pt x="664" y="560"/>
                  </a:lnTo>
                  <a:lnTo>
                    <a:pt x="662" y="553"/>
                  </a:lnTo>
                  <a:lnTo>
                    <a:pt x="661" y="548"/>
                  </a:lnTo>
                  <a:lnTo>
                    <a:pt x="661" y="541"/>
                  </a:lnTo>
                  <a:lnTo>
                    <a:pt x="661" y="535"/>
                  </a:lnTo>
                  <a:lnTo>
                    <a:pt x="662" y="530"/>
                  </a:lnTo>
                  <a:lnTo>
                    <a:pt x="664" y="523"/>
                  </a:lnTo>
                  <a:lnTo>
                    <a:pt x="666" y="518"/>
                  </a:lnTo>
                  <a:lnTo>
                    <a:pt x="668" y="512"/>
                  </a:lnTo>
                  <a:lnTo>
                    <a:pt x="672" y="508"/>
                  </a:lnTo>
                  <a:lnTo>
                    <a:pt x="675" y="503"/>
                  </a:lnTo>
                  <a:lnTo>
                    <a:pt x="679" y="499"/>
                  </a:lnTo>
                  <a:lnTo>
                    <a:pt x="683" y="495"/>
                  </a:lnTo>
                  <a:lnTo>
                    <a:pt x="688" y="491"/>
                  </a:lnTo>
                  <a:lnTo>
                    <a:pt x="693" y="489"/>
                  </a:lnTo>
                  <a:lnTo>
                    <a:pt x="697" y="486"/>
                  </a:lnTo>
                  <a:lnTo>
                    <a:pt x="704" y="484"/>
                  </a:lnTo>
                  <a:lnTo>
                    <a:pt x="709" y="482"/>
                  </a:lnTo>
                  <a:lnTo>
                    <a:pt x="716" y="481"/>
                  </a:lnTo>
                  <a:lnTo>
                    <a:pt x="721" y="481"/>
                  </a:lnTo>
                  <a:lnTo>
                    <a:pt x="727" y="481"/>
                  </a:lnTo>
                  <a:lnTo>
                    <a:pt x="734" y="482"/>
                  </a:lnTo>
                  <a:lnTo>
                    <a:pt x="739" y="484"/>
                  </a:lnTo>
                  <a:lnTo>
                    <a:pt x="745" y="486"/>
                  </a:lnTo>
                  <a:lnTo>
                    <a:pt x="750" y="489"/>
                  </a:lnTo>
                  <a:lnTo>
                    <a:pt x="755" y="491"/>
                  </a:lnTo>
                  <a:lnTo>
                    <a:pt x="760" y="495"/>
                  </a:lnTo>
                  <a:lnTo>
                    <a:pt x="764" y="499"/>
                  </a:lnTo>
                  <a:lnTo>
                    <a:pt x="768" y="503"/>
                  </a:lnTo>
                  <a:lnTo>
                    <a:pt x="771" y="508"/>
                  </a:lnTo>
                  <a:lnTo>
                    <a:pt x="775" y="512"/>
                  </a:lnTo>
                  <a:lnTo>
                    <a:pt x="777" y="518"/>
                  </a:lnTo>
                  <a:lnTo>
                    <a:pt x="779" y="523"/>
                  </a:lnTo>
                  <a:lnTo>
                    <a:pt x="780" y="530"/>
                  </a:lnTo>
                  <a:lnTo>
                    <a:pt x="781" y="535"/>
                  </a:lnTo>
                  <a:lnTo>
                    <a:pt x="781" y="541"/>
                  </a:lnTo>
                  <a:lnTo>
                    <a:pt x="781" y="548"/>
                  </a:lnTo>
                  <a:lnTo>
                    <a:pt x="780" y="553"/>
                  </a:lnTo>
                  <a:lnTo>
                    <a:pt x="779" y="560"/>
                  </a:lnTo>
                  <a:lnTo>
                    <a:pt x="777" y="565"/>
                  </a:lnTo>
                  <a:lnTo>
                    <a:pt x="775" y="570"/>
                  </a:lnTo>
                  <a:lnTo>
                    <a:pt x="771" y="575"/>
                  </a:lnTo>
                  <a:lnTo>
                    <a:pt x="768" y="580"/>
                  </a:lnTo>
                  <a:lnTo>
                    <a:pt x="764" y="584"/>
                  </a:lnTo>
                  <a:lnTo>
                    <a:pt x="760" y="587"/>
                  </a:lnTo>
                  <a:lnTo>
                    <a:pt x="755" y="591"/>
                  </a:lnTo>
                  <a:lnTo>
                    <a:pt x="750" y="594"/>
                  </a:lnTo>
                  <a:lnTo>
                    <a:pt x="745" y="597"/>
                  </a:lnTo>
                  <a:lnTo>
                    <a:pt x="739" y="599"/>
                  </a:lnTo>
                  <a:lnTo>
                    <a:pt x="734" y="600"/>
                  </a:lnTo>
                  <a:lnTo>
                    <a:pt x="727" y="601"/>
                  </a:lnTo>
                  <a:lnTo>
                    <a:pt x="721" y="601"/>
                  </a:lnTo>
                  <a:close/>
                  <a:moveTo>
                    <a:pt x="270" y="541"/>
                  </a:moveTo>
                  <a:lnTo>
                    <a:pt x="270" y="533"/>
                  </a:lnTo>
                  <a:lnTo>
                    <a:pt x="269" y="524"/>
                  </a:lnTo>
                  <a:lnTo>
                    <a:pt x="267" y="517"/>
                  </a:lnTo>
                  <a:lnTo>
                    <a:pt x="264" y="508"/>
                  </a:lnTo>
                  <a:lnTo>
                    <a:pt x="260" y="501"/>
                  </a:lnTo>
                  <a:lnTo>
                    <a:pt x="257" y="494"/>
                  </a:lnTo>
                  <a:lnTo>
                    <a:pt x="252" y="488"/>
                  </a:lnTo>
                  <a:lnTo>
                    <a:pt x="247" y="481"/>
                  </a:lnTo>
                  <a:lnTo>
                    <a:pt x="655" y="481"/>
                  </a:lnTo>
                  <a:lnTo>
                    <a:pt x="649" y="488"/>
                  </a:lnTo>
                  <a:lnTo>
                    <a:pt x="645" y="494"/>
                  </a:lnTo>
                  <a:lnTo>
                    <a:pt x="641" y="501"/>
                  </a:lnTo>
                  <a:lnTo>
                    <a:pt x="637" y="508"/>
                  </a:lnTo>
                  <a:lnTo>
                    <a:pt x="634" y="517"/>
                  </a:lnTo>
                  <a:lnTo>
                    <a:pt x="633" y="524"/>
                  </a:lnTo>
                  <a:lnTo>
                    <a:pt x="632" y="533"/>
                  </a:lnTo>
                  <a:lnTo>
                    <a:pt x="631" y="541"/>
                  </a:lnTo>
                  <a:lnTo>
                    <a:pt x="270" y="541"/>
                  </a:lnTo>
                  <a:close/>
                  <a:moveTo>
                    <a:pt x="180" y="601"/>
                  </a:moveTo>
                  <a:lnTo>
                    <a:pt x="174" y="601"/>
                  </a:lnTo>
                  <a:lnTo>
                    <a:pt x="168" y="600"/>
                  </a:lnTo>
                  <a:lnTo>
                    <a:pt x="162" y="599"/>
                  </a:lnTo>
                  <a:lnTo>
                    <a:pt x="156" y="597"/>
                  </a:lnTo>
                  <a:lnTo>
                    <a:pt x="151" y="594"/>
                  </a:lnTo>
                  <a:lnTo>
                    <a:pt x="147" y="591"/>
                  </a:lnTo>
                  <a:lnTo>
                    <a:pt x="141" y="587"/>
                  </a:lnTo>
                  <a:lnTo>
                    <a:pt x="137" y="584"/>
                  </a:lnTo>
                  <a:lnTo>
                    <a:pt x="134" y="580"/>
                  </a:lnTo>
                  <a:lnTo>
                    <a:pt x="131" y="575"/>
                  </a:lnTo>
                  <a:lnTo>
                    <a:pt x="128" y="570"/>
                  </a:lnTo>
                  <a:lnTo>
                    <a:pt x="124" y="565"/>
                  </a:lnTo>
                  <a:lnTo>
                    <a:pt x="122" y="560"/>
                  </a:lnTo>
                  <a:lnTo>
                    <a:pt x="121" y="553"/>
                  </a:lnTo>
                  <a:lnTo>
                    <a:pt x="120" y="548"/>
                  </a:lnTo>
                  <a:lnTo>
                    <a:pt x="120" y="541"/>
                  </a:lnTo>
                  <a:lnTo>
                    <a:pt x="120" y="535"/>
                  </a:lnTo>
                  <a:lnTo>
                    <a:pt x="121" y="530"/>
                  </a:lnTo>
                  <a:lnTo>
                    <a:pt x="122" y="523"/>
                  </a:lnTo>
                  <a:lnTo>
                    <a:pt x="124" y="518"/>
                  </a:lnTo>
                  <a:lnTo>
                    <a:pt x="128" y="512"/>
                  </a:lnTo>
                  <a:lnTo>
                    <a:pt x="131" y="508"/>
                  </a:lnTo>
                  <a:lnTo>
                    <a:pt x="134" y="503"/>
                  </a:lnTo>
                  <a:lnTo>
                    <a:pt x="137" y="499"/>
                  </a:lnTo>
                  <a:lnTo>
                    <a:pt x="141" y="495"/>
                  </a:lnTo>
                  <a:lnTo>
                    <a:pt x="147" y="491"/>
                  </a:lnTo>
                  <a:lnTo>
                    <a:pt x="151" y="489"/>
                  </a:lnTo>
                  <a:lnTo>
                    <a:pt x="156" y="486"/>
                  </a:lnTo>
                  <a:lnTo>
                    <a:pt x="162" y="484"/>
                  </a:lnTo>
                  <a:lnTo>
                    <a:pt x="168" y="482"/>
                  </a:lnTo>
                  <a:lnTo>
                    <a:pt x="174" y="481"/>
                  </a:lnTo>
                  <a:lnTo>
                    <a:pt x="180" y="481"/>
                  </a:lnTo>
                  <a:lnTo>
                    <a:pt x="186" y="481"/>
                  </a:lnTo>
                  <a:lnTo>
                    <a:pt x="192" y="482"/>
                  </a:lnTo>
                  <a:lnTo>
                    <a:pt x="198" y="484"/>
                  </a:lnTo>
                  <a:lnTo>
                    <a:pt x="204" y="486"/>
                  </a:lnTo>
                  <a:lnTo>
                    <a:pt x="209" y="489"/>
                  </a:lnTo>
                  <a:lnTo>
                    <a:pt x="213" y="491"/>
                  </a:lnTo>
                  <a:lnTo>
                    <a:pt x="219" y="495"/>
                  </a:lnTo>
                  <a:lnTo>
                    <a:pt x="223" y="499"/>
                  </a:lnTo>
                  <a:lnTo>
                    <a:pt x="226" y="503"/>
                  </a:lnTo>
                  <a:lnTo>
                    <a:pt x="230" y="508"/>
                  </a:lnTo>
                  <a:lnTo>
                    <a:pt x="232" y="512"/>
                  </a:lnTo>
                  <a:lnTo>
                    <a:pt x="236" y="518"/>
                  </a:lnTo>
                  <a:lnTo>
                    <a:pt x="238" y="523"/>
                  </a:lnTo>
                  <a:lnTo>
                    <a:pt x="239" y="530"/>
                  </a:lnTo>
                  <a:lnTo>
                    <a:pt x="240" y="535"/>
                  </a:lnTo>
                  <a:lnTo>
                    <a:pt x="240" y="541"/>
                  </a:lnTo>
                  <a:lnTo>
                    <a:pt x="240" y="548"/>
                  </a:lnTo>
                  <a:lnTo>
                    <a:pt x="239" y="553"/>
                  </a:lnTo>
                  <a:lnTo>
                    <a:pt x="238" y="560"/>
                  </a:lnTo>
                  <a:lnTo>
                    <a:pt x="236" y="565"/>
                  </a:lnTo>
                  <a:lnTo>
                    <a:pt x="232" y="570"/>
                  </a:lnTo>
                  <a:lnTo>
                    <a:pt x="230" y="575"/>
                  </a:lnTo>
                  <a:lnTo>
                    <a:pt x="226" y="580"/>
                  </a:lnTo>
                  <a:lnTo>
                    <a:pt x="223" y="584"/>
                  </a:lnTo>
                  <a:lnTo>
                    <a:pt x="219" y="587"/>
                  </a:lnTo>
                  <a:lnTo>
                    <a:pt x="213" y="591"/>
                  </a:lnTo>
                  <a:lnTo>
                    <a:pt x="209" y="594"/>
                  </a:lnTo>
                  <a:lnTo>
                    <a:pt x="204" y="597"/>
                  </a:lnTo>
                  <a:lnTo>
                    <a:pt x="198" y="599"/>
                  </a:lnTo>
                  <a:lnTo>
                    <a:pt x="192" y="600"/>
                  </a:lnTo>
                  <a:lnTo>
                    <a:pt x="186" y="601"/>
                  </a:lnTo>
                  <a:lnTo>
                    <a:pt x="180" y="601"/>
                  </a:lnTo>
                  <a:close/>
                  <a:moveTo>
                    <a:pt x="30" y="541"/>
                  </a:moveTo>
                  <a:lnTo>
                    <a:pt x="30" y="481"/>
                  </a:lnTo>
                  <a:lnTo>
                    <a:pt x="113" y="481"/>
                  </a:lnTo>
                  <a:lnTo>
                    <a:pt x="108" y="488"/>
                  </a:lnTo>
                  <a:lnTo>
                    <a:pt x="103" y="494"/>
                  </a:lnTo>
                  <a:lnTo>
                    <a:pt x="100" y="501"/>
                  </a:lnTo>
                  <a:lnTo>
                    <a:pt x="96" y="508"/>
                  </a:lnTo>
                  <a:lnTo>
                    <a:pt x="93" y="517"/>
                  </a:lnTo>
                  <a:lnTo>
                    <a:pt x="91" y="524"/>
                  </a:lnTo>
                  <a:lnTo>
                    <a:pt x="90" y="533"/>
                  </a:lnTo>
                  <a:lnTo>
                    <a:pt x="90" y="541"/>
                  </a:lnTo>
                  <a:lnTo>
                    <a:pt x="30" y="541"/>
                  </a:lnTo>
                  <a:close/>
                  <a:moveTo>
                    <a:pt x="115" y="267"/>
                  </a:moveTo>
                  <a:lnTo>
                    <a:pt x="117" y="265"/>
                  </a:lnTo>
                  <a:lnTo>
                    <a:pt x="118" y="264"/>
                  </a:lnTo>
                  <a:lnTo>
                    <a:pt x="204" y="120"/>
                  </a:lnTo>
                  <a:lnTo>
                    <a:pt x="361" y="120"/>
                  </a:lnTo>
                  <a:lnTo>
                    <a:pt x="361" y="451"/>
                  </a:lnTo>
                  <a:lnTo>
                    <a:pt x="30" y="451"/>
                  </a:lnTo>
                  <a:lnTo>
                    <a:pt x="30" y="338"/>
                  </a:lnTo>
                  <a:lnTo>
                    <a:pt x="115" y="267"/>
                  </a:lnTo>
                  <a:close/>
                  <a:moveTo>
                    <a:pt x="391" y="30"/>
                  </a:moveTo>
                  <a:lnTo>
                    <a:pt x="872" y="30"/>
                  </a:lnTo>
                  <a:lnTo>
                    <a:pt x="872" y="451"/>
                  </a:lnTo>
                  <a:lnTo>
                    <a:pt x="391" y="451"/>
                  </a:lnTo>
                  <a:lnTo>
                    <a:pt x="391" y="105"/>
                  </a:lnTo>
                  <a:lnTo>
                    <a:pt x="391" y="90"/>
                  </a:lnTo>
                  <a:lnTo>
                    <a:pt x="391" y="30"/>
                  </a:lnTo>
                  <a:close/>
                  <a:moveTo>
                    <a:pt x="887" y="0"/>
                  </a:moveTo>
                  <a:lnTo>
                    <a:pt x="376" y="0"/>
                  </a:lnTo>
                  <a:lnTo>
                    <a:pt x="373" y="0"/>
                  </a:lnTo>
                  <a:lnTo>
                    <a:pt x="370" y="1"/>
                  </a:lnTo>
                  <a:lnTo>
                    <a:pt x="367" y="3"/>
                  </a:lnTo>
                  <a:lnTo>
                    <a:pt x="365" y="5"/>
                  </a:lnTo>
                  <a:lnTo>
                    <a:pt x="363" y="7"/>
                  </a:lnTo>
                  <a:lnTo>
                    <a:pt x="362" y="9"/>
                  </a:lnTo>
                  <a:lnTo>
                    <a:pt x="361" y="12"/>
                  </a:lnTo>
                  <a:lnTo>
                    <a:pt x="360" y="15"/>
                  </a:lnTo>
                  <a:lnTo>
                    <a:pt x="361" y="90"/>
                  </a:lnTo>
                  <a:lnTo>
                    <a:pt x="195" y="90"/>
                  </a:lnTo>
                  <a:lnTo>
                    <a:pt x="192" y="90"/>
                  </a:lnTo>
                  <a:lnTo>
                    <a:pt x="187" y="93"/>
                  </a:lnTo>
                  <a:lnTo>
                    <a:pt x="184" y="95"/>
                  </a:lnTo>
                  <a:lnTo>
                    <a:pt x="182" y="98"/>
                  </a:lnTo>
                  <a:lnTo>
                    <a:pt x="93" y="246"/>
                  </a:lnTo>
                  <a:lnTo>
                    <a:pt x="5" y="320"/>
                  </a:lnTo>
                  <a:lnTo>
                    <a:pt x="3" y="322"/>
                  </a:lnTo>
                  <a:lnTo>
                    <a:pt x="1" y="324"/>
                  </a:lnTo>
                  <a:lnTo>
                    <a:pt x="0" y="327"/>
                  </a:lnTo>
                  <a:lnTo>
                    <a:pt x="0" y="330"/>
                  </a:lnTo>
                  <a:lnTo>
                    <a:pt x="0" y="556"/>
                  </a:lnTo>
                  <a:lnTo>
                    <a:pt x="0" y="560"/>
                  </a:lnTo>
                  <a:lnTo>
                    <a:pt x="1" y="562"/>
                  </a:lnTo>
                  <a:lnTo>
                    <a:pt x="2" y="565"/>
                  </a:lnTo>
                  <a:lnTo>
                    <a:pt x="4" y="567"/>
                  </a:lnTo>
                  <a:lnTo>
                    <a:pt x="6" y="569"/>
                  </a:lnTo>
                  <a:lnTo>
                    <a:pt x="9" y="570"/>
                  </a:lnTo>
                  <a:lnTo>
                    <a:pt x="12" y="571"/>
                  </a:lnTo>
                  <a:lnTo>
                    <a:pt x="15" y="571"/>
                  </a:lnTo>
                  <a:lnTo>
                    <a:pt x="95" y="571"/>
                  </a:lnTo>
                  <a:lnTo>
                    <a:pt x="101" y="584"/>
                  </a:lnTo>
                  <a:lnTo>
                    <a:pt x="108" y="596"/>
                  </a:lnTo>
                  <a:lnTo>
                    <a:pt x="117" y="606"/>
                  </a:lnTo>
                  <a:lnTo>
                    <a:pt x="128" y="614"/>
                  </a:lnTo>
                  <a:lnTo>
                    <a:pt x="139" y="622"/>
                  </a:lnTo>
                  <a:lnTo>
                    <a:pt x="152" y="627"/>
                  </a:lnTo>
                  <a:lnTo>
                    <a:pt x="159" y="629"/>
                  </a:lnTo>
                  <a:lnTo>
                    <a:pt x="166" y="630"/>
                  </a:lnTo>
                  <a:lnTo>
                    <a:pt x="172" y="631"/>
                  </a:lnTo>
                  <a:lnTo>
                    <a:pt x="180" y="631"/>
                  </a:lnTo>
                  <a:lnTo>
                    <a:pt x="187" y="631"/>
                  </a:lnTo>
                  <a:lnTo>
                    <a:pt x="195" y="630"/>
                  </a:lnTo>
                  <a:lnTo>
                    <a:pt x="201" y="629"/>
                  </a:lnTo>
                  <a:lnTo>
                    <a:pt x="208" y="627"/>
                  </a:lnTo>
                  <a:lnTo>
                    <a:pt x="221" y="622"/>
                  </a:lnTo>
                  <a:lnTo>
                    <a:pt x="232" y="614"/>
                  </a:lnTo>
                  <a:lnTo>
                    <a:pt x="243" y="606"/>
                  </a:lnTo>
                  <a:lnTo>
                    <a:pt x="252" y="596"/>
                  </a:lnTo>
                  <a:lnTo>
                    <a:pt x="259" y="584"/>
                  </a:lnTo>
                  <a:lnTo>
                    <a:pt x="265" y="571"/>
                  </a:lnTo>
                  <a:lnTo>
                    <a:pt x="636" y="571"/>
                  </a:lnTo>
                  <a:lnTo>
                    <a:pt x="642" y="584"/>
                  </a:lnTo>
                  <a:lnTo>
                    <a:pt x="649" y="596"/>
                  </a:lnTo>
                  <a:lnTo>
                    <a:pt x="659" y="606"/>
                  </a:lnTo>
                  <a:lnTo>
                    <a:pt x="668" y="614"/>
                  </a:lnTo>
                  <a:lnTo>
                    <a:pt x="680" y="622"/>
                  </a:lnTo>
                  <a:lnTo>
                    <a:pt x="693" y="627"/>
                  </a:lnTo>
                  <a:lnTo>
                    <a:pt x="700" y="629"/>
                  </a:lnTo>
                  <a:lnTo>
                    <a:pt x="707" y="630"/>
                  </a:lnTo>
                  <a:lnTo>
                    <a:pt x="715" y="631"/>
                  </a:lnTo>
                  <a:lnTo>
                    <a:pt x="721" y="631"/>
                  </a:lnTo>
                  <a:lnTo>
                    <a:pt x="728" y="631"/>
                  </a:lnTo>
                  <a:lnTo>
                    <a:pt x="736" y="630"/>
                  </a:lnTo>
                  <a:lnTo>
                    <a:pt x="742" y="629"/>
                  </a:lnTo>
                  <a:lnTo>
                    <a:pt x="750" y="627"/>
                  </a:lnTo>
                  <a:lnTo>
                    <a:pt x="762" y="622"/>
                  </a:lnTo>
                  <a:lnTo>
                    <a:pt x="773" y="614"/>
                  </a:lnTo>
                  <a:lnTo>
                    <a:pt x="784" y="606"/>
                  </a:lnTo>
                  <a:lnTo>
                    <a:pt x="793" y="596"/>
                  </a:lnTo>
                  <a:lnTo>
                    <a:pt x="800" y="584"/>
                  </a:lnTo>
                  <a:lnTo>
                    <a:pt x="807" y="571"/>
                  </a:lnTo>
                  <a:lnTo>
                    <a:pt x="887" y="571"/>
                  </a:lnTo>
                  <a:lnTo>
                    <a:pt x="890" y="571"/>
                  </a:lnTo>
                  <a:lnTo>
                    <a:pt x="892" y="570"/>
                  </a:lnTo>
                  <a:lnTo>
                    <a:pt x="896" y="569"/>
                  </a:lnTo>
                  <a:lnTo>
                    <a:pt x="898" y="567"/>
                  </a:lnTo>
                  <a:lnTo>
                    <a:pt x="899" y="565"/>
                  </a:lnTo>
                  <a:lnTo>
                    <a:pt x="901" y="562"/>
                  </a:lnTo>
                  <a:lnTo>
                    <a:pt x="901" y="560"/>
                  </a:lnTo>
                  <a:lnTo>
                    <a:pt x="902" y="556"/>
                  </a:lnTo>
                  <a:lnTo>
                    <a:pt x="902" y="15"/>
                  </a:lnTo>
                  <a:lnTo>
                    <a:pt x="901" y="12"/>
                  </a:lnTo>
                  <a:lnTo>
                    <a:pt x="901" y="9"/>
                  </a:lnTo>
                  <a:lnTo>
                    <a:pt x="899" y="7"/>
                  </a:lnTo>
                  <a:lnTo>
                    <a:pt x="898" y="5"/>
                  </a:lnTo>
                  <a:lnTo>
                    <a:pt x="896" y="3"/>
                  </a:lnTo>
                  <a:lnTo>
                    <a:pt x="892" y="1"/>
                  </a:lnTo>
                  <a:lnTo>
                    <a:pt x="890" y="0"/>
                  </a:lnTo>
                  <a:lnTo>
                    <a:pt x="887" y="0"/>
                  </a:lnTo>
                  <a:lnTo>
                    <a:pt x="887" y="0"/>
                  </a:lnTo>
                  <a:close/>
                </a:path>
              </a:pathLst>
            </a:custGeom>
            <a:solidFill>
              <a:srgbClr val="2422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2" name="Freeform 107"/>
            <p:cNvSpPr>
              <a:spLocks/>
            </p:cNvSpPr>
            <p:nvPr/>
          </p:nvSpPr>
          <p:spPr bwMode="auto">
            <a:xfrm>
              <a:off x="8216900" y="2632075"/>
              <a:ext cx="38100" cy="47625"/>
            </a:xfrm>
            <a:custGeom>
              <a:avLst/>
              <a:gdLst>
                <a:gd name="T0" fmla="*/ 9 w 120"/>
                <a:gd name="T1" fmla="*/ 149 h 150"/>
                <a:gd name="T2" fmla="*/ 12 w 120"/>
                <a:gd name="T3" fmla="*/ 150 h 150"/>
                <a:gd name="T4" fmla="*/ 15 w 120"/>
                <a:gd name="T5" fmla="*/ 150 h 150"/>
                <a:gd name="T6" fmla="*/ 19 w 120"/>
                <a:gd name="T7" fmla="*/ 150 h 150"/>
                <a:gd name="T8" fmla="*/ 22 w 120"/>
                <a:gd name="T9" fmla="*/ 148 h 150"/>
                <a:gd name="T10" fmla="*/ 26 w 120"/>
                <a:gd name="T11" fmla="*/ 146 h 150"/>
                <a:gd name="T12" fmla="*/ 29 w 120"/>
                <a:gd name="T13" fmla="*/ 143 h 150"/>
                <a:gd name="T14" fmla="*/ 85 w 120"/>
                <a:gd name="T15" fmla="*/ 30 h 150"/>
                <a:gd name="T16" fmla="*/ 105 w 120"/>
                <a:gd name="T17" fmla="*/ 30 h 150"/>
                <a:gd name="T18" fmla="*/ 108 w 120"/>
                <a:gd name="T19" fmla="*/ 30 h 150"/>
                <a:gd name="T20" fmla="*/ 111 w 120"/>
                <a:gd name="T21" fmla="*/ 29 h 150"/>
                <a:gd name="T22" fmla="*/ 114 w 120"/>
                <a:gd name="T23" fmla="*/ 28 h 150"/>
                <a:gd name="T24" fmla="*/ 116 w 120"/>
                <a:gd name="T25" fmla="*/ 26 h 150"/>
                <a:gd name="T26" fmla="*/ 118 w 120"/>
                <a:gd name="T27" fmla="*/ 24 h 150"/>
                <a:gd name="T28" fmla="*/ 119 w 120"/>
                <a:gd name="T29" fmla="*/ 22 h 150"/>
                <a:gd name="T30" fmla="*/ 120 w 120"/>
                <a:gd name="T31" fmla="*/ 19 h 150"/>
                <a:gd name="T32" fmla="*/ 120 w 120"/>
                <a:gd name="T33" fmla="*/ 15 h 150"/>
                <a:gd name="T34" fmla="*/ 120 w 120"/>
                <a:gd name="T35" fmla="*/ 12 h 150"/>
                <a:gd name="T36" fmla="*/ 119 w 120"/>
                <a:gd name="T37" fmla="*/ 10 h 150"/>
                <a:gd name="T38" fmla="*/ 118 w 120"/>
                <a:gd name="T39" fmla="*/ 7 h 150"/>
                <a:gd name="T40" fmla="*/ 116 w 120"/>
                <a:gd name="T41" fmla="*/ 5 h 150"/>
                <a:gd name="T42" fmla="*/ 114 w 120"/>
                <a:gd name="T43" fmla="*/ 3 h 150"/>
                <a:gd name="T44" fmla="*/ 111 w 120"/>
                <a:gd name="T45" fmla="*/ 1 h 150"/>
                <a:gd name="T46" fmla="*/ 108 w 120"/>
                <a:gd name="T47" fmla="*/ 0 h 150"/>
                <a:gd name="T48" fmla="*/ 105 w 120"/>
                <a:gd name="T49" fmla="*/ 0 h 150"/>
                <a:gd name="T50" fmla="*/ 75 w 120"/>
                <a:gd name="T51" fmla="*/ 0 h 150"/>
                <a:gd name="T52" fmla="*/ 71 w 120"/>
                <a:gd name="T53" fmla="*/ 1 h 150"/>
                <a:gd name="T54" fmla="*/ 67 w 120"/>
                <a:gd name="T55" fmla="*/ 3 h 150"/>
                <a:gd name="T56" fmla="*/ 64 w 120"/>
                <a:gd name="T57" fmla="*/ 6 h 150"/>
                <a:gd name="T58" fmla="*/ 62 w 120"/>
                <a:gd name="T59" fmla="*/ 9 h 150"/>
                <a:gd name="T60" fmla="*/ 1 w 120"/>
                <a:gd name="T61" fmla="*/ 129 h 150"/>
                <a:gd name="T62" fmla="*/ 0 w 120"/>
                <a:gd name="T63" fmla="*/ 132 h 150"/>
                <a:gd name="T64" fmla="*/ 0 w 120"/>
                <a:gd name="T65" fmla="*/ 134 h 150"/>
                <a:gd name="T66" fmla="*/ 0 w 120"/>
                <a:gd name="T67" fmla="*/ 137 h 150"/>
                <a:gd name="T68" fmla="*/ 1 w 120"/>
                <a:gd name="T69" fmla="*/ 141 h 150"/>
                <a:gd name="T70" fmla="*/ 2 w 120"/>
                <a:gd name="T71" fmla="*/ 143 h 150"/>
                <a:gd name="T72" fmla="*/ 3 w 120"/>
                <a:gd name="T73" fmla="*/ 145 h 150"/>
                <a:gd name="T74" fmla="*/ 5 w 120"/>
                <a:gd name="T75" fmla="*/ 147 h 150"/>
                <a:gd name="T76" fmla="*/ 9 w 120"/>
                <a:gd name="T77" fmla="*/ 149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20" h="150">
                  <a:moveTo>
                    <a:pt x="9" y="149"/>
                  </a:moveTo>
                  <a:lnTo>
                    <a:pt x="12" y="150"/>
                  </a:lnTo>
                  <a:lnTo>
                    <a:pt x="15" y="150"/>
                  </a:lnTo>
                  <a:lnTo>
                    <a:pt x="19" y="150"/>
                  </a:lnTo>
                  <a:lnTo>
                    <a:pt x="22" y="148"/>
                  </a:lnTo>
                  <a:lnTo>
                    <a:pt x="26" y="146"/>
                  </a:lnTo>
                  <a:lnTo>
                    <a:pt x="29" y="143"/>
                  </a:lnTo>
                  <a:lnTo>
                    <a:pt x="85" y="30"/>
                  </a:lnTo>
                  <a:lnTo>
                    <a:pt x="105" y="30"/>
                  </a:lnTo>
                  <a:lnTo>
                    <a:pt x="108" y="30"/>
                  </a:lnTo>
                  <a:lnTo>
                    <a:pt x="111" y="29"/>
                  </a:lnTo>
                  <a:lnTo>
                    <a:pt x="114" y="28"/>
                  </a:lnTo>
                  <a:lnTo>
                    <a:pt x="116" y="26"/>
                  </a:lnTo>
                  <a:lnTo>
                    <a:pt x="118" y="24"/>
                  </a:lnTo>
                  <a:lnTo>
                    <a:pt x="119" y="22"/>
                  </a:lnTo>
                  <a:lnTo>
                    <a:pt x="120" y="19"/>
                  </a:lnTo>
                  <a:lnTo>
                    <a:pt x="120" y="15"/>
                  </a:lnTo>
                  <a:lnTo>
                    <a:pt x="120" y="12"/>
                  </a:lnTo>
                  <a:lnTo>
                    <a:pt x="119" y="10"/>
                  </a:lnTo>
                  <a:lnTo>
                    <a:pt x="118" y="7"/>
                  </a:lnTo>
                  <a:lnTo>
                    <a:pt x="116" y="5"/>
                  </a:lnTo>
                  <a:lnTo>
                    <a:pt x="114" y="3"/>
                  </a:lnTo>
                  <a:lnTo>
                    <a:pt x="111" y="1"/>
                  </a:lnTo>
                  <a:lnTo>
                    <a:pt x="108" y="0"/>
                  </a:lnTo>
                  <a:lnTo>
                    <a:pt x="105" y="0"/>
                  </a:lnTo>
                  <a:lnTo>
                    <a:pt x="75" y="0"/>
                  </a:lnTo>
                  <a:lnTo>
                    <a:pt x="71" y="1"/>
                  </a:lnTo>
                  <a:lnTo>
                    <a:pt x="67" y="3"/>
                  </a:lnTo>
                  <a:lnTo>
                    <a:pt x="64" y="6"/>
                  </a:lnTo>
                  <a:lnTo>
                    <a:pt x="62" y="9"/>
                  </a:lnTo>
                  <a:lnTo>
                    <a:pt x="1" y="129"/>
                  </a:lnTo>
                  <a:lnTo>
                    <a:pt x="0" y="132"/>
                  </a:lnTo>
                  <a:lnTo>
                    <a:pt x="0" y="134"/>
                  </a:lnTo>
                  <a:lnTo>
                    <a:pt x="0" y="137"/>
                  </a:lnTo>
                  <a:lnTo>
                    <a:pt x="1" y="141"/>
                  </a:lnTo>
                  <a:lnTo>
                    <a:pt x="2" y="143"/>
                  </a:lnTo>
                  <a:lnTo>
                    <a:pt x="3" y="145"/>
                  </a:lnTo>
                  <a:lnTo>
                    <a:pt x="5" y="147"/>
                  </a:lnTo>
                  <a:lnTo>
                    <a:pt x="9" y="149"/>
                  </a:lnTo>
                  <a:close/>
                </a:path>
              </a:pathLst>
            </a:custGeom>
            <a:solidFill>
              <a:srgbClr val="2422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30680460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Es0ZFlFNik6939OAyqUIf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Es0ZFlFNik6939OAyqUIf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Es0ZFlFNik6939OAyqUIf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Es0ZFlFNik6939OAyqUIf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Es0ZFlFNik6939OAyqUIf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Es0ZFlFNik6939OAyqUIf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Es0ZFlFNik6939OAyqUIf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Es0ZFlFNik6939OAyqUIf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Es0ZFlFNik6939OAyqUIfg"/>
</p:tagLst>
</file>

<file path=ppt/theme/theme1.xml><?xml version="1.0" encoding="utf-8"?>
<a:theme xmlns:a="http://schemas.openxmlformats.org/drawingml/2006/main" name="Office Theme">
  <a:themeElements>
    <a:clrScheme name="Custom 94">
      <a:dk1>
        <a:sysClr val="windowText" lastClr="000000"/>
      </a:dk1>
      <a:lt1>
        <a:sysClr val="window" lastClr="FFFFFF"/>
      </a:lt1>
      <a:dk2>
        <a:srgbClr val="44546A"/>
      </a:dk2>
      <a:lt2>
        <a:srgbClr val="E7E6E6"/>
      </a:lt2>
      <a:accent1>
        <a:srgbClr val="AFABAB"/>
      </a:accent1>
      <a:accent2>
        <a:srgbClr val="E2583D"/>
      </a:accent2>
      <a:accent3>
        <a:srgbClr val="78D2D2"/>
      </a:accent3>
      <a:accent4>
        <a:srgbClr val="3B3939"/>
      </a:accent4>
      <a:accent5>
        <a:srgbClr val="4472C4"/>
      </a:accent5>
      <a:accent6>
        <a:srgbClr val="70AD47"/>
      </a:accent6>
      <a:hlink>
        <a:srgbClr val="0563C1"/>
      </a:hlink>
      <a:folHlink>
        <a:srgbClr val="954F72"/>
      </a:folHlink>
    </a:clrScheme>
    <a:fontScheme name="Modern 03">
      <a:majorFont>
        <a:latin typeface="Segoe UI"/>
        <a:ea typeface=""/>
        <a:cs typeface=""/>
      </a:majorFont>
      <a:minorFont>
        <a:latin typeface="Calibri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9FC3EE"/>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spAutoFit/>
      </a:bodyPr>
      <a:lstStyle>
        <a:defPPr algn="l">
          <a:defRPr dirty="0" smtClean="0">
            <a:latin typeface="Inter" panose="020B0502030000000004" pitchFamily="34" charset="0"/>
            <a:ea typeface="Inter" panose="020B0502030000000004" pitchFamily="34" charset="0"/>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2_Office Theme">
  <a:themeElements>
    <a:clrScheme name="Office">
      <a:dk1>
        <a:srgbClr val="000000"/>
      </a:dk1>
      <a:lt1>
        <a:srgbClr val="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Slidesgo Final Pages">
  <a:themeElements>
    <a:clrScheme name="Simple Light">
      <a:dk1>
        <a:srgbClr val="000000"/>
      </a:dk1>
      <a:lt1>
        <a:srgbClr val="FFFFFF"/>
      </a:lt1>
      <a:dk2>
        <a:srgbClr val="595959"/>
      </a:dk2>
      <a:lt2>
        <a:srgbClr val="EEEEEE"/>
      </a:lt2>
      <a:accent1>
        <a:srgbClr val="FFAB40"/>
      </a:accent1>
      <a:accent2>
        <a:srgbClr val="212121"/>
      </a:accent2>
      <a:accent3>
        <a:srgbClr val="78909C"/>
      </a:accent3>
      <a:accent4>
        <a:srgbClr val="FFAB40"/>
      </a:accent4>
      <a:accent5>
        <a:srgbClr val="0097A7"/>
      </a:accent5>
      <a:accent6>
        <a:srgbClr val="EEFF41"/>
      </a:accent6>
      <a:hlink>
        <a:srgbClr val="0097A7"/>
      </a:hlink>
      <a:folHlink>
        <a:srgbClr val="0097A7"/>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803</TotalTime>
  <Words>3339</Words>
  <Application>Microsoft Office PowerPoint</Application>
  <PresentationFormat>Widescreen</PresentationFormat>
  <Paragraphs>552</Paragraphs>
  <Slides>43</Slides>
  <Notes>30</Notes>
  <HiddenSlides>0</HiddenSlides>
  <MMClips>0</MMClips>
  <ScaleCrop>false</ScaleCrop>
  <HeadingPairs>
    <vt:vector size="6" baseType="variant">
      <vt:variant>
        <vt:lpstr>Fonts Used</vt:lpstr>
      </vt:variant>
      <vt:variant>
        <vt:i4>10</vt:i4>
      </vt:variant>
      <vt:variant>
        <vt:lpstr>Theme</vt:lpstr>
      </vt:variant>
      <vt:variant>
        <vt:i4>4</vt:i4>
      </vt:variant>
      <vt:variant>
        <vt:lpstr>Slide Titles</vt:lpstr>
      </vt:variant>
      <vt:variant>
        <vt:i4>43</vt:i4>
      </vt:variant>
    </vt:vector>
  </HeadingPairs>
  <TitlesOfParts>
    <vt:vector size="57" baseType="lpstr">
      <vt:lpstr>Amatic SC</vt:lpstr>
      <vt:lpstr>Arial</vt:lpstr>
      <vt:lpstr>Calibri</vt:lpstr>
      <vt:lpstr>Calibri Light</vt:lpstr>
      <vt:lpstr>Inter</vt:lpstr>
      <vt:lpstr>Open Sans Light</vt:lpstr>
      <vt:lpstr>Proxima Nova</vt:lpstr>
      <vt:lpstr>Proxima Nova Semibold</vt:lpstr>
      <vt:lpstr>Roboto Medium</vt:lpstr>
      <vt:lpstr>Segoe UI</vt:lpstr>
      <vt:lpstr>Office Theme</vt:lpstr>
      <vt:lpstr>1_Office Theme</vt:lpstr>
      <vt:lpstr>2_Office Theme</vt:lpstr>
      <vt:lpstr>Slidesgo Final Page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Use our editable graphic resources...</vt:lpstr>
      <vt:lpstr>PowerPoint Presentation</vt:lpstr>
      <vt:lpstr>PowerPoint Presentation</vt:lpstr>
      <vt:lpstr>PowerPoint Presentation</vt:lpstr>
      <vt:lpstr>PowerPoint Presentation</vt:lpstr>
      <vt:lpstr>PowerPoint Presentation</vt:lpstr>
      <vt:lpstr>...and our sets of editable icons</vt:lpstr>
      <vt:lpstr>Educational Icons</vt:lpstr>
      <vt:lpstr>Business Icons</vt:lpstr>
      <vt:lpstr>Help &amp; Support Icons</vt:lpstr>
      <vt:lpstr>Creative process Icons</vt:lpstr>
      <vt:lpstr>PowerPoint Presentation</vt:lpstr>
      <vt:lpstr>SEO &amp; Marketing Icon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Nugroho Ade</dc:creator>
  <cp:lastModifiedBy>ANTONIA BRIONES CONTRERAS</cp:lastModifiedBy>
  <cp:revision>71</cp:revision>
  <dcterms:created xsi:type="dcterms:W3CDTF">2017-04-19T06:29:38Z</dcterms:created>
  <dcterms:modified xsi:type="dcterms:W3CDTF">2022-10-29T02:29:4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9f4e9a4a-eb20-4aad-9a64-8872817c1a6f_Enabled">
    <vt:lpwstr>true</vt:lpwstr>
  </property>
  <property fmtid="{D5CDD505-2E9C-101B-9397-08002B2CF9AE}" pid="3" name="MSIP_Label_9f4e9a4a-eb20-4aad-9a64-8872817c1a6f_SetDate">
    <vt:lpwstr>2022-10-29T02:29:47Z</vt:lpwstr>
  </property>
  <property fmtid="{D5CDD505-2E9C-101B-9397-08002B2CF9AE}" pid="4" name="MSIP_Label_9f4e9a4a-eb20-4aad-9a64-8872817c1a6f_Method">
    <vt:lpwstr>Standard</vt:lpwstr>
  </property>
  <property fmtid="{D5CDD505-2E9C-101B-9397-08002B2CF9AE}" pid="5" name="MSIP_Label_9f4e9a4a-eb20-4aad-9a64-8872817c1a6f_Name">
    <vt:lpwstr>defa4170-0d19-0005-0004-bc88714345d2</vt:lpwstr>
  </property>
  <property fmtid="{D5CDD505-2E9C-101B-9397-08002B2CF9AE}" pid="6" name="MSIP_Label_9f4e9a4a-eb20-4aad-9a64-8872817c1a6f_SiteId">
    <vt:lpwstr>7a599002-001c-432c-846e-1ddca9f6b299</vt:lpwstr>
  </property>
  <property fmtid="{D5CDD505-2E9C-101B-9397-08002B2CF9AE}" pid="7" name="MSIP_Label_9f4e9a4a-eb20-4aad-9a64-8872817c1a6f_ActionId">
    <vt:lpwstr>085cf524-5382-4fb4-a362-012818c6c509</vt:lpwstr>
  </property>
  <property fmtid="{D5CDD505-2E9C-101B-9397-08002B2CF9AE}" pid="8" name="MSIP_Label_9f4e9a4a-eb20-4aad-9a64-8872817c1a6f_ContentBits">
    <vt:lpwstr>0</vt:lpwstr>
  </property>
</Properties>
</file>